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df" ContentType="application/pdf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14.xml" ContentType="application/vnd.openxmlformats-officedocument.presentationml.notesSlid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5.xml" ContentType="application/vnd.openxmlformats-officedocument.presentationml.notesSlide+xml"/>
  <Override PartName="/ppt/charts/chart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.xml" ContentType="application/vnd.openxmlformats-officedocument.presentationml.tags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9" r:id="rId4"/>
    <p:sldMasterId id="2147483689" r:id="rId5"/>
  </p:sldMasterIdLst>
  <p:notesMasterIdLst>
    <p:notesMasterId r:id="rId102"/>
  </p:notesMasterIdLst>
  <p:handoutMasterIdLst>
    <p:handoutMasterId r:id="rId103"/>
  </p:handoutMasterIdLst>
  <p:sldIdLst>
    <p:sldId id="1587" r:id="rId6"/>
    <p:sldId id="1588" r:id="rId7"/>
    <p:sldId id="1590" r:id="rId8"/>
    <p:sldId id="1591" r:id="rId9"/>
    <p:sldId id="264" r:id="rId10"/>
    <p:sldId id="339" r:id="rId11"/>
    <p:sldId id="272" r:id="rId12"/>
    <p:sldId id="273" r:id="rId13"/>
    <p:sldId id="1586" r:id="rId14"/>
    <p:sldId id="838" r:id="rId15"/>
    <p:sldId id="1573" r:id="rId16"/>
    <p:sldId id="1400" r:id="rId17"/>
    <p:sldId id="1422" r:id="rId18"/>
    <p:sldId id="1409" r:id="rId19"/>
    <p:sldId id="629" r:id="rId20"/>
    <p:sldId id="1367" r:id="rId21"/>
    <p:sldId id="1071" r:id="rId22"/>
    <p:sldId id="290" r:id="rId23"/>
    <p:sldId id="293" r:id="rId24"/>
    <p:sldId id="299" r:id="rId25"/>
    <p:sldId id="301" r:id="rId26"/>
    <p:sldId id="1567" r:id="rId27"/>
    <p:sldId id="1404" r:id="rId28"/>
    <p:sldId id="1406" r:id="rId29"/>
    <p:sldId id="855" r:id="rId30"/>
    <p:sldId id="1416" r:id="rId31"/>
    <p:sldId id="1412" r:id="rId32"/>
    <p:sldId id="1579" r:id="rId33"/>
    <p:sldId id="1578" r:id="rId34"/>
    <p:sldId id="1575" r:id="rId35"/>
    <p:sldId id="1420" r:id="rId36"/>
    <p:sldId id="1425" r:id="rId37"/>
    <p:sldId id="1434" r:id="rId38"/>
    <p:sldId id="1407" r:id="rId39"/>
    <p:sldId id="337" r:id="rId40"/>
    <p:sldId id="277" r:id="rId41"/>
    <p:sldId id="278" r:id="rId42"/>
    <p:sldId id="1568" r:id="rId43"/>
    <p:sldId id="1363" r:id="rId44"/>
    <p:sldId id="1394" r:id="rId45"/>
    <p:sldId id="1584" r:id="rId46"/>
    <p:sldId id="1585" r:id="rId47"/>
    <p:sldId id="1380" r:id="rId48"/>
    <p:sldId id="588" r:id="rId49"/>
    <p:sldId id="589" r:id="rId50"/>
    <p:sldId id="1569" r:id="rId51"/>
    <p:sldId id="1377" r:id="rId52"/>
    <p:sldId id="1480" r:id="rId53"/>
    <p:sldId id="1476" r:id="rId54"/>
    <p:sldId id="1477" r:id="rId55"/>
    <p:sldId id="1479" r:id="rId56"/>
    <p:sldId id="1514" r:id="rId57"/>
    <p:sldId id="1572" r:id="rId58"/>
    <p:sldId id="1378" r:id="rId59"/>
    <p:sldId id="362" r:id="rId60"/>
    <p:sldId id="1571" r:id="rId61"/>
    <p:sldId id="1399" r:id="rId62"/>
    <p:sldId id="1322" r:id="rId63"/>
    <p:sldId id="1257" r:id="rId64"/>
    <p:sldId id="1258" r:id="rId65"/>
    <p:sldId id="451" r:id="rId66"/>
    <p:sldId id="554" r:id="rId67"/>
    <p:sldId id="1589" r:id="rId68"/>
    <p:sldId id="280" r:id="rId69"/>
    <p:sldId id="281" r:id="rId70"/>
    <p:sldId id="1450" r:id="rId71"/>
    <p:sldId id="1453" r:id="rId72"/>
    <p:sldId id="1456" r:id="rId73"/>
    <p:sldId id="1457" r:id="rId74"/>
    <p:sldId id="1458" r:id="rId75"/>
    <p:sldId id="1460" r:id="rId76"/>
    <p:sldId id="1464" r:id="rId77"/>
    <p:sldId id="1474" r:id="rId78"/>
    <p:sldId id="1475" r:id="rId79"/>
    <p:sldId id="1561" r:id="rId80"/>
    <p:sldId id="326" r:id="rId81"/>
    <p:sldId id="327" r:id="rId82"/>
    <p:sldId id="323" r:id="rId83"/>
    <p:sldId id="325" r:id="rId84"/>
    <p:sldId id="322" r:id="rId85"/>
    <p:sldId id="321" r:id="rId86"/>
    <p:sldId id="324" r:id="rId87"/>
    <p:sldId id="328" r:id="rId88"/>
    <p:sldId id="329" r:id="rId89"/>
    <p:sldId id="1544" r:id="rId90"/>
    <p:sldId id="1546" r:id="rId91"/>
    <p:sldId id="1548" r:id="rId92"/>
    <p:sldId id="1549" r:id="rId93"/>
    <p:sldId id="1551" r:id="rId94"/>
    <p:sldId id="1552" r:id="rId95"/>
    <p:sldId id="1550" r:id="rId96"/>
    <p:sldId id="1553" r:id="rId97"/>
    <p:sldId id="1559" r:id="rId98"/>
    <p:sldId id="1554" r:id="rId99"/>
    <p:sldId id="1556" r:id="rId100"/>
    <p:sldId id="1555" r:id="rId101"/>
  </p:sldIdLst>
  <p:sldSz cx="9144000" cy="5143500" type="screen16x9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342F"/>
    <a:srgbClr val="13284B"/>
    <a:srgbClr val="13294B"/>
    <a:srgbClr val="E84A27"/>
    <a:srgbClr val="D23732"/>
    <a:srgbClr val="A42E27"/>
    <a:srgbClr val="6D50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2" autoAdjust="0"/>
    <p:restoredTop sz="94501"/>
  </p:normalViewPr>
  <p:slideViewPr>
    <p:cSldViewPr snapToGrid="0" snapToObjects="1">
      <p:cViewPr varScale="1">
        <p:scale>
          <a:sx n="159" d="100"/>
          <a:sy n="159" d="100"/>
        </p:scale>
        <p:origin x="246" y="114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119" d="100"/>
          <a:sy n="119" d="100"/>
        </p:scale>
        <p:origin x="2360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07" Type="http://schemas.openxmlformats.org/officeDocument/2006/relationships/tableStyles" Target="tableStyles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handoutMaster" Target="handoutMasters/handoutMaster1.xml"/><Relationship Id="rId108" Type="http://schemas.microsoft.com/office/2016/11/relationships/changesInfo" Target="changesInfos/changesInfo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theme" Target="theme/theme1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slide" Target="slides/slide9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presProps" Target="presProp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heeler, Gail Conger" userId="56520c39-ce6d-4410-9d27-32e89c847a3d" providerId="ADAL" clId="{20D979A9-223C-4817-B1BC-81365E02D47A}"/>
    <pc:docChg chg="delSld">
      <pc:chgData name="Wheeler, Gail Conger" userId="56520c39-ce6d-4410-9d27-32e89c847a3d" providerId="ADAL" clId="{20D979A9-223C-4817-B1BC-81365E02D47A}" dt="2021-07-22T12:47:00.555" v="0" actId="2696"/>
      <pc:docMkLst>
        <pc:docMk/>
      </pc:docMkLst>
      <pc:sldChg chg="del">
        <pc:chgData name="Wheeler, Gail Conger" userId="56520c39-ce6d-4410-9d27-32e89c847a3d" providerId="ADAL" clId="{20D979A9-223C-4817-B1BC-81365E02D47A}" dt="2021-07-22T12:47:00.555" v="0" actId="2696"/>
        <pc:sldMkLst>
          <pc:docMk/>
          <pc:sldMk cId="1394499573" sldId="291"/>
        </pc:sldMkLst>
      </pc:sldChg>
    </pc:docChg>
  </pc:docChgLst>
  <pc:docChgLst>
    <pc:chgData name="Wheeler, Gail Conger" userId="56520c39-ce6d-4410-9d27-32e89c847a3d" providerId="ADAL" clId="{E8BDE67B-CE3B-428A-988F-2A72C01E8B27}"/>
    <pc:docChg chg="custSel delSld modSld sldOrd modMainMaster">
      <pc:chgData name="Wheeler, Gail Conger" userId="56520c39-ce6d-4410-9d27-32e89c847a3d" providerId="ADAL" clId="{E8BDE67B-CE3B-428A-988F-2A72C01E8B27}" dt="2021-09-22T13:46:59.402" v="358" actId="478"/>
      <pc:docMkLst>
        <pc:docMk/>
      </pc:docMkLst>
      <pc:sldChg chg="ord">
        <pc:chgData name="Wheeler, Gail Conger" userId="56520c39-ce6d-4410-9d27-32e89c847a3d" providerId="ADAL" clId="{E8BDE67B-CE3B-428A-988F-2A72C01E8B27}" dt="2021-09-22T13:29:32.043" v="0" actId="20578"/>
        <pc:sldMkLst>
          <pc:docMk/>
          <pc:sldMk cId="1341839249" sldId="273"/>
        </pc:sldMkLst>
      </pc:sldChg>
      <pc:sldChg chg="del">
        <pc:chgData name="Wheeler, Gail Conger" userId="56520c39-ce6d-4410-9d27-32e89c847a3d" providerId="ADAL" clId="{E8BDE67B-CE3B-428A-988F-2A72C01E8B27}" dt="2021-09-22T13:44:20.948" v="337" actId="47"/>
        <pc:sldMkLst>
          <pc:docMk/>
          <pc:sldMk cId="477156286" sldId="440"/>
        </pc:sldMkLst>
      </pc:sldChg>
      <pc:sldChg chg="del">
        <pc:chgData name="Wheeler, Gail Conger" userId="56520c39-ce6d-4410-9d27-32e89c847a3d" providerId="ADAL" clId="{E8BDE67B-CE3B-428A-988F-2A72C01E8B27}" dt="2021-09-22T13:41:11.496" v="334" actId="47"/>
        <pc:sldMkLst>
          <pc:docMk/>
          <pc:sldMk cId="4243821220" sldId="1359"/>
        </pc:sldMkLst>
      </pc:sldChg>
      <pc:sldChg chg="del">
        <pc:chgData name="Wheeler, Gail Conger" userId="56520c39-ce6d-4410-9d27-32e89c847a3d" providerId="ADAL" clId="{E8BDE67B-CE3B-428A-988F-2A72C01E8B27}" dt="2021-09-22T13:30:04.279" v="1" actId="47"/>
        <pc:sldMkLst>
          <pc:docMk/>
          <pc:sldMk cId="3089310816" sldId="1386"/>
        </pc:sldMkLst>
      </pc:sldChg>
      <pc:sldChg chg="addSp delSp modSp mod">
        <pc:chgData name="Wheeler, Gail Conger" userId="56520c39-ce6d-4410-9d27-32e89c847a3d" providerId="ADAL" clId="{E8BDE67B-CE3B-428A-988F-2A72C01E8B27}" dt="2021-09-22T13:45:51.755" v="338" actId="478"/>
        <pc:sldMkLst>
          <pc:docMk/>
          <pc:sldMk cId="2660791853" sldId="1474"/>
        </pc:sldMkLst>
      </pc:sldChg>
      <pc:sldChg chg="addSp delSp modSp mod">
        <pc:chgData name="Wheeler, Gail Conger" userId="56520c39-ce6d-4410-9d27-32e89c847a3d" providerId="ADAL" clId="{E8BDE67B-CE3B-428A-988F-2A72C01E8B27}" dt="2021-09-22T13:46:59.402" v="358" actId="478"/>
        <pc:sldMkLst>
          <pc:docMk/>
          <pc:sldMk cId="1867215187" sldId="1475"/>
        </pc:sldMkLst>
      </pc:sldChg>
      <pc:sldChg chg="del">
        <pc:chgData name="Wheeler, Gail Conger" userId="56520c39-ce6d-4410-9d27-32e89c847a3d" providerId="ADAL" clId="{E8BDE67B-CE3B-428A-988F-2A72C01E8B27}" dt="2021-09-22T13:43:26.292" v="335" actId="47"/>
        <pc:sldMkLst>
          <pc:docMk/>
          <pc:sldMk cId="1729650946" sldId="1483"/>
        </pc:sldMkLst>
      </pc:sldChg>
      <pc:sldChg chg="del">
        <pc:chgData name="Wheeler, Gail Conger" userId="56520c39-ce6d-4410-9d27-32e89c847a3d" providerId="ADAL" clId="{E8BDE67B-CE3B-428A-988F-2A72C01E8B27}" dt="2021-09-22T13:44:03.763" v="336" actId="47"/>
        <pc:sldMkLst>
          <pc:docMk/>
          <pc:sldMk cId="3118485489" sldId="1486"/>
        </pc:sldMkLst>
      </pc:sldChg>
      <pc:sldChg chg="addSp modSp mod">
        <pc:chgData name="Wheeler, Gail Conger" userId="56520c39-ce6d-4410-9d27-32e89c847a3d" providerId="ADAL" clId="{E8BDE67B-CE3B-428A-988F-2A72C01E8B27}" dt="2021-09-22T13:35:39.496" v="149" actId="242"/>
        <pc:sldMkLst>
          <pc:docMk/>
          <pc:sldMk cId="4158942245" sldId="1587"/>
        </pc:sldMkLst>
      </pc:sldChg>
      <pc:sldChg chg="modSp mod">
        <pc:chgData name="Wheeler, Gail Conger" userId="56520c39-ce6d-4410-9d27-32e89c847a3d" providerId="ADAL" clId="{E8BDE67B-CE3B-428A-988F-2A72C01E8B27}" dt="2021-09-22T13:39:57.990" v="333" actId="5793"/>
        <pc:sldMkLst>
          <pc:docMk/>
          <pc:sldMk cId="1773684455" sldId="1588"/>
        </pc:sldMkLst>
      </pc:sldChg>
      <pc:sldChg chg="modSp mod">
        <pc:chgData name="Wheeler, Gail Conger" userId="56520c39-ce6d-4410-9d27-32e89c847a3d" providerId="ADAL" clId="{E8BDE67B-CE3B-428A-988F-2A72C01E8B27}" dt="2021-09-22T13:38:32.539" v="189" actId="20577"/>
        <pc:sldMkLst>
          <pc:docMk/>
          <pc:sldMk cId="1977767508" sldId="1590"/>
        </pc:sldMkLst>
      </pc:sldChg>
      <pc:sldMasterChg chg="modSldLayout">
        <pc:chgData name="Wheeler, Gail Conger" userId="56520c39-ce6d-4410-9d27-32e89c847a3d" providerId="ADAL" clId="{E8BDE67B-CE3B-428A-988F-2A72C01E8B27}" dt="2021-09-22T13:36:08.485" v="156" actId="1036"/>
        <pc:sldMasterMkLst>
          <pc:docMk/>
          <pc:sldMasterMk cId="3809902621" sldId="2147483679"/>
        </pc:sldMasterMkLst>
        <pc:sldLayoutChg chg="modSp mod">
          <pc:chgData name="Wheeler, Gail Conger" userId="56520c39-ce6d-4410-9d27-32e89c847a3d" providerId="ADAL" clId="{E8BDE67B-CE3B-428A-988F-2A72C01E8B27}" dt="2021-09-22T13:36:08.485" v="156" actId="1036"/>
          <pc:sldLayoutMkLst>
            <pc:docMk/>
            <pc:sldMasterMk cId="3809902621" sldId="2147483679"/>
            <pc:sldLayoutMk cId="195334314" sldId="2147483680"/>
          </pc:sldLayoutMkLst>
        </pc:sldLayoutChg>
      </pc:sldMasterChg>
    </pc:docChg>
  </pc:docChgLst>
  <pc:docChgLst>
    <pc:chgData name="Ho, Kennedy" userId="f7c1aca4-1094-49d0-aadd-c1020aa5e127" providerId="ADAL" clId="{A5C085CE-6DC6-4D81-ABDF-80BCC6783F98}"/>
    <pc:docChg chg="addSld">
      <pc:chgData name="Ho, Kennedy" userId="f7c1aca4-1094-49d0-aadd-c1020aa5e127" providerId="ADAL" clId="{A5C085CE-6DC6-4D81-ABDF-80BCC6783F98}" dt="2025-09-08T17:24:51.931" v="0" actId="2890"/>
      <pc:docMkLst>
        <pc:docMk/>
      </pc:docMkLst>
      <pc:sldChg chg="add">
        <pc:chgData name="Ho, Kennedy" userId="f7c1aca4-1094-49d0-aadd-c1020aa5e127" providerId="ADAL" clId="{A5C085CE-6DC6-4D81-ABDF-80BCC6783F98}" dt="2025-09-08T17:24:51.931" v="0" actId="2890"/>
        <pc:sldMkLst>
          <pc:docMk/>
          <pc:sldMk cId="3707707584" sldId="1591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A6A6A6"/>
            </a:solidFill>
            <a:effectLst/>
          </c:spPr>
          <c:dPt>
            <c:idx val="0"/>
            <c:bubble3D val="0"/>
            <c:spPr>
              <a:solidFill>
                <a:schemeClr val="accent2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1-F615-41AD-BAC9-D782BE9CFDF0}"/>
              </c:ext>
            </c:extLst>
          </c:dPt>
          <c:dPt>
            <c:idx val="1"/>
            <c:bubble3D val="0"/>
            <c:spPr>
              <a:solidFill>
                <a:srgbClr val="A6A6A6">
                  <a:alpha val="30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3-F615-41AD-BAC9-D782BE9CFDF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4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15-41AD-BAC9-D782BE9CFD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1-5AC8-4615-ABBC-4485D178E3FB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3-5AC8-4615-ABBC-4485D178E3F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0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AC8-4615-ABBC-4485D178E3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218018855198693E-2"/>
          <c:y val="0.12482208077704"/>
          <c:w val="0.923859652062895"/>
          <c:h val="0.719201694800662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On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C7A-448E-9915-CDADE885B0BC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C7A-448E-9915-CDADE885B0BC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C7A-448E-9915-CDADE885B0B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C7A-448E-9915-CDADE885B0BC}"/>
              </c:ext>
            </c:extLst>
          </c:dPt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0</c:v>
                </c:pt>
                <c:pt idx="1">
                  <c:v>80</c:v>
                </c:pt>
                <c:pt idx="2">
                  <c:v>60</c:v>
                </c:pt>
                <c:pt idx="3">
                  <c:v>70</c:v>
                </c:pt>
                <c:pt idx="4">
                  <c:v>190</c:v>
                </c:pt>
                <c:pt idx="5">
                  <c:v>150</c:v>
                </c:pt>
                <c:pt idx="6">
                  <c:v>145</c:v>
                </c:pt>
                <c:pt idx="7">
                  <c:v>195</c:v>
                </c:pt>
                <c:pt idx="8">
                  <c:v>185</c:v>
                </c:pt>
                <c:pt idx="9">
                  <c:v>320</c:v>
                </c:pt>
                <c:pt idx="10">
                  <c:v>405</c:v>
                </c:pt>
                <c:pt idx="11">
                  <c:v>5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C7A-448E-9915-CDADE885B0B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Tw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0</c:v>
                </c:pt>
                <c:pt idx="1">
                  <c:v>40</c:v>
                </c:pt>
                <c:pt idx="2">
                  <c:v>20</c:v>
                </c:pt>
                <c:pt idx="3">
                  <c:v>10</c:v>
                </c:pt>
                <c:pt idx="4">
                  <c:v>20</c:v>
                </c:pt>
                <c:pt idx="5">
                  <c:v>80</c:v>
                </c:pt>
                <c:pt idx="6">
                  <c:v>60</c:v>
                </c:pt>
                <c:pt idx="7">
                  <c:v>60</c:v>
                </c:pt>
                <c:pt idx="8">
                  <c:v>90</c:v>
                </c:pt>
                <c:pt idx="9">
                  <c:v>70</c:v>
                </c:pt>
                <c:pt idx="10">
                  <c:v>180</c:v>
                </c:pt>
                <c:pt idx="11">
                  <c:v>2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C7A-448E-9915-CDADE885B0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axId val="604314928"/>
        <c:axId val="604315320"/>
      </c:barChart>
      <c:catAx>
        <c:axId val="604314928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60000"/>
                  <a:lumOff val="40000"/>
                  <a:alpha val="50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 w="1270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4315320"/>
        <c:crosses val="autoZero"/>
        <c:auto val="1"/>
        <c:lblAlgn val="ctr"/>
        <c:lblOffset val="100"/>
        <c:noMultiLvlLbl val="0"/>
      </c:catAx>
      <c:valAx>
        <c:axId val="604315320"/>
        <c:scaling>
          <c:orientation val="minMax"/>
          <c:max val="600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60000"/>
                  <a:lumOff val="40000"/>
                  <a:alpha val="50000"/>
                </a:schemeClr>
              </a:solidFill>
              <a:prstDash val="solid"/>
              <a:round/>
            </a:ln>
            <a:effectLst/>
          </c:spPr>
        </c:majorGridlines>
        <c:numFmt formatCode="0&quot;%&quot;" sourceLinked="0"/>
        <c:majorTickMark val="none"/>
        <c:minorTickMark val="none"/>
        <c:tickLblPos val="nextTo"/>
        <c:spPr>
          <a:noFill/>
          <a:ln w="190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4314928"/>
        <c:crosses val="autoZero"/>
        <c:crossBetween val="between"/>
      </c:valAx>
      <c:spPr>
        <a:noFill/>
        <a:ln w="19050">
          <a:noFill/>
        </a:ln>
        <a:effectLst/>
      </c:spPr>
    </c:plotArea>
    <c:legend>
      <c:legendPos val="l"/>
      <c:layout>
        <c:manualLayout>
          <c:xMode val="edge"/>
          <c:yMode val="edge"/>
          <c:x val="0.70336987288353703"/>
          <c:y val="3.7244275088806999E-3"/>
          <c:w val="0.29454582883022001"/>
          <c:h val="8.5262932130059907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57FD-46C3-9028-501D5326BA0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3-57FD-46C3-9028-501D5326BA0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5-57FD-46C3-9028-501D5326BA04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7-57FD-46C3-9028-501D5326BA0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5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43</c:v>
                </c:pt>
                <c:pt idx="1">
                  <c:v>0.25</c:v>
                </c:pt>
                <c:pt idx="2">
                  <c:v>0.35</c:v>
                </c:pt>
                <c:pt idx="3">
                  <c:v>0.45</c:v>
                </c:pt>
                <c:pt idx="4">
                  <c:v>0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7FD-46C3-9028-501D5326BA0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50000"/>
                <a:alpha val="30000"/>
              </a:schemeClr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56999999999999995</c:v>
                </c:pt>
                <c:pt idx="1">
                  <c:v>0.75</c:v>
                </c:pt>
                <c:pt idx="2">
                  <c:v>0.65</c:v>
                </c:pt>
                <c:pt idx="3">
                  <c:v>0.55000000000000004</c:v>
                </c:pt>
                <c:pt idx="4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7FD-46C3-9028-501D5326BA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604312184"/>
        <c:axId val="604312576"/>
      </c:barChart>
      <c:catAx>
        <c:axId val="60431218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one"/>
        <c:spPr>
          <a:ln>
            <a:noFill/>
          </a:ln>
        </c:spPr>
        <c:crossAx val="604312576"/>
        <c:crosses val="autoZero"/>
        <c:auto val="1"/>
        <c:lblAlgn val="ctr"/>
        <c:lblOffset val="100"/>
        <c:noMultiLvlLbl val="0"/>
      </c:catAx>
      <c:valAx>
        <c:axId val="604312576"/>
        <c:scaling>
          <c:orientation val="minMax"/>
          <c:max val="1"/>
        </c:scaling>
        <c:delete val="0"/>
        <c:axPos val="t"/>
        <c:numFmt formatCode="0%" sourceLinked="1"/>
        <c:majorTickMark val="none"/>
        <c:minorTickMark val="none"/>
        <c:tickLblPos val="none"/>
        <c:spPr>
          <a:ln>
            <a:noFill/>
          </a:ln>
        </c:spPr>
        <c:crossAx val="6043121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2BF5-4FE1-B5B5-E40C1E6ACBF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3-2BF5-4FE1-B5B5-E40C1E6ACBFD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5-2BF5-4FE1-B5B5-E40C1E6ACBF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7-2BF5-4FE1-B5B5-E40C1E6ACBF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5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7</c:v>
                </c:pt>
                <c:pt idx="1">
                  <c:v>0.56999999999999995</c:v>
                </c:pt>
                <c:pt idx="2">
                  <c:v>0.45</c:v>
                </c:pt>
                <c:pt idx="3">
                  <c:v>0.4</c:v>
                </c:pt>
                <c:pt idx="4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BF5-4FE1-B5B5-E40C1E6ACBF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50000"/>
                <a:alpha val="30000"/>
              </a:schemeClr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3</c:v>
                </c:pt>
                <c:pt idx="1">
                  <c:v>0.43</c:v>
                </c:pt>
                <c:pt idx="2">
                  <c:v>0.55000000000000004</c:v>
                </c:pt>
                <c:pt idx="3">
                  <c:v>0.6</c:v>
                </c:pt>
                <c:pt idx="4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BF5-4FE1-B5B5-E40C1E6ACB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604312968"/>
        <c:axId val="604311008"/>
      </c:barChart>
      <c:catAx>
        <c:axId val="604312968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one"/>
        <c:spPr>
          <a:ln>
            <a:noFill/>
          </a:ln>
        </c:spPr>
        <c:crossAx val="604311008"/>
        <c:crosses val="autoZero"/>
        <c:auto val="1"/>
        <c:lblAlgn val="ctr"/>
        <c:lblOffset val="100"/>
        <c:noMultiLvlLbl val="0"/>
      </c:catAx>
      <c:valAx>
        <c:axId val="604311008"/>
        <c:scaling>
          <c:orientation val="minMax"/>
          <c:max val="1"/>
        </c:scaling>
        <c:delete val="0"/>
        <c:axPos val="t"/>
        <c:numFmt formatCode="0%" sourceLinked="1"/>
        <c:majorTickMark val="none"/>
        <c:minorTickMark val="none"/>
        <c:tickLblPos val="none"/>
        <c:spPr>
          <a:ln>
            <a:noFill/>
          </a:ln>
        </c:spPr>
        <c:crossAx val="6043129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8372596914873"/>
          <c:y val="0.12554194813321401"/>
          <c:w val="0.865829095228829"/>
          <c:h val="0.686231782783785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eries One</c:v>
                </c:pt>
                <c:pt idx="1">
                  <c:v>Series Tw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14-43D7-9E73-69716CD9CC2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eries One</c:v>
                </c:pt>
                <c:pt idx="1">
                  <c:v>Series Two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50</c:v>
                </c:pt>
                <c:pt idx="1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C14-43D7-9E73-69716CD9CC2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eries One</c:v>
                </c:pt>
                <c:pt idx="1">
                  <c:v>Series Two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145</c:v>
                </c:pt>
                <c:pt idx="1">
                  <c:v>1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C14-43D7-9E73-69716CD9CC2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eries One</c:v>
                </c:pt>
                <c:pt idx="1">
                  <c:v>Series Two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60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C14-43D7-9E73-69716CD9CC2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Column 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eries One</c:v>
                </c:pt>
                <c:pt idx="1">
                  <c:v>Series Two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85</c:v>
                </c:pt>
                <c:pt idx="1">
                  <c:v>1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C14-43D7-9E73-69716CD9CC2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Column 6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eries One</c:v>
                </c:pt>
                <c:pt idx="1">
                  <c:v>Series Two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>
                  <c:v>75</c:v>
                </c:pt>
                <c:pt idx="1">
                  <c:v>1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C14-43D7-9E73-69716CD9CC2D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611569880"/>
        <c:axId val="611573408"/>
      </c:barChart>
      <c:catAx>
        <c:axId val="611569880"/>
        <c:scaling>
          <c:orientation val="maxMin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75000"/>
                  <a:alpha val="50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 w="1270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1573408"/>
        <c:crosses val="autoZero"/>
        <c:auto val="1"/>
        <c:lblAlgn val="ctr"/>
        <c:lblOffset val="100"/>
        <c:noMultiLvlLbl val="0"/>
      </c:catAx>
      <c:valAx>
        <c:axId val="611573408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75000"/>
                  <a:alpha val="50000"/>
                </a:schemeClr>
              </a:solidFill>
              <a:round/>
            </a:ln>
            <a:effectLst/>
          </c:spPr>
        </c:majorGridlines>
        <c:minorGridlines>
          <c:spPr>
            <a:ln w="3175" cap="flat" cmpd="sng" algn="ctr">
              <a:solidFill>
                <a:schemeClr val="tx1">
                  <a:lumMod val="75000"/>
                  <a:alpha val="50000"/>
                </a:schemeClr>
              </a:solidFill>
              <a:round/>
            </a:ln>
            <a:effectLst/>
          </c:spPr>
        </c:min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1569880"/>
        <c:crosses val="max"/>
        <c:crossBetween val="between"/>
      </c:valAx>
      <c:spPr>
        <a:noFill/>
        <a:ln w="3175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304716648857101E-2"/>
          <c:y val="0.12554194813321401"/>
          <c:w val="0.92580888785960602"/>
          <c:h val="0.719168635108262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eries One</c:v>
                </c:pt>
                <c:pt idx="1">
                  <c:v>Series Tw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EF-4C2F-AD60-3D9A97148CB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eries One</c:v>
                </c:pt>
                <c:pt idx="1">
                  <c:v>Series Two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50</c:v>
                </c:pt>
                <c:pt idx="1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EEF-4C2F-AD60-3D9A97148CB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 3</c:v>
                </c:pt>
              </c:strCache>
            </c:strRef>
          </c:tx>
          <c:spPr>
            <a:solidFill>
              <a:srgbClr val="336FC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eries One</c:v>
                </c:pt>
                <c:pt idx="1">
                  <c:v>Series Two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145</c:v>
                </c:pt>
                <c:pt idx="1">
                  <c:v>1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EEF-4C2F-AD60-3D9A97148CB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 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eries One</c:v>
                </c:pt>
                <c:pt idx="1">
                  <c:v>Series Two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60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EEF-4C2F-AD60-3D9A97148CB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Column 5</c:v>
                </c:pt>
              </c:strCache>
            </c:strRef>
          </c:tx>
          <c:spPr>
            <a:solidFill>
              <a:schemeClr val="accent5">
                <a:lumMod val="9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eries One</c:v>
                </c:pt>
                <c:pt idx="1">
                  <c:v>Series Two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85</c:v>
                </c:pt>
                <c:pt idx="1">
                  <c:v>1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EEF-4C2F-AD60-3D9A97148CB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Column 6</c:v>
                </c:pt>
              </c:strCache>
            </c:strRef>
          </c:tx>
          <c:spPr>
            <a:solidFill>
              <a:schemeClr val="accent6">
                <a:lumMod val="9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eries One</c:v>
                </c:pt>
                <c:pt idx="1">
                  <c:v>Series Two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>
                  <c:v>75</c:v>
                </c:pt>
                <c:pt idx="1">
                  <c:v>1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EEF-4C2F-AD60-3D9A97148CB5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5"/>
        <c:axId val="611569096"/>
        <c:axId val="611571448"/>
      </c:barChart>
      <c:catAx>
        <c:axId val="6115690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75000"/>
                  <a:alpha val="50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1571448"/>
        <c:crosses val="autoZero"/>
        <c:auto val="1"/>
        <c:lblAlgn val="ctr"/>
        <c:lblOffset val="100"/>
        <c:noMultiLvlLbl val="0"/>
      </c:catAx>
      <c:valAx>
        <c:axId val="611571448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60000"/>
                  <a:lumOff val="40000"/>
                  <a:alpha val="50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1569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0546716586897199"/>
          <c:y val="1.53956098580084E-2"/>
          <c:w val="0.69298723688950703"/>
          <c:h val="7.33509592179294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3.25</c:v>
                </c:pt>
                <c:pt idx="2">
                  <c:v>7.875</c:v>
                </c:pt>
                <c:pt idx="3">
                  <c:v>1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DB-4984-A238-7C2ADEC3D24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5.7200000000000006</c:v>
                </c:pt>
                <c:pt idx="2">
                  <c:v>4.0500000000000007</c:v>
                </c:pt>
                <c:pt idx="3">
                  <c:v>8.40000000000000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DB-4984-A238-7C2ADEC3D24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.6</c:v>
                </c:pt>
                <c:pt idx="2">
                  <c:v>6.75</c:v>
                </c:pt>
                <c:pt idx="3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DB-4984-A238-7C2ADEC3D2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10"/>
        <c:axId val="638876872"/>
        <c:axId val="638865896"/>
      </c:barChart>
      <c:catAx>
        <c:axId val="638876872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alpha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8865896"/>
        <c:crosses val="autoZero"/>
        <c:auto val="1"/>
        <c:lblAlgn val="ctr"/>
        <c:lblOffset val="100"/>
        <c:noMultiLvlLbl val="0"/>
      </c:catAx>
      <c:valAx>
        <c:axId val="6388658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alpha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8876872"/>
        <c:crosses val="autoZero"/>
        <c:crossBetween val="between"/>
      </c:valAx>
      <c:spPr>
        <a:noFill/>
        <a:ln w="3175">
          <a:solidFill>
            <a:schemeClr val="tx1">
              <a:alpha val="50000"/>
            </a:schemeClr>
          </a:solidFill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AB0AA77-1898-4FE9-8798-1C77B813386C}" type="doc">
      <dgm:prSet loTypeId="urn:microsoft.com/office/officeart/2005/8/layout/pyramid1" loCatId="pyramid" qsTypeId="urn:microsoft.com/office/officeart/2005/8/quickstyle/simple1" qsCatId="simple" csTypeId="urn:microsoft.com/office/officeart/2005/8/colors/accent0_3" csCatId="mainScheme" phldr="1"/>
      <dgm:spPr/>
    </dgm:pt>
    <dgm:pt modelId="{F5CF22CA-AA05-417F-8D89-5DC209A171EB}">
      <dgm:prSet phldrT="[Text]" custT="1"/>
      <dgm:spPr>
        <a:solidFill>
          <a:schemeClr val="accent3"/>
        </a:solidFill>
        <a:ln w="6350">
          <a:solidFill>
            <a:schemeClr val="bg1"/>
          </a:solidFill>
        </a:ln>
      </dgm:spPr>
      <dgm:t>
        <a:bodyPr tIns="457200" bIns="91440" anchor="b" anchorCtr="0"/>
        <a:lstStyle/>
        <a:p>
          <a:r>
            <a:rPr lang="en-US" sz="1200" dirty="0" err="1">
              <a:solidFill>
                <a:srgbClr val="FFFFFF"/>
              </a:solidFill>
            </a:rPr>
            <a:t>Xxxxx</a:t>
          </a:r>
          <a:r>
            <a:rPr lang="en-US" sz="1200" dirty="0">
              <a:solidFill>
                <a:srgbClr val="FFFFFF"/>
              </a:solidFill>
            </a:rPr>
            <a:t> </a:t>
          </a:r>
          <a:r>
            <a:rPr lang="en-US" sz="1200" dirty="0" err="1">
              <a:solidFill>
                <a:srgbClr val="FFFFFF"/>
              </a:solidFill>
            </a:rPr>
            <a:t>xxxx</a:t>
          </a:r>
          <a:endParaRPr lang="en-US" sz="1200" dirty="0">
            <a:solidFill>
              <a:srgbClr val="FFFFFF"/>
            </a:solidFill>
          </a:endParaRPr>
        </a:p>
      </dgm:t>
    </dgm:pt>
    <dgm:pt modelId="{B24D76BC-091D-46E3-95A6-27CDFDB64474}" type="parTrans" cxnId="{CDAF1BB5-5971-4149-9387-29FA98E64DF5}">
      <dgm:prSet/>
      <dgm:spPr/>
      <dgm:t>
        <a:bodyPr/>
        <a:lstStyle/>
        <a:p>
          <a:endParaRPr lang="en-US" sz="1200"/>
        </a:p>
      </dgm:t>
    </dgm:pt>
    <dgm:pt modelId="{B7816E19-641B-4521-9D4A-DD34E6715A9C}" type="sibTrans" cxnId="{CDAF1BB5-5971-4149-9387-29FA98E64DF5}">
      <dgm:prSet/>
      <dgm:spPr/>
      <dgm:t>
        <a:bodyPr/>
        <a:lstStyle/>
        <a:p>
          <a:endParaRPr lang="en-US" sz="1200"/>
        </a:p>
      </dgm:t>
    </dgm:pt>
    <dgm:pt modelId="{6ECAB874-4AEC-4976-BFEF-D2DDCFFB48DB}">
      <dgm:prSet phldrT="[Text]" custT="1"/>
      <dgm:spPr>
        <a:solidFill>
          <a:srgbClr val="336FCA"/>
        </a:solidFill>
        <a:ln w="6350">
          <a:solidFill>
            <a:schemeClr val="bg1"/>
          </a:solidFill>
        </a:ln>
      </dgm:spPr>
      <dgm:t>
        <a:bodyPr bIns="91440" anchor="b" anchorCtr="0"/>
        <a:lstStyle/>
        <a:p>
          <a:r>
            <a:rPr lang="en-US" sz="1200" dirty="0" err="1">
              <a:solidFill>
                <a:srgbClr val="FFFFFF"/>
              </a:solidFill>
            </a:rPr>
            <a:t>Xxxxxxx</a:t>
          </a:r>
          <a:r>
            <a:rPr lang="en-US" sz="1200" dirty="0">
              <a:solidFill>
                <a:srgbClr val="FFFFFF"/>
              </a:solidFill>
            </a:rPr>
            <a:t> xxx</a:t>
          </a:r>
        </a:p>
      </dgm:t>
    </dgm:pt>
    <dgm:pt modelId="{B1A72E13-34A4-4607-8D21-4B325897B9DC}" type="parTrans" cxnId="{30624DFB-5691-4243-BD55-E76B5EFFF0F9}">
      <dgm:prSet/>
      <dgm:spPr/>
      <dgm:t>
        <a:bodyPr/>
        <a:lstStyle/>
        <a:p>
          <a:endParaRPr lang="en-US" sz="1200"/>
        </a:p>
      </dgm:t>
    </dgm:pt>
    <dgm:pt modelId="{F9439EDD-648E-484C-8334-B80F3B796436}" type="sibTrans" cxnId="{30624DFB-5691-4243-BD55-E76B5EFFF0F9}">
      <dgm:prSet/>
      <dgm:spPr/>
      <dgm:t>
        <a:bodyPr/>
        <a:lstStyle/>
        <a:p>
          <a:endParaRPr lang="en-US" sz="1200"/>
        </a:p>
      </dgm:t>
    </dgm:pt>
    <dgm:pt modelId="{FE5AEA80-EEA4-425C-A2BF-C2EC3DE82944}">
      <dgm:prSet phldrT="[Text]" custT="1"/>
      <dgm:spPr>
        <a:solidFill>
          <a:schemeClr val="tx2"/>
        </a:solidFill>
        <a:ln w="6350">
          <a:solidFill>
            <a:schemeClr val="bg1"/>
          </a:solidFill>
        </a:ln>
      </dgm:spPr>
      <dgm:t>
        <a:bodyPr bIns="91440" anchor="b" anchorCtr="0"/>
        <a:lstStyle/>
        <a:p>
          <a:r>
            <a:rPr lang="en-US" sz="1200" dirty="0" err="1">
              <a:solidFill>
                <a:srgbClr val="FFFFFF"/>
              </a:solidFill>
            </a:rPr>
            <a:t>Xxxxx</a:t>
          </a:r>
          <a:r>
            <a:rPr lang="en-US" sz="1200" dirty="0">
              <a:solidFill>
                <a:srgbClr val="FFFFFF"/>
              </a:solidFill>
            </a:rPr>
            <a:t> </a:t>
          </a:r>
          <a:r>
            <a:rPr lang="en-US" sz="1200" dirty="0" err="1">
              <a:solidFill>
                <a:srgbClr val="FFFFFF"/>
              </a:solidFill>
            </a:rPr>
            <a:t>xxxxx</a:t>
          </a:r>
          <a:r>
            <a:rPr lang="en-US" sz="1200" dirty="0">
              <a:solidFill>
                <a:srgbClr val="FFFFFF"/>
              </a:solidFill>
            </a:rPr>
            <a:t> </a:t>
          </a:r>
          <a:r>
            <a:rPr lang="en-US" sz="1200" dirty="0" err="1">
              <a:solidFill>
                <a:srgbClr val="FFFFFF"/>
              </a:solidFill>
            </a:rPr>
            <a:t>xxxx</a:t>
          </a:r>
          <a:endParaRPr lang="en-US" sz="1200" dirty="0">
            <a:solidFill>
              <a:srgbClr val="FFFFFF"/>
            </a:solidFill>
          </a:endParaRPr>
        </a:p>
      </dgm:t>
    </dgm:pt>
    <dgm:pt modelId="{42608AFF-4881-4973-9004-680AD29B6B49}" type="sibTrans" cxnId="{FE65646B-64ED-45EC-A2C6-B4136DD21955}">
      <dgm:prSet/>
      <dgm:spPr/>
      <dgm:t>
        <a:bodyPr/>
        <a:lstStyle/>
        <a:p>
          <a:endParaRPr lang="en-US" sz="1200"/>
        </a:p>
      </dgm:t>
    </dgm:pt>
    <dgm:pt modelId="{6AD28A7E-6C93-4913-814B-476920260918}" type="parTrans" cxnId="{FE65646B-64ED-45EC-A2C6-B4136DD21955}">
      <dgm:prSet/>
      <dgm:spPr/>
      <dgm:t>
        <a:bodyPr/>
        <a:lstStyle/>
        <a:p>
          <a:endParaRPr lang="en-US" sz="1200"/>
        </a:p>
      </dgm:t>
    </dgm:pt>
    <dgm:pt modelId="{D4A936FC-2570-496B-AA38-40C3605001CC}">
      <dgm:prSet phldrT="[Text]" custT="1"/>
      <dgm:spPr>
        <a:solidFill>
          <a:schemeClr val="accent2"/>
        </a:solidFill>
        <a:ln w="6350">
          <a:solidFill>
            <a:schemeClr val="bg1"/>
          </a:solidFill>
        </a:ln>
      </dgm:spPr>
      <dgm:t>
        <a:bodyPr bIns="91440" anchor="b" anchorCtr="0"/>
        <a:lstStyle/>
        <a:p>
          <a:r>
            <a:rPr lang="en-US" sz="1200" dirty="0" err="1">
              <a:solidFill>
                <a:srgbClr val="FFFFFF"/>
              </a:solidFill>
            </a:rPr>
            <a:t>Xxxxxx</a:t>
          </a:r>
          <a:r>
            <a:rPr lang="en-US" sz="1200" dirty="0">
              <a:solidFill>
                <a:srgbClr val="FFFFFF"/>
              </a:solidFill>
            </a:rPr>
            <a:t> x </a:t>
          </a:r>
          <a:r>
            <a:rPr lang="en-US" sz="1200" dirty="0" err="1">
              <a:solidFill>
                <a:srgbClr val="FFFFFF"/>
              </a:solidFill>
            </a:rPr>
            <a:t>xxxxxx</a:t>
          </a:r>
          <a:r>
            <a:rPr lang="en-US" sz="1200" dirty="0">
              <a:solidFill>
                <a:srgbClr val="FFFFFF"/>
              </a:solidFill>
            </a:rPr>
            <a:t> xx </a:t>
          </a:r>
          <a:r>
            <a:rPr lang="en-US" sz="1200" dirty="0" err="1">
              <a:solidFill>
                <a:srgbClr val="FFFFFF"/>
              </a:solidFill>
            </a:rPr>
            <a:t>xxxxxxxx</a:t>
          </a:r>
          <a:r>
            <a:rPr lang="en-US" sz="1200" dirty="0">
              <a:solidFill>
                <a:srgbClr val="FFFFFF"/>
              </a:solidFill>
            </a:rPr>
            <a:t> x</a:t>
          </a:r>
        </a:p>
      </dgm:t>
    </dgm:pt>
    <dgm:pt modelId="{D6CA8AD3-0894-4415-8ED3-9D332A1C3D92}" type="parTrans" cxnId="{CB4F2AAF-189D-4F68-AE26-45FA4483C9D3}">
      <dgm:prSet/>
      <dgm:spPr/>
      <dgm:t>
        <a:bodyPr/>
        <a:lstStyle/>
        <a:p>
          <a:endParaRPr lang="en-US"/>
        </a:p>
      </dgm:t>
    </dgm:pt>
    <dgm:pt modelId="{325EEFCF-A725-4020-88B3-C6B03DE1471B}" type="sibTrans" cxnId="{CB4F2AAF-189D-4F68-AE26-45FA4483C9D3}">
      <dgm:prSet/>
      <dgm:spPr/>
      <dgm:t>
        <a:bodyPr/>
        <a:lstStyle/>
        <a:p>
          <a:endParaRPr lang="en-US"/>
        </a:p>
      </dgm:t>
    </dgm:pt>
    <dgm:pt modelId="{B17C045F-CEDC-45E8-AF47-23396402DAE4}" type="pres">
      <dgm:prSet presAssocID="{9AB0AA77-1898-4FE9-8798-1C77B813386C}" presName="Name0" presStyleCnt="0">
        <dgm:presLayoutVars>
          <dgm:dir/>
          <dgm:animLvl val="lvl"/>
          <dgm:resizeHandles val="exact"/>
        </dgm:presLayoutVars>
      </dgm:prSet>
      <dgm:spPr/>
    </dgm:pt>
    <dgm:pt modelId="{B0677A24-2EDC-436B-9948-D349CFF942E2}" type="pres">
      <dgm:prSet presAssocID="{F5CF22CA-AA05-417F-8D89-5DC209A171EB}" presName="Name8" presStyleCnt="0"/>
      <dgm:spPr/>
    </dgm:pt>
    <dgm:pt modelId="{ECF623A0-DEA5-4327-AAA2-FE30DA796F53}" type="pres">
      <dgm:prSet presAssocID="{F5CF22CA-AA05-417F-8D89-5DC209A171EB}" presName="level" presStyleLbl="node1" presStyleIdx="0" presStyleCnt="4" custScaleY="157956">
        <dgm:presLayoutVars>
          <dgm:chMax val="1"/>
          <dgm:bulletEnabled val="1"/>
        </dgm:presLayoutVars>
      </dgm:prSet>
      <dgm:spPr/>
    </dgm:pt>
    <dgm:pt modelId="{05F7C707-B930-4D0F-AD40-422CC764CDB1}" type="pres">
      <dgm:prSet presAssocID="{F5CF22CA-AA05-417F-8D89-5DC209A171E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4AC7E4F-46D4-4EF1-AFBB-CA8402D668D6}" type="pres">
      <dgm:prSet presAssocID="{6ECAB874-4AEC-4976-BFEF-D2DDCFFB48DB}" presName="Name8" presStyleCnt="0"/>
      <dgm:spPr/>
    </dgm:pt>
    <dgm:pt modelId="{3B4D60DC-3880-4788-95C0-C5331C7B8E49}" type="pres">
      <dgm:prSet presAssocID="{6ECAB874-4AEC-4976-BFEF-D2DDCFFB48DB}" presName="level" presStyleLbl="node1" presStyleIdx="1" presStyleCnt="4">
        <dgm:presLayoutVars>
          <dgm:chMax val="1"/>
          <dgm:bulletEnabled val="1"/>
        </dgm:presLayoutVars>
      </dgm:prSet>
      <dgm:spPr/>
    </dgm:pt>
    <dgm:pt modelId="{A7EB5071-B632-476B-8029-40FE41DF5B7B}" type="pres">
      <dgm:prSet presAssocID="{6ECAB874-4AEC-4976-BFEF-D2DDCFFB48D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F6D63C1-9902-48DD-98BB-AC7100A56A48}" type="pres">
      <dgm:prSet presAssocID="{FE5AEA80-EEA4-425C-A2BF-C2EC3DE82944}" presName="Name8" presStyleCnt="0"/>
      <dgm:spPr/>
    </dgm:pt>
    <dgm:pt modelId="{58F179C7-16A8-432B-BA8B-1B820D98D9A2}" type="pres">
      <dgm:prSet presAssocID="{FE5AEA80-EEA4-425C-A2BF-C2EC3DE82944}" presName="level" presStyleLbl="node1" presStyleIdx="2" presStyleCnt="4">
        <dgm:presLayoutVars>
          <dgm:chMax val="1"/>
          <dgm:bulletEnabled val="1"/>
        </dgm:presLayoutVars>
      </dgm:prSet>
      <dgm:spPr/>
    </dgm:pt>
    <dgm:pt modelId="{A71E63FD-05AD-4CE9-8DA0-97D40EB93279}" type="pres">
      <dgm:prSet presAssocID="{FE5AEA80-EEA4-425C-A2BF-C2EC3DE8294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8705749-BCA6-4C77-83F2-F7A74A93FFC6}" type="pres">
      <dgm:prSet presAssocID="{D4A936FC-2570-496B-AA38-40C3605001CC}" presName="Name8" presStyleCnt="0"/>
      <dgm:spPr/>
    </dgm:pt>
    <dgm:pt modelId="{4C93577F-86B3-4437-AC53-27DFCA2D946A}" type="pres">
      <dgm:prSet presAssocID="{D4A936FC-2570-496B-AA38-40C3605001CC}" presName="level" presStyleLbl="node1" presStyleIdx="3" presStyleCnt="4">
        <dgm:presLayoutVars>
          <dgm:chMax val="1"/>
          <dgm:bulletEnabled val="1"/>
        </dgm:presLayoutVars>
      </dgm:prSet>
      <dgm:spPr/>
    </dgm:pt>
    <dgm:pt modelId="{2BB7DDF4-8BB1-4DDF-90F3-9410843E50B9}" type="pres">
      <dgm:prSet presAssocID="{D4A936FC-2570-496B-AA38-40C3605001CC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EDF83232-070A-400A-B1BA-21CFBEE42034}" type="presOf" srcId="{D4A936FC-2570-496B-AA38-40C3605001CC}" destId="{2BB7DDF4-8BB1-4DDF-90F3-9410843E50B9}" srcOrd="1" destOrd="0" presId="urn:microsoft.com/office/officeart/2005/8/layout/pyramid1"/>
    <dgm:cxn modelId="{CBE54634-BB8B-41C6-B79B-D32986CB21B5}" type="presOf" srcId="{D4A936FC-2570-496B-AA38-40C3605001CC}" destId="{4C93577F-86B3-4437-AC53-27DFCA2D946A}" srcOrd="0" destOrd="0" presId="urn:microsoft.com/office/officeart/2005/8/layout/pyramid1"/>
    <dgm:cxn modelId="{518E8C3F-2893-46E4-B71E-F9EA8543F0A0}" type="presOf" srcId="{6ECAB874-4AEC-4976-BFEF-D2DDCFFB48DB}" destId="{3B4D60DC-3880-4788-95C0-C5331C7B8E49}" srcOrd="0" destOrd="0" presId="urn:microsoft.com/office/officeart/2005/8/layout/pyramid1"/>
    <dgm:cxn modelId="{4332105D-1574-4A11-A9F9-0E5811F94AEF}" type="presOf" srcId="{F5CF22CA-AA05-417F-8D89-5DC209A171EB}" destId="{ECF623A0-DEA5-4327-AAA2-FE30DA796F53}" srcOrd="0" destOrd="0" presId="urn:microsoft.com/office/officeart/2005/8/layout/pyramid1"/>
    <dgm:cxn modelId="{3B314D6A-72E2-49FC-B91F-4A20873D46FA}" type="presOf" srcId="{F5CF22CA-AA05-417F-8D89-5DC209A171EB}" destId="{05F7C707-B930-4D0F-AD40-422CC764CDB1}" srcOrd="1" destOrd="0" presId="urn:microsoft.com/office/officeart/2005/8/layout/pyramid1"/>
    <dgm:cxn modelId="{FE65646B-64ED-45EC-A2C6-B4136DD21955}" srcId="{9AB0AA77-1898-4FE9-8798-1C77B813386C}" destId="{FE5AEA80-EEA4-425C-A2BF-C2EC3DE82944}" srcOrd="2" destOrd="0" parTransId="{6AD28A7E-6C93-4913-814B-476920260918}" sibTransId="{42608AFF-4881-4973-9004-680AD29B6B49}"/>
    <dgm:cxn modelId="{7F1AF58A-DEEE-4AF2-8282-FD61378F244A}" type="presOf" srcId="{FE5AEA80-EEA4-425C-A2BF-C2EC3DE82944}" destId="{58F179C7-16A8-432B-BA8B-1B820D98D9A2}" srcOrd="0" destOrd="0" presId="urn:microsoft.com/office/officeart/2005/8/layout/pyramid1"/>
    <dgm:cxn modelId="{C762449F-37F4-4841-85B2-B728EABBF790}" type="presOf" srcId="{6ECAB874-4AEC-4976-BFEF-D2DDCFFB48DB}" destId="{A7EB5071-B632-476B-8029-40FE41DF5B7B}" srcOrd="1" destOrd="0" presId="urn:microsoft.com/office/officeart/2005/8/layout/pyramid1"/>
    <dgm:cxn modelId="{CB4F2AAF-189D-4F68-AE26-45FA4483C9D3}" srcId="{9AB0AA77-1898-4FE9-8798-1C77B813386C}" destId="{D4A936FC-2570-496B-AA38-40C3605001CC}" srcOrd="3" destOrd="0" parTransId="{D6CA8AD3-0894-4415-8ED3-9D332A1C3D92}" sibTransId="{325EEFCF-A725-4020-88B3-C6B03DE1471B}"/>
    <dgm:cxn modelId="{CDAF1BB5-5971-4149-9387-29FA98E64DF5}" srcId="{9AB0AA77-1898-4FE9-8798-1C77B813386C}" destId="{F5CF22CA-AA05-417F-8D89-5DC209A171EB}" srcOrd="0" destOrd="0" parTransId="{B24D76BC-091D-46E3-95A6-27CDFDB64474}" sibTransId="{B7816E19-641B-4521-9D4A-DD34E6715A9C}"/>
    <dgm:cxn modelId="{DF2B3CD3-1ED5-45C7-9312-1B93B0097836}" type="presOf" srcId="{FE5AEA80-EEA4-425C-A2BF-C2EC3DE82944}" destId="{A71E63FD-05AD-4CE9-8DA0-97D40EB93279}" srcOrd="1" destOrd="0" presId="urn:microsoft.com/office/officeart/2005/8/layout/pyramid1"/>
    <dgm:cxn modelId="{E1314EF2-5DA8-45BF-A821-DE0ABD589116}" type="presOf" srcId="{9AB0AA77-1898-4FE9-8798-1C77B813386C}" destId="{B17C045F-CEDC-45E8-AF47-23396402DAE4}" srcOrd="0" destOrd="0" presId="urn:microsoft.com/office/officeart/2005/8/layout/pyramid1"/>
    <dgm:cxn modelId="{30624DFB-5691-4243-BD55-E76B5EFFF0F9}" srcId="{9AB0AA77-1898-4FE9-8798-1C77B813386C}" destId="{6ECAB874-4AEC-4976-BFEF-D2DDCFFB48DB}" srcOrd="1" destOrd="0" parTransId="{B1A72E13-34A4-4607-8D21-4B325897B9DC}" sibTransId="{F9439EDD-648E-484C-8334-B80F3B796436}"/>
    <dgm:cxn modelId="{D25C64DF-29B5-4894-A988-1A26F37E76A6}" type="presParOf" srcId="{B17C045F-CEDC-45E8-AF47-23396402DAE4}" destId="{B0677A24-2EDC-436B-9948-D349CFF942E2}" srcOrd="0" destOrd="0" presId="urn:microsoft.com/office/officeart/2005/8/layout/pyramid1"/>
    <dgm:cxn modelId="{B49C1BC5-1AAC-4376-B79D-94E6C6C431C6}" type="presParOf" srcId="{B0677A24-2EDC-436B-9948-D349CFF942E2}" destId="{ECF623A0-DEA5-4327-AAA2-FE30DA796F53}" srcOrd="0" destOrd="0" presId="urn:microsoft.com/office/officeart/2005/8/layout/pyramid1"/>
    <dgm:cxn modelId="{B67EC853-41CC-4CA8-9159-5D1AB0FBD807}" type="presParOf" srcId="{B0677A24-2EDC-436B-9948-D349CFF942E2}" destId="{05F7C707-B930-4D0F-AD40-422CC764CDB1}" srcOrd="1" destOrd="0" presId="urn:microsoft.com/office/officeart/2005/8/layout/pyramid1"/>
    <dgm:cxn modelId="{8F2D7D99-7EE5-4CBE-9F65-F1A894C6C873}" type="presParOf" srcId="{B17C045F-CEDC-45E8-AF47-23396402DAE4}" destId="{C4AC7E4F-46D4-4EF1-AFBB-CA8402D668D6}" srcOrd="1" destOrd="0" presId="urn:microsoft.com/office/officeart/2005/8/layout/pyramid1"/>
    <dgm:cxn modelId="{99F08A3E-1217-4EEA-8936-D68FADB0F489}" type="presParOf" srcId="{C4AC7E4F-46D4-4EF1-AFBB-CA8402D668D6}" destId="{3B4D60DC-3880-4788-95C0-C5331C7B8E49}" srcOrd="0" destOrd="0" presId="urn:microsoft.com/office/officeart/2005/8/layout/pyramid1"/>
    <dgm:cxn modelId="{C6A189E2-89CC-4FD6-A19C-A5847DAEEB20}" type="presParOf" srcId="{C4AC7E4F-46D4-4EF1-AFBB-CA8402D668D6}" destId="{A7EB5071-B632-476B-8029-40FE41DF5B7B}" srcOrd="1" destOrd="0" presId="urn:microsoft.com/office/officeart/2005/8/layout/pyramid1"/>
    <dgm:cxn modelId="{C1F063B0-88A6-4FAE-A791-29D33776EFD9}" type="presParOf" srcId="{B17C045F-CEDC-45E8-AF47-23396402DAE4}" destId="{9F6D63C1-9902-48DD-98BB-AC7100A56A48}" srcOrd="2" destOrd="0" presId="urn:microsoft.com/office/officeart/2005/8/layout/pyramid1"/>
    <dgm:cxn modelId="{D7480C69-7FE4-476C-B51F-3ADB3AF1B6DA}" type="presParOf" srcId="{9F6D63C1-9902-48DD-98BB-AC7100A56A48}" destId="{58F179C7-16A8-432B-BA8B-1B820D98D9A2}" srcOrd="0" destOrd="0" presId="urn:microsoft.com/office/officeart/2005/8/layout/pyramid1"/>
    <dgm:cxn modelId="{42D4E1BE-481C-41F3-BC63-B2DCEE98C3A5}" type="presParOf" srcId="{9F6D63C1-9902-48DD-98BB-AC7100A56A48}" destId="{A71E63FD-05AD-4CE9-8DA0-97D40EB93279}" srcOrd="1" destOrd="0" presId="urn:microsoft.com/office/officeart/2005/8/layout/pyramid1"/>
    <dgm:cxn modelId="{04000FC1-743B-4699-BB03-6933E3FDEFE0}" type="presParOf" srcId="{B17C045F-CEDC-45E8-AF47-23396402DAE4}" destId="{C8705749-BCA6-4C77-83F2-F7A74A93FFC6}" srcOrd="3" destOrd="0" presId="urn:microsoft.com/office/officeart/2005/8/layout/pyramid1"/>
    <dgm:cxn modelId="{07815D78-7A3F-496A-8C5D-E312CDF20722}" type="presParOf" srcId="{C8705749-BCA6-4C77-83F2-F7A74A93FFC6}" destId="{4C93577F-86B3-4437-AC53-27DFCA2D946A}" srcOrd="0" destOrd="0" presId="urn:microsoft.com/office/officeart/2005/8/layout/pyramid1"/>
    <dgm:cxn modelId="{81B06E96-BC69-4109-B3D8-687EAADD6976}" type="presParOf" srcId="{C8705749-BCA6-4C77-83F2-F7A74A93FFC6}" destId="{2BB7DDF4-8BB1-4DDF-90F3-9410843E50B9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AB0AA77-1898-4FE9-8798-1C77B813386C}" type="doc">
      <dgm:prSet loTypeId="urn:microsoft.com/office/officeart/2005/8/layout/pyramid1" loCatId="pyramid" qsTypeId="urn:microsoft.com/office/officeart/2005/8/quickstyle/simple1" qsCatId="simple" csTypeId="urn:microsoft.com/office/officeart/2005/8/colors/accent0_3" csCatId="mainScheme" phldr="1"/>
      <dgm:spPr/>
    </dgm:pt>
    <dgm:pt modelId="{F5CF22CA-AA05-417F-8D89-5DC209A171EB}">
      <dgm:prSet phldrT="[Text]" custT="1"/>
      <dgm:spPr>
        <a:solidFill>
          <a:schemeClr val="accent3"/>
        </a:solidFill>
        <a:ln w="12700">
          <a:solidFill>
            <a:schemeClr val="bg1"/>
          </a:solidFill>
        </a:ln>
      </dgm:spPr>
      <dgm:t>
        <a:bodyPr tIns="457200" bIns="91440" anchor="b" anchorCtr="0"/>
        <a:lstStyle/>
        <a:p>
          <a:r>
            <a:rPr lang="en-US" sz="1200" dirty="0">
              <a:solidFill>
                <a:srgbClr val="FFFFFF"/>
              </a:solidFill>
            </a:rPr>
            <a:t>Xxx </a:t>
          </a:r>
          <a:r>
            <a:rPr lang="en-US" sz="1200" dirty="0" err="1">
              <a:solidFill>
                <a:srgbClr val="FFFFFF"/>
              </a:solidFill>
            </a:rPr>
            <a:t>xxx</a:t>
          </a:r>
          <a:r>
            <a:rPr lang="en-US" sz="1200" dirty="0">
              <a:solidFill>
                <a:srgbClr val="FFFFFF"/>
              </a:solidFill>
            </a:rPr>
            <a:t> </a:t>
          </a:r>
        </a:p>
      </dgm:t>
    </dgm:pt>
    <dgm:pt modelId="{B24D76BC-091D-46E3-95A6-27CDFDB64474}" type="parTrans" cxnId="{CDAF1BB5-5971-4149-9387-29FA98E64DF5}">
      <dgm:prSet/>
      <dgm:spPr/>
      <dgm:t>
        <a:bodyPr/>
        <a:lstStyle/>
        <a:p>
          <a:endParaRPr lang="en-US" sz="1200"/>
        </a:p>
      </dgm:t>
    </dgm:pt>
    <dgm:pt modelId="{B7816E19-641B-4521-9D4A-DD34E6715A9C}" type="sibTrans" cxnId="{CDAF1BB5-5971-4149-9387-29FA98E64DF5}">
      <dgm:prSet/>
      <dgm:spPr/>
      <dgm:t>
        <a:bodyPr/>
        <a:lstStyle/>
        <a:p>
          <a:endParaRPr lang="en-US" sz="1200"/>
        </a:p>
      </dgm:t>
    </dgm:pt>
    <dgm:pt modelId="{6ECAB874-4AEC-4976-BFEF-D2DDCFFB48DB}">
      <dgm:prSet phldrT="[Text]" custT="1"/>
      <dgm:spPr>
        <a:solidFill>
          <a:schemeClr val="tx2"/>
        </a:solidFill>
        <a:ln w="12700">
          <a:solidFill>
            <a:schemeClr val="bg1"/>
          </a:solidFill>
        </a:ln>
      </dgm:spPr>
      <dgm:t>
        <a:bodyPr bIns="91440" anchor="b" anchorCtr="0"/>
        <a:lstStyle/>
        <a:p>
          <a:r>
            <a:rPr lang="en-US" sz="1200" dirty="0">
              <a:solidFill>
                <a:srgbClr val="FFFFFF"/>
              </a:solidFill>
            </a:rPr>
            <a:t>Xx x xxx </a:t>
          </a:r>
        </a:p>
      </dgm:t>
    </dgm:pt>
    <dgm:pt modelId="{B1A72E13-34A4-4607-8D21-4B325897B9DC}" type="parTrans" cxnId="{30624DFB-5691-4243-BD55-E76B5EFFF0F9}">
      <dgm:prSet/>
      <dgm:spPr/>
      <dgm:t>
        <a:bodyPr/>
        <a:lstStyle/>
        <a:p>
          <a:endParaRPr lang="en-US" sz="1200"/>
        </a:p>
      </dgm:t>
    </dgm:pt>
    <dgm:pt modelId="{F9439EDD-648E-484C-8334-B80F3B796436}" type="sibTrans" cxnId="{30624DFB-5691-4243-BD55-E76B5EFFF0F9}">
      <dgm:prSet/>
      <dgm:spPr/>
      <dgm:t>
        <a:bodyPr/>
        <a:lstStyle/>
        <a:p>
          <a:endParaRPr lang="en-US" sz="1200"/>
        </a:p>
      </dgm:t>
    </dgm:pt>
    <dgm:pt modelId="{FE5AEA80-EEA4-425C-A2BF-C2EC3DE82944}">
      <dgm:prSet phldrT="[Text]" custT="1"/>
      <dgm:spPr>
        <a:solidFill>
          <a:schemeClr val="accent2"/>
        </a:solidFill>
        <a:ln w="12700">
          <a:solidFill>
            <a:schemeClr val="bg1"/>
          </a:solidFill>
        </a:ln>
      </dgm:spPr>
      <dgm:t>
        <a:bodyPr bIns="91440" anchor="b" anchorCtr="0"/>
        <a:lstStyle/>
        <a:p>
          <a:r>
            <a:rPr lang="en-US" sz="1200" dirty="0" err="1">
              <a:solidFill>
                <a:srgbClr val="FFFFFF"/>
              </a:solidFill>
            </a:rPr>
            <a:t>Xxxxxx</a:t>
          </a:r>
          <a:r>
            <a:rPr lang="en-US" sz="1200" dirty="0">
              <a:solidFill>
                <a:srgbClr val="FFFFFF"/>
              </a:solidFill>
            </a:rPr>
            <a:t> xxx </a:t>
          </a:r>
        </a:p>
      </dgm:t>
    </dgm:pt>
    <dgm:pt modelId="{6AD28A7E-6C93-4913-814B-476920260918}" type="parTrans" cxnId="{FE65646B-64ED-45EC-A2C6-B4136DD21955}">
      <dgm:prSet/>
      <dgm:spPr/>
      <dgm:t>
        <a:bodyPr/>
        <a:lstStyle/>
        <a:p>
          <a:endParaRPr lang="en-US" sz="1200"/>
        </a:p>
      </dgm:t>
    </dgm:pt>
    <dgm:pt modelId="{42608AFF-4881-4973-9004-680AD29B6B49}" type="sibTrans" cxnId="{FE65646B-64ED-45EC-A2C6-B4136DD21955}">
      <dgm:prSet/>
      <dgm:spPr/>
      <dgm:t>
        <a:bodyPr/>
        <a:lstStyle/>
        <a:p>
          <a:endParaRPr lang="en-US" sz="1200"/>
        </a:p>
      </dgm:t>
    </dgm:pt>
    <dgm:pt modelId="{B17C045F-CEDC-45E8-AF47-23396402DAE4}" type="pres">
      <dgm:prSet presAssocID="{9AB0AA77-1898-4FE9-8798-1C77B813386C}" presName="Name0" presStyleCnt="0">
        <dgm:presLayoutVars>
          <dgm:dir/>
          <dgm:animLvl val="lvl"/>
          <dgm:resizeHandles val="exact"/>
        </dgm:presLayoutVars>
      </dgm:prSet>
      <dgm:spPr/>
    </dgm:pt>
    <dgm:pt modelId="{B0677A24-2EDC-436B-9948-D349CFF942E2}" type="pres">
      <dgm:prSet presAssocID="{F5CF22CA-AA05-417F-8D89-5DC209A171EB}" presName="Name8" presStyleCnt="0"/>
      <dgm:spPr/>
    </dgm:pt>
    <dgm:pt modelId="{ECF623A0-DEA5-4327-AAA2-FE30DA796F53}" type="pres">
      <dgm:prSet presAssocID="{F5CF22CA-AA05-417F-8D89-5DC209A171EB}" presName="level" presStyleLbl="node1" presStyleIdx="0" presStyleCnt="3" custScaleY="157956">
        <dgm:presLayoutVars>
          <dgm:chMax val="1"/>
          <dgm:bulletEnabled val="1"/>
        </dgm:presLayoutVars>
      </dgm:prSet>
      <dgm:spPr/>
    </dgm:pt>
    <dgm:pt modelId="{05F7C707-B930-4D0F-AD40-422CC764CDB1}" type="pres">
      <dgm:prSet presAssocID="{F5CF22CA-AA05-417F-8D89-5DC209A171E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4AC7E4F-46D4-4EF1-AFBB-CA8402D668D6}" type="pres">
      <dgm:prSet presAssocID="{6ECAB874-4AEC-4976-BFEF-D2DDCFFB48DB}" presName="Name8" presStyleCnt="0"/>
      <dgm:spPr/>
    </dgm:pt>
    <dgm:pt modelId="{3B4D60DC-3880-4788-95C0-C5331C7B8E49}" type="pres">
      <dgm:prSet presAssocID="{6ECAB874-4AEC-4976-BFEF-D2DDCFFB48DB}" presName="level" presStyleLbl="node1" presStyleIdx="1" presStyleCnt="3">
        <dgm:presLayoutVars>
          <dgm:chMax val="1"/>
          <dgm:bulletEnabled val="1"/>
        </dgm:presLayoutVars>
      </dgm:prSet>
      <dgm:spPr/>
    </dgm:pt>
    <dgm:pt modelId="{A7EB5071-B632-476B-8029-40FE41DF5B7B}" type="pres">
      <dgm:prSet presAssocID="{6ECAB874-4AEC-4976-BFEF-D2DDCFFB48D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F6D63C1-9902-48DD-98BB-AC7100A56A48}" type="pres">
      <dgm:prSet presAssocID="{FE5AEA80-EEA4-425C-A2BF-C2EC3DE82944}" presName="Name8" presStyleCnt="0"/>
      <dgm:spPr/>
    </dgm:pt>
    <dgm:pt modelId="{58F179C7-16A8-432B-BA8B-1B820D98D9A2}" type="pres">
      <dgm:prSet presAssocID="{FE5AEA80-EEA4-425C-A2BF-C2EC3DE82944}" presName="level" presStyleLbl="node1" presStyleIdx="2" presStyleCnt="3">
        <dgm:presLayoutVars>
          <dgm:chMax val="1"/>
          <dgm:bulletEnabled val="1"/>
        </dgm:presLayoutVars>
      </dgm:prSet>
      <dgm:spPr/>
    </dgm:pt>
    <dgm:pt modelId="{A71E63FD-05AD-4CE9-8DA0-97D40EB93279}" type="pres">
      <dgm:prSet presAssocID="{FE5AEA80-EEA4-425C-A2BF-C2EC3DE8294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141C5F1B-6CB9-4E19-923A-65F634E0FB83}" type="presOf" srcId="{F5CF22CA-AA05-417F-8D89-5DC209A171EB}" destId="{ECF623A0-DEA5-4327-AAA2-FE30DA796F53}" srcOrd="0" destOrd="0" presId="urn:microsoft.com/office/officeart/2005/8/layout/pyramid1"/>
    <dgm:cxn modelId="{FE710C47-6D6D-4790-87D0-B72EEB4D58B0}" type="presOf" srcId="{FE5AEA80-EEA4-425C-A2BF-C2EC3DE82944}" destId="{A71E63FD-05AD-4CE9-8DA0-97D40EB93279}" srcOrd="1" destOrd="0" presId="urn:microsoft.com/office/officeart/2005/8/layout/pyramid1"/>
    <dgm:cxn modelId="{FE65646B-64ED-45EC-A2C6-B4136DD21955}" srcId="{9AB0AA77-1898-4FE9-8798-1C77B813386C}" destId="{FE5AEA80-EEA4-425C-A2BF-C2EC3DE82944}" srcOrd="2" destOrd="0" parTransId="{6AD28A7E-6C93-4913-814B-476920260918}" sibTransId="{42608AFF-4881-4973-9004-680AD29B6B49}"/>
    <dgm:cxn modelId="{887B7770-2479-42AB-9236-8549561B2680}" type="presOf" srcId="{6ECAB874-4AEC-4976-BFEF-D2DDCFFB48DB}" destId="{A7EB5071-B632-476B-8029-40FE41DF5B7B}" srcOrd="1" destOrd="0" presId="urn:microsoft.com/office/officeart/2005/8/layout/pyramid1"/>
    <dgm:cxn modelId="{CDAF1BB5-5971-4149-9387-29FA98E64DF5}" srcId="{9AB0AA77-1898-4FE9-8798-1C77B813386C}" destId="{F5CF22CA-AA05-417F-8D89-5DC209A171EB}" srcOrd="0" destOrd="0" parTransId="{B24D76BC-091D-46E3-95A6-27CDFDB64474}" sibTransId="{B7816E19-641B-4521-9D4A-DD34E6715A9C}"/>
    <dgm:cxn modelId="{8AD53EB7-6170-4859-8124-37EF25F3B078}" type="presOf" srcId="{F5CF22CA-AA05-417F-8D89-5DC209A171EB}" destId="{05F7C707-B930-4D0F-AD40-422CC764CDB1}" srcOrd="1" destOrd="0" presId="urn:microsoft.com/office/officeart/2005/8/layout/pyramid1"/>
    <dgm:cxn modelId="{1FFF55F5-2E46-4CD6-B2E1-0E453A29FD13}" type="presOf" srcId="{6ECAB874-4AEC-4976-BFEF-D2DDCFFB48DB}" destId="{3B4D60DC-3880-4788-95C0-C5331C7B8E49}" srcOrd="0" destOrd="0" presId="urn:microsoft.com/office/officeart/2005/8/layout/pyramid1"/>
    <dgm:cxn modelId="{97651AF8-C49A-4336-BEC5-47B585826EA6}" type="presOf" srcId="{9AB0AA77-1898-4FE9-8798-1C77B813386C}" destId="{B17C045F-CEDC-45E8-AF47-23396402DAE4}" srcOrd="0" destOrd="0" presId="urn:microsoft.com/office/officeart/2005/8/layout/pyramid1"/>
    <dgm:cxn modelId="{CC874AFA-C80E-4C0F-9C3E-167FF8419348}" type="presOf" srcId="{FE5AEA80-EEA4-425C-A2BF-C2EC3DE82944}" destId="{58F179C7-16A8-432B-BA8B-1B820D98D9A2}" srcOrd="0" destOrd="0" presId="urn:microsoft.com/office/officeart/2005/8/layout/pyramid1"/>
    <dgm:cxn modelId="{30624DFB-5691-4243-BD55-E76B5EFFF0F9}" srcId="{9AB0AA77-1898-4FE9-8798-1C77B813386C}" destId="{6ECAB874-4AEC-4976-BFEF-D2DDCFFB48DB}" srcOrd="1" destOrd="0" parTransId="{B1A72E13-34A4-4607-8D21-4B325897B9DC}" sibTransId="{F9439EDD-648E-484C-8334-B80F3B796436}"/>
    <dgm:cxn modelId="{400A9B2B-32EF-4D9D-AEFF-37B4BE91CE73}" type="presParOf" srcId="{B17C045F-CEDC-45E8-AF47-23396402DAE4}" destId="{B0677A24-2EDC-436B-9948-D349CFF942E2}" srcOrd="0" destOrd="0" presId="urn:microsoft.com/office/officeart/2005/8/layout/pyramid1"/>
    <dgm:cxn modelId="{C24A3B03-A2E7-479A-862C-2B2AB1910780}" type="presParOf" srcId="{B0677A24-2EDC-436B-9948-D349CFF942E2}" destId="{ECF623A0-DEA5-4327-AAA2-FE30DA796F53}" srcOrd="0" destOrd="0" presId="urn:microsoft.com/office/officeart/2005/8/layout/pyramid1"/>
    <dgm:cxn modelId="{5E705C83-A649-400D-80C2-E5069069158E}" type="presParOf" srcId="{B0677A24-2EDC-436B-9948-D349CFF942E2}" destId="{05F7C707-B930-4D0F-AD40-422CC764CDB1}" srcOrd="1" destOrd="0" presId="urn:microsoft.com/office/officeart/2005/8/layout/pyramid1"/>
    <dgm:cxn modelId="{85ECF11B-5975-4451-AAC9-F33F98A2B2E1}" type="presParOf" srcId="{B17C045F-CEDC-45E8-AF47-23396402DAE4}" destId="{C4AC7E4F-46D4-4EF1-AFBB-CA8402D668D6}" srcOrd="1" destOrd="0" presId="urn:microsoft.com/office/officeart/2005/8/layout/pyramid1"/>
    <dgm:cxn modelId="{0772DA85-CB73-4B3D-971C-D1C403BB1A16}" type="presParOf" srcId="{C4AC7E4F-46D4-4EF1-AFBB-CA8402D668D6}" destId="{3B4D60DC-3880-4788-95C0-C5331C7B8E49}" srcOrd="0" destOrd="0" presId="urn:microsoft.com/office/officeart/2005/8/layout/pyramid1"/>
    <dgm:cxn modelId="{7F133A4A-2CFC-4967-AAF8-575E053401EE}" type="presParOf" srcId="{C4AC7E4F-46D4-4EF1-AFBB-CA8402D668D6}" destId="{A7EB5071-B632-476B-8029-40FE41DF5B7B}" srcOrd="1" destOrd="0" presId="urn:microsoft.com/office/officeart/2005/8/layout/pyramid1"/>
    <dgm:cxn modelId="{014C4129-6896-43B0-B20F-7F020CB4C1AD}" type="presParOf" srcId="{B17C045F-CEDC-45E8-AF47-23396402DAE4}" destId="{9F6D63C1-9902-48DD-98BB-AC7100A56A48}" srcOrd="2" destOrd="0" presId="urn:microsoft.com/office/officeart/2005/8/layout/pyramid1"/>
    <dgm:cxn modelId="{EED2432C-75A9-42E6-B3D8-FE16E0A47112}" type="presParOf" srcId="{9F6D63C1-9902-48DD-98BB-AC7100A56A48}" destId="{58F179C7-16A8-432B-BA8B-1B820D98D9A2}" srcOrd="0" destOrd="0" presId="urn:microsoft.com/office/officeart/2005/8/layout/pyramid1"/>
    <dgm:cxn modelId="{AC9AA67F-C4FE-4AB2-95E4-C6EB081BF375}" type="presParOf" srcId="{9F6D63C1-9902-48DD-98BB-AC7100A56A48}" destId="{A71E63FD-05AD-4CE9-8DA0-97D40EB93279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4CD5FEC-63A2-9D4D-81EE-BFF0139871ED}" type="doc">
      <dgm:prSet loTypeId="urn:microsoft.com/office/officeart/2005/8/layout/matrix2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4E8BF00-AB4E-F948-9A47-993CC24BBA91}">
      <dgm:prSet phldrT="[Text]" custT="1"/>
      <dgm:spPr>
        <a:solidFill>
          <a:schemeClr val="accent2"/>
        </a:solidFill>
        <a:effectLst/>
      </dgm:spPr>
      <dgm:t>
        <a:bodyPr/>
        <a:lstStyle/>
        <a:p>
          <a:br>
            <a:rPr lang="en-US" sz="1200" dirty="0">
              <a:solidFill>
                <a:srgbClr val="FFFFFF"/>
              </a:solidFill>
            </a:rPr>
          </a:br>
          <a:br>
            <a:rPr lang="en-US" sz="1200" dirty="0">
              <a:solidFill>
                <a:srgbClr val="FFFFFF"/>
              </a:solidFill>
            </a:rPr>
          </a:br>
          <a:br>
            <a:rPr lang="en-US" sz="1200" dirty="0">
              <a:solidFill>
                <a:srgbClr val="FFFFFF"/>
              </a:solidFill>
            </a:rPr>
          </a:br>
          <a:br>
            <a:rPr lang="en-US" sz="1200" dirty="0">
              <a:solidFill>
                <a:srgbClr val="FFFFFF"/>
              </a:solidFill>
            </a:rPr>
          </a:br>
          <a:r>
            <a:rPr lang="en-US" sz="1200" dirty="0">
              <a:solidFill>
                <a:srgbClr val="FFFFFF"/>
              </a:solidFill>
            </a:rPr>
            <a:t>XXX</a:t>
          </a:r>
        </a:p>
      </dgm:t>
    </dgm:pt>
    <dgm:pt modelId="{90D791A2-C980-C748-BABC-B07CD36AD28B}" type="parTrans" cxnId="{6DFD6117-CFBB-D941-8E40-E9C2F9B78605}">
      <dgm:prSet/>
      <dgm:spPr/>
      <dgm:t>
        <a:bodyPr/>
        <a:lstStyle/>
        <a:p>
          <a:endParaRPr lang="en-US"/>
        </a:p>
      </dgm:t>
    </dgm:pt>
    <dgm:pt modelId="{1D18B10C-52CC-734A-BFAE-CDBA17B4215F}" type="sibTrans" cxnId="{6DFD6117-CFBB-D941-8E40-E9C2F9B78605}">
      <dgm:prSet/>
      <dgm:spPr/>
      <dgm:t>
        <a:bodyPr/>
        <a:lstStyle/>
        <a:p>
          <a:endParaRPr lang="en-US"/>
        </a:p>
      </dgm:t>
    </dgm:pt>
    <dgm:pt modelId="{67CF41B4-33FA-2047-BF0F-004FEC6D6678}">
      <dgm:prSet phldrT="[Text]" custT="1"/>
      <dgm:spPr>
        <a:solidFill>
          <a:schemeClr val="accent2"/>
        </a:solidFill>
        <a:effectLst/>
      </dgm:spPr>
      <dgm:t>
        <a:bodyPr/>
        <a:lstStyle/>
        <a:p>
          <a:br>
            <a:rPr lang="en-US" sz="1200" dirty="0">
              <a:solidFill>
                <a:srgbClr val="FFFFFF"/>
              </a:solidFill>
            </a:rPr>
          </a:br>
          <a:br>
            <a:rPr lang="en-US" sz="1200" dirty="0">
              <a:solidFill>
                <a:srgbClr val="FFFFFF"/>
              </a:solidFill>
            </a:rPr>
          </a:br>
          <a:br>
            <a:rPr lang="en-US" sz="1200" dirty="0">
              <a:solidFill>
                <a:srgbClr val="FFFFFF"/>
              </a:solidFill>
            </a:rPr>
          </a:br>
          <a:br>
            <a:rPr lang="en-US" sz="1200" dirty="0">
              <a:solidFill>
                <a:srgbClr val="FFFFFF"/>
              </a:solidFill>
            </a:rPr>
          </a:br>
          <a:r>
            <a:rPr lang="en-US" sz="1200" dirty="0">
              <a:solidFill>
                <a:srgbClr val="FFFFFF"/>
              </a:solidFill>
            </a:rPr>
            <a:t>XXX</a:t>
          </a:r>
        </a:p>
      </dgm:t>
    </dgm:pt>
    <dgm:pt modelId="{372E4411-D332-5549-8359-29D05D38B148}" type="parTrans" cxnId="{5DD034AB-69C6-B94A-934B-E2FD6823FFEA}">
      <dgm:prSet/>
      <dgm:spPr/>
      <dgm:t>
        <a:bodyPr/>
        <a:lstStyle/>
        <a:p>
          <a:endParaRPr lang="en-US"/>
        </a:p>
      </dgm:t>
    </dgm:pt>
    <dgm:pt modelId="{12BBBEC7-7988-0647-8698-0C338D0677E8}" type="sibTrans" cxnId="{5DD034AB-69C6-B94A-934B-E2FD6823FFEA}">
      <dgm:prSet/>
      <dgm:spPr/>
      <dgm:t>
        <a:bodyPr/>
        <a:lstStyle/>
        <a:p>
          <a:endParaRPr lang="en-US"/>
        </a:p>
      </dgm:t>
    </dgm:pt>
    <dgm:pt modelId="{B3878C2E-FC7B-8D4B-88BE-BA929347E9F7}">
      <dgm:prSet phldrT="[Text]" custT="1"/>
      <dgm:spPr>
        <a:solidFill>
          <a:schemeClr val="accent2"/>
        </a:solidFill>
        <a:effectLst/>
      </dgm:spPr>
      <dgm:t>
        <a:bodyPr/>
        <a:lstStyle/>
        <a:p>
          <a:br>
            <a:rPr lang="en-US" sz="1200" dirty="0">
              <a:solidFill>
                <a:srgbClr val="FFFFFF"/>
              </a:solidFill>
            </a:rPr>
          </a:br>
          <a:br>
            <a:rPr lang="en-US" sz="1200" dirty="0">
              <a:solidFill>
                <a:srgbClr val="FFFFFF"/>
              </a:solidFill>
            </a:rPr>
          </a:br>
          <a:br>
            <a:rPr lang="en-US" sz="1200" dirty="0">
              <a:solidFill>
                <a:srgbClr val="FFFFFF"/>
              </a:solidFill>
            </a:rPr>
          </a:br>
          <a:br>
            <a:rPr lang="en-US" sz="1200" dirty="0">
              <a:solidFill>
                <a:srgbClr val="FFFFFF"/>
              </a:solidFill>
            </a:rPr>
          </a:br>
          <a:r>
            <a:rPr lang="en-US" sz="1200" dirty="0">
              <a:solidFill>
                <a:srgbClr val="FFFFFF"/>
              </a:solidFill>
            </a:rPr>
            <a:t>XXX</a:t>
          </a:r>
        </a:p>
      </dgm:t>
    </dgm:pt>
    <dgm:pt modelId="{654B6E24-65BD-7245-85A1-79E348C10C66}" type="parTrans" cxnId="{4B1639A1-CDFC-B64F-B42A-5909E50F967C}">
      <dgm:prSet/>
      <dgm:spPr/>
      <dgm:t>
        <a:bodyPr/>
        <a:lstStyle/>
        <a:p>
          <a:endParaRPr lang="en-US"/>
        </a:p>
      </dgm:t>
    </dgm:pt>
    <dgm:pt modelId="{E77E004E-453E-EF4E-A310-74A70CE32FD6}" type="sibTrans" cxnId="{4B1639A1-CDFC-B64F-B42A-5909E50F967C}">
      <dgm:prSet/>
      <dgm:spPr/>
      <dgm:t>
        <a:bodyPr/>
        <a:lstStyle/>
        <a:p>
          <a:endParaRPr lang="en-US"/>
        </a:p>
      </dgm:t>
    </dgm:pt>
    <dgm:pt modelId="{A011FD10-AB94-1D44-9D12-142619B2F0E5}">
      <dgm:prSet phldrT="[Text]" custT="1"/>
      <dgm:spPr>
        <a:solidFill>
          <a:schemeClr val="accent2"/>
        </a:solidFill>
        <a:effectLst/>
      </dgm:spPr>
      <dgm:t>
        <a:bodyPr/>
        <a:lstStyle/>
        <a:p>
          <a:br>
            <a:rPr lang="en-US" sz="1200" dirty="0">
              <a:solidFill>
                <a:srgbClr val="FFFFFF"/>
              </a:solidFill>
            </a:rPr>
          </a:br>
          <a:br>
            <a:rPr lang="en-US" sz="1200" dirty="0">
              <a:solidFill>
                <a:srgbClr val="FFFFFF"/>
              </a:solidFill>
            </a:rPr>
          </a:br>
          <a:br>
            <a:rPr lang="en-US" sz="1200" dirty="0">
              <a:solidFill>
                <a:srgbClr val="FFFFFF"/>
              </a:solidFill>
            </a:rPr>
          </a:br>
          <a:br>
            <a:rPr lang="en-US" sz="1200" dirty="0">
              <a:solidFill>
                <a:srgbClr val="FFFFFF"/>
              </a:solidFill>
            </a:rPr>
          </a:br>
          <a:r>
            <a:rPr lang="en-US" sz="1200" dirty="0">
              <a:solidFill>
                <a:srgbClr val="FFFFFF"/>
              </a:solidFill>
            </a:rPr>
            <a:t>XXX</a:t>
          </a:r>
        </a:p>
      </dgm:t>
    </dgm:pt>
    <dgm:pt modelId="{E38718DC-9268-2949-87E7-FABCF874360D}" type="parTrans" cxnId="{92C5084D-9DA2-9E48-AB55-4780F7435ECC}">
      <dgm:prSet/>
      <dgm:spPr/>
      <dgm:t>
        <a:bodyPr/>
        <a:lstStyle/>
        <a:p>
          <a:endParaRPr lang="en-US"/>
        </a:p>
      </dgm:t>
    </dgm:pt>
    <dgm:pt modelId="{0C61320D-F79A-6D4E-82C0-B1E94E5B3F46}" type="sibTrans" cxnId="{92C5084D-9DA2-9E48-AB55-4780F7435ECC}">
      <dgm:prSet/>
      <dgm:spPr/>
      <dgm:t>
        <a:bodyPr/>
        <a:lstStyle/>
        <a:p>
          <a:endParaRPr lang="en-US"/>
        </a:p>
      </dgm:t>
    </dgm:pt>
    <dgm:pt modelId="{DF15AC77-6654-8945-BE1C-91B52A045688}" type="pres">
      <dgm:prSet presAssocID="{44CD5FEC-63A2-9D4D-81EE-BFF0139871ED}" presName="matrix" presStyleCnt="0">
        <dgm:presLayoutVars>
          <dgm:chMax val="1"/>
          <dgm:dir/>
          <dgm:resizeHandles val="exact"/>
        </dgm:presLayoutVars>
      </dgm:prSet>
      <dgm:spPr/>
    </dgm:pt>
    <dgm:pt modelId="{CCF46950-3CC7-1647-8986-D66AF0C30036}" type="pres">
      <dgm:prSet presAssocID="{44CD5FEC-63A2-9D4D-81EE-BFF0139871ED}" presName="axisShape" presStyleLbl="bgShp" presStyleIdx="0" presStyleCnt="1"/>
      <dgm:spPr>
        <a:solidFill>
          <a:schemeClr val="tx2"/>
        </a:solidFill>
        <a:ln>
          <a:noFill/>
        </a:ln>
        <a:effectLst/>
      </dgm:spPr>
    </dgm:pt>
    <dgm:pt modelId="{4869DAB9-E400-284B-BA17-D97171070EA6}" type="pres">
      <dgm:prSet presAssocID="{44CD5FEC-63A2-9D4D-81EE-BFF0139871ED}" presName="rect1" presStyleLbl="node1" presStyleIdx="0" presStyleCnt="4">
        <dgm:presLayoutVars>
          <dgm:chMax val="0"/>
          <dgm:chPref val="0"/>
          <dgm:bulletEnabled val="1"/>
        </dgm:presLayoutVars>
      </dgm:prSet>
      <dgm:spPr>
        <a:prstGeom prst="rect">
          <a:avLst/>
        </a:prstGeom>
      </dgm:spPr>
    </dgm:pt>
    <dgm:pt modelId="{02F97DDD-29D8-7341-870C-A0DFF4162F28}" type="pres">
      <dgm:prSet presAssocID="{44CD5FEC-63A2-9D4D-81EE-BFF0139871ED}" presName="rect2" presStyleLbl="node1" presStyleIdx="1" presStyleCnt="4">
        <dgm:presLayoutVars>
          <dgm:chMax val="0"/>
          <dgm:chPref val="0"/>
          <dgm:bulletEnabled val="1"/>
        </dgm:presLayoutVars>
      </dgm:prSet>
      <dgm:spPr>
        <a:prstGeom prst="rect">
          <a:avLst/>
        </a:prstGeom>
      </dgm:spPr>
    </dgm:pt>
    <dgm:pt modelId="{F28DA34A-3F78-2A49-9D10-DA63C4670857}" type="pres">
      <dgm:prSet presAssocID="{44CD5FEC-63A2-9D4D-81EE-BFF0139871ED}" presName="rect3" presStyleLbl="node1" presStyleIdx="2" presStyleCnt="4">
        <dgm:presLayoutVars>
          <dgm:chMax val="0"/>
          <dgm:chPref val="0"/>
          <dgm:bulletEnabled val="1"/>
        </dgm:presLayoutVars>
      </dgm:prSet>
      <dgm:spPr>
        <a:prstGeom prst="rect">
          <a:avLst/>
        </a:prstGeom>
      </dgm:spPr>
    </dgm:pt>
    <dgm:pt modelId="{B55C5231-3E17-204C-9BC9-20065CA52065}" type="pres">
      <dgm:prSet presAssocID="{44CD5FEC-63A2-9D4D-81EE-BFF0139871ED}" presName="rect4" presStyleLbl="node1" presStyleIdx="3" presStyleCnt="4">
        <dgm:presLayoutVars>
          <dgm:chMax val="0"/>
          <dgm:chPref val="0"/>
          <dgm:bulletEnabled val="1"/>
        </dgm:presLayoutVars>
      </dgm:prSet>
      <dgm:spPr>
        <a:prstGeom prst="rect">
          <a:avLst/>
        </a:prstGeom>
      </dgm:spPr>
    </dgm:pt>
  </dgm:ptLst>
  <dgm:cxnLst>
    <dgm:cxn modelId="{6DFD6117-CFBB-D941-8E40-E9C2F9B78605}" srcId="{44CD5FEC-63A2-9D4D-81EE-BFF0139871ED}" destId="{94E8BF00-AB4E-F948-9A47-993CC24BBA91}" srcOrd="1" destOrd="0" parTransId="{90D791A2-C980-C748-BABC-B07CD36AD28B}" sibTransId="{1D18B10C-52CC-734A-BFAE-CDBA17B4215F}"/>
    <dgm:cxn modelId="{263E4131-F219-C245-AE52-38FFEC640638}" type="presOf" srcId="{B3878C2E-FC7B-8D4B-88BE-BA929347E9F7}" destId="{F28DA34A-3F78-2A49-9D10-DA63C4670857}" srcOrd="0" destOrd="0" presId="urn:microsoft.com/office/officeart/2005/8/layout/matrix2"/>
    <dgm:cxn modelId="{5433B832-6162-9C43-AD15-88917ACA7D74}" type="presOf" srcId="{A011FD10-AB94-1D44-9D12-142619B2F0E5}" destId="{B55C5231-3E17-204C-9BC9-20065CA52065}" srcOrd="0" destOrd="0" presId="urn:microsoft.com/office/officeart/2005/8/layout/matrix2"/>
    <dgm:cxn modelId="{9E038C5F-3416-B543-A82E-909DD5D51A19}" type="presOf" srcId="{67CF41B4-33FA-2047-BF0F-004FEC6D6678}" destId="{4869DAB9-E400-284B-BA17-D97171070EA6}" srcOrd="0" destOrd="0" presId="urn:microsoft.com/office/officeart/2005/8/layout/matrix2"/>
    <dgm:cxn modelId="{92C5084D-9DA2-9E48-AB55-4780F7435ECC}" srcId="{44CD5FEC-63A2-9D4D-81EE-BFF0139871ED}" destId="{A011FD10-AB94-1D44-9D12-142619B2F0E5}" srcOrd="3" destOrd="0" parTransId="{E38718DC-9268-2949-87E7-FABCF874360D}" sibTransId="{0C61320D-F79A-6D4E-82C0-B1E94E5B3F46}"/>
    <dgm:cxn modelId="{377F6572-11D3-714D-A76F-F9B87225A8DA}" type="presOf" srcId="{44CD5FEC-63A2-9D4D-81EE-BFF0139871ED}" destId="{DF15AC77-6654-8945-BE1C-91B52A045688}" srcOrd="0" destOrd="0" presId="urn:microsoft.com/office/officeart/2005/8/layout/matrix2"/>
    <dgm:cxn modelId="{4B1639A1-CDFC-B64F-B42A-5909E50F967C}" srcId="{44CD5FEC-63A2-9D4D-81EE-BFF0139871ED}" destId="{B3878C2E-FC7B-8D4B-88BE-BA929347E9F7}" srcOrd="2" destOrd="0" parTransId="{654B6E24-65BD-7245-85A1-79E348C10C66}" sibTransId="{E77E004E-453E-EF4E-A310-74A70CE32FD6}"/>
    <dgm:cxn modelId="{5DD034AB-69C6-B94A-934B-E2FD6823FFEA}" srcId="{44CD5FEC-63A2-9D4D-81EE-BFF0139871ED}" destId="{67CF41B4-33FA-2047-BF0F-004FEC6D6678}" srcOrd="0" destOrd="0" parTransId="{372E4411-D332-5549-8359-29D05D38B148}" sibTransId="{12BBBEC7-7988-0647-8698-0C338D0677E8}"/>
    <dgm:cxn modelId="{177778E1-3158-2049-AD80-2162AB218363}" type="presOf" srcId="{94E8BF00-AB4E-F948-9A47-993CC24BBA91}" destId="{02F97DDD-29D8-7341-870C-A0DFF4162F28}" srcOrd="0" destOrd="0" presId="urn:microsoft.com/office/officeart/2005/8/layout/matrix2"/>
    <dgm:cxn modelId="{96C77AF3-E870-FC4B-A843-D317928843DF}" type="presParOf" srcId="{DF15AC77-6654-8945-BE1C-91B52A045688}" destId="{CCF46950-3CC7-1647-8986-D66AF0C30036}" srcOrd="0" destOrd="0" presId="urn:microsoft.com/office/officeart/2005/8/layout/matrix2"/>
    <dgm:cxn modelId="{4F2BD2CC-3398-9843-9300-8BAB9A4E36C0}" type="presParOf" srcId="{DF15AC77-6654-8945-BE1C-91B52A045688}" destId="{4869DAB9-E400-284B-BA17-D97171070EA6}" srcOrd="1" destOrd="0" presId="urn:microsoft.com/office/officeart/2005/8/layout/matrix2"/>
    <dgm:cxn modelId="{67A7734D-197A-F14B-92F3-98A1A3DD124E}" type="presParOf" srcId="{DF15AC77-6654-8945-BE1C-91B52A045688}" destId="{02F97DDD-29D8-7341-870C-A0DFF4162F28}" srcOrd="2" destOrd="0" presId="urn:microsoft.com/office/officeart/2005/8/layout/matrix2"/>
    <dgm:cxn modelId="{BC7D29B3-4575-0D49-8AB9-2B0D016DEA2F}" type="presParOf" srcId="{DF15AC77-6654-8945-BE1C-91B52A045688}" destId="{F28DA34A-3F78-2A49-9D10-DA63C4670857}" srcOrd="3" destOrd="0" presId="urn:microsoft.com/office/officeart/2005/8/layout/matrix2"/>
    <dgm:cxn modelId="{D9DB1819-79E3-4A47-BE32-4BD90F4E80C6}" type="presParOf" srcId="{DF15AC77-6654-8945-BE1C-91B52A045688}" destId="{B55C5231-3E17-204C-9BC9-20065CA52065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F623A0-DEA5-4327-AAA2-FE30DA796F53}">
      <dsp:nvSpPr>
        <dsp:cNvPr id="0" name=""/>
        <dsp:cNvSpPr/>
      </dsp:nvSpPr>
      <dsp:spPr>
        <a:xfrm>
          <a:off x="1344383" y="0"/>
          <a:ext cx="1415689" cy="1019667"/>
        </a:xfrm>
        <a:prstGeom prst="trapezoid">
          <a:avLst>
            <a:gd name="adj" fmla="val 69419"/>
          </a:avLst>
        </a:prstGeom>
        <a:solidFill>
          <a:schemeClr val="accent3"/>
        </a:solidFill>
        <a:ln w="635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457200" rIns="15240" bIns="91440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 err="1">
              <a:solidFill>
                <a:srgbClr val="FFFFFF"/>
              </a:solidFill>
            </a:rPr>
            <a:t>Xxxxx</a:t>
          </a:r>
          <a:r>
            <a:rPr lang="en-US" sz="1200" kern="1200" dirty="0">
              <a:solidFill>
                <a:srgbClr val="FFFFFF"/>
              </a:solidFill>
            </a:rPr>
            <a:t> </a:t>
          </a:r>
          <a:r>
            <a:rPr lang="en-US" sz="1200" kern="1200" dirty="0" err="1">
              <a:solidFill>
                <a:srgbClr val="FFFFFF"/>
              </a:solidFill>
            </a:rPr>
            <a:t>xxxx</a:t>
          </a:r>
          <a:endParaRPr lang="en-US" sz="1200" kern="1200" dirty="0">
            <a:solidFill>
              <a:srgbClr val="FFFFFF"/>
            </a:solidFill>
          </a:endParaRPr>
        </a:p>
      </dsp:txBody>
      <dsp:txXfrm>
        <a:off x="1344383" y="0"/>
        <a:ext cx="1415689" cy="1019667"/>
      </dsp:txXfrm>
    </dsp:sp>
    <dsp:sp modelId="{3B4D60DC-3880-4788-95C0-C5331C7B8E49}">
      <dsp:nvSpPr>
        <dsp:cNvPr id="0" name=""/>
        <dsp:cNvSpPr/>
      </dsp:nvSpPr>
      <dsp:spPr>
        <a:xfrm>
          <a:off x="896255" y="1019667"/>
          <a:ext cx="2311944" cy="645538"/>
        </a:xfrm>
        <a:prstGeom prst="trapezoid">
          <a:avLst>
            <a:gd name="adj" fmla="val 69419"/>
          </a:avLst>
        </a:prstGeom>
        <a:solidFill>
          <a:srgbClr val="336FCA"/>
        </a:solidFill>
        <a:ln w="635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91440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 err="1">
              <a:solidFill>
                <a:srgbClr val="FFFFFF"/>
              </a:solidFill>
            </a:rPr>
            <a:t>Xxxxxxx</a:t>
          </a:r>
          <a:r>
            <a:rPr lang="en-US" sz="1200" kern="1200" dirty="0">
              <a:solidFill>
                <a:srgbClr val="FFFFFF"/>
              </a:solidFill>
            </a:rPr>
            <a:t> xxx</a:t>
          </a:r>
        </a:p>
      </dsp:txBody>
      <dsp:txXfrm>
        <a:off x="1300845" y="1019667"/>
        <a:ext cx="1502764" cy="645538"/>
      </dsp:txXfrm>
    </dsp:sp>
    <dsp:sp modelId="{58F179C7-16A8-432B-BA8B-1B820D98D9A2}">
      <dsp:nvSpPr>
        <dsp:cNvPr id="0" name=""/>
        <dsp:cNvSpPr/>
      </dsp:nvSpPr>
      <dsp:spPr>
        <a:xfrm>
          <a:off x="448127" y="1665206"/>
          <a:ext cx="3208200" cy="645538"/>
        </a:xfrm>
        <a:prstGeom prst="trapezoid">
          <a:avLst>
            <a:gd name="adj" fmla="val 69419"/>
          </a:avLst>
        </a:prstGeom>
        <a:solidFill>
          <a:schemeClr val="tx2"/>
        </a:solidFill>
        <a:ln w="635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91440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 err="1">
              <a:solidFill>
                <a:srgbClr val="FFFFFF"/>
              </a:solidFill>
            </a:rPr>
            <a:t>Xxxxx</a:t>
          </a:r>
          <a:r>
            <a:rPr lang="en-US" sz="1200" kern="1200" dirty="0">
              <a:solidFill>
                <a:srgbClr val="FFFFFF"/>
              </a:solidFill>
            </a:rPr>
            <a:t> </a:t>
          </a:r>
          <a:r>
            <a:rPr lang="en-US" sz="1200" kern="1200" dirty="0" err="1">
              <a:solidFill>
                <a:srgbClr val="FFFFFF"/>
              </a:solidFill>
            </a:rPr>
            <a:t>xxxxx</a:t>
          </a:r>
          <a:r>
            <a:rPr lang="en-US" sz="1200" kern="1200" dirty="0">
              <a:solidFill>
                <a:srgbClr val="FFFFFF"/>
              </a:solidFill>
            </a:rPr>
            <a:t> </a:t>
          </a:r>
          <a:r>
            <a:rPr lang="en-US" sz="1200" kern="1200" dirty="0" err="1">
              <a:solidFill>
                <a:srgbClr val="FFFFFF"/>
              </a:solidFill>
            </a:rPr>
            <a:t>xxxx</a:t>
          </a:r>
          <a:endParaRPr lang="en-US" sz="1200" kern="1200" dirty="0">
            <a:solidFill>
              <a:srgbClr val="FFFFFF"/>
            </a:solidFill>
          </a:endParaRPr>
        </a:p>
      </dsp:txBody>
      <dsp:txXfrm>
        <a:off x="1009562" y="1665206"/>
        <a:ext cx="2085330" cy="645538"/>
      </dsp:txXfrm>
    </dsp:sp>
    <dsp:sp modelId="{4C93577F-86B3-4437-AC53-27DFCA2D946A}">
      <dsp:nvSpPr>
        <dsp:cNvPr id="0" name=""/>
        <dsp:cNvSpPr/>
      </dsp:nvSpPr>
      <dsp:spPr>
        <a:xfrm>
          <a:off x="0" y="2310745"/>
          <a:ext cx="4104456" cy="645538"/>
        </a:xfrm>
        <a:prstGeom prst="trapezoid">
          <a:avLst>
            <a:gd name="adj" fmla="val 69419"/>
          </a:avLst>
        </a:prstGeom>
        <a:solidFill>
          <a:schemeClr val="accent2"/>
        </a:solidFill>
        <a:ln w="635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91440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 err="1">
              <a:solidFill>
                <a:srgbClr val="FFFFFF"/>
              </a:solidFill>
            </a:rPr>
            <a:t>Xxxxxx</a:t>
          </a:r>
          <a:r>
            <a:rPr lang="en-US" sz="1200" kern="1200" dirty="0">
              <a:solidFill>
                <a:srgbClr val="FFFFFF"/>
              </a:solidFill>
            </a:rPr>
            <a:t> x </a:t>
          </a:r>
          <a:r>
            <a:rPr lang="en-US" sz="1200" kern="1200" dirty="0" err="1">
              <a:solidFill>
                <a:srgbClr val="FFFFFF"/>
              </a:solidFill>
            </a:rPr>
            <a:t>xxxxxx</a:t>
          </a:r>
          <a:r>
            <a:rPr lang="en-US" sz="1200" kern="1200" dirty="0">
              <a:solidFill>
                <a:srgbClr val="FFFFFF"/>
              </a:solidFill>
            </a:rPr>
            <a:t> xx </a:t>
          </a:r>
          <a:r>
            <a:rPr lang="en-US" sz="1200" kern="1200" dirty="0" err="1">
              <a:solidFill>
                <a:srgbClr val="FFFFFF"/>
              </a:solidFill>
            </a:rPr>
            <a:t>xxxxxxxx</a:t>
          </a:r>
          <a:r>
            <a:rPr lang="en-US" sz="1200" kern="1200" dirty="0">
              <a:solidFill>
                <a:srgbClr val="FFFFFF"/>
              </a:solidFill>
            </a:rPr>
            <a:t> x</a:t>
          </a:r>
        </a:p>
      </dsp:txBody>
      <dsp:txXfrm>
        <a:off x="718279" y="2310745"/>
        <a:ext cx="2667896" cy="64553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F623A0-DEA5-4327-AAA2-FE30DA796F53}">
      <dsp:nvSpPr>
        <dsp:cNvPr id="0" name=""/>
        <dsp:cNvSpPr/>
      </dsp:nvSpPr>
      <dsp:spPr>
        <a:xfrm>
          <a:off x="1181458" y="0"/>
          <a:ext cx="1866183" cy="1479496"/>
        </a:xfrm>
        <a:prstGeom prst="trapezoid">
          <a:avLst>
            <a:gd name="adj" fmla="val 63068"/>
          </a:avLst>
        </a:prstGeom>
        <a:solidFill>
          <a:schemeClr val="accent3"/>
        </a:solidFill>
        <a:ln w="127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457200" rIns="15240" bIns="91440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FFFF"/>
              </a:solidFill>
            </a:rPr>
            <a:t>Xxx </a:t>
          </a:r>
          <a:r>
            <a:rPr lang="en-US" sz="1200" kern="1200" dirty="0" err="1">
              <a:solidFill>
                <a:srgbClr val="FFFFFF"/>
              </a:solidFill>
            </a:rPr>
            <a:t>xxx</a:t>
          </a:r>
          <a:r>
            <a:rPr lang="en-US" sz="1200" kern="1200" dirty="0">
              <a:solidFill>
                <a:srgbClr val="FFFFFF"/>
              </a:solidFill>
            </a:rPr>
            <a:t> </a:t>
          </a:r>
        </a:p>
      </dsp:txBody>
      <dsp:txXfrm>
        <a:off x="1181458" y="0"/>
        <a:ext cx="1866183" cy="1479496"/>
      </dsp:txXfrm>
    </dsp:sp>
    <dsp:sp modelId="{3B4D60DC-3880-4788-95C0-C5331C7B8E49}">
      <dsp:nvSpPr>
        <dsp:cNvPr id="0" name=""/>
        <dsp:cNvSpPr/>
      </dsp:nvSpPr>
      <dsp:spPr>
        <a:xfrm>
          <a:off x="590729" y="1479496"/>
          <a:ext cx="3047641" cy="936651"/>
        </a:xfrm>
        <a:prstGeom prst="trapezoid">
          <a:avLst>
            <a:gd name="adj" fmla="val 63068"/>
          </a:avLst>
        </a:prstGeom>
        <a:solidFill>
          <a:schemeClr val="tx2"/>
        </a:solidFill>
        <a:ln w="127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91440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FFFF"/>
              </a:solidFill>
            </a:rPr>
            <a:t>Xx x xxx </a:t>
          </a:r>
        </a:p>
      </dsp:txBody>
      <dsp:txXfrm>
        <a:off x="1124066" y="1479496"/>
        <a:ext cx="1980967" cy="936651"/>
      </dsp:txXfrm>
    </dsp:sp>
    <dsp:sp modelId="{58F179C7-16A8-432B-BA8B-1B820D98D9A2}">
      <dsp:nvSpPr>
        <dsp:cNvPr id="0" name=""/>
        <dsp:cNvSpPr/>
      </dsp:nvSpPr>
      <dsp:spPr>
        <a:xfrm>
          <a:off x="0" y="2416147"/>
          <a:ext cx="4229100" cy="936651"/>
        </a:xfrm>
        <a:prstGeom prst="trapezoid">
          <a:avLst>
            <a:gd name="adj" fmla="val 63068"/>
          </a:avLst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91440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 err="1">
              <a:solidFill>
                <a:srgbClr val="FFFFFF"/>
              </a:solidFill>
            </a:rPr>
            <a:t>Xxxxxx</a:t>
          </a:r>
          <a:r>
            <a:rPr lang="en-US" sz="1200" kern="1200" dirty="0">
              <a:solidFill>
                <a:srgbClr val="FFFFFF"/>
              </a:solidFill>
            </a:rPr>
            <a:t> xxx </a:t>
          </a:r>
        </a:p>
      </dsp:txBody>
      <dsp:txXfrm>
        <a:off x="740092" y="2416147"/>
        <a:ext cx="2748915" cy="93665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F46950-3CC7-1647-8986-D66AF0C30036}">
      <dsp:nvSpPr>
        <dsp:cNvPr id="0" name=""/>
        <dsp:cNvSpPr/>
      </dsp:nvSpPr>
      <dsp:spPr>
        <a:xfrm>
          <a:off x="0" y="22904"/>
          <a:ext cx="3092095" cy="3092095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chemeClr val="tx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869DAB9-E400-284B-BA17-D97171070EA6}">
      <dsp:nvSpPr>
        <dsp:cNvPr id="0" name=""/>
        <dsp:cNvSpPr/>
      </dsp:nvSpPr>
      <dsp:spPr>
        <a:xfrm>
          <a:off x="200986" y="223890"/>
          <a:ext cx="1236838" cy="1236838"/>
        </a:xfrm>
        <a:prstGeom prst="rect">
          <a:avLst/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US" sz="1200" kern="1200" dirty="0">
              <a:solidFill>
                <a:srgbClr val="FFFFFF"/>
              </a:solidFill>
            </a:rPr>
          </a:br>
          <a:br>
            <a:rPr lang="en-US" sz="1200" kern="1200" dirty="0">
              <a:solidFill>
                <a:srgbClr val="FFFFFF"/>
              </a:solidFill>
            </a:rPr>
          </a:br>
          <a:br>
            <a:rPr lang="en-US" sz="1200" kern="1200" dirty="0">
              <a:solidFill>
                <a:srgbClr val="FFFFFF"/>
              </a:solidFill>
            </a:rPr>
          </a:br>
          <a:br>
            <a:rPr lang="en-US" sz="1200" kern="1200" dirty="0">
              <a:solidFill>
                <a:srgbClr val="FFFFFF"/>
              </a:solidFill>
            </a:rPr>
          </a:br>
          <a:r>
            <a:rPr lang="en-US" sz="1200" kern="1200" dirty="0">
              <a:solidFill>
                <a:srgbClr val="FFFFFF"/>
              </a:solidFill>
            </a:rPr>
            <a:t>XXX</a:t>
          </a:r>
        </a:p>
      </dsp:txBody>
      <dsp:txXfrm>
        <a:off x="200986" y="223890"/>
        <a:ext cx="1236838" cy="1236838"/>
      </dsp:txXfrm>
    </dsp:sp>
    <dsp:sp modelId="{02F97DDD-29D8-7341-870C-A0DFF4162F28}">
      <dsp:nvSpPr>
        <dsp:cNvPr id="0" name=""/>
        <dsp:cNvSpPr/>
      </dsp:nvSpPr>
      <dsp:spPr>
        <a:xfrm>
          <a:off x="1654270" y="223890"/>
          <a:ext cx="1236838" cy="1236838"/>
        </a:xfrm>
        <a:prstGeom prst="rect">
          <a:avLst/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US" sz="1200" kern="1200" dirty="0">
              <a:solidFill>
                <a:srgbClr val="FFFFFF"/>
              </a:solidFill>
            </a:rPr>
          </a:br>
          <a:br>
            <a:rPr lang="en-US" sz="1200" kern="1200" dirty="0">
              <a:solidFill>
                <a:srgbClr val="FFFFFF"/>
              </a:solidFill>
            </a:rPr>
          </a:br>
          <a:br>
            <a:rPr lang="en-US" sz="1200" kern="1200" dirty="0">
              <a:solidFill>
                <a:srgbClr val="FFFFFF"/>
              </a:solidFill>
            </a:rPr>
          </a:br>
          <a:br>
            <a:rPr lang="en-US" sz="1200" kern="1200" dirty="0">
              <a:solidFill>
                <a:srgbClr val="FFFFFF"/>
              </a:solidFill>
            </a:rPr>
          </a:br>
          <a:r>
            <a:rPr lang="en-US" sz="1200" kern="1200" dirty="0">
              <a:solidFill>
                <a:srgbClr val="FFFFFF"/>
              </a:solidFill>
            </a:rPr>
            <a:t>XXX</a:t>
          </a:r>
        </a:p>
      </dsp:txBody>
      <dsp:txXfrm>
        <a:off x="1654270" y="223890"/>
        <a:ext cx="1236838" cy="1236838"/>
      </dsp:txXfrm>
    </dsp:sp>
    <dsp:sp modelId="{F28DA34A-3F78-2A49-9D10-DA63C4670857}">
      <dsp:nvSpPr>
        <dsp:cNvPr id="0" name=""/>
        <dsp:cNvSpPr/>
      </dsp:nvSpPr>
      <dsp:spPr>
        <a:xfrm>
          <a:off x="200986" y="1677175"/>
          <a:ext cx="1236838" cy="1236838"/>
        </a:xfrm>
        <a:prstGeom prst="rect">
          <a:avLst/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US" sz="1200" kern="1200" dirty="0">
              <a:solidFill>
                <a:srgbClr val="FFFFFF"/>
              </a:solidFill>
            </a:rPr>
          </a:br>
          <a:br>
            <a:rPr lang="en-US" sz="1200" kern="1200" dirty="0">
              <a:solidFill>
                <a:srgbClr val="FFFFFF"/>
              </a:solidFill>
            </a:rPr>
          </a:br>
          <a:br>
            <a:rPr lang="en-US" sz="1200" kern="1200" dirty="0">
              <a:solidFill>
                <a:srgbClr val="FFFFFF"/>
              </a:solidFill>
            </a:rPr>
          </a:br>
          <a:br>
            <a:rPr lang="en-US" sz="1200" kern="1200" dirty="0">
              <a:solidFill>
                <a:srgbClr val="FFFFFF"/>
              </a:solidFill>
            </a:rPr>
          </a:br>
          <a:r>
            <a:rPr lang="en-US" sz="1200" kern="1200" dirty="0">
              <a:solidFill>
                <a:srgbClr val="FFFFFF"/>
              </a:solidFill>
            </a:rPr>
            <a:t>XXX</a:t>
          </a:r>
        </a:p>
      </dsp:txBody>
      <dsp:txXfrm>
        <a:off x="200986" y="1677175"/>
        <a:ext cx="1236838" cy="1236838"/>
      </dsp:txXfrm>
    </dsp:sp>
    <dsp:sp modelId="{B55C5231-3E17-204C-9BC9-20065CA52065}">
      <dsp:nvSpPr>
        <dsp:cNvPr id="0" name=""/>
        <dsp:cNvSpPr/>
      </dsp:nvSpPr>
      <dsp:spPr>
        <a:xfrm>
          <a:off x="1654270" y="1677175"/>
          <a:ext cx="1236838" cy="1236838"/>
        </a:xfrm>
        <a:prstGeom prst="rect">
          <a:avLst/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US" sz="1200" kern="1200" dirty="0">
              <a:solidFill>
                <a:srgbClr val="FFFFFF"/>
              </a:solidFill>
            </a:rPr>
          </a:br>
          <a:br>
            <a:rPr lang="en-US" sz="1200" kern="1200" dirty="0">
              <a:solidFill>
                <a:srgbClr val="FFFFFF"/>
              </a:solidFill>
            </a:rPr>
          </a:br>
          <a:br>
            <a:rPr lang="en-US" sz="1200" kern="1200" dirty="0">
              <a:solidFill>
                <a:srgbClr val="FFFFFF"/>
              </a:solidFill>
            </a:rPr>
          </a:br>
          <a:br>
            <a:rPr lang="en-US" sz="1200" kern="1200" dirty="0">
              <a:solidFill>
                <a:srgbClr val="FFFFFF"/>
              </a:solidFill>
            </a:rPr>
          </a:br>
          <a:r>
            <a:rPr lang="en-US" sz="1200" kern="1200" dirty="0">
              <a:solidFill>
                <a:srgbClr val="FFFFFF"/>
              </a:solidFill>
            </a:rPr>
            <a:t>XXX</a:t>
          </a:r>
        </a:p>
      </dsp:txBody>
      <dsp:txXfrm>
        <a:off x="1654270" y="1677175"/>
        <a:ext cx="1236838" cy="12368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D38C535-1546-B944-B55B-FB354AE995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259080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algn="ctr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Illinois Business Consult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35DD97-F051-9F40-8FD9-409459DC9A0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552FA1-18BC-3D46-842E-F2DE8005AB31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1714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59080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ct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llinois Business Consulting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3CAE711-B53E-984C-BD0C-9984282ABD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8878F3D-6364-8344-BFE2-36DC4AF41CC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0" y="6513909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5CA9F75-A151-DD49-8E9E-6C39DDB4C9F7}" type="datetimeFigureOut">
              <a:rPr lang="en-US" smtClean="0"/>
              <a:pPr/>
              <a:t>9/8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3822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409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2854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8374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4884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3696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9188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2682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036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6251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7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0888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422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787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4203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255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8291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3433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880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CAE711-B53E-984C-BD0C-9984282ABD35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9806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uilding.jpg">
            <a:extLst>
              <a:ext uri="{FF2B5EF4-FFF2-40B4-BE49-F238E27FC236}">
                <a16:creationId xmlns:a16="http://schemas.microsoft.com/office/drawing/2014/main" id="{0F3BCF4F-DFFA-2648-A12A-2384B5FB4C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95FC7F4-2A5E-DF49-A868-DC3599060203}"/>
              </a:ext>
            </a:extLst>
          </p:cNvPr>
          <p:cNvSpPr/>
          <p:nvPr/>
        </p:nvSpPr>
        <p:spPr>
          <a:xfrm>
            <a:off x="0" y="3075546"/>
            <a:ext cx="9144000" cy="2067953"/>
          </a:xfrm>
          <a:prstGeom prst="rect">
            <a:avLst/>
          </a:prstGeom>
          <a:solidFill>
            <a:srgbClr val="D52C0E">
              <a:alpha val="78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4362C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F373C8-04F4-EC4F-8B9F-401FEF00CE93}"/>
              </a:ext>
            </a:extLst>
          </p:cNvPr>
          <p:cNvCxnSpPr/>
          <p:nvPr/>
        </p:nvCxnSpPr>
        <p:spPr>
          <a:xfrm>
            <a:off x="0" y="5141912"/>
            <a:ext cx="9144000" cy="1588"/>
          </a:xfrm>
          <a:prstGeom prst="line">
            <a:avLst/>
          </a:prstGeom>
          <a:ln w="47625" cap="flat" cmpd="sng" algn="ctr">
            <a:solidFill>
              <a:srgbClr val="D237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E10FAB1-4502-E541-B6EF-913D09D26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3314284"/>
            <a:ext cx="8686800" cy="59093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948E742-3604-4A40-9CF2-5DB4258C6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30117" y="4719264"/>
            <a:ext cx="3283767" cy="274320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816D66-92AD-0B4F-B32C-40BE751CC2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3920894"/>
            <a:ext cx="8686800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D94900E-7FF4-4243-A89B-23F21C033E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0120" y="533832"/>
            <a:ext cx="2270280" cy="472975"/>
          </a:xfrm>
          <a:prstGeom prst="rect">
            <a:avLst/>
          </a:prstGeom>
        </p:spPr>
      </p:pic>
      <p:pic>
        <p:nvPicPr>
          <p:cNvPr id="12" name="Picture 11" descr="Building.jpg">
            <a:extLst>
              <a:ext uri="{FF2B5EF4-FFF2-40B4-BE49-F238E27FC236}">
                <a16:creationId xmlns:a16="http://schemas.microsoft.com/office/drawing/2014/main" id="{BA7DFF96-A4D7-9740-8CAB-8DDB3B6A89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19F7AC4-2948-864E-B677-F5F54986D68C}"/>
              </a:ext>
            </a:extLst>
          </p:cNvPr>
          <p:cNvSpPr/>
          <p:nvPr/>
        </p:nvSpPr>
        <p:spPr>
          <a:xfrm>
            <a:off x="0" y="3075546"/>
            <a:ext cx="9144000" cy="2067953"/>
          </a:xfrm>
          <a:prstGeom prst="rect">
            <a:avLst/>
          </a:prstGeom>
          <a:solidFill>
            <a:srgbClr val="D52C0E">
              <a:alpha val="78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4362C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F737840-DEEC-BB43-A5D6-0059C474BD45}"/>
              </a:ext>
            </a:extLst>
          </p:cNvPr>
          <p:cNvCxnSpPr/>
          <p:nvPr/>
        </p:nvCxnSpPr>
        <p:spPr>
          <a:xfrm>
            <a:off x="0" y="5141912"/>
            <a:ext cx="9144000" cy="1588"/>
          </a:xfrm>
          <a:prstGeom prst="line">
            <a:avLst/>
          </a:prstGeom>
          <a:ln w="47625" cap="flat" cmpd="sng" algn="ctr">
            <a:solidFill>
              <a:srgbClr val="D237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FAB66F23-4C45-5E4E-92C6-15F8654F2A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30117" y="4719264"/>
            <a:ext cx="3283767" cy="2743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6D8133C-86FA-ED4E-BFE7-699F59F3D0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0120" y="533832"/>
            <a:ext cx="2270280" cy="472975"/>
          </a:xfrm>
          <a:prstGeom prst="rect">
            <a:avLst/>
          </a:prstGeom>
        </p:spPr>
      </p:pic>
      <p:pic>
        <p:nvPicPr>
          <p:cNvPr id="18" name="Picture 17" descr="Building.jpg">
            <a:extLst>
              <a:ext uri="{FF2B5EF4-FFF2-40B4-BE49-F238E27FC236}">
                <a16:creationId xmlns:a16="http://schemas.microsoft.com/office/drawing/2014/main" id="{A40AFD70-0C69-A443-A783-F5DADA2B0A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72A60D2D-D0F3-6B44-ABEA-4E1B3B169B3B}"/>
              </a:ext>
            </a:extLst>
          </p:cNvPr>
          <p:cNvSpPr/>
          <p:nvPr userDrawn="1"/>
        </p:nvSpPr>
        <p:spPr>
          <a:xfrm>
            <a:off x="0" y="3075546"/>
            <a:ext cx="9144000" cy="2067953"/>
          </a:xfrm>
          <a:prstGeom prst="rect">
            <a:avLst/>
          </a:prstGeom>
          <a:solidFill>
            <a:srgbClr val="D52C0E">
              <a:alpha val="78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4362C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FE4AA0D-CD2C-A44D-8B8D-5D2AE06EC057}"/>
              </a:ext>
            </a:extLst>
          </p:cNvPr>
          <p:cNvCxnSpPr/>
          <p:nvPr userDrawn="1"/>
        </p:nvCxnSpPr>
        <p:spPr>
          <a:xfrm>
            <a:off x="0" y="5141912"/>
            <a:ext cx="9144000" cy="1588"/>
          </a:xfrm>
          <a:prstGeom prst="line">
            <a:avLst/>
          </a:prstGeom>
          <a:ln w="47625" cap="flat" cmpd="sng" algn="ctr">
            <a:solidFill>
              <a:srgbClr val="D237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64815842-2978-994A-AAF8-0E9F1317D68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0120" y="533832"/>
            <a:ext cx="2270280" cy="47297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8899AEC-3A8B-4158-9FFA-1E940C21136E}"/>
              </a:ext>
            </a:extLst>
          </p:cNvPr>
          <p:cNvSpPr txBox="1"/>
          <p:nvPr userDrawn="1"/>
        </p:nvSpPr>
        <p:spPr>
          <a:xfrm>
            <a:off x="6669341" y="4851032"/>
            <a:ext cx="2671864" cy="346536"/>
          </a:xfrm>
          <a:prstGeom prst="rect">
            <a:avLst/>
          </a:prstGeom>
          <a:noFill/>
          <a:ln>
            <a:noFill/>
          </a:ln>
        </p:spPr>
        <p:txBody>
          <a:bodyPr wrap="square" tIns="91440" bIns="91440" rtlCol="0">
            <a:no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Magelli Office of Experiential Learning</a:t>
            </a:r>
          </a:p>
        </p:txBody>
      </p:sp>
    </p:spTree>
    <p:extLst>
      <p:ext uri="{BB962C8B-B14F-4D97-AF65-F5344CB8AC3E}">
        <p14:creationId xmlns:p14="http://schemas.microsoft.com/office/powerpoint/2010/main" val="1953343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IF interior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</p:pic>
      <p:sp>
        <p:nvSpPr>
          <p:cNvPr id="6" name="Rectangle 5"/>
          <p:cNvSpPr/>
          <p:nvPr/>
        </p:nvSpPr>
        <p:spPr>
          <a:xfrm>
            <a:off x="0" y="1399350"/>
            <a:ext cx="9144000" cy="2344801"/>
          </a:xfrm>
          <a:prstGeom prst="rect">
            <a:avLst/>
          </a:prstGeom>
          <a:solidFill>
            <a:srgbClr val="D52C0E">
              <a:alpha val="78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4362C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885950"/>
            <a:ext cx="8686800" cy="685800"/>
          </a:xfrm>
        </p:spPr>
        <p:txBody>
          <a:bodyPr rIns="0" bIns="91440" anchor="b"/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2571750"/>
            <a:ext cx="8686800" cy="833438"/>
          </a:xfrm>
        </p:spPr>
        <p:txBody>
          <a:bodyPr tIns="9144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onth ## ####, ##:##–##:## AM/PM</a:t>
            </a:r>
          </a:p>
          <a:p>
            <a:r>
              <a:rPr lang="en-US" dirty="0"/>
              <a:t>Loc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99A8B3-F42D-1349-BF79-147675851E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0120" y="533832"/>
            <a:ext cx="2267712" cy="47244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2859708-ED06-B341-B81A-185FA42303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0117" y="4719264"/>
            <a:ext cx="3283767" cy="274320"/>
          </a:xfrm>
          <a:prstGeom prst="rect">
            <a:avLst/>
          </a:prstGeom>
          <a:effectLst>
            <a:outerShdw blurRad="203200" sx="104000" sy="104000" algn="ctr" rotWithShape="0">
              <a:prstClr val="black">
                <a:alpha val="76000"/>
              </a:prstClr>
            </a:outerShdw>
          </a:effectLst>
        </p:spPr>
      </p:pic>
      <p:pic>
        <p:nvPicPr>
          <p:cNvPr id="8" name="Picture 7" descr="BIF interior.jpg">
            <a:extLst>
              <a:ext uri="{FF2B5EF4-FFF2-40B4-BE49-F238E27FC236}">
                <a16:creationId xmlns:a16="http://schemas.microsoft.com/office/drawing/2014/main" id="{9095CB4F-07E6-514B-A6BA-E37D007FA7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D1051C1-3C4A-114A-BEAA-F85C009B68F4}"/>
              </a:ext>
            </a:extLst>
          </p:cNvPr>
          <p:cNvSpPr/>
          <p:nvPr/>
        </p:nvSpPr>
        <p:spPr>
          <a:xfrm>
            <a:off x="0" y="1399350"/>
            <a:ext cx="9144000" cy="2344801"/>
          </a:xfrm>
          <a:prstGeom prst="rect">
            <a:avLst/>
          </a:prstGeom>
          <a:solidFill>
            <a:srgbClr val="D52C0E">
              <a:alpha val="78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4362C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34D7EB-5F18-7C4D-AED3-FEF1DCAE06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0120" y="533832"/>
            <a:ext cx="2267712" cy="47244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003D9DB-E592-9B47-AF44-597DFFA735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0117" y="4719264"/>
            <a:ext cx="3283767" cy="274320"/>
          </a:xfrm>
          <a:prstGeom prst="rect">
            <a:avLst/>
          </a:prstGeom>
          <a:effectLst>
            <a:outerShdw blurRad="203200" sx="104000" sy="104000" algn="ctr" rotWithShape="0">
              <a:prstClr val="black">
                <a:alpha val="76000"/>
              </a:prstClr>
            </a:outerShdw>
          </a:effectLst>
        </p:spPr>
      </p:pic>
      <p:pic>
        <p:nvPicPr>
          <p:cNvPr id="14" name="Picture 13" descr="BIF interior.jpg">
            <a:extLst>
              <a:ext uri="{FF2B5EF4-FFF2-40B4-BE49-F238E27FC236}">
                <a16:creationId xmlns:a16="http://schemas.microsoft.com/office/drawing/2014/main" id="{EC07C181-72FE-D545-BB07-1BBA17290C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49DC9D46-0A4D-204F-90BA-37A1D89585B9}"/>
              </a:ext>
            </a:extLst>
          </p:cNvPr>
          <p:cNvSpPr/>
          <p:nvPr userDrawn="1"/>
        </p:nvSpPr>
        <p:spPr>
          <a:xfrm>
            <a:off x="0" y="1399350"/>
            <a:ext cx="9144000" cy="2344801"/>
          </a:xfrm>
          <a:prstGeom prst="rect">
            <a:avLst/>
          </a:prstGeom>
          <a:solidFill>
            <a:srgbClr val="D52C0E">
              <a:alpha val="78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4362C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837267A-B842-2B40-ABC4-CB938248A7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0120" y="533832"/>
            <a:ext cx="2267712" cy="47244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C94DFC3-D50F-4EEB-9820-8F5B2B1A2C5E}"/>
              </a:ext>
            </a:extLst>
          </p:cNvPr>
          <p:cNvSpPr txBox="1"/>
          <p:nvPr userDrawn="1"/>
        </p:nvSpPr>
        <p:spPr>
          <a:xfrm>
            <a:off x="3313890" y="3420534"/>
            <a:ext cx="2671864" cy="181583"/>
          </a:xfrm>
          <a:prstGeom prst="rect">
            <a:avLst/>
          </a:prstGeom>
          <a:noFill/>
          <a:ln>
            <a:noFill/>
          </a:ln>
        </p:spPr>
        <p:txBody>
          <a:bodyPr wrap="square" tIns="91440" bIns="91440" rtlCol="0">
            <a:no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Magelli Office of Experiential Learning</a:t>
            </a:r>
          </a:p>
        </p:txBody>
      </p:sp>
    </p:spTree>
    <p:extLst>
      <p:ext uri="{BB962C8B-B14F-4D97-AF65-F5344CB8AC3E}">
        <p14:creationId xmlns:p14="http://schemas.microsoft.com/office/powerpoint/2010/main" val="4124812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0" userDrawn="1">
          <p15:clr>
            <a:srgbClr val="FBAE40"/>
          </p15:clr>
        </p15:guide>
        <p15:guide id="6" orient="horz" pos="162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Main Sectio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448F4C-8663-4CDF-8EAD-3FC5DBD6AA7F}"/>
              </a:ext>
            </a:extLst>
          </p:cNvPr>
          <p:cNvSpPr/>
          <p:nvPr/>
        </p:nvSpPr>
        <p:spPr>
          <a:xfrm>
            <a:off x="7395210" y="0"/>
            <a:ext cx="1748790" cy="9296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1549400"/>
            <a:ext cx="7772400" cy="1022350"/>
          </a:xfrm>
        </p:spPr>
        <p:txBody>
          <a:bodyPr rIns="0" bIns="91440" anchor="b">
            <a:noAutofit/>
          </a:bodyPr>
          <a:lstStyle>
            <a:lvl1pPr algn="l">
              <a:defRPr sz="3200" b="1" cap="none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571750"/>
            <a:ext cx="7772400" cy="1125537"/>
          </a:xfrm>
        </p:spPr>
        <p:txBody>
          <a:bodyPr tIns="91440" anchor="t"/>
          <a:lstStyle>
            <a:lvl1pPr marL="0" indent="0">
              <a:spcBef>
                <a:spcPts val="0"/>
              </a:spcBef>
              <a:spcAft>
                <a:spcPts val="400"/>
              </a:spcAft>
              <a:buFont typeface="+mj-lt"/>
              <a:buNone/>
              <a:defRPr sz="200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C11C08-32E6-4BC6-A385-B6887C50F8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9F5876-C7DC-439A-A1DA-D553700E3C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fld id="{2154EA64-C67A-624C-A147-549F97A916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Block I blue.tif">
            <a:extLst>
              <a:ext uri="{FF2B5EF4-FFF2-40B4-BE49-F238E27FC236}">
                <a16:creationId xmlns:a16="http://schemas.microsoft.com/office/drawing/2014/main" id="{AF3E17EB-41DE-DF4E-A63C-D4098CB3EF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98807" y="206374"/>
            <a:ext cx="316593" cy="457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DB851E3-B648-684E-A084-75A83CCFFDE5}"/>
              </a:ext>
            </a:extLst>
          </p:cNvPr>
          <p:cNvSpPr/>
          <p:nvPr/>
        </p:nvSpPr>
        <p:spPr>
          <a:xfrm>
            <a:off x="7395210" y="0"/>
            <a:ext cx="1748790" cy="9296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9" name="Picture 8" descr="Block I blue.tif">
            <a:extLst>
              <a:ext uri="{FF2B5EF4-FFF2-40B4-BE49-F238E27FC236}">
                <a16:creationId xmlns:a16="http://schemas.microsoft.com/office/drawing/2014/main" id="{6B7D8DEC-DD39-C646-B93E-D9D38813E7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98807" y="206374"/>
            <a:ext cx="316593" cy="457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4ABBF55-3887-7142-BA98-D27ACDEA5886}"/>
              </a:ext>
            </a:extLst>
          </p:cNvPr>
          <p:cNvSpPr/>
          <p:nvPr userDrawn="1"/>
        </p:nvSpPr>
        <p:spPr>
          <a:xfrm>
            <a:off x="7395210" y="0"/>
            <a:ext cx="1748790" cy="9296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1" name="Picture 10" descr="Block I blue.tif">
            <a:extLst>
              <a:ext uri="{FF2B5EF4-FFF2-40B4-BE49-F238E27FC236}">
                <a16:creationId xmlns:a16="http://schemas.microsoft.com/office/drawing/2014/main" id="{98D3460F-E542-AA45-A876-DCC933E837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98807" y="206374"/>
            <a:ext cx="316593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260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ub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1549400"/>
            <a:ext cx="7772400" cy="1022350"/>
          </a:xfrm>
        </p:spPr>
        <p:txBody>
          <a:bodyPr rIns="0" bIns="91440" anchor="b">
            <a:noAutofit/>
          </a:bodyPr>
          <a:lstStyle>
            <a:lvl1pPr algn="l">
              <a:defRPr sz="3200" b="1" cap="none" spc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571750"/>
            <a:ext cx="7772400" cy="1125537"/>
          </a:xfrm>
        </p:spPr>
        <p:txBody>
          <a:bodyPr tIns="91440" anchor="t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154EA64-C67A-624C-A147-549F97A91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857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  <a:ln w="9525">
            <a:solidFill>
              <a:schemeClr val="tx1"/>
            </a:solidFill>
          </a:ln>
        </p:spPr>
        <p:txBody>
          <a:bodyPr lIns="457200" tIns="91440" rIns="457200" bIns="9144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154EA64-C67A-624C-A147-549F97A9164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6273762-37B0-8943-A127-79042FB9BE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9550"/>
            <a:ext cx="8686800" cy="545464"/>
          </a:xfrm>
        </p:spPr>
        <p:txBody>
          <a:bodyPr tIns="0" anchor="ctr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112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2724" userDrawn="1">
          <p15:clr>
            <a:srgbClr val="F26B43"/>
          </p15:clr>
        </p15:guide>
        <p15:guide id="13" pos="2808" userDrawn="1">
          <p15:clr>
            <a:srgbClr val="FDE53C"/>
          </p15:clr>
        </p15:guide>
        <p15:guide id="14" pos="2952" userDrawn="1">
          <p15:clr>
            <a:srgbClr val="FDE53C"/>
          </p15:clr>
        </p15:guide>
        <p15:guide id="15" orient="horz" pos="612" userDrawn="1">
          <p15:clr>
            <a:srgbClr val="F26B43"/>
          </p15:clr>
        </p15:guide>
        <p15:guide id="16" orient="horz" pos="162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52609"/>
            <a:ext cx="7661910" cy="618941"/>
          </a:xfrm>
        </p:spPr>
        <p:txBody>
          <a:bodyPr tIns="0" rIns="0" bIns="0"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  <a:ln w="9525">
            <a:solidFill>
              <a:schemeClr val="tx1"/>
            </a:solidFill>
          </a:ln>
        </p:spPr>
        <p:txBody>
          <a:bodyPr lIns="457200" tIns="91440" rIns="457200" bIns="9144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209550"/>
            <a:ext cx="4016375" cy="137160"/>
          </a:xfrm>
        </p:spPr>
        <p:txBody>
          <a:bodyPr/>
          <a:lstStyle>
            <a:lvl1pPr marL="0" indent="0">
              <a:buNone/>
              <a:defRPr sz="1000" b="1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154EA64-C67A-624C-A147-549F97A91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3988035"/>
      </p:ext>
    </p:extLst>
  </p:cSld>
  <p:clrMapOvr>
    <a:masterClrMapping/>
  </p:clrMapOvr>
  <p:transition spd="slow">
    <p:push/>
  </p:transition>
  <p:extLst>
    <p:ext uri="{DCECCB84-F9BA-43D5-87BE-67443E8EF086}">
      <p15:sldGuideLst xmlns:p15="http://schemas.microsoft.com/office/powerpoint/2012/main">
        <p15:guide id="1" orient="horz" pos="2724">
          <p15:clr>
            <a:srgbClr val="F26B43"/>
          </p15:clr>
        </p15:guide>
        <p15:guide id="2" pos="2808">
          <p15:clr>
            <a:srgbClr val="FDE53C"/>
          </p15:clr>
        </p15:guide>
        <p15:guide id="3" pos="2952">
          <p15:clr>
            <a:srgbClr val="FDE53C"/>
          </p15:clr>
        </p15:guide>
        <p15:guide id="4" orient="horz" pos="612">
          <p15:clr>
            <a:srgbClr val="F26B43"/>
          </p15:clr>
        </p15:guide>
        <p15:guide id="5" orient="horz" pos="636">
          <p15:clr>
            <a:srgbClr val="FBAE40"/>
          </p15:clr>
        </p15:guide>
        <p15:guide id="6" orient="horz" pos="16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089316"/>
            <a:ext cx="7772400" cy="3470672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8"/>
            <a:ext cx="7772400" cy="3048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779296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9042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761" y="3299374"/>
            <a:ext cx="8604688" cy="857250"/>
          </a:xfrm>
        </p:spPr>
        <p:txBody>
          <a:bodyPr/>
          <a:lstStyle>
            <a:lvl1pPr>
              <a:defRPr>
                <a:solidFill>
                  <a:srgbClr val="FFFFFF"/>
                </a:solidFill>
                <a:latin typeface="Didot"/>
                <a:cs typeface="Dido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24F363-2865-5B48-BF5B-B9D498FAC1D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DC33E7-3EC8-7F43-9E4D-A67B8839A85F}"/>
              </a:ext>
            </a:extLst>
          </p:cNvPr>
          <p:cNvSpPr txBox="1">
            <a:spLocks/>
          </p:cNvSpPr>
          <p:nvPr userDrawn="1"/>
        </p:nvSpPr>
        <p:spPr>
          <a:xfrm>
            <a:off x="5618285" y="4767263"/>
            <a:ext cx="2118946" cy="25955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b="0" dirty="0">
                <a:solidFill>
                  <a:schemeClr val="bg1"/>
                </a:solidFill>
              </a:rPr>
              <a:t>Magelli</a:t>
            </a:r>
            <a:r>
              <a:rPr lang="en-US" sz="900" b="0" baseline="0" dirty="0">
                <a:solidFill>
                  <a:schemeClr val="bg1"/>
                </a:solidFill>
              </a:rPr>
              <a:t> Office of Experiential </a:t>
            </a:r>
            <a:r>
              <a:rPr lang="en-US" sz="900" b="0" dirty="0">
                <a:solidFill>
                  <a:schemeClr val="bg1"/>
                </a:solidFill>
              </a:rPr>
              <a:t>Learning</a:t>
            </a:r>
          </a:p>
        </p:txBody>
      </p:sp>
    </p:spTree>
    <p:extLst>
      <p:ext uri="{BB962C8B-B14F-4D97-AF65-F5344CB8AC3E}">
        <p14:creationId xmlns:p14="http://schemas.microsoft.com/office/powerpoint/2010/main" val="24173290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9.png"/><Relationship Id="rId4" Type="http://schemas.openxmlformats.org/officeDocument/2006/relationships/image" Target="../media/image5.pd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9549"/>
            <a:ext cx="8686800" cy="682625"/>
          </a:xfrm>
          <a:prstGeom prst="rect">
            <a:avLst/>
          </a:prstGeom>
        </p:spPr>
        <p:txBody>
          <a:bodyPr vert="horz" lIns="0" tIns="0" rIns="1097280" bIns="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123950"/>
            <a:ext cx="8686800" cy="381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5141912"/>
            <a:ext cx="9144000" cy="1588"/>
          </a:xfrm>
          <a:prstGeom prst="line">
            <a:avLst/>
          </a:prstGeom>
          <a:ln w="476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28600" y="4933950"/>
            <a:ext cx="3657600" cy="1857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858000" y="4933950"/>
            <a:ext cx="2057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2154EA64-C67A-624C-A147-549F97A916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 descr="Illinois-Logo-Full-Color-RGB.png">
            <a:extLst>
              <a:ext uri="{FF2B5EF4-FFF2-40B4-BE49-F238E27FC236}">
                <a16:creationId xmlns:a16="http://schemas.microsoft.com/office/drawing/2014/main" id="{07642225-FFFF-814C-A6CA-D024637DC9C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99414" y="206375"/>
            <a:ext cx="315986" cy="4572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93967EE-5591-45B0-9CE0-9EC4AB53090C}"/>
              </a:ext>
            </a:extLst>
          </p:cNvPr>
          <p:cNvSpPr/>
          <p:nvPr/>
        </p:nvSpPr>
        <p:spPr>
          <a:xfrm>
            <a:off x="8018535" y="211137"/>
            <a:ext cx="452438" cy="452438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lient Logo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26A43BC-5394-AD4D-87D7-CFFCA3A4702A}"/>
              </a:ext>
            </a:extLst>
          </p:cNvPr>
          <p:cNvCxnSpPr/>
          <p:nvPr/>
        </p:nvCxnSpPr>
        <p:spPr>
          <a:xfrm>
            <a:off x="0" y="5141912"/>
            <a:ext cx="9144000" cy="1588"/>
          </a:xfrm>
          <a:prstGeom prst="line">
            <a:avLst/>
          </a:prstGeom>
          <a:ln w="476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Illinois-Logo-Full-Color-RGB.png">
            <a:extLst>
              <a:ext uri="{FF2B5EF4-FFF2-40B4-BE49-F238E27FC236}">
                <a16:creationId xmlns:a16="http://schemas.microsoft.com/office/drawing/2014/main" id="{519786A5-1B43-8345-BCA9-9EED50F118C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99414" y="206375"/>
            <a:ext cx="315986" cy="4572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F0E55E8-5738-9940-822F-43D0FD462954}"/>
              </a:ext>
            </a:extLst>
          </p:cNvPr>
          <p:cNvSpPr/>
          <p:nvPr/>
        </p:nvSpPr>
        <p:spPr>
          <a:xfrm>
            <a:off x="8018535" y="211137"/>
            <a:ext cx="452438" cy="452438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lient Logo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478324C-0DDC-964A-8E80-A2384E613E16}"/>
              </a:ext>
            </a:extLst>
          </p:cNvPr>
          <p:cNvCxnSpPr/>
          <p:nvPr userDrawn="1"/>
        </p:nvCxnSpPr>
        <p:spPr>
          <a:xfrm>
            <a:off x="0" y="5141912"/>
            <a:ext cx="9144000" cy="1588"/>
          </a:xfrm>
          <a:prstGeom prst="line">
            <a:avLst/>
          </a:prstGeom>
          <a:ln w="476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Illinois-Logo-Full-Color-RGB.png">
            <a:extLst>
              <a:ext uri="{FF2B5EF4-FFF2-40B4-BE49-F238E27FC236}">
                <a16:creationId xmlns:a16="http://schemas.microsoft.com/office/drawing/2014/main" id="{9C8779D1-72EB-DF44-BE14-9693CEA4D32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599414" y="206375"/>
            <a:ext cx="315986" cy="4572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3138CB7-5483-8E41-9C83-9B09C2983124}"/>
              </a:ext>
            </a:extLst>
          </p:cNvPr>
          <p:cNvSpPr/>
          <p:nvPr userDrawn="1"/>
        </p:nvSpPr>
        <p:spPr>
          <a:xfrm>
            <a:off x="8018535" y="211137"/>
            <a:ext cx="452438" cy="452438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lient Logo</a:t>
            </a:r>
          </a:p>
        </p:txBody>
      </p:sp>
    </p:spTree>
    <p:extLst>
      <p:ext uri="{BB962C8B-B14F-4D97-AF65-F5344CB8AC3E}">
        <p14:creationId xmlns:p14="http://schemas.microsoft.com/office/powerpoint/2010/main" val="3809902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7" r:id="rId7"/>
    <p:sldLayoutId id="2147483688" r:id="rId8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SzPct val="70000"/>
        <a:buFont typeface="Wingdings" pitchFamily="2" charset="2"/>
        <a:buChar char="q"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»"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orient="horz" pos="3108" userDrawn="1">
          <p15:clr>
            <a:srgbClr val="F26B43"/>
          </p15:clr>
        </p15:guide>
        <p15:guide id="10" pos="144" userDrawn="1">
          <p15:clr>
            <a:srgbClr val="F26B43"/>
          </p15:clr>
        </p15:guide>
        <p15:guide id="11" pos="5616" userDrawn="1">
          <p15:clr>
            <a:srgbClr val="F26B43"/>
          </p15:clr>
        </p15:guide>
        <p15:guide id="12" orient="horz" pos="13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A97940-23B3-8745-9A07-B6F107BBDF91}" type="datetimeFigureOut">
              <a:rPr lang="en-US" smtClean="0"/>
              <a:t>9/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24F363-2865-5B48-BF5B-B9D498FAC1DD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Aerial.jp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0" y="0"/>
            <a:ext cx="9154160" cy="5181617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1136" y="5152476"/>
            <a:ext cx="9144000" cy="1588"/>
          </a:xfrm>
          <a:prstGeom prst="line">
            <a:avLst/>
          </a:prstGeom>
          <a:ln w="47625" cap="flat" cmpd="sng" algn="ctr">
            <a:solidFill>
              <a:srgbClr val="D237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G_LeftOrngReverse.eps"/>
          <p:cNvPicPr>
            <a:picLocks noChangeAspect="1"/>
          </p:cNvPicPr>
          <p:nvPr userDrawn="1"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4"/>
              <a:stretch>
                <a:fillRect/>
              </a:stretch>
            </p:blipFill>
          </mc:Choice>
          <mc:Fallback>
            <p:blipFill>
              <a:blip r:embed="rId5"/>
              <a:stretch>
                <a:fillRect/>
              </a:stretch>
            </p:blipFill>
          </mc:Fallback>
        </mc:AlternateContent>
        <p:spPr>
          <a:xfrm>
            <a:off x="297408" y="4554750"/>
            <a:ext cx="1876552" cy="400722"/>
          </a:xfrm>
          <a:prstGeom prst="rect">
            <a:avLst/>
          </a:prstGeom>
          <a:effectLst>
            <a:outerShdw blurRad="50800" dist="38100" dir="270000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4870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emf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7" Type="http://schemas.openxmlformats.org/officeDocument/2006/relationships/image" Target="../media/image19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emf"/><Relationship Id="rId5" Type="http://schemas.openxmlformats.org/officeDocument/2006/relationships/image" Target="../media/image17.emf"/><Relationship Id="rId4" Type="http://schemas.openxmlformats.org/officeDocument/2006/relationships/image" Target="../media/image16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.emf"/><Relationship Id="rId4" Type="http://schemas.openxmlformats.org/officeDocument/2006/relationships/image" Target="../media/image13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17.emf"/><Relationship Id="rId4" Type="http://schemas.openxmlformats.org/officeDocument/2006/relationships/diagramLayout" Target="../diagrams/layout2.xml"/><Relationship Id="rId9" Type="http://schemas.openxmlformats.org/officeDocument/2006/relationships/image" Target="../media/image16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.emf"/><Relationship Id="rId4" Type="http://schemas.openxmlformats.org/officeDocument/2006/relationships/image" Target="../media/image13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4.emf"/><Relationship Id="rId5" Type="http://schemas.openxmlformats.org/officeDocument/2006/relationships/image" Target="../media/image14.emf"/><Relationship Id="rId4" Type="http://schemas.openxmlformats.org/officeDocument/2006/relationships/image" Target="../media/image33.emf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.emf"/><Relationship Id="rId4" Type="http://schemas.openxmlformats.org/officeDocument/2006/relationships/image" Target="../media/image13.emf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7" Type="http://schemas.openxmlformats.org/officeDocument/2006/relationships/image" Target="../media/image19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emf"/><Relationship Id="rId5" Type="http://schemas.openxmlformats.org/officeDocument/2006/relationships/image" Target="../media/image17.emf"/><Relationship Id="rId4" Type="http://schemas.openxmlformats.org/officeDocument/2006/relationships/image" Target="../media/image16.emf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emf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76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147.svg"/><Relationship Id="rId21" Type="http://schemas.openxmlformats.org/officeDocument/2006/relationships/image" Target="../media/image53.svg"/><Relationship Id="rId42" Type="http://schemas.openxmlformats.org/officeDocument/2006/relationships/image" Target="../media/image74.png"/><Relationship Id="rId63" Type="http://schemas.openxmlformats.org/officeDocument/2006/relationships/image" Target="../media/image95.svg"/><Relationship Id="rId84" Type="http://schemas.openxmlformats.org/officeDocument/2006/relationships/image" Target="../media/image114.png"/><Relationship Id="rId138" Type="http://schemas.openxmlformats.org/officeDocument/2006/relationships/image" Target="../media/image164.png"/><Relationship Id="rId159" Type="http://schemas.openxmlformats.org/officeDocument/2006/relationships/image" Target="../media/image185.svg"/><Relationship Id="rId170" Type="http://schemas.openxmlformats.org/officeDocument/2006/relationships/image" Target="../media/image196.png"/><Relationship Id="rId191" Type="http://schemas.openxmlformats.org/officeDocument/2006/relationships/image" Target="../media/image217.svg"/><Relationship Id="rId205" Type="http://schemas.openxmlformats.org/officeDocument/2006/relationships/image" Target="../media/image231.svg"/><Relationship Id="rId107" Type="http://schemas.openxmlformats.org/officeDocument/2006/relationships/image" Target="../media/image137.svg"/><Relationship Id="rId11" Type="http://schemas.openxmlformats.org/officeDocument/2006/relationships/image" Target="../media/image43.svg"/><Relationship Id="rId32" Type="http://schemas.openxmlformats.org/officeDocument/2006/relationships/image" Target="../media/image64.png"/><Relationship Id="rId53" Type="http://schemas.openxmlformats.org/officeDocument/2006/relationships/image" Target="../media/image85.svg"/><Relationship Id="rId74" Type="http://schemas.openxmlformats.org/officeDocument/2006/relationships/image" Target="../media/image104.png"/><Relationship Id="rId128" Type="http://schemas.openxmlformats.org/officeDocument/2006/relationships/image" Target="../media/image158.png"/><Relationship Id="rId149" Type="http://schemas.openxmlformats.org/officeDocument/2006/relationships/image" Target="../media/image175.svg"/><Relationship Id="rId5" Type="http://schemas.openxmlformats.org/officeDocument/2006/relationships/image" Target="../media/image30.svg"/><Relationship Id="rId95" Type="http://schemas.openxmlformats.org/officeDocument/2006/relationships/image" Target="../media/image125.svg"/><Relationship Id="rId160" Type="http://schemas.openxmlformats.org/officeDocument/2006/relationships/image" Target="../media/image186.png"/><Relationship Id="rId181" Type="http://schemas.openxmlformats.org/officeDocument/2006/relationships/image" Target="../media/image207.svg"/><Relationship Id="rId216" Type="http://schemas.openxmlformats.org/officeDocument/2006/relationships/image" Target="../media/image242.png"/><Relationship Id="rId22" Type="http://schemas.openxmlformats.org/officeDocument/2006/relationships/image" Target="../media/image54.png"/><Relationship Id="rId43" Type="http://schemas.openxmlformats.org/officeDocument/2006/relationships/image" Target="../media/image75.svg"/><Relationship Id="rId64" Type="http://schemas.openxmlformats.org/officeDocument/2006/relationships/image" Target="../media/image96.png"/><Relationship Id="rId118" Type="http://schemas.openxmlformats.org/officeDocument/2006/relationships/image" Target="../media/image148.png"/><Relationship Id="rId139" Type="http://schemas.openxmlformats.org/officeDocument/2006/relationships/image" Target="../media/image165.svg"/><Relationship Id="rId85" Type="http://schemas.openxmlformats.org/officeDocument/2006/relationships/image" Target="../media/image115.svg"/><Relationship Id="rId150" Type="http://schemas.openxmlformats.org/officeDocument/2006/relationships/image" Target="../media/image176.png"/><Relationship Id="rId171" Type="http://schemas.openxmlformats.org/officeDocument/2006/relationships/image" Target="../media/image197.svg"/><Relationship Id="rId192" Type="http://schemas.openxmlformats.org/officeDocument/2006/relationships/image" Target="../media/image218.png"/><Relationship Id="rId206" Type="http://schemas.openxmlformats.org/officeDocument/2006/relationships/image" Target="../media/image232.png"/><Relationship Id="rId12" Type="http://schemas.openxmlformats.org/officeDocument/2006/relationships/image" Target="../media/image44.png"/><Relationship Id="rId33" Type="http://schemas.openxmlformats.org/officeDocument/2006/relationships/image" Target="../media/image65.svg"/><Relationship Id="rId108" Type="http://schemas.openxmlformats.org/officeDocument/2006/relationships/image" Target="../media/image138.png"/><Relationship Id="rId129" Type="http://schemas.openxmlformats.org/officeDocument/2006/relationships/image" Target="../media/image159.svg"/><Relationship Id="rId54" Type="http://schemas.openxmlformats.org/officeDocument/2006/relationships/image" Target="../media/image86.png"/><Relationship Id="rId75" Type="http://schemas.openxmlformats.org/officeDocument/2006/relationships/image" Target="../media/image105.svg"/><Relationship Id="rId96" Type="http://schemas.openxmlformats.org/officeDocument/2006/relationships/image" Target="../media/image126.png"/><Relationship Id="rId140" Type="http://schemas.openxmlformats.org/officeDocument/2006/relationships/image" Target="../media/image166.png"/><Relationship Id="rId161" Type="http://schemas.openxmlformats.org/officeDocument/2006/relationships/image" Target="../media/image187.svg"/><Relationship Id="rId182" Type="http://schemas.openxmlformats.org/officeDocument/2006/relationships/image" Target="../media/image208.png"/><Relationship Id="rId217" Type="http://schemas.openxmlformats.org/officeDocument/2006/relationships/image" Target="../media/image243.svg"/><Relationship Id="rId6" Type="http://schemas.openxmlformats.org/officeDocument/2006/relationships/image" Target="../media/image38.png"/><Relationship Id="rId23" Type="http://schemas.openxmlformats.org/officeDocument/2006/relationships/image" Target="../media/image55.svg"/><Relationship Id="rId119" Type="http://schemas.openxmlformats.org/officeDocument/2006/relationships/image" Target="../media/image149.svg"/><Relationship Id="rId44" Type="http://schemas.openxmlformats.org/officeDocument/2006/relationships/image" Target="../media/image76.png"/><Relationship Id="rId65" Type="http://schemas.openxmlformats.org/officeDocument/2006/relationships/image" Target="../media/image97.svg"/><Relationship Id="rId86" Type="http://schemas.openxmlformats.org/officeDocument/2006/relationships/image" Target="../media/image116.png"/><Relationship Id="rId130" Type="http://schemas.openxmlformats.org/officeDocument/2006/relationships/image" Target="../media/image25.png"/><Relationship Id="rId151" Type="http://schemas.openxmlformats.org/officeDocument/2006/relationships/image" Target="../media/image177.svg"/><Relationship Id="rId172" Type="http://schemas.openxmlformats.org/officeDocument/2006/relationships/image" Target="../media/image198.png"/><Relationship Id="rId193" Type="http://schemas.openxmlformats.org/officeDocument/2006/relationships/image" Target="../media/image219.svg"/><Relationship Id="rId207" Type="http://schemas.openxmlformats.org/officeDocument/2006/relationships/image" Target="../media/image233.svg"/><Relationship Id="rId13" Type="http://schemas.openxmlformats.org/officeDocument/2006/relationships/image" Target="../media/image45.svg"/><Relationship Id="rId109" Type="http://schemas.openxmlformats.org/officeDocument/2006/relationships/image" Target="../media/image139.svg"/><Relationship Id="rId34" Type="http://schemas.openxmlformats.org/officeDocument/2006/relationships/image" Target="../media/image66.png"/><Relationship Id="rId55" Type="http://schemas.openxmlformats.org/officeDocument/2006/relationships/image" Target="../media/image87.svg"/><Relationship Id="rId76" Type="http://schemas.openxmlformats.org/officeDocument/2006/relationships/image" Target="../media/image106.png"/><Relationship Id="rId97" Type="http://schemas.openxmlformats.org/officeDocument/2006/relationships/image" Target="../media/image127.svg"/><Relationship Id="rId120" Type="http://schemas.openxmlformats.org/officeDocument/2006/relationships/image" Target="../media/image150.png"/><Relationship Id="rId141" Type="http://schemas.openxmlformats.org/officeDocument/2006/relationships/image" Target="../media/image167.svg"/><Relationship Id="rId7" Type="http://schemas.openxmlformats.org/officeDocument/2006/relationships/image" Target="../media/image39.svg"/><Relationship Id="rId162" Type="http://schemas.openxmlformats.org/officeDocument/2006/relationships/image" Target="../media/image188.png"/><Relationship Id="rId183" Type="http://schemas.openxmlformats.org/officeDocument/2006/relationships/image" Target="../media/image209.svg"/><Relationship Id="rId218" Type="http://schemas.openxmlformats.org/officeDocument/2006/relationships/image" Target="../media/image244.png"/><Relationship Id="rId24" Type="http://schemas.openxmlformats.org/officeDocument/2006/relationships/image" Target="../media/image56.png"/><Relationship Id="rId45" Type="http://schemas.openxmlformats.org/officeDocument/2006/relationships/image" Target="../media/image77.svg"/><Relationship Id="rId66" Type="http://schemas.openxmlformats.org/officeDocument/2006/relationships/image" Target="../media/image98.png"/><Relationship Id="rId87" Type="http://schemas.openxmlformats.org/officeDocument/2006/relationships/image" Target="../media/image117.svg"/><Relationship Id="rId110" Type="http://schemas.openxmlformats.org/officeDocument/2006/relationships/image" Target="../media/image140.png"/><Relationship Id="rId131" Type="http://schemas.openxmlformats.org/officeDocument/2006/relationships/image" Target="../media/image26.svg"/><Relationship Id="rId152" Type="http://schemas.openxmlformats.org/officeDocument/2006/relationships/image" Target="../media/image178.png"/><Relationship Id="rId173" Type="http://schemas.openxmlformats.org/officeDocument/2006/relationships/image" Target="../media/image199.svg"/><Relationship Id="rId194" Type="http://schemas.openxmlformats.org/officeDocument/2006/relationships/image" Target="../media/image220.png"/><Relationship Id="rId208" Type="http://schemas.openxmlformats.org/officeDocument/2006/relationships/image" Target="../media/image234.png"/><Relationship Id="rId14" Type="http://schemas.openxmlformats.org/officeDocument/2006/relationships/image" Target="../media/image46.png"/><Relationship Id="rId35" Type="http://schemas.openxmlformats.org/officeDocument/2006/relationships/image" Target="../media/image67.svg"/><Relationship Id="rId56" Type="http://schemas.openxmlformats.org/officeDocument/2006/relationships/image" Target="../media/image88.png"/><Relationship Id="rId77" Type="http://schemas.openxmlformats.org/officeDocument/2006/relationships/image" Target="../media/image107.svg"/><Relationship Id="rId100" Type="http://schemas.openxmlformats.org/officeDocument/2006/relationships/image" Target="../media/image130.png"/><Relationship Id="rId8" Type="http://schemas.openxmlformats.org/officeDocument/2006/relationships/image" Target="../media/image40.png"/><Relationship Id="rId98" Type="http://schemas.openxmlformats.org/officeDocument/2006/relationships/image" Target="../media/image128.png"/><Relationship Id="rId121" Type="http://schemas.openxmlformats.org/officeDocument/2006/relationships/image" Target="../media/image151.svg"/><Relationship Id="rId142" Type="http://schemas.openxmlformats.org/officeDocument/2006/relationships/image" Target="../media/image168.png"/><Relationship Id="rId163" Type="http://schemas.openxmlformats.org/officeDocument/2006/relationships/image" Target="../media/image189.svg"/><Relationship Id="rId184" Type="http://schemas.openxmlformats.org/officeDocument/2006/relationships/image" Target="../media/image210.png"/><Relationship Id="rId219" Type="http://schemas.openxmlformats.org/officeDocument/2006/relationships/image" Target="../media/image245.svg"/><Relationship Id="rId3" Type="http://schemas.openxmlformats.org/officeDocument/2006/relationships/image" Target="../media/image37.svg"/><Relationship Id="rId214" Type="http://schemas.openxmlformats.org/officeDocument/2006/relationships/image" Target="../media/image240.png"/><Relationship Id="rId25" Type="http://schemas.openxmlformats.org/officeDocument/2006/relationships/image" Target="../media/image57.svg"/><Relationship Id="rId46" Type="http://schemas.openxmlformats.org/officeDocument/2006/relationships/image" Target="../media/image78.png"/><Relationship Id="rId67" Type="http://schemas.openxmlformats.org/officeDocument/2006/relationships/image" Target="../media/image99.svg"/><Relationship Id="rId116" Type="http://schemas.openxmlformats.org/officeDocument/2006/relationships/image" Target="../media/image146.png"/><Relationship Id="rId137" Type="http://schemas.openxmlformats.org/officeDocument/2006/relationships/image" Target="../media/image24.svg"/><Relationship Id="rId158" Type="http://schemas.openxmlformats.org/officeDocument/2006/relationships/image" Target="../media/image184.png"/><Relationship Id="rId20" Type="http://schemas.openxmlformats.org/officeDocument/2006/relationships/image" Target="../media/image52.png"/><Relationship Id="rId41" Type="http://schemas.openxmlformats.org/officeDocument/2006/relationships/image" Target="../media/image73.svg"/><Relationship Id="rId62" Type="http://schemas.openxmlformats.org/officeDocument/2006/relationships/image" Target="../media/image94.png"/><Relationship Id="rId83" Type="http://schemas.openxmlformats.org/officeDocument/2006/relationships/image" Target="../media/image113.svg"/><Relationship Id="rId88" Type="http://schemas.openxmlformats.org/officeDocument/2006/relationships/image" Target="../media/image118.png"/><Relationship Id="rId111" Type="http://schemas.openxmlformats.org/officeDocument/2006/relationships/image" Target="../media/image141.svg"/><Relationship Id="rId132" Type="http://schemas.openxmlformats.org/officeDocument/2006/relationships/image" Target="../media/image160.png"/><Relationship Id="rId153" Type="http://schemas.openxmlformats.org/officeDocument/2006/relationships/image" Target="../media/image179.svg"/><Relationship Id="rId174" Type="http://schemas.openxmlformats.org/officeDocument/2006/relationships/image" Target="../media/image200.png"/><Relationship Id="rId179" Type="http://schemas.openxmlformats.org/officeDocument/2006/relationships/image" Target="../media/image205.svg"/><Relationship Id="rId195" Type="http://schemas.openxmlformats.org/officeDocument/2006/relationships/image" Target="../media/image221.svg"/><Relationship Id="rId209" Type="http://schemas.openxmlformats.org/officeDocument/2006/relationships/image" Target="../media/image235.svg"/><Relationship Id="rId190" Type="http://schemas.openxmlformats.org/officeDocument/2006/relationships/image" Target="../media/image216.png"/><Relationship Id="rId204" Type="http://schemas.openxmlformats.org/officeDocument/2006/relationships/image" Target="../media/image230.png"/><Relationship Id="rId220" Type="http://schemas.openxmlformats.org/officeDocument/2006/relationships/image" Target="../media/image246.png"/><Relationship Id="rId225" Type="http://schemas.openxmlformats.org/officeDocument/2006/relationships/image" Target="../media/image251.svg"/><Relationship Id="rId15" Type="http://schemas.openxmlformats.org/officeDocument/2006/relationships/image" Target="../media/image47.svg"/><Relationship Id="rId36" Type="http://schemas.openxmlformats.org/officeDocument/2006/relationships/image" Target="../media/image68.png"/><Relationship Id="rId57" Type="http://schemas.openxmlformats.org/officeDocument/2006/relationships/image" Target="../media/image89.svg"/><Relationship Id="rId106" Type="http://schemas.openxmlformats.org/officeDocument/2006/relationships/image" Target="../media/image136.png"/><Relationship Id="rId127" Type="http://schemas.openxmlformats.org/officeDocument/2006/relationships/image" Target="../media/image157.svg"/><Relationship Id="rId10" Type="http://schemas.openxmlformats.org/officeDocument/2006/relationships/image" Target="../media/image42.png"/><Relationship Id="rId31" Type="http://schemas.openxmlformats.org/officeDocument/2006/relationships/image" Target="../media/image63.svg"/><Relationship Id="rId52" Type="http://schemas.openxmlformats.org/officeDocument/2006/relationships/image" Target="../media/image84.png"/><Relationship Id="rId73" Type="http://schemas.openxmlformats.org/officeDocument/2006/relationships/image" Target="../media/image28.svg"/><Relationship Id="rId78" Type="http://schemas.openxmlformats.org/officeDocument/2006/relationships/image" Target="../media/image108.png"/><Relationship Id="rId94" Type="http://schemas.openxmlformats.org/officeDocument/2006/relationships/image" Target="../media/image124.png"/><Relationship Id="rId99" Type="http://schemas.openxmlformats.org/officeDocument/2006/relationships/image" Target="../media/image129.svg"/><Relationship Id="rId101" Type="http://schemas.openxmlformats.org/officeDocument/2006/relationships/image" Target="../media/image131.svg"/><Relationship Id="rId122" Type="http://schemas.openxmlformats.org/officeDocument/2006/relationships/image" Target="../media/image152.png"/><Relationship Id="rId143" Type="http://schemas.openxmlformats.org/officeDocument/2006/relationships/image" Target="../media/image169.svg"/><Relationship Id="rId148" Type="http://schemas.openxmlformats.org/officeDocument/2006/relationships/image" Target="../media/image174.png"/><Relationship Id="rId164" Type="http://schemas.openxmlformats.org/officeDocument/2006/relationships/image" Target="../media/image190.png"/><Relationship Id="rId169" Type="http://schemas.openxmlformats.org/officeDocument/2006/relationships/image" Target="../media/image195.svg"/><Relationship Id="rId185" Type="http://schemas.openxmlformats.org/officeDocument/2006/relationships/image" Target="../media/image211.svg"/><Relationship Id="rId4" Type="http://schemas.openxmlformats.org/officeDocument/2006/relationships/image" Target="../media/image29.png"/><Relationship Id="rId9" Type="http://schemas.openxmlformats.org/officeDocument/2006/relationships/image" Target="../media/image41.svg"/><Relationship Id="rId180" Type="http://schemas.openxmlformats.org/officeDocument/2006/relationships/image" Target="../media/image206.png"/><Relationship Id="rId210" Type="http://schemas.openxmlformats.org/officeDocument/2006/relationships/image" Target="../media/image236.png"/><Relationship Id="rId215" Type="http://schemas.openxmlformats.org/officeDocument/2006/relationships/image" Target="../media/image241.svg"/><Relationship Id="rId26" Type="http://schemas.openxmlformats.org/officeDocument/2006/relationships/image" Target="../media/image58.png"/><Relationship Id="rId47" Type="http://schemas.openxmlformats.org/officeDocument/2006/relationships/image" Target="../media/image79.svg"/><Relationship Id="rId68" Type="http://schemas.openxmlformats.org/officeDocument/2006/relationships/image" Target="../media/image100.png"/><Relationship Id="rId89" Type="http://schemas.openxmlformats.org/officeDocument/2006/relationships/image" Target="../media/image119.svg"/><Relationship Id="rId112" Type="http://schemas.openxmlformats.org/officeDocument/2006/relationships/image" Target="../media/image142.png"/><Relationship Id="rId133" Type="http://schemas.openxmlformats.org/officeDocument/2006/relationships/image" Target="../media/image161.svg"/><Relationship Id="rId154" Type="http://schemas.openxmlformats.org/officeDocument/2006/relationships/image" Target="../media/image180.png"/><Relationship Id="rId175" Type="http://schemas.openxmlformats.org/officeDocument/2006/relationships/image" Target="../media/image201.svg"/><Relationship Id="rId196" Type="http://schemas.openxmlformats.org/officeDocument/2006/relationships/image" Target="../media/image222.png"/><Relationship Id="rId200" Type="http://schemas.openxmlformats.org/officeDocument/2006/relationships/image" Target="../media/image226.png"/><Relationship Id="rId16" Type="http://schemas.openxmlformats.org/officeDocument/2006/relationships/image" Target="../media/image48.png"/><Relationship Id="rId221" Type="http://schemas.openxmlformats.org/officeDocument/2006/relationships/image" Target="../media/image247.svg"/><Relationship Id="rId37" Type="http://schemas.openxmlformats.org/officeDocument/2006/relationships/image" Target="../media/image69.svg"/><Relationship Id="rId58" Type="http://schemas.openxmlformats.org/officeDocument/2006/relationships/image" Target="../media/image90.png"/><Relationship Id="rId79" Type="http://schemas.openxmlformats.org/officeDocument/2006/relationships/image" Target="../media/image109.svg"/><Relationship Id="rId102" Type="http://schemas.openxmlformats.org/officeDocument/2006/relationships/image" Target="../media/image132.png"/><Relationship Id="rId123" Type="http://schemas.openxmlformats.org/officeDocument/2006/relationships/image" Target="../media/image153.svg"/><Relationship Id="rId144" Type="http://schemas.openxmlformats.org/officeDocument/2006/relationships/image" Target="../media/image170.png"/><Relationship Id="rId90" Type="http://schemas.openxmlformats.org/officeDocument/2006/relationships/image" Target="../media/image120.png"/><Relationship Id="rId165" Type="http://schemas.openxmlformats.org/officeDocument/2006/relationships/image" Target="../media/image191.svg"/><Relationship Id="rId186" Type="http://schemas.openxmlformats.org/officeDocument/2006/relationships/image" Target="../media/image212.png"/><Relationship Id="rId211" Type="http://schemas.openxmlformats.org/officeDocument/2006/relationships/image" Target="../media/image237.svg"/><Relationship Id="rId27" Type="http://schemas.openxmlformats.org/officeDocument/2006/relationships/image" Target="../media/image59.svg"/><Relationship Id="rId48" Type="http://schemas.openxmlformats.org/officeDocument/2006/relationships/image" Target="../media/image80.png"/><Relationship Id="rId69" Type="http://schemas.openxmlformats.org/officeDocument/2006/relationships/image" Target="../media/image101.svg"/><Relationship Id="rId113" Type="http://schemas.openxmlformats.org/officeDocument/2006/relationships/image" Target="../media/image143.svg"/><Relationship Id="rId134" Type="http://schemas.openxmlformats.org/officeDocument/2006/relationships/image" Target="../media/image162.png"/><Relationship Id="rId80" Type="http://schemas.openxmlformats.org/officeDocument/2006/relationships/image" Target="../media/image110.png"/><Relationship Id="rId155" Type="http://schemas.openxmlformats.org/officeDocument/2006/relationships/image" Target="../media/image181.svg"/><Relationship Id="rId176" Type="http://schemas.openxmlformats.org/officeDocument/2006/relationships/image" Target="../media/image202.png"/><Relationship Id="rId197" Type="http://schemas.openxmlformats.org/officeDocument/2006/relationships/image" Target="../media/image223.svg"/><Relationship Id="rId201" Type="http://schemas.openxmlformats.org/officeDocument/2006/relationships/image" Target="../media/image227.svg"/><Relationship Id="rId222" Type="http://schemas.openxmlformats.org/officeDocument/2006/relationships/image" Target="../media/image248.png"/><Relationship Id="rId17" Type="http://schemas.openxmlformats.org/officeDocument/2006/relationships/image" Target="../media/image49.svg"/><Relationship Id="rId38" Type="http://schemas.openxmlformats.org/officeDocument/2006/relationships/image" Target="../media/image70.png"/><Relationship Id="rId59" Type="http://schemas.openxmlformats.org/officeDocument/2006/relationships/image" Target="../media/image91.svg"/><Relationship Id="rId103" Type="http://schemas.openxmlformats.org/officeDocument/2006/relationships/image" Target="../media/image133.svg"/><Relationship Id="rId124" Type="http://schemas.openxmlformats.org/officeDocument/2006/relationships/image" Target="../media/image154.png"/><Relationship Id="rId70" Type="http://schemas.openxmlformats.org/officeDocument/2006/relationships/image" Target="../media/image102.png"/><Relationship Id="rId91" Type="http://schemas.openxmlformats.org/officeDocument/2006/relationships/image" Target="../media/image121.svg"/><Relationship Id="rId145" Type="http://schemas.openxmlformats.org/officeDocument/2006/relationships/image" Target="../media/image171.svg"/><Relationship Id="rId166" Type="http://schemas.openxmlformats.org/officeDocument/2006/relationships/image" Target="../media/image192.png"/><Relationship Id="rId187" Type="http://schemas.openxmlformats.org/officeDocument/2006/relationships/image" Target="../media/image213.svg"/><Relationship Id="rId1" Type="http://schemas.openxmlformats.org/officeDocument/2006/relationships/slideLayout" Target="../slideLayouts/slideLayout5.xml"/><Relationship Id="rId212" Type="http://schemas.openxmlformats.org/officeDocument/2006/relationships/image" Target="../media/image238.png"/><Relationship Id="rId28" Type="http://schemas.openxmlformats.org/officeDocument/2006/relationships/image" Target="../media/image60.png"/><Relationship Id="rId49" Type="http://schemas.openxmlformats.org/officeDocument/2006/relationships/image" Target="../media/image81.svg"/><Relationship Id="rId114" Type="http://schemas.openxmlformats.org/officeDocument/2006/relationships/image" Target="../media/image144.png"/><Relationship Id="rId60" Type="http://schemas.openxmlformats.org/officeDocument/2006/relationships/image" Target="../media/image92.png"/><Relationship Id="rId81" Type="http://schemas.openxmlformats.org/officeDocument/2006/relationships/image" Target="../media/image111.svg"/><Relationship Id="rId135" Type="http://schemas.openxmlformats.org/officeDocument/2006/relationships/image" Target="../media/image163.svg"/><Relationship Id="rId156" Type="http://schemas.openxmlformats.org/officeDocument/2006/relationships/image" Target="../media/image182.png"/><Relationship Id="rId177" Type="http://schemas.openxmlformats.org/officeDocument/2006/relationships/image" Target="../media/image203.svg"/><Relationship Id="rId198" Type="http://schemas.openxmlformats.org/officeDocument/2006/relationships/image" Target="../media/image224.png"/><Relationship Id="rId202" Type="http://schemas.openxmlformats.org/officeDocument/2006/relationships/image" Target="../media/image228.png"/><Relationship Id="rId223" Type="http://schemas.openxmlformats.org/officeDocument/2006/relationships/image" Target="../media/image249.svg"/><Relationship Id="rId18" Type="http://schemas.openxmlformats.org/officeDocument/2006/relationships/image" Target="../media/image50.png"/><Relationship Id="rId39" Type="http://schemas.openxmlformats.org/officeDocument/2006/relationships/image" Target="../media/image71.svg"/><Relationship Id="rId50" Type="http://schemas.openxmlformats.org/officeDocument/2006/relationships/image" Target="../media/image82.png"/><Relationship Id="rId104" Type="http://schemas.openxmlformats.org/officeDocument/2006/relationships/image" Target="../media/image134.png"/><Relationship Id="rId125" Type="http://schemas.openxmlformats.org/officeDocument/2006/relationships/image" Target="../media/image155.svg"/><Relationship Id="rId146" Type="http://schemas.openxmlformats.org/officeDocument/2006/relationships/image" Target="../media/image172.png"/><Relationship Id="rId167" Type="http://schemas.openxmlformats.org/officeDocument/2006/relationships/image" Target="../media/image193.svg"/><Relationship Id="rId188" Type="http://schemas.openxmlformats.org/officeDocument/2006/relationships/image" Target="../media/image214.png"/><Relationship Id="rId71" Type="http://schemas.openxmlformats.org/officeDocument/2006/relationships/image" Target="../media/image103.svg"/><Relationship Id="rId92" Type="http://schemas.openxmlformats.org/officeDocument/2006/relationships/image" Target="../media/image122.png"/><Relationship Id="rId213" Type="http://schemas.openxmlformats.org/officeDocument/2006/relationships/image" Target="../media/image239.svg"/><Relationship Id="rId2" Type="http://schemas.openxmlformats.org/officeDocument/2006/relationships/image" Target="../media/image36.png"/><Relationship Id="rId29" Type="http://schemas.openxmlformats.org/officeDocument/2006/relationships/image" Target="../media/image61.svg"/><Relationship Id="rId40" Type="http://schemas.openxmlformats.org/officeDocument/2006/relationships/image" Target="../media/image72.png"/><Relationship Id="rId115" Type="http://schemas.openxmlformats.org/officeDocument/2006/relationships/image" Target="../media/image145.svg"/><Relationship Id="rId136" Type="http://schemas.openxmlformats.org/officeDocument/2006/relationships/image" Target="../media/image23.png"/><Relationship Id="rId157" Type="http://schemas.openxmlformats.org/officeDocument/2006/relationships/image" Target="../media/image183.svg"/><Relationship Id="rId178" Type="http://schemas.openxmlformats.org/officeDocument/2006/relationships/image" Target="../media/image204.png"/><Relationship Id="rId61" Type="http://schemas.openxmlformats.org/officeDocument/2006/relationships/image" Target="../media/image93.svg"/><Relationship Id="rId82" Type="http://schemas.openxmlformats.org/officeDocument/2006/relationships/image" Target="../media/image112.png"/><Relationship Id="rId199" Type="http://schemas.openxmlformats.org/officeDocument/2006/relationships/image" Target="../media/image225.svg"/><Relationship Id="rId203" Type="http://schemas.openxmlformats.org/officeDocument/2006/relationships/image" Target="../media/image229.svg"/><Relationship Id="rId19" Type="http://schemas.openxmlformats.org/officeDocument/2006/relationships/image" Target="../media/image51.svg"/><Relationship Id="rId224" Type="http://schemas.openxmlformats.org/officeDocument/2006/relationships/image" Target="../media/image250.png"/><Relationship Id="rId30" Type="http://schemas.openxmlformats.org/officeDocument/2006/relationships/image" Target="../media/image62.png"/><Relationship Id="rId105" Type="http://schemas.openxmlformats.org/officeDocument/2006/relationships/image" Target="../media/image135.svg"/><Relationship Id="rId126" Type="http://schemas.openxmlformats.org/officeDocument/2006/relationships/image" Target="../media/image156.png"/><Relationship Id="rId147" Type="http://schemas.openxmlformats.org/officeDocument/2006/relationships/image" Target="../media/image173.svg"/><Relationship Id="rId168" Type="http://schemas.openxmlformats.org/officeDocument/2006/relationships/image" Target="../media/image194.png"/><Relationship Id="rId51" Type="http://schemas.openxmlformats.org/officeDocument/2006/relationships/image" Target="../media/image83.svg"/><Relationship Id="rId72" Type="http://schemas.openxmlformats.org/officeDocument/2006/relationships/image" Target="../media/image27.png"/><Relationship Id="rId93" Type="http://schemas.openxmlformats.org/officeDocument/2006/relationships/image" Target="../media/image123.svg"/><Relationship Id="rId189" Type="http://schemas.openxmlformats.org/officeDocument/2006/relationships/image" Target="../media/image215.svg"/></Relationships>
</file>

<file path=ppt/slides/_rels/slide77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367.svg"/><Relationship Id="rId21" Type="http://schemas.openxmlformats.org/officeDocument/2006/relationships/image" Target="../media/image271.svg"/><Relationship Id="rId42" Type="http://schemas.openxmlformats.org/officeDocument/2006/relationships/image" Target="../media/image292.png"/><Relationship Id="rId63" Type="http://schemas.openxmlformats.org/officeDocument/2006/relationships/image" Target="../media/image313.svg"/><Relationship Id="rId84" Type="http://schemas.openxmlformats.org/officeDocument/2006/relationships/image" Target="../media/image334.png"/><Relationship Id="rId138" Type="http://schemas.openxmlformats.org/officeDocument/2006/relationships/image" Target="../media/image388.png"/><Relationship Id="rId159" Type="http://schemas.openxmlformats.org/officeDocument/2006/relationships/image" Target="../media/image409.svg"/><Relationship Id="rId170" Type="http://schemas.openxmlformats.org/officeDocument/2006/relationships/image" Target="../media/image420.png"/><Relationship Id="rId191" Type="http://schemas.openxmlformats.org/officeDocument/2006/relationships/image" Target="../media/image441.svg"/><Relationship Id="rId205" Type="http://schemas.openxmlformats.org/officeDocument/2006/relationships/image" Target="../media/image455.svg"/><Relationship Id="rId107" Type="http://schemas.openxmlformats.org/officeDocument/2006/relationships/image" Target="../media/image357.svg"/><Relationship Id="rId11" Type="http://schemas.openxmlformats.org/officeDocument/2006/relationships/image" Target="../media/image261.svg"/><Relationship Id="rId32" Type="http://schemas.openxmlformats.org/officeDocument/2006/relationships/image" Target="../media/image282.png"/><Relationship Id="rId53" Type="http://schemas.openxmlformats.org/officeDocument/2006/relationships/image" Target="../media/image303.svg"/><Relationship Id="rId74" Type="http://schemas.openxmlformats.org/officeDocument/2006/relationships/image" Target="../media/image324.png"/><Relationship Id="rId128" Type="http://schemas.openxmlformats.org/officeDocument/2006/relationships/image" Target="../media/image378.png"/><Relationship Id="rId149" Type="http://schemas.openxmlformats.org/officeDocument/2006/relationships/image" Target="../media/image399.svg"/><Relationship Id="rId5" Type="http://schemas.openxmlformats.org/officeDocument/2006/relationships/image" Target="../media/image255.svg"/><Relationship Id="rId95" Type="http://schemas.openxmlformats.org/officeDocument/2006/relationships/image" Target="../media/image345.svg"/><Relationship Id="rId160" Type="http://schemas.openxmlformats.org/officeDocument/2006/relationships/image" Target="../media/image410.png"/><Relationship Id="rId181" Type="http://schemas.openxmlformats.org/officeDocument/2006/relationships/image" Target="../media/image431.svg"/><Relationship Id="rId216" Type="http://schemas.openxmlformats.org/officeDocument/2006/relationships/image" Target="../media/image466.png"/><Relationship Id="rId22" Type="http://schemas.openxmlformats.org/officeDocument/2006/relationships/image" Target="../media/image272.png"/><Relationship Id="rId43" Type="http://schemas.openxmlformats.org/officeDocument/2006/relationships/image" Target="../media/image293.svg"/><Relationship Id="rId64" Type="http://schemas.openxmlformats.org/officeDocument/2006/relationships/image" Target="../media/image314.png"/><Relationship Id="rId118" Type="http://schemas.openxmlformats.org/officeDocument/2006/relationships/image" Target="../media/image368.png"/><Relationship Id="rId139" Type="http://schemas.openxmlformats.org/officeDocument/2006/relationships/image" Target="../media/image389.svg"/><Relationship Id="rId85" Type="http://schemas.openxmlformats.org/officeDocument/2006/relationships/image" Target="../media/image335.svg"/><Relationship Id="rId150" Type="http://schemas.openxmlformats.org/officeDocument/2006/relationships/image" Target="../media/image400.png"/><Relationship Id="rId171" Type="http://schemas.openxmlformats.org/officeDocument/2006/relationships/image" Target="../media/image421.svg"/><Relationship Id="rId192" Type="http://schemas.openxmlformats.org/officeDocument/2006/relationships/image" Target="../media/image442.png"/><Relationship Id="rId206" Type="http://schemas.openxmlformats.org/officeDocument/2006/relationships/image" Target="../media/image456.png"/><Relationship Id="rId12" Type="http://schemas.openxmlformats.org/officeDocument/2006/relationships/image" Target="../media/image262.png"/><Relationship Id="rId33" Type="http://schemas.openxmlformats.org/officeDocument/2006/relationships/image" Target="../media/image283.svg"/><Relationship Id="rId108" Type="http://schemas.openxmlformats.org/officeDocument/2006/relationships/image" Target="../media/image358.png"/><Relationship Id="rId129" Type="http://schemas.openxmlformats.org/officeDocument/2006/relationships/image" Target="../media/image379.svg"/><Relationship Id="rId54" Type="http://schemas.openxmlformats.org/officeDocument/2006/relationships/image" Target="../media/image304.png"/><Relationship Id="rId75" Type="http://schemas.openxmlformats.org/officeDocument/2006/relationships/image" Target="../media/image325.svg"/><Relationship Id="rId96" Type="http://schemas.openxmlformats.org/officeDocument/2006/relationships/image" Target="../media/image346.png"/><Relationship Id="rId140" Type="http://schemas.openxmlformats.org/officeDocument/2006/relationships/image" Target="../media/image390.png"/><Relationship Id="rId161" Type="http://schemas.openxmlformats.org/officeDocument/2006/relationships/image" Target="../media/image411.svg"/><Relationship Id="rId182" Type="http://schemas.openxmlformats.org/officeDocument/2006/relationships/image" Target="../media/image432.png"/><Relationship Id="rId217" Type="http://schemas.openxmlformats.org/officeDocument/2006/relationships/image" Target="../media/image467.svg"/><Relationship Id="rId6" Type="http://schemas.openxmlformats.org/officeDocument/2006/relationships/image" Target="../media/image256.png"/><Relationship Id="rId23" Type="http://schemas.openxmlformats.org/officeDocument/2006/relationships/image" Target="../media/image273.svg"/><Relationship Id="rId119" Type="http://schemas.openxmlformats.org/officeDocument/2006/relationships/image" Target="../media/image369.svg"/><Relationship Id="rId44" Type="http://schemas.openxmlformats.org/officeDocument/2006/relationships/image" Target="../media/image294.png"/><Relationship Id="rId65" Type="http://schemas.openxmlformats.org/officeDocument/2006/relationships/image" Target="../media/image315.svg"/><Relationship Id="rId86" Type="http://schemas.openxmlformats.org/officeDocument/2006/relationships/image" Target="../media/image336.png"/><Relationship Id="rId130" Type="http://schemas.openxmlformats.org/officeDocument/2006/relationships/image" Target="../media/image380.png"/><Relationship Id="rId151" Type="http://schemas.openxmlformats.org/officeDocument/2006/relationships/image" Target="../media/image401.svg"/><Relationship Id="rId172" Type="http://schemas.openxmlformats.org/officeDocument/2006/relationships/image" Target="../media/image422.png"/><Relationship Id="rId193" Type="http://schemas.openxmlformats.org/officeDocument/2006/relationships/image" Target="../media/image443.svg"/><Relationship Id="rId207" Type="http://schemas.openxmlformats.org/officeDocument/2006/relationships/image" Target="../media/image457.svg"/><Relationship Id="rId13" Type="http://schemas.openxmlformats.org/officeDocument/2006/relationships/image" Target="../media/image263.svg"/><Relationship Id="rId109" Type="http://schemas.openxmlformats.org/officeDocument/2006/relationships/image" Target="../media/image359.svg"/><Relationship Id="rId34" Type="http://schemas.openxmlformats.org/officeDocument/2006/relationships/image" Target="../media/image284.png"/><Relationship Id="rId55" Type="http://schemas.openxmlformats.org/officeDocument/2006/relationships/image" Target="../media/image305.svg"/><Relationship Id="rId76" Type="http://schemas.openxmlformats.org/officeDocument/2006/relationships/image" Target="../media/image326.png"/><Relationship Id="rId97" Type="http://schemas.openxmlformats.org/officeDocument/2006/relationships/image" Target="../media/image347.svg"/><Relationship Id="rId120" Type="http://schemas.openxmlformats.org/officeDocument/2006/relationships/image" Target="../media/image370.png"/><Relationship Id="rId141" Type="http://schemas.openxmlformats.org/officeDocument/2006/relationships/image" Target="../media/image391.svg"/><Relationship Id="rId7" Type="http://schemas.openxmlformats.org/officeDocument/2006/relationships/image" Target="../media/image257.svg"/><Relationship Id="rId162" Type="http://schemas.openxmlformats.org/officeDocument/2006/relationships/image" Target="../media/image412.png"/><Relationship Id="rId183" Type="http://schemas.openxmlformats.org/officeDocument/2006/relationships/image" Target="../media/image433.svg"/><Relationship Id="rId218" Type="http://schemas.openxmlformats.org/officeDocument/2006/relationships/image" Target="../media/image468.png"/><Relationship Id="rId24" Type="http://schemas.openxmlformats.org/officeDocument/2006/relationships/image" Target="../media/image274.png"/><Relationship Id="rId45" Type="http://schemas.openxmlformats.org/officeDocument/2006/relationships/image" Target="../media/image295.svg"/><Relationship Id="rId66" Type="http://schemas.openxmlformats.org/officeDocument/2006/relationships/image" Target="../media/image316.png"/><Relationship Id="rId87" Type="http://schemas.openxmlformats.org/officeDocument/2006/relationships/image" Target="../media/image337.svg"/><Relationship Id="rId110" Type="http://schemas.openxmlformats.org/officeDocument/2006/relationships/image" Target="../media/image360.png"/><Relationship Id="rId131" Type="http://schemas.openxmlformats.org/officeDocument/2006/relationships/image" Target="../media/image381.svg"/><Relationship Id="rId152" Type="http://schemas.openxmlformats.org/officeDocument/2006/relationships/image" Target="../media/image402.png"/><Relationship Id="rId173" Type="http://schemas.openxmlformats.org/officeDocument/2006/relationships/image" Target="../media/image423.svg"/><Relationship Id="rId194" Type="http://schemas.openxmlformats.org/officeDocument/2006/relationships/image" Target="../media/image444.png"/><Relationship Id="rId208" Type="http://schemas.openxmlformats.org/officeDocument/2006/relationships/image" Target="../media/image458.png"/><Relationship Id="rId14" Type="http://schemas.openxmlformats.org/officeDocument/2006/relationships/image" Target="../media/image264.png"/><Relationship Id="rId35" Type="http://schemas.openxmlformats.org/officeDocument/2006/relationships/image" Target="../media/image285.svg"/><Relationship Id="rId56" Type="http://schemas.openxmlformats.org/officeDocument/2006/relationships/image" Target="../media/image306.png"/><Relationship Id="rId77" Type="http://schemas.openxmlformats.org/officeDocument/2006/relationships/image" Target="../media/image327.svg"/><Relationship Id="rId100" Type="http://schemas.openxmlformats.org/officeDocument/2006/relationships/image" Target="../media/image350.png"/><Relationship Id="rId8" Type="http://schemas.openxmlformats.org/officeDocument/2006/relationships/image" Target="../media/image258.png"/><Relationship Id="rId98" Type="http://schemas.openxmlformats.org/officeDocument/2006/relationships/image" Target="../media/image348.png"/><Relationship Id="rId121" Type="http://schemas.openxmlformats.org/officeDocument/2006/relationships/image" Target="../media/image371.svg"/><Relationship Id="rId142" Type="http://schemas.openxmlformats.org/officeDocument/2006/relationships/image" Target="../media/image392.png"/><Relationship Id="rId163" Type="http://schemas.openxmlformats.org/officeDocument/2006/relationships/image" Target="../media/image413.svg"/><Relationship Id="rId184" Type="http://schemas.openxmlformats.org/officeDocument/2006/relationships/image" Target="../media/image434.png"/><Relationship Id="rId219" Type="http://schemas.openxmlformats.org/officeDocument/2006/relationships/image" Target="../media/image469.svg"/><Relationship Id="rId3" Type="http://schemas.openxmlformats.org/officeDocument/2006/relationships/image" Target="../media/image253.svg"/><Relationship Id="rId214" Type="http://schemas.openxmlformats.org/officeDocument/2006/relationships/image" Target="../media/image464.png"/><Relationship Id="rId25" Type="http://schemas.openxmlformats.org/officeDocument/2006/relationships/image" Target="../media/image275.svg"/><Relationship Id="rId46" Type="http://schemas.openxmlformats.org/officeDocument/2006/relationships/image" Target="../media/image296.png"/><Relationship Id="rId67" Type="http://schemas.openxmlformats.org/officeDocument/2006/relationships/image" Target="../media/image317.svg"/><Relationship Id="rId116" Type="http://schemas.openxmlformats.org/officeDocument/2006/relationships/image" Target="../media/image366.png"/><Relationship Id="rId137" Type="http://schemas.openxmlformats.org/officeDocument/2006/relationships/image" Target="../media/image387.svg"/><Relationship Id="rId158" Type="http://schemas.openxmlformats.org/officeDocument/2006/relationships/image" Target="../media/image408.png"/><Relationship Id="rId20" Type="http://schemas.openxmlformats.org/officeDocument/2006/relationships/image" Target="../media/image270.png"/><Relationship Id="rId41" Type="http://schemas.openxmlformats.org/officeDocument/2006/relationships/image" Target="../media/image291.svg"/><Relationship Id="rId62" Type="http://schemas.openxmlformats.org/officeDocument/2006/relationships/image" Target="../media/image312.png"/><Relationship Id="rId83" Type="http://schemas.openxmlformats.org/officeDocument/2006/relationships/image" Target="../media/image333.svg"/><Relationship Id="rId88" Type="http://schemas.openxmlformats.org/officeDocument/2006/relationships/image" Target="../media/image338.png"/><Relationship Id="rId111" Type="http://schemas.openxmlformats.org/officeDocument/2006/relationships/image" Target="../media/image361.svg"/><Relationship Id="rId132" Type="http://schemas.openxmlformats.org/officeDocument/2006/relationships/image" Target="../media/image382.png"/><Relationship Id="rId153" Type="http://schemas.openxmlformats.org/officeDocument/2006/relationships/image" Target="../media/image403.svg"/><Relationship Id="rId174" Type="http://schemas.openxmlformats.org/officeDocument/2006/relationships/image" Target="../media/image424.png"/><Relationship Id="rId179" Type="http://schemas.openxmlformats.org/officeDocument/2006/relationships/image" Target="../media/image429.svg"/><Relationship Id="rId195" Type="http://schemas.openxmlformats.org/officeDocument/2006/relationships/image" Target="../media/image445.svg"/><Relationship Id="rId209" Type="http://schemas.openxmlformats.org/officeDocument/2006/relationships/image" Target="../media/image459.svg"/><Relationship Id="rId190" Type="http://schemas.openxmlformats.org/officeDocument/2006/relationships/image" Target="../media/image440.png"/><Relationship Id="rId204" Type="http://schemas.openxmlformats.org/officeDocument/2006/relationships/image" Target="../media/image454.png"/><Relationship Id="rId220" Type="http://schemas.openxmlformats.org/officeDocument/2006/relationships/image" Target="../media/image470.png"/><Relationship Id="rId225" Type="http://schemas.openxmlformats.org/officeDocument/2006/relationships/image" Target="../media/image475.svg"/><Relationship Id="rId15" Type="http://schemas.openxmlformats.org/officeDocument/2006/relationships/image" Target="../media/image265.svg"/><Relationship Id="rId36" Type="http://schemas.openxmlformats.org/officeDocument/2006/relationships/image" Target="../media/image286.png"/><Relationship Id="rId57" Type="http://schemas.openxmlformats.org/officeDocument/2006/relationships/image" Target="../media/image307.svg"/><Relationship Id="rId106" Type="http://schemas.openxmlformats.org/officeDocument/2006/relationships/image" Target="../media/image356.png"/><Relationship Id="rId127" Type="http://schemas.openxmlformats.org/officeDocument/2006/relationships/image" Target="../media/image377.svg"/><Relationship Id="rId10" Type="http://schemas.openxmlformats.org/officeDocument/2006/relationships/image" Target="../media/image260.png"/><Relationship Id="rId31" Type="http://schemas.openxmlformats.org/officeDocument/2006/relationships/image" Target="../media/image281.svg"/><Relationship Id="rId52" Type="http://schemas.openxmlformats.org/officeDocument/2006/relationships/image" Target="../media/image302.png"/><Relationship Id="rId73" Type="http://schemas.openxmlformats.org/officeDocument/2006/relationships/image" Target="../media/image323.svg"/><Relationship Id="rId78" Type="http://schemas.openxmlformats.org/officeDocument/2006/relationships/image" Target="../media/image328.png"/><Relationship Id="rId94" Type="http://schemas.openxmlformats.org/officeDocument/2006/relationships/image" Target="../media/image344.png"/><Relationship Id="rId99" Type="http://schemas.openxmlformats.org/officeDocument/2006/relationships/image" Target="../media/image349.svg"/><Relationship Id="rId101" Type="http://schemas.openxmlformats.org/officeDocument/2006/relationships/image" Target="../media/image351.svg"/><Relationship Id="rId122" Type="http://schemas.openxmlformats.org/officeDocument/2006/relationships/image" Target="../media/image372.png"/><Relationship Id="rId143" Type="http://schemas.openxmlformats.org/officeDocument/2006/relationships/image" Target="../media/image393.svg"/><Relationship Id="rId148" Type="http://schemas.openxmlformats.org/officeDocument/2006/relationships/image" Target="../media/image398.png"/><Relationship Id="rId164" Type="http://schemas.openxmlformats.org/officeDocument/2006/relationships/image" Target="../media/image414.png"/><Relationship Id="rId169" Type="http://schemas.openxmlformats.org/officeDocument/2006/relationships/image" Target="../media/image419.svg"/><Relationship Id="rId185" Type="http://schemas.openxmlformats.org/officeDocument/2006/relationships/image" Target="../media/image435.svg"/><Relationship Id="rId4" Type="http://schemas.openxmlformats.org/officeDocument/2006/relationships/image" Target="../media/image254.png"/><Relationship Id="rId9" Type="http://schemas.openxmlformats.org/officeDocument/2006/relationships/image" Target="../media/image259.svg"/><Relationship Id="rId180" Type="http://schemas.openxmlformats.org/officeDocument/2006/relationships/image" Target="../media/image430.png"/><Relationship Id="rId210" Type="http://schemas.openxmlformats.org/officeDocument/2006/relationships/image" Target="../media/image460.png"/><Relationship Id="rId215" Type="http://schemas.openxmlformats.org/officeDocument/2006/relationships/image" Target="../media/image465.svg"/><Relationship Id="rId26" Type="http://schemas.openxmlformats.org/officeDocument/2006/relationships/image" Target="../media/image276.png"/><Relationship Id="rId47" Type="http://schemas.openxmlformats.org/officeDocument/2006/relationships/image" Target="../media/image297.svg"/><Relationship Id="rId68" Type="http://schemas.openxmlformats.org/officeDocument/2006/relationships/image" Target="../media/image318.png"/><Relationship Id="rId89" Type="http://schemas.openxmlformats.org/officeDocument/2006/relationships/image" Target="../media/image339.svg"/><Relationship Id="rId112" Type="http://schemas.openxmlformats.org/officeDocument/2006/relationships/image" Target="../media/image362.png"/><Relationship Id="rId133" Type="http://schemas.openxmlformats.org/officeDocument/2006/relationships/image" Target="../media/image383.svg"/><Relationship Id="rId154" Type="http://schemas.openxmlformats.org/officeDocument/2006/relationships/image" Target="../media/image404.png"/><Relationship Id="rId175" Type="http://schemas.openxmlformats.org/officeDocument/2006/relationships/image" Target="../media/image425.svg"/><Relationship Id="rId196" Type="http://schemas.openxmlformats.org/officeDocument/2006/relationships/image" Target="../media/image446.png"/><Relationship Id="rId200" Type="http://schemas.openxmlformats.org/officeDocument/2006/relationships/image" Target="../media/image450.png"/><Relationship Id="rId16" Type="http://schemas.openxmlformats.org/officeDocument/2006/relationships/image" Target="../media/image266.png"/><Relationship Id="rId221" Type="http://schemas.openxmlformats.org/officeDocument/2006/relationships/image" Target="../media/image471.svg"/><Relationship Id="rId37" Type="http://schemas.openxmlformats.org/officeDocument/2006/relationships/image" Target="../media/image287.svg"/><Relationship Id="rId58" Type="http://schemas.openxmlformats.org/officeDocument/2006/relationships/image" Target="../media/image308.png"/><Relationship Id="rId79" Type="http://schemas.openxmlformats.org/officeDocument/2006/relationships/image" Target="../media/image329.svg"/><Relationship Id="rId102" Type="http://schemas.openxmlformats.org/officeDocument/2006/relationships/image" Target="../media/image352.png"/><Relationship Id="rId123" Type="http://schemas.openxmlformats.org/officeDocument/2006/relationships/image" Target="../media/image373.svg"/><Relationship Id="rId144" Type="http://schemas.openxmlformats.org/officeDocument/2006/relationships/image" Target="../media/image394.png"/><Relationship Id="rId90" Type="http://schemas.openxmlformats.org/officeDocument/2006/relationships/image" Target="../media/image340.png"/><Relationship Id="rId165" Type="http://schemas.openxmlformats.org/officeDocument/2006/relationships/image" Target="../media/image415.svg"/><Relationship Id="rId186" Type="http://schemas.openxmlformats.org/officeDocument/2006/relationships/image" Target="../media/image436.png"/><Relationship Id="rId211" Type="http://schemas.openxmlformats.org/officeDocument/2006/relationships/image" Target="../media/image461.svg"/><Relationship Id="rId27" Type="http://schemas.openxmlformats.org/officeDocument/2006/relationships/image" Target="../media/image277.svg"/><Relationship Id="rId48" Type="http://schemas.openxmlformats.org/officeDocument/2006/relationships/image" Target="../media/image298.png"/><Relationship Id="rId69" Type="http://schemas.openxmlformats.org/officeDocument/2006/relationships/image" Target="../media/image319.svg"/><Relationship Id="rId113" Type="http://schemas.openxmlformats.org/officeDocument/2006/relationships/image" Target="../media/image363.svg"/><Relationship Id="rId134" Type="http://schemas.openxmlformats.org/officeDocument/2006/relationships/image" Target="../media/image384.png"/><Relationship Id="rId80" Type="http://schemas.openxmlformats.org/officeDocument/2006/relationships/image" Target="../media/image330.png"/><Relationship Id="rId155" Type="http://schemas.openxmlformats.org/officeDocument/2006/relationships/image" Target="../media/image405.svg"/><Relationship Id="rId176" Type="http://schemas.openxmlformats.org/officeDocument/2006/relationships/image" Target="../media/image426.png"/><Relationship Id="rId197" Type="http://schemas.openxmlformats.org/officeDocument/2006/relationships/image" Target="../media/image447.svg"/><Relationship Id="rId201" Type="http://schemas.openxmlformats.org/officeDocument/2006/relationships/image" Target="../media/image451.svg"/><Relationship Id="rId222" Type="http://schemas.openxmlformats.org/officeDocument/2006/relationships/image" Target="../media/image472.png"/><Relationship Id="rId17" Type="http://schemas.openxmlformats.org/officeDocument/2006/relationships/image" Target="../media/image267.svg"/><Relationship Id="rId38" Type="http://schemas.openxmlformats.org/officeDocument/2006/relationships/image" Target="../media/image288.png"/><Relationship Id="rId59" Type="http://schemas.openxmlformats.org/officeDocument/2006/relationships/image" Target="../media/image309.svg"/><Relationship Id="rId103" Type="http://schemas.openxmlformats.org/officeDocument/2006/relationships/image" Target="../media/image353.svg"/><Relationship Id="rId124" Type="http://schemas.openxmlformats.org/officeDocument/2006/relationships/image" Target="../media/image374.png"/><Relationship Id="rId70" Type="http://schemas.openxmlformats.org/officeDocument/2006/relationships/image" Target="../media/image320.png"/><Relationship Id="rId91" Type="http://schemas.openxmlformats.org/officeDocument/2006/relationships/image" Target="../media/image341.svg"/><Relationship Id="rId145" Type="http://schemas.openxmlformats.org/officeDocument/2006/relationships/image" Target="../media/image395.svg"/><Relationship Id="rId166" Type="http://schemas.openxmlformats.org/officeDocument/2006/relationships/image" Target="../media/image416.png"/><Relationship Id="rId187" Type="http://schemas.openxmlformats.org/officeDocument/2006/relationships/image" Target="../media/image437.svg"/><Relationship Id="rId1" Type="http://schemas.openxmlformats.org/officeDocument/2006/relationships/slideLayout" Target="../slideLayouts/slideLayout5.xml"/><Relationship Id="rId212" Type="http://schemas.openxmlformats.org/officeDocument/2006/relationships/image" Target="../media/image462.png"/><Relationship Id="rId28" Type="http://schemas.openxmlformats.org/officeDocument/2006/relationships/image" Target="../media/image278.png"/><Relationship Id="rId49" Type="http://schemas.openxmlformats.org/officeDocument/2006/relationships/image" Target="../media/image299.svg"/><Relationship Id="rId114" Type="http://schemas.openxmlformats.org/officeDocument/2006/relationships/image" Target="../media/image364.png"/><Relationship Id="rId60" Type="http://schemas.openxmlformats.org/officeDocument/2006/relationships/image" Target="../media/image310.png"/><Relationship Id="rId81" Type="http://schemas.openxmlformats.org/officeDocument/2006/relationships/image" Target="../media/image331.svg"/><Relationship Id="rId135" Type="http://schemas.openxmlformats.org/officeDocument/2006/relationships/image" Target="../media/image385.svg"/><Relationship Id="rId156" Type="http://schemas.openxmlformats.org/officeDocument/2006/relationships/image" Target="../media/image406.png"/><Relationship Id="rId177" Type="http://schemas.openxmlformats.org/officeDocument/2006/relationships/image" Target="../media/image427.svg"/><Relationship Id="rId198" Type="http://schemas.openxmlformats.org/officeDocument/2006/relationships/image" Target="../media/image448.png"/><Relationship Id="rId202" Type="http://schemas.openxmlformats.org/officeDocument/2006/relationships/image" Target="../media/image452.png"/><Relationship Id="rId223" Type="http://schemas.openxmlformats.org/officeDocument/2006/relationships/image" Target="../media/image473.svg"/><Relationship Id="rId18" Type="http://schemas.openxmlformats.org/officeDocument/2006/relationships/image" Target="../media/image268.png"/><Relationship Id="rId39" Type="http://schemas.openxmlformats.org/officeDocument/2006/relationships/image" Target="../media/image289.svg"/><Relationship Id="rId50" Type="http://schemas.openxmlformats.org/officeDocument/2006/relationships/image" Target="../media/image300.png"/><Relationship Id="rId104" Type="http://schemas.openxmlformats.org/officeDocument/2006/relationships/image" Target="../media/image354.png"/><Relationship Id="rId125" Type="http://schemas.openxmlformats.org/officeDocument/2006/relationships/image" Target="../media/image375.svg"/><Relationship Id="rId146" Type="http://schemas.openxmlformats.org/officeDocument/2006/relationships/image" Target="../media/image396.png"/><Relationship Id="rId167" Type="http://schemas.openxmlformats.org/officeDocument/2006/relationships/image" Target="../media/image417.svg"/><Relationship Id="rId188" Type="http://schemas.openxmlformats.org/officeDocument/2006/relationships/image" Target="../media/image438.png"/><Relationship Id="rId71" Type="http://schemas.openxmlformats.org/officeDocument/2006/relationships/image" Target="../media/image321.svg"/><Relationship Id="rId92" Type="http://schemas.openxmlformats.org/officeDocument/2006/relationships/image" Target="../media/image342.png"/><Relationship Id="rId213" Type="http://schemas.openxmlformats.org/officeDocument/2006/relationships/image" Target="../media/image463.svg"/><Relationship Id="rId2" Type="http://schemas.openxmlformats.org/officeDocument/2006/relationships/image" Target="../media/image252.png"/><Relationship Id="rId29" Type="http://schemas.openxmlformats.org/officeDocument/2006/relationships/image" Target="../media/image279.svg"/><Relationship Id="rId40" Type="http://schemas.openxmlformats.org/officeDocument/2006/relationships/image" Target="../media/image290.png"/><Relationship Id="rId115" Type="http://schemas.openxmlformats.org/officeDocument/2006/relationships/image" Target="../media/image365.svg"/><Relationship Id="rId136" Type="http://schemas.openxmlformats.org/officeDocument/2006/relationships/image" Target="../media/image386.png"/><Relationship Id="rId157" Type="http://schemas.openxmlformats.org/officeDocument/2006/relationships/image" Target="../media/image407.svg"/><Relationship Id="rId178" Type="http://schemas.openxmlformats.org/officeDocument/2006/relationships/image" Target="../media/image428.png"/><Relationship Id="rId61" Type="http://schemas.openxmlformats.org/officeDocument/2006/relationships/image" Target="../media/image311.svg"/><Relationship Id="rId82" Type="http://schemas.openxmlformats.org/officeDocument/2006/relationships/image" Target="../media/image332.png"/><Relationship Id="rId199" Type="http://schemas.openxmlformats.org/officeDocument/2006/relationships/image" Target="../media/image449.svg"/><Relationship Id="rId203" Type="http://schemas.openxmlformats.org/officeDocument/2006/relationships/image" Target="../media/image453.svg"/><Relationship Id="rId19" Type="http://schemas.openxmlformats.org/officeDocument/2006/relationships/image" Target="../media/image269.svg"/><Relationship Id="rId224" Type="http://schemas.openxmlformats.org/officeDocument/2006/relationships/image" Target="../media/image474.png"/><Relationship Id="rId30" Type="http://schemas.openxmlformats.org/officeDocument/2006/relationships/image" Target="../media/image280.png"/><Relationship Id="rId105" Type="http://schemas.openxmlformats.org/officeDocument/2006/relationships/image" Target="../media/image355.svg"/><Relationship Id="rId126" Type="http://schemas.openxmlformats.org/officeDocument/2006/relationships/image" Target="../media/image376.png"/><Relationship Id="rId147" Type="http://schemas.openxmlformats.org/officeDocument/2006/relationships/image" Target="../media/image397.svg"/><Relationship Id="rId168" Type="http://schemas.openxmlformats.org/officeDocument/2006/relationships/image" Target="../media/image418.png"/><Relationship Id="rId51" Type="http://schemas.openxmlformats.org/officeDocument/2006/relationships/image" Target="../media/image301.svg"/><Relationship Id="rId72" Type="http://schemas.openxmlformats.org/officeDocument/2006/relationships/image" Target="../media/image322.png"/><Relationship Id="rId93" Type="http://schemas.openxmlformats.org/officeDocument/2006/relationships/image" Target="../media/image343.svg"/><Relationship Id="rId189" Type="http://schemas.openxmlformats.org/officeDocument/2006/relationships/image" Target="../media/image439.svg"/></Relationships>
</file>

<file path=ppt/slides/_rels/slide78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591.svg"/><Relationship Id="rId21" Type="http://schemas.openxmlformats.org/officeDocument/2006/relationships/image" Target="../media/image495.svg"/><Relationship Id="rId42" Type="http://schemas.openxmlformats.org/officeDocument/2006/relationships/image" Target="../media/image516.png"/><Relationship Id="rId63" Type="http://schemas.openxmlformats.org/officeDocument/2006/relationships/image" Target="../media/image537.svg"/><Relationship Id="rId84" Type="http://schemas.openxmlformats.org/officeDocument/2006/relationships/image" Target="../media/image558.png"/><Relationship Id="rId138" Type="http://schemas.openxmlformats.org/officeDocument/2006/relationships/image" Target="../media/image612.png"/><Relationship Id="rId159" Type="http://schemas.openxmlformats.org/officeDocument/2006/relationships/image" Target="../media/image633.svg"/><Relationship Id="rId170" Type="http://schemas.openxmlformats.org/officeDocument/2006/relationships/image" Target="../media/image644.png"/><Relationship Id="rId191" Type="http://schemas.openxmlformats.org/officeDocument/2006/relationships/image" Target="../media/image665.svg"/><Relationship Id="rId205" Type="http://schemas.openxmlformats.org/officeDocument/2006/relationships/image" Target="../media/image679.svg"/><Relationship Id="rId107" Type="http://schemas.openxmlformats.org/officeDocument/2006/relationships/image" Target="../media/image581.svg"/><Relationship Id="rId11" Type="http://schemas.openxmlformats.org/officeDocument/2006/relationships/image" Target="../media/image485.svg"/><Relationship Id="rId32" Type="http://schemas.openxmlformats.org/officeDocument/2006/relationships/image" Target="../media/image506.png"/><Relationship Id="rId53" Type="http://schemas.openxmlformats.org/officeDocument/2006/relationships/image" Target="../media/image527.svg"/><Relationship Id="rId74" Type="http://schemas.openxmlformats.org/officeDocument/2006/relationships/image" Target="../media/image548.png"/><Relationship Id="rId128" Type="http://schemas.openxmlformats.org/officeDocument/2006/relationships/image" Target="../media/image602.png"/><Relationship Id="rId149" Type="http://schemas.openxmlformats.org/officeDocument/2006/relationships/image" Target="../media/image623.svg"/><Relationship Id="rId5" Type="http://schemas.openxmlformats.org/officeDocument/2006/relationships/image" Target="../media/image479.svg"/><Relationship Id="rId95" Type="http://schemas.openxmlformats.org/officeDocument/2006/relationships/image" Target="../media/image569.svg"/><Relationship Id="rId160" Type="http://schemas.openxmlformats.org/officeDocument/2006/relationships/image" Target="../media/image634.png"/><Relationship Id="rId181" Type="http://schemas.openxmlformats.org/officeDocument/2006/relationships/image" Target="../media/image655.svg"/><Relationship Id="rId216" Type="http://schemas.openxmlformats.org/officeDocument/2006/relationships/image" Target="../media/image690.png"/><Relationship Id="rId22" Type="http://schemas.openxmlformats.org/officeDocument/2006/relationships/image" Target="../media/image496.png"/><Relationship Id="rId43" Type="http://schemas.openxmlformats.org/officeDocument/2006/relationships/image" Target="../media/image517.svg"/><Relationship Id="rId64" Type="http://schemas.openxmlformats.org/officeDocument/2006/relationships/image" Target="../media/image538.png"/><Relationship Id="rId118" Type="http://schemas.openxmlformats.org/officeDocument/2006/relationships/image" Target="../media/image592.png"/><Relationship Id="rId139" Type="http://schemas.openxmlformats.org/officeDocument/2006/relationships/image" Target="../media/image613.svg"/><Relationship Id="rId85" Type="http://schemas.openxmlformats.org/officeDocument/2006/relationships/image" Target="../media/image559.svg"/><Relationship Id="rId150" Type="http://schemas.openxmlformats.org/officeDocument/2006/relationships/image" Target="../media/image624.png"/><Relationship Id="rId171" Type="http://schemas.openxmlformats.org/officeDocument/2006/relationships/image" Target="../media/image645.svg"/><Relationship Id="rId192" Type="http://schemas.openxmlformats.org/officeDocument/2006/relationships/image" Target="../media/image666.png"/><Relationship Id="rId206" Type="http://schemas.openxmlformats.org/officeDocument/2006/relationships/image" Target="../media/image680.png"/><Relationship Id="rId12" Type="http://schemas.openxmlformats.org/officeDocument/2006/relationships/image" Target="../media/image486.png"/><Relationship Id="rId33" Type="http://schemas.openxmlformats.org/officeDocument/2006/relationships/image" Target="../media/image507.svg"/><Relationship Id="rId108" Type="http://schemas.openxmlformats.org/officeDocument/2006/relationships/image" Target="../media/image582.png"/><Relationship Id="rId129" Type="http://schemas.openxmlformats.org/officeDocument/2006/relationships/image" Target="../media/image603.svg"/><Relationship Id="rId54" Type="http://schemas.openxmlformats.org/officeDocument/2006/relationships/image" Target="../media/image528.png"/><Relationship Id="rId75" Type="http://schemas.openxmlformats.org/officeDocument/2006/relationships/image" Target="../media/image549.svg"/><Relationship Id="rId96" Type="http://schemas.openxmlformats.org/officeDocument/2006/relationships/image" Target="../media/image570.png"/><Relationship Id="rId140" Type="http://schemas.openxmlformats.org/officeDocument/2006/relationships/image" Target="../media/image614.png"/><Relationship Id="rId161" Type="http://schemas.openxmlformats.org/officeDocument/2006/relationships/image" Target="../media/image635.svg"/><Relationship Id="rId182" Type="http://schemas.openxmlformats.org/officeDocument/2006/relationships/image" Target="../media/image656.png"/><Relationship Id="rId217" Type="http://schemas.openxmlformats.org/officeDocument/2006/relationships/image" Target="../media/image691.svg"/><Relationship Id="rId6" Type="http://schemas.openxmlformats.org/officeDocument/2006/relationships/image" Target="../media/image480.png"/><Relationship Id="rId23" Type="http://schemas.openxmlformats.org/officeDocument/2006/relationships/image" Target="../media/image497.svg"/><Relationship Id="rId119" Type="http://schemas.openxmlformats.org/officeDocument/2006/relationships/image" Target="../media/image593.svg"/><Relationship Id="rId44" Type="http://schemas.openxmlformats.org/officeDocument/2006/relationships/image" Target="../media/image518.png"/><Relationship Id="rId65" Type="http://schemas.openxmlformats.org/officeDocument/2006/relationships/image" Target="../media/image539.svg"/><Relationship Id="rId86" Type="http://schemas.openxmlformats.org/officeDocument/2006/relationships/image" Target="../media/image560.png"/><Relationship Id="rId130" Type="http://schemas.openxmlformats.org/officeDocument/2006/relationships/image" Target="../media/image604.png"/><Relationship Id="rId151" Type="http://schemas.openxmlformats.org/officeDocument/2006/relationships/image" Target="../media/image625.svg"/><Relationship Id="rId172" Type="http://schemas.openxmlformats.org/officeDocument/2006/relationships/image" Target="../media/image646.png"/><Relationship Id="rId193" Type="http://schemas.openxmlformats.org/officeDocument/2006/relationships/image" Target="../media/image667.svg"/><Relationship Id="rId207" Type="http://schemas.openxmlformats.org/officeDocument/2006/relationships/image" Target="../media/image681.svg"/><Relationship Id="rId13" Type="http://schemas.openxmlformats.org/officeDocument/2006/relationships/image" Target="../media/image487.svg"/><Relationship Id="rId109" Type="http://schemas.openxmlformats.org/officeDocument/2006/relationships/image" Target="../media/image583.svg"/><Relationship Id="rId34" Type="http://schemas.openxmlformats.org/officeDocument/2006/relationships/image" Target="../media/image508.png"/><Relationship Id="rId55" Type="http://schemas.openxmlformats.org/officeDocument/2006/relationships/image" Target="../media/image529.svg"/><Relationship Id="rId76" Type="http://schemas.openxmlformats.org/officeDocument/2006/relationships/image" Target="../media/image550.png"/><Relationship Id="rId97" Type="http://schemas.openxmlformats.org/officeDocument/2006/relationships/image" Target="../media/image571.svg"/><Relationship Id="rId120" Type="http://schemas.openxmlformats.org/officeDocument/2006/relationships/image" Target="../media/image594.png"/><Relationship Id="rId141" Type="http://schemas.openxmlformats.org/officeDocument/2006/relationships/image" Target="../media/image615.svg"/><Relationship Id="rId7" Type="http://schemas.openxmlformats.org/officeDocument/2006/relationships/image" Target="../media/image481.svg"/><Relationship Id="rId162" Type="http://schemas.openxmlformats.org/officeDocument/2006/relationships/image" Target="../media/image636.png"/><Relationship Id="rId183" Type="http://schemas.openxmlformats.org/officeDocument/2006/relationships/image" Target="../media/image657.svg"/><Relationship Id="rId218" Type="http://schemas.openxmlformats.org/officeDocument/2006/relationships/image" Target="../media/image692.png"/><Relationship Id="rId24" Type="http://schemas.openxmlformats.org/officeDocument/2006/relationships/image" Target="../media/image498.png"/><Relationship Id="rId45" Type="http://schemas.openxmlformats.org/officeDocument/2006/relationships/image" Target="../media/image519.svg"/><Relationship Id="rId66" Type="http://schemas.openxmlformats.org/officeDocument/2006/relationships/image" Target="../media/image540.png"/><Relationship Id="rId87" Type="http://schemas.openxmlformats.org/officeDocument/2006/relationships/image" Target="../media/image561.svg"/><Relationship Id="rId110" Type="http://schemas.openxmlformats.org/officeDocument/2006/relationships/image" Target="../media/image584.png"/><Relationship Id="rId131" Type="http://schemas.openxmlformats.org/officeDocument/2006/relationships/image" Target="../media/image605.svg"/><Relationship Id="rId152" Type="http://schemas.openxmlformats.org/officeDocument/2006/relationships/image" Target="../media/image626.png"/><Relationship Id="rId173" Type="http://schemas.openxmlformats.org/officeDocument/2006/relationships/image" Target="../media/image647.svg"/><Relationship Id="rId194" Type="http://schemas.openxmlformats.org/officeDocument/2006/relationships/image" Target="../media/image668.png"/><Relationship Id="rId208" Type="http://schemas.openxmlformats.org/officeDocument/2006/relationships/image" Target="../media/image682.png"/><Relationship Id="rId14" Type="http://schemas.openxmlformats.org/officeDocument/2006/relationships/image" Target="../media/image488.png"/><Relationship Id="rId35" Type="http://schemas.openxmlformats.org/officeDocument/2006/relationships/image" Target="../media/image509.svg"/><Relationship Id="rId56" Type="http://schemas.openxmlformats.org/officeDocument/2006/relationships/image" Target="../media/image530.png"/><Relationship Id="rId77" Type="http://schemas.openxmlformats.org/officeDocument/2006/relationships/image" Target="../media/image551.svg"/><Relationship Id="rId100" Type="http://schemas.openxmlformats.org/officeDocument/2006/relationships/image" Target="../media/image574.png"/><Relationship Id="rId8" Type="http://schemas.openxmlformats.org/officeDocument/2006/relationships/image" Target="../media/image482.png"/><Relationship Id="rId98" Type="http://schemas.openxmlformats.org/officeDocument/2006/relationships/image" Target="../media/image572.png"/><Relationship Id="rId121" Type="http://schemas.openxmlformats.org/officeDocument/2006/relationships/image" Target="../media/image595.svg"/><Relationship Id="rId142" Type="http://schemas.openxmlformats.org/officeDocument/2006/relationships/image" Target="../media/image616.png"/><Relationship Id="rId163" Type="http://schemas.openxmlformats.org/officeDocument/2006/relationships/image" Target="../media/image637.svg"/><Relationship Id="rId184" Type="http://schemas.openxmlformats.org/officeDocument/2006/relationships/image" Target="../media/image658.png"/><Relationship Id="rId219" Type="http://schemas.openxmlformats.org/officeDocument/2006/relationships/image" Target="../media/image693.svg"/><Relationship Id="rId3" Type="http://schemas.openxmlformats.org/officeDocument/2006/relationships/image" Target="../media/image477.svg"/><Relationship Id="rId214" Type="http://schemas.openxmlformats.org/officeDocument/2006/relationships/image" Target="../media/image688.png"/><Relationship Id="rId25" Type="http://schemas.openxmlformats.org/officeDocument/2006/relationships/image" Target="../media/image499.svg"/><Relationship Id="rId46" Type="http://schemas.openxmlformats.org/officeDocument/2006/relationships/image" Target="../media/image520.png"/><Relationship Id="rId67" Type="http://schemas.openxmlformats.org/officeDocument/2006/relationships/image" Target="../media/image541.svg"/><Relationship Id="rId116" Type="http://schemas.openxmlformats.org/officeDocument/2006/relationships/image" Target="../media/image590.png"/><Relationship Id="rId137" Type="http://schemas.openxmlformats.org/officeDocument/2006/relationships/image" Target="../media/image611.svg"/><Relationship Id="rId158" Type="http://schemas.openxmlformats.org/officeDocument/2006/relationships/image" Target="../media/image632.png"/><Relationship Id="rId20" Type="http://schemas.openxmlformats.org/officeDocument/2006/relationships/image" Target="../media/image494.png"/><Relationship Id="rId41" Type="http://schemas.openxmlformats.org/officeDocument/2006/relationships/image" Target="../media/image515.svg"/><Relationship Id="rId62" Type="http://schemas.openxmlformats.org/officeDocument/2006/relationships/image" Target="../media/image536.png"/><Relationship Id="rId83" Type="http://schemas.openxmlformats.org/officeDocument/2006/relationships/image" Target="../media/image557.svg"/><Relationship Id="rId88" Type="http://schemas.openxmlformats.org/officeDocument/2006/relationships/image" Target="../media/image562.png"/><Relationship Id="rId111" Type="http://schemas.openxmlformats.org/officeDocument/2006/relationships/image" Target="../media/image585.svg"/><Relationship Id="rId132" Type="http://schemas.openxmlformats.org/officeDocument/2006/relationships/image" Target="../media/image606.png"/><Relationship Id="rId153" Type="http://schemas.openxmlformats.org/officeDocument/2006/relationships/image" Target="../media/image627.svg"/><Relationship Id="rId174" Type="http://schemas.openxmlformats.org/officeDocument/2006/relationships/image" Target="../media/image648.png"/><Relationship Id="rId179" Type="http://schemas.openxmlformats.org/officeDocument/2006/relationships/image" Target="../media/image653.svg"/><Relationship Id="rId195" Type="http://schemas.openxmlformats.org/officeDocument/2006/relationships/image" Target="../media/image669.svg"/><Relationship Id="rId209" Type="http://schemas.openxmlformats.org/officeDocument/2006/relationships/image" Target="../media/image683.svg"/><Relationship Id="rId190" Type="http://schemas.openxmlformats.org/officeDocument/2006/relationships/image" Target="../media/image664.png"/><Relationship Id="rId204" Type="http://schemas.openxmlformats.org/officeDocument/2006/relationships/image" Target="../media/image678.png"/><Relationship Id="rId220" Type="http://schemas.openxmlformats.org/officeDocument/2006/relationships/image" Target="../media/image694.png"/><Relationship Id="rId225" Type="http://schemas.openxmlformats.org/officeDocument/2006/relationships/image" Target="../media/image699.svg"/><Relationship Id="rId15" Type="http://schemas.openxmlformats.org/officeDocument/2006/relationships/image" Target="../media/image489.svg"/><Relationship Id="rId36" Type="http://schemas.openxmlformats.org/officeDocument/2006/relationships/image" Target="../media/image510.png"/><Relationship Id="rId57" Type="http://schemas.openxmlformats.org/officeDocument/2006/relationships/image" Target="../media/image531.svg"/><Relationship Id="rId106" Type="http://schemas.openxmlformats.org/officeDocument/2006/relationships/image" Target="../media/image580.png"/><Relationship Id="rId127" Type="http://schemas.openxmlformats.org/officeDocument/2006/relationships/image" Target="../media/image601.svg"/><Relationship Id="rId10" Type="http://schemas.openxmlformats.org/officeDocument/2006/relationships/image" Target="../media/image484.png"/><Relationship Id="rId31" Type="http://schemas.openxmlformats.org/officeDocument/2006/relationships/image" Target="../media/image505.svg"/><Relationship Id="rId52" Type="http://schemas.openxmlformats.org/officeDocument/2006/relationships/image" Target="../media/image526.png"/><Relationship Id="rId73" Type="http://schemas.openxmlformats.org/officeDocument/2006/relationships/image" Target="../media/image547.svg"/><Relationship Id="rId78" Type="http://schemas.openxmlformats.org/officeDocument/2006/relationships/image" Target="../media/image552.png"/><Relationship Id="rId94" Type="http://schemas.openxmlformats.org/officeDocument/2006/relationships/image" Target="../media/image568.png"/><Relationship Id="rId99" Type="http://schemas.openxmlformats.org/officeDocument/2006/relationships/image" Target="../media/image573.svg"/><Relationship Id="rId101" Type="http://schemas.openxmlformats.org/officeDocument/2006/relationships/image" Target="../media/image575.svg"/><Relationship Id="rId122" Type="http://schemas.openxmlformats.org/officeDocument/2006/relationships/image" Target="../media/image596.png"/><Relationship Id="rId143" Type="http://schemas.openxmlformats.org/officeDocument/2006/relationships/image" Target="../media/image617.svg"/><Relationship Id="rId148" Type="http://schemas.openxmlformats.org/officeDocument/2006/relationships/image" Target="../media/image622.png"/><Relationship Id="rId164" Type="http://schemas.openxmlformats.org/officeDocument/2006/relationships/image" Target="../media/image638.png"/><Relationship Id="rId169" Type="http://schemas.openxmlformats.org/officeDocument/2006/relationships/image" Target="../media/image643.svg"/><Relationship Id="rId185" Type="http://schemas.openxmlformats.org/officeDocument/2006/relationships/image" Target="../media/image659.svg"/><Relationship Id="rId4" Type="http://schemas.openxmlformats.org/officeDocument/2006/relationships/image" Target="../media/image478.png"/><Relationship Id="rId9" Type="http://schemas.openxmlformats.org/officeDocument/2006/relationships/image" Target="../media/image483.svg"/><Relationship Id="rId180" Type="http://schemas.openxmlformats.org/officeDocument/2006/relationships/image" Target="../media/image654.png"/><Relationship Id="rId210" Type="http://schemas.openxmlformats.org/officeDocument/2006/relationships/image" Target="../media/image684.png"/><Relationship Id="rId215" Type="http://schemas.openxmlformats.org/officeDocument/2006/relationships/image" Target="../media/image689.svg"/><Relationship Id="rId26" Type="http://schemas.openxmlformats.org/officeDocument/2006/relationships/image" Target="../media/image500.png"/><Relationship Id="rId47" Type="http://schemas.openxmlformats.org/officeDocument/2006/relationships/image" Target="../media/image521.svg"/><Relationship Id="rId68" Type="http://schemas.openxmlformats.org/officeDocument/2006/relationships/image" Target="../media/image542.png"/><Relationship Id="rId89" Type="http://schemas.openxmlformats.org/officeDocument/2006/relationships/image" Target="../media/image563.svg"/><Relationship Id="rId112" Type="http://schemas.openxmlformats.org/officeDocument/2006/relationships/image" Target="../media/image586.png"/><Relationship Id="rId133" Type="http://schemas.openxmlformats.org/officeDocument/2006/relationships/image" Target="../media/image607.svg"/><Relationship Id="rId154" Type="http://schemas.openxmlformats.org/officeDocument/2006/relationships/image" Target="../media/image628.png"/><Relationship Id="rId175" Type="http://schemas.openxmlformats.org/officeDocument/2006/relationships/image" Target="../media/image649.svg"/><Relationship Id="rId196" Type="http://schemas.openxmlformats.org/officeDocument/2006/relationships/image" Target="../media/image670.png"/><Relationship Id="rId200" Type="http://schemas.openxmlformats.org/officeDocument/2006/relationships/image" Target="../media/image674.png"/><Relationship Id="rId16" Type="http://schemas.openxmlformats.org/officeDocument/2006/relationships/image" Target="../media/image490.png"/><Relationship Id="rId221" Type="http://schemas.openxmlformats.org/officeDocument/2006/relationships/image" Target="../media/image695.svg"/><Relationship Id="rId37" Type="http://schemas.openxmlformats.org/officeDocument/2006/relationships/image" Target="../media/image511.svg"/><Relationship Id="rId58" Type="http://schemas.openxmlformats.org/officeDocument/2006/relationships/image" Target="../media/image532.png"/><Relationship Id="rId79" Type="http://schemas.openxmlformats.org/officeDocument/2006/relationships/image" Target="../media/image553.svg"/><Relationship Id="rId102" Type="http://schemas.openxmlformats.org/officeDocument/2006/relationships/image" Target="../media/image576.png"/><Relationship Id="rId123" Type="http://schemas.openxmlformats.org/officeDocument/2006/relationships/image" Target="../media/image597.svg"/><Relationship Id="rId144" Type="http://schemas.openxmlformats.org/officeDocument/2006/relationships/image" Target="../media/image618.png"/><Relationship Id="rId90" Type="http://schemas.openxmlformats.org/officeDocument/2006/relationships/image" Target="../media/image564.png"/><Relationship Id="rId165" Type="http://schemas.openxmlformats.org/officeDocument/2006/relationships/image" Target="../media/image639.svg"/><Relationship Id="rId186" Type="http://schemas.openxmlformats.org/officeDocument/2006/relationships/image" Target="../media/image660.png"/><Relationship Id="rId211" Type="http://schemas.openxmlformats.org/officeDocument/2006/relationships/image" Target="../media/image685.svg"/><Relationship Id="rId27" Type="http://schemas.openxmlformats.org/officeDocument/2006/relationships/image" Target="../media/image501.svg"/><Relationship Id="rId48" Type="http://schemas.openxmlformats.org/officeDocument/2006/relationships/image" Target="../media/image522.png"/><Relationship Id="rId69" Type="http://schemas.openxmlformats.org/officeDocument/2006/relationships/image" Target="../media/image543.svg"/><Relationship Id="rId113" Type="http://schemas.openxmlformats.org/officeDocument/2006/relationships/image" Target="../media/image587.svg"/><Relationship Id="rId134" Type="http://schemas.openxmlformats.org/officeDocument/2006/relationships/image" Target="../media/image608.png"/><Relationship Id="rId80" Type="http://schemas.openxmlformats.org/officeDocument/2006/relationships/image" Target="../media/image554.png"/><Relationship Id="rId155" Type="http://schemas.openxmlformats.org/officeDocument/2006/relationships/image" Target="../media/image629.svg"/><Relationship Id="rId176" Type="http://schemas.openxmlformats.org/officeDocument/2006/relationships/image" Target="../media/image650.png"/><Relationship Id="rId197" Type="http://schemas.openxmlformats.org/officeDocument/2006/relationships/image" Target="../media/image671.svg"/><Relationship Id="rId201" Type="http://schemas.openxmlformats.org/officeDocument/2006/relationships/image" Target="../media/image675.svg"/><Relationship Id="rId222" Type="http://schemas.openxmlformats.org/officeDocument/2006/relationships/image" Target="../media/image696.png"/><Relationship Id="rId17" Type="http://schemas.openxmlformats.org/officeDocument/2006/relationships/image" Target="../media/image491.svg"/><Relationship Id="rId38" Type="http://schemas.openxmlformats.org/officeDocument/2006/relationships/image" Target="../media/image512.png"/><Relationship Id="rId59" Type="http://schemas.openxmlformats.org/officeDocument/2006/relationships/image" Target="../media/image533.svg"/><Relationship Id="rId103" Type="http://schemas.openxmlformats.org/officeDocument/2006/relationships/image" Target="../media/image577.svg"/><Relationship Id="rId124" Type="http://schemas.openxmlformats.org/officeDocument/2006/relationships/image" Target="../media/image598.png"/><Relationship Id="rId70" Type="http://schemas.openxmlformats.org/officeDocument/2006/relationships/image" Target="../media/image544.png"/><Relationship Id="rId91" Type="http://schemas.openxmlformats.org/officeDocument/2006/relationships/image" Target="../media/image565.svg"/><Relationship Id="rId145" Type="http://schemas.openxmlformats.org/officeDocument/2006/relationships/image" Target="../media/image619.svg"/><Relationship Id="rId166" Type="http://schemas.openxmlformats.org/officeDocument/2006/relationships/image" Target="../media/image640.png"/><Relationship Id="rId187" Type="http://schemas.openxmlformats.org/officeDocument/2006/relationships/image" Target="../media/image661.svg"/><Relationship Id="rId1" Type="http://schemas.openxmlformats.org/officeDocument/2006/relationships/slideLayout" Target="../slideLayouts/slideLayout5.xml"/><Relationship Id="rId212" Type="http://schemas.openxmlformats.org/officeDocument/2006/relationships/image" Target="../media/image686.png"/><Relationship Id="rId28" Type="http://schemas.openxmlformats.org/officeDocument/2006/relationships/image" Target="../media/image502.png"/><Relationship Id="rId49" Type="http://schemas.openxmlformats.org/officeDocument/2006/relationships/image" Target="../media/image523.svg"/><Relationship Id="rId114" Type="http://schemas.openxmlformats.org/officeDocument/2006/relationships/image" Target="../media/image588.png"/><Relationship Id="rId60" Type="http://schemas.openxmlformats.org/officeDocument/2006/relationships/image" Target="../media/image534.png"/><Relationship Id="rId81" Type="http://schemas.openxmlformats.org/officeDocument/2006/relationships/image" Target="../media/image555.svg"/><Relationship Id="rId135" Type="http://schemas.openxmlformats.org/officeDocument/2006/relationships/image" Target="../media/image609.svg"/><Relationship Id="rId156" Type="http://schemas.openxmlformats.org/officeDocument/2006/relationships/image" Target="../media/image630.png"/><Relationship Id="rId177" Type="http://schemas.openxmlformats.org/officeDocument/2006/relationships/image" Target="../media/image651.svg"/><Relationship Id="rId198" Type="http://schemas.openxmlformats.org/officeDocument/2006/relationships/image" Target="../media/image672.png"/><Relationship Id="rId202" Type="http://schemas.openxmlformats.org/officeDocument/2006/relationships/image" Target="../media/image676.png"/><Relationship Id="rId223" Type="http://schemas.openxmlformats.org/officeDocument/2006/relationships/image" Target="../media/image697.svg"/><Relationship Id="rId18" Type="http://schemas.openxmlformats.org/officeDocument/2006/relationships/image" Target="../media/image492.png"/><Relationship Id="rId39" Type="http://schemas.openxmlformats.org/officeDocument/2006/relationships/image" Target="../media/image513.svg"/><Relationship Id="rId50" Type="http://schemas.openxmlformats.org/officeDocument/2006/relationships/image" Target="../media/image524.png"/><Relationship Id="rId104" Type="http://schemas.openxmlformats.org/officeDocument/2006/relationships/image" Target="../media/image578.png"/><Relationship Id="rId125" Type="http://schemas.openxmlformats.org/officeDocument/2006/relationships/image" Target="../media/image599.svg"/><Relationship Id="rId146" Type="http://schemas.openxmlformats.org/officeDocument/2006/relationships/image" Target="../media/image620.png"/><Relationship Id="rId167" Type="http://schemas.openxmlformats.org/officeDocument/2006/relationships/image" Target="../media/image641.svg"/><Relationship Id="rId188" Type="http://schemas.openxmlformats.org/officeDocument/2006/relationships/image" Target="../media/image662.png"/><Relationship Id="rId71" Type="http://schemas.openxmlformats.org/officeDocument/2006/relationships/image" Target="../media/image545.svg"/><Relationship Id="rId92" Type="http://schemas.openxmlformats.org/officeDocument/2006/relationships/image" Target="../media/image566.png"/><Relationship Id="rId213" Type="http://schemas.openxmlformats.org/officeDocument/2006/relationships/image" Target="../media/image687.svg"/><Relationship Id="rId2" Type="http://schemas.openxmlformats.org/officeDocument/2006/relationships/image" Target="../media/image476.png"/><Relationship Id="rId29" Type="http://schemas.openxmlformats.org/officeDocument/2006/relationships/image" Target="../media/image503.svg"/><Relationship Id="rId40" Type="http://schemas.openxmlformats.org/officeDocument/2006/relationships/image" Target="../media/image514.png"/><Relationship Id="rId115" Type="http://schemas.openxmlformats.org/officeDocument/2006/relationships/image" Target="../media/image589.svg"/><Relationship Id="rId136" Type="http://schemas.openxmlformats.org/officeDocument/2006/relationships/image" Target="../media/image610.png"/><Relationship Id="rId157" Type="http://schemas.openxmlformats.org/officeDocument/2006/relationships/image" Target="../media/image631.svg"/><Relationship Id="rId178" Type="http://schemas.openxmlformats.org/officeDocument/2006/relationships/image" Target="../media/image652.png"/><Relationship Id="rId61" Type="http://schemas.openxmlformats.org/officeDocument/2006/relationships/image" Target="../media/image535.svg"/><Relationship Id="rId82" Type="http://schemas.openxmlformats.org/officeDocument/2006/relationships/image" Target="../media/image556.png"/><Relationship Id="rId199" Type="http://schemas.openxmlformats.org/officeDocument/2006/relationships/image" Target="../media/image673.svg"/><Relationship Id="rId203" Type="http://schemas.openxmlformats.org/officeDocument/2006/relationships/image" Target="../media/image677.svg"/><Relationship Id="rId19" Type="http://schemas.openxmlformats.org/officeDocument/2006/relationships/image" Target="../media/image493.svg"/><Relationship Id="rId224" Type="http://schemas.openxmlformats.org/officeDocument/2006/relationships/image" Target="../media/image698.png"/><Relationship Id="rId30" Type="http://schemas.openxmlformats.org/officeDocument/2006/relationships/image" Target="../media/image504.png"/><Relationship Id="rId105" Type="http://schemas.openxmlformats.org/officeDocument/2006/relationships/image" Target="../media/image579.svg"/><Relationship Id="rId126" Type="http://schemas.openxmlformats.org/officeDocument/2006/relationships/image" Target="../media/image600.png"/><Relationship Id="rId147" Type="http://schemas.openxmlformats.org/officeDocument/2006/relationships/image" Target="../media/image621.svg"/><Relationship Id="rId168" Type="http://schemas.openxmlformats.org/officeDocument/2006/relationships/image" Target="../media/image642.png"/><Relationship Id="rId51" Type="http://schemas.openxmlformats.org/officeDocument/2006/relationships/image" Target="../media/image525.svg"/><Relationship Id="rId72" Type="http://schemas.openxmlformats.org/officeDocument/2006/relationships/image" Target="../media/image546.png"/><Relationship Id="rId93" Type="http://schemas.openxmlformats.org/officeDocument/2006/relationships/image" Target="../media/image567.svg"/><Relationship Id="rId189" Type="http://schemas.openxmlformats.org/officeDocument/2006/relationships/image" Target="../media/image663.svg"/></Relationships>
</file>

<file path=ppt/slides/_rels/slide79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815.svg"/><Relationship Id="rId21" Type="http://schemas.openxmlformats.org/officeDocument/2006/relationships/image" Target="../media/image719.svg"/><Relationship Id="rId42" Type="http://schemas.openxmlformats.org/officeDocument/2006/relationships/image" Target="../media/image740.png"/><Relationship Id="rId63" Type="http://schemas.openxmlformats.org/officeDocument/2006/relationships/image" Target="../media/image761.svg"/><Relationship Id="rId84" Type="http://schemas.openxmlformats.org/officeDocument/2006/relationships/image" Target="../media/image782.png"/><Relationship Id="rId138" Type="http://schemas.openxmlformats.org/officeDocument/2006/relationships/image" Target="../media/image836.png"/><Relationship Id="rId159" Type="http://schemas.openxmlformats.org/officeDocument/2006/relationships/image" Target="../media/image857.svg"/><Relationship Id="rId170" Type="http://schemas.openxmlformats.org/officeDocument/2006/relationships/image" Target="../media/image868.png"/><Relationship Id="rId191" Type="http://schemas.openxmlformats.org/officeDocument/2006/relationships/image" Target="../media/image889.svg"/><Relationship Id="rId205" Type="http://schemas.openxmlformats.org/officeDocument/2006/relationships/image" Target="../media/image903.svg"/><Relationship Id="rId107" Type="http://schemas.openxmlformats.org/officeDocument/2006/relationships/image" Target="../media/image805.svg"/><Relationship Id="rId11" Type="http://schemas.openxmlformats.org/officeDocument/2006/relationships/image" Target="../media/image709.svg"/><Relationship Id="rId32" Type="http://schemas.openxmlformats.org/officeDocument/2006/relationships/image" Target="../media/image730.png"/><Relationship Id="rId53" Type="http://schemas.openxmlformats.org/officeDocument/2006/relationships/image" Target="../media/image751.svg"/><Relationship Id="rId74" Type="http://schemas.openxmlformats.org/officeDocument/2006/relationships/image" Target="../media/image772.png"/><Relationship Id="rId128" Type="http://schemas.openxmlformats.org/officeDocument/2006/relationships/image" Target="../media/image826.png"/><Relationship Id="rId149" Type="http://schemas.openxmlformats.org/officeDocument/2006/relationships/image" Target="../media/image847.svg"/><Relationship Id="rId5" Type="http://schemas.openxmlformats.org/officeDocument/2006/relationships/image" Target="../media/image703.svg"/><Relationship Id="rId95" Type="http://schemas.openxmlformats.org/officeDocument/2006/relationships/image" Target="../media/image793.svg"/><Relationship Id="rId160" Type="http://schemas.openxmlformats.org/officeDocument/2006/relationships/image" Target="../media/image858.png"/><Relationship Id="rId181" Type="http://schemas.openxmlformats.org/officeDocument/2006/relationships/image" Target="../media/image879.svg"/><Relationship Id="rId216" Type="http://schemas.openxmlformats.org/officeDocument/2006/relationships/image" Target="../media/image914.png"/><Relationship Id="rId22" Type="http://schemas.openxmlformats.org/officeDocument/2006/relationships/image" Target="../media/image720.png"/><Relationship Id="rId43" Type="http://schemas.openxmlformats.org/officeDocument/2006/relationships/image" Target="../media/image741.svg"/><Relationship Id="rId64" Type="http://schemas.openxmlformats.org/officeDocument/2006/relationships/image" Target="../media/image762.png"/><Relationship Id="rId118" Type="http://schemas.openxmlformats.org/officeDocument/2006/relationships/image" Target="../media/image816.png"/><Relationship Id="rId139" Type="http://schemas.openxmlformats.org/officeDocument/2006/relationships/image" Target="../media/image837.svg"/><Relationship Id="rId85" Type="http://schemas.openxmlformats.org/officeDocument/2006/relationships/image" Target="../media/image783.svg"/><Relationship Id="rId150" Type="http://schemas.openxmlformats.org/officeDocument/2006/relationships/image" Target="../media/image848.png"/><Relationship Id="rId171" Type="http://schemas.openxmlformats.org/officeDocument/2006/relationships/image" Target="../media/image869.svg"/><Relationship Id="rId192" Type="http://schemas.openxmlformats.org/officeDocument/2006/relationships/image" Target="../media/image890.png"/><Relationship Id="rId206" Type="http://schemas.openxmlformats.org/officeDocument/2006/relationships/image" Target="../media/image904.png"/><Relationship Id="rId12" Type="http://schemas.openxmlformats.org/officeDocument/2006/relationships/image" Target="../media/image710.png"/><Relationship Id="rId33" Type="http://schemas.openxmlformats.org/officeDocument/2006/relationships/image" Target="../media/image731.svg"/><Relationship Id="rId108" Type="http://schemas.openxmlformats.org/officeDocument/2006/relationships/image" Target="../media/image806.png"/><Relationship Id="rId129" Type="http://schemas.openxmlformats.org/officeDocument/2006/relationships/image" Target="../media/image827.svg"/><Relationship Id="rId54" Type="http://schemas.openxmlformats.org/officeDocument/2006/relationships/image" Target="../media/image752.png"/><Relationship Id="rId75" Type="http://schemas.openxmlformats.org/officeDocument/2006/relationships/image" Target="../media/image773.svg"/><Relationship Id="rId96" Type="http://schemas.openxmlformats.org/officeDocument/2006/relationships/image" Target="../media/image794.png"/><Relationship Id="rId140" Type="http://schemas.openxmlformats.org/officeDocument/2006/relationships/image" Target="../media/image838.png"/><Relationship Id="rId161" Type="http://schemas.openxmlformats.org/officeDocument/2006/relationships/image" Target="../media/image859.svg"/><Relationship Id="rId182" Type="http://schemas.openxmlformats.org/officeDocument/2006/relationships/image" Target="../media/image880.png"/><Relationship Id="rId217" Type="http://schemas.openxmlformats.org/officeDocument/2006/relationships/image" Target="../media/image915.svg"/><Relationship Id="rId6" Type="http://schemas.openxmlformats.org/officeDocument/2006/relationships/image" Target="../media/image704.png"/><Relationship Id="rId23" Type="http://schemas.openxmlformats.org/officeDocument/2006/relationships/image" Target="../media/image721.svg"/><Relationship Id="rId119" Type="http://schemas.openxmlformats.org/officeDocument/2006/relationships/image" Target="../media/image817.svg"/><Relationship Id="rId44" Type="http://schemas.openxmlformats.org/officeDocument/2006/relationships/image" Target="../media/image742.png"/><Relationship Id="rId65" Type="http://schemas.openxmlformats.org/officeDocument/2006/relationships/image" Target="../media/image763.svg"/><Relationship Id="rId86" Type="http://schemas.openxmlformats.org/officeDocument/2006/relationships/image" Target="../media/image784.png"/><Relationship Id="rId130" Type="http://schemas.openxmlformats.org/officeDocument/2006/relationships/image" Target="../media/image828.png"/><Relationship Id="rId151" Type="http://schemas.openxmlformats.org/officeDocument/2006/relationships/image" Target="../media/image849.svg"/><Relationship Id="rId172" Type="http://schemas.openxmlformats.org/officeDocument/2006/relationships/image" Target="../media/image870.png"/><Relationship Id="rId193" Type="http://schemas.openxmlformats.org/officeDocument/2006/relationships/image" Target="../media/image891.svg"/><Relationship Id="rId207" Type="http://schemas.openxmlformats.org/officeDocument/2006/relationships/image" Target="../media/image905.svg"/><Relationship Id="rId13" Type="http://schemas.openxmlformats.org/officeDocument/2006/relationships/image" Target="../media/image711.svg"/><Relationship Id="rId109" Type="http://schemas.openxmlformats.org/officeDocument/2006/relationships/image" Target="../media/image807.svg"/><Relationship Id="rId34" Type="http://schemas.openxmlformats.org/officeDocument/2006/relationships/image" Target="../media/image732.png"/><Relationship Id="rId55" Type="http://schemas.openxmlformats.org/officeDocument/2006/relationships/image" Target="../media/image753.svg"/><Relationship Id="rId76" Type="http://schemas.openxmlformats.org/officeDocument/2006/relationships/image" Target="../media/image774.png"/><Relationship Id="rId97" Type="http://schemas.openxmlformats.org/officeDocument/2006/relationships/image" Target="../media/image795.svg"/><Relationship Id="rId120" Type="http://schemas.openxmlformats.org/officeDocument/2006/relationships/image" Target="../media/image818.png"/><Relationship Id="rId141" Type="http://schemas.openxmlformats.org/officeDocument/2006/relationships/image" Target="../media/image839.svg"/><Relationship Id="rId7" Type="http://schemas.openxmlformats.org/officeDocument/2006/relationships/image" Target="../media/image705.svg"/><Relationship Id="rId162" Type="http://schemas.openxmlformats.org/officeDocument/2006/relationships/image" Target="../media/image860.png"/><Relationship Id="rId183" Type="http://schemas.openxmlformats.org/officeDocument/2006/relationships/image" Target="../media/image881.svg"/><Relationship Id="rId218" Type="http://schemas.openxmlformats.org/officeDocument/2006/relationships/image" Target="../media/image916.png"/><Relationship Id="rId24" Type="http://schemas.openxmlformats.org/officeDocument/2006/relationships/image" Target="../media/image722.png"/><Relationship Id="rId45" Type="http://schemas.openxmlformats.org/officeDocument/2006/relationships/image" Target="../media/image743.svg"/><Relationship Id="rId66" Type="http://schemas.openxmlformats.org/officeDocument/2006/relationships/image" Target="../media/image764.png"/><Relationship Id="rId87" Type="http://schemas.openxmlformats.org/officeDocument/2006/relationships/image" Target="../media/image785.svg"/><Relationship Id="rId110" Type="http://schemas.openxmlformats.org/officeDocument/2006/relationships/image" Target="../media/image808.png"/><Relationship Id="rId131" Type="http://schemas.openxmlformats.org/officeDocument/2006/relationships/image" Target="../media/image829.svg"/><Relationship Id="rId152" Type="http://schemas.openxmlformats.org/officeDocument/2006/relationships/image" Target="../media/image850.png"/><Relationship Id="rId173" Type="http://schemas.openxmlformats.org/officeDocument/2006/relationships/image" Target="../media/image871.svg"/><Relationship Id="rId194" Type="http://schemas.openxmlformats.org/officeDocument/2006/relationships/image" Target="../media/image892.png"/><Relationship Id="rId208" Type="http://schemas.openxmlformats.org/officeDocument/2006/relationships/image" Target="../media/image906.png"/><Relationship Id="rId14" Type="http://schemas.openxmlformats.org/officeDocument/2006/relationships/image" Target="../media/image712.png"/><Relationship Id="rId35" Type="http://schemas.openxmlformats.org/officeDocument/2006/relationships/image" Target="../media/image733.svg"/><Relationship Id="rId56" Type="http://schemas.openxmlformats.org/officeDocument/2006/relationships/image" Target="../media/image754.png"/><Relationship Id="rId77" Type="http://schemas.openxmlformats.org/officeDocument/2006/relationships/image" Target="../media/image775.svg"/><Relationship Id="rId100" Type="http://schemas.openxmlformats.org/officeDocument/2006/relationships/image" Target="../media/image798.png"/><Relationship Id="rId8" Type="http://schemas.openxmlformats.org/officeDocument/2006/relationships/image" Target="../media/image706.png"/><Relationship Id="rId98" Type="http://schemas.openxmlformats.org/officeDocument/2006/relationships/image" Target="../media/image796.png"/><Relationship Id="rId121" Type="http://schemas.openxmlformats.org/officeDocument/2006/relationships/image" Target="../media/image819.svg"/><Relationship Id="rId142" Type="http://schemas.openxmlformats.org/officeDocument/2006/relationships/image" Target="../media/image840.png"/><Relationship Id="rId163" Type="http://schemas.openxmlformats.org/officeDocument/2006/relationships/image" Target="../media/image861.svg"/><Relationship Id="rId184" Type="http://schemas.openxmlformats.org/officeDocument/2006/relationships/image" Target="../media/image882.png"/><Relationship Id="rId219" Type="http://schemas.openxmlformats.org/officeDocument/2006/relationships/image" Target="../media/image917.svg"/><Relationship Id="rId3" Type="http://schemas.openxmlformats.org/officeDocument/2006/relationships/image" Target="../media/image701.svg"/><Relationship Id="rId214" Type="http://schemas.openxmlformats.org/officeDocument/2006/relationships/image" Target="../media/image912.png"/><Relationship Id="rId25" Type="http://schemas.openxmlformats.org/officeDocument/2006/relationships/image" Target="../media/image723.svg"/><Relationship Id="rId46" Type="http://schemas.openxmlformats.org/officeDocument/2006/relationships/image" Target="../media/image744.png"/><Relationship Id="rId67" Type="http://schemas.openxmlformats.org/officeDocument/2006/relationships/image" Target="../media/image765.svg"/><Relationship Id="rId116" Type="http://schemas.openxmlformats.org/officeDocument/2006/relationships/image" Target="../media/image814.png"/><Relationship Id="rId137" Type="http://schemas.openxmlformats.org/officeDocument/2006/relationships/image" Target="../media/image835.svg"/><Relationship Id="rId158" Type="http://schemas.openxmlformats.org/officeDocument/2006/relationships/image" Target="../media/image856.png"/><Relationship Id="rId20" Type="http://schemas.openxmlformats.org/officeDocument/2006/relationships/image" Target="../media/image718.png"/><Relationship Id="rId41" Type="http://schemas.openxmlformats.org/officeDocument/2006/relationships/image" Target="../media/image739.svg"/><Relationship Id="rId62" Type="http://schemas.openxmlformats.org/officeDocument/2006/relationships/image" Target="../media/image760.png"/><Relationship Id="rId83" Type="http://schemas.openxmlformats.org/officeDocument/2006/relationships/image" Target="../media/image781.svg"/><Relationship Id="rId88" Type="http://schemas.openxmlformats.org/officeDocument/2006/relationships/image" Target="../media/image786.png"/><Relationship Id="rId111" Type="http://schemas.openxmlformats.org/officeDocument/2006/relationships/image" Target="../media/image809.svg"/><Relationship Id="rId132" Type="http://schemas.openxmlformats.org/officeDocument/2006/relationships/image" Target="../media/image830.png"/><Relationship Id="rId153" Type="http://schemas.openxmlformats.org/officeDocument/2006/relationships/image" Target="../media/image851.svg"/><Relationship Id="rId174" Type="http://schemas.openxmlformats.org/officeDocument/2006/relationships/image" Target="../media/image872.png"/><Relationship Id="rId179" Type="http://schemas.openxmlformats.org/officeDocument/2006/relationships/image" Target="../media/image877.svg"/><Relationship Id="rId195" Type="http://schemas.openxmlformats.org/officeDocument/2006/relationships/image" Target="../media/image893.svg"/><Relationship Id="rId209" Type="http://schemas.openxmlformats.org/officeDocument/2006/relationships/image" Target="../media/image907.svg"/><Relationship Id="rId190" Type="http://schemas.openxmlformats.org/officeDocument/2006/relationships/image" Target="../media/image888.png"/><Relationship Id="rId204" Type="http://schemas.openxmlformats.org/officeDocument/2006/relationships/image" Target="../media/image902.png"/><Relationship Id="rId220" Type="http://schemas.openxmlformats.org/officeDocument/2006/relationships/image" Target="../media/image918.png"/><Relationship Id="rId225" Type="http://schemas.openxmlformats.org/officeDocument/2006/relationships/image" Target="../media/image923.svg"/><Relationship Id="rId15" Type="http://schemas.openxmlformats.org/officeDocument/2006/relationships/image" Target="../media/image713.svg"/><Relationship Id="rId36" Type="http://schemas.openxmlformats.org/officeDocument/2006/relationships/image" Target="../media/image734.png"/><Relationship Id="rId57" Type="http://schemas.openxmlformats.org/officeDocument/2006/relationships/image" Target="../media/image755.svg"/><Relationship Id="rId106" Type="http://schemas.openxmlformats.org/officeDocument/2006/relationships/image" Target="../media/image804.png"/><Relationship Id="rId127" Type="http://schemas.openxmlformats.org/officeDocument/2006/relationships/image" Target="../media/image825.svg"/><Relationship Id="rId10" Type="http://schemas.openxmlformats.org/officeDocument/2006/relationships/image" Target="../media/image708.png"/><Relationship Id="rId31" Type="http://schemas.openxmlformats.org/officeDocument/2006/relationships/image" Target="../media/image729.svg"/><Relationship Id="rId52" Type="http://schemas.openxmlformats.org/officeDocument/2006/relationships/image" Target="../media/image750.png"/><Relationship Id="rId73" Type="http://schemas.openxmlformats.org/officeDocument/2006/relationships/image" Target="../media/image771.svg"/><Relationship Id="rId78" Type="http://schemas.openxmlformats.org/officeDocument/2006/relationships/image" Target="../media/image776.png"/><Relationship Id="rId94" Type="http://schemas.openxmlformats.org/officeDocument/2006/relationships/image" Target="../media/image792.png"/><Relationship Id="rId99" Type="http://schemas.openxmlformats.org/officeDocument/2006/relationships/image" Target="../media/image797.svg"/><Relationship Id="rId101" Type="http://schemas.openxmlformats.org/officeDocument/2006/relationships/image" Target="../media/image799.svg"/><Relationship Id="rId122" Type="http://schemas.openxmlformats.org/officeDocument/2006/relationships/image" Target="../media/image820.png"/><Relationship Id="rId143" Type="http://schemas.openxmlformats.org/officeDocument/2006/relationships/image" Target="../media/image841.svg"/><Relationship Id="rId148" Type="http://schemas.openxmlformats.org/officeDocument/2006/relationships/image" Target="../media/image846.png"/><Relationship Id="rId164" Type="http://schemas.openxmlformats.org/officeDocument/2006/relationships/image" Target="../media/image862.png"/><Relationship Id="rId169" Type="http://schemas.openxmlformats.org/officeDocument/2006/relationships/image" Target="../media/image867.svg"/><Relationship Id="rId185" Type="http://schemas.openxmlformats.org/officeDocument/2006/relationships/image" Target="../media/image883.svg"/><Relationship Id="rId4" Type="http://schemas.openxmlformats.org/officeDocument/2006/relationships/image" Target="../media/image702.png"/><Relationship Id="rId9" Type="http://schemas.openxmlformats.org/officeDocument/2006/relationships/image" Target="../media/image707.svg"/><Relationship Id="rId180" Type="http://schemas.openxmlformats.org/officeDocument/2006/relationships/image" Target="../media/image878.png"/><Relationship Id="rId210" Type="http://schemas.openxmlformats.org/officeDocument/2006/relationships/image" Target="../media/image908.png"/><Relationship Id="rId215" Type="http://schemas.openxmlformats.org/officeDocument/2006/relationships/image" Target="../media/image913.svg"/><Relationship Id="rId26" Type="http://schemas.openxmlformats.org/officeDocument/2006/relationships/image" Target="../media/image724.png"/><Relationship Id="rId47" Type="http://schemas.openxmlformats.org/officeDocument/2006/relationships/image" Target="../media/image745.svg"/><Relationship Id="rId68" Type="http://schemas.openxmlformats.org/officeDocument/2006/relationships/image" Target="../media/image766.png"/><Relationship Id="rId89" Type="http://schemas.openxmlformats.org/officeDocument/2006/relationships/image" Target="../media/image787.svg"/><Relationship Id="rId112" Type="http://schemas.openxmlformats.org/officeDocument/2006/relationships/image" Target="../media/image810.png"/><Relationship Id="rId133" Type="http://schemas.openxmlformats.org/officeDocument/2006/relationships/image" Target="../media/image831.svg"/><Relationship Id="rId154" Type="http://schemas.openxmlformats.org/officeDocument/2006/relationships/image" Target="../media/image852.png"/><Relationship Id="rId175" Type="http://schemas.openxmlformats.org/officeDocument/2006/relationships/image" Target="../media/image873.svg"/><Relationship Id="rId196" Type="http://schemas.openxmlformats.org/officeDocument/2006/relationships/image" Target="../media/image894.png"/><Relationship Id="rId200" Type="http://schemas.openxmlformats.org/officeDocument/2006/relationships/image" Target="../media/image898.png"/><Relationship Id="rId16" Type="http://schemas.openxmlformats.org/officeDocument/2006/relationships/image" Target="../media/image714.png"/><Relationship Id="rId221" Type="http://schemas.openxmlformats.org/officeDocument/2006/relationships/image" Target="../media/image919.svg"/><Relationship Id="rId37" Type="http://schemas.openxmlformats.org/officeDocument/2006/relationships/image" Target="../media/image735.svg"/><Relationship Id="rId58" Type="http://schemas.openxmlformats.org/officeDocument/2006/relationships/image" Target="../media/image756.png"/><Relationship Id="rId79" Type="http://schemas.openxmlformats.org/officeDocument/2006/relationships/image" Target="../media/image777.svg"/><Relationship Id="rId102" Type="http://schemas.openxmlformats.org/officeDocument/2006/relationships/image" Target="../media/image800.png"/><Relationship Id="rId123" Type="http://schemas.openxmlformats.org/officeDocument/2006/relationships/image" Target="../media/image821.svg"/><Relationship Id="rId144" Type="http://schemas.openxmlformats.org/officeDocument/2006/relationships/image" Target="../media/image842.png"/><Relationship Id="rId90" Type="http://schemas.openxmlformats.org/officeDocument/2006/relationships/image" Target="../media/image788.png"/><Relationship Id="rId165" Type="http://schemas.openxmlformats.org/officeDocument/2006/relationships/image" Target="../media/image863.svg"/><Relationship Id="rId186" Type="http://schemas.openxmlformats.org/officeDocument/2006/relationships/image" Target="../media/image884.png"/><Relationship Id="rId211" Type="http://schemas.openxmlformats.org/officeDocument/2006/relationships/image" Target="../media/image909.svg"/><Relationship Id="rId27" Type="http://schemas.openxmlformats.org/officeDocument/2006/relationships/image" Target="../media/image725.svg"/><Relationship Id="rId48" Type="http://schemas.openxmlformats.org/officeDocument/2006/relationships/image" Target="../media/image746.png"/><Relationship Id="rId69" Type="http://schemas.openxmlformats.org/officeDocument/2006/relationships/image" Target="../media/image767.svg"/><Relationship Id="rId113" Type="http://schemas.openxmlformats.org/officeDocument/2006/relationships/image" Target="../media/image811.svg"/><Relationship Id="rId134" Type="http://schemas.openxmlformats.org/officeDocument/2006/relationships/image" Target="../media/image832.png"/><Relationship Id="rId80" Type="http://schemas.openxmlformats.org/officeDocument/2006/relationships/image" Target="../media/image778.png"/><Relationship Id="rId155" Type="http://schemas.openxmlformats.org/officeDocument/2006/relationships/image" Target="../media/image853.svg"/><Relationship Id="rId176" Type="http://schemas.openxmlformats.org/officeDocument/2006/relationships/image" Target="../media/image874.png"/><Relationship Id="rId197" Type="http://schemas.openxmlformats.org/officeDocument/2006/relationships/image" Target="../media/image895.svg"/><Relationship Id="rId201" Type="http://schemas.openxmlformats.org/officeDocument/2006/relationships/image" Target="../media/image899.svg"/><Relationship Id="rId222" Type="http://schemas.openxmlformats.org/officeDocument/2006/relationships/image" Target="../media/image920.png"/><Relationship Id="rId17" Type="http://schemas.openxmlformats.org/officeDocument/2006/relationships/image" Target="../media/image715.svg"/><Relationship Id="rId38" Type="http://schemas.openxmlformats.org/officeDocument/2006/relationships/image" Target="../media/image736.png"/><Relationship Id="rId59" Type="http://schemas.openxmlformats.org/officeDocument/2006/relationships/image" Target="../media/image757.svg"/><Relationship Id="rId103" Type="http://schemas.openxmlformats.org/officeDocument/2006/relationships/image" Target="../media/image801.svg"/><Relationship Id="rId124" Type="http://schemas.openxmlformats.org/officeDocument/2006/relationships/image" Target="../media/image822.png"/><Relationship Id="rId70" Type="http://schemas.openxmlformats.org/officeDocument/2006/relationships/image" Target="../media/image768.png"/><Relationship Id="rId91" Type="http://schemas.openxmlformats.org/officeDocument/2006/relationships/image" Target="../media/image789.svg"/><Relationship Id="rId145" Type="http://schemas.openxmlformats.org/officeDocument/2006/relationships/image" Target="../media/image843.svg"/><Relationship Id="rId166" Type="http://schemas.openxmlformats.org/officeDocument/2006/relationships/image" Target="../media/image864.png"/><Relationship Id="rId187" Type="http://schemas.openxmlformats.org/officeDocument/2006/relationships/image" Target="../media/image885.svg"/><Relationship Id="rId1" Type="http://schemas.openxmlformats.org/officeDocument/2006/relationships/slideLayout" Target="../slideLayouts/slideLayout5.xml"/><Relationship Id="rId212" Type="http://schemas.openxmlformats.org/officeDocument/2006/relationships/image" Target="../media/image910.png"/><Relationship Id="rId28" Type="http://schemas.openxmlformats.org/officeDocument/2006/relationships/image" Target="../media/image726.png"/><Relationship Id="rId49" Type="http://schemas.openxmlformats.org/officeDocument/2006/relationships/image" Target="../media/image747.svg"/><Relationship Id="rId114" Type="http://schemas.openxmlformats.org/officeDocument/2006/relationships/image" Target="../media/image812.png"/><Relationship Id="rId60" Type="http://schemas.openxmlformats.org/officeDocument/2006/relationships/image" Target="../media/image758.png"/><Relationship Id="rId81" Type="http://schemas.openxmlformats.org/officeDocument/2006/relationships/image" Target="../media/image779.svg"/><Relationship Id="rId135" Type="http://schemas.openxmlformats.org/officeDocument/2006/relationships/image" Target="../media/image833.svg"/><Relationship Id="rId156" Type="http://schemas.openxmlformats.org/officeDocument/2006/relationships/image" Target="../media/image854.png"/><Relationship Id="rId177" Type="http://schemas.openxmlformats.org/officeDocument/2006/relationships/image" Target="../media/image875.svg"/><Relationship Id="rId198" Type="http://schemas.openxmlformats.org/officeDocument/2006/relationships/image" Target="../media/image896.png"/><Relationship Id="rId202" Type="http://schemas.openxmlformats.org/officeDocument/2006/relationships/image" Target="../media/image900.png"/><Relationship Id="rId223" Type="http://schemas.openxmlformats.org/officeDocument/2006/relationships/image" Target="../media/image921.svg"/><Relationship Id="rId18" Type="http://schemas.openxmlformats.org/officeDocument/2006/relationships/image" Target="../media/image716.png"/><Relationship Id="rId39" Type="http://schemas.openxmlformats.org/officeDocument/2006/relationships/image" Target="../media/image737.svg"/><Relationship Id="rId50" Type="http://schemas.openxmlformats.org/officeDocument/2006/relationships/image" Target="../media/image748.png"/><Relationship Id="rId104" Type="http://schemas.openxmlformats.org/officeDocument/2006/relationships/image" Target="../media/image802.png"/><Relationship Id="rId125" Type="http://schemas.openxmlformats.org/officeDocument/2006/relationships/image" Target="../media/image823.svg"/><Relationship Id="rId146" Type="http://schemas.openxmlformats.org/officeDocument/2006/relationships/image" Target="../media/image844.png"/><Relationship Id="rId167" Type="http://schemas.openxmlformats.org/officeDocument/2006/relationships/image" Target="../media/image865.svg"/><Relationship Id="rId188" Type="http://schemas.openxmlformats.org/officeDocument/2006/relationships/image" Target="../media/image886.png"/><Relationship Id="rId71" Type="http://schemas.openxmlformats.org/officeDocument/2006/relationships/image" Target="../media/image769.svg"/><Relationship Id="rId92" Type="http://schemas.openxmlformats.org/officeDocument/2006/relationships/image" Target="../media/image790.png"/><Relationship Id="rId213" Type="http://schemas.openxmlformats.org/officeDocument/2006/relationships/image" Target="../media/image911.svg"/><Relationship Id="rId2" Type="http://schemas.openxmlformats.org/officeDocument/2006/relationships/image" Target="../media/image700.png"/><Relationship Id="rId29" Type="http://schemas.openxmlformats.org/officeDocument/2006/relationships/image" Target="../media/image727.svg"/><Relationship Id="rId40" Type="http://schemas.openxmlformats.org/officeDocument/2006/relationships/image" Target="../media/image738.png"/><Relationship Id="rId115" Type="http://schemas.openxmlformats.org/officeDocument/2006/relationships/image" Target="../media/image813.svg"/><Relationship Id="rId136" Type="http://schemas.openxmlformats.org/officeDocument/2006/relationships/image" Target="../media/image834.png"/><Relationship Id="rId157" Type="http://schemas.openxmlformats.org/officeDocument/2006/relationships/image" Target="../media/image855.svg"/><Relationship Id="rId178" Type="http://schemas.openxmlformats.org/officeDocument/2006/relationships/image" Target="../media/image876.png"/><Relationship Id="rId61" Type="http://schemas.openxmlformats.org/officeDocument/2006/relationships/image" Target="../media/image759.svg"/><Relationship Id="rId82" Type="http://schemas.openxmlformats.org/officeDocument/2006/relationships/image" Target="../media/image780.png"/><Relationship Id="rId199" Type="http://schemas.openxmlformats.org/officeDocument/2006/relationships/image" Target="../media/image897.svg"/><Relationship Id="rId203" Type="http://schemas.openxmlformats.org/officeDocument/2006/relationships/image" Target="../media/image901.svg"/><Relationship Id="rId19" Type="http://schemas.openxmlformats.org/officeDocument/2006/relationships/image" Target="../media/image717.svg"/><Relationship Id="rId224" Type="http://schemas.openxmlformats.org/officeDocument/2006/relationships/image" Target="../media/image922.png"/><Relationship Id="rId30" Type="http://schemas.openxmlformats.org/officeDocument/2006/relationships/image" Target="../media/image728.png"/><Relationship Id="rId105" Type="http://schemas.openxmlformats.org/officeDocument/2006/relationships/image" Target="../media/image803.svg"/><Relationship Id="rId126" Type="http://schemas.openxmlformats.org/officeDocument/2006/relationships/image" Target="../media/image824.png"/><Relationship Id="rId147" Type="http://schemas.openxmlformats.org/officeDocument/2006/relationships/image" Target="../media/image845.svg"/><Relationship Id="rId168" Type="http://schemas.openxmlformats.org/officeDocument/2006/relationships/image" Target="../media/image866.png"/><Relationship Id="rId51" Type="http://schemas.openxmlformats.org/officeDocument/2006/relationships/image" Target="../media/image749.svg"/><Relationship Id="rId72" Type="http://schemas.openxmlformats.org/officeDocument/2006/relationships/image" Target="../media/image770.png"/><Relationship Id="rId93" Type="http://schemas.openxmlformats.org/officeDocument/2006/relationships/image" Target="../media/image791.svg"/><Relationship Id="rId189" Type="http://schemas.openxmlformats.org/officeDocument/2006/relationships/image" Target="../media/image887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0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1039.svg"/><Relationship Id="rId21" Type="http://schemas.openxmlformats.org/officeDocument/2006/relationships/image" Target="../media/image943.svg"/><Relationship Id="rId42" Type="http://schemas.openxmlformats.org/officeDocument/2006/relationships/image" Target="../media/image964.png"/><Relationship Id="rId63" Type="http://schemas.openxmlformats.org/officeDocument/2006/relationships/image" Target="../media/image985.svg"/><Relationship Id="rId84" Type="http://schemas.openxmlformats.org/officeDocument/2006/relationships/image" Target="../media/image1006.png"/><Relationship Id="rId138" Type="http://schemas.openxmlformats.org/officeDocument/2006/relationships/image" Target="../media/image1060.png"/><Relationship Id="rId159" Type="http://schemas.openxmlformats.org/officeDocument/2006/relationships/image" Target="../media/image1081.svg"/><Relationship Id="rId170" Type="http://schemas.openxmlformats.org/officeDocument/2006/relationships/image" Target="../media/image1092.png"/><Relationship Id="rId191" Type="http://schemas.openxmlformats.org/officeDocument/2006/relationships/image" Target="../media/image1113.svg"/><Relationship Id="rId205" Type="http://schemas.openxmlformats.org/officeDocument/2006/relationships/image" Target="../media/image1127.svg"/><Relationship Id="rId107" Type="http://schemas.openxmlformats.org/officeDocument/2006/relationships/image" Target="../media/image1029.svg"/><Relationship Id="rId11" Type="http://schemas.openxmlformats.org/officeDocument/2006/relationships/image" Target="../media/image933.svg"/><Relationship Id="rId32" Type="http://schemas.openxmlformats.org/officeDocument/2006/relationships/image" Target="../media/image954.png"/><Relationship Id="rId53" Type="http://schemas.openxmlformats.org/officeDocument/2006/relationships/image" Target="../media/image975.svg"/><Relationship Id="rId74" Type="http://schemas.openxmlformats.org/officeDocument/2006/relationships/image" Target="../media/image996.png"/><Relationship Id="rId128" Type="http://schemas.openxmlformats.org/officeDocument/2006/relationships/image" Target="../media/image1050.png"/><Relationship Id="rId149" Type="http://schemas.openxmlformats.org/officeDocument/2006/relationships/image" Target="../media/image1071.svg"/><Relationship Id="rId5" Type="http://schemas.openxmlformats.org/officeDocument/2006/relationships/image" Target="../media/image927.svg"/><Relationship Id="rId95" Type="http://schemas.openxmlformats.org/officeDocument/2006/relationships/image" Target="../media/image1017.svg"/><Relationship Id="rId160" Type="http://schemas.openxmlformats.org/officeDocument/2006/relationships/image" Target="../media/image1082.png"/><Relationship Id="rId181" Type="http://schemas.openxmlformats.org/officeDocument/2006/relationships/image" Target="../media/image1103.svg"/><Relationship Id="rId216" Type="http://schemas.openxmlformats.org/officeDocument/2006/relationships/image" Target="../media/image1138.png"/><Relationship Id="rId22" Type="http://schemas.openxmlformats.org/officeDocument/2006/relationships/image" Target="../media/image944.png"/><Relationship Id="rId43" Type="http://schemas.openxmlformats.org/officeDocument/2006/relationships/image" Target="../media/image965.svg"/><Relationship Id="rId64" Type="http://schemas.openxmlformats.org/officeDocument/2006/relationships/image" Target="../media/image986.png"/><Relationship Id="rId118" Type="http://schemas.openxmlformats.org/officeDocument/2006/relationships/image" Target="../media/image1040.png"/><Relationship Id="rId139" Type="http://schemas.openxmlformats.org/officeDocument/2006/relationships/image" Target="../media/image1061.svg"/><Relationship Id="rId85" Type="http://schemas.openxmlformats.org/officeDocument/2006/relationships/image" Target="../media/image1007.svg"/><Relationship Id="rId150" Type="http://schemas.openxmlformats.org/officeDocument/2006/relationships/image" Target="../media/image1072.png"/><Relationship Id="rId171" Type="http://schemas.openxmlformats.org/officeDocument/2006/relationships/image" Target="../media/image1093.svg"/><Relationship Id="rId192" Type="http://schemas.openxmlformats.org/officeDocument/2006/relationships/image" Target="../media/image1114.png"/><Relationship Id="rId206" Type="http://schemas.openxmlformats.org/officeDocument/2006/relationships/image" Target="../media/image1128.png"/><Relationship Id="rId12" Type="http://schemas.openxmlformats.org/officeDocument/2006/relationships/image" Target="../media/image934.png"/><Relationship Id="rId33" Type="http://schemas.openxmlformats.org/officeDocument/2006/relationships/image" Target="../media/image955.svg"/><Relationship Id="rId108" Type="http://schemas.openxmlformats.org/officeDocument/2006/relationships/image" Target="../media/image1030.png"/><Relationship Id="rId129" Type="http://schemas.openxmlformats.org/officeDocument/2006/relationships/image" Target="../media/image1051.svg"/><Relationship Id="rId54" Type="http://schemas.openxmlformats.org/officeDocument/2006/relationships/image" Target="../media/image976.png"/><Relationship Id="rId75" Type="http://schemas.openxmlformats.org/officeDocument/2006/relationships/image" Target="../media/image997.svg"/><Relationship Id="rId96" Type="http://schemas.openxmlformats.org/officeDocument/2006/relationships/image" Target="../media/image1018.png"/><Relationship Id="rId140" Type="http://schemas.openxmlformats.org/officeDocument/2006/relationships/image" Target="../media/image1062.png"/><Relationship Id="rId161" Type="http://schemas.openxmlformats.org/officeDocument/2006/relationships/image" Target="../media/image1083.svg"/><Relationship Id="rId182" Type="http://schemas.openxmlformats.org/officeDocument/2006/relationships/image" Target="../media/image1104.png"/><Relationship Id="rId217" Type="http://schemas.openxmlformats.org/officeDocument/2006/relationships/image" Target="../media/image1139.svg"/><Relationship Id="rId6" Type="http://schemas.openxmlformats.org/officeDocument/2006/relationships/image" Target="../media/image928.png"/><Relationship Id="rId23" Type="http://schemas.openxmlformats.org/officeDocument/2006/relationships/image" Target="../media/image945.svg"/><Relationship Id="rId119" Type="http://schemas.openxmlformats.org/officeDocument/2006/relationships/image" Target="../media/image1041.svg"/><Relationship Id="rId44" Type="http://schemas.openxmlformats.org/officeDocument/2006/relationships/image" Target="../media/image966.png"/><Relationship Id="rId65" Type="http://schemas.openxmlformats.org/officeDocument/2006/relationships/image" Target="../media/image987.svg"/><Relationship Id="rId86" Type="http://schemas.openxmlformats.org/officeDocument/2006/relationships/image" Target="../media/image1008.png"/><Relationship Id="rId130" Type="http://schemas.openxmlformats.org/officeDocument/2006/relationships/image" Target="../media/image1052.png"/><Relationship Id="rId151" Type="http://schemas.openxmlformats.org/officeDocument/2006/relationships/image" Target="../media/image1073.svg"/><Relationship Id="rId172" Type="http://schemas.openxmlformats.org/officeDocument/2006/relationships/image" Target="../media/image1094.png"/><Relationship Id="rId193" Type="http://schemas.openxmlformats.org/officeDocument/2006/relationships/image" Target="../media/image1115.svg"/><Relationship Id="rId207" Type="http://schemas.openxmlformats.org/officeDocument/2006/relationships/image" Target="../media/image1129.svg"/><Relationship Id="rId13" Type="http://schemas.openxmlformats.org/officeDocument/2006/relationships/image" Target="../media/image935.svg"/><Relationship Id="rId109" Type="http://schemas.openxmlformats.org/officeDocument/2006/relationships/image" Target="../media/image1031.svg"/><Relationship Id="rId34" Type="http://schemas.openxmlformats.org/officeDocument/2006/relationships/image" Target="../media/image956.png"/><Relationship Id="rId55" Type="http://schemas.openxmlformats.org/officeDocument/2006/relationships/image" Target="../media/image977.svg"/><Relationship Id="rId76" Type="http://schemas.openxmlformats.org/officeDocument/2006/relationships/image" Target="../media/image998.png"/><Relationship Id="rId97" Type="http://schemas.openxmlformats.org/officeDocument/2006/relationships/image" Target="../media/image1019.svg"/><Relationship Id="rId120" Type="http://schemas.openxmlformats.org/officeDocument/2006/relationships/image" Target="../media/image1042.png"/><Relationship Id="rId141" Type="http://schemas.openxmlformats.org/officeDocument/2006/relationships/image" Target="../media/image1063.svg"/><Relationship Id="rId7" Type="http://schemas.openxmlformats.org/officeDocument/2006/relationships/image" Target="../media/image929.svg"/><Relationship Id="rId162" Type="http://schemas.openxmlformats.org/officeDocument/2006/relationships/image" Target="../media/image1084.png"/><Relationship Id="rId183" Type="http://schemas.openxmlformats.org/officeDocument/2006/relationships/image" Target="../media/image1105.svg"/><Relationship Id="rId218" Type="http://schemas.openxmlformats.org/officeDocument/2006/relationships/image" Target="../media/image1140.png"/><Relationship Id="rId24" Type="http://schemas.openxmlformats.org/officeDocument/2006/relationships/image" Target="../media/image946.png"/><Relationship Id="rId45" Type="http://schemas.openxmlformats.org/officeDocument/2006/relationships/image" Target="../media/image967.svg"/><Relationship Id="rId66" Type="http://schemas.openxmlformats.org/officeDocument/2006/relationships/image" Target="../media/image988.png"/><Relationship Id="rId87" Type="http://schemas.openxmlformats.org/officeDocument/2006/relationships/image" Target="../media/image1009.svg"/><Relationship Id="rId110" Type="http://schemas.openxmlformats.org/officeDocument/2006/relationships/image" Target="../media/image1032.png"/><Relationship Id="rId131" Type="http://schemas.openxmlformats.org/officeDocument/2006/relationships/image" Target="../media/image1053.svg"/><Relationship Id="rId152" Type="http://schemas.openxmlformats.org/officeDocument/2006/relationships/image" Target="../media/image1074.png"/><Relationship Id="rId173" Type="http://schemas.openxmlformats.org/officeDocument/2006/relationships/image" Target="../media/image1095.svg"/><Relationship Id="rId194" Type="http://schemas.openxmlformats.org/officeDocument/2006/relationships/image" Target="../media/image1116.png"/><Relationship Id="rId208" Type="http://schemas.openxmlformats.org/officeDocument/2006/relationships/image" Target="../media/image1130.png"/><Relationship Id="rId14" Type="http://schemas.openxmlformats.org/officeDocument/2006/relationships/image" Target="../media/image936.png"/><Relationship Id="rId35" Type="http://schemas.openxmlformats.org/officeDocument/2006/relationships/image" Target="../media/image957.svg"/><Relationship Id="rId56" Type="http://schemas.openxmlformats.org/officeDocument/2006/relationships/image" Target="../media/image978.png"/><Relationship Id="rId77" Type="http://schemas.openxmlformats.org/officeDocument/2006/relationships/image" Target="../media/image999.svg"/><Relationship Id="rId100" Type="http://schemas.openxmlformats.org/officeDocument/2006/relationships/image" Target="../media/image1022.png"/><Relationship Id="rId8" Type="http://schemas.openxmlformats.org/officeDocument/2006/relationships/image" Target="../media/image930.png"/><Relationship Id="rId98" Type="http://schemas.openxmlformats.org/officeDocument/2006/relationships/image" Target="../media/image1020.png"/><Relationship Id="rId121" Type="http://schemas.openxmlformats.org/officeDocument/2006/relationships/image" Target="../media/image1043.svg"/><Relationship Id="rId142" Type="http://schemas.openxmlformats.org/officeDocument/2006/relationships/image" Target="../media/image1064.png"/><Relationship Id="rId163" Type="http://schemas.openxmlformats.org/officeDocument/2006/relationships/image" Target="../media/image1085.svg"/><Relationship Id="rId184" Type="http://schemas.openxmlformats.org/officeDocument/2006/relationships/image" Target="../media/image1106.png"/><Relationship Id="rId219" Type="http://schemas.openxmlformats.org/officeDocument/2006/relationships/image" Target="../media/image1141.svg"/><Relationship Id="rId3" Type="http://schemas.openxmlformats.org/officeDocument/2006/relationships/image" Target="../media/image925.svg"/><Relationship Id="rId214" Type="http://schemas.openxmlformats.org/officeDocument/2006/relationships/image" Target="../media/image1136.png"/><Relationship Id="rId25" Type="http://schemas.openxmlformats.org/officeDocument/2006/relationships/image" Target="../media/image947.svg"/><Relationship Id="rId46" Type="http://schemas.openxmlformats.org/officeDocument/2006/relationships/image" Target="../media/image968.png"/><Relationship Id="rId67" Type="http://schemas.openxmlformats.org/officeDocument/2006/relationships/image" Target="../media/image989.svg"/><Relationship Id="rId116" Type="http://schemas.openxmlformats.org/officeDocument/2006/relationships/image" Target="../media/image1038.png"/><Relationship Id="rId137" Type="http://schemas.openxmlformats.org/officeDocument/2006/relationships/image" Target="../media/image1059.svg"/><Relationship Id="rId158" Type="http://schemas.openxmlformats.org/officeDocument/2006/relationships/image" Target="../media/image1080.png"/><Relationship Id="rId20" Type="http://schemas.openxmlformats.org/officeDocument/2006/relationships/image" Target="../media/image942.png"/><Relationship Id="rId41" Type="http://schemas.openxmlformats.org/officeDocument/2006/relationships/image" Target="../media/image963.svg"/><Relationship Id="rId62" Type="http://schemas.openxmlformats.org/officeDocument/2006/relationships/image" Target="../media/image984.png"/><Relationship Id="rId83" Type="http://schemas.openxmlformats.org/officeDocument/2006/relationships/image" Target="../media/image1005.svg"/><Relationship Id="rId88" Type="http://schemas.openxmlformats.org/officeDocument/2006/relationships/image" Target="../media/image1010.png"/><Relationship Id="rId111" Type="http://schemas.openxmlformats.org/officeDocument/2006/relationships/image" Target="../media/image1033.svg"/><Relationship Id="rId132" Type="http://schemas.openxmlformats.org/officeDocument/2006/relationships/image" Target="../media/image1054.png"/><Relationship Id="rId153" Type="http://schemas.openxmlformats.org/officeDocument/2006/relationships/image" Target="../media/image1075.svg"/><Relationship Id="rId174" Type="http://schemas.openxmlformats.org/officeDocument/2006/relationships/image" Target="../media/image1096.png"/><Relationship Id="rId179" Type="http://schemas.openxmlformats.org/officeDocument/2006/relationships/image" Target="../media/image1101.svg"/><Relationship Id="rId195" Type="http://schemas.openxmlformats.org/officeDocument/2006/relationships/image" Target="../media/image1117.svg"/><Relationship Id="rId209" Type="http://schemas.openxmlformats.org/officeDocument/2006/relationships/image" Target="../media/image1131.svg"/><Relationship Id="rId190" Type="http://schemas.openxmlformats.org/officeDocument/2006/relationships/image" Target="../media/image1112.png"/><Relationship Id="rId204" Type="http://schemas.openxmlformats.org/officeDocument/2006/relationships/image" Target="../media/image1126.png"/><Relationship Id="rId220" Type="http://schemas.openxmlformats.org/officeDocument/2006/relationships/image" Target="../media/image1142.png"/><Relationship Id="rId225" Type="http://schemas.openxmlformats.org/officeDocument/2006/relationships/image" Target="../media/image1147.svg"/><Relationship Id="rId15" Type="http://schemas.openxmlformats.org/officeDocument/2006/relationships/image" Target="../media/image937.svg"/><Relationship Id="rId36" Type="http://schemas.openxmlformats.org/officeDocument/2006/relationships/image" Target="../media/image958.png"/><Relationship Id="rId57" Type="http://schemas.openxmlformats.org/officeDocument/2006/relationships/image" Target="../media/image979.svg"/><Relationship Id="rId106" Type="http://schemas.openxmlformats.org/officeDocument/2006/relationships/image" Target="../media/image1028.png"/><Relationship Id="rId127" Type="http://schemas.openxmlformats.org/officeDocument/2006/relationships/image" Target="../media/image1049.svg"/><Relationship Id="rId10" Type="http://schemas.openxmlformats.org/officeDocument/2006/relationships/image" Target="../media/image932.png"/><Relationship Id="rId31" Type="http://schemas.openxmlformats.org/officeDocument/2006/relationships/image" Target="../media/image953.svg"/><Relationship Id="rId52" Type="http://schemas.openxmlformats.org/officeDocument/2006/relationships/image" Target="../media/image974.png"/><Relationship Id="rId73" Type="http://schemas.openxmlformats.org/officeDocument/2006/relationships/image" Target="../media/image995.svg"/><Relationship Id="rId78" Type="http://schemas.openxmlformats.org/officeDocument/2006/relationships/image" Target="../media/image1000.png"/><Relationship Id="rId94" Type="http://schemas.openxmlformats.org/officeDocument/2006/relationships/image" Target="../media/image1016.png"/><Relationship Id="rId99" Type="http://schemas.openxmlformats.org/officeDocument/2006/relationships/image" Target="../media/image1021.svg"/><Relationship Id="rId101" Type="http://schemas.openxmlformats.org/officeDocument/2006/relationships/image" Target="../media/image1023.svg"/><Relationship Id="rId122" Type="http://schemas.openxmlformats.org/officeDocument/2006/relationships/image" Target="../media/image1044.png"/><Relationship Id="rId143" Type="http://schemas.openxmlformats.org/officeDocument/2006/relationships/image" Target="../media/image1065.svg"/><Relationship Id="rId148" Type="http://schemas.openxmlformats.org/officeDocument/2006/relationships/image" Target="../media/image1070.png"/><Relationship Id="rId164" Type="http://schemas.openxmlformats.org/officeDocument/2006/relationships/image" Target="../media/image1086.png"/><Relationship Id="rId169" Type="http://schemas.openxmlformats.org/officeDocument/2006/relationships/image" Target="../media/image1091.svg"/><Relationship Id="rId185" Type="http://schemas.openxmlformats.org/officeDocument/2006/relationships/image" Target="../media/image1107.svg"/><Relationship Id="rId4" Type="http://schemas.openxmlformats.org/officeDocument/2006/relationships/image" Target="../media/image926.png"/><Relationship Id="rId9" Type="http://schemas.openxmlformats.org/officeDocument/2006/relationships/image" Target="../media/image931.svg"/><Relationship Id="rId180" Type="http://schemas.openxmlformats.org/officeDocument/2006/relationships/image" Target="../media/image1102.png"/><Relationship Id="rId210" Type="http://schemas.openxmlformats.org/officeDocument/2006/relationships/image" Target="../media/image1132.png"/><Relationship Id="rId215" Type="http://schemas.openxmlformats.org/officeDocument/2006/relationships/image" Target="../media/image1137.svg"/><Relationship Id="rId26" Type="http://schemas.openxmlformats.org/officeDocument/2006/relationships/image" Target="../media/image948.png"/><Relationship Id="rId47" Type="http://schemas.openxmlformats.org/officeDocument/2006/relationships/image" Target="../media/image969.svg"/><Relationship Id="rId68" Type="http://schemas.openxmlformats.org/officeDocument/2006/relationships/image" Target="../media/image990.png"/><Relationship Id="rId89" Type="http://schemas.openxmlformats.org/officeDocument/2006/relationships/image" Target="../media/image1011.svg"/><Relationship Id="rId112" Type="http://schemas.openxmlformats.org/officeDocument/2006/relationships/image" Target="../media/image1034.png"/><Relationship Id="rId133" Type="http://schemas.openxmlformats.org/officeDocument/2006/relationships/image" Target="../media/image1055.svg"/><Relationship Id="rId154" Type="http://schemas.openxmlformats.org/officeDocument/2006/relationships/image" Target="../media/image1076.png"/><Relationship Id="rId175" Type="http://schemas.openxmlformats.org/officeDocument/2006/relationships/image" Target="../media/image1097.svg"/><Relationship Id="rId196" Type="http://schemas.openxmlformats.org/officeDocument/2006/relationships/image" Target="../media/image1118.png"/><Relationship Id="rId200" Type="http://schemas.openxmlformats.org/officeDocument/2006/relationships/image" Target="../media/image1122.png"/><Relationship Id="rId16" Type="http://schemas.openxmlformats.org/officeDocument/2006/relationships/image" Target="../media/image938.png"/><Relationship Id="rId221" Type="http://schemas.openxmlformats.org/officeDocument/2006/relationships/image" Target="../media/image1143.svg"/><Relationship Id="rId37" Type="http://schemas.openxmlformats.org/officeDocument/2006/relationships/image" Target="../media/image959.svg"/><Relationship Id="rId58" Type="http://schemas.openxmlformats.org/officeDocument/2006/relationships/image" Target="../media/image980.png"/><Relationship Id="rId79" Type="http://schemas.openxmlformats.org/officeDocument/2006/relationships/image" Target="../media/image1001.svg"/><Relationship Id="rId102" Type="http://schemas.openxmlformats.org/officeDocument/2006/relationships/image" Target="../media/image1024.png"/><Relationship Id="rId123" Type="http://schemas.openxmlformats.org/officeDocument/2006/relationships/image" Target="../media/image1045.svg"/><Relationship Id="rId144" Type="http://schemas.openxmlformats.org/officeDocument/2006/relationships/image" Target="../media/image1066.png"/><Relationship Id="rId90" Type="http://schemas.openxmlformats.org/officeDocument/2006/relationships/image" Target="../media/image1012.png"/><Relationship Id="rId165" Type="http://schemas.openxmlformats.org/officeDocument/2006/relationships/image" Target="../media/image1087.svg"/><Relationship Id="rId186" Type="http://schemas.openxmlformats.org/officeDocument/2006/relationships/image" Target="../media/image1108.png"/><Relationship Id="rId211" Type="http://schemas.openxmlformats.org/officeDocument/2006/relationships/image" Target="../media/image1133.svg"/><Relationship Id="rId27" Type="http://schemas.openxmlformats.org/officeDocument/2006/relationships/image" Target="../media/image949.svg"/><Relationship Id="rId48" Type="http://schemas.openxmlformats.org/officeDocument/2006/relationships/image" Target="../media/image970.png"/><Relationship Id="rId69" Type="http://schemas.openxmlformats.org/officeDocument/2006/relationships/image" Target="../media/image991.svg"/><Relationship Id="rId113" Type="http://schemas.openxmlformats.org/officeDocument/2006/relationships/image" Target="../media/image1035.svg"/><Relationship Id="rId134" Type="http://schemas.openxmlformats.org/officeDocument/2006/relationships/image" Target="../media/image1056.png"/><Relationship Id="rId80" Type="http://schemas.openxmlformats.org/officeDocument/2006/relationships/image" Target="../media/image1002.png"/><Relationship Id="rId155" Type="http://schemas.openxmlformats.org/officeDocument/2006/relationships/image" Target="../media/image1077.svg"/><Relationship Id="rId176" Type="http://schemas.openxmlformats.org/officeDocument/2006/relationships/image" Target="../media/image1098.png"/><Relationship Id="rId197" Type="http://schemas.openxmlformats.org/officeDocument/2006/relationships/image" Target="../media/image1119.svg"/><Relationship Id="rId201" Type="http://schemas.openxmlformats.org/officeDocument/2006/relationships/image" Target="../media/image1123.svg"/><Relationship Id="rId222" Type="http://schemas.openxmlformats.org/officeDocument/2006/relationships/image" Target="../media/image1144.png"/><Relationship Id="rId17" Type="http://schemas.openxmlformats.org/officeDocument/2006/relationships/image" Target="../media/image939.svg"/><Relationship Id="rId38" Type="http://schemas.openxmlformats.org/officeDocument/2006/relationships/image" Target="../media/image960.png"/><Relationship Id="rId59" Type="http://schemas.openxmlformats.org/officeDocument/2006/relationships/image" Target="../media/image981.svg"/><Relationship Id="rId103" Type="http://schemas.openxmlformats.org/officeDocument/2006/relationships/image" Target="../media/image1025.svg"/><Relationship Id="rId124" Type="http://schemas.openxmlformats.org/officeDocument/2006/relationships/image" Target="../media/image1046.png"/><Relationship Id="rId70" Type="http://schemas.openxmlformats.org/officeDocument/2006/relationships/image" Target="../media/image992.png"/><Relationship Id="rId91" Type="http://schemas.openxmlformats.org/officeDocument/2006/relationships/image" Target="../media/image1013.svg"/><Relationship Id="rId145" Type="http://schemas.openxmlformats.org/officeDocument/2006/relationships/image" Target="../media/image1067.svg"/><Relationship Id="rId166" Type="http://schemas.openxmlformats.org/officeDocument/2006/relationships/image" Target="../media/image1088.png"/><Relationship Id="rId187" Type="http://schemas.openxmlformats.org/officeDocument/2006/relationships/image" Target="../media/image1109.svg"/><Relationship Id="rId1" Type="http://schemas.openxmlformats.org/officeDocument/2006/relationships/slideLayout" Target="../slideLayouts/slideLayout5.xml"/><Relationship Id="rId212" Type="http://schemas.openxmlformats.org/officeDocument/2006/relationships/image" Target="../media/image1134.png"/><Relationship Id="rId28" Type="http://schemas.openxmlformats.org/officeDocument/2006/relationships/image" Target="../media/image950.png"/><Relationship Id="rId49" Type="http://schemas.openxmlformats.org/officeDocument/2006/relationships/image" Target="../media/image971.svg"/><Relationship Id="rId114" Type="http://schemas.openxmlformats.org/officeDocument/2006/relationships/image" Target="../media/image1036.png"/><Relationship Id="rId60" Type="http://schemas.openxmlformats.org/officeDocument/2006/relationships/image" Target="../media/image982.png"/><Relationship Id="rId81" Type="http://schemas.openxmlformats.org/officeDocument/2006/relationships/image" Target="../media/image1003.svg"/><Relationship Id="rId135" Type="http://schemas.openxmlformats.org/officeDocument/2006/relationships/image" Target="../media/image1057.svg"/><Relationship Id="rId156" Type="http://schemas.openxmlformats.org/officeDocument/2006/relationships/image" Target="../media/image1078.png"/><Relationship Id="rId177" Type="http://schemas.openxmlformats.org/officeDocument/2006/relationships/image" Target="../media/image1099.svg"/><Relationship Id="rId198" Type="http://schemas.openxmlformats.org/officeDocument/2006/relationships/image" Target="../media/image1120.png"/><Relationship Id="rId202" Type="http://schemas.openxmlformats.org/officeDocument/2006/relationships/image" Target="../media/image1124.png"/><Relationship Id="rId223" Type="http://schemas.openxmlformats.org/officeDocument/2006/relationships/image" Target="../media/image1145.svg"/><Relationship Id="rId18" Type="http://schemas.openxmlformats.org/officeDocument/2006/relationships/image" Target="../media/image940.png"/><Relationship Id="rId39" Type="http://schemas.openxmlformats.org/officeDocument/2006/relationships/image" Target="../media/image961.svg"/><Relationship Id="rId50" Type="http://schemas.openxmlformats.org/officeDocument/2006/relationships/image" Target="../media/image972.png"/><Relationship Id="rId104" Type="http://schemas.openxmlformats.org/officeDocument/2006/relationships/image" Target="../media/image1026.png"/><Relationship Id="rId125" Type="http://schemas.openxmlformats.org/officeDocument/2006/relationships/image" Target="../media/image1047.svg"/><Relationship Id="rId146" Type="http://schemas.openxmlformats.org/officeDocument/2006/relationships/image" Target="../media/image1068.png"/><Relationship Id="rId167" Type="http://schemas.openxmlformats.org/officeDocument/2006/relationships/image" Target="../media/image1089.svg"/><Relationship Id="rId188" Type="http://schemas.openxmlformats.org/officeDocument/2006/relationships/image" Target="../media/image1110.png"/><Relationship Id="rId71" Type="http://schemas.openxmlformats.org/officeDocument/2006/relationships/image" Target="../media/image993.svg"/><Relationship Id="rId92" Type="http://schemas.openxmlformats.org/officeDocument/2006/relationships/image" Target="../media/image1014.png"/><Relationship Id="rId213" Type="http://schemas.openxmlformats.org/officeDocument/2006/relationships/image" Target="../media/image1135.svg"/><Relationship Id="rId2" Type="http://schemas.openxmlformats.org/officeDocument/2006/relationships/image" Target="../media/image924.png"/><Relationship Id="rId29" Type="http://schemas.openxmlformats.org/officeDocument/2006/relationships/image" Target="../media/image951.svg"/><Relationship Id="rId40" Type="http://schemas.openxmlformats.org/officeDocument/2006/relationships/image" Target="../media/image962.png"/><Relationship Id="rId115" Type="http://schemas.openxmlformats.org/officeDocument/2006/relationships/image" Target="../media/image1037.svg"/><Relationship Id="rId136" Type="http://schemas.openxmlformats.org/officeDocument/2006/relationships/image" Target="../media/image1058.png"/><Relationship Id="rId157" Type="http://schemas.openxmlformats.org/officeDocument/2006/relationships/image" Target="../media/image1079.svg"/><Relationship Id="rId178" Type="http://schemas.openxmlformats.org/officeDocument/2006/relationships/image" Target="../media/image1100.png"/><Relationship Id="rId61" Type="http://schemas.openxmlformats.org/officeDocument/2006/relationships/image" Target="../media/image983.svg"/><Relationship Id="rId82" Type="http://schemas.openxmlformats.org/officeDocument/2006/relationships/image" Target="../media/image1004.png"/><Relationship Id="rId199" Type="http://schemas.openxmlformats.org/officeDocument/2006/relationships/image" Target="../media/image1121.svg"/><Relationship Id="rId203" Type="http://schemas.openxmlformats.org/officeDocument/2006/relationships/image" Target="../media/image1125.svg"/><Relationship Id="rId19" Type="http://schemas.openxmlformats.org/officeDocument/2006/relationships/image" Target="../media/image941.svg"/><Relationship Id="rId224" Type="http://schemas.openxmlformats.org/officeDocument/2006/relationships/image" Target="../media/image1146.png"/><Relationship Id="rId30" Type="http://schemas.openxmlformats.org/officeDocument/2006/relationships/image" Target="../media/image952.png"/><Relationship Id="rId105" Type="http://schemas.openxmlformats.org/officeDocument/2006/relationships/image" Target="../media/image1027.svg"/><Relationship Id="rId126" Type="http://schemas.openxmlformats.org/officeDocument/2006/relationships/image" Target="../media/image1048.png"/><Relationship Id="rId147" Type="http://schemas.openxmlformats.org/officeDocument/2006/relationships/image" Target="../media/image1069.svg"/><Relationship Id="rId168" Type="http://schemas.openxmlformats.org/officeDocument/2006/relationships/image" Target="../media/image1090.png"/><Relationship Id="rId51" Type="http://schemas.openxmlformats.org/officeDocument/2006/relationships/image" Target="../media/image973.svg"/><Relationship Id="rId72" Type="http://schemas.openxmlformats.org/officeDocument/2006/relationships/image" Target="../media/image994.png"/><Relationship Id="rId93" Type="http://schemas.openxmlformats.org/officeDocument/2006/relationships/image" Target="../media/image1015.svg"/><Relationship Id="rId189" Type="http://schemas.openxmlformats.org/officeDocument/2006/relationships/image" Target="../media/image1111.svg"/></Relationships>
</file>

<file path=ppt/slides/_rels/slide81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1263.svg"/><Relationship Id="rId21" Type="http://schemas.openxmlformats.org/officeDocument/2006/relationships/image" Target="../media/image1167.svg"/><Relationship Id="rId42" Type="http://schemas.openxmlformats.org/officeDocument/2006/relationships/image" Target="../media/image1188.png"/><Relationship Id="rId63" Type="http://schemas.openxmlformats.org/officeDocument/2006/relationships/image" Target="../media/image1209.svg"/><Relationship Id="rId84" Type="http://schemas.openxmlformats.org/officeDocument/2006/relationships/image" Target="../media/image1230.png"/><Relationship Id="rId138" Type="http://schemas.openxmlformats.org/officeDocument/2006/relationships/image" Target="../media/image1284.png"/><Relationship Id="rId159" Type="http://schemas.openxmlformats.org/officeDocument/2006/relationships/image" Target="../media/image1305.svg"/><Relationship Id="rId170" Type="http://schemas.openxmlformats.org/officeDocument/2006/relationships/image" Target="../media/image1316.png"/><Relationship Id="rId191" Type="http://schemas.openxmlformats.org/officeDocument/2006/relationships/image" Target="../media/image1337.svg"/><Relationship Id="rId205" Type="http://schemas.openxmlformats.org/officeDocument/2006/relationships/image" Target="../media/image1351.svg"/><Relationship Id="rId107" Type="http://schemas.openxmlformats.org/officeDocument/2006/relationships/image" Target="../media/image1253.svg"/><Relationship Id="rId11" Type="http://schemas.openxmlformats.org/officeDocument/2006/relationships/image" Target="../media/image1157.svg"/><Relationship Id="rId32" Type="http://schemas.openxmlformats.org/officeDocument/2006/relationships/image" Target="../media/image1178.png"/><Relationship Id="rId53" Type="http://schemas.openxmlformats.org/officeDocument/2006/relationships/image" Target="../media/image1199.svg"/><Relationship Id="rId74" Type="http://schemas.openxmlformats.org/officeDocument/2006/relationships/image" Target="../media/image1220.png"/><Relationship Id="rId128" Type="http://schemas.openxmlformats.org/officeDocument/2006/relationships/image" Target="../media/image1274.png"/><Relationship Id="rId149" Type="http://schemas.openxmlformats.org/officeDocument/2006/relationships/image" Target="../media/image1295.svg"/><Relationship Id="rId5" Type="http://schemas.openxmlformats.org/officeDocument/2006/relationships/image" Target="../media/image1151.svg"/><Relationship Id="rId95" Type="http://schemas.openxmlformats.org/officeDocument/2006/relationships/image" Target="../media/image1241.svg"/><Relationship Id="rId160" Type="http://schemas.openxmlformats.org/officeDocument/2006/relationships/image" Target="../media/image1306.png"/><Relationship Id="rId181" Type="http://schemas.openxmlformats.org/officeDocument/2006/relationships/image" Target="../media/image1327.svg"/><Relationship Id="rId216" Type="http://schemas.openxmlformats.org/officeDocument/2006/relationships/image" Target="../media/image1362.png"/><Relationship Id="rId22" Type="http://schemas.openxmlformats.org/officeDocument/2006/relationships/image" Target="../media/image1168.png"/><Relationship Id="rId43" Type="http://schemas.openxmlformats.org/officeDocument/2006/relationships/image" Target="../media/image1189.svg"/><Relationship Id="rId64" Type="http://schemas.openxmlformats.org/officeDocument/2006/relationships/image" Target="../media/image1210.png"/><Relationship Id="rId118" Type="http://schemas.openxmlformats.org/officeDocument/2006/relationships/image" Target="../media/image1264.png"/><Relationship Id="rId139" Type="http://schemas.openxmlformats.org/officeDocument/2006/relationships/image" Target="../media/image1285.svg"/><Relationship Id="rId85" Type="http://schemas.openxmlformats.org/officeDocument/2006/relationships/image" Target="../media/image1231.svg"/><Relationship Id="rId150" Type="http://schemas.openxmlformats.org/officeDocument/2006/relationships/image" Target="../media/image1296.png"/><Relationship Id="rId171" Type="http://schemas.openxmlformats.org/officeDocument/2006/relationships/image" Target="../media/image1317.svg"/><Relationship Id="rId192" Type="http://schemas.openxmlformats.org/officeDocument/2006/relationships/image" Target="../media/image1338.png"/><Relationship Id="rId206" Type="http://schemas.openxmlformats.org/officeDocument/2006/relationships/image" Target="../media/image1352.png"/><Relationship Id="rId12" Type="http://schemas.openxmlformats.org/officeDocument/2006/relationships/image" Target="../media/image1158.png"/><Relationship Id="rId33" Type="http://schemas.openxmlformats.org/officeDocument/2006/relationships/image" Target="../media/image1179.svg"/><Relationship Id="rId108" Type="http://schemas.openxmlformats.org/officeDocument/2006/relationships/image" Target="../media/image1254.png"/><Relationship Id="rId129" Type="http://schemas.openxmlformats.org/officeDocument/2006/relationships/image" Target="../media/image1275.svg"/><Relationship Id="rId54" Type="http://schemas.openxmlformats.org/officeDocument/2006/relationships/image" Target="../media/image1200.png"/><Relationship Id="rId75" Type="http://schemas.openxmlformats.org/officeDocument/2006/relationships/image" Target="../media/image1221.svg"/><Relationship Id="rId96" Type="http://schemas.openxmlformats.org/officeDocument/2006/relationships/image" Target="../media/image1242.png"/><Relationship Id="rId140" Type="http://schemas.openxmlformats.org/officeDocument/2006/relationships/image" Target="../media/image1286.png"/><Relationship Id="rId161" Type="http://schemas.openxmlformats.org/officeDocument/2006/relationships/image" Target="../media/image1307.svg"/><Relationship Id="rId182" Type="http://schemas.openxmlformats.org/officeDocument/2006/relationships/image" Target="../media/image1328.png"/><Relationship Id="rId217" Type="http://schemas.openxmlformats.org/officeDocument/2006/relationships/image" Target="../media/image1363.svg"/><Relationship Id="rId6" Type="http://schemas.openxmlformats.org/officeDocument/2006/relationships/image" Target="../media/image1152.png"/><Relationship Id="rId23" Type="http://schemas.openxmlformats.org/officeDocument/2006/relationships/image" Target="../media/image1169.svg"/><Relationship Id="rId119" Type="http://schemas.openxmlformats.org/officeDocument/2006/relationships/image" Target="../media/image1265.svg"/><Relationship Id="rId44" Type="http://schemas.openxmlformats.org/officeDocument/2006/relationships/image" Target="../media/image1190.png"/><Relationship Id="rId65" Type="http://schemas.openxmlformats.org/officeDocument/2006/relationships/image" Target="../media/image1211.svg"/><Relationship Id="rId86" Type="http://schemas.openxmlformats.org/officeDocument/2006/relationships/image" Target="../media/image1232.png"/><Relationship Id="rId130" Type="http://schemas.openxmlformats.org/officeDocument/2006/relationships/image" Target="../media/image1276.png"/><Relationship Id="rId151" Type="http://schemas.openxmlformats.org/officeDocument/2006/relationships/image" Target="../media/image1297.svg"/><Relationship Id="rId172" Type="http://schemas.openxmlformats.org/officeDocument/2006/relationships/image" Target="../media/image1318.png"/><Relationship Id="rId193" Type="http://schemas.openxmlformats.org/officeDocument/2006/relationships/image" Target="../media/image1339.svg"/><Relationship Id="rId207" Type="http://schemas.openxmlformats.org/officeDocument/2006/relationships/image" Target="../media/image1353.svg"/><Relationship Id="rId13" Type="http://schemas.openxmlformats.org/officeDocument/2006/relationships/image" Target="../media/image1159.svg"/><Relationship Id="rId109" Type="http://schemas.openxmlformats.org/officeDocument/2006/relationships/image" Target="../media/image1255.svg"/><Relationship Id="rId34" Type="http://schemas.openxmlformats.org/officeDocument/2006/relationships/image" Target="../media/image1180.png"/><Relationship Id="rId55" Type="http://schemas.openxmlformats.org/officeDocument/2006/relationships/image" Target="../media/image1201.svg"/><Relationship Id="rId76" Type="http://schemas.openxmlformats.org/officeDocument/2006/relationships/image" Target="../media/image1222.png"/><Relationship Id="rId97" Type="http://schemas.openxmlformats.org/officeDocument/2006/relationships/image" Target="../media/image1243.svg"/><Relationship Id="rId120" Type="http://schemas.openxmlformats.org/officeDocument/2006/relationships/image" Target="../media/image1266.png"/><Relationship Id="rId141" Type="http://schemas.openxmlformats.org/officeDocument/2006/relationships/image" Target="../media/image1287.svg"/><Relationship Id="rId7" Type="http://schemas.openxmlformats.org/officeDocument/2006/relationships/image" Target="../media/image1153.svg"/><Relationship Id="rId162" Type="http://schemas.openxmlformats.org/officeDocument/2006/relationships/image" Target="../media/image1308.png"/><Relationship Id="rId183" Type="http://schemas.openxmlformats.org/officeDocument/2006/relationships/image" Target="../media/image1329.svg"/><Relationship Id="rId218" Type="http://schemas.openxmlformats.org/officeDocument/2006/relationships/image" Target="../media/image1364.png"/><Relationship Id="rId24" Type="http://schemas.openxmlformats.org/officeDocument/2006/relationships/image" Target="../media/image1170.png"/><Relationship Id="rId45" Type="http://schemas.openxmlformats.org/officeDocument/2006/relationships/image" Target="../media/image1191.svg"/><Relationship Id="rId66" Type="http://schemas.openxmlformats.org/officeDocument/2006/relationships/image" Target="../media/image1212.png"/><Relationship Id="rId87" Type="http://schemas.openxmlformats.org/officeDocument/2006/relationships/image" Target="../media/image1233.svg"/><Relationship Id="rId110" Type="http://schemas.openxmlformats.org/officeDocument/2006/relationships/image" Target="../media/image1256.png"/><Relationship Id="rId131" Type="http://schemas.openxmlformats.org/officeDocument/2006/relationships/image" Target="../media/image1277.svg"/><Relationship Id="rId152" Type="http://schemas.openxmlformats.org/officeDocument/2006/relationships/image" Target="../media/image1298.png"/><Relationship Id="rId173" Type="http://schemas.openxmlformats.org/officeDocument/2006/relationships/image" Target="../media/image1319.svg"/><Relationship Id="rId194" Type="http://schemas.openxmlformats.org/officeDocument/2006/relationships/image" Target="../media/image1340.png"/><Relationship Id="rId208" Type="http://schemas.openxmlformats.org/officeDocument/2006/relationships/image" Target="../media/image1354.png"/><Relationship Id="rId14" Type="http://schemas.openxmlformats.org/officeDocument/2006/relationships/image" Target="../media/image1160.png"/><Relationship Id="rId35" Type="http://schemas.openxmlformats.org/officeDocument/2006/relationships/image" Target="../media/image1181.svg"/><Relationship Id="rId56" Type="http://schemas.openxmlformats.org/officeDocument/2006/relationships/image" Target="../media/image1202.png"/><Relationship Id="rId77" Type="http://schemas.openxmlformats.org/officeDocument/2006/relationships/image" Target="../media/image1223.svg"/><Relationship Id="rId100" Type="http://schemas.openxmlformats.org/officeDocument/2006/relationships/image" Target="../media/image1246.png"/><Relationship Id="rId8" Type="http://schemas.openxmlformats.org/officeDocument/2006/relationships/image" Target="../media/image1154.png"/><Relationship Id="rId98" Type="http://schemas.openxmlformats.org/officeDocument/2006/relationships/image" Target="../media/image1244.png"/><Relationship Id="rId121" Type="http://schemas.openxmlformats.org/officeDocument/2006/relationships/image" Target="../media/image1267.svg"/><Relationship Id="rId142" Type="http://schemas.openxmlformats.org/officeDocument/2006/relationships/image" Target="../media/image1288.png"/><Relationship Id="rId163" Type="http://schemas.openxmlformats.org/officeDocument/2006/relationships/image" Target="../media/image1309.svg"/><Relationship Id="rId184" Type="http://schemas.openxmlformats.org/officeDocument/2006/relationships/image" Target="../media/image1330.png"/><Relationship Id="rId219" Type="http://schemas.openxmlformats.org/officeDocument/2006/relationships/image" Target="../media/image1365.svg"/><Relationship Id="rId3" Type="http://schemas.openxmlformats.org/officeDocument/2006/relationships/image" Target="../media/image1149.svg"/><Relationship Id="rId214" Type="http://schemas.openxmlformats.org/officeDocument/2006/relationships/image" Target="../media/image1360.png"/><Relationship Id="rId25" Type="http://schemas.openxmlformats.org/officeDocument/2006/relationships/image" Target="../media/image1171.svg"/><Relationship Id="rId46" Type="http://schemas.openxmlformats.org/officeDocument/2006/relationships/image" Target="../media/image1192.png"/><Relationship Id="rId67" Type="http://schemas.openxmlformats.org/officeDocument/2006/relationships/image" Target="../media/image1213.svg"/><Relationship Id="rId116" Type="http://schemas.openxmlformats.org/officeDocument/2006/relationships/image" Target="../media/image1262.png"/><Relationship Id="rId137" Type="http://schemas.openxmlformats.org/officeDocument/2006/relationships/image" Target="../media/image1283.svg"/><Relationship Id="rId158" Type="http://schemas.openxmlformats.org/officeDocument/2006/relationships/image" Target="../media/image1304.png"/><Relationship Id="rId20" Type="http://schemas.openxmlformats.org/officeDocument/2006/relationships/image" Target="../media/image1166.png"/><Relationship Id="rId41" Type="http://schemas.openxmlformats.org/officeDocument/2006/relationships/image" Target="../media/image1187.svg"/><Relationship Id="rId62" Type="http://schemas.openxmlformats.org/officeDocument/2006/relationships/image" Target="../media/image1208.png"/><Relationship Id="rId83" Type="http://schemas.openxmlformats.org/officeDocument/2006/relationships/image" Target="../media/image1229.svg"/><Relationship Id="rId88" Type="http://schemas.openxmlformats.org/officeDocument/2006/relationships/image" Target="../media/image1234.png"/><Relationship Id="rId111" Type="http://schemas.openxmlformats.org/officeDocument/2006/relationships/image" Target="../media/image1257.svg"/><Relationship Id="rId132" Type="http://schemas.openxmlformats.org/officeDocument/2006/relationships/image" Target="../media/image1278.png"/><Relationship Id="rId153" Type="http://schemas.openxmlformats.org/officeDocument/2006/relationships/image" Target="../media/image1299.svg"/><Relationship Id="rId174" Type="http://schemas.openxmlformats.org/officeDocument/2006/relationships/image" Target="../media/image1320.png"/><Relationship Id="rId179" Type="http://schemas.openxmlformats.org/officeDocument/2006/relationships/image" Target="../media/image1325.svg"/><Relationship Id="rId195" Type="http://schemas.openxmlformats.org/officeDocument/2006/relationships/image" Target="../media/image1341.svg"/><Relationship Id="rId209" Type="http://schemas.openxmlformats.org/officeDocument/2006/relationships/image" Target="../media/image1355.svg"/><Relationship Id="rId190" Type="http://schemas.openxmlformats.org/officeDocument/2006/relationships/image" Target="../media/image1336.png"/><Relationship Id="rId204" Type="http://schemas.openxmlformats.org/officeDocument/2006/relationships/image" Target="../media/image1350.png"/><Relationship Id="rId220" Type="http://schemas.openxmlformats.org/officeDocument/2006/relationships/image" Target="../media/image1366.png"/><Relationship Id="rId225" Type="http://schemas.openxmlformats.org/officeDocument/2006/relationships/image" Target="../media/image1371.svg"/><Relationship Id="rId15" Type="http://schemas.openxmlformats.org/officeDocument/2006/relationships/image" Target="../media/image1161.svg"/><Relationship Id="rId36" Type="http://schemas.openxmlformats.org/officeDocument/2006/relationships/image" Target="../media/image1182.png"/><Relationship Id="rId57" Type="http://schemas.openxmlformats.org/officeDocument/2006/relationships/image" Target="../media/image1203.svg"/><Relationship Id="rId106" Type="http://schemas.openxmlformats.org/officeDocument/2006/relationships/image" Target="../media/image1252.png"/><Relationship Id="rId127" Type="http://schemas.openxmlformats.org/officeDocument/2006/relationships/image" Target="../media/image1273.svg"/><Relationship Id="rId10" Type="http://schemas.openxmlformats.org/officeDocument/2006/relationships/image" Target="../media/image1156.png"/><Relationship Id="rId31" Type="http://schemas.openxmlformats.org/officeDocument/2006/relationships/image" Target="../media/image1177.svg"/><Relationship Id="rId52" Type="http://schemas.openxmlformats.org/officeDocument/2006/relationships/image" Target="../media/image1198.png"/><Relationship Id="rId73" Type="http://schemas.openxmlformats.org/officeDocument/2006/relationships/image" Target="../media/image1219.svg"/><Relationship Id="rId78" Type="http://schemas.openxmlformats.org/officeDocument/2006/relationships/image" Target="../media/image1224.png"/><Relationship Id="rId94" Type="http://schemas.openxmlformats.org/officeDocument/2006/relationships/image" Target="../media/image1240.png"/><Relationship Id="rId99" Type="http://schemas.openxmlformats.org/officeDocument/2006/relationships/image" Target="../media/image1245.svg"/><Relationship Id="rId101" Type="http://schemas.openxmlformats.org/officeDocument/2006/relationships/image" Target="../media/image1247.svg"/><Relationship Id="rId122" Type="http://schemas.openxmlformats.org/officeDocument/2006/relationships/image" Target="../media/image1268.png"/><Relationship Id="rId143" Type="http://schemas.openxmlformats.org/officeDocument/2006/relationships/image" Target="../media/image1289.svg"/><Relationship Id="rId148" Type="http://schemas.openxmlformats.org/officeDocument/2006/relationships/image" Target="../media/image1294.png"/><Relationship Id="rId164" Type="http://schemas.openxmlformats.org/officeDocument/2006/relationships/image" Target="../media/image1310.png"/><Relationship Id="rId169" Type="http://schemas.openxmlformats.org/officeDocument/2006/relationships/image" Target="../media/image1315.svg"/><Relationship Id="rId185" Type="http://schemas.openxmlformats.org/officeDocument/2006/relationships/image" Target="../media/image1331.svg"/><Relationship Id="rId4" Type="http://schemas.openxmlformats.org/officeDocument/2006/relationships/image" Target="../media/image1150.png"/><Relationship Id="rId9" Type="http://schemas.openxmlformats.org/officeDocument/2006/relationships/image" Target="../media/image1155.svg"/><Relationship Id="rId180" Type="http://schemas.openxmlformats.org/officeDocument/2006/relationships/image" Target="../media/image1326.png"/><Relationship Id="rId210" Type="http://schemas.openxmlformats.org/officeDocument/2006/relationships/image" Target="../media/image1356.png"/><Relationship Id="rId215" Type="http://schemas.openxmlformats.org/officeDocument/2006/relationships/image" Target="../media/image1361.svg"/><Relationship Id="rId26" Type="http://schemas.openxmlformats.org/officeDocument/2006/relationships/image" Target="../media/image1172.png"/><Relationship Id="rId47" Type="http://schemas.openxmlformats.org/officeDocument/2006/relationships/image" Target="../media/image1193.svg"/><Relationship Id="rId68" Type="http://schemas.openxmlformats.org/officeDocument/2006/relationships/image" Target="../media/image1214.png"/><Relationship Id="rId89" Type="http://schemas.openxmlformats.org/officeDocument/2006/relationships/image" Target="../media/image1235.svg"/><Relationship Id="rId112" Type="http://schemas.openxmlformats.org/officeDocument/2006/relationships/image" Target="../media/image1258.png"/><Relationship Id="rId133" Type="http://schemas.openxmlformats.org/officeDocument/2006/relationships/image" Target="../media/image1279.svg"/><Relationship Id="rId154" Type="http://schemas.openxmlformats.org/officeDocument/2006/relationships/image" Target="../media/image1300.png"/><Relationship Id="rId175" Type="http://schemas.openxmlformats.org/officeDocument/2006/relationships/image" Target="../media/image1321.svg"/><Relationship Id="rId196" Type="http://schemas.openxmlformats.org/officeDocument/2006/relationships/image" Target="../media/image1342.png"/><Relationship Id="rId200" Type="http://schemas.openxmlformats.org/officeDocument/2006/relationships/image" Target="../media/image1346.png"/><Relationship Id="rId16" Type="http://schemas.openxmlformats.org/officeDocument/2006/relationships/image" Target="../media/image1162.png"/><Relationship Id="rId221" Type="http://schemas.openxmlformats.org/officeDocument/2006/relationships/image" Target="../media/image1367.svg"/><Relationship Id="rId37" Type="http://schemas.openxmlformats.org/officeDocument/2006/relationships/image" Target="../media/image1183.svg"/><Relationship Id="rId58" Type="http://schemas.openxmlformats.org/officeDocument/2006/relationships/image" Target="../media/image1204.png"/><Relationship Id="rId79" Type="http://schemas.openxmlformats.org/officeDocument/2006/relationships/image" Target="../media/image1225.svg"/><Relationship Id="rId102" Type="http://schemas.openxmlformats.org/officeDocument/2006/relationships/image" Target="../media/image1248.png"/><Relationship Id="rId123" Type="http://schemas.openxmlformats.org/officeDocument/2006/relationships/image" Target="../media/image1269.svg"/><Relationship Id="rId144" Type="http://schemas.openxmlformats.org/officeDocument/2006/relationships/image" Target="../media/image1290.png"/><Relationship Id="rId90" Type="http://schemas.openxmlformats.org/officeDocument/2006/relationships/image" Target="../media/image1236.png"/><Relationship Id="rId165" Type="http://schemas.openxmlformats.org/officeDocument/2006/relationships/image" Target="../media/image1311.svg"/><Relationship Id="rId186" Type="http://schemas.openxmlformats.org/officeDocument/2006/relationships/image" Target="../media/image1332.png"/><Relationship Id="rId211" Type="http://schemas.openxmlformats.org/officeDocument/2006/relationships/image" Target="../media/image1357.svg"/><Relationship Id="rId27" Type="http://schemas.openxmlformats.org/officeDocument/2006/relationships/image" Target="../media/image1173.svg"/><Relationship Id="rId48" Type="http://schemas.openxmlformats.org/officeDocument/2006/relationships/image" Target="../media/image1194.png"/><Relationship Id="rId69" Type="http://schemas.openxmlformats.org/officeDocument/2006/relationships/image" Target="../media/image1215.svg"/><Relationship Id="rId113" Type="http://schemas.openxmlformats.org/officeDocument/2006/relationships/image" Target="../media/image1259.svg"/><Relationship Id="rId134" Type="http://schemas.openxmlformats.org/officeDocument/2006/relationships/image" Target="../media/image1280.png"/><Relationship Id="rId80" Type="http://schemas.openxmlformats.org/officeDocument/2006/relationships/image" Target="../media/image1226.png"/><Relationship Id="rId155" Type="http://schemas.openxmlformats.org/officeDocument/2006/relationships/image" Target="../media/image1301.svg"/><Relationship Id="rId176" Type="http://schemas.openxmlformats.org/officeDocument/2006/relationships/image" Target="../media/image1322.png"/><Relationship Id="rId197" Type="http://schemas.openxmlformats.org/officeDocument/2006/relationships/image" Target="../media/image1343.svg"/><Relationship Id="rId201" Type="http://schemas.openxmlformats.org/officeDocument/2006/relationships/image" Target="../media/image1347.svg"/><Relationship Id="rId222" Type="http://schemas.openxmlformats.org/officeDocument/2006/relationships/image" Target="../media/image1368.png"/><Relationship Id="rId17" Type="http://schemas.openxmlformats.org/officeDocument/2006/relationships/image" Target="../media/image1163.svg"/><Relationship Id="rId38" Type="http://schemas.openxmlformats.org/officeDocument/2006/relationships/image" Target="../media/image1184.png"/><Relationship Id="rId59" Type="http://schemas.openxmlformats.org/officeDocument/2006/relationships/image" Target="../media/image1205.svg"/><Relationship Id="rId103" Type="http://schemas.openxmlformats.org/officeDocument/2006/relationships/image" Target="../media/image1249.svg"/><Relationship Id="rId124" Type="http://schemas.openxmlformats.org/officeDocument/2006/relationships/image" Target="../media/image1270.png"/><Relationship Id="rId70" Type="http://schemas.openxmlformats.org/officeDocument/2006/relationships/image" Target="../media/image1216.png"/><Relationship Id="rId91" Type="http://schemas.openxmlformats.org/officeDocument/2006/relationships/image" Target="../media/image1237.svg"/><Relationship Id="rId145" Type="http://schemas.openxmlformats.org/officeDocument/2006/relationships/image" Target="../media/image1291.svg"/><Relationship Id="rId166" Type="http://schemas.openxmlformats.org/officeDocument/2006/relationships/image" Target="../media/image1312.png"/><Relationship Id="rId187" Type="http://schemas.openxmlformats.org/officeDocument/2006/relationships/image" Target="../media/image1333.svg"/><Relationship Id="rId1" Type="http://schemas.openxmlformats.org/officeDocument/2006/relationships/slideLayout" Target="../slideLayouts/slideLayout5.xml"/><Relationship Id="rId212" Type="http://schemas.openxmlformats.org/officeDocument/2006/relationships/image" Target="../media/image1358.png"/><Relationship Id="rId28" Type="http://schemas.openxmlformats.org/officeDocument/2006/relationships/image" Target="../media/image1174.png"/><Relationship Id="rId49" Type="http://schemas.openxmlformats.org/officeDocument/2006/relationships/image" Target="../media/image1195.svg"/><Relationship Id="rId114" Type="http://schemas.openxmlformats.org/officeDocument/2006/relationships/image" Target="../media/image1260.png"/><Relationship Id="rId60" Type="http://schemas.openxmlformats.org/officeDocument/2006/relationships/image" Target="../media/image1206.png"/><Relationship Id="rId81" Type="http://schemas.openxmlformats.org/officeDocument/2006/relationships/image" Target="../media/image1227.svg"/><Relationship Id="rId135" Type="http://schemas.openxmlformats.org/officeDocument/2006/relationships/image" Target="../media/image1281.svg"/><Relationship Id="rId156" Type="http://schemas.openxmlformats.org/officeDocument/2006/relationships/image" Target="../media/image1302.png"/><Relationship Id="rId177" Type="http://schemas.openxmlformats.org/officeDocument/2006/relationships/image" Target="../media/image1323.svg"/><Relationship Id="rId198" Type="http://schemas.openxmlformats.org/officeDocument/2006/relationships/image" Target="../media/image1344.png"/><Relationship Id="rId202" Type="http://schemas.openxmlformats.org/officeDocument/2006/relationships/image" Target="../media/image1348.png"/><Relationship Id="rId223" Type="http://schemas.openxmlformats.org/officeDocument/2006/relationships/image" Target="../media/image1369.svg"/><Relationship Id="rId18" Type="http://schemas.openxmlformats.org/officeDocument/2006/relationships/image" Target="../media/image1164.png"/><Relationship Id="rId39" Type="http://schemas.openxmlformats.org/officeDocument/2006/relationships/image" Target="../media/image1185.svg"/><Relationship Id="rId50" Type="http://schemas.openxmlformats.org/officeDocument/2006/relationships/image" Target="../media/image1196.png"/><Relationship Id="rId104" Type="http://schemas.openxmlformats.org/officeDocument/2006/relationships/image" Target="../media/image1250.png"/><Relationship Id="rId125" Type="http://schemas.openxmlformats.org/officeDocument/2006/relationships/image" Target="../media/image1271.svg"/><Relationship Id="rId146" Type="http://schemas.openxmlformats.org/officeDocument/2006/relationships/image" Target="../media/image1292.png"/><Relationship Id="rId167" Type="http://schemas.openxmlformats.org/officeDocument/2006/relationships/image" Target="../media/image1313.svg"/><Relationship Id="rId188" Type="http://schemas.openxmlformats.org/officeDocument/2006/relationships/image" Target="../media/image1334.png"/><Relationship Id="rId71" Type="http://schemas.openxmlformats.org/officeDocument/2006/relationships/image" Target="../media/image1217.svg"/><Relationship Id="rId92" Type="http://schemas.openxmlformats.org/officeDocument/2006/relationships/image" Target="../media/image1238.png"/><Relationship Id="rId213" Type="http://schemas.openxmlformats.org/officeDocument/2006/relationships/image" Target="../media/image1359.svg"/><Relationship Id="rId2" Type="http://schemas.openxmlformats.org/officeDocument/2006/relationships/image" Target="../media/image1148.png"/><Relationship Id="rId29" Type="http://schemas.openxmlformats.org/officeDocument/2006/relationships/image" Target="../media/image1175.svg"/><Relationship Id="rId40" Type="http://schemas.openxmlformats.org/officeDocument/2006/relationships/image" Target="../media/image1186.png"/><Relationship Id="rId115" Type="http://schemas.openxmlformats.org/officeDocument/2006/relationships/image" Target="../media/image1261.svg"/><Relationship Id="rId136" Type="http://schemas.openxmlformats.org/officeDocument/2006/relationships/image" Target="../media/image1282.png"/><Relationship Id="rId157" Type="http://schemas.openxmlformats.org/officeDocument/2006/relationships/image" Target="../media/image1303.svg"/><Relationship Id="rId178" Type="http://schemas.openxmlformats.org/officeDocument/2006/relationships/image" Target="../media/image1324.png"/><Relationship Id="rId61" Type="http://schemas.openxmlformats.org/officeDocument/2006/relationships/image" Target="../media/image1207.svg"/><Relationship Id="rId82" Type="http://schemas.openxmlformats.org/officeDocument/2006/relationships/image" Target="../media/image1228.png"/><Relationship Id="rId199" Type="http://schemas.openxmlformats.org/officeDocument/2006/relationships/image" Target="../media/image1345.svg"/><Relationship Id="rId203" Type="http://schemas.openxmlformats.org/officeDocument/2006/relationships/image" Target="../media/image1349.svg"/><Relationship Id="rId19" Type="http://schemas.openxmlformats.org/officeDocument/2006/relationships/image" Target="../media/image1165.svg"/><Relationship Id="rId224" Type="http://schemas.openxmlformats.org/officeDocument/2006/relationships/image" Target="../media/image1370.png"/><Relationship Id="rId30" Type="http://schemas.openxmlformats.org/officeDocument/2006/relationships/image" Target="../media/image1176.png"/><Relationship Id="rId105" Type="http://schemas.openxmlformats.org/officeDocument/2006/relationships/image" Target="../media/image1251.svg"/><Relationship Id="rId126" Type="http://schemas.openxmlformats.org/officeDocument/2006/relationships/image" Target="../media/image1272.png"/><Relationship Id="rId147" Type="http://schemas.openxmlformats.org/officeDocument/2006/relationships/image" Target="../media/image1293.svg"/><Relationship Id="rId168" Type="http://schemas.openxmlformats.org/officeDocument/2006/relationships/image" Target="../media/image1314.png"/><Relationship Id="rId51" Type="http://schemas.openxmlformats.org/officeDocument/2006/relationships/image" Target="../media/image1197.svg"/><Relationship Id="rId72" Type="http://schemas.openxmlformats.org/officeDocument/2006/relationships/image" Target="../media/image1218.png"/><Relationship Id="rId93" Type="http://schemas.openxmlformats.org/officeDocument/2006/relationships/image" Target="../media/image1239.svg"/><Relationship Id="rId189" Type="http://schemas.openxmlformats.org/officeDocument/2006/relationships/image" Target="../media/image1335.svg"/></Relationships>
</file>

<file path=ppt/slides/_rels/slide82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1487.svg"/><Relationship Id="rId21" Type="http://schemas.openxmlformats.org/officeDocument/2006/relationships/image" Target="../media/image1391.svg"/><Relationship Id="rId42" Type="http://schemas.openxmlformats.org/officeDocument/2006/relationships/image" Target="../media/image1412.png"/><Relationship Id="rId63" Type="http://schemas.openxmlformats.org/officeDocument/2006/relationships/image" Target="../media/image1433.svg"/><Relationship Id="rId84" Type="http://schemas.openxmlformats.org/officeDocument/2006/relationships/image" Target="../media/image1454.png"/><Relationship Id="rId138" Type="http://schemas.openxmlformats.org/officeDocument/2006/relationships/image" Target="../media/image1508.png"/><Relationship Id="rId159" Type="http://schemas.openxmlformats.org/officeDocument/2006/relationships/image" Target="../media/image1529.svg"/><Relationship Id="rId170" Type="http://schemas.openxmlformats.org/officeDocument/2006/relationships/image" Target="../media/image1224.png"/><Relationship Id="rId191" Type="http://schemas.openxmlformats.org/officeDocument/2006/relationships/image" Target="../media/image1555.svg"/><Relationship Id="rId205" Type="http://schemas.openxmlformats.org/officeDocument/2006/relationships/image" Target="../media/image1569.svg"/><Relationship Id="rId107" Type="http://schemas.openxmlformats.org/officeDocument/2006/relationships/image" Target="../media/image1477.svg"/><Relationship Id="rId11" Type="http://schemas.openxmlformats.org/officeDocument/2006/relationships/image" Target="../media/image1381.svg"/><Relationship Id="rId32" Type="http://schemas.openxmlformats.org/officeDocument/2006/relationships/image" Target="../media/image1402.png"/><Relationship Id="rId53" Type="http://schemas.openxmlformats.org/officeDocument/2006/relationships/image" Target="../media/image1423.svg"/><Relationship Id="rId74" Type="http://schemas.openxmlformats.org/officeDocument/2006/relationships/image" Target="../media/image1444.png"/><Relationship Id="rId128" Type="http://schemas.openxmlformats.org/officeDocument/2006/relationships/image" Target="../media/image1498.png"/><Relationship Id="rId149" Type="http://schemas.openxmlformats.org/officeDocument/2006/relationships/image" Target="../media/image1519.svg"/><Relationship Id="rId5" Type="http://schemas.openxmlformats.org/officeDocument/2006/relationships/image" Target="../media/image1375.svg"/><Relationship Id="rId95" Type="http://schemas.openxmlformats.org/officeDocument/2006/relationships/image" Target="../media/image1465.svg"/><Relationship Id="rId160" Type="http://schemas.openxmlformats.org/officeDocument/2006/relationships/image" Target="../media/image1530.png"/><Relationship Id="rId181" Type="http://schemas.openxmlformats.org/officeDocument/2006/relationships/image" Target="../media/image1547.svg"/><Relationship Id="rId216" Type="http://schemas.openxmlformats.org/officeDocument/2006/relationships/image" Target="../media/image1580.png"/><Relationship Id="rId22" Type="http://schemas.openxmlformats.org/officeDocument/2006/relationships/image" Target="../media/image1392.png"/><Relationship Id="rId43" Type="http://schemas.openxmlformats.org/officeDocument/2006/relationships/image" Target="../media/image1413.svg"/><Relationship Id="rId64" Type="http://schemas.openxmlformats.org/officeDocument/2006/relationships/image" Target="../media/image1434.png"/><Relationship Id="rId118" Type="http://schemas.openxmlformats.org/officeDocument/2006/relationships/image" Target="../media/image1488.png"/><Relationship Id="rId139" Type="http://schemas.openxmlformats.org/officeDocument/2006/relationships/image" Target="../media/image1509.svg"/><Relationship Id="rId85" Type="http://schemas.openxmlformats.org/officeDocument/2006/relationships/image" Target="../media/image1455.svg"/><Relationship Id="rId150" Type="http://schemas.openxmlformats.org/officeDocument/2006/relationships/image" Target="../media/image1520.png"/><Relationship Id="rId171" Type="http://schemas.openxmlformats.org/officeDocument/2006/relationships/image" Target="../media/image1225.svg"/><Relationship Id="rId192" Type="http://schemas.openxmlformats.org/officeDocument/2006/relationships/image" Target="../media/image1556.png"/><Relationship Id="rId206" Type="http://schemas.openxmlformats.org/officeDocument/2006/relationships/image" Target="../media/image1570.png"/><Relationship Id="rId12" Type="http://schemas.openxmlformats.org/officeDocument/2006/relationships/image" Target="../media/image1382.png"/><Relationship Id="rId33" Type="http://schemas.openxmlformats.org/officeDocument/2006/relationships/image" Target="../media/image1403.svg"/><Relationship Id="rId108" Type="http://schemas.openxmlformats.org/officeDocument/2006/relationships/image" Target="../media/image1478.png"/><Relationship Id="rId129" Type="http://schemas.openxmlformats.org/officeDocument/2006/relationships/image" Target="../media/image1499.svg"/><Relationship Id="rId54" Type="http://schemas.openxmlformats.org/officeDocument/2006/relationships/image" Target="../media/image1424.png"/><Relationship Id="rId75" Type="http://schemas.openxmlformats.org/officeDocument/2006/relationships/image" Target="../media/image1445.svg"/><Relationship Id="rId96" Type="http://schemas.openxmlformats.org/officeDocument/2006/relationships/image" Target="../media/image1466.png"/><Relationship Id="rId140" Type="http://schemas.openxmlformats.org/officeDocument/2006/relationships/image" Target="../media/image1510.png"/><Relationship Id="rId161" Type="http://schemas.openxmlformats.org/officeDocument/2006/relationships/image" Target="../media/image1531.svg"/><Relationship Id="rId182" Type="http://schemas.openxmlformats.org/officeDocument/2006/relationships/image" Target="../media/image1548.png"/><Relationship Id="rId217" Type="http://schemas.openxmlformats.org/officeDocument/2006/relationships/image" Target="../media/image1581.svg"/><Relationship Id="rId6" Type="http://schemas.openxmlformats.org/officeDocument/2006/relationships/image" Target="../media/image1376.png"/><Relationship Id="rId23" Type="http://schemas.openxmlformats.org/officeDocument/2006/relationships/image" Target="../media/image1393.svg"/><Relationship Id="rId119" Type="http://schemas.openxmlformats.org/officeDocument/2006/relationships/image" Target="../media/image1489.svg"/><Relationship Id="rId44" Type="http://schemas.openxmlformats.org/officeDocument/2006/relationships/image" Target="../media/image1414.png"/><Relationship Id="rId65" Type="http://schemas.openxmlformats.org/officeDocument/2006/relationships/image" Target="../media/image1435.svg"/><Relationship Id="rId86" Type="http://schemas.openxmlformats.org/officeDocument/2006/relationships/image" Target="../media/image1456.png"/><Relationship Id="rId130" Type="http://schemas.openxmlformats.org/officeDocument/2006/relationships/image" Target="../media/image1500.png"/><Relationship Id="rId151" Type="http://schemas.openxmlformats.org/officeDocument/2006/relationships/image" Target="../media/image1521.svg"/><Relationship Id="rId172" Type="http://schemas.openxmlformats.org/officeDocument/2006/relationships/image" Target="../media/image1540.png"/><Relationship Id="rId193" Type="http://schemas.openxmlformats.org/officeDocument/2006/relationships/image" Target="../media/image1557.svg"/><Relationship Id="rId207" Type="http://schemas.openxmlformats.org/officeDocument/2006/relationships/image" Target="../media/image1571.svg"/><Relationship Id="rId13" Type="http://schemas.openxmlformats.org/officeDocument/2006/relationships/image" Target="../media/image1383.svg"/><Relationship Id="rId109" Type="http://schemas.openxmlformats.org/officeDocument/2006/relationships/image" Target="../media/image1479.svg"/><Relationship Id="rId34" Type="http://schemas.openxmlformats.org/officeDocument/2006/relationships/image" Target="../media/image1404.png"/><Relationship Id="rId55" Type="http://schemas.openxmlformats.org/officeDocument/2006/relationships/image" Target="../media/image1425.svg"/><Relationship Id="rId76" Type="http://schemas.openxmlformats.org/officeDocument/2006/relationships/image" Target="../media/image1446.png"/><Relationship Id="rId97" Type="http://schemas.openxmlformats.org/officeDocument/2006/relationships/image" Target="../media/image1467.svg"/><Relationship Id="rId120" Type="http://schemas.openxmlformats.org/officeDocument/2006/relationships/image" Target="../media/image1490.png"/><Relationship Id="rId141" Type="http://schemas.openxmlformats.org/officeDocument/2006/relationships/image" Target="../media/image1511.svg"/><Relationship Id="rId7" Type="http://schemas.openxmlformats.org/officeDocument/2006/relationships/image" Target="../media/image1377.svg"/><Relationship Id="rId162" Type="http://schemas.openxmlformats.org/officeDocument/2006/relationships/image" Target="../media/image1532.png"/><Relationship Id="rId183" Type="http://schemas.openxmlformats.org/officeDocument/2006/relationships/image" Target="../media/image1549.svg"/><Relationship Id="rId218" Type="http://schemas.openxmlformats.org/officeDocument/2006/relationships/image" Target="../media/image1582.png"/><Relationship Id="rId24" Type="http://schemas.openxmlformats.org/officeDocument/2006/relationships/image" Target="../media/image1394.png"/><Relationship Id="rId45" Type="http://schemas.openxmlformats.org/officeDocument/2006/relationships/image" Target="../media/image1415.svg"/><Relationship Id="rId66" Type="http://schemas.openxmlformats.org/officeDocument/2006/relationships/image" Target="../media/image1436.png"/><Relationship Id="rId87" Type="http://schemas.openxmlformats.org/officeDocument/2006/relationships/image" Target="../media/image1457.svg"/><Relationship Id="rId110" Type="http://schemas.openxmlformats.org/officeDocument/2006/relationships/image" Target="../media/image1480.png"/><Relationship Id="rId131" Type="http://schemas.openxmlformats.org/officeDocument/2006/relationships/image" Target="../media/image1501.svg"/><Relationship Id="rId152" Type="http://schemas.openxmlformats.org/officeDocument/2006/relationships/image" Target="../media/image1522.png"/><Relationship Id="rId173" Type="http://schemas.openxmlformats.org/officeDocument/2006/relationships/image" Target="../media/image1541.svg"/><Relationship Id="rId194" Type="http://schemas.openxmlformats.org/officeDocument/2006/relationships/image" Target="../media/image1558.png"/><Relationship Id="rId208" Type="http://schemas.openxmlformats.org/officeDocument/2006/relationships/image" Target="../media/image1572.png"/><Relationship Id="rId14" Type="http://schemas.openxmlformats.org/officeDocument/2006/relationships/image" Target="../media/image1384.png"/><Relationship Id="rId35" Type="http://schemas.openxmlformats.org/officeDocument/2006/relationships/image" Target="../media/image1405.svg"/><Relationship Id="rId56" Type="http://schemas.openxmlformats.org/officeDocument/2006/relationships/image" Target="../media/image1426.png"/><Relationship Id="rId77" Type="http://schemas.openxmlformats.org/officeDocument/2006/relationships/image" Target="../media/image1447.svg"/><Relationship Id="rId100" Type="http://schemas.openxmlformats.org/officeDocument/2006/relationships/image" Target="../media/image1470.png"/><Relationship Id="rId8" Type="http://schemas.openxmlformats.org/officeDocument/2006/relationships/image" Target="../media/image1378.png"/><Relationship Id="rId98" Type="http://schemas.openxmlformats.org/officeDocument/2006/relationships/image" Target="../media/image1468.png"/><Relationship Id="rId121" Type="http://schemas.openxmlformats.org/officeDocument/2006/relationships/image" Target="../media/image1491.svg"/><Relationship Id="rId142" Type="http://schemas.openxmlformats.org/officeDocument/2006/relationships/image" Target="../media/image1512.png"/><Relationship Id="rId163" Type="http://schemas.openxmlformats.org/officeDocument/2006/relationships/image" Target="../media/image1533.svg"/><Relationship Id="rId184" Type="http://schemas.openxmlformats.org/officeDocument/2006/relationships/image" Target="../media/image1550.png"/><Relationship Id="rId219" Type="http://schemas.openxmlformats.org/officeDocument/2006/relationships/image" Target="../media/image1583.svg"/><Relationship Id="rId3" Type="http://schemas.openxmlformats.org/officeDocument/2006/relationships/image" Target="../media/image1373.svg"/><Relationship Id="rId214" Type="http://schemas.openxmlformats.org/officeDocument/2006/relationships/image" Target="../media/image1578.png"/><Relationship Id="rId25" Type="http://schemas.openxmlformats.org/officeDocument/2006/relationships/image" Target="../media/image1395.svg"/><Relationship Id="rId46" Type="http://schemas.openxmlformats.org/officeDocument/2006/relationships/image" Target="../media/image1416.png"/><Relationship Id="rId67" Type="http://schemas.openxmlformats.org/officeDocument/2006/relationships/image" Target="../media/image1437.svg"/><Relationship Id="rId116" Type="http://schemas.openxmlformats.org/officeDocument/2006/relationships/image" Target="../media/image1486.png"/><Relationship Id="rId137" Type="http://schemas.openxmlformats.org/officeDocument/2006/relationships/image" Target="../media/image1507.svg"/><Relationship Id="rId158" Type="http://schemas.openxmlformats.org/officeDocument/2006/relationships/image" Target="../media/image1528.png"/><Relationship Id="rId20" Type="http://schemas.openxmlformats.org/officeDocument/2006/relationships/image" Target="../media/image1390.png"/><Relationship Id="rId41" Type="http://schemas.openxmlformats.org/officeDocument/2006/relationships/image" Target="../media/image1411.svg"/><Relationship Id="rId62" Type="http://schemas.openxmlformats.org/officeDocument/2006/relationships/image" Target="../media/image1432.png"/><Relationship Id="rId83" Type="http://schemas.openxmlformats.org/officeDocument/2006/relationships/image" Target="../media/image1453.svg"/><Relationship Id="rId88" Type="http://schemas.openxmlformats.org/officeDocument/2006/relationships/image" Target="../media/image1458.png"/><Relationship Id="rId111" Type="http://schemas.openxmlformats.org/officeDocument/2006/relationships/image" Target="../media/image1481.svg"/><Relationship Id="rId132" Type="http://schemas.openxmlformats.org/officeDocument/2006/relationships/image" Target="../media/image1502.png"/><Relationship Id="rId153" Type="http://schemas.openxmlformats.org/officeDocument/2006/relationships/image" Target="../media/image1523.svg"/><Relationship Id="rId174" Type="http://schemas.openxmlformats.org/officeDocument/2006/relationships/image" Target="../media/image1542.png"/><Relationship Id="rId179" Type="http://schemas.openxmlformats.org/officeDocument/2006/relationships/image" Target="../media/image1281.svg"/><Relationship Id="rId195" Type="http://schemas.openxmlformats.org/officeDocument/2006/relationships/image" Target="../media/image1559.svg"/><Relationship Id="rId209" Type="http://schemas.openxmlformats.org/officeDocument/2006/relationships/image" Target="../media/image1573.svg"/><Relationship Id="rId190" Type="http://schemas.openxmlformats.org/officeDocument/2006/relationships/image" Target="../media/image1554.png"/><Relationship Id="rId204" Type="http://schemas.openxmlformats.org/officeDocument/2006/relationships/image" Target="../media/image1568.png"/><Relationship Id="rId220" Type="http://schemas.openxmlformats.org/officeDocument/2006/relationships/image" Target="../media/image1584.png"/><Relationship Id="rId225" Type="http://schemas.openxmlformats.org/officeDocument/2006/relationships/image" Target="../media/image1589.svg"/><Relationship Id="rId15" Type="http://schemas.openxmlformats.org/officeDocument/2006/relationships/image" Target="../media/image1385.svg"/><Relationship Id="rId36" Type="http://schemas.openxmlformats.org/officeDocument/2006/relationships/image" Target="../media/image1406.png"/><Relationship Id="rId57" Type="http://schemas.openxmlformats.org/officeDocument/2006/relationships/image" Target="../media/image1427.svg"/><Relationship Id="rId106" Type="http://schemas.openxmlformats.org/officeDocument/2006/relationships/image" Target="../media/image1476.png"/><Relationship Id="rId127" Type="http://schemas.openxmlformats.org/officeDocument/2006/relationships/image" Target="../media/image1497.svg"/><Relationship Id="rId10" Type="http://schemas.openxmlformats.org/officeDocument/2006/relationships/image" Target="../media/image1380.png"/><Relationship Id="rId31" Type="http://schemas.openxmlformats.org/officeDocument/2006/relationships/image" Target="../media/image1401.svg"/><Relationship Id="rId52" Type="http://schemas.openxmlformats.org/officeDocument/2006/relationships/image" Target="../media/image1422.png"/><Relationship Id="rId73" Type="http://schemas.openxmlformats.org/officeDocument/2006/relationships/image" Target="../media/image1443.svg"/><Relationship Id="rId78" Type="http://schemas.openxmlformats.org/officeDocument/2006/relationships/image" Target="../media/image1448.png"/><Relationship Id="rId94" Type="http://schemas.openxmlformats.org/officeDocument/2006/relationships/image" Target="../media/image1464.png"/><Relationship Id="rId99" Type="http://schemas.openxmlformats.org/officeDocument/2006/relationships/image" Target="../media/image1469.svg"/><Relationship Id="rId101" Type="http://schemas.openxmlformats.org/officeDocument/2006/relationships/image" Target="../media/image1471.svg"/><Relationship Id="rId122" Type="http://schemas.openxmlformats.org/officeDocument/2006/relationships/image" Target="../media/image1492.png"/><Relationship Id="rId143" Type="http://schemas.openxmlformats.org/officeDocument/2006/relationships/image" Target="../media/image1513.svg"/><Relationship Id="rId148" Type="http://schemas.openxmlformats.org/officeDocument/2006/relationships/image" Target="../media/image1518.png"/><Relationship Id="rId164" Type="http://schemas.openxmlformats.org/officeDocument/2006/relationships/image" Target="../media/image1534.png"/><Relationship Id="rId169" Type="http://schemas.openxmlformats.org/officeDocument/2006/relationships/image" Target="../media/image1539.svg"/><Relationship Id="rId185" Type="http://schemas.openxmlformats.org/officeDocument/2006/relationships/image" Target="../media/image1551.svg"/><Relationship Id="rId4" Type="http://schemas.openxmlformats.org/officeDocument/2006/relationships/image" Target="../media/image1374.png"/><Relationship Id="rId9" Type="http://schemas.openxmlformats.org/officeDocument/2006/relationships/image" Target="../media/image1379.svg"/><Relationship Id="rId180" Type="http://schemas.openxmlformats.org/officeDocument/2006/relationships/image" Target="../media/image1546.png"/><Relationship Id="rId210" Type="http://schemas.openxmlformats.org/officeDocument/2006/relationships/image" Target="../media/image1574.png"/><Relationship Id="rId215" Type="http://schemas.openxmlformats.org/officeDocument/2006/relationships/image" Target="../media/image1579.svg"/><Relationship Id="rId26" Type="http://schemas.openxmlformats.org/officeDocument/2006/relationships/image" Target="../media/image1396.png"/><Relationship Id="rId47" Type="http://schemas.openxmlformats.org/officeDocument/2006/relationships/image" Target="../media/image1417.svg"/><Relationship Id="rId68" Type="http://schemas.openxmlformats.org/officeDocument/2006/relationships/image" Target="../media/image1438.png"/><Relationship Id="rId89" Type="http://schemas.openxmlformats.org/officeDocument/2006/relationships/image" Target="../media/image1459.svg"/><Relationship Id="rId112" Type="http://schemas.openxmlformats.org/officeDocument/2006/relationships/image" Target="../media/image1482.png"/><Relationship Id="rId133" Type="http://schemas.openxmlformats.org/officeDocument/2006/relationships/image" Target="../media/image1503.svg"/><Relationship Id="rId154" Type="http://schemas.openxmlformats.org/officeDocument/2006/relationships/image" Target="../media/image1524.png"/><Relationship Id="rId175" Type="http://schemas.openxmlformats.org/officeDocument/2006/relationships/image" Target="../media/image1543.svg"/><Relationship Id="rId196" Type="http://schemas.openxmlformats.org/officeDocument/2006/relationships/image" Target="../media/image1560.png"/><Relationship Id="rId200" Type="http://schemas.openxmlformats.org/officeDocument/2006/relationships/image" Target="../media/image1564.png"/><Relationship Id="rId16" Type="http://schemas.openxmlformats.org/officeDocument/2006/relationships/image" Target="../media/image1386.png"/><Relationship Id="rId221" Type="http://schemas.openxmlformats.org/officeDocument/2006/relationships/image" Target="../media/image1585.svg"/><Relationship Id="rId37" Type="http://schemas.openxmlformats.org/officeDocument/2006/relationships/image" Target="../media/image1407.svg"/><Relationship Id="rId58" Type="http://schemas.openxmlformats.org/officeDocument/2006/relationships/image" Target="../media/image1428.png"/><Relationship Id="rId79" Type="http://schemas.openxmlformats.org/officeDocument/2006/relationships/image" Target="../media/image1449.svg"/><Relationship Id="rId102" Type="http://schemas.openxmlformats.org/officeDocument/2006/relationships/image" Target="../media/image1472.png"/><Relationship Id="rId123" Type="http://schemas.openxmlformats.org/officeDocument/2006/relationships/image" Target="../media/image1493.svg"/><Relationship Id="rId144" Type="http://schemas.openxmlformats.org/officeDocument/2006/relationships/image" Target="../media/image1514.png"/><Relationship Id="rId90" Type="http://schemas.openxmlformats.org/officeDocument/2006/relationships/image" Target="../media/image1460.png"/><Relationship Id="rId165" Type="http://schemas.openxmlformats.org/officeDocument/2006/relationships/image" Target="../media/image1535.svg"/><Relationship Id="rId186" Type="http://schemas.openxmlformats.org/officeDocument/2006/relationships/image" Target="../media/image1336.png"/><Relationship Id="rId211" Type="http://schemas.openxmlformats.org/officeDocument/2006/relationships/image" Target="../media/image1575.svg"/><Relationship Id="rId27" Type="http://schemas.openxmlformats.org/officeDocument/2006/relationships/image" Target="../media/image1397.svg"/><Relationship Id="rId48" Type="http://schemas.openxmlformats.org/officeDocument/2006/relationships/image" Target="../media/image1418.png"/><Relationship Id="rId69" Type="http://schemas.openxmlformats.org/officeDocument/2006/relationships/image" Target="../media/image1439.svg"/><Relationship Id="rId113" Type="http://schemas.openxmlformats.org/officeDocument/2006/relationships/image" Target="../media/image1483.svg"/><Relationship Id="rId134" Type="http://schemas.openxmlformats.org/officeDocument/2006/relationships/image" Target="../media/image1504.png"/><Relationship Id="rId80" Type="http://schemas.openxmlformats.org/officeDocument/2006/relationships/image" Target="../media/image1450.png"/><Relationship Id="rId155" Type="http://schemas.openxmlformats.org/officeDocument/2006/relationships/image" Target="../media/image1525.svg"/><Relationship Id="rId176" Type="http://schemas.openxmlformats.org/officeDocument/2006/relationships/image" Target="../media/image1544.png"/><Relationship Id="rId197" Type="http://schemas.openxmlformats.org/officeDocument/2006/relationships/image" Target="../media/image1561.svg"/><Relationship Id="rId201" Type="http://schemas.openxmlformats.org/officeDocument/2006/relationships/image" Target="../media/image1565.svg"/><Relationship Id="rId222" Type="http://schemas.openxmlformats.org/officeDocument/2006/relationships/image" Target="../media/image1586.png"/><Relationship Id="rId17" Type="http://schemas.openxmlformats.org/officeDocument/2006/relationships/image" Target="../media/image1387.svg"/><Relationship Id="rId38" Type="http://schemas.openxmlformats.org/officeDocument/2006/relationships/image" Target="../media/image1408.png"/><Relationship Id="rId59" Type="http://schemas.openxmlformats.org/officeDocument/2006/relationships/image" Target="../media/image1429.svg"/><Relationship Id="rId103" Type="http://schemas.openxmlformats.org/officeDocument/2006/relationships/image" Target="../media/image1473.svg"/><Relationship Id="rId124" Type="http://schemas.openxmlformats.org/officeDocument/2006/relationships/image" Target="../media/image1494.png"/><Relationship Id="rId70" Type="http://schemas.openxmlformats.org/officeDocument/2006/relationships/image" Target="../media/image1440.png"/><Relationship Id="rId91" Type="http://schemas.openxmlformats.org/officeDocument/2006/relationships/image" Target="../media/image1461.svg"/><Relationship Id="rId145" Type="http://schemas.openxmlformats.org/officeDocument/2006/relationships/image" Target="../media/image1515.svg"/><Relationship Id="rId166" Type="http://schemas.openxmlformats.org/officeDocument/2006/relationships/image" Target="../media/image1536.png"/><Relationship Id="rId187" Type="http://schemas.openxmlformats.org/officeDocument/2006/relationships/image" Target="../media/image1337.svg"/><Relationship Id="rId1" Type="http://schemas.openxmlformats.org/officeDocument/2006/relationships/slideLayout" Target="../slideLayouts/slideLayout5.xml"/><Relationship Id="rId212" Type="http://schemas.openxmlformats.org/officeDocument/2006/relationships/image" Target="../media/image1576.png"/><Relationship Id="rId28" Type="http://schemas.openxmlformats.org/officeDocument/2006/relationships/image" Target="../media/image1398.png"/><Relationship Id="rId49" Type="http://schemas.openxmlformats.org/officeDocument/2006/relationships/image" Target="../media/image1419.svg"/><Relationship Id="rId114" Type="http://schemas.openxmlformats.org/officeDocument/2006/relationships/image" Target="../media/image1484.png"/><Relationship Id="rId60" Type="http://schemas.openxmlformats.org/officeDocument/2006/relationships/image" Target="../media/image1430.png"/><Relationship Id="rId81" Type="http://schemas.openxmlformats.org/officeDocument/2006/relationships/image" Target="../media/image1451.svg"/><Relationship Id="rId135" Type="http://schemas.openxmlformats.org/officeDocument/2006/relationships/image" Target="../media/image1505.svg"/><Relationship Id="rId156" Type="http://schemas.openxmlformats.org/officeDocument/2006/relationships/image" Target="../media/image1526.png"/><Relationship Id="rId177" Type="http://schemas.openxmlformats.org/officeDocument/2006/relationships/image" Target="../media/image1545.svg"/><Relationship Id="rId198" Type="http://schemas.openxmlformats.org/officeDocument/2006/relationships/image" Target="../media/image1562.png"/><Relationship Id="rId202" Type="http://schemas.openxmlformats.org/officeDocument/2006/relationships/image" Target="../media/image1566.png"/><Relationship Id="rId223" Type="http://schemas.openxmlformats.org/officeDocument/2006/relationships/image" Target="../media/image1587.svg"/><Relationship Id="rId18" Type="http://schemas.openxmlformats.org/officeDocument/2006/relationships/image" Target="../media/image1388.png"/><Relationship Id="rId39" Type="http://schemas.openxmlformats.org/officeDocument/2006/relationships/image" Target="../media/image1409.svg"/><Relationship Id="rId50" Type="http://schemas.openxmlformats.org/officeDocument/2006/relationships/image" Target="../media/image1420.png"/><Relationship Id="rId104" Type="http://schemas.openxmlformats.org/officeDocument/2006/relationships/image" Target="../media/image1474.png"/><Relationship Id="rId125" Type="http://schemas.openxmlformats.org/officeDocument/2006/relationships/image" Target="../media/image1495.svg"/><Relationship Id="rId146" Type="http://schemas.openxmlformats.org/officeDocument/2006/relationships/image" Target="../media/image1516.png"/><Relationship Id="rId167" Type="http://schemas.openxmlformats.org/officeDocument/2006/relationships/image" Target="../media/image1537.svg"/><Relationship Id="rId188" Type="http://schemas.openxmlformats.org/officeDocument/2006/relationships/image" Target="../media/image1552.png"/><Relationship Id="rId71" Type="http://schemas.openxmlformats.org/officeDocument/2006/relationships/image" Target="../media/image1441.svg"/><Relationship Id="rId92" Type="http://schemas.openxmlformats.org/officeDocument/2006/relationships/image" Target="../media/image1462.png"/><Relationship Id="rId213" Type="http://schemas.openxmlformats.org/officeDocument/2006/relationships/image" Target="../media/image1577.svg"/><Relationship Id="rId2" Type="http://schemas.openxmlformats.org/officeDocument/2006/relationships/image" Target="../media/image1372.png"/><Relationship Id="rId29" Type="http://schemas.openxmlformats.org/officeDocument/2006/relationships/image" Target="../media/image1399.svg"/><Relationship Id="rId40" Type="http://schemas.openxmlformats.org/officeDocument/2006/relationships/image" Target="../media/image1410.png"/><Relationship Id="rId115" Type="http://schemas.openxmlformats.org/officeDocument/2006/relationships/image" Target="../media/image1485.svg"/><Relationship Id="rId136" Type="http://schemas.openxmlformats.org/officeDocument/2006/relationships/image" Target="../media/image1506.png"/><Relationship Id="rId157" Type="http://schemas.openxmlformats.org/officeDocument/2006/relationships/image" Target="../media/image1527.svg"/><Relationship Id="rId178" Type="http://schemas.openxmlformats.org/officeDocument/2006/relationships/image" Target="../media/image1280.png"/><Relationship Id="rId61" Type="http://schemas.openxmlformats.org/officeDocument/2006/relationships/image" Target="../media/image1431.svg"/><Relationship Id="rId82" Type="http://schemas.openxmlformats.org/officeDocument/2006/relationships/image" Target="../media/image1452.png"/><Relationship Id="rId199" Type="http://schemas.openxmlformats.org/officeDocument/2006/relationships/image" Target="../media/image1563.svg"/><Relationship Id="rId203" Type="http://schemas.openxmlformats.org/officeDocument/2006/relationships/image" Target="../media/image1567.svg"/><Relationship Id="rId19" Type="http://schemas.openxmlformats.org/officeDocument/2006/relationships/image" Target="../media/image1389.svg"/><Relationship Id="rId224" Type="http://schemas.openxmlformats.org/officeDocument/2006/relationships/image" Target="../media/image1588.png"/><Relationship Id="rId30" Type="http://schemas.openxmlformats.org/officeDocument/2006/relationships/image" Target="../media/image1400.png"/><Relationship Id="rId105" Type="http://schemas.openxmlformats.org/officeDocument/2006/relationships/image" Target="../media/image1475.svg"/><Relationship Id="rId126" Type="http://schemas.openxmlformats.org/officeDocument/2006/relationships/image" Target="../media/image1496.png"/><Relationship Id="rId147" Type="http://schemas.openxmlformats.org/officeDocument/2006/relationships/image" Target="../media/image1517.svg"/><Relationship Id="rId168" Type="http://schemas.openxmlformats.org/officeDocument/2006/relationships/image" Target="../media/image1538.png"/><Relationship Id="rId51" Type="http://schemas.openxmlformats.org/officeDocument/2006/relationships/image" Target="../media/image1421.svg"/><Relationship Id="rId72" Type="http://schemas.openxmlformats.org/officeDocument/2006/relationships/image" Target="../media/image1442.png"/><Relationship Id="rId93" Type="http://schemas.openxmlformats.org/officeDocument/2006/relationships/image" Target="../media/image1463.svg"/><Relationship Id="rId189" Type="http://schemas.openxmlformats.org/officeDocument/2006/relationships/image" Target="../media/image1553.svg"/></Relationships>
</file>

<file path=ppt/slides/_rels/slide83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1705.svg"/><Relationship Id="rId21" Type="http://schemas.openxmlformats.org/officeDocument/2006/relationships/image" Target="../media/image1609.svg"/><Relationship Id="rId42" Type="http://schemas.openxmlformats.org/officeDocument/2006/relationships/image" Target="../media/image1630.png"/><Relationship Id="rId63" Type="http://schemas.openxmlformats.org/officeDocument/2006/relationships/image" Target="../media/image1651.svg"/><Relationship Id="rId84" Type="http://schemas.openxmlformats.org/officeDocument/2006/relationships/image" Target="../media/image1672.png"/><Relationship Id="rId138" Type="http://schemas.openxmlformats.org/officeDocument/2006/relationships/image" Target="../media/image1726.png"/><Relationship Id="rId159" Type="http://schemas.openxmlformats.org/officeDocument/2006/relationships/image" Target="../media/image1747.svg"/><Relationship Id="rId170" Type="http://schemas.openxmlformats.org/officeDocument/2006/relationships/image" Target="../media/image1758.png"/><Relationship Id="rId191" Type="http://schemas.openxmlformats.org/officeDocument/2006/relationships/image" Target="../media/image1779.svg"/><Relationship Id="rId205" Type="http://schemas.openxmlformats.org/officeDocument/2006/relationships/image" Target="../media/image1793.svg"/><Relationship Id="rId107" Type="http://schemas.openxmlformats.org/officeDocument/2006/relationships/image" Target="../media/image1695.svg"/><Relationship Id="rId11" Type="http://schemas.openxmlformats.org/officeDocument/2006/relationships/image" Target="../media/image1599.svg"/><Relationship Id="rId32" Type="http://schemas.openxmlformats.org/officeDocument/2006/relationships/image" Target="../media/image1620.png"/><Relationship Id="rId53" Type="http://schemas.openxmlformats.org/officeDocument/2006/relationships/image" Target="../media/image1641.svg"/><Relationship Id="rId74" Type="http://schemas.openxmlformats.org/officeDocument/2006/relationships/image" Target="../media/image1662.png"/><Relationship Id="rId128" Type="http://schemas.openxmlformats.org/officeDocument/2006/relationships/image" Target="../media/image1716.png"/><Relationship Id="rId149" Type="http://schemas.openxmlformats.org/officeDocument/2006/relationships/image" Target="../media/image1737.svg"/><Relationship Id="rId5" Type="http://schemas.openxmlformats.org/officeDocument/2006/relationships/image" Target="../media/image1593.svg"/><Relationship Id="rId95" Type="http://schemas.openxmlformats.org/officeDocument/2006/relationships/image" Target="../media/image1683.svg"/><Relationship Id="rId160" Type="http://schemas.openxmlformats.org/officeDocument/2006/relationships/image" Target="../media/image1748.png"/><Relationship Id="rId181" Type="http://schemas.openxmlformats.org/officeDocument/2006/relationships/image" Target="../media/image1769.svg"/><Relationship Id="rId216" Type="http://schemas.openxmlformats.org/officeDocument/2006/relationships/image" Target="../media/image1804.png"/><Relationship Id="rId22" Type="http://schemas.openxmlformats.org/officeDocument/2006/relationships/image" Target="../media/image1610.png"/><Relationship Id="rId43" Type="http://schemas.openxmlformats.org/officeDocument/2006/relationships/image" Target="../media/image1631.svg"/><Relationship Id="rId64" Type="http://schemas.openxmlformats.org/officeDocument/2006/relationships/image" Target="../media/image1652.png"/><Relationship Id="rId118" Type="http://schemas.openxmlformats.org/officeDocument/2006/relationships/image" Target="../media/image1706.png"/><Relationship Id="rId139" Type="http://schemas.openxmlformats.org/officeDocument/2006/relationships/image" Target="../media/image1727.svg"/><Relationship Id="rId85" Type="http://schemas.openxmlformats.org/officeDocument/2006/relationships/image" Target="../media/image1673.svg"/><Relationship Id="rId150" Type="http://schemas.openxmlformats.org/officeDocument/2006/relationships/image" Target="../media/image1738.png"/><Relationship Id="rId171" Type="http://schemas.openxmlformats.org/officeDocument/2006/relationships/image" Target="../media/image1759.svg"/><Relationship Id="rId192" Type="http://schemas.openxmlformats.org/officeDocument/2006/relationships/image" Target="../media/image1780.png"/><Relationship Id="rId206" Type="http://schemas.openxmlformats.org/officeDocument/2006/relationships/image" Target="../media/image1794.png"/><Relationship Id="rId12" Type="http://schemas.openxmlformats.org/officeDocument/2006/relationships/image" Target="../media/image1600.png"/><Relationship Id="rId33" Type="http://schemas.openxmlformats.org/officeDocument/2006/relationships/image" Target="../media/image1621.svg"/><Relationship Id="rId108" Type="http://schemas.openxmlformats.org/officeDocument/2006/relationships/image" Target="../media/image1696.png"/><Relationship Id="rId129" Type="http://schemas.openxmlformats.org/officeDocument/2006/relationships/image" Target="../media/image1717.svg"/><Relationship Id="rId54" Type="http://schemas.openxmlformats.org/officeDocument/2006/relationships/image" Target="../media/image1642.png"/><Relationship Id="rId75" Type="http://schemas.openxmlformats.org/officeDocument/2006/relationships/image" Target="../media/image1663.svg"/><Relationship Id="rId96" Type="http://schemas.openxmlformats.org/officeDocument/2006/relationships/image" Target="../media/image1684.png"/><Relationship Id="rId140" Type="http://schemas.openxmlformats.org/officeDocument/2006/relationships/image" Target="../media/image1728.png"/><Relationship Id="rId161" Type="http://schemas.openxmlformats.org/officeDocument/2006/relationships/image" Target="../media/image1749.svg"/><Relationship Id="rId182" Type="http://schemas.openxmlformats.org/officeDocument/2006/relationships/image" Target="../media/image1770.png"/><Relationship Id="rId217" Type="http://schemas.openxmlformats.org/officeDocument/2006/relationships/image" Target="../media/image1805.svg"/><Relationship Id="rId6" Type="http://schemas.openxmlformats.org/officeDocument/2006/relationships/image" Target="../media/image1594.png"/><Relationship Id="rId23" Type="http://schemas.openxmlformats.org/officeDocument/2006/relationships/image" Target="../media/image1611.svg"/><Relationship Id="rId119" Type="http://schemas.openxmlformats.org/officeDocument/2006/relationships/image" Target="../media/image1707.svg"/><Relationship Id="rId44" Type="http://schemas.openxmlformats.org/officeDocument/2006/relationships/image" Target="../media/image1632.png"/><Relationship Id="rId65" Type="http://schemas.openxmlformats.org/officeDocument/2006/relationships/image" Target="../media/image1653.svg"/><Relationship Id="rId86" Type="http://schemas.openxmlformats.org/officeDocument/2006/relationships/image" Target="../media/image1674.png"/><Relationship Id="rId130" Type="http://schemas.openxmlformats.org/officeDocument/2006/relationships/image" Target="../media/image1718.png"/><Relationship Id="rId151" Type="http://schemas.openxmlformats.org/officeDocument/2006/relationships/image" Target="../media/image1739.svg"/><Relationship Id="rId172" Type="http://schemas.openxmlformats.org/officeDocument/2006/relationships/image" Target="../media/image1760.png"/><Relationship Id="rId193" Type="http://schemas.openxmlformats.org/officeDocument/2006/relationships/image" Target="../media/image1781.svg"/><Relationship Id="rId207" Type="http://schemas.openxmlformats.org/officeDocument/2006/relationships/image" Target="../media/image1795.svg"/><Relationship Id="rId13" Type="http://schemas.openxmlformats.org/officeDocument/2006/relationships/image" Target="../media/image1601.svg"/><Relationship Id="rId109" Type="http://schemas.openxmlformats.org/officeDocument/2006/relationships/image" Target="../media/image1697.svg"/><Relationship Id="rId34" Type="http://schemas.openxmlformats.org/officeDocument/2006/relationships/image" Target="../media/image1622.png"/><Relationship Id="rId55" Type="http://schemas.openxmlformats.org/officeDocument/2006/relationships/image" Target="../media/image1643.svg"/><Relationship Id="rId76" Type="http://schemas.openxmlformats.org/officeDocument/2006/relationships/image" Target="../media/image1664.png"/><Relationship Id="rId97" Type="http://schemas.openxmlformats.org/officeDocument/2006/relationships/image" Target="../media/image1685.svg"/><Relationship Id="rId120" Type="http://schemas.openxmlformats.org/officeDocument/2006/relationships/image" Target="../media/image1708.png"/><Relationship Id="rId141" Type="http://schemas.openxmlformats.org/officeDocument/2006/relationships/image" Target="../media/image1729.svg"/><Relationship Id="rId7" Type="http://schemas.openxmlformats.org/officeDocument/2006/relationships/image" Target="../media/image1595.svg"/><Relationship Id="rId162" Type="http://schemas.openxmlformats.org/officeDocument/2006/relationships/image" Target="../media/image1750.png"/><Relationship Id="rId183" Type="http://schemas.openxmlformats.org/officeDocument/2006/relationships/image" Target="../media/image1771.svg"/><Relationship Id="rId218" Type="http://schemas.openxmlformats.org/officeDocument/2006/relationships/image" Target="../media/image1806.png"/><Relationship Id="rId24" Type="http://schemas.openxmlformats.org/officeDocument/2006/relationships/image" Target="../media/image1612.png"/><Relationship Id="rId45" Type="http://schemas.openxmlformats.org/officeDocument/2006/relationships/image" Target="../media/image1633.svg"/><Relationship Id="rId66" Type="http://schemas.openxmlformats.org/officeDocument/2006/relationships/image" Target="../media/image1654.png"/><Relationship Id="rId87" Type="http://schemas.openxmlformats.org/officeDocument/2006/relationships/image" Target="../media/image1675.svg"/><Relationship Id="rId110" Type="http://schemas.openxmlformats.org/officeDocument/2006/relationships/image" Target="../media/image1698.png"/><Relationship Id="rId131" Type="http://schemas.openxmlformats.org/officeDocument/2006/relationships/image" Target="../media/image1719.svg"/><Relationship Id="rId152" Type="http://schemas.openxmlformats.org/officeDocument/2006/relationships/image" Target="../media/image1740.png"/><Relationship Id="rId173" Type="http://schemas.openxmlformats.org/officeDocument/2006/relationships/image" Target="../media/image1761.svg"/><Relationship Id="rId194" Type="http://schemas.openxmlformats.org/officeDocument/2006/relationships/image" Target="../media/image1782.png"/><Relationship Id="rId208" Type="http://schemas.openxmlformats.org/officeDocument/2006/relationships/image" Target="../media/image1796.png"/><Relationship Id="rId14" Type="http://schemas.openxmlformats.org/officeDocument/2006/relationships/image" Target="../media/image1602.png"/><Relationship Id="rId35" Type="http://schemas.openxmlformats.org/officeDocument/2006/relationships/image" Target="../media/image1623.svg"/><Relationship Id="rId56" Type="http://schemas.openxmlformats.org/officeDocument/2006/relationships/image" Target="../media/image1644.png"/><Relationship Id="rId77" Type="http://schemas.openxmlformats.org/officeDocument/2006/relationships/image" Target="../media/image1665.svg"/><Relationship Id="rId100" Type="http://schemas.openxmlformats.org/officeDocument/2006/relationships/image" Target="../media/image1688.png"/><Relationship Id="rId8" Type="http://schemas.openxmlformats.org/officeDocument/2006/relationships/image" Target="../media/image1596.png"/><Relationship Id="rId98" Type="http://schemas.openxmlformats.org/officeDocument/2006/relationships/image" Target="../media/image1686.png"/><Relationship Id="rId121" Type="http://schemas.openxmlformats.org/officeDocument/2006/relationships/image" Target="../media/image1709.svg"/><Relationship Id="rId142" Type="http://schemas.openxmlformats.org/officeDocument/2006/relationships/image" Target="../media/image1730.png"/><Relationship Id="rId163" Type="http://schemas.openxmlformats.org/officeDocument/2006/relationships/image" Target="../media/image1751.svg"/><Relationship Id="rId184" Type="http://schemas.openxmlformats.org/officeDocument/2006/relationships/image" Target="../media/image1772.png"/><Relationship Id="rId219" Type="http://schemas.openxmlformats.org/officeDocument/2006/relationships/image" Target="../media/image1807.svg"/><Relationship Id="rId3" Type="http://schemas.openxmlformats.org/officeDocument/2006/relationships/image" Target="../media/image1591.svg"/><Relationship Id="rId214" Type="http://schemas.openxmlformats.org/officeDocument/2006/relationships/image" Target="../media/image1802.png"/><Relationship Id="rId25" Type="http://schemas.openxmlformats.org/officeDocument/2006/relationships/image" Target="../media/image1613.svg"/><Relationship Id="rId46" Type="http://schemas.openxmlformats.org/officeDocument/2006/relationships/image" Target="../media/image1634.png"/><Relationship Id="rId67" Type="http://schemas.openxmlformats.org/officeDocument/2006/relationships/image" Target="../media/image1655.svg"/><Relationship Id="rId116" Type="http://schemas.openxmlformats.org/officeDocument/2006/relationships/image" Target="../media/image1704.png"/><Relationship Id="rId137" Type="http://schemas.openxmlformats.org/officeDocument/2006/relationships/image" Target="../media/image1725.svg"/><Relationship Id="rId158" Type="http://schemas.openxmlformats.org/officeDocument/2006/relationships/image" Target="../media/image1746.png"/><Relationship Id="rId20" Type="http://schemas.openxmlformats.org/officeDocument/2006/relationships/image" Target="../media/image1608.png"/><Relationship Id="rId41" Type="http://schemas.openxmlformats.org/officeDocument/2006/relationships/image" Target="../media/image1629.svg"/><Relationship Id="rId62" Type="http://schemas.openxmlformats.org/officeDocument/2006/relationships/image" Target="../media/image1650.png"/><Relationship Id="rId83" Type="http://schemas.openxmlformats.org/officeDocument/2006/relationships/image" Target="../media/image1671.svg"/><Relationship Id="rId88" Type="http://schemas.openxmlformats.org/officeDocument/2006/relationships/image" Target="../media/image1676.png"/><Relationship Id="rId111" Type="http://schemas.openxmlformats.org/officeDocument/2006/relationships/image" Target="../media/image1699.svg"/><Relationship Id="rId132" Type="http://schemas.openxmlformats.org/officeDocument/2006/relationships/image" Target="../media/image1720.png"/><Relationship Id="rId153" Type="http://schemas.openxmlformats.org/officeDocument/2006/relationships/image" Target="../media/image1741.svg"/><Relationship Id="rId174" Type="http://schemas.openxmlformats.org/officeDocument/2006/relationships/image" Target="../media/image1762.png"/><Relationship Id="rId179" Type="http://schemas.openxmlformats.org/officeDocument/2006/relationships/image" Target="../media/image1767.svg"/><Relationship Id="rId195" Type="http://schemas.openxmlformats.org/officeDocument/2006/relationships/image" Target="../media/image1783.svg"/><Relationship Id="rId209" Type="http://schemas.openxmlformats.org/officeDocument/2006/relationships/image" Target="../media/image1797.svg"/><Relationship Id="rId190" Type="http://schemas.openxmlformats.org/officeDocument/2006/relationships/image" Target="../media/image1778.png"/><Relationship Id="rId204" Type="http://schemas.openxmlformats.org/officeDocument/2006/relationships/image" Target="../media/image1792.png"/><Relationship Id="rId220" Type="http://schemas.openxmlformats.org/officeDocument/2006/relationships/image" Target="../media/image1808.png"/><Relationship Id="rId225" Type="http://schemas.openxmlformats.org/officeDocument/2006/relationships/image" Target="../media/image1813.svg"/><Relationship Id="rId15" Type="http://schemas.openxmlformats.org/officeDocument/2006/relationships/image" Target="../media/image1603.svg"/><Relationship Id="rId36" Type="http://schemas.openxmlformats.org/officeDocument/2006/relationships/image" Target="../media/image1624.png"/><Relationship Id="rId57" Type="http://schemas.openxmlformats.org/officeDocument/2006/relationships/image" Target="../media/image1645.svg"/><Relationship Id="rId106" Type="http://schemas.openxmlformats.org/officeDocument/2006/relationships/image" Target="../media/image1694.png"/><Relationship Id="rId127" Type="http://schemas.openxmlformats.org/officeDocument/2006/relationships/image" Target="../media/image1715.svg"/><Relationship Id="rId10" Type="http://schemas.openxmlformats.org/officeDocument/2006/relationships/image" Target="../media/image1598.png"/><Relationship Id="rId31" Type="http://schemas.openxmlformats.org/officeDocument/2006/relationships/image" Target="../media/image1619.svg"/><Relationship Id="rId52" Type="http://schemas.openxmlformats.org/officeDocument/2006/relationships/image" Target="../media/image1640.png"/><Relationship Id="rId73" Type="http://schemas.openxmlformats.org/officeDocument/2006/relationships/image" Target="../media/image1661.svg"/><Relationship Id="rId78" Type="http://schemas.openxmlformats.org/officeDocument/2006/relationships/image" Target="../media/image1666.png"/><Relationship Id="rId94" Type="http://schemas.openxmlformats.org/officeDocument/2006/relationships/image" Target="../media/image1682.png"/><Relationship Id="rId99" Type="http://schemas.openxmlformats.org/officeDocument/2006/relationships/image" Target="../media/image1687.svg"/><Relationship Id="rId101" Type="http://schemas.openxmlformats.org/officeDocument/2006/relationships/image" Target="../media/image1689.svg"/><Relationship Id="rId122" Type="http://schemas.openxmlformats.org/officeDocument/2006/relationships/image" Target="../media/image1710.png"/><Relationship Id="rId143" Type="http://schemas.openxmlformats.org/officeDocument/2006/relationships/image" Target="../media/image1731.svg"/><Relationship Id="rId148" Type="http://schemas.openxmlformats.org/officeDocument/2006/relationships/image" Target="../media/image1736.png"/><Relationship Id="rId164" Type="http://schemas.openxmlformats.org/officeDocument/2006/relationships/image" Target="../media/image1752.png"/><Relationship Id="rId169" Type="http://schemas.openxmlformats.org/officeDocument/2006/relationships/image" Target="../media/image1757.svg"/><Relationship Id="rId185" Type="http://schemas.openxmlformats.org/officeDocument/2006/relationships/image" Target="../media/image1773.svg"/><Relationship Id="rId4" Type="http://schemas.openxmlformats.org/officeDocument/2006/relationships/image" Target="../media/image1592.png"/><Relationship Id="rId9" Type="http://schemas.openxmlformats.org/officeDocument/2006/relationships/image" Target="../media/image1597.svg"/><Relationship Id="rId180" Type="http://schemas.openxmlformats.org/officeDocument/2006/relationships/image" Target="../media/image1768.png"/><Relationship Id="rId210" Type="http://schemas.openxmlformats.org/officeDocument/2006/relationships/image" Target="../media/image1798.png"/><Relationship Id="rId215" Type="http://schemas.openxmlformats.org/officeDocument/2006/relationships/image" Target="../media/image1803.svg"/><Relationship Id="rId26" Type="http://schemas.openxmlformats.org/officeDocument/2006/relationships/image" Target="../media/image1614.png"/><Relationship Id="rId47" Type="http://schemas.openxmlformats.org/officeDocument/2006/relationships/image" Target="../media/image1635.svg"/><Relationship Id="rId68" Type="http://schemas.openxmlformats.org/officeDocument/2006/relationships/image" Target="../media/image1656.png"/><Relationship Id="rId89" Type="http://schemas.openxmlformats.org/officeDocument/2006/relationships/image" Target="../media/image1677.svg"/><Relationship Id="rId112" Type="http://schemas.openxmlformats.org/officeDocument/2006/relationships/image" Target="../media/image1700.png"/><Relationship Id="rId133" Type="http://schemas.openxmlformats.org/officeDocument/2006/relationships/image" Target="../media/image1721.svg"/><Relationship Id="rId154" Type="http://schemas.openxmlformats.org/officeDocument/2006/relationships/image" Target="../media/image1742.png"/><Relationship Id="rId175" Type="http://schemas.openxmlformats.org/officeDocument/2006/relationships/image" Target="../media/image1763.svg"/><Relationship Id="rId196" Type="http://schemas.openxmlformats.org/officeDocument/2006/relationships/image" Target="../media/image1784.png"/><Relationship Id="rId200" Type="http://schemas.openxmlformats.org/officeDocument/2006/relationships/image" Target="../media/image1788.png"/><Relationship Id="rId16" Type="http://schemas.openxmlformats.org/officeDocument/2006/relationships/image" Target="../media/image1604.png"/><Relationship Id="rId221" Type="http://schemas.openxmlformats.org/officeDocument/2006/relationships/image" Target="../media/image1809.svg"/><Relationship Id="rId37" Type="http://schemas.openxmlformats.org/officeDocument/2006/relationships/image" Target="../media/image1625.svg"/><Relationship Id="rId58" Type="http://schemas.openxmlformats.org/officeDocument/2006/relationships/image" Target="../media/image1646.png"/><Relationship Id="rId79" Type="http://schemas.openxmlformats.org/officeDocument/2006/relationships/image" Target="../media/image1667.svg"/><Relationship Id="rId102" Type="http://schemas.openxmlformats.org/officeDocument/2006/relationships/image" Target="../media/image1690.png"/><Relationship Id="rId123" Type="http://schemas.openxmlformats.org/officeDocument/2006/relationships/image" Target="../media/image1711.svg"/><Relationship Id="rId144" Type="http://schemas.openxmlformats.org/officeDocument/2006/relationships/image" Target="../media/image1732.png"/><Relationship Id="rId90" Type="http://schemas.openxmlformats.org/officeDocument/2006/relationships/image" Target="../media/image1678.png"/><Relationship Id="rId165" Type="http://schemas.openxmlformats.org/officeDocument/2006/relationships/image" Target="../media/image1753.svg"/><Relationship Id="rId186" Type="http://schemas.openxmlformats.org/officeDocument/2006/relationships/image" Target="../media/image1774.png"/><Relationship Id="rId211" Type="http://schemas.openxmlformats.org/officeDocument/2006/relationships/image" Target="../media/image1799.svg"/><Relationship Id="rId27" Type="http://schemas.openxmlformats.org/officeDocument/2006/relationships/image" Target="../media/image1615.svg"/><Relationship Id="rId48" Type="http://schemas.openxmlformats.org/officeDocument/2006/relationships/image" Target="../media/image1636.png"/><Relationship Id="rId69" Type="http://schemas.openxmlformats.org/officeDocument/2006/relationships/image" Target="../media/image1657.svg"/><Relationship Id="rId113" Type="http://schemas.openxmlformats.org/officeDocument/2006/relationships/image" Target="../media/image1701.svg"/><Relationship Id="rId134" Type="http://schemas.openxmlformats.org/officeDocument/2006/relationships/image" Target="../media/image1722.png"/><Relationship Id="rId80" Type="http://schemas.openxmlformats.org/officeDocument/2006/relationships/image" Target="../media/image1668.png"/><Relationship Id="rId155" Type="http://schemas.openxmlformats.org/officeDocument/2006/relationships/image" Target="../media/image1743.svg"/><Relationship Id="rId176" Type="http://schemas.openxmlformats.org/officeDocument/2006/relationships/image" Target="../media/image1764.png"/><Relationship Id="rId197" Type="http://schemas.openxmlformats.org/officeDocument/2006/relationships/image" Target="../media/image1785.svg"/><Relationship Id="rId201" Type="http://schemas.openxmlformats.org/officeDocument/2006/relationships/image" Target="../media/image1789.svg"/><Relationship Id="rId222" Type="http://schemas.openxmlformats.org/officeDocument/2006/relationships/image" Target="../media/image1810.png"/><Relationship Id="rId17" Type="http://schemas.openxmlformats.org/officeDocument/2006/relationships/image" Target="../media/image1605.svg"/><Relationship Id="rId38" Type="http://schemas.openxmlformats.org/officeDocument/2006/relationships/image" Target="../media/image1626.png"/><Relationship Id="rId59" Type="http://schemas.openxmlformats.org/officeDocument/2006/relationships/image" Target="../media/image1647.svg"/><Relationship Id="rId103" Type="http://schemas.openxmlformats.org/officeDocument/2006/relationships/image" Target="../media/image1691.svg"/><Relationship Id="rId124" Type="http://schemas.openxmlformats.org/officeDocument/2006/relationships/image" Target="../media/image1712.png"/><Relationship Id="rId70" Type="http://schemas.openxmlformats.org/officeDocument/2006/relationships/image" Target="../media/image1658.png"/><Relationship Id="rId91" Type="http://schemas.openxmlformats.org/officeDocument/2006/relationships/image" Target="../media/image1679.svg"/><Relationship Id="rId145" Type="http://schemas.openxmlformats.org/officeDocument/2006/relationships/image" Target="../media/image1733.svg"/><Relationship Id="rId166" Type="http://schemas.openxmlformats.org/officeDocument/2006/relationships/image" Target="../media/image1754.png"/><Relationship Id="rId187" Type="http://schemas.openxmlformats.org/officeDocument/2006/relationships/image" Target="../media/image1775.svg"/><Relationship Id="rId1" Type="http://schemas.openxmlformats.org/officeDocument/2006/relationships/slideLayout" Target="../slideLayouts/slideLayout5.xml"/><Relationship Id="rId212" Type="http://schemas.openxmlformats.org/officeDocument/2006/relationships/image" Target="../media/image1800.png"/><Relationship Id="rId28" Type="http://schemas.openxmlformats.org/officeDocument/2006/relationships/image" Target="../media/image1616.png"/><Relationship Id="rId49" Type="http://schemas.openxmlformats.org/officeDocument/2006/relationships/image" Target="../media/image1637.svg"/><Relationship Id="rId114" Type="http://schemas.openxmlformats.org/officeDocument/2006/relationships/image" Target="../media/image1702.png"/><Relationship Id="rId60" Type="http://schemas.openxmlformats.org/officeDocument/2006/relationships/image" Target="../media/image1648.png"/><Relationship Id="rId81" Type="http://schemas.openxmlformats.org/officeDocument/2006/relationships/image" Target="../media/image1669.svg"/><Relationship Id="rId135" Type="http://schemas.openxmlformats.org/officeDocument/2006/relationships/image" Target="../media/image1723.svg"/><Relationship Id="rId156" Type="http://schemas.openxmlformats.org/officeDocument/2006/relationships/image" Target="../media/image1744.png"/><Relationship Id="rId177" Type="http://schemas.openxmlformats.org/officeDocument/2006/relationships/image" Target="../media/image1765.svg"/><Relationship Id="rId198" Type="http://schemas.openxmlformats.org/officeDocument/2006/relationships/image" Target="../media/image1786.png"/><Relationship Id="rId202" Type="http://schemas.openxmlformats.org/officeDocument/2006/relationships/image" Target="../media/image1790.png"/><Relationship Id="rId223" Type="http://schemas.openxmlformats.org/officeDocument/2006/relationships/image" Target="../media/image1811.svg"/><Relationship Id="rId18" Type="http://schemas.openxmlformats.org/officeDocument/2006/relationships/image" Target="../media/image1606.png"/><Relationship Id="rId39" Type="http://schemas.openxmlformats.org/officeDocument/2006/relationships/image" Target="../media/image1627.svg"/><Relationship Id="rId50" Type="http://schemas.openxmlformats.org/officeDocument/2006/relationships/image" Target="../media/image1638.png"/><Relationship Id="rId104" Type="http://schemas.openxmlformats.org/officeDocument/2006/relationships/image" Target="../media/image1692.png"/><Relationship Id="rId125" Type="http://schemas.openxmlformats.org/officeDocument/2006/relationships/image" Target="../media/image1713.svg"/><Relationship Id="rId146" Type="http://schemas.openxmlformats.org/officeDocument/2006/relationships/image" Target="../media/image1734.png"/><Relationship Id="rId167" Type="http://schemas.openxmlformats.org/officeDocument/2006/relationships/image" Target="../media/image1755.svg"/><Relationship Id="rId188" Type="http://schemas.openxmlformats.org/officeDocument/2006/relationships/image" Target="../media/image1776.png"/><Relationship Id="rId71" Type="http://schemas.openxmlformats.org/officeDocument/2006/relationships/image" Target="../media/image1659.svg"/><Relationship Id="rId92" Type="http://schemas.openxmlformats.org/officeDocument/2006/relationships/image" Target="../media/image1680.png"/><Relationship Id="rId213" Type="http://schemas.openxmlformats.org/officeDocument/2006/relationships/image" Target="../media/image1801.svg"/><Relationship Id="rId2" Type="http://schemas.openxmlformats.org/officeDocument/2006/relationships/image" Target="../media/image1590.png"/><Relationship Id="rId29" Type="http://schemas.openxmlformats.org/officeDocument/2006/relationships/image" Target="../media/image1617.svg"/><Relationship Id="rId40" Type="http://schemas.openxmlformats.org/officeDocument/2006/relationships/image" Target="../media/image1628.png"/><Relationship Id="rId115" Type="http://schemas.openxmlformats.org/officeDocument/2006/relationships/image" Target="../media/image1703.svg"/><Relationship Id="rId136" Type="http://schemas.openxmlformats.org/officeDocument/2006/relationships/image" Target="../media/image1724.png"/><Relationship Id="rId157" Type="http://schemas.openxmlformats.org/officeDocument/2006/relationships/image" Target="../media/image1745.svg"/><Relationship Id="rId178" Type="http://schemas.openxmlformats.org/officeDocument/2006/relationships/image" Target="../media/image1766.png"/><Relationship Id="rId61" Type="http://schemas.openxmlformats.org/officeDocument/2006/relationships/image" Target="../media/image1649.svg"/><Relationship Id="rId82" Type="http://schemas.openxmlformats.org/officeDocument/2006/relationships/image" Target="../media/image1670.png"/><Relationship Id="rId199" Type="http://schemas.openxmlformats.org/officeDocument/2006/relationships/image" Target="../media/image1787.svg"/><Relationship Id="rId203" Type="http://schemas.openxmlformats.org/officeDocument/2006/relationships/image" Target="../media/image1791.svg"/><Relationship Id="rId19" Type="http://schemas.openxmlformats.org/officeDocument/2006/relationships/image" Target="../media/image1607.svg"/><Relationship Id="rId224" Type="http://schemas.openxmlformats.org/officeDocument/2006/relationships/image" Target="../media/image1812.png"/><Relationship Id="rId30" Type="http://schemas.openxmlformats.org/officeDocument/2006/relationships/image" Target="../media/image1618.png"/><Relationship Id="rId105" Type="http://schemas.openxmlformats.org/officeDocument/2006/relationships/image" Target="../media/image1693.svg"/><Relationship Id="rId126" Type="http://schemas.openxmlformats.org/officeDocument/2006/relationships/image" Target="../media/image1714.png"/><Relationship Id="rId147" Type="http://schemas.openxmlformats.org/officeDocument/2006/relationships/image" Target="../media/image1735.svg"/><Relationship Id="rId168" Type="http://schemas.openxmlformats.org/officeDocument/2006/relationships/image" Target="../media/image1756.png"/><Relationship Id="rId51" Type="http://schemas.openxmlformats.org/officeDocument/2006/relationships/image" Target="../media/image1639.svg"/><Relationship Id="rId72" Type="http://schemas.openxmlformats.org/officeDocument/2006/relationships/image" Target="../media/image1660.png"/><Relationship Id="rId93" Type="http://schemas.openxmlformats.org/officeDocument/2006/relationships/image" Target="../media/image1681.svg"/><Relationship Id="rId189" Type="http://schemas.openxmlformats.org/officeDocument/2006/relationships/image" Target="../media/image1777.svg"/></Relationships>
</file>

<file path=ppt/slides/_rels/slide84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1929.svg"/><Relationship Id="rId21" Type="http://schemas.openxmlformats.org/officeDocument/2006/relationships/image" Target="../media/image1833.svg"/><Relationship Id="rId42" Type="http://schemas.openxmlformats.org/officeDocument/2006/relationships/image" Target="../media/image1854.png"/><Relationship Id="rId63" Type="http://schemas.openxmlformats.org/officeDocument/2006/relationships/image" Target="../media/image1875.svg"/><Relationship Id="rId84" Type="http://schemas.openxmlformats.org/officeDocument/2006/relationships/image" Target="../media/image1896.png"/><Relationship Id="rId138" Type="http://schemas.openxmlformats.org/officeDocument/2006/relationships/image" Target="../media/image1950.png"/><Relationship Id="rId159" Type="http://schemas.openxmlformats.org/officeDocument/2006/relationships/image" Target="../media/image1971.svg"/><Relationship Id="rId170" Type="http://schemas.openxmlformats.org/officeDocument/2006/relationships/image" Target="../media/image1982.png"/><Relationship Id="rId191" Type="http://schemas.openxmlformats.org/officeDocument/2006/relationships/image" Target="../media/image2003.svg"/><Relationship Id="rId205" Type="http://schemas.openxmlformats.org/officeDocument/2006/relationships/image" Target="../media/image2015.svg"/><Relationship Id="rId107" Type="http://schemas.openxmlformats.org/officeDocument/2006/relationships/image" Target="../media/image1919.svg"/><Relationship Id="rId11" Type="http://schemas.openxmlformats.org/officeDocument/2006/relationships/image" Target="../media/image1823.svg"/><Relationship Id="rId32" Type="http://schemas.openxmlformats.org/officeDocument/2006/relationships/image" Target="../media/image1844.png"/><Relationship Id="rId53" Type="http://schemas.openxmlformats.org/officeDocument/2006/relationships/image" Target="../media/image1865.svg"/><Relationship Id="rId74" Type="http://schemas.openxmlformats.org/officeDocument/2006/relationships/image" Target="../media/image1886.png"/><Relationship Id="rId128" Type="http://schemas.openxmlformats.org/officeDocument/2006/relationships/image" Target="../media/image1940.png"/><Relationship Id="rId149" Type="http://schemas.openxmlformats.org/officeDocument/2006/relationships/image" Target="../media/image1961.svg"/><Relationship Id="rId5" Type="http://schemas.openxmlformats.org/officeDocument/2006/relationships/image" Target="../media/image1817.svg"/><Relationship Id="rId95" Type="http://schemas.openxmlformats.org/officeDocument/2006/relationships/image" Target="../media/image1907.svg"/><Relationship Id="rId160" Type="http://schemas.openxmlformats.org/officeDocument/2006/relationships/image" Target="../media/image1972.png"/><Relationship Id="rId181" Type="http://schemas.openxmlformats.org/officeDocument/2006/relationships/image" Target="../media/image1993.svg"/><Relationship Id="rId216" Type="http://schemas.openxmlformats.org/officeDocument/2006/relationships/image" Target="../media/image2024.png"/><Relationship Id="rId22" Type="http://schemas.openxmlformats.org/officeDocument/2006/relationships/image" Target="../media/image1834.png"/><Relationship Id="rId43" Type="http://schemas.openxmlformats.org/officeDocument/2006/relationships/image" Target="../media/image1855.svg"/><Relationship Id="rId64" Type="http://schemas.openxmlformats.org/officeDocument/2006/relationships/image" Target="../media/image1876.png"/><Relationship Id="rId118" Type="http://schemas.openxmlformats.org/officeDocument/2006/relationships/image" Target="../media/image1930.png"/><Relationship Id="rId139" Type="http://schemas.openxmlformats.org/officeDocument/2006/relationships/image" Target="../media/image1951.svg"/><Relationship Id="rId85" Type="http://schemas.openxmlformats.org/officeDocument/2006/relationships/image" Target="../media/image1897.svg"/><Relationship Id="rId150" Type="http://schemas.openxmlformats.org/officeDocument/2006/relationships/image" Target="../media/image1962.png"/><Relationship Id="rId171" Type="http://schemas.openxmlformats.org/officeDocument/2006/relationships/image" Target="../media/image1983.svg"/><Relationship Id="rId192" Type="http://schemas.openxmlformats.org/officeDocument/2006/relationships/image" Target="../media/image2004.png"/><Relationship Id="rId206" Type="http://schemas.openxmlformats.org/officeDocument/2006/relationships/image" Target="../media/image2016.png"/><Relationship Id="rId12" Type="http://schemas.openxmlformats.org/officeDocument/2006/relationships/image" Target="../media/image1824.png"/><Relationship Id="rId33" Type="http://schemas.openxmlformats.org/officeDocument/2006/relationships/image" Target="../media/image1845.svg"/><Relationship Id="rId108" Type="http://schemas.openxmlformats.org/officeDocument/2006/relationships/image" Target="../media/image1920.png"/><Relationship Id="rId129" Type="http://schemas.openxmlformats.org/officeDocument/2006/relationships/image" Target="../media/image1941.svg"/><Relationship Id="rId54" Type="http://schemas.openxmlformats.org/officeDocument/2006/relationships/image" Target="../media/image1866.png"/><Relationship Id="rId75" Type="http://schemas.openxmlformats.org/officeDocument/2006/relationships/image" Target="../media/image1887.svg"/><Relationship Id="rId96" Type="http://schemas.openxmlformats.org/officeDocument/2006/relationships/image" Target="../media/image1908.png"/><Relationship Id="rId140" Type="http://schemas.openxmlformats.org/officeDocument/2006/relationships/image" Target="../media/image1952.png"/><Relationship Id="rId161" Type="http://schemas.openxmlformats.org/officeDocument/2006/relationships/image" Target="../media/image1973.svg"/><Relationship Id="rId182" Type="http://schemas.openxmlformats.org/officeDocument/2006/relationships/image" Target="../media/image1994.png"/><Relationship Id="rId217" Type="http://schemas.openxmlformats.org/officeDocument/2006/relationships/image" Target="../media/image2025.svg"/><Relationship Id="rId6" Type="http://schemas.openxmlformats.org/officeDocument/2006/relationships/image" Target="../media/image1818.png"/><Relationship Id="rId23" Type="http://schemas.openxmlformats.org/officeDocument/2006/relationships/image" Target="../media/image1835.svg"/><Relationship Id="rId119" Type="http://schemas.openxmlformats.org/officeDocument/2006/relationships/image" Target="../media/image1931.svg"/><Relationship Id="rId44" Type="http://schemas.openxmlformats.org/officeDocument/2006/relationships/image" Target="../media/image1856.png"/><Relationship Id="rId65" Type="http://schemas.openxmlformats.org/officeDocument/2006/relationships/image" Target="../media/image1877.svg"/><Relationship Id="rId86" Type="http://schemas.openxmlformats.org/officeDocument/2006/relationships/image" Target="../media/image1898.png"/><Relationship Id="rId130" Type="http://schemas.openxmlformats.org/officeDocument/2006/relationships/image" Target="../media/image1942.png"/><Relationship Id="rId151" Type="http://schemas.openxmlformats.org/officeDocument/2006/relationships/image" Target="../media/image1963.svg"/><Relationship Id="rId172" Type="http://schemas.openxmlformats.org/officeDocument/2006/relationships/image" Target="../media/image1984.png"/><Relationship Id="rId193" Type="http://schemas.openxmlformats.org/officeDocument/2006/relationships/image" Target="../media/image2005.svg"/><Relationship Id="rId207" Type="http://schemas.openxmlformats.org/officeDocument/2006/relationships/image" Target="../media/image2017.svg"/><Relationship Id="rId13" Type="http://schemas.openxmlformats.org/officeDocument/2006/relationships/image" Target="../media/image1825.svg"/><Relationship Id="rId109" Type="http://schemas.openxmlformats.org/officeDocument/2006/relationships/image" Target="../media/image1921.svg"/><Relationship Id="rId34" Type="http://schemas.openxmlformats.org/officeDocument/2006/relationships/image" Target="../media/image1846.png"/><Relationship Id="rId55" Type="http://schemas.openxmlformats.org/officeDocument/2006/relationships/image" Target="../media/image1867.svg"/><Relationship Id="rId76" Type="http://schemas.openxmlformats.org/officeDocument/2006/relationships/image" Target="../media/image1888.png"/><Relationship Id="rId97" Type="http://schemas.openxmlformats.org/officeDocument/2006/relationships/image" Target="../media/image1909.svg"/><Relationship Id="rId120" Type="http://schemas.openxmlformats.org/officeDocument/2006/relationships/image" Target="../media/image1932.png"/><Relationship Id="rId141" Type="http://schemas.openxmlformats.org/officeDocument/2006/relationships/image" Target="../media/image1953.svg"/><Relationship Id="rId7" Type="http://schemas.openxmlformats.org/officeDocument/2006/relationships/image" Target="../media/image1819.svg"/><Relationship Id="rId162" Type="http://schemas.openxmlformats.org/officeDocument/2006/relationships/image" Target="../media/image1974.png"/><Relationship Id="rId183" Type="http://schemas.openxmlformats.org/officeDocument/2006/relationships/image" Target="../media/image1995.svg"/><Relationship Id="rId218" Type="http://schemas.openxmlformats.org/officeDocument/2006/relationships/image" Target="../media/image1350.png"/><Relationship Id="rId24" Type="http://schemas.openxmlformats.org/officeDocument/2006/relationships/image" Target="../media/image1836.png"/><Relationship Id="rId45" Type="http://schemas.openxmlformats.org/officeDocument/2006/relationships/image" Target="../media/image1857.svg"/><Relationship Id="rId66" Type="http://schemas.openxmlformats.org/officeDocument/2006/relationships/image" Target="../media/image1878.png"/><Relationship Id="rId87" Type="http://schemas.openxmlformats.org/officeDocument/2006/relationships/image" Target="../media/image1899.svg"/><Relationship Id="rId110" Type="http://schemas.openxmlformats.org/officeDocument/2006/relationships/image" Target="../media/image1922.png"/><Relationship Id="rId131" Type="http://schemas.openxmlformats.org/officeDocument/2006/relationships/image" Target="../media/image1943.svg"/><Relationship Id="rId152" Type="http://schemas.openxmlformats.org/officeDocument/2006/relationships/image" Target="../media/image1964.png"/><Relationship Id="rId173" Type="http://schemas.openxmlformats.org/officeDocument/2006/relationships/image" Target="../media/image1985.svg"/><Relationship Id="rId194" Type="http://schemas.openxmlformats.org/officeDocument/2006/relationships/image" Target="../media/image2006.png"/><Relationship Id="rId208" Type="http://schemas.openxmlformats.org/officeDocument/2006/relationships/image" Target="../media/image2018.png"/><Relationship Id="rId14" Type="http://schemas.openxmlformats.org/officeDocument/2006/relationships/image" Target="../media/image1826.png"/><Relationship Id="rId35" Type="http://schemas.openxmlformats.org/officeDocument/2006/relationships/image" Target="../media/image1847.svg"/><Relationship Id="rId56" Type="http://schemas.openxmlformats.org/officeDocument/2006/relationships/image" Target="../media/image1868.png"/><Relationship Id="rId77" Type="http://schemas.openxmlformats.org/officeDocument/2006/relationships/image" Target="../media/image1889.svg"/><Relationship Id="rId100" Type="http://schemas.openxmlformats.org/officeDocument/2006/relationships/image" Target="../media/image1912.png"/><Relationship Id="rId8" Type="http://schemas.openxmlformats.org/officeDocument/2006/relationships/image" Target="../media/image1820.png"/><Relationship Id="rId98" Type="http://schemas.openxmlformats.org/officeDocument/2006/relationships/image" Target="../media/image1910.png"/><Relationship Id="rId121" Type="http://schemas.openxmlformats.org/officeDocument/2006/relationships/image" Target="../media/image1933.svg"/><Relationship Id="rId142" Type="http://schemas.openxmlformats.org/officeDocument/2006/relationships/image" Target="../media/image1954.png"/><Relationship Id="rId163" Type="http://schemas.openxmlformats.org/officeDocument/2006/relationships/image" Target="../media/image1975.svg"/><Relationship Id="rId184" Type="http://schemas.openxmlformats.org/officeDocument/2006/relationships/image" Target="../media/image1996.png"/><Relationship Id="rId219" Type="http://schemas.openxmlformats.org/officeDocument/2006/relationships/image" Target="../media/image1351.svg"/><Relationship Id="rId3" Type="http://schemas.openxmlformats.org/officeDocument/2006/relationships/image" Target="../media/image1815.svg"/><Relationship Id="rId214" Type="http://schemas.openxmlformats.org/officeDocument/2006/relationships/image" Target="../media/image2022.png"/><Relationship Id="rId25" Type="http://schemas.openxmlformats.org/officeDocument/2006/relationships/image" Target="../media/image1837.svg"/><Relationship Id="rId46" Type="http://schemas.openxmlformats.org/officeDocument/2006/relationships/image" Target="../media/image1858.png"/><Relationship Id="rId67" Type="http://schemas.openxmlformats.org/officeDocument/2006/relationships/image" Target="../media/image1879.svg"/><Relationship Id="rId116" Type="http://schemas.openxmlformats.org/officeDocument/2006/relationships/image" Target="../media/image1928.png"/><Relationship Id="rId137" Type="http://schemas.openxmlformats.org/officeDocument/2006/relationships/image" Target="../media/image1949.svg"/><Relationship Id="rId158" Type="http://schemas.openxmlformats.org/officeDocument/2006/relationships/image" Target="../media/image1970.png"/><Relationship Id="rId20" Type="http://schemas.openxmlformats.org/officeDocument/2006/relationships/image" Target="../media/image1832.png"/><Relationship Id="rId41" Type="http://schemas.openxmlformats.org/officeDocument/2006/relationships/image" Target="../media/image1853.svg"/><Relationship Id="rId62" Type="http://schemas.openxmlformats.org/officeDocument/2006/relationships/image" Target="../media/image1874.png"/><Relationship Id="rId83" Type="http://schemas.openxmlformats.org/officeDocument/2006/relationships/image" Target="../media/image1895.svg"/><Relationship Id="rId88" Type="http://schemas.openxmlformats.org/officeDocument/2006/relationships/image" Target="../media/image1900.png"/><Relationship Id="rId111" Type="http://schemas.openxmlformats.org/officeDocument/2006/relationships/image" Target="../media/image1923.svg"/><Relationship Id="rId132" Type="http://schemas.openxmlformats.org/officeDocument/2006/relationships/image" Target="../media/image1944.png"/><Relationship Id="rId153" Type="http://schemas.openxmlformats.org/officeDocument/2006/relationships/image" Target="../media/image1965.svg"/><Relationship Id="rId174" Type="http://schemas.openxmlformats.org/officeDocument/2006/relationships/image" Target="../media/image1986.png"/><Relationship Id="rId179" Type="http://schemas.openxmlformats.org/officeDocument/2006/relationships/image" Target="../media/image1991.svg"/><Relationship Id="rId195" Type="http://schemas.openxmlformats.org/officeDocument/2006/relationships/image" Target="../media/image2007.svg"/><Relationship Id="rId209" Type="http://schemas.openxmlformats.org/officeDocument/2006/relationships/image" Target="../media/image2019.svg"/><Relationship Id="rId190" Type="http://schemas.openxmlformats.org/officeDocument/2006/relationships/image" Target="../media/image2002.png"/><Relationship Id="rId204" Type="http://schemas.openxmlformats.org/officeDocument/2006/relationships/image" Target="../media/image2014.png"/><Relationship Id="rId220" Type="http://schemas.openxmlformats.org/officeDocument/2006/relationships/image" Target="../media/image2026.png"/><Relationship Id="rId225" Type="http://schemas.openxmlformats.org/officeDocument/2006/relationships/image" Target="../media/image2031.svg"/><Relationship Id="rId15" Type="http://schemas.openxmlformats.org/officeDocument/2006/relationships/image" Target="../media/image1827.svg"/><Relationship Id="rId36" Type="http://schemas.openxmlformats.org/officeDocument/2006/relationships/image" Target="../media/image1848.png"/><Relationship Id="rId57" Type="http://schemas.openxmlformats.org/officeDocument/2006/relationships/image" Target="../media/image1869.svg"/><Relationship Id="rId106" Type="http://schemas.openxmlformats.org/officeDocument/2006/relationships/image" Target="../media/image1918.png"/><Relationship Id="rId127" Type="http://schemas.openxmlformats.org/officeDocument/2006/relationships/image" Target="../media/image1939.svg"/><Relationship Id="rId10" Type="http://schemas.openxmlformats.org/officeDocument/2006/relationships/image" Target="../media/image1822.png"/><Relationship Id="rId31" Type="http://schemas.openxmlformats.org/officeDocument/2006/relationships/image" Target="../media/image1843.svg"/><Relationship Id="rId52" Type="http://schemas.openxmlformats.org/officeDocument/2006/relationships/image" Target="../media/image1864.png"/><Relationship Id="rId73" Type="http://schemas.openxmlformats.org/officeDocument/2006/relationships/image" Target="../media/image1885.svg"/><Relationship Id="rId78" Type="http://schemas.openxmlformats.org/officeDocument/2006/relationships/image" Target="../media/image1890.png"/><Relationship Id="rId94" Type="http://schemas.openxmlformats.org/officeDocument/2006/relationships/image" Target="../media/image1906.png"/><Relationship Id="rId99" Type="http://schemas.openxmlformats.org/officeDocument/2006/relationships/image" Target="../media/image1911.svg"/><Relationship Id="rId101" Type="http://schemas.openxmlformats.org/officeDocument/2006/relationships/image" Target="../media/image1913.svg"/><Relationship Id="rId122" Type="http://schemas.openxmlformats.org/officeDocument/2006/relationships/image" Target="../media/image1934.png"/><Relationship Id="rId143" Type="http://schemas.openxmlformats.org/officeDocument/2006/relationships/image" Target="../media/image1955.svg"/><Relationship Id="rId148" Type="http://schemas.openxmlformats.org/officeDocument/2006/relationships/image" Target="../media/image1960.png"/><Relationship Id="rId164" Type="http://schemas.openxmlformats.org/officeDocument/2006/relationships/image" Target="../media/image1976.png"/><Relationship Id="rId169" Type="http://schemas.openxmlformats.org/officeDocument/2006/relationships/image" Target="../media/image1981.svg"/><Relationship Id="rId185" Type="http://schemas.openxmlformats.org/officeDocument/2006/relationships/image" Target="../media/image1997.svg"/><Relationship Id="rId4" Type="http://schemas.openxmlformats.org/officeDocument/2006/relationships/image" Target="../media/image1816.png"/><Relationship Id="rId9" Type="http://schemas.openxmlformats.org/officeDocument/2006/relationships/image" Target="../media/image1821.svg"/><Relationship Id="rId180" Type="http://schemas.openxmlformats.org/officeDocument/2006/relationships/image" Target="../media/image1992.png"/><Relationship Id="rId210" Type="http://schemas.openxmlformats.org/officeDocument/2006/relationships/image" Target="../media/image1294.png"/><Relationship Id="rId215" Type="http://schemas.openxmlformats.org/officeDocument/2006/relationships/image" Target="../media/image2023.svg"/><Relationship Id="rId26" Type="http://schemas.openxmlformats.org/officeDocument/2006/relationships/image" Target="../media/image1838.png"/><Relationship Id="rId47" Type="http://schemas.openxmlformats.org/officeDocument/2006/relationships/image" Target="../media/image1859.svg"/><Relationship Id="rId68" Type="http://schemas.openxmlformats.org/officeDocument/2006/relationships/image" Target="../media/image1880.png"/><Relationship Id="rId89" Type="http://schemas.openxmlformats.org/officeDocument/2006/relationships/image" Target="../media/image1901.svg"/><Relationship Id="rId112" Type="http://schemas.openxmlformats.org/officeDocument/2006/relationships/image" Target="../media/image1924.png"/><Relationship Id="rId133" Type="http://schemas.openxmlformats.org/officeDocument/2006/relationships/image" Target="../media/image1945.svg"/><Relationship Id="rId154" Type="http://schemas.openxmlformats.org/officeDocument/2006/relationships/image" Target="../media/image1966.png"/><Relationship Id="rId175" Type="http://schemas.openxmlformats.org/officeDocument/2006/relationships/image" Target="../media/image1987.svg"/><Relationship Id="rId196" Type="http://schemas.openxmlformats.org/officeDocument/2006/relationships/image" Target="../media/image2008.png"/><Relationship Id="rId200" Type="http://schemas.openxmlformats.org/officeDocument/2006/relationships/image" Target="../media/image2012.png"/><Relationship Id="rId16" Type="http://schemas.openxmlformats.org/officeDocument/2006/relationships/image" Target="../media/image1828.png"/><Relationship Id="rId221" Type="http://schemas.openxmlformats.org/officeDocument/2006/relationships/image" Target="../media/image2027.svg"/><Relationship Id="rId37" Type="http://schemas.openxmlformats.org/officeDocument/2006/relationships/image" Target="../media/image1849.svg"/><Relationship Id="rId58" Type="http://schemas.openxmlformats.org/officeDocument/2006/relationships/image" Target="../media/image1870.png"/><Relationship Id="rId79" Type="http://schemas.openxmlformats.org/officeDocument/2006/relationships/image" Target="../media/image1891.svg"/><Relationship Id="rId102" Type="http://schemas.openxmlformats.org/officeDocument/2006/relationships/image" Target="../media/image1914.png"/><Relationship Id="rId123" Type="http://schemas.openxmlformats.org/officeDocument/2006/relationships/image" Target="../media/image1935.svg"/><Relationship Id="rId144" Type="http://schemas.openxmlformats.org/officeDocument/2006/relationships/image" Target="../media/image1956.png"/><Relationship Id="rId90" Type="http://schemas.openxmlformats.org/officeDocument/2006/relationships/image" Target="../media/image1902.png"/><Relationship Id="rId165" Type="http://schemas.openxmlformats.org/officeDocument/2006/relationships/image" Target="../media/image1977.svg"/><Relationship Id="rId186" Type="http://schemas.openxmlformats.org/officeDocument/2006/relationships/image" Target="../media/image1998.png"/><Relationship Id="rId211" Type="http://schemas.openxmlformats.org/officeDocument/2006/relationships/image" Target="../media/image1295.svg"/><Relationship Id="rId27" Type="http://schemas.openxmlformats.org/officeDocument/2006/relationships/image" Target="../media/image1839.svg"/><Relationship Id="rId48" Type="http://schemas.openxmlformats.org/officeDocument/2006/relationships/image" Target="../media/image1860.png"/><Relationship Id="rId69" Type="http://schemas.openxmlformats.org/officeDocument/2006/relationships/image" Target="../media/image1881.svg"/><Relationship Id="rId113" Type="http://schemas.openxmlformats.org/officeDocument/2006/relationships/image" Target="../media/image1925.svg"/><Relationship Id="rId134" Type="http://schemas.openxmlformats.org/officeDocument/2006/relationships/image" Target="../media/image1946.png"/><Relationship Id="rId80" Type="http://schemas.openxmlformats.org/officeDocument/2006/relationships/image" Target="../media/image1892.png"/><Relationship Id="rId155" Type="http://schemas.openxmlformats.org/officeDocument/2006/relationships/image" Target="../media/image1967.svg"/><Relationship Id="rId176" Type="http://schemas.openxmlformats.org/officeDocument/2006/relationships/image" Target="../media/image1988.png"/><Relationship Id="rId197" Type="http://schemas.openxmlformats.org/officeDocument/2006/relationships/image" Target="../media/image2009.svg"/><Relationship Id="rId201" Type="http://schemas.openxmlformats.org/officeDocument/2006/relationships/image" Target="../media/image2013.svg"/><Relationship Id="rId222" Type="http://schemas.openxmlformats.org/officeDocument/2006/relationships/image" Target="../media/image2028.png"/><Relationship Id="rId17" Type="http://schemas.openxmlformats.org/officeDocument/2006/relationships/image" Target="../media/image1829.svg"/><Relationship Id="rId38" Type="http://schemas.openxmlformats.org/officeDocument/2006/relationships/image" Target="../media/image1850.png"/><Relationship Id="rId59" Type="http://schemas.openxmlformats.org/officeDocument/2006/relationships/image" Target="../media/image1871.svg"/><Relationship Id="rId103" Type="http://schemas.openxmlformats.org/officeDocument/2006/relationships/image" Target="../media/image1915.svg"/><Relationship Id="rId124" Type="http://schemas.openxmlformats.org/officeDocument/2006/relationships/image" Target="../media/image1936.png"/><Relationship Id="rId70" Type="http://schemas.openxmlformats.org/officeDocument/2006/relationships/image" Target="../media/image1882.png"/><Relationship Id="rId91" Type="http://schemas.openxmlformats.org/officeDocument/2006/relationships/image" Target="../media/image1903.svg"/><Relationship Id="rId145" Type="http://schemas.openxmlformats.org/officeDocument/2006/relationships/image" Target="../media/image1957.svg"/><Relationship Id="rId166" Type="http://schemas.openxmlformats.org/officeDocument/2006/relationships/image" Target="../media/image1978.png"/><Relationship Id="rId187" Type="http://schemas.openxmlformats.org/officeDocument/2006/relationships/image" Target="../media/image1999.svg"/><Relationship Id="rId1" Type="http://schemas.openxmlformats.org/officeDocument/2006/relationships/slideLayout" Target="../slideLayouts/slideLayout5.xml"/><Relationship Id="rId212" Type="http://schemas.openxmlformats.org/officeDocument/2006/relationships/image" Target="../media/image2020.png"/><Relationship Id="rId28" Type="http://schemas.openxmlformats.org/officeDocument/2006/relationships/image" Target="../media/image1840.png"/><Relationship Id="rId49" Type="http://schemas.openxmlformats.org/officeDocument/2006/relationships/image" Target="../media/image1861.svg"/><Relationship Id="rId114" Type="http://schemas.openxmlformats.org/officeDocument/2006/relationships/image" Target="../media/image1926.png"/><Relationship Id="rId60" Type="http://schemas.openxmlformats.org/officeDocument/2006/relationships/image" Target="../media/image1872.png"/><Relationship Id="rId81" Type="http://schemas.openxmlformats.org/officeDocument/2006/relationships/image" Target="../media/image1893.svg"/><Relationship Id="rId135" Type="http://schemas.openxmlformats.org/officeDocument/2006/relationships/image" Target="../media/image1947.svg"/><Relationship Id="rId156" Type="http://schemas.openxmlformats.org/officeDocument/2006/relationships/image" Target="../media/image1968.png"/><Relationship Id="rId177" Type="http://schemas.openxmlformats.org/officeDocument/2006/relationships/image" Target="../media/image1989.svg"/><Relationship Id="rId198" Type="http://schemas.openxmlformats.org/officeDocument/2006/relationships/image" Target="../media/image2010.png"/><Relationship Id="rId202" Type="http://schemas.openxmlformats.org/officeDocument/2006/relationships/image" Target="../media/image1238.png"/><Relationship Id="rId223" Type="http://schemas.openxmlformats.org/officeDocument/2006/relationships/image" Target="../media/image2029.svg"/><Relationship Id="rId18" Type="http://schemas.openxmlformats.org/officeDocument/2006/relationships/image" Target="../media/image1830.png"/><Relationship Id="rId39" Type="http://schemas.openxmlformats.org/officeDocument/2006/relationships/image" Target="../media/image1851.svg"/><Relationship Id="rId50" Type="http://schemas.openxmlformats.org/officeDocument/2006/relationships/image" Target="../media/image1862.png"/><Relationship Id="rId104" Type="http://schemas.openxmlformats.org/officeDocument/2006/relationships/image" Target="../media/image1916.png"/><Relationship Id="rId125" Type="http://schemas.openxmlformats.org/officeDocument/2006/relationships/image" Target="../media/image1937.svg"/><Relationship Id="rId146" Type="http://schemas.openxmlformats.org/officeDocument/2006/relationships/image" Target="../media/image1958.png"/><Relationship Id="rId167" Type="http://schemas.openxmlformats.org/officeDocument/2006/relationships/image" Target="../media/image1979.svg"/><Relationship Id="rId188" Type="http://schemas.openxmlformats.org/officeDocument/2006/relationships/image" Target="../media/image2000.png"/><Relationship Id="rId71" Type="http://schemas.openxmlformats.org/officeDocument/2006/relationships/image" Target="../media/image1883.svg"/><Relationship Id="rId92" Type="http://schemas.openxmlformats.org/officeDocument/2006/relationships/image" Target="../media/image1904.png"/><Relationship Id="rId213" Type="http://schemas.openxmlformats.org/officeDocument/2006/relationships/image" Target="../media/image2021.svg"/><Relationship Id="rId2" Type="http://schemas.openxmlformats.org/officeDocument/2006/relationships/image" Target="../media/image1814.png"/><Relationship Id="rId29" Type="http://schemas.openxmlformats.org/officeDocument/2006/relationships/image" Target="../media/image1841.svg"/><Relationship Id="rId40" Type="http://schemas.openxmlformats.org/officeDocument/2006/relationships/image" Target="../media/image1852.png"/><Relationship Id="rId115" Type="http://schemas.openxmlformats.org/officeDocument/2006/relationships/image" Target="../media/image1927.svg"/><Relationship Id="rId136" Type="http://schemas.openxmlformats.org/officeDocument/2006/relationships/image" Target="../media/image1948.png"/><Relationship Id="rId157" Type="http://schemas.openxmlformats.org/officeDocument/2006/relationships/image" Target="../media/image1969.svg"/><Relationship Id="rId178" Type="http://schemas.openxmlformats.org/officeDocument/2006/relationships/image" Target="../media/image1990.png"/><Relationship Id="rId61" Type="http://schemas.openxmlformats.org/officeDocument/2006/relationships/image" Target="../media/image1873.svg"/><Relationship Id="rId82" Type="http://schemas.openxmlformats.org/officeDocument/2006/relationships/image" Target="../media/image1894.png"/><Relationship Id="rId199" Type="http://schemas.openxmlformats.org/officeDocument/2006/relationships/image" Target="../media/image2011.svg"/><Relationship Id="rId203" Type="http://schemas.openxmlformats.org/officeDocument/2006/relationships/image" Target="../media/image1239.svg"/><Relationship Id="rId19" Type="http://schemas.openxmlformats.org/officeDocument/2006/relationships/image" Target="../media/image1831.svg"/><Relationship Id="rId224" Type="http://schemas.openxmlformats.org/officeDocument/2006/relationships/image" Target="../media/image2030.png"/><Relationship Id="rId30" Type="http://schemas.openxmlformats.org/officeDocument/2006/relationships/image" Target="../media/image1842.png"/><Relationship Id="rId105" Type="http://schemas.openxmlformats.org/officeDocument/2006/relationships/image" Target="../media/image1917.svg"/><Relationship Id="rId126" Type="http://schemas.openxmlformats.org/officeDocument/2006/relationships/image" Target="../media/image1938.png"/><Relationship Id="rId147" Type="http://schemas.openxmlformats.org/officeDocument/2006/relationships/image" Target="../media/image1959.svg"/><Relationship Id="rId168" Type="http://schemas.openxmlformats.org/officeDocument/2006/relationships/image" Target="../media/image1980.png"/><Relationship Id="rId51" Type="http://schemas.openxmlformats.org/officeDocument/2006/relationships/image" Target="../media/image1863.svg"/><Relationship Id="rId72" Type="http://schemas.openxmlformats.org/officeDocument/2006/relationships/image" Target="../media/image1884.png"/><Relationship Id="rId93" Type="http://schemas.openxmlformats.org/officeDocument/2006/relationships/image" Target="../media/image1905.svg"/><Relationship Id="rId189" Type="http://schemas.openxmlformats.org/officeDocument/2006/relationships/image" Target="../media/image2001.svg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6C428D-60E9-5E42-BDC5-F08679911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3322376"/>
            <a:ext cx="8686800" cy="590931"/>
          </a:xfrm>
        </p:spPr>
        <p:txBody>
          <a:bodyPr/>
          <a:lstStyle/>
          <a:p>
            <a:r>
              <a:rPr lang="en-US" sz="2800" dirty="0"/>
              <a:t>Client Name </a:t>
            </a:r>
            <a:br>
              <a:rPr lang="en-US" sz="2800" dirty="0"/>
            </a:br>
            <a:r>
              <a:rPr lang="en-US" sz="2000" dirty="0"/>
              <a:t>Project Objective</a:t>
            </a:r>
            <a:endParaRPr lang="en-US" sz="28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2A195A-9B3F-C743-B8AC-3D7EEAA070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3913307"/>
            <a:ext cx="8686800" cy="457200"/>
          </a:xfrm>
        </p:spPr>
        <p:txBody>
          <a:bodyPr/>
          <a:lstStyle/>
          <a:p>
            <a:r>
              <a:rPr lang="en-US" dirty="0"/>
              <a:t>Team Name / Number</a:t>
            </a:r>
          </a:p>
          <a:p>
            <a:r>
              <a:rPr lang="en-US" dirty="0"/>
              <a:t>Dat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6F30A4-CB8D-421B-A38D-18D6E1B64AD3}"/>
              </a:ext>
            </a:extLst>
          </p:cNvPr>
          <p:cNvSpPr txBox="1"/>
          <p:nvPr/>
        </p:nvSpPr>
        <p:spPr>
          <a:xfrm>
            <a:off x="1642684" y="4551770"/>
            <a:ext cx="6149946" cy="34391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tIns="91440" bIns="91440"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For final presentation – cut/paste link to video here…</a:t>
            </a:r>
          </a:p>
        </p:txBody>
      </p:sp>
    </p:spTree>
    <p:extLst>
      <p:ext uri="{BB962C8B-B14F-4D97-AF65-F5344CB8AC3E}">
        <p14:creationId xmlns:p14="http://schemas.microsoft.com/office/powerpoint/2010/main" val="41589422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55943" cy="545464"/>
          </a:xfrm>
        </p:spPr>
        <p:txBody>
          <a:bodyPr/>
          <a:lstStyle/>
          <a:p>
            <a:r>
              <a:rPr lang="en-US" dirty="0"/>
              <a:t>Growth opportunities</a:t>
            </a:r>
          </a:p>
        </p:txBody>
      </p:sp>
      <p:sp>
        <p:nvSpPr>
          <p:cNvPr id="5" name="Up Arrow 4"/>
          <p:cNvSpPr/>
          <p:nvPr/>
        </p:nvSpPr>
        <p:spPr>
          <a:xfrm>
            <a:off x="693308" y="2262450"/>
            <a:ext cx="1884945" cy="1893475"/>
          </a:xfrm>
          <a:prstGeom prst="upArrow">
            <a:avLst>
              <a:gd name="adj1" fmla="val 70794"/>
              <a:gd name="adj2" fmla="val 37427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bIns="182880" rtlCol="0" anchor="b" anchorCtr="0"/>
          <a:lstStyle/>
          <a:p>
            <a:pPr algn="ctr"/>
            <a:r>
              <a:rPr lang="en-US" sz="2100" dirty="0">
                <a:solidFill>
                  <a:srgbClr val="FFFFFF"/>
                </a:solidFill>
              </a:rPr>
              <a:t> </a:t>
            </a:r>
            <a:r>
              <a:rPr lang="en-US" sz="2100" dirty="0" err="1">
                <a:solidFill>
                  <a:srgbClr val="FFFFFF"/>
                </a:solidFill>
              </a:rPr>
              <a:t>xxxx</a:t>
            </a:r>
            <a:endParaRPr lang="en-US" sz="2100" dirty="0">
              <a:solidFill>
                <a:srgbClr val="FFFFFF"/>
              </a:solidFill>
            </a:endParaRPr>
          </a:p>
          <a:p>
            <a:pPr algn="ctr"/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xx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 xx</a:t>
            </a:r>
          </a:p>
        </p:txBody>
      </p:sp>
      <p:sp>
        <p:nvSpPr>
          <p:cNvPr id="13" name="Up Arrow 12"/>
          <p:cNvSpPr/>
          <p:nvPr/>
        </p:nvSpPr>
        <p:spPr>
          <a:xfrm>
            <a:off x="2653291" y="1887674"/>
            <a:ext cx="1884945" cy="2268252"/>
          </a:xfrm>
          <a:prstGeom prst="upArrow">
            <a:avLst>
              <a:gd name="adj1" fmla="val 70794"/>
              <a:gd name="adj2" fmla="val 37427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bIns="182880" rtlCol="0" anchor="b" anchorCtr="0"/>
          <a:lstStyle/>
          <a:p>
            <a:pPr algn="ctr"/>
            <a:r>
              <a:rPr lang="en-US" sz="2100" dirty="0">
                <a:solidFill>
                  <a:srgbClr val="FFFFFF"/>
                </a:solidFill>
              </a:rPr>
              <a:t> </a:t>
            </a:r>
            <a:r>
              <a:rPr lang="en-US" sz="2100" dirty="0" err="1">
                <a:solidFill>
                  <a:srgbClr val="FFFFFF"/>
                </a:solidFill>
              </a:rPr>
              <a:t>xxxx</a:t>
            </a:r>
            <a:endParaRPr lang="en-US" sz="2100" dirty="0">
              <a:solidFill>
                <a:srgbClr val="FFFFFF"/>
              </a:solidFill>
            </a:endParaRPr>
          </a:p>
          <a:p>
            <a:pPr algn="ctr"/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xx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 xx</a:t>
            </a:r>
          </a:p>
        </p:txBody>
      </p:sp>
      <p:sp>
        <p:nvSpPr>
          <p:cNvPr id="14" name="Up Arrow 13"/>
          <p:cNvSpPr/>
          <p:nvPr/>
        </p:nvSpPr>
        <p:spPr>
          <a:xfrm>
            <a:off x="4613273" y="1454727"/>
            <a:ext cx="1884945" cy="2701199"/>
          </a:xfrm>
          <a:prstGeom prst="upArrow">
            <a:avLst>
              <a:gd name="adj1" fmla="val 70794"/>
              <a:gd name="adj2" fmla="val 37427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bIns="182880" rtlCol="0" anchor="b" anchorCtr="0"/>
          <a:lstStyle/>
          <a:p>
            <a:pPr algn="ctr"/>
            <a:r>
              <a:rPr lang="en-US" sz="2100" dirty="0">
                <a:solidFill>
                  <a:srgbClr val="FFFFFF"/>
                </a:solidFill>
              </a:rPr>
              <a:t> </a:t>
            </a:r>
            <a:r>
              <a:rPr lang="en-US" sz="2100" dirty="0" err="1">
                <a:solidFill>
                  <a:srgbClr val="FFFFFF"/>
                </a:solidFill>
              </a:rPr>
              <a:t>xxxx</a:t>
            </a:r>
            <a:endParaRPr lang="en-US" sz="2100" dirty="0">
              <a:solidFill>
                <a:srgbClr val="FFFFFF"/>
              </a:solidFill>
            </a:endParaRPr>
          </a:p>
          <a:p>
            <a:pPr algn="ctr"/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xx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 xx</a:t>
            </a:r>
          </a:p>
        </p:txBody>
      </p:sp>
      <p:sp>
        <p:nvSpPr>
          <p:cNvPr id="15" name="Up Arrow 14"/>
          <p:cNvSpPr/>
          <p:nvPr/>
        </p:nvSpPr>
        <p:spPr>
          <a:xfrm>
            <a:off x="6573256" y="1075838"/>
            <a:ext cx="1884945" cy="3080088"/>
          </a:xfrm>
          <a:prstGeom prst="upArrow">
            <a:avLst>
              <a:gd name="adj1" fmla="val 70794"/>
              <a:gd name="adj2" fmla="val 37427"/>
            </a:avLst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bIns="182880" rtlCol="0" anchor="b" anchorCtr="0"/>
          <a:lstStyle/>
          <a:p>
            <a:pPr algn="ctr"/>
            <a:r>
              <a:rPr lang="en-US" sz="2100" dirty="0">
                <a:solidFill>
                  <a:srgbClr val="FFFFFF"/>
                </a:solidFill>
              </a:rPr>
              <a:t> </a:t>
            </a:r>
            <a:r>
              <a:rPr lang="en-US" sz="2100" dirty="0" err="1">
                <a:solidFill>
                  <a:srgbClr val="FFFFFF"/>
                </a:solidFill>
              </a:rPr>
              <a:t>xxxx</a:t>
            </a:r>
            <a:endParaRPr lang="en-US" sz="2100" dirty="0">
              <a:solidFill>
                <a:srgbClr val="FFFFFF"/>
              </a:solidFill>
            </a:endParaRPr>
          </a:p>
          <a:p>
            <a:pPr algn="ctr"/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xx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 xx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0955" y="2421347"/>
            <a:ext cx="698500" cy="40569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3837" y="2417123"/>
            <a:ext cx="323851" cy="46264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5228" y="2399822"/>
            <a:ext cx="381000" cy="43044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6952" y="2493773"/>
            <a:ext cx="577658" cy="369368"/>
          </a:xfrm>
          <a:prstGeom prst="rect">
            <a:avLst/>
          </a:prstGeom>
        </p:spPr>
      </p:pic>
      <p:sp>
        <p:nvSpPr>
          <p:cNvPr id="12" name="Footer Placeholder 99">
            <a:extLst>
              <a:ext uri="{FF2B5EF4-FFF2-40B4-BE49-F238E27FC236}">
                <a16:creationId xmlns:a16="http://schemas.microsoft.com/office/drawing/2014/main" id="{B967CC8F-A7C7-4CA8-8AF1-244E370A49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Slide Number Placeholder 100">
            <a:extLst>
              <a:ext uri="{FF2B5EF4-FFF2-40B4-BE49-F238E27FC236}">
                <a16:creationId xmlns:a16="http://schemas.microsoft.com/office/drawing/2014/main" id="{30ED98EB-CA2D-46F0-BB2E-1CBC789EF1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21" name="Text Placeholder 41">
            <a:extLst>
              <a:ext uri="{FF2B5EF4-FFF2-40B4-BE49-F238E27FC236}">
                <a16:creationId xmlns:a16="http://schemas.microsoft.com/office/drawing/2014/main" id="{730E2574-A07F-4985-8E9E-671E90C13E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36374976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81823" cy="545464"/>
          </a:xfrm>
        </p:spPr>
        <p:txBody>
          <a:bodyPr/>
          <a:lstStyle/>
          <a:p>
            <a:r>
              <a:rPr lang="en-US" dirty="0"/>
              <a:t>Related concepts, products, business units</a:t>
            </a:r>
          </a:p>
        </p:txBody>
      </p:sp>
      <p:sp>
        <p:nvSpPr>
          <p:cNvPr id="4" name="Rectangle 3"/>
          <p:cNvSpPr/>
          <p:nvPr/>
        </p:nvSpPr>
        <p:spPr>
          <a:xfrm>
            <a:off x="3801257" y="1275606"/>
            <a:ext cx="1541487" cy="386838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36151" tIns="36151" rIns="36151" bIns="36151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350" dirty="0" err="1">
                <a:solidFill>
                  <a:srgbClr val="FFFFFF"/>
                </a:solidFill>
              </a:rPr>
              <a:t>Xxxx</a:t>
            </a:r>
            <a:r>
              <a:rPr lang="en-US" sz="1350" dirty="0">
                <a:solidFill>
                  <a:srgbClr val="FFFFFF"/>
                </a:solidFill>
              </a:rPr>
              <a:t> X </a:t>
            </a:r>
            <a:r>
              <a:rPr lang="en-US" sz="1350" dirty="0" err="1">
                <a:solidFill>
                  <a:srgbClr val="FFFFFF"/>
                </a:solidFill>
              </a:rPr>
              <a:t>x</a:t>
            </a: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055697" y="2096183"/>
            <a:ext cx="1635695" cy="386838"/>
          </a:xfrm>
          <a:prstGeom prst="rect">
            <a:avLst/>
          </a:prstGeom>
          <a:solidFill>
            <a:schemeClr val="tx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36151" tIns="36151" rIns="36151" bIns="36151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350" dirty="0" err="1">
                <a:solidFill>
                  <a:srgbClr val="FFFFFF"/>
                </a:solidFill>
              </a:rPr>
              <a:t>Xxxx</a:t>
            </a:r>
            <a:r>
              <a:rPr lang="en-US" sz="1350" dirty="0">
                <a:solidFill>
                  <a:srgbClr val="FFFFFF"/>
                </a:solidFill>
              </a:rPr>
              <a:t> Xxx X</a:t>
            </a:r>
          </a:p>
        </p:txBody>
      </p:sp>
      <p:sp>
        <p:nvSpPr>
          <p:cNvPr id="6" name="Rectangle 5"/>
          <p:cNvSpPr/>
          <p:nvPr/>
        </p:nvSpPr>
        <p:spPr>
          <a:xfrm>
            <a:off x="2854668" y="2096183"/>
            <a:ext cx="1635695" cy="386838"/>
          </a:xfrm>
          <a:prstGeom prst="rect">
            <a:avLst/>
          </a:prstGeom>
          <a:solidFill>
            <a:schemeClr val="tx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36151" tIns="36151" rIns="36151" bIns="36151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350" dirty="0" err="1">
                <a:solidFill>
                  <a:srgbClr val="FFFFFF"/>
                </a:solidFill>
              </a:rPr>
              <a:t>Xxxx</a:t>
            </a:r>
            <a:r>
              <a:rPr lang="en-US" sz="1350" dirty="0">
                <a:solidFill>
                  <a:srgbClr val="FFFFFF"/>
                </a:solidFill>
              </a:rPr>
              <a:t> Xxx X</a:t>
            </a:r>
          </a:p>
        </p:txBody>
      </p:sp>
      <p:sp>
        <p:nvSpPr>
          <p:cNvPr id="7" name="Rectangle 6"/>
          <p:cNvSpPr/>
          <p:nvPr/>
        </p:nvSpPr>
        <p:spPr>
          <a:xfrm>
            <a:off x="4653638" y="2096183"/>
            <a:ext cx="1635695" cy="386838"/>
          </a:xfrm>
          <a:prstGeom prst="rect">
            <a:avLst/>
          </a:prstGeom>
          <a:solidFill>
            <a:schemeClr val="tx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36151" tIns="36151" rIns="36151" bIns="36151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350" dirty="0" err="1">
                <a:solidFill>
                  <a:srgbClr val="FFFFFF"/>
                </a:solidFill>
              </a:rPr>
              <a:t>Xxxx</a:t>
            </a:r>
            <a:r>
              <a:rPr lang="en-US" sz="1350" dirty="0">
                <a:solidFill>
                  <a:srgbClr val="FFFFFF"/>
                </a:solidFill>
              </a:rPr>
              <a:t> Xxx X</a:t>
            </a:r>
          </a:p>
        </p:txBody>
      </p:sp>
      <p:sp>
        <p:nvSpPr>
          <p:cNvPr id="8" name="Rectangle 7"/>
          <p:cNvSpPr/>
          <p:nvPr/>
        </p:nvSpPr>
        <p:spPr>
          <a:xfrm>
            <a:off x="1055698" y="2482801"/>
            <a:ext cx="1635695" cy="1674311"/>
          </a:xfrm>
          <a:prstGeom prst="rect">
            <a:avLst/>
          </a:prstGeom>
          <a:solidFill>
            <a:schemeClr val="tx1">
              <a:alpha val="8000"/>
            </a:schemeClr>
          </a:solidFill>
        </p:spPr>
        <p:txBody>
          <a:bodyPr wrap="square" lIns="137160" tIns="137160" rIns="137160" bIns="137160">
            <a:noAutofit/>
          </a:bodyPr>
          <a:lstStyle/>
          <a:p>
            <a:pPr>
              <a:lnSpc>
                <a:spcPct val="89000"/>
              </a:lnSpc>
            </a:pP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xx</a:t>
            </a:r>
            <a:r>
              <a:rPr lang="en-US" sz="900" dirty="0"/>
              <a:t> xxx xx </a:t>
            </a:r>
            <a:r>
              <a:rPr lang="en-US" sz="900" dirty="0" err="1"/>
              <a:t>xxxxxxxx</a:t>
            </a:r>
            <a:r>
              <a:rPr lang="en-US" sz="900" dirty="0"/>
              <a:t> </a:t>
            </a:r>
            <a:r>
              <a:rPr lang="en-US" sz="900" dirty="0" err="1"/>
              <a:t>xxxxxx</a:t>
            </a:r>
            <a:r>
              <a:rPr lang="en-US" sz="900" dirty="0"/>
              <a:t> x xx X </a:t>
            </a:r>
            <a:r>
              <a:rPr lang="en-US" sz="900" dirty="0" err="1"/>
              <a:t>x</a:t>
            </a:r>
            <a:r>
              <a:rPr lang="en-US" sz="900" dirty="0"/>
              <a:t> </a:t>
            </a:r>
            <a:r>
              <a:rPr lang="en-US" sz="900" dirty="0" err="1"/>
              <a:t>xxxx</a:t>
            </a:r>
            <a:r>
              <a:rPr lang="en-US" sz="900" dirty="0"/>
              <a:t> x </a:t>
            </a:r>
            <a:r>
              <a:rPr lang="en-US" sz="900" dirty="0" err="1"/>
              <a:t>xxxx</a:t>
            </a:r>
            <a:r>
              <a:rPr lang="en-US" sz="900" dirty="0"/>
              <a:t> </a:t>
            </a:r>
            <a:r>
              <a:rPr lang="en-US" sz="900" dirty="0" err="1"/>
              <a:t>Xxxx</a:t>
            </a:r>
            <a:r>
              <a:rPr lang="en-US" sz="900" dirty="0"/>
              <a:t> xx </a:t>
            </a:r>
            <a:r>
              <a:rPr lang="en-US" sz="900" dirty="0" err="1"/>
              <a:t>xxxxx</a:t>
            </a:r>
            <a:r>
              <a:rPr lang="en-US" sz="900" dirty="0"/>
              <a:t> xxx xx </a:t>
            </a:r>
            <a:r>
              <a:rPr lang="en-US" sz="900" dirty="0" err="1"/>
              <a:t>xxxxxxxxx</a:t>
            </a:r>
            <a:r>
              <a:rPr lang="en-US" sz="900" dirty="0"/>
              <a:t> xx </a:t>
            </a:r>
            <a:r>
              <a:rPr lang="en-US" sz="900" dirty="0" err="1"/>
              <a:t>Xxxxxxxxxx</a:t>
            </a:r>
            <a:r>
              <a:rPr lang="en-US" sz="900" dirty="0"/>
              <a:t> xx </a:t>
            </a:r>
            <a:r>
              <a:rPr lang="en-US" sz="900" dirty="0" err="1"/>
              <a:t>xxxxxxxxxxxx</a:t>
            </a:r>
            <a:r>
              <a:rPr lang="en-US" sz="900" dirty="0"/>
              <a:t> x </a:t>
            </a:r>
            <a:r>
              <a:rPr lang="en-US" sz="900" dirty="0" err="1"/>
              <a:t>xxxxx</a:t>
            </a:r>
            <a:r>
              <a:rPr lang="en-US" sz="900" dirty="0"/>
              <a:t> xx </a:t>
            </a:r>
            <a:r>
              <a:rPr lang="en-US" sz="900" dirty="0" err="1"/>
              <a:t>xx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</a:t>
            </a:r>
            <a:r>
              <a:rPr lang="en-US" sz="900" dirty="0"/>
              <a:t> </a:t>
            </a:r>
            <a:r>
              <a:rPr lang="en-US" sz="900" dirty="0" err="1"/>
              <a:t>xxxxxx</a:t>
            </a:r>
            <a:r>
              <a:rPr lang="en-US" sz="900" dirty="0"/>
              <a:t> </a:t>
            </a:r>
            <a:r>
              <a:rPr lang="en-US" sz="900" dirty="0" err="1"/>
              <a:t>xxxxxxxxx</a:t>
            </a:r>
            <a:r>
              <a:rPr lang="en-US" sz="900" dirty="0"/>
              <a:t> xx </a:t>
            </a:r>
            <a:r>
              <a:rPr lang="en-US" sz="900" dirty="0" err="1"/>
              <a:t>xxxxxxxxxxxxxxxx</a:t>
            </a:r>
            <a:r>
              <a:rPr lang="en-US" sz="900" dirty="0"/>
              <a:t> </a:t>
            </a:r>
          </a:p>
        </p:txBody>
      </p:sp>
      <p:sp>
        <p:nvSpPr>
          <p:cNvPr id="9" name="Rectangle 8"/>
          <p:cNvSpPr/>
          <p:nvPr/>
        </p:nvSpPr>
        <p:spPr>
          <a:xfrm>
            <a:off x="6452609" y="2096183"/>
            <a:ext cx="1635695" cy="386838"/>
          </a:xfrm>
          <a:prstGeom prst="rect">
            <a:avLst/>
          </a:prstGeom>
          <a:solidFill>
            <a:schemeClr val="tx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36151" tIns="36151" rIns="36151" bIns="36151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350" dirty="0" err="1">
                <a:solidFill>
                  <a:srgbClr val="FFFFFF"/>
                </a:solidFill>
              </a:rPr>
              <a:t>Xxxx</a:t>
            </a:r>
            <a:r>
              <a:rPr lang="en-US" sz="1350" dirty="0">
                <a:solidFill>
                  <a:srgbClr val="FFFFFF"/>
                </a:solidFill>
              </a:rPr>
              <a:t> Xxx X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852428" y="2482801"/>
            <a:ext cx="1635695" cy="1674311"/>
          </a:xfrm>
          <a:prstGeom prst="rect">
            <a:avLst/>
          </a:prstGeom>
          <a:solidFill>
            <a:schemeClr val="tx1">
              <a:alpha val="8000"/>
            </a:schemeClr>
          </a:solidFill>
        </p:spPr>
        <p:txBody>
          <a:bodyPr wrap="square" lIns="137160" tIns="137160" rIns="137160" bIns="137160">
            <a:noAutofit/>
          </a:bodyPr>
          <a:lstStyle/>
          <a:p>
            <a:pPr>
              <a:lnSpc>
                <a:spcPct val="89000"/>
              </a:lnSpc>
            </a:pPr>
            <a:r>
              <a:rPr lang="en-US" sz="900" dirty="0" err="1"/>
              <a:t>Xx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</a:t>
            </a:r>
            <a:r>
              <a:rPr lang="en-US" sz="900" dirty="0"/>
              <a:t> x </a:t>
            </a: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xx</a:t>
            </a:r>
            <a:r>
              <a:rPr lang="en-US" sz="900" dirty="0"/>
              <a:t> x xxx </a:t>
            </a:r>
            <a:r>
              <a:rPr lang="en-US" sz="900" dirty="0" err="1"/>
              <a:t>xxxxxxx</a:t>
            </a:r>
            <a:r>
              <a:rPr lang="en-US" sz="900" dirty="0"/>
              <a:t> x </a:t>
            </a:r>
            <a:r>
              <a:rPr lang="en-US" sz="900" dirty="0" err="1"/>
              <a:t>xxxxxx</a:t>
            </a:r>
            <a:r>
              <a:rPr lang="en-US" sz="900" dirty="0"/>
              <a:t> x xx </a:t>
            </a: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xxxxxxxxx</a:t>
            </a:r>
            <a:r>
              <a:rPr lang="en-US" sz="900" dirty="0"/>
              <a:t> </a:t>
            </a:r>
            <a:r>
              <a:rPr lang="en-US" sz="900" dirty="0" err="1"/>
              <a:t>Xxxxxxx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xx xxx xx xxx </a:t>
            </a:r>
            <a:r>
              <a:rPr lang="en-US" sz="900" dirty="0" err="1"/>
              <a:t>xxxxxx</a:t>
            </a:r>
            <a:r>
              <a:rPr lang="en-US" sz="900" dirty="0"/>
              <a:t> x Xx xxx </a:t>
            </a:r>
            <a:r>
              <a:rPr lang="en-US" sz="900" dirty="0" err="1"/>
              <a:t>xxx</a:t>
            </a:r>
            <a:r>
              <a:rPr lang="en-US" sz="900" dirty="0"/>
              <a:t> </a:t>
            </a:r>
            <a:r>
              <a:rPr lang="en-US" sz="900" dirty="0" err="1"/>
              <a:t>xxx</a:t>
            </a:r>
            <a:r>
              <a:rPr lang="en-US" sz="900" dirty="0"/>
              <a:t> </a:t>
            </a:r>
            <a:r>
              <a:rPr lang="en-US" sz="900" dirty="0" err="1"/>
              <a:t>xxx</a:t>
            </a:r>
            <a:r>
              <a:rPr lang="en-US" sz="900" dirty="0"/>
              <a:t> x </a:t>
            </a:r>
            <a:r>
              <a:rPr lang="en-US" sz="900" dirty="0" err="1"/>
              <a:t>xxxx</a:t>
            </a:r>
            <a:r>
              <a:rPr lang="en-US" sz="900" dirty="0"/>
              <a:t> xxx xx </a:t>
            </a:r>
            <a:r>
              <a:rPr lang="en-US" sz="900" dirty="0" err="1"/>
              <a:t>xxxxx</a:t>
            </a:r>
            <a:r>
              <a:rPr lang="en-US" sz="900" dirty="0"/>
              <a:t> x xxx </a:t>
            </a:r>
            <a:r>
              <a:rPr lang="en-US" sz="900" dirty="0" err="1"/>
              <a:t>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xxxx</a:t>
            </a:r>
            <a:r>
              <a:rPr lang="en-US" sz="900" dirty="0"/>
              <a:t> </a:t>
            </a:r>
            <a:r>
              <a:rPr lang="en-US" sz="900" dirty="0" err="1"/>
              <a:t>xxxx</a:t>
            </a:r>
            <a:endParaRPr lang="en-US" sz="900" dirty="0"/>
          </a:p>
        </p:txBody>
      </p:sp>
      <p:sp>
        <p:nvSpPr>
          <p:cNvPr id="12" name="Rectangle 11"/>
          <p:cNvSpPr/>
          <p:nvPr/>
        </p:nvSpPr>
        <p:spPr>
          <a:xfrm>
            <a:off x="4649158" y="2482801"/>
            <a:ext cx="1635695" cy="1674311"/>
          </a:xfrm>
          <a:prstGeom prst="rect">
            <a:avLst/>
          </a:prstGeom>
          <a:solidFill>
            <a:schemeClr val="tx1">
              <a:alpha val="8000"/>
            </a:schemeClr>
          </a:solidFill>
        </p:spPr>
        <p:txBody>
          <a:bodyPr wrap="square" lIns="137160" tIns="137160" rIns="137160" bIns="137160">
            <a:noAutofit/>
          </a:bodyPr>
          <a:lstStyle/>
          <a:p>
            <a:pPr>
              <a:lnSpc>
                <a:spcPct val="89000"/>
              </a:lnSpc>
            </a:pPr>
            <a:r>
              <a:rPr lang="en-US" sz="900" dirty="0"/>
              <a:t>x </a:t>
            </a:r>
            <a:r>
              <a:rPr lang="en-US" sz="900" dirty="0" err="1"/>
              <a:t>x</a:t>
            </a:r>
            <a:r>
              <a:rPr lang="en-US" sz="900" dirty="0"/>
              <a:t> </a:t>
            </a:r>
            <a:r>
              <a:rPr lang="en-US" sz="900" dirty="0" err="1"/>
              <a:t>xxxxxxx</a:t>
            </a:r>
            <a:r>
              <a:rPr lang="en-US" sz="900" dirty="0"/>
              <a:t> x </a:t>
            </a:r>
            <a:r>
              <a:rPr lang="en-US" sz="900" dirty="0" err="1"/>
              <a:t>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xx</a:t>
            </a:r>
            <a:r>
              <a:rPr lang="en-US" sz="900" dirty="0"/>
              <a:t> xxx xx </a:t>
            </a:r>
            <a:r>
              <a:rPr lang="en-US" sz="900" dirty="0" err="1"/>
              <a:t>xxxxx</a:t>
            </a:r>
            <a:r>
              <a:rPr lang="en-US" sz="900" dirty="0"/>
              <a:t> xx </a:t>
            </a:r>
            <a:r>
              <a:rPr lang="en-US" sz="900" dirty="0" err="1"/>
              <a:t>xxxx</a:t>
            </a:r>
            <a:r>
              <a:rPr lang="en-US" sz="900" dirty="0"/>
              <a:t> </a:t>
            </a:r>
            <a:r>
              <a:rPr lang="en-US" sz="900" dirty="0" err="1"/>
              <a:t>xxxx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xxx </a:t>
            </a:r>
            <a:r>
              <a:rPr lang="en-US" sz="900" dirty="0" err="1"/>
              <a:t>Xxxxxxx</a:t>
            </a:r>
            <a:r>
              <a:rPr lang="en-US" sz="900" dirty="0"/>
              <a:t> </a:t>
            </a:r>
            <a:r>
              <a:rPr lang="en-US" sz="900" dirty="0" err="1"/>
              <a:t>xxxxxxxxxx</a:t>
            </a:r>
            <a:r>
              <a:rPr lang="en-US" sz="900" dirty="0"/>
              <a:t> Xxx </a:t>
            </a:r>
            <a:r>
              <a:rPr lang="en-US" sz="900" dirty="0" err="1"/>
              <a:t>xxxxxxxxx</a:t>
            </a:r>
            <a:r>
              <a:rPr lang="en-US" sz="900" dirty="0"/>
              <a:t> </a:t>
            </a:r>
            <a:r>
              <a:rPr lang="en-US" sz="900" dirty="0" err="1"/>
              <a:t>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x </a:t>
            </a:r>
            <a:r>
              <a:rPr lang="en-US" sz="900" dirty="0" err="1"/>
              <a:t>xxxxx</a:t>
            </a:r>
            <a:r>
              <a:rPr lang="en-US" sz="900" dirty="0"/>
              <a:t> x </a:t>
            </a:r>
            <a:r>
              <a:rPr lang="en-US" sz="900" dirty="0" err="1"/>
              <a:t>xxxxxxxx</a:t>
            </a:r>
            <a:r>
              <a:rPr lang="en-US" sz="900" dirty="0"/>
              <a:t> xx </a:t>
            </a:r>
            <a:r>
              <a:rPr lang="en-US" sz="900" dirty="0" err="1"/>
              <a:t>xxxxxxxx</a:t>
            </a:r>
            <a:r>
              <a:rPr lang="en-US" sz="900" dirty="0"/>
              <a:t> xxx </a:t>
            </a:r>
            <a:r>
              <a:rPr lang="en-US" sz="900" dirty="0" err="1"/>
              <a:t>xxxx</a:t>
            </a:r>
            <a:r>
              <a:rPr lang="en-US" sz="900" dirty="0"/>
              <a:t> xxx </a:t>
            </a:r>
            <a:r>
              <a:rPr lang="en-US" sz="900" dirty="0" err="1"/>
              <a:t>xxx</a:t>
            </a:r>
            <a:r>
              <a:rPr lang="en-US" sz="900" dirty="0"/>
              <a:t> x </a:t>
            </a:r>
            <a:r>
              <a:rPr lang="en-US" sz="900" dirty="0" err="1"/>
              <a:t>xxxx</a:t>
            </a:r>
            <a:r>
              <a:rPr lang="en-US" sz="900" dirty="0"/>
              <a:t>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445888" y="2482801"/>
            <a:ext cx="1635695" cy="1674311"/>
          </a:xfrm>
          <a:prstGeom prst="rect">
            <a:avLst/>
          </a:prstGeom>
          <a:solidFill>
            <a:schemeClr val="tx1">
              <a:alpha val="8000"/>
            </a:schemeClr>
          </a:solidFill>
        </p:spPr>
        <p:txBody>
          <a:bodyPr wrap="square" lIns="137160" tIns="137160" rIns="137160" bIns="137160">
            <a:noAutofit/>
          </a:bodyPr>
          <a:lstStyle/>
          <a:p>
            <a:pPr>
              <a:lnSpc>
                <a:spcPct val="89000"/>
              </a:lnSpc>
            </a:pPr>
            <a:r>
              <a:rPr lang="en-US" sz="900" dirty="0"/>
              <a:t>Xx </a:t>
            </a:r>
            <a:r>
              <a:rPr lang="en-US" sz="900" dirty="0" err="1"/>
              <a:t>xxxxxxx</a:t>
            </a:r>
            <a:r>
              <a:rPr lang="en-US" sz="900" dirty="0"/>
              <a:t> </a:t>
            </a:r>
            <a:r>
              <a:rPr lang="en-US" sz="900" dirty="0" err="1"/>
              <a:t>xxxx</a:t>
            </a:r>
            <a:r>
              <a:rPr lang="en-US" sz="900" dirty="0"/>
              <a:t> </a:t>
            </a:r>
            <a:r>
              <a:rPr lang="en-US" sz="900" dirty="0" err="1"/>
              <a:t>xxxxxx</a:t>
            </a:r>
            <a:r>
              <a:rPr lang="en-US" sz="900" dirty="0"/>
              <a:t> Xx xxx xx </a:t>
            </a:r>
            <a:r>
              <a:rPr lang="en-US" sz="900" dirty="0" err="1"/>
              <a:t>xxxxxx</a:t>
            </a:r>
            <a:r>
              <a:rPr lang="en-US" sz="900" dirty="0"/>
              <a:t> x xxx x xxx </a:t>
            </a:r>
            <a:r>
              <a:rPr lang="en-US" sz="900" dirty="0" err="1"/>
              <a:t>xxx</a:t>
            </a:r>
            <a:r>
              <a:rPr lang="en-US" sz="900" dirty="0"/>
              <a:t> xx </a:t>
            </a: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xxx</a:t>
            </a:r>
            <a:r>
              <a:rPr lang="en-US" sz="900" dirty="0"/>
              <a:t> xx </a:t>
            </a:r>
            <a:r>
              <a:rPr lang="en-US" sz="900" dirty="0" err="1"/>
              <a:t>xx</a:t>
            </a:r>
            <a:r>
              <a:rPr lang="en-US" sz="900" dirty="0"/>
              <a:t> x </a:t>
            </a:r>
            <a:r>
              <a:rPr lang="en-US" sz="900" dirty="0" err="1"/>
              <a:t>xxxxxx</a:t>
            </a:r>
            <a:r>
              <a:rPr lang="en-US" sz="900" dirty="0"/>
              <a:t> </a:t>
            </a:r>
            <a:r>
              <a:rPr lang="en-US" sz="900" dirty="0" err="1"/>
              <a:t>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xx </a:t>
            </a:r>
            <a:r>
              <a:rPr lang="en-US" sz="900" dirty="0" err="1"/>
              <a:t>xxxxxx</a:t>
            </a:r>
            <a:r>
              <a:rPr lang="en-US" sz="900" dirty="0"/>
              <a:t> xx </a:t>
            </a:r>
            <a:r>
              <a:rPr lang="en-US" sz="900" dirty="0" err="1"/>
              <a:t>Xxxx</a:t>
            </a:r>
            <a:r>
              <a:rPr lang="en-US" sz="900" dirty="0"/>
              <a:t> xx </a:t>
            </a:r>
            <a:r>
              <a:rPr lang="en-US" sz="900" dirty="0" err="1"/>
              <a:t>xxxxxxx</a:t>
            </a:r>
            <a:r>
              <a:rPr lang="en-US" sz="900" dirty="0"/>
              <a:t> x </a:t>
            </a:r>
            <a:r>
              <a:rPr lang="en-US" sz="900" dirty="0" err="1"/>
              <a:t>xxxxxxx</a:t>
            </a:r>
            <a:r>
              <a:rPr lang="en-US" sz="900" dirty="0"/>
              <a:t> </a:t>
            </a:r>
            <a:r>
              <a:rPr lang="en-US" sz="900" dirty="0" err="1"/>
              <a:t>xxxxxxxx</a:t>
            </a:r>
            <a:r>
              <a:rPr lang="en-US" sz="900" dirty="0"/>
              <a:t> </a:t>
            </a:r>
            <a:r>
              <a:rPr lang="en-US" sz="900" dirty="0" err="1"/>
              <a:t>xxxxxxxx</a:t>
            </a:r>
            <a:r>
              <a:rPr lang="en-US" sz="900" dirty="0"/>
              <a:t> </a:t>
            </a:r>
            <a:r>
              <a:rPr lang="en-US" sz="900" dirty="0" err="1"/>
              <a:t>xxxx</a:t>
            </a:r>
            <a:r>
              <a:rPr lang="en-US" sz="900" dirty="0"/>
              <a:t> </a:t>
            </a:r>
            <a:r>
              <a:rPr lang="en-US" sz="900" dirty="0" err="1"/>
              <a:t>xxxx</a:t>
            </a:r>
            <a:r>
              <a:rPr lang="en-US" sz="900" dirty="0"/>
              <a:t> x xx</a:t>
            </a:r>
          </a:p>
        </p:txBody>
      </p:sp>
      <p:cxnSp>
        <p:nvCxnSpPr>
          <p:cNvPr id="15" name="Elbow Connector 14"/>
          <p:cNvCxnSpPr>
            <a:stCxn id="4" idx="2"/>
            <a:endCxn id="5" idx="0"/>
          </p:cNvCxnSpPr>
          <p:nvPr/>
        </p:nvCxnSpPr>
        <p:spPr>
          <a:xfrm rot="5400000">
            <a:off x="3005904" y="530086"/>
            <a:ext cx="433739" cy="2698456"/>
          </a:xfrm>
          <a:prstGeom prst="bentConnector3">
            <a:avLst/>
          </a:prstGeom>
          <a:ln w="63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15"/>
          <p:cNvCxnSpPr>
            <a:stCxn id="4" idx="2"/>
            <a:endCxn id="9" idx="0"/>
          </p:cNvCxnSpPr>
          <p:nvPr/>
        </p:nvCxnSpPr>
        <p:spPr>
          <a:xfrm rot="16200000" flipH="1">
            <a:off x="5704360" y="530085"/>
            <a:ext cx="433739" cy="2698457"/>
          </a:xfrm>
          <a:prstGeom prst="bentConnector3">
            <a:avLst>
              <a:gd name="adj1" fmla="val 50000"/>
            </a:avLst>
          </a:prstGeom>
          <a:ln w="63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18"/>
          <p:cNvCxnSpPr>
            <a:stCxn id="4" idx="2"/>
            <a:endCxn id="7" idx="0"/>
          </p:cNvCxnSpPr>
          <p:nvPr/>
        </p:nvCxnSpPr>
        <p:spPr>
          <a:xfrm rot="16200000" flipH="1">
            <a:off x="4804874" y="1429570"/>
            <a:ext cx="433739" cy="899486"/>
          </a:xfrm>
          <a:prstGeom prst="bentConnector3">
            <a:avLst>
              <a:gd name="adj1" fmla="val 50000"/>
            </a:avLst>
          </a:prstGeom>
          <a:ln w="63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/>
          <p:cNvCxnSpPr>
            <a:stCxn id="4" idx="2"/>
            <a:endCxn id="6" idx="0"/>
          </p:cNvCxnSpPr>
          <p:nvPr/>
        </p:nvCxnSpPr>
        <p:spPr>
          <a:xfrm rot="5400000">
            <a:off x="3905389" y="1429572"/>
            <a:ext cx="433739" cy="899485"/>
          </a:xfrm>
          <a:prstGeom prst="bentConnector3">
            <a:avLst>
              <a:gd name="adj1" fmla="val 50000"/>
            </a:avLst>
          </a:prstGeom>
          <a:ln w="63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99">
            <a:extLst>
              <a:ext uri="{FF2B5EF4-FFF2-40B4-BE49-F238E27FC236}">
                <a16:creationId xmlns:a16="http://schemas.microsoft.com/office/drawing/2014/main" id="{D353DAD4-5A8E-4A40-9A8C-97BAA1FEE78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Slide Number Placeholder 100">
            <a:extLst>
              <a:ext uri="{FF2B5EF4-FFF2-40B4-BE49-F238E27FC236}">
                <a16:creationId xmlns:a16="http://schemas.microsoft.com/office/drawing/2014/main" id="{6A6BBDEF-8FEB-4C5E-B0E0-80ACA052937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522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47317" cy="545464"/>
          </a:xfrm>
        </p:spPr>
        <p:txBody>
          <a:bodyPr/>
          <a:lstStyle/>
          <a:p>
            <a:r>
              <a:rPr lang="en-US" dirty="0"/>
              <a:t>Summary of key topics, points, conclusion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5513614" y="1572434"/>
            <a:ext cx="2478311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500" dirty="0"/>
              <a:t>Xx x </a:t>
            </a:r>
            <a:r>
              <a:rPr lang="en-US" sz="1500" dirty="0" err="1"/>
              <a:t>xxxxx</a:t>
            </a:r>
            <a:r>
              <a:rPr lang="en-US" sz="1500" dirty="0"/>
              <a:t> </a:t>
            </a:r>
          </a:p>
          <a:p>
            <a:pPr>
              <a:lnSpc>
                <a:spcPct val="90000"/>
              </a:lnSpc>
            </a:pPr>
            <a:r>
              <a:rPr lang="en-US" sz="1050" dirty="0"/>
              <a:t>X </a:t>
            </a:r>
            <a:r>
              <a:rPr lang="en-US" sz="1050" dirty="0" err="1"/>
              <a:t>x</a:t>
            </a:r>
            <a:r>
              <a:rPr lang="en-US" sz="1050" dirty="0"/>
              <a:t> </a:t>
            </a:r>
            <a:r>
              <a:rPr lang="en-US" sz="1050" dirty="0" err="1"/>
              <a:t>xxxx</a:t>
            </a:r>
            <a:r>
              <a:rPr lang="en-US" sz="1050" dirty="0"/>
              <a:t> x </a:t>
            </a:r>
            <a:r>
              <a:rPr lang="en-US" sz="1050" dirty="0" err="1"/>
              <a:t>xxxxxx</a:t>
            </a:r>
            <a:r>
              <a:rPr lang="en-US" sz="1050" dirty="0"/>
              <a:t> xxx </a:t>
            </a:r>
            <a:r>
              <a:rPr lang="en-US" sz="1050" dirty="0" err="1"/>
              <a:t>xxxxxxx</a:t>
            </a:r>
            <a:r>
              <a:rPr lang="en-US" sz="1050" dirty="0"/>
              <a:t> xxx </a:t>
            </a:r>
            <a:r>
              <a:rPr lang="en-US" sz="1050" dirty="0" err="1"/>
              <a:t>xxxx</a:t>
            </a:r>
            <a:r>
              <a:rPr lang="en-US" sz="1050" dirty="0"/>
              <a:t> x </a:t>
            </a:r>
            <a:r>
              <a:rPr lang="en-US" sz="1050" dirty="0" err="1"/>
              <a:t>x</a:t>
            </a:r>
            <a:endParaRPr lang="en-US" sz="1050" dirty="0"/>
          </a:p>
        </p:txBody>
      </p:sp>
      <p:sp>
        <p:nvSpPr>
          <p:cNvPr id="30" name="Rectangle 29"/>
          <p:cNvSpPr/>
          <p:nvPr/>
        </p:nvSpPr>
        <p:spPr>
          <a:xfrm>
            <a:off x="1905001" y="1572435"/>
            <a:ext cx="2478311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500" dirty="0" err="1"/>
              <a:t>Xxxxxx</a:t>
            </a:r>
            <a:r>
              <a:rPr lang="en-US" sz="1500" dirty="0"/>
              <a:t> </a:t>
            </a:r>
            <a:r>
              <a:rPr lang="en-US" sz="1500" dirty="0" err="1"/>
              <a:t>xxxxx</a:t>
            </a:r>
            <a:r>
              <a:rPr lang="en-US" sz="1500" dirty="0"/>
              <a:t> xxx</a:t>
            </a:r>
          </a:p>
          <a:p>
            <a:pPr>
              <a:lnSpc>
                <a:spcPct val="90000"/>
              </a:lnSpc>
            </a:pPr>
            <a:r>
              <a:rPr lang="en-US" sz="1050" dirty="0" err="1"/>
              <a:t>xxxxxx</a:t>
            </a:r>
            <a:r>
              <a:rPr lang="en-US" sz="1050" dirty="0"/>
              <a:t> x </a:t>
            </a:r>
            <a:r>
              <a:rPr lang="en-US" sz="1050" dirty="0" err="1"/>
              <a:t>xxxxxxxxxxxxxxx</a:t>
            </a:r>
            <a:r>
              <a:rPr lang="en-US" sz="1050" dirty="0"/>
              <a:t> x </a:t>
            </a:r>
            <a:r>
              <a:rPr lang="en-US" sz="1050" dirty="0" err="1"/>
              <a:t>xxxxxx</a:t>
            </a:r>
            <a:r>
              <a:rPr lang="en-US" sz="1050" dirty="0"/>
              <a:t> x xxx x xxx xx xxx x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513614" y="2568114"/>
            <a:ext cx="2478311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500" dirty="0"/>
              <a:t>Xx </a:t>
            </a:r>
            <a:r>
              <a:rPr lang="en-US" sz="1500" dirty="0" err="1"/>
              <a:t>xxxxx</a:t>
            </a:r>
            <a:r>
              <a:rPr lang="en-US" sz="1500" dirty="0"/>
              <a:t> x </a:t>
            </a:r>
            <a:r>
              <a:rPr lang="en-US" sz="1500" dirty="0" err="1"/>
              <a:t>xxxxx</a:t>
            </a:r>
            <a:endParaRPr lang="en-US" sz="1500" dirty="0"/>
          </a:p>
          <a:p>
            <a:pPr>
              <a:lnSpc>
                <a:spcPct val="90000"/>
              </a:lnSpc>
            </a:pPr>
            <a:r>
              <a:rPr lang="en-US" sz="1050" dirty="0" err="1"/>
              <a:t>Xxxxx</a:t>
            </a:r>
            <a:r>
              <a:rPr lang="en-US" sz="1050" dirty="0"/>
              <a:t> xxx </a:t>
            </a:r>
            <a:r>
              <a:rPr lang="en-US" sz="1050" dirty="0" err="1"/>
              <a:t>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xx </a:t>
            </a:r>
            <a:r>
              <a:rPr lang="en-US" sz="1050" dirty="0" err="1"/>
              <a:t>xxxx</a:t>
            </a:r>
            <a:r>
              <a:rPr lang="en-US" sz="1050" dirty="0"/>
              <a:t> </a:t>
            </a:r>
            <a:r>
              <a:rPr lang="en-US" sz="1050" dirty="0" err="1"/>
              <a:t>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endParaRPr lang="en-US" sz="1050" dirty="0"/>
          </a:p>
        </p:txBody>
      </p:sp>
      <p:sp>
        <p:nvSpPr>
          <p:cNvPr id="32" name="Rectangle 31"/>
          <p:cNvSpPr/>
          <p:nvPr/>
        </p:nvSpPr>
        <p:spPr>
          <a:xfrm>
            <a:off x="5513614" y="3531514"/>
            <a:ext cx="2478311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500" dirty="0"/>
              <a:t>Xx xxx </a:t>
            </a:r>
            <a:r>
              <a:rPr lang="en-US" sz="1500" dirty="0" err="1"/>
              <a:t>xxxxxxxx</a:t>
            </a:r>
            <a:r>
              <a:rPr lang="en-US" sz="1500" dirty="0"/>
              <a:t> </a:t>
            </a:r>
          </a:p>
          <a:p>
            <a:pPr>
              <a:lnSpc>
                <a:spcPct val="90000"/>
              </a:lnSpc>
            </a:pPr>
            <a:r>
              <a:rPr lang="en-US" sz="1050" dirty="0"/>
              <a:t>Xx </a:t>
            </a:r>
            <a:r>
              <a:rPr lang="en-US" sz="1050" dirty="0" err="1"/>
              <a:t>xx</a:t>
            </a:r>
            <a:r>
              <a:rPr lang="en-US" sz="1050" dirty="0"/>
              <a:t> </a:t>
            </a:r>
            <a:r>
              <a:rPr lang="en-US" sz="1050" dirty="0" err="1"/>
              <a:t>xxxx</a:t>
            </a:r>
            <a:r>
              <a:rPr lang="en-US" sz="1050" dirty="0"/>
              <a:t> </a:t>
            </a:r>
            <a:r>
              <a:rPr lang="en-US" sz="1050" dirty="0" err="1"/>
              <a:t>xxxx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xxxx</a:t>
            </a:r>
            <a:r>
              <a:rPr lang="en-US" sz="1050" dirty="0"/>
              <a:t> x</a:t>
            </a:r>
          </a:p>
        </p:txBody>
      </p:sp>
      <p:sp>
        <p:nvSpPr>
          <p:cNvPr id="33" name="Rectangle 32"/>
          <p:cNvSpPr/>
          <p:nvPr/>
        </p:nvSpPr>
        <p:spPr>
          <a:xfrm>
            <a:off x="1905001" y="3531514"/>
            <a:ext cx="2478311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500" dirty="0" err="1"/>
              <a:t>Xxxxxx</a:t>
            </a:r>
            <a:endParaRPr lang="en-US" sz="1500" dirty="0"/>
          </a:p>
          <a:p>
            <a:pPr>
              <a:lnSpc>
                <a:spcPct val="90000"/>
              </a:lnSpc>
            </a:pPr>
            <a:r>
              <a:rPr lang="en-US" sz="1050" dirty="0"/>
              <a:t>Xx </a:t>
            </a:r>
            <a:r>
              <a:rPr lang="en-US" sz="1050" dirty="0" err="1"/>
              <a:t>xx</a:t>
            </a:r>
            <a:r>
              <a:rPr lang="en-US" sz="1050" dirty="0"/>
              <a:t> xxx </a:t>
            </a:r>
            <a:r>
              <a:rPr lang="en-US" sz="1050" dirty="0" err="1"/>
              <a:t>xxxxxxxx</a:t>
            </a:r>
            <a:r>
              <a:rPr lang="en-US" sz="1050" dirty="0"/>
              <a:t> xxx </a:t>
            </a:r>
            <a:r>
              <a:rPr lang="en-US" sz="1050" dirty="0" err="1"/>
              <a:t>xxx</a:t>
            </a:r>
            <a:r>
              <a:rPr lang="en-US" sz="1050" dirty="0"/>
              <a:t> xx xxx </a:t>
            </a:r>
            <a:r>
              <a:rPr lang="en-US" sz="1050" dirty="0" err="1"/>
              <a:t>xxxx</a:t>
            </a:r>
            <a:r>
              <a:rPr lang="en-US" sz="1050" dirty="0"/>
              <a:t> xx </a:t>
            </a:r>
            <a:r>
              <a:rPr lang="en-US" sz="1050" dirty="0" err="1"/>
              <a:t>xxxxx</a:t>
            </a:r>
            <a:r>
              <a:rPr lang="en-US" sz="1050" dirty="0"/>
              <a:t> x 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905001" y="2568114"/>
            <a:ext cx="2478311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500" dirty="0" err="1"/>
              <a:t>Xxxxxxxx</a:t>
            </a:r>
            <a:r>
              <a:rPr lang="en-US" sz="1500" dirty="0"/>
              <a:t> xx</a:t>
            </a:r>
          </a:p>
          <a:p>
            <a:pPr>
              <a:lnSpc>
                <a:spcPct val="90000"/>
              </a:lnSpc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</a:t>
            </a:r>
            <a:r>
              <a:rPr lang="en-US" sz="1050" dirty="0"/>
              <a:t> </a:t>
            </a:r>
            <a:r>
              <a:rPr lang="en-US" sz="1050" dirty="0" err="1"/>
              <a:t>xxxx</a:t>
            </a:r>
            <a:r>
              <a:rPr lang="en-US" sz="1050" dirty="0"/>
              <a:t> xx </a:t>
            </a:r>
            <a:r>
              <a:rPr lang="en-US" sz="1050" dirty="0" err="1"/>
              <a:t>Xx</a:t>
            </a:r>
            <a:r>
              <a:rPr lang="en-US" sz="1050" dirty="0"/>
              <a:t> x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</a:t>
            </a:r>
            <a:r>
              <a:rPr lang="en-US" sz="1050" dirty="0"/>
              <a:t> </a:t>
            </a:r>
            <a:r>
              <a:rPr lang="en-US" sz="1050" dirty="0" err="1"/>
              <a:t>xxxxxxx</a:t>
            </a:r>
            <a:r>
              <a:rPr lang="en-US" sz="1050" dirty="0"/>
              <a:t> Xx x </a:t>
            </a:r>
            <a:r>
              <a:rPr lang="en-US" sz="1050" dirty="0" err="1"/>
              <a:t>xxxxxxxx</a:t>
            </a:r>
            <a:r>
              <a:rPr lang="en-US" sz="1050" dirty="0"/>
              <a:t> xx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070432" y="1490422"/>
            <a:ext cx="762000" cy="762000"/>
            <a:chOff x="1427243" y="1987229"/>
            <a:chExt cx="1016000" cy="1016000"/>
          </a:xfrm>
        </p:grpSpPr>
        <p:sp>
          <p:nvSpPr>
            <p:cNvPr id="36" name="Oval 35"/>
            <p:cNvSpPr/>
            <p:nvPr/>
          </p:nvSpPr>
          <p:spPr>
            <a:xfrm>
              <a:off x="1427243" y="1987229"/>
              <a:ext cx="1016000" cy="101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52657" y="2277804"/>
              <a:ext cx="765171" cy="434851"/>
            </a:xfrm>
            <a:prstGeom prst="rect">
              <a:avLst/>
            </a:prstGeom>
          </p:spPr>
        </p:pic>
      </p:grpSp>
      <p:grpSp>
        <p:nvGrpSpPr>
          <p:cNvPr id="38" name="Group 37"/>
          <p:cNvGrpSpPr/>
          <p:nvPr/>
        </p:nvGrpSpPr>
        <p:grpSpPr>
          <a:xfrm>
            <a:off x="4697181" y="1490422"/>
            <a:ext cx="762000" cy="762000"/>
            <a:chOff x="6262908" y="1987229"/>
            <a:chExt cx="1016000" cy="1016000"/>
          </a:xfrm>
          <a:solidFill>
            <a:schemeClr val="tx1"/>
          </a:solidFill>
        </p:grpSpPr>
        <p:sp>
          <p:nvSpPr>
            <p:cNvPr id="39" name="Oval 38"/>
            <p:cNvSpPr/>
            <p:nvPr/>
          </p:nvSpPr>
          <p:spPr>
            <a:xfrm>
              <a:off x="6262908" y="1987229"/>
              <a:ext cx="1016000" cy="1016000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52379" y="2184613"/>
              <a:ext cx="637059" cy="621232"/>
            </a:xfrm>
            <a:prstGeom prst="rect">
              <a:avLst/>
            </a:prstGeom>
            <a:grpFill/>
          </p:spPr>
        </p:pic>
      </p:grpSp>
      <p:grpSp>
        <p:nvGrpSpPr>
          <p:cNvPr id="41" name="Group 40"/>
          <p:cNvGrpSpPr/>
          <p:nvPr/>
        </p:nvGrpSpPr>
        <p:grpSpPr>
          <a:xfrm>
            <a:off x="1070432" y="2486102"/>
            <a:ext cx="762000" cy="762000"/>
            <a:chOff x="1427243" y="3314803"/>
            <a:chExt cx="1016000" cy="1016000"/>
          </a:xfrm>
          <a:solidFill>
            <a:srgbClr val="336FCA"/>
          </a:solidFill>
        </p:grpSpPr>
        <p:sp>
          <p:nvSpPr>
            <p:cNvPr id="42" name="Oval 41"/>
            <p:cNvSpPr/>
            <p:nvPr/>
          </p:nvSpPr>
          <p:spPr>
            <a:xfrm>
              <a:off x="1427243" y="3314803"/>
              <a:ext cx="1016000" cy="1016000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36620" y="3570519"/>
              <a:ext cx="597245" cy="504568"/>
            </a:xfrm>
            <a:prstGeom prst="rect">
              <a:avLst/>
            </a:prstGeom>
            <a:grpFill/>
          </p:spPr>
        </p:pic>
      </p:grpSp>
      <p:grpSp>
        <p:nvGrpSpPr>
          <p:cNvPr id="44" name="Group 43"/>
          <p:cNvGrpSpPr/>
          <p:nvPr/>
        </p:nvGrpSpPr>
        <p:grpSpPr>
          <a:xfrm>
            <a:off x="1070432" y="3449501"/>
            <a:ext cx="762000" cy="762000"/>
            <a:chOff x="1427243" y="4599335"/>
            <a:chExt cx="1016000" cy="1016000"/>
          </a:xfrm>
          <a:solidFill>
            <a:schemeClr val="accent4"/>
          </a:solidFill>
        </p:grpSpPr>
        <p:sp>
          <p:nvSpPr>
            <p:cNvPr id="45" name="Oval 44"/>
            <p:cNvSpPr/>
            <p:nvPr/>
          </p:nvSpPr>
          <p:spPr>
            <a:xfrm>
              <a:off x="1427243" y="4599335"/>
              <a:ext cx="1016000" cy="1016000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9715" y="4771807"/>
              <a:ext cx="671056" cy="671056"/>
            </a:xfrm>
            <a:prstGeom prst="rect">
              <a:avLst/>
            </a:prstGeom>
            <a:grpFill/>
          </p:spPr>
        </p:pic>
      </p:grpSp>
      <p:grpSp>
        <p:nvGrpSpPr>
          <p:cNvPr id="47" name="Group 46"/>
          <p:cNvGrpSpPr/>
          <p:nvPr/>
        </p:nvGrpSpPr>
        <p:grpSpPr>
          <a:xfrm>
            <a:off x="4697181" y="2486102"/>
            <a:ext cx="762000" cy="762000"/>
            <a:chOff x="6262908" y="3314803"/>
            <a:chExt cx="1016000" cy="1016000"/>
          </a:xfrm>
          <a:solidFill>
            <a:srgbClr val="336FCA"/>
          </a:solidFill>
        </p:grpSpPr>
        <p:sp>
          <p:nvSpPr>
            <p:cNvPr id="48" name="Oval 47"/>
            <p:cNvSpPr/>
            <p:nvPr/>
          </p:nvSpPr>
          <p:spPr>
            <a:xfrm>
              <a:off x="6262908" y="3314803"/>
              <a:ext cx="1016000" cy="1016000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89908" y="3623601"/>
              <a:ext cx="762000" cy="398407"/>
            </a:xfrm>
            <a:prstGeom prst="rect">
              <a:avLst/>
            </a:prstGeom>
            <a:grpFill/>
          </p:spPr>
        </p:pic>
      </p:grpSp>
      <p:grpSp>
        <p:nvGrpSpPr>
          <p:cNvPr id="50" name="Group 49"/>
          <p:cNvGrpSpPr/>
          <p:nvPr/>
        </p:nvGrpSpPr>
        <p:grpSpPr>
          <a:xfrm>
            <a:off x="4697181" y="3449501"/>
            <a:ext cx="762000" cy="762000"/>
            <a:chOff x="6262908" y="4599335"/>
            <a:chExt cx="1016000" cy="1016000"/>
          </a:xfrm>
          <a:solidFill>
            <a:schemeClr val="accent4"/>
          </a:solidFill>
        </p:grpSpPr>
        <p:sp>
          <p:nvSpPr>
            <p:cNvPr id="51" name="Oval 50"/>
            <p:cNvSpPr/>
            <p:nvPr/>
          </p:nvSpPr>
          <p:spPr>
            <a:xfrm>
              <a:off x="6262908" y="4599335"/>
              <a:ext cx="1016000" cy="1016000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34278" y="4823701"/>
              <a:ext cx="473263" cy="567267"/>
            </a:xfrm>
            <a:prstGeom prst="rect">
              <a:avLst/>
            </a:prstGeom>
            <a:grpFill/>
          </p:spPr>
        </p:pic>
      </p:grpSp>
      <p:sp>
        <p:nvSpPr>
          <p:cNvPr id="28" name="Footer Placeholder 99">
            <a:extLst>
              <a:ext uri="{FF2B5EF4-FFF2-40B4-BE49-F238E27FC236}">
                <a16:creationId xmlns:a16="http://schemas.microsoft.com/office/drawing/2014/main" id="{F3D9A165-0253-4775-9702-B9C9C2CC56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3" name="Slide Number Placeholder 100">
            <a:extLst>
              <a:ext uri="{FF2B5EF4-FFF2-40B4-BE49-F238E27FC236}">
                <a16:creationId xmlns:a16="http://schemas.microsoft.com/office/drawing/2014/main" id="{756CD1C4-D043-47CE-9026-8F8E45892A3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4" name="Text Placeholder 41">
            <a:extLst>
              <a:ext uri="{FF2B5EF4-FFF2-40B4-BE49-F238E27FC236}">
                <a16:creationId xmlns:a16="http://schemas.microsoft.com/office/drawing/2014/main" id="{A5DE772F-8B3F-494E-9DAF-957E6B70E6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33122312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81823" cy="545464"/>
          </a:xfrm>
        </p:spPr>
        <p:txBody>
          <a:bodyPr/>
          <a:lstStyle/>
          <a:p>
            <a:r>
              <a:rPr lang="en-US" dirty="0"/>
              <a:t>Key points or summaries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644785" y="1203597"/>
            <a:ext cx="1918375" cy="1980223"/>
            <a:chOff x="644784" y="1059582"/>
            <a:chExt cx="1918375" cy="1980223"/>
          </a:xfrm>
        </p:grpSpPr>
        <p:sp useBgFill="1">
          <p:nvSpPr>
            <p:cNvPr id="4" name="TextBox 3"/>
            <p:cNvSpPr txBox="1"/>
            <p:nvPr/>
          </p:nvSpPr>
          <p:spPr>
            <a:xfrm>
              <a:off x="1171909" y="1059582"/>
              <a:ext cx="1391250" cy="1980222"/>
            </a:xfrm>
            <a:prstGeom prst="rect">
              <a:avLst/>
            </a:prstGeom>
            <a:ln w="3175">
              <a:noFill/>
            </a:ln>
          </p:spPr>
          <p:txBody>
            <a:bodyPr wrap="square" lIns="137160" tIns="91440" rIns="137160" bIns="91440" rtlCol="0">
              <a:noAutofit/>
            </a:bodyPr>
            <a:lstStyle/>
            <a:p>
              <a:r>
                <a:rPr lang="en-US" sz="1000" dirty="0" err="1"/>
                <a:t>Xxxxx</a:t>
              </a:r>
              <a:r>
                <a:rPr lang="en-US" sz="1000" dirty="0"/>
                <a:t> </a:t>
              </a:r>
              <a:r>
                <a:rPr lang="en-US" sz="1000" dirty="0" err="1"/>
                <a:t>xxxxx</a:t>
              </a:r>
              <a:r>
                <a:rPr lang="en-US" sz="1000" dirty="0"/>
                <a:t> </a:t>
              </a:r>
              <a:r>
                <a:rPr lang="en-US" sz="1000" dirty="0" err="1"/>
                <a:t>xxxxxx</a:t>
              </a:r>
              <a:r>
                <a:rPr lang="en-US" sz="1000" dirty="0"/>
                <a:t> xxx </a:t>
              </a:r>
              <a:r>
                <a:rPr lang="en-US" sz="1000" dirty="0" err="1"/>
                <a:t>xxxxx</a:t>
              </a:r>
              <a:r>
                <a:rPr lang="en-US" sz="1000" dirty="0"/>
                <a:t> </a:t>
              </a:r>
              <a:r>
                <a:rPr lang="en-US" sz="1000" dirty="0" err="1"/>
                <a:t>xxxxxxxx</a:t>
              </a:r>
              <a:r>
                <a:rPr lang="en-US" sz="1000" dirty="0"/>
                <a:t> </a:t>
              </a:r>
              <a:r>
                <a:rPr lang="en-US" sz="1000" dirty="0" err="1"/>
                <a:t>xxxx</a:t>
              </a:r>
              <a:r>
                <a:rPr lang="en-US" sz="1000" dirty="0"/>
                <a:t> </a:t>
              </a:r>
              <a:r>
                <a:rPr lang="en-US" sz="1000" dirty="0" err="1"/>
                <a:t>xxxxxx</a:t>
              </a:r>
              <a:r>
                <a:rPr lang="en-US" sz="1000" dirty="0"/>
                <a:t> x xx </a:t>
              </a:r>
              <a:r>
                <a:rPr lang="en-US" sz="1000" dirty="0" err="1"/>
                <a:t>Xxxxxx</a:t>
              </a:r>
              <a:r>
                <a:rPr lang="en-US" sz="1000" dirty="0"/>
                <a:t> x xx </a:t>
              </a:r>
              <a:r>
                <a:rPr lang="en-US" sz="1000" dirty="0" err="1"/>
                <a:t>xxxxx</a:t>
              </a:r>
              <a:r>
                <a:rPr lang="en-US" sz="1000" dirty="0"/>
                <a:t> </a:t>
              </a:r>
              <a:r>
                <a:rPr lang="en-US" sz="1000" dirty="0" err="1"/>
                <a:t>xxxxxxxxx</a:t>
              </a:r>
              <a:r>
                <a:rPr lang="en-US" sz="1000" dirty="0"/>
                <a:t> xx x </a:t>
              </a:r>
              <a:r>
                <a:rPr lang="en-US" sz="1000" dirty="0" err="1"/>
                <a:t>xxxxxxxxx</a:t>
              </a:r>
              <a:r>
                <a:rPr lang="en-US" sz="1000" dirty="0"/>
                <a:t> xxx Xx x xxx </a:t>
              </a:r>
              <a:r>
                <a:rPr lang="en-US" sz="1000" dirty="0" err="1"/>
                <a:t>xxx</a:t>
              </a:r>
              <a:r>
                <a:rPr lang="en-US" sz="1000" dirty="0"/>
                <a:t> </a:t>
              </a:r>
              <a:r>
                <a:rPr lang="en-US" sz="1000" dirty="0" err="1"/>
                <a:t>xxxxxx</a:t>
              </a:r>
              <a:r>
                <a:rPr lang="en-US" sz="1000" dirty="0"/>
                <a:t> xx </a:t>
              </a:r>
              <a:r>
                <a:rPr lang="en-US" sz="1000" dirty="0" err="1"/>
                <a:t>xxxxx</a:t>
              </a:r>
              <a:endParaRPr lang="en-US" sz="1000" dirty="0"/>
            </a:p>
          </p:txBody>
        </p:sp>
        <p:sp>
          <p:nvSpPr>
            <p:cNvPr id="5" name="TextBox 4"/>
            <p:cNvSpPr txBox="1"/>
            <p:nvPr/>
          </p:nvSpPr>
          <p:spPr>
            <a:xfrm rot="16200000">
              <a:off x="-114493" y="1818862"/>
              <a:ext cx="1980220" cy="461665"/>
            </a:xfrm>
            <a:prstGeom prst="rect">
              <a:avLst/>
            </a:prstGeom>
            <a:solidFill>
              <a:schemeClr val="tx1"/>
            </a:solidFill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rgbClr val="FFFFFF"/>
                  </a:solidFill>
                </a:rPr>
                <a:t>01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 rot="16200000">
              <a:off x="126440" y="1993427"/>
              <a:ext cx="1980221" cy="112533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txBody>
            <a:bodyPr wrap="square" rtlCol="0">
              <a:noAutofit/>
            </a:bodyPr>
            <a:lstStyle/>
            <a:p>
              <a:endParaRPr lang="en-US" sz="2400" dirty="0">
                <a:solidFill>
                  <a:schemeClr val="bg1"/>
                </a:solidFill>
              </a:endParaRPr>
            </a:p>
          </p:txBody>
        </p:sp>
        <p:sp>
          <p:nvSpPr>
            <p:cNvPr id="7" name="Isosceles Triangle 6"/>
            <p:cNvSpPr/>
            <p:nvPr/>
          </p:nvSpPr>
          <p:spPr>
            <a:xfrm rot="5400000">
              <a:off x="1007001" y="1241353"/>
              <a:ext cx="216024" cy="115607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2656275" y="1203597"/>
            <a:ext cx="1918375" cy="1980223"/>
            <a:chOff x="2656276" y="1059582"/>
            <a:chExt cx="1918375" cy="1980223"/>
          </a:xfrm>
        </p:grpSpPr>
        <p:sp useBgFill="1">
          <p:nvSpPr>
            <p:cNvPr id="8" name="TextBox 7"/>
            <p:cNvSpPr txBox="1"/>
            <p:nvPr/>
          </p:nvSpPr>
          <p:spPr>
            <a:xfrm>
              <a:off x="3112027" y="1059582"/>
              <a:ext cx="1462624" cy="1980222"/>
            </a:xfrm>
            <a:prstGeom prst="rect">
              <a:avLst/>
            </a:prstGeom>
            <a:ln w="3175">
              <a:noFill/>
            </a:ln>
          </p:spPr>
          <p:txBody>
            <a:bodyPr wrap="square" lIns="137160" tIns="91440" rIns="137160" bIns="91440" rtlCol="0">
              <a:noAutofit/>
            </a:bodyPr>
            <a:lstStyle/>
            <a:p>
              <a:r>
                <a:rPr lang="en-US" sz="1000" dirty="0"/>
                <a:t>Xx xxx x </a:t>
              </a:r>
              <a:r>
                <a:rPr lang="en-US" sz="1000" dirty="0" err="1"/>
                <a:t>xxxxxx</a:t>
              </a:r>
              <a:r>
                <a:rPr lang="en-US" sz="1000" dirty="0"/>
                <a:t> x </a:t>
              </a:r>
              <a:r>
                <a:rPr lang="en-US" sz="1000" dirty="0" err="1"/>
                <a:t>xxxxx</a:t>
              </a:r>
              <a:r>
                <a:rPr lang="en-US" sz="1000" dirty="0"/>
                <a:t> x xx </a:t>
              </a:r>
              <a:r>
                <a:rPr lang="en-US" sz="1000" dirty="0" err="1"/>
                <a:t>xxxxxxx</a:t>
              </a:r>
              <a:r>
                <a:rPr lang="en-US" sz="1000" dirty="0"/>
                <a:t> </a:t>
              </a:r>
              <a:r>
                <a:rPr lang="en-US" sz="1000" dirty="0" err="1"/>
                <a:t>xxxxxxxxxx</a:t>
              </a:r>
              <a:r>
                <a:rPr lang="en-US" sz="1000" dirty="0"/>
                <a:t> Xx </a:t>
              </a:r>
              <a:r>
                <a:rPr lang="en-US" sz="1000" dirty="0" err="1"/>
                <a:t>xxxx</a:t>
              </a:r>
              <a:r>
                <a:rPr lang="en-US" sz="1000" dirty="0"/>
                <a:t> </a:t>
              </a:r>
              <a:r>
                <a:rPr lang="en-US" sz="1000" dirty="0" err="1"/>
                <a:t>xxxxxxxx</a:t>
              </a:r>
              <a:r>
                <a:rPr lang="en-US" sz="1000" dirty="0"/>
                <a:t> xxx </a:t>
              </a:r>
              <a:r>
                <a:rPr lang="en-US" sz="1000" dirty="0" err="1"/>
                <a:t>Xxxx</a:t>
              </a:r>
              <a:r>
                <a:rPr lang="en-US" sz="1000" dirty="0"/>
                <a:t> xx </a:t>
              </a:r>
              <a:r>
                <a:rPr lang="en-US" sz="1000" dirty="0" err="1"/>
                <a:t>xxxxxxxxx</a:t>
              </a:r>
              <a:r>
                <a:rPr lang="en-US" sz="1000" dirty="0"/>
                <a:t> xxx </a:t>
              </a:r>
              <a:r>
                <a:rPr lang="en-US" sz="1000" dirty="0" err="1"/>
                <a:t>xxx</a:t>
              </a:r>
              <a:r>
                <a:rPr lang="en-US" sz="1000" dirty="0"/>
                <a:t> x </a:t>
              </a:r>
              <a:r>
                <a:rPr lang="en-US" sz="1000" dirty="0" err="1"/>
                <a:t>xxxx</a:t>
              </a:r>
              <a:r>
                <a:rPr lang="en-US" sz="1000" dirty="0"/>
                <a:t> Xxx xx </a:t>
              </a:r>
              <a:r>
                <a:rPr lang="en-US" sz="1000" dirty="0" err="1"/>
                <a:t>xxxx</a:t>
              </a:r>
              <a:r>
                <a:rPr lang="en-US" sz="1000" dirty="0"/>
                <a:t> </a:t>
              </a:r>
              <a:r>
                <a:rPr lang="en-US" sz="1000" dirty="0" err="1"/>
                <a:t>xxxxx</a:t>
              </a:r>
              <a:endParaRPr lang="en-US" sz="1000" dirty="0"/>
            </a:p>
          </p:txBody>
        </p:sp>
        <p:sp>
          <p:nvSpPr>
            <p:cNvPr id="9" name="TextBox 8"/>
            <p:cNvSpPr txBox="1"/>
            <p:nvPr/>
          </p:nvSpPr>
          <p:spPr>
            <a:xfrm rot="16200000">
              <a:off x="1896999" y="1818862"/>
              <a:ext cx="1980220" cy="461665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rgbClr val="FFFFFF"/>
                  </a:solidFill>
                </a:rPr>
                <a:t>02</a:t>
              </a:r>
            </a:p>
          </p:txBody>
        </p:sp>
        <p:sp>
          <p:nvSpPr>
            <p:cNvPr id="11" name="Isosceles Triangle 10"/>
            <p:cNvSpPr/>
            <p:nvPr/>
          </p:nvSpPr>
          <p:spPr>
            <a:xfrm rot="5400000">
              <a:off x="3018493" y="1241353"/>
              <a:ext cx="216024" cy="115607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4667767" y="1203597"/>
            <a:ext cx="1918375" cy="1980223"/>
            <a:chOff x="4667768" y="1059582"/>
            <a:chExt cx="1918375" cy="1980223"/>
          </a:xfrm>
        </p:grpSpPr>
        <p:sp useBgFill="1">
          <p:nvSpPr>
            <p:cNvPr id="12" name="TextBox 11"/>
            <p:cNvSpPr txBox="1"/>
            <p:nvPr/>
          </p:nvSpPr>
          <p:spPr>
            <a:xfrm>
              <a:off x="5125252" y="1059582"/>
              <a:ext cx="1460891" cy="1980222"/>
            </a:xfrm>
            <a:prstGeom prst="rect">
              <a:avLst/>
            </a:prstGeom>
            <a:ln w="3175">
              <a:noFill/>
            </a:ln>
          </p:spPr>
          <p:txBody>
            <a:bodyPr wrap="square" lIns="137160" tIns="91440" rIns="137160" bIns="91440" rtlCol="0">
              <a:noAutofit/>
            </a:bodyPr>
            <a:lstStyle/>
            <a:p>
              <a:r>
                <a:rPr lang="en-US" sz="1000" dirty="0"/>
                <a:t>Xxx </a:t>
              </a:r>
              <a:r>
                <a:rPr lang="en-US" sz="1000" dirty="0" err="1"/>
                <a:t>xxxxxx</a:t>
              </a:r>
              <a:r>
                <a:rPr lang="en-US" sz="1000" dirty="0"/>
                <a:t> </a:t>
              </a:r>
              <a:r>
                <a:rPr lang="en-US" sz="1000" dirty="0" err="1"/>
                <a:t>xxxxxxxxxxxxx</a:t>
              </a:r>
              <a:r>
                <a:rPr lang="en-US" sz="1000" dirty="0"/>
                <a:t> </a:t>
              </a:r>
              <a:r>
                <a:rPr lang="en-US" sz="1000" dirty="0" err="1"/>
                <a:t>xxxxx</a:t>
              </a:r>
              <a:r>
                <a:rPr lang="en-US" sz="1000" dirty="0"/>
                <a:t> </a:t>
              </a:r>
              <a:r>
                <a:rPr lang="en-US" sz="1000" dirty="0" err="1"/>
                <a:t>xxxxx</a:t>
              </a:r>
              <a:r>
                <a:rPr lang="en-US" sz="1000" dirty="0"/>
                <a:t> </a:t>
              </a:r>
              <a:r>
                <a:rPr lang="en-US" sz="1000" dirty="0" err="1"/>
                <a:t>xxxx</a:t>
              </a:r>
              <a:r>
                <a:rPr lang="en-US" sz="1000" dirty="0"/>
                <a:t> x </a:t>
              </a:r>
              <a:r>
                <a:rPr lang="en-US" sz="1000" dirty="0" err="1"/>
                <a:t>xxxxxx</a:t>
              </a:r>
              <a:r>
                <a:rPr lang="en-US" sz="1000" dirty="0"/>
                <a:t> </a:t>
              </a:r>
              <a:r>
                <a:rPr lang="en-US" sz="1000" dirty="0" err="1"/>
                <a:t>xxxxxx</a:t>
              </a:r>
              <a:r>
                <a:rPr lang="en-US" sz="1000" dirty="0"/>
                <a:t> </a:t>
              </a:r>
              <a:r>
                <a:rPr lang="en-US" sz="1000" dirty="0" err="1"/>
                <a:t>xxxxxxxxxxxxxxxx</a:t>
              </a:r>
              <a:r>
                <a:rPr lang="en-US" sz="1000" dirty="0"/>
                <a:t> Xx </a:t>
              </a:r>
              <a:r>
                <a:rPr lang="en-US" sz="1000" dirty="0" err="1"/>
                <a:t>xxxx</a:t>
              </a:r>
              <a:r>
                <a:rPr lang="en-US" sz="1000" dirty="0"/>
                <a:t> xxx </a:t>
              </a:r>
              <a:r>
                <a:rPr lang="en-US" sz="1000" dirty="0" err="1"/>
                <a:t>xxx</a:t>
              </a:r>
              <a:r>
                <a:rPr lang="en-US" sz="1000" dirty="0"/>
                <a:t> x xxx xx </a:t>
              </a:r>
              <a:r>
                <a:rPr lang="en-US" sz="1000" dirty="0" err="1"/>
                <a:t>xxxx</a:t>
              </a:r>
              <a:r>
                <a:rPr lang="en-US" sz="1000" dirty="0"/>
                <a:t> </a:t>
              </a:r>
              <a:r>
                <a:rPr lang="en-US" sz="1000" dirty="0" err="1"/>
                <a:t>xxxxx</a:t>
              </a:r>
              <a:r>
                <a:rPr lang="en-US" sz="1000" dirty="0"/>
                <a:t> </a:t>
              </a:r>
              <a:r>
                <a:rPr lang="en-US" sz="1000" dirty="0" err="1"/>
                <a:t>xxxxxxxxxxx</a:t>
              </a:r>
              <a:r>
                <a:rPr lang="en-US" sz="1000" dirty="0"/>
                <a:t> xxx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 rot="16200000">
              <a:off x="3908491" y="1818862"/>
              <a:ext cx="1980220" cy="461665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rgbClr val="FFFFFF"/>
                  </a:solidFill>
                </a:rPr>
                <a:t>03</a:t>
              </a:r>
            </a:p>
          </p:txBody>
        </p:sp>
        <p:sp>
          <p:nvSpPr>
            <p:cNvPr id="15" name="Isosceles Triangle 14"/>
            <p:cNvSpPr/>
            <p:nvPr/>
          </p:nvSpPr>
          <p:spPr>
            <a:xfrm rot="5400000">
              <a:off x="5029985" y="1241353"/>
              <a:ext cx="216024" cy="115607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6679260" y="1193075"/>
            <a:ext cx="1918375" cy="1980223"/>
            <a:chOff x="6679261" y="1059582"/>
            <a:chExt cx="1918375" cy="1980223"/>
          </a:xfrm>
        </p:grpSpPr>
        <p:sp useBgFill="1">
          <p:nvSpPr>
            <p:cNvPr id="16" name="TextBox 15"/>
            <p:cNvSpPr txBox="1"/>
            <p:nvPr/>
          </p:nvSpPr>
          <p:spPr>
            <a:xfrm>
              <a:off x="7140927" y="1059582"/>
              <a:ext cx="1456709" cy="1980222"/>
            </a:xfrm>
            <a:prstGeom prst="rect">
              <a:avLst/>
            </a:prstGeom>
            <a:ln w="3175">
              <a:noFill/>
            </a:ln>
          </p:spPr>
          <p:txBody>
            <a:bodyPr wrap="square" lIns="137160" tIns="91440" rIns="137160" bIns="91440" rtlCol="0">
              <a:noAutofit/>
            </a:bodyPr>
            <a:lstStyle/>
            <a:p>
              <a:r>
                <a:rPr lang="en-US" sz="1000" dirty="0" err="1"/>
                <a:t>Xxxx</a:t>
              </a:r>
              <a:r>
                <a:rPr lang="en-US" sz="1000" dirty="0"/>
                <a:t> </a:t>
              </a:r>
              <a:r>
                <a:rPr lang="en-US" sz="1000" dirty="0" err="1"/>
                <a:t>xxxxxxxxx</a:t>
              </a:r>
              <a:r>
                <a:rPr lang="en-US" sz="1000" dirty="0"/>
                <a:t> </a:t>
              </a:r>
              <a:r>
                <a:rPr lang="en-US" sz="1000" dirty="0" err="1"/>
                <a:t>xxxx</a:t>
              </a:r>
              <a:r>
                <a:rPr lang="en-US" sz="1000" dirty="0"/>
                <a:t> </a:t>
              </a:r>
              <a:r>
                <a:rPr lang="en-US" sz="1000" dirty="0" err="1"/>
                <a:t>xxxxx</a:t>
              </a:r>
              <a:r>
                <a:rPr lang="en-US" sz="1000" dirty="0"/>
                <a:t> </a:t>
              </a:r>
              <a:r>
                <a:rPr lang="en-US" sz="1000" dirty="0" err="1"/>
                <a:t>xxxxx</a:t>
              </a:r>
              <a:r>
                <a:rPr lang="en-US" sz="1000" dirty="0"/>
                <a:t> xx </a:t>
              </a:r>
              <a:r>
                <a:rPr lang="en-US" sz="1000" dirty="0" err="1"/>
                <a:t>xxxxxxxxx</a:t>
              </a:r>
              <a:r>
                <a:rPr lang="en-US" sz="1000" dirty="0"/>
                <a:t> xxx </a:t>
              </a:r>
              <a:r>
                <a:rPr lang="en-US" sz="1000" dirty="0" err="1"/>
                <a:t>xxxxxxxxxx</a:t>
              </a:r>
              <a:r>
                <a:rPr lang="en-US" sz="1000" dirty="0"/>
                <a:t> xxx xx </a:t>
              </a:r>
              <a:r>
                <a:rPr lang="en-US" sz="1000" dirty="0" err="1"/>
                <a:t>Xxxxx</a:t>
              </a:r>
              <a:r>
                <a:rPr lang="en-US" sz="1000" dirty="0"/>
                <a:t> x </a:t>
              </a:r>
              <a:r>
                <a:rPr lang="en-US" sz="1000" dirty="0" err="1"/>
                <a:t>xxxxxxxxxxxx</a:t>
              </a:r>
              <a:r>
                <a:rPr lang="en-US" sz="1000" dirty="0"/>
                <a:t> </a:t>
              </a:r>
              <a:r>
                <a:rPr lang="en-US" sz="1000" dirty="0" err="1"/>
                <a:t>xxxx</a:t>
              </a:r>
              <a:r>
                <a:rPr lang="en-US" sz="1000" dirty="0"/>
                <a:t> </a:t>
              </a:r>
              <a:r>
                <a:rPr lang="en-US" sz="1000" dirty="0" err="1"/>
                <a:t>xxxx</a:t>
              </a:r>
              <a:r>
                <a:rPr lang="en-US" sz="1000" dirty="0"/>
                <a:t> xx </a:t>
              </a:r>
              <a:r>
                <a:rPr lang="en-US" sz="1000" dirty="0" err="1"/>
                <a:t>Xx</a:t>
              </a:r>
              <a:r>
                <a:rPr lang="en-US" sz="1000" dirty="0"/>
                <a:t> xxx </a:t>
              </a:r>
              <a:r>
                <a:rPr lang="en-US" sz="1000" dirty="0" err="1"/>
                <a:t>xxxx</a:t>
              </a:r>
              <a:r>
                <a:rPr lang="en-US" sz="1000" dirty="0"/>
                <a:t> xx </a:t>
              </a:r>
              <a:r>
                <a:rPr lang="en-US" sz="1000" dirty="0" err="1"/>
                <a:t>xx</a:t>
              </a:r>
              <a:r>
                <a:rPr lang="en-US" sz="1000" dirty="0"/>
                <a:t> xxx </a:t>
              </a:r>
              <a:r>
                <a:rPr lang="en-US" sz="1000" dirty="0" err="1"/>
                <a:t>xxx</a:t>
              </a:r>
              <a:r>
                <a:rPr lang="en-US" sz="1000" dirty="0"/>
                <a:t> </a:t>
              </a:r>
              <a:r>
                <a:rPr lang="en-US" sz="1000" dirty="0" err="1"/>
                <a:t>xxxxxx</a:t>
              </a:r>
              <a:r>
                <a:rPr lang="en-US" sz="1000" dirty="0"/>
                <a:t> xxx 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 rot="16200000">
              <a:off x="5919984" y="1818862"/>
              <a:ext cx="1980220" cy="461665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rgbClr val="FFFFFF"/>
                  </a:solidFill>
                </a:rPr>
                <a:t>04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7041478" y="1241353"/>
              <a:ext cx="216024" cy="11560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pic>
        <p:nvPicPr>
          <p:cNvPr id="120" name="Picture 11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300" y="1323777"/>
            <a:ext cx="171244" cy="232716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2910" y="1327240"/>
            <a:ext cx="227491" cy="227491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2545" y="1371099"/>
            <a:ext cx="241081" cy="154153"/>
          </a:xfrm>
          <a:prstGeom prst="rect">
            <a:avLst/>
          </a:prstGeom>
        </p:spPr>
      </p:pic>
      <p:pic>
        <p:nvPicPr>
          <p:cNvPr id="123" name="Picture 12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2323" y="1320758"/>
            <a:ext cx="246195" cy="248496"/>
          </a:xfrm>
          <a:prstGeom prst="rect">
            <a:avLst/>
          </a:prstGeom>
        </p:spPr>
      </p:pic>
      <p:sp>
        <p:nvSpPr>
          <p:cNvPr id="137" name="Rectangle 136"/>
          <p:cNvSpPr/>
          <p:nvPr/>
        </p:nvSpPr>
        <p:spPr>
          <a:xfrm>
            <a:off x="656447" y="3435846"/>
            <a:ext cx="8453049" cy="648072"/>
          </a:xfrm>
          <a:prstGeom prst="rect">
            <a:avLst/>
          </a:prstGeom>
          <a:solidFill>
            <a:schemeClr val="bg1">
              <a:lumMod val="50000"/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err="1">
                <a:solidFill>
                  <a:schemeClr val="tx1"/>
                </a:solidFill>
              </a:rPr>
              <a:t>xxxxx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err="1">
                <a:solidFill>
                  <a:schemeClr val="tx1"/>
                </a:solidFill>
              </a:rPr>
              <a:t>xxxxx</a:t>
            </a:r>
            <a:r>
              <a:rPr lang="en-US" sz="1200" dirty="0">
                <a:solidFill>
                  <a:schemeClr val="tx1"/>
                </a:solidFill>
              </a:rPr>
              <a:t> x </a:t>
            </a:r>
            <a:r>
              <a:rPr lang="en-US" sz="1200" dirty="0" err="1">
                <a:solidFill>
                  <a:schemeClr val="tx1"/>
                </a:solidFill>
              </a:rPr>
              <a:t>xxxxx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err="1">
                <a:solidFill>
                  <a:schemeClr val="tx1"/>
                </a:solidFill>
              </a:rPr>
              <a:t>xxxxxxx</a:t>
            </a:r>
            <a:r>
              <a:rPr lang="en-US" sz="1200" dirty="0">
                <a:solidFill>
                  <a:schemeClr val="tx1"/>
                </a:solidFill>
              </a:rPr>
              <a:t> xxx </a:t>
            </a:r>
            <a:r>
              <a:rPr lang="en-US" sz="1200" dirty="0" err="1">
                <a:solidFill>
                  <a:schemeClr val="tx1"/>
                </a:solidFill>
              </a:rPr>
              <a:t>xxx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err="1">
                <a:solidFill>
                  <a:schemeClr val="tx1"/>
                </a:solidFill>
              </a:rPr>
              <a:t>Xxxxx</a:t>
            </a:r>
            <a:r>
              <a:rPr lang="en-US" sz="1200" dirty="0">
                <a:solidFill>
                  <a:schemeClr val="tx1"/>
                </a:solidFill>
              </a:rPr>
              <a:t> x </a:t>
            </a:r>
          </a:p>
          <a:p>
            <a:r>
              <a:rPr lang="en-US" sz="1200" dirty="0" err="1">
                <a:solidFill>
                  <a:schemeClr val="tx1"/>
                </a:solidFill>
              </a:rPr>
              <a:t>xxxxx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err="1">
                <a:solidFill>
                  <a:schemeClr val="tx1"/>
                </a:solidFill>
              </a:rPr>
              <a:t>xxxxx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err="1">
                <a:solidFill>
                  <a:schemeClr val="tx1"/>
                </a:solidFill>
              </a:rPr>
              <a:t>Xxxxx</a:t>
            </a:r>
            <a:r>
              <a:rPr lang="en-US" sz="1200" dirty="0">
                <a:solidFill>
                  <a:schemeClr val="tx1"/>
                </a:solidFill>
              </a:rPr>
              <a:t> x </a:t>
            </a:r>
            <a:r>
              <a:rPr lang="en-US" sz="1200" dirty="0" err="1">
                <a:solidFill>
                  <a:schemeClr val="tx1"/>
                </a:solidFill>
              </a:rPr>
              <a:t>xxxxxx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err="1">
                <a:solidFill>
                  <a:schemeClr val="tx1"/>
                </a:solidFill>
              </a:rPr>
              <a:t>xxxx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Footer Placeholder 99">
            <a:extLst>
              <a:ext uri="{FF2B5EF4-FFF2-40B4-BE49-F238E27FC236}">
                <a16:creationId xmlns:a16="http://schemas.microsoft.com/office/drawing/2014/main" id="{9F584685-FE49-4FE8-B1CB-2EBC870366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0" name="Slide Number Placeholder 100">
            <a:extLst>
              <a:ext uri="{FF2B5EF4-FFF2-40B4-BE49-F238E27FC236}">
                <a16:creationId xmlns:a16="http://schemas.microsoft.com/office/drawing/2014/main" id="{7560E6FE-EC6A-49FE-A994-9E7BE092E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3" name="Text Placeholder 41">
            <a:extLst>
              <a:ext uri="{FF2B5EF4-FFF2-40B4-BE49-F238E27FC236}">
                <a16:creationId xmlns:a16="http://schemas.microsoft.com/office/drawing/2014/main" id="{9D9C8E91-1BA0-41ED-B171-26E2D8A706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9004108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24728" y="2238316"/>
            <a:ext cx="1728474" cy="1646092"/>
          </a:xfrm>
          <a:prstGeom prst="rect">
            <a:avLst/>
          </a:prstGeom>
          <a:solidFill>
            <a:schemeClr val="accent1">
              <a:alpha val="20000"/>
            </a:schemeClr>
          </a:solidFill>
        </p:spPr>
        <p:txBody>
          <a:bodyPr wrap="square" lIns="137160" tIns="137160" rIns="137160" bIns="137160">
            <a:spAutoFit/>
          </a:bodyPr>
          <a:lstStyle/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 </a:t>
            </a:r>
          </a:p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/>
              <a:t>Xx xxx </a:t>
            </a:r>
            <a:r>
              <a:rPr lang="en-US" sz="1050" dirty="0" err="1"/>
              <a:t>xxxxx</a:t>
            </a:r>
            <a:r>
              <a:rPr lang="en-US" sz="1050" dirty="0"/>
              <a:t> x xxx </a:t>
            </a:r>
            <a:r>
              <a:rPr lang="en-US" sz="1050" dirty="0" err="1"/>
              <a:t>xxxxxxxxxxx</a:t>
            </a:r>
            <a:r>
              <a:rPr lang="en-US" sz="1050" dirty="0"/>
              <a:t>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</a:p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 err="1"/>
              <a:t>Xxxxx</a:t>
            </a:r>
            <a:r>
              <a:rPr lang="en-US" sz="1050" dirty="0"/>
              <a:t> x xxx x </a:t>
            </a:r>
            <a:r>
              <a:rPr lang="en-US" sz="1050" dirty="0" err="1"/>
              <a:t>xxxxxx</a:t>
            </a:r>
            <a:r>
              <a:rPr lang="en-US" sz="1050" dirty="0"/>
              <a:t> xx </a:t>
            </a:r>
            <a:r>
              <a:rPr lang="en-US" sz="1050" dirty="0" err="1"/>
              <a:t>xx</a:t>
            </a:r>
            <a:r>
              <a:rPr lang="en-US" sz="1050" dirty="0"/>
              <a:t> </a:t>
            </a:r>
            <a:r>
              <a:rPr lang="en-US" sz="1050" dirty="0" err="1"/>
              <a:t>xxxxxxx</a:t>
            </a:r>
            <a:r>
              <a:rPr lang="en-US" sz="1050" dirty="0"/>
              <a:t> xx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749316" y="2238316"/>
            <a:ext cx="1728474" cy="1646092"/>
          </a:xfrm>
          <a:prstGeom prst="rect">
            <a:avLst/>
          </a:prstGeom>
          <a:solidFill>
            <a:schemeClr val="accent3">
              <a:alpha val="20000"/>
            </a:schemeClr>
          </a:solidFill>
        </p:spPr>
        <p:txBody>
          <a:bodyPr wrap="square" lIns="137160" tIns="137160" rIns="137160" bIns="137160">
            <a:spAutoFit/>
          </a:bodyPr>
          <a:lstStyle/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 </a:t>
            </a:r>
          </a:p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050" dirty="0"/>
              <a:t>Xx xxx </a:t>
            </a:r>
            <a:r>
              <a:rPr lang="en-US" sz="1050" dirty="0" err="1"/>
              <a:t>xxxxx</a:t>
            </a:r>
            <a:r>
              <a:rPr lang="en-US" sz="1050" dirty="0"/>
              <a:t> x xxx </a:t>
            </a:r>
            <a:r>
              <a:rPr lang="en-US" sz="1050" dirty="0" err="1"/>
              <a:t>xxxxxxxxxxx</a:t>
            </a:r>
            <a:r>
              <a:rPr lang="en-US" sz="1050" dirty="0"/>
              <a:t>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</a:p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050" dirty="0" err="1"/>
              <a:t>Xxxxx</a:t>
            </a:r>
            <a:r>
              <a:rPr lang="en-US" sz="1050" dirty="0"/>
              <a:t> x xxx x </a:t>
            </a:r>
            <a:r>
              <a:rPr lang="en-US" sz="1050" dirty="0" err="1"/>
              <a:t>xxxxxx</a:t>
            </a:r>
            <a:r>
              <a:rPr lang="en-US" sz="1050" dirty="0"/>
              <a:t> xx </a:t>
            </a:r>
            <a:r>
              <a:rPr lang="en-US" sz="1050" dirty="0" err="1"/>
              <a:t>xx</a:t>
            </a:r>
            <a:r>
              <a:rPr lang="en-US" sz="1050" dirty="0"/>
              <a:t> </a:t>
            </a:r>
            <a:r>
              <a:rPr lang="en-US" sz="1050" dirty="0" err="1"/>
              <a:t>xxxxxxx</a:t>
            </a:r>
            <a:r>
              <a:rPr lang="en-US" sz="1050" dirty="0"/>
              <a:t> xx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773905" y="2238316"/>
            <a:ext cx="1728474" cy="1646092"/>
          </a:xfrm>
          <a:prstGeom prst="rect">
            <a:avLst/>
          </a:prstGeom>
          <a:solidFill>
            <a:schemeClr val="accent4">
              <a:alpha val="20000"/>
            </a:schemeClr>
          </a:solidFill>
        </p:spPr>
        <p:txBody>
          <a:bodyPr wrap="square" lIns="137160" tIns="137160" rIns="137160" bIns="137160">
            <a:spAutoFit/>
          </a:bodyPr>
          <a:lstStyle/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 </a:t>
            </a:r>
          </a:p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050" dirty="0"/>
              <a:t>Xx xxx </a:t>
            </a:r>
            <a:r>
              <a:rPr lang="en-US" sz="1050" dirty="0" err="1"/>
              <a:t>xxxxx</a:t>
            </a:r>
            <a:r>
              <a:rPr lang="en-US" sz="1050" dirty="0"/>
              <a:t> x xxx </a:t>
            </a:r>
            <a:r>
              <a:rPr lang="en-US" sz="1050" dirty="0" err="1"/>
              <a:t>xxxxxxxxxxx</a:t>
            </a:r>
            <a:r>
              <a:rPr lang="en-US" sz="1050" dirty="0"/>
              <a:t>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</a:p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050" dirty="0" err="1"/>
              <a:t>Xxxxx</a:t>
            </a:r>
            <a:r>
              <a:rPr lang="en-US" sz="1050" dirty="0"/>
              <a:t> x xxx x </a:t>
            </a:r>
            <a:r>
              <a:rPr lang="en-US" sz="1050" dirty="0" err="1"/>
              <a:t>xxxxxx</a:t>
            </a:r>
            <a:r>
              <a:rPr lang="en-US" sz="1050" dirty="0"/>
              <a:t> xx </a:t>
            </a:r>
            <a:r>
              <a:rPr lang="en-US" sz="1050" dirty="0" err="1"/>
              <a:t>xx</a:t>
            </a:r>
            <a:r>
              <a:rPr lang="en-US" sz="1050" dirty="0"/>
              <a:t> </a:t>
            </a:r>
            <a:r>
              <a:rPr lang="en-US" sz="1050" dirty="0" err="1"/>
              <a:t>xxxxxxx</a:t>
            </a:r>
            <a:r>
              <a:rPr lang="en-US" sz="1050" dirty="0"/>
              <a:t> xx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798492" y="2238316"/>
            <a:ext cx="1728474" cy="1646092"/>
          </a:xfrm>
          <a:prstGeom prst="rect">
            <a:avLst/>
          </a:prstGeom>
          <a:solidFill>
            <a:schemeClr val="accent2">
              <a:alpha val="20000"/>
            </a:schemeClr>
          </a:solidFill>
        </p:spPr>
        <p:txBody>
          <a:bodyPr wrap="square" lIns="137160" tIns="137160" rIns="137160" bIns="137160">
            <a:spAutoFit/>
          </a:bodyPr>
          <a:lstStyle/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 </a:t>
            </a:r>
          </a:p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 dirty="0"/>
              <a:t>Xx xxx </a:t>
            </a:r>
            <a:r>
              <a:rPr lang="en-US" sz="1050" dirty="0" err="1"/>
              <a:t>xxxxx</a:t>
            </a:r>
            <a:r>
              <a:rPr lang="en-US" sz="1050" dirty="0"/>
              <a:t> x xxx </a:t>
            </a:r>
            <a:r>
              <a:rPr lang="en-US" sz="1050" dirty="0" err="1"/>
              <a:t>xxxxxxxxxxx</a:t>
            </a:r>
            <a:r>
              <a:rPr lang="en-US" sz="1050" dirty="0"/>
              <a:t>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</a:p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 dirty="0" err="1"/>
              <a:t>Xxxxx</a:t>
            </a:r>
            <a:r>
              <a:rPr lang="en-US" sz="1050" dirty="0"/>
              <a:t> x xxx x </a:t>
            </a:r>
            <a:r>
              <a:rPr lang="en-US" sz="1050" dirty="0" err="1"/>
              <a:t>xxxxxx</a:t>
            </a:r>
            <a:r>
              <a:rPr lang="en-US" sz="1050" dirty="0"/>
              <a:t> xx </a:t>
            </a:r>
            <a:r>
              <a:rPr lang="en-US" sz="1050" dirty="0" err="1"/>
              <a:t>xx</a:t>
            </a:r>
            <a:r>
              <a:rPr lang="en-US" sz="1050" dirty="0"/>
              <a:t> </a:t>
            </a:r>
            <a:r>
              <a:rPr lang="en-US" sz="1050" dirty="0" err="1"/>
              <a:t>xxxxxxx</a:t>
            </a:r>
            <a:r>
              <a:rPr lang="en-US" sz="1050" dirty="0"/>
              <a:t> xx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55943" cy="545464"/>
          </a:xfrm>
        </p:spPr>
        <p:txBody>
          <a:bodyPr/>
          <a:lstStyle/>
          <a:p>
            <a:r>
              <a:rPr lang="en-US" dirty="0"/>
              <a:t>Key points or summarie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24728" y="1209031"/>
            <a:ext cx="1728474" cy="992579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91440" rIns="182880" bIns="91440" rtlCol="0">
            <a:spAutoFit/>
          </a:bodyPr>
          <a:lstStyle/>
          <a:p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xx xx </a:t>
            </a:r>
            <a:r>
              <a:rPr lang="en-US" sz="1050" dirty="0" err="1">
                <a:solidFill>
                  <a:srgbClr val="FFFFFF"/>
                </a:solidFill>
              </a:rPr>
              <a:t>xxx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 xx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x xx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749316" y="1209031"/>
            <a:ext cx="1728474" cy="992579"/>
          </a:xfrm>
          <a:prstGeom prst="rect">
            <a:avLst/>
          </a:prstGeom>
          <a:solidFill>
            <a:schemeClr val="accent3"/>
          </a:solidFill>
        </p:spPr>
        <p:txBody>
          <a:bodyPr wrap="square" lIns="182880" tIns="91440" rIns="182880" bIns="91440" rtlCol="0">
            <a:spAutoFit/>
          </a:bodyPr>
          <a:lstStyle/>
          <a:p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xx xx </a:t>
            </a:r>
            <a:r>
              <a:rPr lang="en-US" sz="1050" dirty="0" err="1">
                <a:solidFill>
                  <a:srgbClr val="FFFFFF"/>
                </a:solidFill>
              </a:rPr>
              <a:t>xxx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 xx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x xx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773905" y="1209031"/>
            <a:ext cx="1728474" cy="992579"/>
          </a:xfrm>
          <a:prstGeom prst="rect">
            <a:avLst/>
          </a:prstGeom>
          <a:solidFill>
            <a:schemeClr val="accent4"/>
          </a:solidFill>
        </p:spPr>
        <p:txBody>
          <a:bodyPr wrap="square" lIns="182880" tIns="91440" rIns="182880" bIns="91440" rtlCol="0">
            <a:spAutoFit/>
          </a:bodyPr>
          <a:lstStyle/>
          <a:p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xx xx </a:t>
            </a:r>
            <a:r>
              <a:rPr lang="en-US" sz="1050" dirty="0" err="1">
                <a:solidFill>
                  <a:srgbClr val="FFFFFF"/>
                </a:solidFill>
              </a:rPr>
              <a:t>xxx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 xx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x xx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798492" y="1209031"/>
            <a:ext cx="1728474" cy="992579"/>
          </a:xfrm>
          <a:prstGeom prst="rect">
            <a:avLst/>
          </a:prstGeom>
          <a:solidFill>
            <a:schemeClr val="accent2"/>
          </a:solidFill>
        </p:spPr>
        <p:txBody>
          <a:bodyPr wrap="square" lIns="182880" tIns="91440" rIns="182880" bIns="91440" rtlCol="0">
            <a:spAutoFit/>
          </a:bodyPr>
          <a:lstStyle/>
          <a:p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xx xx </a:t>
            </a:r>
            <a:r>
              <a:rPr lang="en-US" sz="1050" dirty="0" err="1">
                <a:solidFill>
                  <a:srgbClr val="FFFFFF"/>
                </a:solidFill>
              </a:rPr>
              <a:t>xxx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 xx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x xx</a:t>
            </a:r>
          </a:p>
        </p:txBody>
      </p:sp>
      <p:sp>
        <p:nvSpPr>
          <p:cNvPr id="8" name="Oval 7"/>
          <p:cNvSpPr/>
          <p:nvPr/>
        </p:nvSpPr>
        <p:spPr>
          <a:xfrm>
            <a:off x="507837" y="1032773"/>
            <a:ext cx="403168" cy="403168"/>
          </a:xfrm>
          <a:prstGeom prst="ellipse">
            <a:avLst/>
          </a:prstGeom>
          <a:solidFill>
            <a:schemeClr val="tx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500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9" name="Oval 8"/>
          <p:cNvSpPr/>
          <p:nvPr/>
        </p:nvSpPr>
        <p:spPr>
          <a:xfrm>
            <a:off x="2540366" y="1032773"/>
            <a:ext cx="403168" cy="403168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500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0" name="Oval 9"/>
          <p:cNvSpPr/>
          <p:nvPr/>
        </p:nvSpPr>
        <p:spPr>
          <a:xfrm>
            <a:off x="4572895" y="1032773"/>
            <a:ext cx="403168" cy="403168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500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" name="Oval 10"/>
          <p:cNvSpPr/>
          <p:nvPr/>
        </p:nvSpPr>
        <p:spPr>
          <a:xfrm>
            <a:off x="6605424" y="1032773"/>
            <a:ext cx="403168" cy="403168"/>
          </a:xfrm>
          <a:prstGeom prst="ellipse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500" dirty="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7" name="Footer Placeholder 99">
            <a:extLst>
              <a:ext uri="{FF2B5EF4-FFF2-40B4-BE49-F238E27FC236}">
                <a16:creationId xmlns:a16="http://schemas.microsoft.com/office/drawing/2014/main" id="{5B5D2C9B-182D-4B32-9C67-5EE23C531E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Slide Number Placeholder 100">
            <a:extLst>
              <a:ext uri="{FF2B5EF4-FFF2-40B4-BE49-F238E27FC236}">
                <a16:creationId xmlns:a16="http://schemas.microsoft.com/office/drawing/2014/main" id="{DD9BDA76-766B-47D1-ACE4-784D3BCC7E9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9" name="Text Placeholder 41">
            <a:extLst>
              <a:ext uri="{FF2B5EF4-FFF2-40B4-BE49-F238E27FC236}">
                <a16:creationId xmlns:a16="http://schemas.microsoft.com/office/drawing/2014/main" id="{471C0604-7A57-46A1-80B8-B15DBC1069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5112033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tle 57"/>
          <p:cNvSpPr>
            <a:spLocks noGrp="1"/>
          </p:cNvSpPr>
          <p:nvPr>
            <p:ph type="title"/>
          </p:nvPr>
        </p:nvSpPr>
        <p:spPr>
          <a:xfrm>
            <a:off x="236268" y="209550"/>
            <a:ext cx="7588520" cy="545464"/>
          </a:xfrm>
        </p:spPr>
        <p:txBody>
          <a:bodyPr/>
          <a:lstStyle/>
          <a:p>
            <a:r>
              <a:rPr lang="en-US" dirty="0"/>
              <a:t>Summary of key topics</a:t>
            </a:r>
          </a:p>
        </p:txBody>
      </p:sp>
      <p:sp>
        <p:nvSpPr>
          <p:cNvPr id="12" name="Oval 11"/>
          <p:cNvSpPr/>
          <p:nvPr/>
        </p:nvSpPr>
        <p:spPr>
          <a:xfrm>
            <a:off x="750946" y="2699927"/>
            <a:ext cx="737070" cy="73707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Oval 12"/>
          <p:cNvSpPr/>
          <p:nvPr/>
        </p:nvSpPr>
        <p:spPr>
          <a:xfrm>
            <a:off x="1901786" y="2699927"/>
            <a:ext cx="737070" cy="73707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Oval 13"/>
          <p:cNvSpPr/>
          <p:nvPr/>
        </p:nvSpPr>
        <p:spPr>
          <a:xfrm>
            <a:off x="3052626" y="2699927"/>
            <a:ext cx="737070" cy="73707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6" name="Oval 15"/>
          <p:cNvSpPr/>
          <p:nvPr/>
        </p:nvSpPr>
        <p:spPr>
          <a:xfrm>
            <a:off x="4203466" y="2699927"/>
            <a:ext cx="737070" cy="73707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Oval 16"/>
          <p:cNvSpPr/>
          <p:nvPr/>
        </p:nvSpPr>
        <p:spPr>
          <a:xfrm>
            <a:off x="5354306" y="2699927"/>
            <a:ext cx="737070" cy="73707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" name="Oval 17"/>
          <p:cNvSpPr/>
          <p:nvPr/>
        </p:nvSpPr>
        <p:spPr>
          <a:xfrm>
            <a:off x="6505146" y="2699927"/>
            <a:ext cx="737070" cy="73707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" name="Oval 18"/>
          <p:cNvSpPr/>
          <p:nvPr/>
        </p:nvSpPr>
        <p:spPr>
          <a:xfrm>
            <a:off x="7655984" y="2699927"/>
            <a:ext cx="737070" cy="73707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3" name="Oval 22"/>
          <p:cNvSpPr/>
          <p:nvPr/>
        </p:nvSpPr>
        <p:spPr>
          <a:xfrm>
            <a:off x="3977689" y="1047751"/>
            <a:ext cx="1188626" cy="1188626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 xx x xx 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Xxx x </a:t>
            </a:r>
          </a:p>
        </p:txBody>
      </p:sp>
      <p:cxnSp>
        <p:nvCxnSpPr>
          <p:cNvPr id="25" name="Elbow Connector 24"/>
          <p:cNvCxnSpPr>
            <a:stCxn id="17" idx="0"/>
            <a:endCxn id="14" idx="0"/>
          </p:cNvCxnSpPr>
          <p:nvPr/>
        </p:nvCxnSpPr>
        <p:spPr>
          <a:xfrm rot="16200000" flipV="1">
            <a:off x="4572002" y="1549087"/>
            <a:ext cx="12700" cy="2301680"/>
          </a:xfrm>
          <a:prstGeom prst="bentConnector3">
            <a:avLst>
              <a:gd name="adj1" fmla="val 1800000"/>
            </a:avLst>
          </a:prstGeom>
          <a:ln w="3175" cmpd="sng">
            <a:solidFill>
              <a:schemeClr val="tx1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stCxn id="17" idx="0"/>
            <a:endCxn id="18" idx="0"/>
          </p:cNvCxnSpPr>
          <p:nvPr/>
        </p:nvCxnSpPr>
        <p:spPr>
          <a:xfrm rot="5400000" flipH="1" flipV="1">
            <a:off x="6298262" y="2124507"/>
            <a:ext cx="12700" cy="1150840"/>
          </a:xfrm>
          <a:prstGeom prst="bentConnector3">
            <a:avLst>
              <a:gd name="adj1" fmla="val 1800000"/>
            </a:avLst>
          </a:prstGeom>
          <a:ln w="3175" cmpd="sng">
            <a:solidFill>
              <a:schemeClr val="tx1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/>
          <p:cNvCxnSpPr>
            <a:stCxn id="14" idx="0"/>
            <a:endCxn id="13" idx="0"/>
          </p:cNvCxnSpPr>
          <p:nvPr/>
        </p:nvCxnSpPr>
        <p:spPr>
          <a:xfrm rot="16200000" flipV="1">
            <a:off x="2845742" y="2124507"/>
            <a:ext cx="12700" cy="1150840"/>
          </a:xfrm>
          <a:prstGeom prst="bentConnector3">
            <a:avLst>
              <a:gd name="adj1" fmla="val 1800000"/>
            </a:avLst>
          </a:prstGeom>
          <a:ln w="3175" cmpd="sng">
            <a:solidFill>
              <a:schemeClr val="tx1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37"/>
          <p:cNvCxnSpPr>
            <a:stCxn id="13" idx="0"/>
            <a:endCxn id="12" idx="0"/>
          </p:cNvCxnSpPr>
          <p:nvPr/>
        </p:nvCxnSpPr>
        <p:spPr>
          <a:xfrm rot="16200000" flipV="1">
            <a:off x="1694901" y="2124507"/>
            <a:ext cx="12700" cy="1150840"/>
          </a:xfrm>
          <a:prstGeom prst="bentConnector3">
            <a:avLst>
              <a:gd name="adj1" fmla="val 1800000"/>
            </a:avLst>
          </a:prstGeom>
          <a:ln w="3175" cmpd="sng">
            <a:solidFill>
              <a:schemeClr val="tx1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/>
          <p:cNvCxnSpPr>
            <a:stCxn id="18" idx="0"/>
            <a:endCxn id="19" idx="0"/>
          </p:cNvCxnSpPr>
          <p:nvPr/>
        </p:nvCxnSpPr>
        <p:spPr>
          <a:xfrm rot="5400000" flipH="1" flipV="1">
            <a:off x="7449101" y="2124508"/>
            <a:ext cx="12700" cy="1150838"/>
          </a:xfrm>
          <a:prstGeom prst="bentConnector3">
            <a:avLst>
              <a:gd name="adj1" fmla="val 1800000"/>
            </a:avLst>
          </a:prstGeom>
          <a:ln w="3175" cmpd="sng">
            <a:solidFill>
              <a:schemeClr val="tx1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stCxn id="23" idx="4"/>
            <a:endCxn id="16" idx="0"/>
          </p:cNvCxnSpPr>
          <p:nvPr/>
        </p:nvCxnSpPr>
        <p:spPr>
          <a:xfrm>
            <a:off x="4572001" y="2236376"/>
            <a:ext cx="0" cy="463551"/>
          </a:xfrm>
          <a:prstGeom prst="line">
            <a:avLst/>
          </a:prstGeom>
          <a:ln w="3175" cmpd="sng">
            <a:solidFill>
              <a:schemeClr val="tx1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610589" y="3531776"/>
            <a:ext cx="1026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err="1"/>
              <a:t>Xxxxx</a:t>
            </a:r>
            <a:endParaRPr lang="en-US" sz="1600" dirty="0"/>
          </a:p>
          <a:p>
            <a:pPr algn="ctr"/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x</a:t>
            </a:r>
            <a:r>
              <a:rPr lang="en-US" sz="1200" dirty="0"/>
              <a:t> xxx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767700" y="3531776"/>
            <a:ext cx="1026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err="1"/>
              <a:t>Xxxxxx</a:t>
            </a:r>
            <a:endParaRPr lang="en-US" sz="1600" dirty="0"/>
          </a:p>
          <a:p>
            <a:pPr lvl="0" algn="ctr"/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x</a:t>
            </a:r>
            <a:r>
              <a:rPr lang="en-US" sz="1200" dirty="0"/>
              <a:t> xxx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2905996" y="3531776"/>
            <a:ext cx="1026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err="1"/>
              <a:t>Xxxxxx</a:t>
            </a:r>
            <a:endParaRPr lang="en-US" sz="1600" dirty="0"/>
          </a:p>
          <a:p>
            <a:pPr lvl="0" algn="ctr"/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x</a:t>
            </a:r>
            <a:r>
              <a:rPr lang="en-US" sz="1200" dirty="0"/>
              <a:t> xxx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063107" y="3531776"/>
            <a:ext cx="1026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Xxx </a:t>
            </a:r>
          </a:p>
          <a:p>
            <a:pPr lvl="0" algn="ctr"/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x</a:t>
            </a:r>
            <a:r>
              <a:rPr lang="en-US" sz="1200" dirty="0"/>
              <a:t> xxx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5220218" y="3531776"/>
            <a:ext cx="1026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err="1"/>
              <a:t>Xxxx</a:t>
            </a:r>
            <a:endParaRPr lang="en-US" sz="1600" dirty="0"/>
          </a:p>
          <a:p>
            <a:pPr lvl="0" algn="ctr"/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x</a:t>
            </a:r>
            <a:r>
              <a:rPr lang="en-US" sz="1200" dirty="0"/>
              <a:t> xxx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6358514" y="3531776"/>
            <a:ext cx="1026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X </a:t>
            </a:r>
            <a:r>
              <a:rPr lang="en-US" sz="1600" dirty="0" err="1"/>
              <a:t>x</a:t>
            </a:r>
            <a:r>
              <a:rPr lang="en-US" sz="1600" dirty="0"/>
              <a:t> xx</a:t>
            </a:r>
          </a:p>
          <a:p>
            <a:pPr lvl="0" algn="ctr"/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x</a:t>
            </a:r>
            <a:r>
              <a:rPr lang="en-US" sz="1200" dirty="0"/>
              <a:t> xxx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515625" y="3531776"/>
            <a:ext cx="1026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Xx </a:t>
            </a:r>
            <a:r>
              <a:rPr lang="en-US" sz="1600" dirty="0" err="1"/>
              <a:t>xxxx</a:t>
            </a:r>
            <a:endParaRPr lang="en-US" sz="1600" dirty="0"/>
          </a:p>
          <a:p>
            <a:pPr lvl="0" algn="ctr"/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x</a:t>
            </a:r>
            <a:r>
              <a:rPr lang="en-US" sz="1200" dirty="0"/>
              <a:t> xxx</a:t>
            </a:r>
          </a:p>
        </p:txBody>
      </p:sp>
      <p:grpSp>
        <p:nvGrpSpPr>
          <p:cNvPr id="31" name="Group 4"/>
          <p:cNvGrpSpPr>
            <a:grpSpLocks noChangeAspect="1"/>
          </p:cNvGrpSpPr>
          <p:nvPr/>
        </p:nvGrpSpPr>
        <p:grpSpPr bwMode="auto">
          <a:xfrm>
            <a:off x="2094938" y="2854564"/>
            <a:ext cx="350766" cy="427796"/>
            <a:chOff x="1617" y="935"/>
            <a:chExt cx="255" cy="311"/>
          </a:xfrm>
          <a:solidFill>
            <a:srgbClr val="FFFFFF"/>
          </a:solidFill>
        </p:grpSpPr>
        <p:sp>
          <p:nvSpPr>
            <p:cNvPr id="32" name="Freeform 5"/>
            <p:cNvSpPr>
              <a:spLocks/>
            </p:cNvSpPr>
            <p:nvPr/>
          </p:nvSpPr>
          <p:spPr bwMode="auto">
            <a:xfrm>
              <a:off x="1805" y="1029"/>
              <a:ext cx="67" cy="66"/>
            </a:xfrm>
            <a:custGeom>
              <a:avLst/>
              <a:gdLst>
                <a:gd name="T0" fmla="*/ 72 w 122"/>
                <a:gd name="T1" fmla="*/ 61 h 121"/>
                <a:gd name="T2" fmla="*/ 119 w 122"/>
                <a:gd name="T3" fmla="*/ 14 h 121"/>
                <a:gd name="T4" fmla="*/ 119 w 122"/>
                <a:gd name="T5" fmla="*/ 3 h 121"/>
                <a:gd name="T6" fmla="*/ 107 w 122"/>
                <a:gd name="T7" fmla="*/ 3 h 121"/>
                <a:gd name="T8" fmla="*/ 61 w 122"/>
                <a:gd name="T9" fmla="*/ 49 h 121"/>
                <a:gd name="T10" fmla="*/ 14 w 122"/>
                <a:gd name="T11" fmla="*/ 3 h 121"/>
                <a:gd name="T12" fmla="*/ 3 w 122"/>
                <a:gd name="T13" fmla="*/ 3 h 121"/>
                <a:gd name="T14" fmla="*/ 3 w 122"/>
                <a:gd name="T15" fmla="*/ 14 h 121"/>
                <a:gd name="T16" fmla="*/ 50 w 122"/>
                <a:gd name="T17" fmla="*/ 61 h 121"/>
                <a:gd name="T18" fmla="*/ 3 w 122"/>
                <a:gd name="T19" fmla="*/ 107 h 121"/>
                <a:gd name="T20" fmla="*/ 3 w 122"/>
                <a:gd name="T21" fmla="*/ 119 h 121"/>
                <a:gd name="T22" fmla="*/ 9 w 122"/>
                <a:gd name="T23" fmla="*/ 121 h 121"/>
                <a:gd name="T24" fmla="*/ 14 w 122"/>
                <a:gd name="T25" fmla="*/ 119 h 121"/>
                <a:gd name="T26" fmla="*/ 61 w 122"/>
                <a:gd name="T27" fmla="*/ 72 h 121"/>
                <a:gd name="T28" fmla="*/ 107 w 122"/>
                <a:gd name="T29" fmla="*/ 119 h 121"/>
                <a:gd name="T30" fmla="*/ 113 w 122"/>
                <a:gd name="T31" fmla="*/ 121 h 121"/>
                <a:gd name="T32" fmla="*/ 119 w 122"/>
                <a:gd name="T33" fmla="*/ 119 h 121"/>
                <a:gd name="T34" fmla="*/ 119 w 122"/>
                <a:gd name="T35" fmla="*/ 107 h 121"/>
                <a:gd name="T36" fmla="*/ 72 w 122"/>
                <a:gd name="T37" fmla="*/ 6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2" h="121">
                  <a:moveTo>
                    <a:pt x="72" y="61"/>
                  </a:moveTo>
                  <a:cubicBezTo>
                    <a:pt x="119" y="14"/>
                    <a:pt x="119" y="14"/>
                    <a:pt x="119" y="14"/>
                  </a:cubicBezTo>
                  <a:cubicBezTo>
                    <a:pt x="122" y="11"/>
                    <a:pt x="122" y="6"/>
                    <a:pt x="119" y="3"/>
                  </a:cubicBezTo>
                  <a:cubicBezTo>
                    <a:pt x="116" y="0"/>
                    <a:pt x="111" y="0"/>
                    <a:pt x="107" y="3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1" y="0"/>
                    <a:pt x="6" y="0"/>
                    <a:pt x="3" y="3"/>
                  </a:cubicBezTo>
                  <a:cubicBezTo>
                    <a:pt x="0" y="6"/>
                    <a:pt x="0" y="11"/>
                    <a:pt x="3" y="14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0" y="110"/>
                    <a:pt x="0" y="115"/>
                    <a:pt x="3" y="119"/>
                  </a:cubicBezTo>
                  <a:cubicBezTo>
                    <a:pt x="5" y="120"/>
                    <a:pt x="7" y="121"/>
                    <a:pt x="9" y="121"/>
                  </a:cubicBezTo>
                  <a:cubicBezTo>
                    <a:pt x="11" y="121"/>
                    <a:pt x="13" y="120"/>
                    <a:pt x="14" y="119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107" y="119"/>
                    <a:pt x="107" y="119"/>
                    <a:pt x="107" y="119"/>
                  </a:cubicBezTo>
                  <a:cubicBezTo>
                    <a:pt x="109" y="120"/>
                    <a:pt x="111" y="121"/>
                    <a:pt x="113" y="121"/>
                  </a:cubicBezTo>
                  <a:cubicBezTo>
                    <a:pt x="115" y="121"/>
                    <a:pt x="117" y="120"/>
                    <a:pt x="119" y="119"/>
                  </a:cubicBezTo>
                  <a:cubicBezTo>
                    <a:pt x="122" y="115"/>
                    <a:pt x="122" y="110"/>
                    <a:pt x="119" y="107"/>
                  </a:cubicBezTo>
                  <a:lnTo>
                    <a:pt x="72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6"/>
            <p:cNvSpPr>
              <a:spLocks/>
            </p:cNvSpPr>
            <p:nvPr/>
          </p:nvSpPr>
          <p:spPr bwMode="auto">
            <a:xfrm>
              <a:off x="1738" y="935"/>
              <a:ext cx="66" cy="66"/>
            </a:xfrm>
            <a:custGeom>
              <a:avLst/>
              <a:gdLst>
                <a:gd name="T0" fmla="*/ 119 w 122"/>
                <a:gd name="T1" fmla="*/ 3 h 121"/>
                <a:gd name="T2" fmla="*/ 108 w 122"/>
                <a:gd name="T3" fmla="*/ 3 h 121"/>
                <a:gd name="T4" fmla="*/ 61 w 122"/>
                <a:gd name="T5" fmla="*/ 49 h 121"/>
                <a:gd name="T6" fmla="*/ 15 w 122"/>
                <a:gd name="T7" fmla="*/ 3 h 121"/>
                <a:gd name="T8" fmla="*/ 3 w 122"/>
                <a:gd name="T9" fmla="*/ 3 h 121"/>
                <a:gd name="T10" fmla="*/ 3 w 122"/>
                <a:gd name="T11" fmla="*/ 14 h 121"/>
                <a:gd name="T12" fmla="*/ 50 w 122"/>
                <a:gd name="T13" fmla="*/ 61 h 121"/>
                <a:gd name="T14" fmla="*/ 3 w 122"/>
                <a:gd name="T15" fmla="*/ 107 h 121"/>
                <a:gd name="T16" fmla="*/ 3 w 122"/>
                <a:gd name="T17" fmla="*/ 118 h 121"/>
                <a:gd name="T18" fmla="*/ 9 w 122"/>
                <a:gd name="T19" fmla="*/ 121 h 121"/>
                <a:gd name="T20" fmla="*/ 15 w 122"/>
                <a:gd name="T21" fmla="*/ 118 h 121"/>
                <a:gd name="T22" fmla="*/ 61 w 122"/>
                <a:gd name="T23" fmla="*/ 72 h 121"/>
                <a:gd name="T24" fmla="*/ 108 w 122"/>
                <a:gd name="T25" fmla="*/ 118 h 121"/>
                <a:gd name="T26" fmla="*/ 113 w 122"/>
                <a:gd name="T27" fmla="*/ 121 h 121"/>
                <a:gd name="T28" fmla="*/ 119 w 122"/>
                <a:gd name="T29" fmla="*/ 118 h 121"/>
                <a:gd name="T30" fmla="*/ 119 w 122"/>
                <a:gd name="T31" fmla="*/ 107 h 121"/>
                <a:gd name="T32" fmla="*/ 73 w 122"/>
                <a:gd name="T33" fmla="*/ 61 h 121"/>
                <a:gd name="T34" fmla="*/ 119 w 122"/>
                <a:gd name="T35" fmla="*/ 14 h 121"/>
                <a:gd name="T36" fmla="*/ 119 w 122"/>
                <a:gd name="T37" fmla="*/ 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2" h="121">
                  <a:moveTo>
                    <a:pt x="119" y="3"/>
                  </a:moveTo>
                  <a:cubicBezTo>
                    <a:pt x="116" y="0"/>
                    <a:pt x="111" y="0"/>
                    <a:pt x="108" y="3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2" y="0"/>
                    <a:pt x="7" y="0"/>
                    <a:pt x="3" y="3"/>
                  </a:cubicBezTo>
                  <a:cubicBezTo>
                    <a:pt x="0" y="6"/>
                    <a:pt x="0" y="11"/>
                    <a:pt x="3" y="14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0" y="110"/>
                    <a:pt x="0" y="115"/>
                    <a:pt x="3" y="118"/>
                  </a:cubicBezTo>
                  <a:cubicBezTo>
                    <a:pt x="5" y="120"/>
                    <a:pt x="7" y="121"/>
                    <a:pt x="9" y="121"/>
                  </a:cubicBezTo>
                  <a:cubicBezTo>
                    <a:pt x="11" y="121"/>
                    <a:pt x="13" y="120"/>
                    <a:pt x="15" y="118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108" y="118"/>
                    <a:pt x="108" y="118"/>
                    <a:pt x="108" y="118"/>
                  </a:cubicBezTo>
                  <a:cubicBezTo>
                    <a:pt x="109" y="120"/>
                    <a:pt x="111" y="121"/>
                    <a:pt x="113" y="121"/>
                  </a:cubicBezTo>
                  <a:cubicBezTo>
                    <a:pt x="115" y="121"/>
                    <a:pt x="117" y="120"/>
                    <a:pt x="119" y="118"/>
                  </a:cubicBezTo>
                  <a:cubicBezTo>
                    <a:pt x="122" y="115"/>
                    <a:pt x="122" y="110"/>
                    <a:pt x="119" y="107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119" y="14"/>
                    <a:pt x="119" y="14"/>
                    <a:pt x="119" y="14"/>
                  </a:cubicBezTo>
                  <a:cubicBezTo>
                    <a:pt x="122" y="11"/>
                    <a:pt x="122" y="6"/>
                    <a:pt x="11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Freeform 7"/>
            <p:cNvSpPr>
              <a:spLocks/>
            </p:cNvSpPr>
            <p:nvPr/>
          </p:nvSpPr>
          <p:spPr bwMode="auto">
            <a:xfrm>
              <a:off x="1617" y="1123"/>
              <a:ext cx="67" cy="66"/>
            </a:xfrm>
            <a:custGeom>
              <a:avLst/>
              <a:gdLst>
                <a:gd name="T0" fmla="*/ 119 w 122"/>
                <a:gd name="T1" fmla="*/ 3 h 121"/>
                <a:gd name="T2" fmla="*/ 108 w 122"/>
                <a:gd name="T3" fmla="*/ 3 h 121"/>
                <a:gd name="T4" fmla="*/ 61 w 122"/>
                <a:gd name="T5" fmla="*/ 50 h 121"/>
                <a:gd name="T6" fmla="*/ 15 w 122"/>
                <a:gd name="T7" fmla="*/ 3 h 121"/>
                <a:gd name="T8" fmla="*/ 4 w 122"/>
                <a:gd name="T9" fmla="*/ 3 h 121"/>
                <a:gd name="T10" fmla="*/ 4 w 122"/>
                <a:gd name="T11" fmla="*/ 15 h 121"/>
                <a:gd name="T12" fmla="*/ 50 w 122"/>
                <a:gd name="T13" fmla="*/ 61 h 121"/>
                <a:gd name="T14" fmla="*/ 4 w 122"/>
                <a:gd name="T15" fmla="*/ 108 h 121"/>
                <a:gd name="T16" fmla="*/ 4 w 122"/>
                <a:gd name="T17" fmla="*/ 119 h 121"/>
                <a:gd name="T18" fmla="*/ 9 w 122"/>
                <a:gd name="T19" fmla="*/ 121 h 121"/>
                <a:gd name="T20" fmla="*/ 15 w 122"/>
                <a:gd name="T21" fmla="*/ 119 h 121"/>
                <a:gd name="T22" fmla="*/ 61 w 122"/>
                <a:gd name="T23" fmla="*/ 72 h 121"/>
                <a:gd name="T24" fmla="*/ 108 w 122"/>
                <a:gd name="T25" fmla="*/ 119 h 121"/>
                <a:gd name="T26" fmla="*/ 113 w 122"/>
                <a:gd name="T27" fmla="*/ 121 h 121"/>
                <a:gd name="T28" fmla="*/ 119 w 122"/>
                <a:gd name="T29" fmla="*/ 119 h 121"/>
                <a:gd name="T30" fmla="*/ 119 w 122"/>
                <a:gd name="T31" fmla="*/ 108 h 121"/>
                <a:gd name="T32" fmla="*/ 73 w 122"/>
                <a:gd name="T33" fmla="*/ 61 h 121"/>
                <a:gd name="T34" fmla="*/ 119 w 122"/>
                <a:gd name="T35" fmla="*/ 15 h 121"/>
                <a:gd name="T36" fmla="*/ 119 w 122"/>
                <a:gd name="T37" fmla="*/ 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2" h="121">
                  <a:moveTo>
                    <a:pt x="119" y="3"/>
                  </a:moveTo>
                  <a:cubicBezTo>
                    <a:pt x="116" y="0"/>
                    <a:pt x="111" y="0"/>
                    <a:pt x="108" y="3"/>
                  </a:cubicBezTo>
                  <a:cubicBezTo>
                    <a:pt x="61" y="50"/>
                    <a:pt x="61" y="50"/>
                    <a:pt x="61" y="50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2" y="0"/>
                    <a:pt x="7" y="0"/>
                    <a:pt x="4" y="3"/>
                  </a:cubicBezTo>
                  <a:cubicBezTo>
                    <a:pt x="0" y="6"/>
                    <a:pt x="0" y="12"/>
                    <a:pt x="4" y="15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4" y="108"/>
                    <a:pt x="4" y="108"/>
                    <a:pt x="4" y="108"/>
                  </a:cubicBezTo>
                  <a:cubicBezTo>
                    <a:pt x="0" y="111"/>
                    <a:pt x="0" y="116"/>
                    <a:pt x="4" y="119"/>
                  </a:cubicBezTo>
                  <a:cubicBezTo>
                    <a:pt x="5" y="120"/>
                    <a:pt x="7" y="121"/>
                    <a:pt x="9" y="121"/>
                  </a:cubicBezTo>
                  <a:cubicBezTo>
                    <a:pt x="11" y="121"/>
                    <a:pt x="13" y="120"/>
                    <a:pt x="15" y="119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108" y="119"/>
                    <a:pt x="108" y="119"/>
                    <a:pt x="108" y="119"/>
                  </a:cubicBezTo>
                  <a:cubicBezTo>
                    <a:pt x="109" y="120"/>
                    <a:pt x="111" y="121"/>
                    <a:pt x="113" y="121"/>
                  </a:cubicBezTo>
                  <a:cubicBezTo>
                    <a:pt x="115" y="121"/>
                    <a:pt x="118" y="120"/>
                    <a:pt x="119" y="119"/>
                  </a:cubicBezTo>
                  <a:cubicBezTo>
                    <a:pt x="122" y="116"/>
                    <a:pt x="122" y="111"/>
                    <a:pt x="119" y="108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119" y="15"/>
                    <a:pt x="119" y="15"/>
                    <a:pt x="119" y="15"/>
                  </a:cubicBezTo>
                  <a:cubicBezTo>
                    <a:pt x="122" y="12"/>
                    <a:pt x="122" y="6"/>
                    <a:pt x="11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Freeform 8"/>
            <p:cNvSpPr>
              <a:spLocks noEditPoints="1"/>
            </p:cNvSpPr>
            <p:nvPr/>
          </p:nvSpPr>
          <p:spPr bwMode="auto">
            <a:xfrm>
              <a:off x="1631" y="1003"/>
              <a:ext cx="167" cy="243"/>
            </a:xfrm>
            <a:custGeom>
              <a:avLst/>
              <a:gdLst>
                <a:gd name="T0" fmla="*/ 254 w 306"/>
                <a:gd name="T1" fmla="*/ 326 h 444"/>
                <a:gd name="T2" fmla="*/ 254 w 306"/>
                <a:gd name="T3" fmla="*/ 246 h 444"/>
                <a:gd name="T4" fmla="*/ 252 w 306"/>
                <a:gd name="T5" fmla="*/ 240 h 444"/>
                <a:gd name="T6" fmla="*/ 28 w 306"/>
                <a:gd name="T7" fmla="*/ 16 h 444"/>
                <a:gd name="T8" fmla="*/ 129 w 306"/>
                <a:gd name="T9" fmla="*/ 16 h 444"/>
                <a:gd name="T10" fmla="*/ 137 w 306"/>
                <a:gd name="T11" fmla="*/ 8 h 444"/>
                <a:gd name="T12" fmla="*/ 129 w 306"/>
                <a:gd name="T13" fmla="*/ 0 h 444"/>
                <a:gd name="T14" fmla="*/ 8 w 306"/>
                <a:gd name="T15" fmla="*/ 0 h 444"/>
                <a:gd name="T16" fmla="*/ 8 w 306"/>
                <a:gd name="T17" fmla="*/ 0 h 444"/>
                <a:gd name="T18" fmla="*/ 8 w 306"/>
                <a:gd name="T19" fmla="*/ 0 h 444"/>
                <a:gd name="T20" fmla="*/ 8 w 306"/>
                <a:gd name="T21" fmla="*/ 0 h 444"/>
                <a:gd name="T22" fmla="*/ 8 w 306"/>
                <a:gd name="T23" fmla="*/ 0 h 444"/>
                <a:gd name="T24" fmla="*/ 7 w 306"/>
                <a:gd name="T25" fmla="*/ 0 h 444"/>
                <a:gd name="T26" fmla="*/ 6 w 306"/>
                <a:gd name="T27" fmla="*/ 1 h 444"/>
                <a:gd name="T28" fmla="*/ 5 w 306"/>
                <a:gd name="T29" fmla="*/ 1 h 444"/>
                <a:gd name="T30" fmla="*/ 5 w 306"/>
                <a:gd name="T31" fmla="*/ 1 h 444"/>
                <a:gd name="T32" fmla="*/ 4 w 306"/>
                <a:gd name="T33" fmla="*/ 2 h 444"/>
                <a:gd name="T34" fmla="*/ 2 w 306"/>
                <a:gd name="T35" fmla="*/ 4 h 444"/>
                <a:gd name="T36" fmla="*/ 1 w 306"/>
                <a:gd name="T37" fmla="*/ 4 h 444"/>
                <a:gd name="T38" fmla="*/ 1 w 306"/>
                <a:gd name="T39" fmla="*/ 5 h 444"/>
                <a:gd name="T40" fmla="*/ 1 w 306"/>
                <a:gd name="T41" fmla="*/ 6 h 444"/>
                <a:gd name="T42" fmla="*/ 1 w 306"/>
                <a:gd name="T43" fmla="*/ 7 h 444"/>
                <a:gd name="T44" fmla="*/ 0 w 306"/>
                <a:gd name="T45" fmla="*/ 8 h 444"/>
                <a:gd name="T46" fmla="*/ 0 w 306"/>
                <a:gd name="T47" fmla="*/ 129 h 444"/>
                <a:gd name="T48" fmla="*/ 8 w 306"/>
                <a:gd name="T49" fmla="*/ 137 h 444"/>
                <a:gd name="T50" fmla="*/ 16 w 306"/>
                <a:gd name="T51" fmla="*/ 129 h 444"/>
                <a:gd name="T52" fmla="*/ 16 w 306"/>
                <a:gd name="T53" fmla="*/ 28 h 444"/>
                <a:gd name="T54" fmla="*/ 238 w 306"/>
                <a:gd name="T55" fmla="*/ 249 h 444"/>
                <a:gd name="T56" fmla="*/ 238 w 306"/>
                <a:gd name="T57" fmla="*/ 326 h 444"/>
                <a:gd name="T58" fmla="*/ 187 w 306"/>
                <a:gd name="T59" fmla="*/ 385 h 444"/>
                <a:gd name="T60" fmla="*/ 246 w 306"/>
                <a:gd name="T61" fmla="*/ 444 h 444"/>
                <a:gd name="T62" fmla="*/ 306 w 306"/>
                <a:gd name="T63" fmla="*/ 385 h 444"/>
                <a:gd name="T64" fmla="*/ 254 w 306"/>
                <a:gd name="T65" fmla="*/ 326 h 444"/>
                <a:gd name="T66" fmla="*/ 246 w 306"/>
                <a:gd name="T67" fmla="*/ 428 h 444"/>
                <a:gd name="T68" fmla="*/ 203 w 306"/>
                <a:gd name="T69" fmla="*/ 385 h 444"/>
                <a:gd name="T70" fmla="*/ 246 w 306"/>
                <a:gd name="T71" fmla="*/ 341 h 444"/>
                <a:gd name="T72" fmla="*/ 290 w 306"/>
                <a:gd name="T73" fmla="*/ 385 h 444"/>
                <a:gd name="T74" fmla="*/ 246 w 306"/>
                <a:gd name="T75" fmla="*/ 428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6" h="444">
                  <a:moveTo>
                    <a:pt x="254" y="326"/>
                  </a:moveTo>
                  <a:cubicBezTo>
                    <a:pt x="254" y="246"/>
                    <a:pt x="254" y="246"/>
                    <a:pt x="254" y="246"/>
                  </a:cubicBezTo>
                  <a:cubicBezTo>
                    <a:pt x="254" y="244"/>
                    <a:pt x="253" y="242"/>
                    <a:pt x="252" y="240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34" y="16"/>
                    <a:pt x="137" y="13"/>
                    <a:pt x="137" y="8"/>
                  </a:cubicBezTo>
                  <a:cubicBezTo>
                    <a:pt x="137" y="4"/>
                    <a:pt x="134" y="0"/>
                    <a:pt x="12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7" y="1"/>
                    <a:pt x="6" y="1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3" y="2"/>
                    <a:pt x="2" y="3"/>
                    <a:pt x="2" y="4"/>
                  </a:cubicBezTo>
                  <a:cubicBezTo>
                    <a:pt x="2" y="4"/>
                    <a:pt x="2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7"/>
                    <a:pt x="1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4"/>
                    <a:pt x="4" y="137"/>
                    <a:pt x="8" y="137"/>
                  </a:cubicBezTo>
                  <a:cubicBezTo>
                    <a:pt x="13" y="137"/>
                    <a:pt x="16" y="134"/>
                    <a:pt x="16" y="1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238" y="249"/>
                    <a:pt x="238" y="249"/>
                    <a:pt x="238" y="249"/>
                  </a:cubicBezTo>
                  <a:cubicBezTo>
                    <a:pt x="238" y="326"/>
                    <a:pt x="238" y="326"/>
                    <a:pt x="238" y="326"/>
                  </a:cubicBezTo>
                  <a:cubicBezTo>
                    <a:pt x="209" y="330"/>
                    <a:pt x="187" y="355"/>
                    <a:pt x="187" y="385"/>
                  </a:cubicBezTo>
                  <a:cubicBezTo>
                    <a:pt x="187" y="418"/>
                    <a:pt x="213" y="444"/>
                    <a:pt x="246" y="444"/>
                  </a:cubicBezTo>
                  <a:cubicBezTo>
                    <a:pt x="279" y="444"/>
                    <a:pt x="306" y="418"/>
                    <a:pt x="306" y="385"/>
                  </a:cubicBezTo>
                  <a:cubicBezTo>
                    <a:pt x="306" y="355"/>
                    <a:pt x="283" y="330"/>
                    <a:pt x="254" y="326"/>
                  </a:cubicBezTo>
                  <a:close/>
                  <a:moveTo>
                    <a:pt x="246" y="428"/>
                  </a:moveTo>
                  <a:cubicBezTo>
                    <a:pt x="222" y="428"/>
                    <a:pt x="203" y="409"/>
                    <a:pt x="203" y="385"/>
                  </a:cubicBezTo>
                  <a:cubicBezTo>
                    <a:pt x="203" y="361"/>
                    <a:pt x="222" y="341"/>
                    <a:pt x="246" y="341"/>
                  </a:cubicBezTo>
                  <a:cubicBezTo>
                    <a:pt x="270" y="341"/>
                    <a:pt x="290" y="361"/>
                    <a:pt x="290" y="385"/>
                  </a:cubicBezTo>
                  <a:cubicBezTo>
                    <a:pt x="290" y="409"/>
                    <a:pt x="270" y="428"/>
                    <a:pt x="246" y="4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37" name="Group 11"/>
          <p:cNvGrpSpPr>
            <a:grpSpLocks noChangeAspect="1"/>
          </p:cNvGrpSpPr>
          <p:nvPr/>
        </p:nvGrpSpPr>
        <p:grpSpPr bwMode="auto">
          <a:xfrm>
            <a:off x="3236496" y="2863825"/>
            <a:ext cx="369332" cy="374274"/>
            <a:chOff x="2926" y="926"/>
            <a:chExt cx="299" cy="303"/>
          </a:xfrm>
          <a:solidFill>
            <a:srgbClr val="FFFFFF"/>
          </a:solidFill>
        </p:grpSpPr>
        <p:sp>
          <p:nvSpPr>
            <p:cNvPr id="39" name="Freeform 12"/>
            <p:cNvSpPr>
              <a:spLocks/>
            </p:cNvSpPr>
            <p:nvPr/>
          </p:nvSpPr>
          <p:spPr bwMode="auto">
            <a:xfrm>
              <a:off x="2987" y="1016"/>
              <a:ext cx="215" cy="189"/>
            </a:xfrm>
            <a:custGeom>
              <a:avLst/>
              <a:gdLst>
                <a:gd name="T0" fmla="*/ 353 w 361"/>
                <a:gd name="T1" fmla="*/ 318 h 318"/>
                <a:gd name="T2" fmla="*/ 8 w 361"/>
                <a:gd name="T3" fmla="*/ 318 h 318"/>
                <a:gd name="T4" fmla="*/ 0 w 361"/>
                <a:gd name="T5" fmla="*/ 310 h 318"/>
                <a:gd name="T6" fmla="*/ 0 w 361"/>
                <a:gd name="T7" fmla="*/ 8 h 318"/>
                <a:gd name="T8" fmla="*/ 8 w 361"/>
                <a:gd name="T9" fmla="*/ 0 h 318"/>
                <a:gd name="T10" fmla="*/ 103 w 361"/>
                <a:gd name="T11" fmla="*/ 0 h 318"/>
                <a:gd name="T12" fmla="*/ 111 w 361"/>
                <a:gd name="T13" fmla="*/ 8 h 318"/>
                <a:gd name="T14" fmla="*/ 103 w 361"/>
                <a:gd name="T15" fmla="*/ 16 h 318"/>
                <a:gd name="T16" fmla="*/ 16 w 361"/>
                <a:gd name="T17" fmla="*/ 16 h 318"/>
                <a:gd name="T18" fmla="*/ 16 w 361"/>
                <a:gd name="T19" fmla="*/ 302 h 318"/>
                <a:gd name="T20" fmla="*/ 345 w 361"/>
                <a:gd name="T21" fmla="*/ 302 h 318"/>
                <a:gd name="T22" fmla="*/ 345 w 361"/>
                <a:gd name="T23" fmla="*/ 16 h 318"/>
                <a:gd name="T24" fmla="*/ 318 w 361"/>
                <a:gd name="T25" fmla="*/ 16 h 318"/>
                <a:gd name="T26" fmla="*/ 310 w 361"/>
                <a:gd name="T27" fmla="*/ 8 h 318"/>
                <a:gd name="T28" fmla="*/ 318 w 361"/>
                <a:gd name="T29" fmla="*/ 0 h 318"/>
                <a:gd name="T30" fmla="*/ 353 w 361"/>
                <a:gd name="T31" fmla="*/ 0 h 318"/>
                <a:gd name="T32" fmla="*/ 361 w 361"/>
                <a:gd name="T33" fmla="*/ 8 h 318"/>
                <a:gd name="T34" fmla="*/ 361 w 361"/>
                <a:gd name="T35" fmla="*/ 310 h 318"/>
                <a:gd name="T36" fmla="*/ 353 w 361"/>
                <a:gd name="T37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1" h="318">
                  <a:moveTo>
                    <a:pt x="353" y="318"/>
                  </a:moveTo>
                  <a:cubicBezTo>
                    <a:pt x="8" y="318"/>
                    <a:pt x="8" y="318"/>
                    <a:pt x="8" y="318"/>
                  </a:cubicBezTo>
                  <a:cubicBezTo>
                    <a:pt x="4" y="318"/>
                    <a:pt x="0" y="314"/>
                    <a:pt x="0" y="31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7" y="0"/>
                    <a:pt x="111" y="4"/>
                    <a:pt x="111" y="8"/>
                  </a:cubicBezTo>
                  <a:cubicBezTo>
                    <a:pt x="111" y="13"/>
                    <a:pt x="107" y="16"/>
                    <a:pt x="103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302"/>
                    <a:pt x="16" y="302"/>
                    <a:pt x="16" y="302"/>
                  </a:cubicBezTo>
                  <a:cubicBezTo>
                    <a:pt x="345" y="302"/>
                    <a:pt x="345" y="302"/>
                    <a:pt x="345" y="302"/>
                  </a:cubicBezTo>
                  <a:cubicBezTo>
                    <a:pt x="345" y="16"/>
                    <a:pt x="345" y="16"/>
                    <a:pt x="345" y="16"/>
                  </a:cubicBezTo>
                  <a:cubicBezTo>
                    <a:pt x="318" y="16"/>
                    <a:pt x="318" y="16"/>
                    <a:pt x="318" y="16"/>
                  </a:cubicBezTo>
                  <a:cubicBezTo>
                    <a:pt x="314" y="16"/>
                    <a:pt x="310" y="13"/>
                    <a:pt x="310" y="8"/>
                  </a:cubicBezTo>
                  <a:cubicBezTo>
                    <a:pt x="310" y="4"/>
                    <a:pt x="314" y="0"/>
                    <a:pt x="318" y="0"/>
                  </a:cubicBezTo>
                  <a:cubicBezTo>
                    <a:pt x="353" y="0"/>
                    <a:pt x="353" y="0"/>
                    <a:pt x="353" y="0"/>
                  </a:cubicBezTo>
                  <a:cubicBezTo>
                    <a:pt x="358" y="0"/>
                    <a:pt x="361" y="4"/>
                    <a:pt x="361" y="8"/>
                  </a:cubicBezTo>
                  <a:cubicBezTo>
                    <a:pt x="361" y="310"/>
                    <a:pt x="361" y="310"/>
                    <a:pt x="361" y="310"/>
                  </a:cubicBezTo>
                  <a:cubicBezTo>
                    <a:pt x="361" y="314"/>
                    <a:pt x="358" y="318"/>
                    <a:pt x="353" y="3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13"/>
            <p:cNvSpPr>
              <a:spLocks/>
            </p:cNvSpPr>
            <p:nvPr/>
          </p:nvSpPr>
          <p:spPr bwMode="auto">
            <a:xfrm>
              <a:off x="2926" y="991"/>
              <a:ext cx="299" cy="238"/>
            </a:xfrm>
            <a:custGeom>
              <a:avLst/>
              <a:gdLst>
                <a:gd name="T0" fmla="*/ 457 w 503"/>
                <a:gd name="T1" fmla="*/ 400 h 400"/>
                <a:gd name="T2" fmla="*/ 46 w 503"/>
                <a:gd name="T3" fmla="*/ 400 h 400"/>
                <a:gd name="T4" fmla="*/ 0 w 503"/>
                <a:gd name="T5" fmla="*/ 354 h 400"/>
                <a:gd name="T6" fmla="*/ 0 w 503"/>
                <a:gd name="T7" fmla="*/ 46 h 400"/>
                <a:gd name="T8" fmla="*/ 46 w 503"/>
                <a:gd name="T9" fmla="*/ 0 h 400"/>
                <a:gd name="T10" fmla="*/ 247 w 503"/>
                <a:gd name="T11" fmla="*/ 0 h 400"/>
                <a:gd name="T12" fmla="*/ 255 w 503"/>
                <a:gd name="T13" fmla="*/ 8 h 400"/>
                <a:gd name="T14" fmla="*/ 247 w 503"/>
                <a:gd name="T15" fmla="*/ 16 h 400"/>
                <a:gd name="T16" fmla="*/ 46 w 503"/>
                <a:gd name="T17" fmla="*/ 16 h 400"/>
                <a:gd name="T18" fmla="*/ 16 w 503"/>
                <a:gd name="T19" fmla="*/ 46 h 400"/>
                <a:gd name="T20" fmla="*/ 16 w 503"/>
                <a:gd name="T21" fmla="*/ 354 h 400"/>
                <a:gd name="T22" fmla="*/ 46 w 503"/>
                <a:gd name="T23" fmla="*/ 384 h 400"/>
                <a:gd name="T24" fmla="*/ 457 w 503"/>
                <a:gd name="T25" fmla="*/ 384 h 400"/>
                <a:gd name="T26" fmla="*/ 487 w 503"/>
                <a:gd name="T27" fmla="*/ 354 h 400"/>
                <a:gd name="T28" fmla="*/ 487 w 503"/>
                <a:gd name="T29" fmla="*/ 46 h 400"/>
                <a:gd name="T30" fmla="*/ 457 w 503"/>
                <a:gd name="T31" fmla="*/ 16 h 400"/>
                <a:gd name="T32" fmla="*/ 449 w 503"/>
                <a:gd name="T33" fmla="*/ 8 h 400"/>
                <a:gd name="T34" fmla="*/ 457 w 503"/>
                <a:gd name="T35" fmla="*/ 0 h 400"/>
                <a:gd name="T36" fmla="*/ 503 w 503"/>
                <a:gd name="T37" fmla="*/ 46 h 400"/>
                <a:gd name="T38" fmla="*/ 503 w 503"/>
                <a:gd name="T39" fmla="*/ 354 h 400"/>
                <a:gd name="T40" fmla="*/ 457 w 503"/>
                <a:gd name="T4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3" h="400">
                  <a:moveTo>
                    <a:pt x="457" y="400"/>
                  </a:moveTo>
                  <a:cubicBezTo>
                    <a:pt x="46" y="400"/>
                    <a:pt x="46" y="400"/>
                    <a:pt x="46" y="400"/>
                  </a:cubicBezTo>
                  <a:cubicBezTo>
                    <a:pt x="21" y="400"/>
                    <a:pt x="0" y="380"/>
                    <a:pt x="0" y="354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1" y="0"/>
                    <a:pt x="255" y="3"/>
                    <a:pt x="255" y="8"/>
                  </a:cubicBezTo>
                  <a:cubicBezTo>
                    <a:pt x="255" y="12"/>
                    <a:pt x="251" y="16"/>
                    <a:pt x="247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29" y="16"/>
                    <a:pt x="16" y="29"/>
                    <a:pt x="16" y="46"/>
                  </a:cubicBezTo>
                  <a:cubicBezTo>
                    <a:pt x="16" y="354"/>
                    <a:pt x="16" y="354"/>
                    <a:pt x="16" y="354"/>
                  </a:cubicBezTo>
                  <a:cubicBezTo>
                    <a:pt x="16" y="371"/>
                    <a:pt x="29" y="384"/>
                    <a:pt x="46" y="384"/>
                  </a:cubicBezTo>
                  <a:cubicBezTo>
                    <a:pt x="457" y="384"/>
                    <a:pt x="457" y="384"/>
                    <a:pt x="457" y="384"/>
                  </a:cubicBezTo>
                  <a:cubicBezTo>
                    <a:pt x="474" y="384"/>
                    <a:pt x="487" y="371"/>
                    <a:pt x="487" y="354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7" y="29"/>
                    <a:pt x="474" y="16"/>
                    <a:pt x="457" y="16"/>
                  </a:cubicBezTo>
                  <a:cubicBezTo>
                    <a:pt x="453" y="16"/>
                    <a:pt x="449" y="12"/>
                    <a:pt x="449" y="8"/>
                  </a:cubicBezTo>
                  <a:cubicBezTo>
                    <a:pt x="449" y="3"/>
                    <a:pt x="453" y="0"/>
                    <a:pt x="457" y="0"/>
                  </a:cubicBezTo>
                  <a:cubicBezTo>
                    <a:pt x="482" y="0"/>
                    <a:pt x="503" y="20"/>
                    <a:pt x="503" y="46"/>
                  </a:cubicBezTo>
                  <a:cubicBezTo>
                    <a:pt x="503" y="354"/>
                    <a:pt x="503" y="354"/>
                    <a:pt x="503" y="354"/>
                  </a:cubicBezTo>
                  <a:cubicBezTo>
                    <a:pt x="503" y="380"/>
                    <a:pt x="482" y="400"/>
                    <a:pt x="457" y="4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14"/>
            <p:cNvSpPr>
              <a:spLocks noEditPoints="1"/>
            </p:cNvSpPr>
            <p:nvPr/>
          </p:nvSpPr>
          <p:spPr bwMode="auto">
            <a:xfrm>
              <a:off x="2926" y="1029"/>
              <a:ext cx="47" cy="163"/>
            </a:xfrm>
            <a:custGeom>
              <a:avLst/>
              <a:gdLst>
                <a:gd name="T0" fmla="*/ 72 w 80"/>
                <a:gd name="T1" fmla="*/ 274 h 274"/>
                <a:gd name="T2" fmla="*/ 8 w 80"/>
                <a:gd name="T3" fmla="*/ 274 h 274"/>
                <a:gd name="T4" fmla="*/ 0 w 80"/>
                <a:gd name="T5" fmla="*/ 266 h 274"/>
                <a:gd name="T6" fmla="*/ 0 w 80"/>
                <a:gd name="T7" fmla="*/ 8 h 274"/>
                <a:gd name="T8" fmla="*/ 8 w 80"/>
                <a:gd name="T9" fmla="*/ 0 h 274"/>
                <a:gd name="T10" fmla="*/ 72 w 80"/>
                <a:gd name="T11" fmla="*/ 0 h 274"/>
                <a:gd name="T12" fmla="*/ 80 w 80"/>
                <a:gd name="T13" fmla="*/ 8 h 274"/>
                <a:gd name="T14" fmla="*/ 80 w 80"/>
                <a:gd name="T15" fmla="*/ 266 h 274"/>
                <a:gd name="T16" fmla="*/ 72 w 80"/>
                <a:gd name="T17" fmla="*/ 274 h 274"/>
                <a:gd name="T18" fmla="*/ 16 w 80"/>
                <a:gd name="T19" fmla="*/ 258 h 274"/>
                <a:gd name="T20" fmla="*/ 64 w 80"/>
                <a:gd name="T21" fmla="*/ 258 h 274"/>
                <a:gd name="T22" fmla="*/ 64 w 80"/>
                <a:gd name="T23" fmla="*/ 16 h 274"/>
                <a:gd name="T24" fmla="*/ 16 w 80"/>
                <a:gd name="T25" fmla="*/ 16 h 274"/>
                <a:gd name="T26" fmla="*/ 16 w 80"/>
                <a:gd name="T27" fmla="*/ 258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0" h="274">
                  <a:moveTo>
                    <a:pt x="72" y="274"/>
                  </a:moveTo>
                  <a:cubicBezTo>
                    <a:pt x="8" y="274"/>
                    <a:pt x="8" y="274"/>
                    <a:pt x="8" y="274"/>
                  </a:cubicBezTo>
                  <a:cubicBezTo>
                    <a:pt x="3" y="274"/>
                    <a:pt x="0" y="270"/>
                    <a:pt x="0" y="26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80" y="4"/>
                    <a:pt x="80" y="8"/>
                  </a:cubicBezTo>
                  <a:cubicBezTo>
                    <a:pt x="80" y="266"/>
                    <a:pt x="80" y="266"/>
                    <a:pt x="80" y="266"/>
                  </a:cubicBezTo>
                  <a:cubicBezTo>
                    <a:pt x="80" y="270"/>
                    <a:pt x="76" y="274"/>
                    <a:pt x="72" y="274"/>
                  </a:cubicBezTo>
                  <a:close/>
                  <a:moveTo>
                    <a:pt x="16" y="258"/>
                  </a:moveTo>
                  <a:cubicBezTo>
                    <a:pt x="64" y="258"/>
                    <a:pt x="64" y="258"/>
                    <a:pt x="64" y="258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16" y="16"/>
                    <a:pt x="16" y="16"/>
                    <a:pt x="16" y="16"/>
                  </a:cubicBezTo>
                  <a:lnTo>
                    <a:pt x="16" y="2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15"/>
            <p:cNvSpPr>
              <a:spLocks/>
            </p:cNvSpPr>
            <p:nvPr/>
          </p:nvSpPr>
          <p:spPr bwMode="auto">
            <a:xfrm>
              <a:off x="2926" y="1079"/>
              <a:ext cx="47" cy="9"/>
            </a:xfrm>
            <a:custGeom>
              <a:avLst/>
              <a:gdLst>
                <a:gd name="T0" fmla="*/ 72 w 80"/>
                <a:gd name="T1" fmla="*/ 16 h 16"/>
                <a:gd name="T2" fmla="*/ 8 w 80"/>
                <a:gd name="T3" fmla="*/ 16 h 16"/>
                <a:gd name="T4" fmla="*/ 0 w 80"/>
                <a:gd name="T5" fmla="*/ 8 h 16"/>
                <a:gd name="T6" fmla="*/ 8 w 80"/>
                <a:gd name="T7" fmla="*/ 0 h 16"/>
                <a:gd name="T8" fmla="*/ 72 w 80"/>
                <a:gd name="T9" fmla="*/ 0 h 16"/>
                <a:gd name="T10" fmla="*/ 80 w 80"/>
                <a:gd name="T11" fmla="*/ 8 h 16"/>
                <a:gd name="T12" fmla="*/ 72 w 80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6">
                  <a:moveTo>
                    <a:pt x="72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3" y="16"/>
                    <a:pt x="0" y="13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80" y="4"/>
                    <a:pt x="80" y="8"/>
                  </a:cubicBezTo>
                  <a:cubicBezTo>
                    <a:pt x="80" y="13"/>
                    <a:pt x="76" y="16"/>
                    <a:pt x="7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16"/>
            <p:cNvSpPr>
              <a:spLocks/>
            </p:cNvSpPr>
            <p:nvPr/>
          </p:nvSpPr>
          <p:spPr bwMode="auto">
            <a:xfrm>
              <a:off x="2926" y="1128"/>
              <a:ext cx="47" cy="10"/>
            </a:xfrm>
            <a:custGeom>
              <a:avLst/>
              <a:gdLst>
                <a:gd name="T0" fmla="*/ 72 w 80"/>
                <a:gd name="T1" fmla="*/ 16 h 16"/>
                <a:gd name="T2" fmla="*/ 8 w 80"/>
                <a:gd name="T3" fmla="*/ 16 h 16"/>
                <a:gd name="T4" fmla="*/ 0 w 80"/>
                <a:gd name="T5" fmla="*/ 8 h 16"/>
                <a:gd name="T6" fmla="*/ 8 w 80"/>
                <a:gd name="T7" fmla="*/ 0 h 16"/>
                <a:gd name="T8" fmla="*/ 72 w 80"/>
                <a:gd name="T9" fmla="*/ 0 h 16"/>
                <a:gd name="T10" fmla="*/ 80 w 80"/>
                <a:gd name="T11" fmla="*/ 8 h 16"/>
                <a:gd name="T12" fmla="*/ 72 w 80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6">
                  <a:moveTo>
                    <a:pt x="72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3" y="16"/>
                    <a:pt x="0" y="13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80" y="4"/>
                    <a:pt x="80" y="8"/>
                  </a:cubicBezTo>
                  <a:cubicBezTo>
                    <a:pt x="80" y="13"/>
                    <a:pt x="76" y="16"/>
                    <a:pt x="7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17"/>
            <p:cNvSpPr>
              <a:spLocks/>
            </p:cNvSpPr>
            <p:nvPr/>
          </p:nvSpPr>
          <p:spPr bwMode="auto">
            <a:xfrm>
              <a:off x="2926" y="1131"/>
              <a:ext cx="47" cy="9"/>
            </a:xfrm>
            <a:custGeom>
              <a:avLst/>
              <a:gdLst>
                <a:gd name="T0" fmla="*/ 72 w 80"/>
                <a:gd name="T1" fmla="*/ 16 h 16"/>
                <a:gd name="T2" fmla="*/ 8 w 80"/>
                <a:gd name="T3" fmla="*/ 16 h 16"/>
                <a:gd name="T4" fmla="*/ 0 w 80"/>
                <a:gd name="T5" fmla="*/ 8 h 16"/>
                <a:gd name="T6" fmla="*/ 8 w 80"/>
                <a:gd name="T7" fmla="*/ 0 h 16"/>
                <a:gd name="T8" fmla="*/ 72 w 80"/>
                <a:gd name="T9" fmla="*/ 0 h 16"/>
                <a:gd name="T10" fmla="*/ 80 w 80"/>
                <a:gd name="T11" fmla="*/ 8 h 16"/>
                <a:gd name="T12" fmla="*/ 72 w 80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6">
                  <a:moveTo>
                    <a:pt x="72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3" y="16"/>
                    <a:pt x="0" y="12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80" y="3"/>
                    <a:pt x="80" y="8"/>
                  </a:cubicBezTo>
                  <a:cubicBezTo>
                    <a:pt x="80" y="12"/>
                    <a:pt x="76" y="16"/>
                    <a:pt x="7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18"/>
            <p:cNvSpPr>
              <a:spLocks noEditPoints="1"/>
            </p:cNvSpPr>
            <p:nvPr/>
          </p:nvSpPr>
          <p:spPr bwMode="auto">
            <a:xfrm>
              <a:off x="3046" y="926"/>
              <a:ext cx="160" cy="160"/>
            </a:xfrm>
            <a:custGeom>
              <a:avLst/>
              <a:gdLst>
                <a:gd name="T0" fmla="*/ 57 w 269"/>
                <a:gd name="T1" fmla="*/ 269 h 269"/>
                <a:gd name="T2" fmla="*/ 51 w 269"/>
                <a:gd name="T3" fmla="*/ 267 h 269"/>
                <a:gd name="T4" fmla="*/ 2 w 269"/>
                <a:gd name="T5" fmla="*/ 218 h 269"/>
                <a:gd name="T6" fmla="*/ 0 w 269"/>
                <a:gd name="T7" fmla="*/ 213 h 269"/>
                <a:gd name="T8" fmla="*/ 2 w 269"/>
                <a:gd name="T9" fmla="*/ 207 h 269"/>
                <a:gd name="T10" fmla="*/ 197 w 269"/>
                <a:gd name="T11" fmla="*/ 12 h 269"/>
                <a:gd name="T12" fmla="*/ 227 w 269"/>
                <a:gd name="T13" fmla="*/ 0 h 269"/>
                <a:gd name="T14" fmla="*/ 257 w 269"/>
                <a:gd name="T15" fmla="*/ 12 h 269"/>
                <a:gd name="T16" fmla="*/ 269 w 269"/>
                <a:gd name="T17" fmla="*/ 42 h 269"/>
                <a:gd name="T18" fmla="*/ 257 w 269"/>
                <a:gd name="T19" fmla="*/ 72 h 269"/>
                <a:gd name="T20" fmla="*/ 62 w 269"/>
                <a:gd name="T21" fmla="*/ 267 h 269"/>
                <a:gd name="T22" fmla="*/ 57 w 269"/>
                <a:gd name="T23" fmla="*/ 269 h 269"/>
                <a:gd name="T24" fmla="*/ 19 w 269"/>
                <a:gd name="T25" fmla="*/ 213 h 269"/>
                <a:gd name="T26" fmla="*/ 57 w 269"/>
                <a:gd name="T27" fmla="*/ 250 h 269"/>
                <a:gd name="T28" fmla="*/ 246 w 269"/>
                <a:gd name="T29" fmla="*/ 61 h 269"/>
                <a:gd name="T30" fmla="*/ 253 w 269"/>
                <a:gd name="T31" fmla="*/ 42 h 269"/>
                <a:gd name="T32" fmla="*/ 246 w 269"/>
                <a:gd name="T33" fmla="*/ 24 h 269"/>
                <a:gd name="T34" fmla="*/ 227 w 269"/>
                <a:gd name="T35" fmla="*/ 16 h 269"/>
                <a:gd name="T36" fmla="*/ 209 w 269"/>
                <a:gd name="T37" fmla="*/ 24 h 269"/>
                <a:gd name="T38" fmla="*/ 19 w 269"/>
                <a:gd name="T39" fmla="*/ 213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9" h="269">
                  <a:moveTo>
                    <a:pt x="57" y="269"/>
                  </a:moveTo>
                  <a:cubicBezTo>
                    <a:pt x="54" y="269"/>
                    <a:pt x="52" y="268"/>
                    <a:pt x="51" y="267"/>
                  </a:cubicBezTo>
                  <a:cubicBezTo>
                    <a:pt x="2" y="218"/>
                    <a:pt x="2" y="218"/>
                    <a:pt x="2" y="218"/>
                  </a:cubicBezTo>
                  <a:cubicBezTo>
                    <a:pt x="1" y="217"/>
                    <a:pt x="0" y="215"/>
                    <a:pt x="0" y="213"/>
                  </a:cubicBezTo>
                  <a:cubicBezTo>
                    <a:pt x="0" y="211"/>
                    <a:pt x="1" y="209"/>
                    <a:pt x="2" y="207"/>
                  </a:cubicBezTo>
                  <a:cubicBezTo>
                    <a:pt x="197" y="12"/>
                    <a:pt x="197" y="12"/>
                    <a:pt x="197" y="12"/>
                  </a:cubicBezTo>
                  <a:cubicBezTo>
                    <a:pt x="205" y="4"/>
                    <a:pt x="216" y="0"/>
                    <a:pt x="227" y="0"/>
                  </a:cubicBezTo>
                  <a:cubicBezTo>
                    <a:pt x="238" y="0"/>
                    <a:pt x="249" y="4"/>
                    <a:pt x="257" y="12"/>
                  </a:cubicBezTo>
                  <a:cubicBezTo>
                    <a:pt x="265" y="20"/>
                    <a:pt x="269" y="31"/>
                    <a:pt x="269" y="42"/>
                  </a:cubicBezTo>
                  <a:cubicBezTo>
                    <a:pt x="269" y="53"/>
                    <a:pt x="265" y="64"/>
                    <a:pt x="257" y="72"/>
                  </a:cubicBezTo>
                  <a:cubicBezTo>
                    <a:pt x="62" y="267"/>
                    <a:pt x="62" y="267"/>
                    <a:pt x="62" y="267"/>
                  </a:cubicBezTo>
                  <a:cubicBezTo>
                    <a:pt x="61" y="268"/>
                    <a:pt x="59" y="269"/>
                    <a:pt x="57" y="269"/>
                  </a:cubicBezTo>
                  <a:close/>
                  <a:moveTo>
                    <a:pt x="19" y="213"/>
                  </a:moveTo>
                  <a:cubicBezTo>
                    <a:pt x="57" y="250"/>
                    <a:pt x="57" y="250"/>
                    <a:pt x="57" y="250"/>
                  </a:cubicBezTo>
                  <a:cubicBezTo>
                    <a:pt x="246" y="61"/>
                    <a:pt x="246" y="61"/>
                    <a:pt x="246" y="61"/>
                  </a:cubicBezTo>
                  <a:cubicBezTo>
                    <a:pt x="251" y="56"/>
                    <a:pt x="253" y="49"/>
                    <a:pt x="253" y="42"/>
                  </a:cubicBezTo>
                  <a:cubicBezTo>
                    <a:pt x="253" y="35"/>
                    <a:pt x="251" y="29"/>
                    <a:pt x="246" y="24"/>
                  </a:cubicBezTo>
                  <a:cubicBezTo>
                    <a:pt x="241" y="19"/>
                    <a:pt x="234" y="16"/>
                    <a:pt x="227" y="16"/>
                  </a:cubicBezTo>
                  <a:cubicBezTo>
                    <a:pt x="220" y="16"/>
                    <a:pt x="214" y="19"/>
                    <a:pt x="209" y="24"/>
                  </a:cubicBezTo>
                  <a:lnTo>
                    <a:pt x="19" y="2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19"/>
            <p:cNvSpPr>
              <a:spLocks/>
            </p:cNvSpPr>
            <p:nvPr/>
          </p:nvSpPr>
          <p:spPr bwMode="auto">
            <a:xfrm>
              <a:off x="3124" y="968"/>
              <a:ext cx="40" cy="39"/>
            </a:xfrm>
            <a:custGeom>
              <a:avLst/>
              <a:gdLst>
                <a:gd name="T0" fmla="*/ 57 w 66"/>
                <a:gd name="T1" fmla="*/ 65 h 65"/>
                <a:gd name="T2" fmla="*/ 52 w 66"/>
                <a:gd name="T3" fmla="*/ 63 h 65"/>
                <a:gd name="T4" fmla="*/ 3 w 66"/>
                <a:gd name="T5" fmla="*/ 15 h 65"/>
                <a:gd name="T6" fmla="*/ 3 w 66"/>
                <a:gd name="T7" fmla="*/ 3 h 65"/>
                <a:gd name="T8" fmla="*/ 15 w 66"/>
                <a:gd name="T9" fmla="*/ 3 h 65"/>
                <a:gd name="T10" fmla="*/ 63 w 66"/>
                <a:gd name="T11" fmla="*/ 52 h 65"/>
                <a:gd name="T12" fmla="*/ 63 w 66"/>
                <a:gd name="T13" fmla="*/ 63 h 65"/>
                <a:gd name="T14" fmla="*/ 57 w 66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65">
                  <a:moveTo>
                    <a:pt x="57" y="65"/>
                  </a:moveTo>
                  <a:cubicBezTo>
                    <a:pt x="55" y="65"/>
                    <a:pt x="53" y="64"/>
                    <a:pt x="52" y="63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1"/>
                    <a:pt x="0" y="6"/>
                    <a:pt x="3" y="3"/>
                  </a:cubicBezTo>
                  <a:cubicBezTo>
                    <a:pt x="7" y="0"/>
                    <a:pt x="12" y="0"/>
                    <a:pt x="15" y="3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6" y="55"/>
                    <a:pt x="66" y="60"/>
                    <a:pt x="63" y="63"/>
                  </a:cubicBezTo>
                  <a:cubicBezTo>
                    <a:pt x="62" y="64"/>
                    <a:pt x="60" y="65"/>
                    <a:pt x="5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20"/>
            <p:cNvSpPr>
              <a:spLocks/>
            </p:cNvSpPr>
            <p:nvPr/>
          </p:nvSpPr>
          <p:spPr bwMode="auto">
            <a:xfrm>
              <a:off x="3156" y="937"/>
              <a:ext cx="39" cy="38"/>
            </a:xfrm>
            <a:custGeom>
              <a:avLst/>
              <a:gdLst>
                <a:gd name="T0" fmla="*/ 57 w 65"/>
                <a:gd name="T1" fmla="*/ 65 h 65"/>
                <a:gd name="T2" fmla="*/ 51 w 65"/>
                <a:gd name="T3" fmla="*/ 63 h 65"/>
                <a:gd name="T4" fmla="*/ 3 w 65"/>
                <a:gd name="T5" fmla="*/ 14 h 65"/>
                <a:gd name="T6" fmla="*/ 3 w 65"/>
                <a:gd name="T7" fmla="*/ 3 h 65"/>
                <a:gd name="T8" fmla="*/ 14 w 65"/>
                <a:gd name="T9" fmla="*/ 3 h 65"/>
                <a:gd name="T10" fmla="*/ 62 w 65"/>
                <a:gd name="T11" fmla="*/ 51 h 65"/>
                <a:gd name="T12" fmla="*/ 62 w 65"/>
                <a:gd name="T13" fmla="*/ 63 h 65"/>
                <a:gd name="T14" fmla="*/ 57 w 65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5">
                  <a:moveTo>
                    <a:pt x="57" y="65"/>
                  </a:moveTo>
                  <a:cubicBezTo>
                    <a:pt x="55" y="65"/>
                    <a:pt x="53" y="64"/>
                    <a:pt x="51" y="63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1"/>
                    <a:pt x="0" y="6"/>
                    <a:pt x="3" y="3"/>
                  </a:cubicBezTo>
                  <a:cubicBezTo>
                    <a:pt x="6" y="0"/>
                    <a:pt x="11" y="0"/>
                    <a:pt x="14" y="3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5" y="55"/>
                    <a:pt x="65" y="60"/>
                    <a:pt x="62" y="63"/>
                  </a:cubicBezTo>
                  <a:cubicBezTo>
                    <a:pt x="61" y="64"/>
                    <a:pt x="59" y="65"/>
                    <a:pt x="5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21"/>
            <p:cNvSpPr>
              <a:spLocks/>
            </p:cNvSpPr>
            <p:nvPr/>
          </p:nvSpPr>
          <p:spPr bwMode="auto">
            <a:xfrm>
              <a:off x="3037" y="1047"/>
              <a:ext cx="48" cy="48"/>
            </a:xfrm>
            <a:custGeom>
              <a:avLst/>
              <a:gdLst>
                <a:gd name="T0" fmla="*/ 8 w 81"/>
                <a:gd name="T1" fmla="*/ 81 h 81"/>
                <a:gd name="T2" fmla="*/ 3 w 81"/>
                <a:gd name="T3" fmla="*/ 79 h 81"/>
                <a:gd name="T4" fmla="*/ 1 w 81"/>
                <a:gd name="T5" fmla="*/ 71 h 81"/>
                <a:gd name="T6" fmla="*/ 16 w 81"/>
                <a:gd name="T7" fmla="*/ 7 h 81"/>
                <a:gd name="T8" fmla="*/ 26 w 81"/>
                <a:gd name="T9" fmla="*/ 1 h 81"/>
                <a:gd name="T10" fmla="*/ 32 w 81"/>
                <a:gd name="T11" fmla="*/ 11 h 81"/>
                <a:gd name="T12" fmla="*/ 19 w 81"/>
                <a:gd name="T13" fmla="*/ 62 h 81"/>
                <a:gd name="T14" fmla="*/ 71 w 81"/>
                <a:gd name="T15" fmla="*/ 49 h 81"/>
                <a:gd name="T16" fmla="*/ 80 w 81"/>
                <a:gd name="T17" fmla="*/ 55 h 81"/>
                <a:gd name="T18" fmla="*/ 74 w 81"/>
                <a:gd name="T19" fmla="*/ 65 h 81"/>
                <a:gd name="T20" fmla="*/ 10 w 81"/>
                <a:gd name="T21" fmla="*/ 81 h 81"/>
                <a:gd name="T22" fmla="*/ 8 w 81"/>
                <a:gd name="T23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1" h="81">
                  <a:moveTo>
                    <a:pt x="8" y="81"/>
                  </a:moveTo>
                  <a:cubicBezTo>
                    <a:pt x="6" y="81"/>
                    <a:pt x="4" y="80"/>
                    <a:pt x="3" y="79"/>
                  </a:cubicBezTo>
                  <a:cubicBezTo>
                    <a:pt x="1" y="77"/>
                    <a:pt x="0" y="74"/>
                    <a:pt x="1" y="71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7" y="3"/>
                    <a:pt x="22" y="0"/>
                    <a:pt x="26" y="1"/>
                  </a:cubicBezTo>
                  <a:cubicBezTo>
                    <a:pt x="30" y="2"/>
                    <a:pt x="33" y="6"/>
                    <a:pt x="32" y="11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5" y="48"/>
                    <a:pt x="79" y="51"/>
                    <a:pt x="80" y="55"/>
                  </a:cubicBezTo>
                  <a:cubicBezTo>
                    <a:pt x="81" y="60"/>
                    <a:pt x="79" y="64"/>
                    <a:pt x="74" y="65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9" y="81"/>
                    <a:pt x="8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22"/>
            <p:cNvSpPr>
              <a:spLocks/>
            </p:cNvSpPr>
            <p:nvPr/>
          </p:nvSpPr>
          <p:spPr bwMode="auto">
            <a:xfrm>
              <a:off x="3027" y="1085"/>
              <a:ext cx="20" cy="20"/>
            </a:xfrm>
            <a:custGeom>
              <a:avLst/>
              <a:gdLst>
                <a:gd name="T0" fmla="*/ 9 w 34"/>
                <a:gd name="T1" fmla="*/ 33 h 33"/>
                <a:gd name="T2" fmla="*/ 3 w 34"/>
                <a:gd name="T3" fmla="*/ 31 h 33"/>
                <a:gd name="T4" fmla="*/ 3 w 34"/>
                <a:gd name="T5" fmla="*/ 20 h 33"/>
                <a:gd name="T6" fmla="*/ 20 w 34"/>
                <a:gd name="T7" fmla="*/ 3 h 33"/>
                <a:gd name="T8" fmla="*/ 31 w 34"/>
                <a:gd name="T9" fmla="*/ 3 h 33"/>
                <a:gd name="T10" fmla="*/ 31 w 34"/>
                <a:gd name="T11" fmla="*/ 15 h 33"/>
                <a:gd name="T12" fmla="*/ 15 w 34"/>
                <a:gd name="T13" fmla="*/ 31 h 33"/>
                <a:gd name="T14" fmla="*/ 9 w 34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9" y="33"/>
                  </a:moveTo>
                  <a:cubicBezTo>
                    <a:pt x="7" y="33"/>
                    <a:pt x="5" y="33"/>
                    <a:pt x="3" y="31"/>
                  </a:cubicBezTo>
                  <a:cubicBezTo>
                    <a:pt x="0" y="28"/>
                    <a:pt x="0" y="23"/>
                    <a:pt x="3" y="20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3" y="0"/>
                    <a:pt x="28" y="0"/>
                    <a:pt x="31" y="3"/>
                  </a:cubicBezTo>
                  <a:cubicBezTo>
                    <a:pt x="34" y="6"/>
                    <a:pt x="34" y="11"/>
                    <a:pt x="31" y="15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3" y="33"/>
                    <a:pt x="11" y="33"/>
                    <a:pt x="9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61" name="Freeform 26"/>
          <p:cNvSpPr>
            <a:spLocks noEditPoints="1"/>
          </p:cNvSpPr>
          <p:nvPr/>
        </p:nvSpPr>
        <p:spPr bwMode="auto">
          <a:xfrm>
            <a:off x="4383090" y="2883517"/>
            <a:ext cx="377825" cy="369890"/>
          </a:xfrm>
          <a:custGeom>
            <a:avLst/>
            <a:gdLst>
              <a:gd name="T0" fmla="*/ 397 w 521"/>
              <a:gd name="T1" fmla="*/ 294 h 510"/>
              <a:gd name="T2" fmla="*/ 386 w 521"/>
              <a:gd name="T3" fmla="*/ 283 h 510"/>
              <a:gd name="T4" fmla="*/ 371 w 521"/>
              <a:gd name="T5" fmla="*/ 297 h 510"/>
              <a:gd name="T6" fmla="*/ 343 w 521"/>
              <a:gd name="T7" fmla="*/ 326 h 510"/>
              <a:gd name="T8" fmla="*/ 415 w 521"/>
              <a:gd name="T9" fmla="*/ 161 h 510"/>
              <a:gd name="T10" fmla="*/ 492 w 521"/>
              <a:gd name="T11" fmla="*/ 140 h 510"/>
              <a:gd name="T12" fmla="*/ 507 w 521"/>
              <a:gd name="T13" fmla="*/ 52 h 510"/>
              <a:gd name="T14" fmla="*/ 466 w 521"/>
              <a:gd name="T15" fmla="*/ 88 h 510"/>
              <a:gd name="T16" fmla="*/ 428 w 521"/>
              <a:gd name="T17" fmla="*/ 50 h 510"/>
              <a:gd name="T18" fmla="*/ 463 w 521"/>
              <a:gd name="T19" fmla="*/ 9 h 510"/>
              <a:gd name="T20" fmla="*/ 434 w 521"/>
              <a:gd name="T21" fmla="*/ 0 h 510"/>
              <a:gd name="T22" fmla="*/ 355 w 521"/>
              <a:gd name="T23" fmla="*/ 101 h 510"/>
              <a:gd name="T24" fmla="*/ 124 w 521"/>
              <a:gd name="T25" fmla="*/ 107 h 510"/>
              <a:gd name="T26" fmla="*/ 134 w 521"/>
              <a:gd name="T27" fmla="*/ 85 h 510"/>
              <a:gd name="T28" fmla="*/ 46 w 521"/>
              <a:gd name="T29" fmla="*/ 8 h 510"/>
              <a:gd name="T30" fmla="*/ 12 w 521"/>
              <a:gd name="T31" fmla="*/ 45 h 510"/>
              <a:gd name="T32" fmla="*/ 91 w 521"/>
              <a:gd name="T33" fmla="*/ 128 h 510"/>
              <a:gd name="T34" fmla="*/ 102 w 521"/>
              <a:gd name="T35" fmla="*/ 128 h 510"/>
              <a:gd name="T36" fmla="*/ 225 w 521"/>
              <a:gd name="T37" fmla="*/ 230 h 510"/>
              <a:gd name="T38" fmla="*/ 88 w 521"/>
              <a:gd name="T39" fmla="*/ 346 h 510"/>
              <a:gd name="T40" fmla="*/ 9 w 521"/>
              <a:gd name="T41" fmla="*/ 452 h 510"/>
              <a:gd name="T42" fmla="*/ 23 w 521"/>
              <a:gd name="T43" fmla="*/ 455 h 510"/>
              <a:gd name="T44" fmla="*/ 86 w 521"/>
              <a:gd name="T45" fmla="*/ 430 h 510"/>
              <a:gd name="T46" fmla="*/ 60 w 521"/>
              <a:gd name="T47" fmla="*/ 493 h 510"/>
              <a:gd name="T48" fmla="*/ 64 w 521"/>
              <a:gd name="T49" fmla="*/ 506 h 510"/>
              <a:gd name="T50" fmla="*/ 145 w 521"/>
              <a:gd name="T51" fmla="*/ 486 h 510"/>
              <a:gd name="T52" fmla="*/ 285 w 521"/>
              <a:gd name="T53" fmla="*/ 291 h 510"/>
              <a:gd name="T54" fmla="*/ 288 w 521"/>
              <a:gd name="T55" fmla="*/ 380 h 510"/>
              <a:gd name="T56" fmla="*/ 294 w 521"/>
              <a:gd name="T57" fmla="*/ 394 h 510"/>
              <a:gd name="T58" fmla="*/ 309 w 521"/>
              <a:gd name="T59" fmla="*/ 382 h 510"/>
              <a:gd name="T60" fmla="*/ 452 w 521"/>
              <a:gd name="T61" fmla="*/ 502 h 510"/>
              <a:gd name="T62" fmla="*/ 508 w 521"/>
              <a:gd name="T63" fmla="*/ 447 h 510"/>
              <a:gd name="T64" fmla="*/ 388 w 521"/>
              <a:gd name="T65" fmla="*/ 303 h 510"/>
              <a:gd name="T66" fmla="*/ 31 w 521"/>
              <a:gd name="T67" fmla="*/ 45 h 510"/>
              <a:gd name="T68" fmla="*/ 117 w 521"/>
              <a:gd name="T69" fmla="*/ 91 h 510"/>
              <a:gd name="T70" fmla="*/ 151 w 521"/>
              <a:gd name="T71" fmla="*/ 409 h 510"/>
              <a:gd name="T72" fmla="*/ 88 w 521"/>
              <a:gd name="T73" fmla="*/ 494 h 510"/>
              <a:gd name="T74" fmla="*/ 108 w 521"/>
              <a:gd name="T75" fmla="*/ 468 h 510"/>
              <a:gd name="T76" fmla="*/ 100 w 521"/>
              <a:gd name="T77" fmla="*/ 421 h 510"/>
              <a:gd name="T78" fmla="*/ 55 w 521"/>
              <a:gd name="T79" fmla="*/ 406 h 510"/>
              <a:gd name="T80" fmla="*/ 22 w 521"/>
              <a:gd name="T81" fmla="*/ 433 h 510"/>
              <a:gd name="T82" fmla="*/ 88 w 521"/>
              <a:gd name="T83" fmla="*/ 362 h 510"/>
              <a:gd name="T84" fmla="*/ 115 w 521"/>
              <a:gd name="T85" fmla="*/ 363 h 510"/>
              <a:gd name="T86" fmla="*/ 371 w 521"/>
              <a:gd name="T87" fmla="*/ 101 h 510"/>
              <a:gd name="T88" fmla="*/ 434 w 521"/>
              <a:gd name="T89" fmla="*/ 16 h 510"/>
              <a:gd name="T90" fmla="*/ 414 w 521"/>
              <a:gd name="T91" fmla="*/ 42 h 510"/>
              <a:gd name="T92" fmla="*/ 421 w 521"/>
              <a:gd name="T93" fmla="*/ 88 h 510"/>
              <a:gd name="T94" fmla="*/ 467 w 521"/>
              <a:gd name="T95" fmla="*/ 104 h 510"/>
              <a:gd name="T96" fmla="*/ 500 w 521"/>
              <a:gd name="T97" fmla="*/ 76 h 510"/>
              <a:gd name="T98" fmla="*/ 434 w 521"/>
              <a:gd name="T99" fmla="*/ 147 h 510"/>
              <a:gd name="T100" fmla="*/ 407 w 521"/>
              <a:gd name="T101" fmla="*/ 147 h 510"/>
              <a:gd name="T102" fmla="*/ 151 w 521"/>
              <a:gd name="T103" fmla="*/ 409 h 510"/>
              <a:gd name="T104" fmla="*/ 424 w 521"/>
              <a:gd name="T105" fmla="*/ 475 h 510"/>
              <a:gd name="T106" fmla="*/ 377 w 521"/>
              <a:gd name="T107" fmla="*/ 314 h 510"/>
              <a:gd name="T108" fmla="*/ 492 w 521"/>
              <a:gd name="T109" fmla="*/ 447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21" h="510">
                <a:moveTo>
                  <a:pt x="388" y="303"/>
                </a:moveTo>
                <a:cubicBezTo>
                  <a:pt x="397" y="294"/>
                  <a:pt x="397" y="294"/>
                  <a:pt x="397" y="294"/>
                </a:cubicBezTo>
                <a:cubicBezTo>
                  <a:pt x="400" y="291"/>
                  <a:pt x="400" y="286"/>
                  <a:pt x="397" y="283"/>
                </a:cubicBezTo>
                <a:cubicBezTo>
                  <a:pt x="394" y="279"/>
                  <a:pt x="389" y="279"/>
                  <a:pt x="386" y="283"/>
                </a:cubicBezTo>
                <a:cubicBezTo>
                  <a:pt x="371" y="297"/>
                  <a:pt x="371" y="297"/>
                  <a:pt x="371" y="297"/>
                </a:cubicBezTo>
                <a:cubicBezTo>
                  <a:pt x="371" y="297"/>
                  <a:pt x="371" y="297"/>
                  <a:pt x="371" y="297"/>
                </a:cubicBezTo>
                <a:cubicBezTo>
                  <a:pt x="371" y="297"/>
                  <a:pt x="371" y="297"/>
                  <a:pt x="371" y="297"/>
                </a:cubicBezTo>
                <a:cubicBezTo>
                  <a:pt x="343" y="326"/>
                  <a:pt x="343" y="326"/>
                  <a:pt x="343" y="326"/>
                </a:cubicBezTo>
                <a:cubicBezTo>
                  <a:pt x="297" y="280"/>
                  <a:pt x="297" y="280"/>
                  <a:pt x="297" y="280"/>
                </a:cubicBezTo>
                <a:cubicBezTo>
                  <a:pt x="415" y="161"/>
                  <a:pt x="415" y="161"/>
                  <a:pt x="415" y="161"/>
                </a:cubicBezTo>
                <a:cubicBezTo>
                  <a:pt x="421" y="163"/>
                  <a:pt x="428" y="163"/>
                  <a:pt x="434" y="163"/>
                </a:cubicBezTo>
                <a:cubicBezTo>
                  <a:pt x="456" y="163"/>
                  <a:pt x="476" y="155"/>
                  <a:pt x="492" y="140"/>
                </a:cubicBezTo>
                <a:cubicBezTo>
                  <a:pt x="513" y="118"/>
                  <a:pt x="521" y="87"/>
                  <a:pt x="512" y="58"/>
                </a:cubicBezTo>
                <a:cubicBezTo>
                  <a:pt x="512" y="55"/>
                  <a:pt x="509" y="53"/>
                  <a:pt x="507" y="52"/>
                </a:cubicBezTo>
                <a:cubicBezTo>
                  <a:pt x="504" y="52"/>
                  <a:pt x="501" y="53"/>
                  <a:pt x="499" y="55"/>
                </a:cubicBezTo>
                <a:cubicBezTo>
                  <a:pt x="466" y="88"/>
                  <a:pt x="466" y="88"/>
                  <a:pt x="466" y="88"/>
                </a:cubicBezTo>
                <a:cubicBezTo>
                  <a:pt x="436" y="80"/>
                  <a:pt x="436" y="80"/>
                  <a:pt x="436" y="80"/>
                </a:cubicBezTo>
                <a:cubicBezTo>
                  <a:pt x="428" y="50"/>
                  <a:pt x="428" y="50"/>
                  <a:pt x="428" y="50"/>
                </a:cubicBezTo>
                <a:cubicBezTo>
                  <a:pt x="461" y="17"/>
                  <a:pt x="461" y="17"/>
                  <a:pt x="461" y="17"/>
                </a:cubicBezTo>
                <a:cubicBezTo>
                  <a:pt x="463" y="15"/>
                  <a:pt x="464" y="12"/>
                  <a:pt x="463" y="9"/>
                </a:cubicBezTo>
                <a:cubicBezTo>
                  <a:pt x="463" y="6"/>
                  <a:pt x="461" y="4"/>
                  <a:pt x="458" y="3"/>
                </a:cubicBezTo>
                <a:cubicBezTo>
                  <a:pt x="450" y="1"/>
                  <a:pt x="442" y="0"/>
                  <a:pt x="434" y="0"/>
                </a:cubicBezTo>
                <a:cubicBezTo>
                  <a:pt x="412" y="0"/>
                  <a:pt x="392" y="8"/>
                  <a:pt x="376" y="24"/>
                </a:cubicBezTo>
                <a:cubicBezTo>
                  <a:pt x="356" y="44"/>
                  <a:pt x="348" y="73"/>
                  <a:pt x="355" y="101"/>
                </a:cubicBezTo>
                <a:cubicBezTo>
                  <a:pt x="236" y="219"/>
                  <a:pt x="236" y="219"/>
                  <a:pt x="236" y="219"/>
                </a:cubicBezTo>
                <a:cubicBezTo>
                  <a:pt x="124" y="107"/>
                  <a:pt x="124" y="107"/>
                  <a:pt x="124" y="107"/>
                </a:cubicBezTo>
                <a:cubicBezTo>
                  <a:pt x="134" y="97"/>
                  <a:pt x="134" y="97"/>
                  <a:pt x="134" y="97"/>
                </a:cubicBezTo>
                <a:cubicBezTo>
                  <a:pt x="137" y="93"/>
                  <a:pt x="137" y="88"/>
                  <a:pt x="134" y="85"/>
                </a:cubicBezTo>
                <a:cubicBezTo>
                  <a:pt x="57" y="8"/>
                  <a:pt x="57" y="8"/>
                  <a:pt x="57" y="8"/>
                </a:cubicBezTo>
                <a:cubicBezTo>
                  <a:pt x="54" y="5"/>
                  <a:pt x="49" y="5"/>
                  <a:pt x="46" y="8"/>
                </a:cubicBezTo>
                <a:cubicBezTo>
                  <a:pt x="14" y="40"/>
                  <a:pt x="14" y="40"/>
                  <a:pt x="14" y="40"/>
                </a:cubicBezTo>
                <a:cubicBezTo>
                  <a:pt x="12" y="41"/>
                  <a:pt x="12" y="43"/>
                  <a:pt x="12" y="45"/>
                </a:cubicBezTo>
                <a:cubicBezTo>
                  <a:pt x="12" y="47"/>
                  <a:pt x="12" y="50"/>
                  <a:pt x="14" y="51"/>
                </a:cubicBezTo>
                <a:cubicBezTo>
                  <a:pt x="91" y="128"/>
                  <a:pt x="91" y="128"/>
                  <a:pt x="91" y="128"/>
                </a:cubicBezTo>
                <a:cubicBezTo>
                  <a:pt x="93" y="130"/>
                  <a:pt x="95" y="131"/>
                  <a:pt x="97" y="131"/>
                </a:cubicBezTo>
                <a:cubicBezTo>
                  <a:pt x="99" y="131"/>
                  <a:pt x="101" y="130"/>
                  <a:pt x="102" y="128"/>
                </a:cubicBezTo>
                <a:cubicBezTo>
                  <a:pt x="113" y="118"/>
                  <a:pt x="113" y="118"/>
                  <a:pt x="113" y="118"/>
                </a:cubicBezTo>
                <a:cubicBezTo>
                  <a:pt x="225" y="230"/>
                  <a:pt x="225" y="230"/>
                  <a:pt x="225" y="230"/>
                </a:cubicBezTo>
                <a:cubicBezTo>
                  <a:pt x="107" y="349"/>
                  <a:pt x="107" y="349"/>
                  <a:pt x="107" y="349"/>
                </a:cubicBezTo>
                <a:cubicBezTo>
                  <a:pt x="100" y="347"/>
                  <a:pt x="94" y="346"/>
                  <a:pt x="88" y="346"/>
                </a:cubicBezTo>
                <a:cubicBezTo>
                  <a:pt x="66" y="346"/>
                  <a:pt x="45" y="355"/>
                  <a:pt x="30" y="370"/>
                </a:cubicBezTo>
                <a:cubicBezTo>
                  <a:pt x="8" y="392"/>
                  <a:pt x="0" y="423"/>
                  <a:pt x="9" y="452"/>
                </a:cubicBezTo>
                <a:cubicBezTo>
                  <a:pt x="10" y="455"/>
                  <a:pt x="12" y="457"/>
                  <a:pt x="15" y="457"/>
                </a:cubicBezTo>
                <a:cubicBezTo>
                  <a:pt x="18" y="458"/>
                  <a:pt x="21" y="457"/>
                  <a:pt x="23" y="455"/>
                </a:cubicBezTo>
                <a:cubicBezTo>
                  <a:pt x="56" y="422"/>
                  <a:pt x="56" y="422"/>
                  <a:pt x="56" y="422"/>
                </a:cubicBezTo>
                <a:cubicBezTo>
                  <a:pt x="86" y="430"/>
                  <a:pt x="86" y="430"/>
                  <a:pt x="86" y="430"/>
                </a:cubicBezTo>
                <a:cubicBezTo>
                  <a:pt x="93" y="460"/>
                  <a:pt x="93" y="460"/>
                  <a:pt x="93" y="460"/>
                </a:cubicBezTo>
                <a:cubicBezTo>
                  <a:pt x="60" y="493"/>
                  <a:pt x="60" y="493"/>
                  <a:pt x="60" y="493"/>
                </a:cubicBezTo>
                <a:cubicBezTo>
                  <a:pt x="58" y="495"/>
                  <a:pt x="58" y="498"/>
                  <a:pt x="58" y="501"/>
                </a:cubicBezTo>
                <a:cubicBezTo>
                  <a:pt x="59" y="503"/>
                  <a:pt x="61" y="506"/>
                  <a:pt x="64" y="506"/>
                </a:cubicBezTo>
                <a:cubicBezTo>
                  <a:pt x="71" y="509"/>
                  <a:pt x="79" y="510"/>
                  <a:pt x="88" y="510"/>
                </a:cubicBezTo>
                <a:cubicBezTo>
                  <a:pt x="109" y="510"/>
                  <a:pt x="130" y="502"/>
                  <a:pt x="145" y="486"/>
                </a:cubicBezTo>
                <a:cubicBezTo>
                  <a:pt x="166" y="466"/>
                  <a:pt x="174" y="437"/>
                  <a:pt x="167" y="409"/>
                </a:cubicBezTo>
                <a:cubicBezTo>
                  <a:pt x="285" y="291"/>
                  <a:pt x="285" y="291"/>
                  <a:pt x="285" y="291"/>
                </a:cubicBezTo>
                <a:cubicBezTo>
                  <a:pt x="331" y="337"/>
                  <a:pt x="331" y="337"/>
                  <a:pt x="331" y="337"/>
                </a:cubicBezTo>
                <a:cubicBezTo>
                  <a:pt x="288" y="380"/>
                  <a:pt x="288" y="380"/>
                  <a:pt x="288" y="380"/>
                </a:cubicBezTo>
                <a:cubicBezTo>
                  <a:pt x="285" y="383"/>
                  <a:pt x="285" y="388"/>
                  <a:pt x="288" y="391"/>
                </a:cubicBezTo>
                <a:cubicBezTo>
                  <a:pt x="290" y="393"/>
                  <a:pt x="292" y="394"/>
                  <a:pt x="294" y="394"/>
                </a:cubicBezTo>
                <a:cubicBezTo>
                  <a:pt x="296" y="394"/>
                  <a:pt x="298" y="393"/>
                  <a:pt x="300" y="391"/>
                </a:cubicBezTo>
                <a:cubicBezTo>
                  <a:pt x="309" y="382"/>
                  <a:pt x="309" y="382"/>
                  <a:pt x="309" y="382"/>
                </a:cubicBezTo>
                <a:cubicBezTo>
                  <a:pt x="413" y="486"/>
                  <a:pt x="413" y="486"/>
                  <a:pt x="413" y="486"/>
                </a:cubicBezTo>
                <a:cubicBezTo>
                  <a:pt x="424" y="497"/>
                  <a:pt x="438" y="502"/>
                  <a:pt x="452" y="502"/>
                </a:cubicBezTo>
                <a:cubicBezTo>
                  <a:pt x="467" y="502"/>
                  <a:pt x="481" y="497"/>
                  <a:pt x="492" y="486"/>
                </a:cubicBezTo>
                <a:cubicBezTo>
                  <a:pt x="502" y="475"/>
                  <a:pt x="508" y="461"/>
                  <a:pt x="508" y="447"/>
                </a:cubicBezTo>
                <a:cubicBezTo>
                  <a:pt x="508" y="432"/>
                  <a:pt x="502" y="418"/>
                  <a:pt x="492" y="407"/>
                </a:cubicBezTo>
                <a:lnTo>
                  <a:pt x="388" y="303"/>
                </a:lnTo>
                <a:close/>
                <a:moveTo>
                  <a:pt x="97" y="111"/>
                </a:moveTo>
                <a:cubicBezTo>
                  <a:pt x="31" y="45"/>
                  <a:pt x="31" y="45"/>
                  <a:pt x="31" y="45"/>
                </a:cubicBezTo>
                <a:cubicBezTo>
                  <a:pt x="51" y="25"/>
                  <a:pt x="51" y="25"/>
                  <a:pt x="51" y="25"/>
                </a:cubicBezTo>
                <a:cubicBezTo>
                  <a:pt x="117" y="91"/>
                  <a:pt x="117" y="91"/>
                  <a:pt x="117" y="91"/>
                </a:cubicBezTo>
                <a:lnTo>
                  <a:pt x="97" y="111"/>
                </a:lnTo>
                <a:close/>
                <a:moveTo>
                  <a:pt x="151" y="409"/>
                </a:moveTo>
                <a:cubicBezTo>
                  <a:pt x="158" y="432"/>
                  <a:pt x="151" y="458"/>
                  <a:pt x="134" y="475"/>
                </a:cubicBezTo>
                <a:cubicBezTo>
                  <a:pt x="122" y="487"/>
                  <a:pt x="105" y="494"/>
                  <a:pt x="88" y="494"/>
                </a:cubicBezTo>
                <a:cubicBezTo>
                  <a:pt x="86" y="494"/>
                  <a:pt x="84" y="494"/>
                  <a:pt x="82" y="494"/>
                </a:cubicBezTo>
                <a:cubicBezTo>
                  <a:pt x="108" y="468"/>
                  <a:pt x="108" y="468"/>
                  <a:pt x="108" y="468"/>
                </a:cubicBezTo>
                <a:cubicBezTo>
                  <a:pt x="110" y="466"/>
                  <a:pt x="111" y="463"/>
                  <a:pt x="110" y="461"/>
                </a:cubicBezTo>
                <a:cubicBezTo>
                  <a:pt x="100" y="421"/>
                  <a:pt x="100" y="421"/>
                  <a:pt x="100" y="421"/>
                </a:cubicBezTo>
                <a:cubicBezTo>
                  <a:pt x="99" y="419"/>
                  <a:pt x="97" y="416"/>
                  <a:pt x="94" y="416"/>
                </a:cubicBezTo>
                <a:cubicBezTo>
                  <a:pt x="55" y="406"/>
                  <a:pt x="55" y="406"/>
                  <a:pt x="55" y="406"/>
                </a:cubicBezTo>
                <a:cubicBezTo>
                  <a:pt x="52" y="405"/>
                  <a:pt x="49" y="406"/>
                  <a:pt x="47" y="408"/>
                </a:cubicBezTo>
                <a:cubicBezTo>
                  <a:pt x="22" y="433"/>
                  <a:pt x="22" y="433"/>
                  <a:pt x="22" y="433"/>
                </a:cubicBezTo>
                <a:cubicBezTo>
                  <a:pt x="20" y="414"/>
                  <a:pt x="27" y="395"/>
                  <a:pt x="41" y="382"/>
                </a:cubicBezTo>
                <a:cubicBezTo>
                  <a:pt x="53" y="369"/>
                  <a:pt x="70" y="362"/>
                  <a:pt x="88" y="362"/>
                </a:cubicBezTo>
                <a:cubicBezTo>
                  <a:pt x="94" y="362"/>
                  <a:pt x="101" y="363"/>
                  <a:pt x="107" y="365"/>
                </a:cubicBezTo>
                <a:cubicBezTo>
                  <a:pt x="110" y="366"/>
                  <a:pt x="113" y="365"/>
                  <a:pt x="115" y="363"/>
                </a:cubicBezTo>
                <a:cubicBezTo>
                  <a:pt x="369" y="109"/>
                  <a:pt x="369" y="109"/>
                  <a:pt x="369" y="109"/>
                </a:cubicBezTo>
                <a:cubicBezTo>
                  <a:pt x="371" y="107"/>
                  <a:pt x="372" y="104"/>
                  <a:pt x="371" y="101"/>
                </a:cubicBezTo>
                <a:cubicBezTo>
                  <a:pt x="364" y="78"/>
                  <a:pt x="370" y="52"/>
                  <a:pt x="388" y="35"/>
                </a:cubicBezTo>
                <a:cubicBezTo>
                  <a:pt x="400" y="23"/>
                  <a:pt x="416" y="16"/>
                  <a:pt x="434" y="16"/>
                </a:cubicBezTo>
                <a:cubicBezTo>
                  <a:pt x="436" y="16"/>
                  <a:pt x="438" y="16"/>
                  <a:pt x="439" y="16"/>
                </a:cubicBezTo>
                <a:cubicBezTo>
                  <a:pt x="414" y="42"/>
                  <a:pt x="414" y="42"/>
                  <a:pt x="414" y="42"/>
                </a:cubicBezTo>
                <a:cubicBezTo>
                  <a:pt x="412" y="44"/>
                  <a:pt x="411" y="47"/>
                  <a:pt x="412" y="49"/>
                </a:cubicBezTo>
                <a:cubicBezTo>
                  <a:pt x="421" y="88"/>
                  <a:pt x="421" y="88"/>
                  <a:pt x="421" y="88"/>
                </a:cubicBezTo>
                <a:cubicBezTo>
                  <a:pt x="422" y="91"/>
                  <a:pt x="424" y="94"/>
                  <a:pt x="427" y="94"/>
                </a:cubicBezTo>
                <a:cubicBezTo>
                  <a:pt x="467" y="104"/>
                  <a:pt x="467" y="104"/>
                  <a:pt x="467" y="104"/>
                </a:cubicBezTo>
                <a:cubicBezTo>
                  <a:pt x="469" y="105"/>
                  <a:pt x="472" y="104"/>
                  <a:pt x="474" y="102"/>
                </a:cubicBezTo>
                <a:cubicBezTo>
                  <a:pt x="500" y="76"/>
                  <a:pt x="500" y="76"/>
                  <a:pt x="500" y="76"/>
                </a:cubicBezTo>
                <a:cubicBezTo>
                  <a:pt x="501" y="95"/>
                  <a:pt x="494" y="114"/>
                  <a:pt x="481" y="128"/>
                </a:cubicBezTo>
                <a:cubicBezTo>
                  <a:pt x="468" y="141"/>
                  <a:pt x="452" y="147"/>
                  <a:pt x="434" y="147"/>
                </a:cubicBezTo>
                <a:cubicBezTo>
                  <a:pt x="428" y="147"/>
                  <a:pt x="421" y="147"/>
                  <a:pt x="415" y="145"/>
                </a:cubicBezTo>
                <a:cubicBezTo>
                  <a:pt x="412" y="144"/>
                  <a:pt x="409" y="145"/>
                  <a:pt x="407" y="147"/>
                </a:cubicBezTo>
                <a:cubicBezTo>
                  <a:pt x="153" y="401"/>
                  <a:pt x="153" y="401"/>
                  <a:pt x="153" y="401"/>
                </a:cubicBezTo>
                <a:cubicBezTo>
                  <a:pt x="150" y="403"/>
                  <a:pt x="150" y="406"/>
                  <a:pt x="151" y="409"/>
                </a:cubicBezTo>
                <a:close/>
                <a:moveTo>
                  <a:pt x="481" y="475"/>
                </a:moveTo>
                <a:cubicBezTo>
                  <a:pt x="465" y="490"/>
                  <a:pt x="440" y="490"/>
                  <a:pt x="424" y="475"/>
                </a:cubicBezTo>
                <a:cubicBezTo>
                  <a:pt x="320" y="371"/>
                  <a:pt x="320" y="371"/>
                  <a:pt x="320" y="371"/>
                </a:cubicBezTo>
                <a:cubicBezTo>
                  <a:pt x="377" y="314"/>
                  <a:pt x="377" y="314"/>
                  <a:pt x="377" y="314"/>
                </a:cubicBezTo>
                <a:cubicBezTo>
                  <a:pt x="481" y="418"/>
                  <a:pt x="481" y="418"/>
                  <a:pt x="481" y="418"/>
                </a:cubicBezTo>
                <a:cubicBezTo>
                  <a:pt x="488" y="426"/>
                  <a:pt x="492" y="436"/>
                  <a:pt x="492" y="447"/>
                </a:cubicBezTo>
                <a:cubicBezTo>
                  <a:pt x="492" y="457"/>
                  <a:pt x="488" y="467"/>
                  <a:pt x="481" y="4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0" name="Freeform 5"/>
          <p:cNvSpPr>
            <a:spLocks noEditPoints="1"/>
          </p:cNvSpPr>
          <p:nvPr/>
        </p:nvSpPr>
        <p:spPr bwMode="auto">
          <a:xfrm>
            <a:off x="6672264" y="2884489"/>
            <a:ext cx="403225" cy="368300"/>
          </a:xfrm>
          <a:custGeom>
            <a:avLst/>
            <a:gdLst>
              <a:gd name="T0" fmla="*/ 474 w 586"/>
              <a:gd name="T1" fmla="*/ 532 h 532"/>
              <a:gd name="T2" fmla="*/ 411 w 586"/>
              <a:gd name="T3" fmla="*/ 468 h 532"/>
              <a:gd name="T4" fmla="*/ 474 w 586"/>
              <a:gd name="T5" fmla="*/ 404 h 532"/>
              <a:gd name="T6" fmla="*/ 538 w 586"/>
              <a:gd name="T7" fmla="*/ 468 h 532"/>
              <a:gd name="T8" fmla="*/ 474 w 586"/>
              <a:gd name="T9" fmla="*/ 532 h 532"/>
              <a:gd name="T10" fmla="*/ 474 w 586"/>
              <a:gd name="T11" fmla="*/ 418 h 532"/>
              <a:gd name="T12" fmla="*/ 425 w 586"/>
              <a:gd name="T13" fmla="*/ 468 h 532"/>
              <a:gd name="T14" fmla="*/ 474 w 586"/>
              <a:gd name="T15" fmla="*/ 518 h 532"/>
              <a:gd name="T16" fmla="*/ 524 w 586"/>
              <a:gd name="T17" fmla="*/ 468 h 532"/>
              <a:gd name="T18" fmla="*/ 474 w 586"/>
              <a:gd name="T19" fmla="*/ 418 h 532"/>
              <a:gd name="T20" fmla="*/ 180 w 586"/>
              <a:gd name="T21" fmla="*/ 532 h 532"/>
              <a:gd name="T22" fmla="*/ 116 w 586"/>
              <a:gd name="T23" fmla="*/ 468 h 532"/>
              <a:gd name="T24" fmla="*/ 180 w 586"/>
              <a:gd name="T25" fmla="*/ 404 h 532"/>
              <a:gd name="T26" fmla="*/ 244 w 586"/>
              <a:gd name="T27" fmla="*/ 468 h 532"/>
              <a:gd name="T28" fmla="*/ 180 w 586"/>
              <a:gd name="T29" fmla="*/ 532 h 532"/>
              <a:gd name="T30" fmla="*/ 180 w 586"/>
              <a:gd name="T31" fmla="*/ 418 h 532"/>
              <a:gd name="T32" fmla="*/ 130 w 586"/>
              <a:gd name="T33" fmla="*/ 468 h 532"/>
              <a:gd name="T34" fmla="*/ 180 w 586"/>
              <a:gd name="T35" fmla="*/ 518 h 532"/>
              <a:gd name="T36" fmla="*/ 230 w 586"/>
              <a:gd name="T37" fmla="*/ 468 h 532"/>
              <a:gd name="T38" fmla="*/ 180 w 586"/>
              <a:gd name="T39" fmla="*/ 418 h 532"/>
              <a:gd name="T40" fmla="*/ 140 w 586"/>
              <a:gd name="T41" fmla="*/ 389 h 532"/>
              <a:gd name="T42" fmla="*/ 106 w 586"/>
              <a:gd name="T43" fmla="*/ 360 h 532"/>
              <a:gd name="T44" fmla="*/ 69 w 586"/>
              <a:gd name="T45" fmla="*/ 67 h 532"/>
              <a:gd name="T46" fmla="*/ 34 w 586"/>
              <a:gd name="T47" fmla="*/ 67 h 532"/>
              <a:gd name="T48" fmla="*/ 0 w 586"/>
              <a:gd name="T49" fmla="*/ 33 h 532"/>
              <a:gd name="T50" fmla="*/ 34 w 586"/>
              <a:gd name="T51" fmla="*/ 0 h 532"/>
              <a:gd name="T52" fmla="*/ 99 w 586"/>
              <a:gd name="T53" fmla="*/ 0 h 532"/>
              <a:gd name="T54" fmla="*/ 132 w 586"/>
              <a:gd name="T55" fmla="*/ 29 h 532"/>
              <a:gd name="T56" fmla="*/ 137 w 586"/>
              <a:gd name="T57" fmla="*/ 66 h 532"/>
              <a:gd name="T58" fmla="*/ 551 w 586"/>
              <a:gd name="T59" fmla="*/ 66 h 532"/>
              <a:gd name="T60" fmla="*/ 576 w 586"/>
              <a:gd name="T61" fmla="*/ 77 h 532"/>
              <a:gd name="T62" fmla="*/ 585 w 586"/>
              <a:gd name="T63" fmla="*/ 103 h 532"/>
              <a:gd name="T64" fmla="*/ 560 w 586"/>
              <a:gd name="T65" fmla="*/ 318 h 532"/>
              <a:gd name="T66" fmla="*/ 531 w 586"/>
              <a:gd name="T67" fmla="*/ 348 h 532"/>
              <a:gd name="T68" fmla="*/ 143 w 586"/>
              <a:gd name="T69" fmla="*/ 389 h 532"/>
              <a:gd name="T70" fmla="*/ 142 w 586"/>
              <a:gd name="T71" fmla="*/ 389 h 532"/>
              <a:gd name="T72" fmla="*/ 140 w 586"/>
              <a:gd name="T73" fmla="*/ 389 h 532"/>
              <a:gd name="T74" fmla="*/ 34 w 586"/>
              <a:gd name="T75" fmla="*/ 14 h 532"/>
              <a:gd name="T76" fmla="*/ 14 w 586"/>
              <a:gd name="T77" fmla="*/ 33 h 532"/>
              <a:gd name="T78" fmla="*/ 34 w 586"/>
              <a:gd name="T79" fmla="*/ 53 h 532"/>
              <a:gd name="T80" fmla="*/ 75 w 586"/>
              <a:gd name="T81" fmla="*/ 53 h 532"/>
              <a:gd name="T82" fmla="*/ 82 w 586"/>
              <a:gd name="T83" fmla="*/ 59 h 532"/>
              <a:gd name="T84" fmla="*/ 120 w 586"/>
              <a:gd name="T85" fmla="*/ 358 h 532"/>
              <a:gd name="T86" fmla="*/ 142 w 586"/>
              <a:gd name="T87" fmla="*/ 375 h 532"/>
              <a:gd name="T88" fmla="*/ 142 w 586"/>
              <a:gd name="T89" fmla="*/ 375 h 532"/>
              <a:gd name="T90" fmla="*/ 529 w 586"/>
              <a:gd name="T91" fmla="*/ 334 h 532"/>
              <a:gd name="T92" fmla="*/ 546 w 586"/>
              <a:gd name="T93" fmla="*/ 317 h 532"/>
              <a:gd name="T94" fmla="*/ 571 w 586"/>
              <a:gd name="T95" fmla="*/ 102 h 532"/>
              <a:gd name="T96" fmla="*/ 566 w 586"/>
              <a:gd name="T97" fmla="*/ 86 h 532"/>
              <a:gd name="T98" fmla="*/ 551 w 586"/>
              <a:gd name="T99" fmla="*/ 80 h 532"/>
              <a:gd name="T100" fmla="*/ 131 w 586"/>
              <a:gd name="T101" fmla="*/ 80 h 532"/>
              <a:gd name="T102" fmla="*/ 124 w 586"/>
              <a:gd name="T103" fmla="*/ 74 h 532"/>
              <a:gd name="T104" fmla="*/ 118 w 586"/>
              <a:gd name="T105" fmla="*/ 31 h 532"/>
              <a:gd name="T106" fmla="*/ 99 w 586"/>
              <a:gd name="T107" fmla="*/ 14 h 532"/>
              <a:gd name="T108" fmla="*/ 34 w 586"/>
              <a:gd name="T109" fmla="*/ 14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86" h="532">
                <a:moveTo>
                  <a:pt x="474" y="532"/>
                </a:moveTo>
                <a:cubicBezTo>
                  <a:pt x="439" y="532"/>
                  <a:pt x="411" y="503"/>
                  <a:pt x="411" y="468"/>
                </a:cubicBezTo>
                <a:cubicBezTo>
                  <a:pt x="411" y="433"/>
                  <a:pt x="439" y="404"/>
                  <a:pt x="474" y="404"/>
                </a:cubicBezTo>
                <a:cubicBezTo>
                  <a:pt x="510" y="404"/>
                  <a:pt x="538" y="433"/>
                  <a:pt x="538" y="468"/>
                </a:cubicBezTo>
                <a:cubicBezTo>
                  <a:pt x="538" y="503"/>
                  <a:pt x="510" y="532"/>
                  <a:pt x="474" y="532"/>
                </a:cubicBezTo>
                <a:close/>
                <a:moveTo>
                  <a:pt x="474" y="418"/>
                </a:moveTo>
                <a:cubicBezTo>
                  <a:pt x="447" y="418"/>
                  <a:pt x="425" y="441"/>
                  <a:pt x="425" y="468"/>
                </a:cubicBezTo>
                <a:cubicBezTo>
                  <a:pt x="425" y="496"/>
                  <a:pt x="447" y="518"/>
                  <a:pt x="474" y="518"/>
                </a:cubicBezTo>
                <a:cubicBezTo>
                  <a:pt x="502" y="518"/>
                  <a:pt x="524" y="496"/>
                  <a:pt x="524" y="468"/>
                </a:cubicBezTo>
                <a:cubicBezTo>
                  <a:pt x="524" y="441"/>
                  <a:pt x="502" y="418"/>
                  <a:pt x="474" y="418"/>
                </a:cubicBezTo>
                <a:close/>
                <a:moveTo>
                  <a:pt x="180" y="532"/>
                </a:moveTo>
                <a:cubicBezTo>
                  <a:pt x="145" y="532"/>
                  <a:pt x="116" y="503"/>
                  <a:pt x="116" y="468"/>
                </a:cubicBezTo>
                <a:cubicBezTo>
                  <a:pt x="116" y="433"/>
                  <a:pt x="145" y="404"/>
                  <a:pt x="180" y="404"/>
                </a:cubicBezTo>
                <a:cubicBezTo>
                  <a:pt x="215" y="404"/>
                  <a:pt x="244" y="433"/>
                  <a:pt x="244" y="468"/>
                </a:cubicBezTo>
                <a:cubicBezTo>
                  <a:pt x="244" y="503"/>
                  <a:pt x="215" y="532"/>
                  <a:pt x="180" y="532"/>
                </a:cubicBezTo>
                <a:close/>
                <a:moveTo>
                  <a:pt x="180" y="418"/>
                </a:moveTo>
                <a:cubicBezTo>
                  <a:pt x="153" y="418"/>
                  <a:pt x="130" y="441"/>
                  <a:pt x="130" y="468"/>
                </a:cubicBezTo>
                <a:cubicBezTo>
                  <a:pt x="130" y="496"/>
                  <a:pt x="153" y="518"/>
                  <a:pt x="180" y="518"/>
                </a:cubicBezTo>
                <a:cubicBezTo>
                  <a:pt x="208" y="518"/>
                  <a:pt x="230" y="496"/>
                  <a:pt x="230" y="468"/>
                </a:cubicBezTo>
                <a:cubicBezTo>
                  <a:pt x="230" y="441"/>
                  <a:pt x="208" y="418"/>
                  <a:pt x="180" y="418"/>
                </a:cubicBezTo>
                <a:close/>
                <a:moveTo>
                  <a:pt x="140" y="389"/>
                </a:moveTo>
                <a:cubicBezTo>
                  <a:pt x="123" y="389"/>
                  <a:pt x="108" y="376"/>
                  <a:pt x="106" y="360"/>
                </a:cubicBezTo>
                <a:cubicBezTo>
                  <a:pt x="69" y="67"/>
                  <a:pt x="69" y="67"/>
                  <a:pt x="69" y="67"/>
                </a:cubicBezTo>
                <a:cubicBezTo>
                  <a:pt x="34" y="67"/>
                  <a:pt x="34" y="67"/>
                  <a:pt x="34" y="67"/>
                </a:cubicBezTo>
                <a:cubicBezTo>
                  <a:pt x="16" y="67"/>
                  <a:pt x="0" y="52"/>
                  <a:pt x="0" y="33"/>
                </a:cubicBezTo>
                <a:cubicBezTo>
                  <a:pt x="0" y="15"/>
                  <a:pt x="16" y="0"/>
                  <a:pt x="34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16" y="0"/>
                  <a:pt x="130" y="12"/>
                  <a:pt x="132" y="29"/>
                </a:cubicBezTo>
                <a:cubicBezTo>
                  <a:pt x="137" y="66"/>
                  <a:pt x="137" y="66"/>
                  <a:pt x="137" y="66"/>
                </a:cubicBezTo>
                <a:cubicBezTo>
                  <a:pt x="551" y="66"/>
                  <a:pt x="551" y="66"/>
                  <a:pt x="551" y="66"/>
                </a:cubicBezTo>
                <a:cubicBezTo>
                  <a:pt x="561" y="66"/>
                  <a:pt x="570" y="70"/>
                  <a:pt x="576" y="77"/>
                </a:cubicBezTo>
                <a:cubicBezTo>
                  <a:pt x="583" y="84"/>
                  <a:pt x="586" y="94"/>
                  <a:pt x="585" y="103"/>
                </a:cubicBezTo>
                <a:cubicBezTo>
                  <a:pt x="560" y="318"/>
                  <a:pt x="560" y="318"/>
                  <a:pt x="560" y="318"/>
                </a:cubicBezTo>
                <a:cubicBezTo>
                  <a:pt x="559" y="334"/>
                  <a:pt x="546" y="346"/>
                  <a:pt x="531" y="348"/>
                </a:cubicBezTo>
                <a:cubicBezTo>
                  <a:pt x="143" y="389"/>
                  <a:pt x="143" y="389"/>
                  <a:pt x="143" y="389"/>
                </a:cubicBezTo>
                <a:cubicBezTo>
                  <a:pt x="143" y="389"/>
                  <a:pt x="143" y="389"/>
                  <a:pt x="142" y="389"/>
                </a:cubicBezTo>
                <a:cubicBezTo>
                  <a:pt x="142" y="389"/>
                  <a:pt x="141" y="389"/>
                  <a:pt x="140" y="389"/>
                </a:cubicBezTo>
                <a:close/>
                <a:moveTo>
                  <a:pt x="34" y="14"/>
                </a:moveTo>
                <a:cubicBezTo>
                  <a:pt x="23" y="14"/>
                  <a:pt x="14" y="22"/>
                  <a:pt x="14" y="33"/>
                </a:cubicBezTo>
                <a:cubicBezTo>
                  <a:pt x="14" y="44"/>
                  <a:pt x="23" y="53"/>
                  <a:pt x="34" y="53"/>
                </a:cubicBezTo>
                <a:cubicBezTo>
                  <a:pt x="75" y="53"/>
                  <a:pt x="75" y="53"/>
                  <a:pt x="75" y="53"/>
                </a:cubicBezTo>
                <a:cubicBezTo>
                  <a:pt x="79" y="53"/>
                  <a:pt x="82" y="55"/>
                  <a:pt x="82" y="59"/>
                </a:cubicBezTo>
                <a:cubicBezTo>
                  <a:pt x="120" y="358"/>
                  <a:pt x="120" y="358"/>
                  <a:pt x="120" y="358"/>
                </a:cubicBezTo>
                <a:cubicBezTo>
                  <a:pt x="122" y="368"/>
                  <a:pt x="131" y="376"/>
                  <a:pt x="142" y="375"/>
                </a:cubicBezTo>
                <a:cubicBezTo>
                  <a:pt x="142" y="375"/>
                  <a:pt x="142" y="375"/>
                  <a:pt x="142" y="375"/>
                </a:cubicBezTo>
                <a:cubicBezTo>
                  <a:pt x="529" y="334"/>
                  <a:pt x="529" y="334"/>
                  <a:pt x="529" y="334"/>
                </a:cubicBezTo>
                <a:cubicBezTo>
                  <a:pt x="538" y="333"/>
                  <a:pt x="545" y="326"/>
                  <a:pt x="546" y="317"/>
                </a:cubicBezTo>
                <a:cubicBezTo>
                  <a:pt x="571" y="102"/>
                  <a:pt x="571" y="102"/>
                  <a:pt x="571" y="102"/>
                </a:cubicBezTo>
                <a:cubicBezTo>
                  <a:pt x="571" y="96"/>
                  <a:pt x="570" y="91"/>
                  <a:pt x="566" y="86"/>
                </a:cubicBezTo>
                <a:cubicBezTo>
                  <a:pt x="562" y="82"/>
                  <a:pt x="557" y="80"/>
                  <a:pt x="551" y="80"/>
                </a:cubicBezTo>
                <a:cubicBezTo>
                  <a:pt x="131" y="80"/>
                  <a:pt x="131" y="80"/>
                  <a:pt x="131" y="80"/>
                </a:cubicBezTo>
                <a:cubicBezTo>
                  <a:pt x="127" y="80"/>
                  <a:pt x="124" y="77"/>
                  <a:pt x="124" y="74"/>
                </a:cubicBezTo>
                <a:cubicBezTo>
                  <a:pt x="118" y="31"/>
                  <a:pt x="118" y="31"/>
                  <a:pt x="118" y="31"/>
                </a:cubicBezTo>
                <a:cubicBezTo>
                  <a:pt x="117" y="21"/>
                  <a:pt x="109" y="14"/>
                  <a:pt x="99" y="14"/>
                </a:cubicBezTo>
                <a:lnTo>
                  <a:pt x="34" y="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962026" y="2857501"/>
            <a:ext cx="314325" cy="422275"/>
            <a:chOff x="606" y="1800"/>
            <a:chExt cx="198" cy="266"/>
          </a:xfrm>
          <a:solidFill>
            <a:srgbClr val="FFFFFF"/>
          </a:solidFill>
        </p:grpSpPr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606" y="1800"/>
              <a:ext cx="198" cy="266"/>
            </a:xfrm>
            <a:custGeom>
              <a:avLst/>
              <a:gdLst>
                <a:gd name="T0" fmla="*/ 472 w 479"/>
                <a:gd name="T1" fmla="*/ 29 h 642"/>
                <a:gd name="T2" fmla="*/ 406 w 479"/>
                <a:gd name="T3" fmla="*/ 29 h 642"/>
                <a:gd name="T4" fmla="*/ 406 w 479"/>
                <a:gd name="T5" fmla="*/ 7 h 642"/>
                <a:gd name="T6" fmla="*/ 399 w 479"/>
                <a:gd name="T7" fmla="*/ 0 h 642"/>
                <a:gd name="T8" fmla="*/ 392 w 479"/>
                <a:gd name="T9" fmla="*/ 7 h 642"/>
                <a:gd name="T10" fmla="*/ 392 w 479"/>
                <a:gd name="T11" fmla="*/ 66 h 642"/>
                <a:gd name="T12" fmla="*/ 399 w 479"/>
                <a:gd name="T13" fmla="*/ 73 h 642"/>
                <a:gd name="T14" fmla="*/ 406 w 479"/>
                <a:gd name="T15" fmla="*/ 66 h 642"/>
                <a:gd name="T16" fmla="*/ 406 w 479"/>
                <a:gd name="T17" fmla="*/ 43 h 642"/>
                <a:gd name="T18" fmla="*/ 465 w 479"/>
                <a:gd name="T19" fmla="*/ 43 h 642"/>
                <a:gd name="T20" fmla="*/ 465 w 479"/>
                <a:gd name="T21" fmla="*/ 628 h 642"/>
                <a:gd name="T22" fmla="*/ 14 w 479"/>
                <a:gd name="T23" fmla="*/ 628 h 642"/>
                <a:gd name="T24" fmla="*/ 14 w 479"/>
                <a:gd name="T25" fmla="*/ 43 h 642"/>
                <a:gd name="T26" fmla="*/ 51 w 479"/>
                <a:gd name="T27" fmla="*/ 43 h 642"/>
                <a:gd name="T28" fmla="*/ 58 w 479"/>
                <a:gd name="T29" fmla="*/ 36 h 642"/>
                <a:gd name="T30" fmla="*/ 51 w 479"/>
                <a:gd name="T31" fmla="*/ 29 h 642"/>
                <a:gd name="T32" fmla="*/ 7 w 479"/>
                <a:gd name="T33" fmla="*/ 29 h 642"/>
                <a:gd name="T34" fmla="*/ 0 w 479"/>
                <a:gd name="T35" fmla="*/ 36 h 642"/>
                <a:gd name="T36" fmla="*/ 0 w 479"/>
                <a:gd name="T37" fmla="*/ 635 h 642"/>
                <a:gd name="T38" fmla="*/ 7 w 479"/>
                <a:gd name="T39" fmla="*/ 642 h 642"/>
                <a:gd name="T40" fmla="*/ 472 w 479"/>
                <a:gd name="T41" fmla="*/ 642 h 642"/>
                <a:gd name="T42" fmla="*/ 479 w 479"/>
                <a:gd name="T43" fmla="*/ 635 h 642"/>
                <a:gd name="T44" fmla="*/ 479 w 479"/>
                <a:gd name="T45" fmla="*/ 36 h 642"/>
                <a:gd name="T46" fmla="*/ 472 w 479"/>
                <a:gd name="T47" fmla="*/ 29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9" h="642">
                  <a:moveTo>
                    <a:pt x="472" y="29"/>
                  </a:moveTo>
                  <a:cubicBezTo>
                    <a:pt x="406" y="29"/>
                    <a:pt x="406" y="29"/>
                    <a:pt x="406" y="29"/>
                  </a:cubicBezTo>
                  <a:cubicBezTo>
                    <a:pt x="406" y="7"/>
                    <a:pt x="406" y="7"/>
                    <a:pt x="406" y="7"/>
                  </a:cubicBezTo>
                  <a:cubicBezTo>
                    <a:pt x="406" y="3"/>
                    <a:pt x="403" y="0"/>
                    <a:pt x="399" y="0"/>
                  </a:cubicBezTo>
                  <a:cubicBezTo>
                    <a:pt x="395" y="0"/>
                    <a:pt x="392" y="3"/>
                    <a:pt x="392" y="7"/>
                  </a:cubicBezTo>
                  <a:cubicBezTo>
                    <a:pt x="392" y="66"/>
                    <a:pt x="392" y="66"/>
                    <a:pt x="392" y="66"/>
                  </a:cubicBezTo>
                  <a:cubicBezTo>
                    <a:pt x="392" y="70"/>
                    <a:pt x="395" y="73"/>
                    <a:pt x="399" y="73"/>
                  </a:cubicBezTo>
                  <a:cubicBezTo>
                    <a:pt x="403" y="73"/>
                    <a:pt x="406" y="70"/>
                    <a:pt x="406" y="66"/>
                  </a:cubicBezTo>
                  <a:cubicBezTo>
                    <a:pt x="406" y="43"/>
                    <a:pt x="406" y="43"/>
                    <a:pt x="406" y="43"/>
                  </a:cubicBezTo>
                  <a:cubicBezTo>
                    <a:pt x="465" y="43"/>
                    <a:pt x="465" y="43"/>
                    <a:pt x="465" y="43"/>
                  </a:cubicBezTo>
                  <a:cubicBezTo>
                    <a:pt x="465" y="628"/>
                    <a:pt x="465" y="628"/>
                    <a:pt x="465" y="628"/>
                  </a:cubicBezTo>
                  <a:cubicBezTo>
                    <a:pt x="14" y="628"/>
                    <a:pt x="14" y="628"/>
                    <a:pt x="14" y="628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4" y="43"/>
                    <a:pt x="58" y="40"/>
                    <a:pt x="58" y="36"/>
                  </a:cubicBezTo>
                  <a:cubicBezTo>
                    <a:pt x="58" y="33"/>
                    <a:pt x="54" y="29"/>
                    <a:pt x="51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4" y="29"/>
                    <a:pt x="0" y="33"/>
                    <a:pt x="0" y="36"/>
                  </a:cubicBezTo>
                  <a:cubicBezTo>
                    <a:pt x="0" y="635"/>
                    <a:pt x="0" y="635"/>
                    <a:pt x="0" y="635"/>
                  </a:cubicBezTo>
                  <a:cubicBezTo>
                    <a:pt x="0" y="639"/>
                    <a:pt x="4" y="642"/>
                    <a:pt x="7" y="642"/>
                  </a:cubicBezTo>
                  <a:cubicBezTo>
                    <a:pt x="472" y="642"/>
                    <a:pt x="472" y="642"/>
                    <a:pt x="472" y="642"/>
                  </a:cubicBezTo>
                  <a:cubicBezTo>
                    <a:pt x="476" y="642"/>
                    <a:pt x="479" y="639"/>
                    <a:pt x="479" y="635"/>
                  </a:cubicBezTo>
                  <a:cubicBezTo>
                    <a:pt x="479" y="36"/>
                    <a:pt x="479" y="36"/>
                    <a:pt x="479" y="36"/>
                  </a:cubicBezTo>
                  <a:cubicBezTo>
                    <a:pt x="479" y="33"/>
                    <a:pt x="476" y="29"/>
                    <a:pt x="47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701" y="1800"/>
              <a:ext cx="18" cy="30"/>
            </a:xfrm>
            <a:custGeom>
              <a:avLst/>
              <a:gdLst>
                <a:gd name="T0" fmla="*/ 7 w 43"/>
                <a:gd name="T1" fmla="*/ 73 h 73"/>
                <a:gd name="T2" fmla="*/ 14 w 43"/>
                <a:gd name="T3" fmla="*/ 66 h 73"/>
                <a:gd name="T4" fmla="*/ 14 w 43"/>
                <a:gd name="T5" fmla="*/ 43 h 73"/>
                <a:gd name="T6" fmla="*/ 36 w 43"/>
                <a:gd name="T7" fmla="*/ 43 h 73"/>
                <a:gd name="T8" fmla="*/ 43 w 43"/>
                <a:gd name="T9" fmla="*/ 36 h 73"/>
                <a:gd name="T10" fmla="*/ 36 w 43"/>
                <a:gd name="T11" fmla="*/ 29 h 73"/>
                <a:gd name="T12" fmla="*/ 14 w 43"/>
                <a:gd name="T13" fmla="*/ 29 h 73"/>
                <a:gd name="T14" fmla="*/ 14 w 43"/>
                <a:gd name="T15" fmla="*/ 7 h 73"/>
                <a:gd name="T16" fmla="*/ 7 w 43"/>
                <a:gd name="T17" fmla="*/ 0 h 73"/>
                <a:gd name="T18" fmla="*/ 0 w 43"/>
                <a:gd name="T19" fmla="*/ 7 h 73"/>
                <a:gd name="T20" fmla="*/ 0 w 43"/>
                <a:gd name="T21" fmla="*/ 66 h 73"/>
                <a:gd name="T22" fmla="*/ 7 w 43"/>
                <a:gd name="T2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7" y="73"/>
                  </a:moveTo>
                  <a:cubicBezTo>
                    <a:pt x="11" y="73"/>
                    <a:pt x="14" y="70"/>
                    <a:pt x="14" y="66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40" y="43"/>
                    <a:pt x="43" y="40"/>
                    <a:pt x="43" y="36"/>
                  </a:cubicBezTo>
                  <a:cubicBezTo>
                    <a:pt x="43" y="33"/>
                    <a:pt x="40" y="29"/>
                    <a:pt x="36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0"/>
                    <a:pt x="3" y="73"/>
                    <a:pt x="7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79" y="1800"/>
              <a:ext cx="18" cy="30"/>
            </a:xfrm>
            <a:custGeom>
              <a:avLst/>
              <a:gdLst>
                <a:gd name="T0" fmla="*/ 7 w 43"/>
                <a:gd name="T1" fmla="*/ 73 h 73"/>
                <a:gd name="T2" fmla="*/ 14 w 43"/>
                <a:gd name="T3" fmla="*/ 66 h 73"/>
                <a:gd name="T4" fmla="*/ 14 w 43"/>
                <a:gd name="T5" fmla="*/ 43 h 73"/>
                <a:gd name="T6" fmla="*/ 36 w 43"/>
                <a:gd name="T7" fmla="*/ 43 h 73"/>
                <a:gd name="T8" fmla="*/ 43 w 43"/>
                <a:gd name="T9" fmla="*/ 36 h 73"/>
                <a:gd name="T10" fmla="*/ 36 w 43"/>
                <a:gd name="T11" fmla="*/ 29 h 73"/>
                <a:gd name="T12" fmla="*/ 14 w 43"/>
                <a:gd name="T13" fmla="*/ 29 h 73"/>
                <a:gd name="T14" fmla="*/ 14 w 43"/>
                <a:gd name="T15" fmla="*/ 7 h 73"/>
                <a:gd name="T16" fmla="*/ 7 w 43"/>
                <a:gd name="T17" fmla="*/ 0 h 73"/>
                <a:gd name="T18" fmla="*/ 0 w 43"/>
                <a:gd name="T19" fmla="*/ 7 h 73"/>
                <a:gd name="T20" fmla="*/ 0 w 43"/>
                <a:gd name="T21" fmla="*/ 66 h 73"/>
                <a:gd name="T22" fmla="*/ 7 w 43"/>
                <a:gd name="T2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7" y="73"/>
                  </a:moveTo>
                  <a:cubicBezTo>
                    <a:pt x="11" y="73"/>
                    <a:pt x="14" y="70"/>
                    <a:pt x="14" y="66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40" y="43"/>
                    <a:pt x="43" y="40"/>
                    <a:pt x="43" y="36"/>
                  </a:cubicBezTo>
                  <a:cubicBezTo>
                    <a:pt x="43" y="33"/>
                    <a:pt x="40" y="29"/>
                    <a:pt x="36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0"/>
                    <a:pt x="3" y="73"/>
                    <a:pt x="7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56" y="1800"/>
              <a:ext cx="18" cy="30"/>
            </a:xfrm>
            <a:custGeom>
              <a:avLst/>
              <a:gdLst>
                <a:gd name="T0" fmla="*/ 7 w 43"/>
                <a:gd name="T1" fmla="*/ 73 h 73"/>
                <a:gd name="T2" fmla="*/ 14 w 43"/>
                <a:gd name="T3" fmla="*/ 66 h 73"/>
                <a:gd name="T4" fmla="*/ 14 w 43"/>
                <a:gd name="T5" fmla="*/ 43 h 73"/>
                <a:gd name="T6" fmla="*/ 36 w 43"/>
                <a:gd name="T7" fmla="*/ 43 h 73"/>
                <a:gd name="T8" fmla="*/ 43 w 43"/>
                <a:gd name="T9" fmla="*/ 36 h 73"/>
                <a:gd name="T10" fmla="*/ 36 w 43"/>
                <a:gd name="T11" fmla="*/ 29 h 73"/>
                <a:gd name="T12" fmla="*/ 14 w 43"/>
                <a:gd name="T13" fmla="*/ 29 h 73"/>
                <a:gd name="T14" fmla="*/ 14 w 43"/>
                <a:gd name="T15" fmla="*/ 7 h 73"/>
                <a:gd name="T16" fmla="*/ 7 w 43"/>
                <a:gd name="T17" fmla="*/ 0 h 73"/>
                <a:gd name="T18" fmla="*/ 0 w 43"/>
                <a:gd name="T19" fmla="*/ 7 h 73"/>
                <a:gd name="T20" fmla="*/ 0 w 43"/>
                <a:gd name="T21" fmla="*/ 66 h 73"/>
                <a:gd name="T22" fmla="*/ 7 w 43"/>
                <a:gd name="T2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7" y="73"/>
                  </a:moveTo>
                  <a:cubicBezTo>
                    <a:pt x="11" y="73"/>
                    <a:pt x="14" y="70"/>
                    <a:pt x="14" y="66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40" y="43"/>
                    <a:pt x="43" y="40"/>
                    <a:pt x="43" y="36"/>
                  </a:cubicBezTo>
                  <a:cubicBezTo>
                    <a:pt x="43" y="33"/>
                    <a:pt x="40" y="29"/>
                    <a:pt x="36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0"/>
                    <a:pt x="3" y="73"/>
                    <a:pt x="7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634" y="1800"/>
              <a:ext cx="18" cy="30"/>
            </a:xfrm>
            <a:custGeom>
              <a:avLst/>
              <a:gdLst>
                <a:gd name="T0" fmla="*/ 7 w 43"/>
                <a:gd name="T1" fmla="*/ 73 h 73"/>
                <a:gd name="T2" fmla="*/ 14 w 43"/>
                <a:gd name="T3" fmla="*/ 66 h 73"/>
                <a:gd name="T4" fmla="*/ 14 w 43"/>
                <a:gd name="T5" fmla="*/ 43 h 73"/>
                <a:gd name="T6" fmla="*/ 36 w 43"/>
                <a:gd name="T7" fmla="*/ 43 h 73"/>
                <a:gd name="T8" fmla="*/ 43 w 43"/>
                <a:gd name="T9" fmla="*/ 36 h 73"/>
                <a:gd name="T10" fmla="*/ 36 w 43"/>
                <a:gd name="T11" fmla="*/ 29 h 73"/>
                <a:gd name="T12" fmla="*/ 14 w 43"/>
                <a:gd name="T13" fmla="*/ 29 h 73"/>
                <a:gd name="T14" fmla="*/ 14 w 43"/>
                <a:gd name="T15" fmla="*/ 7 h 73"/>
                <a:gd name="T16" fmla="*/ 7 w 43"/>
                <a:gd name="T17" fmla="*/ 0 h 73"/>
                <a:gd name="T18" fmla="*/ 0 w 43"/>
                <a:gd name="T19" fmla="*/ 7 h 73"/>
                <a:gd name="T20" fmla="*/ 0 w 43"/>
                <a:gd name="T21" fmla="*/ 66 h 73"/>
                <a:gd name="T22" fmla="*/ 7 w 43"/>
                <a:gd name="T2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7" y="73"/>
                  </a:moveTo>
                  <a:cubicBezTo>
                    <a:pt x="10" y="73"/>
                    <a:pt x="14" y="70"/>
                    <a:pt x="14" y="66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9" y="43"/>
                    <a:pt x="43" y="40"/>
                    <a:pt x="43" y="36"/>
                  </a:cubicBezTo>
                  <a:cubicBezTo>
                    <a:pt x="43" y="33"/>
                    <a:pt x="39" y="29"/>
                    <a:pt x="36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3"/>
                    <a:pt x="10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0"/>
                    <a:pt x="3" y="73"/>
                    <a:pt x="7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746" y="1800"/>
              <a:ext cx="18" cy="30"/>
            </a:xfrm>
            <a:custGeom>
              <a:avLst/>
              <a:gdLst>
                <a:gd name="T0" fmla="*/ 7 w 43"/>
                <a:gd name="T1" fmla="*/ 73 h 73"/>
                <a:gd name="T2" fmla="*/ 14 w 43"/>
                <a:gd name="T3" fmla="*/ 66 h 73"/>
                <a:gd name="T4" fmla="*/ 14 w 43"/>
                <a:gd name="T5" fmla="*/ 43 h 73"/>
                <a:gd name="T6" fmla="*/ 36 w 43"/>
                <a:gd name="T7" fmla="*/ 43 h 73"/>
                <a:gd name="T8" fmla="*/ 43 w 43"/>
                <a:gd name="T9" fmla="*/ 36 h 73"/>
                <a:gd name="T10" fmla="*/ 36 w 43"/>
                <a:gd name="T11" fmla="*/ 29 h 73"/>
                <a:gd name="T12" fmla="*/ 14 w 43"/>
                <a:gd name="T13" fmla="*/ 29 h 73"/>
                <a:gd name="T14" fmla="*/ 14 w 43"/>
                <a:gd name="T15" fmla="*/ 7 h 73"/>
                <a:gd name="T16" fmla="*/ 7 w 43"/>
                <a:gd name="T17" fmla="*/ 0 h 73"/>
                <a:gd name="T18" fmla="*/ 0 w 43"/>
                <a:gd name="T19" fmla="*/ 7 h 73"/>
                <a:gd name="T20" fmla="*/ 0 w 43"/>
                <a:gd name="T21" fmla="*/ 66 h 73"/>
                <a:gd name="T22" fmla="*/ 7 w 43"/>
                <a:gd name="T2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7" y="73"/>
                  </a:moveTo>
                  <a:cubicBezTo>
                    <a:pt x="11" y="73"/>
                    <a:pt x="14" y="70"/>
                    <a:pt x="14" y="66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40" y="43"/>
                    <a:pt x="43" y="40"/>
                    <a:pt x="43" y="36"/>
                  </a:cubicBezTo>
                  <a:cubicBezTo>
                    <a:pt x="43" y="33"/>
                    <a:pt x="40" y="29"/>
                    <a:pt x="36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0"/>
                    <a:pt x="3" y="73"/>
                    <a:pt x="7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724" y="1800"/>
              <a:ext cx="17" cy="30"/>
            </a:xfrm>
            <a:custGeom>
              <a:avLst/>
              <a:gdLst>
                <a:gd name="T0" fmla="*/ 7 w 43"/>
                <a:gd name="T1" fmla="*/ 73 h 73"/>
                <a:gd name="T2" fmla="*/ 14 w 43"/>
                <a:gd name="T3" fmla="*/ 66 h 73"/>
                <a:gd name="T4" fmla="*/ 14 w 43"/>
                <a:gd name="T5" fmla="*/ 43 h 73"/>
                <a:gd name="T6" fmla="*/ 36 w 43"/>
                <a:gd name="T7" fmla="*/ 43 h 73"/>
                <a:gd name="T8" fmla="*/ 43 w 43"/>
                <a:gd name="T9" fmla="*/ 36 h 73"/>
                <a:gd name="T10" fmla="*/ 36 w 43"/>
                <a:gd name="T11" fmla="*/ 29 h 73"/>
                <a:gd name="T12" fmla="*/ 14 w 43"/>
                <a:gd name="T13" fmla="*/ 29 h 73"/>
                <a:gd name="T14" fmla="*/ 14 w 43"/>
                <a:gd name="T15" fmla="*/ 7 h 73"/>
                <a:gd name="T16" fmla="*/ 7 w 43"/>
                <a:gd name="T17" fmla="*/ 0 h 73"/>
                <a:gd name="T18" fmla="*/ 0 w 43"/>
                <a:gd name="T19" fmla="*/ 7 h 73"/>
                <a:gd name="T20" fmla="*/ 0 w 43"/>
                <a:gd name="T21" fmla="*/ 66 h 73"/>
                <a:gd name="T22" fmla="*/ 7 w 43"/>
                <a:gd name="T2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7" y="73"/>
                  </a:moveTo>
                  <a:cubicBezTo>
                    <a:pt x="11" y="73"/>
                    <a:pt x="14" y="70"/>
                    <a:pt x="14" y="66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40" y="43"/>
                    <a:pt x="43" y="40"/>
                    <a:pt x="43" y="36"/>
                  </a:cubicBezTo>
                  <a:cubicBezTo>
                    <a:pt x="43" y="33"/>
                    <a:pt x="40" y="29"/>
                    <a:pt x="36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0"/>
                    <a:pt x="3" y="73"/>
                    <a:pt x="7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1" name="Freeform 12"/>
            <p:cNvSpPr>
              <a:spLocks/>
            </p:cNvSpPr>
            <p:nvPr/>
          </p:nvSpPr>
          <p:spPr bwMode="auto">
            <a:xfrm>
              <a:off x="636" y="2027"/>
              <a:ext cx="138" cy="6"/>
            </a:xfrm>
            <a:custGeom>
              <a:avLst/>
              <a:gdLst>
                <a:gd name="T0" fmla="*/ 326 w 333"/>
                <a:gd name="T1" fmla="*/ 0 h 14"/>
                <a:gd name="T2" fmla="*/ 7 w 333"/>
                <a:gd name="T3" fmla="*/ 0 h 14"/>
                <a:gd name="T4" fmla="*/ 0 w 333"/>
                <a:gd name="T5" fmla="*/ 7 h 14"/>
                <a:gd name="T6" fmla="*/ 7 w 333"/>
                <a:gd name="T7" fmla="*/ 14 h 14"/>
                <a:gd name="T8" fmla="*/ 326 w 333"/>
                <a:gd name="T9" fmla="*/ 14 h 14"/>
                <a:gd name="T10" fmla="*/ 333 w 333"/>
                <a:gd name="T11" fmla="*/ 7 h 14"/>
                <a:gd name="T12" fmla="*/ 326 w 333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14">
                  <a:moveTo>
                    <a:pt x="32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1"/>
                    <a:pt x="4" y="14"/>
                    <a:pt x="7" y="14"/>
                  </a:cubicBezTo>
                  <a:cubicBezTo>
                    <a:pt x="326" y="14"/>
                    <a:pt x="326" y="14"/>
                    <a:pt x="326" y="14"/>
                  </a:cubicBezTo>
                  <a:cubicBezTo>
                    <a:pt x="330" y="14"/>
                    <a:pt x="333" y="11"/>
                    <a:pt x="333" y="7"/>
                  </a:cubicBezTo>
                  <a:cubicBezTo>
                    <a:pt x="333" y="3"/>
                    <a:pt x="330" y="0"/>
                    <a:pt x="3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636" y="2002"/>
              <a:ext cx="138" cy="6"/>
            </a:xfrm>
            <a:custGeom>
              <a:avLst/>
              <a:gdLst>
                <a:gd name="T0" fmla="*/ 326 w 333"/>
                <a:gd name="T1" fmla="*/ 0 h 14"/>
                <a:gd name="T2" fmla="*/ 7 w 333"/>
                <a:gd name="T3" fmla="*/ 0 h 14"/>
                <a:gd name="T4" fmla="*/ 0 w 333"/>
                <a:gd name="T5" fmla="*/ 7 h 14"/>
                <a:gd name="T6" fmla="*/ 7 w 333"/>
                <a:gd name="T7" fmla="*/ 14 h 14"/>
                <a:gd name="T8" fmla="*/ 326 w 333"/>
                <a:gd name="T9" fmla="*/ 14 h 14"/>
                <a:gd name="T10" fmla="*/ 333 w 333"/>
                <a:gd name="T11" fmla="*/ 7 h 14"/>
                <a:gd name="T12" fmla="*/ 326 w 333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14">
                  <a:moveTo>
                    <a:pt x="32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1"/>
                    <a:pt x="4" y="14"/>
                    <a:pt x="7" y="14"/>
                  </a:cubicBezTo>
                  <a:cubicBezTo>
                    <a:pt x="326" y="14"/>
                    <a:pt x="326" y="14"/>
                    <a:pt x="326" y="14"/>
                  </a:cubicBezTo>
                  <a:cubicBezTo>
                    <a:pt x="330" y="14"/>
                    <a:pt x="333" y="11"/>
                    <a:pt x="333" y="7"/>
                  </a:cubicBezTo>
                  <a:cubicBezTo>
                    <a:pt x="333" y="3"/>
                    <a:pt x="330" y="0"/>
                    <a:pt x="3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14"/>
            <p:cNvSpPr>
              <a:spLocks/>
            </p:cNvSpPr>
            <p:nvPr/>
          </p:nvSpPr>
          <p:spPr bwMode="auto">
            <a:xfrm>
              <a:off x="636" y="1978"/>
              <a:ext cx="138" cy="6"/>
            </a:xfrm>
            <a:custGeom>
              <a:avLst/>
              <a:gdLst>
                <a:gd name="T0" fmla="*/ 326 w 333"/>
                <a:gd name="T1" fmla="*/ 0 h 14"/>
                <a:gd name="T2" fmla="*/ 7 w 333"/>
                <a:gd name="T3" fmla="*/ 0 h 14"/>
                <a:gd name="T4" fmla="*/ 0 w 333"/>
                <a:gd name="T5" fmla="*/ 7 h 14"/>
                <a:gd name="T6" fmla="*/ 7 w 333"/>
                <a:gd name="T7" fmla="*/ 14 h 14"/>
                <a:gd name="T8" fmla="*/ 326 w 333"/>
                <a:gd name="T9" fmla="*/ 14 h 14"/>
                <a:gd name="T10" fmla="*/ 333 w 333"/>
                <a:gd name="T11" fmla="*/ 7 h 14"/>
                <a:gd name="T12" fmla="*/ 326 w 333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14">
                  <a:moveTo>
                    <a:pt x="32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1"/>
                    <a:pt x="4" y="14"/>
                    <a:pt x="7" y="14"/>
                  </a:cubicBezTo>
                  <a:cubicBezTo>
                    <a:pt x="326" y="14"/>
                    <a:pt x="326" y="14"/>
                    <a:pt x="326" y="14"/>
                  </a:cubicBezTo>
                  <a:cubicBezTo>
                    <a:pt x="330" y="14"/>
                    <a:pt x="333" y="11"/>
                    <a:pt x="333" y="7"/>
                  </a:cubicBezTo>
                  <a:cubicBezTo>
                    <a:pt x="333" y="3"/>
                    <a:pt x="330" y="0"/>
                    <a:pt x="3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6" name="Freeform 15"/>
            <p:cNvSpPr>
              <a:spLocks/>
            </p:cNvSpPr>
            <p:nvPr/>
          </p:nvSpPr>
          <p:spPr bwMode="auto">
            <a:xfrm>
              <a:off x="636" y="1953"/>
              <a:ext cx="138" cy="6"/>
            </a:xfrm>
            <a:custGeom>
              <a:avLst/>
              <a:gdLst>
                <a:gd name="T0" fmla="*/ 326 w 333"/>
                <a:gd name="T1" fmla="*/ 0 h 14"/>
                <a:gd name="T2" fmla="*/ 7 w 333"/>
                <a:gd name="T3" fmla="*/ 0 h 14"/>
                <a:gd name="T4" fmla="*/ 0 w 333"/>
                <a:gd name="T5" fmla="*/ 7 h 14"/>
                <a:gd name="T6" fmla="*/ 7 w 333"/>
                <a:gd name="T7" fmla="*/ 14 h 14"/>
                <a:gd name="T8" fmla="*/ 326 w 333"/>
                <a:gd name="T9" fmla="*/ 14 h 14"/>
                <a:gd name="T10" fmla="*/ 333 w 333"/>
                <a:gd name="T11" fmla="*/ 7 h 14"/>
                <a:gd name="T12" fmla="*/ 326 w 333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14">
                  <a:moveTo>
                    <a:pt x="32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0"/>
                    <a:pt x="4" y="14"/>
                    <a:pt x="7" y="14"/>
                  </a:cubicBezTo>
                  <a:cubicBezTo>
                    <a:pt x="326" y="14"/>
                    <a:pt x="326" y="14"/>
                    <a:pt x="326" y="14"/>
                  </a:cubicBezTo>
                  <a:cubicBezTo>
                    <a:pt x="330" y="14"/>
                    <a:pt x="333" y="10"/>
                    <a:pt x="333" y="7"/>
                  </a:cubicBezTo>
                  <a:cubicBezTo>
                    <a:pt x="333" y="3"/>
                    <a:pt x="330" y="0"/>
                    <a:pt x="3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7" name="Freeform 16"/>
            <p:cNvSpPr>
              <a:spLocks/>
            </p:cNvSpPr>
            <p:nvPr/>
          </p:nvSpPr>
          <p:spPr bwMode="auto">
            <a:xfrm>
              <a:off x="636" y="1928"/>
              <a:ext cx="138" cy="6"/>
            </a:xfrm>
            <a:custGeom>
              <a:avLst/>
              <a:gdLst>
                <a:gd name="T0" fmla="*/ 326 w 333"/>
                <a:gd name="T1" fmla="*/ 0 h 14"/>
                <a:gd name="T2" fmla="*/ 7 w 333"/>
                <a:gd name="T3" fmla="*/ 0 h 14"/>
                <a:gd name="T4" fmla="*/ 0 w 333"/>
                <a:gd name="T5" fmla="*/ 7 h 14"/>
                <a:gd name="T6" fmla="*/ 7 w 333"/>
                <a:gd name="T7" fmla="*/ 14 h 14"/>
                <a:gd name="T8" fmla="*/ 326 w 333"/>
                <a:gd name="T9" fmla="*/ 14 h 14"/>
                <a:gd name="T10" fmla="*/ 333 w 333"/>
                <a:gd name="T11" fmla="*/ 7 h 14"/>
                <a:gd name="T12" fmla="*/ 326 w 333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14">
                  <a:moveTo>
                    <a:pt x="32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1"/>
                    <a:pt x="4" y="14"/>
                    <a:pt x="7" y="14"/>
                  </a:cubicBezTo>
                  <a:cubicBezTo>
                    <a:pt x="326" y="14"/>
                    <a:pt x="326" y="14"/>
                    <a:pt x="326" y="14"/>
                  </a:cubicBezTo>
                  <a:cubicBezTo>
                    <a:pt x="330" y="14"/>
                    <a:pt x="333" y="11"/>
                    <a:pt x="333" y="7"/>
                  </a:cubicBezTo>
                  <a:cubicBezTo>
                    <a:pt x="333" y="3"/>
                    <a:pt x="330" y="0"/>
                    <a:pt x="3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Freeform 17"/>
            <p:cNvSpPr>
              <a:spLocks/>
            </p:cNvSpPr>
            <p:nvPr/>
          </p:nvSpPr>
          <p:spPr bwMode="auto">
            <a:xfrm>
              <a:off x="636" y="1904"/>
              <a:ext cx="138" cy="6"/>
            </a:xfrm>
            <a:custGeom>
              <a:avLst/>
              <a:gdLst>
                <a:gd name="T0" fmla="*/ 326 w 333"/>
                <a:gd name="T1" fmla="*/ 0 h 14"/>
                <a:gd name="T2" fmla="*/ 7 w 333"/>
                <a:gd name="T3" fmla="*/ 0 h 14"/>
                <a:gd name="T4" fmla="*/ 0 w 333"/>
                <a:gd name="T5" fmla="*/ 7 h 14"/>
                <a:gd name="T6" fmla="*/ 7 w 333"/>
                <a:gd name="T7" fmla="*/ 14 h 14"/>
                <a:gd name="T8" fmla="*/ 326 w 333"/>
                <a:gd name="T9" fmla="*/ 14 h 14"/>
                <a:gd name="T10" fmla="*/ 333 w 333"/>
                <a:gd name="T11" fmla="*/ 7 h 14"/>
                <a:gd name="T12" fmla="*/ 326 w 333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14">
                  <a:moveTo>
                    <a:pt x="32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1"/>
                    <a:pt x="4" y="14"/>
                    <a:pt x="7" y="14"/>
                  </a:cubicBezTo>
                  <a:cubicBezTo>
                    <a:pt x="326" y="14"/>
                    <a:pt x="326" y="14"/>
                    <a:pt x="326" y="14"/>
                  </a:cubicBezTo>
                  <a:cubicBezTo>
                    <a:pt x="330" y="14"/>
                    <a:pt x="333" y="11"/>
                    <a:pt x="333" y="7"/>
                  </a:cubicBezTo>
                  <a:cubicBezTo>
                    <a:pt x="333" y="3"/>
                    <a:pt x="330" y="0"/>
                    <a:pt x="3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Freeform 18"/>
            <p:cNvSpPr>
              <a:spLocks/>
            </p:cNvSpPr>
            <p:nvPr/>
          </p:nvSpPr>
          <p:spPr bwMode="auto">
            <a:xfrm>
              <a:off x="636" y="1879"/>
              <a:ext cx="138" cy="6"/>
            </a:xfrm>
            <a:custGeom>
              <a:avLst/>
              <a:gdLst>
                <a:gd name="T0" fmla="*/ 326 w 333"/>
                <a:gd name="T1" fmla="*/ 0 h 14"/>
                <a:gd name="T2" fmla="*/ 7 w 333"/>
                <a:gd name="T3" fmla="*/ 0 h 14"/>
                <a:gd name="T4" fmla="*/ 0 w 333"/>
                <a:gd name="T5" fmla="*/ 7 h 14"/>
                <a:gd name="T6" fmla="*/ 7 w 333"/>
                <a:gd name="T7" fmla="*/ 14 h 14"/>
                <a:gd name="T8" fmla="*/ 326 w 333"/>
                <a:gd name="T9" fmla="*/ 14 h 14"/>
                <a:gd name="T10" fmla="*/ 333 w 333"/>
                <a:gd name="T11" fmla="*/ 7 h 14"/>
                <a:gd name="T12" fmla="*/ 326 w 333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14">
                  <a:moveTo>
                    <a:pt x="32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1"/>
                    <a:pt x="4" y="14"/>
                    <a:pt x="7" y="14"/>
                  </a:cubicBezTo>
                  <a:cubicBezTo>
                    <a:pt x="326" y="14"/>
                    <a:pt x="326" y="14"/>
                    <a:pt x="326" y="14"/>
                  </a:cubicBezTo>
                  <a:cubicBezTo>
                    <a:pt x="330" y="14"/>
                    <a:pt x="333" y="11"/>
                    <a:pt x="333" y="7"/>
                  </a:cubicBezTo>
                  <a:cubicBezTo>
                    <a:pt x="333" y="3"/>
                    <a:pt x="330" y="0"/>
                    <a:pt x="3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Freeform 19"/>
            <p:cNvSpPr>
              <a:spLocks/>
            </p:cNvSpPr>
            <p:nvPr/>
          </p:nvSpPr>
          <p:spPr bwMode="auto">
            <a:xfrm>
              <a:off x="636" y="1855"/>
              <a:ext cx="138" cy="6"/>
            </a:xfrm>
            <a:custGeom>
              <a:avLst/>
              <a:gdLst>
                <a:gd name="T0" fmla="*/ 326 w 333"/>
                <a:gd name="T1" fmla="*/ 0 h 14"/>
                <a:gd name="T2" fmla="*/ 7 w 333"/>
                <a:gd name="T3" fmla="*/ 0 h 14"/>
                <a:gd name="T4" fmla="*/ 0 w 333"/>
                <a:gd name="T5" fmla="*/ 7 h 14"/>
                <a:gd name="T6" fmla="*/ 7 w 333"/>
                <a:gd name="T7" fmla="*/ 14 h 14"/>
                <a:gd name="T8" fmla="*/ 326 w 333"/>
                <a:gd name="T9" fmla="*/ 14 h 14"/>
                <a:gd name="T10" fmla="*/ 333 w 333"/>
                <a:gd name="T11" fmla="*/ 7 h 14"/>
                <a:gd name="T12" fmla="*/ 326 w 333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14">
                  <a:moveTo>
                    <a:pt x="32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1"/>
                    <a:pt x="4" y="14"/>
                    <a:pt x="7" y="14"/>
                  </a:cubicBezTo>
                  <a:cubicBezTo>
                    <a:pt x="326" y="14"/>
                    <a:pt x="326" y="14"/>
                    <a:pt x="326" y="14"/>
                  </a:cubicBezTo>
                  <a:cubicBezTo>
                    <a:pt x="330" y="14"/>
                    <a:pt x="333" y="11"/>
                    <a:pt x="333" y="7"/>
                  </a:cubicBezTo>
                  <a:cubicBezTo>
                    <a:pt x="333" y="3"/>
                    <a:pt x="330" y="0"/>
                    <a:pt x="3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62" name="Group 22"/>
          <p:cNvGrpSpPr>
            <a:grpSpLocks noChangeAspect="1"/>
          </p:cNvGrpSpPr>
          <p:nvPr/>
        </p:nvGrpSpPr>
        <p:grpSpPr bwMode="auto">
          <a:xfrm>
            <a:off x="5595938" y="2863850"/>
            <a:ext cx="266700" cy="409575"/>
            <a:chOff x="3525" y="1804"/>
            <a:chExt cx="168" cy="258"/>
          </a:xfrm>
          <a:solidFill>
            <a:srgbClr val="FFFFFF"/>
          </a:solidFill>
        </p:grpSpPr>
        <p:sp>
          <p:nvSpPr>
            <p:cNvPr id="64" name="Freeform 23"/>
            <p:cNvSpPr>
              <a:spLocks noEditPoints="1"/>
            </p:cNvSpPr>
            <p:nvPr/>
          </p:nvSpPr>
          <p:spPr bwMode="auto">
            <a:xfrm>
              <a:off x="3525" y="1804"/>
              <a:ext cx="59" cy="258"/>
            </a:xfrm>
            <a:custGeom>
              <a:avLst/>
              <a:gdLst>
                <a:gd name="T0" fmla="*/ 151 w 151"/>
                <a:gd name="T1" fmla="*/ 519 h 658"/>
                <a:gd name="T2" fmla="*/ 110 w 151"/>
                <a:gd name="T3" fmla="*/ 0 h 658"/>
                <a:gd name="T4" fmla="*/ 0 w 151"/>
                <a:gd name="T5" fmla="*/ 41 h 658"/>
                <a:gd name="T6" fmla="*/ 0 w 151"/>
                <a:gd name="T7" fmla="*/ 519 h 658"/>
                <a:gd name="T8" fmla="*/ 0 w 151"/>
                <a:gd name="T9" fmla="*/ 519 h 658"/>
                <a:gd name="T10" fmla="*/ 0 w 151"/>
                <a:gd name="T11" fmla="*/ 521 h 658"/>
                <a:gd name="T12" fmla="*/ 1 w 151"/>
                <a:gd name="T13" fmla="*/ 522 h 658"/>
                <a:gd name="T14" fmla="*/ 76 w 151"/>
                <a:gd name="T15" fmla="*/ 658 h 658"/>
                <a:gd name="T16" fmla="*/ 150 w 151"/>
                <a:gd name="T17" fmla="*/ 522 h 658"/>
                <a:gd name="T18" fmla="*/ 151 w 151"/>
                <a:gd name="T19" fmla="*/ 522 h 658"/>
                <a:gd name="T20" fmla="*/ 151 w 151"/>
                <a:gd name="T21" fmla="*/ 521 h 658"/>
                <a:gd name="T22" fmla="*/ 93 w 151"/>
                <a:gd name="T23" fmla="*/ 603 h 658"/>
                <a:gd name="T24" fmla="*/ 21 w 151"/>
                <a:gd name="T25" fmla="*/ 530 h 658"/>
                <a:gd name="T26" fmla="*/ 49 w 151"/>
                <a:gd name="T27" fmla="*/ 530 h 658"/>
                <a:gd name="T28" fmla="*/ 54 w 151"/>
                <a:gd name="T29" fmla="*/ 530 h 658"/>
                <a:gd name="T30" fmla="*/ 134 w 151"/>
                <a:gd name="T31" fmla="*/ 523 h 658"/>
                <a:gd name="T32" fmla="*/ 137 w 151"/>
                <a:gd name="T33" fmla="*/ 158 h 658"/>
                <a:gd name="T34" fmla="*/ 14 w 151"/>
                <a:gd name="T35" fmla="*/ 100 h 658"/>
                <a:gd name="T36" fmla="*/ 137 w 151"/>
                <a:gd name="T37" fmla="*/ 158 h 658"/>
                <a:gd name="T38" fmla="*/ 58 w 151"/>
                <a:gd name="T39" fmla="*/ 515 h 658"/>
                <a:gd name="T40" fmla="*/ 94 w 151"/>
                <a:gd name="T41" fmla="*/ 172 h 658"/>
                <a:gd name="T42" fmla="*/ 71 w 151"/>
                <a:gd name="T43" fmla="*/ 512 h 658"/>
                <a:gd name="T44" fmla="*/ 14 w 151"/>
                <a:gd name="T45" fmla="*/ 172 h 658"/>
                <a:gd name="T46" fmla="*/ 44 w 151"/>
                <a:gd name="T47" fmla="*/ 517 h 658"/>
                <a:gd name="T48" fmla="*/ 108 w 151"/>
                <a:gd name="T49" fmla="*/ 506 h 658"/>
                <a:gd name="T50" fmla="*/ 137 w 151"/>
                <a:gd name="T51" fmla="*/ 172 h 658"/>
                <a:gd name="T52" fmla="*/ 108 w 151"/>
                <a:gd name="T53" fmla="*/ 506 h 658"/>
                <a:gd name="T54" fmla="*/ 110 w 151"/>
                <a:gd name="T55" fmla="*/ 14 h 658"/>
                <a:gd name="T56" fmla="*/ 137 w 151"/>
                <a:gd name="T57" fmla="*/ 86 h 658"/>
                <a:gd name="T58" fmla="*/ 14 w 151"/>
                <a:gd name="T59" fmla="*/ 41 h 658"/>
                <a:gd name="T60" fmla="*/ 66 w 151"/>
                <a:gd name="T61" fmla="*/ 617 h 658"/>
                <a:gd name="T62" fmla="*/ 76 w 151"/>
                <a:gd name="T63" fmla="*/ 635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" h="658">
                  <a:moveTo>
                    <a:pt x="151" y="519"/>
                  </a:moveTo>
                  <a:cubicBezTo>
                    <a:pt x="151" y="519"/>
                    <a:pt x="151" y="519"/>
                    <a:pt x="151" y="519"/>
                  </a:cubicBezTo>
                  <a:cubicBezTo>
                    <a:pt x="151" y="41"/>
                    <a:pt x="151" y="41"/>
                    <a:pt x="151" y="41"/>
                  </a:cubicBezTo>
                  <a:cubicBezTo>
                    <a:pt x="151" y="18"/>
                    <a:pt x="133" y="0"/>
                    <a:pt x="11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0" y="520"/>
                    <a:pt x="0" y="520"/>
                    <a:pt x="0" y="520"/>
                  </a:cubicBezTo>
                  <a:cubicBezTo>
                    <a:pt x="0" y="521"/>
                    <a:pt x="0" y="521"/>
                    <a:pt x="0" y="521"/>
                  </a:cubicBezTo>
                  <a:cubicBezTo>
                    <a:pt x="0" y="521"/>
                    <a:pt x="0" y="522"/>
                    <a:pt x="0" y="522"/>
                  </a:cubicBezTo>
                  <a:cubicBezTo>
                    <a:pt x="1" y="522"/>
                    <a:pt x="1" y="522"/>
                    <a:pt x="1" y="522"/>
                  </a:cubicBezTo>
                  <a:cubicBezTo>
                    <a:pt x="69" y="654"/>
                    <a:pt x="69" y="654"/>
                    <a:pt x="69" y="654"/>
                  </a:cubicBezTo>
                  <a:cubicBezTo>
                    <a:pt x="71" y="656"/>
                    <a:pt x="73" y="658"/>
                    <a:pt x="76" y="658"/>
                  </a:cubicBezTo>
                  <a:cubicBezTo>
                    <a:pt x="78" y="658"/>
                    <a:pt x="81" y="656"/>
                    <a:pt x="82" y="654"/>
                  </a:cubicBezTo>
                  <a:cubicBezTo>
                    <a:pt x="150" y="522"/>
                    <a:pt x="150" y="522"/>
                    <a:pt x="150" y="522"/>
                  </a:cubicBezTo>
                  <a:cubicBezTo>
                    <a:pt x="151" y="522"/>
                    <a:pt x="151" y="522"/>
                    <a:pt x="151" y="522"/>
                  </a:cubicBezTo>
                  <a:cubicBezTo>
                    <a:pt x="151" y="522"/>
                    <a:pt x="151" y="522"/>
                    <a:pt x="151" y="522"/>
                  </a:cubicBezTo>
                  <a:cubicBezTo>
                    <a:pt x="151" y="522"/>
                    <a:pt x="151" y="521"/>
                    <a:pt x="151" y="521"/>
                  </a:cubicBezTo>
                  <a:cubicBezTo>
                    <a:pt x="151" y="521"/>
                    <a:pt x="151" y="521"/>
                    <a:pt x="151" y="521"/>
                  </a:cubicBezTo>
                  <a:cubicBezTo>
                    <a:pt x="151" y="520"/>
                    <a:pt x="151" y="520"/>
                    <a:pt x="151" y="519"/>
                  </a:cubicBezTo>
                  <a:close/>
                  <a:moveTo>
                    <a:pt x="93" y="603"/>
                  </a:moveTo>
                  <a:cubicBezTo>
                    <a:pt x="58" y="603"/>
                    <a:pt x="58" y="603"/>
                    <a:pt x="58" y="603"/>
                  </a:cubicBezTo>
                  <a:cubicBezTo>
                    <a:pt x="21" y="530"/>
                    <a:pt x="21" y="530"/>
                    <a:pt x="21" y="530"/>
                  </a:cubicBezTo>
                  <a:cubicBezTo>
                    <a:pt x="25" y="531"/>
                    <a:pt x="29" y="531"/>
                    <a:pt x="34" y="531"/>
                  </a:cubicBezTo>
                  <a:cubicBezTo>
                    <a:pt x="39" y="531"/>
                    <a:pt x="44" y="531"/>
                    <a:pt x="49" y="530"/>
                  </a:cubicBezTo>
                  <a:cubicBezTo>
                    <a:pt x="50" y="530"/>
                    <a:pt x="50" y="530"/>
                    <a:pt x="51" y="530"/>
                  </a:cubicBezTo>
                  <a:cubicBezTo>
                    <a:pt x="52" y="530"/>
                    <a:pt x="53" y="530"/>
                    <a:pt x="54" y="530"/>
                  </a:cubicBezTo>
                  <a:cubicBezTo>
                    <a:pt x="60" y="528"/>
                    <a:pt x="67" y="527"/>
                    <a:pt x="74" y="526"/>
                  </a:cubicBezTo>
                  <a:cubicBezTo>
                    <a:pt x="95" y="521"/>
                    <a:pt x="114" y="517"/>
                    <a:pt x="134" y="523"/>
                  </a:cubicBezTo>
                  <a:lnTo>
                    <a:pt x="93" y="603"/>
                  </a:lnTo>
                  <a:close/>
                  <a:moveTo>
                    <a:pt x="137" y="158"/>
                  </a:moveTo>
                  <a:cubicBezTo>
                    <a:pt x="14" y="158"/>
                    <a:pt x="14" y="158"/>
                    <a:pt x="14" y="158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37" y="100"/>
                    <a:pt x="137" y="100"/>
                    <a:pt x="137" y="100"/>
                  </a:cubicBezTo>
                  <a:lnTo>
                    <a:pt x="137" y="158"/>
                  </a:lnTo>
                  <a:close/>
                  <a:moveTo>
                    <a:pt x="71" y="512"/>
                  </a:moveTo>
                  <a:cubicBezTo>
                    <a:pt x="66" y="513"/>
                    <a:pt x="62" y="514"/>
                    <a:pt x="58" y="515"/>
                  </a:cubicBezTo>
                  <a:cubicBezTo>
                    <a:pt x="58" y="172"/>
                    <a:pt x="58" y="172"/>
                    <a:pt x="58" y="172"/>
                  </a:cubicBezTo>
                  <a:cubicBezTo>
                    <a:pt x="94" y="172"/>
                    <a:pt x="94" y="172"/>
                    <a:pt x="94" y="172"/>
                  </a:cubicBezTo>
                  <a:cubicBezTo>
                    <a:pt x="94" y="507"/>
                    <a:pt x="94" y="507"/>
                    <a:pt x="94" y="507"/>
                  </a:cubicBezTo>
                  <a:cubicBezTo>
                    <a:pt x="86" y="509"/>
                    <a:pt x="78" y="510"/>
                    <a:pt x="71" y="512"/>
                  </a:cubicBezTo>
                  <a:close/>
                  <a:moveTo>
                    <a:pt x="14" y="514"/>
                  </a:moveTo>
                  <a:cubicBezTo>
                    <a:pt x="14" y="172"/>
                    <a:pt x="14" y="172"/>
                    <a:pt x="14" y="172"/>
                  </a:cubicBezTo>
                  <a:cubicBezTo>
                    <a:pt x="44" y="172"/>
                    <a:pt x="44" y="172"/>
                    <a:pt x="44" y="172"/>
                  </a:cubicBezTo>
                  <a:cubicBezTo>
                    <a:pt x="44" y="517"/>
                    <a:pt x="44" y="517"/>
                    <a:pt x="44" y="517"/>
                  </a:cubicBezTo>
                  <a:cubicBezTo>
                    <a:pt x="33" y="518"/>
                    <a:pt x="23" y="517"/>
                    <a:pt x="14" y="514"/>
                  </a:cubicBezTo>
                  <a:close/>
                  <a:moveTo>
                    <a:pt x="108" y="506"/>
                  </a:moveTo>
                  <a:cubicBezTo>
                    <a:pt x="108" y="172"/>
                    <a:pt x="108" y="172"/>
                    <a:pt x="108" y="172"/>
                  </a:cubicBezTo>
                  <a:cubicBezTo>
                    <a:pt x="137" y="172"/>
                    <a:pt x="137" y="172"/>
                    <a:pt x="137" y="172"/>
                  </a:cubicBezTo>
                  <a:cubicBezTo>
                    <a:pt x="137" y="509"/>
                    <a:pt x="137" y="509"/>
                    <a:pt x="137" y="509"/>
                  </a:cubicBezTo>
                  <a:cubicBezTo>
                    <a:pt x="127" y="506"/>
                    <a:pt x="117" y="505"/>
                    <a:pt x="108" y="506"/>
                  </a:cubicBezTo>
                  <a:close/>
                  <a:moveTo>
                    <a:pt x="41" y="14"/>
                  </a:moveTo>
                  <a:cubicBezTo>
                    <a:pt x="110" y="14"/>
                    <a:pt x="110" y="14"/>
                    <a:pt x="110" y="14"/>
                  </a:cubicBezTo>
                  <a:cubicBezTo>
                    <a:pt x="125" y="14"/>
                    <a:pt x="137" y="26"/>
                    <a:pt x="137" y="41"/>
                  </a:cubicBezTo>
                  <a:cubicBezTo>
                    <a:pt x="137" y="86"/>
                    <a:pt x="137" y="86"/>
                    <a:pt x="137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26"/>
                    <a:pt x="26" y="14"/>
                    <a:pt x="41" y="14"/>
                  </a:cubicBezTo>
                  <a:close/>
                  <a:moveTo>
                    <a:pt x="66" y="617"/>
                  </a:moveTo>
                  <a:cubicBezTo>
                    <a:pt x="85" y="617"/>
                    <a:pt x="85" y="617"/>
                    <a:pt x="85" y="617"/>
                  </a:cubicBezTo>
                  <a:cubicBezTo>
                    <a:pt x="76" y="635"/>
                    <a:pt x="76" y="635"/>
                    <a:pt x="76" y="635"/>
                  </a:cubicBezTo>
                  <a:lnTo>
                    <a:pt x="66" y="6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24"/>
            <p:cNvSpPr>
              <a:spLocks noEditPoints="1"/>
            </p:cNvSpPr>
            <p:nvPr/>
          </p:nvSpPr>
          <p:spPr bwMode="auto">
            <a:xfrm>
              <a:off x="3618" y="1804"/>
              <a:ext cx="75" cy="258"/>
            </a:xfrm>
            <a:custGeom>
              <a:avLst/>
              <a:gdLst>
                <a:gd name="T0" fmla="*/ 183 w 190"/>
                <a:gd name="T1" fmla="*/ 0 h 658"/>
                <a:gd name="T2" fmla="*/ 7 w 190"/>
                <a:gd name="T3" fmla="*/ 0 h 658"/>
                <a:gd name="T4" fmla="*/ 0 w 190"/>
                <a:gd name="T5" fmla="*/ 7 h 658"/>
                <a:gd name="T6" fmla="*/ 0 w 190"/>
                <a:gd name="T7" fmla="*/ 651 h 658"/>
                <a:gd name="T8" fmla="*/ 7 w 190"/>
                <a:gd name="T9" fmla="*/ 658 h 658"/>
                <a:gd name="T10" fmla="*/ 183 w 190"/>
                <a:gd name="T11" fmla="*/ 658 h 658"/>
                <a:gd name="T12" fmla="*/ 190 w 190"/>
                <a:gd name="T13" fmla="*/ 651 h 658"/>
                <a:gd name="T14" fmla="*/ 190 w 190"/>
                <a:gd name="T15" fmla="*/ 7 h 658"/>
                <a:gd name="T16" fmla="*/ 183 w 190"/>
                <a:gd name="T17" fmla="*/ 0 h 658"/>
                <a:gd name="T18" fmla="*/ 14 w 190"/>
                <a:gd name="T19" fmla="*/ 644 h 658"/>
                <a:gd name="T20" fmla="*/ 14 w 190"/>
                <a:gd name="T21" fmla="*/ 14 h 658"/>
                <a:gd name="T22" fmla="*/ 176 w 190"/>
                <a:gd name="T23" fmla="*/ 14 h 658"/>
                <a:gd name="T24" fmla="*/ 176 w 190"/>
                <a:gd name="T25" fmla="*/ 66 h 658"/>
                <a:gd name="T26" fmla="*/ 116 w 190"/>
                <a:gd name="T27" fmla="*/ 66 h 658"/>
                <a:gd name="T28" fmla="*/ 109 w 190"/>
                <a:gd name="T29" fmla="*/ 73 h 658"/>
                <a:gd name="T30" fmla="*/ 116 w 190"/>
                <a:gd name="T31" fmla="*/ 80 h 658"/>
                <a:gd name="T32" fmla="*/ 176 w 190"/>
                <a:gd name="T33" fmla="*/ 80 h 658"/>
                <a:gd name="T34" fmla="*/ 176 w 190"/>
                <a:gd name="T35" fmla="*/ 139 h 658"/>
                <a:gd name="T36" fmla="*/ 95 w 190"/>
                <a:gd name="T37" fmla="*/ 139 h 658"/>
                <a:gd name="T38" fmla="*/ 88 w 190"/>
                <a:gd name="T39" fmla="*/ 146 h 658"/>
                <a:gd name="T40" fmla="*/ 95 w 190"/>
                <a:gd name="T41" fmla="*/ 153 h 658"/>
                <a:gd name="T42" fmla="*/ 176 w 190"/>
                <a:gd name="T43" fmla="*/ 153 h 658"/>
                <a:gd name="T44" fmla="*/ 176 w 190"/>
                <a:gd name="T45" fmla="*/ 212 h 658"/>
                <a:gd name="T46" fmla="*/ 116 w 190"/>
                <a:gd name="T47" fmla="*/ 212 h 658"/>
                <a:gd name="T48" fmla="*/ 109 w 190"/>
                <a:gd name="T49" fmla="*/ 219 h 658"/>
                <a:gd name="T50" fmla="*/ 116 w 190"/>
                <a:gd name="T51" fmla="*/ 226 h 658"/>
                <a:gd name="T52" fmla="*/ 176 w 190"/>
                <a:gd name="T53" fmla="*/ 226 h 658"/>
                <a:gd name="T54" fmla="*/ 176 w 190"/>
                <a:gd name="T55" fmla="*/ 284 h 658"/>
                <a:gd name="T56" fmla="*/ 95 w 190"/>
                <a:gd name="T57" fmla="*/ 284 h 658"/>
                <a:gd name="T58" fmla="*/ 88 w 190"/>
                <a:gd name="T59" fmla="*/ 291 h 658"/>
                <a:gd name="T60" fmla="*/ 95 w 190"/>
                <a:gd name="T61" fmla="*/ 298 h 658"/>
                <a:gd name="T62" fmla="*/ 176 w 190"/>
                <a:gd name="T63" fmla="*/ 298 h 658"/>
                <a:gd name="T64" fmla="*/ 176 w 190"/>
                <a:gd name="T65" fmla="*/ 357 h 658"/>
                <a:gd name="T66" fmla="*/ 116 w 190"/>
                <a:gd name="T67" fmla="*/ 357 h 658"/>
                <a:gd name="T68" fmla="*/ 109 w 190"/>
                <a:gd name="T69" fmla="*/ 364 h 658"/>
                <a:gd name="T70" fmla="*/ 116 w 190"/>
                <a:gd name="T71" fmla="*/ 371 h 658"/>
                <a:gd name="T72" fmla="*/ 176 w 190"/>
                <a:gd name="T73" fmla="*/ 371 h 658"/>
                <a:gd name="T74" fmla="*/ 176 w 190"/>
                <a:gd name="T75" fmla="*/ 429 h 658"/>
                <a:gd name="T76" fmla="*/ 95 w 190"/>
                <a:gd name="T77" fmla="*/ 429 h 658"/>
                <a:gd name="T78" fmla="*/ 88 w 190"/>
                <a:gd name="T79" fmla="*/ 436 h 658"/>
                <a:gd name="T80" fmla="*/ 95 w 190"/>
                <a:gd name="T81" fmla="*/ 443 h 658"/>
                <a:gd name="T82" fmla="*/ 176 w 190"/>
                <a:gd name="T83" fmla="*/ 443 h 658"/>
                <a:gd name="T84" fmla="*/ 176 w 190"/>
                <a:gd name="T85" fmla="*/ 502 h 658"/>
                <a:gd name="T86" fmla="*/ 116 w 190"/>
                <a:gd name="T87" fmla="*/ 502 h 658"/>
                <a:gd name="T88" fmla="*/ 109 w 190"/>
                <a:gd name="T89" fmla="*/ 509 h 658"/>
                <a:gd name="T90" fmla="*/ 116 w 190"/>
                <a:gd name="T91" fmla="*/ 516 h 658"/>
                <a:gd name="T92" fmla="*/ 176 w 190"/>
                <a:gd name="T93" fmla="*/ 516 h 658"/>
                <a:gd name="T94" fmla="*/ 176 w 190"/>
                <a:gd name="T95" fmla="*/ 574 h 658"/>
                <a:gd name="T96" fmla="*/ 95 w 190"/>
                <a:gd name="T97" fmla="*/ 574 h 658"/>
                <a:gd name="T98" fmla="*/ 88 w 190"/>
                <a:gd name="T99" fmla="*/ 581 h 658"/>
                <a:gd name="T100" fmla="*/ 95 w 190"/>
                <a:gd name="T101" fmla="*/ 588 h 658"/>
                <a:gd name="T102" fmla="*/ 176 w 190"/>
                <a:gd name="T103" fmla="*/ 588 h 658"/>
                <a:gd name="T104" fmla="*/ 176 w 190"/>
                <a:gd name="T105" fmla="*/ 644 h 658"/>
                <a:gd name="T106" fmla="*/ 14 w 190"/>
                <a:gd name="T107" fmla="*/ 644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0" h="658">
                  <a:moveTo>
                    <a:pt x="183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651"/>
                    <a:pt x="0" y="651"/>
                    <a:pt x="0" y="651"/>
                  </a:cubicBezTo>
                  <a:cubicBezTo>
                    <a:pt x="0" y="654"/>
                    <a:pt x="3" y="658"/>
                    <a:pt x="7" y="658"/>
                  </a:cubicBezTo>
                  <a:cubicBezTo>
                    <a:pt x="183" y="658"/>
                    <a:pt x="183" y="658"/>
                    <a:pt x="183" y="658"/>
                  </a:cubicBezTo>
                  <a:cubicBezTo>
                    <a:pt x="187" y="658"/>
                    <a:pt x="190" y="654"/>
                    <a:pt x="190" y="651"/>
                  </a:cubicBezTo>
                  <a:cubicBezTo>
                    <a:pt x="190" y="7"/>
                    <a:pt x="190" y="7"/>
                    <a:pt x="190" y="7"/>
                  </a:cubicBezTo>
                  <a:cubicBezTo>
                    <a:pt x="190" y="3"/>
                    <a:pt x="187" y="0"/>
                    <a:pt x="183" y="0"/>
                  </a:cubicBezTo>
                  <a:close/>
                  <a:moveTo>
                    <a:pt x="14" y="644"/>
                  </a:moveTo>
                  <a:cubicBezTo>
                    <a:pt x="14" y="14"/>
                    <a:pt x="14" y="14"/>
                    <a:pt x="14" y="14"/>
                  </a:cubicBezTo>
                  <a:cubicBezTo>
                    <a:pt x="176" y="14"/>
                    <a:pt x="176" y="14"/>
                    <a:pt x="176" y="14"/>
                  </a:cubicBezTo>
                  <a:cubicBezTo>
                    <a:pt x="176" y="66"/>
                    <a:pt x="176" y="66"/>
                    <a:pt x="176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2" y="66"/>
                    <a:pt x="109" y="70"/>
                    <a:pt x="109" y="73"/>
                  </a:cubicBezTo>
                  <a:cubicBezTo>
                    <a:pt x="109" y="77"/>
                    <a:pt x="112" y="80"/>
                    <a:pt x="116" y="80"/>
                  </a:cubicBezTo>
                  <a:cubicBezTo>
                    <a:pt x="176" y="80"/>
                    <a:pt x="176" y="80"/>
                    <a:pt x="176" y="80"/>
                  </a:cubicBezTo>
                  <a:cubicBezTo>
                    <a:pt x="176" y="139"/>
                    <a:pt x="176" y="139"/>
                    <a:pt x="176" y="139"/>
                  </a:cubicBezTo>
                  <a:cubicBezTo>
                    <a:pt x="95" y="139"/>
                    <a:pt x="95" y="139"/>
                    <a:pt x="95" y="139"/>
                  </a:cubicBezTo>
                  <a:cubicBezTo>
                    <a:pt x="91" y="139"/>
                    <a:pt x="88" y="142"/>
                    <a:pt x="88" y="146"/>
                  </a:cubicBezTo>
                  <a:cubicBezTo>
                    <a:pt x="88" y="150"/>
                    <a:pt x="91" y="153"/>
                    <a:pt x="95" y="153"/>
                  </a:cubicBezTo>
                  <a:cubicBezTo>
                    <a:pt x="176" y="153"/>
                    <a:pt x="176" y="153"/>
                    <a:pt x="176" y="153"/>
                  </a:cubicBezTo>
                  <a:cubicBezTo>
                    <a:pt x="176" y="212"/>
                    <a:pt x="176" y="212"/>
                    <a:pt x="176" y="212"/>
                  </a:cubicBezTo>
                  <a:cubicBezTo>
                    <a:pt x="116" y="212"/>
                    <a:pt x="116" y="212"/>
                    <a:pt x="116" y="212"/>
                  </a:cubicBezTo>
                  <a:cubicBezTo>
                    <a:pt x="112" y="212"/>
                    <a:pt x="109" y="215"/>
                    <a:pt x="109" y="219"/>
                  </a:cubicBezTo>
                  <a:cubicBezTo>
                    <a:pt x="109" y="222"/>
                    <a:pt x="112" y="226"/>
                    <a:pt x="116" y="226"/>
                  </a:cubicBezTo>
                  <a:cubicBezTo>
                    <a:pt x="176" y="226"/>
                    <a:pt x="176" y="226"/>
                    <a:pt x="176" y="226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95" y="284"/>
                    <a:pt x="95" y="284"/>
                    <a:pt x="95" y="284"/>
                  </a:cubicBezTo>
                  <a:cubicBezTo>
                    <a:pt x="91" y="284"/>
                    <a:pt x="88" y="287"/>
                    <a:pt x="88" y="291"/>
                  </a:cubicBezTo>
                  <a:cubicBezTo>
                    <a:pt x="88" y="295"/>
                    <a:pt x="91" y="298"/>
                    <a:pt x="95" y="298"/>
                  </a:cubicBezTo>
                  <a:cubicBezTo>
                    <a:pt x="176" y="298"/>
                    <a:pt x="176" y="298"/>
                    <a:pt x="176" y="298"/>
                  </a:cubicBezTo>
                  <a:cubicBezTo>
                    <a:pt x="176" y="357"/>
                    <a:pt x="176" y="357"/>
                    <a:pt x="176" y="357"/>
                  </a:cubicBezTo>
                  <a:cubicBezTo>
                    <a:pt x="116" y="357"/>
                    <a:pt x="116" y="357"/>
                    <a:pt x="116" y="357"/>
                  </a:cubicBezTo>
                  <a:cubicBezTo>
                    <a:pt x="112" y="357"/>
                    <a:pt x="109" y="360"/>
                    <a:pt x="109" y="364"/>
                  </a:cubicBezTo>
                  <a:cubicBezTo>
                    <a:pt x="109" y="368"/>
                    <a:pt x="112" y="371"/>
                    <a:pt x="116" y="371"/>
                  </a:cubicBezTo>
                  <a:cubicBezTo>
                    <a:pt x="176" y="371"/>
                    <a:pt x="176" y="371"/>
                    <a:pt x="176" y="371"/>
                  </a:cubicBezTo>
                  <a:cubicBezTo>
                    <a:pt x="176" y="429"/>
                    <a:pt x="176" y="429"/>
                    <a:pt x="176" y="429"/>
                  </a:cubicBezTo>
                  <a:cubicBezTo>
                    <a:pt x="95" y="429"/>
                    <a:pt x="95" y="429"/>
                    <a:pt x="95" y="429"/>
                  </a:cubicBezTo>
                  <a:cubicBezTo>
                    <a:pt x="91" y="429"/>
                    <a:pt x="88" y="432"/>
                    <a:pt x="88" y="436"/>
                  </a:cubicBezTo>
                  <a:cubicBezTo>
                    <a:pt x="88" y="440"/>
                    <a:pt x="91" y="443"/>
                    <a:pt x="95" y="443"/>
                  </a:cubicBezTo>
                  <a:cubicBezTo>
                    <a:pt x="176" y="443"/>
                    <a:pt x="176" y="443"/>
                    <a:pt x="176" y="443"/>
                  </a:cubicBezTo>
                  <a:cubicBezTo>
                    <a:pt x="176" y="502"/>
                    <a:pt x="176" y="502"/>
                    <a:pt x="176" y="502"/>
                  </a:cubicBezTo>
                  <a:cubicBezTo>
                    <a:pt x="116" y="502"/>
                    <a:pt x="116" y="502"/>
                    <a:pt x="116" y="502"/>
                  </a:cubicBezTo>
                  <a:cubicBezTo>
                    <a:pt x="112" y="502"/>
                    <a:pt x="109" y="505"/>
                    <a:pt x="109" y="509"/>
                  </a:cubicBezTo>
                  <a:cubicBezTo>
                    <a:pt x="109" y="513"/>
                    <a:pt x="112" y="516"/>
                    <a:pt x="116" y="516"/>
                  </a:cubicBezTo>
                  <a:cubicBezTo>
                    <a:pt x="176" y="516"/>
                    <a:pt x="176" y="516"/>
                    <a:pt x="176" y="516"/>
                  </a:cubicBezTo>
                  <a:cubicBezTo>
                    <a:pt x="176" y="574"/>
                    <a:pt x="176" y="574"/>
                    <a:pt x="176" y="574"/>
                  </a:cubicBezTo>
                  <a:cubicBezTo>
                    <a:pt x="95" y="574"/>
                    <a:pt x="95" y="574"/>
                    <a:pt x="95" y="574"/>
                  </a:cubicBezTo>
                  <a:cubicBezTo>
                    <a:pt x="91" y="574"/>
                    <a:pt x="88" y="577"/>
                    <a:pt x="88" y="581"/>
                  </a:cubicBezTo>
                  <a:cubicBezTo>
                    <a:pt x="88" y="585"/>
                    <a:pt x="91" y="588"/>
                    <a:pt x="95" y="588"/>
                  </a:cubicBezTo>
                  <a:cubicBezTo>
                    <a:pt x="176" y="588"/>
                    <a:pt x="176" y="588"/>
                    <a:pt x="176" y="588"/>
                  </a:cubicBezTo>
                  <a:cubicBezTo>
                    <a:pt x="176" y="644"/>
                    <a:pt x="176" y="644"/>
                    <a:pt x="176" y="644"/>
                  </a:cubicBezTo>
                  <a:lnTo>
                    <a:pt x="14" y="6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68" name="Freeform 28"/>
          <p:cNvSpPr>
            <a:spLocks noEditPoints="1"/>
          </p:cNvSpPr>
          <p:nvPr/>
        </p:nvSpPr>
        <p:spPr bwMode="auto">
          <a:xfrm>
            <a:off x="7824788" y="2924176"/>
            <a:ext cx="400050" cy="288925"/>
          </a:xfrm>
          <a:custGeom>
            <a:avLst/>
            <a:gdLst>
              <a:gd name="T0" fmla="*/ 611 w 618"/>
              <a:gd name="T1" fmla="*/ 447 h 447"/>
              <a:gd name="T2" fmla="*/ 450 w 618"/>
              <a:gd name="T3" fmla="*/ 447 h 447"/>
              <a:gd name="T4" fmla="*/ 443 w 618"/>
              <a:gd name="T5" fmla="*/ 440 h 447"/>
              <a:gd name="T6" fmla="*/ 443 w 618"/>
              <a:gd name="T7" fmla="*/ 7 h 447"/>
              <a:gd name="T8" fmla="*/ 450 w 618"/>
              <a:gd name="T9" fmla="*/ 0 h 447"/>
              <a:gd name="T10" fmla="*/ 611 w 618"/>
              <a:gd name="T11" fmla="*/ 0 h 447"/>
              <a:gd name="T12" fmla="*/ 618 w 618"/>
              <a:gd name="T13" fmla="*/ 7 h 447"/>
              <a:gd name="T14" fmla="*/ 618 w 618"/>
              <a:gd name="T15" fmla="*/ 440 h 447"/>
              <a:gd name="T16" fmla="*/ 611 w 618"/>
              <a:gd name="T17" fmla="*/ 447 h 447"/>
              <a:gd name="T18" fmla="*/ 457 w 618"/>
              <a:gd name="T19" fmla="*/ 433 h 447"/>
              <a:gd name="T20" fmla="*/ 604 w 618"/>
              <a:gd name="T21" fmla="*/ 433 h 447"/>
              <a:gd name="T22" fmla="*/ 604 w 618"/>
              <a:gd name="T23" fmla="*/ 14 h 447"/>
              <a:gd name="T24" fmla="*/ 457 w 618"/>
              <a:gd name="T25" fmla="*/ 14 h 447"/>
              <a:gd name="T26" fmla="*/ 457 w 618"/>
              <a:gd name="T27" fmla="*/ 433 h 447"/>
              <a:gd name="T28" fmla="*/ 389 w 618"/>
              <a:gd name="T29" fmla="*/ 447 h 447"/>
              <a:gd name="T30" fmla="*/ 228 w 618"/>
              <a:gd name="T31" fmla="*/ 447 h 447"/>
              <a:gd name="T32" fmla="*/ 221 w 618"/>
              <a:gd name="T33" fmla="*/ 440 h 447"/>
              <a:gd name="T34" fmla="*/ 221 w 618"/>
              <a:gd name="T35" fmla="*/ 110 h 447"/>
              <a:gd name="T36" fmla="*/ 228 w 618"/>
              <a:gd name="T37" fmla="*/ 103 h 447"/>
              <a:gd name="T38" fmla="*/ 389 w 618"/>
              <a:gd name="T39" fmla="*/ 103 h 447"/>
              <a:gd name="T40" fmla="*/ 396 w 618"/>
              <a:gd name="T41" fmla="*/ 110 h 447"/>
              <a:gd name="T42" fmla="*/ 396 w 618"/>
              <a:gd name="T43" fmla="*/ 440 h 447"/>
              <a:gd name="T44" fmla="*/ 389 w 618"/>
              <a:gd name="T45" fmla="*/ 447 h 447"/>
              <a:gd name="T46" fmla="*/ 235 w 618"/>
              <a:gd name="T47" fmla="*/ 433 h 447"/>
              <a:gd name="T48" fmla="*/ 382 w 618"/>
              <a:gd name="T49" fmla="*/ 433 h 447"/>
              <a:gd name="T50" fmla="*/ 382 w 618"/>
              <a:gd name="T51" fmla="*/ 117 h 447"/>
              <a:gd name="T52" fmla="*/ 235 w 618"/>
              <a:gd name="T53" fmla="*/ 117 h 447"/>
              <a:gd name="T54" fmla="*/ 235 w 618"/>
              <a:gd name="T55" fmla="*/ 433 h 447"/>
              <a:gd name="T56" fmla="*/ 168 w 618"/>
              <a:gd name="T57" fmla="*/ 447 h 447"/>
              <a:gd name="T58" fmla="*/ 7 w 618"/>
              <a:gd name="T59" fmla="*/ 447 h 447"/>
              <a:gd name="T60" fmla="*/ 0 w 618"/>
              <a:gd name="T61" fmla="*/ 440 h 447"/>
              <a:gd name="T62" fmla="*/ 0 w 618"/>
              <a:gd name="T63" fmla="*/ 224 h 447"/>
              <a:gd name="T64" fmla="*/ 7 w 618"/>
              <a:gd name="T65" fmla="*/ 217 h 447"/>
              <a:gd name="T66" fmla="*/ 168 w 618"/>
              <a:gd name="T67" fmla="*/ 217 h 447"/>
              <a:gd name="T68" fmla="*/ 175 w 618"/>
              <a:gd name="T69" fmla="*/ 224 h 447"/>
              <a:gd name="T70" fmla="*/ 175 w 618"/>
              <a:gd name="T71" fmla="*/ 440 h 447"/>
              <a:gd name="T72" fmla="*/ 168 w 618"/>
              <a:gd name="T73" fmla="*/ 447 h 447"/>
              <a:gd name="T74" fmla="*/ 14 w 618"/>
              <a:gd name="T75" fmla="*/ 433 h 447"/>
              <a:gd name="T76" fmla="*/ 161 w 618"/>
              <a:gd name="T77" fmla="*/ 433 h 447"/>
              <a:gd name="T78" fmla="*/ 161 w 618"/>
              <a:gd name="T79" fmla="*/ 231 h 447"/>
              <a:gd name="T80" fmla="*/ 14 w 618"/>
              <a:gd name="T81" fmla="*/ 231 h 447"/>
              <a:gd name="T82" fmla="*/ 14 w 618"/>
              <a:gd name="T83" fmla="*/ 433 h 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18" h="447">
                <a:moveTo>
                  <a:pt x="611" y="447"/>
                </a:moveTo>
                <a:cubicBezTo>
                  <a:pt x="450" y="447"/>
                  <a:pt x="450" y="447"/>
                  <a:pt x="450" y="447"/>
                </a:cubicBezTo>
                <a:cubicBezTo>
                  <a:pt x="446" y="447"/>
                  <a:pt x="443" y="444"/>
                  <a:pt x="443" y="440"/>
                </a:cubicBezTo>
                <a:cubicBezTo>
                  <a:pt x="443" y="7"/>
                  <a:pt x="443" y="7"/>
                  <a:pt x="443" y="7"/>
                </a:cubicBezTo>
                <a:cubicBezTo>
                  <a:pt x="443" y="3"/>
                  <a:pt x="446" y="0"/>
                  <a:pt x="450" y="0"/>
                </a:cubicBezTo>
                <a:cubicBezTo>
                  <a:pt x="611" y="0"/>
                  <a:pt x="611" y="0"/>
                  <a:pt x="611" y="0"/>
                </a:cubicBezTo>
                <a:cubicBezTo>
                  <a:pt x="615" y="0"/>
                  <a:pt x="618" y="3"/>
                  <a:pt x="618" y="7"/>
                </a:cubicBezTo>
                <a:cubicBezTo>
                  <a:pt x="618" y="440"/>
                  <a:pt x="618" y="440"/>
                  <a:pt x="618" y="440"/>
                </a:cubicBezTo>
                <a:cubicBezTo>
                  <a:pt x="618" y="444"/>
                  <a:pt x="615" y="447"/>
                  <a:pt x="611" y="447"/>
                </a:cubicBezTo>
                <a:close/>
                <a:moveTo>
                  <a:pt x="457" y="433"/>
                </a:moveTo>
                <a:cubicBezTo>
                  <a:pt x="604" y="433"/>
                  <a:pt x="604" y="433"/>
                  <a:pt x="604" y="433"/>
                </a:cubicBezTo>
                <a:cubicBezTo>
                  <a:pt x="604" y="14"/>
                  <a:pt x="604" y="14"/>
                  <a:pt x="604" y="14"/>
                </a:cubicBezTo>
                <a:cubicBezTo>
                  <a:pt x="457" y="14"/>
                  <a:pt x="457" y="14"/>
                  <a:pt x="457" y="14"/>
                </a:cubicBezTo>
                <a:lnTo>
                  <a:pt x="457" y="433"/>
                </a:lnTo>
                <a:close/>
                <a:moveTo>
                  <a:pt x="389" y="447"/>
                </a:moveTo>
                <a:cubicBezTo>
                  <a:pt x="228" y="447"/>
                  <a:pt x="228" y="447"/>
                  <a:pt x="228" y="447"/>
                </a:cubicBezTo>
                <a:cubicBezTo>
                  <a:pt x="225" y="447"/>
                  <a:pt x="221" y="444"/>
                  <a:pt x="221" y="440"/>
                </a:cubicBezTo>
                <a:cubicBezTo>
                  <a:pt x="221" y="110"/>
                  <a:pt x="221" y="110"/>
                  <a:pt x="221" y="110"/>
                </a:cubicBezTo>
                <a:cubicBezTo>
                  <a:pt x="221" y="106"/>
                  <a:pt x="225" y="103"/>
                  <a:pt x="228" y="103"/>
                </a:cubicBezTo>
                <a:cubicBezTo>
                  <a:pt x="389" y="103"/>
                  <a:pt x="389" y="103"/>
                  <a:pt x="389" y="103"/>
                </a:cubicBezTo>
                <a:cubicBezTo>
                  <a:pt x="393" y="103"/>
                  <a:pt x="396" y="106"/>
                  <a:pt x="396" y="110"/>
                </a:cubicBezTo>
                <a:cubicBezTo>
                  <a:pt x="396" y="440"/>
                  <a:pt x="396" y="440"/>
                  <a:pt x="396" y="440"/>
                </a:cubicBezTo>
                <a:cubicBezTo>
                  <a:pt x="396" y="444"/>
                  <a:pt x="393" y="447"/>
                  <a:pt x="389" y="447"/>
                </a:cubicBezTo>
                <a:close/>
                <a:moveTo>
                  <a:pt x="235" y="433"/>
                </a:moveTo>
                <a:cubicBezTo>
                  <a:pt x="382" y="433"/>
                  <a:pt x="382" y="433"/>
                  <a:pt x="382" y="433"/>
                </a:cubicBezTo>
                <a:cubicBezTo>
                  <a:pt x="382" y="117"/>
                  <a:pt x="382" y="117"/>
                  <a:pt x="382" y="117"/>
                </a:cubicBezTo>
                <a:cubicBezTo>
                  <a:pt x="235" y="117"/>
                  <a:pt x="235" y="117"/>
                  <a:pt x="235" y="117"/>
                </a:cubicBezTo>
                <a:lnTo>
                  <a:pt x="235" y="433"/>
                </a:lnTo>
                <a:close/>
                <a:moveTo>
                  <a:pt x="168" y="447"/>
                </a:moveTo>
                <a:cubicBezTo>
                  <a:pt x="7" y="447"/>
                  <a:pt x="7" y="447"/>
                  <a:pt x="7" y="447"/>
                </a:cubicBezTo>
                <a:cubicBezTo>
                  <a:pt x="3" y="447"/>
                  <a:pt x="0" y="444"/>
                  <a:pt x="0" y="440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220"/>
                  <a:pt x="3" y="217"/>
                  <a:pt x="7" y="217"/>
                </a:cubicBezTo>
                <a:cubicBezTo>
                  <a:pt x="168" y="217"/>
                  <a:pt x="168" y="217"/>
                  <a:pt x="168" y="217"/>
                </a:cubicBezTo>
                <a:cubicBezTo>
                  <a:pt x="172" y="217"/>
                  <a:pt x="175" y="220"/>
                  <a:pt x="175" y="224"/>
                </a:cubicBezTo>
                <a:cubicBezTo>
                  <a:pt x="175" y="440"/>
                  <a:pt x="175" y="440"/>
                  <a:pt x="175" y="440"/>
                </a:cubicBezTo>
                <a:cubicBezTo>
                  <a:pt x="175" y="444"/>
                  <a:pt x="172" y="447"/>
                  <a:pt x="168" y="447"/>
                </a:cubicBezTo>
                <a:close/>
                <a:moveTo>
                  <a:pt x="14" y="433"/>
                </a:moveTo>
                <a:cubicBezTo>
                  <a:pt x="161" y="433"/>
                  <a:pt x="161" y="433"/>
                  <a:pt x="161" y="433"/>
                </a:cubicBezTo>
                <a:cubicBezTo>
                  <a:pt x="161" y="231"/>
                  <a:pt x="161" y="231"/>
                  <a:pt x="161" y="231"/>
                </a:cubicBezTo>
                <a:cubicBezTo>
                  <a:pt x="14" y="231"/>
                  <a:pt x="14" y="231"/>
                  <a:pt x="14" y="231"/>
                </a:cubicBezTo>
                <a:lnTo>
                  <a:pt x="14" y="43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66" name="Footer Placeholder 99">
            <a:extLst>
              <a:ext uri="{FF2B5EF4-FFF2-40B4-BE49-F238E27FC236}">
                <a16:creationId xmlns:a16="http://schemas.microsoft.com/office/drawing/2014/main" id="{CD084830-06DC-47D7-8539-B13FA6C14D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7" name="Slide Number Placeholder 100">
            <a:extLst>
              <a:ext uri="{FF2B5EF4-FFF2-40B4-BE49-F238E27FC236}">
                <a16:creationId xmlns:a16="http://schemas.microsoft.com/office/drawing/2014/main" id="{A9DE882C-39FD-4DEF-8DF5-63C81E43DB8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9" name="Text Placeholder 41">
            <a:extLst>
              <a:ext uri="{FF2B5EF4-FFF2-40B4-BE49-F238E27FC236}">
                <a16:creationId xmlns:a16="http://schemas.microsoft.com/office/drawing/2014/main" id="{76CAED67-1640-42E3-849D-1D5B1A5545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24620424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/>
          <p:cNvCxnSpPr/>
          <p:nvPr/>
        </p:nvCxnSpPr>
        <p:spPr>
          <a:xfrm>
            <a:off x="3456433" y="2283718"/>
            <a:ext cx="5312918" cy="0"/>
          </a:xfrm>
          <a:prstGeom prst="line">
            <a:avLst/>
          </a:prstGeom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3456433" y="2930742"/>
            <a:ext cx="5312918" cy="0"/>
          </a:xfrm>
          <a:prstGeom prst="line">
            <a:avLst/>
          </a:prstGeom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3456433" y="3577766"/>
            <a:ext cx="5312918" cy="0"/>
          </a:xfrm>
          <a:prstGeom prst="line">
            <a:avLst/>
          </a:prstGeom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30064" cy="545464"/>
          </a:xfrm>
        </p:spPr>
        <p:txBody>
          <a:bodyPr/>
          <a:lstStyle/>
          <a:p>
            <a:r>
              <a:rPr lang="en-US" dirty="0"/>
              <a:t>Foundations or building block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571111" y="1707654"/>
            <a:ext cx="2679733" cy="383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50" dirty="0" err="1"/>
              <a:t>Xxxx</a:t>
            </a:r>
            <a:r>
              <a:rPr lang="en-US" sz="1050" dirty="0"/>
              <a:t> xxx xx x </a:t>
            </a:r>
            <a:r>
              <a:rPr lang="en-US" sz="1050" dirty="0" err="1"/>
              <a:t>xxxxxx</a:t>
            </a:r>
            <a:r>
              <a:rPr lang="en-US" sz="1050" dirty="0"/>
              <a:t> xx </a:t>
            </a:r>
            <a:r>
              <a:rPr lang="en-US" sz="1050" dirty="0" err="1"/>
              <a:t>xxxxx</a:t>
            </a:r>
            <a:r>
              <a:rPr lang="en-US" sz="1050" dirty="0"/>
              <a:t> xx. Xx </a:t>
            </a:r>
            <a:r>
              <a:rPr lang="en-US" sz="1050" dirty="0" err="1"/>
              <a:t>xxxx</a:t>
            </a:r>
            <a:r>
              <a:rPr lang="en-US" sz="1050" dirty="0"/>
              <a:t> x </a:t>
            </a:r>
            <a:r>
              <a:rPr lang="en-US" sz="1050" dirty="0" err="1"/>
              <a:t>xxxxxxxx</a:t>
            </a:r>
            <a:r>
              <a:rPr lang="en-US" sz="1050" dirty="0"/>
              <a:t> xx </a:t>
            </a:r>
            <a:r>
              <a:rPr lang="en-US" sz="1050" dirty="0" err="1"/>
              <a:t>xxxx</a:t>
            </a:r>
            <a:r>
              <a:rPr lang="en-US" sz="1050" dirty="0"/>
              <a:t> </a:t>
            </a:r>
            <a:r>
              <a:rPr lang="en-US" sz="1050" dirty="0" err="1"/>
              <a:t>xxxxxxx</a:t>
            </a:r>
            <a:r>
              <a:rPr lang="en-US" sz="1050" dirty="0"/>
              <a:t> xxx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571111" y="2340940"/>
            <a:ext cx="2841751" cy="383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50" dirty="0" err="1"/>
              <a:t>Xxxxxxxxxxxxxxx</a:t>
            </a:r>
            <a:r>
              <a:rPr lang="en-US" sz="1050" dirty="0"/>
              <a:t> </a:t>
            </a:r>
            <a:r>
              <a:rPr lang="en-US" sz="1050" dirty="0" err="1"/>
              <a:t>xxxxxxxxxxxxxxx</a:t>
            </a:r>
            <a:r>
              <a:rPr lang="en-US" sz="1050" dirty="0"/>
              <a:t> x </a:t>
            </a:r>
            <a:r>
              <a:rPr lang="en-US" sz="1050" dirty="0" err="1"/>
              <a:t>xxxxxxxxxxx</a:t>
            </a:r>
            <a:r>
              <a:rPr lang="en-US" sz="1050" dirty="0"/>
              <a:t> xxx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571111" y="2987964"/>
            <a:ext cx="2679732" cy="383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50" dirty="0" err="1"/>
              <a:t>Xxxxxx</a:t>
            </a:r>
            <a:r>
              <a:rPr lang="en-US" sz="1050" dirty="0"/>
              <a:t> </a:t>
            </a:r>
            <a:r>
              <a:rPr lang="en-US" sz="1050" dirty="0" err="1"/>
              <a:t>xxxxxxxx</a:t>
            </a:r>
            <a:r>
              <a:rPr lang="en-US" sz="1050" dirty="0"/>
              <a:t> x </a:t>
            </a:r>
            <a:r>
              <a:rPr lang="en-US" sz="1050" dirty="0" err="1"/>
              <a:t>xxxxxx</a:t>
            </a:r>
            <a:r>
              <a:rPr lang="en-US" sz="1050" dirty="0"/>
              <a:t> </a:t>
            </a:r>
            <a:r>
              <a:rPr lang="en-US" sz="1050" dirty="0" err="1"/>
              <a:t>xx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571111" y="3619092"/>
            <a:ext cx="2841751" cy="383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50" dirty="0" err="1"/>
              <a:t>Xxxxxx</a:t>
            </a:r>
            <a:r>
              <a:rPr lang="en-US" sz="1050" dirty="0"/>
              <a:t> </a:t>
            </a:r>
            <a:r>
              <a:rPr lang="en-US" sz="1050" dirty="0" err="1"/>
              <a:t>xxxxxxxxxxx</a:t>
            </a:r>
            <a:r>
              <a:rPr lang="en-US" sz="1050" dirty="0"/>
              <a:t> xxx </a:t>
            </a:r>
            <a:r>
              <a:rPr lang="en-US" sz="1050" dirty="0" err="1"/>
              <a:t>xxxx</a:t>
            </a:r>
            <a:r>
              <a:rPr lang="en-US" sz="1050" dirty="0"/>
              <a:t> </a:t>
            </a:r>
            <a:r>
              <a:rPr lang="en-US" sz="1050" dirty="0" err="1"/>
              <a:t>xxxxxxxxxxxxxxxxxxxxxxxx</a:t>
            </a:r>
            <a:r>
              <a:rPr lang="en-US" sz="1050" dirty="0"/>
              <a:t> </a:t>
            </a:r>
            <a:r>
              <a:rPr lang="en-US" sz="1050" dirty="0" err="1"/>
              <a:t>xxxxxxxxxxx</a:t>
            </a:r>
            <a:r>
              <a:rPr lang="en-US" sz="1050" dirty="0"/>
              <a:t> x</a:t>
            </a:r>
          </a:p>
        </p:txBody>
      </p:sp>
      <p:graphicFrame>
        <p:nvGraphicFramePr>
          <p:cNvPr id="14" name="Content Placeholder 5"/>
          <p:cNvGraphicFramePr>
            <a:graphicFrameLocks/>
          </p:cNvGraphicFramePr>
          <p:nvPr/>
        </p:nvGraphicFramePr>
        <p:xfrm>
          <a:off x="1115616" y="1261434"/>
          <a:ext cx="4104456" cy="2956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3"/>
          <p:cNvSpPr/>
          <p:nvPr/>
        </p:nvSpPr>
        <p:spPr>
          <a:xfrm>
            <a:off x="2934952" y="1728976"/>
            <a:ext cx="48282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21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934952" y="2375415"/>
            <a:ext cx="48282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21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934952" y="3004705"/>
            <a:ext cx="48282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2100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934952" y="3651144"/>
            <a:ext cx="48282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2100" dirty="0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21" name="Footer Placeholder 99">
            <a:extLst>
              <a:ext uri="{FF2B5EF4-FFF2-40B4-BE49-F238E27FC236}">
                <a16:creationId xmlns:a16="http://schemas.microsoft.com/office/drawing/2014/main" id="{8C9C3D94-DE54-45BF-A696-DA392A6494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2" name="Slide Number Placeholder 100">
            <a:extLst>
              <a:ext uri="{FF2B5EF4-FFF2-40B4-BE49-F238E27FC236}">
                <a16:creationId xmlns:a16="http://schemas.microsoft.com/office/drawing/2014/main" id="{E97C61FE-7054-449C-A4B1-A3C6F22653E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0E0CC541-3C3C-4E02-BBF6-FC0AE7DD32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30006595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38691" cy="545464"/>
          </a:xfrm>
        </p:spPr>
        <p:txBody>
          <a:bodyPr/>
          <a:lstStyle/>
          <a:p>
            <a:r>
              <a:rPr lang="en-US" dirty="0"/>
              <a:t>Foundations or building blocks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4294967295"/>
          </p:nvPr>
        </p:nvGraphicFramePr>
        <p:xfrm>
          <a:off x="731041" y="971550"/>
          <a:ext cx="4229100" cy="33527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5087151" y="1692953"/>
            <a:ext cx="3420380" cy="17764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100"/>
              </a:lnSpc>
            </a:pPr>
            <a:r>
              <a:rPr lang="en-US" sz="3000" spc="-30" dirty="0"/>
              <a:t>XXX</a:t>
            </a:r>
            <a:endParaRPr lang="en-US" sz="750" spc="-30" dirty="0"/>
          </a:p>
          <a:p>
            <a:pPr>
              <a:lnSpc>
                <a:spcPts val="2100"/>
              </a:lnSpc>
            </a:pPr>
            <a:r>
              <a:rPr lang="en-US" sz="1350" dirty="0"/>
              <a:t> </a:t>
            </a:r>
            <a:r>
              <a:rPr lang="en-US" sz="1350" dirty="0" err="1"/>
              <a:t>xxxxx</a:t>
            </a:r>
            <a:r>
              <a:rPr lang="en-US" sz="1350" dirty="0"/>
              <a:t> </a:t>
            </a:r>
            <a:r>
              <a:rPr lang="en-US" sz="1350" dirty="0" err="1"/>
              <a:t>xxxxxxx</a:t>
            </a:r>
            <a:r>
              <a:rPr lang="en-US" sz="1350" dirty="0"/>
              <a:t> xxx x</a:t>
            </a:r>
          </a:p>
          <a:p>
            <a:pPr>
              <a:lnSpc>
                <a:spcPct val="97000"/>
              </a:lnSpc>
              <a:spcBef>
                <a:spcPts val="800"/>
              </a:spcBef>
            </a:pP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xx</a:t>
            </a:r>
            <a:r>
              <a:rPr lang="en-US" sz="900" dirty="0"/>
              <a:t> xxx xx </a:t>
            </a:r>
            <a:r>
              <a:rPr lang="en-US" sz="900" dirty="0" err="1"/>
              <a:t>xxxxxxxx</a:t>
            </a:r>
            <a:r>
              <a:rPr lang="en-US" sz="900" dirty="0"/>
              <a:t> </a:t>
            </a:r>
            <a:r>
              <a:rPr lang="en-US" sz="900" dirty="0" err="1"/>
              <a:t>xxxxxx</a:t>
            </a:r>
            <a:r>
              <a:rPr lang="en-US" sz="900" dirty="0"/>
              <a:t> x xx </a:t>
            </a:r>
            <a:r>
              <a:rPr lang="en-US" sz="900" dirty="0" err="1"/>
              <a:t>Xxxx</a:t>
            </a:r>
            <a:r>
              <a:rPr lang="en-US" sz="900" dirty="0"/>
              <a:t> x </a:t>
            </a: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x xxx </a:t>
            </a:r>
            <a:r>
              <a:rPr lang="en-US" sz="900" dirty="0" err="1"/>
              <a:t>xxx</a:t>
            </a:r>
            <a:r>
              <a:rPr lang="en-US" sz="900" dirty="0"/>
              <a:t> Xx </a:t>
            </a:r>
            <a:r>
              <a:rPr lang="en-US" sz="900" dirty="0" err="1"/>
              <a:t>xxxx</a:t>
            </a:r>
            <a:r>
              <a:rPr lang="en-US" sz="900" dirty="0"/>
              <a:t> x </a:t>
            </a:r>
            <a:r>
              <a:rPr lang="en-US" sz="900" dirty="0" err="1"/>
              <a:t>xxxxxxxxx</a:t>
            </a:r>
            <a:r>
              <a:rPr lang="en-US" sz="900" dirty="0"/>
              <a:t> </a:t>
            </a:r>
            <a:r>
              <a:rPr lang="en-US" sz="900" dirty="0" err="1"/>
              <a:t>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Xx </a:t>
            </a:r>
            <a:r>
              <a:rPr lang="en-US" sz="900" dirty="0" err="1"/>
              <a:t>xxxxxxx</a:t>
            </a:r>
            <a:r>
              <a:rPr lang="en-US" sz="900" dirty="0"/>
              <a:t> xx </a:t>
            </a:r>
            <a:r>
              <a:rPr lang="en-US" sz="900" dirty="0" err="1"/>
              <a:t>xxxxx</a:t>
            </a:r>
            <a:r>
              <a:rPr lang="en-US" sz="900" dirty="0"/>
              <a:t> xx </a:t>
            </a:r>
            <a:r>
              <a:rPr lang="en-US" sz="900" dirty="0" err="1"/>
              <a:t>xxxxxxxxx</a:t>
            </a:r>
            <a:r>
              <a:rPr lang="en-US" sz="900" dirty="0"/>
              <a:t> xx xxx </a:t>
            </a:r>
            <a:r>
              <a:rPr lang="en-US" sz="900" dirty="0" err="1"/>
              <a:t>xxx</a:t>
            </a:r>
            <a:r>
              <a:rPr lang="en-US" sz="900" dirty="0"/>
              <a:t> </a:t>
            </a:r>
            <a:r>
              <a:rPr lang="en-US" sz="900" dirty="0" err="1"/>
              <a:t>xxx</a:t>
            </a:r>
            <a:r>
              <a:rPr lang="en-US" sz="900" dirty="0"/>
              <a:t> </a:t>
            </a:r>
            <a:r>
              <a:rPr lang="en-US" sz="900" dirty="0" err="1"/>
              <a:t>xxxx</a:t>
            </a:r>
            <a:r>
              <a:rPr lang="en-US" sz="900" dirty="0"/>
              <a:t> </a:t>
            </a:r>
          </a:p>
          <a:p>
            <a:pPr>
              <a:lnSpc>
                <a:spcPct val="97000"/>
              </a:lnSpc>
              <a:spcBef>
                <a:spcPts val="800"/>
              </a:spcBef>
            </a:pP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x</a:t>
            </a:r>
            <a:r>
              <a:rPr lang="en-US" sz="900" dirty="0"/>
              <a:t> </a:t>
            </a:r>
            <a:r>
              <a:rPr lang="en-US" sz="900" dirty="0" err="1"/>
              <a:t>xxxxxx</a:t>
            </a:r>
            <a:r>
              <a:rPr lang="en-US" sz="900" dirty="0"/>
              <a:t> xx </a:t>
            </a:r>
            <a:r>
              <a:rPr lang="en-US" sz="900" dirty="0" err="1"/>
              <a:t>xxxxxxxxx</a:t>
            </a:r>
            <a:r>
              <a:rPr lang="en-US" sz="900" dirty="0"/>
              <a:t> </a:t>
            </a:r>
            <a:r>
              <a:rPr lang="en-US" sz="900" dirty="0" err="1"/>
              <a:t>xxxxxxxx</a:t>
            </a:r>
            <a:r>
              <a:rPr lang="en-US" sz="900" dirty="0"/>
              <a:t> </a:t>
            </a:r>
            <a:r>
              <a:rPr lang="en-US" sz="900" dirty="0" err="1"/>
              <a:t>xxxxxx</a:t>
            </a:r>
            <a:r>
              <a:rPr lang="en-US" sz="900" dirty="0"/>
              <a:t> </a:t>
            </a:r>
            <a:r>
              <a:rPr lang="en-US" sz="900" dirty="0" err="1"/>
              <a:t>xxxxxxxxxx</a:t>
            </a:r>
            <a:r>
              <a:rPr lang="en-US" sz="900" dirty="0"/>
              <a:t> x Xxx x; </a:t>
            </a:r>
            <a:r>
              <a:rPr lang="en-US" sz="900" dirty="0" err="1"/>
              <a:t>Xxxxx</a:t>
            </a:r>
            <a:r>
              <a:rPr lang="en-US" sz="900" dirty="0"/>
              <a:t> xxx </a:t>
            </a:r>
            <a:r>
              <a:rPr lang="en-US" sz="900" dirty="0" err="1"/>
              <a:t>xxxxx</a:t>
            </a:r>
            <a:r>
              <a:rPr lang="en-US" sz="900" dirty="0"/>
              <a:t> x xxx </a:t>
            </a:r>
            <a:r>
              <a:rPr lang="en-US" sz="900" dirty="0" err="1"/>
              <a:t>xxxxxxxxxxxxxx</a:t>
            </a:r>
            <a:r>
              <a:rPr lang="en-US" sz="900" dirty="0"/>
              <a:t> </a:t>
            </a:r>
            <a:r>
              <a:rPr lang="en-US" sz="900" dirty="0" err="1"/>
              <a:t>xxxxxxxx</a:t>
            </a:r>
            <a:r>
              <a:rPr lang="en-US" sz="900" dirty="0"/>
              <a:t> </a:t>
            </a:r>
            <a:r>
              <a:rPr lang="en-US" sz="900" dirty="0" err="1"/>
              <a:t>xxxx</a:t>
            </a:r>
            <a:r>
              <a:rPr lang="en-US" sz="900" dirty="0"/>
              <a:t> </a:t>
            </a:r>
            <a:r>
              <a:rPr lang="en-US" sz="900" dirty="0" err="1"/>
              <a:t>Xxxx</a:t>
            </a:r>
            <a:r>
              <a:rPr lang="en-US" sz="900" dirty="0"/>
              <a:t> xx </a:t>
            </a:r>
            <a:r>
              <a:rPr lang="en-US" sz="900" dirty="0" err="1"/>
              <a:t>xxxxxx</a:t>
            </a:r>
            <a:r>
              <a:rPr lang="en-US" sz="900" dirty="0"/>
              <a:t> </a:t>
            </a:r>
            <a:r>
              <a:rPr lang="en-US" sz="900" dirty="0" err="1"/>
              <a:t>xxxx</a:t>
            </a:r>
            <a:r>
              <a:rPr lang="en-US" sz="900" dirty="0"/>
              <a:t> Xxx xx </a:t>
            </a:r>
            <a:r>
              <a:rPr lang="en-US" sz="900" dirty="0" err="1"/>
              <a:t>xxxxxxx</a:t>
            </a:r>
            <a:r>
              <a:rPr lang="en-US" sz="900" dirty="0"/>
              <a:t> xxx xx xxx </a:t>
            </a:r>
            <a:r>
              <a:rPr lang="en-US" sz="900" dirty="0" err="1"/>
              <a:t>xxxxx</a:t>
            </a:r>
            <a:r>
              <a:rPr lang="en-US" sz="900" dirty="0"/>
              <a:t> x </a:t>
            </a:r>
            <a:r>
              <a:rPr lang="en-US" sz="900" dirty="0" err="1"/>
              <a:t>xxxx</a:t>
            </a:r>
            <a:r>
              <a:rPr lang="en-US" sz="900" dirty="0"/>
              <a:t> x </a:t>
            </a:r>
            <a:r>
              <a:rPr lang="en-US" sz="900" dirty="0" err="1"/>
              <a:t>xxxxxxx</a:t>
            </a:r>
            <a:r>
              <a:rPr lang="en-US" sz="900" dirty="0"/>
              <a:t> xx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9951" y="1595905"/>
            <a:ext cx="477794" cy="46592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4881" y="2606116"/>
            <a:ext cx="447934" cy="37842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1195" y="3546083"/>
            <a:ext cx="435306" cy="435306"/>
          </a:xfrm>
          <a:prstGeom prst="rect">
            <a:avLst/>
          </a:prstGeom>
        </p:spPr>
      </p:pic>
      <p:sp>
        <p:nvSpPr>
          <p:cNvPr id="11" name="Footer Placeholder 99">
            <a:extLst>
              <a:ext uri="{FF2B5EF4-FFF2-40B4-BE49-F238E27FC236}">
                <a16:creationId xmlns:a16="http://schemas.microsoft.com/office/drawing/2014/main" id="{7B4DF93B-2B33-4A40-880C-E2D2B1BAC35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100">
            <a:extLst>
              <a:ext uri="{FF2B5EF4-FFF2-40B4-BE49-F238E27FC236}">
                <a16:creationId xmlns:a16="http://schemas.microsoft.com/office/drawing/2014/main" id="{03ADAF5F-B25F-4D88-BC33-0FF6CB2644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3" name="Text Placeholder 41">
            <a:extLst>
              <a:ext uri="{FF2B5EF4-FFF2-40B4-BE49-F238E27FC236}">
                <a16:creationId xmlns:a16="http://schemas.microsoft.com/office/drawing/2014/main" id="{93E68FAA-9909-4EDA-91D6-8E94F492C6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31818749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BBA04EB-1C91-3C48-9D91-0816BD8C2F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1AEEDF-EBDD-1544-A30C-DFC14F05DC6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OT analysis/key ideas</a:t>
            </a:r>
          </a:p>
        </p:txBody>
      </p:sp>
      <p:sp>
        <p:nvSpPr>
          <p:cNvPr id="6" name="Rectangle 5"/>
          <p:cNvSpPr/>
          <p:nvPr/>
        </p:nvSpPr>
        <p:spPr>
          <a:xfrm>
            <a:off x="228600" y="1342342"/>
            <a:ext cx="4229099" cy="1197864"/>
          </a:xfrm>
          <a:prstGeom prst="rect">
            <a:avLst/>
          </a:prstGeom>
          <a:ln w="9525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42900"/>
            <a:r>
              <a:rPr lang="en-US" sz="1100" dirty="0">
                <a:solidFill>
                  <a:schemeClr val="tx1"/>
                </a:solidFill>
              </a:rPr>
              <a:t>Describe what Part A of this methodology achieves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971550"/>
            <a:ext cx="4229100" cy="36433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US" sz="1400" b="1" dirty="0">
                <a:solidFill>
                  <a:srgbClr val="FFFFFF"/>
                </a:solidFill>
              </a:rPr>
              <a:t>Strengths/Idea 1</a:t>
            </a:r>
          </a:p>
        </p:txBody>
      </p:sp>
      <p:sp>
        <p:nvSpPr>
          <p:cNvPr id="8" name="Rectangle 7"/>
          <p:cNvSpPr/>
          <p:nvPr/>
        </p:nvSpPr>
        <p:spPr>
          <a:xfrm>
            <a:off x="4697395" y="1342342"/>
            <a:ext cx="4216787" cy="1197864"/>
          </a:xfrm>
          <a:prstGeom prst="rect">
            <a:avLst/>
          </a:prstGeom>
          <a:ln w="9525">
            <a:solidFill>
              <a:schemeClr val="tx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42900"/>
            <a:r>
              <a:rPr lang="en-US" sz="1100" dirty="0">
                <a:solidFill>
                  <a:schemeClr val="tx1"/>
                </a:solidFill>
              </a:rPr>
              <a:t>Describe what Part B of this methodology achieves</a:t>
            </a:r>
          </a:p>
        </p:txBody>
      </p:sp>
      <p:sp>
        <p:nvSpPr>
          <p:cNvPr id="9" name="Rectangle 8"/>
          <p:cNvSpPr/>
          <p:nvPr/>
        </p:nvSpPr>
        <p:spPr>
          <a:xfrm>
            <a:off x="4695998" y="971550"/>
            <a:ext cx="4219581" cy="36433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US" sz="1400" b="1" dirty="0">
                <a:solidFill>
                  <a:srgbClr val="FFFFFF"/>
                </a:solidFill>
              </a:rPr>
              <a:t>Weaknesses/Idea 2</a:t>
            </a:r>
          </a:p>
        </p:txBody>
      </p:sp>
      <p:sp>
        <p:nvSpPr>
          <p:cNvPr id="10" name="Rectangle 9"/>
          <p:cNvSpPr/>
          <p:nvPr/>
        </p:nvSpPr>
        <p:spPr>
          <a:xfrm>
            <a:off x="228600" y="3119940"/>
            <a:ext cx="4229099" cy="1197864"/>
          </a:xfrm>
          <a:prstGeom prst="rect">
            <a:avLst/>
          </a:prstGeom>
          <a:ln w="9525"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42900"/>
            <a:r>
              <a:rPr lang="en-US" sz="1100" dirty="0">
                <a:solidFill>
                  <a:schemeClr val="tx1"/>
                </a:solidFill>
              </a:rPr>
              <a:t>Describe what Part C of this methodology achiev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28600" y="2750686"/>
            <a:ext cx="4229100" cy="364331"/>
          </a:xfrm>
          <a:prstGeom prst="rect">
            <a:avLst/>
          </a:prstGeom>
          <a:solidFill>
            <a:schemeClr val="tx1"/>
          </a:solidFill>
          <a:ln w="9525"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US" sz="1400" b="1" dirty="0">
                <a:solidFill>
                  <a:srgbClr val="FFFFFF"/>
                </a:solidFill>
              </a:rPr>
              <a:t>Opportunities/Idea 3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690664" y="3119941"/>
            <a:ext cx="4230248" cy="1197864"/>
          </a:xfrm>
          <a:prstGeom prst="rect">
            <a:avLst/>
          </a:prstGeom>
          <a:ln w="9525">
            <a:solidFill>
              <a:schemeClr val="tx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42900"/>
            <a:r>
              <a:rPr lang="en-US" sz="1100" dirty="0">
                <a:solidFill>
                  <a:schemeClr val="tx1"/>
                </a:solidFill>
              </a:rPr>
              <a:t>Describe what Part D of this methodology achieve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690664" y="2750686"/>
            <a:ext cx="4226304" cy="364331"/>
          </a:xfrm>
          <a:prstGeom prst="rect">
            <a:avLst/>
          </a:prstGeom>
          <a:solidFill>
            <a:schemeClr val="tx1"/>
          </a:solidFill>
          <a:ln w="9525">
            <a:solidFill>
              <a:schemeClr val="tx2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US" sz="1400" b="1" dirty="0">
                <a:solidFill>
                  <a:srgbClr val="FFFFFF"/>
                </a:solidFill>
              </a:rPr>
              <a:t>Threats/Idea 4</a:t>
            </a:r>
          </a:p>
        </p:txBody>
      </p:sp>
      <p:sp>
        <p:nvSpPr>
          <p:cNvPr id="14" name="Text Placeholder 41">
            <a:extLst>
              <a:ext uri="{FF2B5EF4-FFF2-40B4-BE49-F238E27FC236}">
                <a16:creationId xmlns:a16="http://schemas.microsoft.com/office/drawing/2014/main" id="{304CCF2A-5DC1-4707-8342-1F13BFCAA2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534893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34D6E6-CA2B-2D4D-AA9A-4963A48B61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A4C7FE-78EE-1B48-89F2-13226B43198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recommendations/multiple idea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400D242-1C93-C74F-84B3-6C217C9DC4AF}"/>
              </a:ext>
            </a:extLst>
          </p:cNvPr>
          <p:cNvGrpSpPr/>
          <p:nvPr/>
        </p:nvGrpSpPr>
        <p:grpSpPr>
          <a:xfrm>
            <a:off x="232139" y="971550"/>
            <a:ext cx="8683261" cy="685800"/>
            <a:chOff x="232139" y="1123950"/>
            <a:chExt cx="8683261" cy="685800"/>
          </a:xfrm>
        </p:grpSpPr>
        <p:sp>
          <p:nvSpPr>
            <p:cNvPr id="6" name="Rectangle 5"/>
            <p:cNvSpPr/>
            <p:nvPr/>
          </p:nvSpPr>
          <p:spPr>
            <a:xfrm>
              <a:off x="406502" y="1283970"/>
              <a:ext cx="3685032" cy="365760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/>
              <a:r>
                <a:rPr lang="en-US" sz="1400" b="1" dirty="0">
                  <a:solidFill>
                    <a:srgbClr val="FFFFFF"/>
                  </a:solidFill>
                </a:rPr>
                <a:t>Recommendation A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232139" y="1283970"/>
              <a:ext cx="365760" cy="36576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/>
              <a:r>
                <a:rPr lang="en-US" sz="1350" dirty="0">
                  <a:solidFill>
                    <a:srgbClr val="FFFFFF"/>
                  </a:solidFill>
                </a:rPr>
                <a:t>1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5038344" y="1123950"/>
              <a:ext cx="3877056" cy="68580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82880" indent="-182880" defTabSz="342900">
                <a:spcAft>
                  <a:spcPts val="400"/>
                </a:spcAft>
                <a:buFont typeface="Arial"/>
                <a:buChar char="•"/>
              </a:pPr>
              <a:r>
                <a:rPr lang="en-US" sz="1050" dirty="0">
                  <a:solidFill>
                    <a:schemeClr val="tx1"/>
                  </a:solidFill>
                </a:rPr>
                <a:t>Key Insight on Recommendation A</a:t>
              </a:r>
            </a:p>
            <a:p>
              <a:pPr marL="182880" indent="-182880">
                <a:spcAft>
                  <a:spcPts val="400"/>
                </a:spcAft>
                <a:buFont typeface="Arial"/>
                <a:buChar char="•"/>
              </a:pPr>
              <a:r>
                <a:rPr lang="en-US" sz="1050" dirty="0">
                  <a:solidFill>
                    <a:schemeClr val="tx1"/>
                  </a:solidFill>
                </a:rPr>
                <a:t>Key Insight on Recommendation A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40683F6D-3EEF-6E45-952B-CA18DE15A8BE}"/>
                </a:ext>
              </a:extLst>
            </p:cNvPr>
            <p:cNvCxnSpPr>
              <a:stCxn id="6" idx="3"/>
              <a:endCxn id="8" idx="1"/>
            </p:cNvCxnSpPr>
            <p:nvPr/>
          </p:nvCxnSpPr>
          <p:spPr>
            <a:xfrm>
              <a:off x="4091534" y="1466850"/>
              <a:ext cx="946810" cy="0"/>
            </a:xfrm>
            <a:prstGeom prst="line">
              <a:avLst/>
            </a:prstGeom>
            <a:ln w="9525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DA881B3-CB03-EC48-9254-08DF08167F99}"/>
              </a:ext>
            </a:extLst>
          </p:cNvPr>
          <p:cNvGrpSpPr/>
          <p:nvPr/>
        </p:nvGrpSpPr>
        <p:grpSpPr>
          <a:xfrm>
            <a:off x="232139" y="1860550"/>
            <a:ext cx="8683261" cy="685800"/>
            <a:chOff x="232139" y="1936750"/>
            <a:chExt cx="8683261" cy="68580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6886F66-9112-D54B-ADE9-32E0DE0FDA56}"/>
                </a:ext>
              </a:extLst>
            </p:cNvPr>
            <p:cNvSpPr/>
            <p:nvPr/>
          </p:nvSpPr>
          <p:spPr>
            <a:xfrm>
              <a:off x="406502" y="2096770"/>
              <a:ext cx="3685032" cy="36576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/>
              <a:r>
                <a:rPr lang="en-US" sz="1400" b="1" dirty="0">
                  <a:solidFill>
                    <a:srgbClr val="FFFFFF"/>
                  </a:solidFill>
                </a:rPr>
                <a:t>Recommendation B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F31DA02B-95C9-E340-B4E9-EBA4C962778F}"/>
                </a:ext>
              </a:extLst>
            </p:cNvPr>
            <p:cNvSpPr/>
            <p:nvPr/>
          </p:nvSpPr>
          <p:spPr>
            <a:xfrm>
              <a:off x="232139" y="2096770"/>
              <a:ext cx="365760" cy="365760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/>
              <a:r>
                <a:rPr lang="en-US" sz="1350" dirty="0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686C447F-354D-BB42-8267-D7F5E25F56C6}"/>
                </a:ext>
              </a:extLst>
            </p:cNvPr>
            <p:cNvSpPr/>
            <p:nvPr/>
          </p:nvSpPr>
          <p:spPr>
            <a:xfrm>
              <a:off x="5038344" y="1936750"/>
              <a:ext cx="3877056" cy="68580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82880" indent="-182880" defTabSz="342900">
                <a:spcAft>
                  <a:spcPts val="400"/>
                </a:spcAft>
                <a:buFont typeface="Arial"/>
                <a:buChar char="•"/>
              </a:pPr>
              <a:r>
                <a:rPr lang="en-US" sz="1050" dirty="0">
                  <a:solidFill>
                    <a:schemeClr val="tx1"/>
                  </a:solidFill>
                </a:rPr>
                <a:t>Key Insight on Recommendation B</a:t>
              </a:r>
            </a:p>
            <a:p>
              <a:pPr marL="182880" indent="-182880">
                <a:spcAft>
                  <a:spcPts val="400"/>
                </a:spcAft>
                <a:buFont typeface="Arial"/>
                <a:buChar char="•"/>
              </a:pPr>
              <a:r>
                <a:rPr lang="en-US" sz="1050" dirty="0">
                  <a:solidFill>
                    <a:schemeClr val="tx1"/>
                  </a:solidFill>
                </a:rPr>
                <a:t>Key Insight on Recommendation B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65F7BF4-5841-134A-8DA9-ECE18DED3EFA}"/>
                </a:ext>
              </a:extLst>
            </p:cNvPr>
            <p:cNvCxnSpPr>
              <a:stCxn id="31" idx="3"/>
              <a:endCxn id="33" idx="1"/>
            </p:cNvCxnSpPr>
            <p:nvPr/>
          </p:nvCxnSpPr>
          <p:spPr>
            <a:xfrm>
              <a:off x="4091534" y="2279650"/>
              <a:ext cx="946810" cy="0"/>
            </a:xfrm>
            <a:prstGeom prst="line">
              <a:avLst/>
            </a:prstGeom>
            <a:ln w="9525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12695EA-9E4B-1A42-93B4-CC2EF660F98B}"/>
              </a:ext>
            </a:extLst>
          </p:cNvPr>
          <p:cNvGrpSpPr/>
          <p:nvPr/>
        </p:nvGrpSpPr>
        <p:grpSpPr>
          <a:xfrm>
            <a:off x="232139" y="2749550"/>
            <a:ext cx="8683261" cy="685800"/>
            <a:chOff x="232139" y="2749550"/>
            <a:chExt cx="8683261" cy="68580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7842A6E-C134-A14E-8C34-A08C9D61BC4F}"/>
                </a:ext>
              </a:extLst>
            </p:cNvPr>
            <p:cNvSpPr/>
            <p:nvPr/>
          </p:nvSpPr>
          <p:spPr>
            <a:xfrm>
              <a:off x="406502" y="2909570"/>
              <a:ext cx="3685032" cy="365760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/>
              <a:r>
                <a:rPr lang="en-US" sz="1400" b="1" dirty="0">
                  <a:solidFill>
                    <a:srgbClr val="FFFFFF"/>
                  </a:solidFill>
                </a:rPr>
                <a:t>Recommendation C</a:t>
              </a: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BF1B82F8-5B22-C443-A038-985C5B7D29D5}"/>
                </a:ext>
              </a:extLst>
            </p:cNvPr>
            <p:cNvSpPr/>
            <p:nvPr/>
          </p:nvSpPr>
          <p:spPr>
            <a:xfrm>
              <a:off x="232139" y="2909570"/>
              <a:ext cx="365760" cy="365760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/>
              <a:r>
                <a:rPr lang="en-US" sz="1350" dirty="0">
                  <a:solidFill>
                    <a:srgbClr val="FFFFFF"/>
                  </a:solidFill>
                </a:rPr>
                <a:t>3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23CEAFCC-B013-9649-8395-2BBA1D493A96}"/>
                </a:ext>
              </a:extLst>
            </p:cNvPr>
            <p:cNvSpPr/>
            <p:nvPr/>
          </p:nvSpPr>
          <p:spPr>
            <a:xfrm>
              <a:off x="5038344" y="2749550"/>
              <a:ext cx="3877056" cy="68580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82880" indent="-182880" defTabSz="342900">
                <a:spcAft>
                  <a:spcPts val="400"/>
                </a:spcAft>
                <a:buFont typeface="Arial"/>
                <a:buChar char="•"/>
              </a:pPr>
              <a:r>
                <a:rPr lang="en-US" sz="1050" dirty="0">
                  <a:solidFill>
                    <a:schemeClr val="tx1"/>
                  </a:solidFill>
                </a:rPr>
                <a:t>Key Insight on Recommendation C</a:t>
              </a:r>
            </a:p>
            <a:p>
              <a:pPr marL="182880" indent="-182880">
                <a:spcAft>
                  <a:spcPts val="400"/>
                </a:spcAft>
                <a:buFont typeface="Arial"/>
                <a:buChar char="•"/>
              </a:pPr>
              <a:r>
                <a:rPr lang="en-US" sz="1050" dirty="0">
                  <a:solidFill>
                    <a:schemeClr val="tx1"/>
                  </a:solidFill>
                </a:rPr>
                <a:t>Key Insight on Recommendation C</a:t>
              </a: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481B10EE-5F2B-9F43-B592-6AB77C6DD6FF}"/>
                </a:ext>
              </a:extLst>
            </p:cNvPr>
            <p:cNvCxnSpPr>
              <a:stCxn id="36" idx="3"/>
              <a:endCxn id="38" idx="1"/>
            </p:cNvCxnSpPr>
            <p:nvPr/>
          </p:nvCxnSpPr>
          <p:spPr>
            <a:xfrm>
              <a:off x="4091534" y="3092450"/>
              <a:ext cx="946810" cy="0"/>
            </a:xfrm>
            <a:prstGeom prst="line">
              <a:avLst/>
            </a:prstGeom>
            <a:ln w="9525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D88DF38-4110-E54A-91A8-D1F0A9089E17}"/>
              </a:ext>
            </a:extLst>
          </p:cNvPr>
          <p:cNvGrpSpPr/>
          <p:nvPr/>
        </p:nvGrpSpPr>
        <p:grpSpPr>
          <a:xfrm>
            <a:off x="232139" y="3638550"/>
            <a:ext cx="8683261" cy="685800"/>
            <a:chOff x="232139" y="3562351"/>
            <a:chExt cx="8683261" cy="68580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BE808DC-6614-0243-A88B-40DA34438CE5}"/>
                </a:ext>
              </a:extLst>
            </p:cNvPr>
            <p:cNvSpPr/>
            <p:nvPr/>
          </p:nvSpPr>
          <p:spPr>
            <a:xfrm>
              <a:off x="406502" y="3722371"/>
              <a:ext cx="3685032" cy="36576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4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/>
              <a:r>
                <a:rPr lang="en-US" sz="1400" b="1" dirty="0">
                  <a:solidFill>
                    <a:srgbClr val="FFFFFF"/>
                  </a:solidFill>
                </a:rPr>
                <a:t>Recommendation D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4A9417E1-349A-7F41-8585-1FE24B5E62A6}"/>
                </a:ext>
              </a:extLst>
            </p:cNvPr>
            <p:cNvSpPr/>
            <p:nvPr/>
          </p:nvSpPr>
          <p:spPr>
            <a:xfrm>
              <a:off x="232139" y="3722371"/>
              <a:ext cx="365760" cy="365760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/>
              <a:r>
                <a:rPr lang="en-US" sz="1350" dirty="0">
                  <a:solidFill>
                    <a:srgbClr val="FFFFFF"/>
                  </a:solidFill>
                </a:rPr>
                <a:t>4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9F4FAC7-1062-AC43-A187-6840AE73D31A}"/>
                </a:ext>
              </a:extLst>
            </p:cNvPr>
            <p:cNvSpPr/>
            <p:nvPr/>
          </p:nvSpPr>
          <p:spPr>
            <a:xfrm>
              <a:off x="5038344" y="3562351"/>
              <a:ext cx="3877056" cy="685800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82880" indent="-182880" defTabSz="342900">
                <a:spcAft>
                  <a:spcPts val="400"/>
                </a:spcAft>
                <a:buFont typeface="Arial"/>
                <a:buChar char="•"/>
              </a:pPr>
              <a:r>
                <a:rPr lang="en-US" sz="1050" dirty="0">
                  <a:solidFill>
                    <a:schemeClr val="tx1"/>
                  </a:solidFill>
                </a:rPr>
                <a:t>Key Insight on Recommendation D</a:t>
              </a:r>
            </a:p>
            <a:p>
              <a:pPr marL="182880" indent="-182880">
                <a:spcAft>
                  <a:spcPts val="400"/>
                </a:spcAft>
                <a:buFont typeface="Arial"/>
                <a:buChar char="•"/>
              </a:pPr>
              <a:r>
                <a:rPr lang="en-US" sz="1050" dirty="0">
                  <a:solidFill>
                    <a:schemeClr val="tx1"/>
                  </a:solidFill>
                </a:rPr>
                <a:t>Key Insight on Recommendation D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75F4F69-E028-E749-ABB2-C6A495DDAD12}"/>
                </a:ext>
              </a:extLst>
            </p:cNvPr>
            <p:cNvCxnSpPr>
              <a:stCxn id="41" idx="3"/>
              <a:endCxn id="43" idx="1"/>
            </p:cNvCxnSpPr>
            <p:nvPr/>
          </p:nvCxnSpPr>
          <p:spPr>
            <a:xfrm>
              <a:off x="4091534" y="3905251"/>
              <a:ext cx="946810" cy="0"/>
            </a:xfrm>
            <a:prstGeom prst="line">
              <a:avLst/>
            </a:prstGeom>
            <a:ln w="9525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 Placeholder 41">
            <a:extLst>
              <a:ext uri="{FF2B5EF4-FFF2-40B4-BE49-F238E27FC236}">
                <a16:creationId xmlns:a16="http://schemas.microsoft.com/office/drawing/2014/main" id="{7090D939-D040-4ED6-8E2B-D3FDFC4539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4447590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299158-28DA-8448-8098-2C44D947C2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gue Pag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0AE495-45C9-B641-9E95-0EC22B7BBA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Use as divider between sections…</a:t>
            </a:r>
            <a:br>
              <a:rPr lang="en-US" dirty="0"/>
            </a:br>
            <a:r>
              <a:rPr lang="en-US" dirty="0"/>
              <a:t>Helps presenter and audience pause and register that you are moving to the next main topic</a:t>
            </a:r>
          </a:p>
        </p:txBody>
      </p:sp>
    </p:spTree>
    <p:extLst>
      <p:ext uri="{BB962C8B-B14F-4D97-AF65-F5344CB8AC3E}">
        <p14:creationId xmlns:p14="http://schemas.microsoft.com/office/powerpoint/2010/main" val="17736844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BB8EB66-F1DF-A44C-9774-E6477D80989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58D559-A27B-7949-9E48-7A592183387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ideas</a:t>
            </a:r>
          </a:p>
        </p:txBody>
      </p:sp>
      <p:sp>
        <p:nvSpPr>
          <p:cNvPr id="6" name="Rectangle 5"/>
          <p:cNvSpPr/>
          <p:nvPr/>
        </p:nvSpPr>
        <p:spPr>
          <a:xfrm>
            <a:off x="228600" y="975564"/>
            <a:ext cx="8686800" cy="457200"/>
          </a:xfrm>
          <a:prstGeom prst="rect">
            <a:avLst/>
          </a:prstGeom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Primary Heading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718B892-C731-A945-B0B5-E4E281B63D08}"/>
              </a:ext>
            </a:extLst>
          </p:cNvPr>
          <p:cNvGrpSpPr/>
          <p:nvPr/>
        </p:nvGrpSpPr>
        <p:grpSpPr>
          <a:xfrm>
            <a:off x="240154" y="2315089"/>
            <a:ext cx="8677835" cy="2014465"/>
            <a:chOff x="240154" y="2233447"/>
            <a:chExt cx="8677835" cy="2014465"/>
          </a:xfrm>
        </p:grpSpPr>
        <p:sp>
          <p:nvSpPr>
            <p:cNvPr id="7" name="Rectangle 6"/>
            <p:cNvSpPr/>
            <p:nvPr/>
          </p:nvSpPr>
          <p:spPr>
            <a:xfrm>
              <a:off x="240154" y="2233447"/>
              <a:ext cx="2743200" cy="36576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b="1" dirty="0">
                  <a:solidFill>
                    <a:srgbClr val="FFFFFF"/>
                  </a:solidFill>
                </a:rPr>
                <a:t>Heading 1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240154" y="2600135"/>
              <a:ext cx="2743200" cy="548640"/>
            </a:xfrm>
            <a:prstGeom prst="rect">
              <a:avLst/>
            </a:prstGeom>
            <a:noFill/>
            <a:ln w="9525">
              <a:solidFill>
                <a:schemeClr val="accent2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tx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Key Idea or Insight 1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240154" y="3149703"/>
              <a:ext cx="2743200" cy="548640"/>
            </a:xfrm>
            <a:prstGeom prst="rect">
              <a:avLst/>
            </a:prstGeom>
            <a:noFill/>
            <a:ln w="9525">
              <a:solidFill>
                <a:schemeClr val="accent2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tx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Key Idea or Insight 2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40154" y="3699272"/>
              <a:ext cx="2743200" cy="548640"/>
            </a:xfrm>
            <a:prstGeom prst="rect">
              <a:avLst/>
            </a:prstGeom>
            <a:noFill/>
            <a:ln w="9525">
              <a:solidFill>
                <a:schemeClr val="accent2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tx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Key Idea or Insight 3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701F2E7-CE9D-4748-9311-E1C2E1C9BB6B}"/>
                </a:ext>
              </a:extLst>
            </p:cNvPr>
            <p:cNvSpPr/>
            <p:nvPr/>
          </p:nvSpPr>
          <p:spPr>
            <a:xfrm>
              <a:off x="3200400" y="2233447"/>
              <a:ext cx="2743200" cy="36576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b="1" dirty="0">
                  <a:solidFill>
                    <a:srgbClr val="FFFFFF"/>
                  </a:solidFill>
                </a:rPr>
                <a:t>Heading 2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7BB0C22-4B02-BD47-817C-6EFCD924BB13}"/>
                </a:ext>
              </a:extLst>
            </p:cNvPr>
            <p:cNvSpPr/>
            <p:nvPr/>
          </p:nvSpPr>
          <p:spPr>
            <a:xfrm>
              <a:off x="3200400" y="2600135"/>
              <a:ext cx="2743200" cy="548640"/>
            </a:xfrm>
            <a:prstGeom prst="rect">
              <a:avLst/>
            </a:prstGeom>
            <a:noFill/>
            <a:ln w="9525">
              <a:solidFill>
                <a:schemeClr val="accent2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tx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Key Idea or Insight 1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2831D11-826B-7F44-813F-999DA53527B1}"/>
                </a:ext>
              </a:extLst>
            </p:cNvPr>
            <p:cNvSpPr/>
            <p:nvPr/>
          </p:nvSpPr>
          <p:spPr>
            <a:xfrm>
              <a:off x="3200400" y="3149703"/>
              <a:ext cx="2743200" cy="548640"/>
            </a:xfrm>
            <a:prstGeom prst="rect">
              <a:avLst/>
            </a:prstGeom>
            <a:noFill/>
            <a:ln w="9525">
              <a:solidFill>
                <a:schemeClr val="accent2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tx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Key Idea or Insight 2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AFE9E8A-7EE4-754F-AE1F-1900AAB99630}"/>
                </a:ext>
              </a:extLst>
            </p:cNvPr>
            <p:cNvSpPr/>
            <p:nvPr/>
          </p:nvSpPr>
          <p:spPr>
            <a:xfrm>
              <a:off x="3200400" y="3699272"/>
              <a:ext cx="2743200" cy="548640"/>
            </a:xfrm>
            <a:prstGeom prst="rect">
              <a:avLst/>
            </a:prstGeom>
            <a:noFill/>
            <a:ln w="9525">
              <a:solidFill>
                <a:schemeClr val="accent2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tx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Key Idea or Insight 3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7AEFAA0-FFE4-7249-BF87-EB2B7A7C9819}"/>
                </a:ext>
              </a:extLst>
            </p:cNvPr>
            <p:cNvSpPr/>
            <p:nvPr/>
          </p:nvSpPr>
          <p:spPr>
            <a:xfrm>
              <a:off x="6174789" y="2233447"/>
              <a:ext cx="2743200" cy="36576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b="1" dirty="0">
                  <a:solidFill>
                    <a:srgbClr val="FFFFFF"/>
                  </a:solidFill>
                </a:rPr>
                <a:t>Heading 3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1EBF9B8-FC9E-C44C-ADAF-F269790A10AC}"/>
                </a:ext>
              </a:extLst>
            </p:cNvPr>
            <p:cNvSpPr/>
            <p:nvPr/>
          </p:nvSpPr>
          <p:spPr>
            <a:xfrm>
              <a:off x="6174789" y="2600135"/>
              <a:ext cx="2743200" cy="548640"/>
            </a:xfrm>
            <a:prstGeom prst="rect">
              <a:avLst/>
            </a:prstGeom>
            <a:noFill/>
            <a:ln w="9525">
              <a:solidFill>
                <a:schemeClr val="accent2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tx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Key Idea or Insight 1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14B8CF9-5029-8A49-A850-6EEDE3761E6F}"/>
                </a:ext>
              </a:extLst>
            </p:cNvPr>
            <p:cNvSpPr/>
            <p:nvPr/>
          </p:nvSpPr>
          <p:spPr>
            <a:xfrm>
              <a:off x="6174789" y="3149703"/>
              <a:ext cx="2743200" cy="548640"/>
            </a:xfrm>
            <a:prstGeom prst="rect">
              <a:avLst/>
            </a:prstGeom>
            <a:noFill/>
            <a:ln w="9525">
              <a:solidFill>
                <a:schemeClr val="accent2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tx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Key Idea or Insight 2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71F5718-5AF2-C346-8A5A-93753AF245A7}"/>
                </a:ext>
              </a:extLst>
            </p:cNvPr>
            <p:cNvSpPr/>
            <p:nvPr/>
          </p:nvSpPr>
          <p:spPr>
            <a:xfrm>
              <a:off x="6174789" y="3699272"/>
              <a:ext cx="2743200" cy="548640"/>
            </a:xfrm>
            <a:prstGeom prst="rect">
              <a:avLst/>
            </a:prstGeom>
            <a:noFill/>
            <a:ln w="9525">
              <a:solidFill>
                <a:schemeClr val="accent2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tx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Key Idea or Insight 3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447F718-A308-BB4F-BF0B-E4E0A6DFB302}"/>
              </a:ext>
            </a:extLst>
          </p:cNvPr>
          <p:cNvGrpSpPr/>
          <p:nvPr/>
        </p:nvGrpSpPr>
        <p:grpSpPr>
          <a:xfrm>
            <a:off x="697354" y="1759627"/>
            <a:ext cx="7763435" cy="228600"/>
            <a:chOff x="697354" y="1792998"/>
            <a:chExt cx="7763435" cy="228600"/>
          </a:xfrm>
        </p:grpSpPr>
        <p:sp>
          <p:nvSpPr>
            <p:cNvPr id="23" name="Pentagon 22">
              <a:extLst>
                <a:ext uri="{FF2B5EF4-FFF2-40B4-BE49-F238E27FC236}">
                  <a16:creationId xmlns:a16="http://schemas.microsoft.com/office/drawing/2014/main" id="{B40D21AE-4CAF-6F4A-803C-32759BC20F8B}"/>
                </a:ext>
              </a:extLst>
            </p:cNvPr>
            <p:cNvSpPr/>
            <p:nvPr/>
          </p:nvSpPr>
          <p:spPr>
            <a:xfrm rot="5400000" flipV="1">
              <a:off x="1497454" y="992898"/>
              <a:ext cx="228600" cy="1828800"/>
            </a:xfrm>
            <a:prstGeom prst="homePlate">
              <a:avLst>
                <a:gd name="adj" fmla="val 189552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/>
              <a:endParaRPr lang="en-US" sz="1350" dirty="0">
                <a:solidFill>
                  <a:srgbClr val="FFFFFF"/>
                </a:solidFill>
              </a:endParaRPr>
            </a:p>
          </p:txBody>
        </p:sp>
        <p:sp>
          <p:nvSpPr>
            <p:cNvPr id="28" name="Pentagon 27">
              <a:extLst>
                <a:ext uri="{FF2B5EF4-FFF2-40B4-BE49-F238E27FC236}">
                  <a16:creationId xmlns:a16="http://schemas.microsoft.com/office/drawing/2014/main" id="{F145AF8A-DFA2-D34F-BF57-E11395E2777B}"/>
                </a:ext>
              </a:extLst>
            </p:cNvPr>
            <p:cNvSpPr/>
            <p:nvPr/>
          </p:nvSpPr>
          <p:spPr>
            <a:xfrm rot="5400000" flipV="1">
              <a:off x="4457700" y="992898"/>
              <a:ext cx="228600" cy="1828800"/>
            </a:xfrm>
            <a:prstGeom prst="homePlate">
              <a:avLst>
                <a:gd name="adj" fmla="val 189552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/>
              <a:endParaRPr lang="en-US" sz="1350" dirty="0">
                <a:solidFill>
                  <a:srgbClr val="FFFFFF"/>
                </a:solidFill>
              </a:endParaRPr>
            </a:p>
          </p:txBody>
        </p:sp>
        <p:sp>
          <p:nvSpPr>
            <p:cNvPr id="33" name="Pentagon 32">
              <a:extLst>
                <a:ext uri="{FF2B5EF4-FFF2-40B4-BE49-F238E27FC236}">
                  <a16:creationId xmlns:a16="http://schemas.microsoft.com/office/drawing/2014/main" id="{5C5A1F46-0AD6-304B-82E9-B7C219AC82D7}"/>
                </a:ext>
              </a:extLst>
            </p:cNvPr>
            <p:cNvSpPr/>
            <p:nvPr/>
          </p:nvSpPr>
          <p:spPr>
            <a:xfrm rot="5400000" flipV="1">
              <a:off x="7432089" y="992898"/>
              <a:ext cx="228600" cy="1828800"/>
            </a:xfrm>
            <a:prstGeom prst="homePlate">
              <a:avLst>
                <a:gd name="adj" fmla="val 189552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/>
              <a:endParaRPr lang="en-US" sz="1350" dirty="0">
                <a:solidFill>
                  <a:srgbClr val="FFFFFF"/>
                </a:solidFill>
              </a:endParaRPr>
            </a:p>
          </p:txBody>
        </p:sp>
      </p:grpSp>
      <p:sp>
        <p:nvSpPr>
          <p:cNvPr id="34" name="Text Placeholder 41">
            <a:extLst>
              <a:ext uri="{FF2B5EF4-FFF2-40B4-BE49-F238E27FC236}">
                <a16:creationId xmlns:a16="http://schemas.microsoft.com/office/drawing/2014/main" id="{E403D781-735D-4507-9E12-11E94E666E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0325807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94B5CB0-EC9C-DE49-99B0-9BE3E223E56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D643AC-4546-B746-9122-9DEDB49CDE5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ideas</a:t>
            </a:r>
          </a:p>
        </p:txBody>
      </p:sp>
      <p:sp>
        <p:nvSpPr>
          <p:cNvPr id="6" name="Rectangle 5"/>
          <p:cNvSpPr/>
          <p:nvPr/>
        </p:nvSpPr>
        <p:spPr>
          <a:xfrm>
            <a:off x="228600" y="971550"/>
            <a:ext cx="8686800" cy="548640"/>
          </a:xfrm>
          <a:prstGeom prst="rect">
            <a:avLst/>
          </a:prstGeom>
          <a:solidFill>
            <a:schemeClr val="tx1"/>
          </a:solidFill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42900"/>
            <a:r>
              <a:rPr lang="en-US" sz="1400" b="1" dirty="0">
                <a:solidFill>
                  <a:schemeClr val="bg1"/>
                </a:solidFill>
              </a:rPr>
              <a:t>Main Recommendation 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1748790"/>
            <a:ext cx="2002536" cy="2575560"/>
          </a:xfrm>
          <a:prstGeom prst="rect">
            <a:avLst/>
          </a:prstGeom>
          <a:ln w="9525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US" sz="1100" b="1" dirty="0"/>
              <a:t>Supporting Rational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/>
              <a:t>Sub-point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/>
              <a:t>Sub-point</a:t>
            </a:r>
          </a:p>
        </p:txBody>
      </p:sp>
      <p:sp>
        <p:nvSpPr>
          <p:cNvPr id="8" name="Rectangle 7"/>
          <p:cNvSpPr/>
          <p:nvPr/>
        </p:nvSpPr>
        <p:spPr>
          <a:xfrm>
            <a:off x="2456688" y="1748790"/>
            <a:ext cx="2002536" cy="2575560"/>
          </a:xfrm>
          <a:prstGeom prst="rect">
            <a:avLst/>
          </a:prstGeom>
          <a:ln w="9525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US" sz="1100" b="1" dirty="0"/>
              <a:t>Supporting Rational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/>
              <a:t>Sub-point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/>
              <a:t>Sub-point</a:t>
            </a:r>
          </a:p>
        </p:txBody>
      </p:sp>
      <p:sp>
        <p:nvSpPr>
          <p:cNvPr id="9" name="Rectangle 8"/>
          <p:cNvSpPr/>
          <p:nvPr/>
        </p:nvSpPr>
        <p:spPr>
          <a:xfrm>
            <a:off x="4684776" y="1748790"/>
            <a:ext cx="2002536" cy="2575560"/>
          </a:xfrm>
          <a:prstGeom prst="rect">
            <a:avLst/>
          </a:prstGeom>
          <a:ln w="9525"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US" sz="1100" b="1" dirty="0"/>
              <a:t>Supporting Rational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/>
              <a:t>Sub-point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/>
              <a:t>Sub-point</a:t>
            </a:r>
          </a:p>
        </p:txBody>
      </p:sp>
      <p:sp>
        <p:nvSpPr>
          <p:cNvPr id="10" name="Rectangle 9"/>
          <p:cNvSpPr/>
          <p:nvPr/>
        </p:nvSpPr>
        <p:spPr>
          <a:xfrm>
            <a:off x="6912864" y="1748790"/>
            <a:ext cx="2002536" cy="2575560"/>
          </a:xfrm>
          <a:prstGeom prst="rect">
            <a:avLst/>
          </a:prstGeom>
          <a:ln w="9525">
            <a:solidFill>
              <a:schemeClr val="accent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US" sz="1100" b="1" dirty="0"/>
              <a:t>Supporting Rational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/>
              <a:t>Sub-point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/>
              <a:t>Sub-point</a:t>
            </a:r>
          </a:p>
        </p:txBody>
      </p:sp>
      <p:sp>
        <p:nvSpPr>
          <p:cNvPr id="11" name="Text Placeholder 41">
            <a:extLst>
              <a:ext uri="{FF2B5EF4-FFF2-40B4-BE49-F238E27FC236}">
                <a16:creationId xmlns:a16="http://schemas.microsoft.com/office/drawing/2014/main" id="{C543ECD9-50E2-4CCC-95CD-6D2C3FF843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67DEE9E-B691-4F81-BEE2-7B05225997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804" y="3338328"/>
            <a:ext cx="746492" cy="746492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401F9A88-BDD6-484D-B172-01F5ADA473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4853" y="3338328"/>
            <a:ext cx="746492" cy="746492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72050594-4B47-46DD-B9FE-B9BAC13D42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96902" y="3338328"/>
            <a:ext cx="746492" cy="746492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4B4006F2-C80C-4216-8682-2B145059484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38950" y="3338328"/>
            <a:ext cx="746492" cy="746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7776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layou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34918E-7EB0-EB45-92D8-C32124FE5C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EAF9DB-6F40-460F-BF1F-2A84CCEEEA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89329B-CA23-AE4D-AC50-E5E895A9E3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086600" y="4933950"/>
            <a:ext cx="2057400" cy="182563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554072-2822-4C1D-9551-C73A1134819B}"/>
              </a:ext>
            </a:extLst>
          </p:cNvPr>
          <p:cNvSpPr/>
          <p:nvPr/>
        </p:nvSpPr>
        <p:spPr>
          <a:xfrm>
            <a:off x="203661" y="191193"/>
            <a:ext cx="8740833" cy="4671752"/>
          </a:xfrm>
          <a:prstGeom prst="rect">
            <a:avLst/>
          </a:prstGeom>
          <a:solidFill>
            <a:srgbClr val="336FCA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 indent="-631825" algn="ctr"/>
            <a:r>
              <a:rPr lang="en-US" sz="2800" dirty="0">
                <a:solidFill>
                  <a:schemeClr val="bg1"/>
                </a:solidFill>
              </a:rPr>
              <a:t>Processes, Paths, and Steps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0100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1070749" y="3030778"/>
            <a:ext cx="1922463" cy="815975"/>
            <a:chOff x="1030288" y="3184525"/>
            <a:chExt cx="1922463" cy="815975"/>
          </a:xfrm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1030288" y="3184525"/>
              <a:ext cx="1922463" cy="650875"/>
            </a:xfrm>
            <a:custGeom>
              <a:avLst/>
              <a:gdLst>
                <a:gd name="T0" fmla="*/ 1211 w 1211"/>
                <a:gd name="T1" fmla="*/ 0 h 410"/>
                <a:gd name="T2" fmla="*/ 1035 w 1211"/>
                <a:gd name="T3" fmla="*/ 410 h 410"/>
                <a:gd name="T4" fmla="*/ 0 w 1211"/>
                <a:gd name="T5" fmla="*/ 410 h 410"/>
                <a:gd name="T6" fmla="*/ 329 w 1211"/>
                <a:gd name="T7" fmla="*/ 0 h 410"/>
                <a:gd name="T8" fmla="*/ 1211 w 1211"/>
                <a:gd name="T9" fmla="*/ 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1" h="410">
                  <a:moveTo>
                    <a:pt x="1211" y="0"/>
                  </a:moveTo>
                  <a:lnTo>
                    <a:pt x="1035" y="410"/>
                  </a:lnTo>
                  <a:lnTo>
                    <a:pt x="0" y="410"/>
                  </a:lnTo>
                  <a:lnTo>
                    <a:pt x="329" y="0"/>
                  </a:lnTo>
                  <a:lnTo>
                    <a:pt x="121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" name="Rectangle 6"/>
            <p:cNvSpPr>
              <a:spLocks noChangeArrowheads="1"/>
            </p:cNvSpPr>
            <p:nvPr/>
          </p:nvSpPr>
          <p:spPr bwMode="auto">
            <a:xfrm>
              <a:off x="1030288" y="3835400"/>
              <a:ext cx="1643063" cy="1651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2673351" y="3184525"/>
              <a:ext cx="279400" cy="815975"/>
            </a:xfrm>
            <a:custGeom>
              <a:avLst/>
              <a:gdLst>
                <a:gd name="T0" fmla="*/ 0 w 176"/>
                <a:gd name="T1" fmla="*/ 410 h 514"/>
                <a:gd name="T2" fmla="*/ 0 w 176"/>
                <a:gd name="T3" fmla="*/ 514 h 514"/>
                <a:gd name="T4" fmla="*/ 176 w 176"/>
                <a:gd name="T5" fmla="*/ 99 h 514"/>
                <a:gd name="T6" fmla="*/ 176 w 176"/>
                <a:gd name="T7" fmla="*/ 0 h 514"/>
                <a:gd name="T8" fmla="*/ 0 w 176"/>
                <a:gd name="T9" fmla="*/ 41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" h="514">
                  <a:moveTo>
                    <a:pt x="0" y="410"/>
                  </a:moveTo>
                  <a:lnTo>
                    <a:pt x="0" y="514"/>
                  </a:lnTo>
                  <a:lnTo>
                    <a:pt x="176" y="99"/>
                  </a:lnTo>
                  <a:lnTo>
                    <a:pt x="176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2923713" y="2655692"/>
            <a:ext cx="1628775" cy="730249"/>
            <a:chOff x="2867026" y="2582863"/>
            <a:chExt cx="1628775" cy="730249"/>
          </a:xfrm>
          <a:solidFill>
            <a:schemeClr val="accent2"/>
          </a:solidFill>
        </p:grpSpPr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2867026" y="2582863"/>
              <a:ext cx="1628775" cy="579437"/>
            </a:xfrm>
            <a:custGeom>
              <a:avLst/>
              <a:gdLst>
                <a:gd name="T0" fmla="*/ 1026 w 1026"/>
                <a:gd name="T1" fmla="*/ 0 h 365"/>
                <a:gd name="T2" fmla="*/ 1026 w 1026"/>
                <a:gd name="T3" fmla="*/ 365 h 365"/>
                <a:gd name="T4" fmla="*/ 0 w 1026"/>
                <a:gd name="T5" fmla="*/ 365 h 365"/>
                <a:gd name="T6" fmla="*/ 153 w 1026"/>
                <a:gd name="T7" fmla="*/ 0 h 365"/>
                <a:gd name="T8" fmla="*/ 1026 w 1026"/>
                <a:gd name="T9" fmla="*/ 0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6" h="365">
                  <a:moveTo>
                    <a:pt x="1026" y="0"/>
                  </a:moveTo>
                  <a:lnTo>
                    <a:pt x="1026" y="365"/>
                  </a:lnTo>
                  <a:lnTo>
                    <a:pt x="0" y="365"/>
                  </a:lnTo>
                  <a:lnTo>
                    <a:pt x="153" y="0"/>
                  </a:lnTo>
                  <a:lnTo>
                    <a:pt x="1026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>
              <a:off x="2867026" y="3162300"/>
              <a:ext cx="1628775" cy="15081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5732890" y="1702076"/>
            <a:ext cx="1900238" cy="638175"/>
            <a:chOff x="6197601" y="1687513"/>
            <a:chExt cx="1900238" cy="638175"/>
          </a:xfrm>
          <a:solidFill>
            <a:schemeClr val="accent5"/>
          </a:solidFill>
        </p:grpSpPr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6197601" y="1687513"/>
              <a:ext cx="268849" cy="638175"/>
            </a:xfrm>
            <a:custGeom>
              <a:avLst/>
              <a:gdLst>
                <a:gd name="T0" fmla="*/ 166 w 166"/>
                <a:gd name="T1" fmla="*/ 320 h 402"/>
                <a:gd name="T2" fmla="*/ 166 w 166"/>
                <a:gd name="T3" fmla="*/ 402 h 402"/>
                <a:gd name="T4" fmla="*/ 0 w 166"/>
                <a:gd name="T5" fmla="*/ 77 h 402"/>
                <a:gd name="T6" fmla="*/ 0 w 166"/>
                <a:gd name="T7" fmla="*/ 0 h 402"/>
                <a:gd name="T8" fmla="*/ 166 w 166"/>
                <a:gd name="T9" fmla="*/ 320 h 402"/>
                <a:gd name="connsiteX0" fmla="*/ 12779 w 12779"/>
                <a:gd name="connsiteY0" fmla="*/ 7564 h 10000"/>
                <a:gd name="connsiteX1" fmla="*/ 10000 w 12779"/>
                <a:gd name="connsiteY1" fmla="*/ 10000 h 10000"/>
                <a:gd name="connsiteX2" fmla="*/ 0 w 12779"/>
                <a:gd name="connsiteY2" fmla="*/ 1915 h 10000"/>
                <a:gd name="connsiteX3" fmla="*/ 0 w 12779"/>
                <a:gd name="connsiteY3" fmla="*/ 0 h 10000"/>
                <a:gd name="connsiteX4" fmla="*/ 12779 w 12779"/>
                <a:gd name="connsiteY4" fmla="*/ 7564 h 10000"/>
                <a:gd name="connsiteX0" fmla="*/ 10151 w 10151"/>
                <a:gd name="connsiteY0" fmla="*/ 8086 h 10000"/>
                <a:gd name="connsiteX1" fmla="*/ 10000 w 10151"/>
                <a:gd name="connsiteY1" fmla="*/ 10000 h 10000"/>
                <a:gd name="connsiteX2" fmla="*/ 0 w 10151"/>
                <a:gd name="connsiteY2" fmla="*/ 1915 h 10000"/>
                <a:gd name="connsiteX3" fmla="*/ 0 w 10151"/>
                <a:gd name="connsiteY3" fmla="*/ 0 h 10000"/>
                <a:gd name="connsiteX4" fmla="*/ 10151 w 10151"/>
                <a:gd name="connsiteY4" fmla="*/ 8086 h 10000"/>
                <a:gd name="connsiteX0" fmla="*/ 10202 w 10202"/>
                <a:gd name="connsiteY0" fmla="*/ 7919 h 10000"/>
                <a:gd name="connsiteX1" fmla="*/ 10000 w 10202"/>
                <a:gd name="connsiteY1" fmla="*/ 10000 h 10000"/>
                <a:gd name="connsiteX2" fmla="*/ 0 w 10202"/>
                <a:gd name="connsiteY2" fmla="*/ 1915 h 10000"/>
                <a:gd name="connsiteX3" fmla="*/ 0 w 10202"/>
                <a:gd name="connsiteY3" fmla="*/ 0 h 10000"/>
                <a:gd name="connsiteX4" fmla="*/ 10202 w 10202"/>
                <a:gd name="connsiteY4" fmla="*/ 7919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02" h="10000">
                  <a:moveTo>
                    <a:pt x="10202" y="7919"/>
                  </a:moveTo>
                  <a:cubicBezTo>
                    <a:pt x="10152" y="8557"/>
                    <a:pt x="10050" y="9362"/>
                    <a:pt x="10000" y="10000"/>
                  </a:cubicBezTo>
                  <a:lnTo>
                    <a:pt x="0" y="1915"/>
                  </a:lnTo>
                  <a:lnTo>
                    <a:pt x="0" y="0"/>
                  </a:lnTo>
                  <a:lnTo>
                    <a:pt x="10202" y="7919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6197601" y="1687513"/>
              <a:ext cx="1900238" cy="508000"/>
            </a:xfrm>
            <a:custGeom>
              <a:avLst/>
              <a:gdLst>
                <a:gd name="T0" fmla="*/ 0 w 1197"/>
                <a:gd name="T1" fmla="*/ 0 h 320"/>
                <a:gd name="T2" fmla="*/ 166 w 1197"/>
                <a:gd name="T3" fmla="*/ 320 h 320"/>
                <a:gd name="T4" fmla="*/ 1197 w 1197"/>
                <a:gd name="T5" fmla="*/ 320 h 320"/>
                <a:gd name="T6" fmla="*/ 877 w 1197"/>
                <a:gd name="T7" fmla="*/ 0 h 320"/>
                <a:gd name="T8" fmla="*/ 0 w 1197"/>
                <a:gd name="T9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7" h="320">
                  <a:moveTo>
                    <a:pt x="0" y="0"/>
                  </a:moveTo>
                  <a:lnTo>
                    <a:pt x="166" y="320"/>
                  </a:lnTo>
                  <a:lnTo>
                    <a:pt x="1197" y="320"/>
                  </a:lnTo>
                  <a:lnTo>
                    <a:pt x="87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Rectangle 11"/>
            <p:cNvSpPr>
              <a:spLocks noChangeArrowheads="1"/>
            </p:cNvSpPr>
            <p:nvPr/>
          </p:nvSpPr>
          <p:spPr bwMode="auto">
            <a:xfrm>
              <a:off x="6461126" y="2195513"/>
              <a:ext cx="1636713" cy="130175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4544586" y="2173207"/>
            <a:ext cx="1630363" cy="695994"/>
            <a:chOff x="4638676" y="2123406"/>
            <a:chExt cx="1630363" cy="695994"/>
          </a:xfrm>
          <a:solidFill>
            <a:schemeClr val="accent3"/>
          </a:solidFill>
        </p:grpSpPr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4638676" y="2123406"/>
              <a:ext cx="1630363" cy="550862"/>
            </a:xfrm>
            <a:custGeom>
              <a:avLst/>
              <a:gdLst>
                <a:gd name="T0" fmla="*/ 0 w 1027"/>
                <a:gd name="T1" fmla="*/ 0 h 347"/>
                <a:gd name="T2" fmla="*/ 0 w 1027"/>
                <a:gd name="T3" fmla="*/ 347 h 347"/>
                <a:gd name="T4" fmla="*/ 1027 w 1027"/>
                <a:gd name="T5" fmla="*/ 347 h 347"/>
                <a:gd name="T6" fmla="*/ 869 w 1027"/>
                <a:gd name="T7" fmla="*/ 0 h 347"/>
                <a:gd name="T8" fmla="*/ 0 w 1027"/>
                <a:gd name="T9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7" h="347">
                  <a:moveTo>
                    <a:pt x="0" y="0"/>
                  </a:moveTo>
                  <a:lnTo>
                    <a:pt x="0" y="347"/>
                  </a:lnTo>
                  <a:lnTo>
                    <a:pt x="1027" y="347"/>
                  </a:lnTo>
                  <a:lnTo>
                    <a:pt x="86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Rectangle 14"/>
            <p:cNvSpPr>
              <a:spLocks noChangeArrowheads="1"/>
            </p:cNvSpPr>
            <p:nvPr/>
          </p:nvSpPr>
          <p:spPr bwMode="auto">
            <a:xfrm>
              <a:off x="4638676" y="2668588"/>
              <a:ext cx="1630363" cy="150812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12811" cy="545464"/>
          </a:xfrm>
        </p:spPr>
        <p:txBody>
          <a:bodyPr/>
          <a:lstStyle/>
          <a:p>
            <a:r>
              <a:rPr lang="en-US" dirty="0"/>
              <a:t>Process or steps</a:t>
            </a:r>
          </a:p>
        </p:txBody>
      </p:sp>
      <p:sp>
        <p:nvSpPr>
          <p:cNvPr id="72" name="Rectangle 71"/>
          <p:cNvSpPr/>
          <p:nvPr/>
        </p:nvSpPr>
        <p:spPr>
          <a:xfrm>
            <a:off x="1009062" y="3917195"/>
            <a:ext cx="2298538" cy="243015"/>
          </a:xfrm>
          <a:prstGeom prst="rect">
            <a:avLst/>
          </a:prstGeom>
        </p:spPr>
        <p:txBody>
          <a:bodyPr wrap="square" lIns="91440" rIns="91440" bIns="4572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Text</a:t>
            </a:r>
          </a:p>
        </p:txBody>
      </p:sp>
      <p:sp>
        <p:nvSpPr>
          <p:cNvPr id="73" name="Rectangle 72"/>
          <p:cNvSpPr/>
          <p:nvPr/>
        </p:nvSpPr>
        <p:spPr>
          <a:xfrm>
            <a:off x="2960843" y="3457879"/>
            <a:ext cx="2141181" cy="243015"/>
          </a:xfrm>
          <a:prstGeom prst="rect">
            <a:avLst/>
          </a:prstGeom>
        </p:spPr>
        <p:txBody>
          <a:bodyPr wrap="square" lIns="91440" rIns="91440" bIns="4572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Tex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4636274" y="2962609"/>
            <a:ext cx="2206849" cy="243015"/>
          </a:xfrm>
          <a:prstGeom prst="rect">
            <a:avLst/>
          </a:prstGeom>
        </p:spPr>
        <p:txBody>
          <a:bodyPr wrap="square" lIns="91440" rIns="91440" bIns="4572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Text</a:t>
            </a:r>
          </a:p>
        </p:txBody>
      </p:sp>
      <p:sp>
        <p:nvSpPr>
          <p:cNvPr id="75" name="Rectangle 74"/>
          <p:cNvSpPr/>
          <p:nvPr/>
        </p:nvSpPr>
        <p:spPr>
          <a:xfrm>
            <a:off x="6265315" y="2396882"/>
            <a:ext cx="2349988" cy="243015"/>
          </a:xfrm>
          <a:prstGeom prst="rect">
            <a:avLst/>
          </a:prstGeom>
        </p:spPr>
        <p:txBody>
          <a:bodyPr wrap="square" lIns="91440" rIns="91440" bIns="4572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Text</a:t>
            </a:r>
          </a:p>
        </p:txBody>
      </p:sp>
      <p:cxnSp>
        <p:nvCxnSpPr>
          <p:cNvPr id="78" name="Straight Arrow Connector 77"/>
          <p:cNvCxnSpPr/>
          <p:nvPr/>
        </p:nvCxnSpPr>
        <p:spPr>
          <a:xfrm>
            <a:off x="3778841" y="2373254"/>
            <a:ext cx="0" cy="544943"/>
          </a:xfrm>
          <a:prstGeom prst="straightConnector1">
            <a:avLst/>
          </a:prstGeom>
          <a:ln w="9525" cmpd="sng">
            <a:solidFill>
              <a:schemeClr val="tx1"/>
            </a:solidFill>
            <a:tailEnd type="oval" w="lg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>
          <a:xfrm>
            <a:off x="2191389" y="2766681"/>
            <a:ext cx="0" cy="544943"/>
          </a:xfrm>
          <a:prstGeom prst="straightConnector1">
            <a:avLst/>
          </a:prstGeom>
          <a:ln w="9525" cmpd="sng">
            <a:solidFill>
              <a:schemeClr val="tx1"/>
            </a:solidFill>
            <a:tailEnd type="oval" w="lg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1" name="Group 70"/>
          <p:cNvGrpSpPr/>
          <p:nvPr/>
        </p:nvGrpSpPr>
        <p:grpSpPr>
          <a:xfrm>
            <a:off x="1859249" y="2102387"/>
            <a:ext cx="664284" cy="664284"/>
            <a:chOff x="1721162" y="1842168"/>
            <a:chExt cx="859538" cy="859538"/>
          </a:xfrm>
        </p:grpSpPr>
        <p:sp>
          <p:nvSpPr>
            <p:cNvPr id="66" name="Oval 12"/>
            <p:cNvSpPr>
              <a:spLocks noChangeArrowheads="1"/>
            </p:cNvSpPr>
            <p:nvPr/>
          </p:nvSpPr>
          <p:spPr bwMode="auto">
            <a:xfrm>
              <a:off x="1721162" y="1842168"/>
              <a:ext cx="859538" cy="859538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1928383" y="2049721"/>
              <a:ext cx="445098" cy="444432"/>
              <a:chOff x="6131296" y="4321478"/>
              <a:chExt cx="387563" cy="386984"/>
            </a:xfrm>
          </p:grpSpPr>
          <p:sp>
            <p:nvSpPr>
              <p:cNvPr id="37" name="Freeform 126"/>
              <p:cNvSpPr>
                <a:spLocks/>
              </p:cNvSpPr>
              <p:nvPr/>
            </p:nvSpPr>
            <p:spPr bwMode="auto">
              <a:xfrm>
                <a:off x="6218258" y="4321478"/>
                <a:ext cx="300601" cy="300021"/>
              </a:xfrm>
              <a:custGeom>
                <a:avLst/>
                <a:gdLst>
                  <a:gd name="T0" fmla="*/ 205 w 439"/>
                  <a:gd name="T1" fmla="*/ 96 h 438"/>
                  <a:gd name="T2" fmla="*/ 422 w 439"/>
                  <a:gd name="T3" fmla="*/ 16 h 438"/>
                  <a:gd name="T4" fmla="*/ 342 w 439"/>
                  <a:gd name="T5" fmla="*/ 233 h 438"/>
                  <a:gd name="T6" fmla="*/ 126 w 439"/>
                  <a:gd name="T7" fmla="*/ 429 h 438"/>
                  <a:gd name="T8" fmla="*/ 51 w 439"/>
                  <a:gd name="T9" fmla="*/ 387 h 438"/>
                  <a:gd name="T10" fmla="*/ 9 w 439"/>
                  <a:gd name="T11" fmla="*/ 312 h 438"/>
                  <a:gd name="T12" fmla="*/ 205 w 439"/>
                  <a:gd name="T13" fmla="*/ 96 h 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9" h="438">
                    <a:moveTo>
                      <a:pt x="205" y="96"/>
                    </a:moveTo>
                    <a:cubicBezTo>
                      <a:pt x="287" y="14"/>
                      <a:pt x="405" y="0"/>
                      <a:pt x="422" y="16"/>
                    </a:cubicBezTo>
                    <a:cubicBezTo>
                      <a:pt x="439" y="33"/>
                      <a:pt x="424" y="151"/>
                      <a:pt x="342" y="233"/>
                    </a:cubicBezTo>
                    <a:cubicBezTo>
                      <a:pt x="126" y="429"/>
                      <a:pt x="126" y="429"/>
                      <a:pt x="126" y="429"/>
                    </a:cubicBezTo>
                    <a:cubicBezTo>
                      <a:pt x="117" y="438"/>
                      <a:pt x="83" y="419"/>
                      <a:pt x="51" y="387"/>
                    </a:cubicBezTo>
                    <a:cubicBezTo>
                      <a:pt x="19" y="355"/>
                      <a:pt x="0" y="322"/>
                      <a:pt x="9" y="312"/>
                    </a:cubicBezTo>
                    <a:lnTo>
                      <a:pt x="205" y="96"/>
                    </a:lnTo>
                    <a:close/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8" name="Freeform 127"/>
              <p:cNvSpPr>
                <a:spLocks/>
              </p:cNvSpPr>
              <p:nvPr/>
            </p:nvSpPr>
            <p:spPr bwMode="auto">
              <a:xfrm>
                <a:off x="6198257" y="4551639"/>
                <a:ext cx="89572" cy="89572"/>
              </a:xfrm>
              <a:custGeom>
                <a:avLst/>
                <a:gdLst>
                  <a:gd name="T0" fmla="*/ 41 w 131"/>
                  <a:gd name="T1" fmla="*/ 0 h 131"/>
                  <a:gd name="T2" fmla="*/ 8 w 131"/>
                  <a:gd name="T3" fmla="*/ 34 h 131"/>
                  <a:gd name="T4" fmla="*/ 38 w 131"/>
                  <a:gd name="T5" fmla="*/ 93 h 131"/>
                  <a:gd name="T6" fmla="*/ 97 w 131"/>
                  <a:gd name="T7" fmla="*/ 123 h 131"/>
                  <a:gd name="T8" fmla="*/ 131 w 131"/>
                  <a:gd name="T9" fmla="*/ 9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131">
                    <a:moveTo>
                      <a:pt x="41" y="0"/>
                    </a:moveTo>
                    <a:cubicBezTo>
                      <a:pt x="8" y="34"/>
                      <a:pt x="8" y="34"/>
                      <a:pt x="8" y="34"/>
                    </a:cubicBezTo>
                    <a:cubicBezTo>
                      <a:pt x="0" y="42"/>
                      <a:pt x="14" y="68"/>
                      <a:pt x="38" y="93"/>
                    </a:cubicBezTo>
                    <a:cubicBezTo>
                      <a:pt x="63" y="117"/>
                      <a:pt x="89" y="131"/>
                      <a:pt x="97" y="123"/>
                    </a:cubicBezTo>
                    <a:cubicBezTo>
                      <a:pt x="131" y="90"/>
                      <a:pt x="131" y="90"/>
                      <a:pt x="131" y="90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9" name="Freeform 128"/>
              <p:cNvSpPr>
                <a:spLocks/>
              </p:cNvSpPr>
              <p:nvPr/>
            </p:nvSpPr>
            <p:spPr bwMode="auto">
              <a:xfrm>
                <a:off x="6315367" y="4549610"/>
                <a:ext cx="66382" cy="129864"/>
              </a:xfrm>
              <a:custGeom>
                <a:avLst/>
                <a:gdLst>
                  <a:gd name="T0" fmla="*/ 90 w 97"/>
                  <a:gd name="T1" fmla="*/ 0 h 190"/>
                  <a:gd name="T2" fmla="*/ 82 w 97"/>
                  <a:gd name="T3" fmla="*/ 121 h 190"/>
                  <a:gd name="T4" fmla="*/ 5 w 97"/>
                  <a:gd name="T5" fmla="*/ 190 h 190"/>
                  <a:gd name="T6" fmla="*/ 0 w 97"/>
                  <a:gd name="T7" fmla="*/ 82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7" h="190">
                    <a:moveTo>
                      <a:pt x="90" y="0"/>
                    </a:moveTo>
                    <a:cubicBezTo>
                      <a:pt x="90" y="0"/>
                      <a:pt x="97" y="81"/>
                      <a:pt x="82" y="121"/>
                    </a:cubicBezTo>
                    <a:cubicBezTo>
                      <a:pt x="68" y="161"/>
                      <a:pt x="5" y="190"/>
                      <a:pt x="5" y="190"/>
                    </a:cubicBezTo>
                    <a:cubicBezTo>
                      <a:pt x="22" y="136"/>
                      <a:pt x="0" y="82"/>
                      <a:pt x="0" y="82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0" name="Freeform 129"/>
              <p:cNvSpPr>
                <a:spLocks/>
              </p:cNvSpPr>
              <p:nvPr/>
            </p:nvSpPr>
            <p:spPr bwMode="auto">
              <a:xfrm>
                <a:off x="6159993" y="4457720"/>
                <a:ext cx="130154" cy="66961"/>
              </a:xfrm>
              <a:custGeom>
                <a:avLst/>
                <a:gdLst>
                  <a:gd name="T0" fmla="*/ 190 w 190"/>
                  <a:gd name="T1" fmla="*/ 7 h 98"/>
                  <a:gd name="T2" fmla="*/ 69 w 190"/>
                  <a:gd name="T3" fmla="*/ 15 h 98"/>
                  <a:gd name="T4" fmla="*/ 0 w 190"/>
                  <a:gd name="T5" fmla="*/ 92 h 98"/>
                  <a:gd name="T6" fmla="*/ 108 w 190"/>
                  <a:gd name="T7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0" h="98">
                    <a:moveTo>
                      <a:pt x="190" y="7"/>
                    </a:moveTo>
                    <a:cubicBezTo>
                      <a:pt x="190" y="7"/>
                      <a:pt x="109" y="0"/>
                      <a:pt x="69" y="15"/>
                    </a:cubicBezTo>
                    <a:cubicBezTo>
                      <a:pt x="29" y="30"/>
                      <a:pt x="0" y="92"/>
                      <a:pt x="0" y="92"/>
                    </a:cubicBezTo>
                    <a:cubicBezTo>
                      <a:pt x="54" y="75"/>
                      <a:pt x="108" y="98"/>
                      <a:pt x="108" y="98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1" name="Freeform 130"/>
              <p:cNvSpPr>
                <a:spLocks/>
              </p:cNvSpPr>
              <p:nvPr/>
            </p:nvSpPr>
            <p:spPr bwMode="auto">
              <a:xfrm>
                <a:off x="6366675" y="4411919"/>
                <a:ext cx="60874" cy="60874"/>
              </a:xfrm>
              <a:custGeom>
                <a:avLst/>
                <a:gdLst>
                  <a:gd name="T0" fmla="*/ 73 w 89"/>
                  <a:gd name="T1" fmla="*/ 73 h 89"/>
                  <a:gd name="T2" fmla="*/ 16 w 89"/>
                  <a:gd name="T3" fmla="*/ 73 h 89"/>
                  <a:gd name="T4" fmla="*/ 16 w 89"/>
                  <a:gd name="T5" fmla="*/ 16 h 89"/>
                  <a:gd name="T6" fmla="*/ 73 w 89"/>
                  <a:gd name="T7" fmla="*/ 16 h 89"/>
                  <a:gd name="T8" fmla="*/ 73 w 89"/>
                  <a:gd name="T9" fmla="*/ 73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89">
                    <a:moveTo>
                      <a:pt x="73" y="73"/>
                    </a:moveTo>
                    <a:cubicBezTo>
                      <a:pt x="57" y="89"/>
                      <a:pt x="32" y="89"/>
                      <a:pt x="16" y="73"/>
                    </a:cubicBezTo>
                    <a:cubicBezTo>
                      <a:pt x="0" y="57"/>
                      <a:pt x="0" y="32"/>
                      <a:pt x="16" y="16"/>
                    </a:cubicBezTo>
                    <a:cubicBezTo>
                      <a:pt x="32" y="0"/>
                      <a:pt x="57" y="0"/>
                      <a:pt x="73" y="16"/>
                    </a:cubicBezTo>
                    <a:cubicBezTo>
                      <a:pt x="89" y="32"/>
                      <a:pt x="89" y="57"/>
                      <a:pt x="73" y="73"/>
                    </a:cubicBezTo>
                    <a:close/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2" name="Freeform 131"/>
              <p:cNvSpPr>
                <a:spLocks/>
              </p:cNvSpPr>
              <p:nvPr/>
            </p:nvSpPr>
            <p:spPr bwMode="auto">
              <a:xfrm>
                <a:off x="6131296" y="4613093"/>
                <a:ext cx="95079" cy="95369"/>
              </a:xfrm>
              <a:custGeom>
                <a:avLst/>
                <a:gdLst>
                  <a:gd name="T0" fmla="*/ 92 w 139"/>
                  <a:gd name="T1" fmla="*/ 5 h 139"/>
                  <a:gd name="T2" fmla="*/ 35 w 139"/>
                  <a:gd name="T3" fmla="*/ 24 h 139"/>
                  <a:gd name="T4" fmla="*/ 0 w 139"/>
                  <a:gd name="T5" fmla="*/ 139 h 139"/>
                  <a:gd name="T6" fmla="*/ 115 w 139"/>
                  <a:gd name="T7" fmla="*/ 104 h 139"/>
                  <a:gd name="T8" fmla="*/ 134 w 139"/>
                  <a:gd name="T9" fmla="*/ 47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9" h="139">
                    <a:moveTo>
                      <a:pt x="92" y="5"/>
                    </a:moveTo>
                    <a:cubicBezTo>
                      <a:pt x="74" y="0"/>
                      <a:pt x="54" y="5"/>
                      <a:pt x="35" y="24"/>
                    </a:cubicBezTo>
                    <a:cubicBezTo>
                      <a:pt x="7" y="53"/>
                      <a:pt x="11" y="103"/>
                      <a:pt x="0" y="139"/>
                    </a:cubicBezTo>
                    <a:cubicBezTo>
                      <a:pt x="37" y="125"/>
                      <a:pt x="86" y="132"/>
                      <a:pt x="115" y="104"/>
                    </a:cubicBezTo>
                    <a:cubicBezTo>
                      <a:pt x="134" y="85"/>
                      <a:pt x="139" y="65"/>
                      <a:pt x="134" y="47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70" name="Group 69"/>
          <p:cNvGrpSpPr/>
          <p:nvPr/>
        </p:nvGrpSpPr>
        <p:grpSpPr>
          <a:xfrm>
            <a:off x="3441282" y="1738985"/>
            <a:ext cx="664284" cy="664284"/>
            <a:chOff x="3309018" y="1537368"/>
            <a:chExt cx="859538" cy="859538"/>
          </a:xfrm>
          <a:solidFill>
            <a:schemeClr val="accent5">
              <a:lumMod val="75000"/>
            </a:schemeClr>
          </a:solidFill>
        </p:grpSpPr>
        <p:sp>
          <p:nvSpPr>
            <p:cNvPr id="63" name="Oval 12"/>
            <p:cNvSpPr>
              <a:spLocks noChangeArrowheads="1"/>
            </p:cNvSpPr>
            <p:nvPr/>
          </p:nvSpPr>
          <p:spPr bwMode="auto">
            <a:xfrm>
              <a:off x="3309018" y="1537368"/>
              <a:ext cx="859538" cy="85953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43" name="Group 42"/>
            <p:cNvGrpSpPr/>
            <p:nvPr/>
          </p:nvGrpSpPr>
          <p:grpSpPr>
            <a:xfrm>
              <a:off x="3574863" y="1751180"/>
              <a:ext cx="327849" cy="431914"/>
              <a:chOff x="1214719" y="1763038"/>
              <a:chExt cx="327849" cy="431914"/>
            </a:xfrm>
            <a:grpFill/>
          </p:grpSpPr>
          <p:sp>
            <p:nvSpPr>
              <p:cNvPr id="44" name="Freeform 262"/>
              <p:cNvSpPr>
                <a:spLocks/>
              </p:cNvSpPr>
              <p:nvPr/>
            </p:nvSpPr>
            <p:spPr bwMode="auto">
              <a:xfrm>
                <a:off x="1399370" y="1799272"/>
                <a:ext cx="116530" cy="360025"/>
              </a:xfrm>
              <a:custGeom>
                <a:avLst/>
                <a:gdLst>
                  <a:gd name="T0" fmla="*/ 168 w 170"/>
                  <a:gd name="T1" fmla="*/ 526 h 526"/>
                  <a:gd name="T2" fmla="*/ 0 w 170"/>
                  <a:gd name="T3" fmla="*/ 276 h 526"/>
                  <a:gd name="T4" fmla="*/ 0 w 170"/>
                  <a:gd name="T5" fmla="*/ 253 h 526"/>
                  <a:gd name="T6" fmla="*/ 170 w 170"/>
                  <a:gd name="T7" fmla="*/ 0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0" h="526">
                    <a:moveTo>
                      <a:pt x="168" y="526"/>
                    </a:moveTo>
                    <a:cubicBezTo>
                      <a:pt x="153" y="407"/>
                      <a:pt x="73" y="314"/>
                      <a:pt x="0" y="276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74" y="215"/>
                      <a:pt x="155" y="120"/>
                      <a:pt x="170" y="0"/>
                    </a:cubicBezTo>
                  </a:path>
                </a:pathLst>
              </a:custGeom>
              <a:grp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5" name="Freeform 263"/>
              <p:cNvSpPr>
                <a:spLocks/>
              </p:cNvSpPr>
              <p:nvPr/>
            </p:nvSpPr>
            <p:spPr bwMode="auto">
              <a:xfrm>
                <a:off x="1214719" y="2159297"/>
                <a:ext cx="327849" cy="35655"/>
              </a:xfrm>
              <a:custGeom>
                <a:avLst/>
                <a:gdLst>
                  <a:gd name="T0" fmla="*/ 27 w 479"/>
                  <a:gd name="T1" fmla="*/ 0 h 52"/>
                  <a:gd name="T2" fmla="*/ 0 w 479"/>
                  <a:gd name="T3" fmla="*/ 26 h 52"/>
                  <a:gd name="T4" fmla="*/ 27 w 479"/>
                  <a:gd name="T5" fmla="*/ 52 h 52"/>
                  <a:gd name="T6" fmla="*/ 453 w 479"/>
                  <a:gd name="T7" fmla="*/ 52 h 52"/>
                  <a:gd name="T8" fmla="*/ 479 w 479"/>
                  <a:gd name="T9" fmla="*/ 26 h 52"/>
                  <a:gd name="T10" fmla="*/ 453 w 479"/>
                  <a:gd name="T11" fmla="*/ 0 h 52"/>
                  <a:gd name="T12" fmla="*/ 27 w 479"/>
                  <a:gd name="T13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9" h="52">
                    <a:moveTo>
                      <a:pt x="27" y="0"/>
                    </a:moveTo>
                    <a:cubicBezTo>
                      <a:pt x="12" y="0"/>
                      <a:pt x="0" y="11"/>
                      <a:pt x="0" y="26"/>
                    </a:cubicBezTo>
                    <a:cubicBezTo>
                      <a:pt x="0" y="41"/>
                      <a:pt x="12" y="52"/>
                      <a:pt x="27" y="52"/>
                    </a:cubicBezTo>
                    <a:cubicBezTo>
                      <a:pt x="453" y="52"/>
                      <a:pt x="453" y="52"/>
                      <a:pt x="453" y="52"/>
                    </a:cubicBezTo>
                    <a:cubicBezTo>
                      <a:pt x="467" y="52"/>
                      <a:pt x="479" y="41"/>
                      <a:pt x="479" y="26"/>
                    </a:cubicBezTo>
                    <a:cubicBezTo>
                      <a:pt x="479" y="11"/>
                      <a:pt x="467" y="0"/>
                      <a:pt x="453" y="0"/>
                    </a:cubicBezTo>
                    <a:lnTo>
                      <a:pt x="27" y="0"/>
                    </a:lnTo>
                    <a:close/>
                  </a:path>
                </a:pathLst>
              </a:custGeom>
              <a:grp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6" name="Freeform 264"/>
              <p:cNvSpPr>
                <a:spLocks/>
              </p:cNvSpPr>
              <p:nvPr/>
            </p:nvSpPr>
            <p:spPr bwMode="auto">
              <a:xfrm>
                <a:off x="1243996" y="1799272"/>
                <a:ext cx="115081" cy="360025"/>
              </a:xfrm>
              <a:custGeom>
                <a:avLst/>
                <a:gdLst>
                  <a:gd name="T0" fmla="*/ 0 w 168"/>
                  <a:gd name="T1" fmla="*/ 0 h 526"/>
                  <a:gd name="T2" fmla="*/ 168 w 168"/>
                  <a:gd name="T3" fmla="*/ 253 h 526"/>
                  <a:gd name="T4" fmla="*/ 168 w 168"/>
                  <a:gd name="T5" fmla="*/ 276 h 526"/>
                  <a:gd name="T6" fmla="*/ 0 w 168"/>
                  <a:gd name="T7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8" h="526">
                    <a:moveTo>
                      <a:pt x="0" y="0"/>
                    </a:moveTo>
                    <a:cubicBezTo>
                      <a:pt x="14" y="120"/>
                      <a:pt x="95" y="215"/>
                      <a:pt x="168" y="253"/>
                    </a:cubicBezTo>
                    <a:cubicBezTo>
                      <a:pt x="168" y="276"/>
                      <a:pt x="168" y="276"/>
                      <a:pt x="168" y="276"/>
                    </a:cubicBezTo>
                    <a:cubicBezTo>
                      <a:pt x="96" y="314"/>
                      <a:pt x="16" y="407"/>
                      <a:pt x="0" y="526"/>
                    </a:cubicBezTo>
                  </a:path>
                </a:pathLst>
              </a:custGeom>
              <a:grp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7" name="Freeform 265"/>
              <p:cNvSpPr>
                <a:spLocks/>
              </p:cNvSpPr>
              <p:nvPr/>
            </p:nvSpPr>
            <p:spPr bwMode="auto">
              <a:xfrm>
                <a:off x="1214719" y="1763038"/>
                <a:ext cx="327849" cy="36234"/>
              </a:xfrm>
              <a:custGeom>
                <a:avLst/>
                <a:gdLst>
                  <a:gd name="T0" fmla="*/ 453 w 479"/>
                  <a:gd name="T1" fmla="*/ 53 h 53"/>
                  <a:gd name="T2" fmla="*/ 479 w 479"/>
                  <a:gd name="T3" fmla="*/ 26 h 53"/>
                  <a:gd name="T4" fmla="*/ 453 w 479"/>
                  <a:gd name="T5" fmla="*/ 0 h 53"/>
                  <a:gd name="T6" fmla="*/ 27 w 479"/>
                  <a:gd name="T7" fmla="*/ 0 h 53"/>
                  <a:gd name="T8" fmla="*/ 0 w 479"/>
                  <a:gd name="T9" fmla="*/ 26 h 53"/>
                  <a:gd name="T10" fmla="*/ 27 w 479"/>
                  <a:gd name="T11" fmla="*/ 53 h 53"/>
                  <a:gd name="T12" fmla="*/ 453 w 479"/>
                  <a:gd name="T13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9" h="53">
                    <a:moveTo>
                      <a:pt x="453" y="53"/>
                    </a:moveTo>
                    <a:cubicBezTo>
                      <a:pt x="467" y="53"/>
                      <a:pt x="479" y="41"/>
                      <a:pt x="479" y="26"/>
                    </a:cubicBezTo>
                    <a:cubicBezTo>
                      <a:pt x="479" y="12"/>
                      <a:pt x="467" y="0"/>
                      <a:pt x="453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12" y="0"/>
                      <a:pt x="0" y="12"/>
                      <a:pt x="0" y="26"/>
                    </a:cubicBezTo>
                    <a:cubicBezTo>
                      <a:pt x="0" y="41"/>
                      <a:pt x="12" y="53"/>
                      <a:pt x="27" y="53"/>
                    </a:cubicBezTo>
                    <a:lnTo>
                      <a:pt x="453" y="53"/>
                    </a:lnTo>
                    <a:close/>
                  </a:path>
                </a:pathLst>
              </a:custGeom>
              <a:grp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8" name="Freeform 266"/>
              <p:cNvSpPr>
                <a:spLocks/>
              </p:cNvSpPr>
              <p:nvPr/>
            </p:nvSpPr>
            <p:spPr bwMode="auto">
              <a:xfrm>
                <a:off x="1261969" y="1834927"/>
                <a:ext cx="233350" cy="68411"/>
              </a:xfrm>
              <a:custGeom>
                <a:avLst/>
                <a:gdLst>
                  <a:gd name="T0" fmla="*/ 341 w 341"/>
                  <a:gd name="T1" fmla="*/ 55 h 100"/>
                  <a:gd name="T2" fmla="*/ 0 w 341"/>
                  <a:gd name="T3" fmla="*/ 4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41" h="100">
                    <a:moveTo>
                      <a:pt x="341" y="55"/>
                    </a:moveTo>
                    <a:cubicBezTo>
                      <a:pt x="264" y="0"/>
                      <a:pt x="103" y="100"/>
                      <a:pt x="0" y="48"/>
                    </a:cubicBezTo>
                  </a:path>
                </a:pathLst>
              </a:custGeom>
              <a:grp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9" name="Freeform 267"/>
              <p:cNvSpPr>
                <a:spLocks/>
              </p:cNvSpPr>
              <p:nvPr/>
            </p:nvSpPr>
            <p:spPr bwMode="auto">
              <a:xfrm>
                <a:off x="1264577" y="2090886"/>
                <a:ext cx="94499" cy="13624"/>
              </a:xfrm>
              <a:custGeom>
                <a:avLst/>
                <a:gdLst>
                  <a:gd name="T0" fmla="*/ 138 w 138"/>
                  <a:gd name="T1" fmla="*/ 10 h 20"/>
                  <a:gd name="T2" fmla="*/ 0 w 138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8" h="20">
                    <a:moveTo>
                      <a:pt x="138" y="10"/>
                    </a:moveTo>
                    <a:cubicBezTo>
                      <a:pt x="89" y="18"/>
                      <a:pt x="41" y="20"/>
                      <a:pt x="0" y="0"/>
                    </a:cubicBezTo>
                  </a:path>
                </a:pathLst>
              </a:custGeom>
              <a:grp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0" name="Freeform 268"/>
              <p:cNvSpPr>
                <a:spLocks/>
              </p:cNvSpPr>
              <p:nvPr/>
            </p:nvSpPr>
            <p:spPr bwMode="auto">
              <a:xfrm>
                <a:off x="1399370" y="2079291"/>
                <a:ext cx="97398" cy="17103"/>
              </a:xfrm>
              <a:custGeom>
                <a:avLst/>
                <a:gdLst>
                  <a:gd name="T0" fmla="*/ 142 w 142"/>
                  <a:gd name="T1" fmla="*/ 25 h 25"/>
                  <a:gd name="T2" fmla="*/ 0 w 142"/>
                  <a:gd name="T3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2" h="25">
                    <a:moveTo>
                      <a:pt x="142" y="25"/>
                    </a:moveTo>
                    <a:cubicBezTo>
                      <a:pt x="107" y="0"/>
                      <a:pt x="56" y="7"/>
                      <a:pt x="0" y="17"/>
                    </a:cubicBezTo>
                  </a:path>
                </a:pathLst>
              </a:custGeom>
              <a:grp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1" name="Line 269"/>
              <p:cNvSpPr>
                <a:spLocks noChangeShapeType="1"/>
              </p:cNvSpPr>
              <p:nvPr/>
            </p:nvSpPr>
            <p:spPr bwMode="auto">
              <a:xfrm flipV="1">
                <a:off x="1359077" y="1984212"/>
                <a:ext cx="0" cy="113631"/>
              </a:xfrm>
              <a:prstGeom prst="line">
                <a:avLst/>
              </a:prstGeom>
              <a:grp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2" name="Line 270"/>
              <p:cNvSpPr>
                <a:spLocks noChangeShapeType="1"/>
              </p:cNvSpPr>
              <p:nvPr/>
            </p:nvSpPr>
            <p:spPr bwMode="auto">
              <a:xfrm flipV="1">
                <a:off x="1399370" y="1977255"/>
                <a:ext cx="0" cy="113631"/>
              </a:xfrm>
              <a:prstGeom prst="line">
                <a:avLst/>
              </a:prstGeom>
              <a:grp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cxnSp>
        <p:nvCxnSpPr>
          <p:cNvPr id="81" name="Straight Arrow Connector 80"/>
          <p:cNvCxnSpPr/>
          <p:nvPr/>
        </p:nvCxnSpPr>
        <p:spPr>
          <a:xfrm>
            <a:off x="5283101" y="1927620"/>
            <a:ext cx="0" cy="544943"/>
          </a:xfrm>
          <a:prstGeom prst="straightConnector1">
            <a:avLst/>
          </a:prstGeom>
          <a:ln w="9525" cmpd="sng">
            <a:solidFill>
              <a:schemeClr val="tx1"/>
            </a:solidFill>
            <a:tailEnd type="oval" w="lg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9" name="Group 68"/>
          <p:cNvGrpSpPr/>
          <p:nvPr/>
        </p:nvGrpSpPr>
        <p:grpSpPr>
          <a:xfrm>
            <a:off x="4950157" y="1286424"/>
            <a:ext cx="664282" cy="664284"/>
            <a:chOff x="4756818" y="1095106"/>
            <a:chExt cx="859536" cy="859538"/>
          </a:xfrm>
          <a:solidFill>
            <a:schemeClr val="accent3"/>
          </a:solidFill>
        </p:grpSpPr>
        <p:sp>
          <p:nvSpPr>
            <p:cNvPr id="57" name="Oval 12"/>
            <p:cNvSpPr>
              <a:spLocks noChangeArrowheads="1"/>
            </p:cNvSpPr>
            <p:nvPr/>
          </p:nvSpPr>
          <p:spPr bwMode="auto">
            <a:xfrm>
              <a:off x="4756818" y="1095106"/>
              <a:ext cx="859536" cy="85953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53" name="Group 52"/>
            <p:cNvGrpSpPr/>
            <p:nvPr/>
          </p:nvGrpSpPr>
          <p:grpSpPr>
            <a:xfrm>
              <a:off x="4993105" y="1255861"/>
              <a:ext cx="403217" cy="508152"/>
              <a:chOff x="7602413" y="4427138"/>
              <a:chExt cx="403217" cy="508152"/>
            </a:xfrm>
            <a:grpFill/>
          </p:grpSpPr>
          <p:sp>
            <p:nvSpPr>
              <p:cNvPr id="54" name="Freeform 32"/>
              <p:cNvSpPr>
                <a:spLocks/>
              </p:cNvSpPr>
              <p:nvPr/>
            </p:nvSpPr>
            <p:spPr bwMode="auto">
              <a:xfrm>
                <a:off x="7602413" y="4427138"/>
                <a:ext cx="403217" cy="508152"/>
              </a:xfrm>
              <a:custGeom>
                <a:avLst/>
                <a:gdLst>
                  <a:gd name="T0" fmla="*/ 1320 w 1391"/>
                  <a:gd name="T1" fmla="*/ 744 h 1753"/>
                  <a:gd name="T2" fmla="*/ 1391 w 1391"/>
                  <a:gd name="T3" fmla="*/ 678 h 1753"/>
                  <a:gd name="T4" fmla="*/ 1320 w 1391"/>
                  <a:gd name="T5" fmla="*/ 614 h 1753"/>
                  <a:gd name="T6" fmla="*/ 1377 w 1391"/>
                  <a:gd name="T7" fmla="*/ 536 h 1753"/>
                  <a:gd name="T8" fmla="*/ 1294 w 1391"/>
                  <a:gd name="T9" fmla="*/ 489 h 1753"/>
                  <a:gd name="T10" fmla="*/ 1332 w 1391"/>
                  <a:gd name="T11" fmla="*/ 402 h 1753"/>
                  <a:gd name="T12" fmla="*/ 1242 w 1391"/>
                  <a:gd name="T13" fmla="*/ 371 h 1753"/>
                  <a:gd name="T14" fmla="*/ 1261 w 1391"/>
                  <a:gd name="T15" fmla="*/ 276 h 1753"/>
                  <a:gd name="T16" fmla="*/ 1167 w 1391"/>
                  <a:gd name="T17" fmla="*/ 267 h 1753"/>
                  <a:gd name="T18" fmla="*/ 1164 w 1391"/>
                  <a:gd name="T19" fmla="*/ 170 h 1753"/>
                  <a:gd name="T20" fmla="*/ 1070 w 1391"/>
                  <a:gd name="T21" fmla="*/ 180 h 1753"/>
                  <a:gd name="T22" fmla="*/ 1049 w 1391"/>
                  <a:gd name="T23" fmla="*/ 88 h 1753"/>
                  <a:gd name="T24" fmla="*/ 959 w 1391"/>
                  <a:gd name="T25" fmla="*/ 116 h 1753"/>
                  <a:gd name="T26" fmla="*/ 919 w 1391"/>
                  <a:gd name="T27" fmla="*/ 28 h 1753"/>
                  <a:gd name="T28" fmla="*/ 836 w 1391"/>
                  <a:gd name="T29" fmla="*/ 76 h 1753"/>
                  <a:gd name="T30" fmla="*/ 779 w 1391"/>
                  <a:gd name="T31" fmla="*/ 0 h 1753"/>
                  <a:gd name="T32" fmla="*/ 709 w 1391"/>
                  <a:gd name="T33" fmla="*/ 62 h 1753"/>
                  <a:gd name="T34" fmla="*/ 635 w 1391"/>
                  <a:gd name="T35" fmla="*/ 0 h 1753"/>
                  <a:gd name="T36" fmla="*/ 579 w 1391"/>
                  <a:gd name="T37" fmla="*/ 76 h 1753"/>
                  <a:gd name="T38" fmla="*/ 496 w 1391"/>
                  <a:gd name="T39" fmla="*/ 28 h 1753"/>
                  <a:gd name="T40" fmla="*/ 456 w 1391"/>
                  <a:gd name="T41" fmla="*/ 116 h 1753"/>
                  <a:gd name="T42" fmla="*/ 366 w 1391"/>
                  <a:gd name="T43" fmla="*/ 88 h 1753"/>
                  <a:gd name="T44" fmla="*/ 345 w 1391"/>
                  <a:gd name="T45" fmla="*/ 180 h 1753"/>
                  <a:gd name="T46" fmla="*/ 250 w 1391"/>
                  <a:gd name="T47" fmla="*/ 170 h 1753"/>
                  <a:gd name="T48" fmla="*/ 248 w 1391"/>
                  <a:gd name="T49" fmla="*/ 267 h 1753"/>
                  <a:gd name="T50" fmla="*/ 153 w 1391"/>
                  <a:gd name="T51" fmla="*/ 276 h 1753"/>
                  <a:gd name="T52" fmla="*/ 172 w 1391"/>
                  <a:gd name="T53" fmla="*/ 371 h 1753"/>
                  <a:gd name="T54" fmla="*/ 83 w 1391"/>
                  <a:gd name="T55" fmla="*/ 402 h 1753"/>
                  <a:gd name="T56" fmla="*/ 120 w 1391"/>
                  <a:gd name="T57" fmla="*/ 489 h 1753"/>
                  <a:gd name="T58" fmla="*/ 38 w 1391"/>
                  <a:gd name="T59" fmla="*/ 536 h 1753"/>
                  <a:gd name="T60" fmla="*/ 94 w 1391"/>
                  <a:gd name="T61" fmla="*/ 614 h 1753"/>
                  <a:gd name="T62" fmla="*/ 24 w 1391"/>
                  <a:gd name="T63" fmla="*/ 678 h 1753"/>
                  <a:gd name="T64" fmla="*/ 94 w 1391"/>
                  <a:gd name="T65" fmla="*/ 744 h 1753"/>
                  <a:gd name="T66" fmla="*/ 38 w 1391"/>
                  <a:gd name="T67" fmla="*/ 822 h 1753"/>
                  <a:gd name="T68" fmla="*/ 120 w 1391"/>
                  <a:gd name="T69" fmla="*/ 869 h 1753"/>
                  <a:gd name="T70" fmla="*/ 83 w 1391"/>
                  <a:gd name="T71" fmla="*/ 957 h 1753"/>
                  <a:gd name="T72" fmla="*/ 172 w 1391"/>
                  <a:gd name="T73" fmla="*/ 988 h 1753"/>
                  <a:gd name="T74" fmla="*/ 153 w 1391"/>
                  <a:gd name="T75" fmla="*/ 1082 h 1753"/>
                  <a:gd name="T76" fmla="*/ 212 w 1391"/>
                  <a:gd name="T77" fmla="*/ 1087 h 1753"/>
                  <a:gd name="T78" fmla="*/ 0 w 1391"/>
                  <a:gd name="T79" fmla="*/ 1524 h 1753"/>
                  <a:gd name="T80" fmla="*/ 283 w 1391"/>
                  <a:gd name="T81" fmla="*/ 1538 h 1753"/>
                  <a:gd name="T82" fmla="*/ 472 w 1391"/>
                  <a:gd name="T83" fmla="*/ 1753 h 1753"/>
                  <a:gd name="T84" fmla="*/ 685 w 1391"/>
                  <a:gd name="T85" fmla="*/ 1316 h 1753"/>
                  <a:gd name="T86" fmla="*/ 709 w 1391"/>
                  <a:gd name="T87" fmla="*/ 1297 h 1753"/>
                  <a:gd name="T88" fmla="*/ 737 w 1391"/>
                  <a:gd name="T89" fmla="*/ 1323 h 1753"/>
                  <a:gd name="T90" fmla="*/ 883 w 1391"/>
                  <a:gd name="T91" fmla="*/ 1647 h 1753"/>
                  <a:gd name="T92" fmla="*/ 1061 w 1391"/>
                  <a:gd name="T93" fmla="*/ 1443 h 1753"/>
                  <a:gd name="T94" fmla="*/ 1335 w 1391"/>
                  <a:gd name="T95" fmla="*/ 1441 h 1753"/>
                  <a:gd name="T96" fmla="*/ 1174 w 1391"/>
                  <a:gd name="T97" fmla="*/ 1091 h 1753"/>
                  <a:gd name="T98" fmla="*/ 1261 w 1391"/>
                  <a:gd name="T99" fmla="*/ 1082 h 1753"/>
                  <a:gd name="T100" fmla="*/ 1242 w 1391"/>
                  <a:gd name="T101" fmla="*/ 988 h 1753"/>
                  <a:gd name="T102" fmla="*/ 1332 w 1391"/>
                  <a:gd name="T103" fmla="*/ 957 h 1753"/>
                  <a:gd name="T104" fmla="*/ 1294 w 1391"/>
                  <a:gd name="T105" fmla="*/ 869 h 1753"/>
                  <a:gd name="T106" fmla="*/ 1377 w 1391"/>
                  <a:gd name="T107" fmla="*/ 822 h 1753"/>
                  <a:gd name="T108" fmla="*/ 1320 w 1391"/>
                  <a:gd name="T109" fmla="*/ 744 h 17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91" h="1753">
                    <a:moveTo>
                      <a:pt x="1320" y="744"/>
                    </a:moveTo>
                    <a:lnTo>
                      <a:pt x="1391" y="678"/>
                    </a:lnTo>
                    <a:lnTo>
                      <a:pt x="1320" y="614"/>
                    </a:lnTo>
                    <a:lnTo>
                      <a:pt x="1377" y="536"/>
                    </a:lnTo>
                    <a:lnTo>
                      <a:pt x="1294" y="489"/>
                    </a:lnTo>
                    <a:lnTo>
                      <a:pt x="1332" y="402"/>
                    </a:lnTo>
                    <a:lnTo>
                      <a:pt x="1242" y="371"/>
                    </a:lnTo>
                    <a:lnTo>
                      <a:pt x="1261" y="276"/>
                    </a:lnTo>
                    <a:lnTo>
                      <a:pt x="1167" y="267"/>
                    </a:lnTo>
                    <a:lnTo>
                      <a:pt x="1164" y="170"/>
                    </a:lnTo>
                    <a:lnTo>
                      <a:pt x="1070" y="180"/>
                    </a:lnTo>
                    <a:lnTo>
                      <a:pt x="1049" y="88"/>
                    </a:lnTo>
                    <a:lnTo>
                      <a:pt x="959" y="116"/>
                    </a:lnTo>
                    <a:lnTo>
                      <a:pt x="919" y="28"/>
                    </a:lnTo>
                    <a:lnTo>
                      <a:pt x="836" y="76"/>
                    </a:lnTo>
                    <a:lnTo>
                      <a:pt x="779" y="0"/>
                    </a:lnTo>
                    <a:lnTo>
                      <a:pt x="709" y="62"/>
                    </a:lnTo>
                    <a:lnTo>
                      <a:pt x="635" y="0"/>
                    </a:lnTo>
                    <a:lnTo>
                      <a:pt x="579" y="76"/>
                    </a:lnTo>
                    <a:lnTo>
                      <a:pt x="496" y="28"/>
                    </a:lnTo>
                    <a:lnTo>
                      <a:pt x="456" y="116"/>
                    </a:lnTo>
                    <a:lnTo>
                      <a:pt x="366" y="88"/>
                    </a:lnTo>
                    <a:lnTo>
                      <a:pt x="345" y="180"/>
                    </a:lnTo>
                    <a:lnTo>
                      <a:pt x="250" y="170"/>
                    </a:lnTo>
                    <a:lnTo>
                      <a:pt x="248" y="267"/>
                    </a:lnTo>
                    <a:lnTo>
                      <a:pt x="153" y="276"/>
                    </a:lnTo>
                    <a:lnTo>
                      <a:pt x="172" y="371"/>
                    </a:lnTo>
                    <a:lnTo>
                      <a:pt x="83" y="402"/>
                    </a:lnTo>
                    <a:lnTo>
                      <a:pt x="120" y="489"/>
                    </a:lnTo>
                    <a:lnTo>
                      <a:pt x="38" y="536"/>
                    </a:lnTo>
                    <a:lnTo>
                      <a:pt x="94" y="614"/>
                    </a:lnTo>
                    <a:lnTo>
                      <a:pt x="24" y="678"/>
                    </a:lnTo>
                    <a:lnTo>
                      <a:pt x="94" y="744"/>
                    </a:lnTo>
                    <a:lnTo>
                      <a:pt x="38" y="822"/>
                    </a:lnTo>
                    <a:lnTo>
                      <a:pt x="120" y="869"/>
                    </a:lnTo>
                    <a:lnTo>
                      <a:pt x="83" y="957"/>
                    </a:lnTo>
                    <a:lnTo>
                      <a:pt x="172" y="988"/>
                    </a:lnTo>
                    <a:lnTo>
                      <a:pt x="153" y="1082"/>
                    </a:lnTo>
                    <a:lnTo>
                      <a:pt x="212" y="1087"/>
                    </a:lnTo>
                    <a:lnTo>
                      <a:pt x="0" y="1524"/>
                    </a:lnTo>
                    <a:lnTo>
                      <a:pt x="283" y="1538"/>
                    </a:lnTo>
                    <a:lnTo>
                      <a:pt x="472" y="1753"/>
                    </a:lnTo>
                    <a:lnTo>
                      <a:pt x="685" y="1316"/>
                    </a:lnTo>
                    <a:lnTo>
                      <a:pt x="709" y="1297"/>
                    </a:lnTo>
                    <a:lnTo>
                      <a:pt x="737" y="1323"/>
                    </a:lnTo>
                    <a:lnTo>
                      <a:pt x="883" y="1647"/>
                    </a:lnTo>
                    <a:lnTo>
                      <a:pt x="1061" y="1443"/>
                    </a:lnTo>
                    <a:lnTo>
                      <a:pt x="1335" y="1441"/>
                    </a:lnTo>
                    <a:lnTo>
                      <a:pt x="1174" y="1091"/>
                    </a:lnTo>
                    <a:lnTo>
                      <a:pt x="1261" y="1082"/>
                    </a:lnTo>
                    <a:lnTo>
                      <a:pt x="1242" y="988"/>
                    </a:lnTo>
                    <a:lnTo>
                      <a:pt x="1332" y="957"/>
                    </a:lnTo>
                    <a:lnTo>
                      <a:pt x="1294" y="869"/>
                    </a:lnTo>
                    <a:lnTo>
                      <a:pt x="1377" y="822"/>
                    </a:lnTo>
                    <a:lnTo>
                      <a:pt x="1320" y="744"/>
                    </a:lnTo>
                    <a:close/>
                  </a:path>
                </a:pathLst>
              </a:custGeom>
              <a:grp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5" name="Oval 33"/>
              <p:cNvSpPr>
                <a:spLocks noChangeArrowheads="1"/>
              </p:cNvSpPr>
              <p:nvPr/>
            </p:nvSpPr>
            <p:spPr bwMode="auto">
              <a:xfrm>
                <a:off x="7693434" y="4505984"/>
                <a:ext cx="228132" cy="227842"/>
              </a:xfrm>
              <a:prstGeom prst="ellipse">
                <a:avLst/>
              </a:prstGeom>
              <a:grp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cxnSp>
        <p:nvCxnSpPr>
          <p:cNvPr id="82" name="Straight Arrow Connector 81"/>
          <p:cNvCxnSpPr/>
          <p:nvPr/>
        </p:nvCxnSpPr>
        <p:spPr>
          <a:xfrm>
            <a:off x="6523677" y="1453071"/>
            <a:ext cx="0" cy="544943"/>
          </a:xfrm>
          <a:prstGeom prst="straightConnector1">
            <a:avLst/>
          </a:prstGeom>
          <a:ln w="9525" cmpd="sng">
            <a:solidFill>
              <a:schemeClr val="tx1"/>
            </a:solidFill>
            <a:tailEnd type="oval" w="lg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8" name="Group 67"/>
          <p:cNvGrpSpPr/>
          <p:nvPr/>
        </p:nvGrpSpPr>
        <p:grpSpPr>
          <a:xfrm>
            <a:off x="6187692" y="806521"/>
            <a:ext cx="664282" cy="664284"/>
            <a:chOff x="6280818" y="775368"/>
            <a:chExt cx="859536" cy="859538"/>
          </a:xfrm>
          <a:solidFill>
            <a:schemeClr val="accent2"/>
          </a:solidFill>
        </p:grpSpPr>
        <p:sp>
          <p:nvSpPr>
            <p:cNvPr id="60" name="Oval 12"/>
            <p:cNvSpPr>
              <a:spLocks noChangeArrowheads="1"/>
            </p:cNvSpPr>
            <p:nvPr/>
          </p:nvSpPr>
          <p:spPr bwMode="auto">
            <a:xfrm>
              <a:off x="6280818" y="775368"/>
              <a:ext cx="859536" cy="85953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6433610" y="1016863"/>
              <a:ext cx="553952" cy="376548"/>
              <a:chOff x="4232322" y="3438808"/>
              <a:chExt cx="553952" cy="376548"/>
            </a:xfrm>
            <a:grpFill/>
          </p:grpSpPr>
          <p:sp>
            <p:nvSpPr>
              <p:cNvPr id="31" name="Freeform 96"/>
              <p:cNvSpPr>
                <a:spLocks/>
              </p:cNvSpPr>
              <p:nvPr/>
            </p:nvSpPr>
            <p:spPr bwMode="auto">
              <a:xfrm>
                <a:off x="4237829" y="3564034"/>
                <a:ext cx="521196" cy="209000"/>
              </a:xfrm>
              <a:custGeom>
                <a:avLst/>
                <a:gdLst>
                  <a:gd name="T0" fmla="*/ 580 w 761"/>
                  <a:gd name="T1" fmla="*/ 305 h 305"/>
                  <a:gd name="T2" fmla="*/ 694 w 761"/>
                  <a:gd name="T3" fmla="*/ 185 h 305"/>
                  <a:gd name="T4" fmla="*/ 733 w 761"/>
                  <a:gd name="T5" fmla="*/ 0 h 305"/>
                  <a:gd name="T6" fmla="*/ 509 w 761"/>
                  <a:gd name="T7" fmla="*/ 0 h 305"/>
                  <a:gd name="T8" fmla="*/ 443 w 761"/>
                  <a:gd name="T9" fmla="*/ 81 h 305"/>
                  <a:gd name="T10" fmla="*/ 40 w 761"/>
                  <a:gd name="T11" fmla="*/ 81 h 305"/>
                  <a:gd name="T12" fmla="*/ 9 w 761"/>
                  <a:gd name="T13" fmla="*/ 165 h 305"/>
                  <a:gd name="T14" fmla="*/ 106 w 761"/>
                  <a:gd name="T15" fmla="*/ 303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61" h="305">
                    <a:moveTo>
                      <a:pt x="580" y="305"/>
                    </a:moveTo>
                    <a:cubicBezTo>
                      <a:pt x="616" y="281"/>
                      <a:pt x="667" y="239"/>
                      <a:pt x="694" y="185"/>
                    </a:cubicBezTo>
                    <a:cubicBezTo>
                      <a:pt x="749" y="73"/>
                      <a:pt x="761" y="0"/>
                      <a:pt x="733" y="0"/>
                    </a:cubicBezTo>
                    <a:cubicBezTo>
                      <a:pt x="705" y="0"/>
                      <a:pt x="548" y="0"/>
                      <a:pt x="509" y="0"/>
                    </a:cubicBezTo>
                    <a:cubicBezTo>
                      <a:pt x="471" y="0"/>
                      <a:pt x="473" y="81"/>
                      <a:pt x="443" y="81"/>
                    </a:cubicBezTo>
                    <a:cubicBezTo>
                      <a:pt x="414" y="81"/>
                      <a:pt x="80" y="81"/>
                      <a:pt x="40" y="81"/>
                    </a:cubicBezTo>
                    <a:cubicBezTo>
                      <a:pt x="0" y="81"/>
                      <a:pt x="2" y="138"/>
                      <a:pt x="9" y="165"/>
                    </a:cubicBezTo>
                    <a:cubicBezTo>
                      <a:pt x="16" y="190"/>
                      <a:pt x="48" y="263"/>
                      <a:pt x="106" y="303"/>
                    </a:cubicBezTo>
                  </a:path>
                </a:pathLst>
              </a:custGeom>
              <a:grp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2" name="Freeform 97"/>
              <p:cNvSpPr>
                <a:spLocks/>
              </p:cNvSpPr>
              <p:nvPr/>
            </p:nvSpPr>
            <p:spPr bwMode="auto">
              <a:xfrm>
                <a:off x="4287978" y="3803181"/>
                <a:ext cx="442930" cy="12175"/>
              </a:xfrm>
              <a:custGeom>
                <a:avLst/>
                <a:gdLst>
                  <a:gd name="T0" fmla="*/ 647 w 647"/>
                  <a:gd name="T1" fmla="*/ 18 h 18"/>
                  <a:gd name="T2" fmla="*/ 566 w 647"/>
                  <a:gd name="T3" fmla="*/ 0 h 18"/>
                  <a:gd name="T4" fmla="*/ 485 w 647"/>
                  <a:gd name="T5" fmla="*/ 18 h 18"/>
                  <a:gd name="T6" fmla="*/ 404 w 647"/>
                  <a:gd name="T7" fmla="*/ 0 h 18"/>
                  <a:gd name="T8" fmla="*/ 323 w 647"/>
                  <a:gd name="T9" fmla="*/ 18 h 18"/>
                  <a:gd name="T10" fmla="*/ 243 w 647"/>
                  <a:gd name="T11" fmla="*/ 0 h 18"/>
                  <a:gd name="T12" fmla="*/ 162 w 647"/>
                  <a:gd name="T13" fmla="*/ 18 h 18"/>
                  <a:gd name="T14" fmla="*/ 81 w 647"/>
                  <a:gd name="T15" fmla="*/ 0 h 18"/>
                  <a:gd name="T16" fmla="*/ 0 w 647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47" h="18">
                    <a:moveTo>
                      <a:pt x="647" y="18"/>
                    </a:moveTo>
                    <a:cubicBezTo>
                      <a:pt x="618" y="18"/>
                      <a:pt x="590" y="12"/>
                      <a:pt x="566" y="0"/>
                    </a:cubicBezTo>
                    <a:cubicBezTo>
                      <a:pt x="542" y="12"/>
                      <a:pt x="514" y="18"/>
                      <a:pt x="485" y="18"/>
                    </a:cubicBezTo>
                    <a:cubicBezTo>
                      <a:pt x="456" y="18"/>
                      <a:pt x="429" y="12"/>
                      <a:pt x="404" y="0"/>
                    </a:cubicBezTo>
                    <a:cubicBezTo>
                      <a:pt x="380" y="12"/>
                      <a:pt x="353" y="18"/>
                      <a:pt x="323" y="18"/>
                    </a:cubicBezTo>
                    <a:cubicBezTo>
                      <a:pt x="294" y="18"/>
                      <a:pt x="267" y="12"/>
                      <a:pt x="243" y="0"/>
                    </a:cubicBezTo>
                    <a:cubicBezTo>
                      <a:pt x="218" y="12"/>
                      <a:pt x="191" y="18"/>
                      <a:pt x="162" y="18"/>
                    </a:cubicBezTo>
                    <a:cubicBezTo>
                      <a:pt x="133" y="18"/>
                      <a:pt x="105" y="12"/>
                      <a:pt x="81" y="0"/>
                    </a:cubicBezTo>
                    <a:cubicBezTo>
                      <a:pt x="57" y="12"/>
                      <a:pt x="29" y="18"/>
                      <a:pt x="0" y="18"/>
                    </a:cubicBezTo>
                  </a:path>
                </a:pathLst>
              </a:custGeom>
              <a:grp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3" name="Freeform 98"/>
              <p:cNvSpPr>
                <a:spLocks/>
              </p:cNvSpPr>
              <p:nvPr/>
            </p:nvSpPr>
            <p:spPr bwMode="auto">
              <a:xfrm>
                <a:off x="4232322" y="3753902"/>
                <a:ext cx="553952" cy="20291"/>
              </a:xfrm>
              <a:custGeom>
                <a:avLst/>
                <a:gdLst>
                  <a:gd name="T0" fmla="*/ 0 w 809"/>
                  <a:gd name="T1" fmla="*/ 0 h 30"/>
                  <a:gd name="T2" fmla="*/ 81 w 809"/>
                  <a:gd name="T3" fmla="*/ 30 h 30"/>
                  <a:gd name="T4" fmla="*/ 162 w 809"/>
                  <a:gd name="T5" fmla="*/ 0 h 30"/>
                  <a:gd name="T6" fmla="*/ 243 w 809"/>
                  <a:gd name="T7" fmla="*/ 30 h 30"/>
                  <a:gd name="T8" fmla="*/ 324 w 809"/>
                  <a:gd name="T9" fmla="*/ 0 h 30"/>
                  <a:gd name="T10" fmla="*/ 404 w 809"/>
                  <a:gd name="T11" fmla="*/ 30 h 30"/>
                  <a:gd name="T12" fmla="*/ 485 w 809"/>
                  <a:gd name="T13" fmla="*/ 0 h 30"/>
                  <a:gd name="T14" fmla="*/ 566 w 809"/>
                  <a:gd name="T15" fmla="*/ 30 h 30"/>
                  <a:gd name="T16" fmla="*/ 647 w 809"/>
                  <a:gd name="T17" fmla="*/ 0 h 30"/>
                  <a:gd name="T18" fmla="*/ 728 w 809"/>
                  <a:gd name="T19" fmla="*/ 30 h 30"/>
                  <a:gd name="T20" fmla="*/ 809 w 809"/>
                  <a:gd name="T2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09" h="30">
                    <a:moveTo>
                      <a:pt x="0" y="0"/>
                    </a:moveTo>
                    <a:cubicBezTo>
                      <a:pt x="18" y="18"/>
                      <a:pt x="47" y="30"/>
                      <a:pt x="81" y="30"/>
                    </a:cubicBezTo>
                    <a:cubicBezTo>
                      <a:pt x="114" y="30"/>
                      <a:pt x="144" y="18"/>
                      <a:pt x="162" y="0"/>
                    </a:cubicBezTo>
                    <a:cubicBezTo>
                      <a:pt x="180" y="18"/>
                      <a:pt x="209" y="30"/>
                      <a:pt x="243" y="30"/>
                    </a:cubicBezTo>
                    <a:cubicBezTo>
                      <a:pt x="276" y="30"/>
                      <a:pt x="306" y="18"/>
                      <a:pt x="324" y="0"/>
                    </a:cubicBezTo>
                    <a:cubicBezTo>
                      <a:pt x="342" y="18"/>
                      <a:pt x="371" y="30"/>
                      <a:pt x="404" y="30"/>
                    </a:cubicBezTo>
                    <a:cubicBezTo>
                      <a:pt x="438" y="30"/>
                      <a:pt x="467" y="18"/>
                      <a:pt x="485" y="0"/>
                    </a:cubicBezTo>
                    <a:cubicBezTo>
                      <a:pt x="503" y="18"/>
                      <a:pt x="533" y="30"/>
                      <a:pt x="566" y="30"/>
                    </a:cubicBezTo>
                    <a:cubicBezTo>
                      <a:pt x="600" y="30"/>
                      <a:pt x="629" y="18"/>
                      <a:pt x="647" y="0"/>
                    </a:cubicBezTo>
                    <a:cubicBezTo>
                      <a:pt x="665" y="18"/>
                      <a:pt x="695" y="30"/>
                      <a:pt x="728" y="30"/>
                    </a:cubicBezTo>
                    <a:cubicBezTo>
                      <a:pt x="762" y="30"/>
                      <a:pt x="791" y="18"/>
                      <a:pt x="809" y="0"/>
                    </a:cubicBezTo>
                  </a:path>
                </a:pathLst>
              </a:custGeom>
              <a:grp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4" name="Freeform 99"/>
              <p:cNvSpPr>
                <a:spLocks/>
              </p:cNvSpPr>
              <p:nvPr/>
            </p:nvSpPr>
            <p:spPr bwMode="auto">
              <a:xfrm>
                <a:off x="4279572" y="3487507"/>
                <a:ext cx="151315" cy="132183"/>
              </a:xfrm>
              <a:custGeom>
                <a:avLst/>
                <a:gdLst>
                  <a:gd name="T0" fmla="*/ 57 w 522"/>
                  <a:gd name="T1" fmla="*/ 456 h 456"/>
                  <a:gd name="T2" fmla="*/ 57 w 522"/>
                  <a:gd name="T3" fmla="*/ 248 h 456"/>
                  <a:gd name="T4" fmla="*/ 0 w 522"/>
                  <a:gd name="T5" fmla="*/ 248 h 456"/>
                  <a:gd name="T6" fmla="*/ 0 w 522"/>
                  <a:gd name="T7" fmla="*/ 0 h 456"/>
                  <a:gd name="T8" fmla="*/ 522 w 522"/>
                  <a:gd name="T9" fmla="*/ 0 h 456"/>
                  <a:gd name="T10" fmla="*/ 466 w 522"/>
                  <a:gd name="T11" fmla="*/ 241 h 456"/>
                  <a:gd name="T12" fmla="*/ 385 w 522"/>
                  <a:gd name="T13" fmla="*/ 241 h 456"/>
                  <a:gd name="T14" fmla="*/ 385 w 522"/>
                  <a:gd name="T15" fmla="*/ 456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22" h="456">
                    <a:moveTo>
                      <a:pt x="57" y="456"/>
                    </a:moveTo>
                    <a:lnTo>
                      <a:pt x="57" y="248"/>
                    </a:lnTo>
                    <a:lnTo>
                      <a:pt x="0" y="248"/>
                    </a:lnTo>
                    <a:lnTo>
                      <a:pt x="0" y="0"/>
                    </a:lnTo>
                    <a:lnTo>
                      <a:pt x="522" y="0"/>
                    </a:lnTo>
                    <a:lnTo>
                      <a:pt x="466" y="241"/>
                    </a:lnTo>
                    <a:lnTo>
                      <a:pt x="385" y="241"/>
                    </a:lnTo>
                    <a:lnTo>
                      <a:pt x="385" y="456"/>
                    </a:lnTo>
                  </a:path>
                </a:pathLst>
              </a:custGeom>
              <a:grp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5" name="Line 100"/>
              <p:cNvSpPr>
                <a:spLocks noChangeShapeType="1"/>
              </p:cNvSpPr>
              <p:nvPr/>
            </p:nvSpPr>
            <p:spPr bwMode="auto">
              <a:xfrm flipV="1">
                <a:off x="4390014" y="3438808"/>
                <a:ext cx="0" cy="48699"/>
              </a:xfrm>
              <a:prstGeom prst="line">
                <a:avLst/>
              </a:prstGeom>
              <a:grp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sp>
        <p:nvSpPr>
          <p:cNvPr id="61" name="Footer Placeholder 99">
            <a:extLst>
              <a:ext uri="{FF2B5EF4-FFF2-40B4-BE49-F238E27FC236}">
                <a16:creationId xmlns:a16="http://schemas.microsoft.com/office/drawing/2014/main" id="{1AD2C812-06F1-458B-AA98-D66159120A4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2" name="Slide Number Placeholder 100">
            <a:extLst>
              <a:ext uri="{FF2B5EF4-FFF2-40B4-BE49-F238E27FC236}">
                <a16:creationId xmlns:a16="http://schemas.microsoft.com/office/drawing/2014/main" id="{5185EF40-986E-4F3C-94D2-796B742EF63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64" name="Text Placeholder 41">
            <a:extLst>
              <a:ext uri="{FF2B5EF4-FFF2-40B4-BE49-F238E27FC236}">
                <a16:creationId xmlns:a16="http://schemas.microsoft.com/office/drawing/2014/main" id="{326D30D0-1E85-418C-91C5-78569EA12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38885630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evron 6"/>
          <p:cNvSpPr/>
          <p:nvPr/>
        </p:nvSpPr>
        <p:spPr>
          <a:xfrm>
            <a:off x="6331465" y="1293897"/>
            <a:ext cx="2305463" cy="1226432"/>
          </a:xfrm>
          <a:prstGeom prst="chevron">
            <a:avLst>
              <a:gd name="adj" fmla="val 20758"/>
            </a:avLst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137160" tIns="0" bIns="68580" rtlCol="0" anchor="ctr" anchorCtr="0"/>
          <a:lstStyle/>
          <a:p>
            <a:pPr algn="ctr"/>
            <a:r>
              <a:rPr lang="en-US" sz="2400" dirty="0" err="1">
                <a:solidFill>
                  <a:srgbClr val="FFFFFF"/>
                </a:solidFill>
              </a:rPr>
              <a:t>Xxxx</a:t>
            </a:r>
            <a:endParaRPr lang="en-US" sz="2400" dirty="0">
              <a:solidFill>
                <a:srgbClr val="FFFFFF"/>
              </a:solidFill>
            </a:endParaRPr>
          </a:p>
          <a:p>
            <a:pPr algn="ctr"/>
            <a:r>
              <a:rPr lang="en-US" sz="1000" dirty="0" err="1">
                <a:solidFill>
                  <a:srgbClr val="FFFFFF"/>
                </a:solidFill>
              </a:rPr>
              <a:t>Xxxxx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xxxxx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xxxxxx</a:t>
            </a:r>
            <a:r>
              <a:rPr lang="en-US" sz="1000" dirty="0">
                <a:solidFill>
                  <a:srgbClr val="FFFFFF"/>
                </a:solidFill>
              </a:rPr>
              <a:t> xxx xx </a:t>
            </a:r>
            <a:r>
              <a:rPr lang="en-US" sz="1000" dirty="0" err="1">
                <a:solidFill>
                  <a:srgbClr val="FFFFFF"/>
                </a:solidFill>
              </a:rPr>
              <a:t>xxxxxxxx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xxxxxx</a:t>
            </a:r>
            <a:r>
              <a:rPr lang="en-US" sz="1000" dirty="0">
                <a:solidFill>
                  <a:srgbClr val="FFFFFF"/>
                </a:solidFill>
              </a:rPr>
              <a:t> x xx </a:t>
            </a:r>
          </a:p>
        </p:txBody>
      </p:sp>
      <p:sp>
        <p:nvSpPr>
          <p:cNvPr id="21" name="Chevron 20"/>
          <p:cNvSpPr/>
          <p:nvPr/>
        </p:nvSpPr>
        <p:spPr>
          <a:xfrm>
            <a:off x="4299716" y="1293897"/>
            <a:ext cx="2305463" cy="1226432"/>
          </a:xfrm>
          <a:prstGeom prst="chevron">
            <a:avLst>
              <a:gd name="adj" fmla="val 20758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137160" tIns="0" bIns="68580" rtlCol="0" anchor="ctr" anchorCtr="0"/>
          <a:lstStyle/>
          <a:p>
            <a:pPr algn="ctr"/>
            <a:r>
              <a:rPr lang="en-US" sz="2400" dirty="0" err="1">
                <a:solidFill>
                  <a:srgbClr val="FFFFFF"/>
                </a:solidFill>
              </a:rPr>
              <a:t>Xxxx</a:t>
            </a:r>
            <a:endParaRPr lang="en-US" sz="2400" dirty="0">
              <a:solidFill>
                <a:srgbClr val="FFFFFF"/>
              </a:solidFill>
            </a:endParaRPr>
          </a:p>
          <a:p>
            <a:pPr algn="ctr"/>
            <a:r>
              <a:rPr lang="en-US" sz="1000" dirty="0" err="1">
                <a:solidFill>
                  <a:srgbClr val="FFFFFF"/>
                </a:solidFill>
              </a:rPr>
              <a:t>Xxxxx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xxxxx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xxxxxx</a:t>
            </a:r>
            <a:r>
              <a:rPr lang="en-US" sz="1000" dirty="0">
                <a:solidFill>
                  <a:srgbClr val="FFFFFF"/>
                </a:solidFill>
              </a:rPr>
              <a:t> xxx xx </a:t>
            </a:r>
            <a:r>
              <a:rPr lang="en-US" sz="1000" dirty="0" err="1">
                <a:solidFill>
                  <a:srgbClr val="FFFFFF"/>
                </a:solidFill>
              </a:rPr>
              <a:t>xxxxxxxx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xxxxxx</a:t>
            </a:r>
            <a:r>
              <a:rPr lang="en-US" sz="1000" dirty="0">
                <a:solidFill>
                  <a:srgbClr val="FFFFFF"/>
                </a:solidFill>
              </a:rPr>
              <a:t> x xx </a:t>
            </a:r>
          </a:p>
        </p:txBody>
      </p:sp>
      <p:sp>
        <p:nvSpPr>
          <p:cNvPr id="22" name="Chevron 21"/>
          <p:cNvSpPr/>
          <p:nvPr/>
        </p:nvSpPr>
        <p:spPr>
          <a:xfrm>
            <a:off x="2267966" y="1293897"/>
            <a:ext cx="2305465" cy="1226432"/>
          </a:xfrm>
          <a:prstGeom prst="chevron">
            <a:avLst>
              <a:gd name="adj" fmla="val 20758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137160" tIns="0" bIns="68580" rtlCol="0" anchor="ctr" anchorCtr="0"/>
          <a:lstStyle/>
          <a:p>
            <a:pPr algn="ctr"/>
            <a:r>
              <a:rPr lang="en-US" sz="2400" dirty="0" err="1">
                <a:solidFill>
                  <a:srgbClr val="FFFFFF"/>
                </a:solidFill>
              </a:rPr>
              <a:t>Xxxx</a:t>
            </a:r>
            <a:endParaRPr lang="en-US" sz="2400" dirty="0">
              <a:solidFill>
                <a:srgbClr val="FFFFFF"/>
              </a:solidFill>
            </a:endParaRPr>
          </a:p>
          <a:p>
            <a:pPr algn="ctr"/>
            <a:r>
              <a:rPr lang="en-US" sz="1000" dirty="0" err="1">
                <a:solidFill>
                  <a:srgbClr val="FFFFFF"/>
                </a:solidFill>
              </a:rPr>
              <a:t>Xxxxx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xxxxx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xxxxxx</a:t>
            </a:r>
            <a:r>
              <a:rPr lang="en-US" sz="1000" dirty="0">
                <a:solidFill>
                  <a:srgbClr val="FFFFFF"/>
                </a:solidFill>
              </a:rPr>
              <a:t> xxx xx </a:t>
            </a:r>
            <a:r>
              <a:rPr lang="en-US" sz="1000" dirty="0" err="1">
                <a:solidFill>
                  <a:srgbClr val="FFFFFF"/>
                </a:solidFill>
              </a:rPr>
              <a:t>xxxxxxxx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xxxxxx</a:t>
            </a:r>
            <a:r>
              <a:rPr lang="en-US" sz="1000" dirty="0">
                <a:solidFill>
                  <a:srgbClr val="FFFFFF"/>
                </a:solidFill>
              </a:rPr>
              <a:t> x xx </a:t>
            </a:r>
          </a:p>
        </p:txBody>
      </p:sp>
      <p:sp>
        <p:nvSpPr>
          <p:cNvPr id="4" name="Pentagon 3"/>
          <p:cNvSpPr/>
          <p:nvPr/>
        </p:nvSpPr>
        <p:spPr>
          <a:xfrm>
            <a:off x="604168" y="1293897"/>
            <a:ext cx="1937513" cy="1226432"/>
          </a:xfrm>
          <a:prstGeom prst="homePlate">
            <a:avLst>
              <a:gd name="adj" fmla="val 22102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68580" tIns="0" bIns="68580" rtlCol="0" anchor="ctr" anchorCtr="0"/>
          <a:lstStyle/>
          <a:p>
            <a:pPr algn="ctr"/>
            <a:r>
              <a:rPr lang="en-US" sz="2400" dirty="0" err="1">
                <a:solidFill>
                  <a:srgbClr val="FFFFFF"/>
                </a:solidFill>
              </a:rPr>
              <a:t>Xxxx</a:t>
            </a:r>
            <a:endParaRPr lang="en-US" sz="2400" dirty="0">
              <a:solidFill>
                <a:srgbClr val="FFFFFF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1000" dirty="0" err="1">
                <a:solidFill>
                  <a:srgbClr val="FFFFFF"/>
                </a:solidFill>
              </a:rPr>
              <a:t>Xxxxx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xxxxx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xxxxxx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br>
              <a:rPr lang="en-US" sz="1000" dirty="0">
                <a:solidFill>
                  <a:srgbClr val="FFFFFF"/>
                </a:solidFill>
              </a:rPr>
            </a:br>
            <a:r>
              <a:rPr lang="en-US" sz="1000" dirty="0">
                <a:solidFill>
                  <a:srgbClr val="FFFFFF"/>
                </a:solidFill>
              </a:rPr>
              <a:t> xxx xx </a:t>
            </a:r>
            <a:r>
              <a:rPr lang="en-US" sz="1000" dirty="0" err="1">
                <a:solidFill>
                  <a:srgbClr val="FFFFFF"/>
                </a:solidFill>
              </a:rPr>
              <a:t>xxxxxxxx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br>
              <a:rPr lang="en-US" sz="1000" dirty="0">
                <a:solidFill>
                  <a:srgbClr val="FFFFFF"/>
                </a:solidFill>
              </a:rPr>
            </a:b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xxxxxx</a:t>
            </a:r>
            <a:r>
              <a:rPr lang="en-US" sz="1000" dirty="0">
                <a:solidFill>
                  <a:srgbClr val="FFFFFF"/>
                </a:solidFill>
              </a:rPr>
              <a:t> x xx </a:t>
            </a:r>
          </a:p>
        </p:txBody>
      </p:sp>
      <p:sp useBgFill="1">
        <p:nvSpPr>
          <p:cNvPr id="3" name="Rectangle 2"/>
          <p:cNvSpPr/>
          <p:nvPr/>
        </p:nvSpPr>
        <p:spPr>
          <a:xfrm>
            <a:off x="-209234" y="1057649"/>
            <a:ext cx="813402" cy="1755199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38691" cy="545464"/>
          </a:xfrm>
        </p:spPr>
        <p:txBody>
          <a:bodyPr/>
          <a:lstStyle/>
          <a:p>
            <a:r>
              <a:rPr lang="en-US" dirty="0"/>
              <a:t>Process or steps</a:t>
            </a:r>
          </a:p>
        </p:txBody>
      </p:sp>
      <p:sp>
        <p:nvSpPr>
          <p:cNvPr id="10" name="Oval 9"/>
          <p:cNvSpPr/>
          <p:nvPr/>
        </p:nvSpPr>
        <p:spPr>
          <a:xfrm>
            <a:off x="1284893" y="2812848"/>
            <a:ext cx="576064" cy="576064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Oval 10"/>
          <p:cNvSpPr/>
          <p:nvPr/>
        </p:nvSpPr>
        <p:spPr>
          <a:xfrm>
            <a:off x="3132666" y="2812848"/>
            <a:ext cx="576064" cy="576064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Oval 11"/>
          <p:cNvSpPr/>
          <p:nvPr/>
        </p:nvSpPr>
        <p:spPr>
          <a:xfrm>
            <a:off x="5176240" y="2812848"/>
            <a:ext cx="576064" cy="576064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Oval 12"/>
          <p:cNvSpPr/>
          <p:nvPr/>
        </p:nvSpPr>
        <p:spPr>
          <a:xfrm>
            <a:off x="7196164" y="2812848"/>
            <a:ext cx="576064" cy="576064"/>
          </a:xfrm>
          <a:prstGeom prst="ellipse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15" name="Straight Connector 14"/>
          <p:cNvCxnSpPr/>
          <p:nvPr/>
        </p:nvCxnSpPr>
        <p:spPr>
          <a:xfrm rot="5400000" flipH="1" flipV="1">
            <a:off x="3255846" y="2676153"/>
            <a:ext cx="329703" cy="1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rot="5400000" flipH="1" flipV="1">
            <a:off x="7319344" y="2676153"/>
            <a:ext cx="329703" cy="169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rot="5400000" flipH="1" flipV="1">
            <a:off x="1408073" y="2676153"/>
            <a:ext cx="329703" cy="169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rot="5400000" flipH="1" flipV="1">
            <a:off x="5299420" y="2676153"/>
            <a:ext cx="329703" cy="169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9104" y="2930883"/>
            <a:ext cx="250184" cy="33999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092" y="2934700"/>
            <a:ext cx="332360" cy="33236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6818" y="2988273"/>
            <a:ext cx="352214" cy="22521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0855" y="2919355"/>
            <a:ext cx="359686" cy="363048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814967" y="3549595"/>
            <a:ext cx="1515916" cy="695062"/>
          </a:xfrm>
          <a:prstGeom prst="rect">
            <a:avLst/>
          </a:prstGeom>
        </p:spPr>
        <p:txBody>
          <a:bodyPr wrap="square" lIns="182880" rIns="182880" bIns="45720">
            <a:spAutoFit/>
          </a:bodyPr>
          <a:lstStyle/>
          <a:p>
            <a:pPr algn="ctr">
              <a:lnSpc>
                <a:spcPct val="89000"/>
              </a:lnSpc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706314" y="3549595"/>
            <a:ext cx="1515916" cy="695062"/>
          </a:xfrm>
          <a:prstGeom prst="rect">
            <a:avLst/>
          </a:prstGeom>
        </p:spPr>
        <p:txBody>
          <a:bodyPr wrap="square" lIns="182880" rIns="182880" bIns="45720">
            <a:spAutoFit/>
          </a:bodyPr>
          <a:lstStyle/>
          <a:p>
            <a:pPr algn="ctr">
              <a:lnSpc>
                <a:spcPct val="89000"/>
              </a:lnSpc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</a:t>
            </a:r>
          </a:p>
        </p:txBody>
      </p:sp>
      <p:sp>
        <p:nvSpPr>
          <p:cNvPr id="30" name="Rectangle 29"/>
          <p:cNvSpPr/>
          <p:nvPr/>
        </p:nvSpPr>
        <p:spPr>
          <a:xfrm>
            <a:off x="2662740" y="3549595"/>
            <a:ext cx="1515916" cy="695062"/>
          </a:xfrm>
          <a:prstGeom prst="rect">
            <a:avLst/>
          </a:prstGeom>
        </p:spPr>
        <p:txBody>
          <a:bodyPr wrap="square" lIns="182880" rIns="182880" bIns="45720">
            <a:spAutoFit/>
          </a:bodyPr>
          <a:lstStyle/>
          <a:p>
            <a:pPr algn="ctr">
              <a:lnSpc>
                <a:spcPct val="89000"/>
              </a:lnSpc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726238" y="3549595"/>
            <a:ext cx="1515916" cy="695062"/>
          </a:xfrm>
          <a:prstGeom prst="rect">
            <a:avLst/>
          </a:prstGeom>
        </p:spPr>
        <p:txBody>
          <a:bodyPr wrap="square" lIns="182880" rIns="182880" bIns="45720">
            <a:spAutoFit/>
          </a:bodyPr>
          <a:lstStyle/>
          <a:p>
            <a:pPr algn="ctr">
              <a:lnSpc>
                <a:spcPct val="89000"/>
              </a:lnSpc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</a:t>
            </a:r>
          </a:p>
        </p:txBody>
      </p:sp>
      <p:sp>
        <p:nvSpPr>
          <p:cNvPr id="28" name="Footer Placeholder 99">
            <a:extLst>
              <a:ext uri="{FF2B5EF4-FFF2-40B4-BE49-F238E27FC236}">
                <a16:creationId xmlns:a16="http://schemas.microsoft.com/office/drawing/2014/main" id="{21674E82-A7AA-40A1-BD2C-7CD1B43A635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2" name="Slide Number Placeholder 100">
            <a:extLst>
              <a:ext uri="{FF2B5EF4-FFF2-40B4-BE49-F238E27FC236}">
                <a16:creationId xmlns:a16="http://schemas.microsoft.com/office/drawing/2014/main" id="{05E3EBDD-C61D-40AD-A0DC-1822C3A59B4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33" name="Text Placeholder 41">
            <a:extLst>
              <a:ext uri="{FF2B5EF4-FFF2-40B4-BE49-F238E27FC236}">
                <a16:creationId xmlns:a16="http://schemas.microsoft.com/office/drawing/2014/main" id="{B4F7EE59-5862-4BCE-B420-E547BF8145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36093097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5" name="Straight Connector 54"/>
          <p:cNvCxnSpPr/>
          <p:nvPr/>
        </p:nvCxnSpPr>
        <p:spPr>
          <a:xfrm>
            <a:off x="1552755" y="1916481"/>
            <a:ext cx="641932" cy="870223"/>
          </a:xfrm>
          <a:prstGeom prst="line">
            <a:avLst/>
          </a:prstGeom>
          <a:ln w="1905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H="1">
            <a:off x="2819401" y="2452525"/>
            <a:ext cx="622767" cy="411480"/>
          </a:xfrm>
          <a:prstGeom prst="line">
            <a:avLst/>
          </a:prstGeom>
          <a:ln w="1905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4117907" y="2424360"/>
            <a:ext cx="902175" cy="704088"/>
          </a:xfrm>
          <a:prstGeom prst="line">
            <a:avLst/>
          </a:prstGeom>
          <a:ln w="1905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55943" cy="545464"/>
          </a:xfrm>
        </p:spPr>
        <p:txBody>
          <a:bodyPr/>
          <a:lstStyle/>
          <a:p>
            <a:r>
              <a:rPr lang="en-US" dirty="0"/>
              <a:t>Process or path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676400" y="3520646"/>
            <a:ext cx="1600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err="1"/>
              <a:t>Xxxx</a:t>
            </a:r>
            <a:r>
              <a:rPr lang="en-US" sz="1600" dirty="0"/>
              <a:t> xxx</a:t>
            </a:r>
          </a:p>
          <a:p>
            <a:pPr algn="ctr"/>
            <a:r>
              <a:rPr lang="en-US" sz="1200" dirty="0"/>
              <a:t>2 xxx x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971800" y="2614018"/>
            <a:ext cx="1600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err="1"/>
              <a:t>Xxxxxxxxx</a:t>
            </a:r>
            <a:endParaRPr lang="en-US" sz="1600" dirty="0"/>
          </a:p>
          <a:p>
            <a:pPr algn="ctr"/>
            <a:r>
              <a:rPr lang="en-US" sz="1200" dirty="0"/>
              <a:t>6 xxx x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59298" y="3823038"/>
            <a:ext cx="1600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X xx </a:t>
            </a:r>
            <a:r>
              <a:rPr lang="en-US" sz="1600" dirty="0" err="1"/>
              <a:t>xxxxx</a:t>
            </a:r>
            <a:endParaRPr lang="en-US" sz="1600" dirty="0"/>
          </a:p>
          <a:p>
            <a:pPr algn="ctr"/>
            <a:r>
              <a:rPr lang="en-US" sz="1200" dirty="0"/>
              <a:t>8 xxx x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943600" y="2593678"/>
            <a:ext cx="1600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X </a:t>
            </a:r>
            <a:r>
              <a:rPr lang="en-US" sz="1600" dirty="0" err="1"/>
              <a:t>x</a:t>
            </a:r>
            <a:r>
              <a:rPr lang="en-US" sz="1600" dirty="0"/>
              <a:t> xxx </a:t>
            </a:r>
            <a:endParaRPr lang="en-US" sz="2400" dirty="0"/>
          </a:p>
          <a:p>
            <a:pPr algn="ctr"/>
            <a:r>
              <a:rPr lang="en-US" sz="1200" dirty="0"/>
              <a:t>12 xxx x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315200" y="1994238"/>
            <a:ext cx="1600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Xx x xx</a:t>
            </a:r>
            <a:endParaRPr lang="en-US" sz="2400" dirty="0"/>
          </a:p>
          <a:p>
            <a:pPr algn="ctr"/>
            <a:r>
              <a:rPr lang="en-US" sz="1200" dirty="0"/>
              <a:t>1 xxx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67797" y="2033542"/>
            <a:ext cx="1600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 </a:t>
            </a:r>
            <a:r>
              <a:rPr lang="en-US" sz="1600" dirty="0" err="1"/>
              <a:t>xxxx</a:t>
            </a:r>
            <a:r>
              <a:rPr lang="en-US" sz="1600" dirty="0"/>
              <a:t> xxx </a:t>
            </a:r>
          </a:p>
          <a:p>
            <a:pPr algn="ctr"/>
            <a:r>
              <a:rPr lang="en-US" sz="1200" dirty="0"/>
              <a:t>35 xxx x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864791" y="1129302"/>
            <a:ext cx="891964" cy="891964"/>
            <a:chOff x="6270997" y="2567237"/>
            <a:chExt cx="964115" cy="963693"/>
          </a:xfrm>
          <a:solidFill>
            <a:schemeClr val="accent2"/>
          </a:solidFill>
        </p:grpSpPr>
        <p:sp>
          <p:nvSpPr>
            <p:cNvPr id="23" name="Oval 94"/>
            <p:cNvSpPr>
              <a:spLocks noChangeArrowheads="1"/>
            </p:cNvSpPr>
            <p:nvPr/>
          </p:nvSpPr>
          <p:spPr bwMode="auto">
            <a:xfrm>
              <a:off x="6270997" y="2567237"/>
              <a:ext cx="964115" cy="96369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6554124" y="2729295"/>
              <a:ext cx="399126" cy="658142"/>
              <a:chOff x="6531329" y="2691707"/>
              <a:chExt cx="444716" cy="733318"/>
            </a:xfrm>
            <a:grpFill/>
          </p:grpSpPr>
          <p:sp>
            <p:nvSpPr>
              <p:cNvPr id="25" name="Freeform 95"/>
              <p:cNvSpPr>
                <a:spLocks/>
              </p:cNvSpPr>
              <p:nvPr/>
            </p:nvSpPr>
            <p:spPr bwMode="auto">
              <a:xfrm>
                <a:off x="6652002" y="3283678"/>
                <a:ext cx="203371" cy="52742"/>
              </a:xfrm>
              <a:custGeom>
                <a:avLst/>
                <a:gdLst>
                  <a:gd name="T0" fmla="*/ 177 w 204"/>
                  <a:gd name="T1" fmla="*/ 0 h 53"/>
                  <a:gd name="T2" fmla="*/ 26 w 204"/>
                  <a:gd name="T3" fmla="*/ 0 h 53"/>
                  <a:gd name="T4" fmla="*/ 0 w 204"/>
                  <a:gd name="T5" fmla="*/ 26 h 53"/>
                  <a:gd name="T6" fmla="*/ 26 w 204"/>
                  <a:gd name="T7" fmla="*/ 53 h 53"/>
                  <a:gd name="T8" fmla="*/ 177 w 204"/>
                  <a:gd name="T9" fmla="*/ 53 h 53"/>
                  <a:gd name="T10" fmla="*/ 204 w 204"/>
                  <a:gd name="T11" fmla="*/ 26 h 53"/>
                  <a:gd name="T12" fmla="*/ 177 w 204"/>
                  <a:gd name="T13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53">
                    <a:moveTo>
                      <a:pt x="177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12" y="0"/>
                      <a:pt x="0" y="12"/>
                      <a:pt x="0" y="26"/>
                    </a:cubicBezTo>
                    <a:cubicBezTo>
                      <a:pt x="0" y="41"/>
                      <a:pt x="12" y="53"/>
                      <a:pt x="26" y="53"/>
                    </a:cubicBezTo>
                    <a:cubicBezTo>
                      <a:pt x="177" y="53"/>
                      <a:pt x="177" y="53"/>
                      <a:pt x="177" y="53"/>
                    </a:cubicBezTo>
                    <a:cubicBezTo>
                      <a:pt x="192" y="53"/>
                      <a:pt x="204" y="41"/>
                      <a:pt x="204" y="26"/>
                    </a:cubicBezTo>
                    <a:cubicBezTo>
                      <a:pt x="204" y="12"/>
                      <a:pt x="192" y="0"/>
                      <a:pt x="177" y="0"/>
                    </a:cubicBezTo>
                    <a:close/>
                  </a:path>
                </a:pathLst>
              </a:custGeom>
              <a:grp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" name="Freeform 96"/>
              <p:cNvSpPr>
                <a:spLocks/>
              </p:cNvSpPr>
              <p:nvPr/>
            </p:nvSpPr>
            <p:spPr bwMode="auto">
              <a:xfrm>
                <a:off x="6652002" y="3336419"/>
                <a:ext cx="203371" cy="54007"/>
              </a:xfrm>
              <a:custGeom>
                <a:avLst/>
                <a:gdLst>
                  <a:gd name="T0" fmla="*/ 177 w 204"/>
                  <a:gd name="T1" fmla="*/ 0 h 54"/>
                  <a:gd name="T2" fmla="*/ 26 w 204"/>
                  <a:gd name="T3" fmla="*/ 0 h 54"/>
                  <a:gd name="T4" fmla="*/ 0 w 204"/>
                  <a:gd name="T5" fmla="*/ 27 h 54"/>
                  <a:gd name="T6" fmla="*/ 26 w 204"/>
                  <a:gd name="T7" fmla="*/ 54 h 54"/>
                  <a:gd name="T8" fmla="*/ 177 w 204"/>
                  <a:gd name="T9" fmla="*/ 54 h 54"/>
                  <a:gd name="T10" fmla="*/ 204 w 204"/>
                  <a:gd name="T11" fmla="*/ 27 h 54"/>
                  <a:gd name="T12" fmla="*/ 177 w 204"/>
                  <a:gd name="T13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54">
                    <a:moveTo>
                      <a:pt x="177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12" y="0"/>
                      <a:pt x="0" y="12"/>
                      <a:pt x="0" y="27"/>
                    </a:cubicBezTo>
                    <a:cubicBezTo>
                      <a:pt x="0" y="42"/>
                      <a:pt x="12" y="54"/>
                      <a:pt x="26" y="54"/>
                    </a:cubicBezTo>
                    <a:cubicBezTo>
                      <a:pt x="177" y="54"/>
                      <a:pt x="177" y="54"/>
                      <a:pt x="177" y="54"/>
                    </a:cubicBezTo>
                    <a:cubicBezTo>
                      <a:pt x="192" y="54"/>
                      <a:pt x="204" y="42"/>
                      <a:pt x="204" y="27"/>
                    </a:cubicBezTo>
                    <a:cubicBezTo>
                      <a:pt x="204" y="12"/>
                      <a:pt x="192" y="0"/>
                      <a:pt x="177" y="0"/>
                    </a:cubicBezTo>
                    <a:close/>
                  </a:path>
                </a:pathLst>
              </a:custGeom>
              <a:grp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7" name="Freeform 97"/>
              <p:cNvSpPr>
                <a:spLocks/>
              </p:cNvSpPr>
              <p:nvPr/>
            </p:nvSpPr>
            <p:spPr bwMode="auto">
              <a:xfrm>
                <a:off x="6687866" y="3390427"/>
                <a:ext cx="131643" cy="34598"/>
              </a:xfrm>
              <a:custGeom>
                <a:avLst/>
                <a:gdLst>
                  <a:gd name="T0" fmla="*/ 0 w 132"/>
                  <a:gd name="T1" fmla="*/ 0 h 35"/>
                  <a:gd name="T2" fmla="*/ 66 w 132"/>
                  <a:gd name="T3" fmla="*/ 35 h 35"/>
                  <a:gd name="T4" fmla="*/ 132 w 132"/>
                  <a:gd name="T5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2" h="35">
                    <a:moveTo>
                      <a:pt x="0" y="0"/>
                    </a:moveTo>
                    <a:cubicBezTo>
                      <a:pt x="0" y="19"/>
                      <a:pt x="29" y="35"/>
                      <a:pt x="66" y="35"/>
                    </a:cubicBezTo>
                    <a:cubicBezTo>
                      <a:pt x="102" y="35"/>
                      <a:pt x="132" y="19"/>
                      <a:pt x="132" y="0"/>
                    </a:cubicBezTo>
                  </a:path>
                </a:pathLst>
              </a:custGeom>
              <a:grp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" name="Freeform 98"/>
              <p:cNvSpPr>
                <a:spLocks/>
              </p:cNvSpPr>
              <p:nvPr/>
            </p:nvSpPr>
            <p:spPr bwMode="auto">
              <a:xfrm>
                <a:off x="6531329" y="2691707"/>
                <a:ext cx="444716" cy="537964"/>
              </a:xfrm>
              <a:custGeom>
                <a:avLst/>
                <a:gdLst>
                  <a:gd name="T0" fmla="*/ 223 w 446"/>
                  <a:gd name="T1" fmla="*/ 0 h 540"/>
                  <a:gd name="T2" fmla="*/ 0 w 446"/>
                  <a:gd name="T3" fmla="*/ 223 h 540"/>
                  <a:gd name="T4" fmla="*/ 62 w 446"/>
                  <a:gd name="T5" fmla="*/ 379 h 540"/>
                  <a:gd name="T6" fmla="*/ 94 w 446"/>
                  <a:gd name="T7" fmla="*/ 440 h 540"/>
                  <a:gd name="T8" fmla="*/ 94 w 446"/>
                  <a:gd name="T9" fmla="*/ 484 h 540"/>
                  <a:gd name="T10" fmla="*/ 150 w 446"/>
                  <a:gd name="T11" fmla="*/ 540 h 540"/>
                  <a:gd name="T12" fmla="*/ 296 w 446"/>
                  <a:gd name="T13" fmla="*/ 540 h 540"/>
                  <a:gd name="T14" fmla="*/ 352 w 446"/>
                  <a:gd name="T15" fmla="*/ 484 h 540"/>
                  <a:gd name="T16" fmla="*/ 352 w 446"/>
                  <a:gd name="T17" fmla="*/ 440 h 540"/>
                  <a:gd name="T18" fmla="*/ 383 w 446"/>
                  <a:gd name="T19" fmla="*/ 379 h 540"/>
                  <a:gd name="T20" fmla="*/ 446 w 446"/>
                  <a:gd name="T21" fmla="*/ 223 h 540"/>
                  <a:gd name="T22" fmla="*/ 223 w 446"/>
                  <a:gd name="T23" fmla="*/ 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46" h="540">
                    <a:moveTo>
                      <a:pt x="223" y="0"/>
                    </a:moveTo>
                    <a:cubicBezTo>
                      <a:pt x="99" y="0"/>
                      <a:pt x="0" y="100"/>
                      <a:pt x="0" y="223"/>
                    </a:cubicBezTo>
                    <a:cubicBezTo>
                      <a:pt x="0" y="284"/>
                      <a:pt x="22" y="339"/>
                      <a:pt x="62" y="379"/>
                    </a:cubicBezTo>
                    <a:cubicBezTo>
                      <a:pt x="83" y="399"/>
                      <a:pt x="94" y="415"/>
                      <a:pt x="94" y="440"/>
                    </a:cubicBezTo>
                    <a:cubicBezTo>
                      <a:pt x="94" y="466"/>
                      <a:pt x="94" y="484"/>
                      <a:pt x="94" y="484"/>
                    </a:cubicBezTo>
                    <a:cubicBezTo>
                      <a:pt x="94" y="515"/>
                      <a:pt x="119" y="540"/>
                      <a:pt x="150" y="540"/>
                    </a:cubicBezTo>
                    <a:cubicBezTo>
                      <a:pt x="296" y="540"/>
                      <a:pt x="296" y="540"/>
                      <a:pt x="296" y="540"/>
                    </a:cubicBezTo>
                    <a:cubicBezTo>
                      <a:pt x="327" y="540"/>
                      <a:pt x="352" y="515"/>
                      <a:pt x="352" y="484"/>
                    </a:cubicBezTo>
                    <a:cubicBezTo>
                      <a:pt x="352" y="484"/>
                      <a:pt x="352" y="466"/>
                      <a:pt x="352" y="440"/>
                    </a:cubicBezTo>
                    <a:cubicBezTo>
                      <a:pt x="352" y="415"/>
                      <a:pt x="362" y="399"/>
                      <a:pt x="383" y="379"/>
                    </a:cubicBezTo>
                    <a:cubicBezTo>
                      <a:pt x="423" y="339"/>
                      <a:pt x="446" y="284"/>
                      <a:pt x="446" y="223"/>
                    </a:cubicBezTo>
                    <a:cubicBezTo>
                      <a:pt x="446" y="100"/>
                      <a:pt x="347" y="0"/>
                      <a:pt x="223" y="0"/>
                    </a:cubicBezTo>
                    <a:close/>
                  </a:path>
                </a:pathLst>
              </a:custGeom>
              <a:grp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9" name="Freeform 99"/>
              <p:cNvSpPr>
                <a:spLocks/>
              </p:cNvSpPr>
              <p:nvPr/>
            </p:nvSpPr>
            <p:spPr bwMode="auto">
              <a:xfrm>
                <a:off x="6652002" y="3229670"/>
                <a:ext cx="203371" cy="54007"/>
              </a:xfrm>
              <a:custGeom>
                <a:avLst/>
                <a:gdLst>
                  <a:gd name="T0" fmla="*/ 177 w 204"/>
                  <a:gd name="T1" fmla="*/ 0 h 54"/>
                  <a:gd name="T2" fmla="*/ 26 w 204"/>
                  <a:gd name="T3" fmla="*/ 0 h 54"/>
                  <a:gd name="T4" fmla="*/ 0 w 204"/>
                  <a:gd name="T5" fmla="*/ 27 h 54"/>
                  <a:gd name="T6" fmla="*/ 26 w 204"/>
                  <a:gd name="T7" fmla="*/ 54 h 54"/>
                  <a:gd name="T8" fmla="*/ 177 w 204"/>
                  <a:gd name="T9" fmla="*/ 54 h 54"/>
                  <a:gd name="T10" fmla="*/ 204 w 204"/>
                  <a:gd name="T11" fmla="*/ 27 h 54"/>
                  <a:gd name="T12" fmla="*/ 177 w 204"/>
                  <a:gd name="T13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54">
                    <a:moveTo>
                      <a:pt x="177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12" y="0"/>
                      <a:pt x="0" y="12"/>
                      <a:pt x="0" y="27"/>
                    </a:cubicBezTo>
                    <a:cubicBezTo>
                      <a:pt x="0" y="42"/>
                      <a:pt x="12" y="54"/>
                      <a:pt x="26" y="54"/>
                    </a:cubicBezTo>
                    <a:cubicBezTo>
                      <a:pt x="177" y="54"/>
                      <a:pt x="177" y="54"/>
                      <a:pt x="177" y="54"/>
                    </a:cubicBezTo>
                    <a:cubicBezTo>
                      <a:pt x="192" y="54"/>
                      <a:pt x="204" y="42"/>
                      <a:pt x="204" y="27"/>
                    </a:cubicBezTo>
                    <a:cubicBezTo>
                      <a:pt x="204" y="12"/>
                      <a:pt x="192" y="0"/>
                      <a:pt x="177" y="0"/>
                    </a:cubicBezTo>
                    <a:close/>
                  </a:path>
                </a:pathLst>
              </a:custGeom>
              <a:grp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37" name="Group 36"/>
          <p:cNvGrpSpPr/>
          <p:nvPr/>
        </p:nvGrpSpPr>
        <p:grpSpPr>
          <a:xfrm>
            <a:off x="2030519" y="2626566"/>
            <a:ext cx="891964" cy="891964"/>
            <a:chOff x="990600" y="2876550"/>
            <a:chExt cx="1097280" cy="1097280"/>
          </a:xfrm>
        </p:grpSpPr>
        <p:sp>
          <p:nvSpPr>
            <p:cNvPr id="38" name="Oval 94"/>
            <p:cNvSpPr>
              <a:spLocks noChangeArrowheads="1"/>
            </p:cNvSpPr>
            <p:nvPr/>
          </p:nvSpPr>
          <p:spPr bwMode="auto">
            <a:xfrm>
              <a:off x="990600" y="2876550"/>
              <a:ext cx="1097280" cy="109728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39613" y="3247117"/>
              <a:ext cx="799254" cy="356146"/>
            </a:xfrm>
            <a:prstGeom prst="rect">
              <a:avLst/>
            </a:prstGeom>
          </p:spPr>
        </p:pic>
      </p:grpSp>
      <p:grpSp>
        <p:nvGrpSpPr>
          <p:cNvPr id="40" name="Group 39"/>
          <p:cNvGrpSpPr/>
          <p:nvPr/>
        </p:nvGrpSpPr>
        <p:grpSpPr>
          <a:xfrm>
            <a:off x="3325919" y="1719939"/>
            <a:ext cx="891964" cy="891964"/>
            <a:chOff x="2535767" y="2876550"/>
            <a:chExt cx="1097280" cy="1097280"/>
          </a:xfrm>
          <a:solidFill>
            <a:schemeClr val="accent2"/>
          </a:solidFill>
        </p:grpSpPr>
        <p:sp>
          <p:nvSpPr>
            <p:cNvPr id="41" name="Oval 94"/>
            <p:cNvSpPr>
              <a:spLocks noChangeArrowheads="1"/>
            </p:cNvSpPr>
            <p:nvPr/>
          </p:nvSpPr>
          <p:spPr bwMode="auto">
            <a:xfrm>
              <a:off x="2535767" y="2876550"/>
              <a:ext cx="1097280" cy="109728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10650" y="2981703"/>
              <a:ext cx="639516" cy="811690"/>
            </a:xfrm>
            <a:prstGeom prst="rect">
              <a:avLst/>
            </a:prstGeom>
            <a:grpFill/>
          </p:spPr>
        </p:pic>
      </p:grpSp>
      <p:grpSp>
        <p:nvGrpSpPr>
          <p:cNvPr id="43" name="Group 42"/>
          <p:cNvGrpSpPr/>
          <p:nvPr/>
        </p:nvGrpSpPr>
        <p:grpSpPr>
          <a:xfrm>
            <a:off x="4913417" y="2944199"/>
            <a:ext cx="891964" cy="891964"/>
            <a:chOff x="3911600" y="2876550"/>
            <a:chExt cx="1097280" cy="1097280"/>
          </a:xfrm>
          <a:solidFill>
            <a:schemeClr val="accent2"/>
          </a:solidFill>
        </p:grpSpPr>
        <p:sp>
          <p:nvSpPr>
            <p:cNvPr id="44" name="Oval 94"/>
            <p:cNvSpPr>
              <a:spLocks noChangeArrowheads="1"/>
            </p:cNvSpPr>
            <p:nvPr/>
          </p:nvSpPr>
          <p:spPr bwMode="auto">
            <a:xfrm>
              <a:off x="3911600" y="2876550"/>
              <a:ext cx="1097280" cy="109728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95038" y="3147907"/>
              <a:ext cx="730404" cy="554566"/>
            </a:xfrm>
            <a:prstGeom prst="rect">
              <a:avLst/>
            </a:prstGeom>
            <a:grpFill/>
          </p:spPr>
        </p:pic>
      </p:grpSp>
      <p:grpSp>
        <p:nvGrpSpPr>
          <p:cNvPr id="53" name="Group 52"/>
          <p:cNvGrpSpPr/>
          <p:nvPr/>
        </p:nvGrpSpPr>
        <p:grpSpPr>
          <a:xfrm>
            <a:off x="7669319" y="1079838"/>
            <a:ext cx="891964" cy="891964"/>
            <a:chOff x="7669318" y="2038350"/>
            <a:chExt cx="891964" cy="891964"/>
          </a:xfrm>
          <a:solidFill>
            <a:schemeClr val="accent2"/>
          </a:solidFill>
        </p:grpSpPr>
        <p:sp>
          <p:nvSpPr>
            <p:cNvPr id="31" name="Oval 12"/>
            <p:cNvSpPr>
              <a:spLocks noChangeArrowheads="1"/>
            </p:cNvSpPr>
            <p:nvPr/>
          </p:nvSpPr>
          <p:spPr bwMode="auto">
            <a:xfrm>
              <a:off x="7669318" y="2038350"/>
              <a:ext cx="891964" cy="891964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09447" y="2295237"/>
              <a:ext cx="665470" cy="378190"/>
            </a:xfrm>
            <a:prstGeom prst="rect">
              <a:avLst/>
            </a:prstGeom>
            <a:grpFill/>
          </p:spPr>
        </p:pic>
      </p:grpSp>
      <p:grpSp>
        <p:nvGrpSpPr>
          <p:cNvPr id="52" name="Group 51"/>
          <p:cNvGrpSpPr/>
          <p:nvPr/>
        </p:nvGrpSpPr>
        <p:grpSpPr>
          <a:xfrm>
            <a:off x="6297719" y="1689438"/>
            <a:ext cx="891964" cy="891964"/>
            <a:chOff x="6019800" y="1352550"/>
            <a:chExt cx="891964" cy="891964"/>
          </a:xfrm>
          <a:solidFill>
            <a:schemeClr val="accent2"/>
          </a:solidFill>
        </p:grpSpPr>
        <p:sp>
          <p:nvSpPr>
            <p:cNvPr id="47" name="Oval 94"/>
            <p:cNvSpPr>
              <a:spLocks noChangeArrowheads="1"/>
            </p:cNvSpPr>
            <p:nvPr/>
          </p:nvSpPr>
          <p:spPr bwMode="auto">
            <a:xfrm>
              <a:off x="6019800" y="1352550"/>
              <a:ext cx="891964" cy="891964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74317" y="1592792"/>
              <a:ext cx="582930" cy="411480"/>
            </a:xfrm>
            <a:prstGeom prst="rect">
              <a:avLst/>
            </a:prstGeom>
            <a:grpFill/>
          </p:spPr>
        </p:pic>
      </p:grpSp>
      <p:cxnSp>
        <p:nvCxnSpPr>
          <p:cNvPr id="63" name="Straight Connector 62"/>
          <p:cNvCxnSpPr>
            <a:stCxn id="44" idx="7"/>
            <a:endCxn id="47" idx="3"/>
          </p:cNvCxnSpPr>
          <p:nvPr/>
        </p:nvCxnSpPr>
        <p:spPr>
          <a:xfrm flipV="1">
            <a:off x="5674755" y="2450778"/>
            <a:ext cx="753588" cy="624046"/>
          </a:xfrm>
          <a:prstGeom prst="line">
            <a:avLst/>
          </a:prstGeom>
          <a:ln w="1905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 flipV="1">
            <a:off x="7171071" y="1722665"/>
            <a:ext cx="572977" cy="271722"/>
          </a:xfrm>
          <a:prstGeom prst="line">
            <a:avLst/>
          </a:prstGeom>
          <a:ln w="1905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Footer Placeholder 99">
            <a:extLst>
              <a:ext uri="{FF2B5EF4-FFF2-40B4-BE49-F238E27FC236}">
                <a16:creationId xmlns:a16="http://schemas.microsoft.com/office/drawing/2014/main" id="{5E699655-4271-49BE-B5BF-A6BA5CD84E2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8" name="Slide Number Placeholder 100">
            <a:extLst>
              <a:ext uri="{FF2B5EF4-FFF2-40B4-BE49-F238E27FC236}">
                <a16:creationId xmlns:a16="http://schemas.microsoft.com/office/drawing/2014/main" id="{0ECCAE9F-5E48-4EE3-9F0B-0929D59BFC6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50" name="Text Placeholder 41">
            <a:extLst>
              <a:ext uri="{FF2B5EF4-FFF2-40B4-BE49-F238E27FC236}">
                <a16:creationId xmlns:a16="http://schemas.microsoft.com/office/drawing/2014/main" id="{D0516CF2-1D1D-45FD-AA40-7735009BB8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1471409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4178854" y="1829587"/>
            <a:ext cx="1018542" cy="1018542"/>
            <a:chOff x="3994149" y="2298699"/>
            <a:chExt cx="1018542" cy="1018542"/>
          </a:xfrm>
        </p:grpSpPr>
        <p:sp>
          <p:nvSpPr>
            <p:cNvPr id="7" name="Oval 6"/>
            <p:cNvSpPr>
              <a:spLocks noChangeAspect="1"/>
            </p:cNvSpPr>
            <p:nvPr/>
          </p:nvSpPr>
          <p:spPr>
            <a:xfrm>
              <a:off x="3994149" y="2298699"/>
              <a:ext cx="1018542" cy="1018542"/>
            </a:xfrm>
            <a:prstGeom prst="ellipse">
              <a:avLst/>
            </a:prstGeom>
            <a:solidFill>
              <a:schemeClr val="accent4">
                <a:alpha val="91000"/>
              </a:schemeClr>
            </a:solidFill>
            <a:ln w="9525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4244342" y="2545759"/>
              <a:ext cx="518158" cy="524424"/>
              <a:chOff x="4525886" y="4183659"/>
              <a:chExt cx="558217" cy="564967"/>
            </a:xfrm>
          </p:grpSpPr>
          <p:sp>
            <p:nvSpPr>
              <p:cNvPr id="19" name="Oval 55"/>
              <p:cNvSpPr>
                <a:spLocks noChangeArrowheads="1"/>
              </p:cNvSpPr>
              <p:nvPr/>
            </p:nvSpPr>
            <p:spPr bwMode="auto">
              <a:xfrm>
                <a:off x="4525886" y="4387874"/>
                <a:ext cx="324888" cy="110546"/>
              </a:xfrm>
              <a:prstGeom prst="ellipse">
                <a:avLst/>
              </a:pr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0" name="Freeform 56"/>
              <p:cNvSpPr>
                <a:spLocks/>
              </p:cNvSpPr>
              <p:nvPr/>
            </p:nvSpPr>
            <p:spPr bwMode="auto">
              <a:xfrm>
                <a:off x="4525886" y="4443569"/>
                <a:ext cx="324888" cy="305057"/>
              </a:xfrm>
              <a:custGeom>
                <a:avLst/>
                <a:gdLst>
                  <a:gd name="T0" fmla="*/ 326 w 326"/>
                  <a:gd name="T1" fmla="*/ 0 h 306"/>
                  <a:gd name="T2" fmla="*/ 326 w 326"/>
                  <a:gd name="T3" fmla="*/ 250 h 306"/>
                  <a:gd name="T4" fmla="*/ 163 w 326"/>
                  <a:gd name="T5" fmla="*/ 306 h 306"/>
                  <a:gd name="T6" fmla="*/ 0 w 326"/>
                  <a:gd name="T7" fmla="*/ 250 h 306"/>
                  <a:gd name="T8" fmla="*/ 0 w 326"/>
                  <a:gd name="T9" fmla="*/ 0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6" h="306">
                    <a:moveTo>
                      <a:pt x="326" y="0"/>
                    </a:moveTo>
                    <a:cubicBezTo>
                      <a:pt x="326" y="250"/>
                      <a:pt x="326" y="250"/>
                      <a:pt x="326" y="250"/>
                    </a:cubicBezTo>
                    <a:cubicBezTo>
                      <a:pt x="326" y="281"/>
                      <a:pt x="253" y="306"/>
                      <a:pt x="163" y="306"/>
                    </a:cubicBezTo>
                    <a:cubicBezTo>
                      <a:pt x="73" y="306"/>
                      <a:pt x="0" y="281"/>
                      <a:pt x="0" y="25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1" name="Freeform 57"/>
              <p:cNvSpPr>
                <a:spLocks/>
              </p:cNvSpPr>
              <p:nvPr/>
            </p:nvSpPr>
            <p:spPr bwMode="auto">
              <a:xfrm>
                <a:off x="4525886" y="4612342"/>
                <a:ext cx="324888" cy="55695"/>
              </a:xfrm>
              <a:custGeom>
                <a:avLst/>
                <a:gdLst>
                  <a:gd name="T0" fmla="*/ 326 w 326"/>
                  <a:gd name="T1" fmla="*/ 0 h 56"/>
                  <a:gd name="T2" fmla="*/ 163 w 326"/>
                  <a:gd name="T3" fmla="*/ 56 h 56"/>
                  <a:gd name="T4" fmla="*/ 0 w 326"/>
                  <a:gd name="T5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6" h="56">
                    <a:moveTo>
                      <a:pt x="326" y="0"/>
                    </a:moveTo>
                    <a:cubicBezTo>
                      <a:pt x="326" y="31"/>
                      <a:pt x="253" y="56"/>
                      <a:pt x="163" y="56"/>
                    </a:cubicBezTo>
                    <a:cubicBezTo>
                      <a:pt x="73" y="56"/>
                      <a:pt x="0" y="31"/>
                      <a:pt x="0" y="0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2" name="Freeform 58"/>
              <p:cNvSpPr>
                <a:spLocks/>
              </p:cNvSpPr>
              <p:nvPr/>
            </p:nvSpPr>
            <p:spPr bwMode="auto">
              <a:xfrm>
                <a:off x="4525886" y="4532597"/>
                <a:ext cx="324888" cy="54851"/>
              </a:xfrm>
              <a:custGeom>
                <a:avLst/>
                <a:gdLst>
                  <a:gd name="T0" fmla="*/ 326 w 326"/>
                  <a:gd name="T1" fmla="*/ 0 h 55"/>
                  <a:gd name="T2" fmla="*/ 163 w 326"/>
                  <a:gd name="T3" fmla="*/ 55 h 55"/>
                  <a:gd name="T4" fmla="*/ 0 w 326"/>
                  <a:gd name="T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6" h="55">
                    <a:moveTo>
                      <a:pt x="326" y="0"/>
                    </a:moveTo>
                    <a:cubicBezTo>
                      <a:pt x="326" y="30"/>
                      <a:pt x="253" y="55"/>
                      <a:pt x="163" y="55"/>
                    </a:cubicBezTo>
                    <a:cubicBezTo>
                      <a:pt x="73" y="55"/>
                      <a:pt x="0" y="30"/>
                      <a:pt x="0" y="0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3" name="Oval 59"/>
              <p:cNvSpPr>
                <a:spLocks noChangeArrowheads="1"/>
              </p:cNvSpPr>
              <p:nvPr/>
            </p:nvSpPr>
            <p:spPr bwMode="auto">
              <a:xfrm>
                <a:off x="4759215" y="4183659"/>
                <a:ext cx="324888" cy="109702"/>
              </a:xfrm>
              <a:prstGeom prst="ellipse">
                <a:avLst/>
              </a:pr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4" name="Line 60"/>
              <p:cNvSpPr>
                <a:spLocks noChangeShapeType="1"/>
              </p:cNvSpPr>
              <p:nvPr/>
            </p:nvSpPr>
            <p:spPr bwMode="auto">
              <a:xfrm flipV="1">
                <a:off x="4759215" y="4238510"/>
                <a:ext cx="0" cy="155271"/>
              </a:xfrm>
              <a:prstGeom prst="line">
                <a:avLst/>
              </a:pr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5" name="Freeform 61"/>
              <p:cNvSpPr>
                <a:spLocks/>
              </p:cNvSpPr>
              <p:nvPr/>
            </p:nvSpPr>
            <p:spPr bwMode="auto">
              <a:xfrm>
                <a:off x="4850774" y="4238510"/>
                <a:ext cx="233329" cy="400414"/>
              </a:xfrm>
              <a:custGeom>
                <a:avLst/>
                <a:gdLst>
                  <a:gd name="T0" fmla="*/ 234 w 234"/>
                  <a:gd name="T1" fmla="*/ 0 h 402"/>
                  <a:gd name="T2" fmla="*/ 234 w 234"/>
                  <a:gd name="T3" fmla="*/ 347 h 402"/>
                  <a:gd name="T4" fmla="*/ 71 w 234"/>
                  <a:gd name="T5" fmla="*/ 402 h 402"/>
                  <a:gd name="T6" fmla="*/ 0 w 234"/>
                  <a:gd name="T7" fmla="*/ 39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4" h="402">
                    <a:moveTo>
                      <a:pt x="234" y="0"/>
                    </a:moveTo>
                    <a:cubicBezTo>
                      <a:pt x="234" y="347"/>
                      <a:pt x="234" y="347"/>
                      <a:pt x="234" y="347"/>
                    </a:cubicBezTo>
                    <a:cubicBezTo>
                      <a:pt x="234" y="377"/>
                      <a:pt x="161" y="402"/>
                      <a:pt x="71" y="402"/>
                    </a:cubicBezTo>
                    <a:cubicBezTo>
                      <a:pt x="46" y="402"/>
                      <a:pt x="22" y="400"/>
                      <a:pt x="0" y="397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" name="Freeform 62"/>
              <p:cNvSpPr>
                <a:spLocks/>
              </p:cNvSpPr>
              <p:nvPr/>
            </p:nvSpPr>
            <p:spPr bwMode="auto">
              <a:xfrm>
                <a:off x="4850774" y="4503483"/>
                <a:ext cx="233329" cy="54851"/>
              </a:xfrm>
              <a:custGeom>
                <a:avLst/>
                <a:gdLst>
                  <a:gd name="T0" fmla="*/ 234 w 234"/>
                  <a:gd name="T1" fmla="*/ 0 h 55"/>
                  <a:gd name="T2" fmla="*/ 71 w 234"/>
                  <a:gd name="T3" fmla="*/ 55 h 55"/>
                  <a:gd name="T4" fmla="*/ 0 w 234"/>
                  <a:gd name="T5" fmla="*/ 5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4" h="55">
                    <a:moveTo>
                      <a:pt x="234" y="0"/>
                    </a:moveTo>
                    <a:cubicBezTo>
                      <a:pt x="234" y="30"/>
                      <a:pt x="161" y="55"/>
                      <a:pt x="71" y="55"/>
                    </a:cubicBezTo>
                    <a:cubicBezTo>
                      <a:pt x="46" y="55"/>
                      <a:pt x="22" y="53"/>
                      <a:pt x="0" y="50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7" name="Freeform 63"/>
              <p:cNvSpPr>
                <a:spLocks/>
              </p:cNvSpPr>
              <p:nvPr/>
            </p:nvSpPr>
            <p:spPr bwMode="auto">
              <a:xfrm>
                <a:off x="4850774" y="4417831"/>
                <a:ext cx="233329" cy="55695"/>
              </a:xfrm>
              <a:custGeom>
                <a:avLst/>
                <a:gdLst>
                  <a:gd name="T0" fmla="*/ 234 w 234"/>
                  <a:gd name="T1" fmla="*/ 0 h 56"/>
                  <a:gd name="T2" fmla="*/ 71 w 234"/>
                  <a:gd name="T3" fmla="*/ 56 h 56"/>
                  <a:gd name="T4" fmla="*/ 0 w 234"/>
                  <a:gd name="T5" fmla="*/ 5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4" h="56">
                    <a:moveTo>
                      <a:pt x="234" y="0"/>
                    </a:moveTo>
                    <a:cubicBezTo>
                      <a:pt x="234" y="31"/>
                      <a:pt x="161" y="56"/>
                      <a:pt x="71" y="56"/>
                    </a:cubicBezTo>
                    <a:cubicBezTo>
                      <a:pt x="46" y="56"/>
                      <a:pt x="22" y="54"/>
                      <a:pt x="0" y="50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" name="Freeform 64"/>
              <p:cNvSpPr>
                <a:spLocks/>
              </p:cNvSpPr>
              <p:nvPr/>
            </p:nvSpPr>
            <p:spPr bwMode="auto">
              <a:xfrm>
                <a:off x="4759215" y="4333023"/>
                <a:ext cx="324888" cy="54851"/>
              </a:xfrm>
              <a:custGeom>
                <a:avLst/>
                <a:gdLst>
                  <a:gd name="T0" fmla="*/ 326 w 326"/>
                  <a:gd name="T1" fmla="*/ 0 h 55"/>
                  <a:gd name="T2" fmla="*/ 163 w 326"/>
                  <a:gd name="T3" fmla="*/ 55 h 55"/>
                  <a:gd name="T4" fmla="*/ 0 w 326"/>
                  <a:gd name="T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6" h="55">
                    <a:moveTo>
                      <a:pt x="326" y="0"/>
                    </a:moveTo>
                    <a:cubicBezTo>
                      <a:pt x="326" y="30"/>
                      <a:pt x="253" y="55"/>
                      <a:pt x="163" y="55"/>
                    </a:cubicBezTo>
                    <a:cubicBezTo>
                      <a:pt x="73" y="55"/>
                      <a:pt x="0" y="30"/>
                      <a:pt x="0" y="0"/>
                    </a:cubicBezTo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11" name="Group 10"/>
          <p:cNvGrpSpPr/>
          <p:nvPr/>
        </p:nvGrpSpPr>
        <p:grpSpPr>
          <a:xfrm>
            <a:off x="2919966" y="2560407"/>
            <a:ext cx="1018542" cy="1018540"/>
            <a:chOff x="2412999" y="2813051"/>
            <a:chExt cx="1018542" cy="1018540"/>
          </a:xfrm>
          <a:solidFill>
            <a:srgbClr val="336FCA"/>
          </a:solidFill>
        </p:grpSpPr>
        <p:sp>
          <p:nvSpPr>
            <p:cNvPr id="6" name="Oval 5"/>
            <p:cNvSpPr>
              <a:spLocks noChangeAspect="1"/>
            </p:cNvSpPr>
            <p:nvPr/>
          </p:nvSpPr>
          <p:spPr>
            <a:xfrm>
              <a:off x="2412999" y="2813051"/>
              <a:ext cx="1018542" cy="1018540"/>
            </a:xfrm>
            <a:prstGeom prst="ellipse">
              <a:avLst/>
            </a:prstGeom>
            <a:grpFill/>
            <a:ln w="9525" cmpd="sng">
              <a:solidFill>
                <a:srgbClr val="336FC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2744884" y="3025141"/>
              <a:ext cx="354772" cy="530860"/>
              <a:chOff x="1068574" y="2664703"/>
              <a:chExt cx="461594" cy="690703"/>
            </a:xfrm>
            <a:grpFill/>
          </p:grpSpPr>
          <p:sp>
            <p:nvSpPr>
              <p:cNvPr id="30" name="Freeform 65"/>
              <p:cNvSpPr>
                <a:spLocks/>
              </p:cNvSpPr>
              <p:nvPr/>
            </p:nvSpPr>
            <p:spPr bwMode="auto">
              <a:xfrm>
                <a:off x="1100219" y="2741495"/>
                <a:ext cx="422776" cy="467501"/>
              </a:xfrm>
              <a:custGeom>
                <a:avLst/>
                <a:gdLst>
                  <a:gd name="T0" fmla="*/ 49 w 424"/>
                  <a:gd name="T1" fmla="*/ 469 h 469"/>
                  <a:gd name="T2" fmla="*/ 0 w 424"/>
                  <a:gd name="T3" fmla="*/ 202 h 469"/>
                  <a:gd name="T4" fmla="*/ 226 w 424"/>
                  <a:gd name="T5" fmla="*/ 0 h 469"/>
                  <a:gd name="T6" fmla="*/ 306 w 424"/>
                  <a:gd name="T7" fmla="*/ 55 h 469"/>
                  <a:gd name="T8" fmla="*/ 424 w 424"/>
                  <a:gd name="T9" fmla="*/ 173 h 469"/>
                  <a:gd name="T10" fmla="*/ 388 w 424"/>
                  <a:gd name="T11" fmla="*/ 193 h 469"/>
                  <a:gd name="T12" fmla="*/ 354 w 424"/>
                  <a:gd name="T13" fmla="*/ 222 h 469"/>
                  <a:gd name="T14" fmla="*/ 298 w 424"/>
                  <a:gd name="T15" fmla="*/ 199 h 469"/>
                  <a:gd name="T16" fmla="*/ 245 w 424"/>
                  <a:gd name="T17" fmla="*/ 210 h 469"/>
                  <a:gd name="T18" fmla="*/ 214 w 424"/>
                  <a:gd name="T19" fmla="*/ 212 h 469"/>
                  <a:gd name="T20" fmla="*/ 356 w 424"/>
                  <a:gd name="T21" fmla="*/ 469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24" h="469">
                    <a:moveTo>
                      <a:pt x="49" y="469"/>
                    </a:moveTo>
                    <a:cubicBezTo>
                      <a:pt x="88" y="369"/>
                      <a:pt x="0" y="313"/>
                      <a:pt x="0" y="202"/>
                    </a:cubicBezTo>
                    <a:cubicBezTo>
                      <a:pt x="0" y="91"/>
                      <a:pt x="110" y="0"/>
                      <a:pt x="226" y="0"/>
                    </a:cubicBezTo>
                    <a:cubicBezTo>
                      <a:pt x="270" y="0"/>
                      <a:pt x="312" y="26"/>
                      <a:pt x="306" y="55"/>
                    </a:cubicBezTo>
                    <a:cubicBezTo>
                      <a:pt x="329" y="68"/>
                      <a:pt x="403" y="119"/>
                      <a:pt x="424" y="173"/>
                    </a:cubicBezTo>
                    <a:cubicBezTo>
                      <a:pt x="388" y="193"/>
                      <a:pt x="388" y="193"/>
                      <a:pt x="388" y="193"/>
                    </a:cubicBezTo>
                    <a:cubicBezTo>
                      <a:pt x="388" y="193"/>
                      <a:pt x="364" y="227"/>
                      <a:pt x="354" y="222"/>
                    </a:cubicBezTo>
                    <a:cubicBezTo>
                      <a:pt x="344" y="218"/>
                      <a:pt x="312" y="199"/>
                      <a:pt x="298" y="199"/>
                    </a:cubicBezTo>
                    <a:cubicBezTo>
                      <a:pt x="283" y="199"/>
                      <a:pt x="278" y="210"/>
                      <a:pt x="245" y="210"/>
                    </a:cubicBezTo>
                    <a:cubicBezTo>
                      <a:pt x="235" y="210"/>
                      <a:pt x="214" y="212"/>
                      <a:pt x="214" y="212"/>
                    </a:cubicBezTo>
                    <a:cubicBezTo>
                      <a:pt x="214" y="212"/>
                      <a:pt x="356" y="376"/>
                      <a:pt x="356" y="469"/>
                    </a:cubicBezTo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1" name="Freeform 66"/>
              <p:cNvSpPr>
                <a:spLocks/>
              </p:cNvSpPr>
              <p:nvPr/>
            </p:nvSpPr>
            <p:spPr bwMode="auto">
              <a:xfrm>
                <a:off x="1228909" y="2664703"/>
                <a:ext cx="94935" cy="98732"/>
              </a:xfrm>
              <a:custGeom>
                <a:avLst/>
                <a:gdLst>
                  <a:gd name="T0" fmla="*/ 0 w 95"/>
                  <a:gd name="T1" fmla="*/ 99 h 99"/>
                  <a:gd name="T2" fmla="*/ 92 w 95"/>
                  <a:gd name="T3" fmla="*/ 0 h 99"/>
                  <a:gd name="T4" fmla="*/ 92 w 95"/>
                  <a:gd name="T5" fmla="*/ 7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5" h="99">
                    <a:moveTo>
                      <a:pt x="0" y="99"/>
                    </a:moveTo>
                    <a:cubicBezTo>
                      <a:pt x="0" y="99"/>
                      <a:pt x="18" y="5"/>
                      <a:pt x="92" y="0"/>
                    </a:cubicBezTo>
                    <a:cubicBezTo>
                      <a:pt x="95" y="28"/>
                      <a:pt x="92" y="77"/>
                      <a:pt x="92" y="77"/>
                    </a:cubicBezTo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2" name="Freeform 67"/>
              <p:cNvSpPr>
                <a:spLocks/>
              </p:cNvSpPr>
              <p:nvPr/>
            </p:nvSpPr>
            <p:spPr bwMode="auto">
              <a:xfrm>
                <a:off x="1091359" y="3208996"/>
                <a:ext cx="415603" cy="69619"/>
              </a:xfrm>
              <a:custGeom>
                <a:avLst/>
                <a:gdLst>
                  <a:gd name="T0" fmla="*/ 35 w 417"/>
                  <a:gd name="T1" fmla="*/ 70 h 70"/>
                  <a:gd name="T2" fmla="*/ 0 w 417"/>
                  <a:gd name="T3" fmla="*/ 35 h 70"/>
                  <a:gd name="T4" fmla="*/ 35 w 417"/>
                  <a:gd name="T5" fmla="*/ 0 h 70"/>
                  <a:gd name="T6" fmla="*/ 381 w 417"/>
                  <a:gd name="T7" fmla="*/ 0 h 70"/>
                  <a:gd name="T8" fmla="*/ 417 w 417"/>
                  <a:gd name="T9" fmla="*/ 35 h 70"/>
                  <a:gd name="T10" fmla="*/ 381 w 417"/>
                  <a:gd name="T11" fmla="*/ 70 h 70"/>
                  <a:gd name="T12" fmla="*/ 35 w 417"/>
                  <a:gd name="T1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7" h="70">
                    <a:moveTo>
                      <a:pt x="35" y="70"/>
                    </a:moveTo>
                    <a:cubicBezTo>
                      <a:pt x="16" y="70"/>
                      <a:pt x="0" y="55"/>
                      <a:pt x="0" y="35"/>
                    </a:cubicBezTo>
                    <a:cubicBezTo>
                      <a:pt x="0" y="15"/>
                      <a:pt x="16" y="0"/>
                      <a:pt x="35" y="0"/>
                    </a:cubicBezTo>
                    <a:cubicBezTo>
                      <a:pt x="381" y="0"/>
                      <a:pt x="381" y="0"/>
                      <a:pt x="381" y="0"/>
                    </a:cubicBezTo>
                    <a:cubicBezTo>
                      <a:pt x="401" y="0"/>
                      <a:pt x="417" y="15"/>
                      <a:pt x="417" y="35"/>
                    </a:cubicBezTo>
                    <a:cubicBezTo>
                      <a:pt x="417" y="55"/>
                      <a:pt x="401" y="70"/>
                      <a:pt x="381" y="70"/>
                    </a:cubicBezTo>
                    <a:lnTo>
                      <a:pt x="35" y="70"/>
                    </a:ln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3" name="Freeform 68"/>
              <p:cNvSpPr>
                <a:spLocks/>
              </p:cNvSpPr>
              <p:nvPr/>
            </p:nvSpPr>
            <p:spPr bwMode="auto">
              <a:xfrm>
                <a:off x="1068574" y="3278614"/>
                <a:ext cx="461594" cy="76792"/>
              </a:xfrm>
              <a:custGeom>
                <a:avLst/>
                <a:gdLst>
                  <a:gd name="T0" fmla="*/ 38 w 463"/>
                  <a:gd name="T1" fmla="*/ 77 h 77"/>
                  <a:gd name="T2" fmla="*/ 0 w 463"/>
                  <a:gd name="T3" fmla="*/ 39 h 77"/>
                  <a:gd name="T4" fmla="*/ 38 w 463"/>
                  <a:gd name="T5" fmla="*/ 0 h 77"/>
                  <a:gd name="T6" fmla="*/ 425 w 463"/>
                  <a:gd name="T7" fmla="*/ 0 h 77"/>
                  <a:gd name="T8" fmla="*/ 463 w 463"/>
                  <a:gd name="T9" fmla="*/ 39 h 77"/>
                  <a:gd name="T10" fmla="*/ 425 w 463"/>
                  <a:gd name="T11" fmla="*/ 77 h 77"/>
                  <a:gd name="T12" fmla="*/ 38 w 463"/>
                  <a:gd name="T13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3" h="77">
                    <a:moveTo>
                      <a:pt x="38" y="77"/>
                    </a:moveTo>
                    <a:cubicBezTo>
                      <a:pt x="17" y="77"/>
                      <a:pt x="0" y="60"/>
                      <a:pt x="0" y="39"/>
                    </a:cubicBezTo>
                    <a:cubicBezTo>
                      <a:pt x="0" y="18"/>
                      <a:pt x="17" y="0"/>
                      <a:pt x="38" y="0"/>
                    </a:cubicBezTo>
                    <a:cubicBezTo>
                      <a:pt x="425" y="0"/>
                      <a:pt x="425" y="0"/>
                      <a:pt x="425" y="0"/>
                    </a:cubicBezTo>
                    <a:cubicBezTo>
                      <a:pt x="446" y="0"/>
                      <a:pt x="463" y="18"/>
                      <a:pt x="463" y="39"/>
                    </a:cubicBezTo>
                    <a:cubicBezTo>
                      <a:pt x="463" y="60"/>
                      <a:pt x="446" y="77"/>
                      <a:pt x="425" y="77"/>
                    </a:cubicBezTo>
                    <a:lnTo>
                      <a:pt x="38" y="77"/>
                    </a:ln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1519762" y="3291225"/>
            <a:ext cx="1018542" cy="1018542"/>
            <a:chOff x="807765" y="1727021"/>
            <a:chExt cx="1229366" cy="1229366"/>
          </a:xfrm>
        </p:grpSpPr>
        <p:sp>
          <p:nvSpPr>
            <p:cNvPr id="5" name="Oval 4"/>
            <p:cNvSpPr>
              <a:spLocks noChangeAspect="1"/>
            </p:cNvSpPr>
            <p:nvPr/>
          </p:nvSpPr>
          <p:spPr>
            <a:xfrm>
              <a:off x="807765" y="1727021"/>
              <a:ext cx="1229366" cy="1229366"/>
            </a:xfrm>
            <a:prstGeom prst="ellipse">
              <a:avLst/>
            </a:prstGeom>
            <a:solidFill>
              <a:schemeClr val="accent1">
                <a:alpha val="91000"/>
              </a:schemeClr>
            </a:solidFill>
            <a:ln w="9525" cmpd="sng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1154010" y="2064698"/>
              <a:ext cx="536876" cy="554012"/>
              <a:chOff x="4224785" y="1773473"/>
              <a:chExt cx="381476" cy="393651"/>
            </a:xfrm>
          </p:grpSpPr>
          <p:sp>
            <p:nvSpPr>
              <p:cNvPr id="36" name="Rectangle 49"/>
              <p:cNvSpPr>
                <a:spLocks noChangeArrowheads="1"/>
              </p:cNvSpPr>
              <p:nvPr/>
            </p:nvSpPr>
            <p:spPr bwMode="auto">
              <a:xfrm>
                <a:off x="4333778" y="1773473"/>
                <a:ext cx="158852" cy="38264"/>
              </a:xfrm>
              <a:prstGeom prst="rect">
                <a:avLst/>
              </a:pr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7" name="Freeform 50"/>
              <p:cNvSpPr>
                <a:spLocks/>
              </p:cNvSpPr>
              <p:nvPr/>
            </p:nvSpPr>
            <p:spPr bwMode="auto">
              <a:xfrm>
                <a:off x="4224785" y="1811737"/>
                <a:ext cx="381476" cy="355387"/>
              </a:xfrm>
              <a:custGeom>
                <a:avLst/>
                <a:gdLst>
                  <a:gd name="T0" fmla="*/ 525 w 557"/>
                  <a:gd name="T1" fmla="*/ 399 h 519"/>
                  <a:gd name="T2" fmla="*/ 362 w 557"/>
                  <a:gd name="T3" fmla="*/ 67 h 519"/>
                  <a:gd name="T4" fmla="*/ 362 w 557"/>
                  <a:gd name="T5" fmla="*/ 0 h 519"/>
                  <a:gd name="T6" fmla="*/ 194 w 557"/>
                  <a:gd name="T7" fmla="*/ 0 h 519"/>
                  <a:gd name="T8" fmla="*/ 194 w 557"/>
                  <a:gd name="T9" fmla="*/ 67 h 519"/>
                  <a:gd name="T10" fmla="*/ 32 w 557"/>
                  <a:gd name="T11" fmla="*/ 399 h 519"/>
                  <a:gd name="T12" fmla="*/ 71 w 557"/>
                  <a:gd name="T13" fmla="*/ 519 h 519"/>
                  <a:gd name="T14" fmla="*/ 485 w 557"/>
                  <a:gd name="T15" fmla="*/ 519 h 519"/>
                  <a:gd name="T16" fmla="*/ 525 w 557"/>
                  <a:gd name="T17" fmla="*/ 399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7" h="519">
                    <a:moveTo>
                      <a:pt x="525" y="399"/>
                    </a:moveTo>
                    <a:cubicBezTo>
                      <a:pt x="362" y="67"/>
                      <a:pt x="362" y="67"/>
                      <a:pt x="362" y="67"/>
                    </a:cubicBezTo>
                    <a:cubicBezTo>
                      <a:pt x="362" y="0"/>
                      <a:pt x="362" y="0"/>
                      <a:pt x="362" y="0"/>
                    </a:cubicBezTo>
                    <a:cubicBezTo>
                      <a:pt x="194" y="0"/>
                      <a:pt x="194" y="0"/>
                      <a:pt x="194" y="0"/>
                    </a:cubicBezTo>
                    <a:cubicBezTo>
                      <a:pt x="194" y="67"/>
                      <a:pt x="194" y="67"/>
                      <a:pt x="194" y="67"/>
                    </a:cubicBezTo>
                    <a:cubicBezTo>
                      <a:pt x="32" y="399"/>
                      <a:pt x="32" y="399"/>
                      <a:pt x="32" y="399"/>
                    </a:cubicBezTo>
                    <a:cubicBezTo>
                      <a:pt x="6" y="460"/>
                      <a:pt x="0" y="519"/>
                      <a:pt x="71" y="519"/>
                    </a:cubicBezTo>
                    <a:cubicBezTo>
                      <a:pt x="485" y="519"/>
                      <a:pt x="485" y="519"/>
                      <a:pt x="485" y="519"/>
                    </a:cubicBezTo>
                    <a:cubicBezTo>
                      <a:pt x="557" y="519"/>
                      <a:pt x="551" y="460"/>
                      <a:pt x="525" y="399"/>
                    </a:cubicBezTo>
                    <a:close/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8" name="Freeform 51"/>
              <p:cNvSpPr>
                <a:spLocks/>
              </p:cNvSpPr>
              <p:nvPr/>
            </p:nvSpPr>
            <p:spPr bwMode="auto">
              <a:xfrm>
                <a:off x="4316676" y="1996677"/>
                <a:ext cx="197115" cy="128705"/>
              </a:xfrm>
              <a:custGeom>
                <a:avLst/>
                <a:gdLst>
                  <a:gd name="T0" fmla="*/ 281 w 288"/>
                  <a:gd name="T1" fmla="*/ 1 h 188"/>
                  <a:gd name="T2" fmla="*/ 288 w 288"/>
                  <a:gd name="T3" fmla="*/ 44 h 188"/>
                  <a:gd name="T4" fmla="*/ 144 w 288"/>
                  <a:gd name="T5" fmla="*/ 188 h 188"/>
                  <a:gd name="T6" fmla="*/ 0 w 288"/>
                  <a:gd name="T7" fmla="*/ 44 h 188"/>
                  <a:gd name="T8" fmla="*/ 7 w 288"/>
                  <a:gd name="T9" fmla="*/ 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188">
                    <a:moveTo>
                      <a:pt x="281" y="1"/>
                    </a:moveTo>
                    <a:cubicBezTo>
                      <a:pt x="286" y="15"/>
                      <a:pt x="288" y="29"/>
                      <a:pt x="288" y="44"/>
                    </a:cubicBezTo>
                    <a:cubicBezTo>
                      <a:pt x="288" y="124"/>
                      <a:pt x="223" y="188"/>
                      <a:pt x="144" y="188"/>
                    </a:cubicBezTo>
                    <a:cubicBezTo>
                      <a:pt x="65" y="188"/>
                      <a:pt x="0" y="124"/>
                      <a:pt x="0" y="44"/>
                    </a:cubicBezTo>
                    <a:cubicBezTo>
                      <a:pt x="0" y="29"/>
                      <a:pt x="3" y="14"/>
                      <a:pt x="7" y="0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9" name="Freeform 52"/>
              <p:cNvSpPr>
                <a:spLocks/>
              </p:cNvSpPr>
              <p:nvPr/>
            </p:nvSpPr>
            <p:spPr bwMode="auto">
              <a:xfrm>
                <a:off x="4321314" y="1997257"/>
                <a:ext cx="95949" cy="57685"/>
              </a:xfrm>
              <a:custGeom>
                <a:avLst/>
                <a:gdLst>
                  <a:gd name="T0" fmla="*/ 140 w 140"/>
                  <a:gd name="T1" fmla="*/ 84 h 84"/>
                  <a:gd name="T2" fmla="*/ 0 w 140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0" h="84">
                    <a:moveTo>
                      <a:pt x="140" y="84"/>
                    </a:moveTo>
                    <a:cubicBezTo>
                      <a:pt x="111" y="35"/>
                      <a:pt x="59" y="3"/>
                      <a:pt x="0" y="0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0" name="Freeform 53"/>
              <p:cNvSpPr>
                <a:spLocks/>
              </p:cNvSpPr>
              <p:nvPr/>
            </p:nvSpPr>
            <p:spPr bwMode="auto">
              <a:xfrm>
                <a:off x="4400739" y="1997257"/>
                <a:ext cx="108413" cy="127545"/>
              </a:xfrm>
              <a:custGeom>
                <a:avLst/>
                <a:gdLst>
                  <a:gd name="T0" fmla="*/ 158 w 158"/>
                  <a:gd name="T1" fmla="*/ 0 h 186"/>
                  <a:gd name="T2" fmla="*/ 0 w 158"/>
                  <a:gd name="T3" fmla="*/ 172 h 186"/>
                  <a:gd name="T4" fmla="*/ 0 w 158"/>
                  <a:gd name="T5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8" h="186">
                    <a:moveTo>
                      <a:pt x="158" y="0"/>
                    </a:moveTo>
                    <a:cubicBezTo>
                      <a:pt x="70" y="8"/>
                      <a:pt x="0" y="82"/>
                      <a:pt x="0" y="172"/>
                    </a:cubicBezTo>
                    <a:cubicBezTo>
                      <a:pt x="0" y="177"/>
                      <a:pt x="0" y="181"/>
                      <a:pt x="0" y="186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1" name="Freeform 54"/>
              <p:cNvSpPr>
                <a:spLocks/>
              </p:cNvSpPr>
              <p:nvPr/>
            </p:nvSpPr>
            <p:spPr bwMode="auto">
              <a:xfrm>
                <a:off x="4369433" y="1928267"/>
                <a:ext cx="91021" cy="84064"/>
              </a:xfrm>
              <a:custGeom>
                <a:avLst/>
                <a:gdLst>
                  <a:gd name="T0" fmla="*/ 0 w 133"/>
                  <a:gd name="T1" fmla="*/ 119 h 123"/>
                  <a:gd name="T2" fmla="*/ 67 w 133"/>
                  <a:gd name="T3" fmla="*/ 0 h 123"/>
                  <a:gd name="T4" fmla="*/ 133 w 133"/>
                  <a:gd name="T5" fmla="*/ 12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3" h="123">
                    <a:moveTo>
                      <a:pt x="0" y="119"/>
                    </a:moveTo>
                    <a:cubicBezTo>
                      <a:pt x="7" y="47"/>
                      <a:pt x="56" y="0"/>
                      <a:pt x="67" y="0"/>
                    </a:cubicBezTo>
                    <a:cubicBezTo>
                      <a:pt x="78" y="0"/>
                      <a:pt x="120" y="51"/>
                      <a:pt x="133" y="123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sp>
        <p:nvSpPr>
          <p:cNvPr id="52" name="Rectangle 51"/>
          <p:cNvSpPr/>
          <p:nvPr/>
        </p:nvSpPr>
        <p:spPr>
          <a:xfrm>
            <a:off x="2591354" y="3966132"/>
            <a:ext cx="2298538" cy="243015"/>
          </a:xfrm>
          <a:prstGeom prst="rect">
            <a:avLst/>
          </a:prstGeom>
        </p:spPr>
        <p:txBody>
          <a:bodyPr wrap="square" lIns="182880" rIns="182880" bIns="4572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Text here</a:t>
            </a:r>
          </a:p>
        </p:txBody>
      </p:sp>
      <p:sp>
        <p:nvSpPr>
          <p:cNvPr id="57" name="Rectangle 56"/>
          <p:cNvSpPr/>
          <p:nvPr/>
        </p:nvSpPr>
        <p:spPr>
          <a:xfrm>
            <a:off x="3862189" y="3235882"/>
            <a:ext cx="2298538" cy="243015"/>
          </a:xfrm>
          <a:prstGeom prst="rect">
            <a:avLst/>
          </a:prstGeom>
        </p:spPr>
        <p:txBody>
          <a:bodyPr wrap="square" lIns="182880" rIns="182880" bIns="4572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Text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5133023" y="2505632"/>
            <a:ext cx="2298538" cy="243015"/>
          </a:xfrm>
          <a:prstGeom prst="rect">
            <a:avLst/>
          </a:prstGeom>
        </p:spPr>
        <p:txBody>
          <a:bodyPr wrap="square" lIns="182880" rIns="182880" bIns="4572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Text here</a:t>
            </a:r>
          </a:p>
        </p:txBody>
      </p:sp>
      <p:sp>
        <p:nvSpPr>
          <p:cNvPr id="59" name="Rectangle 58"/>
          <p:cNvSpPr/>
          <p:nvPr/>
        </p:nvSpPr>
        <p:spPr>
          <a:xfrm>
            <a:off x="6403856" y="1775382"/>
            <a:ext cx="2298538" cy="243015"/>
          </a:xfrm>
          <a:prstGeom prst="rect">
            <a:avLst/>
          </a:prstGeom>
        </p:spPr>
        <p:txBody>
          <a:bodyPr wrap="square" lIns="182880" rIns="182880" bIns="4572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Text Here</a:t>
            </a:r>
          </a:p>
        </p:txBody>
      </p:sp>
      <p:sp>
        <p:nvSpPr>
          <p:cNvPr id="61" name="Oval 60"/>
          <p:cNvSpPr/>
          <p:nvPr/>
        </p:nvSpPr>
        <p:spPr>
          <a:xfrm>
            <a:off x="1586670" y="3267616"/>
            <a:ext cx="385040" cy="385040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9000"/>
              </a:lnSpc>
            </a:pPr>
            <a:r>
              <a:rPr lang="en-US" sz="1600" dirty="0"/>
              <a:t>01</a:t>
            </a:r>
          </a:p>
        </p:txBody>
      </p:sp>
      <p:sp>
        <p:nvSpPr>
          <p:cNvPr id="62" name="Oval 61"/>
          <p:cNvSpPr/>
          <p:nvPr/>
        </p:nvSpPr>
        <p:spPr>
          <a:xfrm>
            <a:off x="2906622" y="2496784"/>
            <a:ext cx="385040" cy="385040"/>
          </a:xfrm>
          <a:prstGeom prst="ellipse">
            <a:avLst/>
          </a:prstGeom>
          <a:solidFill>
            <a:srgbClr val="336FCA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9000"/>
              </a:lnSpc>
            </a:pPr>
            <a:r>
              <a:rPr lang="en-US" sz="1600" dirty="0"/>
              <a:t>02</a:t>
            </a:r>
          </a:p>
        </p:txBody>
      </p:sp>
      <p:sp>
        <p:nvSpPr>
          <p:cNvPr id="63" name="Oval 62"/>
          <p:cNvSpPr/>
          <p:nvPr/>
        </p:nvSpPr>
        <p:spPr>
          <a:xfrm>
            <a:off x="4171115" y="1742097"/>
            <a:ext cx="385040" cy="385040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9000"/>
              </a:lnSpc>
            </a:pPr>
            <a:r>
              <a:rPr lang="en-US" sz="1600" dirty="0"/>
              <a:t>03</a:t>
            </a:r>
          </a:p>
        </p:txBody>
      </p:sp>
      <p:cxnSp>
        <p:nvCxnSpPr>
          <p:cNvPr id="42" name="Straight Arrow Connector 41"/>
          <p:cNvCxnSpPr/>
          <p:nvPr/>
        </p:nvCxnSpPr>
        <p:spPr>
          <a:xfrm flipV="1">
            <a:off x="2607570" y="3342934"/>
            <a:ext cx="371588" cy="192711"/>
          </a:xfrm>
          <a:prstGeom prst="straightConnector1">
            <a:avLst/>
          </a:prstGeom>
          <a:ln>
            <a:solidFill>
              <a:schemeClr val="tx1">
                <a:alpha val="34000"/>
              </a:schemeClr>
            </a:solidFill>
            <a:headEnd type="none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/>
          <p:nvPr/>
        </p:nvCxnSpPr>
        <p:spPr>
          <a:xfrm flipV="1">
            <a:off x="3882107" y="2608148"/>
            <a:ext cx="371588" cy="192711"/>
          </a:xfrm>
          <a:prstGeom prst="straightConnector1">
            <a:avLst/>
          </a:prstGeom>
          <a:ln>
            <a:solidFill>
              <a:schemeClr val="tx1">
                <a:alpha val="34000"/>
              </a:schemeClr>
            </a:solidFill>
            <a:headEnd type="none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/>
          <p:cNvCxnSpPr/>
          <p:nvPr/>
        </p:nvCxnSpPr>
        <p:spPr>
          <a:xfrm flipV="1">
            <a:off x="5137410" y="1869734"/>
            <a:ext cx="371588" cy="192711"/>
          </a:xfrm>
          <a:prstGeom prst="straightConnector1">
            <a:avLst/>
          </a:prstGeom>
          <a:ln>
            <a:solidFill>
              <a:schemeClr val="tx1">
                <a:alpha val="34000"/>
              </a:schemeClr>
            </a:solidFill>
            <a:headEnd type="none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Rectangle 68"/>
          <p:cNvSpPr/>
          <p:nvPr/>
        </p:nvSpPr>
        <p:spPr>
          <a:xfrm>
            <a:off x="182804" y="1062039"/>
            <a:ext cx="2889021" cy="571695"/>
          </a:xfrm>
          <a:prstGeom prst="rect">
            <a:avLst/>
          </a:prstGeom>
        </p:spPr>
        <p:txBody>
          <a:bodyPr wrap="square" lIns="91440" rIns="91440" bIns="45720">
            <a:spAutoFit/>
          </a:bodyPr>
          <a:lstStyle/>
          <a:p>
            <a:pPr>
              <a:lnSpc>
                <a:spcPct val="89000"/>
              </a:lnSpc>
            </a:pPr>
            <a:r>
              <a:rPr lang="en-US" sz="2400" dirty="0"/>
              <a:t>Headline</a:t>
            </a:r>
          </a:p>
          <a:p>
            <a:pPr>
              <a:lnSpc>
                <a:spcPct val="89000"/>
              </a:lnSpc>
            </a:pPr>
            <a:r>
              <a:rPr lang="en-US" sz="1100" dirty="0"/>
              <a:t>Text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437742" y="1098770"/>
            <a:ext cx="1018542" cy="1018540"/>
            <a:chOff x="6144684" y="1620202"/>
            <a:chExt cx="1358056" cy="1358053"/>
          </a:xfrm>
        </p:grpSpPr>
        <p:sp>
          <p:nvSpPr>
            <p:cNvPr id="8" name="Oval 7"/>
            <p:cNvSpPr>
              <a:spLocks noChangeAspect="1"/>
            </p:cNvSpPr>
            <p:nvPr/>
          </p:nvSpPr>
          <p:spPr>
            <a:xfrm>
              <a:off x="6144684" y="1620202"/>
              <a:ext cx="1358056" cy="1358053"/>
            </a:xfrm>
            <a:prstGeom prst="ellipse">
              <a:avLst/>
            </a:prstGeom>
            <a:solidFill>
              <a:schemeClr val="accent2">
                <a:alpha val="91000"/>
              </a:schemeClr>
            </a:solidFill>
            <a:ln w="9525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grpSp>
          <p:nvGrpSpPr>
            <p:cNvPr id="70" name="Group 69"/>
            <p:cNvGrpSpPr/>
            <p:nvPr/>
          </p:nvGrpSpPr>
          <p:grpSpPr>
            <a:xfrm>
              <a:off x="6428004" y="1924704"/>
              <a:ext cx="814133" cy="766805"/>
              <a:chOff x="6493350" y="2532947"/>
              <a:chExt cx="493658" cy="464960"/>
            </a:xfrm>
          </p:grpSpPr>
          <p:sp>
            <p:nvSpPr>
              <p:cNvPr id="71" name="Freeform 272"/>
              <p:cNvSpPr>
                <a:spLocks/>
              </p:cNvSpPr>
              <p:nvPr/>
            </p:nvSpPr>
            <p:spPr bwMode="auto">
              <a:xfrm>
                <a:off x="6493350" y="2697886"/>
                <a:ext cx="493658" cy="134792"/>
              </a:xfrm>
              <a:custGeom>
                <a:avLst/>
                <a:gdLst>
                  <a:gd name="T0" fmla="*/ 624 w 721"/>
                  <a:gd name="T1" fmla="*/ 166 h 197"/>
                  <a:gd name="T2" fmla="*/ 360 w 721"/>
                  <a:gd name="T3" fmla="*/ 197 h 197"/>
                  <a:gd name="T4" fmla="*/ 0 w 721"/>
                  <a:gd name="T5" fmla="*/ 99 h 197"/>
                  <a:gd name="T6" fmla="*/ 360 w 721"/>
                  <a:gd name="T7" fmla="*/ 0 h 197"/>
                  <a:gd name="T8" fmla="*/ 721 w 721"/>
                  <a:gd name="T9" fmla="*/ 99 h 197"/>
                  <a:gd name="T10" fmla="*/ 669 w 721"/>
                  <a:gd name="T11" fmla="*/ 149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1" h="197">
                    <a:moveTo>
                      <a:pt x="624" y="166"/>
                    </a:moveTo>
                    <a:cubicBezTo>
                      <a:pt x="558" y="185"/>
                      <a:pt x="465" y="197"/>
                      <a:pt x="360" y="197"/>
                    </a:cubicBezTo>
                    <a:cubicBezTo>
                      <a:pt x="161" y="197"/>
                      <a:pt x="0" y="153"/>
                      <a:pt x="0" y="99"/>
                    </a:cubicBezTo>
                    <a:cubicBezTo>
                      <a:pt x="0" y="44"/>
                      <a:pt x="161" y="0"/>
                      <a:pt x="360" y="0"/>
                    </a:cubicBezTo>
                    <a:cubicBezTo>
                      <a:pt x="559" y="0"/>
                      <a:pt x="721" y="44"/>
                      <a:pt x="721" y="99"/>
                    </a:cubicBezTo>
                    <a:cubicBezTo>
                      <a:pt x="721" y="117"/>
                      <a:pt x="702" y="135"/>
                      <a:pt x="669" y="149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72" name="Freeform 273"/>
              <p:cNvSpPr>
                <a:spLocks/>
              </p:cNvSpPr>
              <p:nvPr/>
            </p:nvSpPr>
            <p:spPr bwMode="auto">
              <a:xfrm>
                <a:off x="6600314" y="2532947"/>
                <a:ext cx="295673" cy="464960"/>
              </a:xfrm>
              <a:custGeom>
                <a:avLst/>
                <a:gdLst>
                  <a:gd name="T0" fmla="*/ 26 w 432"/>
                  <a:gd name="T1" fmla="*/ 494 h 679"/>
                  <a:gd name="T2" fmla="*/ 119 w 432"/>
                  <a:gd name="T3" fmla="*/ 290 h 679"/>
                  <a:gd name="T4" fmla="*/ 385 w 432"/>
                  <a:gd name="T5" fmla="*/ 28 h 679"/>
                  <a:gd name="T6" fmla="*/ 290 w 432"/>
                  <a:gd name="T7" fmla="*/ 389 h 679"/>
                  <a:gd name="T8" fmla="*/ 24 w 432"/>
                  <a:gd name="T9" fmla="*/ 652 h 679"/>
                  <a:gd name="T10" fmla="*/ 13 w 432"/>
                  <a:gd name="T11" fmla="*/ 540 h 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2" h="679">
                    <a:moveTo>
                      <a:pt x="26" y="494"/>
                    </a:moveTo>
                    <a:cubicBezTo>
                      <a:pt x="45" y="434"/>
                      <a:pt x="77" y="363"/>
                      <a:pt x="119" y="290"/>
                    </a:cubicBezTo>
                    <a:cubicBezTo>
                      <a:pt x="219" y="118"/>
                      <a:pt x="338" y="0"/>
                      <a:pt x="385" y="28"/>
                    </a:cubicBezTo>
                    <a:cubicBezTo>
                      <a:pt x="432" y="55"/>
                      <a:pt x="389" y="217"/>
                      <a:pt x="290" y="389"/>
                    </a:cubicBezTo>
                    <a:cubicBezTo>
                      <a:pt x="190" y="561"/>
                      <a:pt x="71" y="679"/>
                      <a:pt x="24" y="652"/>
                    </a:cubicBezTo>
                    <a:cubicBezTo>
                      <a:pt x="2" y="639"/>
                      <a:pt x="0" y="598"/>
                      <a:pt x="13" y="540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73" name="Freeform 274"/>
              <p:cNvSpPr>
                <a:spLocks/>
              </p:cNvSpPr>
              <p:nvPr/>
            </p:nvSpPr>
            <p:spPr bwMode="auto">
              <a:xfrm>
                <a:off x="6584371" y="2543962"/>
                <a:ext cx="311616" cy="453945"/>
              </a:xfrm>
              <a:custGeom>
                <a:avLst/>
                <a:gdLst>
                  <a:gd name="T0" fmla="*/ 173 w 455"/>
                  <a:gd name="T1" fmla="*/ 81 h 663"/>
                  <a:gd name="T2" fmla="*/ 313 w 455"/>
                  <a:gd name="T3" fmla="*/ 274 h 663"/>
                  <a:gd name="T4" fmla="*/ 408 w 455"/>
                  <a:gd name="T5" fmla="*/ 636 h 663"/>
                  <a:gd name="T6" fmla="*/ 142 w 455"/>
                  <a:gd name="T7" fmla="*/ 373 h 663"/>
                  <a:gd name="T8" fmla="*/ 47 w 455"/>
                  <a:gd name="T9" fmla="*/ 12 h 663"/>
                  <a:gd name="T10" fmla="*/ 138 w 455"/>
                  <a:gd name="T11" fmla="*/ 48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5" h="663">
                    <a:moveTo>
                      <a:pt x="173" y="81"/>
                    </a:moveTo>
                    <a:cubicBezTo>
                      <a:pt x="218" y="128"/>
                      <a:pt x="267" y="196"/>
                      <a:pt x="313" y="274"/>
                    </a:cubicBezTo>
                    <a:cubicBezTo>
                      <a:pt x="412" y="447"/>
                      <a:pt x="455" y="609"/>
                      <a:pt x="408" y="636"/>
                    </a:cubicBezTo>
                    <a:cubicBezTo>
                      <a:pt x="361" y="663"/>
                      <a:pt x="242" y="545"/>
                      <a:pt x="142" y="373"/>
                    </a:cubicBezTo>
                    <a:cubicBezTo>
                      <a:pt x="43" y="201"/>
                      <a:pt x="0" y="39"/>
                      <a:pt x="47" y="12"/>
                    </a:cubicBezTo>
                    <a:cubicBezTo>
                      <a:pt x="67" y="0"/>
                      <a:pt x="100" y="14"/>
                      <a:pt x="138" y="48"/>
                    </a:cubicBez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74" name="Oval 275"/>
              <p:cNvSpPr>
                <a:spLocks noChangeArrowheads="1"/>
              </p:cNvSpPr>
              <p:nvPr/>
            </p:nvSpPr>
            <p:spPr bwMode="auto">
              <a:xfrm>
                <a:off x="6920047" y="2789776"/>
                <a:ext cx="32756" cy="32756"/>
              </a:xfrm>
              <a:prstGeom prst="ellipse">
                <a:avLst/>
              </a:pr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75" name="Oval 276"/>
              <p:cNvSpPr>
                <a:spLocks noChangeArrowheads="1"/>
              </p:cNvSpPr>
              <p:nvPr/>
            </p:nvSpPr>
            <p:spPr bwMode="auto">
              <a:xfrm>
                <a:off x="6596836" y="2870362"/>
                <a:ext cx="32756" cy="33046"/>
              </a:xfrm>
              <a:prstGeom prst="ellipse">
                <a:avLst/>
              </a:pr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76" name="Freeform 277"/>
              <p:cNvSpPr>
                <a:spLocks/>
              </p:cNvSpPr>
              <p:nvPr/>
            </p:nvSpPr>
            <p:spPr bwMode="auto">
              <a:xfrm>
                <a:off x="6674812" y="2571210"/>
                <a:ext cx="32756" cy="32756"/>
              </a:xfrm>
              <a:custGeom>
                <a:avLst/>
                <a:gdLst>
                  <a:gd name="T0" fmla="*/ 48 w 48"/>
                  <a:gd name="T1" fmla="*/ 24 h 48"/>
                  <a:gd name="T2" fmla="*/ 40 w 48"/>
                  <a:gd name="T3" fmla="*/ 42 h 48"/>
                  <a:gd name="T4" fmla="*/ 24 w 48"/>
                  <a:gd name="T5" fmla="*/ 48 h 48"/>
                  <a:gd name="T6" fmla="*/ 0 w 48"/>
                  <a:gd name="T7" fmla="*/ 24 h 48"/>
                  <a:gd name="T8" fmla="*/ 24 w 48"/>
                  <a:gd name="T9" fmla="*/ 0 h 48"/>
                  <a:gd name="T10" fmla="*/ 48 w 48"/>
                  <a:gd name="T11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48">
                    <a:moveTo>
                      <a:pt x="48" y="24"/>
                    </a:moveTo>
                    <a:cubicBezTo>
                      <a:pt x="48" y="31"/>
                      <a:pt x="45" y="37"/>
                      <a:pt x="40" y="42"/>
                    </a:cubicBezTo>
                    <a:cubicBezTo>
                      <a:pt x="36" y="46"/>
                      <a:pt x="30" y="48"/>
                      <a:pt x="24" y="48"/>
                    </a:cubicBezTo>
                    <a:cubicBezTo>
                      <a:pt x="11" y="48"/>
                      <a:pt x="0" y="37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1"/>
                      <a:pt x="48" y="24"/>
                    </a:cubicBezTo>
                    <a:close/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sp>
        <p:nvSpPr>
          <p:cNvPr id="64" name="Oval 63"/>
          <p:cNvSpPr/>
          <p:nvPr/>
        </p:nvSpPr>
        <p:spPr>
          <a:xfrm>
            <a:off x="5384670" y="1008319"/>
            <a:ext cx="385040" cy="385040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9000"/>
              </a:lnSpc>
            </a:pPr>
            <a:r>
              <a:rPr lang="en-US" sz="1600" dirty="0"/>
              <a:t>04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477349-96B2-C94B-8B1D-012B65417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9550"/>
            <a:ext cx="7655943" cy="545464"/>
          </a:xfrm>
        </p:spPr>
        <p:txBody>
          <a:bodyPr/>
          <a:lstStyle/>
          <a:p>
            <a:r>
              <a:rPr lang="en-US" dirty="0"/>
              <a:t>Process with four steps</a:t>
            </a:r>
          </a:p>
        </p:txBody>
      </p:sp>
      <p:sp>
        <p:nvSpPr>
          <p:cNvPr id="54" name="Footer Placeholder 99">
            <a:extLst>
              <a:ext uri="{FF2B5EF4-FFF2-40B4-BE49-F238E27FC236}">
                <a16:creationId xmlns:a16="http://schemas.microsoft.com/office/drawing/2014/main" id="{A4D06BA8-82EB-47FC-8C6B-7D1626BA3A7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5" name="Slide Number Placeholder 100">
            <a:extLst>
              <a:ext uri="{FF2B5EF4-FFF2-40B4-BE49-F238E27FC236}">
                <a16:creationId xmlns:a16="http://schemas.microsoft.com/office/drawing/2014/main" id="{B82BA8C4-BBCA-44C4-9EF4-CDFEECADCF7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56" name="Text Placeholder 41">
            <a:extLst>
              <a:ext uri="{FF2B5EF4-FFF2-40B4-BE49-F238E27FC236}">
                <a16:creationId xmlns:a16="http://schemas.microsoft.com/office/drawing/2014/main" id="{24B03A86-F7D3-403E-B082-10F7210466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302524405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38691" cy="545464"/>
          </a:xfrm>
        </p:spPr>
        <p:txBody>
          <a:bodyPr/>
          <a:lstStyle/>
          <a:p>
            <a:r>
              <a:rPr lang="en-US" dirty="0"/>
              <a:t>Process or predecessors</a:t>
            </a:r>
          </a:p>
        </p:txBody>
      </p:sp>
      <p:sp>
        <p:nvSpPr>
          <p:cNvPr id="15" name="Right Arrow 14"/>
          <p:cNvSpPr/>
          <p:nvPr/>
        </p:nvSpPr>
        <p:spPr>
          <a:xfrm>
            <a:off x="2845183" y="1325063"/>
            <a:ext cx="554509" cy="598932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6" name="Right Arrow 15"/>
          <p:cNvSpPr/>
          <p:nvPr/>
        </p:nvSpPr>
        <p:spPr>
          <a:xfrm>
            <a:off x="5573993" y="1325063"/>
            <a:ext cx="554509" cy="598932"/>
          </a:xfrm>
          <a:prstGeom prst="rightArrow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" name="Rectangle 6"/>
          <p:cNvSpPr/>
          <p:nvPr/>
        </p:nvSpPr>
        <p:spPr>
          <a:xfrm>
            <a:off x="670882" y="2041720"/>
            <a:ext cx="2329697" cy="1949573"/>
          </a:xfrm>
          <a:prstGeom prst="rect">
            <a:avLst/>
          </a:prstGeom>
          <a:solidFill>
            <a:schemeClr val="accent1">
              <a:alpha val="20000"/>
            </a:schemeClr>
          </a:solidFill>
        </p:spPr>
        <p:txBody>
          <a:bodyPr wrap="square" lIns="137160" tIns="137160" rIns="137160" bIns="137160">
            <a:noAutofit/>
          </a:bodyPr>
          <a:lstStyle/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 </a:t>
            </a:r>
          </a:p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/>
              <a:t>Xx xxx </a:t>
            </a:r>
            <a:r>
              <a:rPr lang="en-US" sz="1050" dirty="0" err="1"/>
              <a:t>xxxxx</a:t>
            </a:r>
            <a:r>
              <a:rPr lang="en-US" sz="1050" dirty="0"/>
              <a:t> x xxx </a:t>
            </a:r>
            <a:r>
              <a:rPr lang="en-US" sz="1050" dirty="0" err="1"/>
              <a:t>xxxxxxxxxxx</a:t>
            </a:r>
            <a:r>
              <a:rPr lang="en-US" sz="1050" dirty="0"/>
              <a:t>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</a:p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 err="1"/>
              <a:t>Xxxxx</a:t>
            </a:r>
            <a:r>
              <a:rPr lang="en-US" sz="1050" dirty="0"/>
              <a:t> x xxx x </a:t>
            </a:r>
            <a:r>
              <a:rPr lang="en-US" sz="1050" dirty="0" err="1"/>
              <a:t>xxxxxx</a:t>
            </a:r>
            <a:r>
              <a:rPr lang="en-US" sz="1050" dirty="0"/>
              <a:t> xx </a:t>
            </a:r>
            <a:r>
              <a:rPr lang="en-US" sz="1050" dirty="0" err="1"/>
              <a:t>xx</a:t>
            </a:r>
            <a:r>
              <a:rPr lang="en-US" sz="1050" dirty="0"/>
              <a:t> </a:t>
            </a:r>
            <a:r>
              <a:rPr lang="en-US" sz="1050" dirty="0" err="1"/>
              <a:t>xxxxxxx</a:t>
            </a:r>
            <a:r>
              <a:rPr lang="en-US" sz="1050" dirty="0"/>
              <a:t> xx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399692" y="2041720"/>
            <a:ext cx="2329697" cy="1949573"/>
          </a:xfrm>
          <a:prstGeom prst="rect">
            <a:avLst/>
          </a:prstGeom>
          <a:solidFill>
            <a:schemeClr val="accent4">
              <a:alpha val="20000"/>
            </a:schemeClr>
          </a:solidFill>
        </p:spPr>
        <p:txBody>
          <a:bodyPr wrap="square" lIns="137160" tIns="137160" rIns="137160" bIns="137160">
            <a:noAutofit/>
          </a:bodyPr>
          <a:lstStyle/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 </a:t>
            </a:r>
          </a:p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50" dirty="0"/>
              <a:t>Xx xxx </a:t>
            </a:r>
            <a:r>
              <a:rPr lang="en-US" sz="1050" dirty="0" err="1"/>
              <a:t>xxxxx</a:t>
            </a:r>
            <a:r>
              <a:rPr lang="en-US" sz="1050" dirty="0"/>
              <a:t> x xxx </a:t>
            </a:r>
            <a:r>
              <a:rPr lang="en-US" sz="1050" dirty="0" err="1"/>
              <a:t>xxxxxxxxxxx</a:t>
            </a:r>
            <a:r>
              <a:rPr lang="en-US" sz="1050" dirty="0"/>
              <a:t>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</a:p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50" dirty="0" err="1"/>
              <a:t>Xxxxx</a:t>
            </a:r>
            <a:r>
              <a:rPr lang="en-US" sz="1050" dirty="0"/>
              <a:t> x xxx x </a:t>
            </a:r>
            <a:r>
              <a:rPr lang="en-US" sz="1050" dirty="0" err="1"/>
              <a:t>xxxxxx</a:t>
            </a:r>
            <a:r>
              <a:rPr lang="en-US" sz="1050" dirty="0"/>
              <a:t> xx </a:t>
            </a:r>
            <a:r>
              <a:rPr lang="en-US" sz="1050" dirty="0" err="1"/>
              <a:t>xx</a:t>
            </a:r>
            <a:r>
              <a:rPr lang="en-US" sz="1050" dirty="0"/>
              <a:t> </a:t>
            </a:r>
            <a:r>
              <a:rPr lang="en-US" sz="1050" dirty="0" err="1"/>
              <a:t>xxxxxxx</a:t>
            </a:r>
            <a:r>
              <a:rPr lang="en-US" sz="1050" dirty="0"/>
              <a:t> xx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128503" y="2041720"/>
            <a:ext cx="2329697" cy="1949573"/>
          </a:xfrm>
          <a:prstGeom prst="rect">
            <a:avLst/>
          </a:prstGeom>
          <a:solidFill>
            <a:schemeClr val="accent2">
              <a:alpha val="20000"/>
            </a:schemeClr>
          </a:solidFill>
        </p:spPr>
        <p:txBody>
          <a:bodyPr wrap="square" lIns="137160" tIns="137160" rIns="137160" bIns="137160">
            <a:noAutofit/>
          </a:bodyPr>
          <a:lstStyle/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 </a:t>
            </a:r>
          </a:p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050" dirty="0"/>
              <a:t>Xx xxx </a:t>
            </a:r>
            <a:r>
              <a:rPr lang="en-US" sz="1050" dirty="0" err="1"/>
              <a:t>xxxxx</a:t>
            </a:r>
            <a:r>
              <a:rPr lang="en-US" sz="1050" dirty="0"/>
              <a:t> x xxx </a:t>
            </a:r>
            <a:r>
              <a:rPr lang="en-US" sz="1050" dirty="0" err="1"/>
              <a:t>xxxxxxxxxxx</a:t>
            </a:r>
            <a:r>
              <a:rPr lang="en-US" sz="1050" dirty="0"/>
              <a:t>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</a:p>
          <a:p>
            <a:pPr marL="128588" indent="-128588">
              <a:lnSpc>
                <a:spcPct val="94000"/>
              </a:lnSpc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050" dirty="0" err="1"/>
              <a:t>Xxxxx</a:t>
            </a:r>
            <a:r>
              <a:rPr lang="en-US" sz="1050" dirty="0"/>
              <a:t> x xxx x </a:t>
            </a:r>
            <a:r>
              <a:rPr lang="en-US" sz="1050" dirty="0" err="1"/>
              <a:t>xxxxxx</a:t>
            </a:r>
            <a:r>
              <a:rPr lang="en-US" sz="1050" dirty="0"/>
              <a:t> xx </a:t>
            </a:r>
            <a:r>
              <a:rPr lang="en-US" sz="1050" dirty="0" err="1"/>
              <a:t>xx</a:t>
            </a:r>
            <a:r>
              <a:rPr lang="en-US" sz="1050" dirty="0"/>
              <a:t> </a:t>
            </a:r>
            <a:r>
              <a:rPr lang="en-US" sz="1050" dirty="0" err="1"/>
              <a:t>xxxxxxx</a:t>
            </a:r>
            <a:r>
              <a:rPr lang="en-US" sz="1050" dirty="0"/>
              <a:t> xx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70882" y="1209031"/>
            <a:ext cx="2329697" cy="830997"/>
          </a:xfrm>
          <a:prstGeom prst="rect">
            <a:avLst/>
          </a:prstGeom>
          <a:solidFill>
            <a:schemeClr val="accent1"/>
          </a:solidFill>
        </p:spPr>
        <p:txBody>
          <a:bodyPr wrap="square" lIns="182880" tIns="91440" rIns="182880" bIns="91440" rtlCol="0" anchor="ctr" anchorCtr="0">
            <a:spAutoFit/>
          </a:bodyPr>
          <a:lstStyle/>
          <a:p>
            <a:pPr marL="685800"/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xx xx </a:t>
            </a:r>
            <a:r>
              <a:rPr lang="en-US" sz="1050" dirty="0" err="1">
                <a:solidFill>
                  <a:srgbClr val="FFFFFF"/>
                </a:solidFill>
              </a:rPr>
              <a:t>xxx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 xx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99692" y="1209031"/>
            <a:ext cx="2329697" cy="830997"/>
          </a:xfrm>
          <a:prstGeom prst="rect">
            <a:avLst/>
          </a:prstGeom>
          <a:solidFill>
            <a:schemeClr val="accent4"/>
          </a:solidFill>
        </p:spPr>
        <p:txBody>
          <a:bodyPr wrap="square" lIns="182880" tIns="91440" rIns="182880" bIns="91440" rtlCol="0" anchor="ctr" anchorCtr="0">
            <a:spAutoFit/>
          </a:bodyPr>
          <a:lstStyle/>
          <a:p>
            <a:pPr marL="644129"/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xx xx </a:t>
            </a:r>
            <a:r>
              <a:rPr lang="en-US" sz="1050" dirty="0" err="1">
                <a:solidFill>
                  <a:srgbClr val="FFFFFF"/>
                </a:solidFill>
              </a:rPr>
              <a:t>xxx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 xx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128503" y="1209031"/>
            <a:ext cx="2329697" cy="830997"/>
          </a:xfrm>
          <a:prstGeom prst="rect">
            <a:avLst/>
          </a:prstGeom>
          <a:solidFill>
            <a:schemeClr val="accent2"/>
          </a:solidFill>
        </p:spPr>
        <p:txBody>
          <a:bodyPr wrap="square" lIns="182880" tIns="91440" rIns="182880" bIns="91440" rtlCol="0" anchor="ctr" anchorCtr="0">
            <a:spAutoFit/>
          </a:bodyPr>
          <a:lstStyle/>
          <a:p>
            <a:pPr marL="644129"/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xx xx </a:t>
            </a:r>
            <a:r>
              <a:rPr lang="en-US" sz="1050" dirty="0" err="1">
                <a:solidFill>
                  <a:srgbClr val="FFFFFF"/>
                </a:solidFill>
              </a:rPr>
              <a:t>xxx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 xx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21" name="Freeform 105"/>
          <p:cNvSpPr>
            <a:spLocks noEditPoints="1"/>
          </p:cNvSpPr>
          <p:nvPr/>
        </p:nvSpPr>
        <p:spPr bwMode="auto">
          <a:xfrm>
            <a:off x="879186" y="1386888"/>
            <a:ext cx="358769" cy="475283"/>
          </a:xfrm>
          <a:custGeom>
            <a:avLst/>
            <a:gdLst>
              <a:gd name="T0" fmla="*/ 473 w 478"/>
              <a:gd name="T1" fmla="*/ 39 h 633"/>
              <a:gd name="T2" fmla="*/ 239 w 478"/>
              <a:gd name="T3" fmla="*/ 0 h 633"/>
              <a:gd name="T4" fmla="*/ 239 w 478"/>
              <a:gd name="T5" fmla="*/ 0 h 633"/>
              <a:gd name="T6" fmla="*/ 239 w 478"/>
              <a:gd name="T7" fmla="*/ 0 h 633"/>
              <a:gd name="T8" fmla="*/ 239 w 478"/>
              <a:gd name="T9" fmla="*/ 0 h 633"/>
              <a:gd name="T10" fmla="*/ 193 w 478"/>
              <a:gd name="T11" fmla="*/ 2 h 633"/>
              <a:gd name="T12" fmla="*/ 192 w 478"/>
              <a:gd name="T13" fmla="*/ 2 h 633"/>
              <a:gd name="T14" fmla="*/ 192 w 478"/>
              <a:gd name="T15" fmla="*/ 2 h 633"/>
              <a:gd name="T16" fmla="*/ 191 w 478"/>
              <a:gd name="T17" fmla="*/ 2 h 633"/>
              <a:gd name="T18" fmla="*/ 145 w 478"/>
              <a:gd name="T19" fmla="*/ 7 h 633"/>
              <a:gd name="T20" fmla="*/ 144 w 478"/>
              <a:gd name="T21" fmla="*/ 7 h 633"/>
              <a:gd name="T22" fmla="*/ 98 w 478"/>
              <a:gd name="T23" fmla="*/ 15 h 633"/>
              <a:gd name="T24" fmla="*/ 98 w 478"/>
              <a:gd name="T25" fmla="*/ 15 h 633"/>
              <a:gd name="T26" fmla="*/ 52 w 478"/>
              <a:gd name="T27" fmla="*/ 26 h 633"/>
              <a:gd name="T28" fmla="*/ 51 w 478"/>
              <a:gd name="T29" fmla="*/ 26 h 633"/>
              <a:gd name="T30" fmla="*/ 4 w 478"/>
              <a:gd name="T31" fmla="*/ 39 h 633"/>
              <a:gd name="T32" fmla="*/ 0 w 478"/>
              <a:gd name="T33" fmla="*/ 46 h 633"/>
              <a:gd name="T34" fmla="*/ 0 w 478"/>
              <a:gd name="T35" fmla="*/ 435 h 633"/>
              <a:gd name="T36" fmla="*/ 102 w 478"/>
              <a:gd name="T37" fmla="*/ 553 h 633"/>
              <a:gd name="T38" fmla="*/ 142 w 478"/>
              <a:gd name="T39" fmla="*/ 582 h 633"/>
              <a:gd name="T40" fmla="*/ 142 w 478"/>
              <a:gd name="T41" fmla="*/ 582 h 633"/>
              <a:gd name="T42" fmla="*/ 238 w 478"/>
              <a:gd name="T43" fmla="*/ 633 h 633"/>
              <a:gd name="T44" fmla="*/ 238 w 478"/>
              <a:gd name="T45" fmla="*/ 633 h 633"/>
              <a:gd name="T46" fmla="*/ 239 w 478"/>
              <a:gd name="T47" fmla="*/ 633 h 633"/>
              <a:gd name="T48" fmla="*/ 239 w 478"/>
              <a:gd name="T49" fmla="*/ 633 h 633"/>
              <a:gd name="T50" fmla="*/ 239 w 478"/>
              <a:gd name="T51" fmla="*/ 633 h 633"/>
              <a:gd name="T52" fmla="*/ 239 w 478"/>
              <a:gd name="T53" fmla="*/ 633 h 633"/>
              <a:gd name="T54" fmla="*/ 241 w 478"/>
              <a:gd name="T55" fmla="*/ 633 h 633"/>
              <a:gd name="T56" fmla="*/ 373 w 478"/>
              <a:gd name="T57" fmla="*/ 560 h 633"/>
              <a:gd name="T58" fmla="*/ 478 w 478"/>
              <a:gd name="T59" fmla="*/ 435 h 633"/>
              <a:gd name="T60" fmla="*/ 478 w 478"/>
              <a:gd name="T61" fmla="*/ 46 h 633"/>
              <a:gd name="T62" fmla="*/ 473 w 478"/>
              <a:gd name="T63" fmla="*/ 39 h 633"/>
              <a:gd name="T64" fmla="*/ 199 w 478"/>
              <a:gd name="T65" fmla="*/ 15 h 633"/>
              <a:gd name="T66" fmla="*/ 232 w 478"/>
              <a:gd name="T67" fmla="*/ 14 h 633"/>
              <a:gd name="T68" fmla="*/ 232 w 478"/>
              <a:gd name="T69" fmla="*/ 617 h 633"/>
              <a:gd name="T70" fmla="*/ 200 w 478"/>
              <a:gd name="T71" fmla="*/ 601 h 633"/>
              <a:gd name="T72" fmla="*/ 199 w 478"/>
              <a:gd name="T73" fmla="*/ 15 h 633"/>
              <a:gd name="T74" fmla="*/ 186 w 478"/>
              <a:gd name="T75" fmla="*/ 593 h 633"/>
              <a:gd name="T76" fmla="*/ 153 w 478"/>
              <a:gd name="T77" fmla="*/ 572 h 633"/>
              <a:gd name="T78" fmla="*/ 153 w 478"/>
              <a:gd name="T79" fmla="*/ 20 h 633"/>
              <a:gd name="T80" fmla="*/ 185 w 478"/>
              <a:gd name="T81" fmla="*/ 17 h 633"/>
              <a:gd name="T82" fmla="*/ 186 w 478"/>
              <a:gd name="T83" fmla="*/ 593 h 633"/>
              <a:gd name="T84" fmla="*/ 60 w 478"/>
              <a:gd name="T85" fmla="*/ 38 h 633"/>
              <a:gd name="T86" fmla="*/ 92 w 478"/>
              <a:gd name="T87" fmla="*/ 31 h 633"/>
              <a:gd name="T88" fmla="*/ 93 w 478"/>
              <a:gd name="T89" fmla="*/ 528 h 633"/>
              <a:gd name="T90" fmla="*/ 60 w 478"/>
              <a:gd name="T91" fmla="*/ 500 h 633"/>
              <a:gd name="T92" fmla="*/ 60 w 478"/>
              <a:gd name="T93" fmla="*/ 38 h 633"/>
              <a:gd name="T94" fmla="*/ 14 w 478"/>
              <a:gd name="T95" fmla="*/ 435 h 633"/>
              <a:gd name="T96" fmla="*/ 14 w 478"/>
              <a:gd name="T97" fmla="*/ 51 h 633"/>
              <a:gd name="T98" fmla="*/ 46 w 478"/>
              <a:gd name="T99" fmla="*/ 42 h 633"/>
              <a:gd name="T100" fmla="*/ 46 w 478"/>
              <a:gd name="T101" fmla="*/ 487 h 633"/>
              <a:gd name="T102" fmla="*/ 14 w 478"/>
              <a:gd name="T103" fmla="*/ 435 h 633"/>
              <a:gd name="T104" fmla="*/ 107 w 478"/>
              <a:gd name="T105" fmla="*/ 539 h 633"/>
              <a:gd name="T106" fmla="*/ 106 w 478"/>
              <a:gd name="T107" fmla="*/ 28 h 633"/>
              <a:gd name="T108" fmla="*/ 139 w 478"/>
              <a:gd name="T109" fmla="*/ 22 h 633"/>
              <a:gd name="T110" fmla="*/ 139 w 478"/>
              <a:gd name="T111" fmla="*/ 563 h 633"/>
              <a:gd name="T112" fmla="*/ 111 w 478"/>
              <a:gd name="T113" fmla="*/ 542 h 633"/>
              <a:gd name="T114" fmla="*/ 107 w 478"/>
              <a:gd name="T115" fmla="*/ 539 h 633"/>
              <a:gd name="T116" fmla="*/ 464 w 478"/>
              <a:gd name="T117" fmla="*/ 435 h 633"/>
              <a:gd name="T118" fmla="*/ 246 w 478"/>
              <a:gd name="T119" fmla="*/ 617 h 633"/>
              <a:gd name="T120" fmla="*/ 246 w 478"/>
              <a:gd name="T121" fmla="*/ 14 h 633"/>
              <a:gd name="T122" fmla="*/ 464 w 478"/>
              <a:gd name="T123" fmla="*/ 51 h 633"/>
              <a:gd name="T124" fmla="*/ 464 w 478"/>
              <a:gd name="T125" fmla="*/ 435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78" h="633">
                <a:moveTo>
                  <a:pt x="473" y="39"/>
                </a:moveTo>
                <a:cubicBezTo>
                  <a:pt x="414" y="21"/>
                  <a:pt x="326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ubicBezTo>
                  <a:pt x="224" y="0"/>
                  <a:pt x="208" y="1"/>
                  <a:pt x="193" y="2"/>
                </a:cubicBezTo>
                <a:cubicBezTo>
                  <a:pt x="193" y="2"/>
                  <a:pt x="192" y="2"/>
                  <a:pt x="192" y="2"/>
                </a:cubicBezTo>
                <a:cubicBezTo>
                  <a:pt x="192" y="2"/>
                  <a:pt x="192" y="2"/>
                  <a:pt x="192" y="2"/>
                </a:cubicBezTo>
                <a:cubicBezTo>
                  <a:pt x="192" y="2"/>
                  <a:pt x="192" y="2"/>
                  <a:pt x="191" y="2"/>
                </a:cubicBezTo>
                <a:cubicBezTo>
                  <a:pt x="176" y="3"/>
                  <a:pt x="160" y="5"/>
                  <a:pt x="145" y="7"/>
                </a:cubicBezTo>
                <a:cubicBezTo>
                  <a:pt x="145" y="7"/>
                  <a:pt x="145" y="7"/>
                  <a:pt x="144" y="7"/>
                </a:cubicBezTo>
                <a:cubicBezTo>
                  <a:pt x="129" y="9"/>
                  <a:pt x="114" y="12"/>
                  <a:pt x="98" y="15"/>
                </a:cubicBezTo>
                <a:cubicBezTo>
                  <a:pt x="98" y="15"/>
                  <a:pt x="98" y="15"/>
                  <a:pt x="98" y="15"/>
                </a:cubicBezTo>
                <a:cubicBezTo>
                  <a:pt x="83" y="18"/>
                  <a:pt x="67" y="22"/>
                  <a:pt x="52" y="26"/>
                </a:cubicBezTo>
                <a:cubicBezTo>
                  <a:pt x="51" y="26"/>
                  <a:pt x="51" y="26"/>
                  <a:pt x="51" y="26"/>
                </a:cubicBezTo>
                <a:cubicBezTo>
                  <a:pt x="36" y="30"/>
                  <a:pt x="20" y="34"/>
                  <a:pt x="4" y="39"/>
                </a:cubicBezTo>
                <a:cubicBezTo>
                  <a:pt x="2" y="40"/>
                  <a:pt x="0" y="43"/>
                  <a:pt x="0" y="46"/>
                </a:cubicBezTo>
                <a:cubicBezTo>
                  <a:pt x="0" y="435"/>
                  <a:pt x="0" y="435"/>
                  <a:pt x="0" y="435"/>
                </a:cubicBezTo>
                <a:cubicBezTo>
                  <a:pt x="0" y="450"/>
                  <a:pt x="13" y="486"/>
                  <a:pt x="102" y="553"/>
                </a:cubicBezTo>
                <a:cubicBezTo>
                  <a:pt x="115" y="563"/>
                  <a:pt x="129" y="573"/>
                  <a:pt x="142" y="582"/>
                </a:cubicBezTo>
                <a:cubicBezTo>
                  <a:pt x="142" y="582"/>
                  <a:pt x="142" y="582"/>
                  <a:pt x="142" y="582"/>
                </a:cubicBezTo>
                <a:cubicBezTo>
                  <a:pt x="182" y="609"/>
                  <a:pt x="220" y="629"/>
                  <a:pt x="238" y="633"/>
                </a:cubicBezTo>
                <a:cubicBezTo>
                  <a:pt x="238" y="633"/>
                  <a:pt x="238" y="633"/>
                  <a:pt x="238" y="633"/>
                </a:cubicBezTo>
                <a:cubicBezTo>
                  <a:pt x="238" y="633"/>
                  <a:pt x="239" y="633"/>
                  <a:pt x="239" y="633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40" y="633"/>
                  <a:pt x="240" y="633"/>
                  <a:pt x="241" y="633"/>
                </a:cubicBezTo>
                <a:cubicBezTo>
                  <a:pt x="261" y="629"/>
                  <a:pt x="320" y="598"/>
                  <a:pt x="373" y="560"/>
                </a:cubicBezTo>
                <a:cubicBezTo>
                  <a:pt x="421" y="526"/>
                  <a:pt x="478" y="477"/>
                  <a:pt x="478" y="435"/>
                </a:cubicBezTo>
                <a:cubicBezTo>
                  <a:pt x="478" y="46"/>
                  <a:pt x="478" y="46"/>
                  <a:pt x="478" y="46"/>
                </a:cubicBezTo>
                <a:cubicBezTo>
                  <a:pt x="478" y="43"/>
                  <a:pt x="476" y="40"/>
                  <a:pt x="473" y="39"/>
                </a:cubicBezTo>
                <a:close/>
                <a:moveTo>
                  <a:pt x="199" y="15"/>
                </a:moveTo>
                <a:cubicBezTo>
                  <a:pt x="210" y="15"/>
                  <a:pt x="221" y="14"/>
                  <a:pt x="232" y="14"/>
                </a:cubicBezTo>
                <a:cubicBezTo>
                  <a:pt x="232" y="617"/>
                  <a:pt x="232" y="617"/>
                  <a:pt x="232" y="617"/>
                </a:cubicBezTo>
                <a:cubicBezTo>
                  <a:pt x="224" y="614"/>
                  <a:pt x="213" y="608"/>
                  <a:pt x="200" y="601"/>
                </a:cubicBezTo>
                <a:lnTo>
                  <a:pt x="199" y="15"/>
                </a:lnTo>
                <a:close/>
                <a:moveTo>
                  <a:pt x="186" y="593"/>
                </a:moveTo>
                <a:cubicBezTo>
                  <a:pt x="175" y="587"/>
                  <a:pt x="165" y="580"/>
                  <a:pt x="153" y="572"/>
                </a:cubicBezTo>
                <a:cubicBezTo>
                  <a:pt x="153" y="20"/>
                  <a:pt x="153" y="20"/>
                  <a:pt x="153" y="20"/>
                </a:cubicBezTo>
                <a:cubicBezTo>
                  <a:pt x="164" y="19"/>
                  <a:pt x="175" y="17"/>
                  <a:pt x="185" y="17"/>
                </a:cubicBezTo>
                <a:lnTo>
                  <a:pt x="186" y="593"/>
                </a:lnTo>
                <a:close/>
                <a:moveTo>
                  <a:pt x="60" y="38"/>
                </a:moveTo>
                <a:cubicBezTo>
                  <a:pt x="71" y="35"/>
                  <a:pt x="82" y="33"/>
                  <a:pt x="92" y="31"/>
                </a:cubicBezTo>
                <a:cubicBezTo>
                  <a:pt x="93" y="528"/>
                  <a:pt x="93" y="528"/>
                  <a:pt x="93" y="528"/>
                </a:cubicBezTo>
                <a:cubicBezTo>
                  <a:pt x="81" y="518"/>
                  <a:pt x="70" y="509"/>
                  <a:pt x="60" y="500"/>
                </a:cubicBezTo>
                <a:lnTo>
                  <a:pt x="60" y="38"/>
                </a:lnTo>
                <a:close/>
                <a:moveTo>
                  <a:pt x="14" y="435"/>
                </a:moveTo>
                <a:cubicBezTo>
                  <a:pt x="14" y="51"/>
                  <a:pt x="14" y="51"/>
                  <a:pt x="14" y="51"/>
                </a:cubicBezTo>
                <a:cubicBezTo>
                  <a:pt x="24" y="48"/>
                  <a:pt x="35" y="45"/>
                  <a:pt x="46" y="42"/>
                </a:cubicBezTo>
                <a:cubicBezTo>
                  <a:pt x="46" y="487"/>
                  <a:pt x="46" y="487"/>
                  <a:pt x="46" y="487"/>
                </a:cubicBezTo>
                <a:cubicBezTo>
                  <a:pt x="25" y="465"/>
                  <a:pt x="14" y="447"/>
                  <a:pt x="14" y="435"/>
                </a:cubicBezTo>
                <a:close/>
                <a:moveTo>
                  <a:pt x="107" y="539"/>
                </a:moveTo>
                <a:cubicBezTo>
                  <a:pt x="106" y="28"/>
                  <a:pt x="106" y="28"/>
                  <a:pt x="106" y="28"/>
                </a:cubicBezTo>
                <a:cubicBezTo>
                  <a:pt x="117" y="26"/>
                  <a:pt x="128" y="24"/>
                  <a:pt x="139" y="22"/>
                </a:cubicBezTo>
                <a:cubicBezTo>
                  <a:pt x="139" y="563"/>
                  <a:pt x="139" y="563"/>
                  <a:pt x="139" y="563"/>
                </a:cubicBezTo>
                <a:cubicBezTo>
                  <a:pt x="130" y="556"/>
                  <a:pt x="120" y="549"/>
                  <a:pt x="111" y="542"/>
                </a:cubicBezTo>
                <a:cubicBezTo>
                  <a:pt x="109" y="541"/>
                  <a:pt x="108" y="540"/>
                  <a:pt x="107" y="539"/>
                </a:cubicBezTo>
                <a:close/>
                <a:moveTo>
                  <a:pt x="464" y="435"/>
                </a:moveTo>
                <a:cubicBezTo>
                  <a:pt x="464" y="496"/>
                  <a:pt x="297" y="598"/>
                  <a:pt x="246" y="617"/>
                </a:cubicBezTo>
                <a:cubicBezTo>
                  <a:pt x="246" y="14"/>
                  <a:pt x="246" y="14"/>
                  <a:pt x="246" y="14"/>
                </a:cubicBezTo>
                <a:cubicBezTo>
                  <a:pt x="327" y="15"/>
                  <a:pt x="408" y="34"/>
                  <a:pt x="464" y="51"/>
                </a:cubicBezTo>
                <a:lnTo>
                  <a:pt x="464" y="4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2" name="Freeform 136"/>
          <p:cNvSpPr>
            <a:spLocks noEditPoints="1"/>
          </p:cNvSpPr>
          <p:nvPr/>
        </p:nvSpPr>
        <p:spPr bwMode="auto">
          <a:xfrm>
            <a:off x="6303068" y="1427288"/>
            <a:ext cx="477299" cy="394484"/>
          </a:xfrm>
          <a:custGeom>
            <a:avLst/>
            <a:gdLst>
              <a:gd name="T0" fmla="*/ 100 w 616"/>
              <a:gd name="T1" fmla="*/ 285 h 509"/>
              <a:gd name="T2" fmla="*/ 323 w 616"/>
              <a:gd name="T3" fmla="*/ 422 h 509"/>
              <a:gd name="T4" fmla="*/ 323 w 616"/>
              <a:gd name="T5" fmla="*/ 278 h 509"/>
              <a:gd name="T6" fmla="*/ 114 w 616"/>
              <a:gd name="T7" fmla="*/ 292 h 509"/>
              <a:gd name="T8" fmla="*/ 612 w 616"/>
              <a:gd name="T9" fmla="*/ 188 h 509"/>
              <a:gd name="T10" fmla="*/ 555 w 616"/>
              <a:gd name="T11" fmla="*/ 4 h 509"/>
              <a:gd name="T12" fmla="*/ 554 w 616"/>
              <a:gd name="T13" fmla="*/ 3 h 509"/>
              <a:gd name="T14" fmla="*/ 553 w 616"/>
              <a:gd name="T15" fmla="*/ 1 h 509"/>
              <a:gd name="T16" fmla="*/ 551 w 616"/>
              <a:gd name="T17" fmla="*/ 1 h 509"/>
              <a:gd name="T18" fmla="*/ 549 w 616"/>
              <a:gd name="T19" fmla="*/ 0 h 509"/>
              <a:gd name="T20" fmla="*/ 308 w 616"/>
              <a:gd name="T21" fmla="*/ 0 h 509"/>
              <a:gd name="T22" fmla="*/ 147 w 616"/>
              <a:gd name="T23" fmla="*/ 0 h 509"/>
              <a:gd name="T24" fmla="*/ 66 w 616"/>
              <a:gd name="T25" fmla="*/ 0 h 509"/>
              <a:gd name="T26" fmla="*/ 64 w 616"/>
              <a:gd name="T27" fmla="*/ 1 h 509"/>
              <a:gd name="T28" fmla="*/ 62 w 616"/>
              <a:gd name="T29" fmla="*/ 2 h 509"/>
              <a:gd name="T30" fmla="*/ 61 w 616"/>
              <a:gd name="T31" fmla="*/ 4 h 509"/>
              <a:gd name="T32" fmla="*/ 60 w 616"/>
              <a:gd name="T33" fmla="*/ 5 h 509"/>
              <a:gd name="T34" fmla="*/ 27 w 616"/>
              <a:gd name="T35" fmla="*/ 242 h 509"/>
              <a:gd name="T36" fmla="*/ 582 w 616"/>
              <a:gd name="T37" fmla="*/ 509 h 509"/>
              <a:gd name="T38" fmla="*/ 606 w 616"/>
              <a:gd name="T39" fmla="*/ 229 h 509"/>
              <a:gd name="T40" fmla="*/ 464 w 616"/>
              <a:gd name="T41" fmla="*/ 232 h 509"/>
              <a:gd name="T42" fmla="*/ 463 w 616"/>
              <a:gd name="T43" fmla="*/ 14 h 509"/>
              <a:gd name="T44" fmla="*/ 391 w 616"/>
              <a:gd name="T45" fmla="*/ 219 h 509"/>
              <a:gd name="T46" fmla="*/ 315 w 616"/>
              <a:gd name="T47" fmla="*/ 14 h 509"/>
              <a:gd name="T48" fmla="*/ 391 w 616"/>
              <a:gd name="T49" fmla="*/ 219 h 509"/>
              <a:gd name="T50" fmla="*/ 257 w 616"/>
              <a:gd name="T51" fmla="*/ 232 h 509"/>
              <a:gd name="T52" fmla="*/ 234 w 616"/>
              <a:gd name="T53" fmla="*/ 14 h 509"/>
              <a:gd name="T54" fmla="*/ 117 w 616"/>
              <a:gd name="T55" fmla="*/ 192 h 509"/>
              <a:gd name="T56" fmla="*/ 202 w 616"/>
              <a:gd name="T57" fmla="*/ 190 h 509"/>
              <a:gd name="T58" fmla="*/ 117 w 616"/>
              <a:gd name="T59" fmla="*/ 192 h 509"/>
              <a:gd name="T60" fmla="*/ 72 w 616"/>
              <a:gd name="T61" fmla="*/ 14 h 509"/>
              <a:gd name="T62" fmla="*/ 48 w 616"/>
              <a:gd name="T63" fmla="*/ 232 h 509"/>
              <a:gd name="T64" fmla="*/ 392 w 616"/>
              <a:gd name="T65" fmla="*/ 495 h 509"/>
              <a:gd name="T66" fmla="*/ 503 w 616"/>
              <a:gd name="T67" fmla="*/ 495 h 509"/>
              <a:gd name="T68" fmla="*/ 517 w 616"/>
              <a:gd name="T69" fmla="*/ 285 h 509"/>
              <a:gd name="T70" fmla="*/ 378 w 616"/>
              <a:gd name="T71" fmla="*/ 285 h 509"/>
              <a:gd name="T72" fmla="*/ 41 w 616"/>
              <a:gd name="T73" fmla="*/ 246 h 509"/>
              <a:gd name="T74" fmla="*/ 113 w 616"/>
              <a:gd name="T75" fmla="*/ 229 h 509"/>
              <a:gd name="T76" fmla="*/ 215 w 616"/>
              <a:gd name="T77" fmla="*/ 229 h 509"/>
              <a:gd name="T78" fmla="*/ 308 w 616"/>
              <a:gd name="T79" fmla="*/ 217 h 509"/>
              <a:gd name="T80" fmla="*/ 410 w 616"/>
              <a:gd name="T81" fmla="*/ 217 h 509"/>
              <a:gd name="T82" fmla="*/ 511 w 616"/>
              <a:gd name="T83" fmla="*/ 217 h 509"/>
              <a:gd name="T84" fmla="*/ 575 w 616"/>
              <a:gd name="T85" fmla="*/ 495 h 509"/>
              <a:gd name="T86" fmla="*/ 513 w 616"/>
              <a:gd name="T87" fmla="*/ 189 h 509"/>
              <a:gd name="T88" fmla="*/ 598 w 616"/>
              <a:gd name="T89" fmla="*/ 192 h 5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" h="509">
                <a:moveTo>
                  <a:pt x="323" y="278"/>
                </a:moveTo>
                <a:cubicBezTo>
                  <a:pt x="107" y="278"/>
                  <a:pt x="107" y="278"/>
                  <a:pt x="107" y="278"/>
                </a:cubicBezTo>
                <a:cubicBezTo>
                  <a:pt x="104" y="278"/>
                  <a:pt x="100" y="282"/>
                  <a:pt x="100" y="285"/>
                </a:cubicBezTo>
                <a:cubicBezTo>
                  <a:pt x="100" y="415"/>
                  <a:pt x="100" y="415"/>
                  <a:pt x="100" y="415"/>
                </a:cubicBezTo>
                <a:cubicBezTo>
                  <a:pt x="100" y="419"/>
                  <a:pt x="104" y="422"/>
                  <a:pt x="107" y="422"/>
                </a:cubicBezTo>
                <a:cubicBezTo>
                  <a:pt x="323" y="422"/>
                  <a:pt x="323" y="422"/>
                  <a:pt x="323" y="422"/>
                </a:cubicBezTo>
                <a:cubicBezTo>
                  <a:pt x="327" y="422"/>
                  <a:pt x="330" y="419"/>
                  <a:pt x="330" y="415"/>
                </a:cubicBezTo>
                <a:cubicBezTo>
                  <a:pt x="330" y="285"/>
                  <a:pt x="330" y="285"/>
                  <a:pt x="330" y="285"/>
                </a:cubicBezTo>
                <a:cubicBezTo>
                  <a:pt x="330" y="282"/>
                  <a:pt x="327" y="278"/>
                  <a:pt x="323" y="278"/>
                </a:cubicBezTo>
                <a:close/>
                <a:moveTo>
                  <a:pt x="316" y="408"/>
                </a:moveTo>
                <a:cubicBezTo>
                  <a:pt x="114" y="408"/>
                  <a:pt x="114" y="408"/>
                  <a:pt x="114" y="408"/>
                </a:cubicBezTo>
                <a:cubicBezTo>
                  <a:pt x="114" y="292"/>
                  <a:pt x="114" y="292"/>
                  <a:pt x="114" y="292"/>
                </a:cubicBezTo>
                <a:cubicBezTo>
                  <a:pt x="316" y="292"/>
                  <a:pt x="316" y="292"/>
                  <a:pt x="316" y="292"/>
                </a:cubicBezTo>
                <a:lnTo>
                  <a:pt x="316" y="408"/>
                </a:lnTo>
                <a:close/>
                <a:moveTo>
                  <a:pt x="612" y="188"/>
                </a:moveTo>
                <a:cubicBezTo>
                  <a:pt x="556" y="5"/>
                  <a:pt x="556" y="5"/>
                  <a:pt x="556" y="5"/>
                </a:cubicBezTo>
                <a:cubicBezTo>
                  <a:pt x="556" y="5"/>
                  <a:pt x="556" y="5"/>
                  <a:pt x="556" y="5"/>
                </a:cubicBezTo>
                <a:cubicBezTo>
                  <a:pt x="556" y="5"/>
                  <a:pt x="555" y="4"/>
                  <a:pt x="555" y="4"/>
                </a:cubicBezTo>
                <a:cubicBezTo>
                  <a:pt x="555" y="4"/>
                  <a:pt x="555" y="4"/>
                  <a:pt x="555" y="4"/>
                </a:cubicBezTo>
                <a:cubicBezTo>
                  <a:pt x="555" y="3"/>
                  <a:pt x="555" y="3"/>
                  <a:pt x="555" y="3"/>
                </a:cubicBezTo>
                <a:cubicBezTo>
                  <a:pt x="555" y="3"/>
                  <a:pt x="554" y="3"/>
                  <a:pt x="554" y="3"/>
                </a:cubicBezTo>
                <a:cubicBezTo>
                  <a:pt x="554" y="2"/>
                  <a:pt x="554" y="2"/>
                  <a:pt x="554" y="2"/>
                </a:cubicBezTo>
                <a:cubicBezTo>
                  <a:pt x="554" y="2"/>
                  <a:pt x="553" y="2"/>
                  <a:pt x="553" y="2"/>
                </a:cubicBezTo>
                <a:cubicBezTo>
                  <a:pt x="553" y="2"/>
                  <a:pt x="553" y="1"/>
                  <a:pt x="553" y="1"/>
                </a:cubicBezTo>
                <a:cubicBezTo>
                  <a:pt x="552" y="1"/>
                  <a:pt x="552" y="1"/>
                  <a:pt x="552" y="1"/>
                </a:cubicBezTo>
                <a:cubicBezTo>
                  <a:pt x="552" y="1"/>
                  <a:pt x="552" y="1"/>
                  <a:pt x="551" y="1"/>
                </a:cubicBezTo>
                <a:cubicBezTo>
                  <a:pt x="551" y="1"/>
                  <a:pt x="551" y="1"/>
                  <a:pt x="551" y="1"/>
                </a:cubicBezTo>
                <a:cubicBezTo>
                  <a:pt x="551" y="0"/>
                  <a:pt x="550" y="0"/>
                  <a:pt x="550" y="0"/>
                </a:cubicBezTo>
                <a:cubicBezTo>
                  <a:pt x="550" y="0"/>
                  <a:pt x="550" y="0"/>
                  <a:pt x="549" y="0"/>
                </a:cubicBezTo>
                <a:cubicBezTo>
                  <a:pt x="549" y="0"/>
                  <a:pt x="549" y="0"/>
                  <a:pt x="549" y="0"/>
                </a:cubicBezTo>
                <a:cubicBezTo>
                  <a:pt x="469" y="0"/>
                  <a:pt x="469" y="0"/>
                  <a:pt x="469" y="0"/>
                </a:cubicBezTo>
                <a:cubicBezTo>
                  <a:pt x="469" y="0"/>
                  <a:pt x="469" y="0"/>
                  <a:pt x="469" y="0"/>
                </a:cubicBezTo>
                <a:cubicBezTo>
                  <a:pt x="308" y="0"/>
                  <a:pt x="308" y="0"/>
                  <a:pt x="308" y="0"/>
                </a:cubicBezTo>
                <a:cubicBezTo>
                  <a:pt x="308" y="0"/>
                  <a:pt x="308" y="0"/>
                  <a:pt x="308" y="0"/>
                </a:cubicBez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47" y="0"/>
                  <a:pt x="14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7" y="0"/>
                  <a:pt x="66" y="0"/>
                  <a:pt x="66" y="0"/>
                </a:cubicBezTo>
                <a:cubicBezTo>
                  <a:pt x="66" y="0"/>
                  <a:pt x="66" y="0"/>
                  <a:pt x="65" y="1"/>
                </a:cubicBezTo>
                <a:cubicBezTo>
                  <a:pt x="65" y="1"/>
                  <a:pt x="65" y="1"/>
                  <a:pt x="65" y="1"/>
                </a:cubicBezTo>
                <a:cubicBezTo>
                  <a:pt x="65" y="1"/>
                  <a:pt x="64" y="1"/>
                  <a:pt x="64" y="1"/>
                </a:cubicBezTo>
                <a:cubicBezTo>
                  <a:pt x="64" y="1"/>
                  <a:pt x="64" y="1"/>
                  <a:pt x="64" y="1"/>
                </a:cubicBezTo>
                <a:cubicBezTo>
                  <a:pt x="63" y="1"/>
                  <a:pt x="63" y="2"/>
                  <a:pt x="63" y="2"/>
                </a:cubicBezTo>
                <a:cubicBezTo>
                  <a:pt x="63" y="2"/>
                  <a:pt x="63" y="2"/>
                  <a:pt x="62" y="2"/>
                </a:cubicBezTo>
                <a:cubicBezTo>
                  <a:pt x="62" y="2"/>
                  <a:pt x="62" y="2"/>
                  <a:pt x="62" y="3"/>
                </a:cubicBezTo>
                <a:cubicBezTo>
                  <a:pt x="62" y="3"/>
                  <a:pt x="62" y="3"/>
                  <a:pt x="62" y="3"/>
                </a:cubicBezTo>
                <a:cubicBezTo>
                  <a:pt x="61" y="3"/>
                  <a:pt x="61" y="3"/>
                  <a:pt x="61" y="4"/>
                </a:cubicBezTo>
                <a:cubicBezTo>
                  <a:pt x="61" y="4"/>
                  <a:pt x="61" y="4"/>
                  <a:pt x="61" y="4"/>
                </a:cubicBezTo>
                <a:cubicBezTo>
                  <a:pt x="61" y="4"/>
                  <a:pt x="61" y="5"/>
                  <a:pt x="61" y="5"/>
                </a:cubicBezTo>
                <a:cubicBezTo>
                  <a:pt x="61" y="5"/>
                  <a:pt x="60" y="5"/>
                  <a:pt x="60" y="5"/>
                </a:cubicBezTo>
                <a:cubicBezTo>
                  <a:pt x="5" y="188"/>
                  <a:pt x="5" y="188"/>
                  <a:pt x="5" y="188"/>
                </a:cubicBezTo>
                <a:cubicBezTo>
                  <a:pt x="0" y="203"/>
                  <a:pt x="2" y="218"/>
                  <a:pt x="10" y="229"/>
                </a:cubicBezTo>
                <a:cubicBezTo>
                  <a:pt x="15" y="235"/>
                  <a:pt x="20" y="239"/>
                  <a:pt x="27" y="242"/>
                </a:cubicBezTo>
                <a:cubicBezTo>
                  <a:pt x="27" y="502"/>
                  <a:pt x="27" y="502"/>
                  <a:pt x="27" y="502"/>
                </a:cubicBezTo>
                <a:cubicBezTo>
                  <a:pt x="27" y="506"/>
                  <a:pt x="30" y="509"/>
                  <a:pt x="34" y="509"/>
                </a:cubicBezTo>
                <a:cubicBezTo>
                  <a:pt x="582" y="509"/>
                  <a:pt x="582" y="509"/>
                  <a:pt x="582" y="509"/>
                </a:cubicBezTo>
                <a:cubicBezTo>
                  <a:pt x="586" y="509"/>
                  <a:pt x="589" y="506"/>
                  <a:pt x="589" y="502"/>
                </a:cubicBezTo>
                <a:cubicBezTo>
                  <a:pt x="589" y="242"/>
                  <a:pt x="589" y="242"/>
                  <a:pt x="589" y="242"/>
                </a:cubicBezTo>
                <a:cubicBezTo>
                  <a:pt x="596" y="239"/>
                  <a:pt x="602" y="235"/>
                  <a:pt x="606" y="229"/>
                </a:cubicBezTo>
                <a:cubicBezTo>
                  <a:pt x="614" y="218"/>
                  <a:pt x="616" y="203"/>
                  <a:pt x="612" y="188"/>
                </a:cubicBezTo>
                <a:close/>
                <a:moveTo>
                  <a:pt x="493" y="220"/>
                </a:moveTo>
                <a:cubicBezTo>
                  <a:pt x="486" y="228"/>
                  <a:pt x="476" y="232"/>
                  <a:pt x="464" y="232"/>
                </a:cubicBezTo>
                <a:cubicBezTo>
                  <a:pt x="439" y="232"/>
                  <a:pt x="417" y="213"/>
                  <a:pt x="414" y="190"/>
                </a:cubicBezTo>
                <a:cubicBezTo>
                  <a:pt x="396" y="14"/>
                  <a:pt x="396" y="14"/>
                  <a:pt x="396" y="14"/>
                </a:cubicBezTo>
                <a:cubicBezTo>
                  <a:pt x="463" y="14"/>
                  <a:pt x="463" y="14"/>
                  <a:pt x="463" y="14"/>
                </a:cubicBezTo>
                <a:cubicBezTo>
                  <a:pt x="499" y="192"/>
                  <a:pt x="499" y="192"/>
                  <a:pt x="499" y="192"/>
                </a:cubicBezTo>
                <a:cubicBezTo>
                  <a:pt x="501" y="202"/>
                  <a:pt x="499" y="212"/>
                  <a:pt x="493" y="220"/>
                </a:cubicBezTo>
                <a:close/>
                <a:moveTo>
                  <a:pt x="391" y="219"/>
                </a:moveTo>
                <a:cubicBezTo>
                  <a:pt x="383" y="228"/>
                  <a:pt x="373" y="232"/>
                  <a:pt x="360" y="232"/>
                </a:cubicBezTo>
                <a:cubicBezTo>
                  <a:pt x="336" y="232"/>
                  <a:pt x="315" y="213"/>
                  <a:pt x="315" y="190"/>
                </a:cubicBezTo>
                <a:cubicBezTo>
                  <a:pt x="315" y="14"/>
                  <a:pt x="315" y="14"/>
                  <a:pt x="315" y="14"/>
                </a:cubicBezTo>
                <a:cubicBezTo>
                  <a:pt x="382" y="14"/>
                  <a:pt x="382" y="14"/>
                  <a:pt x="382" y="14"/>
                </a:cubicBezTo>
                <a:cubicBezTo>
                  <a:pt x="400" y="191"/>
                  <a:pt x="400" y="191"/>
                  <a:pt x="400" y="191"/>
                </a:cubicBezTo>
                <a:cubicBezTo>
                  <a:pt x="401" y="201"/>
                  <a:pt x="398" y="211"/>
                  <a:pt x="391" y="219"/>
                </a:cubicBezTo>
                <a:close/>
                <a:moveTo>
                  <a:pt x="301" y="190"/>
                </a:moveTo>
                <a:cubicBezTo>
                  <a:pt x="301" y="201"/>
                  <a:pt x="297" y="212"/>
                  <a:pt x="288" y="220"/>
                </a:cubicBezTo>
                <a:cubicBezTo>
                  <a:pt x="280" y="228"/>
                  <a:pt x="269" y="232"/>
                  <a:pt x="257" y="232"/>
                </a:cubicBezTo>
                <a:cubicBezTo>
                  <a:pt x="244" y="232"/>
                  <a:pt x="233" y="228"/>
                  <a:pt x="226" y="219"/>
                </a:cubicBezTo>
                <a:cubicBezTo>
                  <a:pt x="219" y="211"/>
                  <a:pt x="216" y="201"/>
                  <a:pt x="217" y="191"/>
                </a:cubicBezTo>
                <a:cubicBezTo>
                  <a:pt x="234" y="14"/>
                  <a:pt x="234" y="14"/>
                  <a:pt x="234" y="14"/>
                </a:cubicBezTo>
                <a:cubicBezTo>
                  <a:pt x="301" y="14"/>
                  <a:pt x="301" y="14"/>
                  <a:pt x="301" y="14"/>
                </a:cubicBezTo>
                <a:lnTo>
                  <a:pt x="301" y="190"/>
                </a:lnTo>
                <a:close/>
                <a:moveTo>
                  <a:pt x="117" y="192"/>
                </a:moveTo>
                <a:cubicBezTo>
                  <a:pt x="153" y="14"/>
                  <a:pt x="153" y="14"/>
                  <a:pt x="153" y="14"/>
                </a:cubicBezTo>
                <a:cubicBezTo>
                  <a:pt x="220" y="14"/>
                  <a:pt x="220" y="14"/>
                  <a:pt x="220" y="14"/>
                </a:cubicBezTo>
                <a:cubicBezTo>
                  <a:pt x="202" y="190"/>
                  <a:pt x="202" y="190"/>
                  <a:pt x="202" y="190"/>
                </a:cubicBezTo>
                <a:cubicBezTo>
                  <a:pt x="200" y="213"/>
                  <a:pt x="177" y="232"/>
                  <a:pt x="152" y="232"/>
                </a:cubicBezTo>
                <a:cubicBezTo>
                  <a:pt x="140" y="232"/>
                  <a:pt x="130" y="228"/>
                  <a:pt x="123" y="220"/>
                </a:cubicBezTo>
                <a:cubicBezTo>
                  <a:pt x="117" y="212"/>
                  <a:pt x="115" y="202"/>
                  <a:pt x="117" y="192"/>
                </a:cubicBezTo>
                <a:close/>
                <a:moveTo>
                  <a:pt x="22" y="220"/>
                </a:moveTo>
                <a:cubicBezTo>
                  <a:pt x="16" y="213"/>
                  <a:pt x="15" y="203"/>
                  <a:pt x="18" y="192"/>
                </a:cubicBezTo>
                <a:cubicBezTo>
                  <a:pt x="72" y="14"/>
                  <a:pt x="72" y="14"/>
                  <a:pt x="72" y="14"/>
                </a:cubicBezTo>
                <a:cubicBezTo>
                  <a:pt x="139" y="14"/>
                  <a:pt x="139" y="14"/>
                  <a:pt x="139" y="14"/>
                </a:cubicBezTo>
                <a:cubicBezTo>
                  <a:pt x="103" y="189"/>
                  <a:pt x="103" y="189"/>
                  <a:pt x="103" y="189"/>
                </a:cubicBezTo>
                <a:cubicBezTo>
                  <a:pt x="99" y="212"/>
                  <a:pt x="73" y="232"/>
                  <a:pt x="48" y="232"/>
                </a:cubicBezTo>
                <a:cubicBezTo>
                  <a:pt x="37" y="232"/>
                  <a:pt x="27" y="228"/>
                  <a:pt x="22" y="220"/>
                </a:cubicBezTo>
                <a:close/>
                <a:moveTo>
                  <a:pt x="503" y="495"/>
                </a:moveTo>
                <a:cubicBezTo>
                  <a:pt x="392" y="495"/>
                  <a:pt x="392" y="495"/>
                  <a:pt x="392" y="495"/>
                </a:cubicBezTo>
                <a:cubicBezTo>
                  <a:pt x="392" y="292"/>
                  <a:pt x="392" y="292"/>
                  <a:pt x="392" y="292"/>
                </a:cubicBezTo>
                <a:cubicBezTo>
                  <a:pt x="503" y="292"/>
                  <a:pt x="503" y="292"/>
                  <a:pt x="503" y="292"/>
                </a:cubicBezTo>
                <a:lnTo>
                  <a:pt x="503" y="495"/>
                </a:lnTo>
                <a:close/>
                <a:moveTo>
                  <a:pt x="575" y="495"/>
                </a:moveTo>
                <a:cubicBezTo>
                  <a:pt x="517" y="495"/>
                  <a:pt x="517" y="495"/>
                  <a:pt x="517" y="495"/>
                </a:cubicBezTo>
                <a:cubicBezTo>
                  <a:pt x="517" y="285"/>
                  <a:pt x="517" y="285"/>
                  <a:pt x="517" y="285"/>
                </a:cubicBezTo>
                <a:cubicBezTo>
                  <a:pt x="517" y="282"/>
                  <a:pt x="514" y="278"/>
                  <a:pt x="510" y="278"/>
                </a:cubicBezTo>
                <a:cubicBezTo>
                  <a:pt x="385" y="278"/>
                  <a:pt x="385" y="278"/>
                  <a:pt x="385" y="278"/>
                </a:cubicBezTo>
                <a:cubicBezTo>
                  <a:pt x="381" y="278"/>
                  <a:pt x="378" y="282"/>
                  <a:pt x="378" y="285"/>
                </a:cubicBezTo>
                <a:cubicBezTo>
                  <a:pt x="378" y="495"/>
                  <a:pt x="378" y="495"/>
                  <a:pt x="378" y="495"/>
                </a:cubicBezTo>
                <a:cubicBezTo>
                  <a:pt x="41" y="495"/>
                  <a:pt x="41" y="495"/>
                  <a:pt x="41" y="495"/>
                </a:cubicBezTo>
                <a:cubicBezTo>
                  <a:pt x="41" y="246"/>
                  <a:pt x="41" y="246"/>
                  <a:pt x="41" y="246"/>
                </a:cubicBezTo>
                <a:cubicBezTo>
                  <a:pt x="43" y="246"/>
                  <a:pt x="46" y="246"/>
                  <a:pt x="48" y="246"/>
                </a:cubicBezTo>
                <a:cubicBezTo>
                  <a:pt x="71" y="246"/>
                  <a:pt x="92" y="234"/>
                  <a:pt x="106" y="217"/>
                </a:cubicBezTo>
                <a:cubicBezTo>
                  <a:pt x="107" y="221"/>
                  <a:pt x="110" y="225"/>
                  <a:pt x="113" y="229"/>
                </a:cubicBezTo>
                <a:cubicBezTo>
                  <a:pt x="122" y="240"/>
                  <a:pt x="136" y="246"/>
                  <a:pt x="152" y="246"/>
                </a:cubicBezTo>
                <a:cubicBezTo>
                  <a:pt x="175" y="246"/>
                  <a:pt x="196" y="234"/>
                  <a:pt x="207" y="216"/>
                </a:cubicBezTo>
                <a:cubicBezTo>
                  <a:pt x="209" y="221"/>
                  <a:pt x="212" y="225"/>
                  <a:pt x="215" y="229"/>
                </a:cubicBezTo>
                <a:cubicBezTo>
                  <a:pt x="226" y="240"/>
                  <a:pt x="241" y="246"/>
                  <a:pt x="257" y="246"/>
                </a:cubicBezTo>
                <a:cubicBezTo>
                  <a:pt x="272" y="246"/>
                  <a:pt x="287" y="240"/>
                  <a:pt x="298" y="230"/>
                </a:cubicBezTo>
                <a:cubicBezTo>
                  <a:pt x="302" y="226"/>
                  <a:pt x="306" y="221"/>
                  <a:pt x="308" y="217"/>
                </a:cubicBezTo>
                <a:cubicBezTo>
                  <a:pt x="318" y="234"/>
                  <a:pt x="338" y="246"/>
                  <a:pt x="360" y="246"/>
                </a:cubicBezTo>
                <a:cubicBezTo>
                  <a:pt x="376" y="246"/>
                  <a:pt x="391" y="240"/>
                  <a:pt x="401" y="229"/>
                </a:cubicBezTo>
                <a:cubicBezTo>
                  <a:pt x="405" y="225"/>
                  <a:pt x="407" y="221"/>
                  <a:pt x="410" y="217"/>
                </a:cubicBezTo>
                <a:cubicBezTo>
                  <a:pt x="421" y="234"/>
                  <a:pt x="442" y="246"/>
                  <a:pt x="464" y="246"/>
                </a:cubicBezTo>
                <a:cubicBezTo>
                  <a:pt x="480" y="246"/>
                  <a:pt x="495" y="240"/>
                  <a:pt x="504" y="229"/>
                </a:cubicBezTo>
                <a:cubicBezTo>
                  <a:pt x="507" y="225"/>
                  <a:pt x="509" y="221"/>
                  <a:pt x="511" y="217"/>
                </a:cubicBezTo>
                <a:cubicBezTo>
                  <a:pt x="524" y="234"/>
                  <a:pt x="546" y="246"/>
                  <a:pt x="568" y="246"/>
                </a:cubicBezTo>
                <a:cubicBezTo>
                  <a:pt x="570" y="246"/>
                  <a:pt x="573" y="246"/>
                  <a:pt x="575" y="246"/>
                </a:cubicBezTo>
                <a:lnTo>
                  <a:pt x="575" y="495"/>
                </a:lnTo>
                <a:close/>
                <a:moveTo>
                  <a:pt x="595" y="220"/>
                </a:moveTo>
                <a:cubicBezTo>
                  <a:pt x="589" y="228"/>
                  <a:pt x="579" y="232"/>
                  <a:pt x="568" y="232"/>
                </a:cubicBezTo>
                <a:cubicBezTo>
                  <a:pt x="543" y="232"/>
                  <a:pt x="518" y="212"/>
                  <a:pt x="513" y="189"/>
                </a:cubicBezTo>
                <a:cubicBezTo>
                  <a:pt x="477" y="14"/>
                  <a:pt x="477" y="14"/>
                  <a:pt x="477" y="14"/>
                </a:cubicBezTo>
                <a:cubicBezTo>
                  <a:pt x="544" y="14"/>
                  <a:pt x="544" y="14"/>
                  <a:pt x="544" y="14"/>
                </a:cubicBezTo>
                <a:cubicBezTo>
                  <a:pt x="598" y="192"/>
                  <a:pt x="598" y="192"/>
                  <a:pt x="598" y="192"/>
                </a:cubicBezTo>
                <a:cubicBezTo>
                  <a:pt x="601" y="203"/>
                  <a:pt x="600" y="213"/>
                  <a:pt x="595" y="22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3" name="Freeform 140"/>
          <p:cNvSpPr>
            <a:spLocks noEditPoints="1"/>
          </p:cNvSpPr>
          <p:nvPr/>
        </p:nvSpPr>
        <p:spPr bwMode="auto">
          <a:xfrm>
            <a:off x="3562114" y="1386888"/>
            <a:ext cx="473382" cy="475283"/>
          </a:xfrm>
          <a:custGeom>
            <a:avLst/>
            <a:gdLst>
              <a:gd name="T0" fmla="*/ 418 w 791"/>
              <a:gd name="T1" fmla="*/ 262 h 792"/>
              <a:gd name="T2" fmla="*/ 402 w 791"/>
              <a:gd name="T3" fmla="*/ 292 h 792"/>
              <a:gd name="T4" fmla="*/ 527 w 791"/>
              <a:gd name="T5" fmla="*/ 280 h 792"/>
              <a:gd name="T6" fmla="*/ 370 w 791"/>
              <a:gd name="T7" fmla="*/ 236 h 792"/>
              <a:gd name="T8" fmla="*/ 453 w 791"/>
              <a:gd name="T9" fmla="*/ 288 h 792"/>
              <a:gd name="T10" fmla="*/ 494 w 791"/>
              <a:gd name="T11" fmla="*/ 281 h 792"/>
              <a:gd name="T12" fmla="*/ 757 w 791"/>
              <a:gd name="T13" fmla="*/ 235 h 792"/>
              <a:gd name="T14" fmla="*/ 467 w 791"/>
              <a:gd name="T15" fmla="*/ 7 h 792"/>
              <a:gd name="T16" fmla="*/ 395 w 791"/>
              <a:gd name="T17" fmla="*/ 0 h 792"/>
              <a:gd name="T18" fmla="*/ 225 w 791"/>
              <a:gd name="T19" fmla="*/ 39 h 792"/>
              <a:gd name="T20" fmla="*/ 15 w 791"/>
              <a:gd name="T21" fmla="*/ 285 h 792"/>
              <a:gd name="T22" fmla="*/ 2 w 791"/>
              <a:gd name="T23" fmla="*/ 350 h 792"/>
              <a:gd name="T24" fmla="*/ 0 w 791"/>
              <a:gd name="T25" fmla="*/ 419 h 792"/>
              <a:gd name="T26" fmla="*/ 167 w 791"/>
              <a:gd name="T27" fmla="*/ 719 h 792"/>
              <a:gd name="T28" fmla="*/ 71 w 791"/>
              <a:gd name="T29" fmla="*/ 597 h 792"/>
              <a:gd name="T30" fmla="*/ 14 w 791"/>
              <a:gd name="T31" fmla="*/ 382 h 792"/>
              <a:gd name="T32" fmla="*/ 18 w 791"/>
              <a:gd name="T33" fmla="*/ 336 h 792"/>
              <a:gd name="T34" fmla="*/ 122 w 791"/>
              <a:gd name="T35" fmla="*/ 524 h 792"/>
              <a:gd name="T36" fmla="*/ 117 w 791"/>
              <a:gd name="T37" fmla="*/ 177 h 792"/>
              <a:gd name="T38" fmla="*/ 101 w 791"/>
              <a:gd name="T39" fmla="*/ 153 h 792"/>
              <a:gd name="T40" fmla="*/ 198 w 791"/>
              <a:gd name="T41" fmla="*/ 69 h 792"/>
              <a:gd name="T42" fmla="*/ 248 w 791"/>
              <a:gd name="T43" fmla="*/ 68 h 792"/>
              <a:gd name="T44" fmla="*/ 221 w 791"/>
              <a:gd name="T45" fmla="*/ 77 h 792"/>
              <a:gd name="T46" fmla="*/ 443 w 791"/>
              <a:gd name="T47" fmla="*/ 17 h 792"/>
              <a:gd name="T48" fmla="*/ 300 w 791"/>
              <a:gd name="T49" fmla="*/ 86 h 792"/>
              <a:gd name="T50" fmla="*/ 263 w 791"/>
              <a:gd name="T51" fmla="*/ 64 h 792"/>
              <a:gd name="T52" fmla="*/ 757 w 791"/>
              <a:gd name="T53" fmla="*/ 519 h 792"/>
              <a:gd name="T54" fmla="*/ 732 w 791"/>
              <a:gd name="T55" fmla="*/ 273 h 792"/>
              <a:gd name="T56" fmla="*/ 725 w 791"/>
              <a:gd name="T57" fmla="*/ 259 h 792"/>
              <a:gd name="T58" fmla="*/ 642 w 791"/>
              <a:gd name="T59" fmla="*/ 315 h 792"/>
              <a:gd name="T60" fmla="*/ 602 w 791"/>
              <a:gd name="T61" fmla="*/ 392 h 792"/>
              <a:gd name="T62" fmla="*/ 591 w 791"/>
              <a:gd name="T63" fmla="*/ 419 h 792"/>
              <a:gd name="T64" fmla="*/ 454 w 791"/>
              <a:gd name="T65" fmla="*/ 677 h 792"/>
              <a:gd name="T66" fmla="*/ 323 w 791"/>
              <a:gd name="T67" fmla="*/ 460 h 792"/>
              <a:gd name="T68" fmla="*/ 310 w 791"/>
              <a:gd name="T69" fmla="*/ 240 h 792"/>
              <a:gd name="T70" fmla="*/ 434 w 791"/>
              <a:gd name="T71" fmla="*/ 180 h 792"/>
              <a:gd name="T72" fmla="*/ 400 w 791"/>
              <a:gd name="T73" fmla="*/ 104 h 792"/>
              <a:gd name="T74" fmla="*/ 79 w 791"/>
              <a:gd name="T75" fmla="*/ 444 h 792"/>
              <a:gd name="T76" fmla="*/ 322 w 791"/>
              <a:gd name="T77" fmla="*/ 97 h 792"/>
              <a:gd name="T78" fmla="*/ 305 w 791"/>
              <a:gd name="T79" fmla="*/ 115 h 792"/>
              <a:gd name="T80" fmla="*/ 479 w 791"/>
              <a:gd name="T81" fmla="*/ 76 h 792"/>
              <a:gd name="T82" fmla="*/ 327 w 791"/>
              <a:gd name="T83" fmla="*/ 122 h 792"/>
              <a:gd name="T84" fmla="*/ 381 w 791"/>
              <a:gd name="T85" fmla="*/ 164 h 792"/>
              <a:gd name="T86" fmla="*/ 337 w 791"/>
              <a:gd name="T87" fmla="*/ 189 h 792"/>
              <a:gd name="T88" fmla="*/ 255 w 791"/>
              <a:gd name="T89" fmla="*/ 144 h 792"/>
              <a:gd name="T90" fmla="*/ 360 w 791"/>
              <a:gd name="T91" fmla="*/ 168 h 792"/>
              <a:gd name="T92" fmla="*/ 330 w 791"/>
              <a:gd name="T93" fmla="*/ 176 h 792"/>
              <a:gd name="T94" fmla="*/ 229 w 791"/>
              <a:gd name="T95" fmla="*/ 389 h 792"/>
              <a:gd name="T96" fmla="*/ 325 w 791"/>
              <a:gd name="T97" fmla="*/ 474 h 792"/>
              <a:gd name="T98" fmla="*/ 402 w 791"/>
              <a:gd name="T99" fmla="*/ 567 h 792"/>
              <a:gd name="T100" fmla="*/ 423 w 791"/>
              <a:gd name="T101" fmla="*/ 165 h 792"/>
              <a:gd name="T102" fmla="*/ 240 w 791"/>
              <a:gd name="T103" fmla="*/ 648 h 792"/>
              <a:gd name="T104" fmla="*/ 220 w 791"/>
              <a:gd name="T105" fmla="*/ 533 h 792"/>
              <a:gd name="T106" fmla="*/ 458 w 791"/>
              <a:gd name="T107" fmla="*/ 691 h 792"/>
              <a:gd name="T108" fmla="*/ 536 w 791"/>
              <a:gd name="T109" fmla="*/ 648 h 792"/>
              <a:gd name="T110" fmla="*/ 570 w 791"/>
              <a:gd name="T111" fmla="*/ 592 h 792"/>
              <a:gd name="T112" fmla="*/ 669 w 791"/>
              <a:gd name="T113" fmla="*/ 662 h 7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91" h="792">
                <a:moveTo>
                  <a:pt x="495" y="267"/>
                </a:moveTo>
                <a:cubicBezTo>
                  <a:pt x="495" y="267"/>
                  <a:pt x="495" y="267"/>
                  <a:pt x="494" y="267"/>
                </a:cubicBezTo>
                <a:cubicBezTo>
                  <a:pt x="489" y="267"/>
                  <a:pt x="472" y="265"/>
                  <a:pt x="463" y="264"/>
                </a:cubicBezTo>
                <a:cubicBezTo>
                  <a:pt x="453" y="252"/>
                  <a:pt x="430" y="223"/>
                  <a:pt x="413" y="223"/>
                </a:cubicBezTo>
                <a:cubicBezTo>
                  <a:pt x="413" y="223"/>
                  <a:pt x="412" y="223"/>
                  <a:pt x="411" y="223"/>
                </a:cubicBezTo>
                <a:cubicBezTo>
                  <a:pt x="404" y="224"/>
                  <a:pt x="402" y="228"/>
                  <a:pt x="402" y="230"/>
                </a:cubicBezTo>
                <a:cubicBezTo>
                  <a:pt x="400" y="238"/>
                  <a:pt x="407" y="244"/>
                  <a:pt x="417" y="252"/>
                </a:cubicBezTo>
                <a:cubicBezTo>
                  <a:pt x="419" y="254"/>
                  <a:pt x="422" y="256"/>
                  <a:pt x="424" y="258"/>
                </a:cubicBezTo>
                <a:cubicBezTo>
                  <a:pt x="423" y="259"/>
                  <a:pt x="420" y="261"/>
                  <a:pt x="418" y="262"/>
                </a:cubicBezTo>
                <a:cubicBezTo>
                  <a:pt x="413" y="249"/>
                  <a:pt x="392" y="233"/>
                  <a:pt x="379" y="224"/>
                </a:cubicBezTo>
                <a:cubicBezTo>
                  <a:pt x="376" y="223"/>
                  <a:pt x="373" y="222"/>
                  <a:pt x="370" y="222"/>
                </a:cubicBezTo>
                <a:cubicBezTo>
                  <a:pt x="351" y="222"/>
                  <a:pt x="330" y="258"/>
                  <a:pt x="324" y="269"/>
                </a:cubicBezTo>
                <a:cubicBezTo>
                  <a:pt x="323" y="270"/>
                  <a:pt x="323" y="272"/>
                  <a:pt x="323" y="273"/>
                </a:cubicBezTo>
                <a:cubicBezTo>
                  <a:pt x="323" y="278"/>
                  <a:pt x="327" y="290"/>
                  <a:pt x="346" y="290"/>
                </a:cubicBezTo>
                <a:cubicBezTo>
                  <a:pt x="361" y="290"/>
                  <a:pt x="381" y="283"/>
                  <a:pt x="391" y="279"/>
                </a:cubicBezTo>
                <a:cubicBezTo>
                  <a:pt x="391" y="279"/>
                  <a:pt x="391" y="279"/>
                  <a:pt x="391" y="279"/>
                </a:cubicBezTo>
                <a:cubicBezTo>
                  <a:pt x="391" y="279"/>
                  <a:pt x="392" y="279"/>
                  <a:pt x="392" y="279"/>
                </a:cubicBezTo>
                <a:cubicBezTo>
                  <a:pt x="394" y="279"/>
                  <a:pt x="399" y="287"/>
                  <a:pt x="402" y="292"/>
                </a:cubicBezTo>
                <a:cubicBezTo>
                  <a:pt x="407" y="301"/>
                  <a:pt x="412" y="310"/>
                  <a:pt x="421" y="315"/>
                </a:cubicBezTo>
                <a:cubicBezTo>
                  <a:pt x="424" y="317"/>
                  <a:pt x="428" y="318"/>
                  <a:pt x="432" y="318"/>
                </a:cubicBezTo>
                <a:cubicBezTo>
                  <a:pt x="432" y="318"/>
                  <a:pt x="432" y="318"/>
                  <a:pt x="432" y="318"/>
                </a:cubicBezTo>
                <a:cubicBezTo>
                  <a:pt x="445" y="318"/>
                  <a:pt x="455" y="308"/>
                  <a:pt x="463" y="299"/>
                </a:cubicBezTo>
                <a:cubicBezTo>
                  <a:pt x="465" y="300"/>
                  <a:pt x="468" y="301"/>
                  <a:pt x="471" y="302"/>
                </a:cubicBezTo>
                <a:cubicBezTo>
                  <a:pt x="480" y="306"/>
                  <a:pt x="492" y="310"/>
                  <a:pt x="503" y="310"/>
                </a:cubicBezTo>
                <a:cubicBezTo>
                  <a:pt x="503" y="310"/>
                  <a:pt x="503" y="310"/>
                  <a:pt x="503" y="310"/>
                </a:cubicBezTo>
                <a:cubicBezTo>
                  <a:pt x="514" y="310"/>
                  <a:pt x="521" y="305"/>
                  <a:pt x="524" y="300"/>
                </a:cubicBezTo>
                <a:cubicBezTo>
                  <a:pt x="531" y="291"/>
                  <a:pt x="529" y="284"/>
                  <a:pt x="527" y="280"/>
                </a:cubicBezTo>
                <a:cubicBezTo>
                  <a:pt x="521" y="267"/>
                  <a:pt x="498" y="266"/>
                  <a:pt x="497" y="266"/>
                </a:cubicBezTo>
                <a:cubicBezTo>
                  <a:pt x="496" y="266"/>
                  <a:pt x="495" y="267"/>
                  <a:pt x="495" y="267"/>
                </a:cubicBezTo>
                <a:close/>
                <a:moveTo>
                  <a:pt x="403" y="269"/>
                </a:moveTo>
                <a:cubicBezTo>
                  <a:pt x="400" y="267"/>
                  <a:pt x="396" y="265"/>
                  <a:pt x="392" y="265"/>
                </a:cubicBezTo>
                <a:cubicBezTo>
                  <a:pt x="390" y="265"/>
                  <a:pt x="388" y="265"/>
                  <a:pt x="387" y="266"/>
                </a:cubicBezTo>
                <a:cubicBezTo>
                  <a:pt x="386" y="266"/>
                  <a:pt x="386" y="266"/>
                  <a:pt x="386" y="266"/>
                </a:cubicBezTo>
                <a:cubicBezTo>
                  <a:pt x="377" y="269"/>
                  <a:pt x="358" y="276"/>
                  <a:pt x="346" y="276"/>
                </a:cubicBezTo>
                <a:cubicBezTo>
                  <a:pt x="340" y="276"/>
                  <a:pt x="338" y="274"/>
                  <a:pt x="337" y="273"/>
                </a:cubicBezTo>
                <a:cubicBezTo>
                  <a:pt x="348" y="255"/>
                  <a:pt x="363" y="236"/>
                  <a:pt x="370" y="236"/>
                </a:cubicBezTo>
                <a:cubicBezTo>
                  <a:pt x="370" y="236"/>
                  <a:pt x="371" y="236"/>
                  <a:pt x="371" y="236"/>
                </a:cubicBezTo>
                <a:cubicBezTo>
                  <a:pt x="391" y="250"/>
                  <a:pt x="403" y="262"/>
                  <a:pt x="405" y="267"/>
                </a:cubicBezTo>
                <a:cubicBezTo>
                  <a:pt x="404" y="268"/>
                  <a:pt x="404" y="268"/>
                  <a:pt x="403" y="269"/>
                </a:cubicBezTo>
                <a:close/>
                <a:moveTo>
                  <a:pt x="515" y="286"/>
                </a:moveTo>
                <a:cubicBezTo>
                  <a:pt x="515" y="287"/>
                  <a:pt x="515" y="289"/>
                  <a:pt x="513" y="292"/>
                </a:cubicBezTo>
                <a:cubicBezTo>
                  <a:pt x="511" y="294"/>
                  <a:pt x="509" y="296"/>
                  <a:pt x="503" y="296"/>
                </a:cubicBezTo>
                <a:cubicBezTo>
                  <a:pt x="494" y="296"/>
                  <a:pt x="484" y="292"/>
                  <a:pt x="476" y="289"/>
                </a:cubicBezTo>
                <a:cubicBezTo>
                  <a:pt x="469" y="286"/>
                  <a:pt x="465" y="285"/>
                  <a:pt x="461" y="285"/>
                </a:cubicBezTo>
                <a:cubicBezTo>
                  <a:pt x="456" y="285"/>
                  <a:pt x="454" y="287"/>
                  <a:pt x="453" y="288"/>
                </a:cubicBezTo>
                <a:cubicBezTo>
                  <a:pt x="446" y="298"/>
                  <a:pt x="438" y="304"/>
                  <a:pt x="432" y="304"/>
                </a:cubicBezTo>
                <a:cubicBezTo>
                  <a:pt x="431" y="304"/>
                  <a:pt x="429" y="304"/>
                  <a:pt x="428" y="303"/>
                </a:cubicBezTo>
                <a:cubicBezTo>
                  <a:pt x="422" y="300"/>
                  <a:pt x="418" y="292"/>
                  <a:pt x="414" y="285"/>
                </a:cubicBezTo>
                <a:cubicBezTo>
                  <a:pt x="413" y="284"/>
                  <a:pt x="412" y="282"/>
                  <a:pt x="411" y="281"/>
                </a:cubicBezTo>
                <a:cubicBezTo>
                  <a:pt x="418" y="279"/>
                  <a:pt x="432" y="271"/>
                  <a:pt x="436" y="266"/>
                </a:cubicBezTo>
                <a:cubicBezTo>
                  <a:pt x="438" y="263"/>
                  <a:pt x="440" y="261"/>
                  <a:pt x="439" y="258"/>
                </a:cubicBezTo>
                <a:cubicBezTo>
                  <a:pt x="444" y="263"/>
                  <a:pt x="449" y="269"/>
                  <a:pt x="453" y="275"/>
                </a:cubicBezTo>
                <a:cubicBezTo>
                  <a:pt x="454" y="276"/>
                  <a:pt x="456" y="277"/>
                  <a:pt x="458" y="278"/>
                </a:cubicBezTo>
                <a:cubicBezTo>
                  <a:pt x="459" y="278"/>
                  <a:pt x="487" y="281"/>
                  <a:pt x="494" y="281"/>
                </a:cubicBezTo>
                <a:cubicBezTo>
                  <a:pt x="496" y="281"/>
                  <a:pt x="496" y="281"/>
                  <a:pt x="497" y="280"/>
                </a:cubicBezTo>
                <a:cubicBezTo>
                  <a:pt x="497" y="280"/>
                  <a:pt x="497" y="280"/>
                  <a:pt x="497" y="280"/>
                </a:cubicBezTo>
                <a:cubicBezTo>
                  <a:pt x="504" y="280"/>
                  <a:pt x="513" y="283"/>
                  <a:pt x="515" y="286"/>
                </a:cubicBezTo>
                <a:close/>
                <a:moveTo>
                  <a:pt x="691" y="658"/>
                </a:moveTo>
                <a:cubicBezTo>
                  <a:pt x="724" y="621"/>
                  <a:pt x="751" y="577"/>
                  <a:pt x="768" y="529"/>
                </a:cubicBezTo>
                <a:cubicBezTo>
                  <a:pt x="768" y="528"/>
                  <a:pt x="769" y="527"/>
                  <a:pt x="769" y="527"/>
                </a:cubicBezTo>
                <a:cubicBezTo>
                  <a:pt x="783" y="486"/>
                  <a:pt x="791" y="442"/>
                  <a:pt x="791" y="396"/>
                </a:cubicBezTo>
                <a:cubicBezTo>
                  <a:pt x="791" y="339"/>
                  <a:pt x="779" y="285"/>
                  <a:pt x="757" y="236"/>
                </a:cubicBezTo>
                <a:cubicBezTo>
                  <a:pt x="757" y="236"/>
                  <a:pt x="757" y="235"/>
                  <a:pt x="757" y="235"/>
                </a:cubicBezTo>
                <a:cubicBezTo>
                  <a:pt x="709" y="128"/>
                  <a:pt x="616" y="48"/>
                  <a:pt x="505" y="16"/>
                </a:cubicBezTo>
                <a:cubicBezTo>
                  <a:pt x="504" y="16"/>
                  <a:pt x="504" y="15"/>
                  <a:pt x="503" y="15"/>
                </a:cubicBezTo>
                <a:cubicBezTo>
                  <a:pt x="501" y="15"/>
                  <a:pt x="498" y="14"/>
                  <a:pt x="496" y="13"/>
                </a:cubicBezTo>
                <a:cubicBezTo>
                  <a:pt x="495" y="13"/>
                  <a:pt x="494" y="13"/>
                  <a:pt x="493" y="12"/>
                </a:cubicBezTo>
                <a:cubicBezTo>
                  <a:pt x="490" y="12"/>
                  <a:pt x="488" y="11"/>
                  <a:pt x="486" y="11"/>
                </a:cubicBezTo>
                <a:cubicBezTo>
                  <a:pt x="484" y="10"/>
                  <a:pt x="483" y="10"/>
                  <a:pt x="482" y="10"/>
                </a:cubicBezTo>
                <a:cubicBezTo>
                  <a:pt x="480" y="10"/>
                  <a:pt x="479" y="9"/>
                  <a:pt x="477" y="9"/>
                </a:cubicBezTo>
                <a:cubicBezTo>
                  <a:pt x="477" y="9"/>
                  <a:pt x="477" y="9"/>
                  <a:pt x="477" y="9"/>
                </a:cubicBezTo>
                <a:cubicBezTo>
                  <a:pt x="474" y="8"/>
                  <a:pt x="471" y="8"/>
                  <a:pt x="467" y="7"/>
                </a:cubicBezTo>
                <a:cubicBezTo>
                  <a:pt x="467" y="7"/>
                  <a:pt x="467" y="7"/>
                  <a:pt x="467" y="7"/>
                </a:cubicBezTo>
                <a:cubicBezTo>
                  <a:pt x="467" y="7"/>
                  <a:pt x="466" y="7"/>
                  <a:pt x="466" y="7"/>
                </a:cubicBezTo>
                <a:cubicBezTo>
                  <a:pt x="461" y="6"/>
                  <a:pt x="456" y="5"/>
                  <a:pt x="451" y="4"/>
                </a:cubicBezTo>
                <a:cubicBezTo>
                  <a:pt x="450" y="4"/>
                  <a:pt x="449" y="4"/>
                  <a:pt x="448" y="4"/>
                </a:cubicBezTo>
                <a:cubicBezTo>
                  <a:pt x="443" y="3"/>
                  <a:pt x="438" y="3"/>
                  <a:pt x="432" y="2"/>
                </a:cubicBezTo>
                <a:cubicBezTo>
                  <a:pt x="432" y="2"/>
                  <a:pt x="431" y="2"/>
                  <a:pt x="430" y="2"/>
                </a:cubicBezTo>
                <a:cubicBezTo>
                  <a:pt x="425" y="1"/>
                  <a:pt x="419" y="1"/>
                  <a:pt x="414" y="1"/>
                </a:cubicBezTo>
                <a:cubicBezTo>
                  <a:pt x="413" y="1"/>
                  <a:pt x="413" y="1"/>
                  <a:pt x="412" y="1"/>
                </a:cubicBezTo>
                <a:cubicBezTo>
                  <a:pt x="407" y="0"/>
                  <a:pt x="401" y="0"/>
                  <a:pt x="395" y="0"/>
                </a:cubicBezTo>
                <a:cubicBezTo>
                  <a:pt x="392" y="0"/>
                  <a:pt x="388" y="0"/>
                  <a:pt x="385" y="0"/>
                </a:cubicBezTo>
                <a:cubicBezTo>
                  <a:pt x="383" y="1"/>
                  <a:pt x="381" y="1"/>
                  <a:pt x="379" y="1"/>
                </a:cubicBezTo>
                <a:cubicBezTo>
                  <a:pt x="378" y="1"/>
                  <a:pt x="376" y="1"/>
                  <a:pt x="374" y="1"/>
                </a:cubicBezTo>
                <a:cubicBezTo>
                  <a:pt x="372" y="1"/>
                  <a:pt x="369" y="1"/>
                  <a:pt x="367" y="1"/>
                </a:cubicBezTo>
                <a:cubicBezTo>
                  <a:pt x="366" y="1"/>
                  <a:pt x="365" y="1"/>
                  <a:pt x="364" y="2"/>
                </a:cubicBezTo>
                <a:cubicBezTo>
                  <a:pt x="361" y="2"/>
                  <a:pt x="358" y="2"/>
                  <a:pt x="355" y="2"/>
                </a:cubicBezTo>
                <a:cubicBezTo>
                  <a:pt x="355" y="2"/>
                  <a:pt x="355" y="2"/>
                  <a:pt x="355" y="2"/>
                </a:cubicBezTo>
                <a:cubicBezTo>
                  <a:pt x="310" y="7"/>
                  <a:pt x="267" y="19"/>
                  <a:pt x="226" y="38"/>
                </a:cubicBezTo>
                <a:cubicBezTo>
                  <a:pt x="226" y="38"/>
                  <a:pt x="226" y="39"/>
                  <a:pt x="225" y="39"/>
                </a:cubicBezTo>
                <a:cubicBezTo>
                  <a:pt x="215" y="44"/>
                  <a:pt x="205" y="49"/>
                  <a:pt x="195" y="55"/>
                </a:cubicBezTo>
                <a:cubicBezTo>
                  <a:pt x="195" y="55"/>
                  <a:pt x="195" y="55"/>
                  <a:pt x="194" y="55"/>
                </a:cubicBezTo>
                <a:cubicBezTo>
                  <a:pt x="140" y="87"/>
                  <a:pt x="93" y="133"/>
                  <a:pt x="59" y="187"/>
                </a:cubicBezTo>
                <a:cubicBezTo>
                  <a:pt x="59" y="187"/>
                  <a:pt x="59" y="187"/>
                  <a:pt x="59" y="188"/>
                </a:cubicBezTo>
                <a:cubicBezTo>
                  <a:pt x="44" y="211"/>
                  <a:pt x="32" y="237"/>
                  <a:pt x="23" y="263"/>
                </a:cubicBezTo>
                <a:cubicBezTo>
                  <a:pt x="22" y="264"/>
                  <a:pt x="22" y="264"/>
                  <a:pt x="22" y="265"/>
                </a:cubicBezTo>
                <a:cubicBezTo>
                  <a:pt x="20" y="270"/>
                  <a:pt x="19" y="275"/>
                  <a:pt x="17" y="280"/>
                </a:cubicBezTo>
                <a:cubicBezTo>
                  <a:pt x="17" y="280"/>
                  <a:pt x="17" y="280"/>
                  <a:pt x="17" y="280"/>
                </a:cubicBezTo>
                <a:cubicBezTo>
                  <a:pt x="16" y="282"/>
                  <a:pt x="16" y="284"/>
                  <a:pt x="15" y="285"/>
                </a:cubicBezTo>
                <a:cubicBezTo>
                  <a:pt x="15" y="287"/>
                  <a:pt x="15" y="288"/>
                  <a:pt x="14" y="290"/>
                </a:cubicBezTo>
                <a:cubicBezTo>
                  <a:pt x="13" y="292"/>
                  <a:pt x="13" y="294"/>
                  <a:pt x="12" y="297"/>
                </a:cubicBezTo>
                <a:cubicBezTo>
                  <a:pt x="11" y="300"/>
                  <a:pt x="11" y="303"/>
                  <a:pt x="10" y="307"/>
                </a:cubicBezTo>
                <a:cubicBezTo>
                  <a:pt x="9" y="309"/>
                  <a:pt x="9" y="310"/>
                  <a:pt x="9" y="312"/>
                </a:cubicBezTo>
                <a:cubicBezTo>
                  <a:pt x="8" y="315"/>
                  <a:pt x="8" y="317"/>
                  <a:pt x="7" y="320"/>
                </a:cubicBezTo>
                <a:cubicBezTo>
                  <a:pt x="7" y="321"/>
                  <a:pt x="6" y="323"/>
                  <a:pt x="6" y="325"/>
                </a:cubicBezTo>
                <a:cubicBezTo>
                  <a:pt x="5" y="328"/>
                  <a:pt x="5" y="332"/>
                  <a:pt x="4" y="336"/>
                </a:cubicBezTo>
                <a:cubicBezTo>
                  <a:pt x="4" y="337"/>
                  <a:pt x="4" y="338"/>
                  <a:pt x="4" y="340"/>
                </a:cubicBezTo>
                <a:cubicBezTo>
                  <a:pt x="3" y="343"/>
                  <a:pt x="3" y="346"/>
                  <a:pt x="2" y="350"/>
                </a:cubicBezTo>
                <a:cubicBezTo>
                  <a:pt x="2" y="351"/>
                  <a:pt x="2" y="352"/>
                  <a:pt x="2" y="353"/>
                </a:cubicBezTo>
                <a:cubicBezTo>
                  <a:pt x="1" y="358"/>
                  <a:pt x="1" y="362"/>
                  <a:pt x="1" y="366"/>
                </a:cubicBezTo>
                <a:cubicBezTo>
                  <a:pt x="1" y="367"/>
                  <a:pt x="1" y="367"/>
                  <a:pt x="1" y="368"/>
                </a:cubicBezTo>
                <a:cubicBezTo>
                  <a:pt x="0" y="372"/>
                  <a:pt x="0" y="375"/>
                  <a:pt x="0" y="379"/>
                </a:cubicBezTo>
                <a:cubicBezTo>
                  <a:pt x="0" y="380"/>
                  <a:pt x="0" y="382"/>
                  <a:pt x="0" y="383"/>
                </a:cubicBezTo>
                <a:cubicBezTo>
                  <a:pt x="0" y="387"/>
                  <a:pt x="0" y="392"/>
                  <a:pt x="0" y="396"/>
                </a:cubicBezTo>
                <a:cubicBezTo>
                  <a:pt x="0" y="400"/>
                  <a:pt x="0" y="404"/>
                  <a:pt x="0" y="407"/>
                </a:cubicBezTo>
                <a:cubicBezTo>
                  <a:pt x="0" y="408"/>
                  <a:pt x="0" y="409"/>
                  <a:pt x="0" y="410"/>
                </a:cubicBezTo>
                <a:cubicBezTo>
                  <a:pt x="0" y="413"/>
                  <a:pt x="0" y="416"/>
                  <a:pt x="0" y="419"/>
                </a:cubicBezTo>
                <a:cubicBezTo>
                  <a:pt x="0" y="420"/>
                  <a:pt x="0" y="420"/>
                  <a:pt x="0" y="421"/>
                </a:cubicBezTo>
                <a:cubicBezTo>
                  <a:pt x="1" y="425"/>
                  <a:pt x="1" y="428"/>
                  <a:pt x="1" y="431"/>
                </a:cubicBezTo>
                <a:cubicBezTo>
                  <a:pt x="1" y="432"/>
                  <a:pt x="1" y="432"/>
                  <a:pt x="1" y="432"/>
                </a:cubicBezTo>
                <a:cubicBezTo>
                  <a:pt x="7" y="492"/>
                  <a:pt x="26" y="548"/>
                  <a:pt x="55" y="598"/>
                </a:cubicBezTo>
                <a:cubicBezTo>
                  <a:pt x="55" y="598"/>
                  <a:pt x="55" y="598"/>
                  <a:pt x="55" y="598"/>
                </a:cubicBezTo>
                <a:cubicBezTo>
                  <a:pt x="57" y="601"/>
                  <a:pt x="59" y="604"/>
                  <a:pt x="60" y="606"/>
                </a:cubicBezTo>
                <a:cubicBezTo>
                  <a:pt x="61" y="607"/>
                  <a:pt x="61" y="608"/>
                  <a:pt x="62" y="609"/>
                </a:cubicBezTo>
                <a:cubicBezTo>
                  <a:pt x="63" y="610"/>
                  <a:pt x="64" y="611"/>
                  <a:pt x="64" y="613"/>
                </a:cubicBezTo>
                <a:cubicBezTo>
                  <a:pt x="91" y="654"/>
                  <a:pt x="126" y="690"/>
                  <a:pt x="167" y="719"/>
                </a:cubicBezTo>
                <a:cubicBezTo>
                  <a:pt x="167" y="719"/>
                  <a:pt x="167" y="719"/>
                  <a:pt x="168" y="719"/>
                </a:cubicBezTo>
                <a:cubicBezTo>
                  <a:pt x="232" y="765"/>
                  <a:pt x="311" y="792"/>
                  <a:pt x="395" y="792"/>
                </a:cubicBezTo>
                <a:cubicBezTo>
                  <a:pt x="512" y="792"/>
                  <a:pt x="616" y="741"/>
                  <a:pt x="689" y="661"/>
                </a:cubicBezTo>
                <a:cubicBezTo>
                  <a:pt x="690" y="660"/>
                  <a:pt x="691" y="659"/>
                  <a:pt x="691" y="658"/>
                </a:cubicBezTo>
                <a:close/>
                <a:moveTo>
                  <a:pt x="79" y="610"/>
                </a:moveTo>
                <a:cubicBezTo>
                  <a:pt x="79" y="610"/>
                  <a:pt x="79" y="609"/>
                  <a:pt x="79" y="609"/>
                </a:cubicBezTo>
                <a:cubicBezTo>
                  <a:pt x="77" y="607"/>
                  <a:pt x="76" y="605"/>
                  <a:pt x="75" y="604"/>
                </a:cubicBezTo>
                <a:cubicBezTo>
                  <a:pt x="74" y="602"/>
                  <a:pt x="73" y="601"/>
                  <a:pt x="73" y="600"/>
                </a:cubicBezTo>
                <a:cubicBezTo>
                  <a:pt x="72" y="599"/>
                  <a:pt x="71" y="598"/>
                  <a:pt x="71" y="597"/>
                </a:cubicBezTo>
                <a:cubicBezTo>
                  <a:pt x="69" y="594"/>
                  <a:pt x="68" y="592"/>
                  <a:pt x="67" y="590"/>
                </a:cubicBezTo>
                <a:cubicBezTo>
                  <a:pt x="67" y="590"/>
                  <a:pt x="66" y="589"/>
                  <a:pt x="66" y="589"/>
                </a:cubicBezTo>
                <a:cubicBezTo>
                  <a:pt x="36" y="537"/>
                  <a:pt x="18" y="478"/>
                  <a:pt x="14" y="417"/>
                </a:cubicBezTo>
                <a:cubicBezTo>
                  <a:pt x="14" y="417"/>
                  <a:pt x="14" y="417"/>
                  <a:pt x="14" y="417"/>
                </a:cubicBezTo>
                <a:cubicBezTo>
                  <a:pt x="14" y="414"/>
                  <a:pt x="14" y="411"/>
                  <a:pt x="14" y="407"/>
                </a:cubicBezTo>
                <a:cubicBezTo>
                  <a:pt x="14" y="407"/>
                  <a:pt x="14" y="407"/>
                  <a:pt x="14" y="406"/>
                </a:cubicBezTo>
                <a:cubicBezTo>
                  <a:pt x="14" y="403"/>
                  <a:pt x="14" y="399"/>
                  <a:pt x="14" y="396"/>
                </a:cubicBezTo>
                <a:cubicBezTo>
                  <a:pt x="14" y="393"/>
                  <a:pt x="14" y="389"/>
                  <a:pt x="14" y="386"/>
                </a:cubicBezTo>
                <a:cubicBezTo>
                  <a:pt x="14" y="385"/>
                  <a:pt x="14" y="384"/>
                  <a:pt x="14" y="382"/>
                </a:cubicBezTo>
                <a:cubicBezTo>
                  <a:pt x="14" y="380"/>
                  <a:pt x="14" y="378"/>
                  <a:pt x="14" y="376"/>
                </a:cubicBezTo>
                <a:cubicBezTo>
                  <a:pt x="14" y="374"/>
                  <a:pt x="14" y="373"/>
                  <a:pt x="14" y="371"/>
                </a:cubicBezTo>
                <a:cubicBezTo>
                  <a:pt x="15" y="370"/>
                  <a:pt x="15" y="368"/>
                  <a:pt x="15" y="366"/>
                </a:cubicBezTo>
                <a:cubicBezTo>
                  <a:pt x="15" y="364"/>
                  <a:pt x="15" y="362"/>
                  <a:pt x="15" y="361"/>
                </a:cubicBezTo>
                <a:cubicBezTo>
                  <a:pt x="15" y="359"/>
                  <a:pt x="16" y="357"/>
                  <a:pt x="16" y="356"/>
                </a:cubicBezTo>
                <a:cubicBezTo>
                  <a:pt x="16" y="354"/>
                  <a:pt x="16" y="352"/>
                  <a:pt x="16" y="351"/>
                </a:cubicBezTo>
                <a:cubicBezTo>
                  <a:pt x="17" y="349"/>
                  <a:pt x="17" y="347"/>
                  <a:pt x="17" y="346"/>
                </a:cubicBezTo>
                <a:cubicBezTo>
                  <a:pt x="17" y="344"/>
                  <a:pt x="17" y="342"/>
                  <a:pt x="18" y="340"/>
                </a:cubicBezTo>
                <a:cubicBezTo>
                  <a:pt x="18" y="339"/>
                  <a:pt x="18" y="338"/>
                  <a:pt x="18" y="336"/>
                </a:cubicBezTo>
                <a:cubicBezTo>
                  <a:pt x="19" y="334"/>
                  <a:pt x="19" y="332"/>
                  <a:pt x="19" y="330"/>
                </a:cubicBezTo>
                <a:cubicBezTo>
                  <a:pt x="19" y="329"/>
                  <a:pt x="20" y="328"/>
                  <a:pt x="20" y="327"/>
                </a:cubicBezTo>
                <a:cubicBezTo>
                  <a:pt x="20" y="325"/>
                  <a:pt x="21" y="322"/>
                  <a:pt x="21" y="320"/>
                </a:cubicBezTo>
                <a:cubicBezTo>
                  <a:pt x="21" y="319"/>
                  <a:pt x="22" y="319"/>
                  <a:pt x="22" y="318"/>
                </a:cubicBezTo>
                <a:cubicBezTo>
                  <a:pt x="22" y="316"/>
                  <a:pt x="22" y="315"/>
                  <a:pt x="23" y="313"/>
                </a:cubicBezTo>
                <a:cubicBezTo>
                  <a:pt x="34" y="366"/>
                  <a:pt x="49" y="425"/>
                  <a:pt x="67" y="452"/>
                </a:cubicBezTo>
                <a:cubicBezTo>
                  <a:pt x="85" y="479"/>
                  <a:pt x="102" y="487"/>
                  <a:pt x="113" y="492"/>
                </a:cubicBezTo>
                <a:cubicBezTo>
                  <a:pt x="123" y="497"/>
                  <a:pt x="125" y="498"/>
                  <a:pt x="124" y="509"/>
                </a:cubicBezTo>
                <a:cubicBezTo>
                  <a:pt x="124" y="513"/>
                  <a:pt x="123" y="518"/>
                  <a:pt x="122" y="524"/>
                </a:cubicBezTo>
                <a:cubicBezTo>
                  <a:pt x="122" y="524"/>
                  <a:pt x="122" y="524"/>
                  <a:pt x="122" y="524"/>
                </a:cubicBezTo>
                <a:cubicBezTo>
                  <a:pt x="121" y="525"/>
                  <a:pt x="121" y="527"/>
                  <a:pt x="121" y="528"/>
                </a:cubicBezTo>
                <a:cubicBezTo>
                  <a:pt x="115" y="555"/>
                  <a:pt x="107" y="595"/>
                  <a:pt x="129" y="652"/>
                </a:cubicBezTo>
                <a:cubicBezTo>
                  <a:pt x="129" y="653"/>
                  <a:pt x="129" y="654"/>
                  <a:pt x="129" y="655"/>
                </a:cubicBezTo>
                <a:cubicBezTo>
                  <a:pt x="129" y="658"/>
                  <a:pt x="131" y="661"/>
                  <a:pt x="133" y="662"/>
                </a:cubicBezTo>
                <a:cubicBezTo>
                  <a:pt x="136" y="668"/>
                  <a:pt x="139" y="675"/>
                  <a:pt x="143" y="682"/>
                </a:cubicBezTo>
                <a:cubicBezTo>
                  <a:pt x="119" y="661"/>
                  <a:pt x="98" y="637"/>
                  <a:pt x="79" y="610"/>
                </a:cubicBezTo>
                <a:close/>
                <a:moveTo>
                  <a:pt x="70" y="196"/>
                </a:moveTo>
                <a:cubicBezTo>
                  <a:pt x="90" y="190"/>
                  <a:pt x="105" y="184"/>
                  <a:pt x="117" y="177"/>
                </a:cubicBezTo>
                <a:cubicBezTo>
                  <a:pt x="124" y="172"/>
                  <a:pt x="133" y="168"/>
                  <a:pt x="142" y="164"/>
                </a:cubicBezTo>
                <a:cubicBezTo>
                  <a:pt x="155" y="158"/>
                  <a:pt x="168" y="152"/>
                  <a:pt x="180" y="144"/>
                </a:cubicBezTo>
                <a:cubicBezTo>
                  <a:pt x="181" y="144"/>
                  <a:pt x="181" y="144"/>
                  <a:pt x="182" y="144"/>
                </a:cubicBezTo>
                <a:cubicBezTo>
                  <a:pt x="240" y="144"/>
                  <a:pt x="240" y="144"/>
                  <a:pt x="240" y="144"/>
                </a:cubicBezTo>
                <a:cubicBezTo>
                  <a:pt x="225" y="178"/>
                  <a:pt x="214" y="218"/>
                  <a:pt x="206" y="259"/>
                </a:cubicBezTo>
                <a:cubicBezTo>
                  <a:pt x="39" y="259"/>
                  <a:pt x="39" y="259"/>
                  <a:pt x="39" y="259"/>
                </a:cubicBezTo>
                <a:cubicBezTo>
                  <a:pt x="47" y="237"/>
                  <a:pt x="58" y="216"/>
                  <a:pt x="70" y="196"/>
                </a:cubicBezTo>
                <a:close/>
                <a:moveTo>
                  <a:pt x="101" y="154"/>
                </a:moveTo>
                <a:cubicBezTo>
                  <a:pt x="101" y="154"/>
                  <a:pt x="101" y="153"/>
                  <a:pt x="101" y="153"/>
                </a:cubicBezTo>
                <a:cubicBezTo>
                  <a:pt x="105" y="149"/>
                  <a:pt x="109" y="144"/>
                  <a:pt x="112" y="140"/>
                </a:cubicBezTo>
                <a:cubicBezTo>
                  <a:pt x="113" y="140"/>
                  <a:pt x="113" y="139"/>
                  <a:pt x="114" y="139"/>
                </a:cubicBezTo>
                <a:cubicBezTo>
                  <a:pt x="117" y="135"/>
                  <a:pt x="121" y="130"/>
                  <a:pt x="125" y="126"/>
                </a:cubicBezTo>
                <a:cubicBezTo>
                  <a:pt x="126" y="126"/>
                  <a:pt x="126" y="126"/>
                  <a:pt x="126" y="126"/>
                </a:cubicBezTo>
                <a:cubicBezTo>
                  <a:pt x="141" y="111"/>
                  <a:pt x="157" y="97"/>
                  <a:pt x="174" y="85"/>
                </a:cubicBezTo>
                <a:cubicBezTo>
                  <a:pt x="174" y="85"/>
                  <a:pt x="174" y="85"/>
                  <a:pt x="175" y="85"/>
                </a:cubicBezTo>
                <a:cubicBezTo>
                  <a:pt x="179" y="81"/>
                  <a:pt x="184" y="78"/>
                  <a:pt x="189" y="75"/>
                </a:cubicBezTo>
                <a:cubicBezTo>
                  <a:pt x="189" y="75"/>
                  <a:pt x="190" y="74"/>
                  <a:pt x="190" y="74"/>
                </a:cubicBezTo>
                <a:cubicBezTo>
                  <a:pt x="193" y="72"/>
                  <a:pt x="196" y="71"/>
                  <a:pt x="198" y="69"/>
                </a:cubicBezTo>
                <a:cubicBezTo>
                  <a:pt x="203" y="73"/>
                  <a:pt x="206" y="77"/>
                  <a:pt x="208" y="81"/>
                </a:cubicBezTo>
                <a:cubicBezTo>
                  <a:pt x="209" y="87"/>
                  <a:pt x="207" y="94"/>
                  <a:pt x="201" y="103"/>
                </a:cubicBezTo>
                <a:cubicBezTo>
                  <a:pt x="183" y="130"/>
                  <a:pt x="159" y="141"/>
                  <a:pt x="137" y="151"/>
                </a:cubicBezTo>
                <a:cubicBezTo>
                  <a:pt x="127" y="155"/>
                  <a:pt x="118" y="160"/>
                  <a:pt x="109" y="165"/>
                </a:cubicBezTo>
                <a:cubicBezTo>
                  <a:pt x="103" y="169"/>
                  <a:pt x="93" y="173"/>
                  <a:pt x="83" y="177"/>
                </a:cubicBezTo>
                <a:cubicBezTo>
                  <a:pt x="88" y="169"/>
                  <a:pt x="94" y="161"/>
                  <a:pt x="101" y="154"/>
                </a:cubicBezTo>
                <a:close/>
                <a:moveTo>
                  <a:pt x="229" y="52"/>
                </a:moveTo>
                <a:cubicBezTo>
                  <a:pt x="244" y="59"/>
                  <a:pt x="249" y="64"/>
                  <a:pt x="249" y="66"/>
                </a:cubicBezTo>
                <a:cubicBezTo>
                  <a:pt x="249" y="66"/>
                  <a:pt x="249" y="67"/>
                  <a:pt x="248" y="68"/>
                </a:cubicBezTo>
                <a:cubicBezTo>
                  <a:pt x="236" y="77"/>
                  <a:pt x="215" y="101"/>
                  <a:pt x="220" y="116"/>
                </a:cubicBezTo>
                <a:cubicBezTo>
                  <a:pt x="221" y="119"/>
                  <a:pt x="224" y="125"/>
                  <a:pt x="234" y="125"/>
                </a:cubicBezTo>
                <a:cubicBezTo>
                  <a:pt x="234" y="125"/>
                  <a:pt x="234" y="125"/>
                  <a:pt x="234" y="125"/>
                </a:cubicBezTo>
                <a:cubicBezTo>
                  <a:pt x="235" y="125"/>
                  <a:pt x="235" y="125"/>
                  <a:pt x="236" y="125"/>
                </a:cubicBezTo>
                <a:cubicBezTo>
                  <a:pt x="241" y="125"/>
                  <a:pt x="245" y="124"/>
                  <a:pt x="250" y="122"/>
                </a:cubicBezTo>
                <a:cubicBezTo>
                  <a:pt x="248" y="125"/>
                  <a:pt x="247" y="127"/>
                  <a:pt x="246" y="130"/>
                </a:cubicBezTo>
                <a:cubicBezTo>
                  <a:pt x="197" y="130"/>
                  <a:pt x="197" y="130"/>
                  <a:pt x="197" y="130"/>
                </a:cubicBezTo>
                <a:cubicBezTo>
                  <a:pt x="202" y="124"/>
                  <a:pt x="208" y="118"/>
                  <a:pt x="213" y="111"/>
                </a:cubicBezTo>
                <a:cubicBezTo>
                  <a:pt x="221" y="99"/>
                  <a:pt x="224" y="87"/>
                  <a:pt x="221" y="77"/>
                </a:cubicBezTo>
                <a:cubicBezTo>
                  <a:pt x="220" y="72"/>
                  <a:pt x="216" y="66"/>
                  <a:pt x="211" y="62"/>
                </a:cubicBezTo>
                <a:cubicBezTo>
                  <a:pt x="217" y="58"/>
                  <a:pt x="223" y="55"/>
                  <a:pt x="229" y="52"/>
                </a:cubicBezTo>
                <a:close/>
                <a:moveTo>
                  <a:pt x="395" y="14"/>
                </a:moveTo>
                <a:cubicBezTo>
                  <a:pt x="400" y="14"/>
                  <a:pt x="405" y="14"/>
                  <a:pt x="410" y="15"/>
                </a:cubicBezTo>
                <a:cubicBezTo>
                  <a:pt x="411" y="15"/>
                  <a:pt x="412" y="15"/>
                  <a:pt x="412" y="15"/>
                </a:cubicBezTo>
                <a:cubicBezTo>
                  <a:pt x="417" y="15"/>
                  <a:pt x="422" y="15"/>
                  <a:pt x="427" y="16"/>
                </a:cubicBezTo>
                <a:cubicBezTo>
                  <a:pt x="427" y="16"/>
                  <a:pt x="428" y="16"/>
                  <a:pt x="429" y="16"/>
                </a:cubicBezTo>
                <a:cubicBezTo>
                  <a:pt x="433" y="16"/>
                  <a:pt x="438" y="17"/>
                  <a:pt x="443" y="17"/>
                </a:cubicBezTo>
                <a:cubicBezTo>
                  <a:pt x="443" y="17"/>
                  <a:pt x="443" y="17"/>
                  <a:pt x="443" y="17"/>
                </a:cubicBezTo>
                <a:cubicBezTo>
                  <a:pt x="448" y="18"/>
                  <a:pt x="453" y="19"/>
                  <a:pt x="457" y="19"/>
                </a:cubicBezTo>
                <a:cubicBezTo>
                  <a:pt x="458" y="19"/>
                  <a:pt x="459" y="20"/>
                  <a:pt x="459" y="20"/>
                </a:cubicBezTo>
                <a:cubicBezTo>
                  <a:pt x="459" y="20"/>
                  <a:pt x="459" y="20"/>
                  <a:pt x="459" y="21"/>
                </a:cubicBezTo>
                <a:cubicBezTo>
                  <a:pt x="455" y="27"/>
                  <a:pt x="445" y="32"/>
                  <a:pt x="436" y="35"/>
                </a:cubicBezTo>
                <a:cubicBezTo>
                  <a:pt x="427" y="37"/>
                  <a:pt x="412" y="41"/>
                  <a:pt x="391" y="54"/>
                </a:cubicBezTo>
                <a:cubicBezTo>
                  <a:pt x="391" y="54"/>
                  <a:pt x="391" y="54"/>
                  <a:pt x="391" y="54"/>
                </a:cubicBezTo>
                <a:cubicBezTo>
                  <a:pt x="386" y="57"/>
                  <a:pt x="381" y="61"/>
                  <a:pt x="376" y="65"/>
                </a:cubicBezTo>
                <a:cubicBezTo>
                  <a:pt x="358" y="78"/>
                  <a:pt x="340" y="81"/>
                  <a:pt x="320" y="83"/>
                </a:cubicBezTo>
                <a:cubicBezTo>
                  <a:pt x="314" y="84"/>
                  <a:pt x="307" y="85"/>
                  <a:pt x="300" y="86"/>
                </a:cubicBezTo>
                <a:cubicBezTo>
                  <a:pt x="288" y="89"/>
                  <a:pt x="277" y="94"/>
                  <a:pt x="266" y="100"/>
                </a:cubicBezTo>
                <a:cubicBezTo>
                  <a:pt x="265" y="100"/>
                  <a:pt x="263" y="101"/>
                  <a:pt x="261" y="102"/>
                </a:cubicBezTo>
                <a:cubicBezTo>
                  <a:pt x="261" y="102"/>
                  <a:pt x="261" y="102"/>
                  <a:pt x="261" y="102"/>
                </a:cubicBezTo>
                <a:cubicBezTo>
                  <a:pt x="252" y="106"/>
                  <a:pt x="244" y="110"/>
                  <a:pt x="235" y="111"/>
                </a:cubicBezTo>
                <a:cubicBezTo>
                  <a:pt x="235" y="111"/>
                  <a:pt x="234" y="111"/>
                  <a:pt x="234" y="111"/>
                </a:cubicBezTo>
                <a:cubicBezTo>
                  <a:pt x="234" y="111"/>
                  <a:pt x="234" y="111"/>
                  <a:pt x="234" y="111"/>
                </a:cubicBezTo>
                <a:cubicBezTo>
                  <a:pt x="234" y="111"/>
                  <a:pt x="233" y="111"/>
                  <a:pt x="233" y="111"/>
                </a:cubicBezTo>
                <a:cubicBezTo>
                  <a:pt x="233" y="106"/>
                  <a:pt x="243" y="89"/>
                  <a:pt x="256" y="79"/>
                </a:cubicBezTo>
                <a:cubicBezTo>
                  <a:pt x="263" y="74"/>
                  <a:pt x="263" y="68"/>
                  <a:pt x="263" y="64"/>
                </a:cubicBezTo>
                <a:cubicBezTo>
                  <a:pt x="263" y="62"/>
                  <a:pt x="262" y="54"/>
                  <a:pt x="246" y="45"/>
                </a:cubicBezTo>
                <a:cubicBezTo>
                  <a:pt x="292" y="25"/>
                  <a:pt x="342" y="14"/>
                  <a:pt x="395" y="14"/>
                </a:cubicBezTo>
                <a:close/>
                <a:moveTo>
                  <a:pt x="757" y="519"/>
                </a:moveTo>
                <a:cubicBezTo>
                  <a:pt x="583" y="519"/>
                  <a:pt x="583" y="519"/>
                  <a:pt x="583" y="519"/>
                </a:cubicBezTo>
                <a:cubicBezTo>
                  <a:pt x="586" y="510"/>
                  <a:pt x="590" y="502"/>
                  <a:pt x="596" y="495"/>
                </a:cubicBezTo>
                <a:cubicBezTo>
                  <a:pt x="611" y="476"/>
                  <a:pt x="637" y="413"/>
                  <a:pt x="632" y="403"/>
                </a:cubicBezTo>
                <a:cubicBezTo>
                  <a:pt x="632" y="403"/>
                  <a:pt x="632" y="403"/>
                  <a:pt x="632" y="403"/>
                </a:cubicBezTo>
                <a:cubicBezTo>
                  <a:pt x="777" y="403"/>
                  <a:pt x="777" y="403"/>
                  <a:pt x="777" y="403"/>
                </a:cubicBezTo>
                <a:cubicBezTo>
                  <a:pt x="776" y="443"/>
                  <a:pt x="769" y="482"/>
                  <a:pt x="757" y="519"/>
                </a:cubicBezTo>
                <a:close/>
                <a:moveTo>
                  <a:pt x="652" y="328"/>
                </a:moveTo>
                <a:cubicBezTo>
                  <a:pt x="652" y="321"/>
                  <a:pt x="660" y="316"/>
                  <a:pt x="665" y="314"/>
                </a:cubicBezTo>
                <a:cubicBezTo>
                  <a:pt x="673" y="332"/>
                  <a:pt x="692" y="376"/>
                  <a:pt x="707" y="389"/>
                </a:cubicBezTo>
                <a:cubicBezTo>
                  <a:pt x="621" y="389"/>
                  <a:pt x="621" y="389"/>
                  <a:pt x="621" y="389"/>
                </a:cubicBezTo>
                <a:cubicBezTo>
                  <a:pt x="636" y="369"/>
                  <a:pt x="654" y="342"/>
                  <a:pt x="652" y="328"/>
                </a:cubicBezTo>
                <a:close/>
                <a:moveTo>
                  <a:pt x="730" y="389"/>
                </a:moveTo>
                <a:cubicBezTo>
                  <a:pt x="735" y="382"/>
                  <a:pt x="734" y="369"/>
                  <a:pt x="733" y="365"/>
                </a:cubicBezTo>
                <a:cubicBezTo>
                  <a:pt x="727" y="329"/>
                  <a:pt x="724" y="286"/>
                  <a:pt x="729" y="278"/>
                </a:cubicBezTo>
                <a:cubicBezTo>
                  <a:pt x="730" y="276"/>
                  <a:pt x="731" y="275"/>
                  <a:pt x="732" y="273"/>
                </a:cubicBezTo>
                <a:cubicBezTo>
                  <a:pt x="757" y="273"/>
                  <a:pt x="757" y="273"/>
                  <a:pt x="757" y="273"/>
                </a:cubicBezTo>
                <a:cubicBezTo>
                  <a:pt x="769" y="310"/>
                  <a:pt x="776" y="349"/>
                  <a:pt x="777" y="389"/>
                </a:cubicBezTo>
                <a:lnTo>
                  <a:pt x="730" y="389"/>
                </a:lnTo>
                <a:close/>
                <a:moveTo>
                  <a:pt x="752" y="259"/>
                </a:moveTo>
                <a:cubicBezTo>
                  <a:pt x="742" y="259"/>
                  <a:pt x="742" y="259"/>
                  <a:pt x="742" y="259"/>
                </a:cubicBezTo>
                <a:cubicBezTo>
                  <a:pt x="744" y="257"/>
                  <a:pt x="746" y="254"/>
                  <a:pt x="749" y="252"/>
                </a:cubicBezTo>
                <a:cubicBezTo>
                  <a:pt x="750" y="254"/>
                  <a:pt x="751" y="257"/>
                  <a:pt x="752" y="259"/>
                </a:cubicBezTo>
                <a:close/>
                <a:moveTo>
                  <a:pt x="742" y="237"/>
                </a:moveTo>
                <a:cubicBezTo>
                  <a:pt x="736" y="244"/>
                  <a:pt x="730" y="252"/>
                  <a:pt x="725" y="259"/>
                </a:cubicBezTo>
                <a:cubicBezTo>
                  <a:pt x="723" y="259"/>
                  <a:pt x="723" y="259"/>
                  <a:pt x="723" y="259"/>
                </a:cubicBezTo>
                <a:cubicBezTo>
                  <a:pt x="719" y="259"/>
                  <a:pt x="716" y="263"/>
                  <a:pt x="716" y="266"/>
                </a:cubicBezTo>
                <a:cubicBezTo>
                  <a:pt x="716" y="268"/>
                  <a:pt x="716" y="269"/>
                  <a:pt x="717" y="270"/>
                </a:cubicBezTo>
                <a:cubicBezTo>
                  <a:pt x="706" y="287"/>
                  <a:pt x="717" y="354"/>
                  <a:pt x="719" y="367"/>
                </a:cubicBezTo>
                <a:cubicBezTo>
                  <a:pt x="720" y="372"/>
                  <a:pt x="720" y="378"/>
                  <a:pt x="719" y="380"/>
                </a:cubicBezTo>
                <a:cubicBezTo>
                  <a:pt x="719" y="380"/>
                  <a:pt x="718" y="380"/>
                  <a:pt x="718" y="379"/>
                </a:cubicBezTo>
                <a:cubicBezTo>
                  <a:pt x="708" y="373"/>
                  <a:pt x="687" y="331"/>
                  <a:pt x="676" y="302"/>
                </a:cubicBezTo>
                <a:cubicBezTo>
                  <a:pt x="674" y="299"/>
                  <a:pt x="671" y="297"/>
                  <a:pt x="667" y="298"/>
                </a:cubicBezTo>
                <a:cubicBezTo>
                  <a:pt x="659" y="300"/>
                  <a:pt x="647" y="306"/>
                  <a:pt x="642" y="315"/>
                </a:cubicBezTo>
                <a:cubicBezTo>
                  <a:pt x="629" y="320"/>
                  <a:pt x="629" y="320"/>
                  <a:pt x="629" y="320"/>
                </a:cubicBezTo>
                <a:cubicBezTo>
                  <a:pt x="584" y="300"/>
                  <a:pt x="584" y="300"/>
                  <a:pt x="584" y="300"/>
                </a:cubicBezTo>
                <a:cubicBezTo>
                  <a:pt x="581" y="299"/>
                  <a:pt x="577" y="300"/>
                  <a:pt x="575" y="304"/>
                </a:cubicBezTo>
                <a:cubicBezTo>
                  <a:pt x="573" y="307"/>
                  <a:pt x="575" y="312"/>
                  <a:pt x="579" y="313"/>
                </a:cubicBezTo>
                <a:cubicBezTo>
                  <a:pt x="626" y="334"/>
                  <a:pt x="626" y="334"/>
                  <a:pt x="626" y="334"/>
                </a:cubicBezTo>
                <a:cubicBezTo>
                  <a:pt x="627" y="334"/>
                  <a:pt x="628" y="334"/>
                  <a:pt x="629" y="334"/>
                </a:cubicBezTo>
                <a:cubicBezTo>
                  <a:pt x="630" y="334"/>
                  <a:pt x="630" y="334"/>
                  <a:pt x="631" y="334"/>
                </a:cubicBezTo>
                <a:cubicBezTo>
                  <a:pt x="638" y="331"/>
                  <a:pt x="638" y="331"/>
                  <a:pt x="638" y="331"/>
                </a:cubicBezTo>
                <a:cubicBezTo>
                  <a:pt x="637" y="342"/>
                  <a:pt x="619" y="368"/>
                  <a:pt x="602" y="392"/>
                </a:cubicBezTo>
                <a:cubicBezTo>
                  <a:pt x="602" y="392"/>
                  <a:pt x="602" y="392"/>
                  <a:pt x="601" y="392"/>
                </a:cubicBezTo>
                <a:cubicBezTo>
                  <a:pt x="600" y="394"/>
                  <a:pt x="598" y="397"/>
                  <a:pt x="596" y="399"/>
                </a:cubicBezTo>
                <a:cubicBezTo>
                  <a:pt x="595" y="400"/>
                  <a:pt x="594" y="402"/>
                  <a:pt x="595" y="404"/>
                </a:cubicBezTo>
                <a:cubicBezTo>
                  <a:pt x="592" y="405"/>
                  <a:pt x="589" y="405"/>
                  <a:pt x="587" y="403"/>
                </a:cubicBezTo>
                <a:cubicBezTo>
                  <a:pt x="579" y="394"/>
                  <a:pt x="528" y="328"/>
                  <a:pt x="528" y="328"/>
                </a:cubicBezTo>
                <a:cubicBezTo>
                  <a:pt x="526" y="325"/>
                  <a:pt x="521" y="324"/>
                  <a:pt x="518" y="327"/>
                </a:cubicBezTo>
                <a:cubicBezTo>
                  <a:pt x="515" y="329"/>
                  <a:pt x="515" y="333"/>
                  <a:pt x="517" y="336"/>
                </a:cubicBezTo>
                <a:cubicBezTo>
                  <a:pt x="519" y="339"/>
                  <a:pt x="568" y="402"/>
                  <a:pt x="577" y="412"/>
                </a:cubicBezTo>
                <a:cubicBezTo>
                  <a:pt x="581" y="417"/>
                  <a:pt x="586" y="419"/>
                  <a:pt x="591" y="419"/>
                </a:cubicBezTo>
                <a:cubicBezTo>
                  <a:pt x="597" y="419"/>
                  <a:pt x="604" y="416"/>
                  <a:pt x="610" y="412"/>
                </a:cubicBezTo>
                <a:cubicBezTo>
                  <a:pt x="612" y="413"/>
                  <a:pt x="615" y="413"/>
                  <a:pt x="618" y="414"/>
                </a:cubicBezTo>
                <a:cubicBezTo>
                  <a:pt x="613" y="430"/>
                  <a:pt x="599" y="468"/>
                  <a:pt x="585" y="486"/>
                </a:cubicBezTo>
                <a:cubicBezTo>
                  <a:pt x="564" y="513"/>
                  <a:pt x="558" y="546"/>
                  <a:pt x="568" y="568"/>
                </a:cubicBezTo>
                <a:cubicBezTo>
                  <a:pt x="569" y="570"/>
                  <a:pt x="569" y="571"/>
                  <a:pt x="569" y="573"/>
                </a:cubicBezTo>
                <a:cubicBezTo>
                  <a:pt x="566" y="580"/>
                  <a:pt x="554" y="586"/>
                  <a:pt x="548" y="588"/>
                </a:cubicBezTo>
                <a:cubicBezTo>
                  <a:pt x="546" y="589"/>
                  <a:pt x="545" y="590"/>
                  <a:pt x="544" y="591"/>
                </a:cubicBezTo>
                <a:cubicBezTo>
                  <a:pt x="540" y="598"/>
                  <a:pt x="526" y="620"/>
                  <a:pt x="525" y="631"/>
                </a:cubicBezTo>
                <a:cubicBezTo>
                  <a:pt x="520" y="639"/>
                  <a:pt x="472" y="672"/>
                  <a:pt x="454" y="677"/>
                </a:cubicBezTo>
                <a:cubicBezTo>
                  <a:pt x="444" y="680"/>
                  <a:pt x="441" y="675"/>
                  <a:pt x="432" y="657"/>
                </a:cubicBezTo>
                <a:cubicBezTo>
                  <a:pt x="430" y="654"/>
                  <a:pt x="429" y="650"/>
                  <a:pt x="427" y="647"/>
                </a:cubicBezTo>
                <a:cubicBezTo>
                  <a:pt x="413" y="621"/>
                  <a:pt x="409" y="599"/>
                  <a:pt x="416" y="589"/>
                </a:cubicBezTo>
                <a:cubicBezTo>
                  <a:pt x="428" y="574"/>
                  <a:pt x="414" y="558"/>
                  <a:pt x="403" y="546"/>
                </a:cubicBezTo>
                <a:cubicBezTo>
                  <a:pt x="400" y="542"/>
                  <a:pt x="397" y="539"/>
                  <a:pt x="395" y="536"/>
                </a:cubicBezTo>
                <a:cubicBezTo>
                  <a:pt x="392" y="532"/>
                  <a:pt x="392" y="529"/>
                  <a:pt x="394" y="522"/>
                </a:cubicBezTo>
                <a:cubicBezTo>
                  <a:pt x="395" y="513"/>
                  <a:pt x="397" y="501"/>
                  <a:pt x="391" y="481"/>
                </a:cubicBezTo>
                <a:cubicBezTo>
                  <a:pt x="384" y="461"/>
                  <a:pt x="366" y="459"/>
                  <a:pt x="351" y="459"/>
                </a:cubicBezTo>
                <a:cubicBezTo>
                  <a:pt x="342" y="459"/>
                  <a:pt x="333" y="459"/>
                  <a:pt x="323" y="460"/>
                </a:cubicBezTo>
                <a:cubicBezTo>
                  <a:pt x="312" y="461"/>
                  <a:pt x="299" y="463"/>
                  <a:pt x="285" y="463"/>
                </a:cubicBezTo>
                <a:cubicBezTo>
                  <a:pt x="280" y="463"/>
                  <a:pt x="276" y="463"/>
                  <a:pt x="271" y="462"/>
                </a:cubicBezTo>
                <a:cubicBezTo>
                  <a:pt x="262" y="462"/>
                  <a:pt x="255" y="458"/>
                  <a:pt x="250" y="451"/>
                </a:cubicBezTo>
                <a:cubicBezTo>
                  <a:pt x="237" y="433"/>
                  <a:pt x="238" y="393"/>
                  <a:pt x="252" y="342"/>
                </a:cubicBezTo>
                <a:cubicBezTo>
                  <a:pt x="259" y="318"/>
                  <a:pt x="297" y="295"/>
                  <a:pt x="312" y="288"/>
                </a:cubicBezTo>
                <a:cubicBezTo>
                  <a:pt x="313" y="288"/>
                  <a:pt x="314" y="287"/>
                  <a:pt x="315" y="285"/>
                </a:cubicBezTo>
                <a:cubicBezTo>
                  <a:pt x="319" y="278"/>
                  <a:pt x="318" y="272"/>
                  <a:pt x="316" y="269"/>
                </a:cubicBezTo>
                <a:cubicBezTo>
                  <a:pt x="313" y="262"/>
                  <a:pt x="308" y="259"/>
                  <a:pt x="303" y="257"/>
                </a:cubicBezTo>
                <a:cubicBezTo>
                  <a:pt x="303" y="251"/>
                  <a:pt x="305" y="242"/>
                  <a:pt x="310" y="240"/>
                </a:cubicBezTo>
                <a:cubicBezTo>
                  <a:pt x="315" y="238"/>
                  <a:pt x="322" y="237"/>
                  <a:pt x="327" y="237"/>
                </a:cubicBezTo>
                <a:cubicBezTo>
                  <a:pt x="336" y="236"/>
                  <a:pt x="342" y="236"/>
                  <a:pt x="345" y="231"/>
                </a:cubicBezTo>
                <a:cubicBezTo>
                  <a:pt x="346" y="229"/>
                  <a:pt x="347" y="225"/>
                  <a:pt x="344" y="221"/>
                </a:cubicBezTo>
                <a:cubicBezTo>
                  <a:pt x="344" y="220"/>
                  <a:pt x="343" y="216"/>
                  <a:pt x="346" y="212"/>
                </a:cubicBezTo>
                <a:cubicBezTo>
                  <a:pt x="348" y="208"/>
                  <a:pt x="352" y="206"/>
                  <a:pt x="356" y="207"/>
                </a:cubicBezTo>
                <a:cubicBezTo>
                  <a:pt x="358" y="207"/>
                  <a:pt x="359" y="207"/>
                  <a:pt x="361" y="207"/>
                </a:cubicBezTo>
                <a:cubicBezTo>
                  <a:pt x="376" y="207"/>
                  <a:pt x="385" y="194"/>
                  <a:pt x="388" y="188"/>
                </a:cubicBezTo>
                <a:cubicBezTo>
                  <a:pt x="395" y="186"/>
                  <a:pt x="412" y="179"/>
                  <a:pt x="426" y="179"/>
                </a:cubicBezTo>
                <a:cubicBezTo>
                  <a:pt x="429" y="179"/>
                  <a:pt x="432" y="179"/>
                  <a:pt x="434" y="180"/>
                </a:cubicBezTo>
                <a:cubicBezTo>
                  <a:pt x="441" y="181"/>
                  <a:pt x="446" y="180"/>
                  <a:pt x="448" y="175"/>
                </a:cubicBezTo>
                <a:cubicBezTo>
                  <a:pt x="452" y="167"/>
                  <a:pt x="445" y="150"/>
                  <a:pt x="426" y="125"/>
                </a:cubicBezTo>
                <a:cubicBezTo>
                  <a:pt x="425" y="123"/>
                  <a:pt x="422" y="122"/>
                  <a:pt x="419" y="122"/>
                </a:cubicBezTo>
                <a:cubicBezTo>
                  <a:pt x="416" y="123"/>
                  <a:pt x="414" y="125"/>
                  <a:pt x="414" y="128"/>
                </a:cubicBezTo>
                <a:cubicBezTo>
                  <a:pt x="410" y="159"/>
                  <a:pt x="410" y="159"/>
                  <a:pt x="410" y="159"/>
                </a:cubicBezTo>
                <a:cubicBezTo>
                  <a:pt x="400" y="155"/>
                  <a:pt x="385" y="149"/>
                  <a:pt x="381" y="139"/>
                </a:cubicBezTo>
                <a:cubicBezTo>
                  <a:pt x="379" y="135"/>
                  <a:pt x="381" y="129"/>
                  <a:pt x="386" y="121"/>
                </a:cubicBezTo>
                <a:cubicBezTo>
                  <a:pt x="390" y="115"/>
                  <a:pt x="394" y="110"/>
                  <a:pt x="399" y="105"/>
                </a:cubicBezTo>
                <a:cubicBezTo>
                  <a:pt x="400" y="105"/>
                  <a:pt x="400" y="105"/>
                  <a:pt x="400" y="104"/>
                </a:cubicBezTo>
                <a:cubicBezTo>
                  <a:pt x="412" y="94"/>
                  <a:pt x="425" y="87"/>
                  <a:pt x="431" y="87"/>
                </a:cubicBezTo>
                <a:cubicBezTo>
                  <a:pt x="431" y="87"/>
                  <a:pt x="431" y="87"/>
                  <a:pt x="431" y="87"/>
                </a:cubicBezTo>
                <a:cubicBezTo>
                  <a:pt x="435" y="87"/>
                  <a:pt x="440" y="90"/>
                  <a:pt x="445" y="92"/>
                </a:cubicBezTo>
                <a:cubicBezTo>
                  <a:pt x="451" y="95"/>
                  <a:pt x="458" y="99"/>
                  <a:pt x="466" y="99"/>
                </a:cubicBezTo>
                <a:cubicBezTo>
                  <a:pt x="475" y="99"/>
                  <a:pt x="483" y="94"/>
                  <a:pt x="490" y="85"/>
                </a:cubicBezTo>
                <a:cubicBezTo>
                  <a:pt x="505" y="66"/>
                  <a:pt x="497" y="42"/>
                  <a:pt x="490" y="26"/>
                </a:cubicBezTo>
                <a:cubicBezTo>
                  <a:pt x="602" y="55"/>
                  <a:pt x="695" y="134"/>
                  <a:pt x="742" y="237"/>
                </a:cubicBezTo>
                <a:close/>
                <a:moveTo>
                  <a:pt x="119" y="480"/>
                </a:moveTo>
                <a:cubicBezTo>
                  <a:pt x="109" y="475"/>
                  <a:pt x="95" y="468"/>
                  <a:pt x="79" y="444"/>
                </a:cubicBezTo>
                <a:cubicBezTo>
                  <a:pt x="73" y="435"/>
                  <a:pt x="67" y="421"/>
                  <a:pt x="61" y="403"/>
                </a:cubicBezTo>
                <a:cubicBezTo>
                  <a:pt x="194" y="403"/>
                  <a:pt x="194" y="403"/>
                  <a:pt x="194" y="403"/>
                </a:cubicBezTo>
                <a:cubicBezTo>
                  <a:pt x="194" y="443"/>
                  <a:pt x="198" y="482"/>
                  <a:pt x="204" y="519"/>
                </a:cubicBezTo>
                <a:cubicBezTo>
                  <a:pt x="137" y="519"/>
                  <a:pt x="137" y="519"/>
                  <a:pt x="137" y="519"/>
                </a:cubicBezTo>
                <a:cubicBezTo>
                  <a:pt x="138" y="516"/>
                  <a:pt x="138" y="513"/>
                  <a:pt x="138" y="510"/>
                </a:cubicBezTo>
                <a:cubicBezTo>
                  <a:pt x="139" y="490"/>
                  <a:pt x="129" y="485"/>
                  <a:pt x="119" y="480"/>
                </a:cubicBezTo>
                <a:close/>
                <a:moveTo>
                  <a:pt x="273" y="112"/>
                </a:moveTo>
                <a:cubicBezTo>
                  <a:pt x="282" y="107"/>
                  <a:pt x="292" y="102"/>
                  <a:pt x="303" y="100"/>
                </a:cubicBezTo>
                <a:cubicBezTo>
                  <a:pt x="309" y="99"/>
                  <a:pt x="316" y="98"/>
                  <a:pt x="322" y="97"/>
                </a:cubicBezTo>
                <a:cubicBezTo>
                  <a:pt x="341" y="94"/>
                  <a:pt x="363" y="92"/>
                  <a:pt x="384" y="76"/>
                </a:cubicBezTo>
                <a:cubicBezTo>
                  <a:pt x="386" y="75"/>
                  <a:pt x="387" y="74"/>
                  <a:pt x="388" y="73"/>
                </a:cubicBezTo>
                <a:cubicBezTo>
                  <a:pt x="388" y="97"/>
                  <a:pt x="388" y="97"/>
                  <a:pt x="388" y="97"/>
                </a:cubicBezTo>
                <a:cubicBezTo>
                  <a:pt x="383" y="102"/>
                  <a:pt x="378" y="108"/>
                  <a:pt x="374" y="113"/>
                </a:cubicBezTo>
                <a:cubicBezTo>
                  <a:pt x="370" y="120"/>
                  <a:pt x="368" y="125"/>
                  <a:pt x="367" y="130"/>
                </a:cubicBezTo>
                <a:cubicBezTo>
                  <a:pt x="342" y="130"/>
                  <a:pt x="342" y="130"/>
                  <a:pt x="342" y="130"/>
                </a:cubicBezTo>
                <a:cubicBezTo>
                  <a:pt x="343" y="127"/>
                  <a:pt x="344" y="124"/>
                  <a:pt x="343" y="120"/>
                </a:cubicBezTo>
                <a:cubicBezTo>
                  <a:pt x="341" y="112"/>
                  <a:pt x="334" y="107"/>
                  <a:pt x="325" y="107"/>
                </a:cubicBezTo>
                <a:cubicBezTo>
                  <a:pt x="318" y="107"/>
                  <a:pt x="310" y="110"/>
                  <a:pt x="305" y="115"/>
                </a:cubicBezTo>
                <a:cubicBezTo>
                  <a:pt x="302" y="118"/>
                  <a:pt x="301" y="122"/>
                  <a:pt x="302" y="125"/>
                </a:cubicBezTo>
                <a:cubicBezTo>
                  <a:pt x="303" y="127"/>
                  <a:pt x="304" y="129"/>
                  <a:pt x="306" y="130"/>
                </a:cubicBezTo>
                <a:cubicBezTo>
                  <a:pt x="261" y="130"/>
                  <a:pt x="261" y="130"/>
                  <a:pt x="261" y="130"/>
                </a:cubicBezTo>
                <a:cubicBezTo>
                  <a:pt x="264" y="124"/>
                  <a:pt x="267" y="119"/>
                  <a:pt x="270" y="113"/>
                </a:cubicBezTo>
                <a:cubicBezTo>
                  <a:pt x="271" y="113"/>
                  <a:pt x="272" y="112"/>
                  <a:pt x="273" y="112"/>
                </a:cubicBezTo>
                <a:close/>
                <a:moveTo>
                  <a:pt x="440" y="48"/>
                </a:moveTo>
                <a:cubicBezTo>
                  <a:pt x="451" y="45"/>
                  <a:pt x="465" y="38"/>
                  <a:pt x="471" y="27"/>
                </a:cubicBezTo>
                <a:cubicBezTo>
                  <a:pt x="472" y="26"/>
                  <a:pt x="472" y="25"/>
                  <a:pt x="473" y="24"/>
                </a:cubicBezTo>
                <a:cubicBezTo>
                  <a:pt x="479" y="34"/>
                  <a:pt x="492" y="60"/>
                  <a:pt x="479" y="76"/>
                </a:cubicBezTo>
                <a:cubicBezTo>
                  <a:pt x="473" y="84"/>
                  <a:pt x="469" y="85"/>
                  <a:pt x="466" y="85"/>
                </a:cubicBezTo>
                <a:cubicBezTo>
                  <a:pt x="461" y="85"/>
                  <a:pt x="456" y="82"/>
                  <a:pt x="451" y="80"/>
                </a:cubicBezTo>
                <a:cubicBezTo>
                  <a:pt x="445" y="76"/>
                  <a:pt x="439" y="73"/>
                  <a:pt x="432" y="73"/>
                </a:cubicBezTo>
                <a:cubicBezTo>
                  <a:pt x="424" y="72"/>
                  <a:pt x="413" y="77"/>
                  <a:pt x="402" y="85"/>
                </a:cubicBezTo>
                <a:cubicBezTo>
                  <a:pt x="402" y="64"/>
                  <a:pt x="402" y="64"/>
                  <a:pt x="402" y="64"/>
                </a:cubicBezTo>
                <a:cubicBezTo>
                  <a:pt x="419" y="54"/>
                  <a:pt x="432" y="50"/>
                  <a:pt x="440" y="48"/>
                </a:cubicBezTo>
                <a:close/>
                <a:moveTo>
                  <a:pt x="322" y="122"/>
                </a:moveTo>
                <a:cubicBezTo>
                  <a:pt x="325" y="121"/>
                  <a:pt x="327" y="121"/>
                  <a:pt x="328" y="122"/>
                </a:cubicBezTo>
                <a:cubicBezTo>
                  <a:pt x="328" y="122"/>
                  <a:pt x="327" y="122"/>
                  <a:pt x="327" y="122"/>
                </a:cubicBezTo>
                <a:cubicBezTo>
                  <a:pt x="325" y="122"/>
                  <a:pt x="324" y="122"/>
                  <a:pt x="322" y="122"/>
                </a:cubicBezTo>
                <a:close/>
                <a:moveTo>
                  <a:pt x="368" y="144"/>
                </a:moveTo>
                <a:cubicBezTo>
                  <a:pt x="368" y="144"/>
                  <a:pt x="368" y="145"/>
                  <a:pt x="368" y="145"/>
                </a:cubicBezTo>
                <a:cubicBezTo>
                  <a:pt x="374" y="157"/>
                  <a:pt x="387" y="165"/>
                  <a:pt x="398" y="170"/>
                </a:cubicBezTo>
                <a:cubicBezTo>
                  <a:pt x="388" y="173"/>
                  <a:pt x="381" y="176"/>
                  <a:pt x="380" y="176"/>
                </a:cubicBezTo>
                <a:cubicBezTo>
                  <a:pt x="379" y="177"/>
                  <a:pt x="378" y="178"/>
                  <a:pt x="377" y="180"/>
                </a:cubicBezTo>
                <a:cubicBezTo>
                  <a:pt x="376" y="179"/>
                  <a:pt x="375" y="178"/>
                  <a:pt x="374" y="178"/>
                </a:cubicBezTo>
                <a:cubicBezTo>
                  <a:pt x="375" y="177"/>
                  <a:pt x="375" y="175"/>
                  <a:pt x="376" y="174"/>
                </a:cubicBezTo>
                <a:cubicBezTo>
                  <a:pt x="382" y="171"/>
                  <a:pt x="381" y="166"/>
                  <a:pt x="381" y="164"/>
                </a:cubicBezTo>
                <a:cubicBezTo>
                  <a:pt x="379" y="157"/>
                  <a:pt x="370" y="155"/>
                  <a:pt x="356" y="153"/>
                </a:cubicBezTo>
                <a:cubicBezTo>
                  <a:pt x="356" y="153"/>
                  <a:pt x="355" y="153"/>
                  <a:pt x="354" y="153"/>
                </a:cubicBezTo>
                <a:cubicBezTo>
                  <a:pt x="346" y="153"/>
                  <a:pt x="342" y="158"/>
                  <a:pt x="342" y="163"/>
                </a:cubicBezTo>
                <a:cubicBezTo>
                  <a:pt x="340" y="161"/>
                  <a:pt x="338" y="160"/>
                  <a:pt x="336" y="159"/>
                </a:cubicBezTo>
                <a:cubicBezTo>
                  <a:pt x="335" y="159"/>
                  <a:pt x="333" y="159"/>
                  <a:pt x="332" y="159"/>
                </a:cubicBezTo>
                <a:cubicBezTo>
                  <a:pt x="321" y="159"/>
                  <a:pt x="312" y="170"/>
                  <a:pt x="311" y="179"/>
                </a:cubicBezTo>
                <a:cubicBezTo>
                  <a:pt x="311" y="186"/>
                  <a:pt x="315" y="192"/>
                  <a:pt x="323" y="193"/>
                </a:cubicBezTo>
                <a:cubicBezTo>
                  <a:pt x="323" y="193"/>
                  <a:pt x="324" y="193"/>
                  <a:pt x="325" y="193"/>
                </a:cubicBezTo>
                <a:cubicBezTo>
                  <a:pt x="330" y="193"/>
                  <a:pt x="334" y="192"/>
                  <a:pt x="337" y="189"/>
                </a:cubicBezTo>
                <a:cubicBezTo>
                  <a:pt x="336" y="191"/>
                  <a:pt x="335" y="194"/>
                  <a:pt x="336" y="196"/>
                </a:cubicBezTo>
                <a:cubicBezTo>
                  <a:pt x="337" y="197"/>
                  <a:pt x="337" y="198"/>
                  <a:pt x="338" y="199"/>
                </a:cubicBezTo>
                <a:cubicBezTo>
                  <a:pt x="336" y="201"/>
                  <a:pt x="335" y="203"/>
                  <a:pt x="333" y="205"/>
                </a:cubicBezTo>
                <a:cubicBezTo>
                  <a:pt x="330" y="210"/>
                  <a:pt x="329" y="217"/>
                  <a:pt x="330" y="223"/>
                </a:cubicBezTo>
                <a:cubicBezTo>
                  <a:pt x="329" y="223"/>
                  <a:pt x="327" y="223"/>
                  <a:pt x="326" y="223"/>
                </a:cubicBezTo>
                <a:cubicBezTo>
                  <a:pt x="320" y="224"/>
                  <a:pt x="311" y="224"/>
                  <a:pt x="305" y="227"/>
                </a:cubicBezTo>
                <a:cubicBezTo>
                  <a:pt x="291" y="232"/>
                  <a:pt x="289" y="249"/>
                  <a:pt x="289" y="259"/>
                </a:cubicBezTo>
                <a:cubicBezTo>
                  <a:pt x="220" y="259"/>
                  <a:pt x="220" y="259"/>
                  <a:pt x="220" y="259"/>
                </a:cubicBezTo>
                <a:cubicBezTo>
                  <a:pt x="228" y="217"/>
                  <a:pt x="240" y="178"/>
                  <a:pt x="255" y="144"/>
                </a:cubicBezTo>
                <a:lnTo>
                  <a:pt x="368" y="144"/>
                </a:lnTo>
                <a:close/>
                <a:moveTo>
                  <a:pt x="346" y="175"/>
                </a:moveTo>
                <a:cubicBezTo>
                  <a:pt x="346" y="175"/>
                  <a:pt x="346" y="174"/>
                  <a:pt x="346" y="174"/>
                </a:cubicBezTo>
                <a:cubicBezTo>
                  <a:pt x="346" y="175"/>
                  <a:pt x="347" y="176"/>
                  <a:pt x="348" y="177"/>
                </a:cubicBezTo>
                <a:cubicBezTo>
                  <a:pt x="348" y="177"/>
                  <a:pt x="348" y="177"/>
                  <a:pt x="348" y="177"/>
                </a:cubicBezTo>
                <a:cubicBezTo>
                  <a:pt x="347" y="178"/>
                  <a:pt x="345" y="180"/>
                  <a:pt x="344" y="181"/>
                </a:cubicBezTo>
                <a:cubicBezTo>
                  <a:pt x="345" y="179"/>
                  <a:pt x="345" y="177"/>
                  <a:pt x="346" y="175"/>
                </a:cubicBezTo>
                <a:close/>
                <a:moveTo>
                  <a:pt x="363" y="169"/>
                </a:moveTo>
                <a:cubicBezTo>
                  <a:pt x="362" y="168"/>
                  <a:pt x="361" y="168"/>
                  <a:pt x="360" y="168"/>
                </a:cubicBezTo>
                <a:cubicBezTo>
                  <a:pt x="360" y="168"/>
                  <a:pt x="360" y="168"/>
                  <a:pt x="359" y="168"/>
                </a:cubicBezTo>
                <a:cubicBezTo>
                  <a:pt x="361" y="168"/>
                  <a:pt x="362" y="168"/>
                  <a:pt x="363" y="168"/>
                </a:cubicBezTo>
                <a:cubicBezTo>
                  <a:pt x="363" y="169"/>
                  <a:pt x="363" y="169"/>
                  <a:pt x="363" y="169"/>
                </a:cubicBezTo>
                <a:close/>
                <a:moveTo>
                  <a:pt x="361" y="184"/>
                </a:moveTo>
                <a:cubicBezTo>
                  <a:pt x="362" y="185"/>
                  <a:pt x="362" y="186"/>
                  <a:pt x="363" y="187"/>
                </a:cubicBezTo>
                <a:cubicBezTo>
                  <a:pt x="361" y="187"/>
                  <a:pt x="360" y="187"/>
                  <a:pt x="357" y="188"/>
                </a:cubicBezTo>
                <a:cubicBezTo>
                  <a:pt x="359" y="187"/>
                  <a:pt x="360" y="185"/>
                  <a:pt x="361" y="184"/>
                </a:cubicBezTo>
                <a:close/>
                <a:moveTo>
                  <a:pt x="332" y="173"/>
                </a:moveTo>
                <a:cubicBezTo>
                  <a:pt x="332" y="174"/>
                  <a:pt x="331" y="175"/>
                  <a:pt x="330" y="176"/>
                </a:cubicBezTo>
                <a:cubicBezTo>
                  <a:pt x="329" y="177"/>
                  <a:pt x="328" y="179"/>
                  <a:pt x="326" y="179"/>
                </a:cubicBezTo>
                <a:cubicBezTo>
                  <a:pt x="326" y="178"/>
                  <a:pt x="327" y="177"/>
                  <a:pt x="328" y="175"/>
                </a:cubicBezTo>
                <a:cubicBezTo>
                  <a:pt x="329" y="174"/>
                  <a:pt x="331" y="173"/>
                  <a:pt x="332" y="173"/>
                </a:cubicBezTo>
                <a:close/>
                <a:moveTo>
                  <a:pt x="297" y="273"/>
                </a:moveTo>
                <a:cubicBezTo>
                  <a:pt x="298" y="273"/>
                  <a:pt x="300" y="273"/>
                  <a:pt x="301" y="272"/>
                </a:cubicBezTo>
                <a:cubicBezTo>
                  <a:pt x="302" y="272"/>
                  <a:pt x="303" y="273"/>
                  <a:pt x="303" y="274"/>
                </a:cubicBezTo>
                <a:cubicBezTo>
                  <a:pt x="303" y="275"/>
                  <a:pt x="304" y="275"/>
                  <a:pt x="303" y="277"/>
                </a:cubicBezTo>
                <a:cubicBezTo>
                  <a:pt x="292" y="283"/>
                  <a:pt x="247" y="307"/>
                  <a:pt x="239" y="338"/>
                </a:cubicBezTo>
                <a:cubicBezTo>
                  <a:pt x="234" y="354"/>
                  <a:pt x="231" y="372"/>
                  <a:pt x="229" y="389"/>
                </a:cubicBezTo>
                <a:cubicBezTo>
                  <a:pt x="208" y="389"/>
                  <a:pt x="208" y="389"/>
                  <a:pt x="208" y="389"/>
                </a:cubicBezTo>
                <a:cubicBezTo>
                  <a:pt x="208" y="349"/>
                  <a:pt x="212" y="310"/>
                  <a:pt x="218" y="273"/>
                </a:cubicBezTo>
                <a:lnTo>
                  <a:pt x="297" y="273"/>
                </a:lnTo>
                <a:close/>
                <a:moveTo>
                  <a:pt x="208" y="403"/>
                </a:moveTo>
                <a:cubicBezTo>
                  <a:pt x="227" y="403"/>
                  <a:pt x="227" y="403"/>
                  <a:pt x="227" y="403"/>
                </a:cubicBezTo>
                <a:cubicBezTo>
                  <a:pt x="226" y="425"/>
                  <a:pt x="229" y="445"/>
                  <a:pt x="239" y="459"/>
                </a:cubicBezTo>
                <a:cubicBezTo>
                  <a:pt x="246" y="469"/>
                  <a:pt x="257" y="475"/>
                  <a:pt x="270" y="476"/>
                </a:cubicBezTo>
                <a:cubicBezTo>
                  <a:pt x="275" y="477"/>
                  <a:pt x="280" y="477"/>
                  <a:pt x="285" y="477"/>
                </a:cubicBezTo>
                <a:cubicBezTo>
                  <a:pt x="299" y="477"/>
                  <a:pt x="313" y="475"/>
                  <a:pt x="325" y="474"/>
                </a:cubicBezTo>
                <a:cubicBezTo>
                  <a:pt x="334" y="473"/>
                  <a:pt x="343" y="473"/>
                  <a:pt x="351" y="473"/>
                </a:cubicBezTo>
                <a:cubicBezTo>
                  <a:pt x="369" y="473"/>
                  <a:pt x="374" y="478"/>
                  <a:pt x="377" y="486"/>
                </a:cubicBezTo>
                <a:cubicBezTo>
                  <a:pt x="383" y="501"/>
                  <a:pt x="381" y="510"/>
                  <a:pt x="380" y="519"/>
                </a:cubicBezTo>
                <a:cubicBezTo>
                  <a:pt x="218" y="519"/>
                  <a:pt x="218" y="519"/>
                  <a:pt x="218" y="519"/>
                </a:cubicBezTo>
                <a:cubicBezTo>
                  <a:pt x="212" y="482"/>
                  <a:pt x="208" y="443"/>
                  <a:pt x="208" y="403"/>
                </a:cubicBezTo>
                <a:close/>
                <a:moveTo>
                  <a:pt x="402" y="567"/>
                </a:moveTo>
                <a:cubicBezTo>
                  <a:pt x="406" y="573"/>
                  <a:pt x="408" y="577"/>
                  <a:pt x="405" y="581"/>
                </a:cubicBezTo>
                <a:cubicBezTo>
                  <a:pt x="404" y="582"/>
                  <a:pt x="403" y="584"/>
                  <a:pt x="402" y="586"/>
                </a:cubicBezTo>
                <a:lnTo>
                  <a:pt x="402" y="567"/>
                </a:lnTo>
                <a:close/>
                <a:moveTo>
                  <a:pt x="402" y="623"/>
                </a:moveTo>
                <a:cubicBezTo>
                  <a:pt x="405" y="633"/>
                  <a:pt x="409" y="641"/>
                  <a:pt x="412" y="648"/>
                </a:cubicBezTo>
                <a:cubicBezTo>
                  <a:pt x="402" y="648"/>
                  <a:pt x="402" y="648"/>
                  <a:pt x="402" y="648"/>
                </a:cubicBezTo>
                <a:lnTo>
                  <a:pt x="402" y="623"/>
                </a:lnTo>
                <a:close/>
                <a:moveTo>
                  <a:pt x="423" y="165"/>
                </a:moveTo>
                <a:cubicBezTo>
                  <a:pt x="425" y="149"/>
                  <a:pt x="425" y="149"/>
                  <a:pt x="425" y="149"/>
                </a:cubicBezTo>
                <a:cubicBezTo>
                  <a:pt x="429" y="155"/>
                  <a:pt x="433" y="162"/>
                  <a:pt x="434" y="166"/>
                </a:cubicBezTo>
                <a:cubicBezTo>
                  <a:pt x="432" y="165"/>
                  <a:pt x="429" y="165"/>
                  <a:pt x="426" y="165"/>
                </a:cubicBezTo>
                <a:cubicBezTo>
                  <a:pt x="425" y="165"/>
                  <a:pt x="424" y="165"/>
                  <a:pt x="423" y="165"/>
                </a:cubicBezTo>
                <a:close/>
                <a:moveTo>
                  <a:pt x="204" y="273"/>
                </a:moveTo>
                <a:cubicBezTo>
                  <a:pt x="198" y="310"/>
                  <a:pt x="194" y="349"/>
                  <a:pt x="194" y="389"/>
                </a:cubicBezTo>
                <a:cubicBezTo>
                  <a:pt x="56" y="389"/>
                  <a:pt x="56" y="389"/>
                  <a:pt x="56" y="389"/>
                </a:cubicBezTo>
                <a:cubicBezTo>
                  <a:pt x="48" y="361"/>
                  <a:pt x="39" y="325"/>
                  <a:pt x="31" y="282"/>
                </a:cubicBezTo>
                <a:cubicBezTo>
                  <a:pt x="32" y="279"/>
                  <a:pt x="33" y="276"/>
                  <a:pt x="34" y="273"/>
                </a:cubicBezTo>
                <a:lnTo>
                  <a:pt x="204" y="273"/>
                </a:lnTo>
                <a:close/>
                <a:moveTo>
                  <a:pt x="134" y="533"/>
                </a:moveTo>
                <a:cubicBezTo>
                  <a:pt x="206" y="533"/>
                  <a:pt x="206" y="533"/>
                  <a:pt x="206" y="533"/>
                </a:cubicBezTo>
                <a:cubicBezTo>
                  <a:pt x="214" y="574"/>
                  <a:pt x="225" y="613"/>
                  <a:pt x="240" y="648"/>
                </a:cubicBezTo>
                <a:cubicBezTo>
                  <a:pt x="143" y="648"/>
                  <a:pt x="143" y="648"/>
                  <a:pt x="143" y="648"/>
                </a:cubicBezTo>
                <a:cubicBezTo>
                  <a:pt x="122" y="595"/>
                  <a:pt x="129" y="558"/>
                  <a:pt x="134" y="533"/>
                </a:cubicBezTo>
                <a:close/>
                <a:moveTo>
                  <a:pt x="220" y="533"/>
                </a:moveTo>
                <a:cubicBezTo>
                  <a:pt x="379" y="533"/>
                  <a:pt x="379" y="533"/>
                  <a:pt x="379" y="533"/>
                </a:cubicBezTo>
                <a:cubicBezTo>
                  <a:pt x="379" y="536"/>
                  <a:pt x="380" y="540"/>
                  <a:pt x="383" y="544"/>
                </a:cubicBezTo>
                <a:cubicBezTo>
                  <a:pt x="385" y="546"/>
                  <a:pt x="386" y="548"/>
                  <a:pt x="388" y="550"/>
                </a:cubicBezTo>
                <a:cubicBezTo>
                  <a:pt x="388" y="648"/>
                  <a:pt x="388" y="648"/>
                  <a:pt x="388" y="648"/>
                </a:cubicBezTo>
                <a:cubicBezTo>
                  <a:pt x="255" y="648"/>
                  <a:pt x="255" y="648"/>
                  <a:pt x="255" y="648"/>
                </a:cubicBezTo>
                <a:cubicBezTo>
                  <a:pt x="240" y="614"/>
                  <a:pt x="228" y="575"/>
                  <a:pt x="220" y="533"/>
                </a:cubicBezTo>
                <a:close/>
                <a:moveTo>
                  <a:pt x="388" y="662"/>
                </a:moveTo>
                <a:cubicBezTo>
                  <a:pt x="388" y="777"/>
                  <a:pt x="388" y="777"/>
                  <a:pt x="388" y="777"/>
                </a:cubicBezTo>
                <a:cubicBezTo>
                  <a:pt x="339" y="774"/>
                  <a:pt x="294" y="730"/>
                  <a:pt x="261" y="662"/>
                </a:cubicBezTo>
                <a:lnTo>
                  <a:pt x="388" y="662"/>
                </a:lnTo>
                <a:close/>
                <a:moveTo>
                  <a:pt x="402" y="662"/>
                </a:moveTo>
                <a:cubicBezTo>
                  <a:pt x="419" y="662"/>
                  <a:pt x="419" y="662"/>
                  <a:pt x="419" y="662"/>
                </a:cubicBezTo>
                <a:cubicBezTo>
                  <a:pt x="419" y="662"/>
                  <a:pt x="419" y="663"/>
                  <a:pt x="419" y="663"/>
                </a:cubicBezTo>
                <a:cubicBezTo>
                  <a:pt x="427" y="678"/>
                  <a:pt x="433" y="692"/>
                  <a:pt x="449" y="692"/>
                </a:cubicBezTo>
                <a:cubicBezTo>
                  <a:pt x="452" y="692"/>
                  <a:pt x="455" y="691"/>
                  <a:pt x="458" y="691"/>
                </a:cubicBezTo>
                <a:cubicBezTo>
                  <a:pt x="470" y="687"/>
                  <a:pt x="491" y="675"/>
                  <a:pt x="505" y="665"/>
                </a:cubicBezTo>
                <a:cubicBezTo>
                  <a:pt x="506" y="664"/>
                  <a:pt x="508" y="663"/>
                  <a:pt x="509" y="662"/>
                </a:cubicBezTo>
                <a:cubicBezTo>
                  <a:pt x="529" y="662"/>
                  <a:pt x="529" y="662"/>
                  <a:pt x="529" y="662"/>
                </a:cubicBezTo>
                <a:cubicBezTo>
                  <a:pt x="496" y="732"/>
                  <a:pt x="450" y="774"/>
                  <a:pt x="402" y="777"/>
                </a:cubicBezTo>
                <a:lnTo>
                  <a:pt x="402" y="662"/>
                </a:lnTo>
                <a:close/>
                <a:moveTo>
                  <a:pt x="528" y="648"/>
                </a:moveTo>
                <a:cubicBezTo>
                  <a:pt x="539" y="638"/>
                  <a:pt x="539" y="634"/>
                  <a:pt x="539" y="632"/>
                </a:cubicBezTo>
                <a:cubicBezTo>
                  <a:pt x="539" y="628"/>
                  <a:pt x="545" y="617"/>
                  <a:pt x="552" y="605"/>
                </a:cubicBezTo>
                <a:cubicBezTo>
                  <a:pt x="547" y="621"/>
                  <a:pt x="541" y="635"/>
                  <a:pt x="536" y="648"/>
                </a:cubicBezTo>
                <a:lnTo>
                  <a:pt x="528" y="648"/>
                </a:lnTo>
                <a:close/>
                <a:moveTo>
                  <a:pt x="570" y="592"/>
                </a:moveTo>
                <a:cubicBezTo>
                  <a:pt x="575" y="588"/>
                  <a:pt x="579" y="584"/>
                  <a:pt x="582" y="579"/>
                </a:cubicBezTo>
                <a:cubicBezTo>
                  <a:pt x="584" y="573"/>
                  <a:pt x="584" y="567"/>
                  <a:pt x="581" y="561"/>
                </a:cubicBezTo>
                <a:cubicBezTo>
                  <a:pt x="577" y="554"/>
                  <a:pt x="576" y="544"/>
                  <a:pt x="579" y="533"/>
                </a:cubicBezTo>
                <a:cubicBezTo>
                  <a:pt x="752" y="533"/>
                  <a:pt x="752" y="533"/>
                  <a:pt x="752" y="533"/>
                </a:cubicBezTo>
                <a:cubicBezTo>
                  <a:pt x="735" y="575"/>
                  <a:pt x="711" y="614"/>
                  <a:pt x="682" y="648"/>
                </a:cubicBezTo>
                <a:cubicBezTo>
                  <a:pt x="551" y="648"/>
                  <a:pt x="551" y="648"/>
                  <a:pt x="551" y="648"/>
                </a:cubicBezTo>
                <a:cubicBezTo>
                  <a:pt x="558" y="631"/>
                  <a:pt x="565" y="612"/>
                  <a:pt x="570" y="592"/>
                </a:cubicBezTo>
                <a:close/>
                <a:moveTo>
                  <a:pt x="175" y="708"/>
                </a:moveTo>
                <a:cubicBezTo>
                  <a:pt x="164" y="691"/>
                  <a:pt x="155" y="676"/>
                  <a:pt x="149" y="662"/>
                </a:cubicBezTo>
                <a:cubicBezTo>
                  <a:pt x="246" y="662"/>
                  <a:pt x="246" y="662"/>
                  <a:pt x="246" y="662"/>
                </a:cubicBezTo>
                <a:cubicBezTo>
                  <a:pt x="248" y="666"/>
                  <a:pt x="250" y="670"/>
                  <a:pt x="252" y="674"/>
                </a:cubicBezTo>
                <a:cubicBezTo>
                  <a:pt x="275" y="720"/>
                  <a:pt x="302" y="753"/>
                  <a:pt x="333" y="772"/>
                </a:cubicBezTo>
                <a:cubicBezTo>
                  <a:pt x="275" y="763"/>
                  <a:pt x="221" y="740"/>
                  <a:pt x="175" y="708"/>
                </a:cubicBezTo>
                <a:close/>
                <a:moveTo>
                  <a:pt x="457" y="773"/>
                </a:moveTo>
                <a:cubicBezTo>
                  <a:pt x="491" y="751"/>
                  <a:pt x="521" y="713"/>
                  <a:pt x="545" y="662"/>
                </a:cubicBezTo>
                <a:cubicBezTo>
                  <a:pt x="669" y="662"/>
                  <a:pt x="669" y="662"/>
                  <a:pt x="669" y="662"/>
                </a:cubicBezTo>
                <a:cubicBezTo>
                  <a:pt x="613" y="719"/>
                  <a:pt x="539" y="759"/>
                  <a:pt x="457" y="77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7" name="Footer Placeholder 99">
            <a:extLst>
              <a:ext uri="{FF2B5EF4-FFF2-40B4-BE49-F238E27FC236}">
                <a16:creationId xmlns:a16="http://schemas.microsoft.com/office/drawing/2014/main" id="{66626249-5A59-4A9C-9F23-76295AC7CD8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Slide Number Placeholder 100">
            <a:extLst>
              <a:ext uri="{FF2B5EF4-FFF2-40B4-BE49-F238E27FC236}">
                <a16:creationId xmlns:a16="http://schemas.microsoft.com/office/drawing/2014/main" id="{CAB86950-1CD5-434A-ACE9-106E507F3C0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19" name="Text Placeholder 41">
            <a:extLst>
              <a:ext uri="{FF2B5EF4-FFF2-40B4-BE49-F238E27FC236}">
                <a16:creationId xmlns:a16="http://schemas.microsoft.com/office/drawing/2014/main" id="{9085D94B-4B9E-43B9-AADE-724DC482E8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4746258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63611" cy="545464"/>
          </a:xfrm>
        </p:spPr>
        <p:txBody>
          <a:bodyPr/>
          <a:lstStyle/>
          <a:p>
            <a:r>
              <a:rPr lang="en-US" dirty="0"/>
              <a:t>Process with eight steps</a:t>
            </a:r>
          </a:p>
        </p:txBody>
      </p:sp>
      <p:sp>
        <p:nvSpPr>
          <p:cNvPr id="15" name="Right Arrow 14"/>
          <p:cNvSpPr/>
          <p:nvPr/>
        </p:nvSpPr>
        <p:spPr>
          <a:xfrm>
            <a:off x="2369643" y="1582065"/>
            <a:ext cx="283706" cy="351441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6" name="Right Arrow 15"/>
          <p:cNvSpPr/>
          <p:nvPr/>
        </p:nvSpPr>
        <p:spPr>
          <a:xfrm>
            <a:off x="4335262" y="1590669"/>
            <a:ext cx="283706" cy="351441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TextBox 2"/>
          <p:cNvSpPr txBox="1"/>
          <p:nvPr/>
        </p:nvSpPr>
        <p:spPr>
          <a:xfrm>
            <a:off x="670882" y="1475027"/>
            <a:ext cx="1698761" cy="612741"/>
          </a:xfrm>
          <a:prstGeom prst="rect">
            <a:avLst/>
          </a:prstGeom>
          <a:solidFill>
            <a:schemeClr val="accent1"/>
          </a:solidFill>
        </p:spPr>
        <p:txBody>
          <a:bodyPr wrap="square" lIns="182880" tIns="91440" rIns="182880" bIns="91440" rtlCol="0" anchor="ctr" anchorCtr="0">
            <a:noAutofit/>
          </a:bodyPr>
          <a:lstStyle/>
          <a:p>
            <a:pPr marL="429816"/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636501" y="1475027"/>
            <a:ext cx="1698761" cy="612741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91440" rIns="182880" bIns="91440" rtlCol="0" anchor="ctr" anchorCtr="0">
            <a:noAutofit/>
          </a:bodyPr>
          <a:lstStyle/>
          <a:p>
            <a:pPr marL="429816"/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23542" y="1475027"/>
            <a:ext cx="1698761" cy="612741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91440" rIns="182880" bIns="91440" rtlCol="0" anchor="ctr" anchorCtr="0">
            <a:noAutofit/>
          </a:bodyPr>
          <a:lstStyle/>
          <a:p>
            <a:pPr marL="429816"/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21" name="Freeform 105"/>
          <p:cNvSpPr>
            <a:spLocks noEditPoints="1"/>
          </p:cNvSpPr>
          <p:nvPr/>
        </p:nvSpPr>
        <p:spPr bwMode="auto">
          <a:xfrm>
            <a:off x="827836" y="1596866"/>
            <a:ext cx="278588" cy="369062"/>
          </a:xfrm>
          <a:custGeom>
            <a:avLst/>
            <a:gdLst>
              <a:gd name="T0" fmla="*/ 473 w 478"/>
              <a:gd name="T1" fmla="*/ 39 h 633"/>
              <a:gd name="T2" fmla="*/ 239 w 478"/>
              <a:gd name="T3" fmla="*/ 0 h 633"/>
              <a:gd name="T4" fmla="*/ 239 w 478"/>
              <a:gd name="T5" fmla="*/ 0 h 633"/>
              <a:gd name="T6" fmla="*/ 239 w 478"/>
              <a:gd name="T7" fmla="*/ 0 h 633"/>
              <a:gd name="T8" fmla="*/ 239 w 478"/>
              <a:gd name="T9" fmla="*/ 0 h 633"/>
              <a:gd name="T10" fmla="*/ 193 w 478"/>
              <a:gd name="T11" fmla="*/ 2 h 633"/>
              <a:gd name="T12" fmla="*/ 192 w 478"/>
              <a:gd name="T13" fmla="*/ 2 h 633"/>
              <a:gd name="T14" fmla="*/ 192 w 478"/>
              <a:gd name="T15" fmla="*/ 2 h 633"/>
              <a:gd name="T16" fmla="*/ 191 w 478"/>
              <a:gd name="T17" fmla="*/ 2 h 633"/>
              <a:gd name="T18" fmla="*/ 145 w 478"/>
              <a:gd name="T19" fmla="*/ 7 h 633"/>
              <a:gd name="T20" fmla="*/ 144 w 478"/>
              <a:gd name="T21" fmla="*/ 7 h 633"/>
              <a:gd name="T22" fmla="*/ 98 w 478"/>
              <a:gd name="T23" fmla="*/ 15 h 633"/>
              <a:gd name="T24" fmla="*/ 98 w 478"/>
              <a:gd name="T25" fmla="*/ 15 h 633"/>
              <a:gd name="T26" fmla="*/ 52 w 478"/>
              <a:gd name="T27" fmla="*/ 26 h 633"/>
              <a:gd name="T28" fmla="*/ 51 w 478"/>
              <a:gd name="T29" fmla="*/ 26 h 633"/>
              <a:gd name="T30" fmla="*/ 4 w 478"/>
              <a:gd name="T31" fmla="*/ 39 h 633"/>
              <a:gd name="T32" fmla="*/ 0 w 478"/>
              <a:gd name="T33" fmla="*/ 46 h 633"/>
              <a:gd name="T34" fmla="*/ 0 w 478"/>
              <a:gd name="T35" fmla="*/ 435 h 633"/>
              <a:gd name="T36" fmla="*/ 102 w 478"/>
              <a:gd name="T37" fmla="*/ 553 h 633"/>
              <a:gd name="T38" fmla="*/ 142 w 478"/>
              <a:gd name="T39" fmla="*/ 582 h 633"/>
              <a:gd name="T40" fmla="*/ 142 w 478"/>
              <a:gd name="T41" fmla="*/ 582 h 633"/>
              <a:gd name="T42" fmla="*/ 238 w 478"/>
              <a:gd name="T43" fmla="*/ 633 h 633"/>
              <a:gd name="T44" fmla="*/ 238 w 478"/>
              <a:gd name="T45" fmla="*/ 633 h 633"/>
              <a:gd name="T46" fmla="*/ 239 w 478"/>
              <a:gd name="T47" fmla="*/ 633 h 633"/>
              <a:gd name="T48" fmla="*/ 239 w 478"/>
              <a:gd name="T49" fmla="*/ 633 h 633"/>
              <a:gd name="T50" fmla="*/ 239 w 478"/>
              <a:gd name="T51" fmla="*/ 633 h 633"/>
              <a:gd name="T52" fmla="*/ 239 w 478"/>
              <a:gd name="T53" fmla="*/ 633 h 633"/>
              <a:gd name="T54" fmla="*/ 241 w 478"/>
              <a:gd name="T55" fmla="*/ 633 h 633"/>
              <a:gd name="T56" fmla="*/ 373 w 478"/>
              <a:gd name="T57" fmla="*/ 560 h 633"/>
              <a:gd name="T58" fmla="*/ 478 w 478"/>
              <a:gd name="T59" fmla="*/ 435 h 633"/>
              <a:gd name="T60" fmla="*/ 478 w 478"/>
              <a:gd name="T61" fmla="*/ 46 h 633"/>
              <a:gd name="T62" fmla="*/ 473 w 478"/>
              <a:gd name="T63" fmla="*/ 39 h 633"/>
              <a:gd name="T64" fmla="*/ 199 w 478"/>
              <a:gd name="T65" fmla="*/ 15 h 633"/>
              <a:gd name="T66" fmla="*/ 232 w 478"/>
              <a:gd name="T67" fmla="*/ 14 h 633"/>
              <a:gd name="T68" fmla="*/ 232 w 478"/>
              <a:gd name="T69" fmla="*/ 617 h 633"/>
              <a:gd name="T70" fmla="*/ 200 w 478"/>
              <a:gd name="T71" fmla="*/ 601 h 633"/>
              <a:gd name="T72" fmla="*/ 199 w 478"/>
              <a:gd name="T73" fmla="*/ 15 h 633"/>
              <a:gd name="T74" fmla="*/ 186 w 478"/>
              <a:gd name="T75" fmla="*/ 593 h 633"/>
              <a:gd name="T76" fmla="*/ 153 w 478"/>
              <a:gd name="T77" fmla="*/ 572 h 633"/>
              <a:gd name="T78" fmla="*/ 153 w 478"/>
              <a:gd name="T79" fmla="*/ 20 h 633"/>
              <a:gd name="T80" fmla="*/ 185 w 478"/>
              <a:gd name="T81" fmla="*/ 17 h 633"/>
              <a:gd name="T82" fmla="*/ 186 w 478"/>
              <a:gd name="T83" fmla="*/ 593 h 633"/>
              <a:gd name="T84" fmla="*/ 60 w 478"/>
              <a:gd name="T85" fmla="*/ 38 h 633"/>
              <a:gd name="T86" fmla="*/ 92 w 478"/>
              <a:gd name="T87" fmla="*/ 31 h 633"/>
              <a:gd name="T88" fmla="*/ 93 w 478"/>
              <a:gd name="T89" fmla="*/ 528 h 633"/>
              <a:gd name="T90" fmla="*/ 60 w 478"/>
              <a:gd name="T91" fmla="*/ 500 h 633"/>
              <a:gd name="T92" fmla="*/ 60 w 478"/>
              <a:gd name="T93" fmla="*/ 38 h 633"/>
              <a:gd name="T94" fmla="*/ 14 w 478"/>
              <a:gd name="T95" fmla="*/ 435 h 633"/>
              <a:gd name="T96" fmla="*/ 14 w 478"/>
              <a:gd name="T97" fmla="*/ 51 h 633"/>
              <a:gd name="T98" fmla="*/ 46 w 478"/>
              <a:gd name="T99" fmla="*/ 42 h 633"/>
              <a:gd name="T100" fmla="*/ 46 w 478"/>
              <a:gd name="T101" fmla="*/ 487 h 633"/>
              <a:gd name="T102" fmla="*/ 14 w 478"/>
              <a:gd name="T103" fmla="*/ 435 h 633"/>
              <a:gd name="T104" fmla="*/ 107 w 478"/>
              <a:gd name="T105" fmla="*/ 539 h 633"/>
              <a:gd name="T106" fmla="*/ 106 w 478"/>
              <a:gd name="T107" fmla="*/ 28 h 633"/>
              <a:gd name="T108" fmla="*/ 139 w 478"/>
              <a:gd name="T109" fmla="*/ 22 h 633"/>
              <a:gd name="T110" fmla="*/ 139 w 478"/>
              <a:gd name="T111" fmla="*/ 563 h 633"/>
              <a:gd name="T112" fmla="*/ 111 w 478"/>
              <a:gd name="T113" fmla="*/ 542 h 633"/>
              <a:gd name="T114" fmla="*/ 107 w 478"/>
              <a:gd name="T115" fmla="*/ 539 h 633"/>
              <a:gd name="T116" fmla="*/ 464 w 478"/>
              <a:gd name="T117" fmla="*/ 435 h 633"/>
              <a:gd name="T118" fmla="*/ 246 w 478"/>
              <a:gd name="T119" fmla="*/ 617 h 633"/>
              <a:gd name="T120" fmla="*/ 246 w 478"/>
              <a:gd name="T121" fmla="*/ 14 h 633"/>
              <a:gd name="T122" fmla="*/ 464 w 478"/>
              <a:gd name="T123" fmla="*/ 51 h 633"/>
              <a:gd name="T124" fmla="*/ 464 w 478"/>
              <a:gd name="T125" fmla="*/ 435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78" h="633">
                <a:moveTo>
                  <a:pt x="473" y="39"/>
                </a:moveTo>
                <a:cubicBezTo>
                  <a:pt x="414" y="21"/>
                  <a:pt x="326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ubicBezTo>
                  <a:pt x="224" y="0"/>
                  <a:pt x="208" y="1"/>
                  <a:pt x="193" y="2"/>
                </a:cubicBezTo>
                <a:cubicBezTo>
                  <a:pt x="193" y="2"/>
                  <a:pt x="192" y="2"/>
                  <a:pt x="192" y="2"/>
                </a:cubicBezTo>
                <a:cubicBezTo>
                  <a:pt x="192" y="2"/>
                  <a:pt x="192" y="2"/>
                  <a:pt x="192" y="2"/>
                </a:cubicBezTo>
                <a:cubicBezTo>
                  <a:pt x="192" y="2"/>
                  <a:pt x="192" y="2"/>
                  <a:pt x="191" y="2"/>
                </a:cubicBezTo>
                <a:cubicBezTo>
                  <a:pt x="176" y="3"/>
                  <a:pt x="160" y="5"/>
                  <a:pt x="145" y="7"/>
                </a:cubicBezTo>
                <a:cubicBezTo>
                  <a:pt x="145" y="7"/>
                  <a:pt x="145" y="7"/>
                  <a:pt x="144" y="7"/>
                </a:cubicBezTo>
                <a:cubicBezTo>
                  <a:pt x="129" y="9"/>
                  <a:pt x="114" y="12"/>
                  <a:pt x="98" y="15"/>
                </a:cubicBezTo>
                <a:cubicBezTo>
                  <a:pt x="98" y="15"/>
                  <a:pt x="98" y="15"/>
                  <a:pt x="98" y="15"/>
                </a:cubicBezTo>
                <a:cubicBezTo>
                  <a:pt x="83" y="18"/>
                  <a:pt x="67" y="22"/>
                  <a:pt x="52" y="26"/>
                </a:cubicBezTo>
                <a:cubicBezTo>
                  <a:pt x="51" y="26"/>
                  <a:pt x="51" y="26"/>
                  <a:pt x="51" y="26"/>
                </a:cubicBezTo>
                <a:cubicBezTo>
                  <a:pt x="36" y="30"/>
                  <a:pt x="20" y="34"/>
                  <a:pt x="4" y="39"/>
                </a:cubicBezTo>
                <a:cubicBezTo>
                  <a:pt x="2" y="40"/>
                  <a:pt x="0" y="43"/>
                  <a:pt x="0" y="46"/>
                </a:cubicBezTo>
                <a:cubicBezTo>
                  <a:pt x="0" y="435"/>
                  <a:pt x="0" y="435"/>
                  <a:pt x="0" y="435"/>
                </a:cubicBezTo>
                <a:cubicBezTo>
                  <a:pt x="0" y="450"/>
                  <a:pt x="13" y="486"/>
                  <a:pt x="102" y="553"/>
                </a:cubicBezTo>
                <a:cubicBezTo>
                  <a:pt x="115" y="563"/>
                  <a:pt x="129" y="573"/>
                  <a:pt x="142" y="582"/>
                </a:cubicBezTo>
                <a:cubicBezTo>
                  <a:pt x="142" y="582"/>
                  <a:pt x="142" y="582"/>
                  <a:pt x="142" y="582"/>
                </a:cubicBezTo>
                <a:cubicBezTo>
                  <a:pt x="182" y="609"/>
                  <a:pt x="220" y="629"/>
                  <a:pt x="238" y="633"/>
                </a:cubicBezTo>
                <a:cubicBezTo>
                  <a:pt x="238" y="633"/>
                  <a:pt x="238" y="633"/>
                  <a:pt x="238" y="633"/>
                </a:cubicBezTo>
                <a:cubicBezTo>
                  <a:pt x="238" y="633"/>
                  <a:pt x="239" y="633"/>
                  <a:pt x="239" y="633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40" y="633"/>
                  <a:pt x="240" y="633"/>
                  <a:pt x="241" y="633"/>
                </a:cubicBezTo>
                <a:cubicBezTo>
                  <a:pt x="261" y="629"/>
                  <a:pt x="320" y="598"/>
                  <a:pt x="373" y="560"/>
                </a:cubicBezTo>
                <a:cubicBezTo>
                  <a:pt x="421" y="526"/>
                  <a:pt x="478" y="477"/>
                  <a:pt x="478" y="435"/>
                </a:cubicBezTo>
                <a:cubicBezTo>
                  <a:pt x="478" y="46"/>
                  <a:pt x="478" y="46"/>
                  <a:pt x="478" y="46"/>
                </a:cubicBezTo>
                <a:cubicBezTo>
                  <a:pt x="478" y="43"/>
                  <a:pt x="476" y="40"/>
                  <a:pt x="473" y="39"/>
                </a:cubicBezTo>
                <a:close/>
                <a:moveTo>
                  <a:pt x="199" y="15"/>
                </a:moveTo>
                <a:cubicBezTo>
                  <a:pt x="210" y="15"/>
                  <a:pt x="221" y="14"/>
                  <a:pt x="232" y="14"/>
                </a:cubicBezTo>
                <a:cubicBezTo>
                  <a:pt x="232" y="617"/>
                  <a:pt x="232" y="617"/>
                  <a:pt x="232" y="617"/>
                </a:cubicBezTo>
                <a:cubicBezTo>
                  <a:pt x="224" y="614"/>
                  <a:pt x="213" y="608"/>
                  <a:pt x="200" y="601"/>
                </a:cubicBezTo>
                <a:lnTo>
                  <a:pt x="199" y="15"/>
                </a:lnTo>
                <a:close/>
                <a:moveTo>
                  <a:pt x="186" y="593"/>
                </a:moveTo>
                <a:cubicBezTo>
                  <a:pt x="175" y="587"/>
                  <a:pt x="165" y="580"/>
                  <a:pt x="153" y="572"/>
                </a:cubicBezTo>
                <a:cubicBezTo>
                  <a:pt x="153" y="20"/>
                  <a:pt x="153" y="20"/>
                  <a:pt x="153" y="20"/>
                </a:cubicBezTo>
                <a:cubicBezTo>
                  <a:pt x="164" y="19"/>
                  <a:pt x="175" y="17"/>
                  <a:pt x="185" y="17"/>
                </a:cubicBezTo>
                <a:lnTo>
                  <a:pt x="186" y="593"/>
                </a:lnTo>
                <a:close/>
                <a:moveTo>
                  <a:pt x="60" y="38"/>
                </a:moveTo>
                <a:cubicBezTo>
                  <a:pt x="71" y="35"/>
                  <a:pt x="82" y="33"/>
                  <a:pt x="92" y="31"/>
                </a:cubicBezTo>
                <a:cubicBezTo>
                  <a:pt x="93" y="528"/>
                  <a:pt x="93" y="528"/>
                  <a:pt x="93" y="528"/>
                </a:cubicBezTo>
                <a:cubicBezTo>
                  <a:pt x="81" y="518"/>
                  <a:pt x="70" y="509"/>
                  <a:pt x="60" y="500"/>
                </a:cubicBezTo>
                <a:lnTo>
                  <a:pt x="60" y="38"/>
                </a:lnTo>
                <a:close/>
                <a:moveTo>
                  <a:pt x="14" y="435"/>
                </a:moveTo>
                <a:cubicBezTo>
                  <a:pt x="14" y="51"/>
                  <a:pt x="14" y="51"/>
                  <a:pt x="14" y="51"/>
                </a:cubicBezTo>
                <a:cubicBezTo>
                  <a:pt x="24" y="48"/>
                  <a:pt x="35" y="45"/>
                  <a:pt x="46" y="42"/>
                </a:cubicBezTo>
                <a:cubicBezTo>
                  <a:pt x="46" y="487"/>
                  <a:pt x="46" y="487"/>
                  <a:pt x="46" y="487"/>
                </a:cubicBezTo>
                <a:cubicBezTo>
                  <a:pt x="25" y="465"/>
                  <a:pt x="14" y="447"/>
                  <a:pt x="14" y="435"/>
                </a:cubicBezTo>
                <a:close/>
                <a:moveTo>
                  <a:pt x="107" y="539"/>
                </a:moveTo>
                <a:cubicBezTo>
                  <a:pt x="106" y="28"/>
                  <a:pt x="106" y="28"/>
                  <a:pt x="106" y="28"/>
                </a:cubicBezTo>
                <a:cubicBezTo>
                  <a:pt x="117" y="26"/>
                  <a:pt x="128" y="24"/>
                  <a:pt x="139" y="22"/>
                </a:cubicBezTo>
                <a:cubicBezTo>
                  <a:pt x="139" y="563"/>
                  <a:pt x="139" y="563"/>
                  <a:pt x="139" y="563"/>
                </a:cubicBezTo>
                <a:cubicBezTo>
                  <a:pt x="130" y="556"/>
                  <a:pt x="120" y="549"/>
                  <a:pt x="111" y="542"/>
                </a:cubicBezTo>
                <a:cubicBezTo>
                  <a:pt x="109" y="541"/>
                  <a:pt x="108" y="540"/>
                  <a:pt x="107" y="539"/>
                </a:cubicBezTo>
                <a:close/>
                <a:moveTo>
                  <a:pt x="464" y="435"/>
                </a:moveTo>
                <a:cubicBezTo>
                  <a:pt x="464" y="496"/>
                  <a:pt x="297" y="598"/>
                  <a:pt x="246" y="617"/>
                </a:cubicBezTo>
                <a:cubicBezTo>
                  <a:pt x="246" y="14"/>
                  <a:pt x="246" y="14"/>
                  <a:pt x="246" y="14"/>
                </a:cubicBezTo>
                <a:cubicBezTo>
                  <a:pt x="327" y="15"/>
                  <a:pt x="408" y="34"/>
                  <a:pt x="464" y="51"/>
                </a:cubicBezTo>
                <a:lnTo>
                  <a:pt x="464" y="4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2" name="Freeform 136"/>
          <p:cNvSpPr>
            <a:spLocks noEditPoints="1"/>
          </p:cNvSpPr>
          <p:nvPr/>
        </p:nvSpPr>
        <p:spPr bwMode="auto">
          <a:xfrm>
            <a:off x="4746286" y="1628237"/>
            <a:ext cx="370629" cy="306321"/>
          </a:xfrm>
          <a:custGeom>
            <a:avLst/>
            <a:gdLst>
              <a:gd name="T0" fmla="*/ 100 w 616"/>
              <a:gd name="T1" fmla="*/ 285 h 509"/>
              <a:gd name="T2" fmla="*/ 323 w 616"/>
              <a:gd name="T3" fmla="*/ 422 h 509"/>
              <a:gd name="T4" fmla="*/ 323 w 616"/>
              <a:gd name="T5" fmla="*/ 278 h 509"/>
              <a:gd name="T6" fmla="*/ 114 w 616"/>
              <a:gd name="T7" fmla="*/ 292 h 509"/>
              <a:gd name="T8" fmla="*/ 612 w 616"/>
              <a:gd name="T9" fmla="*/ 188 h 509"/>
              <a:gd name="T10" fmla="*/ 555 w 616"/>
              <a:gd name="T11" fmla="*/ 4 h 509"/>
              <a:gd name="T12" fmla="*/ 554 w 616"/>
              <a:gd name="T13" fmla="*/ 3 h 509"/>
              <a:gd name="T14" fmla="*/ 553 w 616"/>
              <a:gd name="T15" fmla="*/ 1 h 509"/>
              <a:gd name="T16" fmla="*/ 551 w 616"/>
              <a:gd name="T17" fmla="*/ 1 h 509"/>
              <a:gd name="T18" fmla="*/ 549 w 616"/>
              <a:gd name="T19" fmla="*/ 0 h 509"/>
              <a:gd name="T20" fmla="*/ 308 w 616"/>
              <a:gd name="T21" fmla="*/ 0 h 509"/>
              <a:gd name="T22" fmla="*/ 147 w 616"/>
              <a:gd name="T23" fmla="*/ 0 h 509"/>
              <a:gd name="T24" fmla="*/ 66 w 616"/>
              <a:gd name="T25" fmla="*/ 0 h 509"/>
              <a:gd name="T26" fmla="*/ 64 w 616"/>
              <a:gd name="T27" fmla="*/ 1 h 509"/>
              <a:gd name="T28" fmla="*/ 62 w 616"/>
              <a:gd name="T29" fmla="*/ 2 h 509"/>
              <a:gd name="T30" fmla="*/ 61 w 616"/>
              <a:gd name="T31" fmla="*/ 4 h 509"/>
              <a:gd name="T32" fmla="*/ 60 w 616"/>
              <a:gd name="T33" fmla="*/ 5 h 509"/>
              <a:gd name="T34" fmla="*/ 27 w 616"/>
              <a:gd name="T35" fmla="*/ 242 h 509"/>
              <a:gd name="T36" fmla="*/ 582 w 616"/>
              <a:gd name="T37" fmla="*/ 509 h 509"/>
              <a:gd name="T38" fmla="*/ 606 w 616"/>
              <a:gd name="T39" fmla="*/ 229 h 509"/>
              <a:gd name="T40" fmla="*/ 464 w 616"/>
              <a:gd name="T41" fmla="*/ 232 h 509"/>
              <a:gd name="T42" fmla="*/ 463 w 616"/>
              <a:gd name="T43" fmla="*/ 14 h 509"/>
              <a:gd name="T44" fmla="*/ 391 w 616"/>
              <a:gd name="T45" fmla="*/ 219 h 509"/>
              <a:gd name="T46" fmla="*/ 315 w 616"/>
              <a:gd name="T47" fmla="*/ 14 h 509"/>
              <a:gd name="T48" fmla="*/ 391 w 616"/>
              <a:gd name="T49" fmla="*/ 219 h 509"/>
              <a:gd name="T50" fmla="*/ 257 w 616"/>
              <a:gd name="T51" fmla="*/ 232 h 509"/>
              <a:gd name="T52" fmla="*/ 234 w 616"/>
              <a:gd name="T53" fmla="*/ 14 h 509"/>
              <a:gd name="T54" fmla="*/ 117 w 616"/>
              <a:gd name="T55" fmla="*/ 192 h 509"/>
              <a:gd name="T56" fmla="*/ 202 w 616"/>
              <a:gd name="T57" fmla="*/ 190 h 509"/>
              <a:gd name="T58" fmla="*/ 117 w 616"/>
              <a:gd name="T59" fmla="*/ 192 h 509"/>
              <a:gd name="T60" fmla="*/ 72 w 616"/>
              <a:gd name="T61" fmla="*/ 14 h 509"/>
              <a:gd name="T62" fmla="*/ 48 w 616"/>
              <a:gd name="T63" fmla="*/ 232 h 509"/>
              <a:gd name="T64" fmla="*/ 392 w 616"/>
              <a:gd name="T65" fmla="*/ 495 h 509"/>
              <a:gd name="T66" fmla="*/ 503 w 616"/>
              <a:gd name="T67" fmla="*/ 495 h 509"/>
              <a:gd name="T68" fmla="*/ 517 w 616"/>
              <a:gd name="T69" fmla="*/ 285 h 509"/>
              <a:gd name="T70" fmla="*/ 378 w 616"/>
              <a:gd name="T71" fmla="*/ 285 h 509"/>
              <a:gd name="T72" fmla="*/ 41 w 616"/>
              <a:gd name="T73" fmla="*/ 246 h 509"/>
              <a:gd name="T74" fmla="*/ 113 w 616"/>
              <a:gd name="T75" fmla="*/ 229 h 509"/>
              <a:gd name="T76" fmla="*/ 215 w 616"/>
              <a:gd name="T77" fmla="*/ 229 h 509"/>
              <a:gd name="T78" fmla="*/ 308 w 616"/>
              <a:gd name="T79" fmla="*/ 217 h 509"/>
              <a:gd name="T80" fmla="*/ 410 w 616"/>
              <a:gd name="T81" fmla="*/ 217 h 509"/>
              <a:gd name="T82" fmla="*/ 511 w 616"/>
              <a:gd name="T83" fmla="*/ 217 h 509"/>
              <a:gd name="T84" fmla="*/ 575 w 616"/>
              <a:gd name="T85" fmla="*/ 495 h 509"/>
              <a:gd name="T86" fmla="*/ 513 w 616"/>
              <a:gd name="T87" fmla="*/ 189 h 509"/>
              <a:gd name="T88" fmla="*/ 598 w 616"/>
              <a:gd name="T89" fmla="*/ 192 h 5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" h="509">
                <a:moveTo>
                  <a:pt x="323" y="278"/>
                </a:moveTo>
                <a:cubicBezTo>
                  <a:pt x="107" y="278"/>
                  <a:pt x="107" y="278"/>
                  <a:pt x="107" y="278"/>
                </a:cubicBezTo>
                <a:cubicBezTo>
                  <a:pt x="104" y="278"/>
                  <a:pt x="100" y="282"/>
                  <a:pt x="100" y="285"/>
                </a:cubicBezTo>
                <a:cubicBezTo>
                  <a:pt x="100" y="415"/>
                  <a:pt x="100" y="415"/>
                  <a:pt x="100" y="415"/>
                </a:cubicBezTo>
                <a:cubicBezTo>
                  <a:pt x="100" y="419"/>
                  <a:pt x="104" y="422"/>
                  <a:pt x="107" y="422"/>
                </a:cubicBezTo>
                <a:cubicBezTo>
                  <a:pt x="323" y="422"/>
                  <a:pt x="323" y="422"/>
                  <a:pt x="323" y="422"/>
                </a:cubicBezTo>
                <a:cubicBezTo>
                  <a:pt x="327" y="422"/>
                  <a:pt x="330" y="419"/>
                  <a:pt x="330" y="415"/>
                </a:cubicBezTo>
                <a:cubicBezTo>
                  <a:pt x="330" y="285"/>
                  <a:pt x="330" y="285"/>
                  <a:pt x="330" y="285"/>
                </a:cubicBezTo>
                <a:cubicBezTo>
                  <a:pt x="330" y="282"/>
                  <a:pt x="327" y="278"/>
                  <a:pt x="323" y="278"/>
                </a:cubicBezTo>
                <a:close/>
                <a:moveTo>
                  <a:pt x="316" y="408"/>
                </a:moveTo>
                <a:cubicBezTo>
                  <a:pt x="114" y="408"/>
                  <a:pt x="114" y="408"/>
                  <a:pt x="114" y="408"/>
                </a:cubicBezTo>
                <a:cubicBezTo>
                  <a:pt x="114" y="292"/>
                  <a:pt x="114" y="292"/>
                  <a:pt x="114" y="292"/>
                </a:cubicBezTo>
                <a:cubicBezTo>
                  <a:pt x="316" y="292"/>
                  <a:pt x="316" y="292"/>
                  <a:pt x="316" y="292"/>
                </a:cubicBezTo>
                <a:lnTo>
                  <a:pt x="316" y="408"/>
                </a:lnTo>
                <a:close/>
                <a:moveTo>
                  <a:pt x="612" y="188"/>
                </a:moveTo>
                <a:cubicBezTo>
                  <a:pt x="556" y="5"/>
                  <a:pt x="556" y="5"/>
                  <a:pt x="556" y="5"/>
                </a:cubicBezTo>
                <a:cubicBezTo>
                  <a:pt x="556" y="5"/>
                  <a:pt x="556" y="5"/>
                  <a:pt x="556" y="5"/>
                </a:cubicBezTo>
                <a:cubicBezTo>
                  <a:pt x="556" y="5"/>
                  <a:pt x="555" y="4"/>
                  <a:pt x="555" y="4"/>
                </a:cubicBezTo>
                <a:cubicBezTo>
                  <a:pt x="555" y="4"/>
                  <a:pt x="555" y="4"/>
                  <a:pt x="555" y="4"/>
                </a:cubicBezTo>
                <a:cubicBezTo>
                  <a:pt x="555" y="3"/>
                  <a:pt x="555" y="3"/>
                  <a:pt x="555" y="3"/>
                </a:cubicBezTo>
                <a:cubicBezTo>
                  <a:pt x="555" y="3"/>
                  <a:pt x="554" y="3"/>
                  <a:pt x="554" y="3"/>
                </a:cubicBezTo>
                <a:cubicBezTo>
                  <a:pt x="554" y="2"/>
                  <a:pt x="554" y="2"/>
                  <a:pt x="554" y="2"/>
                </a:cubicBezTo>
                <a:cubicBezTo>
                  <a:pt x="554" y="2"/>
                  <a:pt x="553" y="2"/>
                  <a:pt x="553" y="2"/>
                </a:cubicBezTo>
                <a:cubicBezTo>
                  <a:pt x="553" y="2"/>
                  <a:pt x="553" y="1"/>
                  <a:pt x="553" y="1"/>
                </a:cubicBezTo>
                <a:cubicBezTo>
                  <a:pt x="552" y="1"/>
                  <a:pt x="552" y="1"/>
                  <a:pt x="552" y="1"/>
                </a:cubicBezTo>
                <a:cubicBezTo>
                  <a:pt x="552" y="1"/>
                  <a:pt x="552" y="1"/>
                  <a:pt x="551" y="1"/>
                </a:cubicBezTo>
                <a:cubicBezTo>
                  <a:pt x="551" y="1"/>
                  <a:pt x="551" y="1"/>
                  <a:pt x="551" y="1"/>
                </a:cubicBezTo>
                <a:cubicBezTo>
                  <a:pt x="551" y="0"/>
                  <a:pt x="550" y="0"/>
                  <a:pt x="550" y="0"/>
                </a:cubicBezTo>
                <a:cubicBezTo>
                  <a:pt x="550" y="0"/>
                  <a:pt x="550" y="0"/>
                  <a:pt x="549" y="0"/>
                </a:cubicBezTo>
                <a:cubicBezTo>
                  <a:pt x="549" y="0"/>
                  <a:pt x="549" y="0"/>
                  <a:pt x="549" y="0"/>
                </a:cubicBezTo>
                <a:cubicBezTo>
                  <a:pt x="469" y="0"/>
                  <a:pt x="469" y="0"/>
                  <a:pt x="469" y="0"/>
                </a:cubicBezTo>
                <a:cubicBezTo>
                  <a:pt x="469" y="0"/>
                  <a:pt x="469" y="0"/>
                  <a:pt x="469" y="0"/>
                </a:cubicBezTo>
                <a:cubicBezTo>
                  <a:pt x="308" y="0"/>
                  <a:pt x="308" y="0"/>
                  <a:pt x="308" y="0"/>
                </a:cubicBezTo>
                <a:cubicBezTo>
                  <a:pt x="308" y="0"/>
                  <a:pt x="308" y="0"/>
                  <a:pt x="308" y="0"/>
                </a:cubicBez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47" y="0"/>
                  <a:pt x="14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7" y="0"/>
                  <a:pt x="66" y="0"/>
                  <a:pt x="66" y="0"/>
                </a:cubicBezTo>
                <a:cubicBezTo>
                  <a:pt x="66" y="0"/>
                  <a:pt x="66" y="0"/>
                  <a:pt x="65" y="1"/>
                </a:cubicBezTo>
                <a:cubicBezTo>
                  <a:pt x="65" y="1"/>
                  <a:pt x="65" y="1"/>
                  <a:pt x="65" y="1"/>
                </a:cubicBezTo>
                <a:cubicBezTo>
                  <a:pt x="65" y="1"/>
                  <a:pt x="64" y="1"/>
                  <a:pt x="64" y="1"/>
                </a:cubicBezTo>
                <a:cubicBezTo>
                  <a:pt x="64" y="1"/>
                  <a:pt x="64" y="1"/>
                  <a:pt x="64" y="1"/>
                </a:cubicBezTo>
                <a:cubicBezTo>
                  <a:pt x="63" y="1"/>
                  <a:pt x="63" y="2"/>
                  <a:pt x="63" y="2"/>
                </a:cubicBezTo>
                <a:cubicBezTo>
                  <a:pt x="63" y="2"/>
                  <a:pt x="63" y="2"/>
                  <a:pt x="62" y="2"/>
                </a:cubicBezTo>
                <a:cubicBezTo>
                  <a:pt x="62" y="2"/>
                  <a:pt x="62" y="2"/>
                  <a:pt x="62" y="3"/>
                </a:cubicBezTo>
                <a:cubicBezTo>
                  <a:pt x="62" y="3"/>
                  <a:pt x="62" y="3"/>
                  <a:pt x="62" y="3"/>
                </a:cubicBezTo>
                <a:cubicBezTo>
                  <a:pt x="61" y="3"/>
                  <a:pt x="61" y="3"/>
                  <a:pt x="61" y="4"/>
                </a:cubicBezTo>
                <a:cubicBezTo>
                  <a:pt x="61" y="4"/>
                  <a:pt x="61" y="4"/>
                  <a:pt x="61" y="4"/>
                </a:cubicBezTo>
                <a:cubicBezTo>
                  <a:pt x="61" y="4"/>
                  <a:pt x="61" y="5"/>
                  <a:pt x="61" y="5"/>
                </a:cubicBezTo>
                <a:cubicBezTo>
                  <a:pt x="61" y="5"/>
                  <a:pt x="60" y="5"/>
                  <a:pt x="60" y="5"/>
                </a:cubicBezTo>
                <a:cubicBezTo>
                  <a:pt x="5" y="188"/>
                  <a:pt x="5" y="188"/>
                  <a:pt x="5" y="188"/>
                </a:cubicBezTo>
                <a:cubicBezTo>
                  <a:pt x="0" y="203"/>
                  <a:pt x="2" y="218"/>
                  <a:pt x="10" y="229"/>
                </a:cubicBezTo>
                <a:cubicBezTo>
                  <a:pt x="15" y="235"/>
                  <a:pt x="20" y="239"/>
                  <a:pt x="27" y="242"/>
                </a:cubicBezTo>
                <a:cubicBezTo>
                  <a:pt x="27" y="502"/>
                  <a:pt x="27" y="502"/>
                  <a:pt x="27" y="502"/>
                </a:cubicBezTo>
                <a:cubicBezTo>
                  <a:pt x="27" y="506"/>
                  <a:pt x="30" y="509"/>
                  <a:pt x="34" y="509"/>
                </a:cubicBezTo>
                <a:cubicBezTo>
                  <a:pt x="582" y="509"/>
                  <a:pt x="582" y="509"/>
                  <a:pt x="582" y="509"/>
                </a:cubicBezTo>
                <a:cubicBezTo>
                  <a:pt x="586" y="509"/>
                  <a:pt x="589" y="506"/>
                  <a:pt x="589" y="502"/>
                </a:cubicBezTo>
                <a:cubicBezTo>
                  <a:pt x="589" y="242"/>
                  <a:pt x="589" y="242"/>
                  <a:pt x="589" y="242"/>
                </a:cubicBezTo>
                <a:cubicBezTo>
                  <a:pt x="596" y="239"/>
                  <a:pt x="602" y="235"/>
                  <a:pt x="606" y="229"/>
                </a:cubicBezTo>
                <a:cubicBezTo>
                  <a:pt x="614" y="218"/>
                  <a:pt x="616" y="203"/>
                  <a:pt x="612" y="188"/>
                </a:cubicBezTo>
                <a:close/>
                <a:moveTo>
                  <a:pt x="493" y="220"/>
                </a:moveTo>
                <a:cubicBezTo>
                  <a:pt x="486" y="228"/>
                  <a:pt x="476" y="232"/>
                  <a:pt x="464" y="232"/>
                </a:cubicBezTo>
                <a:cubicBezTo>
                  <a:pt x="439" y="232"/>
                  <a:pt x="417" y="213"/>
                  <a:pt x="414" y="190"/>
                </a:cubicBezTo>
                <a:cubicBezTo>
                  <a:pt x="396" y="14"/>
                  <a:pt x="396" y="14"/>
                  <a:pt x="396" y="14"/>
                </a:cubicBezTo>
                <a:cubicBezTo>
                  <a:pt x="463" y="14"/>
                  <a:pt x="463" y="14"/>
                  <a:pt x="463" y="14"/>
                </a:cubicBezTo>
                <a:cubicBezTo>
                  <a:pt x="499" y="192"/>
                  <a:pt x="499" y="192"/>
                  <a:pt x="499" y="192"/>
                </a:cubicBezTo>
                <a:cubicBezTo>
                  <a:pt x="501" y="202"/>
                  <a:pt x="499" y="212"/>
                  <a:pt x="493" y="220"/>
                </a:cubicBezTo>
                <a:close/>
                <a:moveTo>
                  <a:pt x="391" y="219"/>
                </a:moveTo>
                <a:cubicBezTo>
                  <a:pt x="383" y="228"/>
                  <a:pt x="373" y="232"/>
                  <a:pt x="360" y="232"/>
                </a:cubicBezTo>
                <a:cubicBezTo>
                  <a:pt x="336" y="232"/>
                  <a:pt x="315" y="213"/>
                  <a:pt x="315" y="190"/>
                </a:cubicBezTo>
                <a:cubicBezTo>
                  <a:pt x="315" y="14"/>
                  <a:pt x="315" y="14"/>
                  <a:pt x="315" y="14"/>
                </a:cubicBezTo>
                <a:cubicBezTo>
                  <a:pt x="382" y="14"/>
                  <a:pt x="382" y="14"/>
                  <a:pt x="382" y="14"/>
                </a:cubicBezTo>
                <a:cubicBezTo>
                  <a:pt x="400" y="191"/>
                  <a:pt x="400" y="191"/>
                  <a:pt x="400" y="191"/>
                </a:cubicBezTo>
                <a:cubicBezTo>
                  <a:pt x="401" y="201"/>
                  <a:pt x="398" y="211"/>
                  <a:pt x="391" y="219"/>
                </a:cubicBezTo>
                <a:close/>
                <a:moveTo>
                  <a:pt x="301" y="190"/>
                </a:moveTo>
                <a:cubicBezTo>
                  <a:pt x="301" y="201"/>
                  <a:pt x="297" y="212"/>
                  <a:pt x="288" y="220"/>
                </a:cubicBezTo>
                <a:cubicBezTo>
                  <a:pt x="280" y="228"/>
                  <a:pt x="269" y="232"/>
                  <a:pt x="257" y="232"/>
                </a:cubicBezTo>
                <a:cubicBezTo>
                  <a:pt x="244" y="232"/>
                  <a:pt x="233" y="228"/>
                  <a:pt x="226" y="219"/>
                </a:cubicBezTo>
                <a:cubicBezTo>
                  <a:pt x="219" y="211"/>
                  <a:pt x="216" y="201"/>
                  <a:pt x="217" y="191"/>
                </a:cubicBezTo>
                <a:cubicBezTo>
                  <a:pt x="234" y="14"/>
                  <a:pt x="234" y="14"/>
                  <a:pt x="234" y="14"/>
                </a:cubicBezTo>
                <a:cubicBezTo>
                  <a:pt x="301" y="14"/>
                  <a:pt x="301" y="14"/>
                  <a:pt x="301" y="14"/>
                </a:cubicBezTo>
                <a:lnTo>
                  <a:pt x="301" y="190"/>
                </a:lnTo>
                <a:close/>
                <a:moveTo>
                  <a:pt x="117" y="192"/>
                </a:moveTo>
                <a:cubicBezTo>
                  <a:pt x="153" y="14"/>
                  <a:pt x="153" y="14"/>
                  <a:pt x="153" y="14"/>
                </a:cubicBezTo>
                <a:cubicBezTo>
                  <a:pt x="220" y="14"/>
                  <a:pt x="220" y="14"/>
                  <a:pt x="220" y="14"/>
                </a:cubicBezTo>
                <a:cubicBezTo>
                  <a:pt x="202" y="190"/>
                  <a:pt x="202" y="190"/>
                  <a:pt x="202" y="190"/>
                </a:cubicBezTo>
                <a:cubicBezTo>
                  <a:pt x="200" y="213"/>
                  <a:pt x="177" y="232"/>
                  <a:pt x="152" y="232"/>
                </a:cubicBezTo>
                <a:cubicBezTo>
                  <a:pt x="140" y="232"/>
                  <a:pt x="130" y="228"/>
                  <a:pt x="123" y="220"/>
                </a:cubicBezTo>
                <a:cubicBezTo>
                  <a:pt x="117" y="212"/>
                  <a:pt x="115" y="202"/>
                  <a:pt x="117" y="192"/>
                </a:cubicBezTo>
                <a:close/>
                <a:moveTo>
                  <a:pt x="22" y="220"/>
                </a:moveTo>
                <a:cubicBezTo>
                  <a:pt x="16" y="213"/>
                  <a:pt x="15" y="203"/>
                  <a:pt x="18" y="192"/>
                </a:cubicBezTo>
                <a:cubicBezTo>
                  <a:pt x="72" y="14"/>
                  <a:pt x="72" y="14"/>
                  <a:pt x="72" y="14"/>
                </a:cubicBezTo>
                <a:cubicBezTo>
                  <a:pt x="139" y="14"/>
                  <a:pt x="139" y="14"/>
                  <a:pt x="139" y="14"/>
                </a:cubicBezTo>
                <a:cubicBezTo>
                  <a:pt x="103" y="189"/>
                  <a:pt x="103" y="189"/>
                  <a:pt x="103" y="189"/>
                </a:cubicBezTo>
                <a:cubicBezTo>
                  <a:pt x="99" y="212"/>
                  <a:pt x="73" y="232"/>
                  <a:pt x="48" y="232"/>
                </a:cubicBezTo>
                <a:cubicBezTo>
                  <a:pt x="37" y="232"/>
                  <a:pt x="27" y="228"/>
                  <a:pt x="22" y="220"/>
                </a:cubicBezTo>
                <a:close/>
                <a:moveTo>
                  <a:pt x="503" y="495"/>
                </a:moveTo>
                <a:cubicBezTo>
                  <a:pt x="392" y="495"/>
                  <a:pt x="392" y="495"/>
                  <a:pt x="392" y="495"/>
                </a:cubicBezTo>
                <a:cubicBezTo>
                  <a:pt x="392" y="292"/>
                  <a:pt x="392" y="292"/>
                  <a:pt x="392" y="292"/>
                </a:cubicBezTo>
                <a:cubicBezTo>
                  <a:pt x="503" y="292"/>
                  <a:pt x="503" y="292"/>
                  <a:pt x="503" y="292"/>
                </a:cubicBezTo>
                <a:lnTo>
                  <a:pt x="503" y="495"/>
                </a:lnTo>
                <a:close/>
                <a:moveTo>
                  <a:pt x="575" y="495"/>
                </a:moveTo>
                <a:cubicBezTo>
                  <a:pt x="517" y="495"/>
                  <a:pt x="517" y="495"/>
                  <a:pt x="517" y="495"/>
                </a:cubicBezTo>
                <a:cubicBezTo>
                  <a:pt x="517" y="285"/>
                  <a:pt x="517" y="285"/>
                  <a:pt x="517" y="285"/>
                </a:cubicBezTo>
                <a:cubicBezTo>
                  <a:pt x="517" y="282"/>
                  <a:pt x="514" y="278"/>
                  <a:pt x="510" y="278"/>
                </a:cubicBezTo>
                <a:cubicBezTo>
                  <a:pt x="385" y="278"/>
                  <a:pt x="385" y="278"/>
                  <a:pt x="385" y="278"/>
                </a:cubicBezTo>
                <a:cubicBezTo>
                  <a:pt x="381" y="278"/>
                  <a:pt x="378" y="282"/>
                  <a:pt x="378" y="285"/>
                </a:cubicBezTo>
                <a:cubicBezTo>
                  <a:pt x="378" y="495"/>
                  <a:pt x="378" y="495"/>
                  <a:pt x="378" y="495"/>
                </a:cubicBezTo>
                <a:cubicBezTo>
                  <a:pt x="41" y="495"/>
                  <a:pt x="41" y="495"/>
                  <a:pt x="41" y="495"/>
                </a:cubicBezTo>
                <a:cubicBezTo>
                  <a:pt x="41" y="246"/>
                  <a:pt x="41" y="246"/>
                  <a:pt x="41" y="246"/>
                </a:cubicBezTo>
                <a:cubicBezTo>
                  <a:pt x="43" y="246"/>
                  <a:pt x="46" y="246"/>
                  <a:pt x="48" y="246"/>
                </a:cubicBezTo>
                <a:cubicBezTo>
                  <a:pt x="71" y="246"/>
                  <a:pt x="92" y="234"/>
                  <a:pt x="106" y="217"/>
                </a:cubicBezTo>
                <a:cubicBezTo>
                  <a:pt x="107" y="221"/>
                  <a:pt x="110" y="225"/>
                  <a:pt x="113" y="229"/>
                </a:cubicBezTo>
                <a:cubicBezTo>
                  <a:pt x="122" y="240"/>
                  <a:pt x="136" y="246"/>
                  <a:pt x="152" y="246"/>
                </a:cubicBezTo>
                <a:cubicBezTo>
                  <a:pt x="175" y="246"/>
                  <a:pt x="196" y="234"/>
                  <a:pt x="207" y="216"/>
                </a:cubicBezTo>
                <a:cubicBezTo>
                  <a:pt x="209" y="221"/>
                  <a:pt x="212" y="225"/>
                  <a:pt x="215" y="229"/>
                </a:cubicBezTo>
                <a:cubicBezTo>
                  <a:pt x="226" y="240"/>
                  <a:pt x="241" y="246"/>
                  <a:pt x="257" y="246"/>
                </a:cubicBezTo>
                <a:cubicBezTo>
                  <a:pt x="272" y="246"/>
                  <a:pt x="287" y="240"/>
                  <a:pt x="298" y="230"/>
                </a:cubicBezTo>
                <a:cubicBezTo>
                  <a:pt x="302" y="226"/>
                  <a:pt x="306" y="221"/>
                  <a:pt x="308" y="217"/>
                </a:cubicBezTo>
                <a:cubicBezTo>
                  <a:pt x="318" y="234"/>
                  <a:pt x="338" y="246"/>
                  <a:pt x="360" y="246"/>
                </a:cubicBezTo>
                <a:cubicBezTo>
                  <a:pt x="376" y="246"/>
                  <a:pt x="391" y="240"/>
                  <a:pt x="401" y="229"/>
                </a:cubicBezTo>
                <a:cubicBezTo>
                  <a:pt x="405" y="225"/>
                  <a:pt x="407" y="221"/>
                  <a:pt x="410" y="217"/>
                </a:cubicBezTo>
                <a:cubicBezTo>
                  <a:pt x="421" y="234"/>
                  <a:pt x="442" y="246"/>
                  <a:pt x="464" y="246"/>
                </a:cubicBezTo>
                <a:cubicBezTo>
                  <a:pt x="480" y="246"/>
                  <a:pt x="495" y="240"/>
                  <a:pt x="504" y="229"/>
                </a:cubicBezTo>
                <a:cubicBezTo>
                  <a:pt x="507" y="225"/>
                  <a:pt x="509" y="221"/>
                  <a:pt x="511" y="217"/>
                </a:cubicBezTo>
                <a:cubicBezTo>
                  <a:pt x="524" y="234"/>
                  <a:pt x="546" y="246"/>
                  <a:pt x="568" y="246"/>
                </a:cubicBezTo>
                <a:cubicBezTo>
                  <a:pt x="570" y="246"/>
                  <a:pt x="573" y="246"/>
                  <a:pt x="575" y="246"/>
                </a:cubicBezTo>
                <a:lnTo>
                  <a:pt x="575" y="495"/>
                </a:lnTo>
                <a:close/>
                <a:moveTo>
                  <a:pt x="595" y="220"/>
                </a:moveTo>
                <a:cubicBezTo>
                  <a:pt x="589" y="228"/>
                  <a:pt x="579" y="232"/>
                  <a:pt x="568" y="232"/>
                </a:cubicBezTo>
                <a:cubicBezTo>
                  <a:pt x="543" y="232"/>
                  <a:pt x="518" y="212"/>
                  <a:pt x="513" y="189"/>
                </a:cubicBezTo>
                <a:cubicBezTo>
                  <a:pt x="477" y="14"/>
                  <a:pt x="477" y="14"/>
                  <a:pt x="477" y="14"/>
                </a:cubicBezTo>
                <a:cubicBezTo>
                  <a:pt x="544" y="14"/>
                  <a:pt x="544" y="14"/>
                  <a:pt x="544" y="14"/>
                </a:cubicBezTo>
                <a:cubicBezTo>
                  <a:pt x="598" y="192"/>
                  <a:pt x="598" y="192"/>
                  <a:pt x="598" y="192"/>
                </a:cubicBezTo>
                <a:cubicBezTo>
                  <a:pt x="601" y="203"/>
                  <a:pt x="600" y="213"/>
                  <a:pt x="595" y="22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3" name="Freeform 140"/>
          <p:cNvSpPr>
            <a:spLocks noEditPoints="1"/>
          </p:cNvSpPr>
          <p:nvPr/>
        </p:nvSpPr>
        <p:spPr bwMode="auto">
          <a:xfrm>
            <a:off x="2774097" y="1596866"/>
            <a:ext cx="367586" cy="369062"/>
          </a:xfrm>
          <a:custGeom>
            <a:avLst/>
            <a:gdLst>
              <a:gd name="T0" fmla="*/ 418 w 791"/>
              <a:gd name="T1" fmla="*/ 262 h 792"/>
              <a:gd name="T2" fmla="*/ 402 w 791"/>
              <a:gd name="T3" fmla="*/ 292 h 792"/>
              <a:gd name="T4" fmla="*/ 527 w 791"/>
              <a:gd name="T5" fmla="*/ 280 h 792"/>
              <a:gd name="T6" fmla="*/ 370 w 791"/>
              <a:gd name="T7" fmla="*/ 236 h 792"/>
              <a:gd name="T8" fmla="*/ 453 w 791"/>
              <a:gd name="T9" fmla="*/ 288 h 792"/>
              <a:gd name="T10" fmla="*/ 494 w 791"/>
              <a:gd name="T11" fmla="*/ 281 h 792"/>
              <a:gd name="T12" fmla="*/ 757 w 791"/>
              <a:gd name="T13" fmla="*/ 235 h 792"/>
              <a:gd name="T14" fmla="*/ 467 w 791"/>
              <a:gd name="T15" fmla="*/ 7 h 792"/>
              <a:gd name="T16" fmla="*/ 395 w 791"/>
              <a:gd name="T17" fmla="*/ 0 h 792"/>
              <a:gd name="T18" fmla="*/ 225 w 791"/>
              <a:gd name="T19" fmla="*/ 39 h 792"/>
              <a:gd name="T20" fmla="*/ 15 w 791"/>
              <a:gd name="T21" fmla="*/ 285 h 792"/>
              <a:gd name="T22" fmla="*/ 2 w 791"/>
              <a:gd name="T23" fmla="*/ 350 h 792"/>
              <a:gd name="T24" fmla="*/ 0 w 791"/>
              <a:gd name="T25" fmla="*/ 419 h 792"/>
              <a:gd name="T26" fmla="*/ 167 w 791"/>
              <a:gd name="T27" fmla="*/ 719 h 792"/>
              <a:gd name="T28" fmla="*/ 71 w 791"/>
              <a:gd name="T29" fmla="*/ 597 h 792"/>
              <a:gd name="T30" fmla="*/ 14 w 791"/>
              <a:gd name="T31" fmla="*/ 382 h 792"/>
              <a:gd name="T32" fmla="*/ 18 w 791"/>
              <a:gd name="T33" fmla="*/ 336 h 792"/>
              <a:gd name="T34" fmla="*/ 122 w 791"/>
              <a:gd name="T35" fmla="*/ 524 h 792"/>
              <a:gd name="T36" fmla="*/ 117 w 791"/>
              <a:gd name="T37" fmla="*/ 177 h 792"/>
              <a:gd name="T38" fmla="*/ 101 w 791"/>
              <a:gd name="T39" fmla="*/ 153 h 792"/>
              <a:gd name="T40" fmla="*/ 198 w 791"/>
              <a:gd name="T41" fmla="*/ 69 h 792"/>
              <a:gd name="T42" fmla="*/ 248 w 791"/>
              <a:gd name="T43" fmla="*/ 68 h 792"/>
              <a:gd name="T44" fmla="*/ 221 w 791"/>
              <a:gd name="T45" fmla="*/ 77 h 792"/>
              <a:gd name="T46" fmla="*/ 443 w 791"/>
              <a:gd name="T47" fmla="*/ 17 h 792"/>
              <a:gd name="T48" fmla="*/ 300 w 791"/>
              <a:gd name="T49" fmla="*/ 86 h 792"/>
              <a:gd name="T50" fmla="*/ 263 w 791"/>
              <a:gd name="T51" fmla="*/ 64 h 792"/>
              <a:gd name="T52" fmla="*/ 757 w 791"/>
              <a:gd name="T53" fmla="*/ 519 h 792"/>
              <a:gd name="T54" fmla="*/ 732 w 791"/>
              <a:gd name="T55" fmla="*/ 273 h 792"/>
              <a:gd name="T56" fmla="*/ 725 w 791"/>
              <a:gd name="T57" fmla="*/ 259 h 792"/>
              <a:gd name="T58" fmla="*/ 642 w 791"/>
              <a:gd name="T59" fmla="*/ 315 h 792"/>
              <a:gd name="T60" fmla="*/ 602 w 791"/>
              <a:gd name="T61" fmla="*/ 392 h 792"/>
              <a:gd name="T62" fmla="*/ 591 w 791"/>
              <a:gd name="T63" fmla="*/ 419 h 792"/>
              <a:gd name="T64" fmla="*/ 454 w 791"/>
              <a:gd name="T65" fmla="*/ 677 h 792"/>
              <a:gd name="T66" fmla="*/ 323 w 791"/>
              <a:gd name="T67" fmla="*/ 460 h 792"/>
              <a:gd name="T68" fmla="*/ 310 w 791"/>
              <a:gd name="T69" fmla="*/ 240 h 792"/>
              <a:gd name="T70" fmla="*/ 434 w 791"/>
              <a:gd name="T71" fmla="*/ 180 h 792"/>
              <a:gd name="T72" fmla="*/ 400 w 791"/>
              <a:gd name="T73" fmla="*/ 104 h 792"/>
              <a:gd name="T74" fmla="*/ 79 w 791"/>
              <a:gd name="T75" fmla="*/ 444 h 792"/>
              <a:gd name="T76" fmla="*/ 322 w 791"/>
              <a:gd name="T77" fmla="*/ 97 h 792"/>
              <a:gd name="T78" fmla="*/ 305 w 791"/>
              <a:gd name="T79" fmla="*/ 115 h 792"/>
              <a:gd name="T80" fmla="*/ 479 w 791"/>
              <a:gd name="T81" fmla="*/ 76 h 792"/>
              <a:gd name="T82" fmla="*/ 327 w 791"/>
              <a:gd name="T83" fmla="*/ 122 h 792"/>
              <a:gd name="T84" fmla="*/ 381 w 791"/>
              <a:gd name="T85" fmla="*/ 164 h 792"/>
              <a:gd name="T86" fmla="*/ 337 w 791"/>
              <a:gd name="T87" fmla="*/ 189 h 792"/>
              <a:gd name="T88" fmla="*/ 255 w 791"/>
              <a:gd name="T89" fmla="*/ 144 h 792"/>
              <a:gd name="T90" fmla="*/ 360 w 791"/>
              <a:gd name="T91" fmla="*/ 168 h 792"/>
              <a:gd name="T92" fmla="*/ 330 w 791"/>
              <a:gd name="T93" fmla="*/ 176 h 792"/>
              <a:gd name="T94" fmla="*/ 229 w 791"/>
              <a:gd name="T95" fmla="*/ 389 h 792"/>
              <a:gd name="T96" fmla="*/ 325 w 791"/>
              <a:gd name="T97" fmla="*/ 474 h 792"/>
              <a:gd name="T98" fmla="*/ 402 w 791"/>
              <a:gd name="T99" fmla="*/ 567 h 792"/>
              <a:gd name="T100" fmla="*/ 423 w 791"/>
              <a:gd name="T101" fmla="*/ 165 h 792"/>
              <a:gd name="T102" fmla="*/ 240 w 791"/>
              <a:gd name="T103" fmla="*/ 648 h 792"/>
              <a:gd name="T104" fmla="*/ 220 w 791"/>
              <a:gd name="T105" fmla="*/ 533 h 792"/>
              <a:gd name="T106" fmla="*/ 458 w 791"/>
              <a:gd name="T107" fmla="*/ 691 h 792"/>
              <a:gd name="T108" fmla="*/ 536 w 791"/>
              <a:gd name="T109" fmla="*/ 648 h 792"/>
              <a:gd name="T110" fmla="*/ 570 w 791"/>
              <a:gd name="T111" fmla="*/ 592 h 792"/>
              <a:gd name="T112" fmla="*/ 669 w 791"/>
              <a:gd name="T113" fmla="*/ 662 h 7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91" h="792">
                <a:moveTo>
                  <a:pt x="495" y="267"/>
                </a:moveTo>
                <a:cubicBezTo>
                  <a:pt x="495" y="267"/>
                  <a:pt x="495" y="267"/>
                  <a:pt x="494" y="267"/>
                </a:cubicBezTo>
                <a:cubicBezTo>
                  <a:pt x="489" y="267"/>
                  <a:pt x="472" y="265"/>
                  <a:pt x="463" y="264"/>
                </a:cubicBezTo>
                <a:cubicBezTo>
                  <a:pt x="453" y="252"/>
                  <a:pt x="430" y="223"/>
                  <a:pt x="413" y="223"/>
                </a:cubicBezTo>
                <a:cubicBezTo>
                  <a:pt x="413" y="223"/>
                  <a:pt x="412" y="223"/>
                  <a:pt x="411" y="223"/>
                </a:cubicBezTo>
                <a:cubicBezTo>
                  <a:pt x="404" y="224"/>
                  <a:pt x="402" y="228"/>
                  <a:pt x="402" y="230"/>
                </a:cubicBezTo>
                <a:cubicBezTo>
                  <a:pt x="400" y="238"/>
                  <a:pt x="407" y="244"/>
                  <a:pt x="417" y="252"/>
                </a:cubicBezTo>
                <a:cubicBezTo>
                  <a:pt x="419" y="254"/>
                  <a:pt x="422" y="256"/>
                  <a:pt x="424" y="258"/>
                </a:cubicBezTo>
                <a:cubicBezTo>
                  <a:pt x="423" y="259"/>
                  <a:pt x="420" y="261"/>
                  <a:pt x="418" y="262"/>
                </a:cubicBezTo>
                <a:cubicBezTo>
                  <a:pt x="413" y="249"/>
                  <a:pt x="392" y="233"/>
                  <a:pt x="379" y="224"/>
                </a:cubicBezTo>
                <a:cubicBezTo>
                  <a:pt x="376" y="223"/>
                  <a:pt x="373" y="222"/>
                  <a:pt x="370" y="222"/>
                </a:cubicBezTo>
                <a:cubicBezTo>
                  <a:pt x="351" y="222"/>
                  <a:pt x="330" y="258"/>
                  <a:pt x="324" y="269"/>
                </a:cubicBezTo>
                <a:cubicBezTo>
                  <a:pt x="323" y="270"/>
                  <a:pt x="323" y="272"/>
                  <a:pt x="323" y="273"/>
                </a:cubicBezTo>
                <a:cubicBezTo>
                  <a:pt x="323" y="278"/>
                  <a:pt x="327" y="290"/>
                  <a:pt x="346" y="290"/>
                </a:cubicBezTo>
                <a:cubicBezTo>
                  <a:pt x="361" y="290"/>
                  <a:pt x="381" y="283"/>
                  <a:pt x="391" y="279"/>
                </a:cubicBezTo>
                <a:cubicBezTo>
                  <a:pt x="391" y="279"/>
                  <a:pt x="391" y="279"/>
                  <a:pt x="391" y="279"/>
                </a:cubicBezTo>
                <a:cubicBezTo>
                  <a:pt x="391" y="279"/>
                  <a:pt x="392" y="279"/>
                  <a:pt x="392" y="279"/>
                </a:cubicBezTo>
                <a:cubicBezTo>
                  <a:pt x="394" y="279"/>
                  <a:pt x="399" y="287"/>
                  <a:pt x="402" y="292"/>
                </a:cubicBezTo>
                <a:cubicBezTo>
                  <a:pt x="407" y="301"/>
                  <a:pt x="412" y="310"/>
                  <a:pt x="421" y="315"/>
                </a:cubicBezTo>
                <a:cubicBezTo>
                  <a:pt x="424" y="317"/>
                  <a:pt x="428" y="318"/>
                  <a:pt x="432" y="318"/>
                </a:cubicBezTo>
                <a:cubicBezTo>
                  <a:pt x="432" y="318"/>
                  <a:pt x="432" y="318"/>
                  <a:pt x="432" y="318"/>
                </a:cubicBezTo>
                <a:cubicBezTo>
                  <a:pt x="445" y="318"/>
                  <a:pt x="455" y="308"/>
                  <a:pt x="463" y="299"/>
                </a:cubicBezTo>
                <a:cubicBezTo>
                  <a:pt x="465" y="300"/>
                  <a:pt x="468" y="301"/>
                  <a:pt x="471" y="302"/>
                </a:cubicBezTo>
                <a:cubicBezTo>
                  <a:pt x="480" y="306"/>
                  <a:pt x="492" y="310"/>
                  <a:pt x="503" y="310"/>
                </a:cubicBezTo>
                <a:cubicBezTo>
                  <a:pt x="503" y="310"/>
                  <a:pt x="503" y="310"/>
                  <a:pt x="503" y="310"/>
                </a:cubicBezTo>
                <a:cubicBezTo>
                  <a:pt x="514" y="310"/>
                  <a:pt x="521" y="305"/>
                  <a:pt x="524" y="300"/>
                </a:cubicBezTo>
                <a:cubicBezTo>
                  <a:pt x="531" y="291"/>
                  <a:pt x="529" y="284"/>
                  <a:pt x="527" y="280"/>
                </a:cubicBezTo>
                <a:cubicBezTo>
                  <a:pt x="521" y="267"/>
                  <a:pt x="498" y="266"/>
                  <a:pt x="497" y="266"/>
                </a:cubicBezTo>
                <a:cubicBezTo>
                  <a:pt x="496" y="266"/>
                  <a:pt x="495" y="267"/>
                  <a:pt x="495" y="267"/>
                </a:cubicBezTo>
                <a:close/>
                <a:moveTo>
                  <a:pt x="403" y="269"/>
                </a:moveTo>
                <a:cubicBezTo>
                  <a:pt x="400" y="267"/>
                  <a:pt x="396" y="265"/>
                  <a:pt x="392" y="265"/>
                </a:cubicBezTo>
                <a:cubicBezTo>
                  <a:pt x="390" y="265"/>
                  <a:pt x="388" y="265"/>
                  <a:pt x="387" y="266"/>
                </a:cubicBezTo>
                <a:cubicBezTo>
                  <a:pt x="386" y="266"/>
                  <a:pt x="386" y="266"/>
                  <a:pt x="386" y="266"/>
                </a:cubicBezTo>
                <a:cubicBezTo>
                  <a:pt x="377" y="269"/>
                  <a:pt x="358" y="276"/>
                  <a:pt x="346" y="276"/>
                </a:cubicBezTo>
                <a:cubicBezTo>
                  <a:pt x="340" y="276"/>
                  <a:pt x="338" y="274"/>
                  <a:pt x="337" y="273"/>
                </a:cubicBezTo>
                <a:cubicBezTo>
                  <a:pt x="348" y="255"/>
                  <a:pt x="363" y="236"/>
                  <a:pt x="370" y="236"/>
                </a:cubicBezTo>
                <a:cubicBezTo>
                  <a:pt x="370" y="236"/>
                  <a:pt x="371" y="236"/>
                  <a:pt x="371" y="236"/>
                </a:cubicBezTo>
                <a:cubicBezTo>
                  <a:pt x="391" y="250"/>
                  <a:pt x="403" y="262"/>
                  <a:pt x="405" y="267"/>
                </a:cubicBezTo>
                <a:cubicBezTo>
                  <a:pt x="404" y="268"/>
                  <a:pt x="404" y="268"/>
                  <a:pt x="403" y="269"/>
                </a:cubicBezTo>
                <a:close/>
                <a:moveTo>
                  <a:pt x="515" y="286"/>
                </a:moveTo>
                <a:cubicBezTo>
                  <a:pt x="515" y="287"/>
                  <a:pt x="515" y="289"/>
                  <a:pt x="513" y="292"/>
                </a:cubicBezTo>
                <a:cubicBezTo>
                  <a:pt x="511" y="294"/>
                  <a:pt x="509" y="296"/>
                  <a:pt x="503" y="296"/>
                </a:cubicBezTo>
                <a:cubicBezTo>
                  <a:pt x="494" y="296"/>
                  <a:pt x="484" y="292"/>
                  <a:pt x="476" y="289"/>
                </a:cubicBezTo>
                <a:cubicBezTo>
                  <a:pt x="469" y="286"/>
                  <a:pt x="465" y="285"/>
                  <a:pt x="461" y="285"/>
                </a:cubicBezTo>
                <a:cubicBezTo>
                  <a:pt x="456" y="285"/>
                  <a:pt x="454" y="287"/>
                  <a:pt x="453" y="288"/>
                </a:cubicBezTo>
                <a:cubicBezTo>
                  <a:pt x="446" y="298"/>
                  <a:pt x="438" y="304"/>
                  <a:pt x="432" y="304"/>
                </a:cubicBezTo>
                <a:cubicBezTo>
                  <a:pt x="431" y="304"/>
                  <a:pt x="429" y="304"/>
                  <a:pt x="428" y="303"/>
                </a:cubicBezTo>
                <a:cubicBezTo>
                  <a:pt x="422" y="300"/>
                  <a:pt x="418" y="292"/>
                  <a:pt x="414" y="285"/>
                </a:cubicBezTo>
                <a:cubicBezTo>
                  <a:pt x="413" y="284"/>
                  <a:pt x="412" y="282"/>
                  <a:pt x="411" y="281"/>
                </a:cubicBezTo>
                <a:cubicBezTo>
                  <a:pt x="418" y="279"/>
                  <a:pt x="432" y="271"/>
                  <a:pt x="436" y="266"/>
                </a:cubicBezTo>
                <a:cubicBezTo>
                  <a:pt x="438" y="263"/>
                  <a:pt x="440" y="261"/>
                  <a:pt x="439" y="258"/>
                </a:cubicBezTo>
                <a:cubicBezTo>
                  <a:pt x="444" y="263"/>
                  <a:pt x="449" y="269"/>
                  <a:pt x="453" y="275"/>
                </a:cubicBezTo>
                <a:cubicBezTo>
                  <a:pt x="454" y="276"/>
                  <a:pt x="456" y="277"/>
                  <a:pt x="458" y="278"/>
                </a:cubicBezTo>
                <a:cubicBezTo>
                  <a:pt x="459" y="278"/>
                  <a:pt x="487" y="281"/>
                  <a:pt x="494" y="281"/>
                </a:cubicBezTo>
                <a:cubicBezTo>
                  <a:pt x="496" y="281"/>
                  <a:pt x="496" y="281"/>
                  <a:pt x="497" y="280"/>
                </a:cubicBezTo>
                <a:cubicBezTo>
                  <a:pt x="497" y="280"/>
                  <a:pt x="497" y="280"/>
                  <a:pt x="497" y="280"/>
                </a:cubicBezTo>
                <a:cubicBezTo>
                  <a:pt x="504" y="280"/>
                  <a:pt x="513" y="283"/>
                  <a:pt x="515" y="286"/>
                </a:cubicBezTo>
                <a:close/>
                <a:moveTo>
                  <a:pt x="691" y="658"/>
                </a:moveTo>
                <a:cubicBezTo>
                  <a:pt x="724" y="621"/>
                  <a:pt x="751" y="577"/>
                  <a:pt x="768" y="529"/>
                </a:cubicBezTo>
                <a:cubicBezTo>
                  <a:pt x="768" y="528"/>
                  <a:pt x="769" y="527"/>
                  <a:pt x="769" y="527"/>
                </a:cubicBezTo>
                <a:cubicBezTo>
                  <a:pt x="783" y="486"/>
                  <a:pt x="791" y="442"/>
                  <a:pt x="791" y="396"/>
                </a:cubicBezTo>
                <a:cubicBezTo>
                  <a:pt x="791" y="339"/>
                  <a:pt x="779" y="285"/>
                  <a:pt x="757" y="236"/>
                </a:cubicBezTo>
                <a:cubicBezTo>
                  <a:pt x="757" y="236"/>
                  <a:pt x="757" y="235"/>
                  <a:pt x="757" y="235"/>
                </a:cubicBezTo>
                <a:cubicBezTo>
                  <a:pt x="709" y="128"/>
                  <a:pt x="616" y="48"/>
                  <a:pt x="505" y="16"/>
                </a:cubicBezTo>
                <a:cubicBezTo>
                  <a:pt x="504" y="16"/>
                  <a:pt x="504" y="15"/>
                  <a:pt x="503" y="15"/>
                </a:cubicBezTo>
                <a:cubicBezTo>
                  <a:pt x="501" y="15"/>
                  <a:pt x="498" y="14"/>
                  <a:pt x="496" y="13"/>
                </a:cubicBezTo>
                <a:cubicBezTo>
                  <a:pt x="495" y="13"/>
                  <a:pt x="494" y="13"/>
                  <a:pt x="493" y="12"/>
                </a:cubicBezTo>
                <a:cubicBezTo>
                  <a:pt x="490" y="12"/>
                  <a:pt x="488" y="11"/>
                  <a:pt x="486" y="11"/>
                </a:cubicBezTo>
                <a:cubicBezTo>
                  <a:pt x="484" y="10"/>
                  <a:pt x="483" y="10"/>
                  <a:pt x="482" y="10"/>
                </a:cubicBezTo>
                <a:cubicBezTo>
                  <a:pt x="480" y="10"/>
                  <a:pt x="479" y="9"/>
                  <a:pt x="477" y="9"/>
                </a:cubicBezTo>
                <a:cubicBezTo>
                  <a:pt x="477" y="9"/>
                  <a:pt x="477" y="9"/>
                  <a:pt x="477" y="9"/>
                </a:cubicBezTo>
                <a:cubicBezTo>
                  <a:pt x="474" y="8"/>
                  <a:pt x="471" y="8"/>
                  <a:pt x="467" y="7"/>
                </a:cubicBezTo>
                <a:cubicBezTo>
                  <a:pt x="467" y="7"/>
                  <a:pt x="467" y="7"/>
                  <a:pt x="467" y="7"/>
                </a:cubicBezTo>
                <a:cubicBezTo>
                  <a:pt x="467" y="7"/>
                  <a:pt x="466" y="7"/>
                  <a:pt x="466" y="7"/>
                </a:cubicBezTo>
                <a:cubicBezTo>
                  <a:pt x="461" y="6"/>
                  <a:pt x="456" y="5"/>
                  <a:pt x="451" y="4"/>
                </a:cubicBezTo>
                <a:cubicBezTo>
                  <a:pt x="450" y="4"/>
                  <a:pt x="449" y="4"/>
                  <a:pt x="448" y="4"/>
                </a:cubicBezTo>
                <a:cubicBezTo>
                  <a:pt x="443" y="3"/>
                  <a:pt x="438" y="3"/>
                  <a:pt x="432" y="2"/>
                </a:cubicBezTo>
                <a:cubicBezTo>
                  <a:pt x="432" y="2"/>
                  <a:pt x="431" y="2"/>
                  <a:pt x="430" y="2"/>
                </a:cubicBezTo>
                <a:cubicBezTo>
                  <a:pt x="425" y="1"/>
                  <a:pt x="419" y="1"/>
                  <a:pt x="414" y="1"/>
                </a:cubicBezTo>
                <a:cubicBezTo>
                  <a:pt x="413" y="1"/>
                  <a:pt x="413" y="1"/>
                  <a:pt x="412" y="1"/>
                </a:cubicBezTo>
                <a:cubicBezTo>
                  <a:pt x="407" y="0"/>
                  <a:pt x="401" y="0"/>
                  <a:pt x="395" y="0"/>
                </a:cubicBezTo>
                <a:cubicBezTo>
                  <a:pt x="392" y="0"/>
                  <a:pt x="388" y="0"/>
                  <a:pt x="385" y="0"/>
                </a:cubicBezTo>
                <a:cubicBezTo>
                  <a:pt x="383" y="1"/>
                  <a:pt x="381" y="1"/>
                  <a:pt x="379" y="1"/>
                </a:cubicBezTo>
                <a:cubicBezTo>
                  <a:pt x="378" y="1"/>
                  <a:pt x="376" y="1"/>
                  <a:pt x="374" y="1"/>
                </a:cubicBezTo>
                <a:cubicBezTo>
                  <a:pt x="372" y="1"/>
                  <a:pt x="369" y="1"/>
                  <a:pt x="367" y="1"/>
                </a:cubicBezTo>
                <a:cubicBezTo>
                  <a:pt x="366" y="1"/>
                  <a:pt x="365" y="1"/>
                  <a:pt x="364" y="2"/>
                </a:cubicBezTo>
                <a:cubicBezTo>
                  <a:pt x="361" y="2"/>
                  <a:pt x="358" y="2"/>
                  <a:pt x="355" y="2"/>
                </a:cubicBezTo>
                <a:cubicBezTo>
                  <a:pt x="355" y="2"/>
                  <a:pt x="355" y="2"/>
                  <a:pt x="355" y="2"/>
                </a:cubicBezTo>
                <a:cubicBezTo>
                  <a:pt x="310" y="7"/>
                  <a:pt x="267" y="19"/>
                  <a:pt x="226" y="38"/>
                </a:cubicBezTo>
                <a:cubicBezTo>
                  <a:pt x="226" y="38"/>
                  <a:pt x="226" y="39"/>
                  <a:pt x="225" y="39"/>
                </a:cubicBezTo>
                <a:cubicBezTo>
                  <a:pt x="215" y="44"/>
                  <a:pt x="205" y="49"/>
                  <a:pt x="195" y="55"/>
                </a:cubicBezTo>
                <a:cubicBezTo>
                  <a:pt x="195" y="55"/>
                  <a:pt x="195" y="55"/>
                  <a:pt x="194" y="55"/>
                </a:cubicBezTo>
                <a:cubicBezTo>
                  <a:pt x="140" y="87"/>
                  <a:pt x="93" y="133"/>
                  <a:pt x="59" y="187"/>
                </a:cubicBezTo>
                <a:cubicBezTo>
                  <a:pt x="59" y="187"/>
                  <a:pt x="59" y="187"/>
                  <a:pt x="59" y="188"/>
                </a:cubicBezTo>
                <a:cubicBezTo>
                  <a:pt x="44" y="211"/>
                  <a:pt x="32" y="237"/>
                  <a:pt x="23" y="263"/>
                </a:cubicBezTo>
                <a:cubicBezTo>
                  <a:pt x="22" y="264"/>
                  <a:pt x="22" y="264"/>
                  <a:pt x="22" y="265"/>
                </a:cubicBezTo>
                <a:cubicBezTo>
                  <a:pt x="20" y="270"/>
                  <a:pt x="19" y="275"/>
                  <a:pt x="17" y="280"/>
                </a:cubicBezTo>
                <a:cubicBezTo>
                  <a:pt x="17" y="280"/>
                  <a:pt x="17" y="280"/>
                  <a:pt x="17" y="280"/>
                </a:cubicBezTo>
                <a:cubicBezTo>
                  <a:pt x="16" y="282"/>
                  <a:pt x="16" y="284"/>
                  <a:pt x="15" y="285"/>
                </a:cubicBezTo>
                <a:cubicBezTo>
                  <a:pt x="15" y="287"/>
                  <a:pt x="15" y="288"/>
                  <a:pt x="14" y="290"/>
                </a:cubicBezTo>
                <a:cubicBezTo>
                  <a:pt x="13" y="292"/>
                  <a:pt x="13" y="294"/>
                  <a:pt x="12" y="297"/>
                </a:cubicBezTo>
                <a:cubicBezTo>
                  <a:pt x="11" y="300"/>
                  <a:pt x="11" y="303"/>
                  <a:pt x="10" y="307"/>
                </a:cubicBezTo>
                <a:cubicBezTo>
                  <a:pt x="9" y="309"/>
                  <a:pt x="9" y="310"/>
                  <a:pt x="9" y="312"/>
                </a:cubicBezTo>
                <a:cubicBezTo>
                  <a:pt x="8" y="315"/>
                  <a:pt x="8" y="317"/>
                  <a:pt x="7" y="320"/>
                </a:cubicBezTo>
                <a:cubicBezTo>
                  <a:pt x="7" y="321"/>
                  <a:pt x="6" y="323"/>
                  <a:pt x="6" y="325"/>
                </a:cubicBezTo>
                <a:cubicBezTo>
                  <a:pt x="5" y="328"/>
                  <a:pt x="5" y="332"/>
                  <a:pt x="4" y="336"/>
                </a:cubicBezTo>
                <a:cubicBezTo>
                  <a:pt x="4" y="337"/>
                  <a:pt x="4" y="338"/>
                  <a:pt x="4" y="340"/>
                </a:cubicBezTo>
                <a:cubicBezTo>
                  <a:pt x="3" y="343"/>
                  <a:pt x="3" y="346"/>
                  <a:pt x="2" y="350"/>
                </a:cubicBezTo>
                <a:cubicBezTo>
                  <a:pt x="2" y="351"/>
                  <a:pt x="2" y="352"/>
                  <a:pt x="2" y="353"/>
                </a:cubicBezTo>
                <a:cubicBezTo>
                  <a:pt x="1" y="358"/>
                  <a:pt x="1" y="362"/>
                  <a:pt x="1" y="366"/>
                </a:cubicBezTo>
                <a:cubicBezTo>
                  <a:pt x="1" y="367"/>
                  <a:pt x="1" y="367"/>
                  <a:pt x="1" y="368"/>
                </a:cubicBezTo>
                <a:cubicBezTo>
                  <a:pt x="0" y="372"/>
                  <a:pt x="0" y="375"/>
                  <a:pt x="0" y="379"/>
                </a:cubicBezTo>
                <a:cubicBezTo>
                  <a:pt x="0" y="380"/>
                  <a:pt x="0" y="382"/>
                  <a:pt x="0" y="383"/>
                </a:cubicBezTo>
                <a:cubicBezTo>
                  <a:pt x="0" y="387"/>
                  <a:pt x="0" y="392"/>
                  <a:pt x="0" y="396"/>
                </a:cubicBezTo>
                <a:cubicBezTo>
                  <a:pt x="0" y="400"/>
                  <a:pt x="0" y="404"/>
                  <a:pt x="0" y="407"/>
                </a:cubicBezTo>
                <a:cubicBezTo>
                  <a:pt x="0" y="408"/>
                  <a:pt x="0" y="409"/>
                  <a:pt x="0" y="410"/>
                </a:cubicBezTo>
                <a:cubicBezTo>
                  <a:pt x="0" y="413"/>
                  <a:pt x="0" y="416"/>
                  <a:pt x="0" y="419"/>
                </a:cubicBezTo>
                <a:cubicBezTo>
                  <a:pt x="0" y="420"/>
                  <a:pt x="0" y="420"/>
                  <a:pt x="0" y="421"/>
                </a:cubicBezTo>
                <a:cubicBezTo>
                  <a:pt x="1" y="425"/>
                  <a:pt x="1" y="428"/>
                  <a:pt x="1" y="431"/>
                </a:cubicBezTo>
                <a:cubicBezTo>
                  <a:pt x="1" y="432"/>
                  <a:pt x="1" y="432"/>
                  <a:pt x="1" y="432"/>
                </a:cubicBezTo>
                <a:cubicBezTo>
                  <a:pt x="7" y="492"/>
                  <a:pt x="26" y="548"/>
                  <a:pt x="55" y="598"/>
                </a:cubicBezTo>
                <a:cubicBezTo>
                  <a:pt x="55" y="598"/>
                  <a:pt x="55" y="598"/>
                  <a:pt x="55" y="598"/>
                </a:cubicBezTo>
                <a:cubicBezTo>
                  <a:pt x="57" y="601"/>
                  <a:pt x="59" y="604"/>
                  <a:pt x="60" y="606"/>
                </a:cubicBezTo>
                <a:cubicBezTo>
                  <a:pt x="61" y="607"/>
                  <a:pt x="61" y="608"/>
                  <a:pt x="62" y="609"/>
                </a:cubicBezTo>
                <a:cubicBezTo>
                  <a:pt x="63" y="610"/>
                  <a:pt x="64" y="611"/>
                  <a:pt x="64" y="613"/>
                </a:cubicBezTo>
                <a:cubicBezTo>
                  <a:pt x="91" y="654"/>
                  <a:pt x="126" y="690"/>
                  <a:pt x="167" y="719"/>
                </a:cubicBezTo>
                <a:cubicBezTo>
                  <a:pt x="167" y="719"/>
                  <a:pt x="167" y="719"/>
                  <a:pt x="168" y="719"/>
                </a:cubicBezTo>
                <a:cubicBezTo>
                  <a:pt x="232" y="765"/>
                  <a:pt x="311" y="792"/>
                  <a:pt x="395" y="792"/>
                </a:cubicBezTo>
                <a:cubicBezTo>
                  <a:pt x="512" y="792"/>
                  <a:pt x="616" y="741"/>
                  <a:pt x="689" y="661"/>
                </a:cubicBezTo>
                <a:cubicBezTo>
                  <a:pt x="690" y="660"/>
                  <a:pt x="691" y="659"/>
                  <a:pt x="691" y="658"/>
                </a:cubicBezTo>
                <a:close/>
                <a:moveTo>
                  <a:pt x="79" y="610"/>
                </a:moveTo>
                <a:cubicBezTo>
                  <a:pt x="79" y="610"/>
                  <a:pt x="79" y="609"/>
                  <a:pt x="79" y="609"/>
                </a:cubicBezTo>
                <a:cubicBezTo>
                  <a:pt x="77" y="607"/>
                  <a:pt x="76" y="605"/>
                  <a:pt x="75" y="604"/>
                </a:cubicBezTo>
                <a:cubicBezTo>
                  <a:pt x="74" y="602"/>
                  <a:pt x="73" y="601"/>
                  <a:pt x="73" y="600"/>
                </a:cubicBezTo>
                <a:cubicBezTo>
                  <a:pt x="72" y="599"/>
                  <a:pt x="71" y="598"/>
                  <a:pt x="71" y="597"/>
                </a:cubicBezTo>
                <a:cubicBezTo>
                  <a:pt x="69" y="594"/>
                  <a:pt x="68" y="592"/>
                  <a:pt x="67" y="590"/>
                </a:cubicBezTo>
                <a:cubicBezTo>
                  <a:pt x="67" y="590"/>
                  <a:pt x="66" y="589"/>
                  <a:pt x="66" y="589"/>
                </a:cubicBezTo>
                <a:cubicBezTo>
                  <a:pt x="36" y="537"/>
                  <a:pt x="18" y="478"/>
                  <a:pt x="14" y="417"/>
                </a:cubicBezTo>
                <a:cubicBezTo>
                  <a:pt x="14" y="417"/>
                  <a:pt x="14" y="417"/>
                  <a:pt x="14" y="417"/>
                </a:cubicBezTo>
                <a:cubicBezTo>
                  <a:pt x="14" y="414"/>
                  <a:pt x="14" y="411"/>
                  <a:pt x="14" y="407"/>
                </a:cubicBezTo>
                <a:cubicBezTo>
                  <a:pt x="14" y="407"/>
                  <a:pt x="14" y="407"/>
                  <a:pt x="14" y="406"/>
                </a:cubicBezTo>
                <a:cubicBezTo>
                  <a:pt x="14" y="403"/>
                  <a:pt x="14" y="399"/>
                  <a:pt x="14" y="396"/>
                </a:cubicBezTo>
                <a:cubicBezTo>
                  <a:pt x="14" y="393"/>
                  <a:pt x="14" y="389"/>
                  <a:pt x="14" y="386"/>
                </a:cubicBezTo>
                <a:cubicBezTo>
                  <a:pt x="14" y="385"/>
                  <a:pt x="14" y="384"/>
                  <a:pt x="14" y="382"/>
                </a:cubicBezTo>
                <a:cubicBezTo>
                  <a:pt x="14" y="380"/>
                  <a:pt x="14" y="378"/>
                  <a:pt x="14" y="376"/>
                </a:cubicBezTo>
                <a:cubicBezTo>
                  <a:pt x="14" y="374"/>
                  <a:pt x="14" y="373"/>
                  <a:pt x="14" y="371"/>
                </a:cubicBezTo>
                <a:cubicBezTo>
                  <a:pt x="15" y="370"/>
                  <a:pt x="15" y="368"/>
                  <a:pt x="15" y="366"/>
                </a:cubicBezTo>
                <a:cubicBezTo>
                  <a:pt x="15" y="364"/>
                  <a:pt x="15" y="362"/>
                  <a:pt x="15" y="361"/>
                </a:cubicBezTo>
                <a:cubicBezTo>
                  <a:pt x="15" y="359"/>
                  <a:pt x="16" y="357"/>
                  <a:pt x="16" y="356"/>
                </a:cubicBezTo>
                <a:cubicBezTo>
                  <a:pt x="16" y="354"/>
                  <a:pt x="16" y="352"/>
                  <a:pt x="16" y="351"/>
                </a:cubicBezTo>
                <a:cubicBezTo>
                  <a:pt x="17" y="349"/>
                  <a:pt x="17" y="347"/>
                  <a:pt x="17" y="346"/>
                </a:cubicBezTo>
                <a:cubicBezTo>
                  <a:pt x="17" y="344"/>
                  <a:pt x="17" y="342"/>
                  <a:pt x="18" y="340"/>
                </a:cubicBezTo>
                <a:cubicBezTo>
                  <a:pt x="18" y="339"/>
                  <a:pt x="18" y="338"/>
                  <a:pt x="18" y="336"/>
                </a:cubicBezTo>
                <a:cubicBezTo>
                  <a:pt x="19" y="334"/>
                  <a:pt x="19" y="332"/>
                  <a:pt x="19" y="330"/>
                </a:cubicBezTo>
                <a:cubicBezTo>
                  <a:pt x="19" y="329"/>
                  <a:pt x="20" y="328"/>
                  <a:pt x="20" y="327"/>
                </a:cubicBezTo>
                <a:cubicBezTo>
                  <a:pt x="20" y="325"/>
                  <a:pt x="21" y="322"/>
                  <a:pt x="21" y="320"/>
                </a:cubicBezTo>
                <a:cubicBezTo>
                  <a:pt x="21" y="319"/>
                  <a:pt x="22" y="319"/>
                  <a:pt x="22" y="318"/>
                </a:cubicBezTo>
                <a:cubicBezTo>
                  <a:pt x="22" y="316"/>
                  <a:pt x="22" y="315"/>
                  <a:pt x="23" y="313"/>
                </a:cubicBezTo>
                <a:cubicBezTo>
                  <a:pt x="34" y="366"/>
                  <a:pt x="49" y="425"/>
                  <a:pt x="67" y="452"/>
                </a:cubicBezTo>
                <a:cubicBezTo>
                  <a:pt x="85" y="479"/>
                  <a:pt x="102" y="487"/>
                  <a:pt x="113" y="492"/>
                </a:cubicBezTo>
                <a:cubicBezTo>
                  <a:pt x="123" y="497"/>
                  <a:pt x="125" y="498"/>
                  <a:pt x="124" y="509"/>
                </a:cubicBezTo>
                <a:cubicBezTo>
                  <a:pt x="124" y="513"/>
                  <a:pt x="123" y="518"/>
                  <a:pt x="122" y="524"/>
                </a:cubicBezTo>
                <a:cubicBezTo>
                  <a:pt x="122" y="524"/>
                  <a:pt x="122" y="524"/>
                  <a:pt x="122" y="524"/>
                </a:cubicBezTo>
                <a:cubicBezTo>
                  <a:pt x="121" y="525"/>
                  <a:pt x="121" y="527"/>
                  <a:pt x="121" y="528"/>
                </a:cubicBezTo>
                <a:cubicBezTo>
                  <a:pt x="115" y="555"/>
                  <a:pt x="107" y="595"/>
                  <a:pt x="129" y="652"/>
                </a:cubicBezTo>
                <a:cubicBezTo>
                  <a:pt x="129" y="653"/>
                  <a:pt x="129" y="654"/>
                  <a:pt x="129" y="655"/>
                </a:cubicBezTo>
                <a:cubicBezTo>
                  <a:pt x="129" y="658"/>
                  <a:pt x="131" y="661"/>
                  <a:pt x="133" y="662"/>
                </a:cubicBezTo>
                <a:cubicBezTo>
                  <a:pt x="136" y="668"/>
                  <a:pt x="139" y="675"/>
                  <a:pt x="143" y="682"/>
                </a:cubicBezTo>
                <a:cubicBezTo>
                  <a:pt x="119" y="661"/>
                  <a:pt x="98" y="637"/>
                  <a:pt x="79" y="610"/>
                </a:cubicBezTo>
                <a:close/>
                <a:moveTo>
                  <a:pt x="70" y="196"/>
                </a:moveTo>
                <a:cubicBezTo>
                  <a:pt x="90" y="190"/>
                  <a:pt x="105" y="184"/>
                  <a:pt x="117" y="177"/>
                </a:cubicBezTo>
                <a:cubicBezTo>
                  <a:pt x="124" y="172"/>
                  <a:pt x="133" y="168"/>
                  <a:pt x="142" y="164"/>
                </a:cubicBezTo>
                <a:cubicBezTo>
                  <a:pt x="155" y="158"/>
                  <a:pt x="168" y="152"/>
                  <a:pt x="180" y="144"/>
                </a:cubicBezTo>
                <a:cubicBezTo>
                  <a:pt x="181" y="144"/>
                  <a:pt x="181" y="144"/>
                  <a:pt x="182" y="144"/>
                </a:cubicBezTo>
                <a:cubicBezTo>
                  <a:pt x="240" y="144"/>
                  <a:pt x="240" y="144"/>
                  <a:pt x="240" y="144"/>
                </a:cubicBezTo>
                <a:cubicBezTo>
                  <a:pt x="225" y="178"/>
                  <a:pt x="214" y="218"/>
                  <a:pt x="206" y="259"/>
                </a:cubicBezTo>
                <a:cubicBezTo>
                  <a:pt x="39" y="259"/>
                  <a:pt x="39" y="259"/>
                  <a:pt x="39" y="259"/>
                </a:cubicBezTo>
                <a:cubicBezTo>
                  <a:pt x="47" y="237"/>
                  <a:pt x="58" y="216"/>
                  <a:pt x="70" y="196"/>
                </a:cubicBezTo>
                <a:close/>
                <a:moveTo>
                  <a:pt x="101" y="154"/>
                </a:moveTo>
                <a:cubicBezTo>
                  <a:pt x="101" y="154"/>
                  <a:pt x="101" y="153"/>
                  <a:pt x="101" y="153"/>
                </a:cubicBezTo>
                <a:cubicBezTo>
                  <a:pt x="105" y="149"/>
                  <a:pt x="109" y="144"/>
                  <a:pt x="112" y="140"/>
                </a:cubicBezTo>
                <a:cubicBezTo>
                  <a:pt x="113" y="140"/>
                  <a:pt x="113" y="139"/>
                  <a:pt x="114" y="139"/>
                </a:cubicBezTo>
                <a:cubicBezTo>
                  <a:pt x="117" y="135"/>
                  <a:pt x="121" y="130"/>
                  <a:pt x="125" y="126"/>
                </a:cubicBezTo>
                <a:cubicBezTo>
                  <a:pt x="126" y="126"/>
                  <a:pt x="126" y="126"/>
                  <a:pt x="126" y="126"/>
                </a:cubicBezTo>
                <a:cubicBezTo>
                  <a:pt x="141" y="111"/>
                  <a:pt x="157" y="97"/>
                  <a:pt x="174" y="85"/>
                </a:cubicBezTo>
                <a:cubicBezTo>
                  <a:pt x="174" y="85"/>
                  <a:pt x="174" y="85"/>
                  <a:pt x="175" y="85"/>
                </a:cubicBezTo>
                <a:cubicBezTo>
                  <a:pt x="179" y="81"/>
                  <a:pt x="184" y="78"/>
                  <a:pt x="189" y="75"/>
                </a:cubicBezTo>
                <a:cubicBezTo>
                  <a:pt x="189" y="75"/>
                  <a:pt x="190" y="74"/>
                  <a:pt x="190" y="74"/>
                </a:cubicBezTo>
                <a:cubicBezTo>
                  <a:pt x="193" y="72"/>
                  <a:pt x="196" y="71"/>
                  <a:pt x="198" y="69"/>
                </a:cubicBezTo>
                <a:cubicBezTo>
                  <a:pt x="203" y="73"/>
                  <a:pt x="206" y="77"/>
                  <a:pt x="208" y="81"/>
                </a:cubicBezTo>
                <a:cubicBezTo>
                  <a:pt x="209" y="87"/>
                  <a:pt x="207" y="94"/>
                  <a:pt x="201" y="103"/>
                </a:cubicBezTo>
                <a:cubicBezTo>
                  <a:pt x="183" y="130"/>
                  <a:pt x="159" y="141"/>
                  <a:pt x="137" y="151"/>
                </a:cubicBezTo>
                <a:cubicBezTo>
                  <a:pt x="127" y="155"/>
                  <a:pt x="118" y="160"/>
                  <a:pt x="109" y="165"/>
                </a:cubicBezTo>
                <a:cubicBezTo>
                  <a:pt x="103" y="169"/>
                  <a:pt x="93" y="173"/>
                  <a:pt x="83" y="177"/>
                </a:cubicBezTo>
                <a:cubicBezTo>
                  <a:pt x="88" y="169"/>
                  <a:pt x="94" y="161"/>
                  <a:pt x="101" y="154"/>
                </a:cubicBezTo>
                <a:close/>
                <a:moveTo>
                  <a:pt x="229" y="52"/>
                </a:moveTo>
                <a:cubicBezTo>
                  <a:pt x="244" y="59"/>
                  <a:pt x="249" y="64"/>
                  <a:pt x="249" y="66"/>
                </a:cubicBezTo>
                <a:cubicBezTo>
                  <a:pt x="249" y="66"/>
                  <a:pt x="249" y="67"/>
                  <a:pt x="248" y="68"/>
                </a:cubicBezTo>
                <a:cubicBezTo>
                  <a:pt x="236" y="77"/>
                  <a:pt x="215" y="101"/>
                  <a:pt x="220" y="116"/>
                </a:cubicBezTo>
                <a:cubicBezTo>
                  <a:pt x="221" y="119"/>
                  <a:pt x="224" y="125"/>
                  <a:pt x="234" y="125"/>
                </a:cubicBezTo>
                <a:cubicBezTo>
                  <a:pt x="234" y="125"/>
                  <a:pt x="234" y="125"/>
                  <a:pt x="234" y="125"/>
                </a:cubicBezTo>
                <a:cubicBezTo>
                  <a:pt x="235" y="125"/>
                  <a:pt x="235" y="125"/>
                  <a:pt x="236" y="125"/>
                </a:cubicBezTo>
                <a:cubicBezTo>
                  <a:pt x="241" y="125"/>
                  <a:pt x="245" y="124"/>
                  <a:pt x="250" y="122"/>
                </a:cubicBezTo>
                <a:cubicBezTo>
                  <a:pt x="248" y="125"/>
                  <a:pt x="247" y="127"/>
                  <a:pt x="246" y="130"/>
                </a:cubicBezTo>
                <a:cubicBezTo>
                  <a:pt x="197" y="130"/>
                  <a:pt x="197" y="130"/>
                  <a:pt x="197" y="130"/>
                </a:cubicBezTo>
                <a:cubicBezTo>
                  <a:pt x="202" y="124"/>
                  <a:pt x="208" y="118"/>
                  <a:pt x="213" y="111"/>
                </a:cubicBezTo>
                <a:cubicBezTo>
                  <a:pt x="221" y="99"/>
                  <a:pt x="224" y="87"/>
                  <a:pt x="221" y="77"/>
                </a:cubicBezTo>
                <a:cubicBezTo>
                  <a:pt x="220" y="72"/>
                  <a:pt x="216" y="66"/>
                  <a:pt x="211" y="62"/>
                </a:cubicBezTo>
                <a:cubicBezTo>
                  <a:pt x="217" y="58"/>
                  <a:pt x="223" y="55"/>
                  <a:pt x="229" y="52"/>
                </a:cubicBezTo>
                <a:close/>
                <a:moveTo>
                  <a:pt x="395" y="14"/>
                </a:moveTo>
                <a:cubicBezTo>
                  <a:pt x="400" y="14"/>
                  <a:pt x="405" y="14"/>
                  <a:pt x="410" y="15"/>
                </a:cubicBezTo>
                <a:cubicBezTo>
                  <a:pt x="411" y="15"/>
                  <a:pt x="412" y="15"/>
                  <a:pt x="412" y="15"/>
                </a:cubicBezTo>
                <a:cubicBezTo>
                  <a:pt x="417" y="15"/>
                  <a:pt x="422" y="15"/>
                  <a:pt x="427" y="16"/>
                </a:cubicBezTo>
                <a:cubicBezTo>
                  <a:pt x="427" y="16"/>
                  <a:pt x="428" y="16"/>
                  <a:pt x="429" y="16"/>
                </a:cubicBezTo>
                <a:cubicBezTo>
                  <a:pt x="433" y="16"/>
                  <a:pt x="438" y="17"/>
                  <a:pt x="443" y="17"/>
                </a:cubicBezTo>
                <a:cubicBezTo>
                  <a:pt x="443" y="17"/>
                  <a:pt x="443" y="17"/>
                  <a:pt x="443" y="17"/>
                </a:cubicBezTo>
                <a:cubicBezTo>
                  <a:pt x="448" y="18"/>
                  <a:pt x="453" y="19"/>
                  <a:pt x="457" y="19"/>
                </a:cubicBezTo>
                <a:cubicBezTo>
                  <a:pt x="458" y="19"/>
                  <a:pt x="459" y="20"/>
                  <a:pt x="459" y="20"/>
                </a:cubicBezTo>
                <a:cubicBezTo>
                  <a:pt x="459" y="20"/>
                  <a:pt x="459" y="20"/>
                  <a:pt x="459" y="21"/>
                </a:cubicBezTo>
                <a:cubicBezTo>
                  <a:pt x="455" y="27"/>
                  <a:pt x="445" y="32"/>
                  <a:pt x="436" y="35"/>
                </a:cubicBezTo>
                <a:cubicBezTo>
                  <a:pt x="427" y="37"/>
                  <a:pt x="412" y="41"/>
                  <a:pt x="391" y="54"/>
                </a:cubicBezTo>
                <a:cubicBezTo>
                  <a:pt x="391" y="54"/>
                  <a:pt x="391" y="54"/>
                  <a:pt x="391" y="54"/>
                </a:cubicBezTo>
                <a:cubicBezTo>
                  <a:pt x="386" y="57"/>
                  <a:pt x="381" y="61"/>
                  <a:pt x="376" y="65"/>
                </a:cubicBezTo>
                <a:cubicBezTo>
                  <a:pt x="358" y="78"/>
                  <a:pt x="340" y="81"/>
                  <a:pt x="320" y="83"/>
                </a:cubicBezTo>
                <a:cubicBezTo>
                  <a:pt x="314" y="84"/>
                  <a:pt x="307" y="85"/>
                  <a:pt x="300" y="86"/>
                </a:cubicBezTo>
                <a:cubicBezTo>
                  <a:pt x="288" y="89"/>
                  <a:pt x="277" y="94"/>
                  <a:pt x="266" y="100"/>
                </a:cubicBezTo>
                <a:cubicBezTo>
                  <a:pt x="265" y="100"/>
                  <a:pt x="263" y="101"/>
                  <a:pt x="261" y="102"/>
                </a:cubicBezTo>
                <a:cubicBezTo>
                  <a:pt x="261" y="102"/>
                  <a:pt x="261" y="102"/>
                  <a:pt x="261" y="102"/>
                </a:cubicBezTo>
                <a:cubicBezTo>
                  <a:pt x="252" y="106"/>
                  <a:pt x="244" y="110"/>
                  <a:pt x="235" y="111"/>
                </a:cubicBezTo>
                <a:cubicBezTo>
                  <a:pt x="235" y="111"/>
                  <a:pt x="234" y="111"/>
                  <a:pt x="234" y="111"/>
                </a:cubicBezTo>
                <a:cubicBezTo>
                  <a:pt x="234" y="111"/>
                  <a:pt x="234" y="111"/>
                  <a:pt x="234" y="111"/>
                </a:cubicBezTo>
                <a:cubicBezTo>
                  <a:pt x="234" y="111"/>
                  <a:pt x="233" y="111"/>
                  <a:pt x="233" y="111"/>
                </a:cubicBezTo>
                <a:cubicBezTo>
                  <a:pt x="233" y="106"/>
                  <a:pt x="243" y="89"/>
                  <a:pt x="256" y="79"/>
                </a:cubicBezTo>
                <a:cubicBezTo>
                  <a:pt x="263" y="74"/>
                  <a:pt x="263" y="68"/>
                  <a:pt x="263" y="64"/>
                </a:cubicBezTo>
                <a:cubicBezTo>
                  <a:pt x="263" y="62"/>
                  <a:pt x="262" y="54"/>
                  <a:pt x="246" y="45"/>
                </a:cubicBezTo>
                <a:cubicBezTo>
                  <a:pt x="292" y="25"/>
                  <a:pt x="342" y="14"/>
                  <a:pt x="395" y="14"/>
                </a:cubicBezTo>
                <a:close/>
                <a:moveTo>
                  <a:pt x="757" y="519"/>
                </a:moveTo>
                <a:cubicBezTo>
                  <a:pt x="583" y="519"/>
                  <a:pt x="583" y="519"/>
                  <a:pt x="583" y="519"/>
                </a:cubicBezTo>
                <a:cubicBezTo>
                  <a:pt x="586" y="510"/>
                  <a:pt x="590" y="502"/>
                  <a:pt x="596" y="495"/>
                </a:cubicBezTo>
                <a:cubicBezTo>
                  <a:pt x="611" y="476"/>
                  <a:pt x="637" y="413"/>
                  <a:pt x="632" y="403"/>
                </a:cubicBezTo>
                <a:cubicBezTo>
                  <a:pt x="632" y="403"/>
                  <a:pt x="632" y="403"/>
                  <a:pt x="632" y="403"/>
                </a:cubicBezTo>
                <a:cubicBezTo>
                  <a:pt x="777" y="403"/>
                  <a:pt x="777" y="403"/>
                  <a:pt x="777" y="403"/>
                </a:cubicBezTo>
                <a:cubicBezTo>
                  <a:pt x="776" y="443"/>
                  <a:pt x="769" y="482"/>
                  <a:pt x="757" y="519"/>
                </a:cubicBezTo>
                <a:close/>
                <a:moveTo>
                  <a:pt x="652" y="328"/>
                </a:moveTo>
                <a:cubicBezTo>
                  <a:pt x="652" y="321"/>
                  <a:pt x="660" y="316"/>
                  <a:pt x="665" y="314"/>
                </a:cubicBezTo>
                <a:cubicBezTo>
                  <a:pt x="673" y="332"/>
                  <a:pt x="692" y="376"/>
                  <a:pt x="707" y="389"/>
                </a:cubicBezTo>
                <a:cubicBezTo>
                  <a:pt x="621" y="389"/>
                  <a:pt x="621" y="389"/>
                  <a:pt x="621" y="389"/>
                </a:cubicBezTo>
                <a:cubicBezTo>
                  <a:pt x="636" y="369"/>
                  <a:pt x="654" y="342"/>
                  <a:pt x="652" y="328"/>
                </a:cubicBezTo>
                <a:close/>
                <a:moveTo>
                  <a:pt x="730" y="389"/>
                </a:moveTo>
                <a:cubicBezTo>
                  <a:pt x="735" y="382"/>
                  <a:pt x="734" y="369"/>
                  <a:pt x="733" y="365"/>
                </a:cubicBezTo>
                <a:cubicBezTo>
                  <a:pt x="727" y="329"/>
                  <a:pt x="724" y="286"/>
                  <a:pt x="729" y="278"/>
                </a:cubicBezTo>
                <a:cubicBezTo>
                  <a:pt x="730" y="276"/>
                  <a:pt x="731" y="275"/>
                  <a:pt x="732" y="273"/>
                </a:cubicBezTo>
                <a:cubicBezTo>
                  <a:pt x="757" y="273"/>
                  <a:pt x="757" y="273"/>
                  <a:pt x="757" y="273"/>
                </a:cubicBezTo>
                <a:cubicBezTo>
                  <a:pt x="769" y="310"/>
                  <a:pt x="776" y="349"/>
                  <a:pt x="777" y="389"/>
                </a:cubicBezTo>
                <a:lnTo>
                  <a:pt x="730" y="389"/>
                </a:lnTo>
                <a:close/>
                <a:moveTo>
                  <a:pt x="752" y="259"/>
                </a:moveTo>
                <a:cubicBezTo>
                  <a:pt x="742" y="259"/>
                  <a:pt x="742" y="259"/>
                  <a:pt x="742" y="259"/>
                </a:cubicBezTo>
                <a:cubicBezTo>
                  <a:pt x="744" y="257"/>
                  <a:pt x="746" y="254"/>
                  <a:pt x="749" y="252"/>
                </a:cubicBezTo>
                <a:cubicBezTo>
                  <a:pt x="750" y="254"/>
                  <a:pt x="751" y="257"/>
                  <a:pt x="752" y="259"/>
                </a:cubicBezTo>
                <a:close/>
                <a:moveTo>
                  <a:pt x="742" y="237"/>
                </a:moveTo>
                <a:cubicBezTo>
                  <a:pt x="736" y="244"/>
                  <a:pt x="730" y="252"/>
                  <a:pt x="725" y="259"/>
                </a:cubicBezTo>
                <a:cubicBezTo>
                  <a:pt x="723" y="259"/>
                  <a:pt x="723" y="259"/>
                  <a:pt x="723" y="259"/>
                </a:cubicBezTo>
                <a:cubicBezTo>
                  <a:pt x="719" y="259"/>
                  <a:pt x="716" y="263"/>
                  <a:pt x="716" y="266"/>
                </a:cubicBezTo>
                <a:cubicBezTo>
                  <a:pt x="716" y="268"/>
                  <a:pt x="716" y="269"/>
                  <a:pt x="717" y="270"/>
                </a:cubicBezTo>
                <a:cubicBezTo>
                  <a:pt x="706" y="287"/>
                  <a:pt x="717" y="354"/>
                  <a:pt x="719" y="367"/>
                </a:cubicBezTo>
                <a:cubicBezTo>
                  <a:pt x="720" y="372"/>
                  <a:pt x="720" y="378"/>
                  <a:pt x="719" y="380"/>
                </a:cubicBezTo>
                <a:cubicBezTo>
                  <a:pt x="719" y="380"/>
                  <a:pt x="718" y="380"/>
                  <a:pt x="718" y="379"/>
                </a:cubicBezTo>
                <a:cubicBezTo>
                  <a:pt x="708" y="373"/>
                  <a:pt x="687" y="331"/>
                  <a:pt x="676" y="302"/>
                </a:cubicBezTo>
                <a:cubicBezTo>
                  <a:pt x="674" y="299"/>
                  <a:pt x="671" y="297"/>
                  <a:pt x="667" y="298"/>
                </a:cubicBezTo>
                <a:cubicBezTo>
                  <a:pt x="659" y="300"/>
                  <a:pt x="647" y="306"/>
                  <a:pt x="642" y="315"/>
                </a:cubicBezTo>
                <a:cubicBezTo>
                  <a:pt x="629" y="320"/>
                  <a:pt x="629" y="320"/>
                  <a:pt x="629" y="320"/>
                </a:cubicBezTo>
                <a:cubicBezTo>
                  <a:pt x="584" y="300"/>
                  <a:pt x="584" y="300"/>
                  <a:pt x="584" y="300"/>
                </a:cubicBezTo>
                <a:cubicBezTo>
                  <a:pt x="581" y="299"/>
                  <a:pt x="577" y="300"/>
                  <a:pt x="575" y="304"/>
                </a:cubicBezTo>
                <a:cubicBezTo>
                  <a:pt x="573" y="307"/>
                  <a:pt x="575" y="312"/>
                  <a:pt x="579" y="313"/>
                </a:cubicBezTo>
                <a:cubicBezTo>
                  <a:pt x="626" y="334"/>
                  <a:pt x="626" y="334"/>
                  <a:pt x="626" y="334"/>
                </a:cubicBezTo>
                <a:cubicBezTo>
                  <a:pt x="627" y="334"/>
                  <a:pt x="628" y="334"/>
                  <a:pt x="629" y="334"/>
                </a:cubicBezTo>
                <a:cubicBezTo>
                  <a:pt x="630" y="334"/>
                  <a:pt x="630" y="334"/>
                  <a:pt x="631" y="334"/>
                </a:cubicBezTo>
                <a:cubicBezTo>
                  <a:pt x="638" y="331"/>
                  <a:pt x="638" y="331"/>
                  <a:pt x="638" y="331"/>
                </a:cubicBezTo>
                <a:cubicBezTo>
                  <a:pt x="637" y="342"/>
                  <a:pt x="619" y="368"/>
                  <a:pt x="602" y="392"/>
                </a:cubicBezTo>
                <a:cubicBezTo>
                  <a:pt x="602" y="392"/>
                  <a:pt x="602" y="392"/>
                  <a:pt x="601" y="392"/>
                </a:cubicBezTo>
                <a:cubicBezTo>
                  <a:pt x="600" y="394"/>
                  <a:pt x="598" y="397"/>
                  <a:pt x="596" y="399"/>
                </a:cubicBezTo>
                <a:cubicBezTo>
                  <a:pt x="595" y="400"/>
                  <a:pt x="594" y="402"/>
                  <a:pt x="595" y="404"/>
                </a:cubicBezTo>
                <a:cubicBezTo>
                  <a:pt x="592" y="405"/>
                  <a:pt x="589" y="405"/>
                  <a:pt x="587" y="403"/>
                </a:cubicBezTo>
                <a:cubicBezTo>
                  <a:pt x="579" y="394"/>
                  <a:pt x="528" y="328"/>
                  <a:pt x="528" y="328"/>
                </a:cubicBezTo>
                <a:cubicBezTo>
                  <a:pt x="526" y="325"/>
                  <a:pt x="521" y="324"/>
                  <a:pt x="518" y="327"/>
                </a:cubicBezTo>
                <a:cubicBezTo>
                  <a:pt x="515" y="329"/>
                  <a:pt x="515" y="333"/>
                  <a:pt x="517" y="336"/>
                </a:cubicBezTo>
                <a:cubicBezTo>
                  <a:pt x="519" y="339"/>
                  <a:pt x="568" y="402"/>
                  <a:pt x="577" y="412"/>
                </a:cubicBezTo>
                <a:cubicBezTo>
                  <a:pt x="581" y="417"/>
                  <a:pt x="586" y="419"/>
                  <a:pt x="591" y="419"/>
                </a:cubicBezTo>
                <a:cubicBezTo>
                  <a:pt x="597" y="419"/>
                  <a:pt x="604" y="416"/>
                  <a:pt x="610" y="412"/>
                </a:cubicBezTo>
                <a:cubicBezTo>
                  <a:pt x="612" y="413"/>
                  <a:pt x="615" y="413"/>
                  <a:pt x="618" y="414"/>
                </a:cubicBezTo>
                <a:cubicBezTo>
                  <a:pt x="613" y="430"/>
                  <a:pt x="599" y="468"/>
                  <a:pt x="585" y="486"/>
                </a:cubicBezTo>
                <a:cubicBezTo>
                  <a:pt x="564" y="513"/>
                  <a:pt x="558" y="546"/>
                  <a:pt x="568" y="568"/>
                </a:cubicBezTo>
                <a:cubicBezTo>
                  <a:pt x="569" y="570"/>
                  <a:pt x="569" y="571"/>
                  <a:pt x="569" y="573"/>
                </a:cubicBezTo>
                <a:cubicBezTo>
                  <a:pt x="566" y="580"/>
                  <a:pt x="554" y="586"/>
                  <a:pt x="548" y="588"/>
                </a:cubicBezTo>
                <a:cubicBezTo>
                  <a:pt x="546" y="589"/>
                  <a:pt x="545" y="590"/>
                  <a:pt x="544" y="591"/>
                </a:cubicBezTo>
                <a:cubicBezTo>
                  <a:pt x="540" y="598"/>
                  <a:pt x="526" y="620"/>
                  <a:pt x="525" y="631"/>
                </a:cubicBezTo>
                <a:cubicBezTo>
                  <a:pt x="520" y="639"/>
                  <a:pt x="472" y="672"/>
                  <a:pt x="454" y="677"/>
                </a:cubicBezTo>
                <a:cubicBezTo>
                  <a:pt x="444" y="680"/>
                  <a:pt x="441" y="675"/>
                  <a:pt x="432" y="657"/>
                </a:cubicBezTo>
                <a:cubicBezTo>
                  <a:pt x="430" y="654"/>
                  <a:pt x="429" y="650"/>
                  <a:pt x="427" y="647"/>
                </a:cubicBezTo>
                <a:cubicBezTo>
                  <a:pt x="413" y="621"/>
                  <a:pt x="409" y="599"/>
                  <a:pt x="416" y="589"/>
                </a:cubicBezTo>
                <a:cubicBezTo>
                  <a:pt x="428" y="574"/>
                  <a:pt x="414" y="558"/>
                  <a:pt x="403" y="546"/>
                </a:cubicBezTo>
                <a:cubicBezTo>
                  <a:pt x="400" y="542"/>
                  <a:pt x="397" y="539"/>
                  <a:pt x="395" y="536"/>
                </a:cubicBezTo>
                <a:cubicBezTo>
                  <a:pt x="392" y="532"/>
                  <a:pt x="392" y="529"/>
                  <a:pt x="394" y="522"/>
                </a:cubicBezTo>
                <a:cubicBezTo>
                  <a:pt x="395" y="513"/>
                  <a:pt x="397" y="501"/>
                  <a:pt x="391" y="481"/>
                </a:cubicBezTo>
                <a:cubicBezTo>
                  <a:pt x="384" y="461"/>
                  <a:pt x="366" y="459"/>
                  <a:pt x="351" y="459"/>
                </a:cubicBezTo>
                <a:cubicBezTo>
                  <a:pt x="342" y="459"/>
                  <a:pt x="333" y="459"/>
                  <a:pt x="323" y="460"/>
                </a:cubicBezTo>
                <a:cubicBezTo>
                  <a:pt x="312" y="461"/>
                  <a:pt x="299" y="463"/>
                  <a:pt x="285" y="463"/>
                </a:cubicBezTo>
                <a:cubicBezTo>
                  <a:pt x="280" y="463"/>
                  <a:pt x="276" y="463"/>
                  <a:pt x="271" y="462"/>
                </a:cubicBezTo>
                <a:cubicBezTo>
                  <a:pt x="262" y="462"/>
                  <a:pt x="255" y="458"/>
                  <a:pt x="250" y="451"/>
                </a:cubicBezTo>
                <a:cubicBezTo>
                  <a:pt x="237" y="433"/>
                  <a:pt x="238" y="393"/>
                  <a:pt x="252" y="342"/>
                </a:cubicBezTo>
                <a:cubicBezTo>
                  <a:pt x="259" y="318"/>
                  <a:pt x="297" y="295"/>
                  <a:pt x="312" y="288"/>
                </a:cubicBezTo>
                <a:cubicBezTo>
                  <a:pt x="313" y="288"/>
                  <a:pt x="314" y="287"/>
                  <a:pt x="315" y="285"/>
                </a:cubicBezTo>
                <a:cubicBezTo>
                  <a:pt x="319" y="278"/>
                  <a:pt x="318" y="272"/>
                  <a:pt x="316" y="269"/>
                </a:cubicBezTo>
                <a:cubicBezTo>
                  <a:pt x="313" y="262"/>
                  <a:pt x="308" y="259"/>
                  <a:pt x="303" y="257"/>
                </a:cubicBezTo>
                <a:cubicBezTo>
                  <a:pt x="303" y="251"/>
                  <a:pt x="305" y="242"/>
                  <a:pt x="310" y="240"/>
                </a:cubicBezTo>
                <a:cubicBezTo>
                  <a:pt x="315" y="238"/>
                  <a:pt x="322" y="237"/>
                  <a:pt x="327" y="237"/>
                </a:cubicBezTo>
                <a:cubicBezTo>
                  <a:pt x="336" y="236"/>
                  <a:pt x="342" y="236"/>
                  <a:pt x="345" y="231"/>
                </a:cubicBezTo>
                <a:cubicBezTo>
                  <a:pt x="346" y="229"/>
                  <a:pt x="347" y="225"/>
                  <a:pt x="344" y="221"/>
                </a:cubicBezTo>
                <a:cubicBezTo>
                  <a:pt x="344" y="220"/>
                  <a:pt x="343" y="216"/>
                  <a:pt x="346" y="212"/>
                </a:cubicBezTo>
                <a:cubicBezTo>
                  <a:pt x="348" y="208"/>
                  <a:pt x="352" y="206"/>
                  <a:pt x="356" y="207"/>
                </a:cubicBezTo>
                <a:cubicBezTo>
                  <a:pt x="358" y="207"/>
                  <a:pt x="359" y="207"/>
                  <a:pt x="361" y="207"/>
                </a:cubicBezTo>
                <a:cubicBezTo>
                  <a:pt x="376" y="207"/>
                  <a:pt x="385" y="194"/>
                  <a:pt x="388" y="188"/>
                </a:cubicBezTo>
                <a:cubicBezTo>
                  <a:pt x="395" y="186"/>
                  <a:pt x="412" y="179"/>
                  <a:pt x="426" y="179"/>
                </a:cubicBezTo>
                <a:cubicBezTo>
                  <a:pt x="429" y="179"/>
                  <a:pt x="432" y="179"/>
                  <a:pt x="434" y="180"/>
                </a:cubicBezTo>
                <a:cubicBezTo>
                  <a:pt x="441" y="181"/>
                  <a:pt x="446" y="180"/>
                  <a:pt x="448" y="175"/>
                </a:cubicBezTo>
                <a:cubicBezTo>
                  <a:pt x="452" y="167"/>
                  <a:pt x="445" y="150"/>
                  <a:pt x="426" y="125"/>
                </a:cubicBezTo>
                <a:cubicBezTo>
                  <a:pt x="425" y="123"/>
                  <a:pt x="422" y="122"/>
                  <a:pt x="419" y="122"/>
                </a:cubicBezTo>
                <a:cubicBezTo>
                  <a:pt x="416" y="123"/>
                  <a:pt x="414" y="125"/>
                  <a:pt x="414" y="128"/>
                </a:cubicBezTo>
                <a:cubicBezTo>
                  <a:pt x="410" y="159"/>
                  <a:pt x="410" y="159"/>
                  <a:pt x="410" y="159"/>
                </a:cubicBezTo>
                <a:cubicBezTo>
                  <a:pt x="400" y="155"/>
                  <a:pt x="385" y="149"/>
                  <a:pt x="381" y="139"/>
                </a:cubicBezTo>
                <a:cubicBezTo>
                  <a:pt x="379" y="135"/>
                  <a:pt x="381" y="129"/>
                  <a:pt x="386" y="121"/>
                </a:cubicBezTo>
                <a:cubicBezTo>
                  <a:pt x="390" y="115"/>
                  <a:pt x="394" y="110"/>
                  <a:pt x="399" y="105"/>
                </a:cubicBezTo>
                <a:cubicBezTo>
                  <a:pt x="400" y="105"/>
                  <a:pt x="400" y="105"/>
                  <a:pt x="400" y="104"/>
                </a:cubicBezTo>
                <a:cubicBezTo>
                  <a:pt x="412" y="94"/>
                  <a:pt x="425" y="87"/>
                  <a:pt x="431" y="87"/>
                </a:cubicBezTo>
                <a:cubicBezTo>
                  <a:pt x="431" y="87"/>
                  <a:pt x="431" y="87"/>
                  <a:pt x="431" y="87"/>
                </a:cubicBezTo>
                <a:cubicBezTo>
                  <a:pt x="435" y="87"/>
                  <a:pt x="440" y="90"/>
                  <a:pt x="445" y="92"/>
                </a:cubicBezTo>
                <a:cubicBezTo>
                  <a:pt x="451" y="95"/>
                  <a:pt x="458" y="99"/>
                  <a:pt x="466" y="99"/>
                </a:cubicBezTo>
                <a:cubicBezTo>
                  <a:pt x="475" y="99"/>
                  <a:pt x="483" y="94"/>
                  <a:pt x="490" y="85"/>
                </a:cubicBezTo>
                <a:cubicBezTo>
                  <a:pt x="505" y="66"/>
                  <a:pt x="497" y="42"/>
                  <a:pt x="490" y="26"/>
                </a:cubicBezTo>
                <a:cubicBezTo>
                  <a:pt x="602" y="55"/>
                  <a:pt x="695" y="134"/>
                  <a:pt x="742" y="237"/>
                </a:cubicBezTo>
                <a:close/>
                <a:moveTo>
                  <a:pt x="119" y="480"/>
                </a:moveTo>
                <a:cubicBezTo>
                  <a:pt x="109" y="475"/>
                  <a:pt x="95" y="468"/>
                  <a:pt x="79" y="444"/>
                </a:cubicBezTo>
                <a:cubicBezTo>
                  <a:pt x="73" y="435"/>
                  <a:pt x="67" y="421"/>
                  <a:pt x="61" y="403"/>
                </a:cubicBezTo>
                <a:cubicBezTo>
                  <a:pt x="194" y="403"/>
                  <a:pt x="194" y="403"/>
                  <a:pt x="194" y="403"/>
                </a:cubicBezTo>
                <a:cubicBezTo>
                  <a:pt x="194" y="443"/>
                  <a:pt x="198" y="482"/>
                  <a:pt x="204" y="519"/>
                </a:cubicBezTo>
                <a:cubicBezTo>
                  <a:pt x="137" y="519"/>
                  <a:pt x="137" y="519"/>
                  <a:pt x="137" y="519"/>
                </a:cubicBezTo>
                <a:cubicBezTo>
                  <a:pt x="138" y="516"/>
                  <a:pt x="138" y="513"/>
                  <a:pt x="138" y="510"/>
                </a:cubicBezTo>
                <a:cubicBezTo>
                  <a:pt x="139" y="490"/>
                  <a:pt x="129" y="485"/>
                  <a:pt x="119" y="480"/>
                </a:cubicBezTo>
                <a:close/>
                <a:moveTo>
                  <a:pt x="273" y="112"/>
                </a:moveTo>
                <a:cubicBezTo>
                  <a:pt x="282" y="107"/>
                  <a:pt x="292" y="102"/>
                  <a:pt x="303" y="100"/>
                </a:cubicBezTo>
                <a:cubicBezTo>
                  <a:pt x="309" y="99"/>
                  <a:pt x="316" y="98"/>
                  <a:pt x="322" y="97"/>
                </a:cubicBezTo>
                <a:cubicBezTo>
                  <a:pt x="341" y="94"/>
                  <a:pt x="363" y="92"/>
                  <a:pt x="384" y="76"/>
                </a:cubicBezTo>
                <a:cubicBezTo>
                  <a:pt x="386" y="75"/>
                  <a:pt x="387" y="74"/>
                  <a:pt x="388" y="73"/>
                </a:cubicBezTo>
                <a:cubicBezTo>
                  <a:pt x="388" y="97"/>
                  <a:pt x="388" y="97"/>
                  <a:pt x="388" y="97"/>
                </a:cubicBezTo>
                <a:cubicBezTo>
                  <a:pt x="383" y="102"/>
                  <a:pt x="378" y="108"/>
                  <a:pt x="374" y="113"/>
                </a:cubicBezTo>
                <a:cubicBezTo>
                  <a:pt x="370" y="120"/>
                  <a:pt x="368" y="125"/>
                  <a:pt x="367" y="130"/>
                </a:cubicBezTo>
                <a:cubicBezTo>
                  <a:pt x="342" y="130"/>
                  <a:pt x="342" y="130"/>
                  <a:pt x="342" y="130"/>
                </a:cubicBezTo>
                <a:cubicBezTo>
                  <a:pt x="343" y="127"/>
                  <a:pt x="344" y="124"/>
                  <a:pt x="343" y="120"/>
                </a:cubicBezTo>
                <a:cubicBezTo>
                  <a:pt x="341" y="112"/>
                  <a:pt x="334" y="107"/>
                  <a:pt x="325" y="107"/>
                </a:cubicBezTo>
                <a:cubicBezTo>
                  <a:pt x="318" y="107"/>
                  <a:pt x="310" y="110"/>
                  <a:pt x="305" y="115"/>
                </a:cubicBezTo>
                <a:cubicBezTo>
                  <a:pt x="302" y="118"/>
                  <a:pt x="301" y="122"/>
                  <a:pt x="302" y="125"/>
                </a:cubicBezTo>
                <a:cubicBezTo>
                  <a:pt x="303" y="127"/>
                  <a:pt x="304" y="129"/>
                  <a:pt x="306" y="130"/>
                </a:cubicBezTo>
                <a:cubicBezTo>
                  <a:pt x="261" y="130"/>
                  <a:pt x="261" y="130"/>
                  <a:pt x="261" y="130"/>
                </a:cubicBezTo>
                <a:cubicBezTo>
                  <a:pt x="264" y="124"/>
                  <a:pt x="267" y="119"/>
                  <a:pt x="270" y="113"/>
                </a:cubicBezTo>
                <a:cubicBezTo>
                  <a:pt x="271" y="113"/>
                  <a:pt x="272" y="112"/>
                  <a:pt x="273" y="112"/>
                </a:cubicBezTo>
                <a:close/>
                <a:moveTo>
                  <a:pt x="440" y="48"/>
                </a:moveTo>
                <a:cubicBezTo>
                  <a:pt x="451" y="45"/>
                  <a:pt x="465" y="38"/>
                  <a:pt x="471" y="27"/>
                </a:cubicBezTo>
                <a:cubicBezTo>
                  <a:pt x="472" y="26"/>
                  <a:pt x="472" y="25"/>
                  <a:pt x="473" y="24"/>
                </a:cubicBezTo>
                <a:cubicBezTo>
                  <a:pt x="479" y="34"/>
                  <a:pt x="492" y="60"/>
                  <a:pt x="479" y="76"/>
                </a:cubicBezTo>
                <a:cubicBezTo>
                  <a:pt x="473" y="84"/>
                  <a:pt x="469" y="85"/>
                  <a:pt x="466" y="85"/>
                </a:cubicBezTo>
                <a:cubicBezTo>
                  <a:pt x="461" y="85"/>
                  <a:pt x="456" y="82"/>
                  <a:pt x="451" y="80"/>
                </a:cubicBezTo>
                <a:cubicBezTo>
                  <a:pt x="445" y="76"/>
                  <a:pt x="439" y="73"/>
                  <a:pt x="432" y="73"/>
                </a:cubicBezTo>
                <a:cubicBezTo>
                  <a:pt x="424" y="72"/>
                  <a:pt x="413" y="77"/>
                  <a:pt x="402" y="85"/>
                </a:cubicBezTo>
                <a:cubicBezTo>
                  <a:pt x="402" y="64"/>
                  <a:pt x="402" y="64"/>
                  <a:pt x="402" y="64"/>
                </a:cubicBezTo>
                <a:cubicBezTo>
                  <a:pt x="419" y="54"/>
                  <a:pt x="432" y="50"/>
                  <a:pt x="440" y="48"/>
                </a:cubicBezTo>
                <a:close/>
                <a:moveTo>
                  <a:pt x="322" y="122"/>
                </a:moveTo>
                <a:cubicBezTo>
                  <a:pt x="325" y="121"/>
                  <a:pt x="327" y="121"/>
                  <a:pt x="328" y="122"/>
                </a:cubicBezTo>
                <a:cubicBezTo>
                  <a:pt x="328" y="122"/>
                  <a:pt x="327" y="122"/>
                  <a:pt x="327" y="122"/>
                </a:cubicBezTo>
                <a:cubicBezTo>
                  <a:pt x="325" y="122"/>
                  <a:pt x="324" y="122"/>
                  <a:pt x="322" y="122"/>
                </a:cubicBezTo>
                <a:close/>
                <a:moveTo>
                  <a:pt x="368" y="144"/>
                </a:moveTo>
                <a:cubicBezTo>
                  <a:pt x="368" y="144"/>
                  <a:pt x="368" y="145"/>
                  <a:pt x="368" y="145"/>
                </a:cubicBezTo>
                <a:cubicBezTo>
                  <a:pt x="374" y="157"/>
                  <a:pt x="387" y="165"/>
                  <a:pt x="398" y="170"/>
                </a:cubicBezTo>
                <a:cubicBezTo>
                  <a:pt x="388" y="173"/>
                  <a:pt x="381" y="176"/>
                  <a:pt x="380" y="176"/>
                </a:cubicBezTo>
                <a:cubicBezTo>
                  <a:pt x="379" y="177"/>
                  <a:pt x="378" y="178"/>
                  <a:pt x="377" y="180"/>
                </a:cubicBezTo>
                <a:cubicBezTo>
                  <a:pt x="376" y="179"/>
                  <a:pt x="375" y="178"/>
                  <a:pt x="374" y="178"/>
                </a:cubicBezTo>
                <a:cubicBezTo>
                  <a:pt x="375" y="177"/>
                  <a:pt x="375" y="175"/>
                  <a:pt x="376" y="174"/>
                </a:cubicBezTo>
                <a:cubicBezTo>
                  <a:pt x="382" y="171"/>
                  <a:pt x="381" y="166"/>
                  <a:pt x="381" y="164"/>
                </a:cubicBezTo>
                <a:cubicBezTo>
                  <a:pt x="379" y="157"/>
                  <a:pt x="370" y="155"/>
                  <a:pt x="356" y="153"/>
                </a:cubicBezTo>
                <a:cubicBezTo>
                  <a:pt x="356" y="153"/>
                  <a:pt x="355" y="153"/>
                  <a:pt x="354" y="153"/>
                </a:cubicBezTo>
                <a:cubicBezTo>
                  <a:pt x="346" y="153"/>
                  <a:pt x="342" y="158"/>
                  <a:pt x="342" y="163"/>
                </a:cubicBezTo>
                <a:cubicBezTo>
                  <a:pt x="340" y="161"/>
                  <a:pt x="338" y="160"/>
                  <a:pt x="336" y="159"/>
                </a:cubicBezTo>
                <a:cubicBezTo>
                  <a:pt x="335" y="159"/>
                  <a:pt x="333" y="159"/>
                  <a:pt x="332" y="159"/>
                </a:cubicBezTo>
                <a:cubicBezTo>
                  <a:pt x="321" y="159"/>
                  <a:pt x="312" y="170"/>
                  <a:pt x="311" y="179"/>
                </a:cubicBezTo>
                <a:cubicBezTo>
                  <a:pt x="311" y="186"/>
                  <a:pt x="315" y="192"/>
                  <a:pt x="323" y="193"/>
                </a:cubicBezTo>
                <a:cubicBezTo>
                  <a:pt x="323" y="193"/>
                  <a:pt x="324" y="193"/>
                  <a:pt x="325" y="193"/>
                </a:cubicBezTo>
                <a:cubicBezTo>
                  <a:pt x="330" y="193"/>
                  <a:pt x="334" y="192"/>
                  <a:pt x="337" y="189"/>
                </a:cubicBezTo>
                <a:cubicBezTo>
                  <a:pt x="336" y="191"/>
                  <a:pt x="335" y="194"/>
                  <a:pt x="336" y="196"/>
                </a:cubicBezTo>
                <a:cubicBezTo>
                  <a:pt x="337" y="197"/>
                  <a:pt x="337" y="198"/>
                  <a:pt x="338" y="199"/>
                </a:cubicBezTo>
                <a:cubicBezTo>
                  <a:pt x="336" y="201"/>
                  <a:pt x="335" y="203"/>
                  <a:pt x="333" y="205"/>
                </a:cubicBezTo>
                <a:cubicBezTo>
                  <a:pt x="330" y="210"/>
                  <a:pt x="329" y="217"/>
                  <a:pt x="330" y="223"/>
                </a:cubicBezTo>
                <a:cubicBezTo>
                  <a:pt x="329" y="223"/>
                  <a:pt x="327" y="223"/>
                  <a:pt x="326" y="223"/>
                </a:cubicBezTo>
                <a:cubicBezTo>
                  <a:pt x="320" y="224"/>
                  <a:pt x="311" y="224"/>
                  <a:pt x="305" y="227"/>
                </a:cubicBezTo>
                <a:cubicBezTo>
                  <a:pt x="291" y="232"/>
                  <a:pt x="289" y="249"/>
                  <a:pt x="289" y="259"/>
                </a:cubicBezTo>
                <a:cubicBezTo>
                  <a:pt x="220" y="259"/>
                  <a:pt x="220" y="259"/>
                  <a:pt x="220" y="259"/>
                </a:cubicBezTo>
                <a:cubicBezTo>
                  <a:pt x="228" y="217"/>
                  <a:pt x="240" y="178"/>
                  <a:pt x="255" y="144"/>
                </a:cubicBezTo>
                <a:lnTo>
                  <a:pt x="368" y="144"/>
                </a:lnTo>
                <a:close/>
                <a:moveTo>
                  <a:pt x="346" y="175"/>
                </a:moveTo>
                <a:cubicBezTo>
                  <a:pt x="346" y="175"/>
                  <a:pt x="346" y="174"/>
                  <a:pt x="346" y="174"/>
                </a:cubicBezTo>
                <a:cubicBezTo>
                  <a:pt x="346" y="175"/>
                  <a:pt x="347" y="176"/>
                  <a:pt x="348" y="177"/>
                </a:cubicBezTo>
                <a:cubicBezTo>
                  <a:pt x="348" y="177"/>
                  <a:pt x="348" y="177"/>
                  <a:pt x="348" y="177"/>
                </a:cubicBezTo>
                <a:cubicBezTo>
                  <a:pt x="347" y="178"/>
                  <a:pt x="345" y="180"/>
                  <a:pt x="344" y="181"/>
                </a:cubicBezTo>
                <a:cubicBezTo>
                  <a:pt x="345" y="179"/>
                  <a:pt x="345" y="177"/>
                  <a:pt x="346" y="175"/>
                </a:cubicBezTo>
                <a:close/>
                <a:moveTo>
                  <a:pt x="363" y="169"/>
                </a:moveTo>
                <a:cubicBezTo>
                  <a:pt x="362" y="168"/>
                  <a:pt x="361" y="168"/>
                  <a:pt x="360" y="168"/>
                </a:cubicBezTo>
                <a:cubicBezTo>
                  <a:pt x="360" y="168"/>
                  <a:pt x="360" y="168"/>
                  <a:pt x="359" y="168"/>
                </a:cubicBezTo>
                <a:cubicBezTo>
                  <a:pt x="361" y="168"/>
                  <a:pt x="362" y="168"/>
                  <a:pt x="363" y="168"/>
                </a:cubicBezTo>
                <a:cubicBezTo>
                  <a:pt x="363" y="169"/>
                  <a:pt x="363" y="169"/>
                  <a:pt x="363" y="169"/>
                </a:cubicBezTo>
                <a:close/>
                <a:moveTo>
                  <a:pt x="361" y="184"/>
                </a:moveTo>
                <a:cubicBezTo>
                  <a:pt x="362" y="185"/>
                  <a:pt x="362" y="186"/>
                  <a:pt x="363" y="187"/>
                </a:cubicBezTo>
                <a:cubicBezTo>
                  <a:pt x="361" y="187"/>
                  <a:pt x="360" y="187"/>
                  <a:pt x="357" y="188"/>
                </a:cubicBezTo>
                <a:cubicBezTo>
                  <a:pt x="359" y="187"/>
                  <a:pt x="360" y="185"/>
                  <a:pt x="361" y="184"/>
                </a:cubicBezTo>
                <a:close/>
                <a:moveTo>
                  <a:pt x="332" y="173"/>
                </a:moveTo>
                <a:cubicBezTo>
                  <a:pt x="332" y="174"/>
                  <a:pt x="331" y="175"/>
                  <a:pt x="330" y="176"/>
                </a:cubicBezTo>
                <a:cubicBezTo>
                  <a:pt x="329" y="177"/>
                  <a:pt x="328" y="179"/>
                  <a:pt x="326" y="179"/>
                </a:cubicBezTo>
                <a:cubicBezTo>
                  <a:pt x="326" y="178"/>
                  <a:pt x="327" y="177"/>
                  <a:pt x="328" y="175"/>
                </a:cubicBezTo>
                <a:cubicBezTo>
                  <a:pt x="329" y="174"/>
                  <a:pt x="331" y="173"/>
                  <a:pt x="332" y="173"/>
                </a:cubicBezTo>
                <a:close/>
                <a:moveTo>
                  <a:pt x="297" y="273"/>
                </a:moveTo>
                <a:cubicBezTo>
                  <a:pt x="298" y="273"/>
                  <a:pt x="300" y="273"/>
                  <a:pt x="301" y="272"/>
                </a:cubicBezTo>
                <a:cubicBezTo>
                  <a:pt x="302" y="272"/>
                  <a:pt x="303" y="273"/>
                  <a:pt x="303" y="274"/>
                </a:cubicBezTo>
                <a:cubicBezTo>
                  <a:pt x="303" y="275"/>
                  <a:pt x="304" y="275"/>
                  <a:pt x="303" y="277"/>
                </a:cubicBezTo>
                <a:cubicBezTo>
                  <a:pt x="292" y="283"/>
                  <a:pt x="247" y="307"/>
                  <a:pt x="239" y="338"/>
                </a:cubicBezTo>
                <a:cubicBezTo>
                  <a:pt x="234" y="354"/>
                  <a:pt x="231" y="372"/>
                  <a:pt x="229" y="389"/>
                </a:cubicBezTo>
                <a:cubicBezTo>
                  <a:pt x="208" y="389"/>
                  <a:pt x="208" y="389"/>
                  <a:pt x="208" y="389"/>
                </a:cubicBezTo>
                <a:cubicBezTo>
                  <a:pt x="208" y="349"/>
                  <a:pt x="212" y="310"/>
                  <a:pt x="218" y="273"/>
                </a:cubicBezTo>
                <a:lnTo>
                  <a:pt x="297" y="273"/>
                </a:lnTo>
                <a:close/>
                <a:moveTo>
                  <a:pt x="208" y="403"/>
                </a:moveTo>
                <a:cubicBezTo>
                  <a:pt x="227" y="403"/>
                  <a:pt x="227" y="403"/>
                  <a:pt x="227" y="403"/>
                </a:cubicBezTo>
                <a:cubicBezTo>
                  <a:pt x="226" y="425"/>
                  <a:pt x="229" y="445"/>
                  <a:pt x="239" y="459"/>
                </a:cubicBezTo>
                <a:cubicBezTo>
                  <a:pt x="246" y="469"/>
                  <a:pt x="257" y="475"/>
                  <a:pt x="270" y="476"/>
                </a:cubicBezTo>
                <a:cubicBezTo>
                  <a:pt x="275" y="477"/>
                  <a:pt x="280" y="477"/>
                  <a:pt x="285" y="477"/>
                </a:cubicBezTo>
                <a:cubicBezTo>
                  <a:pt x="299" y="477"/>
                  <a:pt x="313" y="475"/>
                  <a:pt x="325" y="474"/>
                </a:cubicBezTo>
                <a:cubicBezTo>
                  <a:pt x="334" y="473"/>
                  <a:pt x="343" y="473"/>
                  <a:pt x="351" y="473"/>
                </a:cubicBezTo>
                <a:cubicBezTo>
                  <a:pt x="369" y="473"/>
                  <a:pt x="374" y="478"/>
                  <a:pt x="377" y="486"/>
                </a:cubicBezTo>
                <a:cubicBezTo>
                  <a:pt x="383" y="501"/>
                  <a:pt x="381" y="510"/>
                  <a:pt x="380" y="519"/>
                </a:cubicBezTo>
                <a:cubicBezTo>
                  <a:pt x="218" y="519"/>
                  <a:pt x="218" y="519"/>
                  <a:pt x="218" y="519"/>
                </a:cubicBezTo>
                <a:cubicBezTo>
                  <a:pt x="212" y="482"/>
                  <a:pt x="208" y="443"/>
                  <a:pt x="208" y="403"/>
                </a:cubicBezTo>
                <a:close/>
                <a:moveTo>
                  <a:pt x="402" y="567"/>
                </a:moveTo>
                <a:cubicBezTo>
                  <a:pt x="406" y="573"/>
                  <a:pt x="408" y="577"/>
                  <a:pt x="405" y="581"/>
                </a:cubicBezTo>
                <a:cubicBezTo>
                  <a:pt x="404" y="582"/>
                  <a:pt x="403" y="584"/>
                  <a:pt x="402" y="586"/>
                </a:cubicBezTo>
                <a:lnTo>
                  <a:pt x="402" y="567"/>
                </a:lnTo>
                <a:close/>
                <a:moveTo>
                  <a:pt x="402" y="623"/>
                </a:moveTo>
                <a:cubicBezTo>
                  <a:pt x="405" y="633"/>
                  <a:pt x="409" y="641"/>
                  <a:pt x="412" y="648"/>
                </a:cubicBezTo>
                <a:cubicBezTo>
                  <a:pt x="402" y="648"/>
                  <a:pt x="402" y="648"/>
                  <a:pt x="402" y="648"/>
                </a:cubicBezTo>
                <a:lnTo>
                  <a:pt x="402" y="623"/>
                </a:lnTo>
                <a:close/>
                <a:moveTo>
                  <a:pt x="423" y="165"/>
                </a:moveTo>
                <a:cubicBezTo>
                  <a:pt x="425" y="149"/>
                  <a:pt x="425" y="149"/>
                  <a:pt x="425" y="149"/>
                </a:cubicBezTo>
                <a:cubicBezTo>
                  <a:pt x="429" y="155"/>
                  <a:pt x="433" y="162"/>
                  <a:pt x="434" y="166"/>
                </a:cubicBezTo>
                <a:cubicBezTo>
                  <a:pt x="432" y="165"/>
                  <a:pt x="429" y="165"/>
                  <a:pt x="426" y="165"/>
                </a:cubicBezTo>
                <a:cubicBezTo>
                  <a:pt x="425" y="165"/>
                  <a:pt x="424" y="165"/>
                  <a:pt x="423" y="165"/>
                </a:cubicBezTo>
                <a:close/>
                <a:moveTo>
                  <a:pt x="204" y="273"/>
                </a:moveTo>
                <a:cubicBezTo>
                  <a:pt x="198" y="310"/>
                  <a:pt x="194" y="349"/>
                  <a:pt x="194" y="389"/>
                </a:cubicBezTo>
                <a:cubicBezTo>
                  <a:pt x="56" y="389"/>
                  <a:pt x="56" y="389"/>
                  <a:pt x="56" y="389"/>
                </a:cubicBezTo>
                <a:cubicBezTo>
                  <a:pt x="48" y="361"/>
                  <a:pt x="39" y="325"/>
                  <a:pt x="31" y="282"/>
                </a:cubicBezTo>
                <a:cubicBezTo>
                  <a:pt x="32" y="279"/>
                  <a:pt x="33" y="276"/>
                  <a:pt x="34" y="273"/>
                </a:cubicBezTo>
                <a:lnTo>
                  <a:pt x="204" y="273"/>
                </a:lnTo>
                <a:close/>
                <a:moveTo>
                  <a:pt x="134" y="533"/>
                </a:moveTo>
                <a:cubicBezTo>
                  <a:pt x="206" y="533"/>
                  <a:pt x="206" y="533"/>
                  <a:pt x="206" y="533"/>
                </a:cubicBezTo>
                <a:cubicBezTo>
                  <a:pt x="214" y="574"/>
                  <a:pt x="225" y="613"/>
                  <a:pt x="240" y="648"/>
                </a:cubicBezTo>
                <a:cubicBezTo>
                  <a:pt x="143" y="648"/>
                  <a:pt x="143" y="648"/>
                  <a:pt x="143" y="648"/>
                </a:cubicBezTo>
                <a:cubicBezTo>
                  <a:pt x="122" y="595"/>
                  <a:pt x="129" y="558"/>
                  <a:pt x="134" y="533"/>
                </a:cubicBezTo>
                <a:close/>
                <a:moveTo>
                  <a:pt x="220" y="533"/>
                </a:moveTo>
                <a:cubicBezTo>
                  <a:pt x="379" y="533"/>
                  <a:pt x="379" y="533"/>
                  <a:pt x="379" y="533"/>
                </a:cubicBezTo>
                <a:cubicBezTo>
                  <a:pt x="379" y="536"/>
                  <a:pt x="380" y="540"/>
                  <a:pt x="383" y="544"/>
                </a:cubicBezTo>
                <a:cubicBezTo>
                  <a:pt x="385" y="546"/>
                  <a:pt x="386" y="548"/>
                  <a:pt x="388" y="550"/>
                </a:cubicBezTo>
                <a:cubicBezTo>
                  <a:pt x="388" y="648"/>
                  <a:pt x="388" y="648"/>
                  <a:pt x="388" y="648"/>
                </a:cubicBezTo>
                <a:cubicBezTo>
                  <a:pt x="255" y="648"/>
                  <a:pt x="255" y="648"/>
                  <a:pt x="255" y="648"/>
                </a:cubicBezTo>
                <a:cubicBezTo>
                  <a:pt x="240" y="614"/>
                  <a:pt x="228" y="575"/>
                  <a:pt x="220" y="533"/>
                </a:cubicBezTo>
                <a:close/>
                <a:moveTo>
                  <a:pt x="388" y="662"/>
                </a:moveTo>
                <a:cubicBezTo>
                  <a:pt x="388" y="777"/>
                  <a:pt x="388" y="777"/>
                  <a:pt x="388" y="777"/>
                </a:cubicBezTo>
                <a:cubicBezTo>
                  <a:pt x="339" y="774"/>
                  <a:pt x="294" y="730"/>
                  <a:pt x="261" y="662"/>
                </a:cubicBezTo>
                <a:lnTo>
                  <a:pt x="388" y="662"/>
                </a:lnTo>
                <a:close/>
                <a:moveTo>
                  <a:pt x="402" y="662"/>
                </a:moveTo>
                <a:cubicBezTo>
                  <a:pt x="419" y="662"/>
                  <a:pt x="419" y="662"/>
                  <a:pt x="419" y="662"/>
                </a:cubicBezTo>
                <a:cubicBezTo>
                  <a:pt x="419" y="662"/>
                  <a:pt x="419" y="663"/>
                  <a:pt x="419" y="663"/>
                </a:cubicBezTo>
                <a:cubicBezTo>
                  <a:pt x="427" y="678"/>
                  <a:pt x="433" y="692"/>
                  <a:pt x="449" y="692"/>
                </a:cubicBezTo>
                <a:cubicBezTo>
                  <a:pt x="452" y="692"/>
                  <a:pt x="455" y="691"/>
                  <a:pt x="458" y="691"/>
                </a:cubicBezTo>
                <a:cubicBezTo>
                  <a:pt x="470" y="687"/>
                  <a:pt x="491" y="675"/>
                  <a:pt x="505" y="665"/>
                </a:cubicBezTo>
                <a:cubicBezTo>
                  <a:pt x="506" y="664"/>
                  <a:pt x="508" y="663"/>
                  <a:pt x="509" y="662"/>
                </a:cubicBezTo>
                <a:cubicBezTo>
                  <a:pt x="529" y="662"/>
                  <a:pt x="529" y="662"/>
                  <a:pt x="529" y="662"/>
                </a:cubicBezTo>
                <a:cubicBezTo>
                  <a:pt x="496" y="732"/>
                  <a:pt x="450" y="774"/>
                  <a:pt x="402" y="777"/>
                </a:cubicBezTo>
                <a:lnTo>
                  <a:pt x="402" y="662"/>
                </a:lnTo>
                <a:close/>
                <a:moveTo>
                  <a:pt x="528" y="648"/>
                </a:moveTo>
                <a:cubicBezTo>
                  <a:pt x="539" y="638"/>
                  <a:pt x="539" y="634"/>
                  <a:pt x="539" y="632"/>
                </a:cubicBezTo>
                <a:cubicBezTo>
                  <a:pt x="539" y="628"/>
                  <a:pt x="545" y="617"/>
                  <a:pt x="552" y="605"/>
                </a:cubicBezTo>
                <a:cubicBezTo>
                  <a:pt x="547" y="621"/>
                  <a:pt x="541" y="635"/>
                  <a:pt x="536" y="648"/>
                </a:cubicBezTo>
                <a:lnTo>
                  <a:pt x="528" y="648"/>
                </a:lnTo>
                <a:close/>
                <a:moveTo>
                  <a:pt x="570" y="592"/>
                </a:moveTo>
                <a:cubicBezTo>
                  <a:pt x="575" y="588"/>
                  <a:pt x="579" y="584"/>
                  <a:pt x="582" y="579"/>
                </a:cubicBezTo>
                <a:cubicBezTo>
                  <a:pt x="584" y="573"/>
                  <a:pt x="584" y="567"/>
                  <a:pt x="581" y="561"/>
                </a:cubicBezTo>
                <a:cubicBezTo>
                  <a:pt x="577" y="554"/>
                  <a:pt x="576" y="544"/>
                  <a:pt x="579" y="533"/>
                </a:cubicBezTo>
                <a:cubicBezTo>
                  <a:pt x="752" y="533"/>
                  <a:pt x="752" y="533"/>
                  <a:pt x="752" y="533"/>
                </a:cubicBezTo>
                <a:cubicBezTo>
                  <a:pt x="735" y="575"/>
                  <a:pt x="711" y="614"/>
                  <a:pt x="682" y="648"/>
                </a:cubicBezTo>
                <a:cubicBezTo>
                  <a:pt x="551" y="648"/>
                  <a:pt x="551" y="648"/>
                  <a:pt x="551" y="648"/>
                </a:cubicBezTo>
                <a:cubicBezTo>
                  <a:pt x="558" y="631"/>
                  <a:pt x="565" y="612"/>
                  <a:pt x="570" y="592"/>
                </a:cubicBezTo>
                <a:close/>
                <a:moveTo>
                  <a:pt x="175" y="708"/>
                </a:moveTo>
                <a:cubicBezTo>
                  <a:pt x="164" y="691"/>
                  <a:pt x="155" y="676"/>
                  <a:pt x="149" y="662"/>
                </a:cubicBezTo>
                <a:cubicBezTo>
                  <a:pt x="246" y="662"/>
                  <a:pt x="246" y="662"/>
                  <a:pt x="246" y="662"/>
                </a:cubicBezTo>
                <a:cubicBezTo>
                  <a:pt x="248" y="666"/>
                  <a:pt x="250" y="670"/>
                  <a:pt x="252" y="674"/>
                </a:cubicBezTo>
                <a:cubicBezTo>
                  <a:pt x="275" y="720"/>
                  <a:pt x="302" y="753"/>
                  <a:pt x="333" y="772"/>
                </a:cubicBezTo>
                <a:cubicBezTo>
                  <a:pt x="275" y="763"/>
                  <a:pt x="221" y="740"/>
                  <a:pt x="175" y="708"/>
                </a:cubicBezTo>
                <a:close/>
                <a:moveTo>
                  <a:pt x="457" y="773"/>
                </a:moveTo>
                <a:cubicBezTo>
                  <a:pt x="491" y="751"/>
                  <a:pt x="521" y="713"/>
                  <a:pt x="545" y="662"/>
                </a:cubicBezTo>
                <a:cubicBezTo>
                  <a:pt x="669" y="662"/>
                  <a:pt x="669" y="662"/>
                  <a:pt x="669" y="662"/>
                </a:cubicBezTo>
                <a:cubicBezTo>
                  <a:pt x="613" y="719"/>
                  <a:pt x="539" y="759"/>
                  <a:pt x="457" y="77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4" name="Right Arrow 13"/>
          <p:cNvSpPr/>
          <p:nvPr/>
        </p:nvSpPr>
        <p:spPr>
          <a:xfrm>
            <a:off x="6322303" y="1590669"/>
            <a:ext cx="283706" cy="351441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TextBox 16"/>
          <p:cNvSpPr txBox="1"/>
          <p:nvPr/>
        </p:nvSpPr>
        <p:spPr>
          <a:xfrm>
            <a:off x="6610583" y="1475027"/>
            <a:ext cx="1698761" cy="612741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91440" rIns="182880" bIns="91440" rtlCol="0" anchor="ctr" anchorCtr="0">
            <a:noAutofit/>
          </a:bodyPr>
          <a:lstStyle/>
          <a:p>
            <a:pPr marL="429816"/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610583" y="2412287"/>
            <a:ext cx="1698761" cy="612741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91440" rIns="182880" bIns="91440" rtlCol="0" anchor="ctr" anchorCtr="0">
            <a:noAutofit/>
          </a:bodyPr>
          <a:lstStyle/>
          <a:p>
            <a:pPr marL="429816"/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622299" y="2412287"/>
            <a:ext cx="1698761" cy="612741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91440" rIns="182880" bIns="91440" rtlCol="0" anchor="ctr" anchorCtr="0">
            <a:noAutofit/>
          </a:bodyPr>
          <a:lstStyle/>
          <a:p>
            <a:pPr marL="429816"/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634016" y="2412287"/>
            <a:ext cx="1698761" cy="612741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91440" rIns="182880" bIns="91440" rtlCol="0" anchor="ctr" anchorCtr="0">
            <a:noAutofit/>
          </a:bodyPr>
          <a:lstStyle/>
          <a:p>
            <a:pPr marL="429816"/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45733" y="2420973"/>
            <a:ext cx="1698761" cy="612741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91440" rIns="182880" bIns="91440" rtlCol="0" anchor="ctr" anchorCtr="0">
            <a:noAutofit/>
          </a:bodyPr>
          <a:lstStyle/>
          <a:p>
            <a:pPr marL="429816"/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 rot="5400000">
            <a:off x="7289948" y="2061981"/>
            <a:ext cx="340030" cy="351441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6" name="Right Arrow 25"/>
          <p:cNvSpPr/>
          <p:nvPr/>
        </p:nvSpPr>
        <p:spPr>
          <a:xfrm rot="10800000">
            <a:off x="6328540" y="2542937"/>
            <a:ext cx="283706" cy="351441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7" name="Right Arrow 26"/>
          <p:cNvSpPr/>
          <p:nvPr/>
        </p:nvSpPr>
        <p:spPr>
          <a:xfrm rot="10800000">
            <a:off x="4340257" y="2542937"/>
            <a:ext cx="283706" cy="351441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8" name="Right Arrow 27"/>
          <p:cNvSpPr/>
          <p:nvPr/>
        </p:nvSpPr>
        <p:spPr>
          <a:xfrm rot="10800000">
            <a:off x="2351974" y="2542937"/>
            <a:ext cx="283706" cy="351441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9" name="Freeform 81"/>
          <p:cNvSpPr>
            <a:spLocks noEditPoints="1"/>
          </p:cNvSpPr>
          <p:nvPr/>
        </p:nvSpPr>
        <p:spPr bwMode="auto">
          <a:xfrm>
            <a:off x="6788687" y="1596866"/>
            <a:ext cx="335406" cy="421121"/>
          </a:xfrm>
          <a:custGeom>
            <a:avLst/>
            <a:gdLst>
              <a:gd name="T0" fmla="*/ 596 w 603"/>
              <a:gd name="T1" fmla="*/ 239 h 757"/>
              <a:gd name="T2" fmla="*/ 578 w 603"/>
              <a:gd name="T3" fmla="*/ 180 h 757"/>
              <a:gd name="T4" fmla="*/ 548 w 603"/>
              <a:gd name="T5" fmla="*/ 126 h 757"/>
              <a:gd name="T6" fmla="*/ 507 w 603"/>
              <a:gd name="T7" fmla="*/ 80 h 757"/>
              <a:gd name="T8" fmla="*/ 458 w 603"/>
              <a:gd name="T9" fmla="*/ 43 h 757"/>
              <a:gd name="T10" fmla="*/ 403 w 603"/>
              <a:gd name="T11" fmla="*/ 17 h 757"/>
              <a:gd name="T12" fmla="*/ 343 w 603"/>
              <a:gd name="T13" fmla="*/ 3 h 757"/>
              <a:gd name="T14" fmla="*/ 281 w 603"/>
              <a:gd name="T15" fmla="*/ 2 h 757"/>
              <a:gd name="T16" fmla="*/ 221 w 603"/>
              <a:gd name="T17" fmla="*/ 14 h 757"/>
              <a:gd name="T18" fmla="*/ 164 w 603"/>
              <a:gd name="T19" fmla="*/ 38 h 757"/>
              <a:gd name="T20" fmla="*/ 114 w 603"/>
              <a:gd name="T21" fmla="*/ 73 h 757"/>
              <a:gd name="T22" fmla="*/ 72 w 603"/>
              <a:gd name="T23" fmla="*/ 118 h 757"/>
              <a:gd name="T24" fmla="*/ 40 w 603"/>
              <a:gd name="T25" fmla="*/ 171 h 757"/>
              <a:gd name="T26" fmla="*/ 20 w 603"/>
              <a:gd name="T27" fmla="*/ 229 h 757"/>
              <a:gd name="T28" fmla="*/ 13 w 603"/>
              <a:gd name="T29" fmla="*/ 290 h 757"/>
              <a:gd name="T30" fmla="*/ 18 w 603"/>
              <a:gd name="T31" fmla="*/ 351 h 757"/>
              <a:gd name="T32" fmla="*/ 36 w 603"/>
              <a:gd name="T33" fmla="*/ 410 h 757"/>
              <a:gd name="T34" fmla="*/ 66 w 603"/>
              <a:gd name="T35" fmla="*/ 464 h 757"/>
              <a:gd name="T36" fmla="*/ 1 w 603"/>
              <a:gd name="T37" fmla="*/ 650 h 757"/>
              <a:gd name="T38" fmla="*/ 202 w 603"/>
              <a:gd name="T39" fmla="*/ 755 h 757"/>
              <a:gd name="T40" fmla="*/ 303 w 603"/>
              <a:gd name="T41" fmla="*/ 569 h 757"/>
              <a:gd name="T42" fmla="*/ 381 w 603"/>
              <a:gd name="T43" fmla="*/ 711 h 757"/>
              <a:gd name="T44" fmla="*/ 578 w 603"/>
              <a:gd name="T45" fmla="*/ 622 h 757"/>
              <a:gd name="T46" fmla="*/ 547 w 603"/>
              <a:gd name="T47" fmla="*/ 469 h 757"/>
              <a:gd name="T48" fmla="*/ 578 w 603"/>
              <a:gd name="T49" fmla="*/ 416 h 757"/>
              <a:gd name="T50" fmla="*/ 597 w 603"/>
              <a:gd name="T51" fmla="*/ 357 h 757"/>
              <a:gd name="T52" fmla="*/ 603 w 603"/>
              <a:gd name="T53" fmla="*/ 295 h 757"/>
              <a:gd name="T54" fmla="*/ 552 w 603"/>
              <a:gd name="T55" fmla="*/ 370 h 757"/>
              <a:gd name="T56" fmla="*/ 526 w 603"/>
              <a:gd name="T57" fmla="*/ 427 h 757"/>
              <a:gd name="T58" fmla="*/ 498 w 603"/>
              <a:gd name="T59" fmla="*/ 472 h 757"/>
              <a:gd name="T60" fmla="*/ 383 w 603"/>
              <a:gd name="T61" fmla="*/ 692 h 757"/>
              <a:gd name="T62" fmla="*/ 302 w 603"/>
              <a:gd name="T63" fmla="*/ 551 h 757"/>
              <a:gd name="T64" fmla="*/ 132 w 603"/>
              <a:gd name="T65" fmla="*/ 654 h 757"/>
              <a:gd name="T66" fmla="*/ 103 w 603"/>
              <a:gd name="T67" fmla="*/ 465 h 757"/>
              <a:gd name="T68" fmla="*/ 83 w 603"/>
              <a:gd name="T69" fmla="*/ 419 h 757"/>
              <a:gd name="T70" fmla="*/ 34 w 603"/>
              <a:gd name="T71" fmla="*/ 353 h 757"/>
              <a:gd name="T72" fmla="*/ 52 w 603"/>
              <a:gd name="T73" fmla="*/ 273 h 757"/>
              <a:gd name="T74" fmla="*/ 65 w 603"/>
              <a:gd name="T75" fmla="*/ 212 h 757"/>
              <a:gd name="T76" fmla="*/ 81 w 603"/>
              <a:gd name="T77" fmla="*/ 131 h 757"/>
              <a:gd name="T78" fmla="*/ 153 w 603"/>
              <a:gd name="T79" fmla="*/ 91 h 757"/>
              <a:gd name="T80" fmla="*/ 207 w 603"/>
              <a:gd name="T81" fmla="*/ 59 h 757"/>
              <a:gd name="T82" fmla="*/ 278 w 603"/>
              <a:gd name="T83" fmla="*/ 18 h 757"/>
              <a:gd name="T84" fmla="*/ 356 w 603"/>
              <a:gd name="T85" fmla="*/ 44 h 757"/>
              <a:gd name="T86" fmla="*/ 415 w 603"/>
              <a:gd name="T87" fmla="*/ 63 h 757"/>
              <a:gd name="T88" fmla="*/ 494 w 603"/>
              <a:gd name="T89" fmla="*/ 88 h 757"/>
              <a:gd name="T90" fmla="*/ 526 w 603"/>
              <a:gd name="T91" fmla="*/ 163 h 757"/>
              <a:gd name="T92" fmla="*/ 552 w 603"/>
              <a:gd name="T93" fmla="*/ 220 h 757"/>
              <a:gd name="T94" fmla="*/ 586 w 603"/>
              <a:gd name="T95" fmla="*/ 295 h 757"/>
              <a:gd name="T96" fmla="*/ 307 w 603"/>
              <a:gd name="T97" fmla="*/ 463 h 757"/>
              <a:gd name="T98" fmla="*/ 147 w 603"/>
              <a:gd name="T99" fmla="*/ 289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3" h="757">
                <a:moveTo>
                  <a:pt x="603" y="295"/>
                </a:moveTo>
                <a:cubicBezTo>
                  <a:pt x="603" y="293"/>
                  <a:pt x="602" y="291"/>
                  <a:pt x="601" y="290"/>
                </a:cubicBezTo>
                <a:cubicBezTo>
                  <a:pt x="576" y="267"/>
                  <a:pt x="576" y="267"/>
                  <a:pt x="576" y="267"/>
                </a:cubicBezTo>
                <a:cubicBezTo>
                  <a:pt x="596" y="239"/>
                  <a:pt x="596" y="239"/>
                  <a:pt x="596" y="239"/>
                </a:cubicBezTo>
                <a:cubicBezTo>
                  <a:pt x="597" y="237"/>
                  <a:pt x="597" y="235"/>
                  <a:pt x="597" y="233"/>
                </a:cubicBezTo>
                <a:cubicBezTo>
                  <a:pt x="596" y="232"/>
                  <a:pt x="595" y="230"/>
                  <a:pt x="593" y="229"/>
                </a:cubicBezTo>
                <a:cubicBezTo>
                  <a:pt x="564" y="211"/>
                  <a:pt x="564" y="211"/>
                  <a:pt x="564" y="211"/>
                </a:cubicBezTo>
                <a:cubicBezTo>
                  <a:pt x="578" y="180"/>
                  <a:pt x="578" y="180"/>
                  <a:pt x="578" y="180"/>
                </a:cubicBezTo>
                <a:cubicBezTo>
                  <a:pt x="578" y="178"/>
                  <a:pt x="578" y="176"/>
                  <a:pt x="578" y="175"/>
                </a:cubicBezTo>
                <a:cubicBezTo>
                  <a:pt x="577" y="173"/>
                  <a:pt x="575" y="171"/>
                  <a:pt x="573" y="171"/>
                </a:cubicBezTo>
                <a:cubicBezTo>
                  <a:pt x="541" y="160"/>
                  <a:pt x="541" y="160"/>
                  <a:pt x="541" y="160"/>
                </a:cubicBezTo>
                <a:cubicBezTo>
                  <a:pt x="548" y="126"/>
                  <a:pt x="548" y="126"/>
                  <a:pt x="548" y="126"/>
                </a:cubicBezTo>
                <a:cubicBezTo>
                  <a:pt x="548" y="124"/>
                  <a:pt x="548" y="122"/>
                  <a:pt x="547" y="121"/>
                </a:cubicBezTo>
                <a:cubicBezTo>
                  <a:pt x="545" y="119"/>
                  <a:pt x="544" y="118"/>
                  <a:pt x="542" y="118"/>
                </a:cubicBezTo>
                <a:cubicBezTo>
                  <a:pt x="508" y="114"/>
                  <a:pt x="508" y="114"/>
                  <a:pt x="508" y="114"/>
                </a:cubicBezTo>
                <a:cubicBezTo>
                  <a:pt x="507" y="80"/>
                  <a:pt x="507" y="80"/>
                  <a:pt x="507" y="80"/>
                </a:cubicBezTo>
                <a:cubicBezTo>
                  <a:pt x="507" y="78"/>
                  <a:pt x="507" y="76"/>
                  <a:pt x="505" y="75"/>
                </a:cubicBezTo>
                <a:cubicBezTo>
                  <a:pt x="504" y="73"/>
                  <a:pt x="502" y="73"/>
                  <a:pt x="500" y="73"/>
                </a:cubicBezTo>
                <a:cubicBezTo>
                  <a:pt x="466" y="76"/>
                  <a:pt x="466" y="76"/>
                  <a:pt x="466" y="76"/>
                </a:cubicBezTo>
                <a:cubicBezTo>
                  <a:pt x="458" y="43"/>
                  <a:pt x="458" y="43"/>
                  <a:pt x="458" y="43"/>
                </a:cubicBezTo>
                <a:cubicBezTo>
                  <a:pt x="458" y="41"/>
                  <a:pt x="457" y="39"/>
                  <a:pt x="455" y="38"/>
                </a:cubicBezTo>
                <a:cubicBezTo>
                  <a:pt x="453" y="37"/>
                  <a:pt x="451" y="37"/>
                  <a:pt x="449" y="38"/>
                </a:cubicBezTo>
                <a:cubicBezTo>
                  <a:pt x="417" y="48"/>
                  <a:pt x="417" y="48"/>
                  <a:pt x="417" y="48"/>
                </a:cubicBezTo>
                <a:cubicBezTo>
                  <a:pt x="403" y="17"/>
                  <a:pt x="403" y="17"/>
                  <a:pt x="403" y="17"/>
                </a:cubicBezTo>
                <a:cubicBezTo>
                  <a:pt x="402" y="15"/>
                  <a:pt x="400" y="14"/>
                  <a:pt x="398" y="13"/>
                </a:cubicBezTo>
                <a:cubicBezTo>
                  <a:pt x="397" y="13"/>
                  <a:pt x="395" y="13"/>
                  <a:pt x="393" y="14"/>
                </a:cubicBezTo>
                <a:cubicBezTo>
                  <a:pt x="363" y="30"/>
                  <a:pt x="363" y="30"/>
                  <a:pt x="363" y="30"/>
                </a:cubicBezTo>
                <a:cubicBezTo>
                  <a:pt x="343" y="3"/>
                  <a:pt x="343" y="3"/>
                  <a:pt x="343" y="3"/>
                </a:cubicBezTo>
                <a:cubicBezTo>
                  <a:pt x="342" y="2"/>
                  <a:pt x="340" y="0"/>
                  <a:pt x="338" y="0"/>
                </a:cubicBezTo>
                <a:cubicBezTo>
                  <a:pt x="336" y="0"/>
                  <a:pt x="334" y="1"/>
                  <a:pt x="332" y="2"/>
                </a:cubicBezTo>
                <a:cubicBezTo>
                  <a:pt x="307" y="24"/>
                  <a:pt x="307" y="24"/>
                  <a:pt x="307" y="24"/>
                </a:cubicBezTo>
                <a:cubicBezTo>
                  <a:pt x="281" y="2"/>
                  <a:pt x="281" y="2"/>
                  <a:pt x="281" y="2"/>
                </a:cubicBezTo>
                <a:cubicBezTo>
                  <a:pt x="280" y="1"/>
                  <a:pt x="278" y="0"/>
                  <a:pt x="276" y="0"/>
                </a:cubicBezTo>
                <a:cubicBezTo>
                  <a:pt x="274" y="0"/>
                  <a:pt x="272" y="2"/>
                  <a:pt x="271" y="3"/>
                </a:cubicBezTo>
                <a:cubicBezTo>
                  <a:pt x="251" y="30"/>
                  <a:pt x="251" y="30"/>
                  <a:pt x="251" y="30"/>
                </a:cubicBezTo>
                <a:cubicBezTo>
                  <a:pt x="221" y="14"/>
                  <a:pt x="221" y="14"/>
                  <a:pt x="221" y="14"/>
                </a:cubicBezTo>
                <a:cubicBezTo>
                  <a:pt x="219" y="13"/>
                  <a:pt x="217" y="13"/>
                  <a:pt x="215" y="13"/>
                </a:cubicBezTo>
                <a:cubicBezTo>
                  <a:pt x="213" y="14"/>
                  <a:pt x="212" y="15"/>
                  <a:pt x="211" y="17"/>
                </a:cubicBezTo>
                <a:cubicBezTo>
                  <a:pt x="197" y="48"/>
                  <a:pt x="197" y="48"/>
                  <a:pt x="197" y="48"/>
                </a:cubicBezTo>
                <a:cubicBezTo>
                  <a:pt x="164" y="38"/>
                  <a:pt x="164" y="38"/>
                  <a:pt x="164" y="38"/>
                </a:cubicBezTo>
                <a:cubicBezTo>
                  <a:pt x="162" y="37"/>
                  <a:pt x="160" y="37"/>
                  <a:pt x="159" y="38"/>
                </a:cubicBezTo>
                <a:cubicBezTo>
                  <a:pt x="157" y="39"/>
                  <a:pt x="156" y="41"/>
                  <a:pt x="155" y="43"/>
                </a:cubicBezTo>
                <a:cubicBezTo>
                  <a:pt x="148" y="76"/>
                  <a:pt x="148" y="76"/>
                  <a:pt x="148" y="76"/>
                </a:cubicBezTo>
                <a:cubicBezTo>
                  <a:pt x="114" y="73"/>
                  <a:pt x="114" y="73"/>
                  <a:pt x="114" y="73"/>
                </a:cubicBezTo>
                <a:cubicBezTo>
                  <a:pt x="112" y="73"/>
                  <a:pt x="110" y="73"/>
                  <a:pt x="109" y="75"/>
                </a:cubicBezTo>
                <a:cubicBezTo>
                  <a:pt x="107" y="76"/>
                  <a:pt x="106" y="78"/>
                  <a:pt x="106" y="80"/>
                </a:cubicBezTo>
                <a:cubicBezTo>
                  <a:pt x="106" y="114"/>
                  <a:pt x="106" y="114"/>
                  <a:pt x="106" y="114"/>
                </a:cubicBezTo>
                <a:cubicBezTo>
                  <a:pt x="72" y="118"/>
                  <a:pt x="72" y="118"/>
                  <a:pt x="72" y="118"/>
                </a:cubicBezTo>
                <a:cubicBezTo>
                  <a:pt x="70" y="118"/>
                  <a:pt x="68" y="119"/>
                  <a:pt x="67" y="121"/>
                </a:cubicBezTo>
                <a:cubicBezTo>
                  <a:pt x="66" y="122"/>
                  <a:pt x="65" y="124"/>
                  <a:pt x="66" y="126"/>
                </a:cubicBezTo>
                <a:cubicBezTo>
                  <a:pt x="73" y="160"/>
                  <a:pt x="73" y="160"/>
                  <a:pt x="73" y="160"/>
                </a:cubicBezTo>
                <a:cubicBezTo>
                  <a:pt x="40" y="171"/>
                  <a:pt x="40" y="171"/>
                  <a:pt x="40" y="171"/>
                </a:cubicBezTo>
                <a:cubicBezTo>
                  <a:pt x="38" y="171"/>
                  <a:pt x="37" y="173"/>
                  <a:pt x="36" y="175"/>
                </a:cubicBezTo>
                <a:cubicBezTo>
                  <a:pt x="35" y="176"/>
                  <a:pt x="35" y="178"/>
                  <a:pt x="36" y="180"/>
                </a:cubicBezTo>
                <a:cubicBezTo>
                  <a:pt x="50" y="211"/>
                  <a:pt x="50" y="211"/>
                  <a:pt x="50" y="211"/>
                </a:cubicBezTo>
                <a:cubicBezTo>
                  <a:pt x="20" y="229"/>
                  <a:pt x="20" y="229"/>
                  <a:pt x="20" y="229"/>
                </a:cubicBezTo>
                <a:cubicBezTo>
                  <a:pt x="19" y="230"/>
                  <a:pt x="17" y="232"/>
                  <a:pt x="17" y="233"/>
                </a:cubicBezTo>
                <a:cubicBezTo>
                  <a:pt x="17" y="235"/>
                  <a:pt x="17" y="237"/>
                  <a:pt x="18" y="239"/>
                </a:cubicBezTo>
                <a:cubicBezTo>
                  <a:pt x="38" y="267"/>
                  <a:pt x="38" y="267"/>
                  <a:pt x="38" y="267"/>
                </a:cubicBezTo>
                <a:cubicBezTo>
                  <a:pt x="13" y="290"/>
                  <a:pt x="13" y="290"/>
                  <a:pt x="13" y="290"/>
                </a:cubicBezTo>
                <a:cubicBezTo>
                  <a:pt x="11" y="291"/>
                  <a:pt x="10" y="293"/>
                  <a:pt x="10" y="295"/>
                </a:cubicBezTo>
                <a:cubicBezTo>
                  <a:pt x="10" y="297"/>
                  <a:pt x="11" y="299"/>
                  <a:pt x="13" y="300"/>
                </a:cubicBezTo>
                <a:cubicBezTo>
                  <a:pt x="38" y="323"/>
                  <a:pt x="38" y="323"/>
                  <a:pt x="38" y="323"/>
                </a:cubicBezTo>
                <a:cubicBezTo>
                  <a:pt x="18" y="351"/>
                  <a:pt x="18" y="351"/>
                  <a:pt x="18" y="351"/>
                </a:cubicBezTo>
                <a:cubicBezTo>
                  <a:pt x="17" y="353"/>
                  <a:pt x="17" y="355"/>
                  <a:pt x="17" y="357"/>
                </a:cubicBezTo>
                <a:cubicBezTo>
                  <a:pt x="17" y="359"/>
                  <a:pt x="19" y="360"/>
                  <a:pt x="20" y="361"/>
                </a:cubicBezTo>
                <a:cubicBezTo>
                  <a:pt x="50" y="379"/>
                  <a:pt x="50" y="379"/>
                  <a:pt x="50" y="379"/>
                </a:cubicBezTo>
                <a:cubicBezTo>
                  <a:pt x="36" y="410"/>
                  <a:pt x="36" y="410"/>
                  <a:pt x="36" y="410"/>
                </a:cubicBezTo>
                <a:cubicBezTo>
                  <a:pt x="35" y="412"/>
                  <a:pt x="35" y="414"/>
                  <a:pt x="36" y="416"/>
                </a:cubicBezTo>
                <a:cubicBezTo>
                  <a:pt x="37" y="417"/>
                  <a:pt x="38" y="419"/>
                  <a:pt x="40" y="419"/>
                </a:cubicBezTo>
                <a:cubicBezTo>
                  <a:pt x="73" y="430"/>
                  <a:pt x="73" y="430"/>
                  <a:pt x="73" y="430"/>
                </a:cubicBezTo>
                <a:cubicBezTo>
                  <a:pt x="66" y="464"/>
                  <a:pt x="66" y="464"/>
                  <a:pt x="66" y="464"/>
                </a:cubicBezTo>
                <a:cubicBezTo>
                  <a:pt x="65" y="466"/>
                  <a:pt x="66" y="468"/>
                  <a:pt x="67" y="469"/>
                </a:cubicBezTo>
                <a:cubicBezTo>
                  <a:pt x="68" y="471"/>
                  <a:pt x="70" y="472"/>
                  <a:pt x="72" y="472"/>
                </a:cubicBezTo>
                <a:cubicBezTo>
                  <a:pt x="87" y="474"/>
                  <a:pt x="87" y="474"/>
                  <a:pt x="87" y="474"/>
                </a:cubicBezTo>
                <a:cubicBezTo>
                  <a:pt x="1" y="650"/>
                  <a:pt x="1" y="650"/>
                  <a:pt x="1" y="650"/>
                </a:cubicBezTo>
                <a:cubicBezTo>
                  <a:pt x="0" y="652"/>
                  <a:pt x="0" y="654"/>
                  <a:pt x="1" y="656"/>
                </a:cubicBezTo>
                <a:cubicBezTo>
                  <a:pt x="3" y="658"/>
                  <a:pt x="5" y="660"/>
                  <a:pt x="7" y="660"/>
                </a:cubicBezTo>
                <a:cubicBezTo>
                  <a:pt x="124" y="665"/>
                  <a:pt x="124" y="665"/>
                  <a:pt x="124" y="665"/>
                </a:cubicBezTo>
                <a:cubicBezTo>
                  <a:pt x="202" y="755"/>
                  <a:pt x="202" y="755"/>
                  <a:pt x="202" y="755"/>
                </a:cubicBezTo>
                <a:cubicBezTo>
                  <a:pt x="203" y="756"/>
                  <a:pt x="205" y="757"/>
                  <a:pt x="207" y="757"/>
                </a:cubicBezTo>
                <a:cubicBezTo>
                  <a:pt x="208" y="757"/>
                  <a:pt x="208" y="757"/>
                  <a:pt x="208" y="757"/>
                </a:cubicBezTo>
                <a:cubicBezTo>
                  <a:pt x="211" y="757"/>
                  <a:pt x="213" y="755"/>
                  <a:pt x="214" y="753"/>
                </a:cubicBezTo>
                <a:cubicBezTo>
                  <a:pt x="303" y="569"/>
                  <a:pt x="303" y="569"/>
                  <a:pt x="303" y="569"/>
                </a:cubicBezTo>
                <a:cubicBezTo>
                  <a:pt x="307" y="566"/>
                  <a:pt x="307" y="566"/>
                  <a:pt x="307" y="566"/>
                </a:cubicBezTo>
                <a:cubicBezTo>
                  <a:pt x="314" y="572"/>
                  <a:pt x="314" y="572"/>
                  <a:pt x="314" y="572"/>
                </a:cubicBezTo>
                <a:cubicBezTo>
                  <a:pt x="375" y="707"/>
                  <a:pt x="375" y="707"/>
                  <a:pt x="375" y="707"/>
                </a:cubicBezTo>
                <a:cubicBezTo>
                  <a:pt x="376" y="709"/>
                  <a:pt x="378" y="711"/>
                  <a:pt x="381" y="711"/>
                </a:cubicBezTo>
                <a:cubicBezTo>
                  <a:pt x="383" y="712"/>
                  <a:pt x="385" y="711"/>
                  <a:pt x="387" y="709"/>
                </a:cubicBezTo>
                <a:cubicBezTo>
                  <a:pt x="459" y="626"/>
                  <a:pt x="459" y="626"/>
                  <a:pt x="459" y="626"/>
                </a:cubicBezTo>
                <a:cubicBezTo>
                  <a:pt x="572" y="625"/>
                  <a:pt x="572" y="625"/>
                  <a:pt x="572" y="625"/>
                </a:cubicBezTo>
                <a:cubicBezTo>
                  <a:pt x="574" y="625"/>
                  <a:pt x="576" y="624"/>
                  <a:pt x="578" y="622"/>
                </a:cubicBezTo>
                <a:cubicBezTo>
                  <a:pt x="579" y="620"/>
                  <a:pt x="579" y="617"/>
                  <a:pt x="578" y="615"/>
                </a:cubicBezTo>
                <a:cubicBezTo>
                  <a:pt x="515" y="475"/>
                  <a:pt x="515" y="475"/>
                  <a:pt x="515" y="475"/>
                </a:cubicBezTo>
                <a:cubicBezTo>
                  <a:pt x="542" y="472"/>
                  <a:pt x="542" y="472"/>
                  <a:pt x="542" y="472"/>
                </a:cubicBezTo>
                <a:cubicBezTo>
                  <a:pt x="544" y="472"/>
                  <a:pt x="545" y="471"/>
                  <a:pt x="547" y="469"/>
                </a:cubicBezTo>
                <a:cubicBezTo>
                  <a:pt x="548" y="468"/>
                  <a:pt x="548" y="466"/>
                  <a:pt x="548" y="464"/>
                </a:cubicBezTo>
                <a:cubicBezTo>
                  <a:pt x="541" y="430"/>
                  <a:pt x="541" y="430"/>
                  <a:pt x="541" y="430"/>
                </a:cubicBezTo>
                <a:cubicBezTo>
                  <a:pt x="573" y="419"/>
                  <a:pt x="573" y="419"/>
                  <a:pt x="573" y="419"/>
                </a:cubicBezTo>
                <a:cubicBezTo>
                  <a:pt x="575" y="419"/>
                  <a:pt x="577" y="417"/>
                  <a:pt x="578" y="416"/>
                </a:cubicBezTo>
                <a:cubicBezTo>
                  <a:pt x="578" y="414"/>
                  <a:pt x="578" y="412"/>
                  <a:pt x="578" y="410"/>
                </a:cubicBezTo>
                <a:cubicBezTo>
                  <a:pt x="564" y="379"/>
                  <a:pt x="564" y="379"/>
                  <a:pt x="564" y="379"/>
                </a:cubicBezTo>
                <a:cubicBezTo>
                  <a:pt x="593" y="361"/>
                  <a:pt x="593" y="361"/>
                  <a:pt x="593" y="361"/>
                </a:cubicBezTo>
                <a:cubicBezTo>
                  <a:pt x="595" y="360"/>
                  <a:pt x="596" y="359"/>
                  <a:pt x="597" y="357"/>
                </a:cubicBezTo>
                <a:cubicBezTo>
                  <a:pt x="597" y="355"/>
                  <a:pt x="597" y="353"/>
                  <a:pt x="596" y="351"/>
                </a:cubicBezTo>
                <a:cubicBezTo>
                  <a:pt x="576" y="323"/>
                  <a:pt x="576" y="323"/>
                  <a:pt x="576" y="323"/>
                </a:cubicBezTo>
                <a:cubicBezTo>
                  <a:pt x="601" y="300"/>
                  <a:pt x="601" y="300"/>
                  <a:pt x="601" y="300"/>
                </a:cubicBezTo>
                <a:cubicBezTo>
                  <a:pt x="602" y="299"/>
                  <a:pt x="603" y="297"/>
                  <a:pt x="603" y="295"/>
                </a:cubicBezTo>
                <a:close/>
                <a:moveTo>
                  <a:pt x="562" y="317"/>
                </a:moveTo>
                <a:cubicBezTo>
                  <a:pt x="559" y="320"/>
                  <a:pt x="559" y="324"/>
                  <a:pt x="561" y="326"/>
                </a:cubicBezTo>
                <a:cubicBezTo>
                  <a:pt x="580" y="353"/>
                  <a:pt x="580" y="353"/>
                  <a:pt x="580" y="353"/>
                </a:cubicBezTo>
                <a:cubicBezTo>
                  <a:pt x="552" y="370"/>
                  <a:pt x="552" y="370"/>
                  <a:pt x="552" y="370"/>
                </a:cubicBezTo>
                <a:cubicBezTo>
                  <a:pt x="549" y="372"/>
                  <a:pt x="547" y="375"/>
                  <a:pt x="549" y="379"/>
                </a:cubicBezTo>
                <a:cubicBezTo>
                  <a:pt x="562" y="409"/>
                  <a:pt x="562" y="409"/>
                  <a:pt x="562" y="409"/>
                </a:cubicBezTo>
                <a:cubicBezTo>
                  <a:pt x="531" y="419"/>
                  <a:pt x="531" y="419"/>
                  <a:pt x="531" y="419"/>
                </a:cubicBezTo>
                <a:cubicBezTo>
                  <a:pt x="527" y="420"/>
                  <a:pt x="526" y="424"/>
                  <a:pt x="526" y="427"/>
                </a:cubicBezTo>
                <a:cubicBezTo>
                  <a:pt x="533" y="459"/>
                  <a:pt x="533" y="459"/>
                  <a:pt x="533" y="459"/>
                </a:cubicBezTo>
                <a:cubicBezTo>
                  <a:pt x="504" y="462"/>
                  <a:pt x="504" y="462"/>
                  <a:pt x="504" y="462"/>
                </a:cubicBezTo>
                <a:cubicBezTo>
                  <a:pt x="501" y="463"/>
                  <a:pt x="499" y="464"/>
                  <a:pt x="498" y="466"/>
                </a:cubicBezTo>
                <a:cubicBezTo>
                  <a:pt x="497" y="468"/>
                  <a:pt x="497" y="470"/>
                  <a:pt x="498" y="472"/>
                </a:cubicBezTo>
                <a:cubicBezTo>
                  <a:pt x="561" y="611"/>
                  <a:pt x="561" y="611"/>
                  <a:pt x="561" y="611"/>
                </a:cubicBezTo>
                <a:cubicBezTo>
                  <a:pt x="456" y="612"/>
                  <a:pt x="456" y="612"/>
                  <a:pt x="456" y="612"/>
                </a:cubicBezTo>
                <a:cubicBezTo>
                  <a:pt x="454" y="612"/>
                  <a:pt x="452" y="612"/>
                  <a:pt x="451" y="614"/>
                </a:cubicBezTo>
                <a:cubicBezTo>
                  <a:pt x="383" y="692"/>
                  <a:pt x="383" y="692"/>
                  <a:pt x="383" y="692"/>
                </a:cubicBezTo>
                <a:cubicBezTo>
                  <a:pt x="326" y="564"/>
                  <a:pt x="326" y="564"/>
                  <a:pt x="326" y="564"/>
                </a:cubicBezTo>
                <a:cubicBezTo>
                  <a:pt x="325" y="563"/>
                  <a:pt x="325" y="563"/>
                  <a:pt x="324" y="562"/>
                </a:cubicBezTo>
                <a:cubicBezTo>
                  <a:pt x="311" y="551"/>
                  <a:pt x="311" y="551"/>
                  <a:pt x="311" y="551"/>
                </a:cubicBezTo>
                <a:cubicBezTo>
                  <a:pt x="309" y="549"/>
                  <a:pt x="305" y="549"/>
                  <a:pt x="302" y="551"/>
                </a:cubicBezTo>
                <a:cubicBezTo>
                  <a:pt x="293" y="559"/>
                  <a:pt x="293" y="559"/>
                  <a:pt x="293" y="559"/>
                </a:cubicBezTo>
                <a:cubicBezTo>
                  <a:pt x="292" y="560"/>
                  <a:pt x="292" y="561"/>
                  <a:pt x="291" y="561"/>
                </a:cubicBezTo>
                <a:cubicBezTo>
                  <a:pt x="206" y="737"/>
                  <a:pt x="206" y="737"/>
                  <a:pt x="206" y="737"/>
                </a:cubicBezTo>
                <a:cubicBezTo>
                  <a:pt x="132" y="654"/>
                  <a:pt x="132" y="654"/>
                  <a:pt x="132" y="654"/>
                </a:cubicBezTo>
                <a:cubicBezTo>
                  <a:pt x="131" y="652"/>
                  <a:pt x="129" y="651"/>
                  <a:pt x="127" y="651"/>
                </a:cubicBezTo>
                <a:cubicBezTo>
                  <a:pt x="18" y="646"/>
                  <a:pt x="18" y="646"/>
                  <a:pt x="18" y="646"/>
                </a:cubicBezTo>
                <a:cubicBezTo>
                  <a:pt x="104" y="471"/>
                  <a:pt x="104" y="471"/>
                  <a:pt x="104" y="471"/>
                </a:cubicBezTo>
                <a:cubicBezTo>
                  <a:pt x="105" y="469"/>
                  <a:pt x="105" y="467"/>
                  <a:pt x="103" y="465"/>
                </a:cubicBezTo>
                <a:cubicBezTo>
                  <a:pt x="102" y="463"/>
                  <a:pt x="100" y="461"/>
                  <a:pt x="98" y="461"/>
                </a:cubicBezTo>
                <a:cubicBezTo>
                  <a:pt x="81" y="459"/>
                  <a:pt x="81" y="459"/>
                  <a:pt x="81" y="459"/>
                </a:cubicBezTo>
                <a:cubicBezTo>
                  <a:pt x="87" y="427"/>
                  <a:pt x="87" y="427"/>
                  <a:pt x="87" y="427"/>
                </a:cubicBezTo>
                <a:cubicBezTo>
                  <a:pt x="88" y="424"/>
                  <a:pt x="86" y="420"/>
                  <a:pt x="83" y="419"/>
                </a:cubicBezTo>
                <a:cubicBezTo>
                  <a:pt x="52" y="409"/>
                  <a:pt x="52" y="409"/>
                  <a:pt x="52" y="409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66" y="375"/>
                  <a:pt x="65" y="372"/>
                  <a:pt x="62" y="370"/>
                </a:cubicBezTo>
                <a:cubicBezTo>
                  <a:pt x="34" y="353"/>
                  <a:pt x="34" y="353"/>
                  <a:pt x="34" y="353"/>
                </a:cubicBezTo>
                <a:cubicBezTo>
                  <a:pt x="53" y="326"/>
                  <a:pt x="53" y="326"/>
                  <a:pt x="53" y="326"/>
                </a:cubicBezTo>
                <a:cubicBezTo>
                  <a:pt x="55" y="324"/>
                  <a:pt x="54" y="320"/>
                  <a:pt x="52" y="317"/>
                </a:cubicBezTo>
                <a:cubicBezTo>
                  <a:pt x="28" y="295"/>
                  <a:pt x="28" y="295"/>
                  <a:pt x="28" y="295"/>
                </a:cubicBezTo>
                <a:cubicBezTo>
                  <a:pt x="52" y="273"/>
                  <a:pt x="52" y="273"/>
                  <a:pt x="52" y="273"/>
                </a:cubicBezTo>
                <a:cubicBezTo>
                  <a:pt x="54" y="270"/>
                  <a:pt x="55" y="267"/>
                  <a:pt x="53" y="264"/>
                </a:cubicBezTo>
                <a:cubicBezTo>
                  <a:pt x="34" y="237"/>
                  <a:pt x="34" y="237"/>
                  <a:pt x="34" y="237"/>
                </a:cubicBezTo>
                <a:cubicBezTo>
                  <a:pt x="62" y="220"/>
                  <a:pt x="62" y="220"/>
                  <a:pt x="62" y="220"/>
                </a:cubicBezTo>
                <a:cubicBezTo>
                  <a:pt x="65" y="219"/>
                  <a:pt x="66" y="215"/>
                  <a:pt x="65" y="212"/>
                </a:cubicBezTo>
                <a:cubicBezTo>
                  <a:pt x="52" y="182"/>
                  <a:pt x="52" y="182"/>
                  <a:pt x="52" y="182"/>
                </a:cubicBezTo>
                <a:cubicBezTo>
                  <a:pt x="83" y="171"/>
                  <a:pt x="83" y="171"/>
                  <a:pt x="83" y="171"/>
                </a:cubicBezTo>
                <a:cubicBezTo>
                  <a:pt x="86" y="170"/>
                  <a:pt x="88" y="167"/>
                  <a:pt x="87" y="163"/>
                </a:cubicBezTo>
                <a:cubicBezTo>
                  <a:pt x="81" y="131"/>
                  <a:pt x="81" y="131"/>
                  <a:pt x="81" y="131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117" y="127"/>
                  <a:pt x="120" y="124"/>
                  <a:pt x="120" y="120"/>
                </a:cubicBezTo>
                <a:cubicBezTo>
                  <a:pt x="120" y="88"/>
                  <a:pt x="120" y="88"/>
                  <a:pt x="120" y="88"/>
                </a:cubicBezTo>
                <a:cubicBezTo>
                  <a:pt x="153" y="91"/>
                  <a:pt x="153" y="91"/>
                  <a:pt x="153" y="91"/>
                </a:cubicBezTo>
                <a:cubicBezTo>
                  <a:pt x="156" y="91"/>
                  <a:pt x="159" y="89"/>
                  <a:pt x="160" y="85"/>
                </a:cubicBezTo>
                <a:cubicBezTo>
                  <a:pt x="167" y="53"/>
                  <a:pt x="167" y="53"/>
                  <a:pt x="167" y="53"/>
                </a:cubicBezTo>
                <a:cubicBezTo>
                  <a:pt x="198" y="63"/>
                  <a:pt x="198" y="63"/>
                  <a:pt x="198" y="63"/>
                </a:cubicBezTo>
                <a:cubicBezTo>
                  <a:pt x="202" y="64"/>
                  <a:pt x="205" y="63"/>
                  <a:pt x="207" y="59"/>
                </a:cubicBezTo>
                <a:cubicBezTo>
                  <a:pt x="221" y="30"/>
                  <a:pt x="221" y="30"/>
                  <a:pt x="221" y="30"/>
                </a:cubicBezTo>
                <a:cubicBezTo>
                  <a:pt x="249" y="46"/>
                  <a:pt x="249" y="46"/>
                  <a:pt x="249" y="46"/>
                </a:cubicBezTo>
                <a:cubicBezTo>
                  <a:pt x="252" y="47"/>
                  <a:pt x="256" y="47"/>
                  <a:pt x="258" y="44"/>
                </a:cubicBezTo>
                <a:cubicBezTo>
                  <a:pt x="278" y="18"/>
                  <a:pt x="278" y="18"/>
                  <a:pt x="278" y="18"/>
                </a:cubicBezTo>
                <a:cubicBezTo>
                  <a:pt x="302" y="39"/>
                  <a:pt x="302" y="39"/>
                  <a:pt x="302" y="39"/>
                </a:cubicBezTo>
                <a:cubicBezTo>
                  <a:pt x="305" y="41"/>
                  <a:pt x="309" y="41"/>
                  <a:pt x="311" y="39"/>
                </a:cubicBezTo>
                <a:cubicBezTo>
                  <a:pt x="336" y="18"/>
                  <a:pt x="336" y="18"/>
                  <a:pt x="336" y="18"/>
                </a:cubicBezTo>
                <a:cubicBezTo>
                  <a:pt x="356" y="44"/>
                  <a:pt x="356" y="44"/>
                  <a:pt x="356" y="44"/>
                </a:cubicBezTo>
                <a:cubicBezTo>
                  <a:pt x="358" y="47"/>
                  <a:pt x="361" y="47"/>
                  <a:pt x="365" y="46"/>
                </a:cubicBezTo>
                <a:cubicBezTo>
                  <a:pt x="393" y="30"/>
                  <a:pt x="393" y="30"/>
                  <a:pt x="393" y="30"/>
                </a:cubicBezTo>
                <a:cubicBezTo>
                  <a:pt x="407" y="59"/>
                  <a:pt x="407" y="59"/>
                  <a:pt x="407" y="59"/>
                </a:cubicBezTo>
                <a:cubicBezTo>
                  <a:pt x="408" y="63"/>
                  <a:pt x="412" y="64"/>
                  <a:pt x="415" y="63"/>
                </a:cubicBezTo>
                <a:cubicBezTo>
                  <a:pt x="446" y="53"/>
                  <a:pt x="446" y="53"/>
                  <a:pt x="446" y="53"/>
                </a:cubicBezTo>
                <a:cubicBezTo>
                  <a:pt x="454" y="85"/>
                  <a:pt x="454" y="85"/>
                  <a:pt x="454" y="85"/>
                </a:cubicBezTo>
                <a:cubicBezTo>
                  <a:pt x="454" y="89"/>
                  <a:pt x="457" y="91"/>
                  <a:pt x="461" y="91"/>
                </a:cubicBezTo>
                <a:cubicBezTo>
                  <a:pt x="494" y="88"/>
                  <a:pt x="494" y="88"/>
                  <a:pt x="494" y="88"/>
                </a:cubicBezTo>
                <a:cubicBezTo>
                  <a:pt x="494" y="120"/>
                  <a:pt x="494" y="120"/>
                  <a:pt x="494" y="120"/>
                </a:cubicBezTo>
                <a:cubicBezTo>
                  <a:pt x="494" y="124"/>
                  <a:pt x="497" y="127"/>
                  <a:pt x="500" y="127"/>
                </a:cubicBezTo>
                <a:cubicBezTo>
                  <a:pt x="533" y="131"/>
                  <a:pt x="533" y="131"/>
                  <a:pt x="533" y="131"/>
                </a:cubicBezTo>
                <a:cubicBezTo>
                  <a:pt x="526" y="163"/>
                  <a:pt x="526" y="163"/>
                  <a:pt x="526" y="163"/>
                </a:cubicBezTo>
                <a:cubicBezTo>
                  <a:pt x="526" y="167"/>
                  <a:pt x="527" y="170"/>
                  <a:pt x="531" y="171"/>
                </a:cubicBezTo>
                <a:cubicBezTo>
                  <a:pt x="562" y="182"/>
                  <a:pt x="562" y="182"/>
                  <a:pt x="562" y="182"/>
                </a:cubicBezTo>
                <a:cubicBezTo>
                  <a:pt x="549" y="212"/>
                  <a:pt x="549" y="212"/>
                  <a:pt x="549" y="212"/>
                </a:cubicBezTo>
                <a:cubicBezTo>
                  <a:pt x="547" y="215"/>
                  <a:pt x="549" y="219"/>
                  <a:pt x="552" y="220"/>
                </a:cubicBezTo>
                <a:cubicBezTo>
                  <a:pt x="580" y="237"/>
                  <a:pt x="580" y="237"/>
                  <a:pt x="580" y="237"/>
                </a:cubicBezTo>
                <a:cubicBezTo>
                  <a:pt x="561" y="264"/>
                  <a:pt x="561" y="264"/>
                  <a:pt x="561" y="264"/>
                </a:cubicBezTo>
                <a:cubicBezTo>
                  <a:pt x="559" y="267"/>
                  <a:pt x="559" y="270"/>
                  <a:pt x="562" y="273"/>
                </a:cubicBezTo>
                <a:cubicBezTo>
                  <a:pt x="586" y="295"/>
                  <a:pt x="586" y="295"/>
                  <a:pt x="586" y="295"/>
                </a:cubicBezTo>
                <a:lnTo>
                  <a:pt x="562" y="317"/>
                </a:lnTo>
                <a:close/>
                <a:moveTo>
                  <a:pt x="307" y="116"/>
                </a:moveTo>
                <a:cubicBezTo>
                  <a:pt x="211" y="116"/>
                  <a:pt x="133" y="193"/>
                  <a:pt x="133" y="289"/>
                </a:cubicBezTo>
                <a:cubicBezTo>
                  <a:pt x="133" y="385"/>
                  <a:pt x="211" y="463"/>
                  <a:pt x="307" y="463"/>
                </a:cubicBezTo>
                <a:cubicBezTo>
                  <a:pt x="403" y="463"/>
                  <a:pt x="480" y="385"/>
                  <a:pt x="480" y="289"/>
                </a:cubicBezTo>
                <a:cubicBezTo>
                  <a:pt x="480" y="193"/>
                  <a:pt x="403" y="116"/>
                  <a:pt x="307" y="116"/>
                </a:cubicBezTo>
                <a:close/>
                <a:moveTo>
                  <a:pt x="307" y="449"/>
                </a:moveTo>
                <a:cubicBezTo>
                  <a:pt x="219" y="449"/>
                  <a:pt x="147" y="377"/>
                  <a:pt x="147" y="289"/>
                </a:cubicBezTo>
                <a:cubicBezTo>
                  <a:pt x="147" y="201"/>
                  <a:pt x="219" y="130"/>
                  <a:pt x="307" y="130"/>
                </a:cubicBezTo>
                <a:cubicBezTo>
                  <a:pt x="395" y="130"/>
                  <a:pt x="466" y="201"/>
                  <a:pt x="466" y="289"/>
                </a:cubicBezTo>
                <a:cubicBezTo>
                  <a:pt x="466" y="377"/>
                  <a:pt x="395" y="449"/>
                  <a:pt x="307" y="44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0" name="Freeform 94"/>
          <p:cNvSpPr>
            <a:spLocks noEditPoints="1"/>
          </p:cNvSpPr>
          <p:nvPr/>
        </p:nvSpPr>
        <p:spPr bwMode="auto">
          <a:xfrm>
            <a:off x="786194" y="2528426"/>
            <a:ext cx="361873" cy="376400"/>
          </a:xfrm>
          <a:custGeom>
            <a:avLst/>
            <a:gdLst>
              <a:gd name="T0" fmla="*/ 648 w 650"/>
              <a:gd name="T1" fmla="*/ 264 h 677"/>
              <a:gd name="T2" fmla="*/ 468 w 650"/>
              <a:gd name="T3" fmla="*/ 3 h 677"/>
              <a:gd name="T4" fmla="*/ 462 w 650"/>
              <a:gd name="T5" fmla="*/ 0 h 677"/>
              <a:gd name="T6" fmla="*/ 348 w 650"/>
              <a:gd name="T7" fmla="*/ 42 h 677"/>
              <a:gd name="T8" fmla="*/ 324 w 650"/>
              <a:gd name="T9" fmla="*/ 55 h 677"/>
              <a:gd name="T10" fmla="*/ 309 w 650"/>
              <a:gd name="T11" fmla="*/ 48 h 677"/>
              <a:gd name="T12" fmla="*/ 260 w 650"/>
              <a:gd name="T13" fmla="*/ 34 h 677"/>
              <a:gd name="T14" fmla="*/ 155 w 650"/>
              <a:gd name="T15" fmla="*/ 65 h 677"/>
              <a:gd name="T16" fmla="*/ 33 w 650"/>
              <a:gd name="T17" fmla="*/ 139 h 677"/>
              <a:gd name="T18" fmla="*/ 31 w 650"/>
              <a:gd name="T19" fmla="*/ 144 h 677"/>
              <a:gd name="T20" fmla="*/ 33 w 650"/>
              <a:gd name="T21" fmla="*/ 149 h 677"/>
              <a:gd name="T22" fmla="*/ 191 w 650"/>
              <a:gd name="T23" fmla="*/ 425 h 677"/>
              <a:gd name="T24" fmla="*/ 14 w 650"/>
              <a:gd name="T25" fmla="*/ 119 h 677"/>
              <a:gd name="T26" fmla="*/ 4 w 650"/>
              <a:gd name="T27" fmla="*/ 116 h 677"/>
              <a:gd name="T28" fmla="*/ 2 w 650"/>
              <a:gd name="T29" fmla="*/ 126 h 677"/>
              <a:gd name="T30" fmla="*/ 317 w 650"/>
              <a:gd name="T31" fmla="*/ 674 h 677"/>
              <a:gd name="T32" fmla="*/ 323 w 650"/>
              <a:gd name="T33" fmla="*/ 677 h 677"/>
              <a:gd name="T34" fmla="*/ 327 w 650"/>
              <a:gd name="T35" fmla="*/ 676 h 677"/>
              <a:gd name="T36" fmla="*/ 329 w 650"/>
              <a:gd name="T37" fmla="*/ 667 h 677"/>
              <a:gd name="T38" fmla="*/ 195 w 650"/>
              <a:gd name="T39" fmla="*/ 433 h 677"/>
              <a:gd name="T40" fmla="*/ 198 w 650"/>
              <a:gd name="T41" fmla="*/ 433 h 677"/>
              <a:gd name="T42" fmla="*/ 202 w 650"/>
              <a:gd name="T43" fmla="*/ 432 h 677"/>
              <a:gd name="T44" fmla="*/ 405 w 650"/>
              <a:gd name="T45" fmla="*/ 327 h 677"/>
              <a:gd name="T46" fmla="*/ 434 w 650"/>
              <a:gd name="T47" fmla="*/ 342 h 677"/>
              <a:gd name="T48" fmla="*/ 462 w 650"/>
              <a:gd name="T49" fmla="*/ 357 h 677"/>
              <a:gd name="T50" fmla="*/ 501 w 650"/>
              <a:gd name="T51" fmla="*/ 336 h 677"/>
              <a:gd name="T52" fmla="*/ 643 w 650"/>
              <a:gd name="T53" fmla="*/ 275 h 677"/>
              <a:gd name="T54" fmla="*/ 649 w 650"/>
              <a:gd name="T55" fmla="*/ 272 h 677"/>
              <a:gd name="T56" fmla="*/ 648 w 650"/>
              <a:gd name="T57" fmla="*/ 264 h 677"/>
              <a:gd name="T58" fmla="*/ 493 w 650"/>
              <a:gd name="T59" fmla="*/ 325 h 677"/>
              <a:gd name="T60" fmla="*/ 462 w 650"/>
              <a:gd name="T61" fmla="*/ 343 h 677"/>
              <a:gd name="T62" fmla="*/ 444 w 650"/>
              <a:gd name="T63" fmla="*/ 332 h 677"/>
              <a:gd name="T64" fmla="*/ 405 w 650"/>
              <a:gd name="T65" fmla="*/ 313 h 677"/>
              <a:gd name="T66" fmla="*/ 204 w 650"/>
              <a:gd name="T67" fmla="*/ 413 h 677"/>
              <a:gd name="T68" fmla="*/ 48 w 650"/>
              <a:gd name="T69" fmla="*/ 144 h 677"/>
              <a:gd name="T70" fmla="*/ 161 w 650"/>
              <a:gd name="T71" fmla="*/ 78 h 677"/>
              <a:gd name="T72" fmla="*/ 260 w 650"/>
              <a:gd name="T73" fmla="*/ 48 h 677"/>
              <a:gd name="T74" fmla="*/ 301 w 650"/>
              <a:gd name="T75" fmla="*/ 60 h 677"/>
              <a:gd name="T76" fmla="*/ 324 w 650"/>
              <a:gd name="T77" fmla="*/ 69 h 677"/>
              <a:gd name="T78" fmla="*/ 355 w 650"/>
              <a:gd name="T79" fmla="*/ 54 h 677"/>
              <a:gd name="T80" fmla="*/ 459 w 650"/>
              <a:gd name="T81" fmla="*/ 14 h 677"/>
              <a:gd name="T82" fmla="*/ 630 w 650"/>
              <a:gd name="T83" fmla="*/ 262 h 677"/>
              <a:gd name="T84" fmla="*/ 493 w 650"/>
              <a:gd name="T85" fmla="*/ 325 h 6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50" h="677">
                <a:moveTo>
                  <a:pt x="648" y="264"/>
                </a:moveTo>
                <a:cubicBezTo>
                  <a:pt x="468" y="3"/>
                  <a:pt x="468" y="3"/>
                  <a:pt x="468" y="3"/>
                </a:cubicBezTo>
                <a:cubicBezTo>
                  <a:pt x="467" y="1"/>
                  <a:pt x="465" y="0"/>
                  <a:pt x="462" y="0"/>
                </a:cubicBezTo>
                <a:cubicBezTo>
                  <a:pt x="418" y="0"/>
                  <a:pt x="376" y="25"/>
                  <a:pt x="348" y="42"/>
                </a:cubicBezTo>
                <a:cubicBezTo>
                  <a:pt x="338" y="48"/>
                  <a:pt x="327" y="55"/>
                  <a:pt x="324" y="55"/>
                </a:cubicBezTo>
                <a:cubicBezTo>
                  <a:pt x="319" y="55"/>
                  <a:pt x="314" y="52"/>
                  <a:pt x="309" y="48"/>
                </a:cubicBezTo>
                <a:cubicBezTo>
                  <a:pt x="299" y="42"/>
                  <a:pt x="286" y="34"/>
                  <a:pt x="260" y="34"/>
                </a:cubicBezTo>
                <a:cubicBezTo>
                  <a:pt x="240" y="34"/>
                  <a:pt x="200" y="46"/>
                  <a:pt x="155" y="65"/>
                </a:cubicBezTo>
                <a:cubicBezTo>
                  <a:pt x="107" y="87"/>
                  <a:pt x="62" y="114"/>
                  <a:pt x="33" y="139"/>
                </a:cubicBezTo>
                <a:cubicBezTo>
                  <a:pt x="32" y="140"/>
                  <a:pt x="31" y="142"/>
                  <a:pt x="31" y="144"/>
                </a:cubicBezTo>
                <a:cubicBezTo>
                  <a:pt x="31" y="146"/>
                  <a:pt x="31" y="148"/>
                  <a:pt x="33" y="149"/>
                </a:cubicBezTo>
                <a:cubicBezTo>
                  <a:pt x="128" y="233"/>
                  <a:pt x="192" y="362"/>
                  <a:pt x="191" y="425"/>
                </a:cubicBezTo>
                <a:cubicBezTo>
                  <a:pt x="14" y="119"/>
                  <a:pt x="14" y="119"/>
                  <a:pt x="14" y="119"/>
                </a:cubicBezTo>
                <a:cubicBezTo>
                  <a:pt x="12" y="115"/>
                  <a:pt x="8" y="114"/>
                  <a:pt x="4" y="116"/>
                </a:cubicBezTo>
                <a:cubicBezTo>
                  <a:pt x="1" y="118"/>
                  <a:pt x="0" y="122"/>
                  <a:pt x="2" y="126"/>
                </a:cubicBezTo>
                <a:cubicBezTo>
                  <a:pt x="317" y="674"/>
                  <a:pt x="317" y="674"/>
                  <a:pt x="317" y="674"/>
                </a:cubicBezTo>
                <a:cubicBezTo>
                  <a:pt x="319" y="676"/>
                  <a:pt x="321" y="677"/>
                  <a:pt x="323" y="677"/>
                </a:cubicBezTo>
                <a:cubicBezTo>
                  <a:pt x="325" y="677"/>
                  <a:pt x="326" y="677"/>
                  <a:pt x="327" y="676"/>
                </a:cubicBezTo>
                <a:cubicBezTo>
                  <a:pt x="330" y="674"/>
                  <a:pt x="331" y="670"/>
                  <a:pt x="329" y="667"/>
                </a:cubicBezTo>
                <a:cubicBezTo>
                  <a:pt x="195" y="433"/>
                  <a:pt x="195" y="433"/>
                  <a:pt x="195" y="433"/>
                </a:cubicBezTo>
                <a:cubicBezTo>
                  <a:pt x="196" y="433"/>
                  <a:pt x="197" y="433"/>
                  <a:pt x="198" y="433"/>
                </a:cubicBezTo>
                <a:cubicBezTo>
                  <a:pt x="199" y="433"/>
                  <a:pt x="201" y="433"/>
                  <a:pt x="202" y="432"/>
                </a:cubicBezTo>
                <a:cubicBezTo>
                  <a:pt x="266" y="382"/>
                  <a:pt x="378" y="327"/>
                  <a:pt x="405" y="327"/>
                </a:cubicBezTo>
                <a:cubicBezTo>
                  <a:pt x="419" y="327"/>
                  <a:pt x="426" y="334"/>
                  <a:pt x="434" y="342"/>
                </a:cubicBezTo>
                <a:cubicBezTo>
                  <a:pt x="442" y="350"/>
                  <a:pt x="450" y="357"/>
                  <a:pt x="462" y="357"/>
                </a:cubicBezTo>
                <a:cubicBezTo>
                  <a:pt x="470" y="357"/>
                  <a:pt x="479" y="351"/>
                  <a:pt x="501" y="336"/>
                </a:cubicBezTo>
                <a:cubicBezTo>
                  <a:pt x="536" y="312"/>
                  <a:pt x="589" y="275"/>
                  <a:pt x="643" y="275"/>
                </a:cubicBezTo>
                <a:cubicBezTo>
                  <a:pt x="645" y="275"/>
                  <a:pt x="648" y="274"/>
                  <a:pt x="649" y="272"/>
                </a:cubicBezTo>
                <a:cubicBezTo>
                  <a:pt x="650" y="269"/>
                  <a:pt x="650" y="266"/>
                  <a:pt x="648" y="264"/>
                </a:cubicBezTo>
                <a:close/>
                <a:moveTo>
                  <a:pt x="493" y="325"/>
                </a:moveTo>
                <a:cubicBezTo>
                  <a:pt x="480" y="333"/>
                  <a:pt x="466" y="343"/>
                  <a:pt x="462" y="343"/>
                </a:cubicBezTo>
                <a:cubicBezTo>
                  <a:pt x="456" y="343"/>
                  <a:pt x="451" y="339"/>
                  <a:pt x="444" y="332"/>
                </a:cubicBezTo>
                <a:cubicBezTo>
                  <a:pt x="435" y="324"/>
                  <a:pt x="424" y="313"/>
                  <a:pt x="405" y="313"/>
                </a:cubicBezTo>
                <a:cubicBezTo>
                  <a:pt x="375" y="313"/>
                  <a:pt x="269" y="366"/>
                  <a:pt x="204" y="413"/>
                </a:cubicBezTo>
                <a:cubicBezTo>
                  <a:pt x="198" y="325"/>
                  <a:pt x="112" y="204"/>
                  <a:pt x="48" y="144"/>
                </a:cubicBezTo>
                <a:cubicBezTo>
                  <a:pt x="76" y="121"/>
                  <a:pt x="117" y="98"/>
                  <a:pt x="161" y="78"/>
                </a:cubicBezTo>
                <a:cubicBezTo>
                  <a:pt x="203" y="60"/>
                  <a:pt x="242" y="48"/>
                  <a:pt x="260" y="48"/>
                </a:cubicBezTo>
                <a:cubicBezTo>
                  <a:pt x="282" y="48"/>
                  <a:pt x="292" y="54"/>
                  <a:pt x="301" y="60"/>
                </a:cubicBezTo>
                <a:cubicBezTo>
                  <a:pt x="308" y="65"/>
                  <a:pt x="314" y="69"/>
                  <a:pt x="324" y="69"/>
                </a:cubicBezTo>
                <a:cubicBezTo>
                  <a:pt x="330" y="69"/>
                  <a:pt x="339" y="64"/>
                  <a:pt x="355" y="54"/>
                </a:cubicBezTo>
                <a:cubicBezTo>
                  <a:pt x="381" y="39"/>
                  <a:pt x="419" y="16"/>
                  <a:pt x="459" y="14"/>
                </a:cubicBezTo>
                <a:cubicBezTo>
                  <a:pt x="630" y="262"/>
                  <a:pt x="630" y="262"/>
                  <a:pt x="630" y="262"/>
                </a:cubicBezTo>
                <a:cubicBezTo>
                  <a:pt x="577" y="267"/>
                  <a:pt x="527" y="301"/>
                  <a:pt x="493" y="32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1" name="Freeform 124"/>
          <p:cNvSpPr>
            <a:spLocks noEditPoints="1"/>
          </p:cNvSpPr>
          <p:nvPr/>
        </p:nvSpPr>
        <p:spPr bwMode="auto">
          <a:xfrm>
            <a:off x="4716416" y="2537680"/>
            <a:ext cx="309940" cy="370811"/>
          </a:xfrm>
          <a:custGeom>
            <a:avLst/>
            <a:gdLst>
              <a:gd name="T0" fmla="*/ 247 w 557"/>
              <a:gd name="T1" fmla="*/ 666 h 666"/>
              <a:gd name="T2" fmla="*/ 238 w 557"/>
              <a:gd name="T3" fmla="*/ 663 h 666"/>
              <a:gd name="T4" fmla="*/ 226 w 557"/>
              <a:gd name="T5" fmla="*/ 641 h 666"/>
              <a:gd name="T6" fmla="*/ 210 w 557"/>
              <a:gd name="T7" fmla="*/ 545 h 666"/>
              <a:gd name="T8" fmla="*/ 173 w 557"/>
              <a:gd name="T9" fmla="*/ 552 h 666"/>
              <a:gd name="T10" fmla="*/ 148 w 557"/>
              <a:gd name="T11" fmla="*/ 545 h 666"/>
              <a:gd name="T12" fmla="*/ 148 w 557"/>
              <a:gd name="T13" fmla="*/ 545 h 666"/>
              <a:gd name="T14" fmla="*/ 147 w 557"/>
              <a:gd name="T15" fmla="*/ 545 h 666"/>
              <a:gd name="T16" fmla="*/ 128 w 557"/>
              <a:gd name="T17" fmla="*/ 484 h 666"/>
              <a:gd name="T18" fmla="*/ 105 w 557"/>
              <a:gd name="T19" fmla="*/ 482 h 666"/>
              <a:gd name="T20" fmla="*/ 32 w 557"/>
              <a:gd name="T21" fmla="*/ 497 h 666"/>
              <a:gd name="T22" fmla="*/ 7 w 557"/>
              <a:gd name="T23" fmla="*/ 492 h 666"/>
              <a:gd name="T24" fmla="*/ 5 w 557"/>
              <a:gd name="T25" fmla="*/ 467 h 666"/>
              <a:gd name="T26" fmla="*/ 93 w 557"/>
              <a:gd name="T27" fmla="*/ 355 h 666"/>
              <a:gd name="T28" fmla="*/ 164 w 557"/>
              <a:gd name="T29" fmla="*/ 340 h 666"/>
              <a:gd name="T30" fmla="*/ 215 w 557"/>
              <a:gd name="T31" fmla="*/ 254 h 666"/>
              <a:gd name="T32" fmla="*/ 455 w 557"/>
              <a:gd name="T33" fmla="*/ 77 h 666"/>
              <a:gd name="T34" fmla="*/ 536 w 557"/>
              <a:gd name="T35" fmla="*/ 3 h 666"/>
              <a:gd name="T36" fmla="*/ 545 w 557"/>
              <a:gd name="T37" fmla="*/ 0 h 666"/>
              <a:gd name="T38" fmla="*/ 555 w 557"/>
              <a:gd name="T39" fmla="*/ 5 h 666"/>
              <a:gd name="T40" fmla="*/ 555 w 557"/>
              <a:gd name="T41" fmla="*/ 18 h 666"/>
              <a:gd name="T42" fmla="*/ 510 w 557"/>
              <a:gd name="T43" fmla="*/ 114 h 666"/>
              <a:gd name="T44" fmla="*/ 406 w 557"/>
              <a:gd name="T45" fmla="*/ 396 h 666"/>
              <a:gd name="T46" fmla="*/ 338 w 557"/>
              <a:gd name="T47" fmla="*/ 470 h 666"/>
              <a:gd name="T48" fmla="*/ 344 w 557"/>
              <a:gd name="T49" fmla="*/ 542 h 666"/>
              <a:gd name="T50" fmla="*/ 263 w 557"/>
              <a:gd name="T51" fmla="*/ 658 h 666"/>
              <a:gd name="T52" fmla="*/ 247 w 557"/>
              <a:gd name="T53" fmla="*/ 666 h 666"/>
              <a:gd name="T54" fmla="*/ 214 w 557"/>
              <a:gd name="T55" fmla="*/ 530 h 666"/>
              <a:gd name="T56" fmla="*/ 220 w 557"/>
              <a:gd name="T57" fmla="*/ 533 h 666"/>
              <a:gd name="T58" fmla="*/ 240 w 557"/>
              <a:gd name="T59" fmla="*/ 643 h 666"/>
              <a:gd name="T60" fmla="*/ 244 w 557"/>
              <a:gd name="T61" fmla="*/ 651 h 666"/>
              <a:gd name="T62" fmla="*/ 252 w 557"/>
              <a:gd name="T63" fmla="*/ 649 h 666"/>
              <a:gd name="T64" fmla="*/ 331 w 557"/>
              <a:gd name="T65" fmla="*/ 537 h 666"/>
              <a:gd name="T66" fmla="*/ 323 w 557"/>
              <a:gd name="T67" fmla="*/ 471 h 666"/>
              <a:gd name="T68" fmla="*/ 325 w 557"/>
              <a:gd name="T69" fmla="*/ 463 h 666"/>
              <a:gd name="T70" fmla="*/ 395 w 557"/>
              <a:gd name="T71" fmla="*/ 388 h 666"/>
              <a:gd name="T72" fmla="*/ 495 w 557"/>
              <a:gd name="T73" fmla="*/ 115 h 666"/>
              <a:gd name="T74" fmla="*/ 496 w 557"/>
              <a:gd name="T75" fmla="*/ 111 h 666"/>
              <a:gd name="T76" fmla="*/ 540 w 557"/>
              <a:gd name="T77" fmla="*/ 19 h 666"/>
              <a:gd name="T78" fmla="*/ 463 w 557"/>
              <a:gd name="T79" fmla="*/ 89 h 666"/>
              <a:gd name="T80" fmla="*/ 458 w 557"/>
              <a:gd name="T81" fmla="*/ 91 h 666"/>
              <a:gd name="T82" fmla="*/ 226 w 557"/>
              <a:gd name="T83" fmla="*/ 262 h 666"/>
              <a:gd name="T84" fmla="*/ 174 w 557"/>
              <a:gd name="T85" fmla="*/ 351 h 666"/>
              <a:gd name="T86" fmla="*/ 166 w 557"/>
              <a:gd name="T87" fmla="*/ 355 h 666"/>
              <a:gd name="T88" fmla="*/ 145 w 557"/>
              <a:gd name="T89" fmla="*/ 353 h 666"/>
              <a:gd name="T90" fmla="*/ 102 w 557"/>
              <a:gd name="T91" fmla="*/ 366 h 666"/>
              <a:gd name="T92" fmla="*/ 17 w 557"/>
              <a:gd name="T93" fmla="*/ 474 h 666"/>
              <a:gd name="T94" fmla="*/ 18 w 557"/>
              <a:gd name="T95" fmla="*/ 483 h 666"/>
              <a:gd name="T96" fmla="*/ 26 w 557"/>
              <a:gd name="T97" fmla="*/ 485 h 666"/>
              <a:gd name="T98" fmla="*/ 105 w 557"/>
              <a:gd name="T99" fmla="*/ 468 h 666"/>
              <a:gd name="T100" fmla="*/ 137 w 557"/>
              <a:gd name="T101" fmla="*/ 472 h 666"/>
              <a:gd name="T102" fmla="*/ 142 w 557"/>
              <a:gd name="T103" fmla="*/ 479 h 666"/>
              <a:gd name="T104" fmla="*/ 155 w 557"/>
              <a:gd name="T105" fmla="*/ 534 h 666"/>
              <a:gd name="T106" fmla="*/ 173 w 557"/>
              <a:gd name="T107" fmla="*/ 538 h 666"/>
              <a:gd name="T108" fmla="*/ 212 w 557"/>
              <a:gd name="T109" fmla="*/ 530 h 666"/>
              <a:gd name="T110" fmla="*/ 214 w 557"/>
              <a:gd name="T111" fmla="*/ 530 h 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57" h="666">
                <a:moveTo>
                  <a:pt x="247" y="666"/>
                </a:moveTo>
                <a:cubicBezTo>
                  <a:pt x="244" y="666"/>
                  <a:pt x="241" y="665"/>
                  <a:pt x="238" y="663"/>
                </a:cubicBezTo>
                <a:cubicBezTo>
                  <a:pt x="229" y="660"/>
                  <a:pt x="224" y="651"/>
                  <a:pt x="226" y="641"/>
                </a:cubicBezTo>
                <a:cubicBezTo>
                  <a:pt x="226" y="639"/>
                  <a:pt x="232" y="588"/>
                  <a:pt x="210" y="545"/>
                </a:cubicBezTo>
                <a:cubicBezTo>
                  <a:pt x="196" y="550"/>
                  <a:pt x="184" y="552"/>
                  <a:pt x="173" y="552"/>
                </a:cubicBezTo>
                <a:cubicBezTo>
                  <a:pt x="162" y="552"/>
                  <a:pt x="154" y="550"/>
                  <a:pt x="148" y="545"/>
                </a:cubicBezTo>
                <a:cubicBezTo>
                  <a:pt x="148" y="545"/>
                  <a:pt x="148" y="545"/>
                  <a:pt x="148" y="545"/>
                </a:cubicBezTo>
                <a:cubicBezTo>
                  <a:pt x="147" y="545"/>
                  <a:pt x="147" y="545"/>
                  <a:pt x="147" y="545"/>
                </a:cubicBezTo>
                <a:cubicBezTo>
                  <a:pt x="134" y="535"/>
                  <a:pt x="128" y="515"/>
                  <a:pt x="128" y="484"/>
                </a:cubicBezTo>
                <a:cubicBezTo>
                  <a:pt x="121" y="483"/>
                  <a:pt x="113" y="482"/>
                  <a:pt x="105" y="482"/>
                </a:cubicBezTo>
                <a:cubicBezTo>
                  <a:pt x="65" y="482"/>
                  <a:pt x="32" y="497"/>
                  <a:pt x="32" y="497"/>
                </a:cubicBezTo>
                <a:cubicBezTo>
                  <a:pt x="23" y="501"/>
                  <a:pt x="13" y="499"/>
                  <a:pt x="7" y="492"/>
                </a:cubicBezTo>
                <a:cubicBezTo>
                  <a:pt x="1" y="485"/>
                  <a:pt x="0" y="475"/>
                  <a:pt x="5" y="467"/>
                </a:cubicBezTo>
                <a:cubicBezTo>
                  <a:pt x="14" y="453"/>
                  <a:pt x="59" y="382"/>
                  <a:pt x="93" y="355"/>
                </a:cubicBezTo>
                <a:cubicBezTo>
                  <a:pt x="111" y="341"/>
                  <a:pt x="135" y="336"/>
                  <a:pt x="164" y="340"/>
                </a:cubicBezTo>
                <a:cubicBezTo>
                  <a:pt x="177" y="310"/>
                  <a:pt x="194" y="281"/>
                  <a:pt x="215" y="254"/>
                </a:cubicBezTo>
                <a:cubicBezTo>
                  <a:pt x="315" y="119"/>
                  <a:pt x="412" y="79"/>
                  <a:pt x="455" y="77"/>
                </a:cubicBezTo>
                <a:cubicBezTo>
                  <a:pt x="536" y="3"/>
                  <a:pt x="536" y="3"/>
                  <a:pt x="536" y="3"/>
                </a:cubicBezTo>
                <a:cubicBezTo>
                  <a:pt x="538" y="1"/>
                  <a:pt x="541" y="0"/>
                  <a:pt x="545" y="0"/>
                </a:cubicBezTo>
                <a:cubicBezTo>
                  <a:pt x="549" y="0"/>
                  <a:pt x="553" y="2"/>
                  <a:pt x="555" y="5"/>
                </a:cubicBezTo>
                <a:cubicBezTo>
                  <a:pt x="557" y="9"/>
                  <a:pt x="557" y="14"/>
                  <a:pt x="555" y="18"/>
                </a:cubicBezTo>
                <a:cubicBezTo>
                  <a:pt x="510" y="114"/>
                  <a:pt x="510" y="114"/>
                  <a:pt x="510" y="114"/>
                </a:cubicBezTo>
                <a:cubicBezTo>
                  <a:pt x="523" y="166"/>
                  <a:pt x="496" y="275"/>
                  <a:pt x="406" y="396"/>
                </a:cubicBezTo>
                <a:cubicBezTo>
                  <a:pt x="386" y="423"/>
                  <a:pt x="363" y="448"/>
                  <a:pt x="338" y="470"/>
                </a:cubicBezTo>
                <a:cubicBezTo>
                  <a:pt x="350" y="496"/>
                  <a:pt x="352" y="521"/>
                  <a:pt x="344" y="542"/>
                </a:cubicBezTo>
                <a:cubicBezTo>
                  <a:pt x="328" y="584"/>
                  <a:pt x="269" y="651"/>
                  <a:pt x="263" y="658"/>
                </a:cubicBezTo>
                <a:cubicBezTo>
                  <a:pt x="259" y="663"/>
                  <a:pt x="253" y="666"/>
                  <a:pt x="247" y="666"/>
                </a:cubicBezTo>
                <a:close/>
                <a:moveTo>
                  <a:pt x="214" y="530"/>
                </a:moveTo>
                <a:cubicBezTo>
                  <a:pt x="216" y="530"/>
                  <a:pt x="219" y="531"/>
                  <a:pt x="220" y="533"/>
                </a:cubicBezTo>
                <a:cubicBezTo>
                  <a:pt x="246" y="580"/>
                  <a:pt x="240" y="637"/>
                  <a:pt x="240" y="643"/>
                </a:cubicBezTo>
                <a:cubicBezTo>
                  <a:pt x="239" y="646"/>
                  <a:pt x="241" y="649"/>
                  <a:pt x="244" y="651"/>
                </a:cubicBezTo>
                <a:cubicBezTo>
                  <a:pt x="247" y="652"/>
                  <a:pt x="250" y="651"/>
                  <a:pt x="252" y="649"/>
                </a:cubicBezTo>
                <a:cubicBezTo>
                  <a:pt x="255" y="646"/>
                  <a:pt x="316" y="577"/>
                  <a:pt x="331" y="537"/>
                </a:cubicBezTo>
                <a:cubicBezTo>
                  <a:pt x="338" y="518"/>
                  <a:pt x="336" y="496"/>
                  <a:pt x="323" y="471"/>
                </a:cubicBezTo>
                <a:cubicBezTo>
                  <a:pt x="322" y="468"/>
                  <a:pt x="323" y="465"/>
                  <a:pt x="325" y="463"/>
                </a:cubicBezTo>
                <a:cubicBezTo>
                  <a:pt x="351" y="441"/>
                  <a:pt x="374" y="416"/>
                  <a:pt x="395" y="388"/>
                </a:cubicBezTo>
                <a:cubicBezTo>
                  <a:pt x="483" y="269"/>
                  <a:pt x="509" y="163"/>
                  <a:pt x="495" y="115"/>
                </a:cubicBezTo>
                <a:cubicBezTo>
                  <a:pt x="495" y="114"/>
                  <a:pt x="495" y="112"/>
                  <a:pt x="496" y="111"/>
                </a:cubicBezTo>
                <a:cubicBezTo>
                  <a:pt x="540" y="19"/>
                  <a:pt x="540" y="19"/>
                  <a:pt x="540" y="19"/>
                </a:cubicBezTo>
                <a:cubicBezTo>
                  <a:pt x="463" y="89"/>
                  <a:pt x="463" y="89"/>
                  <a:pt x="463" y="89"/>
                </a:cubicBezTo>
                <a:cubicBezTo>
                  <a:pt x="461" y="90"/>
                  <a:pt x="460" y="91"/>
                  <a:pt x="458" y="91"/>
                </a:cubicBezTo>
                <a:cubicBezTo>
                  <a:pt x="418" y="92"/>
                  <a:pt x="325" y="129"/>
                  <a:pt x="226" y="262"/>
                </a:cubicBezTo>
                <a:cubicBezTo>
                  <a:pt x="205" y="290"/>
                  <a:pt x="188" y="320"/>
                  <a:pt x="174" y="351"/>
                </a:cubicBezTo>
                <a:cubicBezTo>
                  <a:pt x="173" y="354"/>
                  <a:pt x="170" y="355"/>
                  <a:pt x="166" y="355"/>
                </a:cubicBezTo>
                <a:cubicBezTo>
                  <a:pt x="159" y="354"/>
                  <a:pt x="152" y="353"/>
                  <a:pt x="145" y="353"/>
                </a:cubicBezTo>
                <a:cubicBezTo>
                  <a:pt x="128" y="353"/>
                  <a:pt x="113" y="357"/>
                  <a:pt x="102" y="366"/>
                </a:cubicBezTo>
                <a:cubicBezTo>
                  <a:pt x="68" y="392"/>
                  <a:pt x="22" y="466"/>
                  <a:pt x="17" y="474"/>
                </a:cubicBezTo>
                <a:cubicBezTo>
                  <a:pt x="15" y="477"/>
                  <a:pt x="15" y="481"/>
                  <a:pt x="18" y="483"/>
                </a:cubicBezTo>
                <a:cubicBezTo>
                  <a:pt x="20" y="485"/>
                  <a:pt x="23" y="486"/>
                  <a:pt x="26" y="485"/>
                </a:cubicBezTo>
                <a:cubicBezTo>
                  <a:pt x="26" y="485"/>
                  <a:pt x="62" y="468"/>
                  <a:pt x="105" y="468"/>
                </a:cubicBezTo>
                <a:cubicBezTo>
                  <a:pt x="116" y="468"/>
                  <a:pt x="127" y="469"/>
                  <a:pt x="137" y="472"/>
                </a:cubicBezTo>
                <a:cubicBezTo>
                  <a:pt x="140" y="472"/>
                  <a:pt x="142" y="475"/>
                  <a:pt x="142" y="479"/>
                </a:cubicBezTo>
                <a:cubicBezTo>
                  <a:pt x="141" y="507"/>
                  <a:pt x="146" y="527"/>
                  <a:pt x="155" y="534"/>
                </a:cubicBezTo>
                <a:cubicBezTo>
                  <a:pt x="160" y="537"/>
                  <a:pt x="165" y="538"/>
                  <a:pt x="173" y="538"/>
                </a:cubicBezTo>
                <a:cubicBezTo>
                  <a:pt x="183" y="538"/>
                  <a:pt x="197" y="535"/>
                  <a:pt x="212" y="530"/>
                </a:cubicBezTo>
                <a:cubicBezTo>
                  <a:pt x="212" y="530"/>
                  <a:pt x="213" y="530"/>
                  <a:pt x="214" y="53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2" name="Freeform 125"/>
          <p:cNvSpPr>
            <a:spLocks noEditPoints="1"/>
          </p:cNvSpPr>
          <p:nvPr/>
        </p:nvSpPr>
        <p:spPr bwMode="auto">
          <a:xfrm>
            <a:off x="6725992" y="2549297"/>
            <a:ext cx="351554" cy="347207"/>
          </a:xfrm>
          <a:custGeom>
            <a:avLst/>
            <a:gdLst>
              <a:gd name="T0" fmla="*/ 180 w 633"/>
              <a:gd name="T1" fmla="*/ 597 h 624"/>
              <a:gd name="T2" fmla="*/ 150 w 633"/>
              <a:gd name="T3" fmla="*/ 493 h 624"/>
              <a:gd name="T4" fmla="*/ 38 w 633"/>
              <a:gd name="T5" fmla="*/ 462 h 624"/>
              <a:gd name="T6" fmla="*/ 75 w 633"/>
              <a:gd name="T7" fmla="*/ 361 h 624"/>
              <a:gd name="T8" fmla="*/ 0 w 633"/>
              <a:gd name="T9" fmla="*/ 312 h 624"/>
              <a:gd name="T10" fmla="*/ 75 w 633"/>
              <a:gd name="T11" fmla="*/ 262 h 624"/>
              <a:gd name="T12" fmla="*/ 38 w 633"/>
              <a:gd name="T13" fmla="*/ 161 h 624"/>
              <a:gd name="T14" fmla="*/ 150 w 633"/>
              <a:gd name="T15" fmla="*/ 130 h 624"/>
              <a:gd name="T16" fmla="*/ 180 w 633"/>
              <a:gd name="T17" fmla="*/ 26 h 624"/>
              <a:gd name="T18" fmla="*/ 288 w 633"/>
              <a:gd name="T19" fmla="*/ 67 h 624"/>
              <a:gd name="T20" fmla="*/ 374 w 633"/>
              <a:gd name="T21" fmla="*/ 0 h 624"/>
              <a:gd name="T22" fmla="*/ 438 w 633"/>
              <a:gd name="T23" fmla="*/ 97 h 624"/>
              <a:gd name="T24" fmla="*/ 546 w 633"/>
              <a:gd name="T25" fmla="*/ 93 h 624"/>
              <a:gd name="T26" fmla="*/ 540 w 633"/>
              <a:gd name="T27" fmla="*/ 210 h 624"/>
              <a:gd name="T28" fmla="*/ 630 w 633"/>
              <a:gd name="T29" fmla="*/ 270 h 624"/>
              <a:gd name="T30" fmla="*/ 623 w 633"/>
              <a:gd name="T31" fmla="*/ 359 h 624"/>
              <a:gd name="T32" fmla="*/ 593 w 633"/>
              <a:gd name="T33" fmla="*/ 454 h 624"/>
              <a:gd name="T34" fmla="*/ 537 w 633"/>
              <a:gd name="T35" fmla="*/ 531 h 624"/>
              <a:gd name="T36" fmla="*/ 457 w 633"/>
              <a:gd name="T37" fmla="*/ 589 h 624"/>
              <a:gd name="T38" fmla="*/ 366 w 633"/>
              <a:gd name="T39" fmla="*/ 618 h 624"/>
              <a:gd name="T40" fmla="*/ 267 w 633"/>
              <a:gd name="T41" fmla="*/ 618 h 624"/>
              <a:gd name="T42" fmla="*/ 355 w 633"/>
              <a:gd name="T43" fmla="*/ 546 h 624"/>
              <a:gd name="T44" fmla="*/ 423 w 633"/>
              <a:gd name="T45" fmla="*/ 525 h 624"/>
              <a:gd name="T46" fmla="*/ 486 w 633"/>
              <a:gd name="T47" fmla="*/ 478 h 624"/>
              <a:gd name="T48" fmla="*/ 527 w 633"/>
              <a:gd name="T49" fmla="*/ 421 h 624"/>
              <a:gd name="T50" fmla="*/ 552 w 633"/>
              <a:gd name="T51" fmla="*/ 347 h 624"/>
              <a:gd name="T52" fmla="*/ 617 w 633"/>
              <a:gd name="T53" fmla="*/ 278 h 624"/>
              <a:gd name="T54" fmla="*/ 525 w 633"/>
              <a:gd name="T55" fmla="*/ 210 h 624"/>
              <a:gd name="T56" fmla="*/ 540 w 633"/>
              <a:gd name="T57" fmla="*/ 108 h 624"/>
              <a:gd name="T58" fmla="*/ 426 w 633"/>
              <a:gd name="T59" fmla="*/ 107 h 624"/>
              <a:gd name="T60" fmla="*/ 377 w 633"/>
              <a:gd name="T61" fmla="*/ 15 h 624"/>
              <a:gd name="T62" fmla="*/ 285 w 633"/>
              <a:gd name="T63" fmla="*/ 82 h 624"/>
              <a:gd name="T64" fmla="*/ 191 w 633"/>
              <a:gd name="T65" fmla="*/ 36 h 624"/>
              <a:gd name="T66" fmla="*/ 156 w 633"/>
              <a:gd name="T67" fmla="*/ 144 h 624"/>
              <a:gd name="T68" fmla="*/ 53 w 633"/>
              <a:gd name="T69" fmla="*/ 162 h 624"/>
              <a:gd name="T70" fmla="*/ 88 w 633"/>
              <a:gd name="T71" fmla="*/ 271 h 624"/>
              <a:gd name="T72" fmla="*/ 14 w 633"/>
              <a:gd name="T73" fmla="*/ 312 h 624"/>
              <a:gd name="T74" fmla="*/ 88 w 633"/>
              <a:gd name="T75" fmla="*/ 353 h 624"/>
              <a:gd name="T76" fmla="*/ 53 w 633"/>
              <a:gd name="T77" fmla="*/ 461 h 624"/>
              <a:gd name="T78" fmla="*/ 156 w 633"/>
              <a:gd name="T79" fmla="*/ 479 h 624"/>
              <a:gd name="T80" fmla="*/ 191 w 633"/>
              <a:gd name="T81" fmla="*/ 587 h 624"/>
              <a:gd name="T82" fmla="*/ 285 w 633"/>
              <a:gd name="T83" fmla="*/ 542 h 624"/>
              <a:gd name="T84" fmla="*/ 316 w 633"/>
              <a:gd name="T85" fmla="*/ 409 h 624"/>
              <a:gd name="T86" fmla="*/ 414 w 633"/>
              <a:gd name="T87" fmla="*/ 312 h 624"/>
              <a:gd name="T88" fmla="*/ 233 w 633"/>
              <a:gd name="T89" fmla="*/ 312 h 624"/>
              <a:gd name="T90" fmla="*/ 316 w 633"/>
              <a:gd name="T91" fmla="*/ 228 h 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33" h="624">
                <a:moveTo>
                  <a:pt x="260" y="623"/>
                </a:moveTo>
                <a:cubicBezTo>
                  <a:pt x="260" y="623"/>
                  <a:pt x="259" y="623"/>
                  <a:pt x="259" y="623"/>
                </a:cubicBezTo>
                <a:cubicBezTo>
                  <a:pt x="232" y="618"/>
                  <a:pt x="205" y="609"/>
                  <a:pt x="180" y="597"/>
                </a:cubicBezTo>
                <a:cubicBezTo>
                  <a:pt x="177" y="596"/>
                  <a:pt x="175" y="592"/>
                  <a:pt x="176" y="589"/>
                </a:cubicBezTo>
                <a:cubicBezTo>
                  <a:pt x="195" y="526"/>
                  <a:pt x="195" y="526"/>
                  <a:pt x="195" y="526"/>
                </a:cubicBezTo>
                <a:cubicBezTo>
                  <a:pt x="179" y="517"/>
                  <a:pt x="164" y="506"/>
                  <a:pt x="150" y="493"/>
                </a:cubicBezTo>
                <a:cubicBezTo>
                  <a:pt x="96" y="531"/>
                  <a:pt x="96" y="531"/>
                  <a:pt x="96" y="531"/>
                </a:cubicBezTo>
                <a:cubicBezTo>
                  <a:pt x="93" y="533"/>
                  <a:pt x="89" y="532"/>
                  <a:pt x="87" y="530"/>
                </a:cubicBezTo>
                <a:cubicBezTo>
                  <a:pt x="68" y="510"/>
                  <a:pt x="51" y="487"/>
                  <a:pt x="38" y="462"/>
                </a:cubicBezTo>
                <a:cubicBezTo>
                  <a:pt x="36" y="459"/>
                  <a:pt x="37" y="456"/>
                  <a:pt x="40" y="454"/>
                </a:cubicBezTo>
                <a:cubicBezTo>
                  <a:pt x="92" y="414"/>
                  <a:pt x="92" y="414"/>
                  <a:pt x="92" y="414"/>
                </a:cubicBezTo>
                <a:cubicBezTo>
                  <a:pt x="84" y="397"/>
                  <a:pt x="79" y="379"/>
                  <a:pt x="75" y="361"/>
                </a:cubicBezTo>
                <a:cubicBezTo>
                  <a:pt x="9" y="359"/>
                  <a:pt x="9" y="359"/>
                  <a:pt x="9" y="359"/>
                </a:cubicBezTo>
                <a:cubicBezTo>
                  <a:pt x="6" y="359"/>
                  <a:pt x="3" y="357"/>
                  <a:pt x="2" y="353"/>
                </a:cubicBezTo>
                <a:cubicBezTo>
                  <a:pt x="1" y="339"/>
                  <a:pt x="0" y="325"/>
                  <a:pt x="0" y="312"/>
                </a:cubicBezTo>
                <a:cubicBezTo>
                  <a:pt x="0" y="298"/>
                  <a:pt x="1" y="284"/>
                  <a:pt x="2" y="270"/>
                </a:cubicBezTo>
                <a:cubicBezTo>
                  <a:pt x="3" y="267"/>
                  <a:pt x="6" y="264"/>
                  <a:pt x="9" y="264"/>
                </a:cubicBezTo>
                <a:cubicBezTo>
                  <a:pt x="75" y="262"/>
                  <a:pt x="75" y="262"/>
                  <a:pt x="75" y="262"/>
                </a:cubicBezTo>
                <a:cubicBezTo>
                  <a:pt x="79" y="244"/>
                  <a:pt x="84" y="226"/>
                  <a:pt x="92" y="210"/>
                </a:cubicBezTo>
                <a:cubicBezTo>
                  <a:pt x="40" y="170"/>
                  <a:pt x="40" y="170"/>
                  <a:pt x="40" y="170"/>
                </a:cubicBezTo>
                <a:cubicBezTo>
                  <a:pt x="37" y="168"/>
                  <a:pt x="36" y="164"/>
                  <a:pt x="38" y="161"/>
                </a:cubicBezTo>
                <a:cubicBezTo>
                  <a:pt x="51" y="136"/>
                  <a:pt x="68" y="114"/>
                  <a:pt x="87" y="93"/>
                </a:cubicBezTo>
                <a:cubicBezTo>
                  <a:pt x="89" y="91"/>
                  <a:pt x="93" y="91"/>
                  <a:pt x="96" y="93"/>
                </a:cubicBezTo>
                <a:cubicBezTo>
                  <a:pt x="150" y="130"/>
                  <a:pt x="150" y="130"/>
                  <a:pt x="150" y="130"/>
                </a:cubicBezTo>
                <a:cubicBezTo>
                  <a:pt x="164" y="117"/>
                  <a:pt x="179" y="106"/>
                  <a:pt x="195" y="97"/>
                </a:cubicBezTo>
                <a:cubicBezTo>
                  <a:pt x="176" y="34"/>
                  <a:pt x="176" y="34"/>
                  <a:pt x="176" y="34"/>
                </a:cubicBezTo>
                <a:cubicBezTo>
                  <a:pt x="175" y="31"/>
                  <a:pt x="177" y="27"/>
                  <a:pt x="180" y="26"/>
                </a:cubicBezTo>
                <a:cubicBezTo>
                  <a:pt x="205" y="14"/>
                  <a:pt x="231" y="5"/>
                  <a:pt x="259" y="0"/>
                </a:cubicBezTo>
                <a:cubicBezTo>
                  <a:pt x="262" y="0"/>
                  <a:pt x="266" y="2"/>
                  <a:pt x="267" y="5"/>
                </a:cubicBezTo>
                <a:cubicBezTo>
                  <a:pt x="288" y="67"/>
                  <a:pt x="288" y="67"/>
                  <a:pt x="288" y="67"/>
                </a:cubicBezTo>
                <a:cubicBezTo>
                  <a:pt x="307" y="65"/>
                  <a:pt x="326" y="65"/>
                  <a:pt x="344" y="67"/>
                </a:cubicBezTo>
                <a:cubicBezTo>
                  <a:pt x="366" y="5"/>
                  <a:pt x="366" y="5"/>
                  <a:pt x="366" y="5"/>
                </a:cubicBezTo>
                <a:cubicBezTo>
                  <a:pt x="367" y="2"/>
                  <a:pt x="370" y="0"/>
                  <a:pt x="374" y="0"/>
                </a:cubicBezTo>
                <a:cubicBezTo>
                  <a:pt x="401" y="5"/>
                  <a:pt x="428" y="14"/>
                  <a:pt x="453" y="26"/>
                </a:cubicBezTo>
                <a:cubicBezTo>
                  <a:pt x="456" y="27"/>
                  <a:pt x="458" y="31"/>
                  <a:pt x="457" y="34"/>
                </a:cubicBezTo>
                <a:cubicBezTo>
                  <a:pt x="438" y="97"/>
                  <a:pt x="438" y="97"/>
                  <a:pt x="438" y="97"/>
                </a:cubicBezTo>
                <a:cubicBezTo>
                  <a:pt x="454" y="106"/>
                  <a:pt x="469" y="117"/>
                  <a:pt x="483" y="130"/>
                </a:cubicBezTo>
                <a:cubicBezTo>
                  <a:pt x="537" y="93"/>
                  <a:pt x="537" y="93"/>
                  <a:pt x="537" y="93"/>
                </a:cubicBezTo>
                <a:cubicBezTo>
                  <a:pt x="539" y="91"/>
                  <a:pt x="543" y="91"/>
                  <a:pt x="546" y="93"/>
                </a:cubicBezTo>
                <a:cubicBezTo>
                  <a:pt x="565" y="114"/>
                  <a:pt x="581" y="136"/>
                  <a:pt x="595" y="161"/>
                </a:cubicBezTo>
                <a:cubicBezTo>
                  <a:pt x="596" y="164"/>
                  <a:pt x="596" y="168"/>
                  <a:pt x="593" y="170"/>
                </a:cubicBezTo>
                <a:cubicBezTo>
                  <a:pt x="540" y="210"/>
                  <a:pt x="540" y="210"/>
                  <a:pt x="540" y="210"/>
                </a:cubicBezTo>
                <a:cubicBezTo>
                  <a:pt x="548" y="226"/>
                  <a:pt x="554" y="244"/>
                  <a:pt x="558" y="262"/>
                </a:cubicBezTo>
                <a:cubicBezTo>
                  <a:pt x="623" y="264"/>
                  <a:pt x="623" y="264"/>
                  <a:pt x="623" y="264"/>
                </a:cubicBezTo>
                <a:cubicBezTo>
                  <a:pt x="627" y="264"/>
                  <a:pt x="630" y="267"/>
                  <a:pt x="630" y="270"/>
                </a:cubicBezTo>
                <a:cubicBezTo>
                  <a:pt x="632" y="284"/>
                  <a:pt x="633" y="298"/>
                  <a:pt x="633" y="312"/>
                </a:cubicBezTo>
                <a:cubicBezTo>
                  <a:pt x="633" y="325"/>
                  <a:pt x="632" y="339"/>
                  <a:pt x="630" y="353"/>
                </a:cubicBezTo>
                <a:cubicBezTo>
                  <a:pt x="630" y="357"/>
                  <a:pt x="627" y="359"/>
                  <a:pt x="623" y="359"/>
                </a:cubicBezTo>
                <a:cubicBezTo>
                  <a:pt x="558" y="361"/>
                  <a:pt x="558" y="361"/>
                  <a:pt x="558" y="361"/>
                </a:cubicBezTo>
                <a:cubicBezTo>
                  <a:pt x="554" y="379"/>
                  <a:pt x="548" y="397"/>
                  <a:pt x="540" y="414"/>
                </a:cubicBezTo>
                <a:cubicBezTo>
                  <a:pt x="593" y="454"/>
                  <a:pt x="593" y="454"/>
                  <a:pt x="593" y="454"/>
                </a:cubicBezTo>
                <a:cubicBezTo>
                  <a:pt x="596" y="456"/>
                  <a:pt x="596" y="459"/>
                  <a:pt x="595" y="462"/>
                </a:cubicBezTo>
                <a:cubicBezTo>
                  <a:pt x="581" y="487"/>
                  <a:pt x="565" y="509"/>
                  <a:pt x="546" y="530"/>
                </a:cubicBezTo>
                <a:cubicBezTo>
                  <a:pt x="543" y="532"/>
                  <a:pt x="539" y="533"/>
                  <a:pt x="537" y="531"/>
                </a:cubicBezTo>
                <a:cubicBezTo>
                  <a:pt x="483" y="493"/>
                  <a:pt x="483" y="493"/>
                  <a:pt x="483" y="493"/>
                </a:cubicBezTo>
                <a:cubicBezTo>
                  <a:pt x="469" y="506"/>
                  <a:pt x="454" y="517"/>
                  <a:pt x="438" y="526"/>
                </a:cubicBezTo>
                <a:cubicBezTo>
                  <a:pt x="457" y="589"/>
                  <a:pt x="457" y="589"/>
                  <a:pt x="457" y="589"/>
                </a:cubicBezTo>
                <a:cubicBezTo>
                  <a:pt x="458" y="592"/>
                  <a:pt x="456" y="596"/>
                  <a:pt x="453" y="597"/>
                </a:cubicBezTo>
                <a:cubicBezTo>
                  <a:pt x="428" y="609"/>
                  <a:pt x="401" y="618"/>
                  <a:pt x="374" y="623"/>
                </a:cubicBezTo>
                <a:cubicBezTo>
                  <a:pt x="370" y="624"/>
                  <a:pt x="367" y="622"/>
                  <a:pt x="366" y="618"/>
                </a:cubicBezTo>
                <a:cubicBezTo>
                  <a:pt x="344" y="556"/>
                  <a:pt x="344" y="556"/>
                  <a:pt x="344" y="556"/>
                </a:cubicBezTo>
                <a:cubicBezTo>
                  <a:pt x="326" y="558"/>
                  <a:pt x="307" y="558"/>
                  <a:pt x="288" y="556"/>
                </a:cubicBezTo>
                <a:cubicBezTo>
                  <a:pt x="267" y="618"/>
                  <a:pt x="267" y="618"/>
                  <a:pt x="267" y="618"/>
                </a:cubicBezTo>
                <a:cubicBezTo>
                  <a:pt x="266" y="621"/>
                  <a:pt x="263" y="623"/>
                  <a:pt x="260" y="623"/>
                </a:cubicBezTo>
                <a:close/>
                <a:moveTo>
                  <a:pt x="349" y="542"/>
                </a:moveTo>
                <a:cubicBezTo>
                  <a:pt x="352" y="542"/>
                  <a:pt x="354" y="543"/>
                  <a:pt x="355" y="546"/>
                </a:cubicBezTo>
                <a:cubicBezTo>
                  <a:pt x="377" y="608"/>
                  <a:pt x="377" y="608"/>
                  <a:pt x="377" y="608"/>
                </a:cubicBezTo>
                <a:cubicBezTo>
                  <a:pt x="399" y="604"/>
                  <a:pt x="421" y="597"/>
                  <a:pt x="441" y="587"/>
                </a:cubicBezTo>
                <a:cubicBezTo>
                  <a:pt x="423" y="525"/>
                  <a:pt x="423" y="525"/>
                  <a:pt x="423" y="525"/>
                </a:cubicBezTo>
                <a:cubicBezTo>
                  <a:pt x="422" y="521"/>
                  <a:pt x="423" y="518"/>
                  <a:pt x="426" y="516"/>
                </a:cubicBezTo>
                <a:cubicBezTo>
                  <a:pt x="445" y="506"/>
                  <a:pt x="462" y="494"/>
                  <a:pt x="477" y="479"/>
                </a:cubicBezTo>
                <a:cubicBezTo>
                  <a:pt x="479" y="477"/>
                  <a:pt x="483" y="477"/>
                  <a:pt x="486" y="478"/>
                </a:cubicBezTo>
                <a:cubicBezTo>
                  <a:pt x="540" y="516"/>
                  <a:pt x="540" y="516"/>
                  <a:pt x="540" y="516"/>
                </a:cubicBezTo>
                <a:cubicBezTo>
                  <a:pt x="555" y="499"/>
                  <a:pt x="568" y="481"/>
                  <a:pt x="579" y="461"/>
                </a:cubicBezTo>
                <a:cubicBezTo>
                  <a:pt x="527" y="421"/>
                  <a:pt x="527" y="421"/>
                  <a:pt x="527" y="421"/>
                </a:cubicBezTo>
                <a:cubicBezTo>
                  <a:pt x="525" y="419"/>
                  <a:pt x="524" y="416"/>
                  <a:pt x="525" y="413"/>
                </a:cubicBezTo>
                <a:cubicBezTo>
                  <a:pt x="535" y="394"/>
                  <a:pt x="541" y="373"/>
                  <a:pt x="545" y="353"/>
                </a:cubicBezTo>
                <a:cubicBezTo>
                  <a:pt x="545" y="349"/>
                  <a:pt x="548" y="347"/>
                  <a:pt x="552" y="347"/>
                </a:cubicBezTo>
                <a:cubicBezTo>
                  <a:pt x="617" y="345"/>
                  <a:pt x="617" y="345"/>
                  <a:pt x="617" y="345"/>
                </a:cubicBezTo>
                <a:cubicBezTo>
                  <a:pt x="618" y="334"/>
                  <a:pt x="619" y="323"/>
                  <a:pt x="619" y="312"/>
                </a:cubicBezTo>
                <a:cubicBezTo>
                  <a:pt x="619" y="300"/>
                  <a:pt x="618" y="289"/>
                  <a:pt x="617" y="278"/>
                </a:cubicBezTo>
                <a:cubicBezTo>
                  <a:pt x="552" y="276"/>
                  <a:pt x="552" y="276"/>
                  <a:pt x="552" y="276"/>
                </a:cubicBezTo>
                <a:cubicBezTo>
                  <a:pt x="548" y="276"/>
                  <a:pt x="545" y="274"/>
                  <a:pt x="545" y="271"/>
                </a:cubicBezTo>
                <a:cubicBezTo>
                  <a:pt x="541" y="250"/>
                  <a:pt x="535" y="229"/>
                  <a:pt x="525" y="210"/>
                </a:cubicBezTo>
                <a:cubicBezTo>
                  <a:pt x="524" y="207"/>
                  <a:pt x="525" y="204"/>
                  <a:pt x="527" y="202"/>
                </a:cubicBezTo>
                <a:cubicBezTo>
                  <a:pt x="579" y="162"/>
                  <a:pt x="579" y="162"/>
                  <a:pt x="579" y="162"/>
                </a:cubicBezTo>
                <a:cubicBezTo>
                  <a:pt x="568" y="143"/>
                  <a:pt x="555" y="124"/>
                  <a:pt x="540" y="108"/>
                </a:cubicBezTo>
                <a:cubicBezTo>
                  <a:pt x="486" y="145"/>
                  <a:pt x="486" y="145"/>
                  <a:pt x="486" y="145"/>
                </a:cubicBezTo>
                <a:cubicBezTo>
                  <a:pt x="483" y="147"/>
                  <a:pt x="479" y="146"/>
                  <a:pt x="477" y="144"/>
                </a:cubicBezTo>
                <a:cubicBezTo>
                  <a:pt x="462" y="129"/>
                  <a:pt x="445" y="117"/>
                  <a:pt x="426" y="107"/>
                </a:cubicBezTo>
                <a:cubicBezTo>
                  <a:pt x="423" y="105"/>
                  <a:pt x="422" y="102"/>
                  <a:pt x="423" y="99"/>
                </a:cubicBezTo>
                <a:cubicBezTo>
                  <a:pt x="441" y="36"/>
                  <a:pt x="441" y="36"/>
                  <a:pt x="441" y="36"/>
                </a:cubicBezTo>
                <a:cubicBezTo>
                  <a:pt x="421" y="27"/>
                  <a:pt x="399" y="20"/>
                  <a:pt x="377" y="15"/>
                </a:cubicBezTo>
                <a:cubicBezTo>
                  <a:pt x="355" y="77"/>
                  <a:pt x="355" y="77"/>
                  <a:pt x="355" y="77"/>
                </a:cubicBezTo>
                <a:cubicBezTo>
                  <a:pt x="354" y="80"/>
                  <a:pt x="351" y="82"/>
                  <a:pt x="348" y="82"/>
                </a:cubicBezTo>
                <a:cubicBezTo>
                  <a:pt x="327" y="79"/>
                  <a:pt x="306" y="79"/>
                  <a:pt x="285" y="82"/>
                </a:cubicBezTo>
                <a:cubicBezTo>
                  <a:pt x="281" y="82"/>
                  <a:pt x="278" y="80"/>
                  <a:pt x="277" y="77"/>
                </a:cubicBezTo>
                <a:cubicBezTo>
                  <a:pt x="256" y="15"/>
                  <a:pt x="256" y="15"/>
                  <a:pt x="256" y="15"/>
                </a:cubicBezTo>
                <a:cubicBezTo>
                  <a:pt x="233" y="20"/>
                  <a:pt x="212" y="27"/>
                  <a:pt x="191" y="36"/>
                </a:cubicBezTo>
                <a:cubicBezTo>
                  <a:pt x="210" y="99"/>
                  <a:pt x="210" y="99"/>
                  <a:pt x="210" y="99"/>
                </a:cubicBezTo>
                <a:cubicBezTo>
                  <a:pt x="211" y="102"/>
                  <a:pt x="210" y="105"/>
                  <a:pt x="207" y="107"/>
                </a:cubicBezTo>
                <a:cubicBezTo>
                  <a:pt x="188" y="117"/>
                  <a:pt x="171" y="129"/>
                  <a:pt x="156" y="144"/>
                </a:cubicBezTo>
                <a:cubicBezTo>
                  <a:pt x="153" y="146"/>
                  <a:pt x="149" y="147"/>
                  <a:pt x="147" y="145"/>
                </a:cubicBezTo>
                <a:cubicBezTo>
                  <a:pt x="93" y="108"/>
                  <a:pt x="93" y="108"/>
                  <a:pt x="93" y="108"/>
                </a:cubicBezTo>
                <a:cubicBezTo>
                  <a:pt x="78" y="124"/>
                  <a:pt x="64" y="143"/>
                  <a:pt x="53" y="162"/>
                </a:cubicBezTo>
                <a:cubicBezTo>
                  <a:pt x="105" y="202"/>
                  <a:pt x="105" y="202"/>
                  <a:pt x="105" y="202"/>
                </a:cubicBezTo>
                <a:cubicBezTo>
                  <a:pt x="108" y="204"/>
                  <a:pt x="109" y="207"/>
                  <a:pt x="107" y="210"/>
                </a:cubicBezTo>
                <a:cubicBezTo>
                  <a:pt x="98" y="230"/>
                  <a:pt x="91" y="250"/>
                  <a:pt x="88" y="271"/>
                </a:cubicBezTo>
                <a:cubicBezTo>
                  <a:pt x="87" y="274"/>
                  <a:pt x="84" y="276"/>
                  <a:pt x="81" y="276"/>
                </a:cubicBezTo>
                <a:cubicBezTo>
                  <a:pt x="16" y="278"/>
                  <a:pt x="16" y="278"/>
                  <a:pt x="16" y="278"/>
                </a:cubicBezTo>
                <a:cubicBezTo>
                  <a:pt x="14" y="289"/>
                  <a:pt x="14" y="300"/>
                  <a:pt x="14" y="312"/>
                </a:cubicBezTo>
                <a:cubicBezTo>
                  <a:pt x="14" y="323"/>
                  <a:pt x="14" y="334"/>
                  <a:pt x="16" y="345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4" y="347"/>
                  <a:pt x="87" y="349"/>
                  <a:pt x="88" y="353"/>
                </a:cubicBezTo>
                <a:cubicBezTo>
                  <a:pt x="91" y="373"/>
                  <a:pt x="98" y="394"/>
                  <a:pt x="107" y="413"/>
                </a:cubicBezTo>
                <a:cubicBezTo>
                  <a:pt x="109" y="416"/>
                  <a:pt x="108" y="419"/>
                  <a:pt x="105" y="421"/>
                </a:cubicBezTo>
                <a:cubicBezTo>
                  <a:pt x="53" y="461"/>
                  <a:pt x="53" y="461"/>
                  <a:pt x="53" y="461"/>
                </a:cubicBezTo>
                <a:cubicBezTo>
                  <a:pt x="64" y="481"/>
                  <a:pt x="78" y="499"/>
                  <a:pt x="93" y="516"/>
                </a:cubicBezTo>
                <a:cubicBezTo>
                  <a:pt x="147" y="478"/>
                  <a:pt x="147" y="478"/>
                  <a:pt x="147" y="478"/>
                </a:cubicBezTo>
                <a:cubicBezTo>
                  <a:pt x="149" y="477"/>
                  <a:pt x="153" y="477"/>
                  <a:pt x="156" y="479"/>
                </a:cubicBezTo>
                <a:cubicBezTo>
                  <a:pt x="171" y="494"/>
                  <a:pt x="188" y="506"/>
                  <a:pt x="207" y="516"/>
                </a:cubicBezTo>
                <a:cubicBezTo>
                  <a:pt x="210" y="518"/>
                  <a:pt x="211" y="521"/>
                  <a:pt x="210" y="525"/>
                </a:cubicBezTo>
                <a:cubicBezTo>
                  <a:pt x="191" y="587"/>
                  <a:pt x="191" y="587"/>
                  <a:pt x="191" y="587"/>
                </a:cubicBezTo>
                <a:cubicBezTo>
                  <a:pt x="212" y="597"/>
                  <a:pt x="233" y="604"/>
                  <a:pt x="256" y="608"/>
                </a:cubicBezTo>
                <a:cubicBezTo>
                  <a:pt x="277" y="546"/>
                  <a:pt x="277" y="546"/>
                  <a:pt x="277" y="546"/>
                </a:cubicBezTo>
                <a:cubicBezTo>
                  <a:pt x="278" y="543"/>
                  <a:pt x="281" y="541"/>
                  <a:pt x="285" y="542"/>
                </a:cubicBezTo>
                <a:cubicBezTo>
                  <a:pt x="306" y="545"/>
                  <a:pt x="327" y="545"/>
                  <a:pt x="348" y="542"/>
                </a:cubicBezTo>
                <a:cubicBezTo>
                  <a:pt x="348" y="542"/>
                  <a:pt x="348" y="542"/>
                  <a:pt x="349" y="542"/>
                </a:cubicBezTo>
                <a:close/>
                <a:moveTo>
                  <a:pt x="316" y="409"/>
                </a:moveTo>
                <a:cubicBezTo>
                  <a:pt x="263" y="409"/>
                  <a:pt x="219" y="365"/>
                  <a:pt x="219" y="312"/>
                </a:cubicBezTo>
                <a:cubicBezTo>
                  <a:pt x="219" y="258"/>
                  <a:pt x="263" y="214"/>
                  <a:pt x="316" y="214"/>
                </a:cubicBezTo>
                <a:cubicBezTo>
                  <a:pt x="370" y="214"/>
                  <a:pt x="414" y="258"/>
                  <a:pt x="414" y="312"/>
                </a:cubicBezTo>
                <a:cubicBezTo>
                  <a:pt x="414" y="365"/>
                  <a:pt x="370" y="409"/>
                  <a:pt x="316" y="409"/>
                </a:cubicBezTo>
                <a:close/>
                <a:moveTo>
                  <a:pt x="316" y="228"/>
                </a:moveTo>
                <a:cubicBezTo>
                  <a:pt x="270" y="228"/>
                  <a:pt x="233" y="266"/>
                  <a:pt x="233" y="312"/>
                </a:cubicBezTo>
                <a:cubicBezTo>
                  <a:pt x="233" y="358"/>
                  <a:pt x="270" y="395"/>
                  <a:pt x="316" y="395"/>
                </a:cubicBezTo>
                <a:cubicBezTo>
                  <a:pt x="362" y="395"/>
                  <a:pt x="400" y="358"/>
                  <a:pt x="400" y="312"/>
                </a:cubicBezTo>
                <a:cubicBezTo>
                  <a:pt x="400" y="266"/>
                  <a:pt x="362" y="228"/>
                  <a:pt x="316" y="22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3" name="Freeform 107"/>
          <p:cNvSpPr>
            <a:spLocks noEditPoints="1"/>
          </p:cNvSpPr>
          <p:nvPr/>
        </p:nvSpPr>
        <p:spPr bwMode="auto">
          <a:xfrm>
            <a:off x="2772878" y="2559502"/>
            <a:ext cx="339132" cy="337002"/>
          </a:xfrm>
          <a:custGeom>
            <a:avLst/>
            <a:gdLst>
              <a:gd name="T0" fmla="*/ 591 w 610"/>
              <a:gd name="T1" fmla="*/ 523 h 606"/>
              <a:gd name="T2" fmla="*/ 463 w 610"/>
              <a:gd name="T3" fmla="*/ 395 h 606"/>
              <a:gd name="T4" fmla="*/ 432 w 610"/>
              <a:gd name="T5" fmla="*/ 74 h 606"/>
              <a:gd name="T6" fmla="*/ 253 w 610"/>
              <a:gd name="T7" fmla="*/ 0 h 606"/>
              <a:gd name="T8" fmla="*/ 74 w 610"/>
              <a:gd name="T9" fmla="*/ 74 h 606"/>
              <a:gd name="T10" fmla="*/ 0 w 610"/>
              <a:gd name="T11" fmla="*/ 253 h 606"/>
              <a:gd name="T12" fmla="*/ 74 w 610"/>
              <a:gd name="T13" fmla="*/ 433 h 606"/>
              <a:gd name="T14" fmla="*/ 253 w 610"/>
              <a:gd name="T15" fmla="*/ 507 h 606"/>
              <a:gd name="T16" fmla="*/ 395 w 610"/>
              <a:gd name="T17" fmla="*/ 464 h 606"/>
              <a:gd name="T18" fmla="*/ 522 w 610"/>
              <a:gd name="T19" fmla="*/ 591 h 606"/>
              <a:gd name="T20" fmla="*/ 557 w 610"/>
              <a:gd name="T21" fmla="*/ 606 h 606"/>
              <a:gd name="T22" fmla="*/ 591 w 610"/>
              <a:gd name="T23" fmla="*/ 591 h 606"/>
              <a:gd name="T24" fmla="*/ 591 w 610"/>
              <a:gd name="T25" fmla="*/ 523 h 606"/>
              <a:gd name="T26" fmla="*/ 84 w 610"/>
              <a:gd name="T27" fmla="*/ 423 h 606"/>
              <a:gd name="T28" fmla="*/ 14 w 610"/>
              <a:gd name="T29" fmla="*/ 253 h 606"/>
              <a:gd name="T30" fmla="*/ 84 w 610"/>
              <a:gd name="T31" fmla="*/ 84 h 606"/>
              <a:gd name="T32" fmla="*/ 253 w 610"/>
              <a:gd name="T33" fmla="*/ 14 h 606"/>
              <a:gd name="T34" fmla="*/ 422 w 610"/>
              <a:gd name="T35" fmla="*/ 84 h 606"/>
              <a:gd name="T36" fmla="*/ 449 w 610"/>
              <a:gd name="T37" fmla="*/ 391 h 606"/>
              <a:gd name="T38" fmla="*/ 448 w 610"/>
              <a:gd name="T39" fmla="*/ 392 h 606"/>
              <a:gd name="T40" fmla="*/ 422 w 610"/>
              <a:gd name="T41" fmla="*/ 423 h 606"/>
              <a:gd name="T42" fmla="*/ 392 w 610"/>
              <a:gd name="T43" fmla="*/ 448 h 606"/>
              <a:gd name="T44" fmla="*/ 391 w 610"/>
              <a:gd name="T45" fmla="*/ 449 h 606"/>
              <a:gd name="T46" fmla="*/ 253 w 610"/>
              <a:gd name="T47" fmla="*/ 493 h 606"/>
              <a:gd name="T48" fmla="*/ 84 w 610"/>
              <a:gd name="T49" fmla="*/ 423 h 606"/>
              <a:gd name="T50" fmla="*/ 581 w 610"/>
              <a:gd name="T51" fmla="*/ 581 h 606"/>
              <a:gd name="T52" fmla="*/ 532 w 610"/>
              <a:gd name="T53" fmla="*/ 581 h 606"/>
              <a:gd name="T54" fmla="*/ 406 w 610"/>
              <a:gd name="T55" fmla="*/ 455 h 606"/>
              <a:gd name="T56" fmla="*/ 432 w 610"/>
              <a:gd name="T57" fmla="*/ 433 h 606"/>
              <a:gd name="T58" fmla="*/ 455 w 610"/>
              <a:gd name="T59" fmla="*/ 406 h 606"/>
              <a:gd name="T60" fmla="*/ 581 w 610"/>
              <a:gd name="T61" fmla="*/ 533 h 606"/>
              <a:gd name="T62" fmla="*/ 581 w 610"/>
              <a:gd name="T63" fmla="*/ 581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10" h="606">
                <a:moveTo>
                  <a:pt x="591" y="523"/>
                </a:moveTo>
                <a:cubicBezTo>
                  <a:pt x="463" y="395"/>
                  <a:pt x="463" y="395"/>
                  <a:pt x="463" y="395"/>
                </a:cubicBezTo>
                <a:cubicBezTo>
                  <a:pt x="530" y="296"/>
                  <a:pt x="519" y="161"/>
                  <a:pt x="432" y="74"/>
                </a:cubicBezTo>
                <a:cubicBezTo>
                  <a:pt x="384" y="26"/>
                  <a:pt x="321" y="0"/>
                  <a:pt x="253" y="0"/>
                </a:cubicBezTo>
                <a:cubicBezTo>
                  <a:pt x="185" y="0"/>
                  <a:pt x="122" y="26"/>
                  <a:pt x="74" y="74"/>
                </a:cubicBezTo>
                <a:cubicBezTo>
                  <a:pt x="26" y="122"/>
                  <a:pt x="0" y="186"/>
                  <a:pt x="0" y="253"/>
                </a:cubicBezTo>
                <a:cubicBezTo>
                  <a:pt x="0" y="321"/>
                  <a:pt x="26" y="385"/>
                  <a:pt x="74" y="433"/>
                </a:cubicBezTo>
                <a:cubicBezTo>
                  <a:pt x="122" y="480"/>
                  <a:pt x="185" y="507"/>
                  <a:pt x="253" y="507"/>
                </a:cubicBezTo>
                <a:cubicBezTo>
                  <a:pt x="304" y="507"/>
                  <a:pt x="353" y="492"/>
                  <a:pt x="395" y="464"/>
                </a:cubicBezTo>
                <a:cubicBezTo>
                  <a:pt x="522" y="591"/>
                  <a:pt x="522" y="591"/>
                  <a:pt x="522" y="591"/>
                </a:cubicBezTo>
                <a:cubicBezTo>
                  <a:pt x="532" y="601"/>
                  <a:pt x="544" y="606"/>
                  <a:pt x="557" y="606"/>
                </a:cubicBezTo>
                <a:cubicBezTo>
                  <a:pt x="569" y="606"/>
                  <a:pt x="582" y="601"/>
                  <a:pt x="591" y="591"/>
                </a:cubicBezTo>
                <a:cubicBezTo>
                  <a:pt x="610" y="572"/>
                  <a:pt x="610" y="542"/>
                  <a:pt x="591" y="523"/>
                </a:cubicBezTo>
                <a:close/>
                <a:moveTo>
                  <a:pt x="84" y="423"/>
                </a:moveTo>
                <a:cubicBezTo>
                  <a:pt x="39" y="377"/>
                  <a:pt x="14" y="317"/>
                  <a:pt x="14" y="253"/>
                </a:cubicBezTo>
                <a:cubicBezTo>
                  <a:pt x="14" y="189"/>
                  <a:pt x="39" y="129"/>
                  <a:pt x="84" y="84"/>
                </a:cubicBezTo>
                <a:cubicBezTo>
                  <a:pt x="129" y="39"/>
                  <a:pt x="189" y="14"/>
                  <a:pt x="253" y="14"/>
                </a:cubicBezTo>
                <a:cubicBezTo>
                  <a:pt x="317" y="14"/>
                  <a:pt x="377" y="39"/>
                  <a:pt x="422" y="84"/>
                </a:cubicBezTo>
                <a:cubicBezTo>
                  <a:pt x="506" y="168"/>
                  <a:pt x="514" y="298"/>
                  <a:pt x="449" y="391"/>
                </a:cubicBezTo>
                <a:cubicBezTo>
                  <a:pt x="448" y="392"/>
                  <a:pt x="448" y="392"/>
                  <a:pt x="448" y="392"/>
                </a:cubicBezTo>
                <a:cubicBezTo>
                  <a:pt x="440" y="403"/>
                  <a:pt x="432" y="413"/>
                  <a:pt x="422" y="423"/>
                </a:cubicBezTo>
                <a:cubicBezTo>
                  <a:pt x="413" y="432"/>
                  <a:pt x="403" y="441"/>
                  <a:pt x="392" y="448"/>
                </a:cubicBezTo>
                <a:cubicBezTo>
                  <a:pt x="392" y="448"/>
                  <a:pt x="391" y="449"/>
                  <a:pt x="391" y="449"/>
                </a:cubicBezTo>
                <a:cubicBezTo>
                  <a:pt x="351" y="477"/>
                  <a:pt x="303" y="493"/>
                  <a:pt x="253" y="493"/>
                </a:cubicBezTo>
                <a:cubicBezTo>
                  <a:pt x="189" y="493"/>
                  <a:pt x="129" y="468"/>
                  <a:pt x="84" y="423"/>
                </a:cubicBezTo>
                <a:close/>
                <a:moveTo>
                  <a:pt x="581" y="581"/>
                </a:moveTo>
                <a:cubicBezTo>
                  <a:pt x="568" y="595"/>
                  <a:pt x="546" y="595"/>
                  <a:pt x="532" y="581"/>
                </a:cubicBezTo>
                <a:cubicBezTo>
                  <a:pt x="406" y="455"/>
                  <a:pt x="406" y="455"/>
                  <a:pt x="406" y="455"/>
                </a:cubicBezTo>
                <a:cubicBezTo>
                  <a:pt x="415" y="448"/>
                  <a:pt x="424" y="441"/>
                  <a:pt x="432" y="433"/>
                </a:cubicBezTo>
                <a:cubicBezTo>
                  <a:pt x="440" y="424"/>
                  <a:pt x="448" y="415"/>
                  <a:pt x="455" y="406"/>
                </a:cubicBezTo>
                <a:cubicBezTo>
                  <a:pt x="581" y="533"/>
                  <a:pt x="581" y="533"/>
                  <a:pt x="581" y="533"/>
                </a:cubicBezTo>
                <a:cubicBezTo>
                  <a:pt x="595" y="546"/>
                  <a:pt x="595" y="568"/>
                  <a:pt x="581" y="58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4" name="Rectangle 33"/>
          <p:cNvSpPr/>
          <p:nvPr/>
        </p:nvSpPr>
        <p:spPr>
          <a:xfrm>
            <a:off x="645733" y="3580567"/>
            <a:ext cx="1742576" cy="2876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634016" y="3580567"/>
            <a:ext cx="1742576" cy="2876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</a:t>
            </a:r>
          </a:p>
        </p:txBody>
      </p:sp>
      <p:sp>
        <p:nvSpPr>
          <p:cNvPr id="36" name="Rectangle 35"/>
          <p:cNvSpPr/>
          <p:nvPr/>
        </p:nvSpPr>
        <p:spPr>
          <a:xfrm>
            <a:off x="6610583" y="3580567"/>
            <a:ext cx="1742576" cy="2876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622300" y="3580567"/>
            <a:ext cx="1742576" cy="2876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645733" y="3429691"/>
            <a:ext cx="7663611" cy="0"/>
          </a:xfrm>
          <a:prstGeom prst="line">
            <a:avLst/>
          </a:prstGeom>
          <a:ln>
            <a:solidFill>
              <a:schemeClr val="tx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Footer Placeholder 99">
            <a:extLst>
              <a:ext uri="{FF2B5EF4-FFF2-40B4-BE49-F238E27FC236}">
                <a16:creationId xmlns:a16="http://schemas.microsoft.com/office/drawing/2014/main" id="{BAE578F1-C96B-4C19-8075-C2B82647B9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9" name="Slide Number Placeholder 100">
            <a:extLst>
              <a:ext uri="{FF2B5EF4-FFF2-40B4-BE49-F238E27FC236}">
                <a16:creationId xmlns:a16="http://schemas.microsoft.com/office/drawing/2014/main" id="{214FC648-18AB-4CF7-9422-983501D2D11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40" name="Text Placeholder 41">
            <a:extLst>
              <a:ext uri="{FF2B5EF4-FFF2-40B4-BE49-F238E27FC236}">
                <a16:creationId xmlns:a16="http://schemas.microsoft.com/office/drawing/2014/main" id="{B9120B2C-A908-4018-972F-28861CC047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961374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ight Arrow 42"/>
          <p:cNvSpPr/>
          <p:nvPr/>
        </p:nvSpPr>
        <p:spPr>
          <a:xfrm rot="5400000">
            <a:off x="1127579" y="3065196"/>
            <a:ext cx="785366" cy="244401"/>
          </a:xfrm>
          <a:prstGeom prst="rightArrow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48" name="Right Arrow 47"/>
          <p:cNvSpPr/>
          <p:nvPr/>
        </p:nvSpPr>
        <p:spPr>
          <a:xfrm rot="5400000">
            <a:off x="7119668" y="1971854"/>
            <a:ext cx="785366" cy="244401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45" name="Right Arrow 44"/>
          <p:cNvSpPr/>
          <p:nvPr/>
        </p:nvSpPr>
        <p:spPr>
          <a:xfrm>
            <a:off x="2290159" y="3707888"/>
            <a:ext cx="283706" cy="218786"/>
          </a:xfrm>
          <a:prstGeom prst="rightArrow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46" name="Right Arrow 45"/>
          <p:cNvSpPr/>
          <p:nvPr/>
        </p:nvSpPr>
        <p:spPr>
          <a:xfrm>
            <a:off x="4270060" y="3707888"/>
            <a:ext cx="283706" cy="218786"/>
          </a:xfrm>
          <a:prstGeom prst="rightArrow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47" name="Right Arrow 46"/>
          <p:cNvSpPr/>
          <p:nvPr/>
        </p:nvSpPr>
        <p:spPr>
          <a:xfrm>
            <a:off x="6249961" y="3707888"/>
            <a:ext cx="283706" cy="218786"/>
          </a:xfrm>
          <a:prstGeom prst="rightArrow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38691" cy="545464"/>
          </a:xfrm>
        </p:spPr>
        <p:txBody>
          <a:bodyPr/>
          <a:lstStyle/>
          <a:p>
            <a:r>
              <a:rPr lang="en-US" dirty="0"/>
              <a:t>Process with many steps</a:t>
            </a:r>
          </a:p>
        </p:txBody>
      </p:sp>
      <p:sp>
        <p:nvSpPr>
          <p:cNvPr id="15" name="Right Arrow 14"/>
          <p:cNvSpPr/>
          <p:nvPr/>
        </p:nvSpPr>
        <p:spPr>
          <a:xfrm>
            <a:off x="2260105" y="1545218"/>
            <a:ext cx="283706" cy="218786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6" name="Right Arrow 15"/>
          <p:cNvSpPr/>
          <p:nvPr/>
        </p:nvSpPr>
        <p:spPr>
          <a:xfrm>
            <a:off x="4245961" y="1545218"/>
            <a:ext cx="283706" cy="218786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0882" y="1421642"/>
            <a:ext cx="1698761" cy="465939"/>
          </a:xfrm>
          <a:prstGeom prst="rect">
            <a:avLst/>
          </a:prstGeom>
          <a:gradFill>
            <a:gsLst>
              <a:gs pos="67000">
                <a:schemeClr val="accent1"/>
              </a:gs>
              <a:gs pos="88000">
                <a:schemeClr val="accent1">
                  <a:lumMod val="50000"/>
                </a:schemeClr>
              </a:gs>
            </a:gsLst>
            <a:lin ang="10800000" scaled="0"/>
          </a:gradFill>
        </p:spPr>
        <p:txBody>
          <a:bodyPr wrap="square" lIns="182880" tIns="91440" rIns="182880" bIns="91440" rtlCol="0" anchor="ctr" anchorCtr="0">
            <a:noAutofit/>
          </a:bodyPr>
          <a:lstStyle/>
          <a:p>
            <a:pPr marL="429816"/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</a:t>
            </a:r>
            <a:r>
              <a:rPr lang="en-US" sz="1050" dirty="0">
                <a:solidFill>
                  <a:srgbClr val="FFFFFF"/>
                </a:solidFill>
              </a:rPr>
              <a:t> </a:t>
            </a:r>
            <a:r>
              <a:rPr lang="en-US" sz="1050" dirty="0" err="1">
                <a:solidFill>
                  <a:srgbClr val="FFFFFF"/>
                </a:solidFill>
              </a:rPr>
              <a:t>xxxxxx</a:t>
            </a:r>
            <a:r>
              <a:rPr lang="en-US" sz="1050" dirty="0">
                <a:solidFill>
                  <a:srgbClr val="FFFFFF"/>
                </a:solidFill>
              </a:rPr>
              <a:t> xxx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665076" y="1421642"/>
            <a:ext cx="1698761" cy="465939"/>
          </a:xfrm>
          <a:prstGeom prst="rect">
            <a:avLst/>
          </a:prstGeom>
          <a:gradFill>
            <a:gsLst>
              <a:gs pos="67000">
                <a:schemeClr val="accent1"/>
              </a:gs>
              <a:gs pos="88000">
                <a:schemeClr val="accent1">
                  <a:lumMod val="50000"/>
                </a:schemeClr>
              </a:gs>
            </a:gsLst>
            <a:lin ang="10800000" scaled="0"/>
          </a:gradFill>
        </p:spPr>
        <p:txBody>
          <a:bodyPr wrap="square" lIns="182880" tIns="91440" rIns="182880" bIns="91440" rtlCol="0" anchor="ctr" anchorCtr="0">
            <a:noAutofit/>
          </a:bodyPr>
          <a:lstStyle>
            <a:defPPr>
              <a:defRPr lang="en-US"/>
            </a:defPPr>
            <a:lvl1pPr marL="573088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652117" y="1421642"/>
            <a:ext cx="1698761" cy="465939"/>
          </a:xfrm>
          <a:prstGeom prst="rect">
            <a:avLst/>
          </a:prstGeom>
          <a:gradFill>
            <a:gsLst>
              <a:gs pos="67000">
                <a:schemeClr val="accent1"/>
              </a:gs>
              <a:gs pos="88000">
                <a:schemeClr val="accent1">
                  <a:lumMod val="50000"/>
                </a:schemeClr>
              </a:gs>
            </a:gsLst>
            <a:lin ang="10800000" scaled="0"/>
          </a:gradFill>
        </p:spPr>
        <p:txBody>
          <a:bodyPr wrap="square" lIns="182880" tIns="91440" rIns="182880" bIns="91440" rtlCol="0" anchor="ctr" anchorCtr="0">
            <a:noAutofit/>
          </a:bodyPr>
          <a:lstStyle>
            <a:defPPr>
              <a:defRPr lang="en-US"/>
            </a:defPPr>
            <a:lvl1pPr marL="573088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</a:t>
            </a:r>
          </a:p>
        </p:txBody>
      </p:sp>
      <p:sp>
        <p:nvSpPr>
          <p:cNvPr id="14" name="Right Arrow 13"/>
          <p:cNvSpPr/>
          <p:nvPr/>
        </p:nvSpPr>
        <p:spPr>
          <a:xfrm>
            <a:off x="6231816" y="1545218"/>
            <a:ext cx="283706" cy="218786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662971" y="1421642"/>
            <a:ext cx="1698761" cy="465939"/>
          </a:xfrm>
          <a:prstGeom prst="rect">
            <a:avLst/>
          </a:prstGeom>
          <a:gradFill>
            <a:gsLst>
              <a:gs pos="67000">
                <a:schemeClr val="accent1"/>
              </a:gs>
              <a:gs pos="88000">
                <a:schemeClr val="accent1">
                  <a:lumMod val="50000"/>
                </a:schemeClr>
              </a:gs>
            </a:gsLst>
            <a:lin ang="10800000" scaled="0"/>
          </a:gradFill>
        </p:spPr>
        <p:txBody>
          <a:bodyPr wrap="square" lIns="182880" tIns="91440" rIns="182880" bIns="91440" rtlCol="0" anchor="ctr" anchorCtr="0">
            <a:noAutofit/>
          </a:bodyPr>
          <a:lstStyle>
            <a:defPPr>
              <a:defRPr lang="en-US"/>
            </a:defPPr>
            <a:lvl1pPr marL="573088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662971" y="2485688"/>
            <a:ext cx="1698761" cy="465939"/>
          </a:xfrm>
          <a:prstGeom prst="rect">
            <a:avLst/>
          </a:prstGeom>
          <a:gradFill>
            <a:gsLst>
              <a:gs pos="67000">
                <a:schemeClr val="accent4"/>
              </a:gs>
              <a:gs pos="88000">
                <a:schemeClr val="accent4">
                  <a:lumMod val="50000"/>
                </a:schemeClr>
              </a:gs>
            </a:gsLst>
            <a:lin ang="10800000" scaled="0"/>
          </a:gradFill>
        </p:spPr>
        <p:txBody>
          <a:bodyPr wrap="square" lIns="182880" tIns="91440" rIns="182880" bIns="91440" rtlCol="0" anchor="ctr" anchorCtr="0">
            <a:noAutofit/>
          </a:bodyPr>
          <a:lstStyle>
            <a:defPPr>
              <a:defRPr lang="en-US"/>
            </a:defPPr>
            <a:lvl1pPr marL="573088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650874" y="2485688"/>
            <a:ext cx="1698761" cy="465939"/>
          </a:xfrm>
          <a:prstGeom prst="rect">
            <a:avLst/>
          </a:prstGeom>
          <a:gradFill>
            <a:gsLst>
              <a:gs pos="67000">
                <a:schemeClr val="accent4"/>
              </a:gs>
              <a:gs pos="88000">
                <a:schemeClr val="accent4">
                  <a:lumMod val="50000"/>
                </a:schemeClr>
              </a:gs>
            </a:gsLst>
            <a:lin ang="10800000" scaled="0"/>
          </a:gradFill>
        </p:spPr>
        <p:txBody>
          <a:bodyPr wrap="square" lIns="182880" tIns="91440" rIns="182880" bIns="91440" rtlCol="0" anchor="ctr" anchorCtr="0">
            <a:noAutofit/>
          </a:bodyPr>
          <a:lstStyle>
            <a:defPPr>
              <a:defRPr lang="en-US"/>
            </a:defPPr>
            <a:lvl1pPr marL="573088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662591" y="2485688"/>
            <a:ext cx="1698761" cy="465939"/>
          </a:xfrm>
          <a:prstGeom prst="rect">
            <a:avLst/>
          </a:prstGeom>
          <a:gradFill>
            <a:gsLst>
              <a:gs pos="67000">
                <a:schemeClr val="accent4"/>
              </a:gs>
              <a:gs pos="88000">
                <a:schemeClr val="accent4">
                  <a:lumMod val="50000"/>
                </a:schemeClr>
              </a:gs>
            </a:gsLst>
            <a:lin ang="10800000" scaled="0"/>
          </a:gradFill>
        </p:spPr>
        <p:txBody>
          <a:bodyPr wrap="square" lIns="182880" tIns="91440" rIns="182880" bIns="91440" rtlCol="0" anchor="ctr" anchorCtr="0">
            <a:noAutofit/>
          </a:bodyPr>
          <a:lstStyle>
            <a:defPPr>
              <a:defRPr lang="en-US"/>
            </a:defPPr>
            <a:lvl1pPr marL="573088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70882" y="2485688"/>
            <a:ext cx="1698761" cy="465939"/>
          </a:xfrm>
          <a:prstGeom prst="rect">
            <a:avLst/>
          </a:prstGeom>
          <a:gradFill>
            <a:gsLst>
              <a:gs pos="67000">
                <a:schemeClr val="accent4"/>
              </a:gs>
              <a:gs pos="88000">
                <a:schemeClr val="accent4">
                  <a:lumMod val="50000"/>
                </a:schemeClr>
              </a:gs>
            </a:gsLst>
            <a:lin ang="10800000" scaled="0"/>
          </a:gradFill>
        </p:spPr>
        <p:txBody>
          <a:bodyPr wrap="square" lIns="182880" tIns="91440" rIns="182880" bIns="91440" rtlCol="0" anchor="ctr" anchorCtr="0">
            <a:noAutofit/>
          </a:bodyPr>
          <a:lstStyle>
            <a:defPPr>
              <a:defRPr lang="en-US"/>
            </a:defPPr>
            <a:lvl1pPr marL="573088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</a:t>
            </a:r>
          </a:p>
        </p:txBody>
      </p:sp>
      <p:sp>
        <p:nvSpPr>
          <p:cNvPr id="26" name="Right Arrow 25"/>
          <p:cNvSpPr/>
          <p:nvPr/>
        </p:nvSpPr>
        <p:spPr>
          <a:xfrm rot="10800000">
            <a:off x="6357115" y="2609264"/>
            <a:ext cx="283706" cy="218786"/>
          </a:xfrm>
          <a:prstGeom prst="rightArrow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7" name="Right Arrow 26"/>
          <p:cNvSpPr/>
          <p:nvPr/>
        </p:nvSpPr>
        <p:spPr>
          <a:xfrm rot="10800000">
            <a:off x="4368832" y="2609264"/>
            <a:ext cx="283706" cy="218786"/>
          </a:xfrm>
          <a:prstGeom prst="rightArrow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8" name="Right Arrow 27"/>
          <p:cNvSpPr/>
          <p:nvPr/>
        </p:nvSpPr>
        <p:spPr>
          <a:xfrm rot="10800000">
            <a:off x="2351974" y="2609264"/>
            <a:ext cx="283706" cy="218786"/>
          </a:xfrm>
          <a:prstGeom prst="rightArrow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70882" y="3584312"/>
            <a:ext cx="1698761" cy="465939"/>
          </a:xfrm>
          <a:prstGeom prst="rect">
            <a:avLst/>
          </a:prstGeom>
          <a:gradFill>
            <a:gsLst>
              <a:gs pos="67000">
                <a:schemeClr val="accent5"/>
              </a:gs>
              <a:gs pos="88000">
                <a:schemeClr val="accent6">
                  <a:lumMod val="50000"/>
                </a:schemeClr>
              </a:gs>
            </a:gsLst>
            <a:lin ang="10800000" scaled="0"/>
          </a:gradFill>
        </p:spPr>
        <p:txBody>
          <a:bodyPr wrap="square" lIns="182880" tIns="91440" rIns="182880" bIns="91440" rtlCol="0" anchor="ctr" anchorCtr="0">
            <a:noAutofit/>
          </a:bodyPr>
          <a:lstStyle>
            <a:defPPr>
              <a:defRPr lang="en-US"/>
            </a:defPPr>
            <a:lvl1pPr marL="573088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679358" y="3584312"/>
            <a:ext cx="1698761" cy="465939"/>
          </a:xfrm>
          <a:prstGeom prst="rect">
            <a:avLst/>
          </a:prstGeom>
          <a:gradFill>
            <a:gsLst>
              <a:gs pos="67000">
                <a:schemeClr val="accent5"/>
              </a:gs>
              <a:gs pos="88000">
                <a:schemeClr val="accent6">
                  <a:lumMod val="50000"/>
                </a:schemeClr>
              </a:gs>
            </a:gsLst>
            <a:lin ang="10800000" scaled="0"/>
          </a:gradFill>
        </p:spPr>
        <p:txBody>
          <a:bodyPr wrap="square" lIns="182880" tIns="91440" rIns="182880" bIns="91440" rtlCol="0" anchor="ctr" anchorCtr="0">
            <a:noAutofit/>
          </a:bodyPr>
          <a:lstStyle>
            <a:defPPr>
              <a:defRPr lang="en-US"/>
            </a:defPPr>
            <a:lvl1pPr marL="573088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659259" y="3584312"/>
            <a:ext cx="1698761" cy="465939"/>
          </a:xfrm>
          <a:prstGeom prst="rect">
            <a:avLst/>
          </a:prstGeom>
          <a:gradFill>
            <a:gsLst>
              <a:gs pos="67000">
                <a:schemeClr val="accent5"/>
              </a:gs>
              <a:gs pos="88000">
                <a:schemeClr val="accent6">
                  <a:lumMod val="50000"/>
                </a:schemeClr>
              </a:gs>
            </a:gsLst>
            <a:lin ang="10800000" scaled="0"/>
          </a:gradFill>
        </p:spPr>
        <p:txBody>
          <a:bodyPr wrap="square" lIns="182880" tIns="91440" rIns="182880" bIns="91440" rtlCol="0" anchor="ctr" anchorCtr="0">
            <a:noAutofit/>
          </a:bodyPr>
          <a:lstStyle>
            <a:defPPr>
              <a:defRPr lang="en-US"/>
            </a:defPPr>
            <a:lvl1pPr marL="573088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662971" y="3584312"/>
            <a:ext cx="1698761" cy="465939"/>
          </a:xfrm>
          <a:prstGeom prst="rect">
            <a:avLst/>
          </a:prstGeom>
          <a:gradFill>
            <a:gsLst>
              <a:gs pos="67000">
                <a:schemeClr val="accent5"/>
              </a:gs>
              <a:gs pos="88000">
                <a:schemeClr val="accent6">
                  <a:lumMod val="50000"/>
                </a:schemeClr>
              </a:gs>
            </a:gsLst>
            <a:lin ang="10800000" scaled="0"/>
          </a:gradFill>
        </p:spPr>
        <p:txBody>
          <a:bodyPr wrap="square" lIns="182880" tIns="91440" rIns="182880" bIns="91440" rtlCol="0" anchor="ctr" anchorCtr="0">
            <a:noAutofit/>
          </a:bodyPr>
          <a:lstStyle>
            <a:defPPr>
              <a:defRPr lang="en-US"/>
            </a:defPPr>
            <a:lvl1pPr marL="573088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</a:t>
            </a:r>
          </a:p>
        </p:txBody>
      </p:sp>
      <p:sp useBgFill="1">
        <p:nvSpPr>
          <p:cNvPr id="6" name="Oval 5"/>
          <p:cNvSpPr/>
          <p:nvPr/>
        </p:nvSpPr>
        <p:spPr>
          <a:xfrm>
            <a:off x="554417" y="1379793"/>
            <a:ext cx="549636" cy="549636"/>
          </a:xfrm>
          <a:prstGeom prst="ellipse">
            <a:avLst/>
          </a:prstGeom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01</a:t>
            </a:r>
          </a:p>
        </p:txBody>
      </p:sp>
      <p:sp useBgFill="1">
        <p:nvSpPr>
          <p:cNvPr id="49" name="Oval 48"/>
          <p:cNvSpPr/>
          <p:nvPr/>
        </p:nvSpPr>
        <p:spPr>
          <a:xfrm>
            <a:off x="2547245" y="1379793"/>
            <a:ext cx="549636" cy="549636"/>
          </a:xfrm>
          <a:prstGeom prst="ellipse">
            <a:avLst/>
          </a:prstGeom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02</a:t>
            </a:r>
          </a:p>
        </p:txBody>
      </p:sp>
      <p:sp useBgFill="1">
        <p:nvSpPr>
          <p:cNvPr id="50" name="Oval 49"/>
          <p:cNvSpPr/>
          <p:nvPr/>
        </p:nvSpPr>
        <p:spPr>
          <a:xfrm>
            <a:off x="4540072" y="1379793"/>
            <a:ext cx="549636" cy="549636"/>
          </a:xfrm>
          <a:prstGeom prst="ellipse">
            <a:avLst/>
          </a:prstGeom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03</a:t>
            </a:r>
          </a:p>
        </p:txBody>
      </p:sp>
      <p:sp useBgFill="1">
        <p:nvSpPr>
          <p:cNvPr id="51" name="Oval 50"/>
          <p:cNvSpPr/>
          <p:nvPr/>
        </p:nvSpPr>
        <p:spPr>
          <a:xfrm>
            <a:off x="6532899" y="1379793"/>
            <a:ext cx="549636" cy="549636"/>
          </a:xfrm>
          <a:prstGeom prst="ellipse">
            <a:avLst/>
          </a:prstGeom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04</a:t>
            </a:r>
          </a:p>
        </p:txBody>
      </p:sp>
      <p:sp useBgFill="1">
        <p:nvSpPr>
          <p:cNvPr id="52" name="Oval 51"/>
          <p:cNvSpPr/>
          <p:nvPr/>
        </p:nvSpPr>
        <p:spPr>
          <a:xfrm>
            <a:off x="554417" y="2443515"/>
            <a:ext cx="549636" cy="549636"/>
          </a:xfrm>
          <a:prstGeom prst="ellipse">
            <a:avLst/>
          </a:prstGeom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08</a:t>
            </a:r>
          </a:p>
        </p:txBody>
      </p:sp>
      <p:sp useBgFill="1">
        <p:nvSpPr>
          <p:cNvPr id="53" name="Oval 52"/>
          <p:cNvSpPr/>
          <p:nvPr/>
        </p:nvSpPr>
        <p:spPr>
          <a:xfrm>
            <a:off x="2547245" y="2443515"/>
            <a:ext cx="549636" cy="549636"/>
          </a:xfrm>
          <a:prstGeom prst="ellipse">
            <a:avLst/>
          </a:prstGeom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07</a:t>
            </a:r>
          </a:p>
        </p:txBody>
      </p:sp>
      <p:sp useBgFill="1">
        <p:nvSpPr>
          <p:cNvPr id="54" name="Oval 53"/>
          <p:cNvSpPr/>
          <p:nvPr/>
        </p:nvSpPr>
        <p:spPr>
          <a:xfrm>
            <a:off x="4540072" y="2443515"/>
            <a:ext cx="549636" cy="549636"/>
          </a:xfrm>
          <a:prstGeom prst="ellipse">
            <a:avLst/>
          </a:prstGeom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06</a:t>
            </a:r>
          </a:p>
        </p:txBody>
      </p:sp>
      <p:sp useBgFill="1">
        <p:nvSpPr>
          <p:cNvPr id="55" name="Oval 54"/>
          <p:cNvSpPr/>
          <p:nvPr/>
        </p:nvSpPr>
        <p:spPr>
          <a:xfrm>
            <a:off x="6532899" y="2443515"/>
            <a:ext cx="549636" cy="549636"/>
          </a:xfrm>
          <a:prstGeom prst="ellipse">
            <a:avLst/>
          </a:prstGeom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05</a:t>
            </a:r>
          </a:p>
        </p:txBody>
      </p:sp>
      <p:sp useBgFill="1">
        <p:nvSpPr>
          <p:cNvPr id="56" name="Oval 55"/>
          <p:cNvSpPr/>
          <p:nvPr/>
        </p:nvSpPr>
        <p:spPr>
          <a:xfrm>
            <a:off x="554417" y="3535546"/>
            <a:ext cx="549636" cy="549636"/>
          </a:xfrm>
          <a:prstGeom prst="ellipse">
            <a:avLst/>
          </a:prstGeom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09</a:t>
            </a:r>
          </a:p>
        </p:txBody>
      </p:sp>
      <p:sp useBgFill="1">
        <p:nvSpPr>
          <p:cNvPr id="57" name="Oval 56"/>
          <p:cNvSpPr/>
          <p:nvPr/>
        </p:nvSpPr>
        <p:spPr>
          <a:xfrm>
            <a:off x="2547245" y="3535546"/>
            <a:ext cx="549636" cy="549636"/>
          </a:xfrm>
          <a:prstGeom prst="ellipse">
            <a:avLst/>
          </a:prstGeom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10</a:t>
            </a:r>
          </a:p>
        </p:txBody>
      </p:sp>
      <p:sp useBgFill="1">
        <p:nvSpPr>
          <p:cNvPr id="58" name="Oval 57"/>
          <p:cNvSpPr/>
          <p:nvPr/>
        </p:nvSpPr>
        <p:spPr>
          <a:xfrm>
            <a:off x="4540072" y="3535546"/>
            <a:ext cx="549636" cy="549636"/>
          </a:xfrm>
          <a:prstGeom prst="ellipse">
            <a:avLst/>
          </a:prstGeom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11</a:t>
            </a:r>
          </a:p>
        </p:txBody>
      </p:sp>
      <p:sp useBgFill="1">
        <p:nvSpPr>
          <p:cNvPr id="59" name="Oval 58"/>
          <p:cNvSpPr/>
          <p:nvPr/>
        </p:nvSpPr>
        <p:spPr>
          <a:xfrm>
            <a:off x="6532899" y="3535546"/>
            <a:ext cx="549636" cy="549636"/>
          </a:xfrm>
          <a:prstGeom prst="ellipse">
            <a:avLst/>
          </a:prstGeom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44" name="Footer Placeholder 99">
            <a:extLst>
              <a:ext uri="{FF2B5EF4-FFF2-40B4-BE49-F238E27FC236}">
                <a16:creationId xmlns:a16="http://schemas.microsoft.com/office/drawing/2014/main" id="{61C08C11-C239-4E01-83AE-DFCA33C0CB6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0" name="Slide Number Placeholder 100">
            <a:extLst>
              <a:ext uri="{FF2B5EF4-FFF2-40B4-BE49-F238E27FC236}">
                <a16:creationId xmlns:a16="http://schemas.microsoft.com/office/drawing/2014/main" id="{2661A89D-1EB7-4F55-A716-A6C891EB5C5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61" name="Text Placeholder 41">
            <a:extLst>
              <a:ext uri="{FF2B5EF4-FFF2-40B4-BE49-F238E27FC236}">
                <a16:creationId xmlns:a16="http://schemas.microsoft.com/office/drawing/2014/main" id="{AE789294-A6F6-42A7-A3B3-55AC516760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107038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onal Segue Page</a:t>
            </a:r>
          </a:p>
        </p:txBody>
      </p:sp>
    </p:spTree>
    <p:extLst>
      <p:ext uri="{BB962C8B-B14F-4D97-AF65-F5344CB8AC3E}">
        <p14:creationId xmlns:p14="http://schemas.microsoft.com/office/powerpoint/2010/main" val="19777675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layou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34918E-7EB0-EB45-92D8-C32124FE5C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EAF9DB-6F40-460F-BF1F-2A84CCEEEA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89329B-CA23-AE4D-AC50-E5E895A9E3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086600" y="4933950"/>
            <a:ext cx="2057400" cy="182563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554072-2822-4C1D-9551-C73A1134819B}"/>
              </a:ext>
            </a:extLst>
          </p:cNvPr>
          <p:cNvSpPr/>
          <p:nvPr/>
        </p:nvSpPr>
        <p:spPr>
          <a:xfrm>
            <a:off x="203661" y="191193"/>
            <a:ext cx="8740833" cy="4671752"/>
          </a:xfrm>
          <a:prstGeom prst="rect">
            <a:avLst/>
          </a:prstGeom>
          <a:solidFill>
            <a:srgbClr val="336FCA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 indent="-631825" algn="ctr"/>
            <a:r>
              <a:rPr lang="en-US" sz="2800" dirty="0">
                <a:solidFill>
                  <a:schemeClr val="bg1"/>
                </a:solidFill>
              </a:rPr>
              <a:t>Plans and timelines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6569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654596" y="2249999"/>
            <a:ext cx="795318" cy="797422"/>
            <a:chOff x="11877675" y="2445544"/>
            <a:chExt cx="600075" cy="601663"/>
          </a:xfrm>
          <a:solidFill>
            <a:schemeClr val="bg1"/>
          </a:solidFill>
        </p:grpSpPr>
        <p:sp>
          <p:nvSpPr>
            <p:cNvPr id="9" name="Oval 8"/>
            <p:cNvSpPr>
              <a:spLocks noChangeArrowheads="1"/>
            </p:cNvSpPr>
            <p:nvPr/>
          </p:nvSpPr>
          <p:spPr bwMode="auto">
            <a:xfrm>
              <a:off x="11877675" y="2445544"/>
              <a:ext cx="600075" cy="60166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12001500" y="2582069"/>
              <a:ext cx="354013" cy="328613"/>
            </a:xfrm>
            <a:custGeom>
              <a:avLst/>
              <a:gdLst>
                <a:gd name="T0" fmla="*/ 104 w 209"/>
                <a:gd name="T1" fmla="*/ 194 h 194"/>
                <a:gd name="T2" fmla="*/ 0 w 209"/>
                <a:gd name="T3" fmla="*/ 64 h 194"/>
                <a:gd name="T4" fmla="*/ 53 w 209"/>
                <a:gd name="T5" fmla="*/ 0 h 194"/>
                <a:gd name="T6" fmla="*/ 104 w 209"/>
                <a:gd name="T7" fmla="*/ 28 h 194"/>
                <a:gd name="T8" fmla="*/ 155 w 209"/>
                <a:gd name="T9" fmla="*/ 0 h 194"/>
                <a:gd name="T10" fmla="*/ 209 w 209"/>
                <a:gd name="T11" fmla="*/ 64 h 194"/>
                <a:gd name="T12" fmla="*/ 104 w 209"/>
                <a:gd name="T13" fmla="*/ 194 h 194"/>
                <a:gd name="T14" fmla="*/ 53 w 209"/>
                <a:gd name="T15" fmla="*/ 5 h 194"/>
                <a:gd name="T16" fmla="*/ 4 w 209"/>
                <a:gd name="T17" fmla="*/ 64 h 194"/>
                <a:gd name="T18" fmla="*/ 46 w 209"/>
                <a:gd name="T19" fmla="*/ 153 h 194"/>
                <a:gd name="T20" fmla="*/ 104 w 209"/>
                <a:gd name="T21" fmla="*/ 189 h 194"/>
                <a:gd name="T22" fmla="*/ 162 w 209"/>
                <a:gd name="T23" fmla="*/ 153 h 194"/>
                <a:gd name="T24" fmla="*/ 204 w 209"/>
                <a:gd name="T25" fmla="*/ 64 h 194"/>
                <a:gd name="T26" fmla="*/ 155 w 209"/>
                <a:gd name="T27" fmla="*/ 5 h 194"/>
                <a:gd name="T28" fmla="*/ 107 w 209"/>
                <a:gd name="T29" fmla="*/ 39 h 194"/>
                <a:gd name="T30" fmla="*/ 104 w 209"/>
                <a:gd name="T31" fmla="*/ 41 h 194"/>
                <a:gd name="T32" fmla="*/ 102 w 209"/>
                <a:gd name="T33" fmla="*/ 39 h 194"/>
                <a:gd name="T34" fmla="*/ 53 w 209"/>
                <a:gd name="T35" fmla="*/ 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9" h="194">
                  <a:moveTo>
                    <a:pt x="104" y="194"/>
                  </a:moveTo>
                  <a:cubicBezTo>
                    <a:pt x="79" y="194"/>
                    <a:pt x="0" y="134"/>
                    <a:pt x="0" y="64"/>
                  </a:cubicBezTo>
                  <a:cubicBezTo>
                    <a:pt x="0" y="34"/>
                    <a:pt x="22" y="0"/>
                    <a:pt x="53" y="0"/>
                  </a:cubicBezTo>
                  <a:cubicBezTo>
                    <a:pt x="76" y="0"/>
                    <a:pt x="97" y="12"/>
                    <a:pt x="104" y="28"/>
                  </a:cubicBezTo>
                  <a:cubicBezTo>
                    <a:pt x="111" y="12"/>
                    <a:pt x="132" y="0"/>
                    <a:pt x="155" y="0"/>
                  </a:cubicBezTo>
                  <a:cubicBezTo>
                    <a:pt x="186" y="0"/>
                    <a:pt x="209" y="34"/>
                    <a:pt x="209" y="64"/>
                  </a:cubicBezTo>
                  <a:cubicBezTo>
                    <a:pt x="209" y="134"/>
                    <a:pt x="129" y="194"/>
                    <a:pt x="104" y="194"/>
                  </a:cubicBezTo>
                  <a:close/>
                  <a:moveTo>
                    <a:pt x="53" y="5"/>
                  </a:moveTo>
                  <a:cubicBezTo>
                    <a:pt x="30" y="5"/>
                    <a:pt x="4" y="30"/>
                    <a:pt x="4" y="64"/>
                  </a:cubicBezTo>
                  <a:cubicBezTo>
                    <a:pt x="4" y="104"/>
                    <a:pt x="31" y="137"/>
                    <a:pt x="46" y="153"/>
                  </a:cubicBezTo>
                  <a:cubicBezTo>
                    <a:pt x="69" y="175"/>
                    <a:pt x="94" y="189"/>
                    <a:pt x="104" y="189"/>
                  </a:cubicBezTo>
                  <a:cubicBezTo>
                    <a:pt x="115" y="189"/>
                    <a:pt x="140" y="175"/>
                    <a:pt x="162" y="153"/>
                  </a:cubicBezTo>
                  <a:cubicBezTo>
                    <a:pt x="178" y="137"/>
                    <a:pt x="204" y="104"/>
                    <a:pt x="204" y="64"/>
                  </a:cubicBezTo>
                  <a:cubicBezTo>
                    <a:pt x="204" y="30"/>
                    <a:pt x="178" y="5"/>
                    <a:pt x="155" y="5"/>
                  </a:cubicBezTo>
                  <a:cubicBezTo>
                    <a:pt x="127" y="5"/>
                    <a:pt x="107" y="23"/>
                    <a:pt x="107" y="39"/>
                  </a:cubicBezTo>
                  <a:cubicBezTo>
                    <a:pt x="107" y="40"/>
                    <a:pt x="106" y="41"/>
                    <a:pt x="104" y="41"/>
                  </a:cubicBezTo>
                  <a:cubicBezTo>
                    <a:pt x="103" y="41"/>
                    <a:pt x="102" y="40"/>
                    <a:pt x="102" y="39"/>
                  </a:cubicBezTo>
                  <a:cubicBezTo>
                    <a:pt x="102" y="19"/>
                    <a:pt x="76" y="5"/>
                    <a:pt x="5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cxnSp>
        <p:nvCxnSpPr>
          <p:cNvPr id="2" name="Straight Connector 1"/>
          <p:cNvCxnSpPr/>
          <p:nvPr/>
        </p:nvCxnSpPr>
        <p:spPr>
          <a:xfrm>
            <a:off x="1488952" y="2648709"/>
            <a:ext cx="596012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/>
        </p:nvCxnSpPr>
        <p:spPr>
          <a:xfrm>
            <a:off x="2880283" y="2648709"/>
            <a:ext cx="596012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4271613" y="2648709"/>
            <a:ext cx="595754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5664789" y="2648709"/>
            <a:ext cx="595754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7055860" y="2648709"/>
            <a:ext cx="595496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V="1">
            <a:off x="1" y="2646456"/>
            <a:ext cx="691531" cy="4506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/>
        </p:nvGrpSpPr>
        <p:grpSpPr>
          <a:xfrm>
            <a:off x="694088" y="2249999"/>
            <a:ext cx="795318" cy="797422"/>
            <a:chOff x="4595813" y="2445544"/>
            <a:chExt cx="600075" cy="601663"/>
          </a:xfrm>
        </p:grpSpPr>
        <p:sp>
          <p:nvSpPr>
            <p:cNvPr id="12" name="Oval 11"/>
            <p:cNvSpPr>
              <a:spLocks noChangeArrowheads="1"/>
            </p:cNvSpPr>
            <p:nvPr/>
          </p:nvSpPr>
          <p:spPr bwMode="auto">
            <a:xfrm>
              <a:off x="4595813" y="2445544"/>
              <a:ext cx="600075" cy="60166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4678363" y="2620169"/>
              <a:ext cx="436563" cy="252413"/>
            </a:xfrm>
            <a:custGeom>
              <a:avLst/>
              <a:gdLst>
                <a:gd name="T0" fmla="*/ 251 w 258"/>
                <a:gd name="T1" fmla="*/ 2 h 148"/>
                <a:gd name="T2" fmla="*/ 250 w 258"/>
                <a:gd name="T3" fmla="*/ 1 h 148"/>
                <a:gd name="T4" fmla="*/ 250 w 258"/>
                <a:gd name="T5" fmla="*/ 1 h 148"/>
                <a:gd name="T6" fmla="*/ 250 w 258"/>
                <a:gd name="T7" fmla="*/ 0 h 148"/>
                <a:gd name="T8" fmla="*/ 249 w 258"/>
                <a:gd name="T9" fmla="*/ 0 h 148"/>
                <a:gd name="T10" fmla="*/ 249 w 258"/>
                <a:gd name="T11" fmla="*/ 0 h 148"/>
                <a:gd name="T12" fmla="*/ 249 w 258"/>
                <a:gd name="T13" fmla="*/ 0 h 148"/>
                <a:gd name="T14" fmla="*/ 248 w 258"/>
                <a:gd name="T15" fmla="*/ 0 h 148"/>
                <a:gd name="T16" fmla="*/ 247 w 258"/>
                <a:gd name="T17" fmla="*/ 0 h 148"/>
                <a:gd name="T18" fmla="*/ 247 w 258"/>
                <a:gd name="T19" fmla="*/ 0 h 148"/>
                <a:gd name="T20" fmla="*/ 209 w 258"/>
                <a:gd name="T21" fmla="*/ 29 h 148"/>
                <a:gd name="T22" fmla="*/ 212 w 258"/>
                <a:gd name="T23" fmla="*/ 32 h 148"/>
                <a:gd name="T24" fmla="*/ 217 w 258"/>
                <a:gd name="T25" fmla="*/ 70 h 148"/>
                <a:gd name="T26" fmla="*/ 194 w 258"/>
                <a:gd name="T27" fmla="*/ 78 h 148"/>
                <a:gd name="T28" fmla="*/ 161 w 258"/>
                <a:gd name="T29" fmla="*/ 55 h 148"/>
                <a:gd name="T30" fmla="*/ 125 w 258"/>
                <a:gd name="T31" fmla="*/ 55 h 148"/>
                <a:gd name="T32" fmla="*/ 111 w 258"/>
                <a:gd name="T33" fmla="*/ 112 h 148"/>
                <a:gd name="T34" fmla="*/ 94 w 258"/>
                <a:gd name="T35" fmla="*/ 114 h 148"/>
                <a:gd name="T36" fmla="*/ 68 w 258"/>
                <a:gd name="T37" fmla="*/ 70 h 148"/>
                <a:gd name="T38" fmla="*/ 32 w 258"/>
                <a:gd name="T39" fmla="*/ 70 h 148"/>
                <a:gd name="T40" fmla="*/ 1 w 258"/>
                <a:gd name="T41" fmla="*/ 128 h 148"/>
                <a:gd name="T42" fmla="*/ 3 w 258"/>
                <a:gd name="T43" fmla="*/ 132 h 148"/>
                <a:gd name="T44" fmla="*/ 40 w 258"/>
                <a:gd name="T45" fmla="*/ 85 h 148"/>
                <a:gd name="T46" fmla="*/ 61 w 258"/>
                <a:gd name="T47" fmla="*/ 85 h 148"/>
                <a:gd name="T48" fmla="*/ 86 w 258"/>
                <a:gd name="T49" fmla="*/ 129 h 148"/>
                <a:gd name="T50" fmla="*/ 123 w 258"/>
                <a:gd name="T51" fmla="*/ 129 h 148"/>
                <a:gd name="T52" fmla="*/ 135 w 258"/>
                <a:gd name="T53" fmla="*/ 71 h 148"/>
                <a:gd name="T54" fmla="*/ 159 w 258"/>
                <a:gd name="T55" fmla="*/ 63 h 148"/>
                <a:gd name="T56" fmla="*/ 191 w 258"/>
                <a:gd name="T57" fmla="*/ 87 h 148"/>
                <a:gd name="T58" fmla="*/ 228 w 258"/>
                <a:gd name="T59" fmla="*/ 87 h 148"/>
                <a:gd name="T60" fmla="*/ 247 w 258"/>
                <a:gd name="T61" fmla="*/ 11 h 148"/>
                <a:gd name="T62" fmla="*/ 255 w 258"/>
                <a:gd name="T63" fmla="*/ 53 h 148"/>
                <a:gd name="T64" fmla="*/ 258 w 258"/>
                <a:gd name="T65" fmla="*/ 50 h 148"/>
                <a:gd name="T66" fmla="*/ 50 w 258"/>
                <a:gd name="T67" fmla="*/ 56 h 148"/>
                <a:gd name="T68" fmla="*/ 59 w 258"/>
                <a:gd name="T69" fmla="*/ 80 h 148"/>
                <a:gd name="T70" fmla="*/ 59 w 258"/>
                <a:gd name="T71" fmla="*/ 80 h 148"/>
                <a:gd name="T72" fmla="*/ 36 w 258"/>
                <a:gd name="T73" fmla="*/ 70 h 148"/>
                <a:gd name="T74" fmla="*/ 105 w 258"/>
                <a:gd name="T75" fmla="*/ 143 h 148"/>
                <a:gd name="T76" fmla="*/ 105 w 258"/>
                <a:gd name="T77" fmla="*/ 116 h 148"/>
                <a:gd name="T78" fmla="*/ 143 w 258"/>
                <a:gd name="T79" fmla="*/ 68 h 148"/>
                <a:gd name="T80" fmla="*/ 143 w 258"/>
                <a:gd name="T81" fmla="*/ 41 h 148"/>
                <a:gd name="T82" fmla="*/ 143 w 258"/>
                <a:gd name="T83" fmla="*/ 68 h 148"/>
                <a:gd name="T84" fmla="*/ 210 w 258"/>
                <a:gd name="T85" fmla="*/ 100 h 148"/>
                <a:gd name="T86" fmla="*/ 210 w 258"/>
                <a:gd name="T87" fmla="*/ 7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8" h="148">
                  <a:moveTo>
                    <a:pt x="258" y="50"/>
                  </a:moveTo>
                  <a:cubicBezTo>
                    <a:pt x="251" y="2"/>
                    <a:pt x="251" y="2"/>
                    <a:pt x="251" y="2"/>
                  </a:cubicBezTo>
                  <a:cubicBezTo>
                    <a:pt x="251" y="2"/>
                    <a:pt x="251" y="2"/>
                    <a:pt x="251" y="2"/>
                  </a:cubicBezTo>
                  <a:cubicBezTo>
                    <a:pt x="251" y="1"/>
                    <a:pt x="251" y="1"/>
                    <a:pt x="250" y="1"/>
                  </a:cubicBezTo>
                  <a:cubicBezTo>
                    <a:pt x="250" y="1"/>
                    <a:pt x="250" y="1"/>
                    <a:pt x="250" y="1"/>
                  </a:cubicBezTo>
                  <a:cubicBezTo>
                    <a:pt x="250" y="1"/>
                    <a:pt x="250" y="1"/>
                    <a:pt x="250" y="1"/>
                  </a:cubicBezTo>
                  <a:cubicBezTo>
                    <a:pt x="250" y="1"/>
                    <a:pt x="250" y="1"/>
                    <a:pt x="250" y="1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250" y="0"/>
                    <a:pt x="249" y="0"/>
                    <a:pt x="249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48" y="0"/>
                    <a:pt x="248" y="0"/>
                    <a:pt x="248" y="0"/>
                  </a:cubicBezTo>
                  <a:cubicBezTo>
                    <a:pt x="248" y="0"/>
                    <a:pt x="248" y="0"/>
                    <a:pt x="248" y="0"/>
                  </a:cubicBezTo>
                  <a:cubicBezTo>
                    <a:pt x="248" y="0"/>
                    <a:pt x="248" y="0"/>
                    <a:pt x="247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09" y="29"/>
                    <a:pt x="209" y="29"/>
                    <a:pt x="209" y="29"/>
                  </a:cubicBezTo>
                  <a:cubicBezTo>
                    <a:pt x="208" y="29"/>
                    <a:pt x="208" y="31"/>
                    <a:pt x="208" y="32"/>
                  </a:cubicBezTo>
                  <a:cubicBezTo>
                    <a:pt x="209" y="33"/>
                    <a:pt x="211" y="33"/>
                    <a:pt x="212" y="32"/>
                  </a:cubicBezTo>
                  <a:cubicBezTo>
                    <a:pt x="243" y="9"/>
                    <a:pt x="243" y="9"/>
                    <a:pt x="243" y="9"/>
                  </a:cubicBezTo>
                  <a:cubicBezTo>
                    <a:pt x="217" y="70"/>
                    <a:pt x="217" y="70"/>
                    <a:pt x="217" y="70"/>
                  </a:cubicBezTo>
                  <a:cubicBezTo>
                    <a:pt x="214" y="69"/>
                    <a:pt x="212" y="68"/>
                    <a:pt x="210" y="68"/>
                  </a:cubicBezTo>
                  <a:cubicBezTo>
                    <a:pt x="203" y="68"/>
                    <a:pt x="197" y="72"/>
                    <a:pt x="194" y="78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1" y="57"/>
                    <a:pt x="161" y="56"/>
                    <a:pt x="161" y="55"/>
                  </a:cubicBezTo>
                  <a:cubicBezTo>
                    <a:pt x="161" y="45"/>
                    <a:pt x="153" y="36"/>
                    <a:pt x="143" y="36"/>
                  </a:cubicBezTo>
                  <a:cubicBezTo>
                    <a:pt x="133" y="36"/>
                    <a:pt x="125" y="45"/>
                    <a:pt x="125" y="55"/>
                  </a:cubicBezTo>
                  <a:cubicBezTo>
                    <a:pt x="125" y="60"/>
                    <a:pt x="127" y="66"/>
                    <a:pt x="131" y="69"/>
                  </a:cubicBezTo>
                  <a:cubicBezTo>
                    <a:pt x="111" y="112"/>
                    <a:pt x="111" y="112"/>
                    <a:pt x="111" y="112"/>
                  </a:cubicBezTo>
                  <a:cubicBezTo>
                    <a:pt x="109" y="111"/>
                    <a:pt x="107" y="111"/>
                    <a:pt x="105" y="111"/>
                  </a:cubicBezTo>
                  <a:cubicBezTo>
                    <a:pt x="101" y="111"/>
                    <a:pt x="97" y="112"/>
                    <a:pt x="94" y="114"/>
                  </a:cubicBezTo>
                  <a:cubicBezTo>
                    <a:pt x="64" y="81"/>
                    <a:pt x="64" y="81"/>
                    <a:pt x="64" y="81"/>
                  </a:cubicBezTo>
                  <a:cubicBezTo>
                    <a:pt x="67" y="78"/>
                    <a:pt x="68" y="74"/>
                    <a:pt x="68" y="70"/>
                  </a:cubicBezTo>
                  <a:cubicBezTo>
                    <a:pt x="68" y="59"/>
                    <a:pt x="60" y="51"/>
                    <a:pt x="50" y="51"/>
                  </a:cubicBezTo>
                  <a:cubicBezTo>
                    <a:pt x="40" y="51"/>
                    <a:pt x="32" y="59"/>
                    <a:pt x="32" y="70"/>
                  </a:cubicBezTo>
                  <a:cubicBezTo>
                    <a:pt x="32" y="74"/>
                    <a:pt x="34" y="79"/>
                    <a:pt x="37" y="82"/>
                  </a:cubicBezTo>
                  <a:cubicBezTo>
                    <a:pt x="1" y="128"/>
                    <a:pt x="1" y="128"/>
                    <a:pt x="1" y="128"/>
                  </a:cubicBezTo>
                  <a:cubicBezTo>
                    <a:pt x="0" y="129"/>
                    <a:pt x="0" y="131"/>
                    <a:pt x="1" y="131"/>
                  </a:cubicBezTo>
                  <a:cubicBezTo>
                    <a:pt x="2" y="132"/>
                    <a:pt x="2" y="132"/>
                    <a:pt x="3" y="132"/>
                  </a:cubicBezTo>
                  <a:cubicBezTo>
                    <a:pt x="4" y="132"/>
                    <a:pt x="4" y="131"/>
                    <a:pt x="5" y="131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3" y="87"/>
                    <a:pt x="46" y="88"/>
                    <a:pt x="50" y="88"/>
                  </a:cubicBezTo>
                  <a:cubicBezTo>
                    <a:pt x="54" y="88"/>
                    <a:pt x="58" y="87"/>
                    <a:pt x="61" y="85"/>
                  </a:cubicBezTo>
                  <a:cubicBezTo>
                    <a:pt x="91" y="118"/>
                    <a:pt x="91" y="118"/>
                    <a:pt x="91" y="118"/>
                  </a:cubicBezTo>
                  <a:cubicBezTo>
                    <a:pt x="88" y="121"/>
                    <a:pt x="86" y="125"/>
                    <a:pt x="86" y="129"/>
                  </a:cubicBezTo>
                  <a:cubicBezTo>
                    <a:pt x="86" y="140"/>
                    <a:pt x="94" y="148"/>
                    <a:pt x="105" y="148"/>
                  </a:cubicBezTo>
                  <a:cubicBezTo>
                    <a:pt x="115" y="148"/>
                    <a:pt x="123" y="140"/>
                    <a:pt x="123" y="129"/>
                  </a:cubicBezTo>
                  <a:cubicBezTo>
                    <a:pt x="123" y="123"/>
                    <a:pt x="120" y="118"/>
                    <a:pt x="115" y="114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8" y="72"/>
                    <a:pt x="140" y="73"/>
                    <a:pt x="143" y="73"/>
                  </a:cubicBezTo>
                  <a:cubicBezTo>
                    <a:pt x="150" y="73"/>
                    <a:pt x="156" y="69"/>
                    <a:pt x="159" y="63"/>
                  </a:cubicBezTo>
                  <a:cubicBezTo>
                    <a:pt x="192" y="82"/>
                    <a:pt x="192" y="82"/>
                    <a:pt x="192" y="82"/>
                  </a:cubicBezTo>
                  <a:cubicBezTo>
                    <a:pt x="192" y="83"/>
                    <a:pt x="191" y="85"/>
                    <a:pt x="191" y="87"/>
                  </a:cubicBezTo>
                  <a:cubicBezTo>
                    <a:pt x="191" y="97"/>
                    <a:pt x="200" y="105"/>
                    <a:pt x="210" y="105"/>
                  </a:cubicBezTo>
                  <a:cubicBezTo>
                    <a:pt x="220" y="105"/>
                    <a:pt x="228" y="97"/>
                    <a:pt x="228" y="87"/>
                  </a:cubicBezTo>
                  <a:cubicBezTo>
                    <a:pt x="228" y="81"/>
                    <a:pt x="225" y="75"/>
                    <a:pt x="221" y="72"/>
                  </a:cubicBezTo>
                  <a:cubicBezTo>
                    <a:pt x="247" y="11"/>
                    <a:pt x="247" y="11"/>
                    <a:pt x="247" y="11"/>
                  </a:cubicBezTo>
                  <a:cubicBezTo>
                    <a:pt x="253" y="51"/>
                    <a:pt x="253" y="51"/>
                    <a:pt x="253" y="51"/>
                  </a:cubicBezTo>
                  <a:cubicBezTo>
                    <a:pt x="253" y="52"/>
                    <a:pt x="254" y="53"/>
                    <a:pt x="255" y="53"/>
                  </a:cubicBezTo>
                  <a:cubicBezTo>
                    <a:pt x="255" y="53"/>
                    <a:pt x="256" y="53"/>
                    <a:pt x="256" y="53"/>
                  </a:cubicBezTo>
                  <a:cubicBezTo>
                    <a:pt x="257" y="53"/>
                    <a:pt x="258" y="52"/>
                    <a:pt x="258" y="50"/>
                  </a:cubicBezTo>
                  <a:close/>
                  <a:moveTo>
                    <a:pt x="36" y="70"/>
                  </a:moveTo>
                  <a:cubicBezTo>
                    <a:pt x="36" y="62"/>
                    <a:pt x="43" y="56"/>
                    <a:pt x="50" y="56"/>
                  </a:cubicBezTo>
                  <a:cubicBezTo>
                    <a:pt x="58" y="56"/>
                    <a:pt x="64" y="62"/>
                    <a:pt x="64" y="70"/>
                  </a:cubicBezTo>
                  <a:cubicBezTo>
                    <a:pt x="64" y="73"/>
                    <a:pt x="62" y="77"/>
                    <a:pt x="59" y="80"/>
                  </a:cubicBezTo>
                  <a:cubicBezTo>
                    <a:pt x="59" y="80"/>
                    <a:pt x="59" y="80"/>
                    <a:pt x="59" y="80"/>
                  </a:cubicBezTo>
                  <a:cubicBezTo>
                    <a:pt x="59" y="80"/>
                    <a:pt x="59" y="80"/>
                    <a:pt x="59" y="80"/>
                  </a:cubicBezTo>
                  <a:cubicBezTo>
                    <a:pt x="57" y="82"/>
                    <a:pt x="54" y="83"/>
                    <a:pt x="50" y="83"/>
                  </a:cubicBezTo>
                  <a:cubicBezTo>
                    <a:pt x="43" y="83"/>
                    <a:pt x="36" y="77"/>
                    <a:pt x="36" y="70"/>
                  </a:cubicBezTo>
                  <a:close/>
                  <a:moveTo>
                    <a:pt x="118" y="129"/>
                  </a:moveTo>
                  <a:cubicBezTo>
                    <a:pt x="118" y="137"/>
                    <a:pt x="112" y="143"/>
                    <a:pt x="105" y="143"/>
                  </a:cubicBezTo>
                  <a:cubicBezTo>
                    <a:pt x="97" y="143"/>
                    <a:pt x="91" y="137"/>
                    <a:pt x="91" y="129"/>
                  </a:cubicBezTo>
                  <a:cubicBezTo>
                    <a:pt x="91" y="122"/>
                    <a:pt x="97" y="116"/>
                    <a:pt x="105" y="116"/>
                  </a:cubicBezTo>
                  <a:cubicBezTo>
                    <a:pt x="112" y="116"/>
                    <a:pt x="118" y="122"/>
                    <a:pt x="118" y="129"/>
                  </a:cubicBezTo>
                  <a:close/>
                  <a:moveTo>
                    <a:pt x="143" y="68"/>
                  </a:moveTo>
                  <a:cubicBezTo>
                    <a:pt x="136" y="68"/>
                    <a:pt x="129" y="62"/>
                    <a:pt x="129" y="55"/>
                  </a:cubicBezTo>
                  <a:cubicBezTo>
                    <a:pt x="129" y="47"/>
                    <a:pt x="136" y="41"/>
                    <a:pt x="143" y="41"/>
                  </a:cubicBezTo>
                  <a:cubicBezTo>
                    <a:pt x="151" y="41"/>
                    <a:pt x="157" y="47"/>
                    <a:pt x="157" y="55"/>
                  </a:cubicBezTo>
                  <a:cubicBezTo>
                    <a:pt x="157" y="62"/>
                    <a:pt x="151" y="68"/>
                    <a:pt x="143" y="68"/>
                  </a:cubicBezTo>
                  <a:close/>
                  <a:moveTo>
                    <a:pt x="223" y="87"/>
                  </a:moveTo>
                  <a:cubicBezTo>
                    <a:pt x="223" y="94"/>
                    <a:pt x="217" y="100"/>
                    <a:pt x="210" y="100"/>
                  </a:cubicBezTo>
                  <a:cubicBezTo>
                    <a:pt x="202" y="100"/>
                    <a:pt x="196" y="94"/>
                    <a:pt x="196" y="87"/>
                  </a:cubicBezTo>
                  <a:cubicBezTo>
                    <a:pt x="196" y="79"/>
                    <a:pt x="202" y="73"/>
                    <a:pt x="210" y="73"/>
                  </a:cubicBezTo>
                  <a:cubicBezTo>
                    <a:pt x="217" y="73"/>
                    <a:pt x="223" y="79"/>
                    <a:pt x="223" y="8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6262812" y="2248947"/>
            <a:ext cx="795318" cy="799524"/>
            <a:chOff x="9788525" y="2444750"/>
            <a:chExt cx="600075" cy="603250"/>
          </a:xfrm>
        </p:grpSpPr>
        <p:sp>
          <p:nvSpPr>
            <p:cNvPr id="15" name="Oval 14"/>
            <p:cNvSpPr>
              <a:spLocks noChangeArrowheads="1"/>
            </p:cNvSpPr>
            <p:nvPr/>
          </p:nvSpPr>
          <p:spPr bwMode="auto">
            <a:xfrm>
              <a:off x="9788525" y="2444750"/>
              <a:ext cx="600075" cy="60325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9928225" y="2586038"/>
              <a:ext cx="328613" cy="320675"/>
              <a:chOff x="9928225" y="2871788"/>
              <a:chExt cx="328613" cy="320675"/>
            </a:xfrm>
          </p:grpSpPr>
          <p:sp>
            <p:nvSpPr>
              <p:cNvPr id="17" name="Freeform 16"/>
              <p:cNvSpPr>
                <a:spLocks noEditPoints="1"/>
              </p:cNvSpPr>
              <p:nvPr/>
            </p:nvSpPr>
            <p:spPr bwMode="auto">
              <a:xfrm>
                <a:off x="9952038" y="2871788"/>
                <a:ext cx="304800" cy="296863"/>
              </a:xfrm>
              <a:custGeom>
                <a:avLst/>
                <a:gdLst>
                  <a:gd name="T0" fmla="*/ 173 w 180"/>
                  <a:gd name="T1" fmla="*/ 2 h 175"/>
                  <a:gd name="T2" fmla="*/ 163 w 180"/>
                  <a:gd name="T3" fmla="*/ 0 h 175"/>
                  <a:gd name="T4" fmla="*/ 98 w 180"/>
                  <a:gd name="T5" fmla="*/ 29 h 175"/>
                  <a:gd name="T6" fmla="*/ 65 w 180"/>
                  <a:gd name="T7" fmla="*/ 65 h 175"/>
                  <a:gd name="T8" fmla="*/ 25 w 180"/>
                  <a:gd name="T9" fmla="*/ 68 h 175"/>
                  <a:gd name="T10" fmla="*/ 0 w 180"/>
                  <a:gd name="T11" fmla="*/ 95 h 175"/>
                  <a:gd name="T12" fmla="*/ 1 w 180"/>
                  <a:gd name="T13" fmla="*/ 97 h 175"/>
                  <a:gd name="T14" fmla="*/ 3 w 180"/>
                  <a:gd name="T15" fmla="*/ 98 h 175"/>
                  <a:gd name="T16" fmla="*/ 34 w 180"/>
                  <a:gd name="T17" fmla="*/ 99 h 175"/>
                  <a:gd name="T18" fmla="*/ 32 w 180"/>
                  <a:gd name="T19" fmla="*/ 101 h 175"/>
                  <a:gd name="T20" fmla="*/ 32 w 180"/>
                  <a:gd name="T21" fmla="*/ 110 h 175"/>
                  <a:gd name="T22" fmla="*/ 22 w 180"/>
                  <a:gd name="T23" fmla="*/ 120 h 175"/>
                  <a:gd name="T24" fmla="*/ 32 w 180"/>
                  <a:gd name="T25" fmla="*/ 143 h 175"/>
                  <a:gd name="T26" fmla="*/ 52 w 180"/>
                  <a:gd name="T27" fmla="*/ 155 h 175"/>
                  <a:gd name="T28" fmla="*/ 55 w 180"/>
                  <a:gd name="T29" fmla="*/ 153 h 175"/>
                  <a:gd name="T30" fmla="*/ 65 w 180"/>
                  <a:gd name="T31" fmla="*/ 143 h 175"/>
                  <a:gd name="T32" fmla="*/ 71 w 180"/>
                  <a:gd name="T33" fmla="*/ 145 h 175"/>
                  <a:gd name="T34" fmla="*/ 74 w 180"/>
                  <a:gd name="T35" fmla="*/ 143 h 175"/>
                  <a:gd name="T36" fmla="*/ 77 w 180"/>
                  <a:gd name="T37" fmla="*/ 141 h 175"/>
                  <a:gd name="T38" fmla="*/ 78 w 180"/>
                  <a:gd name="T39" fmla="*/ 172 h 175"/>
                  <a:gd name="T40" fmla="*/ 78 w 180"/>
                  <a:gd name="T41" fmla="*/ 175 h 175"/>
                  <a:gd name="T42" fmla="*/ 80 w 180"/>
                  <a:gd name="T43" fmla="*/ 175 h 175"/>
                  <a:gd name="T44" fmla="*/ 81 w 180"/>
                  <a:gd name="T45" fmla="*/ 175 h 175"/>
                  <a:gd name="T46" fmla="*/ 108 w 180"/>
                  <a:gd name="T47" fmla="*/ 151 h 175"/>
                  <a:gd name="T48" fmla="*/ 111 w 180"/>
                  <a:gd name="T49" fmla="*/ 110 h 175"/>
                  <a:gd name="T50" fmla="*/ 146 w 180"/>
                  <a:gd name="T51" fmla="*/ 78 h 175"/>
                  <a:gd name="T52" fmla="*/ 173 w 180"/>
                  <a:gd name="T53" fmla="*/ 2 h 175"/>
                  <a:gd name="T54" fmla="*/ 7 w 180"/>
                  <a:gd name="T55" fmla="*/ 92 h 175"/>
                  <a:gd name="T56" fmla="*/ 26 w 180"/>
                  <a:gd name="T57" fmla="*/ 72 h 175"/>
                  <a:gd name="T58" fmla="*/ 61 w 180"/>
                  <a:gd name="T59" fmla="*/ 69 h 175"/>
                  <a:gd name="T60" fmla="*/ 38 w 180"/>
                  <a:gd name="T61" fmla="*/ 95 h 175"/>
                  <a:gd name="T62" fmla="*/ 7 w 180"/>
                  <a:gd name="T63" fmla="*/ 92 h 175"/>
                  <a:gd name="T64" fmla="*/ 52 w 180"/>
                  <a:gd name="T65" fmla="*/ 150 h 175"/>
                  <a:gd name="T66" fmla="*/ 36 w 180"/>
                  <a:gd name="T67" fmla="*/ 140 h 175"/>
                  <a:gd name="T68" fmla="*/ 25 w 180"/>
                  <a:gd name="T69" fmla="*/ 123 h 175"/>
                  <a:gd name="T70" fmla="*/ 34 w 180"/>
                  <a:gd name="T71" fmla="*/ 114 h 175"/>
                  <a:gd name="T72" fmla="*/ 46 w 180"/>
                  <a:gd name="T73" fmla="*/ 129 h 175"/>
                  <a:gd name="T74" fmla="*/ 61 w 180"/>
                  <a:gd name="T75" fmla="*/ 141 h 175"/>
                  <a:gd name="T76" fmla="*/ 52 w 180"/>
                  <a:gd name="T77" fmla="*/ 150 h 175"/>
                  <a:gd name="T78" fmla="*/ 103 w 180"/>
                  <a:gd name="T79" fmla="*/ 149 h 175"/>
                  <a:gd name="T80" fmla="*/ 83 w 180"/>
                  <a:gd name="T81" fmla="*/ 168 h 175"/>
                  <a:gd name="T82" fmla="*/ 81 w 180"/>
                  <a:gd name="T83" fmla="*/ 137 h 175"/>
                  <a:gd name="T84" fmla="*/ 106 w 180"/>
                  <a:gd name="T85" fmla="*/ 115 h 175"/>
                  <a:gd name="T86" fmla="*/ 103 w 180"/>
                  <a:gd name="T87" fmla="*/ 149 h 175"/>
                  <a:gd name="T88" fmla="*/ 77 w 180"/>
                  <a:gd name="T89" fmla="*/ 135 h 175"/>
                  <a:gd name="T90" fmla="*/ 76 w 180"/>
                  <a:gd name="T91" fmla="*/ 135 h 175"/>
                  <a:gd name="T92" fmla="*/ 71 w 180"/>
                  <a:gd name="T93" fmla="*/ 140 h 175"/>
                  <a:gd name="T94" fmla="*/ 71 w 180"/>
                  <a:gd name="T95" fmla="*/ 140 h 175"/>
                  <a:gd name="T96" fmla="*/ 50 w 180"/>
                  <a:gd name="T97" fmla="*/ 126 h 175"/>
                  <a:gd name="T98" fmla="*/ 35 w 180"/>
                  <a:gd name="T99" fmla="*/ 104 h 175"/>
                  <a:gd name="T100" fmla="*/ 40 w 180"/>
                  <a:gd name="T101" fmla="*/ 99 h 175"/>
                  <a:gd name="T102" fmla="*/ 40 w 180"/>
                  <a:gd name="T103" fmla="*/ 99 h 175"/>
                  <a:gd name="T104" fmla="*/ 101 w 180"/>
                  <a:gd name="T105" fmla="*/ 32 h 175"/>
                  <a:gd name="T106" fmla="*/ 163 w 180"/>
                  <a:gd name="T107" fmla="*/ 4 h 175"/>
                  <a:gd name="T108" fmla="*/ 170 w 180"/>
                  <a:gd name="T109" fmla="*/ 6 h 175"/>
                  <a:gd name="T110" fmla="*/ 143 w 180"/>
                  <a:gd name="T111" fmla="*/ 74 h 175"/>
                  <a:gd name="T112" fmla="*/ 77 w 180"/>
                  <a:gd name="T113" fmla="*/ 135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80" h="175">
                    <a:moveTo>
                      <a:pt x="173" y="2"/>
                    </a:moveTo>
                    <a:cubicBezTo>
                      <a:pt x="171" y="0"/>
                      <a:pt x="168" y="0"/>
                      <a:pt x="163" y="0"/>
                    </a:cubicBezTo>
                    <a:cubicBezTo>
                      <a:pt x="150" y="0"/>
                      <a:pt x="121" y="6"/>
                      <a:pt x="98" y="29"/>
                    </a:cubicBezTo>
                    <a:cubicBezTo>
                      <a:pt x="65" y="65"/>
                      <a:pt x="65" y="65"/>
                      <a:pt x="65" y="65"/>
                    </a:cubicBezTo>
                    <a:cubicBezTo>
                      <a:pt x="60" y="65"/>
                      <a:pt x="37" y="63"/>
                      <a:pt x="25" y="68"/>
                    </a:cubicBezTo>
                    <a:cubicBezTo>
                      <a:pt x="11" y="73"/>
                      <a:pt x="1" y="94"/>
                      <a:pt x="0" y="95"/>
                    </a:cubicBezTo>
                    <a:cubicBezTo>
                      <a:pt x="0" y="95"/>
                      <a:pt x="0" y="96"/>
                      <a:pt x="1" y="97"/>
                    </a:cubicBezTo>
                    <a:cubicBezTo>
                      <a:pt x="1" y="98"/>
                      <a:pt x="2" y="98"/>
                      <a:pt x="3" y="98"/>
                    </a:cubicBezTo>
                    <a:cubicBezTo>
                      <a:pt x="16" y="94"/>
                      <a:pt x="29" y="97"/>
                      <a:pt x="34" y="99"/>
                    </a:cubicBezTo>
                    <a:cubicBezTo>
                      <a:pt x="32" y="101"/>
                      <a:pt x="32" y="101"/>
                      <a:pt x="32" y="101"/>
                    </a:cubicBezTo>
                    <a:cubicBezTo>
                      <a:pt x="30" y="103"/>
                      <a:pt x="30" y="106"/>
                      <a:pt x="32" y="110"/>
                    </a:cubicBezTo>
                    <a:cubicBezTo>
                      <a:pt x="22" y="120"/>
                      <a:pt x="22" y="120"/>
                      <a:pt x="22" y="120"/>
                    </a:cubicBezTo>
                    <a:cubicBezTo>
                      <a:pt x="18" y="125"/>
                      <a:pt x="24" y="135"/>
                      <a:pt x="32" y="143"/>
                    </a:cubicBezTo>
                    <a:cubicBezTo>
                      <a:pt x="38" y="149"/>
                      <a:pt x="46" y="155"/>
                      <a:pt x="52" y="155"/>
                    </a:cubicBezTo>
                    <a:cubicBezTo>
                      <a:pt x="53" y="155"/>
                      <a:pt x="54" y="154"/>
                      <a:pt x="55" y="153"/>
                    </a:cubicBezTo>
                    <a:cubicBezTo>
                      <a:pt x="65" y="143"/>
                      <a:pt x="65" y="143"/>
                      <a:pt x="65" y="143"/>
                    </a:cubicBezTo>
                    <a:cubicBezTo>
                      <a:pt x="67" y="144"/>
                      <a:pt x="69" y="145"/>
                      <a:pt x="71" y="145"/>
                    </a:cubicBezTo>
                    <a:cubicBezTo>
                      <a:pt x="73" y="145"/>
                      <a:pt x="74" y="144"/>
                      <a:pt x="74" y="143"/>
                    </a:cubicBezTo>
                    <a:cubicBezTo>
                      <a:pt x="77" y="141"/>
                      <a:pt x="77" y="141"/>
                      <a:pt x="77" y="141"/>
                    </a:cubicBezTo>
                    <a:cubicBezTo>
                      <a:pt x="79" y="147"/>
                      <a:pt x="82" y="160"/>
                      <a:pt x="78" y="172"/>
                    </a:cubicBezTo>
                    <a:cubicBezTo>
                      <a:pt x="77" y="173"/>
                      <a:pt x="78" y="174"/>
                      <a:pt x="78" y="175"/>
                    </a:cubicBezTo>
                    <a:cubicBezTo>
                      <a:pt x="79" y="175"/>
                      <a:pt x="79" y="175"/>
                      <a:pt x="80" y="175"/>
                    </a:cubicBezTo>
                    <a:cubicBezTo>
                      <a:pt x="80" y="175"/>
                      <a:pt x="81" y="175"/>
                      <a:pt x="81" y="175"/>
                    </a:cubicBezTo>
                    <a:cubicBezTo>
                      <a:pt x="82" y="175"/>
                      <a:pt x="103" y="165"/>
                      <a:pt x="108" y="151"/>
                    </a:cubicBezTo>
                    <a:cubicBezTo>
                      <a:pt x="112" y="138"/>
                      <a:pt x="111" y="116"/>
                      <a:pt x="111" y="110"/>
                    </a:cubicBezTo>
                    <a:cubicBezTo>
                      <a:pt x="146" y="78"/>
                      <a:pt x="146" y="78"/>
                      <a:pt x="146" y="78"/>
                    </a:cubicBezTo>
                    <a:cubicBezTo>
                      <a:pt x="174" y="50"/>
                      <a:pt x="180" y="9"/>
                      <a:pt x="173" y="2"/>
                    </a:cubicBezTo>
                    <a:close/>
                    <a:moveTo>
                      <a:pt x="7" y="92"/>
                    </a:moveTo>
                    <a:cubicBezTo>
                      <a:pt x="11" y="86"/>
                      <a:pt x="18" y="75"/>
                      <a:pt x="26" y="72"/>
                    </a:cubicBezTo>
                    <a:cubicBezTo>
                      <a:pt x="36" y="69"/>
                      <a:pt x="53" y="69"/>
                      <a:pt x="61" y="69"/>
                    </a:cubicBezTo>
                    <a:cubicBezTo>
                      <a:pt x="38" y="95"/>
                      <a:pt x="38" y="95"/>
                      <a:pt x="38" y="95"/>
                    </a:cubicBezTo>
                    <a:cubicBezTo>
                      <a:pt x="33" y="93"/>
                      <a:pt x="21" y="89"/>
                      <a:pt x="7" y="92"/>
                    </a:cubicBezTo>
                    <a:close/>
                    <a:moveTo>
                      <a:pt x="52" y="150"/>
                    </a:moveTo>
                    <a:cubicBezTo>
                      <a:pt x="51" y="151"/>
                      <a:pt x="44" y="148"/>
                      <a:pt x="36" y="140"/>
                    </a:cubicBezTo>
                    <a:cubicBezTo>
                      <a:pt x="27" y="131"/>
                      <a:pt x="25" y="124"/>
                      <a:pt x="25" y="123"/>
                    </a:cubicBezTo>
                    <a:cubicBezTo>
                      <a:pt x="34" y="114"/>
                      <a:pt x="34" y="114"/>
                      <a:pt x="34" y="114"/>
                    </a:cubicBezTo>
                    <a:cubicBezTo>
                      <a:pt x="38" y="120"/>
                      <a:pt x="42" y="125"/>
                      <a:pt x="46" y="129"/>
                    </a:cubicBezTo>
                    <a:cubicBezTo>
                      <a:pt x="51" y="134"/>
                      <a:pt x="56" y="138"/>
                      <a:pt x="61" y="141"/>
                    </a:cubicBezTo>
                    <a:lnTo>
                      <a:pt x="52" y="150"/>
                    </a:lnTo>
                    <a:close/>
                    <a:moveTo>
                      <a:pt x="103" y="149"/>
                    </a:moveTo>
                    <a:cubicBezTo>
                      <a:pt x="100" y="158"/>
                      <a:pt x="90" y="165"/>
                      <a:pt x="83" y="168"/>
                    </a:cubicBezTo>
                    <a:cubicBezTo>
                      <a:pt x="86" y="155"/>
                      <a:pt x="82" y="142"/>
                      <a:pt x="81" y="137"/>
                    </a:cubicBezTo>
                    <a:cubicBezTo>
                      <a:pt x="106" y="115"/>
                      <a:pt x="106" y="115"/>
                      <a:pt x="106" y="115"/>
                    </a:cubicBezTo>
                    <a:cubicBezTo>
                      <a:pt x="107" y="123"/>
                      <a:pt x="107" y="140"/>
                      <a:pt x="103" y="149"/>
                    </a:cubicBezTo>
                    <a:close/>
                    <a:moveTo>
                      <a:pt x="77" y="135"/>
                    </a:moveTo>
                    <a:cubicBezTo>
                      <a:pt x="77" y="135"/>
                      <a:pt x="77" y="135"/>
                      <a:pt x="76" y="135"/>
                    </a:cubicBezTo>
                    <a:cubicBezTo>
                      <a:pt x="71" y="140"/>
                      <a:pt x="71" y="140"/>
                      <a:pt x="71" y="140"/>
                    </a:cubicBezTo>
                    <a:cubicBezTo>
                      <a:pt x="71" y="140"/>
                      <a:pt x="71" y="140"/>
                      <a:pt x="71" y="140"/>
                    </a:cubicBezTo>
                    <a:cubicBezTo>
                      <a:pt x="67" y="140"/>
                      <a:pt x="59" y="135"/>
                      <a:pt x="50" y="126"/>
                    </a:cubicBezTo>
                    <a:cubicBezTo>
                      <a:pt x="39" y="115"/>
                      <a:pt x="35" y="106"/>
                      <a:pt x="35" y="104"/>
                    </a:cubicBezTo>
                    <a:cubicBezTo>
                      <a:pt x="40" y="99"/>
                      <a:pt x="40" y="99"/>
                      <a:pt x="40" y="99"/>
                    </a:cubicBezTo>
                    <a:cubicBezTo>
                      <a:pt x="40" y="99"/>
                      <a:pt x="40" y="99"/>
                      <a:pt x="40" y="99"/>
                    </a:cubicBezTo>
                    <a:cubicBezTo>
                      <a:pt x="101" y="32"/>
                      <a:pt x="101" y="32"/>
                      <a:pt x="101" y="32"/>
                    </a:cubicBezTo>
                    <a:cubicBezTo>
                      <a:pt x="122" y="12"/>
                      <a:pt x="149" y="4"/>
                      <a:pt x="163" y="4"/>
                    </a:cubicBezTo>
                    <a:cubicBezTo>
                      <a:pt x="167" y="4"/>
                      <a:pt x="169" y="5"/>
                      <a:pt x="170" y="6"/>
                    </a:cubicBezTo>
                    <a:cubicBezTo>
                      <a:pt x="174" y="10"/>
                      <a:pt x="170" y="48"/>
                      <a:pt x="143" y="74"/>
                    </a:cubicBezTo>
                    <a:lnTo>
                      <a:pt x="77" y="13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8" name="Freeform 17"/>
              <p:cNvSpPr>
                <a:spLocks noEditPoints="1"/>
              </p:cNvSpPr>
              <p:nvPr/>
            </p:nvSpPr>
            <p:spPr bwMode="auto">
              <a:xfrm>
                <a:off x="10123488" y="2941638"/>
                <a:ext cx="58738" cy="53975"/>
              </a:xfrm>
              <a:custGeom>
                <a:avLst/>
                <a:gdLst>
                  <a:gd name="T0" fmla="*/ 17 w 35"/>
                  <a:gd name="T1" fmla="*/ 0 h 32"/>
                  <a:gd name="T2" fmla="*/ 6 w 35"/>
                  <a:gd name="T3" fmla="*/ 5 h 32"/>
                  <a:gd name="T4" fmla="*/ 6 w 35"/>
                  <a:gd name="T5" fmla="*/ 28 h 32"/>
                  <a:gd name="T6" fmla="*/ 17 w 35"/>
                  <a:gd name="T7" fmla="*/ 32 h 32"/>
                  <a:gd name="T8" fmla="*/ 28 w 35"/>
                  <a:gd name="T9" fmla="*/ 28 h 32"/>
                  <a:gd name="T10" fmla="*/ 28 w 35"/>
                  <a:gd name="T11" fmla="*/ 5 h 32"/>
                  <a:gd name="T12" fmla="*/ 17 w 35"/>
                  <a:gd name="T13" fmla="*/ 0 h 32"/>
                  <a:gd name="T14" fmla="*/ 25 w 35"/>
                  <a:gd name="T15" fmla="*/ 24 h 32"/>
                  <a:gd name="T16" fmla="*/ 17 w 35"/>
                  <a:gd name="T17" fmla="*/ 28 h 32"/>
                  <a:gd name="T18" fmla="*/ 9 w 35"/>
                  <a:gd name="T19" fmla="*/ 24 h 32"/>
                  <a:gd name="T20" fmla="*/ 9 w 35"/>
                  <a:gd name="T21" fmla="*/ 8 h 32"/>
                  <a:gd name="T22" fmla="*/ 17 w 35"/>
                  <a:gd name="T23" fmla="*/ 5 h 32"/>
                  <a:gd name="T24" fmla="*/ 25 w 35"/>
                  <a:gd name="T25" fmla="*/ 8 h 32"/>
                  <a:gd name="T26" fmla="*/ 25 w 35"/>
                  <a:gd name="T27" fmla="*/ 2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5" h="32">
                    <a:moveTo>
                      <a:pt x="17" y="0"/>
                    </a:moveTo>
                    <a:cubicBezTo>
                      <a:pt x="13" y="0"/>
                      <a:pt x="9" y="2"/>
                      <a:pt x="6" y="5"/>
                    </a:cubicBezTo>
                    <a:cubicBezTo>
                      <a:pt x="0" y="11"/>
                      <a:pt x="0" y="21"/>
                      <a:pt x="6" y="28"/>
                    </a:cubicBezTo>
                    <a:cubicBezTo>
                      <a:pt x="9" y="31"/>
                      <a:pt x="13" y="32"/>
                      <a:pt x="17" y="32"/>
                    </a:cubicBezTo>
                    <a:cubicBezTo>
                      <a:pt x="21" y="32"/>
                      <a:pt x="25" y="31"/>
                      <a:pt x="28" y="28"/>
                    </a:cubicBezTo>
                    <a:cubicBezTo>
                      <a:pt x="35" y="21"/>
                      <a:pt x="35" y="11"/>
                      <a:pt x="28" y="5"/>
                    </a:cubicBezTo>
                    <a:cubicBezTo>
                      <a:pt x="25" y="2"/>
                      <a:pt x="21" y="0"/>
                      <a:pt x="17" y="0"/>
                    </a:cubicBezTo>
                    <a:close/>
                    <a:moveTo>
                      <a:pt x="25" y="24"/>
                    </a:moveTo>
                    <a:cubicBezTo>
                      <a:pt x="23" y="26"/>
                      <a:pt x="20" y="28"/>
                      <a:pt x="17" y="28"/>
                    </a:cubicBezTo>
                    <a:cubicBezTo>
                      <a:pt x="14" y="28"/>
                      <a:pt x="11" y="26"/>
                      <a:pt x="9" y="24"/>
                    </a:cubicBezTo>
                    <a:cubicBezTo>
                      <a:pt x="5" y="20"/>
                      <a:pt x="5" y="13"/>
                      <a:pt x="9" y="8"/>
                    </a:cubicBezTo>
                    <a:cubicBezTo>
                      <a:pt x="11" y="6"/>
                      <a:pt x="14" y="5"/>
                      <a:pt x="17" y="5"/>
                    </a:cubicBezTo>
                    <a:cubicBezTo>
                      <a:pt x="20" y="5"/>
                      <a:pt x="23" y="6"/>
                      <a:pt x="25" y="8"/>
                    </a:cubicBezTo>
                    <a:cubicBezTo>
                      <a:pt x="29" y="13"/>
                      <a:pt x="29" y="20"/>
                      <a:pt x="25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9928225" y="3106738"/>
                <a:ext cx="85725" cy="85725"/>
              </a:xfrm>
              <a:custGeom>
                <a:avLst/>
                <a:gdLst>
                  <a:gd name="T0" fmla="*/ 47 w 51"/>
                  <a:gd name="T1" fmla="*/ 16 h 51"/>
                  <a:gd name="T2" fmla="*/ 45 w 51"/>
                  <a:gd name="T3" fmla="*/ 19 h 51"/>
                  <a:gd name="T4" fmla="*/ 39 w 51"/>
                  <a:gd name="T5" fmla="*/ 35 h 51"/>
                  <a:gd name="T6" fmla="*/ 17 w 51"/>
                  <a:gd name="T7" fmla="*/ 43 h 51"/>
                  <a:gd name="T8" fmla="*/ 6 w 51"/>
                  <a:gd name="T9" fmla="*/ 45 h 51"/>
                  <a:gd name="T10" fmla="*/ 7 w 51"/>
                  <a:gd name="T11" fmla="*/ 36 h 51"/>
                  <a:gd name="T12" fmla="*/ 16 w 51"/>
                  <a:gd name="T13" fmla="*/ 12 h 51"/>
                  <a:gd name="T14" fmla="*/ 33 w 51"/>
                  <a:gd name="T15" fmla="*/ 7 h 51"/>
                  <a:gd name="T16" fmla="*/ 35 w 51"/>
                  <a:gd name="T17" fmla="*/ 5 h 51"/>
                  <a:gd name="T18" fmla="*/ 34 w 51"/>
                  <a:gd name="T19" fmla="*/ 2 h 51"/>
                  <a:gd name="T20" fmla="*/ 13 w 51"/>
                  <a:gd name="T21" fmla="*/ 9 h 51"/>
                  <a:gd name="T22" fmla="*/ 3 w 51"/>
                  <a:gd name="T23" fmla="*/ 36 h 51"/>
                  <a:gd name="T24" fmla="*/ 0 w 51"/>
                  <a:gd name="T25" fmla="*/ 48 h 51"/>
                  <a:gd name="T26" fmla="*/ 1 w 51"/>
                  <a:gd name="T27" fmla="*/ 51 h 51"/>
                  <a:gd name="T28" fmla="*/ 2 w 51"/>
                  <a:gd name="T29" fmla="*/ 51 h 51"/>
                  <a:gd name="T30" fmla="*/ 3 w 51"/>
                  <a:gd name="T31" fmla="*/ 51 h 51"/>
                  <a:gd name="T32" fmla="*/ 18 w 51"/>
                  <a:gd name="T33" fmla="*/ 48 h 51"/>
                  <a:gd name="T34" fmla="*/ 43 w 51"/>
                  <a:gd name="T35" fmla="*/ 39 h 51"/>
                  <a:gd name="T36" fmla="*/ 49 w 51"/>
                  <a:gd name="T37" fmla="*/ 18 h 51"/>
                  <a:gd name="T38" fmla="*/ 47 w 51"/>
                  <a:gd name="T39" fmla="*/ 16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" h="51">
                    <a:moveTo>
                      <a:pt x="47" y="16"/>
                    </a:moveTo>
                    <a:cubicBezTo>
                      <a:pt x="45" y="16"/>
                      <a:pt x="45" y="18"/>
                      <a:pt x="45" y="19"/>
                    </a:cubicBezTo>
                    <a:cubicBezTo>
                      <a:pt x="46" y="24"/>
                      <a:pt x="44" y="30"/>
                      <a:pt x="39" y="35"/>
                    </a:cubicBezTo>
                    <a:cubicBezTo>
                      <a:pt x="34" y="41"/>
                      <a:pt x="26" y="42"/>
                      <a:pt x="17" y="43"/>
                    </a:cubicBezTo>
                    <a:cubicBezTo>
                      <a:pt x="13" y="44"/>
                      <a:pt x="9" y="45"/>
                      <a:pt x="6" y="45"/>
                    </a:cubicBezTo>
                    <a:cubicBezTo>
                      <a:pt x="6" y="43"/>
                      <a:pt x="7" y="39"/>
                      <a:pt x="7" y="36"/>
                    </a:cubicBezTo>
                    <a:cubicBezTo>
                      <a:pt x="9" y="27"/>
                      <a:pt x="10" y="18"/>
                      <a:pt x="16" y="12"/>
                    </a:cubicBezTo>
                    <a:cubicBezTo>
                      <a:pt x="21" y="7"/>
                      <a:pt x="27" y="5"/>
                      <a:pt x="33" y="7"/>
                    </a:cubicBezTo>
                    <a:cubicBezTo>
                      <a:pt x="34" y="7"/>
                      <a:pt x="35" y="6"/>
                      <a:pt x="35" y="5"/>
                    </a:cubicBezTo>
                    <a:cubicBezTo>
                      <a:pt x="36" y="4"/>
                      <a:pt x="35" y="2"/>
                      <a:pt x="34" y="2"/>
                    </a:cubicBezTo>
                    <a:cubicBezTo>
                      <a:pt x="27" y="0"/>
                      <a:pt x="19" y="3"/>
                      <a:pt x="13" y="9"/>
                    </a:cubicBezTo>
                    <a:cubicBezTo>
                      <a:pt x="6" y="16"/>
                      <a:pt x="4" y="26"/>
                      <a:pt x="3" y="36"/>
                    </a:cubicBezTo>
                    <a:cubicBezTo>
                      <a:pt x="2" y="40"/>
                      <a:pt x="1" y="45"/>
                      <a:pt x="0" y="48"/>
                    </a:cubicBezTo>
                    <a:cubicBezTo>
                      <a:pt x="0" y="49"/>
                      <a:pt x="0" y="50"/>
                      <a:pt x="1" y="51"/>
                    </a:cubicBezTo>
                    <a:cubicBezTo>
                      <a:pt x="1" y="51"/>
                      <a:pt x="2" y="51"/>
                      <a:pt x="2" y="51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8" y="50"/>
                      <a:pt x="13" y="49"/>
                      <a:pt x="18" y="48"/>
                    </a:cubicBezTo>
                    <a:cubicBezTo>
                      <a:pt x="27" y="47"/>
                      <a:pt x="36" y="45"/>
                      <a:pt x="43" y="39"/>
                    </a:cubicBezTo>
                    <a:cubicBezTo>
                      <a:pt x="49" y="32"/>
                      <a:pt x="51" y="25"/>
                      <a:pt x="49" y="18"/>
                    </a:cubicBezTo>
                    <a:cubicBezTo>
                      <a:pt x="49" y="16"/>
                      <a:pt x="48" y="16"/>
                      <a:pt x="47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20" name="Group 19"/>
          <p:cNvGrpSpPr/>
          <p:nvPr/>
        </p:nvGrpSpPr>
        <p:grpSpPr>
          <a:xfrm>
            <a:off x="2085872" y="2251050"/>
            <a:ext cx="795318" cy="795318"/>
            <a:chOff x="7239000" y="2446338"/>
            <a:chExt cx="600075" cy="600075"/>
          </a:xfrm>
        </p:grpSpPr>
        <p:sp>
          <p:nvSpPr>
            <p:cNvPr id="21" name="Oval 20"/>
            <p:cNvSpPr>
              <a:spLocks noChangeArrowheads="1"/>
            </p:cNvSpPr>
            <p:nvPr/>
          </p:nvSpPr>
          <p:spPr bwMode="auto">
            <a:xfrm>
              <a:off x="7239000" y="2446338"/>
              <a:ext cx="600075" cy="6000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7318375" y="2584450"/>
              <a:ext cx="441326" cy="323850"/>
              <a:chOff x="7318375" y="2849563"/>
              <a:chExt cx="441326" cy="323850"/>
            </a:xfrm>
          </p:grpSpPr>
          <p:sp>
            <p:nvSpPr>
              <p:cNvPr id="23" name="Freeform 22"/>
              <p:cNvSpPr>
                <a:spLocks noEditPoints="1"/>
              </p:cNvSpPr>
              <p:nvPr/>
            </p:nvSpPr>
            <p:spPr bwMode="auto">
              <a:xfrm>
                <a:off x="7318375" y="2890838"/>
                <a:ext cx="282575" cy="282575"/>
              </a:xfrm>
              <a:custGeom>
                <a:avLst/>
                <a:gdLst>
                  <a:gd name="T0" fmla="*/ 153 w 166"/>
                  <a:gd name="T1" fmla="*/ 3 h 166"/>
                  <a:gd name="T2" fmla="*/ 150 w 166"/>
                  <a:gd name="T3" fmla="*/ 1 h 166"/>
                  <a:gd name="T4" fmla="*/ 14 w 166"/>
                  <a:gd name="T5" fmla="*/ 35 h 166"/>
                  <a:gd name="T6" fmla="*/ 12 w 166"/>
                  <a:gd name="T7" fmla="*/ 35 h 166"/>
                  <a:gd name="T8" fmla="*/ 12 w 166"/>
                  <a:gd name="T9" fmla="*/ 44 h 166"/>
                  <a:gd name="T10" fmla="*/ 12 w 166"/>
                  <a:gd name="T11" fmla="*/ 90 h 166"/>
                  <a:gd name="T12" fmla="*/ 12 w 166"/>
                  <a:gd name="T13" fmla="*/ 97 h 166"/>
                  <a:gd name="T14" fmla="*/ 14 w 166"/>
                  <a:gd name="T15" fmla="*/ 98 h 166"/>
                  <a:gd name="T16" fmla="*/ 52 w 166"/>
                  <a:gd name="T17" fmla="*/ 164 h 166"/>
                  <a:gd name="T18" fmla="*/ 85 w 166"/>
                  <a:gd name="T19" fmla="*/ 166 h 166"/>
                  <a:gd name="T20" fmla="*/ 90 w 166"/>
                  <a:gd name="T21" fmla="*/ 151 h 166"/>
                  <a:gd name="T22" fmla="*/ 75 w 166"/>
                  <a:gd name="T23" fmla="*/ 134 h 166"/>
                  <a:gd name="T24" fmla="*/ 73 w 166"/>
                  <a:gd name="T25" fmla="*/ 112 h 166"/>
                  <a:gd name="T26" fmla="*/ 62 w 166"/>
                  <a:gd name="T27" fmla="*/ 98 h 166"/>
                  <a:gd name="T28" fmla="*/ 64 w 166"/>
                  <a:gd name="T29" fmla="*/ 98 h 166"/>
                  <a:gd name="T30" fmla="*/ 151 w 166"/>
                  <a:gd name="T31" fmla="*/ 132 h 166"/>
                  <a:gd name="T32" fmla="*/ 153 w 166"/>
                  <a:gd name="T33" fmla="*/ 130 h 166"/>
                  <a:gd name="T34" fmla="*/ 166 w 166"/>
                  <a:gd name="T35" fmla="*/ 67 h 166"/>
                  <a:gd name="T36" fmla="*/ 4 w 166"/>
                  <a:gd name="T37" fmla="*/ 67 h 166"/>
                  <a:gd name="T38" fmla="*/ 12 w 166"/>
                  <a:gd name="T39" fmla="*/ 85 h 166"/>
                  <a:gd name="T40" fmla="*/ 65 w 166"/>
                  <a:gd name="T41" fmla="*/ 109 h 166"/>
                  <a:gd name="T42" fmla="*/ 70 w 166"/>
                  <a:gd name="T43" fmla="*/ 124 h 166"/>
                  <a:gd name="T44" fmla="*/ 79 w 166"/>
                  <a:gd name="T45" fmla="*/ 145 h 166"/>
                  <a:gd name="T46" fmla="*/ 86 w 166"/>
                  <a:gd name="T47" fmla="*/ 159 h 166"/>
                  <a:gd name="T48" fmla="*/ 56 w 166"/>
                  <a:gd name="T49" fmla="*/ 161 h 166"/>
                  <a:gd name="T50" fmla="*/ 57 w 166"/>
                  <a:gd name="T51" fmla="*/ 98 h 166"/>
                  <a:gd name="T52" fmla="*/ 149 w 166"/>
                  <a:gd name="T53" fmla="*/ 125 h 166"/>
                  <a:gd name="T54" fmla="*/ 16 w 166"/>
                  <a:gd name="T55" fmla="*/ 93 h 166"/>
                  <a:gd name="T56" fmla="*/ 64 w 166"/>
                  <a:gd name="T57" fmla="*/ 39 h 166"/>
                  <a:gd name="T58" fmla="*/ 149 w 166"/>
                  <a:gd name="T59" fmla="*/ 8 h 166"/>
                  <a:gd name="T60" fmla="*/ 153 w 166"/>
                  <a:gd name="T61" fmla="*/ 85 h 166"/>
                  <a:gd name="T62" fmla="*/ 161 w 166"/>
                  <a:gd name="T63" fmla="*/ 6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6" h="166">
                    <a:moveTo>
                      <a:pt x="153" y="44"/>
                    </a:moveTo>
                    <a:cubicBezTo>
                      <a:pt x="153" y="3"/>
                      <a:pt x="153" y="3"/>
                      <a:pt x="153" y="3"/>
                    </a:cubicBezTo>
                    <a:cubicBezTo>
                      <a:pt x="153" y="2"/>
                      <a:pt x="153" y="1"/>
                      <a:pt x="152" y="0"/>
                    </a:cubicBezTo>
                    <a:cubicBezTo>
                      <a:pt x="151" y="0"/>
                      <a:pt x="150" y="0"/>
                      <a:pt x="150" y="1"/>
                    </a:cubicBezTo>
                    <a:cubicBezTo>
                      <a:pt x="123" y="26"/>
                      <a:pt x="88" y="35"/>
                      <a:pt x="64" y="35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5"/>
                      <a:pt x="13" y="35"/>
                      <a:pt x="12" y="35"/>
                    </a:cubicBezTo>
                    <a:cubicBezTo>
                      <a:pt x="12" y="36"/>
                      <a:pt x="12" y="36"/>
                      <a:pt x="12" y="37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5" y="46"/>
                      <a:pt x="0" y="55"/>
                      <a:pt x="0" y="67"/>
                    </a:cubicBezTo>
                    <a:cubicBezTo>
                      <a:pt x="0" y="79"/>
                      <a:pt x="5" y="88"/>
                      <a:pt x="12" y="90"/>
                    </a:cubicBezTo>
                    <a:cubicBezTo>
                      <a:pt x="12" y="96"/>
                      <a:pt x="12" y="96"/>
                      <a:pt x="12" y="96"/>
                    </a:cubicBezTo>
                    <a:cubicBezTo>
                      <a:pt x="12" y="96"/>
                      <a:pt x="12" y="97"/>
                      <a:pt x="12" y="97"/>
                    </a:cubicBezTo>
                    <a:cubicBezTo>
                      <a:pt x="13" y="98"/>
                      <a:pt x="13" y="98"/>
                      <a:pt x="14" y="98"/>
                    </a:cubicBezTo>
                    <a:cubicBezTo>
                      <a:pt x="14" y="98"/>
                      <a:pt x="14" y="98"/>
                      <a:pt x="14" y="98"/>
                    </a:cubicBezTo>
                    <a:cubicBezTo>
                      <a:pt x="26" y="98"/>
                      <a:pt x="26" y="98"/>
                      <a:pt x="26" y="98"/>
                    </a:cubicBezTo>
                    <a:cubicBezTo>
                      <a:pt x="52" y="164"/>
                      <a:pt x="52" y="164"/>
                      <a:pt x="52" y="164"/>
                    </a:cubicBezTo>
                    <a:cubicBezTo>
                      <a:pt x="52" y="165"/>
                      <a:pt x="53" y="166"/>
                      <a:pt x="54" y="166"/>
                    </a:cubicBezTo>
                    <a:cubicBezTo>
                      <a:pt x="85" y="166"/>
                      <a:pt x="85" y="166"/>
                      <a:pt x="85" y="166"/>
                    </a:cubicBezTo>
                    <a:cubicBezTo>
                      <a:pt x="87" y="166"/>
                      <a:pt x="89" y="165"/>
                      <a:pt x="90" y="162"/>
                    </a:cubicBezTo>
                    <a:cubicBezTo>
                      <a:pt x="91" y="160"/>
                      <a:pt x="92" y="155"/>
                      <a:pt x="90" y="151"/>
                    </a:cubicBezTo>
                    <a:cubicBezTo>
                      <a:pt x="88" y="146"/>
                      <a:pt x="84" y="143"/>
                      <a:pt x="82" y="141"/>
                    </a:cubicBezTo>
                    <a:cubicBezTo>
                      <a:pt x="79" y="139"/>
                      <a:pt x="77" y="137"/>
                      <a:pt x="75" y="134"/>
                    </a:cubicBezTo>
                    <a:cubicBezTo>
                      <a:pt x="74" y="131"/>
                      <a:pt x="74" y="128"/>
                      <a:pt x="75" y="125"/>
                    </a:cubicBezTo>
                    <a:cubicBezTo>
                      <a:pt x="75" y="121"/>
                      <a:pt x="76" y="117"/>
                      <a:pt x="73" y="112"/>
                    </a:cubicBezTo>
                    <a:cubicBezTo>
                      <a:pt x="72" y="108"/>
                      <a:pt x="70" y="107"/>
                      <a:pt x="68" y="106"/>
                    </a:cubicBezTo>
                    <a:cubicBezTo>
                      <a:pt x="66" y="104"/>
                      <a:pt x="65" y="103"/>
                      <a:pt x="62" y="98"/>
                    </a:cubicBezTo>
                    <a:cubicBezTo>
                      <a:pt x="64" y="98"/>
                      <a:pt x="64" y="98"/>
                      <a:pt x="64" y="98"/>
                    </a:cubicBezTo>
                    <a:cubicBezTo>
                      <a:pt x="64" y="98"/>
                      <a:pt x="64" y="98"/>
                      <a:pt x="64" y="98"/>
                    </a:cubicBezTo>
                    <a:cubicBezTo>
                      <a:pt x="88" y="98"/>
                      <a:pt x="123" y="107"/>
                      <a:pt x="150" y="132"/>
                    </a:cubicBezTo>
                    <a:cubicBezTo>
                      <a:pt x="150" y="132"/>
                      <a:pt x="151" y="132"/>
                      <a:pt x="151" y="132"/>
                    </a:cubicBezTo>
                    <a:cubicBezTo>
                      <a:pt x="151" y="132"/>
                      <a:pt x="152" y="132"/>
                      <a:pt x="152" y="132"/>
                    </a:cubicBezTo>
                    <a:cubicBezTo>
                      <a:pt x="153" y="132"/>
                      <a:pt x="153" y="131"/>
                      <a:pt x="153" y="130"/>
                    </a:cubicBezTo>
                    <a:cubicBezTo>
                      <a:pt x="153" y="90"/>
                      <a:pt x="153" y="90"/>
                      <a:pt x="153" y="90"/>
                    </a:cubicBezTo>
                    <a:cubicBezTo>
                      <a:pt x="160" y="88"/>
                      <a:pt x="166" y="79"/>
                      <a:pt x="166" y="67"/>
                    </a:cubicBezTo>
                    <a:cubicBezTo>
                      <a:pt x="166" y="55"/>
                      <a:pt x="160" y="46"/>
                      <a:pt x="153" y="44"/>
                    </a:cubicBezTo>
                    <a:close/>
                    <a:moveTo>
                      <a:pt x="4" y="67"/>
                    </a:moveTo>
                    <a:cubicBezTo>
                      <a:pt x="4" y="58"/>
                      <a:pt x="8" y="51"/>
                      <a:pt x="12" y="49"/>
                    </a:cubicBezTo>
                    <a:cubicBezTo>
                      <a:pt x="12" y="85"/>
                      <a:pt x="12" y="85"/>
                      <a:pt x="12" y="85"/>
                    </a:cubicBezTo>
                    <a:cubicBezTo>
                      <a:pt x="8" y="83"/>
                      <a:pt x="4" y="76"/>
                      <a:pt x="4" y="67"/>
                    </a:cubicBezTo>
                    <a:close/>
                    <a:moveTo>
                      <a:pt x="65" y="109"/>
                    </a:moveTo>
                    <a:cubicBezTo>
                      <a:pt x="67" y="111"/>
                      <a:pt x="68" y="111"/>
                      <a:pt x="69" y="114"/>
                    </a:cubicBezTo>
                    <a:cubicBezTo>
                      <a:pt x="71" y="117"/>
                      <a:pt x="70" y="121"/>
                      <a:pt x="70" y="124"/>
                    </a:cubicBezTo>
                    <a:cubicBezTo>
                      <a:pt x="69" y="128"/>
                      <a:pt x="69" y="132"/>
                      <a:pt x="71" y="137"/>
                    </a:cubicBezTo>
                    <a:cubicBezTo>
                      <a:pt x="73" y="141"/>
                      <a:pt x="76" y="143"/>
                      <a:pt x="79" y="145"/>
                    </a:cubicBezTo>
                    <a:cubicBezTo>
                      <a:pt x="81" y="147"/>
                      <a:pt x="84" y="149"/>
                      <a:pt x="86" y="153"/>
                    </a:cubicBezTo>
                    <a:cubicBezTo>
                      <a:pt x="87" y="156"/>
                      <a:pt x="87" y="158"/>
                      <a:pt x="86" y="159"/>
                    </a:cubicBezTo>
                    <a:cubicBezTo>
                      <a:pt x="86" y="160"/>
                      <a:pt x="85" y="161"/>
                      <a:pt x="85" y="161"/>
                    </a:cubicBezTo>
                    <a:cubicBezTo>
                      <a:pt x="56" y="161"/>
                      <a:pt x="56" y="161"/>
                      <a:pt x="56" y="161"/>
                    </a:cubicBezTo>
                    <a:cubicBezTo>
                      <a:pt x="31" y="98"/>
                      <a:pt x="31" y="98"/>
                      <a:pt x="31" y="98"/>
                    </a:cubicBezTo>
                    <a:cubicBezTo>
                      <a:pt x="57" y="98"/>
                      <a:pt x="57" y="98"/>
                      <a:pt x="57" y="98"/>
                    </a:cubicBezTo>
                    <a:cubicBezTo>
                      <a:pt x="60" y="106"/>
                      <a:pt x="63" y="108"/>
                      <a:pt x="65" y="109"/>
                    </a:cubicBezTo>
                    <a:close/>
                    <a:moveTo>
                      <a:pt x="149" y="125"/>
                    </a:moveTo>
                    <a:cubicBezTo>
                      <a:pt x="122" y="102"/>
                      <a:pt x="87" y="93"/>
                      <a:pt x="64" y="93"/>
                    </a:cubicBezTo>
                    <a:cubicBezTo>
                      <a:pt x="16" y="93"/>
                      <a:pt x="16" y="93"/>
                      <a:pt x="16" y="93"/>
                    </a:cubicBezTo>
                    <a:cubicBezTo>
                      <a:pt x="16" y="39"/>
                      <a:pt x="16" y="39"/>
                      <a:pt x="16" y="39"/>
                    </a:cubicBezTo>
                    <a:cubicBezTo>
                      <a:pt x="64" y="39"/>
                      <a:pt x="64" y="39"/>
                      <a:pt x="64" y="39"/>
                    </a:cubicBezTo>
                    <a:cubicBezTo>
                      <a:pt x="64" y="39"/>
                      <a:pt x="64" y="39"/>
                      <a:pt x="64" y="39"/>
                    </a:cubicBezTo>
                    <a:cubicBezTo>
                      <a:pt x="87" y="39"/>
                      <a:pt x="122" y="31"/>
                      <a:pt x="149" y="8"/>
                    </a:cubicBezTo>
                    <a:lnTo>
                      <a:pt x="149" y="125"/>
                    </a:lnTo>
                    <a:close/>
                    <a:moveTo>
                      <a:pt x="153" y="85"/>
                    </a:moveTo>
                    <a:cubicBezTo>
                      <a:pt x="153" y="49"/>
                      <a:pt x="153" y="49"/>
                      <a:pt x="153" y="49"/>
                    </a:cubicBezTo>
                    <a:cubicBezTo>
                      <a:pt x="158" y="51"/>
                      <a:pt x="161" y="58"/>
                      <a:pt x="161" y="67"/>
                    </a:cubicBezTo>
                    <a:cubicBezTo>
                      <a:pt x="161" y="76"/>
                      <a:pt x="158" y="83"/>
                      <a:pt x="153" y="8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4" name="Freeform 23"/>
              <p:cNvSpPr>
                <a:spLocks/>
              </p:cNvSpPr>
              <p:nvPr/>
            </p:nvSpPr>
            <p:spPr bwMode="auto">
              <a:xfrm>
                <a:off x="7632700" y="2925763"/>
                <a:ext cx="38100" cy="160338"/>
              </a:xfrm>
              <a:custGeom>
                <a:avLst/>
                <a:gdLst>
                  <a:gd name="T0" fmla="*/ 5 w 23"/>
                  <a:gd name="T1" fmla="*/ 1 h 94"/>
                  <a:gd name="T2" fmla="*/ 1 w 23"/>
                  <a:gd name="T3" fmla="*/ 1 h 94"/>
                  <a:gd name="T4" fmla="*/ 1 w 23"/>
                  <a:gd name="T5" fmla="*/ 4 h 94"/>
                  <a:gd name="T6" fmla="*/ 18 w 23"/>
                  <a:gd name="T7" fmla="*/ 47 h 94"/>
                  <a:gd name="T8" fmla="*/ 1 w 23"/>
                  <a:gd name="T9" fmla="*/ 90 h 94"/>
                  <a:gd name="T10" fmla="*/ 1 w 23"/>
                  <a:gd name="T11" fmla="*/ 93 h 94"/>
                  <a:gd name="T12" fmla="*/ 3 w 23"/>
                  <a:gd name="T13" fmla="*/ 94 h 94"/>
                  <a:gd name="T14" fmla="*/ 4 w 23"/>
                  <a:gd name="T15" fmla="*/ 93 h 94"/>
                  <a:gd name="T16" fmla="*/ 23 w 23"/>
                  <a:gd name="T17" fmla="*/ 47 h 94"/>
                  <a:gd name="T18" fmla="*/ 5 w 23"/>
                  <a:gd name="T19" fmla="*/ 1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94">
                    <a:moveTo>
                      <a:pt x="5" y="1"/>
                    </a:moveTo>
                    <a:cubicBezTo>
                      <a:pt x="4" y="0"/>
                      <a:pt x="2" y="0"/>
                      <a:pt x="1" y="1"/>
                    </a:cubicBezTo>
                    <a:cubicBezTo>
                      <a:pt x="0" y="2"/>
                      <a:pt x="0" y="3"/>
                      <a:pt x="1" y="4"/>
                    </a:cubicBezTo>
                    <a:cubicBezTo>
                      <a:pt x="12" y="15"/>
                      <a:pt x="18" y="31"/>
                      <a:pt x="18" y="47"/>
                    </a:cubicBezTo>
                    <a:cubicBezTo>
                      <a:pt x="18" y="63"/>
                      <a:pt x="12" y="78"/>
                      <a:pt x="1" y="90"/>
                    </a:cubicBezTo>
                    <a:cubicBezTo>
                      <a:pt x="0" y="91"/>
                      <a:pt x="0" y="92"/>
                      <a:pt x="1" y="93"/>
                    </a:cubicBezTo>
                    <a:cubicBezTo>
                      <a:pt x="2" y="93"/>
                      <a:pt x="2" y="94"/>
                      <a:pt x="3" y="94"/>
                    </a:cubicBezTo>
                    <a:cubicBezTo>
                      <a:pt x="3" y="94"/>
                      <a:pt x="4" y="93"/>
                      <a:pt x="4" y="93"/>
                    </a:cubicBezTo>
                    <a:cubicBezTo>
                      <a:pt x="16" y="81"/>
                      <a:pt x="22" y="64"/>
                      <a:pt x="23" y="47"/>
                    </a:cubicBezTo>
                    <a:cubicBezTo>
                      <a:pt x="23" y="29"/>
                      <a:pt x="16" y="13"/>
                      <a:pt x="5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5" name="Freeform 24"/>
              <p:cNvSpPr>
                <a:spLocks/>
              </p:cNvSpPr>
              <p:nvPr/>
            </p:nvSpPr>
            <p:spPr bwMode="auto">
              <a:xfrm>
                <a:off x="7662863" y="2887663"/>
                <a:ext cx="52388" cy="236538"/>
              </a:xfrm>
              <a:custGeom>
                <a:avLst/>
                <a:gdLst>
                  <a:gd name="T0" fmla="*/ 4 w 31"/>
                  <a:gd name="T1" fmla="*/ 1 h 139"/>
                  <a:gd name="T2" fmla="*/ 1 w 31"/>
                  <a:gd name="T3" fmla="*/ 1 h 139"/>
                  <a:gd name="T4" fmla="*/ 1 w 31"/>
                  <a:gd name="T5" fmla="*/ 4 h 139"/>
                  <a:gd name="T6" fmla="*/ 26 w 31"/>
                  <a:gd name="T7" fmla="*/ 70 h 139"/>
                  <a:gd name="T8" fmla="*/ 1 w 31"/>
                  <a:gd name="T9" fmla="*/ 135 h 139"/>
                  <a:gd name="T10" fmla="*/ 1 w 31"/>
                  <a:gd name="T11" fmla="*/ 139 h 139"/>
                  <a:gd name="T12" fmla="*/ 2 w 31"/>
                  <a:gd name="T13" fmla="*/ 139 h 139"/>
                  <a:gd name="T14" fmla="*/ 4 w 31"/>
                  <a:gd name="T15" fmla="*/ 139 h 139"/>
                  <a:gd name="T16" fmla="*/ 31 w 31"/>
                  <a:gd name="T17" fmla="*/ 70 h 139"/>
                  <a:gd name="T18" fmla="*/ 4 w 31"/>
                  <a:gd name="T19" fmla="*/ 1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139">
                    <a:moveTo>
                      <a:pt x="4" y="1"/>
                    </a:moveTo>
                    <a:cubicBezTo>
                      <a:pt x="3" y="0"/>
                      <a:pt x="2" y="0"/>
                      <a:pt x="1" y="1"/>
                    </a:cubicBezTo>
                    <a:cubicBezTo>
                      <a:pt x="0" y="2"/>
                      <a:pt x="0" y="3"/>
                      <a:pt x="1" y="4"/>
                    </a:cubicBezTo>
                    <a:cubicBezTo>
                      <a:pt x="17" y="22"/>
                      <a:pt x="26" y="45"/>
                      <a:pt x="26" y="70"/>
                    </a:cubicBezTo>
                    <a:cubicBezTo>
                      <a:pt x="26" y="95"/>
                      <a:pt x="17" y="118"/>
                      <a:pt x="1" y="135"/>
                    </a:cubicBezTo>
                    <a:cubicBezTo>
                      <a:pt x="0" y="136"/>
                      <a:pt x="0" y="138"/>
                      <a:pt x="1" y="139"/>
                    </a:cubicBezTo>
                    <a:cubicBezTo>
                      <a:pt x="1" y="139"/>
                      <a:pt x="2" y="139"/>
                      <a:pt x="2" y="139"/>
                    </a:cubicBezTo>
                    <a:cubicBezTo>
                      <a:pt x="3" y="139"/>
                      <a:pt x="4" y="139"/>
                      <a:pt x="4" y="139"/>
                    </a:cubicBezTo>
                    <a:cubicBezTo>
                      <a:pt x="21" y="120"/>
                      <a:pt x="31" y="96"/>
                      <a:pt x="31" y="70"/>
                    </a:cubicBezTo>
                    <a:cubicBezTo>
                      <a:pt x="31" y="44"/>
                      <a:pt x="21" y="19"/>
                      <a:pt x="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" name="Freeform 25"/>
              <p:cNvSpPr>
                <a:spLocks/>
              </p:cNvSpPr>
              <p:nvPr/>
            </p:nvSpPr>
            <p:spPr bwMode="auto">
              <a:xfrm>
                <a:off x="7691438" y="2849563"/>
                <a:ext cx="68263" cy="312738"/>
              </a:xfrm>
              <a:custGeom>
                <a:avLst/>
                <a:gdLst>
                  <a:gd name="T0" fmla="*/ 5 w 40"/>
                  <a:gd name="T1" fmla="*/ 1 h 184"/>
                  <a:gd name="T2" fmla="*/ 2 w 40"/>
                  <a:gd name="T3" fmla="*/ 0 h 184"/>
                  <a:gd name="T4" fmla="*/ 1 w 40"/>
                  <a:gd name="T5" fmla="*/ 4 h 184"/>
                  <a:gd name="T6" fmla="*/ 36 w 40"/>
                  <a:gd name="T7" fmla="*/ 92 h 184"/>
                  <a:gd name="T8" fmla="*/ 1 w 40"/>
                  <a:gd name="T9" fmla="*/ 180 h 184"/>
                  <a:gd name="T10" fmla="*/ 1 w 40"/>
                  <a:gd name="T11" fmla="*/ 183 h 184"/>
                  <a:gd name="T12" fmla="*/ 3 w 40"/>
                  <a:gd name="T13" fmla="*/ 184 h 184"/>
                  <a:gd name="T14" fmla="*/ 4 w 40"/>
                  <a:gd name="T15" fmla="*/ 183 h 184"/>
                  <a:gd name="T16" fmla="*/ 40 w 40"/>
                  <a:gd name="T17" fmla="*/ 92 h 184"/>
                  <a:gd name="T18" fmla="*/ 5 w 40"/>
                  <a:gd name="T19" fmla="*/ 1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184">
                    <a:moveTo>
                      <a:pt x="5" y="1"/>
                    </a:moveTo>
                    <a:cubicBezTo>
                      <a:pt x="4" y="0"/>
                      <a:pt x="3" y="0"/>
                      <a:pt x="2" y="0"/>
                    </a:cubicBezTo>
                    <a:cubicBezTo>
                      <a:pt x="1" y="1"/>
                      <a:pt x="1" y="3"/>
                      <a:pt x="1" y="4"/>
                    </a:cubicBezTo>
                    <a:cubicBezTo>
                      <a:pt x="24" y="27"/>
                      <a:pt x="36" y="58"/>
                      <a:pt x="36" y="92"/>
                    </a:cubicBezTo>
                    <a:cubicBezTo>
                      <a:pt x="35" y="126"/>
                      <a:pt x="23" y="157"/>
                      <a:pt x="1" y="180"/>
                    </a:cubicBezTo>
                    <a:cubicBezTo>
                      <a:pt x="0" y="181"/>
                      <a:pt x="0" y="183"/>
                      <a:pt x="1" y="183"/>
                    </a:cubicBezTo>
                    <a:cubicBezTo>
                      <a:pt x="2" y="184"/>
                      <a:pt x="2" y="184"/>
                      <a:pt x="3" y="184"/>
                    </a:cubicBezTo>
                    <a:cubicBezTo>
                      <a:pt x="3" y="184"/>
                      <a:pt x="4" y="184"/>
                      <a:pt x="4" y="183"/>
                    </a:cubicBezTo>
                    <a:cubicBezTo>
                      <a:pt x="27" y="159"/>
                      <a:pt x="40" y="127"/>
                      <a:pt x="40" y="92"/>
                    </a:cubicBezTo>
                    <a:cubicBezTo>
                      <a:pt x="40" y="57"/>
                      <a:pt x="28" y="25"/>
                      <a:pt x="5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27" name="Group 26"/>
          <p:cNvGrpSpPr/>
          <p:nvPr/>
        </p:nvGrpSpPr>
        <p:grpSpPr>
          <a:xfrm>
            <a:off x="4871028" y="2251050"/>
            <a:ext cx="795318" cy="795318"/>
            <a:chOff x="8977313" y="2446338"/>
            <a:chExt cx="600075" cy="600075"/>
          </a:xfrm>
        </p:grpSpPr>
        <p:sp>
          <p:nvSpPr>
            <p:cNvPr id="28" name="Oval 27"/>
            <p:cNvSpPr>
              <a:spLocks noChangeArrowheads="1"/>
            </p:cNvSpPr>
            <p:nvPr/>
          </p:nvSpPr>
          <p:spPr bwMode="auto">
            <a:xfrm>
              <a:off x="8977313" y="2446338"/>
              <a:ext cx="600075" cy="6000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9147175" y="2559050"/>
              <a:ext cx="261938" cy="374650"/>
            </a:xfrm>
            <a:custGeom>
              <a:avLst/>
              <a:gdLst>
                <a:gd name="T0" fmla="*/ 113 w 155"/>
                <a:gd name="T1" fmla="*/ 73 h 220"/>
                <a:gd name="T2" fmla="*/ 113 w 155"/>
                <a:gd name="T3" fmla="*/ 42 h 220"/>
                <a:gd name="T4" fmla="*/ 114 w 155"/>
                <a:gd name="T5" fmla="*/ 42 h 220"/>
                <a:gd name="T6" fmla="*/ 127 w 155"/>
                <a:gd name="T7" fmla="*/ 27 h 220"/>
                <a:gd name="T8" fmla="*/ 127 w 155"/>
                <a:gd name="T9" fmla="*/ 14 h 220"/>
                <a:gd name="T10" fmla="*/ 114 w 155"/>
                <a:gd name="T11" fmla="*/ 0 h 220"/>
                <a:gd name="T12" fmla="*/ 40 w 155"/>
                <a:gd name="T13" fmla="*/ 0 h 220"/>
                <a:gd name="T14" fmla="*/ 40 w 155"/>
                <a:gd name="T15" fmla="*/ 0 h 220"/>
                <a:gd name="T16" fmla="*/ 27 w 155"/>
                <a:gd name="T17" fmla="*/ 14 h 220"/>
                <a:gd name="T18" fmla="*/ 27 w 155"/>
                <a:gd name="T19" fmla="*/ 27 h 220"/>
                <a:gd name="T20" fmla="*/ 41 w 155"/>
                <a:gd name="T21" fmla="*/ 42 h 220"/>
                <a:gd name="T22" fmla="*/ 42 w 155"/>
                <a:gd name="T23" fmla="*/ 42 h 220"/>
                <a:gd name="T24" fmla="*/ 42 w 155"/>
                <a:gd name="T25" fmla="*/ 73 h 220"/>
                <a:gd name="T26" fmla="*/ 0 w 155"/>
                <a:gd name="T27" fmla="*/ 149 h 220"/>
                <a:gd name="T28" fmla="*/ 8 w 155"/>
                <a:gd name="T29" fmla="*/ 159 h 220"/>
                <a:gd name="T30" fmla="*/ 74 w 155"/>
                <a:gd name="T31" fmla="*/ 159 h 220"/>
                <a:gd name="T32" fmla="*/ 74 w 155"/>
                <a:gd name="T33" fmla="*/ 218 h 220"/>
                <a:gd name="T34" fmla="*/ 76 w 155"/>
                <a:gd name="T35" fmla="*/ 220 h 220"/>
                <a:gd name="T36" fmla="*/ 78 w 155"/>
                <a:gd name="T37" fmla="*/ 218 h 220"/>
                <a:gd name="T38" fmla="*/ 78 w 155"/>
                <a:gd name="T39" fmla="*/ 159 h 220"/>
                <a:gd name="T40" fmla="*/ 146 w 155"/>
                <a:gd name="T41" fmla="*/ 159 h 220"/>
                <a:gd name="T42" fmla="*/ 153 w 155"/>
                <a:gd name="T43" fmla="*/ 156 h 220"/>
                <a:gd name="T44" fmla="*/ 155 w 155"/>
                <a:gd name="T45" fmla="*/ 150 h 220"/>
                <a:gd name="T46" fmla="*/ 113 w 155"/>
                <a:gd name="T47" fmla="*/ 73 h 220"/>
                <a:gd name="T48" fmla="*/ 150 w 155"/>
                <a:gd name="T49" fmla="*/ 152 h 220"/>
                <a:gd name="T50" fmla="*/ 149 w 155"/>
                <a:gd name="T51" fmla="*/ 153 h 220"/>
                <a:gd name="T52" fmla="*/ 146 w 155"/>
                <a:gd name="T53" fmla="*/ 154 h 220"/>
                <a:gd name="T54" fmla="*/ 8 w 155"/>
                <a:gd name="T55" fmla="*/ 154 h 220"/>
                <a:gd name="T56" fmla="*/ 4 w 155"/>
                <a:gd name="T57" fmla="*/ 149 h 220"/>
                <a:gd name="T58" fmla="*/ 45 w 155"/>
                <a:gd name="T59" fmla="*/ 77 h 220"/>
                <a:gd name="T60" fmla="*/ 46 w 155"/>
                <a:gd name="T61" fmla="*/ 75 h 220"/>
                <a:gd name="T62" fmla="*/ 46 w 155"/>
                <a:gd name="T63" fmla="*/ 40 h 220"/>
                <a:gd name="T64" fmla="*/ 44 w 155"/>
                <a:gd name="T65" fmla="*/ 38 h 220"/>
                <a:gd name="T66" fmla="*/ 41 w 155"/>
                <a:gd name="T67" fmla="*/ 38 h 220"/>
                <a:gd name="T68" fmla="*/ 32 w 155"/>
                <a:gd name="T69" fmla="*/ 27 h 220"/>
                <a:gd name="T70" fmla="*/ 32 w 155"/>
                <a:gd name="T71" fmla="*/ 14 h 220"/>
                <a:gd name="T72" fmla="*/ 40 w 155"/>
                <a:gd name="T73" fmla="*/ 4 h 220"/>
                <a:gd name="T74" fmla="*/ 114 w 155"/>
                <a:gd name="T75" fmla="*/ 4 h 220"/>
                <a:gd name="T76" fmla="*/ 123 w 155"/>
                <a:gd name="T77" fmla="*/ 14 h 220"/>
                <a:gd name="T78" fmla="*/ 123 w 155"/>
                <a:gd name="T79" fmla="*/ 27 h 220"/>
                <a:gd name="T80" fmla="*/ 114 w 155"/>
                <a:gd name="T81" fmla="*/ 38 h 220"/>
                <a:gd name="T82" fmla="*/ 110 w 155"/>
                <a:gd name="T83" fmla="*/ 38 h 220"/>
                <a:gd name="T84" fmla="*/ 108 w 155"/>
                <a:gd name="T85" fmla="*/ 40 h 220"/>
                <a:gd name="T86" fmla="*/ 108 w 155"/>
                <a:gd name="T87" fmla="*/ 75 h 220"/>
                <a:gd name="T88" fmla="*/ 109 w 155"/>
                <a:gd name="T89" fmla="*/ 77 h 220"/>
                <a:gd name="T90" fmla="*/ 150 w 155"/>
                <a:gd name="T91" fmla="*/ 150 h 220"/>
                <a:gd name="T92" fmla="*/ 150 w 155"/>
                <a:gd name="T93" fmla="*/ 15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5" h="220">
                  <a:moveTo>
                    <a:pt x="113" y="73"/>
                  </a:moveTo>
                  <a:cubicBezTo>
                    <a:pt x="113" y="42"/>
                    <a:pt x="113" y="42"/>
                    <a:pt x="113" y="42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21" y="42"/>
                    <a:pt x="127" y="35"/>
                    <a:pt x="127" y="27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6"/>
                    <a:pt x="121" y="0"/>
                    <a:pt x="114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3" y="0"/>
                    <a:pt x="27" y="6"/>
                    <a:pt x="27" y="14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35"/>
                    <a:pt x="34" y="42"/>
                    <a:pt x="41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14" y="87"/>
                    <a:pt x="0" y="113"/>
                    <a:pt x="0" y="149"/>
                  </a:cubicBezTo>
                  <a:cubicBezTo>
                    <a:pt x="0" y="155"/>
                    <a:pt x="3" y="159"/>
                    <a:pt x="8" y="159"/>
                  </a:cubicBezTo>
                  <a:cubicBezTo>
                    <a:pt x="74" y="159"/>
                    <a:pt x="74" y="159"/>
                    <a:pt x="74" y="159"/>
                  </a:cubicBezTo>
                  <a:cubicBezTo>
                    <a:pt x="74" y="218"/>
                    <a:pt x="74" y="218"/>
                    <a:pt x="74" y="218"/>
                  </a:cubicBezTo>
                  <a:cubicBezTo>
                    <a:pt x="74" y="219"/>
                    <a:pt x="75" y="220"/>
                    <a:pt x="76" y="220"/>
                  </a:cubicBezTo>
                  <a:cubicBezTo>
                    <a:pt x="77" y="220"/>
                    <a:pt x="78" y="219"/>
                    <a:pt x="78" y="218"/>
                  </a:cubicBezTo>
                  <a:cubicBezTo>
                    <a:pt x="78" y="159"/>
                    <a:pt x="78" y="159"/>
                    <a:pt x="78" y="159"/>
                  </a:cubicBezTo>
                  <a:cubicBezTo>
                    <a:pt x="146" y="159"/>
                    <a:pt x="146" y="159"/>
                    <a:pt x="146" y="159"/>
                  </a:cubicBezTo>
                  <a:cubicBezTo>
                    <a:pt x="148" y="159"/>
                    <a:pt x="151" y="158"/>
                    <a:pt x="153" y="156"/>
                  </a:cubicBezTo>
                  <a:cubicBezTo>
                    <a:pt x="155" y="154"/>
                    <a:pt x="155" y="152"/>
                    <a:pt x="155" y="150"/>
                  </a:cubicBezTo>
                  <a:cubicBezTo>
                    <a:pt x="155" y="113"/>
                    <a:pt x="140" y="87"/>
                    <a:pt x="113" y="73"/>
                  </a:cubicBezTo>
                  <a:close/>
                  <a:moveTo>
                    <a:pt x="150" y="152"/>
                  </a:moveTo>
                  <a:cubicBezTo>
                    <a:pt x="149" y="152"/>
                    <a:pt x="149" y="153"/>
                    <a:pt x="149" y="153"/>
                  </a:cubicBezTo>
                  <a:cubicBezTo>
                    <a:pt x="149" y="154"/>
                    <a:pt x="147" y="154"/>
                    <a:pt x="146" y="154"/>
                  </a:cubicBezTo>
                  <a:cubicBezTo>
                    <a:pt x="8" y="154"/>
                    <a:pt x="8" y="154"/>
                    <a:pt x="8" y="154"/>
                  </a:cubicBezTo>
                  <a:cubicBezTo>
                    <a:pt x="4" y="154"/>
                    <a:pt x="4" y="150"/>
                    <a:pt x="4" y="149"/>
                  </a:cubicBezTo>
                  <a:cubicBezTo>
                    <a:pt x="4" y="114"/>
                    <a:pt x="18" y="89"/>
                    <a:pt x="45" y="77"/>
                  </a:cubicBezTo>
                  <a:cubicBezTo>
                    <a:pt x="46" y="77"/>
                    <a:pt x="46" y="76"/>
                    <a:pt x="46" y="75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39"/>
                    <a:pt x="45" y="38"/>
                    <a:pt x="44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37" y="38"/>
                    <a:pt x="32" y="32"/>
                    <a:pt x="32" y="27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9"/>
                    <a:pt x="36" y="4"/>
                    <a:pt x="40" y="4"/>
                  </a:cubicBezTo>
                  <a:cubicBezTo>
                    <a:pt x="114" y="4"/>
                    <a:pt x="114" y="4"/>
                    <a:pt x="114" y="4"/>
                  </a:cubicBezTo>
                  <a:cubicBezTo>
                    <a:pt x="119" y="4"/>
                    <a:pt x="123" y="9"/>
                    <a:pt x="123" y="14"/>
                  </a:cubicBezTo>
                  <a:cubicBezTo>
                    <a:pt x="123" y="27"/>
                    <a:pt x="123" y="27"/>
                    <a:pt x="123" y="27"/>
                  </a:cubicBezTo>
                  <a:cubicBezTo>
                    <a:pt x="123" y="32"/>
                    <a:pt x="119" y="38"/>
                    <a:pt x="114" y="38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09" y="38"/>
                    <a:pt x="108" y="39"/>
                    <a:pt x="108" y="40"/>
                  </a:cubicBezTo>
                  <a:cubicBezTo>
                    <a:pt x="108" y="75"/>
                    <a:pt x="108" y="75"/>
                    <a:pt x="108" y="75"/>
                  </a:cubicBezTo>
                  <a:cubicBezTo>
                    <a:pt x="108" y="76"/>
                    <a:pt x="109" y="77"/>
                    <a:pt x="109" y="77"/>
                  </a:cubicBezTo>
                  <a:cubicBezTo>
                    <a:pt x="143" y="93"/>
                    <a:pt x="150" y="125"/>
                    <a:pt x="150" y="150"/>
                  </a:cubicBezTo>
                  <a:cubicBezTo>
                    <a:pt x="150" y="152"/>
                    <a:pt x="150" y="152"/>
                    <a:pt x="150" y="1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477399" y="2249999"/>
            <a:ext cx="797422" cy="797422"/>
            <a:chOff x="8116888" y="2445544"/>
            <a:chExt cx="601663" cy="601663"/>
          </a:xfrm>
        </p:grpSpPr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8116888" y="2445544"/>
              <a:ext cx="601663" cy="60166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8193088" y="2521744"/>
              <a:ext cx="449263" cy="449263"/>
              <a:chOff x="8193088" y="2874963"/>
              <a:chExt cx="449263" cy="449263"/>
            </a:xfrm>
          </p:grpSpPr>
          <p:sp>
            <p:nvSpPr>
              <p:cNvPr id="33" name="Freeform 32"/>
              <p:cNvSpPr>
                <a:spLocks noEditPoints="1"/>
              </p:cNvSpPr>
              <p:nvPr/>
            </p:nvSpPr>
            <p:spPr bwMode="auto">
              <a:xfrm>
                <a:off x="8429625" y="2925763"/>
                <a:ext cx="30163" cy="20638"/>
              </a:xfrm>
              <a:custGeom>
                <a:avLst/>
                <a:gdLst>
                  <a:gd name="T0" fmla="*/ 0 w 18"/>
                  <a:gd name="T1" fmla="*/ 8 h 12"/>
                  <a:gd name="T2" fmla="*/ 11 w 18"/>
                  <a:gd name="T3" fmla="*/ 12 h 12"/>
                  <a:gd name="T4" fmla="*/ 11 w 18"/>
                  <a:gd name="T5" fmla="*/ 12 h 12"/>
                  <a:gd name="T6" fmla="*/ 17 w 18"/>
                  <a:gd name="T7" fmla="*/ 10 h 12"/>
                  <a:gd name="T8" fmla="*/ 18 w 18"/>
                  <a:gd name="T9" fmla="*/ 6 h 12"/>
                  <a:gd name="T10" fmla="*/ 10 w 18"/>
                  <a:gd name="T11" fmla="*/ 0 h 12"/>
                  <a:gd name="T12" fmla="*/ 1 w 18"/>
                  <a:gd name="T13" fmla="*/ 4 h 12"/>
                  <a:gd name="T14" fmla="*/ 0 w 18"/>
                  <a:gd name="T15" fmla="*/ 8 h 12"/>
                  <a:gd name="T16" fmla="*/ 10 w 18"/>
                  <a:gd name="T17" fmla="*/ 5 h 12"/>
                  <a:gd name="T18" fmla="*/ 13 w 18"/>
                  <a:gd name="T19" fmla="*/ 7 h 12"/>
                  <a:gd name="T20" fmla="*/ 11 w 18"/>
                  <a:gd name="T21" fmla="*/ 7 h 12"/>
                  <a:gd name="T22" fmla="*/ 11 w 18"/>
                  <a:gd name="T23" fmla="*/ 7 h 12"/>
                  <a:gd name="T24" fmla="*/ 5 w 18"/>
                  <a:gd name="T25" fmla="*/ 6 h 12"/>
                  <a:gd name="T26" fmla="*/ 10 w 18"/>
                  <a:gd name="T27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" h="12">
                    <a:moveTo>
                      <a:pt x="0" y="8"/>
                    </a:moveTo>
                    <a:cubicBezTo>
                      <a:pt x="2" y="11"/>
                      <a:pt x="8" y="12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4" y="12"/>
                      <a:pt x="16" y="11"/>
                      <a:pt x="17" y="10"/>
                    </a:cubicBezTo>
                    <a:cubicBezTo>
                      <a:pt x="18" y="9"/>
                      <a:pt x="18" y="7"/>
                      <a:pt x="18" y="6"/>
                    </a:cubicBezTo>
                    <a:cubicBezTo>
                      <a:pt x="17" y="2"/>
                      <a:pt x="14" y="0"/>
                      <a:pt x="10" y="0"/>
                    </a:cubicBezTo>
                    <a:cubicBezTo>
                      <a:pt x="7" y="0"/>
                      <a:pt x="3" y="2"/>
                      <a:pt x="1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  <a:moveTo>
                      <a:pt x="10" y="5"/>
                    </a:moveTo>
                    <a:cubicBezTo>
                      <a:pt x="12" y="5"/>
                      <a:pt x="13" y="6"/>
                      <a:pt x="13" y="7"/>
                    </a:cubicBezTo>
                    <a:cubicBezTo>
                      <a:pt x="13" y="7"/>
                      <a:pt x="12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9" y="7"/>
                      <a:pt x="7" y="7"/>
                      <a:pt x="5" y="6"/>
                    </a:cubicBezTo>
                    <a:cubicBezTo>
                      <a:pt x="7" y="6"/>
                      <a:pt x="8" y="5"/>
                      <a:pt x="10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4" name="Freeform 33"/>
              <p:cNvSpPr>
                <a:spLocks noEditPoints="1"/>
              </p:cNvSpPr>
              <p:nvPr/>
            </p:nvSpPr>
            <p:spPr bwMode="auto">
              <a:xfrm>
                <a:off x="8193088" y="2874963"/>
                <a:ext cx="449263" cy="449263"/>
              </a:xfrm>
              <a:custGeom>
                <a:avLst/>
                <a:gdLst>
                  <a:gd name="T0" fmla="*/ 260 w 265"/>
                  <a:gd name="T1" fmla="*/ 96 h 264"/>
                  <a:gd name="T2" fmla="*/ 151 w 265"/>
                  <a:gd name="T3" fmla="*/ 1 h 264"/>
                  <a:gd name="T4" fmla="*/ 127 w 265"/>
                  <a:gd name="T5" fmla="*/ 0 h 264"/>
                  <a:gd name="T6" fmla="*/ 59 w 265"/>
                  <a:gd name="T7" fmla="*/ 23 h 264"/>
                  <a:gd name="T8" fmla="*/ 5 w 265"/>
                  <a:gd name="T9" fmla="*/ 99 h 264"/>
                  <a:gd name="T10" fmla="*/ 33 w 265"/>
                  <a:gd name="T11" fmla="*/ 218 h 264"/>
                  <a:gd name="T12" fmla="*/ 187 w 265"/>
                  <a:gd name="T13" fmla="*/ 211 h 264"/>
                  <a:gd name="T14" fmla="*/ 230 w 265"/>
                  <a:gd name="T15" fmla="*/ 199 h 264"/>
                  <a:gd name="T16" fmla="*/ 83 w 265"/>
                  <a:gd name="T17" fmla="*/ 240 h 264"/>
                  <a:gd name="T18" fmla="*/ 62 w 265"/>
                  <a:gd name="T19" fmla="*/ 186 h 264"/>
                  <a:gd name="T20" fmla="*/ 25 w 265"/>
                  <a:gd name="T21" fmla="*/ 130 h 264"/>
                  <a:gd name="T22" fmla="*/ 50 w 265"/>
                  <a:gd name="T23" fmla="*/ 173 h 264"/>
                  <a:gd name="T24" fmla="*/ 54 w 265"/>
                  <a:gd name="T25" fmla="*/ 145 h 264"/>
                  <a:gd name="T26" fmla="*/ 10 w 265"/>
                  <a:gd name="T27" fmla="*/ 98 h 264"/>
                  <a:gd name="T28" fmla="*/ 83 w 265"/>
                  <a:gd name="T29" fmla="*/ 48 h 264"/>
                  <a:gd name="T30" fmla="*/ 24 w 265"/>
                  <a:gd name="T31" fmla="*/ 112 h 264"/>
                  <a:gd name="T32" fmla="*/ 117 w 265"/>
                  <a:gd name="T33" fmla="*/ 180 h 264"/>
                  <a:gd name="T34" fmla="*/ 83 w 265"/>
                  <a:gd name="T35" fmla="*/ 42 h 264"/>
                  <a:gd name="T36" fmla="*/ 144 w 265"/>
                  <a:gd name="T37" fmla="*/ 5 h 264"/>
                  <a:gd name="T38" fmla="*/ 126 w 265"/>
                  <a:gd name="T39" fmla="*/ 30 h 264"/>
                  <a:gd name="T40" fmla="*/ 133 w 265"/>
                  <a:gd name="T41" fmla="*/ 5 h 264"/>
                  <a:gd name="T42" fmla="*/ 227 w 265"/>
                  <a:gd name="T43" fmla="*/ 166 h 264"/>
                  <a:gd name="T44" fmla="*/ 190 w 265"/>
                  <a:gd name="T45" fmla="*/ 190 h 264"/>
                  <a:gd name="T46" fmla="*/ 158 w 265"/>
                  <a:gd name="T47" fmla="*/ 93 h 264"/>
                  <a:gd name="T48" fmla="*/ 185 w 265"/>
                  <a:gd name="T49" fmla="*/ 86 h 264"/>
                  <a:gd name="T50" fmla="*/ 212 w 265"/>
                  <a:gd name="T51" fmla="*/ 99 h 264"/>
                  <a:gd name="T52" fmla="*/ 203 w 265"/>
                  <a:gd name="T53" fmla="*/ 82 h 264"/>
                  <a:gd name="T54" fmla="*/ 171 w 265"/>
                  <a:gd name="T55" fmla="*/ 73 h 264"/>
                  <a:gd name="T56" fmla="*/ 167 w 265"/>
                  <a:gd name="T57" fmla="*/ 72 h 264"/>
                  <a:gd name="T58" fmla="*/ 254 w 265"/>
                  <a:gd name="T59" fmla="*/ 94 h 264"/>
                  <a:gd name="T60" fmla="*/ 130 w 265"/>
                  <a:gd name="T61" fmla="*/ 216 h 264"/>
                  <a:gd name="T62" fmla="*/ 130 w 265"/>
                  <a:gd name="T63" fmla="*/ 173 h 264"/>
                  <a:gd name="T64" fmla="*/ 98 w 265"/>
                  <a:gd name="T65" fmla="*/ 65 h 264"/>
                  <a:gd name="T66" fmla="*/ 173 w 265"/>
                  <a:gd name="T67" fmla="*/ 35 h 264"/>
                  <a:gd name="T68" fmla="*/ 135 w 265"/>
                  <a:gd name="T69" fmla="*/ 43 h 264"/>
                  <a:gd name="T70" fmla="*/ 153 w 265"/>
                  <a:gd name="T71" fmla="*/ 78 h 264"/>
                  <a:gd name="T72" fmla="*/ 154 w 265"/>
                  <a:gd name="T73" fmla="*/ 59 h 264"/>
                  <a:gd name="T74" fmla="*/ 159 w 265"/>
                  <a:gd name="T75" fmla="*/ 70 h 264"/>
                  <a:gd name="T76" fmla="*/ 70 w 265"/>
                  <a:gd name="T77" fmla="*/ 130 h 264"/>
                  <a:gd name="T78" fmla="*/ 165 w 265"/>
                  <a:gd name="T79" fmla="*/ 48 h 264"/>
                  <a:gd name="T80" fmla="*/ 154 w 265"/>
                  <a:gd name="T81" fmla="*/ 54 h 264"/>
                  <a:gd name="T82" fmla="*/ 176 w 265"/>
                  <a:gd name="T83" fmla="*/ 48 h 264"/>
                  <a:gd name="T84" fmla="*/ 127 w 265"/>
                  <a:gd name="T85" fmla="*/ 35 h 264"/>
                  <a:gd name="T86" fmla="*/ 56 w 265"/>
                  <a:gd name="T87" fmla="*/ 102 h 264"/>
                  <a:gd name="T88" fmla="*/ 39 w 265"/>
                  <a:gd name="T89" fmla="*/ 99 h 264"/>
                  <a:gd name="T90" fmla="*/ 62 w 265"/>
                  <a:gd name="T91" fmla="*/ 134 h 264"/>
                  <a:gd name="T92" fmla="*/ 185 w 265"/>
                  <a:gd name="T93" fmla="*/ 173 h 264"/>
                  <a:gd name="T94" fmla="*/ 187 w 265"/>
                  <a:gd name="T95" fmla="*/ 81 h 264"/>
                  <a:gd name="T96" fmla="*/ 172 w 265"/>
                  <a:gd name="T97" fmla="*/ 77 h 264"/>
                  <a:gd name="T98" fmla="*/ 193 w 265"/>
                  <a:gd name="T99" fmla="*/ 76 h 264"/>
                  <a:gd name="T100" fmla="*/ 216 w 265"/>
                  <a:gd name="T101" fmla="*/ 90 h 264"/>
                  <a:gd name="T102" fmla="*/ 198 w 265"/>
                  <a:gd name="T103" fmla="*/ 95 h 264"/>
                  <a:gd name="T104" fmla="*/ 88 w 265"/>
                  <a:gd name="T105" fmla="*/ 221 h 264"/>
                  <a:gd name="T106" fmla="*/ 185 w 265"/>
                  <a:gd name="T107" fmla="*/ 178 h 264"/>
                  <a:gd name="T108" fmla="*/ 232 w 265"/>
                  <a:gd name="T109" fmla="*/ 195 h 264"/>
                  <a:gd name="T110" fmla="*/ 231 w 265"/>
                  <a:gd name="T111" fmla="*/ 173 h 264"/>
                  <a:gd name="T112" fmla="*/ 42 w 265"/>
                  <a:gd name="T113" fmla="*/ 221 h 264"/>
                  <a:gd name="T114" fmla="*/ 42 w 265"/>
                  <a:gd name="T115" fmla="*/ 221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65" h="264">
                    <a:moveTo>
                      <a:pt x="257" y="176"/>
                    </a:moveTo>
                    <a:cubicBezTo>
                      <a:pt x="262" y="162"/>
                      <a:pt x="265" y="147"/>
                      <a:pt x="265" y="132"/>
                    </a:cubicBezTo>
                    <a:cubicBezTo>
                      <a:pt x="265" y="124"/>
                      <a:pt x="264" y="115"/>
                      <a:pt x="262" y="107"/>
                    </a:cubicBezTo>
                    <a:cubicBezTo>
                      <a:pt x="262" y="107"/>
                      <a:pt x="262" y="107"/>
                      <a:pt x="262" y="107"/>
                    </a:cubicBezTo>
                    <a:cubicBezTo>
                      <a:pt x="262" y="107"/>
                      <a:pt x="262" y="107"/>
                      <a:pt x="262" y="107"/>
                    </a:cubicBezTo>
                    <a:cubicBezTo>
                      <a:pt x="262" y="105"/>
                      <a:pt x="261" y="103"/>
                      <a:pt x="261" y="102"/>
                    </a:cubicBezTo>
                    <a:cubicBezTo>
                      <a:pt x="261" y="101"/>
                      <a:pt x="261" y="101"/>
                      <a:pt x="261" y="100"/>
                    </a:cubicBezTo>
                    <a:cubicBezTo>
                      <a:pt x="260" y="99"/>
                      <a:pt x="260" y="97"/>
                      <a:pt x="260" y="96"/>
                    </a:cubicBezTo>
                    <a:cubicBezTo>
                      <a:pt x="259" y="95"/>
                      <a:pt x="259" y="94"/>
                      <a:pt x="259" y="94"/>
                    </a:cubicBezTo>
                    <a:cubicBezTo>
                      <a:pt x="259" y="93"/>
                      <a:pt x="258" y="92"/>
                      <a:pt x="258" y="91"/>
                    </a:cubicBezTo>
                    <a:cubicBezTo>
                      <a:pt x="258" y="90"/>
                      <a:pt x="257" y="88"/>
                      <a:pt x="257" y="87"/>
                    </a:cubicBezTo>
                    <a:cubicBezTo>
                      <a:pt x="257" y="87"/>
                      <a:pt x="257" y="86"/>
                      <a:pt x="256" y="86"/>
                    </a:cubicBezTo>
                    <a:cubicBezTo>
                      <a:pt x="248" y="62"/>
                      <a:pt x="232" y="41"/>
                      <a:pt x="211" y="26"/>
                    </a:cubicBezTo>
                    <a:cubicBezTo>
                      <a:pt x="211" y="26"/>
                      <a:pt x="210" y="25"/>
                      <a:pt x="210" y="25"/>
                    </a:cubicBezTo>
                    <a:cubicBezTo>
                      <a:pt x="193" y="13"/>
                      <a:pt x="173" y="4"/>
                      <a:pt x="151" y="1"/>
                    </a:cubicBezTo>
                    <a:cubicBezTo>
                      <a:pt x="151" y="1"/>
                      <a:pt x="151" y="1"/>
                      <a:pt x="151" y="1"/>
                    </a:cubicBezTo>
                    <a:cubicBezTo>
                      <a:pt x="150" y="1"/>
                      <a:pt x="150" y="1"/>
                      <a:pt x="150" y="1"/>
                    </a:cubicBezTo>
                    <a:cubicBezTo>
                      <a:pt x="148" y="1"/>
                      <a:pt x="145" y="1"/>
                      <a:pt x="142" y="0"/>
                    </a:cubicBezTo>
                    <a:cubicBezTo>
                      <a:pt x="142" y="0"/>
                      <a:pt x="141" y="0"/>
                      <a:pt x="141" y="0"/>
                    </a:cubicBezTo>
                    <a:cubicBezTo>
                      <a:pt x="140" y="0"/>
                      <a:pt x="139" y="0"/>
                      <a:pt x="138" y="0"/>
                    </a:cubicBezTo>
                    <a:cubicBezTo>
                      <a:pt x="137" y="0"/>
                      <a:pt x="137" y="0"/>
                      <a:pt x="137" y="0"/>
                    </a:cubicBezTo>
                    <a:cubicBezTo>
                      <a:pt x="135" y="0"/>
                      <a:pt x="134" y="0"/>
                      <a:pt x="133" y="0"/>
                    </a:cubicBezTo>
                    <a:cubicBezTo>
                      <a:pt x="132" y="0"/>
                      <a:pt x="130" y="0"/>
                      <a:pt x="129" y="0"/>
                    </a:cubicBezTo>
                    <a:cubicBezTo>
                      <a:pt x="129" y="0"/>
                      <a:pt x="128" y="0"/>
                      <a:pt x="127" y="0"/>
                    </a:cubicBezTo>
                    <a:cubicBezTo>
                      <a:pt x="127" y="0"/>
                      <a:pt x="126" y="0"/>
                      <a:pt x="126" y="0"/>
                    </a:cubicBezTo>
                    <a:cubicBezTo>
                      <a:pt x="125" y="0"/>
                      <a:pt x="124" y="0"/>
                      <a:pt x="123" y="0"/>
                    </a:cubicBezTo>
                    <a:cubicBezTo>
                      <a:pt x="123" y="0"/>
                      <a:pt x="123" y="0"/>
                      <a:pt x="122" y="1"/>
                    </a:cubicBezTo>
                    <a:cubicBezTo>
                      <a:pt x="121" y="1"/>
                      <a:pt x="120" y="1"/>
                      <a:pt x="119" y="1"/>
                    </a:cubicBezTo>
                    <a:cubicBezTo>
                      <a:pt x="119" y="1"/>
                      <a:pt x="119" y="1"/>
                      <a:pt x="119" y="1"/>
                    </a:cubicBezTo>
                    <a:cubicBezTo>
                      <a:pt x="104" y="2"/>
                      <a:pt x="89" y="7"/>
                      <a:pt x="75" y="14"/>
                    </a:cubicBezTo>
                    <a:cubicBezTo>
                      <a:pt x="75" y="14"/>
                      <a:pt x="74" y="14"/>
                      <a:pt x="74" y="14"/>
                    </a:cubicBezTo>
                    <a:cubicBezTo>
                      <a:pt x="69" y="16"/>
                      <a:pt x="64" y="19"/>
                      <a:pt x="59" y="23"/>
                    </a:cubicBezTo>
                    <a:cubicBezTo>
                      <a:pt x="59" y="23"/>
                      <a:pt x="59" y="23"/>
                      <a:pt x="58" y="23"/>
                    </a:cubicBezTo>
                    <a:cubicBezTo>
                      <a:pt x="37" y="38"/>
                      <a:pt x="20" y="59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9" y="86"/>
                      <a:pt x="9" y="87"/>
                      <a:pt x="8" y="89"/>
                    </a:cubicBezTo>
                    <a:cubicBezTo>
                      <a:pt x="8" y="90"/>
                      <a:pt x="8" y="90"/>
                      <a:pt x="7" y="91"/>
                    </a:cubicBezTo>
                    <a:cubicBezTo>
                      <a:pt x="7" y="92"/>
                      <a:pt x="7" y="93"/>
                      <a:pt x="6" y="94"/>
                    </a:cubicBezTo>
                    <a:cubicBezTo>
                      <a:pt x="6" y="95"/>
                      <a:pt x="6" y="96"/>
                      <a:pt x="5" y="97"/>
                    </a:cubicBezTo>
                    <a:cubicBezTo>
                      <a:pt x="5" y="98"/>
                      <a:pt x="5" y="98"/>
                      <a:pt x="5" y="99"/>
                    </a:cubicBezTo>
                    <a:cubicBezTo>
                      <a:pt x="5" y="99"/>
                      <a:pt x="5" y="99"/>
                      <a:pt x="5" y="99"/>
                    </a:cubicBezTo>
                    <a:cubicBezTo>
                      <a:pt x="2" y="109"/>
                      <a:pt x="1" y="120"/>
                      <a:pt x="1" y="131"/>
                    </a:cubicBezTo>
                    <a:cubicBezTo>
                      <a:pt x="1" y="131"/>
                      <a:pt x="0" y="131"/>
                      <a:pt x="0" y="132"/>
                    </a:cubicBezTo>
                    <a:cubicBezTo>
                      <a:pt x="0" y="132"/>
                      <a:pt x="1" y="133"/>
                      <a:pt x="1" y="133"/>
                    </a:cubicBezTo>
                    <a:cubicBezTo>
                      <a:pt x="1" y="148"/>
                      <a:pt x="4" y="162"/>
                      <a:pt x="8" y="175"/>
                    </a:cubicBezTo>
                    <a:cubicBezTo>
                      <a:pt x="8" y="175"/>
                      <a:pt x="8" y="175"/>
                      <a:pt x="8" y="175"/>
                    </a:cubicBezTo>
                    <a:cubicBezTo>
                      <a:pt x="8" y="176"/>
                      <a:pt x="8" y="176"/>
                      <a:pt x="9" y="177"/>
                    </a:cubicBezTo>
                    <a:cubicBezTo>
                      <a:pt x="14" y="192"/>
                      <a:pt x="23" y="206"/>
                      <a:pt x="33" y="218"/>
                    </a:cubicBezTo>
                    <a:cubicBezTo>
                      <a:pt x="33" y="218"/>
                      <a:pt x="33" y="218"/>
                      <a:pt x="33" y="218"/>
                    </a:cubicBezTo>
                    <a:cubicBezTo>
                      <a:pt x="33" y="220"/>
                      <a:pt x="34" y="221"/>
                      <a:pt x="35" y="221"/>
                    </a:cubicBezTo>
                    <a:cubicBezTo>
                      <a:pt x="59" y="247"/>
                      <a:pt x="94" y="264"/>
                      <a:pt x="133" y="264"/>
                    </a:cubicBezTo>
                    <a:cubicBezTo>
                      <a:pt x="190" y="264"/>
                      <a:pt x="239" y="227"/>
                      <a:pt x="257" y="176"/>
                    </a:cubicBezTo>
                    <a:cubicBezTo>
                      <a:pt x="257" y="176"/>
                      <a:pt x="257" y="176"/>
                      <a:pt x="257" y="176"/>
                    </a:cubicBezTo>
                    <a:close/>
                    <a:moveTo>
                      <a:pt x="228" y="216"/>
                    </a:moveTo>
                    <a:cubicBezTo>
                      <a:pt x="185" y="216"/>
                      <a:pt x="185" y="216"/>
                      <a:pt x="185" y="216"/>
                    </a:cubicBezTo>
                    <a:cubicBezTo>
                      <a:pt x="185" y="214"/>
                      <a:pt x="186" y="212"/>
                      <a:pt x="187" y="211"/>
                    </a:cubicBezTo>
                    <a:cubicBezTo>
                      <a:pt x="187" y="211"/>
                      <a:pt x="188" y="212"/>
                      <a:pt x="188" y="213"/>
                    </a:cubicBezTo>
                    <a:cubicBezTo>
                      <a:pt x="190" y="215"/>
                      <a:pt x="193" y="216"/>
                      <a:pt x="196" y="216"/>
                    </a:cubicBezTo>
                    <a:cubicBezTo>
                      <a:pt x="196" y="216"/>
                      <a:pt x="196" y="216"/>
                      <a:pt x="196" y="216"/>
                    </a:cubicBezTo>
                    <a:cubicBezTo>
                      <a:pt x="198" y="216"/>
                      <a:pt x="200" y="215"/>
                      <a:pt x="203" y="215"/>
                    </a:cubicBezTo>
                    <a:cubicBezTo>
                      <a:pt x="221" y="210"/>
                      <a:pt x="227" y="193"/>
                      <a:pt x="230" y="178"/>
                    </a:cubicBezTo>
                    <a:cubicBezTo>
                      <a:pt x="232" y="178"/>
                      <a:pt x="232" y="178"/>
                      <a:pt x="232" y="178"/>
                    </a:cubicBezTo>
                    <a:cubicBezTo>
                      <a:pt x="230" y="182"/>
                      <a:pt x="228" y="188"/>
                      <a:pt x="228" y="188"/>
                    </a:cubicBezTo>
                    <a:cubicBezTo>
                      <a:pt x="227" y="194"/>
                      <a:pt x="227" y="198"/>
                      <a:pt x="230" y="199"/>
                    </a:cubicBezTo>
                    <a:cubicBezTo>
                      <a:pt x="231" y="200"/>
                      <a:pt x="231" y="200"/>
                      <a:pt x="232" y="200"/>
                    </a:cubicBezTo>
                    <a:cubicBezTo>
                      <a:pt x="232" y="200"/>
                      <a:pt x="232" y="200"/>
                      <a:pt x="232" y="200"/>
                    </a:cubicBezTo>
                    <a:cubicBezTo>
                      <a:pt x="238" y="200"/>
                      <a:pt x="241" y="187"/>
                      <a:pt x="242" y="181"/>
                    </a:cubicBezTo>
                    <a:cubicBezTo>
                      <a:pt x="242" y="180"/>
                      <a:pt x="242" y="179"/>
                      <a:pt x="242" y="178"/>
                    </a:cubicBezTo>
                    <a:cubicBezTo>
                      <a:pt x="252" y="178"/>
                      <a:pt x="252" y="178"/>
                      <a:pt x="252" y="178"/>
                    </a:cubicBezTo>
                    <a:cubicBezTo>
                      <a:pt x="246" y="192"/>
                      <a:pt x="238" y="205"/>
                      <a:pt x="228" y="216"/>
                    </a:cubicBezTo>
                    <a:close/>
                    <a:moveTo>
                      <a:pt x="82" y="237"/>
                    </a:moveTo>
                    <a:cubicBezTo>
                      <a:pt x="83" y="239"/>
                      <a:pt x="83" y="240"/>
                      <a:pt x="83" y="240"/>
                    </a:cubicBezTo>
                    <a:cubicBezTo>
                      <a:pt x="83" y="240"/>
                      <a:pt x="83" y="240"/>
                      <a:pt x="82" y="240"/>
                    </a:cubicBezTo>
                    <a:cubicBezTo>
                      <a:pt x="81" y="240"/>
                      <a:pt x="79" y="240"/>
                      <a:pt x="78" y="238"/>
                    </a:cubicBezTo>
                    <a:cubicBezTo>
                      <a:pt x="75" y="235"/>
                      <a:pt x="74" y="228"/>
                      <a:pt x="74" y="221"/>
                    </a:cubicBezTo>
                    <a:cubicBezTo>
                      <a:pt x="82" y="221"/>
                      <a:pt x="82" y="221"/>
                      <a:pt x="82" y="221"/>
                    </a:cubicBezTo>
                    <a:cubicBezTo>
                      <a:pt x="79" y="226"/>
                      <a:pt x="78" y="231"/>
                      <a:pt x="82" y="237"/>
                    </a:cubicBezTo>
                    <a:close/>
                    <a:moveTo>
                      <a:pt x="14" y="178"/>
                    </a:moveTo>
                    <a:cubicBezTo>
                      <a:pt x="53" y="178"/>
                      <a:pt x="53" y="178"/>
                      <a:pt x="53" y="178"/>
                    </a:cubicBezTo>
                    <a:cubicBezTo>
                      <a:pt x="56" y="181"/>
                      <a:pt x="59" y="184"/>
                      <a:pt x="62" y="186"/>
                    </a:cubicBezTo>
                    <a:cubicBezTo>
                      <a:pt x="64" y="188"/>
                      <a:pt x="66" y="190"/>
                      <a:pt x="67" y="191"/>
                    </a:cubicBezTo>
                    <a:cubicBezTo>
                      <a:pt x="69" y="194"/>
                      <a:pt x="69" y="203"/>
                      <a:pt x="69" y="211"/>
                    </a:cubicBezTo>
                    <a:cubicBezTo>
                      <a:pt x="69" y="213"/>
                      <a:pt x="69" y="214"/>
                      <a:pt x="69" y="216"/>
                    </a:cubicBezTo>
                    <a:cubicBezTo>
                      <a:pt x="37" y="216"/>
                      <a:pt x="37" y="216"/>
                      <a:pt x="37" y="216"/>
                    </a:cubicBezTo>
                    <a:cubicBezTo>
                      <a:pt x="27" y="205"/>
                      <a:pt x="19" y="192"/>
                      <a:pt x="14" y="178"/>
                    </a:cubicBezTo>
                    <a:close/>
                    <a:moveTo>
                      <a:pt x="8" y="106"/>
                    </a:moveTo>
                    <a:cubicBezTo>
                      <a:pt x="10" y="111"/>
                      <a:pt x="11" y="114"/>
                      <a:pt x="12" y="117"/>
                    </a:cubicBezTo>
                    <a:cubicBezTo>
                      <a:pt x="13" y="122"/>
                      <a:pt x="19" y="126"/>
                      <a:pt x="25" y="130"/>
                    </a:cubicBezTo>
                    <a:cubicBezTo>
                      <a:pt x="6" y="130"/>
                      <a:pt x="6" y="130"/>
                      <a:pt x="6" y="130"/>
                    </a:cubicBezTo>
                    <a:cubicBezTo>
                      <a:pt x="6" y="122"/>
                      <a:pt x="7" y="114"/>
                      <a:pt x="8" y="106"/>
                    </a:cubicBezTo>
                    <a:close/>
                    <a:moveTo>
                      <a:pt x="33" y="134"/>
                    </a:moveTo>
                    <a:cubicBezTo>
                      <a:pt x="37" y="137"/>
                      <a:pt x="40" y="140"/>
                      <a:pt x="40" y="142"/>
                    </a:cubicBezTo>
                    <a:cubicBezTo>
                      <a:pt x="40" y="148"/>
                      <a:pt x="46" y="148"/>
                      <a:pt x="48" y="148"/>
                    </a:cubicBezTo>
                    <a:cubicBezTo>
                      <a:pt x="49" y="148"/>
                      <a:pt x="50" y="148"/>
                      <a:pt x="51" y="148"/>
                    </a:cubicBezTo>
                    <a:cubicBezTo>
                      <a:pt x="51" y="148"/>
                      <a:pt x="51" y="149"/>
                      <a:pt x="50" y="150"/>
                    </a:cubicBezTo>
                    <a:cubicBezTo>
                      <a:pt x="47" y="160"/>
                      <a:pt x="48" y="167"/>
                      <a:pt x="50" y="173"/>
                    </a:cubicBezTo>
                    <a:cubicBezTo>
                      <a:pt x="12" y="173"/>
                      <a:pt x="12" y="173"/>
                      <a:pt x="12" y="173"/>
                    </a:cubicBezTo>
                    <a:cubicBezTo>
                      <a:pt x="8" y="161"/>
                      <a:pt x="6" y="148"/>
                      <a:pt x="6" y="134"/>
                    </a:cubicBezTo>
                    <a:lnTo>
                      <a:pt x="33" y="134"/>
                    </a:lnTo>
                    <a:close/>
                    <a:moveTo>
                      <a:pt x="74" y="211"/>
                    </a:moveTo>
                    <a:cubicBezTo>
                      <a:pt x="74" y="201"/>
                      <a:pt x="74" y="192"/>
                      <a:pt x="70" y="188"/>
                    </a:cubicBezTo>
                    <a:cubicBezTo>
                      <a:pt x="69" y="186"/>
                      <a:pt x="67" y="185"/>
                      <a:pt x="65" y="183"/>
                    </a:cubicBezTo>
                    <a:cubicBezTo>
                      <a:pt x="57" y="176"/>
                      <a:pt x="49" y="169"/>
                      <a:pt x="55" y="151"/>
                    </a:cubicBezTo>
                    <a:cubicBezTo>
                      <a:pt x="55" y="150"/>
                      <a:pt x="56" y="147"/>
                      <a:pt x="54" y="145"/>
                    </a:cubicBezTo>
                    <a:cubicBezTo>
                      <a:pt x="53" y="143"/>
                      <a:pt x="50" y="143"/>
                      <a:pt x="48" y="143"/>
                    </a:cubicBezTo>
                    <a:cubicBezTo>
                      <a:pt x="45" y="143"/>
                      <a:pt x="45" y="143"/>
                      <a:pt x="45" y="142"/>
                    </a:cubicBezTo>
                    <a:cubicBezTo>
                      <a:pt x="45" y="137"/>
                      <a:pt x="40" y="134"/>
                      <a:pt x="35" y="130"/>
                    </a:cubicBezTo>
                    <a:cubicBezTo>
                      <a:pt x="35" y="130"/>
                      <a:pt x="35" y="130"/>
                      <a:pt x="35" y="130"/>
                    </a:cubicBezTo>
                    <a:cubicBezTo>
                      <a:pt x="33" y="129"/>
                      <a:pt x="32" y="128"/>
                      <a:pt x="30" y="127"/>
                    </a:cubicBezTo>
                    <a:cubicBezTo>
                      <a:pt x="24" y="124"/>
                      <a:pt x="17" y="119"/>
                      <a:pt x="17" y="116"/>
                    </a:cubicBezTo>
                    <a:cubicBezTo>
                      <a:pt x="16" y="112"/>
                      <a:pt x="14" y="106"/>
                      <a:pt x="10" y="99"/>
                    </a:cubicBezTo>
                    <a:cubicBezTo>
                      <a:pt x="10" y="99"/>
                      <a:pt x="10" y="98"/>
                      <a:pt x="10" y="98"/>
                    </a:cubicBezTo>
                    <a:cubicBezTo>
                      <a:pt x="10" y="97"/>
                      <a:pt x="11" y="96"/>
                      <a:pt x="11" y="95"/>
                    </a:cubicBezTo>
                    <a:cubicBezTo>
                      <a:pt x="11" y="94"/>
                      <a:pt x="12" y="93"/>
                      <a:pt x="12" y="92"/>
                    </a:cubicBezTo>
                    <a:cubicBezTo>
                      <a:pt x="12" y="91"/>
                      <a:pt x="12" y="91"/>
                      <a:pt x="13" y="90"/>
                    </a:cubicBezTo>
                    <a:cubicBezTo>
                      <a:pt x="13" y="89"/>
                      <a:pt x="14" y="87"/>
                      <a:pt x="14" y="86"/>
                    </a:cubicBezTo>
                    <a:cubicBezTo>
                      <a:pt x="14" y="86"/>
                      <a:pt x="14" y="85"/>
                      <a:pt x="14" y="85"/>
                    </a:cubicBezTo>
                    <a:cubicBezTo>
                      <a:pt x="24" y="62"/>
                      <a:pt x="40" y="42"/>
                      <a:pt x="60" y="28"/>
                    </a:cubicBezTo>
                    <a:cubicBezTo>
                      <a:pt x="70" y="36"/>
                      <a:pt x="77" y="42"/>
                      <a:pt x="82" y="48"/>
                    </a:cubicBezTo>
                    <a:cubicBezTo>
                      <a:pt x="82" y="48"/>
                      <a:pt x="82" y="48"/>
                      <a:pt x="83" y="48"/>
                    </a:cubicBezTo>
                    <a:cubicBezTo>
                      <a:pt x="91" y="56"/>
                      <a:pt x="94" y="61"/>
                      <a:pt x="93" y="64"/>
                    </a:cubicBezTo>
                    <a:cubicBezTo>
                      <a:pt x="93" y="64"/>
                      <a:pt x="92" y="65"/>
                      <a:pt x="91" y="65"/>
                    </a:cubicBezTo>
                    <a:cubicBezTo>
                      <a:pt x="71" y="69"/>
                      <a:pt x="58" y="77"/>
                      <a:pt x="53" y="88"/>
                    </a:cubicBezTo>
                    <a:cubicBezTo>
                      <a:pt x="50" y="93"/>
                      <a:pt x="51" y="99"/>
                      <a:pt x="52" y="103"/>
                    </a:cubicBezTo>
                    <a:cubicBezTo>
                      <a:pt x="52" y="104"/>
                      <a:pt x="52" y="106"/>
                      <a:pt x="52" y="106"/>
                    </a:cubicBezTo>
                    <a:cubicBezTo>
                      <a:pt x="51" y="106"/>
                      <a:pt x="51" y="106"/>
                      <a:pt x="50" y="104"/>
                    </a:cubicBezTo>
                    <a:cubicBezTo>
                      <a:pt x="50" y="100"/>
                      <a:pt x="48" y="94"/>
                      <a:pt x="39" y="94"/>
                    </a:cubicBezTo>
                    <a:cubicBezTo>
                      <a:pt x="28" y="94"/>
                      <a:pt x="24" y="103"/>
                      <a:pt x="24" y="112"/>
                    </a:cubicBezTo>
                    <a:cubicBezTo>
                      <a:pt x="24" y="115"/>
                      <a:pt x="25" y="118"/>
                      <a:pt x="28" y="120"/>
                    </a:cubicBezTo>
                    <a:cubicBezTo>
                      <a:pt x="31" y="123"/>
                      <a:pt x="35" y="125"/>
                      <a:pt x="39" y="125"/>
                    </a:cubicBezTo>
                    <a:cubicBezTo>
                      <a:pt x="42" y="125"/>
                      <a:pt x="43" y="128"/>
                      <a:pt x="44" y="133"/>
                    </a:cubicBezTo>
                    <a:cubicBezTo>
                      <a:pt x="45" y="137"/>
                      <a:pt x="46" y="141"/>
                      <a:pt x="50" y="141"/>
                    </a:cubicBezTo>
                    <a:cubicBezTo>
                      <a:pt x="52" y="141"/>
                      <a:pt x="54" y="141"/>
                      <a:pt x="56" y="140"/>
                    </a:cubicBezTo>
                    <a:cubicBezTo>
                      <a:pt x="60" y="139"/>
                      <a:pt x="64" y="138"/>
                      <a:pt x="69" y="138"/>
                    </a:cubicBezTo>
                    <a:cubicBezTo>
                      <a:pt x="73" y="138"/>
                      <a:pt x="77" y="139"/>
                      <a:pt x="80" y="141"/>
                    </a:cubicBezTo>
                    <a:cubicBezTo>
                      <a:pt x="97" y="148"/>
                      <a:pt x="124" y="165"/>
                      <a:pt x="117" y="180"/>
                    </a:cubicBezTo>
                    <a:cubicBezTo>
                      <a:pt x="114" y="186"/>
                      <a:pt x="107" y="194"/>
                      <a:pt x="100" y="201"/>
                    </a:cubicBezTo>
                    <a:cubicBezTo>
                      <a:pt x="94" y="206"/>
                      <a:pt x="89" y="211"/>
                      <a:pt x="85" y="216"/>
                    </a:cubicBezTo>
                    <a:cubicBezTo>
                      <a:pt x="74" y="216"/>
                      <a:pt x="74" y="216"/>
                      <a:pt x="74" y="216"/>
                    </a:cubicBezTo>
                    <a:cubicBezTo>
                      <a:pt x="74" y="214"/>
                      <a:pt x="74" y="213"/>
                      <a:pt x="74" y="211"/>
                    </a:cubicBezTo>
                    <a:close/>
                    <a:moveTo>
                      <a:pt x="76" y="18"/>
                    </a:moveTo>
                    <a:cubicBezTo>
                      <a:pt x="87" y="23"/>
                      <a:pt x="88" y="25"/>
                      <a:pt x="88" y="25"/>
                    </a:cubicBezTo>
                    <a:cubicBezTo>
                      <a:pt x="88" y="27"/>
                      <a:pt x="88" y="29"/>
                      <a:pt x="89" y="31"/>
                    </a:cubicBezTo>
                    <a:cubicBezTo>
                      <a:pt x="87" y="35"/>
                      <a:pt x="85" y="38"/>
                      <a:pt x="83" y="42"/>
                    </a:cubicBezTo>
                    <a:cubicBezTo>
                      <a:pt x="78" y="37"/>
                      <a:pt x="72" y="31"/>
                      <a:pt x="64" y="25"/>
                    </a:cubicBezTo>
                    <a:cubicBezTo>
                      <a:pt x="68" y="23"/>
                      <a:pt x="72" y="20"/>
                      <a:pt x="76" y="18"/>
                    </a:cubicBezTo>
                    <a:close/>
                    <a:moveTo>
                      <a:pt x="133" y="5"/>
                    </a:moveTo>
                    <a:cubicBezTo>
                      <a:pt x="134" y="5"/>
                      <a:pt x="135" y="5"/>
                      <a:pt x="136" y="5"/>
                    </a:cubicBezTo>
                    <a:cubicBezTo>
                      <a:pt x="137" y="5"/>
                      <a:pt x="137" y="5"/>
                      <a:pt x="137" y="5"/>
                    </a:cubicBezTo>
                    <a:cubicBezTo>
                      <a:pt x="138" y="5"/>
                      <a:pt x="139" y="5"/>
                      <a:pt x="140" y="5"/>
                    </a:cubicBezTo>
                    <a:cubicBezTo>
                      <a:pt x="140" y="5"/>
                      <a:pt x="141" y="5"/>
                      <a:pt x="141" y="5"/>
                    </a:cubicBezTo>
                    <a:cubicBezTo>
                      <a:pt x="142" y="5"/>
                      <a:pt x="143" y="5"/>
                      <a:pt x="144" y="5"/>
                    </a:cubicBezTo>
                    <a:cubicBezTo>
                      <a:pt x="144" y="5"/>
                      <a:pt x="144" y="5"/>
                      <a:pt x="145" y="5"/>
                    </a:cubicBezTo>
                    <a:cubicBezTo>
                      <a:pt x="146" y="5"/>
                      <a:pt x="147" y="6"/>
                      <a:pt x="148" y="6"/>
                    </a:cubicBezTo>
                    <a:cubicBezTo>
                      <a:pt x="148" y="6"/>
                      <a:pt x="148" y="6"/>
                      <a:pt x="148" y="6"/>
                    </a:cubicBezTo>
                    <a:cubicBezTo>
                      <a:pt x="148" y="6"/>
                      <a:pt x="148" y="7"/>
                      <a:pt x="148" y="7"/>
                    </a:cubicBezTo>
                    <a:cubicBezTo>
                      <a:pt x="148" y="7"/>
                      <a:pt x="148" y="7"/>
                      <a:pt x="148" y="7"/>
                    </a:cubicBezTo>
                    <a:cubicBezTo>
                      <a:pt x="148" y="8"/>
                      <a:pt x="148" y="9"/>
                      <a:pt x="147" y="9"/>
                    </a:cubicBezTo>
                    <a:cubicBezTo>
                      <a:pt x="144" y="10"/>
                      <a:pt x="138" y="13"/>
                      <a:pt x="138" y="24"/>
                    </a:cubicBezTo>
                    <a:cubicBezTo>
                      <a:pt x="137" y="28"/>
                      <a:pt x="133" y="29"/>
                      <a:pt x="126" y="30"/>
                    </a:cubicBezTo>
                    <a:cubicBezTo>
                      <a:pt x="124" y="31"/>
                      <a:pt x="122" y="31"/>
                      <a:pt x="120" y="32"/>
                    </a:cubicBezTo>
                    <a:cubicBezTo>
                      <a:pt x="115" y="33"/>
                      <a:pt x="114" y="36"/>
                      <a:pt x="112" y="38"/>
                    </a:cubicBezTo>
                    <a:cubicBezTo>
                      <a:pt x="111" y="41"/>
                      <a:pt x="110" y="42"/>
                      <a:pt x="107" y="42"/>
                    </a:cubicBezTo>
                    <a:cubicBezTo>
                      <a:pt x="106" y="42"/>
                      <a:pt x="106" y="42"/>
                      <a:pt x="106" y="42"/>
                    </a:cubicBezTo>
                    <a:cubicBezTo>
                      <a:pt x="106" y="42"/>
                      <a:pt x="106" y="42"/>
                      <a:pt x="106" y="42"/>
                    </a:cubicBezTo>
                    <a:cubicBezTo>
                      <a:pt x="100" y="42"/>
                      <a:pt x="92" y="30"/>
                      <a:pt x="92" y="25"/>
                    </a:cubicBezTo>
                    <a:cubicBezTo>
                      <a:pt x="92" y="23"/>
                      <a:pt x="91" y="20"/>
                      <a:pt x="82" y="16"/>
                    </a:cubicBezTo>
                    <a:cubicBezTo>
                      <a:pt x="97" y="9"/>
                      <a:pt x="115" y="5"/>
                      <a:pt x="133" y="5"/>
                    </a:cubicBezTo>
                    <a:close/>
                    <a:moveTo>
                      <a:pt x="254" y="94"/>
                    </a:moveTo>
                    <a:cubicBezTo>
                      <a:pt x="254" y="94"/>
                      <a:pt x="255" y="95"/>
                      <a:pt x="255" y="96"/>
                    </a:cubicBezTo>
                    <a:cubicBezTo>
                      <a:pt x="255" y="98"/>
                      <a:pt x="256" y="99"/>
                      <a:pt x="256" y="100"/>
                    </a:cubicBezTo>
                    <a:cubicBezTo>
                      <a:pt x="256" y="101"/>
                      <a:pt x="256" y="101"/>
                      <a:pt x="256" y="101"/>
                    </a:cubicBezTo>
                    <a:cubicBezTo>
                      <a:pt x="257" y="103"/>
                      <a:pt x="257" y="105"/>
                      <a:pt x="257" y="106"/>
                    </a:cubicBezTo>
                    <a:cubicBezTo>
                      <a:pt x="257" y="106"/>
                      <a:pt x="257" y="106"/>
                      <a:pt x="257" y="106"/>
                    </a:cubicBezTo>
                    <a:cubicBezTo>
                      <a:pt x="237" y="118"/>
                      <a:pt x="230" y="151"/>
                      <a:pt x="228" y="161"/>
                    </a:cubicBezTo>
                    <a:cubicBezTo>
                      <a:pt x="228" y="163"/>
                      <a:pt x="227" y="164"/>
                      <a:pt x="227" y="166"/>
                    </a:cubicBezTo>
                    <a:cubicBezTo>
                      <a:pt x="227" y="168"/>
                      <a:pt x="226" y="171"/>
                      <a:pt x="226" y="175"/>
                    </a:cubicBezTo>
                    <a:cubicBezTo>
                      <a:pt x="226" y="175"/>
                      <a:pt x="226" y="175"/>
                      <a:pt x="226" y="175"/>
                    </a:cubicBezTo>
                    <a:cubicBezTo>
                      <a:pt x="223" y="189"/>
                      <a:pt x="218" y="206"/>
                      <a:pt x="202" y="210"/>
                    </a:cubicBezTo>
                    <a:cubicBezTo>
                      <a:pt x="200" y="211"/>
                      <a:pt x="198" y="211"/>
                      <a:pt x="196" y="211"/>
                    </a:cubicBezTo>
                    <a:cubicBezTo>
                      <a:pt x="196" y="211"/>
                      <a:pt x="196" y="211"/>
                      <a:pt x="196" y="211"/>
                    </a:cubicBezTo>
                    <a:cubicBezTo>
                      <a:pt x="194" y="211"/>
                      <a:pt x="193" y="211"/>
                      <a:pt x="192" y="210"/>
                    </a:cubicBezTo>
                    <a:cubicBezTo>
                      <a:pt x="189" y="207"/>
                      <a:pt x="190" y="201"/>
                      <a:pt x="190" y="196"/>
                    </a:cubicBezTo>
                    <a:cubicBezTo>
                      <a:pt x="190" y="194"/>
                      <a:pt x="190" y="192"/>
                      <a:pt x="190" y="190"/>
                    </a:cubicBezTo>
                    <a:cubicBezTo>
                      <a:pt x="190" y="188"/>
                      <a:pt x="190" y="187"/>
                      <a:pt x="190" y="185"/>
                    </a:cubicBezTo>
                    <a:cubicBezTo>
                      <a:pt x="190" y="172"/>
                      <a:pt x="190" y="154"/>
                      <a:pt x="183" y="146"/>
                    </a:cubicBezTo>
                    <a:cubicBezTo>
                      <a:pt x="181" y="144"/>
                      <a:pt x="178" y="143"/>
                      <a:pt x="175" y="143"/>
                    </a:cubicBezTo>
                    <a:cubicBezTo>
                      <a:pt x="173" y="143"/>
                      <a:pt x="171" y="143"/>
                      <a:pt x="168" y="144"/>
                    </a:cubicBezTo>
                    <a:cubicBezTo>
                      <a:pt x="166" y="144"/>
                      <a:pt x="164" y="145"/>
                      <a:pt x="162" y="145"/>
                    </a:cubicBezTo>
                    <a:cubicBezTo>
                      <a:pt x="160" y="145"/>
                      <a:pt x="157" y="144"/>
                      <a:pt x="153" y="140"/>
                    </a:cubicBezTo>
                    <a:cubicBezTo>
                      <a:pt x="146" y="132"/>
                      <a:pt x="143" y="123"/>
                      <a:pt x="144" y="115"/>
                    </a:cubicBezTo>
                    <a:cubicBezTo>
                      <a:pt x="146" y="102"/>
                      <a:pt x="158" y="93"/>
                      <a:pt x="158" y="93"/>
                    </a:cubicBezTo>
                    <a:cubicBezTo>
                      <a:pt x="159" y="93"/>
                      <a:pt x="160" y="92"/>
                      <a:pt x="159" y="91"/>
                    </a:cubicBezTo>
                    <a:cubicBezTo>
                      <a:pt x="159" y="91"/>
                      <a:pt x="159" y="90"/>
                      <a:pt x="159" y="89"/>
                    </a:cubicBezTo>
                    <a:cubicBezTo>
                      <a:pt x="159" y="89"/>
                      <a:pt x="159" y="89"/>
                      <a:pt x="159" y="89"/>
                    </a:cubicBezTo>
                    <a:cubicBezTo>
                      <a:pt x="160" y="89"/>
                      <a:pt x="165" y="89"/>
                      <a:pt x="169" y="89"/>
                    </a:cubicBezTo>
                    <a:cubicBezTo>
                      <a:pt x="169" y="89"/>
                      <a:pt x="169" y="89"/>
                      <a:pt x="169" y="89"/>
                    </a:cubicBezTo>
                    <a:cubicBezTo>
                      <a:pt x="172" y="89"/>
                      <a:pt x="174" y="89"/>
                      <a:pt x="175" y="88"/>
                    </a:cubicBezTo>
                    <a:cubicBezTo>
                      <a:pt x="177" y="87"/>
                      <a:pt x="181" y="86"/>
                      <a:pt x="184" y="86"/>
                    </a:cubicBezTo>
                    <a:cubicBezTo>
                      <a:pt x="184" y="86"/>
                      <a:pt x="185" y="86"/>
                      <a:pt x="185" y="86"/>
                    </a:cubicBezTo>
                    <a:cubicBezTo>
                      <a:pt x="185" y="86"/>
                      <a:pt x="185" y="87"/>
                      <a:pt x="185" y="88"/>
                    </a:cubicBezTo>
                    <a:cubicBezTo>
                      <a:pt x="184" y="90"/>
                      <a:pt x="183" y="96"/>
                      <a:pt x="191" y="98"/>
                    </a:cubicBezTo>
                    <a:cubicBezTo>
                      <a:pt x="193" y="99"/>
                      <a:pt x="194" y="99"/>
                      <a:pt x="195" y="99"/>
                    </a:cubicBezTo>
                    <a:cubicBezTo>
                      <a:pt x="195" y="99"/>
                      <a:pt x="195" y="99"/>
                      <a:pt x="195" y="99"/>
                    </a:cubicBezTo>
                    <a:cubicBezTo>
                      <a:pt x="196" y="99"/>
                      <a:pt x="197" y="99"/>
                      <a:pt x="198" y="99"/>
                    </a:cubicBezTo>
                    <a:cubicBezTo>
                      <a:pt x="201" y="99"/>
                      <a:pt x="203" y="99"/>
                      <a:pt x="204" y="99"/>
                    </a:cubicBezTo>
                    <a:cubicBezTo>
                      <a:pt x="206" y="98"/>
                      <a:pt x="207" y="98"/>
                      <a:pt x="208" y="98"/>
                    </a:cubicBezTo>
                    <a:cubicBezTo>
                      <a:pt x="209" y="98"/>
                      <a:pt x="211" y="99"/>
                      <a:pt x="212" y="99"/>
                    </a:cubicBezTo>
                    <a:cubicBezTo>
                      <a:pt x="215" y="100"/>
                      <a:pt x="217" y="101"/>
                      <a:pt x="220" y="101"/>
                    </a:cubicBezTo>
                    <a:cubicBezTo>
                      <a:pt x="222" y="101"/>
                      <a:pt x="223" y="100"/>
                      <a:pt x="224" y="99"/>
                    </a:cubicBezTo>
                    <a:cubicBezTo>
                      <a:pt x="225" y="98"/>
                      <a:pt x="226" y="96"/>
                      <a:pt x="226" y="94"/>
                    </a:cubicBezTo>
                    <a:cubicBezTo>
                      <a:pt x="225" y="87"/>
                      <a:pt x="220" y="86"/>
                      <a:pt x="216" y="85"/>
                    </a:cubicBezTo>
                    <a:cubicBezTo>
                      <a:pt x="215" y="85"/>
                      <a:pt x="213" y="85"/>
                      <a:pt x="212" y="84"/>
                    </a:cubicBezTo>
                    <a:cubicBezTo>
                      <a:pt x="211" y="83"/>
                      <a:pt x="210" y="82"/>
                      <a:pt x="209" y="82"/>
                    </a:cubicBezTo>
                    <a:cubicBezTo>
                      <a:pt x="207" y="82"/>
                      <a:pt x="206" y="84"/>
                      <a:pt x="205" y="85"/>
                    </a:cubicBezTo>
                    <a:cubicBezTo>
                      <a:pt x="204" y="84"/>
                      <a:pt x="204" y="83"/>
                      <a:pt x="203" y="82"/>
                    </a:cubicBezTo>
                    <a:cubicBezTo>
                      <a:pt x="198" y="74"/>
                      <a:pt x="194" y="68"/>
                      <a:pt x="190" y="68"/>
                    </a:cubicBezTo>
                    <a:cubicBezTo>
                      <a:pt x="190" y="68"/>
                      <a:pt x="189" y="68"/>
                      <a:pt x="189" y="68"/>
                    </a:cubicBezTo>
                    <a:cubicBezTo>
                      <a:pt x="188" y="68"/>
                      <a:pt x="187" y="68"/>
                      <a:pt x="186" y="69"/>
                    </a:cubicBezTo>
                    <a:cubicBezTo>
                      <a:pt x="186" y="70"/>
                      <a:pt x="186" y="71"/>
                      <a:pt x="186" y="73"/>
                    </a:cubicBezTo>
                    <a:cubicBezTo>
                      <a:pt x="185" y="72"/>
                      <a:pt x="184" y="72"/>
                      <a:pt x="183" y="72"/>
                    </a:cubicBezTo>
                    <a:cubicBezTo>
                      <a:pt x="181" y="71"/>
                      <a:pt x="179" y="71"/>
                      <a:pt x="178" y="71"/>
                    </a:cubicBezTo>
                    <a:cubicBezTo>
                      <a:pt x="176" y="71"/>
                      <a:pt x="174" y="72"/>
                      <a:pt x="172" y="72"/>
                    </a:cubicBezTo>
                    <a:cubicBezTo>
                      <a:pt x="171" y="73"/>
                      <a:pt x="171" y="73"/>
                      <a:pt x="171" y="73"/>
                    </a:cubicBezTo>
                    <a:cubicBezTo>
                      <a:pt x="167" y="74"/>
                      <a:pt x="168" y="77"/>
                      <a:pt x="168" y="78"/>
                    </a:cubicBezTo>
                    <a:cubicBezTo>
                      <a:pt x="168" y="79"/>
                      <a:pt x="168" y="79"/>
                      <a:pt x="168" y="80"/>
                    </a:cubicBezTo>
                    <a:cubicBezTo>
                      <a:pt x="167" y="81"/>
                      <a:pt x="165" y="81"/>
                      <a:pt x="164" y="82"/>
                    </a:cubicBezTo>
                    <a:cubicBezTo>
                      <a:pt x="162" y="82"/>
                      <a:pt x="159" y="83"/>
                      <a:pt x="158" y="84"/>
                    </a:cubicBezTo>
                    <a:cubicBezTo>
                      <a:pt x="158" y="83"/>
                      <a:pt x="157" y="82"/>
                      <a:pt x="157" y="81"/>
                    </a:cubicBezTo>
                    <a:cubicBezTo>
                      <a:pt x="157" y="81"/>
                      <a:pt x="157" y="80"/>
                      <a:pt x="158" y="78"/>
                    </a:cubicBezTo>
                    <a:cubicBezTo>
                      <a:pt x="159" y="77"/>
                      <a:pt x="161" y="76"/>
                      <a:pt x="162" y="76"/>
                    </a:cubicBezTo>
                    <a:cubicBezTo>
                      <a:pt x="164" y="76"/>
                      <a:pt x="166" y="74"/>
                      <a:pt x="167" y="72"/>
                    </a:cubicBezTo>
                    <a:cubicBezTo>
                      <a:pt x="167" y="70"/>
                      <a:pt x="165" y="67"/>
                      <a:pt x="162" y="66"/>
                    </a:cubicBezTo>
                    <a:cubicBezTo>
                      <a:pt x="165" y="64"/>
                      <a:pt x="171" y="61"/>
                      <a:pt x="176" y="61"/>
                    </a:cubicBezTo>
                    <a:cubicBezTo>
                      <a:pt x="179" y="60"/>
                      <a:pt x="181" y="59"/>
                      <a:pt x="182" y="56"/>
                    </a:cubicBezTo>
                    <a:cubicBezTo>
                      <a:pt x="184" y="52"/>
                      <a:pt x="181" y="45"/>
                      <a:pt x="177" y="39"/>
                    </a:cubicBezTo>
                    <a:cubicBezTo>
                      <a:pt x="176" y="38"/>
                      <a:pt x="176" y="38"/>
                      <a:pt x="176" y="38"/>
                    </a:cubicBezTo>
                    <a:cubicBezTo>
                      <a:pt x="177" y="36"/>
                      <a:pt x="183" y="33"/>
                      <a:pt x="209" y="30"/>
                    </a:cubicBezTo>
                    <a:cubicBezTo>
                      <a:pt x="229" y="45"/>
                      <a:pt x="245" y="66"/>
                      <a:pt x="253" y="91"/>
                    </a:cubicBezTo>
                    <a:cubicBezTo>
                      <a:pt x="253" y="92"/>
                      <a:pt x="254" y="93"/>
                      <a:pt x="254" y="94"/>
                    </a:cubicBezTo>
                    <a:close/>
                    <a:moveTo>
                      <a:pt x="260" y="130"/>
                    </a:moveTo>
                    <a:cubicBezTo>
                      <a:pt x="243" y="130"/>
                      <a:pt x="243" y="130"/>
                      <a:pt x="243" y="130"/>
                    </a:cubicBezTo>
                    <a:cubicBezTo>
                      <a:pt x="247" y="121"/>
                      <a:pt x="252" y="115"/>
                      <a:pt x="258" y="111"/>
                    </a:cubicBezTo>
                    <a:cubicBezTo>
                      <a:pt x="259" y="117"/>
                      <a:pt x="260" y="123"/>
                      <a:pt x="260" y="130"/>
                    </a:cubicBezTo>
                    <a:close/>
                    <a:moveTo>
                      <a:pt x="122" y="181"/>
                    </a:moveTo>
                    <a:cubicBezTo>
                      <a:pt x="122" y="180"/>
                      <a:pt x="123" y="179"/>
                      <a:pt x="123" y="178"/>
                    </a:cubicBezTo>
                    <a:cubicBezTo>
                      <a:pt x="130" y="178"/>
                      <a:pt x="130" y="178"/>
                      <a:pt x="130" y="178"/>
                    </a:cubicBezTo>
                    <a:cubicBezTo>
                      <a:pt x="130" y="216"/>
                      <a:pt x="130" y="216"/>
                      <a:pt x="130" y="216"/>
                    </a:cubicBezTo>
                    <a:cubicBezTo>
                      <a:pt x="91" y="216"/>
                      <a:pt x="91" y="216"/>
                      <a:pt x="91" y="216"/>
                    </a:cubicBezTo>
                    <a:cubicBezTo>
                      <a:pt x="94" y="212"/>
                      <a:pt x="99" y="208"/>
                      <a:pt x="103" y="204"/>
                    </a:cubicBezTo>
                    <a:cubicBezTo>
                      <a:pt x="110" y="197"/>
                      <a:pt x="118" y="189"/>
                      <a:pt x="122" y="181"/>
                    </a:cubicBezTo>
                    <a:close/>
                    <a:moveTo>
                      <a:pt x="123" y="173"/>
                    </a:moveTo>
                    <a:cubicBezTo>
                      <a:pt x="120" y="154"/>
                      <a:pt x="86" y="138"/>
                      <a:pt x="82" y="136"/>
                    </a:cubicBezTo>
                    <a:cubicBezTo>
                      <a:pt x="80" y="135"/>
                      <a:pt x="78" y="135"/>
                      <a:pt x="75" y="134"/>
                    </a:cubicBezTo>
                    <a:cubicBezTo>
                      <a:pt x="130" y="134"/>
                      <a:pt x="130" y="134"/>
                      <a:pt x="130" y="134"/>
                    </a:cubicBezTo>
                    <a:cubicBezTo>
                      <a:pt x="130" y="173"/>
                      <a:pt x="130" y="173"/>
                      <a:pt x="130" y="173"/>
                    </a:cubicBezTo>
                    <a:lnTo>
                      <a:pt x="123" y="173"/>
                    </a:lnTo>
                    <a:close/>
                    <a:moveTo>
                      <a:pt x="89" y="48"/>
                    </a:moveTo>
                    <a:cubicBezTo>
                      <a:pt x="130" y="48"/>
                      <a:pt x="130" y="48"/>
                      <a:pt x="130" y="48"/>
                    </a:cubicBezTo>
                    <a:cubicBezTo>
                      <a:pt x="130" y="86"/>
                      <a:pt x="130" y="86"/>
                      <a:pt x="130" y="86"/>
                    </a:cubicBezTo>
                    <a:cubicBezTo>
                      <a:pt x="74" y="86"/>
                      <a:pt x="74" y="86"/>
                      <a:pt x="74" y="86"/>
                    </a:cubicBezTo>
                    <a:cubicBezTo>
                      <a:pt x="75" y="82"/>
                      <a:pt x="76" y="78"/>
                      <a:pt x="77" y="74"/>
                    </a:cubicBezTo>
                    <a:cubicBezTo>
                      <a:pt x="82" y="72"/>
                      <a:pt x="87" y="71"/>
                      <a:pt x="92" y="69"/>
                    </a:cubicBezTo>
                    <a:cubicBezTo>
                      <a:pt x="96" y="69"/>
                      <a:pt x="98" y="67"/>
                      <a:pt x="98" y="65"/>
                    </a:cubicBezTo>
                    <a:cubicBezTo>
                      <a:pt x="99" y="61"/>
                      <a:pt x="96" y="56"/>
                      <a:pt x="89" y="48"/>
                    </a:cubicBezTo>
                    <a:close/>
                    <a:moveTo>
                      <a:pt x="98" y="43"/>
                    </a:moveTo>
                    <a:cubicBezTo>
                      <a:pt x="88" y="43"/>
                      <a:pt x="88" y="43"/>
                      <a:pt x="88" y="43"/>
                    </a:cubicBezTo>
                    <a:cubicBezTo>
                      <a:pt x="89" y="41"/>
                      <a:pt x="91" y="38"/>
                      <a:pt x="92" y="36"/>
                    </a:cubicBezTo>
                    <a:cubicBezTo>
                      <a:pt x="93" y="39"/>
                      <a:pt x="95" y="41"/>
                      <a:pt x="98" y="43"/>
                    </a:cubicBezTo>
                    <a:close/>
                    <a:moveTo>
                      <a:pt x="149" y="13"/>
                    </a:moveTo>
                    <a:cubicBezTo>
                      <a:pt x="150" y="13"/>
                      <a:pt x="151" y="12"/>
                      <a:pt x="152" y="11"/>
                    </a:cubicBezTo>
                    <a:cubicBezTo>
                      <a:pt x="159" y="16"/>
                      <a:pt x="167" y="24"/>
                      <a:pt x="173" y="35"/>
                    </a:cubicBezTo>
                    <a:cubicBezTo>
                      <a:pt x="173" y="35"/>
                      <a:pt x="172" y="35"/>
                      <a:pt x="172" y="36"/>
                    </a:cubicBezTo>
                    <a:cubicBezTo>
                      <a:pt x="172" y="37"/>
                      <a:pt x="171" y="39"/>
                      <a:pt x="173" y="41"/>
                    </a:cubicBezTo>
                    <a:cubicBezTo>
                      <a:pt x="173" y="42"/>
                      <a:pt x="173" y="42"/>
                      <a:pt x="174" y="43"/>
                    </a:cubicBezTo>
                    <a:cubicBezTo>
                      <a:pt x="166" y="43"/>
                      <a:pt x="166" y="43"/>
                      <a:pt x="166" y="43"/>
                    </a:cubicBezTo>
                    <a:cubicBezTo>
                      <a:pt x="164" y="43"/>
                      <a:pt x="163" y="43"/>
                      <a:pt x="161" y="42"/>
                    </a:cubicBezTo>
                    <a:cubicBezTo>
                      <a:pt x="161" y="42"/>
                      <a:pt x="161" y="42"/>
                      <a:pt x="161" y="42"/>
                    </a:cubicBezTo>
                    <a:cubicBezTo>
                      <a:pt x="159" y="42"/>
                      <a:pt x="159" y="43"/>
                      <a:pt x="158" y="43"/>
                    </a:cubicBezTo>
                    <a:cubicBezTo>
                      <a:pt x="135" y="43"/>
                      <a:pt x="135" y="43"/>
                      <a:pt x="135" y="43"/>
                    </a:cubicBezTo>
                    <a:cubicBezTo>
                      <a:pt x="135" y="33"/>
                      <a:pt x="135" y="33"/>
                      <a:pt x="135" y="33"/>
                    </a:cubicBezTo>
                    <a:cubicBezTo>
                      <a:pt x="139" y="31"/>
                      <a:pt x="142" y="29"/>
                      <a:pt x="142" y="24"/>
                    </a:cubicBezTo>
                    <a:cubicBezTo>
                      <a:pt x="142" y="16"/>
                      <a:pt x="146" y="15"/>
                      <a:pt x="149" y="13"/>
                    </a:cubicBezTo>
                    <a:close/>
                    <a:moveTo>
                      <a:pt x="159" y="70"/>
                    </a:moveTo>
                    <a:cubicBezTo>
                      <a:pt x="161" y="70"/>
                      <a:pt x="162" y="71"/>
                      <a:pt x="162" y="71"/>
                    </a:cubicBezTo>
                    <a:cubicBezTo>
                      <a:pt x="162" y="71"/>
                      <a:pt x="162" y="71"/>
                      <a:pt x="162" y="71"/>
                    </a:cubicBezTo>
                    <a:cubicBezTo>
                      <a:pt x="162" y="72"/>
                      <a:pt x="162" y="72"/>
                      <a:pt x="162" y="72"/>
                    </a:cubicBezTo>
                    <a:cubicBezTo>
                      <a:pt x="158" y="72"/>
                      <a:pt x="154" y="75"/>
                      <a:pt x="153" y="78"/>
                    </a:cubicBezTo>
                    <a:cubicBezTo>
                      <a:pt x="151" y="81"/>
                      <a:pt x="152" y="83"/>
                      <a:pt x="153" y="84"/>
                    </a:cubicBezTo>
                    <a:cubicBezTo>
                      <a:pt x="153" y="84"/>
                      <a:pt x="154" y="85"/>
                      <a:pt x="154" y="86"/>
                    </a:cubicBezTo>
                    <a:cubicBezTo>
                      <a:pt x="135" y="86"/>
                      <a:pt x="135" y="86"/>
                      <a:pt x="135" y="86"/>
                    </a:cubicBezTo>
                    <a:cubicBezTo>
                      <a:pt x="135" y="48"/>
                      <a:pt x="135" y="48"/>
                      <a:pt x="135" y="48"/>
                    </a:cubicBezTo>
                    <a:cubicBezTo>
                      <a:pt x="149" y="48"/>
                      <a:pt x="149" y="48"/>
                      <a:pt x="149" y="48"/>
                    </a:cubicBezTo>
                    <a:cubicBezTo>
                      <a:pt x="149" y="49"/>
                      <a:pt x="148" y="50"/>
                      <a:pt x="148" y="51"/>
                    </a:cubicBezTo>
                    <a:cubicBezTo>
                      <a:pt x="148" y="55"/>
                      <a:pt x="150" y="58"/>
                      <a:pt x="153" y="59"/>
                    </a:cubicBezTo>
                    <a:cubicBezTo>
                      <a:pt x="153" y="59"/>
                      <a:pt x="153" y="59"/>
                      <a:pt x="154" y="59"/>
                    </a:cubicBezTo>
                    <a:cubicBezTo>
                      <a:pt x="156" y="59"/>
                      <a:pt x="159" y="57"/>
                      <a:pt x="159" y="53"/>
                    </a:cubicBezTo>
                    <a:cubicBezTo>
                      <a:pt x="159" y="53"/>
                      <a:pt x="159" y="52"/>
                      <a:pt x="159" y="51"/>
                    </a:cubicBezTo>
                    <a:cubicBezTo>
                      <a:pt x="160" y="52"/>
                      <a:pt x="160" y="52"/>
                      <a:pt x="161" y="53"/>
                    </a:cubicBezTo>
                    <a:cubicBezTo>
                      <a:pt x="161" y="53"/>
                      <a:pt x="161" y="53"/>
                      <a:pt x="161" y="53"/>
                    </a:cubicBezTo>
                    <a:cubicBezTo>
                      <a:pt x="159" y="56"/>
                      <a:pt x="157" y="59"/>
                      <a:pt x="158" y="61"/>
                    </a:cubicBezTo>
                    <a:cubicBezTo>
                      <a:pt x="159" y="61"/>
                      <a:pt x="159" y="62"/>
                      <a:pt x="160" y="62"/>
                    </a:cubicBezTo>
                    <a:cubicBezTo>
                      <a:pt x="157" y="64"/>
                      <a:pt x="156" y="65"/>
                      <a:pt x="156" y="67"/>
                    </a:cubicBezTo>
                    <a:cubicBezTo>
                      <a:pt x="156" y="67"/>
                      <a:pt x="156" y="70"/>
                      <a:pt x="159" y="70"/>
                    </a:cubicBezTo>
                    <a:close/>
                    <a:moveTo>
                      <a:pt x="142" y="130"/>
                    </a:moveTo>
                    <a:cubicBezTo>
                      <a:pt x="135" y="130"/>
                      <a:pt x="135" y="130"/>
                      <a:pt x="135" y="130"/>
                    </a:cubicBezTo>
                    <a:cubicBezTo>
                      <a:pt x="135" y="91"/>
                      <a:pt x="135" y="91"/>
                      <a:pt x="135" y="91"/>
                    </a:cubicBezTo>
                    <a:cubicBezTo>
                      <a:pt x="153" y="91"/>
                      <a:pt x="153" y="91"/>
                      <a:pt x="153" y="91"/>
                    </a:cubicBezTo>
                    <a:cubicBezTo>
                      <a:pt x="149" y="95"/>
                      <a:pt x="141" y="103"/>
                      <a:pt x="140" y="114"/>
                    </a:cubicBezTo>
                    <a:cubicBezTo>
                      <a:pt x="139" y="119"/>
                      <a:pt x="140" y="125"/>
                      <a:pt x="142" y="130"/>
                    </a:cubicBezTo>
                    <a:close/>
                    <a:moveTo>
                      <a:pt x="130" y="130"/>
                    </a:moveTo>
                    <a:cubicBezTo>
                      <a:pt x="70" y="130"/>
                      <a:pt x="70" y="130"/>
                      <a:pt x="70" y="130"/>
                    </a:cubicBezTo>
                    <a:cubicBezTo>
                      <a:pt x="70" y="117"/>
                      <a:pt x="72" y="104"/>
                      <a:pt x="74" y="91"/>
                    </a:cubicBezTo>
                    <a:cubicBezTo>
                      <a:pt x="130" y="91"/>
                      <a:pt x="130" y="91"/>
                      <a:pt x="130" y="91"/>
                    </a:cubicBezTo>
                    <a:lnTo>
                      <a:pt x="130" y="130"/>
                    </a:lnTo>
                    <a:close/>
                    <a:moveTo>
                      <a:pt x="165" y="48"/>
                    </a:moveTo>
                    <a:cubicBezTo>
                      <a:pt x="165" y="48"/>
                      <a:pt x="165" y="49"/>
                      <a:pt x="165" y="49"/>
                    </a:cubicBezTo>
                    <a:cubicBezTo>
                      <a:pt x="164" y="49"/>
                      <a:pt x="164" y="49"/>
                      <a:pt x="164" y="49"/>
                    </a:cubicBezTo>
                    <a:cubicBezTo>
                      <a:pt x="164" y="49"/>
                      <a:pt x="163" y="48"/>
                      <a:pt x="163" y="48"/>
                    </a:cubicBezTo>
                    <a:lnTo>
                      <a:pt x="165" y="48"/>
                    </a:lnTo>
                    <a:close/>
                    <a:moveTo>
                      <a:pt x="163" y="58"/>
                    </a:moveTo>
                    <a:cubicBezTo>
                      <a:pt x="163" y="57"/>
                      <a:pt x="164" y="57"/>
                      <a:pt x="164" y="56"/>
                    </a:cubicBezTo>
                    <a:cubicBezTo>
                      <a:pt x="165" y="56"/>
                      <a:pt x="165" y="55"/>
                      <a:pt x="165" y="55"/>
                    </a:cubicBezTo>
                    <a:cubicBezTo>
                      <a:pt x="166" y="56"/>
                      <a:pt x="166" y="57"/>
                      <a:pt x="167" y="57"/>
                    </a:cubicBezTo>
                    <a:cubicBezTo>
                      <a:pt x="166" y="58"/>
                      <a:pt x="165" y="58"/>
                      <a:pt x="163" y="58"/>
                    </a:cubicBezTo>
                    <a:close/>
                    <a:moveTo>
                      <a:pt x="155" y="53"/>
                    </a:moveTo>
                    <a:cubicBezTo>
                      <a:pt x="154" y="53"/>
                      <a:pt x="154" y="54"/>
                      <a:pt x="154" y="54"/>
                    </a:cubicBezTo>
                    <a:cubicBezTo>
                      <a:pt x="154" y="54"/>
                      <a:pt x="154" y="54"/>
                      <a:pt x="154" y="54"/>
                    </a:cubicBezTo>
                    <a:cubicBezTo>
                      <a:pt x="153" y="54"/>
                      <a:pt x="153" y="53"/>
                      <a:pt x="153" y="53"/>
                    </a:cubicBezTo>
                    <a:cubicBezTo>
                      <a:pt x="153" y="51"/>
                      <a:pt x="153" y="50"/>
                      <a:pt x="154" y="50"/>
                    </a:cubicBezTo>
                    <a:cubicBezTo>
                      <a:pt x="154" y="50"/>
                      <a:pt x="155" y="51"/>
                      <a:pt x="155" y="53"/>
                    </a:cubicBezTo>
                    <a:close/>
                    <a:moveTo>
                      <a:pt x="172" y="57"/>
                    </a:moveTo>
                    <a:cubicBezTo>
                      <a:pt x="172" y="55"/>
                      <a:pt x="171" y="54"/>
                      <a:pt x="169" y="53"/>
                    </a:cubicBezTo>
                    <a:cubicBezTo>
                      <a:pt x="169" y="53"/>
                      <a:pt x="169" y="51"/>
                      <a:pt x="169" y="50"/>
                    </a:cubicBezTo>
                    <a:cubicBezTo>
                      <a:pt x="170" y="49"/>
                      <a:pt x="170" y="49"/>
                      <a:pt x="170" y="48"/>
                    </a:cubicBezTo>
                    <a:cubicBezTo>
                      <a:pt x="176" y="48"/>
                      <a:pt x="176" y="48"/>
                      <a:pt x="176" y="48"/>
                    </a:cubicBezTo>
                    <a:cubicBezTo>
                      <a:pt x="177" y="51"/>
                      <a:pt x="178" y="53"/>
                      <a:pt x="178" y="55"/>
                    </a:cubicBezTo>
                    <a:cubicBezTo>
                      <a:pt x="177" y="55"/>
                      <a:pt x="176" y="56"/>
                      <a:pt x="175" y="56"/>
                    </a:cubicBezTo>
                    <a:cubicBezTo>
                      <a:pt x="174" y="56"/>
                      <a:pt x="173" y="56"/>
                      <a:pt x="172" y="57"/>
                    </a:cubicBezTo>
                    <a:close/>
                    <a:moveTo>
                      <a:pt x="130" y="43"/>
                    </a:moveTo>
                    <a:cubicBezTo>
                      <a:pt x="114" y="43"/>
                      <a:pt x="114" y="43"/>
                      <a:pt x="114" y="43"/>
                    </a:cubicBezTo>
                    <a:cubicBezTo>
                      <a:pt x="115" y="42"/>
                      <a:pt x="116" y="42"/>
                      <a:pt x="116" y="41"/>
                    </a:cubicBezTo>
                    <a:cubicBezTo>
                      <a:pt x="117" y="39"/>
                      <a:pt x="118" y="37"/>
                      <a:pt x="121" y="36"/>
                    </a:cubicBezTo>
                    <a:cubicBezTo>
                      <a:pt x="123" y="36"/>
                      <a:pt x="125" y="35"/>
                      <a:pt x="127" y="35"/>
                    </a:cubicBezTo>
                    <a:cubicBezTo>
                      <a:pt x="128" y="35"/>
                      <a:pt x="129" y="34"/>
                      <a:pt x="130" y="34"/>
                    </a:cubicBezTo>
                    <a:lnTo>
                      <a:pt x="130" y="43"/>
                    </a:lnTo>
                    <a:close/>
                    <a:moveTo>
                      <a:pt x="70" y="86"/>
                    </a:moveTo>
                    <a:cubicBezTo>
                      <a:pt x="59" y="86"/>
                      <a:pt x="59" y="86"/>
                      <a:pt x="59" y="86"/>
                    </a:cubicBezTo>
                    <a:cubicBezTo>
                      <a:pt x="62" y="82"/>
                      <a:pt x="66" y="79"/>
                      <a:pt x="72" y="76"/>
                    </a:cubicBezTo>
                    <a:cubicBezTo>
                      <a:pt x="71" y="79"/>
                      <a:pt x="70" y="83"/>
                      <a:pt x="70" y="86"/>
                    </a:cubicBezTo>
                    <a:close/>
                    <a:moveTo>
                      <a:pt x="55" y="109"/>
                    </a:moveTo>
                    <a:cubicBezTo>
                      <a:pt x="57" y="108"/>
                      <a:pt x="57" y="105"/>
                      <a:pt x="56" y="102"/>
                    </a:cubicBezTo>
                    <a:cubicBezTo>
                      <a:pt x="56" y="99"/>
                      <a:pt x="55" y="95"/>
                      <a:pt x="57" y="91"/>
                    </a:cubicBezTo>
                    <a:cubicBezTo>
                      <a:pt x="69" y="91"/>
                      <a:pt x="69" y="91"/>
                      <a:pt x="69" y="91"/>
                    </a:cubicBezTo>
                    <a:cubicBezTo>
                      <a:pt x="67" y="104"/>
                      <a:pt x="66" y="117"/>
                      <a:pt x="66" y="130"/>
                    </a:cubicBezTo>
                    <a:cubicBezTo>
                      <a:pt x="48" y="130"/>
                      <a:pt x="48" y="130"/>
                      <a:pt x="48" y="130"/>
                    </a:cubicBezTo>
                    <a:cubicBezTo>
                      <a:pt x="47" y="125"/>
                      <a:pt x="45" y="120"/>
                      <a:pt x="39" y="120"/>
                    </a:cubicBezTo>
                    <a:cubicBezTo>
                      <a:pt x="36" y="120"/>
                      <a:pt x="33" y="119"/>
                      <a:pt x="31" y="117"/>
                    </a:cubicBezTo>
                    <a:cubicBezTo>
                      <a:pt x="30" y="116"/>
                      <a:pt x="29" y="114"/>
                      <a:pt x="29" y="112"/>
                    </a:cubicBezTo>
                    <a:cubicBezTo>
                      <a:pt x="29" y="108"/>
                      <a:pt x="30" y="99"/>
                      <a:pt x="39" y="99"/>
                    </a:cubicBezTo>
                    <a:cubicBezTo>
                      <a:pt x="44" y="99"/>
                      <a:pt x="45" y="101"/>
                      <a:pt x="46" y="105"/>
                    </a:cubicBezTo>
                    <a:cubicBezTo>
                      <a:pt x="47" y="107"/>
                      <a:pt x="47" y="111"/>
                      <a:pt x="52" y="111"/>
                    </a:cubicBezTo>
                    <a:cubicBezTo>
                      <a:pt x="53" y="111"/>
                      <a:pt x="54" y="110"/>
                      <a:pt x="55" y="109"/>
                    </a:cubicBezTo>
                    <a:close/>
                    <a:moveTo>
                      <a:pt x="62" y="134"/>
                    </a:moveTo>
                    <a:cubicBezTo>
                      <a:pt x="60" y="135"/>
                      <a:pt x="57" y="135"/>
                      <a:pt x="55" y="136"/>
                    </a:cubicBezTo>
                    <a:cubicBezTo>
                      <a:pt x="53" y="136"/>
                      <a:pt x="51" y="137"/>
                      <a:pt x="50" y="137"/>
                    </a:cubicBezTo>
                    <a:cubicBezTo>
                      <a:pt x="50" y="136"/>
                      <a:pt x="50" y="135"/>
                      <a:pt x="49" y="134"/>
                    </a:cubicBezTo>
                    <a:lnTo>
                      <a:pt x="62" y="134"/>
                    </a:lnTo>
                    <a:close/>
                    <a:moveTo>
                      <a:pt x="135" y="134"/>
                    </a:moveTo>
                    <a:cubicBezTo>
                      <a:pt x="144" y="134"/>
                      <a:pt x="144" y="134"/>
                      <a:pt x="144" y="134"/>
                    </a:cubicBezTo>
                    <a:cubicBezTo>
                      <a:pt x="145" y="137"/>
                      <a:pt x="147" y="140"/>
                      <a:pt x="149" y="143"/>
                    </a:cubicBezTo>
                    <a:cubicBezTo>
                      <a:pt x="153" y="147"/>
                      <a:pt x="157" y="150"/>
                      <a:pt x="162" y="150"/>
                    </a:cubicBezTo>
                    <a:cubicBezTo>
                      <a:pt x="165" y="150"/>
                      <a:pt x="167" y="149"/>
                      <a:pt x="170" y="148"/>
                    </a:cubicBezTo>
                    <a:cubicBezTo>
                      <a:pt x="172" y="148"/>
                      <a:pt x="173" y="147"/>
                      <a:pt x="175" y="147"/>
                    </a:cubicBezTo>
                    <a:cubicBezTo>
                      <a:pt x="177" y="147"/>
                      <a:pt x="178" y="148"/>
                      <a:pt x="179" y="149"/>
                    </a:cubicBezTo>
                    <a:cubicBezTo>
                      <a:pt x="183" y="154"/>
                      <a:pt x="185" y="164"/>
                      <a:pt x="185" y="173"/>
                    </a:cubicBezTo>
                    <a:cubicBezTo>
                      <a:pt x="135" y="173"/>
                      <a:pt x="135" y="173"/>
                      <a:pt x="135" y="173"/>
                    </a:cubicBezTo>
                    <a:lnTo>
                      <a:pt x="135" y="134"/>
                    </a:lnTo>
                    <a:close/>
                    <a:moveTo>
                      <a:pt x="172" y="77"/>
                    </a:moveTo>
                    <a:cubicBezTo>
                      <a:pt x="172" y="77"/>
                      <a:pt x="172" y="77"/>
                      <a:pt x="172" y="77"/>
                    </a:cubicBezTo>
                    <a:cubicBezTo>
                      <a:pt x="172" y="77"/>
                      <a:pt x="173" y="77"/>
                      <a:pt x="173" y="77"/>
                    </a:cubicBezTo>
                    <a:cubicBezTo>
                      <a:pt x="174" y="77"/>
                      <a:pt x="174" y="77"/>
                      <a:pt x="174" y="77"/>
                    </a:cubicBezTo>
                    <a:cubicBezTo>
                      <a:pt x="177" y="76"/>
                      <a:pt x="177" y="76"/>
                      <a:pt x="182" y="76"/>
                    </a:cubicBezTo>
                    <a:cubicBezTo>
                      <a:pt x="184" y="76"/>
                      <a:pt x="185" y="78"/>
                      <a:pt x="187" y="81"/>
                    </a:cubicBezTo>
                    <a:cubicBezTo>
                      <a:pt x="187" y="81"/>
                      <a:pt x="187" y="82"/>
                      <a:pt x="188" y="82"/>
                    </a:cubicBezTo>
                    <a:cubicBezTo>
                      <a:pt x="187" y="82"/>
                      <a:pt x="185" y="81"/>
                      <a:pt x="184" y="81"/>
                    </a:cubicBezTo>
                    <a:cubicBezTo>
                      <a:pt x="180" y="81"/>
                      <a:pt x="175" y="83"/>
                      <a:pt x="173" y="84"/>
                    </a:cubicBezTo>
                    <a:cubicBezTo>
                      <a:pt x="173" y="84"/>
                      <a:pt x="172" y="85"/>
                      <a:pt x="169" y="85"/>
                    </a:cubicBezTo>
                    <a:cubicBezTo>
                      <a:pt x="169" y="85"/>
                      <a:pt x="169" y="85"/>
                      <a:pt x="169" y="85"/>
                    </a:cubicBezTo>
                    <a:cubicBezTo>
                      <a:pt x="169" y="85"/>
                      <a:pt x="169" y="85"/>
                      <a:pt x="169" y="85"/>
                    </a:cubicBezTo>
                    <a:cubicBezTo>
                      <a:pt x="170" y="84"/>
                      <a:pt x="171" y="83"/>
                      <a:pt x="172" y="82"/>
                    </a:cubicBezTo>
                    <a:cubicBezTo>
                      <a:pt x="173" y="80"/>
                      <a:pt x="173" y="78"/>
                      <a:pt x="172" y="77"/>
                    </a:cubicBezTo>
                    <a:close/>
                    <a:moveTo>
                      <a:pt x="189" y="84"/>
                    </a:moveTo>
                    <a:cubicBezTo>
                      <a:pt x="190" y="85"/>
                      <a:pt x="190" y="85"/>
                      <a:pt x="191" y="85"/>
                    </a:cubicBezTo>
                    <a:cubicBezTo>
                      <a:pt x="191" y="88"/>
                      <a:pt x="192" y="91"/>
                      <a:pt x="192" y="94"/>
                    </a:cubicBezTo>
                    <a:cubicBezTo>
                      <a:pt x="189" y="93"/>
                      <a:pt x="189" y="91"/>
                      <a:pt x="189" y="88"/>
                    </a:cubicBezTo>
                    <a:cubicBezTo>
                      <a:pt x="190" y="87"/>
                      <a:pt x="190" y="85"/>
                      <a:pt x="189" y="84"/>
                    </a:cubicBezTo>
                    <a:close/>
                    <a:moveTo>
                      <a:pt x="197" y="95"/>
                    </a:moveTo>
                    <a:cubicBezTo>
                      <a:pt x="197" y="91"/>
                      <a:pt x="196" y="87"/>
                      <a:pt x="195" y="84"/>
                    </a:cubicBezTo>
                    <a:cubicBezTo>
                      <a:pt x="196" y="82"/>
                      <a:pt x="195" y="80"/>
                      <a:pt x="193" y="76"/>
                    </a:cubicBezTo>
                    <a:cubicBezTo>
                      <a:pt x="193" y="75"/>
                      <a:pt x="192" y="75"/>
                      <a:pt x="192" y="74"/>
                    </a:cubicBezTo>
                    <a:cubicBezTo>
                      <a:pt x="194" y="76"/>
                      <a:pt x="197" y="82"/>
                      <a:pt x="199" y="84"/>
                    </a:cubicBezTo>
                    <a:cubicBezTo>
                      <a:pt x="201" y="87"/>
                      <a:pt x="202" y="89"/>
                      <a:pt x="203" y="90"/>
                    </a:cubicBezTo>
                    <a:cubicBezTo>
                      <a:pt x="203" y="91"/>
                      <a:pt x="204" y="91"/>
                      <a:pt x="205" y="91"/>
                    </a:cubicBezTo>
                    <a:cubicBezTo>
                      <a:pt x="205" y="91"/>
                      <a:pt x="205" y="91"/>
                      <a:pt x="205" y="91"/>
                    </a:cubicBezTo>
                    <a:cubicBezTo>
                      <a:pt x="207" y="91"/>
                      <a:pt x="208" y="89"/>
                      <a:pt x="209" y="88"/>
                    </a:cubicBezTo>
                    <a:cubicBezTo>
                      <a:pt x="209" y="88"/>
                      <a:pt x="209" y="88"/>
                      <a:pt x="209" y="88"/>
                    </a:cubicBezTo>
                    <a:cubicBezTo>
                      <a:pt x="211" y="89"/>
                      <a:pt x="213" y="90"/>
                      <a:pt x="216" y="90"/>
                    </a:cubicBezTo>
                    <a:cubicBezTo>
                      <a:pt x="220" y="91"/>
                      <a:pt x="221" y="91"/>
                      <a:pt x="221" y="94"/>
                    </a:cubicBezTo>
                    <a:cubicBezTo>
                      <a:pt x="221" y="95"/>
                      <a:pt x="221" y="95"/>
                      <a:pt x="221" y="96"/>
                    </a:cubicBezTo>
                    <a:cubicBezTo>
                      <a:pt x="221" y="96"/>
                      <a:pt x="220" y="96"/>
                      <a:pt x="220" y="96"/>
                    </a:cubicBezTo>
                    <a:cubicBezTo>
                      <a:pt x="218" y="96"/>
                      <a:pt x="216" y="95"/>
                      <a:pt x="214" y="95"/>
                    </a:cubicBezTo>
                    <a:cubicBezTo>
                      <a:pt x="212" y="94"/>
                      <a:pt x="210" y="94"/>
                      <a:pt x="209" y="93"/>
                    </a:cubicBezTo>
                    <a:cubicBezTo>
                      <a:pt x="209" y="93"/>
                      <a:pt x="208" y="93"/>
                      <a:pt x="208" y="93"/>
                    </a:cubicBezTo>
                    <a:cubicBezTo>
                      <a:pt x="206" y="93"/>
                      <a:pt x="204" y="94"/>
                      <a:pt x="203" y="94"/>
                    </a:cubicBezTo>
                    <a:cubicBezTo>
                      <a:pt x="202" y="94"/>
                      <a:pt x="200" y="95"/>
                      <a:pt x="198" y="95"/>
                    </a:cubicBezTo>
                    <a:cubicBezTo>
                      <a:pt x="198" y="95"/>
                      <a:pt x="197" y="95"/>
                      <a:pt x="197" y="95"/>
                    </a:cubicBezTo>
                    <a:close/>
                    <a:moveTo>
                      <a:pt x="177" y="32"/>
                    </a:moveTo>
                    <a:cubicBezTo>
                      <a:pt x="170" y="21"/>
                      <a:pt x="162" y="12"/>
                      <a:pt x="154" y="6"/>
                    </a:cubicBezTo>
                    <a:cubicBezTo>
                      <a:pt x="172" y="9"/>
                      <a:pt x="188" y="16"/>
                      <a:pt x="203" y="26"/>
                    </a:cubicBezTo>
                    <a:cubicBezTo>
                      <a:pt x="190" y="28"/>
                      <a:pt x="181" y="29"/>
                      <a:pt x="177" y="32"/>
                    </a:cubicBezTo>
                    <a:close/>
                    <a:moveTo>
                      <a:pt x="130" y="221"/>
                    </a:moveTo>
                    <a:cubicBezTo>
                      <a:pt x="130" y="259"/>
                      <a:pt x="130" y="259"/>
                      <a:pt x="130" y="259"/>
                    </a:cubicBezTo>
                    <a:cubicBezTo>
                      <a:pt x="115" y="258"/>
                      <a:pt x="99" y="244"/>
                      <a:pt x="88" y="221"/>
                    </a:cubicBezTo>
                    <a:lnTo>
                      <a:pt x="130" y="221"/>
                    </a:lnTo>
                    <a:close/>
                    <a:moveTo>
                      <a:pt x="135" y="221"/>
                    </a:moveTo>
                    <a:cubicBezTo>
                      <a:pt x="177" y="221"/>
                      <a:pt x="177" y="221"/>
                      <a:pt x="177" y="221"/>
                    </a:cubicBezTo>
                    <a:cubicBezTo>
                      <a:pt x="166" y="244"/>
                      <a:pt x="151" y="258"/>
                      <a:pt x="135" y="259"/>
                    </a:cubicBezTo>
                    <a:lnTo>
                      <a:pt x="135" y="221"/>
                    </a:lnTo>
                    <a:close/>
                    <a:moveTo>
                      <a:pt x="135" y="216"/>
                    </a:moveTo>
                    <a:cubicBezTo>
                      <a:pt x="135" y="178"/>
                      <a:pt x="135" y="178"/>
                      <a:pt x="135" y="178"/>
                    </a:cubicBezTo>
                    <a:cubicBezTo>
                      <a:pt x="185" y="178"/>
                      <a:pt x="185" y="178"/>
                      <a:pt x="185" y="178"/>
                    </a:cubicBezTo>
                    <a:cubicBezTo>
                      <a:pt x="185" y="180"/>
                      <a:pt x="185" y="182"/>
                      <a:pt x="186" y="185"/>
                    </a:cubicBezTo>
                    <a:cubicBezTo>
                      <a:pt x="186" y="187"/>
                      <a:pt x="186" y="189"/>
                      <a:pt x="186" y="190"/>
                    </a:cubicBezTo>
                    <a:cubicBezTo>
                      <a:pt x="186" y="192"/>
                      <a:pt x="186" y="194"/>
                      <a:pt x="185" y="196"/>
                    </a:cubicBezTo>
                    <a:cubicBezTo>
                      <a:pt x="185" y="198"/>
                      <a:pt x="185" y="199"/>
                      <a:pt x="185" y="201"/>
                    </a:cubicBezTo>
                    <a:cubicBezTo>
                      <a:pt x="183" y="206"/>
                      <a:pt x="182" y="211"/>
                      <a:pt x="180" y="216"/>
                    </a:cubicBezTo>
                    <a:lnTo>
                      <a:pt x="135" y="216"/>
                    </a:lnTo>
                    <a:close/>
                    <a:moveTo>
                      <a:pt x="235" y="191"/>
                    </a:moveTo>
                    <a:cubicBezTo>
                      <a:pt x="234" y="194"/>
                      <a:pt x="233" y="195"/>
                      <a:pt x="232" y="195"/>
                    </a:cubicBezTo>
                    <a:cubicBezTo>
                      <a:pt x="232" y="194"/>
                      <a:pt x="232" y="191"/>
                      <a:pt x="233" y="187"/>
                    </a:cubicBezTo>
                    <a:cubicBezTo>
                      <a:pt x="235" y="182"/>
                      <a:pt x="236" y="179"/>
                      <a:pt x="238" y="178"/>
                    </a:cubicBezTo>
                    <a:cubicBezTo>
                      <a:pt x="238" y="180"/>
                      <a:pt x="237" y="186"/>
                      <a:pt x="235" y="191"/>
                    </a:cubicBezTo>
                    <a:close/>
                    <a:moveTo>
                      <a:pt x="240" y="173"/>
                    </a:moveTo>
                    <a:cubicBezTo>
                      <a:pt x="240" y="173"/>
                      <a:pt x="240" y="172"/>
                      <a:pt x="239" y="172"/>
                    </a:cubicBezTo>
                    <a:cubicBezTo>
                      <a:pt x="239" y="172"/>
                      <a:pt x="239" y="172"/>
                      <a:pt x="238" y="172"/>
                    </a:cubicBezTo>
                    <a:cubicBezTo>
                      <a:pt x="237" y="172"/>
                      <a:pt x="237" y="172"/>
                      <a:pt x="236" y="173"/>
                    </a:cubicBezTo>
                    <a:cubicBezTo>
                      <a:pt x="231" y="173"/>
                      <a:pt x="231" y="173"/>
                      <a:pt x="231" y="173"/>
                    </a:cubicBezTo>
                    <a:cubicBezTo>
                      <a:pt x="231" y="171"/>
                      <a:pt x="232" y="168"/>
                      <a:pt x="232" y="166"/>
                    </a:cubicBezTo>
                    <a:cubicBezTo>
                      <a:pt x="232" y="165"/>
                      <a:pt x="232" y="163"/>
                      <a:pt x="233" y="162"/>
                    </a:cubicBezTo>
                    <a:cubicBezTo>
                      <a:pt x="233" y="158"/>
                      <a:pt x="236" y="146"/>
                      <a:pt x="241" y="135"/>
                    </a:cubicBezTo>
                    <a:cubicBezTo>
                      <a:pt x="241" y="135"/>
                      <a:pt x="241" y="134"/>
                      <a:pt x="241" y="134"/>
                    </a:cubicBezTo>
                    <a:cubicBezTo>
                      <a:pt x="260" y="134"/>
                      <a:pt x="260" y="134"/>
                      <a:pt x="260" y="134"/>
                    </a:cubicBezTo>
                    <a:cubicBezTo>
                      <a:pt x="260" y="148"/>
                      <a:pt x="257" y="161"/>
                      <a:pt x="253" y="173"/>
                    </a:cubicBezTo>
                    <a:lnTo>
                      <a:pt x="240" y="173"/>
                    </a:lnTo>
                    <a:close/>
                    <a:moveTo>
                      <a:pt x="42" y="221"/>
                    </a:moveTo>
                    <a:cubicBezTo>
                      <a:pt x="69" y="221"/>
                      <a:pt x="69" y="221"/>
                      <a:pt x="69" y="221"/>
                    </a:cubicBezTo>
                    <a:cubicBezTo>
                      <a:pt x="69" y="229"/>
                      <a:pt x="70" y="237"/>
                      <a:pt x="74" y="241"/>
                    </a:cubicBezTo>
                    <a:cubicBezTo>
                      <a:pt x="76" y="243"/>
                      <a:pt x="79" y="245"/>
                      <a:pt x="82" y="245"/>
                    </a:cubicBezTo>
                    <a:cubicBezTo>
                      <a:pt x="84" y="245"/>
                      <a:pt x="86" y="244"/>
                      <a:pt x="87" y="243"/>
                    </a:cubicBezTo>
                    <a:cubicBezTo>
                      <a:pt x="88" y="241"/>
                      <a:pt x="88" y="238"/>
                      <a:pt x="86" y="234"/>
                    </a:cubicBezTo>
                    <a:cubicBezTo>
                      <a:pt x="84" y="232"/>
                      <a:pt x="84" y="228"/>
                      <a:pt x="85" y="225"/>
                    </a:cubicBezTo>
                    <a:cubicBezTo>
                      <a:pt x="93" y="240"/>
                      <a:pt x="102" y="251"/>
                      <a:pt x="112" y="257"/>
                    </a:cubicBezTo>
                    <a:cubicBezTo>
                      <a:pt x="85" y="253"/>
                      <a:pt x="60" y="240"/>
                      <a:pt x="42" y="221"/>
                    </a:cubicBezTo>
                    <a:close/>
                    <a:moveTo>
                      <a:pt x="154" y="258"/>
                    </a:moveTo>
                    <a:cubicBezTo>
                      <a:pt x="165" y="250"/>
                      <a:pt x="175" y="238"/>
                      <a:pt x="183" y="221"/>
                    </a:cubicBezTo>
                    <a:cubicBezTo>
                      <a:pt x="224" y="221"/>
                      <a:pt x="224" y="221"/>
                      <a:pt x="224" y="221"/>
                    </a:cubicBezTo>
                    <a:cubicBezTo>
                      <a:pt x="205" y="240"/>
                      <a:pt x="181" y="253"/>
                      <a:pt x="154" y="25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sp>
        <p:nvSpPr>
          <p:cNvPr id="35" name="Rectangle 34"/>
          <p:cNvSpPr/>
          <p:nvPr/>
        </p:nvSpPr>
        <p:spPr>
          <a:xfrm>
            <a:off x="304408" y="3187280"/>
            <a:ext cx="1569560" cy="885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600" dirty="0"/>
              <a:t>2015</a:t>
            </a:r>
          </a:p>
          <a:p>
            <a:pPr algn="ctr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 </a:t>
            </a:r>
          </a:p>
        </p:txBody>
      </p:sp>
      <p:sp>
        <p:nvSpPr>
          <p:cNvPr id="36" name="Rectangle 35"/>
          <p:cNvSpPr/>
          <p:nvPr/>
        </p:nvSpPr>
        <p:spPr>
          <a:xfrm>
            <a:off x="1697844" y="1283797"/>
            <a:ext cx="1569560" cy="885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 </a:t>
            </a:r>
          </a:p>
          <a:p>
            <a:pPr algn="ctr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600" dirty="0"/>
              <a:t>2016</a:t>
            </a:r>
            <a:endParaRPr lang="en-US" sz="1100" dirty="0"/>
          </a:p>
        </p:txBody>
      </p:sp>
      <p:sp>
        <p:nvSpPr>
          <p:cNvPr id="37" name="Rectangle 36"/>
          <p:cNvSpPr/>
          <p:nvPr/>
        </p:nvSpPr>
        <p:spPr>
          <a:xfrm>
            <a:off x="3070314" y="3187280"/>
            <a:ext cx="1569560" cy="885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600" dirty="0"/>
              <a:t>2017</a:t>
            </a:r>
          </a:p>
          <a:p>
            <a:pPr algn="ctr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 </a:t>
            </a:r>
          </a:p>
        </p:txBody>
      </p:sp>
      <p:sp>
        <p:nvSpPr>
          <p:cNvPr id="38" name="Rectangle 37"/>
          <p:cNvSpPr/>
          <p:nvPr/>
        </p:nvSpPr>
        <p:spPr>
          <a:xfrm>
            <a:off x="4477330" y="1283797"/>
            <a:ext cx="1569560" cy="885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 </a:t>
            </a:r>
          </a:p>
          <a:p>
            <a:pPr algn="ctr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600" dirty="0"/>
              <a:t>2018</a:t>
            </a:r>
            <a:endParaRPr lang="en-US" sz="1100" dirty="0"/>
          </a:p>
        </p:txBody>
      </p:sp>
      <p:sp>
        <p:nvSpPr>
          <p:cNvPr id="39" name="Rectangle 38"/>
          <p:cNvSpPr/>
          <p:nvPr/>
        </p:nvSpPr>
        <p:spPr>
          <a:xfrm>
            <a:off x="5866405" y="3187280"/>
            <a:ext cx="1569560" cy="885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600" dirty="0"/>
              <a:t>2019</a:t>
            </a:r>
          </a:p>
          <a:p>
            <a:pPr algn="ctr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 </a:t>
            </a:r>
          </a:p>
        </p:txBody>
      </p:sp>
      <p:sp>
        <p:nvSpPr>
          <p:cNvPr id="40" name="Rectangle 39"/>
          <p:cNvSpPr/>
          <p:nvPr/>
        </p:nvSpPr>
        <p:spPr>
          <a:xfrm>
            <a:off x="7273420" y="1283797"/>
            <a:ext cx="1569560" cy="885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 </a:t>
            </a:r>
          </a:p>
          <a:p>
            <a:pPr algn="ctr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600" dirty="0"/>
              <a:t>2020</a:t>
            </a:r>
            <a:endParaRPr lang="en-US" sz="1100" dirty="0"/>
          </a:p>
        </p:txBody>
      </p:sp>
      <p:sp>
        <p:nvSpPr>
          <p:cNvPr id="41" name="Title 40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81823" cy="545464"/>
          </a:xfrm>
        </p:spPr>
        <p:txBody>
          <a:bodyPr/>
          <a:lstStyle/>
          <a:p>
            <a:r>
              <a:rPr lang="en-US" dirty="0"/>
              <a:t>Timeline or history</a:t>
            </a:r>
          </a:p>
        </p:txBody>
      </p:sp>
      <p:sp>
        <p:nvSpPr>
          <p:cNvPr id="43" name="Footer Placeholder 99">
            <a:extLst>
              <a:ext uri="{FF2B5EF4-FFF2-40B4-BE49-F238E27FC236}">
                <a16:creationId xmlns:a16="http://schemas.microsoft.com/office/drawing/2014/main" id="{4F106286-6C07-491F-A8BE-12581868372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4" name="Slide Number Placeholder 100">
            <a:extLst>
              <a:ext uri="{FF2B5EF4-FFF2-40B4-BE49-F238E27FC236}">
                <a16:creationId xmlns:a16="http://schemas.microsoft.com/office/drawing/2014/main" id="{4DF60863-37F1-4ABB-B4D6-AE6ECE9ECF8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47" name="Text Placeholder 41">
            <a:extLst>
              <a:ext uri="{FF2B5EF4-FFF2-40B4-BE49-F238E27FC236}">
                <a16:creationId xmlns:a16="http://schemas.microsoft.com/office/drawing/2014/main" id="{5B05E494-8262-4A01-A765-4DD407AE70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573020036"/>
      </p:ext>
    </p:extLst>
  </p:cSld>
  <p:clrMapOvr>
    <a:masterClrMapping/>
  </p:clrMapOvr>
  <p:transition spd="slow">
    <p:push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6795941" y="1733550"/>
            <a:ext cx="1595578" cy="304800"/>
            <a:chOff x="6862622" y="1733550"/>
            <a:chExt cx="1595578" cy="304800"/>
          </a:xfrm>
        </p:grpSpPr>
        <p:sp>
          <p:nvSpPr>
            <p:cNvPr id="14" name="Chevron 13"/>
            <p:cNvSpPr/>
            <p:nvPr/>
          </p:nvSpPr>
          <p:spPr>
            <a:xfrm>
              <a:off x="6862622" y="1733550"/>
              <a:ext cx="1595578" cy="304800"/>
            </a:xfrm>
            <a:prstGeom prst="chevron">
              <a:avLst>
                <a:gd name="adj" fmla="val 32323"/>
              </a:avLst>
            </a:prstGeom>
            <a:solidFill>
              <a:schemeClr val="accent5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/>
                </a:solidFill>
              </a:endParaRPr>
            </a:p>
          </p:txBody>
        </p:sp>
        <p:sp>
          <p:nvSpPr>
            <p:cNvPr id="46" name="Oval 45"/>
            <p:cNvSpPr/>
            <p:nvPr/>
          </p:nvSpPr>
          <p:spPr>
            <a:xfrm>
              <a:off x="7617114" y="1833416"/>
              <a:ext cx="86594" cy="86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275550" y="1733550"/>
            <a:ext cx="1595578" cy="304800"/>
            <a:chOff x="5318416" y="1733550"/>
            <a:chExt cx="1595578" cy="304800"/>
          </a:xfrm>
        </p:grpSpPr>
        <p:sp>
          <p:nvSpPr>
            <p:cNvPr id="13" name="Chevron 12"/>
            <p:cNvSpPr/>
            <p:nvPr/>
          </p:nvSpPr>
          <p:spPr>
            <a:xfrm>
              <a:off x="5318416" y="1733550"/>
              <a:ext cx="1595578" cy="304800"/>
            </a:xfrm>
            <a:prstGeom prst="chevron">
              <a:avLst>
                <a:gd name="adj" fmla="val 32323"/>
              </a:avLst>
            </a:prstGeom>
            <a:solidFill>
              <a:schemeClr val="accent4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/>
                </a:solidFill>
              </a:endParaRPr>
            </a:p>
          </p:txBody>
        </p:sp>
        <p:sp>
          <p:nvSpPr>
            <p:cNvPr id="45" name="Oval 44"/>
            <p:cNvSpPr/>
            <p:nvPr/>
          </p:nvSpPr>
          <p:spPr>
            <a:xfrm>
              <a:off x="6072908" y="1833416"/>
              <a:ext cx="86594" cy="86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755160" y="1733550"/>
            <a:ext cx="1595578" cy="304800"/>
            <a:chOff x="3774211" y="1733550"/>
            <a:chExt cx="1595578" cy="304800"/>
          </a:xfrm>
        </p:grpSpPr>
        <p:sp>
          <p:nvSpPr>
            <p:cNvPr id="12" name="Chevron 11"/>
            <p:cNvSpPr/>
            <p:nvPr/>
          </p:nvSpPr>
          <p:spPr>
            <a:xfrm>
              <a:off x="3774211" y="1733550"/>
              <a:ext cx="1595578" cy="304800"/>
            </a:xfrm>
            <a:prstGeom prst="chevron">
              <a:avLst>
                <a:gd name="adj" fmla="val 32323"/>
              </a:avLst>
            </a:prstGeom>
            <a:solidFill>
              <a:schemeClr val="accent3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/>
                </a:solidFill>
              </a:endParaRPr>
            </a:p>
          </p:txBody>
        </p:sp>
        <p:sp>
          <p:nvSpPr>
            <p:cNvPr id="44" name="Oval 43"/>
            <p:cNvSpPr/>
            <p:nvPr/>
          </p:nvSpPr>
          <p:spPr>
            <a:xfrm>
              <a:off x="4528703" y="1833416"/>
              <a:ext cx="86594" cy="86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234769" y="1733550"/>
            <a:ext cx="1595578" cy="304800"/>
            <a:chOff x="2230005" y="1733550"/>
            <a:chExt cx="1595578" cy="304800"/>
          </a:xfrm>
        </p:grpSpPr>
        <p:sp>
          <p:nvSpPr>
            <p:cNvPr id="11" name="Chevron 10"/>
            <p:cNvSpPr/>
            <p:nvPr/>
          </p:nvSpPr>
          <p:spPr>
            <a:xfrm>
              <a:off x="2230005" y="1733550"/>
              <a:ext cx="1595578" cy="304800"/>
            </a:xfrm>
            <a:prstGeom prst="chevron">
              <a:avLst>
                <a:gd name="adj" fmla="val 32323"/>
              </a:avLst>
            </a:prstGeom>
            <a:solidFill>
              <a:schemeClr val="accent2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/>
                </a:solidFill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2984497" y="1833416"/>
              <a:ext cx="86594" cy="86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Xx </a:t>
            </a:r>
            <a:r>
              <a:rPr lang="en-US" dirty="0" err="1"/>
              <a:t>xxxxxxxxxxxxxxxx</a:t>
            </a:r>
            <a:r>
              <a:rPr lang="en-US" dirty="0"/>
              <a:t> </a:t>
            </a:r>
            <a:r>
              <a:rPr lang="en-US" dirty="0" err="1"/>
              <a:t>xxxx</a:t>
            </a:r>
            <a:r>
              <a:rPr lang="en-US" dirty="0"/>
              <a:t> x 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30674" cy="545464"/>
          </a:xfrm>
        </p:spPr>
        <p:txBody>
          <a:bodyPr/>
          <a:lstStyle/>
          <a:p>
            <a:r>
              <a:rPr lang="en-US" dirty="0"/>
              <a:t>Timeline or history</a:t>
            </a:r>
          </a:p>
        </p:txBody>
      </p:sp>
      <p:sp>
        <p:nvSpPr>
          <p:cNvPr id="16" name="Oval 15"/>
          <p:cNvSpPr/>
          <p:nvPr/>
        </p:nvSpPr>
        <p:spPr>
          <a:xfrm>
            <a:off x="1246622" y="2419350"/>
            <a:ext cx="531090" cy="53109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Oval 16"/>
          <p:cNvSpPr/>
          <p:nvPr/>
        </p:nvSpPr>
        <p:spPr>
          <a:xfrm>
            <a:off x="2767012" y="2419350"/>
            <a:ext cx="531090" cy="53109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4287403" y="2419350"/>
            <a:ext cx="531090" cy="53109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5807793" y="2419350"/>
            <a:ext cx="531090" cy="53109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7328184" y="2419350"/>
            <a:ext cx="531090" cy="53109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192208" y="1352550"/>
            <a:ext cx="6399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201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712598" y="1352550"/>
            <a:ext cx="6399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2014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232989" y="1352550"/>
            <a:ext cx="6399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2015</a:t>
            </a:r>
          </a:p>
        </p:txBody>
      </p:sp>
      <p:sp>
        <p:nvSpPr>
          <p:cNvPr id="24" name="Rectangle 23"/>
          <p:cNvSpPr/>
          <p:nvPr/>
        </p:nvSpPr>
        <p:spPr>
          <a:xfrm>
            <a:off x="5753379" y="1352550"/>
            <a:ext cx="6399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2016</a:t>
            </a:r>
          </a:p>
        </p:txBody>
      </p:sp>
      <p:sp>
        <p:nvSpPr>
          <p:cNvPr id="25" name="Rectangle 24"/>
          <p:cNvSpPr/>
          <p:nvPr/>
        </p:nvSpPr>
        <p:spPr>
          <a:xfrm>
            <a:off x="7273770" y="1352550"/>
            <a:ext cx="6399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2017</a:t>
            </a:r>
          </a:p>
        </p:txBody>
      </p:sp>
      <p:cxnSp>
        <p:nvCxnSpPr>
          <p:cNvPr id="27" name="Straight Connector 26"/>
          <p:cNvCxnSpPr/>
          <p:nvPr/>
        </p:nvCxnSpPr>
        <p:spPr>
          <a:xfrm flipH="1" flipV="1">
            <a:off x="1512167" y="2038350"/>
            <a:ext cx="0" cy="38100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flipH="1" flipV="1">
            <a:off x="3032557" y="2038350"/>
            <a:ext cx="0" cy="381000"/>
          </a:xfrm>
          <a:prstGeom prst="line">
            <a:avLst/>
          </a:prstGeom>
          <a:ln w="1270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 flipV="1">
            <a:off x="4552948" y="2038350"/>
            <a:ext cx="0" cy="381000"/>
          </a:xfrm>
          <a:prstGeom prst="line">
            <a:avLst/>
          </a:prstGeom>
          <a:ln w="127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 flipV="1">
            <a:off x="6073338" y="2038350"/>
            <a:ext cx="0" cy="381000"/>
          </a:xfrm>
          <a:prstGeom prst="line">
            <a:avLst/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H="1" flipV="1">
            <a:off x="7593729" y="2038350"/>
            <a:ext cx="0" cy="38100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767487" y="3095920"/>
            <a:ext cx="1489360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Xxx </a:t>
            </a:r>
            <a:r>
              <a:rPr lang="en-US" sz="1600" dirty="0" err="1"/>
              <a:t>xxx</a:t>
            </a:r>
            <a:r>
              <a:rPr lang="en-US" sz="1600" dirty="0"/>
              <a:t> x</a:t>
            </a:r>
          </a:p>
          <a:p>
            <a:pPr algn="ctr"/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 </a:t>
            </a:r>
            <a:r>
              <a:rPr lang="en-US" sz="1100" dirty="0" err="1"/>
              <a:t>xxxxxxxxxxxxxxx</a:t>
            </a:r>
            <a:endParaRPr lang="en-US" sz="1100" dirty="0"/>
          </a:p>
        </p:txBody>
      </p:sp>
      <p:sp>
        <p:nvSpPr>
          <p:cNvPr id="38" name="Rectangle 37"/>
          <p:cNvSpPr/>
          <p:nvPr/>
        </p:nvSpPr>
        <p:spPr>
          <a:xfrm>
            <a:off x="2287878" y="3095920"/>
            <a:ext cx="1489360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Xxx </a:t>
            </a:r>
            <a:r>
              <a:rPr lang="en-US" sz="1600" dirty="0" err="1"/>
              <a:t>xxx</a:t>
            </a:r>
            <a:r>
              <a:rPr lang="en-US" sz="1600" dirty="0"/>
              <a:t> x</a:t>
            </a:r>
          </a:p>
          <a:p>
            <a:pPr algn="ctr"/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 </a:t>
            </a:r>
            <a:r>
              <a:rPr lang="en-US" sz="1100" dirty="0" err="1"/>
              <a:t>xxxxxxxxxxxxxxx</a:t>
            </a:r>
            <a:endParaRPr lang="en-US" sz="1100" dirty="0"/>
          </a:p>
        </p:txBody>
      </p:sp>
      <p:sp>
        <p:nvSpPr>
          <p:cNvPr id="39" name="Rectangle 38"/>
          <p:cNvSpPr/>
          <p:nvPr/>
        </p:nvSpPr>
        <p:spPr>
          <a:xfrm>
            <a:off x="3808269" y="3095920"/>
            <a:ext cx="1489360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Xxx </a:t>
            </a:r>
            <a:r>
              <a:rPr lang="en-US" sz="1600" dirty="0" err="1"/>
              <a:t>xxx</a:t>
            </a:r>
            <a:r>
              <a:rPr lang="en-US" sz="1600" dirty="0"/>
              <a:t> x</a:t>
            </a:r>
          </a:p>
          <a:p>
            <a:pPr algn="ctr"/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 </a:t>
            </a:r>
            <a:r>
              <a:rPr lang="en-US" sz="1100" dirty="0" err="1"/>
              <a:t>xxxxxxxxxxxxxxx</a:t>
            </a:r>
            <a:endParaRPr lang="en-US" sz="1100" dirty="0"/>
          </a:p>
        </p:txBody>
      </p:sp>
      <p:sp>
        <p:nvSpPr>
          <p:cNvPr id="40" name="Rectangle 39"/>
          <p:cNvSpPr/>
          <p:nvPr/>
        </p:nvSpPr>
        <p:spPr>
          <a:xfrm>
            <a:off x="5328659" y="3095920"/>
            <a:ext cx="1489360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Xxx </a:t>
            </a:r>
            <a:r>
              <a:rPr lang="en-US" sz="1600" dirty="0" err="1"/>
              <a:t>xxx</a:t>
            </a:r>
            <a:r>
              <a:rPr lang="en-US" sz="1600" dirty="0"/>
              <a:t> x</a:t>
            </a:r>
          </a:p>
          <a:p>
            <a:pPr algn="ctr"/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 </a:t>
            </a:r>
            <a:r>
              <a:rPr lang="en-US" sz="1100" dirty="0" err="1"/>
              <a:t>xxxxxxxxxxxxxxx</a:t>
            </a:r>
            <a:endParaRPr lang="en-US" sz="1100" dirty="0"/>
          </a:p>
        </p:txBody>
      </p:sp>
      <p:sp>
        <p:nvSpPr>
          <p:cNvPr id="41" name="Rectangle 40"/>
          <p:cNvSpPr/>
          <p:nvPr/>
        </p:nvSpPr>
        <p:spPr>
          <a:xfrm>
            <a:off x="6849050" y="3095920"/>
            <a:ext cx="1489360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Xxx </a:t>
            </a:r>
            <a:r>
              <a:rPr lang="en-US" sz="1600" dirty="0" err="1"/>
              <a:t>xxx</a:t>
            </a:r>
            <a:r>
              <a:rPr lang="en-US" sz="1600" dirty="0"/>
              <a:t> x</a:t>
            </a:r>
          </a:p>
          <a:p>
            <a:pPr algn="ctr"/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 </a:t>
            </a:r>
            <a:r>
              <a:rPr lang="en-US" sz="1100" dirty="0" err="1"/>
              <a:t>xxxxxxxxxxxxxxx</a:t>
            </a:r>
            <a:endParaRPr lang="en-US" sz="1100" dirty="0"/>
          </a:p>
        </p:txBody>
      </p:sp>
      <p:grpSp>
        <p:nvGrpSpPr>
          <p:cNvPr id="4" name="Group 3"/>
          <p:cNvGrpSpPr/>
          <p:nvPr/>
        </p:nvGrpSpPr>
        <p:grpSpPr>
          <a:xfrm>
            <a:off x="714378" y="1733550"/>
            <a:ext cx="1595578" cy="304800"/>
            <a:chOff x="685800" y="1733550"/>
            <a:chExt cx="1595578" cy="304800"/>
          </a:xfrm>
        </p:grpSpPr>
        <p:sp>
          <p:nvSpPr>
            <p:cNvPr id="5" name="Chevron 4"/>
            <p:cNvSpPr/>
            <p:nvPr/>
          </p:nvSpPr>
          <p:spPr>
            <a:xfrm>
              <a:off x="685800" y="1733550"/>
              <a:ext cx="1595578" cy="304800"/>
            </a:xfrm>
            <a:prstGeom prst="chevron">
              <a:avLst>
                <a:gd name="adj" fmla="val 32323"/>
              </a:avLst>
            </a:prstGeom>
            <a:solidFill>
              <a:schemeClr val="accent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/>
                </a:solidFill>
              </a:endParaRPr>
            </a:p>
          </p:txBody>
        </p:sp>
        <p:sp>
          <p:nvSpPr>
            <p:cNvPr id="42" name="Oval 41"/>
            <p:cNvSpPr/>
            <p:nvPr/>
          </p:nvSpPr>
          <p:spPr>
            <a:xfrm>
              <a:off x="1440292" y="1833416"/>
              <a:ext cx="86594" cy="86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pic>
        <p:nvPicPr>
          <p:cNvPr id="49" name="Picture 4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7075" y="2514899"/>
            <a:ext cx="250184" cy="339994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6378" y="2518716"/>
            <a:ext cx="332360" cy="33236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842" y="2572289"/>
            <a:ext cx="352214" cy="225214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3496" y="2503371"/>
            <a:ext cx="359686" cy="363048"/>
          </a:xfrm>
          <a:prstGeom prst="rect">
            <a:avLst/>
          </a:prstGeom>
        </p:spPr>
      </p:pic>
      <p:grpSp>
        <p:nvGrpSpPr>
          <p:cNvPr id="55" name="Group 17"/>
          <p:cNvGrpSpPr>
            <a:grpSpLocks noChangeAspect="1"/>
          </p:cNvGrpSpPr>
          <p:nvPr/>
        </p:nvGrpSpPr>
        <p:grpSpPr bwMode="auto">
          <a:xfrm>
            <a:off x="7446842" y="2534800"/>
            <a:ext cx="293777" cy="300193"/>
            <a:chOff x="3263" y="1117"/>
            <a:chExt cx="229" cy="234"/>
          </a:xfrm>
        </p:grpSpPr>
        <p:sp>
          <p:nvSpPr>
            <p:cNvPr id="56" name="Freeform 18"/>
            <p:cNvSpPr>
              <a:spLocks/>
            </p:cNvSpPr>
            <p:nvPr/>
          </p:nvSpPr>
          <p:spPr bwMode="auto">
            <a:xfrm>
              <a:off x="3263" y="1202"/>
              <a:ext cx="133" cy="46"/>
            </a:xfrm>
            <a:custGeom>
              <a:avLst/>
              <a:gdLst>
                <a:gd name="T0" fmla="*/ 1088 w 1088"/>
                <a:gd name="T1" fmla="*/ 184 h 368"/>
                <a:gd name="T2" fmla="*/ 1088 w 1088"/>
                <a:gd name="T3" fmla="*/ 184 h 368"/>
                <a:gd name="T4" fmla="*/ 544 w 1088"/>
                <a:gd name="T5" fmla="*/ 368 h 368"/>
                <a:gd name="T6" fmla="*/ 0 w 1088"/>
                <a:gd name="T7" fmla="*/ 184 h 368"/>
                <a:gd name="T8" fmla="*/ 544 w 1088"/>
                <a:gd name="T9" fmla="*/ 0 h 368"/>
                <a:gd name="T10" fmla="*/ 1088 w 1088"/>
                <a:gd name="T11" fmla="*/ 184 h 368"/>
                <a:gd name="T12" fmla="*/ 1088 w 1088"/>
                <a:gd name="T13" fmla="*/ 18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8" h="368">
                  <a:moveTo>
                    <a:pt x="1088" y="184"/>
                  </a:moveTo>
                  <a:lnTo>
                    <a:pt x="1088" y="184"/>
                  </a:lnTo>
                  <a:cubicBezTo>
                    <a:pt x="1088" y="286"/>
                    <a:pt x="844" y="368"/>
                    <a:pt x="544" y="368"/>
                  </a:cubicBezTo>
                  <a:cubicBezTo>
                    <a:pt x="243" y="368"/>
                    <a:pt x="0" y="286"/>
                    <a:pt x="0" y="184"/>
                  </a:cubicBezTo>
                  <a:cubicBezTo>
                    <a:pt x="0" y="83"/>
                    <a:pt x="243" y="0"/>
                    <a:pt x="544" y="0"/>
                  </a:cubicBezTo>
                  <a:cubicBezTo>
                    <a:pt x="844" y="0"/>
                    <a:pt x="1088" y="83"/>
                    <a:pt x="1088" y="184"/>
                  </a:cubicBezTo>
                  <a:lnTo>
                    <a:pt x="1088" y="184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19"/>
            <p:cNvSpPr>
              <a:spLocks/>
            </p:cNvSpPr>
            <p:nvPr/>
          </p:nvSpPr>
          <p:spPr bwMode="auto">
            <a:xfrm>
              <a:off x="3263" y="1225"/>
              <a:ext cx="133" cy="126"/>
            </a:xfrm>
            <a:custGeom>
              <a:avLst/>
              <a:gdLst>
                <a:gd name="T0" fmla="*/ 1088 w 1088"/>
                <a:gd name="T1" fmla="*/ 0 h 1020"/>
                <a:gd name="T2" fmla="*/ 1088 w 1088"/>
                <a:gd name="T3" fmla="*/ 0 h 1020"/>
                <a:gd name="T4" fmla="*/ 1088 w 1088"/>
                <a:gd name="T5" fmla="*/ 836 h 1020"/>
                <a:gd name="T6" fmla="*/ 544 w 1088"/>
                <a:gd name="T7" fmla="*/ 1020 h 1020"/>
                <a:gd name="T8" fmla="*/ 0 w 1088"/>
                <a:gd name="T9" fmla="*/ 836 h 1020"/>
                <a:gd name="T10" fmla="*/ 0 w 1088"/>
                <a:gd name="T11" fmla="*/ 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88" h="1020">
                  <a:moveTo>
                    <a:pt x="1088" y="0"/>
                  </a:moveTo>
                  <a:lnTo>
                    <a:pt x="1088" y="0"/>
                  </a:lnTo>
                  <a:lnTo>
                    <a:pt x="1088" y="836"/>
                  </a:lnTo>
                  <a:cubicBezTo>
                    <a:pt x="1088" y="938"/>
                    <a:pt x="844" y="1020"/>
                    <a:pt x="544" y="1020"/>
                  </a:cubicBezTo>
                  <a:cubicBezTo>
                    <a:pt x="243" y="1020"/>
                    <a:pt x="0" y="938"/>
                    <a:pt x="0" y="836"/>
                  </a:cubicBez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Freeform 20"/>
            <p:cNvSpPr>
              <a:spLocks/>
            </p:cNvSpPr>
            <p:nvPr/>
          </p:nvSpPr>
          <p:spPr bwMode="auto">
            <a:xfrm>
              <a:off x="3263" y="1295"/>
              <a:ext cx="133" cy="23"/>
            </a:xfrm>
            <a:custGeom>
              <a:avLst/>
              <a:gdLst>
                <a:gd name="T0" fmla="*/ 1088 w 1088"/>
                <a:gd name="T1" fmla="*/ 0 h 184"/>
                <a:gd name="T2" fmla="*/ 1088 w 1088"/>
                <a:gd name="T3" fmla="*/ 0 h 184"/>
                <a:gd name="T4" fmla="*/ 544 w 1088"/>
                <a:gd name="T5" fmla="*/ 184 h 184"/>
                <a:gd name="T6" fmla="*/ 0 w 1088"/>
                <a:gd name="T7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8" h="184">
                  <a:moveTo>
                    <a:pt x="1088" y="0"/>
                  </a:moveTo>
                  <a:lnTo>
                    <a:pt x="1088" y="0"/>
                  </a:lnTo>
                  <a:cubicBezTo>
                    <a:pt x="1088" y="102"/>
                    <a:pt x="844" y="184"/>
                    <a:pt x="544" y="184"/>
                  </a:cubicBezTo>
                  <a:cubicBezTo>
                    <a:pt x="243" y="184"/>
                    <a:pt x="0" y="102"/>
                    <a:pt x="0" y="0"/>
                  </a:cubicBez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21"/>
            <p:cNvSpPr>
              <a:spLocks/>
            </p:cNvSpPr>
            <p:nvPr/>
          </p:nvSpPr>
          <p:spPr bwMode="auto">
            <a:xfrm>
              <a:off x="3263" y="1261"/>
              <a:ext cx="133" cy="23"/>
            </a:xfrm>
            <a:custGeom>
              <a:avLst/>
              <a:gdLst>
                <a:gd name="T0" fmla="*/ 1088 w 1088"/>
                <a:gd name="T1" fmla="*/ 0 h 184"/>
                <a:gd name="T2" fmla="*/ 1088 w 1088"/>
                <a:gd name="T3" fmla="*/ 0 h 184"/>
                <a:gd name="T4" fmla="*/ 544 w 1088"/>
                <a:gd name="T5" fmla="*/ 184 h 184"/>
                <a:gd name="T6" fmla="*/ 0 w 1088"/>
                <a:gd name="T7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8" h="184">
                  <a:moveTo>
                    <a:pt x="1088" y="0"/>
                  </a:moveTo>
                  <a:lnTo>
                    <a:pt x="1088" y="0"/>
                  </a:lnTo>
                  <a:cubicBezTo>
                    <a:pt x="1088" y="102"/>
                    <a:pt x="844" y="184"/>
                    <a:pt x="544" y="184"/>
                  </a:cubicBezTo>
                  <a:cubicBezTo>
                    <a:pt x="243" y="184"/>
                    <a:pt x="0" y="102"/>
                    <a:pt x="0" y="0"/>
                  </a:cubicBez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22"/>
            <p:cNvSpPr>
              <a:spLocks/>
            </p:cNvSpPr>
            <p:nvPr/>
          </p:nvSpPr>
          <p:spPr bwMode="auto">
            <a:xfrm>
              <a:off x="3359" y="1117"/>
              <a:ext cx="133" cy="46"/>
            </a:xfrm>
            <a:custGeom>
              <a:avLst/>
              <a:gdLst>
                <a:gd name="T0" fmla="*/ 1088 w 1088"/>
                <a:gd name="T1" fmla="*/ 184 h 368"/>
                <a:gd name="T2" fmla="*/ 1088 w 1088"/>
                <a:gd name="T3" fmla="*/ 184 h 368"/>
                <a:gd name="T4" fmla="*/ 544 w 1088"/>
                <a:gd name="T5" fmla="*/ 368 h 368"/>
                <a:gd name="T6" fmla="*/ 0 w 1088"/>
                <a:gd name="T7" fmla="*/ 184 h 368"/>
                <a:gd name="T8" fmla="*/ 544 w 1088"/>
                <a:gd name="T9" fmla="*/ 0 h 368"/>
                <a:gd name="T10" fmla="*/ 1088 w 1088"/>
                <a:gd name="T11" fmla="*/ 184 h 368"/>
                <a:gd name="T12" fmla="*/ 1088 w 1088"/>
                <a:gd name="T13" fmla="*/ 18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8" h="368">
                  <a:moveTo>
                    <a:pt x="1088" y="184"/>
                  </a:moveTo>
                  <a:lnTo>
                    <a:pt x="1088" y="184"/>
                  </a:lnTo>
                  <a:cubicBezTo>
                    <a:pt x="1088" y="285"/>
                    <a:pt x="845" y="368"/>
                    <a:pt x="544" y="368"/>
                  </a:cubicBezTo>
                  <a:cubicBezTo>
                    <a:pt x="244" y="368"/>
                    <a:pt x="0" y="285"/>
                    <a:pt x="0" y="184"/>
                  </a:cubicBezTo>
                  <a:cubicBezTo>
                    <a:pt x="0" y="82"/>
                    <a:pt x="244" y="0"/>
                    <a:pt x="544" y="0"/>
                  </a:cubicBezTo>
                  <a:cubicBezTo>
                    <a:pt x="845" y="0"/>
                    <a:pt x="1088" y="82"/>
                    <a:pt x="1088" y="184"/>
                  </a:cubicBezTo>
                  <a:lnTo>
                    <a:pt x="1088" y="184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23"/>
            <p:cNvSpPr>
              <a:spLocks/>
            </p:cNvSpPr>
            <p:nvPr/>
          </p:nvSpPr>
          <p:spPr bwMode="auto">
            <a:xfrm>
              <a:off x="3359" y="1140"/>
              <a:ext cx="0" cy="64"/>
            </a:xfrm>
            <a:custGeom>
              <a:avLst/>
              <a:gdLst>
                <a:gd name="T0" fmla="*/ 519 h 519"/>
                <a:gd name="T1" fmla="*/ 519 h 519"/>
                <a:gd name="T2" fmla="*/ 0 h 5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519">
                  <a:moveTo>
                    <a:pt x="0" y="519"/>
                  </a:moveTo>
                  <a:lnTo>
                    <a:pt x="0" y="519"/>
                  </a:ln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24"/>
            <p:cNvSpPr>
              <a:spLocks/>
            </p:cNvSpPr>
            <p:nvPr/>
          </p:nvSpPr>
          <p:spPr bwMode="auto">
            <a:xfrm>
              <a:off x="3396" y="1140"/>
              <a:ext cx="96" cy="166"/>
            </a:xfrm>
            <a:custGeom>
              <a:avLst/>
              <a:gdLst>
                <a:gd name="T0" fmla="*/ 780 w 780"/>
                <a:gd name="T1" fmla="*/ 0 h 1340"/>
                <a:gd name="T2" fmla="*/ 780 w 780"/>
                <a:gd name="T3" fmla="*/ 0 h 1340"/>
                <a:gd name="T4" fmla="*/ 780 w 780"/>
                <a:gd name="T5" fmla="*/ 1156 h 1340"/>
                <a:gd name="T6" fmla="*/ 236 w 780"/>
                <a:gd name="T7" fmla="*/ 1340 h 1340"/>
                <a:gd name="T8" fmla="*/ 0 w 780"/>
                <a:gd name="T9" fmla="*/ 1322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0" h="1340">
                  <a:moveTo>
                    <a:pt x="780" y="0"/>
                  </a:moveTo>
                  <a:lnTo>
                    <a:pt x="780" y="0"/>
                  </a:lnTo>
                  <a:lnTo>
                    <a:pt x="780" y="1156"/>
                  </a:lnTo>
                  <a:cubicBezTo>
                    <a:pt x="780" y="1258"/>
                    <a:pt x="537" y="1340"/>
                    <a:pt x="236" y="1340"/>
                  </a:cubicBezTo>
                  <a:cubicBezTo>
                    <a:pt x="152" y="1340"/>
                    <a:pt x="71" y="1334"/>
                    <a:pt x="0" y="1322"/>
                  </a:cubicBez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25"/>
            <p:cNvSpPr>
              <a:spLocks/>
            </p:cNvSpPr>
            <p:nvPr/>
          </p:nvSpPr>
          <p:spPr bwMode="auto">
            <a:xfrm>
              <a:off x="3396" y="1250"/>
              <a:ext cx="96" cy="22"/>
            </a:xfrm>
            <a:custGeom>
              <a:avLst/>
              <a:gdLst>
                <a:gd name="T0" fmla="*/ 780 w 780"/>
                <a:gd name="T1" fmla="*/ 0 h 184"/>
                <a:gd name="T2" fmla="*/ 780 w 780"/>
                <a:gd name="T3" fmla="*/ 0 h 184"/>
                <a:gd name="T4" fmla="*/ 236 w 780"/>
                <a:gd name="T5" fmla="*/ 184 h 184"/>
                <a:gd name="T6" fmla="*/ 0 w 780"/>
                <a:gd name="T7" fmla="*/ 1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0" h="184">
                  <a:moveTo>
                    <a:pt x="780" y="0"/>
                  </a:moveTo>
                  <a:lnTo>
                    <a:pt x="780" y="0"/>
                  </a:lnTo>
                  <a:cubicBezTo>
                    <a:pt x="780" y="102"/>
                    <a:pt x="537" y="184"/>
                    <a:pt x="236" y="184"/>
                  </a:cubicBezTo>
                  <a:cubicBezTo>
                    <a:pt x="152" y="184"/>
                    <a:pt x="71" y="178"/>
                    <a:pt x="0" y="166"/>
                  </a:cubicBez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Freeform 26"/>
            <p:cNvSpPr>
              <a:spLocks/>
            </p:cNvSpPr>
            <p:nvPr/>
          </p:nvSpPr>
          <p:spPr bwMode="auto">
            <a:xfrm>
              <a:off x="3396" y="1214"/>
              <a:ext cx="96" cy="23"/>
            </a:xfrm>
            <a:custGeom>
              <a:avLst/>
              <a:gdLst>
                <a:gd name="T0" fmla="*/ 780 w 780"/>
                <a:gd name="T1" fmla="*/ 0 h 184"/>
                <a:gd name="T2" fmla="*/ 780 w 780"/>
                <a:gd name="T3" fmla="*/ 0 h 184"/>
                <a:gd name="T4" fmla="*/ 236 w 780"/>
                <a:gd name="T5" fmla="*/ 184 h 184"/>
                <a:gd name="T6" fmla="*/ 0 w 780"/>
                <a:gd name="T7" fmla="*/ 1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0" h="184">
                  <a:moveTo>
                    <a:pt x="780" y="0"/>
                  </a:moveTo>
                  <a:lnTo>
                    <a:pt x="780" y="0"/>
                  </a:lnTo>
                  <a:cubicBezTo>
                    <a:pt x="780" y="102"/>
                    <a:pt x="537" y="184"/>
                    <a:pt x="236" y="184"/>
                  </a:cubicBezTo>
                  <a:cubicBezTo>
                    <a:pt x="152" y="184"/>
                    <a:pt x="71" y="178"/>
                    <a:pt x="0" y="166"/>
                  </a:cubicBez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27"/>
            <p:cNvSpPr>
              <a:spLocks/>
            </p:cNvSpPr>
            <p:nvPr/>
          </p:nvSpPr>
          <p:spPr bwMode="auto">
            <a:xfrm>
              <a:off x="3359" y="1179"/>
              <a:ext cx="133" cy="23"/>
            </a:xfrm>
            <a:custGeom>
              <a:avLst/>
              <a:gdLst>
                <a:gd name="T0" fmla="*/ 1088 w 1088"/>
                <a:gd name="T1" fmla="*/ 0 h 184"/>
                <a:gd name="T2" fmla="*/ 1088 w 1088"/>
                <a:gd name="T3" fmla="*/ 0 h 184"/>
                <a:gd name="T4" fmla="*/ 544 w 1088"/>
                <a:gd name="T5" fmla="*/ 184 h 184"/>
                <a:gd name="T6" fmla="*/ 0 w 1088"/>
                <a:gd name="T7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8" h="184">
                  <a:moveTo>
                    <a:pt x="1088" y="0"/>
                  </a:moveTo>
                  <a:lnTo>
                    <a:pt x="1088" y="0"/>
                  </a:lnTo>
                  <a:cubicBezTo>
                    <a:pt x="1088" y="102"/>
                    <a:pt x="845" y="184"/>
                    <a:pt x="544" y="184"/>
                  </a:cubicBezTo>
                  <a:cubicBezTo>
                    <a:pt x="244" y="184"/>
                    <a:pt x="0" y="102"/>
                    <a:pt x="0" y="0"/>
                  </a:cubicBez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 useBgFill="1">
        <p:nvSpPr>
          <p:cNvPr id="67" name="Chevron 66"/>
          <p:cNvSpPr/>
          <p:nvPr/>
        </p:nvSpPr>
        <p:spPr bwMode="white">
          <a:xfrm>
            <a:off x="-777435" y="1691105"/>
            <a:ext cx="1595578" cy="389692"/>
          </a:xfrm>
          <a:prstGeom prst="chevron">
            <a:avLst>
              <a:gd name="adj" fmla="val 32323"/>
            </a:avLst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66" name="Footer Placeholder 99">
            <a:extLst>
              <a:ext uri="{FF2B5EF4-FFF2-40B4-BE49-F238E27FC236}">
                <a16:creationId xmlns:a16="http://schemas.microsoft.com/office/drawing/2014/main" id="{29613A3A-561E-4D88-8C77-3DDE73F42D7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8" name="Slide Number Placeholder 100">
            <a:extLst>
              <a:ext uri="{FF2B5EF4-FFF2-40B4-BE49-F238E27FC236}">
                <a16:creationId xmlns:a16="http://schemas.microsoft.com/office/drawing/2014/main" id="{1D9A51AC-E5C9-48CA-BE82-0172AF444CA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76280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55942" cy="545464"/>
          </a:xfrm>
        </p:spPr>
        <p:txBody>
          <a:bodyPr/>
          <a:lstStyle/>
          <a:p>
            <a:r>
              <a:rPr lang="en-US" dirty="0"/>
              <a:t>Business or marketing plan outline</a:t>
            </a:r>
          </a:p>
        </p:txBody>
      </p:sp>
      <p:sp>
        <p:nvSpPr>
          <p:cNvPr id="10" name="Oval 9"/>
          <p:cNvSpPr/>
          <p:nvPr/>
        </p:nvSpPr>
        <p:spPr>
          <a:xfrm>
            <a:off x="682335" y="1854778"/>
            <a:ext cx="564572" cy="564572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707803" y="1527620"/>
            <a:ext cx="1524000" cy="4538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7000"/>
              </a:lnSpc>
            </a:pPr>
            <a:r>
              <a:rPr lang="en-US" sz="1600" dirty="0" err="1"/>
              <a:t>Xxxxx</a:t>
            </a:r>
            <a:endParaRPr lang="en-US" sz="1600" dirty="0"/>
          </a:p>
          <a:p>
            <a:pPr>
              <a:lnSpc>
                <a:spcPct val="87000"/>
              </a:lnSpc>
            </a:pPr>
            <a:r>
              <a:rPr lang="en-US" sz="1100" dirty="0"/>
              <a:t>Xx xxx x xxx xx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214286" y="1447287"/>
            <a:ext cx="63991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01</a:t>
            </a:r>
          </a:p>
        </p:txBody>
      </p:sp>
      <p:sp>
        <p:nvSpPr>
          <p:cNvPr id="8" name="Oval 7"/>
          <p:cNvSpPr/>
          <p:nvPr/>
        </p:nvSpPr>
        <p:spPr>
          <a:xfrm>
            <a:off x="2301010" y="2565979"/>
            <a:ext cx="564572" cy="564572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324173" y="2321083"/>
            <a:ext cx="1524000" cy="4538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7000"/>
              </a:lnSpc>
            </a:pPr>
            <a:r>
              <a:rPr lang="en-US" sz="1600" dirty="0" err="1"/>
              <a:t>Xxxxxx</a:t>
            </a:r>
            <a:endParaRPr lang="en-US" sz="1600" dirty="0"/>
          </a:p>
          <a:p>
            <a:pPr>
              <a:lnSpc>
                <a:spcPct val="87000"/>
              </a:lnSpc>
            </a:pPr>
            <a:r>
              <a:rPr lang="en-US" sz="1100" dirty="0"/>
              <a:t>Xx xxx x xxx xx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802656" y="2242087"/>
            <a:ext cx="63991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02</a:t>
            </a:r>
          </a:p>
        </p:txBody>
      </p:sp>
      <p:sp>
        <p:nvSpPr>
          <p:cNvPr id="9" name="Oval 8"/>
          <p:cNvSpPr/>
          <p:nvPr/>
        </p:nvSpPr>
        <p:spPr>
          <a:xfrm>
            <a:off x="4337623" y="3277179"/>
            <a:ext cx="564572" cy="564572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400040" y="3029461"/>
            <a:ext cx="1524000" cy="4538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7000"/>
              </a:lnSpc>
            </a:pPr>
            <a:r>
              <a:rPr lang="en-US" sz="1600" dirty="0" err="1"/>
              <a:t>Xxxxxxxx</a:t>
            </a:r>
            <a:endParaRPr lang="en-US" sz="1600" dirty="0"/>
          </a:p>
          <a:p>
            <a:pPr>
              <a:lnSpc>
                <a:spcPct val="87000"/>
              </a:lnSpc>
            </a:pPr>
            <a:r>
              <a:rPr lang="en-US" sz="1100" dirty="0"/>
              <a:t>Xx xxx x xxx xx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890950" y="2951802"/>
            <a:ext cx="63991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03</a:t>
            </a:r>
          </a:p>
        </p:txBody>
      </p:sp>
      <p:sp>
        <p:nvSpPr>
          <p:cNvPr id="11" name="Oval 10"/>
          <p:cNvSpPr/>
          <p:nvPr/>
        </p:nvSpPr>
        <p:spPr>
          <a:xfrm>
            <a:off x="6172201" y="3988378"/>
            <a:ext cx="564572" cy="564572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272024" y="3737838"/>
            <a:ext cx="1524000" cy="4538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7000"/>
              </a:lnSpc>
            </a:pPr>
            <a:r>
              <a:rPr lang="en-US" sz="1600" dirty="0" err="1"/>
              <a:t>Xxxx</a:t>
            </a:r>
            <a:r>
              <a:rPr lang="en-US" sz="1600" dirty="0"/>
              <a:t> xx</a:t>
            </a:r>
          </a:p>
          <a:p>
            <a:pPr>
              <a:lnSpc>
                <a:spcPct val="87000"/>
              </a:lnSpc>
            </a:pPr>
            <a:r>
              <a:rPr lang="en-US" sz="1100" dirty="0"/>
              <a:t>Xx xxx x xxx xx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732863" y="3661515"/>
            <a:ext cx="63991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04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09600" y="3333750"/>
            <a:ext cx="25677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Xx </a:t>
            </a:r>
            <a:r>
              <a:rPr lang="en-US" sz="1600" b="1" dirty="0" err="1"/>
              <a:t>xxxxx</a:t>
            </a:r>
            <a:r>
              <a:rPr lang="en-US" sz="1600" b="1" dirty="0"/>
              <a:t> x </a:t>
            </a:r>
            <a:r>
              <a:rPr lang="en-US" sz="1600" b="1" dirty="0" err="1"/>
              <a:t>xxxx</a:t>
            </a:r>
            <a:r>
              <a:rPr lang="en-US" sz="1600" b="1" dirty="0"/>
              <a:t> xx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599017" y="3583913"/>
            <a:ext cx="34290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/>
              <a:t>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</a:t>
            </a:r>
            <a:r>
              <a:rPr lang="en-US" sz="1100" dirty="0" err="1"/>
              <a:t>xxxxxxxxxxxx</a:t>
            </a:r>
            <a:r>
              <a:rPr lang="en-US" sz="1100" dirty="0"/>
              <a:t> xxx xx </a:t>
            </a:r>
            <a:r>
              <a:rPr lang="en-US" sz="1100" dirty="0" err="1"/>
              <a:t>Xxxx</a:t>
            </a:r>
            <a:r>
              <a:rPr lang="en-US" sz="1100" dirty="0"/>
              <a:t> </a:t>
            </a:r>
            <a:r>
              <a:rPr lang="en-US" sz="1100" dirty="0" err="1"/>
              <a:t>xxxx</a:t>
            </a:r>
            <a:r>
              <a:rPr lang="en-US" sz="1100" dirty="0"/>
              <a:t> xx </a:t>
            </a:r>
            <a:r>
              <a:rPr lang="en-US" sz="1100" dirty="0" err="1"/>
              <a:t>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 </a:t>
            </a:r>
            <a:r>
              <a:rPr lang="en-US" sz="1100" dirty="0" err="1"/>
              <a:t>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xx </a:t>
            </a:r>
            <a:r>
              <a:rPr lang="en-US" sz="1100" dirty="0" err="1"/>
              <a:t>xxxxxxx</a:t>
            </a:r>
            <a:r>
              <a:rPr lang="en-US" sz="1100" dirty="0"/>
              <a:t> xxx xx </a:t>
            </a:r>
            <a:r>
              <a:rPr lang="en-US" sz="1100" dirty="0" err="1"/>
              <a:t>xx</a:t>
            </a:r>
            <a:r>
              <a:rPr lang="en-US" sz="1100" dirty="0"/>
              <a:t> </a:t>
            </a:r>
            <a:r>
              <a:rPr lang="en-US" sz="1100" dirty="0" err="1"/>
              <a:t>xxxx</a:t>
            </a:r>
            <a:r>
              <a:rPr lang="en-US" sz="1100" dirty="0"/>
              <a:t> x </a:t>
            </a:r>
            <a:r>
              <a:rPr lang="en-US" sz="1100" dirty="0" err="1"/>
              <a:t>xxxxxxx</a:t>
            </a:r>
            <a:r>
              <a:rPr lang="en-US" sz="1100" dirty="0"/>
              <a:t> xx </a:t>
            </a:r>
          </a:p>
        </p:txBody>
      </p:sp>
      <p:cxnSp>
        <p:nvCxnSpPr>
          <p:cNvPr id="48" name="Straight Connector 47"/>
          <p:cNvCxnSpPr>
            <a:stCxn id="10" idx="6"/>
          </p:cNvCxnSpPr>
          <p:nvPr/>
        </p:nvCxnSpPr>
        <p:spPr>
          <a:xfrm>
            <a:off x="1246906" y="2137064"/>
            <a:ext cx="2105894" cy="0"/>
          </a:xfrm>
          <a:prstGeom prst="line">
            <a:avLst/>
          </a:prstGeom>
          <a:ln w="19050" cmpd="sng">
            <a:headEnd type="none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stCxn id="8" idx="6"/>
          </p:cNvCxnSpPr>
          <p:nvPr/>
        </p:nvCxnSpPr>
        <p:spPr>
          <a:xfrm>
            <a:off x="2865582" y="2848264"/>
            <a:ext cx="4678219" cy="0"/>
          </a:xfrm>
          <a:prstGeom prst="line">
            <a:avLst/>
          </a:prstGeom>
          <a:ln w="19050" cmpd="sng">
            <a:solidFill>
              <a:schemeClr val="accent3"/>
            </a:solidFill>
            <a:headEnd type="none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Freeform 41"/>
          <p:cNvSpPr>
            <a:spLocks noChangeAspect="1" noEditPoints="1"/>
          </p:cNvSpPr>
          <p:nvPr/>
        </p:nvSpPr>
        <p:spPr bwMode="auto">
          <a:xfrm>
            <a:off x="2457529" y="2695861"/>
            <a:ext cx="251534" cy="304808"/>
          </a:xfrm>
          <a:custGeom>
            <a:avLst/>
            <a:gdLst>
              <a:gd name="T0" fmla="*/ 487 w 800"/>
              <a:gd name="T1" fmla="*/ 761 h 969"/>
              <a:gd name="T2" fmla="*/ 487 w 800"/>
              <a:gd name="T3" fmla="*/ 605 h 969"/>
              <a:gd name="T4" fmla="*/ 136 w 800"/>
              <a:gd name="T5" fmla="*/ 254 h 969"/>
              <a:gd name="T6" fmla="*/ 275 w 800"/>
              <a:gd name="T7" fmla="*/ 254 h 969"/>
              <a:gd name="T8" fmla="*/ 275 w 800"/>
              <a:gd name="T9" fmla="*/ 211 h 969"/>
              <a:gd name="T10" fmla="*/ 64 w 800"/>
              <a:gd name="T11" fmla="*/ 211 h 969"/>
              <a:gd name="T12" fmla="*/ 64 w 800"/>
              <a:gd name="T13" fmla="*/ 423 h 969"/>
              <a:gd name="T14" fmla="*/ 106 w 800"/>
              <a:gd name="T15" fmla="*/ 423 h 969"/>
              <a:gd name="T16" fmla="*/ 106 w 800"/>
              <a:gd name="T17" fmla="*/ 283 h 969"/>
              <a:gd name="T18" fmla="*/ 445 w 800"/>
              <a:gd name="T19" fmla="*/ 622 h 969"/>
              <a:gd name="T20" fmla="*/ 445 w 800"/>
              <a:gd name="T21" fmla="*/ 761 h 969"/>
              <a:gd name="T22" fmla="*/ 360 w 800"/>
              <a:gd name="T23" fmla="*/ 863 h 969"/>
              <a:gd name="T24" fmla="*/ 466 w 800"/>
              <a:gd name="T25" fmla="*/ 969 h 969"/>
              <a:gd name="T26" fmla="*/ 572 w 800"/>
              <a:gd name="T27" fmla="*/ 863 h 969"/>
              <a:gd name="T28" fmla="*/ 487 w 800"/>
              <a:gd name="T29" fmla="*/ 761 h 969"/>
              <a:gd name="T30" fmla="*/ 466 w 800"/>
              <a:gd name="T31" fmla="*/ 931 h 969"/>
              <a:gd name="T32" fmla="*/ 403 w 800"/>
              <a:gd name="T33" fmla="*/ 867 h 969"/>
              <a:gd name="T34" fmla="*/ 466 w 800"/>
              <a:gd name="T35" fmla="*/ 804 h 969"/>
              <a:gd name="T36" fmla="*/ 529 w 800"/>
              <a:gd name="T37" fmla="*/ 867 h 969"/>
              <a:gd name="T38" fmla="*/ 466 w 800"/>
              <a:gd name="T39" fmla="*/ 931 h 969"/>
              <a:gd name="T40" fmla="*/ 178 w 800"/>
              <a:gd name="T41" fmla="*/ 592 h 969"/>
              <a:gd name="T42" fmla="*/ 106 w 800"/>
              <a:gd name="T43" fmla="*/ 668 h 969"/>
              <a:gd name="T44" fmla="*/ 30 w 800"/>
              <a:gd name="T45" fmla="*/ 592 h 969"/>
              <a:gd name="T46" fmla="*/ 0 w 800"/>
              <a:gd name="T47" fmla="*/ 622 h 969"/>
              <a:gd name="T48" fmla="*/ 77 w 800"/>
              <a:gd name="T49" fmla="*/ 698 h 969"/>
              <a:gd name="T50" fmla="*/ 0 w 800"/>
              <a:gd name="T51" fmla="*/ 770 h 969"/>
              <a:gd name="T52" fmla="*/ 30 w 800"/>
              <a:gd name="T53" fmla="*/ 800 h 969"/>
              <a:gd name="T54" fmla="*/ 106 w 800"/>
              <a:gd name="T55" fmla="*/ 728 h 969"/>
              <a:gd name="T56" fmla="*/ 178 w 800"/>
              <a:gd name="T57" fmla="*/ 800 h 969"/>
              <a:gd name="T58" fmla="*/ 208 w 800"/>
              <a:gd name="T59" fmla="*/ 770 h 969"/>
              <a:gd name="T60" fmla="*/ 136 w 800"/>
              <a:gd name="T61" fmla="*/ 698 h 969"/>
              <a:gd name="T62" fmla="*/ 208 w 800"/>
              <a:gd name="T63" fmla="*/ 622 h 969"/>
              <a:gd name="T64" fmla="*/ 178 w 800"/>
              <a:gd name="T65" fmla="*/ 592 h 969"/>
              <a:gd name="T66" fmla="*/ 800 w 800"/>
              <a:gd name="T67" fmla="*/ 325 h 969"/>
              <a:gd name="T68" fmla="*/ 771 w 800"/>
              <a:gd name="T69" fmla="*/ 296 h 969"/>
              <a:gd name="T70" fmla="*/ 699 w 800"/>
              <a:gd name="T71" fmla="*/ 372 h 969"/>
              <a:gd name="T72" fmla="*/ 623 w 800"/>
              <a:gd name="T73" fmla="*/ 296 h 969"/>
              <a:gd name="T74" fmla="*/ 593 w 800"/>
              <a:gd name="T75" fmla="*/ 325 h 969"/>
              <a:gd name="T76" fmla="*/ 669 w 800"/>
              <a:gd name="T77" fmla="*/ 402 h 969"/>
              <a:gd name="T78" fmla="*/ 593 w 800"/>
              <a:gd name="T79" fmla="*/ 474 h 969"/>
              <a:gd name="T80" fmla="*/ 623 w 800"/>
              <a:gd name="T81" fmla="*/ 503 h 969"/>
              <a:gd name="T82" fmla="*/ 699 w 800"/>
              <a:gd name="T83" fmla="*/ 431 h 969"/>
              <a:gd name="T84" fmla="*/ 771 w 800"/>
              <a:gd name="T85" fmla="*/ 503 h 969"/>
              <a:gd name="T86" fmla="*/ 800 w 800"/>
              <a:gd name="T87" fmla="*/ 474 h 969"/>
              <a:gd name="T88" fmla="*/ 729 w 800"/>
              <a:gd name="T89" fmla="*/ 402 h 969"/>
              <a:gd name="T90" fmla="*/ 800 w 800"/>
              <a:gd name="T91" fmla="*/ 325 h 969"/>
              <a:gd name="T92" fmla="*/ 559 w 800"/>
              <a:gd name="T93" fmla="*/ 0 h 969"/>
              <a:gd name="T94" fmla="*/ 487 w 800"/>
              <a:gd name="T95" fmla="*/ 76 h 969"/>
              <a:gd name="T96" fmla="*/ 411 w 800"/>
              <a:gd name="T97" fmla="*/ 0 h 969"/>
              <a:gd name="T98" fmla="*/ 381 w 800"/>
              <a:gd name="T99" fmla="*/ 29 h 969"/>
              <a:gd name="T100" fmla="*/ 458 w 800"/>
              <a:gd name="T101" fmla="*/ 105 h 969"/>
              <a:gd name="T102" fmla="*/ 381 w 800"/>
              <a:gd name="T103" fmla="*/ 177 h 969"/>
              <a:gd name="T104" fmla="*/ 411 w 800"/>
              <a:gd name="T105" fmla="*/ 207 h 969"/>
              <a:gd name="T106" fmla="*/ 487 w 800"/>
              <a:gd name="T107" fmla="*/ 135 h 969"/>
              <a:gd name="T108" fmla="*/ 559 w 800"/>
              <a:gd name="T109" fmla="*/ 207 h 969"/>
              <a:gd name="T110" fmla="*/ 589 w 800"/>
              <a:gd name="T111" fmla="*/ 177 h 969"/>
              <a:gd name="T112" fmla="*/ 517 w 800"/>
              <a:gd name="T113" fmla="*/ 105 h 969"/>
              <a:gd name="T114" fmla="*/ 589 w 800"/>
              <a:gd name="T115" fmla="*/ 29 h 969"/>
              <a:gd name="T116" fmla="*/ 559 w 800"/>
              <a:gd name="T117" fmla="*/ 0 h 9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00" h="969">
                <a:moveTo>
                  <a:pt x="487" y="761"/>
                </a:moveTo>
                <a:cubicBezTo>
                  <a:pt x="487" y="605"/>
                  <a:pt x="487" y="605"/>
                  <a:pt x="487" y="605"/>
                </a:cubicBezTo>
                <a:cubicBezTo>
                  <a:pt x="136" y="254"/>
                  <a:pt x="136" y="254"/>
                  <a:pt x="136" y="254"/>
                </a:cubicBezTo>
                <a:cubicBezTo>
                  <a:pt x="275" y="254"/>
                  <a:pt x="275" y="254"/>
                  <a:pt x="275" y="254"/>
                </a:cubicBezTo>
                <a:cubicBezTo>
                  <a:pt x="275" y="211"/>
                  <a:pt x="275" y="211"/>
                  <a:pt x="275" y="211"/>
                </a:cubicBezTo>
                <a:cubicBezTo>
                  <a:pt x="64" y="211"/>
                  <a:pt x="64" y="211"/>
                  <a:pt x="64" y="211"/>
                </a:cubicBezTo>
                <a:cubicBezTo>
                  <a:pt x="64" y="423"/>
                  <a:pt x="64" y="423"/>
                  <a:pt x="64" y="423"/>
                </a:cubicBezTo>
                <a:cubicBezTo>
                  <a:pt x="106" y="423"/>
                  <a:pt x="106" y="423"/>
                  <a:pt x="106" y="423"/>
                </a:cubicBezTo>
                <a:cubicBezTo>
                  <a:pt x="106" y="283"/>
                  <a:pt x="106" y="283"/>
                  <a:pt x="106" y="283"/>
                </a:cubicBezTo>
                <a:cubicBezTo>
                  <a:pt x="445" y="622"/>
                  <a:pt x="445" y="622"/>
                  <a:pt x="445" y="622"/>
                </a:cubicBezTo>
                <a:cubicBezTo>
                  <a:pt x="445" y="761"/>
                  <a:pt x="445" y="761"/>
                  <a:pt x="445" y="761"/>
                </a:cubicBezTo>
                <a:cubicBezTo>
                  <a:pt x="398" y="770"/>
                  <a:pt x="360" y="812"/>
                  <a:pt x="360" y="863"/>
                </a:cubicBezTo>
                <a:cubicBezTo>
                  <a:pt x="360" y="922"/>
                  <a:pt x="407" y="969"/>
                  <a:pt x="466" y="969"/>
                </a:cubicBezTo>
                <a:cubicBezTo>
                  <a:pt x="525" y="969"/>
                  <a:pt x="572" y="922"/>
                  <a:pt x="572" y="863"/>
                </a:cubicBezTo>
                <a:cubicBezTo>
                  <a:pt x="572" y="817"/>
                  <a:pt x="534" y="774"/>
                  <a:pt x="487" y="761"/>
                </a:cubicBezTo>
                <a:close/>
                <a:moveTo>
                  <a:pt x="466" y="931"/>
                </a:moveTo>
                <a:cubicBezTo>
                  <a:pt x="432" y="931"/>
                  <a:pt x="403" y="901"/>
                  <a:pt x="403" y="867"/>
                </a:cubicBezTo>
                <a:cubicBezTo>
                  <a:pt x="403" y="834"/>
                  <a:pt x="428" y="804"/>
                  <a:pt x="466" y="804"/>
                </a:cubicBezTo>
                <a:cubicBezTo>
                  <a:pt x="504" y="804"/>
                  <a:pt x="529" y="834"/>
                  <a:pt x="529" y="867"/>
                </a:cubicBezTo>
                <a:cubicBezTo>
                  <a:pt x="529" y="901"/>
                  <a:pt x="500" y="931"/>
                  <a:pt x="466" y="931"/>
                </a:cubicBezTo>
                <a:close/>
                <a:moveTo>
                  <a:pt x="178" y="592"/>
                </a:moveTo>
                <a:cubicBezTo>
                  <a:pt x="106" y="668"/>
                  <a:pt x="106" y="668"/>
                  <a:pt x="106" y="668"/>
                </a:cubicBezTo>
                <a:cubicBezTo>
                  <a:pt x="30" y="592"/>
                  <a:pt x="30" y="592"/>
                  <a:pt x="30" y="592"/>
                </a:cubicBezTo>
                <a:cubicBezTo>
                  <a:pt x="0" y="622"/>
                  <a:pt x="0" y="622"/>
                  <a:pt x="0" y="622"/>
                </a:cubicBezTo>
                <a:cubicBezTo>
                  <a:pt x="77" y="698"/>
                  <a:pt x="77" y="698"/>
                  <a:pt x="77" y="698"/>
                </a:cubicBezTo>
                <a:cubicBezTo>
                  <a:pt x="0" y="770"/>
                  <a:pt x="0" y="770"/>
                  <a:pt x="0" y="770"/>
                </a:cubicBezTo>
                <a:cubicBezTo>
                  <a:pt x="30" y="800"/>
                  <a:pt x="30" y="800"/>
                  <a:pt x="30" y="800"/>
                </a:cubicBezTo>
                <a:cubicBezTo>
                  <a:pt x="106" y="728"/>
                  <a:pt x="106" y="728"/>
                  <a:pt x="106" y="728"/>
                </a:cubicBezTo>
                <a:cubicBezTo>
                  <a:pt x="178" y="800"/>
                  <a:pt x="178" y="800"/>
                  <a:pt x="178" y="800"/>
                </a:cubicBezTo>
                <a:cubicBezTo>
                  <a:pt x="208" y="770"/>
                  <a:pt x="208" y="770"/>
                  <a:pt x="208" y="770"/>
                </a:cubicBezTo>
                <a:cubicBezTo>
                  <a:pt x="136" y="698"/>
                  <a:pt x="136" y="698"/>
                  <a:pt x="136" y="698"/>
                </a:cubicBezTo>
                <a:cubicBezTo>
                  <a:pt x="208" y="622"/>
                  <a:pt x="208" y="622"/>
                  <a:pt x="208" y="622"/>
                </a:cubicBezTo>
                <a:lnTo>
                  <a:pt x="178" y="592"/>
                </a:lnTo>
                <a:close/>
                <a:moveTo>
                  <a:pt x="800" y="325"/>
                </a:moveTo>
                <a:cubicBezTo>
                  <a:pt x="771" y="296"/>
                  <a:pt x="771" y="296"/>
                  <a:pt x="771" y="296"/>
                </a:cubicBezTo>
                <a:cubicBezTo>
                  <a:pt x="699" y="372"/>
                  <a:pt x="699" y="372"/>
                  <a:pt x="699" y="372"/>
                </a:cubicBezTo>
                <a:cubicBezTo>
                  <a:pt x="623" y="296"/>
                  <a:pt x="623" y="296"/>
                  <a:pt x="623" y="296"/>
                </a:cubicBezTo>
                <a:cubicBezTo>
                  <a:pt x="593" y="325"/>
                  <a:pt x="593" y="325"/>
                  <a:pt x="593" y="325"/>
                </a:cubicBezTo>
                <a:cubicBezTo>
                  <a:pt x="669" y="402"/>
                  <a:pt x="669" y="402"/>
                  <a:pt x="669" y="402"/>
                </a:cubicBezTo>
                <a:cubicBezTo>
                  <a:pt x="593" y="474"/>
                  <a:pt x="593" y="474"/>
                  <a:pt x="593" y="474"/>
                </a:cubicBezTo>
                <a:cubicBezTo>
                  <a:pt x="623" y="503"/>
                  <a:pt x="623" y="503"/>
                  <a:pt x="623" y="503"/>
                </a:cubicBezTo>
                <a:cubicBezTo>
                  <a:pt x="699" y="431"/>
                  <a:pt x="699" y="431"/>
                  <a:pt x="699" y="431"/>
                </a:cubicBezTo>
                <a:cubicBezTo>
                  <a:pt x="771" y="503"/>
                  <a:pt x="771" y="503"/>
                  <a:pt x="771" y="503"/>
                </a:cubicBezTo>
                <a:cubicBezTo>
                  <a:pt x="800" y="474"/>
                  <a:pt x="800" y="474"/>
                  <a:pt x="800" y="474"/>
                </a:cubicBezTo>
                <a:cubicBezTo>
                  <a:pt x="729" y="402"/>
                  <a:pt x="729" y="402"/>
                  <a:pt x="729" y="402"/>
                </a:cubicBezTo>
                <a:lnTo>
                  <a:pt x="800" y="325"/>
                </a:lnTo>
                <a:close/>
                <a:moveTo>
                  <a:pt x="559" y="0"/>
                </a:moveTo>
                <a:cubicBezTo>
                  <a:pt x="487" y="76"/>
                  <a:pt x="487" y="76"/>
                  <a:pt x="487" y="76"/>
                </a:cubicBezTo>
                <a:cubicBezTo>
                  <a:pt x="411" y="0"/>
                  <a:pt x="411" y="0"/>
                  <a:pt x="411" y="0"/>
                </a:cubicBezTo>
                <a:cubicBezTo>
                  <a:pt x="381" y="29"/>
                  <a:pt x="381" y="29"/>
                  <a:pt x="381" y="29"/>
                </a:cubicBezTo>
                <a:cubicBezTo>
                  <a:pt x="458" y="105"/>
                  <a:pt x="458" y="105"/>
                  <a:pt x="458" y="105"/>
                </a:cubicBezTo>
                <a:cubicBezTo>
                  <a:pt x="381" y="177"/>
                  <a:pt x="381" y="177"/>
                  <a:pt x="381" y="177"/>
                </a:cubicBezTo>
                <a:cubicBezTo>
                  <a:pt x="411" y="207"/>
                  <a:pt x="411" y="207"/>
                  <a:pt x="411" y="207"/>
                </a:cubicBezTo>
                <a:cubicBezTo>
                  <a:pt x="487" y="135"/>
                  <a:pt x="487" y="135"/>
                  <a:pt x="487" y="135"/>
                </a:cubicBezTo>
                <a:cubicBezTo>
                  <a:pt x="559" y="207"/>
                  <a:pt x="559" y="207"/>
                  <a:pt x="559" y="207"/>
                </a:cubicBezTo>
                <a:cubicBezTo>
                  <a:pt x="589" y="177"/>
                  <a:pt x="589" y="177"/>
                  <a:pt x="589" y="177"/>
                </a:cubicBezTo>
                <a:cubicBezTo>
                  <a:pt x="517" y="105"/>
                  <a:pt x="517" y="105"/>
                  <a:pt x="517" y="105"/>
                </a:cubicBezTo>
                <a:cubicBezTo>
                  <a:pt x="589" y="29"/>
                  <a:pt x="589" y="29"/>
                  <a:pt x="589" y="29"/>
                </a:cubicBezTo>
                <a:lnTo>
                  <a:pt x="55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54" name="Freeform 147"/>
          <p:cNvSpPr>
            <a:spLocks noChangeAspect="1" noEditPoints="1"/>
          </p:cNvSpPr>
          <p:nvPr/>
        </p:nvSpPr>
        <p:spPr bwMode="auto">
          <a:xfrm>
            <a:off x="4499255" y="3407061"/>
            <a:ext cx="241308" cy="304808"/>
          </a:xfrm>
          <a:custGeom>
            <a:avLst/>
            <a:gdLst>
              <a:gd name="T0" fmla="*/ 484 w 800"/>
              <a:gd name="T1" fmla="*/ 0 h 1011"/>
              <a:gd name="T2" fmla="*/ 463 w 800"/>
              <a:gd name="T3" fmla="*/ 990 h 1011"/>
              <a:gd name="T4" fmla="*/ 779 w 800"/>
              <a:gd name="T5" fmla="*/ 1011 h 1011"/>
              <a:gd name="T6" fmla="*/ 800 w 800"/>
              <a:gd name="T7" fmla="*/ 21 h 1011"/>
              <a:gd name="T8" fmla="*/ 758 w 800"/>
              <a:gd name="T9" fmla="*/ 969 h 1011"/>
              <a:gd name="T10" fmla="*/ 505 w 800"/>
              <a:gd name="T11" fmla="*/ 843 h 1011"/>
              <a:gd name="T12" fmla="*/ 589 w 800"/>
              <a:gd name="T13" fmla="*/ 800 h 1011"/>
              <a:gd name="T14" fmla="*/ 505 w 800"/>
              <a:gd name="T15" fmla="*/ 716 h 1011"/>
              <a:gd name="T16" fmla="*/ 589 w 800"/>
              <a:gd name="T17" fmla="*/ 674 h 1011"/>
              <a:gd name="T18" fmla="*/ 505 w 800"/>
              <a:gd name="T19" fmla="*/ 590 h 1011"/>
              <a:gd name="T20" fmla="*/ 589 w 800"/>
              <a:gd name="T21" fmla="*/ 548 h 1011"/>
              <a:gd name="T22" fmla="*/ 505 w 800"/>
              <a:gd name="T23" fmla="*/ 464 h 1011"/>
              <a:gd name="T24" fmla="*/ 589 w 800"/>
              <a:gd name="T25" fmla="*/ 421 h 1011"/>
              <a:gd name="T26" fmla="*/ 505 w 800"/>
              <a:gd name="T27" fmla="*/ 337 h 1011"/>
              <a:gd name="T28" fmla="*/ 589 w 800"/>
              <a:gd name="T29" fmla="*/ 295 h 1011"/>
              <a:gd name="T30" fmla="*/ 505 w 800"/>
              <a:gd name="T31" fmla="*/ 211 h 1011"/>
              <a:gd name="T32" fmla="*/ 589 w 800"/>
              <a:gd name="T33" fmla="*/ 169 h 1011"/>
              <a:gd name="T34" fmla="*/ 505 w 800"/>
              <a:gd name="T35" fmla="*/ 43 h 1011"/>
              <a:gd name="T36" fmla="*/ 758 w 800"/>
              <a:gd name="T37" fmla="*/ 969 h 1011"/>
              <a:gd name="T38" fmla="*/ 130 w 800"/>
              <a:gd name="T39" fmla="*/ 52 h 1011"/>
              <a:gd name="T40" fmla="*/ 0 w 800"/>
              <a:gd name="T41" fmla="*/ 253 h 1011"/>
              <a:gd name="T42" fmla="*/ 105 w 800"/>
              <a:gd name="T43" fmla="*/ 969 h 1011"/>
              <a:gd name="T44" fmla="*/ 295 w 800"/>
              <a:gd name="T45" fmla="*/ 864 h 1011"/>
              <a:gd name="T46" fmla="*/ 291 w 800"/>
              <a:gd name="T47" fmla="*/ 241 h 1011"/>
              <a:gd name="T48" fmla="*/ 147 w 800"/>
              <a:gd name="T49" fmla="*/ 102 h 1011"/>
              <a:gd name="T50" fmla="*/ 117 w 800"/>
              <a:gd name="T51" fmla="*/ 148 h 1011"/>
              <a:gd name="T52" fmla="*/ 42 w 800"/>
              <a:gd name="T53" fmla="*/ 347 h 1011"/>
              <a:gd name="T54" fmla="*/ 84 w 800"/>
              <a:gd name="T55" fmla="*/ 716 h 1011"/>
              <a:gd name="T56" fmla="*/ 42 w 800"/>
              <a:gd name="T57" fmla="*/ 347 h 1011"/>
              <a:gd name="T58" fmla="*/ 189 w 800"/>
              <a:gd name="T59" fmla="*/ 927 h 1011"/>
              <a:gd name="T60" fmla="*/ 42 w 800"/>
              <a:gd name="T61" fmla="*/ 864 h 1011"/>
              <a:gd name="T62" fmla="*/ 253 w 800"/>
              <a:gd name="T63" fmla="*/ 843 h 1011"/>
              <a:gd name="T64" fmla="*/ 253 w 800"/>
              <a:gd name="T65" fmla="*/ 800 h 1011"/>
              <a:gd name="T66" fmla="*/ 42 w 800"/>
              <a:gd name="T67" fmla="*/ 758 h 1011"/>
              <a:gd name="T68" fmla="*/ 253 w 800"/>
              <a:gd name="T69" fmla="*/ 800 h 1011"/>
              <a:gd name="T70" fmla="*/ 126 w 800"/>
              <a:gd name="T71" fmla="*/ 347 h 1011"/>
              <a:gd name="T72" fmla="*/ 168 w 800"/>
              <a:gd name="T73" fmla="*/ 347 h 1011"/>
              <a:gd name="T74" fmla="*/ 126 w 800"/>
              <a:gd name="T75" fmla="*/ 716 h 1011"/>
              <a:gd name="T76" fmla="*/ 211 w 800"/>
              <a:gd name="T77" fmla="*/ 716 h 1011"/>
              <a:gd name="T78" fmla="*/ 253 w 800"/>
              <a:gd name="T79" fmla="*/ 347 h 1011"/>
              <a:gd name="T80" fmla="*/ 253 w 800"/>
              <a:gd name="T81" fmla="*/ 274 h 1011"/>
              <a:gd name="T82" fmla="*/ 168 w 800"/>
              <a:gd name="T83" fmla="*/ 274 h 1011"/>
              <a:gd name="T84" fmla="*/ 126 w 800"/>
              <a:gd name="T85" fmla="*/ 274 h 1011"/>
              <a:gd name="T86" fmla="*/ 42 w 800"/>
              <a:gd name="T87" fmla="*/ 274 h 1011"/>
              <a:gd name="T88" fmla="*/ 88 w 800"/>
              <a:gd name="T89" fmla="*/ 190 h 1011"/>
              <a:gd name="T90" fmla="*/ 253 w 800"/>
              <a:gd name="T91" fmla="*/ 259 h 10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00" h="1011">
                <a:moveTo>
                  <a:pt x="779" y="0"/>
                </a:moveTo>
                <a:cubicBezTo>
                  <a:pt x="484" y="0"/>
                  <a:pt x="484" y="0"/>
                  <a:pt x="484" y="0"/>
                </a:cubicBezTo>
                <a:cubicBezTo>
                  <a:pt x="473" y="0"/>
                  <a:pt x="463" y="10"/>
                  <a:pt x="463" y="21"/>
                </a:cubicBezTo>
                <a:cubicBezTo>
                  <a:pt x="463" y="990"/>
                  <a:pt x="463" y="990"/>
                  <a:pt x="463" y="990"/>
                </a:cubicBezTo>
                <a:cubicBezTo>
                  <a:pt x="463" y="1001"/>
                  <a:pt x="473" y="1011"/>
                  <a:pt x="484" y="1011"/>
                </a:cubicBezTo>
                <a:cubicBezTo>
                  <a:pt x="779" y="1011"/>
                  <a:pt x="779" y="1011"/>
                  <a:pt x="779" y="1011"/>
                </a:cubicBezTo>
                <a:cubicBezTo>
                  <a:pt x="791" y="1011"/>
                  <a:pt x="800" y="1001"/>
                  <a:pt x="800" y="990"/>
                </a:cubicBezTo>
                <a:cubicBezTo>
                  <a:pt x="800" y="21"/>
                  <a:pt x="800" y="21"/>
                  <a:pt x="800" y="21"/>
                </a:cubicBezTo>
                <a:cubicBezTo>
                  <a:pt x="800" y="10"/>
                  <a:pt x="791" y="0"/>
                  <a:pt x="779" y="0"/>
                </a:cubicBezTo>
                <a:close/>
                <a:moveTo>
                  <a:pt x="758" y="969"/>
                </a:moveTo>
                <a:cubicBezTo>
                  <a:pt x="505" y="969"/>
                  <a:pt x="505" y="969"/>
                  <a:pt x="505" y="969"/>
                </a:cubicBezTo>
                <a:cubicBezTo>
                  <a:pt x="505" y="843"/>
                  <a:pt x="505" y="843"/>
                  <a:pt x="505" y="843"/>
                </a:cubicBezTo>
                <a:cubicBezTo>
                  <a:pt x="589" y="843"/>
                  <a:pt x="589" y="843"/>
                  <a:pt x="589" y="843"/>
                </a:cubicBezTo>
                <a:cubicBezTo>
                  <a:pt x="589" y="800"/>
                  <a:pt x="589" y="800"/>
                  <a:pt x="589" y="800"/>
                </a:cubicBezTo>
                <a:cubicBezTo>
                  <a:pt x="505" y="800"/>
                  <a:pt x="505" y="800"/>
                  <a:pt x="505" y="800"/>
                </a:cubicBezTo>
                <a:cubicBezTo>
                  <a:pt x="505" y="716"/>
                  <a:pt x="505" y="716"/>
                  <a:pt x="505" y="716"/>
                </a:cubicBezTo>
                <a:cubicBezTo>
                  <a:pt x="589" y="716"/>
                  <a:pt x="589" y="716"/>
                  <a:pt x="589" y="716"/>
                </a:cubicBezTo>
                <a:cubicBezTo>
                  <a:pt x="589" y="674"/>
                  <a:pt x="589" y="674"/>
                  <a:pt x="589" y="674"/>
                </a:cubicBezTo>
                <a:cubicBezTo>
                  <a:pt x="505" y="674"/>
                  <a:pt x="505" y="674"/>
                  <a:pt x="505" y="674"/>
                </a:cubicBezTo>
                <a:cubicBezTo>
                  <a:pt x="505" y="590"/>
                  <a:pt x="505" y="590"/>
                  <a:pt x="505" y="590"/>
                </a:cubicBezTo>
                <a:cubicBezTo>
                  <a:pt x="589" y="590"/>
                  <a:pt x="589" y="590"/>
                  <a:pt x="589" y="590"/>
                </a:cubicBezTo>
                <a:cubicBezTo>
                  <a:pt x="589" y="548"/>
                  <a:pt x="589" y="548"/>
                  <a:pt x="589" y="548"/>
                </a:cubicBezTo>
                <a:cubicBezTo>
                  <a:pt x="505" y="548"/>
                  <a:pt x="505" y="548"/>
                  <a:pt x="505" y="548"/>
                </a:cubicBezTo>
                <a:cubicBezTo>
                  <a:pt x="505" y="464"/>
                  <a:pt x="505" y="464"/>
                  <a:pt x="505" y="464"/>
                </a:cubicBezTo>
                <a:cubicBezTo>
                  <a:pt x="589" y="464"/>
                  <a:pt x="589" y="464"/>
                  <a:pt x="589" y="464"/>
                </a:cubicBezTo>
                <a:cubicBezTo>
                  <a:pt x="589" y="421"/>
                  <a:pt x="589" y="421"/>
                  <a:pt x="589" y="421"/>
                </a:cubicBezTo>
                <a:cubicBezTo>
                  <a:pt x="505" y="421"/>
                  <a:pt x="505" y="421"/>
                  <a:pt x="505" y="421"/>
                </a:cubicBezTo>
                <a:cubicBezTo>
                  <a:pt x="505" y="337"/>
                  <a:pt x="505" y="337"/>
                  <a:pt x="505" y="337"/>
                </a:cubicBezTo>
                <a:cubicBezTo>
                  <a:pt x="589" y="337"/>
                  <a:pt x="589" y="337"/>
                  <a:pt x="589" y="337"/>
                </a:cubicBezTo>
                <a:cubicBezTo>
                  <a:pt x="589" y="295"/>
                  <a:pt x="589" y="295"/>
                  <a:pt x="589" y="295"/>
                </a:cubicBezTo>
                <a:cubicBezTo>
                  <a:pt x="505" y="295"/>
                  <a:pt x="505" y="295"/>
                  <a:pt x="505" y="295"/>
                </a:cubicBezTo>
                <a:cubicBezTo>
                  <a:pt x="505" y="211"/>
                  <a:pt x="505" y="211"/>
                  <a:pt x="505" y="211"/>
                </a:cubicBezTo>
                <a:cubicBezTo>
                  <a:pt x="589" y="211"/>
                  <a:pt x="589" y="211"/>
                  <a:pt x="589" y="211"/>
                </a:cubicBezTo>
                <a:cubicBezTo>
                  <a:pt x="589" y="169"/>
                  <a:pt x="589" y="169"/>
                  <a:pt x="589" y="169"/>
                </a:cubicBezTo>
                <a:cubicBezTo>
                  <a:pt x="505" y="169"/>
                  <a:pt x="505" y="169"/>
                  <a:pt x="505" y="169"/>
                </a:cubicBezTo>
                <a:cubicBezTo>
                  <a:pt x="505" y="43"/>
                  <a:pt x="505" y="43"/>
                  <a:pt x="505" y="43"/>
                </a:cubicBezTo>
                <a:cubicBezTo>
                  <a:pt x="758" y="43"/>
                  <a:pt x="758" y="43"/>
                  <a:pt x="758" y="43"/>
                </a:cubicBezTo>
                <a:lnTo>
                  <a:pt x="758" y="969"/>
                </a:lnTo>
                <a:close/>
                <a:moveTo>
                  <a:pt x="165" y="52"/>
                </a:moveTo>
                <a:cubicBezTo>
                  <a:pt x="157" y="40"/>
                  <a:pt x="138" y="40"/>
                  <a:pt x="130" y="52"/>
                </a:cubicBezTo>
                <a:cubicBezTo>
                  <a:pt x="4" y="241"/>
                  <a:pt x="4" y="241"/>
                  <a:pt x="4" y="241"/>
                </a:cubicBezTo>
                <a:cubicBezTo>
                  <a:pt x="1" y="245"/>
                  <a:pt x="0" y="249"/>
                  <a:pt x="0" y="253"/>
                </a:cubicBezTo>
                <a:cubicBezTo>
                  <a:pt x="0" y="864"/>
                  <a:pt x="0" y="864"/>
                  <a:pt x="0" y="864"/>
                </a:cubicBezTo>
                <a:cubicBezTo>
                  <a:pt x="0" y="922"/>
                  <a:pt x="47" y="969"/>
                  <a:pt x="105" y="969"/>
                </a:cubicBezTo>
                <a:cubicBezTo>
                  <a:pt x="189" y="969"/>
                  <a:pt x="189" y="969"/>
                  <a:pt x="189" y="969"/>
                </a:cubicBezTo>
                <a:cubicBezTo>
                  <a:pt x="248" y="969"/>
                  <a:pt x="295" y="922"/>
                  <a:pt x="295" y="864"/>
                </a:cubicBezTo>
                <a:cubicBezTo>
                  <a:pt x="295" y="253"/>
                  <a:pt x="295" y="253"/>
                  <a:pt x="295" y="253"/>
                </a:cubicBezTo>
                <a:cubicBezTo>
                  <a:pt x="295" y="249"/>
                  <a:pt x="293" y="245"/>
                  <a:pt x="291" y="241"/>
                </a:cubicBezTo>
                <a:lnTo>
                  <a:pt x="165" y="52"/>
                </a:lnTo>
                <a:close/>
                <a:moveTo>
                  <a:pt x="147" y="102"/>
                </a:moveTo>
                <a:cubicBezTo>
                  <a:pt x="178" y="148"/>
                  <a:pt x="178" y="148"/>
                  <a:pt x="178" y="148"/>
                </a:cubicBezTo>
                <a:cubicBezTo>
                  <a:pt x="117" y="148"/>
                  <a:pt x="117" y="148"/>
                  <a:pt x="117" y="148"/>
                </a:cubicBezTo>
                <a:lnTo>
                  <a:pt x="147" y="102"/>
                </a:lnTo>
                <a:close/>
                <a:moveTo>
                  <a:pt x="42" y="347"/>
                </a:moveTo>
                <a:cubicBezTo>
                  <a:pt x="55" y="354"/>
                  <a:pt x="69" y="358"/>
                  <a:pt x="84" y="358"/>
                </a:cubicBezTo>
                <a:cubicBezTo>
                  <a:pt x="84" y="716"/>
                  <a:pt x="84" y="716"/>
                  <a:pt x="84" y="716"/>
                </a:cubicBezTo>
                <a:cubicBezTo>
                  <a:pt x="42" y="716"/>
                  <a:pt x="42" y="716"/>
                  <a:pt x="42" y="716"/>
                </a:cubicBezTo>
                <a:lnTo>
                  <a:pt x="42" y="347"/>
                </a:lnTo>
                <a:close/>
                <a:moveTo>
                  <a:pt x="253" y="864"/>
                </a:moveTo>
                <a:cubicBezTo>
                  <a:pt x="253" y="898"/>
                  <a:pt x="224" y="927"/>
                  <a:pt x="189" y="927"/>
                </a:cubicBezTo>
                <a:cubicBezTo>
                  <a:pt x="105" y="927"/>
                  <a:pt x="105" y="927"/>
                  <a:pt x="105" y="927"/>
                </a:cubicBezTo>
                <a:cubicBezTo>
                  <a:pt x="70" y="927"/>
                  <a:pt x="42" y="898"/>
                  <a:pt x="42" y="864"/>
                </a:cubicBezTo>
                <a:cubicBezTo>
                  <a:pt x="42" y="843"/>
                  <a:pt x="42" y="843"/>
                  <a:pt x="42" y="843"/>
                </a:cubicBezTo>
                <a:cubicBezTo>
                  <a:pt x="253" y="843"/>
                  <a:pt x="253" y="843"/>
                  <a:pt x="253" y="843"/>
                </a:cubicBezTo>
                <a:lnTo>
                  <a:pt x="253" y="864"/>
                </a:lnTo>
                <a:close/>
                <a:moveTo>
                  <a:pt x="253" y="800"/>
                </a:moveTo>
                <a:cubicBezTo>
                  <a:pt x="42" y="800"/>
                  <a:pt x="42" y="800"/>
                  <a:pt x="42" y="800"/>
                </a:cubicBezTo>
                <a:cubicBezTo>
                  <a:pt x="42" y="758"/>
                  <a:pt x="42" y="758"/>
                  <a:pt x="42" y="758"/>
                </a:cubicBezTo>
                <a:cubicBezTo>
                  <a:pt x="253" y="758"/>
                  <a:pt x="253" y="758"/>
                  <a:pt x="253" y="758"/>
                </a:cubicBezTo>
                <a:lnTo>
                  <a:pt x="253" y="800"/>
                </a:lnTo>
                <a:close/>
                <a:moveTo>
                  <a:pt x="126" y="716"/>
                </a:moveTo>
                <a:cubicBezTo>
                  <a:pt x="126" y="347"/>
                  <a:pt x="126" y="347"/>
                  <a:pt x="126" y="347"/>
                </a:cubicBezTo>
                <a:cubicBezTo>
                  <a:pt x="134" y="342"/>
                  <a:pt x="141" y="337"/>
                  <a:pt x="147" y="330"/>
                </a:cubicBezTo>
                <a:cubicBezTo>
                  <a:pt x="153" y="337"/>
                  <a:pt x="160" y="342"/>
                  <a:pt x="168" y="347"/>
                </a:cubicBezTo>
                <a:cubicBezTo>
                  <a:pt x="168" y="716"/>
                  <a:pt x="168" y="716"/>
                  <a:pt x="168" y="716"/>
                </a:cubicBezTo>
                <a:lnTo>
                  <a:pt x="126" y="716"/>
                </a:lnTo>
                <a:close/>
                <a:moveTo>
                  <a:pt x="253" y="716"/>
                </a:moveTo>
                <a:cubicBezTo>
                  <a:pt x="211" y="716"/>
                  <a:pt x="211" y="716"/>
                  <a:pt x="211" y="716"/>
                </a:cubicBezTo>
                <a:cubicBezTo>
                  <a:pt x="211" y="358"/>
                  <a:pt x="211" y="358"/>
                  <a:pt x="211" y="358"/>
                </a:cubicBezTo>
                <a:cubicBezTo>
                  <a:pt x="226" y="358"/>
                  <a:pt x="240" y="354"/>
                  <a:pt x="253" y="347"/>
                </a:cubicBezTo>
                <a:lnTo>
                  <a:pt x="253" y="716"/>
                </a:lnTo>
                <a:close/>
                <a:moveTo>
                  <a:pt x="253" y="274"/>
                </a:moveTo>
                <a:cubicBezTo>
                  <a:pt x="253" y="297"/>
                  <a:pt x="234" y="316"/>
                  <a:pt x="211" y="316"/>
                </a:cubicBezTo>
                <a:cubicBezTo>
                  <a:pt x="187" y="316"/>
                  <a:pt x="168" y="297"/>
                  <a:pt x="168" y="274"/>
                </a:cubicBezTo>
                <a:cubicBezTo>
                  <a:pt x="168" y="262"/>
                  <a:pt x="159" y="253"/>
                  <a:pt x="147" y="253"/>
                </a:cubicBezTo>
                <a:cubicBezTo>
                  <a:pt x="136" y="253"/>
                  <a:pt x="126" y="262"/>
                  <a:pt x="126" y="274"/>
                </a:cubicBezTo>
                <a:cubicBezTo>
                  <a:pt x="126" y="297"/>
                  <a:pt x="107" y="316"/>
                  <a:pt x="84" y="316"/>
                </a:cubicBezTo>
                <a:cubicBezTo>
                  <a:pt x="61" y="316"/>
                  <a:pt x="42" y="297"/>
                  <a:pt x="42" y="274"/>
                </a:cubicBezTo>
                <a:cubicBezTo>
                  <a:pt x="42" y="259"/>
                  <a:pt x="42" y="259"/>
                  <a:pt x="42" y="259"/>
                </a:cubicBezTo>
                <a:cubicBezTo>
                  <a:pt x="88" y="190"/>
                  <a:pt x="88" y="190"/>
                  <a:pt x="88" y="190"/>
                </a:cubicBezTo>
                <a:cubicBezTo>
                  <a:pt x="206" y="190"/>
                  <a:pt x="206" y="190"/>
                  <a:pt x="206" y="190"/>
                </a:cubicBezTo>
                <a:cubicBezTo>
                  <a:pt x="253" y="259"/>
                  <a:pt x="253" y="259"/>
                  <a:pt x="253" y="259"/>
                </a:cubicBezTo>
                <a:lnTo>
                  <a:pt x="253" y="2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55" name="Freeform 37"/>
          <p:cNvSpPr>
            <a:spLocks noChangeAspect="1" noEditPoints="1"/>
          </p:cNvSpPr>
          <p:nvPr/>
        </p:nvSpPr>
        <p:spPr bwMode="auto">
          <a:xfrm>
            <a:off x="853218" y="1984660"/>
            <a:ext cx="222806" cy="304808"/>
          </a:xfrm>
          <a:custGeom>
            <a:avLst/>
            <a:gdLst>
              <a:gd name="T0" fmla="*/ 673 w 800"/>
              <a:gd name="T1" fmla="*/ 673 h 1094"/>
              <a:gd name="T2" fmla="*/ 126 w 800"/>
              <a:gd name="T3" fmla="*/ 631 h 1094"/>
              <a:gd name="T4" fmla="*/ 126 w 800"/>
              <a:gd name="T5" fmla="*/ 926 h 1094"/>
              <a:gd name="T6" fmla="*/ 673 w 800"/>
              <a:gd name="T7" fmla="*/ 884 h 1094"/>
              <a:gd name="T8" fmla="*/ 126 w 800"/>
              <a:gd name="T9" fmla="*/ 926 h 1094"/>
              <a:gd name="T10" fmla="*/ 673 w 800"/>
              <a:gd name="T11" fmla="*/ 547 h 1094"/>
              <a:gd name="T12" fmla="*/ 126 w 800"/>
              <a:gd name="T13" fmla="*/ 505 h 1094"/>
              <a:gd name="T14" fmla="*/ 126 w 800"/>
              <a:gd name="T15" fmla="*/ 800 h 1094"/>
              <a:gd name="T16" fmla="*/ 673 w 800"/>
              <a:gd name="T17" fmla="*/ 758 h 1094"/>
              <a:gd name="T18" fmla="*/ 126 w 800"/>
              <a:gd name="T19" fmla="*/ 800 h 1094"/>
              <a:gd name="T20" fmla="*/ 673 w 800"/>
              <a:gd name="T21" fmla="*/ 42 h 1094"/>
              <a:gd name="T22" fmla="*/ 631 w 800"/>
              <a:gd name="T23" fmla="*/ 0 h 1094"/>
              <a:gd name="T24" fmla="*/ 505 w 800"/>
              <a:gd name="T25" fmla="*/ 42 h 1094"/>
              <a:gd name="T26" fmla="*/ 463 w 800"/>
              <a:gd name="T27" fmla="*/ 0 h 1094"/>
              <a:gd name="T28" fmla="*/ 337 w 800"/>
              <a:gd name="T29" fmla="*/ 42 h 1094"/>
              <a:gd name="T30" fmla="*/ 294 w 800"/>
              <a:gd name="T31" fmla="*/ 0 h 1094"/>
              <a:gd name="T32" fmla="*/ 168 w 800"/>
              <a:gd name="T33" fmla="*/ 42 h 1094"/>
              <a:gd name="T34" fmla="*/ 126 w 800"/>
              <a:gd name="T35" fmla="*/ 0 h 1094"/>
              <a:gd name="T36" fmla="*/ 84 w 800"/>
              <a:gd name="T37" fmla="*/ 42 h 1094"/>
              <a:gd name="T38" fmla="*/ 0 w 800"/>
              <a:gd name="T39" fmla="*/ 1010 h 1094"/>
              <a:gd name="T40" fmla="*/ 716 w 800"/>
              <a:gd name="T41" fmla="*/ 1094 h 1094"/>
              <a:gd name="T42" fmla="*/ 800 w 800"/>
              <a:gd name="T43" fmla="*/ 126 h 1094"/>
              <a:gd name="T44" fmla="*/ 758 w 800"/>
              <a:gd name="T45" fmla="*/ 1010 h 1094"/>
              <a:gd name="T46" fmla="*/ 84 w 800"/>
              <a:gd name="T47" fmla="*/ 1052 h 1094"/>
              <a:gd name="T48" fmla="*/ 42 w 800"/>
              <a:gd name="T49" fmla="*/ 126 h 1094"/>
              <a:gd name="T50" fmla="*/ 126 w 800"/>
              <a:gd name="T51" fmla="*/ 84 h 1094"/>
              <a:gd name="T52" fmla="*/ 168 w 800"/>
              <a:gd name="T53" fmla="*/ 126 h 1094"/>
              <a:gd name="T54" fmla="*/ 294 w 800"/>
              <a:gd name="T55" fmla="*/ 84 h 1094"/>
              <a:gd name="T56" fmla="*/ 337 w 800"/>
              <a:gd name="T57" fmla="*/ 126 h 1094"/>
              <a:gd name="T58" fmla="*/ 463 w 800"/>
              <a:gd name="T59" fmla="*/ 84 h 1094"/>
              <a:gd name="T60" fmla="*/ 505 w 800"/>
              <a:gd name="T61" fmla="*/ 126 h 1094"/>
              <a:gd name="T62" fmla="*/ 631 w 800"/>
              <a:gd name="T63" fmla="*/ 84 h 1094"/>
              <a:gd name="T64" fmla="*/ 673 w 800"/>
              <a:gd name="T65" fmla="*/ 126 h 1094"/>
              <a:gd name="T66" fmla="*/ 716 w 800"/>
              <a:gd name="T67" fmla="*/ 84 h 1094"/>
              <a:gd name="T68" fmla="*/ 758 w 800"/>
              <a:gd name="T69" fmla="*/ 1010 h 1094"/>
              <a:gd name="T70" fmla="*/ 673 w 800"/>
              <a:gd name="T71" fmla="*/ 421 h 1094"/>
              <a:gd name="T72" fmla="*/ 126 w 800"/>
              <a:gd name="T73" fmla="*/ 379 h 1094"/>
              <a:gd name="T74" fmla="*/ 126 w 800"/>
              <a:gd name="T75" fmla="*/ 294 h 1094"/>
              <a:gd name="T76" fmla="*/ 673 w 800"/>
              <a:gd name="T77" fmla="*/ 252 h 1094"/>
              <a:gd name="T78" fmla="*/ 126 w 800"/>
              <a:gd name="T79" fmla="*/ 294 h 10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800" h="1094">
                <a:moveTo>
                  <a:pt x="126" y="673"/>
                </a:moveTo>
                <a:cubicBezTo>
                  <a:pt x="673" y="673"/>
                  <a:pt x="673" y="673"/>
                  <a:pt x="673" y="673"/>
                </a:cubicBezTo>
                <a:cubicBezTo>
                  <a:pt x="673" y="631"/>
                  <a:pt x="673" y="631"/>
                  <a:pt x="673" y="631"/>
                </a:cubicBezTo>
                <a:cubicBezTo>
                  <a:pt x="126" y="631"/>
                  <a:pt x="126" y="631"/>
                  <a:pt x="126" y="631"/>
                </a:cubicBezTo>
                <a:lnTo>
                  <a:pt x="126" y="673"/>
                </a:lnTo>
                <a:close/>
                <a:moveTo>
                  <a:pt x="126" y="926"/>
                </a:moveTo>
                <a:cubicBezTo>
                  <a:pt x="673" y="926"/>
                  <a:pt x="673" y="926"/>
                  <a:pt x="673" y="926"/>
                </a:cubicBezTo>
                <a:cubicBezTo>
                  <a:pt x="673" y="884"/>
                  <a:pt x="673" y="884"/>
                  <a:pt x="673" y="884"/>
                </a:cubicBezTo>
                <a:cubicBezTo>
                  <a:pt x="126" y="884"/>
                  <a:pt x="126" y="884"/>
                  <a:pt x="126" y="884"/>
                </a:cubicBezTo>
                <a:lnTo>
                  <a:pt x="126" y="926"/>
                </a:lnTo>
                <a:close/>
                <a:moveTo>
                  <a:pt x="126" y="547"/>
                </a:moveTo>
                <a:cubicBezTo>
                  <a:pt x="673" y="547"/>
                  <a:pt x="673" y="547"/>
                  <a:pt x="673" y="547"/>
                </a:cubicBezTo>
                <a:cubicBezTo>
                  <a:pt x="673" y="505"/>
                  <a:pt x="673" y="505"/>
                  <a:pt x="673" y="505"/>
                </a:cubicBezTo>
                <a:cubicBezTo>
                  <a:pt x="126" y="505"/>
                  <a:pt x="126" y="505"/>
                  <a:pt x="126" y="505"/>
                </a:cubicBezTo>
                <a:lnTo>
                  <a:pt x="126" y="547"/>
                </a:lnTo>
                <a:close/>
                <a:moveTo>
                  <a:pt x="126" y="800"/>
                </a:moveTo>
                <a:cubicBezTo>
                  <a:pt x="673" y="800"/>
                  <a:pt x="673" y="800"/>
                  <a:pt x="673" y="800"/>
                </a:cubicBezTo>
                <a:cubicBezTo>
                  <a:pt x="673" y="758"/>
                  <a:pt x="673" y="758"/>
                  <a:pt x="673" y="758"/>
                </a:cubicBezTo>
                <a:cubicBezTo>
                  <a:pt x="126" y="758"/>
                  <a:pt x="126" y="758"/>
                  <a:pt x="126" y="758"/>
                </a:cubicBezTo>
                <a:lnTo>
                  <a:pt x="126" y="800"/>
                </a:lnTo>
                <a:close/>
                <a:moveTo>
                  <a:pt x="716" y="42"/>
                </a:moveTo>
                <a:cubicBezTo>
                  <a:pt x="673" y="42"/>
                  <a:pt x="673" y="42"/>
                  <a:pt x="673" y="42"/>
                </a:cubicBezTo>
                <a:cubicBezTo>
                  <a:pt x="673" y="0"/>
                  <a:pt x="673" y="0"/>
                  <a:pt x="673" y="0"/>
                </a:cubicBezTo>
                <a:cubicBezTo>
                  <a:pt x="631" y="0"/>
                  <a:pt x="631" y="0"/>
                  <a:pt x="631" y="0"/>
                </a:cubicBezTo>
                <a:cubicBezTo>
                  <a:pt x="631" y="42"/>
                  <a:pt x="631" y="42"/>
                  <a:pt x="631" y="42"/>
                </a:cubicBezTo>
                <a:cubicBezTo>
                  <a:pt x="505" y="42"/>
                  <a:pt x="505" y="42"/>
                  <a:pt x="505" y="42"/>
                </a:cubicBezTo>
                <a:cubicBezTo>
                  <a:pt x="505" y="0"/>
                  <a:pt x="505" y="0"/>
                  <a:pt x="505" y="0"/>
                </a:cubicBezTo>
                <a:cubicBezTo>
                  <a:pt x="463" y="0"/>
                  <a:pt x="463" y="0"/>
                  <a:pt x="463" y="0"/>
                </a:cubicBezTo>
                <a:cubicBezTo>
                  <a:pt x="463" y="42"/>
                  <a:pt x="463" y="42"/>
                  <a:pt x="463" y="42"/>
                </a:cubicBezTo>
                <a:cubicBezTo>
                  <a:pt x="337" y="42"/>
                  <a:pt x="337" y="42"/>
                  <a:pt x="337" y="42"/>
                </a:cubicBezTo>
                <a:cubicBezTo>
                  <a:pt x="337" y="0"/>
                  <a:pt x="337" y="0"/>
                  <a:pt x="337" y="0"/>
                </a:cubicBezTo>
                <a:cubicBezTo>
                  <a:pt x="294" y="0"/>
                  <a:pt x="294" y="0"/>
                  <a:pt x="294" y="0"/>
                </a:cubicBezTo>
                <a:cubicBezTo>
                  <a:pt x="294" y="42"/>
                  <a:pt x="294" y="42"/>
                  <a:pt x="294" y="42"/>
                </a:cubicBezTo>
                <a:cubicBezTo>
                  <a:pt x="168" y="42"/>
                  <a:pt x="168" y="42"/>
                  <a:pt x="168" y="42"/>
                </a:cubicBezTo>
                <a:cubicBezTo>
                  <a:pt x="168" y="0"/>
                  <a:pt x="168" y="0"/>
                  <a:pt x="168" y="0"/>
                </a:cubicBezTo>
                <a:cubicBezTo>
                  <a:pt x="126" y="0"/>
                  <a:pt x="126" y="0"/>
                  <a:pt x="126" y="0"/>
                </a:cubicBezTo>
                <a:cubicBezTo>
                  <a:pt x="126" y="42"/>
                  <a:pt x="126" y="42"/>
                  <a:pt x="126" y="42"/>
                </a:cubicBezTo>
                <a:cubicBezTo>
                  <a:pt x="84" y="42"/>
                  <a:pt x="84" y="42"/>
                  <a:pt x="84" y="42"/>
                </a:cubicBezTo>
                <a:cubicBezTo>
                  <a:pt x="38" y="42"/>
                  <a:pt x="0" y="80"/>
                  <a:pt x="0" y="126"/>
                </a:cubicBezTo>
                <a:cubicBezTo>
                  <a:pt x="0" y="1010"/>
                  <a:pt x="0" y="1010"/>
                  <a:pt x="0" y="1010"/>
                </a:cubicBezTo>
                <a:cubicBezTo>
                  <a:pt x="0" y="1056"/>
                  <a:pt x="38" y="1094"/>
                  <a:pt x="84" y="1094"/>
                </a:cubicBezTo>
                <a:cubicBezTo>
                  <a:pt x="716" y="1094"/>
                  <a:pt x="716" y="1094"/>
                  <a:pt x="716" y="1094"/>
                </a:cubicBezTo>
                <a:cubicBezTo>
                  <a:pt x="762" y="1094"/>
                  <a:pt x="800" y="1056"/>
                  <a:pt x="800" y="1010"/>
                </a:cubicBezTo>
                <a:cubicBezTo>
                  <a:pt x="800" y="126"/>
                  <a:pt x="800" y="126"/>
                  <a:pt x="800" y="126"/>
                </a:cubicBezTo>
                <a:cubicBezTo>
                  <a:pt x="800" y="80"/>
                  <a:pt x="762" y="42"/>
                  <a:pt x="716" y="42"/>
                </a:cubicBezTo>
                <a:close/>
                <a:moveTo>
                  <a:pt x="758" y="1010"/>
                </a:moveTo>
                <a:cubicBezTo>
                  <a:pt x="758" y="1035"/>
                  <a:pt x="741" y="1052"/>
                  <a:pt x="716" y="1052"/>
                </a:cubicBezTo>
                <a:cubicBezTo>
                  <a:pt x="84" y="1052"/>
                  <a:pt x="84" y="1052"/>
                  <a:pt x="84" y="1052"/>
                </a:cubicBezTo>
                <a:cubicBezTo>
                  <a:pt x="63" y="1052"/>
                  <a:pt x="42" y="1035"/>
                  <a:pt x="42" y="1010"/>
                </a:cubicBezTo>
                <a:cubicBezTo>
                  <a:pt x="42" y="126"/>
                  <a:pt x="42" y="126"/>
                  <a:pt x="42" y="126"/>
                </a:cubicBezTo>
                <a:cubicBezTo>
                  <a:pt x="42" y="101"/>
                  <a:pt x="59" y="84"/>
                  <a:pt x="84" y="84"/>
                </a:cubicBezTo>
                <a:cubicBezTo>
                  <a:pt x="126" y="84"/>
                  <a:pt x="126" y="84"/>
                  <a:pt x="126" y="84"/>
                </a:cubicBezTo>
                <a:cubicBezTo>
                  <a:pt x="126" y="126"/>
                  <a:pt x="126" y="126"/>
                  <a:pt x="126" y="126"/>
                </a:cubicBezTo>
                <a:cubicBezTo>
                  <a:pt x="168" y="126"/>
                  <a:pt x="168" y="126"/>
                  <a:pt x="168" y="126"/>
                </a:cubicBezTo>
                <a:cubicBezTo>
                  <a:pt x="168" y="84"/>
                  <a:pt x="168" y="84"/>
                  <a:pt x="168" y="84"/>
                </a:cubicBezTo>
                <a:cubicBezTo>
                  <a:pt x="294" y="84"/>
                  <a:pt x="294" y="84"/>
                  <a:pt x="294" y="84"/>
                </a:cubicBezTo>
                <a:cubicBezTo>
                  <a:pt x="294" y="126"/>
                  <a:pt x="294" y="126"/>
                  <a:pt x="294" y="126"/>
                </a:cubicBezTo>
                <a:cubicBezTo>
                  <a:pt x="337" y="126"/>
                  <a:pt x="337" y="126"/>
                  <a:pt x="337" y="126"/>
                </a:cubicBezTo>
                <a:cubicBezTo>
                  <a:pt x="337" y="84"/>
                  <a:pt x="337" y="84"/>
                  <a:pt x="337" y="84"/>
                </a:cubicBezTo>
                <a:cubicBezTo>
                  <a:pt x="463" y="84"/>
                  <a:pt x="463" y="84"/>
                  <a:pt x="463" y="84"/>
                </a:cubicBezTo>
                <a:cubicBezTo>
                  <a:pt x="463" y="126"/>
                  <a:pt x="463" y="126"/>
                  <a:pt x="463" y="126"/>
                </a:cubicBezTo>
                <a:cubicBezTo>
                  <a:pt x="505" y="126"/>
                  <a:pt x="505" y="126"/>
                  <a:pt x="505" y="126"/>
                </a:cubicBezTo>
                <a:cubicBezTo>
                  <a:pt x="505" y="84"/>
                  <a:pt x="505" y="84"/>
                  <a:pt x="505" y="84"/>
                </a:cubicBezTo>
                <a:cubicBezTo>
                  <a:pt x="631" y="84"/>
                  <a:pt x="631" y="84"/>
                  <a:pt x="631" y="84"/>
                </a:cubicBezTo>
                <a:cubicBezTo>
                  <a:pt x="631" y="126"/>
                  <a:pt x="631" y="126"/>
                  <a:pt x="631" y="126"/>
                </a:cubicBezTo>
                <a:cubicBezTo>
                  <a:pt x="673" y="126"/>
                  <a:pt x="673" y="126"/>
                  <a:pt x="673" y="126"/>
                </a:cubicBezTo>
                <a:cubicBezTo>
                  <a:pt x="673" y="84"/>
                  <a:pt x="673" y="84"/>
                  <a:pt x="673" y="84"/>
                </a:cubicBezTo>
                <a:cubicBezTo>
                  <a:pt x="716" y="84"/>
                  <a:pt x="716" y="84"/>
                  <a:pt x="716" y="84"/>
                </a:cubicBezTo>
                <a:cubicBezTo>
                  <a:pt x="737" y="84"/>
                  <a:pt x="758" y="101"/>
                  <a:pt x="758" y="126"/>
                </a:cubicBezTo>
                <a:lnTo>
                  <a:pt x="758" y="1010"/>
                </a:lnTo>
                <a:close/>
                <a:moveTo>
                  <a:pt x="126" y="421"/>
                </a:moveTo>
                <a:cubicBezTo>
                  <a:pt x="673" y="421"/>
                  <a:pt x="673" y="421"/>
                  <a:pt x="673" y="421"/>
                </a:cubicBezTo>
                <a:cubicBezTo>
                  <a:pt x="673" y="379"/>
                  <a:pt x="673" y="379"/>
                  <a:pt x="673" y="379"/>
                </a:cubicBezTo>
                <a:cubicBezTo>
                  <a:pt x="126" y="379"/>
                  <a:pt x="126" y="379"/>
                  <a:pt x="126" y="379"/>
                </a:cubicBezTo>
                <a:lnTo>
                  <a:pt x="126" y="421"/>
                </a:lnTo>
                <a:close/>
                <a:moveTo>
                  <a:pt x="126" y="294"/>
                </a:moveTo>
                <a:cubicBezTo>
                  <a:pt x="673" y="294"/>
                  <a:pt x="673" y="294"/>
                  <a:pt x="673" y="294"/>
                </a:cubicBezTo>
                <a:cubicBezTo>
                  <a:pt x="673" y="252"/>
                  <a:pt x="673" y="252"/>
                  <a:pt x="673" y="252"/>
                </a:cubicBezTo>
                <a:cubicBezTo>
                  <a:pt x="126" y="252"/>
                  <a:pt x="126" y="252"/>
                  <a:pt x="126" y="252"/>
                </a:cubicBezTo>
                <a:lnTo>
                  <a:pt x="126" y="2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56" name="Freeform 17"/>
          <p:cNvSpPr>
            <a:spLocks noEditPoints="1"/>
          </p:cNvSpPr>
          <p:nvPr/>
        </p:nvSpPr>
        <p:spPr bwMode="auto">
          <a:xfrm>
            <a:off x="6317949" y="4136972"/>
            <a:ext cx="273076" cy="267384"/>
          </a:xfrm>
          <a:custGeom>
            <a:avLst/>
            <a:gdLst>
              <a:gd name="T0" fmla="*/ 492 w 800"/>
              <a:gd name="T1" fmla="*/ 141 h 784"/>
              <a:gd name="T2" fmla="*/ 442 w 800"/>
              <a:gd name="T3" fmla="*/ 733 h 784"/>
              <a:gd name="T4" fmla="*/ 523 w 800"/>
              <a:gd name="T5" fmla="*/ 784 h 784"/>
              <a:gd name="T6" fmla="*/ 574 w 800"/>
              <a:gd name="T7" fmla="*/ 192 h 784"/>
              <a:gd name="T8" fmla="*/ 542 w 800"/>
              <a:gd name="T9" fmla="*/ 733 h 784"/>
              <a:gd name="T10" fmla="*/ 492 w 800"/>
              <a:gd name="T11" fmla="*/ 752 h 784"/>
              <a:gd name="T12" fmla="*/ 474 w 800"/>
              <a:gd name="T13" fmla="*/ 192 h 784"/>
              <a:gd name="T14" fmla="*/ 523 w 800"/>
              <a:gd name="T15" fmla="*/ 173 h 784"/>
              <a:gd name="T16" fmla="*/ 542 w 800"/>
              <a:gd name="T17" fmla="*/ 733 h 784"/>
              <a:gd name="T18" fmla="*/ 50 w 800"/>
              <a:gd name="T19" fmla="*/ 453 h 784"/>
              <a:gd name="T20" fmla="*/ 0 w 800"/>
              <a:gd name="T21" fmla="*/ 733 h 784"/>
              <a:gd name="T22" fmla="*/ 81 w 800"/>
              <a:gd name="T23" fmla="*/ 784 h 784"/>
              <a:gd name="T24" fmla="*/ 132 w 800"/>
              <a:gd name="T25" fmla="*/ 504 h 784"/>
              <a:gd name="T26" fmla="*/ 100 w 800"/>
              <a:gd name="T27" fmla="*/ 733 h 784"/>
              <a:gd name="T28" fmla="*/ 50 w 800"/>
              <a:gd name="T29" fmla="*/ 752 h 784"/>
              <a:gd name="T30" fmla="*/ 31 w 800"/>
              <a:gd name="T31" fmla="*/ 504 h 784"/>
              <a:gd name="T32" fmla="*/ 81 w 800"/>
              <a:gd name="T33" fmla="*/ 485 h 784"/>
              <a:gd name="T34" fmla="*/ 100 w 800"/>
              <a:gd name="T35" fmla="*/ 733 h 784"/>
              <a:gd name="T36" fmla="*/ 718 w 800"/>
              <a:gd name="T37" fmla="*/ 0 h 784"/>
              <a:gd name="T38" fmla="*/ 668 w 800"/>
              <a:gd name="T39" fmla="*/ 733 h 784"/>
              <a:gd name="T40" fmla="*/ 749 w 800"/>
              <a:gd name="T41" fmla="*/ 784 h 784"/>
              <a:gd name="T42" fmla="*/ 800 w 800"/>
              <a:gd name="T43" fmla="*/ 51 h 784"/>
              <a:gd name="T44" fmla="*/ 768 w 800"/>
              <a:gd name="T45" fmla="*/ 733 h 784"/>
              <a:gd name="T46" fmla="*/ 718 w 800"/>
              <a:gd name="T47" fmla="*/ 752 h 784"/>
              <a:gd name="T48" fmla="*/ 700 w 800"/>
              <a:gd name="T49" fmla="*/ 51 h 784"/>
              <a:gd name="T50" fmla="*/ 749 w 800"/>
              <a:gd name="T51" fmla="*/ 32 h 784"/>
              <a:gd name="T52" fmla="*/ 768 w 800"/>
              <a:gd name="T53" fmla="*/ 733 h 784"/>
              <a:gd name="T54" fmla="*/ 265 w 800"/>
              <a:gd name="T55" fmla="*/ 304 h 784"/>
              <a:gd name="T56" fmla="*/ 215 w 800"/>
              <a:gd name="T57" fmla="*/ 733 h 784"/>
              <a:gd name="T58" fmla="*/ 296 w 800"/>
              <a:gd name="T59" fmla="*/ 784 h 784"/>
              <a:gd name="T60" fmla="*/ 347 w 800"/>
              <a:gd name="T61" fmla="*/ 355 h 784"/>
              <a:gd name="T62" fmla="*/ 296 w 800"/>
              <a:gd name="T63" fmla="*/ 752 h 784"/>
              <a:gd name="T64" fmla="*/ 247 w 800"/>
              <a:gd name="T65" fmla="*/ 733 h 784"/>
              <a:gd name="T66" fmla="*/ 265 w 800"/>
              <a:gd name="T67" fmla="*/ 336 h 784"/>
              <a:gd name="T68" fmla="*/ 315 w 800"/>
              <a:gd name="T69" fmla="*/ 355 h 784"/>
              <a:gd name="T70" fmla="*/ 315 w 800"/>
              <a:gd name="T71" fmla="*/ 733 h 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800" h="784">
                <a:moveTo>
                  <a:pt x="523" y="141"/>
                </a:moveTo>
                <a:cubicBezTo>
                  <a:pt x="492" y="141"/>
                  <a:pt x="492" y="141"/>
                  <a:pt x="492" y="141"/>
                </a:cubicBezTo>
                <a:cubicBezTo>
                  <a:pt x="464" y="141"/>
                  <a:pt x="442" y="164"/>
                  <a:pt x="442" y="192"/>
                </a:cubicBezTo>
                <a:cubicBezTo>
                  <a:pt x="442" y="733"/>
                  <a:pt x="442" y="733"/>
                  <a:pt x="442" y="733"/>
                </a:cubicBezTo>
                <a:cubicBezTo>
                  <a:pt x="442" y="761"/>
                  <a:pt x="464" y="784"/>
                  <a:pt x="492" y="784"/>
                </a:cubicBezTo>
                <a:cubicBezTo>
                  <a:pt x="523" y="784"/>
                  <a:pt x="523" y="784"/>
                  <a:pt x="523" y="784"/>
                </a:cubicBezTo>
                <a:cubicBezTo>
                  <a:pt x="551" y="784"/>
                  <a:pt x="574" y="761"/>
                  <a:pt x="574" y="733"/>
                </a:cubicBezTo>
                <a:cubicBezTo>
                  <a:pt x="574" y="192"/>
                  <a:pt x="574" y="192"/>
                  <a:pt x="574" y="192"/>
                </a:cubicBezTo>
                <a:cubicBezTo>
                  <a:pt x="574" y="164"/>
                  <a:pt x="551" y="141"/>
                  <a:pt x="523" y="141"/>
                </a:cubicBezTo>
                <a:close/>
                <a:moveTo>
                  <a:pt x="542" y="733"/>
                </a:moveTo>
                <a:cubicBezTo>
                  <a:pt x="542" y="743"/>
                  <a:pt x="533" y="752"/>
                  <a:pt x="523" y="752"/>
                </a:cubicBezTo>
                <a:cubicBezTo>
                  <a:pt x="492" y="752"/>
                  <a:pt x="492" y="752"/>
                  <a:pt x="492" y="752"/>
                </a:cubicBezTo>
                <a:cubicBezTo>
                  <a:pt x="482" y="752"/>
                  <a:pt x="474" y="743"/>
                  <a:pt x="474" y="733"/>
                </a:cubicBezTo>
                <a:cubicBezTo>
                  <a:pt x="474" y="192"/>
                  <a:pt x="474" y="192"/>
                  <a:pt x="474" y="192"/>
                </a:cubicBezTo>
                <a:cubicBezTo>
                  <a:pt x="474" y="181"/>
                  <a:pt x="482" y="173"/>
                  <a:pt x="492" y="173"/>
                </a:cubicBezTo>
                <a:cubicBezTo>
                  <a:pt x="523" y="173"/>
                  <a:pt x="523" y="173"/>
                  <a:pt x="523" y="173"/>
                </a:cubicBezTo>
                <a:cubicBezTo>
                  <a:pt x="533" y="173"/>
                  <a:pt x="542" y="181"/>
                  <a:pt x="542" y="192"/>
                </a:cubicBezTo>
                <a:lnTo>
                  <a:pt x="542" y="733"/>
                </a:lnTo>
                <a:close/>
                <a:moveTo>
                  <a:pt x="81" y="453"/>
                </a:moveTo>
                <a:cubicBezTo>
                  <a:pt x="50" y="453"/>
                  <a:pt x="50" y="453"/>
                  <a:pt x="50" y="453"/>
                </a:cubicBezTo>
                <a:cubicBezTo>
                  <a:pt x="22" y="453"/>
                  <a:pt x="0" y="476"/>
                  <a:pt x="0" y="504"/>
                </a:cubicBezTo>
                <a:cubicBezTo>
                  <a:pt x="0" y="733"/>
                  <a:pt x="0" y="733"/>
                  <a:pt x="0" y="733"/>
                </a:cubicBezTo>
                <a:cubicBezTo>
                  <a:pt x="0" y="761"/>
                  <a:pt x="22" y="784"/>
                  <a:pt x="50" y="784"/>
                </a:cubicBezTo>
                <a:cubicBezTo>
                  <a:pt x="81" y="784"/>
                  <a:pt x="81" y="784"/>
                  <a:pt x="81" y="784"/>
                </a:cubicBezTo>
                <a:cubicBezTo>
                  <a:pt x="109" y="784"/>
                  <a:pt x="132" y="761"/>
                  <a:pt x="132" y="733"/>
                </a:cubicBezTo>
                <a:cubicBezTo>
                  <a:pt x="132" y="504"/>
                  <a:pt x="132" y="504"/>
                  <a:pt x="132" y="504"/>
                </a:cubicBezTo>
                <a:cubicBezTo>
                  <a:pt x="132" y="476"/>
                  <a:pt x="109" y="453"/>
                  <a:pt x="81" y="453"/>
                </a:cubicBezTo>
                <a:close/>
                <a:moveTo>
                  <a:pt x="100" y="733"/>
                </a:moveTo>
                <a:cubicBezTo>
                  <a:pt x="100" y="743"/>
                  <a:pt x="91" y="752"/>
                  <a:pt x="81" y="752"/>
                </a:cubicBezTo>
                <a:cubicBezTo>
                  <a:pt x="50" y="752"/>
                  <a:pt x="50" y="752"/>
                  <a:pt x="50" y="752"/>
                </a:cubicBezTo>
                <a:cubicBezTo>
                  <a:pt x="40" y="752"/>
                  <a:pt x="31" y="743"/>
                  <a:pt x="31" y="733"/>
                </a:cubicBezTo>
                <a:cubicBezTo>
                  <a:pt x="31" y="504"/>
                  <a:pt x="31" y="504"/>
                  <a:pt x="31" y="504"/>
                </a:cubicBezTo>
                <a:cubicBezTo>
                  <a:pt x="31" y="494"/>
                  <a:pt x="40" y="485"/>
                  <a:pt x="50" y="485"/>
                </a:cubicBezTo>
                <a:cubicBezTo>
                  <a:pt x="81" y="485"/>
                  <a:pt x="81" y="485"/>
                  <a:pt x="81" y="485"/>
                </a:cubicBezTo>
                <a:cubicBezTo>
                  <a:pt x="91" y="485"/>
                  <a:pt x="100" y="494"/>
                  <a:pt x="100" y="504"/>
                </a:cubicBezTo>
                <a:lnTo>
                  <a:pt x="100" y="733"/>
                </a:lnTo>
                <a:close/>
                <a:moveTo>
                  <a:pt x="749" y="0"/>
                </a:moveTo>
                <a:cubicBezTo>
                  <a:pt x="718" y="0"/>
                  <a:pt x="718" y="0"/>
                  <a:pt x="718" y="0"/>
                </a:cubicBezTo>
                <a:cubicBezTo>
                  <a:pt x="690" y="0"/>
                  <a:pt x="668" y="23"/>
                  <a:pt x="668" y="51"/>
                </a:cubicBezTo>
                <a:cubicBezTo>
                  <a:pt x="668" y="733"/>
                  <a:pt x="668" y="733"/>
                  <a:pt x="668" y="733"/>
                </a:cubicBezTo>
                <a:cubicBezTo>
                  <a:pt x="668" y="761"/>
                  <a:pt x="690" y="784"/>
                  <a:pt x="718" y="784"/>
                </a:cubicBezTo>
                <a:cubicBezTo>
                  <a:pt x="749" y="784"/>
                  <a:pt x="749" y="784"/>
                  <a:pt x="749" y="784"/>
                </a:cubicBezTo>
                <a:cubicBezTo>
                  <a:pt x="777" y="784"/>
                  <a:pt x="800" y="761"/>
                  <a:pt x="800" y="733"/>
                </a:cubicBezTo>
                <a:cubicBezTo>
                  <a:pt x="800" y="51"/>
                  <a:pt x="800" y="51"/>
                  <a:pt x="800" y="51"/>
                </a:cubicBezTo>
                <a:cubicBezTo>
                  <a:pt x="800" y="23"/>
                  <a:pt x="777" y="0"/>
                  <a:pt x="749" y="0"/>
                </a:cubicBezTo>
                <a:close/>
                <a:moveTo>
                  <a:pt x="768" y="733"/>
                </a:moveTo>
                <a:cubicBezTo>
                  <a:pt x="768" y="743"/>
                  <a:pt x="759" y="752"/>
                  <a:pt x="749" y="752"/>
                </a:cubicBezTo>
                <a:cubicBezTo>
                  <a:pt x="718" y="752"/>
                  <a:pt x="718" y="752"/>
                  <a:pt x="718" y="752"/>
                </a:cubicBezTo>
                <a:cubicBezTo>
                  <a:pt x="708" y="752"/>
                  <a:pt x="700" y="743"/>
                  <a:pt x="700" y="733"/>
                </a:cubicBezTo>
                <a:cubicBezTo>
                  <a:pt x="700" y="51"/>
                  <a:pt x="700" y="51"/>
                  <a:pt x="700" y="51"/>
                </a:cubicBezTo>
                <a:cubicBezTo>
                  <a:pt x="700" y="41"/>
                  <a:pt x="708" y="32"/>
                  <a:pt x="718" y="32"/>
                </a:cubicBezTo>
                <a:cubicBezTo>
                  <a:pt x="749" y="32"/>
                  <a:pt x="749" y="32"/>
                  <a:pt x="749" y="32"/>
                </a:cubicBezTo>
                <a:cubicBezTo>
                  <a:pt x="759" y="32"/>
                  <a:pt x="768" y="41"/>
                  <a:pt x="768" y="51"/>
                </a:cubicBezTo>
                <a:lnTo>
                  <a:pt x="768" y="733"/>
                </a:lnTo>
                <a:close/>
                <a:moveTo>
                  <a:pt x="296" y="304"/>
                </a:moveTo>
                <a:cubicBezTo>
                  <a:pt x="265" y="304"/>
                  <a:pt x="265" y="304"/>
                  <a:pt x="265" y="304"/>
                </a:cubicBezTo>
                <a:cubicBezTo>
                  <a:pt x="238" y="304"/>
                  <a:pt x="215" y="327"/>
                  <a:pt x="215" y="355"/>
                </a:cubicBezTo>
                <a:cubicBezTo>
                  <a:pt x="215" y="733"/>
                  <a:pt x="215" y="733"/>
                  <a:pt x="215" y="733"/>
                </a:cubicBezTo>
                <a:cubicBezTo>
                  <a:pt x="215" y="761"/>
                  <a:pt x="238" y="784"/>
                  <a:pt x="265" y="784"/>
                </a:cubicBezTo>
                <a:cubicBezTo>
                  <a:pt x="296" y="784"/>
                  <a:pt x="296" y="784"/>
                  <a:pt x="296" y="784"/>
                </a:cubicBezTo>
                <a:cubicBezTo>
                  <a:pt x="324" y="784"/>
                  <a:pt x="347" y="761"/>
                  <a:pt x="347" y="733"/>
                </a:cubicBezTo>
                <a:cubicBezTo>
                  <a:pt x="347" y="355"/>
                  <a:pt x="347" y="355"/>
                  <a:pt x="347" y="355"/>
                </a:cubicBezTo>
                <a:cubicBezTo>
                  <a:pt x="347" y="327"/>
                  <a:pt x="324" y="304"/>
                  <a:pt x="296" y="304"/>
                </a:cubicBezTo>
                <a:close/>
                <a:moveTo>
                  <a:pt x="296" y="752"/>
                </a:moveTo>
                <a:cubicBezTo>
                  <a:pt x="265" y="752"/>
                  <a:pt x="265" y="752"/>
                  <a:pt x="265" y="752"/>
                </a:cubicBezTo>
                <a:cubicBezTo>
                  <a:pt x="255" y="752"/>
                  <a:pt x="247" y="743"/>
                  <a:pt x="247" y="733"/>
                </a:cubicBezTo>
                <a:cubicBezTo>
                  <a:pt x="247" y="355"/>
                  <a:pt x="247" y="355"/>
                  <a:pt x="247" y="355"/>
                </a:cubicBezTo>
                <a:cubicBezTo>
                  <a:pt x="247" y="344"/>
                  <a:pt x="255" y="336"/>
                  <a:pt x="265" y="336"/>
                </a:cubicBezTo>
                <a:cubicBezTo>
                  <a:pt x="296" y="336"/>
                  <a:pt x="296" y="336"/>
                  <a:pt x="296" y="336"/>
                </a:cubicBezTo>
                <a:cubicBezTo>
                  <a:pt x="307" y="336"/>
                  <a:pt x="315" y="344"/>
                  <a:pt x="315" y="355"/>
                </a:cubicBezTo>
                <a:cubicBezTo>
                  <a:pt x="315" y="733"/>
                  <a:pt x="315" y="733"/>
                  <a:pt x="315" y="733"/>
                </a:cubicBezTo>
                <a:cubicBezTo>
                  <a:pt x="315" y="733"/>
                  <a:pt x="315" y="733"/>
                  <a:pt x="315" y="733"/>
                </a:cubicBezTo>
                <a:cubicBezTo>
                  <a:pt x="315" y="743"/>
                  <a:pt x="307" y="752"/>
                  <a:pt x="296" y="75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cxnSp>
        <p:nvCxnSpPr>
          <p:cNvPr id="57" name="Straight Connector 56"/>
          <p:cNvCxnSpPr>
            <a:stCxn id="9" idx="6"/>
          </p:cNvCxnSpPr>
          <p:nvPr/>
        </p:nvCxnSpPr>
        <p:spPr>
          <a:xfrm>
            <a:off x="4902196" y="3559464"/>
            <a:ext cx="1955805" cy="0"/>
          </a:xfrm>
          <a:prstGeom prst="line">
            <a:avLst/>
          </a:prstGeom>
          <a:ln w="19050" cmpd="sng">
            <a:solidFill>
              <a:schemeClr val="tx1"/>
            </a:solidFill>
            <a:headEnd type="none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>
            <a:stCxn id="11" idx="6"/>
          </p:cNvCxnSpPr>
          <p:nvPr/>
        </p:nvCxnSpPr>
        <p:spPr>
          <a:xfrm>
            <a:off x="6736772" y="4270664"/>
            <a:ext cx="1905000" cy="0"/>
          </a:xfrm>
          <a:prstGeom prst="line">
            <a:avLst/>
          </a:prstGeom>
          <a:ln w="19050" cmpd="sng">
            <a:solidFill>
              <a:schemeClr val="accent3"/>
            </a:solidFill>
            <a:headEnd type="none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596497" y="1125526"/>
            <a:ext cx="7775978" cy="336880"/>
            <a:chOff x="795329" y="1673225"/>
            <a:chExt cx="10367971" cy="449173"/>
          </a:xfrm>
        </p:grpSpPr>
        <p:sp>
          <p:nvSpPr>
            <p:cNvPr id="46" name="TextBox 45"/>
            <p:cNvSpPr txBox="1"/>
            <p:nvPr/>
          </p:nvSpPr>
          <p:spPr>
            <a:xfrm>
              <a:off x="795329" y="1753066"/>
              <a:ext cx="1219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date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2512793" y="1753066"/>
              <a:ext cx="1219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date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4230257" y="1753066"/>
              <a:ext cx="1219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date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5947721" y="1753066"/>
              <a:ext cx="1219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date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7665185" y="1753066"/>
              <a:ext cx="1219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date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9382648" y="1753066"/>
              <a:ext cx="1219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date</a:t>
              </a:r>
            </a:p>
          </p:txBody>
        </p:sp>
        <p:grpSp>
          <p:nvGrpSpPr>
            <p:cNvPr id="81" name="Group 80"/>
            <p:cNvGrpSpPr/>
            <p:nvPr/>
          </p:nvGrpSpPr>
          <p:grpSpPr>
            <a:xfrm rot="10800000">
              <a:off x="800100" y="1673225"/>
              <a:ext cx="10363200" cy="101600"/>
              <a:chOff x="685800" y="1215390"/>
              <a:chExt cx="7772400" cy="137160"/>
            </a:xfrm>
          </p:grpSpPr>
          <p:cxnSp>
            <p:nvCxnSpPr>
              <p:cNvPr id="68" name="Straight Connector 67"/>
              <p:cNvCxnSpPr/>
              <p:nvPr/>
            </p:nvCxnSpPr>
            <p:spPr>
              <a:xfrm>
                <a:off x="685800" y="1352550"/>
                <a:ext cx="7772400" cy="0"/>
              </a:xfrm>
              <a:prstGeom prst="line">
                <a:avLst/>
              </a:prstGeom>
              <a:ln w="6350" cmpd="sng">
                <a:solidFill>
                  <a:schemeClr val="tx1">
                    <a:alpha val="50000"/>
                  </a:schemeClr>
                </a:solidFill>
                <a:headEnd type="none"/>
                <a:tailEnd type="none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/>
            </p:nvCxnSpPr>
            <p:spPr>
              <a:xfrm flipV="1">
                <a:off x="4572000" y="1215390"/>
                <a:ext cx="0" cy="137160"/>
              </a:xfrm>
              <a:prstGeom prst="line">
                <a:avLst/>
              </a:prstGeom>
              <a:ln w="6350" cmpd="sng">
                <a:solidFill>
                  <a:schemeClr val="tx1">
                    <a:alpha val="50000"/>
                  </a:schemeClr>
                </a:solidFill>
                <a:headEnd type="none"/>
                <a:tailEnd type="none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 flipV="1">
                <a:off x="685800" y="1215390"/>
                <a:ext cx="0" cy="137160"/>
              </a:xfrm>
              <a:prstGeom prst="line">
                <a:avLst/>
              </a:prstGeom>
              <a:ln w="6350" cmpd="sng">
                <a:solidFill>
                  <a:schemeClr val="tx1">
                    <a:alpha val="50000"/>
                  </a:schemeClr>
                </a:solidFill>
                <a:headEnd type="none"/>
                <a:tailEnd type="none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 flipV="1">
                <a:off x="1981200" y="1215390"/>
                <a:ext cx="0" cy="137160"/>
              </a:xfrm>
              <a:prstGeom prst="line">
                <a:avLst/>
              </a:prstGeom>
              <a:ln w="6350" cmpd="sng">
                <a:solidFill>
                  <a:schemeClr val="tx1">
                    <a:alpha val="50000"/>
                  </a:schemeClr>
                </a:solidFill>
                <a:headEnd type="none"/>
                <a:tailEnd type="none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 flipV="1">
                <a:off x="3276600" y="1215390"/>
                <a:ext cx="0" cy="137160"/>
              </a:xfrm>
              <a:prstGeom prst="line">
                <a:avLst/>
              </a:prstGeom>
              <a:ln w="6350" cmpd="sng">
                <a:solidFill>
                  <a:schemeClr val="tx1">
                    <a:alpha val="50000"/>
                  </a:schemeClr>
                </a:solidFill>
                <a:headEnd type="none"/>
                <a:tailEnd type="none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 flipV="1">
                <a:off x="5867400" y="1215390"/>
                <a:ext cx="0" cy="137160"/>
              </a:xfrm>
              <a:prstGeom prst="line">
                <a:avLst/>
              </a:prstGeom>
              <a:ln w="6350" cmpd="sng">
                <a:solidFill>
                  <a:schemeClr val="tx1">
                    <a:alpha val="50000"/>
                  </a:schemeClr>
                </a:solidFill>
                <a:headEnd type="none"/>
                <a:tailEnd type="none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 flipV="1">
                <a:off x="7162800" y="1215390"/>
                <a:ext cx="0" cy="137160"/>
              </a:xfrm>
              <a:prstGeom prst="line">
                <a:avLst/>
              </a:prstGeom>
              <a:ln w="6350" cmpd="sng">
                <a:solidFill>
                  <a:schemeClr val="tx1">
                    <a:alpha val="50000"/>
                  </a:schemeClr>
                </a:solidFill>
                <a:headEnd type="none"/>
                <a:tailEnd type="none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 flipV="1">
                <a:off x="8458200" y="1215390"/>
                <a:ext cx="0" cy="137160"/>
              </a:xfrm>
              <a:prstGeom prst="line">
                <a:avLst/>
              </a:prstGeom>
              <a:ln w="6350" cmpd="sng">
                <a:solidFill>
                  <a:schemeClr val="tx1">
                    <a:alpha val="50000"/>
                  </a:schemeClr>
                </a:solidFill>
                <a:headEnd type="none"/>
                <a:tailEnd type="none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86" name="Straight Connector 85"/>
          <p:cNvCxnSpPr/>
          <p:nvPr/>
        </p:nvCxnSpPr>
        <p:spPr>
          <a:xfrm>
            <a:off x="-1413409" y="2137064"/>
            <a:ext cx="2105894" cy="0"/>
          </a:xfrm>
          <a:prstGeom prst="line">
            <a:avLst/>
          </a:prstGeom>
          <a:ln w="19050" cmpd="sng"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Footer Placeholder 99">
            <a:extLst>
              <a:ext uri="{FF2B5EF4-FFF2-40B4-BE49-F238E27FC236}">
                <a16:creationId xmlns:a16="http://schemas.microsoft.com/office/drawing/2014/main" id="{F1F5ADB4-BA8F-466F-9593-E346F15C81C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4" name="Slide Number Placeholder 100">
            <a:extLst>
              <a:ext uri="{FF2B5EF4-FFF2-40B4-BE49-F238E27FC236}">
                <a16:creationId xmlns:a16="http://schemas.microsoft.com/office/drawing/2014/main" id="{5AADFC3C-53A8-4F0A-8596-2102E9E51A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47" name="Text Placeholder 41">
            <a:extLst>
              <a:ext uri="{FF2B5EF4-FFF2-40B4-BE49-F238E27FC236}">
                <a16:creationId xmlns:a16="http://schemas.microsoft.com/office/drawing/2014/main" id="{A33E1C4F-C12F-409E-ABAD-D563024BC6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348571618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19737" y="1571246"/>
            <a:ext cx="174589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/>
              <a:t>Text here…</a:t>
            </a:r>
          </a:p>
        </p:txBody>
      </p:sp>
      <p:sp>
        <p:nvSpPr>
          <p:cNvPr id="4" name="Rectangle 3"/>
          <p:cNvSpPr/>
          <p:nvPr/>
        </p:nvSpPr>
        <p:spPr>
          <a:xfrm>
            <a:off x="2546940" y="2219502"/>
            <a:ext cx="174589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/>
              <a:t>Text here…</a:t>
            </a:r>
          </a:p>
        </p:txBody>
      </p:sp>
      <p:sp>
        <p:nvSpPr>
          <p:cNvPr id="5" name="Rectangle 4"/>
          <p:cNvSpPr/>
          <p:nvPr/>
        </p:nvSpPr>
        <p:spPr>
          <a:xfrm>
            <a:off x="4374144" y="2884986"/>
            <a:ext cx="174589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/>
              <a:t>Text here…</a:t>
            </a:r>
          </a:p>
        </p:txBody>
      </p:sp>
      <p:sp>
        <p:nvSpPr>
          <p:cNvPr id="6" name="Rectangle 5"/>
          <p:cNvSpPr/>
          <p:nvPr/>
        </p:nvSpPr>
        <p:spPr>
          <a:xfrm>
            <a:off x="6201346" y="3543858"/>
            <a:ext cx="174589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/>
              <a:t>Text here… 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8600" y="209550"/>
            <a:ext cx="7560840" cy="545464"/>
          </a:xfrm>
        </p:spPr>
        <p:txBody>
          <a:bodyPr/>
          <a:lstStyle/>
          <a:p>
            <a:r>
              <a:rPr lang="en-US" dirty="0"/>
              <a:t>Plan</a:t>
            </a:r>
          </a:p>
        </p:txBody>
      </p:sp>
      <p:sp>
        <p:nvSpPr>
          <p:cNvPr id="8" name="Right Arrow 7"/>
          <p:cNvSpPr/>
          <p:nvPr/>
        </p:nvSpPr>
        <p:spPr>
          <a:xfrm>
            <a:off x="791580" y="1086585"/>
            <a:ext cx="7560840" cy="648072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5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9" name="Right Arrow 8"/>
          <p:cNvSpPr/>
          <p:nvPr/>
        </p:nvSpPr>
        <p:spPr>
          <a:xfrm>
            <a:off x="2618784" y="1740765"/>
            <a:ext cx="5733637" cy="648072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5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10" name="Right Arrow 9"/>
          <p:cNvSpPr/>
          <p:nvPr/>
        </p:nvSpPr>
        <p:spPr>
          <a:xfrm>
            <a:off x="4445986" y="2394945"/>
            <a:ext cx="3906434" cy="648072"/>
          </a:xfrm>
          <a:prstGeom prst="rightArrow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50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11" name="Right Arrow 10"/>
          <p:cNvSpPr/>
          <p:nvPr/>
        </p:nvSpPr>
        <p:spPr>
          <a:xfrm>
            <a:off x="6273189" y="3049126"/>
            <a:ext cx="2079231" cy="648072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50" dirty="0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13" name="Footer Placeholder 99">
            <a:extLst>
              <a:ext uri="{FF2B5EF4-FFF2-40B4-BE49-F238E27FC236}">
                <a16:creationId xmlns:a16="http://schemas.microsoft.com/office/drawing/2014/main" id="{1F30DF05-1B6E-4878-90A3-F909331CB51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Slide Number Placeholder 100">
            <a:extLst>
              <a:ext uri="{FF2B5EF4-FFF2-40B4-BE49-F238E27FC236}">
                <a16:creationId xmlns:a16="http://schemas.microsoft.com/office/drawing/2014/main" id="{01B4DD60-235C-4142-A7B5-3585E0D6F94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16" name="Text Placeholder 41">
            <a:extLst>
              <a:ext uri="{FF2B5EF4-FFF2-40B4-BE49-F238E27FC236}">
                <a16:creationId xmlns:a16="http://schemas.microsoft.com/office/drawing/2014/main" id="{FE1991EB-1D51-4D74-ABD2-A20ADFE888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28705988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15B9BD-7584-554F-9A39-068976CEF18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C014E3-697B-1C46-BFAA-BB0B996A6C3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E202D2-FA28-214F-B165-593CB24305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 or Plan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563073C-E747-3D4A-9E2A-B13A153B73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4389155"/>
              </p:ext>
            </p:extLst>
          </p:nvPr>
        </p:nvGraphicFramePr>
        <p:xfrm>
          <a:off x="228599" y="971550"/>
          <a:ext cx="8686800" cy="335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7360">
                  <a:extLst>
                    <a:ext uri="{9D8B030D-6E8A-4147-A177-3AD203B41FA5}">
                      <a16:colId xmlns:a16="http://schemas.microsoft.com/office/drawing/2014/main" val="544386064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707152702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3022101001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2429335060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3098671770"/>
                    </a:ext>
                  </a:extLst>
                </a:gridCol>
              </a:tblGrid>
              <a:tr h="55880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has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5560617"/>
                  </a:ext>
                </a:extLst>
              </a:tr>
              <a:tr h="55880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art projec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2986288"/>
                  </a:ext>
                </a:extLst>
              </a:tr>
              <a:tr h="55880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fine Current State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2816764"/>
                  </a:ext>
                </a:extLst>
              </a:tr>
              <a:tr h="55880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fine Future State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832808"/>
                  </a:ext>
                </a:extLst>
              </a:tr>
              <a:tr h="55880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reate Roadmap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472327"/>
                  </a:ext>
                </a:extLst>
              </a:tr>
              <a:tr h="55880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Wrap-Up Projec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7969634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5DCC8CD-4160-8A4C-ABB8-1DA6C84A8D1C}"/>
              </a:ext>
            </a:extLst>
          </p:cNvPr>
          <p:cNvSpPr/>
          <p:nvPr/>
        </p:nvSpPr>
        <p:spPr>
          <a:xfrm>
            <a:off x="2144684" y="1698177"/>
            <a:ext cx="1345501" cy="254000"/>
          </a:xfrm>
          <a:prstGeom prst="rect">
            <a:avLst/>
          </a:prstGeom>
          <a:solidFill>
            <a:srgbClr val="13284B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D55751-1E15-3A44-8E7F-67F3EB50C18B}"/>
              </a:ext>
            </a:extLst>
          </p:cNvPr>
          <p:cNvSpPr/>
          <p:nvPr/>
        </p:nvSpPr>
        <p:spPr>
          <a:xfrm>
            <a:off x="2144684" y="2241897"/>
            <a:ext cx="3079865" cy="254000"/>
          </a:xfrm>
          <a:prstGeom prst="rect">
            <a:avLst/>
          </a:prstGeom>
          <a:solidFill>
            <a:srgbClr val="13284B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E516B2F-5633-4B43-9420-10DCF6930D20}"/>
              </a:ext>
            </a:extLst>
          </p:cNvPr>
          <p:cNvSpPr/>
          <p:nvPr/>
        </p:nvSpPr>
        <p:spPr>
          <a:xfrm>
            <a:off x="3886200" y="2812634"/>
            <a:ext cx="3079865" cy="254000"/>
          </a:xfrm>
          <a:prstGeom prst="rect">
            <a:avLst/>
          </a:prstGeom>
          <a:solidFill>
            <a:srgbClr val="13284B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45F85C-B446-B448-BC36-E4B939E3E074}"/>
              </a:ext>
            </a:extLst>
          </p:cNvPr>
          <p:cNvSpPr/>
          <p:nvPr/>
        </p:nvSpPr>
        <p:spPr>
          <a:xfrm>
            <a:off x="5620564" y="3363606"/>
            <a:ext cx="1345501" cy="254000"/>
          </a:xfrm>
          <a:prstGeom prst="rect">
            <a:avLst/>
          </a:prstGeom>
          <a:solidFill>
            <a:srgbClr val="13284B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F5ED7D4-380F-CC49-A8CD-8FFDCC1675F5}"/>
              </a:ext>
            </a:extLst>
          </p:cNvPr>
          <p:cNvSpPr/>
          <p:nvPr/>
        </p:nvSpPr>
        <p:spPr>
          <a:xfrm>
            <a:off x="7366237" y="3928871"/>
            <a:ext cx="1345501" cy="254000"/>
          </a:xfrm>
          <a:prstGeom prst="rect">
            <a:avLst/>
          </a:prstGeom>
          <a:solidFill>
            <a:srgbClr val="13284B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5" name="Triangle 14">
            <a:extLst>
              <a:ext uri="{FF2B5EF4-FFF2-40B4-BE49-F238E27FC236}">
                <a16:creationId xmlns:a16="http://schemas.microsoft.com/office/drawing/2014/main" id="{BD392BC8-471B-2242-B82A-8DA86C0F1ECE}"/>
              </a:ext>
            </a:extLst>
          </p:cNvPr>
          <p:cNvSpPr/>
          <p:nvPr/>
        </p:nvSpPr>
        <p:spPr>
          <a:xfrm rot="10800000">
            <a:off x="4434839" y="2119961"/>
            <a:ext cx="274320" cy="243872"/>
          </a:xfrm>
          <a:prstGeom prst="triangl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6" name="Text Placeholder 41">
            <a:extLst>
              <a:ext uri="{FF2B5EF4-FFF2-40B4-BE49-F238E27FC236}">
                <a16:creationId xmlns:a16="http://schemas.microsoft.com/office/drawing/2014/main" id="{37514BBA-3BF3-4CC6-A76B-27406F2FE6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3818829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19235BC-5E20-374E-A234-1F2D6EA81D3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C6EC57-4BD0-8148-BB3A-29CA46C0EC6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 or Plan</a:t>
            </a:r>
          </a:p>
        </p:txBody>
      </p:sp>
      <p:sp>
        <p:nvSpPr>
          <p:cNvPr id="6" name="Text Box 56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246529" y="1211855"/>
            <a:ext cx="1371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 noProof="1">
                <a:cs typeface="Arial"/>
              </a:rPr>
              <a:t>Phase 1</a:t>
            </a:r>
          </a:p>
          <a:p>
            <a:pPr eaLnBrk="0" hangingPunct="0">
              <a:spcBef>
                <a:spcPts val="400"/>
              </a:spcBef>
            </a:pPr>
            <a:r>
              <a:rPr lang="en-US" sz="900" noProof="1">
                <a:cs typeface="Arial"/>
              </a:rPr>
              <a:t>Describe the necessary steps and timeframe for accomplishing objectives of each phase</a:t>
            </a:r>
            <a:endParaRPr lang="en-US" sz="1050" noProof="1">
              <a:cs typeface="Arial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B82BE4D-F9ED-B243-A645-A24AD3D886CA}"/>
              </a:ext>
            </a:extLst>
          </p:cNvPr>
          <p:cNvGrpSpPr>
            <a:grpSpLocks noChangeAspect="1"/>
          </p:cNvGrpSpPr>
          <p:nvPr/>
        </p:nvGrpSpPr>
        <p:grpSpPr>
          <a:xfrm>
            <a:off x="228600" y="2305100"/>
            <a:ext cx="8686800" cy="502280"/>
            <a:chOff x="505063" y="2780235"/>
            <a:chExt cx="8133662" cy="470297"/>
          </a:xfrm>
        </p:grpSpPr>
        <p:sp>
          <p:nvSpPr>
            <p:cNvPr id="16" name="AutoShape 6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05063" y="2865502"/>
              <a:ext cx="370106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AutoShape 6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781523" y="2865502"/>
              <a:ext cx="370106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AutoShape 62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057984" y="2865502"/>
              <a:ext cx="371750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AutoShape 63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336088" y="2865502"/>
              <a:ext cx="370106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AutoShape 65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612551" y="2865502"/>
              <a:ext cx="370106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7"/>
            <p:cNvSpPr>
              <a:spLocks/>
            </p:cNvSpPr>
            <p:nvPr/>
          </p:nvSpPr>
          <p:spPr bwMode="auto">
            <a:xfrm>
              <a:off x="1821472" y="2780235"/>
              <a:ext cx="437842" cy="470297"/>
            </a:xfrm>
            <a:custGeom>
              <a:avLst/>
              <a:gdLst/>
              <a:ahLst/>
              <a:cxnLst>
                <a:cxn ang="0">
                  <a:pos x="316" y="159"/>
                </a:cxn>
                <a:cxn ang="0">
                  <a:pos x="316" y="159"/>
                </a:cxn>
                <a:cxn ang="0">
                  <a:pos x="217" y="0"/>
                </a:cxn>
                <a:cxn ang="0">
                  <a:pos x="0" y="0"/>
                </a:cxn>
                <a:cxn ang="0">
                  <a:pos x="59" y="95"/>
                </a:cxn>
                <a:cxn ang="0">
                  <a:pos x="59" y="95"/>
                </a:cxn>
                <a:cxn ang="0">
                  <a:pos x="201" y="319"/>
                </a:cxn>
                <a:cxn ang="0">
                  <a:pos x="59" y="546"/>
                </a:cxn>
                <a:cxn ang="0">
                  <a:pos x="276" y="546"/>
                </a:cxn>
                <a:cxn ang="0">
                  <a:pos x="418" y="319"/>
                </a:cxn>
                <a:cxn ang="0">
                  <a:pos x="316" y="159"/>
                </a:cxn>
              </a:cxnLst>
              <a:rect l="0" t="0" r="r" b="b"/>
              <a:pathLst>
                <a:path w="418" h="546">
                  <a:moveTo>
                    <a:pt x="316" y="159"/>
                  </a:moveTo>
                  <a:lnTo>
                    <a:pt x="316" y="159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201" y="319"/>
                  </a:lnTo>
                  <a:lnTo>
                    <a:pt x="59" y="546"/>
                  </a:lnTo>
                  <a:lnTo>
                    <a:pt x="276" y="546"/>
                  </a:lnTo>
                  <a:lnTo>
                    <a:pt x="418" y="319"/>
                  </a:lnTo>
                  <a:lnTo>
                    <a:pt x="316" y="15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headEnd/>
              <a:tailEnd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54000" tIns="0" rIns="0" bIns="0" anchor="ctr"/>
            <a:lstStyle/>
            <a:p>
              <a:pPr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de-DE" sz="1500" b="1" noProof="1">
                <a:solidFill>
                  <a:srgbClr val="033266"/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cs typeface="Arial"/>
              </a:endParaRPr>
            </a:p>
          </p:txBody>
        </p:sp>
        <p:sp>
          <p:nvSpPr>
            <p:cNvPr id="22" name="AutoShape 66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171248" y="2865502"/>
              <a:ext cx="370106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AutoShape 6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447385" y="2865502"/>
              <a:ext cx="370106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AutoShape 6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723522" y="2865502"/>
              <a:ext cx="370106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AutoShape 6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999659" y="2865502"/>
              <a:ext cx="370106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6" name="AutoShape 6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75796" y="2865502"/>
              <a:ext cx="370106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490224" y="2780235"/>
              <a:ext cx="439615" cy="470297"/>
            </a:xfrm>
            <a:custGeom>
              <a:avLst/>
              <a:gdLst/>
              <a:ahLst/>
              <a:cxnLst>
                <a:cxn ang="0">
                  <a:pos x="316" y="159"/>
                </a:cxn>
                <a:cxn ang="0">
                  <a:pos x="316" y="159"/>
                </a:cxn>
                <a:cxn ang="0">
                  <a:pos x="217" y="0"/>
                </a:cxn>
                <a:cxn ang="0">
                  <a:pos x="0" y="0"/>
                </a:cxn>
                <a:cxn ang="0">
                  <a:pos x="59" y="95"/>
                </a:cxn>
                <a:cxn ang="0">
                  <a:pos x="59" y="95"/>
                </a:cxn>
                <a:cxn ang="0">
                  <a:pos x="201" y="319"/>
                </a:cxn>
                <a:cxn ang="0">
                  <a:pos x="59" y="546"/>
                </a:cxn>
                <a:cxn ang="0">
                  <a:pos x="276" y="546"/>
                </a:cxn>
                <a:cxn ang="0">
                  <a:pos x="418" y="319"/>
                </a:cxn>
                <a:cxn ang="0">
                  <a:pos x="316" y="159"/>
                </a:cxn>
              </a:cxnLst>
              <a:rect l="0" t="0" r="r" b="b"/>
              <a:pathLst>
                <a:path w="418" h="546">
                  <a:moveTo>
                    <a:pt x="316" y="159"/>
                  </a:moveTo>
                  <a:lnTo>
                    <a:pt x="316" y="159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201" y="319"/>
                  </a:lnTo>
                  <a:lnTo>
                    <a:pt x="59" y="546"/>
                  </a:lnTo>
                  <a:lnTo>
                    <a:pt x="276" y="546"/>
                  </a:lnTo>
                  <a:lnTo>
                    <a:pt x="418" y="319"/>
                  </a:lnTo>
                  <a:lnTo>
                    <a:pt x="316" y="15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headEnd/>
              <a:tailEnd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54000" tIns="0" rIns="0" bIns="0" anchor="ctr"/>
            <a:lstStyle/>
            <a:p>
              <a:pPr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de-DE" sz="1500" b="1" noProof="1">
                <a:solidFill>
                  <a:srgbClr val="033266"/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cs typeface="Arial"/>
              </a:endParaRPr>
            </a:p>
          </p:txBody>
        </p:sp>
        <p:sp>
          <p:nvSpPr>
            <p:cNvPr id="28" name="AutoShape 6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835668" y="2865502"/>
              <a:ext cx="370106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9" name="AutoShape 6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111394" y="2865502"/>
              <a:ext cx="370106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0" name="AutoShape 6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387120" y="2865502"/>
              <a:ext cx="370106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1" name="AutoShape 75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662844" y="2865502"/>
              <a:ext cx="368461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2" name="AutoShape 7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936925" y="2865502"/>
              <a:ext cx="368461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3" name="Freeform 7"/>
            <p:cNvSpPr>
              <a:spLocks/>
            </p:cNvSpPr>
            <p:nvPr/>
          </p:nvSpPr>
          <p:spPr bwMode="auto">
            <a:xfrm>
              <a:off x="5145787" y="2780235"/>
              <a:ext cx="437844" cy="470297"/>
            </a:xfrm>
            <a:custGeom>
              <a:avLst/>
              <a:gdLst/>
              <a:ahLst/>
              <a:cxnLst>
                <a:cxn ang="0">
                  <a:pos x="316" y="159"/>
                </a:cxn>
                <a:cxn ang="0">
                  <a:pos x="316" y="159"/>
                </a:cxn>
                <a:cxn ang="0">
                  <a:pos x="217" y="0"/>
                </a:cxn>
                <a:cxn ang="0">
                  <a:pos x="0" y="0"/>
                </a:cxn>
                <a:cxn ang="0">
                  <a:pos x="59" y="95"/>
                </a:cxn>
                <a:cxn ang="0">
                  <a:pos x="59" y="95"/>
                </a:cxn>
                <a:cxn ang="0">
                  <a:pos x="201" y="319"/>
                </a:cxn>
                <a:cxn ang="0">
                  <a:pos x="59" y="546"/>
                </a:cxn>
                <a:cxn ang="0">
                  <a:pos x="276" y="546"/>
                </a:cxn>
                <a:cxn ang="0">
                  <a:pos x="418" y="319"/>
                </a:cxn>
                <a:cxn ang="0">
                  <a:pos x="316" y="159"/>
                </a:cxn>
              </a:cxnLst>
              <a:rect l="0" t="0" r="r" b="b"/>
              <a:pathLst>
                <a:path w="418" h="546">
                  <a:moveTo>
                    <a:pt x="316" y="159"/>
                  </a:moveTo>
                  <a:lnTo>
                    <a:pt x="316" y="159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201" y="319"/>
                  </a:lnTo>
                  <a:lnTo>
                    <a:pt x="59" y="546"/>
                  </a:lnTo>
                  <a:lnTo>
                    <a:pt x="276" y="546"/>
                  </a:lnTo>
                  <a:lnTo>
                    <a:pt x="418" y="319"/>
                  </a:lnTo>
                  <a:lnTo>
                    <a:pt x="316" y="15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headEnd/>
              <a:tailEnd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54000" tIns="0" rIns="0" bIns="0" anchor="ctr"/>
            <a:lstStyle/>
            <a:p>
              <a:pPr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de-DE" sz="1500" b="1" noProof="1">
                <a:solidFill>
                  <a:srgbClr val="033266"/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cs typeface="Arial"/>
              </a:endParaRPr>
            </a:p>
          </p:txBody>
        </p:sp>
        <p:sp>
          <p:nvSpPr>
            <p:cNvPr id="34" name="AutoShape 7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497267" y="2865502"/>
              <a:ext cx="368461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5" name="AutoShape 79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772934" y="2865502"/>
              <a:ext cx="368461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6" name="AutoShape 8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048601" y="2865502"/>
              <a:ext cx="370106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7" name="AutoShape 8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325914" y="2865502"/>
              <a:ext cx="368461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8" name="AutoShape 83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601580" y="2865502"/>
              <a:ext cx="368461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9" name="Freeform 7"/>
            <p:cNvSpPr>
              <a:spLocks/>
            </p:cNvSpPr>
            <p:nvPr/>
          </p:nvSpPr>
          <p:spPr bwMode="auto">
            <a:xfrm>
              <a:off x="6808952" y="2780235"/>
              <a:ext cx="439615" cy="470297"/>
            </a:xfrm>
            <a:custGeom>
              <a:avLst/>
              <a:gdLst/>
              <a:ahLst/>
              <a:cxnLst>
                <a:cxn ang="0">
                  <a:pos x="316" y="159"/>
                </a:cxn>
                <a:cxn ang="0">
                  <a:pos x="316" y="159"/>
                </a:cxn>
                <a:cxn ang="0">
                  <a:pos x="217" y="0"/>
                </a:cxn>
                <a:cxn ang="0">
                  <a:pos x="0" y="0"/>
                </a:cxn>
                <a:cxn ang="0">
                  <a:pos x="59" y="95"/>
                </a:cxn>
                <a:cxn ang="0">
                  <a:pos x="59" y="95"/>
                </a:cxn>
                <a:cxn ang="0">
                  <a:pos x="201" y="319"/>
                </a:cxn>
                <a:cxn ang="0">
                  <a:pos x="59" y="546"/>
                </a:cxn>
                <a:cxn ang="0">
                  <a:pos x="276" y="546"/>
                </a:cxn>
                <a:cxn ang="0">
                  <a:pos x="418" y="319"/>
                </a:cxn>
                <a:cxn ang="0">
                  <a:pos x="316" y="159"/>
                </a:cxn>
              </a:cxnLst>
              <a:rect l="0" t="0" r="r" b="b"/>
              <a:pathLst>
                <a:path w="418" h="546">
                  <a:moveTo>
                    <a:pt x="316" y="159"/>
                  </a:moveTo>
                  <a:lnTo>
                    <a:pt x="316" y="159"/>
                  </a:lnTo>
                  <a:lnTo>
                    <a:pt x="217" y="0"/>
                  </a:lnTo>
                  <a:lnTo>
                    <a:pt x="0" y="0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201" y="319"/>
                  </a:lnTo>
                  <a:lnTo>
                    <a:pt x="59" y="546"/>
                  </a:lnTo>
                  <a:lnTo>
                    <a:pt x="276" y="546"/>
                  </a:lnTo>
                  <a:lnTo>
                    <a:pt x="418" y="319"/>
                  </a:lnTo>
                  <a:lnTo>
                    <a:pt x="316" y="15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headEnd/>
              <a:tailEnd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54000" tIns="0" rIns="0" bIns="0" anchor="ctr"/>
            <a:lstStyle/>
            <a:p>
              <a:pPr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de-DE" sz="1500" b="1" noProof="1">
                <a:solidFill>
                  <a:srgbClr val="033266"/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cs typeface="Arial"/>
              </a:endParaRPr>
            </a:p>
          </p:txBody>
        </p:sp>
        <p:sp>
          <p:nvSpPr>
            <p:cNvPr id="40" name="AutoShape 84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7158630" y="2865502"/>
              <a:ext cx="370106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41" name="AutoShape 85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7436950" y="2865502"/>
              <a:ext cx="368461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42" name="AutoShape 86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7713625" y="2865502"/>
              <a:ext cx="370106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43" name="AutoShape 89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8270264" y="2865502"/>
              <a:ext cx="368461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45" name="AutoShape 86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7991944" y="2865502"/>
              <a:ext cx="370106" cy="385030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54000" tIns="0" rIns="0" bIns="0" anchor="ctr"/>
            <a:lstStyle/>
            <a:p>
              <a:pPr marL="66675" indent="-66675" eaLnBrk="0" hangingPunct="0">
                <a:spcAft>
                  <a:spcPts val="45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271463" algn="r"/>
                  <a:tab pos="807244" algn="r"/>
                  <a:tab pos="1343025" algn="r"/>
                  <a:tab pos="1885950" algn="r"/>
                  <a:tab pos="2421731" algn="r"/>
                  <a:tab pos="2957513" algn="r"/>
                  <a:tab pos="3500438" algn="r"/>
                  <a:tab pos="4036219" algn="r"/>
                  <a:tab pos="4572000" algn="r"/>
                  <a:tab pos="5114925" algn="r"/>
                  <a:tab pos="5650706" algn="r"/>
                </a:tabLst>
                <a:defRPr/>
              </a:pPr>
              <a:endParaRPr lang="en-GB" sz="15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  <p:sp>
        <p:nvSpPr>
          <p:cNvPr id="54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F24A1D54-A11F-1045-9B5C-6A660B4F95A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71967" y="1211855"/>
            <a:ext cx="1371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 noProof="1">
                <a:cs typeface="Arial"/>
              </a:rPr>
              <a:t>Phase 2</a:t>
            </a:r>
          </a:p>
          <a:p>
            <a:pPr eaLnBrk="0" hangingPunct="0">
              <a:spcBef>
                <a:spcPts val="400"/>
              </a:spcBef>
            </a:pPr>
            <a:r>
              <a:rPr lang="en-US" sz="900" noProof="1">
                <a:cs typeface="Arial"/>
              </a:rPr>
              <a:t>Describe the necessary steps and timeframe for accomplishing objectives of each phase</a:t>
            </a:r>
            <a:endParaRPr lang="en-US" sz="1050" noProof="1">
              <a:cs typeface="Arial"/>
            </a:endParaRPr>
          </a:p>
        </p:txBody>
      </p:sp>
      <p:sp>
        <p:nvSpPr>
          <p:cNvPr id="55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15534BF2-67A0-8745-BE31-0705AC8C1E8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897405" y="1211855"/>
            <a:ext cx="1371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 noProof="1">
                <a:cs typeface="Arial"/>
              </a:rPr>
              <a:t>Phase 3</a:t>
            </a:r>
          </a:p>
          <a:p>
            <a:pPr eaLnBrk="0" hangingPunct="0">
              <a:spcBef>
                <a:spcPts val="400"/>
              </a:spcBef>
            </a:pPr>
            <a:r>
              <a:rPr lang="en-US" sz="900" noProof="1">
                <a:cs typeface="Arial"/>
              </a:rPr>
              <a:t>Describe the necessary steps and timeframe for accomplishing objectives of each phase</a:t>
            </a:r>
            <a:endParaRPr lang="en-US" sz="1050" noProof="1">
              <a:cs typeface="Arial"/>
            </a:endParaRPr>
          </a:p>
        </p:txBody>
      </p:sp>
      <p:sp>
        <p:nvSpPr>
          <p:cNvPr id="56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41A4DB17-2591-6844-88EA-92635A48FF4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722843" y="1211855"/>
            <a:ext cx="1371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 noProof="1">
                <a:cs typeface="Arial"/>
              </a:rPr>
              <a:t>Phase 4</a:t>
            </a:r>
          </a:p>
          <a:p>
            <a:pPr eaLnBrk="0" hangingPunct="0">
              <a:spcBef>
                <a:spcPts val="400"/>
              </a:spcBef>
            </a:pPr>
            <a:r>
              <a:rPr lang="en-US" sz="900" noProof="1">
                <a:cs typeface="Arial"/>
              </a:rPr>
              <a:t>Describe the necessary steps and timeframe for accomplishing objectives of each phase</a:t>
            </a:r>
            <a:endParaRPr lang="en-US" sz="1050" noProof="1">
              <a:cs typeface="Arial"/>
            </a:endParaRPr>
          </a:p>
        </p:txBody>
      </p:sp>
      <p:sp>
        <p:nvSpPr>
          <p:cNvPr id="57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2C67572D-48D1-C243-98D8-09DDA5D7BF7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548282" y="1211855"/>
            <a:ext cx="1371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 noProof="1">
                <a:cs typeface="Arial"/>
              </a:rPr>
              <a:t>Phase 5</a:t>
            </a:r>
          </a:p>
          <a:p>
            <a:pPr eaLnBrk="0" hangingPunct="0">
              <a:spcBef>
                <a:spcPts val="400"/>
              </a:spcBef>
            </a:pPr>
            <a:r>
              <a:rPr lang="en-US" sz="900" noProof="1">
                <a:cs typeface="Arial"/>
              </a:rPr>
              <a:t>Describe the necessary steps and timeframe for accomplishing objectives of each phase</a:t>
            </a:r>
            <a:endParaRPr lang="en-US" sz="1050" noProof="1">
              <a:cs typeface="Arial"/>
            </a:endParaRPr>
          </a:p>
        </p:txBody>
      </p:sp>
      <p:sp>
        <p:nvSpPr>
          <p:cNvPr id="65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0E4A8D41-2B9F-1C4E-802D-E80AFA796AB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6529" y="3085295"/>
            <a:ext cx="1371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>
            <a:no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 noProof="1">
                <a:cs typeface="Arial"/>
              </a:rPr>
              <a:t>Phase Objectives</a:t>
            </a:r>
          </a:p>
          <a:p>
            <a:pPr eaLnBrk="0" hangingPunct="0">
              <a:spcBef>
                <a:spcPts val="400"/>
              </a:spcBef>
            </a:pPr>
            <a:r>
              <a:rPr lang="en-US" sz="900" noProof="1">
                <a:cs typeface="Arial"/>
              </a:rPr>
              <a:t>Outline the objectives for each phase</a:t>
            </a:r>
            <a:endParaRPr lang="en-US" sz="1050" noProof="1">
              <a:cs typeface="Arial"/>
            </a:endParaRPr>
          </a:p>
        </p:txBody>
      </p:sp>
      <p:sp>
        <p:nvSpPr>
          <p:cNvPr id="66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1A1DBC00-72A8-754E-A280-B6844638DBB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71967" y="3085295"/>
            <a:ext cx="1371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>
            <a:no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 noProof="1">
                <a:cs typeface="Arial"/>
              </a:rPr>
              <a:t>Phase Objectives</a:t>
            </a:r>
          </a:p>
          <a:p>
            <a:pPr eaLnBrk="0" hangingPunct="0">
              <a:spcBef>
                <a:spcPts val="400"/>
              </a:spcBef>
            </a:pPr>
            <a:r>
              <a:rPr lang="en-US" sz="900" noProof="1">
                <a:cs typeface="Arial"/>
              </a:rPr>
              <a:t>Outline the objectives for each phase</a:t>
            </a:r>
            <a:endParaRPr lang="en-US" sz="1050" noProof="1">
              <a:cs typeface="Arial"/>
            </a:endParaRPr>
          </a:p>
        </p:txBody>
      </p:sp>
      <p:sp>
        <p:nvSpPr>
          <p:cNvPr id="67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215D4321-9F35-7341-8B1C-8C9EE2BB242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897405" y="3085295"/>
            <a:ext cx="1371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>
            <a:no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 noProof="1">
                <a:cs typeface="Arial"/>
              </a:rPr>
              <a:t>Phase Objectives</a:t>
            </a:r>
          </a:p>
          <a:p>
            <a:pPr eaLnBrk="0" hangingPunct="0">
              <a:spcBef>
                <a:spcPts val="400"/>
              </a:spcBef>
            </a:pPr>
            <a:r>
              <a:rPr lang="en-US" sz="900" noProof="1">
                <a:cs typeface="Arial"/>
              </a:rPr>
              <a:t>Outline the objectives for each phase</a:t>
            </a:r>
            <a:endParaRPr lang="en-US" sz="1050" noProof="1">
              <a:cs typeface="Arial"/>
            </a:endParaRPr>
          </a:p>
        </p:txBody>
      </p:sp>
      <p:sp>
        <p:nvSpPr>
          <p:cNvPr id="68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7CBC3897-0475-A049-B426-428630C9C52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722843" y="3085295"/>
            <a:ext cx="1371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>
            <a:no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 noProof="1">
                <a:cs typeface="Arial"/>
              </a:rPr>
              <a:t>Phase Objectives</a:t>
            </a:r>
          </a:p>
          <a:p>
            <a:pPr eaLnBrk="0" hangingPunct="0">
              <a:spcBef>
                <a:spcPts val="400"/>
              </a:spcBef>
            </a:pPr>
            <a:r>
              <a:rPr lang="en-US" sz="900" noProof="1">
                <a:cs typeface="Arial"/>
              </a:rPr>
              <a:t>Outline the objectives for each phase</a:t>
            </a:r>
            <a:endParaRPr lang="en-US" sz="1050" noProof="1">
              <a:cs typeface="Arial"/>
            </a:endParaRPr>
          </a:p>
        </p:txBody>
      </p:sp>
      <p:sp>
        <p:nvSpPr>
          <p:cNvPr id="69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A38DC690-1C23-9648-A6B3-87030FA23E1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548282" y="3085295"/>
            <a:ext cx="1371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>
            <a:no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 noProof="1">
                <a:cs typeface="Arial"/>
              </a:rPr>
              <a:t>Phase Objectives</a:t>
            </a:r>
          </a:p>
          <a:p>
            <a:pPr eaLnBrk="0" hangingPunct="0">
              <a:spcBef>
                <a:spcPts val="400"/>
              </a:spcBef>
            </a:pPr>
            <a:r>
              <a:rPr lang="en-US" sz="900" noProof="1">
                <a:cs typeface="Arial"/>
              </a:rPr>
              <a:t>Outline the objectives for each phase</a:t>
            </a:r>
            <a:endParaRPr lang="en-US" sz="1050" noProof="1">
              <a:cs typeface="Arial"/>
            </a:endParaRPr>
          </a:p>
        </p:txBody>
      </p:sp>
      <p:sp>
        <p:nvSpPr>
          <p:cNvPr id="46" name="Text Placeholder 41">
            <a:extLst>
              <a:ext uri="{FF2B5EF4-FFF2-40B4-BE49-F238E27FC236}">
                <a16:creationId xmlns:a16="http://schemas.microsoft.com/office/drawing/2014/main" id="{68977763-EE91-4157-AD91-E0FF20A59B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58700650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087846B-DB8B-4741-AE21-C4CC222F1F8A}"/>
              </a:ext>
            </a:extLst>
          </p:cNvPr>
          <p:cNvSpPr/>
          <p:nvPr/>
        </p:nvSpPr>
        <p:spPr>
          <a:xfrm>
            <a:off x="228600" y="971550"/>
            <a:ext cx="8686800" cy="36576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14D0D38-A677-7E46-AC6C-0DAAE5E6DE2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D9E31F-5FD4-F848-A1A9-FC38C3DFBE7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 or Plan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971550"/>
            <a:ext cx="2743200" cy="36576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US" sz="1400" b="1" dirty="0">
                <a:solidFill>
                  <a:srgbClr val="FFFFFF"/>
                </a:solidFill>
              </a:rPr>
              <a:t>Year 1</a:t>
            </a:r>
          </a:p>
        </p:txBody>
      </p:sp>
      <p:sp>
        <p:nvSpPr>
          <p:cNvPr id="8" name="Rectangle 7"/>
          <p:cNvSpPr/>
          <p:nvPr/>
        </p:nvSpPr>
        <p:spPr>
          <a:xfrm>
            <a:off x="3200400" y="971550"/>
            <a:ext cx="2743200" cy="36576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US" sz="1400" b="1" dirty="0">
                <a:solidFill>
                  <a:srgbClr val="FFFFFF"/>
                </a:solidFill>
              </a:rPr>
              <a:t>Year 2</a:t>
            </a:r>
          </a:p>
        </p:txBody>
      </p:sp>
      <p:sp>
        <p:nvSpPr>
          <p:cNvPr id="9" name="Rectangle 8"/>
          <p:cNvSpPr/>
          <p:nvPr/>
        </p:nvSpPr>
        <p:spPr>
          <a:xfrm>
            <a:off x="228600" y="1447688"/>
            <a:ext cx="2743200" cy="36576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US" sz="1200" dirty="0">
                <a:solidFill>
                  <a:srgbClr val="FFFFFF"/>
                </a:solidFill>
              </a:rPr>
              <a:t>Heading</a:t>
            </a:r>
          </a:p>
        </p:txBody>
      </p:sp>
      <p:sp>
        <p:nvSpPr>
          <p:cNvPr id="10" name="Rectangle 9"/>
          <p:cNvSpPr/>
          <p:nvPr/>
        </p:nvSpPr>
        <p:spPr>
          <a:xfrm>
            <a:off x="228600" y="1813448"/>
            <a:ext cx="2743200" cy="152534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42900"/>
            <a:r>
              <a:rPr lang="en-US" sz="1100" dirty="0">
                <a:solidFill>
                  <a:schemeClr val="tx1"/>
                </a:solidFill>
              </a:rPr>
              <a:t>Description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200400" y="1447688"/>
            <a:ext cx="2743200" cy="36576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US" sz="1200" dirty="0">
                <a:solidFill>
                  <a:srgbClr val="FFFFFF"/>
                </a:solidFill>
              </a:rPr>
              <a:t>Heading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200400" y="1813448"/>
            <a:ext cx="2743200" cy="152534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42900"/>
            <a:r>
              <a:rPr lang="en-US" sz="1100" dirty="0">
                <a:solidFill>
                  <a:schemeClr val="tx1"/>
                </a:solidFill>
              </a:rPr>
              <a:t>Descriptio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172200" y="1447688"/>
            <a:ext cx="2743200" cy="36576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US" sz="1200" dirty="0">
                <a:solidFill>
                  <a:srgbClr val="FFFFFF"/>
                </a:solidFill>
              </a:rPr>
              <a:t>Heading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172200" y="1813448"/>
            <a:ext cx="2743200" cy="152534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42900"/>
            <a:r>
              <a:rPr lang="en-US" sz="1100" dirty="0">
                <a:solidFill>
                  <a:schemeClr val="tx1"/>
                </a:solidFill>
              </a:rPr>
              <a:t>Description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200400" y="3448050"/>
            <a:ext cx="2743200" cy="876300"/>
          </a:xfrm>
          <a:prstGeom prst="rect">
            <a:avLst/>
          </a:prstGeom>
          <a:ln w="9525">
            <a:solidFill>
              <a:schemeClr val="accent4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42900"/>
            <a:r>
              <a:rPr lang="en-US" sz="1100" dirty="0">
                <a:solidFill>
                  <a:schemeClr val="tx1"/>
                </a:solidFill>
              </a:rPr>
              <a:t>Sub-Point Description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172200" y="3448050"/>
            <a:ext cx="2743200" cy="876300"/>
          </a:xfrm>
          <a:prstGeom prst="rect">
            <a:avLst/>
          </a:prstGeom>
          <a:ln w="9525">
            <a:solidFill>
              <a:schemeClr val="accent4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42900"/>
            <a:r>
              <a:rPr lang="en-US" sz="1100" dirty="0">
                <a:solidFill>
                  <a:schemeClr val="tx1"/>
                </a:solidFill>
              </a:rPr>
              <a:t>Sub-Point Descrip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1CB7FDA-863A-C04E-AF81-190B9ADAE807}"/>
              </a:ext>
            </a:extLst>
          </p:cNvPr>
          <p:cNvSpPr/>
          <p:nvPr/>
        </p:nvSpPr>
        <p:spPr>
          <a:xfrm>
            <a:off x="6172200" y="971550"/>
            <a:ext cx="2743200" cy="36576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US" sz="1400" b="1" dirty="0">
                <a:solidFill>
                  <a:srgbClr val="FFFFFF"/>
                </a:solidFill>
              </a:rPr>
              <a:t>Year 3</a:t>
            </a:r>
          </a:p>
        </p:txBody>
      </p:sp>
      <p:sp>
        <p:nvSpPr>
          <p:cNvPr id="21" name="Triangle 20">
            <a:extLst>
              <a:ext uri="{FF2B5EF4-FFF2-40B4-BE49-F238E27FC236}">
                <a16:creationId xmlns:a16="http://schemas.microsoft.com/office/drawing/2014/main" id="{087ACC9C-006C-8C44-8081-AEF18797BB1B}"/>
              </a:ext>
            </a:extLst>
          </p:cNvPr>
          <p:cNvSpPr/>
          <p:nvPr/>
        </p:nvSpPr>
        <p:spPr>
          <a:xfrm rot="5400000">
            <a:off x="8801100" y="1085850"/>
            <a:ext cx="365760" cy="137160"/>
          </a:xfrm>
          <a:prstGeom prst="triangl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BFFD61B-326F-4A05-BC06-54F37648D943}"/>
              </a:ext>
            </a:extLst>
          </p:cNvPr>
          <p:cNvSpPr/>
          <p:nvPr/>
        </p:nvSpPr>
        <p:spPr>
          <a:xfrm>
            <a:off x="228600" y="3448050"/>
            <a:ext cx="2743200" cy="876300"/>
          </a:xfrm>
          <a:prstGeom prst="rect">
            <a:avLst/>
          </a:prstGeom>
          <a:ln w="9525">
            <a:solidFill>
              <a:schemeClr val="accent4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42900"/>
            <a:r>
              <a:rPr lang="en-US" sz="1100" dirty="0">
                <a:solidFill>
                  <a:schemeClr val="tx1"/>
                </a:solidFill>
              </a:rPr>
              <a:t>Sub-Point Description</a:t>
            </a:r>
          </a:p>
        </p:txBody>
      </p:sp>
      <p:sp>
        <p:nvSpPr>
          <p:cNvPr id="22" name="Text Placeholder 41">
            <a:extLst>
              <a:ext uri="{FF2B5EF4-FFF2-40B4-BE49-F238E27FC236}">
                <a16:creationId xmlns:a16="http://schemas.microsoft.com/office/drawing/2014/main" id="{08BC0AA5-3395-47FF-AE3D-071BD27DEAA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3065871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layou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34918E-7EB0-EB45-92D8-C32124FE5C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EAF9DB-6F40-460F-BF1F-2A84CCEEEA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89329B-CA23-AE4D-AC50-E5E895A9E3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086600" y="4933950"/>
            <a:ext cx="2057400" cy="182563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554072-2822-4C1D-9551-C73A1134819B}"/>
              </a:ext>
            </a:extLst>
          </p:cNvPr>
          <p:cNvSpPr/>
          <p:nvPr/>
        </p:nvSpPr>
        <p:spPr>
          <a:xfrm>
            <a:off x="203661" y="191193"/>
            <a:ext cx="8740833" cy="4671752"/>
          </a:xfrm>
          <a:prstGeom prst="rect">
            <a:avLst/>
          </a:prstGeom>
          <a:solidFill>
            <a:srgbClr val="336FCA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 indent="-631825" algn="ctr"/>
            <a:r>
              <a:rPr lang="en-US" sz="2800" dirty="0">
                <a:solidFill>
                  <a:schemeClr val="bg1"/>
                </a:solidFill>
              </a:rPr>
              <a:t>Comparisons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15584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6365"/>
            <a:ext cx="7655939" cy="545464"/>
          </a:xfrm>
        </p:spPr>
        <p:txBody>
          <a:bodyPr/>
          <a:lstStyle/>
          <a:p>
            <a:r>
              <a:rPr lang="en-US" dirty="0"/>
              <a:t>Landscape or comparative matrix </a:t>
            </a:r>
          </a:p>
        </p:txBody>
      </p:sp>
      <p:sp>
        <p:nvSpPr>
          <p:cNvPr id="41" name="Rectangle 40"/>
          <p:cNvSpPr/>
          <p:nvPr/>
        </p:nvSpPr>
        <p:spPr>
          <a:xfrm>
            <a:off x="5863851" y="3677241"/>
            <a:ext cx="2819400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200" dirty="0" err="1"/>
              <a:t>xxxxxx</a:t>
            </a:r>
            <a:r>
              <a:rPr lang="en-US" sz="1200" dirty="0"/>
              <a:t> x </a:t>
            </a:r>
            <a:r>
              <a:rPr lang="en-US" sz="1200" dirty="0" err="1"/>
              <a:t>xxxxxxxxxxxxxxx</a:t>
            </a:r>
            <a:r>
              <a:rPr lang="en-US" sz="1200" dirty="0"/>
              <a:t> x </a:t>
            </a:r>
            <a:r>
              <a:rPr lang="en-US" sz="1200" dirty="0" err="1"/>
              <a:t>xxxxxx</a:t>
            </a:r>
            <a:r>
              <a:rPr lang="en-US" sz="1200" dirty="0"/>
              <a:t> x xxx x xxx xx xxx </a:t>
            </a:r>
            <a:r>
              <a:rPr lang="en-US" sz="1200" dirty="0" err="1"/>
              <a:t>xxx</a:t>
            </a:r>
            <a:r>
              <a:rPr lang="en-US" sz="1200" dirty="0"/>
              <a:t> </a:t>
            </a:r>
            <a:r>
              <a:rPr lang="en-US" sz="1200" dirty="0" err="1"/>
              <a:t>xxxx</a:t>
            </a:r>
            <a:r>
              <a:rPr lang="en-US" sz="1200" dirty="0"/>
              <a:t> x </a:t>
            </a:r>
            <a:r>
              <a:rPr lang="en-US" sz="1200" dirty="0" err="1"/>
              <a:t>xxxxxx</a:t>
            </a:r>
            <a:r>
              <a:rPr lang="en-US" sz="1200" dirty="0"/>
              <a:t> xxx </a:t>
            </a:r>
            <a:r>
              <a:rPr lang="en-US" sz="1200" dirty="0" err="1"/>
              <a:t>xxxxxxx</a:t>
            </a:r>
            <a:r>
              <a:rPr lang="en-US" sz="1200" dirty="0"/>
              <a:t> xxx</a:t>
            </a:r>
          </a:p>
        </p:txBody>
      </p:sp>
      <p:sp>
        <p:nvSpPr>
          <p:cNvPr id="42" name="Rectangle 41"/>
          <p:cNvSpPr/>
          <p:nvPr/>
        </p:nvSpPr>
        <p:spPr>
          <a:xfrm>
            <a:off x="5486400" y="1236635"/>
            <a:ext cx="28194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spc="-60" dirty="0"/>
              <a:t>Xxx </a:t>
            </a:r>
            <a:r>
              <a:rPr lang="en-US" sz="3200" spc="-60" dirty="0" err="1"/>
              <a:t>xxxxx</a:t>
            </a:r>
            <a:r>
              <a:rPr lang="en-US" sz="3200" spc="-60" dirty="0"/>
              <a:t> </a:t>
            </a:r>
          </a:p>
        </p:txBody>
      </p:sp>
      <p:sp>
        <p:nvSpPr>
          <p:cNvPr id="53" name="Oval 52"/>
          <p:cNvSpPr/>
          <p:nvPr/>
        </p:nvSpPr>
        <p:spPr>
          <a:xfrm>
            <a:off x="5499769" y="2496715"/>
            <a:ext cx="317234" cy="317234"/>
          </a:xfrm>
          <a:prstGeom prst="ellipse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56" name="Oval 55"/>
          <p:cNvSpPr/>
          <p:nvPr/>
        </p:nvSpPr>
        <p:spPr>
          <a:xfrm>
            <a:off x="5499769" y="3127469"/>
            <a:ext cx="317234" cy="317234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59" name="Oval 58"/>
          <p:cNvSpPr/>
          <p:nvPr/>
        </p:nvSpPr>
        <p:spPr>
          <a:xfrm>
            <a:off x="5499769" y="1865961"/>
            <a:ext cx="317234" cy="31723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1429452" y="1336121"/>
            <a:ext cx="3572084" cy="2626821"/>
            <a:chOff x="5257800" y="2038350"/>
            <a:chExt cx="2209800" cy="2133600"/>
          </a:xfrm>
        </p:grpSpPr>
        <p:grpSp>
          <p:nvGrpSpPr>
            <p:cNvPr id="49" name="Group 48"/>
            <p:cNvGrpSpPr/>
            <p:nvPr/>
          </p:nvGrpSpPr>
          <p:grpSpPr>
            <a:xfrm>
              <a:off x="5257800" y="2038350"/>
              <a:ext cx="2209800" cy="2133600"/>
              <a:chOff x="5257800" y="2038350"/>
              <a:chExt cx="2209800" cy="2133600"/>
            </a:xfrm>
          </p:grpSpPr>
          <p:cxnSp>
            <p:nvCxnSpPr>
              <p:cNvPr id="57" name="Straight Connector 56"/>
              <p:cNvCxnSpPr/>
              <p:nvPr/>
            </p:nvCxnSpPr>
            <p:spPr>
              <a:xfrm>
                <a:off x="6362700" y="2038350"/>
                <a:ext cx="0" cy="2133600"/>
              </a:xfrm>
              <a:prstGeom prst="line">
                <a:avLst/>
              </a:prstGeom>
              <a:ln w="3175" cmpd="sng">
                <a:solidFill>
                  <a:schemeClr val="tx1">
                    <a:alpha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/>
            </p:nvCxnSpPr>
            <p:spPr>
              <a:xfrm>
                <a:off x="5257800" y="2038350"/>
                <a:ext cx="0" cy="2133600"/>
              </a:xfrm>
              <a:prstGeom prst="line">
                <a:avLst/>
              </a:prstGeom>
              <a:ln w="3175" cmpd="sng">
                <a:solidFill>
                  <a:schemeClr val="tx1">
                    <a:alpha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/>
            </p:nvCxnSpPr>
            <p:spPr>
              <a:xfrm>
                <a:off x="7467600" y="2038350"/>
                <a:ext cx="0" cy="2133600"/>
              </a:xfrm>
              <a:prstGeom prst="line">
                <a:avLst/>
              </a:prstGeom>
              <a:ln w="3175" cmpd="sng">
                <a:solidFill>
                  <a:schemeClr val="tx1">
                    <a:alpha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/>
          </p:nvGrpSpPr>
          <p:grpSpPr>
            <a:xfrm>
              <a:off x="5257800" y="2038350"/>
              <a:ext cx="2209800" cy="2133600"/>
              <a:chOff x="5295900" y="2038350"/>
              <a:chExt cx="2133600" cy="2209800"/>
            </a:xfrm>
          </p:grpSpPr>
          <p:cxnSp>
            <p:nvCxnSpPr>
              <p:cNvPr id="52" name="Straight Connector 51"/>
              <p:cNvCxnSpPr/>
              <p:nvPr/>
            </p:nvCxnSpPr>
            <p:spPr>
              <a:xfrm rot="5400000">
                <a:off x="6362700" y="2076450"/>
                <a:ext cx="0" cy="2133600"/>
              </a:xfrm>
              <a:prstGeom prst="line">
                <a:avLst/>
              </a:prstGeom>
              <a:ln w="3175" cmpd="sng">
                <a:solidFill>
                  <a:schemeClr val="tx1">
                    <a:alpha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/>
            </p:nvCxnSpPr>
            <p:spPr>
              <a:xfrm rot="5400000">
                <a:off x="6362700" y="971550"/>
                <a:ext cx="0" cy="2133600"/>
              </a:xfrm>
              <a:prstGeom prst="line">
                <a:avLst/>
              </a:prstGeom>
              <a:ln w="3175" cmpd="sng">
                <a:solidFill>
                  <a:schemeClr val="tx1">
                    <a:alpha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>
              <a:xfrm rot="5400000">
                <a:off x="6362700" y="3181350"/>
                <a:ext cx="0" cy="2133600"/>
              </a:xfrm>
              <a:prstGeom prst="line">
                <a:avLst/>
              </a:prstGeom>
              <a:ln w="3175" cmpd="sng">
                <a:solidFill>
                  <a:schemeClr val="tx1">
                    <a:alpha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2" name="Group 61"/>
          <p:cNvGrpSpPr/>
          <p:nvPr/>
        </p:nvGrpSpPr>
        <p:grpSpPr>
          <a:xfrm>
            <a:off x="3954861" y="2238562"/>
            <a:ext cx="444127" cy="444127"/>
            <a:chOff x="7952682" y="1352549"/>
            <a:chExt cx="533399" cy="533399"/>
          </a:xfrm>
        </p:grpSpPr>
        <p:sp>
          <p:nvSpPr>
            <p:cNvPr id="63" name="Teardrop 62"/>
            <p:cNvSpPr/>
            <p:nvPr/>
          </p:nvSpPr>
          <p:spPr>
            <a:xfrm rot="8100000">
              <a:off x="7952682" y="1352549"/>
              <a:ext cx="533399" cy="533399"/>
            </a:xfrm>
            <a:prstGeom prst="teardrop">
              <a:avLst>
                <a:gd name="adj" fmla="val 130610"/>
              </a:avLst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/>
            </a:p>
          </p:txBody>
        </p:sp>
        <p:sp>
          <p:nvSpPr>
            <p:cNvPr id="64" name="Oval 63"/>
            <p:cNvSpPr/>
            <p:nvPr/>
          </p:nvSpPr>
          <p:spPr>
            <a:xfrm>
              <a:off x="8028893" y="1428751"/>
              <a:ext cx="381000" cy="381000"/>
            </a:xfrm>
            <a:prstGeom prst="ellips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3273047" y="1403692"/>
            <a:ext cx="444127" cy="444127"/>
            <a:chOff x="7952682" y="1352549"/>
            <a:chExt cx="533399" cy="533399"/>
          </a:xfrm>
        </p:grpSpPr>
        <p:sp>
          <p:nvSpPr>
            <p:cNvPr id="66" name="Teardrop 65"/>
            <p:cNvSpPr/>
            <p:nvPr/>
          </p:nvSpPr>
          <p:spPr>
            <a:xfrm rot="8100000">
              <a:off x="7952682" y="1352549"/>
              <a:ext cx="533399" cy="533399"/>
            </a:xfrm>
            <a:prstGeom prst="teardrop">
              <a:avLst>
                <a:gd name="adj" fmla="val 13061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/>
            </a:p>
          </p:txBody>
        </p:sp>
        <p:sp>
          <p:nvSpPr>
            <p:cNvPr id="67" name="Oval 66"/>
            <p:cNvSpPr/>
            <p:nvPr/>
          </p:nvSpPr>
          <p:spPr>
            <a:xfrm>
              <a:off x="8028891" y="1428750"/>
              <a:ext cx="381000" cy="381000"/>
            </a:xfrm>
            <a:prstGeom prst="ellips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2397241" y="2808909"/>
            <a:ext cx="444127" cy="444127"/>
            <a:chOff x="7952682" y="1352549"/>
            <a:chExt cx="533399" cy="533399"/>
          </a:xfrm>
        </p:grpSpPr>
        <p:sp>
          <p:nvSpPr>
            <p:cNvPr id="69" name="Teardrop 68"/>
            <p:cNvSpPr/>
            <p:nvPr/>
          </p:nvSpPr>
          <p:spPr>
            <a:xfrm rot="8100000">
              <a:off x="7952682" y="1352549"/>
              <a:ext cx="533399" cy="533399"/>
            </a:xfrm>
            <a:prstGeom prst="teardrop">
              <a:avLst>
                <a:gd name="adj" fmla="val 13061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/>
            </a:p>
          </p:txBody>
        </p:sp>
        <p:sp>
          <p:nvSpPr>
            <p:cNvPr id="70" name="Oval 69"/>
            <p:cNvSpPr/>
            <p:nvPr/>
          </p:nvSpPr>
          <p:spPr>
            <a:xfrm>
              <a:off x="8028891" y="1428750"/>
              <a:ext cx="381000" cy="381000"/>
            </a:xfrm>
            <a:prstGeom prst="ellips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1"/>
                </a:solidFill>
              </a:endParaRPr>
            </a:p>
          </p:txBody>
        </p:sp>
      </p:grpSp>
      <p:sp>
        <p:nvSpPr>
          <p:cNvPr id="76" name="Right Arrow 29"/>
          <p:cNvSpPr/>
          <p:nvPr/>
        </p:nvSpPr>
        <p:spPr>
          <a:xfrm rot="16200000">
            <a:off x="88268" y="2530309"/>
            <a:ext cx="2662699" cy="274320"/>
          </a:xfrm>
          <a:prstGeom prst="rightArrow">
            <a:avLst>
              <a:gd name="adj1" fmla="val 26191"/>
              <a:gd name="adj2" fmla="val 50000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77" name="Right Arrow 39"/>
          <p:cNvSpPr/>
          <p:nvPr/>
        </p:nvSpPr>
        <p:spPr>
          <a:xfrm>
            <a:off x="1383940" y="3829886"/>
            <a:ext cx="3617595" cy="271740"/>
          </a:xfrm>
          <a:prstGeom prst="rightArrow">
            <a:avLst>
              <a:gd name="adj1" fmla="val 26191"/>
              <a:gd name="adj2" fmla="val 50000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4A1E805-3ED7-4EAA-8908-B96EF19C32BD}"/>
              </a:ext>
            </a:extLst>
          </p:cNvPr>
          <p:cNvSpPr txBox="1"/>
          <p:nvPr/>
        </p:nvSpPr>
        <p:spPr>
          <a:xfrm>
            <a:off x="2246256" y="4075458"/>
            <a:ext cx="1941513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200" b="1" dirty="0"/>
              <a:t>Dimension 2 (low to high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688DAF5-9AA3-4E87-8BCB-77E005797D8D}"/>
              </a:ext>
            </a:extLst>
          </p:cNvPr>
          <p:cNvSpPr txBox="1"/>
          <p:nvPr/>
        </p:nvSpPr>
        <p:spPr>
          <a:xfrm>
            <a:off x="246290" y="2358057"/>
            <a:ext cx="958447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1200" b="1" dirty="0"/>
              <a:t>Dimension 1</a:t>
            </a:r>
            <a:br>
              <a:rPr lang="en-US" sz="1200" b="1" dirty="0"/>
            </a:br>
            <a:r>
              <a:rPr lang="en-US" sz="1200" b="1" dirty="0"/>
              <a:t>(low to high)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2EB4B5E-3D99-4F0B-95C5-B51051A88A99}"/>
              </a:ext>
            </a:extLst>
          </p:cNvPr>
          <p:cNvGrpSpPr/>
          <p:nvPr/>
        </p:nvGrpSpPr>
        <p:grpSpPr>
          <a:xfrm>
            <a:off x="1794817" y="2211185"/>
            <a:ext cx="444127" cy="444127"/>
            <a:chOff x="7952682" y="1352549"/>
            <a:chExt cx="533399" cy="533399"/>
          </a:xfrm>
          <a:solidFill>
            <a:srgbClr val="336FCA"/>
          </a:solidFill>
        </p:grpSpPr>
        <p:sp>
          <p:nvSpPr>
            <p:cNvPr id="46" name="Teardrop 45">
              <a:extLst>
                <a:ext uri="{FF2B5EF4-FFF2-40B4-BE49-F238E27FC236}">
                  <a16:creationId xmlns:a16="http://schemas.microsoft.com/office/drawing/2014/main" id="{2A0BE207-15FB-4DEB-9A87-8497AF1226F4}"/>
                </a:ext>
              </a:extLst>
            </p:cNvPr>
            <p:cNvSpPr/>
            <p:nvPr/>
          </p:nvSpPr>
          <p:spPr>
            <a:xfrm rot="8100000">
              <a:off x="7952682" y="1352549"/>
              <a:ext cx="533399" cy="533399"/>
            </a:xfrm>
            <a:prstGeom prst="teardrop">
              <a:avLst>
                <a:gd name="adj" fmla="val 13061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831C127C-0957-4592-8C93-5973CD06EFA3}"/>
                </a:ext>
              </a:extLst>
            </p:cNvPr>
            <p:cNvSpPr/>
            <p:nvPr/>
          </p:nvSpPr>
          <p:spPr>
            <a:xfrm>
              <a:off x="8028891" y="1428750"/>
              <a:ext cx="381000" cy="381000"/>
            </a:xfrm>
            <a:prstGeom prst="ellips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1"/>
                </a:solidFill>
              </a:endParaRPr>
            </a:p>
          </p:txBody>
        </p:sp>
      </p:grpSp>
      <p:sp>
        <p:nvSpPr>
          <p:cNvPr id="50" name="Oval 49">
            <a:extLst>
              <a:ext uri="{FF2B5EF4-FFF2-40B4-BE49-F238E27FC236}">
                <a16:creationId xmlns:a16="http://schemas.microsoft.com/office/drawing/2014/main" id="{EE7E7797-A47B-411A-BEED-BD96AC236FA4}"/>
              </a:ext>
            </a:extLst>
          </p:cNvPr>
          <p:cNvSpPr/>
          <p:nvPr/>
        </p:nvSpPr>
        <p:spPr>
          <a:xfrm>
            <a:off x="5499769" y="3758224"/>
            <a:ext cx="317234" cy="317234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0983B25-769F-48B9-B5C1-1E7A0878CA6E}"/>
              </a:ext>
            </a:extLst>
          </p:cNvPr>
          <p:cNvSpPr/>
          <p:nvPr/>
        </p:nvSpPr>
        <p:spPr>
          <a:xfrm>
            <a:off x="5868744" y="2440020"/>
            <a:ext cx="2819400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200" dirty="0" err="1"/>
              <a:t>xxxxxx</a:t>
            </a:r>
            <a:r>
              <a:rPr lang="en-US" sz="1200" dirty="0"/>
              <a:t> x </a:t>
            </a:r>
            <a:r>
              <a:rPr lang="en-US" sz="1200" dirty="0" err="1"/>
              <a:t>xxxxxxxxxxxxxxx</a:t>
            </a:r>
            <a:r>
              <a:rPr lang="en-US" sz="1200" dirty="0"/>
              <a:t> x </a:t>
            </a:r>
            <a:r>
              <a:rPr lang="en-US" sz="1200" dirty="0" err="1"/>
              <a:t>xxxxxx</a:t>
            </a:r>
            <a:r>
              <a:rPr lang="en-US" sz="1200" dirty="0"/>
              <a:t> x xxx x xxx xx xxx </a:t>
            </a:r>
            <a:r>
              <a:rPr lang="en-US" sz="1200" dirty="0" err="1"/>
              <a:t>xxx</a:t>
            </a:r>
            <a:r>
              <a:rPr lang="en-US" sz="1200" dirty="0"/>
              <a:t> </a:t>
            </a:r>
            <a:r>
              <a:rPr lang="en-US" sz="1200" dirty="0" err="1"/>
              <a:t>xxxx</a:t>
            </a:r>
            <a:r>
              <a:rPr lang="en-US" sz="1200" dirty="0"/>
              <a:t> x </a:t>
            </a:r>
            <a:r>
              <a:rPr lang="en-US" sz="1200" dirty="0" err="1"/>
              <a:t>xxxxxx</a:t>
            </a:r>
            <a:r>
              <a:rPr lang="en-US" sz="1200" dirty="0"/>
              <a:t> xxx </a:t>
            </a:r>
            <a:r>
              <a:rPr lang="en-US" sz="1200" dirty="0" err="1"/>
              <a:t>xxxxxxx</a:t>
            </a:r>
            <a:r>
              <a:rPr lang="en-US" sz="1200" dirty="0"/>
              <a:t> xxx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2AF98CE5-0E8D-4CB3-9D06-847859EE39A5}"/>
              </a:ext>
            </a:extLst>
          </p:cNvPr>
          <p:cNvSpPr/>
          <p:nvPr/>
        </p:nvSpPr>
        <p:spPr>
          <a:xfrm>
            <a:off x="5868744" y="3058630"/>
            <a:ext cx="2819400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200" dirty="0" err="1"/>
              <a:t>xxxxxx</a:t>
            </a:r>
            <a:r>
              <a:rPr lang="en-US" sz="1200" dirty="0"/>
              <a:t> x </a:t>
            </a:r>
            <a:r>
              <a:rPr lang="en-US" sz="1200" dirty="0" err="1"/>
              <a:t>xxxxxxxxxxxxxxx</a:t>
            </a:r>
            <a:r>
              <a:rPr lang="en-US" sz="1200" dirty="0"/>
              <a:t> x </a:t>
            </a:r>
            <a:r>
              <a:rPr lang="en-US" sz="1200" dirty="0" err="1"/>
              <a:t>xxxxxx</a:t>
            </a:r>
            <a:r>
              <a:rPr lang="en-US" sz="1200" dirty="0"/>
              <a:t> x xxx x xxx xx xxx </a:t>
            </a:r>
            <a:r>
              <a:rPr lang="en-US" sz="1200" dirty="0" err="1"/>
              <a:t>xxx</a:t>
            </a:r>
            <a:r>
              <a:rPr lang="en-US" sz="1200" dirty="0"/>
              <a:t> </a:t>
            </a:r>
            <a:r>
              <a:rPr lang="en-US" sz="1200" dirty="0" err="1"/>
              <a:t>xxxx</a:t>
            </a:r>
            <a:r>
              <a:rPr lang="en-US" sz="1200" dirty="0"/>
              <a:t> x </a:t>
            </a:r>
            <a:r>
              <a:rPr lang="en-US" sz="1200" dirty="0" err="1"/>
              <a:t>xxxxxx</a:t>
            </a:r>
            <a:r>
              <a:rPr lang="en-US" sz="1200" dirty="0"/>
              <a:t> xxx </a:t>
            </a:r>
            <a:r>
              <a:rPr lang="en-US" sz="1200" dirty="0" err="1"/>
              <a:t>xxxxxxx</a:t>
            </a:r>
            <a:r>
              <a:rPr lang="en-US" sz="1200" dirty="0"/>
              <a:t> xxx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CEA17B7-5713-4A7C-9F85-A31BA5388E84}"/>
              </a:ext>
            </a:extLst>
          </p:cNvPr>
          <p:cNvSpPr/>
          <p:nvPr/>
        </p:nvSpPr>
        <p:spPr>
          <a:xfrm>
            <a:off x="5876029" y="1821410"/>
            <a:ext cx="2819400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200" dirty="0" err="1"/>
              <a:t>xxxxxx</a:t>
            </a:r>
            <a:r>
              <a:rPr lang="en-US" sz="1200" dirty="0"/>
              <a:t> x </a:t>
            </a:r>
            <a:r>
              <a:rPr lang="en-US" sz="1200" dirty="0" err="1"/>
              <a:t>xxxxxxxxxxxxxxx</a:t>
            </a:r>
            <a:r>
              <a:rPr lang="en-US" sz="1200" dirty="0"/>
              <a:t> x </a:t>
            </a:r>
            <a:r>
              <a:rPr lang="en-US" sz="1200" dirty="0" err="1"/>
              <a:t>xxxxxx</a:t>
            </a:r>
            <a:r>
              <a:rPr lang="en-US" sz="1200" dirty="0"/>
              <a:t> x xxx x xxx xx xxx </a:t>
            </a:r>
            <a:r>
              <a:rPr lang="en-US" sz="1200" dirty="0" err="1"/>
              <a:t>xxx</a:t>
            </a:r>
            <a:r>
              <a:rPr lang="en-US" sz="1200" dirty="0"/>
              <a:t> </a:t>
            </a:r>
            <a:r>
              <a:rPr lang="en-US" sz="1200" dirty="0" err="1"/>
              <a:t>xxxx</a:t>
            </a:r>
            <a:r>
              <a:rPr lang="en-US" sz="1200" dirty="0"/>
              <a:t> x </a:t>
            </a:r>
            <a:r>
              <a:rPr lang="en-US" sz="1200" dirty="0" err="1"/>
              <a:t>xxxxxx</a:t>
            </a:r>
            <a:r>
              <a:rPr lang="en-US" sz="1200" dirty="0"/>
              <a:t> xxx </a:t>
            </a:r>
            <a:r>
              <a:rPr lang="en-US" sz="1200" dirty="0" err="1"/>
              <a:t>xxxxxxx</a:t>
            </a:r>
            <a:r>
              <a:rPr lang="en-US" sz="1200" dirty="0"/>
              <a:t> xxx</a:t>
            </a:r>
          </a:p>
        </p:txBody>
      </p:sp>
      <p:sp>
        <p:nvSpPr>
          <p:cNvPr id="38" name="Footer Placeholder 99">
            <a:extLst>
              <a:ext uri="{FF2B5EF4-FFF2-40B4-BE49-F238E27FC236}">
                <a16:creationId xmlns:a16="http://schemas.microsoft.com/office/drawing/2014/main" id="{04B7C1C6-21C1-4A9A-BDBC-49C067190C6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9" name="Slide Number Placeholder 100">
            <a:extLst>
              <a:ext uri="{FF2B5EF4-FFF2-40B4-BE49-F238E27FC236}">
                <a16:creationId xmlns:a16="http://schemas.microsoft.com/office/drawing/2014/main" id="{8BAC22C5-BE6E-452D-BD8C-E131B306906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D37DFF5F-1CAE-487C-9356-6C8C1435F5A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7847580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C44746-B398-1B46-22A2-F4CA5F1A64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F88860-EAE7-24DF-4EE4-8785CBB3D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onal Segue Page</a:t>
            </a:r>
          </a:p>
        </p:txBody>
      </p:sp>
    </p:spTree>
    <p:extLst>
      <p:ext uri="{BB962C8B-B14F-4D97-AF65-F5344CB8AC3E}">
        <p14:creationId xmlns:p14="http://schemas.microsoft.com/office/powerpoint/2010/main" val="370770758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99075" cy="545464"/>
          </a:xfrm>
        </p:spPr>
        <p:txBody>
          <a:bodyPr/>
          <a:lstStyle/>
          <a:p>
            <a:r>
              <a:rPr lang="en-US" dirty="0"/>
              <a:t>Comparison </a:t>
            </a:r>
          </a:p>
        </p:txBody>
      </p:sp>
      <p:sp>
        <p:nvSpPr>
          <p:cNvPr id="5" name="Rectangle 4"/>
          <p:cNvSpPr/>
          <p:nvPr/>
        </p:nvSpPr>
        <p:spPr>
          <a:xfrm>
            <a:off x="1096821" y="2284910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Rectangle 5"/>
          <p:cNvSpPr/>
          <p:nvPr/>
        </p:nvSpPr>
        <p:spPr>
          <a:xfrm>
            <a:off x="1096821" y="2389504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Rectangle 6"/>
          <p:cNvSpPr/>
          <p:nvPr/>
        </p:nvSpPr>
        <p:spPr>
          <a:xfrm>
            <a:off x="1096821" y="2075725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ectangle 7"/>
          <p:cNvSpPr/>
          <p:nvPr/>
        </p:nvSpPr>
        <p:spPr>
          <a:xfrm>
            <a:off x="1096821" y="2180317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/>
          <p:cNvSpPr/>
          <p:nvPr/>
        </p:nvSpPr>
        <p:spPr>
          <a:xfrm>
            <a:off x="1096821" y="1866538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/>
          <p:cNvSpPr/>
          <p:nvPr/>
        </p:nvSpPr>
        <p:spPr>
          <a:xfrm>
            <a:off x="1096821" y="1971130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Rectangle 10"/>
          <p:cNvSpPr/>
          <p:nvPr/>
        </p:nvSpPr>
        <p:spPr>
          <a:xfrm>
            <a:off x="1096821" y="1657351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Rectangle 11"/>
          <p:cNvSpPr/>
          <p:nvPr/>
        </p:nvSpPr>
        <p:spPr>
          <a:xfrm>
            <a:off x="1096821" y="1761944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Rectangle 12"/>
          <p:cNvSpPr/>
          <p:nvPr/>
        </p:nvSpPr>
        <p:spPr>
          <a:xfrm>
            <a:off x="1096821" y="2494096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Rectangle 13"/>
          <p:cNvSpPr/>
          <p:nvPr/>
        </p:nvSpPr>
        <p:spPr>
          <a:xfrm>
            <a:off x="1096821" y="2598689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/>
          <p:cNvSpPr/>
          <p:nvPr/>
        </p:nvSpPr>
        <p:spPr>
          <a:xfrm>
            <a:off x="1096821" y="3330841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6" name="Rectangle 15"/>
          <p:cNvSpPr/>
          <p:nvPr/>
        </p:nvSpPr>
        <p:spPr>
          <a:xfrm>
            <a:off x="1096821" y="3435434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Rectangle 16"/>
          <p:cNvSpPr/>
          <p:nvPr/>
        </p:nvSpPr>
        <p:spPr>
          <a:xfrm>
            <a:off x="1096821" y="3121655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" name="Rectangle 17"/>
          <p:cNvSpPr/>
          <p:nvPr/>
        </p:nvSpPr>
        <p:spPr>
          <a:xfrm>
            <a:off x="1096821" y="3226248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" name="Rectangle 18"/>
          <p:cNvSpPr/>
          <p:nvPr/>
        </p:nvSpPr>
        <p:spPr>
          <a:xfrm>
            <a:off x="1096821" y="2912469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" name="Rectangle 19"/>
          <p:cNvSpPr/>
          <p:nvPr/>
        </p:nvSpPr>
        <p:spPr>
          <a:xfrm>
            <a:off x="1096821" y="3017062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1" name="Rectangle 20"/>
          <p:cNvSpPr/>
          <p:nvPr/>
        </p:nvSpPr>
        <p:spPr>
          <a:xfrm>
            <a:off x="1096821" y="2703282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2" name="Rectangle 21"/>
          <p:cNvSpPr/>
          <p:nvPr/>
        </p:nvSpPr>
        <p:spPr>
          <a:xfrm>
            <a:off x="1096821" y="2807876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3" name="Rectangle 22"/>
          <p:cNvSpPr/>
          <p:nvPr/>
        </p:nvSpPr>
        <p:spPr>
          <a:xfrm>
            <a:off x="1096821" y="3540028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4" name="Rectangle 23"/>
          <p:cNvSpPr/>
          <p:nvPr/>
        </p:nvSpPr>
        <p:spPr>
          <a:xfrm>
            <a:off x="1096821" y="3644613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Rectangle 24"/>
          <p:cNvSpPr/>
          <p:nvPr/>
        </p:nvSpPr>
        <p:spPr>
          <a:xfrm>
            <a:off x="1766316" y="2284910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/>
          <p:cNvSpPr/>
          <p:nvPr/>
        </p:nvSpPr>
        <p:spPr>
          <a:xfrm>
            <a:off x="1766316" y="2389504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7" name="Rectangle 26"/>
          <p:cNvSpPr/>
          <p:nvPr/>
        </p:nvSpPr>
        <p:spPr>
          <a:xfrm>
            <a:off x="1766316" y="2075725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8" name="Rectangle 27"/>
          <p:cNvSpPr/>
          <p:nvPr/>
        </p:nvSpPr>
        <p:spPr>
          <a:xfrm>
            <a:off x="1766316" y="2180317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9" name="Rectangle 28"/>
          <p:cNvSpPr/>
          <p:nvPr/>
        </p:nvSpPr>
        <p:spPr>
          <a:xfrm>
            <a:off x="1766316" y="1866538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/>
          <p:cNvSpPr/>
          <p:nvPr/>
        </p:nvSpPr>
        <p:spPr>
          <a:xfrm>
            <a:off x="1766316" y="1971130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1" name="Rectangle 30"/>
          <p:cNvSpPr/>
          <p:nvPr/>
        </p:nvSpPr>
        <p:spPr>
          <a:xfrm>
            <a:off x="1766316" y="1657351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Rectangle 31"/>
          <p:cNvSpPr/>
          <p:nvPr/>
        </p:nvSpPr>
        <p:spPr>
          <a:xfrm>
            <a:off x="1766316" y="1761944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3" name="Rectangle 32"/>
          <p:cNvSpPr/>
          <p:nvPr/>
        </p:nvSpPr>
        <p:spPr>
          <a:xfrm>
            <a:off x="1766316" y="2494096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4" name="Rectangle 33"/>
          <p:cNvSpPr/>
          <p:nvPr/>
        </p:nvSpPr>
        <p:spPr>
          <a:xfrm>
            <a:off x="1766316" y="2598689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5" name="Rectangle 34"/>
          <p:cNvSpPr/>
          <p:nvPr/>
        </p:nvSpPr>
        <p:spPr>
          <a:xfrm>
            <a:off x="1766316" y="3330841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6" name="Rectangle 35"/>
          <p:cNvSpPr/>
          <p:nvPr/>
        </p:nvSpPr>
        <p:spPr>
          <a:xfrm>
            <a:off x="1766316" y="3435434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7" name="Rectangle 36"/>
          <p:cNvSpPr/>
          <p:nvPr/>
        </p:nvSpPr>
        <p:spPr>
          <a:xfrm>
            <a:off x="1766316" y="3121655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8" name="Rectangle 37"/>
          <p:cNvSpPr/>
          <p:nvPr/>
        </p:nvSpPr>
        <p:spPr>
          <a:xfrm>
            <a:off x="1766316" y="3226248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9" name="Rectangle 38"/>
          <p:cNvSpPr/>
          <p:nvPr/>
        </p:nvSpPr>
        <p:spPr>
          <a:xfrm>
            <a:off x="1766316" y="2912469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0" name="Rectangle 39"/>
          <p:cNvSpPr/>
          <p:nvPr/>
        </p:nvSpPr>
        <p:spPr>
          <a:xfrm>
            <a:off x="1766316" y="3017062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1" name="Rectangle 40"/>
          <p:cNvSpPr/>
          <p:nvPr/>
        </p:nvSpPr>
        <p:spPr>
          <a:xfrm>
            <a:off x="1766316" y="2703282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2" name="Rectangle 41"/>
          <p:cNvSpPr/>
          <p:nvPr/>
        </p:nvSpPr>
        <p:spPr>
          <a:xfrm>
            <a:off x="1766316" y="2807876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3" name="Rectangle 42"/>
          <p:cNvSpPr/>
          <p:nvPr/>
        </p:nvSpPr>
        <p:spPr>
          <a:xfrm>
            <a:off x="1766316" y="3540028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4" name="Rectangle 43"/>
          <p:cNvSpPr/>
          <p:nvPr/>
        </p:nvSpPr>
        <p:spPr>
          <a:xfrm>
            <a:off x="1766316" y="3644613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5" name="Rectangle 44"/>
          <p:cNvSpPr/>
          <p:nvPr/>
        </p:nvSpPr>
        <p:spPr>
          <a:xfrm>
            <a:off x="2435810" y="2284910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6" name="Rectangle 45"/>
          <p:cNvSpPr/>
          <p:nvPr/>
        </p:nvSpPr>
        <p:spPr>
          <a:xfrm>
            <a:off x="2435810" y="2389504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7" name="Rectangle 46"/>
          <p:cNvSpPr/>
          <p:nvPr/>
        </p:nvSpPr>
        <p:spPr>
          <a:xfrm>
            <a:off x="2435810" y="2075725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Rectangle 47"/>
          <p:cNvSpPr/>
          <p:nvPr/>
        </p:nvSpPr>
        <p:spPr>
          <a:xfrm>
            <a:off x="2435810" y="2180317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9" name="Rectangle 48"/>
          <p:cNvSpPr/>
          <p:nvPr/>
        </p:nvSpPr>
        <p:spPr>
          <a:xfrm>
            <a:off x="2435810" y="1866538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0" name="Rectangle 49"/>
          <p:cNvSpPr/>
          <p:nvPr/>
        </p:nvSpPr>
        <p:spPr>
          <a:xfrm>
            <a:off x="2435810" y="1971130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1" name="Rectangle 50"/>
          <p:cNvSpPr/>
          <p:nvPr/>
        </p:nvSpPr>
        <p:spPr>
          <a:xfrm>
            <a:off x="2435810" y="1657351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2" name="Rectangle 51"/>
          <p:cNvSpPr/>
          <p:nvPr/>
        </p:nvSpPr>
        <p:spPr>
          <a:xfrm>
            <a:off x="2435810" y="1761944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3" name="Rectangle 52"/>
          <p:cNvSpPr/>
          <p:nvPr/>
        </p:nvSpPr>
        <p:spPr>
          <a:xfrm>
            <a:off x="2435810" y="2494096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4" name="Rectangle 53"/>
          <p:cNvSpPr/>
          <p:nvPr/>
        </p:nvSpPr>
        <p:spPr>
          <a:xfrm>
            <a:off x="2435810" y="2598689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5" name="Rectangle 54"/>
          <p:cNvSpPr/>
          <p:nvPr/>
        </p:nvSpPr>
        <p:spPr>
          <a:xfrm>
            <a:off x="2435810" y="3330841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6" name="Rectangle 55"/>
          <p:cNvSpPr/>
          <p:nvPr/>
        </p:nvSpPr>
        <p:spPr>
          <a:xfrm>
            <a:off x="2435810" y="3435434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7" name="Rectangle 56"/>
          <p:cNvSpPr/>
          <p:nvPr/>
        </p:nvSpPr>
        <p:spPr>
          <a:xfrm>
            <a:off x="2435810" y="3121655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8" name="Rectangle 57"/>
          <p:cNvSpPr/>
          <p:nvPr/>
        </p:nvSpPr>
        <p:spPr>
          <a:xfrm>
            <a:off x="2435810" y="3226248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9" name="Rectangle 58"/>
          <p:cNvSpPr/>
          <p:nvPr/>
        </p:nvSpPr>
        <p:spPr>
          <a:xfrm>
            <a:off x="2435810" y="2912469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0" name="Rectangle 59"/>
          <p:cNvSpPr/>
          <p:nvPr/>
        </p:nvSpPr>
        <p:spPr>
          <a:xfrm>
            <a:off x="2435810" y="3017062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1" name="Rectangle 60"/>
          <p:cNvSpPr/>
          <p:nvPr/>
        </p:nvSpPr>
        <p:spPr>
          <a:xfrm>
            <a:off x="2435810" y="2703282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2" name="Rectangle 61"/>
          <p:cNvSpPr/>
          <p:nvPr/>
        </p:nvSpPr>
        <p:spPr>
          <a:xfrm>
            <a:off x="2435810" y="2807876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3" name="Rectangle 62"/>
          <p:cNvSpPr/>
          <p:nvPr/>
        </p:nvSpPr>
        <p:spPr>
          <a:xfrm>
            <a:off x="2435810" y="3540028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4" name="Rectangle 63"/>
          <p:cNvSpPr/>
          <p:nvPr/>
        </p:nvSpPr>
        <p:spPr>
          <a:xfrm>
            <a:off x="2435810" y="3644613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6" name="Rectangle 85"/>
          <p:cNvSpPr/>
          <p:nvPr/>
        </p:nvSpPr>
        <p:spPr>
          <a:xfrm>
            <a:off x="3097327" y="2389504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9" name="Rectangle 88"/>
          <p:cNvSpPr/>
          <p:nvPr/>
        </p:nvSpPr>
        <p:spPr>
          <a:xfrm>
            <a:off x="3097327" y="1866538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0" name="Rectangle 89"/>
          <p:cNvSpPr/>
          <p:nvPr/>
        </p:nvSpPr>
        <p:spPr>
          <a:xfrm>
            <a:off x="3097327" y="1971130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1" name="Rectangle 90"/>
          <p:cNvSpPr/>
          <p:nvPr/>
        </p:nvSpPr>
        <p:spPr>
          <a:xfrm>
            <a:off x="3097327" y="1657351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2" name="Rectangle 91"/>
          <p:cNvSpPr/>
          <p:nvPr/>
        </p:nvSpPr>
        <p:spPr>
          <a:xfrm>
            <a:off x="3097327" y="1761944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3" name="Rectangle 92"/>
          <p:cNvSpPr/>
          <p:nvPr/>
        </p:nvSpPr>
        <p:spPr>
          <a:xfrm>
            <a:off x="3097327" y="2494096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4" name="Rectangle 93"/>
          <p:cNvSpPr/>
          <p:nvPr/>
        </p:nvSpPr>
        <p:spPr>
          <a:xfrm>
            <a:off x="3097327" y="2598689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5" name="Rectangle 94"/>
          <p:cNvSpPr/>
          <p:nvPr/>
        </p:nvSpPr>
        <p:spPr>
          <a:xfrm>
            <a:off x="3097327" y="3330841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6" name="Rectangle 95"/>
          <p:cNvSpPr/>
          <p:nvPr/>
        </p:nvSpPr>
        <p:spPr>
          <a:xfrm>
            <a:off x="3097327" y="3435434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7" name="Rectangle 96"/>
          <p:cNvSpPr/>
          <p:nvPr/>
        </p:nvSpPr>
        <p:spPr>
          <a:xfrm>
            <a:off x="3097327" y="3121655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8" name="Rectangle 97"/>
          <p:cNvSpPr/>
          <p:nvPr/>
        </p:nvSpPr>
        <p:spPr>
          <a:xfrm>
            <a:off x="3097327" y="3226248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9" name="Rectangle 98"/>
          <p:cNvSpPr/>
          <p:nvPr/>
        </p:nvSpPr>
        <p:spPr>
          <a:xfrm>
            <a:off x="3097327" y="2912469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0" name="Rectangle 99"/>
          <p:cNvSpPr/>
          <p:nvPr/>
        </p:nvSpPr>
        <p:spPr>
          <a:xfrm>
            <a:off x="3097327" y="3017062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1" name="Rectangle 100"/>
          <p:cNvSpPr/>
          <p:nvPr/>
        </p:nvSpPr>
        <p:spPr>
          <a:xfrm>
            <a:off x="3097327" y="2703282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2" name="Rectangle 101"/>
          <p:cNvSpPr/>
          <p:nvPr/>
        </p:nvSpPr>
        <p:spPr>
          <a:xfrm>
            <a:off x="3097327" y="2807876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3" name="Rectangle 102"/>
          <p:cNvSpPr/>
          <p:nvPr/>
        </p:nvSpPr>
        <p:spPr>
          <a:xfrm>
            <a:off x="3097327" y="3540028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4" name="Rectangle 103"/>
          <p:cNvSpPr/>
          <p:nvPr/>
        </p:nvSpPr>
        <p:spPr>
          <a:xfrm>
            <a:off x="3097327" y="3644613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aphicFrame>
        <p:nvGraphicFramePr>
          <p:cNvPr id="105" name="Content Placeholder 3"/>
          <p:cNvGraphicFramePr>
            <a:graphicFrameLocks/>
          </p:cNvGraphicFramePr>
          <p:nvPr/>
        </p:nvGraphicFramePr>
        <p:xfrm>
          <a:off x="4153322" y="1306370"/>
          <a:ext cx="2057400" cy="1236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6" name="Rectangle 105"/>
          <p:cNvSpPr/>
          <p:nvPr/>
        </p:nvSpPr>
        <p:spPr>
          <a:xfrm>
            <a:off x="1096821" y="3330841"/>
            <a:ext cx="416201" cy="7013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7" name="Rectangle 106"/>
          <p:cNvSpPr/>
          <p:nvPr/>
        </p:nvSpPr>
        <p:spPr>
          <a:xfrm>
            <a:off x="1096821" y="3435434"/>
            <a:ext cx="416201" cy="7013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8" name="Rectangle 107"/>
          <p:cNvSpPr/>
          <p:nvPr/>
        </p:nvSpPr>
        <p:spPr>
          <a:xfrm>
            <a:off x="1096821" y="3121655"/>
            <a:ext cx="416201" cy="7013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9" name="Rectangle 108"/>
          <p:cNvSpPr/>
          <p:nvPr/>
        </p:nvSpPr>
        <p:spPr>
          <a:xfrm>
            <a:off x="1096821" y="3226248"/>
            <a:ext cx="416201" cy="7013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0" name="Rectangle 109"/>
          <p:cNvSpPr/>
          <p:nvPr/>
        </p:nvSpPr>
        <p:spPr>
          <a:xfrm>
            <a:off x="1096821" y="3017062"/>
            <a:ext cx="416201" cy="7013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1" name="Rectangle 110"/>
          <p:cNvSpPr/>
          <p:nvPr/>
        </p:nvSpPr>
        <p:spPr>
          <a:xfrm>
            <a:off x="1096821" y="3540028"/>
            <a:ext cx="416201" cy="7013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2" name="Rectangle 111"/>
          <p:cNvSpPr/>
          <p:nvPr/>
        </p:nvSpPr>
        <p:spPr>
          <a:xfrm>
            <a:off x="1096821" y="3644613"/>
            <a:ext cx="416201" cy="7013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3" name="Rectangle 112"/>
          <p:cNvSpPr/>
          <p:nvPr/>
        </p:nvSpPr>
        <p:spPr>
          <a:xfrm>
            <a:off x="1766316" y="3330841"/>
            <a:ext cx="416201" cy="7013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4" name="Rectangle 113"/>
          <p:cNvSpPr/>
          <p:nvPr/>
        </p:nvSpPr>
        <p:spPr>
          <a:xfrm>
            <a:off x="1766316" y="3435434"/>
            <a:ext cx="416201" cy="7013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5" name="Rectangle 114"/>
          <p:cNvSpPr/>
          <p:nvPr/>
        </p:nvSpPr>
        <p:spPr>
          <a:xfrm>
            <a:off x="1766316" y="3226248"/>
            <a:ext cx="416201" cy="7013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6" name="Rectangle 115"/>
          <p:cNvSpPr/>
          <p:nvPr/>
        </p:nvSpPr>
        <p:spPr>
          <a:xfrm>
            <a:off x="1766316" y="3540028"/>
            <a:ext cx="416201" cy="7013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7" name="Rectangle 116"/>
          <p:cNvSpPr/>
          <p:nvPr/>
        </p:nvSpPr>
        <p:spPr>
          <a:xfrm>
            <a:off x="1766316" y="3644613"/>
            <a:ext cx="416201" cy="7013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8" name="Rectangle 117"/>
          <p:cNvSpPr/>
          <p:nvPr/>
        </p:nvSpPr>
        <p:spPr>
          <a:xfrm>
            <a:off x="2435810" y="2284910"/>
            <a:ext cx="416201" cy="701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9" name="Rectangle 118"/>
          <p:cNvSpPr/>
          <p:nvPr/>
        </p:nvSpPr>
        <p:spPr>
          <a:xfrm>
            <a:off x="2435810" y="2389503"/>
            <a:ext cx="416201" cy="701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0" name="Rectangle 119"/>
          <p:cNvSpPr/>
          <p:nvPr/>
        </p:nvSpPr>
        <p:spPr>
          <a:xfrm>
            <a:off x="2435810" y="2494096"/>
            <a:ext cx="416201" cy="701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1" name="Rectangle 120"/>
          <p:cNvSpPr/>
          <p:nvPr/>
        </p:nvSpPr>
        <p:spPr>
          <a:xfrm>
            <a:off x="2435810" y="2598689"/>
            <a:ext cx="416201" cy="701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2" name="Rectangle 121"/>
          <p:cNvSpPr/>
          <p:nvPr/>
        </p:nvSpPr>
        <p:spPr>
          <a:xfrm>
            <a:off x="2435810" y="3330841"/>
            <a:ext cx="416201" cy="701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3" name="Rectangle 122"/>
          <p:cNvSpPr/>
          <p:nvPr/>
        </p:nvSpPr>
        <p:spPr>
          <a:xfrm>
            <a:off x="2435810" y="3435434"/>
            <a:ext cx="416201" cy="701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4" name="Rectangle 123"/>
          <p:cNvSpPr/>
          <p:nvPr/>
        </p:nvSpPr>
        <p:spPr>
          <a:xfrm>
            <a:off x="2435810" y="3121655"/>
            <a:ext cx="416201" cy="701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5" name="Rectangle 124"/>
          <p:cNvSpPr/>
          <p:nvPr/>
        </p:nvSpPr>
        <p:spPr>
          <a:xfrm>
            <a:off x="2435810" y="3226248"/>
            <a:ext cx="416201" cy="701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6" name="Rectangle 125"/>
          <p:cNvSpPr/>
          <p:nvPr/>
        </p:nvSpPr>
        <p:spPr>
          <a:xfrm>
            <a:off x="2435810" y="2912469"/>
            <a:ext cx="416201" cy="701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7" name="Rectangle 126"/>
          <p:cNvSpPr/>
          <p:nvPr/>
        </p:nvSpPr>
        <p:spPr>
          <a:xfrm>
            <a:off x="2435810" y="3017062"/>
            <a:ext cx="416201" cy="701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8" name="Rectangle 127"/>
          <p:cNvSpPr/>
          <p:nvPr/>
        </p:nvSpPr>
        <p:spPr>
          <a:xfrm>
            <a:off x="2435810" y="2703282"/>
            <a:ext cx="416201" cy="701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9" name="Rectangle 128"/>
          <p:cNvSpPr/>
          <p:nvPr/>
        </p:nvSpPr>
        <p:spPr>
          <a:xfrm>
            <a:off x="2435810" y="2807876"/>
            <a:ext cx="416201" cy="701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0" name="Rectangle 129"/>
          <p:cNvSpPr/>
          <p:nvPr/>
        </p:nvSpPr>
        <p:spPr>
          <a:xfrm>
            <a:off x="2435810" y="3540028"/>
            <a:ext cx="416201" cy="701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1" name="Rectangle 130"/>
          <p:cNvSpPr/>
          <p:nvPr/>
        </p:nvSpPr>
        <p:spPr>
          <a:xfrm>
            <a:off x="2435810" y="3644613"/>
            <a:ext cx="416201" cy="701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2" name="Rectangle 141"/>
          <p:cNvSpPr/>
          <p:nvPr/>
        </p:nvSpPr>
        <p:spPr>
          <a:xfrm>
            <a:off x="3097328" y="2389503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5" name="Rectangle 144"/>
          <p:cNvSpPr/>
          <p:nvPr/>
        </p:nvSpPr>
        <p:spPr>
          <a:xfrm>
            <a:off x="3097328" y="2494096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6" name="Rectangle 145"/>
          <p:cNvSpPr/>
          <p:nvPr/>
        </p:nvSpPr>
        <p:spPr>
          <a:xfrm>
            <a:off x="3097328" y="2598689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7" name="Rectangle 146"/>
          <p:cNvSpPr/>
          <p:nvPr/>
        </p:nvSpPr>
        <p:spPr>
          <a:xfrm>
            <a:off x="3097328" y="3330841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8" name="Rectangle 147"/>
          <p:cNvSpPr/>
          <p:nvPr/>
        </p:nvSpPr>
        <p:spPr>
          <a:xfrm>
            <a:off x="3097328" y="3435434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9" name="Rectangle 148"/>
          <p:cNvSpPr/>
          <p:nvPr/>
        </p:nvSpPr>
        <p:spPr>
          <a:xfrm>
            <a:off x="3097328" y="3121655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0" name="Rectangle 149"/>
          <p:cNvSpPr/>
          <p:nvPr/>
        </p:nvSpPr>
        <p:spPr>
          <a:xfrm>
            <a:off x="3097328" y="3226248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1" name="Rectangle 150"/>
          <p:cNvSpPr/>
          <p:nvPr/>
        </p:nvSpPr>
        <p:spPr>
          <a:xfrm>
            <a:off x="3097328" y="2912469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2" name="Rectangle 151"/>
          <p:cNvSpPr/>
          <p:nvPr/>
        </p:nvSpPr>
        <p:spPr>
          <a:xfrm>
            <a:off x="3097328" y="3017062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3" name="Rectangle 152"/>
          <p:cNvSpPr/>
          <p:nvPr/>
        </p:nvSpPr>
        <p:spPr>
          <a:xfrm>
            <a:off x="3097328" y="2703282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4" name="Rectangle 153"/>
          <p:cNvSpPr/>
          <p:nvPr/>
        </p:nvSpPr>
        <p:spPr>
          <a:xfrm>
            <a:off x="3097328" y="2807876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5" name="Rectangle 154"/>
          <p:cNvSpPr/>
          <p:nvPr/>
        </p:nvSpPr>
        <p:spPr>
          <a:xfrm>
            <a:off x="3097328" y="3540028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6" name="Rectangle 155"/>
          <p:cNvSpPr/>
          <p:nvPr/>
        </p:nvSpPr>
        <p:spPr>
          <a:xfrm>
            <a:off x="3097328" y="3644613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7" name="TextBox 156"/>
          <p:cNvSpPr txBox="1"/>
          <p:nvPr/>
        </p:nvSpPr>
        <p:spPr>
          <a:xfrm>
            <a:off x="1011705" y="1329513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/>
              <a:t>30%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1667377" y="1329513"/>
            <a:ext cx="5950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/>
              <a:t>45%</a:t>
            </a:r>
          </a:p>
        </p:txBody>
      </p:sp>
      <p:sp>
        <p:nvSpPr>
          <p:cNvPr id="159" name="TextBox 158"/>
          <p:cNvSpPr txBox="1"/>
          <p:nvPr/>
        </p:nvSpPr>
        <p:spPr>
          <a:xfrm>
            <a:off x="2340773" y="1329513"/>
            <a:ext cx="5950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/>
              <a:t>60%</a:t>
            </a:r>
          </a:p>
        </p:txBody>
      </p:sp>
      <p:sp>
        <p:nvSpPr>
          <p:cNvPr id="161" name="TextBox 160"/>
          <p:cNvSpPr txBox="1"/>
          <p:nvPr/>
        </p:nvSpPr>
        <p:spPr>
          <a:xfrm>
            <a:off x="3006547" y="1329513"/>
            <a:ext cx="5950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/>
              <a:t>55%</a:t>
            </a:r>
          </a:p>
        </p:txBody>
      </p:sp>
      <p:sp>
        <p:nvSpPr>
          <p:cNvPr id="162" name="TextBox 161"/>
          <p:cNvSpPr txBox="1"/>
          <p:nvPr/>
        </p:nvSpPr>
        <p:spPr>
          <a:xfrm>
            <a:off x="5753523" y="1410984"/>
            <a:ext cx="95250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000" dirty="0"/>
              <a:t>45%</a:t>
            </a:r>
          </a:p>
        </p:txBody>
      </p:sp>
      <p:sp>
        <p:nvSpPr>
          <p:cNvPr id="163" name="TextBox 162"/>
          <p:cNvSpPr txBox="1"/>
          <p:nvPr/>
        </p:nvSpPr>
        <p:spPr>
          <a:xfrm>
            <a:off x="5753523" y="1810127"/>
            <a:ext cx="270467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/>
              <a:t>Xxxxxx</a:t>
            </a:r>
            <a:r>
              <a:rPr lang="en-US" sz="1100" dirty="0"/>
              <a:t> x </a:t>
            </a:r>
            <a:r>
              <a:rPr lang="en-US" sz="1100" dirty="0" err="1"/>
              <a:t>xxxxxx</a:t>
            </a:r>
            <a:r>
              <a:rPr lang="en-US" sz="1100" dirty="0"/>
              <a:t> x xxx x xxx xx xxx x 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5753523" y="2747796"/>
            <a:ext cx="95250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000" dirty="0"/>
              <a:t>90%</a:t>
            </a:r>
          </a:p>
        </p:txBody>
      </p:sp>
      <p:sp>
        <p:nvSpPr>
          <p:cNvPr id="165" name="TextBox 164"/>
          <p:cNvSpPr txBox="1"/>
          <p:nvPr/>
        </p:nvSpPr>
        <p:spPr>
          <a:xfrm>
            <a:off x="5753523" y="3146939"/>
            <a:ext cx="270467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Xx </a:t>
            </a:r>
            <a:r>
              <a:rPr lang="en-US" sz="1100" dirty="0" err="1"/>
              <a:t>xxxxxx</a:t>
            </a:r>
            <a:r>
              <a:rPr lang="en-US" sz="1100" dirty="0"/>
              <a:t> </a:t>
            </a:r>
            <a:r>
              <a:rPr lang="en-US" sz="1100" dirty="0" err="1"/>
              <a:t>xxxxxxxx</a:t>
            </a:r>
            <a:r>
              <a:rPr lang="en-US" sz="1100" dirty="0"/>
              <a:t> x </a:t>
            </a:r>
            <a:r>
              <a:rPr lang="en-US" sz="1100" dirty="0" err="1"/>
              <a:t>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endParaRPr lang="en-US" sz="1100" dirty="0"/>
          </a:p>
        </p:txBody>
      </p:sp>
      <p:graphicFrame>
        <p:nvGraphicFramePr>
          <p:cNvPr id="166" name="Content Placeholder 3"/>
          <p:cNvGraphicFramePr>
            <a:graphicFrameLocks/>
          </p:cNvGraphicFramePr>
          <p:nvPr/>
        </p:nvGraphicFramePr>
        <p:xfrm>
          <a:off x="4153322" y="2647951"/>
          <a:ext cx="2057400" cy="1236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7" name="Rectangle 166"/>
          <p:cNvSpPr/>
          <p:nvPr/>
        </p:nvSpPr>
        <p:spPr>
          <a:xfrm>
            <a:off x="1766316" y="2807884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68" name="Rectangle 167"/>
          <p:cNvSpPr/>
          <p:nvPr/>
        </p:nvSpPr>
        <p:spPr>
          <a:xfrm>
            <a:off x="1766316" y="2912476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69" name="Rectangle 168"/>
          <p:cNvSpPr/>
          <p:nvPr/>
        </p:nvSpPr>
        <p:spPr>
          <a:xfrm>
            <a:off x="1766316" y="2703290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0" name="Rectangle 169"/>
          <p:cNvSpPr/>
          <p:nvPr/>
        </p:nvSpPr>
        <p:spPr>
          <a:xfrm>
            <a:off x="1766316" y="3017071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1" name="Rectangle 170"/>
          <p:cNvSpPr/>
          <p:nvPr/>
        </p:nvSpPr>
        <p:spPr>
          <a:xfrm>
            <a:off x="1766316" y="3121655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2" name="Rectangle 171"/>
          <p:cNvSpPr/>
          <p:nvPr/>
        </p:nvSpPr>
        <p:spPr>
          <a:xfrm>
            <a:off x="1766316" y="2807884"/>
            <a:ext cx="416201" cy="7013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3" name="Rectangle 172"/>
          <p:cNvSpPr/>
          <p:nvPr/>
        </p:nvSpPr>
        <p:spPr>
          <a:xfrm>
            <a:off x="1766316" y="2912476"/>
            <a:ext cx="416201" cy="7013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4" name="Rectangle 173"/>
          <p:cNvSpPr/>
          <p:nvPr/>
        </p:nvSpPr>
        <p:spPr>
          <a:xfrm>
            <a:off x="1766316" y="2703290"/>
            <a:ext cx="416201" cy="7013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5" name="Rectangle 174"/>
          <p:cNvSpPr/>
          <p:nvPr/>
        </p:nvSpPr>
        <p:spPr>
          <a:xfrm>
            <a:off x="1766316" y="3017071"/>
            <a:ext cx="416201" cy="7013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6" name="Rectangle 175"/>
          <p:cNvSpPr/>
          <p:nvPr/>
        </p:nvSpPr>
        <p:spPr>
          <a:xfrm>
            <a:off x="1766316" y="3121655"/>
            <a:ext cx="416201" cy="7013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0" name="Rectangle 179"/>
          <p:cNvSpPr/>
          <p:nvPr/>
        </p:nvSpPr>
        <p:spPr>
          <a:xfrm>
            <a:off x="3097327" y="2180317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1" name="Rectangle 180"/>
          <p:cNvSpPr/>
          <p:nvPr/>
        </p:nvSpPr>
        <p:spPr>
          <a:xfrm>
            <a:off x="3097327" y="2284910"/>
            <a:ext cx="416201" cy="70139"/>
          </a:xfrm>
          <a:prstGeom prst="rect">
            <a:avLst/>
          </a:prstGeom>
          <a:solidFill>
            <a:srgbClr val="336F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2" name="Rectangle 181"/>
          <p:cNvSpPr/>
          <p:nvPr/>
        </p:nvSpPr>
        <p:spPr>
          <a:xfrm>
            <a:off x="3097327" y="2075724"/>
            <a:ext cx="416201" cy="70139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3" name="Rectangle 182"/>
          <p:cNvSpPr/>
          <p:nvPr/>
        </p:nvSpPr>
        <p:spPr>
          <a:xfrm>
            <a:off x="872590" y="3777632"/>
            <a:ext cx="850166" cy="222753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algn="ctr">
              <a:lnSpc>
                <a:spcPct val="89000"/>
              </a:lnSpc>
            </a:pPr>
            <a:r>
              <a:rPr lang="en-US" sz="750" dirty="0"/>
              <a:t>Insights</a:t>
            </a:r>
          </a:p>
        </p:txBody>
      </p:sp>
      <p:sp>
        <p:nvSpPr>
          <p:cNvPr id="184" name="Rectangle 183"/>
          <p:cNvSpPr/>
          <p:nvPr/>
        </p:nvSpPr>
        <p:spPr>
          <a:xfrm>
            <a:off x="1541110" y="3777632"/>
            <a:ext cx="850166" cy="222753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algn="ctr">
              <a:lnSpc>
                <a:spcPct val="89000"/>
              </a:lnSpc>
            </a:pPr>
            <a:r>
              <a:rPr lang="en-US" sz="750" dirty="0"/>
              <a:t>Articles</a:t>
            </a:r>
          </a:p>
        </p:txBody>
      </p:sp>
      <p:sp>
        <p:nvSpPr>
          <p:cNvPr id="185" name="Rectangle 184"/>
          <p:cNvSpPr/>
          <p:nvPr/>
        </p:nvSpPr>
        <p:spPr>
          <a:xfrm>
            <a:off x="2207377" y="3785268"/>
            <a:ext cx="850166" cy="222753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algn="ctr">
              <a:lnSpc>
                <a:spcPct val="89000"/>
              </a:lnSpc>
            </a:pPr>
            <a:r>
              <a:rPr lang="en-US" sz="750" dirty="0"/>
              <a:t>Interviews</a:t>
            </a:r>
          </a:p>
        </p:txBody>
      </p:sp>
      <p:sp>
        <p:nvSpPr>
          <p:cNvPr id="186" name="Rectangle 185"/>
          <p:cNvSpPr/>
          <p:nvPr/>
        </p:nvSpPr>
        <p:spPr>
          <a:xfrm>
            <a:off x="2867374" y="3785268"/>
            <a:ext cx="850166" cy="222753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algn="ctr">
              <a:lnSpc>
                <a:spcPct val="89000"/>
              </a:lnSpc>
            </a:pPr>
            <a:r>
              <a:rPr lang="en-US" sz="750" dirty="0"/>
              <a:t>Resources</a:t>
            </a:r>
          </a:p>
        </p:txBody>
      </p:sp>
      <p:sp>
        <p:nvSpPr>
          <p:cNvPr id="160" name="Footer Placeholder 99">
            <a:extLst>
              <a:ext uri="{FF2B5EF4-FFF2-40B4-BE49-F238E27FC236}">
                <a16:creationId xmlns:a16="http://schemas.microsoft.com/office/drawing/2014/main" id="{4EC3C9C7-7F10-48C2-9D16-DD895F5995D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7" name="Slide Number Placeholder 100">
            <a:extLst>
              <a:ext uri="{FF2B5EF4-FFF2-40B4-BE49-F238E27FC236}">
                <a16:creationId xmlns:a16="http://schemas.microsoft.com/office/drawing/2014/main" id="{42998609-A91D-4156-A914-D79E787EBEF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178" name="Text Placeholder 41">
            <a:extLst>
              <a:ext uri="{FF2B5EF4-FFF2-40B4-BE49-F238E27FC236}">
                <a16:creationId xmlns:a16="http://schemas.microsoft.com/office/drawing/2014/main" id="{711CA628-AFAB-4A1F-8A07-D2E3D8A22D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73568423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99075" cy="545464"/>
          </a:xfrm>
        </p:spPr>
        <p:txBody>
          <a:bodyPr/>
          <a:lstStyle/>
          <a:p>
            <a:r>
              <a:rPr lang="en-US" dirty="0"/>
              <a:t>Harvey Ball comparisons – products or competitors </a:t>
            </a:r>
          </a:p>
        </p:txBody>
      </p:sp>
      <p:graphicFrame>
        <p:nvGraphicFramePr>
          <p:cNvPr id="160" name="Content Placeholder 4">
            <a:extLst>
              <a:ext uri="{FF2B5EF4-FFF2-40B4-BE49-F238E27FC236}">
                <a16:creationId xmlns:a16="http://schemas.microsoft.com/office/drawing/2014/main" id="{F3339EAE-23C4-4A06-9B42-798E6F0A3E5A}"/>
              </a:ext>
            </a:extLst>
          </p:cNvPr>
          <p:cNvGraphicFramePr>
            <a:graphicFrameLocks/>
          </p:cNvGraphicFramePr>
          <p:nvPr/>
        </p:nvGraphicFramePr>
        <p:xfrm>
          <a:off x="685801" y="1539244"/>
          <a:ext cx="7772401" cy="267074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830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23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23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23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223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34149">
                <a:tc>
                  <a:txBody>
                    <a:bodyPr/>
                    <a:lstStyle/>
                    <a:p>
                      <a:endParaRPr lang="en-US" sz="1200" b="0" cap="none" spc="-20" dirty="0">
                        <a:solidFill>
                          <a:schemeClr val="tx1"/>
                        </a:solidFill>
                        <a:latin typeface="+mn-lt"/>
                        <a:ea typeface="Open Sans Semibold" pitchFamily="34" charset="0"/>
                        <a:cs typeface="Open Sans Semibold" pitchFamily="34" charset="0"/>
                      </a:endParaRPr>
                    </a:p>
                  </a:txBody>
                  <a:tcPr marL="84854" marR="8485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cap="none" spc="-20" baseline="0" dirty="0">
                          <a:solidFill>
                            <a:schemeClr val="bg1"/>
                          </a:solidFill>
                          <a:latin typeface="+mn-lt"/>
                          <a:ea typeface="Open Sans Semibold" pitchFamily="34" charset="0"/>
                          <a:cs typeface="Open Sans Semibold" pitchFamily="34" charset="0"/>
                        </a:rPr>
                        <a:t>X xx xxx 1</a:t>
                      </a:r>
                    </a:p>
                  </a:txBody>
                  <a:tcPr marL="84854" marR="8485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cap="none" spc="-20" baseline="0" dirty="0">
                          <a:solidFill>
                            <a:schemeClr val="bg1"/>
                          </a:solidFill>
                          <a:latin typeface="+mn-lt"/>
                          <a:ea typeface="Open Sans Semibold" pitchFamily="34" charset="0"/>
                          <a:cs typeface="Open Sans Semibold" pitchFamily="34" charset="0"/>
                        </a:rPr>
                        <a:t>X xx xxx 2</a:t>
                      </a:r>
                    </a:p>
                  </a:txBody>
                  <a:tcPr marL="84854" marR="8485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cap="none" spc="-20" baseline="0" dirty="0">
                          <a:solidFill>
                            <a:schemeClr val="bg1"/>
                          </a:solidFill>
                          <a:latin typeface="+mn-lt"/>
                          <a:ea typeface="Open Sans Semibold" pitchFamily="34" charset="0"/>
                          <a:cs typeface="Open Sans Semibold" pitchFamily="34" charset="0"/>
                        </a:rPr>
                        <a:t>X xx xxx 3</a:t>
                      </a:r>
                    </a:p>
                  </a:txBody>
                  <a:tcPr marL="84854" marR="8485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cap="none" spc="-20" baseline="0" dirty="0">
                          <a:solidFill>
                            <a:schemeClr val="bg1"/>
                          </a:solidFill>
                          <a:latin typeface="+mn-lt"/>
                          <a:ea typeface="Open Sans Semibold" pitchFamily="34" charset="0"/>
                          <a:cs typeface="Open Sans Semibold" pitchFamily="34" charset="0"/>
                        </a:rPr>
                        <a:t>X xx xxx 4</a:t>
                      </a:r>
                    </a:p>
                  </a:txBody>
                  <a:tcPr marL="84854" marR="8485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4149">
                <a:tc>
                  <a:txBody>
                    <a:bodyPr/>
                    <a:lstStyle/>
                    <a:p>
                      <a:r>
                        <a:rPr lang="en-US" sz="1200" b="0" cap="none" spc="-20" dirty="0" err="1">
                          <a:solidFill>
                            <a:schemeClr val="tx1"/>
                          </a:solidFill>
                          <a:latin typeface="+mn-lt"/>
                          <a:ea typeface="Open Sans Semibold" pitchFamily="34" charset="0"/>
                          <a:cs typeface="Open Sans Semibold" pitchFamily="34" charset="0"/>
                        </a:rPr>
                        <a:t>Xxxxx</a:t>
                      </a:r>
                      <a:r>
                        <a:rPr lang="en-US" sz="1200" b="0" cap="none" spc="-20" baseline="0" dirty="0">
                          <a:solidFill>
                            <a:schemeClr val="tx1"/>
                          </a:solidFill>
                          <a:latin typeface="+mn-lt"/>
                          <a:ea typeface="Open Sans Semibold" pitchFamily="34" charset="0"/>
                          <a:cs typeface="Open Sans Semibold" pitchFamily="34" charset="0"/>
                        </a:rPr>
                        <a:t> </a:t>
                      </a:r>
                      <a:r>
                        <a:rPr lang="en-US" sz="1200" b="0" cap="none" spc="-20" baseline="0" dirty="0" err="1">
                          <a:solidFill>
                            <a:schemeClr val="tx1"/>
                          </a:solidFill>
                          <a:latin typeface="+mn-lt"/>
                          <a:ea typeface="Open Sans Semibold" pitchFamily="34" charset="0"/>
                          <a:cs typeface="Open Sans Semibold" pitchFamily="34" charset="0"/>
                        </a:rPr>
                        <a:t>xxxxx</a:t>
                      </a:r>
                      <a:endParaRPr lang="en-US" sz="1200" b="0" cap="none" spc="-20" dirty="0">
                        <a:solidFill>
                          <a:schemeClr val="tx1"/>
                        </a:solidFill>
                        <a:latin typeface="+mn-lt"/>
                        <a:ea typeface="Open Sans Semibold" pitchFamily="34" charset="0"/>
                        <a:cs typeface="Open Sans Semibold" pitchFamily="34" charset="0"/>
                      </a:endParaRPr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555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1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1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1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14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4149">
                <a:tc>
                  <a:txBody>
                    <a:bodyPr/>
                    <a:lstStyle/>
                    <a:p>
                      <a:r>
                        <a:rPr lang="en-US" sz="1200" b="0" cap="none" spc="-20" dirty="0" err="1">
                          <a:solidFill>
                            <a:schemeClr val="tx1"/>
                          </a:solidFill>
                          <a:latin typeface="+mn-lt"/>
                          <a:ea typeface="Open Sans Semibold" pitchFamily="34" charset="0"/>
                          <a:cs typeface="Open Sans Semibold" pitchFamily="34" charset="0"/>
                        </a:rPr>
                        <a:t>Xxxxxxx</a:t>
                      </a:r>
                      <a:endParaRPr lang="en-US" sz="1200" b="0" cap="none" spc="-20" dirty="0">
                        <a:solidFill>
                          <a:schemeClr val="tx1"/>
                        </a:solidFill>
                        <a:latin typeface="+mn-lt"/>
                        <a:ea typeface="Open Sans Semibold" pitchFamily="34" charset="0"/>
                        <a:cs typeface="Open Sans Semibold" pitchFamily="34" charset="0"/>
                      </a:endParaRPr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555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1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1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1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14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4149">
                <a:tc>
                  <a:txBody>
                    <a:bodyPr/>
                    <a:lstStyle/>
                    <a:p>
                      <a:r>
                        <a:rPr lang="en-US" sz="1200" b="0" cap="none" spc="-20" dirty="0">
                          <a:solidFill>
                            <a:schemeClr val="tx1"/>
                          </a:solidFill>
                          <a:latin typeface="+mn-lt"/>
                          <a:ea typeface="Open Sans Semibold" pitchFamily="34" charset="0"/>
                          <a:cs typeface="Open Sans Semibold" pitchFamily="34" charset="0"/>
                        </a:rPr>
                        <a:t>Xx xxx</a:t>
                      </a:r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555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1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1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1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14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4149">
                <a:tc>
                  <a:txBody>
                    <a:bodyPr/>
                    <a:lstStyle/>
                    <a:p>
                      <a:r>
                        <a:rPr lang="en-US" sz="1200" b="0" cap="none" spc="-20" dirty="0">
                          <a:solidFill>
                            <a:schemeClr val="tx1"/>
                          </a:solidFill>
                          <a:latin typeface="+mn-lt"/>
                          <a:ea typeface="Open Sans Semibold" pitchFamily="34" charset="0"/>
                          <a:cs typeface="Open Sans Semibold" pitchFamily="34" charset="0"/>
                        </a:rPr>
                        <a:t>Xxx </a:t>
                      </a:r>
                      <a:r>
                        <a:rPr lang="en-US" sz="1200" b="0" cap="none" spc="-20" dirty="0" err="1">
                          <a:solidFill>
                            <a:schemeClr val="tx1"/>
                          </a:solidFill>
                          <a:latin typeface="+mn-lt"/>
                          <a:ea typeface="Open Sans Semibold" pitchFamily="34" charset="0"/>
                          <a:cs typeface="Open Sans Semibold" pitchFamily="34" charset="0"/>
                        </a:rPr>
                        <a:t>xxxx</a:t>
                      </a:r>
                      <a:r>
                        <a:rPr lang="en-US" sz="1200" b="0" cap="none" spc="-20" dirty="0">
                          <a:solidFill>
                            <a:schemeClr val="tx1"/>
                          </a:solidFill>
                          <a:latin typeface="+mn-lt"/>
                          <a:ea typeface="Open Sans Semibold" pitchFamily="34" charset="0"/>
                          <a:cs typeface="Open Sans Semibold" pitchFamily="34" charset="0"/>
                        </a:rPr>
                        <a:t> x</a:t>
                      </a:r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555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1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1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1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84854" marR="84854" anchor="ctr">
                    <a:lnL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14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77" name="Text Placeholder 7">
            <a:extLst>
              <a:ext uri="{FF2B5EF4-FFF2-40B4-BE49-F238E27FC236}">
                <a16:creationId xmlns:a16="http://schemas.microsoft.com/office/drawing/2014/main" id="{9AEEAAA5-3CD3-49E9-A162-6580A482ED45}"/>
              </a:ext>
            </a:extLst>
          </p:cNvPr>
          <p:cNvSpPr txBox="1">
            <a:spLocks/>
          </p:cNvSpPr>
          <p:nvPr/>
        </p:nvSpPr>
        <p:spPr>
          <a:xfrm>
            <a:off x="2370909" y="1237672"/>
            <a:ext cx="6087290" cy="322051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vert="horz" lIns="457200" tIns="91440" rIns="457200" bIns="91440" rtlCol="0" anchor="ctr">
            <a:noAutofit/>
          </a:bodyPr>
          <a:lstStyle>
            <a:lvl1pPr marL="0" indent="0" algn="ctr" defTabSz="457200" rtl="0" eaLnBrk="1" latinLnBrk="0" hangingPunct="1">
              <a:lnSpc>
                <a:spcPct val="90000"/>
              </a:lnSpc>
              <a:spcBef>
                <a:spcPts val="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xxxx xxxxxxxxxxxxxxxxxx xxxxxxxx x xxx xx </a:t>
            </a:r>
            <a:endParaRPr lang="en-US" dirty="0"/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9DA2F60A-715B-4058-B585-043C8B0D43AC}"/>
              </a:ext>
            </a:extLst>
          </p:cNvPr>
          <p:cNvSpPr/>
          <p:nvPr/>
        </p:nvSpPr>
        <p:spPr bwMode="black">
          <a:xfrm>
            <a:off x="4532568" y="3754622"/>
            <a:ext cx="364309" cy="36430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9" name="Oval 178">
            <a:extLst>
              <a:ext uri="{FF2B5EF4-FFF2-40B4-BE49-F238E27FC236}">
                <a16:creationId xmlns:a16="http://schemas.microsoft.com/office/drawing/2014/main" id="{DA867595-EA12-4565-8A83-2FF2C096CBD3}"/>
              </a:ext>
            </a:extLst>
          </p:cNvPr>
          <p:cNvSpPr/>
          <p:nvPr/>
        </p:nvSpPr>
        <p:spPr bwMode="black">
          <a:xfrm>
            <a:off x="4532568" y="3233612"/>
            <a:ext cx="364309" cy="36430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A58B4838-45FB-46E8-A276-D5603D79F308}"/>
              </a:ext>
            </a:extLst>
          </p:cNvPr>
          <p:cNvSpPr/>
          <p:nvPr/>
        </p:nvSpPr>
        <p:spPr bwMode="black">
          <a:xfrm>
            <a:off x="6042661" y="3754622"/>
            <a:ext cx="364309" cy="36430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EC6D363B-D5EA-44F0-951D-C3B32084F812}"/>
              </a:ext>
            </a:extLst>
          </p:cNvPr>
          <p:cNvSpPr/>
          <p:nvPr/>
        </p:nvSpPr>
        <p:spPr bwMode="black">
          <a:xfrm>
            <a:off x="7553983" y="3233612"/>
            <a:ext cx="364309" cy="36430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966124DB-68E4-4C2E-AD24-703BD36CD265}"/>
              </a:ext>
            </a:extLst>
          </p:cNvPr>
          <p:cNvSpPr/>
          <p:nvPr/>
        </p:nvSpPr>
        <p:spPr bwMode="black">
          <a:xfrm>
            <a:off x="6042661" y="3233612"/>
            <a:ext cx="364309" cy="36430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4AB0AF4A-6C8B-418F-A32A-7B33F08DC65C}"/>
              </a:ext>
            </a:extLst>
          </p:cNvPr>
          <p:cNvSpPr/>
          <p:nvPr/>
        </p:nvSpPr>
        <p:spPr bwMode="black">
          <a:xfrm>
            <a:off x="4532568" y="2684881"/>
            <a:ext cx="364309" cy="36430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F94A5E35-051A-4B5F-85D5-04B3529A0C8C}"/>
              </a:ext>
            </a:extLst>
          </p:cNvPr>
          <p:cNvSpPr/>
          <p:nvPr/>
        </p:nvSpPr>
        <p:spPr bwMode="black">
          <a:xfrm>
            <a:off x="6042661" y="2684881"/>
            <a:ext cx="364309" cy="36430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863A17F9-5291-4C34-8FAC-8AE16B627FE8}"/>
              </a:ext>
            </a:extLst>
          </p:cNvPr>
          <p:cNvSpPr/>
          <p:nvPr/>
        </p:nvSpPr>
        <p:spPr bwMode="black">
          <a:xfrm>
            <a:off x="7553983" y="2684881"/>
            <a:ext cx="364309" cy="36430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ACEB5B96-39C4-485C-AAC8-6EB68A4E03E0}"/>
              </a:ext>
            </a:extLst>
          </p:cNvPr>
          <p:cNvSpPr/>
          <p:nvPr/>
        </p:nvSpPr>
        <p:spPr bwMode="black">
          <a:xfrm>
            <a:off x="4532568" y="2151272"/>
            <a:ext cx="364309" cy="36430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B25AC079-24FA-467B-9EB5-7BEBADE47AE3}"/>
              </a:ext>
            </a:extLst>
          </p:cNvPr>
          <p:cNvSpPr/>
          <p:nvPr/>
        </p:nvSpPr>
        <p:spPr bwMode="black">
          <a:xfrm>
            <a:off x="6042661" y="2151272"/>
            <a:ext cx="364309" cy="36430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74839969-BBFD-48D5-96D7-83D82E9E9923}"/>
              </a:ext>
            </a:extLst>
          </p:cNvPr>
          <p:cNvSpPr/>
          <p:nvPr/>
        </p:nvSpPr>
        <p:spPr bwMode="black">
          <a:xfrm>
            <a:off x="7553983" y="2151272"/>
            <a:ext cx="364309" cy="36430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0067DE0C-FE77-4EFB-8F06-84089B4B381A}"/>
              </a:ext>
            </a:extLst>
          </p:cNvPr>
          <p:cNvSpPr/>
          <p:nvPr/>
        </p:nvSpPr>
        <p:spPr bwMode="black">
          <a:xfrm>
            <a:off x="7553983" y="3754622"/>
            <a:ext cx="364309" cy="36430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EA8C69BC-D41B-4C09-BE75-D55947FAB4A8}"/>
              </a:ext>
            </a:extLst>
          </p:cNvPr>
          <p:cNvSpPr/>
          <p:nvPr/>
        </p:nvSpPr>
        <p:spPr bwMode="black">
          <a:xfrm>
            <a:off x="2954660" y="3754622"/>
            <a:ext cx="364309" cy="36430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D889DFA9-1DC0-47BA-9E8F-040A0130BA60}"/>
              </a:ext>
            </a:extLst>
          </p:cNvPr>
          <p:cNvSpPr/>
          <p:nvPr/>
        </p:nvSpPr>
        <p:spPr bwMode="black">
          <a:xfrm>
            <a:off x="2954660" y="3233612"/>
            <a:ext cx="364309" cy="36430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4B44067D-81EA-4AAF-B0FC-B9289A479858}"/>
              </a:ext>
            </a:extLst>
          </p:cNvPr>
          <p:cNvSpPr/>
          <p:nvPr/>
        </p:nvSpPr>
        <p:spPr bwMode="black">
          <a:xfrm>
            <a:off x="2954660" y="2684881"/>
            <a:ext cx="364309" cy="36430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3EAAFAEB-0C49-40B6-A926-0F1659D699E9}"/>
              </a:ext>
            </a:extLst>
          </p:cNvPr>
          <p:cNvSpPr/>
          <p:nvPr/>
        </p:nvSpPr>
        <p:spPr bwMode="black">
          <a:xfrm>
            <a:off x="2954660" y="2151272"/>
            <a:ext cx="364309" cy="36430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1" name="Pie 5">
            <a:extLst>
              <a:ext uri="{FF2B5EF4-FFF2-40B4-BE49-F238E27FC236}">
                <a16:creationId xmlns:a16="http://schemas.microsoft.com/office/drawing/2014/main" id="{F18230BE-26B2-4E1E-86B3-75F580249219}"/>
              </a:ext>
            </a:extLst>
          </p:cNvPr>
          <p:cNvSpPr/>
          <p:nvPr/>
        </p:nvSpPr>
        <p:spPr bwMode="black">
          <a:xfrm>
            <a:off x="2985937" y="3785899"/>
            <a:ext cx="301752" cy="301752"/>
          </a:xfrm>
          <a:prstGeom prst="pie">
            <a:avLst>
              <a:gd name="adj1" fmla="val 21569986"/>
              <a:gd name="adj2" fmla="val 162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202" name="Pie 9">
            <a:extLst>
              <a:ext uri="{FF2B5EF4-FFF2-40B4-BE49-F238E27FC236}">
                <a16:creationId xmlns:a16="http://schemas.microsoft.com/office/drawing/2014/main" id="{13926440-3D0F-4DC5-BFDA-AD780E1BE261}"/>
              </a:ext>
            </a:extLst>
          </p:cNvPr>
          <p:cNvSpPr/>
          <p:nvPr/>
        </p:nvSpPr>
        <p:spPr bwMode="black">
          <a:xfrm>
            <a:off x="4563845" y="3785899"/>
            <a:ext cx="301752" cy="301752"/>
          </a:xfrm>
          <a:prstGeom prst="pie">
            <a:avLst>
              <a:gd name="adj1" fmla="val 5427408"/>
              <a:gd name="adj2" fmla="val 162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203" name="Pie 11">
            <a:extLst>
              <a:ext uri="{FF2B5EF4-FFF2-40B4-BE49-F238E27FC236}">
                <a16:creationId xmlns:a16="http://schemas.microsoft.com/office/drawing/2014/main" id="{0FBA7F78-F7E2-4931-95A4-CF7E27D65712}"/>
              </a:ext>
            </a:extLst>
          </p:cNvPr>
          <p:cNvSpPr/>
          <p:nvPr/>
        </p:nvSpPr>
        <p:spPr bwMode="black">
          <a:xfrm>
            <a:off x="4563845" y="3264889"/>
            <a:ext cx="301752" cy="301752"/>
          </a:xfrm>
          <a:prstGeom prst="pie">
            <a:avLst>
              <a:gd name="adj1" fmla="val 10788895"/>
              <a:gd name="adj2" fmla="val 162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2B0D82EB-554A-4F93-9E99-1E7130AE377E}"/>
              </a:ext>
            </a:extLst>
          </p:cNvPr>
          <p:cNvSpPr/>
          <p:nvPr/>
        </p:nvSpPr>
        <p:spPr bwMode="black">
          <a:xfrm>
            <a:off x="6073938" y="3785899"/>
            <a:ext cx="301752" cy="3017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205" name="Pie 16">
            <a:extLst>
              <a:ext uri="{FF2B5EF4-FFF2-40B4-BE49-F238E27FC236}">
                <a16:creationId xmlns:a16="http://schemas.microsoft.com/office/drawing/2014/main" id="{6447BDEC-3144-4631-AEF2-F0C7FFA1FD46}"/>
              </a:ext>
            </a:extLst>
          </p:cNvPr>
          <p:cNvSpPr/>
          <p:nvPr/>
        </p:nvSpPr>
        <p:spPr bwMode="black">
          <a:xfrm>
            <a:off x="7585260" y="3264889"/>
            <a:ext cx="301752" cy="301752"/>
          </a:xfrm>
          <a:prstGeom prst="pie">
            <a:avLst>
              <a:gd name="adj1" fmla="val 5427408"/>
              <a:gd name="adj2" fmla="val 162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206" name="Pie 20">
            <a:extLst>
              <a:ext uri="{FF2B5EF4-FFF2-40B4-BE49-F238E27FC236}">
                <a16:creationId xmlns:a16="http://schemas.microsoft.com/office/drawing/2014/main" id="{EEBF58D6-6685-4B22-8815-A258CCED5499}"/>
              </a:ext>
            </a:extLst>
          </p:cNvPr>
          <p:cNvSpPr/>
          <p:nvPr/>
        </p:nvSpPr>
        <p:spPr bwMode="black">
          <a:xfrm>
            <a:off x="2985937" y="2716158"/>
            <a:ext cx="301752" cy="301752"/>
          </a:xfrm>
          <a:prstGeom prst="pie">
            <a:avLst>
              <a:gd name="adj1" fmla="val 10788895"/>
              <a:gd name="adj2" fmla="val 162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207" name="Pie 22">
            <a:extLst>
              <a:ext uri="{FF2B5EF4-FFF2-40B4-BE49-F238E27FC236}">
                <a16:creationId xmlns:a16="http://schemas.microsoft.com/office/drawing/2014/main" id="{14E699ED-1674-49C2-88A4-3E6A4D73E598}"/>
              </a:ext>
            </a:extLst>
          </p:cNvPr>
          <p:cNvSpPr/>
          <p:nvPr/>
        </p:nvSpPr>
        <p:spPr bwMode="black">
          <a:xfrm>
            <a:off x="6073938" y="2716158"/>
            <a:ext cx="301752" cy="301752"/>
          </a:xfrm>
          <a:prstGeom prst="pie">
            <a:avLst>
              <a:gd name="adj1" fmla="val 10788895"/>
              <a:gd name="adj2" fmla="val 162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208" name="Pie 25">
            <a:extLst>
              <a:ext uri="{FF2B5EF4-FFF2-40B4-BE49-F238E27FC236}">
                <a16:creationId xmlns:a16="http://schemas.microsoft.com/office/drawing/2014/main" id="{405C0B97-7073-4739-8EE4-91377EE84990}"/>
              </a:ext>
            </a:extLst>
          </p:cNvPr>
          <p:cNvSpPr/>
          <p:nvPr/>
        </p:nvSpPr>
        <p:spPr bwMode="black">
          <a:xfrm>
            <a:off x="2985937" y="2182549"/>
            <a:ext cx="301752" cy="301752"/>
          </a:xfrm>
          <a:prstGeom prst="pie">
            <a:avLst>
              <a:gd name="adj1" fmla="val 5427408"/>
              <a:gd name="adj2" fmla="val 162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209" name="Pie 27">
            <a:extLst>
              <a:ext uri="{FF2B5EF4-FFF2-40B4-BE49-F238E27FC236}">
                <a16:creationId xmlns:a16="http://schemas.microsoft.com/office/drawing/2014/main" id="{3E082CA1-371E-41BF-BA8C-F8C7A11B3FD8}"/>
              </a:ext>
            </a:extLst>
          </p:cNvPr>
          <p:cNvSpPr/>
          <p:nvPr/>
        </p:nvSpPr>
        <p:spPr bwMode="black">
          <a:xfrm>
            <a:off x="4563845" y="2182549"/>
            <a:ext cx="301752" cy="301752"/>
          </a:xfrm>
          <a:prstGeom prst="pie">
            <a:avLst>
              <a:gd name="adj1" fmla="val 5427408"/>
              <a:gd name="adj2" fmla="val 162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210" name="Pie 30">
            <a:extLst>
              <a:ext uri="{FF2B5EF4-FFF2-40B4-BE49-F238E27FC236}">
                <a16:creationId xmlns:a16="http://schemas.microsoft.com/office/drawing/2014/main" id="{5E9A4D3D-19A4-4F50-BE1A-DE9F1A2C4A38}"/>
              </a:ext>
            </a:extLst>
          </p:cNvPr>
          <p:cNvSpPr/>
          <p:nvPr/>
        </p:nvSpPr>
        <p:spPr bwMode="black">
          <a:xfrm>
            <a:off x="7585260" y="2182549"/>
            <a:ext cx="301752" cy="301752"/>
          </a:xfrm>
          <a:prstGeom prst="pie">
            <a:avLst>
              <a:gd name="adj1" fmla="val 10788895"/>
              <a:gd name="adj2" fmla="val 162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211" name="Pie 33">
            <a:extLst>
              <a:ext uri="{FF2B5EF4-FFF2-40B4-BE49-F238E27FC236}">
                <a16:creationId xmlns:a16="http://schemas.microsoft.com/office/drawing/2014/main" id="{F68E86C0-2F33-4605-9501-C079E86939C5}"/>
              </a:ext>
            </a:extLst>
          </p:cNvPr>
          <p:cNvSpPr/>
          <p:nvPr/>
        </p:nvSpPr>
        <p:spPr bwMode="black">
          <a:xfrm>
            <a:off x="7585260" y="3785899"/>
            <a:ext cx="301752" cy="301752"/>
          </a:xfrm>
          <a:prstGeom prst="pie">
            <a:avLst>
              <a:gd name="adj1" fmla="val 21569986"/>
              <a:gd name="adj2" fmla="val 162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3" name="Footer Placeholder 99">
            <a:extLst>
              <a:ext uri="{FF2B5EF4-FFF2-40B4-BE49-F238E27FC236}">
                <a16:creationId xmlns:a16="http://schemas.microsoft.com/office/drawing/2014/main" id="{8A596200-87D0-41BA-AEC0-C6AF1D4204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4" name="Slide Number Placeholder 100">
            <a:extLst>
              <a:ext uri="{FF2B5EF4-FFF2-40B4-BE49-F238E27FC236}">
                <a16:creationId xmlns:a16="http://schemas.microsoft.com/office/drawing/2014/main" id="{CF726115-5E6E-4FBB-A8EC-F2E11C9AAC1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35" name="Text Placeholder 41">
            <a:extLst>
              <a:ext uri="{FF2B5EF4-FFF2-40B4-BE49-F238E27FC236}">
                <a16:creationId xmlns:a16="http://schemas.microsoft.com/office/drawing/2014/main" id="{B5191FAB-EDB4-4491-8CAC-C5BE450A0F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89830480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8251166" cy="545464"/>
          </a:xfrm>
        </p:spPr>
        <p:txBody>
          <a:bodyPr/>
          <a:lstStyle/>
          <a:p>
            <a:r>
              <a:rPr lang="en-US" dirty="0"/>
              <a:t>Matrix – services, products, segments, etc.</a:t>
            </a:r>
          </a:p>
        </p:txBody>
      </p:sp>
      <p:graphicFrame>
        <p:nvGraphicFramePr>
          <p:cNvPr id="18" name="Diagram 17"/>
          <p:cNvGraphicFramePr/>
          <p:nvPr/>
        </p:nvGraphicFramePr>
        <p:xfrm>
          <a:off x="3025953" y="1292123"/>
          <a:ext cx="3092095" cy="31379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6139242" y="1631394"/>
            <a:ext cx="8659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XXXXX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139241" y="1848047"/>
            <a:ext cx="18552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XXXXX XXX XXXXX XXXX X XXXXXXXXXX XXXXX XXX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148969" y="3351651"/>
            <a:ext cx="8659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XXXXX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139241" y="3567337"/>
            <a:ext cx="19239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/>
              <a:t>XXXXX XXX XXXXX XXXX X XXXXXXXXXX XXXXX XXX</a:t>
            </a:r>
            <a:endParaRPr lang="en-US" sz="1200" dirty="0"/>
          </a:p>
        </p:txBody>
      </p:sp>
      <p:sp>
        <p:nvSpPr>
          <p:cNvPr id="23" name="TextBox 22"/>
          <p:cNvSpPr txBox="1"/>
          <p:nvPr/>
        </p:nvSpPr>
        <p:spPr>
          <a:xfrm>
            <a:off x="2162988" y="1631394"/>
            <a:ext cx="8659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XXXXX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173673" y="1848047"/>
            <a:ext cx="18552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/>
              <a:t>XXXXX XXX XXXXX XXXX X XXXXXXXXXX XXXXX XXX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821548" y="3351651"/>
            <a:ext cx="120738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TICL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104960" y="3567338"/>
            <a:ext cx="19239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/>
              <a:t>XXXXX XXX XXXXX XXXX X XXXXXXXXXX XXXXX XXX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644372" y="1035570"/>
            <a:ext cx="1855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Dimension 1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139242" y="2749883"/>
            <a:ext cx="1855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Dimension 2</a:t>
            </a:r>
          </a:p>
        </p:txBody>
      </p:sp>
      <p:sp>
        <p:nvSpPr>
          <p:cNvPr id="31" name="Freeform 112"/>
          <p:cNvSpPr>
            <a:spLocks noEditPoints="1"/>
          </p:cNvSpPr>
          <p:nvPr/>
        </p:nvSpPr>
        <p:spPr bwMode="auto">
          <a:xfrm>
            <a:off x="3615325" y="1797825"/>
            <a:ext cx="407689" cy="416359"/>
          </a:xfrm>
          <a:custGeom>
            <a:avLst/>
            <a:gdLst>
              <a:gd name="T0" fmla="*/ 359 w 584"/>
              <a:gd name="T1" fmla="*/ 163 h 595"/>
              <a:gd name="T2" fmla="*/ 7 w 584"/>
              <a:gd name="T3" fmla="*/ 163 h 595"/>
              <a:gd name="T4" fmla="*/ 0 w 584"/>
              <a:gd name="T5" fmla="*/ 281 h 595"/>
              <a:gd name="T6" fmla="*/ 30 w 584"/>
              <a:gd name="T7" fmla="*/ 288 h 595"/>
              <a:gd name="T8" fmla="*/ 37 w 584"/>
              <a:gd name="T9" fmla="*/ 595 h 595"/>
              <a:gd name="T10" fmla="*/ 359 w 584"/>
              <a:gd name="T11" fmla="*/ 595 h 595"/>
              <a:gd name="T12" fmla="*/ 554 w 584"/>
              <a:gd name="T13" fmla="*/ 588 h 595"/>
              <a:gd name="T14" fmla="*/ 577 w 584"/>
              <a:gd name="T15" fmla="*/ 288 h 595"/>
              <a:gd name="T16" fmla="*/ 584 w 584"/>
              <a:gd name="T17" fmla="*/ 170 h 595"/>
              <a:gd name="T18" fmla="*/ 14 w 584"/>
              <a:gd name="T19" fmla="*/ 177 h 595"/>
              <a:gd name="T20" fmla="*/ 218 w 584"/>
              <a:gd name="T21" fmla="*/ 274 h 595"/>
              <a:gd name="T22" fmla="*/ 14 w 584"/>
              <a:gd name="T23" fmla="*/ 177 h 595"/>
              <a:gd name="T24" fmla="*/ 218 w 584"/>
              <a:gd name="T25" fmla="*/ 288 h 595"/>
              <a:gd name="T26" fmla="*/ 44 w 584"/>
              <a:gd name="T27" fmla="*/ 581 h 595"/>
              <a:gd name="T28" fmla="*/ 232 w 584"/>
              <a:gd name="T29" fmla="*/ 581 h 595"/>
              <a:gd name="T30" fmla="*/ 352 w 584"/>
              <a:gd name="T31" fmla="*/ 177 h 595"/>
              <a:gd name="T32" fmla="*/ 232 w 584"/>
              <a:gd name="T33" fmla="*/ 581 h 595"/>
              <a:gd name="T34" fmla="*/ 366 w 584"/>
              <a:gd name="T35" fmla="*/ 581 h 595"/>
              <a:gd name="T36" fmla="*/ 540 w 584"/>
              <a:gd name="T37" fmla="*/ 288 h 595"/>
              <a:gd name="T38" fmla="*/ 570 w 584"/>
              <a:gd name="T39" fmla="*/ 274 h 595"/>
              <a:gd name="T40" fmla="*/ 366 w 584"/>
              <a:gd name="T41" fmla="*/ 177 h 595"/>
              <a:gd name="T42" fmla="*/ 570 w 584"/>
              <a:gd name="T43" fmla="*/ 274 h 595"/>
              <a:gd name="T44" fmla="*/ 292 w 584"/>
              <a:gd name="T45" fmla="*/ 141 h 595"/>
              <a:gd name="T46" fmla="*/ 480 w 584"/>
              <a:gd name="T47" fmla="*/ 114 h 595"/>
              <a:gd name="T48" fmla="*/ 451 w 584"/>
              <a:gd name="T49" fmla="*/ 0 h 595"/>
              <a:gd name="T50" fmla="*/ 292 w 584"/>
              <a:gd name="T51" fmla="*/ 127 h 595"/>
              <a:gd name="T52" fmla="*/ 133 w 584"/>
              <a:gd name="T53" fmla="*/ 0 h 595"/>
              <a:gd name="T54" fmla="*/ 104 w 584"/>
              <a:gd name="T55" fmla="*/ 114 h 595"/>
              <a:gd name="T56" fmla="*/ 369 w 584"/>
              <a:gd name="T57" fmla="*/ 77 h 595"/>
              <a:gd name="T58" fmla="*/ 492 w 584"/>
              <a:gd name="T59" fmla="*/ 57 h 595"/>
              <a:gd name="T60" fmla="*/ 400 w 584"/>
              <a:gd name="T61" fmla="*/ 127 h 595"/>
              <a:gd name="T62" fmla="*/ 369 w 584"/>
              <a:gd name="T63" fmla="*/ 77 h 595"/>
              <a:gd name="T64" fmla="*/ 215 w 584"/>
              <a:gd name="T65" fmla="*/ 77 h 595"/>
              <a:gd name="T66" fmla="*/ 184 w 584"/>
              <a:gd name="T67" fmla="*/ 127 h 595"/>
              <a:gd name="T68" fmla="*/ 91 w 584"/>
              <a:gd name="T69" fmla="*/ 57 h 5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84" h="595">
                <a:moveTo>
                  <a:pt x="577" y="163"/>
                </a:moveTo>
                <a:cubicBezTo>
                  <a:pt x="359" y="163"/>
                  <a:pt x="359" y="163"/>
                  <a:pt x="359" y="163"/>
                </a:cubicBezTo>
                <a:cubicBezTo>
                  <a:pt x="225" y="163"/>
                  <a:pt x="225" y="163"/>
                  <a:pt x="225" y="163"/>
                </a:cubicBezTo>
                <a:cubicBezTo>
                  <a:pt x="7" y="163"/>
                  <a:pt x="7" y="163"/>
                  <a:pt x="7" y="163"/>
                </a:cubicBezTo>
                <a:cubicBezTo>
                  <a:pt x="3" y="163"/>
                  <a:pt x="0" y="166"/>
                  <a:pt x="0" y="170"/>
                </a:cubicBezTo>
                <a:cubicBezTo>
                  <a:pt x="0" y="281"/>
                  <a:pt x="0" y="281"/>
                  <a:pt x="0" y="281"/>
                </a:cubicBezTo>
                <a:cubicBezTo>
                  <a:pt x="0" y="285"/>
                  <a:pt x="3" y="288"/>
                  <a:pt x="7" y="288"/>
                </a:cubicBezTo>
                <a:cubicBezTo>
                  <a:pt x="30" y="288"/>
                  <a:pt x="30" y="288"/>
                  <a:pt x="30" y="288"/>
                </a:cubicBezTo>
                <a:cubicBezTo>
                  <a:pt x="30" y="588"/>
                  <a:pt x="30" y="588"/>
                  <a:pt x="30" y="588"/>
                </a:cubicBezTo>
                <a:cubicBezTo>
                  <a:pt x="30" y="592"/>
                  <a:pt x="33" y="595"/>
                  <a:pt x="37" y="595"/>
                </a:cubicBezTo>
                <a:cubicBezTo>
                  <a:pt x="225" y="595"/>
                  <a:pt x="225" y="595"/>
                  <a:pt x="225" y="595"/>
                </a:cubicBezTo>
                <a:cubicBezTo>
                  <a:pt x="359" y="595"/>
                  <a:pt x="359" y="595"/>
                  <a:pt x="359" y="595"/>
                </a:cubicBezTo>
                <a:cubicBezTo>
                  <a:pt x="547" y="595"/>
                  <a:pt x="547" y="595"/>
                  <a:pt x="547" y="595"/>
                </a:cubicBezTo>
                <a:cubicBezTo>
                  <a:pt x="551" y="595"/>
                  <a:pt x="554" y="592"/>
                  <a:pt x="554" y="588"/>
                </a:cubicBezTo>
                <a:cubicBezTo>
                  <a:pt x="554" y="288"/>
                  <a:pt x="554" y="288"/>
                  <a:pt x="554" y="288"/>
                </a:cubicBezTo>
                <a:cubicBezTo>
                  <a:pt x="577" y="288"/>
                  <a:pt x="577" y="288"/>
                  <a:pt x="577" y="288"/>
                </a:cubicBezTo>
                <a:cubicBezTo>
                  <a:pt x="581" y="288"/>
                  <a:pt x="584" y="285"/>
                  <a:pt x="584" y="281"/>
                </a:cubicBezTo>
                <a:cubicBezTo>
                  <a:pt x="584" y="170"/>
                  <a:pt x="584" y="170"/>
                  <a:pt x="584" y="170"/>
                </a:cubicBezTo>
                <a:cubicBezTo>
                  <a:pt x="584" y="166"/>
                  <a:pt x="581" y="163"/>
                  <a:pt x="577" y="163"/>
                </a:cubicBezTo>
                <a:close/>
                <a:moveTo>
                  <a:pt x="14" y="177"/>
                </a:moveTo>
                <a:cubicBezTo>
                  <a:pt x="218" y="177"/>
                  <a:pt x="218" y="177"/>
                  <a:pt x="218" y="177"/>
                </a:cubicBezTo>
                <a:cubicBezTo>
                  <a:pt x="218" y="274"/>
                  <a:pt x="218" y="274"/>
                  <a:pt x="218" y="274"/>
                </a:cubicBezTo>
                <a:cubicBezTo>
                  <a:pt x="14" y="274"/>
                  <a:pt x="14" y="274"/>
                  <a:pt x="14" y="274"/>
                </a:cubicBezTo>
                <a:lnTo>
                  <a:pt x="14" y="177"/>
                </a:lnTo>
                <a:close/>
                <a:moveTo>
                  <a:pt x="44" y="288"/>
                </a:moveTo>
                <a:cubicBezTo>
                  <a:pt x="218" y="288"/>
                  <a:pt x="218" y="288"/>
                  <a:pt x="218" y="288"/>
                </a:cubicBezTo>
                <a:cubicBezTo>
                  <a:pt x="218" y="581"/>
                  <a:pt x="218" y="581"/>
                  <a:pt x="218" y="581"/>
                </a:cubicBezTo>
                <a:cubicBezTo>
                  <a:pt x="44" y="581"/>
                  <a:pt x="44" y="581"/>
                  <a:pt x="44" y="581"/>
                </a:cubicBezTo>
                <a:lnTo>
                  <a:pt x="44" y="288"/>
                </a:lnTo>
                <a:close/>
                <a:moveTo>
                  <a:pt x="232" y="581"/>
                </a:moveTo>
                <a:cubicBezTo>
                  <a:pt x="232" y="177"/>
                  <a:pt x="232" y="177"/>
                  <a:pt x="232" y="177"/>
                </a:cubicBezTo>
                <a:cubicBezTo>
                  <a:pt x="352" y="177"/>
                  <a:pt x="352" y="177"/>
                  <a:pt x="352" y="177"/>
                </a:cubicBezTo>
                <a:cubicBezTo>
                  <a:pt x="352" y="581"/>
                  <a:pt x="352" y="581"/>
                  <a:pt x="352" y="581"/>
                </a:cubicBezTo>
                <a:lnTo>
                  <a:pt x="232" y="581"/>
                </a:lnTo>
                <a:close/>
                <a:moveTo>
                  <a:pt x="540" y="581"/>
                </a:moveTo>
                <a:cubicBezTo>
                  <a:pt x="366" y="581"/>
                  <a:pt x="366" y="581"/>
                  <a:pt x="366" y="581"/>
                </a:cubicBezTo>
                <a:cubicBezTo>
                  <a:pt x="366" y="288"/>
                  <a:pt x="366" y="288"/>
                  <a:pt x="366" y="288"/>
                </a:cubicBezTo>
                <a:cubicBezTo>
                  <a:pt x="540" y="288"/>
                  <a:pt x="540" y="288"/>
                  <a:pt x="540" y="288"/>
                </a:cubicBezTo>
                <a:lnTo>
                  <a:pt x="540" y="581"/>
                </a:lnTo>
                <a:close/>
                <a:moveTo>
                  <a:pt x="570" y="274"/>
                </a:moveTo>
                <a:cubicBezTo>
                  <a:pt x="366" y="274"/>
                  <a:pt x="366" y="274"/>
                  <a:pt x="366" y="274"/>
                </a:cubicBezTo>
                <a:cubicBezTo>
                  <a:pt x="366" y="177"/>
                  <a:pt x="366" y="177"/>
                  <a:pt x="366" y="177"/>
                </a:cubicBezTo>
                <a:cubicBezTo>
                  <a:pt x="570" y="177"/>
                  <a:pt x="570" y="177"/>
                  <a:pt x="570" y="177"/>
                </a:cubicBezTo>
                <a:lnTo>
                  <a:pt x="570" y="274"/>
                </a:lnTo>
                <a:close/>
                <a:moveTo>
                  <a:pt x="184" y="141"/>
                </a:moveTo>
                <a:cubicBezTo>
                  <a:pt x="292" y="141"/>
                  <a:pt x="292" y="141"/>
                  <a:pt x="292" y="141"/>
                </a:cubicBezTo>
                <a:cubicBezTo>
                  <a:pt x="400" y="141"/>
                  <a:pt x="400" y="141"/>
                  <a:pt x="400" y="141"/>
                </a:cubicBezTo>
                <a:cubicBezTo>
                  <a:pt x="433" y="141"/>
                  <a:pt x="461" y="132"/>
                  <a:pt x="480" y="114"/>
                </a:cubicBezTo>
                <a:cubicBezTo>
                  <a:pt x="497" y="99"/>
                  <a:pt x="506" y="78"/>
                  <a:pt x="506" y="57"/>
                </a:cubicBezTo>
                <a:cubicBezTo>
                  <a:pt x="506" y="24"/>
                  <a:pt x="484" y="0"/>
                  <a:pt x="451" y="0"/>
                </a:cubicBezTo>
                <a:cubicBezTo>
                  <a:pt x="398" y="0"/>
                  <a:pt x="376" y="37"/>
                  <a:pt x="357" y="69"/>
                </a:cubicBezTo>
                <a:cubicBezTo>
                  <a:pt x="340" y="97"/>
                  <a:pt x="325" y="123"/>
                  <a:pt x="292" y="127"/>
                </a:cubicBezTo>
                <a:cubicBezTo>
                  <a:pt x="259" y="123"/>
                  <a:pt x="243" y="97"/>
                  <a:pt x="227" y="69"/>
                </a:cubicBezTo>
                <a:cubicBezTo>
                  <a:pt x="207" y="37"/>
                  <a:pt x="186" y="0"/>
                  <a:pt x="133" y="0"/>
                </a:cubicBezTo>
                <a:cubicBezTo>
                  <a:pt x="100" y="0"/>
                  <a:pt x="77" y="24"/>
                  <a:pt x="77" y="57"/>
                </a:cubicBezTo>
                <a:cubicBezTo>
                  <a:pt x="77" y="78"/>
                  <a:pt x="87" y="99"/>
                  <a:pt x="104" y="114"/>
                </a:cubicBezTo>
                <a:cubicBezTo>
                  <a:pt x="123" y="132"/>
                  <a:pt x="151" y="141"/>
                  <a:pt x="184" y="141"/>
                </a:cubicBezTo>
                <a:close/>
                <a:moveTo>
                  <a:pt x="369" y="77"/>
                </a:moveTo>
                <a:cubicBezTo>
                  <a:pt x="388" y="45"/>
                  <a:pt x="406" y="14"/>
                  <a:pt x="451" y="14"/>
                </a:cubicBezTo>
                <a:cubicBezTo>
                  <a:pt x="480" y="14"/>
                  <a:pt x="492" y="36"/>
                  <a:pt x="492" y="57"/>
                </a:cubicBezTo>
                <a:cubicBezTo>
                  <a:pt x="492" y="74"/>
                  <a:pt x="484" y="91"/>
                  <a:pt x="471" y="104"/>
                </a:cubicBezTo>
                <a:cubicBezTo>
                  <a:pt x="454" y="119"/>
                  <a:pt x="429" y="127"/>
                  <a:pt x="400" y="127"/>
                </a:cubicBezTo>
                <a:cubicBezTo>
                  <a:pt x="329" y="127"/>
                  <a:pt x="329" y="127"/>
                  <a:pt x="329" y="127"/>
                </a:cubicBezTo>
                <a:cubicBezTo>
                  <a:pt x="346" y="114"/>
                  <a:pt x="358" y="95"/>
                  <a:pt x="369" y="77"/>
                </a:cubicBezTo>
                <a:close/>
                <a:moveTo>
                  <a:pt x="133" y="14"/>
                </a:moveTo>
                <a:cubicBezTo>
                  <a:pt x="178" y="14"/>
                  <a:pt x="196" y="45"/>
                  <a:pt x="215" y="77"/>
                </a:cubicBezTo>
                <a:cubicBezTo>
                  <a:pt x="226" y="95"/>
                  <a:pt x="237" y="114"/>
                  <a:pt x="254" y="127"/>
                </a:cubicBezTo>
                <a:cubicBezTo>
                  <a:pt x="184" y="127"/>
                  <a:pt x="184" y="127"/>
                  <a:pt x="184" y="127"/>
                </a:cubicBezTo>
                <a:cubicBezTo>
                  <a:pt x="154" y="127"/>
                  <a:pt x="130" y="119"/>
                  <a:pt x="113" y="104"/>
                </a:cubicBezTo>
                <a:cubicBezTo>
                  <a:pt x="99" y="91"/>
                  <a:pt x="91" y="74"/>
                  <a:pt x="91" y="57"/>
                </a:cubicBezTo>
                <a:cubicBezTo>
                  <a:pt x="91" y="36"/>
                  <a:pt x="104" y="14"/>
                  <a:pt x="133" y="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2" name="Freeform 18"/>
          <p:cNvSpPr>
            <a:spLocks noEditPoints="1"/>
          </p:cNvSpPr>
          <p:nvPr/>
        </p:nvSpPr>
        <p:spPr bwMode="auto">
          <a:xfrm>
            <a:off x="5027620" y="1791104"/>
            <a:ext cx="524116" cy="448926"/>
          </a:xfrm>
          <a:custGeom>
            <a:avLst/>
            <a:gdLst>
              <a:gd name="T0" fmla="*/ 699 w 750"/>
              <a:gd name="T1" fmla="*/ 563 h 643"/>
              <a:gd name="T2" fmla="*/ 675 w 750"/>
              <a:gd name="T3" fmla="*/ 595 h 643"/>
              <a:gd name="T4" fmla="*/ 669 w 750"/>
              <a:gd name="T5" fmla="*/ 584 h 643"/>
              <a:gd name="T6" fmla="*/ 633 w 750"/>
              <a:gd name="T7" fmla="*/ 532 h 643"/>
              <a:gd name="T8" fmla="*/ 640 w 750"/>
              <a:gd name="T9" fmla="*/ 520 h 643"/>
              <a:gd name="T10" fmla="*/ 736 w 750"/>
              <a:gd name="T11" fmla="*/ 382 h 643"/>
              <a:gd name="T12" fmla="*/ 670 w 750"/>
              <a:gd name="T13" fmla="*/ 375 h 643"/>
              <a:gd name="T14" fmla="*/ 736 w 750"/>
              <a:gd name="T15" fmla="*/ 368 h 643"/>
              <a:gd name="T16" fmla="*/ 640 w 750"/>
              <a:gd name="T17" fmla="*/ 230 h 643"/>
              <a:gd name="T18" fmla="*/ 631 w 750"/>
              <a:gd name="T19" fmla="*/ 228 h 643"/>
              <a:gd name="T20" fmla="*/ 684 w 750"/>
              <a:gd name="T21" fmla="*/ 189 h 643"/>
              <a:gd name="T22" fmla="*/ 532 w 750"/>
              <a:gd name="T23" fmla="*/ 117 h 643"/>
              <a:gd name="T24" fmla="*/ 523 w 750"/>
              <a:gd name="T25" fmla="*/ 119 h 643"/>
              <a:gd name="T26" fmla="*/ 549 w 750"/>
              <a:gd name="T27" fmla="*/ 59 h 643"/>
              <a:gd name="T28" fmla="*/ 382 w 750"/>
              <a:gd name="T29" fmla="*/ 73 h 643"/>
              <a:gd name="T30" fmla="*/ 368 w 750"/>
              <a:gd name="T31" fmla="*/ 73 h 643"/>
              <a:gd name="T32" fmla="*/ 201 w 750"/>
              <a:gd name="T33" fmla="*/ 59 h 643"/>
              <a:gd name="T34" fmla="*/ 227 w 750"/>
              <a:gd name="T35" fmla="*/ 119 h 643"/>
              <a:gd name="T36" fmla="*/ 218 w 750"/>
              <a:gd name="T37" fmla="*/ 117 h 643"/>
              <a:gd name="T38" fmla="*/ 66 w 750"/>
              <a:gd name="T39" fmla="*/ 189 h 643"/>
              <a:gd name="T40" fmla="*/ 119 w 750"/>
              <a:gd name="T41" fmla="*/ 228 h 643"/>
              <a:gd name="T42" fmla="*/ 110 w 750"/>
              <a:gd name="T43" fmla="*/ 230 h 643"/>
              <a:gd name="T44" fmla="*/ 14 w 750"/>
              <a:gd name="T45" fmla="*/ 368 h 643"/>
              <a:gd name="T46" fmla="*/ 80 w 750"/>
              <a:gd name="T47" fmla="*/ 375 h 643"/>
              <a:gd name="T48" fmla="*/ 14 w 750"/>
              <a:gd name="T49" fmla="*/ 382 h 643"/>
              <a:gd name="T50" fmla="*/ 110 w 750"/>
              <a:gd name="T51" fmla="*/ 520 h 643"/>
              <a:gd name="T52" fmla="*/ 117 w 750"/>
              <a:gd name="T53" fmla="*/ 532 h 643"/>
              <a:gd name="T54" fmla="*/ 81 w 750"/>
              <a:gd name="T55" fmla="*/ 584 h 643"/>
              <a:gd name="T56" fmla="*/ 69 w 750"/>
              <a:gd name="T57" fmla="*/ 592 h 643"/>
              <a:gd name="T58" fmla="*/ 50 w 750"/>
              <a:gd name="T59" fmla="*/ 563 h 643"/>
              <a:gd name="T60" fmla="*/ 0 w 750"/>
              <a:gd name="T61" fmla="*/ 375 h 643"/>
              <a:gd name="T62" fmla="*/ 50 w 750"/>
              <a:gd name="T63" fmla="*/ 188 h 643"/>
              <a:gd name="T64" fmla="*/ 186 w 750"/>
              <a:gd name="T65" fmla="*/ 51 h 643"/>
              <a:gd name="T66" fmla="*/ 189 w 750"/>
              <a:gd name="T67" fmla="*/ 50 h 643"/>
              <a:gd name="T68" fmla="*/ 561 w 750"/>
              <a:gd name="T69" fmla="*/ 50 h 643"/>
              <a:gd name="T70" fmla="*/ 564 w 750"/>
              <a:gd name="T71" fmla="*/ 51 h 643"/>
              <a:gd name="T72" fmla="*/ 700 w 750"/>
              <a:gd name="T73" fmla="*/ 188 h 643"/>
              <a:gd name="T74" fmla="*/ 750 w 750"/>
              <a:gd name="T75" fmla="*/ 375 h 643"/>
              <a:gd name="T76" fmla="*/ 700 w 750"/>
              <a:gd name="T77" fmla="*/ 563 h 643"/>
              <a:gd name="T78" fmla="*/ 533 w 750"/>
              <a:gd name="T79" fmla="*/ 636 h 643"/>
              <a:gd name="T80" fmla="*/ 224 w 750"/>
              <a:gd name="T81" fmla="*/ 643 h 643"/>
              <a:gd name="T82" fmla="*/ 217 w 750"/>
              <a:gd name="T83" fmla="*/ 560 h 643"/>
              <a:gd name="T84" fmla="*/ 526 w 750"/>
              <a:gd name="T85" fmla="*/ 553 h 643"/>
              <a:gd name="T86" fmla="*/ 519 w 750"/>
              <a:gd name="T87" fmla="*/ 567 h 643"/>
              <a:gd name="T88" fmla="*/ 231 w 750"/>
              <a:gd name="T89" fmla="*/ 629 h 643"/>
              <a:gd name="T90" fmla="*/ 519 w 750"/>
              <a:gd name="T91" fmla="*/ 567 h 643"/>
              <a:gd name="T92" fmla="*/ 577 w 750"/>
              <a:gd name="T93" fmla="*/ 267 h 643"/>
              <a:gd name="T94" fmla="*/ 449 w 750"/>
              <a:gd name="T95" fmla="*/ 375 h 643"/>
              <a:gd name="T96" fmla="*/ 301 w 750"/>
              <a:gd name="T97" fmla="*/ 375 h 643"/>
              <a:gd name="T98" fmla="*/ 435 w 750"/>
              <a:gd name="T99" fmla="*/ 332 h 643"/>
              <a:gd name="T100" fmla="*/ 579 w 750"/>
              <a:gd name="T101" fmla="*/ 257 h 643"/>
              <a:gd name="T102" fmla="*/ 375 w 750"/>
              <a:gd name="T103" fmla="*/ 315 h 643"/>
              <a:gd name="T104" fmla="*/ 375 w 750"/>
              <a:gd name="T105" fmla="*/ 435 h 6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50" h="643">
                <a:moveTo>
                  <a:pt x="700" y="563"/>
                </a:moveTo>
                <a:cubicBezTo>
                  <a:pt x="699" y="563"/>
                  <a:pt x="699" y="563"/>
                  <a:pt x="699" y="563"/>
                </a:cubicBezTo>
                <a:cubicBezTo>
                  <a:pt x="693" y="573"/>
                  <a:pt x="687" y="583"/>
                  <a:pt x="680" y="592"/>
                </a:cubicBezTo>
                <a:cubicBezTo>
                  <a:pt x="679" y="594"/>
                  <a:pt x="677" y="595"/>
                  <a:pt x="675" y="595"/>
                </a:cubicBezTo>
                <a:cubicBezTo>
                  <a:pt x="673" y="595"/>
                  <a:pt x="672" y="595"/>
                  <a:pt x="671" y="594"/>
                </a:cubicBezTo>
                <a:cubicBezTo>
                  <a:pt x="667" y="592"/>
                  <a:pt x="667" y="587"/>
                  <a:pt x="669" y="584"/>
                </a:cubicBezTo>
                <a:cubicBezTo>
                  <a:pt x="674" y="577"/>
                  <a:pt x="679" y="569"/>
                  <a:pt x="684" y="562"/>
                </a:cubicBezTo>
                <a:cubicBezTo>
                  <a:pt x="633" y="532"/>
                  <a:pt x="633" y="532"/>
                  <a:pt x="633" y="532"/>
                </a:cubicBezTo>
                <a:cubicBezTo>
                  <a:pt x="630" y="530"/>
                  <a:pt x="629" y="526"/>
                  <a:pt x="631" y="523"/>
                </a:cubicBezTo>
                <a:cubicBezTo>
                  <a:pt x="633" y="520"/>
                  <a:pt x="637" y="518"/>
                  <a:pt x="640" y="520"/>
                </a:cubicBezTo>
                <a:cubicBezTo>
                  <a:pt x="691" y="550"/>
                  <a:pt x="691" y="550"/>
                  <a:pt x="691" y="550"/>
                </a:cubicBezTo>
                <a:cubicBezTo>
                  <a:pt x="719" y="498"/>
                  <a:pt x="734" y="441"/>
                  <a:pt x="736" y="382"/>
                </a:cubicBezTo>
                <a:cubicBezTo>
                  <a:pt x="677" y="382"/>
                  <a:pt x="677" y="382"/>
                  <a:pt x="677" y="382"/>
                </a:cubicBezTo>
                <a:cubicBezTo>
                  <a:pt x="673" y="382"/>
                  <a:pt x="670" y="379"/>
                  <a:pt x="670" y="375"/>
                </a:cubicBezTo>
                <a:cubicBezTo>
                  <a:pt x="670" y="371"/>
                  <a:pt x="673" y="368"/>
                  <a:pt x="677" y="368"/>
                </a:cubicBezTo>
                <a:cubicBezTo>
                  <a:pt x="736" y="368"/>
                  <a:pt x="736" y="368"/>
                  <a:pt x="736" y="368"/>
                </a:cubicBezTo>
                <a:cubicBezTo>
                  <a:pt x="735" y="308"/>
                  <a:pt x="718" y="251"/>
                  <a:pt x="691" y="201"/>
                </a:cubicBezTo>
                <a:cubicBezTo>
                  <a:pt x="640" y="230"/>
                  <a:pt x="640" y="230"/>
                  <a:pt x="640" y="230"/>
                </a:cubicBezTo>
                <a:cubicBezTo>
                  <a:pt x="639" y="231"/>
                  <a:pt x="638" y="231"/>
                  <a:pt x="637" y="231"/>
                </a:cubicBezTo>
                <a:cubicBezTo>
                  <a:pt x="634" y="231"/>
                  <a:pt x="632" y="230"/>
                  <a:pt x="631" y="228"/>
                </a:cubicBezTo>
                <a:cubicBezTo>
                  <a:pt x="629" y="224"/>
                  <a:pt x="630" y="220"/>
                  <a:pt x="633" y="218"/>
                </a:cubicBezTo>
                <a:cubicBezTo>
                  <a:pt x="684" y="189"/>
                  <a:pt x="684" y="189"/>
                  <a:pt x="684" y="189"/>
                </a:cubicBezTo>
                <a:cubicBezTo>
                  <a:pt x="653" y="139"/>
                  <a:pt x="611" y="97"/>
                  <a:pt x="561" y="66"/>
                </a:cubicBezTo>
                <a:cubicBezTo>
                  <a:pt x="532" y="117"/>
                  <a:pt x="532" y="117"/>
                  <a:pt x="532" y="117"/>
                </a:cubicBezTo>
                <a:cubicBezTo>
                  <a:pt x="531" y="119"/>
                  <a:pt x="528" y="120"/>
                  <a:pt x="526" y="120"/>
                </a:cubicBezTo>
                <a:cubicBezTo>
                  <a:pt x="525" y="120"/>
                  <a:pt x="524" y="120"/>
                  <a:pt x="523" y="119"/>
                </a:cubicBezTo>
                <a:cubicBezTo>
                  <a:pt x="519" y="118"/>
                  <a:pt x="518" y="113"/>
                  <a:pt x="520" y="110"/>
                </a:cubicBezTo>
                <a:cubicBezTo>
                  <a:pt x="549" y="59"/>
                  <a:pt x="549" y="59"/>
                  <a:pt x="549" y="59"/>
                </a:cubicBezTo>
                <a:cubicBezTo>
                  <a:pt x="499" y="32"/>
                  <a:pt x="442" y="16"/>
                  <a:pt x="382" y="14"/>
                </a:cubicBezTo>
                <a:cubicBezTo>
                  <a:pt x="382" y="73"/>
                  <a:pt x="382" y="73"/>
                  <a:pt x="382" y="73"/>
                </a:cubicBezTo>
                <a:cubicBezTo>
                  <a:pt x="382" y="77"/>
                  <a:pt x="379" y="80"/>
                  <a:pt x="375" y="80"/>
                </a:cubicBezTo>
                <a:cubicBezTo>
                  <a:pt x="371" y="80"/>
                  <a:pt x="368" y="77"/>
                  <a:pt x="368" y="73"/>
                </a:cubicBezTo>
                <a:cubicBezTo>
                  <a:pt x="368" y="14"/>
                  <a:pt x="368" y="14"/>
                  <a:pt x="368" y="14"/>
                </a:cubicBezTo>
                <a:cubicBezTo>
                  <a:pt x="307" y="16"/>
                  <a:pt x="250" y="32"/>
                  <a:pt x="201" y="59"/>
                </a:cubicBezTo>
                <a:cubicBezTo>
                  <a:pt x="230" y="110"/>
                  <a:pt x="230" y="110"/>
                  <a:pt x="230" y="110"/>
                </a:cubicBezTo>
                <a:cubicBezTo>
                  <a:pt x="232" y="113"/>
                  <a:pt x="231" y="118"/>
                  <a:pt x="227" y="119"/>
                </a:cubicBezTo>
                <a:cubicBezTo>
                  <a:pt x="226" y="120"/>
                  <a:pt x="225" y="120"/>
                  <a:pt x="224" y="120"/>
                </a:cubicBezTo>
                <a:cubicBezTo>
                  <a:pt x="221" y="120"/>
                  <a:pt x="219" y="119"/>
                  <a:pt x="218" y="117"/>
                </a:cubicBezTo>
                <a:cubicBezTo>
                  <a:pt x="189" y="66"/>
                  <a:pt x="189" y="66"/>
                  <a:pt x="189" y="66"/>
                </a:cubicBezTo>
                <a:cubicBezTo>
                  <a:pt x="139" y="97"/>
                  <a:pt x="96" y="139"/>
                  <a:pt x="66" y="189"/>
                </a:cubicBezTo>
                <a:cubicBezTo>
                  <a:pt x="117" y="218"/>
                  <a:pt x="117" y="218"/>
                  <a:pt x="117" y="218"/>
                </a:cubicBezTo>
                <a:cubicBezTo>
                  <a:pt x="120" y="220"/>
                  <a:pt x="121" y="224"/>
                  <a:pt x="119" y="228"/>
                </a:cubicBezTo>
                <a:cubicBezTo>
                  <a:pt x="118" y="230"/>
                  <a:pt x="116" y="231"/>
                  <a:pt x="113" y="231"/>
                </a:cubicBezTo>
                <a:cubicBezTo>
                  <a:pt x="112" y="231"/>
                  <a:pt x="111" y="231"/>
                  <a:pt x="110" y="230"/>
                </a:cubicBezTo>
                <a:cubicBezTo>
                  <a:pt x="59" y="201"/>
                  <a:pt x="59" y="201"/>
                  <a:pt x="59" y="201"/>
                </a:cubicBezTo>
                <a:cubicBezTo>
                  <a:pt x="32" y="251"/>
                  <a:pt x="15" y="308"/>
                  <a:pt x="14" y="368"/>
                </a:cubicBezTo>
                <a:cubicBezTo>
                  <a:pt x="73" y="368"/>
                  <a:pt x="73" y="368"/>
                  <a:pt x="73" y="368"/>
                </a:cubicBezTo>
                <a:cubicBezTo>
                  <a:pt x="76" y="368"/>
                  <a:pt x="80" y="371"/>
                  <a:pt x="80" y="375"/>
                </a:cubicBezTo>
                <a:cubicBezTo>
                  <a:pt x="80" y="379"/>
                  <a:pt x="76" y="382"/>
                  <a:pt x="73" y="382"/>
                </a:cubicBezTo>
                <a:cubicBezTo>
                  <a:pt x="14" y="382"/>
                  <a:pt x="14" y="382"/>
                  <a:pt x="14" y="382"/>
                </a:cubicBezTo>
                <a:cubicBezTo>
                  <a:pt x="15" y="441"/>
                  <a:pt x="31" y="498"/>
                  <a:pt x="59" y="550"/>
                </a:cubicBezTo>
                <a:cubicBezTo>
                  <a:pt x="110" y="520"/>
                  <a:pt x="110" y="520"/>
                  <a:pt x="110" y="520"/>
                </a:cubicBezTo>
                <a:cubicBezTo>
                  <a:pt x="113" y="518"/>
                  <a:pt x="117" y="520"/>
                  <a:pt x="119" y="523"/>
                </a:cubicBezTo>
                <a:cubicBezTo>
                  <a:pt x="121" y="526"/>
                  <a:pt x="120" y="530"/>
                  <a:pt x="117" y="532"/>
                </a:cubicBezTo>
                <a:cubicBezTo>
                  <a:pt x="66" y="562"/>
                  <a:pt x="66" y="562"/>
                  <a:pt x="66" y="562"/>
                </a:cubicBezTo>
                <a:cubicBezTo>
                  <a:pt x="71" y="569"/>
                  <a:pt x="76" y="577"/>
                  <a:pt x="81" y="584"/>
                </a:cubicBezTo>
                <a:cubicBezTo>
                  <a:pt x="83" y="587"/>
                  <a:pt x="82" y="592"/>
                  <a:pt x="79" y="594"/>
                </a:cubicBezTo>
                <a:cubicBezTo>
                  <a:pt x="76" y="596"/>
                  <a:pt x="72" y="595"/>
                  <a:pt x="69" y="592"/>
                </a:cubicBezTo>
                <a:cubicBezTo>
                  <a:pt x="63" y="583"/>
                  <a:pt x="56" y="573"/>
                  <a:pt x="51" y="563"/>
                </a:cubicBezTo>
                <a:cubicBezTo>
                  <a:pt x="51" y="563"/>
                  <a:pt x="50" y="563"/>
                  <a:pt x="50" y="563"/>
                </a:cubicBezTo>
                <a:cubicBezTo>
                  <a:pt x="50" y="562"/>
                  <a:pt x="50" y="562"/>
                  <a:pt x="50" y="562"/>
                </a:cubicBezTo>
                <a:cubicBezTo>
                  <a:pt x="17" y="505"/>
                  <a:pt x="0" y="441"/>
                  <a:pt x="0" y="375"/>
                </a:cubicBezTo>
                <a:cubicBezTo>
                  <a:pt x="0" y="307"/>
                  <a:pt x="18" y="244"/>
                  <a:pt x="50" y="189"/>
                </a:cubicBezTo>
                <a:cubicBezTo>
                  <a:pt x="50" y="189"/>
                  <a:pt x="50" y="188"/>
                  <a:pt x="50" y="188"/>
                </a:cubicBezTo>
                <a:cubicBezTo>
                  <a:pt x="51" y="187"/>
                  <a:pt x="51" y="187"/>
                  <a:pt x="51" y="187"/>
                </a:cubicBezTo>
                <a:cubicBezTo>
                  <a:pt x="84" y="131"/>
                  <a:pt x="130" y="84"/>
                  <a:pt x="186" y="51"/>
                </a:cubicBezTo>
                <a:cubicBezTo>
                  <a:pt x="187" y="51"/>
                  <a:pt x="187" y="51"/>
                  <a:pt x="187" y="51"/>
                </a:cubicBezTo>
                <a:cubicBezTo>
                  <a:pt x="188" y="50"/>
                  <a:pt x="188" y="50"/>
                  <a:pt x="189" y="50"/>
                </a:cubicBezTo>
                <a:cubicBezTo>
                  <a:pt x="244" y="18"/>
                  <a:pt x="307" y="0"/>
                  <a:pt x="375" y="0"/>
                </a:cubicBezTo>
                <a:cubicBezTo>
                  <a:pt x="443" y="0"/>
                  <a:pt x="506" y="18"/>
                  <a:pt x="561" y="50"/>
                </a:cubicBezTo>
                <a:cubicBezTo>
                  <a:pt x="562" y="50"/>
                  <a:pt x="562" y="50"/>
                  <a:pt x="562" y="51"/>
                </a:cubicBezTo>
                <a:cubicBezTo>
                  <a:pt x="563" y="51"/>
                  <a:pt x="563" y="51"/>
                  <a:pt x="564" y="51"/>
                </a:cubicBezTo>
                <a:cubicBezTo>
                  <a:pt x="619" y="84"/>
                  <a:pt x="666" y="131"/>
                  <a:pt x="699" y="187"/>
                </a:cubicBezTo>
                <a:cubicBezTo>
                  <a:pt x="699" y="187"/>
                  <a:pt x="699" y="187"/>
                  <a:pt x="700" y="188"/>
                </a:cubicBezTo>
                <a:cubicBezTo>
                  <a:pt x="700" y="188"/>
                  <a:pt x="700" y="189"/>
                  <a:pt x="700" y="189"/>
                </a:cubicBezTo>
                <a:cubicBezTo>
                  <a:pt x="732" y="244"/>
                  <a:pt x="750" y="307"/>
                  <a:pt x="750" y="375"/>
                </a:cubicBezTo>
                <a:cubicBezTo>
                  <a:pt x="750" y="441"/>
                  <a:pt x="733" y="505"/>
                  <a:pt x="700" y="562"/>
                </a:cubicBezTo>
                <a:cubicBezTo>
                  <a:pt x="700" y="562"/>
                  <a:pt x="700" y="562"/>
                  <a:pt x="700" y="563"/>
                </a:cubicBezTo>
                <a:close/>
                <a:moveTo>
                  <a:pt x="533" y="560"/>
                </a:moveTo>
                <a:cubicBezTo>
                  <a:pt x="533" y="636"/>
                  <a:pt x="533" y="636"/>
                  <a:pt x="533" y="636"/>
                </a:cubicBezTo>
                <a:cubicBezTo>
                  <a:pt x="533" y="640"/>
                  <a:pt x="530" y="643"/>
                  <a:pt x="526" y="643"/>
                </a:cubicBezTo>
                <a:cubicBezTo>
                  <a:pt x="224" y="643"/>
                  <a:pt x="224" y="643"/>
                  <a:pt x="224" y="643"/>
                </a:cubicBezTo>
                <a:cubicBezTo>
                  <a:pt x="220" y="643"/>
                  <a:pt x="217" y="640"/>
                  <a:pt x="217" y="636"/>
                </a:cubicBezTo>
                <a:cubicBezTo>
                  <a:pt x="217" y="560"/>
                  <a:pt x="217" y="560"/>
                  <a:pt x="217" y="560"/>
                </a:cubicBezTo>
                <a:cubicBezTo>
                  <a:pt x="217" y="556"/>
                  <a:pt x="220" y="553"/>
                  <a:pt x="224" y="553"/>
                </a:cubicBezTo>
                <a:cubicBezTo>
                  <a:pt x="526" y="553"/>
                  <a:pt x="526" y="553"/>
                  <a:pt x="526" y="553"/>
                </a:cubicBezTo>
                <a:cubicBezTo>
                  <a:pt x="530" y="553"/>
                  <a:pt x="533" y="556"/>
                  <a:pt x="533" y="560"/>
                </a:cubicBezTo>
                <a:close/>
                <a:moveTo>
                  <a:pt x="519" y="567"/>
                </a:moveTo>
                <a:cubicBezTo>
                  <a:pt x="231" y="567"/>
                  <a:pt x="231" y="567"/>
                  <a:pt x="231" y="567"/>
                </a:cubicBezTo>
                <a:cubicBezTo>
                  <a:pt x="231" y="629"/>
                  <a:pt x="231" y="629"/>
                  <a:pt x="231" y="629"/>
                </a:cubicBezTo>
                <a:cubicBezTo>
                  <a:pt x="519" y="629"/>
                  <a:pt x="519" y="629"/>
                  <a:pt x="519" y="629"/>
                </a:cubicBezTo>
                <a:lnTo>
                  <a:pt x="519" y="567"/>
                </a:lnTo>
                <a:close/>
                <a:moveTo>
                  <a:pt x="579" y="257"/>
                </a:moveTo>
                <a:cubicBezTo>
                  <a:pt x="581" y="261"/>
                  <a:pt x="580" y="265"/>
                  <a:pt x="577" y="267"/>
                </a:cubicBezTo>
                <a:cubicBezTo>
                  <a:pt x="442" y="344"/>
                  <a:pt x="442" y="344"/>
                  <a:pt x="442" y="344"/>
                </a:cubicBezTo>
                <a:cubicBezTo>
                  <a:pt x="447" y="354"/>
                  <a:pt x="449" y="364"/>
                  <a:pt x="449" y="375"/>
                </a:cubicBezTo>
                <a:cubicBezTo>
                  <a:pt x="449" y="416"/>
                  <a:pt x="416" y="449"/>
                  <a:pt x="375" y="449"/>
                </a:cubicBezTo>
                <a:cubicBezTo>
                  <a:pt x="334" y="449"/>
                  <a:pt x="301" y="416"/>
                  <a:pt x="301" y="375"/>
                </a:cubicBezTo>
                <a:cubicBezTo>
                  <a:pt x="301" y="334"/>
                  <a:pt x="334" y="301"/>
                  <a:pt x="375" y="301"/>
                </a:cubicBezTo>
                <a:cubicBezTo>
                  <a:pt x="400" y="301"/>
                  <a:pt x="422" y="313"/>
                  <a:pt x="435" y="332"/>
                </a:cubicBezTo>
                <a:cubicBezTo>
                  <a:pt x="570" y="255"/>
                  <a:pt x="570" y="255"/>
                  <a:pt x="570" y="255"/>
                </a:cubicBezTo>
                <a:cubicBezTo>
                  <a:pt x="573" y="253"/>
                  <a:pt x="577" y="254"/>
                  <a:pt x="579" y="257"/>
                </a:cubicBezTo>
                <a:close/>
                <a:moveTo>
                  <a:pt x="435" y="375"/>
                </a:moveTo>
                <a:cubicBezTo>
                  <a:pt x="435" y="342"/>
                  <a:pt x="408" y="315"/>
                  <a:pt x="375" y="315"/>
                </a:cubicBezTo>
                <a:cubicBezTo>
                  <a:pt x="342" y="315"/>
                  <a:pt x="315" y="342"/>
                  <a:pt x="315" y="375"/>
                </a:cubicBezTo>
                <a:cubicBezTo>
                  <a:pt x="315" y="408"/>
                  <a:pt x="342" y="435"/>
                  <a:pt x="375" y="435"/>
                </a:cubicBezTo>
                <a:cubicBezTo>
                  <a:pt x="408" y="435"/>
                  <a:pt x="435" y="408"/>
                  <a:pt x="435" y="3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3" name="Freeform 20"/>
          <p:cNvSpPr>
            <a:spLocks noEditPoints="1"/>
          </p:cNvSpPr>
          <p:nvPr/>
        </p:nvSpPr>
        <p:spPr bwMode="auto">
          <a:xfrm>
            <a:off x="4978921" y="3231439"/>
            <a:ext cx="546028" cy="398354"/>
          </a:xfrm>
          <a:custGeom>
            <a:avLst/>
            <a:gdLst>
              <a:gd name="T0" fmla="*/ 461 w 782"/>
              <a:gd name="T1" fmla="*/ 81 h 570"/>
              <a:gd name="T2" fmla="*/ 450 w 782"/>
              <a:gd name="T3" fmla="*/ 76 h 570"/>
              <a:gd name="T4" fmla="*/ 43 w 782"/>
              <a:gd name="T5" fmla="*/ 177 h 570"/>
              <a:gd name="T6" fmla="*/ 38 w 782"/>
              <a:gd name="T7" fmla="*/ 179 h 570"/>
              <a:gd name="T8" fmla="*/ 36 w 782"/>
              <a:gd name="T9" fmla="*/ 205 h 570"/>
              <a:gd name="T10" fmla="*/ 36 w 782"/>
              <a:gd name="T11" fmla="*/ 343 h 570"/>
              <a:gd name="T12" fmla="*/ 38 w 782"/>
              <a:gd name="T13" fmla="*/ 365 h 570"/>
              <a:gd name="T14" fmla="*/ 43 w 782"/>
              <a:gd name="T15" fmla="*/ 367 h 570"/>
              <a:gd name="T16" fmla="*/ 157 w 782"/>
              <a:gd name="T17" fmla="*/ 566 h 570"/>
              <a:gd name="T18" fmla="*/ 256 w 782"/>
              <a:gd name="T19" fmla="*/ 570 h 570"/>
              <a:gd name="T20" fmla="*/ 271 w 782"/>
              <a:gd name="T21" fmla="*/ 525 h 570"/>
              <a:gd name="T22" fmla="*/ 227 w 782"/>
              <a:gd name="T23" fmla="*/ 476 h 570"/>
              <a:gd name="T24" fmla="*/ 221 w 782"/>
              <a:gd name="T25" fmla="*/ 409 h 570"/>
              <a:gd name="T26" fmla="*/ 188 w 782"/>
              <a:gd name="T27" fmla="*/ 367 h 570"/>
              <a:gd name="T28" fmla="*/ 192 w 782"/>
              <a:gd name="T29" fmla="*/ 367 h 570"/>
              <a:gd name="T30" fmla="*/ 454 w 782"/>
              <a:gd name="T31" fmla="*/ 470 h 570"/>
              <a:gd name="T32" fmla="*/ 461 w 782"/>
              <a:gd name="T33" fmla="*/ 463 h 570"/>
              <a:gd name="T34" fmla="*/ 498 w 782"/>
              <a:gd name="T35" fmla="*/ 274 h 570"/>
              <a:gd name="T36" fmla="*/ 14 w 782"/>
              <a:gd name="T37" fmla="*/ 274 h 570"/>
              <a:gd name="T38" fmla="*/ 36 w 782"/>
              <a:gd name="T39" fmla="*/ 328 h 570"/>
              <a:gd name="T40" fmla="*/ 197 w 782"/>
              <a:gd name="T41" fmla="*/ 402 h 570"/>
              <a:gd name="T42" fmla="*/ 211 w 782"/>
              <a:gd name="T43" fmla="*/ 446 h 570"/>
              <a:gd name="T44" fmla="*/ 237 w 782"/>
              <a:gd name="T45" fmla="*/ 507 h 570"/>
              <a:gd name="T46" fmla="*/ 260 w 782"/>
              <a:gd name="T47" fmla="*/ 551 h 570"/>
              <a:gd name="T48" fmla="*/ 168 w 782"/>
              <a:gd name="T49" fmla="*/ 556 h 570"/>
              <a:gd name="T50" fmla="*/ 172 w 782"/>
              <a:gd name="T51" fmla="*/ 367 h 570"/>
              <a:gd name="T52" fmla="*/ 447 w 782"/>
              <a:gd name="T53" fmla="*/ 447 h 570"/>
              <a:gd name="T54" fmla="*/ 50 w 782"/>
              <a:gd name="T55" fmla="*/ 353 h 570"/>
              <a:gd name="T56" fmla="*/ 192 w 782"/>
              <a:gd name="T57" fmla="*/ 191 h 570"/>
              <a:gd name="T58" fmla="*/ 447 w 782"/>
              <a:gd name="T59" fmla="*/ 97 h 570"/>
              <a:gd name="T60" fmla="*/ 461 w 782"/>
              <a:gd name="T61" fmla="*/ 328 h 570"/>
              <a:gd name="T62" fmla="*/ 484 w 782"/>
              <a:gd name="T63" fmla="*/ 274 h 570"/>
              <a:gd name="T64" fmla="*/ 624 w 782"/>
              <a:gd name="T65" fmla="*/ 277 h 570"/>
              <a:gd name="T66" fmla="*/ 564 w 782"/>
              <a:gd name="T67" fmla="*/ 417 h 570"/>
              <a:gd name="T68" fmla="*/ 559 w 782"/>
              <a:gd name="T69" fmla="*/ 405 h 570"/>
              <a:gd name="T70" fmla="*/ 560 w 782"/>
              <a:gd name="T71" fmla="*/ 148 h 570"/>
              <a:gd name="T72" fmla="*/ 570 w 782"/>
              <a:gd name="T73" fmla="*/ 139 h 570"/>
              <a:gd name="T74" fmla="*/ 703 w 782"/>
              <a:gd name="T75" fmla="*/ 277 h 570"/>
              <a:gd name="T76" fmla="*/ 617 w 782"/>
              <a:gd name="T77" fmla="*/ 485 h 570"/>
              <a:gd name="T78" fmla="*/ 612 w 782"/>
              <a:gd name="T79" fmla="*/ 474 h 570"/>
              <a:gd name="T80" fmla="*/ 613 w 782"/>
              <a:gd name="T81" fmla="*/ 80 h 570"/>
              <a:gd name="T82" fmla="*/ 623 w 782"/>
              <a:gd name="T83" fmla="*/ 71 h 570"/>
              <a:gd name="T84" fmla="*/ 782 w 782"/>
              <a:gd name="T85" fmla="*/ 277 h 570"/>
              <a:gd name="T86" fmla="*/ 669 w 782"/>
              <a:gd name="T87" fmla="*/ 554 h 570"/>
              <a:gd name="T88" fmla="*/ 664 w 782"/>
              <a:gd name="T89" fmla="*/ 542 h 570"/>
              <a:gd name="T90" fmla="*/ 665 w 782"/>
              <a:gd name="T91" fmla="*/ 12 h 570"/>
              <a:gd name="T92" fmla="*/ 676 w 782"/>
              <a:gd name="T93" fmla="*/ 3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82" h="570">
                <a:moveTo>
                  <a:pt x="461" y="205"/>
                </a:moveTo>
                <a:cubicBezTo>
                  <a:pt x="461" y="81"/>
                  <a:pt x="461" y="81"/>
                  <a:pt x="461" y="81"/>
                </a:cubicBezTo>
                <a:cubicBezTo>
                  <a:pt x="461" y="78"/>
                  <a:pt x="460" y="76"/>
                  <a:pt x="457" y="75"/>
                </a:cubicBezTo>
                <a:cubicBezTo>
                  <a:pt x="455" y="74"/>
                  <a:pt x="452" y="74"/>
                  <a:pt x="450" y="76"/>
                </a:cubicBezTo>
                <a:cubicBezTo>
                  <a:pt x="369" y="151"/>
                  <a:pt x="264" y="177"/>
                  <a:pt x="193" y="177"/>
                </a:cubicBezTo>
                <a:cubicBezTo>
                  <a:pt x="43" y="177"/>
                  <a:pt x="43" y="177"/>
                  <a:pt x="43" y="177"/>
                </a:cubicBezTo>
                <a:cubicBezTo>
                  <a:pt x="43" y="177"/>
                  <a:pt x="43" y="177"/>
                  <a:pt x="43" y="177"/>
                </a:cubicBezTo>
                <a:cubicBezTo>
                  <a:pt x="41" y="177"/>
                  <a:pt x="40" y="178"/>
                  <a:pt x="38" y="179"/>
                </a:cubicBezTo>
                <a:cubicBezTo>
                  <a:pt x="37" y="180"/>
                  <a:pt x="36" y="182"/>
                  <a:pt x="36" y="184"/>
                </a:cubicBezTo>
                <a:cubicBezTo>
                  <a:pt x="36" y="205"/>
                  <a:pt x="36" y="205"/>
                  <a:pt x="36" y="205"/>
                </a:cubicBezTo>
                <a:cubicBezTo>
                  <a:pt x="15" y="211"/>
                  <a:pt x="0" y="239"/>
                  <a:pt x="0" y="274"/>
                </a:cubicBezTo>
                <a:cubicBezTo>
                  <a:pt x="0" y="310"/>
                  <a:pt x="15" y="338"/>
                  <a:pt x="36" y="343"/>
                </a:cubicBezTo>
                <a:cubicBezTo>
                  <a:pt x="36" y="360"/>
                  <a:pt x="36" y="360"/>
                  <a:pt x="36" y="360"/>
                </a:cubicBezTo>
                <a:cubicBezTo>
                  <a:pt x="36" y="362"/>
                  <a:pt x="37" y="364"/>
                  <a:pt x="38" y="365"/>
                </a:cubicBezTo>
                <a:cubicBezTo>
                  <a:pt x="40" y="366"/>
                  <a:pt x="41" y="367"/>
                  <a:pt x="43" y="367"/>
                </a:cubicBezTo>
                <a:cubicBezTo>
                  <a:pt x="43" y="367"/>
                  <a:pt x="43" y="367"/>
                  <a:pt x="43" y="367"/>
                </a:cubicBezTo>
                <a:cubicBezTo>
                  <a:pt x="79" y="367"/>
                  <a:pt x="79" y="367"/>
                  <a:pt x="79" y="367"/>
                </a:cubicBezTo>
                <a:cubicBezTo>
                  <a:pt x="157" y="566"/>
                  <a:pt x="157" y="566"/>
                  <a:pt x="157" y="566"/>
                </a:cubicBezTo>
                <a:cubicBezTo>
                  <a:pt x="158" y="568"/>
                  <a:pt x="161" y="570"/>
                  <a:pt x="164" y="570"/>
                </a:cubicBezTo>
                <a:cubicBezTo>
                  <a:pt x="256" y="570"/>
                  <a:pt x="256" y="570"/>
                  <a:pt x="256" y="570"/>
                </a:cubicBezTo>
                <a:cubicBezTo>
                  <a:pt x="262" y="570"/>
                  <a:pt x="267" y="567"/>
                  <a:pt x="271" y="561"/>
                </a:cubicBezTo>
                <a:cubicBezTo>
                  <a:pt x="275" y="553"/>
                  <a:pt x="278" y="539"/>
                  <a:pt x="271" y="525"/>
                </a:cubicBezTo>
                <a:cubicBezTo>
                  <a:pt x="264" y="510"/>
                  <a:pt x="254" y="502"/>
                  <a:pt x="246" y="496"/>
                </a:cubicBezTo>
                <a:cubicBezTo>
                  <a:pt x="238" y="490"/>
                  <a:pt x="232" y="485"/>
                  <a:pt x="227" y="476"/>
                </a:cubicBezTo>
                <a:cubicBezTo>
                  <a:pt x="222" y="467"/>
                  <a:pt x="223" y="458"/>
                  <a:pt x="225" y="447"/>
                </a:cubicBezTo>
                <a:cubicBezTo>
                  <a:pt x="226" y="436"/>
                  <a:pt x="228" y="423"/>
                  <a:pt x="221" y="409"/>
                </a:cubicBezTo>
                <a:cubicBezTo>
                  <a:pt x="216" y="398"/>
                  <a:pt x="210" y="394"/>
                  <a:pt x="205" y="390"/>
                </a:cubicBezTo>
                <a:cubicBezTo>
                  <a:pt x="200" y="386"/>
                  <a:pt x="195" y="383"/>
                  <a:pt x="188" y="367"/>
                </a:cubicBezTo>
                <a:cubicBezTo>
                  <a:pt x="192" y="367"/>
                  <a:pt x="192" y="367"/>
                  <a:pt x="192" y="367"/>
                </a:cubicBezTo>
                <a:cubicBezTo>
                  <a:pt x="192" y="367"/>
                  <a:pt x="192" y="367"/>
                  <a:pt x="192" y="367"/>
                </a:cubicBezTo>
                <a:cubicBezTo>
                  <a:pt x="264" y="367"/>
                  <a:pt x="369" y="393"/>
                  <a:pt x="450" y="468"/>
                </a:cubicBezTo>
                <a:cubicBezTo>
                  <a:pt x="451" y="469"/>
                  <a:pt x="453" y="470"/>
                  <a:pt x="454" y="470"/>
                </a:cubicBezTo>
                <a:cubicBezTo>
                  <a:pt x="455" y="470"/>
                  <a:pt x="456" y="470"/>
                  <a:pt x="457" y="469"/>
                </a:cubicBezTo>
                <a:cubicBezTo>
                  <a:pt x="460" y="468"/>
                  <a:pt x="461" y="466"/>
                  <a:pt x="461" y="463"/>
                </a:cubicBezTo>
                <a:cubicBezTo>
                  <a:pt x="461" y="343"/>
                  <a:pt x="461" y="343"/>
                  <a:pt x="461" y="343"/>
                </a:cubicBezTo>
                <a:cubicBezTo>
                  <a:pt x="482" y="338"/>
                  <a:pt x="498" y="310"/>
                  <a:pt x="498" y="274"/>
                </a:cubicBezTo>
                <a:cubicBezTo>
                  <a:pt x="498" y="239"/>
                  <a:pt x="482" y="211"/>
                  <a:pt x="461" y="205"/>
                </a:cubicBezTo>
                <a:close/>
                <a:moveTo>
                  <a:pt x="14" y="274"/>
                </a:moveTo>
                <a:cubicBezTo>
                  <a:pt x="14" y="249"/>
                  <a:pt x="24" y="226"/>
                  <a:pt x="36" y="220"/>
                </a:cubicBezTo>
                <a:cubicBezTo>
                  <a:pt x="36" y="328"/>
                  <a:pt x="36" y="328"/>
                  <a:pt x="36" y="328"/>
                </a:cubicBezTo>
                <a:cubicBezTo>
                  <a:pt x="24" y="322"/>
                  <a:pt x="14" y="300"/>
                  <a:pt x="14" y="274"/>
                </a:cubicBezTo>
                <a:close/>
                <a:moveTo>
                  <a:pt x="197" y="402"/>
                </a:moveTo>
                <a:cubicBezTo>
                  <a:pt x="201" y="405"/>
                  <a:pt x="205" y="407"/>
                  <a:pt x="209" y="415"/>
                </a:cubicBezTo>
                <a:cubicBezTo>
                  <a:pt x="213" y="425"/>
                  <a:pt x="212" y="435"/>
                  <a:pt x="211" y="446"/>
                </a:cubicBezTo>
                <a:cubicBezTo>
                  <a:pt x="209" y="457"/>
                  <a:pt x="208" y="470"/>
                  <a:pt x="215" y="483"/>
                </a:cubicBezTo>
                <a:cubicBezTo>
                  <a:pt x="221" y="495"/>
                  <a:pt x="229" y="501"/>
                  <a:pt x="237" y="507"/>
                </a:cubicBezTo>
                <a:cubicBezTo>
                  <a:pt x="245" y="513"/>
                  <a:pt x="253" y="519"/>
                  <a:pt x="259" y="531"/>
                </a:cubicBezTo>
                <a:cubicBezTo>
                  <a:pt x="263" y="540"/>
                  <a:pt x="261" y="548"/>
                  <a:pt x="260" y="551"/>
                </a:cubicBezTo>
                <a:cubicBezTo>
                  <a:pt x="259" y="554"/>
                  <a:pt x="257" y="556"/>
                  <a:pt x="256" y="556"/>
                </a:cubicBezTo>
                <a:cubicBezTo>
                  <a:pt x="168" y="556"/>
                  <a:pt x="168" y="556"/>
                  <a:pt x="168" y="556"/>
                </a:cubicBezTo>
                <a:cubicBezTo>
                  <a:pt x="94" y="367"/>
                  <a:pt x="94" y="367"/>
                  <a:pt x="94" y="367"/>
                </a:cubicBezTo>
                <a:cubicBezTo>
                  <a:pt x="172" y="367"/>
                  <a:pt x="172" y="367"/>
                  <a:pt x="172" y="367"/>
                </a:cubicBezTo>
                <a:cubicBezTo>
                  <a:pt x="182" y="391"/>
                  <a:pt x="190" y="397"/>
                  <a:pt x="197" y="402"/>
                </a:cubicBezTo>
                <a:close/>
                <a:moveTo>
                  <a:pt x="447" y="447"/>
                </a:moveTo>
                <a:cubicBezTo>
                  <a:pt x="366" y="378"/>
                  <a:pt x="263" y="353"/>
                  <a:pt x="192" y="353"/>
                </a:cubicBezTo>
                <a:cubicBezTo>
                  <a:pt x="50" y="353"/>
                  <a:pt x="50" y="353"/>
                  <a:pt x="50" y="353"/>
                </a:cubicBezTo>
                <a:cubicBezTo>
                  <a:pt x="50" y="191"/>
                  <a:pt x="50" y="191"/>
                  <a:pt x="50" y="191"/>
                </a:cubicBezTo>
                <a:cubicBezTo>
                  <a:pt x="192" y="191"/>
                  <a:pt x="192" y="191"/>
                  <a:pt x="192" y="191"/>
                </a:cubicBezTo>
                <a:cubicBezTo>
                  <a:pt x="193" y="191"/>
                  <a:pt x="193" y="191"/>
                  <a:pt x="193" y="191"/>
                </a:cubicBezTo>
                <a:cubicBezTo>
                  <a:pt x="263" y="191"/>
                  <a:pt x="366" y="166"/>
                  <a:pt x="447" y="97"/>
                </a:cubicBezTo>
                <a:lnTo>
                  <a:pt x="447" y="447"/>
                </a:lnTo>
                <a:close/>
                <a:moveTo>
                  <a:pt x="461" y="328"/>
                </a:moveTo>
                <a:cubicBezTo>
                  <a:pt x="461" y="220"/>
                  <a:pt x="461" y="220"/>
                  <a:pt x="461" y="220"/>
                </a:cubicBezTo>
                <a:cubicBezTo>
                  <a:pt x="474" y="226"/>
                  <a:pt x="484" y="249"/>
                  <a:pt x="484" y="274"/>
                </a:cubicBezTo>
                <a:cubicBezTo>
                  <a:pt x="484" y="300"/>
                  <a:pt x="474" y="322"/>
                  <a:pt x="461" y="328"/>
                </a:cubicBezTo>
                <a:close/>
                <a:moveTo>
                  <a:pt x="624" y="277"/>
                </a:moveTo>
                <a:cubicBezTo>
                  <a:pt x="623" y="329"/>
                  <a:pt x="604" y="378"/>
                  <a:pt x="569" y="415"/>
                </a:cubicBezTo>
                <a:cubicBezTo>
                  <a:pt x="568" y="416"/>
                  <a:pt x="566" y="417"/>
                  <a:pt x="564" y="417"/>
                </a:cubicBezTo>
                <a:cubicBezTo>
                  <a:pt x="563" y="417"/>
                  <a:pt x="561" y="417"/>
                  <a:pt x="560" y="415"/>
                </a:cubicBezTo>
                <a:cubicBezTo>
                  <a:pt x="557" y="413"/>
                  <a:pt x="557" y="408"/>
                  <a:pt x="559" y="405"/>
                </a:cubicBezTo>
                <a:cubicBezTo>
                  <a:pt x="592" y="371"/>
                  <a:pt x="609" y="326"/>
                  <a:pt x="610" y="277"/>
                </a:cubicBezTo>
                <a:cubicBezTo>
                  <a:pt x="610" y="228"/>
                  <a:pt x="592" y="182"/>
                  <a:pt x="560" y="148"/>
                </a:cubicBezTo>
                <a:cubicBezTo>
                  <a:pt x="557" y="145"/>
                  <a:pt x="557" y="141"/>
                  <a:pt x="560" y="138"/>
                </a:cubicBezTo>
                <a:cubicBezTo>
                  <a:pt x="563" y="136"/>
                  <a:pt x="567" y="136"/>
                  <a:pt x="570" y="139"/>
                </a:cubicBezTo>
                <a:cubicBezTo>
                  <a:pt x="605" y="175"/>
                  <a:pt x="624" y="224"/>
                  <a:pt x="624" y="277"/>
                </a:cubicBezTo>
                <a:close/>
                <a:moveTo>
                  <a:pt x="703" y="277"/>
                </a:moveTo>
                <a:cubicBezTo>
                  <a:pt x="702" y="355"/>
                  <a:pt x="674" y="429"/>
                  <a:pt x="622" y="483"/>
                </a:cubicBezTo>
                <a:cubicBezTo>
                  <a:pt x="621" y="485"/>
                  <a:pt x="619" y="485"/>
                  <a:pt x="617" y="485"/>
                </a:cubicBezTo>
                <a:cubicBezTo>
                  <a:pt x="615" y="485"/>
                  <a:pt x="613" y="485"/>
                  <a:pt x="612" y="483"/>
                </a:cubicBezTo>
                <a:cubicBezTo>
                  <a:pt x="609" y="481"/>
                  <a:pt x="609" y="476"/>
                  <a:pt x="612" y="474"/>
                </a:cubicBezTo>
                <a:cubicBezTo>
                  <a:pt x="661" y="422"/>
                  <a:pt x="688" y="352"/>
                  <a:pt x="689" y="277"/>
                </a:cubicBezTo>
                <a:cubicBezTo>
                  <a:pt x="689" y="202"/>
                  <a:pt x="662" y="132"/>
                  <a:pt x="613" y="80"/>
                </a:cubicBezTo>
                <a:cubicBezTo>
                  <a:pt x="610" y="77"/>
                  <a:pt x="610" y="73"/>
                  <a:pt x="613" y="70"/>
                </a:cubicBezTo>
                <a:cubicBezTo>
                  <a:pt x="616" y="68"/>
                  <a:pt x="620" y="68"/>
                  <a:pt x="623" y="71"/>
                </a:cubicBezTo>
                <a:cubicBezTo>
                  <a:pt x="674" y="125"/>
                  <a:pt x="703" y="199"/>
                  <a:pt x="703" y="277"/>
                </a:cubicBezTo>
                <a:close/>
                <a:moveTo>
                  <a:pt x="782" y="277"/>
                </a:moveTo>
                <a:cubicBezTo>
                  <a:pt x="781" y="382"/>
                  <a:pt x="743" y="479"/>
                  <a:pt x="674" y="551"/>
                </a:cubicBezTo>
                <a:cubicBezTo>
                  <a:pt x="673" y="553"/>
                  <a:pt x="671" y="554"/>
                  <a:pt x="669" y="554"/>
                </a:cubicBezTo>
                <a:cubicBezTo>
                  <a:pt x="668" y="554"/>
                  <a:pt x="666" y="553"/>
                  <a:pt x="664" y="552"/>
                </a:cubicBezTo>
                <a:cubicBezTo>
                  <a:pt x="662" y="549"/>
                  <a:pt x="662" y="544"/>
                  <a:pt x="664" y="542"/>
                </a:cubicBezTo>
                <a:cubicBezTo>
                  <a:pt x="731" y="472"/>
                  <a:pt x="767" y="378"/>
                  <a:pt x="768" y="277"/>
                </a:cubicBezTo>
                <a:cubicBezTo>
                  <a:pt x="768" y="176"/>
                  <a:pt x="732" y="82"/>
                  <a:pt x="665" y="12"/>
                </a:cubicBezTo>
                <a:cubicBezTo>
                  <a:pt x="663" y="10"/>
                  <a:pt x="663" y="5"/>
                  <a:pt x="666" y="2"/>
                </a:cubicBezTo>
                <a:cubicBezTo>
                  <a:pt x="669" y="0"/>
                  <a:pt x="673" y="0"/>
                  <a:pt x="676" y="3"/>
                </a:cubicBezTo>
                <a:cubicBezTo>
                  <a:pt x="744" y="75"/>
                  <a:pt x="782" y="173"/>
                  <a:pt x="782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4" name="Freeform 96"/>
          <p:cNvSpPr>
            <a:spLocks noEditPoints="1"/>
          </p:cNvSpPr>
          <p:nvPr/>
        </p:nvSpPr>
        <p:spPr bwMode="auto">
          <a:xfrm>
            <a:off x="3590976" y="3188181"/>
            <a:ext cx="462507" cy="494513"/>
          </a:xfrm>
          <a:custGeom>
            <a:avLst/>
            <a:gdLst>
              <a:gd name="T0" fmla="*/ 730 w 730"/>
              <a:gd name="T1" fmla="*/ 386 h 780"/>
              <a:gd name="T2" fmla="*/ 677 w 730"/>
              <a:gd name="T3" fmla="*/ 198 h 780"/>
              <a:gd name="T4" fmla="*/ 476 w 730"/>
              <a:gd name="T5" fmla="*/ 46 h 780"/>
              <a:gd name="T6" fmla="*/ 659 w 730"/>
              <a:gd name="T7" fmla="*/ 195 h 780"/>
              <a:gd name="T8" fmla="*/ 523 w 730"/>
              <a:gd name="T9" fmla="*/ 163 h 780"/>
              <a:gd name="T10" fmla="*/ 510 w 730"/>
              <a:gd name="T11" fmla="*/ 169 h 780"/>
              <a:gd name="T12" fmla="*/ 372 w 730"/>
              <a:gd name="T13" fmla="*/ 195 h 780"/>
              <a:gd name="T14" fmla="*/ 365 w 730"/>
              <a:gd name="T15" fmla="*/ 22 h 780"/>
              <a:gd name="T16" fmla="*/ 52 w 730"/>
              <a:gd name="T17" fmla="*/ 200 h 780"/>
              <a:gd name="T18" fmla="*/ 52 w 730"/>
              <a:gd name="T19" fmla="*/ 574 h 780"/>
              <a:gd name="T20" fmla="*/ 247 w 730"/>
              <a:gd name="T21" fmla="*/ 732 h 780"/>
              <a:gd name="T22" fmla="*/ 256 w 730"/>
              <a:gd name="T23" fmla="*/ 727 h 780"/>
              <a:gd name="T24" fmla="*/ 71 w 730"/>
              <a:gd name="T25" fmla="*/ 577 h 780"/>
              <a:gd name="T26" fmla="*/ 207 w 730"/>
              <a:gd name="T27" fmla="*/ 608 h 780"/>
              <a:gd name="T28" fmla="*/ 216 w 730"/>
              <a:gd name="T29" fmla="*/ 612 h 780"/>
              <a:gd name="T30" fmla="*/ 210 w 730"/>
              <a:gd name="T31" fmla="*/ 577 h 780"/>
              <a:gd name="T32" fmla="*/ 358 w 730"/>
              <a:gd name="T33" fmla="*/ 744 h 780"/>
              <a:gd name="T34" fmla="*/ 677 w 730"/>
              <a:gd name="T35" fmla="*/ 575 h 780"/>
              <a:gd name="T36" fmla="*/ 564 w 730"/>
              <a:gd name="T37" fmla="*/ 393 h 780"/>
              <a:gd name="T38" fmla="*/ 668 w 730"/>
              <a:gd name="T39" fmla="*/ 563 h 780"/>
              <a:gd name="T40" fmla="*/ 564 w 730"/>
              <a:gd name="T41" fmla="*/ 393 h 780"/>
              <a:gd name="T42" fmla="*/ 372 w 730"/>
              <a:gd name="T43" fmla="*/ 563 h 780"/>
              <a:gd name="T44" fmla="*/ 550 w 730"/>
              <a:gd name="T45" fmla="*/ 393 h 780"/>
              <a:gd name="T46" fmla="*/ 668 w 730"/>
              <a:gd name="T47" fmla="*/ 209 h 780"/>
              <a:gd name="T48" fmla="*/ 564 w 730"/>
              <a:gd name="T49" fmla="*/ 379 h 780"/>
              <a:gd name="T50" fmla="*/ 668 w 730"/>
              <a:gd name="T51" fmla="*/ 209 h 780"/>
              <a:gd name="T52" fmla="*/ 550 w 730"/>
              <a:gd name="T53" fmla="*/ 379 h 780"/>
              <a:gd name="T54" fmla="*/ 372 w 730"/>
              <a:gd name="T55" fmla="*/ 209 h 780"/>
              <a:gd name="T56" fmla="*/ 14 w 730"/>
              <a:gd name="T57" fmla="*/ 379 h 780"/>
              <a:gd name="T58" fmla="*/ 191 w 730"/>
              <a:gd name="T59" fmla="*/ 209 h 780"/>
              <a:gd name="T60" fmla="*/ 14 w 730"/>
              <a:gd name="T61" fmla="*/ 379 h 780"/>
              <a:gd name="T62" fmla="*/ 358 w 730"/>
              <a:gd name="T63" fmla="*/ 209 h 780"/>
              <a:gd name="T64" fmla="*/ 180 w 730"/>
              <a:gd name="T65" fmla="*/ 379 h 780"/>
              <a:gd name="T66" fmla="*/ 210 w 730"/>
              <a:gd name="T67" fmla="*/ 195 h 780"/>
              <a:gd name="T68" fmla="*/ 358 w 730"/>
              <a:gd name="T69" fmla="*/ 195 h 780"/>
              <a:gd name="T70" fmla="*/ 299 w 730"/>
              <a:gd name="T71" fmla="*/ 42 h 780"/>
              <a:gd name="T72" fmla="*/ 195 w 730"/>
              <a:gd name="T73" fmla="*/ 195 h 780"/>
              <a:gd name="T74" fmla="*/ 299 w 730"/>
              <a:gd name="T75" fmla="*/ 42 h 780"/>
              <a:gd name="T76" fmla="*/ 14 w 730"/>
              <a:gd name="T77" fmla="*/ 393 h 780"/>
              <a:gd name="T78" fmla="*/ 191 w 730"/>
              <a:gd name="T79" fmla="*/ 563 h 780"/>
              <a:gd name="T80" fmla="*/ 205 w 730"/>
              <a:gd name="T81" fmla="*/ 563 h 780"/>
              <a:gd name="T82" fmla="*/ 358 w 730"/>
              <a:gd name="T83" fmla="*/ 393 h 780"/>
              <a:gd name="T84" fmla="*/ 205 w 730"/>
              <a:gd name="T85" fmla="*/ 563 h 780"/>
              <a:gd name="T86" fmla="*/ 372 w 730"/>
              <a:gd name="T87" fmla="*/ 737 h 780"/>
              <a:gd name="T88" fmla="*/ 520 w 730"/>
              <a:gd name="T89" fmla="*/ 577 h 780"/>
              <a:gd name="T90" fmla="*/ 507 w 730"/>
              <a:gd name="T91" fmla="*/ 643 h 780"/>
              <a:gd name="T92" fmla="*/ 659 w 730"/>
              <a:gd name="T93" fmla="*/ 577 h 780"/>
              <a:gd name="T94" fmla="*/ 324 w 730"/>
              <a:gd name="T95" fmla="*/ 740 h 780"/>
              <a:gd name="T96" fmla="*/ 321 w 730"/>
              <a:gd name="T97" fmla="*/ 752 h 780"/>
              <a:gd name="T98" fmla="*/ 194 w 730"/>
              <a:gd name="T99" fmla="*/ 780 h 780"/>
              <a:gd name="T100" fmla="*/ 193 w 730"/>
              <a:gd name="T101" fmla="*/ 766 h 780"/>
              <a:gd name="T102" fmla="*/ 227 w 730"/>
              <a:gd name="T103" fmla="*/ 653 h 780"/>
              <a:gd name="T104" fmla="*/ 238 w 730"/>
              <a:gd name="T105" fmla="*/ 643 h 780"/>
              <a:gd name="T106" fmla="*/ 416 w 730"/>
              <a:gd name="T107" fmla="*/ 38 h 780"/>
              <a:gd name="T108" fmla="*/ 420 w 730"/>
              <a:gd name="T109" fmla="*/ 27 h 780"/>
              <a:gd name="T110" fmla="*/ 540 w 730"/>
              <a:gd name="T111" fmla="*/ 7 h 780"/>
              <a:gd name="T112" fmla="*/ 435 w 730"/>
              <a:gd name="T113" fmla="*/ 38 h 780"/>
              <a:gd name="T114" fmla="*/ 504 w 730"/>
              <a:gd name="T115" fmla="*/ 125 h 780"/>
              <a:gd name="T116" fmla="*/ 494 w 730"/>
              <a:gd name="T117" fmla="*/ 125 h 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30" h="780">
                <a:moveTo>
                  <a:pt x="678" y="573"/>
                </a:moveTo>
                <a:cubicBezTo>
                  <a:pt x="711" y="518"/>
                  <a:pt x="730" y="454"/>
                  <a:pt x="730" y="386"/>
                </a:cubicBezTo>
                <a:cubicBezTo>
                  <a:pt x="730" y="319"/>
                  <a:pt x="711" y="255"/>
                  <a:pt x="678" y="200"/>
                </a:cubicBezTo>
                <a:cubicBezTo>
                  <a:pt x="678" y="199"/>
                  <a:pt x="678" y="199"/>
                  <a:pt x="677" y="198"/>
                </a:cubicBezTo>
                <a:cubicBezTo>
                  <a:pt x="634" y="127"/>
                  <a:pt x="567" y="70"/>
                  <a:pt x="485" y="42"/>
                </a:cubicBezTo>
                <a:cubicBezTo>
                  <a:pt x="481" y="41"/>
                  <a:pt x="477" y="42"/>
                  <a:pt x="476" y="46"/>
                </a:cubicBezTo>
                <a:cubicBezTo>
                  <a:pt x="475" y="50"/>
                  <a:pt x="476" y="54"/>
                  <a:pt x="480" y="55"/>
                </a:cubicBezTo>
                <a:cubicBezTo>
                  <a:pt x="556" y="81"/>
                  <a:pt x="618" y="131"/>
                  <a:pt x="659" y="195"/>
                </a:cubicBezTo>
                <a:cubicBezTo>
                  <a:pt x="535" y="195"/>
                  <a:pt x="535" y="195"/>
                  <a:pt x="535" y="195"/>
                </a:cubicBezTo>
                <a:cubicBezTo>
                  <a:pt x="531" y="184"/>
                  <a:pt x="527" y="174"/>
                  <a:pt x="523" y="163"/>
                </a:cubicBezTo>
                <a:cubicBezTo>
                  <a:pt x="521" y="160"/>
                  <a:pt x="517" y="158"/>
                  <a:pt x="514" y="159"/>
                </a:cubicBezTo>
                <a:cubicBezTo>
                  <a:pt x="510" y="161"/>
                  <a:pt x="508" y="165"/>
                  <a:pt x="510" y="169"/>
                </a:cubicBezTo>
                <a:cubicBezTo>
                  <a:pt x="514" y="177"/>
                  <a:pt x="517" y="186"/>
                  <a:pt x="520" y="195"/>
                </a:cubicBezTo>
                <a:cubicBezTo>
                  <a:pt x="372" y="195"/>
                  <a:pt x="372" y="195"/>
                  <a:pt x="372" y="195"/>
                </a:cubicBezTo>
                <a:cubicBezTo>
                  <a:pt x="372" y="29"/>
                  <a:pt x="372" y="29"/>
                  <a:pt x="372" y="29"/>
                </a:cubicBezTo>
                <a:cubicBezTo>
                  <a:pt x="372" y="25"/>
                  <a:pt x="369" y="22"/>
                  <a:pt x="365" y="22"/>
                </a:cubicBezTo>
                <a:cubicBezTo>
                  <a:pt x="233" y="22"/>
                  <a:pt x="117" y="92"/>
                  <a:pt x="53" y="198"/>
                </a:cubicBezTo>
                <a:cubicBezTo>
                  <a:pt x="52" y="199"/>
                  <a:pt x="52" y="199"/>
                  <a:pt x="52" y="200"/>
                </a:cubicBezTo>
                <a:cubicBezTo>
                  <a:pt x="19" y="255"/>
                  <a:pt x="0" y="318"/>
                  <a:pt x="0" y="386"/>
                </a:cubicBezTo>
                <a:cubicBezTo>
                  <a:pt x="0" y="454"/>
                  <a:pt x="19" y="519"/>
                  <a:pt x="52" y="574"/>
                </a:cubicBezTo>
                <a:cubicBezTo>
                  <a:pt x="52" y="574"/>
                  <a:pt x="52" y="574"/>
                  <a:pt x="52" y="574"/>
                </a:cubicBezTo>
                <a:cubicBezTo>
                  <a:pt x="96" y="646"/>
                  <a:pt x="164" y="703"/>
                  <a:pt x="247" y="732"/>
                </a:cubicBezTo>
                <a:cubicBezTo>
                  <a:pt x="248" y="732"/>
                  <a:pt x="248" y="732"/>
                  <a:pt x="249" y="732"/>
                </a:cubicBezTo>
                <a:cubicBezTo>
                  <a:pt x="252" y="732"/>
                  <a:pt x="255" y="730"/>
                  <a:pt x="256" y="727"/>
                </a:cubicBezTo>
                <a:cubicBezTo>
                  <a:pt x="257" y="724"/>
                  <a:pt x="255" y="720"/>
                  <a:pt x="251" y="718"/>
                </a:cubicBezTo>
                <a:cubicBezTo>
                  <a:pt x="175" y="692"/>
                  <a:pt x="113" y="642"/>
                  <a:pt x="71" y="577"/>
                </a:cubicBezTo>
                <a:cubicBezTo>
                  <a:pt x="195" y="577"/>
                  <a:pt x="195" y="577"/>
                  <a:pt x="195" y="577"/>
                </a:cubicBezTo>
                <a:cubicBezTo>
                  <a:pt x="199" y="588"/>
                  <a:pt x="202" y="598"/>
                  <a:pt x="207" y="608"/>
                </a:cubicBezTo>
                <a:cubicBezTo>
                  <a:pt x="208" y="611"/>
                  <a:pt x="210" y="612"/>
                  <a:pt x="213" y="612"/>
                </a:cubicBezTo>
                <a:cubicBezTo>
                  <a:pt x="214" y="612"/>
                  <a:pt x="215" y="612"/>
                  <a:pt x="216" y="612"/>
                </a:cubicBezTo>
                <a:cubicBezTo>
                  <a:pt x="219" y="610"/>
                  <a:pt x="221" y="606"/>
                  <a:pt x="219" y="603"/>
                </a:cubicBezTo>
                <a:cubicBezTo>
                  <a:pt x="216" y="594"/>
                  <a:pt x="213" y="586"/>
                  <a:pt x="210" y="577"/>
                </a:cubicBezTo>
                <a:cubicBezTo>
                  <a:pt x="358" y="577"/>
                  <a:pt x="358" y="577"/>
                  <a:pt x="358" y="577"/>
                </a:cubicBezTo>
                <a:cubicBezTo>
                  <a:pt x="358" y="744"/>
                  <a:pt x="358" y="744"/>
                  <a:pt x="358" y="744"/>
                </a:cubicBezTo>
                <a:cubicBezTo>
                  <a:pt x="358" y="748"/>
                  <a:pt x="361" y="751"/>
                  <a:pt x="365" y="751"/>
                </a:cubicBezTo>
                <a:cubicBezTo>
                  <a:pt x="497" y="751"/>
                  <a:pt x="613" y="680"/>
                  <a:pt x="677" y="575"/>
                </a:cubicBezTo>
                <a:cubicBezTo>
                  <a:pt x="678" y="574"/>
                  <a:pt x="678" y="574"/>
                  <a:pt x="678" y="573"/>
                </a:cubicBezTo>
                <a:close/>
                <a:moveTo>
                  <a:pt x="564" y="393"/>
                </a:moveTo>
                <a:cubicBezTo>
                  <a:pt x="716" y="393"/>
                  <a:pt x="716" y="393"/>
                  <a:pt x="716" y="393"/>
                </a:cubicBezTo>
                <a:cubicBezTo>
                  <a:pt x="714" y="455"/>
                  <a:pt x="697" y="513"/>
                  <a:pt x="668" y="563"/>
                </a:cubicBezTo>
                <a:cubicBezTo>
                  <a:pt x="539" y="563"/>
                  <a:pt x="539" y="563"/>
                  <a:pt x="539" y="563"/>
                </a:cubicBezTo>
                <a:cubicBezTo>
                  <a:pt x="555" y="512"/>
                  <a:pt x="564" y="454"/>
                  <a:pt x="564" y="393"/>
                </a:cubicBezTo>
                <a:close/>
                <a:moveTo>
                  <a:pt x="525" y="563"/>
                </a:moveTo>
                <a:cubicBezTo>
                  <a:pt x="372" y="563"/>
                  <a:pt x="372" y="563"/>
                  <a:pt x="372" y="563"/>
                </a:cubicBezTo>
                <a:cubicBezTo>
                  <a:pt x="372" y="393"/>
                  <a:pt x="372" y="393"/>
                  <a:pt x="372" y="393"/>
                </a:cubicBezTo>
                <a:cubicBezTo>
                  <a:pt x="550" y="393"/>
                  <a:pt x="550" y="393"/>
                  <a:pt x="550" y="393"/>
                </a:cubicBezTo>
                <a:cubicBezTo>
                  <a:pt x="550" y="455"/>
                  <a:pt x="540" y="513"/>
                  <a:pt x="525" y="563"/>
                </a:cubicBezTo>
                <a:close/>
                <a:moveTo>
                  <a:pt x="668" y="209"/>
                </a:moveTo>
                <a:cubicBezTo>
                  <a:pt x="697" y="260"/>
                  <a:pt x="714" y="318"/>
                  <a:pt x="716" y="379"/>
                </a:cubicBezTo>
                <a:cubicBezTo>
                  <a:pt x="564" y="379"/>
                  <a:pt x="564" y="379"/>
                  <a:pt x="564" y="379"/>
                </a:cubicBezTo>
                <a:cubicBezTo>
                  <a:pt x="564" y="319"/>
                  <a:pt x="555" y="261"/>
                  <a:pt x="539" y="209"/>
                </a:cubicBezTo>
                <a:lnTo>
                  <a:pt x="668" y="209"/>
                </a:lnTo>
                <a:close/>
                <a:moveTo>
                  <a:pt x="525" y="209"/>
                </a:moveTo>
                <a:cubicBezTo>
                  <a:pt x="541" y="261"/>
                  <a:pt x="550" y="319"/>
                  <a:pt x="550" y="379"/>
                </a:cubicBezTo>
                <a:cubicBezTo>
                  <a:pt x="372" y="379"/>
                  <a:pt x="372" y="379"/>
                  <a:pt x="372" y="379"/>
                </a:cubicBezTo>
                <a:cubicBezTo>
                  <a:pt x="372" y="209"/>
                  <a:pt x="372" y="209"/>
                  <a:pt x="372" y="209"/>
                </a:cubicBezTo>
                <a:lnTo>
                  <a:pt x="525" y="209"/>
                </a:lnTo>
                <a:close/>
                <a:moveTo>
                  <a:pt x="14" y="379"/>
                </a:moveTo>
                <a:cubicBezTo>
                  <a:pt x="16" y="318"/>
                  <a:pt x="33" y="260"/>
                  <a:pt x="62" y="209"/>
                </a:cubicBezTo>
                <a:cubicBezTo>
                  <a:pt x="191" y="209"/>
                  <a:pt x="191" y="209"/>
                  <a:pt x="191" y="209"/>
                </a:cubicBezTo>
                <a:cubicBezTo>
                  <a:pt x="175" y="261"/>
                  <a:pt x="166" y="319"/>
                  <a:pt x="166" y="379"/>
                </a:cubicBezTo>
                <a:lnTo>
                  <a:pt x="14" y="379"/>
                </a:lnTo>
                <a:close/>
                <a:moveTo>
                  <a:pt x="205" y="209"/>
                </a:moveTo>
                <a:cubicBezTo>
                  <a:pt x="358" y="209"/>
                  <a:pt x="358" y="209"/>
                  <a:pt x="358" y="209"/>
                </a:cubicBezTo>
                <a:cubicBezTo>
                  <a:pt x="358" y="379"/>
                  <a:pt x="358" y="379"/>
                  <a:pt x="358" y="379"/>
                </a:cubicBezTo>
                <a:cubicBezTo>
                  <a:pt x="180" y="379"/>
                  <a:pt x="180" y="379"/>
                  <a:pt x="180" y="379"/>
                </a:cubicBezTo>
                <a:cubicBezTo>
                  <a:pt x="180" y="318"/>
                  <a:pt x="190" y="260"/>
                  <a:pt x="205" y="209"/>
                </a:cubicBezTo>
                <a:close/>
                <a:moveTo>
                  <a:pt x="210" y="195"/>
                </a:moveTo>
                <a:cubicBezTo>
                  <a:pt x="242" y="103"/>
                  <a:pt x="296" y="40"/>
                  <a:pt x="358" y="36"/>
                </a:cubicBezTo>
                <a:cubicBezTo>
                  <a:pt x="358" y="195"/>
                  <a:pt x="358" y="195"/>
                  <a:pt x="358" y="195"/>
                </a:cubicBezTo>
                <a:lnTo>
                  <a:pt x="210" y="195"/>
                </a:lnTo>
                <a:close/>
                <a:moveTo>
                  <a:pt x="299" y="42"/>
                </a:moveTo>
                <a:cubicBezTo>
                  <a:pt x="271" y="60"/>
                  <a:pt x="245" y="90"/>
                  <a:pt x="223" y="130"/>
                </a:cubicBezTo>
                <a:cubicBezTo>
                  <a:pt x="212" y="150"/>
                  <a:pt x="203" y="172"/>
                  <a:pt x="195" y="195"/>
                </a:cubicBezTo>
                <a:cubicBezTo>
                  <a:pt x="71" y="195"/>
                  <a:pt x="71" y="195"/>
                  <a:pt x="71" y="195"/>
                </a:cubicBezTo>
                <a:cubicBezTo>
                  <a:pt x="122" y="117"/>
                  <a:pt x="204" y="60"/>
                  <a:pt x="299" y="42"/>
                </a:cubicBezTo>
                <a:close/>
                <a:moveTo>
                  <a:pt x="62" y="563"/>
                </a:moveTo>
                <a:cubicBezTo>
                  <a:pt x="33" y="513"/>
                  <a:pt x="16" y="455"/>
                  <a:pt x="14" y="393"/>
                </a:cubicBezTo>
                <a:cubicBezTo>
                  <a:pt x="166" y="393"/>
                  <a:pt x="166" y="393"/>
                  <a:pt x="166" y="393"/>
                </a:cubicBezTo>
                <a:cubicBezTo>
                  <a:pt x="166" y="454"/>
                  <a:pt x="175" y="512"/>
                  <a:pt x="191" y="563"/>
                </a:cubicBezTo>
                <a:lnTo>
                  <a:pt x="62" y="563"/>
                </a:lnTo>
                <a:close/>
                <a:moveTo>
                  <a:pt x="205" y="563"/>
                </a:moveTo>
                <a:cubicBezTo>
                  <a:pt x="189" y="512"/>
                  <a:pt x="180" y="454"/>
                  <a:pt x="180" y="393"/>
                </a:cubicBezTo>
                <a:cubicBezTo>
                  <a:pt x="358" y="393"/>
                  <a:pt x="358" y="393"/>
                  <a:pt x="358" y="393"/>
                </a:cubicBezTo>
                <a:cubicBezTo>
                  <a:pt x="358" y="563"/>
                  <a:pt x="358" y="563"/>
                  <a:pt x="358" y="563"/>
                </a:cubicBezTo>
                <a:lnTo>
                  <a:pt x="205" y="563"/>
                </a:lnTo>
                <a:close/>
                <a:moveTo>
                  <a:pt x="520" y="577"/>
                </a:moveTo>
                <a:cubicBezTo>
                  <a:pt x="488" y="670"/>
                  <a:pt x="434" y="732"/>
                  <a:pt x="372" y="737"/>
                </a:cubicBezTo>
                <a:cubicBezTo>
                  <a:pt x="372" y="577"/>
                  <a:pt x="372" y="577"/>
                  <a:pt x="372" y="577"/>
                </a:cubicBezTo>
                <a:lnTo>
                  <a:pt x="520" y="577"/>
                </a:lnTo>
                <a:close/>
                <a:moveTo>
                  <a:pt x="431" y="731"/>
                </a:moveTo>
                <a:cubicBezTo>
                  <a:pt x="459" y="713"/>
                  <a:pt x="485" y="683"/>
                  <a:pt x="507" y="643"/>
                </a:cubicBezTo>
                <a:cubicBezTo>
                  <a:pt x="518" y="623"/>
                  <a:pt x="527" y="601"/>
                  <a:pt x="535" y="577"/>
                </a:cubicBezTo>
                <a:cubicBezTo>
                  <a:pt x="659" y="577"/>
                  <a:pt x="659" y="577"/>
                  <a:pt x="659" y="577"/>
                </a:cubicBezTo>
                <a:cubicBezTo>
                  <a:pt x="608" y="656"/>
                  <a:pt x="526" y="713"/>
                  <a:pt x="431" y="731"/>
                </a:cubicBezTo>
                <a:close/>
                <a:moveTo>
                  <a:pt x="324" y="740"/>
                </a:moveTo>
                <a:cubicBezTo>
                  <a:pt x="326" y="742"/>
                  <a:pt x="327" y="745"/>
                  <a:pt x="326" y="747"/>
                </a:cubicBezTo>
                <a:cubicBezTo>
                  <a:pt x="325" y="749"/>
                  <a:pt x="323" y="751"/>
                  <a:pt x="321" y="752"/>
                </a:cubicBezTo>
                <a:cubicBezTo>
                  <a:pt x="196" y="780"/>
                  <a:pt x="196" y="780"/>
                  <a:pt x="196" y="780"/>
                </a:cubicBezTo>
                <a:cubicBezTo>
                  <a:pt x="195" y="780"/>
                  <a:pt x="195" y="780"/>
                  <a:pt x="194" y="780"/>
                </a:cubicBezTo>
                <a:cubicBezTo>
                  <a:pt x="191" y="780"/>
                  <a:pt x="188" y="778"/>
                  <a:pt x="187" y="775"/>
                </a:cubicBezTo>
                <a:cubicBezTo>
                  <a:pt x="186" y="771"/>
                  <a:pt x="189" y="767"/>
                  <a:pt x="193" y="766"/>
                </a:cubicBezTo>
                <a:cubicBezTo>
                  <a:pt x="306" y="741"/>
                  <a:pt x="306" y="741"/>
                  <a:pt x="306" y="741"/>
                </a:cubicBezTo>
                <a:cubicBezTo>
                  <a:pt x="227" y="653"/>
                  <a:pt x="227" y="653"/>
                  <a:pt x="227" y="653"/>
                </a:cubicBezTo>
                <a:cubicBezTo>
                  <a:pt x="225" y="650"/>
                  <a:pt x="225" y="646"/>
                  <a:pt x="228" y="643"/>
                </a:cubicBezTo>
                <a:cubicBezTo>
                  <a:pt x="231" y="640"/>
                  <a:pt x="235" y="641"/>
                  <a:pt x="238" y="643"/>
                </a:cubicBezTo>
                <a:lnTo>
                  <a:pt x="324" y="740"/>
                </a:lnTo>
                <a:close/>
                <a:moveTo>
                  <a:pt x="416" y="38"/>
                </a:moveTo>
                <a:cubicBezTo>
                  <a:pt x="415" y="36"/>
                  <a:pt x="414" y="34"/>
                  <a:pt x="415" y="31"/>
                </a:cubicBezTo>
                <a:cubicBezTo>
                  <a:pt x="415" y="29"/>
                  <a:pt x="417" y="27"/>
                  <a:pt x="420" y="27"/>
                </a:cubicBezTo>
                <a:cubicBezTo>
                  <a:pt x="532" y="1"/>
                  <a:pt x="532" y="1"/>
                  <a:pt x="532" y="1"/>
                </a:cubicBezTo>
                <a:cubicBezTo>
                  <a:pt x="536" y="0"/>
                  <a:pt x="539" y="3"/>
                  <a:pt x="540" y="7"/>
                </a:cubicBezTo>
                <a:cubicBezTo>
                  <a:pt x="541" y="10"/>
                  <a:pt x="539" y="14"/>
                  <a:pt x="535" y="15"/>
                </a:cubicBezTo>
                <a:cubicBezTo>
                  <a:pt x="435" y="38"/>
                  <a:pt x="435" y="38"/>
                  <a:pt x="435" y="38"/>
                </a:cubicBezTo>
                <a:cubicBezTo>
                  <a:pt x="504" y="115"/>
                  <a:pt x="504" y="115"/>
                  <a:pt x="504" y="115"/>
                </a:cubicBezTo>
                <a:cubicBezTo>
                  <a:pt x="507" y="118"/>
                  <a:pt x="506" y="123"/>
                  <a:pt x="504" y="125"/>
                </a:cubicBezTo>
                <a:cubicBezTo>
                  <a:pt x="502" y="127"/>
                  <a:pt x="501" y="127"/>
                  <a:pt x="499" y="127"/>
                </a:cubicBezTo>
                <a:cubicBezTo>
                  <a:pt x="497" y="127"/>
                  <a:pt x="495" y="126"/>
                  <a:pt x="494" y="125"/>
                </a:cubicBezTo>
                <a:lnTo>
                  <a:pt x="416" y="3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9EA906-C088-4D74-A94C-2CE1D9932BEF}"/>
              </a:ext>
            </a:extLst>
          </p:cNvPr>
          <p:cNvSpPr/>
          <p:nvPr/>
        </p:nvSpPr>
        <p:spPr>
          <a:xfrm>
            <a:off x="7905919" y="97104"/>
            <a:ext cx="647362" cy="65791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7" name="Footer Placeholder 99">
            <a:extLst>
              <a:ext uri="{FF2B5EF4-FFF2-40B4-BE49-F238E27FC236}">
                <a16:creationId xmlns:a16="http://schemas.microsoft.com/office/drawing/2014/main" id="{40DFEAF8-3374-4575-BFAB-5ECC80A2D3F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8" name="Slide Number Placeholder 100">
            <a:extLst>
              <a:ext uri="{FF2B5EF4-FFF2-40B4-BE49-F238E27FC236}">
                <a16:creationId xmlns:a16="http://schemas.microsoft.com/office/drawing/2014/main" id="{A9946A13-9122-403B-841E-6FDEB605A8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30" name="Text Placeholder 41">
            <a:extLst>
              <a:ext uri="{FF2B5EF4-FFF2-40B4-BE49-F238E27FC236}">
                <a16:creationId xmlns:a16="http://schemas.microsoft.com/office/drawing/2014/main" id="{E4D8C1A1-8F95-44EF-85BF-01AC915B88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390522001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8251166" cy="545464"/>
          </a:xfrm>
        </p:spPr>
        <p:txBody>
          <a:bodyPr/>
          <a:lstStyle/>
          <a:p>
            <a:r>
              <a:rPr lang="en-US" dirty="0"/>
              <a:t>Yes/no comparis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9EA906-C088-4D74-A94C-2CE1D9932BEF}"/>
              </a:ext>
            </a:extLst>
          </p:cNvPr>
          <p:cNvSpPr/>
          <p:nvPr/>
        </p:nvSpPr>
        <p:spPr>
          <a:xfrm>
            <a:off x="7905919" y="97104"/>
            <a:ext cx="647362" cy="65791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7" name="Footer Placeholder 99">
            <a:extLst>
              <a:ext uri="{FF2B5EF4-FFF2-40B4-BE49-F238E27FC236}">
                <a16:creationId xmlns:a16="http://schemas.microsoft.com/office/drawing/2014/main" id="{40DFEAF8-3374-4575-BFAB-5ECC80A2D3F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8" name="Slide Number Placeholder 100">
            <a:extLst>
              <a:ext uri="{FF2B5EF4-FFF2-40B4-BE49-F238E27FC236}">
                <a16:creationId xmlns:a16="http://schemas.microsoft.com/office/drawing/2014/main" id="{A9946A13-9122-403B-841E-6FDEB605A8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43</a:t>
            </a:fld>
            <a:endParaRPr lang="en-US" dirty="0"/>
          </a:p>
        </p:txBody>
      </p:sp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A83CB53F-80C2-4834-9362-E4BF2AC8FFFE}"/>
              </a:ext>
            </a:extLst>
          </p:cNvPr>
          <p:cNvGraphicFramePr>
            <a:graphicFrameLocks noGrp="1"/>
          </p:cNvGraphicFramePr>
          <p:nvPr/>
        </p:nvGraphicFramePr>
        <p:xfrm>
          <a:off x="1115616" y="1255468"/>
          <a:ext cx="6912768" cy="2954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281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solidFill>
                            <a:schemeClr val="bg1"/>
                          </a:solidFill>
                        </a:rPr>
                        <a:t>Xxxxx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XXX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solidFill>
                            <a:schemeClr val="bg1"/>
                          </a:solidFill>
                        </a:rPr>
                        <a:t>Xxxxx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XXX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solidFill>
                            <a:schemeClr val="bg1"/>
                          </a:solidFill>
                        </a:rPr>
                        <a:t>Xxxxx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XXX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1082">
                <a:tc>
                  <a:txBody>
                    <a:bodyPr/>
                    <a:lstStyle/>
                    <a:p>
                      <a:r>
                        <a:rPr lang="en-US" sz="1200" dirty="0"/>
                        <a:t>X xx xxx X </a:t>
                      </a:r>
                      <a:r>
                        <a:rPr lang="en-US" sz="1200" dirty="0" err="1"/>
                        <a:t>x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1082">
                <a:tc>
                  <a:txBody>
                    <a:bodyPr/>
                    <a:lstStyle/>
                    <a:p>
                      <a:r>
                        <a:rPr lang="en-US" sz="1200" dirty="0"/>
                        <a:t>X xx xxx</a:t>
                      </a:r>
                      <a:r>
                        <a:rPr lang="en-US" sz="1200" baseline="0" dirty="0"/>
                        <a:t> Xxx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1082">
                <a:tc>
                  <a:txBody>
                    <a:bodyPr/>
                    <a:lstStyle/>
                    <a:p>
                      <a:r>
                        <a:rPr lang="en-US" sz="1200" dirty="0"/>
                        <a:t>X xx xxx </a:t>
                      </a:r>
                      <a:r>
                        <a:rPr lang="en-US" sz="1200" dirty="0" err="1"/>
                        <a:t>Xxxxx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1082">
                <a:tc>
                  <a:txBody>
                    <a:bodyPr/>
                    <a:lstStyle/>
                    <a:p>
                      <a:r>
                        <a:rPr lang="en-US" sz="1200" dirty="0"/>
                        <a:t>X xx xxx </a:t>
                      </a:r>
                      <a:r>
                        <a:rPr lang="en-US" sz="1200" dirty="0" err="1"/>
                        <a:t>Xxxx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1082">
                <a:tc>
                  <a:txBody>
                    <a:bodyPr/>
                    <a:lstStyle/>
                    <a:p>
                      <a:r>
                        <a:rPr lang="en-US" sz="1200" dirty="0"/>
                        <a:t>X xx xxx Xx x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5" name="Oval 34">
            <a:extLst>
              <a:ext uri="{FF2B5EF4-FFF2-40B4-BE49-F238E27FC236}">
                <a16:creationId xmlns:a16="http://schemas.microsoft.com/office/drawing/2014/main" id="{5A99467A-F9E5-48DF-8131-BAB13FF93FBE}"/>
              </a:ext>
            </a:extLst>
          </p:cNvPr>
          <p:cNvSpPr>
            <a:spLocks noChangeAspect="1"/>
          </p:cNvSpPr>
          <p:nvPr/>
        </p:nvSpPr>
        <p:spPr>
          <a:xfrm>
            <a:off x="3566194" y="1864687"/>
            <a:ext cx="365760" cy="36576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C3955CB-D751-48CD-8238-B66F118FA09A}"/>
              </a:ext>
            </a:extLst>
          </p:cNvPr>
          <p:cNvSpPr>
            <a:spLocks noChangeAspect="1"/>
          </p:cNvSpPr>
          <p:nvPr/>
        </p:nvSpPr>
        <p:spPr>
          <a:xfrm>
            <a:off x="3566194" y="2822977"/>
            <a:ext cx="365760" cy="36576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7" name="Freeform 38">
            <a:extLst>
              <a:ext uri="{FF2B5EF4-FFF2-40B4-BE49-F238E27FC236}">
                <a16:creationId xmlns:a16="http://schemas.microsoft.com/office/drawing/2014/main" id="{43486559-D0E7-4E0E-B094-0A70BCBD110D}"/>
              </a:ext>
            </a:extLst>
          </p:cNvPr>
          <p:cNvSpPr/>
          <p:nvPr/>
        </p:nvSpPr>
        <p:spPr>
          <a:xfrm rot="18439243">
            <a:off x="3645667" y="1969991"/>
            <a:ext cx="206814" cy="93781"/>
          </a:xfrm>
          <a:custGeom>
            <a:avLst/>
            <a:gdLst>
              <a:gd name="connsiteX0" fmla="*/ 0 w 3744468"/>
              <a:gd name="connsiteY0" fmla="*/ 0 h 896112"/>
              <a:gd name="connsiteX1" fmla="*/ 0 w 3744468"/>
              <a:gd name="connsiteY1" fmla="*/ 896112 h 896112"/>
              <a:gd name="connsiteX2" fmla="*/ 3744468 w 3744468"/>
              <a:gd name="connsiteY2" fmla="*/ 896112 h 896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44468" h="896112">
                <a:moveTo>
                  <a:pt x="0" y="0"/>
                </a:moveTo>
                <a:lnTo>
                  <a:pt x="0" y="896112"/>
                </a:lnTo>
                <a:lnTo>
                  <a:pt x="3744468" y="896112"/>
                </a:lnTo>
              </a:path>
            </a:pathLst>
          </a:custGeom>
          <a:noFill/>
          <a:ln w="28575">
            <a:solidFill>
              <a:srgbClr val="FFFFFF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8" name="Freeform 39">
            <a:extLst>
              <a:ext uri="{FF2B5EF4-FFF2-40B4-BE49-F238E27FC236}">
                <a16:creationId xmlns:a16="http://schemas.microsoft.com/office/drawing/2014/main" id="{D476FC3B-CDC6-4FDC-8E7D-DA6ABCF1074A}"/>
              </a:ext>
            </a:extLst>
          </p:cNvPr>
          <p:cNvSpPr/>
          <p:nvPr/>
        </p:nvSpPr>
        <p:spPr>
          <a:xfrm rot="18439243">
            <a:off x="3645667" y="2927893"/>
            <a:ext cx="206814" cy="93781"/>
          </a:xfrm>
          <a:custGeom>
            <a:avLst/>
            <a:gdLst>
              <a:gd name="connsiteX0" fmla="*/ 0 w 3744468"/>
              <a:gd name="connsiteY0" fmla="*/ 0 h 896112"/>
              <a:gd name="connsiteX1" fmla="*/ 0 w 3744468"/>
              <a:gd name="connsiteY1" fmla="*/ 896112 h 896112"/>
              <a:gd name="connsiteX2" fmla="*/ 3744468 w 3744468"/>
              <a:gd name="connsiteY2" fmla="*/ 896112 h 896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44468" h="896112">
                <a:moveTo>
                  <a:pt x="0" y="0"/>
                </a:moveTo>
                <a:lnTo>
                  <a:pt x="0" y="896112"/>
                </a:lnTo>
                <a:lnTo>
                  <a:pt x="3744468" y="896112"/>
                </a:lnTo>
              </a:path>
            </a:pathLst>
          </a:custGeom>
          <a:noFill/>
          <a:ln w="28575">
            <a:solidFill>
              <a:srgbClr val="FFFFFF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2EE6225-2A78-4D2E-AB15-5B4FBBFAA218}"/>
              </a:ext>
            </a:extLst>
          </p:cNvPr>
          <p:cNvSpPr>
            <a:spLocks noChangeAspect="1"/>
          </p:cNvSpPr>
          <p:nvPr/>
        </p:nvSpPr>
        <p:spPr>
          <a:xfrm>
            <a:off x="5275126" y="2343832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6B923403-0B81-4357-A670-C09269DEF4B7}"/>
              </a:ext>
            </a:extLst>
          </p:cNvPr>
          <p:cNvSpPr>
            <a:spLocks noChangeAspect="1"/>
          </p:cNvSpPr>
          <p:nvPr/>
        </p:nvSpPr>
        <p:spPr>
          <a:xfrm>
            <a:off x="5275126" y="2822977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928B6433-54C4-4833-B95A-B4FF2E9C7148}"/>
              </a:ext>
            </a:extLst>
          </p:cNvPr>
          <p:cNvSpPr>
            <a:spLocks noChangeAspect="1"/>
          </p:cNvSpPr>
          <p:nvPr/>
        </p:nvSpPr>
        <p:spPr>
          <a:xfrm>
            <a:off x="5275126" y="3302122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2" name="Freeform 43">
            <a:extLst>
              <a:ext uri="{FF2B5EF4-FFF2-40B4-BE49-F238E27FC236}">
                <a16:creationId xmlns:a16="http://schemas.microsoft.com/office/drawing/2014/main" id="{285A0EFF-8DF2-4970-8189-7913320AF15D}"/>
              </a:ext>
            </a:extLst>
          </p:cNvPr>
          <p:cNvSpPr/>
          <p:nvPr/>
        </p:nvSpPr>
        <p:spPr>
          <a:xfrm rot="18439243">
            <a:off x="5354599" y="2448942"/>
            <a:ext cx="206814" cy="93781"/>
          </a:xfrm>
          <a:custGeom>
            <a:avLst/>
            <a:gdLst>
              <a:gd name="connsiteX0" fmla="*/ 0 w 3744468"/>
              <a:gd name="connsiteY0" fmla="*/ 0 h 896112"/>
              <a:gd name="connsiteX1" fmla="*/ 0 w 3744468"/>
              <a:gd name="connsiteY1" fmla="*/ 896112 h 896112"/>
              <a:gd name="connsiteX2" fmla="*/ 3744468 w 3744468"/>
              <a:gd name="connsiteY2" fmla="*/ 896112 h 896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44468" h="896112">
                <a:moveTo>
                  <a:pt x="0" y="0"/>
                </a:moveTo>
                <a:lnTo>
                  <a:pt x="0" y="896112"/>
                </a:lnTo>
                <a:lnTo>
                  <a:pt x="3744468" y="896112"/>
                </a:lnTo>
              </a:path>
            </a:pathLst>
          </a:custGeom>
          <a:noFill/>
          <a:ln w="28575">
            <a:solidFill>
              <a:srgbClr val="FFFFFF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3" name="Freeform 44">
            <a:extLst>
              <a:ext uri="{FF2B5EF4-FFF2-40B4-BE49-F238E27FC236}">
                <a16:creationId xmlns:a16="http://schemas.microsoft.com/office/drawing/2014/main" id="{5AAB535D-7F6C-4645-BFEC-91E77FB85D89}"/>
              </a:ext>
            </a:extLst>
          </p:cNvPr>
          <p:cNvSpPr/>
          <p:nvPr/>
        </p:nvSpPr>
        <p:spPr>
          <a:xfrm rot="18439243">
            <a:off x="5354599" y="2927893"/>
            <a:ext cx="206814" cy="93781"/>
          </a:xfrm>
          <a:custGeom>
            <a:avLst/>
            <a:gdLst>
              <a:gd name="connsiteX0" fmla="*/ 0 w 3744468"/>
              <a:gd name="connsiteY0" fmla="*/ 0 h 896112"/>
              <a:gd name="connsiteX1" fmla="*/ 0 w 3744468"/>
              <a:gd name="connsiteY1" fmla="*/ 896112 h 896112"/>
              <a:gd name="connsiteX2" fmla="*/ 3744468 w 3744468"/>
              <a:gd name="connsiteY2" fmla="*/ 896112 h 896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44468" h="896112">
                <a:moveTo>
                  <a:pt x="0" y="0"/>
                </a:moveTo>
                <a:lnTo>
                  <a:pt x="0" y="896112"/>
                </a:lnTo>
                <a:lnTo>
                  <a:pt x="3744468" y="896112"/>
                </a:lnTo>
              </a:path>
            </a:pathLst>
          </a:custGeom>
          <a:noFill/>
          <a:ln w="28575">
            <a:solidFill>
              <a:srgbClr val="FFFFFF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4" name="Freeform 45">
            <a:extLst>
              <a:ext uri="{FF2B5EF4-FFF2-40B4-BE49-F238E27FC236}">
                <a16:creationId xmlns:a16="http://schemas.microsoft.com/office/drawing/2014/main" id="{7474B177-D5E5-4AFE-9C87-1FBD9687A140}"/>
              </a:ext>
            </a:extLst>
          </p:cNvPr>
          <p:cNvSpPr/>
          <p:nvPr/>
        </p:nvSpPr>
        <p:spPr>
          <a:xfrm rot="18439243">
            <a:off x="5354600" y="3406844"/>
            <a:ext cx="206814" cy="93781"/>
          </a:xfrm>
          <a:custGeom>
            <a:avLst/>
            <a:gdLst>
              <a:gd name="connsiteX0" fmla="*/ 0 w 3744468"/>
              <a:gd name="connsiteY0" fmla="*/ 0 h 896112"/>
              <a:gd name="connsiteX1" fmla="*/ 0 w 3744468"/>
              <a:gd name="connsiteY1" fmla="*/ 896112 h 896112"/>
              <a:gd name="connsiteX2" fmla="*/ 3744468 w 3744468"/>
              <a:gd name="connsiteY2" fmla="*/ 896112 h 896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44468" h="896112">
                <a:moveTo>
                  <a:pt x="0" y="0"/>
                </a:moveTo>
                <a:lnTo>
                  <a:pt x="0" y="896112"/>
                </a:lnTo>
                <a:lnTo>
                  <a:pt x="3744468" y="896112"/>
                </a:lnTo>
              </a:path>
            </a:pathLst>
          </a:custGeom>
          <a:noFill/>
          <a:ln w="28575">
            <a:solidFill>
              <a:srgbClr val="FFFFFF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3CC195A2-9EAD-4953-84AF-339EB7A6BAE1}"/>
              </a:ext>
            </a:extLst>
          </p:cNvPr>
          <p:cNvSpPr>
            <a:spLocks noChangeAspect="1"/>
          </p:cNvSpPr>
          <p:nvPr/>
        </p:nvSpPr>
        <p:spPr>
          <a:xfrm>
            <a:off x="7012842" y="1864687"/>
            <a:ext cx="365760" cy="36576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5EFDC67D-87D6-4F13-B12D-D94517876C9A}"/>
              </a:ext>
            </a:extLst>
          </p:cNvPr>
          <p:cNvSpPr>
            <a:spLocks noChangeAspect="1"/>
          </p:cNvSpPr>
          <p:nvPr/>
        </p:nvSpPr>
        <p:spPr>
          <a:xfrm>
            <a:off x="7012842" y="2343832"/>
            <a:ext cx="365760" cy="36576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34C7B8DC-2BDD-4B74-9385-CCBDBDAAED80}"/>
              </a:ext>
            </a:extLst>
          </p:cNvPr>
          <p:cNvSpPr>
            <a:spLocks noChangeAspect="1"/>
          </p:cNvSpPr>
          <p:nvPr/>
        </p:nvSpPr>
        <p:spPr>
          <a:xfrm>
            <a:off x="7012842" y="2822977"/>
            <a:ext cx="365760" cy="36576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0167FE90-D850-4DEE-9B18-BD65B9B61D6C}"/>
              </a:ext>
            </a:extLst>
          </p:cNvPr>
          <p:cNvSpPr>
            <a:spLocks noChangeAspect="1"/>
          </p:cNvSpPr>
          <p:nvPr/>
        </p:nvSpPr>
        <p:spPr>
          <a:xfrm>
            <a:off x="7012842" y="3302122"/>
            <a:ext cx="365760" cy="36576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3AA4689-208B-47F6-B342-3167A659742C}"/>
              </a:ext>
            </a:extLst>
          </p:cNvPr>
          <p:cNvSpPr>
            <a:spLocks noChangeAspect="1"/>
          </p:cNvSpPr>
          <p:nvPr/>
        </p:nvSpPr>
        <p:spPr>
          <a:xfrm>
            <a:off x="7012842" y="3781267"/>
            <a:ext cx="365760" cy="36576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0" name="Freeform 51">
            <a:extLst>
              <a:ext uri="{FF2B5EF4-FFF2-40B4-BE49-F238E27FC236}">
                <a16:creationId xmlns:a16="http://schemas.microsoft.com/office/drawing/2014/main" id="{09A47443-3C10-42B6-87C7-59D8142A52DF}"/>
              </a:ext>
            </a:extLst>
          </p:cNvPr>
          <p:cNvSpPr/>
          <p:nvPr/>
        </p:nvSpPr>
        <p:spPr>
          <a:xfrm rot="18439243">
            <a:off x="7092315" y="1969991"/>
            <a:ext cx="206814" cy="93781"/>
          </a:xfrm>
          <a:custGeom>
            <a:avLst/>
            <a:gdLst>
              <a:gd name="connsiteX0" fmla="*/ 0 w 3744468"/>
              <a:gd name="connsiteY0" fmla="*/ 0 h 896112"/>
              <a:gd name="connsiteX1" fmla="*/ 0 w 3744468"/>
              <a:gd name="connsiteY1" fmla="*/ 896112 h 896112"/>
              <a:gd name="connsiteX2" fmla="*/ 3744468 w 3744468"/>
              <a:gd name="connsiteY2" fmla="*/ 896112 h 896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44468" h="896112">
                <a:moveTo>
                  <a:pt x="0" y="0"/>
                </a:moveTo>
                <a:lnTo>
                  <a:pt x="0" y="896112"/>
                </a:lnTo>
                <a:lnTo>
                  <a:pt x="3744468" y="896112"/>
                </a:lnTo>
              </a:path>
            </a:pathLst>
          </a:custGeom>
          <a:noFill/>
          <a:ln w="28575">
            <a:solidFill>
              <a:srgbClr val="FFFFFF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1" name="Freeform 52">
            <a:extLst>
              <a:ext uri="{FF2B5EF4-FFF2-40B4-BE49-F238E27FC236}">
                <a16:creationId xmlns:a16="http://schemas.microsoft.com/office/drawing/2014/main" id="{B926B9EE-E64F-4824-916F-3D99E4153024}"/>
              </a:ext>
            </a:extLst>
          </p:cNvPr>
          <p:cNvSpPr/>
          <p:nvPr/>
        </p:nvSpPr>
        <p:spPr>
          <a:xfrm rot="18439243">
            <a:off x="7092315" y="2448942"/>
            <a:ext cx="206814" cy="93781"/>
          </a:xfrm>
          <a:custGeom>
            <a:avLst/>
            <a:gdLst>
              <a:gd name="connsiteX0" fmla="*/ 0 w 3744468"/>
              <a:gd name="connsiteY0" fmla="*/ 0 h 896112"/>
              <a:gd name="connsiteX1" fmla="*/ 0 w 3744468"/>
              <a:gd name="connsiteY1" fmla="*/ 896112 h 896112"/>
              <a:gd name="connsiteX2" fmla="*/ 3744468 w 3744468"/>
              <a:gd name="connsiteY2" fmla="*/ 896112 h 896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44468" h="896112">
                <a:moveTo>
                  <a:pt x="0" y="0"/>
                </a:moveTo>
                <a:lnTo>
                  <a:pt x="0" y="896112"/>
                </a:lnTo>
                <a:lnTo>
                  <a:pt x="3744468" y="896112"/>
                </a:lnTo>
              </a:path>
            </a:pathLst>
          </a:custGeom>
          <a:noFill/>
          <a:ln w="28575">
            <a:solidFill>
              <a:srgbClr val="FFFFFF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2" name="Freeform 53">
            <a:extLst>
              <a:ext uri="{FF2B5EF4-FFF2-40B4-BE49-F238E27FC236}">
                <a16:creationId xmlns:a16="http://schemas.microsoft.com/office/drawing/2014/main" id="{FDA6B56A-C45F-43E1-B132-8BDED23317F5}"/>
              </a:ext>
            </a:extLst>
          </p:cNvPr>
          <p:cNvSpPr/>
          <p:nvPr/>
        </p:nvSpPr>
        <p:spPr>
          <a:xfrm rot="18439243">
            <a:off x="7092315" y="2927893"/>
            <a:ext cx="206814" cy="93781"/>
          </a:xfrm>
          <a:custGeom>
            <a:avLst/>
            <a:gdLst>
              <a:gd name="connsiteX0" fmla="*/ 0 w 3744468"/>
              <a:gd name="connsiteY0" fmla="*/ 0 h 896112"/>
              <a:gd name="connsiteX1" fmla="*/ 0 w 3744468"/>
              <a:gd name="connsiteY1" fmla="*/ 896112 h 896112"/>
              <a:gd name="connsiteX2" fmla="*/ 3744468 w 3744468"/>
              <a:gd name="connsiteY2" fmla="*/ 896112 h 896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44468" h="896112">
                <a:moveTo>
                  <a:pt x="0" y="0"/>
                </a:moveTo>
                <a:lnTo>
                  <a:pt x="0" y="896112"/>
                </a:lnTo>
                <a:lnTo>
                  <a:pt x="3744468" y="896112"/>
                </a:lnTo>
              </a:path>
            </a:pathLst>
          </a:custGeom>
          <a:noFill/>
          <a:ln w="28575">
            <a:solidFill>
              <a:srgbClr val="FFFFFF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3" name="Freeform 54">
            <a:extLst>
              <a:ext uri="{FF2B5EF4-FFF2-40B4-BE49-F238E27FC236}">
                <a16:creationId xmlns:a16="http://schemas.microsoft.com/office/drawing/2014/main" id="{6063B3D2-76A3-4904-9E7E-28CA1DE2B3A4}"/>
              </a:ext>
            </a:extLst>
          </p:cNvPr>
          <p:cNvSpPr/>
          <p:nvPr/>
        </p:nvSpPr>
        <p:spPr>
          <a:xfrm rot="18439243">
            <a:off x="7092316" y="3406844"/>
            <a:ext cx="206814" cy="93781"/>
          </a:xfrm>
          <a:custGeom>
            <a:avLst/>
            <a:gdLst>
              <a:gd name="connsiteX0" fmla="*/ 0 w 3744468"/>
              <a:gd name="connsiteY0" fmla="*/ 0 h 896112"/>
              <a:gd name="connsiteX1" fmla="*/ 0 w 3744468"/>
              <a:gd name="connsiteY1" fmla="*/ 896112 h 896112"/>
              <a:gd name="connsiteX2" fmla="*/ 3744468 w 3744468"/>
              <a:gd name="connsiteY2" fmla="*/ 896112 h 896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44468" h="896112">
                <a:moveTo>
                  <a:pt x="0" y="0"/>
                </a:moveTo>
                <a:lnTo>
                  <a:pt x="0" y="896112"/>
                </a:lnTo>
                <a:lnTo>
                  <a:pt x="3744468" y="896112"/>
                </a:lnTo>
              </a:path>
            </a:pathLst>
          </a:custGeom>
          <a:noFill/>
          <a:ln w="28575">
            <a:solidFill>
              <a:srgbClr val="FFFFFF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4" name="Freeform 55">
            <a:extLst>
              <a:ext uri="{FF2B5EF4-FFF2-40B4-BE49-F238E27FC236}">
                <a16:creationId xmlns:a16="http://schemas.microsoft.com/office/drawing/2014/main" id="{4E581831-7BCB-4069-AD72-C02A5AE23DB5}"/>
              </a:ext>
            </a:extLst>
          </p:cNvPr>
          <p:cNvSpPr/>
          <p:nvPr/>
        </p:nvSpPr>
        <p:spPr>
          <a:xfrm rot="18439243">
            <a:off x="7092317" y="3885795"/>
            <a:ext cx="206814" cy="93781"/>
          </a:xfrm>
          <a:custGeom>
            <a:avLst/>
            <a:gdLst>
              <a:gd name="connsiteX0" fmla="*/ 0 w 3744468"/>
              <a:gd name="connsiteY0" fmla="*/ 0 h 896112"/>
              <a:gd name="connsiteX1" fmla="*/ 0 w 3744468"/>
              <a:gd name="connsiteY1" fmla="*/ 896112 h 896112"/>
              <a:gd name="connsiteX2" fmla="*/ 3744468 w 3744468"/>
              <a:gd name="connsiteY2" fmla="*/ 896112 h 896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44468" h="896112">
                <a:moveTo>
                  <a:pt x="0" y="0"/>
                </a:moveTo>
                <a:lnTo>
                  <a:pt x="0" y="896112"/>
                </a:lnTo>
                <a:lnTo>
                  <a:pt x="3744468" y="896112"/>
                </a:lnTo>
              </a:path>
            </a:pathLst>
          </a:custGeom>
          <a:noFill/>
          <a:ln w="28575">
            <a:solidFill>
              <a:srgbClr val="FFFFFF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1" name="Text Placeholder 41">
            <a:extLst>
              <a:ext uri="{FF2B5EF4-FFF2-40B4-BE49-F238E27FC236}">
                <a16:creationId xmlns:a16="http://schemas.microsoft.com/office/drawing/2014/main" id="{A10AD58A-6AA3-4724-A2F9-9038DC7F78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275559133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64570" cy="545464"/>
          </a:xfrm>
        </p:spPr>
        <p:txBody>
          <a:bodyPr/>
          <a:lstStyle/>
          <a:p>
            <a:r>
              <a:rPr lang="en-US" dirty="0"/>
              <a:t>Venn diagram showing intersecting groups</a:t>
            </a:r>
          </a:p>
        </p:txBody>
      </p:sp>
      <p:sp>
        <p:nvSpPr>
          <p:cNvPr id="3" name="Oval 2"/>
          <p:cNvSpPr/>
          <p:nvPr/>
        </p:nvSpPr>
        <p:spPr>
          <a:xfrm>
            <a:off x="2849167" y="2301777"/>
            <a:ext cx="1935190" cy="1935188"/>
          </a:xfrm>
          <a:prstGeom prst="ellipse">
            <a:avLst/>
          </a:prstGeom>
          <a:solidFill>
            <a:schemeClr val="accent1">
              <a:alpha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4" name="Oval 3"/>
          <p:cNvSpPr/>
          <p:nvPr/>
        </p:nvSpPr>
        <p:spPr>
          <a:xfrm>
            <a:off x="3616688" y="1106992"/>
            <a:ext cx="1935190" cy="1935188"/>
          </a:xfrm>
          <a:prstGeom prst="ellipse">
            <a:avLst/>
          </a:prstGeom>
          <a:solidFill>
            <a:schemeClr val="accent5">
              <a:alpha val="60000"/>
            </a:schemeClr>
          </a:solidFill>
          <a:ln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4380184" y="2301777"/>
            <a:ext cx="1935190" cy="1935188"/>
          </a:xfrm>
          <a:prstGeom prst="ellipse">
            <a:avLst/>
          </a:prstGeom>
          <a:solidFill>
            <a:schemeClr val="accent2">
              <a:alpha val="60000"/>
            </a:schemeClr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954708" y="3143278"/>
            <a:ext cx="1404520" cy="3262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600" dirty="0">
                <a:solidFill>
                  <a:srgbClr val="FFFFFF"/>
                </a:solidFill>
              </a:rPr>
              <a:t>Xxx X</a:t>
            </a:r>
          </a:p>
        </p:txBody>
      </p:sp>
      <p:sp>
        <p:nvSpPr>
          <p:cNvPr id="7" name="Rectangle 6"/>
          <p:cNvSpPr/>
          <p:nvPr/>
        </p:nvSpPr>
        <p:spPr>
          <a:xfrm>
            <a:off x="3882023" y="1829944"/>
            <a:ext cx="1404520" cy="3262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600" dirty="0">
                <a:solidFill>
                  <a:srgbClr val="FFFFFF"/>
                </a:solidFill>
              </a:rPr>
              <a:t>Xxx X</a:t>
            </a:r>
          </a:p>
        </p:txBody>
      </p:sp>
      <p:sp>
        <p:nvSpPr>
          <p:cNvPr id="8" name="Rectangle 7"/>
          <p:cNvSpPr/>
          <p:nvPr/>
        </p:nvSpPr>
        <p:spPr>
          <a:xfrm>
            <a:off x="4790573" y="3143278"/>
            <a:ext cx="1404520" cy="3262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600" dirty="0">
                <a:solidFill>
                  <a:srgbClr val="FFFFFF"/>
                </a:solidFill>
              </a:rPr>
              <a:t>Xxx X</a:t>
            </a:r>
          </a:p>
        </p:txBody>
      </p:sp>
      <p:sp>
        <p:nvSpPr>
          <p:cNvPr id="9" name="Rectangle 8"/>
          <p:cNvSpPr/>
          <p:nvPr/>
        </p:nvSpPr>
        <p:spPr>
          <a:xfrm>
            <a:off x="-83904" y="3025843"/>
            <a:ext cx="1980220" cy="4870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</a:pPr>
            <a:r>
              <a:rPr lang="en-US" sz="1600" dirty="0"/>
              <a:t>Xxx </a:t>
            </a:r>
            <a:r>
              <a:rPr lang="en-US" sz="1600" dirty="0" err="1"/>
              <a:t>Xxx</a:t>
            </a:r>
            <a:r>
              <a:rPr lang="en-US" sz="1600" dirty="0"/>
              <a:t> x</a:t>
            </a:r>
          </a:p>
          <a:p>
            <a:pPr algn="r">
              <a:lnSpc>
                <a:spcPct val="95000"/>
              </a:lnSpc>
            </a:pPr>
            <a:r>
              <a:rPr lang="fr-FR" sz="1100" dirty="0"/>
              <a:t>Xx </a:t>
            </a:r>
            <a:r>
              <a:rPr lang="fr-FR" sz="1100" dirty="0" err="1"/>
              <a:t>xxxxx</a:t>
            </a:r>
            <a:r>
              <a:rPr lang="fr-FR" sz="1100" dirty="0"/>
              <a:t> x </a:t>
            </a:r>
            <a:r>
              <a:rPr lang="fr-FR" sz="1100" dirty="0" err="1"/>
              <a:t>x</a:t>
            </a:r>
            <a:endParaRPr lang="en-US" sz="1100" dirty="0"/>
          </a:p>
        </p:txBody>
      </p:sp>
      <p:sp>
        <p:nvSpPr>
          <p:cNvPr id="10" name="Rectangle 9"/>
          <p:cNvSpPr/>
          <p:nvPr/>
        </p:nvSpPr>
        <p:spPr>
          <a:xfrm>
            <a:off x="321036" y="1376870"/>
            <a:ext cx="2382165" cy="4870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</a:pPr>
            <a:r>
              <a:rPr lang="en-US" sz="1600" dirty="0"/>
              <a:t>Xxx </a:t>
            </a:r>
            <a:r>
              <a:rPr lang="en-US" sz="1600" dirty="0" err="1"/>
              <a:t>Xxx</a:t>
            </a:r>
            <a:r>
              <a:rPr lang="en-US" sz="1600" dirty="0"/>
              <a:t> x</a:t>
            </a:r>
          </a:p>
          <a:p>
            <a:pPr algn="r">
              <a:lnSpc>
                <a:spcPct val="95000"/>
              </a:lnSpc>
            </a:pPr>
            <a:r>
              <a:rPr lang="fr-FR" sz="1100" dirty="0"/>
              <a:t>X </a:t>
            </a:r>
            <a:r>
              <a:rPr lang="fr-FR" sz="1100" dirty="0" err="1"/>
              <a:t>x</a:t>
            </a:r>
            <a:r>
              <a:rPr lang="fr-FR" sz="1100" dirty="0"/>
              <a:t> xxx </a:t>
            </a:r>
            <a:r>
              <a:rPr lang="fr-FR" sz="1100" dirty="0" err="1"/>
              <a:t>xxx</a:t>
            </a:r>
            <a:r>
              <a:rPr lang="fr-FR" sz="1100" dirty="0"/>
              <a:t> </a:t>
            </a:r>
            <a:r>
              <a:rPr lang="fr-FR" sz="1100" dirty="0" err="1"/>
              <a:t>xxxx</a:t>
            </a:r>
            <a:r>
              <a:rPr lang="fr-FR" sz="1100" dirty="0"/>
              <a:t> </a:t>
            </a:r>
            <a:r>
              <a:rPr lang="fr-FR" sz="1100" dirty="0" err="1"/>
              <a:t>xxxx</a:t>
            </a:r>
            <a:endParaRPr lang="en-US" sz="1100" dirty="0"/>
          </a:p>
        </p:txBody>
      </p:sp>
      <p:sp>
        <p:nvSpPr>
          <p:cNvPr id="11" name="Rectangle 10"/>
          <p:cNvSpPr/>
          <p:nvPr/>
        </p:nvSpPr>
        <p:spPr>
          <a:xfrm>
            <a:off x="7263855" y="3082405"/>
            <a:ext cx="2091746" cy="4870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5000"/>
              </a:lnSpc>
            </a:pPr>
            <a:r>
              <a:rPr lang="en-US" sz="1600" dirty="0"/>
              <a:t>Xxx </a:t>
            </a:r>
            <a:r>
              <a:rPr lang="en-US" sz="1600" dirty="0" err="1"/>
              <a:t>Xxx</a:t>
            </a:r>
            <a:r>
              <a:rPr lang="en-US" sz="1600" dirty="0"/>
              <a:t> x</a:t>
            </a:r>
          </a:p>
          <a:p>
            <a:pPr>
              <a:lnSpc>
                <a:spcPct val="95000"/>
              </a:lnSpc>
            </a:pPr>
            <a:r>
              <a:rPr lang="en-US" sz="1100" dirty="0" err="1"/>
              <a:t>Xxxxxxxx</a:t>
            </a:r>
            <a:r>
              <a:rPr lang="en-US" sz="1100" dirty="0"/>
              <a:t> x xxx xx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6540444" y="2869608"/>
            <a:ext cx="795318" cy="799524"/>
            <a:chOff x="776288" y="2444750"/>
            <a:chExt cx="600075" cy="603250"/>
          </a:xfrm>
        </p:grpSpPr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776288" y="2444750"/>
              <a:ext cx="600075" cy="6032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862013" y="2624931"/>
              <a:ext cx="430213" cy="242888"/>
              <a:chOff x="862013" y="2847975"/>
              <a:chExt cx="430213" cy="242888"/>
            </a:xfrm>
          </p:grpSpPr>
          <p:sp>
            <p:nvSpPr>
              <p:cNvPr id="25" name="Freeform 24"/>
              <p:cNvSpPr>
                <a:spLocks noEditPoints="1"/>
              </p:cNvSpPr>
              <p:nvPr/>
            </p:nvSpPr>
            <p:spPr bwMode="auto">
              <a:xfrm>
                <a:off x="957263" y="2847975"/>
                <a:ext cx="334963" cy="242888"/>
              </a:xfrm>
              <a:custGeom>
                <a:avLst/>
                <a:gdLst>
                  <a:gd name="T0" fmla="*/ 191 w 197"/>
                  <a:gd name="T1" fmla="*/ 72 h 143"/>
                  <a:gd name="T2" fmla="*/ 184 w 197"/>
                  <a:gd name="T3" fmla="*/ 72 h 143"/>
                  <a:gd name="T4" fmla="*/ 172 w 197"/>
                  <a:gd name="T5" fmla="*/ 43 h 143"/>
                  <a:gd name="T6" fmla="*/ 157 w 197"/>
                  <a:gd name="T7" fmla="*/ 31 h 143"/>
                  <a:gd name="T8" fmla="*/ 126 w 197"/>
                  <a:gd name="T9" fmla="*/ 31 h 143"/>
                  <a:gd name="T10" fmla="*/ 126 w 197"/>
                  <a:gd name="T11" fmla="*/ 2 h 143"/>
                  <a:gd name="T12" fmla="*/ 123 w 197"/>
                  <a:gd name="T13" fmla="*/ 0 h 143"/>
                  <a:gd name="T14" fmla="*/ 2 w 197"/>
                  <a:gd name="T15" fmla="*/ 0 h 143"/>
                  <a:gd name="T16" fmla="*/ 0 w 197"/>
                  <a:gd name="T17" fmla="*/ 2 h 143"/>
                  <a:gd name="T18" fmla="*/ 0 w 197"/>
                  <a:gd name="T19" fmla="*/ 122 h 143"/>
                  <a:gd name="T20" fmla="*/ 2 w 197"/>
                  <a:gd name="T21" fmla="*/ 125 h 143"/>
                  <a:gd name="T22" fmla="*/ 19 w 197"/>
                  <a:gd name="T23" fmla="*/ 125 h 143"/>
                  <a:gd name="T24" fmla="*/ 39 w 197"/>
                  <a:gd name="T25" fmla="*/ 143 h 143"/>
                  <a:gd name="T26" fmla="*/ 60 w 197"/>
                  <a:gd name="T27" fmla="*/ 125 h 143"/>
                  <a:gd name="T28" fmla="*/ 138 w 197"/>
                  <a:gd name="T29" fmla="*/ 125 h 143"/>
                  <a:gd name="T30" fmla="*/ 159 w 197"/>
                  <a:gd name="T31" fmla="*/ 143 h 143"/>
                  <a:gd name="T32" fmla="*/ 180 w 197"/>
                  <a:gd name="T33" fmla="*/ 125 h 143"/>
                  <a:gd name="T34" fmla="*/ 191 w 197"/>
                  <a:gd name="T35" fmla="*/ 125 h 143"/>
                  <a:gd name="T36" fmla="*/ 197 w 197"/>
                  <a:gd name="T37" fmla="*/ 119 h 143"/>
                  <a:gd name="T38" fmla="*/ 197 w 197"/>
                  <a:gd name="T39" fmla="*/ 78 h 143"/>
                  <a:gd name="T40" fmla="*/ 191 w 197"/>
                  <a:gd name="T41" fmla="*/ 72 h 143"/>
                  <a:gd name="T42" fmla="*/ 157 w 197"/>
                  <a:gd name="T43" fmla="*/ 36 h 143"/>
                  <a:gd name="T44" fmla="*/ 168 w 197"/>
                  <a:gd name="T45" fmla="*/ 44 h 143"/>
                  <a:gd name="T46" fmla="*/ 179 w 197"/>
                  <a:gd name="T47" fmla="*/ 72 h 143"/>
                  <a:gd name="T48" fmla="*/ 126 w 197"/>
                  <a:gd name="T49" fmla="*/ 72 h 143"/>
                  <a:gd name="T50" fmla="*/ 126 w 197"/>
                  <a:gd name="T51" fmla="*/ 36 h 143"/>
                  <a:gd name="T52" fmla="*/ 157 w 197"/>
                  <a:gd name="T53" fmla="*/ 36 h 143"/>
                  <a:gd name="T54" fmla="*/ 4 w 197"/>
                  <a:gd name="T55" fmla="*/ 4 h 143"/>
                  <a:gd name="T56" fmla="*/ 121 w 197"/>
                  <a:gd name="T57" fmla="*/ 4 h 143"/>
                  <a:gd name="T58" fmla="*/ 121 w 197"/>
                  <a:gd name="T59" fmla="*/ 120 h 143"/>
                  <a:gd name="T60" fmla="*/ 60 w 197"/>
                  <a:gd name="T61" fmla="*/ 120 h 143"/>
                  <a:gd name="T62" fmla="*/ 39 w 197"/>
                  <a:gd name="T63" fmla="*/ 101 h 143"/>
                  <a:gd name="T64" fmla="*/ 19 w 197"/>
                  <a:gd name="T65" fmla="*/ 120 h 143"/>
                  <a:gd name="T66" fmla="*/ 4 w 197"/>
                  <a:gd name="T67" fmla="*/ 120 h 143"/>
                  <a:gd name="T68" fmla="*/ 4 w 197"/>
                  <a:gd name="T69" fmla="*/ 4 h 143"/>
                  <a:gd name="T70" fmla="*/ 39 w 197"/>
                  <a:gd name="T71" fmla="*/ 139 h 143"/>
                  <a:gd name="T72" fmla="*/ 23 w 197"/>
                  <a:gd name="T73" fmla="*/ 122 h 143"/>
                  <a:gd name="T74" fmla="*/ 39 w 197"/>
                  <a:gd name="T75" fmla="*/ 106 h 143"/>
                  <a:gd name="T76" fmla="*/ 56 w 197"/>
                  <a:gd name="T77" fmla="*/ 122 h 143"/>
                  <a:gd name="T78" fmla="*/ 39 w 197"/>
                  <a:gd name="T79" fmla="*/ 139 h 143"/>
                  <a:gd name="T80" fmla="*/ 159 w 197"/>
                  <a:gd name="T81" fmla="*/ 139 h 143"/>
                  <a:gd name="T82" fmla="*/ 142 w 197"/>
                  <a:gd name="T83" fmla="*/ 122 h 143"/>
                  <a:gd name="T84" fmla="*/ 159 w 197"/>
                  <a:gd name="T85" fmla="*/ 106 h 143"/>
                  <a:gd name="T86" fmla="*/ 175 w 197"/>
                  <a:gd name="T87" fmla="*/ 122 h 143"/>
                  <a:gd name="T88" fmla="*/ 175 w 197"/>
                  <a:gd name="T89" fmla="*/ 122 h 143"/>
                  <a:gd name="T90" fmla="*/ 175 w 197"/>
                  <a:gd name="T91" fmla="*/ 123 h 143"/>
                  <a:gd name="T92" fmla="*/ 159 w 197"/>
                  <a:gd name="T93" fmla="*/ 139 h 143"/>
                  <a:gd name="T94" fmla="*/ 193 w 197"/>
                  <a:gd name="T95" fmla="*/ 119 h 143"/>
                  <a:gd name="T96" fmla="*/ 191 w 197"/>
                  <a:gd name="T97" fmla="*/ 120 h 143"/>
                  <a:gd name="T98" fmla="*/ 180 w 197"/>
                  <a:gd name="T99" fmla="*/ 120 h 143"/>
                  <a:gd name="T100" fmla="*/ 159 w 197"/>
                  <a:gd name="T101" fmla="*/ 101 h 143"/>
                  <a:gd name="T102" fmla="*/ 138 w 197"/>
                  <a:gd name="T103" fmla="*/ 120 h 143"/>
                  <a:gd name="T104" fmla="*/ 126 w 197"/>
                  <a:gd name="T105" fmla="*/ 120 h 143"/>
                  <a:gd name="T106" fmla="*/ 126 w 197"/>
                  <a:gd name="T107" fmla="*/ 77 h 143"/>
                  <a:gd name="T108" fmla="*/ 191 w 197"/>
                  <a:gd name="T109" fmla="*/ 77 h 143"/>
                  <a:gd name="T110" fmla="*/ 193 w 197"/>
                  <a:gd name="T111" fmla="*/ 78 h 143"/>
                  <a:gd name="T112" fmla="*/ 193 w 197"/>
                  <a:gd name="T113" fmla="*/ 119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97" h="143">
                    <a:moveTo>
                      <a:pt x="191" y="72"/>
                    </a:moveTo>
                    <a:cubicBezTo>
                      <a:pt x="184" y="72"/>
                      <a:pt x="184" y="72"/>
                      <a:pt x="184" y="72"/>
                    </a:cubicBezTo>
                    <a:cubicBezTo>
                      <a:pt x="181" y="65"/>
                      <a:pt x="172" y="43"/>
                      <a:pt x="172" y="43"/>
                    </a:cubicBezTo>
                    <a:cubicBezTo>
                      <a:pt x="169" y="36"/>
                      <a:pt x="163" y="31"/>
                      <a:pt x="157" y="31"/>
                    </a:cubicBezTo>
                    <a:cubicBezTo>
                      <a:pt x="126" y="31"/>
                      <a:pt x="126" y="31"/>
                      <a:pt x="126" y="31"/>
                    </a:cubicBezTo>
                    <a:cubicBezTo>
                      <a:pt x="126" y="2"/>
                      <a:pt x="126" y="2"/>
                      <a:pt x="126" y="2"/>
                    </a:cubicBezTo>
                    <a:cubicBezTo>
                      <a:pt x="126" y="1"/>
                      <a:pt x="125" y="0"/>
                      <a:pt x="12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22"/>
                      <a:pt x="0" y="122"/>
                      <a:pt x="0" y="122"/>
                    </a:cubicBezTo>
                    <a:cubicBezTo>
                      <a:pt x="0" y="123"/>
                      <a:pt x="1" y="125"/>
                      <a:pt x="2" y="125"/>
                    </a:cubicBezTo>
                    <a:cubicBezTo>
                      <a:pt x="19" y="125"/>
                      <a:pt x="19" y="125"/>
                      <a:pt x="19" y="125"/>
                    </a:cubicBezTo>
                    <a:cubicBezTo>
                      <a:pt x="20" y="135"/>
                      <a:pt x="29" y="143"/>
                      <a:pt x="39" y="143"/>
                    </a:cubicBezTo>
                    <a:cubicBezTo>
                      <a:pt x="50" y="143"/>
                      <a:pt x="59" y="135"/>
                      <a:pt x="60" y="125"/>
                    </a:cubicBezTo>
                    <a:cubicBezTo>
                      <a:pt x="138" y="125"/>
                      <a:pt x="138" y="125"/>
                      <a:pt x="138" y="125"/>
                    </a:cubicBezTo>
                    <a:cubicBezTo>
                      <a:pt x="139" y="135"/>
                      <a:pt x="148" y="143"/>
                      <a:pt x="159" y="143"/>
                    </a:cubicBezTo>
                    <a:cubicBezTo>
                      <a:pt x="170" y="143"/>
                      <a:pt x="178" y="135"/>
                      <a:pt x="180" y="125"/>
                    </a:cubicBezTo>
                    <a:cubicBezTo>
                      <a:pt x="191" y="125"/>
                      <a:pt x="191" y="125"/>
                      <a:pt x="191" y="125"/>
                    </a:cubicBezTo>
                    <a:cubicBezTo>
                      <a:pt x="195" y="125"/>
                      <a:pt x="197" y="122"/>
                      <a:pt x="197" y="119"/>
                    </a:cubicBezTo>
                    <a:cubicBezTo>
                      <a:pt x="197" y="78"/>
                      <a:pt x="197" y="78"/>
                      <a:pt x="197" y="78"/>
                    </a:cubicBezTo>
                    <a:cubicBezTo>
                      <a:pt x="197" y="75"/>
                      <a:pt x="195" y="72"/>
                      <a:pt x="191" y="72"/>
                    </a:cubicBezTo>
                    <a:close/>
                    <a:moveTo>
                      <a:pt x="157" y="36"/>
                    </a:moveTo>
                    <a:cubicBezTo>
                      <a:pt x="161" y="36"/>
                      <a:pt x="166" y="40"/>
                      <a:pt x="168" y="44"/>
                    </a:cubicBezTo>
                    <a:cubicBezTo>
                      <a:pt x="168" y="45"/>
                      <a:pt x="175" y="64"/>
                      <a:pt x="179" y="72"/>
                    </a:cubicBezTo>
                    <a:cubicBezTo>
                      <a:pt x="126" y="72"/>
                      <a:pt x="126" y="72"/>
                      <a:pt x="126" y="72"/>
                    </a:cubicBezTo>
                    <a:cubicBezTo>
                      <a:pt x="126" y="36"/>
                      <a:pt x="126" y="36"/>
                      <a:pt x="126" y="36"/>
                    </a:cubicBezTo>
                    <a:lnTo>
                      <a:pt x="157" y="36"/>
                    </a:lnTo>
                    <a:close/>
                    <a:moveTo>
                      <a:pt x="4" y="4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21" y="120"/>
                      <a:pt x="121" y="120"/>
                      <a:pt x="121" y="120"/>
                    </a:cubicBezTo>
                    <a:cubicBezTo>
                      <a:pt x="60" y="120"/>
                      <a:pt x="60" y="120"/>
                      <a:pt x="60" y="120"/>
                    </a:cubicBezTo>
                    <a:cubicBezTo>
                      <a:pt x="59" y="109"/>
                      <a:pt x="50" y="101"/>
                      <a:pt x="39" y="101"/>
                    </a:cubicBezTo>
                    <a:cubicBezTo>
                      <a:pt x="29" y="101"/>
                      <a:pt x="20" y="109"/>
                      <a:pt x="19" y="120"/>
                    </a:cubicBezTo>
                    <a:cubicBezTo>
                      <a:pt x="4" y="120"/>
                      <a:pt x="4" y="120"/>
                      <a:pt x="4" y="120"/>
                    </a:cubicBezTo>
                    <a:lnTo>
                      <a:pt x="4" y="4"/>
                    </a:lnTo>
                    <a:close/>
                    <a:moveTo>
                      <a:pt x="39" y="139"/>
                    </a:moveTo>
                    <a:cubicBezTo>
                      <a:pt x="30" y="139"/>
                      <a:pt x="23" y="131"/>
                      <a:pt x="23" y="122"/>
                    </a:cubicBezTo>
                    <a:cubicBezTo>
                      <a:pt x="23" y="113"/>
                      <a:pt x="30" y="106"/>
                      <a:pt x="39" y="106"/>
                    </a:cubicBezTo>
                    <a:cubicBezTo>
                      <a:pt x="48" y="106"/>
                      <a:pt x="56" y="113"/>
                      <a:pt x="56" y="122"/>
                    </a:cubicBezTo>
                    <a:cubicBezTo>
                      <a:pt x="56" y="131"/>
                      <a:pt x="48" y="139"/>
                      <a:pt x="39" y="139"/>
                    </a:cubicBezTo>
                    <a:close/>
                    <a:moveTo>
                      <a:pt x="159" y="139"/>
                    </a:moveTo>
                    <a:cubicBezTo>
                      <a:pt x="150" y="139"/>
                      <a:pt x="142" y="131"/>
                      <a:pt x="142" y="122"/>
                    </a:cubicBezTo>
                    <a:cubicBezTo>
                      <a:pt x="142" y="113"/>
                      <a:pt x="150" y="106"/>
                      <a:pt x="159" y="106"/>
                    </a:cubicBezTo>
                    <a:cubicBezTo>
                      <a:pt x="168" y="106"/>
                      <a:pt x="175" y="113"/>
                      <a:pt x="175" y="122"/>
                    </a:cubicBezTo>
                    <a:cubicBezTo>
                      <a:pt x="175" y="122"/>
                      <a:pt x="175" y="122"/>
                      <a:pt x="175" y="122"/>
                    </a:cubicBezTo>
                    <a:cubicBezTo>
                      <a:pt x="175" y="122"/>
                      <a:pt x="175" y="122"/>
                      <a:pt x="175" y="123"/>
                    </a:cubicBezTo>
                    <a:cubicBezTo>
                      <a:pt x="175" y="131"/>
                      <a:pt x="168" y="139"/>
                      <a:pt x="159" y="139"/>
                    </a:cubicBezTo>
                    <a:close/>
                    <a:moveTo>
                      <a:pt x="193" y="119"/>
                    </a:moveTo>
                    <a:cubicBezTo>
                      <a:pt x="193" y="119"/>
                      <a:pt x="192" y="120"/>
                      <a:pt x="191" y="120"/>
                    </a:cubicBezTo>
                    <a:cubicBezTo>
                      <a:pt x="180" y="120"/>
                      <a:pt x="180" y="120"/>
                      <a:pt x="180" y="120"/>
                    </a:cubicBezTo>
                    <a:cubicBezTo>
                      <a:pt x="178" y="109"/>
                      <a:pt x="170" y="101"/>
                      <a:pt x="159" y="101"/>
                    </a:cubicBezTo>
                    <a:cubicBezTo>
                      <a:pt x="148" y="101"/>
                      <a:pt x="139" y="109"/>
                      <a:pt x="138" y="120"/>
                    </a:cubicBezTo>
                    <a:cubicBezTo>
                      <a:pt x="126" y="120"/>
                      <a:pt x="126" y="120"/>
                      <a:pt x="126" y="120"/>
                    </a:cubicBezTo>
                    <a:cubicBezTo>
                      <a:pt x="126" y="77"/>
                      <a:pt x="126" y="77"/>
                      <a:pt x="126" y="77"/>
                    </a:cubicBezTo>
                    <a:cubicBezTo>
                      <a:pt x="191" y="77"/>
                      <a:pt x="191" y="77"/>
                      <a:pt x="191" y="77"/>
                    </a:cubicBezTo>
                    <a:cubicBezTo>
                      <a:pt x="192" y="77"/>
                      <a:pt x="193" y="77"/>
                      <a:pt x="193" y="78"/>
                    </a:cubicBezTo>
                    <a:lnTo>
                      <a:pt x="193" y="1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" name="Freeform 25"/>
              <p:cNvSpPr>
                <a:spLocks/>
              </p:cNvSpPr>
              <p:nvPr/>
            </p:nvSpPr>
            <p:spPr bwMode="auto">
              <a:xfrm>
                <a:off x="862013" y="2847975"/>
                <a:ext cx="76200" cy="7938"/>
              </a:xfrm>
              <a:custGeom>
                <a:avLst/>
                <a:gdLst>
                  <a:gd name="T0" fmla="*/ 42 w 45"/>
                  <a:gd name="T1" fmla="*/ 0 h 4"/>
                  <a:gd name="T2" fmla="*/ 3 w 45"/>
                  <a:gd name="T3" fmla="*/ 0 h 4"/>
                  <a:gd name="T4" fmla="*/ 0 w 45"/>
                  <a:gd name="T5" fmla="*/ 2 h 4"/>
                  <a:gd name="T6" fmla="*/ 3 w 45"/>
                  <a:gd name="T7" fmla="*/ 4 h 4"/>
                  <a:gd name="T8" fmla="*/ 42 w 45"/>
                  <a:gd name="T9" fmla="*/ 4 h 4"/>
                  <a:gd name="T10" fmla="*/ 45 w 45"/>
                  <a:gd name="T11" fmla="*/ 2 h 4"/>
                  <a:gd name="T12" fmla="*/ 42 w 45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" h="4">
                    <a:moveTo>
                      <a:pt x="42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3" y="4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44" y="4"/>
                      <a:pt x="45" y="3"/>
                      <a:pt x="45" y="2"/>
                    </a:cubicBezTo>
                    <a:cubicBezTo>
                      <a:pt x="45" y="1"/>
                      <a:pt x="44" y="0"/>
                      <a:pt x="4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877888" y="2886075"/>
                <a:ext cx="60325" cy="6350"/>
              </a:xfrm>
              <a:custGeom>
                <a:avLst/>
                <a:gdLst>
                  <a:gd name="T0" fmla="*/ 32 w 35"/>
                  <a:gd name="T1" fmla="*/ 0 h 4"/>
                  <a:gd name="T2" fmla="*/ 2 w 35"/>
                  <a:gd name="T3" fmla="*/ 0 h 4"/>
                  <a:gd name="T4" fmla="*/ 0 w 35"/>
                  <a:gd name="T5" fmla="*/ 2 h 4"/>
                  <a:gd name="T6" fmla="*/ 2 w 35"/>
                  <a:gd name="T7" fmla="*/ 4 h 4"/>
                  <a:gd name="T8" fmla="*/ 32 w 35"/>
                  <a:gd name="T9" fmla="*/ 4 h 4"/>
                  <a:gd name="T10" fmla="*/ 35 w 35"/>
                  <a:gd name="T11" fmla="*/ 2 h 4"/>
                  <a:gd name="T12" fmla="*/ 32 w 35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4">
                    <a:moveTo>
                      <a:pt x="3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32" y="4"/>
                      <a:pt x="32" y="4"/>
                      <a:pt x="32" y="4"/>
                    </a:cubicBezTo>
                    <a:cubicBezTo>
                      <a:pt x="34" y="4"/>
                      <a:pt x="35" y="3"/>
                      <a:pt x="35" y="2"/>
                    </a:cubicBezTo>
                    <a:cubicBezTo>
                      <a:pt x="35" y="1"/>
                      <a:pt x="34" y="0"/>
                      <a:pt x="3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895350" y="2922588"/>
                <a:ext cx="42863" cy="9525"/>
              </a:xfrm>
              <a:custGeom>
                <a:avLst/>
                <a:gdLst>
                  <a:gd name="T0" fmla="*/ 22 w 25"/>
                  <a:gd name="T1" fmla="*/ 0 h 5"/>
                  <a:gd name="T2" fmla="*/ 2 w 25"/>
                  <a:gd name="T3" fmla="*/ 0 h 5"/>
                  <a:gd name="T4" fmla="*/ 0 w 25"/>
                  <a:gd name="T5" fmla="*/ 2 h 5"/>
                  <a:gd name="T6" fmla="*/ 2 w 25"/>
                  <a:gd name="T7" fmla="*/ 5 h 5"/>
                  <a:gd name="T8" fmla="*/ 22 w 25"/>
                  <a:gd name="T9" fmla="*/ 5 h 5"/>
                  <a:gd name="T10" fmla="*/ 25 w 25"/>
                  <a:gd name="T11" fmla="*/ 2 h 5"/>
                  <a:gd name="T12" fmla="*/ 22 w 25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5">
                    <a:moveTo>
                      <a:pt x="2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5"/>
                      <a:pt x="2" y="5"/>
                    </a:cubicBezTo>
                    <a:cubicBezTo>
                      <a:pt x="22" y="5"/>
                      <a:pt x="22" y="5"/>
                      <a:pt x="22" y="5"/>
                    </a:cubicBezTo>
                    <a:cubicBezTo>
                      <a:pt x="24" y="5"/>
                      <a:pt x="25" y="3"/>
                      <a:pt x="25" y="2"/>
                    </a:cubicBezTo>
                    <a:cubicBezTo>
                      <a:pt x="25" y="1"/>
                      <a:pt x="24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29" name="Group 28"/>
          <p:cNvGrpSpPr/>
          <p:nvPr/>
        </p:nvGrpSpPr>
        <p:grpSpPr>
          <a:xfrm>
            <a:off x="2688703" y="1221687"/>
            <a:ext cx="795318" cy="797422"/>
            <a:chOff x="0" y="2445544"/>
            <a:chExt cx="600075" cy="601663"/>
          </a:xfrm>
        </p:grpSpPr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0" y="2445544"/>
              <a:ext cx="600075" cy="60166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119063" y="2594769"/>
              <a:ext cx="361950" cy="303213"/>
              <a:chOff x="119063" y="2792413"/>
              <a:chExt cx="361950" cy="303213"/>
            </a:xfrm>
          </p:grpSpPr>
          <p:sp>
            <p:nvSpPr>
              <p:cNvPr id="32" name="Freeform 31"/>
              <p:cNvSpPr>
                <a:spLocks noEditPoints="1"/>
              </p:cNvSpPr>
              <p:nvPr/>
            </p:nvSpPr>
            <p:spPr bwMode="auto">
              <a:xfrm>
                <a:off x="119063" y="2792413"/>
                <a:ext cx="361950" cy="303213"/>
              </a:xfrm>
              <a:custGeom>
                <a:avLst/>
                <a:gdLst>
                  <a:gd name="T0" fmla="*/ 212 w 214"/>
                  <a:gd name="T1" fmla="*/ 51 h 179"/>
                  <a:gd name="T2" fmla="*/ 162 w 214"/>
                  <a:gd name="T3" fmla="*/ 38 h 179"/>
                  <a:gd name="T4" fmla="*/ 163 w 214"/>
                  <a:gd name="T5" fmla="*/ 30 h 179"/>
                  <a:gd name="T6" fmla="*/ 133 w 214"/>
                  <a:gd name="T7" fmla="*/ 0 h 179"/>
                  <a:gd name="T8" fmla="*/ 103 w 214"/>
                  <a:gd name="T9" fmla="*/ 30 h 179"/>
                  <a:gd name="T10" fmla="*/ 105 w 214"/>
                  <a:gd name="T11" fmla="*/ 42 h 179"/>
                  <a:gd name="T12" fmla="*/ 72 w 214"/>
                  <a:gd name="T13" fmla="*/ 51 h 179"/>
                  <a:gd name="T14" fmla="*/ 3 w 214"/>
                  <a:gd name="T15" fmla="*/ 33 h 179"/>
                  <a:gd name="T16" fmla="*/ 1 w 214"/>
                  <a:gd name="T17" fmla="*/ 33 h 179"/>
                  <a:gd name="T18" fmla="*/ 0 w 214"/>
                  <a:gd name="T19" fmla="*/ 35 h 179"/>
                  <a:gd name="T20" fmla="*/ 0 w 214"/>
                  <a:gd name="T21" fmla="*/ 159 h 179"/>
                  <a:gd name="T22" fmla="*/ 2 w 214"/>
                  <a:gd name="T23" fmla="*/ 161 h 179"/>
                  <a:gd name="T24" fmla="*/ 72 w 214"/>
                  <a:gd name="T25" fmla="*/ 179 h 179"/>
                  <a:gd name="T26" fmla="*/ 72 w 214"/>
                  <a:gd name="T27" fmla="*/ 179 h 179"/>
                  <a:gd name="T28" fmla="*/ 72 w 214"/>
                  <a:gd name="T29" fmla="*/ 179 h 179"/>
                  <a:gd name="T30" fmla="*/ 72 w 214"/>
                  <a:gd name="T31" fmla="*/ 179 h 179"/>
                  <a:gd name="T32" fmla="*/ 73 w 214"/>
                  <a:gd name="T33" fmla="*/ 179 h 179"/>
                  <a:gd name="T34" fmla="*/ 142 w 214"/>
                  <a:gd name="T35" fmla="*/ 161 h 179"/>
                  <a:gd name="T36" fmla="*/ 211 w 214"/>
                  <a:gd name="T37" fmla="*/ 179 h 179"/>
                  <a:gd name="T38" fmla="*/ 212 w 214"/>
                  <a:gd name="T39" fmla="*/ 179 h 179"/>
                  <a:gd name="T40" fmla="*/ 213 w 214"/>
                  <a:gd name="T41" fmla="*/ 178 h 179"/>
                  <a:gd name="T42" fmla="*/ 214 w 214"/>
                  <a:gd name="T43" fmla="*/ 176 h 179"/>
                  <a:gd name="T44" fmla="*/ 214 w 214"/>
                  <a:gd name="T45" fmla="*/ 53 h 179"/>
                  <a:gd name="T46" fmla="*/ 212 w 214"/>
                  <a:gd name="T47" fmla="*/ 51 h 179"/>
                  <a:gd name="T48" fmla="*/ 133 w 214"/>
                  <a:gd name="T49" fmla="*/ 5 h 179"/>
                  <a:gd name="T50" fmla="*/ 159 w 214"/>
                  <a:gd name="T51" fmla="*/ 30 h 179"/>
                  <a:gd name="T52" fmla="*/ 157 w 214"/>
                  <a:gd name="T53" fmla="*/ 39 h 179"/>
                  <a:gd name="T54" fmla="*/ 157 w 214"/>
                  <a:gd name="T55" fmla="*/ 39 h 179"/>
                  <a:gd name="T56" fmla="*/ 157 w 214"/>
                  <a:gd name="T57" fmla="*/ 39 h 179"/>
                  <a:gd name="T58" fmla="*/ 133 w 214"/>
                  <a:gd name="T59" fmla="*/ 75 h 179"/>
                  <a:gd name="T60" fmla="*/ 108 w 214"/>
                  <a:gd name="T61" fmla="*/ 30 h 179"/>
                  <a:gd name="T62" fmla="*/ 133 w 214"/>
                  <a:gd name="T63" fmla="*/ 5 h 179"/>
                  <a:gd name="T64" fmla="*/ 5 w 214"/>
                  <a:gd name="T65" fmla="*/ 38 h 179"/>
                  <a:gd name="T66" fmla="*/ 70 w 214"/>
                  <a:gd name="T67" fmla="*/ 55 h 179"/>
                  <a:gd name="T68" fmla="*/ 70 w 214"/>
                  <a:gd name="T69" fmla="*/ 173 h 179"/>
                  <a:gd name="T70" fmla="*/ 5 w 214"/>
                  <a:gd name="T71" fmla="*/ 157 h 179"/>
                  <a:gd name="T72" fmla="*/ 5 w 214"/>
                  <a:gd name="T73" fmla="*/ 38 h 179"/>
                  <a:gd name="T74" fmla="*/ 75 w 214"/>
                  <a:gd name="T75" fmla="*/ 55 h 179"/>
                  <a:gd name="T76" fmla="*/ 107 w 214"/>
                  <a:gd name="T77" fmla="*/ 47 h 179"/>
                  <a:gd name="T78" fmla="*/ 133 w 214"/>
                  <a:gd name="T79" fmla="*/ 79 h 179"/>
                  <a:gd name="T80" fmla="*/ 140 w 214"/>
                  <a:gd name="T81" fmla="*/ 77 h 179"/>
                  <a:gd name="T82" fmla="*/ 140 w 214"/>
                  <a:gd name="T83" fmla="*/ 157 h 179"/>
                  <a:gd name="T84" fmla="*/ 75 w 214"/>
                  <a:gd name="T85" fmla="*/ 173 h 179"/>
                  <a:gd name="T86" fmla="*/ 75 w 214"/>
                  <a:gd name="T87" fmla="*/ 55 h 179"/>
                  <a:gd name="T88" fmla="*/ 209 w 214"/>
                  <a:gd name="T89" fmla="*/ 173 h 179"/>
                  <a:gd name="T90" fmla="*/ 144 w 214"/>
                  <a:gd name="T91" fmla="*/ 157 h 179"/>
                  <a:gd name="T92" fmla="*/ 144 w 214"/>
                  <a:gd name="T93" fmla="*/ 73 h 179"/>
                  <a:gd name="T94" fmla="*/ 161 w 214"/>
                  <a:gd name="T95" fmla="*/ 43 h 179"/>
                  <a:gd name="T96" fmla="*/ 209 w 214"/>
                  <a:gd name="T97" fmla="*/ 55 h 179"/>
                  <a:gd name="T98" fmla="*/ 209 w 214"/>
                  <a:gd name="T99" fmla="*/ 173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14" h="179">
                    <a:moveTo>
                      <a:pt x="212" y="51"/>
                    </a:moveTo>
                    <a:cubicBezTo>
                      <a:pt x="162" y="38"/>
                      <a:pt x="162" y="38"/>
                      <a:pt x="162" y="38"/>
                    </a:cubicBezTo>
                    <a:cubicBezTo>
                      <a:pt x="163" y="35"/>
                      <a:pt x="163" y="33"/>
                      <a:pt x="163" y="30"/>
                    </a:cubicBezTo>
                    <a:cubicBezTo>
                      <a:pt x="163" y="14"/>
                      <a:pt x="150" y="0"/>
                      <a:pt x="133" y="0"/>
                    </a:cubicBezTo>
                    <a:cubicBezTo>
                      <a:pt x="117" y="0"/>
                      <a:pt x="103" y="14"/>
                      <a:pt x="103" y="30"/>
                    </a:cubicBezTo>
                    <a:cubicBezTo>
                      <a:pt x="103" y="34"/>
                      <a:pt x="104" y="38"/>
                      <a:pt x="105" y="42"/>
                    </a:cubicBezTo>
                    <a:cubicBezTo>
                      <a:pt x="72" y="51"/>
                      <a:pt x="72" y="51"/>
                      <a:pt x="72" y="51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2" y="33"/>
                      <a:pt x="2" y="33"/>
                      <a:pt x="1" y="33"/>
                    </a:cubicBezTo>
                    <a:cubicBezTo>
                      <a:pt x="0" y="34"/>
                      <a:pt x="0" y="35"/>
                      <a:pt x="0" y="35"/>
                    </a:cubicBezTo>
                    <a:cubicBezTo>
                      <a:pt x="0" y="159"/>
                      <a:pt x="0" y="159"/>
                      <a:pt x="0" y="159"/>
                    </a:cubicBezTo>
                    <a:cubicBezTo>
                      <a:pt x="0" y="160"/>
                      <a:pt x="1" y="161"/>
                      <a:pt x="2" y="161"/>
                    </a:cubicBezTo>
                    <a:cubicBezTo>
                      <a:pt x="72" y="179"/>
                      <a:pt x="72" y="179"/>
                      <a:pt x="72" y="179"/>
                    </a:cubicBezTo>
                    <a:cubicBezTo>
                      <a:pt x="72" y="179"/>
                      <a:pt x="72" y="179"/>
                      <a:pt x="72" y="179"/>
                    </a:cubicBezTo>
                    <a:cubicBezTo>
                      <a:pt x="72" y="179"/>
                      <a:pt x="72" y="179"/>
                      <a:pt x="72" y="179"/>
                    </a:cubicBezTo>
                    <a:cubicBezTo>
                      <a:pt x="72" y="179"/>
                      <a:pt x="72" y="179"/>
                      <a:pt x="72" y="179"/>
                    </a:cubicBezTo>
                    <a:cubicBezTo>
                      <a:pt x="72" y="179"/>
                      <a:pt x="73" y="179"/>
                      <a:pt x="73" y="179"/>
                    </a:cubicBezTo>
                    <a:cubicBezTo>
                      <a:pt x="142" y="161"/>
                      <a:pt x="142" y="161"/>
                      <a:pt x="142" y="161"/>
                    </a:cubicBezTo>
                    <a:cubicBezTo>
                      <a:pt x="211" y="179"/>
                      <a:pt x="211" y="179"/>
                      <a:pt x="211" y="179"/>
                    </a:cubicBezTo>
                    <a:cubicBezTo>
                      <a:pt x="211" y="179"/>
                      <a:pt x="211" y="179"/>
                      <a:pt x="212" y="179"/>
                    </a:cubicBezTo>
                    <a:cubicBezTo>
                      <a:pt x="212" y="179"/>
                      <a:pt x="213" y="179"/>
                      <a:pt x="213" y="178"/>
                    </a:cubicBezTo>
                    <a:cubicBezTo>
                      <a:pt x="214" y="178"/>
                      <a:pt x="214" y="177"/>
                      <a:pt x="214" y="176"/>
                    </a:cubicBezTo>
                    <a:cubicBezTo>
                      <a:pt x="214" y="53"/>
                      <a:pt x="214" y="53"/>
                      <a:pt x="214" y="53"/>
                    </a:cubicBezTo>
                    <a:cubicBezTo>
                      <a:pt x="214" y="52"/>
                      <a:pt x="213" y="51"/>
                      <a:pt x="212" y="51"/>
                    </a:cubicBezTo>
                    <a:close/>
                    <a:moveTo>
                      <a:pt x="133" y="5"/>
                    </a:moveTo>
                    <a:cubicBezTo>
                      <a:pt x="147" y="5"/>
                      <a:pt x="159" y="16"/>
                      <a:pt x="159" y="30"/>
                    </a:cubicBezTo>
                    <a:cubicBezTo>
                      <a:pt x="159" y="33"/>
                      <a:pt x="158" y="36"/>
                      <a:pt x="157" y="39"/>
                    </a:cubicBezTo>
                    <a:cubicBezTo>
                      <a:pt x="157" y="39"/>
                      <a:pt x="157" y="39"/>
                      <a:pt x="157" y="39"/>
                    </a:cubicBezTo>
                    <a:cubicBezTo>
                      <a:pt x="157" y="39"/>
                      <a:pt x="157" y="39"/>
                      <a:pt x="157" y="39"/>
                    </a:cubicBezTo>
                    <a:cubicBezTo>
                      <a:pt x="153" y="55"/>
                      <a:pt x="140" y="75"/>
                      <a:pt x="133" y="75"/>
                    </a:cubicBezTo>
                    <a:cubicBezTo>
                      <a:pt x="125" y="75"/>
                      <a:pt x="108" y="45"/>
                      <a:pt x="108" y="30"/>
                    </a:cubicBezTo>
                    <a:cubicBezTo>
                      <a:pt x="108" y="16"/>
                      <a:pt x="119" y="5"/>
                      <a:pt x="133" y="5"/>
                    </a:cubicBezTo>
                    <a:close/>
                    <a:moveTo>
                      <a:pt x="5" y="38"/>
                    </a:moveTo>
                    <a:cubicBezTo>
                      <a:pt x="70" y="55"/>
                      <a:pt x="70" y="55"/>
                      <a:pt x="70" y="55"/>
                    </a:cubicBezTo>
                    <a:cubicBezTo>
                      <a:pt x="70" y="173"/>
                      <a:pt x="70" y="173"/>
                      <a:pt x="70" y="173"/>
                    </a:cubicBezTo>
                    <a:cubicBezTo>
                      <a:pt x="5" y="157"/>
                      <a:pt x="5" y="157"/>
                      <a:pt x="5" y="157"/>
                    </a:cubicBezTo>
                    <a:lnTo>
                      <a:pt x="5" y="38"/>
                    </a:lnTo>
                    <a:close/>
                    <a:moveTo>
                      <a:pt x="75" y="55"/>
                    </a:moveTo>
                    <a:cubicBezTo>
                      <a:pt x="107" y="47"/>
                      <a:pt x="107" y="47"/>
                      <a:pt x="107" y="47"/>
                    </a:cubicBezTo>
                    <a:cubicBezTo>
                      <a:pt x="112" y="62"/>
                      <a:pt x="124" y="79"/>
                      <a:pt x="133" y="79"/>
                    </a:cubicBezTo>
                    <a:cubicBezTo>
                      <a:pt x="135" y="79"/>
                      <a:pt x="137" y="79"/>
                      <a:pt x="140" y="77"/>
                    </a:cubicBezTo>
                    <a:cubicBezTo>
                      <a:pt x="140" y="157"/>
                      <a:pt x="140" y="157"/>
                      <a:pt x="140" y="157"/>
                    </a:cubicBezTo>
                    <a:cubicBezTo>
                      <a:pt x="75" y="173"/>
                      <a:pt x="75" y="173"/>
                      <a:pt x="75" y="173"/>
                    </a:cubicBezTo>
                    <a:lnTo>
                      <a:pt x="75" y="55"/>
                    </a:lnTo>
                    <a:close/>
                    <a:moveTo>
                      <a:pt x="209" y="173"/>
                    </a:moveTo>
                    <a:cubicBezTo>
                      <a:pt x="144" y="157"/>
                      <a:pt x="144" y="157"/>
                      <a:pt x="144" y="157"/>
                    </a:cubicBezTo>
                    <a:cubicBezTo>
                      <a:pt x="144" y="73"/>
                      <a:pt x="144" y="73"/>
                      <a:pt x="144" y="73"/>
                    </a:cubicBezTo>
                    <a:cubicBezTo>
                      <a:pt x="151" y="66"/>
                      <a:pt x="158" y="53"/>
                      <a:pt x="161" y="43"/>
                    </a:cubicBezTo>
                    <a:cubicBezTo>
                      <a:pt x="209" y="55"/>
                      <a:pt x="209" y="55"/>
                      <a:pt x="209" y="55"/>
                    </a:cubicBezTo>
                    <a:lnTo>
                      <a:pt x="209" y="17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auto">
              <a:xfrm>
                <a:off x="317500" y="2817813"/>
                <a:ext cx="53975" cy="52388"/>
              </a:xfrm>
              <a:custGeom>
                <a:avLst/>
                <a:gdLst>
                  <a:gd name="T0" fmla="*/ 32 w 32"/>
                  <a:gd name="T1" fmla="*/ 15 h 31"/>
                  <a:gd name="T2" fmla="*/ 16 w 32"/>
                  <a:gd name="T3" fmla="*/ 0 h 31"/>
                  <a:gd name="T4" fmla="*/ 0 w 32"/>
                  <a:gd name="T5" fmla="*/ 15 h 31"/>
                  <a:gd name="T6" fmla="*/ 16 w 32"/>
                  <a:gd name="T7" fmla="*/ 31 h 31"/>
                  <a:gd name="T8" fmla="*/ 32 w 32"/>
                  <a:gd name="T9" fmla="*/ 15 h 31"/>
                  <a:gd name="T10" fmla="*/ 5 w 32"/>
                  <a:gd name="T11" fmla="*/ 15 h 31"/>
                  <a:gd name="T12" fmla="*/ 16 w 32"/>
                  <a:gd name="T13" fmla="*/ 4 h 31"/>
                  <a:gd name="T14" fmla="*/ 27 w 32"/>
                  <a:gd name="T15" fmla="*/ 15 h 31"/>
                  <a:gd name="T16" fmla="*/ 16 w 32"/>
                  <a:gd name="T17" fmla="*/ 27 h 31"/>
                  <a:gd name="T18" fmla="*/ 5 w 32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31">
                    <a:moveTo>
                      <a:pt x="32" y="15"/>
                    </a:moveTo>
                    <a:cubicBezTo>
                      <a:pt x="32" y="7"/>
                      <a:pt x="25" y="0"/>
                      <a:pt x="16" y="0"/>
                    </a:cubicBezTo>
                    <a:cubicBezTo>
                      <a:pt x="7" y="0"/>
                      <a:pt x="0" y="7"/>
                      <a:pt x="0" y="15"/>
                    </a:cubicBezTo>
                    <a:cubicBezTo>
                      <a:pt x="0" y="24"/>
                      <a:pt x="7" y="31"/>
                      <a:pt x="16" y="31"/>
                    </a:cubicBezTo>
                    <a:cubicBezTo>
                      <a:pt x="25" y="31"/>
                      <a:pt x="32" y="24"/>
                      <a:pt x="32" y="15"/>
                    </a:cubicBezTo>
                    <a:close/>
                    <a:moveTo>
                      <a:pt x="5" y="15"/>
                    </a:moveTo>
                    <a:cubicBezTo>
                      <a:pt x="5" y="9"/>
                      <a:pt x="10" y="4"/>
                      <a:pt x="16" y="4"/>
                    </a:cubicBezTo>
                    <a:cubicBezTo>
                      <a:pt x="22" y="4"/>
                      <a:pt x="27" y="9"/>
                      <a:pt x="27" y="15"/>
                    </a:cubicBezTo>
                    <a:cubicBezTo>
                      <a:pt x="27" y="22"/>
                      <a:pt x="22" y="27"/>
                      <a:pt x="16" y="27"/>
                    </a:cubicBezTo>
                    <a:cubicBezTo>
                      <a:pt x="10" y="27"/>
                      <a:pt x="5" y="22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34" name="Group 33"/>
          <p:cNvGrpSpPr/>
          <p:nvPr/>
        </p:nvGrpSpPr>
        <p:grpSpPr>
          <a:xfrm>
            <a:off x="1903609" y="2870660"/>
            <a:ext cx="795318" cy="797422"/>
            <a:chOff x="-776288" y="2445544"/>
            <a:chExt cx="600075" cy="601663"/>
          </a:xfrm>
        </p:grpSpPr>
        <p:sp>
          <p:nvSpPr>
            <p:cNvPr id="35" name="Oval 34"/>
            <p:cNvSpPr>
              <a:spLocks noChangeArrowheads="1"/>
            </p:cNvSpPr>
            <p:nvPr/>
          </p:nvSpPr>
          <p:spPr bwMode="auto">
            <a:xfrm>
              <a:off x="-776288" y="2445544"/>
              <a:ext cx="600075" cy="60166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-606426" y="2534444"/>
              <a:ext cx="260350" cy="423863"/>
              <a:chOff x="2832100" y="2760663"/>
              <a:chExt cx="260350" cy="423863"/>
            </a:xfrm>
          </p:grpSpPr>
          <p:sp>
            <p:nvSpPr>
              <p:cNvPr id="37" name="Freeform 36"/>
              <p:cNvSpPr>
                <a:spLocks noEditPoints="1"/>
              </p:cNvSpPr>
              <p:nvPr/>
            </p:nvSpPr>
            <p:spPr bwMode="auto">
              <a:xfrm>
                <a:off x="2898775" y="3095625"/>
                <a:ext cx="123825" cy="38100"/>
              </a:xfrm>
              <a:custGeom>
                <a:avLst/>
                <a:gdLst>
                  <a:gd name="T0" fmla="*/ 62 w 73"/>
                  <a:gd name="T1" fmla="*/ 22 h 22"/>
                  <a:gd name="T2" fmla="*/ 12 w 73"/>
                  <a:gd name="T3" fmla="*/ 22 h 22"/>
                  <a:gd name="T4" fmla="*/ 0 w 73"/>
                  <a:gd name="T5" fmla="*/ 11 h 22"/>
                  <a:gd name="T6" fmla="*/ 12 w 73"/>
                  <a:gd name="T7" fmla="*/ 0 h 22"/>
                  <a:gd name="T8" fmla="*/ 62 w 73"/>
                  <a:gd name="T9" fmla="*/ 0 h 22"/>
                  <a:gd name="T10" fmla="*/ 73 w 73"/>
                  <a:gd name="T11" fmla="*/ 11 h 22"/>
                  <a:gd name="T12" fmla="*/ 62 w 73"/>
                  <a:gd name="T13" fmla="*/ 22 h 22"/>
                  <a:gd name="T14" fmla="*/ 12 w 73"/>
                  <a:gd name="T15" fmla="*/ 5 h 22"/>
                  <a:gd name="T16" fmla="*/ 5 w 73"/>
                  <a:gd name="T17" fmla="*/ 11 h 22"/>
                  <a:gd name="T18" fmla="*/ 12 w 73"/>
                  <a:gd name="T19" fmla="*/ 18 h 22"/>
                  <a:gd name="T20" fmla="*/ 62 w 73"/>
                  <a:gd name="T21" fmla="*/ 18 h 22"/>
                  <a:gd name="T22" fmla="*/ 69 w 73"/>
                  <a:gd name="T23" fmla="*/ 11 h 22"/>
                  <a:gd name="T24" fmla="*/ 62 w 73"/>
                  <a:gd name="T25" fmla="*/ 5 h 22"/>
                  <a:gd name="T26" fmla="*/ 12 w 73"/>
                  <a:gd name="T27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3" h="22">
                    <a:moveTo>
                      <a:pt x="62" y="22"/>
                    </a:moveTo>
                    <a:cubicBezTo>
                      <a:pt x="12" y="22"/>
                      <a:pt x="12" y="22"/>
                      <a:pt x="12" y="22"/>
                    </a:cubicBezTo>
                    <a:cubicBezTo>
                      <a:pt x="6" y="22"/>
                      <a:pt x="0" y="17"/>
                      <a:pt x="0" y="11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8" y="0"/>
                      <a:pt x="73" y="5"/>
                      <a:pt x="73" y="11"/>
                    </a:cubicBezTo>
                    <a:cubicBezTo>
                      <a:pt x="73" y="17"/>
                      <a:pt x="68" y="22"/>
                      <a:pt x="62" y="22"/>
                    </a:cubicBezTo>
                    <a:close/>
                    <a:moveTo>
                      <a:pt x="12" y="5"/>
                    </a:moveTo>
                    <a:cubicBezTo>
                      <a:pt x="8" y="5"/>
                      <a:pt x="5" y="7"/>
                      <a:pt x="5" y="11"/>
                    </a:cubicBezTo>
                    <a:cubicBezTo>
                      <a:pt x="5" y="15"/>
                      <a:pt x="8" y="18"/>
                      <a:pt x="12" y="18"/>
                    </a:cubicBezTo>
                    <a:cubicBezTo>
                      <a:pt x="62" y="18"/>
                      <a:pt x="62" y="18"/>
                      <a:pt x="62" y="18"/>
                    </a:cubicBezTo>
                    <a:cubicBezTo>
                      <a:pt x="66" y="18"/>
                      <a:pt x="69" y="15"/>
                      <a:pt x="69" y="11"/>
                    </a:cubicBezTo>
                    <a:cubicBezTo>
                      <a:pt x="69" y="7"/>
                      <a:pt x="66" y="5"/>
                      <a:pt x="62" y="5"/>
                    </a:cubicBezTo>
                    <a:lnTo>
                      <a:pt x="12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8" name="Freeform 37"/>
              <p:cNvSpPr>
                <a:spLocks noEditPoints="1"/>
              </p:cNvSpPr>
              <p:nvPr/>
            </p:nvSpPr>
            <p:spPr bwMode="auto">
              <a:xfrm>
                <a:off x="2898775" y="3127375"/>
                <a:ext cx="123825" cy="36513"/>
              </a:xfrm>
              <a:custGeom>
                <a:avLst/>
                <a:gdLst>
                  <a:gd name="T0" fmla="*/ 62 w 73"/>
                  <a:gd name="T1" fmla="*/ 22 h 22"/>
                  <a:gd name="T2" fmla="*/ 12 w 73"/>
                  <a:gd name="T3" fmla="*/ 22 h 22"/>
                  <a:gd name="T4" fmla="*/ 0 w 73"/>
                  <a:gd name="T5" fmla="*/ 11 h 22"/>
                  <a:gd name="T6" fmla="*/ 12 w 73"/>
                  <a:gd name="T7" fmla="*/ 0 h 22"/>
                  <a:gd name="T8" fmla="*/ 62 w 73"/>
                  <a:gd name="T9" fmla="*/ 0 h 22"/>
                  <a:gd name="T10" fmla="*/ 73 w 73"/>
                  <a:gd name="T11" fmla="*/ 11 h 22"/>
                  <a:gd name="T12" fmla="*/ 62 w 73"/>
                  <a:gd name="T13" fmla="*/ 22 h 22"/>
                  <a:gd name="T14" fmla="*/ 12 w 73"/>
                  <a:gd name="T15" fmla="*/ 4 h 22"/>
                  <a:gd name="T16" fmla="*/ 5 w 73"/>
                  <a:gd name="T17" fmla="*/ 11 h 22"/>
                  <a:gd name="T18" fmla="*/ 12 w 73"/>
                  <a:gd name="T19" fmla="*/ 18 h 22"/>
                  <a:gd name="T20" fmla="*/ 62 w 73"/>
                  <a:gd name="T21" fmla="*/ 18 h 22"/>
                  <a:gd name="T22" fmla="*/ 69 w 73"/>
                  <a:gd name="T23" fmla="*/ 11 h 22"/>
                  <a:gd name="T24" fmla="*/ 62 w 73"/>
                  <a:gd name="T25" fmla="*/ 4 h 22"/>
                  <a:gd name="T26" fmla="*/ 12 w 73"/>
                  <a:gd name="T27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3" h="22">
                    <a:moveTo>
                      <a:pt x="62" y="22"/>
                    </a:moveTo>
                    <a:cubicBezTo>
                      <a:pt x="12" y="22"/>
                      <a:pt x="12" y="22"/>
                      <a:pt x="12" y="22"/>
                    </a:cubicBezTo>
                    <a:cubicBezTo>
                      <a:pt x="6" y="22"/>
                      <a:pt x="0" y="17"/>
                      <a:pt x="0" y="11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8" y="0"/>
                      <a:pt x="73" y="5"/>
                      <a:pt x="73" y="11"/>
                    </a:cubicBezTo>
                    <a:cubicBezTo>
                      <a:pt x="73" y="17"/>
                      <a:pt x="68" y="22"/>
                      <a:pt x="62" y="22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5" y="7"/>
                      <a:pt x="5" y="11"/>
                    </a:cubicBezTo>
                    <a:cubicBezTo>
                      <a:pt x="5" y="15"/>
                      <a:pt x="8" y="18"/>
                      <a:pt x="12" y="18"/>
                    </a:cubicBezTo>
                    <a:cubicBezTo>
                      <a:pt x="62" y="18"/>
                      <a:pt x="62" y="18"/>
                      <a:pt x="62" y="18"/>
                    </a:cubicBezTo>
                    <a:cubicBezTo>
                      <a:pt x="66" y="18"/>
                      <a:pt x="69" y="15"/>
                      <a:pt x="69" y="11"/>
                    </a:cubicBezTo>
                    <a:cubicBezTo>
                      <a:pt x="69" y="7"/>
                      <a:pt x="66" y="4"/>
                      <a:pt x="62" y="4"/>
                    </a:cubicBezTo>
                    <a:lnTo>
                      <a:pt x="12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9" name="Freeform 38"/>
              <p:cNvSpPr>
                <a:spLocks/>
              </p:cNvSpPr>
              <p:nvPr/>
            </p:nvSpPr>
            <p:spPr bwMode="auto">
              <a:xfrm>
                <a:off x="2921000" y="3157538"/>
                <a:ext cx="80963" cy="26988"/>
              </a:xfrm>
              <a:custGeom>
                <a:avLst/>
                <a:gdLst>
                  <a:gd name="T0" fmla="*/ 24 w 48"/>
                  <a:gd name="T1" fmla="*/ 16 h 16"/>
                  <a:gd name="T2" fmla="*/ 0 w 48"/>
                  <a:gd name="T3" fmla="*/ 2 h 16"/>
                  <a:gd name="T4" fmla="*/ 2 w 48"/>
                  <a:gd name="T5" fmla="*/ 0 h 16"/>
                  <a:gd name="T6" fmla="*/ 4 w 48"/>
                  <a:gd name="T7" fmla="*/ 2 h 16"/>
                  <a:gd name="T8" fmla="*/ 24 w 48"/>
                  <a:gd name="T9" fmla="*/ 11 h 16"/>
                  <a:gd name="T10" fmla="*/ 43 w 48"/>
                  <a:gd name="T11" fmla="*/ 2 h 16"/>
                  <a:gd name="T12" fmla="*/ 46 w 48"/>
                  <a:gd name="T13" fmla="*/ 0 h 16"/>
                  <a:gd name="T14" fmla="*/ 48 w 48"/>
                  <a:gd name="T15" fmla="*/ 2 h 16"/>
                  <a:gd name="T16" fmla="*/ 24 w 48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16">
                    <a:moveTo>
                      <a:pt x="24" y="16"/>
                    </a:moveTo>
                    <a:cubicBezTo>
                      <a:pt x="10" y="16"/>
                      <a:pt x="0" y="10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4" y="6"/>
                      <a:pt x="12" y="11"/>
                      <a:pt x="24" y="11"/>
                    </a:cubicBezTo>
                    <a:cubicBezTo>
                      <a:pt x="35" y="11"/>
                      <a:pt x="43" y="6"/>
                      <a:pt x="43" y="2"/>
                    </a:cubicBezTo>
                    <a:cubicBezTo>
                      <a:pt x="43" y="1"/>
                      <a:pt x="44" y="0"/>
                      <a:pt x="46" y="0"/>
                    </a:cubicBezTo>
                    <a:cubicBezTo>
                      <a:pt x="47" y="0"/>
                      <a:pt x="48" y="1"/>
                      <a:pt x="48" y="2"/>
                    </a:cubicBezTo>
                    <a:cubicBezTo>
                      <a:pt x="48" y="10"/>
                      <a:pt x="37" y="16"/>
                      <a:pt x="24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0" name="Freeform 39"/>
              <p:cNvSpPr>
                <a:spLocks noEditPoints="1"/>
              </p:cNvSpPr>
              <p:nvPr/>
            </p:nvSpPr>
            <p:spPr bwMode="auto">
              <a:xfrm>
                <a:off x="2832100" y="2760663"/>
                <a:ext cx="260350" cy="314325"/>
              </a:xfrm>
              <a:custGeom>
                <a:avLst/>
                <a:gdLst>
                  <a:gd name="T0" fmla="*/ 101 w 154"/>
                  <a:gd name="T1" fmla="*/ 185 h 185"/>
                  <a:gd name="T2" fmla="*/ 53 w 154"/>
                  <a:gd name="T3" fmla="*/ 185 h 185"/>
                  <a:gd name="T4" fmla="*/ 32 w 154"/>
                  <a:gd name="T5" fmla="*/ 164 h 185"/>
                  <a:gd name="T6" fmla="*/ 32 w 154"/>
                  <a:gd name="T7" fmla="*/ 149 h 185"/>
                  <a:gd name="T8" fmla="*/ 22 w 154"/>
                  <a:gd name="T9" fmla="*/ 130 h 185"/>
                  <a:gd name="T10" fmla="*/ 0 w 154"/>
                  <a:gd name="T11" fmla="*/ 77 h 185"/>
                  <a:gd name="T12" fmla="*/ 77 w 154"/>
                  <a:gd name="T13" fmla="*/ 0 h 185"/>
                  <a:gd name="T14" fmla="*/ 154 w 154"/>
                  <a:gd name="T15" fmla="*/ 77 h 185"/>
                  <a:gd name="T16" fmla="*/ 132 w 154"/>
                  <a:gd name="T17" fmla="*/ 130 h 185"/>
                  <a:gd name="T18" fmla="*/ 122 w 154"/>
                  <a:gd name="T19" fmla="*/ 149 h 185"/>
                  <a:gd name="T20" fmla="*/ 122 w 154"/>
                  <a:gd name="T21" fmla="*/ 164 h 185"/>
                  <a:gd name="T22" fmla="*/ 101 w 154"/>
                  <a:gd name="T23" fmla="*/ 185 h 185"/>
                  <a:gd name="T24" fmla="*/ 77 w 154"/>
                  <a:gd name="T25" fmla="*/ 5 h 185"/>
                  <a:gd name="T26" fmla="*/ 5 w 154"/>
                  <a:gd name="T27" fmla="*/ 77 h 185"/>
                  <a:gd name="T28" fmla="*/ 25 w 154"/>
                  <a:gd name="T29" fmla="*/ 127 h 185"/>
                  <a:gd name="T30" fmla="*/ 36 w 154"/>
                  <a:gd name="T31" fmla="*/ 149 h 185"/>
                  <a:gd name="T32" fmla="*/ 36 w 154"/>
                  <a:gd name="T33" fmla="*/ 164 h 185"/>
                  <a:gd name="T34" fmla="*/ 53 w 154"/>
                  <a:gd name="T35" fmla="*/ 180 h 185"/>
                  <a:gd name="T36" fmla="*/ 101 w 154"/>
                  <a:gd name="T37" fmla="*/ 180 h 185"/>
                  <a:gd name="T38" fmla="*/ 117 w 154"/>
                  <a:gd name="T39" fmla="*/ 164 h 185"/>
                  <a:gd name="T40" fmla="*/ 117 w 154"/>
                  <a:gd name="T41" fmla="*/ 149 h 185"/>
                  <a:gd name="T42" fmla="*/ 129 w 154"/>
                  <a:gd name="T43" fmla="*/ 127 h 185"/>
                  <a:gd name="T44" fmla="*/ 149 w 154"/>
                  <a:gd name="T45" fmla="*/ 77 h 185"/>
                  <a:gd name="T46" fmla="*/ 77 w 154"/>
                  <a:gd name="T47" fmla="*/ 5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54" h="185">
                    <a:moveTo>
                      <a:pt x="101" y="185"/>
                    </a:moveTo>
                    <a:cubicBezTo>
                      <a:pt x="53" y="185"/>
                      <a:pt x="53" y="185"/>
                      <a:pt x="53" y="185"/>
                    </a:cubicBezTo>
                    <a:cubicBezTo>
                      <a:pt x="41" y="185"/>
                      <a:pt x="32" y="175"/>
                      <a:pt x="32" y="164"/>
                    </a:cubicBezTo>
                    <a:cubicBezTo>
                      <a:pt x="32" y="149"/>
                      <a:pt x="32" y="149"/>
                      <a:pt x="32" y="149"/>
                    </a:cubicBezTo>
                    <a:cubicBezTo>
                      <a:pt x="32" y="141"/>
                      <a:pt x="28" y="137"/>
                      <a:pt x="22" y="130"/>
                    </a:cubicBezTo>
                    <a:cubicBezTo>
                      <a:pt x="8" y="117"/>
                      <a:pt x="0" y="97"/>
                      <a:pt x="0" y="77"/>
                    </a:cubicBezTo>
                    <a:cubicBezTo>
                      <a:pt x="0" y="34"/>
                      <a:pt x="34" y="0"/>
                      <a:pt x="77" y="0"/>
                    </a:cubicBezTo>
                    <a:cubicBezTo>
                      <a:pt x="119" y="0"/>
                      <a:pt x="154" y="34"/>
                      <a:pt x="154" y="77"/>
                    </a:cubicBezTo>
                    <a:cubicBezTo>
                      <a:pt x="154" y="97"/>
                      <a:pt x="146" y="117"/>
                      <a:pt x="132" y="130"/>
                    </a:cubicBezTo>
                    <a:cubicBezTo>
                      <a:pt x="125" y="137"/>
                      <a:pt x="122" y="141"/>
                      <a:pt x="122" y="149"/>
                    </a:cubicBezTo>
                    <a:cubicBezTo>
                      <a:pt x="122" y="164"/>
                      <a:pt x="122" y="164"/>
                      <a:pt x="122" y="164"/>
                    </a:cubicBezTo>
                    <a:cubicBezTo>
                      <a:pt x="122" y="175"/>
                      <a:pt x="113" y="185"/>
                      <a:pt x="101" y="185"/>
                    </a:cubicBezTo>
                    <a:close/>
                    <a:moveTo>
                      <a:pt x="77" y="5"/>
                    </a:moveTo>
                    <a:cubicBezTo>
                      <a:pt x="37" y="5"/>
                      <a:pt x="5" y="37"/>
                      <a:pt x="5" y="77"/>
                    </a:cubicBezTo>
                    <a:cubicBezTo>
                      <a:pt x="5" y="96"/>
                      <a:pt x="12" y="114"/>
                      <a:pt x="25" y="127"/>
                    </a:cubicBezTo>
                    <a:cubicBezTo>
                      <a:pt x="32" y="134"/>
                      <a:pt x="36" y="140"/>
                      <a:pt x="36" y="149"/>
                    </a:cubicBezTo>
                    <a:cubicBezTo>
                      <a:pt x="36" y="164"/>
                      <a:pt x="36" y="164"/>
                      <a:pt x="36" y="164"/>
                    </a:cubicBezTo>
                    <a:cubicBezTo>
                      <a:pt x="36" y="173"/>
                      <a:pt x="44" y="180"/>
                      <a:pt x="53" y="180"/>
                    </a:cubicBezTo>
                    <a:cubicBezTo>
                      <a:pt x="101" y="180"/>
                      <a:pt x="101" y="180"/>
                      <a:pt x="101" y="180"/>
                    </a:cubicBezTo>
                    <a:cubicBezTo>
                      <a:pt x="110" y="180"/>
                      <a:pt x="117" y="173"/>
                      <a:pt x="117" y="164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7" y="140"/>
                      <a:pt x="122" y="134"/>
                      <a:pt x="129" y="127"/>
                    </a:cubicBezTo>
                    <a:cubicBezTo>
                      <a:pt x="142" y="114"/>
                      <a:pt x="149" y="96"/>
                      <a:pt x="149" y="77"/>
                    </a:cubicBezTo>
                    <a:cubicBezTo>
                      <a:pt x="149" y="37"/>
                      <a:pt x="117" y="5"/>
                      <a:pt x="77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1" name="Freeform 40"/>
              <p:cNvSpPr>
                <a:spLocks noEditPoints="1"/>
              </p:cNvSpPr>
              <p:nvPr/>
            </p:nvSpPr>
            <p:spPr bwMode="auto">
              <a:xfrm>
                <a:off x="2898775" y="3065463"/>
                <a:ext cx="123825" cy="39688"/>
              </a:xfrm>
              <a:custGeom>
                <a:avLst/>
                <a:gdLst>
                  <a:gd name="T0" fmla="*/ 62 w 73"/>
                  <a:gd name="T1" fmla="*/ 23 h 23"/>
                  <a:gd name="T2" fmla="*/ 12 w 73"/>
                  <a:gd name="T3" fmla="*/ 23 h 23"/>
                  <a:gd name="T4" fmla="*/ 0 w 73"/>
                  <a:gd name="T5" fmla="*/ 11 h 23"/>
                  <a:gd name="T6" fmla="*/ 12 w 73"/>
                  <a:gd name="T7" fmla="*/ 0 h 23"/>
                  <a:gd name="T8" fmla="*/ 62 w 73"/>
                  <a:gd name="T9" fmla="*/ 0 h 23"/>
                  <a:gd name="T10" fmla="*/ 73 w 73"/>
                  <a:gd name="T11" fmla="*/ 11 h 23"/>
                  <a:gd name="T12" fmla="*/ 62 w 73"/>
                  <a:gd name="T13" fmla="*/ 23 h 23"/>
                  <a:gd name="T14" fmla="*/ 12 w 73"/>
                  <a:gd name="T15" fmla="*/ 5 h 23"/>
                  <a:gd name="T16" fmla="*/ 5 w 73"/>
                  <a:gd name="T17" fmla="*/ 11 h 23"/>
                  <a:gd name="T18" fmla="*/ 12 w 73"/>
                  <a:gd name="T19" fmla="*/ 18 h 23"/>
                  <a:gd name="T20" fmla="*/ 62 w 73"/>
                  <a:gd name="T21" fmla="*/ 18 h 23"/>
                  <a:gd name="T22" fmla="*/ 69 w 73"/>
                  <a:gd name="T23" fmla="*/ 11 h 23"/>
                  <a:gd name="T24" fmla="*/ 62 w 73"/>
                  <a:gd name="T25" fmla="*/ 5 h 23"/>
                  <a:gd name="T26" fmla="*/ 12 w 73"/>
                  <a:gd name="T27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3" h="23">
                    <a:moveTo>
                      <a:pt x="62" y="23"/>
                    </a:moveTo>
                    <a:cubicBezTo>
                      <a:pt x="12" y="23"/>
                      <a:pt x="12" y="23"/>
                      <a:pt x="12" y="23"/>
                    </a:cubicBezTo>
                    <a:cubicBezTo>
                      <a:pt x="6" y="23"/>
                      <a:pt x="0" y="17"/>
                      <a:pt x="0" y="11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8" y="0"/>
                      <a:pt x="73" y="5"/>
                      <a:pt x="73" y="11"/>
                    </a:cubicBezTo>
                    <a:cubicBezTo>
                      <a:pt x="73" y="17"/>
                      <a:pt x="68" y="23"/>
                      <a:pt x="62" y="23"/>
                    </a:cubicBezTo>
                    <a:close/>
                    <a:moveTo>
                      <a:pt x="12" y="5"/>
                    </a:moveTo>
                    <a:cubicBezTo>
                      <a:pt x="8" y="5"/>
                      <a:pt x="5" y="8"/>
                      <a:pt x="5" y="11"/>
                    </a:cubicBezTo>
                    <a:cubicBezTo>
                      <a:pt x="5" y="15"/>
                      <a:pt x="8" y="18"/>
                      <a:pt x="12" y="18"/>
                    </a:cubicBezTo>
                    <a:cubicBezTo>
                      <a:pt x="62" y="18"/>
                      <a:pt x="62" y="18"/>
                      <a:pt x="62" y="18"/>
                    </a:cubicBezTo>
                    <a:cubicBezTo>
                      <a:pt x="66" y="18"/>
                      <a:pt x="69" y="15"/>
                      <a:pt x="69" y="11"/>
                    </a:cubicBezTo>
                    <a:cubicBezTo>
                      <a:pt x="69" y="8"/>
                      <a:pt x="66" y="5"/>
                      <a:pt x="62" y="5"/>
                    </a:cubicBezTo>
                    <a:lnTo>
                      <a:pt x="12" y="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cxnSp>
        <p:nvCxnSpPr>
          <p:cNvPr id="43" name="Straight Connector 42"/>
          <p:cNvCxnSpPr>
            <a:stCxn id="5" idx="6"/>
            <a:endCxn id="23" idx="2"/>
          </p:cNvCxnSpPr>
          <p:nvPr/>
        </p:nvCxnSpPr>
        <p:spPr>
          <a:xfrm>
            <a:off x="6315374" y="3269370"/>
            <a:ext cx="22507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stCxn id="35" idx="6"/>
            <a:endCxn id="3" idx="2"/>
          </p:cNvCxnSpPr>
          <p:nvPr/>
        </p:nvCxnSpPr>
        <p:spPr>
          <a:xfrm>
            <a:off x="2698928" y="3269370"/>
            <a:ext cx="150239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3459285" y="1723101"/>
            <a:ext cx="197684" cy="72008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A6A54073-0790-44F5-A748-EB934F11E6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51214587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90449" cy="545464"/>
          </a:xfrm>
        </p:spPr>
        <p:txBody>
          <a:bodyPr/>
          <a:lstStyle/>
          <a:p>
            <a:r>
              <a:rPr lang="en-US" dirty="0"/>
              <a:t>Venn diagram showing intersecting groups</a:t>
            </a:r>
          </a:p>
        </p:txBody>
      </p:sp>
      <p:sp>
        <p:nvSpPr>
          <p:cNvPr id="3" name="Oval 2"/>
          <p:cNvSpPr/>
          <p:nvPr/>
        </p:nvSpPr>
        <p:spPr>
          <a:xfrm>
            <a:off x="2944219" y="1491631"/>
            <a:ext cx="1935190" cy="1935188"/>
          </a:xfrm>
          <a:prstGeom prst="ellipse">
            <a:avLst/>
          </a:prstGeom>
          <a:solidFill>
            <a:schemeClr val="accent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4" name="Oval 3"/>
          <p:cNvSpPr/>
          <p:nvPr/>
        </p:nvSpPr>
        <p:spPr>
          <a:xfrm>
            <a:off x="4323037" y="1491631"/>
            <a:ext cx="1935190" cy="1935188"/>
          </a:xfrm>
          <a:prstGeom prst="ellipse">
            <a:avLst/>
          </a:prstGeom>
          <a:solidFill>
            <a:schemeClr val="tx2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82092" y="1707136"/>
            <a:ext cx="1485234" cy="3262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600" dirty="0">
                <a:solidFill>
                  <a:srgbClr val="FFFFFF"/>
                </a:solidFill>
              </a:rPr>
              <a:t>Xxx X</a:t>
            </a:r>
          </a:p>
        </p:txBody>
      </p:sp>
      <p:sp>
        <p:nvSpPr>
          <p:cNvPr id="7" name="Rectangle 6"/>
          <p:cNvSpPr/>
          <p:nvPr/>
        </p:nvSpPr>
        <p:spPr>
          <a:xfrm>
            <a:off x="4718478" y="1707136"/>
            <a:ext cx="1495962" cy="3262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600" dirty="0">
                <a:solidFill>
                  <a:srgbClr val="FFFFFF"/>
                </a:solidFill>
              </a:rPr>
              <a:t>Xxx X</a:t>
            </a:r>
          </a:p>
        </p:txBody>
      </p:sp>
      <p:sp>
        <p:nvSpPr>
          <p:cNvPr id="9" name="Rectangle 8"/>
          <p:cNvSpPr/>
          <p:nvPr/>
        </p:nvSpPr>
        <p:spPr>
          <a:xfrm>
            <a:off x="476506" y="1733256"/>
            <a:ext cx="2286000" cy="1451936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algn="r">
              <a:lnSpc>
                <a:spcPct val="95000"/>
              </a:lnSpc>
            </a:pPr>
            <a:r>
              <a:rPr lang="en-US" sz="1600" dirty="0"/>
              <a:t>Group A</a:t>
            </a:r>
          </a:p>
          <a:p>
            <a:pPr algn="r">
              <a:lnSpc>
                <a:spcPct val="95000"/>
              </a:lnSpc>
            </a:pPr>
            <a:r>
              <a:rPr lang="fr-FR" sz="1100" dirty="0" err="1"/>
              <a:t>Xxxxx</a:t>
            </a:r>
            <a:r>
              <a:rPr lang="fr-FR" sz="1100" dirty="0"/>
              <a:t> </a:t>
            </a:r>
            <a:r>
              <a:rPr lang="fr-FR" sz="1100" dirty="0" err="1"/>
              <a:t>xxxxx</a:t>
            </a:r>
            <a:r>
              <a:rPr lang="fr-FR" sz="1100" dirty="0"/>
              <a:t> </a:t>
            </a:r>
            <a:r>
              <a:rPr lang="fr-FR" sz="1100" dirty="0" err="1"/>
              <a:t>xxxxxx</a:t>
            </a:r>
            <a:r>
              <a:rPr lang="fr-FR" sz="1100" dirty="0"/>
              <a:t> xxx xx </a:t>
            </a:r>
            <a:r>
              <a:rPr lang="fr-FR" sz="1100" dirty="0" err="1"/>
              <a:t>xxxxxxxx</a:t>
            </a:r>
            <a:r>
              <a:rPr lang="fr-FR" sz="1100" dirty="0"/>
              <a:t> </a:t>
            </a:r>
            <a:r>
              <a:rPr lang="fr-FR" sz="1100" dirty="0" err="1"/>
              <a:t>xxxxxx</a:t>
            </a:r>
            <a:r>
              <a:rPr lang="fr-FR" sz="1100" dirty="0"/>
              <a:t> x xx </a:t>
            </a:r>
            <a:r>
              <a:rPr lang="fr-FR" sz="1100" dirty="0" err="1"/>
              <a:t>Xxxx</a:t>
            </a:r>
            <a:r>
              <a:rPr lang="fr-FR" sz="1100" dirty="0"/>
              <a:t> x </a:t>
            </a:r>
            <a:r>
              <a:rPr lang="fr-FR" sz="1100" dirty="0" err="1"/>
              <a:t>xxxxxx</a:t>
            </a:r>
            <a:r>
              <a:rPr lang="fr-FR" sz="1100" dirty="0"/>
              <a:t> xxx x xxx </a:t>
            </a:r>
            <a:r>
              <a:rPr lang="fr-FR" sz="1100" dirty="0" err="1"/>
              <a:t>Xxx</a:t>
            </a:r>
            <a:r>
              <a:rPr lang="fr-FR" sz="1100" dirty="0"/>
              <a:t> x </a:t>
            </a:r>
            <a:r>
              <a:rPr lang="fr-FR" sz="1100" dirty="0" err="1"/>
              <a:t>xxxxxx</a:t>
            </a:r>
            <a:r>
              <a:rPr lang="fr-FR" sz="1100" dirty="0"/>
              <a:t> </a:t>
            </a:r>
            <a:r>
              <a:rPr lang="fr-FR" sz="1100" dirty="0" err="1"/>
              <a:t>xxxxxx</a:t>
            </a:r>
            <a:r>
              <a:rPr lang="fr-FR" sz="1100" dirty="0"/>
              <a:t> </a:t>
            </a:r>
            <a:r>
              <a:rPr lang="fr-FR" sz="1100" dirty="0" err="1"/>
              <a:t>xxxxxxxx</a:t>
            </a:r>
            <a:r>
              <a:rPr lang="fr-FR" sz="1100" dirty="0"/>
              <a:t> </a:t>
            </a:r>
            <a:r>
              <a:rPr lang="fr-FR" sz="1100" dirty="0" err="1"/>
              <a:t>Xxxxx</a:t>
            </a:r>
            <a:r>
              <a:rPr lang="fr-FR" sz="1100" dirty="0"/>
              <a:t> </a:t>
            </a:r>
            <a:r>
              <a:rPr lang="fr-FR" sz="1100" dirty="0" err="1"/>
              <a:t>xxxx</a:t>
            </a:r>
            <a:r>
              <a:rPr lang="fr-FR" sz="1100" dirty="0"/>
              <a:t> </a:t>
            </a:r>
            <a:r>
              <a:rPr lang="fr-FR" sz="1100" dirty="0" err="1"/>
              <a:t>xxxx</a:t>
            </a:r>
            <a:r>
              <a:rPr lang="fr-FR" sz="1100" dirty="0"/>
              <a:t> xx </a:t>
            </a:r>
            <a:r>
              <a:rPr lang="fr-FR" sz="1100" dirty="0" err="1"/>
              <a:t>Xx</a:t>
            </a:r>
            <a:r>
              <a:rPr lang="fr-FR" sz="1100" dirty="0"/>
              <a:t> xxx </a:t>
            </a:r>
            <a:r>
              <a:rPr lang="fr-FR" sz="1100" dirty="0" err="1"/>
              <a:t>xxxxxxxxxxxx</a:t>
            </a:r>
            <a:r>
              <a:rPr lang="fr-FR" sz="1100" dirty="0"/>
              <a:t> xx </a:t>
            </a:r>
            <a:r>
              <a:rPr lang="fr-FR" sz="1100" dirty="0" err="1"/>
              <a:t>xxxxxx</a:t>
            </a:r>
            <a:r>
              <a:rPr lang="fr-FR" sz="1100" dirty="0"/>
              <a:t> Xxx </a:t>
            </a:r>
            <a:r>
              <a:rPr lang="fr-FR" sz="1100" dirty="0" err="1"/>
              <a:t>xxxx</a:t>
            </a:r>
            <a:r>
              <a:rPr lang="fr-FR" sz="1100" dirty="0"/>
              <a:t> </a:t>
            </a:r>
            <a:r>
              <a:rPr lang="fr-FR" sz="1100" dirty="0" err="1"/>
              <a:t>xxxxx</a:t>
            </a:r>
            <a:r>
              <a:rPr lang="fr-FR" sz="1100" dirty="0"/>
              <a:t> xxx </a:t>
            </a:r>
            <a:r>
              <a:rPr lang="fr-FR" sz="1100" dirty="0" err="1"/>
              <a:t>xxxxxxxxxx</a:t>
            </a:r>
            <a:r>
              <a:rPr lang="fr-FR" sz="1100" dirty="0"/>
              <a:t> x </a:t>
            </a:r>
            <a:r>
              <a:rPr lang="fr-FR" sz="1100" dirty="0" err="1"/>
              <a:t>xxxx</a:t>
            </a:r>
            <a:r>
              <a:rPr lang="fr-FR" sz="1100" dirty="0"/>
              <a:t> </a:t>
            </a:r>
            <a:endParaRPr lang="en-US" sz="1100" dirty="0"/>
          </a:p>
        </p:txBody>
      </p:sp>
      <p:sp>
        <p:nvSpPr>
          <p:cNvPr id="10" name="Rectangle 9"/>
          <p:cNvSpPr/>
          <p:nvPr/>
        </p:nvSpPr>
        <p:spPr>
          <a:xfrm>
            <a:off x="6500763" y="1813663"/>
            <a:ext cx="2286000" cy="129112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1600" dirty="0"/>
              <a:t>Group B</a:t>
            </a:r>
          </a:p>
          <a:p>
            <a:pPr>
              <a:lnSpc>
                <a:spcPct val="95000"/>
              </a:lnSpc>
            </a:pPr>
            <a:r>
              <a:rPr lang="en-US" sz="1100" dirty="0"/>
              <a:t>Xx xxx </a:t>
            </a:r>
            <a:r>
              <a:rPr lang="en-US" sz="1100" dirty="0" err="1"/>
              <a:t>xxx</a:t>
            </a:r>
            <a:r>
              <a:rPr lang="en-US" sz="1100" dirty="0"/>
              <a:t> </a:t>
            </a:r>
            <a:r>
              <a:rPr lang="en-US" sz="1100" dirty="0" err="1"/>
              <a:t>xxxx</a:t>
            </a:r>
            <a:r>
              <a:rPr lang="en-US" sz="1100" dirty="0"/>
              <a:t> </a:t>
            </a:r>
            <a:r>
              <a:rPr lang="en-US" sz="1100" dirty="0" err="1"/>
              <a:t>xxxxxxx</a:t>
            </a:r>
            <a:r>
              <a:rPr lang="en-US" sz="1100" dirty="0"/>
              <a:t> x xx Xxx x xxx xx </a:t>
            </a:r>
            <a:r>
              <a:rPr lang="en-US" sz="1100" dirty="0" err="1"/>
              <a:t>xxxx</a:t>
            </a:r>
            <a:r>
              <a:rPr lang="en-US" sz="1100" dirty="0"/>
              <a:t> </a:t>
            </a:r>
            <a:r>
              <a:rPr lang="en-US" sz="1100" dirty="0" err="1"/>
              <a:t>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xx xxx </a:t>
            </a:r>
            <a:r>
              <a:rPr lang="en-US" sz="1100" dirty="0" err="1"/>
              <a:t>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</a:t>
            </a:r>
            <a:r>
              <a:rPr lang="en-US" sz="1100" dirty="0" err="1"/>
              <a:t>xxxxxxxx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x </a:t>
            </a:r>
            <a:r>
              <a:rPr lang="en-US" sz="1100" dirty="0" err="1"/>
              <a:t>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</a:t>
            </a:r>
            <a:r>
              <a:rPr lang="en-US" sz="1100" dirty="0" err="1"/>
              <a:t>xxxxxxxxxxxxxxxx</a:t>
            </a:r>
            <a:r>
              <a:rPr lang="en-US" sz="1100" dirty="0"/>
              <a:t> </a:t>
            </a:r>
            <a:r>
              <a:rPr lang="en-US" sz="1100" dirty="0" err="1"/>
              <a:t>Xx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</a:t>
            </a:r>
            <a:r>
              <a:rPr lang="en-US" sz="1100" dirty="0"/>
              <a:t> 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5119374" y="2145789"/>
            <a:ext cx="781573" cy="654739"/>
            <a:chOff x="119063" y="2792413"/>
            <a:chExt cx="361950" cy="303213"/>
          </a:xfrm>
        </p:grpSpPr>
        <p:sp>
          <p:nvSpPr>
            <p:cNvPr id="32" name="Freeform 31"/>
            <p:cNvSpPr>
              <a:spLocks noEditPoints="1"/>
            </p:cNvSpPr>
            <p:nvPr/>
          </p:nvSpPr>
          <p:spPr bwMode="auto">
            <a:xfrm>
              <a:off x="119063" y="2792413"/>
              <a:ext cx="361950" cy="303213"/>
            </a:xfrm>
            <a:custGeom>
              <a:avLst/>
              <a:gdLst>
                <a:gd name="T0" fmla="*/ 212 w 214"/>
                <a:gd name="T1" fmla="*/ 51 h 179"/>
                <a:gd name="T2" fmla="*/ 162 w 214"/>
                <a:gd name="T3" fmla="*/ 38 h 179"/>
                <a:gd name="T4" fmla="*/ 163 w 214"/>
                <a:gd name="T5" fmla="*/ 30 h 179"/>
                <a:gd name="T6" fmla="*/ 133 w 214"/>
                <a:gd name="T7" fmla="*/ 0 h 179"/>
                <a:gd name="T8" fmla="*/ 103 w 214"/>
                <a:gd name="T9" fmla="*/ 30 h 179"/>
                <a:gd name="T10" fmla="*/ 105 w 214"/>
                <a:gd name="T11" fmla="*/ 42 h 179"/>
                <a:gd name="T12" fmla="*/ 72 w 214"/>
                <a:gd name="T13" fmla="*/ 51 h 179"/>
                <a:gd name="T14" fmla="*/ 3 w 214"/>
                <a:gd name="T15" fmla="*/ 33 h 179"/>
                <a:gd name="T16" fmla="*/ 1 w 214"/>
                <a:gd name="T17" fmla="*/ 33 h 179"/>
                <a:gd name="T18" fmla="*/ 0 w 214"/>
                <a:gd name="T19" fmla="*/ 35 h 179"/>
                <a:gd name="T20" fmla="*/ 0 w 214"/>
                <a:gd name="T21" fmla="*/ 159 h 179"/>
                <a:gd name="T22" fmla="*/ 2 w 214"/>
                <a:gd name="T23" fmla="*/ 161 h 179"/>
                <a:gd name="T24" fmla="*/ 72 w 214"/>
                <a:gd name="T25" fmla="*/ 179 h 179"/>
                <a:gd name="T26" fmla="*/ 72 w 214"/>
                <a:gd name="T27" fmla="*/ 179 h 179"/>
                <a:gd name="T28" fmla="*/ 72 w 214"/>
                <a:gd name="T29" fmla="*/ 179 h 179"/>
                <a:gd name="T30" fmla="*/ 72 w 214"/>
                <a:gd name="T31" fmla="*/ 179 h 179"/>
                <a:gd name="T32" fmla="*/ 73 w 214"/>
                <a:gd name="T33" fmla="*/ 179 h 179"/>
                <a:gd name="T34" fmla="*/ 142 w 214"/>
                <a:gd name="T35" fmla="*/ 161 h 179"/>
                <a:gd name="T36" fmla="*/ 211 w 214"/>
                <a:gd name="T37" fmla="*/ 179 h 179"/>
                <a:gd name="T38" fmla="*/ 212 w 214"/>
                <a:gd name="T39" fmla="*/ 179 h 179"/>
                <a:gd name="T40" fmla="*/ 213 w 214"/>
                <a:gd name="T41" fmla="*/ 178 h 179"/>
                <a:gd name="T42" fmla="*/ 214 w 214"/>
                <a:gd name="T43" fmla="*/ 176 h 179"/>
                <a:gd name="T44" fmla="*/ 214 w 214"/>
                <a:gd name="T45" fmla="*/ 53 h 179"/>
                <a:gd name="T46" fmla="*/ 212 w 214"/>
                <a:gd name="T47" fmla="*/ 51 h 179"/>
                <a:gd name="T48" fmla="*/ 133 w 214"/>
                <a:gd name="T49" fmla="*/ 5 h 179"/>
                <a:gd name="T50" fmla="*/ 159 w 214"/>
                <a:gd name="T51" fmla="*/ 30 h 179"/>
                <a:gd name="T52" fmla="*/ 157 w 214"/>
                <a:gd name="T53" fmla="*/ 39 h 179"/>
                <a:gd name="T54" fmla="*/ 157 w 214"/>
                <a:gd name="T55" fmla="*/ 39 h 179"/>
                <a:gd name="T56" fmla="*/ 157 w 214"/>
                <a:gd name="T57" fmla="*/ 39 h 179"/>
                <a:gd name="T58" fmla="*/ 133 w 214"/>
                <a:gd name="T59" fmla="*/ 75 h 179"/>
                <a:gd name="T60" fmla="*/ 108 w 214"/>
                <a:gd name="T61" fmla="*/ 30 h 179"/>
                <a:gd name="T62" fmla="*/ 133 w 214"/>
                <a:gd name="T63" fmla="*/ 5 h 179"/>
                <a:gd name="T64" fmla="*/ 5 w 214"/>
                <a:gd name="T65" fmla="*/ 38 h 179"/>
                <a:gd name="T66" fmla="*/ 70 w 214"/>
                <a:gd name="T67" fmla="*/ 55 h 179"/>
                <a:gd name="T68" fmla="*/ 70 w 214"/>
                <a:gd name="T69" fmla="*/ 173 h 179"/>
                <a:gd name="T70" fmla="*/ 5 w 214"/>
                <a:gd name="T71" fmla="*/ 157 h 179"/>
                <a:gd name="T72" fmla="*/ 5 w 214"/>
                <a:gd name="T73" fmla="*/ 38 h 179"/>
                <a:gd name="T74" fmla="*/ 75 w 214"/>
                <a:gd name="T75" fmla="*/ 55 h 179"/>
                <a:gd name="T76" fmla="*/ 107 w 214"/>
                <a:gd name="T77" fmla="*/ 47 h 179"/>
                <a:gd name="T78" fmla="*/ 133 w 214"/>
                <a:gd name="T79" fmla="*/ 79 h 179"/>
                <a:gd name="T80" fmla="*/ 140 w 214"/>
                <a:gd name="T81" fmla="*/ 77 h 179"/>
                <a:gd name="T82" fmla="*/ 140 w 214"/>
                <a:gd name="T83" fmla="*/ 157 h 179"/>
                <a:gd name="T84" fmla="*/ 75 w 214"/>
                <a:gd name="T85" fmla="*/ 173 h 179"/>
                <a:gd name="T86" fmla="*/ 75 w 214"/>
                <a:gd name="T87" fmla="*/ 55 h 179"/>
                <a:gd name="T88" fmla="*/ 209 w 214"/>
                <a:gd name="T89" fmla="*/ 173 h 179"/>
                <a:gd name="T90" fmla="*/ 144 w 214"/>
                <a:gd name="T91" fmla="*/ 157 h 179"/>
                <a:gd name="T92" fmla="*/ 144 w 214"/>
                <a:gd name="T93" fmla="*/ 73 h 179"/>
                <a:gd name="T94" fmla="*/ 161 w 214"/>
                <a:gd name="T95" fmla="*/ 43 h 179"/>
                <a:gd name="T96" fmla="*/ 209 w 214"/>
                <a:gd name="T97" fmla="*/ 55 h 179"/>
                <a:gd name="T98" fmla="*/ 209 w 214"/>
                <a:gd name="T99" fmla="*/ 17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4" h="179">
                  <a:moveTo>
                    <a:pt x="212" y="51"/>
                  </a:moveTo>
                  <a:cubicBezTo>
                    <a:pt x="162" y="38"/>
                    <a:pt x="162" y="38"/>
                    <a:pt x="162" y="38"/>
                  </a:cubicBezTo>
                  <a:cubicBezTo>
                    <a:pt x="163" y="35"/>
                    <a:pt x="163" y="33"/>
                    <a:pt x="163" y="30"/>
                  </a:cubicBezTo>
                  <a:cubicBezTo>
                    <a:pt x="163" y="14"/>
                    <a:pt x="150" y="0"/>
                    <a:pt x="133" y="0"/>
                  </a:cubicBezTo>
                  <a:cubicBezTo>
                    <a:pt x="117" y="0"/>
                    <a:pt x="103" y="14"/>
                    <a:pt x="103" y="30"/>
                  </a:cubicBezTo>
                  <a:cubicBezTo>
                    <a:pt x="103" y="34"/>
                    <a:pt x="104" y="38"/>
                    <a:pt x="105" y="42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2" y="33"/>
                    <a:pt x="2" y="33"/>
                    <a:pt x="1" y="33"/>
                  </a:cubicBezTo>
                  <a:cubicBezTo>
                    <a:pt x="0" y="34"/>
                    <a:pt x="0" y="35"/>
                    <a:pt x="0" y="35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160"/>
                    <a:pt x="1" y="161"/>
                    <a:pt x="2" y="161"/>
                  </a:cubicBezTo>
                  <a:cubicBezTo>
                    <a:pt x="72" y="179"/>
                    <a:pt x="72" y="179"/>
                    <a:pt x="72" y="179"/>
                  </a:cubicBezTo>
                  <a:cubicBezTo>
                    <a:pt x="72" y="179"/>
                    <a:pt x="72" y="179"/>
                    <a:pt x="72" y="179"/>
                  </a:cubicBezTo>
                  <a:cubicBezTo>
                    <a:pt x="72" y="179"/>
                    <a:pt x="72" y="179"/>
                    <a:pt x="72" y="179"/>
                  </a:cubicBezTo>
                  <a:cubicBezTo>
                    <a:pt x="72" y="179"/>
                    <a:pt x="72" y="179"/>
                    <a:pt x="72" y="179"/>
                  </a:cubicBezTo>
                  <a:cubicBezTo>
                    <a:pt x="72" y="179"/>
                    <a:pt x="73" y="179"/>
                    <a:pt x="73" y="179"/>
                  </a:cubicBezTo>
                  <a:cubicBezTo>
                    <a:pt x="142" y="161"/>
                    <a:pt x="142" y="161"/>
                    <a:pt x="142" y="161"/>
                  </a:cubicBezTo>
                  <a:cubicBezTo>
                    <a:pt x="211" y="179"/>
                    <a:pt x="211" y="179"/>
                    <a:pt x="211" y="179"/>
                  </a:cubicBezTo>
                  <a:cubicBezTo>
                    <a:pt x="211" y="179"/>
                    <a:pt x="211" y="179"/>
                    <a:pt x="212" y="179"/>
                  </a:cubicBezTo>
                  <a:cubicBezTo>
                    <a:pt x="212" y="179"/>
                    <a:pt x="213" y="179"/>
                    <a:pt x="213" y="178"/>
                  </a:cubicBezTo>
                  <a:cubicBezTo>
                    <a:pt x="214" y="178"/>
                    <a:pt x="214" y="177"/>
                    <a:pt x="214" y="176"/>
                  </a:cubicBezTo>
                  <a:cubicBezTo>
                    <a:pt x="214" y="53"/>
                    <a:pt x="214" y="53"/>
                    <a:pt x="214" y="53"/>
                  </a:cubicBezTo>
                  <a:cubicBezTo>
                    <a:pt x="214" y="52"/>
                    <a:pt x="213" y="51"/>
                    <a:pt x="212" y="51"/>
                  </a:cubicBezTo>
                  <a:close/>
                  <a:moveTo>
                    <a:pt x="133" y="5"/>
                  </a:moveTo>
                  <a:cubicBezTo>
                    <a:pt x="147" y="5"/>
                    <a:pt x="159" y="16"/>
                    <a:pt x="159" y="30"/>
                  </a:cubicBezTo>
                  <a:cubicBezTo>
                    <a:pt x="159" y="33"/>
                    <a:pt x="158" y="36"/>
                    <a:pt x="157" y="39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53" y="55"/>
                    <a:pt x="140" y="75"/>
                    <a:pt x="133" y="75"/>
                  </a:cubicBezTo>
                  <a:cubicBezTo>
                    <a:pt x="125" y="75"/>
                    <a:pt x="108" y="45"/>
                    <a:pt x="108" y="30"/>
                  </a:cubicBezTo>
                  <a:cubicBezTo>
                    <a:pt x="108" y="16"/>
                    <a:pt x="119" y="5"/>
                    <a:pt x="133" y="5"/>
                  </a:cubicBezTo>
                  <a:close/>
                  <a:moveTo>
                    <a:pt x="5" y="38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173"/>
                    <a:pt x="70" y="173"/>
                    <a:pt x="70" y="173"/>
                  </a:cubicBezTo>
                  <a:cubicBezTo>
                    <a:pt x="5" y="157"/>
                    <a:pt x="5" y="157"/>
                    <a:pt x="5" y="157"/>
                  </a:cubicBezTo>
                  <a:lnTo>
                    <a:pt x="5" y="38"/>
                  </a:lnTo>
                  <a:close/>
                  <a:moveTo>
                    <a:pt x="75" y="55"/>
                  </a:moveTo>
                  <a:cubicBezTo>
                    <a:pt x="107" y="47"/>
                    <a:pt x="107" y="47"/>
                    <a:pt x="107" y="47"/>
                  </a:cubicBezTo>
                  <a:cubicBezTo>
                    <a:pt x="112" y="62"/>
                    <a:pt x="124" y="79"/>
                    <a:pt x="133" y="79"/>
                  </a:cubicBezTo>
                  <a:cubicBezTo>
                    <a:pt x="135" y="79"/>
                    <a:pt x="137" y="79"/>
                    <a:pt x="140" y="77"/>
                  </a:cubicBezTo>
                  <a:cubicBezTo>
                    <a:pt x="140" y="157"/>
                    <a:pt x="140" y="157"/>
                    <a:pt x="140" y="157"/>
                  </a:cubicBezTo>
                  <a:cubicBezTo>
                    <a:pt x="75" y="173"/>
                    <a:pt x="75" y="173"/>
                    <a:pt x="75" y="173"/>
                  </a:cubicBezTo>
                  <a:lnTo>
                    <a:pt x="75" y="55"/>
                  </a:lnTo>
                  <a:close/>
                  <a:moveTo>
                    <a:pt x="209" y="173"/>
                  </a:moveTo>
                  <a:cubicBezTo>
                    <a:pt x="144" y="157"/>
                    <a:pt x="144" y="157"/>
                    <a:pt x="144" y="157"/>
                  </a:cubicBezTo>
                  <a:cubicBezTo>
                    <a:pt x="144" y="73"/>
                    <a:pt x="144" y="73"/>
                    <a:pt x="144" y="73"/>
                  </a:cubicBezTo>
                  <a:cubicBezTo>
                    <a:pt x="151" y="66"/>
                    <a:pt x="158" y="53"/>
                    <a:pt x="161" y="43"/>
                  </a:cubicBezTo>
                  <a:cubicBezTo>
                    <a:pt x="209" y="55"/>
                    <a:pt x="209" y="55"/>
                    <a:pt x="209" y="55"/>
                  </a:cubicBezTo>
                  <a:lnTo>
                    <a:pt x="209" y="1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32"/>
            <p:cNvSpPr>
              <a:spLocks noEditPoints="1"/>
            </p:cNvSpPr>
            <p:nvPr/>
          </p:nvSpPr>
          <p:spPr bwMode="auto">
            <a:xfrm>
              <a:off x="317500" y="2817813"/>
              <a:ext cx="53975" cy="52388"/>
            </a:xfrm>
            <a:custGeom>
              <a:avLst/>
              <a:gdLst>
                <a:gd name="T0" fmla="*/ 32 w 32"/>
                <a:gd name="T1" fmla="*/ 15 h 31"/>
                <a:gd name="T2" fmla="*/ 16 w 32"/>
                <a:gd name="T3" fmla="*/ 0 h 31"/>
                <a:gd name="T4" fmla="*/ 0 w 32"/>
                <a:gd name="T5" fmla="*/ 15 h 31"/>
                <a:gd name="T6" fmla="*/ 16 w 32"/>
                <a:gd name="T7" fmla="*/ 31 h 31"/>
                <a:gd name="T8" fmla="*/ 32 w 32"/>
                <a:gd name="T9" fmla="*/ 15 h 31"/>
                <a:gd name="T10" fmla="*/ 5 w 32"/>
                <a:gd name="T11" fmla="*/ 15 h 31"/>
                <a:gd name="T12" fmla="*/ 16 w 32"/>
                <a:gd name="T13" fmla="*/ 4 h 31"/>
                <a:gd name="T14" fmla="*/ 27 w 32"/>
                <a:gd name="T15" fmla="*/ 15 h 31"/>
                <a:gd name="T16" fmla="*/ 16 w 32"/>
                <a:gd name="T17" fmla="*/ 27 h 31"/>
                <a:gd name="T18" fmla="*/ 5 w 32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1">
                  <a:moveTo>
                    <a:pt x="32" y="15"/>
                  </a:moveTo>
                  <a:cubicBezTo>
                    <a:pt x="32" y="7"/>
                    <a:pt x="25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1"/>
                    <a:pt x="16" y="31"/>
                  </a:cubicBezTo>
                  <a:cubicBezTo>
                    <a:pt x="25" y="31"/>
                    <a:pt x="32" y="24"/>
                    <a:pt x="32" y="15"/>
                  </a:cubicBezTo>
                  <a:close/>
                  <a:moveTo>
                    <a:pt x="5" y="15"/>
                  </a:moveTo>
                  <a:cubicBezTo>
                    <a:pt x="5" y="9"/>
                    <a:pt x="10" y="4"/>
                    <a:pt x="16" y="4"/>
                  </a:cubicBezTo>
                  <a:cubicBezTo>
                    <a:pt x="22" y="4"/>
                    <a:pt x="27" y="9"/>
                    <a:pt x="27" y="15"/>
                  </a:cubicBezTo>
                  <a:cubicBezTo>
                    <a:pt x="27" y="22"/>
                    <a:pt x="22" y="27"/>
                    <a:pt x="16" y="27"/>
                  </a:cubicBezTo>
                  <a:cubicBezTo>
                    <a:pt x="10" y="27"/>
                    <a:pt x="5" y="22"/>
                    <a:pt x="5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3592437" y="2099919"/>
            <a:ext cx="490514" cy="798580"/>
            <a:chOff x="2832100" y="2760663"/>
            <a:chExt cx="260350" cy="423863"/>
          </a:xfrm>
        </p:grpSpPr>
        <p:sp>
          <p:nvSpPr>
            <p:cNvPr id="37" name="Freeform 36"/>
            <p:cNvSpPr>
              <a:spLocks noEditPoints="1"/>
            </p:cNvSpPr>
            <p:nvPr/>
          </p:nvSpPr>
          <p:spPr bwMode="auto">
            <a:xfrm>
              <a:off x="2898775" y="3095625"/>
              <a:ext cx="123825" cy="38100"/>
            </a:xfrm>
            <a:custGeom>
              <a:avLst/>
              <a:gdLst>
                <a:gd name="T0" fmla="*/ 62 w 73"/>
                <a:gd name="T1" fmla="*/ 22 h 22"/>
                <a:gd name="T2" fmla="*/ 12 w 73"/>
                <a:gd name="T3" fmla="*/ 22 h 22"/>
                <a:gd name="T4" fmla="*/ 0 w 73"/>
                <a:gd name="T5" fmla="*/ 11 h 22"/>
                <a:gd name="T6" fmla="*/ 12 w 73"/>
                <a:gd name="T7" fmla="*/ 0 h 22"/>
                <a:gd name="T8" fmla="*/ 62 w 73"/>
                <a:gd name="T9" fmla="*/ 0 h 22"/>
                <a:gd name="T10" fmla="*/ 73 w 73"/>
                <a:gd name="T11" fmla="*/ 11 h 22"/>
                <a:gd name="T12" fmla="*/ 62 w 73"/>
                <a:gd name="T13" fmla="*/ 22 h 22"/>
                <a:gd name="T14" fmla="*/ 12 w 73"/>
                <a:gd name="T15" fmla="*/ 5 h 22"/>
                <a:gd name="T16" fmla="*/ 5 w 73"/>
                <a:gd name="T17" fmla="*/ 11 h 22"/>
                <a:gd name="T18" fmla="*/ 12 w 73"/>
                <a:gd name="T19" fmla="*/ 18 h 22"/>
                <a:gd name="T20" fmla="*/ 62 w 73"/>
                <a:gd name="T21" fmla="*/ 18 h 22"/>
                <a:gd name="T22" fmla="*/ 69 w 73"/>
                <a:gd name="T23" fmla="*/ 11 h 22"/>
                <a:gd name="T24" fmla="*/ 62 w 73"/>
                <a:gd name="T25" fmla="*/ 5 h 22"/>
                <a:gd name="T26" fmla="*/ 12 w 73"/>
                <a:gd name="T2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3" h="22">
                  <a:moveTo>
                    <a:pt x="62" y="22"/>
                  </a:moveTo>
                  <a:cubicBezTo>
                    <a:pt x="12" y="22"/>
                    <a:pt x="12" y="22"/>
                    <a:pt x="12" y="22"/>
                  </a:cubicBezTo>
                  <a:cubicBezTo>
                    <a:pt x="6" y="22"/>
                    <a:pt x="0" y="17"/>
                    <a:pt x="0" y="11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8" y="0"/>
                    <a:pt x="73" y="5"/>
                    <a:pt x="73" y="11"/>
                  </a:cubicBezTo>
                  <a:cubicBezTo>
                    <a:pt x="73" y="17"/>
                    <a:pt x="68" y="22"/>
                    <a:pt x="62" y="22"/>
                  </a:cubicBezTo>
                  <a:close/>
                  <a:moveTo>
                    <a:pt x="12" y="5"/>
                  </a:moveTo>
                  <a:cubicBezTo>
                    <a:pt x="8" y="5"/>
                    <a:pt x="5" y="7"/>
                    <a:pt x="5" y="11"/>
                  </a:cubicBezTo>
                  <a:cubicBezTo>
                    <a:pt x="5" y="15"/>
                    <a:pt x="8" y="18"/>
                    <a:pt x="1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6" y="18"/>
                    <a:pt x="69" y="15"/>
                    <a:pt x="69" y="11"/>
                  </a:cubicBezTo>
                  <a:cubicBezTo>
                    <a:pt x="69" y="7"/>
                    <a:pt x="66" y="5"/>
                    <a:pt x="62" y="5"/>
                  </a:cubicBezTo>
                  <a:lnTo>
                    <a:pt x="12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2898775" y="3127375"/>
              <a:ext cx="123825" cy="36513"/>
            </a:xfrm>
            <a:custGeom>
              <a:avLst/>
              <a:gdLst>
                <a:gd name="T0" fmla="*/ 62 w 73"/>
                <a:gd name="T1" fmla="*/ 22 h 22"/>
                <a:gd name="T2" fmla="*/ 12 w 73"/>
                <a:gd name="T3" fmla="*/ 22 h 22"/>
                <a:gd name="T4" fmla="*/ 0 w 73"/>
                <a:gd name="T5" fmla="*/ 11 h 22"/>
                <a:gd name="T6" fmla="*/ 12 w 73"/>
                <a:gd name="T7" fmla="*/ 0 h 22"/>
                <a:gd name="T8" fmla="*/ 62 w 73"/>
                <a:gd name="T9" fmla="*/ 0 h 22"/>
                <a:gd name="T10" fmla="*/ 73 w 73"/>
                <a:gd name="T11" fmla="*/ 11 h 22"/>
                <a:gd name="T12" fmla="*/ 62 w 73"/>
                <a:gd name="T13" fmla="*/ 22 h 22"/>
                <a:gd name="T14" fmla="*/ 12 w 73"/>
                <a:gd name="T15" fmla="*/ 4 h 22"/>
                <a:gd name="T16" fmla="*/ 5 w 73"/>
                <a:gd name="T17" fmla="*/ 11 h 22"/>
                <a:gd name="T18" fmla="*/ 12 w 73"/>
                <a:gd name="T19" fmla="*/ 18 h 22"/>
                <a:gd name="T20" fmla="*/ 62 w 73"/>
                <a:gd name="T21" fmla="*/ 18 h 22"/>
                <a:gd name="T22" fmla="*/ 69 w 73"/>
                <a:gd name="T23" fmla="*/ 11 h 22"/>
                <a:gd name="T24" fmla="*/ 62 w 73"/>
                <a:gd name="T25" fmla="*/ 4 h 22"/>
                <a:gd name="T26" fmla="*/ 12 w 73"/>
                <a:gd name="T2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3" h="22">
                  <a:moveTo>
                    <a:pt x="62" y="22"/>
                  </a:moveTo>
                  <a:cubicBezTo>
                    <a:pt x="12" y="22"/>
                    <a:pt x="12" y="22"/>
                    <a:pt x="12" y="22"/>
                  </a:cubicBezTo>
                  <a:cubicBezTo>
                    <a:pt x="6" y="22"/>
                    <a:pt x="0" y="17"/>
                    <a:pt x="0" y="11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8" y="0"/>
                    <a:pt x="73" y="5"/>
                    <a:pt x="73" y="11"/>
                  </a:cubicBezTo>
                  <a:cubicBezTo>
                    <a:pt x="73" y="17"/>
                    <a:pt x="68" y="22"/>
                    <a:pt x="62" y="22"/>
                  </a:cubicBezTo>
                  <a:close/>
                  <a:moveTo>
                    <a:pt x="12" y="4"/>
                  </a:moveTo>
                  <a:cubicBezTo>
                    <a:pt x="8" y="4"/>
                    <a:pt x="5" y="7"/>
                    <a:pt x="5" y="11"/>
                  </a:cubicBezTo>
                  <a:cubicBezTo>
                    <a:pt x="5" y="15"/>
                    <a:pt x="8" y="18"/>
                    <a:pt x="1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6" y="18"/>
                    <a:pt x="69" y="15"/>
                    <a:pt x="69" y="11"/>
                  </a:cubicBezTo>
                  <a:cubicBezTo>
                    <a:pt x="69" y="7"/>
                    <a:pt x="66" y="4"/>
                    <a:pt x="62" y="4"/>
                  </a:cubicBezTo>
                  <a:lnTo>
                    <a:pt x="12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2921000" y="3157538"/>
              <a:ext cx="80963" cy="26988"/>
            </a:xfrm>
            <a:custGeom>
              <a:avLst/>
              <a:gdLst>
                <a:gd name="T0" fmla="*/ 24 w 48"/>
                <a:gd name="T1" fmla="*/ 16 h 16"/>
                <a:gd name="T2" fmla="*/ 0 w 48"/>
                <a:gd name="T3" fmla="*/ 2 h 16"/>
                <a:gd name="T4" fmla="*/ 2 w 48"/>
                <a:gd name="T5" fmla="*/ 0 h 16"/>
                <a:gd name="T6" fmla="*/ 4 w 48"/>
                <a:gd name="T7" fmla="*/ 2 h 16"/>
                <a:gd name="T8" fmla="*/ 24 w 48"/>
                <a:gd name="T9" fmla="*/ 11 h 16"/>
                <a:gd name="T10" fmla="*/ 43 w 48"/>
                <a:gd name="T11" fmla="*/ 2 h 16"/>
                <a:gd name="T12" fmla="*/ 46 w 48"/>
                <a:gd name="T13" fmla="*/ 0 h 16"/>
                <a:gd name="T14" fmla="*/ 48 w 48"/>
                <a:gd name="T15" fmla="*/ 2 h 16"/>
                <a:gd name="T16" fmla="*/ 24 w 48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6">
                  <a:moveTo>
                    <a:pt x="24" y="16"/>
                  </a:moveTo>
                  <a:cubicBezTo>
                    <a:pt x="10" y="16"/>
                    <a:pt x="0" y="10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12" y="11"/>
                    <a:pt x="24" y="11"/>
                  </a:cubicBezTo>
                  <a:cubicBezTo>
                    <a:pt x="35" y="11"/>
                    <a:pt x="43" y="6"/>
                    <a:pt x="43" y="2"/>
                  </a:cubicBezTo>
                  <a:cubicBezTo>
                    <a:pt x="43" y="1"/>
                    <a:pt x="44" y="0"/>
                    <a:pt x="46" y="0"/>
                  </a:cubicBezTo>
                  <a:cubicBezTo>
                    <a:pt x="47" y="0"/>
                    <a:pt x="48" y="1"/>
                    <a:pt x="48" y="2"/>
                  </a:cubicBezTo>
                  <a:cubicBezTo>
                    <a:pt x="48" y="10"/>
                    <a:pt x="37" y="16"/>
                    <a:pt x="24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2832100" y="2760663"/>
              <a:ext cx="260350" cy="314325"/>
            </a:xfrm>
            <a:custGeom>
              <a:avLst/>
              <a:gdLst>
                <a:gd name="T0" fmla="*/ 101 w 154"/>
                <a:gd name="T1" fmla="*/ 185 h 185"/>
                <a:gd name="T2" fmla="*/ 53 w 154"/>
                <a:gd name="T3" fmla="*/ 185 h 185"/>
                <a:gd name="T4" fmla="*/ 32 w 154"/>
                <a:gd name="T5" fmla="*/ 164 h 185"/>
                <a:gd name="T6" fmla="*/ 32 w 154"/>
                <a:gd name="T7" fmla="*/ 149 h 185"/>
                <a:gd name="T8" fmla="*/ 22 w 154"/>
                <a:gd name="T9" fmla="*/ 130 h 185"/>
                <a:gd name="T10" fmla="*/ 0 w 154"/>
                <a:gd name="T11" fmla="*/ 77 h 185"/>
                <a:gd name="T12" fmla="*/ 77 w 154"/>
                <a:gd name="T13" fmla="*/ 0 h 185"/>
                <a:gd name="T14" fmla="*/ 154 w 154"/>
                <a:gd name="T15" fmla="*/ 77 h 185"/>
                <a:gd name="T16" fmla="*/ 132 w 154"/>
                <a:gd name="T17" fmla="*/ 130 h 185"/>
                <a:gd name="T18" fmla="*/ 122 w 154"/>
                <a:gd name="T19" fmla="*/ 149 h 185"/>
                <a:gd name="T20" fmla="*/ 122 w 154"/>
                <a:gd name="T21" fmla="*/ 164 h 185"/>
                <a:gd name="T22" fmla="*/ 101 w 154"/>
                <a:gd name="T23" fmla="*/ 185 h 185"/>
                <a:gd name="T24" fmla="*/ 77 w 154"/>
                <a:gd name="T25" fmla="*/ 5 h 185"/>
                <a:gd name="T26" fmla="*/ 5 w 154"/>
                <a:gd name="T27" fmla="*/ 77 h 185"/>
                <a:gd name="T28" fmla="*/ 25 w 154"/>
                <a:gd name="T29" fmla="*/ 127 h 185"/>
                <a:gd name="T30" fmla="*/ 36 w 154"/>
                <a:gd name="T31" fmla="*/ 149 h 185"/>
                <a:gd name="T32" fmla="*/ 36 w 154"/>
                <a:gd name="T33" fmla="*/ 164 h 185"/>
                <a:gd name="T34" fmla="*/ 53 w 154"/>
                <a:gd name="T35" fmla="*/ 180 h 185"/>
                <a:gd name="T36" fmla="*/ 101 w 154"/>
                <a:gd name="T37" fmla="*/ 180 h 185"/>
                <a:gd name="T38" fmla="*/ 117 w 154"/>
                <a:gd name="T39" fmla="*/ 164 h 185"/>
                <a:gd name="T40" fmla="*/ 117 w 154"/>
                <a:gd name="T41" fmla="*/ 149 h 185"/>
                <a:gd name="T42" fmla="*/ 129 w 154"/>
                <a:gd name="T43" fmla="*/ 127 h 185"/>
                <a:gd name="T44" fmla="*/ 149 w 154"/>
                <a:gd name="T45" fmla="*/ 77 h 185"/>
                <a:gd name="T46" fmla="*/ 77 w 154"/>
                <a:gd name="T47" fmla="*/ 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4" h="185">
                  <a:moveTo>
                    <a:pt x="101" y="185"/>
                  </a:moveTo>
                  <a:cubicBezTo>
                    <a:pt x="53" y="185"/>
                    <a:pt x="53" y="185"/>
                    <a:pt x="53" y="185"/>
                  </a:cubicBezTo>
                  <a:cubicBezTo>
                    <a:pt x="41" y="185"/>
                    <a:pt x="32" y="175"/>
                    <a:pt x="32" y="164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32" y="141"/>
                    <a:pt x="28" y="137"/>
                    <a:pt x="22" y="130"/>
                  </a:cubicBezTo>
                  <a:cubicBezTo>
                    <a:pt x="8" y="117"/>
                    <a:pt x="0" y="97"/>
                    <a:pt x="0" y="77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4" y="34"/>
                    <a:pt x="154" y="77"/>
                  </a:cubicBezTo>
                  <a:cubicBezTo>
                    <a:pt x="154" y="97"/>
                    <a:pt x="146" y="117"/>
                    <a:pt x="132" y="130"/>
                  </a:cubicBezTo>
                  <a:cubicBezTo>
                    <a:pt x="125" y="137"/>
                    <a:pt x="122" y="141"/>
                    <a:pt x="122" y="149"/>
                  </a:cubicBezTo>
                  <a:cubicBezTo>
                    <a:pt x="122" y="164"/>
                    <a:pt x="122" y="164"/>
                    <a:pt x="122" y="164"/>
                  </a:cubicBezTo>
                  <a:cubicBezTo>
                    <a:pt x="122" y="175"/>
                    <a:pt x="113" y="185"/>
                    <a:pt x="101" y="185"/>
                  </a:cubicBezTo>
                  <a:close/>
                  <a:moveTo>
                    <a:pt x="77" y="5"/>
                  </a:moveTo>
                  <a:cubicBezTo>
                    <a:pt x="37" y="5"/>
                    <a:pt x="5" y="37"/>
                    <a:pt x="5" y="77"/>
                  </a:cubicBezTo>
                  <a:cubicBezTo>
                    <a:pt x="5" y="96"/>
                    <a:pt x="12" y="114"/>
                    <a:pt x="25" y="127"/>
                  </a:cubicBezTo>
                  <a:cubicBezTo>
                    <a:pt x="32" y="134"/>
                    <a:pt x="36" y="140"/>
                    <a:pt x="36" y="149"/>
                  </a:cubicBezTo>
                  <a:cubicBezTo>
                    <a:pt x="36" y="164"/>
                    <a:pt x="36" y="164"/>
                    <a:pt x="36" y="164"/>
                  </a:cubicBezTo>
                  <a:cubicBezTo>
                    <a:pt x="36" y="173"/>
                    <a:pt x="44" y="180"/>
                    <a:pt x="53" y="180"/>
                  </a:cubicBezTo>
                  <a:cubicBezTo>
                    <a:pt x="101" y="180"/>
                    <a:pt x="101" y="180"/>
                    <a:pt x="101" y="180"/>
                  </a:cubicBezTo>
                  <a:cubicBezTo>
                    <a:pt x="110" y="180"/>
                    <a:pt x="117" y="173"/>
                    <a:pt x="117" y="164"/>
                  </a:cubicBezTo>
                  <a:cubicBezTo>
                    <a:pt x="117" y="149"/>
                    <a:pt x="117" y="149"/>
                    <a:pt x="117" y="149"/>
                  </a:cubicBezTo>
                  <a:cubicBezTo>
                    <a:pt x="117" y="140"/>
                    <a:pt x="122" y="134"/>
                    <a:pt x="129" y="127"/>
                  </a:cubicBezTo>
                  <a:cubicBezTo>
                    <a:pt x="142" y="114"/>
                    <a:pt x="149" y="96"/>
                    <a:pt x="149" y="77"/>
                  </a:cubicBezTo>
                  <a:cubicBezTo>
                    <a:pt x="149" y="37"/>
                    <a:pt x="117" y="5"/>
                    <a:pt x="77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2898775" y="3065463"/>
              <a:ext cx="123825" cy="39688"/>
            </a:xfrm>
            <a:custGeom>
              <a:avLst/>
              <a:gdLst>
                <a:gd name="T0" fmla="*/ 62 w 73"/>
                <a:gd name="T1" fmla="*/ 23 h 23"/>
                <a:gd name="T2" fmla="*/ 12 w 73"/>
                <a:gd name="T3" fmla="*/ 23 h 23"/>
                <a:gd name="T4" fmla="*/ 0 w 73"/>
                <a:gd name="T5" fmla="*/ 11 h 23"/>
                <a:gd name="T6" fmla="*/ 12 w 73"/>
                <a:gd name="T7" fmla="*/ 0 h 23"/>
                <a:gd name="T8" fmla="*/ 62 w 73"/>
                <a:gd name="T9" fmla="*/ 0 h 23"/>
                <a:gd name="T10" fmla="*/ 73 w 73"/>
                <a:gd name="T11" fmla="*/ 11 h 23"/>
                <a:gd name="T12" fmla="*/ 62 w 73"/>
                <a:gd name="T13" fmla="*/ 23 h 23"/>
                <a:gd name="T14" fmla="*/ 12 w 73"/>
                <a:gd name="T15" fmla="*/ 5 h 23"/>
                <a:gd name="T16" fmla="*/ 5 w 73"/>
                <a:gd name="T17" fmla="*/ 11 h 23"/>
                <a:gd name="T18" fmla="*/ 12 w 73"/>
                <a:gd name="T19" fmla="*/ 18 h 23"/>
                <a:gd name="T20" fmla="*/ 62 w 73"/>
                <a:gd name="T21" fmla="*/ 18 h 23"/>
                <a:gd name="T22" fmla="*/ 69 w 73"/>
                <a:gd name="T23" fmla="*/ 11 h 23"/>
                <a:gd name="T24" fmla="*/ 62 w 73"/>
                <a:gd name="T25" fmla="*/ 5 h 23"/>
                <a:gd name="T26" fmla="*/ 12 w 73"/>
                <a:gd name="T27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3" h="23">
                  <a:moveTo>
                    <a:pt x="62" y="23"/>
                  </a:moveTo>
                  <a:cubicBezTo>
                    <a:pt x="12" y="23"/>
                    <a:pt x="12" y="23"/>
                    <a:pt x="12" y="23"/>
                  </a:cubicBezTo>
                  <a:cubicBezTo>
                    <a:pt x="6" y="23"/>
                    <a:pt x="0" y="17"/>
                    <a:pt x="0" y="11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8" y="0"/>
                    <a:pt x="73" y="5"/>
                    <a:pt x="73" y="11"/>
                  </a:cubicBezTo>
                  <a:cubicBezTo>
                    <a:pt x="73" y="17"/>
                    <a:pt x="68" y="23"/>
                    <a:pt x="62" y="23"/>
                  </a:cubicBezTo>
                  <a:close/>
                  <a:moveTo>
                    <a:pt x="12" y="5"/>
                  </a:moveTo>
                  <a:cubicBezTo>
                    <a:pt x="8" y="5"/>
                    <a:pt x="5" y="8"/>
                    <a:pt x="5" y="11"/>
                  </a:cubicBezTo>
                  <a:cubicBezTo>
                    <a:pt x="5" y="15"/>
                    <a:pt x="8" y="18"/>
                    <a:pt x="1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6" y="18"/>
                    <a:pt x="69" y="15"/>
                    <a:pt x="69" y="11"/>
                  </a:cubicBezTo>
                  <a:cubicBezTo>
                    <a:pt x="69" y="8"/>
                    <a:pt x="66" y="5"/>
                    <a:pt x="62" y="5"/>
                  </a:cubicBezTo>
                  <a:lnTo>
                    <a:pt x="12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cxnSp>
        <p:nvCxnSpPr>
          <p:cNvPr id="44" name="Straight Connector 43"/>
          <p:cNvCxnSpPr>
            <a:stCxn id="9" idx="3"/>
            <a:endCxn id="3" idx="2"/>
          </p:cNvCxnSpPr>
          <p:nvPr/>
        </p:nvCxnSpPr>
        <p:spPr>
          <a:xfrm>
            <a:off x="2762506" y="2459224"/>
            <a:ext cx="181713" cy="1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stCxn id="10" idx="1"/>
            <a:endCxn id="4" idx="6"/>
          </p:cNvCxnSpPr>
          <p:nvPr/>
        </p:nvCxnSpPr>
        <p:spPr>
          <a:xfrm flipH="1">
            <a:off x="6258227" y="2459225"/>
            <a:ext cx="24253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E7C0B9B-3976-49A3-8B9C-1D759DC95FBC}"/>
              </a:ext>
            </a:extLst>
          </p:cNvPr>
          <p:cNvCxnSpPr>
            <a:cxnSpLocks/>
          </p:cNvCxnSpPr>
          <p:nvPr/>
        </p:nvCxnSpPr>
        <p:spPr>
          <a:xfrm flipV="1">
            <a:off x="4600578" y="2898499"/>
            <a:ext cx="1" cy="659348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24343C57-713B-405D-A0F4-85E89F25D5DD}"/>
              </a:ext>
            </a:extLst>
          </p:cNvPr>
          <p:cNvSpPr/>
          <p:nvPr/>
        </p:nvSpPr>
        <p:spPr>
          <a:xfrm>
            <a:off x="4492512" y="3581047"/>
            <a:ext cx="3296509" cy="647870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1600" dirty="0"/>
              <a:t>Intersection</a:t>
            </a:r>
          </a:p>
          <a:p>
            <a:pPr>
              <a:lnSpc>
                <a:spcPct val="95000"/>
              </a:lnSpc>
            </a:pPr>
            <a:r>
              <a:rPr lang="en-US" sz="1100" dirty="0"/>
              <a:t>Xx xxx </a:t>
            </a:r>
            <a:r>
              <a:rPr lang="en-US" sz="1100" dirty="0" err="1"/>
              <a:t>xxx</a:t>
            </a:r>
            <a:r>
              <a:rPr lang="en-US" sz="1100" dirty="0"/>
              <a:t> </a:t>
            </a:r>
            <a:r>
              <a:rPr lang="en-US" sz="1100" dirty="0" err="1"/>
              <a:t>xxxx</a:t>
            </a:r>
            <a:r>
              <a:rPr lang="en-US" sz="1100" dirty="0"/>
              <a:t> </a:t>
            </a:r>
            <a:r>
              <a:rPr lang="en-US" sz="1100" dirty="0" err="1"/>
              <a:t>xxxxxxx</a:t>
            </a:r>
            <a:r>
              <a:rPr lang="en-US" sz="1100" dirty="0"/>
              <a:t> x xx Xxx x xxx xx </a:t>
            </a:r>
            <a:r>
              <a:rPr lang="en-US" sz="1100" dirty="0" err="1"/>
              <a:t>xxxx</a:t>
            </a:r>
            <a:r>
              <a:rPr lang="en-US" sz="1100" dirty="0"/>
              <a:t> </a:t>
            </a:r>
            <a:r>
              <a:rPr lang="en-US" sz="1100" dirty="0" err="1"/>
              <a:t>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xx xxx </a:t>
            </a:r>
            <a:r>
              <a:rPr lang="en-US" sz="1100" dirty="0" err="1"/>
              <a:t>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</a:t>
            </a:r>
            <a:r>
              <a:rPr lang="en-US" sz="1100" dirty="0" err="1"/>
              <a:t>xxxxxxxxxxxxx</a:t>
            </a:r>
            <a:endParaRPr lang="en-US" sz="1100" dirty="0"/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9E148AE8-8B4E-4843-8F1F-919F37E6A1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327764822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layou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34918E-7EB0-EB45-92D8-C32124FE5C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EAF9DB-6F40-460F-BF1F-2A84CCEEEA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89329B-CA23-AE4D-AC50-E5E895A9E3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086600" y="4933950"/>
            <a:ext cx="2057400" cy="182563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554072-2822-4C1D-9551-C73A1134819B}"/>
              </a:ext>
            </a:extLst>
          </p:cNvPr>
          <p:cNvSpPr/>
          <p:nvPr/>
        </p:nvSpPr>
        <p:spPr>
          <a:xfrm>
            <a:off x="203661" y="191193"/>
            <a:ext cx="8740833" cy="4671752"/>
          </a:xfrm>
          <a:prstGeom prst="rect">
            <a:avLst/>
          </a:prstGeom>
          <a:solidFill>
            <a:srgbClr val="336FCA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 indent="-631825" algn="ctr"/>
            <a:r>
              <a:rPr lang="en-US" sz="2800" dirty="0">
                <a:solidFill>
                  <a:schemeClr val="bg1"/>
                </a:solidFill>
              </a:rPr>
              <a:t>Charts, graphs and tables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69435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47317" cy="545464"/>
          </a:xfrm>
        </p:spPr>
        <p:txBody>
          <a:bodyPr/>
          <a:lstStyle/>
          <a:p>
            <a:r>
              <a:rPr lang="en-US" dirty="0"/>
              <a:t>Org char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0D96776-B0B8-654A-A6FB-5BB48B318E3D}"/>
              </a:ext>
            </a:extLst>
          </p:cNvPr>
          <p:cNvGrpSpPr/>
          <p:nvPr/>
        </p:nvGrpSpPr>
        <p:grpSpPr>
          <a:xfrm>
            <a:off x="228600" y="1109994"/>
            <a:ext cx="8686800" cy="3214356"/>
            <a:chOff x="260940" y="991004"/>
            <a:chExt cx="8577534" cy="3173924"/>
          </a:xfrm>
        </p:grpSpPr>
        <p:sp>
          <p:nvSpPr>
            <p:cNvPr id="10" name="Rectangle 9"/>
            <p:cNvSpPr/>
            <p:nvPr/>
          </p:nvSpPr>
          <p:spPr>
            <a:xfrm>
              <a:off x="3680930" y="991004"/>
              <a:ext cx="1742718" cy="43485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38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/>
                  </a:solidFill>
                </a:rPr>
                <a:t>XXX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72526" y="3730071"/>
              <a:ext cx="1164924" cy="43485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38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/>
                  </a:solidFill>
                </a:rPr>
                <a:t>XXX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125124" y="3730071"/>
              <a:ext cx="1164924" cy="43485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38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/>
                  </a:solidFill>
                </a:rPr>
                <a:t>XXX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953633" y="2319940"/>
              <a:ext cx="1742718" cy="43485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38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/>
                  </a:solidFill>
                </a:rPr>
                <a:t>XXX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680930" y="2319940"/>
              <a:ext cx="1742718" cy="43485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38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/>
                  </a:solidFill>
                </a:rPr>
                <a:t>XXX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6408227" y="2319940"/>
              <a:ext cx="1742718" cy="43485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38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/>
                  </a:solidFill>
                </a:rPr>
                <a:t>XXX</a:t>
              </a:r>
            </a:p>
          </p:txBody>
        </p:sp>
        <p:cxnSp>
          <p:nvCxnSpPr>
            <p:cNvPr id="20" name="Elbow Connector 19"/>
            <p:cNvCxnSpPr/>
            <p:nvPr/>
          </p:nvCxnSpPr>
          <p:spPr>
            <a:xfrm rot="16200000" flipH="1">
              <a:off x="5777919" y="244473"/>
              <a:ext cx="276040" cy="2727298"/>
            </a:xfrm>
            <a:prstGeom prst="bentConnector3">
              <a:avLst/>
            </a:prstGeom>
            <a:ln w="6350">
              <a:solidFill>
                <a:schemeClr val="bg1">
                  <a:lumMod val="50000"/>
                  <a:alpha val="75000"/>
                </a:schemeClr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Elbow Connector 29"/>
            <p:cNvCxnSpPr>
              <a:stCxn id="10" idx="2"/>
              <a:endCxn id="40" idx="0"/>
            </p:cNvCxnSpPr>
            <p:nvPr/>
          </p:nvCxnSpPr>
          <p:spPr>
            <a:xfrm rot="5400000">
              <a:off x="3008302" y="242552"/>
              <a:ext cx="360678" cy="2727296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bg1">
                  <a:lumMod val="50000"/>
                  <a:alpha val="75000"/>
                </a:schemeClr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>
              <a:stCxn id="10" idx="2"/>
              <a:endCxn id="41" idx="0"/>
            </p:cNvCxnSpPr>
            <p:nvPr/>
          </p:nvCxnSpPr>
          <p:spPr>
            <a:xfrm>
              <a:off x="4552289" y="1425861"/>
              <a:ext cx="1" cy="382955"/>
            </a:xfrm>
            <a:prstGeom prst="straightConnector1">
              <a:avLst/>
            </a:prstGeom>
            <a:ln w="6350">
              <a:solidFill>
                <a:schemeClr val="bg1">
                  <a:lumMod val="50000"/>
                  <a:alpha val="75000"/>
                </a:schemeClr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 39"/>
            <p:cNvSpPr/>
            <p:nvPr/>
          </p:nvSpPr>
          <p:spPr>
            <a:xfrm>
              <a:off x="1134011" y="1786539"/>
              <a:ext cx="1381964" cy="2585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spAutoFit/>
            </a:bodyPr>
            <a:lstStyle/>
            <a:p>
              <a:pPr algn="ctr" defTabSz="53338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chemeClr val="tx1"/>
                  </a:solidFill>
                </a:rPr>
                <a:t>XXX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861308" y="1808816"/>
              <a:ext cx="1381964" cy="2585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spAutoFit/>
            </a:bodyPr>
            <a:lstStyle/>
            <a:p>
              <a:pPr algn="ctr" defTabSz="53338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chemeClr val="tx1"/>
                  </a:solidFill>
                </a:rPr>
                <a:t>XXX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6588605" y="1788165"/>
              <a:ext cx="1381964" cy="2552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spAutoFit/>
            </a:bodyPr>
            <a:lstStyle/>
            <a:p>
              <a:pPr algn="ctr" defTabSz="53338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chemeClr val="tx1"/>
                  </a:solidFill>
                </a:rPr>
                <a:t>XXX</a:t>
              </a:r>
            </a:p>
          </p:txBody>
        </p:sp>
        <p:cxnSp>
          <p:nvCxnSpPr>
            <p:cNvPr id="52" name="Straight Arrow Connector 51"/>
            <p:cNvCxnSpPr>
              <a:stCxn id="41" idx="2"/>
              <a:endCxn id="15" idx="0"/>
            </p:cNvCxnSpPr>
            <p:nvPr/>
          </p:nvCxnSpPr>
          <p:spPr>
            <a:xfrm flipH="1">
              <a:off x="4552289" y="2067348"/>
              <a:ext cx="1" cy="252592"/>
            </a:xfrm>
            <a:prstGeom prst="straightConnector1">
              <a:avLst/>
            </a:prstGeom>
            <a:ln w="6350">
              <a:solidFill>
                <a:schemeClr val="bg1">
                  <a:lumMod val="50000"/>
                  <a:alpha val="7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/>
            <p:cNvCxnSpPr>
              <a:stCxn id="42" idx="2"/>
              <a:endCxn id="16" idx="0"/>
            </p:cNvCxnSpPr>
            <p:nvPr/>
          </p:nvCxnSpPr>
          <p:spPr>
            <a:xfrm flipH="1">
              <a:off x="7279586" y="2043445"/>
              <a:ext cx="1" cy="276495"/>
            </a:xfrm>
            <a:prstGeom prst="straightConnector1">
              <a:avLst/>
            </a:prstGeom>
            <a:ln w="6350">
              <a:solidFill>
                <a:schemeClr val="bg1">
                  <a:lumMod val="50000"/>
                  <a:alpha val="7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Arrow Connector 57"/>
            <p:cNvCxnSpPr>
              <a:stCxn id="40" idx="2"/>
              <a:endCxn id="14" idx="0"/>
            </p:cNvCxnSpPr>
            <p:nvPr/>
          </p:nvCxnSpPr>
          <p:spPr>
            <a:xfrm flipH="1">
              <a:off x="1824992" y="2045071"/>
              <a:ext cx="1" cy="274869"/>
            </a:xfrm>
            <a:prstGeom prst="straightConnector1">
              <a:avLst/>
            </a:prstGeom>
            <a:ln w="6350">
              <a:solidFill>
                <a:schemeClr val="bg1">
                  <a:lumMod val="50000"/>
                  <a:alpha val="7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Elbow Connector 62"/>
            <p:cNvCxnSpPr>
              <a:stCxn id="14" idx="2"/>
              <a:endCxn id="64" idx="0"/>
            </p:cNvCxnSpPr>
            <p:nvPr/>
          </p:nvCxnSpPr>
          <p:spPr>
            <a:xfrm rot="5400000">
              <a:off x="1210031" y="2496688"/>
              <a:ext cx="356853" cy="87307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bg1">
                  <a:lumMod val="50000"/>
                  <a:alpha val="75000"/>
                </a:schemeClr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ectangle 63"/>
            <p:cNvSpPr/>
            <p:nvPr/>
          </p:nvSpPr>
          <p:spPr>
            <a:xfrm>
              <a:off x="260940" y="3111650"/>
              <a:ext cx="1381964" cy="2585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spAutoFit/>
            </a:bodyPr>
            <a:lstStyle/>
            <a:p>
              <a:pPr algn="ctr" defTabSz="53338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chemeClr val="tx1"/>
                  </a:solidFill>
                </a:rPr>
                <a:t>XXX</a:t>
              </a:r>
            </a:p>
          </p:txBody>
        </p:sp>
        <p:cxnSp>
          <p:nvCxnSpPr>
            <p:cNvPr id="65" name="Straight Arrow Connector 64"/>
            <p:cNvCxnSpPr>
              <a:stCxn id="64" idx="2"/>
              <a:endCxn id="11" idx="0"/>
            </p:cNvCxnSpPr>
            <p:nvPr/>
          </p:nvCxnSpPr>
          <p:spPr>
            <a:xfrm>
              <a:off x="951922" y="3370182"/>
              <a:ext cx="3066" cy="359889"/>
            </a:xfrm>
            <a:prstGeom prst="straightConnector1">
              <a:avLst/>
            </a:prstGeom>
            <a:ln w="6350">
              <a:solidFill>
                <a:schemeClr val="bg1">
                  <a:lumMod val="50000"/>
                  <a:alpha val="7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Rectangle 70"/>
            <p:cNvSpPr/>
            <p:nvPr/>
          </p:nvSpPr>
          <p:spPr>
            <a:xfrm>
              <a:off x="2016605" y="3111650"/>
              <a:ext cx="1381964" cy="2585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spAutoFit/>
            </a:bodyPr>
            <a:lstStyle/>
            <a:p>
              <a:pPr algn="ctr" defTabSz="53338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chemeClr val="tx1"/>
                  </a:solidFill>
                </a:rPr>
                <a:t>XXX</a:t>
              </a:r>
            </a:p>
          </p:txBody>
        </p:sp>
        <p:cxnSp>
          <p:nvCxnSpPr>
            <p:cNvPr id="72" name="Elbow Connector 71"/>
            <p:cNvCxnSpPr>
              <a:stCxn id="14" idx="2"/>
              <a:endCxn id="71" idx="0"/>
            </p:cNvCxnSpPr>
            <p:nvPr/>
          </p:nvCxnSpPr>
          <p:spPr>
            <a:xfrm rot="16200000" flipH="1">
              <a:off x="2087863" y="2491925"/>
              <a:ext cx="356853" cy="882595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bg1">
                  <a:lumMod val="50000"/>
                  <a:alpha val="75000"/>
                </a:schemeClr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Arrow Connector 74"/>
            <p:cNvCxnSpPr>
              <a:stCxn id="71" idx="2"/>
              <a:endCxn id="12" idx="0"/>
            </p:cNvCxnSpPr>
            <p:nvPr/>
          </p:nvCxnSpPr>
          <p:spPr>
            <a:xfrm flipH="1">
              <a:off x="2707586" y="3370182"/>
              <a:ext cx="1" cy="359889"/>
            </a:xfrm>
            <a:prstGeom prst="straightConnector1">
              <a:avLst/>
            </a:prstGeom>
            <a:ln w="6350">
              <a:solidFill>
                <a:schemeClr val="bg1">
                  <a:lumMod val="50000"/>
                  <a:alpha val="7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Rectangle 88"/>
            <p:cNvSpPr/>
            <p:nvPr/>
          </p:nvSpPr>
          <p:spPr>
            <a:xfrm>
              <a:off x="5812430" y="3730071"/>
              <a:ext cx="1164924" cy="43485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38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/>
                  </a:solidFill>
                </a:rPr>
                <a:t>XXX</a:t>
              </a: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7565030" y="3730071"/>
              <a:ext cx="1164924" cy="43485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38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/>
                  </a:solidFill>
                </a:rPr>
                <a:t>XXX</a:t>
              </a:r>
            </a:p>
          </p:txBody>
        </p:sp>
        <p:cxnSp>
          <p:nvCxnSpPr>
            <p:cNvPr id="91" name="Elbow Connector 90"/>
            <p:cNvCxnSpPr>
              <a:stCxn id="16" idx="2"/>
              <a:endCxn id="92" idx="0"/>
            </p:cNvCxnSpPr>
            <p:nvPr/>
          </p:nvCxnSpPr>
          <p:spPr>
            <a:xfrm rot="5400000">
              <a:off x="6657281" y="2489344"/>
              <a:ext cx="356853" cy="887759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bg1">
                  <a:lumMod val="50000"/>
                  <a:alpha val="75000"/>
                </a:schemeClr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Rectangle 91"/>
            <p:cNvSpPr/>
            <p:nvPr/>
          </p:nvSpPr>
          <p:spPr>
            <a:xfrm>
              <a:off x="5700845" y="3111650"/>
              <a:ext cx="1381964" cy="2585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spAutoFit/>
            </a:bodyPr>
            <a:lstStyle/>
            <a:p>
              <a:pPr algn="ctr" defTabSz="53338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chemeClr val="tx1"/>
                  </a:solidFill>
                </a:rPr>
                <a:t>XXX</a:t>
              </a:r>
            </a:p>
          </p:txBody>
        </p:sp>
        <p:cxnSp>
          <p:nvCxnSpPr>
            <p:cNvPr id="93" name="Straight Arrow Connector 92"/>
            <p:cNvCxnSpPr>
              <a:stCxn id="92" idx="2"/>
              <a:endCxn id="89" idx="0"/>
            </p:cNvCxnSpPr>
            <p:nvPr/>
          </p:nvCxnSpPr>
          <p:spPr>
            <a:xfrm>
              <a:off x="6391827" y="3370182"/>
              <a:ext cx="3065" cy="359889"/>
            </a:xfrm>
            <a:prstGeom prst="straightConnector1">
              <a:avLst/>
            </a:prstGeom>
            <a:ln w="6350">
              <a:solidFill>
                <a:schemeClr val="bg1">
                  <a:lumMod val="50000"/>
                  <a:alpha val="7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ctangle 93"/>
            <p:cNvSpPr/>
            <p:nvPr/>
          </p:nvSpPr>
          <p:spPr>
            <a:xfrm>
              <a:off x="7456510" y="3111650"/>
              <a:ext cx="1381964" cy="2585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spAutoFit/>
            </a:bodyPr>
            <a:lstStyle/>
            <a:p>
              <a:pPr algn="ctr" defTabSz="53338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chemeClr val="tx1"/>
                  </a:solidFill>
                </a:rPr>
                <a:t>XXX</a:t>
              </a:r>
            </a:p>
          </p:txBody>
        </p:sp>
        <p:cxnSp>
          <p:nvCxnSpPr>
            <p:cNvPr id="95" name="Elbow Connector 94"/>
            <p:cNvCxnSpPr>
              <a:stCxn id="16" idx="2"/>
              <a:endCxn id="94" idx="0"/>
            </p:cNvCxnSpPr>
            <p:nvPr/>
          </p:nvCxnSpPr>
          <p:spPr>
            <a:xfrm rot="16200000" flipH="1">
              <a:off x="7535113" y="2499270"/>
              <a:ext cx="356853" cy="867906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bg1">
                  <a:lumMod val="50000"/>
                  <a:alpha val="75000"/>
                </a:schemeClr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Arrow Connector 95"/>
            <p:cNvCxnSpPr>
              <a:stCxn id="94" idx="2"/>
              <a:endCxn id="90" idx="0"/>
            </p:cNvCxnSpPr>
            <p:nvPr/>
          </p:nvCxnSpPr>
          <p:spPr>
            <a:xfrm>
              <a:off x="8147492" y="3370182"/>
              <a:ext cx="0" cy="359889"/>
            </a:xfrm>
            <a:prstGeom prst="straightConnector1">
              <a:avLst/>
            </a:prstGeom>
            <a:ln w="6350">
              <a:solidFill>
                <a:schemeClr val="bg1">
                  <a:lumMod val="50000"/>
                  <a:alpha val="7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Footer Placeholder 99">
            <a:extLst>
              <a:ext uri="{FF2B5EF4-FFF2-40B4-BE49-F238E27FC236}">
                <a16:creationId xmlns:a16="http://schemas.microsoft.com/office/drawing/2014/main" id="{D69EA1A6-E85A-4C8A-A84B-E92DE162487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5" name="Slide Number Placeholder 100">
            <a:extLst>
              <a:ext uri="{FF2B5EF4-FFF2-40B4-BE49-F238E27FC236}">
                <a16:creationId xmlns:a16="http://schemas.microsoft.com/office/drawing/2014/main" id="{C1AC676E-B97E-41D5-A44A-E0A91961C1C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37" name="Text Placeholder 41">
            <a:extLst>
              <a:ext uri="{FF2B5EF4-FFF2-40B4-BE49-F238E27FC236}">
                <a16:creationId xmlns:a16="http://schemas.microsoft.com/office/drawing/2014/main" id="{86846B83-156E-424A-9D12-473D9E9F07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43783894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64570" cy="545464"/>
          </a:xfrm>
        </p:spPr>
        <p:txBody>
          <a:bodyPr/>
          <a:lstStyle/>
          <a:p>
            <a:r>
              <a:rPr lang="en-US" dirty="0"/>
              <a:t>Revenue or another metric histogram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4294967295"/>
          </p:nvPr>
        </p:nvGraphicFramePr>
        <p:xfrm>
          <a:off x="565265" y="1089025"/>
          <a:ext cx="7772400" cy="3470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ctangle 7"/>
          <p:cNvSpPr/>
          <p:nvPr/>
        </p:nvSpPr>
        <p:spPr>
          <a:xfrm>
            <a:off x="1114452" y="1160168"/>
            <a:ext cx="1412246" cy="184666"/>
          </a:xfrm>
          <a:prstGeom prst="rect">
            <a:avLst/>
          </a:prstGeom>
          <a:ln>
            <a:noFill/>
          </a:ln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ea typeface="Open Sans Semibold" pitchFamily="34" charset="0"/>
                <a:cs typeface="Open Sans Semibold" pitchFamily="34" charset="0"/>
              </a:rPr>
              <a:t>Xxx </a:t>
            </a:r>
            <a:r>
              <a:rPr lang="en-US" sz="1200" dirty="0" err="1">
                <a:ea typeface="Open Sans Semibold" pitchFamily="34" charset="0"/>
                <a:cs typeface="Open Sans Semibold" pitchFamily="34" charset="0"/>
              </a:rPr>
              <a:t>Xxxxxx</a:t>
            </a:r>
            <a:r>
              <a:rPr lang="en-US" sz="1200" dirty="0">
                <a:ea typeface="Open Sans Semibold" pitchFamily="34" charset="0"/>
                <a:cs typeface="Open Sans Semibold" pitchFamily="34" charset="0"/>
              </a:rPr>
              <a:t> X xx (%)</a:t>
            </a:r>
          </a:p>
        </p:txBody>
      </p:sp>
      <p:sp>
        <p:nvSpPr>
          <p:cNvPr id="4" name="Right Arrow 3"/>
          <p:cNvSpPr/>
          <p:nvPr/>
        </p:nvSpPr>
        <p:spPr>
          <a:xfrm>
            <a:off x="5976156" y="1563639"/>
            <a:ext cx="1836204" cy="720080"/>
          </a:xfrm>
          <a:prstGeom prst="rightArrow">
            <a:avLst>
              <a:gd name="adj1" fmla="val 58597"/>
              <a:gd name="adj2" fmla="val 50000"/>
            </a:avLst>
          </a:prstGeom>
          <a:gradFill flip="none" rotWithShape="1">
            <a:gsLst>
              <a:gs pos="0">
                <a:schemeClr val="accent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TextBox 6"/>
          <p:cNvSpPr txBox="1"/>
          <p:nvPr/>
        </p:nvSpPr>
        <p:spPr>
          <a:xfrm>
            <a:off x="5747023" y="1706323"/>
            <a:ext cx="1701181" cy="458587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</a:pPr>
            <a:r>
              <a:rPr lang="en-US" sz="1600" dirty="0">
                <a:solidFill>
                  <a:schemeClr val="bg1"/>
                </a:solidFill>
              </a:rPr>
              <a:t>400% </a:t>
            </a:r>
            <a:r>
              <a:rPr lang="en-US" sz="1600" dirty="0" err="1">
                <a:solidFill>
                  <a:schemeClr val="bg1"/>
                </a:solidFill>
              </a:rPr>
              <a:t>Xxxxxx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x 4 xx xxx</a:t>
            </a:r>
          </a:p>
        </p:txBody>
      </p:sp>
      <p:sp>
        <p:nvSpPr>
          <p:cNvPr id="9" name="Footer Placeholder 99">
            <a:extLst>
              <a:ext uri="{FF2B5EF4-FFF2-40B4-BE49-F238E27FC236}">
                <a16:creationId xmlns:a16="http://schemas.microsoft.com/office/drawing/2014/main" id="{4DE02CBC-A062-48D2-92F6-0A9339AA04C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100">
            <a:extLst>
              <a:ext uri="{FF2B5EF4-FFF2-40B4-BE49-F238E27FC236}">
                <a16:creationId xmlns:a16="http://schemas.microsoft.com/office/drawing/2014/main" id="{C98F0F44-682C-47BA-A34E-AA062C00A41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11" name="Text Placeholder 41">
            <a:extLst>
              <a:ext uri="{FF2B5EF4-FFF2-40B4-BE49-F238E27FC236}">
                <a16:creationId xmlns:a16="http://schemas.microsoft.com/office/drawing/2014/main" id="{B396ECC1-FA67-40DA-BC53-D226E0CB2A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280256585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04185" cy="545464"/>
          </a:xfrm>
        </p:spPr>
        <p:txBody>
          <a:bodyPr/>
          <a:lstStyle/>
          <a:p>
            <a:r>
              <a:rPr lang="en-US" dirty="0"/>
              <a:t>Horizontal histograms</a:t>
            </a:r>
          </a:p>
        </p:txBody>
      </p:sp>
      <p:graphicFrame>
        <p:nvGraphicFramePr>
          <p:cNvPr id="4" name="Chart 3"/>
          <p:cNvGraphicFramePr/>
          <p:nvPr/>
        </p:nvGraphicFramePr>
        <p:xfrm>
          <a:off x="923635" y="1985241"/>
          <a:ext cx="3474720" cy="256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/>
          <p:cNvGraphicFramePr/>
          <p:nvPr/>
        </p:nvGraphicFramePr>
        <p:xfrm>
          <a:off x="4927595" y="1985241"/>
          <a:ext cx="3474720" cy="256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Freeform 17"/>
          <p:cNvSpPr>
            <a:spLocks noEditPoints="1"/>
          </p:cNvSpPr>
          <p:nvPr/>
        </p:nvSpPr>
        <p:spPr bwMode="auto">
          <a:xfrm>
            <a:off x="723228" y="2272480"/>
            <a:ext cx="215272" cy="209292"/>
          </a:xfrm>
          <a:custGeom>
            <a:avLst/>
            <a:gdLst>
              <a:gd name="T0" fmla="*/ 199 w 800"/>
              <a:gd name="T1" fmla="*/ 146 h 778"/>
              <a:gd name="T2" fmla="*/ 153 w 800"/>
              <a:gd name="T3" fmla="*/ 146 h 778"/>
              <a:gd name="T4" fmla="*/ 94 w 800"/>
              <a:gd name="T5" fmla="*/ 389 h 778"/>
              <a:gd name="T6" fmla="*/ 153 w 800"/>
              <a:gd name="T7" fmla="*/ 632 h 778"/>
              <a:gd name="T8" fmla="*/ 199 w 800"/>
              <a:gd name="T9" fmla="*/ 632 h 778"/>
              <a:gd name="T10" fmla="*/ 257 w 800"/>
              <a:gd name="T11" fmla="*/ 389 h 778"/>
              <a:gd name="T12" fmla="*/ 176 w 800"/>
              <a:gd name="T13" fmla="*/ 425 h 778"/>
              <a:gd name="T14" fmla="*/ 176 w 800"/>
              <a:gd name="T15" fmla="*/ 353 h 778"/>
              <a:gd name="T16" fmla="*/ 176 w 800"/>
              <a:gd name="T17" fmla="*/ 425 h 778"/>
              <a:gd name="T18" fmla="*/ 318 w 800"/>
              <a:gd name="T19" fmla="*/ 184 h 778"/>
              <a:gd name="T20" fmla="*/ 377 w 800"/>
              <a:gd name="T21" fmla="*/ 632 h 778"/>
              <a:gd name="T22" fmla="*/ 422 w 800"/>
              <a:gd name="T23" fmla="*/ 632 h 778"/>
              <a:gd name="T24" fmla="*/ 481 w 800"/>
              <a:gd name="T25" fmla="*/ 184 h 778"/>
              <a:gd name="T26" fmla="*/ 400 w 800"/>
              <a:gd name="T27" fmla="*/ 220 h 778"/>
              <a:gd name="T28" fmla="*/ 400 w 800"/>
              <a:gd name="T29" fmla="*/ 148 h 778"/>
              <a:gd name="T30" fmla="*/ 400 w 800"/>
              <a:gd name="T31" fmla="*/ 220 h 778"/>
              <a:gd name="T32" fmla="*/ 119 w 800"/>
              <a:gd name="T33" fmla="*/ 0 h 778"/>
              <a:gd name="T34" fmla="*/ 0 w 800"/>
              <a:gd name="T35" fmla="*/ 659 h 778"/>
              <a:gd name="T36" fmla="*/ 681 w 800"/>
              <a:gd name="T37" fmla="*/ 778 h 778"/>
              <a:gd name="T38" fmla="*/ 800 w 800"/>
              <a:gd name="T39" fmla="*/ 119 h 778"/>
              <a:gd name="T40" fmla="*/ 754 w 800"/>
              <a:gd name="T41" fmla="*/ 659 h 778"/>
              <a:gd name="T42" fmla="*/ 119 w 800"/>
              <a:gd name="T43" fmla="*/ 732 h 778"/>
              <a:gd name="T44" fmla="*/ 45 w 800"/>
              <a:gd name="T45" fmla="*/ 119 h 778"/>
              <a:gd name="T46" fmla="*/ 681 w 800"/>
              <a:gd name="T47" fmla="*/ 45 h 778"/>
              <a:gd name="T48" fmla="*/ 754 w 800"/>
              <a:gd name="T49" fmla="*/ 659 h 778"/>
              <a:gd name="T50" fmla="*/ 646 w 800"/>
              <a:gd name="T51" fmla="*/ 146 h 778"/>
              <a:gd name="T52" fmla="*/ 601 w 800"/>
              <a:gd name="T53" fmla="*/ 146 h 778"/>
              <a:gd name="T54" fmla="*/ 542 w 800"/>
              <a:gd name="T55" fmla="*/ 478 h 778"/>
              <a:gd name="T56" fmla="*/ 601 w 800"/>
              <a:gd name="T57" fmla="*/ 632 h 778"/>
              <a:gd name="T58" fmla="*/ 646 w 800"/>
              <a:gd name="T59" fmla="*/ 632 h 778"/>
              <a:gd name="T60" fmla="*/ 705 w 800"/>
              <a:gd name="T61" fmla="*/ 478 h 778"/>
              <a:gd name="T62" fmla="*/ 623 w 800"/>
              <a:gd name="T63" fmla="*/ 514 h 778"/>
              <a:gd name="T64" fmla="*/ 623 w 800"/>
              <a:gd name="T65" fmla="*/ 442 h 778"/>
              <a:gd name="T66" fmla="*/ 623 w 800"/>
              <a:gd name="T67" fmla="*/ 514 h 7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800" h="778">
                <a:moveTo>
                  <a:pt x="199" y="311"/>
                </a:moveTo>
                <a:cubicBezTo>
                  <a:pt x="199" y="146"/>
                  <a:pt x="199" y="146"/>
                  <a:pt x="199" y="146"/>
                </a:cubicBezTo>
                <a:cubicBezTo>
                  <a:pt x="199" y="133"/>
                  <a:pt x="188" y="123"/>
                  <a:pt x="176" y="123"/>
                </a:cubicBezTo>
                <a:cubicBezTo>
                  <a:pt x="163" y="123"/>
                  <a:pt x="153" y="133"/>
                  <a:pt x="153" y="146"/>
                </a:cubicBezTo>
                <a:cubicBezTo>
                  <a:pt x="153" y="311"/>
                  <a:pt x="153" y="311"/>
                  <a:pt x="153" y="311"/>
                </a:cubicBezTo>
                <a:cubicBezTo>
                  <a:pt x="119" y="320"/>
                  <a:pt x="94" y="352"/>
                  <a:pt x="94" y="389"/>
                </a:cubicBezTo>
                <a:cubicBezTo>
                  <a:pt x="94" y="426"/>
                  <a:pt x="119" y="457"/>
                  <a:pt x="153" y="467"/>
                </a:cubicBezTo>
                <a:cubicBezTo>
                  <a:pt x="153" y="632"/>
                  <a:pt x="153" y="632"/>
                  <a:pt x="153" y="632"/>
                </a:cubicBezTo>
                <a:cubicBezTo>
                  <a:pt x="153" y="644"/>
                  <a:pt x="163" y="654"/>
                  <a:pt x="176" y="654"/>
                </a:cubicBezTo>
                <a:cubicBezTo>
                  <a:pt x="188" y="654"/>
                  <a:pt x="199" y="644"/>
                  <a:pt x="199" y="632"/>
                </a:cubicBezTo>
                <a:cubicBezTo>
                  <a:pt x="199" y="467"/>
                  <a:pt x="199" y="467"/>
                  <a:pt x="199" y="467"/>
                </a:cubicBezTo>
                <a:cubicBezTo>
                  <a:pt x="233" y="457"/>
                  <a:pt x="257" y="426"/>
                  <a:pt x="257" y="389"/>
                </a:cubicBezTo>
                <a:cubicBezTo>
                  <a:pt x="257" y="352"/>
                  <a:pt x="233" y="320"/>
                  <a:pt x="199" y="311"/>
                </a:cubicBezTo>
                <a:close/>
                <a:moveTo>
                  <a:pt x="176" y="425"/>
                </a:moveTo>
                <a:cubicBezTo>
                  <a:pt x="156" y="425"/>
                  <a:pt x="140" y="408"/>
                  <a:pt x="140" y="389"/>
                </a:cubicBezTo>
                <a:cubicBezTo>
                  <a:pt x="140" y="369"/>
                  <a:pt x="156" y="353"/>
                  <a:pt x="176" y="353"/>
                </a:cubicBezTo>
                <a:cubicBezTo>
                  <a:pt x="196" y="353"/>
                  <a:pt x="212" y="369"/>
                  <a:pt x="212" y="389"/>
                </a:cubicBezTo>
                <a:cubicBezTo>
                  <a:pt x="212" y="408"/>
                  <a:pt x="196" y="425"/>
                  <a:pt x="176" y="425"/>
                </a:cubicBezTo>
                <a:close/>
                <a:moveTo>
                  <a:pt x="400" y="103"/>
                </a:moveTo>
                <a:cubicBezTo>
                  <a:pt x="355" y="103"/>
                  <a:pt x="318" y="139"/>
                  <a:pt x="318" y="184"/>
                </a:cubicBezTo>
                <a:cubicBezTo>
                  <a:pt x="318" y="221"/>
                  <a:pt x="343" y="252"/>
                  <a:pt x="377" y="262"/>
                </a:cubicBezTo>
                <a:cubicBezTo>
                  <a:pt x="377" y="632"/>
                  <a:pt x="377" y="632"/>
                  <a:pt x="377" y="632"/>
                </a:cubicBezTo>
                <a:cubicBezTo>
                  <a:pt x="377" y="644"/>
                  <a:pt x="387" y="654"/>
                  <a:pt x="400" y="654"/>
                </a:cubicBezTo>
                <a:cubicBezTo>
                  <a:pt x="412" y="654"/>
                  <a:pt x="422" y="644"/>
                  <a:pt x="422" y="632"/>
                </a:cubicBezTo>
                <a:cubicBezTo>
                  <a:pt x="422" y="262"/>
                  <a:pt x="422" y="262"/>
                  <a:pt x="422" y="262"/>
                </a:cubicBezTo>
                <a:cubicBezTo>
                  <a:pt x="456" y="252"/>
                  <a:pt x="481" y="221"/>
                  <a:pt x="481" y="184"/>
                </a:cubicBezTo>
                <a:cubicBezTo>
                  <a:pt x="481" y="139"/>
                  <a:pt x="445" y="103"/>
                  <a:pt x="400" y="103"/>
                </a:cubicBezTo>
                <a:close/>
                <a:moveTo>
                  <a:pt x="400" y="220"/>
                </a:moveTo>
                <a:cubicBezTo>
                  <a:pt x="380" y="220"/>
                  <a:pt x="364" y="204"/>
                  <a:pt x="364" y="184"/>
                </a:cubicBezTo>
                <a:cubicBezTo>
                  <a:pt x="364" y="164"/>
                  <a:pt x="380" y="148"/>
                  <a:pt x="400" y="148"/>
                </a:cubicBezTo>
                <a:cubicBezTo>
                  <a:pt x="419" y="148"/>
                  <a:pt x="436" y="164"/>
                  <a:pt x="436" y="184"/>
                </a:cubicBezTo>
                <a:cubicBezTo>
                  <a:pt x="436" y="204"/>
                  <a:pt x="419" y="220"/>
                  <a:pt x="400" y="220"/>
                </a:cubicBezTo>
                <a:close/>
                <a:moveTo>
                  <a:pt x="681" y="0"/>
                </a:moveTo>
                <a:cubicBezTo>
                  <a:pt x="119" y="0"/>
                  <a:pt x="119" y="0"/>
                  <a:pt x="119" y="0"/>
                </a:cubicBezTo>
                <a:cubicBezTo>
                  <a:pt x="53" y="0"/>
                  <a:pt x="0" y="53"/>
                  <a:pt x="0" y="119"/>
                </a:cubicBezTo>
                <a:cubicBezTo>
                  <a:pt x="0" y="659"/>
                  <a:pt x="0" y="659"/>
                  <a:pt x="0" y="659"/>
                </a:cubicBezTo>
                <a:cubicBezTo>
                  <a:pt x="0" y="724"/>
                  <a:pt x="53" y="778"/>
                  <a:pt x="119" y="778"/>
                </a:cubicBezTo>
                <a:cubicBezTo>
                  <a:pt x="681" y="778"/>
                  <a:pt x="681" y="778"/>
                  <a:pt x="681" y="778"/>
                </a:cubicBezTo>
                <a:cubicBezTo>
                  <a:pt x="746" y="778"/>
                  <a:pt x="800" y="724"/>
                  <a:pt x="800" y="659"/>
                </a:cubicBezTo>
                <a:cubicBezTo>
                  <a:pt x="800" y="119"/>
                  <a:pt x="800" y="119"/>
                  <a:pt x="800" y="119"/>
                </a:cubicBezTo>
                <a:cubicBezTo>
                  <a:pt x="800" y="53"/>
                  <a:pt x="746" y="0"/>
                  <a:pt x="681" y="0"/>
                </a:cubicBezTo>
                <a:close/>
                <a:moveTo>
                  <a:pt x="754" y="659"/>
                </a:moveTo>
                <a:cubicBezTo>
                  <a:pt x="754" y="699"/>
                  <a:pt x="721" y="732"/>
                  <a:pt x="681" y="732"/>
                </a:cubicBezTo>
                <a:cubicBezTo>
                  <a:pt x="119" y="732"/>
                  <a:pt x="119" y="732"/>
                  <a:pt x="119" y="732"/>
                </a:cubicBezTo>
                <a:cubicBezTo>
                  <a:pt x="78" y="732"/>
                  <a:pt x="45" y="699"/>
                  <a:pt x="45" y="659"/>
                </a:cubicBezTo>
                <a:cubicBezTo>
                  <a:pt x="45" y="119"/>
                  <a:pt x="45" y="119"/>
                  <a:pt x="45" y="119"/>
                </a:cubicBezTo>
                <a:cubicBezTo>
                  <a:pt x="45" y="78"/>
                  <a:pt x="78" y="45"/>
                  <a:pt x="119" y="45"/>
                </a:cubicBezTo>
                <a:cubicBezTo>
                  <a:pt x="681" y="45"/>
                  <a:pt x="681" y="45"/>
                  <a:pt x="681" y="45"/>
                </a:cubicBezTo>
                <a:cubicBezTo>
                  <a:pt x="721" y="45"/>
                  <a:pt x="754" y="78"/>
                  <a:pt x="754" y="119"/>
                </a:cubicBezTo>
                <a:lnTo>
                  <a:pt x="754" y="659"/>
                </a:lnTo>
                <a:close/>
                <a:moveTo>
                  <a:pt x="646" y="400"/>
                </a:moveTo>
                <a:cubicBezTo>
                  <a:pt x="646" y="146"/>
                  <a:pt x="646" y="146"/>
                  <a:pt x="646" y="146"/>
                </a:cubicBezTo>
                <a:cubicBezTo>
                  <a:pt x="646" y="133"/>
                  <a:pt x="636" y="123"/>
                  <a:pt x="623" y="123"/>
                </a:cubicBezTo>
                <a:cubicBezTo>
                  <a:pt x="611" y="123"/>
                  <a:pt x="601" y="133"/>
                  <a:pt x="601" y="146"/>
                </a:cubicBezTo>
                <a:cubicBezTo>
                  <a:pt x="601" y="400"/>
                  <a:pt x="601" y="400"/>
                  <a:pt x="601" y="400"/>
                </a:cubicBezTo>
                <a:cubicBezTo>
                  <a:pt x="567" y="410"/>
                  <a:pt x="542" y="441"/>
                  <a:pt x="542" y="478"/>
                </a:cubicBezTo>
                <a:cubicBezTo>
                  <a:pt x="542" y="515"/>
                  <a:pt x="567" y="546"/>
                  <a:pt x="601" y="556"/>
                </a:cubicBezTo>
                <a:cubicBezTo>
                  <a:pt x="601" y="632"/>
                  <a:pt x="601" y="632"/>
                  <a:pt x="601" y="632"/>
                </a:cubicBezTo>
                <a:cubicBezTo>
                  <a:pt x="601" y="644"/>
                  <a:pt x="611" y="654"/>
                  <a:pt x="623" y="654"/>
                </a:cubicBezTo>
                <a:cubicBezTo>
                  <a:pt x="636" y="654"/>
                  <a:pt x="646" y="644"/>
                  <a:pt x="646" y="632"/>
                </a:cubicBezTo>
                <a:cubicBezTo>
                  <a:pt x="646" y="556"/>
                  <a:pt x="646" y="556"/>
                  <a:pt x="646" y="556"/>
                </a:cubicBezTo>
                <a:cubicBezTo>
                  <a:pt x="680" y="546"/>
                  <a:pt x="705" y="515"/>
                  <a:pt x="705" y="478"/>
                </a:cubicBezTo>
                <a:cubicBezTo>
                  <a:pt x="705" y="441"/>
                  <a:pt x="680" y="410"/>
                  <a:pt x="646" y="400"/>
                </a:cubicBezTo>
                <a:close/>
                <a:moveTo>
                  <a:pt x="623" y="514"/>
                </a:moveTo>
                <a:cubicBezTo>
                  <a:pt x="604" y="514"/>
                  <a:pt x="588" y="498"/>
                  <a:pt x="588" y="478"/>
                </a:cubicBezTo>
                <a:cubicBezTo>
                  <a:pt x="588" y="458"/>
                  <a:pt x="604" y="442"/>
                  <a:pt x="623" y="442"/>
                </a:cubicBezTo>
                <a:cubicBezTo>
                  <a:pt x="643" y="442"/>
                  <a:pt x="659" y="458"/>
                  <a:pt x="659" y="478"/>
                </a:cubicBezTo>
                <a:cubicBezTo>
                  <a:pt x="659" y="498"/>
                  <a:pt x="643" y="514"/>
                  <a:pt x="623" y="51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7" name="TextBox 6"/>
          <p:cNvSpPr txBox="1"/>
          <p:nvPr/>
        </p:nvSpPr>
        <p:spPr>
          <a:xfrm>
            <a:off x="725893" y="1165516"/>
            <a:ext cx="769441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000" dirty="0"/>
              <a:t>XXX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25893" y="1584979"/>
            <a:ext cx="270467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dirty="0"/>
              <a:t>Xx xxx x </a:t>
            </a:r>
            <a:r>
              <a:rPr lang="en-US" sz="1100" dirty="0" err="1"/>
              <a:t>xxxxxxxxxxxxxxx</a:t>
            </a:r>
            <a:r>
              <a:rPr lang="en-US" sz="1100" dirty="0"/>
              <a:t> x </a:t>
            </a:r>
            <a:r>
              <a:rPr lang="en-US" sz="1100" dirty="0" err="1"/>
              <a:t>xxxxxx</a:t>
            </a:r>
            <a:r>
              <a:rPr lang="en-US" sz="1100" dirty="0"/>
              <a:t> x xxx x xxx xx xxx x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719692" y="1165516"/>
            <a:ext cx="769441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000" dirty="0"/>
              <a:t>XXX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719693" y="1584979"/>
            <a:ext cx="270467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dirty="0"/>
              <a:t>Xx xxx x </a:t>
            </a:r>
            <a:r>
              <a:rPr lang="en-US" sz="1100" dirty="0" err="1"/>
              <a:t>xxxxxxxxxxxxxxx</a:t>
            </a:r>
            <a:r>
              <a:rPr lang="en-US" sz="1100" dirty="0"/>
              <a:t> x </a:t>
            </a:r>
            <a:r>
              <a:rPr lang="en-US" sz="1100" dirty="0" err="1"/>
              <a:t>xxxxxx</a:t>
            </a:r>
            <a:r>
              <a:rPr lang="en-US" sz="1100" dirty="0"/>
              <a:t> x xxx x xxx xx xxx x </a:t>
            </a:r>
          </a:p>
        </p:txBody>
      </p:sp>
      <p:sp>
        <p:nvSpPr>
          <p:cNvPr id="18" name="Freeform 33"/>
          <p:cNvSpPr>
            <a:spLocks/>
          </p:cNvSpPr>
          <p:nvPr/>
        </p:nvSpPr>
        <p:spPr bwMode="auto">
          <a:xfrm>
            <a:off x="720435" y="2694597"/>
            <a:ext cx="220858" cy="244626"/>
          </a:xfrm>
          <a:custGeom>
            <a:avLst/>
            <a:gdLst>
              <a:gd name="T0" fmla="*/ 557 w 838"/>
              <a:gd name="T1" fmla="*/ 310 h 929"/>
              <a:gd name="T2" fmla="*/ 528 w 838"/>
              <a:gd name="T3" fmla="*/ 281 h 929"/>
              <a:gd name="T4" fmla="*/ 172 w 838"/>
              <a:gd name="T5" fmla="*/ 636 h 929"/>
              <a:gd name="T6" fmla="*/ 172 w 838"/>
              <a:gd name="T7" fmla="*/ 754 h 929"/>
              <a:gd name="T8" fmla="*/ 289 w 838"/>
              <a:gd name="T9" fmla="*/ 754 h 929"/>
              <a:gd name="T10" fmla="*/ 779 w 838"/>
              <a:gd name="T11" fmla="*/ 264 h 929"/>
              <a:gd name="T12" fmla="*/ 779 w 838"/>
              <a:gd name="T13" fmla="*/ 59 h 929"/>
              <a:gd name="T14" fmla="*/ 570 w 838"/>
              <a:gd name="T15" fmla="*/ 59 h 929"/>
              <a:gd name="T16" fmla="*/ 84 w 838"/>
              <a:gd name="T17" fmla="*/ 549 h 929"/>
              <a:gd name="T18" fmla="*/ 84 w 838"/>
              <a:gd name="T19" fmla="*/ 846 h 929"/>
              <a:gd name="T20" fmla="*/ 381 w 838"/>
              <a:gd name="T21" fmla="*/ 846 h 929"/>
              <a:gd name="T22" fmla="*/ 737 w 838"/>
              <a:gd name="T23" fmla="*/ 490 h 929"/>
              <a:gd name="T24" fmla="*/ 704 w 838"/>
              <a:gd name="T25" fmla="*/ 457 h 929"/>
              <a:gd name="T26" fmla="*/ 348 w 838"/>
              <a:gd name="T27" fmla="*/ 812 h 929"/>
              <a:gd name="T28" fmla="*/ 109 w 838"/>
              <a:gd name="T29" fmla="*/ 812 h 929"/>
              <a:gd name="T30" fmla="*/ 109 w 838"/>
              <a:gd name="T31" fmla="*/ 574 h 929"/>
              <a:gd name="T32" fmla="*/ 599 w 838"/>
              <a:gd name="T33" fmla="*/ 88 h 929"/>
              <a:gd name="T34" fmla="*/ 746 w 838"/>
              <a:gd name="T35" fmla="*/ 88 h 929"/>
              <a:gd name="T36" fmla="*/ 746 w 838"/>
              <a:gd name="T37" fmla="*/ 235 h 929"/>
              <a:gd name="T38" fmla="*/ 260 w 838"/>
              <a:gd name="T39" fmla="*/ 724 h 929"/>
              <a:gd name="T40" fmla="*/ 201 w 838"/>
              <a:gd name="T41" fmla="*/ 724 h 929"/>
              <a:gd name="T42" fmla="*/ 201 w 838"/>
              <a:gd name="T43" fmla="*/ 666 h 929"/>
              <a:gd name="T44" fmla="*/ 557 w 838"/>
              <a:gd name="T45" fmla="*/ 310 h 9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38" h="929">
                <a:moveTo>
                  <a:pt x="557" y="310"/>
                </a:moveTo>
                <a:cubicBezTo>
                  <a:pt x="528" y="281"/>
                  <a:pt x="528" y="281"/>
                  <a:pt x="528" y="281"/>
                </a:cubicBezTo>
                <a:cubicBezTo>
                  <a:pt x="172" y="636"/>
                  <a:pt x="172" y="636"/>
                  <a:pt x="172" y="636"/>
                </a:cubicBezTo>
                <a:cubicBezTo>
                  <a:pt x="139" y="670"/>
                  <a:pt x="139" y="720"/>
                  <a:pt x="172" y="754"/>
                </a:cubicBezTo>
                <a:cubicBezTo>
                  <a:pt x="206" y="787"/>
                  <a:pt x="256" y="787"/>
                  <a:pt x="289" y="754"/>
                </a:cubicBezTo>
                <a:cubicBezTo>
                  <a:pt x="779" y="264"/>
                  <a:pt x="779" y="264"/>
                  <a:pt x="779" y="264"/>
                </a:cubicBezTo>
                <a:cubicBezTo>
                  <a:pt x="838" y="205"/>
                  <a:pt x="838" y="113"/>
                  <a:pt x="779" y="59"/>
                </a:cubicBezTo>
                <a:cubicBezTo>
                  <a:pt x="720" y="0"/>
                  <a:pt x="628" y="0"/>
                  <a:pt x="570" y="59"/>
                </a:cubicBezTo>
                <a:cubicBezTo>
                  <a:pt x="84" y="549"/>
                  <a:pt x="84" y="549"/>
                  <a:pt x="84" y="549"/>
                </a:cubicBezTo>
                <a:cubicBezTo>
                  <a:pt x="0" y="632"/>
                  <a:pt x="5" y="762"/>
                  <a:pt x="84" y="846"/>
                </a:cubicBezTo>
                <a:cubicBezTo>
                  <a:pt x="168" y="929"/>
                  <a:pt x="298" y="929"/>
                  <a:pt x="381" y="846"/>
                </a:cubicBezTo>
                <a:cubicBezTo>
                  <a:pt x="737" y="490"/>
                  <a:pt x="737" y="490"/>
                  <a:pt x="737" y="490"/>
                </a:cubicBezTo>
                <a:cubicBezTo>
                  <a:pt x="704" y="457"/>
                  <a:pt x="704" y="457"/>
                  <a:pt x="704" y="457"/>
                </a:cubicBezTo>
                <a:cubicBezTo>
                  <a:pt x="348" y="812"/>
                  <a:pt x="348" y="812"/>
                  <a:pt x="348" y="812"/>
                </a:cubicBezTo>
                <a:cubicBezTo>
                  <a:pt x="281" y="879"/>
                  <a:pt x="176" y="879"/>
                  <a:pt x="109" y="812"/>
                </a:cubicBezTo>
                <a:cubicBezTo>
                  <a:pt x="42" y="745"/>
                  <a:pt x="42" y="641"/>
                  <a:pt x="109" y="574"/>
                </a:cubicBezTo>
                <a:cubicBezTo>
                  <a:pt x="599" y="88"/>
                  <a:pt x="599" y="88"/>
                  <a:pt x="599" y="88"/>
                </a:cubicBezTo>
                <a:cubicBezTo>
                  <a:pt x="641" y="46"/>
                  <a:pt x="708" y="46"/>
                  <a:pt x="746" y="88"/>
                </a:cubicBezTo>
                <a:cubicBezTo>
                  <a:pt x="787" y="130"/>
                  <a:pt x="787" y="197"/>
                  <a:pt x="746" y="235"/>
                </a:cubicBezTo>
                <a:cubicBezTo>
                  <a:pt x="260" y="724"/>
                  <a:pt x="260" y="724"/>
                  <a:pt x="260" y="724"/>
                </a:cubicBezTo>
                <a:cubicBezTo>
                  <a:pt x="243" y="741"/>
                  <a:pt x="218" y="741"/>
                  <a:pt x="201" y="724"/>
                </a:cubicBezTo>
                <a:cubicBezTo>
                  <a:pt x="185" y="708"/>
                  <a:pt x="185" y="683"/>
                  <a:pt x="201" y="666"/>
                </a:cubicBezTo>
                <a:lnTo>
                  <a:pt x="557" y="31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9" name="Freeform 33"/>
          <p:cNvSpPr>
            <a:spLocks noEditPoints="1"/>
          </p:cNvSpPr>
          <p:nvPr/>
        </p:nvSpPr>
        <p:spPr bwMode="auto">
          <a:xfrm>
            <a:off x="732600" y="3128762"/>
            <a:ext cx="196528" cy="263458"/>
          </a:xfrm>
          <a:custGeom>
            <a:avLst/>
            <a:gdLst>
              <a:gd name="T0" fmla="*/ 400 w 800"/>
              <a:gd name="T1" fmla="*/ 170 h 1065"/>
              <a:gd name="T2" fmla="*/ 159 w 800"/>
              <a:gd name="T3" fmla="*/ 410 h 1065"/>
              <a:gd name="T4" fmla="*/ 400 w 800"/>
              <a:gd name="T5" fmla="*/ 651 h 1065"/>
              <a:gd name="T6" fmla="*/ 641 w 800"/>
              <a:gd name="T7" fmla="*/ 410 h 1065"/>
              <a:gd name="T8" fmla="*/ 400 w 800"/>
              <a:gd name="T9" fmla="*/ 170 h 1065"/>
              <a:gd name="T10" fmla="*/ 400 w 800"/>
              <a:gd name="T11" fmla="*/ 616 h 1065"/>
              <a:gd name="T12" fmla="*/ 194 w 800"/>
              <a:gd name="T13" fmla="*/ 410 h 1065"/>
              <a:gd name="T14" fmla="*/ 400 w 800"/>
              <a:gd name="T15" fmla="*/ 205 h 1065"/>
              <a:gd name="T16" fmla="*/ 606 w 800"/>
              <a:gd name="T17" fmla="*/ 410 h 1065"/>
              <a:gd name="T18" fmla="*/ 400 w 800"/>
              <a:gd name="T19" fmla="*/ 616 h 1065"/>
              <a:gd name="T20" fmla="*/ 683 w 800"/>
              <a:gd name="T21" fmla="*/ 128 h 1065"/>
              <a:gd name="T22" fmla="*/ 553 w 800"/>
              <a:gd name="T23" fmla="*/ 41 h 1065"/>
              <a:gd name="T24" fmla="*/ 247 w 800"/>
              <a:gd name="T25" fmla="*/ 41 h 1065"/>
              <a:gd name="T26" fmla="*/ 117 w 800"/>
              <a:gd name="T27" fmla="*/ 128 h 1065"/>
              <a:gd name="T28" fmla="*/ 0 w 800"/>
              <a:gd name="T29" fmla="*/ 410 h 1065"/>
              <a:gd name="T30" fmla="*/ 8 w 800"/>
              <a:gd name="T31" fmla="*/ 490 h 1065"/>
              <a:gd name="T32" fmla="*/ 32 w 800"/>
              <a:gd name="T33" fmla="*/ 566 h 1065"/>
              <a:gd name="T34" fmla="*/ 99 w 800"/>
              <a:gd name="T35" fmla="*/ 677 h 1065"/>
              <a:gd name="T36" fmla="*/ 360 w 800"/>
              <a:gd name="T37" fmla="*/ 1045 h 1065"/>
              <a:gd name="T38" fmla="*/ 400 w 800"/>
              <a:gd name="T39" fmla="*/ 1065 h 1065"/>
              <a:gd name="T40" fmla="*/ 440 w 800"/>
              <a:gd name="T41" fmla="*/ 1045 h 1065"/>
              <a:gd name="T42" fmla="*/ 690 w 800"/>
              <a:gd name="T43" fmla="*/ 693 h 1065"/>
              <a:gd name="T44" fmla="*/ 701 w 800"/>
              <a:gd name="T45" fmla="*/ 677 h 1065"/>
              <a:gd name="T46" fmla="*/ 768 w 800"/>
              <a:gd name="T47" fmla="*/ 566 h 1065"/>
              <a:gd name="T48" fmla="*/ 792 w 800"/>
              <a:gd name="T49" fmla="*/ 490 h 1065"/>
              <a:gd name="T50" fmla="*/ 800 w 800"/>
              <a:gd name="T51" fmla="*/ 410 h 1065"/>
              <a:gd name="T52" fmla="*/ 683 w 800"/>
              <a:gd name="T53" fmla="*/ 128 h 1065"/>
              <a:gd name="T54" fmla="*/ 758 w 800"/>
              <a:gd name="T55" fmla="*/ 483 h 1065"/>
              <a:gd name="T56" fmla="*/ 736 w 800"/>
              <a:gd name="T57" fmla="*/ 552 h 1065"/>
              <a:gd name="T58" fmla="*/ 673 w 800"/>
              <a:gd name="T59" fmla="*/ 656 h 1065"/>
              <a:gd name="T60" fmla="*/ 661 w 800"/>
              <a:gd name="T61" fmla="*/ 673 h 1065"/>
              <a:gd name="T62" fmla="*/ 412 w 800"/>
              <a:gd name="T63" fmla="*/ 1024 h 1065"/>
              <a:gd name="T64" fmla="*/ 388 w 800"/>
              <a:gd name="T65" fmla="*/ 1024 h 1065"/>
              <a:gd name="T66" fmla="*/ 139 w 800"/>
              <a:gd name="T67" fmla="*/ 673 h 1065"/>
              <a:gd name="T68" fmla="*/ 127 w 800"/>
              <a:gd name="T69" fmla="*/ 656 h 1065"/>
              <a:gd name="T70" fmla="*/ 64 w 800"/>
              <a:gd name="T71" fmla="*/ 552 h 1065"/>
              <a:gd name="T72" fmla="*/ 42 w 800"/>
              <a:gd name="T73" fmla="*/ 483 h 1065"/>
              <a:gd name="T74" fmla="*/ 35 w 800"/>
              <a:gd name="T75" fmla="*/ 410 h 1065"/>
              <a:gd name="T76" fmla="*/ 142 w 800"/>
              <a:gd name="T77" fmla="*/ 152 h 1065"/>
              <a:gd name="T78" fmla="*/ 260 w 800"/>
              <a:gd name="T79" fmla="*/ 73 h 1065"/>
              <a:gd name="T80" fmla="*/ 400 w 800"/>
              <a:gd name="T81" fmla="*/ 45 h 1065"/>
              <a:gd name="T82" fmla="*/ 539 w 800"/>
              <a:gd name="T83" fmla="*/ 73 h 1065"/>
              <a:gd name="T84" fmla="*/ 658 w 800"/>
              <a:gd name="T85" fmla="*/ 152 h 1065"/>
              <a:gd name="T86" fmla="*/ 765 w 800"/>
              <a:gd name="T87" fmla="*/ 410 h 1065"/>
              <a:gd name="T88" fmla="*/ 758 w 800"/>
              <a:gd name="T89" fmla="*/ 483 h 10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00" h="1065">
                <a:moveTo>
                  <a:pt x="400" y="170"/>
                </a:moveTo>
                <a:cubicBezTo>
                  <a:pt x="267" y="170"/>
                  <a:pt x="159" y="278"/>
                  <a:pt x="159" y="410"/>
                </a:cubicBezTo>
                <a:cubicBezTo>
                  <a:pt x="159" y="543"/>
                  <a:pt x="267" y="651"/>
                  <a:pt x="400" y="651"/>
                </a:cubicBezTo>
                <a:cubicBezTo>
                  <a:pt x="533" y="651"/>
                  <a:pt x="641" y="543"/>
                  <a:pt x="641" y="410"/>
                </a:cubicBezTo>
                <a:cubicBezTo>
                  <a:pt x="641" y="278"/>
                  <a:pt x="533" y="170"/>
                  <a:pt x="400" y="170"/>
                </a:cubicBezTo>
                <a:close/>
                <a:moveTo>
                  <a:pt x="400" y="616"/>
                </a:moveTo>
                <a:cubicBezTo>
                  <a:pt x="287" y="616"/>
                  <a:pt x="194" y="524"/>
                  <a:pt x="194" y="410"/>
                </a:cubicBezTo>
                <a:cubicBezTo>
                  <a:pt x="194" y="297"/>
                  <a:pt x="287" y="205"/>
                  <a:pt x="400" y="205"/>
                </a:cubicBezTo>
                <a:cubicBezTo>
                  <a:pt x="513" y="205"/>
                  <a:pt x="606" y="297"/>
                  <a:pt x="606" y="410"/>
                </a:cubicBezTo>
                <a:cubicBezTo>
                  <a:pt x="606" y="524"/>
                  <a:pt x="513" y="616"/>
                  <a:pt x="400" y="616"/>
                </a:cubicBezTo>
                <a:close/>
                <a:moveTo>
                  <a:pt x="683" y="128"/>
                </a:moveTo>
                <a:cubicBezTo>
                  <a:pt x="646" y="90"/>
                  <a:pt x="602" y="61"/>
                  <a:pt x="553" y="41"/>
                </a:cubicBezTo>
                <a:cubicBezTo>
                  <a:pt x="455" y="0"/>
                  <a:pt x="345" y="0"/>
                  <a:pt x="247" y="41"/>
                </a:cubicBezTo>
                <a:cubicBezTo>
                  <a:pt x="198" y="61"/>
                  <a:pt x="154" y="90"/>
                  <a:pt x="117" y="128"/>
                </a:cubicBezTo>
                <a:cubicBezTo>
                  <a:pt x="42" y="203"/>
                  <a:pt x="0" y="304"/>
                  <a:pt x="0" y="410"/>
                </a:cubicBezTo>
                <a:cubicBezTo>
                  <a:pt x="0" y="437"/>
                  <a:pt x="3" y="463"/>
                  <a:pt x="8" y="490"/>
                </a:cubicBezTo>
                <a:cubicBezTo>
                  <a:pt x="13" y="516"/>
                  <a:pt x="21" y="542"/>
                  <a:pt x="32" y="566"/>
                </a:cubicBezTo>
                <a:cubicBezTo>
                  <a:pt x="49" y="608"/>
                  <a:pt x="74" y="643"/>
                  <a:pt x="99" y="677"/>
                </a:cubicBezTo>
                <a:cubicBezTo>
                  <a:pt x="360" y="1045"/>
                  <a:pt x="360" y="1045"/>
                  <a:pt x="360" y="1045"/>
                </a:cubicBezTo>
                <a:cubicBezTo>
                  <a:pt x="369" y="1058"/>
                  <a:pt x="384" y="1065"/>
                  <a:pt x="400" y="1065"/>
                </a:cubicBezTo>
                <a:cubicBezTo>
                  <a:pt x="416" y="1065"/>
                  <a:pt x="431" y="1058"/>
                  <a:pt x="440" y="1045"/>
                </a:cubicBezTo>
                <a:cubicBezTo>
                  <a:pt x="690" y="693"/>
                  <a:pt x="690" y="693"/>
                  <a:pt x="690" y="693"/>
                </a:cubicBezTo>
                <a:cubicBezTo>
                  <a:pt x="696" y="684"/>
                  <a:pt x="699" y="680"/>
                  <a:pt x="701" y="677"/>
                </a:cubicBezTo>
                <a:cubicBezTo>
                  <a:pt x="726" y="643"/>
                  <a:pt x="751" y="608"/>
                  <a:pt x="768" y="566"/>
                </a:cubicBezTo>
                <a:cubicBezTo>
                  <a:pt x="779" y="542"/>
                  <a:pt x="787" y="516"/>
                  <a:pt x="792" y="490"/>
                </a:cubicBezTo>
                <a:cubicBezTo>
                  <a:pt x="797" y="463"/>
                  <a:pt x="800" y="437"/>
                  <a:pt x="800" y="410"/>
                </a:cubicBezTo>
                <a:cubicBezTo>
                  <a:pt x="800" y="304"/>
                  <a:pt x="758" y="203"/>
                  <a:pt x="683" y="128"/>
                </a:cubicBezTo>
                <a:close/>
                <a:moveTo>
                  <a:pt x="758" y="483"/>
                </a:moveTo>
                <a:cubicBezTo>
                  <a:pt x="753" y="507"/>
                  <a:pt x="746" y="530"/>
                  <a:pt x="736" y="552"/>
                </a:cubicBezTo>
                <a:cubicBezTo>
                  <a:pt x="720" y="591"/>
                  <a:pt x="697" y="623"/>
                  <a:pt x="673" y="656"/>
                </a:cubicBezTo>
                <a:cubicBezTo>
                  <a:pt x="670" y="660"/>
                  <a:pt x="668" y="663"/>
                  <a:pt x="661" y="673"/>
                </a:cubicBezTo>
                <a:cubicBezTo>
                  <a:pt x="412" y="1024"/>
                  <a:pt x="412" y="1024"/>
                  <a:pt x="412" y="1024"/>
                </a:cubicBezTo>
                <a:cubicBezTo>
                  <a:pt x="406" y="1033"/>
                  <a:pt x="394" y="1033"/>
                  <a:pt x="388" y="1024"/>
                </a:cubicBezTo>
                <a:cubicBezTo>
                  <a:pt x="139" y="673"/>
                  <a:pt x="139" y="673"/>
                  <a:pt x="139" y="673"/>
                </a:cubicBezTo>
                <a:cubicBezTo>
                  <a:pt x="127" y="656"/>
                  <a:pt x="127" y="656"/>
                  <a:pt x="127" y="656"/>
                </a:cubicBezTo>
                <a:cubicBezTo>
                  <a:pt x="103" y="623"/>
                  <a:pt x="80" y="591"/>
                  <a:pt x="64" y="552"/>
                </a:cubicBezTo>
                <a:cubicBezTo>
                  <a:pt x="54" y="530"/>
                  <a:pt x="47" y="507"/>
                  <a:pt x="42" y="483"/>
                </a:cubicBezTo>
                <a:cubicBezTo>
                  <a:pt x="37" y="459"/>
                  <a:pt x="35" y="434"/>
                  <a:pt x="35" y="410"/>
                </a:cubicBezTo>
                <a:cubicBezTo>
                  <a:pt x="35" y="313"/>
                  <a:pt x="73" y="221"/>
                  <a:pt x="142" y="152"/>
                </a:cubicBezTo>
                <a:cubicBezTo>
                  <a:pt x="176" y="118"/>
                  <a:pt x="216" y="92"/>
                  <a:pt x="260" y="73"/>
                </a:cubicBezTo>
                <a:cubicBezTo>
                  <a:pt x="305" y="55"/>
                  <a:pt x="352" y="45"/>
                  <a:pt x="400" y="45"/>
                </a:cubicBezTo>
                <a:cubicBezTo>
                  <a:pt x="448" y="45"/>
                  <a:pt x="495" y="55"/>
                  <a:pt x="539" y="73"/>
                </a:cubicBezTo>
                <a:cubicBezTo>
                  <a:pt x="584" y="92"/>
                  <a:pt x="624" y="118"/>
                  <a:pt x="658" y="152"/>
                </a:cubicBezTo>
                <a:cubicBezTo>
                  <a:pt x="727" y="221"/>
                  <a:pt x="765" y="313"/>
                  <a:pt x="765" y="410"/>
                </a:cubicBezTo>
                <a:cubicBezTo>
                  <a:pt x="765" y="434"/>
                  <a:pt x="763" y="459"/>
                  <a:pt x="758" y="48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0" name="Freeform 29"/>
          <p:cNvSpPr>
            <a:spLocks noEditPoints="1"/>
          </p:cNvSpPr>
          <p:nvPr/>
        </p:nvSpPr>
        <p:spPr bwMode="auto">
          <a:xfrm>
            <a:off x="721261" y="3603519"/>
            <a:ext cx="219206" cy="227578"/>
          </a:xfrm>
          <a:custGeom>
            <a:avLst/>
            <a:gdLst>
              <a:gd name="T0" fmla="*/ 639 w 800"/>
              <a:gd name="T1" fmla="*/ 508 h 830"/>
              <a:gd name="T2" fmla="*/ 506 w 800"/>
              <a:gd name="T3" fmla="*/ 579 h 830"/>
              <a:gd name="T4" fmla="*/ 303 w 800"/>
              <a:gd name="T5" fmla="*/ 466 h 830"/>
              <a:gd name="T6" fmla="*/ 321 w 800"/>
              <a:gd name="T7" fmla="*/ 392 h 830"/>
              <a:gd name="T8" fmla="*/ 304 w 800"/>
              <a:gd name="T9" fmla="*/ 319 h 830"/>
              <a:gd name="T10" fmla="*/ 458 w 800"/>
              <a:gd name="T11" fmla="*/ 252 h 830"/>
              <a:gd name="T12" fmla="*/ 590 w 800"/>
              <a:gd name="T13" fmla="*/ 321 h 830"/>
              <a:gd name="T14" fmla="*/ 751 w 800"/>
              <a:gd name="T15" fmla="*/ 160 h 830"/>
              <a:gd name="T16" fmla="*/ 590 w 800"/>
              <a:gd name="T17" fmla="*/ 0 h 830"/>
              <a:gd name="T18" fmla="*/ 429 w 800"/>
              <a:gd name="T19" fmla="*/ 160 h 830"/>
              <a:gd name="T20" fmla="*/ 438 w 800"/>
              <a:gd name="T21" fmla="*/ 212 h 830"/>
              <a:gd name="T22" fmla="*/ 278 w 800"/>
              <a:gd name="T23" fmla="*/ 282 h 830"/>
              <a:gd name="T24" fmla="*/ 160 w 800"/>
              <a:gd name="T25" fmla="*/ 231 h 830"/>
              <a:gd name="T26" fmla="*/ 0 w 800"/>
              <a:gd name="T27" fmla="*/ 392 h 830"/>
              <a:gd name="T28" fmla="*/ 160 w 800"/>
              <a:gd name="T29" fmla="*/ 552 h 830"/>
              <a:gd name="T30" fmla="*/ 277 w 800"/>
              <a:gd name="T31" fmla="*/ 502 h 830"/>
              <a:gd name="T32" fmla="*/ 486 w 800"/>
              <a:gd name="T33" fmla="*/ 618 h 830"/>
              <a:gd name="T34" fmla="*/ 478 w 800"/>
              <a:gd name="T35" fmla="*/ 669 h 830"/>
              <a:gd name="T36" fmla="*/ 639 w 800"/>
              <a:gd name="T37" fmla="*/ 830 h 830"/>
              <a:gd name="T38" fmla="*/ 800 w 800"/>
              <a:gd name="T39" fmla="*/ 669 h 830"/>
              <a:gd name="T40" fmla="*/ 639 w 800"/>
              <a:gd name="T41" fmla="*/ 508 h 830"/>
              <a:gd name="T42" fmla="*/ 590 w 800"/>
              <a:gd name="T43" fmla="*/ 44 h 830"/>
              <a:gd name="T44" fmla="*/ 707 w 800"/>
              <a:gd name="T45" fmla="*/ 160 h 830"/>
              <a:gd name="T46" fmla="*/ 590 w 800"/>
              <a:gd name="T47" fmla="*/ 277 h 830"/>
              <a:gd name="T48" fmla="*/ 473 w 800"/>
              <a:gd name="T49" fmla="*/ 160 h 830"/>
              <a:gd name="T50" fmla="*/ 590 w 800"/>
              <a:gd name="T51" fmla="*/ 44 h 830"/>
              <a:gd name="T52" fmla="*/ 160 w 800"/>
              <a:gd name="T53" fmla="*/ 508 h 830"/>
              <a:gd name="T54" fmla="*/ 44 w 800"/>
              <a:gd name="T55" fmla="*/ 392 h 830"/>
              <a:gd name="T56" fmla="*/ 160 w 800"/>
              <a:gd name="T57" fmla="*/ 275 h 830"/>
              <a:gd name="T58" fmla="*/ 277 w 800"/>
              <a:gd name="T59" fmla="*/ 392 h 830"/>
              <a:gd name="T60" fmla="*/ 160 w 800"/>
              <a:gd name="T61" fmla="*/ 508 h 830"/>
              <a:gd name="T62" fmla="*/ 639 w 800"/>
              <a:gd name="T63" fmla="*/ 786 h 830"/>
              <a:gd name="T64" fmla="*/ 522 w 800"/>
              <a:gd name="T65" fmla="*/ 669 h 830"/>
              <a:gd name="T66" fmla="*/ 639 w 800"/>
              <a:gd name="T67" fmla="*/ 552 h 830"/>
              <a:gd name="T68" fmla="*/ 756 w 800"/>
              <a:gd name="T69" fmla="*/ 669 h 830"/>
              <a:gd name="T70" fmla="*/ 639 w 800"/>
              <a:gd name="T71" fmla="*/ 786 h 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800" h="830">
                <a:moveTo>
                  <a:pt x="639" y="508"/>
                </a:moveTo>
                <a:cubicBezTo>
                  <a:pt x="584" y="508"/>
                  <a:pt x="535" y="536"/>
                  <a:pt x="506" y="579"/>
                </a:cubicBezTo>
                <a:cubicBezTo>
                  <a:pt x="303" y="466"/>
                  <a:pt x="303" y="466"/>
                  <a:pt x="303" y="466"/>
                </a:cubicBezTo>
                <a:cubicBezTo>
                  <a:pt x="314" y="444"/>
                  <a:pt x="321" y="419"/>
                  <a:pt x="321" y="392"/>
                </a:cubicBezTo>
                <a:cubicBezTo>
                  <a:pt x="321" y="365"/>
                  <a:pt x="315" y="341"/>
                  <a:pt x="304" y="319"/>
                </a:cubicBezTo>
                <a:cubicBezTo>
                  <a:pt x="458" y="252"/>
                  <a:pt x="458" y="252"/>
                  <a:pt x="458" y="252"/>
                </a:cubicBezTo>
                <a:cubicBezTo>
                  <a:pt x="487" y="294"/>
                  <a:pt x="535" y="321"/>
                  <a:pt x="590" y="321"/>
                </a:cubicBezTo>
                <a:cubicBezTo>
                  <a:pt x="679" y="321"/>
                  <a:pt x="751" y="249"/>
                  <a:pt x="751" y="160"/>
                </a:cubicBezTo>
                <a:cubicBezTo>
                  <a:pt x="751" y="72"/>
                  <a:pt x="679" y="0"/>
                  <a:pt x="590" y="0"/>
                </a:cubicBezTo>
                <a:cubicBezTo>
                  <a:pt x="501" y="0"/>
                  <a:pt x="429" y="72"/>
                  <a:pt x="429" y="160"/>
                </a:cubicBezTo>
                <a:cubicBezTo>
                  <a:pt x="429" y="179"/>
                  <a:pt x="432" y="196"/>
                  <a:pt x="438" y="212"/>
                </a:cubicBezTo>
                <a:cubicBezTo>
                  <a:pt x="278" y="282"/>
                  <a:pt x="278" y="282"/>
                  <a:pt x="278" y="282"/>
                </a:cubicBezTo>
                <a:cubicBezTo>
                  <a:pt x="248" y="251"/>
                  <a:pt x="207" y="231"/>
                  <a:pt x="160" y="231"/>
                </a:cubicBezTo>
                <a:cubicBezTo>
                  <a:pt x="72" y="231"/>
                  <a:pt x="0" y="303"/>
                  <a:pt x="0" y="392"/>
                </a:cubicBezTo>
                <a:cubicBezTo>
                  <a:pt x="0" y="480"/>
                  <a:pt x="72" y="552"/>
                  <a:pt x="160" y="552"/>
                </a:cubicBezTo>
                <a:cubicBezTo>
                  <a:pt x="206" y="552"/>
                  <a:pt x="247" y="533"/>
                  <a:pt x="277" y="502"/>
                </a:cubicBezTo>
                <a:cubicBezTo>
                  <a:pt x="486" y="618"/>
                  <a:pt x="486" y="618"/>
                  <a:pt x="486" y="618"/>
                </a:cubicBezTo>
                <a:cubicBezTo>
                  <a:pt x="481" y="634"/>
                  <a:pt x="478" y="651"/>
                  <a:pt x="478" y="669"/>
                </a:cubicBezTo>
                <a:cubicBezTo>
                  <a:pt x="478" y="758"/>
                  <a:pt x="550" y="830"/>
                  <a:pt x="639" y="830"/>
                </a:cubicBezTo>
                <a:cubicBezTo>
                  <a:pt x="728" y="830"/>
                  <a:pt x="800" y="758"/>
                  <a:pt x="800" y="669"/>
                </a:cubicBezTo>
                <a:cubicBezTo>
                  <a:pt x="800" y="580"/>
                  <a:pt x="728" y="508"/>
                  <a:pt x="639" y="508"/>
                </a:cubicBezTo>
                <a:close/>
                <a:moveTo>
                  <a:pt x="590" y="44"/>
                </a:moveTo>
                <a:cubicBezTo>
                  <a:pt x="654" y="44"/>
                  <a:pt x="707" y="96"/>
                  <a:pt x="707" y="160"/>
                </a:cubicBezTo>
                <a:cubicBezTo>
                  <a:pt x="707" y="225"/>
                  <a:pt x="654" y="277"/>
                  <a:pt x="590" y="277"/>
                </a:cubicBezTo>
                <a:cubicBezTo>
                  <a:pt x="526" y="277"/>
                  <a:pt x="473" y="225"/>
                  <a:pt x="473" y="160"/>
                </a:cubicBezTo>
                <a:cubicBezTo>
                  <a:pt x="473" y="96"/>
                  <a:pt x="526" y="44"/>
                  <a:pt x="590" y="44"/>
                </a:cubicBezTo>
                <a:close/>
                <a:moveTo>
                  <a:pt x="160" y="508"/>
                </a:moveTo>
                <a:cubicBezTo>
                  <a:pt x="96" y="508"/>
                  <a:pt x="44" y="456"/>
                  <a:pt x="44" y="392"/>
                </a:cubicBezTo>
                <a:cubicBezTo>
                  <a:pt x="44" y="327"/>
                  <a:pt x="96" y="275"/>
                  <a:pt x="160" y="275"/>
                </a:cubicBezTo>
                <a:cubicBezTo>
                  <a:pt x="225" y="275"/>
                  <a:pt x="277" y="327"/>
                  <a:pt x="277" y="392"/>
                </a:cubicBezTo>
                <a:cubicBezTo>
                  <a:pt x="277" y="456"/>
                  <a:pt x="225" y="508"/>
                  <a:pt x="160" y="508"/>
                </a:cubicBezTo>
                <a:close/>
                <a:moveTo>
                  <a:pt x="639" y="786"/>
                </a:moveTo>
                <a:cubicBezTo>
                  <a:pt x="575" y="786"/>
                  <a:pt x="522" y="733"/>
                  <a:pt x="522" y="669"/>
                </a:cubicBezTo>
                <a:cubicBezTo>
                  <a:pt x="522" y="605"/>
                  <a:pt x="575" y="552"/>
                  <a:pt x="639" y="552"/>
                </a:cubicBezTo>
                <a:cubicBezTo>
                  <a:pt x="703" y="552"/>
                  <a:pt x="756" y="605"/>
                  <a:pt x="756" y="669"/>
                </a:cubicBezTo>
                <a:cubicBezTo>
                  <a:pt x="756" y="733"/>
                  <a:pt x="703" y="786"/>
                  <a:pt x="639" y="78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1" name="Freeform 37"/>
          <p:cNvSpPr>
            <a:spLocks noEditPoints="1"/>
          </p:cNvSpPr>
          <p:nvPr/>
        </p:nvSpPr>
        <p:spPr bwMode="auto">
          <a:xfrm>
            <a:off x="721261" y="4056248"/>
            <a:ext cx="219206" cy="220728"/>
          </a:xfrm>
          <a:custGeom>
            <a:avLst/>
            <a:gdLst>
              <a:gd name="T0" fmla="*/ 697 w 800"/>
              <a:gd name="T1" fmla="*/ 711 h 806"/>
              <a:gd name="T2" fmla="*/ 536 w 800"/>
              <a:gd name="T3" fmla="*/ 406 h 806"/>
              <a:gd name="T4" fmla="*/ 562 w 800"/>
              <a:gd name="T5" fmla="*/ 432 h 806"/>
              <a:gd name="T6" fmla="*/ 672 w 800"/>
              <a:gd name="T7" fmla="*/ 685 h 806"/>
              <a:gd name="T8" fmla="*/ 562 w 800"/>
              <a:gd name="T9" fmla="*/ 432 h 806"/>
              <a:gd name="T10" fmla="*/ 474 w 800"/>
              <a:gd name="T11" fmla="*/ 594 h 806"/>
              <a:gd name="T12" fmla="*/ 100 w 800"/>
              <a:gd name="T13" fmla="*/ 406 h 806"/>
              <a:gd name="T14" fmla="*/ 126 w 800"/>
              <a:gd name="T15" fmla="*/ 432 h 806"/>
              <a:gd name="T16" fmla="*/ 448 w 800"/>
              <a:gd name="T17" fmla="*/ 568 h 806"/>
              <a:gd name="T18" fmla="*/ 126 w 800"/>
              <a:gd name="T19" fmla="*/ 432 h 806"/>
              <a:gd name="T20" fmla="*/ 770 w 800"/>
              <a:gd name="T21" fmla="*/ 342 h 806"/>
              <a:gd name="T22" fmla="*/ 795 w 800"/>
              <a:gd name="T23" fmla="*/ 0 h 806"/>
              <a:gd name="T24" fmla="*/ 7 w 800"/>
              <a:gd name="T25" fmla="*/ 285 h 806"/>
              <a:gd name="T26" fmla="*/ 31 w 800"/>
              <a:gd name="T27" fmla="*/ 721 h 806"/>
              <a:gd name="T28" fmla="*/ 0 w 800"/>
              <a:gd name="T29" fmla="*/ 806 h 806"/>
              <a:gd name="T30" fmla="*/ 800 w 800"/>
              <a:gd name="T31" fmla="*/ 721 h 806"/>
              <a:gd name="T32" fmla="*/ 33 w 800"/>
              <a:gd name="T33" fmla="*/ 26 h 806"/>
              <a:gd name="T34" fmla="*/ 769 w 800"/>
              <a:gd name="T35" fmla="*/ 101 h 806"/>
              <a:gd name="T36" fmla="*/ 33 w 800"/>
              <a:gd name="T37" fmla="*/ 26 h 806"/>
              <a:gd name="T38" fmla="*/ 769 w 800"/>
              <a:gd name="T39" fmla="*/ 285 h 806"/>
              <a:gd name="T40" fmla="*/ 668 w 800"/>
              <a:gd name="T41" fmla="*/ 285 h 806"/>
              <a:gd name="T42" fmla="*/ 769 w 800"/>
              <a:gd name="T43" fmla="*/ 127 h 806"/>
              <a:gd name="T44" fmla="*/ 642 w 800"/>
              <a:gd name="T45" fmla="*/ 285 h 806"/>
              <a:gd name="T46" fmla="*/ 541 w 800"/>
              <a:gd name="T47" fmla="*/ 285 h 806"/>
              <a:gd name="T48" fmla="*/ 642 w 800"/>
              <a:gd name="T49" fmla="*/ 127 h 806"/>
              <a:gd name="T50" fmla="*/ 515 w 800"/>
              <a:gd name="T51" fmla="*/ 285 h 806"/>
              <a:gd name="T52" fmla="*/ 414 w 800"/>
              <a:gd name="T53" fmla="*/ 285 h 806"/>
              <a:gd name="T54" fmla="*/ 515 w 800"/>
              <a:gd name="T55" fmla="*/ 127 h 806"/>
              <a:gd name="T56" fmla="*/ 388 w 800"/>
              <a:gd name="T57" fmla="*/ 285 h 806"/>
              <a:gd name="T58" fmla="*/ 287 w 800"/>
              <a:gd name="T59" fmla="*/ 286 h 806"/>
              <a:gd name="T60" fmla="*/ 388 w 800"/>
              <a:gd name="T61" fmla="*/ 127 h 806"/>
              <a:gd name="T62" fmla="*/ 261 w 800"/>
              <a:gd name="T63" fmla="*/ 286 h 806"/>
              <a:gd name="T64" fmla="*/ 160 w 800"/>
              <a:gd name="T65" fmla="*/ 285 h 806"/>
              <a:gd name="T66" fmla="*/ 261 w 800"/>
              <a:gd name="T67" fmla="*/ 127 h 806"/>
              <a:gd name="T68" fmla="*/ 134 w 800"/>
              <a:gd name="T69" fmla="*/ 127 h 806"/>
              <a:gd name="T70" fmla="*/ 83 w 800"/>
              <a:gd name="T71" fmla="*/ 336 h 806"/>
              <a:gd name="T72" fmla="*/ 33 w 800"/>
              <a:gd name="T73" fmla="*/ 127 h 806"/>
              <a:gd name="T74" fmla="*/ 25 w 800"/>
              <a:gd name="T75" fmla="*/ 780 h 806"/>
              <a:gd name="T76" fmla="*/ 57 w 800"/>
              <a:gd name="T77" fmla="*/ 747 h 806"/>
              <a:gd name="T78" fmla="*/ 83 w 800"/>
              <a:gd name="T79" fmla="*/ 362 h 806"/>
              <a:gd name="T80" fmla="*/ 210 w 800"/>
              <a:gd name="T81" fmla="*/ 362 h 806"/>
              <a:gd name="T82" fmla="*/ 337 w 800"/>
              <a:gd name="T83" fmla="*/ 362 h 806"/>
              <a:gd name="T84" fmla="*/ 465 w 800"/>
              <a:gd name="T85" fmla="*/ 362 h 806"/>
              <a:gd name="T86" fmla="*/ 592 w 800"/>
              <a:gd name="T87" fmla="*/ 362 h 806"/>
              <a:gd name="T88" fmla="*/ 719 w 800"/>
              <a:gd name="T89" fmla="*/ 362 h 806"/>
              <a:gd name="T90" fmla="*/ 744 w 800"/>
              <a:gd name="T91" fmla="*/ 747 h 806"/>
              <a:gd name="T92" fmla="*/ 774 w 800"/>
              <a:gd name="T93" fmla="*/ 780 h 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00" h="806">
                <a:moveTo>
                  <a:pt x="536" y="711"/>
                </a:moveTo>
                <a:cubicBezTo>
                  <a:pt x="697" y="711"/>
                  <a:pt x="697" y="711"/>
                  <a:pt x="697" y="711"/>
                </a:cubicBezTo>
                <a:cubicBezTo>
                  <a:pt x="697" y="406"/>
                  <a:pt x="697" y="406"/>
                  <a:pt x="697" y="406"/>
                </a:cubicBezTo>
                <a:cubicBezTo>
                  <a:pt x="536" y="406"/>
                  <a:pt x="536" y="406"/>
                  <a:pt x="536" y="406"/>
                </a:cubicBezTo>
                <a:lnTo>
                  <a:pt x="536" y="711"/>
                </a:lnTo>
                <a:close/>
                <a:moveTo>
                  <a:pt x="562" y="432"/>
                </a:moveTo>
                <a:cubicBezTo>
                  <a:pt x="672" y="432"/>
                  <a:pt x="672" y="432"/>
                  <a:pt x="672" y="432"/>
                </a:cubicBezTo>
                <a:cubicBezTo>
                  <a:pt x="672" y="685"/>
                  <a:pt x="672" y="685"/>
                  <a:pt x="672" y="685"/>
                </a:cubicBezTo>
                <a:cubicBezTo>
                  <a:pt x="562" y="685"/>
                  <a:pt x="562" y="685"/>
                  <a:pt x="562" y="685"/>
                </a:cubicBezTo>
                <a:lnTo>
                  <a:pt x="562" y="432"/>
                </a:lnTo>
                <a:close/>
                <a:moveTo>
                  <a:pt x="100" y="594"/>
                </a:moveTo>
                <a:cubicBezTo>
                  <a:pt x="474" y="594"/>
                  <a:pt x="474" y="594"/>
                  <a:pt x="474" y="594"/>
                </a:cubicBezTo>
                <a:cubicBezTo>
                  <a:pt x="474" y="406"/>
                  <a:pt x="474" y="406"/>
                  <a:pt x="474" y="406"/>
                </a:cubicBezTo>
                <a:cubicBezTo>
                  <a:pt x="100" y="406"/>
                  <a:pt x="100" y="406"/>
                  <a:pt x="100" y="406"/>
                </a:cubicBezTo>
                <a:lnTo>
                  <a:pt x="100" y="594"/>
                </a:lnTo>
                <a:close/>
                <a:moveTo>
                  <a:pt x="126" y="432"/>
                </a:moveTo>
                <a:cubicBezTo>
                  <a:pt x="448" y="432"/>
                  <a:pt x="448" y="432"/>
                  <a:pt x="448" y="432"/>
                </a:cubicBezTo>
                <a:cubicBezTo>
                  <a:pt x="448" y="568"/>
                  <a:pt x="448" y="568"/>
                  <a:pt x="448" y="568"/>
                </a:cubicBezTo>
                <a:cubicBezTo>
                  <a:pt x="126" y="568"/>
                  <a:pt x="126" y="568"/>
                  <a:pt x="126" y="568"/>
                </a:cubicBezTo>
                <a:lnTo>
                  <a:pt x="126" y="432"/>
                </a:lnTo>
                <a:close/>
                <a:moveTo>
                  <a:pt x="770" y="721"/>
                </a:moveTo>
                <a:cubicBezTo>
                  <a:pt x="770" y="342"/>
                  <a:pt x="770" y="342"/>
                  <a:pt x="770" y="342"/>
                </a:cubicBezTo>
                <a:cubicBezTo>
                  <a:pt x="785" y="328"/>
                  <a:pt x="795" y="308"/>
                  <a:pt x="795" y="285"/>
                </a:cubicBezTo>
                <a:cubicBezTo>
                  <a:pt x="795" y="0"/>
                  <a:pt x="795" y="0"/>
                  <a:pt x="795" y="0"/>
                </a:cubicBezTo>
                <a:cubicBezTo>
                  <a:pt x="7" y="0"/>
                  <a:pt x="7" y="0"/>
                  <a:pt x="7" y="0"/>
                </a:cubicBezTo>
                <a:cubicBezTo>
                  <a:pt x="7" y="285"/>
                  <a:pt x="7" y="285"/>
                  <a:pt x="7" y="285"/>
                </a:cubicBezTo>
                <a:cubicBezTo>
                  <a:pt x="7" y="307"/>
                  <a:pt x="16" y="327"/>
                  <a:pt x="31" y="341"/>
                </a:cubicBezTo>
                <a:cubicBezTo>
                  <a:pt x="31" y="721"/>
                  <a:pt x="31" y="721"/>
                  <a:pt x="31" y="721"/>
                </a:cubicBezTo>
                <a:cubicBezTo>
                  <a:pt x="0" y="721"/>
                  <a:pt x="0" y="721"/>
                  <a:pt x="0" y="721"/>
                </a:cubicBezTo>
                <a:cubicBezTo>
                  <a:pt x="0" y="806"/>
                  <a:pt x="0" y="806"/>
                  <a:pt x="0" y="806"/>
                </a:cubicBezTo>
                <a:cubicBezTo>
                  <a:pt x="800" y="806"/>
                  <a:pt x="800" y="806"/>
                  <a:pt x="800" y="806"/>
                </a:cubicBezTo>
                <a:cubicBezTo>
                  <a:pt x="800" y="721"/>
                  <a:pt x="800" y="721"/>
                  <a:pt x="800" y="721"/>
                </a:cubicBezTo>
                <a:lnTo>
                  <a:pt x="770" y="721"/>
                </a:lnTo>
                <a:close/>
                <a:moveTo>
                  <a:pt x="33" y="26"/>
                </a:moveTo>
                <a:cubicBezTo>
                  <a:pt x="769" y="26"/>
                  <a:pt x="769" y="26"/>
                  <a:pt x="769" y="26"/>
                </a:cubicBezTo>
                <a:cubicBezTo>
                  <a:pt x="769" y="101"/>
                  <a:pt x="769" y="101"/>
                  <a:pt x="769" y="101"/>
                </a:cubicBezTo>
                <a:cubicBezTo>
                  <a:pt x="33" y="101"/>
                  <a:pt x="33" y="101"/>
                  <a:pt x="33" y="101"/>
                </a:cubicBezTo>
                <a:lnTo>
                  <a:pt x="33" y="26"/>
                </a:lnTo>
                <a:close/>
                <a:moveTo>
                  <a:pt x="769" y="127"/>
                </a:moveTo>
                <a:cubicBezTo>
                  <a:pt x="769" y="285"/>
                  <a:pt x="769" y="285"/>
                  <a:pt x="769" y="285"/>
                </a:cubicBezTo>
                <a:cubicBezTo>
                  <a:pt x="769" y="313"/>
                  <a:pt x="746" y="336"/>
                  <a:pt x="719" y="336"/>
                </a:cubicBezTo>
                <a:cubicBezTo>
                  <a:pt x="691" y="336"/>
                  <a:pt x="668" y="313"/>
                  <a:pt x="668" y="285"/>
                </a:cubicBezTo>
                <a:cubicBezTo>
                  <a:pt x="668" y="127"/>
                  <a:pt x="668" y="127"/>
                  <a:pt x="668" y="127"/>
                </a:cubicBezTo>
                <a:lnTo>
                  <a:pt x="769" y="127"/>
                </a:lnTo>
                <a:close/>
                <a:moveTo>
                  <a:pt x="642" y="127"/>
                </a:moveTo>
                <a:cubicBezTo>
                  <a:pt x="642" y="285"/>
                  <a:pt x="642" y="285"/>
                  <a:pt x="642" y="285"/>
                </a:cubicBezTo>
                <a:cubicBezTo>
                  <a:pt x="642" y="313"/>
                  <a:pt x="619" y="336"/>
                  <a:pt x="592" y="336"/>
                </a:cubicBezTo>
                <a:cubicBezTo>
                  <a:pt x="564" y="336"/>
                  <a:pt x="541" y="313"/>
                  <a:pt x="541" y="285"/>
                </a:cubicBezTo>
                <a:cubicBezTo>
                  <a:pt x="541" y="127"/>
                  <a:pt x="541" y="127"/>
                  <a:pt x="541" y="127"/>
                </a:cubicBezTo>
                <a:lnTo>
                  <a:pt x="642" y="127"/>
                </a:lnTo>
                <a:close/>
                <a:moveTo>
                  <a:pt x="515" y="127"/>
                </a:moveTo>
                <a:cubicBezTo>
                  <a:pt x="515" y="285"/>
                  <a:pt x="515" y="285"/>
                  <a:pt x="515" y="285"/>
                </a:cubicBezTo>
                <a:cubicBezTo>
                  <a:pt x="515" y="313"/>
                  <a:pt x="492" y="336"/>
                  <a:pt x="465" y="336"/>
                </a:cubicBezTo>
                <a:cubicBezTo>
                  <a:pt x="437" y="336"/>
                  <a:pt x="414" y="313"/>
                  <a:pt x="414" y="285"/>
                </a:cubicBezTo>
                <a:cubicBezTo>
                  <a:pt x="414" y="127"/>
                  <a:pt x="414" y="127"/>
                  <a:pt x="414" y="127"/>
                </a:cubicBezTo>
                <a:lnTo>
                  <a:pt x="515" y="127"/>
                </a:lnTo>
                <a:close/>
                <a:moveTo>
                  <a:pt x="388" y="127"/>
                </a:moveTo>
                <a:cubicBezTo>
                  <a:pt x="388" y="285"/>
                  <a:pt x="388" y="285"/>
                  <a:pt x="388" y="285"/>
                </a:cubicBezTo>
                <a:cubicBezTo>
                  <a:pt x="388" y="313"/>
                  <a:pt x="365" y="336"/>
                  <a:pt x="337" y="336"/>
                </a:cubicBezTo>
                <a:cubicBezTo>
                  <a:pt x="310" y="336"/>
                  <a:pt x="287" y="314"/>
                  <a:pt x="287" y="286"/>
                </a:cubicBezTo>
                <a:cubicBezTo>
                  <a:pt x="287" y="127"/>
                  <a:pt x="287" y="127"/>
                  <a:pt x="287" y="127"/>
                </a:cubicBezTo>
                <a:lnTo>
                  <a:pt x="388" y="127"/>
                </a:lnTo>
                <a:close/>
                <a:moveTo>
                  <a:pt x="261" y="127"/>
                </a:moveTo>
                <a:cubicBezTo>
                  <a:pt x="261" y="286"/>
                  <a:pt x="261" y="286"/>
                  <a:pt x="261" y="286"/>
                </a:cubicBezTo>
                <a:cubicBezTo>
                  <a:pt x="261" y="314"/>
                  <a:pt x="238" y="336"/>
                  <a:pt x="210" y="336"/>
                </a:cubicBezTo>
                <a:cubicBezTo>
                  <a:pt x="183" y="336"/>
                  <a:pt x="160" y="313"/>
                  <a:pt x="160" y="285"/>
                </a:cubicBezTo>
                <a:cubicBezTo>
                  <a:pt x="160" y="127"/>
                  <a:pt x="160" y="127"/>
                  <a:pt x="160" y="127"/>
                </a:cubicBezTo>
                <a:lnTo>
                  <a:pt x="261" y="127"/>
                </a:lnTo>
                <a:close/>
                <a:moveTo>
                  <a:pt x="33" y="127"/>
                </a:moveTo>
                <a:cubicBezTo>
                  <a:pt x="134" y="127"/>
                  <a:pt x="134" y="127"/>
                  <a:pt x="134" y="127"/>
                </a:cubicBezTo>
                <a:cubicBezTo>
                  <a:pt x="134" y="285"/>
                  <a:pt x="134" y="285"/>
                  <a:pt x="134" y="285"/>
                </a:cubicBezTo>
                <a:cubicBezTo>
                  <a:pt x="134" y="313"/>
                  <a:pt x="111" y="336"/>
                  <a:pt x="83" y="336"/>
                </a:cubicBezTo>
                <a:cubicBezTo>
                  <a:pt x="56" y="336"/>
                  <a:pt x="33" y="313"/>
                  <a:pt x="33" y="285"/>
                </a:cubicBezTo>
                <a:lnTo>
                  <a:pt x="33" y="127"/>
                </a:lnTo>
                <a:close/>
                <a:moveTo>
                  <a:pt x="774" y="780"/>
                </a:moveTo>
                <a:cubicBezTo>
                  <a:pt x="25" y="780"/>
                  <a:pt x="25" y="780"/>
                  <a:pt x="25" y="780"/>
                </a:cubicBezTo>
                <a:cubicBezTo>
                  <a:pt x="25" y="747"/>
                  <a:pt x="25" y="747"/>
                  <a:pt x="25" y="747"/>
                </a:cubicBezTo>
                <a:cubicBezTo>
                  <a:pt x="57" y="747"/>
                  <a:pt x="57" y="747"/>
                  <a:pt x="57" y="747"/>
                </a:cubicBezTo>
                <a:cubicBezTo>
                  <a:pt x="57" y="357"/>
                  <a:pt x="57" y="357"/>
                  <a:pt x="57" y="357"/>
                </a:cubicBezTo>
                <a:cubicBezTo>
                  <a:pt x="65" y="360"/>
                  <a:pt x="74" y="362"/>
                  <a:pt x="83" y="362"/>
                </a:cubicBezTo>
                <a:cubicBezTo>
                  <a:pt x="110" y="362"/>
                  <a:pt x="133" y="348"/>
                  <a:pt x="147" y="328"/>
                </a:cubicBezTo>
                <a:cubicBezTo>
                  <a:pt x="161" y="348"/>
                  <a:pt x="184" y="362"/>
                  <a:pt x="210" y="362"/>
                </a:cubicBezTo>
                <a:cubicBezTo>
                  <a:pt x="237" y="362"/>
                  <a:pt x="260" y="348"/>
                  <a:pt x="274" y="328"/>
                </a:cubicBezTo>
                <a:cubicBezTo>
                  <a:pt x="288" y="348"/>
                  <a:pt x="311" y="362"/>
                  <a:pt x="337" y="362"/>
                </a:cubicBezTo>
                <a:cubicBezTo>
                  <a:pt x="364" y="362"/>
                  <a:pt x="387" y="348"/>
                  <a:pt x="401" y="328"/>
                </a:cubicBezTo>
                <a:cubicBezTo>
                  <a:pt x="415" y="348"/>
                  <a:pt x="438" y="362"/>
                  <a:pt x="465" y="362"/>
                </a:cubicBezTo>
                <a:cubicBezTo>
                  <a:pt x="491" y="362"/>
                  <a:pt x="514" y="348"/>
                  <a:pt x="528" y="328"/>
                </a:cubicBezTo>
                <a:cubicBezTo>
                  <a:pt x="542" y="348"/>
                  <a:pt x="565" y="362"/>
                  <a:pt x="592" y="362"/>
                </a:cubicBezTo>
                <a:cubicBezTo>
                  <a:pt x="618" y="362"/>
                  <a:pt x="641" y="348"/>
                  <a:pt x="655" y="328"/>
                </a:cubicBezTo>
                <a:cubicBezTo>
                  <a:pt x="669" y="348"/>
                  <a:pt x="692" y="362"/>
                  <a:pt x="719" y="362"/>
                </a:cubicBezTo>
                <a:cubicBezTo>
                  <a:pt x="727" y="362"/>
                  <a:pt x="736" y="360"/>
                  <a:pt x="744" y="357"/>
                </a:cubicBezTo>
                <a:cubicBezTo>
                  <a:pt x="744" y="747"/>
                  <a:pt x="744" y="747"/>
                  <a:pt x="744" y="747"/>
                </a:cubicBezTo>
                <a:cubicBezTo>
                  <a:pt x="774" y="747"/>
                  <a:pt x="774" y="747"/>
                  <a:pt x="774" y="747"/>
                </a:cubicBezTo>
                <a:lnTo>
                  <a:pt x="774" y="78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2" name="Freeform 17"/>
          <p:cNvSpPr>
            <a:spLocks noEditPoints="1"/>
          </p:cNvSpPr>
          <p:nvPr/>
        </p:nvSpPr>
        <p:spPr bwMode="auto">
          <a:xfrm>
            <a:off x="4707524" y="2272480"/>
            <a:ext cx="215272" cy="209292"/>
          </a:xfrm>
          <a:custGeom>
            <a:avLst/>
            <a:gdLst>
              <a:gd name="T0" fmla="*/ 199 w 800"/>
              <a:gd name="T1" fmla="*/ 146 h 778"/>
              <a:gd name="T2" fmla="*/ 153 w 800"/>
              <a:gd name="T3" fmla="*/ 146 h 778"/>
              <a:gd name="T4" fmla="*/ 94 w 800"/>
              <a:gd name="T5" fmla="*/ 389 h 778"/>
              <a:gd name="T6" fmla="*/ 153 w 800"/>
              <a:gd name="T7" fmla="*/ 632 h 778"/>
              <a:gd name="T8" fmla="*/ 199 w 800"/>
              <a:gd name="T9" fmla="*/ 632 h 778"/>
              <a:gd name="T10" fmla="*/ 257 w 800"/>
              <a:gd name="T11" fmla="*/ 389 h 778"/>
              <a:gd name="T12" fmla="*/ 176 w 800"/>
              <a:gd name="T13" fmla="*/ 425 h 778"/>
              <a:gd name="T14" fmla="*/ 176 w 800"/>
              <a:gd name="T15" fmla="*/ 353 h 778"/>
              <a:gd name="T16" fmla="*/ 176 w 800"/>
              <a:gd name="T17" fmla="*/ 425 h 778"/>
              <a:gd name="T18" fmla="*/ 318 w 800"/>
              <a:gd name="T19" fmla="*/ 184 h 778"/>
              <a:gd name="T20" fmla="*/ 377 w 800"/>
              <a:gd name="T21" fmla="*/ 632 h 778"/>
              <a:gd name="T22" fmla="*/ 422 w 800"/>
              <a:gd name="T23" fmla="*/ 632 h 778"/>
              <a:gd name="T24" fmla="*/ 481 w 800"/>
              <a:gd name="T25" fmla="*/ 184 h 778"/>
              <a:gd name="T26" fmla="*/ 400 w 800"/>
              <a:gd name="T27" fmla="*/ 220 h 778"/>
              <a:gd name="T28" fmla="*/ 400 w 800"/>
              <a:gd name="T29" fmla="*/ 148 h 778"/>
              <a:gd name="T30" fmla="*/ 400 w 800"/>
              <a:gd name="T31" fmla="*/ 220 h 778"/>
              <a:gd name="T32" fmla="*/ 119 w 800"/>
              <a:gd name="T33" fmla="*/ 0 h 778"/>
              <a:gd name="T34" fmla="*/ 0 w 800"/>
              <a:gd name="T35" fmla="*/ 659 h 778"/>
              <a:gd name="T36" fmla="*/ 681 w 800"/>
              <a:gd name="T37" fmla="*/ 778 h 778"/>
              <a:gd name="T38" fmla="*/ 800 w 800"/>
              <a:gd name="T39" fmla="*/ 119 h 778"/>
              <a:gd name="T40" fmla="*/ 754 w 800"/>
              <a:gd name="T41" fmla="*/ 659 h 778"/>
              <a:gd name="T42" fmla="*/ 119 w 800"/>
              <a:gd name="T43" fmla="*/ 732 h 778"/>
              <a:gd name="T44" fmla="*/ 45 w 800"/>
              <a:gd name="T45" fmla="*/ 119 h 778"/>
              <a:gd name="T46" fmla="*/ 681 w 800"/>
              <a:gd name="T47" fmla="*/ 45 h 778"/>
              <a:gd name="T48" fmla="*/ 754 w 800"/>
              <a:gd name="T49" fmla="*/ 659 h 778"/>
              <a:gd name="T50" fmla="*/ 646 w 800"/>
              <a:gd name="T51" fmla="*/ 146 h 778"/>
              <a:gd name="T52" fmla="*/ 601 w 800"/>
              <a:gd name="T53" fmla="*/ 146 h 778"/>
              <a:gd name="T54" fmla="*/ 542 w 800"/>
              <a:gd name="T55" fmla="*/ 478 h 778"/>
              <a:gd name="T56" fmla="*/ 601 w 800"/>
              <a:gd name="T57" fmla="*/ 632 h 778"/>
              <a:gd name="T58" fmla="*/ 646 w 800"/>
              <a:gd name="T59" fmla="*/ 632 h 778"/>
              <a:gd name="T60" fmla="*/ 705 w 800"/>
              <a:gd name="T61" fmla="*/ 478 h 778"/>
              <a:gd name="T62" fmla="*/ 623 w 800"/>
              <a:gd name="T63" fmla="*/ 514 h 778"/>
              <a:gd name="T64" fmla="*/ 623 w 800"/>
              <a:gd name="T65" fmla="*/ 442 h 778"/>
              <a:gd name="T66" fmla="*/ 623 w 800"/>
              <a:gd name="T67" fmla="*/ 514 h 7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800" h="778">
                <a:moveTo>
                  <a:pt x="199" y="311"/>
                </a:moveTo>
                <a:cubicBezTo>
                  <a:pt x="199" y="146"/>
                  <a:pt x="199" y="146"/>
                  <a:pt x="199" y="146"/>
                </a:cubicBezTo>
                <a:cubicBezTo>
                  <a:pt x="199" y="133"/>
                  <a:pt x="188" y="123"/>
                  <a:pt x="176" y="123"/>
                </a:cubicBezTo>
                <a:cubicBezTo>
                  <a:pt x="163" y="123"/>
                  <a:pt x="153" y="133"/>
                  <a:pt x="153" y="146"/>
                </a:cubicBezTo>
                <a:cubicBezTo>
                  <a:pt x="153" y="311"/>
                  <a:pt x="153" y="311"/>
                  <a:pt x="153" y="311"/>
                </a:cubicBezTo>
                <a:cubicBezTo>
                  <a:pt x="119" y="320"/>
                  <a:pt x="94" y="352"/>
                  <a:pt x="94" y="389"/>
                </a:cubicBezTo>
                <a:cubicBezTo>
                  <a:pt x="94" y="426"/>
                  <a:pt x="119" y="457"/>
                  <a:pt x="153" y="467"/>
                </a:cubicBezTo>
                <a:cubicBezTo>
                  <a:pt x="153" y="632"/>
                  <a:pt x="153" y="632"/>
                  <a:pt x="153" y="632"/>
                </a:cubicBezTo>
                <a:cubicBezTo>
                  <a:pt x="153" y="644"/>
                  <a:pt x="163" y="654"/>
                  <a:pt x="176" y="654"/>
                </a:cubicBezTo>
                <a:cubicBezTo>
                  <a:pt x="188" y="654"/>
                  <a:pt x="199" y="644"/>
                  <a:pt x="199" y="632"/>
                </a:cubicBezTo>
                <a:cubicBezTo>
                  <a:pt x="199" y="467"/>
                  <a:pt x="199" y="467"/>
                  <a:pt x="199" y="467"/>
                </a:cubicBezTo>
                <a:cubicBezTo>
                  <a:pt x="233" y="457"/>
                  <a:pt x="257" y="426"/>
                  <a:pt x="257" y="389"/>
                </a:cubicBezTo>
                <a:cubicBezTo>
                  <a:pt x="257" y="352"/>
                  <a:pt x="233" y="320"/>
                  <a:pt x="199" y="311"/>
                </a:cubicBezTo>
                <a:close/>
                <a:moveTo>
                  <a:pt x="176" y="425"/>
                </a:moveTo>
                <a:cubicBezTo>
                  <a:pt x="156" y="425"/>
                  <a:pt x="140" y="408"/>
                  <a:pt x="140" y="389"/>
                </a:cubicBezTo>
                <a:cubicBezTo>
                  <a:pt x="140" y="369"/>
                  <a:pt x="156" y="353"/>
                  <a:pt x="176" y="353"/>
                </a:cubicBezTo>
                <a:cubicBezTo>
                  <a:pt x="196" y="353"/>
                  <a:pt x="212" y="369"/>
                  <a:pt x="212" y="389"/>
                </a:cubicBezTo>
                <a:cubicBezTo>
                  <a:pt x="212" y="408"/>
                  <a:pt x="196" y="425"/>
                  <a:pt x="176" y="425"/>
                </a:cubicBezTo>
                <a:close/>
                <a:moveTo>
                  <a:pt x="400" y="103"/>
                </a:moveTo>
                <a:cubicBezTo>
                  <a:pt x="355" y="103"/>
                  <a:pt x="318" y="139"/>
                  <a:pt x="318" y="184"/>
                </a:cubicBezTo>
                <a:cubicBezTo>
                  <a:pt x="318" y="221"/>
                  <a:pt x="343" y="252"/>
                  <a:pt x="377" y="262"/>
                </a:cubicBezTo>
                <a:cubicBezTo>
                  <a:pt x="377" y="632"/>
                  <a:pt x="377" y="632"/>
                  <a:pt x="377" y="632"/>
                </a:cubicBezTo>
                <a:cubicBezTo>
                  <a:pt x="377" y="644"/>
                  <a:pt x="387" y="654"/>
                  <a:pt x="400" y="654"/>
                </a:cubicBezTo>
                <a:cubicBezTo>
                  <a:pt x="412" y="654"/>
                  <a:pt x="422" y="644"/>
                  <a:pt x="422" y="632"/>
                </a:cubicBezTo>
                <a:cubicBezTo>
                  <a:pt x="422" y="262"/>
                  <a:pt x="422" y="262"/>
                  <a:pt x="422" y="262"/>
                </a:cubicBezTo>
                <a:cubicBezTo>
                  <a:pt x="456" y="252"/>
                  <a:pt x="481" y="221"/>
                  <a:pt x="481" y="184"/>
                </a:cubicBezTo>
                <a:cubicBezTo>
                  <a:pt x="481" y="139"/>
                  <a:pt x="445" y="103"/>
                  <a:pt x="400" y="103"/>
                </a:cubicBezTo>
                <a:close/>
                <a:moveTo>
                  <a:pt x="400" y="220"/>
                </a:moveTo>
                <a:cubicBezTo>
                  <a:pt x="380" y="220"/>
                  <a:pt x="364" y="204"/>
                  <a:pt x="364" y="184"/>
                </a:cubicBezTo>
                <a:cubicBezTo>
                  <a:pt x="364" y="164"/>
                  <a:pt x="380" y="148"/>
                  <a:pt x="400" y="148"/>
                </a:cubicBezTo>
                <a:cubicBezTo>
                  <a:pt x="419" y="148"/>
                  <a:pt x="436" y="164"/>
                  <a:pt x="436" y="184"/>
                </a:cubicBezTo>
                <a:cubicBezTo>
                  <a:pt x="436" y="204"/>
                  <a:pt x="419" y="220"/>
                  <a:pt x="400" y="220"/>
                </a:cubicBezTo>
                <a:close/>
                <a:moveTo>
                  <a:pt x="681" y="0"/>
                </a:moveTo>
                <a:cubicBezTo>
                  <a:pt x="119" y="0"/>
                  <a:pt x="119" y="0"/>
                  <a:pt x="119" y="0"/>
                </a:cubicBezTo>
                <a:cubicBezTo>
                  <a:pt x="53" y="0"/>
                  <a:pt x="0" y="53"/>
                  <a:pt x="0" y="119"/>
                </a:cubicBezTo>
                <a:cubicBezTo>
                  <a:pt x="0" y="659"/>
                  <a:pt x="0" y="659"/>
                  <a:pt x="0" y="659"/>
                </a:cubicBezTo>
                <a:cubicBezTo>
                  <a:pt x="0" y="724"/>
                  <a:pt x="53" y="778"/>
                  <a:pt x="119" y="778"/>
                </a:cubicBezTo>
                <a:cubicBezTo>
                  <a:pt x="681" y="778"/>
                  <a:pt x="681" y="778"/>
                  <a:pt x="681" y="778"/>
                </a:cubicBezTo>
                <a:cubicBezTo>
                  <a:pt x="746" y="778"/>
                  <a:pt x="800" y="724"/>
                  <a:pt x="800" y="659"/>
                </a:cubicBezTo>
                <a:cubicBezTo>
                  <a:pt x="800" y="119"/>
                  <a:pt x="800" y="119"/>
                  <a:pt x="800" y="119"/>
                </a:cubicBezTo>
                <a:cubicBezTo>
                  <a:pt x="800" y="53"/>
                  <a:pt x="746" y="0"/>
                  <a:pt x="681" y="0"/>
                </a:cubicBezTo>
                <a:close/>
                <a:moveTo>
                  <a:pt x="754" y="659"/>
                </a:moveTo>
                <a:cubicBezTo>
                  <a:pt x="754" y="699"/>
                  <a:pt x="721" y="732"/>
                  <a:pt x="681" y="732"/>
                </a:cubicBezTo>
                <a:cubicBezTo>
                  <a:pt x="119" y="732"/>
                  <a:pt x="119" y="732"/>
                  <a:pt x="119" y="732"/>
                </a:cubicBezTo>
                <a:cubicBezTo>
                  <a:pt x="78" y="732"/>
                  <a:pt x="45" y="699"/>
                  <a:pt x="45" y="659"/>
                </a:cubicBezTo>
                <a:cubicBezTo>
                  <a:pt x="45" y="119"/>
                  <a:pt x="45" y="119"/>
                  <a:pt x="45" y="119"/>
                </a:cubicBezTo>
                <a:cubicBezTo>
                  <a:pt x="45" y="78"/>
                  <a:pt x="78" y="45"/>
                  <a:pt x="119" y="45"/>
                </a:cubicBezTo>
                <a:cubicBezTo>
                  <a:pt x="681" y="45"/>
                  <a:pt x="681" y="45"/>
                  <a:pt x="681" y="45"/>
                </a:cubicBezTo>
                <a:cubicBezTo>
                  <a:pt x="721" y="45"/>
                  <a:pt x="754" y="78"/>
                  <a:pt x="754" y="119"/>
                </a:cubicBezTo>
                <a:lnTo>
                  <a:pt x="754" y="659"/>
                </a:lnTo>
                <a:close/>
                <a:moveTo>
                  <a:pt x="646" y="400"/>
                </a:moveTo>
                <a:cubicBezTo>
                  <a:pt x="646" y="146"/>
                  <a:pt x="646" y="146"/>
                  <a:pt x="646" y="146"/>
                </a:cubicBezTo>
                <a:cubicBezTo>
                  <a:pt x="646" y="133"/>
                  <a:pt x="636" y="123"/>
                  <a:pt x="623" y="123"/>
                </a:cubicBezTo>
                <a:cubicBezTo>
                  <a:pt x="611" y="123"/>
                  <a:pt x="601" y="133"/>
                  <a:pt x="601" y="146"/>
                </a:cubicBezTo>
                <a:cubicBezTo>
                  <a:pt x="601" y="400"/>
                  <a:pt x="601" y="400"/>
                  <a:pt x="601" y="400"/>
                </a:cubicBezTo>
                <a:cubicBezTo>
                  <a:pt x="567" y="410"/>
                  <a:pt x="542" y="441"/>
                  <a:pt x="542" y="478"/>
                </a:cubicBezTo>
                <a:cubicBezTo>
                  <a:pt x="542" y="515"/>
                  <a:pt x="567" y="546"/>
                  <a:pt x="601" y="556"/>
                </a:cubicBezTo>
                <a:cubicBezTo>
                  <a:pt x="601" y="632"/>
                  <a:pt x="601" y="632"/>
                  <a:pt x="601" y="632"/>
                </a:cubicBezTo>
                <a:cubicBezTo>
                  <a:pt x="601" y="644"/>
                  <a:pt x="611" y="654"/>
                  <a:pt x="623" y="654"/>
                </a:cubicBezTo>
                <a:cubicBezTo>
                  <a:pt x="636" y="654"/>
                  <a:pt x="646" y="644"/>
                  <a:pt x="646" y="632"/>
                </a:cubicBezTo>
                <a:cubicBezTo>
                  <a:pt x="646" y="556"/>
                  <a:pt x="646" y="556"/>
                  <a:pt x="646" y="556"/>
                </a:cubicBezTo>
                <a:cubicBezTo>
                  <a:pt x="680" y="546"/>
                  <a:pt x="705" y="515"/>
                  <a:pt x="705" y="478"/>
                </a:cubicBezTo>
                <a:cubicBezTo>
                  <a:pt x="705" y="441"/>
                  <a:pt x="680" y="410"/>
                  <a:pt x="646" y="400"/>
                </a:cubicBezTo>
                <a:close/>
                <a:moveTo>
                  <a:pt x="623" y="514"/>
                </a:moveTo>
                <a:cubicBezTo>
                  <a:pt x="604" y="514"/>
                  <a:pt x="588" y="498"/>
                  <a:pt x="588" y="478"/>
                </a:cubicBezTo>
                <a:cubicBezTo>
                  <a:pt x="588" y="458"/>
                  <a:pt x="604" y="442"/>
                  <a:pt x="623" y="442"/>
                </a:cubicBezTo>
                <a:cubicBezTo>
                  <a:pt x="643" y="442"/>
                  <a:pt x="659" y="458"/>
                  <a:pt x="659" y="478"/>
                </a:cubicBezTo>
                <a:cubicBezTo>
                  <a:pt x="659" y="498"/>
                  <a:pt x="643" y="514"/>
                  <a:pt x="623" y="51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3" name="Freeform 33"/>
          <p:cNvSpPr>
            <a:spLocks/>
          </p:cNvSpPr>
          <p:nvPr/>
        </p:nvSpPr>
        <p:spPr bwMode="auto">
          <a:xfrm>
            <a:off x="4704731" y="2694597"/>
            <a:ext cx="220858" cy="244626"/>
          </a:xfrm>
          <a:custGeom>
            <a:avLst/>
            <a:gdLst>
              <a:gd name="T0" fmla="*/ 557 w 838"/>
              <a:gd name="T1" fmla="*/ 310 h 929"/>
              <a:gd name="T2" fmla="*/ 528 w 838"/>
              <a:gd name="T3" fmla="*/ 281 h 929"/>
              <a:gd name="T4" fmla="*/ 172 w 838"/>
              <a:gd name="T5" fmla="*/ 636 h 929"/>
              <a:gd name="T6" fmla="*/ 172 w 838"/>
              <a:gd name="T7" fmla="*/ 754 h 929"/>
              <a:gd name="T8" fmla="*/ 289 w 838"/>
              <a:gd name="T9" fmla="*/ 754 h 929"/>
              <a:gd name="T10" fmla="*/ 779 w 838"/>
              <a:gd name="T11" fmla="*/ 264 h 929"/>
              <a:gd name="T12" fmla="*/ 779 w 838"/>
              <a:gd name="T13" fmla="*/ 59 h 929"/>
              <a:gd name="T14" fmla="*/ 570 w 838"/>
              <a:gd name="T15" fmla="*/ 59 h 929"/>
              <a:gd name="T16" fmla="*/ 84 w 838"/>
              <a:gd name="T17" fmla="*/ 549 h 929"/>
              <a:gd name="T18" fmla="*/ 84 w 838"/>
              <a:gd name="T19" fmla="*/ 846 h 929"/>
              <a:gd name="T20" fmla="*/ 381 w 838"/>
              <a:gd name="T21" fmla="*/ 846 h 929"/>
              <a:gd name="T22" fmla="*/ 737 w 838"/>
              <a:gd name="T23" fmla="*/ 490 h 929"/>
              <a:gd name="T24" fmla="*/ 704 w 838"/>
              <a:gd name="T25" fmla="*/ 457 h 929"/>
              <a:gd name="T26" fmla="*/ 348 w 838"/>
              <a:gd name="T27" fmla="*/ 812 h 929"/>
              <a:gd name="T28" fmla="*/ 109 w 838"/>
              <a:gd name="T29" fmla="*/ 812 h 929"/>
              <a:gd name="T30" fmla="*/ 109 w 838"/>
              <a:gd name="T31" fmla="*/ 574 h 929"/>
              <a:gd name="T32" fmla="*/ 599 w 838"/>
              <a:gd name="T33" fmla="*/ 88 h 929"/>
              <a:gd name="T34" fmla="*/ 746 w 838"/>
              <a:gd name="T35" fmla="*/ 88 h 929"/>
              <a:gd name="T36" fmla="*/ 746 w 838"/>
              <a:gd name="T37" fmla="*/ 235 h 929"/>
              <a:gd name="T38" fmla="*/ 260 w 838"/>
              <a:gd name="T39" fmla="*/ 724 h 929"/>
              <a:gd name="T40" fmla="*/ 201 w 838"/>
              <a:gd name="T41" fmla="*/ 724 h 929"/>
              <a:gd name="T42" fmla="*/ 201 w 838"/>
              <a:gd name="T43" fmla="*/ 666 h 929"/>
              <a:gd name="T44" fmla="*/ 557 w 838"/>
              <a:gd name="T45" fmla="*/ 310 h 9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38" h="929">
                <a:moveTo>
                  <a:pt x="557" y="310"/>
                </a:moveTo>
                <a:cubicBezTo>
                  <a:pt x="528" y="281"/>
                  <a:pt x="528" y="281"/>
                  <a:pt x="528" y="281"/>
                </a:cubicBezTo>
                <a:cubicBezTo>
                  <a:pt x="172" y="636"/>
                  <a:pt x="172" y="636"/>
                  <a:pt x="172" y="636"/>
                </a:cubicBezTo>
                <a:cubicBezTo>
                  <a:pt x="139" y="670"/>
                  <a:pt x="139" y="720"/>
                  <a:pt x="172" y="754"/>
                </a:cubicBezTo>
                <a:cubicBezTo>
                  <a:pt x="206" y="787"/>
                  <a:pt x="256" y="787"/>
                  <a:pt x="289" y="754"/>
                </a:cubicBezTo>
                <a:cubicBezTo>
                  <a:pt x="779" y="264"/>
                  <a:pt x="779" y="264"/>
                  <a:pt x="779" y="264"/>
                </a:cubicBezTo>
                <a:cubicBezTo>
                  <a:pt x="838" y="205"/>
                  <a:pt x="838" y="113"/>
                  <a:pt x="779" y="59"/>
                </a:cubicBezTo>
                <a:cubicBezTo>
                  <a:pt x="720" y="0"/>
                  <a:pt x="628" y="0"/>
                  <a:pt x="570" y="59"/>
                </a:cubicBezTo>
                <a:cubicBezTo>
                  <a:pt x="84" y="549"/>
                  <a:pt x="84" y="549"/>
                  <a:pt x="84" y="549"/>
                </a:cubicBezTo>
                <a:cubicBezTo>
                  <a:pt x="0" y="632"/>
                  <a:pt x="5" y="762"/>
                  <a:pt x="84" y="846"/>
                </a:cubicBezTo>
                <a:cubicBezTo>
                  <a:pt x="168" y="929"/>
                  <a:pt x="298" y="929"/>
                  <a:pt x="381" y="846"/>
                </a:cubicBezTo>
                <a:cubicBezTo>
                  <a:pt x="737" y="490"/>
                  <a:pt x="737" y="490"/>
                  <a:pt x="737" y="490"/>
                </a:cubicBezTo>
                <a:cubicBezTo>
                  <a:pt x="704" y="457"/>
                  <a:pt x="704" y="457"/>
                  <a:pt x="704" y="457"/>
                </a:cubicBezTo>
                <a:cubicBezTo>
                  <a:pt x="348" y="812"/>
                  <a:pt x="348" y="812"/>
                  <a:pt x="348" y="812"/>
                </a:cubicBezTo>
                <a:cubicBezTo>
                  <a:pt x="281" y="879"/>
                  <a:pt x="176" y="879"/>
                  <a:pt x="109" y="812"/>
                </a:cubicBezTo>
                <a:cubicBezTo>
                  <a:pt x="42" y="745"/>
                  <a:pt x="42" y="641"/>
                  <a:pt x="109" y="574"/>
                </a:cubicBezTo>
                <a:cubicBezTo>
                  <a:pt x="599" y="88"/>
                  <a:pt x="599" y="88"/>
                  <a:pt x="599" y="88"/>
                </a:cubicBezTo>
                <a:cubicBezTo>
                  <a:pt x="641" y="46"/>
                  <a:pt x="708" y="46"/>
                  <a:pt x="746" y="88"/>
                </a:cubicBezTo>
                <a:cubicBezTo>
                  <a:pt x="787" y="130"/>
                  <a:pt x="787" y="197"/>
                  <a:pt x="746" y="235"/>
                </a:cubicBezTo>
                <a:cubicBezTo>
                  <a:pt x="260" y="724"/>
                  <a:pt x="260" y="724"/>
                  <a:pt x="260" y="724"/>
                </a:cubicBezTo>
                <a:cubicBezTo>
                  <a:pt x="243" y="741"/>
                  <a:pt x="218" y="741"/>
                  <a:pt x="201" y="724"/>
                </a:cubicBezTo>
                <a:cubicBezTo>
                  <a:pt x="185" y="708"/>
                  <a:pt x="185" y="683"/>
                  <a:pt x="201" y="666"/>
                </a:cubicBezTo>
                <a:lnTo>
                  <a:pt x="557" y="31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4" name="Freeform 33"/>
          <p:cNvSpPr>
            <a:spLocks noEditPoints="1"/>
          </p:cNvSpPr>
          <p:nvPr/>
        </p:nvSpPr>
        <p:spPr bwMode="auto">
          <a:xfrm>
            <a:off x="4716896" y="3128762"/>
            <a:ext cx="196528" cy="263458"/>
          </a:xfrm>
          <a:custGeom>
            <a:avLst/>
            <a:gdLst>
              <a:gd name="T0" fmla="*/ 400 w 800"/>
              <a:gd name="T1" fmla="*/ 170 h 1065"/>
              <a:gd name="T2" fmla="*/ 159 w 800"/>
              <a:gd name="T3" fmla="*/ 410 h 1065"/>
              <a:gd name="T4" fmla="*/ 400 w 800"/>
              <a:gd name="T5" fmla="*/ 651 h 1065"/>
              <a:gd name="T6" fmla="*/ 641 w 800"/>
              <a:gd name="T7" fmla="*/ 410 h 1065"/>
              <a:gd name="T8" fmla="*/ 400 w 800"/>
              <a:gd name="T9" fmla="*/ 170 h 1065"/>
              <a:gd name="T10" fmla="*/ 400 w 800"/>
              <a:gd name="T11" fmla="*/ 616 h 1065"/>
              <a:gd name="T12" fmla="*/ 194 w 800"/>
              <a:gd name="T13" fmla="*/ 410 h 1065"/>
              <a:gd name="T14" fmla="*/ 400 w 800"/>
              <a:gd name="T15" fmla="*/ 205 h 1065"/>
              <a:gd name="T16" fmla="*/ 606 w 800"/>
              <a:gd name="T17" fmla="*/ 410 h 1065"/>
              <a:gd name="T18" fmla="*/ 400 w 800"/>
              <a:gd name="T19" fmla="*/ 616 h 1065"/>
              <a:gd name="T20" fmla="*/ 683 w 800"/>
              <a:gd name="T21" fmla="*/ 128 h 1065"/>
              <a:gd name="T22" fmla="*/ 553 w 800"/>
              <a:gd name="T23" fmla="*/ 41 h 1065"/>
              <a:gd name="T24" fmla="*/ 247 w 800"/>
              <a:gd name="T25" fmla="*/ 41 h 1065"/>
              <a:gd name="T26" fmla="*/ 117 w 800"/>
              <a:gd name="T27" fmla="*/ 128 h 1065"/>
              <a:gd name="T28" fmla="*/ 0 w 800"/>
              <a:gd name="T29" fmla="*/ 410 h 1065"/>
              <a:gd name="T30" fmla="*/ 8 w 800"/>
              <a:gd name="T31" fmla="*/ 490 h 1065"/>
              <a:gd name="T32" fmla="*/ 32 w 800"/>
              <a:gd name="T33" fmla="*/ 566 h 1065"/>
              <a:gd name="T34" fmla="*/ 99 w 800"/>
              <a:gd name="T35" fmla="*/ 677 h 1065"/>
              <a:gd name="T36" fmla="*/ 360 w 800"/>
              <a:gd name="T37" fmla="*/ 1045 h 1065"/>
              <a:gd name="T38" fmla="*/ 400 w 800"/>
              <a:gd name="T39" fmla="*/ 1065 h 1065"/>
              <a:gd name="T40" fmla="*/ 440 w 800"/>
              <a:gd name="T41" fmla="*/ 1045 h 1065"/>
              <a:gd name="T42" fmla="*/ 690 w 800"/>
              <a:gd name="T43" fmla="*/ 693 h 1065"/>
              <a:gd name="T44" fmla="*/ 701 w 800"/>
              <a:gd name="T45" fmla="*/ 677 h 1065"/>
              <a:gd name="T46" fmla="*/ 768 w 800"/>
              <a:gd name="T47" fmla="*/ 566 h 1065"/>
              <a:gd name="T48" fmla="*/ 792 w 800"/>
              <a:gd name="T49" fmla="*/ 490 h 1065"/>
              <a:gd name="T50" fmla="*/ 800 w 800"/>
              <a:gd name="T51" fmla="*/ 410 h 1065"/>
              <a:gd name="T52" fmla="*/ 683 w 800"/>
              <a:gd name="T53" fmla="*/ 128 h 1065"/>
              <a:gd name="T54" fmla="*/ 758 w 800"/>
              <a:gd name="T55" fmla="*/ 483 h 1065"/>
              <a:gd name="T56" fmla="*/ 736 w 800"/>
              <a:gd name="T57" fmla="*/ 552 h 1065"/>
              <a:gd name="T58" fmla="*/ 673 w 800"/>
              <a:gd name="T59" fmla="*/ 656 h 1065"/>
              <a:gd name="T60" fmla="*/ 661 w 800"/>
              <a:gd name="T61" fmla="*/ 673 h 1065"/>
              <a:gd name="T62" fmla="*/ 412 w 800"/>
              <a:gd name="T63" fmla="*/ 1024 h 1065"/>
              <a:gd name="T64" fmla="*/ 388 w 800"/>
              <a:gd name="T65" fmla="*/ 1024 h 1065"/>
              <a:gd name="T66" fmla="*/ 139 w 800"/>
              <a:gd name="T67" fmla="*/ 673 h 1065"/>
              <a:gd name="T68" fmla="*/ 127 w 800"/>
              <a:gd name="T69" fmla="*/ 656 h 1065"/>
              <a:gd name="T70" fmla="*/ 64 w 800"/>
              <a:gd name="T71" fmla="*/ 552 h 1065"/>
              <a:gd name="T72" fmla="*/ 42 w 800"/>
              <a:gd name="T73" fmla="*/ 483 h 1065"/>
              <a:gd name="T74" fmla="*/ 35 w 800"/>
              <a:gd name="T75" fmla="*/ 410 h 1065"/>
              <a:gd name="T76" fmla="*/ 142 w 800"/>
              <a:gd name="T77" fmla="*/ 152 h 1065"/>
              <a:gd name="T78" fmla="*/ 260 w 800"/>
              <a:gd name="T79" fmla="*/ 73 h 1065"/>
              <a:gd name="T80" fmla="*/ 400 w 800"/>
              <a:gd name="T81" fmla="*/ 45 h 1065"/>
              <a:gd name="T82" fmla="*/ 539 w 800"/>
              <a:gd name="T83" fmla="*/ 73 h 1065"/>
              <a:gd name="T84" fmla="*/ 658 w 800"/>
              <a:gd name="T85" fmla="*/ 152 h 1065"/>
              <a:gd name="T86" fmla="*/ 765 w 800"/>
              <a:gd name="T87" fmla="*/ 410 h 1065"/>
              <a:gd name="T88" fmla="*/ 758 w 800"/>
              <a:gd name="T89" fmla="*/ 483 h 10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00" h="1065">
                <a:moveTo>
                  <a:pt x="400" y="170"/>
                </a:moveTo>
                <a:cubicBezTo>
                  <a:pt x="267" y="170"/>
                  <a:pt x="159" y="278"/>
                  <a:pt x="159" y="410"/>
                </a:cubicBezTo>
                <a:cubicBezTo>
                  <a:pt x="159" y="543"/>
                  <a:pt x="267" y="651"/>
                  <a:pt x="400" y="651"/>
                </a:cubicBezTo>
                <a:cubicBezTo>
                  <a:pt x="533" y="651"/>
                  <a:pt x="641" y="543"/>
                  <a:pt x="641" y="410"/>
                </a:cubicBezTo>
                <a:cubicBezTo>
                  <a:pt x="641" y="278"/>
                  <a:pt x="533" y="170"/>
                  <a:pt x="400" y="170"/>
                </a:cubicBezTo>
                <a:close/>
                <a:moveTo>
                  <a:pt x="400" y="616"/>
                </a:moveTo>
                <a:cubicBezTo>
                  <a:pt x="287" y="616"/>
                  <a:pt x="194" y="524"/>
                  <a:pt x="194" y="410"/>
                </a:cubicBezTo>
                <a:cubicBezTo>
                  <a:pt x="194" y="297"/>
                  <a:pt x="287" y="205"/>
                  <a:pt x="400" y="205"/>
                </a:cubicBezTo>
                <a:cubicBezTo>
                  <a:pt x="513" y="205"/>
                  <a:pt x="606" y="297"/>
                  <a:pt x="606" y="410"/>
                </a:cubicBezTo>
                <a:cubicBezTo>
                  <a:pt x="606" y="524"/>
                  <a:pt x="513" y="616"/>
                  <a:pt x="400" y="616"/>
                </a:cubicBezTo>
                <a:close/>
                <a:moveTo>
                  <a:pt x="683" y="128"/>
                </a:moveTo>
                <a:cubicBezTo>
                  <a:pt x="646" y="90"/>
                  <a:pt x="602" y="61"/>
                  <a:pt x="553" y="41"/>
                </a:cubicBezTo>
                <a:cubicBezTo>
                  <a:pt x="455" y="0"/>
                  <a:pt x="345" y="0"/>
                  <a:pt x="247" y="41"/>
                </a:cubicBezTo>
                <a:cubicBezTo>
                  <a:pt x="198" y="61"/>
                  <a:pt x="154" y="90"/>
                  <a:pt x="117" y="128"/>
                </a:cubicBezTo>
                <a:cubicBezTo>
                  <a:pt x="42" y="203"/>
                  <a:pt x="0" y="304"/>
                  <a:pt x="0" y="410"/>
                </a:cubicBezTo>
                <a:cubicBezTo>
                  <a:pt x="0" y="437"/>
                  <a:pt x="3" y="463"/>
                  <a:pt x="8" y="490"/>
                </a:cubicBezTo>
                <a:cubicBezTo>
                  <a:pt x="13" y="516"/>
                  <a:pt x="21" y="542"/>
                  <a:pt x="32" y="566"/>
                </a:cubicBezTo>
                <a:cubicBezTo>
                  <a:pt x="49" y="608"/>
                  <a:pt x="74" y="643"/>
                  <a:pt x="99" y="677"/>
                </a:cubicBezTo>
                <a:cubicBezTo>
                  <a:pt x="360" y="1045"/>
                  <a:pt x="360" y="1045"/>
                  <a:pt x="360" y="1045"/>
                </a:cubicBezTo>
                <a:cubicBezTo>
                  <a:pt x="369" y="1058"/>
                  <a:pt x="384" y="1065"/>
                  <a:pt x="400" y="1065"/>
                </a:cubicBezTo>
                <a:cubicBezTo>
                  <a:pt x="416" y="1065"/>
                  <a:pt x="431" y="1058"/>
                  <a:pt x="440" y="1045"/>
                </a:cubicBezTo>
                <a:cubicBezTo>
                  <a:pt x="690" y="693"/>
                  <a:pt x="690" y="693"/>
                  <a:pt x="690" y="693"/>
                </a:cubicBezTo>
                <a:cubicBezTo>
                  <a:pt x="696" y="684"/>
                  <a:pt x="699" y="680"/>
                  <a:pt x="701" y="677"/>
                </a:cubicBezTo>
                <a:cubicBezTo>
                  <a:pt x="726" y="643"/>
                  <a:pt x="751" y="608"/>
                  <a:pt x="768" y="566"/>
                </a:cubicBezTo>
                <a:cubicBezTo>
                  <a:pt x="779" y="542"/>
                  <a:pt x="787" y="516"/>
                  <a:pt x="792" y="490"/>
                </a:cubicBezTo>
                <a:cubicBezTo>
                  <a:pt x="797" y="463"/>
                  <a:pt x="800" y="437"/>
                  <a:pt x="800" y="410"/>
                </a:cubicBezTo>
                <a:cubicBezTo>
                  <a:pt x="800" y="304"/>
                  <a:pt x="758" y="203"/>
                  <a:pt x="683" y="128"/>
                </a:cubicBezTo>
                <a:close/>
                <a:moveTo>
                  <a:pt x="758" y="483"/>
                </a:moveTo>
                <a:cubicBezTo>
                  <a:pt x="753" y="507"/>
                  <a:pt x="746" y="530"/>
                  <a:pt x="736" y="552"/>
                </a:cubicBezTo>
                <a:cubicBezTo>
                  <a:pt x="720" y="591"/>
                  <a:pt x="697" y="623"/>
                  <a:pt x="673" y="656"/>
                </a:cubicBezTo>
                <a:cubicBezTo>
                  <a:pt x="670" y="660"/>
                  <a:pt x="668" y="663"/>
                  <a:pt x="661" y="673"/>
                </a:cubicBezTo>
                <a:cubicBezTo>
                  <a:pt x="412" y="1024"/>
                  <a:pt x="412" y="1024"/>
                  <a:pt x="412" y="1024"/>
                </a:cubicBezTo>
                <a:cubicBezTo>
                  <a:pt x="406" y="1033"/>
                  <a:pt x="394" y="1033"/>
                  <a:pt x="388" y="1024"/>
                </a:cubicBezTo>
                <a:cubicBezTo>
                  <a:pt x="139" y="673"/>
                  <a:pt x="139" y="673"/>
                  <a:pt x="139" y="673"/>
                </a:cubicBezTo>
                <a:cubicBezTo>
                  <a:pt x="127" y="656"/>
                  <a:pt x="127" y="656"/>
                  <a:pt x="127" y="656"/>
                </a:cubicBezTo>
                <a:cubicBezTo>
                  <a:pt x="103" y="623"/>
                  <a:pt x="80" y="591"/>
                  <a:pt x="64" y="552"/>
                </a:cubicBezTo>
                <a:cubicBezTo>
                  <a:pt x="54" y="530"/>
                  <a:pt x="47" y="507"/>
                  <a:pt x="42" y="483"/>
                </a:cubicBezTo>
                <a:cubicBezTo>
                  <a:pt x="37" y="459"/>
                  <a:pt x="35" y="434"/>
                  <a:pt x="35" y="410"/>
                </a:cubicBezTo>
                <a:cubicBezTo>
                  <a:pt x="35" y="313"/>
                  <a:pt x="73" y="221"/>
                  <a:pt x="142" y="152"/>
                </a:cubicBezTo>
                <a:cubicBezTo>
                  <a:pt x="176" y="118"/>
                  <a:pt x="216" y="92"/>
                  <a:pt x="260" y="73"/>
                </a:cubicBezTo>
                <a:cubicBezTo>
                  <a:pt x="305" y="55"/>
                  <a:pt x="352" y="45"/>
                  <a:pt x="400" y="45"/>
                </a:cubicBezTo>
                <a:cubicBezTo>
                  <a:pt x="448" y="45"/>
                  <a:pt x="495" y="55"/>
                  <a:pt x="539" y="73"/>
                </a:cubicBezTo>
                <a:cubicBezTo>
                  <a:pt x="584" y="92"/>
                  <a:pt x="624" y="118"/>
                  <a:pt x="658" y="152"/>
                </a:cubicBezTo>
                <a:cubicBezTo>
                  <a:pt x="727" y="221"/>
                  <a:pt x="765" y="313"/>
                  <a:pt x="765" y="410"/>
                </a:cubicBezTo>
                <a:cubicBezTo>
                  <a:pt x="765" y="434"/>
                  <a:pt x="763" y="459"/>
                  <a:pt x="758" y="48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5" name="Freeform 29"/>
          <p:cNvSpPr>
            <a:spLocks noEditPoints="1"/>
          </p:cNvSpPr>
          <p:nvPr/>
        </p:nvSpPr>
        <p:spPr bwMode="auto">
          <a:xfrm>
            <a:off x="4705557" y="3603519"/>
            <a:ext cx="219206" cy="227578"/>
          </a:xfrm>
          <a:custGeom>
            <a:avLst/>
            <a:gdLst>
              <a:gd name="T0" fmla="*/ 639 w 800"/>
              <a:gd name="T1" fmla="*/ 508 h 830"/>
              <a:gd name="T2" fmla="*/ 506 w 800"/>
              <a:gd name="T3" fmla="*/ 579 h 830"/>
              <a:gd name="T4" fmla="*/ 303 w 800"/>
              <a:gd name="T5" fmla="*/ 466 h 830"/>
              <a:gd name="T6" fmla="*/ 321 w 800"/>
              <a:gd name="T7" fmla="*/ 392 h 830"/>
              <a:gd name="T8" fmla="*/ 304 w 800"/>
              <a:gd name="T9" fmla="*/ 319 h 830"/>
              <a:gd name="T10" fmla="*/ 458 w 800"/>
              <a:gd name="T11" fmla="*/ 252 h 830"/>
              <a:gd name="T12" fmla="*/ 590 w 800"/>
              <a:gd name="T13" fmla="*/ 321 h 830"/>
              <a:gd name="T14" fmla="*/ 751 w 800"/>
              <a:gd name="T15" fmla="*/ 160 h 830"/>
              <a:gd name="T16" fmla="*/ 590 w 800"/>
              <a:gd name="T17" fmla="*/ 0 h 830"/>
              <a:gd name="T18" fmla="*/ 429 w 800"/>
              <a:gd name="T19" fmla="*/ 160 h 830"/>
              <a:gd name="T20" fmla="*/ 438 w 800"/>
              <a:gd name="T21" fmla="*/ 212 h 830"/>
              <a:gd name="T22" fmla="*/ 278 w 800"/>
              <a:gd name="T23" fmla="*/ 282 h 830"/>
              <a:gd name="T24" fmla="*/ 160 w 800"/>
              <a:gd name="T25" fmla="*/ 231 h 830"/>
              <a:gd name="T26" fmla="*/ 0 w 800"/>
              <a:gd name="T27" fmla="*/ 392 h 830"/>
              <a:gd name="T28" fmla="*/ 160 w 800"/>
              <a:gd name="T29" fmla="*/ 552 h 830"/>
              <a:gd name="T30" fmla="*/ 277 w 800"/>
              <a:gd name="T31" fmla="*/ 502 h 830"/>
              <a:gd name="T32" fmla="*/ 486 w 800"/>
              <a:gd name="T33" fmla="*/ 618 h 830"/>
              <a:gd name="T34" fmla="*/ 478 w 800"/>
              <a:gd name="T35" fmla="*/ 669 h 830"/>
              <a:gd name="T36" fmla="*/ 639 w 800"/>
              <a:gd name="T37" fmla="*/ 830 h 830"/>
              <a:gd name="T38" fmla="*/ 800 w 800"/>
              <a:gd name="T39" fmla="*/ 669 h 830"/>
              <a:gd name="T40" fmla="*/ 639 w 800"/>
              <a:gd name="T41" fmla="*/ 508 h 830"/>
              <a:gd name="T42" fmla="*/ 590 w 800"/>
              <a:gd name="T43" fmla="*/ 44 h 830"/>
              <a:gd name="T44" fmla="*/ 707 w 800"/>
              <a:gd name="T45" fmla="*/ 160 h 830"/>
              <a:gd name="T46" fmla="*/ 590 w 800"/>
              <a:gd name="T47" fmla="*/ 277 h 830"/>
              <a:gd name="T48" fmla="*/ 473 w 800"/>
              <a:gd name="T49" fmla="*/ 160 h 830"/>
              <a:gd name="T50" fmla="*/ 590 w 800"/>
              <a:gd name="T51" fmla="*/ 44 h 830"/>
              <a:gd name="T52" fmla="*/ 160 w 800"/>
              <a:gd name="T53" fmla="*/ 508 h 830"/>
              <a:gd name="T54" fmla="*/ 44 w 800"/>
              <a:gd name="T55" fmla="*/ 392 h 830"/>
              <a:gd name="T56" fmla="*/ 160 w 800"/>
              <a:gd name="T57" fmla="*/ 275 h 830"/>
              <a:gd name="T58" fmla="*/ 277 w 800"/>
              <a:gd name="T59" fmla="*/ 392 h 830"/>
              <a:gd name="T60" fmla="*/ 160 w 800"/>
              <a:gd name="T61" fmla="*/ 508 h 830"/>
              <a:gd name="T62" fmla="*/ 639 w 800"/>
              <a:gd name="T63" fmla="*/ 786 h 830"/>
              <a:gd name="T64" fmla="*/ 522 w 800"/>
              <a:gd name="T65" fmla="*/ 669 h 830"/>
              <a:gd name="T66" fmla="*/ 639 w 800"/>
              <a:gd name="T67" fmla="*/ 552 h 830"/>
              <a:gd name="T68" fmla="*/ 756 w 800"/>
              <a:gd name="T69" fmla="*/ 669 h 830"/>
              <a:gd name="T70" fmla="*/ 639 w 800"/>
              <a:gd name="T71" fmla="*/ 786 h 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800" h="830">
                <a:moveTo>
                  <a:pt x="639" y="508"/>
                </a:moveTo>
                <a:cubicBezTo>
                  <a:pt x="584" y="508"/>
                  <a:pt x="535" y="536"/>
                  <a:pt x="506" y="579"/>
                </a:cubicBezTo>
                <a:cubicBezTo>
                  <a:pt x="303" y="466"/>
                  <a:pt x="303" y="466"/>
                  <a:pt x="303" y="466"/>
                </a:cubicBezTo>
                <a:cubicBezTo>
                  <a:pt x="314" y="444"/>
                  <a:pt x="321" y="419"/>
                  <a:pt x="321" y="392"/>
                </a:cubicBezTo>
                <a:cubicBezTo>
                  <a:pt x="321" y="365"/>
                  <a:pt x="315" y="341"/>
                  <a:pt x="304" y="319"/>
                </a:cubicBezTo>
                <a:cubicBezTo>
                  <a:pt x="458" y="252"/>
                  <a:pt x="458" y="252"/>
                  <a:pt x="458" y="252"/>
                </a:cubicBezTo>
                <a:cubicBezTo>
                  <a:pt x="487" y="294"/>
                  <a:pt x="535" y="321"/>
                  <a:pt x="590" y="321"/>
                </a:cubicBezTo>
                <a:cubicBezTo>
                  <a:pt x="679" y="321"/>
                  <a:pt x="751" y="249"/>
                  <a:pt x="751" y="160"/>
                </a:cubicBezTo>
                <a:cubicBezTo>
                  <a:pt x="751" y="72"/>
                  <a:pt x="679" y="0"/>
                  <a:pt x="590" y="0"/>
                </a:cubicBezTo>
                <a:cubicBezTo>
                  <a:pt x="501" y="0"/>
                  <a:pt x="429" y="72"/>
                  <a:pt x="429" y="160"/>
                </a:cubicBezTo>
                <a:cubicBezTo>
                  <a:pt x="429" y="179"/>
                  <a:pt x="432" y="196"/>
                  <a:pt x="438" y="212"/>
                </a:cubicBezTo>
                <a:cubicBezTo>
                  <a:pt x="278" y="282"/>
                  <a:pt x="278" y="282"/>
                  <a:pt x="278" y="282"/>
                </a:cubicBezTo>
                <a:cubicBezTo>
                  <a:pt x="248" y="251"/>
                  <a:pt x="207" y="231"/>
                  <a:pt x="160" y="231"/>
                </a:cubicBezTo>
                <a:cubicBezTo>
                  <a:pt x="72" y="231"/>
                  <a:pt x="0" y="303"/>
                  <a:pt x="0" y="392"/>
                </a:cubicBezTo>
                <a:cubicBezTo>
                  <a:pt x="0" y="480"/>
                  <a:pt x="72" y="552"/>
                  <a:pt x="160" y="552"/>
                </a:cubicBezTo>
                <a:cubicBezTo>
                  <a:pt x="206" y="552"/>
                  <a:pt x="247" y="533"/>
                  <a:pt x="277" y="502"/>
                </a:cubicBezTo>
                <a:cubicBezTo>
                  <a:pt x="486" y="618"/>
                  <a:pt x="486" y="618"/>
                  <a:pt x="486" y="618"/>
                </a:cubicBezTo>
                <a:cubicBezTo>
                  <a:pt x="481" y="634"/>
                  <a:pt x="478" y="651"/>
                  <a:pt x="478" y="669"/>
                </a:cubicBezTo>
                <a:cubicBezTo>
                  <a:pt x="478" y="758"/>
                  <a:pt x="550" y="830"/>
                  <a:pt x="639" y="830"/>
                </a:cubicBezTo>
                <a:cubicBezTo>
                  <a:pt x="728" y="830"/>
                  <a:pt x="800" y="758"/>
                  <a:pt x="800" y="669"/>
                </a:cubicBezTo>
                <a:cubicBezTo>
                  <a:pt x="800" y="580"/>
                  <a:pt x="728" y="508"/>
                  <a:pt x="639" y="508"/>
                </a:cubicBezTo>
                <a:close/>
                <a:moveTo>
                  <a:pt x="590" y="44"/>
                </a:moveTo>
                <a:cubicBezTo>
                  <a:pt x="654" y="44"/>
                  <a:pt x="707" y="96"/>
                  <a:pt x="707" y="160"/>
                </a:cubicBezTo>
                <a:cubicBezTo>
                  <a:pt x="707" y="225"/>
                  <a:pt x="654" y="277"/>
                  <a:pt x="590" y="277"/>
                </a:cubicBezTo>
                <a:cubicBezTo>
                  <a:pt x="526" y="277"/>
                  <a:pt x="473" y="225"/>
                  <a:pt x="473" y="160"/>
                </a:cubicBezTo>
                <a:cubicBezTo>
                  <a:pt x="473" y="96"/>
                  <a:pt x="526" y="44"/>
                  <a:pt x="590" y="44"/>
                </a:cubicBezTo>
                <a:close/>
                <a:moveTo>
                  <a:pt x="160" y="508"/>
                </a:moveTo>
                <a:cubicBezTo>
                  <a:pt x="96" y="508"/>
                  <a:pt x="44" y="456"/>
                  <a:pt x="44" y="392"/>
                </a:cubicBezTo>
                <a:cubicBezTo>
                  <a:pt x="44" y="327"/>
                  <a:pt x="96" y="275"/>
                  <a:pt x="160" y="275"/>
                </a:cubicBezTo>
                <a:cubicBezTo>
                  <a:pt x="225" y="275"/>
                  <a:pt x="277" y="327"/>
                  <a:pt x="277" y="392"/>
                </a:cubicBezTo>
                <a:cubicBezTo>
                  <a:pt x="277" y="456"/>
                  <a:pt x="225" y="508"/>
                  <a:pt x="160" y="508"/>
                </a:cubicBezTo>
                <a:close/>
                <a:moveTo>
                  <a:pt x="639" y="786"/>
                </a:moveTo>
                <a:cubicBezTo>
                  <a:pt x="575" y="786"/>
                  <a:pt x="522" y="733"/>
                  <a:pt x="522" y="669"/>
                </a:cubicBezTo>
                <a:cubicBezTo>
                  <a:pt x="522" y="605"/>
                  <a:pt x="575" y="552"/>
                  <a:pt x="639" y="552"/>
                </a:cubicBezTo>
                <a:cubicBezTo>
                  <a:pt x="703" y="552"/>
                  <a:pt x="756" y="605"/>
                  <a:pt x="756" y="669"/>
                </a:cubicBezTo>
                <a:cubicBezTo>
                  <a:pt x="756" y="733"/>
                  <a:pt x="703" y="786"/>
                  <a:pt x="639" y="78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6" name="Freeform 37"/>
          <p:cNvSpPr>
            <a:spLocks noEditPoints="1"/>
          </p:cNvSpPr>
          <p:nvPr/>
        </p:nvSpPr>
        <p:spPr bwMode="auto">
          <a:xfrm>
            <a:off x="4705557" y="4056248"/>
            <a:ext cx="219206" cy="220728"/>
          </a:xfrm>
          <a:custGeom>
            <a:avLst/>
            <a:gdLst>
              <a:gd name="T0" fmla="*/ 697 w 800"/>
              <a:gd name="T1" fmla="*/ 711 h 806"/>
              <a:gd name="T2" fmla="*/ 536 w 800"/>
              <a:gd name="T3" fmla="*/ 406 h 806"/>
              <a:gd name="T4" fmla="*/ 562 w 800"/>
              <a:gd name="T5" fmla="*/ 432 h 806"/>
              <a:gd name="T6" fmla="*/ 672 w 800"/>
              <a:gd name="T7" fmla="*/ 685 h 806"/>
              <a:gd name="T8" fmla="*/ 562 w 800"/>
              <a:gd name="T9" fmla="*/ 432 h 806"/>
              <a:gd name="T10" fmla="*/ 474 w 800"/>
              <a:gd name="T11" fmla="*/ 594 h 806"/>
              <a:gd name="T12" fmla="*/ 100 w 800"/>
              <a:gd name="T13" fmla="*/ 406 h 806"/>
              <a:gd name="T14" fmla="*/ 126 w 800"/>
              <a:gd name="T15" fmla="*/ 432 h 806"/>
              <a:gd name="T16" fmla="*/ 448 w 800"/>
              <a:gd name="T17" fmla="*/ 568 h 806"/>
              <a:gd name="T18" fmla="*/ 126 w 800"/>
              <a:gd name="T19" fmla="*/ 432 h 806"/>
              <a:gd name="T20" fmla="*/ 770 w 800"/>
              <a:gd name="T21" fmla="*/ 342 h 806"/>
              <a:gd name="T22" fmla="*/ 795 w 800"/>
              <a:gd name="T23" fmla="*/ 0 h 806"/>
              <a:gd name="T24" fmla="*/ 7 w 800"/>
              <a:gd name="T25" fmla="*/ 285 h 806"/>
              <a:gd name="T26" fmla="*/ 31 w 800"/>
              <a:gd name="T27" fmla="*/ 721 h 806"/>
              <a:gd name="T28" fmla="*/ 0 w 800"/>
              <a:gd name="T29" fmla="*/ 806 h 806"/>
              <a:gd name="T30" fmla="*/ 800 w 800"/>
              <a:gd name="T31" fmla="*/ 721 h 806"/>
              <a:gd name="T32" fmla="*/ 33 w 800"/>
              <a:gd name="T33" fmla="*/ 26 h 806"/>
              <a:gd name="T34" fmla="*/ 769 w 800"/>
              <a:gd name="T35" fmla="*/ 101 h 806"/>
              <a:gd name="T36" fmla="*/ 33 w 800"/>
              <a:gd name="T37" fmla="*/ 26 h 806"/>
              <a:gd name="T38" fmla="*/ 769 w 800"/>
              <a:gd name="T39" fmla="*/ 285 h 806"/>
              <a:gd name="T40" fmla="*/ 668 w 800"/>
              <a:gd name="T41" fmla="*/ 285 h 806"/>
              <a:gd name="T42" fmla="*/ 769 w 800"/>
              <a:gd name="T43" fmla="*/ 127 h 806"/>
              <a:gd name="T44" fmla="*/ 642 w 800"/>
              <a:gd name="T45" fmla="*/ 285 h 806"/>
              <a:gd name="T46" fmla="*/ 541 w 800"/>
              <a:gd name="T47" fmla="*/ 285 h 806"/>
              <a:gd name="T48" fmla="*/ 642 w 800"/>
              <a:gd name="T49" fmla="*/ 127 h 806"/>
              <a:gd name="T50" fmla="*/ 515 w 800"/>
              <a:gd name="T51" fmla="*/ 285 h 806"/>
              <a:gd name="T52" fmla="*/ 414 w 800"/>
              <a:gd name="T53" fmla="*/ 285 h 806"/>
              <a:gd name="T54" fmla="*/ 515 w 800"/>
              <a:gd name="T55" fmla="*/ 127 h 806"/>
              <a:gd name="T56" fmla="*/ 388 w 800"/>
              <a:gd name="T57" fmla="*/ 285 h 806"/>
              <a:gd name="T58" fmla="*/ 287 w 800"/>
              <a:gd name="T59" fmla="*/ 286 h 806"/>
              <a:gd name="T60" fmla="*/ 388 w 800"/>
              <a:gd name="T61" fmla="*/ 127 h 806"/>
              <a:gd name="T62" fmla="*/ 261 w 800"/>
              <a:gd name="T63" fmla="*/ 286 h 806"/>
              <a:gd name="T64" fmla="*/ 160 w 800"/>
              <a:gd name="T65" fmla="*/ 285 h 806"/>
              <a:gd name="T66" fmla="*/ 261 w 800"/>
              <a:gd name="T67" fmla="*/ 127 h 806"/>
              <a:gd name="T68" fmla="*/ 134 w 800"/>
              <a:gd name="T69" fmla="*/ 127 h 806"/>
              <a:gd name="T70" fmla="*/ 83 w 800"/>
              <a:gd name="T71" fmla="*/ 336 h 806"/>
              <a:gd name="T72" fmla="*/ 33 w 800"/>
              <a:gd name="T73" fmla="*/ 127 h 806"/>
              <a:gd name="T74" fmla="*/ 25 w 800"/>
              <a:gd name="T75" fmla="*/ 780 h 806"/>
              <a:gd name="T76" fmla="*/ 57 w 800"/>
              <a:gd name="T77" fmla="*/ 747 h 806"/>
              <a:gd name="T78" fmla="*/ 83 w 800"/>
              <a:gd name="T79" fmla="*/ 362 h 806"/>
              <a:gd name="T80" fmla="*/ 210 w 800"/>
              <a:gd name="T81" fmla="*/ 362 h 806"/>
              <a:gd name="T82" fmla="*/ 337 w 800"/>
              <a:gd name="T83" fmla="*/ 362 h 806"/>
              <a:gd name="T84" fmla="*/ 465 w 800"/>
              <a:gd name="T85" fmla="*/ 362 h 806"/>
              <a:gd name="T86" fmla="*/ 592 w 800"/>
              <a:gd name="T87" fmla="*/ 362 h 806"/>
              <a:gd name="T88" fmla="*/ 719 w 800"/>
              <a:gd name="T89" fmla="*/ 362 h 806"/>
              <a:gd name="T90" fmla="*/ 744 w 800"/>
              <a:gd name="T91" fmla="*/ 747 h 806"/>
              <a:gd name="T92" fmla="*/ 774 w 800"/>
              <a:gd name="T93" fmla="*/ 780 h 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00" h="806">
                <a:moveTo>
                  <a:pt x="536" y="711"/>
                </a:moveTo>
                <a:cubicBezTo>
                  <a:pt x="697" y="711"/>
                  <a:pt x="697" y="711"/>
                  <a:pt x="697" y="711"/>
                </a:cubicBezTo>
                <a:cubicBezTo>
                  <a:pt x="697" y="406"/>
                  <a:pt x="697" y="406"/>
                  <a:pt x="697" y="406"/>
                </a:cubicBezTo>
                <a:cubicBezTo>
                  <a:pt x="536" y="406"/>
                  <a:pt x="536" y="406"/>
                  <a:pt x="536" y="406"/>
                </a:cubicBezTo>
                <a:lnTo>
                  <a:pt x="536" y="711"/>
                </a:lnTo>
                <a:close/>
                <a:moveTo>
                  <a:pt x="562" y="432"/>
                </a:moveTo>
                <a:cubicBezTo>
                  <a:pt x="672" y="432"/>
                  <a:pt x="672" y="432"/>
                  <a:pt x="672" y="432"/>
                </a:cubicBezTo>
                <a:cubicBezTo>
                  <a:pt x="672" y="685"/>
                  <a:pt x="672" y="685"/>
                  <a:pt x="672" y="685"/>
                </a:cubicBezTo>
                <a:cubicBezTo>
                  <a:pt x="562" y="685"/>
                  <a:pt x="562" y="685"/>
                  <a:pt x="562" y="685"/>
                </a:cubicBezTo>
                <a:lnTo>
                  <a:pt x="562" y="432"/>
                </a:lnTo>
                <a:close/>
                <a:moveTo>
                  <a:pt x="100" y="594"/>
                </a:moveTo>
                <a:cubicBezTo>
                  <a:pt x="474" y="594"/>
                  <a:pt x="474" y="594"/>
                  <a:pt x="474" y="594"/>
                </a:cubicBezTo>
                <a:cubicBezTo>
                  <a:pt x="474" y="406"/>
                  <a:pt x="474" y="406"/>
                  <a:pt x="474" y="406"/>
                </a:cubicBezTo>
                <a:cubicBezTo>
                  <a:pt x="100" y="406"/>
                  <a:pt x="100" y="406"/>
                  <a:pt x="100" y="406"/>
                </a:cubicBezTo>
                <a:lnTo>
                  <a:pt x="100" y="594"/>
                </a:lnTo>
                <a:close/>
                <a:moveTo>
                  <a:pt x="126" y="432"/>
                </a:moveTo>
                <a:cubicBezTo>
                  <a:pt x="448" y="432"/>
                  <a:pt x="448" y="432"/>
                  <a:pt x="448" y="432"/>
                </a:cubicBezTo>
                <a:cubicBezTo>
                  <a:pt x="448" y="568"/>
                  <a:pt x="448" y="568"/>
                  <a:pt x="448" y="568"/>
                </a:cubicBezTo>
                <a:cubicBezTo>
                  <a:pt x="126" y="568"/>
                  <a:pt x="126" y="568"/>
                  <a:pt x="126" y="568"/>
                </a:cubicBezTo>
                <a:lnTo>
                  <a:pt x="126" y="432"/>
                </a:lnTo>
                <a:close/>
                <a:moveTo>
                  <a:pt x="770" y="721"/>
                </a:moveTo>
                <a:cubicBezTo>
                  <a:pt x="770" y="342"/>
                  <a:pt x="770" y="342"/>
                  <a:pt x="770" y="342"/>
                </a:cubicBezTo>
                <a:cubicBezTo>
                  <a:pt x="785" y="328"/>
                  <a:pt x="795" y="308"/>
                  <a:pt x="795" y="285"/>
                </a:cubicBezTo>
                <a:cubicBezTo>
                  <a:pt x="795" y="0"/>
                  <a:pt x="795" y="0"/>
                  <a:pt x="795" y="0"/>
                </a:cubicBezTo>
                <a:cubicBezTo>
                  <a:pt x="7" y="0"/>
                  <a:pt x="7" y="0"/>
                  <a:pt x="7" y="0"/>
                </a:cubicBezTo>
                <a:cubicBezTo>
                  <a:pt x="7" y="285"/>
                  <a:pt x="7" y="285"/>
                  <a:pt x="7" y="285"/>
                </a:cubicBezTo>
                <a:cubicBezTo>
                  <a:pt x="7" y="307"/>
                  <a:pt x="16" y="327"/>
                  <a:pt x="31" y="341"/>
                </a:cubicBezTo>
                <a:cubicBezTo>
                  <a:pt x="31" y="721"/>
                  <a:pt x="31" y="721"/>
                  <a:pt x="31" y="721"/>
                </a:cubicBezTo>
                <a:cubicBezTo>
                  <a:pt x="0" y="721"/>
                  <a:pt x="0" y="721"/>
                  <a:pt x="0" y="721"/>
                </a:cubicBezTo>
                <a:cubicBezTo>
                  <a:pt x="0" y="806"/>
                  <a:pt x="0" y="806"/>
                  <a:pt x="0" y="806"/>
                </a:cubicBezTo>
                <a:cubicBezTo>
                  <a:pt x="800" y="806"/>
                  <a:pt x="800" y="806"/>
                  <a:pt x="800" y="806"/>
                </a:cubicBezTo>
                <a:cubicBezTo>
                  <a:pt x="800" y="721"/>
                  <a:pt x="800" y="721"/>
                  <a:pt x="800" y="721"/>
                </a:cubicBezTo>
                <a:lnTo>
                  <a:pt x="770" y="721"/>
                </a:lnTo>
                <a:close/>
                <a:moveTo>
                  <a:pt x="33" y="26"/>
                </a:moveTo>
                <a:cubicBezTo>
                  <a:pt x="769" y="26"/>
                  <a:pt x="769" y="26"/>
                  <a:pt x="769" y="26"/>
                </a:cubicBezTo>
                <a:cubicBezTo>
                  <a:pt x="769" y="101"/>
                  <a:pt x="769" y="101"/>
                  <a:pt x="769" y="101"/>
                </a:cubicBezTo>
                <a:cubicBezTo>
                  <a:pt x="33" y="101"/>
                  <a:pt x="33" y="101"/>
                  <a:pt x="33" y="101"/>
                </a:cubicBezTo>
                <a:lnTo>
                  <a:pt x="33" y="26"/>
                </a:lnTo>
                <a:close/>
                <a:moveTo>
                  <a:pt x="769" y="127"/>
                </a:moveTo>
                <a:cubicBezTo>
                  <a:pt x="769" y="285"/>
                  <a:pt x="769" y="285"/>
                  <a:pt x="769" y="285"/>
                </a:cubicBezTo>
                <a:cubicBezTo>
                  <a:pt x="769" y="313"/>
                  <a:pt x="746" y="336"/>
                  <a:pt x="719" y="336"/>
                </a:cubicBezTo>
                <a:cubicBezTo>
                  <a:pt x="691" y="336"/>
                  <a:pt x="668" y="313"/>
                  <a:pt x="668" y="285"/>
                </a:cubicBezTo>
                <a:cubicBezTo>
                  <a:pt x="668" y="127"/>
                  <a:pt x="668" y="127"/>
                  <a:pt x="668" y="127"/>
                </a:cubicBezTo>
                <a:lnTo>
                  <a:pt x="769" y="127"/>
                </a:lnTo>
                <a:close/>
                <a:moveTo>
                  <a:pt x="642" y="127"/>
                </a:moveTo>
                <a:cubicBezTo>
                  <a:pt x="642" y="285"/>
                  <a:pt x="642" y="285"/>
                  <a:pt x="642" y="285"/>
                </a:cubicBezTo>
                <a:cubicBezTo>
                  <a:pt x="642" y="313"/>
                  <a:pt x="619" y="336"/>
                  <a:pt x="592" y="336"/>
                </a:cubicBezTo>
                <a:cubicBezTo>
                  <a:pt x="564" y="336"/>
                  <a:pt x="541" y="313"/>
                  <a:pt x="541" y="285"/>
                </a:cubicBezTo>
                <a:cubicBezTo>
                  <a:pt x="541" y="127"/>
                  <a:pt x="541" y="127"/>
                  <a:pt x="541" y="127"/>
                </a:cubicBezTo>
                <a:lnTo>
                  <a:pt x="642" y="127"/>
                </a:lnTo>
                <a:close/>
                <a:moveTo>
                  <a:pt x="515" y="127"/>
                </a:moveTo>
                <a:cubicBezTo>
                  <a:pt x="515" y="285"/>
                  <a:pt x="515" y="285"/>
                  <a:pt x="515" y="285"/>
                </a:cubicBezTo>
                <a:cubicBezTo>
                  <a:pt x="515" y="313"/>
                  <a:pt x="492" y="336"/>
                  <a:pt x="465" y="336"/>
                </a:cubicBezTo>
                <a:cubicBezTo>
                  <a:pt x="437" y="336"/>
                  <a:pt x="414" y="313"/>
                  <a:pt x="414" y="285"/>
                </a:cubicBezTo>
                <a:cubicBezTo>
                  <a:pt x="414" y="127"/>
                  <a:pt x="414" y="127"/>
                  <a:pt x="414" y="127"/>
                </a:cubicBezTo>
                <a:lnTo>
                  <a:pt x="515" y="127"/>
                </a:lnTo>
                <a:close/>
                <a:moveTo>
                  <a:pt x="388" y="127"/>
                </a:moveTo>
                <a:cubicBezTo>
                  <a:pt x="388" y="285"/>
                  <a:pt x="388" y="285"/>
                  <a:pt x="388" y="285"/>
                </a:cubicBezTo>
                <a:cubicBezTo>
                  <a:pt x="388" y="313"/>
                  <a:pt x="365" y="336"/>
                  <a:pt x="337" y="336"/>
                </a:cubicBezTo>
                <a:cubicBezTo>
                  <a:pt x="310" y="336"/>
                  <a:pt x="287" y="314"/>
                  <a:pt x="287" y="286"/>
                </a:cubicBezTo>
                <a:cubicBezTo>
                  <a:pt x="287" y="127"/>
                  <a:pt x="287" y="127"/>
                  <a:pt x="287" y="127"/>
                </a:cubicBezTo>
                <a:lnTo>
                  <a:pt x="388" y="127"/>
                </a:lnTo>
                <a:close/>
                <a:moveTo>
                  <a:pt x="261" y="127"/>
                </a:moveTo>
                <a:cubicBezTo>
                  <a:pt x="261" y="286"/>
                  <a:pt x="261" y="286"/>
                  <a:pt x="261" y="286"/>
                </a:cubicBezTo>
                <a:cubicBezTo>
                  <a:pt x="261" y="314"/>
                  <a:pt x="238" y="336"/>
                  <a:pt x="210" y="336"/>
                </a:cubicBezTo>
                <a:cubicBezTo>
                  <a:pt x="183" y="336"/>
                  <a:pt x="160" y="313"/>
                  <a:pt x="160" y="285"/>
                </a:cubicBezTo>
                <a:cubicBezTo>
                  <a:pt x="160" y="127"/>
                  <a:pt x="160" y="127"/>
                  <a:pt x="160" y="127"/>
                </a:cubicBezTo>
                <a:lnTo>
                  <a:pt x="261" y="127"/>
                </a:lnTo>
                <a:close/>
                <a:moveTo>
                  <a:pt x="33" y="127"/>
                </a:moveTo>
                <a:cubicBezTo>
                  <a:pt x="134" y="127"/>
                  <a:pt x="134" y="127"/>
                  <a:pt x="134" y="127"/>
                </a:cubicBezTo>
                <a:cubicBezTo>
                  <a:pt x="134" y="285"/>
                  <a:pt x="134" y="285"/>
                  <a:pt x="134" y="285"/>
                </a:cubicBezTo>
                <a:cubicBezTo>
                  <a:pt x="134" y="313"/>
                  <a:pt x="111" y="336"/>
                  <a:pt x="83" y="336"/>
                </a:cubicBezTo>
                <a:cubicBezTo>
                  <a:pt x="56" y="336"/>
                  <a:pt x="33" y="313"/>
                  <a:pt x="33" y="285"/>
                </a:cubicBezTo>
                <a:lnTo>
                  <a:pt x="33" y="127"/>
                </a:lnTo>
                <a:close/>
                <a:moveTo>
                  <a:pt x="774" y="780"/>
                </a:moveTo>
                <a:cubicBezTo>
                  <a:pt x="25" y="780"/>
                  <a:pt x="25" y="780"/>
                  <a:pt x="25" y="780"/>
                </a:cubicBezTo>
                <a:cubicBezTo>
                  <a:pt x="25" y="747"/>
                  <a:pt x="25" y="747"/>
                  <a:pt x="25" y="747"/>
                </a:cubicBezTo>
                <a:cubicBezTo>
                  <a:pt x="57" y="747"/>
                  <a:pt x="57" y="747"/>
                  <a:pt x="57" y="747"/>
                </a:cubicBezTo>
                <a:cubicBezTo>
                  <a:pt x="57" y="357"/>
                  <a:pt x="57" y="357"/>
                  <a:pt x="57" y="357"/>
                </a:cubicBezTo>
                <a:cubicBezTo>
                  <a:pt x="65" y="360"/>
                  <a:pt x="74" y="362"/>
                  <a:pt x="83" y="362"/>
                </a:cubicBezTo>
                <a:cubicBezTo>
                  <a:pt x="110" y="362"/>
                  <a:pt x="133" y="348"/>
                  <a:pt x="147" y="328"/>
                </a:cubicBezTo>
                <a:cubicBezTo>
                  <a:pt x="161" y="348"/>
                  <a:pt x="184" y="362"/>
                  <a:pt x="210" y="362"/>
                </a:cubicBezTo>
                <a:cubicBezTo>
                  <a:pt x="237" y="362"/>
                  <a:pt x="260" y="348"/>
                  <a:pt x="274" y="328"/>
                </a:cubicBezTo>
                <a:cubicBezTo>
                  <a:pt x="288" y="348"/>
                  <a:pt x="311" y="362"/>
                  <a:pt x="337" y="362"/>
                </a:cubicBezTo>
                <a:cubicBezTo>
                  <a:pt x="364" y="362"/>
                  <a:pt x="387" y="348"/>
                  <a:pt x="401" y="328"/>
                </a:cubicBezTo>
                <a:cubicBezTo>
                  <a:pt x="415" y="348"/>
                  <a:pt x="438" y="362"/>
                  <a:pt x="465" y="362"/>
                </a:cubicBezTo>
                <a:cubicBezTo>
                  <a:pt x="491" y="362"/>
                  <a:pt x="514" y="348"/>
                  <a:pt x="528" y="328"/>
                </a:cubicBezTo>
                <a:cubicBezTo>
                  <a:pt x="542" y="348"/>
                  <a:pt x="565" y="362"/>
                  <a:pt x="592" y="362"/>
                </a:cubicBezTo>
                <a:cubicBezTo>
                  <a:pt x="618" y="362"/>
                  <a:pt x="641" y="348"/>
                  <a:pt x="655" y="328"/>
                </a:cubicBezTo>
                <a:cubicBezTo>
                  <a:pt x="669" y="348"/>
                  <a:pt x="692" y="362"/>
                  <a:pt x="719" y="362"/>
                </a:cubicBezTo>
                <a:cubicBezTo>
                  <a:pt x="727" y="362"/>
                  <a:pt x="736" y="360"/>
                  <a:pt x="744" y="357"/>
                </a:cubicBezTo>
                <a:cubicBezTo>
                  <a:pt x="744" y="747"/>
                  <a:pt x="744" y="747"/>
                  <a:pt x="744" y="747"/>
                </a:cubicBezTo>
                <a:cubicBezTo>
                  <a:pt x="774" y="747"/>
                  <a:pt x="774" y="747"/>
                  <a:pt x="774" y="747"/>
                </a:cubicBezTo>
                <a:lnTo>
                  <a:pt x="774" y="78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7" name="Footer Placeholder 99">
            <a:extLst>
              <a:ext uri="{FF2B5EF4-FFF2-40B4-BE49-F238E27FC236}">
                <a16:creationId xmlns:a16="http://schemas.microsoft.com/office/drawing/2014/main" id="{38416B3E-F835-47E4-8532-3A7A6420146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8" name="Slide Number Placeholder 100">
            <a:extLst>
              <a:ext uri="{FF2B5EF4-FFF2-40B4-BE49-F238E27FC236}">
                <a16:creationId xmlns:a16="http://schemas.microsoft.com/office/drawing/2014/main" id="{8DCAF67A-C41F-4E1A-B264-CD9147D826D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29" name="Text Placeholder 41">
            <a:extLst>
              <a:ext uri="{FF2B5EF4-FFF2-40B4-BE49-F238E27FC236}">
                <a16:creationId xmlns:a16="http://schemas.microsoft.com/office/drawing/2014/main" id="{FF4A3180-F846-4F7B-8259-6AFE0CCE68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8379948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 introduction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DAE72E3-75E3-234F-9FA1-118EC5DC41AA}"/>
              </a:ext>
            </a:extLst>
          </p:cNvPr>
          <p:cNvGrpSpPr/>
          <p:nvPr/>
        </p:nvGrpSpPr>
        <p:grpSpPr>
          <a:xfrm>
            <a:off x="228600" y="971550"/>
            <a:ext cx="4229099" cy="822960"/>
            <a:chOff x="228600" y="1118974"/>
            <a:chExt cx="4229099" cy="786384"/>
          </a:xfrm>
        </p:grpSpPr>
        <p:sp>
          <p:nvSpPr>
            <p:cNvPr id="5" name="Rectangle 4"/>
            <p:cNvSpPr/>
            <p:nvPr/>
          </p:nvSpPr>
          <p:spPr>
            <a:xfrm>
              <a:off x="1280160" y="1118974"/>
              <a:ext cx="3177539" cy="78638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bIns="91440" rtlCol="0" anchor="ctr"/>
            <a:lstStyle/>
            <a:p>
              <a:r>
                <a:rPr lang="en-US" sz="1050" b="1" dirty="0"/>
                <a:t>First Last</a:t>
              </a:r>
            </a:p>
            <a:p>
              <a:pPr>
                <a:spcAft>
                  <a:spcPts val="400"/>
                </a:spcAft>
              </a:pPr>
              <a:r>
                <a:rPr lang="en-US" sz="800" cap="all" spc="50" dirty="0"/>
                <a:t>position</a:t>
              </a:r>
            </a:p>
            <a:p>
              <a:r>
                <a:rPr lang="en-US" sz="900" dirty="0"/>
                <a:t>Major 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7678DB7-14E9-694C-A5E3-E2E8E0F43A75}"/>
                </a:ext>
              </a:extLst>
            </p:cNvPr>
            <p:cNvSpPr/>
            <p:nvPr/>
          </p:nvSpPr>
          <p:spPr>
            <a:xfrm>
              <a:off x="228600" y="1118974"/>
              <a:ext cx="1051560" cy="786384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21E1B42-7758-9B41-A559-124AB0C06383}"/>
              </a:ext>
            </a:extLst>
          </p:cNvPr>
          <p:cNvGrpSpPr/>
          <p:nvPr/>
        </p:nvGrpSpPr>
        <p:grpSpPr>
          <a:xfrm>
            <a:off x="228600" y="2018030"/>
            <a:ext cx="4229099" cy="822960"/>
            <a:chOff x="228600" y="1118974"/>
            <a:chExt cx="4229099" cy="786384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DB1FA4B-F002-5B43-86DA-3227757066F3}"/>
                </a:ext>
              </a:extLst>
            </p:cNvPr>
            <p:cNvSpPr/>
            <p:nvPr/>
          </p:nvSpPr>
          <p:spPr>
            <a:xfrm>
              <a:off x="1280160" y="1118974"/>
              <a:ext cx="3177539" cy="78638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bIns="91440" rtlCol="0" anchor="ctr"/>
            <a:lstStyle/>
            <a:p>
              <a:r>
                <a:rPr lang="en-US" sz="1050" b="1" dirty="0"/>
                <a:t>First Last</a:t>
              </a:r>
            </a:p>
            <a:p>
              <a:pPr>
                <a:spcAft>
                  <a:spcPts val="400"/>
                </a:spcAft>
              </a:pPr>
              <a:r>
                <a:rPr lang="en-US" sz="800" cap="all" spc="50" dirty="0"/>
                <a:t>position</a:t>
              </a:r>
            </a:p>
            <a:p>
              <a:r>
                <a:rPr lang="en-US" sz="900" dirty="0"/>
                <a:t>Major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D695BA9-C4DE-7845-BB73-E50495254554}"/>
                </a:ext>
              </a:extLst>
            </p:cNvPr>
            <p:cNvSpPr/>
            <p:nvPr/>
          </p:nvSpPr>
          <p:spPr>
            <a:xfrm>
              <a:off x="228600" y="1118974"/>
              <a:ext cx="1051560" cy="786384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BC6D3CB-E3EA-FD40-836F-FEB32C0B5C27}"/>
              </a:ext>
            </a:extLst>
          </p:cNvPr>
          <p:cNvGrpSpPr/>
          <p:nvPr/>
        </p:nvGrpSpPr>
        <p:grpSpPr>
          <a:xfrm>
            <a:off x="228600" y="3064510"/>
            <a:ext cx="4229099" cy="822960"/>
            <a:chOff x="228600" y="1118974"/>
            <a:chExt cx="4229099" cy="786384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9D46E92-480C-1541-9383-73FA11215E88}"/>
                </a:ext>
              </a:extLst>
            </p:cNvPr>
            <p:cNvSpPr/>
            <p:nvPr/>
          </p:nvSpPr>
          <p:spPr>
            <a:xfrm>
              <a:off x="1280160" y="1118974"/>
              <a:ext cx="3177539" cy="78638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bIns="91440" rtlCol="0" anchor="ctr"/>
            <a:lstStyle/>
            <a:p>
              <a:r>
                <a:rPr lang="en-US" sz="1050" b="1" dirty="0"/>
                <a:t>First Last</a:t>
              </a:r>
            </a:p>
            <a:p>
              <a:pPr>
                <a:spcAft>
                  <a:spcPts val="400"/>
                </a:spcAft>
              </a:pPr>
              <a:r>
                <a:rPr lang="en-US" sz="800" cap="all" spc="50" dirty="0"/>
                <a:t>position</a:t>
              </a:r>
            </a:p>
            <a:p>
              <a:r>
                <a:rPr lang="en-US" sz="900" dirty="0"/>
                <a:t>Major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1DDF4FBF-B229-C648-979B-27EC82A4887D}"/>
                </a:ext>
              </a:extLst>
            </p:cNvPr>
            <p:cNvSpPr/>
            <p:nvPr/>
          </p:nvSpPr>
          <p:spPr>
            <a:xfrm>
              <a:off x="228600" y="1118974"/>
              <a:ext cx="1051560" cy="786384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FCA774B-C60D-3D40-AB11-1678C0692926}"/>
              </a:ext>
            </a:extLst>
          </p:cNvPr>
          <p:cNvGrpSpPr/>
          <p:nvPr/>
        </p:nvGrpSpPr>
        <p:grpSpPr>
          <a:xfrm>
            <a:off x="228600" y="4110990"/>
            <a:ext cx="4229099" cy="822960"/>
            <a:chOff x="228600" y="1118974"/>
            <a:chExt cx="4229099" cy="786384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E3F8561-08DF-C347-BC21-633ACB3458C8}"/>
                </a:ext>
              </a:extLst>
            </p:cNvPr>
            <p:cNvSpPr/>
            <p:nvPr/>
          </p:nvSpPr>
          <p:spPr>
            <a:xfrm>
              <a:off x="1280160" y="1118974"/>
              <a:ext cx="3177539" cy="78638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bIns="91440" rtlCol="0" anchor="ctr"/>
            <a:lstStyle/>
            <a:p>
              <a:r>
                <a:rPr lang="en-US" sz="1050" b="1" dirty="0"/>
                <a:t>First Last</a:t>
              </a:r>
            </a:p>
            <a:p>
              <a:pPr>
                <a:spcAft>
                  <a:spcPts val="400"/>
                </a:spcAft>
              </a:pPr>
              <a:r>
                <a:rPr lang="en-US" sz="800" cap="all" spc="50" dirty="0"/>
                <a:t>position</a:t>
              </a:r>
            </a:p>
            <a:p>
              <a:r>
                <a:rPr lang="en-US" sz="900" dirty="0"/>
                <a:t>Major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13C1659-7F0B-8B46-8325-68C1DAC3DFDB}"/>
                </a:ext>
              </a:extLst>
            </p:cNvPr>
            <p:cNvSpPr/>
            <p:nvPr/>
          </p:nvSpPr>
          <p:spPr>
            <a:xfrm>
              <a:off x="228600" y="1118974"/>
              <a:ext cx="1051560" cy="786384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DCC3BC21-3FE7-8346-A156-6734914E6794}"/>
              </a:ext>
            </a:extLst>
          </p:cNvPr>
          <p:cNvGrpSpPr/>
          <p:nvPr/>
        </p:nvGrpSpPr>
        <p:grpSpPr>
          <a:xfrm>
            <a:off x="4686301" y="971550"/>
            <a:ext cx="4229099" cy="822960"/>
            <a:chOff x="228600" y="1118974"/>
            <a:chExt cx="4229099" cy="786384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5F0EE02-D8C9-7649-9042-5299647AC0F7}"/>
                </a:ext>
              </a:extLst>
            </p:cNvPr>
            <p:cNvSpPr/>
            <p:nvPr/>
          </p:nvSpPr>
          <p:spPr>
            <a:xfrm>
              <a:off x="1280160" y="1118974"/>
              <a:ext cx="3177539" cy="78638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bIns="91440" rtlCol="0" anchor="ctr"/>
            <a:lstStyle/>
            <a:p>
              <a:r>
                <a:rPr lang="en-US" sz="1050" b="1" dirty="0"/>
                <a:t>First Last</a:t>
              </a:r>
            </a:p>
            <a:p>
              <a:pPr>
                <a:spcAft>
                  <a:spcPts val="400"/>
                </a:spcAft>
              </a:pPr>
              <a:r>
                <a:rPr lang="en-US" sz="800" cap="all" spc="50" dirty="0"/>
                <a:t>position</a:t>
              </a:r>
            </a:p>
            <a:p>
              <a:r>
                <a:rPr lang="en-US" sz="900" dirty="0"/>
                <a:t>Major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0E42A2AF-DAC7-9B4D-99F6-510AD34970DD}"/>
                </a:ext>
              </a:extLst>
            </p:cNvPr>
            <p:cNvSpPr/>
            <p:nvPr/>
          </p:nvSpPr>
          <p:spPr>
            <a:xfrm>
              <a:off x="228600" y="1118974"/>
              <a:ext cx="1051560" cy="786384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F0244A8-FBDB-0446-9649-57E70E4064D2}"/>
              </a:ext>
            </a:extLst>
          </p:cNvPr>
          <p:cNvGrpSpPr/>
          <p:nvPr/>
        </p:nvGrpSpPr>
        <p:grpSpPr>
          <a:xfrm>
            <a:off x="4686301" y="2018030"/>
            <a:ext cx="4229099" cy="822960"/>
            <a:chOff x="228600" y="1118974"/>
            <a:chExt cx="4229099" cy="786384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BC87B85-02BB-4949-997A-C62847B94814}"/>
                </a:ext>
              </a:extLst>
            </p:cNvPr>
            <p:cNvSpPr/>
            <p:nvPr/>
          </p:nvSpPr>
          <p:spPr>
            <a:xfrm>
              <a:off x="1280160" y="1118974"/>
              <a:ext cx="3177539" cy="78638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bIns="91440" rtlCol="0" anchor="ctr"/>
            <a:lstStyle/>
            <a:p>
              <a:r>
                <a:rPr lang="en-US" sz="1050" b="1" dirty="0"/>
                <a:t>First Last</a:t>
              </a:r>
            </a:p>
            <a:p>
              <a:pPr>
                <a:spcAft>
                  <a:spcPts val="400"/>
                </a:spcAft>
              </a:pPr>
              <a:r>
                <a:rPr lang="en-US" sz="800" cap="all" spc="50" dirty="0"/>
                <a:t>position</a:t>
              </a:r>
            </a:p>
            <a:p>
              <a:r>
                <a:rPr lang="en-US" sz="900" dirty="0"/>
                <a:t>Major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DE37D7A7-5DDB-B04F-BDE2-D47EF0725F22}"/>
                </a:ext>
              </a:extLst>
            </p:cNvPr>
            <p:cNvSpPr/>
            <p:nvPr/>
          </p:nvSpPr>
          <p:spPr>
            <a:xfrm>
              <a:off x="228600" y="1118974"/>
              <a:ext cx="1051560" cy="786384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714B4D8A-BAB4-6A40-AC93-A490778D8D75}"/>
              </a:ext>
            </a:extLst>
          </p:cNvPr>
          <p:cNvGrpSpPr/>
          <p:nvPr/>
        </p:nvGrpSpPr>
        <p:grpSpPr>
          <a:xfrm>
            <a:off x="4686301" y="3064510"/>
            <a:ext cx="4229099" cy="822960"/>
            <a:chOff x="228600" y="1118974"/>
            <a:chExt cx="4229099" cy="78638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CD937762-4CF9-7D42-937D-C86C1B67F9E5}"/>
                </a:ext>
              </a:extLst>
            </p:cNvPr>
            <p:cNvSpPr/>
            <p:nvPr/>
          </p:nvSpPr>
          <p:spPr>
            <a:xfrm>
              <a:off x="1280160" y="1118974"/>
              <a:ext cx="3177539" cy="78638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bIns="91440" rtlCol="0" anchor="ctr"/>
            <a:lstStyle/>
            <a:p>
              <a:r>
                <a:rPr lang="en-US" sz="1050" b="1" dirty="0"/>
                <a:t>First Last</a:t>
              </a:r>
            </a:p>
            <a:p>
              <a:pPr>
                <a:spcAft>
                  <a:spcPts val="400"/>
                </a:spcAft>
              </a:pPr>
              <a:r>
                <a:rPr lang="en-US" sz="800" cap="all" spc="50" dirty="0"/>
                <a:t>position</a:t>
              </a:r>
            </a:p>
            <a:p>
              <a:r>
                <a:rPr lang="en-US" sz="900" dirty="0"/>
                <a:t>Major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AA32535-C9D5-534B-8CF2-399AB6B9A246}"/>
                </a:ext>
              </a:extLst>
            </p:cNvPr>
            <p:cNvSpPr/>
            <p:nvPr/>
          </p:nvSpPr>
          <p:spPr>
            <a:xfrm>
              <a:off x="228600" y="1118974"/>
              <a:ext cx="1051560" cy="786384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EFAF328-3199-3C46-8C40-C0F40C9B5D51}"/>
              </a:ext>
            </a:extLst>
          </p:cNvPr>
          <p:cNvGrpSpPr/>
          <p:nvPr/>
        </p:nvGrpSpPr>
        <p:grpSpPr>
          <a:xfrm>
            <a:off x="4686301" y="4110990"/>
            <a:ext cx="4229099" cy="822960"/>
            <a:chOff x="228600" y="1118974"/>
            <a:chExt cx="4229099" cy="786384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FF5E37CB-4B99-1745-AC8A-E8F322501409}"/>
                </a:ext>
              </a:extLst>
            </p:cNvPr>
            <p:cNvSpPr/>
            <p:nvPr/>
          </p:nvSpPr>
          <p:spPr>
            <a:xfrm>
              <a:off x="1280160" y="1118974"/>
              <a:ext cx="3177539" cy="78638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bIns="91440" rtlCol="0" anchor="ctr"/>
            <a:lstStyle/>
            <a:p>
              <a:r>
                <a:rPr lang="en-US" sz="1050" b="1" dirty="0"/>
                <a:t>First Last</a:t>
              </a:r>
            </a:p>
            <a:p>
              <a:pPr>
                <a:spcAft>
                  <a:spcPts val="400"/>
                </a:spcAft>
              </a:pPr>
              <a:r>
                <a:rPr lang="en-US" sz="800" cap="all" spc="50" dirty="0"/>
                <a:t>position</a:t>
              </a:r>
            </a:p>
            <a:p>
              <a:r>
                <a:rPr lang="en-US" sz="900" dirty="0"/>
                <a:t>Major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7C04BFD-DBB7-5C4E-8209-43324D008FFF}"/>
                </a:ext>
              </a:extLst>
            </p:cNvPr>
            <p:cNvSpPr/>
            <p:nvPr/>
          </p:nvSpPr>
          <p:spPr>
            <a:xfrm>
              <a:off x="228600" y="1118974"/>
              <a:ext cx="1051560" cy="786384"/>
            </a:xfrm>
            <a:prstGeom prst="rect">
              <a:avLst/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1629291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12811" cy="545464"/>
          </a:xfrm>
        </p:spPr>
        <p:txBody>
          <a:bodyPr/>
          <a:lstStyle/>
          <a:p>
            <a:r>
              <a:rPr lang="en-US" dirty="0"/>
              <a:t>Horizontal histograms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4294967295"/>
          </p:nvPr>
        </p:nvGraphicFramePr>
        <p:xfrm>
          <a:off x="631768" y="1089025"/>
          <a:ext cx="7772400" cy="3470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6"/>
          <p:cNvSpPr/>
          <p:nvPr/>
        </p:nvSpPr>
        <p:spPr>
          <a:xfrm>
            <a:off x="843364" y="1208089"/>
            <a:ext cx="1138132" cy="184666"/>
          </a:xfrm>
          <a:prstGeom prst="rect">
            <a:avLst/>
          </a:prstGeom>
          <a:ln>
            <a:noFill/>
          </a:ln>
        </p:spPr>
        <p:txBody>
          <a:bodyPr wrap="none" lIns="0" tIns="0" rIns="0" bIns="0">
            <a:spAutoFit/>
          </a:bodyPr>
          <a:lstStyle/>
          <a:p>
            <a:r>
              <a:rPr lang="en-US" sz="1200" dirty="0" err="1">
                <a:ea typeface="Open Sans Semibold" pitchFamily="34" charset="0"/>
                <a:cs typeface="Open Sans Semibold" pitchFamily="34" charset="0"/>
              </a:rPr>
              <a:t>Xxxxx</a:t>
            </a:r>
            <a:r>
              <a:rPr lang="en-US" sz="1200" dirty="0">
                <a:ea typeface="Open Sans Semibold" pitchFamily="34" charset="0"/>
                <a:cs typeface="Open Sans Semibold" pitchFamily="34" charset="0"/>
              </a:rPr>
              <a:t> X xx ($xx)</a:t>
            </a:r>
          </a:p>
        </p:txBody>
      </p:sp>
      <p:sp>
        <p:nvSpPr>
          <p:cNvPr id="8" name="Footer Placeholder 99">
            <a:extLst>
              <a:ext uri="{FF2B5EF4-FFF2-40B4-BE49-F238E27FC236}">
                <a16:creationId xmlns:a16="http://schemas.microsoft.com/office/drawing/2014/main" id="{1A7D24D1-3C08-49B2-9191-B8F77FE7B8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100">
            <a:extLst>
              <a:ext uri="{FF2B5EF4-FFF2-40B4-BE49-F238E27FC236}">
                <a16:creationId xmlns:a16="http://schemas.microsoft.com/office/drawing/2014/main" id="{51CD9D42-F372-4C8B-A908-99D649CD522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10" name="Text Placeholder 41">
            <a:extLst>
              <a:ext uri="{FF2B5EF4-FFF2-40B4-BE49-F238E27FC236}">
                <a16:creationId xmlns:a16="http://schemas.microsoft.com/office/drawing/2014/main" id="{2B3A1EA2-FA36-41E2-BC1A-99E14EF52A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90550283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10302" cy="545464"/>
          </a:xfrm>
        </p:spPr>
        <p:txBody>
          <a:bodyPr/>
          <a:lstStyle/>
          <a:p>
            <a:r>
              <a:rPr lang="en-US" dirty="0"/>
              <a:t>Histogram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4294967295"/>
          </p:nvPr>
        </p:nvGraphicFramePr>
        <p:xfrm>
          <a:off x="681642" y="1089025"/>
          <a:ext cx="7772400" cy="3470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6"/>
          <p:cNvSpPr/>
          <p:nvPr/>
        </p:nvSpPr>
        <p:spPr>
          <a:xfrm>
            <a:off x="689958" y="1164867"/>
            <a:ext cx="1412246" cy="184666"/>
          </a:xfrm>
          <a:prstGeom prst="rect">
            <a:avLst/>
          </a:prstGeom>
          <a:ln>
            <a:noFill/>
          </a:ln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ea typeface="Open Sans Semibold" pitchFamily="34" charset="0"/>
                <a:cs typeface="Open Sans Semibold" pitchFamily="34" charset="0"/>
              </a:rPr>
              <a:t>Xxx </a:t>
            </a:r>
            <a:r>
              <a:rPr lang="en-US" sz="1200" dirty="0" err="1">
                <a:ea typeface="Open Sans Semibold" pitchFamily="34" charset="0"/>
                <a:cs typeface="Open Sans Semibold" pitchFamily="34" charset="0"/>
              </a:rPr>
              <a:t>Xxxxxx</a:t>
            </a:r>
            <a:r>
              <a:rPr lang="en-US" sz="1200" dirty="0">
                <a:ea typeface="Open Sans Semibold" pitchFamily="34" charset="0"/>
                <a:cs typeface="Open Sans Semibold" pitchFamily="34" charset="0"/>
              </a:rPr>
              <a:t> X xx (%)</a:t>
            </a:r>
          </a:p>
        </p:txBody>
      </p:sp>
      <p:sp>
        <p:nvSpPr>
          <p:cNvPr id="8" name="Footer Placeholder 99">
            <a:extLst>
              <a:ext uri="{FF2B5EF4-FFF2-40B4-BE49-F238E27FC236}">
                <a16:creationId xmlns:a16="http://schemas.microsoft.com/office/drawing/2014/main" id="{474DB5CD-9693-472D-9E8D-584A2CA5B56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100">
            <a:extLst>
              <a:ext uri="{FF2B5EF4-FFF2-40B4-BE49-F238E27FC236}">
                <a16:creationId xmlns:a16="http://schemas.microsoft.com/office/drawing/2014/main" id="{6E7AD146-5A1C-49BD-9B3E-B5422F96D37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10" name="Text Placeholder 41">
            <a:extLst>
              <a:ext uri="{FF2B5EF4-FFF2-40B4-BE49-F238E27FC236}">
                <a16:creationId xmlns:a16="http://schemas.microsoft.com/office/drawing/2014/main" id="{D85630D6-854E-4D39-AB80-62E0735E4B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265320470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8600" y="209549"/>
            <a:ext cx="7621438" cy="682625"/>
          </a:xfrm>
        </p:spPr>
        <p:txBody>
          <a:bodyPr/>
          <a:lstStyle/>
          <a:p>
            <a:r>
              <a:rPr lang="en-US" dirty="0"/>
              <a:t>Table with commentary</a:t>
            </a: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</p:nvPr>
        </p:nvGraphicFramePr>
        <p:xfrm>
          <a:off x="3110592" y="1284798"/>
          <a:ext cx="5803469" cy="301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90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9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90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29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29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2906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2906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Xx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xx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1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Xx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xx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2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Xx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xx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3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Xx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xx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4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Xx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xx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5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Xx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xx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6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4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4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4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4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4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4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3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3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3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3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3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3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Xxx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2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2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2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2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2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2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Xxx x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Xxx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x 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Xxx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8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8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8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8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8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8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Xxxx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x 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Xxxx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xx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Xxx Xx x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550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55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Xxx </a:t>
                      </a:r>
                      <a:r>
                        <a:rPr lang="en-US" sz="1200" baseline="0" dirty="0" err="1">
                          <a:solidFill>
                            <a:schemeClr val="bg1"/>
                          </a:solidFill>
                        </a:rPr>
                        <a:t>Xxx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8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45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8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45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8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45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8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45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8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45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8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4500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8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2F948D8-B302-4093-B0BC-A46E375964B4}"/>
              </a:ext>
            </a:extLst>
          </p:cNvPr>
          <p:cNvSpPr txBox="1"/>
          <p:nvPr/>
        </p:nvSpPr>
        <p:spPr>
          <a:xfrm>
            <a:off x="229938" y="1268470"/>
            <a:ext cx="2619398" cy="2949441"/>
          </a:xfrm>
          <a:prstGeom prst="rect">
            <a:avLst/>
          </a:prstGeom>
          <a:noFill/>
        </p:spPr>
        <p:txBody>
          <a:bodyPr wrap="square" lIns="91440" tIns="45720" rIns="91440" bIns="45720" rtlCol="0">
            <a:noAutofit/>
          </a:bodyPr>
          <a:lstStyle/>
          <a:p>
            <a:pPr>
              <a:spcBef>
                <a:spcPts val="600"/>
              </a:spcBef>
            </a:pPr>
            <a:r>
              <a:rPr lang="en-US" sz="1400" b="1" dirty="0"/>
              <a:t>XXXXXXXXXXXXXXX</a:t>
            </a:r>
            <a:endParaRPr lang="en-US" sz="1100" b="1" dirty="0"/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endParaRPr lang="en-US" sz="1100" dirty="0"/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 err="1"/>
              <a:t>Xxxxxxxxxxxxxx</a:t>
            </a:r>
            <a:endParaRPr lang="en-US" sz="1100" dirty="0"/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 err="1"/>
              <a:t>Xxxxxxxx</a:t>
            </a:r>
            <a:endParaRPr lang="en-US" sz="1100" dirty="0"/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/>
              <a:t>X </a:t>
            </a:r>
            <a:r>
              <a:rPr lang="en-US" sz="1100" dirty="0" err="1"/>
              <a:t>xxxxxxxxxxxx</a:t>
            </a:r>
            <a:r>
              <a:rPr lang="en-US" sz="1100" dirty="0"/>
              <a:t> </a:t>
            </a:r>
            <a:r>
              <a:rPr lang="en-US" sz="1100" dirty="0" err="1"/>
              <a:t>xxxxxxxxxxxxx</a:t>
            </a:r>
            <a:r>
              <a:rPr lang="en-US" sz="1100" dirty="0"/>
              <a:t> </a:t>
            </a:r>
            <a:r>
              <a:rPr lang="en-US" sz="1100" dirty="0" err="1"/>
              <a:t>xxxxxxxxxxxxxxx</a:t>
            </a:r>
            <a:r>
              <a:rPr lang="en-US" sz="1100" dirty="0"/>
              <a:t> </a:t>
            </a:r>
            <a:r>
              <a:rPr lang="en-US" sz="1100" dirty="0" err="1"/>
              <a:t>xxxxx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</a:t>
            </a:r>
          </a:p>
        </p:txBody>
      </p:sp>
      <p:sp>
        <p:nvSpPr>
          <p:cNvPr id="6" name="Slide Number Placeholder 100">
            <a:extLst>
              <a:ext uri="{FF2B5EF4-FFF2-40B4-BE49-F238E27FC236}">
                <a16:creationId xmlns:a16="http://schemas.microsoft.com/office/drawing/2014/main" id="{D57483CD-F9AD-4816-9B86-44B98E53BC21}"/>
              </a:ext>
            </a:extLst>
          </p:cNvPr>
          <p:cNvSpPr txBox="1">
            <a:spLocks/>
          </p:cNvSpPr>
          <p:nvPr/>
        </p:nvSpPr>
        <p:spPr>
          <a:xfrm>
            <a:off x="6858000" y="4933950"/>
            <a:ext cx="2057400" cy="18288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154EA64-C67A-624C-A147-549F97A9164D}" type="slidenum">
              <a:rPr lang="en-US" smtClean="0"/>
              <a:pPr/>
              <a:t>52</a:t>
            </a:fld>
            <a:endParaRPr lang="en-US" dirty="0"/>
          </a:p>
        </p:txBody>
      </p:sp>
      <p:sp>
        <p:nvSpPr>
          <p:cNvPr id="11" name="Text Placeholder 41">
            <a:extLst>
              <a:ext uri="{FF2B5EF4-FFF2-40B4-BE49-F238E27FC236}">
                <a16:creationId xmlns:a16="http://schemas.microsoft.com/office/drawing/2014/main" id="{4AF0CEE4-FE45-4CE9-87BC-BE65E44FBF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 anchor="ctr"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365114870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layou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34918E-7EB0-EB45-92D8-C32124FE5C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EAF9DB-6F40-460F-BF1F-2A84CCEEEA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89329B-CA23-AE4D-AC50-E5E895A9E3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086600" y="4933950"/>
            <a:ext cx="2057400" cy="182563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53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554072-2822-4C1D-9551-C73A1134819B}"/>
              </a:ext>
            </a:extLst>
          </p:cNvPr>
          <p:cNvSpPr/>
          <p:nvPr/>
        </p:nvSpPr>
        <p:spPr>
          <a:xfrm>
            <a:off x="203661" y="191193"/>
            <a:ext cx="8740833" cy="4671752"/>
          </a:xfrm>
          <a:prstGeom prst="rect">
            <a:avLst/>
          </a:prstGeom>
          <a:solidFill>
            <a:srgbClr val="336FCA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 indent="-631825" algn="ctr"/>
            <a:r>
              <a:rPr lang="en-US" sz="2800" dirty="0">
                <a:solidFill>
                  <a:schemeClr val="bg1"/>
                </a:solidFill>
              </a:rPr>
              <a:t>Examples or ideas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8302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38691" cy="545464"/>
          </a:xfrm>
        </p:spPr>
        <p:txBody>
          <a:bodyPr/>
          <a:lstStyle/>
          <a:p>
            <a:r>
              <a:rPr lang="en-US" dirty="0"/>
              <a:t>Examples</a:t>
            </a:r>
          </a:p>
        </p:txBody>
      </p:sp>
      <p:sp>
        <p:nvSpPr>
          <p:cNvPr id="23" name="Freeform 22"/>
          <p:cNvSpPr/>
          <p:nvPr/>
        </p:nvSpPr>
        <p:spPr>
          <a:xfrm>
            <a:off x="1073620" y="2171680"/>
            <a:ext cx="1053186" cy="1047806"/>
          </a:xfrm>
          <a:custGeom>
            <a:avLst/>
            <a:gdLst>
              <a:gd name="connsiteX0" fmla="*/ 0 w 1346941"/>
              <a:gd name="connsiteY0" fmla="*/ 670031 h 1340062"/>
              <a:gd name="connsiteX1" fmla="*/ 673471 w 1346941"/>
              <a:gd name="connsiteY1" fmla="*/ 0 h 1340062"/>
              <a:gd name="connsiteX2" fmla="*/ 1346942 w 1346941"/>
              <a:gd name="connsiteY2" fmla="*/ 670031 h 1340062"/>
              <a:gd name="connsiteX3" fmla="*/ 673471 w 1346941"/>
              <a:gd name="connsiteY3" fmla="*/ 1340062 h 1340062"/>
              <a:gd name="connsiteX4" fmla="*/ 0 w 1346941"/>
              <a:gd name="connsiteY4" fmla="*/ 670031 h 134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941" h="1340062">
                <a:moveTo>
                  <a:pt x="0" y="670031"/>
                </a:moveTo>
                <a:cubicBezTo>
                  <a:pt x="0" y="299983"/>
                  <a:pt x="301523" y="0"/>
                  <a:pt x="673471" y="0"/>
                </a:cubicBezTo>
                <a:cubicBezTo>
                  <a:pt x="1045419" y="0"/>
                  <a:pt x="1346942" y="299983"/>
                  <a:pt x="1346942" y="670031"/>
                </a:cubicBezTo>
                <a:cubicBezTo>
                  <a:pt x="1346942" y="1040079"/>
                  <a:pt x="1045419" y="1340062"/>
                  <a:pt x="673471" y="1340062"/>
                </a:cubicBezTo>
                <a:cubicBezTo>
                  <a:pt x="301523" y="1340062"/>
                  <a:pt x="0" y="1040079"/>
                  <a:pt x="0" y="670031"/>
                </a:cubicBezTo>
                <a:close/>
              </a:path>
            </a:pathLst>
          </a:custGeom>
          <a:solidFill>
            <a:schemeClr val="accent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07415" tIns="206408" rIns="207415" bIns="206408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>
                <a:solidFill>
                  <a:srgbClr val="FFFFFF"/>
                </a:solidFill>
              </a:rPr>
              <a:t>XXX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2548915" y="1485133"/>
            <a:ext cx="1357487" cy="34066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36151" tIns="36151" rIns="36151" bIns="36151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>
                <a:solidFill>
                  <a:srgbClr val="FFFFFF"/>
                </a:solidFill>
              </a:rPr>
              <a:t>XXX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2550533" y="2178545"/>
            <a:ext cx="1357487" cy="34066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36151" tIns="36151" rIns="36151" bIns="36151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>
                <a:solidFill>
                  <a:srgbClr val="FFFFFF"/>
                </a:solidFill>
              </a:rPr>
              <a:t>XXX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2550533" y="2871957"/>
            <a:ext cx="1357487" cy="34066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36151" tIns="36151" rIns="36151" bIns="36151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>
                <a:solidFill>
                  <a:srgbClr val="FFFFFF"/>
                </a:solidFill>
              </a:rPr>
              <a:t>XXX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2548915" y="3565369"/>
            <a:ext cx="1357487" cy="34066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36151" tIns="36151" rIns="36151" bIns="36151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>
                <a:solidFill>
                  <a:srgbClr val="FFFFFF"/>
                </a:solidFill>
              </a:rPr>
              <a:t>XXX</a:t>
            </a:r>
          </a:p>
        </p:txBody>
      </p:sp>
      <p:sp>
        <p:nvSpPr>
          <p:cNvPr id="9" name="Rectangle 8"/>
          <p:cNvSpPr/>
          <p:nvPr/>
        </p:nvSpPr>
        <p:spPr>
          <a:xfrm>
            <a:off x="4579064" y="990165"/>
            <a:ext cx="3491316" cy="421397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XXX XXXX XXXXXXXXXXXXXXXXXXX XXXXXXX XXXXXX</a:t>
            </a:r>
          </a:p>
        </p:txBody>
      </p:sp>
      <p:cxnSp>
        <p:nvCxnSpPr>
          <p:cNvPr id="12" name="Elbow Connector 11"/>
          <p:cNvCxnSpPr>
            <a:stCxn id="24" idx="3"/>
          </p:cNvCxnSpPr>
          <p:nvPr/>
        </p:nvCxnSpPr>
        <p:spPr>
          <a:xfrm flipV="1">
            <a:off x="3906402" y="1095331"/>
            <a:ext cx="404245" cy="560134"/>
          </a:xfrm>
          <a:prstGeom prst="bentConnector3">
            <a:avLst/>
          </a:prstGeom>
          <a:ln w="3175" cmpd="sng">
            <a:solidFill>
              <a:schemeClr val="tx2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Elbow Connector 12"/>
          <p:cNvCxnSpPr>
            <a:stCxn id="24" idx="3"/>
          </p:cNvCxnSpPr>
          <p:nvPr/>
        </p:nvCxnSpPr>
        <p:spPr>
          <a:xfrm flipV="1">
            <a:off x="3906402" y="1487196"/>
            <a:ext cx="404245" cy="168270"/>
          </a:xfrm>
          <a:prstGeom prst="bentConnector3">
            <a:avLst/>
          </a:prstGeom>
          <a:ln w="3175" cmpd="sng">
            <a:solidFill>
              <a:schemeClr val="tx2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4579063" y="1938572"/>
            <a:ext cx="3491316" cy="421397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XXX XXXX XXXXXXXXXXXXXXXXXXX XXXXXXX XXXXXX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579064" y="2332252"/>
            <a:ext cx="3491316" cy="421397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XXX XXXX XXXXXXXXXXXXXXXXXXX XXXXXXX XXXXXX</a:t>
            </a:r>
          </a:p>
        </p:txBody>
      </p:sp>
      <p:cxnSp>
        <p:nvCxnSpPr>
          <p:cNvPr id="35" name="Elbow Connector 34"/>
          <p:cNvCxnSpPr>
            <a:stCxn id="25" idx="3"/>
          </p:cNvCxnSpPr>
          <p:nvPr/>
        </p:nvCxnSpPr>
        <p:spPr>
          <a:xfrm flipV="1">
            <a:off x="3908020" y="2052688"/>
            <a:ext cx="402627" cy="296190"/>
          </a:xfrm>
          <a:prstGeom prst="bentConnector3">
            <a:avLst/>
          </a:prstGeom>
          <a:ln w="3175" cmpd="sng">
            <a:solidFill>
              <a:schemeClr val="tx2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Elbow Connector 35"/>
          <p:cNvCxnSpPr>
            <a:stCxn id="25" idx="3"/>
          </p:cNvCxnSpPr>
          <p:nvPr/>
        </p:nvCxnSpPr>
        <p:spPr>
          <a:xfrm>
            <a:off x="3908020" y="2348877"/>
            <a:ext cx="402627" cy="95674"/>
          </a:xfrm>
          <a:prstGeom prst="bentConnector3">
            <a:avLst/>
          </a:prstGeom>
          <a:ln w="3175" cmpd="sng">
            <a:solidFill>
              <a:schemeClr val="tx2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4579064" y="2806456"/>
            <a:ext cx="3491316" cy="421397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XXX XXXX XXXXXXXXXXXXXXXXXXX XXXXXXX XXXXXX</a:t>
            </a:r>
          </a:p>
        </p:txBody>
      </p:sp>
      <p:sp>
        <p:nvSpPr>
          <p:cNvPr id="38" name="Rectangle 37"/>
          <p:cNvSpPr/>
          <p:nvPr/>
        </p:nvSpPr>
        <p:spPr>
          <a:xfrm>
            <a:off x="4579064" y="3209083"/>
            <a:ext cx="3491316" cy="421397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XXX XXXX XXXXXXXXXXXXXXXXXXX XXXXXXX XXXXXX</a:t>
            </a:r>
          </a:p>
        </p:txBody>
      </p:sp>
      <p:cxnSp>
        <p:nvCxnSpPr>
          <p:cNvPr id="39" name="Elbow Connector 38"/>
          <p:cNvCxnSpPr>
            <a:stCxn id="26" idx="3"/>
          </p:cNvCxnSpPr>
          <p:nvPr/>
        </p:nvCxnSpPr>
        <p:spPr>
          <a:xfrm flipV="1">
            <a:off x="3908020" y="2920571"/>
            <a:ext cx="402627" cy="121719"/>
          </a:xfrm>
          <a:prstGeom prst="bentConnector3">
            <a:avLst/>
          </a:prstGeom>
          <a:ln w="3175" cmpd="sng">
            <a:solidFill>
              <a:schemeClr val="tx2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stCxn id="26" idx="3"/>
          </p:cNvCxnSpPr>
          <p:nvPr/>
        </p:nvCxnSpPr>
        <p:spPr>
          <a:xfrm>
            <a:off x="3908020" y="3042289"/>
            <a:ext cx="402627" cy="270145"/>
          </a:xfrm>
          <a:prstGeom prst="bentConnector3">
            <a:avLst/>
          </a:prstGeom>
          <a:ln w="3175" cmpd="sng">
            <a:solidFill>
              <a:schemeClr val="tx2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>
            <a:off x="4579064" y="3683286"/>
            <a:ext cx="3491316" cy="421397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XXX XXXX XXXXXXXXXXXXXXXXXXX XXXXXXX XXXXXX</a:t>
            </a:r>
          </a:p>
        </p:txBody>
      </p:sp>
      <p:sp>
        <p:nvSpPr>
          <p:cNvPr id="42" name="Rectangle 41"/>
          <p:cNvSpPr/>
          <p:nvPr/>
        </p:nvSpPr>
        <p:spPr>
          <a:xfrm>
            <a:off x="4579064" y="4060647"/>
            <a:ext cx="3491316" cy="421397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XXX XXXX XXXXXXXXXXXXXXXXXXX XXXXXXX XXXXXX</a:t>
            </a:r>
          </a:p>
        </p:txBody>
      </p:sp>
      <p:cxnSp>
        <p:nvCxnSpPr>
          <p:cNvPr id="43" name="Elbow Connector 42"/>
          <p:cNvCxnSpPr>
            <a:stCxn id="27" idx="3"/>
          </p:cNvCxnSpPr>
          <p:nvPr/>
        </p:nvCxnSpPr>
        <p:spPr>
          <a:xfrm>
            <a:off x="3906402" y="3735701"/>
            <a:ext cx="404245" cy="52753"/>
          </a:xfrm>
          <a:prstGeom prst="bentConnector3">
            <a:avLst/>
          </a:prstGeom>
          <a:ln w="3175" cmpd="sng">
            <a:solidFill>
              <a:schemeClr val="accent6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stCxn id="27" idx="3"/>
          </p:cNvCxnSpPr>
          <p:nvPr/>
        </p:nvCxnSpPr>
        <p:spPr>
          <a:xfrm>
            <a:off x="3906402" y="3735700"/>
            <a:ext cx="404245" cy="444617"/>
          </a:xfrm>
          <a:prstGeom prst="bentConnector3">
            <a:avLst/>
          </a:prstGeom>
          <a:ln w="3175" cmpd="sng">
            <a:solidFill>
              <a:schemeClr val="tx2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/>
          <p:cNvCxnSpPr>
            <a:stCxn id="23" idx="2"/>
            <a:endCxn id="24" idx="1"/>
          </p:cNvCxnSpPr>
          <p:nvPr/>
        </p:nvCxnSpPr>
        <p:spPr>
          <a:xfrm flipV="1">
            <a:off x="2126806" y="1655465"/>
            <a:ext cx="422108" cy="1040118"/>
          </a:xfrm>
          <a:prstGeom prst="bentConnector3">
            <a:avLst>
              <a:gd name="adj1" fmla="val 50000"/>
            </a:avLst>
          </a:prstGeom>
          <a:ln w="3175" cmpd="sng">
            <a:solidFill>
              <a:schemeClr val="accent2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Elbow Connector 54"/>
          <p:cNvCxnSpPr>
            <a:stCxn id="23" idx="2"/>
            <a:endCxn id="25" idx="1"/>
          </p:cNvCxnSpPr>
          <p:nvPr/>
        </p:nvCxnSpPr>
        <p:spPr>
          <a:xfrm flipV="1">
            <a:off x="2126807" y="2348878"/>
            <a:ext cx="423725" cy="346706"/>
          </a:xfrm>
          <a:prstGeom prst="bentConnector3">
            <a:avLst/>
          </a:prstGeom>
          <a:ln w="3175" cmpd="sng">
            <a:solidFill>
              <a:schemeClr val="accent2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Elbow Connector 55"/>
          <p:cNvCxnSpPr>
            <a:stCxn id="23" idx="2"/>
            <a:endCxn id="26" idx="1"/>
          </p:cNvCxnSpPr>
          <p:nvPr/>
        </p:nvCxnSpPr>
        <p:spPr>
          <a:xfrm>
            <a:off x="2126807" y="2695584"/>
            <a:ext cx="423725" cy="346706"/>
          </a:xfrm>
          <a:prstGeom prst="bentConnector3">
            <a:avLst/>
          </a:prstGeom>
          <a:ln w="3175" cmpd="sng">
            <a:solidFill>
              <a:schemeClr val="accent2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56"/>
          <p:cNvCxnSpPr>
            <a:stCxn id="23" idx="2"/>
            <a:endCxn id="27" idx="1"/>
          </p:cNvCxnSpPr>
          <p:nvPr/>
        </p:nvCxnSpPr>
        <p:spPr>
          <a:xfrm>
            <a:off x="2126806" y="2695583"/>
            <a:ext cx="422108" cy="1040118"/>
          </a:xfrm>
          <a:prstGeom prst="bentConnector3">
            <a:avLst/>
          </a:prstGeom>
          <a:ln w="3175" cmpd="sng">
            <a:solidFill>
              <a:schemeClr val="accent2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Freeform 44"/>
          <p:cNvSpPr/>
          <p:nvPr/>
        </p:nvSpPr>
        <p:spPr>
          <a:xfrm rot="10800000" flipV="1">
            <a:off x="4310647" y="951297"/>
            <a:ext cx="289549" cy="288068"/>
          </a:xfrm>
          <a:custGeom>
            <a:avLst/>
            <a:gdLst>
              <a:gd name="connsiteX0" fmla="*/ 0 w 1346941"/>
              <a:gd name="connsiteY0" fmla="*/ 670031 h 1340062"/>
              <a:gd name="connsiteX1" fmla="*/ 673471 w 1346941"/>
              <a:gd name="connsiteY1" fmla="*/ 0 h 1340062"/>
              <a:gd name="connsiteX2" fmla="*/ 1346942 w 1346941"/>
              <a:gd name="connsiteY2" fmla="*/ 670031 h 1340062"/>
              <a:gd name="connsiteX3" fmla="*/ 673471 w 1346941"/>
              <a:gd name="connsiteY3" fmla="*/ 1340062 h 1340062"/>
              <a:gd name="connsiteX4" fmla="*/ 0 w 1346941"/>
              <a:gd name="connsiteY4" fmla="*/ 670031 h 134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941" h="1340062">
                <a:moveTo>
                  <a:pt x="0" y="670031"/>
                </a:moveTo>
                <a:cubicBezTo>
                  <a:pt x="0" y="299983"/>
                  <a:pt x="301523" y="0"/>
                  <a:pt x="673471" y="0"/>
                </a:cubicBezTo>
                <a:cubicBezTo>
                  <a:pt x="1045419" y="0"/>
                  <a:pt x="1346942" y="299983"/>
                  <a:pt x="1346942" y="670031"/>
                </a:cubicBezTo>
                <a:cubicBezTo>
                  <a:pt x="1346942" y="1040079"/>
                  <a:pt x="1045419" y="1340062"/>
                  <a:pt x="673471" y="1340062"/>
                </a:cubicBezTo>
                <a:cubicBezTo>
                  <a:pt x="301523" y="1340062"/>
                  <a:pt x="0" y="1040079"/>
                  <a:pt x="0" y="670031"/>
                </a:cubicBezTo>
                <a:close/>
              </a:path>
            </a:pathLst>
          </a:custGeom>
          <a:solidFill>
            <a:schemeClr val="accent1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207415" tIns="206408" rIns="207415" bIns="206408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solidFill>
                  <a:srgbClr val="FFFFFF"/>
                </a:solidFill>
              </a:rPr>
              <a:t>X</a:t>
            </a:r>
          </a:p>
        </p:txBody>
      </p:sp>
      <p:sp>
        <p:nvSpPr>
          <p:cNvPr id="46" name="Freeform 45"/>
          <p:cNvSpPr/>
          <p:nvPr/>
        </p:nvSpPr>
        <p:spPr>
          <a:xfrm rot="10800000" flipV="1">
            <a:off x="4310647" y="1343161"/>
            <a:ext cx="289549" cy="288068"/>
          </a:xfrm>
          <a:custGeom>
            <a:avLst/>
            <a:gdLst>
              <a:gd name="connsiteX0" fmla="*/ 0 w 1346941"/>
              <a:gd name="connsiteY0" fmla="*/ 670031 h 1340062"/>
              <a:gd name="connsiteX1" fmla="*/ 673471 w 1346941"/>
              <a:gd name="connsiteY1" fmla="*/ 0 h 1340062"/>
              <a:gd name="connsiteX2" fmla="*/ 1346942 w 1346941"/>
              <a:gd name="connsiteY2" fmla="*/ 670031 h 1340062"/>
              <a:gd name="connsiteX3" fmla="*/ 673471 w 1346941"/>
              <a:gd name="connsiteY3" fmla="*/ 1340062 h 1340062"/>
              <a:gd name="connsiteX4" fmla="*/ 0 w 1346941"/>
              <a:gd name="connsiteY4" fmla="*/ 670031 h 134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941" h="1340062">
                <a:moveTo>
                  <a:pt x="0" y="670031"/>
                </a:moveTo>
                <a:cubicBezTo>
                  <a:pt x="0" y="299983"/>
                  <a:pt x="301523" y="0"/>
                  <a:pt x="673471" y="0"/>
                </a:cubicBezTo>
                <a:cubicBezTo>
                  <a:pt x="1045419" y="0"/>
                  <a:pt x="1346942" y="299983"/>
                  <a:pt x="1346942" y="670031"/>
                </a:cubicBezTo>
                <a:cubicBezTo>
                  <a:pt x="1346942" y="1040079"/>
                  <a:pt x="1045419" y="1340062"/>
                  <a:pt x="673471" y="1340062"/>
                </a:cubicBezTo>
                <a:cubicBezTo>
                  <a:pt x="301523" y="1340062"/>
                  <a:pt x="0" y="1040079"/>
                  <a:pt x="0" y="670031"/>
                </a:cubicBezTo>
                <a:close/>
              </a:path>
            </a:pathLst>
          </a:custGeom>
          <a:solidFill>
            <a:schemeClr val="accent1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207415" tIns="206408" rIns="207415" bIns="206408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solidFill>
                  <a:srgbClr val="FFFFFF"/>
                </a:solidFill>
              </a:rPr>
              <a:t>X</a:t>
            </a:r>
          </a:p>
        </p:txBody>
      </p:sp>
      <p:sp>
        <p:nvSpPr>
          <p:cNvPr id="47" name="Freeform 46"/>
          <p:cNvSpPr/>
          <p:nvPr/>
        </p:nvSpPr>
        <p:spPr>
          <a:xfrm rot="10800000" flipV="1">
            <a:off x="4310647" y="1908653"/>
            <a:ext cx="289549" cy="288068"/>
          </a:xfrm>
          <a:custGeom>
            <a:avLst/>
            <a:gdLst>
              <a:gd name="connsiteX0" fmla="*/ 0 w 1346941"/>
              <a:gd name="connsiteY0" fmla="*/ 670031 h 1340062"/>
              <a:gd name="connsiteX1" fmla="*/ 673471 w 1346941"/>
              <a:gd name="connsiteY1" fmla="*/ 0 h 1340062"/>
              <a:gd name="connsiteX2" fmla="*/ 1346942 w 1346941"/>
              <a:gd name="connsiteY2" fmla="*/ 670031 h 1340062"/>
              <a:gd name="connsiteX3" fmla="*/ 673471 w 1346941"/>
              <a:gd name="connsiteY3" fmla="*/ 1340062 h 1340062"/>
              <a:gd name="connsiteX4" fmla="*/ 0 w 1346941"/>
              <a:gd name="connsiteY4" fmla="*/ 670031 h 134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941" h="1340062">
                <a:moveTo>
                  <a:pt x="0" y="670031"/>
                </a:moveTo>
                <a:cubicBezTo>
                  <a:pt x="0" y="299983"/>
                  <a:pt x="301523" y="0"/>
                  <a:pt x="673471" y="0"/>
                </a:cubicBezTo>
                <a:cubicBezTo>
                  <a:pt x="1045419" y="0"/>
                  <a:pt x="1346942" y="299983"/>
                  <a:pt x="1346942" y="670031"/>
                </a:cubicBezTo>
                <a:cubicBezTo>
                  <a:pt x="1346942" y="1040079"/>
                  <a:pt x="1045419" y="1340062"/>
                  <a:pt x="673471" y="1340062"/>
                </a:cubicBezTo>
                <a:cubicBezTo>
                  <a:pt x="301523" y="1340062"/>
                  <a:pt x="0" y="1040079"/>
                  <a:pt x="0" y="670031"/>
                </a:cubicBezTo>
                <a:close/>
              </a:path>
            </a:pathLst>
          </a:custGeom>
          <a:solidFill>
            <a:schemeClr val="accent1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207415" tIns="206408" rIns="207415" bIns="206408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solidFill>
                  <a:srgbClr val="FFFFFF"/>
                </a:solidFill>
              </a:rPr>
              <a:t>X</a:t>
            </a:r>
          </a:p>
        </p:txBody>
      </p:sp>
      <p:sp>
        <p:nvSpPr>
          <p:cNvPr id="48" name="Freeform 47"/>
          <p:cNvSpPr/>
          <p:nvPr/>
        </p:nvSpPr>
        <p:spPr>
          <a:xfrm rot="10800000" flipV="1">
            <a:off x="4310647" y="2300517"/>
            <a:ext cx="289549" cy="288068"/>
          </a:xfrm>
          <a:custGeom>
            <a:avLst/>
            <a:gdLst>
              <a:gd name="connsiteX0" fmla="*/ 0 w 1346941"/>
              <a:gd name="connsiteY0" fmla="*/ 670031 h 1340062"/>
              <a:gd name="connsiteX1" fmla="*/ 673471 w 1346941"/>
              <a:gd name="connsiteY1" fmla="*/ 0 h 1340062"/>
              <a:gd name="connsiteX2" fmla="*/ 1346942 w 1346941"/>
              <a:gd name="connsiteY2" fmla="*/ 670031 h 1340062"/>
              <a:gd name="connsiteX3" fmla="*/ 673471 w 1346941"/>
              <a:gd name="connsiteY3" fmla="*/ 1340062 h 1340062"/>
              <a:gd name="connsiteX4" fmla="*/ 0 w 1346941"/>
              <a:gd name="connsiteY4" fmla="*/ 670031 h 134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941" h="1340062">
                <a:moveTo>
                  <a:pt x="0" y="670031"/>
                </a:moveTo>
                <a:cubicBezTo>
                  <a:pt x="0" y="299983"/>
                  <a:pt x="301523" y="0"/>
                  <a:pt x="673471" y="0"/>
                </a:cubicBezTo>
                <a:cubicBezTo>
                  <a:pt x="1045419" y="0"/>
                  <a:pt x="1346942" y="299983"/>
                  <a:pt x="1346942" y="670031"/>
                </a:cubicBezTo>
                <a:cubicBezTo>
                  <a:pt x="1346942" y="1040079"/>
                  <a:pt x="1045419" y="1340062"/>
                  <a:pt x="673471" y="1340062"/>
                </a:cubicBezTo>
                <a:cubicBezTo>
                  <a:pt x="301523" y="1340062"/>
                  <a:pt x="0" y="1040079"/>
                  <a:pt x="0" y="670031"/>
                </a:cubicBezTo>
                <a:close/>
              </a:path>
            </a:pathLst>
          </a:custGeom>
          <a:solidFill>
            <a:schemeClr val="accent1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207415" tIns="206408" rIns="207415" bIns="206408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solidFill>
                  <a:srgbClr val="FFFFFF"/>
                </a:solidFill>
              </a:rPr>
              <a:t>X</a:t>
            </a:r>
          </a:p>
        </p:txBody>
      </p:sp>
      <p:sp>
        <p:nvSpPr>
          <p:cNvPr id="49" name="Freeform 48"/>
          <p:cNvSpPr/>
          <p:nvPr/>
        </p:nvSpPr>
        <p:spPr>
          <a:xfrm rot="10800000" flipV="1">
            <a:off x="4310647" y="2776536"/>
            <a:ext cx="289549" cy="288068"/>
          </a:xfrm>
          <a:custGeom>
            <a:avLst/>
            <a:gdLst>
              <a:gd name="connsiteX0" fmla="*/ 0 w 1346941"/>
              <a:gd name="connsiteY0" fmla="*/ 670031 h 1340062"/>
              <a:gd name="connsiteX1" fmla="*/ 673471 w 1346941"/>
              <a:gd name="connsiteY1" fmla="*/ 0 h 1340062"/>
              <a:gd name="connsiteX2" fmla="*/ 1346942 w 1346941"/>
              <a:gd name="connsiteY2" fmla="*/ 670031 h 1340062"/>
              <a:gd name="connsiteX3" fmla="*/ 673471 w 1346941"/>
              <a:gd name="connsiteY3" fmla="*/ 1340062 h 1340062"/>
              <a:gd name="connsiteX4" fmla="*/ 0 w 1346941"/>
              <a:gd name="connsiteY4" fmla="*/ 670031 h 134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941" h="1340062">
                <a:moveTo>
                  <a:pt x="0" y="670031"/>
                </a:moveTo>
                <a:cubicBezTo>
                  <a:pt x="0" y="299983"/>
                  <a:pt x="301523" y="0"/>
                  <a:pt x="673471" y="0"/>
                </a:cubicBezTo>
                <a:cubicBezTo>
                  <a:pt x="1045419" y="0"/>
                  <a:pt x="1346942" y="299983"/>
                  <a:pt x="1346942" y="670031"/>
                </a:cubicBezTo>
                <a:cubicBezTo>
                  <a:pt x="1346942" y="1040079"/>
                  <a:pt x="1045419" y="1340062"/>
                  <a:pt x="673471" y="1340062"/>
                </a:cubicBezTo>
                <a:cubicBezTo>
                  <a:pt x="301523" y="1340062"/>
                  <a:pt x="0" y="1040079"/>
                  <a:pt x="0" y="670031"/>
                </a:cubicBezTo>
                <a:close/>
              </a:path>
            </a:pathLst>
          </a:custGeom>
          <a:solidFill>
            <a:schemeClr val="accent1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207415" tIns="206408" rIns="207415" bIns="206408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solidFill>
                  <a:srgbClr val="FFFFFF"/>
                </a:solidFill>
              </a:rPr>
              <a:t>X</a:t>
            </a:r>
          </a:p>
        </p:txBody>
      </p:sp>
      <p:sp>
        <p:nvSpPr>
          <p:cNvPr id="50" name="Freeform 49"/>
          <p:cNvSpPr/>
          <p:nvPr/>
        </p:nvSpPr>
        <p:spPr>
          <a:xfrm rot="10800000" flipV="1">
            <a:off x="4310647" y="3168400"/>
            <a:ext cx="289549" cy="288068"/>
          </a:xfrm>
          <a:custGeom>
            <a:avLst/>
            <a:gdLst>
              <a:gd name="connsiteX0" fmla="*/ 0 w 1346941"/>
              <a:gd name="connsiteY0" fmla="*/ 670031 h 1340062"/>
              <a:gd name="connsiteX1" fmla="*/ 673471 w 1346941"/>
              <a:gd name="connsiteY1" fmla="*/ 0 h 1340062"/>
              <a:gd name="connsiteX2" fmla="*/ 1346942 w 1346941"/>
              <a:gd name="connsiteY2" fmla="*/ 670031 h 1340062"/>
              <a:gd name="connsiteX3" fmla="*/ 673471 w 1346941"/>
              <a:gd name="connsiteY3" fmla="*/ 1340062 h 1340062"/>
              <a:gd name="connsiteX4" fmla="*/ 0 w 1346941"/>
              <a:gd name="connsiteY4" fmla="*/ 670031 h 134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941" h="1340062">
                <a:moveTo>
                  <a:pt x="0" y="670031"/>
                </a:moveTo>
                <a:cubicBezTo>
                  <a:pt x="0" y="299983"/>
                  <a:pt x="301523" y="0"/>
                  <a:pt x="673471" y="0"/>
                </a:cubicBezTo>
                <a:cubicBezTo>
                  <a:pt x="1045419" y="0"/>
                  <a:pt x="1346942" y="299983"/>
                  <a:pt x="1346942" y="670031"/>
                </a:cubicBezTo>
                <a:cubicBezTo>
                  <a:pt x="1346942" y="1040079"/>
                  <a:pt x="1045419" y="1340062"/>
                  <a:pt x="673471" y="1340062"/>
                </a:cubicBezTo>
                <a:cubicBezTo>
                  <a:pt x="301523" y="1340062"/>
                  <a:pt x="0" y="1040079"/>
                  <a:pt x="0" y="670031"/>
                </a:cubicBezTo>
                <a:close/>
              </a:path>
            </a:pathLst>
          </a:custGeom>
          <a:solidFill>
            <a:schemeClr val="accent1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207415" tIns="206408" rIns="207415" bIns="206408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solidFill>
                  <a:srgbClr val="FFFFFF"/>
                </a:solidFill>
              </a:rPr>
              <a:t>X</a:t>
            </a:r>
          </a:p>
        </p:txBody>
      </p:sp>
      <p:sp>
        <p:nvSpPr>
          <p:cNvPr id="52" name="Freeform 51"/>
          <p:cNvSpPr/>
          <p:nvPr/>
        </p:nvSpPr>
        <p:spPr>
          <a:xfrm rot="10800000" flipV="1">
            <a:off x="4310647" y="3644419"/>
            <a:ext cx="289549" cy="288068"/>
          </a:xfrm>
          <a:custGeom>
            <a:avLst/>
            <a:gdLst>
              <a:gd name="connsiteX0" fmla="*/ 0 w 1346941"/>
              <a:gd name="connsiteY0" fmla="*/ 670031 h 1340062"/>
              <a:gd name="connsiteX1" fmla="*/ 673471 w 1346941"/>
              <a:gd name="connsiteY1" fmla="*/ 0 h 1340062"/>
              <a:gd name="connsiteX2" fmla="*/ 1346942 w 1346941"/>
              <a:gd name="connsiteY2" fmla="*/ 670031 h 1340062"/>
              <a:gd name="connsiteX3" fmla="*/ 673471 w 1346941"/>
              <a:gd name="connsiteY3" fmla="*/ 1340062 h 1340062"/>
              <a:gd name="connsiteX4" fmla="*/ 0 w 1346941"/>
              <a:gd name="connsiteY4" fmla="*/ 670031 h 134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941" h="1340062">
                <a:moveTo>
                  <a:pt x="0" y="670031"/>
                </a:moveTo>
                <a:cubicBezTo>
                  <a:pt x="0" y="299983"/>
                  <a:pt x="301523" y="0"/>
                  <a:pt x="673471" y="0"/>
                </a:cubicBezTo>
                <a:cubicBezTo>
                  <a:pt x="1045419" y="0"/>
                  <a:pt x="1346942" y="299983"/>
                  <a:pt x="1346942" y="670031"/>
                </a:cubicBezTo>
                <a:cubicBezTo>
                  <a:pt x="1346942" y="1040079"/>
                  <a:pt x="1045419" y="1340062"/>
                  <a:pt x="673471" y="1340062"/>
                </a:cubicBezTo>
                <a:cubicBezTo>
                  <a:pt x="301523" y="1340062"/>
                  <a:pt x="0" y="1040079"/>
                  <a:pt x="0" y="670031"/>
                </a:cubicBezTo>
                <a:close/>
              </a:path>
            </a:pathLst>
          </a:custGeom>
          <a:solidFill>
            <a:schemeClr val="accent1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207415" tIns="206408" rIns="207415" bIns="206408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solidFill>
                  <a:schemeClr val="bg1"/>
                </a:solidFill>
              </a:rPr>
              <a:t>X</a:t>
            </a:r>
          </a:p>
        </p:txBody>
      </p:sp>
      <p:sp>
        <p:nvSpPr>
          <p:cNvPr id="53" name="Freeform 52"/>
          <p:cNvSpPr/>
          <p:nvPr/>
        </p:nvSpPr>
        <p:spPr>
          <a:xfrm rot="10800000" flipV="1">
            <a:off x="4310647" y="4036283"/>
            <a:ext cx="289549" cy="288068"/>
          </a:xfrm>
          <a:custGeom>
            <a:avLst/>
            <a:gdLst>
              <a:gd name="connsiteX0" fmla="*/ 0 w 1346941"/>
              <a:gd name="connsiteY0" fmla="*/ 670031 h 1340062"/>
              <a:gd name="connsiteX1" fmla="*/ 673471 w 1346941"/>
              <a:gd name="connsiteY1" fmla="*/ 0 h 1340062"/>
              <a:gd name="connsiteX2" fmla="*/ 1346942 w 1346941"/>
              <a:gd name="connsiteY2" fmla="*/ 670031 h 1340062"/>
              <a:gd name="connsiteX3" fmla="*/ 673471 w 1346941"/>
              <a:gd name="connsiteY3" fmla="*/ 1340062 h 1340062"/>
              <a:gd name="connsiteX4" fmla="*/ 0 w 1346941"/>
              <a:gd name="connsiteY4" fmla="*/ 670031 h 134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941" h="1340062">
                <a:moveTo>
                  <a:pt x="0" y="670031"/>
                </a:moveTo>
                <a:cubicBezTo>
                  <a:pt x="0" y="299983"/>
                  <a:pt x="301523" y="0"/>
                  <a:pt x="673471" y="0"/>
                </a:cubicBezTo>
                <a:cubicBezTo>
                  <a:pt x="1045419" y="0"/>
                  <a:pt x="1346942" y="299983"/>
                  <a:pt x="1346942" y="670031"/>
                </a:cubicBezTo>
                <a:cubicBezTo>
                  <a:pt x="1346942" y="1040079"/>
                  <a:pt x="1045419" y="1340062"/>
                  <a:pt x="673471" y="1340062"/>
                </a:cubicBezTo>
                <a:cubicBezTo>
                  <a:pt x="301523" y="1340062"/>
                  <a:pt x="0" y="1040079"/>
                  <a:pt x="0" y="670031"/>
                </a:cubicBezTo>
                <a:close/>
              </a:path>
            </a:pathLst>
          </a:custGeom>
          <a:solidFill>
            <a:schemeClr val="accent1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207415" tIns="206408" rIns="207415" bIns="206408" numCol="1" spcCol="1270" anchor="ctr" anchorCtr="0">
            <a:noAutofit/>
          </a:bodyPr>
          <a:lstStyle/>
          <a:p>
            <a:pPr algn="ctr" defTabSz="71118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solidFill>
                  <a:schemeClr val="bg1"/>
                </a:solidFill>
              </a:rPr>
              <a:t>X</a:t>
            </a:r>
          </a:p>
        </p:txBody>
      </p:sp>
      <p:sp>
        <p:nvSpPr>
          <p:cNvPr id="54" name="Rectangle 53"/>
          <p:cNvSpPr/>
          <p:nvPr/>
        </p:nvSpPr>
        <p:spPr>
          <a:xfrm>
            <a:off x="4574751" y="1403354"/>
            <a:ext cx="3491316" cy="421397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XXX XXXX XXXXXXXXXXXXXXXXXXX XXXXXXX XXXXXX</a:t>
            </a:r>
          </a:p>
        </p:txBody>
      </p:sp>
      <p:cxnSp>
        <p:nvCxnSpPr>
          <p:cNvPr id="59" name="Elbow Connector 42">
            <a:extLst>
              <a:ext uri="{FF2B5EF4-FFF2-40B4-BE49-F238E27FC236}">
                <a16:creationId xmlns:a16="http://schemas.microsoft.com/office/drawing/2014/main" id="{211E2BE9-C56C-47FB-A678-998B65F17D30}"/>
              </a:ext>
            </a:extLst>
          </p:cNvPr>
          <p:cNvCxnSpPr/>
          <p:nvPr/>
        </p:nvCxnSpPr>
        <p:spPr>
          <a:xfrm>
            <a:off x="3910399" y="3739235"/>
            <a:ext cx="401818" cy="52436"/>
          </a:xfrm>
          <a:prstGeom prst="bentConnector3">
            <a:avLst/>
          </a:prstGeom>
          <a:ln w="3175" cmpd="sng">
            <a:solidFill>
              <a:schemeClr val="tx2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Footer Placeholder 99">
            <a:extLst>
              <a:ext uri="{FF2B5EF4-FFF2-40B4-BE49-F238E27FC236}">
                <a16:creationId xmlns:a16="http://schemas.microsoft.com/office/drawing/2014/main" id="{8A05D2BE-AFE6-40CD-B252-A23AEB06C1A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0" name="Slide Number Placeholder 100">
            <a:extLst>
              <a:ext uri="{FF2B5EF4-FFF2-40B4-BE49-F238E27FC236}">
                <a16:creationId xmlns:a16="http://schemas.microsoft.com/office/drawing/2014/main" id="{18D3F04A-64CD-45D6-9E79-6CF884C915C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54</a:t>
            </a:fld>
            <a:endParaRPr lang="en-US" dirty="0"/>
          </a:p>
        </p:txBody>
      </p:sp>
      <p:sp>
        <p:nvSpPr>
          <p:cNvPr id="61" name="Text Placeholder 41">
            <a:extLst>
              <a:ext uri="{FF2B5EF4-FFF2-40B4-BE49-F238E27FC236}">
                <a16:creationId xmlns:a16="http://schemas.microsoft.com/office/drawing/2014/main" id="{4C0018F1-D696-4B88-B8C0-73ED73313C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340292046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586932" cy="545464"/>
          </a:xfrm>
        </p:spPr>
        <p:txBody>
          <a:bodyPr/>
          <a:lstStyle/>
          <a:p>
            <a:r>
              <a:rPr lang="en-US" dirty="0"/>
              <a:t>Interview quotes</a:t>
            </a:r>
          </a:p>
        </p:txBody>
      </p:sp>
      <p:sp>
        <p:nvSpPr>
          <p:cNvPr id="5" name="Freeform 6"/>
          <p:cNvSpPr>
            <a:spLocks/>
          </p:cNvSpPr>
          <p:nvPr/>
        </p:nvSpPr>
        <p:spPr bwMode="auto">
          <a:xfrm rot="547283">
            <a:off x="334239" y="1016073"/>
            <a:ext cx="2003664" cy="1847124"/>
          </a:xfrm>
          <a:custGeom>
            <a:avLst/>
            <a:gdLst>
              <a:gd name="T0" fmla="*/ 340 w 423"/>
              <a:gd name="T1" fmla="*/ 339 h 419"/>
              <a:gd name="T2" fmla="*/ 423 w 423"/>
              <a:gd name="T3" fmla="*/ 182 h 419"/>
              <a:gd name="T4" fmla="*/ 210 w 423"/>
              <a:gd name="T5" fmla="*/ 10 h 419"/>
              <a:gd name="T6" fmla="*/ 0 w 423"/>
              <a:gd name="T7" fmla="*/ 197 h 419"/>
              <a:gd name="T8" fmla="*/ 210 w 423"/>
              <a:gd name="T9" fmla="*/ 384 h 419"/>
              <a:gd name="T10" fmla="*/ 262 w 423"/>
              <a:gd name="T11" fmla="*/ 377 h 419"/>
              <a:gd name="T12" fmla="*/ 382 w 423"/>
              <a:gd name="T13" fmla="*/ 419 h 419"/>
              <a:gd name="T14" fmla="*/ 340 w 423"/>
              <a:gd name="T15" fmla="*/ 339 h 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23" h="419">
                <a:moveTo>
                  <a:pt x="340" y="339"/>
                </a:moveTo>
                <a:cubicBezTo>
                  <a:pt x="390" y="300"/>
                  <a:pt x="423" y="242"/>
                  <a:pt x="423" y="182"/>
                </a:cubicBezTo>
                <a:cubicBezTo>
                  <a:pt x="423" y="79"/>
                  <a:pt x="332" y="0"/>
                  <a:pt x="210" y="10"/>
                </a:cubicBezTo>
                <a:cubicBezTo>
                  <a:pt x="95" y="20"/>
                  <a:pt x="0" y="94"/>
                  <a:pt x="0" y="197"/>
                </a:cubicBezTo>
                <a:cubicBezTo>
                  <a:pt x="0" y="300"/>
                  <a:pt x="94" y="384"/>
                  <a:pt x="210" y="384"/>
                </a:cubicBezTo>
                <a:cubicBezTo>
                  <a:pt x="228" y="384"/>
                  <a:pt x="245" y="381"/>
                  <a:pt x="262" y="377"/>
                </a:cubicBezTo>
                <a:cubicBezTo>
                  <a:pt x="291" y="391"/>
                  <a:pt x="337" y="409"/>
                  <a:pt x="382" y="419"/>
                </a:cubicBezTo>
                <a:cubicBezTo>
                  <a:pt x="363" y="400"/>
                  <a:pt x="350" y="370"/>
                  <a:pt x="340" y="339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75000"/>
                </a:schemeClr>
              </a:gs>
              <a:gs pos="100000">
                <a:schemeClr val="accent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6" name="Freeform 7"/>
          <p:cNvSpPr>
            <a:spLocks/>
          </p:cNvSpPr>
          <p:nvPr/>
        </p:nvSpPr>
        <p:spPr bwMode="auto">
          <a:xfrm rot="585448">
            <a:off x="2045549" y="1029358"/>
            <a:ext cx="2073672" cy="1841542"/>
          </a:xfrm>
          <a:custGeom>
            <a:avLst/>
            <a:gdLst>
              <a:gd name="T0" fmla="*/ 348 w 412"/>
              <a:gd name="T1" fmla="*/ 332 h 418"/>
              <a:gd name="T2" fmla="*/ 407 w 412"/>
              <a:gd name="T3" fmla="*/ 180 h 418"/>
              <a:gd name="T4" fmla="*/ 205 w 412"/>
              <a:gd name="T5" fmla="*/ 10 h 418"/>
              <a:gd name="T6" fmla="*/ 0 w 412"/>
              <a:gd name="T7" fmla="*/ 201 h 418"/>
              <a:gd name="T8" fmla="*/ 205 w 412"/>
              <a:gd name="T9" fmla="*/ 392 h 418"/>
              <a:gd name="T10" fmla="*/ 288 w 412"/>
              <a:gd name="T11" fmla="*/ 370 h 418"/>
              <a:gd name="T12" fmla="*/ 384 w 412"/>
              <a:gd name="T13" fmla="*/ 418 h 418"/>
              <a:gd name="T14" fmla="*/ 348 w 412"/>
              <a:gd name="T15" fmla="*/ 332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2" h="418">
                <a:moveTo>
                  <a:pt x="348" y="332"/>
                </a:moveTo>
                <a:cubicBezTo>
                  <a:pt x="392" y="291"/>
                  <a:pt x="412" y="236"/>
                  <a:pt x="407" y="180"/>
                </a:cubicBezTo>
                <a:cubicBezTo>
                  <a:pt x="398" y="90"/>
                  <a:pt x="337" y="21"/>
                  <a:pt x="205" y="10"/>
                </a:cubicBezTo>
                <a:cubicBezTo>
                  <a:pt x="82" y="0"/>
                  <a:pt x="0" y="96"/>
                  <a:pt x="0" y="201"/>
                </a:cubicBezTo>
                <a:cubicBezTo>
                  <a:pt x="0" y="307"/>
                  <a:pt x="93" y="405"/>
                  <a:pt x="205" y="392"/>
                </a:cubicBezTo>
                <a:cubicBezTo>
                  <a:pt x="236" y="389"/>
                  <a:pt x="264" y="381"/>
                  <a:pt x="288" y="370"/>
                </a:cubicBezTo>
                <a:cubicBezTo>
                  <a:pt x="318" y="390"/>
                  <a:pt x="356" y="412"/>
                  <a:pt x="384" y="418"/>
                </a:cubicBezTo>
                <a:cubicBezTo>
                  <a:pt x="365" y="399"/>
                  <a:pt x="354" y="363"/>
                  <a:pt x="348" y="33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>
                  <a:alpha val="75000"/>
                </a:schemeClr>
              </a:gs>
              <a:gs pos="100000">
                <a:schemeClr val="accent3">
                  <a:alpha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7" name="Freeform 8"/>
          <p:cNvSpPr>
            <a:spLocks/>
          </p:cNvSpPr>
          <p:nvPr/>
        </p:nvSpPr>
        <p:spPr bwMode="auto">
          <a:xfrm rot="21064990" flipH="1">
            <a:off x="3872660" y="1001701"/>
            <a:ext cx="1916308" cy="2055292"/>
          </a:xfrm>
          <a:custGeom>
            <a:avLst/>
            <a:gdLst>
              <a:gd name="T0" fmla="*/ 428 w 428"/>
              <a:gd name="T1" fmla="*/ 205 h 495"/>
              <a:gd name="T2" fmla="*/ 213 w 428"/>
              <a:gd name="T3" fmla="*/ 12 h 495"/>
              <a:gd name="T4" fmla="*/ 0 w 428"/>
              <a:gd name="T5" fmla="*/ 211 h 495"/>
              <a:gd name="T6" fmla="*/ 213 w 428"/>
              <a:gd name="T7" fmla="*/ 410 h 495"/>
              <a:gd name="T8" fmla="*/ 213 w 428"/>
              <a:gd name="T9" fmla="*/ 410 h 495"/>
              <a:gd name="T10" fmla="*/ 280 w 428"/>
              <a:gd name="T11" fmla="*/ 495 h 495"/>
              <a:gd name="T12" fmla="*/ 282 w 428"/>
              <a:gd name="T13" fmla="*/ 397 h 495"/>
              <a:gd name="T14" fmla="*/ 428 w 428"/>
              <a:gd name="T15" fmla="*/ 205 h 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28" h="495">
                <a:moveTo>
                  <a:pt x="428" y="205"/>
                </a:moveTo>
                <a:cubicBezTo>
                  <a:pt x="428" y="95"/>
                  <a:pt x="368" y="28"/>
                  <a:pt x="213" y="12"/>
                </a:cubicBezTo>
                <a:cubicBezTo>
                  <a:pt x="96" y="0"/>
                  <a:pt x="0" y="101"/>
                  <a:pt x="0" y="211"/>
                </a:cubicBezTo>
                <a:cubicBezTo>
                  <a:pt x="0" y="321"/>
                  <a:pt x="96" y="420"/>
                  <a:pt x="213" y="410"/>
                </a:cubicBezTo>
                <a:cubicBezTo>
                  <a:pt x="213" y="410"/>
                  <a:pt x="213" y="410"/>
                  <a:pt x="213" y="410"/>
                </a:cubicBezTo>
                <a:cubicBezTo>
                  <a:pt x="233" y="444"/>
                  <a:pt x="256" y="475"/>
                  <a:pt x="280" y="495"/>
                </a:cubicBezTo>
                <a:cubicBezTo>
                  <a:pt x="277" y="464"/>
                  <a:pt x="277" y="433"/>
                  <a:pt x="282" y="397"/>
                </a:cubicBezTo>
                <a:cubicBezTo>
                  <a:pt x="378" y="368"/>
                  <a:pt x="428" y="296"/>
                  <a:pt x="428" y="205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75000"/>
                </a:schemeClr>
              </a:gs>
              <a:gs pos="100000">
                <a:schemeClr val="accent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8" name="Freeform 9"/>
          <p:cNvSpPr>
            <a:spLocks/>
          </p:cNvSpPr>
          <p:nvPr/>
        </p:nvSpPr>
        <p:spPr bwMode="auto">
          <a:xfrm rot="20266849">
            <a:off x="7141138" y="1132386"/>
            <a:ext cx="1939514" cy="1630766"/>
          </a:xfrm>
          <a:custGeom>
            <a:avLst/>
            <a:gdLst>
              <a:gd name="T0" fmla="*/ 232 w 458"/>
              <a:gd name="T1" fmla="*/ 0 h 408"/>
              <a:gd name="T2" fmla="*/ 15 w 458"/>
              <a:gd name="T3" fmla="*/ 178 h 408"/>
              <a:gd name="T4" fmla="*/ 62 w 458"/>
              <a:gd name="T5" fmla="*/ 315 h 408"/>
              <a:gd name="T6" fmla="*/ 0 w 458"/>
              <a:gd name="T7" fmla="*/ 377 h 408"/>
              <a:gd name="T8" fmla="*/ 113 w 458"/>
              <a:gd name="T9" fmla="*/ 367 h 408"/>
              <a:gd name="T10" fmla="*/ 232 w 458"/>
              <a:gd name="T11" fmla="*/ 408 h 408"/>
              <a:gd name="T12" fmla="*/ 458 w 458"/>
              <a:gd name="T13" fmla="*/ 225 h 408"/>
              <a:gd name="T14" fmla="*/ 232 w 458"/>
              <a:gd name="T15" fmla="*/ 0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58" h="408">
                <a:moveTo>
                  <a:pt x="232" y="0"/>
                </a:moveTo>
                <a:cubicBezTo>
                  <a:pt x="111" y="0"/>
                  <a:pt x="15" y="65"/>
                  <a:pt x="15" y="178"/>
                </a:cubicBezTo>
                <a:cubicBezTo>
                  <a:pt x="15" y="226"/>
                  <a:pt x="33" y="275"/>
                  <a:pt x="62" y="315"/>
                </a:cubicBezTo>
                <a:cubicBezTo>
                  <a:pt x="45" y="340"/>
                  <a:pt x="22" y="363"/>
                  <a:pt x="0" y="377"/>
                </a:cubicBezTo>
                <a:cubicBezTo>
                  <a:pt x="31" y="382"/>
                  <a:pt x="77" y="375"/>
                  <a:pt x="113" y="367"/>
                </a:cubicBezTo>
                <a:cubicBezTo>
                  <a:pt x="147" y="392"/>
                  <a:pt x="188" y="408"/>
                  <a:pt x="232" y="408"/>
                </a:cubicBezTo>
                <a:cubicBezTo>
                  <a:pt x="353" y="408"/>
                  <a:pt x="458" y="337"/>
                  <a:pt x="458" y="225"/>
                </a:cubicBezTo>
                <a:cubicBezTo>
                  <a:pt x="458" y="112"/>
                  <a:pt x="353" y="0"/>
                  <a:pt x="23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" name="Freeform 10"/>
          <p:cNvSpPr>
            <a:spLocks/>
          </p:cNvSpPr>
          <p:nvPr/>
        </p:nvSpPr>
        <p:spPr bwMode="auto">
          <a:xfrm rot="373509">
            <a:off x="5461737" y="1069509"/>
            <a:ext cx="1922682" cy="2031276"/>
          </a:xfrm>
          <a:custGeom>
            <a:avLst/>
            <a:gdLst>
              <a:gd name="T0" fmla="*/ 203 w 405"/>
              <a:gd name="T1" fmla="*/ 0 h 461"/>
              <a:gd name="T2" fmla="*/ 0 w 405"/>
              <a:gd name="T3" fmla="*/ 189 h 461"/>
              <a:gd name="T4" fmla="*/ 118 w 405"/>
              <a:gd name="T5" fmla="*/ 361 h 461"/>
              <a:gd name="T6" fmla="*/ 108 w 405"/>
              <a:gd name="T7" fmla="*/ 461 h 461"/>
              <a:gd name="T8" fmla="*/ 197 w 405"/>
              <a:gd name="T9" fmla="*/ 378 h 461"/>
              <a:gd name="T10" fmla="*/ 203 w 405"/>
              <a:gd name="T11" fmla="*/ 378 h 461"/>
              <a:gd name="T12" fmla="*/ 405 w 405"/>
              <a:gd name="T13" fmla="*/ 189 h 461"/>
              <a:gd name="T14" fmla="*/ 203 w 405"/>
              <a:gd name="T15" fmla="*/ 0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05" h="461">
                <a:moveTo>
                  <a:pt x="203" y="0"/>
                </a:moveTo>
                <a:cubicBezTo>
                  <a:pt x="91" y="0"/>
                  <a:pt x="0" y="85"/>
                  <a:pt x="0" y="189"/>
                </a:cubicBezTo>
                <a:cubicBezTo>
                  <a:pt x="0" y="265"/>
                  <a:pt x="49" y="331"/>
                  <a:pt x="118" y="361"/>
                </a:cubicBezTo>
                <a:cubicBezTo>
                  <a:pt x="121" y="394"/>
                  <a:pt x="117" y="431"/>
                  <a:pt x="108" y="461"/>
                </a:cubicBezTo>
                <a:cubicBezTo>
                  <a:pt x="137" y="445"/>
                  <a:pt x="172" y="407"/>
                  <a:pt x="197" y="378"/>
                </a:cubicBezTo>
                <a:cubicBezTo>
                  <a:pt x="199" y="378"/>
                  <a:pt x="201" y="378"/>
                  <a:pt x="203" y="378"/>
                </a:cubicBezTo>
                <a:cubicBezTo>
                  <a:pt x="314" y="378"/>
                  <a:pt x="405" y="293"/>
                  <a:pt x="405" y="189"/>
                </a:cubicBezTo>
                <a:cubicBezTo>
                  <a:pt x="405" y="85"/>
                  <a:pt x="314" y="0"/>
                  <a:pt x="203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2" name="TextBox 11"/>
          <p:cNvSpPr txBox="1"/>
          <p:nvPr/>
        </p:nvSpPr>
        <p:spPr>
          <a:xfrm>
            <a:off x="2332324" y="1405475"/>
            <a:ext cx="161178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FFFFFF"/>
                </a:solidFill>
              </a:rPr>
              <a:t> XXX </a:t>
            </a:r>
          </a:p>
          <a:p>
            <a:r>
              <a:rPr lang="en-US" sz="1100" dirty="0" err="1">
                <a:solidFill>
                  <a:srgbClr val="FFFFFF"/>
                </a:solidFill>
              </a:rPr>
              <a:t>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x</a:t>
            </a:r>
            <a:r>
              <a:rPr lang="en-US" sz="1100" dirty="0">
                <a:solidFill>
                  <a:srgbClr val="FFFFFF"/>
                </a:solidFill>
              </a:rPr>
              <a:t> xxx xx </a:t>
            </a:r>
            <a:r>
              <a:rPr lang="en-US" sz="1100" dirty="0" err="1">
                <a:solidFill>
                  <a:srgbClr val="FFFFFF"/>
                </a:solidFill>
              </a:rPr>
              <a:t>xxx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xxxxx</a:t>
            </a:r>
            <a:r>
              <a:rPr lang="en-US" sz="1100" dirty="0">
                <a:solidFill>
                  <a:srgbClr val="FFFFFF"/>
                </a:solidFill>
              </a:rPr>
              <a:t> xx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47140" y="1405475"/>
            <a:ext cx="1629132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FFFFFF"/>
                </a:solidFill>
              </a:rPr>
              <a:t> XXX </a:t>
            </a:r>
          </a:p>
          <a:p>
            <a:r>
              <a:rPr lang="en-US" sz="1100" dirty="0" err="1">
                <a:solidFill>
                  <a:srgbClr val="FFFFFF"/>
                </a:solidFill>
              </a:rPr>
              <a:t>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x</a:t>
            </a:r>
            <a:r>
              <a:rPr lang="en-US" sz="1100" dirty="0">
                <a:solidFill>
                  <a:srgbClr val="FFFFFF"/>
                </a:solidFill>
              </a:rPr>
              <a:t> xxx xx </a:t>
            </a:r>
            <a:r>
              <a:rPr lang="en-US" sz="1100" dirty="0" err="1">
                <a:solidFill>
                  <a:srgbClr val="FFFFFF"/>
                </a:solidFill>
              </a:rPr>
              <a:t>xxx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xxxxx</a:t>
            </a:r>
            <a:r>
              <a:rPr lang="en-US" sz="1100" dirty="0">
                <a:solidFill>
                  <a:srgbClr val="FFFFFF"/>
                </a:solidFill>
              </a:rPr>
              <a:t> xx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011670" y="1405475"/>
            <a:ext cx="158445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FFFFFF"/>
                </a:solidFill>
              </a:rPr>
              <a:t> XXX </a:t>
            </a:r>
          </a:p>
          <a:p>
            <a:r>
              <a:rPr lang="en-US" sz="1100" dirty="0" err="1">
                <a:solidFill>
                  <a:srgbClr val="FFFFFF"/>
                </a:solidFill>
              </a:rPr>
              <a:t>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x</a:t>
            </a:r>
            <a:r>
              <a:rPr lang="en-US" sz="1100" dirty="0">
                <a:solidFill>
                  <a:srgbClr val="FFFFFF"/>
                </a:solidFill>
              </a:rPr>
              <a:t> xxx xx </a:t>
            </a:r>
            <a:r>
              <a:rPr lang="en-US" sz="1100" dirty="0" err="1">
                <a:solidFill>
                  <a:srgbClr val="FFFFFF"/>
                </a:solidFill>
              </a:rPr>
              <a:t>xxx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xxxxx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692140" y="1405475"/>
            <a:ext cx="157769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FFFFFF"/>
                </a:solidFill>
              </a:rPr>
              <a:t> XXX </a:t>
            </a:r>
          </a:p>
          <a:p>
            <a:r>
              <a:rPr lang="en-US" sz="1100" dirty="0" err="1">
                <a:solidFill>
                  <a:srgbClr val="FFFFFF"/>
                </a:solidFill>
              </a:rPr>
              <a:t>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x</a:t>
            </a:r>
            <a:r>
              <a:rPr lang="en-US" sz="1100" dirty="0">
                <a:solidFill>
                  <a:srgbClr val="FFFFFF"/>
                </a:solidFill>
              </a:rPr>
              <a:t> xxx xx </a:t>
            </a:r>
            <a:r>
              <a:rPr lang="en-US" sz="1100" dirty="0" err="1">
                <a:solidFill>
                  <a:srgbClr val="FFFFFF"/>
                </a:solidFill>
              </a:rPr>
              <a:t>xxx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448512" y="1405475"/>
            <a:ext cx="1591856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FFFFFF"/>
                </a:solidFill>
              </a:rPr>
              <a:t> XXX </a:t>
            </a:r>
          </a:p>
          <a:p>
            <a:r>
              <a:rPr lang="en-US" sz="1100" dirty="0" err="1">
                <a:solidFill>
                  <a:srgbClr val="FFFFFF"/>
                </a:solidFill>
              </a:rPr>
              <a:t>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x</a:t>
            </a:r>
            <a:r>
              <a:rPr lang="en-US" sz="1100" dirty="0">
                <a:solidFill>
                  <a:srgbClr val="FFFFFF"/>
                </a:solidFill>
              </a:rPr>
              <a:t> xxx xx </a:t>
            </a:r>
            <a:r>
              <a:rPr lang="en-US" sz="1100" dirty="0" err="1">
                <a:solidFill>
                  <a:srgbClr val="FFFFFF"/>
                </a:solidFill>
              </a:rPr>
              <a:t>xxx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  <a:r>
              <a:rPr lang="en-US" sz="1100" dirty="0" err="1">
                <a:solidFill>
                  <a:srgbClr val="FFFFFF"/>
                </a:solidFill>
              </a:rPr>
              <a:t>xxxxxxxxxx</a:t>
            </a:r>
            <a:r>
              <a:rPr lang="en-US" sz="1100" dirty="0">
                <a:solidFill>
                  <a:srgbClr val="FFFFFF"/>
                </a:solidFill>
              </a:rPr>
              <a:t> </a:t>
            </a:r>
          </a:p>
        </p:txBody>
      </p:sp>
      <p:grpSp>
        <p:nvGrpSpPr>
          <p:cNvPr id="26" name="Group 4"/>
          <p:cNvGrpSpPr>
            <a:grpSpLocks noChangeAspect="1"/>
          </p:cNvGrpSpPr>
          <p:nvPr/>
        </p:nvGrpSpPr>
        <p:grpSpPr bwMode="auto">
          <a:xfrm>
            <a:off x="2230204" y="3124547"/>
            <a:ext cx="663766" cy="1317625"/>
            <a:chOff x="1506" y="3505"/>
            <a:chExt cx="871" cy="1729"/>
          </a:xfrm>
          <a:solidFill>
            <a:schemeClr val="accent1"/>
          </a:solidFill>
        </p:grpSpPr>
        <p:sp>
          <p:nvSpPr>
            <p:cNvPr id="28" name="Freeform 5"/>
            <p:cNvSpPr>
              <a:spLocks noEditPoints="1"/>
            </p:cNvSpPr>
            <p:nvPr/>
          </p:nvSpPr>
          <p:spPr bwMode="auto">
            <a:xfrm>
              <a:off x="1777" y="3505"/>
              <a:ext cx="329" cy="325"/>
            </a:xfrm>
            <a:custGeom>
              <a:avLst/>
              <a:gdLst>
                <a:gd name="T0" fmla="*/ 69 w 138"/>
                <a:gd name="T1" fmla="*/ 137 h 137"/>
                <a:gd name="T2" fmla="*/ 0 w 138"/>
                <a:gd name="T3" fmla="*/ 68 h 137"/>
                <a:gd name="T4" fmla="*/ 69 w 138"/>
                <a:gd name="T5" fmla="*/ 0 h 137"/>
                <a:gd name="T6" fmla="*/ 138 w 138"/>
                <a:gd name="T7" fmla="*/ 68 h 137"/>
                <a:gd name="T8" fmla="*/ 69 w 138"/>
                <a:gd name="T9" fmla="*/ 137 h 137"/>
                <a:gd name="T10" fmla="*/ 69 w 138"/>
                <a:gd name="T11" fmla="*/ 14 h 137"/>
                <a:gd name="T12" fmla="*/ 14 w 138"/>
                <a:gd name="T13" fmla="*/ 68 h 137"/>
                <a:gd name="T14" fmla="*/ 69 w 138"/>
                <a:gd name="T15" fmla="*/ 123 h 137"/>
                <a:gd name="T16" fmla="*/ 124 w 138"/>
                <a:gd name="T17" fmla="*/ 68 h 137"/>
                <a:gd name="T18" fmla="*/ 69 w 138"/>
                <a:gd name="T19" fmla="*/ 1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37">
                  <a:moveTo>
                    <a:pt x="69" y="137"/>
                  </a:moveTo>
                  <a:cubicBezTo>
                    <a:pt x="31" y="137"/>
                    <a:pt x="0" y="106"/>
                    <a:pt x="0" y="68"/>
                  </a:cubicBezTo>
                  <a:cubicBezTo>
                    <a:pt x="0" y="30"/>
                    <a:pt x="31" y="0"/>
                    <a:pt x="69" y="0"/>
                  </a:cubicBezTo>
                  <a:cubicBezTo>
                    <a:pt x="107" y="0"/>
                    <a:pt x="138" y="30"/>
                    <a:pt x="138" y="68"/>
                  </a:cubicBezTo>
                  <a:cubicBezTo>
                    <a:pt x="138" y="106"/>
                    <a:pt x="107" y="137"/>
                    <a:pt x="69" y="137"/>
                  </a:cubicBezTo>
                  <a:close/>
                  <a:moveTo>
                    <a:pt x="69" y="14"/>
                  </a:moveTo>
                  <a:cubicBezTo>
                    <a:pt x="39" y="14"/>
                    <a:pt x="14" y="38"/>
                    <a:pt x="14" y="68"/>
                  </a:cubicBezTo>
                  <a:cubicBezTo>
                    <a:pt x="14" y="99"/>
                    <a:pt x="39" y="123"/>
                    <a:pt x="69" y="123"/>
                  </a:cubicBezTo>
                  <a:cubicBezTo>
                    <a:pt x="100" y="123"/>
                    <a:pt x="124" y="99"/>
                    <a:pt x="124" y="68"/>
                  </a:cubicBezTo>
                  <a:cubicBezTo>
                    <a:pt x="124" y="38"/>
                    <a:pt x="100" y="14"/>
                    <a:pt x="6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6"/>
            <p:cNvSpPr>
              <a:spLocks noEditPoints="1"/>
            </p:cNvSpPr>
            <p:nvPr/>
          </p:nvSpPr>
          <p:spPr bwMode="auto">
            <a:xfrm>
              <a:off x="1506" y="3870"/>
              <a:ext cx="871" cy="1364"/>
            </a:xfrm>
            <a:custGeom>
              <a:avLst/>
              <a:gdLst>
                <a:gd name="T0" fmla="*/ 205 w 366"/>
                <a:gd name="T1" fmla="*/ 547 h 575"/>
                <a:gd name="T2" fmla="*/ 161 w 366"/>
                <a:gd name="T3" fmla="*/ 547 h 575"/>
                <a:gd name="T4" fmla="*/ 95 w 366"/>
                <a:gd name="T5" fmla="*/ 547 h 575"/>
                <a:gd name="T6" fmla="*/ 105 w 366"/>
                <a:gd name="T7" fmla="*/ 161 h 575"/>
                <a:gd name="T8" fmla="*/ 31 w 366"/>
                <a:gd name="T9" fmla="*/ 287 h 575"/>
                <a:gd name="T10" fmla="*/ 4 w 366"/>
                <a:gd name="T11" fmla="*/ 254 h 575"/>
                <a:gd name="T12" fmla="*/ 12 w 366"/>
                <a:gd name="T13" fmla="*/ 228 h 575"/>
                <a:gd name="T14" fmla="*/ 183 w 366"/>
                <a:gd name="T15" fmla="*/ 0 h 575"/>
                <a:gd name="T16" fmla="*/ 354 w 366"/>
                <a:gd name="T17" fmla="*/ 228 h 575"/>
                <a:gd name="T18" fmla="*/ 363 w 366"/>
                <a:gd name="T19" fmla="*/ 254 h 575"/>
                <a:gd name="T20" fmla="*/ 335 w 366"/>
                <a:gd name="T21" fmla="*/ 287 h 575"/>
                <a:gd name="T22" fmla="*/ 262 w 366"/>
                <a:gd name="T23" fmla="*/ 161 h 575"/>
                <a:gd name="T24" fmla="*/ 271 w 366"/>
                <a:gd name="T25" fmla="*/ 547 h 575"/>
                <a:gd name="T26" fmla="*/ 238 w 366"/>
                <a:gd name="T27" fmla="*/ 575 h 575"/>
                <a:gd name="T28" fmla="*/ 190 w 366"/>
                <a:gd name="T29" fmla="*/ 299 h 575"/>
                <a:gd name="T30" fmla="*/ 238 w 366"/>
                <a:gd name="T31" fmla="*/ 561 h 575"/>
                <a:gd name="T32" fmla="*/ 238 w 366"/>
                <a:gd name="T33" fmla="*/ 561 h 575"/>
                <a:gd name="T34" fmla="*/ 257 w 366"/>
                <a:gd name="T35" fmla="*/ 546 h 575"/>
                <a:gd name="T36" fmla="*/ 256 w 366"/>
                <a:gd name="T37" fmla="*/ 481 h 575"/>
                <a:gd name="T38" fmla="*/ 247 w 366"/>
                <a:gd name="T39" fmla="*/ 127 h 575"/>
                <a:gd name="T40" fmla="*/ 260 w 366"/>
                <a:gd name="T41" fmla="*/ 124 h 575"/>
                <a:gd name="T42" fmla="*/ 335 w 366"/>
                <a:gd name="T43" fmla="*/ 273 h 575"/>
                <a:gd name="T44" fmla="*/ 350 w 366"/>
                <a:gd name="T45" fmla="*/ 258 h 575"/>
                <a:gd name="T46" fmla="*/ 347 w 366"/>
                <a:gd name="T47" fmla="*/ 251 h 575"/>
                <a:gd name="T48" fmla="*/ 279 w 366"/>
                <a:gd name="T49" fmla="*/ 50 h 575"/>
                <a:gd name="T50" fmla="*/ 88 w 366"/>
                <a:gd name="T51" fmla="*/ 50 h 575"/>
                <a:gd name="T52" fmla="*/ 19 w 366"/>
                <a:gd name="T53" fmla="*/ 251 h 575"/>
                <a:gd name="T54" fmla="*/ 17 w 366"/>
                <a:gd name="T55" fmla="*/ 258 h 575"/>
                <a:gd name="T56" fmla="*/ 31 w 366"/>
                <a:gd name="T57" fmla="*/ 273 h 575"/>
                <a:gd name="T58" fmla="*/ 107 w 366"/>
                <a:gd name="T59" fmla="*/ 124 h 575"/>
                <a:gd name="T60" fmla="*/ 120 w 366"/>
                <a:gd name="T61" fmla="*/ 127 h 575"/>
                <a:gd name="T62" fmla="*/ 111 w 366"/>
                <a:gd name="T63" fmla="*/ 481 h 575"/>
                <a:gd name="T64" fmla="*/ 110 w 366"/>
                <a:gd name="T65" fmla="*/ 542 h 575"/>
                <a:gd name="T66" fmla="*/ 128 w 366"/>
                <a:gd name="T67" fmla="*/ 561 h 575"/>
                <a:gd name="T68" fmla="*/ 176 w 366"/>
                <a:gd name="T69" fmla="*/ 299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6" h="575">
                  <a:moveTo>
                    <a:pt x="238" y="575"/>
                  </a:moveTo>
                  <a:cubicBezTo>
                    <a:pt x="221" y="575"/>
                    <a:pt x="207" y="562"/>
                    <a:pt x="205" y="547"/>
                  </a:cubicBezTo>
                  <a:cubicBezTo>
                    <a:pt x="183" y="360"/>
                    <a:pt x="183" y="360"/>
                    <a:pt x="183" y="360"/>
                  </a:cubicBezTo>
                  <a:cubicBezTo>
                    <a:pt x="161" y="547"/>
                    <a:pt x="161" y="547"/>
                    <a:pt x="161" y="547"/>
                  </a:cubicBezTo>
                  <a:cubicBezTo>
                    <a:pt x="160" y="562"/>
                    <a:pt x="146" y="575"/>
                    <a:pt x="128" y="575"/>
                  </a:cubicBezTo>
                  <a:cubicBezTo>
                    <a:pt x="111" y="575"/>
                    <a:pt x="97" y="562"/>
                    <a:pt x="95" y="547"/>
                  </a:cubicBezTo>
                  <a:cubicBezTo>
                    <a:pt x="95" y="546"/>
                    <a:pt x="95" y="546"/>
                    <a:pt x="95" y="545"/>
                  </a:cubicBezTo>
                  <a:cubicBezTo>
                    <a:pt x="96" y="536"/>
                    <a:pt x="102" y="307"/>
                    <a:pt x="105" y="161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1" y="281"/>
                    <a:pt x="42" y="287"/>
                    <a:pt x="31" y="287"/>
                  </a:cubicBezTo>
                  <a:cubicBezTo>
                    <a:pt x="28" y="287"/>
                    <a:pt x="25" y="286"/>
                    <a:pt x="22" y="285"/>
                  </a:cubicBezTo>
                  <a:cubicBezTo>
                    <a:pt x="8" y="280"/>
                    <a:pt x="0" y="267"/>
                    <a:pt x="4" y="254"/>
                  </a:cubicBezTo>
                  <a:cubicBezTo>
                    <a:pt x="4" y="254"/>
                    <a:pt x="4" y="254"/>
                    <a:pt x="4" y="253"/>
                  </a:cubicBezTo>
                  <a:cubicBezTo>
                    <a:pt x="5" y="252"/>
                    <a:pt x="8" y="241"/>
                    <a:pt x="12" y="228"/>
                  </a:cubicBezTo>
                  <a:cubicBezTo>
                    <a:pt x="30" y="174"/>
                    <a:pt x="66" y="63"/>
                    <a:pt x="75" y="44"/>
                  </a:cubicBezTo>
                  <a:cubicBezTo>
                    <a:pt x="90" y="13"/>
                    <a:pt x="122" y="0"/>
                    <a:pt x="183" y="0"/>
                  </a:cubicBezTo>
                  <a:cubicBezTo>
                    <a:pt x="244" y="0"/>
                    <a:pt x="277" y="13"/>
                    <a:pt x="292" y="44"/>
                  </a:cubicBezTo>
                  <a:cubicBezTo>
                    <a:pt x="301" y="63"/>
                    <a:pt x="337" y="175"/>
                    <a:pt x="354" y="228"/>
                  </a:cubicBezTo>
                  <a:cubicBezTo>
                    <a:pt x="359" y="241"/>
                    <a:pt x="362" y="252"/>
                    <a:pt x="363" y="253"/>
                  </a:cubicBezTo>
                  <a:cubicBezTo>
                    <a:pt x="363" y="254"/>
                    <a:pt x="363" y="254"/>
                    <a:pt x="363" y="254"/>
                  </a:cubicBezTo>
                  <a:cubicBezTo>
                    <a:pt x="366" y="267"/>
                    <a:pt x="358" y="280"/>
                    <a:pt x="345" y="285"/>
                  </a:cubicBezTo>
                  <a:cubicBezTo>
                    <a:pt x="342" y="286"/>
                    <a:pt x="339" y="287"/>
                    <a:pt x="335" y="287"/>
                  </a:cubicBezTo>
                  <a:cubicBezTo>
                    <a:pt x="325" y="287"/>
                    <a:pt x="316" y="281"/>
                    <a:pt x="312" y="272"/>
                  </a:cubicBezTo>
                  <a:cubicBezTo>
                    <a:pt x="262" y="161"/>
                    <a:pt x="262" y="161"/>
                    <a:pt x="262" y="161"/>
                  </a:cubicBezTo>
                  <a:cubicBezTo>
                    <a:pt x="265" y="307"/>
                    <a:pt x="271" y="536"/>
                    <a:pt x="271" y="545"/>
                  </a:cubicBezTo>
                  <a:cubicBezTo>
                    <a:pt x="271" y="546"/>
                    <a:pt x="271" y="546"/>
                    <a:pt x="271" y="547"/>
                  </a:cubicBezTo>
                  <a:cubicBezTo>
                    <a:pt x="270" y="562"/>
                    <a:pt x="256" y="575"/>
                    <a:pt x="238" y="575"/>
                  </a:cubicBezTo>
                  <a:cubicBezTo>
                    <a:pt x="238" y="575"/>
                    <a:pt x="238" y="575"/>
                    <a:pt x="238" y="575"/>
                  </a:cubicBezTo>
                  <a:close/>
                  <a:moveTo>
                    <a:pt x="183" y="293"/>
                  </a:moveTo>
                  <a:cubicBezTo>
                    <a:pt x="187" y="293"/>
                    <a:pt x="190" y="296"/>
                    <a:pt x="190" y="299"/>
                  </a:cubicBezTo>
                  <a:cubicBezTo>
                    <a:pt x="219" y="545"/>
                    <a:pt x="219" y="545"/>
                    <a:pt x="219" y="545"/>
                  </a:cubicBezTo>
                  <a:cubicBezTo>
                    <a:pt x="220" y="554"/>
                    <a:pt x="228" y="561"/>
                    <a:pt x="238" y="561"/>
                  </a:cubicBezTo>
                  <a:cubicBezTo>
                    <a:pt x="238" y="568"/>
                    <a:pt x="238" y="568"/>
                    <a:pt x="238" y="568"/>
                  </a:cubicBezTo>
                  <a:cubicBezTo>
                    <a:pt x="238" y="561"/>
                    <a:pt x="238" y="561"/>
                    <a:pt x="238" y="561"/>
                  </a:cubicBezTo>
                  <a:cubicBezTo>
                    <a:pt x="248" y="561"/>
                    <a:pt x="257" y="554"/>
                    <a:pt x="257" y="546"/>
                  </a:cubicBezTo>
                  <a:cubicBezTo>
                    <a:pt x="257" y="546"/>
                    <a:pt x="257" y="546"/>
                    <a:pt x="257" y="546"/>
                  </a:cubicBezTo>
                  <a:cubicBezTo>
                    <a:pt x="257" y="542"/>
                    <a:pt x="257" y="537"/>
                    <a:pt x="257" y="528"/>
                  </a:cubicBezTo>
                  <a:cubicBezTo>
                    <a:pt x="256" y="517"/>
                    <a:pt x="256" y="500"/>
                    <a:pt x="256" y="481"/>
                  </a:cubicBezTo>
                  <a:cubicBezTo>
                    <a:pt x="255" y="441"/>
                    <a:pt x="253" y="389"/>
                    <a:pt x="252" y="337"/>
                  </a:cubicBezTo>
                  <a:cubicBezTo>
                    <a:pt x="249" y="232"/>
                    <a:pt x="247" y="127"/>
                    <a:pt x="247" y="127"/>
                  </a:cubicBezTo>
                  <a:cubicBezTo>
                    <a:pt x="247" y="124"/>
                    <a:pt x="249" y="121"/>
                    <a:pt x="252" y="120"/>
                  </a:cubicBezTo>
                  <a:cubicBezTo>
                    <a:pt x="255" y="120"/>
                    <a:pt x="259" y="121"/>
                    <a:pt x="260" y="124"/>
                  </a:cubicBezTo>
                  <a:cubicBezTo>
                    <a:pt x="325" y="266"/>
                    <a:pt x="325" y="266"/>
                    <a:pt x="325" y="266"/>
                  </a:cubicBezTo>
                  <a:cubicBezTo>
                    <a:pt x="326" y="270"/>
                    <a:pt x="330" y="273"/>
                    <a:pt x="335" y="273"/>
                  </a:cubicBezTo>
                  <a:cubicBezTo>
                    <a:pt x="337" y="273"/>
                    <a:pt x="339" y="272"/>
                    <a:pt x="340" y="272"/>
                  </a:cubicBezTo>
                  <a:cubicBezTo>
                    <a:pt x="347" y="270"/>
                    <a:pt x="351" y="263"/>
                    <a:pt x="350" y="258"/>
                  </a:cubicBezTo>
                  <a:cubicBezTo>
                    <a:pt x="350" y="258"/>
                    <a:pt x="350" y="258"/>
                    <a:pt x="350" y="258"/>
                  </a:cubicBezTo>
                  <a:cubicBezTo>
                    <a:pt x="349" y="256"/>
                    <a:pt x="348" y="254"/>
                    <a:pt x="347" y="251"/>
                  </a:cubicBezTo>
                  <a:cubicBezTo>
                    <a:pt x="346" y="247"/>
                    <a:pt x="344" y="240"/>
                    <a:pt x="341" y="232"/>
                  </a:cubicBezTo>
                  <a:cubicBezTo>
                    <a:pt x="325" y="183"/>
                    <a:pt x="288" y="69"/>
                    <a:pt x="279" y="50"/>
                  </a:cubicBezTo>
                  <a:cubicBezTo>
                    <a:pt x="270" y="32"/>
                    <a:pt x="252" y="14"/>
                    <a:pt x="183" y="14"/>
                  </a:cubicBezTo>
                  <a:cubicBezTo>
                    <a:pt x="115" y="14"/>
                    <a:pt x="96" y="32"/>
                    <a:pt x="88" y="50"/>
                  </a:cubicBezTo>
                  <a:cubicBezTo>
                    <a:pt x="79" y="69"/>
                    <a:pt x="42" y="183"/>
                    <a:pt x="26" y="232"/>
                  </a:cubicBezTo>
                  <a:cubicBezTo>
                    <a:pt x="23" y="240"/>
                    <a:pt x="21" y="247"/>
                    <a:pt x="19" y="251"/>
                  </a:cubicBezTo>
                  <a:cubicBezTo>
                    <a:pt x="19" y="254"/>
                    <a:pt x="18" y="256"/>
                    <a:pt x="17" y="258"/>
                  </a:cubicBezTo>
                  <a:cubicBezTo>
                    <a:pt x="17" y="258"/>
                    <a:pt x="17" y="258"/>
                    <a:pt x="17" y="258"/>
                  </a:cubicBezTo>
                  <a:cubicBezTo>
                    <a:pt x="16" y="263"/>
                    <a:pt x="20" y="270"/>
                    <a:pt x="26" y="272"/>
                  </a:cubicBezTo>
                  <a:cubicBezTo>
                    <a:pt x="28" y="272"/>
                    <a:pt x="30" y="273"/>
                    <a:pt x="31" y="273"/>
                  </a:cubicBezTo>
                  <a:cubicBezTo>
                    <a:pt x="36" y="273"/>
                    <a:pt x="41" y="270"/>
                    <a:pt x="42" y="266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08" y="121"/>
                    <a:pt x="111" y="120"/>
                    <a:pt x="115" y="120"/>
                  </a:cubicBezTo>
                  <a:cubicBezTo>
                    <a:pt x="118" y="121"/>
                    <a:pt x="120" y="124"/>
                    <a:pt x="120" y="127"/>
                  </a:cubicBezTo>
                  <a:cubicBezTo>
                    <a:pt x="120" y="127"/>
                    <a:pt x="117" y="232"/>
                    <a:pt x="115" y="337"/>
                  </a:cubicBezTo>
                  <a:cubicBezTo>
                    <a:pt x="114" y="389"/>
                    <a:pt x="112" y="442"/>
                    <a:pt x="111" y="481"/>
                  </a:cubicBezTo>
                  <a:cubicBezTo>
                    <a:pt x="111" y="500"/>
                    <a:pt x="110" y="517"/>
                    <a:pt x="110" y="528"/>
                  </a:cubicBezTo>
                  <a:cubicBezTo>
                    <a:pt x="110" y="534"/>
                    <a:pt x="110" y="539"/>
                    <a:pt x="110" y="542"/>
                  </a:cubicBezTo>
                  <a:cubicBezTo>
                    <a:pt x="109" y="543"/>
                    <a:pt x="109" y="544"/>
                    <a:pt x="109" y="546"/>
                  </a:cubicBezTo>
                  <a:cubicBezTo>
                    <a:pt x="110" y="554"/>
                    <a:pt x="118" y="561"/>
                    <a:pt x="128" y="561"/>
                  </a:cubicBezTo>
                  <a:cubicBezTo>
                    <a:pt x="138" y="561"/>
                    <a:pt x="147" y="554"/>
                    <a:pt x="147" y="546"/>
                  </a:cubicBezTo>
                  <a:cubicBezTo>
                    <a:pt x="176" y="299"/>
                    <a:pt x="176" y="299"/>
                    <a:pt x="176" y="299"/>
                  </a:cubicBezTo>
                  <a:cubicBezTo>
                    <a:pt x="177" y="296"/>
                    <a:pt x="180" y="293"/>
                    <a:pt x="183" y="2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30" name="Group 4"/>
          <p:cNvGrpSpPr>
            <a:grpSpLocks noChangeAspect="1"/>
          </p:cNvGrpSpPr>
          <p:nvPr/>
        </p:nvGrpSpPr>
        <p:grpSpPr bwMode="auto">
          <a:xfrm>
            <a:off x="3882220" y="3124547"/>
            <a:ext cx="663766" cy="1317625"/>
            <a:chOff x="1506" y="3505"/>
            <a:chExt cx="871" cy="1729"/>
          </a:xfrm>
          <a:solidFill>
            <a:schemeClr val="accent4"/>
          </a:solidFill>
        </p:grpSpPr>
        <p:sp>
          <p:nvSpPr>
            <p:cNvPr id="31" name="Freeform 5"/>
            <p:cNvSpPr>
              <a:spLocks noEditPoints="1"/>
            </p:cNvSpPr>
            <p:nvPr/>
          </p:nvSpPr>
          <p:spPr bwMode="auto">
            <a:xfrm>
              <a:off x="1777" y="3505"/>
              <a:ext cx="329" cy="325"/>
            </a:xfrm>
            <a:custGeom>
              <a:avLst/>
              <a:gdLst>
                <a:gd name="T0" fmla="*/ 69 w 138"/>
                <a:gd name="T1" fmla="*/ 137 h 137"/>
                <a:gd name="T2" fmla="*/ 0 w 138"/>
                <a:gd name="T3" fmla="*/ 68 h 137"/>
                <a:gd name="T4" fmla="*/ 69 w 138"/>
                <a:gd name="T5" fmla="*/ 0 h 137"/>
                <a:gd name="T6" fmla="*/ 138 w 138"/>
                <a:gd name="T7" fmla="*/ 68 h 137"/>
                <a:gd name="T8" fmla="*/ 69 w 138"/>
                <a:gd name="T9" fmla="*/ 137 h 137"/>
                <a:gd name="T10" fmla="*/ 69 w 138"/>
                <a:gd name="T11" fmla="*/ 14 h 137"/>
                <a:gd name="T12" fmla="*/ 14 w 138"/>
                <a:gd name="T13" fmla="*/ 68 h 137"/>
                <a:gd name="T14" fmla="*/ 69 w 138"/>
                <a:gd name="T15" fmla="*/ 123 h 137"/>
                <a:gd name="T16" fmla="*/ 124 w 138"/>
                <a:gd name="T17" fmla="*/ 68 h 137"/>
                <a:gd name="T18" fmla="*/ 69 w 138"/>
                <a:gd name="T19" fmla="*/ 1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37">
                  <a:moveTo>
                    <a:pt x="69" y="137"/>
                  </a:moveTo>
                  <a:cubicBezTo>
                    <a:pt x="31" y="137"/>
                    <a:pt x="0" y="106"/>
                    <a:pt x="0" y="68"/>
                  </a:cubicBezTo>
                  <a:cubicBezTo>
                    <a:pt x="0" y="30"/>
                    <a:pt x="31" y="0"/>
                    <a:pt x="69" y="0"/>
                  </a:cubicBezTo>
                  <a:cubicBezTo>
                    <a:pt x="107" y="0"/>
                    <a:pt x="138" y="30"/>
                    <a:pt x="138" y="68"/>
                  </a:cubicBezTo>
                  <a:cubicBezTo>
                    <a:pt x="138" y="106"/>
                    <a:pt x="107" y="137"/>
                    <a:pt x="69" y="137"/>
                  </a:cubicBezTo>
                  <a:close/>
                  <a:moveTo>
                    <a:pt x="69" y="14"/>
                  </a:moveTo>
                  <a:cubicBezTo>
                    <a:pt x="39" y="14"/>
                    <a:pt x="14" y="38"/>
                    <a:pt x="14" y="68"/>
                  </a:cubicBezTo>
                  <a:cubicBezTo>
                    <a:pt x="14" y="99"/>
                    <a:pt x="39" y="123"/>
                    <a:pt x="69" y="123"/>
                  </a:cubicBezTo>
                  <a:cubicBezTo>
                    <a:pt x="100" y="123"/>
                    <a:pt x="124" y="99"/>
                    <a:pt x="124" y="68"/>
                  </a:cubicBezTo>
                  <a:cubicBezTo>
                    <a:pt x="124" y="38"/>
                    <a:pt x="100" y="14"/>
                    <a:pt x="6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Freeform 6"/>
            <p:cNvSpPr>
              <a:spLocks noEditPoints="1"/>
            </p:cNvSpPr>
            <p:nvPr/>
          </p:nvSpPr>
          <p:spPr bwMode="auto">
            <a:xfrm>
              <a:off x="1506" y="3870"/>
              <a:ext cx="871" cy="1364"/>
            </a:xfrm>
            <a:custGeom>
              <a:avLst/>
              <a:gdLst>
                <a:gd name="T0" fmla="*/ 205 w 366"/>
                <a:gd name="T1" fmla="*/ 547 h 575"/>
                <a:gd name="T2" fmla="*/ 161 w 366"/>
                <a:gd name="T3" fmla="*/ 547 h 575"/>
                <a:gd name="T4" fmla="*/ 95 w 366"/>
                <a:gd name="T5" fmla="*/ 547 h 575"/>
                <a:gd name="T6" fmla="*/ 105 w 366"/>
                <a:gd name="T7" fmla="*/ 161 h 575"/>
                <a:gd name="T8" fmla="*/ 31 w 366"/>
                <a:gd name="T9" fmla="*/ 287 h 575"/>
                <a:gd name="T10" fmla="*/ 4 w 366"/>
                <a:gd name="T11" fmla="*/ 254 h 575"/>
                <a:gd name="T12" fmla="*/ 12 w 366"/>
                <a:gd name="T13" fmla="*/ 228 h 575"/>
                <a:gd name="T14" fmla="*/ 183 w 366"/>
                <a:gd name="T15" fmla="*/ 0 h 575"/>
                <a:gd name="T16" fmla="*/ 354 w 366"/>
                <a:gd name="T17" fmla="*/ 228 h 575"/>
                <a:gd name="T18" fmla="*/ 363 w 366"/>
                <a:gd name="T19" fmla="*/ 254 h 575"/>
                <a:gd name="T20" fmla="*/ 335 w 366"/>
                <a:gd name="T21" fmla="*/ 287 h 575"/>
                <a:gd name="T22" fmla="*/ 262 w 366"/>
                <a:gd name="T23" fmla="*/ 161 h 575"/>
                <a:gd name="T24" fmla="*/ 271 w 366"/>
                <a:gd name="T25" fmla="*/ 547 h 575"/>
                <a:gd name="T26" fmla="*/ 238 w 366"/>
                <a:gd name="T27" fmla="*/ 575 h 575"/>
                <a:gd name="T28" fmla="*/ 190 w 366"/>
                <a:gd name="T29" fmla="*/ 299 h 575"/>
                <a:gd name="T30" fmla="*/ 238 w 366"/>
                <a:gd name="T31" fmla="*/ 561 h 575"/>
                <a:gd name="T32" fmla="*/ 238 w 366"/>
                <a:gd name="T33" fmla="*/ 561 h 575"/>
                <a:gd name="T34" fmla="*/ 257 w 366"/>
                <a:gd name="T35" fmla="*/ 546 h 575"/>
                <a:gd name="T36" fmla="*/ 256 w 366"/>
                <a:gd name="T37" fmla="*/ 481 h 575"/>
                <a:gd name="T38" fmla="*/ 247 w 366"/>
                <a:gd name="T39" fmla="*/ 127 h 575"/>
                <a:gd name="T40" fmla="*/ 260 w 366"/>
                <a:gd name="T41" fmla="*/ 124 h 575"/>
                <a:gd name="T42" fmla="*/ 335 w 366"/>
                <a:gd name="T43" fmla="*/ 273 h 575"/>
                <a:gd name="T44" fmla="*/ 350 w 366"/>
                <a:gd name="T45" fmla="*/ 258 h 575"/>
                <a:gd name="T46" fmla="*/ 347 w 366"/>
                <a:gd name="T47" fmla="*/ 251 h 575"/>
                <a:gd name="T48" fmla="*/ 279 w 366"/>
                <a:gd name="T49" fmla="*/ 50 h 575"/>
                <a:gd name="T50" fmla="*/ 88 w 366"/>
                <a:gd name="T51" fmla="*/ 50 h 575"/>
                <a:gd name="T52" fmla="*/ 19 w 366"/>
                <a:gd name="T53" fmla="*/ 251 h 575"/>
                <a:gd name="T54" fmla="*/ 17 w 366"/>
                <a:gd name="T55" fmla="*/ 258 h 575"/>
                <a:gd name="T56" fmla="*/ 31 w 366"/>
                <a:gd name="T57" fmla="*/ 273 h 575"/>
                <a:gd name="T58" fmla="*/ 107 w 366"/>
                <a:gd name="T59" fmla="*/ 124 h 575"/>
                <a:gd name="T60" fmla="*/ 120 w 366"/>
                <a:gd name="T61" fmla="*/ 127 h 575"/>
                <a:gd name="T62" fmla="*/ 111 w 366"/>
                <a:gd name="T63" fmla="*/ 481 h 575"/>
                <a:gd name="T64" fmla="*/ 110 w 366"/>
                <a:gd name="T65" fmla="*/ 542 h 575"/>
                <a:gd name="T66" fmla="*/ 128 w 366"/>
                <a:gd name="T67" fmla="*/ 561 h 575"/>
                <a:gd name="T68" fmla="*/ 176 w 366"/>
                <a:gd name="T69" fmla="*/ 299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6" h="575">
                  <a:moveTo>
                    <a:pt x="238" y="575"/>
                  </a:moveTo>
                  <a:cubicBezTo>
                    <a:pt x="221" y="575"/>
                    <a:pt x="207" y="562"/>
                    <a:pt x="205" y="547"/>
                  </a:cubicBezTo>
                  <a:cubicBezTo>
                    <a:pt x="183" y="360"/>
                    <a:pt x="183" y="360"/>
                    <a:pt x="183" y="360"/>
                  </a:cubicBezTo>
                  <a:cubicBezTo>
                    <a:pt x="161" y="547"/>
                    <a:pt x="161" y="547"/>
                    <a:pt x="161" y="547"/>
                  </a:cubicBezTo>
                  <a:cubicBezTo>
                    <a:pt x="160" y="562"/>
                    <a:pt x="146" y="575"/>
                    <a:pt x="128" y="575"/>
                  </a:cubicBezTo>
                  <a:cubicBezTo>
                    <a:pt x="111" y="575"/>
                    <a:pt x="97" y="562"/>
                    <a:pt x="95" y="547"/>
                  </a:cubicBezTo>
                  <a:cubicBezTo>
                    <a:pt x="95" y="546"/>
                    <a:pt x="95" y="546"/>
                    <a:pt x="95" y="545"/>
                  </a:cubicBezTo>
                  <a:cubicBezTo>
                    <a:pt x="96" y="536"/>
                    <a:pt x="102" y="307"/>
                    <a:pt x="105" y="161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1" y="281"/>
                    <a:pt x="42" y="287"/>
                    <a:pt x="31" y="287"/>
                  </a:cubicBezTo>
                  <a:cubicBezTo>
                    <a:pt x="28" y="287"/>
                    <a:pt x="25" y="286"/>
                    <a:pt x="22" y="285"/>
                  </a:cubicBezTo>
                  <a:cubicBezTo>
                    <a:pt x="8" y="280"/>
                    <a:pt x="0" y="267"/>
                    <a:pt x="4" y="254"/>
                  </a:cubicBezTo>
                  <a:cubicBezTo>
                    <a:pt x="4" y="254"/>
                    <a:pt x="4" y="254"/>
                    <a:pt x="4" y="253"/>
                  </a:cubicBezTo>
                  <a:cubicBezTo>
                    <a:pt x="5" y="252"/>
                    <a:pt x="8" y="241"/>
                    <a:pt x="12" y="228"/>
                  </a:cubicBezTo>
                  <a:cubicBezTo>
                    <a:pt x="30" y="174"/>
                    <a:pt x="66" y="63"/>
                    <a:pt x="75" y="44"/>
                  </a:cubicBezTo>
                  <a:cubicBezTo>
                    <a:pt x="90" y="13"/>
                    <a:pt x="122" y="0"/>
                    <a:pt x="183" y="0"/>
                  </a:cubicBezTo>
                  <a:cubicBezTo>
                    <a:pt x="244" y="0"/>
                    <a:pt x="277" y="13"/>
                    <a:pt x="292" y="44"/>
                  </a:cubicBezTo>
                  <a:cubicBezTo>
                    <a:pt x="301" y="63"/>
                    <a:pt x="337" y="175"/>
                    <a:pt x="354" y="228"/>
                  </a:cubicBezTo>
                  <a:cubicBezTo>
                    <a:pt x="359" y="241"/>
                    <a:pt x="362" y="252"/>
                    <a:pt x="363" y="253"/>
                  </a:cubicBezTo>
                  <a:cubicBezTo>
                    <a:pt x="363" y="254"/>
                    <a:pt x="363" y="254"/>
                    <a:pt x="363" y="254"/>
                  </a:cubicBezTo>
                  <a:cubicBezTo>
                    <a:pt x="366" y="267"/>
                    <a:pt x="358" y="280"/>
                    <a:pt x="345" y="285"/>
                  </a:cubicBezTo>
                  <a:cubicBezTo>
                    <a:pt x="342" y="286"/>
                    <a:pt x="339" y="287"/>
                    <a:pt x="335" y="287"/>
                  </a:cubicBezTo>
                  <a:cubicBezTo>
                    <a:pt x="325" y="287"/>
                    <a:pt x="316" y="281"/>
                    <a:pt x="312" y="272"/>
                  </a:cubicBezTo>
                  <a:cubicBezTo>
                    <a:pt x="262" y="161"/>
                    <a:pt x="262" y="161"/>
                    <a:pt x="262" y="161"/>
                  </a:cubicBezTo>
                  <a:cubicBezTo>
                    <a:pt x="265" y="307"/>
                    <a:pt x="271" y="536"/>
                    <a:pt x="271" y="545"/>
                  </a:cubicBezTo>
                  <a:cubicBezTo>
                    <a:pt x="271" y="546"/>
                    <a:pt x="271" y="546"/>
                    <a:pt x="271" y="547"/>
                  </a:cubicBezTo>
                  <a:cubicBezTo>
                    <a:pt x="270" y="562"/>
                    <a:pt x="256" y="575"/>
                    <a:pt x="238" y="575"/>
                  </a:cubicBezTo>
                  <a:cubicBezTo>
                    <a:pt x="238" y="575"/>
                    <a:pt x="238" y="575"/>
                    <a:pt x="238" y="575"/>
                  </a:cubicBezTo>
                  <a:close/>
                  <a:moveTo>
                    <a:pt x="183" y="293"/>
                  </a:moveTo>
                  <a:cubicBezTo>
                    <a:pt x="187" y="293"/>
                    <a:pt x="190" y="296"/>
                    <a:pt x="190" y="299"/>
                  </a:cubicBezTo>
                  <a:cubicBezTo>
                    <a:pt x="219" y="545"/>
                    <a:pt x="219" y="545"/>
                    <a:pt x="219" y="545"/>
                  </a:cubicBezTo>
                  <a:cubicBezTo>
                    <a:pt x="220" y="554"/>
                    <a:pt x="228" y="561"/>
                    <a:pt x="238" y="561"/>
                  </a:cubicBezTo>
                  <a:cubicBezTo>
                    <a:pt x="238" y="568"/>
                    <a:pt x="238" y="568"/>
                    <a:pt x="238" y="568"/>
                  </a:cubicBezTo>
                  <a:cubicBezTo>
                    <a:pt x="238" y="561"/>
                    <a:pt x="238" y="561"/>
                    <a:pt x="238" y="561"/>
                  </a:cubicBezTo>
                  <a:cubicBezTo>
                    <a:pt x="248" y="561"/>
                    <a:pt x="257" y="554"/>
                    <a:pt x="257" y="546"/>
                  </a:cubicBezTo>
                  <a:cubicBezTo>
                    <a:pt x="257" y="546"/>
                    <a:pt x="257" y="546"/>
                    <a:pt x="257" y="546"/>
                  </a:cubicBezTo>
                  <a:cubicBezTo>
                    <a:pt x="257" y="542"/>
                    <a:pt x="257" y="537"/>
                    <a:pt x="257" y="528"/>
                  </a:cubicBezTo>
                  <a:cubicBezTo>
                    <a:pt x="256" y="517"/>
                    <a:pt x="256" y="500"/>
                    <a:pt x="256" y="481"/>
                  </a:cubicBezTo>
                  <a:cubicBezTo>
                    <a:pt x="255" y="441"/>
                    <a:pt x="253" y="389"/>
                    <a:pt x="252" y="337"/>
                  </a:cubicBezTo>
                  <a:cubicBezTo>
                    <a:pt x="249" y="232"/>
                    <a:pt x="247" y="127"/>
                    <a:pt x="247" y="127"/>
                  </a:cubicBezTo>
                  <a:cubicBezTo>
                    <a:pt x="247" y="124"/>
                    <a:pt x="249" y="121"/>
                    <a:pt x="252" y="120"/>
                  </a:cubicBezTo>
                  <a:cubicBezTo>
                    <a:pt x="255" y="120"/>
                    <a:pt x="259" y="121"/>
                    <a:pt x="260" y="124"/>
                  </a:cubicBezTo>
                  <a:cubicBezTo>
                    <a:pt x="325" y="266"/>
                    <a:pt x="325" y="266"/>
                    <a:pt x="325" y="266"/>
                  </a:cubicBezTo>
                  <a:cubicBezTo>
                    <a:pt x="326" y="270"/>
                    <a:pt x="330" y="273"/>
                    <a:pt x="335" y="273"/>
                  </a:cubicBezTo>
                  <a:cubicBezTo>
                    <a:pt x="337" y="273"/>
                    <a:pt x="339" y="272"/>
                    <a:pt x="340" y="272"/>
                  </a:cubicBezTo>
                  <a:cubicBezTo>
                    <a:pt x="347" y="270"/>
                    <a:pt x="351" y="263"/>
                    <a:pt x="350" y="258"/>
                  </a:cubicBezTo>
                  <a:cubicBezTo>
                    <a:pt x="350" y="258"/>
                    <a:pt x="350" y="258"/>
                    <a:pt x="350" y="258"/>
                  </a:cubicBezTo>
                  <a:cubicBezTo>
                    <a:pt x="349" y="256"/>
                    <a:pt x="348" y="254"/>
                    <a:pt x="347" y="251"/>
                  </a:cubicBezTo>
                  <a:cubicBezTo>
                    <a:pt x="346" y="247"/>
                    <a:pt x="344" y="240"/>
                    <a:pt x="341" y="232"/>
                  </a:cubicBezTo>
                  <a:cubicBezTo>
                    <a:pt x="325" y="183"/>
                    <a:pt x="288" y="69"/>
                    <a:pt x="279" y="50"/>
                  </a:cubicBezTo>
                  <a:cubicBezTo>
                    <a:pt x="270" y="32"/>
                    <a:pt x="252" y="14"/>
                    <a:pt x="183" y="14"/>
                  </a:cubicBezTo>
                  <a:cubicBezTo>
                    <a:pt x="115" y="14"/>
                    <a:pt x="96" y="32"/>
                    <a:pt x="88" y="50"/>
                  </a:cubicBezTo>
                  <a:cubicBezTo>
                    <a:pt x="79" y="69"/>
                    <a:pt x="42" y="183"/>
                    <a:pt x="26" y="232"/>
                  </a:cubicBezTo>
                  <a:cubicBezTo>
                    <a:pt x="23" y="240"/>
                    <a:pt x="21" y="247"/>
                    <a:pt x="19" y="251"/>
                  </a:cubicBezTo>
                  <a:cubicBezTo>
                    <a:pt x="19" y="254"/>
                    <a:pt x="18" y="256"/>
                    <a:pt x="17" y="258"/>
                  </a:cubicBezTo>
                  <a:cubicBezTo>
                    <a:pt x="17" y="258"/>
                    <a:pt x="17" y="258"/>
                    <a:pt x="17" y="258"/>
                  </a:cubicBezTo>
                  <a:cubicBezTo>
                    <a:pt x="16" y="263"/>
                    <a:pt x="20" y="270"/>
                    <a:pt x="26" y="272"/>
                  </a:cubicBezTo>
                  <a:cubicBezTo>
                    <a:pt x="28" y="272"/>
                    <a:pt x="30" y="273"/>
                    <a:pt x="31" y="273"/>
                  </a:cubicBezTo>
                  <a:cubicBezTo>
                    <a:pt x="36" y="273"/>
                    <a:pt x="41" y="270"/>
                    <a:pt x="42" y="266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08" y="121"/>
                    <a:pt x="111" y="120"/>
                    <a:pt x="115" y="120"/>
                  </a:cubicBezTo>
                  <a:cubicBezTo>
                    <a:pt x="118" y="121"/>
                    <a:pt x="120" y="124"/>
                    <a:pt x="120" y="127"/>
                  </a:cubicBezTo>
                  <a:cubicBezTo>
                    <a:pt x="120" y="127"/>
                    <a:pt x="117" y="232"/>
                    <a:pt x="115" y="337"/>
                  </a:cubicBezTo>
                  <a:cubicBezTo>
                    <a:pt x="114" y="389"/>
                    <a:pt x="112" y="442"/>
                    <a:pt x="111" y="481"/>
                  </a:cubicBezTo>
                  <a:cubicBezTo>
                    <a:pt x="111" y="500"/>
                    <a:pt x="110" y="517"/>
                    <a:pt x="110" y="528"/>
                  </a:cubicBezTo>
                  <a:cubicBezTo>
                    <a:pt x="110" y="534"/>
                    <a:pt x="110" y="539"/>
                    <a:pt x="110" y="542"/>
                  </a:cubicBezTo>
                  <a:cubicBezTo>
                    <a:pt x="109" y="543"/>
                    <a:pt x="109" y="544"/>
                    <a:pt x="109" y="546"/>
                  </a:cubicBezTo>
                  <a:cubicBezTo>
                    <a:pt x="110" y="554"/>
                    <a:pt x="118" y="561"/>
                    <a:pt x="128" y="561"/>
                  </a:cubicBezTo>
                  <a:cubicBezTo>
                    <a:pt x="138" y="561"/>
                    <a:pt x="147" y="554"/>
                    <a:pt x="147" y="546"/>
                  </a:cubicBezTo>
                  <a:cubicBezTo>
                    <a:pt x="176" y="299"/>
                    <a:pt x="176" y="299"/>
                    <a:pt x="176" y="299"/>
                  </a:cubicBezTo>
                  <a:cubicBezTo>
                    <a:pt x="177" y="296"/>
                    <a:pt x="180" y="293"/>
                    <a:pt x="183" y="2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33" name="Group 4"/>
          <p:cNvGrpSpPr>
            <a:grpSpLocks noChangeAspect="1"/>
          </p:cNvGrpSpPr>
          <p:nvPr/>
        </p:nvGrpSpPr>
        <p:grpSpPr bwMode="auto">
          <a:xfrm>
            <a:off x="4708228" y="3124547"/>
            <a:ext cx="663766" cy="1317625"/>
            <a:chOff x="1506" y="3505"/>
            <a:chExt cx="871" cy="1729"/>
          </a:xfrm>
          <a:solidFill>
            <a:schemeClr val="accent5"/>
          </a:solidFill>
        </p:grpSpPr>
        <p:sp>
          <p:nvSpPr>
            <p:cNvPr id="34" name="Freeform 5"/>
            <p:cNvSpPr>
              <a:spLocks noEditPoints="1"/>
            </p:cNvSpPr>
            <p:nvPr/>
          </p:nvSpPr>
          <p:spPr bwMode="auto">
            <a:xfrm>
              <a:off x="1777" y="3505"/>
              <a:ext cx="329" cy="325"/>
            </a:xfrm>
            <a:custGeom>
              <a:avLst/>
              <a:gdLst>
                <a:gd name="T0" fmla="*/ 69 w 138"/>
                <a:gd name="T1" fmla="*/ 137 h 137"/>
                <a:gd name="T2" fmla="*/ 0 w 138"/>
                <a:gd name="T3" fmla="*/ 68 h 137"/>
                <a:gd name="T4" fmla="*/ 69 w 138"/>
                <a:gd name="T5" fmla="*/ 0 h 137"/>
                <a:gd name="T6" fmla="*/ 138 w 138"/>
                <a:gd name="T7" fmla="*/ 68 h 137"/>
                <a:gd name="T8" fmla="*/ 69 w 138"/>
                <a:gd name="T9" fmla="*/ 137 h 137"/>
                <a:gd name="T10" fmla="*/ 69 w 138"/>
                <a:gd name="T11" fmla="*/ 14 h 137"/>
                <a:gd name="T12" fmla="*/ 14 w 138"/>
                <a:gd name="T13" fmla="*/ 68 h 137"/>
                <a:gd name="T14" fmla="*/ 69 w 138"/>
                <a:gd name="T15" fmla="*/ 123 h 137"/>
                <a:gd name="T16" fmla="*/ 124 w 138"/>
                <a:gd name="T17" fmla="*/ 68 h 137"/>
                <a:gd name="T18" fmla="*/ 69 w 138"/>
                <a:gd name="T19" fmla="*/ 1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37">
                  <a:moveTo>
                    <a:pt x="69" y="137"/>
                  </a:moveTo>
                  <a:cubicBezTo>
                    <a:pt x="31" y="137"/>
                    <a:pt x="0" y="106"/>
                    <a:pt x="0" y="68"/>
                  </a:cubicBezTo>
                  <a:cubicBezTo>
                    <a:pt x="0" y="30"/>
                    <a:pt x="31" y="0"/>
                    <a:pt x="69" y="0"/>
                  </a:cubicBezTo>
                  <a:cubicBezTo>
                    <a:pt x="107" y="0"/>
                    <a:pt x="138" y="30"/>
                    <a:pt x="138" y="68"/>
                  </a:cubicBezTo>
                  <a:cubicBezTo>
                    <a:pt x="138" y="106"/>
                    <a:pt x="107" y="137"/>
                    <a:pt x="69" y="137"/>
                  </a:cubicBezTo>
                  <a:close/>
                  <a:moveTo>
                    <a:pt x="69" y="14"/>
                  </a:moveTo>
                  <a:cubicBezTo>
                    <a:pt x="39" y="14"/>
                    <a:pt x="14" y="38"/>
                    <a:pt x="14" y="68"/>
                  </a:cubicBezTo>
                  <a:cubicBezTo>
                    <a:pt x="14" y="99"/>
                    <a:pt x="39" y="123"/>
                    <a:pt x="69" y="123"/>
                  </a:cubicBezTo>
                  <a:cubicBezTo>
                    <a:pt x="100" y="123"/>
                    <a:pt x="124" y="99"/>
                    <a:pt x="124" y="68"/>
                  </a:cubicBezTo>
                  <a:cubicBezTo>
                    <a:pt x="124" y="38"/>
                    <a:pt x="100" y="14"/>
                    <a:pt x="6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Freeform 6"/>
            <p:cNvSpPr>
              <a:spLocks noEditPoints="1"/>
            </p:cNvSpPr>
            <p:nvPr/>
          </p:nvSpPr>
          <p:spPr bwMode="auto">
            <a:xfrm>
              <a:off x="1506" y="3870"/>
              <a:ext cx="871" cy="1364"/>
            </a:xfrm>
            <a:custGeom>
              <a:avLst/>
              <a:gdLst>
                <a:gd name="T0" fmla="*/ 205 w 366"/>
                <a:gd name="T1" fmla="*/ 547 h 575"/>
                <a:gd name="T2" fmla="*/ 161 w 366"/>
                <a:gd name="T3" fmla="*/ 547 h 575"/>
                <a:gd name="T4" fmla="*/ 95 w 366"/>
                <a:gd name="T5" fmla="*/ 547 h 575"/>
                <a:gd name="T6" fmla="*/ 105 w 366"/>
                <a:gd name="T7" fmla="*/ 161 h 575"/>
                <a:gd name="T8" fmla="*/ 31 w 366"/>
                <a:gd name="T9" fmla="*/ 287 h 575"/>
                <a:gd name="T10" fmla="*/ 4 w 366"/>
                <a:gd name="T11" fmla="*/ 254 h 575"/>
                <a:gd name="T12" fmla="*/ 12 w 366"/>
                <a:gd name="T13" fmla="*/ 228 h 575"/>
                <a:gd name="T14" fmla="*/ 183 w 366"/>
                <a:gd name="T15" fmla="*/ 0 h 575"/>
                <a:gd name="T16" fmla="*/ 354 w 366"/>
                <a:gd name="T17" fmla="*/ 228 h 575"/>
                <a:gd name="T18" fmla="*/ 363 w 366"/>
                <a:gd name="T19" fmla="*/ 254 h 575"/>
                <a:gd name="T20" fmla="*/ 335 w 366"/>
                <a:gd name="T21" fmla="*/ 287 h 575"/>
                <a:gd name="T22" fmla="*/ 262 w 366"/>
                <a:gd name="T23" fmla="*/ 161 h 575"/>
                <a:gd name="T24" fmla="*/ 271 w 366"/>
                <a:gd name="T25" fmla="*/ 547 h 575"/>
                <a:gd name="T26" fmla="*/ 238 w 366"/>
                <a:gd name="T27" fmla="*/ 575 h 575"/>
                <a:gd name="T28" fmla="*/ 190 w 366"/>
                <a:gd name="T29" fmla="*/ 299 h 575"/>
                <a:gd name="T30" fmla="*/ 238 w 366"/>
                <a:gd name="T31" fmla="*/ 561 h 575"/>
                <a:gd name="T32" fmla="*/ 238 w 366"/>
                <a:gd name="T33" fmla="*/ 561 h 575"/>
                <a:gd name="T34" fmla="*/ 257 w 366"/>
                <a:gd name="T35" fmla="*/ 546 h 575"/>
                <a:gd name="T36" fmla="*/ 256 w 366"/>
                <a:gd name="T37" fmla="*/ 481 h 575"/>
                <a:gd name="T38" fmla="*/ 247 w 366"/>
                <a:gd name="T39" fmla="*/ 127 h 575"/>
                <a:gd name="T40" fmla="*/ 260 w 366"/>
                <a:gd name="T41" fmla="*/ 124 h 575"/>
                <a:gd name="T42" fmla="*/ 335 w 366"/>
                <a:gd name="T43" fmla="*/ 273 h 575"/>
                <a:gd name="T44" fmla="*/ 350 w 366"/>
                <a:gd name="T45" fmla="*/ 258 h 575"/>
                <a:gd name="T46" fmla="*/ 347 w 366"/>
                <a:gd name="T47" fmla="*/ 251 h 575"/>
                <a:gd name="T48" fmla="*/ 279 w 366"/>
                <a:gd name="T49" fmla="*/ 50 h 575"/>
                <a:gd name="T50" fmla="*/ 88 w 366"/>
                <a:gd name="T51" fmla="*/ 50 h 575"/>
                <a:gd name="T52" fmla="*/ 19 w 366"/>
                <a:gd name="T53" fmla="*/ 251 h 575"/>
                <a:gd name="T54" fmla="*/ 17 w 366"/>
                <a:gd name="T55" fmla="*/ 258 h 575"/>
                <a:gd name="T56" fmla="*/ 31 w 366"/>
                <a:gd name="T57" fmla="*/ 273 h 575"/>
                <a:gd name="T58" fmla="*/ 107 w 366"/>
                <a:gd name="T59" fmla="*/ 124 h 575"/>
                <a:gd name="T60" fmla="*/ 120 w 366"/>
                <a:gd name="T61" fmla="*/ 127 h 575"/>
                <a:gd name="T62" fmla="*/ 111 w 366"/>
                <a:gd name="T63" fmla="*/ 481 h 575"/>
                <a:gd name="T64" fmla="*/ 110 w 366"/>
                <a:gd name="T65" fmla="*/ 542 h 575"/>
                <a:gd name="T66" fmla="*/ 128 w 366"/>
                <a:gd name="T67" fmla="*/ 561 h 575"/>
                <a:gd name="T68" fmla="*/ 176 w 366"/>
                <a:gd name="T69" fmla="*/ 299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6" h="575">
                  <a:moveTo>
                    <a:pt x="238" y="575"/>
                  </a:moveTo>
                  <a:cubicBezTo>
                    <a:pt x="221" y="575"/>
                    <a:pt x="207" y="562"/>
                    <a:pt x="205" y="547"/>
                  </a:cubicBezTo>
                  <a:cubicBezTo>
                    <a:pt x="183" y="360"/>
                    <a:pt x="183" y="360"/>
                    <a:pt x="183" y="360"/>
                  </a:cubicBezTo>
                  <a:cubicBezTo>
                    <a:pt x="161" y="547"/>
                    <a:pt x="161" y="547"/>
                    <a:pt x="161" y="547"/>
                  </a:cubicBezTo>
                  <a:cubicBezTo>
                    <a:pt x="160" y="562"/>
                    <a:pt x="146" y="575"/>
                    <a:pt x="128" y="575"/>
                  </a:cubicBezTo>
                  <a:cubicBezTo>
                    <a:pt x="111" y="575"/>
                    <a:pt x="97" y="562"/>
                    <a:pt x="95" y="547"/>
                  </a:cubicBezTo>
                  <a:cubicBezTo>
                    <a:pt x="95" y="546"/>
                    <a:pt x="95" y="546"/>
                    <a:pt x="95" y="545"/>
                  </a:cubicBezTo>
                  <a:cubicBezTo>
                    <a:pt x="96" y="536"/>
                    <a:pt x="102" y="307"/>
                    <a:pt x="105" y="161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1" y="281"/>
                    <a:pt x="42" y="287"/>
                    <a:pt x="31" y="287"/>
                  </a:cubicBezTo>
                  <a:cubicBezTo>
                    <a:pt x="28" y="287"/>
                    <a:pt x="25" y="286"/>
                    <a:pt x="22" y="285"/>
                  </a:cubicBezTo>
                  <a:cubicBezTo>
                    <a:pt x="8" y="280"/>
                    <a:pt x="0" y="267"/>
                    <a:pt x="4" y="254"/>
                  </a:cubicBezTo>
                  <a:cubicBezTo>
                    <a:pt x="4" y="254"/>
                    <a:pt x="4" y="254"/>
                    <a:pt x="4" y="253"/>
                  </a:cubicBezTo>
                  <a:cubicBezTo>
                    <a:pt x="5" y="252"/>
                    <a:pt x="8" y="241"/>
                    <a:pt x="12" y="228"/>
                  </a:cubicBezTo>
                  <a:cubicBezTo>
                    <a:pt x="30" y="174"/>
                    <a:pt x="66" y="63"/>
                    <a:pt x="75" y="44"/>
                  </a:cubicBezTo>
                  <a:cubicBezTo>
                    <a:pt x="90" y="13"/>
                    <a:pt x="122" y="0"/>
                    <a:pt x="183" y="0"/>
                  </a:cubicBezTo>
                  <a:cubicBezTo>
                    <a:pt x="244" y="0"/>
                    <a:pt x="277" y="13"/>
                    <a:pt x="292" y="44"/>
                  </a:cubicBezTo>
                  <a:cubicBezTo>
                    <a:pt x="301" y="63"/>
                    <a:pt x="337" y="175"/>
                    <a:pt x="354" y="228"/>
                  </a:cubicBezTo>
                  <a:cubicBezTo>
                    <a:pt x="359" y="241"/>
                    <a:pt x="362" y="252"/>
                    <a:pt x="363" y="253"/>
                  </a:cubicBezTo>
                  <a:cubicBezTo>
                    <a:pt x="363" y="254"/>
                    <a:pt x="363" y="254"/>
                    <a:pt x="363" y="254"/>
                  </a:cubicBezTo>
                  <a:cubicBezTo>
                    <a:pt x="366" y="267"/>
                    <a:pt x="358" y="280"/>
                    <a:pt x="345" y="285"/>
                  </a:cubicBezTo>
                  <a:cubicBezTo>
                    <a:pt x="342" y="286"/>
                    <a:pt x="339" y="287"/>
                    <a:pt x="335" y="287"/>
                  </a:cubicBezTo>
                  <a:cubicBezTo>
                    <a:pt x="325" y="287"/>
                    <a:pt x="316" y="281"/>
                    <a:pt x="312" y="272"/>
                  </a:cubicBezTo>
                  <a:cubicBezTo>
                    <a:pt x="262" y="161"/>
                    <a:pt x="262" y="161"/>
                    <a:pt x="262" y="161"/>
                  </a:cubicBezTo>
                  <a:cubicBezTo>
                    <a:pt x="265" y="307"/>
                    <a:pt x="271" y="536"/>
                    <a:pt x="271" y="545"/>
                  </a:cubicBezTo>
                  <a:cubicBezTo>
                    <a:pt x="271" y="546"/>
                    <a:pt x="271" y="546"/>
                    <a:pt x="271" y="547"/>
                  </a:cubicBezTo>
                  <a:cubicBezTo>
                    <a:pt x="270" y="562"/>
                    <a:pt x="256" y="575"/>
                    <a:pt x="238" y="575"/>
                  </a:cubicBezTo>
                  <a:cubicBezTo>
                    <a:pt x="238" y="575"/>
                    <a:pt x="238" y="575"/>
                    <a:pt x="238" y="575"/>
                  </a:cubicBezTo>
                  <a:close/>
                  <a:moveTo>
                    <a:pt x="183" y="293"/>
                  </a:moveTo>
                  <a:cubicBezTo>
                    <a:pt x="187" y="293"/>
                    <a:pt x="190" y="296"/>
                    <a:pt x="190" y="299"/>
                  </a:cubicBezTo>
                  <a:cubicBezTo>
                    <a:pt x="219" y="545"/>
                    <a:pt x="219" y="545"/>
                    <a:pt x="219" y="545"/>
                  </a:cubicBezTo>
                  <a:cubicBezTo>
                    <a:pt x="220" y="554"/>
                    <a:pt x="228" y="561"/>
                    <a:pt x="238" y="561"/>
                  </a:cubicBezTo>
                  <a:cubicBezTo>
                    <a:pt x="238" y="568"/>
                    <a:pt x="238" y="568"/>
                    <a:pt x="238" y="568"/>
                  </a:cubicBezTo>
                  <a:cubicBezTo>
                    <a:pt x="238" y="561"/>
                    <a:pt x="238" y="561"/>
                    <a:pt x="238" y="561"/>
                  </a:cubicBezTo>
                  <a:cubicBezTo>
                    <a:pt x="248" y="561"/>
                    <a:pt x="257" y="554"/>
                    <a:pt x="257" y="546"/>
                  </a:cubicBezTo>
                  <a:cubicBezTo>
                    <a:pt x="257" y="546"/>
                    <a:pt x="257" y="546"/>
                    <a:pt x="257" y="546"/>
                  </a:cubicBezTo>
                  <a:cubicBezTo>
                    <a:pt x="257" y="542"/>
                    <a:pt x="257" y="537"/>
                    <a:pt x="257" y="528"/>
                  </a:cubicBezTo>
                  <a:cubicBezTo>
                    <a:pt x="256" y="517"/>
                    <a:pt x="256" y="500"/>
                    <a:pt x="256" y="481"/>
                  </a:cubicBezTo>
                  <a:cubicBezTo>
                    <a:pt x="255" y="441"/>
                    <a:pt x="253" y="389"/>
                    <a:pt x="252" y="337"/>
                  </a:cubicBezTo>
                  <a:cubicBezTo>
                    <a:pt x="249" y="232"/>
                    <a:pt x="247" y="127"/>
                    <a:pt x="247" y="127"/>
                  </a:cubicBezTo>
                  <a:cubicBezTo>
                    <a:pt x="247" y="124"/>
                    <a:pt x="249" y="121"/>
                    <a:pt x="252" y="120"/>
                  </a:cubicBezTo>
                  <a:cubicBezTo>
                    <a:pt x="255" y="120"/>
                    <a:pt x="259" y="121"/>
                    <a:pt x="260" y="124"/>
                  </a:cubicBezTo>
                  <a:cubicBezTo>
                    <a:pt x="325" y="266"/>
                    <a:pt x="325" y="266"/>
                    <a:pt x="325" y="266"/>
                  </a:cubicBezTo>
                  <a:cubicBezTo>
                    <a:pt x="326" y="270"/>
                    <a:pt x="330" y="273"/>
                    <a:pt x="335" y="273"/>
                  </a:cubicBezTo>
                  <a:cubicBezTo>
                    <a:pt x="337" y="273"/>
                    <a:pt x="339" y="272"/>
                    <a:pt x="340" y="272"/>
                  </a:cubicBezTo>
                  <a:cubicBezTo>
                    <a:pt x="347" y="270"/>
                    <a:pt x="351" y="263"/>
                    <a:pt x="350" y="258"/>
                  </a:cubicBezTo>
                  <a:cubicBezTo>
                    <a:pt x="350" y="258"/>
                    <a:pt x="350" y="258"/>
                    <a:pt x="350" y="258"/>
                  </a:cubicBezTo>
                  <a:cubicBezTo>
                    <a:pt x="349" y="256"/>
                    <a:pt x="348" y="254"/>
                    <a:pt x="347" y="251"/>
                  </a:cubicBezTo>
                  <a:cubicBezTo>
                    <a:pt x="346" y="247"/>
                    <a:pt x="344" y="240"/>
                    <a:pt x="341" y="232"/>
                  </a:cubicBezTo>
                  <a:cubicBezTo>
                    <a:pt x="325" y="183"/>
                    <a:pt x="288" y="69"/>
                    <a:pt x="279" y="50"/>
                  </a:cubicBezTo>
                  <a:cubicBezTo>
                    <a:pt x="270" y="32"/>
                    <a:pt x="252" y="14"/>
                    <a:pt x="183" y="14"/>
                  </a:cubicBezTo>
                  <a:cubicBezTo>
                    <a:pt x="115" y="14"/>
                    <a:pt x="96" y="32"/>
                    <a:pt x="88" y="50"/>
                  </a:cubicBezTo>
                  <a:cubicBezTo>
                    <a:pt x="79" y="69"/>
                    <a:pt x="42" y="183"/>
                    <a:pt x="26" y="232"/>
                  </a:cubicBezTo>
                  <a:cubicBezTo>
                    <a:pt x="23" y="240"/>
                    <a:pt x="21" y="247"/>
                    <a:pt x="19" y="251"/>
                  </a:cubicBezTo>
                  <a:cubicBezTo>
                    <a:pt x="19" y="254"/>
                    <a:pt x="18" y="256"/>
                    <a:pt x="17" y="258"/>
                  </a:cubicBezTo>
                  <a:cubicBezTo>
                    <a:pt x="17" y="258"/>
                    <a:pt x="17" y="258"/>
                    <a:pt x="17" y="258"/>
                  </a:cubicBezTo>
                  <a:cubicBezTo>
                    <a:pt x="16" y="263"/>
                    <a:pt x="20" y="270"/>
                    <a:pt x="26" y="272"/>
                  </a:cubicBezTo>
                  <a:cubicBezTo>
                    <a:pt x="28" y="272"/>
                    <a:pt x="30" y="273"/>
                    <a:pt x="31" y="273"/>
                  </a:cubicBezTo>
                  <a:cubicBezTo>
                    <a:pt x="36" y="273"/>
                    <a:pt x="41" y="270"/>
                    <a:pt x="42" y="266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08" y="121"/>
                    <a:pt x="111" y="120"/>
                    <a:pt x="115" y="120"/>
                  </a:cubicBezTo>
                  <a:cubicBezTo>
                    <a:pt x="118" y="121"/>
                    <a:pt x="120" y="124"/>
                    <a:pt x="120" y="127"/>
                  </a:cubicBezTo>
                  <a:cubicBezTo>
                    <a:pt x="120" y="127"/>
                    <a:pt x="117" y="232"/>
                    <a:pt x="115" y="337"/>
                  </a:cubicBezTo>
                  <a:cubicBezTo>
                    <a:pt x="114" y="389"/>
                    <a:pt x="112" y="442"/>
                    <a:pt x="111" y="481"/>
                  </a:cubicBezTo>
                  <a:cubicBezTo>
                    <a:pt x="111" y="500"/>
                    <a:pt x="110" y="517"/>
                    <a:pt x="110" y="528"/>
                  </a:cubicBezTo>
                  <a:cubicBezTo>
                    <a:pt x="110" y="534"/>
                    <a:pt x="110" y="539"/>
                    <a:pt x="110" y="542"/>
                  </a:cubicBezTo>
                  <a:cubicBezTo>
                    <a:pt x="109" y="543"/>
                    <a:pt x="109" y="544"/>
                    <a:pt x="109" y="546"/>
                  </a:cubicBezTo>
                  <a:cubicBezTo>
                    <a:pt x="110" y="554"/>
                    <a:pt x="118" y="561"/>
                    <a:pt x="128" y="561"/>
                  </a:cubicBezTo>
                  <a:cubicBezTo>
                    <a:pt x="138" y="561"/>
                    <a:pt x="147" y="554"/>
                    <a:pt x="147" y="546"/>
                  </a:cubicBezTo>
                  <a:cubicBezTo>
                    <a:pt x="176" y="299"/>
                    <a:pt x="176" y="299"/>
                    <a:pt x="176" y="299"/>
                  </a:cubicBezTo>
                  <a:cubicBezTo>
                    <a:pt x="177" y="296"/>
                    <a:pt x="180" y="293"/>
                    <a:pt x="183" y="2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36" name="Group 4"/>
          <p:cNvGrpSpPr>
            <a:grpSpLocks noChangeAspect="1"/>
          </p:cNvGrpSpPr>
          <p:nvPr/>
        </p:nvGrpSpPr>
        <p:grpSpPr bwMode="auto">
          <a:xfrm>
            <a:off x="5534236" y="3124547"/>
            <a:ext cx="663766" cy="1317625"/>
            <a:chOff x="1506" y="3505"/>
            <a:chExt cx="871" cy="1729"/>
          </a:xfrm>
          <a:solidFill>
            <a:schemeClr val="accent6"/>
          </a:solidFill>
        </p:grpSpPr>
        <p:sp>
          <p:nvSpPr>
            <p:cNvPr id="37" name="Freeform 5"/>
            <p:cNvSpPr>
              <a:spLocks noEditPoints="1"/>
            </p:cNvSpPr>
            <p:nvPr/>
          </p:nvSpPr>
          <p:spPr bwMode="auto">
            <a:xfrm>
              <a:off x="1777" y="3505"/>
              <a:ext cx="329" cy="325"/>
            </a:xfrm>
            <a:custGeom>
              <a:avLst/>
              <a:gdLst>
                <a:gd name="T0" fmla="*/ 69 w 138"/>
                <a:gd name="T1" fmla="*/ 137 h 137"/>
                <a:gd name="T2" fmla="*/ 0 w 138"/>
                <a:gd name="T3" fmla="*/ 68 h 137"/>
                <a:gd name="T4" fmla="*/ 69 w 138"/>
                <a:gd name="T5" fmla="*/ 0 h 137"/>
                <a:gd name="T6" fmla="*/ 138 w 138"/>
                <a:gd name="T7" fmla="*/ 68 h 137"/>
                <a:gd name="T8" fmla="*/ 69 w 138"/>
                <a:gd name="T9" fmla="*/ 137 h 137"/>
                <a:gd name="T10" fmla="*/ 69 w 138"/>
                <a:gd name="T11" fmla="*/ 14 h 137"/>
                <a:gd name="T12" fmla="*/ 14 w 138"/>
                <a:gd name="T13" fmla="*/ 68 h 137"/>
                <a:gd name="T14" fmla="*/ 69 w 138"/>
                <a:gd name="T15" fmla="*/ 123 h 137"/>
                <a:gd name="T16" fmla="*/ 124 w 138"/>
                <a:gd name="T17" fmla="*/ 68 h 137"/>
                <a:gd name="T18" fmla="*/ 69 w 138"/>
                <a:gd name="T19" fmla="*/ 1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37">
                  <a:moveTo>
                    <a:pt x="69" y="137"/>
                  </a:moveTo>
                  <a:cubicBezTo>
                    <a:pt x="31" y="137"/>
                    <a:pt x="0" y="106"/>
                    <a:pt x="0" y="68"/>
                  </a:cubicBezTo>
                  <a:cubicBezTo>
                    <a:pt x="0" y="30"/>
                    <a:pt x="31" y="0"/>
                    <a:pt x="69" y="0"/>
                  </a:cubicBezTo>
                  <a:cubicBezTo>
                    <a:pt x="107" y="0"/>
                    <a:pt x="138" y="30"/>
                    <a:pt x="138" y="68"/>
                  </a:cubicBezTo>
                  <a:cubicBezTo>
                    <a:pt x="138" y="106"/>
                    <a:pt x="107" y="137"/>
                    <a:pt x="69" y="137"/>
                  </a:cubicBezTo>
                  <a:close/>
                  <a:moveTo>
                    <a:pt x="69" y="14"/>
                  </a:moveTo>
                  <a:cubicBezTo>
                    <a:pt x="39" y="14"/>
                    <a:pt x="14" y="38"/>
                    <a:pt x="14" y="68"/>
                  </a:cubicBezTo>
                  <a:cubicBezTo>
                    <a:pt x="14" y="99"/>
                    <a:pt x="39" y="123"/>
                    <a:pt x="69" y="123"/>
                  </a:cubicBezTo>
                  <a:cubicBezTo>
                    <a:pt x="100" y="123"/>
                    <a:pt x="124" y="99"/>
                    <a:pt x="124" y="68"/>
                  </a:cubicBezTo>
                  <a:cubicBezTo>
                    <a:pt x="124" y="38"/>
                    <a:pt x="100" y="14"/>
                    <a:pt x="69" y="1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6"/>
            <p:cNvSpPr>
              <a:spLocks noEditPoints="1"/>
            </p:cNvSpPr>
            <p:nvPr/>
          </p:nvSpPr>
          <p:spPr bwMode="auto">
            <a:xfrm>
              <a:off x="1506" y="3870"/>
              <a:ext cx="871" cy="1364"/>
            </a:xfrm>
            <a:custGeom>
              <a:avLst/>
              <a:gdLst>
                <a:gd name="T0" fmla="*/ 205 w 366"/>
                <a:gd name="T1" fmla="*/ 547 h 575"/>
                <a:gd name="T2" fmla="*/ 161 w 366"/>
                <a:gd name="T3" fmla="*/ 547 h 575"/>
                <a:gd name="T4" fmla="*/ 95 w 366"/>
                <a:gd name="T5" fmla="*/ 547 h 575"/>
                <a:gd name="T6" fmla="*/ 105 w 366"/>
                <a:gd name="T7" fmla="*/ 161 h 575"/>
                <a:gd name="T8" fmla="*/ 31 w 366"/>
                <a:gd name="T9" fmla="*/ 287 h 575"/>
                <a:gd name="T10" fmla="*/ 4 w 366"/>
                <a:gd name="T11" fmla="*/ 254 h 575"/>
                <a:gd name="T12" fmla="*/ 12 w 366"/>
                <a:gd name="T13" fmla="*/ 228 h 575"/>
                <a:gd name="T14" fmla="*/ 183 w 366"/>
                <a:gd name="T15" fmla="*/ 0 h 575"/>
                <a:gd name="T16" fmla="*/ 354 w 366"/>
                <a:gd name="T17" fmla="*/ 228 h 575"/>
                <a:gd name="T18" fmla="*/ 363 w 366"/>
                <a:gd name="T19" fmla="*/ 254 h 575"/>
                <a:gd name="T20" fmla="*/ 335 w 366"/>
                <a:gd name="T21" fmla="*/ 287 h 575"/>
                <a:gd name="T22" fmla="*/ 262 w 366"/>
                <a:gd name="T23" fmla="*/ 161 h 575"/>
                <a:gd name="T24" fmla="*/ 271 w 366"/>
                <a:gd name="T25" fmla="*/ 547 h 575"/>
                <a:gd name="T26" fmla="*/ 238 w 366"/>
                <a:gd name="T27" fmla="*/ 575 h 575"/>
                <a:gd name="T28" fmla="*/ 190 w 366"/>
                <a:gd name="T29" fmla="*/ 299 h 575"/>
                <a:gd name="T30" fmla="*/ 238 w 366"/>
                <a:gd name="T31" fmla="*/ 561 h 575"/>
                <a:gd name="T32" fmla="*/ 238 w 366"/>
                <a:gd name="T33" fmla="*/ 561 h 575"/>
                <a:gd name="T34" fmla="*/ 257 w 366"/>
                <a:gd name="T35" fmla="*/ 546 h 575"/>
                <a:gd name="T36" fmla="*/ 256 w 366"/>
                <a:gd name="T37" fmla="*/ 481 h 575"/>
                <a:gd name="T38" fmla="*/ 247 w 366"/>
                <a:gd name="T39" fmla="*/ 127 h 575"/>
                <a:gd name="T40" fmla="*/ 260 w 366"/>
                <a:gd name="T41" fmla="*/ 124 h 575"/>
                <a:gd name="T42" fmla="*/ 335 w 366"/>
                <a:gd name="T43" fmla="*/ 273 h 575"/>
                <a:gd name="T44" fmla="*/ 350 w 366"/>
                <a:gd name="T45" fmla="*/ 258 h 575"/>
                <a:gd name="T46" fmla="*/ 347 w 366"/>
                <a:gd name="T47" fmla="*/ 251 h 575"/>
                <a:gd name="T48" fmla="*/ 279 w 366"/>
                <a:gd name="T49" fmla="*/ 50 h 575"/>
                <a:gd name="T50" fmla="*/ 88 w 366"/>
                <a:gd name="T51" fmla="*/ 50 h 575"/>
                <a:gd name="T52" fmla="*/ 19 w 366"/>
                <a:gd name="T53" fmla="*/ 251 h 575"/>
                <a:gd name="T54" fmla="*/ 17 w 366"/>
                <a:gd name="T55" fmla="*/ 258 h 575"/>
                <a:gd name="T56" fmla="*/ 31 w 366"/>
                <a:gd name="T57" fmla="*/ 273 h 575"/>
                <a:gd name="T58" fmla="*/ 107 w 366"/>
                <a:gd name="T59" fmla="*/ 124 h 575"/>
                <a:gd name="T60" fmla="*/ 120 w 366"/>
                <a:gd name="T61" fmla="*/ 127 h 575"/>
                <a:gd name="T62" fmla="*/ 111 w 366"/>
                <a:gd name="T63" fmla="*/ 481 h 575"/>
                <a:gd name="T64" fmla="*/ 110 w 366"/>
                <a:gd name="T65" fmla="*/ 542 h 575"/>
                <a:gd name="T66" fmla="*/ 128 w 366"/>
                <a:gd name="T67" fmla="*/ 561 h 575"/>
                <a:gd name="T68" fmla="*/ 176 w 366"/>
                <a:gd name="T69" fmla="*/ 299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6" h="575">
                  <a:moveTo>
                    <a:pt x="238" y="575"/>
                  </a:moveTo>
                  <a:cubicBezTo>
                    <a:pt x="221" y="575"/>
                    <a:pt x="207" y="562"/>
                    <a:pt x="205" y="547"/>
                  </a:cubicBezTo>
                  <a:cubicBezTo>
                    <a:pt x="183" y="360"/>
                    <a:pt x="183" y="360"/>
                    <a:pt x="183" y="360"/>
                  </a:cubicBezTo>
                  <a:cubicBezTo>
                    <a:pt x="161" y="547"/>
                    <a:pt x="161" y="547"/>
                    <a:pt x="161" y="547"/>
                  </a:cubicBezTo>
                  <a:cubicBezTo>
                    <a:pt x="160" y="562"/>
                    <a:pt x="146" y="575"/>
                    <a:pt x="128" y="575"/>
                  </a:cubicBezTo>
                  <a:cubicBezTo>
                    <a:pt x="111" y="575"/>
                    <a:pt x="97" y="562"/>
                    <a:pt x="95" y="547"/>
                  </a:cubicBezTo>
                  <a:cubicBezTo>
                    <a:pt x="95" y="546"/>
                    <a:pt x="95" y="546"/>
                    <a:pt x="95" y="545"/>
                  </a:cubicBezTo>
                  <a:cubicBezTo>
                    <a:pt x="96" y="536"/>
                    <a:pt x="102" y="307"/>
                    <a:pt x="105" y="161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1" y="281"/>
                    <a:pt x="42" y="287"/>
                    <a:pt x="31" y="287"/>
                  </a:cubicBezTo>
                  <a:cubicBezTo>
                    <a:pt x="28" y="287"/>
                    <a:pt x="25" y="286"/>
                    <a:pt x="22" y="285"/>
                  </a:cubicBezTo>
                  <a:cubicBezTo>
                    <a:pt x="8" y="280"/>
                    <a:pt x="0" y="267"/>
                    <a:pt x="4" y="254"/>
                  </a:cubicBezTo>
                  <a:cubicBezTo>
                    <a:pt x="4" y="254"/>
                    <a:pt x="4" y="254"/>
                    <a:pt x="4" y="253"/>
                  </a:cubicBezTo>
                  <a:cubicBezTo>
                    <a:pt x="5" y="252"/>
                    <a:pt x="8" y="241"/>
                    <a:pt x="12" y="228"/>
                  </a:cubicBezTo>
                  <a:cubicBezTo>
                    <a:pt x="30" y="174"/>
                    <a:pt x="66" y="63"/>
                    <a:pt x="75" y="44"/>
                  </a:cubicBezTo>
                  <a:cubicBezTo>
                    <a:pt x="90" y="13"/>
                    <a:pt x="122" y="0"/>
                    <a:pt x="183" y="0"/>
                  </a:cubicBezTo>
                  <a:cubicBezTo>
                    <a:pt x="244" y="0"/>
                    <a:pt x="277" y="13"/>
                    <a:pt x="292" y="44"/>
                  </a:cubicBezTo>
                  <a:cubicBezTo>
                    <a:pt x="301" y="63"/>
                    <a:pt x="337" y="175"/>
                    <a:pt x="354" y="228"/>
                  </a:cubicBezTo>
                  <a:cubicBezTo>
                    <a:pt x="359" y="241"/>
                    <a:pt x="362" y="252"/>
                    <a:pt x="363" y="253"/>
                  </a:cubicBezTo>
                  <a:cubicBezTo>
                    <a:pt x="363" y="254"/>
                    <a:pt x="363" y="254"/>
                    <a:pt x="363" y="254"/>
                  </a:cubicBezTo>
                  <a:cubicBezTo>
                    <a:pt x="366" y="267"/>
                    <a:pt x="358" y="280"/>
                    <a:pt x="345" y="285"/>
                  </a:cubicBezTo>
                  <a:cubicBezTo>
                    <a:pt x="342" y="286"/>
                    <a:pt x="339" y="287"/>
                    <a:pt x="335" y="287"/>
                  </a:cubicBezTo>
                  <a:cubicBezTo>
                    <a:pt x="325" y="287"/>
                    <a:pt x="316" y="281"/>
                    <a:pt x="312" y="272"/>
                  </a:cubicBezTo>
                  <a:cubicBezTo>
                    <a:pt x="262" y="161"/>
                    <a:pt x="262" y="161"/>
                    <a:pt x="262" y="161"/>
                  </a:cubicBezTo>
                  <a:cubicBezTo>
                    <a:pt x="265" y="307"/>
                    <a:pt x="271" y="536"/>
                    <a:pt x="271" y="545"/>
                  </a:cubicBezTo>
                  <a:cubicBezTo>
                    <a:pt x="271" y="546"/>
                    <a:pt x="271" y="546"/>
                    <a:pt x="271" y="547"/>
                  </a:cubicBezTo>
                  <a:cubicBezTo>
                    <a:pt x="270" y="562"/>
                    <a:pt x="256" y="575"/>
                    <a:pt x="238" y="575"/>
                  </a:cubicBezTo>
                  <a:cubicBezTo>
                    <a:pt x="238" y="575"/>
                    <a:pt x="238" y="575"/>
                    <a:pt x="238" y="575"/>
                  </a:cubicBezTo>
                  <a:close/>
                  <a:moveTo>
                    <a:pt x="183" y="293"/>
                  </a:moveTo>
                  <a:cubicBezTo>
                    <a:pt x="187" y="293"/>
                    <a:pt x="190" y="296"/>
                    <a:pt x="190" y="299"/>
                  </a:cubicBezTo>
                  <a:cubicBezTo>
                    <a:pt x="219" y="545"/>
                    <a:pt x="219" y="545"/>
                    <a:pt x="219" y="545"/>
                  </a:cubicBezTo>
                  <a:cubicBezTo>
                    <a:pt x="220" y="554"/>
                    <a:pt x="228" y="561"/>
                    <a:pt x="238" y="561"/>
                  </a:cubicBezTo>
                  <a:cubicBezTo>
                    <a:pt x="238" y="568"/>
                    <a:pt x="238" y="568"/>
                    <a:pt x="238" y="568"/>
                  </a:cubicBezTo>
                  <a:cubicBezTo>
                    <a:pt x="238" y="561"/>
                    <a:pt x="238" y="561"/>
                    <a:pt x="238" y="561"/>
                  </a:cubicBezTo>
                  <a:cubicBezTo>
                    <a:pt x="248" y="561"/>
                    <a:pt x="257" y="554"/>
                    <a:pt x="257" y="546"/>
                  </a:cubicBezTo>
                  <a:cubicBezTo>
                    <a:pt x="257" y="546"/>
                    <a:pt x="257" y="546"/>
                    <a:pt x="257" y="546"/>
                  </a:cubicBezTo>
                  <a:cubicBezTo>
                    <a:pt x="257" y="542"/>
                    <a:pt x="257" y="537"/>
                    <a:pt x="257" y="528"/>
                  </a:cubicBezTo>
                  <a:cubicBezTo>
                    <a:pt x="256" y="517"/>
                    <a:pt x="256" y="500"/>
                    <a:pt x="256" y="481"/>
                  </a:cubicBezTo>
                  <a:cubicBezTo>
                    <a:pt x="255" y="441"/>
                    <a:pt x="253" y="389"/>
                    <a:pt x="252" y="337"/>
                  </a:cubicBezTo>
                  <a:cubicBezTo>
                    <a:pt x="249" y="232"/>
                    <a:pt x="247" y="127"/>
                    <a:pt x="247" y="127"/>
                  </a:cubicBezTo>
                  <a:cubicBezTo>
                    <a:pt x="247" y="124"/>
                    <a:pt x="249" y="121"/>
                    <a:pt x="252" y="120"/>
                  </a:cubicBezTo>
                  <a:cubicBezTo>
                    <a:pt x="255" y="120"/>
                    <a:pt x="259" y="121"/>
                    <a:pt x="260" y="124"/>
                  </a:cubicBezTo>
                  <a:cubicBezTo>
                    <a:pt x="325" y="266"/>
                    <a:pt x="325" y="266"/>
                    <a:pt x="325" y="266"/>
                  </a:cubicBezTo>
                  <a:cubicBezTo>
                    <a:pt x="326" y="270"/>
                    <a:pt x="330" y="273"/>
                    <a:pt x="335" y="273"/>
                  </a:cubicBezTo>
                  <a:cubicBezTo>
                    <a:pt x="337" y="273"/>
                    <a:pt x="339" y="272"/>
                    <a:pt x="340" y="272"/>
                  </a:cubicBezTo>
                  <a:cubicBezTo>
                    <a:pt x="347" y="270"/>
                    <a:pt x="351" y="263"/>
                    <a:pt x="350" y="258"/>
                  </a:cubicBezTo>
                  <a:cubicBezTo>
                    <a:pt x="350" y="258"/>
                    <a:pt x="350" y="258"/>
                    <a:pt x="350" y="258"/>
                  </a:cubicBezTo>
                  <a:cubicBezTo>
                    <a:pt x="349" y="256"/>
                    <a:pt x="348" y="254"/>
                    <a:pt x="347" y="251"/>
                  </a:cubicBezTo>
                  <a:cubicBezTo>
                    <a:pt x="346" y="247"/>
                    <a:pt x="344" y="240"/>
                    <a:pt x="341" y="232"/>
                  </a:cubicBezTo>
                  <a:cubicBezTo>
                    <a:pt x="325" y="183"/>
                    <a:pt x="288" y="69"/>
                    <a:pt x="279" y="50"/>
                  </a:cubicBezTo>
                  <a:cubicBezTo>
                    <a:pt x="270" y="32"/>
                    <a:pt x="252" y="14"/>
                    <a:pt x="183" y="14"/>
                  </a:cubicBezTo>
                  <a:cubicBezTo>
                    <a:pt x="115" y="14"/>
                    <a:pt x="96" y="32"/>
                    <a:pt x="88" y="50"/>
                  </a:cubicBezTo>
                  <a:cubicBezTo>
                    <a:pt x="79" y="69"/>
                    <a:pt x="42" y="183"/>
                    <a:pt x="26" y="232"/>
                  </a:cubicBezTo>
                  <a:cubicBezTo>
                    <a:pt x="23" y="240"/>
                    <a:pt x="21" y="247"/>
                    <a:pt x="19" y="251"/>
                  </a:cubicBezTo>
                  <a:cubicBezTo>
                    <a:pt x="19" y="254"/>
                    <a:pt x="18" y="256"/>
                    <a:pt x="17" y="258"/>
                  </a:cubicBezTo>
                  <a:cubicBezTo>
                    <a:pt x="17" y="258"/>
                    <a:pt x="17" y="258"/>
                    <a:pt x="17" y="258"/>
                  </a:cubicBezTo>
                  <a:cubicBezTo>
                    <a:pt x="16" y="263"/>
                    <a:pt x="20" y="270"/>
                    <a:pt x="26" y="272"/>
                  </a:cubicBezTo>
                  <a:cubicBezTo>
                    <a:pt x="28" y="272"/>
                    <a:pt x="30" y="273"/>
                    <a:pt x="31" y="273"/>
                  </a:cubicBezTo>
                  <a:cubicBezTo>
                    <a:pt x="36" y="273"/>
                    <a:pt x="41" y="270"/>
                    <a:pt x="42" y="266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08" y="121"/>
                    <a:pt x="111" y="120"/>
                    <a:pt x="115" y="120"/>
                  </a:cubicBezTo>
                  <a:cubicBezTo>
                    <a:pt x="118" y="121"/>
                    <a:pt x="120" y="124"/>
                    <a:pt x="120" y="127"/>
                  </a:cubicBezTo>
                  <a:cubicBezTo>
                    <a:pt x="120" y="127"/>
                    <a:pt x="117" y="232"/>
                    <a:pt x="115" y="337"/>
                  </a:cubicBezTo>
                  <a:cubicBezTo>
                    <a:pt x="114" y="389"/>
                    <a:pt x="112" y="442"/>
                    <a:pt x="111" y="481"/>
                  </a:cubicBezTo>
                  <a:cubicBezTo>
                    <a:pt x="111" y="500"/>
                    <a:pt x="110" y="517"/>
                    <a:pt x="110" y="528"/>
                  </a:cubicBezTo>
                  <a:cubicBezTo>
                    <a:pt x="110" y="534"/>
                    <a:pt x="110" y="539"/>
                    <a:pt x="110" y="542"/>
                  </a:cubicBezTo>
                  <a:cubicBezTo>
                    <a:pt x="109" y="543"/>
                    <a:pt x="109" y="544"/>
                    <a:pt x="109" y="546"/>
                  </a:cubicBezTo>
                  <a:cubicBezTo>
                    <a:pt x="110" y="554"/>
                    <a:pt x="118" y="561"/>
                    <a:pt x="128" y="561"/>
                  </a:cubicBezTo>
                  <a:cubicBezTo>
                    <a:pt x="138" y="561"/>
                    <a:pt x="147" y="554"/>
                    <a:pt x="147" y="546"/>
                  </a:cubicBezTo>
                  <a:cubicBezTo>
                    <a:pt x="176" y="299"/>
                    <a:pt x="176" y="299"/>
                    <a:pt x="176" y="299"/>
                  </a:cubicBezTo>
                  <a:cubicBezTo>
                    <a:pt x="177" y="296"/>
                    <a:pt x="180" y="293"/>
                    <a:pt x="183" y="29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39" name="Group 4"/>
          <p:cNvGrpSpPr>
            <a:grpSpLocks noChangeAspect="1"/>
          </p:cNvGrpSpPr>
          <p:nvPr/>
        </p:nvGrpSpPr>
        <p:grpSpPr bwMode="auto">
          <a:xfrm>
            <a:off x="6850692" y="3124547"/>
            <a:ext cx="663766" cy="1317625"/>
            <a:chOff x="1506" y="3505"/>
            <a:chExt cx="871" cy="1729"/>
          </a:xfrm>
          <a:solidFill>
            <a:schemeClr val="bg2"/>
          </a:solidFill>
        </p:grpSpPr>
        <p:sp>
          <p:nvSpPr>
            <p:cNvPr id="40" name="Freeform 5"/>
            <p:cNvSpPr>
              <a:spLocks noEditPoints="1"/>
            </p:cNvSpPr>
            <p:nvPr/>
          </p:nvSpPr>
          <p:spPr bwMode="auto">
            <a:xfrm>
              <a:off x="1777" y="3505"/>
              <a:ext cx="329" cy="325"/>
            </a:xfrm>
            <a:custGeom>
              <a:avLst/>
              <a:gdLst>
                <a:gd name="T0" fmla="*/ 69 w 138"/>
                <a:gd name="T1" fmla="*/ 137 h 137"/>
                <a:gd name="T2" fmla="*/ 0 w 138"/>
                <a:gd name="T3" fmla="*/ 68 h 137"/>
                <a:gd name="T4" fmla="*/ 69 w 138"/>
                <a:gd name="T5" fmla="*/ 0 h 137"/>
                <a:gd name="T6" fmla="*/ 138 w 138"/>
                <a:gd name="T7" fmla="*/ 68 h 137"/>
                <a:gd name="T8" fmla="*/ 69 w 138"/>
                <a:gd name="T9" fmla="*/ 137 h 137"/>
                <a:gd name="T10" fmla="*/ 69 w 138"/>
                <a:gd name="T11" fmla="*/ 14 h 137"/>
                <a:gd name="T12" fmla="*/ 14 w 138"/>
                <a:gd name="T13" fmla="*/ 68 h 137"/>
                <a:gd name="T14" fmla="*/ 69 w 138"/>
                <a:gd name="T15" fmla="*/ 123 h 137"/>
                <a:gd name="T16" fmla="*/ 124 w 138"/>
                <a:gd name="T17" fmla="*/ 68 h 137"/>
                <a:gd name="T18" fmla="*/ 69 w 138"/>
                <a:gd name="T19" fmla="*/ 1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37">
                  <a:moveTo>
                    <a:pt x="69" y="137"/>
                  </a:moveTo>
                  <a:cubicBezTo>
                    <a:pt x="31" y="137"/>
                    <a:pt x="0" y="106"/>
                    <a:pt x="0" y="68"/>
                  </a:cubicBezTo>
                  <a:cubicBezTo>
                    <a:pt x="0" y="30"/>
                    <a:pt x="31" y="0"/>
                    <a:pt x="69" y="0"/>
                  </a:cubicBezTo>
                  <a:cubicBezTo>
                    <a:pt x="107" y="0"/>
                    <a:pt x="138" y="30"/>
                    <a:pt x="138" y="68"/>
                  </a:cubicBezTo>
                  <a:cubicBezTo>
                    <a:pt x="138" y="106"/>
                    <a:pt x="107" y="137"/>
                    <a:pt x="69" y="137"/>
                  </a:cubicBezTo>
                  <a:close/>
                  <a:moveTo>
                    <a:pt x="69" y="14"/>
                  </a:moveTo>
                  <a:cubicBezTo>
                    <a:pt x="39" y="14"/>
                    <a:pt x="14" y="38"/>
                    <a:pt x="14" y="68"/>
                  </a:cubicBezTo>
                  <a:cubicBezTo>
                    <a:pt x="14" y="99"/>
                    <a:pt x="39" y="123"/>
                    <a:pt x="69" y="123"/>
                  </a:cubicBezTo>
                  <a:cubicBezTo>
                    <a:pt x="100" y="123"/>
                    <a:pt x="124" y="99"/>
                    <a:pt x="124" y="68"/>
                  </a:cubicBezTo>
                  <a:cubicBezTo>
                    <a:pt x="124" y="38"/>
                    <a:pt x="100" y="14"/>
                    <a:pt x="6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6"/>
            <p:cNvSpPr>
              <a:spLocks noEditPoints="1"/>
            </p:cNvSpPr>
            <p:nvPr/>
          </p:nvSpPr>
          <p:spPr bwMode="auto">
            <a:xfrm>
              <a:off x="1506" y="3870"/>
              <a:ext cx="871" cy="1364"/>
            </a:xfrm>
            <a:custGeom>
              <a:avLst/>
              <a:gdLst>
                <a:gd name="T0" fmla="*/ 205 w 366"/>
                <a:gd name="T1" fmla="*/ 547 h 575"/>
                <a:gd name="T2" fmla="*/ 161 w 366"/>
                <a:gd name="T3" fmla="*/ 547 h 575"/>
                <a:gd name="T4" fmla="*/ 95 w 366"/>
                <a:gd name="T5" fmla="*/ 547 h 575"/>
                <a:gd name="T6" fmla="*/ 105 w 366"/>
                <a:gd name="T7" fmla="*/ 161 h 575"/>
                <a:gd name="T8" fmla="*/ 31 w 366"/>
                <a:gd name="T9" fmla="*/ 287 h 575"/>
                <a:gd name="T10" fmla="*/ 4 w 366"/>
                <a:gd name="T11" fmla="*/ 254 h 575"/>
                <a:gd name="T12" fmla="*/ 12 w 366"/>
                <a:gd name="T13" fmla="*/ 228 h 575"/>
                <a:gd name="T14" fmla="*/ 183 w 366"/>
                <a:gd name="T15" fmla="*/ 0 h 575"/>
                <a:gd name="T16" fmla="*/ 354 w 366"/>
                <a:gd name="T17" fmla="*/ 228 h 575"/>
                <a:gd name="T18" fmla="*/ 363 w 366"/>
                <a:gd name="T19" fmla="*/ 254 h 575"/>
                <a:gd name="T20" fmla="*/ 335 w 366"/>
                <a:gd name="T21" fmla="*/ 287 h 575"/>
                <a:gd name="T22" fmla="*/ 262 w 366"/>
                <a:gd name="T23" fmla="*/ 161 h 575"/>
                <a:gd name="T24" fmla="*/ 271 w 366"/>
                <a:gd name="T25" fmla="*/ 547 h 575"/>
                <a:gd name="T26" fmla="*/ 238 w 366"/>
                <a:gd name="T27" fmla="*/ 575 h 575"/>
                <a:gd name="T28" fmla="*/ 190 w 366"/>
                <a:gd name="T29" fmla="*/ 299 h 575"/>
                <a:gd name="T30" fmla="*/ 238 w 366"/>
                <a:gd name="T31" fmla="*/ 561 h 575"/>
                <a:gd name="T32" fmla="*/ 238 w 366"/>
                <a:gd name="T33" fmla="*/ 561 h 575"/>
                <a:gd name="T34" fmla="*/ 257 w 366"/>
                <a:gd name="T35" fmla="*/ 546 h 575"/>
                <a:gd name="T36" fmla="*/ 256 w 366"/>
                <a:gd name="T37" fmla="*/ 481 h 575"/>
                <a:gd name="T38" fmla="*/ 247 w 366"/>
                <a:gd name="T39" fmla="*/ 127 h 575"/>
                <a:gd name="T40" fmla="*/ 260 w 366"/>
                <a:gd name="T41" fmla="*/ 124 h 575"/>
                <a:gd name="T42" fmla="*/ 335 w 366"/>
                <a:gd name="T43" fmla="*/ 273 h 575"/>
                <a:gd name="T44" fmla="*/ 350 w 366"/>
                <a:gd name="T45" fmla="*/ 258 h 575"/>
                <a:gd name="T46" fmla="*/ 347 w 366"/>
                <a:gd name="T47" fmla="*/ 251 h 575"/>
                <a:gd name="T48" fmla="*/ 279 w 366"/>
                <a:gd name="T49" fmla="*/ 50 h 575"/>
                <a:gd name="T50" fmla="*/ 88 w 366"/>
                <a:gd name="T51" fmla="*/ 50 h 575"/>
                <a:gd name="T52" fmla="*/ 19 w 366"/>
                <a:gd name="T53" fmla="*/ 251 h 575"/>
                <a:gd name="T54" fmla="*/ 17 w 366"/>
                <a:gd name="T55" fmla="*/ 258 h 575"/>
                <a:gd name="T56" fmla="*/ 31 w 366"/>
                <a:gd name="T57" fmla="*/ 273 h 575"/>
                <a:gd name="T58" fmla="*/ 107 w 366"/>
                <a:gd name="T59" fmla="*/ 124 h 575"/>
                <a:gd name="T60" fmla="*/ 120 w 366"/>
                <a:gd name="T61" fmla="*/ 127 h 575"/>
                <a:gd name="T62" fmla="*/ 111 w 366"/>
                <a:gd name="T63" fmla="*/ 481 h 575"/>
                <a:gd name="T64" fmla="*/ 110 w 366"/>
                <a:gd name="T65" fmla="*/ 542 h 575"/>
                <a:gd name="T66" fmla="*/ 128 w 366"/>
                <a:gd name="T67" fmla="*/ 561 h 575"/>
                <a:gd name="T68" fmla="*/ 176 w 366"/>
                <a:gd name="T69" fmla="*/ 299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6" h="575">
                  <a:moveTo>
                    <a:pt x="238" y="575"/>
                  </a:moveTo>
                  <a:cubicBezTo>
                    <a:pt x="221" y="575"/>
                    <a:pt x="207" y="562"/>
                    <a:pt x="205" y="547"/>
                  </a:cubicBezTo>
                  <a:cubicBezTo>
                    <a:pt x="183" y="360"/>
                    <a:pt x="183" y="360"/>
                    <a:pt x="183" y="360"/>
                  </a:cubicBezTo>
                  <a:cubicBezTo>
                    <a:pt x="161" y="547"/>
                    <a:pt x="161" y="547"/>
                    <a:pt x="161" y="547"/>
                  </a:cubicBezTo>
                  <a:cubicBezTo>
                    <a:pt x="160" y="562"/>
                    <a:pt x="146" y="575"/>
                    <a:pt x="128" y="575"/>
                  </a:cubicBezTo>
                  <a:cubicBezTo>
                    <a:pt x="111" y="575"/>
                    <a:pt x="97" y="562"/>
                    <a:pt x="95" y="547"/>
                  </a:cubicBezTo>
                  <a:cubicBezTo>
                    <a:pt x="95" y="546"/>
                    <a:pt x="95" y="546"/>
                    <a:pt x="95" y="545"/>
                  </a:cubicBezTo>
                  <a:cubicBezTo>
                    <a:pt x="96" y="536"/>
                    <a:pt x="102" y="307"/>
                    <a:pt x="105" y="161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1" y="281"/>
                    <a:pt x="42" y="287"/>
                    <a:pt x="31" y="287"/>
                  </a:cubicBezTo>
                  <a:cubicBezTo>
                    <a:pt x="28" y="287"/>
                    <a:pt x="25" y="286"/>
                    <a:pt x="22" y="285"/>
                  </a:cubicBezTo>
                  <a:cubicBezTo>
                    <a:pt x="8" y="280"/>
                    <a:pt x="0" y="267"/>
                    <a:pt x="4" y="254"/>
                  </a:cubicBezTo>
                  <a:cubicBezTo>
                    <a:pt x="4" y="254"/>
                    <a:pt x="4" y="254"/>
                    <a:pt x="4" y="253"/>
                  </a:cubicBezTo>
                  <a:cubicBezTo>
                    <a:pt x="5" y="252"/>
                    <a:pt x="8" y="241"/>
                    <a:pt x="12" y="228"/>
                  </a:cubicBezTo>
                  <a:cubicBezTo>
                    <a:pt x="30" y="174"/>
                    <a:pt x="66" y="63"/>
                    <a:pt x="75" y="44"/>
                  </a:cubicBezTo>
                  <a:cubicBezTo>
                    <a:pt x="90" y="13"/>
                    <a:pt x="122" y="0"/>
                    <a:pt x="183" y="0"/>
                  </a:cubicBezTo>
                  <a:cubicBezTo>
                    <a:pt x="244" y="0"/>
                    <a:pt x="277" y="13"/>
                    <a:pt x="292" y="44"/>
                  </a:cubicBezTo>
                  <a:cubicBezTo>
                    <a:pt x="301" y="63"/>
                    <a:pt x="337" y="175"/>
                    <a:pt x="354" y="228"/>
                  </a:cubicBezTo>
                  <a:cubicBezTo>
                    <a:pt x="359" y="241"/>
                    <a:pt x="362" y="252"/>
                    <a:pt x="363" y="253"/>
                  </a:cubicBezTo>
                  <a:cubicBezTo>
                    <a:pt x="363" y="254"/>
                    <a:pt x="363" y="254"/>
                    <a:pt x="363" y="254"/>
                  </a:cubicBezTo>
                  <a:cubicBezTo>
                    <a:pt x="366" y="267"/>
                    <a:pt x="358" y="280"/>
                    <a:pt x="345" y="285"/>
                  </a:cubicBezTo>
                  <a:cubicBezTo>
                    <a:pt x="342" y="286"/>
                    <a:pt x="339" y="287"/>
                    <a:pt x="335" y="287"/>
                  </a:cubicBezTo>
                  <a:cubicBezTo>
                    <a:pt x="325" y="287"/>
                    <a:pt x="316" y="281"/>
                    <a:pt x="312" y="272"/>
                  </a:cubicBezTo>
                  <a:cubicBezTo>
                    <a:pt x="262" y="161"/>
                    <a:pt x="262" y="161"/>
                    <a:pt x="262" y="161"/>
                  </a:cubicBezTo>
                  <a:cubicBezTo>
                    <a:pt x="265" y="307"/>
                    <a:pt x="271" y="536"/>
                    <a:pt x="271" y="545"/>
                  </a:cubicBezTo>
                  <a:cubicBezTo>
                    <a:pt x="271" y="546"/>
                    <a:pt x="271" y="546"/>
                    <a:pt x="271" y="547"/>
                  </a:cubicBezTo>
                  <a:cubicBezTo>
                    <a:pt x="270" y="562"/>
                    <a:pt x="256" y="575"/>
                    <a:pt x="238" y="575"/>
                  </a:cubicBezTo>
                  <a:cubicBezTo>
                    <a:pt x="238" y="575"/>
                    <a:pt x="238" y="575"/>
                    <a:pt x="238" y="575"/>
                  </a:cubicBezTo>
                  <a:close/>
                  <a:moveTo>
                    <a:pt x="183" y="293"/>
                  </a:moveTo>
                  <a:cubicBezTo>
                    <a:pt x="187" y="293"/>
                    <a:pt x="190" y="296"/>
                    <a:pt x="190" y="299"/>
                  </a:cubicBezTo>
                  <a:cubicBezTo>
                    <a:pt x="219" y="545"/>
                    <a:pt x="219" y="545"/>
                    <a:pt x="219" y="545"/>
                  </a:cubicBezTo>
                  <a:cubicBezTo>
                    <a:pt x="220" y="554"/>
                    <a:pt x="228" y="561"/>
                    <a:pt x="238" y="561"/>
                  </a:cubicBezTo>
                  <a:cubicBezTo>
                    <a:pt x="238" y="568"/>
                    <a:pt x="238" y="568"/>
                    <a:pt x="238" y="568"/>
                  </a:cubicBezTo>
                  <a:cubicBezTo>
                    <a:pt x="238" y="561"/>
                    <a:pt x="238" y="561"/>
                    <a:pt x="238" y="561"/>
                  </a:cubicBezTo>
                  <a:cubicBezTo>
                    <a:pt x="248" y="561"/>
                    <a:pt x="257" y="554"/>
                    <a:pt x="257" y="546"/>
                  </a:cubicBezTo>
                  <a:cubicBezTo>
                    <a:pt x="257" y="546"/>
                    <a:pt x="257" y="546"/>
                    <a:pt x="257" y="546"/>
                  </a:cubicBezTo>
                  <a:cubicBezTo>
                    <a:pt x="257" y="542"/>
                    <a:pt x="257" y="537"/>
                    <a:pt x="257" y="528"/>
                  </a:cubicBezTo>
                  <a:cubicBezTo>
                    <a:pt x="256" y="517"/>
                    <a:pt x="256" y="500"/>
                    <a:pt x="256" y="481"/>
                  </a:cubicBezTo>
                  <a:cubicBezTo>
                    <a:pt x="255" y="441"/>
                    <a:pt x="253" y="389"/>
                    <a:pt x="252" y="337"/>
                  </a:cubicBezTo>
                  <a:cubicBezTo>
                    <a:pt x="249" y="232"/>
                    <a:pt x="247" y="127"/>
                    <a:pt x="247" y="127"/>
                  </a:cubicBezTo>
                  <a:cubicBezTo>
                    <a:pt x="247" y="124"/>
                    <a:pt x="249" y="121"/>
                    <a:pt x="252" y="120"/>
                  </a:cubicBezTo>
                  <a:cubicBezTo>
                    <a:pt x="255" y="120"/>
                    <a:pt x="259" y="121"/>
                    <a:pt x="260" y="124"/>
                  </a:cubicBezTo>
                  <a:cubicBezTo>
                    <a:pt x="325" y="266"/>
                    <a:pt x="325" y="266"/>
                    <a:pt x="325" y="266"/>
                  </a:cubicBezTo>
                  <a:cubicBezTo>
                    <a:pt x="326" y="270"/>
                    <a:pt x="330" y="273"/>
                    <a:pt x="335" y="273"/>
                  </a:cubicBezTo>
                  <a:cubicBezTo>
                    <a:pt x="337" y="273"/>
                    <a:pt x="339" y="272"/>
                    <a:pt x="340" y="272"/>
                  </a:cubicBezTo>
                  <a:cubicBezTo>
                    <a:pt x="347" y="270"/>
                    <a:pt x="351" y="263"/>
                    <a:pt x="350" y="258"/>
                  </a:cubicBezTo>
                  <a:cubicBezTo>
                    <a:pt x="350" y="258"/>
                    <a:pt x="350" y="258"/>
                    <a:pt x="350" y="258"/>
                  </a:cubicBezTo>
                  <a:cubicBezTo>
                    <a:pt x="349" y="256"/>
                    <a:pt x="348" y="254"/>
                    <a:pt x="347" y="251"/>
                  </a:cubicBezTo>
                  <a:cubicBezTo>
                    <a:pt x="346" y="247"/>
                    <a:pt x="344" y="240"/>
                    <a:pt x="341" y="232"/>
                  </a:cubicBezTo>
                  <a:cubicBezTo>
                    <a:pt x="325" y="183"/>
                    <a:pt x="288" y="69"/>
                    <a:pt x="279" y="50"/>
                  </a:cubicBezTo>
                  <a:cubicBezTo>
                    <a:pt x="270" y="32"/>
                    <a:pt x="252" y="14"/>
                    <a:pt x="183" y="14"/>
                  </a:cubicBezTo>
                  <a:cubicBezTo>
                    <a:pt x="115" y="14"/>
                    <a:pt x="96" y="32"/>
                    <a:pt x="88" y="50"/>
                  </a:cubicBezTo>
                  <a:cubicBezTo>
                    <a:pt x="79" y="69"/>
                    <a:pt x="42" y="183"/>
                    <a:pt x="26" y="232"/>
                  </a:cubicBezTo>
                  <a:cubicBezTo>
                    <a:pt x="23" y="240"/>
                    <a:pt x="21" y="247"/>
                    <a:pt x="19" y="251"/>
                  </a:cubicBezTo>
                  <a:cubicBezTo>
                    <a:pt x="19" y="254"/>
                    <a:pt x="18" y="256"/>
                    <a:pt x="17" y="258"/>
                  </a:cubicBezTo>
                  <a:cubicBezTo>
                    <a:pt x="17" y="258"/>
                    <a:pt x="17" y="258"/>
                    <a:pt x="17" y="258"/>
                  </a:cubicBezTo>
                  <a:cubicBezTo>
                    <a:pt x="16" y="263"/>
                    <a:pt x="20" y="270"/>
                    <a:pt x="26" y="272"/>
                  </a:cubicBezTo>
                  <a:cubicBezTo>
                    <a:pt x="28" y="272"/>
                    <a:pt x="30" y="273"/>
                    <a:pt x="31" y="273"/>
                  </a:cubicBezTo>
                  <a:cubicBezTo>
                    <a:pt x="36" y="273"/>
                    <a:pt x="41" y="270"/>
                    <a:pt x="42" y="266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08" y="121"/>
                    <a:pt x="111" y="120"/>
                    <a:pt x="115" y="120"/>
                  </a:cubicBezTo>
                  <a:cubicBezTo>
                    <a:pt x="118" y="121"/>
                    <a:pt x="120" y="124"/>
                    <a:pt x="120" y="127"/>
                  </a:cubicBezTo>
                  <a:cubicBezTo>
                    <a:pt x="120" y="127"/>
                    <a:pt x="117" y="232"/>
                    <a:pt x="115" y="337"/>
                  </a:cubicBezTo>
                  <a:cubicBezTo>
                    <a:pt x="114" y="389"/>
                    <a:pt x="112" y="442"/>
                    <a:pt x="111" y="481"/>
                  </a:cubicBezTo>
                  <a:cubicBezTo>
                    <a:pt x="111" y="500"/>
                    <a:pt x="110" y="517"/>
                    <a:pt x="110" y="528"/>
                  </a:cubicBezTo>
                  <a:cubicBezTo>
                    <a:pt x="110" y="534"/>
                    <a:pt x="110" y="539"/>
                    <a:pt x="110" y="542"/>
                  </a:cubicBezTo>
                  <a:cubicBezTo>
                    <a:pt x="109" y="543"/>
                    <a:pt x="109" y="544"/>
                    <a:pt x="109" y="546"/>
                  </a:cubicBezTo>
                  <a:cubicBezTo>
                    <a:pt x="110" y="554"/>
                    <a:pt x="118" y="561"/>
                    <a:pt x="128" y="561"/>
                  </a:cubicBezTo>
                  <a:cubicBezTo>
                    <a:pt x="138" y="561"/>
                    <a:pt x="147" y="554"/>
                    <a:pt x="147" y="546"/>
                  </a:cubicBezTo>
                  <a:cubicBezTo>
                    <a:pt x="176" y="299"/>
                    <a:pt x="176" y="299"/>
                    <a:pt x="176" y="299"/>
                  </a:cubicBezTo>
                  <a:cubicBezTo>
                    <a:pt x="177" y="296"/>
                    <a:pt x="180" y="293"/>
                    <a:pt x="183" y="2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42" name="Group 4"/>
          <p:cNvGrpSpPr>
            <a:grpSpLocks noChangeAspect="1"/>
          </p:cNvGrpSpPr>
          <p:nvPr/>
        </p:nvGrpSpPr>
        <p:grpSpPr bwMode="auto">
          <a:xfrm>
            <a:off x="6360244" y="3124547"/>
            <a:ext cx="663766" cy="1317625"/>
            <a:chOff x="1506" y="3505"/>
            <a:chExt cx="871" cy="1729"/>
          </a:xfrm>
          <a:solidFill>
            <a:schemeClr val="tx2"/>
          </a:solidFill>
        </p:grpSpPr>
        <p:sp>
          <p:nvSpPr>
            <p:cNvPr id="43" name="Freeform 5"/>
            <p:cNvSpPr>
              <a:spLocks noEditPoints="1"/>
            </p:cNvSpPr>
            <p:nvPr/>
          </p:nvSpPr>
          <p:spPr bwMode="auto">
            <a:xfrm>
              <a:off x="1777" y="3505"/>
              <a:ext cx="329" cy="325"/>
            </a:xfrm>
            <a:custGeom>
              <a:avLst/>
              <a:gdLst>
                <a:gd name="T0" fmla="*/ 69 w 138"/>
                <a:gd name="T1" fmla="*/ 137 h 137"/>
                <a:gd name="T2" fmla="*/ 0 w 138"/>
                <a:gd name="T3" fmla="*/ 68 h 137"/>
                <a:gd name="T4" fmla="*/ 69 w 138"/>
                <a:gd name="T5" fmla="*/ 0 h 137"/>
                <a:gd name="T6" fmla="*/ 138 w 138"/>
                <a:gd name="T7" fmla="*/ 68 h 137"/>
                <a:gd name="T8" fmla="*/ 69 w 138"/>
                <a:gd name="T9" fmla="*/ 137 h 137"/>
                <a:gd name="T10" fmla="*/ 69 w 138"/>
                <a:gd name="T11" fmla="*/ 14 h 137"/>
                <a:gd name="T12" fmla="*/ 14 w 138"/>
                <a:gd name="T13" fmla="*/ 68 h 137"/>
                <a:gd name="T14" fmla="*/ 69 w 138"/>
                <a:gd name="T15" fmla="*/ 123 h 137"/>
                <a:gd name="T16" fmla="*/ 124 w 138"/>
                <a:gd name="T17" fmla="*/ 68 h 137"/>
                <a:gd name="T18" fmla="*/ 69 w 138"/>
                <a:gd name="T19" fmla="*/ 1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37">
                  <a:moveTo>
                    <a:pt x="69" y="137"/>
                  </a:moveTo>
                  <a:cubicBezTo>
                    <a:pt x="31" y="137"/>
                    <a:pt x="0" y="106"/>
                    <a:pt x="0" y="68"/>
                  </a:cubicBezTo>
                  <a:cubicBezTo>
                    <a:pt x="0" y="30"/>
                    <a:pt x="31" y="0"/>
                    <a:pt x="69" y="0"/>
                  </a:cubicBezTo>
                  <a:cubicBezTo>
                    <a:pt x="107" y="0"/>
                    <a:pt x="138" y="30"/>
                    <a:pt x="138" y="68"/>
                  </a:cubicBezTo>
                  <a:cubicBezTo>
                    <a:pt x="138" y="106"/>
                    <a:pt x="107" y="137"/>
                    <a:pt x="69" y="137"/>
                  </a:cubicBezTo>
                  <a:close/>
                  <a:moveTo>
                    <a:pt x="69" y="14"/>
                  </a:moveTo>
                  <a:cubicBezTo>
                    <a:pt x="39" y="14"/>
                    <a:pt x="14" y="38"/>
                    <a:pt x="14" y="68"/>
                  </a:cubicBezTo>
                  <a:cubicBezTo>
                    <a:pt x="14" y="99"/>
                    <a:pt x="39" y="123"/>
                    <a:pt x="69" y="123"/>
                  </a:cubicBezTo>
                  <a:cubicBezTo>
                    <a:pt x="100" y="123"/>
                    <a:pt x="124" y="99"/>
                    <a:pt x="124" y="68"/>
                  </a:cubicBezTo>
                  <a:cubicBezTo>
                    <a:pt x="124" y="38"/>
                    <a:pt x="100" y="14"/>
                    <a:pt x="69" y="1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6"/>
            <p:cNvSpPr>
              <a:spLocks noEditPoints="1"/>
            </p:cNvSpPr>
            <p:nvPr/>
          </p:nvSpPr>
          <p:spPr bwMode="auto">
            <a:xfrm>
              <a:off x="1506" y="3870"/>
              <a:ext cx="871" cy="1364"/>
            </a:xfrm>
            <a:custGeom>
              <a:avLst/>
              <a:gdLst>
                <a:gd name="T0" fmla="*/ 205 w 366"/>
                <a:gd name="T1" fmla="*/ 547 h 575"/>
                <a:gd name="T2" fmla="*/ 161 w 366"/>
                <a:gd name="T3" fmla="*/ 547 h 575"/>
                <a:gd name="T4" fmla="*/ 95 w 366"/>
                <a:gd name="T5" fmla="*/ 547 h 575"/>
                <a:gd name="T6" fmla="*/ 105 w 366"/>
                <a:gd name="T7" fmla="*/ 161 h 575"/>
                <a:gd name="T8" fmla="*/ 31 w 366"/>
                <a:gd name="T9" fmla="*/ 287 h 575"/>
                <a:gd name="T10" fmla="*/ 4 w 366"/>
                <a:gd name="T11" fmla="*/ 254 h 575"/>
                <a:gd name="T12" fmla="*/ 12 w 366"/>
                <a:gd name="T13" fmla="*/ 228 h 575"/>
                <a:gd name="T14" fmla="*/ 183 w 366"/>
                <a:gd name="T15" fmla="*/ 0 h 575"/>
                <a:gd name="T16" fmla="*/ 354 w 366"/>
                <a:gd name="T17" fmla="*/ 228 h 575"/>
                <a:gd name="T18" fmla="*/ 363 w 366"/>
                <a:gd name="T19" fmla="*/ 254 h 575"/>
                <a:gd name="T20" fmla="*/ 335 w 366"/>
                <a:gd name="T21" fmla="*/ 287 h 575"/>
                <a:gd name="T22" fmla="*/ 262 w 366"/>
                <a:gd name="T23" fmla="*/ 161 h 575"/>
                <a:gd name="T24" fmla="*/ 271 w 366"/>
                <a:gd name="T25" fmla="*/ 547 h 575"/>
                <a:gd name="T26" fmla="*/ 238 w 366"/>
                <a:gd name="T27" fmla="*/ 575 h 575"/>
                <a:gd name="T28" fmla="*/ 190 w 366"/>
                <a:gd name="T29" fmla="*/ 299 h 575"/>
                <a:gd name="T30" fmla="*/ 238 w 366"/>
                <a:gd name="T31" fmla="*/ 561 h 575"/>
                <a:gd name="T32" fmla="*/ 238 w 366"/>
                <a:gd name="T33" fmla="*/ 561 h 575"/>
                <a:gd name="T34" fmla="*/ 257 w 366"/>
                <a:gd name="T35" fmla="*/ 546 h 575"/>
                <a:gd name="T36" fmla="*/ 256 w 366"/>
                <a:gd name="T37" fmla="*/ 481 h 575"/>
                <a:gd name="T38" fmla="*/ 247 w 366"/>
                <a:gd name="T39" fmla="*/ 127 h 575"/>
                <a:gd name="T40" fmla="*/ 260 w 366"/>
                <a:gd name="T41" fmla="*/ 124 h 575"/>
                <a:gd name="T42" fmla="*/ 335 w 366"/>
                <a:gd name="T43" fmla="*/ 273 h 575"/>
                <a:gd name="T44" fmla="*/ 350 w 366"/>
                <a:gd name="T45" fmla="*/ 258 h 575"/>
                <a:gd name="T46" fmla="*/ 347 w 366"/>
                <a:gd name="T47" fmla="*/ 251 h 575"/>
                <a:gd name="T48" fmla="*/ 279 w 366"/>
                <a:gd name="T49" fmla="*/ 50 h 575"/>
                <a:gd name="T50" fmla="*/ 88 w 366"/>
                <a:gd name="T51" fmla="*/ 50 h 575"/>
                <a:gd name="T52" fmla="*/ 19 w 366"/>
                <a:gd name="T53" fmla="*/ 251 h 575"/>
                <a:gd name="T54" fmla="*/ 17 w 366"/>
                <a:gd name="T55" fmla="*/ 258 h 575"/>
                <a:gd name="T56" fmla="*/ 31 w 366"/>
                <a:gd name="T57" fmla="*/ 273 h 575"/>
                <a:gd name="T58" fmla="*/ 107 w 366"/>
                <a:gd name="T59" fmla="*/ 124 h 575"/>
                <a:gd name="T60" fmla="*/ 120 w 366"/>
                <a:gd name="T61" fmla="*/ 127 h 575"/>
                <a:gd name="T62" fmla="*/ 111 w 366"/>
                <a:gd name="T63" fmla="*/ 481 h 575"/>
                <a:gd name="T64" fmla="*/ 110 w 366"/>
                <a:gd name="T65" fmla="*/ 542 h 575"/>
                <a:gd name="T66" fmla="*/ 128 w 366"/>
                <a:gd name="T67" fmla="*/ 561 h 575"/>
                <a:gd name="T68" fmla="*/ 176 w 366"/>
                <a:gd name="T69" fmla="*/ 299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6" h="575">
                  <a:moveTo>
                    <a:pt x="238" y="575"/>
                  </a:moveTo>
                  <a:cubicBezTo>
                    <a:pt x="221" y="575"/>
                    <a:pt x="207" y="562"/>
                    <a:pt x="205" y="547"/>
                  </a:cubicBezTo>
                  <a:cubicBezTo>
                    <a:pt x="183" y="360"/>
                    <a:pt x="183" y="360"/>
                    <a:pt x="183" y="360"/>
                  </a:cubicBezTo>
                  <a:cubicBezTo>
                    <a:pt x="161" y="547"/>
                    <a:pt x="161" y="547"/>
                    <a:pt x="161" y="547"/>
                  </a:cubicBezTo>
                  <a:cubicBezTo>
                    <a:pt x="160" y="562"/>
                    <a:pt x="146" y="575"/>
                    <a:pt x="128" y="575"/>
                  </a:cubicBezTo>
                  <a:cubicBezTo>
                    <a:pt x="111" y="575"/>
                    <a:pt x="97" y="562"/>
                    <a:pt x="95" y="547"/>
                  </a:cubicBezTo>
                  <a:cubicBezTo>
                    <a:pt x="95" y="546"/>
                    <a:pt x="95" y="546"/>
                    <a:pt x="95" y="545"/>
                  </a:cubicBezTo>
                  <a:cubicBezTo>
                    <a:pt x="96" y="536"/>
                    <a:pt x="102" y="307"/>
                    <a:pt x="105" y="161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1" y="281"/>
                    <a:pt x="42" y="287"/>
                    <a:pt x="31" y="287"/>
                  </a:cubicBezTo>
                  <a:cubicBezTo>
                    <a:pt x="28" y="287"/>
                    <a:pt x="25" y="286"/>
                    <a:pt x="22" y="285"/>
                  </a:cubicBezTo>
                  <a:cubicBezTo>
                    <a:pt x="8" y="280"/>
                    <a:pt x="0" y="267"/>
                    <a:pt x="4" y="254"/>
                  </a:cubicBezTo>
                  <a:cubicBezTo>
                    <a:pt x="4" y="254"/>
                    <a:pt x="4" y="254"/>
                    <a:pt x="4" y="253"/>
                  </a:cubicBezTo>
                  <a:cubicBezTo>
                    <a:pt x="5" y="252"/>
                    <a:pt x="8" y="241"/>
                    <a:pt x="12" y="228"/>
                  </a:cubicBezTo>
                  <a:cubicBezTo>
                    <a:pt x="30" y="174"/>
                    <a:pt x="66" y="63"/>
                    <a:pt x="75" y="44"/>
                  </a:cubicBezTo>
                  <a:cubicBezTo>
                    <a:pt x="90" y="13"/>
                    <a:pt x="122" y="0"/>
                    <a:pt x="183" y="0"/>
                  </a:cubicBezTo>
                  <a:cubicBezTo>
                    <a:pt x="244" y="0"/>
                    <a:pt x="277" y="13"/>
                    <a:pt x="292" y="44"/>
                  </a:cubicBezTo>
                  <a:cubicBezTo>
                    <a:pt x="301" y="63"/>
                    <a:pt x="337" y="175"/>
                    <a:pt x="354" y="228"/>
                  </a:cubicBezTo>
                  <a:cubicBezTo>
                    <a:pt x="359" y="241"/>
                    <a:pt x="362" y="252"/>
                    <a:pt x="363" y="253"/>
                  </a:cubicBezTo>
                  <a:cubicBezTo>
                    <a:pt x="363" y="254"/>
                    <a:pt x="363" y="254"/>
                    <a:pt x="363" y="254"/>
                  </a:cubicBezTo>
                  <a:cubicBezTo>
                    <a:pt x="366" y="267"/>
                    <a:pt x="358" y="280"/>
                    <a:pt x="345" y="285"/>
                  </a:cubicBezTo>
                  <a:cubicBezTo>
                    <a:pt x="342" y="286"/>
                    <a:pt x="339" y="287"/>
                    <a:pt x="335" y="287"/>
                  </a:cubicBezTo>
                  <a:cubicBezTo>
                    <a:pt x="325" y="287"/>
                    <a:pt x="316" y="281"/>
                    <a:pt x="312" y="272"/>
                  </a:cubicBezTo>
                  <a:cubicBezTo>
                    <a:pt x="262" y="161"/>
                    <a:pt x="262" y="161"/>
                    <a:pt x="262" y="161"/>
                  </a:cubicBezTo>
                  <a:cubicBezTo>
                    <a:pt x="265" y="307"/>
                    <a:pt x="271" y="536"/>
                    <a:pt x="271" y="545"/>
                  </a:cubicBezTo>
                  <a:cubicBezTo>
                    <a:pt x="271" y="546"/>
                    <a:pt x="271" y="546"/>
                    <a:pt x="271" y="547"/>
                  </a:cubicBezTo>
                  <a:cubicBezTo>
                    <a:pt x="270" y="562"/>
                    <a:pt x="256" y="575"/>
                    <a:pt x="238" y="575"/>
                  </a:cubicBezTo>
                  <a:cubicBezTo>
                    <a:pt x="238" y="575"/>
                    <a:pt x="238" y="575"/>
                    <a:pt x="238" y="575"/>
                  </a:cubicBezTo>
                  <a:close/>
                  <a:moveTo>
                    <a:pt x="183" y="293"/>
                  </a:moveTo>
                  <a:cubicBezTo>
                    <a:pt x="187" y="293"/>
                    <a:pt x="190" y="296"/>
                    <a:pt x="190" y="299"/>
                  </a:cubicBezTo>
                  <a:cubicBezTo>
                    <a:pt x="219" y="545"/>
                    <a:pt x="219" y="545"/>
                    <a:pt x="219" y="545"/>
                  </a:cubicBezTo>
                  <a:cubicBezTo>
                    <a:pt x="220" y="554"/>
                    <a:pt x="228" y="561"/>
                    <a:pt x="238" y="561"/>
                  </a:cubicBezTo>
                  <a:cubicBezTo>
                    <a:pt x="238" y="568"/>
                    <a:pt x="238" y="568"/>
                    <a:pt x="238" y="568"/>
                  </a:cubicBezTo>
                  <a:cubicBezTo>
                    <a:pt x="238" y="561"/>
                    <a:pt x="238" y="561"/>
                    <a:pt x="238" y="561"/>
                  </a:cubicBezTo>
                  <a:cubicBezTo>
                    <a:pt x="248" y="561"/>
                    <a:pt x="257" y="554"/>
                    <a:pt x="257" y="546"/>
                  </a:cubicBezTo>
                  <a:cubicBezTo>
                    <a:pt x="257" y="546"/>
                    <a:pt x="257" y="546"/>
                    <a:pt x="257" y="546"/>
                  </a:cubicBezTo>
                  <a:cubicBezTo>
                    <a:pt x="257" y="542"/>
                    <a:pt x="257" y="537"/>
                    <a:pt x="257" y="528"/>
                  </a:cubicBezTo>
                  <a:cubicBezTo>
                    <a:pt x="256" y="517"/>
                    <a:pt x="256" y="500"/>
                    <a:pt x="256" y="481"/>
                  </a:cubicBezTo>
                  <a:cubicBezTo>
                    <a:pt x="255" y="441"/>
                    <a:pt x="253" y="389"/>
                    <a:pt x="252" y="337"/>
                  </a:cubicBezTo>
                  <a:cubicBezTo>
                    <a:pt x="249" y="232"/>
                    <a:pt x="247" y="127"/>
                    <a:pt x="247" y="127"/>
                  </a:cubicBezTo>
                  <a:cubicBezTo>
                    <a:pt x="247" y="124"/>
                    <a:pt x="249" y="121"/>
                    <a:pt x="252" y="120"/>
                  </a:cubicBezTo>
                  <a:cubicBezTo>
                    <a:pt x="255" y="120"/>
                    <a:pt x="259" y="121"/>
                    <a:pt x="260" y="124"/>
                  </a:cubicBezTo>
                  <a:cubicBezTo>
                    <a:pt x="325" y="266"/>
                    <a:pt x="325" y="266"/>
                    <a:pt x="325" y="266"/>
                  </a:cubicBezTo>
                  <a:cubicBezTo>
                    <a:pt x="326" y="270"/>
                    <a:pt x="330" y="273"/>
                    <a:pt x="335" y="273"/>
                  </a:cubicBezTo>
                  <a:cubicBezTo>
                    <a:pt x="337" y="273"/>
                    <a:pt x="339" y="272"/>
                    <a:pt x="340" y="272"/>
                  </a:cubicBezTo>
                  <a:cubicBezTo>
                    <a:pt x="347" y="270"/>
                    <a:pt x="351" y="263"/>
                    <a:pt x="350" y="258"/>
                  </a:cubicBezTo>
                  <a:cubicBezTo>
                    <a:pt x="350" y="258"/>
                    <a:pt x="350" y="258"/>
                    <a:pt x="350" y="258"/>
                  </a:cubicBezTo>
                  <a:cubicBezTo>
                    <a:pt x="349" y="256"/>
                    <a:pt x="348" y="254"/>
                    <a:pt x="347" y="251"/>
                  </a:cubicBezTo>
                  <a:cubicBezTo>
                    <a:pt x="346" y="247"/>
                    <a:pt x="344" y="240"/>
                    <a:pt x="341" y="232"/>
                  </a:cubicBezTo>
                  <a:cubicBezTo>
                    <a:pt x="325" y="183"/>
                    <a:pt x="288" y="69"/>
                    <a:pt x="279" y="50"/>
                  </a:cubicBezTo>
                  <a:cubicBezTo>
                    <a:pt x="270" y="32"/>
                    <a:pt x="252" y="14"/>
                    <a:pt x="183" y="14"/>
                  </a:cubicBezTo>
                  <a:cubicBezTo>
                    <a:pt x="115" y="14"/>
                    <a:pt x="96" y="32"/>
                    <a:pt x="88" y="50"/>
                  </a:cubicBezTo>
                  <a:cubicBezTo>
                    <a:pt x="79" y="69"/>
                    <a:pt x="42" y="183"/>
                    <a:pt x="26" y="232"/>
                  </a:cubicBezTo>
                  <a:cubicBezTo>
                    <a:pt x="23" y="240"/>
                    <a:pt x="21" y="247"/>
                    <a:pt x="19" y="251"/>
                  </a:cubicBezTo>
                  <a:cubicBezTo>
                    <a:pt x="19" y="254"/>
                    <a:pt x="18" y="256"/>
                    <a:pt x="17" y="258"/>
                  </a:cubicBezTo>
                  <a:cubicBezTo>
                    <a:pt x="17" y="258"/>
                    <a:pt x="17" y="258"/>
                    <a:pt x="17" y="258"/>
                  </a:cubicBezTo>
                  <a:cubicBezTo>
                    <a:pt x="16" y="263"/>
                    <a:pt x="20" y="270"/>
                    <a:pt x="26" y="272"/>
                  </a:cubicBezTo>
                  <a:cubicBezTo>
                    <a:pt x="28" y="272"/>
                    <a:pt x="30" y="273"/>
                    <a:pt x="31" y="273"/>
                  </a:cubicBezTo>
                  <a:cubicBezTo>
                    <a:pt x="36" y="273"/>
                    <a:pt x="41" y="270"/>
                    <a:pt x="42" y="266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08" y="121"/>
                    <a:pt x="111" y="120"/>
                    <a:pt x="115" y="120"/>
                  </a:cubicBezTo>
                  <a:cubicBezTo>
                    <a:pt x="118" y="121"/>
                    <a:pt x="120" y="124"/>
                    <a:pt x="120" y="127"/>
                  </a:cubicBezTo>
                  <a:cubicBezTo>
                    <a:pt x="120" y="127"/>
                    <a:pt x="117" y="232"/>
                    <a:pt x="115" y="337"/>
                  </a:cubicBezTo>
                  <a:cubicBezTo>
                    <a:pt x="114" y="389"/>
                    <a:pt x="112" y="442"/>
                    <a:pt x="111" y="481"/>
                  </a:cubicBezTo>
                  <a:cubicBezTo>
                    <a:pt x="111" y="500"/>
                    <a:pt x="110" y="517"/>
                    <a:pt x="110" y="528"/>
                  </a:cubicBezTo>
                  <a:cubicBezTo>
                    <a:pt x="110" y="534"/>
                    <a:pt x="110" y="539"/>
                    <a:pt x="110" y="542"/>
                  </a:cubicBezTo>
                  <a:cubicBezTo>
                    <a:pt x="109" y="543"/>
                    <a:pt x="109" y="544"/>
                    <a:pt x="109" y="546"/>
                  </a:cubicBezTo>
                  <a:cubicBezTo>
                    <a:pt x="110" y="554"/>
                    <a:pt x="118" y="561"/>
                    <a:pt x="128" y="561"/>
                  </a:cubicBezTo>
                  <a:cubicBezTo>
                    <a:pt x="138" y="561"/>
                    <a:pt x="147" y="554"/>
                    <a:pt x="147" y="546"/>
                  </a:cubicBezTo>
                  <a:cubicBezTo>
                    <a:pt x="176" y="299"/>
                    <a:pt x="176" y="299"/>
                    <a:pt x="176" y="299"/>
                  </a:cubicBezTo>
                  <a:cubicBezTo>
                    <a:pt x="177" y="296"/>
                    <a:pt x="180" y="293"/>
                    <a:pt x="183" y="29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45" name="Group 4"/>
          <p:cNvGrpSpPr>
            <a:grpSpLocks noChangeAspect="1"/>
          </p:cNvGrpSpPr>
          <p:nvPr/>
        </p:nvGrpSpPr>
        <p:grpSpPr bwMode="auto">
          <a:xfrm>
            <a:off x="3056212" y="3124547"/>
            <a:ext cx="660111" cy="1317625"/>
            <a:chOff x="1506" y="3505"/>
            <a:chExt cx="871" cy="1729"/>
          </a:xfrm>
          <a:solidFill>
            <a:schemeClr val="accent2"/>
          </a:solidFill>
        </p:grpSpPr>
        <p:sp>
          <p:nvSpPr>
            <p:cNvPr id="46" name="Freeform 5"/>
            <p:cNvSpPr>
              <a:spLocks noEditPoints="1"/>
            </p:cNvSpPr>
            <p:nvPr/>
          </p:nvSpPr>
          <p:spPr bwMode="auto">
            <a:xfrm>
              <a:off x="1777" y="3505"/>
              <a:ext cx="329" cy="325"/>
            </a:xfrm>
            <a:custGeom>
              <a:avLst/>
              <a:gdLst>
                <a:gd name="T0" fmla="*/ 69 w 138"/>
                <a:gd name="T1" fmla="*/ 137 h 137"/>
                <a:gd name="T2" fmla="*/ 0 w 138"/>
                <a:gd name="T3" fmla="*/ 68 h 137"/>
                <a:gd name="T4" fmla="*/ 69 w 138"/>
                <a:gd name="T5" fmla="*/ 0 h 137"/>
                <a:gd name="T6" fmla="*/ 138 w 138"/>
                <a:gd name="T7" fmla="*/ 68 h 137"/>
                <a:gd name="T8" fmla="*/ 69 w 138"/>
                <a:gd name="T9" fmla="*/ 137 h 137"/>
                <a:gd name="T10" fmla="*/ 69 w 138"/>
                <a:gd name="T11" fmla="*/ 14 h 137"/>
                <a:gd name="T12" fmla="*/ 14 w 138"/>
                <a:gd name="T13" fmla="*/ 68 h 137"/>
                <a:gd name="T14" fmla="*/ 69 w 138"/>
                <a:gd name="T15" fmla="*/ 123 h 137"/>
                <a:gd name="T16" fmla="*/ 124 w 138"/>
                <a:gd name="T17" fmla="*/ 68 h 137"/>
                <a:gd name="T18" fmla="*/ 69 w 138"/>
                <a:gd name="T19" fmla="*/ 1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37">
                  <a:moveTo>
                    <a:pt x="69" y="137"/>
                  </a:moveTo>
                  <a:cubicBezTo>
                    <a:pt x="31" y="137"/>
                    <a:pt x="0" y="106"/>
                    <a:pt x="0" y="68"/>
                  </a:cubicBezTo>
                  <a:cubicBezTo>
                    <a:pt x="0" y="30"/>
                    <a:pt x="31" y="0"/>
                    <a:pt x="69" y="0"/>
                  </a:cubicBezTo>
                  <a:cubicBezTo>
                    <a:pt x="107" y="0"/>
                    <a:pt x="138" y="30"/>
                    <a:pt x="138" y="68"/>
                  </a:cubicBezTo>
                  <a:cubicBezTo>
                    <a:pt x="138" y="106"/>
                    <a:pt x="107" y="137"/>
                    <a:pt x="69" y="137"/>
                  </a:cubicBezTo>
                  <a:close/>
                  <a:moveTo>
                    <a:pt x="69" y="14"/>
                  </a:moveTo>
                  <a:cubicBezTo>
                    <a:pt x="39" y="14"/>
                    <a:pt x="14" y="38"/>
                    <a:pt x="14" y="68"/>
                  </a:cubicBezTo>
                  <a:cubicBezTo>
                    <a:pt x="14" y="99"/>
                    <a:pt x="39" y="123"/>
                    <a:pt x="69" y="123"/>
                  </a:cubicBezTo>
                  <a:cubicBezTo>
                    <a:pt x="100" y="123"/>
                    <a:pt x="124" y="99"/>
                    <a:pt x="124" y="68"/>
                  </a:cubicBezTo>
                  <a:cubicBezTo>
                    <a:pt x="124" y="38"/>
                    <a:pt x="100" y="14"/>
                    <a:pt x="6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6"/>
            <p:cNvSpPr>
              <a:spLocks noEditPoints="1"/>
            </p:cNvSpPr>
            <p:nvPr/>
          </p:nvSpPr>
          <p:spPr bwMode="auto">
            <a:xfrm>
              <a:off x="1506" y="3870"/>
              <a:ext cx="871" cy="1364"/>
            </a:xfrm>
            <a:custGeom>
              <a:avLst/>
              <a:gdLst>
                <a:gd name="T0" fmla="*/ 205 w 366"/>
                <a:gd name="T1" fmla="*/ 547 h 575"/>
                <a:gd name="T2" fmla="*/ 161 w 366"/>
                <a:gd name="T3" fmla="*/ 547 h 575"/>
                <a:gd name="T4" fmla="*/ 95 w 366"/>
                <a:gd name="T5" fmla="*/ 547 h 575"/>
                <a:gd name="T6" fmla="*/ 105 w 366"/>
                <a:gd name="T7" fmla="*/ 161 h 575"/>
                <a:gd name="T8" fmla="*/ 31 w 366"/>
                <a:gd name="T9" fmla="*/ 287 h 575"/>
                <a:gd name="T10" fmla="*/ 4 w 366"/>
                <a:gd name="T11" fmla="*/ 254 h 575"/>
                <a:gd name="T12" fmla="*/ 12 w 366"/>
                <a:gd name="T13" fmla="*/ 228 h 575"/>
                <a:gd name="T14" fmla="*/ 183 w 366"/>
                <a:gd name="T15" fmla="*/ 0 h 575"/>
                <a:gd name="T16" fmla="*/ 354 w 366"/>
                <a:gd name="T17" fmla="*/ 228 h 575"/>
                <a:gd name="T18" fmla="*/ 363 w 366"/>
                <a:gd name="T19" fmla="*/ 254 h 575"/>
                <a:gd name="T20" fmla="*/ 335 w 366"/>
                <a:gd name="T21" fmla="*/ 287 h 575"/>
                <a:gd name="T22" fmla="*/ 262 w 366"/>
                <a:gd name="T23" fmla="*/ 161 h 575"/>
                <a:gd name="T24" fmla="*/ 271 w 366"/>
                <a:gd name="T25" fmla="*/ 547 h 575"/>
                <a:gd name="T26" fmla="*/ 238 w 366"/>
                <a:gd name="T27" fmla="*/ 575 h 575"/>
                <a:gd name="T28" fmla="*/ 190 w 366"/>
                <a:gd name="T29" fmla="*/ 299 h 575"/>
                <a:gd name="T30" fmla="*/ 238 w 366"/>
                <a:gd name="T31" fmla="*/ 561 h 575"/>
                <a:gd name="T32" fmla="*/ 238 w 366"/>
                <a:gd name="T33" fmla="*/ 561 h 575"/>
                <a:gd name="T34" fmla="*/ 257 w 366"/>
                <a:gd name="T35" fmla="*/ 546 h 575"/>
                <a:gd name="T36" fmla="*/ 256 w 366"/>
                <a:gd name="T37" fmla="*/ 481 h 575"/>
                <a:gd name="T38" fmla="*/ 247 w 366"/>
                <a:gd name="T39" fmla="*/ 127 h 575"/>
                <a:gd name="T40" fmla="*/ 260 w 366"/>
                <a:gd name="T41" fmla="*/ 124 h 575"/>
                <a:gd name="T42" fmla="*/ 335 w 366"/>
                <a:gd name="T43" fmla="*/ 273 h 575"/>
                <a:gd name="T44" fmla="*/ 350 w 366"/>
                <a:gd name="T45" fmla="*/ 258 h 575"/>
                <a:gd name="T46" fmla="*/ 347 w 366"/>
                <a:gd name="T47" fmla="*/ 251 h 575"/>
                <a:gd name="T48" fmla="*/ 279 w 366"/>
                <a:gd name="T49" fmla="*/ 50 h 575"/>
                <a:gd name="T50" fmla="*/ 88 w 366"/>
                <a:gd name="T51" fmla="*/ 50 h 575"/>
                <a:gd name="T52" fmla="*/ 19 w 366"/>
                <a:gd name="T53" fmla="*/ 251 h 575"/>
                <a:gd name="T54" fmla="*/ 17 w 366"/>
                <a:gd name="T55" fmla="*/ 258 h 575"/>
                <a:gd name="T56" fmla="*/ 31 w 366"/>
                <a:gd name="T57" fmla="*/ 273 h 575"/>
                <a:gd name="T58" fmla="*/ 107 w 366"/>
                <a:gd name="T59" fmla="*/ 124 h 575"/>
                <a:gd name="T60" fmla="*/ 120 w 366"/>
                <a:gd name="T61" fmla="*/ 127 h 575"/>
                <a:gd name="T62" fmla="*/ 111 w 366"/>
                <a:gd name="T63" fmla="*/ 481 h 575"/>
                <a:gd name="T64" fmla="*/ 110 w 366"/>
                <a:gd name="T65" fmla="*/ 542 h 575"/>
                <a:gd name="T66" fmla="*/ 128 w 366"/>
                <a:gd name="T67" fmla="*/ 561 h 575"/>
                <a:gd name="T68" fmla="*/ 176 w 366"/>
                <a:gd name="T69" fmla="*/ 299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6" h="575">
                  <a:moveTo>
                    <a:pt x="238" y="575"/>
                  </a:moveTo>
                  <a:cubicBezTo>
                    <a:pt x="221" y="575"/>
                    <a:pt x="207" y="562"/>
                    <a:pt x="205" y="547"/>
                  </a:cubicBezTo>
                  <a:cubicBezTo>
                    <a:pt x="183" y="360"/>
                    <a:pt x="183" y="360"/>
                    <a:pt x="183" y="360"/>
                  </a:cubicBezTo>
                  <a:cubicBezTo>
                    <a:pt x="161" y="547"/>
                    <a:pt x="161" y="547"/>
                    <a:pt x="161" y="547"/>
                  </a:cubicBezTo>
                  <a:cubicBezTo>
                    <a:pt x="160" y="562"/>
                    <a:pt x="146" y="575"/>
                    <a:pt x="128" y="575"/>
                  </a:cubicBezTo>
                  <a:cubicBezTo>
                    <a:pt x="111" y="575"/>
                    <a:pt x="97" y="562"/>
                    <a:pt x="95" y="547"/>
                  </a:cubicBezTo>
                  <a:cubicBezTo>
                    <a:pt x="95" y="546"/>
                    <a:pt x="95" y="546"/>
                    <a:pt x="95" y="545"/>
                  </a:cubicBezTo>
                  <a:cubicBezTo>
                    <a:pt x="96" y="536"/>
                    <a:pt x="102" y="307"/>
                    <a:pt x="105" y="161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1" y="281"/>
                    <a:pt x="42" y="287"/>
                    <a:pt x="31" y="287"/>
                  </a:cubicBezTo>
                  <a:cubicBezTo>
                    <a:pt x="28" y="287"/>
                    <a:pt x="25" y="286"/>
                    <a:pt x="22" y="285"/>
                  </a:cubicBezTo>
                  <a:cubicBezTo>
                    <a:pt x="8" y="280"/>
                    <a:pt x="0" y="267"/>
                    <a:pt x="4" y="254"/>
                  </a:cubicBezTo>
                  <a:cubicBezTo>
                    <a:pt x="4" y="254"/>
                    <a:pt x="4" y="254"/>
                    <a:pt x="4" y="253"/>
                  </a:cubicBezTo>
                  <a:cubicBezTo>
                    <a:pt x="5" y="252"/>
                    <a:pt x="8" y="241"/>
                    <a:pt x="12" y="228"/>
                  </a:cubicBezTo>
                  <a:cubicBezTo>
                    <a:pt x="30" y="174"/>
                    <a:pt x="66" y="63"/>
                    <a:pt x="75" y="44"/>
                  </a:cubicBezTo>
                  <a:cubicBezTo>
                    <a:pt x="90" y="13"/>
                    <a:pt x="122" y="0"/>
                    <a:pt x="183" y="0"/>
                  </a:cubicBezTo>
                  <a:cubicBezTo>
                    <a:pt x="244" y="0"/>
                    <a:pt x="277" y="13"/>
                    <a:pt x="292" y="44"/>
                  </a:cubicBezTo>
                  <a:cubicBezTo>
                    <a:pt x="301" y="63"/>
                    <a:pt x="337" y="175"/>
                    <a:pt x="354" y="228"/>
                  </a:cubicBezTo>
                  <a:cubicBezTo>
                    <a:pt x="359" y="241"/>
                    <a:pt x="362" y="252"/>
                    <a:pt x="363" y="253"/>
                  </a:cubicBezTo>
                  <a:cubicBezTo>
                    <a:pt x="363" y="254"/>
                    <a:pt x="363" y="254"/>
                    <a:pt x="363" y="254"/>
                  </a:cubicBezTo>
                  <a:cubicBezTo>
                    <a:pt x="366" y="267"/>
                    <a:pt x="358" y="280"/>
                    <a:pt x="345" y="285"/>
                  </a:cubicBezTo>
                  <a:cubicBezTo>
                    <a:pt x="342" y="286"/>
                    <a:pt x="339" y="287"/>
                    <a:pt x="335" y="287"/>
                  </a:cubicBezTo>
                  <a:cubicBezTo>
                    <a:pt x="325" y="287"/>
                    <a:pt x="316" y="281"/>
                    <a:pt x="312" y="272"/>
                  </a:cubicBezTo>
                  <a:cubicBezTo>
                    <a:pt x="262" y="161"/>
                    <a:pt x="262" y="161"/>
                    <a:pt x="262" y="161"/>
                  </a:cubicBezTo>
                  <a:cubicBezTo>
                    <a:pt x="265" y="307"/>
                    <a:pt x="271" y="536"/>
                    <a:pt x="271" y="545"/>
                  </a:cubicBezTo>
                  <a:cubicBezTo>
                    <a:pt x="271" y="546"/>
                    <a:pt x="271" y="546"/>
                    <a:pt x="271" y="547"/>
                  </a:cubicBezTo>
                  <a:cubicBezTo>
                    <a:pt x="270" y="562"/>
                    <a:pt x="256" y="575"/>
                    <a:pt x="238" y="575"/>
                  </a:cubicBezTo>
                  <a:cubicBezTo>
                    <a:pt x="238" y="575"/>
                    <a:pt x="238" y="575"/>
                    <a:pt x="238" y="575"/>
                  </a:cubicBezTo>
                  <a:close/>
                  <a:moveTo>
                    <a:pt x="183" y="293"/>
                  </a:moveTo>
                  <a:cubicBezTo>
                    <a:pt x="187" y="293"/>
                    <a:pt x="190" y="296"/>
                    <a:pt x="190" y="299"/>
                  </a:cubicBezTo>
                  <a:cubicBezTo>
                    <a:pt x="219" y="545"/>
                    <a:pt x="219" y="545"/>
                    <a:pt x="219" y="545"/>
                  </a:cubicBezTo>
                  <a:cubicBezTo>
                    <a:pt x="220" y="554"/>
                    <a:pt x="228" y="561"/>
                    <a:pt x="238" y="561"/>
                  </a:cubicBezTo>
                  <a:cubicBezTo>
                    <a:pt x="238" y="568"/>
                    <a:pt x="238" y="568"/>
                    <a:pt x="238" y="568"/>
                  </a:cubicBezTo>
                  <a:cubicBezTo>
                    <a:pt x="238" y="561"/>
                    <a:pt x="238" y="561"/>
                    <a:pt x="238" y="561"/>
                  </a:cubicBezTo>
                  <a:cubicBezTo>
                    <a:pt x="248" y="561"/>
                    <a:pt x="257" y="554"/>
                    <a:pt x="257" y="546"/>
                  </a:cubicBezTo>
                  <a:cubicBezTo>
                    <a:pt x="257" y="546"/>
                    <a:pt x="257" y="546"/>
                    <a:pt x="257" y="546"/>
                  </a:cubicBezTo>
                  <a:cubicBezTo>
                    <a:pt x="257" y="542"/>
                    <a:pt x="257" y="537"/>
                    <a:pt x="257" y="528"/>
                  </a:cubicBezTo>
                  <a:cubicBezTo>
                    <a:pt x="256" y="517"/>
                    <a:pt x="256" y="500"/>
                    <a:pt x="256" y="481"/>
                  </a:cubicBezTo>
                  <a:cubicBezTo>
                    <a:pt x="255" y="441"/>
                    <a:pt x="253" y="389"/>
                    <a:pt x="252" y="337"/>
                  </a:cubicBezTo>
                  <a:cubicBezTo>
                    <a:pt x="249" y="232"/>
                    <a:pt x="247" y="127"/>
                    <a:pt x="247" y="127"/>
                  </a:cubicBezTo>
                  <a:cubicBezTo>
                    <a:pt x="247" y="124"/>
                    <a:pt x="249" y="121"/>
                    <a:pt x="252" y="120"/>
                  </a:cubicBezTo>
                  <a:cubicBezTo>
                    <a:pt x="255" y="120"/>
                    <a:pt x="259" y="121"/>
                    <a:pt x="260" y="124"/>
                  </a:cubicBezTo>
                  <a:cubicBezTo>
                    <a:pt x="325" y="266"/>
                    <a:pt x="325" y="266"/>
                    <a:pt x="325" y="266"/>
                  </a:cubicBezTo>
                  <a:cubicBezTo>
                    <a:pt x="326" y="270"/>
                    <a:pt x="330" y="273"/>
                    <a:pt x="335" y="273"/>
                  </a:cubicBezTo>
                  <a:cubicBezTo>
                    <a:pt x="337" y="273"/>
                    <a:pt x="339" y="272"/>
                    <a:pt x="340" y="272"/>
                  </a:cubicBezTo>
                  <a:cubicBezTo>
                    <a:pt x="347" y="270"/>
                    <a:pt x="351" y="263"/>
                    <a:pt x="350" y="258"/>
                  </a:cubicBezTo>
                  <a:cubicBezTo>
                    <a:pt x="350" y="258"/>
                    <a:pt x="350" y="258"/>
                    <a:pt x="350" y="258"/>
                  </a:cubicBezTo>
                  <a:cubicBezTo>
                    <a:pt x="349" y="256"/>
                    <a:pt x="348" y="254"/>
                    <a:pt x="347" y="251"/>
                  </a:cubicBezTo>
                  <a:cubicBezTo>
                    <a:pt x="346" y="247"/>
                    <a:pt x="344" y="240"/>
                    <a:pt x="341" y="232"/>
                  </a:cubicBezTo>
                  <a:cubicBezTo>
                    <a:pt x="325" y="183"/>
                    <a:pt x="288" y="69"/>
                    <a:pt x="279" y="50"/>
                  </a:cubicBezTo>
                  <a:cubicBezTo>
                    <a:pt x="270" y="32"/>
                    <a:pt x="252" y="14"/>
                    <a:pt x="183" y="14"/>
                  </a:cubicBezTo>
                  <a:cubicBezTo>
                    <a:pt x="115" y="14"/>
                    <a:pt x="96" y="32"/>
                    <a:pt x="88" y="50"/>
                  </a:cubicBezTo>
                  <a:cubicBezTo>
                    <a:pt x="79" y="69"/>
                    <a:pt x="42" y="183"/>
                    <a:pt x="26" y="232"/>
                  </a:cubicBezTo>
                  <a:cubicBezTo>
                    <a:pt x="23" y="240"/>
                    <a:pt x="21" y="247"/>
                    <a:pt x="19" y="251"/>
                  </a:cubicBezTo>
                  <a:cubicBezTo>
                    <a:pt x="19" y="254"/>
                    <a:pt x="18" y="256"/>
                    <a:pt x="17" y="258"/>
                  </a:cubicBezTo>
                  <a:cubicBezTo>
                    <a:pt x="17" y="258"/>
                    <a:pt x="17" y="258"/>
                    <a:pt x="17" y="258"/>
                  </a:cubicBezTo>
                  <a:cubicBezTo>
                    <a:pt x="16" y="263"/>
                    <a:pt x="20" y="270"/>
                    <a:pt x="26" y="272"/>
                  </a:cubicBezTo>
                  <a:cubicBezTo>
                    <a:pt x="28" y="272"/>
                    <a:pt x="30" y="273"/>
                    <a:pt x="31" y="273"/>
                  </a:cubicBezTo>
                  <a:cubicBezTo>
                    <a:pt x="36" y="273"/>
                    <a:pt x="41" y="270"/>
                    <a:pt x="42" y="266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08" y="121"/>
                    <a:pt x="111" y="120"/>
                    <a:pt x="115" y="120"/>
                  </a:cubicBezTo>
                  <a:cubicBezTo>
                    <a:pt x="118" y="121"/>
                    <a:pt x="120" y="124"/>
                    <a:pt x="120" y="127"/>
                  </a:cubicBezTo>
                  <a:cubicBezTo>
                    <a:pt x="120" y="127"/>
                    <a:pt x="117" y="232"/>
                    <a:pt x="115" y="337"/>
                  </a:cubicBezTo>
                  <a:cubicBezTo>
                    <a:pt x="114" y="389"/>
                    <a:pt x="112" y="442"/>
                    <a:pt x="111" y="481"/>
                  </a:cubicBezTo>
                  <a:cubicBezTo>
                    <a:pt x="111" y="500"/>
                    <a:pt x="110" y="517"/>
                    <a:pt x="110" y="528"/>
                  </a:cubicBezTo>
                  <a:cubicBezTo>
                    <a:pt x="110" y="534"/>
                    <a:pt x="110" y="539"/>
                    <a:pt x="110" y="542"/>
                  </a:cubicBezTo>
                  <a:cubicBezTo>
                    <a:pt x="109" y="543"/>
                    <a:pt x="109" y="544"/>
                    <a:pt x="109" y="546"/>
                  </a:cubicBezTo>
                  <a:cubicBezTo>
                    <a:pt x="110" y="554"/>
                    <a:pt x="118" y="561"/>
                    <a:pt x="128" y="561"/>
                  </a:cubicBezTo>
                  <a:cubicBezTo>
                    <a:pt x="138" y="561"/>
                    <a:pt x="147" y="554"/>
                    <a:pt x="147" y="546"/>
                  </a:cubicBezTo>
                  <a:cubicBezTo>
                    <a:pt x="176" y="299"/>
                    <a:pt x="176" y="299"/>
                    <a:pt x="176" y="299"/>
                  </a:cubicBezTo>
                  <a:cubicBezTo>
                    <a:pt x="177" y="296"/>
                    <a:pt x="180" y="293"/>
                    <a:pt x="183" y="2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48" name="Footer Placeholder 99">
            <a:extLst>
              <a:ext uri="{FF2B5EF4-FFF2-40B4-BE49-F238E27FC236}">
                <a16:creationId xmlns:a16="http://schemas.microsoft.com/office/drawing/2014/main" id="{A984B3A1-5A84-4008-9BF6-391E41AF0A9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9" name="Slide Number Placeholder 100">
            <a:extLst>
              <a:ext uri="{FF2B5EF4-FFF2-40B4-BE49-F238E27FC236}">
                <a16:creationId xmlns:a16="http://schemas.microsoft.com/office/drawing/2014/main" id="{DA9CE164-95E3-4BBD-B99A-773BB8C513A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55</a:t>
            </a:fld>
            <a:endParaRPr lang="en-US" dirty="0"/>
          </a:p>
        </p:txBody>
      </p:sp>
      <p:sp>
        <p:nvSpPr>
          <p:cNvPr id="50" name="Text Placeholder 41">
            <a:extLst>
              <a:ext uri="{FF2B5EF4-FFF2-40B4-BE49-F238E27FC236}">
                <a16:creationId xmlns:a16="http://schemas.microsoft.com/office/drawing/2014/main" id="{9B551BE6-587D-4A6C-BDB6-A242707E23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288884675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layou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34918E-7EB0-EB45-92D8-C32124FE5C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EAF9DB-6F40-460F-BF1F-2A84CCEEEA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89329B-CA23-AE4D-AC50-E5E895A9E3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086600" y="4933950"/>
            <a:ext cx="2057400" cy="182563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56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554072-2822-4C1D-9551-C73A1134819B}"/>
              </a:ext>
            </a:extLst>
          </p:cNvPr>
          <p:cNvSpPr/>
          <p:nvPr/>
        </p:nvSpPr>
        <p:spPr>
          <a:xfrm>
            <a:off x="203661" y="191193"/>
            <a:ext cx="8740833" cy="4671752"/>
          </a:xfrm>
          <a:prstGeom prst="rect">
            <a:avLst/>
          </a:prstGeom>
          <a:solidFill>
            <a:srgbClr val="336FCA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 indent="-631825" algn="ctr"/>
            <a:r>
              <a:rPr lang="en-US" sz="2800" dirty="0">
                <a:solidFill>
                  <a:schemeClr val="bg1"/>
                </a:solidFill>
              </a:rPr>
              <a:t>Interconnectivity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65206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21438" cy="545464"/>
          </a:xfrm>
        </p:spPr>
        <p:txBody>
          <a:bodyPr/>
          <a:lstStyle/>
          <a:p>
            <a:r>
              <a:rPr lang="en-US" dirty="0"/>
              <a:t>Interconnectivity – key points</a:t>
            </a:r>
          </a:p>
        </p:txBody>
      </p:sp>
      <p:sp>
        <p:nvSpPr>
          <p:cNvPr id="29" name="Oval 28"/>
          <p:cNvSpPr/>
          <p:nvPr/>
        </p:nvSpPr>
        <p:spPr>
          <a:xfrm>
            <a:off x="3708400" y="1200150"/>
            <a:ext cx="762000" cy="7620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Oval 29"/>
          <p:cNvSpPr/>
          <p:nvPr/>
        </p:nvSpPr>
        <p:spPr>
          <a:xfrm>
            <a:off x="3708400" y="2195830"/>
            <a:ext cx="762000" cy="7620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1" name="Oval 30"/>
          <p:cNvSpPr/>
          <p:nvPr/>
        </p:nvSpPr>
        <p:spPr>
          <a:xfrm>
            <a:off x="3708400" y="3191510"/>
            <a:ext cx="762000" cy="762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Oval 31"/>
          <p:cNvSpPr/>
          <p:nvPr/>
        </p:nvSpPr>
        <p:spPr>
          <a:xfrm>
            <a:off x="4597400" y="1697990"/>
            <a:ext cx="762000" cy="7620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3" name="Oval 32"/>
          <p:cNvSpPr/>
          <p:nvPr/>
        </p:nvSpPr>
        <p:spPr>
          <a:xfrm>
            <a:off x="4597400" y="2693670"/>
            <a:ext cx="762000" cy="762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4" name="Oval 33"/>
          <p:cNvSpPr/>
          <p:nvPr/>
        </p:nvSpPr>
        <p:spPr>
          <a:xfrm>
            <a:off x="4597400" y="3689350"/>
            <a:ext cx="762000" cy="762000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5" name="Rectangle 34"/>
          <p:cNvSpPr/>
          <p:nvPr/>
        </p:nvSpPr>
        <p:spPr>
          <a:xfrm>
            <a:off x="5413832" y="1747164"/>
            <a:ext cx="2819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dirty="0"/>
              <a:t>Xx x </a:t>
            </a:r>
            <a:r>
              <a:rPr lang="en-US" sz="1600" dirty="0" err="1"/>
              <a:t>xxxxx</a:t>
            </a:r>
            <a:r>
              <a:rPr lang="en-US" sz="1600" dirty="0"/>
              <a:t> </a:t>
            </a:r>
          </a:p>
          <a:p>
            <a:pPr>
              <a:lnSpc>
                <a:spcPct val="90000"/>
              </a:lnSpc>
            </a:pPr>
            <a:r>
              <a:rPr lang="en-US" sz="1200" dirty="0"/>
              <a:t>X </a:t>
            </a:r>
            <a:r>
              <a:rPr lang="en-US" sz="1200" dirty="0" err="1"/>
              <a:t>x</a:t>
            </a:r>
            <a:r>
              <a:rPr lang="en-US" sz="1200" dirty="0"/>
              <a:t> </a:t>
            </a:r>
            <a:r>
              <a:rPr lang="en-US" sz="1200" dirty="0" err="1"/>
              <a:t>xxxx</a:t>
            </a:r>
            <a:r>
              <a:rPr lang="en-US" sz="1200" dirty="0"/>
              <a:t> x </a:t>
            </a:r>
            <a:r>
              <a:rPr lang="en-US" sz="1200" dirty="0" err="1"/>
              <a:t>xxxxxx</a:t>
            </a:r>
            <a:r>
              <a:rPr lang="en-US" sz="1200" dirty="0"/>
              <a:t> xxx </a:t>
            </a:r>
            <a:r>
              <a:rPr lang="en-US" sz="1200" dirty="0" err="1"/>
              <a:t>xxxxxxx</a:t>
            </a:r>
            <a:r>
              <a:rPr lang="en-US" sz="1200" dirty="0"/>
              <a:t> xxx </a:t>
            </a:r>
            <a:r>
              <a:rPr lang="en-US" sz="1200" dirty="0" err="1"/>
              <a:t>xxxx</a:t>
            </a:r>
            <a:r>
              <a:rPr lang="en-US" sz="1200" dirty="0"/>
              <a:t> xx </a:t>
            </a:r>
          </a:p>
        </p:txBody>
      </p:sp>
      <p:sp>
        <p:nvSpPr>
          <p:cNvPr id="36" name="Rectangle 35"/>
          <p:cNvSpPr/>
          <p:nvPr/>
        </p:nvSpPr>
        <p:spPr>
          <a:xfrm>
            <a:off x="834568" y="1227364"/>
            <a:ext cx="2819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1600" dirty="0" err="1"/>
              <a:t>Xxxxxx</a:t>
            </a:r>
            <a:r>
              <a:rPr lang="en-US" sz="1600" dirty="0"/>
              <a:t> </a:t>
            </a:r>
            <a:r>
              <a:rPr lang="en-US" sz="1600" dirty="0" err="1"/>
              <a:t>xxxxx</a:t>
            </a:r>
            <a:r>
              <a:rPr lang="en-US" sz="1600" dirty="0"/>
              <a:t> xxx</a:t>
            </a:r>
          </a:p>
          <a:p>
            <a:pPr algn="r">
              <a:lnSpc>
                <a:spcPct val="90000"/>
              </a:lnSpc>
            </a:pPr>
            <a:r>
              <a:rPr lang="en-US" sz="1200" dirty="0" err="1"/>
              <a:t>xxxxxx</a:t>
            </a:r>
            <a:r>
              <a:rPr lang="en-US" sz="1200" dirty="0"/>
              <a:t> x </a:t>
            </a:r>
            <a:r>
              <a:rPr lang="en-US" sz="1200" dirty="0" err="1"/>
              <a:t>xxxxxxxxxxxxxxx</a:t>
            </a:r>
            <a:r>
              <a:rPr lang="en-US" sz="1200" dirty="0"/>
              <a:t> x </a:t>
            </a:r>
            <a:r>
              <a:rPr lang="en-US" sz="1200" dirty="0" err="1"/>
              <a:t>xxxxxx</a:t>
            </a:r>
            <a:r>
              <a:rPr lang="en-US" sz="1200" dirty="0"/>
              <a:t> x xxx x xxx xx xxx x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413832" y="2724702"/>
            <a:ext cx="2819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dirty="0"/>
              <a:t>Xx </a:t>
            </a:r>
            <a:r>
              <a:rPr lang="en-US" sz="1600" dirty="0" err="1"/>
              <a:t>xxxxx</a:t>
            </a:r>
            <a:r>
              <a:rPr lang="en-US" sz="1600" dirty="0"/>
              <a:t> x </a:t>
            </a:r>
            <a:r>
              <a:rPr lang="en-US" sz="1600" dirty="0" err="1"/>
              <a:t>xxxxx</a:t>
            </a:r>
            <a:endParaRPr lang="en-US" sz="1600" dirty="0"/>
          </a:p>
          <a:p>
            <a:pPr>
              <a:lnSpc>
                <a:spcPct val="90000"/>
              </a:lnSpc>
            </a:pPr>
            <a:r>
              <a:rPr lang="en-US" sz="1200" dirty="0" err="1"/>
              <a:t>Xxxxx</a:t>
            </a:r>
            <a:r>
              <a:rPr lang="en-US" sz="1200" dirty="0"/>
              <a:t> xxx </a:t>
            </a:r>
            <a:r>
              <a:rPr lang="en-US" sz="1200" dirty="0" err="1"/>
              <a:t>xxxx</a:t>
            </a:r>
            <a:r>
              <a:rPr lang="en-US" sz="1200" dirty="0"/>
              <a:t> </a:t>
            </a:r>
            <a:r>
              <a:rPr lang="en-US" sz="1200" dirty="0" err="1"/>
              <a:t>xxxxx</a:t>
            </a:r>
            <a:r>
              <a:rPr lang="en-US" sz="1200" dirty="0"/>
              <a:t> xx </a:t>
            </a:r>
            <a:r>
              <a:rPr lang="en-US" sz="1200" dirty="0" err="1"/>
              <a:t>xxxx</a:t>
            </a:r>
            <a:r>
              <a:rPr lang="en-US" sz="1200" dirty="0"/>
              <a:t> </a:t>
            </a:r>
            <a:r>
              <a:rPr lang="en-US" sz="1200" dirty="0" err="1"/>
              <a:t>xxxx</a:t>
            </a:r>
            <a:r>
              <a:rPr lang="en-US" sz="1200" dirty="0"/>
              <a:t> </a:t>
            </a:r>
            <a:r>
              <a:rPr lang="en-US" sz="1200" dirty="0" err="1"/>
              <a:t>xxxxxx</a:t>
            </a:r>
            <a:r>
              <a:rPr lang="en-US" sz="1200" dirty="0"/>
              <a:t> </a:t>
            </a:r>
            <a:r>
              <a:rPr lang="en-US" sz="1200" dirty="0" err="1"/>
              <a:t>xxxxxx</a:t>
            </a:r>
            <a:r>
              <a:rPr lang="en-US" sz="1200" dirty="0"/>
              <a:t> </a:t>
            </a:r>
          </a:p>
        </p:txBody>
      </p:sp>
      <p:sp>
        <p:nvSpPr>
          <p:cNvPr id="38" name="Rectangle 37"/>
          <p:cNvSpPr/>
          <p:nvPr/>
        </p:nvSpPr>
        <p:spPr>
          <a:xfrm>
            <a:off x="5413832" y="3705787"/>
            <a:ext cx="2819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dirty="0"/>
              <a:t>Xx xxx </a:t>
            </a:r>
            <a:r>
              <a:rPr lang="en-US" sz="1600" dirty="0" err="1"/>
              <a:t>xxxxxxxx</a:t>
            </a:r>
            <a:r>
              <a:rPr lang="en-US" sz="1600" dirty="0"/>
              <a:t> </a:t>
            </a:r>
          </a:p>
          <a:p>
            <a:pPr>
              <a:lnSpc>
                <a:spcPct val="90000"/>
              </a:lnSpc>
            </a:pPr>
            <a:r>
              <a:rPr lang="en-US" sz="1200" dirty="0"/>
              <a:t>Xx </a:t>
            </a:r>
            <a:r>
              <a:rPr lang="en-US" sz="1200" dirty="0" err="1"/>
              <a:t>xx</a:t>
            </a:r>
            <a:r>
              <a:rPr lang="en-US" sz="1200" dirty="0"/>
              <a:t> </a:t>
            </a:r>
            <a:r>
              <a:rPr lang="en-US" sz="1200" dirty="0" err="1"/>
              <a:t>xxxx</a:t>
            </a:r>
            <a:r>
              <a:rPr lang="en-US" sz="1200" dirty="0"/>
              <a:t> </a:t>
            </a:r>
            <a:r>
              <a:rPr lang="en-US" sz="1200" dirty="0" err="1"/>
              <a:t>xxxxxxxxx</a:t>
            </a:r>
            <a:r>
              <a:rPr lang="en-US" sz="1200" dirty="0"/>
              <a:t> </a:t>
            </a:r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xxxxx</a:t>
            </a:r>
            <a:r>
              <a:rPr lang="en-US" sz="1200" dirty="0"/>
              <a:t> x </a:t>
            </a:r>
          </a:p>
        </p:txBody>
      </p:sp>
      <p:sp>
        <p:nvSpPr>
          <p:cNvPr id="39" name="Rectangle 38"/>
          <p:cNvSpPr/>
          <p:nvPr/>
        </p:nvSpPr>
        <p:spPr>
          <a:xfrm>
            <a:off x="834568" y="3244867"/>
            <a:ext cx="2819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1600" dirty="0" err="1"/>
              <a:t>Xxxxxx</a:t>
            </a:r>
            <a:endParaRPr lang="en-US" sz="1600" dirty="0"/>
          </a:p>
          <a:p>
            <a:pPr algn="r">
              <a:lnSpc>
                <a:spcPct val="90000"/>
              </a:lnSpc>
            </a:pPr>
            <a:r>
              <a:rPr lang="en-US" sz="1200" dirty="0"/>
              <a:t>Xx </a:t>
            </a:r>
            <a:r>
              <a:rPr lang="en-US" sz="1200" dirty="0" err="1"/>
              <a:t>xx</a:t>
            </a:r>
            <a:r>
              <a:rPr lang="en-US" sz="1200" dirty="0"/>
              <a:t> xxx </a:t>
            </a:r>
            <a:r>
              <a:rPr lang="en-US" sz="1200" dirty="0" err="1"/>
              <a:t>xxxxxxxx</a:t>
            </a:r>
            <a:r>
              <a:rPr lang="en-US" sz="1200" dirty="0"/>
              <a:t> xxx </a:t>
            </a:r>
            <a:r>
              <a:rPr lang="en-US" sz="1200" dirty="0" err="1"/>
              <a:t>xxx</a:t>
            </a:r>
            <a:r>
              <a:rPr lang="en-US" sz="1200" dirty="0"/>
              <a:t> xx xxx </a:t>
            </a:r>
            <a:r>
              <a:rPr lang="en-US" sz="1200" dirty="0" err="1"/>
              <a:t>xxxx</a:t>
            </a:r>
            <a:r>
              <a:rPr lang="en-US" sz="1200" dirty="0"/>
              <a:t> xx </a:t>
            </a:r>
            <a:r>
              <a:rPr lang="en-US" sz="1200" dirty="0" err="1"/>
              <a:t>xxxxx</a:t>
            </a:r>
            <a:r>
              <a:rPr lang="en-US" sz="1200" dirty="0"/>
              <a:t> x 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34568" y="2230666"/>
            <a:ext cx="2819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1600" dirty="0" err="1"/>
              <a:t>Xxxxxxxx</a:t>
            </a:r>
            <a:r>
              <a:rPr lang="en-US" sz="1600" dirty="0"/>
              <a:t> xx</a:t>
            </a:r>
          </a:p>
          <a:p>
            <a:pPr algn="r">
              <a:lnSpc>
                <a:spcPct val="90000"/>
              </a:lnSpc>
            </a:pPr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</a:t>
            </a:r>
            <a:r>
              <a:rPr lang="en-US" sz="1200" dirty="0"/>
              <a:t> </a:t>
            </a:r>
            <a:r>
              <a:rPr lang="en-US" sz="1200" dirty="0" err="1"/>
              <a:t>xxxx</a:t>
            </a:r>
            <a:r>
              <a:rPr lang="en-US" sz="1200" dirty="0"/>
              <a:t> xx </a:t>
            </a:r>
            <a:r>
              <a:rPr lang="en-US" sz="1200" dirty="0" err="1"/>
              <a:t>Xx</a:t>
            </a:r>
            <a:r>
              <a:rPr lang="en-US" sz="1200" dirty="0"/>
              <a:t> x </a:t>
            </a:r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</a:t>
            </a:r>
            <a:r>
              <a:rPr lang="en-US" sz="1200" dirty="0"/>
              <a:t> </a:t>
            </a:r>
            <a:r>
              <a:rPr lang="en-US" sz="1200" dirty="0" err="1"/>
              <a:t>xxxxxxx</a:t>
            </a:r>
            <a:r>
              <a:rPr lang="en-US" sz="1200" dirty="0"/>
              <a:t> Xx x </a:t>
            </a:r>
            <a:r>
              <a:rPr lang="en-US" sz="1200" dirty="0" err="1"/>
              <a:t>xxxxxxxxxxxxx</a:t>
            </a:r>
            <a:r>
              <a:rPr lang="en-US" sz="1200" dirty="0"/>
              <a:t> xxx </a:t>
            </a: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2462" y="1418082"/>
            <a:ext cx="573878" cy="32613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9503" y="1846028"/>
            <a:ext cx="477794" cy="465924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5434" y="2367022"/>
            <a:ext cx="447934" cy="378426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0397" y="3304845"/>
            <a:ext cx="533890" cy="533890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2650" y="2925269"/>
            <a:ext cx="571500" cy="298805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0928" y="3857626"/>
            <a:ext cx="354947" cy="425450"/>
          </a:xfrm>
          <a:prstGeom prst="rect">
            <a:avLst/>
          </a:prstGeom>
        </p:spPr>
      </p:pic>
      <p:cxnSp>
        <p:nvCxnSpPr>
          <p:cNvPr id="47" name="Straight Connector 46"/>
          <p:cNvCxnSpPr/>
          <p:nvPr/>
        </p:nvCxnSpPr>
        <p:spPr>
          <a:xfrm>
            <a:off x="4413235" y="1741710"/>
            <a:ext cx="256031" cy="155443"/>
          </a:xfrm>
          <a:prstGeom prst="line">
            <a:avLst/>
          </a:prstGeom>
          <a:ln w="190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4413235" y="2739568"/>
            <a:ext cx="256031" cy="155443"/>
          </a:xfrm>
          <a:prstGeom prst="line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4413235" y="3728354"/>
            <a:ext cx="256031" cy="155443"/>
          </a:xfrm>
          <a:prstGeom prst="line">
            <a:avLst/>
          </a:prstGeom>
          <a:ln w="1905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 flipH="1">
            <a:off x="4413235" y="2258782"/>
            <a:ext cx="256031" cy="155443"/>
          </a:xfrm>
          <a:prstGeom prst="line">
            <a:avLst/>
          </a:prstGeom>
          <a:ln w="1905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 flipH="1">
            <a:off x="4413235" y="3265711"/>
            <a:ext cx="256031" cy="155443"/>
          </a:xfrm>
          <a:prstGeom prst="line">
            <a:avLst/>
          </a:prstGeom>
          <a:ln w="1905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99">
            <a:extLst>
              <a:ext uri="{FF2B5EF4-FFF2-40B4-BE49-F238E27FC236}">
                <a16:creationId xmlns:a16="http://schemas.microsoft.com/office/drawing/2014/main" id="{65DD4896-10CE-44F9-B1FD-443BDB1830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8" name="Slide Number Placeholder 100">
            <a:extLst>
              <a:ext uri="{FF2B5EF4-FFF2-40B4-BE49-F238E27FC236}">
                <a16:creationId xmlns:a16="http://schemas.microsoft.com/office/drawing/2014/main" id="{64929DCC-1DC6-471C-A7F1-4328711ECA9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57</a:t>
            </a:fld>
            <a:endParaRPr lang="en-US" dirty="0"/>
          </a:p>
        </p:txBody>
      </p:sp>
      <p:sp>
        <p:nvSpPr>
          <p:cNvPr id="52" name="Text Placeholder 41">
            <a:extLst>
              <a:ext uri="{FF2B5EF4-FFF2-40B4-BE49-F238E27FC236}">
                <a16:creationId xmlns:a16="http://schemas.microsoft.com/office/drawing/2014/main" id="{EF21063C-BF36-43CD-87EF-EA32677738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77632013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38691" cy="545464"/>
          </a:xfrm>
        </p:spPr>
        <p:txBody>
          <a:bodyPr/>
          <a:lstStyle/>
          <a:p>
            <a:r>
              <a:rPr lang="en-US" dirty="0"/>
              <a:t>Interconnectivity or influencers</a:t>
            </a:r>
          </a:p>
        </p:txBody>
      </p:sp>
      <p:cxnSp>
        <p:nvCxnSpPr>
          <p:cNvPr id="27" name="Straight Connector 26"/>
          <p:cNvCxnSpPr/>
          <p:nvPr/>
        </p:nvCxnSpPr>
        <p:spPr>
          <a:xfrm flipV="1">
            <a:off x="3770009" y="3006542"/>
            <a:ext cx="308441" cy="178398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3770009" y="2223602"/>
            <a:ext cx="308441" cy="178398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H="1" flipV="1">
            <a:off x="5060887" y="3006542"/>
            <a:ext cx="308441" cy="178398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H="1">
            <a:off x="5060887" y="2223602"/>
            <a:ext cx="308441" cy="178398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4170553" y="1080934"/>
            <a:ext cx="802895" cy="802895"/>
            <a:chOff x="6207756" y="7121636"/>
            <a:chExt cx="837454" cy="837454"/>
          </a:xfrm>
        </p:grpSpPr>
        <p:sp>
          <p:nvSpPr>
            <p:cNvPr id="5" name="Oval 19"/>
            <p:cNvSpPr>
              <a:spLocks noChangeArrowheads="1"/>
            </p:cNvSpPr>
            <p:nvPr/>
          </p:nvSpPr>
          <p:spPr bwMode="auto">
            <a:xfrm>
              <a:off x="6207756" y="7121636"/>
              <a:ext cx="837454" cy="83745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" name="Freeform 25"/>
            <p:cNvSpPr>
              <a:spLocks noEditPoints="1"/>
            </p:cNvSpPr>
            <p:nvPr/>
          </p:nvSpPr>
          <p:spPr bwMode="auto">
            <a:xfrm>
              <a:off x="6365307" y="7326026"/>
              <a:ext cx="521359" cy="428673"/>
            </a:xfrm>
            <a:custGeom>
              <a:avLst/>
              <a:gdLst>
                <a:gd name="T0" fmla="*/ 414 w 444"/>
                <a:gd name="T1" fmla="*/ 172 h 365"/>
                <a:gd name="T2" fmla="*/ 392 w 444"/>
                <a:gd name="T3" fmla="*/ 0 h 365"/>
                <a:gd name="T4" fmla="*/ 0 w 444"/>
                <a:gd name="T5" fmla="*/ 22 h 365"/>
                <a:gd name="T6" fmla="*/ 22 w 444"/>
                <a:gd name="T7" fmla="*/ 283 h 365"/>
                <a:gd name="T8" fmla="*/ 144 w 444"/>
                <a:gd name="T9" fmla="*/ 355 h 365"/>
                <a:gd name="T10" fmla="*/ 118 w 444"/>
                <a:gd name="T11" fmla="*/ 360 h 365"/>
                <a:gd name="T12" fmla="*/ 291 w 444"/>
                <a:gd name="T13" fmla="*/ 365 h 365"/>
                <a:gd name="T14" fmla="*/ 291 w 444"/>
                <a:gd name="T15" fmla="*/ 355 h 365"/>
                <a:gd name="T16" fmla="*/ 254 w 444"/>
                <a:gd name="T17" fmla="*/ 283 h 365"/>
                <a:gd name="T18" fmla="*/ 326 w 444"/>
                <a:gd name="T19" fmla="*/ 348 h 365"/>
                <a:gd name="T20" fmla="*/ 427 w 444"/>
                <a:gd name="T21" fmla="*/ 365 h 365"/>
                <a:gd name="T22" fmla="*/ 444 w 444"/>
                <a:gd name="T23" fmla="*/ 189 h 365"/>
                <a:gd name="T24" fmla="*/ 10 w 444"/>
                <a:gd name="T25" fmla="*/ 22 h 365"/>
                <a:gd name="T26" fmla="*/ 392 w 444"/>
                <a:gd name="T27" fmla="*/ 9 h 365"/>
                <a:gd name="T28" fmla="*/ 404 w 444"/>
                <a:gd name="T29" fmla="*/ 36 h 365"/>
                <a:gd name="T30" fmla="*/ 10 w 444"/>
                <a:gd name="T31" fmla="*/ 22 h 365"/>
                <a:gd name="T32" fmla="*/ 158 w 444"/>
                <a:gd name="T33" fmla="*/ 355 h 365"/>
                <a:gd name="T34" fmla="*/ 245 w 444"/>
                <a:gd name="T35" fmla="*/ 283 h 365"/>
                <a:gd name="T36" fmla="*/ 259 w 444"/>
                <a:gd name="T37" fmla="*/ 355 h 365"/>
                <a:gd name="T38" fmla="*/ 22 w 444"/>
                <a:gd name="T39" fmla="*/ 273 h 365"/>
                <a:gd name="T40" fmla="*/ 10 w 444"/>
                <a:gd name="T41" fmla="*/ 247 h 365"/>
                <a:gd name="T42" fmla="*/ 326 w 444"/>
                <a:gd name="T43" fmla="*/ 273 h 365"/>
                <a:gd name="T44" fmla="*/ 326 w 444"/>
                <a:gd name="T45" fmla="*/ 237 h 365"/>
                <a:gd name="T46" fmla="*/ 10 w 444"/>
                <a:gd name="T47" fmla="*/ 45 h 365"/>
                <a:gd name="T48" fmla="*/ 404 w 444"/>
                <a:gd name="T49" fmla="*/ 172 h 365"/>
                <a:gd name="T50" fmla="*/ 326 w 444"/>
                <a:gd name="T51" fmla="*/ 189 h 365"/>
                <a:gd name="T52" fmla="*/ 427 w 444"/>
                <a:gd name="T53" fmla="*/ 355 h 365"/>
                <a:gd name="T54" fmla="*/ 336 w 444"/>
                <a:gd name="T55" fmla="*/ 348 h 365"/>
                <a:gd name="T56" fmla="*/ 434 w 444"/>
                <a:gd name="T57" fmla="*/ 339 h 365"/>
                <a:gd name="T58" fmla="*/ 434 w 444"/>
                <a:gd name="T59" fmla="*/ 329 h 365"/>
                <a:gd name="T60" fmla="*/ 336 w 444"/>
                <a:gd name="T61" fmla="*/ 205 h 365"/>
                <a:gd name="T62" fmla="*/ 434 w 444"/>
                <a:gd name="T63" fmla="*/ 329 h 365"/>
                <a:gd name="T64" fmla="*/ 336 w 444"/>
                <a:gd name="T65" fmla="*/ 196 h 365"/>
                <a:gd name="T66" fmla="*/ 343 w 444"/>
                <a:gd name="T67" fmla="*/ 181 h 365"/>
                <a:gd name="T68" fmla="*/ 434 w 444"/>
                <a:gd name="T69" fmla="*/ 189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4" h="365">
                  <a:moveTo>
                    <a:pt x="427" y="172"/>
                  </a:moveTo>
                  <a:cubicBezTo>
                    <a:pt x="414" y="172"/>
                    <a:pt x="414" y="172"/>
                    <a:pt x="414" y="172"/>
                  </a:cubicBezTo>
                  <a:cubicBezTo>
                    <a:pt x="414" y="22"/>
                    <a:pt x="414" y="22"/>
                    <a:pt x="414" y="22"/>
                  </a:cubicBezTo>
                  <a:cubicBezTo>
                    <a:pt x="414" y="10"/>
                    <a:pt x="404" y="0"/>
                    <a:pt x="39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0" y="273"/>
                    <a:pt x="10" y="283"/>
                    <a:pt x="22" y="283"/>
                  </a:cubicBezTo>
                  <a:cubicBezTo>
                    <a:pt x="163" y="283"/>
                    <a:pt x="163" y="283"/>
                    <a:pt x="163" y="283"/>
                  </a:cubicBezTo>
                  <a:cubicBezTo>
                    <a:pt x="161" y="319"/>
                    <a:pt x="154" y="355"/>
                    <a:pt x="144" y="355"/>
                  </a:cubicBezTo>
                  <a:cubicBezTo>
                    <a:pt x="123" y="355"/>
                    <a:pt x="123" y="355"/>
                    <a:pt x="123" y="355"/>
                  </a:cubicBezTo>
                  <a:cubicBezTo>
                    <a:pt x="120" y="355"/>
                    <a:pt x="118" y="358"/>
                    <a:pt x="118" y="360"/>
                  </a:cubicBezTo>
                  <a:cubicBezTo>
                    <a:pt x="118" y="363"/>
                    <a:pt x="120" y="365"/>
                    <a:pt x="123" y="365"/>
                  </a:cubicBezTo>
                  <a:cubicBezTo>
                    <a:pt x="291" y="365"/>
                    <a:pt x="291" y="365"/>
                    <a:pt x="291" y="365"/>
                  </a:cubicBezTo>
                  <a:cubicBezTo>
                    <a:pt x="294" y="365"/>
                    <a:pt x="296" y="363"/>
                    <a:pt x="296" y="360"/>
                  </a:cubicBezTo>
                  <a:cubicBezTo>
                    <a:pt x="296" y="358"/>
                    <a:pt x="294" y="355"/>
                    <a:pt x="291" y="355"/>
                  </a:cubicBezTo>
                  <a:cubicBezTo>
                    <a:pt x="273" y="355"/>
                    <a:pt x="273" y="355"/>
                    <a:pt x="273" y="355"/>
                  </a:cubicBezTo>
                  <a:cubicBezTo>
                    <a:pt x="264" y="355"/>
                    <a:pt x="256" y="319"/>
                    <a:pt x="254" y="283"/>
                  </a:cubicBezTo>
                  <a:cubicBezTo>
                    <a:pt x="326" y="283"/>
                    <a:pt x="326" y="283"/>
                    <a:pt x="326" y="283"/>
                  </a:cubicBezTo>
                  <a:cubicBezTo>
                    <a:pt x="326" y="348"/>
                    <a:pt x="326" y="348"/>
                    <a:pt x="326" y="348"/>
                  </a:cubicBezTo>
                  <a:cubicBezTo>
                    <a:pt x="326" y="357"/>
                    <a:pt x="334" y="365"/>
                    <a:pt x="343" y="365"/>
                  </a:cubicBezTo>
                  <a:cubicBezTo>
                    <a:pt x="427" y="365"/>
                    <a:pt x="427" y="365"/>
                    <a:pt x="427" y="365"/>
                  </a:cubicBezTo>
                  <a:cubicBezTo>
                    <a:pt x="436" y="365"/>
                    <a:pt x="444" y="357"/>
                    <a:pt x="444" y="348"/>
                  </a:cubicBezTo>
                  <a:cubicBezTo>
                    <a:pt x="444" y="189"/>
                    <a:pt x="444" y="189"/>
                    <a:pt x="444" y="189"/>
                  </a:cubicBezTo>
                  <a:cubicBezTo>
                    <a:pt x="444" y="179"/>
                    <a:pt x="436" y="172"/>
                    <a:pt x="427" y="172"/>
                  </a:cubicBezTo>
                  <a:close/>
                  <a:moveTo>
                    <a:pt x="10" y="22"/>
                  </a:moveTo>
                  <a:cubicBezTo>
                    <a:pt x="10" y="15"/>
                    <a:pt x="15" y="9"/>
                    <a:pt x="22" y="9"/>
                  </a:cubicBezTo>
                  <a:cubicBezTo>
                    <a:pt x="392" y="9"/>
                    <a:pt x="392" y="9"/>
                    <a:pt x="392" y="9"/>
                  </a:cubicBezTo>
                  <a:cubicBezTo>
                    <a:pt x="399" y="9"/>
                    <a:pt x="404" y="15"/>
                    <a:pt x="404" y="22"/>
                  </a:cubicBezTo>
                  <a:cubicBezTo>
                    <a:pt x="404" y="36"/>
                    <a:pt x="404" y="36"/>
                    <a:pt x="404" y="36"/>
                  </a:cubicBezTo>
                  <a:cubicBezTo>
                    <a:pt x="10" y="36"/>
                    <a:pt x="10" y="36"/>
                    <a:pt x="10" y="36"/>
                  </a:cubicBezTo>
                  <a:lnTo>
                    <a:pt x="10" y="22"/>
                  </a:lnTo>
                  <a:close/>
                  <a:moveTo>
                    <a:pt x="259" y="355"/>
                  </a:moveTo>
                  <a:cubicBezTo>
                    <a:pt x="158" y="355"/>
                    <a:pt x="158" y="355"/>
                    <a:pt x="158" y="355"/>
                  </a:cubicBezTo>
                  <a:cubicBezTo>
                    <a:pt x="169" y="338"/>
                    <a:pt x="172" y="301"/>
                    <a:pt x="172" y="283"/>
                  </a:cubicBezTo>
                  <a:cubicBezTo>
                    <a:pt x="245" y="283"/>
                    <a:pt x="245" y="283"/>
                    <a:pt x="245" y="283"/>
                  </a:cubicBezTo>
                  <a:cubicBezTo>
                    <a:pt x="245" y="290"/>
                    <a:pt x="246" y="305"/>
                    <a:pt x="249" y="320"/>
                  </a:cubicBezTo>
                  <a:cubicBezTo>
                    <a:pt x="251" y="336"/>
                    <a:pt x="255" y="348"/>
                    <a:pt x="259" y="355"/>
                  </a:cubicBezTo>
                  <a:close/>
                  <a:moveTo>
                    <a:pt x="326" y="273"/>
                  </a:moveTo>
                  <a:cubicBezTo>
                    <a:pt x="22" y="273"/>
                    <a:pt x="22" y="273"/>
                    <a:pt x="22" y="273"/>
                  </a:cubicBezTo>
                  <a:cubicBezTo>
                    <a:pt x="15" y="273"/>
                    <a:pt x="10" y="268"/>
                    <a:pt x="10" y="261"/>
                  </a:cubicBezTo>
                  <a:cubicBezTo>
                    <a:pt x="10" y="247"/>
                    <a:pt x="10" y="247"/>
                    <a:pt x="10" y="247"/>
                  </a:cubicBezTo>
                  <a:cubicBezTo>
                    <a:pt x="326" y="247"/>
                    <a:pt x="326" y="247"/>
                    <a:pt x="326" y="247"/>
                  </a:cubicBezTo>
                  <a:lnTo>
                    <a:pt x="326" y="273"/>
                  </a:lnTo>
                  <a:close/>
                  <a:moveTo>
                    <a:pt x="326" y="189"/>
                  </a:moveTo>
                  <a:cubicBezTo>
                    <a:pt x="326" y="237"/>
                    <a:pt x="326" y="237"/>
                    <a:pt x="326" y="237"/>
                  </a:cubicBezTo>
                  <a:cubicBezTo>
                    <a:pt x="10" y="237"/>
                    <a:pt x="10" y="237"/>
                    <a:pt x="10" y="237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404" y="45"/>
                    <a:pt x="404" y="45"/>
                    <a:pt x="404" y="45"/>
                  </a:cubicBezTo>
                  <a:cubicBezTo>
                    <a:pt x="404" y="172"/>
                    <a:pt x="404" y="172"/>
                    <a:pt x="404" y="172"/>
                  </a:cubicBezTo>
                  <a:cubicBezTo>
                    <a:pt x="343" y="172"/>
                    <a:pt x="343" y="172"/>
                    <a:pt x="343" y="172"/>
                  </a:cubicBezTo>
                  <a:cubicBezTo>
                    <a:pt x="334" y="172"/>
                    <a:pt x="326" y="179"/>
                    <a:pt x="326" y="189"/>
                  </a:cubicBezTo>
                  <a:close/>
                  <a:moveTo>
                    <a:pt x="434" y="348"/>
                  </a:moveTo>
                  <a:cubicBezTo>
                    <a:pt x="434" y="352"/>
                    <a:pt x="431" y="355"/>
                    <a:pt x="427" y="355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39" y="355"/>
                    <a:pt x="336" y="352"/>
                    <a:pt x="336" y="348"/>
                  </a:cubicBezTo>
                  <a:cubicBezTo>
                    <a:pt x="336" y="339"/>
                    <a:pt x="336" y="339"/>
                    <a:pt x="336" y="339"/>
                  </a:cubicBezTo>
                  <a:cubicBezTo>
                    <a:pt x="434" y="339"/>
                    <a:pt x="434" y="339"/>
                    <a:pt x="434" y="339"/>
                  </a:cubicBezTo>
                  <a:lnTo>
                    <a:pt x="434" y="348"/>
                  </a:lnTo>
                  <a:close/>
                  <a:moveTo>
                    <a:pt x="434" y="329"/>
                  </a:moveTo>
                  <a:cubicBezTo>
                    <a:pt x="336" y="329"/>
                    <a:pt x="336" y="329"/>
                    <a:pt x="336" y="329"/>
                  </a:cubicBezTo>
                  <a:cubicBezTo>
                    <a:pt x="336" y="205"/>
                    <a:pt x="336" y="205"/>
                    <a:pt x="336" y="205"/>
                  </a:cubicBezTo>
                  <a:cubicBezTo>
                    <a:pt x="434" y="205"/>
                    <a:pt x="434" y="205"/>
                    <a:pt x="434" y="205"/>
                  </a:cubicBezTo>
                  <a:lnTo>
                    <a:pt x="434" y="329"/>
                  </a:lnTo>
                  <a:close/>
                  <a:moveTo>
                    <a:pt x="434" y="196"/>
                  </a:moveTo>
                  <a:cubicBezTo>
                    <a:pt x="336" y="196"/>
                    <a:pt x="336" y="196"/>
                    <a:pt x="336" y="196"/>
                  </a:cubicBezTo>
                  <a:cubicBezTo>
                    <a:pt x="336" y="189"/>
                    <a:pt x="336" y="189"/>
                    <a:pt x="336" y="189"/>
                  </a:cubicBezTo>
                  <a:cubicBezTo>
                    <a:pt x="336" y="184"/>
                    <a:pt x="339" y="181"/>
                    <a:pt x="343" y="181"/>
                  </a:cubicBezTo>
                  <a:cubicBezTo>
                    <a:pt x="427" y="181"/>
                    <a:pt x="427" y="181"/>
                    <a:pt x="427" y="181"/>
                  </a:cubicBezTo>
                  <a:cubicBezTo>
                    <a:pt x="431" y="181"/>
                    <a:pt x="434" y="184"/>
                    <a:pt x="434" y="189"/>
                  </a:cubicBezTo>
                  <a:lnTo>
                    <a:pt x="434" y="1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170553" y="3560569"/>
            <a:ext cx="802895" cy="802895"/>
            <a:chOff x="7202762" y="7121636"/>
            <a:chExt cx="837454" cy="837454"/>
          </a:xfrm>
        </p:grpSpPr>
        <p:sp>
          <p:nvSpPr>
            <p:cNvPr id="11" name="Oval 20"/>
            <p:cNvSpPr>
              <a:spLocks noChangeArrowheads="1"/>
            </p:cNvSpPr>
            <p:nvPr/>
          </p:nvSpPr>
          <p:spPr bwMode="auto">
            <a:xfrm>
              <a:off x="7202762" y="7121636"/>
              <a:ext cx="837454" cy="83745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2" name="Freeform 25"/>
            <p:cNvSpPr>
              <a:spLocks noEditPoints="1"/>
            </p:cNvSpPr>
            <p:nvPr/>
          </p:nvSpPr>
          <p:spPr bwMode="auto">
            <a:xfrm>
              <a:off x="7402870" y="7309146"/>
              <a:ext cx="436570" cy="463435"/>
            </a:xfrm>
            <a:custGeom>
              <a:avLst/>
              <a:gdLst>
                <a:gd name="T0" fmla="*/ 417 w 554"/>
                <a:gd name="T1" fmla="*/ 228 h 588"/>
                <a:gd name="T2" fmla="*/ 368 w 554"/>
                <a:gd name="T3" fmla="*/ 128 h 588"/>
                <a:gd name="T4" fmla="*/ 390 w 554"/>
                <a:gd name="T5" fmla="*/ 69 h 588"/>
                <a:gd name="T6" fmla="*/ 397 w 554"/>
                <a:gd name="T7" fmla="*/ 7 h 588"/>
                <a:gd name="T8" fmla="*/ 158 w 554"/>
                <a:gd name="T9" fmla="*/ 0 h 588"/>
                <a:gd name="T10" fmla="*/ 151 w 554"/>
                <a:gd name="T11" fmla="*/ 62 h 588"/>
                <a:gd name="T12" fmla="*/ 186 w 554"/>
                <a:gd name="T13" fmla="*/ 69 h 588"/>
                <a:gd name="T14" fmla="*/ 140 w 554"/>
                <a:gd name="T15" fmla="*/ 223 h 588"/>
                <a:gd name="T16" fmla="*/ 24 w 554"/>
                <a:gd name="T17" fmla="*/ 459 h 588"/>
                <a:gd name="T18" fmla="*/ 70 w 554"/>
                <a:gd name="T19" fmla="*/ 588 h 588"/>
                <a:gd name="T20" fmla="*/ 540 w 554"/>
                <a:gd name="T21" fmla="*/ 564 h 588"/>
                <a:gd name="T22" fmla="*/ 165 w 554"/>
                <a:gd name="T23" fmla="*/ 14 h 588"/>
                <a:gd name="T24" fmla="*/ 383 w 554"/>
                <a:gd name="T25" fmla="*/ 55 h 588"/>
                <a:gd name="T26" fmla="*/ 193 w 554"/>
                <a:gd name="T27" fmla="*/ 55 h 588"/>
                <a:gd name="T28" fmla="*/ 165 w 554"/>
                <a:gd name="T29" fmla="*/ 14 h 588"/>
                <a:gd name="T30" fmla="*/ 200 w 554"/>
                <a:gd name="T31" fmla="*/ 129 h 588"/>
                <a:gd name="T32" fmla="*/ 354 w 554"/>
                <a:gd name="T33" fmla="*/ 69 h 588"/>
                <a:gd name="T34" fmla="*/ 355 w 554"/>
                <a:gd name="T35" fmla="*/ 133 h 588"/>
                <a:gd name="T36" fmla="*/ 366 w 554"/>
                <a:gd name="T37" fmla="*/ 243 h 588"/>
                <a:gd name="T38" fmla="*/ 321 w 554"/>
                <a:gd name="T39" fmla="*/ 221 h 588"/>
                <a:gd name="T40" fmla="*/ 316 w 554"/>
                <a:gd name="T41" fmla="*/ 224 h 588"/>
                <a:gd name="T42" fmla="*/ 238 w 554"/>
                <a:gd name="T43" fmla="*/ 224 h 588"/>
                <a:gd name="T44" fmla="*/ 188 w 554"/>
                <a:gd name="T45" fmla="*/ 243 h 588"/>
                <a:gd name="T46" fmla="*/ 200 w 554"/>
                <a:gd name="T47" fmla="*/ 133 h 588"/>
                <a:gd name="T48" fmla="*/ 484 w 554"/>
                <a:gd name="T49" fmla="*/ 574 h 588"/>
                <a:gd name="T50" fmla="*/ 26 w 554"/>
                <a:gd name="T51" fmla="*/ 557 h 588"/>
                <a:gd name="T52" fmla="*/ 147 w 554"/>
                <a:gd name="T53" fmla="*/ 241 h 588"/>
                <a:gd name="T54" fmla="*/ 233 w 554"/>
                <a:gd name="T55" fmla="*/ 239 h 588"/>
                <a:gd name="T56" fmla="*/ 321 w 554"/>
                <a:gd name="T57" fmla="*/ 239 h 588"/>
                <a:gd name="T58" fmla="*/ 366 w 554"/>
                <a:gd name="T59" fmla="*/ 257 h 588"/>
                <a:gd name="T60" fmla="*/ 517 w 554"/>
                <a:gd name="T61" fmla="*/ 464 h 588"/>
                <a:gd name="T62" fmla="*/ 222 w 554"/>
                <a:gd name="T63" fmla="*/ 384 h 588"/>
                <a:gd name="T64" fmla="*/ 222 w 554"/>
                <a:gd name="T65" fmla="*/ 470 h 588"/>
                <a:gd name="T66" fmla="*/ 222 w 554"/>
                <a:gd name="T67" fmla="*/ 384 h 588"/>
                <a:gd name="T68" fmla="*/ 193 w 554"/>
                <a:gd name="T69" fmla="*/ 427 h 588"/>
                <a:gd name="T70" fmla="*/ 250 w 554"/>
                <a:gd name="T71" fmla="*/ 427 h 588"/>
                <a:gd name="T72" fmla="*/ 352 w 554"/>
                <a:gd name="T73" fmla="*/ 314 h 588"/>
                <a:gd name="T74" fmla="*/ 352 w 554"/>
                <a:gd name="T75" fmla="*/ 434 h 588"/>
                <a:gd name="T76" fmla="*/ 352 w 554"/>
                <a:gd name="T77" fmla="*/ 314 h 588"/>
                <a:gd name="T78" fmla="*/ 306 w 554"/>
                <a:gd name="T79" fmla="*/ 374 h 588"/>
                <a:gd name="T80" fmla="*/ 398 w 554"/>
                <a:gd name="T81" fmla="*/ 374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4" h="588">
                  <a:moveTo>
                    <a:pt x="530" y="458"/>
                  </a:moveTo>
                  <a:cubicBezTo>
                    <a:pt x="417" y="228"/>
                    <a:pt x="417" y="228"/>
                    <a:pt x="417" y="228"/>
                  </a:cubicBezTo>
                  <a:cubicBezTo>
                    <a:pt x="417" y="226"/>
                    <a:pt x="416" y="224"/>
                    <a:pt x="414" y="223"/>
                  </a:cubicBezTo>
                  <a:cubicBezTo>
                    <a:pt x="368" y="128"/>
                    <a:pt x="368" y="128"/>
                    <a:pt x="368" y="128"/>
                  </a:cubicBezTo>
                  <a:cubicBezTo>
                    <a:pt x="368" y="69"/>
                    <a:pt x="368" y="69"/>
                    <a:pt x="368" y="69"/>
                  </a:cubicBezTo>
                  <a:cubicBezTo>
                    <a:pt x="390" y="69"/>
                    <a:pt x="390" y="69"/>
                    <a:pt x="390" y="69"/>
                  </a:cubicBezTo>
                  <a:cubicBezTo>
                    <a:pt x="394" y="69"/>
                    <a:pt x="397" y="66"/>
                    <a:pt x="397" y="62"/>
                  </a:cubicBezTo>
                  <a:cubicBezTo>
                    <a:pt x="397" y="7"/>
                    <a:pt x="397" y="7"/>
                    <a:pt x="397" y="7"/>
                  </a:cubicBezTo>
                  <a:cubicBezTo>
                    <a:pt x="397" y="3"/>
                    <a:pt x="394" y="0"/>
                    <a:pt x="390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4" y="0"/>
                    <a:pt x="151" y="3"/>
                    <a:pt x="151" y="7"/>
                  </a:cubicBezTo>
                  <a:cubicBezTo>
                    <a:pt x="151" y="62"/>
                    <a:pt x="151" y="62"/>
                    <a:pt x="151" y="62"/>
                  </a:cubicBezTo>
                  <a:cubicBezTo>
                    <a:pt x="151" y="66"/>
                    <a:pt x="154" y="69"/>
                    <a:pt x="158" y="69"/>
                  </a:cubicBezTo>
                  <a:cubicBezTo>
                    <a:pt x="186" y="69"/>
                    <a:pt x="186" y="69"/>
                    <a:pt x="186" y="69"/>
                  </a:cubicBezTo>
                  <a:cubicBezTo>
                    <a:pt x="186" y="128"/>
                    <a:pt x="186" y="128"/>
                    <a:pt x="186" y="128"/>
                  </a:cubicBezTo>
                  <a:cubicBezTo>
                    <a:pt x="140" y="223"/>
                    <a:pt x="140" y="223"/>
                    <a:pt x="140" y="223"/>
                  </a:cubicBezTo>
                  <a:cubicBezTo>
                    <a:pt x="138" y="224"/>
                    <a:pt x="137" y="226"/>
                    <a:pt x="137" y="228"/>
                  </a:cubicBezTo>
                  <a:cubicBezTo>
                    <a:pt x="24" y="459"/>
                    <a:pt x="24" y="459"/>
                    <a:pt x="24" y="459"/>
                  </a:cubicBezTo>
                  <a:cubicBezTo>
                    <a:pt x="3" y="507"/>
                    <a:pt x="0" y="543"/>
                    <a:pt x="14" y="564"/>
                  </a:cubicBezTo>
                  <a:cubicBezTo>
                    <a:pt x="25" y="580"/>
                    <a:pt x="43" y="588"/>
                    <a:pt x="70" y="588"/>
                  </a:cubicBezTo>
                  <a:cubicBezTo>
                    <a:pt x="484" y="588"/>
                    <a:pt x="484" y="588"/>
                    <a:pt x="484" y="588"/>
                  </a:cubicBezTo>
                  <a:cubicBezTo>
                    <a:pt x="511" y="588"/>
                    <a:pt x="530" y="580"/>
                    <a:pt x="540" y="564"/>
                  </a:cubicBezTo>
                  <a:cubicBezTo>
                    <a:pt x="554" y="543"/>
                    <a:pt x="551" y="507"/>
                    <a:pt x="530" y="458"/>
                  </a:cubicBezTo>
                  <a:close/>
                  <a:moveTo>
                    <a:pt x="165" y="14"/>
                  </a:moveTo>
                  <a:cubicBezTo>
                    <a:pt x="383" y="14"/>
                    <a:pt x="383" y="14"/>
                    <a:pt x="383" y="14"/>
                  </a:cubicBezTo>
                  <a:cubicBezTo>
                    <a:pt x="383" y="55"/>
                    <a:pt x="383" y="55"/>
                    <a:pt x="383" y="55"/>
                  </a:cubicBezTo>
                  <a:cubicBezTo>
                    <a:pt x="361" y="55"/>
                    <a:pt x="361" y="55"/>
                    <a:pt x="361" y="55"/>
                  </a:cubicBezTo>
                  <a:cubicBezTo>
                    <a:pt x="193" y="55"/>
                    <a:pt x="193" y="55"/>
                    <a:pt x="193" y="55"/>
                  </a:cubicBezTo>
                  <a:cubicBezTo>
                    <a:pt x="165" y="55"/>
                    <a:pt x="165" y="55"/>
                    <a:pt x="165" y="55"/>
                  </a:cubicBezTo>
                  <a:lnTo>
                    <a:pt x="165" y="14"/>
                  </a:lnTo>
                  <a:close/>
                  <a:moveTo>
                    <a:pt x="200" y="133"/>
                  </a:moveTo>
                  <a:cubicBezTo>
                    <a:pt x="200" y="132"/>
                    <a:pt x="200" y="131"/>
                    <a:pt x="200" y="129"/>
                  </a:cubicBezTo>
                  <a:cubicBezTo>
                    <a:pt x="200" y="69"/>
                    <a:pt x="200" y="69"/>
                    <a:pt x="200" y="69"/>
                  </a:cubicBezTo>
                  <a:cubicBezTo>
                    <a:pt x="354" y="69"/>
                    <a:pt x="354" y="69"/>
                    <a:pt x="354" y="69"/>
                  </a:cubicBezTo>
                  <a:cubicBezTo>
                    <a:pt x="354" y="129"/>
                    <a:pt x="354" y="129"/>
                    <a:pt x="354" y="129"/>
                  </a:cubicBezTo>
                  <a:cubicBezTo>
                    <a:pt x="354" y="131"/>
                    <a:pt x="354" y="132"/>
                    <a:pt x="355" y="133"/>
                  </a:cubicBezTo>
                  <a:cubicBezTo>
                    <a:pt x="401" y="228"/>
                    <a:pt x="401" y="228"/>
                    <a:pt x="401" y="228"/>
                  </a:cubicBezTo>
                  <a:cubicBezTo>
                    <a:pt x="392" y="238"/>
                    <a:pt x="379" y="243"/>
                    <a:pt x="366" y="243"/>
                  </a:cubicBezTo>
                  <a:cubicBezTo>
                    <a:pt x="350" y="243"/>
                    <a:pt x="336" y="237"/>
                    <a:pt x="327" y="224"/>
                  </a:cubicBezTo>
                  <a:cubicBezTo>
                    <a:pt x="326" y="222"/>
                    <a:pt x="324" y="221"/>
                    <a:pt x="321" y="221"/>
                  </a:cubicBezTo>
                  <a:cubicBezTo>
                    <a:pt x="321" y="221"/>
                    <a:pt x="321" y="221"/>
                    <a:pt x="321" y="221"/>
                  </a:cubicBezTo>
                  <a:cubicBezTo>
                    <a:pt x="319" y="221"/>
                    <a:pt x="317" y="222"/>
                    <a:pt x="316" y="224"/>
                  </a:cubicBezTo>
                  <a:cubicBezTo>
                    <a:pt x="307" y="236"/>
                    <a:pt x="292" y="243"/>
                    <a:pt x="277" y="243"/>
                  </a:cubicBezTo>
                  <a:cubicBezTo>
                    <a:pt x="262" y="243"/>
                    <a:pt x="247" y="236"/>
                    <a:pt x="238" y="224"/>
                  </a:cubicBezTo>
                  <a:cubicBezTo>
                    <a:pt x="236" y="220"/>
                    <a:pt x="230" y="220"/>
                    <a:pt x="227" y="224"/>
                  </a:cubicBezTo>
                  <a:cubicBezTo>
                    <a:pt x="218" y="236"/>
                    <a:pt x="204" y="243"/>
                    <a:pt x="188" y="243"/>
                  </a:cubicBezTo>
                  <a:cubicBezTo>
                    <a:pt x="175" y="243"/>
                    <a:pt x="162" y="238"/>
                    <a:pt x="153" y="228"/>
                  </a:cubicBezTo>
                  <a:lnTo>
                    <a:pt x="200" y="133"/>
                  </a:lnTo>
                  <a:close/>
                  <a:moveTo>
                    <a:pt x="528" y="557"/>
                  </a:moveTo>
                  <a:cubicBezTo>
                    <a:pt x="521" y="568"/>
                    <a:pt x="506" y="574"/>
                    <a:pt x="484" y="574"/>
                  </a:cubicBezTo>
                  <a:cubicBezTo>
                    <a:pt x="70" y="574"/>
                    <a:pt x="70" y="574"/>
                    <a:pt x="70" y="574"/>
                  </a:cubicBezTo>
                  <a:cubicBezTo>
                    <a:pt x="48" y="574"/>
                    <a:pt x="34" y="568"/>
                    <a:pt x="26" y="557"/>
                  </a:cubicBezTo>
                  <a:cubicBezTo>
                    <a:pt x="15" y="539"/>
                    <a:pt x="18" y="507"/>
                    <a:pt x="37" y="465"/>
                  </a:cubicBezTo>
                  <a:cubicBezTo>
                    <a:pt x="147" y="241"/>
                    <a:pt x="147" y="241"/>
                    <a:pt x="147" y="241"/>
                  </a:cubicBezTo>
                  <a:cubicBezTo>
                    <a:pt x="158" y="251"/>
                    <a:pt x="173" y="257"/>
                    <a:pt x="188" y="257"/>
                  </a:cubicBezTo>
                  <a:cubicBezTo>
                    <a:pt x="205" y="257"/>
                    <a:pt x="221" y="251"/>
                    <a:pt x="233" y="239"/>
                  </a:cubicBezTo>
                  <a:cubicBezTo>
                    <a:pt x="244" y="251"/>
                    <a:pt x="260" y="257"/>
                    <a:pt x="277" y="257"/>
                  </a:cubicBezTo>
                  <a:cubicBezTo>
                    <a:pt x="294" y="257"/>
                    <a:pt x="310" y="251"/>
                    <a:pt x="321" y="239"/>
                  </a:cubicBezTo>
                  <a:cubicBezTo>
                    <a:pt x="333" y="251"/>
                    <a:pt x="348" y="257"/>
                    <a:pt x="365" y="257"/>
                  </a:cubicBezTo>
                  <a:cubicBezTo>
                    <a:pt x="365" y="257"/>
                    <a:pt x="366" y="257"/>
                    <a:pt x="366" y="257"/>
                  </a:cubicBezTo>
                  <a:cubicBezTo>
                    <a:pt x="382" y="257"/>
                    <a:pt x="396" y="251"/>
                    <a:pt x="408" y="241"/>
                  </a:cubicBezTo>
                  <a:cubicBezTo>
                    <a:pt x="517" y="464"/>
                    <a:pt x="517" y="464"/>
                    <a:pt x="517" y="464"/>
                  </a:cubicBezTo>
                  <a:cubicBezTo>
                    <a:pt x="536" y="507"/>
                    <a:pt x="540" y="539"/>
                    <a:pt x="528" y="557"/>
                  </a:cubicBezTo>
                  <a:close/>
                  <a:moveTo>
                    <a:pt x="222" y="384"/>
                  </a:moveTo>
                  <a:cubicBezTo>
                    <a:pt x="198" y="384"/>
                    <a:pt x="179" y="403"/>
                    <a:pt x="179" y="427"/>
                  </a:cubicBezTo>
                  <a:cubicBezTo>
                    <a:pt x="179" y="450"/>
                    <a:pt x="198" y="470"/>
                    <a:pt x="222" y="470"/>
                  </a:cubicBezTo>
                  <a:cubicBezTo>
                    <a:pt x="245" y="470"/>
                    <a:pt x="264" y="450"/>
                    <a:pt x="264" y="427"/>
                  </a:cubicBezTo>
                  <a:cubicBezTo>
                    <a:pt x="264" y="403"/>
                    <a:pt x="245" y="384"/>
                    <a:pt x="222" y="384"/>
                  </a:cubicBezTo>
                  <a:close/>
                  <a:moveTo>
                    <a:pt x="222" y="456"/>
                  </a:moveTo>
                  <a:cubicBezTo>
                    <a:pt x="206" y="456"/>
                    <a:pt x="193" y="443"/>
                    <a:pt x="193" y="427"/>
                  </a:cubicBezTo>
                  <a:cubicBezTo>
                    <a:pt x="193" y="411"/>
                    <a:pt x="206" y="398"/>
                    <a:pt x="222" y="398"/>
                  </a:cubicBezTo>
                  <a:cubicBezTo>
                    <a:pt x="238" y="398"/>
                    <a:pt x="250" y="411"/>
                    <a:pt x="250" y="427"/>
                  </a:cubicBezTo>
                  <a:cubicBezTo>
                    <a:pt x="250" y="443"/>
                    <a:pt x="238" y="456"/>
                    <a:pt x="222" y="456"/>
                  </a:cubicBezTo>
                  <a:close/>
                  <a:moveTo>
                    <a:pt x="352" y="314"/>
                  </a:moveTo>
                  <a:cubicBezTo>
                    <a:pt x="319" y="314"/>
                    <a:pt x="292" y="341"/>
                    <a:pt x="292" y="374"/>
                  </a:cubicBezTo>
                  <a:cubicBezTo>
                    <a:pt x="292" y="407"/>
                    <a:pt x="319" y="434"/>
                    <a:pt x="352" y="434"/>
                  </a:cubicBezTo>
                  <a:cubicBezTo>
                    <a:pt x="385" y="434"/>
                    <a:pt x="412" y="407"/>
                    <a:pt x="412" y="374"/>
                  </a:cubicBezTo>
                  <a:cubicBezTo>
                    <a:pt x="412" y="341"/>
                    <a:pt x="385" y="314"/>
                    <a:pt x="352" y="314"/>
                  </a:cubicBezTo>
                  <a:close/>
                  <a:moveTo>
                    <a:pt x="352" y="420"/>
                  </a:moveTo>
                  <a:cubicBezTo>
                    <a:pt x="327" y="420"/>
                    <a:pt x="306" y="400"/>
                    <a:pt x="306" y="374"/>
                  </a:cubicBezTo>
                  <a:cubicBezTo>
                    <a:pt x="306" y="349"/>
                    <a:pt x="327" y="328"/>
                    <a:pt x="352" y="328"/>
                  </a:cubicBezTo>
                  <a:cubicBezTo>
                    <a:pt x="378" y="328"/>
                    <a:pt x="398" y="349"/>
                    <a:pt x="398" y="374"/>
                  </a:cubicBezTo>
                  <a:cubicBezTo>
                    <a:pt x="398" y="400"/>
                    <a:pt x="378" y="420"/>
                    <a:pt x="352" y="4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033889" y="1657130"/>
            <a:ext cx="802895" cy="802895"/>
            <a:chOff x="2679947" y="7121636"/>
            <a:chExt cx="837454" cy="837454"/>
          </a:xfrm>
        </p:grpSpPr>
        <p:sp>
          <p:nvSpPr>
            <p:cNvPr id="3" name="Oval 14"/>
            <p:cNvSpPr>
              <a:spLocks noChangeArrowheads="1"/>
            </p:cNvSpPr>
            <p:nvPr/>
          </p:nvSpPr>
          <p:spPr bwMode="auto">
            <a:xfrm>
              <a:off x="2679947" y="7121636"/>
              <a:ext cx="837454" cy="83745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" name="Freeform 22"/>
            <p:cNvSpPr>
              <a:spLocks noEditPoints="1"/>
            </p:cNvSpPr>
            <p:nvPr/>
          </p:nvSpPr>
          <p:spPr bwMode="auto">
            <a:xfrm>
              <a:off x="2845946" y="7349400"/>
              <a:ext cx="505951" cy="381927"/>
            </a:xfrm>
            <a:custGeom>
              <a:avLst/>
              <a:gdLst>
                <a:gd name="T0" fmla="*/ 267 w 431"/>
                <a:gd name="T1" fmla="*/ 136 h 325"/>
                <a:gd name="T2" fmla="*/ 370 w 431"/>
                <a:gd name="T3" fmla="*/ 185 h 325"/>
                <a:gd name="T4" fmla="*/ 267 w 431"/>
                <a:gd name="T5" fmla="*/ 239 h 325"/>
                <a:gd name="T6" fmla="*/ 265 w 431"/>
                <a:gd name="T7" fmla="*/ 245 h 325"/>
                <a:gd name="T8" fmla="*/ 269 w 431"/>
                <a:gd name="T9" fmla="*/ 248 h 325"/>
                <a:gd name="T10" fmla="*/ 271 w 431"/>
                <a:gd name="T11" fmla="*/ 247 h 325"/>
                <a:gd name="T12" fmla="*/ 383 w 431"/>
                <a:gd name="T13" fmla="*/ 188 h 325"/>
                <a:gd name="T14" fmla="*/ 386 w 431"/>
                <a:gd name="T15" fmla="*/ 184 h 325"/>
                <a:gd name="T16" fmla="*/ 383 w 431"/>
                <a:gd name="T17" fmla="*/ 180 h 325"/>
                <a:gd name="T18" fmla="*/ 271 w 431"/>
                <a:gd name="T19" fmla="*/ 128 h 325"/>
                <a:gd name="T20" fmla="*/ 265 w 431"/>
                <a:gd name="T21" fmla="*/ 130 h 325"/>
                <a:gd name="T22" fmla="*/ 267 w 431"/>
                <a:gd name="T23" fmla="*/ 136 h 325"/>
                <a:gd name="T24" fmla="*/ 202 w 431"/>
                <a:gd name="T25" fmla="*/ 268 h 325"/>
                <a:gd name="T26" fmla="*/ 203 w 431"/>
                <a:gd name="T27" fmla="*/ 268 h 325"/>
                <a:gd name="T28" fmla="*/ 207 w 431"/>
                <a:gd name="T29" fmla="*/ 265 h 325"/>
                <a:gd name="T30" fmla="*/ 252 w 431"/>
                <a:gd name="T31" fmla="*/ 113 h 325"/>
                <a:gd name="T32" fmla="*/ 248 w 431"/>
                <a:gd name="T33" fmla="*/ 107 h 325"/>
                <a:gd name="T34" fmla="*/ 243 w 431"/>
                <a:gd name="T35" fmla="*/ 110 h 325"/>
                <a:gd name="T36" fmla="*/ 198 w 431"/>
                <a:gd name="T37" fmla="*/ 262 h 325"/>
                <a:gd name="T38" fmla="*/ 202 w 431"/>
                <a:gd name="T39" fmla="*/ 268 h 325"/>
                <a:gd name="T40" fmla="*/ 386 w 431"/>
                <a:gd name="T41" fmla="*/ 0 h 325"/>
                <a:gd name="T42" fmla="*/ 46 w 431"/>
                <a:gd name="T43" fmla="*/ 0 h 325"/>
                <a:gd name="T44" fmla="*/ 0 w 431"/>
                <a:gd name="T45" fmla="*/ 47 h 325"/>
                <a:gd name="T46" fmla="*/ 0 w 431"/>
                <a:gd name="T47" fmla="*/ 320 h 325"/>
                <a:gd name="T48" fmla="*/ 5 w 431"/>
                <a:gd name="T49" fmla="*/ 325 h 325"/>
                <a:gd name="T50" fmla="*/ 427 w 431"/>
                <a:gd name="T51" fmla="*/ 325 h 325"/>
                <a:gd name="T52" fmla="*/ 431 w 431"/>
                <a:gd name="T53" fmla="*/ 320 h 325"/>
                <a:gd name="T54" fmla="*/ 431 w 431"/>
                <a:gd name="T55" fmla="*/ 47 h 325"/>
                <a:gd name="T56" fmla="*/ 386 w 431"/>
                <a:gd name="T57" fmla="*/ 0 h 325"/>
                <a:gd name="T58" fmla="*/ 422 w 431"/>
                <a:gd name="T59" fmla="*/ 315 h 325"/>
                <a:gd name="T60" fmla="*/ 9 w 431"/>
                <a:gd name="T61" fmla="*/ 315 h 325"/>
                <a:gd name="T62" fmla="*/ 9 w 431"/>
                <a:gd name="T63" fmla="*/ 64 h 325"/>
                <a:gd name="T64" fmla="*/ 422 w 431"/>
                <a:gd name="T65" fmla="*/ 64 h 325"/>
                <a:gd name="T66" fmla="*/ 422 w 431"/>
                <a:gd name="T67" fmla="*/ 315 h 325"/>
                <a:gd name="T68" fmla="*/ 422 w 431"/>
                <a:gd name="T69" fmla="*/ 55 h 325"/>
                <a:gd name="T70" fmla="*/ 9 w 431"/>
                <a:gd name="T71" fmla="*/ 55 h 325"/>
                <a:gd name="T72" fmla="*/ 9 w 431"/>
                <a:gd name="T73" fmla="*/ 47 h 325"/>
                <a:gd name="T74" fmla="*/ 46 w 431"/>
                <a:gd name="T75" fmla="*/ 9 h 325"/>
                <a:gd name="T76" fmla="*/ 386 w 431"/>
                <a:gd name="T77" fmla="*/ 9 h 325"/>
                <a:gd name="T78" fmla="*/ 422 w 431"/>
                <a:gd name="T79" fmla="*/ 47 h 325"/>
                <a:gd name="T80" fmla="*/ 422 w 431"/>
                <a:gd name="T81" fmla="*/ 55 h 325"/>
                <a:gd name="T82" fmla="*/ 67 w 431"/>
                <a:gd name="T83" fmla="*/ 195 h 325"/>
                <a:gd name="T84" fmla="*/ 179 w 431"/>
                <a:gd name="T85" fmla="*/ 247 h 325"/>
                <a:gd name="T86" fmla="*/ 181 w 431"/>
                <a:gd name="T87" fmla="*/ 248 h 325"/>
                <a:gd name="T88" fmla="*/ 185 w 431"/>
                <a:gd name="T89" fmla="*/ 245 h 325"/>
                <a:gd name="T90" fmla="*/ 183 w 431"/>
                <a:gd name="T91" fmla="*/ 239 h 325"/>
                <a:gd name="T92" fmla="*/ 80 w 431"/>
                <a:gd name="T93" fmla="*/ 191 h 325"/>
                <a:gd name="T94" fmla="*/ 183 w 431"/>
                <a:gd name="T95" fmla="*/ 136 h 325"/>
                <a:gd name="T96" fmla="*/ 185 w 431"/>
                <a:gd name="T97" fmla="*/ 130 h 325"/>
                <a:gd name="T98" fmla="*/ 179 w 431"/>
                <a:gd name="T99" fmla="*/ 128 h 325"/>
                <a:gd name="T100" fmla="*/ 67 w 431"/>
                <a:gd name="T101" fmla="*/ 187 h 325"/>
                <a:gd name="T102" fmla="*/ 64 w 431"/>
                <a:gd name="T103" fmla="*/ 191 h 325"/>
                <a:gd name="T104" fmla="*/ 67 w 431"/>
                <a:gd name="T105" fmla="*/ 19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31" h="325">
                  <a:moveTo>
                    <a:pt x="267" y="136"/>
                  </a:moveTo>
                  <a:cubicBezTo>
                    <a:pt x="370" y="185"/>
                    <a:pt x="370" y="185"/>
                    <a:pt x="370" y="185"/>
                  </a:cubicBezTo>
                  <a:cubicBezTo>
                    <a:pt x="267" y="239"/>
                    <a:pt x="267" y="239"/>
                    <a:pt x="267" y="239"/>
                  </a:cubicBezTo>
                  <a:cubicBezTo>
                    <a:pt x="265" y="240"/>
                    <a:pt x="264" y="243"/>
                    <a:pt x="265" y="245"/>
                  </a:cubicBezTo>
                  <a:cubicBezTo>
                    <a:pt x="266" y="247"/>
                    <a:pt x="268" y="248"/>
                    <a:pt x="269" y="248"/>
                  </a:cubicBezTo>
                  <a:cubicBezTo>
                    <a:pt x="270" y="248"/>
                    <a:pt x="271" y="248"/>
                    <a:pt x="271" y="247"/>
                  </a:cubicBezTo>
                  <a:cubicBezTo>
                    <a:pt x="383" y="188"/>
                    <a:pt x="383" y="188"/>
                    <a:pt x="383" y="188"/>
                  </a:cubicBezTo>
                  <a:cubicBezTo>
                    <a:pt x="385" y="188"/>
                    <a:pt x="386" y="186"/>
                    <a:pt x="386" y="184"/>
                  </a:cubicBezTo>
                  <a:cubicBezTo>
                    <a:pt x="386" y="182"/>
                    <a:pt x="385" y="181"/>
                    <a:pt x="383" y="180"/>
                  </a:cubicBezTo>
                  <a:cubicBezTo>
                    <a:pt x="271" y="128"/>
                    <a:pt x="271" y="128"/>
                    <a:pt x="271" y="128"/>
                  </a:cubicBezTo>
                  <a:cubicBezTo>
                    <a:pt x="269" y="127"/>
                    <a:pt x="266" y="128"/>
                    <a:pt x="265" y="130"/>
                  </a:cubicBezTo>
                  <a:cubicBezTo>
                    <a:pt x="264" y="132"/>
                    <a:pt x="265" y="135"/>
                    <a:pt x="267" y="136"/>
                  </a:cubicBezTo>
                  <a:close/>
                  <a:moveTo>
                    <a:pt x="202" y="268"/>
                  </a:moveTo>
                  <a:cubicBezTo>
                    <a:pt x="202" y="268"/>
                    <a:pt x="202" y="268"/>
                    <a:pt x="203" y="268"/>
                  </a:cubicBezTo>
                  <a:cubicBezTo>
                    <a:pt x="205" y="268"/>
                    <a:pt x="207" y="267"/>
                    <a:pt x="207" y="265"/>
                  </a:cubicBezTo>
                  <a:cubicBezTo>
                    <a:pt x="252" y="113"/>
                    <a:pt x="252" y="113"/>
                    <a:pt x="252" y="113"/>
                  </a:cubicBezTo>
                  <a:cubicBezTo>
                    <a:pt x="252" y="111"/>
                    <a:pt x="251" y="108"/>
                    <a:pt x="248" y="107"/>
                  </a:cubicBezTo>
                  <a:cubicBezTo>
                    <a:pt x="246" y="106"/>
                    <a:pt x="243" y="108"/>
                    <a:pt x="243" y="110"/>
                  </a:cubicBezTo>
                  <a:cubicBezTo>
                    <a:pt x="198" y="262"/>
                    <a:pt x="198" y="262"/>
                    <a:pt x="198" y="262"/>
                  </a:cubicBezTo>
                  <a:cubicBezTo>
                    <a:pt x="198" y="265"/>
                    <a:pt x="199" y="267"/>
                    <a:pt x="202" y="268"/>
                  </a:cubicBezTo>
                  <a:close/>
                  <a:moveTo>
                    <a:pt x="38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0" y="21"/>
                    <a:pt x="0" y="47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0" y="323"/>
                    <a:pt x="2" y="325"/>
                    <a:pt x="5" y="325"/>
                  </a:cubicBezTo>
                  <a:cubicBezTo>
                    <a:pt x="427" y="325"/>
                    <a:pt x="427" y="325"/>
                    <a:pt x="427" y="325"/>
                  </a:cubicBezTo>
                  <a:cubicBezTo>
                    <a:pt x="429" y="325"/>
                    <a:pt x="431" y="323"/>
                    <a:pt x="431" y="320"/>
                  </a:cubicBezTo>
                  <a:cubicBezTo>
                    <a:pt x="431" y="47"/>
                    <a:pt x="431" y="47"/>
                    <a:pt x="431" y="47"/>
                  </a:cubicBezTo>
                  <a:cubicBezTo>
                    <a:pt x="431" y="21"/>
                    <a:pt x="411" y="0"/>
                    <a:pt x="386" y="0"/>
                  </a:cubicBezTo>
                  <a:close/>
                  <a:moveTo>
                    <a:pt x="422" y="315"/>
                  </a:moveTo>
                  <a:cubicBezTo>
                    <a:pt x="9" y="315"/>
                    <a:pt x="9" y="315"/>
                    <a:pt x="9" y="315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422" y="64"/>
                    <a:pt x="422" y="64"/>
                    <a:pt x="422" y="64"/>
                  </a:cubicBezTo>
                  <a:lnTo>
                    <a:pt x="422" y="315"/>
                  </a:lnTo>
                  <a:close/>
                  <a:moveTo>
                    <a:pt x="422" y="55"/>
                  </a:moveTo>
                  <a:cubicBezTo>
                    <a:pt x="9" y="55"/>
                    <a:pt x="9" y="55"/>
                    <a:pt x="9" y="55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26"/>
                    <a:pt x="26" y="9"/>
                    <a:pt x="46" y="9"/>
                  </a:cubicBezTo>
                  <a:cubicBezTo>
                    <a:pt x="386" y="9"/>
                    <a:pt x="386" y="9"/>
                    <a:pt x="386" y="9"/>
                  </a:cubicBezTo>
                  <a:cubicBezTo>
                    <a:pt x="406" y="9"/>
                    <a:pt x="422" y="26"/>
                    <a:pt x="422" y="47"/>
                  </a:cubicBezTo>
                  <a:lnTo>
                    <a:pt x="422" y="55"/>
                  </a:lnTo>
                  <a:close/>
                  <a:moveTo>
                    <a:pt x="67" y="195"/>
                  </a:moveTo>
                  <a:cubicBezTo>
                    <a:pt x="179" y="247"/>
                    <a:pt x="179" y="247"/>
                    <a:pt x="179" y="247"/>
                  </a:cubicBezTo>
                  <a:cubicBezTo>
                    <a:pt x="179" y="248"/>
                    <a:pt x="180" y="248"/>
                    <a:pt x="181" y="248"/>
                  </a:cubicBezTo>
                  <a:cubicBezTo>
                    <a:pt x="182" y="248"/>
                    <a:pt x="184" y="247"/>
                    <a:pt x="185" y="245"/>
                  </a:cubicBezTo>
                  <a:cubicBezTo>
                    <a:pt x="186" y="243"/>
                    <a:pt x="185" y="240"/>
                    <a:pt x="183" y="239"/>
                  </a:cubicBezTo>
                  <a:cubicBezTo>
                    <a:pt x="80" y="191"/>
                    <a:pt x="80" y="191"/>
                    <a:pt x="80" y="191"/>
                  </a:cubicBezTo>
                  <a:cubicBezTo>
                    <a:pt x="183" y="136"/>
                    <a:pt x="183" y="136"/>
                    <a:pt x="183" y="136"/>
                  </a:cubicBezTo>
                  <a:cubicBezTo>
                    <a:pt x="185" y="135"/>
                    <a:pt x="186" y="132"/>
                    <a:pt x="185" y="130"/>
                  </a:cubicBezTo>
                  <a:cubicBezTo>
                    <a:pt x="184" y="127"/>
                    <a:pt x="181" y="127"/>
                    <a:pt x="179" y="128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5" y="188"/>
                    <a:pt x="64" y="189"/>
                    <a:pt x="64" y="191"/>
                  </a:cubicBezTo>
                  <a:cubicBezTo>
                    <a:pt x="64" y="193"/>
                    <a:pt x="65" y="194"/>
                    <a:pt x="67" y="1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5307217" y="2984374"/>
            <a:ext cx="802895" cy="802895"/>
            <a:chOff x="3995459" y="7121636"/>
            <a:chExt cx="837454" cy="837454"/>
          </a:xfrm>
        </p:grpSpPr>
        <p:sp>
          <p:nvSpPr>
            <p:cNvPr id="7" name="Oval 18"/>
            <p:cNvSpPr>
              <a:spLocks noChangeArrowheads="1"/>
            </p:cNvSpPr>
            <p:nvPr/>
          </p:nvSpPr>
          <p:spPr bwMode="auto">
            <a:xfrm>
              <a:off x="3995459" y="7121636"/>
              <a:ext cx="837454" cy="83745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" name="Freeform 42"/>
            <p:cNvSpPr>
              <a:spLocks noEditPoints="1"/>
            </p:cNvSpPr>
            <p:nvPr/>
          </p:nvSpPr>
          <p:spPr bwMode="auto">
            <a:xfrm>
              <a:off x="4168022" y="7251929"/>
              <a:ext cx="492328" cy="576868"/>
            </a:xfrm>
            <a:custGeom>
              <a:avLst/>
              <a:gdLst>
                <a:gd name="T0" fmla="*/ 122 w 419"/>
                <a:gd name="T1" fmla="*/ 141 h 491"/>
                <a:gd name="T2" fmla="*/ 156 w 419"/>
                <a:gd name="T3" fmla="*/ 239 h 491"/>
                <a:gd name="T4" fmla="*/ 169 w 419"/>
                <a:gd name="T5" fmla="*/ 276 h 491"/>
                <a:gd name="T6" fmla="*/ 194 w 419"/>
                <a:gd name="T7" fmla="*/ 293 h 491"/>
                <a:gd name="T8" fmla="*/ 220 w 419"/>
                <a:gd name="T9" fmla="*/ 276 h 491"/>
                <a:gd name="T10" fmla="*/ 233 w 419"/>
                <a:gd name="T11" fmla="*/ 239 h 491"/>
                <a:gd name="T12" fmla="*/ 266 w 419"/>
                <a:gd name="T13" fmla="*/ 141 h 491"/>
                <a:gd name="T14" fmla="*/ 194 w 419"/>
                <a:gd name="T15" fmla="*/ 283 h 491"/>
                <a:gd name="T16" fmla="*/ 207 w 419"/>
                <a:gd name="T17" fmla="*/ 276 h 491"/>
                <a:gd name="T18" fmla="*/ 223 w 419"/>
                <a:gd name="T19" fmla="*/ 263 h 491"/>
                <a:gd name="T20" fmla="*/ 169 w 419"/>
                <a:gd name="T21" fmla="*/ 266 h 491"/>
                <a:gd name="T22" fmla="*/ 165 w 419"/>
                <a:gd name="T23" fmla="*/ 244 h 491"/>
                <a:gd name="T24" fmla="*/ 223 w 419"/>
                <a:gd name="T25" fmla="*/ 263 h 491"/>
                <a:gd name="T26" fmla="*/ 223 w 419"/>
                <a:gd name="T27" fmla="*/ 235 h 491"/>
                <a:gd name="T28" fmla="*/ 199 w 419"/>
                <a:gd name="T29" fmla="*/ 168 h 491"/>
                <a:gd name="T30" fmla="*/ 221 w 419"/>
                <a:gd name="T31" fmla="*/ 134 h 491"/>
                <a:gd name="T32" fmla="*/ 194 w 419"/>
                <a:gd name="T33" fmla="*/ 159 h 491"/>
                <a:gd name="T34" fmla="*/ 168 w 419"/>
                <a:gd name="T35" fmla="*/ 134 h 491"/>
                <a:gd name="T36" fmla="*/ 190 w 419"/>
                <a:gd name="T37" fmla="*/ 168 h 491"/>
                <a:gd name="T38" fmla="*/ 165 w 419"/>
                <a:gd name="T39" fmla="*/ 235 h 491"/>
                <a:gd name="T40" fmla="*/ 132 w 419"/>
                <a:gd name="T41" fmla="*/ 141 h 491"/>
                <a:gd name="T42" fmla="*/ 257 w 419"/>
                <a:gd name="T43" fmla="*/ 141 h 491"/>
                <a:gd name="T44" fmla="*/ 407 w 419"/>
                <a:gd name="T45" fmla="*/ 250 h 491"/>
                <a:gd name="T46" fmla="*/ 374 w 419"/>
                <a:gd name="T47" fmla="*/ 183 h 491"/>
                <a:gd name="T48" fmla="*/ 374 w 419"/>
                <a:gd name="T49" fmla="*/ 118 h 491"/>
                <a:gd name="T50" fmla="*/ 193 w 419"/>
                <a:gd name="T51" fmla="*/ 0 h 491"/>
                <a:gd name="T52" fmla="*/ 61 w 419"/>
                <a:gd name="T53" fmla="*/ 288 h 491"/>
                <a:gd name="T54" fmla="*/ 72 w 419"/>
                <a:gd name="T55" fmla="*/ 454 h 491"/>
                <a:gd name="T56" fmla="*/ 197 w 419"/>
                <a:gd name="T57" fmla="*/ 491 h 491"/>
                <a:gd name="T58" fmla="*/ 259 w 419"/>
                <a:gd name="T59" fmla="*/ 480 h 491"/>
                <a:gd name="T60" fmla="*/ 345 w 419"/>
                <a:gd name="T61" fmla="*/ 413 h 491"/>
                <a:gd name="T62" fmla="*/ 378 w 419"/>
                <a:gd name="T63" fmla="*/ 391 h 491"/>
                <a:gd name="T64" fmla="*/ 378 w 419"/>
                <a:gd name="T65" fmla="*/ 360 h 491"/>
                <a:gd name="T66" fmla="*/ 388 w 419"/>
                <a:gd name="T67" fmla="*/ 339 h 491"/>
                <a:gd name="T68" fmla="*/ 394 w 419"/>
                <a:gd name="T69" fmla="*/ 319 h 491"/>
                <a:gd name="T70" fmla="*/ 390 w 419"/>
                <a:gd name="T71" fmla="*/ 304 h 491"/>
                <a:gd name="T72" fmla="*/ 409 w 419"/>
                <a:gd name="T73" fmla="*/ 289 h 491"/>
                <a:gd name="T74" fmla="*/ 407 w 419"/>
                <a:gd name="T75" fmla="*/ 250 h 491"/>
                <a:gd name="T76" fmla="*/ 385 w 419"/>
                <a:gd name="T77" fmla="*/ 286 h 491"/>
                <a:gd name="T78" fmla="*/ 380 w 419"/>
                <a:gd name="T79" fmla="*/ 307 h 491"/>
                <a:gd name="T80" fmla="*/ 385 w 419"/>
                <a:gd name="T81" fmla="*/ 317 h 491"/>
                <a:gd name="T82" fmla="*/ 376 w 419"/>
                <a:gd name="T83" fmla="*/ 331 h 491"/>
                <a:gd name="T84" fmla="*/ 375 w 419"/>
                <a:gd name="T85" fmla="*/ 344 h 491"/>
                <a:gd name="T86" fmla="*/ 369 w 419"/>
                <a:gd name="T87" fmla="*/ 365 h 491"/>
                <a:gd name="T88" fmla="*/ 347 w 419"/>
                <a:gd name="T89" fmla="*/ 404 h 491"/>
                <a:gd name="T90" fmla="*/ 261 w 419"/>
                <a:gd name="T91" fmla="*/ 386 h 491"/>
                <a:gd name="T92" fmla="*/ 250 w 419"/>
                <a:gd name="T93" fmla="*/ 476 h 491"/>
                <a:gd name="T94" fmla="*/ 89 w 419"/>
                <a:gd name="T95" fmla="*/ 307 h 491"/>
                <a:gd name="T96" fmla="*/ 9 w 419"/>
                <a:gd name="T97" fmla="*/ 167 h 491"/>
                <a:gd name="T98" fmla="*/ 193 w 419"/>
                <a:gd name="T99" fmla="*/ 9 h 491"/>
                <a:gd name="T100" fmla="*/ 365 w 419"/>
                <a:gd name="T101" fmla="*/ 120 h 491"/>
                <a:gd name="T102" fmla="*/ 365 w 419"/>
                <a:gd name="T103" fmla="*/ 180 h 491"/>
                <a:gd name="T104" fmla="*/ 399 w 419"/>
                <a:gd name="T105" fmla="*/ 255 h 491"/>
                <a:gd name="T106" fmla="*/ 405 w 419"/>
                <a:gd name="T107" fmla="*/ 28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9" h="491">
                  <a:moveTo>
                    <a:pt x="194" y="69"/>
                  </a:moveTo>
                  <a:cubicBezTo>
                    <a:pt x="155" y="69"/>
                    <a:pt x="122" y="101"/>
                    <a:pt x="122" y="141"/>
                  </a:cubicBezTo>
                  <a:cubicBezTo>
                    <a:pt x="122" y="161"/>
                    <a:pt x="130" y="180"/>
                    <a:pt x="144" y="195"/>
                  </a:cubicBezTo>
                  <a:cubicBezTo>
                    <a:pt x="148" y="199"/>
                    <a:pt x="156" y="210"/>
                    <a:pt x="156" y="239"/>
                  </a:cubicBezTo>
                  <a:cubicBezTo>
                    <a:pt x="156" y="263"/>
                    <a:pt x="156" y="263"/>
                    <a:pt x="156" y="263"/>
                  </a:cubicBezTo>
                  <a:cubicBezTo>
                    <a:pt x="156" y="270"/>
                    <a:pt x="162" y="276"/>
                    <a:pt x="169" y="276"/>
                  </a:cubicBezTo>
                  <a:cubicBezTo>
                    <a:pt x="172" y="276"/>
                    <a:pt x="172" y="276"/>
                    <a:pt x="172" y="276"/>
                  </a:cubicBezTo>
                  <a:cubicBezTo>
                    <a:pt x="174" y="285"/>
                    <a:pt x="183" y="293"/>
                    <a:pt x="194" y="293"/>
                  </a:cubicBezTo>
                  <a:cubicBezTo>
                    <a:pt x="205" y="293"/>
                    <a:pt x="214" y="285"/>
                    <a:pt x="217" y="276"/>
                  </a:cubicBezTo>
                  <a:cubicBezTo>
                    <a:pt x="220" y="276"/>
                    <a:pt x="220" y="276"/>
                    <a:pt x="220" y="276"/>
                  </a:cubicBezTo>
                  <a:cubicBezTo>
                    <a:pt x="227" y="276"/>
                    <a:pt x="233" y="270"/>
                    <a:pt x="233" y="263"/>
                  </a:cubicBezTo>
                  <a:cubicBezTo>
                    <a:pt x="233" y="239"/>
                    <a:pt x="233" y="239"/>
                    <a:pt x="233" y="239"/>
                  </a:cubicBezTo>
                  <a:cubicBezTo>
                    <a:pt x="233" y="210"/>
                    <a:pt x="241" y="199"/>
                    <a:pt x="244" y="195"/>
                  </a:cubicBezTo>
                  <a:cubicBezTo>
                    <a:pt x="258" y="180"/>
                    <a:pt x="266" y="161"/>
                    <a:pt x="266" y="141"/>
                  </a:cubicBezTo>
                  <a:cubicBezTo>
                    <a:pt x="266" y="101"/>
                    <a:pt x="234" y="69"/>
                    <a:pt x="194" y="69"/>
                  </a:cubicBezTo>
                  <a:close/>
                  <a:moveTo>
                    <a:pt x="194" y="283"/>
                  </a:moveTo>
                  <a:cubicBezTo>
                    <a:pt x="189" y="283"/>
                    <a:pt x="184" y="280"/>
                    <a:pt x="182" y="276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5" y="280"/>
                    <a:pt x="200" y="283"/>
                    <a:pt x="194" y="283"/>
                  </a:cubicBezTo>
                  <a:close/>
                  <a:moveTo>
                    <a:pt x="223" y="263"/>
                  </a:moveTo>
                  <a:cubicBezTo>
                    <a:pt x="223" y="265"/>
                    <a:pt x="222" y="266"/>
                    <a:pt x="220" y="266"/>
                  </a:cubicBezTo>
                  <a:cubicBezTo>
                    <a:pt x="169" y="266"/>
                    <a:pt x="169" y="266"/>
                    <a:pt x="169" y="266"/>
                  </a:cubicBezTo>
                  <a:cubicBezTo>
                    <a:pt x="167" y="266"/>
                    <a:pt x="165" y="265"/>
                    <a:pt x="165" y="263"/>
                  </a:cubicBezTo>
                  <a:cubicBezTo>
                    <a:pt x="165" y="244"/>
                    <a:pt x="165" y="244"/>
                    <a:pt x="165" y="244"/>
                  </a:cubicBezTo>
                  <a:cubicBezTo>
                    <a:pt x="223" y="244"/>
                    <a:pt x="223" y="244"/>
                    <a:pt x="223" y="244"/>
                  </a:cubicBezTo>
                  <a:lnTo>
                    <a:pt x="223" y="263"/>
                  </a:lnTo>
                  <a:close/>
                  <a:moveTo>
                    <a:pt x="237" y="188"/>
                  </a:moveTo>
                  <a:cubicBezTo>
                    <a:pt x="232" y="194"/>
                    <a:pt x="224" y="207"/>
                    <a:pt x="223" y="235"/>
                  </a:cubicBezTo>
                  <a:cubicBezTo>
                    <a:pt x="199" y="235"/>
                    <a:pt x="199" y="235"/>
                    <a:pt x="199" y="235"/>
                  </a:cubicBezTo>
                  <a:cubicBezTo>
                    <a:pt x="199" y="168"/>
                    <a:pt x="199" y="168"/>
                    <a:pt x="199" y="168"/>
                  </a:cubicBezTo>
                  <a:cubicBezTo>
                    <a:pt x="218" y="165"/>
                    <a:pt x="224" y="141"/>
                    <a:pt x="224" y="140"/>
                  </a:cubicBezTo>
                  <a:cubicBezTo>
                    <a:pt x="225" y="137"/>
                    <a:pt x="223" y="135"/>
                    <a:pt x="221" y="134"/>
                  </a:cubicBezTo>
                  <a:cubicBezTo>
                    <a:pt x="218" y="133"/>
                    <a:pt x="216" y="135"/>
                    <a:pt x="215" y="137"/>
                  </a:cubicBezTo>
                  <a:cubicBezTo>
                    <a:pt x="215" y="138"/>
                    <a:pt x="210" y="159"/>
                    <a:pt x="194" y="159"/>
                  </a:cubicBezTo>
                  <a:cubicBezTo>
                    <a:pt x="179" y="159"/>
                    <a:pt x="173" y="138"/>
                    <a:pt x="173" y="137"/>
                  </a:cubicBezTo>
                  <a:cubicBezTo>
                    <a:pt x="173" y="135"/>
                    <a:pt x="170" y="133"/>
                    <a:pt x="168" y="134"/>
                  </a:cubicBezTo>
                  <a:cubicBezTo>
                    <a:pt x="165" y="135"/>
                    <a:pt x="164" y="137"/>
                    <a:pt x="164" y="140"/>
                  </a:cubicBezTo>
                  <a:cubicBezTo>
                    <a:pt x="165" y="141"/>
                    <a:pt x="170" y="165"/>
                    <a:pt x="190" y="168"/>
                  </a:cubicBezTo>
                  <a:cubicBezTo>
                    <a:pt x="190" y="235"/>
                    <a:pt x="190" y="235"/>
                    <a:pt x="190" y="235"/>
                  </a:cubicBezTo>
                  <a:cubicBezTo>
                    <a:pt x="165" y="235"/>
                    <a:pt x="165" y="235"/>
                    <a:pt x="165" y="235"/>
                  </a:cubicBezTo>
                  <a:cubicBezTo>
                    <a:pt x="164" y="207"/>
                    <a:pt x="156" y="194"/>
                    <a:pt x="151" y="188"/>
                  </a:cubicBezTo>
                  <a:cubicBezTo>
                    <a:pt x="139" y="176"/>
                    <a:pt x="132" y="158"/>
                    <a:pt x="132" y="141"/>
                  </a:cubicBezTo>
                  <a:cubicBezTo>
                    <a:pt x="132" y="107"/>
                    <a:pt x="160" y="79"/>
                    <a:pt x="194" y="79"/>
                  </a:cubicBezTo>
                  <a:cubicBezTo>
                    <a:pt x="229" y="79"/>
                    <a:pt x="257" y="107"/>
                    <a:pt x="257" y="141"/>
                  </a:cubicBezTo>
                  <a:cubicBezTo>
                    <a:pt x="257" y="158"/>
                    <a:pt x="250" y="176"/>
                    <a:pt x="237" y="188"/>
                  </a:cubicBezTo>
                  <a:close/>
                  <a:moveTo>
                    <a:pt x="407" y="250"/>
                  </a:moveTo>
                  <a:cubicBezTo>
                    <a:pt x="395" y="232"/>
                    <a:pt x="374" y="197"/>
                    <a:pt x="372" y="188"/>
                  </a:cubicBezTo>
                  <a:cubicBezTo>
                    <a:pt x="373" y="187"/>
                    <a:pt x="373" y="185"/>
                    <a:pt x="374" y="183"/>
                  </a:cubicBezTo>
                  <a:cubicBezTo>
                    <a:pt x="376" y="176"/>
                    <a:pt x="379" y="166"/>
                    <a:pt x="379" y="158"/>
                  </a:cubicBezTo>
                  <a:cubicBezTo>
                    <a:pt x="379" y="146"/>
                    <a:pt x="377" y="129"/>
                    <a:pt x="374" y="118"/>
                  </a:cubicBezTo>
                  <a:cubicBezTo>
                    <a:pt x="373" y="112"/>
                    <a:pt x="364" y="83"/>
                    <a:pt x="338" y="55"/>
                  </a:cubicBezTo>
                  <a:cubicBezTo>
                    <a:pt x="303" y="18"/>
                    <a:pt x="255" y="0"/>
                    <a:pt x="193" y="0"/>
                  </a:cubicBezTo>
                  <a:cubicBezTo>
                    <a:pt x="65" y="0"/>
                    <a:pt x="0" y="56"/>
                    <a:pt x="0" y="167"/>
                  </a:cubicBezTo>
                  <a:cubicBezTo>
                    <a:pt x="0" y="231"/>
                    <a:pt x="37" y="266"/>
                    <a:pt x="61" y="288"/>
                  </a:cubicBezTo>
                  <a:cubicBezTo>
                    <a:pt x="70" y="297"/>
                    <a:pt x="78" y="304"/>
                    <a:pt x="80" y="310"/>
                  </a:cubicBezTo>
                  <a:cubicBezTo>
                    <a:pt x="97" y="376"/>
                    <a:pt x="82" y="429"/>
                    <a:pt x="72" y="454"/>
                  </a:cubicBezTo>
                  <a:cubicBezTo>
                    <a:pt x="71" y="456"/>
                    <a:pt x="72" y="459"/>
                    <a:pt x="74" y="460"/>
                  </a:cubicBezTo>
                  <a:cubicBezTo>
                    <a:pt x="112" y="480"/>
                    <a:pt x="154" y="491"/>
                    <a:pt x="197" y="491"/>
                  </a:cubicBezTo>
                  <a:cubicBezTo>
                    <a:pt x="217" y="491"/>
                    <a:pt x="236" y="489"/>
                    <a:pt x="256" y="484"/>
                  </a:cubicBezTo>
                  <a:cubicBezTo>
                    <a:pt x="258" y="484"/>
                    <a:pt x="259" y="482"/>
                    <a:pt x="259" y="480"/>
                  </a:cubicBezTo>
                  <a:cubicBezTo>
                    <a:pt x="259" y="438"/>
                    <a:pt x="260" y="406"/>
                    <a:pt x="262" y="396"/>
                  </a:cubicBezTo>
                  <a:cubicBezTo>
                    <a:pt x="280" y="401"/>
                    <a:pt x="335" y="413"/>
                    <a:pt x="345" y="413"/>
                  </a:cubicBezTo>
                  <a:cubicBezTo>
                    <a:pt x="346" y="413"/>
                    <a:pt x="347" y="413"/>
                    <a:pt x="347" y="413"/>
                  </a:cubicBezTo>
                  <a:cubicBezTo>
                    <a:pt x="355" y="413"/>
                    <a:pt x="374" y="413"/>
                    <a:pt x="378" y="391"/>
                  </a:cubicBezTo>
                  <a:cubicBezTo>
                    <a:pt x="381" y="380"/>
                    <a:pt x="380" y="370"/>
                    <a:pt x="379" y="364"/>
                  </a:cubicBezTo>
                  <a:cubicBezTo>
                    <a:pt x="379" y="362"/>
                    <a:pt x="378" y="360"/>
                    <a:pt x="378" y="360"/>
                  </a:cubicBezTo>
                  <a:cubicBezTo>
                    <a:pt x="379" y="356"/>
                    <a:pt x="382" y="352"/>
                    <a:pt x="384" y="348"/>
                  </a:cubicBezTo>
                  <a:cubicBezTo>
                    <a:pt x="386" y="344"/>
                    <a:pt x="387" y="342"/>
                    <a:pt x="388" y="339"/>
                  </a:cubicBezTo>
                  <a:cubicBezTo>
                    <a:pt x="388" y="337"/>
                    <a:pt x="387" y="333"/>
                    <a:pt x="386" y="330"/>
                  </a:cubicBezTo>
                  <a:cubicBezTo>
                    <a:pt x="389" y="327"/>
                    <a:pt x="393" y="323"/>
                    <a:pt x="394" y="319"/>
                  </a:cubicBezTo>
                  <a:cubicBezTo>
                    <a:pt x="394" y="315"/>
                    <a:pt x="392" y="310"/>
                    <a:pt x="390" y="305"/>
                  </a:cubicBezTo>
                  <a:cubicBezTo>
                    <a:pt x="390" y="305"/>
                    <a:pt x="390" y="305"/>
                    <a:pt x="390" y="304"/>
                  </a:cubicBezTo>
                  <a:cubicBezTo>
                    <a:pt x="390" y="303"/>
                    <a:pt x="390" y="299"/>
                    <a:pt x="390" y="294"/>
                  </a:cubicBezTo>
                  <a:cubicBezTo>
                    <a:pt x="396" y="293"/>
                    <a:pt x="406" y="291"/>
                    <a:pt x="409" y="289"/>
                  </a:cubicBezTo>
                  <a:cubicBezTo>
                    <a:pt x="415" y="286"/>
                    <a:pt x="419" y="277"/>
                    <a:pt x="419" y="272"/>
                  </a:cubicBezTo>
                  <a:cubicBezTo>
                    <a:pt x="419" y="270"/>
                    <a:pt x="418" y="270"/>
                    <a:pt x="407" y="250"/>
                  </a:cubicBezTo>
                  <a:close/>
                  <a:moveTo>
                    <a:pt x="405" y="281"/>
                  </a:moveTo>
                  <a:cubicBezTo>
                    <a:pt x="403" y="282"/>
                    <a:pt x="393" y="284"/>
                    <a:pt x="385" y="286"/>
                  </a:cubicBezTo>
                  <a:cubicBezTo>
                    <a:pt x="383" y="286"/>
                    <a:pt x="381" y="288"/>
                    <a:pt x="381" y="290"/>
                  </a:cubicBezTo>
                  <a:cubicBezTo>
                    <a:pt x="380" y="305"/>
                    <a:pt x="380" y="306"/>
                    <a:pt x="380" y="307"/>
                  </a:cubicBezTo>
                  <a:cubicBezTo>
                    <a:pt x="381" y="308"/>
                    <a:pt x="381" y="308"/>
                    <a:pt x="382" y="310"/>
                  </a:cubicBezTo>
                  <a:cubicBezTo>
                    <a:pt x="384" y="314"/>
                    <a:pt x="385" y="316"/>
                    <a:pt x="385" y="317"/>
                  </a:cubicBezTo>
                  <a:cubicBezTo>
                    <a:pt x="384" y="319"/>
                    <a:pt x="381" y="322"/>
                    <a:pt x="377" y="325"/>
                  </a:cubicBezTo>
                  <a:cubicBezTo>
                    <a:pt x="376" y="326"/>
                    <a:pt x="375" y="329"/>
                    <a:pt x="376" y="331"/>
                  </a:cubicBezTo>
                  <a:cubicBezTo>
                    <a:pt x="377" y="334"/>
                    <a:pt x="378" y="337"/>
                    <a:pt x="378" y="338"/>
                  </a:cubicBezTo>
                  <a:cubicBezTo>
                    <a:pt x="378" y="339"/>
                    <a:pt x="377" y="342"/>
                    <a:pt x="375" y="344"/>
                  </a:cubicBezTo>
                  <a:cubicBezTo>
                    <a:pt x="373" y="348"/>
                    <a:pt x="371" y="353"/>
                    <a:pt x="369" y="357"/>
                  </a:cubicBezTo>
                  <a:cubicBezTo>
                    <a:pt x="369" y="359"/>
                    <a:pt x="369" y="362"/>
                    <a:pt x="369" y="365"/>
                  </a:cubicBezTo>
                  <a:cubicBezTo>
                    <a:pt x="370" y="371"/>
                    <a:pt x="371" y="379"/>
                    <a:pt x="369" y="389"/>
                  </a:cubicBezTo>
                  <a:cubicBezTo>
                    <a:pt x="367" y="401"/>
                    <a:pt x="359" y="404"/>
                    <a:pt x="347" y="404"/>
                  </a:cubicBezTo>
                  <a:cubicBezTo>
                    <a:pt x="347" y="404"/>
                    <a:pt x="346" y="404"/>
                    <a:pt x="345" y="404"/>
                  </a:cubicBezTo>
                  <a:cubicBezTo>
                    <a:pt x="335" y="403"/>
                    <a:pt x="271" y="389"/>
                    <a:pt x="261" y="386"/>
                  </a:cubicBezTo>
                  <a:cubicBezTo>
                    <a:pt x="259" y="386"/>
                    <a:pt x="257" y="386"/>
                    <a:pt x="256" y="387"/>
                  </a:cubicBezTo>
                  <a:cubicBezTo>
                    <a:pt x="250" y="394"/>
                    <a:pt x="249" y="449"/>
                    <a:pt x="250" y="476"/>
                  </a:cubicBezTo>
                  <a:cubicBezTo>
                    <a:pt x="193" y="488"/>
                    <a:pt x="133" y="480"/>
                    <a:pt x="83" y="454"/>
                  </a:cubicBezTo>
                  <a:cubicBezTo>
                    <a:pt x="93" y="426"/>
                    <a:pt x="105" y="373"/>
                    <a:pt x="89" y="307"/>
                  </a:cubicBezTo>
                  <a:cubicBezTo>
                    <a:pt x="87" y="299"/>
                    <a:pt x="79" y="292"/>
                    <a:pt x="68" y="282"/>
                  </a:cubicBezTo>
                  <a:cubicBezTo>
                    <a:pt x="44" y="260"/>
                    <a:pt x="9" y="227"/>
                    <a:pt x="9" y="167"/>
                  </a:cubicBezTo>
                  <a:cubicBezTo>
                    <a:pt x="9" y="119"/>
                    <a:pt x="22" y="82"/>
                    <a:pt x="47" y="56"/>
                  </a:cubicBezTo>
                  <a:cubicBezTo>
                    <a:pt x="78" y="25"/>
                    <a:pt x="127" y="9"/>
                    <a:pt x="193" y="9"/>
                  </a:cubicBezTo>
                  <a:cubicBezTo>
                    <a:pt x="252" y="9"/>
                    <a:pt x="298" y="27"/>
                    <a:pt x="331" y="61"/>
                  </a:cubicBezTo>
                  <a:cubicBezTo>
                    <a:pt x="357" y="88"/>
                    <a:pt x="364" y="117"/>
                    <a:pt x="365" y="120"/>
                  </a:cubicBezTo>
                  <a:cubicBezTo>
                    <a:pt x="367" y="130"/>
                    <a:pt x="370" y="147"/>
                    <a:pt x="370" y="158"/>
                  </a:cubicBezTo>
                  <a:cubicBezTo>
                    <a:pt x="370" y="165"/>
                    <a:pt x="367" y="174"/>
                    <a:pt x="365" y="180"/>
                  </a:cubicBezTo>
                  <a:cubicBezTo>
                    <a:pt x="363" y="185"/>
                    <a:pt x="363" y="187"/>
                    <a:pt x="363" y="189"/>
                  </a:cubicBezTo>
                  <a:cubicBezTo>
                    <a:pt x="364" y="198"/>
                    <a:pt x="380" y="224"/>
                    <a:pt x="399" y="255"/>
                  </a:cubicBezTo>
                  <a:cubicBezTo>
                    <a:pt x="403" y="263"/>
                    <a:pt x="408" y="271"/>
                    <a:pt x="409" y="273"/>
                  </a:cubicBezTo>
                  <a:cubicBezTo>
                    <a:pt x="409" y="275"/>
                    <a:pt x="406" y="280"/>
                    <a:pt x="405" y="2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3033889" y="2984374"/>
            <a:ext cx="802895" cy="802895"/>
            <a:chOff x="5038007" y="7121636"/>
            <a:chExt cx="837454" cy="837454"/>
          </a:xfrm>
        </p:grpSpPr>
        <p:sp>
          <p:nvSpPr>
            <p:cNvPr id="9" name="Oval 15"/>
            <p:cNvSpPr>
              <a:spLocks noChangeArrowheads="1"/>
            </p:cNvSpPr>
            <p:nvPr/>
          </p:nvSpPr>
          <p:spPr bwMode="auto">
            <a:xfrm>
              <a:off x="5038007" y="7121636"/>
              <a:ext cx="837454" cy="83745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" name="Freeform 23"/>
            <p:cNvSpPr>
              <a:spLocks noEditPoints="1"/>
            </p:cNvSpPr>
            <p:nvPr/>
          </p:nvSpPr>
          <p:spPr bwMode="auto">
            <a:xfrm>
              <a:off x="5178529" y="7275052"/>
              <a:ext cx="556412" cy="529621"/>
            </a:xfrm>
            <a:custGeom>
              <a:avLst/>
              <a:gdLst>
                <a:gd name="T0" fmla="*/ 704 w 706"/>
                <a:gd name="T1" fmla="*/ 161 h 672"/>
                <a:gd name="T2" fmla="*/ 634 w 706"/>
                <a:gd name="T3" fmla="*/ 72 h 672"/>
                <a:gd name="T4" fmla="*/ 629 w 706"/>
                <a:gd name="T5" fmla="*/ 70 h 672"/>
                <a:gd name="T6" fmla="*/ 360 w 706"/>
                <a:gd name="T7" fmla="*/ 70 h 672"/>
                <a:gd name="T8" fmla="*/ 360 w 706"/>
                <a:gd name="T9" fmla="*/ 7 h 672"/>
                <a:gd name="T10" fmla="*/ 353 w 706"/>
                <a:gd name="T11" fmla="*/ 0 h 672"/>
                <a:gd name="T12" fmla="*/ 346 w 706"/>
                <a:gd name="T13" fmla="*/ 7 h 672"/>
                <a:gd name="T14" fmla="*/ 346 w 706"/>
                <a:gd name="T15" fmla="*/ 70 h 672"/>
                <a:gd name="T16" fmla="*/ 129 w 706"/>
                <a:gd name="T17" fmla="*/ 70 h 672"/>
                <a:gd name="T18" fmla="*/ 122 w 706"/>
                <a:gd name="T19" fmla="*/ 77 h 672"/>
                <a:gd name="T20" fmla="*/ 122 w 706"/>
                <a:gd name="T21" fmla="*/ 253 h 672"/>
                <a:gd name="T22" fmla="*/ 129 w 706"/>
                <a:gd name="T23" fmla="*/ 260 h 672"/>
                <a:gd name="T24" fmla="*/ 346 w 706"/>
                <a:gd name="T25" fmla="*/ 260 h 672"/>
                <a:gd name="T26" fmla="*/ 346 w 706"/>
                <a:gd name="T27" fmla="*/ 329 h 672"/>
                <a:gd name="T28" fmla="*/ 77 w 706"/>
                <a:gd name="T29" fmla="*/ 329 h 672"/>
                <a:gd name="T30" fmla="*/ 72 w 706"/>
                <a:gd name="T31" fmla="*/ 332 h 672"/>
                <a:gd name="T32" fmla="*/ 2 w 706"/>
                <a:gd name="T33" fmla="*/ 420 h 672"/>
                <a:gd name="T34" fmla="*/ 2 w 706"/>
                <a:gd name="T35" fmla="*/ 429 h 672"/>
                <a:gd name="T36" fmla="*/ 72 w 706"/>
                <a:gd name="T37" fmla="*/ 517 h 672"/>
                <a:gd name="T38" fmla="*/ 77 w 706"/>
                <a:gd name="T39" fmla="*/ 519 h 672"/>
                <a:gd name="T40" fmla="*/ 346 w 706"/>
                <a:gd name="T41" fmla="*/ 519 h 672"/>
                <a:gd name="T42" fmla="*/ 346 w 706"/>
                <a:gd name="T43" fmla="*/ 665 h 672"/>
                <a:gd name="T44" fmla="*/ 353 w 706"/>
                <a:gd name="T45" fmla="*/ 672 h 672"/>
                <a:gd name="T46" fmla="*/ 360 w 706"/>
                <a:gd name="T47" fmla="*/ 665 h 672"/>
                <a:gd name="T48" fmla="*/ 360 w 706"/>
                <a:gd name="T49" fmla="*/ 519 h 672"/>
                <a:gd name="T50" fmla="*/ 577 w 706"/>
                <a:gd name="T51" fmla="*/ 519 h 672"/>
                <a:gd name="T52" fmla="*/ 584 w 706"/>
                <a:gd name="T53" fmla="*/ 512 h 672"/>
                <a:gd name="T54" fmla="*/ 584 w 706"/>
                <a:gd name="T55" fmla="*/ 336 h 672"/>
                <a:gd name="T56" fmla="*/ 577 w 706"/>
                <a:gd name="T57" fmla="*/ 329 h 672"/>
                <a:gd name="T58" fmla="*/ 360 w 706"/>
                <a:gd name="T59" fmla="*/ 329 h 672"/>
                <a:gd name="T60" fmla="*/ 360 w 706"/>
                <a:gd name="T61" fmla="*/ 260 h 672"/>
                <a:gd name="T62" fmla="*/ 629 w 706"/>
                <a:gd name="T63" fmla="*/ 260 h 672"/>
                <a:gd name="T64" fmla="*/ 634 w 706"/>
                <a:gd name="T65" fmla="*/ 257 h 672"/>
                <a:gd name="T66" fmla="*/ 704 w 706"/>
                <a:gd name="T67" fmla="*/ 169 h 672"/>
                <a:gd name="T68" fmla="*/ 704 w 706"/>
                <a:gd name="T69" fmla="*/ 161 h 672"/>
                <a:gd name="T70" fmla="*/ 570 w 706"/>
                <a:gd name="T71" fmla="*/ 505 h 672"/>
                <a:gd name="T72" fmla="*/ 80 w 706"/>
                <a:gd name="T73" fmla="*/ 505 h 672"/>
                <a:gd name="T74" fmla="*/ 16 w 706"/>
                <a:gd name="T75" fmla="*/ 424 h 672"/>
                <a:gd name="T76" fmla="*/ 80 w 706"/>
                <a:gd name="T77" fmla="*/ 343 h 672"/>
                <a:gd name="T78" fmla="*/ 353 w 706"/>
                <a:gd name="T79" fmla="*/ 343 h 672"/>
                <a:gd name="T80" fmla="*/ 353 w 706"/>
                <a:gd name="T81" fmla="*/ 343 h 672"/>
                <a:gd name="T82" fmla="*/ 353 w 706"/>
                <a:gd name="T83" fmla="*/ 343 h 672"/>
                <a:gd name="T84" fmla="*/ 570 w 706"/>
                <a:gd name="T85" fmla="*/ 343 h 672"/>
                <a:gd name="T86" fmla="*/ 570 w 706"/>
                <a:gd name="T87" fmla="*/ 505 h 672"/>
                <a:gd name="T88" fmla="*/ 626 w 706"/>
                <a:gd name="T89" fmla="*/ 246 h 672"/>
                <a:gd name="T90" fmla="*/ 136 w 706"/>
                <a:gd name="T91" fmla="*/ 246 h 672"/>
                <a:gd name="T92" fmla="*/ 136 w 706"/>
                <a:gd name="T93" fmla="*/ 84 h 672"/>
                <a:gd name="T94" fmla="*/ 626 w 706"/>
                <a:gd name="T95" fmla="*/ 84 h 672"/>
                <a:gd name="T96" fmla="*/ 690 w 706"/>
                <a:gd name="T97" fmla="*/ 165 h 672"/>
                <a:gd name="T98" fmla="*/ 626 w 706"/>
                <a:gd name="T99" fmla="*/ 246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06" h="672">
                  <a:moveTo>
                    <a:pt x="704" y="161"/>
                  </a:moveTo>
                  <a:cubicBezTo>
                    <a:pt x="634" y="72"/>
                    <a:pt x="634" y="72"/>
                    <a:pt x="634" y="72"/>
                  </a:cubicBezTo>
                  <a:cubicBezTo>
                    <a:pt x="633" y="71"/>
                    <a:pt x="631" y="70"/>
                    <a:pt x="629" y="70"/>
                  </a:cubicBezTo>
                  <a:cubicBezTo>
                    <a:pt x="360" y="70"/>
                    <a:pt x="360" y="70"/>
                    <a:pt x="360" y="70"/>
                  </a:cubicBezTo>
                  <a:cubicBezTo>
                    <a:pt x="360" y="7"/>
                    <a:pt x="360" y="7"/>
                    <a:pt x="360" y="7"/>
                  </a:cubicBezTo>
                  <a:cubicBezTo>
                    <a:pt x="360" y="3"/>
                    <a:pt x="357" y="0"/>
                    <a:pt x="353" y="0"/>
                  </a:cubicBezTo>
                  <a:cubicBezTo>
                    <a:pt x="349" y="0"/>
                    <a:pt x="346" y="3"/>
                    <a:pt x="346" y="7"/>
                  </a:cubicBezTo>
                  <a:cubicBezTo>
                    <a:pt x="346" y="70"/>
                    <a:pt x="346" y="70"/>
                    <a:pt x="346" y="70"/>
                  </a:cubicBezTo>
                  <a:cubicBezTo>
                    <a:pt x="129" y="70"/>
                    <a:pt x="129" y="70"/>
                    <a:pt x="129" y="70"/>
                  </a:cubicBezTo>
                  <a:cubicBezTo>
                    <a:pt x="126" y="70"/>
                    <a:pt x="122" y="73"/>
                    <a:pt x="122" y="77"/>
                  </a:cubicBezTo>
                  <a:cubicBezTo>
                    <a:pt x="122" y="253"/>
                    <a:pt x="122" y="253"/>
                    <a:pt x="122" y="253"/>
                  </a:cubicBezTo>
                  <a:cubicBezTo>
                    <a:pt x="122" y="257"/>
                    <a:pt x="126" y="260"/>
                    <a:pt x="129" y="260"/>
                  </a:cubicBezTo>
                  <a:cubicBezTo>
                    <a:pt x="346" y="260"/>
                    <a:pt x="346" y="260"/>
                    <a:pt x="346" y="260"/>
                  </a:cubicBezTo>
                  <a:cubicBezTo>
                    <a:pt x="346" y="329"/>
                    <a:pt x="346" y="329"/>
                    <a:pt x="346" y="329"/>
                  </a:cubicBezTo>
                  <a:cubicBezTo>
                    <a:pt x="77" y="329"/>
                    <a:pt x="77" y="329"/>
                    <a:pt x="77" y="329"/>
                  </a:cubicBezTo>
                  <a:cubicBezTo>
                    <a:pt x="75" y="329"/>
                    <a:pt x="73" y="330"/>
                    <a:pt x="72" y="332"/>
                  </a:cubicBezTo>
                  <a:cubicBezTo>
                    <a:pt x="2" y="420"/>
                    <a:pt x="2" y="420"/>
                    <a:pt x="2" y="420"/>
                  </a:cubicBezTo>
                  <a:cubicBezTo>
                    <a:pt x="0" y="423"/>
                    <a:pt x="0" y="426"/>
                    <a:pt x="2" y="429"/>
                  </a:cubicBezTo>
                  <a:cubicBezTo>
                    <a:pt x="72" y="517"/>
                    <a:pt x="72" y="517"/>
                    <a:pt x="72" y="517"/>
                  </a:cubicBezTo>
                  <a:cubicBezTo>
                    <a:pt x="73" y="519"/>
                    <a:pt x="75" y="519"/>
                    <a:pt x="77" y="519"/>
                  </a:cubicBezTo>
                  <a:cubicBezTo>
                    <a:pt x="346" y="519"/>
                    <a:pt x="346" y="519"/>
                    <a:pt x="346" y="519"/>
                  </a:cubicBezTo>
                  <a:cubicBezTo>
                    <a:pt x="346" y="665"/>
                    <a:pt x="346" y="665"/>
                    <a:pt x="346" y="665"/>
                  </a:cubicBezTo>
                  <a:cubicBezTo>
                    <a:pt x="346" y="669"/>
                    <a:pt x="349" y="672"/>
                    <a:pt x="353" y="672"/>
                  </a:cubicBezTo>
                  <a:cubicBezTo>
                    <a:pt x="357" y="672"/>
                    <a:pt x="360" y="669"/>
                    <a:pt x="360" y="665"/>
                  </a:cubicBezTo>
                  <a:cubicBezTo>
                    <a:pt x="360" y="519"/>
                    <a:pt x="360" y="519"/>
                    <a:pt x="360" y="519"/>
                  </a:cubicBezTo>
                  <a:cubicBezTo>
                    <a:pt x="577" y="519"/>
                    <a:pt x="577" y="519"/>
                    <a:pt x="577" y="519"/>
                  </a:cubicBezTo>
                  <a:cubicBezTo>
                    <a:pt x="580" y="519"/>
                    <a:pt x="584" y="516"/>
                    <a:pt x="584" y="512"/>
                  </a:cubicBezTo>
                  <a:cubicBezTo>
                    <a:pt x="584" y="336"/>
                    <a:pt x="584" y="336"/>
                    <a:pt x="584" y="336"/>
                  </a:cubicBezTo>
                  <a:cubicBezTo>
                    <a:pt x="584" y="332"/>
                    <a:pt x="580" y="329"/>
                    <a:pt x="577" y="329"/>
                  </a:cubicBezTo>
                  <a:cubicBezTo>
                    <a:pt x="360" y="329"/>
                    <a:pt x="360" y="329"/>
                    <a:pt x="360" y="329"/>
                  </a:cubicBezTo>
                  <a:cubicBezTo>
                    <a:pt x="360" y="260"/>
                    <a:pt x="360" y="260"/>
                    <a:pt x="360" y="260"/>
                  </a:cubicBezTo>
                  <a:cubicBezTo>
                    <a:pt x="629" y="260"/>
                    <a:pt x="629" y="260"/>
                    <a:pt x="629" y="260"/>
                  </a:cubicBezTo>
                  <a:cubicBezTo>
                    <a:pt x="631" y="260"/>
                    <a:pt x="633" y="259"/>
                    <a:pt x="634" y="257"/>
                  </a:cubicBezTo>
                  <a:cubicBezTo>
                    <a:pt x="704" y="169"/>
                    <a:pt x="704" y="169"/>
                    <a:pt x="704" y="169"/>
                  </a:cubicBezTo>
                  <a:cubicBezTo>
                    <a:pt x="706" y="167"/>
                    <a:pt x="706" y="163"/>
                    <a:pt x="704" y="161"/>
                  </a:cubicBezTo>
                  <a:close/>
                  <a:moveTo>
                    <a:pt x="570" y="505"/>
                  </a:moveTo>
                  <a:cubicBezTo>
                    <a:pt x="80" y="505"/>
                    <a:pt x="80" y="505"/>
                    <a:pt x="80" y="505"/>
                  </a:cubicBezTo>
                  <a:cubicBezTo>
                    <a:pt x="16" y="424"/>
                    <a:pt x="16" y="424"/>
                    <a:pt x="16" y="424"/>
                  </a:cubicBezTo>
                  <a:cubicBezTo>
                    <a:pt x="80" y="343"/>
                    <a:pt x="80" y="343"/>
                    <a:pt x="80" y="343"/>
                  </a:cubicBezTo>
                  <a:cubicBezTo>
                    <a:pt x="353" y="343"/>
                    <a:pt x="353" y="343"/>
                    <a:pt x="353" y="343"/>
                  </a:cubicBezTo>
                  <a:cubicBezTo>
                    <a:pt x="353" y="343"/>
                    <a:pt x="353" y="343"/>
                    <a:pt x="353" y="343"/>
                  </a:cubicBezTo>
                  <a:cubicBezTo>
                    <a:pt x="353" y="343"/>
                    <a:pt x="353" y="343"/>
                    <a:pt x="353" y="343"/>
                  </a:cubicBezTo>
                  <a:cubicBezTo>
                    <a:pt x="570" y="343"/>
                    <a:pt x="570" y="343"/>
                    <a:pt x="570" y="343"/>
                  </a:cubicBezTo>
                  <a:lnTo>
                    <a:pt x="570" y="505"/>
                  </a:lnTo>
                  <a:close/>
                  <a:moveTo>
                    <a:pt x="626" y="246"/>
                  </a:moveTo>
                  <a:cubicBezTo>
                    <a:pt x="136" y="246"/>
                    <a:pt x="136" y="246"/>
                    <a:pt x="136" y="24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626" y="84"/>
                    <a:pt x="626" y="84"/>
                    <a:pt x="626" y="84"/>
                  </a:cubicBezTo>
                  <a:cubicBezTo>
                    <a:pt x="690" y="165"/>
                    <a:pt x="690" y="165"/>
                    <a:pt x="690" y="165"/>
                  </a:cubicBezTo>
                  <a:lnTo>
                    <a:pt x="626" y="2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5307217" y="1657130"/>
            <a:ext cx="802895" cy="802895"/>
            <a:chOff x="1536049" y="7121636"/>
            <a:chExt cx="837454" cy="837454"/>
          </a:xfrm>
        </p:grpSpPr>
        <p:sp>
          <p:nvSpPr>
            <p:cNvPr id="13" name="Oval 45"/>
            <p:cNvSpPr>
              <a:spLocks noChangeArrowheads="1"/>
            </p:cNvSpPr>
            <p:nvPr/>
          </p:nvSpPr>
          <p:spPr bwMode="auto">
            <a:xfrm>
              <a:off x="1536049" y="7121636"/>
              <a:ext cx="837454" cy="83745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103"/>
            <p:cNvSpPr>
              <a:spLocks noEditPoints="1"/>
            </p:cNvSpPr>
            <p:nvPr/>
          </p:nvSpPr>
          <p:spPr bwMode="auto">
            <a:xfrm>
              <a:off x="1688231" y="7320748"/>
              <a:ext cx="532180" cy="439231"/>
            </a:xfrm>
            <a:custGeom>
              <a:avLst/>
              <a:gdLst>
                <a:gd name="T0" fmla="*/ 466 w 675"/>
                <a:gd name="T1" fmla="*/ 403 h 557"/>
                <a:gd name="T2" fmla="*/ 270 w 675"/>
                <a:gd name="T3" fmla="*/ 403 h 557"/>
                <a:gd name="T4" fmla="*/ 368 w 675"/>
                <a:gd name="T5" fmla="*/ 304 h 557"/>
                <a:gd name="T6" fmla="*/ 368 w 675"/>
                <a:gd name="T7" fmla="*/ 502 h 557"/>
                <a:gd name="T8" fmla="*/ 368 w 675"/>
                <a:gd name="T9" fmla="*/ 304 h 557"/>
                <a:gd name="T10" fmla="*/ 598 w 675"/>
                <a:gd name="T11" fmla="*/ 406 h 557"/>
                <a:gd name="T12" fmla="*/ 514 w 675"/>
                <a:gd name="T13" fmla="*/ 406 h 557"/>
                <a:gd name="T14" fmla="*/ 556 w 675"/>
                <a:gd name="T15" fmla="*/ 378 h 557"/>
                <a:gd name="T16" fmla="*/ 556 w 675"/>
                <a:gd name="T17" fmla="*/ 435 h 557"/>
                <a:gd name="T18" fmla="*/ 556 w 675"/>
                <a:gd name="T19" fmla="*/ 378 h 557"/>
                <a:gd name="T20" fmla="*/ 226 w 675"/>
                <a:gd name="T21" fmla="*/ 406 h 557"/>
                <a:gd name="T22" fmla="*/ 142 w 675"/>
                <a:gd name="T23" fmla="*/ 406 h 557"/>
                <a:gd name="T24" fmla="*/ 184 w 675"/>
                <a:gd name="T25" fmla="*/ 378 h 557"/>
                <a:gd name="T26" fmla="*/ 184 w 675"/>
                <a:gd name="T27" fmla="*/ 435 h 557"/>
                <a:gd name="T28" fmla="*/ 184 w 675"/>
                <a:gd name="T29" fmla="*/ 378 h 557"/>
                <a:gd name="T30" fmla="*/ 659 w 675"/>
                <a:gd name="T31" fmla="*/ 249 h 557"/>
                <a:gd name="T32" fmla="*/ 613 w 675"/>
                <a:gd name="T33" fmla="*/ 93 h 557"/>
                <a:gd name="T34" fmla="*/ 587 w 675"/>
                <a:gd name="T35" fmla="*/ 6 h 557"/>
                <a:gd name="T36" fmla="*/ 579 w 675"/>
                <a:gd name="T37" fmla="*/ 1 h 557"/>
                <a:gd name="T38" fmla="*/ 492 w 675"/>
                <a:gd name="T39" fmla="*/ 26 h 557"/>
                <a:gd name="T40" fmla="*/ 93 w 675"/>
                <a:gd name="T41" fmla="*/ 143 h 557"/>
                <a:gd name="T42" fmla="*/ 93 w 675"/>
                <a:gd name="T43" fmla="*/ 143 h 557"/>
                <a:gd name="T44" fmla="*/ 1 w 675"/>
                <a:gd name="T45" fmla="*/ 177 h 557"/>
                <a:gd name="T46" fmla="*/ 64 w 675"/>
                <a:gd name="T47" fmla="*/ 550 h 557"/>
                <a:gd name="T48" fmla="*/ 668 w 675"/>
                <a:gd name="T49" fmla="*/ 557 h 557"/>
                <a:gd name="T50" fmla="*/ 675 w 675"/>
                <a:gd name="T51" fmla="*/ 256 h 557"/>
                <a:gd name="T52" fmla="*/ 64 w 675"/>
                <a:gd name="T53" fmla="*/ 344 h 557"/>
                <a:gd name="T54" fmla="*/ 64 w 675"/>
                <a:gd name="T55" fmla="*/ 255 h 557"/>
                <a:gd name="T56" fmla="*/ 64 w 675"/>
                <a:gd name="T57" fmla="*/ 344 h 557"/>
                <a:gd name="T58" fmla="*/ 169 w 675"/>
                <a:gd name="T59" fmla="*/ 263 h 557"/>
                <a:gd name="T60" fmla="*/ 661 w 675"/>
                <a:gd name="T61" fmla="*/ 354 h 557"/>
                <a:gd name="T62" fmla="*/ 593 w 675"/>
                <a:gd name="T63" fmla="*/ 543 h 557"/>
                <a:gd name="T64" fmla="*/ 78 w 675"/>
                <a:gd name="T65" fmla="*/ 475 h 557"/>
                <a:gd name="T66" fmla="*/ 78 w 675"/>
                <a:gd name="T67" fmla="*/ 340 h 557"/>
                <a:gd name="T68" fmla="*/ 155 w 675"/>
                <a:gd name="T69" fmla="*/ 263 h 557"/>
                <a:gd name="T70" fmla="*/ 306 w 675"/>
                <a:gd name="T71" fmla="*/ 138 h 557"/>
                <a:gd name="T72" fmla="*/ 419 w 675"/>
                <a:gd name="T73" fmla="*/ 249 h 557"/>
                <a:gd name="T74" fmla="*/ 306 w 675"/>
                <a:gd name="T75" fmla="*/ 138 h 557"/>
                <a:gd name="T76" fmla="*/ 585 w 675"/>
                <a:gd name="T77" fmla="*/ 263 h 557"/>
                <a:gd name="T78" fmla="*/ 654 w 675"/>
                <a:gd name="T79" fmla="*/ 263 h 557"/>
                <a:gd name="T80" fmla="*/ 661 w 675"/>
                <a:gd name="T81" fmla="*/ 340 h 557"/>
                <a:gd name="T82" fmla="*/ 428 w 675"/>
                <a:gd name="T83" fmla="*/ 206 h 557"/>
                <a:gd name="T84" fmla="*/ 237 w 675"/>
                <a:gd name="T85" fmla="*/ 249 h 557"/>
                <a:gd name="T86" fmla="*/ 103 w 675"/>
                <a:gd name="T87" fmla="*/ 155 h 557"/>
                <a:gd name="T88" fmla="*/ 534 w 675"/>
                <a:gd name="T89" fmla="*/ 93 h 557"/>
                <a:gd name="T90" fmla="*/ 601 w 675"/>
                <a:gd name="T91" fmla="*/ 103 h 557"/>
                <a:gd name="T92" fmla="*/ 433 w 675"/>
                <a:gd name="T93" fmla="*/ 249 h 557"/>
                <a:gd name="T94" fmla="*/ 541 w 675"/>
                <a:gd name="T95" fmla="*/ 81 h 557"/>
                <a:gd name="T96" fmla="*/ 576 w 675"/>
                <a:gd name="T97" fmla="*/ 16 h 557"/>
                <a:gd name="T98" fmla="*/ 90 w 675"/>
                <a:gd name="T99" fmla="*/ 159 h 557"/>
                <a:gd name="T100" fmla="*/ 16 w 675"/>
                <a:gd name="T101" fmla="*/ 180 h 557"/>
                <a:gd name="T102" fmla="*/ 78 w 675"/>
                <a:gd name="T103" fmla="*/ 489 h 557"/>
                <a:gd name="T104" fmla="*/ 78 w 675"/>
                <a:gd name="T105" fmla="*/ 543 h 557"/>
                <a:gd name="T106" fmla="*/ 607 w 675"/>
                <a:gd name="T107" fmla="*/ 543 h 557"/>
                <a:gd name="T108" fmla="*/ 661 w 675"/>
                <a:gd name="T109" fmla="*/ 543 h 557"/>
                <a:gd name="T110" fmla="*/ 515 w 675"/>
                <a:gd name="T111" fmla="*/ 141 h 557"/>
                <a:gd name="T112" fmla="*/ 478 w 675"/>
                <a:gd name="T113" fmla="*/ 163 h 557"/>
                <a:gd name="T114" fmla="*/ 515 w 675"/>
                <a:gd name="T115" fmla="*/ 226 h 557"/>
                <a:gd name="T116" fmla="*/ 555 w 675"/>
                <a:gd name="T117" fmla="*/ 172 h 557"/>
                <a:gd name="T118" fmla="*/ 523 w 675"/>
                <a:gd name="T119" fmla="*/ 210 h 557"/>
                <a:gd name="T120" fmla="*/ 488 w 675"/>
                <a:gd name="T121" fmla="*/ 191 h 557"/>
                <a:gd name="T122" fmla="*/ 507 w 675"/>
                <a:gd name="T123" fmla="*/ 157 h 557"/>
                <a:gd name="T124" fmla="*/ 542 w 675"/>
                <a:gd name="T125" fmla="*/ 176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75" h="557">
                  <a:moveTo>
                    <a:pt x="368" y="516"/>
                  </a:moveTo>
                  <a:cubicBezTo>
                    <a:pt x="422" y="516"/>
                    <a:pt x="466" y="465"/>
                    <a:pt x="466" y="403"/>
                  </a:cubicBezTo>
                  <a:cubicBezTo>
                    <a:pt x="466" y="341"/>
                    <a:pt x="422" y="290"/>
                    <a:pt x="368" y="290"/>
                  </a:cubicBezTo>
                  <a:cubicBezTo>
                    <a:pt x="314" y="290"/>
                    <a:pt x="270" y="341"/>
                    <a:pt x="270" y="403"/>
                  </a:cubicBezTo>
                  <a:cubicBezTo>
                    <a:pt x="270" y="465"/>
                    <a:pt x="314" y="516"/>
                    <a:pt x="368" y="516"/>
                  </a:cubicBezTo>
                  <a:close/>
                  <a:moveTo>
                    <a:pt x="368" y="304"/>
                  </a:moveTo>
                  <a:cubicBezTo>
                    <a:pt x="414" y="304"/>
                    <a:pt x="452" y="349"/>
                    <a:pt x="452" y="403"/>
                  </a:cubicBezTo>
                  <a:cubicBezTo>
                    <a:pt x="452" y="458"/>
                    <a:pt x="414" y="502"/>
                    <a:pt x="368" y="502"/>
                  </a:cubicBezTo>
                  <a:cubicBezTo>
                    <a:pt x="322" y="502"/>
                    <a:pt x="284" y="458"/>
                    <a:pt x="284" y="403"/>
                  </a:cubicBezTo>
                  <a:cubicBezTo>
                    <a:pt x="284" y="349"/>
                    <a:pt x="322" y="304"/>
                    <a:pt x="368" y="304"/>
                  </a:cubicBezTo>
                  <a:close/>
                  <a:moveTo>
                    <a:pt x="556" y="449"/>
                  </a:moveTo>
                  <a:cubicBezTo>
                    <a:pt x="579" y="449"/>
                    <a:pt x="598" y="430"/>
                    <a:pt x="598" y="406"/>
                  </a:cubicBezTo>
                  <a:cubicBezTo>
                    <a:pt x="598" y="383"/>
                    <a:pt x="579" y="364"/>
                    <a:pt x="556" y="364"/>
                  </a:cubicBezTo>
                  <a:cubicBezTo>
                    <a:pt x="533" y="364"/>
                    <a:pt x="514" y="383"/>
                    <a:pt x="514" y="406"/>
                  </a:cubicBezTo>
                  <a:cubicBezTo>
                    <a:pt x="514" y="430"/>
                    <a:pt x="533" y="449"/>
                    <a:pt x="556" y="449"/>
                  </a:cubicBezTo>
                  <a:close/>
                  <a:moveTo>
                    <a:pt x="556" y="378"/>
                  </a:moveTo>
                  <a:cubicBezTo>
                    <a:pt x="571" y="378"/>
                    <a:pt x="584" y="391"/>
                    <a:pt x="584" y="406"/>
                  </a:cubicBezTo>
                  <a:cubicBezTo>
                    <a:pt x="584" y="422"/>
                    <a:pt x="571" y="435"/>
                    <a:pt x="556" y="435"/>
                  </a:cubicBezTo>
                  <a:cubicBezTo>
                    <a:pt x="540" y="435"/>
                    <a:pt x="528" y="422"/>
                    <a:pt x="528" y="406"/>
                  </a:cubicBezTo>
                  <a:cubicBezTo>
                    <a:pt x="528" y="391"/>
                    <a:pt x="540" y="378"/>
                    <a:pt x="556" y="378"/>
                  </a:cubicBezTo>
                  <a:close/>
                  <a:moveTo>
                    <a:pt x="184" y="449"/>
                  </a:moveTo>
                  <a:cubicBezTo>
                    <a:pt x="207" y="449"/>
                    <a:pt x="226" y="430"/>
                    <a:pt x="226" y="406"/>
                  </a:cubicBezTo>
                  <a:cubicBezTo>
                    <a:pt x="226" y="383"/>
                    <a:pt x="207" y="364"/>
                    <a:pt x="184" y="364"/>
                  </a:cubicBezTo>
                  <a:cubicBezTo>
                    <a:pt x="161" y="364"/>
                    <a:pt x="142" y="383"/>
                    <a:pt x="142" y="406"/>
                  </a:cubicBezTo>
                  <a:cubicBezTo>
                    <a:pt x="142" y="430"/>
                    <a:pt x="161" y="449"/>
                    <a:pt x="184" y="449"/>
                  </a:cubicBezTo>
                  <a:close/>
                  <a:moveTo>
                    <a:pt x="184" y="378"/>
                  </a:moveTo>
                  <a:cubicBezTo>
                    <a:pt x="199" y="378"/>
                    <a:pt x="212" y="391"/>
                    <a:pt x="212" y="406"/>
                  </a:cubicBezTo>
                  <a:cubicBezTo>
                    <a:pt x="212" y="422"/>
                    <a:pt x="199" y="435"/>
                    <a:pt x="184" y="435"/>
                  </a:cubicBezTo>
                  <a:cubicBezTo>
                    <a:pt x="168" y="435"/>
                    <a:pt x="156" y="422"/>
                    <a:pt x="156" y="406"/>
                  </a:cubicBezTo>
                  <a:cubicBezTo>
                    <a:pt x="156" y="391"/>
                    <a:pt x="168" y="378"/>
                    <a:pt x="184" y="378"/>
                  </a:cubicBezTo>
                  <a:close/>
                  <a:moveTo>
                    <a:pt x="668" y="249"/>
                  </a:moveTo>
                  <a:cubicBezTo>
                    <a:pt x="659" y="249"/>
                    <a:pt x="659" y="249"/>
                    <a:pt x="659" y="249"/>
                  </a:cubicBezTo>
                  <a:cubicBezTo>
                    <a:pt x="613" y="93"/>
                    <a:pt x="613" y="93"/>
                    <a:pt x="613" y="93"/>
                  </a:cubicBezTo>
                  <a:cubicBezTo>
                    <a:pt x="613" y="93"/>
                    <a:pt x="613" y="93"/>
                    <a:pt x="613" y="93"/>
                  </a:cubicBezTo>
                  <a:cubicBezTo>
                    <a:pt x="613" y="93"/>
                    <a:pt x="613" y="93"/>
                    <a:pt x="613" y="93"/>
                  </a:cubicBezTo>
                  <a:cubicBezTo>
                    <a:pt x="587" y="6"/>
                    <a:pt x="587" y="6"/>
                    <a:pt x="587" y="6"/>
                  </a:cubicBezTo>
                  <a:cubicBezTo>
                    <a:pt x="587" y="4"/>
                    <a:pt x="586" y="2"/>
                    <a:pt x="584" y="1"/>
                  </a:cubicBezTo>
                  <a:cubicBezTo>
                    <a:pt x="582" y="1"/>
                    <a:pt x="581" y="0"/>
                    <a:pt x="579" y="1"/>
                  </a:cubicBezTo>
                  <a:cubicBezTo>
                    <a:pt x="492" y="26"/>
                    <a:pt x="492" y="26"/>
                    <a:pt x="492" y="26"/>
                  </a:cubicBezTo>
                  <a:cubicBezTo>
                    <a:pt x="492" y="26"/>
                    <a:pt x="492" y="26"/>
                    <a:pt x="492" y="26"/>
                  </a:cubicBezTo>
                  <a:cubicBezTo>
                    <a:pt x="492" y="26"/>
                    <a:pt x="492" y="26"/>
                    <a:pt x="492" y="26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6" y="169"/>
                    <a:pt x="6" y="169"/>
                    <a:pt x="6" y="169"/>
                  </a:cubicBezTo>
                  <a:cubicBezTo>
                    <a:pt x="2" y="170"/>
                    <a:pt x="0" y="173"/>
                    <a:pt x="1" y="177"/>
                  </a:cubicBezTo>
                  <a:cubicBezTo>
                    <a:pt x="64" y="394"/>
                    <a:pt x="64" y="394"/>
                    <a:pt x="64" y="394"/>
                  </a:cubicBezTo>
                  <a:cubicBezTo>
                    <a:pt x="64" y="550"/>
                    <a:pt x="64" y="550"/>
                    <a:pt x="64" y="550"/>
                  </a:cubicBezTo>
                  <a:cubicBezTo>
                    <a:pt x="64" y="554"/>
                    <a:pt x="67" y="557"/>
                    <a:pt x="71" y="557"/>
                  </a:cubicBezTo>
                  <a:cubicBezTo>
                    <a:pt x="668" y="557"/>
                    <a:pt x="668" y="557"/>
                    <a:pt x="668" y="557"/>
                  </a:cubicBezTo>
                  <a:cubicBezTo>
                    <a:pt x="672" y="557"/>
                    <a:pt x="675" y="554"/>
                    <a:pt x="675" y="550"/>
                  </a:cubicBezTo>
                  <a:cubicBezTo>
                    <a:pt x="675" y="256"/>
                    <a:pt x="675" y="256"/>
                    <a:pt x="675" y="256"/>
                  </a:cubicBezTo>
                  <a:cubicBezTo>
                    <a:pt x="675" y="252"/>
                    <a:pt x="672" y="249"/>
                    <a:pt x="668" y="249"/>
                  </a:cubicBezTo>
                  <a:close/>
                  <a:moveTo>
                    <a:pt x="64" y="344"/>
                  </a:moveTo>
                  <a:cubicBezTo>
                    <a:pt x="42" y="267"/>
                    <a:pt x="42" y="267"/>
                    <a:pt x="42" y="267"/>
                  </a:cubicBezTo>
                  <a:cubicBezTo>
                    <a:pt x="50" y="264"/>
                    <a:pt x="58" y="260"/>
                    <a:pt x="64" y="255"/>
                  </a:cubicBezTo>
                  <a:cubicBezTo>
                    <a:pt x="64" y="255"/>
                    <a:pt x="64" y="256"/>
                    <a:pt x="64" y="256"/>
                  </a:cubicBezTo>
                  <a:lnTo>
                    <a:pt x="64" y="344"/>
                  </a:lnTo>
                  <a:close/>
                  <a:moveTo>
                    <a:pt x="78" y="354"/>
                  </a:moveTo>
                  <a:cubicBezTo>
                    <a:pt x="127" y="350"/>
                    <a:pt x="165" y="311"/>
                    <a:pt x="169" y="263"/>
                  </a:cubicBezTo>
                  <a:cubicBezTo>
                    <a:pt x="571" y="263"/>
                    <a:pt x="571" y="263"/>
                    <a:pt x="571" y="263"/>
                  </a:cubicBezTo>
                  <a:cubicBezTo>
                    <a:pt x="574" y="311"/>
                    <a:pt x="613" y="350"/>
                    <a:pt x="661" y="354"/>
                  </a:cubicBezTo>
                  <a:cubicBezTo>
                    <a:pt x="661" y="475"/>
                    <a:pt x="661" y="475"/>
                    <a:pt x="661" y="475"/>
                  </a:cubicBezTo>
                  <a:cubicBezTo>
                    <a:pt x="625" y="478"/>
                    <a:pt x="596" y="507"/>
                    <a:pt x="593" y="543"/>
                  </a:cubicBezTo>
                  <a:cubicBezTo>
                    <a:pt x="147" y="543"/>
                    <a:pt x="147" y="543"/>
                    <a:pt x="147" y="543"/>
                  </a:cubicBezTo>
                  <a:cubicBezTo>
                    <a:pt x="143" y="507"/>
                    <a:pt x="114" y="478"/>
                    <a:pt x="78" y="475"/>
                  </a:cubicBezTo>
                  <a:lnTo>
                    <a:pt x="78" y="354"/>
                  </a:lnTo>
                  <a:close/>
                  <a:moveTo>
                    <a:pt x="78" y="340"/>
                  </a:moveTo>
                  <a:cubicBezTo>
                    <a:pt x="78" y="263"/>
                    <a:pt x="78" y="263"/>
                    <a:pt x="78" y="263"/>
                  </a:cubicBezTo>
                  <a:cubicBezTo>
                    <a:pt x="155" y="263"/>
                    <a:pt x="155" y="263"/>
                    <a:pt x="155" y="263"/>
                  </a:cubicBezTo>
                  <a:cubicBezTo>
                    <a:pt x="151" y="304"/>
                    <a:pt x="119" y="336"/>
                    <a:pt x="78" y="340"/>
                  </a:cubicBezTo>
                  <a:close/>
                  <a:moveTo>
                    <a:pt x="306" y="138"/>
                  </a:moveTo>
                  <a:cubicBezTo>
                    <a:pt x="351" y="125"/>
                    <a:pt x="399" y="157"/>
                    <a:pt x="414" y="210"/>
                  </a:cubicBezTo>
                  <a:cubicBezTo>
                    <a:pt x="418" y="223"/>
                    <a:pt x="420" y="236"/>
                    <a:pt x="419" y="249"/>
                  </a:cubicBezTo>
                  <a:cubicBezTo>
                    <a:pt x="252" y="249"/>
                    <a:pt x="252" y="249"/>
                    <a:pt x="252" y="249"/>
                  </a:cubicBezTo>
                  <a:cubicBezTo>
                    <a:pt x="241" y="200"/>
                    <a:pt x="264" y="150"/>
                    <a:pt x="306" y="138"/>
                  </a:cubicBezTo>
                  <a:close/>
                  <a:moveTo>
                    <a:pt x="661" y="340"/>
                  </a:moveTo>
                  <a:cubicBezTo>
                    <a:pt x="621" y="336"/>
                    <a:pt x="588" y="304"/>
                    <a:pt x="585" y="263"/>
                  </a:cubicBezTo>
                  <a:cubicBezTo>
                    <a:pt x="654" y="263"/>
                    <a:pt x="654" y="263"/>
                    <a:pt x="654" y="263"/>
                  </a:cubicBezTo>
                  <a:cubicBezTo>
                    <a:pt x="654" y="263"/>
                    <a:pt x="654" y="263"/>
                    <a:pt x="654" y="263"/>
                  </a:cubicBezTo>
                  <a:cubicBezTo>
                    <a:pt x="661" y="263"/>
                    <a:pt x="661" y="263"/>
                    <a:pt x="661" y="263"/>
                  </a:cubicBezTo>
                  <a:lnTo>
                    <a:pt x="661" y="340"/>
                  </a:lnTo>
                  <a:close/>
                  <a:moveTo>
                    <a:pt x="433" y="249"/>
                  </a:moveTo>
                  <a:cubicBezTo>
                    <a:pt x="434" y="235"/>
                    <a:pt x="432" y="220"/>
                    <a:pt x="428" y="206"/>
                  </a:cubicBezTo>
                  <a:cubicBezTo>
                    <a:pt x="410" y="146"/>
                    <a:pt x="354" y="110"/>
                    <a:pt x="302" y="125"/>
                  </a:cubicBezTo>
                  <a:cubicBezTo>
                    <a:pt x="253" y="139"/>
                    <a:pt x="226" y="193"/>
                    <a:pt x="237" y="249"/>
                  </a:cubicBezTo>
                  <a:cubicBezTo>
                    <a:pt x="72" y="249"/>
                    <a:pt x="72" y="249"/>
                    <a:pt x="72" y="249"/>
                  </a:cubicBezTo>
                  <a:cubicBezTo>
                    <a:pt x="98" y="226"/>
                    <a:pt x="111" y="190"/>
                    <a:pt x="103" y="155"/>
                  </a:cubicBezTo>
                  <a:cubicBezTo>
                    <a:pt x="489" y="42"/>
                    <a:pt x="489" y="42"/>
                    <a:pt x="489" y="42"/>
                  </a:cubicBezTo>
                  <a:cubicBezTo>
                    <a:pt x="497" y="64"/>
                    <a:pt x="513" y="82"/>
                    <a:pt x="534" y="93"/>
                  </a:cubicBezTo>
                  <a:cubicBezTo>
                    <a:pt x="548" y="101"/>
                    <a:pt x="564" y="105"/>
                    <a:pt x="581" y="105"/>
                  </a:cubicBezTo>
                  <a:cubicBezTo>
                    <a:pt x="588" y="105"/>
                    <a:pt x="595" y="105"/>
                    <a:pt x="601" y="103"/>
                  </a:cubicBezTo>
                  <a:cubicBezTo>
                    <a:pt x="644" y="249"/>
                    <a:pt x="644" y="249"/>
                    <a:pt x="644" y="249"/>
                  </a:cubicBezTo>
                  <a:lnTo>
                    <a:pt x="433" y="249"/>
                  </a:lnTo>
                  <a:close/>
                  <a:moveTo>
                    <a:pt x="597" y="90"/>
                  </a:moveTo>
                  <a:cubicBezTo>
                    <a:pt x="578" y="94"/>
                    <a:pt x="558" y="91"/>
                    <a:pt x="541" y="81"/>
                  </a:cubicBezTo>
                  <a:cubicBezTo>
                    <a:pt x="523" y="71"/>
                    <a:pt x="510" y="56"/>
                    <a:pt x="503" y="38"/>
                  </a:cubicBezTo>
                  <a:cubicBezTo>
                    <a:pt x="576" y="16"/>
                    <a:pt x="576" y="16"/>
                    <a:pt x="576" y="16"/>
                  </a:cubicBezTo>
                  <a:lnTo>
                    <a:pt x="597" y="90"/>
                  </a:lnTo>
                  <a:close/>
                  <a:moveTo>
                    <a:pt x="90" y="159"/>
                  </a:moveTo>
                  <a:cubicBezTo>
                    <a:pt x="98" y="198"/>
                    <a:pt x="76" y="239"/>
                    <a:pt x="38" y="253"/>
                  </a:cubicBezTo>
                  <a:cubicBezTo>
                    <a:pt x="16" y="180"/>
                    <a:pt x="16" y="180"/>
                    <a:pt x="16" y="180"/>
                  </a:cubicBezTo>
                  <a:lnTo>
                    <a:pt x="90" y="159"/>
                  </a:lnTo>
                  <a:close/>
                  <a:moveTo>
                    <a:pt x="78" y="489"/>
                  </a:moveTo>
                  <a:cubicBezTo>
                    <a:pt x="107" y="492"/>
                    <a:pt x="129" y="515"/>
                    <a:pt x="133" y="543"/>
                  </a:cubicBezTo>
                  <a:cubicBezTo>
                    <a:pt x="78" y="543"/>
                    <a:pt x="78" y="543"/>
                    <a:pt x="78" y="543"/>
                  </a:cubicBezTo>
                  <a:lnTo>
                    <a:pt x="78" y="489"/>
                  </a:lnTo>
                  <a:close/>
                  <a:moveTo>
                    <a:pt x="607" y="543"/>
                  </a:moveTo>
                  <a:cubicBezTo>
                    <a:pt x="610" y="515"/>
                    <a:pt x="633" y="492"/>
                    <a:pt x="661" y="489"/>
                  </a:cubicBezTo>
                  <a:cubicBezTo>
                    <a:pt x="661" y="543"/>
                    <a:pt x="661" y="543"/>
                    <a:pt x="661" y="543"/>
                  </a:cubicBezTo>
                  <a:lnTo>
                    <a:pt x="607" y="543"/>
                  </a:lnTo>
                  <a:close/>
                  <a:moveTo>
                    <a:pt x="515" y="141"/>
                  </a:moveTo>
                  <a:cubicBezTo>
                    <a:pt x="511" y="141"/>
                    <a:pt x="507" y="142"/>
                    <a:pt x="503" y="143"/>
                  </a:cubicBezTo>
                  <a:cubicBezTo>
                    <a:pt x="492" y="146"/>
                    <a:pt x="484" y="153"/>
                    <a:pt x="478" y="163"/>
                  </a:cubicBezTo>
                  <a:cubicBezTo>
                    <a:pt x="473" y="173"/>
                    <a:pt x="471" y="185"/>
                    <a:pt x="475" y="195"/>
                  </a:cubicBezTo>
                  <a:cubicBezTo>
                    <a:pt x="480" y="213"/>
                    <a:pt x="496" y="226"/>
                    <a:pt x="515" y="226"/>
                  </a:cubicBezTo>
                  <a:cubicBezTo>
                    <a:pt x="519" y="226"/>
                    <a:pt x="523" y="225"/>
                    <a:pt x="527" y="224"/>
                  </a:cubicBezTo>
                  <a:cubicBezTo>
                    <a:pt x="549" y="217"/>
                    <a:pt x="562" y="194"/>
                    <a:pt x="555" y="172"/>
                  </a:cubicBezTo>
                  <a:cubicBezTo>
                    <a:pt x="550" y="154"/>
                    <a:pt x="534" y="141"/>
                    <a:pt x="515" y="141"/>
                  </a:cubicBezTo>
                  <a:close/>
                  <a:moveTo>
                    <a:pt x="523" y="210"/>
                  </a:moveTo>
                  <a:cubicBezTo>
                    <a:pt x="520" y="211"/>
                    <a:pt x="518" y="212"/>
                    <a:pt x="515" y="212"/>
                  </a:cubicBezTo>
                  <a:cubicBezTo>
                    <a:pt x="503" y="212"/>
                    <a:pt x="492" y="203"/>
                    <a:pt x="488" y="191"/>
                  </a:cubicBezTo>
                  <a:cubicBezTo>
                    <a:pt x="486" y="184"/>
                    <a:pt x="487" y="177"/>
                    <a:pt x="490" y="170"/>
                  </a:cubicBezTo>
                  <a:cubicBezTo>
                    <a:pt x="494" y="163"/>
                    <a:pt x="500" y="159"/>
                    <a:pt x="507" y="157"/>
                  </a:cubicBezTo>
                  <a:cubicBezTo>
                    <a:pt x="510" y="156"/>
                    <a:pt x="512" y="155"/>
                    <a:pt x="515" y="155"/>
                  </a:cubicBezTo>
                  <a:cubicBezTo>
                    <a:pt x="527" y="155"/>
                    <a:pt x="538" y="164"/>
                    <a:pt x="542" y="176"/>
                  </a:cubicBezTo>
                  <a:cubicBezTo>
                    <a:pt x="546" y="190"/>
                    <a:pt x="538" y="206"/>
                    <a:pt x="52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 useBgFill="1">
        <p:nvSpPr>
          <p:cNvPr id="25" name="Oval 24"/>
          <p:cNvSpPr/>
          <p:nvPr/>
        </p:nvSpPr>
        <p:spPr>
          <a:xfrm>
            <a:off x="3982223" y="2133816"/>
            <a:ext cx="1179555" cy="1176767"/>
          </a:xfrm>
          <a:prstGeom prst="ellipse">
            <a:avLst/>
          </a:prstGeom>
          <a:ln w="317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9000"/>
              </a:lnSpc>
            </a:pPr>
            <a:r>
              <a:rPr lang="en-US" sz="1350" dirty="0">
                <a:solidFill>
                  <a:schemeClr val="tx1"/>
                </a:solidFill>
              </a:rPr>
              <a:t>XXXX</a:t>
            </a:r>
          </a:p>
          <a:p>
            <a:pPr algn="ctr">
              <a:lnSpc>
                <a:spcPct val="89000"/>
              </a:lnSpc>
            </a:pPr>
            <a:r>
              <a:rPr lang="en-US" sz="1350" dirty="0">
                <a:solidFill>
                  <a:schemeClr val="tx1"/>
                </a:solidFill>
              </a:rPr>
              <a:t>XXX</a:t>
            </a:r>
          </a:p>
        </p:txBody>
      </p:sp>
      <p:cxnSp>
        <p:nvCxnSpPr>
          <p:cNvPr id="42" name="Straight Connector 41"/>
          <p:cNvCxnSpPr>
            <a:stCxn id="11" idx="0"/>
            <a:endCxn id="25" idx="4"/>
          </p:cNvCxnSpPr>
          <p:nvPr/>
        </p:nvCxnSpPr>
        <p:spPr>
          <a:xfrm flipV="1">
            <a:off x="4572000" y="3310582"/>
            <a:ext cx="0" cy="249987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5" idx="4"/>
            <a:endCxn id="25" idx="0"/>
          </p:cNvCxnSpPr>
          <p:nvPr/>
        </p:nvCxnSpPr>
        <p:spPr>
          <a:xfrm>
            <a:off x="4572000" y="1883828"/>
            <a:ext cx="0" cy="249987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>
            <a:off x="5118077" y="1059582"/>
            <a:ext cx="221606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50"/>
              </a:spcAft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</a:t>
            </a:r>
            <a:r>
              <a:rPr lang="en-US" sz="1050" dirty="0" err="1"/>
              <a:t>xxxxx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</a:t>
            </a:r>
          </a:p>
        </p:txBody>
      </p:sp>
      <p:sp>
        <p:nvSpPr>
          <p:cNvPr id="49" name="Rectangle 48"/>
          <p:cNvSpPr/>
          <p:nvPr/>
        </p:nvSpPr>
        <p:spPr>
          <a:xfrm>
            <a:off x="1834807" y="4038791"/>
            <a:ext cx="221606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150"/>
              </a:spcAft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</a:t>
            </a:r>
            <a:r>
              <a:rPr lang="en-US" sz="1050" dirty="0" err="1"/>
              <a:t>xxxxx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</a:t>
            </a:r>
          </a:p>
        </p:txBody>
      </p:sp>
      <p:sp>
        <p:nvSpPr>
          <p:cNvPr id="50" name="Rectangle 49"/>
          <p:cNvSpPr/>
          <p:nvPr/>
        </p:nvSpPr>
        <p:spPr>
          <a:xfrm>
            <a:off x="713994" y="3204658"/>
            <a:ext cx="221606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150"/>
              </a:spcAft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</a:t>
            </a:r>
            <a:r>
              <a:rPr lang="en-US" sz="1050" dirty="0" err="1"/>
              <a:t>xxxxx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</a:t>
            </a:r>
          </a:p>
        </p:txBody>
      </p:sp>
      <p:sp>
        <p:nvSpPr>
          <p:cNvPr id="51" name="Rectangle 50"/>
          <p:cNvSpPr/>
          <p:nvPr/>
        </p:nvSpPr>
        <p:spPr>
          <a:xfrm>
            <a:off x="713994" y="1915441"/>
            <a:ext cx="221606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150"/>
              </a:spcAft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</a:t>
            </a:r>
            <a:r>
              <a:rPr lang="en-US" sz="1050" dirty="0" err="1"/>
              <a:t>xxxxx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</a:t>
            </a:r>
          </a:p>
        </p:txBody>
      </p:sp>
      <p:sp>
        <p:nvSpPr>
          <p:cNvPr id="52" name="Rectangle 51"/>
          <p:cNvSpPr/>
          <p:nvPr/>
        </p:nvSpPr>
        <p:spPr>
          <a:xfrm>
            <a:off x="6226108" y="3204658"/>
            <a:ext cx="221606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50"/>
              </a:spcAft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</a:t>
            </a:r>
            <a:r>
              <a:rPr lang="en-US" sz="1050" dirty="0" err="1"/>
              <a:t>xxxxx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</a:t>
            </a:r>
          </a:p>
        </p:txBody>
      </p:sp>
      <p:sp>
        <p:nvSpPr>
          <p:cNvPr id="53" name="Rectangle 52"/>
          <p:cNvSpPr/>
          <p:nvPr/>
        </p:nvSpPr>
        <p:spPr>
          <a:xfrm>
            <a:off x="6226108" y="1915441"/>
            <a:ext cx="221606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50"/>
              </a:spcAft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</a:t>
            </a:r>
            <a:r>
              <a:rPr lang="en-US" sz="1050" dirty="0" err="1"/>
              <a:t>xxxxx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</a:t>
            </a:r>
          </a:p>
        </p:txBody>
      </p:sp>
      <p:sp>
        <p:nvSpPr>
          <p:cNvPr id="35" name="Footer Placeholder 99">
            <a:extLst>
              <a:ext uri="{FF2B5EF4-FFF2-40B4-BE49-F238E27FC236}">
                <a16:creationId xmlns:a16="http://schemas.microsoft.com/office/drawing/2014/main" id="{9CAA1144-9928-4725-B79A-CE8357147FD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6" name="Slide Number Placeholder 100">
            <a:extLst>
              <a:ext uri="{FF2B5EF4-FFF2-40B4-BE49-F238E27FC236}">
                <a16:creationId xmlns:a16="http://schemas.microsoft.com/office/drawing/2014/main" id="{362B1927-14E5-4CE4-A276-907A68EE20E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58</a:t>
            </a:fld>
            <a:endParaRPr lang="en-US" dirty="0"/>
          </a:p>
        </p:txBody>
      </p:sp>
      <p:sp>
        <p:nvSpPr>
          <p:cNvPr id="37" name="Text Placeholder 41">
            <a:extLst>
              <a:ext uri="{FF2B5EF4-FFF2-40B4-BE49-F238E27FC236}">
                <a16:creationId xmlns:a16="http://schemas.microsoft.com/office/drawing/2014/main" id="{D0575EC2-037E-4673-9D0E-F6E2EFBA5A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351674584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12811" cy="545464"/>
          </a:xfrm>
        </p:spPr>
        <p:txBody>
          <a:bodyPr/>
          <a:lstStyle/>
          <a:p>
            <a:r>
              <a:rPr lang="en-US" dirty="0"/>
              <a:t>Key pieces of a puzzle or solution</a:t>
            </a:r>
          </a:p>
        </p:txBody>
      </p:sp>
      <p:sp>
        <p:nvSpPr>
          <p:cNvPr id="17" name="Freeform 19"/>
          <p:cNvSpPr>
            <a:spLocks/>
          </p:cNvSpPr>
          <p:nvPr/>
        </p:nvSpPr>
        <p:spPr bwMode="auto">
          <a:xfrm>
            <a:off x="2857095" y="3762565"/>
            <a:ext cx="499770" cy="434342"/>
          </a:xfrm>
          <a:custGeom>
            <a:avLst/>
            <a:gdLst>
              <a:gd name="T0" fmla="*/ 603 w 608"/>
              <a:gd name="T1" fmla="*/ 126 h 528"/>
              <a:gd name="T2" fmla="*/ 481 w 608"/>
              <a:gd name="T3" fmla="*/ 367 h 528"/>
              <a:gd name="T4" fmla="*/ 273 w 608"/>
              <a:gd name="T5" fmla="*/ 528 h 528"/>
              <a:gd name="T6" fmla="*/ 183 w 608"/>
              <a:gd name="T7" fmla="*/ 430 h 528"/>
              <a:gd name="T8" fmla="*/ 133 w 608"/>
              <a:gd name="T9" fmla="*/ 249 h 528"/>
              <a:gd name="T10" fmla="*/ 75 w 608"/>
              <a:gd name="T11" fmla="*/ 151 h 528"/>
              <a:gd name="T12" fmla="*/ 28 w 608"/>
              <a:gd name="T13" fmla="*/ 181 h 528"/>
              <a:gd name="T14" fmla="*/ 0 w 608"/>
              <a:gd name="T15" fmla="*/ 144 h 528"/>
              <a:gd name="T16" fmla="*/ 88 w 608"/>
              <a:gd name="T17" fmla="*/ 66 h 528"/>
              <a:gd name="T18" fmla="*/ 178 w 608"/>
              <a:gd name="T19" fmla="*/ 10 h 528"/>
              <a:gd name="T20" fmla="*/ 263 w 608"/>
              <a:gd name="T21" fmla="*/ 108 h 528"/>
              <a:gd name="T22" fmla="*/ 288 w 608"/>
              <a:gd name="T23" fmla="*/ 247 h 528"/>
              <a:gd name="T24" fmla="*/ 333 w 608"/>
              <a:gd name="T25" fmla="*/ 340 h 528"/>
              <a:gd name="T26" fmla="*/ 390 w 608"/>
              <a:gd name="T27" fmla="*/ 279 h 528"/>
              <a:gd name="T28" fmla="*/ 430 w 608"/>
              <a:gd name="T29" fmla="*/ 186 h 528"/>
              <a:gd name="T30" fmla="*/ 390 w 608"/>
              <a:gd name="T31" fmla="*/ 136 h 528"/>
              <a:gd name="T32" fmla="*/ 345 w 608"/>
              <a:gd name="T33" fmla="*/ 146 h 528"/>
              <a:gd name="T34" fmla="*/ 516 w 608"/>
              <a:gd name="T35" fmla="*/ 3 h 528"/>
              <a:gd name="T36" fmla="*/ 603 w 608"/>
              <a:gd name="T37" fmla="*/ 126 h 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08" h="528">
                <a:moveTo>
                  <a:pt x="603" y="126"/>
                </a:moveTo>
                <a:cubicBezTo>
                  <a:pt x="601" y="184"/>
                  <a:pt x="561" y="264"/>
                  <a:pt x="481" y="367"/>
                </a:cubicBezTo>
                <a:cubicBezTo>
                  <a:pt x="398" y="473"/>
                  <a:pt x="328" y="528"/>
                  <a:pt x="273" y="528"/>
                </a:cubicBezTo>
                <a:cubicBezTo>
                  <a:pt x="238" y="528"/>
                  <a:pt x="208" y="495"/>
                  <a:pt x="183" y="430"/>
                </a:cubicBezTo>
                <a:cubicBezTo>
                  <a:pt x="165" y="370"/>
                  <a:pt x="150" y="309"/>
                  <a:pt x="133" y="249"/>
                </a:cubicBezTo>
                <a:cubicBezTo>
                  <a:pt x="115" y="184"/>
                  <a:pt x="98" y="151"/>
                  <a:pt x="75" y="151"/>
                </a:cubicBezTo>
                <a:cubicBezTo>
                  <a:pt x="70" y="151"/>
                  <a:pt x="55" y="161"/>
                  <a:pt x="28" y="181"/>
                </a:cubicBezTo>
                <a:cubicBezTo>
                  <a:pt x="0" y="144"/>
                  <a:pt x="0" y="144"/>
                  <a:pt x="0" y="144"/>
                </a:cubicBezTo>
                <a:cubicBezTo>
                  <a:pt x="30" y="118"/>
                  <a:pt x="60" y="91"/>
                  <a:pt x="88" y="66"/>
                </a:cubicBezTo>
                <a:cubicBezTo>
                  <a:pt x="128" y="30"/>
                  <a:pt x="158" y="13"/>
                  <a:pt x="178" y="10"/>
                </a:cubicBezTo>
                <a:cubicBezTo>
                  <a:pt x="225" y="5"/>
                  <a:pt x="253" y="38"/>
                  <a:pt x="263" y="108"/>
                </a:cubicBezTo>
                <a:cubicBezTo>
                  <a:pt x="275" y="181"/>
                  <a:pt x="283" y="229"/>
                  <a:pt x="288" y="247"/>
                </a:cubicBezTo>
                <a:cubicBezTo>
                  <a:pt x="303" y="307"/>
                  <a:pt x="318" y="340"/>
                  <a:pt x="333" y="340"/>
                </a:cubicBezTo>
                <a:cubicBezTo>
                  <a:pt x="345" y="340"/>
                  <a:pt x="365" y="319"/>
                  <a:pt x="390" y="279"/>
                </a:cubicBezTo>
                <a:cubicBezTo>
                  <a:pt x="415" y="239"/>
                  <a:pt x="428" y="209"/>
                  <a:pt x="430" y="186"/>
                </a:cubicBezTo>
                <a:cubicBezTo>
                  <a:pt x="433" y="154"/>
                  <a:pt x="420" y="136"/>
                  <a:pt x="390" y="136"/>
                </a:cubicBezTo>
                <a:cubicBezTo>
                  <a:pt x="375" y="136"/>
                  <a:pt x="360" y="138"/>
                  <a:pt x="345" y="146"/>
                </a:cubicBezTo>
                <a:cubicBezTo>
                  <a:pt x="375" y="48"/>
                  <a:pt x="433" y="0"/>
                  <a:pt x="516" y="3"/>
                </a:cubicBezTo>
                <a:cubicBezTo>
                  <a:pt x="578" y="5"/>
                  <a:pt x="608" y="45"/>
                  <a:pt x="603" y="12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8" name="Freeform 27"/>
          <p:cNvSpPr>
            <a:spLocks/>
          </p:cNvSpPr>
          <p:nvPr/>
        </p:nvSpPr>
        <p:spPr bwMode="auto">
          <a:xfrm>
            <a:off x="5832484" y="1066675"/>
            <a:ext cx="381068" cy="509162"/>
          </a:xfrm>
          <a:custGeom>
            <a:avLst/>
            <a:gdLst>
              <a:gd name="T0" fmla="*/ 430 w 452"/>
              <a:gd name="T1" fmla="*/ 477 h 604"/>
              <a:gd name="T2" fmla="*/ 452 w 452"/>
              <a:gd name="T3" fmla="*/ 529 h 604"/>
              <a:gd name="T4" fmla="*/ 430 w 452"/>
              <a:gd name="T5" fmla="*/ 582 h 604"/>
              <a:gd name="T6" fmla="*/ 375 w 452"/>
              <a:gd name="T7" fmla="*/ 604 h 604"/>
              <a:gd name="T8" fmla="*/ 227 w 452"/>
              <a:gd name="T9" fmla="*/ 604 h 604"/>
              <a:gd name="T10" fmla="*/ 67 w 452"/>
              <a:gd name="T11" fmla="*/ 539 h 604"/>
              <a:gd name="T12" fmla="*/ 0 w 452"/>
              <a:gd name="T13" fmla="*/ 379 h 604"/>
              <a:gd name="T14" fmla="*/ 0 w 452"/>
              <a:gd name="T15" fmla="*/ 75 h 604"/>
              <a:gd name="T16" fmla="*/ 23 w 452"/>
              <a:gd name="T17" fmla="*/ 23 h 604"/>
              <a:gd name="T18" fmla="*/ 77 w 452"/>
              <a:gd name="T19" fmla="*/ 0 h 604"/>
              <a:gd name="T20" fmla="*/ 130 w 452"/>
              <a:gd name="T21" fmla="*/ 23 h 604"/>
              <a:gd name="T22" fmla="*/ 152 w 452"/>
              <a:gd name="T23" fmla="*/ 75 h 604"/>
              <a:gd name="T24" fmla="*/ 152 w 452"/>
              <a:gd name="T25" fmla="*/ 151 h 604"/>
              <a:gd name="T26" fmla="*/ 375 w 452"/>
              <a:gd name="T27" fmla="*/ 151 h 604"/>
              <a:gd name="T28" fmla="*/ 430 w 452"/>
              <a:gd name="T29" fmla="*/ 173 h 604"/>
              <a:gd name="T30" fmla="*/ 452 w 452"/>
              <a:gd name="T31" fmla="*/ 228 h 604"/>
              <a:gd name="T32" fmla="*/ 430 w 452"/>
              <a:gd name="T33" fmla="*/ 281 h 604"/>
              <a:gd name="T34" fmla="*/ 375 w 452"/>
              <a:gd name="T35" fmla="*/ 304 h 604"/>
              <a:gd name="T36" fmla="*/ 152 w 452"/>
              <a:gd name="T37" fmla="*/ 304 h 604"/>
              <a:gd name="T38" fmla="*/ 152 w 452"/>
              <a:gd name="T39" fmla="*/ 379 h 604"/>
              <a:gd name="T40" fmla="*/ 172 w 452"/>
              <a:gd name="T41" fmla="*/ 431 h 604"/>
              <a:gd name="T42" fmla="*/ 227 w 452"/>
              <a:gd name="T43" fmla="*/ 454 h 604"/>
              <a:gd name="T44" fmla="*/ 375 w 452"/>
              <a:gd name="T45" fmla="*/ 454 h 604"/>
              <a:gd name="T46" fmla="*/ 430 w 452"/>
              <a:gd name="T47" fmla="*/ 477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52" h="604">
                <a:moveTo>
                  <a:pt x="430" y="477"/>
                </a:moveTo>
                <a:cubicBezTo>
                  <a:pt x="445" y="492"/>
                  <a:pt x="452" y="509"/>
                  <a:pt x="452" y="529"/>
                </a:cubicBezTo>
                <a:cubicBezTo>
                  <a:pt x="452" y="549"/>
                  <a:pt x="445" y="567"/>
                  <a:pt x="430" y="582"/>
                </a:cubicBezTo>
                <a:cubicBezTo>
                  <a:pt x="415" y="597"/>
                  <a:pt x="397" y="604"/>
                  <a:pt x="375" y="604"/>
                </a:cubicBezTo>
                <a:cubicBezTo>
                  <a:pt x="375" y="604"/>
                  <a:pt x="375" y="604"/>
                  <a:pt x="227" y="604"/>
                </a:cubicBezTo>
                <a:cubicBezTo>
                  <a:pt x="165" y="604"/>
                  <a:pt x="110" y="582"/>
                  <a:pt x="67" y="539"/>
                </a:cubicBezTo>
                <a:cubicBezTo>
                  <a:pt x="23" y="494"/>
                  <a:pt x="0" y="441"/>
                  <a:pt x="0" y="379"/>
                </a:cubicBezTo>
                <a:cubicBezTo>
                  <a:pt x="0" y="379"/>
                  <a:pt x="0" y="379"/>
                  <a:pt x="0" y="75"/>
                </a:cubicBezTo>
                <a:cubicBezTo>
                  <a:pt x="0" y="55"/>
                  <a:pt x="8" y="38"/>
                  <a:pt x="23" y="23"/>
                </a:cubicBezTo>
                <a:cubicBezTo>
                  <a:pt x="38" y="8"/>
                  <a:pt x="55" y="0"/>
                  <a:pt x="77" y="0"/>
                </a:cubicBezTo>
                <a:cubicBezTo>
                  <a:pt x="97" y="0"/>
                  <a:pt x="115" y="8"/>
                  <a:pt x="130" y="23"/>
                </a:cubicBezTo>
                <a:cubicBezTo>
                  <a:pt x="145" y="38"/>
                  <a:pt x="152" y="55"/>
                  <a:pt x="152" y="75"/>
                </a:cubicBezTo>
                <a:cubicBezTo>
                  <a:pt x="152" y="75"/>
                  <a:pt x="152" y="75"/>
                  <a:pt x="152" y="151"/>
                </a:cubicBezTo>
                <a:cubicBezTo>
                  <a:pt x="152" y="151"/>
                  <a:pt x="152" y="151"/>
                  <a:pt x="375" y="151"/>
                </a:cubicBezTo>
                <a:cubicBezTo>
                  <a:pt x="397" y="151"/>
                  <a:pt x="415" y="158"/>
                  <a:pt x="430" y="173"/>
                </a:cubicBezTo>
                <a:cubicBezTo>
                  <a:pt x="445" y="188"/>
                  <a:pt x="452" y="206"/>
                  <a:pt x="452" y="228"/>
                </a:cubicBezTo>
                <a:cubicBezTo>
                  <a:pt x="452" y="248"/>
                  <a:pt x="445" y="266"/>
                  <a:pt x="430" y="281"/>
                </a:cubicBezTo>
                <a:cubicBezTo>
                  <a:pt x="415" y="296"/>
                  <a:pt x="397" y="304"/>
                  <a:pt x="375" y="304"/>
                </a:cubicBezTo>
                <a:cubicBezTo>
                  <a:pt x="375" y="304"/>
                  <a:pt x="375" y="304"/>
                  <a:pt x="152" y="304"/>
                </a:cubicBezTo>
                <a:cubicBezTo>
                  <a:pt x="152" y="304"/>
                  <a:pt x="152" y="304"/>
                  <a:pt x="152" y="379"/>
                </a:cubicBezTo>
                <a:cubicBezTo>
                  <a:pt x="152" y="399"/>
                  <a:pt x="160" y="416"/>
                  <a:pt x="172" y="431"/>
                </a:cubicBezTo>
                <a:cubicBezTo>
                  <a:pt x="187" y="446"/>
                  <a:pt x="205" y="454"/>
                  <a:pt x="227" y="454"/>
                </a:cubicBezTo>
                <a:cubicBezTo>
                  <a:pt x="227" y="454"/>
                  <a:pt x="227" y="454"/>
                  <a:pt x="375" y="454"/>
                </a:cubicBezTo>
                <a:cubicBezTo>
                  <a:pt x="397" y="454"/>
                  <a:pt x="415" y="462"/>
                  <a:pt x="430" y="47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srgbClr val="FFFFFF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7029073" y="2244596"/>
            <a:ext cx="432377" cy="518555"/>
            <a:chOff x="8071963" y="3061130"/>
            <a:chExt cx="476865" cy="571910"/>
          </a:xfrm>
          <a:solidFill>
            <a:schemeClr val="tx1"/>
          </a:solidFill>
        </p:grpSpPr>
        <p:sp>
          <p:nvSpPr>
            <p:cNvPr id="20" name="Freeform 101"/>
            <p:cNvSpPr>
              <a:spLocks/>
            </p:cNvSpPr>
            <p:nvPr/>
          </p:nvSpPr>
          <p:spPr bwMode="invGray">
            <a:xfrm>
              <a:off x="8145706" y="3061130"/>
              <a:ext cx="109794" cy="211394"/>
            </a:xfrm>
            <a:custGeom>
              <a:avLst/>
              <a:gdLst>
                <a:gd name="T0" fmla="*/ 47 w 67"/>
                <a:gd name="T1" fmla="*/ 0 h 129"/>
                <a:gd name="T2" fmla="*/ 34 w 67"/>
                <a:gd name="T3" fmla="*/ 51 h 129"/>
                <a:gd name="T4" fmla="*/ 32 w 67"/>
                <a:gd name="T5" fmla="*/ 51 h 129"/>
                <a:gd name="T6" fmla="*/ 19 w 67"/>
                <a:gd name="T7" fmla="*/ 0 h 129"/>
                <a:gd name="T8" fmla="*/ 0 w 67"/>
                <a:gd name="T9" fmla="*/ 0 h 129"/>
                <a:gd name="T10" fmla="*/ 23 w 67"/>
                <a:gd name="T11" fmla="*/ 78 h 129"/>
                <a:gd name="T12" fmla="*/ 23 w 67"/>
                <a:gd name="T13" fmla="*/ 129 h 129"/>
                <a:gd name="T14" fmla="*/ 44 w 67"/>
                <a:gd name="T15" fmla="*/ 129 h 129"/>
                <a:gd name="T16" fmla="*/ 44 w 67"/>
                <a:gd name="T17" fmla="*/ 76 h 129"/>
                <a:gd name="T18" fmla="*/ 67 w 67"/>
                <a:gd name="T19" fmla="*/ 0 h 129"/>
                <a:gd name="T20" fmla="*/ 47 w 67"/>
                <a:gd name="T21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129">
                  <a:moveTo>
                    <a:pt x="47" y="0"/>
                  </a:moveTo>
                  <a:lnTo>
                    <a:pt x="34" y="51"/>
                  </a:lnTo>
                  <a:lnTo>
                    <a:pt x="32" y="51"/>
                  </a:lnTo>
                  <a:lnTo>
                    <a:pt x="19" y="0"/>
                  </a:lnTo>
                  <a:lnTo>
                    <a:pt x="0" y="0"/>
                  </a:lnTo>
                  <a:lnTo>
                    <a:pt x="23" y="78"/>
                  </a:lnTo>
                  <a:lnTo>
                    <a:pt x="23" y="129"/>
                  </a:lnTo>
                  <a:lnTo>
                    <a:pt x="44" y="129"/>
                  </a:lnTo>
                  <a:lnTo>
                    <a:pt x="44" y="76"/>
                  </a:lnTo>
                  <a:lnTo>
                    <a:pt x="67" y="0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21" name="Freeform 102"/>
            <p:cNvSpPr>
              <a:spLocks noEditPoints="1"/>
            </p:cNvSpPr>
            <p:nvPr/>
          </p:nvSpPr>
          <p:spPr bwMode="invGray">
            <a:xfrm>
              <a:off x="8252221" y="3113568"/>
              <a:ext cx="85213" cy="163871"/>
            </a:xfrm>
            <a:custGeom>
              <a:avLst/>
              <a:gdLst>
                <a:gd name="T0" fmla="*/ 14 w 36"/>
                <a:gd name="T1" fmla="*/ 56 h 69"/>
                <a:gd name="T2" fmla="*/ 13 w 36"/>
                <a:gd name="T3" fmla="*/ 52 h 69"/>
                <a:gd name="T4" fmla="*/ 13 w 36"/>
                <a:gd name="T5" fmla="*/ 16 h 69"/>
                <a:gd name="T6" fmla="*/ 14 w 36"/>
                <a:gd name="T7" fmla="*/ 12 h 69"/>
                <a:gd name="T8" fmla="*/ 18 w 36"/>
                <a:gd name="T9" fmla="*/ 11 h 69"/>
                <a:gd name="T10" fmla="*/ 22 w 36"/>
                <a:gd name="T11" fmla="*/ 12 h 69"/>
                <a:gd name="T12" fmla="*/ 23 w 36"/>
                <a:gd name="T13" fmla="*/ 16 h 69"/>
                <a:gd name="T14" fmla="*/ 23 w 36"/>
                <a:gd name="T15" fmla="*/ 52 h 69"/>
                <a:gd name="T16" fmla="*/ 22 w 36"/>
                <a:gd name="T17" fmla="*/ 56 h 69"/>
                <a:gd name="T18" fmla="*/ 18 w 36"/>
                <a:gd name="T19" fmla="*/ 57 h 69"/>
                <a:gd name="T20" fmla="*/ 14 w 36"/>
                <a:gd name="T21" fmla="*/ 56 h 69"/>
                <a:gd name="T22" fmla="*/ 5 w 36"/>
                <a:gd name="T23" fmla="*/ 4 h 69"/>
                <a:gd name="T24" fmla="*/ 0 w 36"/>
                <a:gd name="T25" fmla="*/ 16 h 69"/>
                <a:gd name="T26" fmla="*/ 0 w 36"/>
                <a:gd name="T27" fmla="*/ 50 h 69"/>
                <a:gd name="T28" fmla="*/ 5 w 36"/>
                <a:gd name="T29" fmla="*/ 64 h 69"/>
                <a:gd name="T30" fmla="*/ 18 w 36"/>
                <a:gd name="T31" fmla="*/ 69 h 69"/>
                <a:gd name="T32" fmla="*/ 31 w 36"/>
                <a:gd name="T33" fmla="*/ 64 h 69"/>
                <a:gd name="T34" fmla="*/ 36 w 36"/>
                <a:gd name="T35" fmla="*/ 51 h 69"/>
                <a:gd name="T36" fmla="*/ 36 w 36"/>
                <a:gd name="T37" fmla="*/ 17 h 69"/>
                <a:gd name="T38" fmla="*/ 31 w 36"/>
                <a:gd name="T39" fmla="*/ 4 h 69"/>
                <a:gd name="T40" fmla="*/ 18 w 36"/>
                <a:gd name="T41" fmla="*/ 0 h 69"/>
                <a:gd name="T42" fmla="*/ 5 w 36"/>
                <a:gd name="T43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69">
                  <a:moveTo>
                    <a:pt x="14" y="56"/>
                  </a:moveTo>
                  <a:cubicBezTo>
                    <a:pt x="13" y="55"/>
                    <a:pt x="13" y="53"/>
                    <a:pt x="13" y="52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4"/>
                    <a:pt x="13" y="13"/>
                    <a:pt x="14" y="12"/>
                  </a:cubicBezTo>
                  <a:cubicBezTo>
                    <a:pt x="15" y="11"/>
                    <a:pt x="16" y="11"/>
                    <a:pt x="18" y="11"/>
                  </a:cubicBezTo>
                  <a:cubicBezTo>
                    <a:pt x="19" y="11"/>
                    <a:pt x="21" y="11"/>
                    <a:pt x="22" y="12"/>
                  </a:cubicBezTo>
                  <a:cubicBezTo>
                    <a:pt x="23" y="13"/>
                    <a:pt x="23" y="14"/>
                    <a:pt x="23" y="16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3"/>
                    <a:pt x="23" y="55"/>
                    <a:pt x="22" y="56"/>
                  </a:cubicBezTo>
                  <a:cubicBezTo>
                    <a:pt x="21" y="57"/>
                    <a:pt x="19" y="57"/>
                    <a:pt x="18" y="57"/>
                  </a:cubicBezTo>
                  <a:cubicBezTo>
                    <a:pt x="16" y="57"/>
                    <a:pt x="15" y="57"/>
                    <a:pt x="14" y="56"/>
                  </a:cubicBezTo>
                  <a:moveTo>
                    <a:pt x="5" y="4"/>
                  </a:moveTo>
                  <a:cubicBezTo>
                    <a:pt x="2" y="7"/>
                    <a:pt x="0" y="11"/>
                    <a:pt x="0" y="16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6"/>
                    <a:pt x="2" y="60"/>
                    <a:pt x="5" y="64"/>
                  </a:cubicBezTo>
                  <a:cubicBezTo>
                    <a:pt x="8" y="67"/>
                    <a:pt x="12" y="69"/>
                    <a:pt x="18" y="69"/>
                  </a:cubicBezTo>
                  <a:cubicBezTo>
                    <a:pt x="23" y="69"/>
                    <a:pt x="28" y="67"/>
                    <a:pt x="31" y="64"/>
                  </a:cubicBezTo>
                  <a:cubicBezTo>
                    <a:pt x="34" y="61"/>
                    <a:pt x="36" y="56"/>
                    <a:pt x="36" y="51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2"/>
                    <a:pt x="34" y="8"/>
                    <a:pt x="31" y="4"/>
                  </a:cubicBezTo>
                  <a:cubicBezTo>
                    <a:pt x="27" y="1"/>
                    <a:pt x="23" y="0"/>
                    <a:pt x="18" y="0"/>
                  </a:cubicBezTo>
                  <a:cubicBezTo>
                    <a:pt x="13" y="0"/>
                    <a:pt x="8" y="1"/>
                    <a:pt x="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22" name="Freeform 103"/>
            <p:cNvSpPr>
              <a:spLocks/>
            </p:cNvSpPr>
            <p:nvPr/>
          </p:nvSpPr>
          <p:spPr bwMode="invGray">
            <a:xfrm>
              <a:off x="8362015" y="3116846"/>
              <a:ext cx="81935" cy="157316"/>
            </a:xfrm>
            <a:custGeom>
              <a:avLst/>
              <a:gdLst>
                <a:gd name="T0" fmla="*/ 23 w 35"/>
                <a:gd name="T1" fmla="*/ 0 h 67"/>
                <a:gd name="T2" fmla="*/ 23 w 35"/>
                <a:gd name="T3" fmla="*/ 50 h 67"/>
                <a:gd name="T4" fmla="*/ 19 w 35"/>
                <a:gd name="T5" fmla="*/ 54 h 67"/>
                <a:gd name="T6" fmla="*/ 15 w 35"/>
                <a:gd name="T7" fmla="*/ 55 h 67"/>
                <a:gd name="T8" fmla="*/ 13 w 35"/>
                <a:gd name="T9" fmla="*/ 54 h 67"/>
                <a:gd name="T10" fmla="*/ 12 w 35"/>
                <a:gd name="T11" fmla="*/ 51 h 67"/>
                <a:gd name="T12" fmla="*/ 12 w 35"/>
                <a:gd name="T13" fmla="*/ 0 h 67"/>
                <a:gd name="T14" fmla="*/ 0 w 35"/>
                <a:gd name="T15" fmla="*/ 0 h 67"/>
                <a:gd name="T16" fmla="*/ 0 w 35"/>
                <a:gd name="T17" fmla="*/ 55 h 67"/>
                <a:gd name="T18" fmla="*/ 2 w 35"/>
                <a:gd name="T19" fmla="*/ 64 h 67"/>
                <a:gd name="T20" fmla="*/ 8 w 35"/>
                <a:gd name="T21" fmla="*/ 67 h 67"/>
                <a:gd name="T22" fmla="*/ 15 w 35"/>
                <a:gd name="T23" fmla="*/ 65 h 67"/>
                <a:gd name="T24" fmla="*/ 23 w 35"/>
                <a:gd name="T25" fmla="*/ 59 h 67"/>
                <a:gd name="T26" fmla="*/ 23 w 35"/>
                <a:gd name="T27" fmla="*/ 66 h 67"/>
                <a:gd name="T28" fmla="*/ 35 w 35"/>
                <a:gd name="T29" fmla="*/ 66 h 67"/>
                <a:gd name="T30" fmla="*/ 35 w 35"/>
                <a:gd name="T31" fmla="*/ 0 h 67"/>
                <a:gd name="T32" fmla="*/ 23 w 35"/>
                <a:gd name="T33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" h="67">
                  <a:moveTo>
                    <a:pt x="23" y="0"/>
                  </a:moveTo>
                  <a:cubicBezTo>
                    <a:pt x="23" y="50"/>
                    <a:pt x="23" y="50"/>
                    <a:pt x="23" y="50"/>
                  </a:cubicBezTo>
                  <a:cubicBezTo>
                    <a:pt x="21" y="52"/>
                    <a:pt x="20" y="53"/>
                    <a:pt x="19" y="54"/>
                  </a:cubicBezTo>
                  <a:cubicBezTo>
                    <a:pt x="17" y="55"/>
                    <a:pt x="16" y="55"/>
                    <a:pt x="15" y="55"/>
                  </a:cubicBezTo>
                  <a:cubicBezTo>
                    <a:pt x="14" y="55"/>
                    <a:pt x="13" y="55"/>
                    <a:pt x="13" y="54"/>
                  </a:cubicBezTo>
                  <a:cubicBezTo>
                    <a:pt x="12" y="53"/>
                    <a:pt x="12" y="52"/>
                    <a:pt x="12" y="5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9"/>
                    <a:pt x="1" y="62"/>
                    <a:pt x="2" y="64"/>
                  </a:cubicBezTo>
                  <a:cubicBezTo>
                    <a:pt x="3" y="66"/>
                    <a:pt x="6" y="67"/>
                    <a:pt x="8" y="67"/>
                  </a:cubicBezTo>
                  <a:cubicBezTo>
                    <a:pt x="11" y="67"/>
                    <a:pt x="13" y="66"/>
                    <a:pt x="15" y="65"/>
                  </a:cubicBezTo>
                  <a:cubicBezTo>
                    <a:pt x="18" y="63"/>
                    <a:pt x="20" y="61"/>
                    <a:pt x="23" y="59"/>
                  </a:cubicBezTo>
                  <a:cubicBezTo>
                    <a:pt x="23" y="66"/>
                    <a:pt x="23" y="66"/>
                    <a:pt x="23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23" name="Freeform 104"/>
            <p:cNvSpPr>
              <a:spLocks/>
            </p:cNvSpPr>
            <p:nvPr/>
          </p:nvSpPr>
          <p:spPr bwMode="invGray">
            <a:xfrm>
              <a:off x="8350544" y="3442949"/>
              <a:ext cx="22942" cy="108155"/>
            </a:xfrm>
            <a:custGeom>
              <a:avLst/>
              <a:gdLst>
                <a:gd name="T0" fmla="*/ 5 w 10"/>
                <a:gd name="T1" fmla="*/ 0 h 46"/>
                <a:gd name="T2" fmla="*/ 2 w 10"/>
                <a:gd name="T3" fmla="*/ 0 h 46"/>
                <a:gd name="T4" fmla="*/ 0 w 10"/>
                <a:gd name="T5" fmla="*/ 2 h 46"/>
                <a:gd name="T6" fmla="*/ 0 w 10"/>
                <a:gd name="T7" fmla="*/ 43 h 46"/>
                <a:gd name="T8" fmla="*/ 2 w 10"/>
                <a:gd name="T9" fmla="*/ 46 h 46"/>
                <a:gd name="T10" fmla="*/ 5 w 10"/>
                <a:gd name="T11" fmla="*/ 46 h 46"/>
                <a:gd name="T12" fmla="*/ 9 w 10"/>
                <a:gd name="T13" fmla="*/ 45 h 46"/>
                <a:gd name="T14" fmla="*/ 10 w 10"/>
                <a:gd name="T15" fmla="*/ 40 h 46"/>
                <a:gd name="T16" fmla="*/ 10 w 10"/>
                <a:gd name="T17" fmla="*/ 7 h 46"/>
                <a:gd name="T18" fmla="*/ 8 w 10"/>
                <a:gd name="T19" fmla="*/ 1 h 46"/>
                <a:gd name="T20" fmla="*/ 5 w 10"/>
                <a:gd name="T2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46">
                  <a:moveTo>
                    <a:pt x="5" y="0"/>
                  </a:moveTo>
                  <a:cubicBezTo>
                    <a:pt x="4" y="0"/>
                    <a:pt x="3" y="0"/>
                    <a:pt x="2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" y="44"/>
                    <a:pt x="1" y="45"/>
                    <a:pt x="2" y="46"/>
                  </a:cubicBezTo>
                  <a:cubicBezTo>
                    <a:pt x="3" y="46"/>
                    <a:pt x="4" y="46"/>
                    <a:pt x="5" y="46"/>
                  </a:cubicBezTo>
                  <a:cubicBezTo>
                    <a:pt x="7" y="46"/>
                    <a:pt x="8" y="46"/>
                    <a:pt x="9" y="45"/>
                  </a:cubicBezTo>
                  <a:cubicBezTo>
                    <a:pt x="9" y="44"/>
                    <a:pt x="10" y="43"/>
                    <a:pt x="10" y="40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4"/>
                    <a:pt x="9" y="3"/>
                    <a:pt x="8" y="1"/>
                  </a:cubicBezTo>
                  <a:cubicBezTo>
                    <a:pt x="8" y="0"/>
                    <a:pt x="6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24" name="Freeform 105"/>
            <p:cNvSpPr>
              <a:spLocks/>
            </p:cNvSpPr>
            <p:nvPr/>
          </p:nvSpPr>
          <p:spPr bwMode="invGray">
            <a:xfrm>
              <a:off x="8453783" y="3442949"/>
              <a:ext cx="26219" cy="32774"/>
            </a:xfrm>
            <a:custGeom>
              <a:avLst/>
              <a:gdLst>
                <a:gd name="T0" fmla="*/ 6 w 11"/>
                <a:gd name="T1" fmla="*/ 0 h 14"/>
                <a:gd name="T2" fmla="*/ 1 w 11"/>
                <a:gd name="T3" fmla="*/ 2 h 14"/>
                <a:gd name="T4" fmla="*/ 0 w 11"/>
                <a:gd name="T5" fmla="*/ 8 h 14"/>
                <a:gd name="T6" fmla="*/ 0 w 11"/>
                <a:gd name="T7" fmla="*/ 14 h 14"/>
                <a:gd name="T8" fmla="*/ 11 w 11"/>
                <a:gd name="T9" fmla="*/ 14 h 14"/>
                <a:gd name="T10" fmla="*/ 11 w 11"/>
                <a:gd name="T11" fmla="*/ 8 h 14"/>
                <a:gd name="T12" fmla="*/ 10 w 11"/>
                <a:gd name="T13" fmla="*/ 2 h 14"/>
                <a:gd name="T14" fmla="*/ 6 w 11"/>
                <a:gd name="T1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6" y="0"/>
                  </a:moveTo>
                  <a:cubicBezTo>
                    <a:pt x="4" y="0"/>
                    <a:pt x="2" y="1"/>
                    <a:pt x="1" y="2"/>
                  </a:cubicBezTo>
                  <a:cubicBezTo>
                    <a:pt x="1" y="3"/>
                    <a:pt x="0" y="5"/>
                    <a:pt x="0" y="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5"/>
                    <a:pt x="10" y="3"/>
                    <a:pt x="10" y="2"/>
                  </a:cubicBezTo>
                  <a:cubicBezTo>
                    <a:pt x="9" y="1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25" name="Freeform 106"/>
            <p:cNvSpPr>
              <a:spLocks noEditPoints="1"/>
            </p:cNvSpPr>
            <p:nvPr/>
          </p:nvSpPr>
          <p:spPr bwMode="invGray">
            <a:xfrm>
              <a:off x="8071963" y="3313491"/>
              <a:ext cx="476865" cy="319549"/>
            </a:xfrm>
            <a:custGeom>
              <a:avLst/>
              <a:gdLst>
                <a:gd name="T0" fmla="*/ 171 w 201"/>
                <a:gd name="T1" fmla="*/ 1 h 135"/>
                <a:gd name="T2" fmla="*/ 100 w 201"/>
                <a:gd name="T3" fmla="*/ 0 h 135"/>
                <a:gd name="T4" fmla="*/ 30 w 201"/>
                <a:gd name="T5" fmla="*/ 1 h 135"/>
                <a:gd name="T6" fmla="*/ 0 w 201"/>
                <a:gd name="T7" fmla="*/ 68 h 135"/>
                <a:gd name="T8" fmla="*/ 30 w 201"/>
                <a:gd name="T9" fmla="*/ 134 h 135"/>
                <a:gd name="T10" fmla="*/ 171 w 201"/>
                <a:gd name="T11" fmla="*/ 134 h 135"/>
                <a:gd name="T12" fmla="*/ 201 w 201"/>
                <a:gd name="T13" fmla="*/ 68 h 135"/>
                <a:gd name="T14" fmla="*/ 43 w 201"/>
                <a:gd name="T15" fmla="*/ 111 h 135"/>
                <a:gd name="T16" fmla="*/ 30 w 201"/>
                <a:gd name="T17" fmla="*/ 35 h 135"/>
                <a:gd name="T18" fmla="*/ 15 w 201"/>
                <a:gd name="T19" fmla="*/ 22 h 135"/>
                <a:gd name="T20" fmla="*/ 58 w 201"/>
                <a:gd name="T21" fmla="*/ 35 h 135"/>
                <a:gd name="T22" fmla="*/ 43 w 201"/>
                <a:gd name="T23" fmla="*/ 111 h 135"/>
                <a:gd name="T24" fmla="*/ 80 w 201"/>
                <a:gd name="T25" fmla="*/ 111 h 135"/>
                <a:gd name="T26" fmla="*/ 73 w 201"/>
                <a:gd name="T27" fmla="*/ 110 h 135"/>
                <a:gd name="T28" fmla="*/ 60 w 201"/>
                <a:gd name="T29" fmla="*/ 109 h 135"/>
                <a:gd name="T30" fmla="*/ 57 w 201"/>
                <a:gd name="T31" fmla="*/ 45 h 135"/>
                <a:gd name="T32" fmla="*/ 70 w 201"/>
                <a:gd name="T33" fmla="*/ 95 h 135"/>
                <a:gd name="T34" fmla="*/ 73 w 201"/>
                <a:gd name="T35" fmla="*/ 100 h 135"/>
                <a:gd name="T36" fmla="*/ 80 w 201"/>
                <a:gd name="T37" fmla="*/ 95 h 135"/>
                <a:gd name="T38" fmla="*/ 92 w 201"/>
                <a:gd name="T39" fmla="*/ 45 h 135"/>
                <a:gd name="T40" fmla="*/ 139 w 201"/>
                <a:gd name="T41" fmla="*/ 97 h 135"/>
                <a:gd name="T42" fmla="*/ 128 w 201"/>
                <a:gd name="T43" fmla="*/ 112 h 135"/>
                <a:gd name="T44" fmla="*/ 117 w 201"/>
                <a:gd name="T45" fmla="*/ 106 h 135"/>
                <a:gd name="T46" fmla="*/ 104 w 201"/>
                <a:gd name="T47" fmla="*/ 111 h 135"/>
                <a:gd name="T48" fmla="*/ 117 w 201"/>
                <a:gd name="T49" fmla="*/ 22 h 135"/>
                <a:gd name="T50" fmla="*/ 122 w 201"/>
                <a:gd name="T51" fmla="*/ 46 h 135"/>
                <a:gd name="T52" fmla="*/ 136 w 201"/>
                <a:gd name="T53" fmla="*/ 48 h 135"/>
                <a:gd name="T54" fmla="*/ 139 w 201"/>
                <a:gd name="T55" fmla="*/ 97 h 135"/>
                <a:gd name="T56" fmla="*/ 161 w 201"/>
                <a:gd name="T57" fmla="*/ 79 h 135"/>
                <a:gd name="T58" fmla="*/ 162 w 201"/>
                <a:gd name="T59" fmla="*/ 99 h 135"/>
                <a:gd name="T60" fmla="*/ 171 w 201"/>
                <a:gd name="T61" fmla="*/ 99 h 135"/>
                <a:gd name="T62" fmla="*/ 172 w 201"/>
                <a:gd name="T63" fmla="*/ 87 h 135"/>
                <a:gd name="T64" fmla="*/ 184 w 201"/>
                <a:gd name="T65" fmla="*/ 92 h 135"/>
                <a:gd name="T66" fmla="*/ 166 w 201"/>
                <a:gd name="T67" fmla="*/ 113 h 135"/>
                <a:gd name="T68" fmla="*/ 149 w 201"/>
                <a:gd name="T69" fmla="*/ 92 h 135"/>
                <a:gd name="T70" fmla="*/ 154 w 201"/>
                <a:gd name="T71" fmla="*/ 49 h 135"/>
                <a:gd name="T72" fmla="*/ 180 w 201"/>
                <a:gd name="T73" fmla="*/ 48 h 135"/>
                <a:gd name="T74" fmla="*/ 184 w 201"/>
                <a:gd name="T75" fmla="*/ 7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1" h="135">
                  <a:moveTo>
                    <a:pt x="200" y="30"/>
                  </a:moveTo>
                  <a:cubicBezTo>
                    <a:pt x="200" y="14"/>
                    <a:pt x="187" y="1"/>
                    <a:pt x="171" y="1"/>
                  </a:cubicBezTo>
                  <a:cubicBezTo>
                    <a:pt x="149" y="0"/>
                    <a:pt x="127" y="0"/>
                    <a:pt x="104" y="0"/>
                  </a:cubicBezTo>
                  <a:cubicBezTo>
                    <a:pt x="103" y="0"/>
                    <a:pt x="102" y="0"/>
                    <a:pt x="100" y="0"/>
                  </a:cubicBezTo>
                  <a:cubicBezTo>
                    <a:pt x="99" y="0"/>
                    <a:pt x="98" y="0"/>
                    <a:pt x="97" y="0"/>
                  </a:cubicBezTo>
                  <a:cubicBezTo>
                    <a:pt x="74" y="0"/>
                    <a:pt x="52" y="0"/>
                    <a:pt x="30" y="1"/>
                  </a:cubicBezTo>
                  <a:cubicBezTo>
                    <a:pt x="14" y="1"/>
                    <a:pt x="1" y="14"/>
                    <a:pt x="1" y="30"/>
                  </a:cubicBezTo>
                  <a:cubicBezTo>
                    <a:pt x="0" y="42"/>
                    <a:pt x="0" y="55"/>
                    <a:pt x="0" y="68"/>
                  </a:cubicBezTo>
                  <a:cubicBezTo>
                    <a:pt x="0" y="80"/>
                    <a:pt x="0" y="93"/>
                    <a:pt x="1" y="105"/>
                  </a:cubicBezTo>
                  <a:cubicBezTo>
                    <a:pt x="1" y="121"/>
                    <a:pt x="14" y="134"/>
                    <a:pt x="30" y="134"/>
                  </a:cubicBezTo>
                  <a:cubicBezTo>
                    <a:pt x="53" y="135"/>
                    <a:pt x="77" y="135"/>
                    <a:pt x="100" y="135"/>
                  </a:cubicBezTo>
                  <a:cubicBezTo>
                    <a:pt x="124" y="135"/>
                    <a:pt x="148" y="135"/>
                    <a:pt x="171" y="134"/>
                  </a:cubicBezTo>
                  <a:cubicBezTo>
                    <a:pt x="187" y="134"/>
                    <a:pt x="200" y="121"/>
                    <a:pt x="200" y="105"/>
                  </a:cubicBezTo>
                  <a:cubicBezTo>
                    <a:pt x="201" y="93"/>
                    <a:pt x="201" y="80"/>
                    <a:pt x="201" y="68"/>
                  </a:cubicBezTo>
                  <a:cubicBezTo>
                    <a:pt x="201" y="55"/>
                    <a:pt x="201" y="42"/>
                    <a:pt x="200" y="30"/>
                  </a:cubicBezTo>
                  <a:close/>
                  <a:moveTo>
                    <a:pt x="43" y="111"/>
                  </a:moveTo>
                  <a:cubicBezTo>
                    <a:pt x="30" y="111"/>
                    <a:pt x="30" y="111"/>
                    <a:pt x="30" y="111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43" y="35"/>
                    <a:pt x="43" y="35"/>
                    <a:pt x="43" y="35"/>
                  </a:cubicBezTo>
                  <a:lnTo>
                    <a:pt x="43" y="111"/>
                  </a:lnTo>
                  <a:close/>
                  <a:moveTo>
                    <a:pt x="92" y="111"/>
                  </a:moveTo>
                  <a:cubicBezTo>
                    <a:pt x="80" y="111"/>
                    <a:pt x="80" y="111"/>
                    <a:pt x="80" y="111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8" y="106"/>
                    <a:pt x="75" y="108"/>
                    <a:pt x="73" y="110"/>
                  </a:cubicBezTo>
                  <a:cubicBezTo>
                    <a:pt x="71" y="111"/>
                    <a:pt x="68" y="112"/>
                    <a:pt x="66" y="112"/>
                  </a:cubicBezTo>
                  <a:cubicBezTo>
                    <a:pt x="63" y="112"/>
                    <a:pt x="61" y="111"/>
                    <a:pt x="60" y="109"/>
                  </a:cubicBezTo>
                  <a:cubicBezTo>
                    <a:pt x="58" y="107"/>
                    <a:pt x="57" y="104"/>
                    <a:pt x="57" y="100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95"/>
                    <a:pt x="70" y="95"/>
                    <a:pt x="70" y="95"/>
                  </a:cubicBezTo>
                  <a:cubicBezTo>
                    <a:pt x="70" y="97"/>
                    <a:pt x="70" y="98"/>
                    <a:pt x="70" y="99"/>
                  </a:cubicBezTo>
                  <a:cubicBezTo>
                    <a:pt x="71" y="100"/>
                    <a:pt x="72" y="100"/>
                    <a:pt x="73" y="100"/>
                  </a:cubicBezTo>
                  <a:cubicBezTo>
                    <a:pt x="74" y="100"/>
                    <a:pt x="75" y="99"/>
                    <a:pt x="76" y="99"/>
                  </a:cubicBezTo>
                  <a:cubicBezTo>
                    <a:pt x="78" y="98"/>
                    <a:pt x="79" y="96"/>
                    <a:pt x="80" y="9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92" y="45"/>
                    <a:pt x="92" y="45"/>
                    <a:pt x="92" y="45"/>
                  </a:cubicBezTo>
                  <a:lnTo>
                    <a:pt x="92" y="111"/>
                  </a:lnTo>
                  <a:close/>
                  <a:moveTo>
                    <a:pt x="139" y="97"/>
                  </a:moveTo>
                  <a:cubicBezTo>
                    <a:pt x="139" y="102"/>
                    <a:pt x="138" y="105"/>
                    <a:pt x="136" y="108"/>
                  </a:cubicBezTo>
                  <a:cubicBezTo>
                    <a:pt x="135" y="110"/>
                    <a:pt x="132" y="112"/>
                    <a:pt x="128" y="112"/>
                  </a:cubicBezTo>
                  <a:cubicBezTo>
                    <a:pt x="126" y="112"/>
                    <a:pt x="124" y="111"/>
                    <a:pt x="122" y="110"/>
                  </a:cubicBezTo>
                  <a:cubicBezTo>
                    <a:pt x="120" y="109"/>
                    <a:pt x="118" y="108"/>
                    <a:pt x="117" y="106"/>
                  </a:cubicBezTo>
                  <a:cubicBezTo>
                    <a:pt x="117" y="111"/>
                    <a:pt x="117" y="111"/>
                    <a:pt x="117" y="111"/>
                  </a:cubicBezTo>
                  <a:cubicBezTo>
                    <a:pt x="104" y="111"/>
                    <a:pt x="104" y="111"/>
                    <a:pt x="104" y="111"/>
                  </a:cubicBezTo>
                  <a:cubicBezTo>
                    <a:pt x="104" y="22"/>
                    <a:pt x="104" y="22"/>
                    <a:pt x="104" y="22"/>
                  </a:cubicBezTo>
                  <a:cubicBezTo>
                    <a:pt x="117" y="22"/>
                    <a:pt x="117" y="22"/>
                    <a:pt x="117" y="22"/>
                  </a:cubicBezTo>
                  <a:cubicBezTo>
                    <a:pt x="117" y="50"/>
                    <a:pt x="117" y="50"/>
                    <a:pt x="117" y="50"/>
                  </a:cubicBezTo>
                  <a:cubicBezTo>
                    <a:pt x="118" y="48"/>
                    <a:pt x="120" y="47"/>
                    <a:pt x="122" y="46"/>
                  </a:cubicBezTo>
                  <a:cubicBezTo>
                    <a:pt x="124" y="45"/>
                    <a:pt x="125" y="44"/>
                    <a:pt x="127" y="44"/>
                  </a:cubicBezTo>
                  <a:cubicBezTo>
                    <a:pt x="131" y="44"/>
                    <a:pt x="134" y="46"/>
                    <a:pt x="136" y="48"/>
                  </a:cubicBezTo>
                  <a:cubicBezTo>
                    <a:pt x="138" y="51"/>
                    <a:pt x="139" y="55"/>
                    <a:pt x="139" y="61"/>
                  </a:cubicBezTo>
                  <a:lnTo>
                    <a:pt x="139" y="97"/>
                  </a:lnTo>
                  <a:close/>
                  <a:moveTo>
                    <a:pt x="184" y="79"/>
                  </a:moveTo>
                  <a:cubicBezTo>
                    <a:pt x="161" y="79"/>
                    <a:pt x="161" y="79"/>
                    <a:pt x="161" y="79"/>
                  </a:cubicBezTo>
                  <a:cubicBezTo>
                    <a:pt x="161" y="92"/>
                    <a:pt x="161" y="92"/>
                    <a:pt x="161" y="92"/>
                  </a:cubicBezTo>
                  <a:cubicBezTo>
                    <a:pt x="161" y="95"/>
                    <a:pt x="161" y="98"/>
                    <a:pt x="162" y="99"/>
                  </a:cubicBezTo>
                  <a:cubicBezTo>
                    <a:pt x="163" y="100"/>
                    <a:pt x="164" y="101"/>
                    <a:pt x="166" y="101"/>
                  </a:cubicBezTo>
                  <a:cubicBezTo>
                    <a:pt x="168" y="101"/>
                    <a:pt x="170" y="101"/>
                    <a:pt x="171" y="99"/>
                  </a:cubicBezTo>
                  <a:cubicBezTo>
                    <a:pt x="171" y="98"/>
                    <a:pt x="172" y="96"/>
                    <a:pt x="172" y="92"/>
                  </a:cubicBezTo>
                  <a:cubicBezTo>
                    <a:pt x="172" y="87"/>
                    <a:pt x="172" y="87"/>
                    <a:pt x="172" y="87"/>
                  </a:cubicBezTo>
                  <a:cubicBezTo>
                    <a:pt x="184" y="87"/>
                    <a:pt x="184" y="87"/>
                    <a:pt x="184" y="87"/>
                  </a:cubicBezTo>
                  <a:cubicBezTo>
                    <a:pt x="184" y="92"/>
                    <a:pt x="184" y="92"/>
                    <a:pt x="184" y="92"/>
                  </a:cubicBezTo>
                  <a:cubicBezTo>
                    <a:pt x="184" y="99"/>
                    <a:pt x="183" y="104"/>
                    <a:pt x="180" y="107"/>
                  </a:cubicBezTo>
                  <a:cubicBezTo>
                    <a:pt x="177" y="111"/>
                    <a:pt x="172" y="113"/>
                    <a:pt x="166" y="113"/>
                  </a:cubicBezTo>
                  <a:cubicBezTo>
                    <a:pt x="161" y="113"/>
                    <a:pt x="156" y="111"/>
                    <a:pt x="153" y="107"/>
                  </a:cubicBezTo>
                  <a:cubicBezTo>
                    <a:pt x="150" y="104"/>
                    <a:pt x="149" y="99"/>
                    <a:pt x="149" y="92"/>
                  </a:cubicBezTo>
                  <a:cubicBezTo>
                    <a:pt x="149" y="63"/>
                    <a:pt x="149" y="63"/>
                    <a:pt x="149" y="63"/>
                  </a:cubicBezTo>
                  <a:cubicBezTo>
                    <a:pt x="149" y="57"/>
                    <a:pt x="150" y="52"/>
                    <a:pt x="154" y="49"/>
                  </a:cubicBezTo>
                  <a:cubicBezTo>
                    <a:pt x="157" y="45"/>
                    <a:pt x="162" y="43"/>
                    <a:pt x="167" y="43"/>
                  </a:cubicBezTo>
                  <a:cubicBezTo>
                    <a:pt x="173" y="43"/>
                    <a:pt x="177" y="45"/>
                    <a:pt x="180" y="48"/>
                  </a:cubicBezTo>
                  <a:cubicBezTo>
                    <a:pt x="183" y="52"/>
                    <a:pt x="184" y="57"/>
                    <a:pt x="184" y="63"/>
                  </a:cubicBezTo>
                  <a:lnTo>
                    <a:pt x="184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FFFFFF"/>
                </a:solidFill>
              </a:endParaRPr>
            </a:p>
          </p:txBody>
        </p:sp>
      </p:grpSp>
      <p:sp>
        <p:nvSpPr>
          <p:cNvPr id="26" name="Freeform 21"/>
          <p:cNvSpPr>
            <a:spLocks/>
          </p:cNvSpPr>
          <p:nvPr/>
        </p:nvSpPr>
        <p:spPr bwMode="auto">
          <a:xfrm>
            <a:off x="2309427" y="1884726"/>
            <a:ext cx="257230" cy="551152"/>
          </a:xfrm>
          <a:custGeom>
            <a:avLst/>
            <a:gdLst>
              <a:gd name="T0" fmla="*/ 187 w 282"/>
              <a:gd name="T1" fmla="*/ 146 h 604"/>
              <a:gd name="T2" fmla="*/ 187 w 282"/>
              <a:gd name="T3" fmla="*/ 198 h 604"/>
              <a:gd name="T4" fmla="*/ 282 w 282"/>
              <a:gd name="T5" fmla="*/ 198 h 604"/>
              <a:gd name="T6" fmla="*/ 272 w 282"/>
              <a:gd name="T7" fmla="*/ 301 h 604"/>
              <a:gd name="T8" fmla="*/ 187 w 282"/>
              <a:gd name="T9" fmla="*/ 301 h 604"/>
              <a:gd name="T10" fmla="*/ 187 w 282"/>
              <a:gd name="T11" fmla="*/ 604 h 604"/>
              <a:gd name="T12" fmla="*/ 62 w 282"/>
              <a:gd name="T13" fmla="*/ 604 h 604"/>
              <a:gd name="T14" fmla="*/ 62 w 282"/>
              <a:gd name="T15" fmla="*/ 301 h 604"/>
              <a:gd name="T16" fmla="*/ 0 w 282"/>
              <a:gd name="T17" fmla="*/ 301 h 604"/>
              <a:gd name="T18" fmla="*/ 0 w 282"/>
              <a:gd name="T19" fmla="*/ 198 h 604"/>
              <a:gd name="T20" fmla="*/ 62 w 282"/>
              <a:gd name="T21" fmla="*/ 198 h 604"/>
              <a:gd name="T22" fmla="*/ 62 w 282"/>
              <a:gd name="T23" fmla="*/ 136 h 604"/>
              <a:gd name="T24" fmla="*/ 197 w 282"/>
              <a:gd name="T25" fmla="*/ 0 h 604"/>
              <a:gd name="T26" fmla="*/ 282 w 282"/>
              <a:gd name="T27" fmla="*/ 0 h 604"/>
              <a:gd name="T28" fmla="*/ 282 w 282"/>
              <a:gd name="T29" fmla="*/ 103 h 604"/>
              <a:gd name="T30" fmla="*/ 229 w 282"/>
              <a:gd name="T31" fmla="*/ 103 h 604"/>
              <a:gd name="T32" fmla="*/ 187 w 282"/>
              <a:gd name="T33" fmla="*/ 146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82" h="604">
                <a:moveTo>
                  <a:pt x="187" y="146"/>
                </a:moveTo>
                <a:cubicBezTo>
                  <a:pt x="187" y="198"/>
                  <a:pt x="187" y="198"/>
                  <a:pt x="187" y="198"/>
                </a:cubicBezTo>
                <a:cubicBezTo>
                  <a:pt x="282" y="198"/>
                  <a:pt x="282" y="198"/>
                  <a:pt x="282" y="198"/>
                </a:cubicBezTo>
                <a:cubicBezTo>
                  <a:pt x="272" y="301"/>
                  <a:pt x="272" y="301"/>
                  <a:pt x="272" y="301"/>
                </a:cubicBezTo>
                <a:cubicBezTo>
                  <a:pt x="187" y="301"/>
                  <a:pt x="187" y="301"/>
                  <a:pt x="187" y="301"/>
                </a:cubicBezTo>
                <a:cubicBezTo>
                  <a:pt x="187" y="604"/>
                  <a:pt x="187" y="604"/>
                  <a:pt x="187" y="604"/>
                </a:cubicBezTo>
                <a:cubicBezTo>
                  <a:pt x="62" y="604"/>
                  <a:pt x="62" y="604"/>
                  <a:pt x="62" y="604"/>
                </a:cubicBezTo>
                <a:cubicBezTo>
                  <a:pt x="62" y="301"/>
                  <a:pt x="62" y="301"/>
                  <a:pt x="62" y="301"/>
                </a:cubicBezTo>
                <a:cubicBezTo>
                  <a:pt x="0" y="301"/>
                  <a:pt x="0" y="301"/>
                  <a:pt x="0" y="301"/>
                </a:cubicBezTo>
                <a:cubicBezTo>
                  <a:pt x="0" y="198"/>
                  <a:pt x="0" y="198"/>
                  <a:pt x="0" y="198"/>
                </a:cubicBezTo>
                <a:cubicBezTo>
                  <a:pt x="62" y="198"/>
                  <a:pt x="62" y="198"/>
                  <a:pt x="62" y="198"/>
                </a:cubicBezTo>
                <a:cubicBezTo>
                  <a:pt x="62" y="136"/>
                  <a:pt x="62" y="136"/>
                  <a:pt x="62" y="136"/>
                </a:cubicBezTo>
                <a:cubicBezTo>
                  <a:pt x="62" y="50"/>
                  <a:pt x="97" y="0"/>
                  <a:pt x="197" y="0"/>
                </a:cubicBezTo>
                <a:cubicBezTo>
                  <a:pt x="282" y="0"/>
                  <a:pt x="282" y="0"/>
                  <a:pt x="282" y="0"/>
                </a:cubicBezTo>
                <a:cubicBezTo>
                  <a:pt x="282" y="103"/>
                  <a:pt x="282" y="103"/>
                  <a:pt x="282" y="103"/>
                </a:cubicBezTo>
                <a:cubicBezTo>
                  <a:pt x="229" y="103"/>
                  <a:pt x="229" y="103"/>
                  <a:pt x="229" y="103"/>
                </a:cubicBezTo>
                <a:cubicBezTo>
                  <a:pt x="190" y="103"/>
                  <a:pt x="187" y="118"/>
                  <a:pt x="187" y="14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383029" y="1066675"/>
            <a:ext cx="1969391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500" dirty="0"/>
              <a:t>Xxx </a:t>
            </a:r>
            <a:r>
              <a:rPr lang="en-US" sz="1500" dirty="0" err="1"/>
              <a:t>xxx</a:t>
            </a:r>
            <a:r>
              <a:rPr lang="en-US" sz="1500" dirty="0"/>
              <a:t> x</a:t>
            </a:r>
          </a:p>
          <a:p>
            <a:pPr>
              <a:lnSpc>
                <a:spcPct val="90000"/>
              </a:lnSpc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x </a:t>
            </a:r>
            <a:r>
              <a:rPr lang="en-US" sz="1050" dirty="0" err="1"/>
              <a:t>xxxxxxxxxxxxxxx</a:t>
            </a:r>
            <a:endParaRPr lang="en-US" sz="1050" dirty="0"/>
          </a:p>
        </p:txBody>
      </p:sp>
      <p:grpSp>
        <p:nvGrpSpPr>
          <p:cNvPr id="38" name="Group 37"/>
          <p:cNvGrpSpPr/>
          <p:nvPr/>
        </p:nvGrpSpPr>
        <p:grpSpPr>
          <a:xfrm>
            <a:off x="2630756" y="816555"/>
            <a:ext cx="3875532" cy="3435702"/>
            <a:chOff x="3507675" y="1402273"/>
            <a:chExt cx="5167376" cy="4580936"/>
          </a:xfrm>
          <a:scene3d>
            <a:camera prst="perspectiveRelaxedModerately"/>
            <a:lightRig rig="threePt" dir="t"/>
          </a:scene3d>
        </p:grpSpPr>
        <p:sp>
          <p:nvSpPr>
            <p:cNvPr id="6" name="Freeform 5"/>
            <p:cNvSpPr>
              <a:spLocks/>
            </p:cNvSpPr>
            <p:nvPr/>
          </p:nvSpPr>
          <p:spPr bwMode="auto">
            <a:xfrm rot="2700000">
              <a:off x="5276361" y="3981786"/>
              <a:ext cx="1845930" cy="2156916"/>
            </a:xfrm>
            <a:custGeom>
              <a:avLst/>
              <a:gdLst>
                <a:gd name="T0" fmla="*/ 140 w 208"/>
                <a:gd name="T1" fmla="*/ 34 h 243"/>
                <a:gd name="T2" fmla="*/ 140 w 208"/>
                <a:gd name="T3" fmla="*/ 34 h 243"/>
                <a:gd name="T4" fmla="*/ 107 w 208"/>
                <a:gd name="T5" fmla="*/ 0 h 243"/>
                <a:gd name="T6" fmla="*/ 73 w 208"/>
                <a:gd name="T7" fmla="*/ 34 h 243"/>
                <a:gd name="T8" fmla="*/ 73 w 208"/>
                <a:gd name="T9" fmla="*/ 34 h 243"/>
                <a:gd name="T10" fmla="*/ 0 w 208"/>
                <a:gd name="T11" fmla="*/ 34 h 243"/>
                <a:gd name="T12" fmla="*/ 0 w 208"/>
                <a:gd name="T13" fmla="*/ 108 h 243"/>
                <a:gd name="T14" fmla="*/ 0 w 208"/>
                <a:gd name="T15" fmla="*/ 108 h 243"/>
                <a:gd name="T16" fmla="*/ 34 w 208"/>
                <a:gd name="T17" fmla="*/ 142 h 243"/>
                <a:gd name="T18" fmla="*/ 0 w 208"/>
                <a:gd name="T19" fmla="*/ 176 h 243"/>
                <a:gd name="T20" fmla="*/ 0 w 208"/>
                <a:gd name="T21" fmla="*/ 176 h 243"/>
                <a:gd name="T22" fmla="*/ 0 w 208"/>
                <a:gd name="T23" fmla="*/ 243 h 243"/>
                <a:gd name="T24" fmla="*/ 208 w 208"/>
                <a:gd name="T25" fmla="*/ 243 h 243"/>
                <a:gd name="T26" fmla="*/ 208 w 208"/>
                <a:gd name="T27" fmla="*/ 34 h 243"/>
                <a:gd name="T28" fmla="*/ 140 w 208"/>
                <a:gd name="T29" fmla="*/ 34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8" h="243">
                  <a:moveTo>
                    <a:pt x="140" y="34"/>
                  </a:moveTo>
                  <a:cubicBezTo>
                    <a:pt x="140" y="34"/>
                    <a:pt x="140" y="34"/>
                    <a:pt x="140" y="34"/>
                  </a:cubicBezTo>
                  <a:cubicBezTo>
                    <a:pt x="140" y="15"/>
                    <a:pt x="125" y="0"/>
                    <a:pt x="107" y="0"/>
                  </a:cubicBezTo>
                  <a:cubicBezTo>
                    <a:pt x="88" y="0"/>
                    <a:pt x="73" y="15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19" y="108"/>
                    <a:pt x="34" y="123"/>
                    <a:pt x="34" y="142"/>
                  </a:cubicBezTo>
                  <a:cubicBezTo>
                    <a:pt x="34" y="161"/>
                    <a:pt x="19" y="176"/>
                    <a:pt x="0" y="176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208" y="243"/>
                    <a:pt x="208" y="243"/>
                    <a:pt x="208" y="243"/>
                  </a:cubicBezTo>
                  <a:cubicBezTo>
                    <a:pt x="208" y="34"/>
                    <a:pt x="208" y="34"/>
                    <a:pt x="208" y="34"/>
                  </a:cubicBezTo>
                  <a:lnTo>
                    <a:pt x="140" y="34"/>
                  </a:lnTo>
                  <a:close/>
                </a:path>
              </a:pathLst>
            </a:custGeom>
            <a:solidFill>
              <a:schemeClr val="tx1"/>
            </a:solidFill>
            <a:ln w="50800" cap="flat">
              <a:noFill/>
              <a:prstDash val="solid"/>
              <a:miter lim="800000"/>
              <a:headEnd/>
              <a:tailEnd/>
            </a:ln>
            <a:effectLst/>
            <a:sp3d extrusionH="279400" prstMaterial="matte"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 rot="2700000">
              <a:off x="3813574" y="2893211"/>
              <a:ext cx="2155667" cy="1854673"/>
            </a:xfrm>
            <a:custGeom>
              <a:avLst/>
              <a:gdLst>
                <a:gd name="T0" fmla="*/ 209 w 243"/>
                <a:gd name="T1" fmla="*/ 74 h 209"/>
                <a:gd name="T2" fmla="*/ 209 w 243"/>
                <a:gd name="T3" fmla="*/ 74 h 209"/>
                <a:gd name="T4" fmla="*/ 209 w 243"/>
                <a:gd name="T5" fmla="*/ 0 h 209"/>
                <a:gd name="T6" fmla="*/ 135 w 243"/>
                <a:gd name="T7" fmla="*/ 0 h 209"/>
                <a:gd name="T8" fmla="*/ 135 w 243"/>
                <a:gd name="T9" fmla="*/ 2 h 209"/>
                <a:gd name="T10" fmla="*/ 101 w 243"/>
                <a:gd name="T11" fmla="*/ 35 h 209"/>
                <a:gd name="T12" fmla="*/ 67 w 243"/>
                <a:gd name="T13" fmla="*/ 2 h 209"/>
                <a:gd name="T14" fmla="*/ 67 w 243"/>
                <a:gd name="T15" fmla="*/ 0 h 209"/>
                <a:gd name="T16" fmla="*/ 0 w 243"/>
                <a:gd name="T17" fmla="*/ 0 h 209"/>
                <a:gd name="T18" fmla="*/ 0 w 243"/>
                <a:gd name="T19" fmla="*/ 209 h 209"/>
                <a:gd name="T20" fmla="*/ 209 w 243"/>
                <a:gd name="T21" fmla="*/ 209 h 209"/>
                <a:gd name="T22" fmla="*/ 209 w 243"/>
                <a:gd name="T23" fmla="*/ 142 h 209"/>
                <a:gd name="T24" fmla="*/ 209 w 243"/>
                <a:gd name="T25" fmla="*/ 142 h 209"/>
                <a:gd name="T26" fmla="*/ 243 w 243"/>
                <a:gd name="T27" fmla="*/ 108 h 209"/>
                <a:gd name="T28" fmla="*/ 209 w 243"/>
                <a:gd name="T29" fmla="*/ 7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3" h="209">
                  <a:moveTo>
                    <a:pt x="209" y="74"/>
                  </a:moveTo>
                  <a:cubicBezTo>
                    <a:pt x="209" y="74"/>
                    <a:pt x="209" y="74"/>
                    <a:pt x="209" y="74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35" y="20"/>
                    <a:pt x="120" y="35"/>
                    <a:pt x="101" y="35"/>
                  </a:cubicBezTo>
                  <a:cubicBezTo>
                    <a:pt x="82" y="35"/>
                    <a:pt x="67" y="20"/>
                    <a:pt x="67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09" y="209"/>
                    <a:pt x="209" y="209"/>
                    <a:pt x="209" y="209"/>
                  </a:cubicBezTo>
                  <a:cubicBezTo>
                    <a:pt x="209" y="142"/>
                    <a:pt x="209" y="142"/>
                    <a:pt x="209" y="142"/>
                  </a:cubicBezTo>
                  <a:cubicBezTo>
                    <a:pt x="209" y="142"/>
                    <a:pt x="209" y="142"/>
                    <a:pt x="209" y="142"/>
                  </a:cubicBezTo>
                  <a:cubicBezTo>
                    <a:pt x="228" y="142"/>
                    <a:pt x="243" y="127"/>
                    <a:pt x="243" y="108"/>
                  </a:cubicBezTo>
                  <a:cubicBezTo>
                    <a:pt x="243" y="89"/>
                    <a:pt x="228" y="74"/>
                    <a:pt x="209" y="74"/>
                  </a:cubicBezTo>
                  <a:close/>
                </a:path>
              </a:pathLst>
            </a:custGeom>
            <a:solidFill>
              <a:schemeClr val="accent4"/>
            </a:solidFill>
            <a:ln w="50800" cap="flat">
              <a:noFill/>
              <a:prstDash val="solid"/>
              <a:miter lim="800000"/>
              <a:headEnd/>
              <a:tailEnd/>
            </a:ln>
            <a:effectLst/>
            <a:sp3d extrusionH="279400" prstMaterial="matte"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 rot="2700000">
              <a:off x="5065520" y="1241784"/>
              <a:ext cx="1853424" cy="2174401"/>
            </a:xfrm>
            <a:custGeom>
              <a:avLst/>
              <a:gdLst>
                <a:gd name="T0" fmla="*/ 207 w 209"/>
                <a:gd name="T1" fmla="*/ 70 h 245"/>
                <a:gd name="T2" fmla="*/ 209 w 209"/>
                <a:gd name="T3" fmla="*/ 70 h 245"/>
                <a:gd name="T4" fmla="*/ 209 w 209"/>
                <a:gd name="T5" fmla="*/ 0 h 245"/>
                <a:gd name="T6" fmla="*/ 0 w 209"/>
                <a:gd name="T7" fmla="*/ 0 h 245"/>
                <a:gd name="T8" fmla="*/ 0 w 209"/>
                <a:gd name="T9" fmla="*/ 210 h 245"/>
                <a:gd name="T10" fmla="*/ 67 w 209"/>
                <a:gd name="T11" fmla="*/ 210 h 245"/>
                <a:gd name="T12" fmla="*/ 67 w 209"/>
                <a:gd name="T13" fmla="*/ 212 h 245"/>
                <a:gd name="T14" fmla="*/ 101 w 209"/>
                <a:gd name="T15" fmla="*/ 245 h 245"/>
                <a:gd name="T16" fmla="*/ 135 w 209"/>
                <a:gd name="T17" fmla="*/ 212 h 245"/>
                <a:gd name="T18" fmla="*/ 135 w 209"/>
                <a:gd name="T19" fmla="*/ 210 h 245"/>
                <a:gd name="T20" fmla="*/ 209 w 209"/>
                <a:gd name="T21" fmla="*/ 210 h 245"/>
                <a:gd name="T22" fmla="*/ 209 w 209"/>
                <a:gd name="T23" fmla="*/ 137 h 245"/>
                <a:gd name="T24" fmla="*/ 207 w 209"/>
                <a:gd name="T25" fmla="*/ 137 h 245"/>
                <a:gd name="T26" fmla="*/ 174 w 209"/>
                <a:gd name="T27" fmla="*/ 103 h 245"/>
                <a:gd name="T28" fmla="*/ 207 w 209"/>
                <a:gd name="T29" fmla="*/ 7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9" h="245">
                  <a:moveTo>
                    <a:pt x="207" y="70"/>
                  </a:moveTo>
                  <a:cubicBezTo>
                    <a:pt x="209" y="70"/>
                    <a:pt x="209" y="70"/>
                    <a:pt x="209" y="70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67" y="210"/>
                    <a:pt x="67" y="210"/>
                    <a:pt x="67" y="210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7" y="230"/>
                    <a:pt x="82" y="245"/>
                    <a:pt x="101" y="245"/>
                  </a:cubicBezTo>
                  <a:cubicBezTo>
                    <a:pt x="120" y="245"/>
                    <a:pt x="135" y="230"/>
                    <a:pt x="135" y="212"/>
                  </a:cubicBezTo>
                  <a:cubicBezTo>
                    <a:pt x="135" y="210"/>
                    <a:pt x="135" y="210"/>
                    <a:pt x="135" y="210"/>
                  </a:cubicBezTo>
                  <a:cubicBezTo>
                    <a:pt x="209" y="210"/>
                    <a:pt x="209" y="210"/>
                    <a:pt x="209" y="210"/>
                  </a:cubicBezTo>
                  <a:cubicBezTo>
                    <a:pt x="209" y="137"/>
                    <a:pt x="209" y="137"/>
                    <a:pt x="209" y="137"/>
                  </a:cubicBezTo>
                  <a:cubicBezTo>
                    <a:pt x="207" y="137"/>
                    <a:pt x="207" y="137"/>
                    <a:pt x="207" y="137"/>
                  </a:cubicBezTo>
                  <a:cubicBezTo>
                    <a:pt x="189" y="137"/>
                    <a:pt x="174" y="122"/>
                    <a:pt x="174" y="103"/>
                  </a:cubicBezTo>
                  <a:cubicBezTo>
                    <a:pt x="174" y="85"/>
                    <a:pt x="189" y="70"/>
                    <a:pt x="207" y="70"/>
                  </a:cubicBezTo>
                  <a:close/>
                </a:path>
              </a:pathLst>
            </a:custGeom>
            <a:solidFill>
              <a:schemeClr val="accent2"/>
            </a:solidFill>
            <a:ln w="50800" cap="flat">
              <a:noFill/>
              <a:prstDash val="solid"/>
              <a:miter lim="800000"/>
              <a:headEnd/>
              <a:tailEnd/>
            </a:ln>
            <a:effectLst/>
            <a:sp3d extrusionH="279400" prstMaterial="matte"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 rot="2700000">
              <a:off x="6219668" y="2665849"/>
              <a:ext cx="2155667" cy="1863415"/>
            </a:xfrm>
            <a:custGeom>
              <a:avLst/>
              <a:gdLst>
                <a:gd name="T0" fmla="*/ 35 w 243"/>
                <a:gd name="T1" fmla="*/ 0 h 210"/>
                <a:gd name="T2" fmla="*/ 35 w 243"/>
                <a:gd name="T3" fmla="*/ 70 h 210"/>
                <a:gd name="T4" fmla="*/ 33 w 243"/>
                <a:gd name="T5" fmla="*/ 70 h 210"/>
                <a:gd name="T6" fmla="*/ 0 w 243"/>
                <a:gd name="T7" fmla="*/ 103 h 210"/>
                <a:gd name="T8" fmla="*/ 33 w 243"/>
                <a:gd name="T9" fmla="*/ 137 h 210"/>
                <a:gd name="T10" fmla="*/ 35 w 243"/>
                <a:gd name="T11" fmla="*/ 137 h 210"/>
                <a:gd name="T12" fmla="*/ 35 w 243"/>
                <a:gd name="T13" fmla="*/ 210 h 210"/>
                <a:gd name="T14" fmla="*/ 108 w 243"/>
                <a:gd name="T15" fmla="*/ 210 h 210"/>
                <a:gd name="T16" fmla="*/ 108 w 243"/>
                <a:gd name="T17" fmla="*/ 210 h 210"/>
                <a:gd name="T18" fmla="*/ 142 w 243"/>
                <a:gd name="T19" fmla="*/ 176 h 210"/>
                <a:gd name="T20" fmla="*/ 175 w 243"/>
                <a:gd name="T21" fmla="*/ 210 h 210"/>
                <a:gd name="T22" fmla="*/ 175 w 243"/>
                <a:gd name="T23" fmla="*/ 210 h 210"/>
                <a:gd name="T24" fmla="*/ 243 w 243"/>
                <a:gd name="T25" fmla="*/ 210 h 210"/>
                <a:gd name="T26" fmla="*/ 243 w 243"/>
                <a:gd name="T27" fmla="*/ 0 h 210"/>
                <a:gd name="T28" fmla="*/ 35 w 243"/>
                <a:gd name="T29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3" h="210">
                  <a:moveTo>
                    <a:pt x="35" y="0"/>
                  </a:moveTo>
                  <a:cubicBezTo>
                    <a:pt x="35" y="70"/>
                    <a:pt x="35" y="70"/>
                    <a:pt x="35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15" y="70"/>
                    <a:pt x="0" y="85"/>
                    <a:pt x="0" y="103"/>
                  </a:cubicBezTo>
                  <a:cubicBezTo>
                    <a:pt x="0" y="122"/>
                    <a:pt x="15" y="137"/>
                    <a:pt x="33" y="137"/>
                  </a:cubicBezTo>
                  <a:cubicBezTo>
                    <a:pt x="35" y="137"/>
                    <a:pt x="35" y="137"/>
                    <a:pt x="35" y="137"/>
                  </a:cubicBezTo>
                  <a:cubicBezTo>
                    <a:pt x="35" y="210"/>
                    <a:pt x="35" y="210"/>
                    <a:pt x="35" y="210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8" y="191"/>
                    <a:pt x="123" y="176"/>
                    <a:pt x="142" y="176"/>
                  </a:cubicBezTo>
                  <a:cubicBezTo>
                    <a:pt x="160" y="176"/>
                    <a:pt x="175" y="191"/>
                    <a:pt x="175" y="210"/>
                  </a:cubicBezTo>
                  <a:cubicBezTo>
                    <a:pt x="175" y="210"/>
                    <a:pt x="175" y="210"/>
                    <a:pt x="175" y="210"/>
                  </a:cubicBezTo>
                  <a:cubicBezTo>
                    <a:pt x="243" y="210"/>
                    <a:pt x="243" y="210"/>
                    <a:pt x="243" y="210"/>
                  </a:cubicBezTo>
                  <a:cubicBezTo>
                    <a:pt x="243" y="0"/>
                    <a:pt x="243" y="0"/>
                    <a:pt x="243" y="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chemeClr val="accent3"/>
            </a:solidFill>
            <a:ln w="50800" cap="flat">
              <a:noFill/>
              <a:prstDash val="solid"/>
              <a:miter lim="800000"/>
              <a:headEnd/>
              <a:tailEnd/>
            </a:ln>
            <a:effectLst/>
            <a:sp3d extrusionH="279400" prstMaterial="matte"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4784106" y="1771374"/>
              <a:ext cx="2603289" cy="677108"/>
            </a:xfrm>
            <a:prstGeom prst="rect">
              <a:avLst/>
            </a:prstGeom>
            <a:ln>
              <a:noFill/>
            </a:ln>
            <a:sp3d extrusionH="279400" prstMaterial="matte"/>
          </p:spPr>
          <p:txBody>
            <a:bodyPr wrap="squar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500" dirty="0">
                  <a:solidFill>
                    <a:srgbClr val="FFFFFF"/>
                  </a:solidFill>
                </a:rPr>
                <a:t>XXXX </a:t>
              </a:r>
              <a:br>
                <a:rPr lang="en-US" sz="1500" dirty="0">
                  <a:solidFill>
                    <a:srgbClr val="FFFFFF"/>
                  </a:solidFill>
                </a:rPr>
              </a:br>
              <a:r>
                <a:rPr lang="en-US" sz="1500" dirty="0">
                  <a:solidFill>
                    <a:srgbClr val="FFFFFF"/>
                  </a:solidFill>
                </a:rPr>
                <a:t>XXX 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4784106" y="4898817"/>
              <a:ext cx="2603289" cy="677108"/>
            </a:xfrm>
            <a:prstGeom prst="rect">
              <a:avLst/>
            </a:prstGeom>
            <a:ln>
              <a:noFill/>
            </a:ln>
            <a:sp3d extrusionH="279400" prstMaterial="matte"/>
          </p:spPr>
          <p:txBody>
            <a:bodyPr wrap="squar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500" dirty="0">
                  <a:solidFill>
                    <a:srgbClr val="FFFFFF"/>
                  </a:solidFill>
                </a:rPr>
                <a:t>XXXX </a:t>
              </a:r>
              <a:br>
                <a:rPr lang="en-US" sz="1500" dirty="0">
                  <a:solidFill>
                    <a:srgbClr val="FFFFFF"/>
                  </a:solidFill>
                </a:rPr>
              </a:br>
              <a:r>
                <a:rPr lang="en-US" sz="1500" dirty="0">
                  <a:solidFill>
                    <a:srgbClr val="FFFFFF"/>
                  </a:solidFill>
                </a:rPr>
                <a:t>XXXXX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6096000" y="3412525"/>
              <a:ext cx="2579051" cy="677108"/>
            </a:xfrm>
            <a:prstGeom prst="rect">
              <a:avLst/>
            </a:prstGeom>
            <a:ln>
              <a:noFill/>
            </a:ln>
            <a:sp3d extrusionH="279400" prstMaterial="matte"/>
          </p:spPr>
          <p:txBody>
            <a:bodyPr wrap="squar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500" dirty="0">
                  <a:solidFill>
                    <a:srgbClr val="FFFFFF"/>
                  </a:solidFill>
                </a:rPr>
                <a:t>XXXX </a:t>
              </a:r>
              <a:br>
                <a:rPr lang="en-US" sz="1500" dirty="0">
                  <a:solidFill>
                    <a:srgbClr val="FFFFFF"/>
                  </a:solidFill>
                </a:rPr>
              </a:br>
              <a:r>
                <a:rPr lang="en-US" sz="1500" dirty="0">
                  <a:solidFill>
                    <a:srgbClr val="FFFFFF"/>
                  </a:solidFill>
                </a:rPr>
                <a:t>XXX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507675" y="3412525"/>
              <a:ext cx="2535640" cy="677108"/>
            </a:xfrm>
            <a:prstGeom prst="rect">
              <a:avLst/>
            </a:prstGeom>
            <a:ln>
              <a:noFill/>
            </a:ln>
            <a:sp3d extrusionH="279400" prstMaterial="matte"/>
          </p:spPr>
          <p:txBody>
            <a:bodyPr wrap="squar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500" dirty="0">
                  <a:solidFill>
                    <a:srgbClr val="FFFFFF"/>
                  </a:solidFill>
                </a:rPr>
                <a:t>XXXX </a:t>
              </a:r>
              <a:br>
                <a:rPr lang="en-US" sz="1500" dirty="0">
                  <a:solidFill>
                    <a:srgbClr val="FFFFFF"/>
                  </a:solidFill>
                </a:rPr>
              </a:br>
              <a:r>
                <a:rPr lang="en-US" sz="1500" dirty="0">
                  <a:solidFill>
                    <a:srgbClr val="FFFFFF"/>
                  </a:solidFill>
                </a:rPr>
                <a:t>XXXX</a:t>
              </a:r>
            </a:p>
          </p:txBody>
        </p:sp>
      </p:grpSp>
      <p:cxnSp>
        <p:nvCxnSpPr>
          <p:cNvPr id="40" name="Straight Connector 39"/>
          <p:cNvCxnSpPr/>
          <p:nvPr/>
        </p:nvCxnSpPr>
        <p:spPr>
          <a:xfrm flipH="1">
            <a:off x="5034744" y="1338611"/>
            <a:ext cx="56706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 flipH="1">
            <a:off x="6300192" y="2536473"/>
            <a:ext cx="56706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6983900" y="2917349"/>
            <a:ext cx="1584545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500" dirty="0"/>
              <a:t>Xxx </a:t>
            </a:r>
            <a:r>
              <a:rPr lang="en-US" sz="1500" dirty="0" err="1"/>
              <a:t>xxx</a:t>
            </a:r>
            <a:r>
              <a:rPr lang="en-US" sz="1500" dirty="0"/>
              <a:t> x</a:t>
            </a:r>
          </a:p>
          <a:p>
            <a:pPr>
              <a:lnSpc>
                <a:spcPct val="90000"/>
              </a:lnSpc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x </a:t>
            </a:r>
            <a:r>
              <a:rPr lang="en-US" sz="1050" dirty="0" err="1"/>
              <a:t>xxxxxxxxxxxxxxx</a:t>
            </a:r>
            <a:endParaRPr lang="en-US" sz="1050" dirty="0"/>
          </a:p>
        </p:txBody>
      </p:sp>
      <p:cxnSp>
        <p:nvCxnSpPr>
          <p:cNvPr id="44" name="Straight Connector 43"/>
          <p:cNvCxnSpPr/>
          <p:nvPr/>
        </p:nvCxnSpPr>
        <p:spPr>
          <a:xfrm flipH="1">
            <a:off x="2663783" y="2177474"/>
            <a:ext cx="567063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H="1">
            <a:off x="3495776" y="3935372"/>
            <a:ext cx="567063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285430" y="1868030"/>
            <a:ext cx="1969391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1500" dirty="0"/>
              <a:t>Xxx </a:t>
            </a:r>
            <a:r>
              <a:rPr lang="en-US" sz="1500" dirty="0" err="1"/>
              <a:t>xxx</a:t>
            </a:r>
            <a:r>
              <a:rPr lang="en-US" sz="1500" dirty="0"/>
              <a:t> x</a:t>
            </a:r>
          </a:p>
          <a:p>
            <a:pPr algn="r">
              <a:lnSpc>
                <a:spcPct val="90000"/>
              </a:lnSpc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x </a:t>
            </a:r>
            <a:r>
              <a:rPr lang="en-US" sz="1050" dirty="0" err="1"/>
              <a:t>xxxxxxxxxxxxxxx</a:t>
            </a:r>
            <a:endParaRPr lang="en-US" sz="1050" dirty="0"/>
          </a:p>
        </p:txBody>
      </p:sp>
      <p:sp>
        <p:nvSpPr>
          <p:cNvPr id="47" name="Rectangle 46"/>
          <p:cNvSpPr/>
          <p:nvPr/>
        </p:nvSpPr>
        <p:spPr>
          <a:xfrm>
            <a:off x="698367" y="3739972"/>
            <a:ext cx="2045919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1500" dirty="0"/>
              <a:t>Xxx </a:t>
            </a:r>
            <a:r>
              <a:rPr lang="en-US" sz="1500" dirty="0" err="1"/>
              <a:t>xxx</a:t>
            </a:r>
            <a:r>
              <a:rPr lang="en-US" sz="1500" dirty="0"/>
              <a:t> x</a:t>
            </a:r>
          </a:p>
          <a:p>
            <a:pPr algn="r">
              <a:lnSpc>
                <a:spcPct val="90000"/>
              </a:lnSpc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x </a:t>
            </a:r>
            <a:r>
              <a:rPr lang="en-US" sz="1050" dirty="0" err="1"/>
              <a:t>xxxxxxxxxxxxxxx</a:t>
            </a:r>
            <a:endParaRPr lang="en-US" sz="1050" dirty="0"/>
          </a:p>
        </p:txBody>
      </p:sp>
      <p:sp>
        <p:nvSpPr>
          <p:cNvPr id="33" name="Footer Placeholder 99">
            <a:extLst>
              <a:ext uri="{FF2B5EF4-FFF2-40B4-BE49-F238E27FC236}">
                <a16:creationId xmlns:a16="http://schemas.microsoft.com/office/drawing/2014/main" id="{DF8CCE72-EE1F-49A0-9E6C-6C12FC8B016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4" name="Slide Number Placeholder 100">
            <a:extLst>
              <a:ext uri="{FF2B5EF4-FFF2-40B4-BE49-F238E27FC236}">
                <a16:creationId xmlns:a16="http://schemas.microsoft.com/office/drawing/2014/main" id="{927B558B-EA4E-425D-B749-D2A6692008F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59</a:t>
            </a:fld>
            <a:endParaRPr lang="en-US" dirty="0"/>
          </a:p>
        </p:txBody>
      </p:sp>
      <p:sp>
        <p:nvSpPr>
          <p:cNvPr id="35" name="Text Placeholder 41">
            <a:extLst>
              <a:ext uri="{FF2B5EF4-FFF2-40B4-BE49-F238E27FC236}">
                <a16:creationId xmlns:a16="http://schemas.microsoft.com/office/drawing/2014/main" id="{1E2FE973-8541-44AF-ADD2-6AA6810BD2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28265444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68A38F-14E3-C845-A37A-510737C06B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73B38C-9F27-5445-8AD6-A16431FB190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EF4266-C941-E044-9F8D-D2378B2C81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/>
          </p:cNvGraphicFramePr>
          <p:nvPr/>
        </p:nvGraphicFramePr>
        <p:xfrm>
          <a:off x="228600" y="971550"/>
          <a:ext cx="8686800" cy="3962400"/>
        </p:xfrm>
        <a:graphic>
          <a:graphicData uri="http://schemas.openxmlformats.org/drawingml/2006/table">
            <a:tbl>
              <a:tblPr>
                <a:solidFill>
                  <a:schemeClr val="bg1"/>
                </a:solidFill>
              </a:tblPr>
              <a:tblGrid>
                <a:gridCol w="4343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43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5300">
                <a:tc>
                  <a:txBody>
                    <a:bodyPr/>
                    <a:lstStyle/>
                    <a:p>
                      <a:pPr marL="9144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3333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998913" algn="r"/>
                        </a:tabLst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BC and Team Overview</a:t>
                      </a:r>
                    </a:p>
                  </a:txBody>
                  <a:tcPr marL="0" marR="0" marT="102870" marB="10287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3333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998913" algn="r"/>
                        </a:tabLst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X</a:t>
                      </a:r>
                    </a:p>
                  </a:txBody>
                  <a:tcPr marL="0" marR="68580" marT="102870" marB="102870" anchor="ctr" horzOverflow="overflow">
                    <a:lnL cap="flat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5300">
                <a:tc>
                  <a:txBody>
                    <a:bodyPr/>
                    <a:lstStyle/>
                    <a:p>
                      <a:pPr marL="9144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998913" algn="r"/>
                        </a:tabLst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Methodology</a:t>
                      </a:r>
                    </a:p>
                  </a:txBody>
                  <a:tcPr marL="0" marR="0" marT="102870" marB="10287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998913" algn="r"/>
                        </a:tabLst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0" marR="68580" marT="102870" marB="10287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5300">
                <a:tc>
                  <a:txBody>
                    <a:bodyPr/>
                    <a:lstStyle/>
                    <a:p>
                      <a:pPr marL="9144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998913" algn="r"/>
                        </a:tabLst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re Issue and Recommendations</a:t>
                      </a:r>
                    </a:p>
                  </a:txBody>
                  <a:tcPr marL="0" marR="0" marT="102870" marB="10287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998913" algn="r"/>
                        </a:tabLst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0" marR="68580" marT="102870" marB="10287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5300">
                <a:tc>
                  <a:txBody>
                    <a:bodyPr/>
                    <a:lstStyle/>
                    <a:p>
                      <a:pPr marL="9144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998913" algn="r"/>
                        </a:tabLst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nalysis 1</a:t>
                      </a:r>
                    </a:p>
                  </a:txBody>
                  <a:tcPr marL="0" marR="0" marT="102870" marB="10287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998913" algn="r"/>
                        </a:tabLst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0" marR="68580" marT="102870" marB="10287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5300">
                <a:tc>
                  <a:txBody>
                    <a:bodyPr/>
                    <a:lstStyle/>
                    <a:p>
                      <a:pPr marL="9144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998913" algn="r"/>
                        </a:tabLst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nalysis 2</a:t>
                      </a:r>
                    </a:p>
                  </a:txBody>
                  <a:tcPr marL="0" marR="0" marT="102870" marB="10287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998913" algn="r"/>
                        </a:tabLst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0" marR="68580" marT="102870" marB="10287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5300">
                <a:tc>
                  <a:txBody>
                    <a:bodyPr/>
                    <a:lstStyle/>
                    <a:p>
                      <a:pPr marL="9144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998913" algn="r"/>
                        </a:tabLst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nalysis 3</a:t>
                      </a:r>
                    </a:p>
                  </a:txBody>
                  <a:tcPr marL="0" marR="0" marT="102870" marB="10287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998913" algn="r"/>
                        </a:tabLst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0" marR="68580" marT="102870" marB="10287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5300">
                <a:tc>
                  <a:txBody>
                    <a:bodyPr/>
                    <a:lstStyle/>
                    <a:p>
                      <a:pPr marL="9144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998913" algn="r"/>
                        </a:tabLst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Final Recommendations</a:t>
                      </a:r>
                    </a:p>
                  </a:txBody>
                  <a:tcPr marL="0" marR="0" marT="102870" marB="10287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998913" algn="r"/>
                        </a:tabLst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0" marR="68580" marT="102870" marB="10287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5300">
                <a:tc>
                  <a:txBody>
                    <a:bodyPr/>
                    <a:lstStyle/>
                    <a:p>
                      <a:pPr marL="9144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998913" algn="r"/>
                        </a:tabLst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endix</a:t>
                      </a:r>
                    </a:p>
                  </a:txBody>
                  <a:tcPr marL="0" marR="0" marT="102870" marB="10287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998913" algn="r"/>
                        </a:tabLst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0" marR="68580" marT="102870" marB="10287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264412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/>
        </p:nvGrpSpPr>
        <p:grpSpPr>
          <a:xfrm>
            <a:off x="1007604" y="637493"/>
            <a:ext cx="5076564" cy="3400749"/>
            <a:chOff x="947428" y="747167"/>
            <a:chExt cx="7560840" cy="5064946"/>
          </a:xfrm>
          <a:scene3d>
            <a:camera prst="perspectiveRelaxedModerately">
              <a:rot lat="19800000" lon="0" rev="0"/>
            </a:camera>
            <a:lightRig rig="balanced" dir="t"/>
          </a:scene3d>
        </p:grpSpPr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947428" y="747167"/>
              <a:ext cx="2524817" cy="2962066"/>
            </a:xfrm>
            <a:custGeom>
              <a:avLst/>
              <a:gdLst>
                <a:gd name="T0" fmla="*/ 207 w 209"/>
                <a:gd name="T1" fmla="*/ 70 h 245"/>
                <a:gd name="T2" fmla="*/ 209 w 209"/>
                <a:gd name="T3" fmla="*/ 70 h 245"/>
                <a:gd name="T4" fmla="*/ 209 w 209"/>
                <a:gd name="T5" fmla="*/ 0 h 245"/>
                <a:gd name="T6" fmla="*/ 0 w 209"/>
                <a:gd name="T7" fmla="*/ 0 h 245"/>
                <a:gd name="T8" fmla="*/ 0 w 209"/>
                <a:gd name="T9" fmla="*/ 210 h 245"/>
                <a:gd name="T10" fmla="*/ 67 w 209"/>
                <a:gd name="T11" fmla="*/ 210 h 245"/>
                <a:gd name="T12" fmla="*/ 67 w 209"/>
                <a:gd name="T13" fmla="*/ 212 h 245"/>
                <a:gd name="T14" fmla="*/ 101 w 209"/>
                <a:gd name="T15" fmla="*/ 245 h 245"/>
                <a:gd name="T16" fmla="*/ 135 w 209"/>
                <a:gd name="T17" fmla="*/ 212 h 245"/>
                <a:gd name="T18" fmla="*/ 135 w 209"/>
                <a:gd name="T19" fmla="*/ 210 h 245"/>
                <a:gd name="T20" fmla="*/ 209 w 209"/>
                <a:gd name="T21" fmla="*/ 210 h 245"/>
                <a:gd name="T22" fmla="*/ 209 w 209"/>
                <a:gd name="T23" fmla="*/ 137 h 245"/>
                <a:gd name="T24" fmla="*/ 207 w 209"/>
                <a:gd name="T25" fmla="*/ 137 h 245"/>
                <a:gd name="T26" fmla="*/ 174 w 209"/>
                <a:gd name="T27" fmla="*/ 103 h 245"/>
                <a:gd name="T28" fmla="*/ 207 w 209"/>
                <a:gd name="T29" fmla="*/ 7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9" h="245">
                  <a:moveTo>
                    <a:pt x="207" y="70"/>
                  </a:moveTo>
                  <a:cubicBezTo>
                    <a:pt x="209" y="70"/>
                    <a:pt x="209" y="70"/>
                    <a:pt x="209" y="70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67" y="210"/>
                    <a:pt x="67" y="210"/>
                    <a:pt x="67" y="210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7" y="230"/>
                    <a:pt x="82" y="245"/>
                    <a:pt x="101" y="245"/>
                  </a:cubicBezTo>
                  <a:cubicBezTo>
                    <a:pt x="120" y="245"/>
                    <a:pt x="135" y="230"/>
                    <a:pt x="135" y="212"/>
                  </a:cubicBezTo>
                  <a:cubicBezTo>
                    <a:pt x="135" y="210"/>
                    <a:pt x="135" y="210"/>
                    <a:pt x="135" y="210"/>
                  </a:cubicBezTo>
                  <a:cubicBezTo>
                    <a:pt x="209" y="210"/>
                    <a:pt x="209" y="210"/>
                    <a:pt x="209" y="210"/>
                  </a:cubicBezTo>
                  <a:cubicBezTo>
                    <a:pt x="209" y="137"/>
                    <a:pt x="209" y="137"/>
                    <a:pt x="209" y="137"/>
                  </a:cubicBezTo>
                  <a:cubicBezTo>
                    <a:pt x="207" y="137"/>
                    <a:pt x="207" y="137"/>
                    <a:pt x="207" y="137"/>
                  </a:cubicBezTo>
                  <a:cubicBezTo>
                    <a:pt x="189" y="137"/>
                    <a:pt x="174" y="122"/>
                    <a:pt x="174" y="103"/>
                  </a:cubicBezTo>
                  <a:cubicBezTo>
                    <a:pt x="174" y="85"/>
                    <a:pt x="189" y="70"/>
                    <a:pt x="207" y="70"/>
                  </a:cubicBezTo>
                  <a:close/>
                </a:path>
              </a:pathLst>
            </a:custGeom>
            <a:solidFill>
              <a:schemeClr val="accent1"/>
            </a:solidFill>
            <a:ln w="1111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sp3d extrusionH="266700" prstMaterial="dkEdge"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947428" y="3285594"/>
              <a:ext cx="2934845" cy="2526519"/>
            </a:xfrm>
            <a:custGeom>
              <a:avLst/>
              <a:gdLst>
                <a:gd name="T0" fmla="*/ 209 w 243"/>
                <a:gd name="T1" fmla="*/ 74 h 209"/>
                <a:gd name="T2" fmla="*/ 209 w 243"/>
                <a:gd name="T3" fmla="*/ 74 h 209"/>
                <a:gd name="T4" fmla="*/ 209 w 243"/>
                <a:gd name="T5" fmla="*/ 0 h 209"/>
                <a:gd name="T6" fmla="*/ 135 w 243"/>
                <a:gd name="T7" fmla="*/ 0 h 209"/>
                <a:gd name="T8" fmla="*/ 135 w 243"/>
                <a:gd name="T9" fmla="*/ 2 h 209"/>
                <a:gd name="T10" fmla="*/ 101 w 243"/>
                <a:gd name="T11" fmla="*/ 35 h 209"/>
                <a:gd name="T12" fmla="*/ 67 w 243"/>
                <a:gd name="T13" fmla="*/ 2 h 209"/>
                <a:gd name="T14" fmla="*/ 67 w 243"/>
                <a:gd name="T15" fmla="*/ 0 h 209"/>
                <a:gd name="T16" fmla="*/ 0 w 243"/>
                <a:gd name="T17" fmla="*/ 0 h 209"/>
                <a:gd name="T18" fmla="*/ 0 w 243"/>
                <a:gd name="T19" fmla="*/ 209 h 209"/>
                <a:gd name="T20" fmla="*/ 209 w 243"/>
                <a:gd name="T21" fmla="*/ 209 h 209"/>
                <a:gd name="T22" fmla="*/ 209 w 243"/>
                <a:gd name="T23" fmla="*/ 142 h 209"/>
                <a:gd name="T24" fmla="*/ 209 w 243"/>
                <a:gd name="T25" fmla="*/ 142 h 209"/>
                <a:gd name="T26" fmla="*/ 243 w 243"/>
                <a:gd name="T27" fmla="*/ 108 h 209"/>
                <a:gd name="T28" fmla="*/ 209 w 243"/>
                <a:gd name="T29" fmla="*/ 7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3" h="209">
                  <a:moveTo>
                    <a:pt x="209" y="74"/>
                  </a:moveTo>
                  <a:cubicBezTo>
                    <a:pt x="209" y="74"/>
                    <a:pt x="209" y="74"/>
                    <a:pt x="209" y="74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35" y="20"/>
                    <a:pt x="120" y="35"/>
                    <a:pt x="101" y="35"/>
                  </a:cubicBezTo>
                  <a:cubicBezTo>
                    <a:pt x="82" y="35"/>
                    <a:pt x="67" y="20"/>
                    <a:pt x="67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09" y="209"/>
                    <a:pt x="209" y="209"/>
                    <a:pt x="209" y="209"/>
                  </a:cubicBezTo>
                  <a:cubicBezTo>
                    <a:pt x="209" y="142"/>
                    <a:pt x="209" y="142"/>
                    <a:pt x="209" y="142"/>
                  </a:cubicBezTo>
                  <a:cubicBezTo>
                    <a:pt x="209" y="142"/>
                    <a:pt x="209" y="142"/>
                    <a:pt x="209" y="142"/>
                  </a:cubicBezTo>
                  <a:cubicBezTo>
                    <a:pt x="228" y="142"/>
                    <a:pt x="243" y="127"/>
                    <a:pt x="243" y="108"/>
                  </a:cubicBezTo>
                  <a:cubicBezTo>
                    <a:pt x="243" y="89"/>
                    <a:pt x="228" y="74"/>
                    <a:pt x="209" y="74"/>
                  </a:cubicBezTo>
                  <a:close/>
                </a:path>
              </a:pathLst>
            </a:custGeom>
            <a:solidFill>
              <a:schemeClr val="accent3"/>
            </a:solidFill>
            <a:ln w="11113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sp3d extrusionH="419100" prstMaterial="dkEdge"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5995360" y="747167"/>
              <a:ext cx="2512908" cy="2962066"/>
            </a:xfrm>
            <a:custGeom>
              <a:avLst/>
              <a:gdLst>
                <a:gd name="T0" fmla="*/ 1 w 208"/>
                <a:gd name="T1" fmla="*/ 70 h 245"/>
                <a:gd name="T2" fmla="*/ 0 w 208"/>
                <a:gd name="T3" fmla="*/ 70 h 245"/>
                <a:gd name="T4" fmla="*/ 0 w 208"/>
                <a:gd name="T5" fmla="*/ 0 h 245"/>
                <a:gd name="T6" fmla="*/ 208 w 208"/>
                <a:gd name="T7" fmla="*/ 0 h 245"/>
                <a:gd name="T8" fmla="*/ 208 w 208"/>
                <a:gd name="T9" fmla="*/ 210 h 245"/>
                <a:gd name="T10" fmla="*/ 141 w 208"/>
                <a:gd name="T11" fmla="*/ 210 h 245"/>
                <a:gd name="T12" fmla="*/ 141 w 208"/>
                <a:gd name="T13" fmla="*/ 212 h 245"/>
                <a:gd name="T14" fmla="*/ 108 w 208"/>
                <a:gd name="T15" fmla="*/ 245 h 245"/>
                <a:gd name="T16" fmla="*/ 74 w 208"/>
                <a:gd name="T17" fmla="*/ 212 h 245"/>
                <a:gd name="T18" fmla="*/ 74 w 208"/>
                <a:gd name="T19" fmla="*/ 210 h 245"/>
                <a:gd name="T20" fmla="*/ 0 w 208"/>
                <a:gd name="T21" fmla="*/ 210 h 245"/>
                <a:gd name="T22" fmla="*/ 0 w 208"/>
                <a:gd name="T23" fmla="*/ 137 h 245"/>
                <a:gd name="T24" fmla="*/ 1 w 208"/>
                <a:gd name="T25" fmla="*/ 137 h 245"/>
                <a:gd name="T26" fmla="*/ 35 w 208"/>
                <a:gd name="T27" fmla="*/ 103 h 245"/>
                <a:gd name="T28" fmla="*/ 1 w 208"/>
                <a:gd name="T29" fmla="*/ 7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8" h="245">
                  <a:moveTo>
                    <a:pt x="1" y="70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8" y="210"/>
                    <a:pt x="208" y="210"/>
                    <a:pt x="208" y="210"/>
                  </a:cubicBezTo>
                  <a:cubicBezTo>
                    <a:pt x="141" y="210"/>
                    <a:pt x="141" y="210"/>
                    <a:pt x="141" y="210"/>
                  </a:cubicBezTo>
                  <a:cubicBezTo>
                    <a:pt x="141" y="212"/>
                    <a:pt x="141" y="212"/>
                    <a:pt x="141" y="212"/>
                  </a:cubicBezTo>
                  <a:cubicBezTo>
                    <a:pt x="141" y="230"/>
                    <a:pt x="126" y="245"/>
                    <a:pt x="108" y="245"/>
                  </a:cubicBezTo>
                  <a:cubicBezTo>
                    <a:pt x="89" y="245"/>
                    <a:pt x="74" y="230"/>
                    <a:pt x="74" y="212"/>
                  </a:cubicBezTo>
                  <a:cubicBezTo>
                    <a:pt x="74" y="210"/>
                    <a:pt x="74" y="210"/>
                    <a:pt x="74" y="210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20" y="137"/>
                    <a:pt x="35" y="122"/>
                    <a:pt x="35" y="103"/>
                  </a:cubicBezTo>
                  <a:cubicBezTo>
                    <a:pt x="35" y="85"/>
                    <a:pt x="20" y="70"/>
                    <a:pt x="1" y="70"/>
                  </a:cubicBezTo>
                  <a:close/>
                </a:path>
              </a:pathLst>
            </a:custGeom>
            <a:solidFill>
              <a:schemeClr val="bg2"/>
            </a:solidFill>
            <a:ln w="11113" cap="flat">
              <a:solidFill>
                <a:schemeClr val="bg2"/>
              </a:solidFill>
              <a:prstDash val="solid"/>
              <a:miter lim="800000"/>
              <a:headEnd/>
              <a:tailEnd/>
            </a:ln>
            <a:sp3d extrusionH="419100" prstMaterial="dkEdge"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5585332" y="3285594"/>
              <a:ext cx="2922935" cy="2526519"/>
            </a:xfrm>
            <a:custGeom>
              <a:avLst/>
              <a:gdLst>
                <a:gd name="T0" fmla="*/ 33 w 242"/>
                <a:gd name="T1" fmla="*/ 74 h 209"/>
                <a:gd name="T2" fmla="*/ 34 w 242"/>
                <a:gd name="T3" fmla="*/ 74 h 209"/>
                <a:gd name="T4" fmla="*/ 34 w 242"/>
                <a:gd name="T5" fmla="*/ 0 h 209"/>
                <a:gd name="T6" fmla="*/ 108 w 242"/>
                <a:gd name="T7" fmla="*/ 0 h 209"/>
                <a:gd name="T8" fmla="*/ 108 w 242"/>
                <a:gd name="T9" fmla="*/ 2 h 209"/>
                <a:gd name="T10" fmla="*/ 142 w 242"/>
                <a:gd name="T11" fmla="*/ 35 h 209"/>
                <a:gd name="T12" fmla="*/ 175 w 242"/>
                <a:gd name="T13" fmla="*/ 2 h 209"/>
                <a:gd name="T14" fmla="*/ 175 w 242"/>
                <a:gd name="T15" fmla="*/ 0 h 209"/>
                <a:gd name="T16" fmla="*/ 242 w 242"/>
                <a:gd name="T17" fmla="*/ 0 h 209"/>
                <a:gd name="T18" fmla="*/ 242 w 242"/>
                <a:gd name="T19" fmla="*/ 209 h 209"/>
                <a:gd name="T20" fmla="*/ 34 w 242"/>
                <a:gd name="T21" fmla="*/ 209 h 209"/>
                <a:gd name="T22" fmla="*/ 34 w 242"/>
                <a:gd name="T23" fmla="*/ 142 h 209"/>
                <a:gd name="T24" fmla="*/ 33 w 242"/>
                <a:gd name="T25" fmla="*/ 142 h 209"/>
                <a:gd name="T26" fmla="*/ 0 w 242"/>
                <a:gd name="T27" fmla="*/ 108 h 209"/>
                <a:gd name="T28" fmla="*/ 33 w 242"/>
                <a:gd name="T29" fmla="*/ 7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2" h="209">
                  <a:moveTo>
                    <a:pt x="33" y="74"/>
                  </a:moveTo>
                  <a:cubicBezTo>
                    <a:pt x="34" y="74"/>
                    <a:pt x="34" y="74"/>
                    <a:pt x="34" y="74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8" y="20"/>
                    <a:pt x="123" y="35"/>
                    <a:pt x="142" y="35"/>
                  </a:cubicBezTo>
                  <a:cubicBezTo>
                    <a:pt x="160" y="35"/>
                    <a:pt x="175" y="20"/>
                    <a:pt x="175" y="2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42" y="209"/>
                    <a:pt x="242" y="209"/>
                    <a:pt x="242" y="209"/>
                  </a:cubicBezTo>
                  <a:cubicBezTo>
                    <a:pt x="34" y="209"/>
                    <a:pt x="34" y="209"/>
                    <a:pt x="34" y="209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33" y="142"/>
                    <a:pt x="33" y="142"/>
                    <a:pt x="33" y="142"/>
                  </a:cubicBezTo>
                  <a:cubicBezTo>
                    <a:pt x="15" y="142"/>
                    <a:pt x="0" y="127"/>
                    <a:pt x="0" y="108"/>
                  </a:cubicBezTo>
                  <a:cubicBezTo>
                    <a:pt x="0" y="89"/>
                    <a:pt x="15" y="74"/>
                    <a:pt x="33" y="74"/>
                  </a:cubicBezTo>
                  <a:close/>
                </a:path>
              </a:pathLst>
            </a:custGeom>
            <a:solidFill>
              <a:schemeClr val="tx2"/>
            </a:solidFill>
            <a:ln w="11113" cap="flat">
              <a:solidFill>
                <a:schemeClr val="tx2"/>
              </a:solidFill>
              <a:prstDash val="solid"/>
              <a:miter lim="800000"/>
              <a:headEnd/>
              <a:tailEnd/>
            </a:ln>
            <a:sp3d extrusionH="419100" prstMaterial="dkEdge"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3048607" y="747167"/>
              <a:ext cx="3370393" cy="2538427"/>
            </a:xfrm>
            <a:custGeom>
              <a:avLst/>
              <a:gdLst>
                <a:gd name="T0" fmla="*/ 245 w 279"/>
                <a:gd name="T1" fmla="*/ 70 h 210"/>
                <a:gd name="T2" fmla="*/ 243 w 279"/>
                <a:gd name="T3" fmla="*/ 70 h 210"/>
                <a:gd name="T4" fmla="*/ 243 w 279"/>
                <a:gd name="T5" fmla="*/ 0 h 210"/>
                <a:gd name="T6" fmla="*/ 35 w 279"/>
                <a:gd name="T7" fmla="*/ 0 h 210"/>
                <a:gd name="T8" fmla="*/ 35 w 279"/>
                <a:gd name="T9" fmla="*/ 70 h 210"/>
                <a:gd name="T10" fmla="*/ 33 w 279"/>
                <a:gd name="T11" fmla="*/ 70 h 210"/>
                <a:gd name="T12" fmla="*/ 0 w 279"/>
                <a:gd name="T13" fmla="*/ 103 h 210"/>
                <a:gd name="T14" fmla="*/ 33 w 279"/>
                <a:gd name="T15" fmla="*/ 137 h 210"/>
                <a:gd name="T16" fmla="*/ 35 w 279"/>
                <a:gd name="T17" fmla="*/ 137 h 210"/>
                <a:gd name="T18" fmla="*/ 35 w 279"/>
                <a:gd name="T19" fmla="*/ 210 h 210"/>
                <a:gd name="T20" fmla="*/ 108 w 279"/>
                <a:gd name="T21" fmla="*/ 210 h 210"/>
                <a:gd name="T22" fmla="*/ 108 w 279"/>
                <a:gd name="T23" fmla="*/ 210 h 210"/>
                <a:gd name="T24" fmla="*/ 142 w 279"/>
                <a:gd name="T25" fmla="*/ 176 h 210"/>
                <a:gd name="T26" fmla="*/ 175 w 279"/>
                <a:gd name="T27" fmla="*/ 210 h 210"/>
                <a:gd name="T28" fmla="*/ 175 w 279"/>
                <a:gd name="T29" fmla="*/ 210 h 210"/>
                <a:gd name="T30" fmla="*/ 243 w 279"/>
                <a:gd name="T31" fmla="*/ 210 h 210"/>
                <a:gd name="T32" fmla="*/ 243 w 279"/>
                <a:gd name="T33" fmla="*/ 137 h 210"/>
                <a:gd name="T34" fmla="*/ 245 w 279"/>
                <a:gd name="T35" fmla="*/ 137 h 210"/>
                <a:gd name="T36" fmla="*/ 279 w 279"/>
                <a:gd name="T37" fmla="*/ 103 h 210"/>
                <a:gd name="T38" fmla="*/ 245 w 279"/>
                <a:gd name="T39" fmla="*/ 7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9" h="210">
                  <a:moveTo>
                    <a:pt x="245" y="70"/>
                  </a:moveTo>
                  <a:cubicBezTo>
                    <a:pt x="243" y="70"/>
                    <a:pt x="243" y="70"/>
                    <a:pt x="243" y="7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15" y="70"/>
                    <a:pt x="0" y="85"/>
                    <a:pt x="0" y="103"/>
                  </a:cubicBezTo>
                  <a:cubicBezTo>
                    <a:pt x="0" y="122"/>
                    <a:pt x="15" y="137"/>
                    <a:pt x="33" y="137"/>
                  </a:cubicBezTo>
                  <a:cubicBezTo>
                    <a:pt x="35" y="137"/>
                    <a:pt x="35" y="137"/>
                    <a:pt x="35" y="137"/>
                  </a:cubicBezTo>
                  <a:cubicBezTo>
                    <a:pt x="35" y="210"/>
                    <a:pt x="35" y="210"/>
                    <a:pt x="35" y="210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8" y="191"/>
                    <a:pt x="123" y="176"/>
                    <a:pt x="142" y="176"/>
                  </a:cubicBezTo>
                  <a:cubicBezTo>
                    <a:pt x="160" y="176"/>
                    <a:pt x="175" y="191"/>
                    <a:pt x="175" y="210"/>
                  </a:cubicBezTo>
                  <a:cubicBezTo>
                    <a:pt x="175" y="210"/>
                    <a:pt x="175" y="210"/>
                    <a:pt x="175" y="210"/>
                  </a:cubicBezTo>
                  <a:cubicBezTo>
                    <a:pt x="243" y="210"/>
                    <a:pt x="243" y="210"/>
                    <a:pt x="243" y="210"/>
                  </a:cubicBezTo>
                  <a:cubicBezTo>
                    <a:pt x="243" y="137"/>
                    <a:pt x="243" y="137"/>
                    <a:pt x="243" y="137"/>
                  </a:cubicBezTo>
                  <a:cubicBezTo>
                    <a:pt x="245" y="137"/>
                    <a:pt x="245" y="137"/>
                    <a:pt x="245" y="137"/>
                  </a:cubicBezTo>
                  <a:cubicBezTo>
                    <a:pt x="264" y="137"/>
                    <a:pt x="279" y="122"/>
                    <a:pt x="279" y="103"/>
                  </a:cubicBezTo>
                  <a:cubicBezTo>
                    <a:pt x="279" y="85"/>
                    <a:pt x="264" y="70"/>
                    <a:pt x="245" y="70"/>
                  </a:cubicBezTo>
                  <a:close/>
                </a:path>
              </a:pathLst>
            </a:custGeom>
            <a:solidFill>
              <a:schemeClr val="accent4"/>
            </a:solidFill>
            <a:ln w="1111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sp3d extrusionH="266700" prstMaterial="dkEdge"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3472245" y="2873866"/>
              <a:ext cx="2511206" cy="2938247"/>
            </a:xfrm>
            <a:custGeom>
              <a:avLst/>
              <a:gdLst>
                <a:gd name="T0" fmla="*/ 208 w 208"/>
                <a:gd name="T1" fmla="*/ 176 h 243"/>
                <a:gd name="T2" fmla="*/ 175 w 208"/>
                <a:gd name="T3" fmla="*/ 142 h 243"/>
                <a:gd name="T4" fmla="*/ 208 w 208"/>
                <a:gd name="T5" fmla="*/ 108 h 243"/>
                <a:gd name="T6" fmla="*/ 208 w 208"/>
                <a:gd name="T7" fmla="*/ 108 h 243"/>
                <a:gd name="T8" fmla="*/ 208 w 208"/>
                <a:gd name="T9" fmla="*/ 34 h 243"/>
                <a:gd name="T10" fmla="*/ 140 w 208"/>
                <a:gd name="T11" fmla="*/ 34 h 243"/>
                <a:gd name="T12" fmla="*/ 140 w 208"/>
                <a:gd name="T13" fmla="*/ 34 h 243"/>
                <a:gd name="T14" fmla="*/ 107 w 208"/>
                <a:gd name="T15" fmla="*/ 0 h 243"/>
                <a:gd name="T16" fmla="*/ 73 w 208"/>
                <a:gd name="T17" fmla="*/ 34 h 243"/>
                <a:gd name="T18" fmla="*/ 73 w 208"/>
                <a:gd name="T19" fmla="*/ 34 h 243"/>
                <a:gd name="T20" fmla="*/ 0 w 208"/>
                <a:gd name="T21" fmla="*/ 34 h 243"/>
                <a:gd name="T22" fmla="*/ 0 w 208"/>
                <a:gd name="T23" fmla="*/ 108 h 243"/>
                <a:gd name="T24" fmla="*/ 0 w 208"/>
                <a:gd name="T25" fmla="*/ 108 h 243"/>
                <a:gd name="T26" fmla="*/ 34 w 208"/>
                <a:gd name="T27" fmla="*/ 142 h 243"/>
                <a:gd name="T28" fmla="*/ 0 w 208"/>
                <a:gd name="T29" fmla="*/ 176 h 243"/>
                <a:gd name="T30" fmla="*/ 0 w 208"/>
                <a:gd name="T31" fmla="*/ 176 h 243"/>
                <a:gd name="T32" fmla="*/ 0 w 208"/>
                <a:gd name="T33" fmla="*/ 243 h 243"/>
                <a:gd name="T34" fmla="*/ 208 w 208"/>
                <a:gd name="T35" fmla="*/ 243 h 243"/>
                <a:gd name="T36" fmla="*/ 208 w 208"/>
                <a:gd name="T37" fmla="*/ 176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8" h="243">
                  <a:moveTo>
                    <a:pt x="208" y="176"/>
                  </a:moveTo>
                  <a:cubicBezTo>
                    <a:pt x="190" y="176"/>
                    <a:pt x="175" y="161"/>
                    <a:pt x="175" y="142"/>
                  </a:cubicBezTo>
                  <a:cubicBezTo>
                    <a:pt x="175" y="123"/>
                    <a:pt x="190" y="108"/>
                    <a:pt x="208" y="108"/>
                  </a:cubicBezTo>
                  <a:cubicBezTo>
                    <a:pt x="208" y="108"/>
                    <a:pt x="208" y="108"/>
                    <a:pt x="208" y="108"/>
                  </a:cubicBezTo>
                  <a:cubicBezTo>
                    <a:pt x="208" y="34"/>
                    <a:pt x="208" y="34"/>
                    <a:pt x="208" y="34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140" y="15"/>
                    <a:pt x="125" y="0"/>
                    <a:pt x="107" y="0"/>
                  </a:cubicBezTo>
                  <a:cubicBezTo>
                    <a:pt x="88" y="0"/>
                    <a:pt x="73" y="15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19" y="108"/>
                    <a:pt x="34" y="123"/>
                    <a:pt x="34" y="142"/>
                  </a:cubicBezTo>
                  <a:cubicBezTo>
                    <a:pt x="34" y="161"/>
                    <a:pt x="19" y="176"/>
                    <a:pt x="0" y="176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208" y="243"/>
                    <a:pt x="208" y="243"/>
                    <a:pt x="208" y="243"/>
                  </a:cubicBezTo>
                  <a:cubicBezTo>
                    <a:pt x="208" y="176"/>
                    <a:pt x="208" y="176"/>
                    <a:pt x="208" y="176"/>
                  </a:cubicBezTo>
                  <a:close/>
                </a:path>
              </a:pathLst>
            </a:custGeom>
            <a:solidFill>
              <a:schemeClr val="accent5"/>
            </a:solidFill>
            <a:ln w="11113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sp3d extrusionH="419100" prstMaterial="dkEdge"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127449" y="1940170"/>
              <a:ext cx="2090525" cy="916781"/>
            </a:xfrm>
            <a:prstGeom prst="rect">
              <a:avLst/>
            </a:prstGeom>
            <a:noFill/>
            <a:ln>
              <a:noFill/>
            </a:ln>
            <a:effectLst/>
            <a:sp3d prstMaterial="dkEdg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FFFFFF"/>
                  </a:solidFill>
                </a:rPr>
                <a:t>Xx x </a:t>
              </a:r>
              <a:r>
                <a:rPr lang="en-US" sz="1600" dirty="0" err="1">
                  <a:solidFill>
                    <a:srgbClr val="FFFFFF"/>
                  </a:solidFill>
                </a:rPr>
                <a:t>xxxx</a:t>
              </a:r>
              <a:endParaRPr lang="en-US" sz="1600" dirty="0">
                <a:solidFill>
                  <a:srgbClr val="FFFFFF"/>
                </a:solidFill>
              </a:endParaRPr>
            </a:p>
            <a:p>
              <a:pPr algn="ctr"/>
              <a:r>
                <a:rPr lang="da-DK" sz="900" dirty="0">
                  <a:solidFill>
                    <a:srgbClr val="FFFFFF"/>
                  </a:solidFill>
                </a:rPr>
                <a:t>Xxxxx xxxxx xxxxxx xxxxxxxxxxxxx</a:t>
              </a:r>
              <a:endParaRPr lang="en-US" sz="135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689615" y="1940170"/>
              <a:ext cx="2090525" cy="916781"/>
            </a:xfrm>
            <a:prstGeom prst="rect">
              <a:avLst/>
            </a:prstGeom>
            <a:noFill/>
            <a:ln>
              <a:noFill/>
            </a:ln>
            <a:effectLst/>
            <a:sp3d prstMaterial="dkEdg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FFFFFF"/>
                  </a:solidFill>
                </a:rPr>
                <a:t>Xx x </a:t>
              </a:r>
              <a:r>
                <a:rPr lang="en-US" sz="1600" dirty="0" err="1">
                  <a:solidFill>
                    <a:srgbClr val="FFFFFF"/>
                  </a:solidFill>
                </a:rPr>
                <a:t>xxxx</a:t>
              </a:r>
              <a:endParaRPr lang="en-US" sz="1600" dirty="0">
                <a:solidFill>
                  <a:srgbClr val="FFFFFF"/>
                </a:solidFill>
              </a:endParaRPr>
            </a:p>
            <a:p>
              <a:pPr algn="ctr"/>
              <a:r>
                <a:rPr lang="da-DK" sz="900" dirty="0">
                  <a:solidFill>
                    <a:srgbClr val="FFFFFF"/>
                  </a:solidFill>
                </a:rPr>
                <a:t>Xxxxx xxxxx xxxxxx xxxxxxxxxxxxx</a:t>
              </a:r>
              <a:endParaRPr lang="en-US" sz="1350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303019" y="1940170"/>
              <a:ext cx="2090525" cy="916781"/>
            </a:xfrm>
            <a:prstGeom prst="rect">
              <a:avLst/>
            </a:prstGeom>
            <a:noFill/>
            <a:ln>
              <a:noFill/>
            </a:ln>
            <a:effectLst/>
            <a:sp3d prstMaterial="dkEdg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FFFFFF"/>
                  </a:solidFill>
                </a:rPr>
                <a:t>Xx x </a:t>
              </a:r>
              <a:r>
                <a:rPr lang="en-US" sz="1600" dirty="0" err="1">
                  <a:solidFill>
                    <a:srgbClr val="FFFFFF"/>
                  </a:solidFill>
                </a:rPr>
                <a:t>xxxx</a:t>
              </a:r>
              <a:endParaRPr lang="en-US" sz="1600" dirty="0">
                <a:solidFill>
                  <a:srgbClr val="FFFFFF"/>
                </a:solidFill>
              </a:endParaRPr>
            </a:p>
            <a:p>
              <a:pPr algn="ctr"/>
              <a:r>
                <a:rPr lang="da-DK" sz="900" dirty="0">
                  <a:solidFill>
                    <a:srgbClr val="FFFFFF"/>
                  </a:solidFill>
                </a:rPr>
                <a:t>Xxxxx xxxxx xxxxxx xxxxxxxxxxxxx</a:t>
              </a:r>
              <a:endParaRPr lang="en-US" sz="1350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127449" y="4490663"/>
              <a:ext cx="2090525" cy="916781"/>
            </a:xfrm>
            <a:prstGeom prst="rect">
              <a:avLst/>
            </a:prstGeom>
            <a:noFill/>
            <a:ln>
              <a:noFill/>
            </a:ln>
            <a:effectLst/>
            <a:sp3d prstMaterial="dkEdg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FFFFFF"/>
                  </a:solidFill>
                </a:rPr>
                <a:t>Xx x </a:t>
              </a:r>
              <a:r>
                <a:rPr lang="en-US" sz="1600" dirty="0" err="1">
                  <a:solidFill>
                    <a:srgbClr val="FFFFFF"/>
                  </a:solidFill>
                </a:rPr>
                <a:t>xxxx</a:t>
              </a:r>
              <a:endParaRPr lang="en-US" sz="1600" dirty="0">
                <a:solidFill>
                  <a:srgbClr val="FFFFFF"/>
                </a:solidFill>
              </a:endParaRPr>
            </a:p>
            <a:p>
              <a:pPr algn="ctr"/>
              <a:r>
                <a:rPr lang="da-DK" sz="900" dirty="0">
                  <a:solidFill>
                    <a:srgbClr val="FFFFFF"/>
                  </a:solidFill>
                </a:rPr>
                <a:t>Xxxxx xxxxx xxxxxx xxxxxxxxxxxxx</a:t>
              </a:r>
              <a:endParaRPr lang="en-US" sz="1350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821408" y="4490663"/>
              <a:ext cx="1826940" cy="916781"/>
            </a:xfrm>
            <a:prstGeom prst="rect">
              <a:avLst/>
            </a:prstGeom>
            <a:noFill/>
            <a:ln>
              <a:noFill/>
            </a:ln>
            <a:effectLst/>
            <a:sp3d prstMaterial="dkEdg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FFFFFF"/>
                  </a:solidFill>
                </a:rPr>
                <a:t>Xx x </a:t>
              </a:r>
              <a:r>
                <a:rPr lang="en-US" sz="1600" dirty="0" err="1">
                  <a:solidFill>
                    <a:srgbClr val="FFFFFF"/>
                  </a:solidFill>
                </a:rPr>
                <a:t>xxxx</a:t>
              </a:r>
              <a:endParaRPr lang="en-US" sz="1600" dirty="0">
                <a:solidFill>
                  <a:srgbClr val="FFFFFF"/>
                </a:solidFill>
              </a:endParaRPr>
            </a:p>
            <a:p>
              <a:pPr algn="ctr"/>
              <a:r>
                <a:rPr lang="da-DK" sz="900" dirty="0">
                  <a:solidFill>
                    <a:srgbClr val="FFFFFF"/>
                  </a:solidFill>
                </a:rPr>
                <a:t>Xxxxx xxxxx xxxxxx xxxxxxxxxxxxx</a:t>
              </a:r>
              <a:endParaRPr lang="en-US" sz="135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6303019" y="4490663"/>
              <a:ext cx="2090525" cy="916781"/>
            </a:xfrm>
            <a:prstGeom prst="rect">
              <a:avLst/>
            </a:prstGeom>
            <a:noFill/>
            <a:ln>
              <a:noFill/>
            </a:ln>
            <a:effectLst/>
            <a:sp3d prstMaterial="dkEdg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FFFFFF"/>
                  </a:solidFill>
                </a:rPr>
                <a:t>Xx x </a:t>
              </a:r>
              <a:r>
                <a:rPr lang="en-US" sz="1600" dirty="0" err="1">
                  <a:solidFill>
                    <a:srgbClr val="FFFFFF"/>
                  </a:solidFill>
                </a:rPr>
                <a:t>xxxx</a:t>
              </a:r>
              <a:endParaRPr lang="en-US" sz="1600" dirty="0">
                <a:solidFill>
                  <a:srgbClr val="FFFFFF"/>
                </a:solidFill>
              </a:endParaRPr>
            </a:p>
            <a:p>
              <a:pPr algn="ctr"/>
              <a:r>
                <a:rPr lang="da-DK" sz="900" dirty="0">
                  <a:solidFill>
                    <a:srgbClr val="FFFFFF"/>
                  </a:solidFill>
                </a:rPr>
                <a:t>Xxxxx xxxxx xxxxxx xxxxxxxxxxxxx</a:t>
              </a:r>
              <a:endParaRPr lang="en-US" sz="1350" dirty="0">
                <a:solidFill>
                  <a:srgbClr val="FFFFFF"/>
                </a:solidFill>
              </a:endParaRPr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46799" y="3962631"/>
              <a:ext cx="498442" cy="486058"/>
            </a:xfrm>
            <a:prstGeom prst="rect">
              <a:avLst/>
            </a:prstGeom>
            <a:ln>
              <a:noFill/>
            </a:ln>
            <a:sp3d prstMaterial="dkEdge"/>
          </p:spPr>
        </p:pic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39065" y="1314760"/>
              <a:ext cx="467290" cy="394778"/>
            </a:xfrm>
            <a:prstGeom prst="rect">
              <a:avLst/>
            </a:prstGeom>
            <a:ln>
              <a:noFill/>
            </a:ln>
            <a:sp3d prstMaterial="dkEdge"/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72358" y="1304764"/>
              <a:ext cx="525040" cy="525040"/>
            </a:xfrm>
            <a:prstGeom prst="rect">
              <a:avLst/>
            </a:prstGeom>
            <a:ln>
              <a:noFill/>
            </a:ln>
            <a:sp3d prstMaterial="dkEdge"/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37468" y="3939863"/>
              <a:ext cx="794820" cy="415566"/>
            </a:xfrm>
            <a:prstGeom prst="rect">
              <a:avLst/>
            </a:prstGeom>
            <a:ln>
              <a:noFill/>
            </a:ln>
            <a:sp3d prstMaterial="dkEdge"/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71386" y="1314760"/>
              <a:ext cx="449267" cy="538503"/>
            </a:xfrm>
            <a:prstGeom prst="rect">
              <a:avLst/>
            </a:prstGeom>
            <a:ln>
              <a:noFill/>
            </a:ln>
            <a:sp3d prstMaterial="dkEdge"/>
          </p:spPr>
        </p:pic>
        <p:sp>
          <p:nvSpPr>
            <p:cNvPr id="34" name="Freeform 41"/>
            <p:cNvSpPr>
              <a:spLocks noEditPoints="1"/>
            </p:cNvSpPr>
            <p:nvPr/>
          </p:nvSpPr>
          <p:spPr bwMode="auto">
            <a:xfrm>
              <a:off x="1975233" y="3939863"/>
              <a:ext cx="394954" cy="505441"/>
            </a:xfrm>
            <a:custGeom>
              <a:avLst/>
              <a:gdLst>
                <a:gd name="T0" fmla="*/ 487 w 800"/>
                <a:gd name="T1" fmla="*/ 761 h 969"/>
                <a:gd name="T2" fmla="*/ 487 w 800"/>
                <a:gd name="T3" fmla="*/ 605 h 969"/>
                <a:gd name="T4" fmla="*/ 136 w 800"/>
                <a:gd name="T5" fmla="*/ 254 h 969"/>
                <a:gd name="T6" fmla="*/ 275 w 800"/>
                <a:gd name="T7" fmla="*/ 254 h 969"/>
                <a:gd name="T8" fmla="*/ 275 w 800"/>
                <a:gd name="T9" fmla="*/ 211 h 969"/>
                <a:gd name="T10" fmla="*/ 64 w 800"/>
                <a:gd name="T11" fmla="*/ 211 h 969"/>
                <a:gd name="T12" fmla="*/ 64 w 800"/>
                <a:gd name="T13" fmla="*/ 423 h 969"/>
                <a:gd name="T14" fmla="*/ 106 w 800"/>
                <a:gd name="T15" fmla="*/ 423 h 969"/>
                <a:gd name="T16" fmla="*/ 106 w 800"/>
                <a:gd name="T17" fmla="*/ 283 h 969"/>
                <a:gd name="T18" fmla="*/ 445 w 800"/>
                <a:gd name="T19" fmla="*/ 622 h 969"/>
                <a:gd name="T20" fmla="*/ 445 w 800"/>
                <a:gd name="T21" fmla="*/ 761 h 969"/>
                <a:gd name="T22" fmla="*/ 360 w 800"/>
                <a:gd name="T23" fmla="*/ 863 h 969"/>
                <a:gd name="T24" fmla="*/ 466 w 800"/>
                <a:gd name="T25" fmla="*/ 969 h 969"/>
                <a:gd name="T26" fmla="*/ 572 w 800"/>
                <a:gd name="T27" fmla="*/ 863 h 969"/>
                <a:gd name="T28" fmla="*/ 487 w 800"/>
                <a:gd name="T29" fmla="*/ 761 h 969"/>
                <a:gd name="T30" fmla="*/ 466 w 800"/>
                <a:gd name="T31" fmla="*/ 931 h 969"/>
                <a:gd name="T32" fmla="*/ 403 w 800"/>
                <a:gd name="T33" fmla="*/ 867 h 969"/>
                <a:gd name="T34" fmla="*/ 466 w 800"/>
                <a:gd name="T35" fmla="*/ 804 h 969"/>
                <a:gd name="T36" fmla="*/ 529 w 800"/>
                <a:gd name="T37" fmla="*/ 867 h 969"/>
                <a:gd name="T38" fmla="*/ 466 w 800"/>
                <a:gd name="T39" fmla="*/ 931 h 969"/>
                <a:gd name="T40" fmla="*/ 178 w 800"/>
                <a:gd name="T41" fmla="*/ 592 h 969"/>
                <a:gd name="T42" fmla="*/ 106 w 800"/>
                <a:gd name="T43" fmla="*/ 668 h 969"/>
                <a:gd name="T44" fmla="*/ 30 w 800"/>
                <a:gd name="T45" fmla="*/ 592 h 969"/>
                <a:gd name="T46" fmla="*/ 0 w 800"/>
                <a:gd name="T47" fmla="*/ 622 h 969"/>
                <a:gd name="T48" fmla="*/ 77 w 800"/>
                <a:gd name="T49" fmla="*/ 698 h 969"/>
                <a:gd name="T50" fmla="*/ 0 w 800"/>
                <a:gd name="T51" fmla="*/ 770 h 969"/>
                <a:gd name="T52" fmla="*/ 30 w 800"/>
                <a:gd name="T53" fmla="*/ 800 h 969"/>
                <a:gd name="T54" fmla="*/ 106 w 800"/>
                <a:gd name="T55" fmla="*/ 728 h 969"/>
                <a:gd name="T56" fmla="*/ 178 w 800"/>
                <a:gd name="T57" fmla="*/ 800 h 969"/>
                <a:gd name="T58" fmla="*/ 208 w 800"/>
                <a:gd name="T59" fmla="*/ 770 h 969"/>
                <a:gd name="T60" fmla="*/ 136 w 800"/>
                <a:gd name="T61" fmla="*/ 698 h 969"/>
                <a:gd name="T62" fmla="*/ 208 w 800"/>
                <a:gd name="T63" fmla="*/ 622 h 969"/>
                <a:gd name="T64" fmla="*/ 178 w 800"/>
                <a:gd name="T65" fmla="*/ 592 h 969"/>
                <a:gd name="T66" fmla="*/ 800 w 800"/>
                <a:gd name="T67" fmla="*/ 325 h 969"/>
                <a:gd name="T68" fmla="*/ 771 w 800"/>
                <a:gd name="T69" fmla="*/ 296 h 969"/>
                <a:gd name="T70" fmla="*/ 699 w 800"/>
                <a:gd name="T71" fmla="*/ 372 h 969"/>
                <a:gd name="T72" fmla="*/ 623 w 800"/>
                <a:gd name="T73" fmla="*/ 296 h 969"/>
                <a:gd name="T74" fmla="*/ 593 w 800"/>
                <a:gd name="T75" fmla="*/ 325 h 969"/>
                <a:gd name="T76" fmla="*/ 669 w 800"/>
                <a:gd name="T77" fmla="*/ 402 h 969"/>
                <a:gd name="T78" fmla="*/ 593 w 800"/>
                <a:gd name="T79" fmla="*/ 474 h 969"/>
                <a:gd name="T80" fmla="*/ 623 w 800"/>
                <a:gd name="T81" fmla="*/ 503 h 969"/>
                <a:gd name="T82" fmla="*/ 699 w 800"/>
                <a:gd name="T83" fmla="*/ 431 h 969"/>
                <a:gd name="T84" fmla="*/ 771 w 800"/>
                <a:gd name="T85" fmla="*/ 503 h 969"/>
                <a:gd name="T86" fmla="*/ 800 w 800"/>
                <a:gd name="T87" fmla="*/ 474 h 969"/>
                <a:gd name="T88" fmla="*/ 729 w 800"/>
                <a:gd name="T89" fmla="*/ 402 h 969"/>
                <a:gd name="T90" fmla="*/ 800 w 800"/>
                <a:gd name="T91" fmla="*/ 325 h 969"/>
                <a:gd name="T92" fmla="*/ 559 w 800"/>
                <a:gd name="T93" fmla="*/ 0 h 969"/>
                <a:gd name="T94" fmla="*/ 487 w 800"/>
                <a:gd name="T95" fmla="*/ 76 h 969"/>
                <a:gd name="T96" fmla="*/ 411 w 800"/>
                <a:gd name="T97" fmla="*/ 0 h 969"/>
                <a:gd name="T98" fmla="*/ 381 w 800"/>
                <a:gd name="T99" fmla="*/ 29 h 969"/>
                <a:gd name="T100" fmla="*/ 458 w 800"/>
                <a:gd name="T101" fmla="*/ 105 h 969"/>
                <a:gd name="T102" fmla="*/ 381 w 800"/>
                <a:gd name="T103" fmla="*/ 177 h 969"/>
                <a:gd name="T104" fmla="*/ 411 w 800"/>
                <a:gd name="T105" fmla="*/ 207 h 969"/>
                <a:gd name="T106" fmla="*/ 487 w 800"/>
                <a:gd name="T107" fmla="*/ 135 h 969"/>
                <a:gd name="T108" fmla="*/ 559 w 800"/>
                <a:gd name="T109" fmla="*/ 207 h 969"/>
                <a:gd name="T110" fmla="*/ 589 w 800"/>
                <a:gd name="T111" fmla="*/ 177 h 969"/>
                <a:gd name="T112" fmla="*/ 517 w 800"/>
                <a:gd name="T113" fmla="*/ 105 h 969"/>
                <a:gd name="T114" fmla="*/ 589 w 800"/>
                <a:gd name="T115" fmla="*/ 29 h 969"/>
                <a:gd name="T116" fmla="*/ 559 w 800"/>
                <a:gd name="T117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00" h="969">
                  <a:moveTo>
                    <a:pt x="487" y="761"/>
                  </a:moveTo>
                  <a:cubicBezTo>
                    <a:pt x="487" y="605"/>
                    <a:pt x="487" y="605"/>
                    <a:pt x="487" y="605"/>
                  </a:cubicBezTo>
                  <a:cubicBezTo>
                    <a:pt x="136" y="254"/>
                    <a:pt x="136" y="254"/>
                    <a:pt x="136" y="254"/>
                  </a:cubicBezTo>
                  <a:cubicBezTo>
                    <a:pt x="275" y="254"/>
                    <a:pt x="275" y="254"/>
                    <a:pt x="275" y="254"/>
                  </a:cubicBezTo>
                  <a:cubicBezTo>
                    <a:pt x="275" y="211"/>
                    <a:pt x="275" y="211"/>
                    <a:pt x="275" y="211"/>
                  </a:cubicBezTo>
                  <a:cubicBezTo>
                    <a:pt x="64" y="211"/>
                    <a:pt x="64" y="211"/>
                    <a:pt x="64" y="211"/>
                  </a:cubicBezTo>
                  <a:cubicBezTo>
                    <a:pt x="64" y="423"/>
                    <a:pt x="64" y="423"/>
                    <a:pt x="64" y="423"/>
                  </a:cubicBezTo>
                  <a:cubicBezTo>
                    <a:pt x="106" y="423"/>
                    <a:pt x="106" y="423"/>
                    <a:pt x="106" y="423"/>
                  </a:cubicBezTo>
                  <a:cubicBezTo>
                    <a:pt x="106" y="283"/>
                    <a:pt x="106" y="283"/>
                    <a:pt x="106" y="283"/>
                  </a:cubicBezTo>
                  <a:cubicBezTo>
                    <a:pt x="445" y="622"/>
                    <a:pt x="445" y="622"/>
                    <a:pt x="445" y="622"/>
                  </a:cubicBezTo>
                  <a:cubicBezTo>
                    <a:pt x="445" y="761"/>
                    <a:pt x="445" y="761"/>
                    <a:pt x="445" y="761"/>
                  </a:cubicBezTo>
                  <a:cubicBezTo>
                    <a:pt x="398" y="770"/>
                    <a:pt x="360" y="812"/>
                    <a:pt x="360" y="863"/>
                  </a:cubicBezTo>
                  <a:cubicBezTo>
                    <a:pt x="360" y="922"/>
                    <a:pt x="407" y="969"/>
                    <a:pt x="466" y="969"/>
                  </a:cubicBezTo>
                  <a:cubicBezTo>
                    <a:pt x="525" y="969"/>
                    <a:pt x="572" y="922"/>
                    <a:pt x="572" y="863"/>
                  </a:cubicBezTo>
                  <a:cubicBezTo>
                    <a:pt x="572" y="817"/>
                    <a:pt x="534" y="774"/>
                    <a:pt x="487" y="761"/>
                  </a:cubicBezTo>
                  <a:close/>
                  <a:moveTo>
                    <a:pt x="466" y="931"/>
                  </a:moveTo>
                  <a:cubicBezTo>
                    <a:pt x="432" y="931"/>
                    <a:pt x="403" y="901"/>
                    <a:pt x="403" y="867"/>
                  </a:cubicBezTo>
                  <a:cubicBezTo>
                    <a:pt x="403" y="834"/>
                    <a:pt x="428" y="804"/>
                    <a:pt x="466" y="804"/>
                  </a:cubicBezTo>
                  <a:cubicBezTo>
                    <a:pt x="504" y="804"/>
                    <a:pt x="529" y="834"/>
                    <a:pt x="529" y="867"/>
                  </a:cubicBezTo>
                  <a:cubicBezTo>
                    <a:pt x="529" y="901"/>
                    <a:pt x="500" y="931"/>
                    <a:pt x="466" y="931"/>
                  </a:cubicBezTo>
                  <a:close/>
                  <a:moveTo>
                    <a:pt x="178" y="592"/>
                  </a:moveTo>
                  <a:cubicBezTo>
                    <a:pt x="106" y="668"/>
                    <a:pt x="106" y="668"/>
                    <a:pt x="106" y="668"/>
                  </a:cubicBezTo>
                  <a:cubicBezTo>
                    <a:pt x="30" y="592"/>
                    <a:pt x="30" y="592"/>
                    <a:pt x="30" y="592"/>
                  </a:cubicBezTo>
                  <a:cubicBezTo>
                    <a:pt x="0" y="622"/>
                    <a:pt x="0" y="622"/>
                    <a:pt x="0" y="622"/>
                  </a:cubicBezTo>
                  <a:cubicBezTo>
                    <a:pt x="77" y="698"/>
                    <a:pt x="77" y="698"/>
                    <a:pt x="77" y="698"/>
                  </a:cubicBezTo>
                  <a:cubicBezTo>
                    <a:pt x="0" y="770"/>
                    <a:pt x="0" y="770"/>
                    <a:pt x="0" y="770"/>
                  </a:cubicBezTo>
                  <a:cubicBezTo>
                    <a:pt x="30" y="800"/>
                    <a:pt x="30" y="800"/>
                    <a:pt x="30" y="800"/>
                  </a:cubicBezTo>
                  <a:cubicBezTo>
                    <a:pt x="106" y="728"/>
                    <a:pt x="106" y="728"/>
                    <a:pt x="106" y="728"/>
                  </a:cubicBezTo>
                  <a:cubicBezTo>
                    <a:pt x="178" y="800"/>
                    <a:pt x="178" y="800"/>
                    <a:pt x="178" y="800"/>
                  </a:cubicBezTo>
                  <a:cubicBezTo>
                    <a:pt x="208" y="770"/>
                    <a:pt x="208" y="770"/>
                    <a:pt x="208" y="770"/>
                  </a:cubicBezTo>
                  <a:cubicBezTo>
                    <a:pt x="136" y="698"/>
                    <a:pt x="136" y="698"/>
                    <a:pt x="136" y="698"/>
                  </a:cubicBezTo>
                  <a:cubicBezTo>
                    <a:pt x="208" y="622"/>
                    <a:pt x="208" y="622"/>
                    <a:pt x="208" y="622"/>
                  </a:cubicBezTo>
                  <a:lnTo>
                    <a:pt x="178" y="592"/>
                  </a:lnTo>
                  <a:close/>
                  <a:moveTo>
                    <a:pt x="800" y="325"/>
                  </a:moveTo>
                  <a:cubicBezTo>
                    <a:pt x="771" y="296"/>
                    <a:pt x="771" y="296"/>
                    <a:pt x="771" y="296"/>
                  </a:cubicBezTo>
                  <a:cubicBezTo>
                    <a:pt x="699" y="372"/>
                    <a:pt x="699" y="372"/>
                    <a:pt x="699" y="372"/>
                  </a:cubicBezTo>
                  <a:cubicBezTo>
                    <a:pt x="623" y="296"/>
                    <a:pt x="623" y="296"/>
                    <a:pt x="623" y="296"/>
                  </a:cubicBezTo>
                  <a:cubicBezTo>
                    <a:pt x="593" y="325"/>
                    <a:pt x="593" y="325"/>
                    <a:pt x="593" y="325"/>
                  </a:cubicBezTo>
                  <a:cubicBezTo>
                    <a:pt x="669" y="402"/>
                    <a:pt x="669" y="402"/>
                    <a:pt x="669" y="402"/>
                  </a:cubicBezTo>
                  <a:cubicBezTo>
                    <a:pt x="593" y="474"/>
                    <a:pt x="593" y="474"/>
                    <a:pt x="593" y="474"/>
                  </a:cubicBezTo>
                  <a:cubicBezTo>
                    <a:pt x="623" y="503"/>
                    <a:pt x="623" y="503"/>
                    <a:pt x="623" y="503"/>
                  </a:cubicBezTo>
                  <a:cubicBezTo>
                    <a:pt x="699" y="431"/>
                    <a:pt x="699" y="431"/>
                    <a:pt x="699" y="431"/>
                  </a:cubicBezTo>
                  <a:cubicBezTo>
                    <a:pt x="771" y="503"/>
                    <a:pt x="771" y="503"/>
                    <a:pt x="771" y="503"/>
                  </a:cubicBezTo>
                  <a:cubicBezTo>
                    <a:pt x="800" y="474"/>
                    <a:pt x="800" y="474"/>
                    <a:pt x="800" y="474"/>
                  </a:cubicBezTo>
                  <a:cubicBezTo>
                    <a:pt x="729" y="402"/>
                    <a:pt x="729" y="402"/>
                    <a:pt x="729" y="402"/>
                  </a:cubicBezTo>
                  <a:lnTo>
                    <a:pt x="800" y="325"/>
                  </a:lnTo>
                  <a:close/>
                  <a:moveTo>
                    <a:pt x="559" y="0"/>
                  </a:moveTo>
                  <a:cubicBezTo>
                    <a:pt x="487" y="76"/>
                    <a:pt x="487" y="76"/>
                    <a:pt x="487" y="76"/>
                  </a:cubicBezTo>
                  <a:cubicBezTo>
                    <a:pt x="411" y="0"/>
                    <a:pt x="411" y="0"/>
                    <a:pt x="411" y="0"/>
                  </a:cubicBezTo>
                  <a:cubicBezTo>
                    <a:pt x="381" y="29"/>
                    <a:pt x="381" y="29"/>
                    <a:pt x="381" y="29"/>
                  </a:cubicBezTo>
                  <a:cubicBezTo>
                    <a:pt x="458" y="105"/>
                    <a:pt x="458" y="105"/>
                    <a:pt x="458" y="105"/>
                  </a:cubicBezTo>
                  <a:cubicBezTo>
                    <a:pt x="381" y="177"/>
                    <a:pt x="381" y="177"/>
                    <a:pt x="381" y="177"/>
                  </a:cubicBezTo>
                  <a:cubicBezTo>
                    <a:pt x="411" y="207"/>
                    <a:pt x="411" y="207"/>
                    <a:pt x="411" y="207"/>
                  </a:cubicBezTo>
                  <a:cubicBezTo>
                    <a:pt x="487" y="135"/>
                    <a:pt x="487" y="135"/>
                    <a:pt x="487" y="135"/>
                  </a:cubicBezTo>
                  <a:cubicBezTo>
                    <a:pt x="559" y="207"/>
                    <a:pt x="559" y="207"/>
                    <a:pt x="559" y="207"/>
                  </a:cubicBezTo>
                  <a:cubicBezTo>
                    <a:pt x="589" y="177"/>
                    <a:pt x="589" y="177"/>
                    <a:pt x="589" y="177"/>
                  </a:cubicBezTo>
                  <a:cubicBezTo>
                    <a:pt x="517" y="105"/>
                    <a:pt x="517" y="105"/>
                    <a:pt x="517" y="105"/>
                  </a:cubicBezTo>
                  <a:cubicBezTo>
                    <a:pt x="589" y="29"/>
                    <a:pt x="589" y="29"/>
                    <a:pt x="589" y="29"/>
                  </a:cubicBezTo>
                  <a:lnTo>
                    <a:pt x="55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sp3d prstMaterial="dkEdg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36" name="Rectangle 35"/>
          <p:cNvSpPr/>
          <p:nvPr/>
        </p:nvSpPr>
        <p:spPr>
          <a:xfrm>
            <a:off x="6870490" y="951571"/>
            <a:ext cx="1994987" cy="2699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500" dirty="0"/>
              <a:t>Xxx </a:t>
            </a:r>
            <a:r>
              <a:rPr lang="en-US" sz="1500" dirty="0" err="1"/>
              <a:t>xxx</a:t>
            </a:r>
            <a:r>
              <a:rPr lang="en-US" sz="1500" dirty="0"/>
              <a:t> x</a:t>
            </a:r>
          </a:p>
          <a:p>
            <a:pPr>
              <a:lnSpc>
                <a:spcPct val="99000"/>
              </a:lnSpc>
            </a:pP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x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 xx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</a:t>
            </a:r>
            <a:r>
              <a:rPr lang="en-US" sz="1050" dirty="0"/>
              <a:t> x xxx x </a:t>
            </a:r>
            <a:r>
              <a:rPr lang="en-US" sz="1050" dirty="0" err="1"/>
              <a:t>xxxxxxxxxxxxx</a:t>
            </a:r>
            <a:r>
              <a:rPr lang="en-US" sz="1050" dirty="0"/>
              <a:t> </a:t>
            </a:r>
            <a:r>
              <a:rPr lang="en-US" sz="1050" dirty="0" err="1"/>
              <a:t>xxxxxxxxxx</a:t>
            </a:r>
            <a:r>
              <a:rPr lang="en-US" sz="1050" dirty="0"/>
              <a:t> xx x xx x </a:t>
            </a:r>
            <a:r>
              <a:rPr lang="en-US" sz="1050" dirty="0" err="1"/>
              <a:t>xxxxxxxx</a:t>
            </a:r>
            <a:r>
              <a:rPr lang="en-US" sz="1050" dirty="0"/>
              <a:t> </a:t>
            </a:r>
            <a:r>
              <a:rPr lang="en-US" sz="1050" dirty="0" err="1"/>
              <a:t>xxxxxx</a:t>
            </a:r>
            <a:r>
              <a:rPr lang="en-US" sz="1050" dirty="0"/>
              <a:t> xxx </a:t>
            </a:r>
            <a:r>
              <a:rPr lang="en-US" sz="1050" dirty="0" err="1"/>
              <a:t>xxxxxx</a:t>
            </a:r>
            <a:r>
              <a:rPr lang="en-US" sz="1050" dirty="0"/>
              <a:t> x </a:t>
            </a:r>
            <a:r>
              <a:rPr lang="en-US" sz="1050" dirty="0" err="1"/>
              <a:t>xxxxxxxxxx</a:t>
            </a:r>
            <a:r>
              <a:rPr lang="en-US" sz="1050" dirty="0"/>
              <a:t> xx x </a:t>
            </a:r>
            <a:r>
              <a:rPr lang="en-US" sz="1050" dirty="0" err="1"/>
              <a:t>xxxxx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x</a:t>
            </a:r>
            <a:r>
              <a:rPr lang="en-US" sz="1050" dirty="0"/>
              <a:t> x </a:t>
            </a:r>
            <a:r>
              <a:rPr lang="en-US" sz="1050" dirty="0" err="1"/>
              <a:t>Xxxxxx</a:t>
            </a:r>
            <a:r>
              <a:rPr lang="en-US" sz="1050" dirty="0"/>
              <a:t> xx </a:t>
            </a:r>
            <a:r>
              <a:rPr lang="en-US" sz="1050" dirty="0" err="1"/>
              <a:t>xx</a:t>
            </a:r>
            <a:r>
              <a:rPr lang="en-US" sz="1050" dirty="0"/>
              <a:t> </a:t>
            </a:r>
            <a:r>
              <a:rPr lang="en-US" sz="1050" dirty="0" err="1"/>
              <a:t>xxxxxxxxxxxx</a:t>
            </a:r>
            <a:r>
              <a:rPr lang="en-US" sz="1050" dirty="0"/>
              <a:t> x xx </a:t>
            </a:r>
            <a:r>
              <a:rPr lang="en-US" sz="1050" dirty="0" err="1"/>
              <a:t>xxxxx</a:t>
            </a:r>
            <a:r>
              <a:rPr lang="en-US" sz="1050" dirty="0"/>
              <a:t> x </a:t>
            </a:r>
            <a:r>
              <a:rPr lang="en-US" sz="1050" dirty="0" err="1"/>
              <a:t>Xxxx</a:t>
            </a:r>
            <a:r>
              <a:rPr lang="en-US" sz="1050" dirty="0"/>
              <a:t> x </a:t>
            </a:r>
            <a:r>
              <a:rPr lang="en-US" sz="1050" dirty="0" err="1"/>
              <a:t>xxxxx</a:t>
            </a:r>
            <a:r>
              <a:rPr lang="en-US" sz="1050" dirty="0"/>
              <a:t> </a:t>
            </a:r>
            <a:r>
              <a:rPr lang="en-US" sz="1050" dirty="0" err="1"/>
              <a:t>xxxxxxx</a:t>
            </a:r>
            <a:r>
              <a:rPr lang="en-US" sz="1050" dirty="0"/>
              <a:t> </a:t>
            </a:r>
            <a:r>
              <a:rPr lang="en-US" sz="1050" dirty="0" err="1"/>
              <a:t>xxxxxxxxxxx</a:t>
            </a:r>
            <a:r>
              <a:rPr lang="en-US" sz="1050" dirty="0"/>
              <a:t> </a:t>
            </a:r>
            <a:r>
              <a:rPr lang="en-US" sz="1050" dirty="0" err="1"/>
              <a:t>xxxx</a:t>
            </a:r>
            <a:r>
              <a:rPr lang="en-US" sz="1050" dirty="0"/>
              <a:t> xxx </a:t>
            </a:r>
            <a:r>
              <a:rPr lang="en-US" sz="1050" dirty="0" err="1"/>
              <a:t>xxxx</a:t>
            </a:r>
            <a:r>
              <a:rPr lang="en-US" sz="1050" dirty="0"/>
              <a:t> xx </a:t>
            </a:r>
            <a:r>
              <a:rPr lang="en-US" sz="1050" dirty="0" err="1"/>
              <a:t>xxxxxxx</a:t>
            </a:r>
            <a:r>
              <a:rPr lang="en-US" sz="1050" dirty="0"/>
              <a:t> xxx </a:t>
            </a:r>
            <a:r>
              <a:rPr lang="en-US" sz="1050" dirty="0" err="1"/>
              <a:t>xxx</a:t>
            </a:r>
            <a:r>
              <a:rPr lang="en-US" sz="1050" dirty="0"/>
              <a:t> Xx x </a:t>
            </a:r>
            <a:r>
              <a:rPr lang="en-US" sz="1050" dirty="0" err="1"/>
              <a:t>xxxxxx</a:t>
            </a:r>
            <a:r>
              <a:rPr lang="en-US" sz="1050" dirty="0"/>
              <a:t> xxx x </a:t>
            </a:r>
            <a:r>
              <a:rPr lang="en-US" sz="1050" dirty="0" err="1"/>
              <a:t>xxxxxx</a:t>
            </a:r>
            <a:r>
              <a:rPr lang="en-US" sz="1050" dirty="0"/>
              <a:t> x xxx </a:t>
            </a:r>
            <a:r>
              <a:rPr lang="en-US" sz="1050" dirty="0" err="1"/>
              <a:t>xxx</a:t>
            </a:r>
            <a:r>
              <a:rPr lang="en-US" sz="1050" dirty="0"/>
              <a:t> Xx </a:t>
            </a:r>
            <a:r>
              <a:rPr lang="en-US" sz="1050" dirty="0" err="1"/>
              <a:t>xxxxxx</a:t>
            </a:r>
            <a:r>
              <a:rPr lang="en-US" sz="1050" dirty="0"/>
              <a:t> x </a:t>
            </a:r>
            <a:r>
              <a:rPr lang="en-US" sz="1050" dirty="0" err="1"/>
              <a:t>xxxxxx</a:t>
            </a:r>
            <a:r>
              <a:rPr lang="en-US" sz="1050" dirty="0"/>
              <a:t> x xxx </a:t>
            </a:r>
            <a:r>
              <a:rPr lang="en-US" sz="1050" dirty="0" err="1"/>
              <a:t>xxxxx</a:t>
            </a:r>
            <a:r>
              <a:rPr lang="en-US" sz="1050" dirty="0"/>
              <a:t> x xxx xx </a:t>
            </a:r>
            <a:r>
              <a:rPr lang="en-US" sz="1050" dirty="0" err="1"/>
              <a:t>xx</a:t>
            </a:r>
            <a:r>
              <a:rPr lang="en-US" sz="1050" dirty="0"/>
              <a:t> </a:t>
            </a:r>
            <a:r>
              <a:rPr lang="en-US" sz="1050" dirty="0" err="1"/>
              <a:t>xxxx</a:t>
            </a:r>
            <a:r>
              <a:rPr lang="en-US" sz="1050" dirty="0"/>
              <a:t> x xx X </a:t>
            </a:r>
            <a:r>
              <a:rPr lang="en-US" sz="1050" dirty="0" err="1"/>
              <a:t>x</a:t>
            </a:r>
            <a:r>
              <a:rPr lang="en-US" sz="1050" dirty="0"/>
              <a:t> </a:t>
            </a:r>
            <a:r>
              <a:rPr lang="en-US" sz="1050" dirty="0" err="1"/>
              <a:t>xxxxx</a:t>
            </a:r>
            <a:r>
              <a:rPr lang="en-US" sz="1050" dirty="0"/>
              <a:t> x xx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639E93D-AA21-9548-B2E4-DF8A80C58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9550"/>
            <a:ext cx="7586932" cy="545464"/>
          </a:xfrm>
        </p:spPr>
        <p:txBody>
          <a:bodyPr/>
          <a:lstStyle/>
          <a:p>
            <a:r>
              <a:rPr lang="en-US" dirty="0"/>
              <a:t>Key pieces of a puzzle or solution</a:t>
            </a:r>
          </a:p>
        </p:txBody>
      </p:sp>
      <p:sp>
        <p:nvSpPr>
          <p:cNvPr id="25" name="Footer Placeholder 99">
            <a:extLst>
              <a:ext uri="{FF2B5EF4-FFF2-40B4-BE49-F238E27FC236}">
                <a16:creationId xmlns:a16="http://schemas.microsoft.com/office/drawing/2014/main" id="{9C22521D-3F72-4258-9344-832D98B611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6" name="Slide Number Placeholder 100">
            <a:extLst>
              <a:ext uri="{FF2B5EF4-FFF2-40B4-BE49-F238E27FC236}">
                <a16:creationId xmlns:a16="http://schemas.microsoft.com/office/drawing/2014/main" id="{8FA1582B-3AE1-480A-B325-32DFC38C760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60</a:t>
            </a:fld>
            <a:endParaRPr lang="en-US" dirty="0"/>
          </a:p>
        </p:txBody>
      </p:sp>
      <p:sp>
        <p:nvSpPr>
          <p:cNvPr id="28" name="Text Placeholder 41">
            <a:extLst>
              <a:ext uri="{FF2B5EF4-FFF2-40B4-BE49-F238E27FC236}">
                <a16:creationId xmlns:a16="http://schemas.microsoft.com/office/drawing/2014/main" id="{7EF583B3-E384-41A8-8B67-0AA72C66BC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98021621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/>
        </p:nvGrpSpPr>
        <p:grpSpPr bwMode="auto">
          <a:xfrm>
            <a:off x="3464346" y="2398667"/>
            <a:ext cx="2222500" cy="2222500"/>
            <a:chOff x="1736" y="476"/>
            <a:chExt cx="2288" cy="2288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736" y="476"/>
              <a:ext cx="2288" cy="228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2312" y="2579"/>
              <a:ext cx="7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3605" y="796"/>
              <a:ext cx="64" cy="35"/>
            </a:xfrm>
            <a:custGeom>
              <a:avLst/>
              <a:gdLst>
                <a:gd name="T0" fmla="*/ 1 w 9"/>
                <a:gd name="T1" fmla="*/ 1 h 5"/>
                <a:gd name="T2" fmla="*/ 2 w 9"/>
                <a:gd name="T3" fmla="*/ 4 h 5"/>
                <a:gd name="T4" fmla="*/ 5 w 9"/>
                <a:gd name="T5" fmla="*/ 4 h 5"/>
                <a:gd name="T6" fmla="*/ 7 w 9"/>
                <a:gd name="T7" fmla="*/ 4 h 5"/>
                <a:gd name="T8" fmla="*/ 9 w 9"/>
                <a:gd name="T9" fmla="*/ 5 h 5"/>
                <a:gd name="T10" fmla="*/ 5 w 9"/>
                <a:gd name="T11" fmla="*/ 1 h 5"/>
                <a:gd name="T12" fmla="*/ 2 w 9"/>
                <a:gd name="T13" fmla="*/ 0 h 5"/>
                <a:gd name="T14" fmla="*/ 1 w 9"/>
                <a:gd name="T15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1" y="1"/>
                  </a:moveTo>
                  <a:cubicBezTo>
                    <a:pt x="2" y="2"/>
                    <a:pt x="2" y="2"/>
                    <a:pt x="2" y="4"/>
                  </a:cubicBezTo>
                  <a:cubicBezTo>
                    <a:pt x="3" y="5"/>
                    <a:pt x="4" y="4"/>
                    <a:pt x="5" y="4"/>
                  </a:cubicBezTo>
                  <a:cubicBezTo>
                    <a:pt x="5" y="3"/>
                    <a:pt x="5" y="3"/>
                    <a:pt x="7" y="4"/>
                  </a:cubicBezTo>
                  <a:cubicBezTo>
                    <a:pt x="8" y="5"/>
                    <a:pt x="8" y="5"/>
                    <a:pt x="9" y="5"/>
                  </a:cubicBezTo>
                  <a:cubicBezTo>
                    <a:pt x="7" y="4"/>
                    <a:pt x="6" y="2"/>
                    <a:pt x="5" y="1"/>
                  </a:cubicBezTo>
                  <a:cubicBezTo>
                    <a:pt x="4" y="1"/>
                    <a:pt x="3" y="1"/>
                    <a:pt x="2" y="0"/>
                  </a:cubicBezTo>
                  <a:cubicBezTo>
                    <a:pt x="1" y="0"/>
                    <a:pt x="0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569" y="846"/>
              <a:ext cx="36" cy="42"/>
            </a:xfrm>
            <a:custGeom>
              <a:avLst/>
              <a:gdLst>
                <a:gd name="T0" fmla="*/ 5 w 5"/>
                <a:gd name="T1" fmla="*/ 5 h 6"/>
                <a:gd name="T2" fmla="*/ 0 w 5"/>
                <a:gd name="T3" fmla="*/ 3 h 6"/>
                <a:gd name="T4" fmla="*/ 5 w 5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5"/>
                  </a:moveTo>
                  <a:cubicBezTo>
                    <a:pt x="5" y="4"/>
                    <a:pt x="1" y="0"/>
                    <a:pt x="0" y="3"/>
                  </a:cubicBezTo>
                  <a:cubicBezTo>
                    <a:pt x="0" y="4"/>
                    <a:pt x="4" y="6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1786" y="1393"/>
              <a:ext cx="42" cy="85"/>
            </a:xfrm>
            <a:custGeom>
              <a:avLst/>
              <a:gdLst>
                <a:gd name="T0" fmla="*/ 2 w 6"/>
                <a:gd name="T1" fmla="*/ 9 h 12"/>
                <a:gd name="T2" fmla="*/ 5 w 6"/>
                <a:gd name="T3" fmla="*/ 11 h 12"/>
                <a:gd name="T4" fmla="*/ 3 w 6"/>
                <a:gd name="T5" fmla="*/ 6 h 12"/>
                <a:gd name="T6" fmla="*/ 1 w 6"/>
                <a:gd name="T7" fmla="*/ 1 h 12"/>
                <a:gd name="T8" fmla="*/ 1 w 6"/>
                <a:gd name="T9" fmla="*/ 0 h 12"/>
                <a:gd name="T10" fmla="*/ 0 w 6"/>
                <a:gd name="T11" fmla="*/ 4 h 12"/>
                <a:gd name="T12" fmla="*/ 1 w 6"/>
                <a:gd name="T13" fmla="*/ 7 h 12"/>
                <a:gd name="T14" fmla="*/ 2 w 6"/>
                <a:gd name="T1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2">
                  <a:moveTo>
                    <a:pt x="2" y="9"/>
                  </a:moveTo>
                  <a:cubicBezTo>
                    <a:pt x="3" y="9"/>
                    <a:pt x="4" y="12"/>
                    <a:pt x="5" y="11"/>
                  </a:cubicBezTo>
                  <a:cubicBezTo>
                    <a:pt x="6" y="9"/>
                    <a:pt x="3" y="7"/>
                    <a:pt x="3" y="6"/>
                  </a:cubicBezTo>
                  <a:cubicBezTo>
                    <a:pt x="2" y="5"/>
                    <a:pt x="3" y="3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5"/>
                    <a:pt x="1" y="6"/>
                    <a:pt x="1" y="7"/>
                  </a:cubicBezTo>
                  <a:cubicBezTo>
                    <a:pt x="1" y="8"/>
                    <a:pt x="2" y="8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141" y="760"/>
              <a:ext cx="43" cy="29"/>
            </a:xfrm>
            <a:custGeom>
              <a:avLst/>
              <a:gdLst>
                <a:gd name="T0" fmla="*/ 1 w 6"/>
                <a:gd name="T1" fmla="*/ 4 h 4"/>
                <a:gd name="T2" fmla="*/ 3 w 6"/>
                <a:gd name="T3" fmla="*/ 3 h 4"/>
                <a:gd name="T4" fmla="*/ 6 w 6"/>
                <a:gd name="T5" fmla="*/ 1 h 4"/>
                <a:gd name="T6" fmla="*/ 5 w 6"/>
                <a:gd name="T7" fmla="*/ 0 h 4"/>
                <a:gd name="T8" fmla="*/ 0 w 6"/>
                <a:gd name="T9" fmla="*/ 4 h 4"/>
                <a:gd name="T10" fmla="*/ 1 w 6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1" y="4"/>
                  </a:moveTo>
                  <a:cubicBezTo>
                    <a:pt x="1" y="4"/>
                    <a:pt x="3" y="3"/>
                    <a:pt x="3" y="3"/>
                  </a:cubicBezTo>
                  <a:cubicBezTo>
                    <a:pt x="4" y="3"/>
                    <a:pt x="6" y="2"/>
                    <a:pt x="6" y="1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1"/>
                    <a:pt x="2" y="3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2198" y="696"/>
              <a:ext cx="241" cy="142"/>
            </a:xfrm>
            <a:custGeom>
              <a:avLst/>
              <a:gdLst>
                <a:gd name="T0" fmla="*/ 0 w 34"/>
                <a:gd name="T1" fmla="*/ 7 h 20"/>
                <a:gd name="T2" fmla="*/ 2 w 34"/>
                <a:gd name="T3" fmla="*/ 6 h 20"/>
                <a:gd name="T4" fmla="*/ 3 w 34"/>
                <a:gd name="T5" fmla="*/ 5 h 20"/>
                <a:gd name="T6" fmla="*/ 4 w 34"/>
                <a:gd name="T7" fmla="*/ 7 h 20"/>
                <a:gd name="T8" fmla="*/ 6 w 34"/>
                <a:gd name="T9" fmla="*/ 7 h 20"/>
                <a:gd name="T10" fmla="*/ 5 w 34"/>
                <a:gd name="T11" fmla="*/ 10 h 20"/>
                <a:gd name="T12" fmla="*/ 4 w 34"/>
                <a:gd name="T13" fmla="*/ 11 h 20"/>
                <a:gd name="T14" fmla="*/ 7 w 34"/>
                <a:gd name="T15" fmla="*/ 11 h 20"/>
                <a:gd name="T16" fmla="*/ 9 w 34"/>
                <a:gd name="T17" fmla="*/ 9 h 20"/>
                <a:gd name="T18" fmla="*/ 11 w 34"/>
                <a:gd name="T19" fmla="*/ 8 h 20"/>
                <a:gd name="T20" fmla="*/ 11 w 34"/>
                <a:gd name="T21" fmla="*/ 10 h 20"/>
                <a:gd name="T22" fmla="*/ 8 w 34"/>
                <a:gd name="T23" fmla="*/ 12 h 20"/>
                <a:gd name="T24" fmla="*/ 5 w 34"/>
                <a:gd name="T25" fmla="*/ 13 h 20"/>
                <a:gd name="T26" fmla="*/ 2 w 34"/>
                <a:gd name="T27" fmla="*/ 14 h 20"/>
                <a:gd name="T28" fmla="*/ 2 w 34"/>
                <a:gd name="T29" fmla="*/ 17 h 20"/>
                <a:gd name="T30" fmla="*/ 4 w 34"/>
                <a:gd name="T31" fmla="*/ 16 h 20"/>
                <a:gd name="T32" fmla="*/ 10 w 34"/>
                <a:gd name="T33" fmla="*/ 16 h 20"/>
                <a:gd name="T34" fmla="*/ 13 w 34"/>
                <a:gd name="T35" fmla="*/ 17 h 20"/>
                <a:gd name="T36" fmla="*/ 15 w 34"/>
                <a:gd name="T37" fmla="*/ 18 h 20"/>
                <a:gd name="T38" fmla="*/ 17 w 34"/>
                <a:gd name="T39" fmla="*/ 18 h 20"/>
                <a:gd name="T40" fmla="*/ 19 w 34"/>
                <a:gd name="T41" fmla="*/ 19 h 20"/>
                <a:gd name="T42" fmla="*/ 22 w 34"/>
                <a:gd name="T43" fmla="*/ 19 h 20"/>
                <a:gd name="T44" fmla="*/ 24 w 34"/>
                <a:gd name="T45" fmla="*/ 18 h 20"/>
                <a:gd name="T46" fmla="*/ 26 w 34"/>
                <a:gd name="T47" fmla="*/ 18 h 20"/>
                <a:gd name="T48" fmla="*/ 26 w 34"/>
                <a:gd name="T49" fmla="*/ 15 h 20"/>
                <a:gd name="T50" fmla="*/ 22 w 34"/>
                <a:gd name="T51" fmla="*/ 13 h 20"/>
                <a:gd name="T52" fmla="*/ 22 w 34"/>
                <a:gd name="T53" fmla="*/ 12 h 20"/>
                <a:gd name="T54" fmla="*/ 26 w 34"/>
                <a:gd name="T55" fmla="*/ 13 h 20"/>
                <a:gd name="T56" fmla="*/ 29 w 34"/>
                <a:gd name="T57" fmla="*/ 13 h 20"/>
                <a:gd name="T58" fmla="*/ 32 w 34"/>
                <a:gd name="T59" fmla="*/ 12 h 20"/>
                <a:gd name="T60" fmla="*/ 34 w 34"/>
                <a:gd name="T61" fmla="*/ 10 h 20"/>
                <a:gd name="T62" fmla="*/ 28 w 34"/>
                <a:gd name="T63" fmla="*/ 9 h 20"/>
                <a:gd name="T64" fmla="*/ 25 w 34"/>
                <a:gd name="T65" fmla="*/ 7 h 20"/>
                <a:gd name="T66" fmla="*/ 22 w 34"/>
                <a:gd name="T67" fmla="*/ 7 h 20"/>
                <a:gd name="T68" fmla="*/ 22 w 34"/>
                <a:gd name="T69" fmla="*/ 3 h 20"/>
                <a:gd name="T70" fmla="*/ 14 w 34"/>
                <a:gd name="T71" fmla="*/ 2 h 20"/>
                <a:gd name="T72" fmla="*/ 8 w 34"/>
                <a:gd name="T73" fmla="*/ 0 h 20"/>
                <a:gd name="T74" fmla="*/ 0 w 34"/>
                <a:gd name="T75" fmla="*/ 7 h 20"/>
                <a:gd name="T76" fmla="*/ 0 w 34"/>
                <a:gd name="T77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4" h="20">
                  <a:moveTo>
                    <a:pt x="0" y="7"/>
                  </a:moveTo>
                  <a:cubicBezTo>
                    <a:pt x="0" y="7"/>
                    <a:pt x="2" y="7"/>
                    <a:pt x="2" y="6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2" y="7"/>
                    <a:pt x="4" y="7"/>
                  </a:cubicBezTo>
                  <a:cubicBezTo>
                    <a:pt x="5" y="6"/>
                    <a:pt x="5" y="6"/>
                    <a:pt x="6" y="7"/>
                  </a:cubicBezTo>
                  <a:cubicBezTo>
                    <a:pt x="7" y="7"/>
                    <a:pt x="5" y="9"/>
                    <a:pt x="5" y="10"/>
                  </a:cubicBezTo>
                  <a:cubicBezTo>
                    <a:pt x="4" y="10"/>
                    <a:pt x="3" y="11"/>
                    <a:pt x="4" y="11"/>
                  </a:cubicBezTo>
                  <a:cubicBezTo>
                    <a:pt x="6" y="11"/>
                    <a:pt x="7" y="11"/>
                    <a:pt x="7" y="11"/>
                  </a:cubicBezTo>
                  <a:cubicBezTo>
                    <a:pt x="7" y="11"/>
                    <a:pt x="8" y="9"/>
                    <a:pt x="9" y="9"/>
                  </a:cubicBezTo>
                  <a:cubicBezTo>
                    <a:pt x="9" y="8"/>
                    <a:pt x="10" y="8"/>
                    <a:pt x="11" y="8"/>
                  </a:cubicBezTo>
                  <a:cubicBezTo>
                    <a:pt x="11" y="9"/>
                    <a:pt x="14" y="9"/>
                    <a:pt x="11" y="10"/>
                  </a:cubicBezTo>
                  <a:cubicBezTo>
                    <a:pt x="9" y="11"/>
                    <a:pt x="8" y="11"/>
                    <a:pt x="8" y="12"/>
                  </a:cubicBezTo>
                  <a:cubicBezTo>
                    <a:pt x="7" y="13"/>
                    <a:pt x="7" y="14"/>
                    <a:pt x="5" y="13"/>
                  </a:cubicBezTo>
                  <a:cubicBezTo>
                    <a:pt x="3" y="13"/>
                    <a:pt x="2" y="13"/>
                    <a:pt x="2" y="14"/>
                  </a:cubicBezTo>
                  <a:cubicBezTo>
                    <a:pt x="1" y="15"/>
                    <a:pt x="1" y="17"/>
                    <a:pt x="2" y="17"/>
                  </a:cubicBezTo>
                  <a:cubicBezTo>
                    <a:pt x="3" y="17"/>
                    <a:pt x="3" y="17"/>
                    <a:pt x="4" y="16"/>
                  </a:cubicBezTo>
                  <a:cubicBezTo>
                    <a:pt x="5" y="16"/>
                    <a:pt x="9" y="16"/>
                    <a:pt x="10" y="16"/>
                  </a:cubicBezTo>
                  <a:cubicBezTo>
                    <a:pt x="11" y="16"/>
                    <a:pt x="12" y="17"/>
                    <a:pt x="13" y="17"/>
                  </a:cubicBezTo>
                  <a:cubicBezTo>
                    <a:pt x="13" y="17"/>
                    <a:pt x="14" y="18"/>
                    <a:pt x="15" y="18"/>
                  </a:cubicBezTo>
                  <a:cubicBezTo>
                    <a:pt x="16" y="19"/>
                    <a:pt x="16" y="17"/>
                    <a:pt x="17" y="18"/>
                  </a:cubicBezTo>
                  <a:cubicBezTo>
                    <a:pt x="19" y="19"/>
                    <a:pt x="18" y="19"/>
                    <a:pt x="19" y="19"/>
                  </a:cubicBezTo>
                  <a:cubicBezTo>
                    <a:pt x="20" y="19"/>
                    <a:pt x="22" y="19"/>
                    <a:pt x="22" y="19"/>
                  </a:cubicBezTo>
                  <a:cubicBezTo>
                    <a:pt x="22" y="19"/>
                    <a:pt x="22" y="17"/>
                    <a:pt x="24" y="18"/>
                  </a:cubicBezTo>
                  <a:cubicBezTo>
                    <a:pt x="25" y="18"/>
                    <a:pt x="26" y="20"/>
                    <a:pt x="26" y="18"/>
                  </a:cubicBezTo>
                  <a:cubicBezTo>
                    <a:pt x="26" y="17"/>
                    <a:pt x="27" y="16"/>
                    <a:pt x="26" y="15"/>
                  </a:cubicBezTo>
                  <a:cubicBezTo>
                    <a:pt x="24" y="14"/>
                    <a:pt x="22" y="14"/>
                    <a:pt x="22" y="13"/>
                  </a:cubicBezTo>
                  <a:cubicBezTo>
                    <a:pt x="22" y="13"/>
                    <a:pt x="22" y="12"/>
                    <a:pt x="22" y="12"/>
                  </a:cubicBezTo>
                  <a:cubicBezTo>
                    <a:pt x="23" y="11"/>
                    <a:pt x="25" y="12"/>
                    <a:pt x="26" y="13"/>
                  </a:cubicBezTo>
                  <a:cubicBezTo>
                    <a:pt x="27" y="13"/>
                    <a:pt x="28" y="14"/>
                    <a:pt x="29" y="13"/>
                  </a:cubicBezTo>
                  <a:cubicBezTo>
                    <a:pt x="30" y="13"/>
                    <a:pt x="31" y="12"/>
                    <a:pt x="32" y="12"/>
                  </a:cubicBezTo>
                  <a:cubicBezTo>
                    <a:pt x="32" y="11"/>
                    <a:pt x="34" y="10"/>
                    <a:pt x="34" y="10"/>
                  </a:cubicBezTo>
                  <a:cubicBezTo>
                    <a:pt x="34" y="10"/>
                    <a:pt x="29" y="9"/>
                    <a:pt x="28" y="9"/>
                  </a:cubicBezTo>
                  <a:cubicBezTo>
                    <a:pt x="28" y="8"/>
                    <a:pt x="26" y="7"/>
                    <a:pt x="25" y="7"/>
                  </a:cubicBezTo>
                  <a:cubicBezTo>
                    <a:pt x="25" y="7"/>
                    <a:pt x="23" y="8"/>
                    <a:pt x="22" y="7"/>
                  </a:cubicBezTo>
                  <a:cubicBezTo>
                    <a:pt x="22" y="5"/>
                    <a:pt x="22" y="3"/>
                    <a:pt x="22" y="3"/>
                  </a:cubicBezTo>
                  <a:cubicBezTo>
                    <a:pt x="21" y="3"/>
                    <a:pt x="15" y="3"/>
                    <a:pt x="14" y="2"/>
                  </a:cubicBezTo>
                  <a:cubicBezTo>
                    <a:pt x="13" y="2"/>
                    <a:pt x="10" y="1"/>
                    <a:pt x="8" y="0"/>
                  </a:cubicBezTo>
                  <a:cubicBezTo>
                    <a:pt x="5" y="2"/>
                    <a:pt x="3" y="4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793" y="831"/>
              <a:ext cx="995" cy="1770"/>
            </a:xfrm>
            <a:custGeom>
              <a:avLst/>
              <a:gdLst>
                <a:gd name="T0" fmla="*/ 82 w 140"/>
                <a:gd name="T1" fmla="*/ 249 h 249"/>
                <a:gd name="T2" fmla="*/ 81 w 140"/>
                <a:gd name="T3" fmla="*/ 242 h 249"/>
                <a:gd name="T4" fmla="*/ 86 w 140"/>
                <a:gd name="T5" fmla="*/ 233 h 249"/>
                <a:gd name="T6" fmla="*/ 89 w 140"/>
                <a:gd name="T7" fmla="*/ 227 h 249"/>
                <a:gd name="T8" fmla="*/ 95 w 140"/>
                <a:gd name="T9" fmla="*/ 217 h 249"/>
                <a:gd name="T10" fmla="*/ 109 w 140"/>
                <a:gd name="T11" fmla="*/ 211 h 249"/>
                <a:gd name="T12" fmla="*/ 122 w 140"/>
                <a:gd name="T13" fmla="*/ 197 h 249"/>
                <a:gd name="T14" fmla="*/ 133 w 140"/>
                <a:gd name="T15" fmla="*/ 175 h 249"/>
                <a:gd name="T16" fmla="*/ 127 w 140"/>
                <a:gd name="T17" fmla="*/ 151 h 249"/>
                <a:gd name="T18" fmla="*/ 109 w 140"/>
                <a:gd name="T19" fmla="*/ 150 h 249"/>
                <a:gd name="T20" fmla="*/ 109 w 140"/>
                <a:gd name="T21" fmla="*/ 141 h 249"/>
                <a:gd name="T22" fmla="*/ 90 w 140"/>
                <a:gd name="T23" fmla="*/ 124 h 249"/>
                <a:gd name="T24" fmla="*/ 84 w 140"/>
                <a:gd name="T25" fmla="*/ 119 h 249"/>
                <a:gd name="T26" fmla="*/ 72 w 140"/>
                <a:gd name="T27" fmla="*/ 118 h 249"/>
                <a:gd name="T28" fmla="*/ 65 w 140"/>
                <a:gd name="T29" fmla="*/ 113 h 249"/>
                <a:gd name="T30" fmla="*/ 50 w 140"/>
                <a:gd name="T31" fmla="*/ 119 h 249"/>
                <a:gd name="T32" fmla="*/ 41 w 140"/>
                <a:gd name="T33" fmla="*/ 104 h 249"/>
                <a:gd name="T34" fmla="*/ 36 w 140"/>
                <a:gd name="T35" fmla="*/ 92 h 249"/>
                <a:gd name="T36" fmla="*/ 23 w 140"/>
                <a:gd name="T37" fmla="*/ 98 h 249"/>
                <a:gd name="T38" fmla="*/ 25 w 140"/>
                <a:gd name="T39" fmla="*/ 74 h 249"/>
                <a:gd name="T40" fmla="*/ 40 w 140"/>
                <a:gd name="T41" fmla="*/ 71 h 249"/>
                <a:gd name="T42" fmla="*/ 49 w 140"/>
                <a:gd name="T43" fmla="*/ 78 h 249"/>
                <a:gd name="T44" fmla="*/ 57 w 140"/>
                <a:gd name="T45" fmla="*/ 53 h 249"/>
                <a:gd name="T46" fmla="*/ 65 w 140"/>
                <a:gd name="T47" fmla="*/ 46 h 249"/>
                <a:gd name="T48" fmla="*/ 76 w 140"/>
                <a:gd name="T49" fmla="*/ 37 h 249"/>
                <a:gd name="T50" fmla="*/ 88 w 140"/>
                <a:gd name="T51" fmla="*/ 32 h 249"/>
                <a:gd name="T52" fmla="*/ 80 w 140"/>
                <a:gd name="T53" fmla="*/ 30 h 249"/>
                <a:gd name="T54" fmla="*/ 72 w 140"/>
                <a:gd name="T55" fmla="*/ 26 h 249"/>
                <a:gd name="T56" fmla="*/ 86 w 140"/>
                <a:gd name="T57" fmla="*/ 25 h 249"/>
                <a:gd name="T58" fmla="*/ 91 w 140"/>
                <a:gd name="T59" fmla="*/ 28 h 249"/>
                <a:gd name="T60" fmla="*/ 102 w 140"/>
                <a:gd name="T61" fmla="*/ 30 h 249"/>
                <a:gd name="T62" fmla="*/ 96 w 140"/>
                <a:gd name="T63" fmla="*/ 23 h 249"/>
                <a:gd name="T64" fmla="*/ 88 w 140"/>
                <a:gd name="T65" fmla="*/ 12 h 249"/>
                <a:gd name="T66" fmla="*/ 73 w 140"/>
                <a:gd name="T67" fmla="*/ 6 h 249"/>
                <a:gd name="T68" fmla="*/ 58 w 140"/>
                <a:gd name="T69" fmla="*/ 4 h 249"/>
                <a:gd name="T70" fmla="*/ 56 w 140"/>
                <a:gd name="T71" fmla="*/ 15 h 249"/>
                <a:gd name="T72" fmla="*/ 51 w 140"/>
                <a:gd name="T73" fmla="*/ 21 h 249"/>
                <a:gd name="T74" fmla="*/ 42 w 140"/>
                <a:gd name="T75" fmla="*/ 15 h 249"/>
                <a:gd name="T76" fmla="*/ 2 w 140"/>
                <a:gd name="T77" fmla="*/ 80 h 249"/>
                <a:gd name="T78" fmla="*/ 14 w 140"/>
                <a:gd name="T79" fmla="*/ 101 h 249"/>
                <a:gd name="T80" fmla="*/ 27 w 140"/>
                <a:gd name="T81" fmla="*/ 107 h 249"/>
                <a:gd name="T82" fmla="*/ 40 w 140"/>
                <a:gd name="T83" fmla="*/ 120 h 249"/>
                <a:gd name="T84" fmla="*/ 52 w 140"/>
                <a:gd name="T85" fmla="*/ 123 h 249"/>
                <a:gd name="T86" fmla="*/ 48 w 140"/>
                <a:gd name="T87" fmla="*/ 144 h 249"/>
                <a:gd name="T88" fmla="*/ 58 w 140"/>
                <a:gd name="T89" fmla="*/ 174 h 249"/>
                <a:gd name="T90" fmla="*/ 71 w 140"/>
                <a:gd name="T91" fmla="*/ 198 h 249"/>
                <a:gd name="T92" fmla="*/ 70 w 140"/>
                <a:gd name="T93" fmla="*/ 217 h 249"/>
                <a:gd name="T94" fmla="*/ 70 w 140"/>
                <a:gd name="T95" fmla="*/ 231 h 249"/>
                <a:gd name="T96" fmla="*/ 71 w 140"/>
                <a:gd name="T97" fmla="*/ 241 h 249"/>
                <a:gd name="T98" fmla="*/ 75 w 140"/>
                <a:gd name="T99" fmla="*/ 247 h 249"/>
                <a:gd name="T100" fmla="*/ 54 w 140"/>
                <a:gd name="T101" fmla="*/ 42 h 249"/>
                <a:gd name="T102" fmla="*/ 55 w 140"/>
                <a:gd name="T103" fmla="*/ 38 h 249"/>
                <a:gd name="T104" fmla="*/ 48 w 140"/>
                <a:gd name="T105" fmla="*/ 42 h 249"/>
                <a:gd name="T106" fmla="*/ 39 w 140"/>
                <a:gd name="T107" fmla="*/ 46 h 249"/>
                <a:gd name="T108" fmla="*/ 50 w 140"/>
                <a:gd name="T109" fmla="*/ 34 h 249"/>
                <a:gd name="T110" fmla="*/ 40 w 140"/>
                <a:gd name="T111" fmla="*/ 3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0" h="249">
                  <a:moveTo>
                    <a:pt x="77" y="248"/>
                  </a:moveTo>
                  <a:cubicBezTo>
                    <a:pt x="78" y="248"/>
                    <a:pt x="79" y="248"/>
                    <a:pt x="78" y="246"/>
                  </a:cubicBezTo>
                  <a:cubicBezTo>
                    <a:pt x="78" y="245"/>
                    <a:pt x="81" y="246"/>
                    <a:pt x="80" y="247"/>
                  </a:cubicBezTo>
                  <a:cubicBezTo>
                    <a:pt x="78" y="248"/>
                    <a:pt x="78" y="248"/>
                    <a:pt x="78" y="248"/>
                  </a:cubicBezTo>
                  <a:cubicBezTo>
                    <a:pt x="79" y="248"/>
                    <a:pt x="81" y="249"/>
                    <a:pt x="82" y="249"/>
                  </a:cubicBezTo>
                  <a:cubicBezTo>
                    <a:pt x="83" y="249"/>
                    <a:pt x="86" y="249"/>
                    <a:pt x="86" y="249"/>
                  </a:cubicBezTo>
                  <a:cubicBezTo>
                    <a:pt x="86" y="249"/>
                    <a:pt x="89" y="248"/>
                    <a:pt x="90" y="248"/>
                  </a:cubicBezTo>
                  <a:cubicBezTo>
                    <a:pt x="90" y="248"/>
                    <a:pt x="87" y="248"/>
                    <a:pt x="86" y="248"/>
                  </a:cubicBezTo>
                  <a:cubicBezTo>
                    <a:pt x="84" y="247"/>
                    <a:pt x="82" y="246"/>
                    <a:pt x="81" y="245"/>
                  </a:cubicBezTo>
                  <a:cubicBezTo>
                    <a:pt x="81" y="244"/>
                    <a:pt x="80" y="243"/>
                    <a:pt x="81" y="242"/>
                  </a:cubicBezTo>
                  <a:cubicBezTo>
                    <a:pt x="82" y="242"/>
                    <a:pt x="84" y="240"/>
                    <a:pt x="85" y="240"/>
                  </a:cubicBezTo>
                  <a:cubicBezTo>
                    <a:pt x="85" y="240"/>
                    <a:pt x="86" y="238"/>
                    <a:pt x="85" y="238"/>
                  </a:cubicBezTo>
                  <a:cubicBezTo>
                    <a:pt x="85" y="237"/>
                    <a:pt x="83" y="237"/>
                    <a:pt x="82" y="237"/>
                  </a:cubicBezTo>
                  <a:cubicBezTo>
                    <a:pt x="82" y="237"/>
                    <a:pt x="82" y="236"/>
                    <a:pt x="83" y="235"/>
                  </a:cubicBezTo>
                  <a:cubicBezTo>
                    <a:pt x="85" y="234"/>
                    <a:pt x="85" y="233"/>
                    <a:pt x="86" y="233"/>
                  </a:cubicBezTo>
                  <a:cubicBezTo>
                    <a:pt x="86" y="232"/>
                    <a:pt x="87" y="232"/>
                    <a:pt x="88" y="231"/>
                  </a:cubicBezTo>
                  <a:cubicBezTo>
                    <a:pt x="88" y="230"/>
                    <a:pt x="87" y="230"/>
                    <a:pt x="86" y="230"/>
                  </a:cubicBezTo>
                  <a:cubicBezTo>
                    <a:pt x="85" y="230"/>
                    <a:pt x="85" y="229"/>
                    <a:pt x="84" y="228"/>
                  </a:cubicBezTo>
                  <a:cubicBezTo>
                    <a:pt x="84" y="227"/>
                    <a:pt x="87" y="228"/>
                    <a:pt x="89" y="229"/>
                  </a:cubicBezTo>
                  <a:cubicBezTo>
                    <a:pt x="90" y="229"/>
                    <a:pt x="89" y="228"/>
                    <a:pt x="89" y="227"/>
                  </a:cubicBezTo>
                  <a:cubicBezTo>
                    <a:pt x="89" y="226"/>
                    <a:pt x="89" y="225"/>
                    <a:pt x="90" y="225"/>
                  </a:cubicBezTo>
                  <a:cubicBezTo>
                    <a:pt x="91" y="226"/>
                    <a:pt x="96" y="225"/>
                    <a:pt x="96" y="225"/>
                  </a:cubicBezTo>
                  <a:cubicBezTo>
                    <a:pt x="97" y="225"/>
                    <a:pt x="98" y="223"/>
                    <a:pt x="99" y="222"/>
                  </a:cubicBezTo>
                  <a:cubicBezTo>
                    <a:pt x="99" y="221"/>
                    <a:pt x="100" y="221"/>
                    <a:pt x="99" y="220"/>
                  </a:cubicBezTo>
                  <a:cubicBezTo>
                    <a:pt x="98" y="220"/>
                    <a:pt x="95" y="218"/>
                    <a:pt x="95" y="217"/>
                  </a:cubicBezTo>
                  <a:cubicBezTo>
                    <a:pt x="95" y="217"/>
                    <a:pt x="96" y="214"/>
                    <a:pt x="96" y="213"/>
                  </a:cubicBezTo>
                  <a:cubicBezTo>
                    <a:pt x="96" y="213"/>
                    <a:pt x="96" y="218"/>
                    <a:pt x="99" y="219"/>
                  </a:cubicBezTo>
                  <a:cubicBezTo>
                    <a:pt x="101" y="219"/>
                    <a:pt x="102" y="220"/>
                    <a:pt x="104" y="218"/>
                  </a:cubicBezTo>
                  <a:cubicBezTo>
                    <a:pt x="106" y="216"/>
                    <a:pt x="107" y="215"/>
                    <a:pt x="108" y="214"/>
                  </a:cubicBezTo>
                  <a:cubicBezTo>
                    <a:pt x="108" y="212"/>
                    <a:pt x="108" y="211"/>
                    <a:pt x="109" y="211"/>
                  </a:cubicBezTo>
                  <a:cubicBezTo>
                    <a:pt x="110" y="210"/>
                    <a:pt x="110" y="211"/>
                    <a:pt x="111" y="208"/>
                  </a:cubicBezTo>
                  <a:cubicBezTo>
                    <a:pt x="112" y="206"/>
                    <a:pt x="113" y="208"/>
                    <a:pt x="114" y="206"/>
                  </a:cubicBezTo>
                  <a:cubicBezTo>
                    <a:pt x="115" y="204"/>
                    <a:pt x="112" y="202"/>
                    <a:pt x="114" y="201"/>
                  </a:cubicBezTo>
                  <a:cubicBezTo>
                    <a:pt x="116" y="199"/>
                    <a:pt x="119" y="198"/>
                    <a:pt x="119" y="198"/>
                  </a:cubicBezTo>
                  <a:cubicBezTo>
                    <a:pt x="119" y="198"/>
                    <a:pt x="120" y="197"/>
                    <a:pt x="122" y="197"/>
                  </a:cubicBezTo>
                  <a:cubicBezTo>
                    <a:pt x="124" y="196"/>
                    <a:pt x="126" y="197"/>
                    <a:pt x="127" y="196"/>
                  </a:cubicBezTo>
                  <a:cubicBezTo>
                    <a:pt x="127" y="194"/>
                    <a:pt x="128" y="192"/>
                    <a:pt x="129" y="191"/>
                  </a:cubicBezTo>
                  <a:cubicBezTo>
                    <a:pt x="130" y="190"/>
                    <a:pt x="131" y="188"/>
                    <a:pt x="131" y="187"/>
                  </a:cubicBezTo>
                  <a:cubicBezTo>
                    <a:pt x="130" y="186"/>
                    <a:pt x="132" y="182"/>
                    <a:pt x="132" y="181"/>
                  </a:cubicBezTo>
                  <a:cubicBezTo>
                    <a:pt x="132" y="180"/>
                    <a:pt x="130" y="177"/>
                    <a:pt x="133" y="175"/>
                  </a:cubicBezTo>
                  <a:cubicBezTo>
                    <a:pt x="135" y="172"/>
                    <a:pt x="138" y="169"/>
                    <a:pt x="138" y="168"/>
                  </a:cubicBezTo>
                  <a:cubicBezTo>
                    <a:pt x="138" y="167"/>
                    <a:pt x="140" y="163"/>
                    <a:pt x="140" y="161"/>
                  </a:cubicBezTo>
                  <a:cubicBezTo>
                    <a:pt x="140" y="159"/>
                    <a:pt x="138" y="156"/>
                    <a:pt x="137" y="156"/>
                  </a:cubicBezTo>
                  <a:cubicBezTo>
                    <a:pt x="136" y="155"/>
                    <a:pt x="133" y="155"/>
                    <a:pt x="132" y="153"/>
                  </a:cubicBezTo>
                  <a:cubicBezTo>
                    <a:pt x="131" y="152"/>
                    <a:pt x="128" y="150"/>
                    <a:pt x="127" y="151"/>
                  </a:cubicBezTo>
                  <a:cubicBezTo>
                    <a:pt x="126" y="151"/>
                    <a:pt x="124" y="151"/>
                    <a:pt x="122" y="150"/>
                  </a:cubicBezTo>
                  <a:cubicBezTo>
                    <a:pt x="121" y="149"/>
                    <a:pt x="119" y="148"/>
                    <a:pt x="118" y="147"/>
                  </a:cubicBezTo>
                  <a:cubicBezTo>
                    <a:pt x="117" y="146"/>
                    <a:pt x="115" y="146"/>
                    <a:pt x="114" y="146"/>
                  </a:cubicBezTo>
                  <a:cubicBezTo>
                    <a:pt x="113" y="146"/>
                    <a:pt x="113" y="145"/>
                    <a:pt x="111" y="147"/>
                  </a:cubicBezTo>
                  <a:cubicBezTo>
                    <a:pt x="110" y="150"/>
                    <a:pt x="111" y="151"/>
                    <a:pt x="109" y="150"/>
                  </a:cubicBezTo>
                  <a:cubicBezTo>
                    <a:pt x="106" y="150"/>
                    <a:pt x="109" y="150"/>
                    <a:pt x="110" y="147"/>
                  </a:cubicBezTo>
                  <a:cubicBezTo>
                    <a:pt x="112" y="145"/>
                    <a:pt x="110" y="143"/>
                    <a:pt x="108" y="144"/>
                  </a:cubicBezTo>
                  <a:cubicBezTo>
                    <a:pt x="107" y="144"/>
                    <a:pt x="108" y="146"/>
                    <a:pt x="105" y="146"/>
                  </a:cubicBezTo>
                  <a:cubicBezTo>
                    <a:pt x="102" y="147"/>
                    <a:pt x="102" y="145"/>
                    <a:pt x="104" y="144"/>
                  </a:cubicBezTo>
                  <a:cubicBezTo>
                    <a:pt x="106" y="144"/>
                    <a:pt x="109" y="142"/>
                    <a:pt x="109" y="141"/>
                  </a:cubicBezTo>
                  <a:cubicBezTo>
                    <a:pt x="109" y="141"/>
                    <a:pt x="109" y="138"/>
                    <a:pt x="107" y="138"/>
                  </a:cubicBezTo>
                  <a:cubicBezTo>
                    <a:pt x="106" y="138"/>
                    <a:pt x="106" y="136"/>
                    <a:pt x="104" y="134"/>
                  </a:cubicBezTo>
                  <a:cubicBezTo>
                    <a:pt x="102" y="131"/>
                    <a:pt x="99" y="128"/>
                    <a:pt x="97" y="128"/>
                  </a:cubicBezTo>
                  <a:cubicBezTo>
                    <a:pt x="95" y="129"/>
                    <a:pt x="94" y="131"/>
                    <a:pt x="92" y="128"/>
                  </a:cubicBezTo>
                  <a:cubicBezTo>
                    <a:pt x="91" y="126"/>
                    <a:pt x="90" y="126"/>
                    <a:pt x="90" y="124"/>
                  </a:cubicBezTo>
                  <a:cubicBezTo>
                    <a:pt x="89" y="123"/>
                    <a:pt x="87" y="124"/>
                    <a:pt x="87" y="124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6" y="123"/>
                    <a:pt x="84" y="124"/>
                    <a:pt x="85" y="122"/>
                  </a:cubicBezTo>
                  <a:cubicBezTo>
                    <a:pt x="86" y="120"/>
                    <a:pt x="87" y="116"/>
                    <a:pt x="86" y="117"/>
                  </a:cubicBezTo>
                  <a:cubicBezTo>
                    <a:pt x="86" y="117"/>
                    <a:pt x="85" y="120"/>
                    <a:pt x="84" y="119"/>
                  </a:cubicBezTo>
                  <a:cubicBezTo>
                    <a:pt x="83" y="119"/>
                    <a:pt x="84" y="119"/>
                    <a:pt x="82" y="118"/>
                  </a:cubicBezTo>
                  <a:cubicBezTo>
                    <a:pt x="80" y="116"/>
                    <a:pt x="78" y="117"/>
                    <a:pt x="78" y="118"/>
                  </a:cubicBezTo>
                  <a:cubicBezTo>
                    <a:pt x="78" y="119"/>
                    <a:pt x="77" y="120"/>
                    <a:pt x="77" y="120"/>
                  </a:cubicBezTo>
                  <a:cubicBezTo>
                    <a:pt x="77" y="120"/>
                    <a:pt x="77" y="120"/>
                    <a:pt x="76" y="118"/>
                  </a:cubicBezTo>
                  <a:cubicBezTo>
                    <a:pt x="76" y="117"/>
                    <a:pt x="73" y="117"/>
                    <a:pt x="72" y="118"/>
                  </a:cubicBezTo>
                  <a:cubicBezTo>
                    <a:pt x="71" y="119"/>
                    <a:pt x="70" y="115"/>
                    <a:pt x="69" y="115"/>
                  </a:cubicBezTo>
                  <a:cubicBezTo>
                    <a:pt x="69" y="115"/>
                    <a:pt x="67" y="116"/>
                    <a:pt x="66" y="118"/>
                  </a:cubicBezTo>
                  <a:cubicBezTo>
                    <a:pt x="65" y="120"/>
                    <a:pt x="66" y="122"/>
                    <a:pt x="65" y="122"/>
                  </a:cubicBezTo>
                  <a:cubicBezTo>
                    <a:pt x="64" y="122"/>
                    <a:pt x="64" y="118"/>
                    <a:pt x="64" y="117"/>
                  </a:cubicBezTo>
                  <a:cubicBezTo>
                    <a:pt x="65" y="116"/>
                    <a:pt x="66" y="114"/>
                    <a:pt x="65" y="113"/>
                  </a:cubicBezTo>
                  <a:cubicBezTo>
                    <a:pt x="64" y="113"/>
                    <a:pt x="62" y="116"/>
                    <a:pt x="61" y="116"/>
                  </a:cubicBezTo>
                  <a:cubicBezTo>
                    <a:pt x="60" y="116"/>
                    <a:pt x="59" y="117"/>
                    <a:pt x="58" y="119"/>
                  </a:cubicBezTo>
                  <a:cubicBezTo>
                    <a:pt x="57" y="120"/>
                    <a:pt x="56" y="121"/>
                    <a:pt x="55" y="122"/>
                  </a:cubicBezTo>
                  <a:cubicBezTo>
                    <a:pt x="55" y="123"/>
                    <a:pt x="53" y="122"/>
                    <a:pt x="53" y="121"/>
                  </a:cubicBezTo>
                  <a:cubicBezTo>
                    <a:pt x="54" y="121"/>
                    <a:pt x="51" y="119"/>
                    <a:pt x="50" y="119"/>
                  </a:cubicBezTo>
                  <a:cubicBezTo>
                    <a:pt x="50" y="120"/>
                    <a:pt x="49" y="121"/>
                    <a:pt x="47" y="121"/>
                  </a:cubicBezTo>
                  <a:cubicBezTo>
                    <a:pt x="46" y="122"/>
                    <a:pt x="45" y="120"/>
                    <a:pt x="44" y="120"/>
                  </a:cubicBezTo>
                  <a:cubicBezTo>
                    <a:pt x="44" y="119"/>
                    <a:pt x="43" y="119"/>
                    <a:pt x="43" y="116"/>
                  </a:cubicBezTo>
                  <a:cubicBezTo>
                    <a:pt x="43" y="113"/>
                    <a:pt x="43" y="111"/>
                    <a:pt x="44" y="109"/>
                  </a:cubicBezTo>
                  <a:cubicBezTo>
                    <a:pt x="44" y="107"/>
                    <a:pt x="42" y="104"/>
                    <a:pt x="41" y="104"/>
                  </a:cubicBezTo>
                  <a:cubicBezTo>
                    <a:pt x="40" y="105"/>
                    <a:pt x="39" y="106"/>
                    <a:pt x="38" y="106"/>
                  </a:cubicBezTo>
                  <a:cubicBezTo>
                    <a:pt x="37" y="106"/>
                    <a:pt x="37" y="105"/>
                    <a:pt x="35" y="105"/>
                  </a:cubicBezTo>
                  <a:cubicBezTo>
                    <a:pt x="34" y="105"/>
                    <a:pt x="35" y="105"/>
                    <a:pt x="35" y="103"/>
                  </a:cubicBezTo>
                  <a:cubicBezTo>
                    <a:pt x="36" y="101"/>
                    <a:pt x="35" y="99"/>
                    <a:pt x="36" y="97"/>
                  </a:cubicBezTo>
                  <a:cubicBezTo>
                    <a:pt x="38" y="96"/>
                    <a:pt x="37" y="92"/>
                    <a:pt x="36" y="92"/>
                  </a:cubicBezTo>
                  <a:cubicBezTo>
                    <a:pt x="35" y="92"/>
                    <a:pt x="34" y="92"/>
                    <a:pt x="32" y="92"/>
                  </a:cubicBezTo>
                  <a:cubicBezTo>
                    <a:pt x="31" y="92"/>
                    <a:pt x="30" y="94"/>
                    <a:pt x="31" y="95"/>
                  </a:cubicBezTo>
                  <a:cubicBezTo>
                    <a:pt x="31" y="97"/>
                    <a:pt x="30" y="98"/>
                    <a:pt x="29" y="98"/>
                  </a:cubicBezTo>
                  <a:cubicBezTo>
                    <a:pt x="29" y="98"/>
                    <a:pt x="28" y="97"/>
                    <a:pt x="27" y="99"/>
                  </a:cubicBezTo>
                  <a:cubicBezTo>
                    <a:pt x="25" y="100"/>
                    <a:pt x="25" y="100"/>
                    <a:pt x="23" y="98"/>
                  </a:cubicBezTo>
                  <a:cubicBezTo>
                    <a:pt x="22" y="96"/>
                    <a:pt x="20" y="94"/>
                    <a:pt x="20" y="92"/>
                  </a:cubicBezTo>
                  <a:cubicBezTo>
                    <a:pt x="20" y="89"/>
                    <a:pt x="20" y="86"/>
                    <a:pt x="20" y="85"/>
                  </a:cubicBezTo>
                  <a:cubicBezTo>
                    <a:pt x="21" y="83"/>
                    <a:pt x="21" y="81"/>
                    <a:pt x="20" y="80"/>
                  </a:cubicBezTo>
                  <a:cubicBezTo>
                    <a:pt x="19" y="80"/>
                    <a:pt x="21" y="78"/>
                    <a:pt x="22" y="77"/>
                  </a:cubicBezTo>
                  <a:cubicBezTo>
                    <a:pt x="23" y="77"/>
                    <a:pt x="25" y="75"/>
                    <a:pt x="25" y="74"/>
                  </a:cubicBezTo>
                  <a:cubicBezTo>
                    <a:pt x="25" y="74"/>
                    <a:pt x="26" y="74"/>
                    <a:pt x="28" y="74"/>
                  </a:cubicBezTo>
                  <a:cubicBezTo>
                    <a:pt x="30" y="74"/>
                    <a:pt x="30" y="74"/>
                    <a:pt x="31" y="75"/>
                  </a:cubicBezTo>
                  <a:cubicBezTo>
                    <a:pt x="33" y="76"/>
                    <a:pt x="33" y="74"/>
                    <a:pt x="33" y="74"/>
                  </a:cubicBezTo>
                  <a:cubicBezTo>
                    <a:pt x="33" y="73"/>
                    <a:pt x="34" y="72"/>
                    <a:pt x="36" y="73"/>
                  </a:cubicBezTo>
                  <a:cubicBezTo>
                    <a:pt x="37" y="73"/>
                    <a:pt x="40" y="71"/>
                    <a:pt x="40" y="71"/>
                  </a:cubicBezTo>
                  <a:cubicBezTo>
                    <a:pt x="40" y="72"/>
                    <a:pt x="41" y="74"/>
                    <a:pt x="42" y="74"/>
                  </a:cubicBezTo>
                  <a:cubicBezTo>
                    <a:pt x="43" y="73"/>
                    <a:pt x="43" y="71"/>
                    <a:pt x="44" y="74"/>
                  </a:cubicBezTo>
                  <a:cubicBezTo>
                    <a:pt x="44" y="76"/>
                    <a:pt x="45" y="80"/>
                    <a:pt x="46" y="80"/>
                  </a:cubicBezTo>
                  <a:cubicBezTo>
                    <a:pt x="47" y="81"/>
                    <a:pt x="46" y="83"/>
                    <a:pt x="48" y="83"/>
                  </a:cubicBezTo>
                  <a:cubicBezTo>
                    <a:pt x="49" y="83"/>
                    <a:pt x="50" y="79"/>
                    <a:pt x="49" y="78"/>
                  </a:cubicBezTo>
                  <a:cubicBezTo>
                    <a:pt x="49" y="77"/>
                    <a:pt x="48" y="73"/>
                    <a:pt x="47" y="72"/>
                  </a:cubicBezTo>
                  <a:cubicBezTo>
                    <a:pt x="47" y="71"/>
                    <a:pt x="48" y="68"/>
                    <a:pt x="50" y="67"/>
                  </a:cubicBezTo>
                  <a:cubicBezTo>
                    <a:pt x="51" y="66"/>
                    <a:pt x="54" y="62"/>
                    <a:pt x="55" y="61"/>
                  </a:cubicBezTo>
                  <a:cubicBezTo>
                    <a:pt x="56" y="60"/>
                    <a:pt x="60" y="59"/>
                    <a:pt x="59" y="58"/>
                  </a:cubicBezTo>
                  <a:cubicBezTo>
                    <a:pt x="58" y="56"/>
                    <a:pt x="57" y="55"/>
                    <a:pt x="57" y="53"/>
                  </a:cubicBezTo>
                  <a:cubicBezTo>
                    <a:pt x="57" y="52"/>
                    <a:pt x="58" y="53"/>
                    <a:pt x="58" y="53"/>
                  </a:cubicBezTo>
                  <a:cubicBezTo>
                    <a:pt x="59" y="54"/>
                    <a:pt x="61" y="52"/>
                    <a:pt x="60" y="51"/>
                  </a:cubicBezTo>
                  <a:cubicBezTo>
                    <a:pt x="60" y="50"/>
                    <a:pt x="60" y="49"/>
                    <a:pt x="61" y="49"/>
                  </a:cubicBezTo>
                  <a:cubicBezTo>
                    <a:pt x="62" y="49"/>
                    <a:pt x="63" y="48"/>
                    <a:pt x="62" y="47"/>
                  </a:cubicBezTo>
                  <a:cubicBezTo>
                    <a:pt x="62" y="46"/>
                    <a:pt x="64" y="45"/>
                    <a:pt x="65" y="46"/>
                  </a:cubicBezTo>
                  <a:cubicBezTo>
                    <a:pt x="66" y="46"/>
                    <a:pt x="69" y="46"/>
                    <a:pt x="70" y="45"/>
                  </a:cubicBezTo>
                  <a:cubicBezTo>
                    <a:pt x="70" y="45"/>
                    <a:pt x="68" y="43"/>
                    <a:pt x="68" y="42"/>
                  </a:cubicBezTo>
                  <a:cubicBezTo>
                    <a:pt x="68" y="40"/>
                    <a:pt x="70" y="39"/>
                    <a:pt x="72" y="38"/>
                  </a:cubicBezTo>
                  <a:cubicBezTo>
                    <a:pt x="73" y="38"/>
                    <a:pt x="74" y="38"/>
                    <a:pt x="74" y="38"/>
                  </a:cubicBezTo>
                  <a:cubicBezTo>
                    <a:pt x="75" y="37"/>
                    <a:pt x="76" y="35"/>
                    <a:pt x="76" y="37"/>
                  </a:cubicBezTo>
                  <a:cubicBezTo>
                    <a:pt x="76" y="38"/>
                    <a:pt x="76" y="40"/>
                    <a:pt x="77" y="40"/>
                  </a:cubicBezTo>
                  <a:cubicBezTo>
                    <a:pt x="79" y="40"/>
                    <a:pt x="80" y="38"/>
                    <a:pt x="81" y="38"/>
                  </a:cubicBezTo>
                  <a:cubicBezTo>
                    <a:pt x="81" y="38"/>
                    <a:pt x="85" y="37"/>
                    <a:pt x="85" y="37"/>
                  </a:cubicBezTo>
                  <a:cubicBezTo>
                    <a:pt x="86" y="37"/>
                    <a:pt x="90" y="36"/>
                    <a:pt x="90" y="35"/>
                  </a:cubicBezTo>
                  <a:cubicBezTo>
                    <a:pt x="89" y="34"/>
                    <a:pt x="89" y="32"/>
                    <a:pt x="88" y="32"/>
                  </a:cubicBezTo>
                  <a:cubicBezTo>
                    <a:pt x="88" y="31"/>
                    <a:pt x="87" y="32"/>
                    <a:pt x="86" y="33"/>
                  </a:cubicBezTo>
                  <a:cubicBezTo>
                    <a:pt x="86" y="34"/>
                    <a:pt x="85" y="34"/>
                    <a:pt x="84" y="33"/>
                  </a:cubicBezTo>
                  <a:cubicBezTo>
                    <a:pt x="84" y="32"/>
                    <a:pt x="85" y="30"/>
                    <a:pt x="83" y="31"/>
                  </a:cubicBezTo>
                  <a:cubicBezTo>
                    <a:pt x="82" y="32"/>
                    <a:pt x="82" y="32"/>
                    <a:pt x="81" y="32"/>
                  </a:cubicBezTo>
                  <a:cubicBezTo>
                    <a:pt x="81" y="32"/>
                    <a:pt x="80" y="30"/>
                    <a:pt x="80" y="30"/>
                  </a:cubicBezTo>
                  <a:cubicBezTo>
                    <a:pt x="80" y="30"/>
                    <a:pt x="82" y="29"/>
                    <a:pt x="81" y="28"/>
                  </a:cubicBezTo>
                  <a:cubicBezTo>
                    <a:pt x="80" y="26"/>
                    <a:pt x="78" y="27"/>
                    <a:pt x="77" y="28"/>
                  </a:cubicBezTo>
                  <a:cubicBezTo>
                    <a:pt x="75" y="29"/>
                    <a:pt x="75" y="29"/>
                    <a:pt x="73" y="29"/>
                  </a:cubicBezTo>
                  <a:cubicBezTo>
                    <a:pt x="71" y="30"/>
                    <a:pt x="70" y="30"/>
                    <a:pt x="70" y="30"/>
                  </a:cubicBezTo>
                  <a:cubicBezTo>
                    <a:pt x="70" y="30"/>
                    <a:pt x="71" y="28"/>
                    <a:pt x="72" y="26"/>
                  </a:cubicBezTo>
                  <a:cubicBezTo>
                    <a:pt x="73" y="25"/>
                    <a:pt x="77" y="25"/>
                    <a:pt x="78" y="24"/>
                  </a:cubicBezTo>
                  <a:cubicBezTo>
                    <a:pt x="79" y="23"/>
                    <a:pt x="81" y="25"/>
                    <a:pt x="81" y="25"/>
                  </a:cubicBezTo>
                  <a:cubicBezTo>
                    <a:pt x="81" y="25"/>
                    <a:pt x="83" y="23"/>
                    <a:pt x="83" y="24"/>
                  </a:cubicBezTo>
                  <a:cubicBezTo>
                    <a:pt x="83" y="25"/>
                    <a:pt x="82" y="27"/>
                    <a:pt x="83" y="27"/>
                  </a:cubicBezTo>
                  <a:cubicBezTo>
                    <a:pt x="84" y="27"/>
                    <a:pt x="87" y="26"/>
                    <a:pt x="86" y="25"/>
                  </a:cubicBezTo>
                  <a:cubicBezTo>
                    <a:pt x="85" y="25"/>
                    <a:pt x="87" y="24"/>
                    <a:pt x="88" y="23"/>
                  </a:cubicBezTo>
                  <a:cubicBezTo>
                    <a:pt x="89" y="22"/>
                    <a:pt x="91" y="23"/>
                    <a:pt x="92" y="23"/>
                  </a:cubicBezTo>
                  <a:cubicBezTo>
                    <a:pt x="92" y="23"/>
                    <a:pt x="93" y="21"/>
                    <a:pt x="94" y="21"/>
                  </a:cubicBezTo>
                  <a:cubicBezTo>
                    <a:pt x="95" y="21"/>
                    <a:pt x="96" y="22"/>
                    <a:pt x="94" y="24"/>
                  </a:cubicBezTo>
                  <a:cubicBezTo>
                    <a:pt x="92" y="25"/>
                    <a:pt x="92" y="28"/>
                    <a:pt x="91" y="28"/>
                  </a:cubicBezTo>
                  <a:cubicBezTo>
                    <a:pt x="90" y="29"/>
                    <a:pt x="91" y="30"/>
                    <a:pt x="92" y="30"/>
                  </a:cubicBezTo>
                  <a:cubicBezTo>
                    <a:pt x="93" y="30"/>
                    <a:pt x="95" y="30"/>
                    <a:pt x="96" y="30"/>
                  </a:cubicBezTo>
                  <a:cubicBezTo>
                    <a:pt x="97" y="29"/>
                    <a:pt x="98" y="30"/>
                    <a:pt x="98" y="30"/>
                  </a:cubicBezTo>
                  <a:cubicBezTo>
                    <a:pt x="98" y="31"/>
                    <a:pt x="99" y="30"/>
                    <a:pt x="99" y="30"/>
                  </a:cubicBezTo>
                  <a:cubicBezTo>
                    <a:pt x="99" y="30"/>
                    <a:pt x="102" y="29"/>
                    <a:pt x="102" y="30"/>
                  </a:cubicBezTo>
                  <a:cubicBezTo>
                    <a:pt x="103" y="31"/>
                    <a:pt x="103" y="29"/>
                    <a:pt x="103" y="29"/>
                  </a:cubicBezTo>
                  <a:cubicBezTo>
                    <a:pt x="102" y="28"/>
                    <a:pt x="102" y="27"/>
                    <a:pt x="101" y="26"/>
                  </a:cubicBezTo>
                  <a:cubicBezTo>
                    <a:pt x="101" y="24"/>
                    <a:pt x="100" y="24"/>
                    <a:pt x="99" y="25"/>
                  </a:cubicBezTo>
                  <a:cubicBezTo>
                    <a:pt x="98" y="25"/>
                    <a:pt x="97" y="24"/>
                    <a:pt x="96" y="24"/>
                  </a:cubicBezTo>
                  <a:cubicBezTo>
                    <a:pt x="96" y="23"/>
                    <a:pt x="95" y="24"/>
                    <a:pt x="96" y="23"/>
                  </a:cubicBezTo>
                  <a:cubicBezTo>
                    <a:pt x="96" y="22"/>
                    <a:pt x="97" y="21"/>
                    <a:pt x="97" y="20"/>
                  </a:cubicBezTo>
                  <a:cubicBezTo>
                    <a:pt x="98" y="19"/>
                    <a:pt x="100" y="17"/>
                    <a:pt x="98" y="17"/>
                  </a:cubicBezTo>
                  <a:cubicBezTo>
                    <a:pt x="96" y="16"/>
                    <a:pt x="95" y="16"/>
                    <a:pt x="95" y="15"/>
                  </a:cubicBezTo>
                  <a:cubicBezTo>
                    <a:pt x="95" y="14"/>
                    <a:pt x="92" y="12"/>
                    <a:pt x="92" y="12"/>
                  </a:cubicBezTo>
                  <a:cubicBezTo>
                    <a:pt x="91" y="12"/>
                    <a:pt x="88" y="13"/>
                    <a:pt x="88" y="12"/>
                  </a:cubicBezTo>
                  <a:cubicBezTo>
                    <a:pt x="88" y="11"/>
                    <a:pt x="87" y="8"/>
                    <a:pt x="86" y="8"/>
                  </a:cubicBezTo>
                  <a:cubicBezTo>
                    <a:pt x="86" y="7"/>
                    <a:pt x="83" y="3"/>
                    <a:pt x="82" y="3"/>
                  </a:cubicBezTo>
                  <a:cubicBezTo>
                    <a:pt x="82" y="3"/>
                    <a:pt x="81" y="3"/>
                    <a:pt x="80" y="5"/>
                  </a:cubicBezTo>
                  <a:cubicBezTo>
                    <a:pt x="78" y="7"/>
                    <a:pt x="77" y="7"/>
                    <a:pt x="76" y="7"/>
                  </a:cubicBezTo>
                  <a:cubicBezTo>
                    <a:pt x="75" y="7"/>
                    <a:pt x="73" y="7"/>
                    <a:pt x="73" y="6"/>
                  </a:cubicBezTo>
                  <a:cubicBezTo>
                    <a:pt x="72" y="5"/>
                    <a:pt x="75" y="4"/>
                    <a:pt x="74" y="3"/>
                  </a:cubicBezTo>
                  <a:cubicBezTo>
                    <a:pt x="74" y="2"/>
                    <a:pt x="72" y="2"/>
                    <a:pt x="70" y="2"/>
                  </a:cubicBezTo>
                  <a:cubicBezTo>
                    <a:pt x="69" y="2"/>
                    <a:pt x="68" y="0"/>
                    <a:pt x="65" y="0"/>
                  </a:cubicBezTo>
                  <a:cubicBezTo>
                    <a:pt x="63" y="0"/>
                    <a:pt x="60" y="1"/>
                    <a:pt x="60" y="1"/>
                  </a:cubicBezTo>
                  <a:cubicBezTo>
                    <a:pt x="59" y="1"/>
                    <a:pt x="59" y="2"/>
                    <a:pt x="58" y="4"/>
                  </a:cubicBezTo>
                  <a:cubicBezTo>
                    <a:pt x="58" y="6"/>
                    <a:pt x="59" y="6"/>
                    <a:pt x="58" y="7"/>
                  </a:cubicBezTo>
                  <a:cubicBezTo>
                    <a:pt x="56" y="7"/>
                    <a:pt x="56" y="7"/>
                    <a:pt x="57" y="8"/>
                  </a:cubicBezTo>
                  <a:cubicBezTo>
                    <a:pt x="58" y="9"/>
                    <a:pt x="60" y="11"/>
                    <a:pt x="60" y="11"/>
                  </a:cubicBezTo>
                  <a:cubicBezTo>
                    <a:pt x="60" y="11"/>
                    <a:pt x="59" y="13"/>
                    <a:pt x="58" y="14"/>
                  </a:cubicBezTo>
                  <a:cubicBezTo>
                    <a:pt x="57" y="15"/>
                    <a:pt x="56" y="16"/>
                    <a:pt x="56" y="15"/>
                  </a:cubicBezTo>
                  <a:cubicBezTo>
                    <a:pt x="55" y="14"/>
                    <a:pt x="53" y="14"/>
                    <a:pt x="54" y="15"/>
                  </a:cubicBezTo>
                  <a:cubicBezTo>
                    <a:pt x="54" y="16"/>
                    <a:pt x="55" y="16"/>
                    <a:pt x="55" y="17"/>
                  </a:cubicBezTo>
                  <a:cubicBezTo>
                    <a:pt x="55" y="19"/>
                    <a:pt x="56" y="21"/>
                    <a:pt x="55" y="22"/>
                  </a:cubicBezTo>
                  <a:cubicBezTo>
                    <a:pt x="54" y="23"/>
                    <a:pt x="53" y="22"/>
                    <a:pt x="52" y="23"/>
                  </a:cubicBezTo>
                  <a:cubicBezTo>
                    <a:pt x="51" y="23"/>
                    <a:pt x="51" y="21"/>
                    <a:pt x="51" y="21"/>
                  </a:cubicBezTo>
                  <a:cubicBezTo>
                    <a:pt x="52" y="21"/>
                    <a:pt x="51" y="18"/>
                    <a:pt x="51" y="18"/>
                  </a:cubicBezTo>
                  <a:cubicBezTo>
                    <a:pt x="51" y="18"/>
                    <a:pt x="49" y="21"/>
                    <a:pt x="50" y="19"/>
                  </a:cubicBezTo>
                  <a:cubicBezTo>
                    <a:pt x="50" y="18"/>
                    <a:pt x="49" y="18"/>
                    <a:pt x="49" y="17"/>
                  </a:cubicBezTo>
                  <a:cubicBezTo>
                    <a:pt x="49" y="15"/>
                    <a:pt x="48" y="14"/>
                    <a:pt x="47" y="14"/>
                  </a:cubicBezTo>
                  <a:cubicBezTo>
                    <a:pt x="46" y="15"/>
                    <a:pt x="44" y="15"/>
                    <a:pt x="42" y="15"/>
                  </a:cubicBezTo>
                  <a:cubicBezTo>
                    <a:pt x="39" y="14"/>
                    <a:pt x="39" y="14"/>
                    <a:pt x="37" y="13"/>
                  </a:cubicBezTo>
                  <a:cubicBezTo>
                    <a:pt x="35" y="12"/>
                    <a:pt x="34" y="13"/>
                    <a:pt x="33" y="13"/>
                  </a:cubicBezTo>
                  <a:cubicBezTo>
                    <a:pt x="32" y="14"/>
                    <a:pt x="32" y="12"/>
                    <a:pt x="32" y="12"/>
                  </a:cubicBezTo>
                  <a:cubicBezTo>
                    <a:pt x="17" y="30"/>
                    <a:pt x="6" y="53"/>
                    <a:pt x="0" y="77"/>
                  </a:cubicBezTo>
                  <a:cubicBezTo>
                    <a:pt x="1" y="78"/>
                    <a:pt x="2" y="80"/>
                    <a:pt x="2" y="80"/>
                  </a:cubicBezTo>
                  <a:cubicBezTo>
                    <a:pt x="3" y="82"/>
                    <a:pt x="5" y="87"/>
                    <a:pt x="6" y="87"/>
                  </a:cubicBezTo>
                  <a:cubicBezTo>
                    <a:pt x="6" y="87"/>
                    <a:pt x="8" y="90"/>
                    <a:pt x="8" y="90"/>
                  </a:cubicBezTo>
                  <a:cubicBezTo>
                    <a:pt x="8" y="90"/>
                    <a:pt x="9" y="92"/>
                    <a:pt x="8" y="93"/>
                  </a:cubicBezTo>
                  <a:cubicBezTo>
                    <a:pt x="8" y="94"/>
                    <a:pt x="9" y="96"/>
                    <a:pt x="10" y="97"/>
                  </a:cubicBezTo>
                  <a:cubicBezTo>
                    <a:pt x="10" y="98"/>
                    <a:pt x="14" y="98"/>
                    <a:pt x="14" y="101"/>
                  </a:cubicBezTo>
                  <a:cubicBezTo>
                    <a:pt x="14" y="101"/>
                    <a:pt x="15" y="105"/>
                    <a:pt x="16" y="105"/>
                  </a:cubicBezTo>
                  <a:cubicBezTo>
                    <a:pt x="18" y="105"/>
                    <a:pt x="20" y="104"/>
                    <a:pt x="20" y="105"/>
                  </a:cubicBezTo>
                  <a:cubicBezTo>
                    <a:pt x="20" y="105"/>
                    <a:pt x="22" y="108"/>
                    <a:pt x="22" y="106"/>
                  </a:cubicBezTo>
                  <a:cubicBezTo>
                    <a:pt x="23" y="105"/>
                    <a:pt x="23" y="104"/>
                    <a:pt x="24" y="104"/>
                  </a:cubicBezTo>
                  <a:cubicBezTo>
                    <a:pt x="26" y="104"/>
                    <a:pt x="26" y="106"/>
                    <a:pt x="27" y="107"/>
                  </a:cubicBezTo>
                  <a:cubicBezTo>
                    <a:pt x="28" y="108"/>
                    <a:pt x="30" y="110"/>
                    <a:pt x="31" y="110"/>
                  </a:cubicBezTo>
                  <a:cubicBezTo>
                    <a:pt x="31" y="110"/>
                    <a:pt x="33" y="112"/>
                    <a:pt x="33" y="111"/>
                  </a:cubicBezTo>
                  <a:cubicBezTo>
                    <a:pt x="34" y="111"/>
                    <a:pt x="35" y="112"/>
                    <a:pt x="36" y="112"/>
                  </a:cubicBezTo>
                  <a:cubicBezTo>
                    <a:pt x="36" y="112"/>
                    <a:pt x="38" y="114"/>
                    <a:pt x="38" y="116"/>
                  </a:cubicBezTo>
                  <a:cubicBezTo>
                    <a:pt x="37" y="119"/>
                    <a:pt x="40" y="119"/>
                    <a:pt x="40" y="120"/>
                  </a:cubicBezTo>
                  <a:cubicBezTo>
                    <a:pt x="41" y="120"/>
                    <a:pt x="43" y="122"/>
                    <a:pt x="43" y="123"/>
                  </a:cubicBezTo>
                  <a:cubicBezTo>
                    <a:pt x="44" y="124"/>
                    <a:pt x="46" y="124"/>
                    <a:pt x="46" y="125"/>
                  </a:cubicBezTo>
                  <a:cubicBezTo>
                    <a:pt x="47" y="125"/>
                    <a:pt x="47" y="126"/>
                    <a:pt x="48" y="125"/>
                  </a:cubicBezTo>
                  <a:cubicBezTo>
                    <a:pt x="50" y="125"/>
                    <a:pt x="49" y="123"/>
                    <a:pt x="49" y="123"/>
                  </a:cubicBezTo>
                  <a:cubicBezTo>
                    <a:pt x="49" y="123"/>
                    <a:pt x="51" y="122"/>
                    <a:pt x="52" y="123"/>
                  </a:cubicBezTo>
                  <a:cubicBezTo>
                    <a:pt x="52" y="124"/>
                    <a:pt x="53" y="127"/>
                    <a:pt x="53" y="127"/>
                  </a:cubicBezTo>
                  <a:cubicBezTo>
                    <a:pt x="54" y="127"/>
                    <a:pt x="55" y="130"/>
                    <a:pt x="54" y="133"/>
                  </a:cubicBezTo>
                  <a:cubicBezTo>
                    <a:pt x="54" y="135"/>
                    <a:pt x="54" y="137"/>
                    <a:pt x="53" y="137"/>
                  </a:cubicBezTo>
                  <a:cubicBezTo>
                    <a:pt x="53" y="137"/>
                    <a:pt x="51" y="139"/>
                    <a:pt x="50" y="139"/>
                  </a:cubicBezTo>
                  <a:cubicBezTo>
                    <a:pt x="49" y="140"/>
                    <a:pt x="48" y="143"/>
                    <a:pt x="48" y="144"/>
                  </a:cubicBezTo>
                  <a:cubicBezTo>
                    <a:pt x="48" y="145"/>
                    <a:pt x="49" y="148"/>
                    <a:pt x="49" y="150"/>
                  </a:cubicBezTo>
                  <a:cubicBezTo>
                    <a:pt x="49" y="151"/>
                    <a:pt x="48" y="152"/>
                    <a:pt x="48" y="154"/>
                  </a:cubicBezTo>
                  <a:cubicBezTo>
                    <a:pt x="49" y="157"/>
                    <a:pt x="52" y="157"/>
                    <a:pt x="52" y="159"/>
                  </a:cubicBezTo>
                  <a:cubicBezTo>
                    <a:pt x="52" y="161"/>
                    <a:pt x="55" y="166"/>
                    <a:pt x="55" y="167"/>
                  </a:cubicBezTo>
                  <a:cubicBezTo>
                    <a:pt x="56" y="169"/>
                    <a:pt x="58" y="172"/>
                    <a:pt x="58" y="174"/>
                  </a:cubicBezTo>
                  <a:cubicBezTo>
                    <a:pt x="58" y="177"/>
                    <a:pt x="63" y="179"/>
                    <a:pt x="64" y="179"/>
                  </a:cubicBezTo>
                  <a:cubicBezTo>
                    <a:pt x="64" y="179"/>
                    <a:pt x="66" y="181"/>
                    <a:pt x="67" y="181"/>
                  </a:cubicBezTo>
                  <a:cubicBezTo>
                    <a:pt x="68" y="182"/>
                    <a:pt x="69" y="183"/>
                    <a:pt x="70" y="185"/>
                  </a:cubicBezTo>
                  <a:cubicBezTo>
                    <a:pt x="71" y="186"/>
                    <a:pt x="71" y="188"/>
                    <a:pt x="71" y="189"/>
                  </a:cubicBezTo>
                  <a:cubicBezTo>
                    <a:pt x="71" y="189"/>
                    <a:pt x="71" y="195"/>
                    <a:pt x="71" y="198"/>
                  </a:cubicBezTo>
                  <a:cubicBezTo>
                    <a:pt x="71" y="201"/>
                    <a:pt x="73" y="204"/>
                    <a:pt x="72" y="205"/>
                  </a:cubicBezTo>
                  <a:cubicBezTo>
                    <a:pt x="71" y="205"/>
                    <a:pt x="69" y="206"/>
                    <a:pt x="70" y="207"/>
                  </a:cubicBezTo>
                  <a:cubicBezTo>
                    <a:pt x="71" y="208"/>
                    <a:pt x="70" y="208"/>
                    <a:pt x="70" y="209"/>
                  </a:cubicBezTo>
                  <a:cubicBezTo>
                    <a:pt x="70" y="209"/>
                    <a:pt x="71" y="212"/>
                    <a:pt x="71" y="213"/>
                  </a:cubicBezTo>
                  <a:cubicBezTo>
                    <a:pt x="70" y="214"/>
                    <a:pt x="70" y="216"/>
                    <a:pt x="70" y="217"/>
                  </a:cubicBezTo>
                  <a:cubicBezTo>
                    <a:pt x="69" y="217"/>
                    <a:pt x="68" y="218"/>
                    <a:pt x="69" y="220"/>
                  </a:cubicBezTo>
                  <a:cubicBezTo>
                    <a:pt x="69" y="221"/>
                    <a:pt x="68" y="221"/>
                    <a:pt x="68" y="222"/>
                  </a:cubicBezTo>
                  <a:cubicBezTo>
                    <a:pt x="68" y="223"/>
                    <a:pt x="70" y="223"/>
                    <a:pt x="70" y="224"/>
                  </a:cubicBezTo>
                  <a:cubicBezTo>
                    <a:pt x="69" y="226"/>
                    <a:pt x="69" y="226"/>
                    <a:pt x="69" y="227"/>
                  </a:cubicBezTo>
                  <a:cubicBezTo>
                    <a:pt x="69" y="229"/>
                    <a:pt x="70" y="230"/>
                    <a:pt x="70" y="231"/>
                  </a:cubicBezTo>
                  <a:cubicBezTo>
                    <a:pt x="70" y="231"/>
                    <a:pt x="70" y="232"/>
                    <a:pt x="69" y="233"/>
                  </a:cubicBezTo>
                  <a:cubicBezTo>
                    <a:pt x="68" y="234"/>
                    <a:pt x="68" y="235"/>
                    <a:pt x="68" y="236"/>
                  </a:cubicBezTo>
                  <a:cubicBezTo>
                    <a:pt x="68" y="236"/>
                    <a:pt x="69" y="237"/>
                    <a:pt x="69" y="238"/>
                  </a:cubicBezTo>
                  <a:cubicBezTo>
                    <a:pt x="69" y="238"/>
                    <a:pt x="68" y="239"/>
                    <a:pt x="69" y="240"/>
                  </a:cubicBezTo>
                  <a:cubicBezTo>
                    <a:pt x="69" y="241"/>
                    <a:pt x="70" y="241"/>
                    <a:pt x="71" y="241"/>
                  </a:cubicBezTo>
                  <a:cubicBezTo>
                    <a:pt x="71" y="242"/>
                    <a:pt x="69" y="242"/>
                    <a:pt x="70" y="243"/>
                  </a:cubicBezTo>
                  <a:cubicBezTo>
                    <a:pt x="71" y="244"/>
                    <a:pt x="72" y="243"/>
                    <a:pt x="72" y="245"/>
                  </a:cubicBezTo>
                  <a:cubicBezTo>
                    <a:pt x="72" y="245"/>
                    <a:pt x="73" y="246"/>
                    <a:pt x="73" y="246"/>
                  </a:cubicBezTo>
                  <a:cubicBezTo>
                    <a:pt x="73" y="246"/>
                    <a:pt x="74" y="246"/>
                    <a:pt x="74" y="246"/>
                  </a:cubicBezTo>
                  <a:cubicBezTo>
                    <a:pt x="74" y="247"/>
                    <a:pt x="75" y="247"/>
                    <a:pt x="75" y="247"/>
                  </a:cubicBezTo>
                  <a:cubicBezTo>
                    <a:pt x="75" y="247"/>
                    <a:pt x="77" y="248"/>
                    <a:pt x="77" y="248"/>
                  </a:cubicBezTo>
                  <a:close/>
                  <a:moveTo>
                    <a:pt x="55" y="38"/>
                  </a:moveTo>
                  <a:cubicBezTo>
                    <a:pt x="55" y="38"/>
                    <a:pt x="58" y="37"/>
                    <a:pt x="59" y="38"/>
                  </a:cubicBezTo>
                  <a:cubicBezTo>
                    <a:pt x="60" y="39"/>
                    <a:pt x="58" y="39"/>
                    <a:pt x="57" y="40"/>
                  </a:cubicBezTo>
                  <a:cubicBezTo>
                    <a:pt x="55" y="41"/>
                    <a:pt x="55" y="41"/>
                    <a:pt x="54" y="42"/>
                  </a:cubicBezTo>
                  <a:cubicBezTo>
                    <a:pt x="53" y="43"/>
                    <a:pt x="51" y="43"/>
                    <a:pt x="50" y="44"/>
                  </a:cubicBezTo>
                  <a:cubicBezTo>
                    <a:pt x="49" y="45"/>
                    <a:pt x="48" y="46"/>
                    <a:pt x="47" y="45"/>
                  </a:cubicBezTo>
                  <a:cubicBezTo>
                    <a:pt x="47" y="44"/>
                    <a:pt x="48" y="45"/>
                    <a:pt x="48" y="44"/>
                  </a:cubicBezTo>
                  <a:cubicBezTo>
                    <a:pt x="48" y="44"/>
                    <a:pt x="51" y="42"/>
                    <a:pt x="51" y="42"/>
                  </a:cubicBezTo>
                  <a:cubicBezTo>
                    <a:pt x="51" y="42"/>
                    <a:pt x="54" y="37"/>
                    <a:pt x="55" y="38"/>
                  </a:cubicBezTo>
                  <a:close/>
                  <a:moveTo>
                    <a:pt x="50" y="34"/>
                  </a:moveTo>
                  <a:cubicBezTo>
                    <a:pt x="51" y="34"/>
                    <a:pt x="53" y="37"/>
                    <a:pt x="52" y="37"/>
                  </a:cubicBezTo>
                  <a:cubicBezTo>
                    <a:pt x="51" y="38"/>
                    <a:pt x="50" y="37"/>
                    <a:pt x="50" y="35"/>
                  </a:cubicBezTo>
                  <a:cubicBezTo>
                    <a:pt x="50" y="34"/>
                    <a:pt x="49" y="38"/>
                    <a:pt x="49" y="39"/>
                  </a:cubicBezTo>
                  <a:cubicBezTo>
                    <a:pt x="50" y="40"/>
                    <a:pt x="48" y="42"/>
                    <a:pt x="48" y="42"/>
                  </a:cubicBezTo>
                  <a:cubicBezTo>
                    <a:pt x="47" y="42"/>
                    <a:pt x="47" y="40"/>
                    <a:pt x="47" y="38"/>
                  </a:cubicBezTo>
                  <a:cubicBezTo>
                    <a:pt x="47" y="37"/>
                    <a:pt x="46" y="35"/>
                    <a:pt x="45" y="35"/>
                  </a:cubicBezTo>
                  <a:cubicBezTo>
                    <a:pt x="43" y="36"/>
                    <a:pt x="42" y="38"/>
                    <a:pt x="41" y="38"/>
                  </a:cubicBezTo>
                  <a:cubicBezTo>
                    <a:pt x="41" y="39"/>
                    <a:pt x="41" y="42"/>
                    <a:pt x="41" y="43"/>
                  </a:cubicBezTo>
                  <a:cubicBezTo>
                    <a:pt x="41" y="43"/>
                    <a:pt x="41" y="46"/>
                    <a:pt x="39" y="46"/>
                  </a:cubicBezTo>
                  <a:cubicBezTo>
                    <a:pt x="38" y="46"/>
                    <a:pt x="38" y="43"/>
                    <a:pt x="39" y="42"/>
                  </a:cubicBezTo>
                  <a:cubicBezTo>
                    <a:pt x="39" y="40"/>
                    <a:pt x="38" y="38"/>
                    <a:pt x="39" y="36"/>
                  </a:cubicBezTo>
                  <a:cubicBezTo>
                    <a:pt x="40" y="35"/>
                    <a:pt x="42" y="34"/>
                    <a:pt x="43" y="34"/>
                  </a:cubicBezTo>
                  <a:cubicBezTo>
                    <a:pt x="44" y="33"/>
                    <a:pt x="46" y="34"/>
                    <a:pt x="47" y="34"/>
                  </a:cubicBezTo>
                  <a:cubicBezTo>
                    <a:pt x="47" y="34"/>
                    <a:pt x="49" y="34"/>
                    <a:pt x="50" y="34"/>
                  </a:cubicBezTo>
                  <a:close/>
                  <a:moveTo>
                    <a:pt x="36" y="30"/>
                  </a:moveTo>
                  <a:cubicBezTo>
                    <a:pt x="38" y="29"/>
                    <a:pt x="40" y="26"/>
                    <a:pt x="41" y="27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5" y="30"/>
                    <a:pt x="44" y="32"/>
                    <a:pt x="43" y="32"/>
                  </a:cubicBezTo>
                  <a:cubicBezTo>
                    <a:pt x="43" y="32"/>
                    <a:pt x="41" y="32"/>
                    <a:pt x="40" y="32"/>
                  </a:cubicBezTo>
                  <a:cubicBezTo>
                    <a:pt x="39" y="32"/>
                    <a:pt x="39" y="31"/>
                    <a:pt x="38" y="31"/>
                  </a:cubicBezTo>
                  <a:cubicBezTo>
                    <a:pt x="38" y="31"/>
                    <a:pt x="36" y="32"/>
                    <a:pt x="36" y="33"/>
                  </a:cubicBezTo>
                  <a:cubicBezTo>
                    <a:pt x="35" y="33"/>
                    <a:pt x="33" y="33"/>
                    <a:pt x="33" y="32"/>
                  </a:cubicBezTo>
                  <a:cubicBezTo>
                    <a:pt x="33" y="31"/>
                    <a:pt x="34" y="31"/>
                    <a:pt x="3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2098" y="796"/>
              <a:ext cx="93" cy="35"/>
            </a:xfrm>
            <a:custGeom>
              <a:avLst/>
              <a:gdLst>
                <a:gd name="T0" fmla="*/ 2 w 13"/>
                <a:gd name="T1" fmla="*/ 4 h 5"/>
                <a:gd name="T2" fmla="*/ 2 w 13"/>
                <a:gd name="T3" fmla="*/ 5 h 5"/>
                <a:gd name="T4" fmla="*/ 5 w 13"/>
                <a:gd name="T5" fmla="*/ 4 h 5"/>
                <a:gd name="T6" fmla="*/ 8 w 13"/>
                <a:gd name="T7" fmla="*/ 3 h 5"/>
                <a:gd name="T8" fmla="*/ 10 w 13"/>
                <a:gd name="T9" fmla="*/ 5 h 5"/>
                <a:gd name="T10" fmla="*/ 11 w 13"/>
                <a:gd name="T11" fmla="*/ 3 h 5"/>
                <a:gd name="T12" fmla="*/ 7 w 13"/>
                <a:gd name="T13" fmla="*/ 1 h 5"/>
                <a:gd name="T14" fmla="*/ 5 w 13"/>
                <a:gd name="T15" fmla="*/ 0 h 5"/>
                <a:gd name="T16" fmla="*/ 4 w 13"/>
                <a:gd name="T17" fmla="*/ 1 h 5"/>
                <a:gd name="T18" fmla="*/ 2 w 13"/>
                <a:gd name="T19" fmla="*/ 3 h 5"/>
                <a:gd name="T20" fmla="*/ 2 w 13"/>
                <a:gd name="T2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5">
                  <a:moveTo>
                    <a:pt x="2" y="4"/>
                  </a:moveTo>
                  <a:cubicBezTo>
                    <a:pt x="0" y="5"/>
                    <a:pt x="1" y="5"/>
                    <a:pt x="2" y="5"/>
                  </a:cubicBezTo>
                  <a:cubicBezTo>
                    <a:pt x="3" y="5"/>
                    <a:pt x="5" y="4"/>
                    <a:pt x="5" y="4"/>
                  </a:cubicBezTo>
                  <a:cubicBezTo>
                    <a:pt x="5" y="4"/>
                    <a:pt x="8" y="2"/>
                    <a:pt x="8" y="3"/>
                  </a:cubicBezTo>
                  <a:cubicBezTo>
                    <a:pt x="9" y="4"/>
                    <a:pt x="8" y="5"/>
                    <a:pt x="10" y="5"/>
                  </a:cubicBezTo>
                  <a:cubicBezTo>
                    <a:pt x="11" y="5"/>
                    <a:pt x="13" y="4"/>
                    <a:pt x="11" y="3"/>
                  </a:cubicBezTo>
                  <a:cubicBezTo>
                    <a:pt x="9" y="2"/>
                    <a:pt x="8" y="2"/>
                    <a:pt x="7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2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2134" y="831"/>
              <a:ext cx="21" cy="15"/>
            </a:xfrm>
            <a:custGeom>
              <a:avLst/>
              <a:gdLst>
                <a:gd name="T0" fmla="*/ 0 w 3"/>
                <a:gd name="T1" fmla="*/ 1 h 2"/>
                <a:gd name="T2" fmla="*/ 3 w 3"/>
                <a:gd name="T3" fmla="*/ 2 h 2"/>
                <a:gd name="T4" fmla="*/ 0 w 3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cubicBezTo>
                    <a:pt x="0" y="2"/>
                    <a:pt x="2" y="2"/>
                    <a:pt x="3" y="2"/>
                  </a:cubicBezTo>
                  <a:cubicBezTo>
                    <a:pt x="3" y="1"/>
                    <a:pt x="2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2162" y="838"/>
              <a:ext cx="29" cy="22"/>
            </a:xfrm>
            <a:custGeom>
              <a:avLst/>
              <a:gdLst>
                <a:gd name="T0" fmla="*/ 2 w 4"/>
                <a:gd name="T1" fmla="*/ 1 h 3"/>
                <a:gd name="T2" fmla="*/ 3 w 4"/>
                <a:gd name="T3" fmla="*/ 2 h 3"/>
                <a:gd name="T4" fmla="*/ 2 w 4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2" y="1"/>
                  </a:moveTo>
                  <a:cubicBezTo>
                    <a:pt x="0" y="1"/>
                    <a:pt x="2" y="3"/>
                    <a:pt x="3" y="2"/>
                  </a:cubicBezTo>
                  <a:cubicBezTo>
                    <a:pt x="4" y="1"/>
                    <a:pt x="4" y="0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2923" y="760"/>
              <a:ext cx="135" cy="50"/>
            </a:xfrm>
            <a:custGeom>
              <a:avLst/>
              <a:gdLst>
                <a:gd name="T0" fmla="*/ 7 w 19"/>
                <a:gd name="T1" fmla="*/ 5 h 7"/>
                <a:gd name="T2" fmla="*/ 10 w 19"/>
                <a:gd name="T3" fmla="*/ 7 h 7"/>
                <a:gd name="T4" fmla="*/ 14 w 19"/>
                <a:gd name="T5" fmla="*/ 5 h 7"/>
                <a:gd name="T6" fmla="*/ 17 w 19"/>
                <a:gd name="T7" fmla="*/ 4 h 7"/>
                <a:gd name="T8" fmla="*/ 18 w 19"/>
                <a:gd name="T9" fmla="*/ 2 h 7"/>
                <a:gd name="T10" fmla="*/ 14 w 19"/>
                <a:gd name="T11" fmla="*/ 0 h 7"/>
                <a:gd name="T12" fmla="*/ 10 w 19"/>
                <a:gd name="T13" fmla="*/ 1 h 7"/>
                <a:gd name="T14" fmla="*/ 6 w 19"/>
                <a:gd name="T15" fmla="*/ 1 h 7"/>
                <a:gd name="T16" fmla="*/ 1 w 19"/>
                <a:gd name="T17" fmla="*/ 0 h 7"/>
                <a:gd name="T18" fmla="*/ 1 w 19"/>
                <a:gd name="T19" fmla="*/ 2 h 7"/>
                <a:gd name="T20" fmla="*/ 3 w 19"/>
                <a:gd name="T21" fmla="*/ 5 h 7"/>
                <a:gd name="T22" fmla="*/ 7 w 19"/>
                <a:gd name="T23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7">
                  <a:moveTo>
                    <a:pt x="7" y="5"/>
                  </a:moveTo>
                  <a:cubicBezTo>
                    <a:pt x="7" y="6"/>
                    <a:pt x="8" y="7"/>
                    <a:pt x="10" y="7"/>
                  </a:cubicBezTo>
                  <a:cubicBezTo>
                    <a:pt x="12" y="6"/>
                    <a:pt x="13" y="6"/>
                    <a:pt x="14" y="5"/>
                  </a:cubicBezTo>
                  <a:cubicBezTo>
                    <a:pt x="14" y="4"/>
                    <a:pt x="17" y="4"/>
                    <a:pt x="17" y="4"/>
                  </a:cubicBezTo>
                  <a:cubicBezTo>
                    <a:pt x="17" y="4"/>
                    <a:pt x="19" y="3"/>
                    <a:pt x="18" y="2"/>
                  </a:cubicBezTo>
                  <a:cubicBezTo>
                    <a:pt x="17" y="1"/>
                    <a:pt x="15" y="1"/>
                    <a:pt x="14" y="0"/>
                  </a:cubicBezTo>
                  <a:cubicBezTo>
                    <a:pt x="13" y="0"/>
                    <a:pt x="13" y="1"/>
                    <a:pt x="10" y="1"/>
                  </a:cubicBezTo>
                  <a:cubicBezTo>
                    <a:pt x="8" y="1"/>
                    <a:pt x="7" y="2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1" y="1"/>
                    <a:pt x="0" y="1"/>
                    <a:pt x="1" y="2"/>
                  </a:cubicBezTo>
                  <a:cubicBezTo>
                    <a:pt x="2" y="4"/>
                    <a:pt x="2" y="5"/>
                    <a:pt x="3" y="5"/>
                  </a:cubicBezTo>
                  <a:cubicBezTo>
                    <a:pt x="4" y="5"/>
                    <a:pt x="6" y="5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2340" y="512"/>
              <a:ext cx="668" cy="341"/>
            </a:xfrm>
            <a:custGeom>
              <a:avLst/>
              <a:gdLst>
                <a:gd name="T0" fmla="*/ 3 w 94"/>
                <a:gd name="T1" fmla="*/ 20 h 48"/>
                <a:gd name="T2" fmla="*/ 5 w 94"/>
                <a:gd name="T3" fmla="*/ 20 h 48"/>
                <a:gd name="T4" fmla="*/ 16 w 94"/>
                <a:gd name="T5" fmla="*/ 20 h 48"/>
                <a:gd name="T6" fmla="*/ 22 w 94"/>
                <a:gd name="T7" fmla="*/ 28 h 48"/>
                <a:gd name="T8" fmla="*/ 27 w 94"/>
                <a:gd name="T9" fmla="*/ 27 h 48"/>
                <a:gd name="T10" fmla="*/ 28 w 94"/>
                <a:gd name="T11" fmla="*/ 31 h 48"/>
                <a:gd name="T12" fmla="*/ 27 w 94"/>
                <a:gd name="T13" fmla="*/ 34 h 48"/>
                <a:gd name="T14" fmla="*/ 25 w 94"/>
                <a:gd name="T15" fmla="*/ 34 h 48"/>
                <a:gd name="T16" fmla="*/ 25 w 94"/>
                <a:gd name="T17" fmla="*/ 38 h 48"/>
                <a:gd name="T18" fmla="*/ 27 w 94"/>
                <a:gd name="T19" fmla="*/ 40 h 48"/>
                <a:gd name="T20" fmla="*/ 34 w 94"/>
                <a:gd name="T21" fmla="*/ 46 h 48"/>
                <a:gd name="T22" fmla="*/ 39 w 94"/>
                <a:gd name="T23" fmla="*/ 48 h 48"/>
                <a:gd name="T24" fmla="*/ 43 w 94"/>
                <a:gd name="T25" fmla="*/ 43 h 48"/>
                <a:gd name="T26" fmla="*/ 46 w 94"/>
                <a:gd name="T27" fmla="*/ 40 h 48"/>
                <a:gd name="T28" fmla="*/ 52 w 94"/>
                <a:gd name="T29" fmla="*/ 36 h 48"/>
                <a:gd name="T30" fmla="*/ 61 w 94"/>
                <a:gd name="T31" fmla="*/ 32 h 48"/>
                <a:gd name="T32" fmla="*/ 73 w 94"/>
                <a:gd name="T33" fmla="*/ 30 h 48"/>
                <a:gd name="T34" fmla="*/ 72 w 94"/>
                <a:gd name="T35" fmla="*/ 28 h 48"/>
                <a:gd name="T36" fmla="*/ 75 w 94"/>
                <a:gd name="T37" fmla="*/ 27 h 48"/>
                <a:gd name="T38" fmla="*/ 79 w 94"/>
                <a:gd name="T39" fmla="*/ 27 h 48"/>
                <a:gd name="T40" fmla="*/ 78 w 94"/>
                <a:gd name="T41" fmla="*/ 22 h 48"/>
                <a:gd name="T42" fmla="*/ 85 w 94"/>
                <a:gd name="T43" fmla="*/ 18 h 48"/>
                <a:gd name="T44" fmla="*/ 83 w 94"/>
                <a:gd name="T45" fmla="*/ 16 h 48"/>
                <a:gd name="T46" fmla="*/ 91 w 94"/>
                <a:gd name="T47" fmla="*/ 9 h 48"/>
                <a:gd name="T48" fmla="*/ 87 w 94"/>
                <a:gd name="T49" fmla="*/ 7 h 48"/>
                <a:gd name="T50" fmla="*/ 78 w 94"/>
                <a:gd name="T51" fmla="*/ 5 h 48"/>
                <a:gd name="T52" fmla="*/ 73 w 94"/>
                <a:gd name="T53" fmla="*/ 2 h 48"/>
                <a:gd name="T54" fmla="*/ 65 w 94"/>
                <a:gd name="T55" fmla="*/ 3 h 48"/>
                <a:gd name="T56" fmla="*/ 53 w 94"/>
                <a:gd name="T57" fmla="*/ 3 h 48"/>
                <a:gd name="T58" fmla="*/ 66 w 94"/>
                <a:gd name="T59" fmla="*/ 2 h 48"/>
                <a:gd name="T60" fmla="*/ 58 w 94"/>
                <a:gd name="T61" fmla="*/ 0 h 48"/>
                <a:gd name="T62" fmla="*/ 36 w 94"/>
                <a:gd name="T63" fmla="*/ 5 h 48"/>
                <a:gd name="T64" fmla="*/ 32 w 94"/>
                <a:gd name="T65" fmla="*/ 6 h 48"/>
                <a:gd name="T66" fmla="*/ 27 w 94"/>
                <a:gd name="T67" fmla="*/ 7 h 48"/>
                <a:gd name="T68" fmla="*/ 1 w 94"/>
                <a:gd name="T69" fmla="*/ 2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4" h="48">
                  <a:moveTo>
                    <a:pt x="1" y="21"/>
                  </a:moveTo>
                  <a:cubicBezTo>
                    <a:pt x="1" y="21"/>
                    <a:pt x="3" y="21"/>
                    <a:pt x="3" y="20"/>
                  </a:cubicBezTo>
                  <a:cubicBezTo>
                    <a:pt x="4" y="20"/>
                    <a:pt x="5" y="18"/>
                    <a:pt x="5" y="18"/>
                  </a:cubicBezTo>
                  <a:cubicBezTo>
                    <a:pt x="5" y="18"/>
                    <a:pt x="4" y="19"/>
                    <a:pt x="5" y="20"/>
                  </a:cubicBezTo>
                  <a:cubicBezTo>
                    <a:pt x="6" y="20"/>
                    <a:pt x="9" y="19"/>
                    <a:pt x="10" y="19"/>
                  </a:cubicBezTo>
                  <a:cubicBezTo>
                    <a:pt x="11" y="19"/>
                    <a:pt x="15" y="20"/>
                    <a:pt x="16" y="20"/>
                  </a:cubicBezTo>
                  <a:cubicBezTo>
                    <a:pt x="17" y="21"/>
                    <a:pt x="20" y="21"/>
                    <a:pt x="21" y="22"/>
                  </a:cubicBezTo>
                  <a:cubicBezTo>
                    <a:pt x="22" y="23"/>
                    <a:pt x="21" y="28"/>
                    <a:pt x="22" y="28"/>
                  </a:cubicBezTo>
                  <a:cubicBezTo>
                    <a:pt x="22" y="29"/>
                    <a:pt x="24" y="27"/>
                    <a:pt x="24" y="26"/>
                  </a:cubicBezTo>
                  <a:cubicBezTo>
                    <a:pt x="25" y="26"/>
                    <a:pt x="27" y="26"/>
                    <a:pt x="27" y="27"/>
                  </a:cubicBezTo>
                  <a:cubicBezTo>
                    <a:pt x="28" y="27"/>
                    <a:pt x="29" y="29"/>
                    <a:pt x="29" y="30"/>
                  </a:cubicBezTo>
                  <a:cubicBezTo>
                    <a:pt x="29" y="30"/>
                    <a:pt x="29" y="31"/>
                    <a:pt x="28" y="31"/>
                  </a:cubicBezTo>
                  <a:cubicBezTo>
                    <a:pt x="28" y="31"/>
                    <a:pt x="26" y="34"/>
                    <a:pt x="27" y="33"/>
                  </a:cubicBezTo>
                  <a:cubicBezTo>
                    <a:pt x="27" y="33"/>
                    <a:pt x="27" y="34"/>
                    <a:pt x="27" y="34"/>
                  </a:cubicBezTo>
                  <a:cubicBezTo>
                    <a:pt x="26" y="35"/>
                    <a:pt x="25" y="35"/>
                    <a:pt x="25" y="35"/>
                  </a:cubicBezTo>
                  <a:cubicBezTo>
                    <a:pt x="25" y="35"/>
                    <a:pt x="25" y="34"/>
                    <a:pt x="25" y="34"/>
                  </a:cubicBezTo>
                  <a:cubicBezTo>
                    <a:pt x="24" y="34"/>
                    <a:pt x="24" y="34"/>
                    <a:pt x="24" y="35"/>
                  </a:cubicBezTo>
                  <a:cubicBezTo>
                    <a:pt x="24" y="36"/>
                    <a:pt x="25" y="38"/>
                    <a:pt x="25" y="38"/>
                  </a:cubicBezTo>
                  <a:cubicBezTo>
                    <a:pt x="26" y="39"/>
                    <a:pt x="28" y="39"/>
                    <a:pt x="28" y="39"/>
                  </a:cubicBezTo>
                  <a:cubicBezTo>
                    <a:pt x="29" y="39"/>
                    <a:pt x="27" y="40"/>
                    <a:pt x="27" y="40"/>
                  </a:cubicBezTo>
                  <a:cubicBezTo>
                    <a:pt x="28" y="41"/>
                    <a:pt x="28" y="43"/>
                    <a:pt x="29" y="43"/>
                  </a:cubicBezTo>
                  <a:cubicBezTo>
                    <a:pt x="30" y="44"/>
                    <a:pt x="33" y="46"/>
                    <a:pt x="34" y="46"/>
                  </a:cubicBezTo>
                  <a:cubicBezTo>
                    <a:pt x="34" y="47"/>
                    <a:pt x="37" y="46"/>
                    <a:pt x="37" y="46"/>
                  </a:cubicBezTo>
                  <a:cubicBezTo>
                    <a:pt x="38" y="45"/>
                    <a:pt x="37" y="48"/>
                    <a:pt x="39" y="48"/>
                  </a:cubicBezTo>
                  <a:cubicBezTo>
                    <a:pt x="40" y="48"/>
                    <a:pt x="41" y="48"/>
                    <a:pt x="42" y="47"/>
                  </a:cubicBezTo>
                  <a:cubicBezTo>
                    <a:pt x="43" y="46"/>
                    <a:pt x="43" y="44"/>
                    <a:pt x="43" y="43"/>
                  </a:cubicBezTo>
                  <a:cubicBezTo>
                    <a:pt x="43" y="42"/>
                    <a:pt x="43" y="42"/>
                    <a:pt x="44" y="42"/>
                  </a:cubicBezTo>
                  <a:cubicBezTo>
                    <a:pt x="46" y="42"/>
                    <a:pt x="47" y="42"/>
                    <a:pt x="46" y="40"/>
                  </a:cubicBezTo>
                  <a:cubicBezTo>
                    <a:pt x="46" y="39"/>
                    <a:pt x="45" y="38"/>
                    <a:pt x="47" y="38"/>
                  </a:cubicBezTo>
                  <a:cubicBezTo>
                    <a:pt x="50" y="37"/>
                    <a:pt x="51" y="36"/>
                    <a:pt x="52" y="36"/>
                  </a:cubicBezTo>
                  <a:cubicBezTo>
                    <a:pt x="53" y="36"/>
                    <a:pt x="57" y="36"/>
                    <a:pt x="57" y="36"/>
                  </a:cubicBezTo>
                  <a:cubicBezTo>
                    <a:pt x="58" y="35"/>
                    <a:pt x="59" y="32"/>
                    <a:pt x="61" y="32"/>
                  </a:cubicBezTo>
                  <a:cubicBezTo>
                    <a:pt x="62" y="32"/>
                    <a:pt x="65" y="33"/>
                    <a:pt x="67" y="32"/>
                  </a:cubicBezTo>
                  <a:cubicBezTo>
                    <a:pt x="70" y="32"/>
                    <a:pt x="72" y="30"/>
                    <a:pt x="73" y="30"/>
                  </a:cubicBezTo>
                  <a:cubicBezTo>
                    <a:pt x="74" y="30"/>
                    <a:pt x="76" y="30"/>
                    <a:pt x="76" y="30"/>
                  </a:cubicBezTo>
                  <a:cubicBezTo>
                    <a:pt x="75" y="29"/>
                    <a:pt x="74" y="28"/>
                    <a:pt x="72" y="28"/>
                  </a:cubicBezTo>
                  <a:cubicBezTo>
                    <a:pt x="71" y="28"/>
                    <a:pt x="71" y="25"/>
                    <a:pt x="71" y="25"/>
                  </a:cubicBezTo>
                  <a:cubicBezTo>
                    <a:pt x="72" y="25"/>
                    <a:pt x="75" y="26"/>
                    <a:pt x="75" y="27"/>
                  </a:cubicBezTo>
                  <a:cubicBezTo>
                    <a:pt x="75" y="28"/>
                    <a:pt x="76" y="29"/>
                    <a:pt x="78" y="29"/>
                  </a:cubicBezTo>
                  <a:cubicBezTo>
                    <a:pt x="80" y="29"/>
                    <a:pt x="79" y="27"/>
                    <a:pt x="79" y="27"/>
                  </a:cubicBezTo>
                  <a:cubicBezTo>
                    <a:pt x="78" y="26"/>
                    <a:pt x="78" y="25"/>
                    <a:pt x="78" y="25"/>
                  </a:cubicBezTo>
                  <a:cubicBezTo>
                    <a:pt x="77" y="24"/>
                    <a:pt x="76" y="22"/>
                    <a:pt x="78" y="22"/>
                  </a:cubicBezTo>
                  <a:cubicBezTo>
                    <a:pt x="80" y="22"/>
                    <a:pt x="84" y="24"/>
                    <a:pt x="84" y="22"/>
                  </a:cubicBezTo>
                  <a:cubicBezTo>
                    <a:pt x="84" y="21"/>
                    <a:pt x="84" y="19"/>
                    <a:pt x="85" y="18"/>
                  </a:cubicBezTo>
                  <a:cubicBezTo>
                    <a:pt x="85" y="18"/>
                    <a:pt x="86" y="17"/>
                    <a:pt x="86" y="17"/>
                  </a:cubicBezTo>
                  <a:cubicBezTo>
                    <a:pt x="85" y="17"/>
                    <a:pt x="84" y="17"/>
                    <a:pt x="83" y="16"/>
                  </a:cubicBezTo>
                  <a:cubicBezTo>
                    <a:pt x="83" y="15"/>
                    <a:pt x="84" y="14"/>
                    <a:pt x="85" y="13"/>
                  </a:cubicBezTo>
                  <a:cubicBezTo>
                    <a:pt x="85" y="13"/>
                    <a:pt x="89" y="10"/>
                    <a:pt x="91" y="9"/>
                  </a:cubicBezTo>
                  <a:cubicBezTo>
                    <a:pt x="93" y="9"/>
                    <a:pt x="94" y="7"/>
                    <a:pt x="93" y="7"/>
                  </a:cubicBezTo>
                  <a:cubicBezTo>
                    <a:pt x="91" y="6"/>
                    <a:pt x="88" y="6"/>
                    <a:pt x="87" y="7"/>
                  </a:cubicBezTo>
                  <a:cubicBezTo>
                    <a:pt x="85" y="8"/>
                    <a:pt x="84" y="9"/>
                    <a:pt x="82" y="9"/>
                  </a:cubicBezTo>
                  <a:cubicBezTo>
                    <a:pt x="79" y="8"/>
                    <a:pt x="79" y="6"/>
                    <a:pt x="78" y="5"/>
                  </a:cubicBezTo>
                  <a:cubicBezTo>
                    <a:pt x="76" y="4"/>
                    <a:pt x="77" y="1"/>
                    <a:pt x="75" y="2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3" y="2"/>
                    <a:pt x="71" y="2"/>
                    <a:pt x="69" y="2"/>
                  </a:cubicBezTo>
                  <a:cubicBezTo>
                    <a:pt x="68" y="2"/>
                    <a:pt x="66" y="3"/>
                    <a:pt x="65" y="3"/>
                  </a:cubicBezTo>
                  <a:cubicBezTo>
                    <a:pt x="63" y="2"/>
                    <a:pt x="62" y="3"/>
                    <a:pt x="61" y="3"/>
                  </a:cubicBezTo>
                  <a:cubicBezTo>
                    <a:pt x="57" y="4"/>
                    <a:pt x="53" y="3"/>
                    <a:pt x="53" y="3"/>
                  </a:cubicBezTo>
                  <a:cubicBezTo>
                    <a:pt x="52" y="3"/>
                    <a:pt x="56" y="3"/>
                    <a:pt x="58" y="3"/>
                  </a:cubicBezTo>
                  <a:cubicBezTo>
                    <a:pt x="61" y="3"/>
                    <a:pt x="64" y="2"/>
                    <a:pt x="66" y="2"/>
                  </a:cubicBezTo>
                  <a:cubicBezTo>
                    <a:pt x="68" y="2"/>
                    <a:pt x="66" y="1"/>
                    <a:pt x="66" y="1"/>
                  </a:cubicBezTo>
                  <a:cubicBezTo>
                    <a:pt x="64" y="1"/>
                    <a:pt x="61" y="1"/>
                    <a:pt x="58" y="0"/>
                  </a:cubicBezTo>
                  <a:cubicBezTo>
                    <a:pt x="51" y="1"/>
                    <a:pt x="44" y="3"/>
                    <a:pt x="37" y="4"/>
                  </a:cubicBezTo>
                  <a:cubicBezTo>
                    <a:pt x="37" y="5"/>
                    <a:pt x="36" y="5"/>
                    <a:pt x="36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4" y="5"/>
                    <a:pt x="33" y="5"/>
                    <a:pt x="32" y="6"/>
                  </a:cubicBezTo>
                  <a:cubicBezTo>
                    <a:pt x="32" y="6"/>
                    <a:pt x="32" y="6"/>
                    <a:pt x="32" y="7"/>
                  </a:cubicBezTo>
                  <a:cubicBezTo>
                    <a:pt x="31" y="7"/>
                    <a:pt x="28" y="8"/>
                    <a:pt x="27" y="7"/>
                  </a:cubicBezTo>
                  <a:cubicBezTo>
                    <a:pt x="17" y="10"/>
                    <a:pt x="8" y="15"/>
                    <a:pt x="0" y="19"/>
                  </a:cubicBezTo>
                  <a:cubicBezTo>
                    <a:pt x="0" y="20"/>
                    <a:pt x="0" y="21"/>
                    <a:pt x="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2496" y="732"/>
              <a:ext cx="15" cy="21"/>
            </a:xfrm>
            <a:custGeom>
              <a:avLst/>
              <a:gdLst>
                <a:gd name="T0" fmla="*/ 1 w 2"/>
                <a:gd name="T1" fmla="*/ 1 h 3"/>
                <a:gd name="T2" fmla="*/ 1 w 2"/>
                <a:gd name="T3" fmla="*/ 2 h 3"/>
                <a:gd name="T4" fmla="*/ 2 w 2"/>
                <a:gd name="T5" fmla="*/ 2 h 3"/>
                <a:gd name="T6" fmla="*/ 1 w 2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1" y="1"/>
                  </a:moveTo>
                  <a:cubicBezTo>
                    <a:pt x="0" y="3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auto">
            <a:xfrm>
              <a:off x="2091" y="1457"/>
              <a:ext cx="114" cy="56"/>
            </a:xfrm>
            <a:custGeom>
              <a:avLst/>
              <a:gdLst>
                <a:gd name="T0" fmla="*/ 13 w 16"/>
                <a:gd name="T1" fmla="*/ 4 h 8"/>
                <a:gd name="T2" fmla="*/ 9 w 16"/>
                <a:gd name="T3" fmla="*/ 1 h 8"/>
                <a:gd name="T4" fmla="*/ 4 w 16"/>
                <a:gd name="T5" fmla="*/ 0 h 8"/>
                <a:gd name="T6" fmla="*/ 0 w 16"/>
                <a:gd name="T7" fmla="*/ 1 h 8"/>
                <a:gd name="T8" fmla="*/ 3 w 16"/>
                <a:gd name="T9" fmla="*/ 3 h 8"/>
                <a:gd name="T10" fmla="*/ 9 w 16"/>
                <a:gd name="T11" fmla="*/ 3 h 8"/>
                <a:gd name="T12" fmla="*/ 13 w 16"/>
                <a:gd name="T13" fmla="*/ 7 h 8"/>
                <a:gd name="T14" fmla="*/ 16 w 16"/>
                <a:gd name="T15" fmla="*/ 7 h 8"/>
                <a:gd name="T16" fmla="*/ 13 w 16"/>
                <a:gd name="T17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8">
                  <a:moveTo>
                    <a:pt x="13" y="4"/>
                  </a:moveTo>
                  <a:cubicBezTo>
                    <a:pt x="12" y="4"/>
                    <a:pt x="10" y="3"/>
                    <a:pt x="9" y="1"/>
                  </a:cubicBezTo>
                  <a:cubicBezTo>
                    <a:pt x="8" y="0"/>
                    <a:pt x="5" y="0"/>
                    <a:pt x="4" y="0"/>
                  </a:cubicBezTo>
                  <a:cubicBezTo>
                    <a:pt x="3" y="0"/>
                    <a:pt x="0" y="1"/>
                    <a:pt x="0" y="1"/>
                  </a:cubicBezTo>
                  <a:cubicBezTo>
                    <a:pt x="0" y="3"/>
                    <a:pt x="1" y="3"/>
                    <a:pt x="3" y="3"/>
                  </a:cubicBezTo>
                  <a:cubicBezTo>
                    <a:pt x="5" y="3"/>
                    <a:pt x="8" y="2"/>
                    <a:pt x="9" y="3"/>
                  </a:cubicBezTo>
                  <a:cubicBezTo>
                    <a:pt x="9" y="4"/>
                    <a:pt x="12" y="6"/>
                    <a:pt x="13" y="7"/>
                  </a:cubicBezTo>
                  <a:cubicBezTo>
                    <a:pt x="13" y="7"/>
                    <a:pt x="16" y="8"/>
                    <a:pt x="16" y="7"/>
                  </a:cubicBezTo>
                  <a:cubicBezTo>
                    <a:pt x="16" y="6"/>
                    <a:pt x="14" y="4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2" name="Freeform 20"/>
            <p:cNvSpPr>
              <a:spLocks/>
            </p:cNvSpPr>
            <p:nvPr/>
          </p:nvSpPr>
          <p:spPr bwMode="auto">
            <a:xfrm>
              <a:off x="2162" y="1421"/>
              <a:ext cx="22" cy="21"/>
            </a:xfrm>
            <a:custGeom>
              <a:avLst/>
              <a:gdLst>
                <a:gd name="T0" fmla="*/ 2 w 3"/>
                <a:gd name="T1" fmla="*/ 3 h 3"/>
                <a:gd name="T2" fmla="*/ 1 w 3"/>
                <a:gd name="T3" fmla="*/ 1 h 3"/>
                <a:gd name="T4" fmla="*/ 2 w 3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3" y="2"/>
                    <a:pt x="2" y="0"/>
                    <a:pt x="1" y="1"/>
                  </a:cubicBezTo>
                  <a:cubicBezTo>
                    <a:pt x="0" y="1"/>
                    <a:pt x="0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2162" y="1542"/>
              <a:ext cx="29" cy="28"/>
            </a:xfrm>
            <a:custGeom>
              <a:avLst/>
              <a:gdLst>
                <a:gd name="T0" fmla="*/ 2 w 4"/>
                <a:gd name="T1" fmla="*/ 0 h 4"/>
                <a:gd name="T2" fmla="*/ 2 w 4"/>
                <a:gd name="T3" fmla="*/ 3 h 4"/>
                <a:gd name="T4" fmla="*/ 2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0" y="1"/>
                    <a:pt x="1" y="4"/>
                    <a:pt x="2" y="3"/>
                  </a:cubicBezTo>
                  <a:cubicBezTo>
                    <a:pt x="4" y="3"/>
                    <a:pt x="3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auto">
            <a:xfrm>
              <a:off x="2312" y="1528"/>
              <a:ext cx="28" cy="28"/>
            </a:xfrm>
            <a:custGeom>
              <a:avLst/>
              <a:gdLst>
                <a:gd name="T0" fmla="*/ 2 w 4"/>
                <a:gd name="T1" fmla="*/ 0 h 4"/>
                <a:gd name="T2" fmla="*/ 2 w 4"/>
                <a:gd name="T3" fmla="*/ 3 h 4"/>
                <a:gd name="T4" fmla="*/ 2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0" y="0"/>
                    <a:pt x="1" y="4"/>
                    <a:pt x="2" y="3"/>
                  </a:cubicBezTo>
                  <a:cubicBezTo>
                    <a:pt x="4" y="3"/>
                    <a:pt x="3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auto">
            <a:xfrm>
              <a:off x="2219" y="1506"/>
              <a:ext cx="78" cy="50"/>
            </a:xfrm>
            <a:custGeom>
              <a:avLst/>
              <a:gdLst>
                <a:gd name="T0" fmla="*/ 7 w 11"/>
                <a:gd name="T1" fmla="*/ 0 h 7"/>
                <a:gd name="T2" fmla="*/ 4 w 11"/>
                <a:gd name="T3" fmla="*/ 1 h 7"/>
                <a:gd name="T4" fmla="*/ 0 w 11"/>
                <a:gd name="T5" fmla="*/ 4 h 7"/>
                <a:gd name="T6" fmla="*/ 3 w 11"/>
                <a:gd name="T7" fmla="*/ 4 h 7"/>
                <a:gd name="T8" fmla="*/ 6 w 11"/>
                <a:gd name="T9" fmla="*/ 6 h 7"/>
                <a:gd name="T10" fmla="*/ 9 w 11"/>
                <a:gd name="T11" fmla="*/ 5 h 7"/>
                <a:gd name="T12" fmla="*/ 11 w 11"/>
                <a:gd name="T13" fmla="*/ 5 h 7"/>
                <a:gd name="T14" fmla="*/ 7 w 11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7">
                  <a:moveTo>
                    <a:pt x="7" y="0"/>
                  </a:moveTo>
                  <a:cubicBezTo>
                    <a:pt x="6" y="0"/>
                    <a:pt x="5" y="0"/>
                    <a:pt x="4" y="1"/>
                  </a:cubicBezTo>
                  <a:cubicBezTo>
                    <a:pt x="3" y="1"/>
                    <a:pt x="0" y="4"/>
                    <a:pt x="0" y="4"/>
                  </a:cubicBezTo>
                  <a:cubicBezTo>
                    <a:pt x="0" y="4"/>
                    <a:pt x="2" y="4"/>
                    <a:pt x="3" y="4"/>
                  </a:cubicBezTo>
                  <a:cubicBezTo>
                    <a:pt x="4" y="4"/>
                    <a:pt x="5" y="5"/>
                    <a:pt x="6" y="6"/>
                  </a:cubicBezTo>
                  <a:cubicBezTo>
                    <a:pt x="7" y="6"/>
                    <a:pt x="8" y="5"/>
                    <a:pt x="9" y="5"/>
                  </a:cubicBezTo>
                  <a:cubicBezTo>
                    <a:pt x="10" y="5"/>
                    <a:pt x="10" y="7"/>
                    <a:pt x="11" y="5"/>
                  </a:cubicBezTo>
                  <a:cubicBezTo>
                    <a:pt x="11" y="2"/>
                    <a:pt x="9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auto">
            <a:xfrm>
              <a:off x="3726" y="2011"/>
              <a:ext cx="85" cy="206"/>
            </a:xfrm>
            <a:custGeom>
              <a:avLst/>
              <a:gdLst>
                <a:gd name="T0" fmla="*/ 7 w 12"/>
                <a:gd name="T1" fmla="*/ 5 h 29"/>
                <a:gd name="T2" fmla="*/ 4 w 12"/>
                <a:gd name="T3" fmla="*/ 8 h 29"/>
                <a:gd name="T4" fmla="*/ 1 w 12"/>
                <a:gd name="T5" fmla="*/ 13 h 29"/>
                <a:gd name="T6" fmla="*/ 1 w 12"/>
                <a:gd name="T7" fmla="*/ 19 h 29"/>
                <a:gd name="T8" fmla="*/ 1 w 12"/>
                <a:gd name="T9" fmla="*/ 26 h 29"/>
                <a:gd name="T10" fmla="*/ 2 w 12"/>
                <a:gd name="T11" fmla="*/ 29 h 29"/>
                <a:gd name="T12" fmla="*/ 6 w 12"/>
                <a:gd name="T13" fmla="*/ 25 h 29"/>
                <a:gd name="T14" fmla="*/ 8 w 12"/>
                <a:gd name="T15" fmla="*/ 18 h 29"/>
                <a:gd name="T16" fmla="*/ 10 w 12"/>
                <a:gd name="T17" fmla="*/ 11 h 29"/>
                <a:gd name="T18" fmla="*/ 12 w 12"/>
                <a:gd name="T19" fmla="*/ 5 h 29"/>
                <a:gd name="T20" fmla="*/ 11 w 12"/>
                <a:gd name="T21" fmla="*/ 0 h 29"/>
                <a:gd name="T22" fmla="*/ 7 w 12"/>
                <a:gd name="T23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29">
                  <a:moveTo>
                    <a:pt x="7" y="5"/>
                  </a:moveTo>
                  <a:cubicBezTo>
                    <a:pt x="6" y="7"/>
                    <a:pt x="5" y="9"/>
                    <a:pt x="4" y="8"/>
                  </a:cubicBezTo>
                  <a:cubicBezTo>
                    <a:pt x="4" y="8"/>
                    <a:pt x="1" y="10"/>
                    <a:pt x="1" y="13"/>
                  </a:cubicBezTo>
                  <a:cubicBezTo>
                    <a:pt x="2" y="15"/>
                    <a:pt x="2" y="18"/>
                    <a:pt x="1" y="19"/>
                  </a:cubicBezTo>
                  <a:cubicBezTo>
                    <a:pt x="0" y="21"/>
                    <a:pt x="1" y="24"/>
                    <a:pt x="1" y="26"/>
                  </a:cubicBezTo>
                  <a:cubicBezTo>
                    <a:pt x="0" y="28"/>
                    <a:pt x="1" y="29"/>
                    <a:pt x="2" y="29"/>
                  </a:cubicBezTo>
                  <a:cubicBezTo>
                    <a:pt x="4" y="28"/>
                    <a:pt x="5" y="27"/>
                    <a:pt x="6" y="25"/>
                  </a:cubicBezTo>
                  <a:cubicBezTo>
                    <a:pt x="7" y="23"/>
                    <a:pt x="7" y="20"/>
                    <a:pt x="8" y="18"/>
                  </a:cubicBezTo>
                  <a:cubicBezTo>
                    <a:pt x="9" y="16"/>
                    <a:pt x="10" y="12"/>
                    <a:pt x="10" y="11"/>
                  </a:cubicBezTo>
                  <a:cubicBezTo>
                    <a:pt x="11" y="10"/>
                    <a:pt x="12" y="6"/>
                    <a:pt x="12" y="5"/>
                  </a:cubicBezTo>
                  <a:cubicBezTo>
                    <a:pt x="12" y="3"/>
                    <a:pt x="11" y="0"/>
                    <a:pt x="11" y="0"/>
                  </a:cubicBezTo>
                  <a:cubicBezTo>
                    <a:pt x="9" y="0"/>
                    <a:pt x="9" y="3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auto">
            <a:xfrm>
              <a:off x="3299" y="1151"/>
              <a:ext cx="36" cy="36"/>
            </a:xfrm>
            <a:custGeom>
              <a:avLst/>
              <a:gdLst>
                <a:gd name="T0" fmla="*/ 4 w 5"/>
                <a:gd name="T1" fmla="*/ 3 h 5"/>
                <a:gd name="T2" fmla="*/ 2 w 5"/>
                <a:gd name="T3" fmla="*/ 0 h 5"/>
                <a:gd name="T4" fmla="*/ 1 w 5"/>
                <a:gd name="T5" fmla="*/ 4 h 5"/>
                <a:gd name="T6" fmla="*/ 4 w 5"/>
                <a:gd name="T7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3"/>
                  </a:moveTo>
                  <a:cubicBezTo>
                    <a:pt x="5" y="2"/>
                    <a:pt x="3" y="0"/>
                    <a:pt x="2" y="0"/>
                  </a:cubicBezTo>
                  <a:cubicBezTo>
                    <a:pt x="1" y="0"/>
                    <a:pt x="0" y="3"/>
                    <a:pt x="1" y="4"/>
                  </a:cubicBezTo>
                  <a:cubicBezTo>
                    <a:pt x="2" y="5"/>
                    <a:pt x="3" y="4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auto">
            <a:xfrm>
              <a:off x="3221" y="1151"/>
              <a:ext cx="21" cy="21"/>
            </a:xfrm>
            <a:custGeom>
              <a:avLst/>
              <a:gdLst>
                <a:gd name="T0" fmla="*/ 2 w 3"/>
                <a:gd name="T1" fmla="*/ 3 h 3"/>
                <a:gd name="T2" fmla="*/ 1 w 3"/>
                <a:gd name="T3" fmla="*/ 2 h 3"/>
                <a:gd name="T4" fmla="*/ 2 w 3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3" y="2"/>
                    <a:pt x="2" y="0"/>
                    <a:pt x="1" y="2"/>
                  </a:cubicBezTo>
                  <a:cubicBezTo>
                    <a:pt x="0" y="3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auto">
            <a:xfrm>
              <a:off x="3363" y="1194"/>
              <a:ext cx="50" cy="35"/>
            </a:xfrm>
            <a:custGeom>
              <a:avLst/>
              <a:gdLst>
                <a:gd name="T0" fmla="*/ 2 w 7"/>
                <a:gd name="T1" fmla="*/ 3 h 5"/>
                <a:gd name="T2" fmla="*/ 5 w 7"/>
                <a:gd name="T3" fmla="*/ 5 h 5"/>
                <a:gd name="T4" fmla="*/ 7 w 7"/>
                <a:gd name="T5" fmla="*/ 3 h 5"/>
                <a:gd name="T6" fmla="*/ 4 w 7"/>
                <a:gd name="T7" fmla="*/ 1 h 5"/>
                <a:gd name="T8" fmla="*/ 1 w 7"/>
                <a:gd name="T9" fmla="*/ 1 h 5"/>
                <a:gd name="T10" fmla="*/ 2 w 7"/>
                <a:gd name="T11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2" y="3"/>
                  </a:moveTo>
                  <a:cubicBezTo>
                    <a:pt x="3" y="3"/>
                    <a:pt x="4" y="4"/>
                    <a:pt x="5" y="5"/>
                  </a:cubicBezTo>
                  <a:cubicBezTo>
                    <a:pt x="5" y="5"/>
                    <a:pt x="7" y="5"/>
                    <a:pt x="7" y="3"/>
                  </a:cubicBezTo>
                  <a:cubicBezTo>
                    <a:pt x="6" y="1"/>
                    <a:pt x="4" y="1"/>
                    <a:pt x="4" y="1"/>
                  </a:cubicBezTo>
                  <a:cubicBezTo>
                    <a:pt x="3" y="1"/>
                    <a:pt x="1" y="0"/>
                    <a:pt x="1" y="1"/>
                  </a:cubicBezTo>
                  <a:cubicBezTo>
                    <a:pt x="0" y="1"/>
                    <a:pt x="2" y="2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auto">
            <a:xfrm>
              <a:off x="3036" y="917"/>
              <a:ext cx="64" cy="64"/>
            </a:xfrm>
            <a:custGeom>
              <a:avLst/>
              <a:gdLst>
                <a:gd name="T0" fmla="*/ 1 w 9"/>
                <a:gd name="T1" fmla="*/ 3 h 9"/>
                <a:gd name="T2" fmla="*/ 1 w 9"/>
                <a:gd name="T3" fmla="*/ 6 h 9"/>
                <a:gd name="T4" fmla="*/ 2 w 9"/>
                <a:gd name="T5" fmla="*/ 9 h 9"/>
                <a:gd name="T6" fmla="*/ 6 w 9"/>
                <a:gd name="T7" fmla="*/ 8 h 9"/>
                <a:gd name="T8" fmla="*/ 9 w 9"/>
                <a:gd name="T9" fmla="*/ 5 h 9"/>
                <a:gd name="T10" fmla="*/ 8 w 9"/>
                <a:gd name="T11" fmla="*/ 1 h 9"/>
                <a:gd name="T12" fmla="*/ 5 w 9"/>
                <a:gd name="T13" fmla="*/ 0 h 9"/>
                <a:gd name="T14" fmla="*/ 3 w 9"/>
                <a:gd name="T15" fmla="*/ 2 h 9"/>
                <a:gd name="T16" fmla="*/ 1 w 9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1" y="3"/>
                  </a:moveTo>
                  <a:cubicBezTo>
                    <a:pt x="1" y="5"/>
                    <a:pt x="2" y="6"/>
                    <a:pt x="1" y="6"/>
                  </a:cubicBezTo>
                  <a:cubicBezTo>
                    <a:pt x="0" y="7"/>
                    <a:pt x="1" y="9"/>
                    <a:pt x="2" y="9"/>
                  </a:cubicBezTo>
                  <a:cubicBezTo>
                    <a:pt x="4" y="9"/>
                    <a:pt x="5" y="8"/>
                    <a:pt x="6" y="8"/>
                  </a:cubicBezTo>
                  <a:cubicBezTo>
                    <a:pt x="8" y="7"/>
                    <a:pt x="9" y="6"/>
                    <a:pt x="9" y="5"/>
                  </a:cubicBezTo>
                  <a:cubicBezTo>
                    <a:pt x="9" y="3"/>
                    <a:pt x="9" y="1"/>
                    <a:pt x="8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4" y="2"/>
                    <a:pt x="3" y="2"/>
                  </a:cubicBezTo>
                  <a:cubicBezTo>
                    <a:pt x="2" y="2"/>
                    <a:pt x="0" y="2"/>
                    <a:pt x="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auto">
            <a:xfrm>
              <a:off x="3072" y="867"/>
              <a:ext cx="142" cy="135"/>
            </a:xfrm>
            <a:custGeom>
              <a:avLst/>
              <a:gdLst>
                <a:gd name="T0" fmla="*/ 5 w 20"/>
                <a:gd name="T1" fmla="*/ 9 h 19"/>
                <a:gd name="T2" fmla="*/ 9 w 20"/>
                <a:gd name="T3" fmla="*/ 11 h 19"/>
                <a:gd name="T4" fmla="*/ 4 w 20"/>
                <a:gd name="T5" fmla="*/ 16 h 19"/>
                <a:gd name="T6" fmla="*/ 8 w 20"/>
                <a:gd name="T7" fmla="*/ 17 h 19"/>
                <a:gd name="T8" fmla="*/ 8 w 20"/>
                <a:gd name="T9" fmla="*/ 18 h 19"/>
                <a:gd name="T10" fmla="*/ 11 w 20"/>
                <a:gd name="T11" fmla="*/ 17 h 19"/>
                <a:gd name="T12" fmla="*/ 16 w 20"/>
                <a:gd name="T13" fmla="*/ 18 h 19"/>
                <a:gd name="T14" fmla="*/ 19 w 20"/>
                <a:gd name="T15" fmla="*/ 15 h 19"/>
                <a:gd name="T16" fmla="*/ 16 w 20"/>
                <a:gd name="T17" fmla="*/ 11 h 19"/>
                <a:gd name="T18" fmla="*/ 12 w 20"/>
                <a:gd name="T19" fmla="*/ 6 h 19"/>
                <a:gd name="T20" fmla="*/ 14 w 20"/>
                <a:gd name="T21" fmla="*/ 2 h 19"/>
                <a:gd name="T22" fmla="*/ 8 w 20"/>
                <a:gd name="T23" fmla="*/ 1 h 19"/>
                <a:gd name="T24" fmla="*/ 4 w 20"/>
                <a:gd name="T25" fmla="*/ 2 h 19"/>
                <a:gd name="T26" fmla="*/ 2 w 20"/>
                <a:gd name="T27" fmla="*/ 2 h 19"/>
                <a:gd name="T28" fmla="*/ 2 w 20"/>
                <a:gd name="T29" fmla="*/ 5 h 19"/>
                <a:gd name="T30" fmla="*/ 5 w 20"/>
                <a:gd name="T31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" h="19">
                  <a:moveTo>
                    <a:pt x="5" y="9"/>
                  </a:moveTo>
                  <a:cubicBezTo>
                    <a:pt x="7" y="9"/>
                    <a:pt x="11" y="10"/>
                    <a:pt x="9" y="11"/>
                  </a:cubicBezTo>
                  <a:cubicBezTo>
                    <a:pt x="8" y="11"/>
                    <a:pt x="4" y="15"/>
                    <a:pt x="4" y="16"/>
                  </a:cubicBezTo>
                  <a:cubicBezTo>
                    <a:pt x="4" y="17"/>
                    <a:pt x="8" y="17"/>
                    <a:pt x="8" y="17"/>
                  </a:cubicBezTo>
                  <a:cubicBezTo>
                    <a:pt x="8" y="17"/>
                    <a:pt x="7" y="18"/>
                    <a:pt x="8" y="18"/>
                  </a:cubicBezTo>
                  <a:cubicBezTo>
                    <a:pt x="9" y="19"/>
                    <a:pt x="10" y="17"/>
                    <a:pt x="11" y="17"/>
                  </a:cubicBezTo>
                  <a:cubicBezTo>
                    <a:pt x="12" y="17"/>
                    <a:pt x="15" y="18"/>
                    <a:pt x="16" y="18"/>
                  </a:cubicBezTo>
                  <a:cubicBezTo>
                    <a:pt x="18" y="18"/>
                    <a:pt x="20" y="16"/>
                    <a:pt x="19" y="15"/>
                  </a:cubicBezTo>
                  <a:cubicBezTo>
                    <a:pt x="19" y="14"/>
                    <a:pt x="17" y="12"/>
                    <a:pt x="16" y="11"/>
                  </a:cubicBezTo>
                  <a:cubicBezTo>
                    <a:pt x="14" y="10"/>
                    <a:pt x="13" y="7"/>
                    <a:pt x="12" y="6"/>
                  </a:cubicBezTo>
                  <a:cubicBezTo>
                    <a:pt x="10" y="5"/>
                    <a:pt x="15" y="3"/>
                    <a:pt x="14" y="2"/>
                  </a:cubicBezTo>
                  <a:cubicBezTo>
                    <a:pt x="13" y="1"/>
                    <a:pt x="9" y="1"/>
                    <a:pt x="8" y="1"/>
                  </a:cubicBezTo>
                  <a:cubicBezTo>
                    <a:pt x="6" y="0"/>
                    <a:pt x="5" y="1"/>
                    <a:pt x="4" y="2"/>
                  </a:cubicBezTo>
                  <a:cubicBezTo>
                    <a:pt x="4" y="3"/>
                    <a:pt x="3" y="1"/>
                    <a:pt x="2" y="2"/>
                  </a:cubicBezTo>
                  <a:cubicBezTo>
                    <a:pt x="0" y="2"/>
                    <a:pt x="1" y="4"/>
                    <a:pt x="2" y="5"/>
                  </a:cubicBezTo>
                  <a:cubicBezTo>
                    <a:pt x="2" y="6"/>
                    <a:pt x="4" y="8"/>
                    <a:pt x="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Freeform 30"/>
            <p:cNvSpPr>
              <a:spLocks noEditPoints="1"/>
            </p:cNvSpPr>
            <p:nvPr/>
          </p:nvSpPr>
          <p:spPr bwMode="auto">
            <a:xfrm>
              <a:off x="2937" y="703"/>
              <a:ext cx="1037" cy="1670"/>
            </a:xfrm>
            <a:custGeom>
              <a:avLst/>
              <a:gdLst>
                <a:gd name="T0" fmla="*/ 43 w 146"/>
                <a:gd name="T1" fmla="*/ 19 h 235"/>
                <a:gd name="T2" fmla="*/ 57 w 146"/>
                <a:gd name="T3" fmla="*/ 30 h 235"/>
                <a:gd name="T4" fmla="*/ 65 w 146"/>
                <a:gd name="T5" fmla="*/ 33 h 235"/>
                <a:gd name="T6" fmla="*/ 72 w 146"/>
                <a:gd name="T7" fmla="*/ 16 h 235"/>
                <a:gd name="T8" fmla="*/ 76 w 146"/>
                <a:gd name="T9" fmla="*/ 24 h 235"/>
                <a:gd name="T10" fmla="*/ 76 w 146"/>
                <a:gd name="T11" fmla="*/ 26 h 235"/>
                <a:gd name="T12" fmla="*/ 67 w 146"/>
                <a:gd name="T13" fmla="*/ 34 h 235"/>
                <a:gd name="T14" fmla="*/ 57 w 146"/>
                <a:gd name="T15" fmla="*/ 34 h 235"/>
                <a:gd name="T16" fmla="*/ 50 w 146"/>
                <a:gd name="T17" fmla="*/ 29 h 235"/>
                <a:gd name="T18" fmla="*/ 38 w 146"/>
                <a:gd name="T19" fmla="*/ 40 h 235"/>
                <a:gd name="T20" fmla="*/ 33 w 146"/>
                <a:gd name="T21" fmla="*/ 50 h 235"/>
                <a:gd name="T22" fmla="*/ 17 w 146"/>
                <a:gd name="T23" fmla="*/ 66 h 235"/>
                <a:gd name="T24" fmla="*/ 27 w 146"/>
                <a:gd name="T25" fmla="*/ 72 h 235"/>
                <a:gd name="T26" fmla="*/ 42 w 146"/>
                <a:gd name="T27" fmla="*/ 61 h 235"/>
                <a:gd name="T28" fmla="*/ 60 w 146"/>
                <a:gd name="T29" fmla="*/ 62 h 235"/>
                <a:gd name="T30" fmla="*/ 71 w 146"/>
                <a:gd name="T31" fmla="*/ 66 h 235"/>
                <a:gd name="T32" fmla="*/ 69 w 146"/>
                <a:gd name="T33" fmla="*/ 60 h 235"/>
                <a:gd name="T34" fmla="*/ 83 w 146"/>
                <a:gd name="T35" fmla="*/ 71 h 235"/>
                <a:gd name="T36" fmla="*/ 90 w 146"/>
                <a:gd name="T37" fmla="*/ 75 h 235"/>
                <a:gd name="T38" fmla="*/ 100 w 146"/>
                <a:gd name="T39" fmla="*/ 85 h 235"/>
                <a:gd name="T40" fmla="*/ 87 w 146"/>
                <a:gd name="T41" fmla="*/ 91 h 235"/>
                <a:gd name="T42" fmla="*/ 70 w 146"/>
                <a:gd name="T43" fmla="*/ 87 h 235"/>
                <a:gd name="T44" fmla="*/ 59 w 146"/>
                <a:gd name="T45" fmla="*/ 75 h 235"/>
                <a:gd name="T46" fmla="*/ 24 w 146"/>
                <a:gd name="T47" fmla="*/ 76 h 235"/>
                <a:gd name="T48" fmla="*/ 3 w 146"/>
                <a:gd name="T49" fmla="*/ 106 h 235"/>
                <a:gd name="T50" fmla="*/ 4 w 146"/>
                <a:gd name="T51" fmla="*/ 135 h 235"/>
                <a:gd name="T52" fmla="*/ 27 w 146"/>
                <a:gd name="T53" fmla="*/ 150 h 235"/>
                <a:gd name="T54" fmla="*/ 53 w 146"/>
                <a:gd name="T55" fmla="*/ 150 h 235"/>
                <a:gd name="T56" fmla="*/ 61 w 146"/>
                <a:gd name="T57" fmla="*/ 176 h 235"/>
                <a:gd name="T58" fmla="*/ 61 w 146"/>
                <a:gd name="T59" fmla="*/ 209 h 235"/>
                <a:gd name="T60" fmla="*/ 66 w 146"/>
                <a:gd name="T61" fmla="*/ 230 h 235"/>
                <a:gd name="T62" fmla="*/ 90 w 146"/>
                <a:gd name="T63" fmla="*/ 223 h 235"/>
                <a:gd name="T64" fmla="*/ 100 w 146"/>
                <a:gd name="T65" fmla="*/ 200 h 235"/>
                <a:gd name="T66" fmla="*/ 107 w 146"/>
                <a:gd name="T67" fmla="*/ 174 h 235"/>
                <a:gd name="T68" fmla="*/ 125 w 146"/>
                <a:gd name="T69" fmla="*/ 139 h 235"/>
                <a:gd name="T70" fmla="*/ 112 w 146"/>
                <a:gd name="T71" fmla="*/ 126 h 235"/>
                <a:gd name="T72" fmla="*/ 99 w 146"/>
                <a:gd name="T73" fmla="*/ 95 h 235"/>
                <a:gd name="T74" fmla="*/ 112 w 146"/>
                <a:gd name="T75" fmla="*/ 117 h 235"/>
                <a:gd name="T76" fmla="*/ 129 w 146"/>
                <a:gd name="T77" fmla="*/ 122 h 235"/>
                <a:gd name="T78" fmla="*/ 132 w 146"/>
                <a:gd name="T79" fmla="*/ 102 h 235"/>
                <a:gd name="T80" fmla="*/ 122 w 146"/>
                <a:gd name="T81" fmla="*/ 94 h 235"/>
                <a:gd name="T82" fmla="*/ 135 w 146"/>
                <a:gd name="T83" fmla="*/ 103 h 235"/>
                <a:gd name="T84" fmla="*/ 103 w 146"/>
                <a:gd name="T85" fmla="*/ 18 h 235"/>
                <a:gd name="T86" fmla="*/ 96 w 146"/>
                <a:gd name="T87" fmla="*/ 13 h 235"/>
                <a:gd name="T88" fmla="*/ 99 w 146"/>
                <a:gd name="T89" fmla="*/ 159 h 235"/>
                <a:gd name="T90" fmla="*/ 122 w 146"/>
                <a:gd name="T91" fmla="*/ 56 h 235"/>
                <a:gd name="T92" fmla="*/ 123 w 146"/>
                <a:gd name="T93" fmla="*/ 61 h 235"/>
                <a:gd name="T94" fmla="*/ 129 w 146"/>
                <a:gd name="T95" fmla="*/ 77 h 235"/>
                <a:gd name="T96" fmla="*/ 121 w 146"/>
                <a:gd name="T97" fmla="*/ 66 h 235"/>
                <a:gd name="T98" fmla="*/ 94 w 146"/>
                <a:gd name="T99" fmla="*/ 25 h 235"/>
                <a:gd name="T100" fmla="*/ 101 w 146"/>
                <a:gd name="T101" fmla="*/ 55 h 235"/>
                <a:gd name="T102" fmla="*/ 110 w 146"/>
                <a:gd name="T103" fmla="*/ 66 h 235"/>
                <a:gd name="T104" fmla="*/ 88 w 146"/>
                <a:gd name="T105" fmla="*/ 6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6" h="235">
                  <a:moveTo>
                    <a:pt x="74" y="1"/>
                  </a:moveTo>
                  <a:cubicBezTo>
                    <a:pt x="71" y="1"/>
                    <a:pt x="61" y="5"/>
                    <a:pt x="60" y="6"/>
                  </a:cubicBezTo>
                  <a:cubicBezTo>
                    <a:pt x="60" y="6"/>
                    <a:pt x="59" y="8"/>
                    <a:pt x="57" y="10"/>
                  </a:cubicBezTo>
                  <a:cubicBezTo>
                    <a:pt x="56" y="11"/>
                    <a:pt x="52" y="12"/>
                    <a:pt x="49" y="13"/>
                  </a:cubicBezTo>
                  <a:cubicBezTo>
                    <a:pt x="47" y="13"/>
                    <a:pt x="43" y="18"/>
                    <a:pt x="43" y="19"/>
                  </a:cubicBezTo>
                  <a:cubicBezTo>
                    <a:pt x="43" y="19"/>
                    <a:pt x="45" y="22"/>
                    <a:pt x="45" y="22"/>
                  </a:cubicBezTo>
                  <a:cubicBezTo>
                    <a:pt x="44" y="23"/>
                    <a:pt x="46" y="26"/>
                    <a:pt x="47" y="26"/>
                  </a:cubicBezTo>
                  <a:cubicBezTo>
                    <a:pt x="49" y="27"/>
                    <a:pt x="52" y="27"/>
                    <a:pt x="52" y="26"/>
                  </a:cubicBezTo>
                  <a:cubicBezTo>
                    <a:pt x="52" y="25"/>
                    <a:pt x="54" y="23"/>
                    <a:pt x="55" y="24"/>
                  </a:cubicBezTo>
                  <a:cubicBezTo>
                    <a:pt x="55" y="26"/>
                    <a:pt x="57" y="29"/>
                    <a:pt x="57" y="30"/>
                  </a:cubicBezTo>
                  <a:cubicBezTo>
                    <a:pt x="57" y="30"/>
                    <a:pt x="57" y="32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8" y="33"/>
                    <a:pt x="58" y="35"/>
                    <a:pt x="58" y="35"/>
                  </a:cubicBezTo>
                  <a:cubicBezTo>
                    <a:pt x="58" y="35"/>
                    <a:pt x="59" y="37"/>
                    <a:pt x="60" y="37"/>
                  </a:cubicBezTo>
                  <a:cubicBezTo>
                    <a:pt x="61" y="31"/>
                    <a:pt x="65" y="33"/>
                    <a:pt x="65" y="33"/>
                  </a:cubicBezTo>
                  <a:cubicBezTo>
                    <a:pt x="65" y="33"/>
                    <a:pt x="67" y="31"/>
                    <a:pt x="66" y="30"/>
                  </a:cubicBezTo>
                  <a:cubicBezTo>
                    <a:pt x="66" y="28"/>
                    <a:pt x="68" y="26"/>
                    <a:pt x="68" y="25"/>
                  </a:cubicBezTo>
                  <a:cubicBezTo>
                    <a:pt x="69" y="25"/>
                    <a:pt x="70" y="23"/>
                    <a:pt x="68" y="22"/>
                  </a:cubicBezTo>
                  <a:cubicBezTo>
                    <a:pt x="66" y="21"/>
                    <a:pt x="64" y="20"/>
                    <a:pt x="66" y="19"/>
                  </a:cubicBezTo>
                  <a:cubicBezTo>
                    <a:pt x="68" y="17"/>
                    <a:pt x="70" y="19"/>
                    <a:pt x="72" y="16"/>
                  </a:cubicBezTo>
                  <a:cubicBezTo>
                    <a:pt x="74" y="13"/>
                    <a:pt x="71" y="12"/>
                    <a:pt x="74" y="12"/>
                  </a:cubicBezTo>
                  <a:cubicBezTo>
                    <a:pt x="77" y="12"/>
                    <a:pt x="80" y="12"/>
                    <a:pt x="79" y="13"/>
                  </a:cubicBezTo>
                  <a:cubicBezTo>
                    <a:pt x="79" y="14"/>
                    <a:pt x="75" y="16"/>
                    <a:pt x="74" y="17"/>
                  </a:cubicBezTo>
                  <a:cubicBezTo>
                    <a:pt x="72" y="18"/>
                    <a:pt x="72" y="20"/>
                    <a:pt x="73" y="21"/>
                  </a:cubicBezTo>
                  <a:cubicBezTo>
                    <a:pt x="74" y="22"/>
                    <a:pt x="75" y="24"/>
                    <a:pt x="76" y="24"/>
                  </a:cubicBezTo>
                  <a:cubicBezTo>
                    <a:pt x="77" y="24"/>
                    <a:pt x="79" y="23"/>
                    <a:pt x="80" y="23"/>
                  </a:cubicBezTo>
                  <a:cubicBezTo>
                    <a:pt x="82" y="23"/>
                    <a:pt x="85" y="23"/>
                    <a:pt x="85" y="23"/>
                  </a:cubicBezTo>
                  <a:cubicBezTo>
                    <a:pt x="86" y="23"/>
                    <a:pt x="88" y="26"/>
                    <a:pt x="87" y="26"/>
                  </a:cubicBezTo>
                  <a:cubicBezTo>
                    <a:pt x="86" y="26"/>
                    <a:pt x="84" y="26"/>
                    <a:pt x="82" y="26"/>
                  </a:cubicBezTo>
                  <a:cubicBezTo>
                    <a:pt x="79" y="26"/>
                    <a:pt x="76" y="26"/>
                    <a:pt x="76" y="26"/>
                  </a:cubicBezTo>
                  <a:cubicBezTo>
                    <a:pt x="76" y="27"/>
                    <a:pt x="80" y="28"/>
                    <a:pt x="79" y="29"/>
                  </a:cubicBezTo>
                  <a:cubicBezTo>
                    <a:pt x="78" y="30"/>
                    <a:pt x="76" y="29"/>
                    <a:pt x="75" y="28"/>
                  </a:cubicBezTo>
                  <a:cubicBezTo>
                    <a:pt x="73" y="28"/>
                    <a:pt x="73" y="30"/>
                    <a:pt x="72" y="32"/>
                  </a:cubicBezTo>
                  <a:cubicBezTo>
                    <a:pt x="72" y="33"/>
                    <a:pt x="74" y="36"/>
                    <a:pt x="71" y="35"/>
                  </a:cubicBezTo>
                  <a:cubicBezTo>
                    <a:pt x="69" y="34"/>
                    <a:pt x="67" y="33"/>
                    <a:pt x="67" y="34"/>
                  </a:cubicBezTo>
                  <a:cubicBezTo>
                    <a:pt x="66" y="34"/>
                    <a:pt x="65" y="35"/>
                    <a:pt x="63" y="35"/>
                  </a:cubicBezTo>
                  <a:cubicBezTo>
                    <a:pt x="62" y="36"/>
                    <a:pt x="62" y="38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36"/>
                    <a:pt x="58" y="35"/>
                    <a:pt x="57" y="34"/>
                  </a:cubicBezTo>
                  <a:cubicBezTo>
                    <a:pt x="57" y="34"/>
                    <a:pt x="57" y="34"/>
                    <a:pt x="57" y="33"/>
                  </a:cubicBezTo>
                  <a:cubicBezTo>
                    <a:pt x="57" y="33"/>
                    <a:pt x="56" y="33"/>
                    <a:pt x="56" y="33"/>
                  </a:cubicBezTo>
                  <a:cubicBezTo>
                    <a:pt x="56" y="33"/>
                    <a:pt x="55" y="33"/>
                    <a:pt x="55" y="31"/>
                  </a:cubicBezTo>
                  <a:cubicBezTo>
                    <a:pt x="54" y="30"/>
                    <a:pt x="55" y="28"/>
                    <a:pt x="54" y="28"/>
                  </a:cubicBezTo>
                  <a:cubicBezTo>
                    <a:pt x="53" y="28"/>
                    <a:pt x="51" y="28"/>
                    <a:pt x="50" y="29"/>
                  </a:cubicBezTo>
                  <a:cubicBezTo>
                    <a:pt x="50" y="30"/>
                    <a:pt x="49" y="32"/>
                    <a:pt x="50" y="33"/>
                  </a:cubicBezTo>
                  <a:cubicBezTo>
                    <a:pt x="51" y="34"/>
                    <a:pt x="53" y="36"/>
                    <a:pt x="51" y="35"/>
                  </a:cubicBezTo>
                  <a:cubicBezTo>
                    <a:pt x="49" y="35"/>
                    <a:pt x="47" y="34"/>
                    <a:pt x="46" y="35"/>
                  </a:cubicBezTo>
                  <a:cubicBezTo>
                    <a:pt x="45" y="36"/>
                    <a:pt x="42" y="39"/>
                    <a:pt x="42" y="39"/>
                  </a:cubicBezTo>
                  <a:cubicBezTo>
                    <a:pt x="42" y="39"/>
                    <a:pt x="38" y="39"/>
                    <a:pt x="38" y="40"/>
                  </a:cubicBezTo>
                  <a:cubicBezTo>
                    <a:pt x="38" y="41"/>
                    <a:pt x="39" y="43"/>
                    <a:pt x="37" y="43"/>
                  </a:cubicBezTo>
                  <a:cubicBezTo>
                    <a:pt x="36" y="43"/>
                    <a:pt x="34" y="43"/>
                    <a:pt x="32" y="44"/>
                  </a:cubicBezTo>
                  <a:cubicBezTo>
                    <a:pt x="30" y="44"/>
                    <a:pt x="30" y="45"/>
                    <a:pt x="27" y="45"/>
                  </a:cubicBezTo>
                  <a:cubicBezTo>
                    <a:pt x="25" y="45"/>
                    <a:pt x="25" y="46"/>
                    <a:pt x="27" y="47"/>
                  </a:cubicBezTo>
                  <a:cubicBezTo>
                    <a:pt x="29" y="47"/>
                    <a:pt x="33" y="49"/>
                    <a:pt x="33" y="50"/>
                  </a:cubicBezTo>
                  <a:cubicBezTo>
                    <a:pt x="33" y="52"/>
                    <a:pt x="33" y="54"/>
                    <a:pt x="32" y="56"/>
                  </a:cubicBezTo>
                  <a:cubicBezTo>
                    <a:pt x="32" y="57"/>
                    <a:pt x="28" y="56"/>
                    <a:pt x="26" y="56"/>
                  </a:cubicBezTo>
                  <a:cubicBezTo>
                    <a:pt x="24" y="56"/>
                    <a:pt x="20" y="55"/>
                    <a:pt x="18" y="56"/>
                  </a:cubicBezTo>
                  <a:cubicBezTo>
                    <a:pt x="16" y="57"/>
                    <a:pt x="17" y="61"/>
                    <a:pt x="17" y="62"/>
                  </a:cubicBezTo>
                  <a:cubicBezTo>
                    <a:pt x="18" y="64"/>
                    <a:pt x="17" y="65"/>
                    <a:pt x="17" y="66"/>
                  </a:cubicBezTo>
                  <a:cubicBezTo>
                    <a:pt x="16" y="66"/>
                    <a:pt x="16" y="68"/>
                    <a:pt x="17" y="69"/>
                  </a:cubicBezTo>
                  <a:cubicBezTo>
                    <a:pt x="18" y="70"/>
                    <a:pt x="18" y="72"/>
                    <a:pt x="19" y="72"/>
                  </a:cubicBezTo>
                  <a:cubicBezTo>
                    <a:pt x="20" y="72"/>
                    <a:pt x="22" y="71"/>
                    <a:pt x="23" y="72"/>
                  </a:cubicBezTo>
                  <a:cubicBezTo>
                    <a:pt x="24" y="73"/>
                    <a:pt x="25" y="76"/>
                    <a:pt x="25" y="75"/>
                  </a:cubicBezTo>
                  <a:cubicBezTo>
                    <a:pt x="26" y="74"/>
                    <a:pt x="26" y="72"/>
                    <a:pt x="27" y="72"/>
                  </a:cubicBezTo>
                  <a:cubicBezTo>
                    <a:pt x="28" y="73"/>
                    <a:pt x="30" y="72"/>
                    <a:pt x="32" y="72"/>
                  </a:cubicBezTo>
                  <a:cubicBezTo>
                    <a:pt x="33" y="72"/>
                    <a:pt x="34" y="70"/>
                    <a:pt x="36" y="69"/>
                  </a:cubicBezTo>
                  <a:cubicBezTo>
                    <a:pt x="37" y="68"/>
                    <a:pt x="36" y="68"/>
                    <a:pt x="36" y="67"/>
                  </a:cubicBezTo>
                  <a:cubicBezTo>
                    <a:pt x="35" y="66"/>
                    <a:pt x="37" y="64"/>
                    <a:pt x="38" y="63"/>
                  </a:cubicBezTo>
                  <a:cubicBezTo>
                    <a:pt x="39" y="62"/>
                    <a:pt x="42" y="63"/>
                    <a:pt x="42" y="61"/>
                  </a:cubicBezTo>
                  <a:cubicBezTo>
                    <a:pt x="42" y="60"/>
                    <a:pt x="42" y="57"/>
                    <a:pt x="44" y="57"/>
                  </a:cubicBezTo>
                  <a:cubicBezTo>
                    <a:pt x="45" y="58"/>
                    <a:pt x="47" y="59"/>
                    <a:pt x="48" y="59"/>
                  </a:cubicBezTo>
                  <a:cubicBezTo>
                    <a:pt x="49" y="59"/>
                    <a:pt x="52" y="57"/>
                    <a:pt x="52" y="56"/>
                  </a:cubicBezTo>
                  <a:cubicBezTo>
                    <a:pt x="53" y="56"/>
                    <a:pt x="55" y="56"/>
                    <a:pt x="56" y="58"/>
                  </a:cubicBezTo>
                  <a:cubicBezTo>
                    <a:pt x="56" y="60"/>
                    <a:pt x="59" y="62"/>
                    <a:pt x="60" y="62"/>
                  </a:cubicBezTo>
                  <a:cubicBezTo>
                    <a:pt x="60" y="63"/>
                    <a:pt x="65" y="65"/>
                    <a:pt x="65" y="65"/>
                  </a:cubicBezTo>
                  <a:cubicBezTo>
                    <a:pt x="66" y="66"/>
                    <a:pt x="67" y="68"/>
                    <a:pt x="67" y="69"/>
                  </a:cubicBezTo>
                  <a:cubicBezTo>
                    <a:pt x="68" y="71"/>
                    <a:pt x="70" y="73"/>
                    <a:pt x="70" y="71"/>
                  </a:cubicBezTo>
                  <a:cubicBezTo>
                    <a:pt x="70" y="70"/>
                    <a:pt x="68" y="66"/>
                    <a:pt x="69" y="66"/>
                  </a:cubicBezTo>
                  <a:cubicBezTo>
                    <a:pt x="70" y="66"/>
                    <a:pt x="71" y="66"/>
                    <a:pt x="71" y="66"/>
                  </a:cubicBezTo>
                  <a:cubicBezTo>
                    <a:pt x="71" y="66"/>
                    <a:pt x="68" y="63"/>
                    <a:pt x="67" y="62"/>
                  </a:cubicBezTo>
                  <a:cubicBezTo>
                    <a:pt x="66" y="62"/>
                    <a:pt x="64" y="60"/>
                    <a:pt x="63" y="58"/>
                  </a:cubicBezTo>
                  <a:cubicBezTo>
                    <a:pt x="62" y="56"/>
                    <a:pt x="59" y="56"/>
                    <a:pt x="59" y="54"/>
                  </a:cubicBezTo>
                  <a:cubicBezTo>
                    <a:pt x="59" y="52"/>
                    <a:pt x="62" y="53"/>
                    <a:pt x="63" y="55"/>
                  </a:cubicBezTo>
                  <a:cubicBezTo>
                    <a:pt x="64" y="57"/>
                    <a:pt x="68" y="59"/>
                    <a:pt x="69" y="60"/>
                  </a:cubicBezTo>
                  <a:cubicBezTo>
                    <a:pt x="70" y="62"/>
                    <a:pt x="72" y="62"/>
                    <a:pt x="72" y="64"/>
                  </a:cubicBezTo>
                  <a:cubicBezTo>
                    <a:pt x="73" y="66"/>
                    <a:pt x="74" y="68"/>
                    <a:pt x="75" y="69"/>
                  </a:cubicBezTo>
                  <a:cubicBezTo>
                    <a:pt x="76" y="69"/>
                    <a:pt x="76" y="76"/>
                    <a:pt x="77" y="77"/>
                  </a:cubicBezTo>
                  <a:cubicBezTo>
                    <a:pt x="77" y="78"/>
                    <a:pt x="80" y="75"/>
                    <a:pt x="80" y="74"/>
                  </a:cubicBezTo>
                  <a:cubicBezTo>
                    <a:pt x="81" y="73"/>
                    <a:pt x="83" y="73"/>
                    <a:pt x="83" y="71"/>
                  </a:cubicBezTo>
                  <a:cubicBezTo>
                    <a:pt x="83" y="70"/>
                    <a:pt x="81" y="69"/>
                    <a:pt x="80" y="68"/>
                  </a:cubicBezTo>
                  <a:cubicBezTo>
                    <a:pt x="79" y="67"/>
                    <a:pt x="81" y="67"/>
                    <a:pt x="82" y="66"/>
                  </a:cubicBezTo>
                  <a:cubicBezTo>
                    <a:pt x="83" y="65"/>
                    <a:pt x="84" y="64"/>
                    <a:pt x="85" y="65"/>
                  </a:cubicBezTo>
                  <a:cubicBezTo>
                    <a:pt x="85" y="67"/>
                    <a:pt x="85" y="71"/>
                    <a:pt x="86" y="72"/>
                  </a:cubicBezTo>
                  <a:cubicBezTo>
                    <a:pt x="86" y="73"/>
                    <a:pt x="89" y="74"/>
                    <a:pt x="90" y="75"/>
                  </a:cubicBezTo>
                  <a:cubicBezTo>
                    <a:pt x="90" y="76"/>
                    <a:pt x="93" y="77"/>
                    <a:pt x="93" y="76"/>
                  </a:cubicBezTo>
                  <a:cubicBezTo>
                    <a:pt x="94" y="75"/>
                    <a:pt x="96" y="77"/>
                    <a:pt x="97" y="77"/>
                  </a:cubicBezTo>
                  <a:cubicBezTo>
                    <a:pt x="97" y="77"/>
                    <a:pt x="99" y="77"/>
                    <a:pt x="100" y="76"/>
                  </a:cubicBezTo>
                  <a:cubicBezTo>
                    <a:pt x="101" y="76"/>
                    <a:pt x="102" y="75"/>
                    <a:pt x="102" y="77"/>
                  </a:cubicBezTo>
                  <a:cubicBezTo>
                    <a:pt x="102" y="80"/>
                    <a:pt x="102" y="84"/>
                    <a:pt x="100" y="85"/>
                  </a:cubicBezTo>
                  <a:cubicBezTo>
                    <a:pt x="99" y="87"/>
                    <a:pt x="100" y="88"/>
                    <a:pt x="98" y="88"/>
                  </a:cubicBezTo>
                  <a:cubicBezTo>
                    <a:pt x="98" y="88"/>
                    <a:pt x="97" y="88"/>
                    <a:pt x="97" y="88"/>
                  </a:cubicBezTo>
                  <a:cubicBezTo>
                    <a:pt x="96" y="87"/>
                    <a:pt x="95" y="87"/>
                    <a:pt x="95" y="87"/>
                  </a:cubicBezTo>
                  <a:cubicBezTo>
                    <a:pt x="93" y="87"/>
                    <a:pt x="91" y="87"/>
                    <a:pt x="89" y="90"/>
                  </a:cubicBezTo>
                  <a:cubicBezTo>
                    <a:pt x="88" y="92"/>
                    <a:pt x="87" y="92"/>
                    <a:pt x="87" y="91"/>
                  </a:cubicBezTo>
                  <a:cubicBezTo>
                    <a:pt x="87" y="90"/>
                    <a:pt x="91" y="87"/>
                    <a:pt x="90" y="86"/>
                  </a:cubicBezTo>
                  <a:cubicBezTo>
                    <a:pt x="90" y="85"/>
                    <a:pt x="86" y="86"/>
                    <a:pt x="84" y="85"/>
                  </a:cubicBezTo>
                  <a:cubicBezTo>
                    <a:pt x="82" y="85"/>
                    <a:pt x="81" y="84"/>
                    <a:pt x="79" y="83"/>
                  </a:cubicBezTo>
                  <a:cubicBezTo>
                    <a:pt x="78" y="83"/>
                    <a:pt x="77" y="87"/>
                    <a:pt x="76" y="89"/>
                  </a:cubicBezTo>
                  <a:cubicBezTo>
                    <a:pt x="74" y="91"/>
                    <a:pt x="72" y="88"/>
                    <a:pt x="70" y="87"/>
                  </a:cubicBezTo>
                  <a:cubicBezTo>
                    <a:pt x="69" y="87"/>
                    <a:pt x="66" y="85"/>
                    <a:pt x="66" y="85"/>
                  </a:cubicBezTo>
                  <a:cubicBezTo>
                    <a:pt x="66" y="85"/>
                    <a:pt x="63" y="83"/>
                    <a:pt x="62" y="83"/>
                  </a:cubicBezTo>
                  <a:cubicBezTo>
                    <a:pt x="61" y="83"/>
                    <a:pt x="59" y="81"/>
                    <a:pt x="58" y="80"/>
                  </a:cubicBezTo>
                  <a:cubicBezTo>
                    <a:pt x="57" y="80"/>
                    <a:pt x="55" y="79"/>
                    <a:pt x="57" y="78"/>
                  </a:cubicBezTo>
                  <a:cubicBezTo>
                    <a:pt x="58" y="77"/>
                    <a:pt x="61" y="79"/>
                    <a:pt x="59" y="75"/>
                  </a:cubicBezTo>
                  <a:cubicBezTo>
                    <a:pt x="58" y="70"/>
                    <a:pt x="53" y="71"/>
                    <a:pt x="52" y="71"/>
                  </a:cubicBezTo>
                  <a:cubicBezTo>
                    <a:pt x="51" y="72"/>
                    <a:pt x="43" y="71"/>
                    <a:pt x="42" y="71"/>
                  </a:cubicBezTo>
                  <a:cubicBezTo>
                    <a:pt x="42" y="71"/>
                    <a:pt x="37" y="73"/>
                    <a:pt x="35" y="74"/>
                  </a:cubicBezTo>
                  <a:cubicBezTo>
                    <a:pt x="34" y="75"/>
                    <a:pt x="31" y="76"/>
                    <a:pt x="30" y="76"/>
                  </a:cubicBezTo>
                  <a:cubicBezTo>
                    <a:pt x="30" y="77"/>
                    <a:pt x="26" y="75"/>
                    <a:pt x="24" y="76"/>
                  </a:cubicBezTo>
                  <a:cubicBezTo>
                    <a:pt x="22" y="78"/>
                    <a:pt x="20" y="80"/>
                    <a:pt x="20" y="80"/>
                  </a:cubicBezTo>
                  <a:cubicBezTo>
                    <a:pt x="19" y="80"/>
                    <a:pt x="18" y="81"/>
                    <a:pt x="17" y="84"/>
                  </a:cubicBezTo>
                  <a:cubicBezTo>
                    <a:pt x="16" y="87"/>
                    <a:pt x="17" y="90"/>
                    <a:pt x="15" y="91"/>
                  </a:cubicBezTo>
                  <a:cubicBezTo>
                    <a:pt x="13" y="92"/>
                    <a:pt x="9" y="94"/>
                    <a:pt x="8" y="95"/>
                  </a:cubicBezTo>
                  <a:cubicBezTo>
                    <a:pt x="6" y="97"/>
                    <a:pt x="5" y="103"/>
                    <a:pt x="3" y="106"/>
                  </a:cubicBezTo>
                  <a:cubicBezTo>
                    <a:pt x="2" y="109"/>
                    <a:pt x="3" y="111"/>
                    <a:pt x="4" y="113"/>
                  </a:cubicBezTo>
                  <a:cubicBezTo>
                    <a:pt x="4" y="115"/>
                    <a:pt x="5" y="118"/>
                    <a:pt x="3" y="121"/>
                  </a:cubicBezTo>
                  <a:cubicBezTo>
                    <a:pt x="1" y="124"/>
                    <a:pt x="2" y="125"/>
                    <a:pt x="1" y="126"/>
                  </a:cubicBezTo>
                  <a:cubicBezTo>
                    <a:pt x="0" y="126"/>
                    <a:pt x="2" y="127"/>
                    <a:pt x="2" y="129"/>
                  </a:cubicBezTo>
                  <a:cubicBezTo>
                    <a:pt x="2" y="131"/>
                    <a:pt x="0" y="133"/>
                    <a:pt x="4" y="135"/>
                  </a:cubicBezTo>
                  <a:cubicBezTo>
                    <a:pt x="7" y="137"/>
                    <a:pt x="10" y="137"/>
                    <a:pt x="11" y="139"/>
                  </a:cubicBezTo>
                  <a:cubicBezTo>
                    <a:pt x="12" y="142"/>
                    <a:pt x="15" y="148"/>
                    <a:pt x="15" y="148"/>
                  </a:cubicBezTo>
                  <a:cubicBezTo>
                    <a:pt x="15" y="148"/>
                    <a:pt x="18" y="151"/>
                    <a:pt x="20" y="152"/>
                  </a:cubicBezTo>
                  <a:cubicBezTo>
                    <a:pt x="21" y="154"/>
                    <a:pt x="22" y="153"/>
                    <a:pt x="22" y="151"/>
                  </a:cubicBezTo>
                  <a:cubicBezTo>
                    <a:pt x="22" y="150"/>
                    <a:pt x="24" y="150"/>
                    <a:pt x="27" y="150"/>
                  </a:cubicBezTo>
                  <a:cubicBezTo>
                    <a:pt x="29" y="150"/>
                    <a:pt x="31" y="150"/>
                    <a:pt x="33" y="150"/>
                  </a:cubicBezTo>
                  <a:cubicBezTo>
                    <a:pt x="36" y="149"/>
                    <a:pt x="38" y="146"/>
                    <a:pt x="39" y="145"/>
                  </a:cubicBezTo>
                  <a:cubicBezTo>
                    <a:pt x="39" y="145"/>
                    <a:pt x="43" y="144"/>
                    <a:pt x="45" y="146"/>
                  </a:cubicBezTo>
                  <a:cubicBezTo>
                    <a:pt x="47" y="148"/>
                    <a:pt x="47" y="150"/>
                    <a:pt x="48" y="151"/>
                  </a:cubicBezTo>
                  <a:cubicBezTo>
                    <a:pt x="49" y="153"/>
                    <a:pt x="51" y="152"/>
                    <a:pt x="53" y="150"/>
                  </a:cubicBezTo>
                  <a:cubicBezTo>
                    <a:pt x="54" y="149"/>
                    <a:pt x="54" y="149"/>
                    <a:pt x="55" y="151"/>
                  </a:cubicBezTo>
                  <a:cubicBezTo>
                    <a:pt x="57" y="152"/>
                    <a:pt x="58" y="153"/>
                    <a:pt x="56" y="155"/>
                  </a:cubicBezTo>
                  <a:cubicBezTo>
                    <a:pt x="55" y="157"/>
                    <a:pt x="55" y="159"/>
                    <a:pt x="54" y="162"/>
                  </a:cubicBezTo>
                  <a:cubicBezTo>
                    <a:pt x="53" y="165"/>
                    <a:pt x="55" y="165"/>
                    <a:pt x="57" y="166"/>
                  </a:cubicBezTo>
                  <a:cubicBezTo>
                    <a:pt x="59" y="167"/>
                    <a:pt x="60" y="175"/>
                    <a:pt x="61" y="176"/>
                  </a:cubicBezTo>
                  <a:cubicBezTo>
                    <a:pt x="62" y="178"/>
                    <a:pt x="60" y="182"/>
                    <a:pt x="61" y="184"/>
                  </a:cubicBezTo>
                  <a:cubicBezTo>
                    <a:pt x="62" y="186"/>
                    <a:pt x="63" y="187"/>
                    <a:pt x="61" y="189"/>
                  </a:cubicBezTo>
                  <a:cubicBezTo>
                    <a:pt x="60" y="190"/>
                    <a:pt x="58" y="192"/>
                    <a:pt x="58" y="196"/>
                  </a:cubicBezTo>
                  <a:cubicBezTo>
                    <a:pt x="57" y="200"/>
                    <a:pt x="58" y="202"/>
                    <a:pt x="58" y="203"/>
                  </a:cubicBezTo>
                  <a:cubicBezTo>
                    <a:pt x="59" y="204"/>
                    <a:pt x="60" y="208"/>
                    <a:pt x="61" y="209"/>
                  </a:cubicBezTo>
                  <a:cubicBezTo>
                    <a:pt x="62" y="210"/>
                    <a:pt x="64" y="212"/>
                    <a:pt x="64" y="214"/>
                  </a:cubicBezTo>
                  <a:cubicBezTo>
                    <a:pt x="64" y="216"/>
                    <a:pt x="61" y="219"/>
                    <a:pt x="62" y="220"/>
                  </a:cubicBezTo>
                  <a:cubicBezTo>
                    <a:pt x="63" y="221"/>
                    <a:pt x="63" y="222"/>
                    <a:pt x="64" y="224"/>
                  </a:cubicBezTo>
                  <a:cubicBezTo>
                    <a:pt x="66" y="225"/>
                    <a:pt x="66" y="228"/>
                    <a:pt x="66" y="228"/>
                  </a:cubicBezTo>
                  <a:cubicBezTo>
                    <a:pt x="66" y="228"/>
                    <a:pt x="66" y="229"/>
                    <a:pt x="66" y="230"/>
                  </a:cubicBezTo>
                  <a:cubicBezTo>
                    <a:pt x="66" y="232"/>
                    <a:pt x="66" y="233"/>
                    <a:pt x="67" y="234"/>
                  </a:cubicBezTo>
                  <a:cubicBezTo>
                    <a:pt x="69" y="235"/>
                    <a:pt x="70" y="235"/>
                    <a:pt x="70" y="234"/>
                  </a:cubicBezTo>
                  <a:cubicBezTo>
                    <a:pt x="71" y="233"/>
                    <a:pt x="75" y="231"/>
                    <a:pt x="77" y="231"/>
                  </a:cubicBezTo>
                  <a:cubicBezTo>
                    <a:pt x="79" y="231"/>
                    <a:pt x="81" y="231"/>
                    <a:pt x="83" y="230"/>
                  </a:cubicBezTo>
                  <a:cubicBezTo>
                    <a:pt x="85" y="228"/>
                    <a:pt x="89" y="224"/>
                    <a:pt x="90" y="223"/>
                  </a:cubicBezTo>
                  <a:cubicBezTo>
                    <a:pt x="91" y="221"/>
                    <a:pt x="94" y="219"/>
                    <a:pt x="94" y="218"/>
                  </a:cubicBezTo>
                  <a:cubicBezTo>
                    <a:pt x="93" y="216"/>
                    <a:pt x="92" y="214"/>
                    <a:pt x="93" y="214"/>
                  </a:cubicBezTo>
                  <a:cubicBezTo>
                    <a:pt x="94" y="213"/>
                    <a:pt x="98" y="212"/>
                    <a:pt x="98" y="211"/>
                  </a:cubicBezTo>
                  <a:cubicBezTo>
                    <a:pt x="99" y="210"/>
                    <a:pt x="98" y="206"/>
                    <a:pt x="98" y="205"/>
                  </a:cubicBezTo>
                  <a:cubicBezTo>
                    <a:pt x="98" y="204"/>
                    <a:pt x="99" y="202"/>
                    <a:pt x="100" y="200"/>
                  </a:cubicBezTo>
                  <a:cubicBezTo>
                    <a:pt x="101" y="198"/>
                    <a:pt x="104" y="196"/>
                    <a:pt x="105" y="195"/>
                  </a:cubicBezTo>
                  <a:cubicBezTo>
                    <a:pt x="105" y="195"/>
                    <a:pt x="108" y="192"/>
                    <a:pt x="108" y="190"/>
                  </a:cubicBezTo>
                  <a:cubicBezTo>
                    <a:pt x="109" y="187"/>
                    <a:pt x="108" y="184"/>
                    <a:pt x="109" y="183"/>
                  </a:cubicBezTo>
                  <a:cubicBezTo>
                    <a:pt x="109" y="182"/>
                    <a:pt x="109" y="181"/>
                    <a:pt x="108" y="179"/>
                  </a:cubicBezTo>
                  <a:cubicBezTo>
                    <a:pt x="107" y="178"/>
                    <a:pt x="107" y="174"/>
                    <a:pt x="107" y="174"/>
                  </a:cubicBezTo>
                  <a:cubicBezTo>
                    <a:pt x="106" y="173"/>
                    <a:pt x="107" y="168"/>
                    <a:pt x="108" y="168"/>
                  </a:cubicBezTo>
                  <a:cubicBezTo>
                    <a:pt x="109" y="167"/>
                    <a:pt x="111" y="163"/>
                    <a:pt x="112" y="162"/>
                  </a:cubicBezTo>
                  <a:cubicBezTo>
                    <a:pt x="113" y="160"/>
                    <a:pt x="116" y="154"/>
                    <a:pt x="117" y="154"/>
                  </a:cubicBezTo>
                  <a:cubicBezTo>
                    <a:pt x="119" y="153"/>
                    <a:pt x="121" y="150"/>
                    <a:pt x="121" y="149"/>
                  </a:cubicBezTo>
                  <a:cubicBezTo>
                    <a:pt x="121" y="147"/>
                    <a:pt x="125" y="140"/>
                    <a:pt x="125" y="139"/>
                  </a:cubicBezTo>
                  <a:cubicBezTo>
                    <a:pt x="125" y="138"/>
                    <a:pt x="126" y="133"/>
                    <a:pt x="126" y="132"/>
                  </a:cubicBezTo>
                  <a:cubicBezTo>
                    <a:pt x="125" y="131"/>
                    <a:pt x="121" y="134"/>
                    <a:pt x="120" y="134"/>
                  </a:cubicBezTo>
                  <a:cubicBezTo>
                    <a:pt x="119" y="134"/>
                    <a:pt x="118" y="136"/>
                    <a:pt x="116" y="136"/>
                  </a:cubicBezTo>
                  <a:cubicBezTo>
                    <a:pt x="114" y="136"/>
                    <a:pt x="115" y="133"/>
                    <a:pt x="114" y="132"/>
                  </a:cubicBezTo>
                  <a:cubicBezTo>
                    <a:pt x="114" y="131"/>
                    <a:pt x="112" y="127"/>
                    <a:pt x="112" y="126"/>
                  </a:cubicBezTo>
                  <a:cubicBezTo>
                    <a:pt x="111" y="126"/>
                    <a:pt x="110" y="124"/>
                    <a:pt x="109" y="122"/>
                  </a:cubicBezTo>
                  <a:cubicBezTo>
                    <a:pt x="108" y="119"/>
                    <a:pt x="106" y="118"/>
                    <a:pt x="104" y="116"/>
                  </a:cubicBezTo>
                  <a:cubicBezTo>
                    <a:pt x="103" y="114"/>
                    <a:pt x="105" y="109"/>
                    <a:pt x="103" y="106"/>
                  </a:cubicBezTo>
                  <a:cubicBezTo>
                    <a:pt x="102" y="103"/>
                    <a:pt x="101" y="100"/>
                    <a:pt x="100" y="97"/>
                  </a:cubicBezTo>
                  <a:cubicBezTo>
                    <a:pt x="100" y="97"/>
                    <a:pt x="100" y="96"/>
                    <a:pt x="99" y="95"/>
                  </a:cubicBezTo>
                  <a:cubicBezTo>
                    <a:pt x="101" y="95"/>
                    <a:pt x="103" y="94"/>
                    <a:pt x="103" y="95"/>
                  </a:cubicBezTo>
                  <a:cubicBezTo>
                    <a:pt x="103" y="97"/>
                    <a:pt x="105" y="100"/>
                    <a:pt x="105" y="102"/>
                  </a:cubicBezTo>
                  <a:cubicBezTo>
                    <a:pt x="105" y="104"/>
                    <a:pt x="107" y="103"/>
                    <a:pt x="107" y="105"/>
                  </a:cubicBezTo>
                  <a:cubicBezTo>
                    <a:pt x="107" y="107"/>
                    <a:pt x="108" y="112"/>
                    <a:pt x="109" y="112"/>
                  </a:cubicBezTo>
                  <a:cubicBezTo>
                    <a:pt x="109" y="113"/>
                    <a:pt x="112" y="116"/>
                    <a:pt x="112" y="117"/>
                  </a:cubicBezTo>
                  <a:cubicBezTo>
                    <a:pt x="113" y="118"/>
                    <a:pt x="113" y="120"/>
                    <a:pt x="113" y="123"/>
                  </a:cubicBezTo>
                  <a:cubicBezTo>
                    <a:pt x="114" y="126"/>
                    <a:pt x="114" y="129"/>
                    <a:pt x="115" y="130"/>
                  </a:cubicBezTo>
                  <a:cubicBezTo>
                    <a:pt x="116" y="131"/>
                    <a:pt x="120" y="129"/>
                    <a:pt x="120" y="128"/>
                  </a:cubicBezTo>
                  <a:cubicBezTo>
                    <a:pt x="121" y="128"/>
                    <a:pt x="125" y="125"/>
                    <a:pt x="126" y="125"/>
                  </a:cubicBezTo>
                  <a:cubicBezTo>
                    <a:pt x="127" y="124"/>
                    <a:pt x="127" y="123"/>
                    <a:pt x="129" y="122"/>
                  </a:cubicBezTo>
                  <a:cubicBezTo>
                    <a:pt x="131" y="122"/>
                    <a:pt x="132" y="120"/>
                    <a:pt x="133" y="118"/>
                  </a:cubicBezTo>
                  <a:cubicBezTo>
                    <a:pt x="134" y="117"/>
                    <a:pt x="135" y="113"/>
                    <a:pt x="136" y="112"/>
                  </a:cubicBezTo>
                  <a:cubicBezTo>
                    <a:pt x="136" y="111"/>
                    <a:pt x="137" y="110"/>
                    <a:pt x="136" y="108"/>
                  </a:cubicBezTo>
                  <a:cubicBezTo>
                    <a:pt x="136" y="107"/>
                    <a:pt x="134" y="105"/>
                    <a:pt x="133" y="105"/>
                  </a:cubicBezTo>
                  <a:cubicBezTo>
                    <a:pt x="132" y="104"/>
                    <a:pt x="132" y="102"/>
                    <a:pt x="132" y="102"/>
                  </a:cubicBezTo>
                  <a:cubicBezTo>
                    <a:pt x="131" y="102"/>
                    <a:pt x="131" y="103"/>
                    <a:pt x="130" y="104"/>
                  </a:cubicBezTo>
                  <a:cubicBezTo>
                    <a:pt x="129" y="105"/>
                    <a:pt x="128" y="107"/>
                    <a:pt x="127" y="106"/>
                  </a:cubicBezTo>
                  <a:cubicBezTo>
                    <a:pt x="127" y="106"/>
                    <a:pt x="128" y="105"/>
                    <a:pt x="126" y="103"/>
                  </a:cubicBezTo>
                  <a:cubicBezTo>
                    <a:pt x="125" y="102"/>
                    <a:pt x="125" y="101"/>
                    <a:pt x="125" y="100"/>
                  </a:cubicBezTo>
                  <a:cubicBezTo>
                    <a:pt x="125" y="99"/>
                    <a:pt x="122" y="96"/>
                    <a:pt x="122" y="94"/>
                  </a:cubicBezTo>
                  <a:cubicBezTo>
                    <a:pt x="121" y="92"/>
                    <a:pt x="123" y="90"/>
                    <a:pt x="124" y="91"/>
                  </a:cubicBezTo>
                  <a:cubicBezTo>
                    <a:pt x="125" y="93"/>
                    <a:pt x="125" y="96"/>
                    <a:pt x="127" y="97"/>
                  </a:cubicBezTo>
                  <a:cubicBezTo>
                    <a:pt x="128" y="98"/>
                    <a:pt x="129" y="100"/>
                    <a:pt x="130" y="101"/>
                  </a:cubicBezTo>
                  <a:cubicBezTo>
                    <a:pt x="131" y="101"/>
                    <a:pt x="132" y="99"/>
                    <a:pt x="133" y="99"/>
                  </a:cubicBezTo>
                  <a:cubicBezTo>
                    <a:pt x="133" y="99"/>
                    <a:pt x="134" y="103"/>
                    <a:pt x="135" y="103"/>
                  </a:cubicBezTo>
                  <a:cubicBezTo>
                    <a:pt x="136" y="104"/>
                    <a:pt x="139" y="104"/>
                    <a:pt x="139" y="104"/>
                  </a:cubicBezTo>
                  <a:cubicBezTo>
                    <a:pt x="140" y="104"/>
                    <a:pt x="142" y="105"/>
                    <a:pt x="142" y="104"/>
                  </a:cubicBezTo>
                  <a:cubicBezTo>
                    <a:pt x="142" y="103"/>
                    <a:pt x="146" y="101"/>
                    <a:pt x="146" y="101"/>
                  </a:cubicBezTo>
                  <a:cubicBezTo>
                    <a:pt x="146" y="101"/>
                    <a:pt x="146" y="100"/>
                    <a:pt x="146" y="98"/>
                  </a:cubicBezTo>
                  <a:cubicBezTo>
                    <a:pt x="140" y="67"/>
                    <a:pt x="124" y="39"/>
                    <a:pt x="103" y="18"/>
                  </a:cubicBezTo>
                  <a:cubicBezTo>
                    <a:pt x="102" y="18"/>
                    <a:pt x="102" y="18"/>
                    <a:pt x="101" y="17"/>
                  </a:cubicBezTo>
                  <a:cubicBezTo>
                    <a:pt x="99" y="16"/>
                    <a:pt x="99" y="16"/>
                    <a:pt x="99" y="17"/>
                  </a:cubicBezTo>
                  <a:cubicBezTo>
                    <a:pt x="98" y="17"/>
                    <a:pt x="97" y="18"/>
                    <a:pt x="96" y="17"/>
                  </a:cubicBezTo>
                  <a:cubicBezTo>
                    <a:pt x="96" y="15"/>
                    <a:pt x="96" y="15"/>
                    <a:pt x="95" y="14"/>
                  </a:cubicBezTo>
                  <a:cubicBezTo>
                    <a:pt x="94" y="13"/>
                    <a:pt x="95" y="13"/>
                    <a:pt x="96" y="13"/>
                  </a:cubicBezTo>
                  <a:cubicBezTo>
                    <a:pt x="97" y="14"/>
                    <a:pt x="98" y="14"/>
                    <a:pt x="99" y="14"/>
                  </a:cubicBezTo>
                  <a:cubicBezTo>
                    <a:pt x="95" y="11"/>
                    <a:pt x="92" y="8"/>
                    <a:pt x="88" y="5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6" y="5"/>
                    <a:pt x="78" y="0"/>
                    <a:pt x="74" y="1"/>
                  </a:cubicBezTo>
                  <a:close/>
                  <a:moveTo>
                    <a:pt x="99" y="159"/>
                  </a:moveTo>
                  <a:cubicBezTo>
                    <a:pt x="100" y="160"/>
                    <a:pt x="98" y="165"/>
                    <a:pt x="96" y="165"/>
                  </a:cubicBezTo>
                  <a:cubicBezTo>
                    <a:pt x="95" y="165"/>
                    <a:pt x="96" y="160"/>
                    <a:pt x="96" y="159"/>
                  </a:cubicBezTo>
                  <a:cubicBezTo>
                    <a:pt x="97" y="158"/>
                    <a:pt x="99" y="158"/>
                    <a:pt x="99" y="159"/>
                  </a:cubicBezTo>
                  <a:close/>
                  <a:moveTo>
                    <a:pt x="118" y="56"/>
                  </a:moveTo>
                  <a:cubicBezTo>
                    <a:pt x="119" y="55"/>
                    <a:pt x="121" y="57"/>
                    <a:pt x="122" y="56"/>
                  </a:cubicBezTo>
                  <a:cubicBezTo>
                    <a:pt x="123" y="56"/>
                    <a:pt x="124" y="55"/>
                    <a:pt x="124" y="54"/>
                  </a:cubicBezTo>
                  <a:cubicBezTo>
                    <a:pt x="125" y="54"/>
                    <a:pt x="127" y="55"/>
                    <a:pt x="127" y="56"/>
                  </a:cubicBezTo>
                  <a:cubicBezTo>
                    <a:pt x="128" y="57"/>
                    <a:pt x="129" y="59"/>
                    <a:pt x="129" y="60"/>
                  </a:cubicBezTo>
                  <a:cubicBezTo>
                    <a:pt x="128" y="60"/>
                    <a:pt x="126" y="60"/>
                    <a:pt x="126" y="59"/>
                  </a:cubicBezTo>
                  <a:cubicBezTo>
                    <a:pt x="125" y="58"/>
                    <a:pt x="123" y="59"/>
                    <a:pt x="123" y="61"/>
                  </a:cubicBezTo>
                  <a:cubicBezTo>
                    <a:pt x="123" y="63"/>
                    <a:pt x="124" y="62"/>
                    <a:pt x="124" y="62"/>
                  </a:cubicBezTo>
                  <a:cubicBezTo>
                    <a:pt x="125" y="63"/>
                    <a:pt x="125" y="64"/>
                    <a:pt x="126" y="66"/>
                  </a:cubicBezTo>
                  <a:cubicBezTo>
                    <a:pt x="126" y="67"/>
                    <a:pt x="127" y="66"/>
                    <a:pt x="128" y="67"/>
                  </a:cubicBezTo>
                  <a:cubicBezTo>
                    <a:pt x="128" y="68"/>
                    <a:pt x="126" y="69"/>
                    <a:pt x="127" y="70"/>
                  </a:cubicBezTo>
                  <a:cubicBezTo>
                    <a:pt x="128" y="72"/>
                    <a:pt x="129" y="76"/>
                    <a:pt x="129" y="77"/>
                  </a:cubicBezTo>
                  <a:cubicBezTo>
                    <a:pt x="129" y="78"/>
                    <a:pt x="127" y="78"/>
                    <a:pt x="126" y="78"/>
                  </a:cubicBezTo>
                  <a:cubicBezTo>
                    <a:pt x="125" y="78"/>
                    <a:pt x="122" y="76"/>
                    <a:pt x="122" y="76"/>
                  </a:cubicBezTo>
                  <a:cubicBezTo>
                    <a:pt x="121" y="75"/>
                    <a:pt x="120" y="71"/>
                    <a:pt x="121" y="71"/>
                  </a:cubicBezTo>
                  <a:cubicBezTo>
                    <a:pt x="122" y="71"/>
                    <a:pt x="122" y="71"/>
                    <a:pt x="124" y="69"/>
                  </a:cubicBezTo>
                  <a:cubicBezTo>
                    <a:pt x="125" y="68"/>
                    <a:pt x="122" y="67"/>
                    <a:pt x="121" y="66"/>
                  </a:cubicBezTo>
                  <a:cubicBezTo>
                    <a:pt x="120" y="66"/>
                    <a:pt x="118" y="62"/>
                    <a:pt x="117" y="60"/>
                  </a:cubicBezTo>
                  <a:cubicBezTo>
                    <a:pt x="117" y="59"/>
                    <a:pt x="117" y="57"/>
                    <a:pt x="118" y="56"/>
                  </a:cubicBezTo>
                  <a:close/>
                  <a:moveTo>
                    <a:pt x="94" y="25"/>
                  </a:moveTo>
                  <a:cubicBezTo>
                    <a:pt x="93" y="26"/>
                    <a:pt x="89" y="24"/>
                    <a:pt x="89" y="23"/>
                  </a:cubicBezTo>
                  <a:cubicBezTo>
                    <a:pt x="90" y="20"/>
                    <a:pt x="94" y="24"/>
                    <a:pt x="94" y="25"/>
                  </a:cubicBezTo>
                  <a:close/>
                  <a:moveTo>
                    <a:pt x="91" y="54"/>
                  </a:moveTo>
                  <a:cubicBezTo>
                    <a:pt x="92" y="53"/>
                    <a:pt x="93" y="53"/>
                    <a:pt x="94" y="53"/>
                  </a:cubicBezTo>
                  <a:cubicBezTo>
                    <a:pt x="95" y="53"/>
                    <a:pt x="97" y="57"/>
                    <a:pt x="97" y="58"/>
                  </a:cubicBezTo>
                  <a:cubicBezTo>
                    <a:pt x="98" y="59"/>
                    <a:pt x="99" y="57"/>
                    <a:pt x="99" y="57"/>
                  </a:cubicBezTo>
                  <a:cubicBezTo>
                    <a:pt x="100" y="57"/>
                    <a:pt x="101" y="56"/>
                    <a:pt x="101" y="55"/>
                  </a:cubicBezTo>
                  <a:cubicBezTo>
                    <a:pt x="101" y="54"/>
                    <a:pt x="102" y="54"/>
                    <a:pt x="103" y="54"/>
                  </a:cubicBezTo>
                  <a:cubicBezTo>
                    <a:pt x="105" y="54"/>
                    <a:pt x="104" y="55"/>
                    <a:pt x="103" y="55"/>
                  </a:cubicBezTo>
                  <a:cubicBezTo>
                    <a:pt x="102" y="56"/>
                    <a:pt x="102" y="57"/>
                    <a:pt x="104" y="57"/>
                  </a:cubicBezTo>
                  <a:cubicBezTo>
                    <a:pt x="106" y="58"/>
                    <a:pt x="107" y="60"/>
                    <a:pt x="109" y="62"/>
                  </a:cubicBezTo>
                  <a:cubicBezTo>
                    <a:pt x="111" y="63"/>
                    <a:pt x="111" y="66"/>
                    <a:pt x="110" y="66"/>
                  </a:cubicBezTo>
                  <a:cubicBezTo>
                    <a:pt x="109" y="67"/>
                    <a:pt x="106" y="67"/>
                    <a:pt x="105" y="66"/>
                  </a:cubicBezTo>
                  <a:cubicBezTo>
                    <a:pt x="104" y="66"/>
                    <a:pt x="102" y="64"/>
                    <a:pt x="100" y="64"/>
                  </a:cubicBezTo>
                  <a:cubicBezTo>
                    <a:pt x="98" y="63"/>
                    <a:pt x="96" y="63"/>
                    <a:pt x="95" y="64"/>
                  </a:cubicBezTo>
                  <a:cubicBezTo>
                    <a:pt x="95" y="66"/>
                    <a:pt x="92" y="65"/>
                    <a:pt x="91" y="65"/>
                  </a:cubicBezTo>
                  <a:cubicBezTo>
                    <a:pt x="90" y="65"/>
                    <a:pt x="89" y="67"/>
                    <a:pt x="88" y="66"/>
                  </a:cubicBezTo>
                  <a:cubicBezTo>
                    <a:pt x="88" y="66"/>
                    <a:pt x="89" y="62"/>
                    <a:pt x="88" y="62"/>
                  </a:cubicBezTo>
                  <a:cubicBezTo>
                    <a:pt x="87" y="62"/>
                    <a:pt x="88" y="59"/>
                    <a:pt x="89" y="59"/>
                  </a:cubicBezTo>
                  <a:cubicBezTo>
                    <a:pt x="90" y="58"/>
                    <a:pt x="91" y="56"/>
                    <a:pt x="91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31"/>
            <p:cNvSpPr>
              <a:spLocks/>
            </p:cNvSpPr>
            <p:nvPr/>
          </p:nvSpPr>
          <p:spPr bwMode="auto">
            <a:xfrm>
              <a:off x="3342" y="938"/>
              <a:ext cx="21" cy="28"/>
            </a:xfrm>
            <a:custGeom>
              <a:avLst/>
              <a:gdLst>
                <a:gd name="T0" fmla="*/ 1 w 3"/>
                <a:gd name="T1" fmla="*/ 4 h 4"/>
                <a:gd name="T2" fmla="*/ 3 w 3"/>
                <a:gd name="T3" fmla="*/ 4 h 4"/>
                <a:gd name="T4" fmla="*/ 1 w 3"/>
                <a:gd name="T5" fmla="*/ 2 h 4"/>
                <a:gd name="T6" fmla="*/ 0 w 3"/>
                <a:gd name="T7" fmla="*/ 0 h 4"/>
                <a:gd name="T8" fmla="*/ 0 w 3"/>
                <a:gd name="T9" fmla="*/ 0 h 4"/>
                <a:gd name="T10" fmla="*/ 0 w 3"/>
                <a:gd name="T11" fmla="*/ 1 h 4"/>
                <a:gd name="T12" fmla="*/ 1 w 3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cubicBezTo>
                    <a:pt x="1" y="4"/>
                    <a:pt x="1" y="4"/>
                    <a:pt x="3" y="4"/>
                  </a:cubicBezTo>
                  <a:cubicBezTo>
                    <a:pt x="2" y="4"/>
                    <a:pt x="1" y="2"/>
                    <a:pt x="1" y="2"/>
                  </a:cubicBezTo>
                  <a:cubicBezTo>
                    <a:pt x="1" y="2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1" y="3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34" name="Arc 33"/>
          <p:cNvSpPr/>
          <p:nvPr/>
        </p:nvSpPr>
        <p:spPr>
          <a:xfrm>
            <a:off x="3272032" y="2206896"/>
            <a:ext cx="2607128" cy="2606040"/>
          </a:xfrm>
          <a:prstGeom prst="arc">
            <a:avLst>
              <a:gd name="adj1" fmla="val 10800897"/>
              <a:gd name="adj2" fmla="val 13510334"/>
            </a:avLst>
          </a:prstGeom>
          <a:ln w="114300" cap="rnd">
            <a:solidFill>
              <a:schemeClr val="accent1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1" name="Arc 40"/>
          <p:cNvSpPr/>
          <p:nvPr/>
        </p:nvSpPr>
        <p:spPr>
          <a:xfrm rot="2700000">
            <a:off x="3272032" y="2206896"/>
            <a:ext cx="2607128" cy="2606040"/>
          </a:xfrm>
          <a:prstGeom prst="arc">
            <a:avLst>
              <a:gd name="adj1" fmla="val 10800897"/>
              <a:gd name="adj2" fmla="val 13510334"/>
            </a:avLst>
          </a:prstGeom>
          <a:ln w="114300" cap="rnd">
            <a:solidFill>
              <a:schemeClr val="accent3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2" name="Arc 41"/>
          <p:cNvSpPr/>
          <p:nvPr/>
        </p:nvSpPr>
        <p:spPr>
          <a:xfrm rot="5400000">
            <a:off x="3272032" y="2206896"/>
            <a:ext cx="2607128" cy="2606040"/>
          </a:xfrm>
          <a:prstGeom prst="arc">
            <a:avLst>
              <a:gd name="adj1" fmla="val 10800897"/>
              <a:gd name="adj2" fmla="val 13489616"/>
            </a:avLst>
          </a:prstGeom>
          <a:ln w="114300" cap="rnd">
            <a:solidFill>
              <a:schemeClr val="accent5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3" name="Arc 42"/>
          <p:cNvSpPr/>
          <p:nvPr/>
        </p:nvSpPr>
        <p:spPr>
          <a:xfrm rot="8100000">
            <a:off x="3272032" y="2206896"/>
            <a:ext cx="2607128" cy="2606040"/>
          </a:xfrm>
          <a:prstGeom prst="arc">
            <a:avLst>
              <a:gd name="adj1" fmla="val 10824533"/>
              <a:gd name="adj2" fmla="val 13510334"/>
            </a:avLst>
          </a:prstGeom>
          <a:ln w="114300" cap="rnd">
            <a:solidFill>
              <a:schemeClr val="tx2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4" name="Oval 43"/>
          <p:cNvSpPr>
            <a:spLocks noChangeAspect="1"/>
          </p:cNvSpPr>
          <p:nvPr/>
        </p:nvSpPr>
        <p:spPr>
          <a:xfrm>
            <a:off x="3215153" y="3452766"/>
            <a:ext cx="114300" cy="1143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5" name="Oval 44"/>
          <p:cNvSpPr>
            <a:spLocks noChangeAspect="1"/>
          </p:cNvSpPr>
          <p:nvPr/>
        </p:nvSpPr>
        <p:spPr>
          <a:xfrm>
            <a:off x="3600892" y="2531419"/>
            <a:ext cx="114300" cy="1143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6" name="Oval 45"/>
          <p:cNvSpPr>
            <a:spLocks noChangeAspect="1"/>
          </p:cNvSpPr>
          <p:nvPr/>
        </p:nvSpPr>
        <p:spPr>
          <a:xfrm>
            <a:off x="4516663" y="2149474"/>
            <a:ext cx="114300" cy="1143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7" name="Oval 46"/>
          <p:cNvSpPr>
            <a:spLocks noChangeAspect="1"/>
          </p:cNvSpPr>
          <p:nvPr/>
        </p:nvSpPr>
        <p:spPr>
          <a:xfrm>
            <a:off x="5438659" y="2531419"/>
            <a:ext cx="114300" cy="1143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Oval 47"/>
          <p:cNvSpPr>
            <a:spLocks noChangeAspect="1"/>
          </p:cNvSpPr>
          <p:nvPr/>
        </p:nvSpPr>
        <p:spPr>
          <a:xfrm>
            <a:off x="5819683" y="3452766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0" name="Rectangle 49"/>
          <p:cNvSpPr/>
          <p:nvPr/>
        </p:nvSpPr>
        <p:spPr>
          <a:xfrm>
            <a:off x="251521" y="3342569"/>
            <a:ext cx="1993902" cy="3013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>
              <a:lnSpc>
                <a:spcPct val="89000"/>
              </a:lnSpc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</a:t>
            </a:r>
          </a:p>
        </p:txBody>
      </p:sp>
      <p:grpSp>
        <p:nvGrpSpPr>
          <p:cNvPr id="51" name="Group 50"/>
          <p:cNvGrpSpPr/>
          <p:nvPr/>
        </p:nvGrpSpPr>
        <p:grpSpPr>
          <a:xfrm>
            <a:off x="6111205" y="3130109"/>
            <a:ext cx="726878" cy="726282"/>
            <a:chOff x="0" y="-1971675"/>
            <a:chExt cx="1939925" cy="1938338"/>
          </a:xfrm>
        </p:grpSpPr>
        <p:sp>
          <p:nvSpPr>
            <p:cNvPr id="52" name="Oval 61"/>
            <p:cNvSpPr>
              <a:spLocks noChangeArrowheads="1"/>
            </p:cNvSpPr>
            <p:nvPr/>
          </p:nvSpPr>
          <p:spPr bwMode="auto">
            <a:xfrm>
              <a:off x="0" y="-1971675"/>
              <a:ext cx="1939925" cy="1938338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53" name="Group 52"/>
            <p:cNvGrpSpPr/>
            <p:nvPr/>
          </p:nvGrpSpPr>
          <p:grpSpPr>
            <a:xfrm>
              <a:off x="279400" y="-1397000"/>
              <a:ext cx="1387475" cy="788988"/>
              <a:chOff x="279400" y="-1397000"/>
              <a:chExt cx="1387475" cy="788988"/>
            </a:xfrm>
          </p:grpSpPr>
          <p:sp>
            <p:nvSpPr>
              <p:cNvPr id="54" name="Freeform 63"/>
              <p:cNvSpPr>
                <a:spLocks noEditPoints="1"/>
              </p:cNvSpPr>
              <p:nvPr/>
            </p:nvSpPr>
            <p:spPr bwMode="auto">
              <a:xfrm>
                <a:off x="584200" y="-1397000"/>
                <a:ext cx="1082675" cy="788988"/>
              </a:xfrm>
              <a:custGeom>
                <a:avLst/>
                <a:gdLst>
                  <a:gd name="T0" fmla="*/ 192 w 198"/>
                  <a:gd name="T1" fmla="*/ 72 h 144"/>
                  <a:gd name="T2" fmla="*/ 184 w 198"/>
                  <a:gd name="T3" fmla="*/ 72 h 144"/>
                  <a:gd name="T4" fmla="*/ 172 w 198"/>
                  <a:gd name="T5" fmla="*/ 43 h 144"/>
                  <a:gd name="T6" fmla="*/ 157 w 198"/>
                  <a:gd name="T7" fmla="*/ 32 h 144"/>
                  <a:gd name="T8" fmla="*/ 126 w 198"/>
                  <a:gd name="T9" fmla="*/ 32 h 144"/>
                  <a:gd name="T10" fmla="*/ 126 w 198"/>
                  <a:gd name="T11" fmla="*/ 2 h 144"/>
                  <a:gd name="T12" fmla="*/ 124 w 198"/>
                  <a:gd name="T13" fmla="*/ 0 h 144"/>
                  <a:gd name="T14" fmla="*/ 2 w 198"/>
                  <a:gd name="T15" fmla="*/ 0 h 144"/>
                  <a:gd name="T16" fmla="*/ 0 w 198"/>
                  <a:gd name="T17" fmla="*/ 2 h 144"/>
                  <a:gd name="T18" fmla="*/ 0 w 198"/>
                  <a:gd name="T19" fmla="*/ 123 h 144"/>
                  <a:gd name="T20" fmla="*/ 2 w 198"/>
                  <a:gd name="T21" fmla="*/ 125 h 144"/>
                  <a:gd name="T22" fmla="*/ 19 w 198"/>
                  <a:gd name="T23" fmla="*/ 125 h 144"/>
                  <a:gd name="T24" fmla="*/ 40 w 198"/>
                  <a:gd name="T25" fmla="*/ 144 h 144"/>
                  <a:gd name="T26" fmla="*/ 61 w 198"/>
                  <a:gd name="T27" fmla="*/ 125 h 144"/>
                  <a:gd name="T28" fmla="*/ 138 w 198"/>
                  <a:gd name="T29" fmla="*/ 125 h 144"/>
                  <a:gd name="T30" fmla="*/ 159 w 198"/>
                  <a:gd name="T31" fmla="*/ 144 h 144"/>
                  <a:gd name="T32" fmla="*/ 180 w 198"/>
                  <a:gd name="T33" fmla="*/ 125 h 144"/>
                  <a:gd name="T34" fmla="*/ 192 w 198"/>
                  <a:gd name="T35" fmla="*/ 125 h 144"/>
                  <a:gd name="T36" fmla="*/ 198 w 198"/>
                  <a:gd name="T37" fmla="*/ 119 h 144"/>
                  <a:gd name="T38" fmla="*/ 198 w 198"/>
                  <a:gd name="T39" fmla="*/ 78 h 144"/>
                  <a:gd name="T40" fmla="*/ 192 w 198"/>
                  <a:gd name="T41" fmla="*/ 72 h 144"/>
                  <a:gd name="T42" fmla="*/ 157 w 198"/>
                  <a:gd name="T43" fmla="*/ 36 h 144"/>
                  <a:gd name="T44" fmla="*/ 168 w 198"/>
                  <a:gd name="T45" fmla="*/ 45 h 144"/>
                  <a:gd name="T46" fmla="*/ 179 w 198"/>
                  <a:gd name="T47" fmla="*/ 72 h 144"/>
                  <a:gd name="T48" fmla="*/ 126 w 198"/>
                  <a:gd name="T49" fmla="*/ 72 h 144"/>
                  <a:gd name="T50" fmla="*/ 126 w 198"/>
                  <a:gd name="T51" fmla="*/ 36 h 144"/>
                  <a:gd name="T52" fmla="*/ 157 w 198"/>
                  <a:gd name="T53" fmla="*/ 36 h 144"/>
                  <a:gd name="T54" fmla="*/ 5 w 198"/>
                  <a:gd name="T55" fmla="*/ 5 h 144"/>
                  <a:gd name="T56" fmla="*/ 121 w 198"/>
                  <a:gd name="T57" fmla="*/ 5 h 144"/>
                  <a:gd name="T58" fmla="*/ 121 w 198"/>
                  <a:gd name="T59" fmla="*/ 120 h 144"/>
                  <a:gd name="T60" fmla="*/ 61 w 198"/>
                  <a:gd name="T61" fmla="*/ 120 h 144"/>
                  <a:gd name="T62" fmla="*/ 40 w 198"/>
                  <a:gd name="T63" fmla="*/ 102 h 144"/>
                  <a:gd name="T64" fmla="*/ 19 w 198"/>
                  <a:gd name="T65" fmla="*/ 120 h 144"/>
                  <a:gd name="T66" fmla="*/ 5 w 198"/>
                  <a:gd name="T67" fmla="*/ 120 h 144"/>
                  <a:gd name="T68" fmla="*/ 5 w 198"/>
                  <a:gd name="T69" fmla="*/ 5 h 144"/>
                  <a:gd name="T70" fmla="*/ 40 w 198"/>
                  <a:gd name="T71" fmla="*/ 139 h 144"/>
                  <a:gd name="T72" fmla="*/ 23 w 198"/>
                  <a:gd name="T73" fmla="*/ 123 h 144"/>
                  <a:gd name="T74" fmla="*/ 40 w 198"/>
                  <a:gd name="T75" fmla="*/ 106 h 144"/>
                  <a:gd name="T76" fmla="*/ 56 w 198"/>
                  <a:gd name="T77" fmla="*/ 123 h 144"/>
                  <a:gd name="T78" fmla="*/ 40 w 198"/>
                  <a:gd name="T79" fmla="*/ 139 h 144"/>
                  <a:gd name="T80" fmla="*/ 159 w 198"/>
                  <a:gd name="T81" fmla="*/ 139 h 144"/>
                  <a:gd name="T82" fmla="*/ 143 w 198"/>
                  <a:gd name="T83" fmla="*/ 123 h 144"/>
                  <a:gd name="T84" fmla="*/ 159 w 198"/>
                  <a:gd name="T85" fmla="*/ 106 h 144"/>
                  <a:gd name="T86" fmla="*/ 175 w 198"/>
                  <a:gd name="T87" fmla="*/ 122 h 144"/>
                  <a:gd name="T88" fmla="*/ 175 w 198"/>
                  <a:gd name="T89" fmla="*/ 123 h 144"/>
                  <a:gd name="T90" fmla="*/ 175 w 198"/>
                  <a:gd name="T91" fmla="*/ 123 h 144"/>
                  <a:gd name="T92" fmla="*/ 159 w 198"/>
                  <a:gd name="T93" fmla="*/ 139 h 144"/>
                  <a:gd name="T94" fmla="*/ 193 w 198"/>
                  <a:gd name="T95" fmla="*/ 119 h 144"/>
                  <a:gd name="T96" fmla="*/ 192 w 198"/>
                  <a:gd name="T97" fmla="*/ 120 h 144"/>
                  <a:gd name="T98" fmla="*/ 180 w 198"/>
                  <a:gd name="T99" fmla="*/ 120 h 144"/>
                  <a:gd name="T100" fmla="*/ 159 w 198"/>
                  <a:gd name="T101" fmla="*/ 102 h 144"/>
                  <a:gd name="T102" fmla="*/ 138 w 198"/>
                  <a:gd name="T103" fmla="*/ 120 h 144"/>
                  <a:gd name="T104" fmla="*/ 126 w 198"/>
                  <a:gd name="T105" fmla="*/ 120 h 144"/>
                  <a:gd name="T106" fmla="*/ 126 w 198"/>
                  <a:gd name="T107" fmla="*/ 77 h 144"/>
                  <a:gd name="T108" fmla="*/ 192 w 198"/>
                  <a:gd name="T109" fmla="*/ 77 h 144"/>
                  <a:gd name="T110" fmla="*/ 193 w 198"/>
                  <a:gd name="T111" fmla="*/ 78 h 144"/>
                  <a:gd name="T112" fmla="*/ 193 w 198"/>
                  <a:gd name="T113" fmla="*/ 119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98" h="144">
                    <a:moveTo>
                      <a:pt x="192" y="72"/>
                    </a:moveTo>
                    <a:cubicBezTo>
                      <a:pt x="184" y="72"/>
                      <a:pt x="184" y="72"/>
                      <a:pt x="184" y="72"/>
                    </a:cubicBezTo>
                    <a:cubicBezTo>
                      <a:pt x="181" y="65"/>
                      <a:pt x="172" y="43"/>
                      <a:pt x="172" y="43"/>
                    </a:cubicBezTo>
                    <a:cubicBezTo>
                      <a:pt x="170" y="37"/>
                      <a:pt x="163" y="32"/>
                      <a:pt x="157" y="32"/>
                    </a:cubicBezTo>
                    <a:cubicBezTo>
                      <a:pt x="126" y="32"/>
                      <a:pt x="126" y="32"/>
                      <a:pt x="126" y="32"/>
                    </a:cubicBezTo>
                    <a:cubicBezTo>
                      <a:pt x="126" y="2"/>
                      <a:pt x="126" y="2"/>
                      <a:pt x="126" y="2"/>
                    </a:cubicBezTo>
                    <a:cubicBezTo>
                      <a:pt x="126" y="1"/>
                      <a:pt x="125" y="0"/>
                      <a:pt x="12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23"/>
                      <a:pt x="0" y="123"/>
                      <a:pt x="0" y="123"/>
                    </a:cubicBezTo>
                    <a:cubicBezTo>
                      <a:pt x="0" y="124"/>
                      <a:pt x="1" y="125"/>
                      <a:pt x="2" y="125"/>
                    </a:cubicBezTo>
                    <a:cubicBezTo>
                      <a:pt x="19" y="125"/>
                      <a:pt x="19" y="125"/>
                      <a:pt x="19" y="125"/>
                    </a:cubicBezTo>
                    <a:cubicBezTo>
                      <a:pt x="20" y="135"/>
                      <a:pt x="29" y="144"/>
                      <a:pt x="40" y="144"/>
                    </a:cubicBezTo>
                    <a:cubicBezTo>
                      <a:pt x="51" y="144"/>
                      <a:pt x="59" y="135"/>
                      <a:pt x="61" y="125"/>
                    </a:cubicBezTo>
                    <a:cubicBezTo>
                      <a:pt x="138" y="125"/>
                      <a:pt x="138" y="125"/>
                      <a:pt x="138" y="125"/>
                    </a:cubicBezTo>
                    <a:cubicBezTo>
                      <a:pt x="139" y="135"/>
                      <a:pt x="148" y="144"/>
                      <a:pt x="159" y="144"/>
                    </a:cubicBezTo>
                    <a:cubicBezTo>
                      <a:pt x="170" y="144"/>
                      <a:pt x="179" y="135"/>
                      <a:pt x="180" y="125"/>
                    </a:cubicBezTo>
                    <a:cubicBezTo>
                      <a:pt x="192" y="125"/>
                      <a:pt x="192" y="125"/>
                      <a:pt x="192" y="125"/>
                    </a:cubicBezTo>
                    <a:cubicBezTo>
                      <a:pt x="195" y="125"/>
                      <a:pt x="198" y="122"/>
                      <a:pt x="198" y="119"/>
                    </a:cubicBezTo>
                    <a:cubicBezTo>
                      <a:pt x="198" y="78"/>
                      <a:pt x="198" y="78"/>
                      <a:pt x="198" y="78"/>
                    </a:cubicBezTo>
                    <a:cubicBezTo>
                      <a:pt x="198" y="75"/>
                      <a:pt x="195" y="72"/>
                      <a:pt x="192" y="72"/>
                    </a:cubicBezTo>
                    <a:close/>
                    <a:moveTo>
                      <a:pt x="157" y="36"/>
                    </a:moveTo>
                    <a:cubicBezTo>
                      <a:pt x="161" y="36"/>
                      <a:pt x="166" y="40"/>
                      <a:pt x="168" y="45"/>
                    </a:cubicBezTo>
                    <a:cubicBezTo>
                      <a:pt x="168" y="46"/>
                      <a:pt x="176" y="64"/>
                      <a:pt x="179" y="72"/>
                    </a:cubicBezTo>
                    <a:cubicBezTo>
                      <a:pt x="126" y="72"/>
                      <a:pt x="126" y="72"/>
                      <a:pt x="126" y="72"/>
                    </a:cubicBezTo>
                    <a:cubicBezTo>
                      <a:pt x="126" y="36"/>
                      <a:pt x="126" y="36"/>
                      <a:pt x="126" y="36"/>
                    </a:cubicBezTo>
                    <a:lnTo>
                      <a:pt x="157" y="36"/>
                    </a:lnTo>
                    <a:close/>
                    <a:moveTo>
                      <a:pt x="5" y="5"/>
                    </a:moveTo>
                    <a:cubicBezTo>
                      <a:pt x="121" y="5"/>
                      <a:pt x="121" y="5"/>
                      <a:pt x="121" y="5"/>
                    </a:cubicBezTo>
                    <a:cubicBezTo>
                      <a:pt x="121" y="120"/>
                      <a:pt x="121" y="120"/>
                      <a:pt x="121" y="120"/>
                    </a:cubicBezTo>
                    <a:cubicBezTo>
                      <a:pt x="61" y="120"/>
                      <a:pt x="61" y="120"/>
                      <a:pt x="61" y="120"/>
                    </a:cubicBezTo>
                    <a:cubicBezTo>
                      <a:pt x="59" y="110"/>
                      <a:pt x="51" y="102"/>
                      <a:pt x="40" y="102"/>
                    </a:cubicBezTo>
                    <a:cubicBezTo>
                      <a:pt x="29" y="102"/>
                      <a:pt x="20" y="110"/>
                      <a:pt x="19" y="120"/>
                    </a:cubicBezTo>
                    <a:cubicBezTo>
                      <a:pt x="5" y="120"/>
                      <a:pt x="5" y="120"/>
                      <a:pt x="5" y="120"/>
                    </a:cubicBezTo>
                    <a:lnTo>
                      <a:pt x="5" y="5"/>
                    </a:lnTo>
                    <a:close/>
                    <a:moveTo>
                      <a:pt x="40" y="139"/>
                    </a:moveTo>
                    <a:cubicBezTo>
                      <a:pt x="31" y="139"/>
                      <a:pt x="23" y="132"/>
                      <a:pt x="23" y="123"/>
                    </a:cubicBezTo>
                    <a:cubicBezTo>
                      <a:pt x="23" y="114"/>
                      <a:pt x="31" y="106"/>
                      <a:pt x="40" y="106"/>
                    </a:cubicBezTo>
                    <a:cubicBezTo>
                      <a:pt x="49" y="106"/>
                      <a:pt x="56" y="114"/>
                      <a:pt x="56" y="123"/>
                    </a:cubicBezTo>
                    <a:cubicBezTo>
                      <a:pt x="56" y="132"/>
                      <a:pt x="49" y="139"/>
                      <a:pt x="40" y="139"/>
                    </a:cubicBezTo>
                    <a:close/>
                    <a:moveTo>
                      <a:pt x="159" y="139"/>
                    </a:moveTo>
                    <a:cubicBezTo>
                      <a:pt x="150" y="139"/>
                      <a:pt x="143" y="132"/>
                      <a:pt x="143" y="123"/>
                    </a:cubicBezTo>
                    <a:cubicBezTo>
                      <a:pt x="143" y="114"/>
                      <a:pt x="150" y="106"/>
                      <a:pt x="159" y="106"/>
                    </a:cubicBezTo>
                    <a:cubicBezTo>
                      <a:pt x="168" y="106"/>
                      <a:pt x="175" y="113"/>
                      <a:pt x="175" y="122"/>
                    </a:cubicBezTo>
                    <a:cubicBezTo>
                      <a:pt x="175" y="122"/>
                      <a:pt x="175" y="122"/>
                      <a:pt x="175" y="123"/>
                    </a:cubicBezTo>
                    <a:cubicBezTo>
                      <a:pt x="175" y="123"/>
                      <a:pt x="175" y="123"/>
                      <a:pt x="175" y="123"/>
                    </a:cubicBezTo>
                    <a:cubicBezTo>
                      <a:pt x="175" y="132"/>
                      <a:pt x="168" y="139"/>
                      <a:pt x="159" y="139"/>
                    </a:cubicBezTo>
                    <a:close/>
                    <a:moveTo>
                      <a:pt x="193" y="119"/>
                    </a:moveTo>
                    <a:cubicBezTo>
                      <a:pt x="193" y="120"/>
                      <a:pt x="192" y="120"/>
                      <a:pt x="192" y="120"/>
                    </a:cubicBezTo>
                    <a:cubicBezTo>
                      <a:pt x="180" y="120"/>
                      <a:pt x="180" y="120"/>
                      <a:pt x="180" y="120"/>
                    </a:cubicBezTo>
                    <a:cubicBezTo>
                      <a:pt x="179" y="110"/>
                      <a:pt x="170" y="102"/>
                      <a:pt x="159" y="102"/>
                    </a:cubicBezTo>
                    <a:cubicBezTo>
                      <a:pt x="148" y="102"/>
                      <a:pt x="139" y="110"/>
                      <a:pt x="138" y="120"/>
                    </a:cubicBezTo>
                    <a:cubicBezTo>
                      <a:pt x="126" y="120"/>
                      <a:pt x="126" y="120"/>
                      <a:pt x="126" y="120"/>
                    </a:cubicBezTo>
                    <a:cubicBezTo>
                      <a:pt x="126" y="77"/>
                      <a:pt x="126" y="77"/>
                      <a:pt x="126" y="77"/>
                    </a:cubicBezTo>
                    <a:cubicBezTo>
                      <a:pt x="192" y="77"/>
                      <a:pt x="192" y="77"/>
                      <a:pt x="192" y="77"/>
                    </a:cubicBezTo>
                    <a:cubicBezTo>
                      <a:pt x="192" y="77"/>
                      <a:pt x="193" y="78"/>
                      <a:pt x="193" y="78"/>
                    </a:cubicBezTo>
                    <a:lnTo>
                      <a:pt x="193" y="1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5" name="Freeform 64"/>
              <p:cNvSpPr>
                <a:spLocks/>
              </p:cNvSpPr>
              <p:nvPr/>
            </p:nvSpPr>
            <p:spPr bwMode="auto">
              <a:xfrm>
                <a:off x="279400" y="-1397000"/>
                <a:ext cx="239713" cy="28575"/>
              </a:xfrm>
              <a:custGeom>
                <a:avLst/>
                <a:gdLst>
                  <a:gd name="T0" fmla="*/ 42 w 44"/>
                  <a:gd name="T1" fmla="*/ 0 h 5"/>
                  <a:gd name="T2" fmla="*/ 2 w 44"/>
                  <a:gd name="T3" fmla="*/ 0 h 5"/>
                  <a:gd name="T4" fmla="*/ 0 w 44"/>
                  <a:gd name="T5" fmla="*/ 2 h 5"/>
                  <a:gd name="T6" fmla="*/ 2 w 44"/>
                  <a:gd name="T7" fmla="*/ 5 h 5"/>
                  <a:gd name="T8" fmla="*/ 42 w 44"/>
                  <a:gd name="T9" fmla="*/ 5 h 5"/>
                  <a:gd name="T10" fmla="*/ 44 w 44"/>
                  <a:gd name="T11" fmla="*/ 2 h 5"/>
                  <a:gd name="T12" fmla="*/ 42 w 44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5">
                    <a:moveTo>
                      <a:pt x="4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2" y="5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43" y="5"/>
                      <a:pt x="44" y="4"/>
                      <a:pt x="44" y="2"/>
                    </a:cubicBezTo>
                    <a:cubicBezTo>
                      <a:pt x="44" y="1"/>
                      <a:pt x="43" y="0"/>
                      <a:pt x="4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6" name="Freeform 65"/>
              <p:cNvSpPr>
                <a:spLocks/>
              </p:cNvSpPr>
              <p:nvPr/>
            </p:nvSpPr>
            <p:spPr bwMode="auto">
              <a:xfrm>
                <a:off x="328613" y="-1276350"/>
                <a:ext cx="190500" cy="26988"/>
              </a:xfrm>
              <a:custGeom>
                <a:avLst/>
                <a:gdLst>
                  <a:gd name="T0" fmla="*/ 33 w 35"/>
                  <a:gd name="T1" fmla="*/ 0 h 5"/>
                  <a:gd name="T2" fmla="*/ 3 w 35"/>
                  <a:gd name="T3" fmla="*/ 0 h 5"/>
                  <a:gd name="T4" fmla="*/ 0 w 35"/>
                  <a:gd name="T5" fmla="*/ 2 h 5"/>
                  <a:gd name="T6" fmla="*/ 3 w 35"/>
                  <a:gd name="T7" fmla="*/ 5 h 5"/>
                  <a:gd name="T8" fmla="*/ 33 w 35"/>
                  <a:gd name="T9" fmla="*/ 5 h 5"/>
                  <a:gd name="T10" fmla="*/ 35 w 35"/>
                  <a:gd name="T11" fmla="*/ 2 h 5"/>
                  <a:gd name="T12" fmla="*/ 33 w 35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5">
                    <a:moveTo>
                      <a:pt x="3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2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4" y="5"/>
                      <a:pt x="35" y="4"/>
                      <a:pt x="35" y="2"/>
                    </a:cubicBezTo>
                    <a:cubicBezTo>
                      <a:pt x="35" y="1"/>
                      <a:pt x="34" y="0"/>
                      <a:pt x="3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7" name="Freeform 66"/>
              <p:cNvSpPr>
                <a:spLocks/>
              </p:cNvSpPr>
              <p:nvPr/>
            </p:nvSpPr>
            <p:spPr bwMode="auto">
              <a:xfrm>
                <a:off x="382588" y="-1155700"/>
                <a:ext cx="136525" cy="26988"/>
              </a:xfrm>
              <a:custGeom>
                <a:avLst/>
                <a:gdLst>
                  <a:gd name="T0" fmla="*/ 23 w 25"/>
                  <a:gd name="T1" fmla="*/ 0 h 5"/>
                  <a:gd name="T2" fmla="*/ 3 w 25"/>
                  <a:gd name="T3" fmla="*/ 0 h 5"/>
                  <a:gd name="T4" fmla="*/ 0 w 25"/>
                  <a:gd name="T5" fmla="*/ 3 h 5"/>
                  <a:gd name="T6" fmla="*/ 3 w 25"/>
                  <a:gd name="T7" fmla="*/ 5 h 5"/>
                  <a:gd name="T8" fmla="*/ 23 w 25"/>
                  <a:gd name="T9" fmla="*/ 5 h 5"/>
                  <a:gd name="T10" fmla="*/ 25 w 25"/>
                  <a:gd name="T11" fmla="*/ 3 h 5"/>
                  <a:gd name="T12" fmla="*/ 23 w 25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5">
                    <a:moveTo>
                      <a:pt x="2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4" y="5"/>
                      <a:pt x="25" y="4"/>
                      <a:pt x="25" y="3"/>
                    </a:cubicBezTo>
                    <a:cubicBezTo>
                      <a:pt x="25" y="1"/>
                      <a:pt x="24" y="0"/>
                      <a:pt x="2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58" name="Group 57"/>
          <p:cNvGrpSpPr/>
          <p:nvPr/>
        </p:nvGrpSpPr>
        <p:grpSpPr>
          <a:xfrm>
            <a:off x="5613591" y="1869186"/>
            <a:ext cx="726878" cy="728662"/>
            <a:chOff x="7204075" y="-1846263"/>
            <a:chExt cx="1939925" cy="1944688"/>
          </a:xfrm>
        </p:grpSpPr>
        <p:sp>
          <p:nvSpPr>
            <p:cNvPr id="59" name="Oval 59"/>
            <p:cNvSpPr>
              <a:spLocks noChangeArrowheads="1"/>
            </p:cNvSpPr>
            <p:nvPr/>
          </p:nvSpPr>
          <p:spPr bwMode="auto">
            <a:xfrm>
              <a:off x="7204075" y="-1846263"/>
              <a:ext cx="1939925" cy="1944688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7519988" y="-1506538"/>
              <a:ext cx="1312862" cy="1265238"/>
              <a:chOff x="7519988" y="-1506538"/>
              <a:chExt cx="1312862" cy="1265238"/>
            </a:xfrm>
          </p:grpSpPr>
          <p:sp>
            <p:nvSpPr>
              <p:cNvPr id="61" name="Freeform 67"/>
              <p:cNvSpPr>
                <a:spLocks/>
              </p:cNvSpPr>
              <p:nvPr/>
            </p:nvSpPr>
            <p:spPr bwMode="auto">
              <a:xfrm>
                <a:off x="7519988" y="-1484313"/>
                <a:ext cx="1176338" cy="1117600"/>
              </a:xfrm>
              <a:custGeom>
                <a:avLst/>
                <a:gdLst>
                  <a:gd name="T0" fmla="*/ 211 w 215"/>
                  <a:gd name="T1" fmla="*/ 164 h 204"/>
                  <a:gd name="T2" fmla="*/ 147 w 215"/>
                  <a:gd name="T3" fmla="*/ 199 h 204"/>
                  <a:gd name="T4" fmla="*/ 46 w 215"/>
                  <a:gd name="T5" fmla="*/ 10 h 204"/>
                  <a:gd name="T6" fmla="*/ 35 w 215"/>
                  <a:gd name="T7" fmla="*/ 1 h 204"/>
                  <a:gd name="T8" fmla="*/ 22 w 215"/>
                  <a:gd name="T9" fmla="*/ 3 h 204"/>
                  <a:gd name="T10" fmla="*/ 1 w 215"/>
                  <a:gd name="T11" fmla="*/ 14 h 204"/>
                  <a:gd name="T12" fmla="*/ 0 w 215"/>
                  <a:gd name="T13" fmla="*/ 17 h 204"/>
                  <a:gd name="T14" fmla="*/ 3 w 215"/>
                  <a:gd name="T15" fmla="*/ 18 h 204"/>
                  <a:gd name="T16" fmla="*/ 24 w 215"/>
                  <a:gd name="T17" fmla="*/ 7 h 204"/>
                  <a:gd name="T18" fmla="*/ 34 w 215"/>
                  <a:gd name="T19" fmla="*/ 6 h 204"/>
                  <a:gd name="T20" fmla="*/ 41 w 215"/>
                  <a:gd name="T21" fmla="*/ 12 h 204"/>
                  <a:gd name="T22" fmla="*/ 144 w 215"/>
                  <a:gd name="T23" fmla="*/ 203 h 204"/>
                  <a:gd name="T24" fmla="*/ 146 w 215"/>
                  <a:gd name="T25" fmla="*/ 204 h 204"/>
                  <a:gd name="T26" fmla="*/ 146 w 215"/>
                  <a:gd name="T27" fmla="*/ 204 h 204"/>
                  <a:gd name="T28" fmla="*/ 148 w 215"/>
                  <a:gd name="T29" fmla="*/ 204 h 204"/>
                  <a:gd name="T30" fmla="*/ 213 w 215"/>
                  <a:gd name="T31" fmla="*/ 168 h 204"/>
                  <a:gd name="T32" fmla="*/ 214 w 215"/>
                  <a:gd name="T33" fmla="*/ 165 h 204"/>
                  <a:gd name="T34" fmla="*/ 211 w 215"/>
                  <a:gd name="T35" fmla="*/ 164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5" h="204">
                    <a:moveTo>
                      <a:pt x="211" y="164"/>
                    </a:moveTo>
                    <a:cubicBezTo>
                      <a:pt x="147" y="199"/>
                      <a:pt x="147" y="199"/>
                      <a:pt x="147" y="199"/>
                    </a:cubicBezTo>
                    <a:cubicBezTo>
                      <a:pt x="46" y="10"/>
                      <a:pt x="46" y="10"/>
                      <a:pt x="46" y="10"/>
                    </a:cubicBezTo>
                    <a:cubicBezTo>
                      <a:pt x="43" y="6"/>
                      <a:pt x="40" y="3"/>
                      <a:pt x="35" y="1"/>
                    </a:cubicBezTo>
                    <a:cubicBezTo>
                      <a:pt x="31" y="0"/>
                      <a:pt x="26" y="1"/>
                      <a:pt x="22" y="3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1" y="18"/>
                      <a:pt x="2" y="19"/>
                      <a:pt x="3" y="18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7" y="5"/>
                      <a:pt x="31" y="5"/>
                      <a:pt x="34" y="6"/>
                    </a:cubicBezTo>
                    <a:cubicBezTo>
                      <a:pt x="37" y="7"/>
                      <a:pt x="40" y="9"/>
                      <a:pt x="41" y="12"/>
                    </a:cubicBezTo>
                    <a:cubicBezTo>
                      <a:pt x="144" y="203"/>
                      <a:pt x="144" y="203"/>
                      <a:pt x="144" y="203"/>
                    </a:cubicBezTo>
                    <a:cubicBezTo>
                      <a:pt x="145" y="203"/>
                      <a:pt x="145" y="204"/>
                      <a:pt x="146" y="204"/>
                    </a:cubicBezTo>
                    <a:cubicBezTo>
                      <a:pt x="146" y="204"/>
                      <a:pt x="146" y="204"/>
                      <a:pt x="146" y="204"/>
                    </a:cubicBezTo>
                    <a:cubicBezTo>
                      <a:pt x="147" y="204"/>
                      <a:pt x="147" y="204"/>
                      <a:pt x="148" y="204"/>
                    </a:cubicBezTo>
                    <a:cubicBezTo>
                      <a:pt x="213" y="168"/>
                      <a:pt x="213" y="168"/>
                      <a:pt x="213" y="168"/>
                    </a:cubicBezTo>
                    <a:cubicBezTo>
                      <a:pt x="215" y="168"/>
                      <a:pt x="215" y="166"/>
                      <a:pt x="214" y="165"/>
                    </a:cubicBezTo>
                    <a:cubicBezTo>
                      <a:pt x="214" y="164"/>
                      <a:pt x="212" y="164"/>
                      <a:pt x="211" y="16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62" name="Freeform 68"/>
              <p:cNvSpPr>
                <a:spLocks noEditPoints="1"/>
              </p:cNvSpPr>
              <p:nvPr/>
            </p:nvSpPr>
            <p:spPr bwMode="auto">
              <a:xfrm>
                <a:off x="8045450" y="-422275"/>
                <a:ext cx="190500" cy="180975"/>
              </a:xfrm>
              <a:custGeom>
                <a:avLst/>
                <a:gdLst>
                  <a:gd name="T0" fmla="*/ 18 w 35"/>
                  <a:gd name="T1" fmla="*/ 0 h 33"/>
                  <a:gd name="T2" fmla="*/ 11 w 35"/>
                  <a:gd name="T3" fmla="*/ 2 h 33"/>
                  <a:gd name="T4" fmla="*/ 4 w 35"/>
                  <a:gd name="T5" fmla="*/ 24 h 33"/>
                  <a:gd name="T6" fmla="*/ 19 w 35"/>
                  <a:gd name="T7" fmla="*/ 33 h 33"/>
                  <a:gd name="T8" fmla="*/ 26 w 35"/>
                  <a:gd name="T9" fmla="*/ 31 h 33"/>
                  <a:gd name="T10" fmla="*/ 34 w 35"/>
                  <a:gd name="T11" fmla="*/ 21 h 33"/>
                  <a:gd name="T12" fmla="*/ 33 w 35"/>
                  <a:gd name="T13" fmla="*/ 9 h 33"/>
                  <a:gd name="T14" fmla="*/ 18 w 35"/>
                  <a:gd name="T15" fmla="*/ 0 h 33"/>
                  <a:gd name="T16" fmla="*/ 30 w 35"/>
                  <a:gd name="T17" fmla="*/ 20 h 33"/>
                  <a:gd name="T18" fmla="*/ 24 w 35"/>
                  <a:gd name="T19" fmla="*/ 27 h 33"/>
                  <a:gd name="T20" fmla="*/ 19 w 35"/>
                  <a:gd name="T21" fmla="*/ 28 h 33"/>
                  <a:gd name="T22" fmla="*/ 8 w 35"/>
                  <a:gd name="T23" fmla="*/ 22 h 33"/>
                  <a:gd name="T24" fmla="*/ 13 w 35"/>
                  <a:gd name="T25" fmla="*/ 6 h 33"/>
                  <a:gd name="T26" fmla="*/ 18 w 35"/>
                  <a:gd name="T27" fmla="*/ 5 h 33"/>
                  <a:gd name="T28" fmla="*/ 29 w 35"/>
                  <a:gd name="T29" fmla="*/ 11 h 33"/>
                  <a:gd name="T30" fmla="*/ 30 w 35"/>
                  <a:gd name="T31" fmla="*/ 2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33">
                    <a:moveTo>
                      <a:pt x="18" y="0"/>
                    </a:moveTo>
                    <a:cubicBezTo>
                      <a:pt x="16" y="0"/>
                      <a:pt x="13" y="1"/>
                      <a:pt x="11" y="2"/>
                    </a:cubicBezTo>
                    <a:cubicBezTo>
                      <a:pt x="3" y="6"/>
                      <a:pt x="0" y="16"/>
                      <a:pt x="4" y="24"/>
                    </a:cubicBezTo>
                    <a:cubicBezTo>
                      <a:pt x="7" y="30"/>
                      <a:pt x="13" y="33"/>
                      <a:pt x="19" y="33"/>
                    </a:cubicBezTo>
                    <a:cubicBezTo>
                      <a:pt x="21" y="33"/>
                      <a:pt x="24" y="32"/>
                      <a:pt x="26" y="31"/>
                    </a:cubicBezTo>
                    <a:cubicBezTo>
                      <a:pt x="30" y="29"/>
                      <a:pt x="33" y="25"/>
                      <a:pt x="34" y="21"/>
                    </a:cubicBezTo>
                    <a:cubicBezTo>
                      <a:pt x="35" y="17"/>
                      <a:pt x="35" y="13"/>
                      <a:pt x="33" y="9"/>
                    </a:cubicBezTo>
                    <a:cubicBezTo>
                      <a:pt x="30" y="4"/>
                      <a:pt x="24" y="0"/>
                      <a:pt x="18" y="0"/>
                    </a:cubicBezTo>
                    <a:close/>
                    <a:moveTo>
                      <a:pt x="30" y="20"/>
                    </a:moveTo>
                    <a:cubicBezTo>
                      <a:pt x="29" y="23"/>
                      <a:pt x="27" y="25"/>
                      <a:pt x="24" y="27"/>
                    </a:cubicBezTo>
                    <a:cubicBezTo>
                      <a:pt x="22" y="28"/>
                      <a:pt x="20" y="28"/>
                      <a:pt x="19" y="28"/>
                    </a:cubicBezTo>
                    <a:cubicBezTo>
                      <a:pt x="14" y="28"/>
                      <a:pt x="10" y="26"/>
                      <a:pt x="8" y="22"/>
                    </a:cubicBezTo>
                    <a:cubicBezTo>
                      <a:pt x="5" y="16"/>
                      <a:pt x="7" y="9"/>
                      <a:pt x="13" y="6"/>
                    </a:cubicBezTo>
                    <a:cubicBezTo>
                      <a:pt x="15" y="5"/>
                      <a:pt x="17" y="5"/>
                      <a:pt x="18" y="5"/>
                    </a:cubicBezTo>
                    <a:cubicBezTo>
                      <a:pt x="23" y="5"/>
                      <a:pt x="27" y="7"/>
                      <a:pt x="29" y="11"/>
                    </a:cubicBezTo>
                    <a:cubicBezTo>
                      <a:pt x="30" y="14"/>
                      <a:pt x="31" y="17"/>
                      <a:pt x="30" y="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63" name="Freeform 69"/>
              <p:cNvSpPr>
                <a:spLocks noEditPoints="1"/>
              </p:cNvSpPr>
              <p:nvPr/>
            </p:nvSpPr>
            <p:spPr bwMode="auto">
              <a:xfrm>
                <a:off x="7962900" y="-1506538"/>
                <a:ext cx="869950" cy="1003300"/>
              </a:xfrm>
              <a:custGeom>
                <a:avLst/>
                <a:gdLst>
                  <a:gd name="T0" fmla="*/ 158 w 159"/>
                  <a:gd name="T1" fmla="*/ 135 h 183"/>
                  <a:gd name="T2" fmla="*/ 86 w 159"/>
                  <a:gd name="T3" fmla="*/ 2 h 183"/>
                  <a:gd name="T4" fmla="*/ 84 w 159"/>
                  <a:gd name="T5" fmla="*/ 0 h 183"/>
                  <a:gd name="T6" fmla="*/ 83 w 159"/>
                  <a:gd name="T7" fmla="*/ 1 h 183"/>
                  <a:gd name="T8" fmla="*/ 1 w 159"/>
                  <a:gd name="T9" fmla="*/ 45 h 183"/>
                  <a:gd name="T10" fmla="*/ 0 w 159"/>
                  <a:gd name="T11" fmla="*/ 48 h 183"/>
                  <a:gd name="T12" fmla="*/ 72 w 159"/>
                  <a:gd name="T13" fmla="*/ 181 h 183"/>
                  <a:gd name="T14" fmla="*/ 74 w 159"/>
                  <a:gd name="T15" fmla="*/ 183 h 183"/>
                  <a:gd name="T16" fmla="*/ 74 w 159"/>
                  <a:gd name="T17" fmla="*/ 183 h 183"/>
                  <a:gd name="T18" fmla="*/ 76 w 159"/>
                  <a:gd name="T19" fmla="*/ 182 h 183"/>
                  <a:gd name="T20" fmla="*/ 157 w 159"/>
                  <a:gd name="T21" fmla="*/ 138 h 183"/>
                  <a:gd name="T22" fmla="*/ 158 w 159"/>
                  <a:gd name="T23" fmla="*/ 135 h 183"/>
                  <a:gd name="T24" fmla="*/ 83 w 159"/>
                  <a:gd name="T25" fmla="*/ 6 h 183"/>
                  <a:gd name="T26" fmla="*/ 117 w 159"/>
                  <a:gd name="T27" fmla="*/ 69 h 183"/>
                  <a:gd name="T28" fmla="*/ 39 w 159"/>
                  <a:gd name="T29" fmla="*/ 110 h 183"/>
                  <a:gd name="T30" fmla="*/ 6 w 159"/>
                  <a:gd name="T31" fmla="*/ 48 h 183"/>
                  <a:gd name="T32" fmla="*/ 83 w 159"/>
                  <a:gd name="T33" fmla="*/ 6 h 183"/>
                  <a:gd name="T34" fmla="*/ 75 w 159"/>
                  <a:gd name="T35" fmla="*/ 177 h 183"/>
                  <a:gd name="T36" fmla="*/ 42 w 159"/>
                  <a:gd name="T37" fmla="*/ 114 h 183"/>
                  <a:gd name="T38" fmla="*/ 119 w 159"/>
                  <a:gd name="T39" fmla="*/ 73 h 183"/>
                  <a:gd name="T40" fmla="*/ 153 w 159"/>
                  <a:gd name="T41" fmla="*/ 135 h 183"/>
                  <a:gd name="T42" fmla="*/ 75 w 159"/>
                  <a:gd name="T43" fmla="*/ 177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59" h="183">
                    <a:moveTo>
                      <a:pt x="158" y="135"/>
                    </a:moveTo>
                    <a:cubicBezTo>
                      <a:pt x="86" y="2"/>
                      <a:pt x="86" y="2"/>
                      <a:pt x="86" y="2"/>
                    </a:cubicBezTo>
                    <a:cubicBezTo>
                      <a:pt x="86" y="1"/>
                      <a:pt x="85" y="1"/>
                      <a:pt x="84" y="0"/>
                    </a:cubicBezTo>
                    <a:cubicBezTo>
                      <a:pt x="84" y="0"/>
                      <a:pt x="83" y="0"/>
                      <a:pt x="83" y="1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0" y="45"/>
                      <a:pt x="0" y="47"/>
                      <a:pt x="0" y="48"/>
                    </a:cubicBezTo>
                    <a:cubicBezTo>
                      <a:pt x="72" y="181"/>
                      <a:pt x="72" y="181"/>
                      <a:pt x="72" y="181"/>
                    </a:cubicBezTo>
                    <a:cubicBezTo>
                      <a:pt x="73" y="182"/>
                      <a:pt x="73" y="182"/>
                      <a:pt x="74" y="183"/>
                    </a:cubicBezTo>
                    <a:cubicBezTo>
                      <a:pt x="74" y="183"/>
                      <a:pt x="74" y="183"/>
                      <a:pt x="74" y="183"/>
                    </a:cubicBezTo>
                    <a:cubicBezTo>
                      <a:pt x="75" y="183"/>
                      <a:pt x="75" y="183"/>
                      <a:pt x="76" y="182"/>
                    </a:cubicBezTo>
                    <a:cubicBezTo>
                      <a:pt x="157" y="138"/>
                      <a:pt x="157" y="138"/>
                      <a:pt x="157" y="138"/>
                    </a:cubicBezTo>
                    <a:cubicBezTo>
                      <a:pt x="158" y="138"/>
                      <a:pt x="159" y="136"/>
                      <a:pt x="158" y="135"/>
                    </a:cubicBezTo>
                    <a:close/>
                    <a:moveTo>
                      <a:pt x="83" y="6"/>
                    </a:moveTo>
                    <a:cubicBezTo>
                      <a:pt x="117" y="69"/>
                      <a:pt x="117" y="69"/>
                      <a:pt x="117" y="69"/>
                    </a:cubicBezTo>
                    <a:cubicBezTo>
                      <a:pt x="39" y="110"/>
                      <a:pt x="39" y="110"/>
                      <a:pt x="39" y="110"/>
                    </a:cubicBezTo>
                    <a:cubicBezTo>
                      <a:pt x="6" y="48"/>
                      <a:pt x="6" y="48"/>
                      <a:pt x="6" y="48"/>
                    </a:cubicBezTo>
                    <a:lnTo>
                      <a:pt x="83" y="6"/>
                    </a:lnTo>
                    <a:close/>
                    <a:moveTo>
                      <a:pt x="75" y="177"/>
                    </a:moveTo>
                    <a:cubicBezTo>
                      <a:pt x="42" y="114"/>
                      <a:pt x="42" y="114"/>
                      <a:pt x="42" y="114"/>
                    </a:cubicBezTo>
                    <a:cubicBezTo>
                      <a:pt x="119" y="73"/>
                      <a:pt x="119" y="73"/>
                      <a:pt x="119" y="73"/>
                    </a:cubicBezTo>
                    <a:cubicBezTo>
                      <a:pt x="153" y="135"/>
                      <a:pt x="153" y="135"/>
                      <a:pt x="153" y="135"/>
                    </a:cubicBezTo>
                    <a:lnTo>
                      <a:pt x="75" y="17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64" name="Freeform 70"/>
              <p:cNvSpPr>
                <a:spLocks/>
              </p:cNvSpPr>
              <p:nvPr/>
            </p:nvSpPr>
            <p:spPr bwMode="auto">
              <a:xfrm>
                <a:off x="8132763" y="-1341438"/>
                <a:ext cx="234950" cy="136525"/>
              </a:xfrm>
              <a:custGeom>
                <a:avLst/>
                <a:gdLst>
                  <a:gd name="T0" fmla="*/ 42 w 43"/>
                  <a:gd name="T1" fmla="*/ 4 h 25"/>
                  <a:gd name="T2" fmla="*/ 43 w 43"/>
                  <a:gd name="T3" fmla="*/ 1 h 25"/>
                  <a:gd name="T4" fmla="*/ 40 w 43"/>
                  <a:gd name="T5" fmla="*/ 0 h 25"/>
                  <a:gd name="T6" fmla="*/ 2 w 43"/>
                  <a:gd name="T7" fmla="*/ 21 h 25"/>
                  <a:gd name="T8" fmla="*/ 1 w 43"/>
                  <a:gd name="T9" fmla="*/ 24 h 25"/>
                  <a:gd name="T10" fmla="*/ 3 w 43"/>
                  <a:gd name="T11" fmla="*/ 25 h 25"/>
                  <a:gd name="T12" fmla="*/ 4 w 43"/>
                  <a:gd name="T13" fmla="*/ 25 h 25"/>
                  <a:gd name="T14" fmla="*/ 42 w 43"/>
                  <a:gd name="T15" fmla="*/ 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25">
                    <a:moveTo>
                      <a:pt x="42" y="4"/>
                    </a:moveTo>
                    <a:cubicBezTo>
                      <a:pt x="43" y="4"/>
                      <a:pt x="43" y="2"/>
                      <a:pt x="43" y="1"/>
                    </a:cubicBezTo>
                    <a:cubicBezTo>
                      <a:pt x="42" y="0"/>
                      <a:pt x="41" y="0"/>
                      <a:pt x="40" y="0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21"/>
                      <a:pt x="0" y="23"/>
                      <a:pt x="1" y="24"/>
                    </a:cubicBezTo>
                    <a:cubicBezTo>
                      <a:pt x="1" y="25"/>
                      <a:pt x="2" y="25"/>
                      <a:pt x="3" y="25"/>
                    </a:cubicBezTo>
                    <a:cubicBezTo>
                      <a:pt x="3" y="25"/>
                      <a:pt x="3" y="25"/>
                      <a:pt x="4" y="25"/>
                    </a:cubicBezTo>
                    <a:lnTo>
                      <a:pt x="42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65" name="Freeform 71"/>
              <p:cNvSpPr>
                <a:spLocks/>
              </p:cNvSpPr>
              <p:nvPr/>
            </p:nvSpPr>
            <p:spPr bwMode="auto">
              <a:xfrm>
                <a:off x="8329613" y="-981075"/>
                <a:ext cx="234950" cy="138113"/>
              </a:xfrm>
              <a:custGeom>
                <a:avLst/>
                <a:gdLst>
                  <a:gd name="T0" fmla="*/ 43 w 43"/>
                  <a:gd name="T1" fmla="*/ 1 h 25"/>
                  <a:gd name="T2" fmla="*/ 39 w 43"/>
                  <a:gd name="T3" fmla="*/ 0 h 25"/>
                  <a:gd name="T4" fmla="*/ 1 w 43"/>
                  <a:gd name="T5" fmla="*/ 21 h 25"/>
                  <a:gd name="T6" fmla="*/ 0 w 43"/>
                  <a:gd name="T7" fmla="*/ 24 h 25"/>
                  <a:gd name="T8" fmla="*/ 2 w 43"/>
                  <a:gd name="T9" fmla="*/ 25 h 25"/>
                  <a:gd name="T10" fmla="*/ 3 w 43"/>
                  <a:gd name="T11" fmla="*/ 25 h 25"/>
                  <a:gd name="T12" fmla="*/ 42 w 43"/>
                  <a:gd name="T13" fmla="*/ 4 h 25"/>
                  <a:gd name="T14" fmla="*/ 43 w 43"/>
                  <a:gd name="T15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25">
                    <a:moveTo>
                      <a:pt x="43" y="1"/>
                    </a:moveTo>
                    <a:cubicBezTo>
                      <a:pt x="42" y="0"/>
                      <a:pt x="41" y="0"/>
                      <a:pt x="39" y="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2"/>
                      <a:pt x="0" y="23"/>
                      <a:pt x="0" y="24"/>
                    </a:cubicBezTo>
                    <a:cubicBezTo>
                      <a:pt x="1" y="25"/>
                      <a:pt x="2" y="25"/>
                      <a:pt x="2" y="25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43" y="4"/>
                      <a:pt x="43" y="2"/>
                      <a:pt x="43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66" name="Group 65"/>
          <p:cNvGrpSpPr/>
          <p:nvPr/>
        </p:nvGrpSpPr>
        <p:grpSpPr>
          <a:xfrm>
            <a:off x="4213048" y="1254054"/>
            <a:ext cx="725094" cy="728662"/>
            <a:chOff x="5137150" y="-1846263"/>
            <a:chExt cx="1935163" cy="1944688"/>
          </a:xfrm>
        </p:grpSpPr>
        <p:sp>
          <p:nvSpPr>
            <p:cNvPr id="67" name="Oval 60"/>
            <p:cNvSpPr>
              <a:spLocks noChangeArrowheads="1"/>
            </p:cNvSpPr>
            <p:nvPr/>
          </p:nvSpPr>
          <p:spPr bwMode="auto">
            <a:xfrm>
              <a:off x="5137150" y="-1846263"/>
              <a:ext cx="1935163" cy="194468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68" name="Group 67"/>
            <p:cNvGrpSpPr/>
            <p:nvPr/>
          </p:nvGrpSpPr>
          <p:grpSpPr>
            <a:xfrm>
              <a:off x="5526088" y="-1517650"/>
              <a:ext cx="1158875" cy="1292225"/>
              <a:chOff x="5526088" y="-1517650"/>
              <a:chExt cx="1158875" cy="1292225"/>
            </a:xfrm>
          </p:grpSpPr>
          <p:sp>
            <p:nvSpPr>
              <p:cNvPr id="69" name="Freeform 72"/>
              <p:cNvSpPr>
                <a:spLocks noEditPoints="1"/>
              </p:cNvSpPr>
              <p:nvPr/>
            </p:nvSpPr>
            <p:spPr bwMode="auto">
              <a:xfrm>
                <a:off x="5656263" y="-1517650"/>
                <a:ext cx="950913" cy="784225"/>
              </a:xfrm>
              <a:custGeom>
                <a:avLst/>
                <a:gdLst>
                  <a:gd name="T0" fmla="*/ 172 w 174"/>
                  <a:gd name="T1" fmla="*/ 143 h 143"/>
                  <a:gd name="T2" fmla="*/ 2 w 174"/>
                  <a:gd name="T3" fmla="*/ 143 h 143"/>
                  <a:gd name="T4" fmla="*/ 0 w 174"/>
                  <a:gd name="T5" fmla="*/ 140 h 143"/>
                  <a:gd name="T6" fmla="*/ 0 w 174"/>
                  <a:gd name="T7" fmla="*/ 2 h 143"/>
                  <a:gd name="T8" fmla="*/ 2 w 174"/>
                  <a:gd name="T9" fmla="*/ 0 h 143"/>
                  <a:gd name="T10" fmla="*/ 172 w 174"/>
                  <a:gd name="T11" fmla="*/ 0 h 143"/>
                  <a:gd name="T12" fmla="*/ 174 w 174"/>
                  <a:gd name="T13" fmla="*/ 2 h 143"/>
                  <a:gd name="T14" fmla="*/ 174 w 174"/>
                  <a:gd name="T15" fmla="*/ 140 h 143"/>
                  <a:gd name="T16" fmla="*/ 172 w 174"/>
                  <a:gd name="T17" fmla="*/ 143 h 143"/>
                  <a:gd name="T18" fmla="*/ 4 w 174"/>
                  <a:gd name="T19" fmla="*/ 138 h 143"/>
                  <a:gd name="T20" fmla="*/ 169 w 174"/>
                  <a:gd name="T21" fmla="*/ 138 h 143"/>
                  <a:gd name="T22" fmla="*/ 169 w 174"/>
                  <a:gd name="T23" fmla="*/ 4 h 143"/>
                  <a:gd name="T24" fmla="*/ 4 w 174"/>
                  <a:gd name="T25" fmla="*/ 4 h 143"/>
                  <a:gd name="T26" fmla="*/ 4 w 174"/>
                  <a:gd name="T27" fmla="*/ 13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4" h="143">
                    <a:moveTo>
                      <a:pt x="172" y="143"/>
                    </a:moveTo>
                    <a:cubicBezTo>
                      <a:pt x="2" y="143"/>
                      <a:pt x="2" y="143"/>
                      <a:pt x="2" y="143"/>
                    </a:cubicBezTo>
                    <a:cubicBezTo>
                      <a:pt x="1" y="143"/>
                      <a:pt x="0" y="142"/>
                      <a:pt x="0" y="14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72" y="0"/>
                      <a:pt x="172" y="0"/>
                      <a:pt x="172" y="0"/>
                    </a:cubicBezTo>
                    <a:cubicBezTo>
                      <a:pt x="173" y="0"/>
                      <a:pt x="174" y="1"/>
                      <a:pt x="174" y="2"/>
                    </a:cubicBezTo>
                    <a:cubicBezTo>
                      <a:pt x="174" y="140"/>
                      <a:pt x="174" y="140"/>
                      <a:pt x="174" y="140"/>
                    </a:cubicBezTo>
                    <a:cubicBezTo>
                      <a:pt x="174" y="142"/>
                      <a:pt x="173" y="143"/>
                      <a:pt x="172" y="143"/>
                    </a:cubicBezTo>
                    <a:close/>
                    <a:moveTo>
                      <a:pt x="4" y="138"/>
                    </a:moveTo>
                    <a:cubicBezTo>
                      <a:pt x="169" y="138"/>
                      <a:pt x="169" y="138"/>
                      <a:pt x="169" y="138"/>
                    </a:cubicBezTo>
                    <a:cubicBezTo>
                      <a:pt x="169" y="4"/>
                      <a:pt x="169" y="4"/>
                      <a:pt x="169" y="4"/>
                    </a:cubicBezTo>
                    <a:cubicBezTo>
                      <a:pt x="4" y="4"/>
                      <a:pt x="4" y="4"/>
                      <a:pt x="4" y="4"/>
                    </a:cubicBezTo>
                    <a:lnTo>
                      <a:pt x="4" y="1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70" name="Freeform 73"/>
              <p:cNvSpPr>
                <a:spLocks noEditPoints="1"/>
              </p:cNvSpPr>
              <p:nvPr/>
            </p:nvSpPr>
            <p:spPr bwMode="auto">
              <a:xfrm>
                <a:off x="5962650" y="-1408113"/>
                <a:ext cx="339725" cy="93663"/>
              </a:xfrm>
              <a:custGeom>
                <a:avLst/>
                <a:gdLst>
                  <a:gd name="T0" fmla="*/ 53 w 62"/>
                  <a:gd name="T1" fmla="*/ 17 h 17"/>
                  <a:gd name="T2" fmla="*/ 9 w 62"/>
                  <a:gd name="T3" fmla="*/ 17 h 17"/>
                  <a:gd name="T4" fmla="*/ 0 w 62"/>
                  <a:gd name="T5" fmla="*/ 9 h 17"/>
                  <a:gd name="T6" fmla="*/ 9 w 62"/>
                  <a:gd name="T7" fmla="*/ 0 h 17"/>
                  <a:gd name="T8" fmla="*/ 53 w 62"/>
                  <a:gd name="T9" fmla="*/ 0 h 17"/>
                  <a:gd name="T10" fmla="*/ 62 w 62"/>
                  <a:gd name="T11" fmla="*/ 9 h 17"/>
                  <a:gd name="T12" fmla="*/ 53 w 62"/>
                  <a:gd name="T13" fmla="*/ 17 h 17"/>
                  <a:gd name="T14" fmla="*/ 9 w 62"/>
                  <a:gd name="T15" fmla="*/ 4 h 17"/>
                  <a:gd name="T16" fmla="*/ 4 w 62"/>
                  <a:gd name="T17" fmla="*/ 9 h 17"/>
                  <a:gd name="T18" fmla="*/ 9 w 62"/>
                  <a:gd name="T19" fmla="*/ 13 h 17"/>
                  <a:gd name="T20" fmla="*/ 53 w 62"/>
                  <a:gd name="T21" fmla="*/ 13 h 17"/>
                  <a:gd name="T22" fmla="*/ 57 w 62"/>
                  <a:gd name="T23" fmla="*/ 9 h 17"/>
                  <a:gd name="T24" fmla="*/ 53 w 62"/>
                  <a:gd name="T25" fmla="*/ 4 h 17"/>
                  <a:gd name="T26" fmla="*/ 9 w 62"/>
                  <a:gd name="T27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2" h="17">
                    <a:moveTo>
                      <a:pt x="53" y="17"/>
                    </a:moveTo>
                    <a:cubicBezTo>
                      <a:pt x="9" y="17"/>
                      <a:pt x="9" y="17"/>
                      <a:pt x="9" y="17"/>
                    </a:cubicBezTo>
                    <a:cubicBezTo>
                      <a:pt x="4" y="17"/>
                      <a:pt x="0" y="13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8" y="0"/>
                      <a:pt x="62" y="4"/>
                      <a:pt x="62" y="9"/>
                    </a:cubicBezTo>
                    <a:cubicBezTo>
                      <a:pt x="62" y="13"/>
                      <a:pt x="58" y="17"/>
                      <a:pt x="53" y="17"/>
                    </a:cubicBezTo>
                    <a:close/>
                    <a:moveTo>
                      <a:pt x="9" y="4"/>
                    </a:moveTo>
                    <a:cubicBezTo>
                      <a:pt x="6" y="4"/>
                      <a:pt x="4" y="6"/>
                      <a:pt x="4" y="9"/>
                    </a:cubicBezTo>
                    <a:cubicBezTo>
                      <a:pt x="4" y="11"/>
                      <a:pt x="6" y="13"/>
                      <a:pt x="9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7" y="11"/>
                      <a:pt x="57" y="9"/>
                    </a:cubicBezTo>
                    <a:cubicBezTo>
                      <a:pt x="57" y="6"/>
                      <a:pt x="55" y="4"/>
                      <a:pt x="53" y="4"/>
                    </a:cubicBezTo>
                    <a:lnTo>
                      <a:pt x="9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71" name="Freeform 74"/>
              <p:cNvSpPr>
                <a:spLocks noEditPoints="1"/>
              </p:cNvSpPr>
              <p:nvPr/>
            </p:nvSpPr>
            <p:spPr bwMode="auto">
              <a:xfrm>
                <a:off x="5640388" y="-498475"/>
                <a:ext cx="152400" cy="153988"/>
              </a:xfrm>
              <a:custGeom>
                <a:avLst/>
                <a:gdLst>
                  <a:gd name="T0" fmla="*/ 14 w 28"/>
                  <a:gd name="T1" fmla="*/ 28 h 28"/>
                  <a:gd name="T2" fmla="*/ 0 w 28"/>
                  <a:gd name="T3" fmla="*/ 14 h 28"/>
                  <a:gd name="T4" fmla="*/ 14 w 28"/>
                  <a:gd name="T5" fmla="*/ 0 h 28"/>
                  <a:gd name="T6" fmla="*/ 28 w 28"/>
                  <a:gd name="T7" fmla="*/ 14 h 28"/>
                  <a:gd name="T8" fmla="*/ 14 w 28"/>
                  <a:gd name="T9" fmla="*/ 28 h 28"/>
                  <a:gd name="T10" fmla="*/ 14 w 28"/>
                  <a:gd name="T11" fmla="*/ 5 h 28"/>
                  <a:gd name="T12" fmla="*/ 5 w 28"/>
                  <a:gd name="T13" fmla="*/ 14 h 28"/>
                  <a:gd name="T14" fmla="*/ 14 w 28"/>
                  <a:gd name="T15" fmla="*/ 23 h 28"/>
                  <a:gd name="T16" fmla="*/ 23 w 28"/>
                  <a:gd name="T17" fmla="*/ 14 h 28"/>
                  <a:gd name="T18" fmla="*/ 14 w 28"/>
                  <a:gd name="T19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7"/>
                      <a:pt x="6" y="0"/>
                      <a:pt x="14" y="0"/>
                    </a:cubicBezTo>
                    <a:cubicBezTo>
                      <a:pt x="22" y="0"/>
                      <a:pt x="28" y="7"/>
                      <a:pt x="28" y="14"/>
                    </a:cubicBezTo>
                    <a:cubicBezTo>
                      <a:pt x="28" y="22"/>
                      <a:pt x="22" y="28"/>
                      <a:pt x="14" y="28"/>
                    </a:cubicBezTo>
                    <a:close/>
                    <a:moveTo>
                      <a:pt x="14" y="5"/>
                    </a:moveTo>
                    <a:cubicBezTo>
                      <a:pt x="9" y="5"/>
                      <a:pt x="5" y="9"/>
                      <a:pt x="5" y="14"/>
                    </a:cubicBezTo>
                    <a:cubicBezTo>
                      <a:pt x="5" y="19"/>
                      <a:pt x="9" y="23"/>
                      <a:pt x="14" y="23"/>
                    </a:cubicBezTo>
                    <a:cubicBezTo>
                      <a:pt x="19" y="23"/>
                      <a:pt x="23" y="19"/>
                      <a:pt x="23" y="14"/>
                    </a:cubicBezTo>
                    <a:cubicBezTo>
                      <a:pt x="23" y="9"/>
                      <a:pt x="19" y="5"/>
                      <a:pt x="14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72" name="Freeform 75"/>
              <p:cNvSpPr>
                <a:spLocks noEditPoints="1"/>
              </p:cNvSpPr>
              <p:nvPr/>
            </p:nvSpPr>
            <p:spPr bwMode="auto">
              <a:xfrm>
                <a:off x="5886450" y="-498475"/>
                <a:ext cx="152400" cy="153988"/>
              </a:xfrm>
              <a:custGeom>
                <a:avLst/>
                <a:gdLst>
                  <a:gd name="T0" fmla="*/ 14 w 28"/>
                  <a:gd name="T1" fmla="*/ 28 h 28"/>
                  <a:gd name="T2" fmla="*/ 0 w 28"/>
                  <a:gd name="T3" fmla="*/ 14 h 28"/>
                  <a:gd name="T4" fmla="*/ 14 w 28"/>
                  <a:gd name="T5" fmla="*/ 0 h 28"/>
                  <a:gd name="T6" fmla="*/ 28 w 28"/>
                  <a:gd name="T7" fmla="*/ 14 h 28"/>
                  <a:gd name="T8" fmla="*/ 14 w 28"/>
                  <a:gd name="T9" fmla="*/ 28 h 28"/>
                  <a:gd name="T10" fmla="*/ 14 w 28"/>
                  <a:gd name="T11" fmla="*/ 5 h 28"/>
                  <a:gd name="T12" fmla="*/ 5 w 28"/>
                  <a:gd name="T13" fmla="*/ 14 h 28"/>
                  <a:gd name="T14" fmla="*/ 14 w 28"/>
                  <a:gd name="T15" fmla="*/ 23 h 28"/>
                  <a:gd name="T16" fmla="*/ 23 w 28"/>
                  <a:gd name="T17" fmla="*/ 14 h 28"/>
                  <a:gd name="T18" fmla="*/ 14 w 28"/>
                  <a:gd name="T19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7"/>
                      <a:pt x="6" y="0"/>
                      <a:pt x="14" y="0"/>
                    </a:cubicBezTo>
                    <a:cubicBezTo>
                      <a:pt x="21" y="0"/>
                      <a:pt x="28" y="7"/>
                      <a:pt x="28" y="14"/>
                    </a:cubicBezTo>
                    <a:cubicBezTo>
                      <a:pt x="28" y="22"/>
                      <a:pt x="21" y="28"/>
                      <a:pt x="14" y="28"/>
                    </a:cubicBezTo>
                    <a:close/>
                    <a:moveTo>
                      <a:pt x="14" y="5"/>
                    </a:moveTo>
                    <a:cubicBezTo>
                      <a:pt x="9" y="5"/>
                      <a:pt x="5" y="9"/>
                      <a:pt x="5" y="14"/>
                    </a:cubicBezTo>
                    <a:cubicBezTo>
                      <a:pt x="5" y="19"/>
                      <a:pt x="9" y="23"/>
                      <a:pt x="14" y="23"/>
                    </a:cubicBezTo>
                    <a:cubicBezTo>
                      <a:pt x="19" y="23"/>
                      <a:pt x="23" y="19"/>
                      <a:pt x="23" y="14"/>
                    </a:cubicBezTo>
                    <a:cubicBezTo>
                      <a:pt x="23" y="9"/>
                      <a:pt x="19" y="5"/>
                      <a:pt x="14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73" name="Freeform 76"/>
              <p:cNvSpPr>
                <a:spLocks noEditPoints="1"/>
              </p:cNvSpPr>
              <p:nvPr/>
            </p:nvSpPr>
            <p:spPr bwMode="auto">
              <a:xfrm>
                <a:off x="6132513" y="-498475"/>
                <a:ext cx="147638" cy="153988"/>
              </a:xfrm>
              <a:custGeom>
                <a:avLst/>
                <a:gdLst>
                  <a:gd name="T0" fmla="*/ 14 w 27"/>
                  <a:gd name="T1" fmla="*/ 28 h 28"/>
                  <a:gd name="T2" fmla="*/ 0 w 27"/>
                  <a:gd name="T3" fmla="*/ 14 h 28"/>
                  <a:gd name="T4" fmla="*/ 14 w 27"/>
                  <a:gd name="T5" fmla="*/ 0 h 28"/>
                  <a:gd name="T6" fmla="*/ 27 w 27"/>
                  <a:gd name="T7" fmla="*/ 14 h 28"/>
                  <a:gd name="T8" fmla="*/ 14 w 27"/>
                  <a:gd name="T9" fmla="*/ 28 h 28"/>
                  <a:gd name="T10" fmla="*/ 14 w 27"/>
                  <a:gd name="T11" fmla="*/ 5 h 28"/>
                  <a:gd name="T12" fmla="*/ 4 w 27"/>
                  <a:gd name="T13" fmla="*/ 14 h 28"/>
                  <a:gd name="T14" fmla="*/ 14 w 27"/>
                  <a:gd name="T15" fmla="*/ 23 h 28"/>
                  <a:gd name="T16" fmla="*/ 23 w 27"/>
                  <a:gd name="T17" fmla="*/ 14 h 28"/>
                  <a:gd name="T18" fmla="*/ 14 w 27"/>
                  <a:gd name="T19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8">
                    <a:moveTo>
                      <a:pt x="14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7"/>
                      <a:pt x="6" y="0"/>
                      <a:pt x="14" y="0"/>
                    </a:cubicBezTo>
                    <a:cubicBezTo>
                      <a:pt x="21" y="0"/>
                      <a:pt x="27" y="7"/>
                      <a:pt x="27" y="14"/>
                    </a:cubicBezTo>
                    <a:cubicBezTo>
                      <a:pt x="27" y="22"/>
                      <a:pt x="21" y="28"/>
                      <a:pt x="14" y="28"/>
                    </a:cubicBezTo>
                    <a:close/>
                    <a:moveTo>
                      <a:pt x="14" y="5"/>
                    </a:moveTo>
                    <a:cubicBezTo>
                      <a:pt x="9" y="5"/>
                      <a:pt x="4" y="9"/>
                      <a:pt x="4" y="14"/>
                    </a:cubicBezTo>
                    <a:cubicBezTo>
                      <a:pt x="4" y="19"/>
                      <a:pt x="9" y="23"/>
                      <a:pt x="14" y="23"/>
                    </a:cubicBezTo>
                    <a:cubicBezTo>
                      <a:pt x="19" y="23"/>
                      <a:pt x="23" y="19"/>
                      <a:pt x="23" y="14"/>
                    </a:cubicBezTo>
                    <a:cubicBezTo>
                      <a:pt x="23" y="9"/>
                      <a:pt x="19" y="5"/>
                      <a:pt x="14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74" name="Freeform 77"/>
              <p:cNvSpPr>
                <a:spLocks noEditPoints="1"/>
              </p:cNvSpPr>
              <p:nvPr/>
            </p:nvSpPr>
            <p:spPr bwMode="auto">
              <a:xfrm>
                <a:off x="6378575" y="-498475"/>
                <a:ext cx="147638" cy="153988"/>
              </a:xfrm>
              <a:custGeom>
                <a:avLst/>
                <a:gdLst>
                  <a:gd name="T0" fmla="*/ 13 w 27"/>
                  <a:gd name="T1" fmla="*/ 28 h 28"/>
                  <a:gd name="T2" fmla="*/ 0 w 27"/>
                  <a:gd name="T3" fmla="*/ 14 h 28"/>
                  <a:gd name="T4" fmla="*/ 13 w 27"/>
                  <a:gd name="T5" fmla="*/ 0 h 28"/>
                  <a:gd name="T6" fmla="*/ 27 w 27"/>
                  <a:gd name="T7" fmla="*/ 14 h 28"/>
                  <a:gd name="T8" fmla="*/ 13 w 27"/>
                  <a:gd name="T9" fmla="*/ 28 h 28"/>
                  <a:gd name="T10" fmla="*/ 13 w 27"/>
                  <a:gd name="T11" fmla="*/ 5 h 28"/>
                  <a:gd name="T12" fmla="*/ 4 w 27"/>
                  <a:gd name="T13" fmla="*/ 14 h 28"/>
                  <a:gd name="T14" fmla="*/ 13 w 27"/>
                  <a:gd name="T15" fmla="*/ 23 h 28"/>
                  <a:gd name="T16" fmla="*/ 23 w 27"/>
                  <a:gd name="T17" fmla="*/ 14 h 28"/>
                  <a:gd name="T18" fmla="*/ 13 w 27"/>
                  <a:gd name="T19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8">
                    <a:moveTo>
                      <a:pt x="13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7"/>
                      <a:pt x="6" y="0"/>
                      <a:pt x="13" y="0"/>
                    </a:cubicBezTo>
                    <a:cubicBezTo>
                      <a:pt x="21" y="0"/>
                      <a:pt x="27" y="7"/>
                      <a:pt x="27" y="14"/>
                    </a:cubicBezTo>
                    <a:cubicBezTo>
                      <a:pt x="27" y="22"/>
                      <a:pt x="21" y="28"/>
                      <a:pt x="13" y="28"/>
                    </a:cubicBezTo>
                    <a:close/>
                    <a:moveTo>
                      <a:pt x="13" y="5"/>
                    </a:moveTo>
                    <a:cubicBezTo>
                      <a:pt x="8" y="5"/>
                      <a:pt x="4" y="9"/>
                      <a:pt x="4" y="14"/>
                    </a:cubicBezTo>
                    <a:cubicBezTo>
                      <a:pt x="4" y="19"/>
                      <a:pt x="8" y="23"/>
                      <a:pt x="13" y="23"/>
                    </a:cubicBezTo>
                    <a:cubicBezTo>
                      <a:pt x="19" y="23"/>
                      <a:pt x="23" y="19"/>
                      <a:pt x="23" y="14"/>
                    </a:cubicBezTo>
                    <a:cubicBezTo>
                      <a:pt x="23" y="9"/>
                      <a:pt x="19" y="5"/>
                      <a:pt x="13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75" name="Freeform 78"/>
              <p:cNvSpPr>
                <a:spLocks/>
              </p:cNvSpPr>
              <p:nvPr/>
            </p:nvSpPr>
            <p:spPr bwMode="auto">
              <a:xfrm>
                <a:off x="5526088" y="-612775"/>
                <a:ext cx="1158875" cy="387350"/>
              </a:xfrm>
              <a:custGeom>
                <a:avLst/>
                <a:gdLst>
                  <a:gd name="T0" fmla="*/ 210 w 212"/>
                  <a:gd name="T1" fmla="*/ 71 h 71"/>
                  <a:gd name="T2" fmla="*/ 35 w 212"/>
                  <a:gd name="T3" fmla="*/ 71 h 71"/>
                  <a:gd name="T4" fmla="*/ 0 w 212"/>
                  <a:gd name="T5" fmla="*/ 35 h 71"/>
                  <a:gd name="T6" fmla="*/ 35 w 212"/>
                  <a:gd name="T7" fmla="*/ 0 h 71"/>
                  <a:gd name="T8" fmla="*/ 210 w 212"/>
                  <a:gd name="T9" fmla="*/ 0 h 71"/>
                  <a:gd name="T10" fmla="*/ 212 w 212"/>
                  <a:gd name="T11" fmla="*/ 2 h 71"/>
                  <a:gd name="T12" fmla="*/ 210 w 212"/>
                  <a:gd name="T13" fmla="*/ 5 h 71"/>
                  <a:gd name="T14" fmla="*/ 35 w 212"/>
                  <a:gd name="T15" fmla="*/ 5 h 71"/>
                  <a:gd name="T16" fmla="*/ 4 w 212"/>
                  <a:gd name="T17" fmla="*/ 35 h 71"/>
                  <a:gd name="T18" fmla="*/ 35 w 212"/>
                  <a:gd name="T19" fmla="*/ 66 h 71"/>
                  <a:gd name="T20" fmla="*/ 210 w 212"/>
                  <a:gd name="T21" fmla="*/ 66 h 71"/>
                  <a:gd name="T22" fmla="*/ 212 w 212"/>
                  <a:gd name="T23" fmla="*/ 68 h 71"/>
                  <a:gd name="T24" fmla="*/ 210 w 212"/>
                  <a:gd name="T25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2" h="71">
                    <a:moveTo>
                      <a:pt x="210" y="71"/>
                    </a:moveTo>
                    <a:cubicBezTo>
                      <a:pt x="35" y="71"/>
                      <a:pt x="35" y="71"/>
                      <a:pt x="35" y="71"/>
                    </a:cubicBezTo>
                    <a:cubicBezTo>
                      <a:pt x="15" y="71"/>
                      <a:pt x="0" y="55"/>
                      <a:pt x="0" y="35"/>
                    </a:cubicBezTo>
                    <a:cubicBezTo>
                      <a:pt x="0" y="16"/>
                      <a:pt x="15" y="0"/>
                      <a:pt x="35" y="0"/>
                    </a:cubicBezTo>
                    <a:cubicBezTo>
                      <a:pt x="210" y="0"/>
                      <a:pt x="210" y="0"/>
                      <a:pt x="210" y="0"/>
                    </a:cubicBezTo>
                    <a:cubicBezTo>
                      <a:pt x="211" y="0"/>
                      <a:pt x="212" y="1"/>
                      <a:pt x="212" y="2"/>
                    </a:cubicBezTo>
                    <a:cubicBezTo>
                      <a:pt x="212" y="4"/>
                      <a:pt x="211" y="5"/>
                      <a:pt x="210" y="5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18" y="5"/>
                      <a:pt x="4" y="18"/>
                      <a:pt x="4" y="35"/>
                    </a:cubicBezTo>
                    <a:cubicBezTo>
                      <a:pt x="4" y="52"/>
                      <a:pt x="18" y="66"/>
                      <a:pt x="35" y="66"/>
                    </a:cubicBezTo>
                    <a:cubicBezTo>
                      <a:pt x="210" y="66"/>
                      <a:pt x="210" y="66"/>
                      <a:pt x="210" y="66"/>
                    </a:cubicBezTo>
                    <a:cubicBezTo>
                      <a:pt x="211" y="66"/>
                      <a:pt x="212" y="67"/>
                      <a:pt x="212" y="68"/>
                    </a:cubicBezTo>
                    <a:cubicBezTo>
                      <a:pt x="212" y="69"/>
                      <a:pt x="211" y="71"/>
                      <a:pt x="210" y="7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76" name="Group 75"/>
          <p:cNvGrpSpPr/>
          <p:nvPr/>
        </p:nvGrpSpPr>
        <p:grpSpPr>
          <a:xfrm rot="21540000">
            <a:off x="2811489" y="1870375"/>
            <a:ext cx="725092" cy="726282"/>
            <a:chOff x="2552700" y="-1971675"/>
            <a:chExt cx="1935163" cy="1938338"/>
          </a:xfrm>
        </p:grpSpPr>
        <p:sp>
          <p:nvSpPr>
            <p:cNvPr id="77" name="Oval 62"/>
            <p:cNvSpPr>
              <a:spLocks noChangeArrowheads="1"/>
            </p:cNvSpPr>
            <p:nvPr/>
          </p:nvSpPr>
          <p:spPr bwMode="auto">
            <a:xfrm>
              <a:off x="2552700" y="-1971675"/>
              <a:ext cx="1935163" cy="193833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78" name="Group 77"/>
            <p:cNvGrpSpPr/>
            <p:nvPr/>
          </p:nvGrpSpPr>
          <p:grpSpPr>
            <a:xfrm>
              <a:off x="2908300" y="-1620838"/>
              <a:ext cx="1228725" cy="1236663"/>
              <a:chOff x="2908300" y="-1620838"/>
              <a:chExt cx="1228725" cy="1236663"/>
            </a:xfrm>
          </p:grpSpPr>
          <p:sp>
            <p:nvSpPr>
              <p:cNvPr id="79" name="Freeform 79"/>
              <p:cNvSpPr>
                <a:spLocks noEditPoints="1"/>
              </p:cNvSpPr>
              <p:nvPr/>
            </p:nvSpPr>
            <p:spPr bwMode="auto">
              <a:xfrm>
                <a:off x="3055938" y="-1620838"/>
                <a:ext cx="234950" cy="234950"/>
              </a:xfrm>
              <a:custGeom>
                <a:avLst/>
                <a:gdLst>
                  <a:gd name="T0" fmla="*/ 22 w 43"/>
                  <a:gd name="T1" fmla="*/ 43 h 43"/>
                  <a:gd name="T2" fmla="*/ 43 w 43"/>
                  <a:gd name="T3" fmla="*/ 21 h 43"/>
                  <a:gd name="T4" fmla="*/ 22 w 43"/>
                  <a:gd name="T5" fmla="*/ 0 h 43"/>
                  <a:gd name="T6" fmla="*/ 0 w 43"/>
                  <a:gd name="T7" fmla="*/ 21 h 43"/>
                  <a:gd name="T8" fmla="*/ 22 w 43"/>
                  <a:gd name="T9" fmla="*/ 43 h 43"/>
                  <a:gd name="T10" fmla="*/ 22 w 43"/>
                  <a:gd name="T11" fmla="*/ 5 h 43"/>
                  <a:gd name="T12" fmla="*/ 39 w 43"/>
                  <a:gd name="T13" fmla="*/ 21 h 43"/>
                  <a:gd name="T14" fmla="*/ 22 w 43"/>
                  <a:gd name="T15" fmla="*/ 38 h 43"/>
                  <a:gd name="T16" fmla="*/ 5 w 43"/>
                  <a:gd name="T17" fmla="*/ 21 h 43"/>
                  <a:gd name="T18" fmla="*/ 22 w 43"/>
                  <a:gd name="T19" fmla="*/ 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43">
                    <a:moveTo>
                      <a:pt x="22" y="43"/>
                    </a:moveTo>
                    <a:cubicBezTo>
                      <a:pt x="34" y="43"/>
                      <a:pt x="43" y="33"/>
                      <a:pt x="43" y="21"/>
                    </a:cubicBezTo>
                    <a:cubicBezTo>
                      <a:pt x="43" y="10"/>
                      <a:pt x="34" y="0"/>
                      <a:pt x="22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33"/>
                      <a:pt x="10" y="43"/>
                      <a:pt x="22" y="43"/>
                    </a:cubicBezTo>
                    <a:close/>
                    <a:moveTo>
                      <a:pt x="22" y="5"/>
                    </a:moveTo>
                    <a:cubicBezTo>
                      <a:pt x="31" y="5"/>
                      <a:pt x="39" y="12"/>
                      <a:pt x="39" y="21"/>
                    </a:cubicBezTo>
                    <a:cubicBezTo>
                      <a:pt x="39" y="31"/>
                      <a:pt x="31" y="38"/>
                      <a:pt x="22" y="38"/>
                    </a:cubicBezTo>
                    <a:cubicBezTo>
                      <a:pt x="12" y="38"/>
                      <a:pt x="5" y="31"/>
                      <a:pt x="5" y="21"/>
                    </a:cubicBezTo>
                    <a:cubicBezTo>
                      <a:pt x="5" y="12"/>
                      <a:pt x="12" y="5"/>
                      <a:pt x="22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0" name="Freeform 80"/>
              <p:cNvSpPr>
                <a:spLocks noEditPoints="1"/>
              </p:cNvSpPr>
              <p:nvPr/>
            </p:nvSpPr>
            <p:spPr bwMode="auto">
              <a:xfrm>
                <a:off x="3749675" y="-1620838"/>
                <a:ext cx="234950" cy="234950"/>
              </a:xfrm>
              <a:custGeom>
                <a:avLst/>
                <a:gdLst>
                  <a:gd name="T0" fmla="*/ 22 w 43"/>
                  <a:gd name="T1" fmla="*/ 43 h 43"/>
                  <a:gd name="T2" fmla="*/ 43 w 43"/>
                  <a:gd name="T3" fmla="*/ 21 h 43"/>
                  <a:gd name="T4" fmla="*/ 22 w 43"/>
                  <a:gd name="T5" fmla="*/ 0 h 43"/>
                  <a:gd name="T6" fmla="*/ 0 w 43"/>
                  <a:gd name="T7" fmla="*/ 21 h 43"/>
                  <a:gd name="T8" fmla="*/ 22 w 43"/>
                  <a:gd name="T9" fmla="*/ 43 h 43"/>
                  <a:gd name="T10" fmla="*/ 22 w 43"/>
                  <a:gd name="T11" fmla="*/ 5 h 43"/>
                  <a:gd name="T12" fmla="*/ 39 w 43"/>
                  <a:gd name="T13" fmla="*/ 21 h 43"/>
                  <a:gd name="T14" fmla="*/ 22 w 43"/>
                  <a:gd name="T15" fmla="*/ 38 h 43"/>
                  <a:gd name="T16" fmla="*/ 5 w 43"/>
                  <a:gd name="T17" fmla="*/ 21 h 43"/>
                  <a:gd name="T18" fmla="*/ 22 w 43"/>
                  <a:gd name="T19" fmla="*/ 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43">
                    <a:moveTo>
                      <a:pt x="22" y="43"/>
                    </a:moveTo>
                    <a:cubicBezTo>
                      <a:pt x="34" y="43"/>
                      <a:pt x="43" y="33"/>
                      <a:pt x="43" y="21"/>
                    </a:cubicBezTo>
                    <a:cubicBezTo>
                      <a:pt x="43" y="10"/>
                      <a:pt x="34" y="0"/>
                      <a:pt x="22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33"/>
                      <a:pt x="10" y="43"/>
                      <a:pt x="22" y="43"/>
                    </a:cubicBezTo>
                    <a:close/>
                    <a:moveTo>
                      <a:pt x="22" y="5"/>
                    </a:moveTo>
                    <a:cubicBezTo>
                      <a:pt x="31" y="5"/>
                      <a:pt x="39" y="12"/>
                      <a:pt x="39" y="21"/>
                    </a:cubicBezTo>
                    <a:cubicBezTo>
                      <a:pt x="39" y="31"/>
                      <a:pt x="31" y="38"/>
                      <a:pt x="22" y="38"/>
                    </a:cubicBezTo>
                    <a:cubicBezTo>
                      <a:pt x="13" y="38"/>
                      <a:pt x="5" y="31"/>
                      <a:pt x="5" y="21"/>
                    </a:cubicBezTo>
                    <a:cubicBezTo>
                      <a:pt x="5" y="12"/>
                      <a:pt x="13" y="5"/>
                      <a:pt x="22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1" name="Freeform 81"/>
              <p:cNvSpPr>
                <a:spLocks noEditPoints="1"/>
              </p:cNvSpPr>
              <p:nvPr/>
            </p:nvSpPr>
            <p:spPr bwMode="auto">
              <a:xfrm>
                <a:off x="2908300" y="-1358900"/>
                <a:ext cx="1228725" cy="974725"/>
              </a:xfrm>
              <a:custGeom>
                <a:avLst/>
                <a:gdLst>
                  <a:gd name="T0" fmla="*/ 205 w 225"/>
                  <a:gd name="T1" fmla="*/ 13 h 178"/>
                  <a:gd name="T2" fmla="*/ 151 w 225"/>
                  <a:gd name="T3" fmla="*/ 13 h 178"/>
                  <a:gd name="T4" fmla="*/ 112 w 225"/>
                  <a:gd name="T5" fmla="*/ 60 h 178"/>
                  <a:gd name="T6" fmla="*/ 74 w 225"/>
                  <a:gd name="T7" fmla="*/ 13 h 178"/>
                  <a:gd name="T8" fmla="*/ 19 w 225"/>
                  <a:gd name="T9" fmla="*/ 13 h 178"/>
                  <a:gd name="T10" fmla="*/ 2 w 225"/>
                  <a:gd name="T11" fmla="*/ 54 h 178"/>
                  <a:gd name="T12" fmla="*/ 26 w 225"/>
                  <a:gd name="T13" fmla="*/ 94 h 178"/>
                  <a:gd name="T14" fmla="*/ 36 w 225"/>
                  <a:gd name="T15" fmla="*/ 178 h 178"/>
                  <a:gd name="T16" fmla="*/ 53 w 225"/>
                  <a:gd name="T17" fmla="*/ 169 h 178"/>
                  <a:gd name="T18" fmla="*/ 74 w 225"/>
                  <a:gd name="T19" fmla="*/ 169 h 178"/>
                  <a:gd name="T20" fmla="*/ 77 w 225"/>
                  <a:gd name="T21" fmla="*/ 60 h 178"/>
                  <a:gd name="T22" fmla="*/ 112 w 225"/>
                  <a:gd name="T23" fmla="*/ 78 h 178"/>
                  <a:gd name="T24" fmla="*/ 147 w 225"/>
                  <a:gd name="T25" fmla="*/ 61 h 178"/>
                  <a:gd name="T26" fmla="*/ 151 w 225"/>
                  <a:gd name="T27" fmla="*/ 169 h 178"/>
                  <a:gd name="T28" fmla="*/ 171 w 225"/>
                  <a:gd name="T29" fmla="*/ 169 h 178"/>
                  <a:gd name="T30" fmla="*/ 189 w 225"/>
                  <a:gd name="T31" fmla="*/ 178 h 178"/>
                  <a:gd name="T32" fmla="*/ 199 w 225"/>
                  <a:gd name="T33" fmla="*/ 169 h 178"/>
                  <a:gd name="T34" fmla="*/ 207 w 225"/>
                  <a:gd name="T35" fmla="*/ 90 h 178"/>
                  <a:gd name="T36" fmla="*/ 81 w 225"/>
                  <a:gd name="T37" fmla="*/ 57 h 178"/>
                  <a:gd name="T38" fmla="*/ 68 w 225"/>
                  <a:gd name="T39" fmla="*/ 24 h 178"/>
                  <a:gd name="T40" fmla="*/ 66 w 225"/>
                  <a:gd name="T41" fmla="*/ 44 h 178"/>
                  <a:gd name="T42" fmla="*/ 69 w 225"/>
                  <a:gd name="T43" fmla="*/ 147 h 178"/>
                  <a:gd name="T44" fmla="*/ 69 w 225"/>
                  <a:gd name="T45" fmla="*/ 169 h 178"/>
                  <a:gd name="T46" fmla="*/ 52 w 225"/>
                  <a:gd name="T47" fmla="*/ 92 h 178"/>
                  <a:gd name="T48" fmla="*/ 41 w 225"/>
                  <a:gd name="T49" fmla="*/ 168 h 178"/>
                  <a:gd name="T50" fmla="*/ 30 w 225"/>
                  <a:gd name="T51" fmla="*/ 169 h 178"/>
                  <a:gd name="T52" fmla="*/ 31 w 225"/>
                  <a:gd name="T53" fmla="*/ 92 h 178"/>
                  <a:gd name="T54" fmla="*/ 31 w 225"/>
                  <a:gd name="T55" fmla="*/ 76 h 178"/>
                  <a:gd name="T56" fmla="*/ 27 w 225"/>
                  <a:gd name="T57" fmla="*/ 35 h 178"/>
                  <a:gd name="T58" fmla="*/ 23 w 225"/>
                  <a:gd name="T59" fmla="*/ 68 h 178"/>
                  <a:gd name="T60" fmla="*/ 27 w 225"/>
                  <a:gd name="T61" fmla="*/ 80 h 178"/>
                  <a:gd name="T62" fmla="*/ 26 w 225"/>
                  <a:gd name="T63" fmla="*/ 89 h 178"/>
                  <a:gd name="T64" fmla="*/ 6 w 225"/>
                  <a:gd name="T65" fmla="*/ 42 h 178"/>
                  <a:gd name="T66" fmla="*/ 48 w 225"/>
                  <a:gd name="T67" fmla="*/ 4 h 178"/>
                  <a:gd name="T68" fmla="*/ 88 w 225"/>
                  <a:gd name="T69" fmla="*/ 47 h 178"/>
                  <a:gd name="T70" fmla="*/ 110 w 225"/>
                  <a:gd name="T71" fmla="*/ 64 h 178"/>
                  <a:gd name="T72" fmla="*/ 114 w 225"/>
                  <a:gd name="T73" fmla="*/ 72 h 178"/>
                  <a:gd name="T74" fmla="*/ 26 w 225"/>
                  <a:gd name="T75" fmla="*/ 43 h 178"/>
                  <a:gd name="T76" fmla="*/ 26 w 225"/>
                  <a:gd name="T77" fmla="*/ 43 h 178"/>
                  <a:gd name="T78" fmla="*/ 198 w 225"/>
                  <a:gd name="T79" fmla="*/ 89 h 178"/>
                  <a:gd name="T80" fmla="*/ 198 w 225"/>
                  <a:gd name="T81" fmla="*/ 80 h 178"/>
                  <a:gd name="T82" fmla="*/ 202 w 225"/>
                  <a:gd name="T83" fmla="*/ 68 h 178"/>
                  <a:gd name="T84" fmla="*/ 198 w 225"/>
                  <a:gd name="T85" fmla="*/ 35 h 178"/>
                  <a:gd name="T86" fmla="*/ 194 w 225"/>
                  <a:gd name="T87" fmla="*/ 76 h 178"/>
                  <a:gd name="T88" fmla="*/ 194 w 225"/>
                  <a:gd name="T89" fmla="*/ 92 h 178"/>
                  <a:gd name="T90" fmla="*/ 195 w 225"/>
                  <a:gd name="T91" fmla="*/ 169 h 178"/>
                  <a:gd name="T92" fmla="*/ 183 w 225"/>
                  <a:gd name="T93" fmla="*/ 168 h 178"/>
                  <a:gd name="T94" fmla="*/ 173 w 225"/>
                  <a:gd name="T95" fmla="*/ 92 h 178"/>
                  <a:gd name="T96" fmla="*/ 155 w 225"/>
                  <a:gd name="T97" fmla="*/ 169 h 178"/>
                  <a:gd name="T98" fmla="*/ 156 w 225"/>
                  <a:gd name="T99" fmla="*/ 147 h 178"/>
                  <a:gd name="T100" fmla="*/ 159 w 225"/>
                  <a:gd name="T101" fmla="*/ 44 h 178"/>
                  <a:gd name="T102" fmla="*/ 157 w 225"/>
                  <a:gd name="T103" fmla="*/ 24 h 178"/>
                  <a:gd name="T104" fmla="*/ 144 w 225"/>
                  <a:gd name="T105" fmla="*/ 57 h 178"/>
                  <a:gd name="T106" fmla="*/ 117 w 225"/>
                  <a:gd name="T107" fmla="*/ 63 h 178"/>
                  <a:gd name="T108" fmla="*/ 137 w 225"/>
                  <a:gd name="T109" fmla="*/ 47 h 178"/>
                  <a:gd name="T110" fmla="*/ 177 w 225"/>
                  <a:gd name="T111" fmla="*/ 4 h 178"/>
                  <a:gd name="T112" fmla="*/ 218 w 225"/>
                  <a:gd name="T113" fmla="*/ 42 h 178"/>
                  <a:gd name="T114" fmla="*/ 203 w 225"/>
                  <a:gd name="T115" fmla="*/ 5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5" h="178">
                    <a:moveTo>
                      <a:pt x="222" y="40"/>
                    </a:moveTo>
                    <a:cubicBezTo>
                      <a:pt x="222" y="40"/>
                      <a:pt x="222" y="40"/>
                      <a:pt x="222" y="40"/>
                    </a:cubicBezTo>
                    <a:cubicBezTo>
                      <a:pt x="205" y="13"/>
                      <a:pt x="205" y="13"/>
                      <a:pt x="205" y="13"/>
                    </a:cubicBezTo>
                    <a:cubicBezTo>
                      <a:pt x="199" y="4"/>
                      <a:pt x="195" y="0"/>
                      <a:pt x="177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58" y="0"/>
                      <a:pt x="154" y="8"/>
                      <a:pt x="151" y="13"/>
                    </a:cubicBezTo>
                    <a:cubicBezTo>
                      <a:pt x="151" y="13"/>
                      <a:pt x="151" y="13"/>
                      <a:pt x="151" y="13"/>
                    </a:cubicBezTo>
                    <a:cubicBezTo>
                      <a:pt x="147" y="20"/>
                      <a:pt x="135" y="41"/>
                      <a:pt x="133" y="44"/>
                    </a:cubicBezTo>
                    <a:cubicBezTo>
                      <a:pt x="131" y="46"/>
                      <a:pt x="119" y="55"/>
                      <a:pt x="112" y="60"/>
                    </a:cubicBezTo>
                    <a:cubicBezTo>
                      <a:pt x="107" y="56"/>
                      <a:pt x="98" y="49"/>
                      <a:pt x="92" y="44"/>
                    </a:cubicBezTo>
                    <a:cubicBezTo>
                      <a:pt x="90" y="41"/>
                      <a:pt x="77" y="20"/>
                      <a:pt x="74" y="13"/>
                    </a:cubicBezTo>
                    <a:cubicBezTo>
                      <a:pt x="74" y="13"/>
                      <a:pt x="74" y="13"/>
                      <a:pt x="74" y="13"/>
                    </a:cubicBezTo>
                    <a:cubicBezTo>
                      <a:pt x="71" y="8"/>
                      <a:pt x="66" y="0"/>
                      <a:pt x="48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29" y="0"/>
                      <a:pt x="26" y="4"/>
                      <a:pt x="19" y="13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0" y="44"/>
                      <a:pt x="0" y="49"/>
                      <a:pt x="2" y="54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9" y="92"/>
                      <a:pt x="21" y="94"/>
                      <a:pt x="25" y="94"/>
                    </a:cubicBezTo>
                    <a:cubicBezTo>
                      <a:pt x="25" y="94"/>
                      <a:pt x="25" y="94"/>
                      <a:pt x="26" y="94"/>
                    </a:cubicBezTo>
                    <a:cubicBezTo>
                      <a:pt x="25" y="153"/>
                      <a:pt x="25" y="167"/>
                      <a:pt x="25" y="169"/>
                    </a:cubicBezTo>
                    <a:cubicBezTo>
                      <a:pt x="25" y="169"/>
                      <a:pt x="25" y="169"/>
                      <a:pt x="25" y="169"/>
                    </a:cubicBezTo>
                    <a:cubicBezTo>
                      <a:pt x="26" y="174"/>
                      <a:pt x="30" y="178"/>
                      <a:pt x="36" y="178"/>
                    </a:cubicBezTo>
                    <a:cubicBezTo>
                      <a:pt x="41" y="177"/>
                      <a:pt x="46" y="173"/>
                      <a:pt x="46" y="169"/>
                    </a:cubicBezTo>
                    <a:cubicBezTo>
                      <a:pt x="50" y="122"/>
                      <a:pt x="50" y="122"/>
                      <a:pt x="50" y="122"/>
                    </a:cubicBezTo>
                    <a:cubicBezTo>
                      <a:pt x="53" y="169"/>
                      <a:pt x="53" y="169"/>
                      <a:pt x="53" y="169"/>
                    </a:cubicBezTo>
                    <a:cubicBezTo>
                      <a:pt x="54" y="173"/>
                      <a:pt x="58" y="177"/>
                      <a:pt x="63" y="178"/>
                    </a:cubicBezTo>
                    <a:cubicBezTo>
                      <a:pt x="64" y="178"/>
                      <a:pt x="64" y="178"/>
                      <a:pt x="64" y="178"/>
                    </a:cubicBezTo>
                    <a:cubicBezTo>
                      <a:pt x="69" y="178"/>
                      <a:pt x="73" y="174"/>
                      <a:pt x="74" y="169"/>
                    </a:cubicBezTo>
                    <a:cubicBezTo>
                      <a:pt x="74" y="169"/>
                      <a:pt x="74" y="169"/>
                      <a:pt x="74" y="169"/>
                    </a:cubicBezTo>
                    <a:cubicBezTo>
                      <a:pt x="74" y="166"/>
                      <a:pt x="72" y="100"/>
                      <a:pt x="71" y="51"/>
                    </a:cubicBezTo>
                    <a:cubicBezTo>
                      <a:pt x="77" y="60"/>
                      <a:pt x="77" y="60"/>
                      <a:pt x="77" y="60"/>
                    </a:cubicBezTo>
                    <a:cubicBezTo>
                      <a:pt x="77" y="60"/>
                      <a:pt x="78" y="61"/>
                      <a:pt x="78" y="61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8" y="78"/>
                      <a:pt x="110" y="78"/>
                      <a:pt x="112" y="78"/>
                    </a:cubicBezTo>
                    <a:cubicBezTo>
                      <a:pt x="113" y="78"/>
                      <a:pt x="113" y="78"/>
                      <a:pt x="114" y="78"/>
                    </a:cubicBezTo>
                    <a:cubicBezTo>
                      <a:pt x="115" y="78"/>
                      <a:pt x="117" y="78"/>
                      <a:pt x="118" y="77"/>
                    </a:cubicBezTo>
                    <a:cubicBezTo>
                      <a:pt x="147" y="61"/>
                      <a:pt x="147" y="61"/>
                      <a:pt x="147" y="61"/>
                    </a:cubicBezTo>
                    <a:cubicBezTo>
                      <a:pt x="147" y="61"/>
                      <a:pt x="147" y="60"/>
                      <a:pt x="147" y="60"/>
                    </a:cubicBezTo>
                    <a:cubicBezTo>
                      <a:pt x="154" y="51"/>
                      <a:pt x="154" y="51"/>
                      <a:pt x="154" y="51"/>
                    </a:cubicBezTo>
                    <a:cubicBezTo>
                      <a:pt x="152" y="100"/>
                      <a:pt x="151" y="166"/>
                      <a:pt x="151" y="169"/>
                    </a:cubicBezTo>
                    <a:cubicBezTo>
                      <a:pt x="151" y="169"/>
                      <a:pt x="151" y="169"/>
                      <a:pt x="151" y="169"/>
                    </a:cubicBezTo>
                    <a:cubicBezTo>
                      <a:pt x="151" y="174"/>
                      <a:pt x="156" y="178"/>
                      <a:pt x="161" y="178"/>
                    </a:cubicBezTo>
                    <a:cubicBezTo>
                      <a:pt x="167" y="177"/>
                      <a:pt x="171" y="173"/>
                      <a:pt x="171" y="169"/>
                    </a:cubicBezTo>
                    <a:cubicBezTo>
                      <a:pt x="175" y="122"/>
                      <a:pt x="175" y="122"/>
                      <a:pt x="175" y="122"/>
                    </a:cubicBezTo>
                    <a:cubicBezTo>
                      <a:pt x="179" y="169"/>
                      <a:pt x="179" y="169"/>
                      <a:pt x="179" y="169"/>
                    </a:cubicBezTo>
                    <a:cubicBezTo>
                      <a:pt x="179" y="173"/>
                      <a:pt x="183" y="177"/>
                      <a:pt x="189" y="178"/>
                    </a:cubicBezTo>
                    <a:cubicBezTo>
                      <a:pt x="189" y="178"/>
                      <a:pt x="189" y="178"/>
                      <a:pt x="189" y="178"/>
                    </a:cubicBezTo>
                    <a:cubicBezTo>
                      <a:pt x="194" y="178"/>
                      <a:pt x="199" y="174"/>
                      <a:pt x="199" y="169"/>
                    </a:cubicBezTo>
                    <a:cubicBezTo>
                      <a:pt x="199" y="169"/>
                      <a:pt x="199" y="169"/>
                      <a:pt x="199" y="169"/>
                    </a:cubicBezTo>
                    <a:cubicBezTo>
                      <a:pt x="199" y="167"/>
                      <a:pt x="199" y="153"/>
                      <a:pt x="199" y="94"/>
                    </a:cubicBezTo>
                    <a:cubicBezTo>
                      <a:pt x="199" y="94"/>
                      <a:pt x="200" y="94"/>
                      <a:pt x="200" y="94"/>
                    </a:cubicBezTo>
                    <a:cubicBezTo>
                      <a:pt x="203" y="94"/>
                      <a:pt x="206" y="92"/>
                      <a:pt x="207" y="90"/>
                    </a:cubicBezTo>
                    <a:cubicBezTo>
                      <a:pt x="223" y="54"/>
                      <a:pt x="223" y="54"/>
                      <a:pt x="223" y="54"/>
                    </a:cubicBezTo>
                    <a:cubicBezTo>
                      <a:pt x="225" y="49"/>
                      <a:pt x="225" y="44"/>
                      <a:pt x="222" y="40"/>
                    </a:cubicBezTo>
                    <a:close/>
                    <a:moveTo>
                      <a:pt x="81" y="57"/>
                    </a:moveTo>
                    <a:cubicBezTo>
                      <a:pt x="71" y="43"/>
                      <a:pt x="71" y="43"/>
                      <a:pt x="71" y="43"/>
                    </a:cubicBezTo>
                    <a:cubicBezTo>
                      <a:pt x="71" y="37"/>
                      <a:pt x="70" y="32"/>
                      <a:pt x="70" y="27"/>
                    </a:cubicBezTo>
                    <a:cubicBezTo>
                      <a:pt x="70" y="25"/>
                      <a:pt x="69" y="24"/>
                      <a:pt x="68" y="24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67" y="24"/>
                      <a:pt x="66" y="25"/>
                      <a:pt x="66" y="27"/>
                    </a:cubicBezTo>
                    <a:cubicBezTo>
                      <a:pt x="66" y="27"/>
                      <a:pt x="66" y="33"/>
                      <a:pt x="66" y="44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6" y="58"/>
                      <a:pt x="67" y="78"/>
                      <a:pt x="67" y="98"/>
                    </a:cubicBezTo>
                    <a:cubicBezTo>
                      <a:pt x="68" y="116"/>
                      <a:pt x="68" y="133"/>
                      <a:pt x="69" y="147"/>
                    </a:cubicBezTo>
                    <a:cubicBezTo>
                      <a:pt x="69" y="153"/>
                      <a:pt x="69" y="159"/>
                      <a:pt x="69" y="163"/>
                    </a:cubicBezTo>
                    <a:cubicBezTo>
                      <a:pt x="69" y="166"/>
                      <a:pt x="69" y="167"/>
                      <a:pt x="69" y="169"/>
                    </a:cubicBezTo>
                    <a:cubicBezTo>
                      <a:pt x="69" y="169"/>
                      <a:pt x="69" y="169"/>
                      <a:pt x="69" y="169"/>
                    </a:cubicBezTo>
                    <a:cubicBezTo>
                      <a:pt x="69" y="171"/>
                      <a:pt x="67" y="173"/>
                      <a:pt x="64" y="173"/>
                    </a:cubicBezTo>
                    <a:cubicBezTo>
                      <a:pt x="61" y="173"/>
                      <a:pt x="58" y="171"/>
                      <a:pt x="58" y="168"/>
                    </a:cubicBezTo>
                    <a:cubicBezTo>
                      <a:pt x="52" y="92"/>
                      <a:pt x="52" y="92"/>
                      <a:pt x="52" y="92"/>
                    </a:cubicBezTo>
                    <a:cubicBezTo>
                      <a:pt x="52" y="91"/>
                      <a:pt x="51" y="90"/>
                      <a:pt x="50" y="90"/>
                    </a:cubicBezTo>
                    <a:cubicBezTo>
                      <a:pt x="48" y="90"/>
                      <a:pt x="47" y="91"/>
                      <a:pt x="47" y="92"/>
                    </a:cubicBezTo>
                    <a:cubicBezTo>
                      <a:pt x="41" y="168"/>
                      <a:pt x="41" y="168"/>
                      <a:pt x="41" y="168"/>
                    </a:cubicBezTo>
                    <a:cubicBezTo>
                      <a:pt x="41" y="171"/>
                      <a:pt x="39" y="173"/>
                      <a:pt x="36" y="173"/>
                    </a:cubicBezTo>
                    <a:cubicBezTo>
                      <a:pt x="33" y="173"/>
                      <a:pt x="30" y="171"/>
                      <a:pt x="30" y="169"/>
                    </a:cubicBezTo>
                    <a:cubicBezTo>
                      <a:pt x="30" y="169"/>
                      <a:pt x="30" y="169"/>
                      <a:pt x="30" y="169"/>
                    </a:cubicBezTo>
                    <a:cubicBezTo>
                      <a:pt x="30" y="167"/>
                      <a:pt x="30" y="165"/>
                      <a:pt x="30" y="162"/>
                    </a:cubicBezTo>
                    <a:cubicBezTo>
                      <a:pt x="30" y="157"/>
                      <a:pt x="30" y="151"/>
                      <a:pt x="30" y="144"/>
                    </a:cubicBezTo>
                    <a:cubicBezTo>
                      <a:pt x="30" y="129"/>
                      <a:pt x="30" y="110"/>
                      <a:pt x="31" y="92"/>
                    </a:cubicBezTo>
                    <a:cubicBezTo>
                      <a:pt x="33" y="90"/>
                      <a:pt x="34" y="87"/>
                      <a:pt x="33" y="84"/>
                    </a:cubicBezTo>
                    <a:cubicBezTo>
                      <a:pt x="33" y="84"/>
                      <a:pt x="33" y="84"/>
                      <a:pt x="33" y="83"/>
                    </a:cubicBezTo>
                    <a:cubicBezTo>
                      <a:pt x="33" y="83"/>
                      <a:pt x="32" y="80"/>
                      <a:pt x="31" y="76"/>
                    </a:cubicBezTo>
                    <a:cubicBezTo>
                      <a:pt x="31" y="50"/>
                      <a:pt x="31" y="36"/>
                      <a:pt x="31" y="36"/>
                    </a:cubicBezTo>
                    <a:cubicBezTo>
                      <a:pt x="31" y="35"/>
                      <a:pt x="30" y="34"/>
                      <a:pt x="29" y="34"/>
                    </a:cubicBezTo>
                    <a:cubicBezTo>
                      <a:pt x="28" y="34"/>
                      <a:pt x="27" y="34"/>
                      <a:pt x="27" y="35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7" y="48"/>
                      <a:pt x="17" y="49"/>
                      <a:pt x="17" y="50"/>
                    </a:cubicBezTo>
                    <a:cubicBezTo>
                      <a:pt x="17" y="50"/>
                      <a:pt x="20" y="59"/>
                      <a:pt x="23" y="68"/>
                    </a:cubicBezTo>
                    <a:cubicBezTo>
                      <a:pt x="24" y="71"/>
                      <a:pt x="25" y="74"/>
                      <a:pt x="26" y="77"/>
                    </a:cubicBezTo>
                    <a:cubicBezTo>
                      <a:pt x="26" y="77"/>
                      <a:pt x="26" y="77"/>
                      <a:pt x="26" y="77"/>
                    </a:cubicBezTo>
                    <a:cubicBezTo>
                      <a:pt x="26" y="78"/>
                      <a:pt x="27" y="79"/>
                      <a:pt x="27" y="80"/>
                    </a:cubicBezTo>
                    <a:cubicBezTo>
                      <a:pt x="28" y="82"/>
                      <a:pt x="28" y="84"/>
                      <a:pt x="29" y="85"/>
                    </a:cubicBezTo>
                    <a:cubicBezTo>
                      <a:pt x="29" y="85"/>
                      <a:pt x="29" y="85"/>
                      <a:pt x="29" y="85"/>
                    </a:cubicBezTo>
                    <a:cubicBezTo>
                      <a:pt x="29" y="87"/>
                      <a:pt x="28" y="88"/>
                      <a:pt x="26" y="89"/>
                    </a:cubicBezTo>
                    <a:cubicBezTo>
                      <a:pt x="24" y="90"/>
                      <a:pt x="22" y="89"/>
                      <a:pt x="21" y="88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5" y="49"/>
                      <a:pt x="5" y="45"/>
                      <a:pt x="6" y="42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9" y="8"/>
                      <a:pt x="31" y="4"/>
                      <a:pt x="48" y="4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64" y="4"/>
                      <a:pt x="67" y="11"/>
                      <a:pt x="69" y="15"/>
                    </a:cubicBezTo>
                    <a:cubicBezTo>
                      <a:pt x="70" y="15"/>
                      <a:pt x="70" y="15"/>
                      <a:pt x="70" y="15"/>
                    </a:cubicBezTo>
                    <a:cubicBezTo>
                      <a:pt x="74" y="22"/>
                      <a:pt x="88" y="47"/>
                      <a:pt x="88" y="47"/>
                    </a:cubicBezTo>
                    <a:cubicBezTo>
                      <a:pt x="88" y="47"/>
                      <a:pt x="88" y="47"/>
                      <a:pt x="88" y="47"/>
                    </a:cubicBezTo>
                    <a:cubicBezTo>
                      <a:pt x="88" y="47"/>
                      <a:pt x="95" y="52"/>
                      <a:pt x="101" y="57"/>
                    </a:cubicBezTo>
                    <a:cubicBezTo>
                      <a:pt x="104" y="60"/>
                      <a:pt x="108" y="62"/>
                      <a:pt x="110" y="64"/>
                    </a:cubicBezTo>
                    <a:cubicBezTo>
                      <a:pt x="112" y="65"/>
                      <a:pt x="113" y="66"/>
                      <a:pt x="114" y="67"/>
                    </a:cubicBezTo>
                    <a:cubicBezTo>
                      <a:pt x="114" y="67"/>
                      <a:pt x="114" y="67"/>
                      <a:pt x="114" y="67"/>
                    </a:cubicBezTo>
                    <a:cubicBezTo>
                      <a:pt x="115" y="68"/>
                      <a:pt x="115" y="70"/>
                      <a:pt x="114" y="72"/>
                    </a:cubicBezTo>
                    <a:cubicBezTo>
                      <a:pt x="113" y="73"/>
                      <a:pt x="111" y="74"/>
                      <a:pt x="109" y="73"/>
                    </a:cubicBezTo>
                    <a:lnTo>
                      <a:pt x="81" y="57"/>
                    </a:lnTo>
                    <a:close/>
                    <a:moveTo>
                      <a:pt x="26" y="43"/>
                    </a:moveTo>
                    <a:cubicBezTo>
                      <a:pt x="26" y="48"/>
                      <a:pt x="26" y="54"/>
                      <a:pt x="26" y="63"/>
                    </a:cubicBezTo>
                    <a:cubicBezTo>
                      <a:pt x="25" y="58"/>
                      <a:pt x="23" y="54"/>
                      <a:pt x="22" y="50"/>
                    </a:cubicBezTo>
                    <a:lnTo>
                      <a:pt x="26" y="43"/>
                    </a:lnTo>
                    <a:close/>
                    <a:moveTo>
                      <a:pt x="219" y="52"/>
                    </a:moveTo>
                    <a:cubicBezTo>
                      <a:pt x="203" y="88"/>
                      <a:pt x="203" y="88"/>
                      <a:pt x="203" y="88"/>
                    </a:cubicBezTo>
                    <a:cubicBezTo>
                      <a:pt x="202" y="89"/>
                      <a:pt x="200" y="90"/>
                      <a:pt x="198" y="89"/>
                    </a:cubicBezTo>
                    <a:cubicBezTo>
                      <a:pt x="196" y="88"/>
                      <a:pt x="195" y="87"/>
                      <a:pt x="196" y="85"/>
                    </a:cubicBezTo>
                    <a:cubicBezTo>
                      <a:pt x="196" y="85"/>
                      <a:pt x="196" y="85"/>
                      <a:pt x="196" y="85"/>
                    </a:cubicBezTo>
                    <a:cubicBezTo>
                      <a:pt x="196" y="84"/>
                      <a:pt x="197" y="82"/>
                      <a:pt x="198" y="80"/>
                    </a:cubicBezTo>
                    <a:cubicBezTo>
                      <a:pt x="198" y="79"/>
                      <a:pt x="198" y="78"/>
                      <a:pt x="198" y="77"/>
                    </a:cubicBezTo>
                    <a:cubicBezTo>
                      <a:pt x="198" y="77"/>
                      <a:pt x="198" y="77"/>
                      <a:pt x="198" y="77"/>
                    </a:cubicBezTo>
                    <a:cubicBezTo>
                      <a:pt x="199" y="74"/>
                      <a:pt x="201" y="71"/>
                      <a:pt x="202" y="68"/>
                    </a:cubicBezTo>
                    <a:cubicBezTo>
                      <a:pt x="205" y="59"/>
                      <a:pt x="208" y="50"/>
                      <a:pt x="208" y="50"/>
                    </a:cubicBezTo>
                    <a:cubicBezTo>
                      <a:pt x="208" y="49"/>
                      <a:pt x="208" y="48"/>
                      <a:pt x="207" y="48"/>
                    </a:cubicBezTo>
                    <a:cubicBezTo>
                      <a:pt x="198" y="35"/>
                      <a:pt x="198" y="35"/>
                      <a:pt x="198" y="35"/>
                    </a:cubicBezTo>
                    <a:cubicBezTo>
                      <a:pt x="197" y="34"/>
                      <a:pt x="196" y="34"/>
                      <a:pt x="195" y="34"/>
                    </a:cubicBezTo>
                    <a:cubicBezTo>
                      <a:pt x="194" y="34"/>
                      <a:pt x="194" y="35"/>
                      <a:pt x="194" y="36"/>
                    </a:cubicBezTo>
                    <a:cubicBezTo>
                      <a:pt x="194" y="36"/>
                      <a:pt x="194" y="50"/>
                      <a:pt x="194" y="76"/>
                    </a:cubicBezTo>
                    <a:cubicBezTo>
                      <a:pt x="193" y="80"/>
                      <a:pt x="192" y="83"/>
                      <a:pt x="191" y="83"/>
                    </a:cubicBezTo>
                    <a:cubicBezTo>
                      <a:pt x="191" y="84"/>
                      <a:pt x="191" y="84"/>
                      <a:pt x="191" y="84"/>
                    </a:cubicBezTo>
                    <a:cubicBezTo>
                      <a:pt x="190" y="87"/>
                      <a:pt x="192" y="90"/>
                      <a:pt x="194" y="92"/>
                    </a:cubicBezTo>
                    <a:cubicBezTo>
                      <a:pt x="194" y="110"/>
                      <a:pt x="194" y="129"/>
                      <a:pt x="194" y="144"/>
                    </a:cubicBezTo>
                    <a:cubicBezTo>
                      <a:pt x="194" y="151"/>
                      <a:pt x="195" y="157"/>
                      <a:pt x="195" y="162"/>
                    </a:cubicBezTo>
                    <a:cubicBezTo>
                      <a:pt x="195" y="165"/>
                      <a:pt x="195" y="167"/>
                      <a:pt x="195" y="169"/>
                    </a:cubicBezTo>
                    <a:cubicBezTo>
                      <a:pt x="195" y="169"/>
                      <a:pt x="195" y="169"/>
                      <a:pt x="195" y="169"/>
                    </a:cubicBezTo>
                    <a:cubicBezTo>
                      <a:pt x="194" y="171"/>
                      <a:pt x="192" y="173"/>
                      <a:pt x="189" y="173"/>
                    </a:cubicBezTo>
                    <a:cubicBezTo>
                      <a:pt x="186" y="173"/>
                      <a:pt x="183" y="171"/>
                      <a:pt x="183" y="168"/>
                    </a:cubicBezTo>
                    <a:cubicBezTo>
                      <a:pt x="177" y="92"/>
                      <a:pt x="177" y="92"/>
                      <a:pt x="177" y="92"/>
                    </a:cubicBezTo>
                    <a:cubicBezTo>
                      <a:pt x="177" y="91"/>
                      <a:pt x="176" y="90"/>
                      <a:pt x="175" y="90"/>
                    </a:cubicBezTo>
                    <a:cubicBezTo>
                      <a:pt x="174" y="90"/>
                      <a:pt x="173" y="91"/>
                      <a:pt x="173" y="92"/>
                    </a:cubicBezTo>
                    <a:cubicBezTo>
                      <a:pt x="167" y="168"/>
                      <a:pt x="167" y="168"/>
                      <a:pt x="167" y="168"/>
                    </a:cubicBezTo>
                    <a:cubicBezTo>
                      <a:pt x="166" y="171"/>
                      <a:pt x="164" y="173"/>
                      <a:pt x="161" y="173"/>
                    </a:cubicBezTo>
                    <a:cubicBezTo>
                      <a:pt x="158" y="173"/>
                      <a:pt x="155" y="171"/>
                      <a:pt x="155" y="169"/>
                    </a:cubicBezTo>
                    <a:cubicBezTo>
                      <a:pt x="155" y="169"/>
                      <a:pt x="155" y="169"/>
                      <a:pt x="155" y="169"/>
                    </a:cubicBezTo>
                    <a:cubicBezTo>
                      <a:pt x="155" y="167"/>
                      <a:pt x="155" y="166"/>
                      <a:pt x="155" y="163"/>
                    </a:cubicBezTo>
                    <a:cubicBezTo>
                      <a:pt x="156" y="159"/>
                      <a:pt x="156" y="153"/>
                      <a:pt x="156" y="147"/>
                    </a:cubicBezTo>
                    <a:cubicBezTo>
                      <a:pt x="156" y="133"/>
                      <a:pt x="157" y="116"/>
                      <a:pt x="157" y="98"/>
                    </a:cubicBezTo>
                    <a:cubicBezTo>
                      <a:pt x="158" y="78"/>
                      <a:pt x="158" y="58"/>
                      <a:pt x="159" y="44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59" y="33"/>
                      <a:pt x="159" y="27"/>
                      <a:pt x="159" y="27"/>
                    </a:cubicBezTo>
                    <a:cubicBezTo>
                      <a:pt x="159" y="25"/>
                      <a:pt x="158" y="24"/>
                      <a:pt x="157" y="24"/>
                    </a:cubicBezTo>
                    <a:cubicBezTo>
                      <a:pt x="157" y="24"/>
                      <a:pt x="157" y="24"/>
                      <a:pt x="157" y="24"/>
                    </a:cubicBezTo>
                    <a:cubicBezTo>
                      <a:pt x="155" y="24"/>
                      <a:pt x="154" y="25"/>
                      <a:pt x="154" y="27"/>
                    </a:cubicBezTo>
                    <a:cubicBezTo>
                      <a:pt x="154" y="32"/>
                      <a:pt x="154" y="37"/>
                      <a:pt x="154" y="43"/>
                    </a:cubicBezTo>
                    <a:cubicBezTo>
                      <a:pt x="144" y="57"/>
                      <a:pt x="144" y="57"/>
                      <a:pt x="144" y="57"/>
                    </a:cubicBezTo>
                    <a:cubicBezTo>
                      <a:pt x="119" y="71"/>
                      <a:pt x="119" y="71"/>
                      <a:pt x="119" y="71"/>
                    </a:cubicBezTo>
                    <a:cubicBezTo>
                      <a:pt x="120" y="68"/>
                      <a:pt x="119" y="65"/>
                      <a:pt x="117" y="63"/>
                    </a:cubicBezTo>
                    <a:cubicBezTo>
                      <a:pt x="117" y="63"/>
                      <a:pt x="117" y="63"/>
                      <a:pt x="117" y="63"/>
                    </a:cubicBezTo>
                    <a:cubicBezTo>
                      <a:pt x="117" y="63"/>
                      <a:pt x="116" y="63"/>
                      <a:pt x="116" y="63"/>
                    </a:cubicBezTo>
                    <a:cubicBezTo>
                      <a:pt x="124" y="57"/>
                      <a:pt x="136" y="47"/>
                      <a:pt x="136" y="47"/>
                    </a:cubicBezTo>
                    <a:cubicBezTo>
                      <a:pt x="136" y="47"/>
                      <a:pt x="137" y="47"/>
                      <a:pt x="137" y="47"/>
                    </a:cubicBezTo>
                    <a:cubicBezTo>
                      <a:pt x="137" y="47"/>
                      <a:pt x="151" y="22"/>
                      <a:pt x="155" y="15"/>
                    </a:cubicBezTo>
                    <a:cubicBezTo>
                      <a:pt x="155" y="15"/>
                      <a:pt x="155" y="15"/>
                      <a:pt x="155" y="15"/>
                    </a:cubicBezTo>
                    <a:cubicBezTo>
                      <a:pt x="157" y="11"/>
                      <a:pt x="161" y="4"/>
                      <a:pt x="177" y="4"/>
                    </a:cubicBezTo>
                    <a:cubicBezTo>
                      <a:pt x="177" y="4"/>
                      <a:pt x="177" y="4"/>
                      <a:pt x="177" y="4"/>
                    </a:cubicBezTo>
                    <a:cubicBezTo>
                      <a:pt x="194" y="4"/>
                      <a:pt x="196" y="8"/>
                      <a:pt x="201" y="16"/>
                    </a:cubicBezTo>
                    <a:cubicBezTo>
                      <a:pt x="218" y="42"/>
                      <a:pt x="218" y="42"/>
                      <a:pt x="218" y="42"/>
                    </a:cubicBezTo>
                    <a:cubicBezTo>
                      <a:pt x="220" y="45"/>
                      <a:pt x="220" y="49"/>
                      <a:pt x="219" y="52"/>
                    </a:cubicBezTo>
                    <a:close/>
                    <a:moveTo>
                      <a:pt x="198" y="43"/>
                    </a:moveTo>
                    <a:cubicBezTo>
                      <a:pt x="203" y="50"/>
                      <a:pt x="203" y="50"/>
                      <a:pt x="203" y="50"/>
                    </a:cubicBezTo>
                    <a:cubicBezTo>
                      <a:pt x="202" y="54"/>
                      <a:pt x="200" y="58"/>
                      <a:pt x="198" y="63"/>
                    </a:cubicBezTo>
                    <a:cubicBezTo>
                      <a:pt x="198" y="54"/>
                      <a:pt x="198" y="48"/>
                      <a:pt x="198" y="4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sp>
        <p:nvSpPr>
          <p:cNvPr id="82" name="Rectangle 81"/>
          <p:cNvSpPr/>
          <p:nvPr/>
        </p:nvSpPr>
        <p:spPr>
          <a:xfrm>
            <a:off x="827586" y="2082835"/>
            <a:ext cx="1866800" cy="3013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>
              <a:lnSpc>
                <a:spcPct val="89000"/>
              </a:lnSpc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</a:t>
            </a:r>
          </a:p>
        </p:txBody>
      </p:sp>
      <p:sp>
        <p:nvSpPr>
          <p:cNvPr id="83" name="Rectangle 82"/>
          <p:cNvSpPr/>
          <p:nvPr/>
        </p:nvSpPr>
        <p:spPr>
          <a:xfrm>
            <a:off x="3509350" y="824718"/>
            <a:ext cx="2128926" cy="3013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9000"/>
              </a:lnSpc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</a:t>
            </a:r>
          </a:p>
        </p:txBody>
      </p:sp>
      <p:grpSp>
        <p:nvGrpSpPr>
          <p:cNvPr id="86" name="Group 34"/>
          <p:cNvGrpSpPr>
            <a:grpSpLocks noChangeAspect="1"/>
          </p:cNvGrpSpPr>
          <p:nvPr/>
        </p:nvGrpSpPr>
        <p:grpSpPr bwMode="auto">
          <a:xfrm>
            <a:off x="2362201" y="3155114"/>
            <a:ext cx="676275" cy="676275"/>
            <a:chOff x="1544" y="1525"/>
            <a:chExt cx="426" cy="426"/>
          </a:xfrm>
        </p:grpSpPr>
        <p:sp>
          <p:nvSpPr>
            <p:cNvPr id="88" name="Oval 35"/>
            <p:cNvSpPr>
              <a:spLocks noChangeArrowheads="1"/>
            </p:cNvSpPr>
            <p:nvPr/>
          </p:nvSpPr>
          <p:spPr bwMode="auto">
            <a:xfrm>
              <a:off x="1544" y="1525"/>
              <a:ext cx="426" cy="42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9" name="Freeform 36"/>
            <p:cNvSpPr>
              <a:spLocks noEditPoints="1"/>
            </p:cNvSpPr>
            <p:nvPr/>
          </p:nvSpPr>
          <p:spPr bwMode="auto">
            <a:xfrm>
              <a:off x="1672" y="1606"/>
              <a:ext cx="60" cy="264"/>
            </a:xfrm>
            <a:custGeom>
              <a:avLst/>
              <a:gdLst>
                <a:gd name="T0" fmla="*/ 50 w 50"/>
                <a:gd name="T1" fmla="*/ 173 h 220"/>
                <a:gd name="T2" fmla="*/ 36 w 50"/>
                <a:gd name="T3" fmla="*/ 0 h 220"/>
                <a:gd name="T4" fmla="*/ 0 w 50"/>
                <a:gd name="T5" fmla="*/ 14 h 220"/>
                <a:gd name="T6" fmla="*/ 0 w 50"/>
                <a:gd name="T7" fmla="*/ 173 h 220"/>
                <a:gd name="T8" fmla="*/ 0 w 50"/>
                <a:gd name="T9" fmla="*/ 173 h 220"/>
                <a:gd name="T10" fmla="*/ 0 w 50"/>
                <a:gd name="T11" fmla="*/ 174 h 220"/>
                <a:gd name="T12" fmla="*/ 0 w 50"/>
                <a:gd name="T13" fmla="*/ 174 h 220"/>
                <a:gd name="T14" fmla="*/ 25 w 50"/>
                <a:gd name="T15" fmla="*/ 220 h 220"/>
                <a:gd name="T16" fmla="*/ 50 w 50"/>
                <a:gd name="T17" fmla="*/ 174 h 220"/>
                <a:gd name="T18" fmla="*/ 50 w 50"/>
                <a:gd name="T19" fmla="*/ 174 h 220"/>
                <a:gd name="T20" fmla="*/ 50 w 50"/>
                <a:gd name="T21" fmla="*/ 174 h 220"/>
                <a:gd name="T22" fmla="*/ 31 w 50"/>
                <a:gd name="T23" fmla="*/ 201 h 220"/>
                <a:gd name="T24" fmla="*/ 7 w 50"/>
                <a:gd name="T25" fmla="*/ 177 h 220"/>
                <a:gd name="T26" fmla="*/ 16 w 50"/>
                <a:gd name="T27" fmla="*/ 177 h 220"/>
                <a:gd name="T28" fmla="*/ 18 w 50"/>
                <a:gd name="T29" fmla="*/ 177 h 220"/>
                <a:gd name="T30" fmla="*/ 44 w 50"/>
                <a:gd name="T31" fmla="*/ 175 h 220"/>
                <a:gd name="T32" fmla="*/ 45 w 50"/>
                <a:gd name="T33" fmla="*/ 53 h 220"/>
                <a:gd name="T34" fmla="*/ 4 w 50"/>
                <a:gd name="T35" fmla="*/ 34 h 220"/>
                <a:gd name="T36" fmla="*/ 45 w 50"/>
                <a:gd name="T37" fmla="*/ 53 h 220"/>
                <a:gd name="T38" fmla="*/ 19 w 50"/>
                <a:gd name="T39" fmla="*/ 172 h 220"/>
                <a:gd name="T40" fmla="*/ 31 w 50"/>
                <a:gd name="T41" fmla="*/ 58 h 220"/>
                <a:gd name="T42" fmla="*/ 23 w 50"/>
                <a:gd name="T43" fmla="*/ 171 h 220"/>
                <a:gd name="T44" fmla="*/ 4 w 50"/>
                <a:gd name="T45" fmla="*/ 58 h 220"/>
                <a:gd name="T46" fmla="*/ 14 w 50"/>
                <a:gd name="T47" fmla="*/ 173 h 220"/>
                <a:gd name="T48" fmla="*/ 36 w 50"/>
                <a:gd name="T49" fmla="*/ 169 h 220"/>
                <a:gd name="T50" fmla="*/ 45 w 50"/>
                <a:gd name="T51" fmla="*/ 58 h 220"/>
                <a:gd name="T52" fmla="*/ 36 w 50"/>
                <a:gd name="T53" fmla="*/ 169 h 220"/>
                <a:gd name="T54" fmla="*/ 36 w 50"/>
                <a:gd name="T55" fmla="*/ 5 h 220"/>
                <a:gd name="T56" fmla="*/ 45 w 50"/>
                <a:gd name="T57" fmla="*/ 29 h 220"/>
                <a:gd name="T58" fmla="*/ 4 w 50"/>
                <a:gd name="T59" fmla="*/ 14 h 220"/>
                <a:gd name="T60" fmla="*/ 22 w 50"/>
                <a:gd name="T61" fmla="*/ 206 h 220"/>
                <a:gd name="T62" fmla="*/ 25 w 50"/>
                <a:gd name="T63" fmla="*/ 21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0" h="220">
                  <a:moveTo>
                    <a:pt x="50" y="173"/>
                  </a:moveTo>
                  <a:cubicBezTo>
                    <a:pt x="50" y="173"/>
                    <a:pt x="50" y="173"/>
                    <a:pt x="50" y="173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6"/>
                    <a:pt x="44" y="0"/>
                    <a:pt x="3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23" y="218"/>
                    <a:pt x="23" y="218"/>
                    <a:pt x="23" y="218"/>
                  </a:cubicBezTo>
                  <a:cubicBezTo>
                    <a:pt x="23" y="219"/>
                    <a:pt x="24" y="220"/>
                    <a:pt x="25" y="220"/>
                  </a:cubicBezTo>
                  <a:cubicBezTo>
                    <a:pt x="26" y="220"/>
                    <a:pt x="27" y="219"/>
                    <a:pt x="27" y="218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174"/>
                    <a:pt x="50" y="174"/>
                    <a:pt x="50" y="173"/>
                  </a:cubicBezTo>
                  <a:close/>
                  <a:moveTo>
                    <a:pt x="31" y="201"/>
                  </a:moveTo>
                  <a:cubicBezTo>
                    <a:pt x="19" y="201"/>
                    <a:pt x="19" y="201"/>
                    <a:pt x="19" y="201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8" y="177"/>
                    <a:pt x="9" y="177"/>
                    <a:pt x="11" y="177"/>
                  </a:cubicBezTo>
                  <a:cubicBezTo>
                    <a:pt x="13" y="177"/>
                    <a:pt x="14" y="177"/>
                    <a:pt x="16" y="177"/>
                  </a:cubicBezTo>
                  <a:cubicBezTo>
                    <a:pt x="16" y="177"/>
                    <a:pt x="16" y="177"/>
                    <a:pt x="17" y="177"/>
                  </a:cubicBezTo>
                  <a:cubicBezTo>
                    <a:pt x="17" y="177"/>
                    <a:pt x="17" y="177"/>
                    <a:pt x="18" y="177"/>
                  </a:cubicBezTo>
                  <a:cubicBezTo>
                    <a:pt x="20" y="176"/>
                    <a:pt x="22" y="176"/>
                    <a:pt x="24" y="176"/>
                  </a:cubicBezTo>
                  <a:cubicBezTo>
                    <a:pt x="31" y="174"/>
                    <a:pt x="38" y="173"/>
                    <a:pt x="44" y="175"/>
                  </a:cubicBezTo>
                  <a:lnTo>
                    <a:pt x="31" y="201"/>
                  </a:lnTo>
                  <a:close/>
                  <a:moveTo>
                    <a:pt x="45" y="53"/>
                  </a:moveTo>
                  <a:cubicBezTo>
                    <a:pt x="4" y="53"/>
                    <a:pt x="4" y="53"/>
                    <a:pt x="4" y="5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5" y="34"/>
                    <a:pt x="45" y="34"/>
                    <a:pt x="45" y="34"/>
                  </a:cubicBezTo>
                  <a:lnTo>
                    <a:pt x="45" y="53"/>
                  </a:lnTo>
                  <a:close/>
                  <a:moveTo>
                    <a:pt x="23" y="171"/>
                  </a:moveTo>
                  <a:cubicBezTo>
                    <a:pt x="22" y="171"/>
                    <a:pt x="20" y="172"/>
                    <a:pt x="19" y="17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169"/>
                    <a:pt x="31" y="169"/>
                    <a:pt x="31" y="169"/>
                  </a:cubicBezTo>
                  <a:cubicBezTo>
                    <a:pt x="28" y="170"/>
                    <a:pt x="26" y="170"/>
                    <a:pt x="23" y="171"/>
                  </a:cubicBezTo>
                  <a:close/>
                  <a:moveTo>
                    <a:pt x="4" y="172"/>
                  </a:moveTo>
                  <a:cubicBezTo>
                    <a:pt x="4" y="58"/>
                    <a:pt x="4" y="58"/>
                    <a:pt x="4" y="58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1" y="173"/>
                    <a:pt x="7" y="173"/>
                    <a:pt x="4" y="172"/>
                  </a:cubicBezTo>
                  <a:close/>
                  <a:moveTo>
                    <a:pt x="36" y="169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170"/>
                    <a:pt x="45" y="170"/>
                    <a:pt x="45" y="170"/>
                  </a:cubicBezTo>
                  <a:cubicBezTo>
                    <a:pt x="42" y="169"/>
                    <a:pt x="39" y="169"/>
                    <a:pt x="36" y="169"/>
                  </a:cubicBezTo>
                  <a:close/>
                  <a:moveTo>
                    <a:pt x="13" y="5"/>
                  </a:moveTo>
                  <a:cubicBezTo>
                    <a:pt x="36" y="5"/>
                    <a:pt x="36" y="5"/>
                    <a:pt x="36" y="5"/>
                  </a:cubicBezTo>
                  <a:cubicBezTo>
                    <a:pt x="41" y="5"/>
                    <a:pt x="45" y="9"/>
                    <a:pt x="45" y="14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9"/>
                    <a:pt x="8" y="5"/>
                    <a:pt x="13" y="5"/>
                  </a:cubicBezTo>
                  <a:close/>
                  <a:moveTo>
                    <a:pt x="22" y="206"/>
                  </a:moveTo>
                  <a:cubicBezTo>
                    <a:pt x="28" y="206"/>
                    <a:pt x="28" y="206"/>
                    <a:pt x="28" y="206"/>
                  </a:cubicBezTo>
                  <a:cubicBezTo>
                    <a:pt x="25" y="212"/>
                    <a:pt x="25" y="212"/>
                    <a:pt x="25" y="212"/>
                  </a:cubicBezTo>
                  <a:lnTo>
                    <a:pt x="22" y="2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0" name="Freeform 37"/>
            <p:cNvSpPr>
              <a:spLocks noEditPoints="1"/>
            </p:cNvSpPr>
            <p:nvPr/>
          </p:nvSpPr>
          <p:spPr bwMode="auto">
            <a:xfrm>
              <a:off x="1765" y="1606"/>
              <a:ext cx="77" cy="264"/>
            </a:xfrm>
            <a:custGeom>
              <a:avLst/>
              <a:gdLst>
                <a:gd name="T0" fmla="*/ 61 w 64"/>
                <a:gd name="T1" fmla="*/ 0 h 220"/>
                <a:gd name="T2" fmla="*/ 3 w 64"/>
                <a:gd name="T3" fmla="*/ 0 h 220"/>
                <a:gd name="T4" fmla="*/ 0 w 64"/>
                <a:gd name="T5" fmla="*/ 3 h 220"/>
                <a:gd name="T6" fmla="*/ 0 w 64"/>
                <a:gd name="T7" fmla="*/ 217 h 220"/>
                <a:gd name="T8" fmla="*/ 3 w 64"/>
                <a:gd name="T9" fmla="*/ 220 h 220"/>
                <a:gd name="T10" fmla="*/ 61 w 64"/>
                <a:gd name="T11" fmla="*/ 220 h 220"/>
                <a:gd name="T12" fmla="*/ 64 w 64"/>
                <a:gd name="T13" fmla="*/ 217 h 220"/>
                <a:gd name="T14" fmla="*/ 64 w 64"/>
                <a:gd name="T15" fmla="*/ 3 h 220"/>
                <a:gd name="T16" fmla="*/ 61 w 64"/>
                <a:gd name="T17" fmla="*/ 0 h 220"/>
                <a:gd name="T18" fmla="*/ 5 w 64"/>
                <a:gd name="T19" fmla="*/ 215 h 220"/>
                <a:gd name="T20" fmla="*/ 5 w 64"/>
                <a:gd name="T21" fmla="*/ 5 h 220"/>
                <a:gd name="T22" fmla="*/ 59 w 64"/>
                <a:gd name="T23" fmla="*/ 5 h 220"/>
                <a:gd name="T24" fmla="*/ 59 w 64"/>
                <a:gd name="T25" fmla="*/ 22 h 220"/>
                <a:gd name="T26" fmla="*/ 39 w 64"/>
                <a:gd name="T27" fmla="*/ 22 h 220"/>
                <a:gd name="T28" fmla="*/ 37 w 64"/>
                <a:gd name="T29" fmla="*/ 25 h 220"/>
                <a:gd name="T30" fmla="*/ 39 w 64"/>
                <a:gd name="T31" fmla="*/ 27 h 220"/>
                <a:gd name="T32" fmla="*/ 59 w 64"/>
                <a:gd name="T33" fmla="*/ 27 h 220"/>
                <a:gd name="T34" fmla="*/ 59 w 64"/>
                <a:gd name="T35" fmla="*/ 47 h 220"/>
                <a:gd name="T36" fmla="*/ 32 w 64"/>
                <a:gd name="T37" fmla="*/ 47 h 220"/>
                <a:gd name="T38" fmla="*/ 30 w 64"/>
                <a:gd name="T39" fmla="*/ 49 h 220"/>
                <a:gd name="T40" fmla="*/ 32 w 64"/>
                <a:gd name="T41" fmla="*/ 51 h 220"/>
                <a:gd name="T42" fmla="*/ 59 w 64"/>
                <a:gd name="T43" fmla="*/ 51 h 220"/>
                <a:gd name="T44" fmla="*/ 59 w 64"/>
                <a:gd name="T45" fmla="*/ 71 h 220"/>
                <a:gd name="T46" fmla="*/ 39 w 64"/>
                <a:gd name="T47" fmla="*/ 71 h 220"/>
                <a:gd name="T48" fmla="*/ 37 w 64"/>
                <a:gd name="T49" fmla="*/ 73 h 220"/>
                <a:gd name="T50" fmla="*/ 39 w 64"/>
                <a:gd name="T51" fmla="*/ 76 h 220"/>
                <a:gd name="T52" fmla="*/ 59 w 64"/>
                <a:gd name="T53" fmla="*/ 76 h 220"/>
                <a:gd name="T54" fmla="*/ 59 w 64"/>
                <a:gd name="T55" fmla="*/ 95 h 220"/>
                <a:gd name="T56" fmla="*/ 32 w 64"/>
                <a:gd name="T57" fmla="*/ 95 h 220"/>
                <a:gd name="T58" fmla="*/ 30 w 64"/>
                <a:gd name="T59" fmla="*/ 97 h 220"/>
                <a:gd name="T60" fmla="*/ 32 w 64"/>
                <a:gd name="T61" fmla="*/ 100 h 220"/>
                <a:gd name="T62" fmla="*/ 59 w 64"/>
                <a:gd name="T63" fmla="*/ 100 h 220"/>
                <a:gd name="T64" fmla="*/ 59 w 64"/>
                <a:gd name="T65" fmla="*/ 119 h 220"/>
                <a:gd name="T66" fmla="*/ 39 w 64"/>
                <a:gd name="T67" fmla="*/ 119 h 220"/>
                <a:gd name="T68" fmla="*/ 37 w 64"/>
                <a:gd name="T69" fmla="*/ 122 h 220"/>
                <a:gd name="T70" fmla="*/ 39 w 64"/>
                <a:gd name="T71" fmla="*/ 124 h 220"/>
                <a:gd name="T72" fmla="*/ 59 w 64"/>
                <a:gd name="T73" fmla="*/ 124 h 220"/>
                <a:gd name="T74" fmla="*/ 59 w 64"/>
                <a:gd name="T75" fmla="*/ 143 h 220"/>
                <a:gd name="T76" fmla="*/ 32 w 64"/>
                <a:gd name="T77" fmla="*/ 143 h 220"/>
                <a:gd name="T78" fmla="*/ 30 w 64"/>
                <a:gd name="T79" fmla="*/ 146 h 220"/>
                <a:gd name="T80" fmla="*/ 32 w 64"/>
                <a:gd name="T81" fmla="*/ 148 h 220"/>
                <a:gd name="T82" fmla="*/ 59 w 64"/>
                <a:gd name="T83" fmla="*/ 148 h 220"/>
                <a:gd name="T84" fmla="*/ 59 w 64"/>
                <a:gd name="T85" fmla="*/ 168 h 220"/>
                <a:gd name="T86" fmla="*/ 39 w 64"/>
                <a:gd name="T87" fmla="*/ 168 h 220"/>
                <a:gd name="T88" fmla="*/ 37 w 64"/>
                <a:gd name="T89" fmla="*/ 170 h 220"/>
                <a:gd name="T90" fmla="*/ 39 w 64"/>
                <a:gd name="T91" fmla="*/ 172 h 220"/>
                <a:gd name="T92" fmla="*/ 59 w 64"/>
                <a:gd name="T93" fmla="*/ 172 h 220"/>
                <a:gd name="T94" fmla="*/ 59 w 64"/>
                <a:gd name="T95" fmla="*/ 192 h 220"/>
                <a:gd name="T96" fmla="*/ 32 w 64"/>
                <a:gd name="T97" fmla="*/ 192 h 220"/>
                <a:gd name="T98" fmla="*/ 30 w 64"/>
                <a:gd name="T99" fmla="*/ 194 h 220"/>
                <a:gd name="T100" fmla="*/ 32 w 64"/>
                <a:gd name="T101" fmla="*/ 196 h 220"/>
                <a:gd name="T102" fmla="*/ 59 w 64"/>
                <a:gd name="T103" fmla="*/ 196 h 220"/>
                <a:gd name="T104" fmla="*/ 59 w 64"/>
                <a:gd name="T105" fmla="*/ 215 h 220"/>
                <a:gd name="T106" fmla="*/ 5 w 64"/>
                <a:gd name="T107" fmla="*/ 21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4" h="220">
                  <a:moveTo>
                    <a:pt x="61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8"/>
                    <a:pt x="1" y="220"/>
                    <a:pt x="3" y="220"/>
                  </a:cubicBezTo>
                  <a:cubicBezTo>
                    <a:pt x="61" y="220"/>
                    <a:pt x="61" y="220"/>
                    <a:pt x="61" y="220"/>
                  </a:cubicBezTo>
                  <a:cubicBezTo>
                    <a:pt x="63" y="220"/>
                    <a:pt x="64" y="218"/>
                    <a:pt x="64" y="217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1"/>
                    <a:pt x="63" y="0"/>
                    <a:pt x="61" y="0"/>
                  </a:cubicBezTo>
                  <a:close/>
                  <a:moveTo>
                    <a:pt x="5" y="215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8" y="22"/>
                    <a:pt x="37" y="24"/>
                    <a:pt x="37" y="25"/>
                  </a:cubicBezTo>
                  <a:cubicBezTo>
                    <a:pt x="37" y="26"/>
                    <a:pt x="38" y="27"/>
                    <a:pt x="39" y="27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1" y="47"/>
                    <a:pt x="30" y="48"/>
                    <a:pt x="30" y="49"/>
                  </a:cubicBezTo>
                  <a:cubicBezTo>
                    <a:pt x="30" y="50"/>
                    <a:pt x="31" y="51"/>
                    <a:pt x="32" y="5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8" y="71"/>
                    <a:pt x="37" y="72"/>
                    <a:pt x="37" y="73"/>
                  </a:cubicBezTo>
                  <a:cubicBezTo>
                    <a:pt x="37" y="74"/>
                    <a:pt x="38" y="76"/>
                    <a:pt x="3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31" y="95"/>
                    <a:pt x="30" y="96"/>
                    <a:pt x="30" y="97"/>
                  </a:cubicBezTo>
                  <a:cubicBezTo>
                    <a:pt x="30" y="99"/>
                    <a:pt x="31" y="100"/>
                    <a:pt x="32" y="100"/>
                  </a:cubicBezTo>
                  <a:cubicBezTo>
                    <a:pt x="59" y="100"/>
                    <a:pt x="59" y="100"/>
                    <a:pt x="59" y="100"/>
                  </a:cubicBezTo>
                  <a:cubicBezTo>
                    <a:pt x="59" y="119"/>
                    <a:pt x="59" y="119"/>
                    <a:pt x="5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8" y="119"/>
                    <a:pt x="37" y="120"/>
                    <a:pt x="37" y="122"/>
                  </a:cubicBezTo>
                  <a:cubicBezTo>
                    <a:pt x="37" y="123"/>
                    <a:pt x="38" y="124"/>
                    <a:pt x="39" y="124"/>
                  </a:cubicBezTo>
                  <a:cubicBezTo>
                    <a:pt x="59" y="124"/>
                    <a:pt x="59" y="124"/>
                    <a:pt x="59" y="124"/>
                  </a:cubicBezTo>
                  <a:cubicBezTo>
                    <a:pt x="59" y="143"/>
                    <a:pt x="59" y="143"/>
                    <a:pt x="59" y="143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31" y="143"/>
                    <a:pt x="30" y="144"/>
                    <a:pt x="30" y="146"/>
                  </a:cubicBezTo>
                  <a:cubicBezTo>
                    <a:pt x="30" y="147"/>
                    <a:pt x="31" y="148"/>
                    <a:pt x="32" y="148"/>
                  </a:cubicBezTo>
                  <a:cubicBezTo>
                    <a:pt x="59" y="148"/>
                    <a:pt x="59" y="148"/>
                    <a:pt x="59" y="148"/>
                  </a:cubicBezTo>
                  <a:cubicBezTo>
                    <a:pt x="59" y="168"/>
                    <a:pt x="59" y="168"/>
                    <a:pt x="59" y="168"/>
                  </a:cubicBezTo>
                  <a:cubicBezTo>
                    <a:pt x="39" y="168"/>
                    <a:pt x="39" y="168"/>
                    <a:pt x="39" y="168"/>
                  </a:cubicBezTo>
                  <a:cubicBezTo>
                    <a:pt x="38" y="168"/>
                    <a:pt x="37" y="169"/>
                    <a:pt x="37" y="170"/>
                  </a:cubicBezTo>
                  <a:cubicBezTo>
                    <a:pt x="37" y="171"/>
                    <a:pt x="38" y="172"/>
                    <a:pt x="39" y="172"/>
                  </a:cubicBezTo>
                  <a:cubicBezTo>
                    <a:pt x="59" y="172"/>
                    <a:pt x="59" y="172"/>
                    <a:pt x="59" y="172"/>
                  </a:cubicBezTo>
                  <a:cubicBezTo>
                    <a:pt x="59" y="192"/>
                    <a:pt x="59" y="192"/>
                    <a:pt x="59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31" y="192"/>
                    <a:pt x="30" y="193"/>
                    <a:pt x="30" y="194"/>
                  </a:cubicBezTo>
                  <a:cubicBezTo>
                    <a:pt x="30" y="195"/>
                    <a:pt x="31" y="196"/>
                    <a:pt x="32" y="196"/>
                  </a:cubicBezTo>
                  <a:cubicBezTo>
                    <a:pt x="59" y="196"/>
                    <a:pt x="59" y="196"/>
                    <a:pt x="59" y="196"/>
                  </a:cubicBezTo>
                  <a:cubicBezTo>
                    <a:pt x="59" y="215"/>
                    <a:pt x="59" y="215"/>
                    <a:pt x="59" y="215"/>
                  </a:cubicBezTo>
                  <a:lnTo>
                    <a:pt x="5" y="2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56" name="Rectangle 155"/>
          <p:cNvSpPr/>
          <p:nvPr/>
        </p:nvSpPr>
        <p:spPr>
          <a:xfrm>
            <a:off x="6909544" y="3342569"/>
            <a:ext cx="1946933" cy="3013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</a:t>
            </a:r>
          </a:p>
        </p:txBody>
      </p:sp>
      <p:sp>
        <p:nvSpPr>
          <p:cNvPr id="157" name="Rectangle 156"/>
          <p:cNvSpPr/>
          <p:nvPr/>
        </p:nvSpPr>
        <p:spPr>
          <a:xfrm>
            <a:off x="6490540" y="2082835"/>
            <a:ext cx="2185916" cy="3013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38691" cy="545464"/>
          </a:xfrm>
        </p:spPr>
        <p:txBody>
          <a:bodyPr/>
          <a:lstStyle/>
          <a:p>
            <a:r>
              <a:rPr lang="en-US" dirty="0"/>
              <a:t>Global concepts</a:t>
            </a:r>
          </a:p>
        </p:txBody>
      </p:sp>
      <p:sp>
        <p:nvSpPr>
          <p:cNvPr id="84" name="Footer Placeholder 99">
            <a:extLst>
              <a:ext uri="{FF2B5EF4-FFF2-40B4-BE49-F238E27FC236}">
                <a16:creationId xmlns:a16="http://schemas.microsoft.com/office/drawing/2014/main" id="{B6C079BC-D33B-4087-A308-D183390E61E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5" name="Slide Number Placeholder 100">
            <a:extLst>
              <a:ext uri="{FF2B5EF4-FFF2-40B4-BE49-F238E27FC236}">
                <a16:creationId xmlns:a16="http://schemas.microsoft.com/office/drawing/2014/main" id="{8BFD3A88-3D37-4EC7-A0A6-DA7C4BCE37B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61</a:t>
            </a:fld>
            <a:endParaRPr lang="en-US" dirty="0"/>
          </a:p>
        </p:txBody>
      </p:sp>
      <p:sp>
        <p:nvSpPr>
          <p:cNvPr id="87" name="Text Placeholder 41">
            <a:extLst>
              <a:ext uri="{FF2B5EF4-FFF2-40B4-BE49-F238E27FC236}">
                <a16:creationId xmlns:a16="http://schemas.microsoft.com/office/drawing/2014/main" id="{FB222018-A2EA-42C8-A62A-463C542644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121933550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black">
          <a:xfrm>
            <a:off x="6948579" y="1212359"/>
            <a:ext cx="1273747" cy="424732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600" spc="-20" dirty="0" err="1">
                <a:latin typeface="+mj-lt"/>
              </a:rPr>
              <a:t>Xxxxx</a:t>
            </a:r>
            <a:r>
              <a:rPr lang="en-US" sz="1600" spc="-20" dirty="0">
                <a:latin typeface="+mj-lt"/>
              </a:rPr>
              <a:t> </a:t>
            </a:r>
            <a:r>
              <a:rPr lang="en-US" sz="1600" spc="-20" dirty="0" err="1">
                <a:latin typeface="+mj-lt"/>
              </a:rPr>
              <a:t>xxxxx</a:t>
            </a:r>
            <a:endParaRPr lang="en-US" sz="1600" spc="-20" dirty="0">
              <a:latin typeface="+mj-lt"/>
            </a:endParaRPr>
          </a:p>
          <a:p>
            <a:pPr>
              <a:lnSpc>
                <a:spcPct val="80000"/>
              </a:lnSpc>
            </a:pPr>
            <a:r>
              <a:rPr lang="en-US" sz="1100" dirty="0" err="1"/>
              <a:t>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endParaRPr lang="en-US" sz="1100" dirty="0"/>
          </a:p>
        </p:txBody>
      </p:sp>
      <p:sp>
        <p:nvSpPr>
          <p:cNvPr id="11" name="Rectangle 10"/>
          <p:cNvSpPr/>
          <p:nvPr/>
        </p:nvSpPr>
        <p:spPr bwMode="black">
          <a:xfrm>
            <a:off x="7124202" y="2517293"/>
            <a:ext cx="1273747" cy="424732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600" spc="-20" dirty="0" err="1">
                <a:latin typeface="+mj-lt"/>
              </a:rPr>
              <a:t>Xxxxx</a:t>
            </a:r>
            <a:r>
              <a:rPr lang="en-US" sz="1600" spc="-20" dirty="0">
                <a:latin typeface="+mj-lt"/>
              </a:rPr>
              <a:t> </a:t>
            </a:r>
            <a:r>
              <a:rPr lang="en-US" sz="1600" spc="-20" dirty="0" err="1">
                <a:latin typeface="+mj-lt"/>
              </a:rPr>
              <a:t>xxxxx</a:t>
            </a:r>
            <a:endParaRPr lang="en-US" sz="1600" spc="-20" dirty="0">
              <a:latin typeface="+mj-lt"/>
            </a:endParaRPr>
          </a:p>
          <a:p>
            <a:pPr>
              <a:lnSpc>
                <a:spcPct val="80000"/>
              </a:lnSpc>
            </a:pPr>
            <a:r>
              <a:rPr lang="en-US" sz="1100" dirty="0"/>
              <a:t>Xx </a:t>
            </a:r>
            <a:r>
              <a:rPr lang="en-US" sz="1100" dirty="0" err="1"/>
              <a:t>xxxxxxxx</a:t>
            </a:r>
            <a:r>
              <a:rPr lang="en-US" sz="1100" dirty="0"/>
              <a:t> xxx </a:t>
            </a:r>
          </a:p>
        </p:txBody>
      </p:sp>
      <p:sp>
        <p:nvSpPr>
          <p:cNvPr id="12" name="Rectangle 11"/>
          <p:cNvSpPr/>
          <p:nvPr/>
        </p:nvSpPr>
        <p:spPr bwMode="black">
          <a:xfrm>
            <a:off x="6924187" y="3753680"/>
            <a:ext cx="1273747" cy="424732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600" spc="-20" dirty="0" err="1">
                <a:latin typeface="+mj-lt"/>
              </a:rPr>
              <a:t>Xxxxx</a:t>
            </a:r>
            <a:r>
              <a:rPr lang="en-US" sz="1600" spc="-20" dirty="0">
                <a:latin typeface="+mj-lt"/>
              </a:rPr>
              <a:t> </a:t>
            </a:r>
            <a:r>
              <a:rPr lang="en-US" sz="1600" spc="-20" dirty="0" err="1">
                <a:latin typeface="+mj-lt"/>
              </a:rPr>
              <a:t>xxxxx</a:t>
            </a:r>
            <a:endParaRPr lang="en-US" sz="1600" spc="-20" dirty="0">
              <a:latin typeface="+mj-lt"/>
            </a:endParaRPr>
          </a:p>
          <a:p>
            <a:pPr>
              <a:lnSpc>
                <a:spcPct val="80000"/>
              </a:lnSpc>
            </a:pPr>
            <a:r>
              <a:rPr lang="en-US" sz="1100" dirty="0" err="1"/>
              <a:t>Xxxxxx</a:t>
            </a:r>
            <a:r>
              <a:rPr lang="en-US" sz="1100" dirty="0"/>
              <a:t> xx </a:t>
            </a:r>
          </a:p>
        </p:txBody>
      </p:sp>
      <p:sp>
        <p:nvSpPr>
          <p:cNvPr id="13" name="Freeform 12"/>
          <p:cNvSpPr/>
          <p:nvPr/>
        </p:nvSpPr>
        <p:spPr bwMode="black">
          <a:xfrm flipH="1">
            <a:off x="5561062" y="1427866"/>
            <a:ext cx="763164" cy="332072"/>
          </a:xfrm>
          <a:custGeom>
            <a:avLst/>
            <a:gdLst>
              <a:gd name="connsiteX0" fmla="*/ 0 w 1112520"/>
              <a:gd name="connsiteY0" fmla="*/ 0 h 508000"/>
              <a:gd name="connsiteX1" fmla="*/ 604520 w 1112520"/>
              <a:gd name="connsiteY1" fmla="*/ 0 h 508000"/>
              <a:gd name="connsiteX2" fmla="*/ 1112520 w 1112520"/>
              <a:gd name="connsiteY2" fmla="*/ 508000 h 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12520" h="508000">
                <a:moveTo>
                  <a:pt x="0" y="0"/>
                </a:moveTo>
                <a:lnTo>
                  <a:pt x="604520" y="0"/>
                </a:lnTo>
                <a:lnTo>
                  <a:pt x="1112520" y="508000"/>
                </a:lnTo>
              </a:path>
            </a:pathLst>
          </a:custGeom>
          <a:noFill/>
          <a:ln w="12700">
            <a:solidFill>
              <a:schemeClr val="accent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600">
              <a:latin typeface="+mj-lt"/>
            </a:endParaRPr>
          </a:p>
        </p:txBody>
      </p:sp>
      <p:sp>
        <p:nvSpPr>
          <p:cNvPr id="14" name="Freeform 13"/>
          <p:cNvSpPr/>
          <p:nvPr/>
        </p:nvSpPr>
        <p:spPr bwMode="black">
          <a:xfrm flipH="1" flipV="1">
            <a:off x="5561062" y="3657511"/>
            <a:ext cx="763164" cy="306602"/>
          </a:xfrm>
          <a:custGeom>
            <a:avLst/>
            <a:gdLst>
              <a:gd name="connsiteX0" fmla="*/ 0 w 1112520"/>
              <a:gd name="connsiteY0" fmla="*/ 0 h 508000"/>
              <a:gd name="connsiteX1" fmla="*/ 604520 w 1112520"/>
              <a:gd name="connsiteY1" fmla="*/ 0 h 508000"/>
              <a:gd name="connsiteX2" fmla="*/ 1112520 w 1112520"/>
              <a:gd name="connsiteY2" fmla="*/ 508000 h 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12520" h="508000">
                <a:moveTo>
                  <a:pt x="0" y="0"/>
                </a:moveTo>
                <a:lnTo>
                  <a:pt x="604520" y="0"/>
                </a:lnTo>
                <a:lnTo>
                  <a:pt x="1112520" y="508000"/>
                </a:lnTo>
              </a:path>
            </a:pathLst>
          </a:custGeom>
          <a:noFill/>
          <a:ln w="12700">
            <a:solidFill>
              <a:schemeClr val="tx2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600">
              <a:latin typeface="+mj-lt"/>
            </a:endParaRPr>
          </a:p>
        </p:txBody>
      </p:sp>
      <p:cxnSp>
        <p:nvCxnSpPr>
          <p:cNvPr id="15" name="Straight Connector 14"/>
          <p:cNvCxnSpPr>
            <a:stCxn id="23" idx="2"/>
          </p:cNvCxnSpPr>
          <p:nvPr/>
        </p:nvCxnSpPr>
        <p:spPr bwMode="black">
          <a:xfrm flipH="1">
            <a:off x="5954948" y="2729658"/>
            <a:ext cx="545358" cy="0"/>
          </a:xfrm>
          <a:prstGeom prst="line">
            <a:avLst/>
          </a:prstGeom>
          <a:noFill/>
          <a:ln w="12700">
            <a:solidFill>
              <a:schemeClr val="accent4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" name="Rectangle 16"/>
          <p:cNvSpPr/>
          <p:nvPr/>
        </p:nvSpPr>
        <p:spPr bwMode="black">
          <a:xfrm>
            <a:off x="785037" y="1212359"/>
            <a:ext cx="1273747" cy="424732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 algn="r">
              <a:lnSpc>
                <a:spcPct val="80000"/>
              </a:lnSpc>
            </a:pPr>
            <a:r>
              <a:rPr lang="en-US" sz="1600" spc="-20" dirty="0" err="1">
                <a:latin typeface="+mj-lt"/>
              </a:rPr>
              <a:t>Xxxxx</a:t>
            </a:r>
            <a:r>
              <a:rPr lang="en-US" sz="1600" spc="-20" dirty="0">
                <a:latin typeface="+mj-lt"/>
              </a:rPr>
              <a:t> </a:t>
            </a:r>
            <a:r>
              <a:rPr lang="en-US" sz="1600" spc="-20" dirty="0" err="1">
                <a:latin typeface="+mj-lt"/>
              </a:rPr>
              <a:t>xxxxx</a:t>
            </a:r>
            <a:endParaRPr lang="en-US" sz="1600" spc="-20" dirty="0">
              <a:latin typeface="+mj-lt"/>
            </a:endParaRPr>
          </a:p>
          <a:p>
            <a:pPr algn="r">
              <a:lnSpc>
                <a:spcPct val="80000"/>
              </a:lnSpc>
            </a:pPr>
            <a:r>
              <a:rPr lang="en-US" sz="1100" dirty="0"/>
              <a:t>X xx </a:t>
            </a:r>
            <a:r>
              <a:rPr lang="en-US" sz="1100" dirty="0" err="1"/>
              <a:t>xxxxx</a:t>
            </a:r>
            <a:r>
              <a:rPr lang="en-US" sz="1100" dirty="0"/>
              <a:t> xx</a:t>
            </a:r>
          </a:p>
        </p:txBody>
      </p:sp>
      <p:sp>
        <p:nvSpPr>
          <p:cNvPr id="18" name="Rectangle 17"/>
          <p:cNvSpPr/>
          <p:nvPr/>
        </p:nvSpPr>
        <p:spPr bwMode="black">
          <a:xfrm>
            <a:off x="636821" y="2517293"/>
            <a:ext cx="1273747" cy="424732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 algn="r">
              <a:lnSpc>
                <a:spcPct val="80000"/>
              </a:lnSpc>
            </a:pPr>
            <a:r>
              <a:rPr lang="en-US" sz="1600" spc="-20" dirty="0" err="1">
                <a:latin typeface="+mj-lt"/>
              </a:rPr>
              <a:t>Xxxxx</a:t>
            </a:r>
            <a:r>
              <a:rPr lang="en-US" sz="1600" spc="-20" dirty="0">
                <a:latin typeface="+mj-lt"/>
              </a:rPr>
              <a:t> </a:t>
            </a:r>
            <a:r>
              <a:rPr lang="en-US" sz="1600" spc="-20" dirty="0" err="1">
                <a:latin typeface="+mj-lt"/>
              </a:rPr>
              <a:t>xxxxx</a:t>
            </a:r>
            <a:endParaRPr lang="en-US" sz="1600" spc="-20" dirty="0">
              <a:latin typeface="+mj-lt"/>
            </a:endParaRPr>
          </a:p>
          <a:p>
            <a:pPr algn="r">
              <a:lnSpc>
                <a:spcPct val="80000"/>
              </a:lnSpc>
            </a:pPr>
            <a:r>
              <a:rPr lang="en-US" sz="1100" dirty="0" err="1"/>
              <a:t>X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x</a:t>
            </a:r>
          </a:p>
        </p:txBody>
      </p:sp>
      <p:sp>
        <p:nvSpPr>
          <p:cNvPr id="19" name="Rectangle 18"/>
          <p:cNvSpPr/>
          <p:nvPr/>
        </p:nvSpPr>
        <p:spPr bwMode="black">
          <a:xfrm>
            <a:off x="776354" y="3753680"/>
            <a:ext cx="1273747" cy="424732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 algn="r">
              <a:lnSpc>
                <a:spcPct val="80000"/>
              </a:lnSpc>
            </a:pPr>
            <a:r>
              <a:rPr lang="en-US" sz="1600" spc="-20" dirty="0" err="1">
                <a:latin typeface="+mj-lt"/>
              </a:rPr>
              <a:t>Xxxxx</a:t>
            </a:r>
            <a:r>
              <a:rPr lang="en-US" sz="1600" spc="-20" dirty="0">
                <a:latin typeface="+mj-lt"/>
              </a:rPr>
              <a:t> </a:t>
            </a:r>
            <a:r>
              <a:rPr lang="en-US" sz="1600" spc="-20" dirty="0" err="1">
                <a:latin typeface="+mj-lt"/>
              </a:rPr>
              <a:t>xxxxx</a:t>
            </a:r>
            <a:endParaRPr lang="en-US" sz="1600" spc="-20" dirty="0">
              <a:latin typeface="+mj-lt"/>
            </a:endParaRPr>
          </a:p>
          <a:p>
            <a:pPr algn="r">
              <a:lnSpc>
                <a:spcPct val="80000"/>
              </a:lnSpc>
            </a:pPr>
            <a:r>
              <a:rPr lang="en-US" sz="1100" dirty="0"/>
              <a:t>Xxx x </a:t>
            </a:r>
            <a:r>
              <a:rPr lang="en-US" sz="1100" dirty="0" err="1"/>
              <a:t>xxxxxxx</a:t>
            </a:r>
            <a:endParaRPr lang="en-US" sz="1100" dirty="0"/>
          </a:p>
        </p:txBody>
      </p:sp>
      <p:sp>
        <p:nvSpPr>
          <p:cNvPr id="20" name="Freeform 19"/>
          <p:cNvSpPr/>
          <p:nvPr/>
        </p:nvSpPr>
        <p:spPr bwMode="black">
          <a:xfrm>
            <a:off x="2777420" y="1427866"/>
            <a:ext cx="763164" cy="332072"/>
          </a:xfrm>
          <a:custGeom>
            <a:avLst/>
            <a:gdLst>
              <a:gd name="connsiteX0" fmla="*/ 0 w 1112520"/>
              <a:gd name="connsiteY0" fmla="*/ 0 h 508000"/>
              <a:gd name="connsiteX1" fmla="*/ 604520 w 1112520"/>
              <a:gd name="connsiteY1" fmla="*/ 0 h 508000"/>
              <a:gd name="connsiteX2" fmla="*/ 1112520 w 1112520"/>
              <a:gd name="connsiteY2" fmla="*/ 508000 h 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12520" h="508000">
                <a:moveTo>
                  <a:pt x="0" y="0"/>
                </a:moveTo>
                <a:lnTo>
                  <a:pt x="604520" y="0"/>
                </a:lnTo>
                <a:lnTo>
                  <a:pt x="1112520" y="508000"/>
                </a:lnTo>
              </a:path>
            </a:pathLst>
          </a:custGeom>
          <a:noFill/>
          <a:ln w="12700">
            <a:solidFill>
              <a:schemeClr val="accent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600">
              <a:latin typeface="+mj-lt"/>
            </a:endParaRPr>
          </a:p>
        </p:txBody>
      </p:sp>
      <p:sp>
        <p:nvSpPr>
          <p:cNvPr id="21" name="Freeform 20"/>
          <p:cNvSpPr/>
          <p:nvPr/>
        </p:nvSpPr>
        <p:spPr bwMode="black">
          <a:xfrm flipV="1">
            <a:off x="2777420" y="3657511"/>
            <a:ext cx="763164" cy="306602"/>
          </a:xfrm>
          <a:custGeom>
            <a:avLst/>
            <a:gdLst>
              <a:gd name="connsiteX0" fmla="*/ 0 w 1112520"/>
              <a:gd name="connsiteY0" fmla="*/ 0 h 508000"/>
              <a:gd name="connsiteX1" fmla="*/ 604520 w 1112520"/>
              <a:gd name="connsiteY1" fmla="*/ 0 h 508000"/>
              <a:gd name="connsiteX2" fmla="*/ 1112520 w 1112520"/>
              <a:gd name="connsiteY2" fmla="*/ 508000 h 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12520" h="508000">
                <a:moveTo>
                  <a:pt x="0" y="0"/>
                </a:moveTo>
                <a:lnTo>
                  <a:pt x="604520" y="0"/>
                </a:lnTo>
                <a:lnTo>
                  <a:pt x="1112520" y="508000"/>
                </a:lnTo>
              </a:path>
            </a:pathLst>
          </a:custGeom>
          <a:noFill/>
          <a:ln w="12700">
            <a:solidFill>
              <a:schemeClr val="tx2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600">
              <a:latin typeface="+mj-lt"/>
            </a:endParaRPr>
          </a:p>
        </p:txBody>
      </p:sp>
      <p:cxnSp>
        <p:nvCxnSpPr>
          <p:cNvPr id="22" name="Straight Connector 21"/>
          <p:cNvCxnSpPr>
            <a:stCxn id="26" idx="6"/>
          </p:cNvCxnSpPr>
          <p:nvPr/>
        </p:nvCxnSpPr>
        <p:spPr bwMode="black">
          <a:xfrm>
            <a:off x="2656718" y="2729658"/>
            <a:ext cx="509031" cy="0"/>
          </a:xfrm>
          <a:prstGeom prst="line">
            <a:avLst/>
          </a:prstGeom>
          <a:noFill/>
          <a:ln w="12700">
            <a:solidFill>
              <a:schemeClr val="accent4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" name="Oval 15"/>
          <p:cNvSpPr/>
          <p:nvPr/>
        </p:nvSpPr>
        <p:spPr>
          <a:xfrm>
            <a:off x="6324684" y="1090825"/>
            <a:ext cx="667796" cy="66779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3" name="Oval 22"/>
          <p:cNvSpPr/>
          <p:nvPr/>
        </p:nvSpPr>
        <p:spPr>
          <a:xfrm>
            <a:off x="6500307" y="2395761"/>
            <a:ext cx="667796" cy="66779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4" name="Oval 23"/>
          <p:cNvSpPr/>
          <p:nvPr/>
        </p:nvSpPr>
        <p:spPr>
          <a:xfrm>
            <a:off x="6316002" y="3632146"/>
            <a:ext cx="667796" cy="66779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Oval 24"/>
          <p:cNvSpPr/>
          <p:nvPr/>
        </p:nvSpPr>
        <p:spPr>
          <a:xfrm>
            <a:off x="2137135" y="1090825"/>
            <a:ext cx="667796" cy="66779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Oval 25"/>
          <p:cNvSpPr/>
          <p:nvPr/>
        </p:nvSpPr>
        <p:spPr>
          <a:xfrm>
            <a:off x="1988922" y="2395761"/>
            <a:ext cx="667796" cy="66779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7" name="Oval 26"/>
          <p:cNvSpPr/>
          <p:nvPr/>
        </p:nvSpPr>
        <p:spPr>
          <a:xfrm>
            <a:off x="2128453" y="3632146"/>
            <a:ext cx="667796" cy="66779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7" name="Freeform 8"/>
          <p:cNvSpPr>
            <a:spLocks noEditPoints="1"/>
          </p:cNvSpPr>
          <p:nvPr/>
        </p:nvSpPr>
        <p:spPr bwMode="auto">
          <a:xfrm>
            <a:off x="2277157" y="1200609"/>
            <a:ext cx="387752" cy="448231"/>
          </a:xfrm>
          <a:custGeom>
            <a:avLst/>
            <a:gdLst>
              <a:gd name="T0" fmla="*/ 99 w 206"/>
              <a:gd name="T1" fmla="*/ 210 h 238"/>
              <a:gd name="T2" fmla="*/ 74 w 206"/>
              <a:gd name="T3" fmla="*/ 210 h 238"/>
              <a:gd name="T4" fmla="*/ 86 w 206"/>
              <a:gd name="T5" fmla="*/ 203 h 238"/>
              <a:gd name="T6" fmla="*/ 86 w 206"/>
              <a:gd name="T7" fmla="*/ 218 h 238"/>
              <a:gd name="T8" fmla="*/ 86 w 206"/>
              <a:gd name="T9" fmla="*/ 203 h 238"/>
              <a:gd name="T10" fmla="*/ 203 w 206"/>
              <a:gd name="T11" fmla="*/ 180 h 238"/>
              <a:gd name="T12" fmla="*/ 196 w 206"/>
              <a:gd name="T13" fmla="*/ 147 h 238"/>
              <a:gd name="T14" fmla="*/ 176 w 206"/>
              <a:gd name="T15" fmla="*/ 116 h 238"/>
              <a:gd name="T16" fmla="*/ 172 w 206"/>
              <a:gd name="T17" fmla="*/ 14 h 238"/>
              <a:gd name="T18" fmla="*/ 14 w 206"/>
              <a:gd name="T19" fmla="*/ 0 h 238"/>
              <a:gd name="T20" fmla="*/ 0 w 206"/>
              <a:gd name="T21" fmla="*/ 219 h 238"/>
              <a:gd name="T22" fmla="*/ 146 w 206"/>
              <a:gd name="T23" fmla="*/ 233 h 238"/>
              <a:gd name="T24" fmla="*/ 151 w 206"/>
              <a:gd name="T25" fmla="*/ 238 h 238"/>
              <a:gd name="T26" fmla="*/ 153 w 206"/>
              <a:gd name="T27" fmla="*/ 235 h 238"/>
              <a:gd name="T28" fmla="*/ 98 w 206"/>
              <a:gd name="T29" fmla="*/ 182 h 238"/>
              <a:gd name="T30" fmla="*/ 87 w 206"/>
              <a:gd name="T31" fmla="*/ 164 h 238"/>
              <a:gd name="T32" fmla="*/ 98 w 206"/>
              <a:gd name="T33" fmla="*/ 165 h 238"/>
              <a:gd name="T34" fmla="*/ 119 w 206"/>
              <a:gd name="T35" fmla="*/ 180 h 238"/>
              <a:gd name="T36" fmla="*/ 123 w 206"/>
              <a:gd name="T37" fmla="*/ 168 h 238"/>
              <a:gd name="T38" fmla="*/ 97 w 206"/>
              <a:gd name="T39" fmla="*/ 94 h 238"/>
              <a:gd name="T40" fmla="*/ 108 w 206"/>
              <a:gd name="T41" fmla="*/ 99 h 238"/>
              <a:gd name="T42" fmla="*/ 125 w 206"/>
              <a:gd name="T43" fmla="*/ 136 h 238"/>
              <a:gd name="T44" fmla="*/ 130 w 206"/>
              <a:gd name="T45" fmla="*/ 135 h 238"/>
              <a:gd name="T46" fmla="*/ 146 w 206"/>
              <a:gd name="T47" fmla="*/ 128 h 238"/>
              <a:gd name="T48" fmla="*/ 157 w 206"/>
              <a:gd name="T49" fmla="*/ 122 h 238"/>
              <a:gd name="T50" fmla="*/ 167 w 206"/>
              <a:gd name="T51" fmla="*/ 125 h 238"/>
              <a:gd name="T52" fmla="*/ 176 w 206"/>
              <a:gd name="T53" fmla="*/ 120 h 238"/>
              <a:gd name="T54" fmla="*/ 192 w 206"/>
              <a:gd name="T55" fmla="*/ 148 h 238"/>
              <a:gd name="T56" fmla="*/ 198 w 206"/>
              <a:gd name="T57" fmla="*/ 180 h 238"/>
              <a:gd name="T58" fmla="*/ 204 w 206"/>
              <a:gd name="T59" fmla="*/ 208 h 238"/>
              <a:gd name="T60" fmla="*/ 151 w 206"/>
              <a:gd name="T61" fmla="*/ 119 h 238"/>
              <a:gd name="T62" fmla="*/ 130 w 206"/>
              <a:gd name="T63" fmla="*/ 126 h 238"/>
              <a:gd name="T64" fmla="*/ 113 w 206"/>
              <a:gd name="T65" fmla="*/ 98 h 238"/>
              <a:gd name="T66" fmla="*/ 95 w 206"/>
              <a:gd name="T67" fmla="*/ 89 h 238"/>
              <a:gd name="T68" fmla="*/ 119 w 206"/>
              <a:gd name="T69" fmla="*/ 169 h 238"/>
              <a:gd name="T70" fmla="*/ 100 w 206"/>
              <a:gd name="T71" fmla="*/ 162 h 238"/>
              <a:gd name="T72" fmla="*/ 83 w 206"/>
              <a:gd name="T73" fmla="*/ 161 h 238"/>
              <a:gd name="T74" fmla="*/ 95 w 206"/>
              <a:gd name="T75" fmla="*/ 186 h 238"/>
              <a:gd name="T76" fmla="*/ 21 w 206"/>
              <a:gd name="T77" fmla="*/ 188 h 238"/>
              <a:gd name="T78" fmla="*/ 151 w 206"/>
              <a:gd name="T79" fmla="*/ 22 h 238"/>
              <a:gd name="T80" fmla="*/ 167 w 206"/>
              <a:gd name="T81" fmla="*/ 119 h 238"/>
              <a:gd name="T82" fmla="*/ 157 w 206"/>
              <a:gd name="T83" fmla="*/ 117 h 238"/>
              <a:gd name="T84" fmla="*/ 155 w 206"/>
              <a:gd name="T85" fmla="*/ 20 h 238"/>
              <a:gd name="T86" fmla="*/ 19 w 206"/>
              <a:gd name="T87" fmla="*/ 18 h 238"/>
              <a:gd name="T88" fmla="*/ 17 w 206"/>
              <a:gd name="T89" fmla="*/ 190 h 238"/>
              <a:gd name="T90" fmla="*/ 103 w 206"/>
              <a:gd name="T91" fmla="*/ 192 h 238"/>
              <a:gd name="T92" fmla="*/ 144 w 206"/>
              <a:gd name="T93" fmla="*/ 228 h 238"/>
              <a:gd name="T94" fmla="*/ 5 w 206"/>
              <a:gd name="T95" fmla="*/ 219 h 238"/>
              <a:gd name="T96" fmla="*/ 14 w 206"/>
              <a:gd name="T97" fmla="*/ 5 h 238"/>
              <a:gd name="T98" fmla="*/ 167 w 206"/>
              <a:gd name="T99" fmla="*/ 14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06" h="238">
                <a:moveTo>
                  <a:pt x="86" y="223"/>
                </a:moveTo>
                <a:cubicBezTo>
                  <a:pt x="93" y="223"/>
                  <a:pt x="99" y="217"/>
                  <a:pt x="99" y="210"/>
                </a:cubicBezTo>
                <a:cubicBezTo>
                  <a:pt x="99" y="203"/>
                  <a:pt x="93" y="198"/>
                  <a:pt x="86" y="198"/>
                </a:cubicBezTo>
                <a:cubicBezTo>
                  <a:pt x="79" y="198"/>
                  <a:pt x="74" y="204"/>
                  <a:pt x="74" y="210"/>
                </a:cubicBezTo>
                <a:cubicBezTo>
                  <a:pt x="74" y="217"/>
                  <a:pt x="79" y="223"/>
                  <a:pt x="86" y="223"/>
                </a:cubicBezTo>
                <a:close/>
                <a:moveTo>
                  <a:pt x="86" y="203"/>
                </a:moveTo>
                <a:cubicBezTo>
                  <a:pt x="91" y="203"/>
                  <a:pt x="94" y="206"/>
                  <a:pt x="94" y="210"/>
                </a:cubicBezTo>
                <a:cubicBezTo>
                  <a:pt x="94" y="214"/>
                  <a:pt x="91" y="218"/>
                  <a:pt x="86" y="218"/>
                </a:cubicBezTo>
                <a:cubicBezTo>
                  <a:pt x="81" y="218"/>
                  <a:pt x="79" y="214"/>
                  <a:pt x="79" y="210"/>
                </a:cubicBezTo>
                <a:cubicBezTo>
                  <a:pt x="79" y="206"/>
                  <a:pt x="81" y="203"/>
                  <a:pt x="86" y="203"/>
                </a:cubicBezTo>
                <a:close/>
                <a:moveTo>
                  <a:pt x="205" y="205"/>
                </a:moveTo>
                <a:cubicBezTo>
                  <a:pt x="202" y="197"/>
                  <a:pt x="202" y="188"/>
                  <a:pt x="203" y="180"/>
                </a:cubicBezTo>
                <a:cubicBezTo>
                  <a:pt x="203" y="174"/>
                  <a:pt x="204" y="169"/>
                  <a:pt x="202" y="165"/>
                </a:cubicBezTo>
                <a:cubicBezTo>
                  <a:pt x="200" y="162"/>
                  <a:pt x="198" y="154"/>
                  <a:pt x="196" y="147"/>
                </a:cubicBezTo>
                <a:cubicBezTo>
                  <a:pt x="194" y="138"/>
                  <a:pt x="192" y="130"/>
                  <a:pt x="190" y="126"/>
                </a:cubicBezTo>
                <a:cubicBezTo>
                  <a:pt x="187" y="120"/>
                  <a:pt x="182" y="116"/>
                  <a:pt x="176" y="116"/>
                </a:cubicBezTo>
                <a:cubicBezTo>
                  <a:pt x="175" y="115"/>
                  <a:pt x="173" y="116"/>
                  <a:pt x="172" y="116"/>
                </a:cubicBezTo>
                <a:cubicBezTo>
                  <a:pt x="172" y="14"/>
                  <a:pt x="172" y="14"/>
                  <a:pt x="172" y="14"/>
                </a:cubicBezTo>
                <a:cubicBezTo>
                  <a:pt x="172" y="5"/>
                  <a:pt x="164" y="0"/>
                  <a:pt x="158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8" y="0"/>
                  <a:pt x="0" y="5"/>
                  <a:pt x="0" y="14"/>
                </a:cubicBezTo>
                <a:cubicBezTo>
                  <a:pt x="0" y="219"/>
                  <a:pt x="0" y="219"/>
                  <a:pt x="0" y="219"/>
                </a:cubicBezTo>
                <a:cubicBezTo>
                  <a:pt x="0" y="227"/>
                  <a:pt x="8" y="233"/>
                  <a:pt x="14" y="233"/>
                </a:cubicBezTo>
                <a:cubicBezTo>
                  <a:pt x="146" y="233"/>
                  <a:pt x="146" y="233"/>
                  <a:pt x="146" y="233"/>
                </a:cubicBezTo>
                <a:cubicBezTo>
                  <a:pt x="147" y="234"/>
                  <a:pt x="148" y="235"/>
                  <a:pt x="149" y="237"/>
                </a:cubicBezTo>
                <a:cubicBezTo>
                  <a:pt x="149" y="238"/>
                  <a:pt x="150" y="238"/>
                  <a:pt x="151" y="238"/>
                </a:cubicBezTo>
                <a:cubicBezTo>
                  <a:pt x="151" y="238"/>
                  <a:pt x="152" y="238"/>
                  <a:pt x="152" y="238"/>
                </a:cubicBezTo>
                <a:cubicBezTo>
                  <a:pt x="153" y="238"/>
                  <a:pt x="154" y="236"/>
                  <a:pt x="153" y="235"/>
                </a:cubicBezTo>
                <a:cubicBezTo>
                  <a:pt x="147" y="221"/>
                  <a:pt x="136" y="209"/>
                  <a:pt x="129" y="207"/>
                </a:cubicBezTo>
                <a:cubicBezTo>
                  <a:pt x="125" y="205"/>
                  <a:pt x="108" y="191"/>
                  <a:pt x="98" y="182"/>
                </a:cubicBezTo>
                <a:cubicBezTo>
                  <a:pt x="93" y="178"/>
                  <a:pt x="90" y="175"/>
                  <a:pt x="88" y="173"/>
                </a:cubicBezTo>
                <a:cubicBezTo>
                  <a:pt x="84" y="170"/>
                  <a:pt x="85" y="166"/>
                  <a:pt x="87" y="164"/>
                </a:cubicBezTo>
                <a:cubicBezTo>
                  <a:pt x="87" y="163"/>
                  <a:pt x="90" y="160"/>
                  <a:pt x="94" y="163"/>
                </a:cubicBezTo>
                <a:cubicBezTo>
                  <a:pt x="95" y="163"/>
                  <a:pt x="96" y="164"/>
                  <a:pt x="98" y="165"/>
                </a:cubicBezTo>
                <a:cubicBezTo>
                  <a:pt x="103" y="169"/>
                  <a:pt x="111" y="175"/>
                  <a:pt x="115" y="179"/>
                </a:cubicBezTo>
                <a:cubicBezTo>
                  <a:pt x="117" y="181"/>
                  <a:pt x="119" y="180"/>
                  <a:pt x="119" y="180"/>
                </a:cubicBezTo>
                <a:cubicBezTo>
                  <a:pt x="122" y="179"/>
                  <a:pt x="123" y="173"/>
                  <a:pt x="123" y="169"/>
                </a:cubicBezTo>
                <a:cubicBezTo>
                  <a:pt x="123" y="169"/>
                  <a:pt x="123" y="168"/>
                  <a:pt x="123" y="168"/>
                </a:cubicBezTo>
                <a:cubicBezTo>
                  <a:pt x="94" y="107"/>
                  <a:pt x="94" y="107"/>
                  <a:pt x="94" y="107"/>
                </a:cubicBezTo>
                <a:cubicBezTo>
                  <a:pt x="92" y="101"/>
                  <a:pt x="93" y="96"/>
                  <a:pt x="97" y="94"/>
                </a:cubicBezTo>
                <a:cubicBezTo>
                  <a:pt x="99" y="93"/>
                  <a:pt x="102" y="93"/>
                  <a:pt x="104" y="94"/>
                </a:cubicBezTo>
                <a:cubicBezTo>
                  <a:pt x="106" y="95"/>
                  <a:pt x="108" y="97"/>
                  <a:pt x="108" y="99"/>
                </a:cubicBezTo>
                <a:cubicBezTo>
                  <a:pt x="108" y="100"/>
                  <a:pt x="108" y="100"/>
                  <a:pt x="108" y="100"/>
                </a:cubicBezTo>
                <a:cubicBezTo>
                  <a:pt x="125" y="136"/>
                  <a:pt x="125" y="136"/>
                  <a:pt x="125" y="136"/>
                </a:cubicBezTo>
                <a:cubicBezTo>
                  <a:pt x="126" y="137"/>
                  <a:pt x="127" y="137"/>
                  <a:pt x="128" y="137"/>
                </a:cubicBezTo>
                <a:cubicBezTo>
                  <a:pt x="129" y="137"/>
                  <a:pt x="130" y="136"/>
                  <a:pt x="130" y="135"/>
                </a:cubicBezTo>
                <a:cubicBezTo>
                  <a:pt x="130" y="133"/>
                  <a:pt x="130" y="131"/>
                  <a:pt x="132" y="130"/>
                </a:cubicBezTo>
                <a:cubicBezTo>
                  <a:pt x="136" y="127"/>
                  <a:pt x="141" y="127"/>
                  <a:pt x="146" y="128"/>
                </a:cubicBezTo>
                <a:cubicBezTo>
                  <a:pt x="147" y="129"/>
                  <a:pt x="148" y="129"/>
                  <a:pt x="149" y="127"/>
                </a:cubicBezTo>
                <a:cubicBezTo>
                  <a:pt x="150" y="124"/>
                  <a:pt x="154" y="122"/>
                  <a:pt x="157" y="122"/>
                </a:cubicBezTo>
                <a:cubicBezTo>
                  <a:pt x="161" y="122"/>
                  <a:pt x="164" y="122"/>
                  <a:pt x="165" y="124"/>
                </a:cubicBezTo>
                <a:cubicBezTo>
                  <a:pt x="166" y="125"/>
                  <a:pt x="166" y="125"/>
                  <a:pt x="167" y="125"/>
                </a:cubicBezTo>
                <a:cubicBezTo>
                  <a:pt x="168" y="125"/>
                  <a:pt x="169" y="125"/>
                  <a:pt x="169" y="124"/>
                </a:cubicBezTo>
                <a:cubicBezTo>
                  <a:pt x="170" y="122"/>
                  <a:pt x="173" y="120"/>
                  <a:pt x="176" y="120"/>
                </a:cubicBezTo>
                <a:cubicBezTo>
                  <a:pt x="178" y="120"/>
                  <a:pt x="183" y="121"/>
                  <a:pt x="186" y="128"/>
                </a:cubicBezTo>
                <a:cubicBezTo>
                  <a:pt x="188" y="132"/>
                  <a:pt x="190" y="140"/>
                  <a:pt x="192" y="148"/>
                </a:cubicBezTo>
                <a:cubicBezTo>
                  <a:pt x="194" y="156"/>
                  <a:pt x="196" y="164"/>
                  <a:pt x="198" y="167"/>
                </a:cubicBezTo>
                <a:cubicBezTo>
                  <a:pt x="199" y="170"/>
                  <a:pt x="199" y="175"/>
                  <a:pt x="198" y="180"/>
                </a:cubicBezTo>
                <a:cubicBezTo>
                  <a:pt x="198" y="188"/>
                  <a:pt x="197" y="198"/>
                  <a:pt x="201" y="207"/>
                </a:cubicBezTo>
                <a:cubicBezTo>
                  <a:pt x="202" y="208"/>
                  <a:pt x="203" y="208"/>
                  <a:pt x="204" y="208"/>
                </a:cubicBezTo>
                <a:cubicBezTo>
                  <a:pt x="205" y="207"/>
                  <a:pt x="206" y="206"/>
                  <a:pt x="205" y="205"/>
                </a:cubicBezTo>
                <a:close/>
                <a:moveTo>
                  <a:pt x="151" y="119"/>
                </a:moveTo>
                <a:cubicBezTo>
                  <a:pt x="149" y="120"/>
                  <a:pt x="147" y="122"/>
                  <a:pt x="145" y="124"/>
                </a:cubicBezTo>
                <a:cubicBezTo>
                  <a:pt x="140" y="122"/>
                  <a:pt x="134" y="123"/>
                  <a:pt x="130" y="126"/>
                </a:cubicBezTo>
                <a:cubicBezTo>
                  <a:pt x="129" y="127"/>
                  <a:pt x="128" y="127"/>
                  <a:pt x="127" y="128"/>
                </a:cubicBezTo>
                <a:cubicBezTo>
                  <a:pt x="113" y="98"/>
                  <a:pt x="113" y="98"/>
                  <a:pt x="113" y="98"/>
                </a:cubicBezTo>
                <a:cubicBezTo>
                  <a:pt x="112" y="94"/>
                  <a:pt x="109" y="91"/>
                  <a:pt x="106" y="89"/>
                </a:cubicBezTo>
                <a:cubicBezTo>
                  <a:pt x="102" y="88"/>
                  <a:pt x="99" y="88"/>
                  <a:pt x="95" y="89"/>
                </a:cubicBezTo>
                <a:cubicBezTo>
                  <a:pt x="89" y="92"/>
                  <a:pt x="86" y="101"/>
                  <a:pt x="90" y="109"/>
                </a:cubicBezTo>
                <a:cubicBezTo>
                  <a:pt x="119" y="169"/>
                  <a:pt x="119" y="169"/>
                  <a:pt x="119" y="169"/>
                </a:cubicBezTo>
                <a:cubicBezTo>
                  <a:pt x="119" y="172"/>
                  <a:pt x="118" y="174"/>
                  <a:pt x="118" y="175"/>
                </a:cubicBezTo>
                <a:cubicBezTo>
                  <a:pt x="113" y="171"/>
                  <a:pt x="106" y="166"/>
                  <a:pt x="100" y="162"/>
                </a:cubicBezTo>
                <a:cubicBezTo>
                  <a:pt x="99" y="161"/>
                  <a:pt x="98" y="160"/>
                  <a:pt x="97" y="159"/>
                </a:cubicBezTo>
                <a:cubicBezTo>
                  <a:pt x="92" y="156"/>
                  <a:pt x="87" y="157"/>
                  <a:pt x="83" y="161"/>
                </a:cubicBezTo>
                <a:cubicBezTo>
                  <a:pt x="80" y="166"/>
                  <a:pt x="79" y="173"/>
                  <a:pt x="85" y="177"/>
                </a:cubicBezTo>
                <a:cubicBezTo>
                  <a:pt x="87" y="178"/>
                  <a:pt x="91" y="182"/>
                  <a:pt x="95" y="186"/>
                </a:cubicBezTo>
                <a:cubicBezTo>
                  <a:pt x="96" y="186"/>
                  <a:pt x="97" y="187"/>
                  <a:pt x="98" y="188"/>
                </a:cubicBezTo>
                <a:cubicBezTo>
                  <a:pt x="21" y="188"/>
                  <a:pt x="21" y="188"/>
                  <a:pt x="21" y="188"/>
                </a:cubicBezTo>
                <a:cubicBezTo>
                  <a:pt x="21" y="22"/>
                  <a:pt x="21" y="22"/>
                  <a:pt x="21" y="22"/>
                </a:cubicBezTo>
                <a:cubicBezTo>
                  <a:pt x="151" y="22"/>
                  <a:pt x="151" y="22"/>
                  <a:pt x="151" y="22"/>
                </a:cubicBezTo>
                <a:lnTo>
                  <a:pt x="151" y="119"/>
                </a:lnTo>
                <a:close/>
                <a:moveTo>
                  <a:pt x="167" y="119"/>
                </a:moveTo>
                <a:cubicBezTo>
                  <a:pt x="167" y="119"/>
                  <a:pt x="167" y="119"/>
                  <a:pt x="167" y="119"/>
                </a:cubicBezTo>
                <a:cubicBezTo>
                  <a:pt x="164" y="118"/>
                  <a:pt x="161" y="117"/>
                  <a:pt x="157" y="117"/>
                </a:cubicBezTo>
                <a:cubicBezTo>
                  <a:pt x="156" y="117"/>
                  <a:pt x="156" y="117"/>
                  <a:pt x="155" y="118"/>
                </a:cubicBezTo>
                <a:cubicBezTo>
                  <a:pt x="155" y="20"/>
                  <a:pt x="155" y="20"/>
                  <a:pt x="155" y="20"/>
                </a:cubicBezTo>
                <a:cubicBezTo>
                  <a:pt x="155" y="19"/>
                  <a:pt x="154" y="18"/>
                  <a:pt x="153" y="18"/>
                </a:cubicBezTo>
                <a:cubicBezTo>
                  <a:pt x="19" y="18"/>
                  <a:pt x="19" y="18"/>
                  <a:pt x="19" y="18"/>
                </a:cubicBezTo>
                <a:cubicBezTo>
                  <a:pt x="18" y="18"/>
                  <a:pt x="17" y="19"/>
                  <a:pt x="17" y="20"/>
                </a:cubicBezTo>
                <a:cubicBezTo>
                  <a:pt x="17" y="190"/>
                  <a:pt x="17" y="190"/>
                  <a:pt x="17" y="190"/>
                </a:cubicBezTo>
                <a:cubicBezTo>
                  <a:pt x="17" y="191"/>
                  <a:pt x="18" y="192"/>
                  <a:pt x="19" y="192"/>
                </a:cubicBezTo>
                <a:cubicBezTo>
                  <a:pt x="103" y="192"/>
                  <a:pt x="103" y="192"/>
                  <a:pt x="103" y="192"/>
                </a:cubicBezTo>
                <a:cubicBezTo>
                  <a:pt x="115" y="202"/>
                  <a:pt x="124" y="210"/>
                  <a:pt x="127" y="211"/>
                </a:cubicBezTo>
                <a:cubicBezTo>
                  <a:pt x="131" y="212"/>
                  <a:pt x="138" y="219"/>
                  <a:pt x="144" y="228"/>
                </a:cubicBezTo>
                <a:cubicBezTo>
                  <a:pt x="14" y="228"/>
                  <a:pt x="14" y="228"/>
                  <a:pt x="14" y="228"/>
                </a:cubicBezTo>
                <a:cubicBezTo>
                  <a:pt x="10" y="228"/>
                  <a:pt x="5" y="224"/>
                  <a:pt x="5" y="219"/>
                </a:cubicBezTo>
                <a:cubicBezTo>
                  <a:pt x="5" y="14"/>
                  <a:pt x="5" y="14"/>
                  <a:pt x="5" y="14"/>
                </a:cubicBezTo>
                <a:cubicBezTo>
                  <a:pt x="5" y="8"/>
                  <a:pt x="10" y="5"/>
                  <a:pt x="14" y="5"/>
                </a:cubicBezTo>
                <a:cubicBezTo>
                  <a:pt x="158" y="5"/>
                  <a:pt x="158" y="5"/>
                  <a:pt x="158" y="5"/>
                </a:cubicBezTo>
                <a:cubicBezTo>
                  <a:pt x="162" y="5"/>
                  <a:pt x="167" y="8"/>
                  <a:pt x="167" y="14"/>
                </a:cubicBezTo>
                <a:lnTo>
                  <a:pt x="167" y="11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8" name="Freeform 9"/>
          <p:cNvSpPr>
            <a:spLocks noEditPoints="1"/>
          </p:cNvSpPr>
          <p:nvPr/>
        </p:nvSpPr>
        <p:spPr bwMode="auto">
          <a:xfrm>
            <a:off x="2192785" y="2507558"/>
            <a:ext cx="260071" cy="444203"/>
          </a:xfrm>
          <a:custGeom>
            <a:avLst/>
            <a:gdLst>
              <a:gd name="T0" fmla="*/ 120 w 138"/>
              <a:gd name="T1" fmla="*/ 0 h 236"/>
              <a:gd name="T2" fmla="*/ 18 w 138"/>
              <a:gd name="T3" fmla="*/ 0 h 236"/>
              <a:gd name="T4" fmla="*/ 0 w 138"/>
              <a:gd name="T5" fmla="*/ 18 h 236"/>
              <a:gd name="T6" fmla="*/ 0 w 138"/>
              <a:gd name="T7" fmla="*/ 219 h 236"/>
              <a:gd name="T8" fmla="*/ 18 w 138"/>
              <a:gd name="T9" fmla="*/ 236 h 236"/>
              <a:gd name="T10" fmla="*/ 120 w 138"/>
              <a:gd name="T11" fmla="*/ 236 h 236"/>
              <a:gd name="T12" fmla="*/ 138 w 138"/>
              <a:gd name="T13" fmla="*/ 219 h 236"/>
              <a:gd name="T14" fmla="*/ 138 w 138"/>
              <a:gd name="T15" fmla="*/ 18 h 236"/>
              <a:gd name="T16" fmla="*/ 120 w 138"/>
              <a:gd name="T17" fmla="*/ 0 h 236"/>
              <a:gd name="T18" fmla="*/ 133 w 138"/>
              <a:gd name="T19" fmla="*/ 219 h 236"/>
              <a:gd name="T20" fmla="*/ 120 w 138"/>
              <a:gd name="T21" fmla="*/ 232 h 236"/>
              <a:gd name="T22" fmla="*/ 18 w 138"/>
              <a:gd name="T23" fmla="*/ 232 h 236"/>
              <a:gd name="T24" fmla="*/ 5 w 138"/>
              <a:gd name="T25" fmla="*/ 219 h 236"/>
              <a:gd name="T26" fmla="*/ 5 w 138"/>
              <a:gd name="T27" fmla="*/ 199 h 236"/>
              <a:gd name="T28" fmla="*/ 133 w 138"/>
              <a:gd name="T29" fmla="*/ 199 h 236"/>
              <a:gd name="T30" fmla="*/ 133 w 138"/>
              <a:gd name="T31" fmla="*/ 219 h 236"/>
              <a:gd name="T32" fmla="*/ 133 w 138"/>
              <a:gd name="T33" fmla="*/ 194 h 236"/>
              <a:gd name="T34" fmla="*/ 5 w 138"/>
              <a:gd name="T35" fmla="*/ 194 h 236"/>
              <a:gd name="T36" fmla="*/ 5 w 138"/>
              <a:gd name="T37" fmla="*/ 35 h 236"/>
              <a:gd name="T38" fmla="*/ 133 w 138"/>
              <a:gd name="T39" fmla="*/ 35 h 236"/>
              <a:gd name="T40" fmla="*/ 133 w 138"/>
              <a:gd name="T41" fmla="*/ 194 h 236"/>
              <a:gd name="T42" fmla="*/ 133 w 138"/>
              <a:gd name="T43" fmla="*/ 30 h 236"/>
              <a:gd name="T44" fmla="*/ 5 w 138"/>
              <a:gd name="T45" fmla="*/ 30 h 236"/>
              <a:gd name="T46" fmla="*/ 5 w 138"/>
              <a:gd name="T47" fmla="*/ 18 h 236"/>
              <a:gd name="T48" fmla="*/ 18 w 138"/>
              <a:gd name="T49" fmla="*/ 5 h 236"/>
              <a:gd name="T50" fmla="*/ 120 w 138"/>
              <a:gd name="T51" fmla="*/ 5 h 236"/>
              <a:gd name="T52" fmla="*/ 133 w 138"/>
              <a:gd name="T53" fmla="*/ 18 h 236"/>
              <a:gd name="T54" fmla="*/ 133 w 138"/>
              <a:gd name="T55" fmla="*/ 30 h 236"/>
              <a:gd name="T56" fmla="*/ 87 w 138"/>
              <a:gd name="T57" fmla="*/ 16 h 236"/>
              <a:gd name="T58" fmla="*/ 51 w 138"/>
              <a:gd name="T59" fmla="*/ 16 h 236"/>
              <a:gd name="T60" fmla="*/ 49 w 138"/>
              <a:gd name="T61" fmla="*/ 18 h 236"/>
              <a:gd name="T62" fmla="*/ 51 w 138"/>
              <a:gd name="T63" fmla="*/ 20 h 236"/>
              <a:gd name="T64" fmla="*/ 87 w 138"/>
              <a:gd name="T65" fmla="*/ 20 h 236"/>
              <a:gd name="T66" fmla="*/ 89 w 138"/>
              <a:gd name="T67" fmla="*/ 18 h 236"/>
              <a:gd name="T68" fmla="*/ 87 w 138"/>
              <a:gd name="T69" fmla="*/ 16 h 236"/>
              <a:gd name="T70" fmla="*/ 69 w 138"/>
              <a:gd name="T71" fmla="*/ 226 h 236"/>
              <a:gd name="T72" fmla="*/ 79 w 138"/>
              <a:gd name="T73" fmla="*/ 216 h 236"/>
              <a:gd name="T74" fmla="*/ 69 w 138"/>
              <a:gd name="T75" fmla="*/ 205 h 236"/>
              <a:gd name="T76" fmla="*/ 59 w 138"/>
              <a:gd name="T77" fmla="*/ 216 h 236"/>
              <a:gd name="T78" fmla="*/ 69 w 138"/>
              <a:gd name="T79" fmla="*/ 226 h 236"/>
              <a:gd name="T80" fmla="*/ 69 w 138"/>
              <a:gd name="T81" fmla="*/ 210 h 236"/>
              <a:gd name="T82" fmla="*/ 75 w 138"/>
              <a:gd name="T83" fmla="*/ 216 h 236"/>
              <a:gd name="T84" fmla="*/ 69 w 138"/>
              <a:gd name="T85" fmla="*/ 221 h 236"/>
              <a:gd name="T86" fmla="*/ 63 w 138"/>
              <a:gd name="T87" fmla="*/ 216 h 236"/>
              <a:gd name="T88" fmla="*/ 69 w 138"/>
              <a:gd name="T89" fmla="*/ 210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38" h="236">
                <a:moveTo>
                  <a:pt x="120" y="0"/>
                </a:moveTo>
                <a:cubicBezTo>
                  <a:pt x="18" y="0"/>
                  <a:pt x="18" y="0"/>
                  <a:pt x="18" y="0"/>
                </a:cubicBezTo>
                <a:cubicBezTo>
                  <a:pt x="8" y="0"/>
                  <a:pt x="0" y="8"/>
                  <a:pt x="0" y="18"/>
                </a:cubicBezTo>
                <a:cubicBezTo>
                  <a:pt x="0" y="219"/>
                  <a:pt x="0" y="219"/>
                  <a:pt x="0" y="219"/>
                </a:cubicBezTo>
                <a:cubicBezTo>
                  <a:pt x="0" y="228"/>
                  <a:pt x="8" y="236"/>
                  <a:pt x="18" y="236"/>
                </a:cubicBezTo>
                <a:cubicBezTo>
                  <a:pt x="120" y="236"/>
                  <a:pt x="120" y="236"/>
                  <a:pt x="120" y="236"/>
                </a:cubicBezTo>
                <a:cubicBezTo>
                  <a:pt x="130" y="236"/>
                  <a:pt x="138" y="228"/>
                  <a:pt x="138" y="219"/>
                </a:cubicBezTo>
                <a:cubicBezTo>
                  <a:pt x="138" y="18"/>
                  <a:pt x="138" y="18"/>
                  <a:pt x="138" y="18"/>
                </a:cubicBezTo>
                <a:cubicBezTo>
                  <a:pt x="138" y="8"/>
                  <a:pt x="130" y="0"/>
                  <a:pt x="120" y="0"/>
                </a:cubicBezTo>
                <a:close/>
                <a:moveTo>
                  <a:pt x="133" y="219"/>
                </a:moveTo>
                <a:cubicBezTo>
                  <a:pt x="133" y="226"/>
                  <a:pt x="127" y="232"/>
                  <a:pt x="120" y="232"/>
                </a:cubicBezTo>
                <a:cubicBezTo>
                  <a:pt x="18" y="232"/>
                  <a:pt x="18" y="232"/>
                  <a:pt x="18" y="232"/>
                </a:cubicBezTo>
                <a:cubicBezTo>
                  <a:pt x="11" y="232"/>
                  <a:pt x="5" y="226"/>
                  <a:pt x="5" y="219"/>
                </a:cubicBezTo>
                <a:cubicBezTo>
                  <a:pt x="5" y="199"/>
                  <a:pt x="5" y="199"/>
                  <a:pt x="5" y="199"/>
                </a:cubicBezTo>
                <a:cubicBezTo>
                  <a:pt x="133" y="199"/>
                  <a:pt x="133" y="199"/>
                  <a:pt x="133" y="199"/>
                </a:cubicBezTo>
                <a:lnTo>
                  <a:pt x="133" y="219"/>
                </a:lnTo>
                <a:close/>
                <a:moveTo>
                  <a:pt x="133" y="194"/>
                </a:moveTo>
                <a:cubicBezTo>
                  <a:pt x="5" y="194"/>
                  <a:pt x="5" y="194"/>
                  <a:pt x="5" y="194"/>
                </a:cubicBezTo>
                <a:cubicBezTo>
                  <a:pt x="5" y="35"/>
                  <a:pt x="5" y="35"/>
                  <a:pt x="5" y="35"/>
                </a:cubicBezTo>
                <a:cubicBezTo>
                  <a:pt x="133" y="35"/>
                  <a:pt x="133" y="35"/>
                  <a:pt x="133" y="35"/>
                </a:cubicBezTo>
                <a:lnTo>
                  <a:pt x="133" y="194"/>
                </a:lnTo>
                <a:close/>
                <a:moveTo>
                  <a:pt x="133" y="30"/>
                </a:moveTo>
                <a:cubicBezTo>
                  <a:pt x="5" y="30"/>
                  <a:pt x="5" y="30"/>
                  <a:pt x="5" y="30"/>
                </a:cubicBezTo>
                <a:cubicBezTo>
                  <a:pt x="5" y="18"/>
                  <a:pt x="5" y="18"/>
                  <a:pt x="5" y="18"/>
                </a:cubicBezTo>
                <a:cubicBezTo>
                  <a:pt x="5" y="11"/>
                  <a:pt x="11" y="5"/>
                  <a:pt x="18" y="5"/>
                </a:cubicBezTo>
                <a:cubicBezTo>
                  <a:pt x="120" y="5"/>
                  <a:pt x="120" y="5"/>
                  <a:pt x="120" y="5"/>
                </a:cubicBezTo>
                <a:cubicBezTo>
                  <a:pt x="127" y="5"/>
                  <a:pt x="133" y="11"/>
                  <a:pt x="133" y="18"/>
                </a:cubicBezTo>
                <a:lnTo>
                  <a:pt x="133" y="30"/>
                </a:lnTo>
                <a:close/>
                <a:moveTo>
                  <a:pt x="87" y="16"/>
                </a:moveTo>
                <a:cubicBezTo>
                  <a:pt x="51" y="16"/>
                  <a:pt x="51" y="16"/>
                  <a:pt x="51" y="16"/>
                </a:cubicBezTo>
                <a:cubicBezTo>
                  <a:pt x="50" y="16"/>
                  <a:pt x="49" y="17"/>
                  <a:pt x="49" y="18"/>
                </a:cubicBezTo>
                <a:cubicBezTo>
                  <a:pt x="49" y="19"/>
                  <a:pt x="50" y="20"/>
                  <a:pt x="51" y="20"/>
                </a:cubicBezTo>
                <a:cubicBezTo>
                  <a:pt x="87" y="20"/>
                  <a:pt x="87" y="20"/>
                  <a:pt x="87" y="20"/>
                </a:cubicBezTo>
                <a:cubicBezTo>
                  <a:pt x="88" y="20"/>
                  <a:pt x="89" y="19"/>
                  <a:pt x="89" y="18"/>
                </a:cubicBezTo>
                <a:cubicBezTo>
                  <a:pt x="89" y="17"/>
                  <a:pt x="88" y="16"/>
                  <a:pt x="87" y="16"/>
                </a:cubicBezTo>
                <a:close/>
                <a:moveTo>
                  <a:pt x="69" y="226"/>
                </a:moveTo>
                <a:cubicBezTo>
                  <a:pt x="75" y="226"/>
                  <a:pt x="79" y="221"/>
                  <a:pt x="79" y="216"/>
                </a:cubicBezTo>
                <a:cubicBezTo>
                  <a:pt x="79" y="210"/>
                  <a:pt x="75" y="205"/>
                  <a:pt x="69" y="205"/>
                </a:cubicBezTo>
                <a:cubicBezTo>
                  <a:pt x="63" y="205"/>
                  <a:pt x="59" y="210"/>
                  <a:pt x="59" y="216"/>
                </a:cubicBezTo>
                <a:cubicBezTo>
                  <a:pt x="59" y="221"/>
                  <a:pt x="63" y="226"/>
                  <a:pt x="69" y="226"/>
                </a:cubicBezTo>
                <a:close/>
                <a:moveTo>
                  <a:pt x="69" y="210"/>
                </a:moveTo>
                <a:cubicBezTo>
                  <a:pt x="72" y="210"/>
                  <a:pt x="75" y="213"/>
                  <a:pt x="75" y="216"/>
                </a:cubicBezTo>
                <a:cubicBezTo>
                  <a:pt x="75" y="219"/>
                  <a:pt x="72" y="221"/>
                  <a:pt x="69" y="221"/>
                </a:cubicBezTo>
                <a:cubicBezTo>
                  <a:pt x="66" y="221"/>
                  <a:pt x="63" y="219"/>
                  <a:pt x="63" y="216"/>
                </a:cubicBezTo>
                <a:cubicBezTo>
                  <a:pt x="63" y="213"/>
                  <a:pt x="66" y="210"/>
                  <a:pt x="69" y="21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9" name="Freeform 10"/>
          <p:cNvSpPr>
            <a:spLocks noEditPoints="1"/>
          </p:cNvSpPr>
          <p:nvPr/>
        </p:nvSpPr>
        <p:spPr bwMode="auto">
          <a:xfrm>
            <a:off x="6652762" y="2551912"/>
            <a:ext cx="362887" cy="355495"/>
          </a:xfrm>
          <a:custGeom>
            <a:avLst/>
            <a:gdLst>
              <a:gd name="T0" fmla="*/ 44 w 193"/>
              <a:gd name="T1" fmla="*/ 157 h 189"/>
              <a:gd name="T2" fmla="*/ 17 w 193"/>
              <a:gd name="T3" fmla="*/ 182 h 189"/>
              <a:gd name="T4" fmla="*/ 7 w 193"/>
              <a:gd name="T5" fmla="*/ 175 h 189"/>
              <a:gd name="T6" fmla="*/ 32 w 193"/>
              <a:gd name="T7" fmla="*/ 145 h 189"/>
              <a:gd name="T8" fmla="*/ 33 w 193"/>
              <a:gd name="T9" fmla="*/ 140 h 189"/>
              <a:gd name="T10" fmla="*/ 2 w 193"/>
              <a:gd name="T11" fmla="*/ 174 h 189"/>
              <a:gd name="T12" fmla="*/ 0 w 193"/>
              <a:gd name="T13" fmla="*/ 189 h 189"/>
              <a:gd name="T14" fmla="*/ 3 w 193"/>
              <a:gd name="T15" fmla="*/ 189 h 189"/>
              <a:gd name="T16" fmla="*/ 42 w 193"/>
              <a:gd name="T17" fmla="*/ 177 h 189"/>
              <a:gd name="T18" fmla="*/ 46 w 193"/>
              <a:gd name="T19" fmla="*/ 154 h 189"/>
              <a:gd name="T20" fmla="*/ 120 w 193"/>
              <a:gd name="T21" fmla="*/ 46 h 189"/>
              <a:gd name="T22" fmla="*/ 132 w 193"/>
              <a:gd name="T23" fmla="*/ 73 h 189"/>
              <a:gd name="T24" fmla="*/ 143 w 193"/>
              <a:gd name="T25" fmla="*/ 46 h 189"/>
              <a:gd name="T26" fmla="*/ 140 w 193"/>
              <a:gd name="T27" fmla="*/ 65 h 189"/>
              <a:gd name="T28" fmla="*/ 124 w 193"/>
              <a:gd name="T29" fmla="*/ 65 h 189"/>
              <a:gd name="T30" fmla="*/ 132 w 193"/>
              <a:gd name="T31" fmla="*/ 46 h 189"/>
              <a:gd name="T32" fmla="*/ 140 w 193"/>
              <a:gd name="T33" fmla="*/ 65 h 189"/>
              <a:gd name="T34" fmla="*/ 176 w 193"/>
              <a:gd name="T35" fmla="*/ 0 h 189"/>
              <a:gd name="T36" fmla="*/ 79 w 193"/>
              <a:gd name="T37" fmla="*/ 65 h 189"/>
              <a:gd name="T38" fmla="*/ 14 w 193"/>
              <a:gd name="T39" fmla="*/ 95 h 189"/>
              <a:gd name="T40" fmla="*/ 17 w 193"/>
              <a:gd name="T41" fmla="*/ 98 h 189"/>
              <a:gd name="T42" fmla="*/ 46 w 193"/>
              <a:gd name="T43" fmla="*/ 101 h 189"/>
              <a:gd name="T44" fmla="*/ 36 w 193"/>
              <a:gd name="T45" fmla="*/ 120 h 189"/>
              <a:gd name="T46" fmla="*/ 65 w 193"/>
              <a:gd name="T47" fmla="*/ 155 h 189"/>
              <a:gd name="T48" fmla="*/ 79 w 193"/>
              <a:gd name="T49" fmla="*/ 143 h 189"/>
              <a:gd name="T50" fmla="*/ 88 w 193"/>
              <a:gd name="T51" fmla="*/ 144 h 189"/>
              <a:gd name="T52" fmla="*/ 91 w 193"/>
              <a:gd name="T53" fmla="*/ 172 h 189"/>
              <a:gd name="T54" fmla="*/ 93 w 193"/>
              <a:gd name="T55" fmla="*/ 175 h 189"/>
              <a:gd name="T56" fmla="*/ 121 w 193"/>
              <a:gd name="T57" fmla="*/ 151 h 189"/>
              <a:gd name="T58" fmla="*/ 160 w 193"/>
              <a:gd name="T59" fmla="*/ 78 h 189"/>
              <a:gd name="T60" fmla="*/ 21 w 193"/>
              <a:gd name="T61" fmla="*/ 92 h 189"/>
              <a:gd name="T62" fmla="*/ 74 w 193"/>
              <a:gd name="T63" fmla="*/ 69 h 189"/>
              <a:gd name="T64" fmla="*/ 21 w 193"/>
              <a:gd name="T65" fmla="*/ 92 h 189"/>
              <a:gd name="T66" fmla="*/ 49 w 193"/>
              <a:gd name="T67" fmla="*/ 140 h 189"/>
              <a:gd name="T68" fmla="*/ 48 w 193"/>
              <a:gd name="T69" fmla="*/ 115 h 189"/>
              <a:gd name="T70" fmla="*/ 75 w 193"/>
              <a:gd name="T71" fmla="*/ 141 h 189"/>
              <a:gd name="T72" fmla="*/ 117 w 193"/>
              <a:gd name="T73" fmla="*/ 149 h 189"/>
              <a:gd name="T74" fmla="*/ 94 w 193"/>
              <a:gd name="T75" fmla="*/ 138 h 189"/>
              <a:gd name="T76" fmla="*/ 117 w 193"/>
              <a:gd name="T77" fmla="*/ 149 h 189"/>
              <a:gd name="T78" fmla="*/ 90 w 193"/>
              <a:gd name="T79" fmla="*/ 135 h 189"/>
              <a:gd name="T80" fmla="*/ 84 w 193"/>
              <a:gd name="T81" fmla="*/ 140 h 189"/>
              <a:gd name="T82" fmla="*/ 49 w 193"/>
              <a:gd name="T83" fmla="*/ 104 h 189"/>
              <a:gd name="T84" fmla="*/ 54 w 193"/>
              <a:gd name="T85" fmla="*/ 99 h 189"/>
              <a:gd name="T86" fmla="*/ 176 w 193"/>
              <a:gd name="T87" fmla="*/ 4 h 189"/>
              <a:gd name="T88" fmla="*/ 157 w 193"/>
              <a:gd name="T89" fmla="*/ 75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93" h="189">
                <a:moveTo>
                  <a:pt x="46" y="154"/>
                </a:moveTo>
                <a:cubicBezTo>
                  <a:pt x="45" y="154"/>
                  <a:pt x="44" y="156"/>
                  <a:pt x="44" y="157"/>
                </a:cubicBezTo>
                <a:cubicBezTo>
                  <a:pt x="46" y="163"/>
                  <a:pt x="44" y="168"/>
                  <a:pt x="39" y="174"/>
                </a:cubicBezTo>
                <a:cubicBezTo>
                  <a:pt x="33" y="179"/>
                  <a:pt x="25" y="180"/>
                  <a:pt x="17" y="182"/>
                </a:cubicBezTo>
                <a:cubicBezTo>
                  <a:pt x="13" y="182"/>
                  <a:pt x="9" y="183"/>
                  <a:pt x="5" y="184"/>
                </a:cubicBezTo>
                <a:cubicBezTo>
                  <a:pt x="6" y="181"/>
                  <a:pt x="6" y="178"/>
                  <a:pt x="7" y="175"/>
                </a:cubicBezTo>
                <a:cubicBezTo>
                  <a:pt x="8" y="166"/>
                  <a:pt x="10" y="156"/>
                  <a:pt x="16" y="150"/>
                </a:cubicBezTo>
                <a:cubicBezTo>
                  <a:pt x="21" y="145"/>
                  <a:pt x="27" y="143"/>
                  <a:pt x="32" y="145"/>
                </a:cubicBezTo>
                <a:cubicBezTo>
                  <a:pt x="33" y="145"/>
                  <a:pt x="35" y="144"/>
                  <a:pt x="35" y="143"/>
                </a:cubicBezTo>
                <a:cubicBezTo>
                  <a:pt x="35" y="142"/>
                  <a:pt x="35" y="140"/>
                  <a:pt x="33" y="140"/>
                </a:cubicBezTo>
                <a:cubicBezTo>
                  <a:pt x="26" y="138"/>
                  <a:pt x="19" y="141"/>
                  <a:pt x="12" y="147"/>
                </a:cubicBezTo>
                <a:cubicBezTo>
                  <a:pt x="5" y="154"/>
                  <a:pt x="4" y="164"/>
                  <a:pt x="2" y="174"/>
                </a:cubicBezTo>
                <a:cubicBezTo>
                  <a:pt x="2" y="178"/>
                  <a:pt x="1" y="183"/>
                  <a:pt x="0" y="186"/>
                </a:cubicBezTo>
                <a:cubicBezTo>
                  <a:pt x="0" y="187"/>
                  <a:pt x="0" y="188"/>
                  <a:pt x="0" y="189"/>
                </a:cubicBezTo>
                <a:cubicBezTo>
                  <a:pt x="1" y="189"/>
                  <a:pt x="1" y="189"/>
                  <a:pt x="2" y="189"/>
                </a:cubicBezTo>
                <a:cubicBezTo>
                  <a:pt x="2" y="189"/>
                  <a:pt x="3" y="189"/>
                  <a:pt x="3" y="189"/>
                </a:cubicBezTo>
                <a:cubicBezTo>
                  <a:pt x="7" y="188"/>
                  <a:pt x="12" y="187"/>
                  <a:pt x="17" y="186"/>
                </a:cubicBezTo>
                <a:cubicBezTo>
                  <a:pt x="26" y="185"/>
                  <a:pt x="36" y="183"/>
                  <a:pt x="42" y="177"/>
                </a:cubicBezTo>
                <a:cubicBezTo>
                  <a:pt x="48" y="171"/>
                  <a:pt x="51" y="163"/>
                  <a:pt x="49" y="156"/>
                </a:cubicBezTo>
                <a:cubicBezTo>
                  <a:pt x="49" y="154"/>
                  <a:pt x="47" y="154"/>
                  <a:pt x="46" y="154"/>
                </a:cubicBezTo>
                <a:close/>
                <a:moveTo>
                  <a:pt x="132" y="42"/>
                </a:moveTo>
                <a:cubicBezTo>
                  <a:pt x="127" y="42"/>
                  <a:pt x="123" y="43"/>
                  <a:pt x="120" y="46"/>
                </a:cubicBezTo>
                <a:cubicBezTo>
                  <a:pt x="114" y="52"/>
                  <a:pt x="114" y="63"/>
                  <a:pt x="120" y="69"/>
                </a:cubicBezTo>
                <a:cubicBezTo>
                  <a:pt x="123" y="72"/>
                  <a:pt x="127" y="73"/>
                  <a:pt x="132" y="73"/>
                </a:cubicBezTo>
                <a:cubicBezTo>
                  <a:pt x="136" y="73"/>
                  <a:pt x="140" y="72"/>
                  <a:pt x="143" y="69"/>
                </a:cubicBezTo>
                <a:cubicBezTo>
                  <a:pt x="149" y="63"/>
                  <a:pt x="149" y="52"/>
                  <a:pt x="143" y="46"/>
                </a:cubicBezTo>
                <a:cubicBezTo>
                  <a:pt x="140" y="43"/>
                  <a:pt x="136" y="42"/>
                  <a:pt x="132" y="42"/>
                </a:cubicBezTo>
                <a:close/>
                <a:moveTo>
                  <a:pt x="140" y="65"/>
                </a:moveTo>
                <a:cubicBezTo>
                  <a:pt x="137" y="68"/>
                  <a:pt x="135" y="69"/>
                  <a:pt x="132" y="69"/>
                </a:cubicBezTo>
                <a:cubicBezTo>
                  <a:pt x="129" y="69"/>
                  <a:pt x="126" y="68"/>
                  <a:pt x="124" y="65"/>
                </a:cubicBezTo>
                <a:cubicBezTo>
                  <a:pt x="119" y="61"/>
                  <a:pt x="119" y="54"/>
                  <a:pt x="124" y="50"/>
                </a:cubicBezTo>
                <a:cubicBezTo>
                  <a:pt x="126" y="47"/>
                  <a:pt x="129" y="46"/>
                  <a:pt x="132" y="46"/>
                </a:cubicBezTo>
                <a:cubicBezTo>
                  <a:pt x="135" y="46"/>
                  <a:pt x="137" y="47"/>
                  <a:pt x="140" y="50"/>
                </a:cubicBezTo>
                <a:cubicBezTo>
                  <a:pt x="144" y="54"/>
                  <a:pt x="144" y="61"/>
                  <a:pt x="140" y="65"/>
                </a:cubicBezTo>
                <a:close/>
                <a:moveTo>
                  <a:pt x="187" y="2"/>
                </a:moveTo>
                <a:cubicBezTo>
                  <a:pt x="185" y="1"/>
                  <a:pt x="181" y="0"/>
                  <a:pt x="176" y="0"/>
                </a:cubicBezTo>
                <a:cubicBezTo>
                  <a:pt x="164" y="0"/>
                  <a:pt x="134" y="6"/>
                  <a:pt x="111" y="29"/>
                </a:cubicBezTo>
                <a:cubicBezTo>
                  <a:pt x="79" y="65"/>
                  <a:pt x="79" y="65"/>
                  <a:pt x="79" y="65"/>
                </a:cubicBezTo>
                <a:cubicBezTo>
                  <a:pt x="73" y="65"/>
                  <a:pt x="51" y="63"/>
                  <a:pt x="38" y="68"/>
                </a:cubicBezTo>
                <a:cubicBezTo>
                  <a:pt x="24" y="73"/>
                  <a:pt x="14" y="94"/>
                  <a:pt x="14" y="95"/>
                </a:cubicBezTo>
                <a:cubicBezTo>
                  <a:pt x="14" y="96"/>
                  <a:pt x="14" y="97"/>
                  <a:pt x="14" y="97"/>
                </a:cubicBezTo>
                <a:cubicBezTo>
                  <a:pt x="15" y="98"/>
                  <a:pt x="16" y="98"/>
                  <a:pt x="17" y="98"/>
                </a:cubicBezTo>
                <a:cubicBezTo>
                  <a:pt x="29" y="94"/>
                  <a:pt x="42" y="97"/>
                  <a:pt x="48" y="99"/>
                </a:cubicBezTo>
                <a:cubicBezTo>
                  <a:pt x="46" y="101"/>
                  <a:pt x="46" y="101"/>
                  <a:pt x="46" y="101"/>
                </a:cubicBezTo>
                <a:cubicBezTo>
                  <a:pt x="44" y="103"/>
                  <a:pt x="44" y="107"/>
                  <a:pt x="46" y="110"/>
                </a:cubicBezTo>
                <a:cubicBezTo>
                  <a:pt x="36" y="120"/>
                  <a:pt x="36" y="120"/>
                  <a:pt x="36" y="120"/>
                </a:cubicBezTo>
                <a:cubicBezTo>
                  <a:pt x="31" y="125"/>
                  <a:pt x="38" y="135"/>
                  <a:pt x="46" y="143"/>
                </a:cubicBezTo>
                <a:cubicBezTo>
                  <a:pt x="52" y="149"/>
                  <a:pt x="60" y="155"/>
                  <a:pt x="65" y="155"/>
                </a:cubicBezTo>
                <a:cubicBezTo>
                  <a:pt x="67" y="155"/>
                  <a:pt x="68" y="154"/>
                  <a:pt x="69" y="153"/>
                </a:cubicBezTo>
                <a:cubicBezTo>
                  <a:pt x="79" y="143"/>
                  <a:pt x="79" y="143"/>
                  <a:pt x="79" y="143"/>
                </a:cubicBezTo>
                <a:cubicBezTo>
                  <a:pt x="81" y="144"/>
                  <a:pt x="83" y="145"/>
                  <a:pt x="84" y="145"/>
                </a:cubicBezTo>
                <a:cubicBezTo>
                  <a:pt x="86" y="145"/>
                  <a:pt x="87" y="144"/>
                  <a:pt x="88" y="144"/>
                </a:cubicBezTo>
                <a:cubicBezTo>
                  <a:pt x="91" y="141"/>
                  <a:pt x="91" y="141"/>
                  <a:pt x="91" y="141"/>
                </a:cubicBezTo>
                <a:cubicBezTo>
                  <a:pt x="92" y="147"/>
                  <a:pt x="95" y="160"/>
                  <a:pt x="91" y="172"/>
                </a:cubicBezTo>
                <a:cubicBezTo>
                  <a:pt x="91" y="173"/>
                  <a:pt x="91" y="174"/>
                  <a:pt x="92" y="175"/>
                </a:cubicBezTo>
                <a:cubicBezTo>
                  <a:pt x="92" y="175"/>
                  <a:pt x="93" y="175"/>
                  <a:pt x="93" y="175"/>
                </a:cubicBezTo>
                <a:cubicBezTo>
                  <a:pt x="94" y="175"/>
                  <a:pt x="94" y="175"/>
                  <a:pt x="94" y="175"/>
                </a:cubicBezTo>
                <a:cubicBezTo>
                  <a:pt x="95" y="175"/>
                  <a:pt x="116" y="165"/>
                  <a:pt x="121" y="151"/>
                </a:cubicBezTo>
                <a:cubicBezTo>
                  <a:pt x="126" y="139"/>
                  <a:pt x="125" y="116"/>
                  <a:pt x="124" y="111"/>
                </a:cubicBezTo>
                <a:cubicBezTo>
                  <a:pt x="160" y="78"/>
                  <a:pt x="160" y="78"/>
                  <a:pt x="160" y="78"/>
                </a:cubicBezTo>
                <a:cubicBezTo>
                  <a:pt x="188" y="50"/>
                  <a:pt x="193" y="9"/>
                  <a:pt x="187" y="2"/>
                </a:cubicBezTo>
                <a:close/>
                <a:moveTo>
                  <a:pt x="21" y="92"/>
                </a:moveTo>
                <a:cubicBezTo>
                  <a:pt x="24" y="86"/>
                  <a:pt x="31" y="75"/>
                  <a:pt x="40" y="72"/>
                </a:cubicBezTo>
                <a:cubicBezTo>
                  <a:pt x="49" y="69"/>
                  <a:pt x="66" y="69"/>
                  <a:pt x="74" y="69"/>
                </a:cubicBezTo>
                <a:cubicBezTo>
                  <a:pt x="51" y="95"/>
                  <a:pt x="51" y="95"/>
                  <a:pt x="51" y="95"/>
                </a:cubicBezTo>
                <a:cubicBezTo>
                  <a:pt x="47" y="93"/>
                  <a:pt x="34" y="89"/>
                  <a:pt x="21" y="92"/>
                </a:cubicBezTo>
                <a:close/>
                <a:moveTo>
                  <a:pt x="66" y="150"/>
                </a:moveTo>
                <a:cubicBezTo>
                  <a:pt x="65" y="151"/>
                  <a:pt x="58" y="148"/>
                  <a:pt x="49" y="140"/>
                </a:cubicBezTo>
                <a:cubicBezTo>
                  <a:pt x="41" y="132"/>
                  <a:pt x="38" y="125"/>
                  <a:pt x="39" y="123"/>
                </a:cubicBezTo>
                <a:cubicBezTo>
                  <a:pt x="48" y="115"/>
                  <a:pt x="48" y="115"/>
                  <a:pt x="48" y="115"/>
                </a:cubicBezTo>
                <a:cubicBezTo>
                  <a:pt x="51" y="120"/>
                  <a:pt x="56" y="125"/>
                  <a:pt x="60" y="129"/>
                </a:cubicBezTo>
                <a:cubicBezTo>
                  <a:pt x="65" y="134"/>
                  <a:pt x="70" y="138"/>
                  <a:pt x="75" y="141"/>
                </a:cubicBezTo>
                <a:lnTo>
                  <a:pt x="66" y="150"/>
                </a:lnTo>
                <a:close/>
                <a:moveTo>
                  <a:pt x="117" y="149"/>
                </a:moveTo>
                <a:cubicBezTo>
                  <a:pt x="114" y="158"/>
                  <a:pt x="103" y="165"/>
                  <a:pt x="97" y="169"/>
                </a:cubicBezTo>
                <a:cubicBezTo>
                  <a:pt x="100" y="155"/>
                  <a:pt x="96" y="142"/>
                  <a:pt x="94" y="138"/>
                </a:cubicBezTo>
                <a:cubicBezTo>
                  <a:pt x="120" y="115"/>
                  <a:pt x="120" y="115"/>
                  <a:pt x="120" y="115"/>
                </a:cubicBezTo>
                <a:cubicBezTo>
                  <a:pt x="120" y="123"/>
                  <a:pt x="121" y="140"/>
                  <a:pt x="117" y="149"/>
                </a:cubicBezTo>
                <a:close/>
                <a:moveTo>
                  <a:pt x="90" y="135"/>
                </a:moveTo>
                <a:cubicBezTo>
                  <a:pt x="90" y="135"/>
                  <a:pt x="90" y="135"/>
                  <a:pt x="90" y="135"/>
                </a:cubicBezTo>
                <a:cubicBezTo>
                  <a:pt x="85" y="140"/>
                  <a:pt x="85" y="140"/>
                  <a:pt x="85" y="140"/>
                </a:cubicBezTo>
                <a:cubicBezTo>
                  <a:pt x="85" y="140"/>
                  <a:pt x="85" y="140"/>
                  <a:pt x="84" y="140"/>
                </a:cubicBezTo>
                <a:cubicBezTo>
                  <a:pt x="81" y="140"/>
                  <a:pt x="72" y="135"/>
                  <a:pt x="63" y="126"/>
                </a:cubicBezTo>
                <a:cubicBezTo>
                  <a:pt x="52" y="115"/>
                  <a:pt x="48" y="106"/>
                  <a:pt x="49" y="104"/>
                </a:cubicBezTo>
                <a:cubicBezTo>
                  <a:pt x="54" y="99"/>
                  <a:pt x="54" y="99"/>
                  <a:pt x="54" y="99"/>
                </a:cubicBezTo>
                <a:cubicBezTo>
                  <a:pt x="54" y="99"/>
                  <a:pt x="54" y="99"/>
                  <a:pt x="54" y="99"/>
                </a:cubicBezTo>
                <a:cubicBezTo>
                  <a:pt x="114" y="32"/>
                  <a:pt x="114" y="32"/>
                  <a:pt x="114" y="32"/>
                </a:cubicBezTo>
                <a:cubicBezTo>
                  <a:pt x="135" y="12"/>
                  <a:pt x="163" y="4"/>
                  <a:pt x="176" y="4"/>
                </a:cubicBezTo>
                <a:cubicBezTo>
                  <a:pt x="181" y="4"/>
                  <a:pt x="183" y="5"/>
                  <a:pt x="183" y="6"/>
                </a:cubicBezTo>
                <a:cubicBezTo>
                  <a:pt x="188" y="10"/>
                  <a:pt x="184" y="48"/>
                  <a:pt x="157" y="75"/>
                </a:cubicBezTo>
                <a:lnTo>
                  <a:pt x="90" y="1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2" name="Freeform 13"/>
          <p:cNvSpPr>
            <a:spLocks noEditPoints="1"/>
          </p:cNvSpPr>
          <p:nvPr/>
        </p:nvSpPr>
        <p:spPr bwMode="auto">
          <a:xfrm>
            <a:off x="2303422" y="3810811"/>
            <a:ext cx="317861" cy="310469"/>
          </a:xfrm>
          <a:custGeom>
            <a:avLst/>
            <a:gdLst>
              <a:gd name="T0" fmla="*/ 153 w 169"/>
              <a:gd name="T1" fmla="*/ 144 h 165"/>
              <a:gd name="T2" fmla="*/ 134 w 169"/>
              <a:gd name="T3" fmla="*/ 144 h 165"/>
              <a:gd name="T4" fmla="*/ 144 w 169"/>
              <a:gd name="T5" fmla="*/ 139 h 165"/>
              <a:gd name="T6" fmla="*/ 144 w 169"/>
              <a:gd name="T7" fmla="*/ 149 h 165"/>
              <a:gd name="T8" fmla="*/ 144 w 169"/>
              <a:gd name="T9" fmla="*/ 139 h 165"/>
              <a:gd name="T10" fmla="*/ 168 w 169"/>
              <a:gd name="T11" fmla="*/ 49 h 165"/>
              <a:gd name="T12" fmla="*/ 143 w 169"/>
              <a:gd name="T13" fmla="*/ 0 h 165"/>
              <a:gd name="T14" fmla="*/ 24 w 169"/>
              <a:gd name="T15" fmla="*/ 2 h 165"/>
              <a:gd name="T16" fmla="*/ 0 w 169"/>
              <a:gd name="T17" fmla="*/ 49 h 165"/>
              <a:gd name="T18" fmla="*/ 0 w 169"/>
              <a:gd name="T19" fmla="*/ 163 h 165"/>
              <a:gd name="T20" fmla="*/ 166 w 169"/>
              <a:gd name="T21" fmla="*/ 165 h 165"/>
              <a:gd name="T22" fmla="*/ 169 w 169"/>
              <a:gd name="T23" fmla="*/ 50 h 165"/>
              <a:gd name="T24" fmla="*/ 27 w 169"/>
              <a:gd name="T25" fmla="*/ 5 h 165"/>
              <a:gd name="T26" fmla="*/ 163 w 169"/>
              <a:gd name="T27" fmla="*/ 48 h 165"/>
              <a:gd name="T28" fmla="*/ 27 w 169"/>
              <a:gd name="T29" fmla="*/ 5 h 165"/>
              <a:gd name="T30" fmla="*/ 5 w 169"/>
              <a:gd name="T31" fmla="*/ 160 h 165"/>
              <a:gd name="T32" fmla="*/ 164 w 169"/>
              <a:gd name="T33" fmla="*/ 127 h 165"/>
              <a:gd name="T34" fmla="*/ 164 w 169"/>
              <a:gd name="T35" fmla="*/ 123 h 165"/>
              <a:gd name="T36" fmla="*/ 5 w 169"/>
              <a:gd name="T37" fmla="*/ 90 h 165"/>
              <a:gd name="T38" fmla="*/ 164 w 169"/>
              <a:gd name="T39" fmla="*/ 123 h 165"/>
              <a:gd name="T40" fmla="*/ 5 w 169"/>
              <a:gd name="T41" fmla="*/ 85 h 165"/>
              <a:gd name="T42" fmla="*/ 164 w 169"/>
              <a:gd name="T43" fmla="*/ 53 h 165"/>
              <a:gd name="T44" fmla="*/ 122 w 169"/>
              <a:gd name="T45" fmla="*/ 79 h 165"/>
              <a:gd name="T46" fmla="*/ 122 w 169"/>
              <a:gd name="T47" fmla="*/ 59 h 165"/>
              <a:gd name="T48" fmla="*/ 122 w 169"/>
              <a:gd name="T49" fmla="*/ 79 h 165"/>
              <a:gd name="T50" fmla="*/ 127 w 169"/>
              <a:gd name="T51" fmla="*/ 69 h 165"/>
              <a:gd name="T52" fmla="*/ 117 w 169"/>
              <a:gd name="T53" fmla="*/ 69 h 165"/>
              <a:gd name="T54" fmla="*/ 144 w 169"/>
              <a:gd name="T55" fmla="*/ 79 h 165"/>
              <a:gd name="T56" fmla="*/ 144 w 169"/>
              <a:gd name="T57" fmla="*/ 59 h 165"/>
              <a:gd name="T58" fmla="*/ 144 w 169"/>
              <a:gd name="T59" fmla="*/ 79 h 165"/>
              <a:gd name="T60" fmla="*/ 149 w 169"/>
              <a:gd name="T61" fmla="*/ 69 h 165"/>
              <a:gd name="T62" fmla="*/ 139 w 169"/>
              <a:gd name="T63" fmla="*/ 69 h 165"/>
              <a:gd name="T64" fmla="*/ 122 w 169"/>
              <a:gd name="T65" fmla="*/ 116 h 165"/>
              <a:gd name="T66" fmla="*/ 122 w 169"/>
              <a:gd name="T67" fmla="*/ 97 h 165"/>
              <a:gd name="T68" fmla="*/ 122 w 169"/>
              <a:gd name="T69" fmla="*/ 116 h 165"/>
              <a:gd name="T70" fmla="*/ 127 w 169"/>
              <a:gd name="T71" fmla="*/ 106 h 165"/>
              <a:gd name="T72" fmla="*/ 117 w 169"/>
              <a:gd name="T73" fmla="*/ 106 h 165"/>
              <a:gd name="T74" fmla="*/ 122 w 169"/>
              <a:gd name="T75" fmla="*/ 154 h 165"/>
              <a:gd name="T76" fmla="*/ 122 w 169"/>
              <a:gd name="T77" fmla="*/ 134 h 165"/>
              <a:gd name="T78" fmla="*/ 122 w 169"/>
              <a:gd name="T79" fmla="*/ 154 h 165"/>
              <a:gd name="T80" fmla="*/ 127 w 169"/>
              <a:gd name="T81" fmla="*/ 144 h 165"/>
              <a:gd name="T82" fmla="*/ 117 w 169"/>
              <a:gd name="T83" fmla="*/ 144 h 165"/>
              <a:gd name="T84" fmla="*/ 144 w 169"/>
              <a:gd name="T85" fmla="*/ 116 h 165"/>
              <a:gd name="T86" fmla="*/ 144 w 169"/>
              <a:gd name="T87" fmla="*/ 97 h 165"/>
              <a:gd name="T88" fmla="*/ 144 w 169"/>
              <a:gd name="T89" fmla="*/ 116 h 165"/>
              <a:gd name="T90" fmla="*/ 149 w 169"/>
              <a:gd name="T91" fmla="*/ 106 h 165"/>
              <a:gd name="T92" fmla="*/ 139 w 169"/>
              <a:gd name="T93" fmla="*/ 106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9" h="165">
                <a:moveTo>
                  <a:pt x="144" y="154"/>
                </a:moveTo>
                <a:cubicBezTo>
                  <a:pt x="149" y="154"/>
                  <a:pt x="153" y="149"/>
                  <a:pt x="153" y="144"/>
                </a:cubicBezTo>
                <a:cubicBezTo>
                  <a:pt x="153" y="139"/>
                  <a:pt x="149" y="134"/>
                  <a:pt x="144" y="134"/>
                </a:cubicBezTo>
                <a:cubicBezTo>
                  <a:pt x="138" y="134"/>
                  <a:pt x="134" y="139"/>
                  <a:pt x="134" y="144"/>
                </a:cubicBezTo>
                <a:cubicBezTo>
                  <a:pt x="134" y="149"/>
                  <a:pt x="138" y="154"/>
                  <a:pt x="144" y="154"/>
                </a:cubicBezTo>
                <a:close/>
                <a:moveTo>
                  <a:pt x="144" y="139"/>
                </a:moveTo>
                <a:cubicBezTo>
                  <a:pt x="146" y="139"/>
                  <a:pt x="149" y="141"/>
                  <a:pt x="149" y="144"/>
                </a:cubicBezTo>
                <a:cubicBezTo>
                  <a:pt x="149" y="147"/>
                  <a:pt x="146" y="149"/>
                  <a:pt x="144" y="149"/>
                </a:cubicBezTo>
                <a:cubicBezTo>
                  <a:pt x="141" y="149"/>
                  <a:pt x="139" y="147"/>
                  <a:pt x="139" y="144"/>
                </a:cubicBezTo>
                <a:cubicBezTo>
                  <a:pt x="139" y="141"/>
                  <a:pt x="141" y="139"/>
                  <a:pt x="144" y="139"/>
                </a:cubicBezTo>
                <a:close/>
                <a:moveTo>
                  <a:pt x="168" y="49"/>
                </a:moveTo>
                <a:cubicBezTo>
                  <a:pt x="168" y="49"/>
                  <a:pt x="168" y="49"/>
                  <a:pt x="168" y="49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1"/>
                  <a:pt x="144" y="0"/>
                  <a:pt x="143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24" y="1"/>
                  <a:pt x="24" y="2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50"/>
                  <a:pt x="0" y="50"/>
                  <a:pt x="0" y="50"/>
                </a:cubicBezTo>
                <a:cubicBezTo>
                  <a:pt x="0" y="163"/>
                  <a:pt x="0" y="163"/>
                  <a:pt x="0" y="163"/>
                </a:cubicBezTo>
                <a:cubicBezTo>
                  <a:pt x="0" y="164"/>
                  <a:pt x="1" y="165"/>
                  <a:pt x="2" y="165"/>
                </a:cubicBezTo>
                <a:cubicBezTo>
                  <a:pt x="166" y="165"/>
                  <a:pt x="166" y="165"/>
                  <a:pt x="166" y="165"/>
                </a:cubicBezTo>
                <a:cubicBezTo>
                  <a:pt x="168" y="165"/>
                  <a:pt x="169" y="164"/>
                  <a:pt x="169" y="163"/>
                </a:cubicBezTo>
                <a:cubicBezTo>
                  <a:pt x="169" y="50"/>
                  <a:pt x="169" y="50"/>
                  <a:pt x="169" y="50"/>
                </a:cubicBezTo>
                <a:cubicBezTo>
                  <a:pt x="169" y="50"/>
                  <a:pt x="169" y="50"/>
                  <a:pt x="168" y="49"/>
                </a:cubicBezTo>
                <a:close/>
                <a:moveTo>
                  <a:pt x="27" y="5"/>
                </a:moveTo>
                <a:cubicBezTo>
                  <a:pt x="141" y="5"/>
                  <a:pt x="141" y="5"/>
                  <a:pt x="141" y="5"/>
                </a:cubicBezTo>
                <a:cubicBezTo>
                  <a:pt x="163" y="48"/>
                  <a:pt x="163" y="48"/>
                  <a:pt x="163" y="48"/>
                </a:cubicBezTo>
                <a:cubicBezTo>
                  <a:pt x="6" y="48"/>
                  <a:pt x="6" y="48"/>
                  <a:pt x="6" y="48"/>
                </a:cubicBezTo>
                <a:lnTo>
                  <a:pt x="27" y="5"/>
                </a:lnTo>
                <a:close/>
                <a:moveTo>
                  <a:pt x="164" y="160"/>
                </a:moveTo>
                <a:cubicBezTo>
                  <a:pt x="5" y="160"/>
                  <a:pt x="5" y="160"/>
                  <a:pt x="5" y="160"/>
                </a:cubicBezTo>
                <a:cubicBezTo>
                  <a:pt x="5" y="127"/>
                  <a:pt x="5" y="127"/>
                  <a:pt x="5" y="127"/>
                </a:cubicBezTo>
                <a:cubicBezTo>
                  <a:pt x="164" y="127"/>
                  <a:pt x="164" y="127"/>
                  <a:pt x="164" y="127"/>
                </a:cubicBezTo>
                <a:lnTo>
                  <a:pt x="164" y="160"/>
                </a:lnTo>
                <a:close/>
                <a:moveTo>
                  <a:pt x="164" y="123"/>
                </a:moveTo>
                <a:cubicBezTo>
                  <a:pt x="5" y="123"/>
                  <a:pt x="5" y="123"/>
                  <a:pt x="5" y="123"/>
                </a:cubicBezTo>
                <a:cubicBezTo>
                  <a:pt x="5" y="90"/>
                  <a:pt x="5" y="90"/>
                  <a:pt x="5" y="90"/>
                </a:cubicBezTo>
                <a:cubicBezTo>
                  <a:pt x="164" y="90"/>
                  <a:pt x="164" y="90"/>
                  <a:pt x="164" y="90"/>
                </a:cubicBezTo>
                <a:lnTo>
                  <a:pt x="164" y="123"/>
                </a:lnTo>
                <a:close/>
                <a:moveTo>
                  <a:pt x="164" y="85"/>
                </a:moveTo>
                <a:cubicBezTo>
                  <a:pt x="5" y="85"/>
                  <a:pt x="5" y="85"/>
                  <a:pt x="5" y="85"/>
                </a:cubicBezTo>
                <a:cubicBezTo>
                  <a:pt x="5" y="53"/>
                  <a:pt x="5" y="53"/>
                  <a:pt x="5" y="53"/>
                </a:cubicBezTo>
                <a:cubicBezTo>
                  <a:pt x="164" y="53"/>
                  <a:pt x="164" y="53"/>
                  <a:pt x="164" y="53"/>
                </a:cubicBezTo>
                <a:lnTo>
                  <a:pt x="164" y="85"/>
                </a:lnTo>
                <a:close/>
                <a:moveTo>
                  <a:pt x="122" y="79"/>
                </a:moveTo>
                <a:cubicBezTo>
                  <a:pt x="127" y="79"/>
                  <a:pt x="131" y="74"/>
                  <a:pt x="131" y="69"/>
                </a:cubicBezTo>
                <a:cubicBezTo>
                  <a:pt x="131" y="64"/>
                  <a:pt x="127" y="59"/>
                  <a:pt x="122" y="59"/>
                </a:cubicBezTo>
                <a:cubicBezTo>
                  <a:pt x="116" y="59"/>
                  <a:pt x="112" y="64"/>
                  <a:pt x="112" y="69"/>
                </a:cubicBezTo>
                <a:cubicBezTo>
                  <a:pt x="112" y="74"/>
                  <a:pt x="116" y="79"/>
                  <a:pt x="122" y="79"/>
                </a:cubicBezTo>
                <a:close/>
                <a:moveTo>
                  <a:pt x="122" y="64"/>
                </a:moveTo>
                <a:cubicBezTo>
                  <a:pt x="125" y="64"/>
                  <a:pt x="127" y="66"/>
                  <a:pt x="127" y="69"/>
                </a:cubicBezTo>
                <a:cubicBezTo>
                  <a:pt x="127" y="72"/>
                  <a:pt x="125" y="74"/>
                  <a:pt x="122" y="74"/>
                </a:cubicBezTo>
                <a:cubicBezTo>
                  <a:pt x="119" y="74"/>
                  <a:pt x="117" y="72"/>
                  <a:pt x="117" y="69"/>
                </a:cubicBezTo>
                <a:cubicBezTo>
                  <a:pt x="117" y="66"/>
                  <a:pt x="119" y="64"/>
                  <a:pt x="122" y="64"/>
                </a:cubicBezTo>
                <a:close/>
                <a:moveTo>
                  <a:pt x="144" y="79"/>
                </a:moveTo>
                <a:cubicBezTo>
                  <a:pt x="149" y="79"/>
                  <a:pt x="153" y="74"/>
                  <a:pt x="153" y="69"/>
                </a:cubicBezTo>
                <a:cubicBezTo>
                  <a:pt x="153" y="64"/>
                  <a:pt x="149" y="59"/>
                  <a:pt x="144" y="59"/>
                </a:cubicBezTo>
                <a:cubicBezTo>
                  <a:pt x="138" y="59"/>
                  <a:pt x="134" y="64"/>
                  <a:pt x="134" y="69"/>
                </a:cubicBezTo>
                <a:cubicBezTo>
                  <a:pt x="134" y="74"/>
                  <a:pt x="138" y="79"/>
                  <a:pt x="144" y="79"/>
                </a:cubicBezTo>
                <a:close/>
                <a:moveTo>
                  <a:pt x="144" y="64"/>
                </a:moveTo>
                <a:cubicBezTo>
                  <a:pt x="146" y="64"/>
                  <a:pt x="149" y="66"/>
                  <a:pt x="149" y="69"/>
                </a:cubicBezTo>
                <a:cubicBezTo>
                  <a:pt x="149" y="72"/>
                  <a:pt x="146" y="74"/>
                  <a:pt x="144" y="74"/>
                </a:cubicBezTo>
                <a:cubicBezTo>
                  <a:pt x="141" y="74"/>
                  <a:pt x="139" y="72"/>
                  <a:pt x="139" y="69"/>
                </a:cubicBezTo>
                <a:cubicBezTo>
                  <a:pt x="139" y="66"/>
                  <a:pt x="141" y="64"/>
                  <a:pt x="144" y="64"/>
                </a:cubicBezTo>
                <a:close/>
                <a:moveTo>
                  <a:pt x="122" y="116"/>
                </a:moveTo>
                <a:cubicBezTo>
                  <a:pt x="127" y="116"/>
                  <a:pt x="131" y="112"/>
                  <a:pt x="131" y="106"/>
                </a:cubicBezTo>
                <a:cubicBezTo>
                  <a:pt x="131" y="101"/>
                  <a:pt x="127" y="97"/>
                  <a:pt x="122" y="97"/>
                </a:cubicBezTo>
                <a:cubicBezTo>
                  <a:pt x="116" y="97"/>
                  <a:pt x="112" y="101"/>
                  <a:pt x="112" y="106"/>
                </a:cubicBezTo>
                <a:cubicBezTo>
                  <a:pt x="112" y="112"/>
                  <a:pt x="116" y="116"/>
                  <a:pt x="122" y="116"/>
                </a:cubicBezTo>
                <a:close/>
                <a:moveTo>
                  <a:pt x="122" y="101"/>
                </a:moveTo>
                <a:cubicBezTo>
                  <a:pt x="125" y="101"/>
                  <a:pt x="127" y="104"/>
                  <a:pt x="127" y="106"/>
                </a:cubicBezTo>
                <a:cubicBezTo>
                  <a:pt x="127" y="109"/>
                  <a:pt x="125" y="111"/>
                  <a:pt x="122" y="111"/>
                </a:cubicBezTo>
                <a:cubicBezTo>
                  <a:pt x="119" y="111"/>
                  <a:pt x="117" y="109"/>
                  <a:pt x="117" y="106"/>
                </a:cubicBezTo>
                <a:cubicBezTo>
                  <a:pt x="117" y="104"/>
                  <a:pt x="119" y="101"/>
                  <a:pt x="122" y="101"/>
                </a:cubicBezTo>
                <a:close/>
                <a:moveTo>
                  <a:pt x="122" y="154"/>
                </a:moveTo>
                <a:cubicBezTo>
                  <a:pt x="127" y="154"/>
                  <a:pt x="131" y="149"/>
                  <a:pt x="131" y="144"/>
                </a:cubicBezTo>
                <a:cubicBezTo>
                  <a:pt x="131" y="139"/>
                  <a:pt x="127" y="134"/>
                  <a:pt x="122" y="134"/>
                </a:cubicBezTo>
                <a:cubicBezTo>
                  <a:pt x="116" y="134"/>
                  <a:pt x="112" y="139"/>
                  <a:pt x="112" y="144"/>
                </a:cubicBezTo>
                <a:cubicBezTo>
                  <a:pt x="112" y="149"/>
                  <a:pt x="116" y="154"/>
                  <a:pt x="122" y="154"/>
                </a:cubicBezTo>
                <a:close/>
                <a:moveTo>
                  <a:pt x="122" y="139"/>
                </a:moveTo>
                <a:cubicBezTo>
                  <a:pt x="125" y="139"/>
                  <a:pt x="127" y="141"/>
                  <a:pt x="127" y="144"/>
                </a:cubicBezTo>
                <a:cubicBezTo>
                  <a:pt x="127" y="147"/>
                  <a:pt x="125" y="149"/>
                  <a:pt x="122" y="149"/>
                </a:cubicBezTo>
                <a:cubicBezTo>
                  <a:pt x="119" y="149"/>
                  <a:pt x="117" y="147"/>
                  <a:pt x="117" y="144"/>
                </a:cubicBezTo>
                <a:cubicBezTo>
                  <a:pt x="117" y="141"/>
                  <a:pt x="119" y="139"/>
                  <a:pt x="122" y="139"/>
                </a:cubicBezTo>
                <a:close/>
                <a:moveTo>
                  <a:pt x="144" y="116"/>
                </a:moveTo>
                <a:cubicBezTo>
                  <a:pt x="149" y="116"/>
                  <a:pt x="153" y="112"/>
                  <a:pt x="153" y="106"/>
                </a:cubicBezTo>
                <a:cubicBezTo>
                  <a:pt x="153" y="101"/>
                  <a:pt x="149" y="97"/>
                  <a:pt x="144" y="97"/>
                </a:cubicBezTo>
                <a:cubicBezTo>
                  <a:pt x="138" y="97"/>
                  <a:pt x="134" y="101"/>
                  <a:pt x="134" y="106"/>
                </a:cubicBezTo>
                <a:cubicBezTo>
                  <a:pt x="134" y="112"/>
                  <a:pt x="138" y="116"/>
                  <a:pt x="144" y="116"/>
                </a:cubicBezTo>
                <a:close/>
                <a:moveTo>
                  <a:pt x="144" y="101"/>
                </a:moveTo>
                <a:cubicBezTo>
                  <a:pt x="146" y="101"/>
                  <a:pt x="149" y="104"/>
                  <a:pt x="149" y="106"/>
                </a:cubicBezTo>
                <a:cubicBezTo>
                  <a:pt x="149" y="109"/>
                  <a:pt x="146" y="111"/>
                  <a:pt x="144" y="111"/>
                </a:cubicBezTo>
                <a:cubicBezTo>
                  <a:pt x="141" y="111"/>
                  <a:pt x="139" y="109"/>
                  <a:pt x="139" y="106"/>
                </a:cubicBezTo>
                <a:cubicBezTo>
                  <a:pt x="139" y="104"/>
                  <a:pt x="141" y="101"/>
                  <a:pt x="144" y="10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3" name="Freeform 14"/>
          <p:cNvSpPr>
            <a:spLocks noEditPoints="1"/>
          </p:cNvSpPr>
          <p:nvPr/>
        </p:nvSpPr>
        <p:spPr bwMode="auto">
          <a:xfrm>
            <a:off x="6469465" y="3785610"/>
            <a:ext cx="360871" cy="360871"/>
          </a:xfrm>
          <a:custGeom>
            <a:avLst/>
            <a:gdLst>
              <a:gd name="T0" fmla="*/ 34 w 192"/>
              <a:gd name="T1" fmla="*/ 158 h 192"/>
              <a:gd name="T2" fmla="*/ 20 w 192"/>
              <a:gd name="T3" fmla="*/ 130 h 192"/>
              <a:gd name="T4" fmla="*/ 30 w 192"/>
              <a:gd name="T5" fmla="*/ 162 h 192"/>
              <a:gd name="T6" fmla="*/ 60 w 192"/>
              <a:gd name="T7" fmla="*/ 174 h 192"/>
              <a:gd name="T8" fmla="*/ 60 w 192"/>
              <a:gd name="T9" fmla="*/ 170 h 192"/>
              <a:gd name="T10" fmla="*/ 25 w 192"/>
              <a:gd name="T11" fmla="*/ 167 h 192"/>
              <a:gd name="T12" fmla="*/ 7 w 192"/>
              <a:gd name="T13" fmla="*/ 130 h 192"/>
              <a:gd name="T14" fmla="*/ 5 w 192"/>
              <a:gd name="T15" fmla="*/ 132 h 192"/>
              <a:gd name="T16" fmla="*/ 60 w 192"/>
              <a:gd name="T17" fmla="*/ 187 h 192"/>
              <a:gd name="T18" fmla="*/ 62 w 192"/>
              <a:gd name="T19" fmla="*/ 184 h 192"/>
              <a:gd name="T20" fmla="*/ 191 w 192"/>
              <a:gd name="T21" fmla="*/ 163 h 192"/>
              <a:gd name="T22" fmla="*/ 144 w 192"/>
              <a:gd name="T23" fmla="*/ 119 h 192"/>
              <a:gd name="T24" fmla="*/ 123 w 192"/>
              <a:gd name="T25" fmla="*/ 119 h 192"/>
              <a:gd name="T26" fmla="*/ 145 w 192"/>
              <a:gd name="T27" fmla="*/ 47 h 192"/>
              <a:gd name="T28" fmla="*/ 94 w 192"/>
              <a:gd name="T29" fmla="*/ 47 h 192"/>
              <a:gd name="T30" fmla="*/ 62 w 192"/>
              <a:gd name="T31" fmla="*/ 59 h 192"/>
              <a:gd name="T32" fmla="*/ 73 w 192"/>
              <a:gd name="T33" fmla="*/ 45 h 192"/>
              <a:gd name="T34" fmla="*/ 25 w 192"/>
              <a:gd name="T35" fmla="*/ 0 h 192"/>
              <a:gd name="T36" fmla="*/ 0 w 192"/>
              <a:gd name="T37" fmla="*/ 29 h 192"/>
              <a:gd name="T38" fmla="*/ 47 w 192"/>
              <a:gd name="T39" fmla="*/ 74 h 192"/>
              <a:gd name="T40" fmla="*/ 59 w 192"/>
              <a:gd name="T41" fmla="*/ 62 h 192"/>
              <a:gd name="T42" fmla="*/ 52 w 192"/>
              <a:gd name="T43" fmla="*/ 90 h 192"/>
              <a:gd name="T44" fmla="*/ 63 w 192"/>
              <a:gd name="T45" fmla="*/ 104 h 192"/>
              <a:gd name="T46" fmla="*/ 28 w 192"/>
              <a:gd name="T47" fmla="*/ 113 h 192"/>
              <a:gd name="T48" fmla="*/ 75 w 192"/>
              <a:gd name="T49" fmla="*/ 164 h 192"/>
              <a:gd name="T50" fmla="*/ 78 w 192"/>
              <a:gd name="T51" fmla="*/ 164 h 192"/>
              <a:gd name="T52" fmla="*/ 88 w 192"/>
              <a:gd name="T53" fmla="*/ 129 h 192"/>
              <a:gd name="T54" fmla="*/ 100 w 192"/>
              <a:gd name="T55" fmla="*/ 141 h 192"/>
              <a:gd name="T56" fmla="*/ 120 w 192"/>
              <a:gd name="T57" fmla="*/ 123 h 192"/>
              <a:gd name="T58" fmla="*/ 119 w 192"/>
              <a:gd name="T59" fmla="*/ 144 h 192"/>
              <a:gd name="T60" fmla="*/ 119 w 192"/>
              <a:gd name="T61" fmla="*/ 147 h 192"/>
              <a:gd name="T62" fmla="*/ 165 w 192"/>
              <a:gd name="T63" fmla="*/ 192 h 192"/>
              <a:gd name="T64" fmla="*/ 191 w 192"/>
              <a:gd name="T65" fmla="*/ 166 h 192"/>
              <a:gd name="T66" fmla="*/ 191 w 192"/>
              <a:gd name="T67" fmla="*/ 163 h 192"/>
              <a:gd name="T68" fmla="*/ 57 w 192"/>
              <a:gd name="T69" fmla="*/ 57 h 192"/>
              <a:gd name="T70" fmla="*/ 47 w 192"/>
              <a:gd name="T71" fmla="*/ 68 h 192"/>
              <a:gd name="T72" fmla="*/ 27 w 192"/>
              <a:gd name="T73" fmla="*/ 5 h 192"/>
              <a:gd name="T74" fmla="*/ 57 w 192"/>
              <a:gd name="T75" fmla="*/ 57 h 192"/>
              <a:gd name="T76" fmla="*/ 33 w 192"/>
              <a:gd name="T77" fmla="*/ 115 h 192"/>
              <a:gd name="T78" fmla="*/ 75 w 192"/>
              <a:gd name="T79" fmla="*/ 117 h 192"/>
              <a:gd name="T80" fmla="*/ 77 w 192"/>
              <a:gd name="T81" fmla="*/ 159 h 192"/>
              <a:gd name="T82" fmla="*/ 118 w 192"/>
              <a:gd name="T83" fmla="*/ 118 h 192"/>
              <a:gd name="T84" fmla="*/ 100 w 192"/>
              <a:gd name="T85" fmla="*/ 135 h 192"/>
              <a:gd name="T86" fmla="*/ 98 w 192"/>
              <a:gd name="T87" fmla="*/ 50 h 192"/>
              <a:gd name="T88" fmla="*/ 142 w 192"/>
              <a:gd name="T89" fmla="*/ 50 h 192"/>
              <a:gd name="T90" fmla="*/ 118 w 192"/>
              <a:gd name="T91" fmla="*/ 118 h 192"/>
              <a:gd name="T92" fmla="*/ 124 w 192"/>
              <a:gd name="T93" fmla="*/ 145 h 192"/>
              <a:gd name="T94" fmla="*/ 186 w 192"/>
              <a:gd name="T95" fmla="*/ 165 h 192"/>
              <a:gd name="T96" fmla="*/ 60 w 192"/>
              <a:gd name="T97" fmla="*/ 157 h 192"/>
              <a:gd name="T98" fmla="*/ 35 w 192"/>
              <a:gd name="T99" fmla="*/ 132 h 192"/>
              <a:gd name="T100" fmla="*/ 32 w 192"/>
              <a:gd name="T101" fmla="*/ 129 h 192"/>
              <a:gd name="T102" fmla="*/ 39 w 192"/>
              <a:gd name="T103" fmla="*/ 153 h 192"/>
              <a:gd name="T104" fmla="*/ 60 w 192"/>
              <a:gd name="T105" fmla="*/ 162 h 192"/>
              <a:gd name="T106" fmla="*/ 60 w 192"/>
              <a:gd name="T107" fmla="*/ 157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92" h="192">
                <a:moveTo>
                  <a:pt x="60" y="170"/>
                </a:moveTo>
                <a:cubicBezTo>
                  <a:pt x="50" y="169"/>
                  <a:pt x="41" y="165"/>
                  <a:pt x="34" y="158"/>
                </a:cubicBezTo>
                <a:cubicBezTo>
                  <a:pt x="26" y="151"/>
                  <a:pt x="22" y="142"/>
                  <a:pt x="22" y="132"/>
                </a:cubicBezTo>
                <a:cubicBezTo>
                  <a:pt x="22" y="131"/>
                  <a:pt x="21" y="129"/>
                  <a:pt x="20" y="130"/>
                </a:cubicBezTo>
                <a:cubicBezTo>
                  <a:pt x="19" y="130"/>
                  <a:pt x="18" y="131"/>
                  <a:pt x="18" y="132"/>
                </a:cubicBezTo>
                <a:cubicBezTo>
                  <a:pt x="18" y="143"/>
                  <a:pt x="22" y="154"/>
                  <a:pt x="30" y="162"/>
                </a:cubicBezTo>
                <a:cubicBezTo>
                  <a:pt x="38" y="169"/>
                  <a:pt x="49" y="174"/>
                  <a:pt x="60" y="174"/>
                </a:cubicBezTo>
                <a:cubicBezTo>
                  <a:pt x="60" y="174"/>
                  <a:pt x="60" y="174"/>
                  <a:pt x="60" y="174"/>
                </a:cubicBezTo>
                <a:cubicBezTo>
                  <a:pt x="61" y="174"/>
                  <a:pt x="62" y="173"/>
                  <a:pt x="62" y="172"/>
                </a:cubicBezTo>
                <a:cubicBezTo>
                  <a:pt x="62" y="171"/>
                  <a:pt x="61" y="170"/>
                  <a:pt x="60" y="170"/>
                </a:cubicBezTo>
                <a:close/>
                <a:moveTo>
                  <a:pt x="60" y="182"/>
                </a:moveTo>
                <a:cubicBezTo>
                  <a:pt x="46" y="182"/>
                  <a:pt x="34" y="176"/>
                  <a:pt x="25" y="167"/>
                </a:cubicBezTo>
                <a:cubicBezTo>
                  <a:pt x="15" y="158"/>
                  <a:pt x="10" y="145"/>
                  <a:pt x="10" y="132"/>
                </a:cubicBezTo>
                <a:cubicBezTo>
                  <a:pt x="10" y="131"/>
                  <a:pt x="9" y="130"/>
                  <a:pt x="7" y="130"/>
                </a:cubicBezTo>
                <a:cubicBezTo>
                  <a:pt x="7" y="130"/>
                  <a:pt x="7" y="130"/>
                  <a:pt x="7" y="130"/>
                </a:cubicBezTo>
                <a:cubicBezTo>
                  <a:pt x="6" y="130"/>
                  <a:pt x="5" y="131"/>
                  <a:pt x="5" y="132"/>
                </a:cubicBezTo>
                <a:cubicBezTo>
                  <a:pt x="5" y="147"/>
                  <a:pt x="11" y="160"/>
                  <a:pt x="21" y="170"/>
                </a:cubicBezTo>
                <a:cubicBezTo>
                  <a:pt x="32" y="181"/>
                  <a:pt x="45" y="186"/>
                  <a:pt x="60" y="187"/>
                </a:cubicBezTo>
                <a:cubicBezTo>
                  <a:pt x="60" y="187"/>
                  <a:pt x="60" y="187"/>
                  <a:pt x="60" y="187"/>
                </a:cubicBezTo>
                <a:cubicBezTo>
                  <a:pt x="61" y="187"/>
                  <a:pt x="62" y="186"/>
                  <a:pt x="62" y="184"/>
                </a:cubicBezTo>
                <a:cubicBezTo>
                  <a:pt x="62" y="183"/>
                  <a:pt x="61" y="182"/>
                  <a:pt x="60" y="182"/>
                </a:cubicBezTo>
                <a:close/>
                <a:moveTo>
                  <a:pt x="191" y="163"/>
                </a:moveTo>
                <a:cubicBezTo>
                  <a:pt x="147" y="119"/>
                  <a:pt x="147" y="119"/>
                  <a:pt x="147" y="119"/>
                </a:cubicBezTo>
                <a:cubicBezTo>
                  <a:pt x="146" y="118"/>
                  <a:pt x="145" y="118"/>
                  <a:pt x="144" y="119"/>
                </a:cubicBezTo>
                <a:cubicBezTo>
                  <a:pt x="133" y="129"/>
                  <a:pt x="133" y="129"/>
                  <a:pt x="133" y="129"/>
                </a:cubicBezTo>
                <a:cubicBezTo>
                  <a:pt x="123" y="119"/>
                  <a:pt x="123" y="119"/>
                  <a:pt x="123" y="119"/>
                </a:cubicBezTo>
                <a:cubicBezTo>
                  <a:pt x="145" y="98"/>
                  <a:pt x="145" y="98"/>
                  <a:pt x="145" y="98"/>
                </a:cubicBezTo>
                <a:cubicBezTo>
                  <a:pt x="159" y="84"/>
                  <a:pt x="159" y="61"/>
                  <a:pt x="145" y="47"/>
                </a:cubicBezTo>
                <a:cubicBezTo>
                  <a:pt x="138" y="40"/>
                  <a:pt x="129" y="36"/>
                  <a:pt x="120" y="36"/>
                </a:cubicBezTo>
                <a:cubicBezTo>
                  <a:pt x="110" y="36"/>
                  <a:pt x="101" y="40"/>
                  <a:pt x="94" y="47"/>
                </a:cubicBezTo>
                <a:cubicBezTo>
                  <a:pt x="72" y="69"/>
                  <a:pt x="72" y="69"/>
                  <a:pt x="72" y="69"/>
                </a:cubicBezTo>
                <a:cubicBezTo>
                  <a:pt x="62" y="59"/>
                  <a:pt x="62" y="59"/>
                  <a:pt x="62" y="59"/>
                </a:cubicBezTo>
                <a:cubicBezTo>
                  <a:pt x="73" y="48"/>
                  <a:pt x="73" y="48"/>
                  <a:pt x="73" y="48"/>
                </a:cubicBezTo>
                <a:cubicBezTo>
                  <a:pt x="74" y="47"/>
                  <a:pt x="74" y="46"/>
                  <a:pt x="73" y="45"/>
                </a:cubicBezTo>
                <a:cubicBezTo>
                  <a:pt x="29" y="0"/>
                  <a:pt x="29" y="0"/>
                  <a:pt x="29" y="0"/>
                </a:cubicBezTo>
                <a:cubicBezTo>
                  <a:pt x="28" y="0"/>
                  <a:pt x="26" y="0"/>
                  <a:pt x="25" y="0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6"/>
                  <a:pt x="0" y="28"/>
                  <a:pt x="0" y="29"/>
                </a:cubicBezTo>
                <a:cubicBezTo>
                  <a:pt x="45" y="73"/>
                  <a:pt x="45" y="73"/>
                  <a:pt x="45" y="73"/>
                </a:cubicBezTo>
                <a:cubicBezTo>
                  <a:pt x="45" y="74"/>
                  <a:pt x="46" y="74"/>
                  <a:pt x="47" y="74"/>
                </a:cubicBezTo>
                <a:cubicBezTo>
                  <a:pt x="47" y="74"/>
                  <a:pt x="48" y="74"/>
                  <a:pt x="48" y="73"/>
                </a:cubicBezTo>
                <a:cubicBezTo>
                  <a:pt x="59" y="62"/>
                  <a:pt x="59" y="62"/>
                  <a:pt x="59" y="62"/>
                </a:cubicBezTo>
                <a:cubicBezTo>
                  <a:pt x="69" y="72"/>
                  <a:pt x="69" y="72"/>
                  <a:pt x="69" y="72"/>
                </a:cubicBezTo>
                <a:cubicBezTo>
                  <a:pt x="52" y="90"/>
                  <a:pt x="52" y="90"/>
                  <a:pt x="52" y="90"/>
                </a:cubicBezTo>
                <a:cubicBezTo>
                  <a:pt x="51" y="91"/>
                  <a:pt x="51" y="92"/>
                  <a:pt x="52" y="93"/>
                </a:cubicBezTo>
                <a:cubicBezTo>
                  <a:pt x="63" y="104"/>
                  <a:pt x="63" y="104"/>
                  <a:pt x="63" y="104"/>
                </a:cubicBezTo>
                <a:cubicBezTo>
                  <a:pt x="60" y="103"/>
                  <a:pt x="56" y="103"/>
                  <a:pt x="53" y="103"/>
                </a:cubicBezTo>
                <a:cubicBezTo>
                  <a:pt x="44" y="103"/>
                  <a:pt x="35" y="107"/>
                  <a:pt x="28" y="113"/>
                </a:cubicBezTo>
                <a:cubicBezTo>
                  <a:pt x="27" y="114"/>
                  <a:pt x="27" y="116"/>
                  <a:pt x="28" y="117"/>
                </a:cubicBezTo>
                <a:cubicBezTo>
                  <a:pt x="75" y="164"/>
                  <a:pt x="75" y="164"/>
                  <a:pt x="75" y="164"/>
                </a:cubicBezTo>
                <a:cubicBezTo>
                  <a:pt x="76" y="164"/>
                  <a:pt x="76" y="165"/>
                  <a:pt x="77" y="165"/>
                </a:cubicBezTo>
                <a:cubicBezTo>
                  <a:pt x="77" y="165"/>
                  <a:pt x="78" y="164"/>
                  <a:pt x="78" y="164"/>
                </a:cubicBezTo>
                <a:cubicBezTo>
                  <a:pt x="85" y="157"/>
                  <a:pt x="89" y="148"/>
                  <a:pt x="89" y="139"/>
                </a:cubicBezTo>
                <a:cubicBezTo>
                  <a:pt x="89" y="135"/>
                  <a:pt x="89" y="132"/>
                  <a:pt x="88" y="129"/>
                </a:cubicBezTo>
                <a:cubicBezTo>
                  <a:pt x="99" y="140"/>
                  <a:pt x="99" y="140"/>
                  <a:pt x="99" y="140"/>
                </a:cubicBezTo>
                <a:cubicBezTo>
                  <a:pt x="99" y="141"/>
                  <a:pt x="100" y="141"/>
                  <a:pt x="100" y="141"/>
                </a:cubicBezTo>
                <a:cubicBezTo>
                  <a:pt x="101" y="141"/>
                  <a:pt x="102" y="141"/>
                  <a:pt x="102" y="140"/>
                </a:cubicBezTo>
                <a:cubicBezTo>
                  <a:pt x="120" y="123"/>
                  <a:pt x="120" y="123"/>
                  <a:pt x="120" y="123"/>
                </a:cubicBezTo>
                <a:cubicBezTo>
                  <a:pt x="129" y="133"/>
                  <a:pt x="129" y="133"/>
                  <a:pt x="129" y="133"/>
                </a:cubicBezTo>
                <a:cubicBezTo>
                  <a:pt x="119" y="144"/>
                  <a:pt x="119" y="144"/>
                  <a:pt x="119" y="144"/>
                </a:cubicBezTo>
                <a:cubicBezTo>
                  <a:pt x="118" y="144"/>
                  <a:pt x="118" y="145"/>
                  <a:pt x="118" y="145"/>
                </a:cubicBezTo>
                <a:cubicBezTo>
                  <a:pt x="118" y="146"/>
                  <a:pt x="118" y="146"/>
                  <a:pt x="119" y="147"/>
                </a:cubicBezTo>
                <a:cubicBezTo>
                  <a:pt x="163" y="191"/>
                  <a:pt x="163" y="191"/>
                  <a:pt x="163" y="191"/>
                </a:cubicBezTo>
                <a:cubicBezTo>
                  <a:pt x="164" y="192"/>
                  <a:pt x="164" y="192"/>
                  <a:pt x="165" y="192"/>
                </a:cubicBezTo>
                <a:cubicBezTo>
                  <a:pt x="165" y="192"/>
                  <a:pt x="166" y="192"/>
                  <a:pt x="166" y="191"/>
                </a:cubicBezTo>
                <a:cubicBezTo>
                  <a:pt x="191" y="166"/>
                  <a:pt x="191" y="166"/>
                  <a:pt x="191" y="166"/>
                </a:cubicBezTo>
                <a:cubicBezTo>
                  <a:pt x="192" y="166"/>
                  <a:pt x="192" y="165"/>
                  <a:pt x="192" y="165"/>
                </a:cubicBezTo>
                <a:cubicBezTo>
                  <a:pt x="192" y="164"/>
                  <a:pt x="192" y="163"/>
                  <a:pt x="191" y="163"/>
                </a:cubicBezTo>
                <a:close/>
                <a:moveTo>
                  <a:pt x="57" y="57"/>
                </a:moveTo>
                <a:cubicBezTo>
                  <a:pt x="57" y="57"/>
                  <a:pt x="57" y="57"/>
                  <a:pt x="57" y="57"/>
                </a:cubicBezTo>
                <a:cubicBezTo>
                  <a:pt x="57" y="57"/>
                  <a:pt x="57" y="57"/>
                  <a:pt x="57" y="57"/>
                </a:cubicBezTo>
                <a:cubicBezTo>
                  <a:pt x="47" y="68"/>
                  <a:pt x="47" y="68"/>
                  <a:pt x="47" y="68"/>
                </a:cubicBezTo>
                <a:cubicBezTo>
                  <a:pt x="5" y="27"/>
                  <a:pt x="5" y="27"/>
                  <a:pt x="5" y="27"/>
                </a:cubicBezTo>
                <a:cubicBezTo>
                  <a:pt x="27" y="5"/>
                  <a:pt x="27" y="5"/>
                  <a:pt x="27" y="5"/>
                </a:cubicBezTo>
                <a:cubicBezTo>
                  <a:pt x="68" y="47"/>
                  <a:pt x="68" y="47"/>
                  <a:pt x="68" y="47"/>
                </a:cubicBezTo>
                <a:lnTo>
                  <a:pt x="57" y="57"/>
                </a:lnTo>
                <a:close/>
                <a:moveTo>
                  <a:pt x="77" y="159"/>
                </a:moveTo>
                <a:cubicBezTo>
                  <a:pt x="33" y="115"/>
                  <a:pt x="33" y="115"/>
                  <a:pt x="33" y="115"/>
                </a:cubicBezTo>
                <a:cubicBezTo>
                  <a:pt x="39" y="110"/>
                  <a:pt x="46" y="108"/>
                  <a:pt x="53" y="108"/>
                </a:cubicBezTo>
                <a:cubicBezTo>
                  <a:pt x="62" y="108"/>
                  <a:pt x="69" y="111"/>
                  <a:pt x="75" y="117"/>
                </a:cubicBezTo>
                <a:cubicBezTo>
                  <a:pt x="81" y="122"/>
                  <a:pt x="84" y="130"/>
                  <a:pt x="84" y="139"/>
                </a:cubicBezTo>
                <a:cubicBezTo>
                  <a:pt x="84" y="146"/>
                  <a:pt x="82" y="153"/>
                  <a:pt x="77" y="159"/>
                </a:cubicBezTo>
                <a:close/>
                <a:moveTo>
                  <a:pt x="118" y="118"/>
                </a:moveTo>
                <a:cubicBezTo>
                  <a:pt x="118" y="118"/>
                  <a:pt x="118" y="118"/>
                  <a:pt x="118" y="118"/>
                </a:cubicBezTo>
                <a:cubicBezTo>
                  <a:pt x="118" y="118"/>
                  <a:pt x="118" y="118"/>
                  <a:pt x="118" y="118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56" y="91"/>
                  <a:pt x="56" y="91"/>
                  <a:pt x="56" y="91"/>
                </a:cubicBezTo>
                <a:cubicBezTo>
                  <a:pt x="98" y="50"/>
                  <a:pt x="98" y="50"/>
                  <a:pt x="98" y="50"/>
                </a:cubicBezTo>
                <a:cubicBezTo>
                  <a:pt x="103" y="44"/>
                  <a:pt x="111" y="41"/>
                  <a:pt x="120" y="41"/>
                </a:cubicBezTo>
                <a:cubicBezTo>
                  <a:pt x="128" y="41"/>
                  <a:pt x="136" y="44"/>
                  <a:pt x="142" y="50"/>
                </a:cubicBezTo>
                <a:cubicBezTo>
                  <a:pt x="154" y="62"/>
                  <a:pt x="154" y="82"/>
                  <a:pt x="142" y="94"/>
                </a:cubicBezTo>
                <a:lnTo>
                  <a:pt x="118" y="118"/>
                </a:lnTo>
                <a:close/>
                <a:moveTo>
                  <a:pt x="165" y="186"/>
                </a:moveTo>
                <a:cubicBezTo>
                  <a:pt x="124" y="145"/>
                  <a:pt x="124" y="145"/>
                  <a:pt x="124" y="145"/>
                </a:cubicBezTo>
                <a:cubicBezTo>
                  <a:pt x="145" y="123"/>
                  <a:pt x="145" y="123"/>
                  <a:pt x="145" y="123"/>
                </a:cubicBezTo>
                <a:cubicBezTo>
                  <a:pt x="186" y="165"/>
                  <a:pt x="186" y="165"/>
                  <a:pt x="186" y="165"/>
                </a:cubicBezTo>
                <a:lnTo>
                  <a:pt x="165" y="186"/>
                </a:lnTo>
                <a:close/>
                <a:moveTo>
                  <a:pt x="60" y="157"/>
                </a:moveTo>
                <a:cubicBezTo>
                  <a:pt x="53" y="157"/>
                  <a:pt x="47" y="154"/>
                  <a:pt x="42" y="149"/>
                </a:cubicBezTo>
                <a:cubicBezTo>
                  <a:pt x="38" y="145"/>
                  <a:pt x="35" y="138"/>
                  <a:pt x="35" y="132"/>
                </a:cubicBezTo>
                <a:cubicBezTo>
                  <a:pt x="35" y="130"/>
                  <a:pt x="34" y="129"/>
                  <a:pt x="32" y="129"/>
                </a:cubicBezTo>
                <a:cubicBezTo>
                  <a:pt x="32" y="129"/>
                  <a:pt x="32" y="129"/>
                  <a:pt x="32" y="129"/>
                </a:cubicBezTo>
                <a:cubicBezTo>
                  <a:pt x="31" y="129"/>
                  <a:pt x="30" y="130"/>
                  <a:pt x="30" y="132"/>
                </a:cubicBezTo>
                <a:cubicBezTo>
                  <a:pt x="30" y="140"/>
                  <a:pt x="33" y="147"/>
                  <a:pt x="39" y="153"/>
                </a:cubicBezTo>
                <a:cubicBezTo>
                  <a:pt x="45" y="158"/>
                  <a:pt x="52" y="162"/>
                  <a:pt x="60" y="162"/>
                </a:cubicBezTo>
                <a:cubicBezTo>
                  <a:pt x="60" y="162"/>
                  <a:pt x="60" y="162"/>
                  <a:pt x="60" y="162"/>
                </a:cubicBezTo>
                <a:cubicBezTo>
                  <a:pt x="61" y="162"/>
                  <a:pt x="62" y="161"/>
                  <a:pt x="63" y="160"/>
                </a:cubicBezTo>
                <a:cubicBezTo>
                  <a:pt x="63" y="158"/>
                  <a:pt x="62" y="157"/>
                  <a:pt x="60" y="15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4" name="Freeform 15"/>
          <p:cNvSpPr>
            <a:spLocks noEditPoints="1"/>
          </p:cNvSpPr>
          <p:nvPr/>
        </p:nvSpPr>
        <p:spPr bwMode="auto">
          <a:xfrm>
            <a:off x="3158064" y="1329426"/>
            <a:ext cx="2795714" cy="2800464"/>
          </a:xfrm>
          <a:custGeom>
            <a:avLst/>
            <a:gdLst>
              <a:gd name="T0" fmla="*/ 757 w 841"/>
              <a:gd name="T1" fmla="*/ 615 h 842"/>
              <a:gd name="T2" fmla="*/ 612 w 841"/>
              <a:gd name="T3" fmla="*/ 274 h 842"/>
              <a:gd name="T4" fmla="*/ 421 w 841"/>
              <a:gd name="T5" fmla="*/ 0 h 842"/>
              <a:gd name="T6" fmla="*/ 783 w 841"/>
              <a:gd name="T7" fmla="*/ 283 h 842"/>
              <a:gd name="T8" fmla="*/ 704 w 841"/>
              <a:gd name="T9" fmla="*/ 230 h 842"/>
              <a:gd name="T10" fmla="*/ 674 w 841"/>
              <a:gd name="T11" fmla="*/ 243 h 842"/>
              <a:gd name="T12" fmla="*/ 599 w 841"/>
              <a:gd name="T13" fmla="*/ 178 h 842"/>
              <a:gd name="T14" fmla="*/ 654 w 841"/>
              <a:gd name="T15" fmla="*/ 139 h 842"/>
              <a:gd name="T16" fmla="*/ 201 w 841"/>
              <a:gd name="T17" fmla="*/ 737 h 842"/>
              <a:gd name="T18" fmla="*/ 20 w 841"/>
              <a:gd name="T19" fmla="*/ 352 h 842"/>
              <a:gd name="T20" fmla="*/ 80 w 841"/>
              <a:gd name="T21" fmla="*/ 403 h 842"/>
              <a:gd name="T22" fmla="*/ 156 w 841"/>
              <a:gd name="T23" fmla="*/ 463 h 842"/>
              <a:gd name="T24" fmla="*/ 201 w 841"/>
              <a:gd name="T25" fmla="*/ 616 h 842"/>
              <a:gd name="T26" fmla="*/ 252 w 841"/>
              <a:gd name="T27" fmla="*/ 783 h 842"/>
              <a:gd name="T28" fmla="*/ 249 w 841"/>
              <a:gd name="T29" fmla="*/ 732 h 842"/>
              <a:gd name="T30" fmla="*/ 309 w 841"/>
              <a:gd name="T31" fmla="*/ 678 h 842"/>
              <a:gd name="T32" fmla="*/ 377 w 841"/>
              <a:gd name="T33" fmla="*/ 539 h 842"/>
              <a:gd name="T34" fmla="*/ 303 w 841"/>
              <a:gd name="T35" fmla="*/ 501 h 842"/>
              <a:gd name="T36" fmla="*/ 221 w 841"/>
              <a:gd name="T37" fmla="*/ 440 h 842"/>
              <a:gd name="T38" fmla="*/ 156 w 841"/>
              <a:gd name="T39" fmla="*/ 448 h 842"/>
              <a:gd name="T40" fmla="*/ 101 w 841"/>
              <a:gd name="T41" fmla="*/ 371 h 842"/>
              <a:gd name="T42" fmla="*/ 103 w 841"/>
              <a:gd name="T43" fmla="*/ 321 h 842"/>
              <a:gd name="T44" fmla="*/ 166 w 841"/>
              <a:gd name="T45" fmla="*/ 268 h 842"/>
              <a:gd name="T46" fmla="*/ 229 w 841"/>
              <a:gd name="T47" fmla="*/ 228 h 842"/>
              <a:gd name="T48" fmla="*/ 201 w 841"/>
              <a:gd name="T49" fmla="*/ 207 h 842"/>
              <a:gd name="T50" fmla="*/ 259 w 841"/>
              <a:gd name="T51" fmla="*/ 206 h 842"/>
              <a:gd name="T52" fmla="*/ 266 w 841"/>
              <a:gd name="T53" fmla="*/ 166 h 842"/>
              <a:gd name="T54" fmla="*/ 169 w 841"/>
              <a:gd name="T55" fmla="*/ 137 h 842"/>
              <a:gd name="T56" fmla="*/ 147 w 841"/>
              <a:gd name="T57" fmla="*/ 178 h 842"/>
              <a:gd name="T58" fmla="*/ 158 w 841"/>
              <a:gd name="T59" fmla="*/ 120 h 842"/>
              <a:gd name="T60" fmla="*/ 194 w 841"/>
              <a:gd name="T61" fmla="*/ 98 h 842"/>
              <a:gd name="T62" fmla="*/ 223 w 841"/>
              <a:gd name="T63" fmla="*/ 127 h 842"/>
              <a:gd name="T64" fmla="*/ 225 w 841"/>
              <a:gd name="T65" fmla="*/ 94 h 842"/>
              <a:gd name="T66" fmla="*/ 274 w 841"/>
              <a:gd name="T67" fmla="*/ 66 h 842"/>
              <a:gd name="T68" fmla="*/ 293 w 841"/>
              <a:gd name="T69" fmla="*/ 112 h 842"/>
              <a:gd name="T70" fmla="*/ 370 w 841"/>
              <a:gd name="T71" fmla="*/ 103 h 842"/>
              <a:gd name="T72" fmla="*/ 442 w 841"/>
              <a:gd name="T73" fmla="*/ 66 h 842"/>
              <a:gd name="T74" fmla="*/ 403 w 841"/>
              <a:gd name="T75" fmla="*/ 12 h 842"/>
              <a:gd name="T76" fmla="*/ 572 w 841"/>
              <a:gd name="T77" fmla="*/ 113 h 842"/>
              <a:gd name="T78" fmla="*/ 574 w 841"/>
              <a:gd name="T79" fmla="*/ 166 h 842"/>
              <a:gd name="T80" fmla="*/ 489 w 841"/>
              <a:gd name="T81" fmla="*/ 227 h 842"/>
              <a:gd name="T82" fmla="*/ 552 w 841"/>
              <a:gd name="T83" fmla="*/ 241 h 842"/>
              <a:gd name="T84" fmla="*/ 608 w 841"/>
              <a:gd name="T85" fmla="*/ 233 h 842"/>
              <a:gd name="T86" fmla="*/ 668 w 841"/>
              <a:gd name="T87" fmla="*/ 269 h 842"/>
              <a:gd name="T88" fmla="*/ 681 w 841"/>
              <a:gd name="T89" fmla="*/ 307 h 842"/>
              <a:gd name="T90" fmla="*/ 534 w 841"/>
              <a:gd name="T91" fmla="*/ 275 h 842"/>
              <a:gd name="T92" fmla="*/ 451 w 841"/>
              <a:gd name="T93" fmla="*/ 436 h 842"/>
              <a:gd name="T94" fmla="*/ 590 w 841"/>
              <a:gd name="T95" fmla="*/ 489 h 842"/>
              <a:gd name="T96" fmla="*/ 615 w 841"/>
              <a:gd name="T97" fmla="*/ 682 h 842"/>
              <a:gd name="T98" fmla="*/ 718 w 841"/>
              <a:gd name="T99" fmla="*/ 596 h 842"/>
              <a:gd name="T100" fmla="*/ 747 w 841"/>
              <a:gd name="T101" fmla="*/ 439 h 842"/>
              <a:gd name="T102" fmla="*/ 738 w 841"/>
              <a:gd name="T103" fmla="*/ 389 h 842"/>
              <a:gd name="T104" fmla="*/ 778 w 841"/>
              <a:gd name="T105" fmla="*/ 360 h 842"/>
              <a:gd name="T106" fmla="*/ 832 w 841"/>
              <a:gd name="T107" fmla="*/ 421 h 842"/>
              <a:gd name="T108" fmla="*/ 119 w 841"/>
              <a:gd name="T109" fmla="*/ 222 h 842"/>
              <a:gd name="T110" fmla="*/ 149 w 841"/>
              <a:gd name="T111" fmla="*/ 238 h 842"/>
              <a:gd name="T112" fmla="*/ 696 w 841"/>
              <a:gd name="T113" fmla="*/ 516 h 842"/>
              <a:gd name="T114" fmla="*/ 279 w 841"/>
              <a:gd name="T115" fmla="*/ 93 h 842"/>
              <a:gd name="T116" fmla="*/ 534 w 841"/>
              <a:gd name="T117" fmla="*/ 169 h 842"/>
              <a:gd name="T118" fmla="*/ 485 w 841"/>
              <a:gd name="T119" fmla="*/ 105 h 842"/>
              <a:gd name="T120" fmla="*/ 184 w 841"/>
              <a:gd name="T121" fmla="*/ 379 h 842"/>
              <a:gd name="T122" fmla="*/ 157 w 841"/>
              <a:gd name="T123" fmla="*/ 392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41" h="842">
                <a:moveTo>
                  <a:pt x="554" y="253"/>
                </a:moveTo>
                <a:cubicBezTo>
                  <a:pt x="554" y="251"/>
                  <a:pt x="552" y="247"/>
                  <a:pt x="549" y="252"/>
                </a:cubicBezTo>
                <a:cubicBezTo>
                  <a:pt x="548" y="254"/>
                  <a:pt x="553" y="255"/>
                  <a:pt x="554" y="253"/>
                </a:cubicBezTo>
                <a:close/>
                <a:moveTo>
                  <a:pt x="763" y="566"/>
                </a:moveTo>
                <a:cubicBezTo>
                  <a:pt x="759" y="565"/>
                  <a:pt x="758" y="573"/>
                  <a:pt x="755" y="578"/>
                </a:cubicBezTo>
                <a:cubicBezTo>
                  <a:pt x="751" y="584"/>
                  <a:pt x="747" y="589"/>
                  <a:pt x="746" y="588"/>
                </a:cubicBezTo>
                <a:cubicBezTo>
                  <a:pt x="745" y="588"/>
                  <a:pt x="737" y="593"/>
                  <a:pt x="739" y="600"/>
                </a:cubicBezTo>
                <a:cubicBezTo>
                  <a:pt x="740" y="606"/>
                  <a:pt x="740" y="613"/>
                  <a:pt x="737" y="617"/>
                </a:cubicBezTo>
                <a:cubicBezTo>
                  <a:pt x="734" y="621"/>
                  <a:pt x="738" y="629"/>
                  <a:pt x="737" y="634"/>
                </a:cubicBezTo>
                <a:cubicBezTo>
                  <a:pt x="735" y="639"/>
                  <a:pt x="737" y="642"/>
                  <a:pt x="742" y="642"/>
                </a:cubicBezTo>
                <a:cubicBezTo>
                  <a:pt x="746" y="641"/>
                  <a:pt x="748" y="638"/>
                  <a:pt x="751" y="632"/>
                </a:cubicBezTo>
                <a:cubicBezTo>
                  <a:pt x="754" y="626"/>
                  <a:pt x="754" y="620"/>
                  <a:pt x="757" y="615"/>
                </a:cubicBezTo>
                <a:cubicBezTo>
                  <a:pt x="759" y="609"/>
                  <a:pt x="762" y="598"/>
                  <a:pt x="763" y="595"/>
                </a:cubicBezTo>
                <a:cubicBezTo>
                  <a:pt x="764" y="592"/>
                  <a:pt x="766" y="583"/>
                  <a:pt x="766" y="578"/>
                </a:cubicBezTo>
                <a:cubicBezTo>
                  <a:pt x="766" y="573"/>
                  <a:pt x="765" y="567"/>
                  <a:pt x="763" y="566"/>
                </a:cubicBezTo>
                <a:close/>
                <a:moveTo>
                  <a:pt x="143" y="130"/>
                </a:moveTo>
                <a:cubicBezTo>
                  <a:pt x="142" y="131"/>
                  <a:pt x="148" y="133"/>
                  <a:pt x="149" y="131"/>
                </a:cubicBezTo>
                <a:cubicBezTo>
                  <a:pt x="150" y="129"/>
                  <a:pt x="146" y="126"/>
                  <a:pt x="143" y="130"/>
                </a:cubicBezTo>
                <a:close/>
                <a:moveTo>
                  <a:pt x="586" y="254"/>
                </a:moveTo>
                <a:cubicBezTo>
                  <a:pt x="589" y="250"/>
                  <a:pt x="584" y="245"/>
                  <a:pt x="582" y="245"/>
                </a:cubicBezTo>
                <a:cubicBezTo>
                  <a:pt x="578" y="245"/>
                  <a:pt x="576" y="253"/>
                  <a:pt x="579" y="255"/>
                </a:cubicBezTo>
                <a:cubicBezTo>
                  <a:pt x="582" y="258"/>
                  <a:pt x="584" y="258"/>
                  <a:pt x="586" y="254"/>
                </a:cubicBezTo>
                <a:close/>
                <a:moveTo>
                  <a:pt x="606" y="269"/>
                </a:moveTo>
                <a:cubicBezTo>
                  <a:pt x="609" y="270"/>
                  <a:pt x="610" y="273"/>
                  <a:pt x="612" y="274"/>
                </a:cubicBezTo>
                <a:cubicBezTo>
                  <a:pt x="614" y="274"/>
                  <a:pt x="619" y="274"/>
                  <a:pt x="617" y="269"/>
                </a:cubicBezTo>
                <a:cubicBezTo>
                  <a:pt x="615" y="264"/>
                  <a:pt x="612" y="263"/>
                  <a:pt x="610" y="263"/>
                </a:cubicBezTo>
                <a:cubicBezTo>
                  <a:pt x="609" y="263"/>
                  <a:pt x="604" y="261"/>
                  <a:pt x="601" y="263"/>
                </a:cubicBezTo>
                <a:cubicBezTo>
                  <a:pt x="600" y="264"/>
                  <a:pt x="604" y="268"/>
                  <a:pt x="606" y="269"/>
                </a:cubicBezTo>
                <a:close/>
                <a:moveTo>
                  <a:pt x="158" y="131"/>
                </a:moveTo>
                <a:cubicBezTo>
                  <a:pt x="154" y="133"/>
                  <a:pt x="157" y="136"/>
                  <a:pt x="160" y="134"/>
                </a:cubicBezTo>
                <a:cubicBezTo>
                  <a:pt x="163" y="133"/>
                  <a:pt x="162" y="130"/>
                  <a:pt x="158" y="131"/>
                </a:cubicBezTo>
                <a:close/>
                <a:moveTo>
                  <a:pt x="421" y="0"/>
                </a:moveTo>
                <a:cubicBezTo>
                  <a:pt x="189" y="0"/>
                  <a:pt x="0" y="189"/>
                  <a:pt x="0" y="421"/>
                </a:cubicBezTo>
                <a:cubicBezTo>
                  <a:pt x="0" y="653"/>
                  <a:pt x="189" y="842"/>
                  <a:pt x="421" y="842"/>
                </a:cubicBezTo>
                <a:cubicBezTo>
                  <a:pt x="653" y="842"/>
                  <a:pt x="841" y="653"/>
                  <a:pt x="841" y="421"/>
                </a:cubicBezTo>
                <a:cubicBezTo>
                  <a:pt x="841" y="189"/>
                  <a:pt x="653" y="0"/>
                  <a:pt x="421" y="0"/>
                </a:cubicBezTo>
                <a:close/>
                <a:moveTo>
                  <a:pt x="755" y="227"/>
                </a:moveTo>
                <a:cubicBezTo>
                  <a:pt x="757" y="225"/>
                  <a:pt x="762" y="230"/>
                  <a:pt x="764" y="228"/>
                </a:cubicBezTo>
                <a:cubicBezTo>
                  <a:pt x="767" y="226"/>
                  <a:pt x="769" y="223"/>
                  <a:pt x="770" y="223"/>
                </a:cubicBezTo>
                <a:cubicBezTo>
                  <a:pt x="771" y="222"/>
                  <a:pt x="777" y="225"/>
                  <a:pt x="778" y="228"/>
                </a:cubicBezTo>
                <a:cubicBezTo>
                  <a:pt x="779" y="231"/>
                  <a:pt x="783" y="236"/>
                  <a:pt x="782" y="237"/>
                </a:cubicBezTo>
                <a:cubicBezTo>
                  <a:pt x="781" y="238"/>
                  <a:pt x="776" y="239"/>
                  <a:pt x="774" y="236"/>
                </a:cubicBezTo>
                <a:cubicBezTo>
                  <a:pt x="772" y="233"/>
                  <a:pt x="767" y="235"/>
                  <a:pt x="767" y="241"/>
                </a:cubicBezTo>
                <a:cubicBezTo>
                  <a:pt x="767" y="246"/>
                  <a:pt x="769" y="242"/>
                  <a:pt x="771" y="244"/>
                </a:cubicBezTo>
                <a:cubicBezTo>
                  <a:pt x="773" y="247"/>
                  <a:pt x="773" y="249"/>
                  <a:pt x="775" y="252"/>
                </a:cubicBezTo>
                <a:cubicBezTo>
                  <a:pt x="776" y="255"/>
                  <a:pt x="778" y="255"/>
                  <a:pt x="780" y="257"/>
                </a:cubicBezTo>
                <a:cubicBezTo>
                  <a:pt x="781" y="260"/>
                  <a:pt x="776" y="262"/>
                  <a:pt x="778" y="265"/>
                </a:cubicBezTo>
                <a:cubicBezTo>
                  <a:pt x="781" y="268"/>
                  <a:pt x="782" y="280"/>
                  <a:pt x="783" y="283"/>
                </a:cubicBezTo>
                <a:cubicBezTo>
                  <a:pt x="783" y="286"/>
                  <a:pt x="776" y="287"/>
                  <a:pt x="774" y="286"/>
                </a:cubicBezTo>
                <a:cubicBezTo>
                  <a:pt x="772" y="285"/>
                  <a:pt x="766" y="281"/>
                  <a:pt x="763" y="280"/>
                </a:cubicBezTo>
                <a:cubicBezTo>
                  <a:pt x="761" y="279"/>
                  <a:pt x="759" y="266"/>
                  <a:pt x="762" y="267"/>
                </a:cubicBezTo>
                <a:cubicBezTo>
                  <a:pt x="765" y="268"/>
                  <a:pt x="766" y="267"/>
                  <a:pt x="768" y="263"/>
                </a:cubicBezTo>
                <a:cubicBezTo>
                  <a:pt x="771" y="259"/>
                  <a:pt x="764" y="256"/>
                  <a:pt x="761" y="255"/>
                </a:cubicBezTo>
                <a:cubicBezTo>
                  <a:pt x="759" y="253"/>
                  <a:pt x="754" y="242"/>
                  <a:pt x="752" y="239"/>
                </a:cubicBezTo>
                <a:cubicBezTo>
                  <a:pt x="750" y="235"/>
                  <a:pt x="751" y="230"/>
                  <a:pt x="755" y="227"/>
                </a:cubicBezTo>
                <a:close/>
                <a:moveTo>
                  <a:pt x="677" y="234"/>
                </a:moveTo>
                <a:cubicBezTo>
                  <a:pt x="679" y="232"/>
                  <a:pt x="681" y="228"/>
                  <a:pt x="683" y="223"/>
                </a:cubicBezTo>
                <a:cubicBezTo>
                  <a:pt x="685" y="218"/>
                  <a:pt x="688" y="218"/>
                  <a:pt x="690" y="219"/>
                </a:cubicBezTo>
                <a:cubicBezTo>
                  <a:pt x="692" y="219"/>
                  <a:pt x="697" y="229"/>
                  <a:pt x="698" y="232"/>
                </a:cubicBezTo>
                <a:cubicBezTo>
                  <a:pt x="699" y="235"/>
                  <a:pt x="703" y="231"/>
                  <a:pt x="704" y="230"/>
                </a:cubicBezTo>
                <a:cubicBezTo>
                  <a:pt x="706" y="229"/>
                  <a:pt x="708" y="227"/>
                  <a:pt x="708" y="224"/>
                </a:cubicBezTo>
                <a:cubicBezTo>
                  <a:pt x="708" y="222"/>
                  <a:pt x="711" y="221"/>
                  <a:pt x="715" y="221"/>
                </a:cubicBezTo>
                <a:cubicBezTo>
                  <a:pt x="718" y="221"/>
                  <a:pt x="715" y="225"/>
                  <a:pt x="713" y="226"/>
                </a:cubicBezTo>
                <a:cubicBezTo>
                  <a:pt x="711" y="226"/>
                  <a:pt x="712" y="229"/>
                  <a:pt x="717" y="231"/>
                </a:cubicBezTo>
                <a:cubicBezTo>
                  <a:pt x="721" y="233"/>
                  <a:pt x="725" y="239"/>
                  <a:pt x="730" y="243"/>
                </a:cubicBezTo>
                <a:cubicBezTo>
                  <a:pt x="735" y="247"/>
                  <a:pt x="736" y="254"/>
                  <a:pt x="733" y="254"/>
                </a:cubicBezTo>
                <a:cubicBezTo>
                  <a:pt x="730" y="255"/>
                  <a:pt x="722" y="255"/>
                  <a:pt x="719" y="255"/>
                </a:cubicBezTo>
                <a:cubicBezTo>
                  <a:pt x="716" y="254"/>
                  <a:pt x="711" y="249"/>
                  <a:pt x="706" y="248"/>
                </a:cubicBezTo>
                <a:cubicBezTo>
                  <a:pt x="702" y="246"/>
                  <a:pt x="696" y="246"/>
                  <a:pt x="694" y="249"/>
                </a:cubicBezTo>
                <a:cubicBezTo>
                  <a:pt x="692" y="253"/>
                  <a:pt x="685" y="251"/>
                  <a:pt x="682" y="251"/>
                </a:cubicBezTo>
                <a:cubicBezTo>
                  <a:pt x="679" y="250"/>
                  <a:pt x="676" y="255"/>
                  <a:pt x="675" y="253"/>
                </a:cubicBezTo>
                <a:cubicBezTo>
                  <a:pt x="675" y="253"/>
                  <a:pt x="677" y="244"/>
                  <a:pt x="674" y="243"/>
                </a:cubicBezTo>
                <a:cubicBezTo>
                  <a:pt x="672" y="242"/>
                  <a:pt x="675" y="236"/>
                  <a:pt x="677" y="234"/>
                </a:cubicBezTo>
                <a:close/>
                <a:moveTo>
                  <a:pt x="671" y="148"/>
                </a:moveTo>
                <a:cubicBezTo>
                  <a:pt x="668" y="148"/>
                  <a:pt x="664" y="148"/>
                  <a:pt x="657" y="147"/>
                </a:cubicBezTo>
                <a:cubicBezTo>
                  <a:pt x="651" y="147"/>
                  <a:pt x="643" y="147"/>
                  <a:pt x="643" y="148"/>
                </a:cubicBezTo>
                <a:cubicBezTo>
                  <a:pt x="644" y="149"/>
                  <a:pt x="653" y="153"/>
                  <a:pt x="650" y="155"/>
                </a:cubicBezTo>
                <a:cubicBezTo>
                  <a:pt x="647" y="157"/>
                  <a:pt x="644" y="154"/>
                  <a:pt x="640" y="154"/>
                </a:cubicBezTo>
                <a:cubicBezTo>
                  <a:pt x="636" y="153"/>
                  <a:pt x="634" y="159"/>
                  <a:pt x="633" y="163"/>
                </a:cubicBezTo>
                <a:cubicBezTo>
                  <a:pt x="632" y="166"/>
                  <a:pt x="636" y="173"/>
                  <a:pt x="630" y="170"/>
                </a:cubicBezTo>
                <a:cubicBezTo>
                  <a:pt x="623" y="168"/>
                  <a:pt x="619" y="167"/>
                  <a:pt x="617" y="168"/>
                </a:cubicBezTo>
                <a:cubicBezTo>
                  <a:pt x="616" y="169"/>
                  <a:pt x="613" y="172"/>
                  <a:pt x="609" y="173"/>
                </a:cubicBezTo>
                <a:cubicBezTo>
                  <a:pt x="605" y="174"/>
                  <a:pt x="605" y="178"/>
                  <a:pt x="600" y="178"/>
                </a:cubicBezTo>
                <a:cubicBezTo>
                  <a:pt x="599" y="178"/>
                  <a:pt x="599" y="178"/>
                  <a:pt x="599" y="178"/>
                </a:cubicBezTo>
                <a:cubicBezTo>
                  <a:pt x="603" y="162"/>
                  <a:pt x="613" y="167"/>
                  <a:pt x="613" y="167"/>
                </a:cubicBezTo>
                <a:cubicBezTo>
                  <a:pt x="613" y="167"/>
                  <a:pt x="618" y="161"/>
                  <a:pt x="616" y="158"/>
                </a:cubicBezTo>
                <a:cubicBezTo>
                  <a:pt x="615" y="154"/>
                  <a:pt x="621" y="147"/>
                  <a:pt x="622" y="146"/>
                </a:cubicBezTo>
                <a:cubicBezTo>
                  <a:pt x="623" y="145"/>
                  <a:pt x="627" y="139"/>
                  <a:pt x="621" y="137"/>
                </a:cubicBezTo>
                <a:cubicBezTo>
                  <a:pt x="616" y="134"/>
                  <a:pt x="611" y="133"/>
                  <a:pt x="616" y="128"/>
                </a:cubicBezTo>
                <a:cubicBezTo>
                  <a:pt x="622" y="123"/>
                  <a:pt x="626" y="129"/>
                  <a:pt x="632" y="121"/>
                </a:cubicBezTo>
                <a:cubicBezTo>
                  <a:pt x="638" y="114"/>
                  <a:pt x="629" y="111"/>
                  <a:pt x="637" y="111"/>
                </a:cubicBezTo>
                <a:cubicBezTo>
                  <a:pt x="644" y="111"/>
                  <a:pt x="652" y="112"/>
                  <a:pt x="651" y="114"/>
                </a:cubicBezTo>
                <a:cubicBezTo>
                  <a:pt x="649" y="117"/>
                  <a:pt x="641" y="121"/>
                  <a:pt x="636" y="124"/>
                </a:cubicBezTo>
                <a:cubicBezTo>
                  <a:pt x="631" y="126"/>
                  <a:pt x="633" y="131"/>
                  <a:pt x="635" y="134"/>
                </a:cubicBezTo>
                <a:cubicBezTo>
                  <a:pt x="637" y="136"/>
                  <a:pt x="639" y="143"/>
                  <a:pt x="642" y="142"/>
                </a:cubicBezTo>
                <a:cubicBezTo>
                  <a:pt x="646" y="142"/>
                  <a:pt x="650" y="139"/>
                  <a:pt x="654" y="139"/>
                </a:cubicBezTo>
                <a:cubicBezTo>
                  <a:pt x="658" y="140"/>
                  <a:pt x="666" y="140"/>
                  <a:pt x="667" y="140"/>
                </a:cubicBezTo>
                <a:cubicBezTo>
                  <a:pt x="668" y="140"/>
                  <a:pt x="674" y="147"/>
                  <a:pt x="671" y="148"/>
                </a:cubicBezTo>
                <a:close/>
                <a:moveTo>
                  <a:pt x="205" y="669"/>
                </a:moveTo>
                <a:cubicBezTo>
                  <a:pt x="203" y="671"/>
                  <a:pt x="199" y="671"/>
                  <a:pt x="201" y="674"/>
                </a:cubicBezTo>
                <a:cubicBezTo>
                  <a:pt x="204" y="677"/>
                  <a:pt x="199" y="678"/>
                  <a:pt x="199" y="679"/>
                </a:cubicBezTo>
                <a:cubicBezTo>
                  <a:pt x="199" y="681"/>
                  <a:pt x="203" y="688"/>
                  <a:pt x="202" y="691"/>
                </a:cubicBezTo>
                <a:cubicBezTo>
                  <a:pt x="201" y="693"/>
                  <a:pt x="200" y="697"/>
                  <a:pt x="199" y="700"/>
                </a:cubicBezTo>
                <a:cubicBezTo>
                  <a:pt x="199" y="702"/>
                  <a:pt x="196" y="705"/>
                  <a:pt x="197" y="708"/>
                </a:cubicBezTo>
                <a:cubicBezTo>
                  <a:pt x="199" y="712"/>
                  <a:pt x="195" y="710"/>
                  <a:pt x="195" y="714"/>
                </a:cubicBezTo>
                <a:cubicBezTo>
                  <a:pt x="196" y="717"/>
                  <a:pt x="199" y="716"/>
                  <a:pt x="199" y="720"/>
                </a:cubicBezTo>
                <a:cubicBezTo>
                  <a:pt x="199" y="725"/>
                  <a:pt x="197" y="726"/>
                  <a:pt x="198" y="729"/>
                </a:cubicBezTo>
                <a:cubicBezTo>
                  <a:pt x="198" y="732"/>
                  <a:pt x="201" y="736"/>
                  <a:pt x="201" y="737"/>
                </a:cubicBezTo>
                <a:cubicBezTo>
                  <a:pt x="201" y="738"/>
                  <a:pt x="200" y="742"/>
                  <a:pt x="198" y="744"/>
                </a:cubicBezTo>
                <a:cubicBezTo>
                  <a:pt x="196" y="747"/>
                  <a:pt x="194" y="749"/>
                  <a:pt x="195" y="751"/>
                </a:cubicBezTo>
                <a:cubicBezTo>
                  <a:pt x="196" y="752"/>
                  <a:pt x="199" y="754"/>
                  <a:pt x="199" y="755"/>
                </a:cubicBezTo>
                <a:cubicBezTo>
                  <a:pt x="198" y="756"/>
                  <a:pt x="196" y="760"/>
                  <a:pt x="197" y="762"/>
                </a:cubicBezTo>
                <a:cubicBezTo>
                  <a:pt x="197" y="764"/>
                  <a:pt x="201" y="764"/>
                  <a:pt x="202" y="765"/>
                </a:cubicBezTo>
                <a:cubicBezTo>
                  <a:pt x="203" y="766"/>
                  <a:pt x="201" y="767"/>
                  <a:pt x="200" y="768"/>
                </a:cubicBezTo>
                <a:cubicBezTo>
                  <a:pt x="86" y="695"/>
                  <a:pt x="9" y="567"/>
                  <a:pt x="9" y="421"/>
                </a:cubicBezTo>
                <a:cubicBezTo>
                  <a:pt x="9" y="398"/>
                  <a:pt x="11" y="376"/>
                  <a:pt x="15" y="354"/>
                </a:cubicBezTo>
                <a:cubicBezTo>
                  <a:pt x="15" y="354"/>
                  <a:pt x="15" y="354"/>
                  <a:pt x="15" y="354"/>
                </a:cubicBezTo>
                <a:cubicBezTo>
                  <a:pt x="15" y="357"/>
                  <a:pt x="17" y="358"/>
                  <a:pt x="18" y="359"/>
                </a:cubicBezTo>
                <a:cubicBezTo>
                  <a:pt x="20" y="359"/>
                  <a:pt x="22" y="368"/>
                  <a:pt x="25" y="364"/>
                </a:cubicBezTo>
                <a:cubicBezTo>
                  <a:pt x="27" y="360"/>
                  <a:pt x="21" y="354"/>
                  <a:pt x="20" y="352"/>
                </a:cubicBezTo>
                <a:cubicBezTo>
                  <a:pt x="18" y="350"/>
                  <a:pt x="19" y="345"/>
                  <a:pt x="17" y="341"/>
                </a:cubicBezTo>
                <a:cubicBezTo>
                  <a:pt x="18" y="339"/>
                  <a:pt x="18" y="337"/>
                  <a:pt x="18" y="335"/>
                </a:cubicBezTo>
                <a:cubicBezTo>
                  <a:pt x="20" y="337"/>
                  <a:pt x="21" y="338"/>
                  <a:pt x="21" y="340"/>
                </a:cubicBezTo>
                <a:cubicBezTo>
                  <a:pt x="24" y="343"/>
                  <a:pt x="28" y="357"/>
                  <a:pt x="30" y="357"/>
                </a:cubicBezTo>
                <a:cubicBezTo>
                  <a:pt x="31" y="357"/>
                  <a:pt x="36" y="364"/>
                  <a:pt x="36" y="364"/>
                </a:cubicBezTo>
                <a:cubicBezTo>
                  <a:pt x="36" y="364"/>
                  <a:pt x="38" y="371"/>
                  <a:pt x="37" y="373"/>
                </a:cubicBezTo>
                <a:cubicBezTo>
                  <a:pt x="36" y="375"/>
                  <a:pt x="38" y="382"/>
                  <a:pt x="40" y="384"/>
                </a:cubicBezTo>
                <a:cubicBezTo>
                  <a:pt x="43" y="386"/>
                  <a:pt x="52" y="386"/>
                  <a:pt x="53" y="393"/>
                </a:cubicBezTo>
                <a:cubicBezTo>
                  <a:pt x="53" y="395"/>
                  <a:pt x="55" y="405"/>
                  <a:pt x="58" y="405"/>
                </a:cubicBezTo>
                <a:cubicBezTo>
                  <a:pt x="62" y="405"/>
                  <a:pt x="67" y="402"/>
                  <a:pt x="68" y="404"/>
                </a:cubicBezTo>
                <a:cubicBezTo>
                  <a:pt x="69" y="405"/>
                  <a:pt x="72" y="412"/>
                  <a:pt x="74" y="408"/>
                </a:cubicBezTo>
                <a:cubicBezTo>
                  <a:pt x="76" y="404"/>
                  <a:pt x="77" y="403"/>
                  <a:pt x="80" y="403"/>
                </a:cubicBezTo>
                <a:cubicBezTo>
                  <a:pt x="83" y="403"/>
                  <a:pt x="84" y="407"/>
                  <a:pt x="86" y="409"/>
                </a:cubicBezTo>
                <a:cubicBezTo>
                  <a:pt x="88" y="412"/>
                  <a:pt x="93" y="418"/>
                  <a:pt x="96" y="418"/>
                </a:cubicBezTo>
                <a:cubicBezTo>
                  <a:pt x="98" y="418"/>
                  <a:pt x="102" y="422"/>
                  <a:pt x="104" y="421"/>
                </a:cubicBezTo>
                <a:cubicBezTo>
                  <a:pt x="105" y="419"/>
                  <a:pt x="108" y="422"/>
                  <a:pt x="110" y="423"/>
                </a:cubicBezTo>
                <a:cubicBezTo>
                  <a:pt x="112" y="424"/>
                  <a:pt x="115" y="428"/>
                  <a:pt x="114" y="434"/>
                </a:cubicBezTo>
                <a:cubicBezTo>
                  <a:pt x="114" y="440"/>
                  <a:pt x="120" y="442"/>
                  <a:pt x="122" y="444"/>
                </a:cubicBezTo>
                <a:cubicBezTo>
                  <a:pt x="124" y="445"/>
                  <a:pt x="128" y="449"/>
                  <a:pt x="130" y="452"/>
                </a:cubicBezTo>
                <a:cubicBezTo>
                  <a:pt x="132" y="454"/>
                  <a:pt x="136" y="455"/>
                  <a:pt x="137" y="457"/>
                </a:cubicBezTo>
                <a:cubicBezTo>
                  <a:pt x="139" y="458"/>
                  <a:pt x="139" y="461"/>
                  <a:pt x="143" y="459"/>
                </a:cubicBezTo>
                <a:cubicBezTo>
                  <a:pt x="146" y="456"/>
                  <a:pt x="146" y="451"/>
                  <a:pt x="146" y="451"/>
                </a:cubicBezTo>
                <a:cubicBezTo>
                  <a:pt x="146" y="451"/>
                  <a:pt x="150" y="451"/>
                  <a:pt x="152" y="453"/>
                </a:cubicBezTo>
                <a:cubicBezTo>
                  <a:pt x="154" y="455"/>
                  <a:pt x="155" y="462"/>
                  <a:pt x="156" y="463"/>
                </a:cubicBezTo>
                <a:cubicBezTo>
                  <a:pt x="158" y="464"/>
                  <a:pt x="160" y="472"/>
                  <a:pt x="159" y="478"/>
                </a:cubicBezTo>
                <a:cubicBezTo>
                  <a:pt x="157" y="483"/>
                  <a:pt x="158" y="489"/>
                  <a:pt x="156" y="489"/>
                </a:cubicBezTo>
                <a:cubicBezTo>
                  <a:pt x="155" y="489"/>
                  <a:pt x="150" y="494"/>
                  <a:pt x="148" y="496"/>
                </a:cubicBezTo>
                <a:cubicBezTo>
                  <a:pt x="146" y="497"/>
                  <a:pt x="142" y="506"/>
                  <a:pt x="143" y="508"/>
                </a:cubicBezTo>
                <a:cubicBezTo>
                  <a:pt x="143" y="511"/>
                  <a:pt x="145" y="519"/>
                  <a:pt x="144" y="523"/>
                </a:cubicBezTo>
                <a:cubicBezTo>
                  <a:pt x="144" y="526"/>
                  <a:pt x="141" y="530"/>
                  <a:pt x="142" y="535"/>
                </a:cubicBezTo>
                <a:cubicBezTo>
                  <a:pt x="144" y="541"/>
                  <a:pt x="152" y="543"/>
                  <a:pt x="153" y="548"/>
                </a:cubicBezTo>
                <a:cubicBezTo>
                  <a:pt x="154" y="553"/>
                  <a:pt x="160" y="565"/>
                  <a:pt x="161" y="570"/>
                </a:cubicBezTo>
                <a:cubicBezTo>
                  <a:pt x="163" y="575"/>
                  <a:pt x="167" y="581"/>
                  <a:pt x="168" y="588"/>
                </a:cubicBezTo>
                <a:cubicBezTo>
                  <a:pt x="168" y="595"/>
                  <a:pt x="181" y="600"/>
                  <a:pt x="183" y="600"/>
                </a:cubicBezTo>
                <a:cubicBezTo>
                  <a:pt x="185" y="601"/>
                  <a:pt x="189" y="605"/>
                  <a:pt x="192" y="607"/>
                </a:cubicBezTo>
                <a:cubicBezTo>
                  <a:pt x="195" y="609"/>
                  <a:pt x="198" y="612"/>
                  <a:pt x="201" y="616"/>
                </a:cubicBezTo>
                <a:cubicBezTo>
                  <a:pt x="203" y="620"/>
                  <a:pt x="203" y="625"/>
                  <a:pt x="203" y="627"/>
                </a:cubicBezTo>
                <a:cubicBezTo>
                  <a:pt x="203" y="628"/>
                  <a:pt x="203" y="643"/>
                  <a:pt x="203" y="651"/>
                </a:cubicBezTo>
                <a:cubicBezTo>
                  <a:pt x="203" y="659"/>
                  <a:pt x="208" y="667"/>
                  <a:pt x="205" y="669"/>
                </a:cubicBezTo>
                <a:close/>
                <a:moveTo>
                  <a:pt x="226" y="781"/>
                </a:moveTo>
                <a:cubicBezTo>
                  <a:pt x="225" y="781"/>
                  <a:pt x="225" y="782"/>
                  <a:pt x="224" y="782"/>
                </a:cubicBezTo>
                <a:cubicBezTo>
                  <a:pt x="224" y="782"/>
                  <a:pt x="223" y="781"/>
                  <a:pt x="223" y="781"/>
                </a:cubicBezTo>
                <a:cubicBezTo>
                  <a:pt x="223" y="781"/>
                  <a:pt x="223" y="780"/>
                  <a:pt x="223" y="779"/>
                </a:cubicBezTo>
                <a:cubicBezTo>
                  <a:pt x="223" y="776"/>
                  <a:pt x="229" y="779"/>
                  <a:pt x="226" y="781"/>
                </a:cubicBezTo>
                <a:close/>
                <a:moveTo>
                  <a:pt x="421" y="832"/>
                </a:moveTo>
                <a:cubicBezTo>
                  <a:pt x="353" y="832"/>
                  <a:pt x="289" y="816"/>
                  <a:pt x="233" y="787"/>
                </a:cubicBezTo>
                <a:cubicBezTo>
                  <a:pt x="236" y="787"/>
                  <a:pt x="241" y="786"/>
                  <a:pt x="243" y="785"/>
                </a:cubicBezTo>
                <a:cubicBezTo>
                  <a:pt x="244" y="785"/>
                  <a:pt x="252" y="784"/>
                  <a:pt x="252" y="783"/>
                </a:cubicBezTo>
                <a:cubicBezTo>
                  <a:pt x="253" y="783"/>
                  <a:pt x="246" y="783"/>
                  <a:pt x="242" y="782"/>
                </a:cubicBezTo>
                <a:cubicBezTo>
                  <a:pt x="238" y="781"/>
                  <a:pt x="231" y="777"/>
                  <a:pt x="230" y="775"/>
                </a:cubicBezTo>
                <a:cubicBezTo>
                  <a:pt x="229" y="773"/>
                  <a:pt x="228" y="769"/>
                  <a:pt x="230" y="768"/>
                </a:cubicBezTo>
                <a:cubicBezTo>
                  <a:pt x="233" y="767"/>
                  <a:pt x="238" y="763"/>
                  <a:pt x="240" y="762"/>
                </a:cubicBezTo>
                <a:cubicBezTo>
                  <a:pt x="241" y="761"/>
                  <a:pt x="243" y="756"/>
                  <a:pt x="241" y="756"/>
                </a:cubicBezTo>
                <a:cubicBezTo>
                  <a:pt x="240" y="755"/>
                  <a:pt x="234" y="755"/>
                  <a:pt x="233" y="754"/>
                </a:cubicBezTo>
                <a:cubicBezTo>
                  <a:pt x="232" y="753"/>
                  <a:pt x="232" y="752"/>
                  <a:pt x="235" y="750"/>
                </a:cubicBezTo>
                <a:cubicBezTo>
                  <a:pt x="239" y="747"/>
                  <a:pt x="240" y="744"/>
                  <a:pt x="242" y="743"/>
                </a:cubicBezTo>
                <a:cubicBezTo>
                  <a:pt x="243" y="742"/>
                  <a:pt x="246" y="740"/>
                  <a:pt x="247" y="737"/>
                </a:cubicBezTo>
                <a:cubicBezTo>
                  <a:pt x="248" y="735"/>
                  <a:pt x="245" y="736"/>
                  <a:pt x="243" y="736"/>
                </a:cubicBezTo>
                <a:cubicBezTo>
                  <a:pt x="241" y="736"/>
                  <a:pt x="239" y="732"/>
                  <a:pt x="238" y="730"/>
                </a:cubicBezTo>
                <a:cubicBezTo>
                  <a:pt x="238" y="728"/>
                  <a:pt x="245" y="731"/>
                  <a:pt x="249" y="732"/>
                </a:cubicBezTo>
                <a:cubicBezTo>
                  <a:pt x="254" y="733"/>
                  <a:pt x="251" y="730"/>
                  <a:pt x="251" y="728"/>
                </a:cubicBezTo>
                <a:cubicBezTo>
                  <a:pt x="250" y="726"/>
                  <a:pt x="251" y="722"/>
                  <a:pt x="253" y="723"/>
                </a:cubicBezTo>
                <a:cubicBezTo>
                  <a:pt x="256" y="725"/>
                  <a:pt x="268" y="724"/>
                  <a:pt x="270" y="723"/>
                </a:cubicBezTo>
                <a:cubicBezTo>
                  <a:pt x="272" y="723"/>
                  <a:pt x="275" y="716"/>
                  <a:pt x="277" y="714"/>
                </a:cubicBezTo>
                <a:cubicBezTo>
                  <a:pt x="278" y="712"/>
                  <a:pt x="278" y="710"/>
                  <a:pt x="276" y="709"/>
                </a:cubicBezTo>
                <a:cubicBezTo>
                  <a:pt x="274" y="708"/>
                  <a:pt x="268" y="703"/>
                  <a:pt x="267" y="702"/>
                </a:cubicBezTo>
                <a:cubicBezTo>
                  <a:pt x="266" y="701"/>
                  <a:pt x="268" y="693"/>
                  <a:pt x="269" y="691"/>
                </a:cubicBezTo>
                <a:cubicBezTo>
                  <a:pt x="269" y="689"/>
                  <a:pt x="270" y="703"/>
                  <a:pt x="276" y="705"/>
                </a:cubicBezTo>
                <a:cubicBezTo>
                  <a:pt x="282" y="707"/>
                  <a:pt x="285" y="708"/>
                  <a:pt x="290" y="703"/>
                </a:cubicBezTo>
                <a:cubicBezTo>
                  <a:pt x="295" y="699"/>
                  <a:pt x="299" y="695"/>
                  <a:pt x="300" y="692"/>
                </a:cubicBezTo>
                <a:cubicBezTo>
                  <a:pt x="300" y="689"/>
                  <a:pt x="301" y="685"/>
                  <a:pt x="303" y="684"/>
                </a:cubicBezTo>
                <a:cubicBezTo>
                  <a:pt x="305" y="683"/>
                  <a:pt x="307" y="684"/>
                  <a:pt x="309" y="678"/>
                </a:cubicBezTo>
                <a:cubicBezTo>
                  <a:pt x="311" y="673"/>
                  <a:pt x="314" y="677"/>
                  <a:pt x="316" y="672"/>
                </a:cubicBezTo>
                <a:cubicBezTo>
                  <a:pt x="318" y="668"/>
                  <a:pt x="311" y="661"/>
                  <a:pt x="316" y="658"/>
                </a:cubicBezTo>
                <a:cubicBezTo>
                  <a:pt x="321" y="654"/>
                  <a:pt x="330" y="650"/>
                  <a:pt x="330" y="650"/>
                </a:cubicBezTo>
                <a:cubicBezTo>
                  <a:pt x="330" y="650"/>
                  <a:pt x="333" y="649"/>
                  <a:pt x="338" y="647"/>
                </a:cubicBezTo>
                <a:cubicBezTo>
                  <a:pt x="343" y="646"/>
                  <a:pt x="349" y="647"/>
                  <a:pt x="351" y="644"/>
                </a:cubicBezTo>
                <a:cubicBezTo>
                  <a:pt x="353" y="641"/>
                  <a:pt x="354" y="635"/>
                  <a:pt x="357" y="632"/>
                </a:cubicBezTo>
                <a:cubicBezTo>
                  <a:pt x="359" y="629"/>
                  <a:pt x="362" y="624"/>
                  <a:pt x="361" y="621"/>
                </a:cubicBezTo>
                <a:cubicBezTo>
                  <a:pt x="360" y="619"/>
                  <a:pt x="364" y="608"/>
                  <a:pt x="364" y="605"/>
                </a:cubicBezTo>
                <a:cubicBezTo>
                  <a:pt x="363" y="602"/>
                  <a:pt x="359" y="595"/>
                  <a:pt x="366" y="589"/>
                </a:cubicBezTo>
                <a:cubicBezTo>
                  <a:pt x="373" y="583"/>
                  <a:pt x="380" y="574"/>
                  <a:pt x="380" y="571"/>
                </a:cubicBezTo>
                <a:cubicBezTo>
                  <a:pt x="381" y="569"/>
                  <a:pt x="386" y="558"/>
                  <a:pt x="386" y="552"/>
                </a:cubicBezTo>
                <a:cubicBezTo>
                  <a:pt x="385" y="547"/>
                  <a:pt x="380" y="541"/>
                  <a:pt x="377" y="539"/>
                </a:cubicBezTo>
                <a:cubicBezTo>
                  <a:pt x="374" y="538"/>
                  <a:pt x="367" y="537"/>
                  <a:pt x="364" y="533"/>
                </a:cubicBezTo>
                <a:cubicBezTo>
                  <a:pt x="361" y="528"/>
                  <a:pt x="353" y="524"/>
                  <a:pt x="350" y="525"/>
                </a:cubicBezTo>
                <a:cubicBezTo>
                  <a:pt x="348" y="526"/>
                  <a:pt x="343" y="527"/>
                  <a:pt x="339" y="525"/>
                </a:cubicBezTo>
                <a:cubicBezTo>
                  <a:pt x="335" y="522"/>
                  <a:pt x="329" y="519"/>
                  <a:pt x="327" y="516"/>
                </a:cubicBezTo>
                <a:cubicBezTo>
                  <a:pt x="325" y="514"/>
                  <a:pt x="319" y="512"/>
                  <a:pt x="316" y="512"/>
                </a:cubicBezTo>
                <a:cubicBezTo>
                  <a:pt x="313" y="512"/>
                  <a:pt x="314" y="510"/>
                  <a:pt x="310" y="517"/>
                </a:cubicBezTo>
                <a:cubicBezTo>
                  <a:pt x="306" y="523"/>
                  <a:pt x="310" y="525"/>
                  <a:pt x="302" y="524"/>
                </a:cubicBezTo>
                <a:cubicBezTo>
                  <a:pt x="295" y="523"/>
                  <a:pt x="303" y="522"/>
                  <a:pt x="307" y="516"/>
                </a:cubicBezTo>
                <a:cubicBezTo>
                  <a:pt x="311" y="510"/>
                  <a:pt x="307" y="506"/>
                  <a:pt x="302" y="507"/>
                </a:cubicBezTo>
                <a:cubicBezTo>
                  <a:pt x="297" y="509"/>
                  <a:pt x="301" y="512"/>
                  <a:pt x="293" y="514"/>
                </a:cubicBezTo>
                <a:cubicBezTo>
                  <a:pt x="286" y="515"/>
                  <a:pt x="286" y="510"/>
                  <a:pt x="291" y="509"/>
                </a:cubicBezTo>
                <a:cubicBezTo>
                  <a:pt x="295" y="508"/>
                  <a:pt x="303" y="503"/>
                  <a:pt x="303" y="501"/>
                </a:cubicBezTo>
                <a:cubicBezTo>
                  <a:pt x="303" y="499"/>
                  <a:pt x="302" y="493"/>
                  <a:pt x="299" y="493"/>
                </a:cubicBezTo>
                <a:cubicBezTo>
                  <a:pt x="295" y="493"/>
                  <a:pt x="296" y="487"/>
                  <a:pt x="290" y="480"/>
                </a:cubicBezTo>
                <a:cubicBezTo>
                  <a:pt x="284" y="473"/>
                  <a:pt x="276" y="465"/>
                  <a:pt x="271" y="466"/>
                </a:cubicBezTo>
                <a:cubicBezTo>
                  <a:pt x="266" y="467"/>
                  <a:pt x="263" y="472"/>
                  <a:pt x="260" y="466"/>
                </a:cubicBezTo>
                <a:cubicBezTo>
                  <a:pt x="257" y="460"/>
                  <a:pt x="254" y="459"/>
                  <a:pt x="252" y="456"/>
                </a:cubicBezTo>
                <a:cubicBezTo>
                  <a:pt x="250" y="452"/>
                  <a:pt x="246" y="455"/>
                  <a:pt x="244" y="454"/>
                </a:cubicBezTo>
                <a:cubicBezTo>
                  <a:pt x="243" y="452"/>
                  <a:pt x="243" y="452"/>
                  <a:pt x="243" y="452"/>
                </a:cubicBezTo>
                <a:cubicBezTo>
                  <a:pt x="243" y="452"/>
                  <a:pt x="237" y="454"/>
                  <a:pt x="240" y="449"/>
                </a:cubicBezTo>
                <a:cubicBezTo>
                  <a:pt x="243" y="444"/>
                  <a:pt x="245" y="435"/>
                  <a:pt x="243" y="435"/>
                </a:cubicBezTo>
                <a:cubicBezTo>
                  <a:pt x="242" y="436"/>
                  <a:pt x="240" y="443"/>
                  <a:pt x="237" y="443"/>
                </a:cubicBezTo>
                <a:cubicBezTo>
                  <a:pt x="235" y="442"/>
                  <a:pt x="237" y="441"/>
                  <a:pt x="233" y="438"/>
                </a:cubicBezTo>
                <a:cubicBezTo>
                  <a:pt x="228" y="435"/>
                  <a:pt x="221" y="437"/>
                  <a:pt x="221" y="440"/>
                </a:cubicBezTo>
                <a:cubicBezTo>
                  <a:pt x="221" y="443"/>
                  <a:pt x="219" y="445"/>
                  <a:pt x="219" y="445"/>
                </a:cubicBezTo>
                <a:cubicBezTo>
                  <a:pt x="219" y="445"/>
                  <a:pt x="218" y="443"/>
                  <a:pt x="216" y="440"/>
                </a:cubicBezTo>
                <a:cubicBezTo>
                  <a:pt x="215" y="437"/>
                  <a:pt x="209" y="436"/>
                  <a:pt x="206" y="439"/>
                </a:cubicBezTo>
                <a:cubicBezTo>
                  <a:pt x="203" y="442"/>
                  <a:pt x="201" y="431"/>
                  <a:pt x="199" y="431"/>
                </a:cubicBezTo>
                <a:cubicBezTo>
                  <a:pt x="197" y="431"/>
                  <a:pt x="192" y="434"/>
                  <a:pt x="190" y="438"/>
                </a:cubicBezTo>
                <a:cubicBezTo>
                  <a:pt x="188" y="443"/>
                  <a:pt x="189" y="450"/>
                  <a:pt x="187" y="450"/>
                </a:cubicBezTo>
                <a:cubicBezTo>
                  <a:pt x="186" y="449"/>
                  <a:pt x="185" y="440"/>
                  <a:pt x="185" y="437"/>
                </a:cubicBezTo>
                <a:cubicBezTo>
                  <a:pt x="186" y="434"/>
                  <a:pt x="191" y="428"/>
                  <a:pt x="187" y="427"/>
                </a:cubicBezTo>
                <a:cubicBezTo>
                  <a:pt x="184" y="426"/>
                  <a:pt x="179" y="432"/>
                  <a:pt x="177" y="433"/>
                </a:cubicBezTo>
                <a:cubicBezTo>
                  <a:pt x="174" y="433"/>
                  <a:pt x="170" y="437"/>
                  <a:pt x="168" y="441"/>
                </a:cubicBezTo>
                <a:cubicBezTo>
                  <a:pt x="165" y="446"/>
                  <a:pt x="164" y="448"/>
                  <a:pt x="162" y="450"/>
                </a:cubicBezTo>
                <a:cubicBezTo>
                  <a:pt x="159" y="451"/>
                  <a:pt x="156" y="450"/>
                  <a:pt x="156" y="448"/>
                </a:cubicBezTo>
                <a:cubicBezTo>
                  <a:pt x="157" y="446"/>
                  <a:pt x="149" y="440"/>
                  <a:pt x="148" y="443"/>
                </a:cubicBezTo>
                <a:cubicBezTo>
                  <a:pt x="147" y="445"/>
                  <a:pt x="143" y="446"/>
                  <a:pt x="140" y="448"/>
                </a:cubicBezTo>
                <a:cubicBezTo>
                  <a:pt x="136" y="450"/>
                  <a:pt x="133" y="445"/>
                  <a:pt x="132" y="443"/>
                </a:cubicBezTo>
                <a:cubicBezTo>
                  <a:pt x="131" y="441"/>
                  <a:pt x="130" y="441"/>
                  <a:pt x="129" y="434"/>
                </a:cubicBezTo>
                <a:cubicBezTo>
                  <a:pt x="129" y="427"/>
                  <a:pt x="130" y="419"/>
                  <a:pt x="131" y="415"/>
                </a:cubicBezTo>
                <a:cubicBezTo>
                  <a:pt x="132" y="411"/>
                  <a:pt x="125" y="403"/>
                  <a:pt x="123" y="403"/>
                </a:cubicBezTo>
                <a:cubicBezTo>
                  <a:pt x="120" y="404"/>
                  <a:pt x="117" y="407"/>
                  <a:pt x="114" y="407"/>
                </a:cubicBezTo>
                <a:cubicBezTo>
                  <a:pt x="112" y="406"/>
                  <a:pt x="113" y="405"/>
                  <a:pt x="109" y="405"/>
                </a:cubicBezTo>
                <a:cubicBezTo>
                  <a:pt x="105" y="405"/>
                  <a:pt x="108" y="404"/>
                  <a:pt x="109" y="399"/>
                </a:cubicBezTo>
                <a:cubicBezTo>
                  <a:pt x="109" y="395"/>
                  <a:pt x="107" y="388"/>
                  <a:pt x="111" y="384"/>
                </a:cubicBezTo>
                <a:cubicBezTo>
                  <a:pt x="116" y="380"/>
                  <a:pt x="114" y="370"/>
                  <a:pt x="112" y="370"/>
                </a:cubicBezTo>
                <a:cubicBezTo>
                  <a:pt x="109" y="369"/>
                  <a:pt x="104" y="371"/>
                  <a:pt x="101" y="371"/>
                </a:cubicBezTo>
                <a:cubicBezTo>
                  <a:pt x="97" y="370"/>
                  <a:pt x="95" y="375"/>
                  <a:pt x="96" y="379"/>
                </a:cubicBezTo>
                <a:cubicBezTo>
                  <a:pt x="97" y="384"/>
                  <a:pt x="94" y="387"/>
                  <a:pt x="93" y="386"/>
                </a:cubicBezTo>
                <a:cubicBezTo>
                  <a:pt x="92" y="386"/>
                  <a:pt x="90" y="383"/>
                  <a:pt x="86" y="388"/>
                </a:cubicBezTo>
                <a:cubicBezTo>
                  <a:pt x="82" y="392"/>
                  <a:pt x="81" y="390"/>
                  <a:pt x="77" y="386"/>
                </a:cubicBezTo>
                <a:cubicBezTo>
                  <a:pt x="73" y="381"/>
                  <a:pt x="69" y="376"/>
                  <a:pt x="68" y="369"/>
                </a:cubicBezTo>
                <a:cubicBezTo>
                  <a:pt x="68" y="362"/>
                  <a:pt x="68" y="355"/>
                  <a:pt x="69" y="351"/>
                </a:cubicBezTo>
                <a:cubicBezTo>
                  <a:pt x="70" y="347"/>
                  <a:pt x="71" y="340"/>
                  <a:pt x="69" y="339"/>
                </a:cubicBezTo>
                <a:cubicBezTo>
                  <a:pt x="67" y="338"/>
                  <a:pt x="71" y="333"/>
                  <a:pt x="74" y="332"/>
                </a:cubicBezTo>
                <a:cubicBezTo>
                  <a:pt x="76" y="331"/>
                  <a:pt x="80" y="326"/>
                  <a:pt x="81" y="324"/>
                </a:cubicBezTo>
                <a:cubicBezTo>
                  <a:pt x="82" y="322"/>
                  <a:pt x="85" y="322"/>
                  <a:pt x="89" y="322"/>
                </a:cubicBezTo>
                <a:cubicBezTo>
                  <a:pt x="93" y="322"/>
                  <a:pt x="94" y="322"/>
                  <a:pt x="98" y="324"/>
                </a:cubicBezTo>
                <a:cubicBezTo>
                  <a:pt x="102" y="327"/>
                  <a:pt x="103" y="323"/>
                  <a:pt x="103" y="321"/>
                </a:cubicBezTo>
                <a:cubicBezTo>
                  <a:pt x="103" y="320"/>
                  <a:pt x="105" y="318"/>
                  <a:pt x="110" y="319"/>
                </a:cubicBezTo>
                <a:cubicBezTo>
                  <a:pt x="114" y="319"/>
                  <a:pt x="120" y="314"/>
                  <a:pt x="121" y="316"/>
                </a:cubicBezTo>
                <a:cubicBezTo>
                  <a:pt x="122" y="317"/>
                  <a:pt x="124" y="323"/>
                  <a:pt x="127" y="321"/>
                </a:cubicBezTo>
                <a:cubicBezTo>
                  <a:pt x="129" y="319"/>
                  <a:pt x="130" y="315"/>
                  <a:pt x="131" y="322"/>
                </a:cubicBezTo>
                <a:cubicBezTo>
                  <a:pt x="131" y="328"/>
                  <a:pt x="133" y="337"/>
                  <a:pt x="136" y="339"/>
                </a:cubicBezTo>
                <a:cubicBezTo>
                  <a:pt x="140" y="340"/>
                  <a:pt x="138" y="347"/>
                  <a:pt x="141" y="347"/>
                </a:cubicBezTo>
                <a:cubicBezTo>
                  <a:pt x="145" y="347"/>
                  <a:pt x="147" y="337"/>
                  <a:pt x="146" y="333"/>
                </a:cubicBezTo>
                <a:cubicBezTo>
                  <a:pt x="145" y="329"/>
                  <a:pt x="143" y="319"/>
                  <a:pt x="141" y="316"/>
                </a:cubicBezTo>
                <a:cubicBezTo>
                  <a:pt x="139" y="313"/>
                  <a:pt x="142" y="307"/>
                  <a:pt x="146" y="305"/>
                </a:cubicBezTo>
                <a:cubicBezTo>
                  <a:pt x="150" y="302"/>
                  <a:pt x="157" y="291"/>
                  <a:pt x="160" y="288"/>
                </a:cubicBezTo>
                <a:cubicBezTo>
                  <a:pt x="163" y="285"/>
                  <a:pt x="173" y="283"/>
                  <a:pt x="170" y="279"/>
                </a:cubicBezTo>
                <a:cubicBezTo>
                  <a:pt x="168" y="275"/>
                  <a:pt x="166" y="271"/>
                  <a:pt x="166" y="268"/>
                </a:cubicBezTo>
                <a:cubicBezTo>
                  <a:pt x="166" y="265"/>
                  <a:pt x="169" y="266"/>
                  <a:pt x="170" y="268"/>
                </a:cubicBezTo>
                <a:cubicBezTo>
                  <a:pt x="171" y="270"/>
                  <a:pt x="176" y="265"/>
                  <a:pt x="175" y="262"/>
                </a:cubicBezTo>
                <a:cubicBezTo>
                  <a:pt x="174" y="259"/>
                  <a:pt x="174" y="256"/>
                  <a:pt x="177" y="256"/>
                </a:cubicBezTo>
                <a:cubicBezTo>
                  <a:pt x="180" y="257"/>
                  <a:pt x="181" y="253"/>
                  <a:pt x="180" y="252"/>
                </a:cubicBezTo>
                <a:cubicBezTo>
                  <a:pt x="179" y="249"/>
                  <a:pt x="183" y="247"/>
                  <a:pt x="186" y="248"/>
                </a:cubicBezTo>
                <a:cubicBezTo>
                  <a:pt x="189" y="248"/>
                  <a:pt x="199" y="249"/>
                  <a:pt x="200" y="247"/>
                </a:cubicBezTo>
                <a:cubicBezTo>
                  <a:pt x="201" y="245"/>
                  <a:pt x="196" y="241"/>
                  <a:pt x="196" y="236"/>
                </a:cubicBezTo>
                <a:cubicBezTo>
                  <a:pt x="196" y="232"/>
                  <a:pt x="201" y="229"/>
                  <a:pt x="204" y="228"/>
                </a:cubicBezTo>
                <a:cubicBezTo>
                  <a:pt x="207" y="227"/>
                  <a:pt x="211" y="228"/>
                  <a:pt x="212" y="226"/>
                </a:cubicBezTo>
                <a:cubicBezTo>
                  <a:pt x="212" y="225"/>
                  <a:pt x="217" y="220"/>
                  <a:pt x="217" y="224"/>
                </a:cubicBezTo>
                <a:cubicBezTo>
                  <a:pt x="217" y="227"/>
                  <a:pt x="216" y="233"/>
                  <a:pt x="220" y="233"/>
                </a:cubicBezTo>
                <a:cubicBezTo>
                  <a:pt x="223" y="233"/>
                  <a:pt x="228" y="228"/>
                  <a:pt x="229" y="228"/>
                </a:cubicBezTo>
                <a:cubicBezTo>
                  <a:pt x="231" y="227"/>
                  <a:pt x="239" y="225"/>
                  <a:pt x="241" y="224"/>
                </a:cubicBezTo>
                <a:cubicBezTo>
                  <a:pt x="243" y="224"/>
                  <a:pt x="253" y="222"/>
                  <a:pt x="252" y="219"/>
                </a:cubicBezTo>
                <a:cubicBezTo>
                  <a:pt x="251" y="215"/>
                  <a:pt x="250" y="212"/>
                  <a:pt x="248" y="210"/>
                </a:cubicBezTo>
                <a:cubicBezTo>
                  <a:pt x="247" y="209"/>
                  <a:pt x="246" y="211"/>
                  <a:pt x="244" y="214"/>
                </a:cubicBezTo>
                <a:cubicBezTo>
                  <a:pt x="242" y="216"/>
                  <a:pt x="239" y="216"/>
                  <a:pt x="238" y="214"/>
                </a:cubicBezTo>
                <a:cubicBezTo>
                  <a:pt x="238" y="212"/>
                  <a:pt x="239" y="206"/>
                  <a:pt x="236" y="208"/>
                </a:cubicBezTo>
                <a:cubicBezTo>
                  <a:pt x="233" y="211"/>
                  <a:pt x="232" y="213"/>
                  <a:pt x="231" y="212"/>
                </a:cubicBezTo>
                <a:cubicBezTo>
                  <a:pt x="229" y="211"/>
                  <a:pt x="227" y="207"/>
                  <a:pt x="227" y="207"/>
                </a:cubicBezTo>
                <a:cubicBezTo>
                  <a:pt x="227" y="207"/>
                  <a:pt x="232" y="205"/>
                  <a:pt x="229" y="200"/>
                </a:cubicBezTo>
                <a:cubicBezTo>
                  <a:pt x="226" y="196"/>
                  <a:pt x="222" y="197"/>
                  <a:pt x="218" y="200"/>
                </a:cubicBezTo>
                <a:cubicBezTo>
                  <a:pt x="213" y="203"/>
                  <a:pt x="214" y="202"/>
                  <a:pt x="208" y="204"/>
                </a:cubicBezTo>
                <a:cubicBezTo>
                  <a:pt x="203" y="206"/>
                  <a:pt x="201" y="207"/>
                  <a:pt x="201" y="207"/>
                </a:cubicBezTo>
                <a:cubicBezTo>
                  <a:pt x="201" y="207"/>
                  <a:pt x="203" y="199"/>
                  <a:pt x="206" y="196"/>
                </a:cubicBezTo>
                <a:cubicBezTo>
                  <a:pt x="209" y="193"/>
                  <a:pt x="218" y="194"/>
                  <a:pt x="221" y="191"/>
                </a:cubicBezTo>
                <a:cubicBezTo>
                  <a:pt x="224" y="188"/>
                  <a:pt x="230" y="192"/>
                  <a:pt x="230" y="192"/>
                </a:cubicBezTo>
                <a:cubicBezTo>
                  <a:pt x="230" y="192"/>
                  <a:pt x="234" y="188"/>
                  <a:pt x="234" y="190"/>
                </a:cubicBezTo>
                <a:cubicBezTo>
                  <a:pt x="233" y="193"/>
                  <a:pt x="232" y="199"/>
                  <a:pt x="235" y="199"/>
                </a:cubicBezTo>
                <a:cubicBezTo>
                  <a:pt x="237" y="199"/>
                  <a:pt x="245" y="195"/>
                  <a:pt x="242" y="194"/>
                </a:cubicBezTo>
                <a:cubicBezTo>
                  <a:pt x="239" y="193"/>
                  <a:pt x="244" y="191"/>
                  <a:pt x="247" y="188"/>
                </a:cubicBezTo>
                <a:cubicBezTo>
                  <a:pt x="250" y="186"/>
                  <a:pt x="256" y="188"/>
                  <a:pt x="258" y="187"/>
                </a:cubicBezTo>
                <a:cubicBezTo>
                  <a:pt x="260" y="186"/>
                  <a:pt x="261" y="182"/>
                  <a:pt x="264" y="182"/>
                </a:cubicBezTo>
                <a:cubicBezTo>
                  <a:pt x="268" y="182"/>
                  <a:pt x="269" y="186"/>
                  <a:pt x="264" y="189"/>
                </a:cubicBezTo>
                <a:cubicBezTo>
                  <a:pt x="260" y="192"/>
                  <a:pt x="259" y="200"/>
                  <a:pt x="256" y="202"/>
                </a:cubicBezTo>
                <a:cubicBezTo>
                  <a:pt x="254" y="204"/>
                  <a:pt x="255" y="206"/>
                  <a:pt x="259" y="206"/>
                </a:cubicBezTo>
                <a:cubicBezTo>
                  <a:pt x="262" y="205"/>
                  <a:pt x="265" y="206"/>
                  <a:pt x="269" y="205"/>
                </a:cubicBezTo>
                <a:cubicBezTo>
                  <a:pt x="272" y="204"/>
                  <a:pt x="273" y="205"/>
                  <a:pt x="274" y="207"/>
                </a:cubicBezTo>
                <a:cubicBezTo>
                  <a:pt x="275" y="208"/>
                  <a:pt x="278" y="205"/>
                  <a:pt x="278" y="205"/>
                </a:cubicBezTo>
                <a:cubicBezTo>
                  <a:pt x="278" y="205"/>
                  <a:pt x="284" y="204"/>
                  <a:pt x="285" y="206"/>
                </a:cubicBezTo>
                <a:cubicBezTo>
                  <a:pt x="287" y="209"/>
                  <a:pt x="289" y="205"/>
                  <a:pt x="287" y="202"/>
                </a:cubicBezTo>
                <a:cubicBezTo>
                  <a:pt x="286" y="200"/>
                  <a:pt x="284" y="197"/>
                  <a:pt x="283" y="194"/>
                </a:cubicBezTo>
                <a:cubicBezTo>
                  <a:pt x="282" y="191"/>
                  <a:pt x="280" y="190"/>
                  <a:pt x="277" y="192"/>
                </a:cubicBezTo>
                <a:cubicBezTo>
                  <a:pt x="273" y="193"/>
                  <a:pt x="272" y="191"/>
                  <a:pt x="270" y="189"/>
                </a:cubicBezTo>
                <a:cubicBezTo>
                  <a:pt x="268" y="188"/>
                  <a:pt x="266" y="191"/>
                  <a:pt x="268" y="188"/>
                </a:cubicBezTo>
                <a:cubicBezTo>
                  <a:pt x="270" y="184"/>
                  <a:pt x="271" y="183"/>
                  <a:pt x="272" y="180"/>
                </a:cubicBezTo>
                <a:cubicBezTo>
                  <a:pt x="274" y="177"/>
                  <a:pt x="280" y="172"/>
                  <a:pt x="274" y="171"/>
                </a:cubicBezTo>
                <a:cubicBezTo>
                  <a:pt x="269" y="169"/>
                  <a:pt x="267" y="169"/>
                  <a:pt x="266" y="166"/>
                </a:cubicBezTo>
                <a:cubicBezTo>
                  <a:pt x="266" y="163"/>
                  <a:pt x="259" y="158"/>
                  <a:pt x="258" y="158"/>
                </a:cubicBezTo>
                <a:cubicBezTo>
                  <a:pt x="256" y="158"/>
                  <a:pt x="248" y="160"/>
                  <a:pt x="247" y="158"/>
                </a:cubicBezTo>
                <a:cubicBezTo>
                  <a:pt x="247" y="156"/>
                  <a:pt x="246" y="149"/>
                  <a:pt x="244" y="147"/>
                </a:cubicBezTo>
                <a:cubicBezTo>
                  <a:pt x="242" y="145"/>
                  <a:pt x="235" y="135"/>
                  <a:pt x="233" y="134"/>
                </a:cubicBezTo>
                <a:cubicBezTo>
                  <a:pt x="232" y="133"/>
                  <a:pt x="230" y="134"/>
                  <a:pt x="226" y="140"/>
                </a:cubicBezTo>
                <a:cubicBezTo>
                  <a:pt x="222" y="145"/>
                  <a:pt x="218" y="146"/>
                  <a:pt x="216" y="145"/>
                </a:cubicBezTo>
                <a:cubicBezTo>
                  <a:pt x="213" y="144"/>
                  <a:pt x="210" y="145"/>
                  <a:pt x="207" y="142"/>
                </a:cubicBezTo>
                <a:cubicBezTo>
                  <a:pt x="204" y="139"/>
                  <a:pt x="213" y="137"/>
                  <a:pt x="212" y="134"/>
                </a:cubicBezTo>
                <a:cubicBezTo>
                  <a:pt x="211" y="132"/>
                  <a:pt x="205" y="132"/>
                  <a:pt x="201" y="132"/>
                </a:cubicBezTo>
                <a:cubicBezTo>
                  <a:pt x="196" y="131"/>
                  <a:pt x="194" y="127"/>
                  <a:pt x="188" y="127"/>
                </a:cubicBezTo>
                <a:cubicBezTo>
                  <a:pt x="182" y="127"/>
                  <a:pt x="175" y="129"/>
                  <a:pt x="173" y="129"/>
                </a:cubicBezTo>
                <a:cubicBezTo>
                  <a:pt x="171" y="129"/>
                  <a:pt x="170" y="132"/>
                  <a:pt x="169" y="137"/>
                </a:cubicBezTo>
                <a:cubicBezTo>
                  <a:pt x="168" y="142"/>
                  <a:pt x="171" y="143"/>
                  <a:pt x="167" y="144"/>
                </a:cubicBezTo>
                <a:cubicBezTo>
                  <a:pt x="164" y="145"/>
                  <a:pt x="162" y="146"/>
                  <a:pt x="165" y="148"/>
                </a:cubicBezTo>
                <a:cubicBezTo>
                  <a:pt x="169" y="149"/>
                  <a:pt x="173" y="156"/>
                  <a:pt x="173" y="156"/>
                </a:cubicBezTo>
                <a:cubicBezTo>
                  <a:pt x="173" y="156"/>
                  <a:pt x="172" y="160"/>
                  <a:pt x="169" y="163"/>
                </a:cubicBezTo>
                <a:cubicBezTo>
                  <a:pt x="166" y="165"/>
                  <a:pt x="163" y="168"/>
                  <a:pt x="162" y="165"/>
                </a:cubicBezTo>
                <a:cubicBezTo>
                  <a:pt x="161" y="163"/>
                  <a:pt x="156" y="163"/>
                  <a:pt x="157" y="166"/>
                </a:cubicBezTo>
                <a:cubicBezTo>
                  <a:pt x="158" y="169"/>
                  <a:pt x="160" y="170"/>
                  <a:pt x="160" y="173"/>
                </a:cubicBezTo>
                <a:cubicBezTo>
                  <a:pt x="160" y="176"/>
                  <a:pt x="163" y="182"/>
                  <a:pt x="160" y="185"/>
                </a:cubicBezTo>
                <a:cubicBezTo>
                  <a:pt x="158" y="188"/>
                  <a:pt x="155" y="186"/>
                  <a:pt x="153" y="187"/>
                </a:cubicBezTo>
                <a:cubicBezTo>
                  <a:pt x="151" y="187"/>
                  <a:pt x="149" y="183"/>
                  <a:pt x="151" y="182"/>
                </a:cubicBezTo>
                <a:cubicBezTo>
                  <a:pt x="153" y="181"/>
                  <a:pt x="151" y="174"/>
                  <a:pt x="151" y="174"/>
                </a:cubicBezTo>
                <a:cubicBezTo>
                  <a:pt x="151" y="174"/>
                  <a:pt x="146" y="182"/>
                  <a:pt x="147" y="178"/>
                </a:cubicBezTo>
                <a:cubicBezTo>
                  <a:pt x="147" y="174"/>
                  <a:pt x="145" y="174"/>
                  <a:pt x="145" y="170"/>
                </a:cubicBezTo>
                <a:cubicBezTo>
                  <a:pt x="146" y="167"/>
                  <a:pt x="143" y="163"/>
                  <a:pt x="139" y="164"/>
                </a:cubicBezTo>
                <a:cubicBezTo>
                  <a:pt x="135" y="165"/>
                  <a:pt x="132" y="166"/>
                  <a:pt x="126" y="166"/>
                </a:cubicBezTo>
                <a:cubicBezTo>
                  <a:pt x="119" y="165"/>
                  <a:pt x="117" y="164"/>
                  <a:pt x="112" y="161"/>
                </a:cubicBezTo>
                <a:cubicBezTo>
                  <a:pt x="107" y="159"/>
                  <a:pt x="105" y="161"/>
                  <a:pt x="102" y="162"/>
                </a:cubicBezTo>
                <a:cubicBezTo>
                  <a:pt x="102" y="162"/>
                  <a:pt x="102" y="162"/>
                  <a:pt x="102" y="162"/>
                </a:cubicBezTo>
                <a:cubicBezTo>
                  <a:pt x="111" y="150"/>
                  <a:pt x="122" y="138"/>
                  <a:pt x="133" y="127"/>
                </a:cubicBezTo>
                <a:cubicBezTo>
                  <a:pt x="134" y="127"/>
                  <a:pt x="134" y="127"/>
                  <a:pt x="134" y="127"/>
                </a:cubicBezTo>
                <a:cubicBezTo>
                  <a:pt x="137" y="127"/>
                  <a:pt x="143" y="123"/>
                  <a:pt x="143" y="123"/>
                </a:cubicBezTo>
                <a:cubicBezTo>
                  <a:pt x="143" y="123"/>
                  <a:pt x="149" y="120"/>
                  <a:pt x="150" y="122"/>
                </a:cubicBezTo>
                <a:cubicBezTo>
                  <a:pt x="152" y="125"/>
                  <a:pt x="151" y="127"/>
                  <a:pt x="154" y="127"/>
                </a:cubicBezTo>
                <a:cubicBezTo>
                  <a:pt x="157" y="127"/>
                  <a:pt x="163" y="123"/>
                  <a:pt x="158" y="120"/>
                </a:cubicBezTo>
                <a:cubicBezTo>
                  <a:pt x="154" y="118"/>
                  <a:pt x="151" y="118"/>
                  <a:pt x="148" y="115"/>
                </a:cubicBezTo>
                <a:cubicBezTo>
                  <a:pt x="148" y="115"/>
                  <a:pt x="147" y="115"/>
                  <a:pt x="147" y="114"/>
                </a:cubicBezTo>
                <a:cubicBezTo>
                  <a:pt x="149" y="112"/>
                  <a:pt x="152" y="110"/>
                  <a:pt x="154" y="108"/>
                </a:cubicBezTo>
                <a:cubicBezTo>
                  <a:pt x="156" y="107"/>
                  <a:pt x="160" y="106"/>
                  <a:pt x="160" y="103"/>
                </a:cubicBezTo>
                <a:cubicBezTo>
                  <a:pt x="164" y="100"/>
                  <a:pt x="169" y="96"/>
                  <a:pt x="173" y="93"/>
                </a:cubicBezTo>
                <a:cubicBezTo>
                  <a:pt x="174" y="94"/>
                  <a:pt x="174" y="94"/>
                  <a:pt x="176" y="94"/>
                </a:cubicBezTo>
                <a:cubicBezTo>
                  <a:pt x="179" y="93"/>
                  <a:pt x="180" y="93"/>
                  <a:pt x="182" y="94"/>
                </a:cubicBezTo>
                <a:cubicBezTo>
                  <a:pt x="184" y="95"/>
                  <a:pt x="180" y="101"/>
                  <a:pt x="178" y="102"/>
                </a:cubicBezTo>
                <a:cubicBezTo>
                  <a:pt x="176" y="103"/>
                  <a:pt x="173" y="104"/>
                  <a:pt x="177" y="105"/>
                </a:cubicBezTo>
                <a:cubicBezTo>
                  <a:pt x="181" y="105"/>
                  <a:pt x="185" y="104"/>
                  <a:pt x="185" y="104"/>
                </a:cubicBezTo>
                <a:cubicBezTo>
                  <a:pt x="185" y="104"/>
                  <a:pt x="188" y="101"/>
                  <a:pt x="189" y="99"/>
                </a:cubicBezTo>
                <a:cubicBezTo>
                  <a:pt x="191" y="96"/>
                  <a:pt x="193" y="98"/>
                  <a:pt x="194" y="98"/>
                </a:cubicBezTo>
                <a:cubicBezTo>
                  <a:pt x="196" y="99"/>
                  <a:pt x="202" y="100"/>
                  <a:pt x="196" y="102"/>
                </a:cubicBezTo>
                <a:cubicBezTo>
                  <a:pt x="190" y="104"/>
                  <a:pt x="188" y="106"/>
                  <a:pt x="187" y="108"/>
                </a:cubicBezTo>
                <a:cubicBezTo>
                  <a:pt x="185" y="111"/>
                  <a:pt x="185" y="112"/>
                  <a:pt x="180" y="111"/>
                </a:cubicBezTo>
                <a:cubicBezTo>
                  <a:pt x="175" y="110"/>
                  <a:pt x="172" y="111"/>
                  <a:pt x="170" y="113"/>
                </a:cubicBezTo>
                <a:cubicBezTo>
                  <a:pt x="169" y="115"/>
                  <a:pt x="169" y="122"/>
                  <a:pt x="171" y="121"/>
                </a:cubicBezTo>
                <a:cubicBezTo>
                  <a:pt x="173" y="120"/>
                  <a:pt x="175" y="120"/>
                  <a:pt x="178" y="119"/>
                </a:cubicBezTo>
                <a:cubicBezTo>
                  <a:pt x="180" y="118"/>
                  <a:pt x="190" y="119"/>
                  <a:pt x="192" y="118"/>
                </a:cubicBezTo>
                <a:cubicBezTo>
                  <a:pt x="194" y="118"/>
                  <a:pt x="198" y="122"/>
                  <a:pt x="199" y="121"/>
                </a:cubicBezTo>
                <a:cubicBezTo>
                  <a:pt x="201" y="120"/>
                  <a:pt x="203" y="123"/>
                  <a:pt x="205" y="124"/>
                </a:cubicBezTo>
                <a:cubicBezTo>
                  <a:pt x="207" y="126"/>
                  <a:pt x="207" y="120"/>
                  <a:pt x="211" y="124"/>
                </a:cubicBezTo>
                <a:cubicBezTo>
                  <a:pt x="215" y="127"/>
                  <a:pt x="213" y="127"/>
                  <a:pt x="215" y="127"/>
                </a:cubicBezTo>
                <a:cubicBezTo>
                  <a:pt x="218" y="127"/>
                  <a:pt x="223" y="127"/>
                  <a:pt x="223" y="127"/>
                </a:cubicBezTo>
                <a:cubicBezTo>
                  <a:pt x="223" y="127"/>
                  <a:pt x="224" y="122"/>
                  <a:pt x="228" y="123"/>
                </a:cubicBezTo>
                <a:cubicBezTo>
                  <a:pt x="232" y="124"/>
                  <a:pt x="236" y="128"/>
                  <a:pt x="236" y="125"/>
                </a:cubicBezTo>
                <a:cubicBezTo>
                  <a:pt x="235" y="121"/>
                  <a:pt x="237" y="119"/>
                  <a:pt x="234" y="116"/>
                </a:cubicBezTo>
                <a:cubicBezTo>
                  <a:pt x="230" y="114"/>
                  <a:pt x="225" y="112"/>
                  <a:pt x="225" y="111"/>
                </a:cubicBezTo>
                <a:cubicBezTo>
                  <a:pt x="224" y="110"/>
                  <a:pt x="223" y="108"/>
                  <a:pt x="225" y="107"/>
                </a:cubicBezTo>
                <a:cubicBezTo>
                  <a:pt x="226" y="107"/>
                  <a:pt x="232" y="107"/>
                  <a:pt x="235" y="109"/>
                </a:cubicBezTo>
                <a:cubicBezTo>
                  <a:pt x="238" y="111"/>
                  <a:pt x="240" y="113"/>
                  <a:pt x="243" y="112"/>
                </a:cubicBezTo>
                <a:cubicBezTo>
                  <a:pt x="246" y="110"/>
                  <a:pt x="249" y="109"/>
                  <a:pt x="250" y="107"/>
                </a:cubicBezTo>
                <a:cubicBezTo>
                  <a:pt x="252" y="106"/>
                  <a:pt x="255" y="102"/>
                  <a:pt x="255" y="102"/>
                </a:cubicBezTo>
                <a:cubicBezTo>
                  <a:pt x="255" y="102"/>
                  <a:pt x="243" y="101"/>
                  <a:pt x="241" y="99"/>
                </a:cubicBezTo>
                <a:cubicBezTo>
                  <a:pt x="240" y="97"/>
                  <a:pt x="234" y="95"/>
                  <a:pt x="233" y="95"/>
                </a:cubicBezTo>
                <a:cubicBezTo>
                  <a:pt x="231" y="95"/>
                  <a:pt x="226" y="98"/>
                  <a:pt x="225" y="94"/>
                </a:cubicBezTo>
                <a:cubicBezTo>
                  <a:pt x="224" y="90"/>
                  <a:pt x="225" y="85"/>
                  <a:pt x="223" y="85"/>
                </a:cubicBezTo>
                <a:cubicBezTo>
                  <a:pt x="221" y="84"/>
                  <a:pt x="205" y="83"/>
                  <a:pt x="203" y="82"/>
                </a:cubicBezTo>
                <a:cubicBezTo>
                  <a:pt x="201" y="81"/>
                  <a:pt x="197" y="80"/>
                  <a:pt x="193" y="79"/>
                </a:cubicBezTo>
                <a:cubicBezTo>
                  <a:pt x="202" y="73"/>
                  <a:pt x="211" y="67"/>
                  <a:pt x="220" y="62"/>
                </a:cubicBezTo>
                <a:cubicBezTo>
                  <a:pt x="220" y="62"/>
                  <a:pt x="221" y="62"/>
                  <a:pt x="221" y="62"/>
                </a:cubicBezTo>
                <a:cubicBezTo>
                  <a:pt x="223" y="63"/>
                  <a:pt x="225" y="62"/>
                  <a:pt x="227" y="61"/>
                </a:cubicBezTo>
                <a:cubicBezTo>
                  <a:pt x="228" y="60"/>
                  <a:pt x="229" y="59"/>
                  <a:pt x="229" y="57"/>
                </a:cubicBezTo>
                <a:cubicBezTo>
                  <a:pt x="230" y="57"/>
                  <a:pt x="230" y="57"/>
                  <a:pt x="231" y="56"/>
                </a:cubicBezTo>
                <a:cubicBezTo>
                  <a:pt x="231" y="58"/>
                  <a:pt x="231" y="59"/>
                  <a:pt x="233" y="60"/>
                </a:cubicBezTo>
                <a:cubicBezTo>
                  <a:pt x="236" y="61"/>
                  <a:pt x="243" y="59"/>
                  <a:pt x="245" y="59"/>
                </a:cubicBezTo>
                <a:cubicBezTo>
                  <a:pt x="247" y="59"/>
                  <a:pt x="259" y="60"/>
                  <a:pt x="262" y="61"/>
                </a:cubicBezTo>
                <a:cubicBezTo>
                  <a:pt x="265" y="63"/>
                  <a:pt x="272" y="63"/>
                  <a:pt x="274" y="66"/>
                </a:cubicBezTo>
                <a:cubicBezTo>
                  <a:pt x="276" y="70"/>
                  <a:pt x="275" y="81"/>
                  <a:pt x="276" y="82"/>
                </a:cubicBezTo>
                <a:cubicBezTo>
                  <a:pt x="277" y="84"/>
                  <a:pt x="282" y="78"/>
                  <a:pt x="283" y="77"/>
                </a:cubicBezTo>
                <a:cubicBezTo>
                  <a:pt x="285" y="75"/>
                  <a:pt x="290" y="76"/>
                  <a:pt x="291" y="78"/>
                </a:cubicBezTo>
                <a:cubicBezTo>
                  <a:pt x="293" y="80"/>
                  <a:pt x="297" y="84"/>
                  <a:pt x="296" y="86"/>
                </a:cubicBezTo>
                <a:cubicBezTo>
                  <a:pt x="296" y="88"/>
                  <a:pt x="295" y="90"/>
                  <a:pt x="293" y="89"/>
                </a:cubicBezTo>
                <a:cubicBezTo>
                  <a:pt x="292" y="88"/>
                  <a:pt x="289" y="98"/>
                  <a:pt x="290" y="96"/>
                </a:cubicBezTo>
                <a:cubicBezTo>
                  <a:pt x="291" y="94"/>
                  <a:pt x="291" y="99"/>
                  <a:pt x="289" y="99"/>
                </a:cubicBezTo>
                <a:cubicBezTo>
                  <a:pt x="287" y="99"/>
                  <a:pt x="285" y="99"/>
                  <a:pt x="285" y="99"/>
                </a:cubicBezTo>
                <a:cubicBezTo>
                  <a:pt x="285" y="99"/>
                  <a:pt x="285" y="98"/>
                  <a:pt x="284" y="96"/>
                </a:cubicBezTo>
                <a:cubicBezTo>
                  <a:pt x="283" y="97"/>
                  <a:pt x="282" y="99"/>
                  <a:pt x="282" y="100"/>
                </a:cubicBezTo>
                <a:cubicBezTo>
                  <a:pt x="282" y="102"/>
                  <a:pt x="285" y="108"/>
                  <a:pt x="286" y="109"/>
                </a:cubicBezTo>
                <a:cubicBezTo>
                  <a:pt x="286" y="110"/>
                  <a:pt x="292" y="111"/>
                  <a:pt x="293" y="112"/>
                </a:cubicBezTo>
                <a:cubicBezTo>
                  <a:pt x="295" y="112"/>
                  <a:pt x="290" y="112"/>
                  <a:pt x="291" y="114"/>
                </a:cubicBezTo>
                <a:cubicBezTo>
                  <a:pt x="292" y="116"/>
                  <a:pt x="294" y="121"/>
                  <a:pt x="297" y="122"/>
                </a:cubicBezTo>
                <a:cubicBezTo>
                  <a:pt x="299" y="123"/>
                  <a:pt x="307" y="128"/>
                  <a:pt x="308" y="130"/>
                </a:cubicBezTo>
                <a:cubicBezTo>
                  <a:pt x="309" y="133"/>
                  <a:pt x="316" y="128"/>
                  <a:pt x="317" y="128"/>
                </a:cubicBezTo>
                <a:cubicBezTo>
                  <a:pt x="318" y="128"/>
                  <a:pt x="318" y="134"/>
                  <a:pt x="322" y="134"/>
                </a:cubicBezTo>
                <a:cubicBezTo>
                  <a:pt x="325" y="135"/>
                  <a:pt x="327" y="134"/>
                  <a:pt x="330" y="131"/>
                </a:cubicBezTo>
                <a:cubicBezTo>
                  <a:pt x="333" y="128"/>
                  <a:pt x="333" y="125"/>
                  <a:pt x="333" y="122"/>
                </a:cubicBezTo>
                <a:cubicBezTo>
                  <a:pt x="333" y="119"/>
                  <a:pt x="333" y="117"/>
                  <a:pt x="337" y="118"/>
                </a:cubicBezTo>
                <a:cubicBezTo>
                  <a:pt x="340" y="119"/>
                  <a:pt x="342" y="117"/>
                  <a:pt x="342" y="115"/>
                </a:cubicBezTo>
                <a:cubicBezTo>
                  <a:pt x="342" y="112"/>
                  <a:pt x="339" y="108"/>
                  <a:pt x="344" y="107"/>
                </a:cubicBezTo>
                <a:cubicBezTo>
                  <a:pt x="350" y="106"/>
                  <a:pt x="353" y="103"/>
                  <a:pt x="357" y="103"/>
                </a:cubicBezTo>
                <a:cubicBezTo>
                  <a:pt x="360" y="103"/>
                  <a:pt x="369" y="104"/>
                  <a:pt x="370" y="103"/>
                </a:cubicBezTo>
                <a:cubicBezTo>
                  <a:pt x="372" y="101"/>
                  <a:pt x="376" y="93"/>
                  <a:pt x="379" y="93"/>
                </a:cubicBezTo>
                <a:cubicBezTo>
                  <a:pt x="382" y="92"/>
                  <a:pt x="390" y="94"/>
                  <a:pt x="396" y="93"/>
                </a:cubicBezTo>
                <a:cubicBezTo>
                  <a:pt x="403" y="92"/>
                  <a:pt x="411" y="88"/>
                  <a:pt x="413" y="88"/>
                </a:cubicBezTo>
                <a:cubicBezTo>
                  <a:pt x="415" y="88"/>
                  <a:pt x="421" y="88"/>
                  <a:pt x="419" y="87"/>
                </a:cubicBezTo>
                <a:cubicBezTo>
                  <a:pt x="417" y="85"/>
                  <a:pt x="415" y="81"/>
                  <a:pt x="411" y="81"/>
                </a:cubicBezTo>
                <a:cubicBezTo>
                  <a:pt x="407" y="81"/>
                  <a:pt x="406" y="73"/>
                  <a:pt x="407" y="73"/>
                </a:cubicBezTo>
                <a:cubicBezTo>
                  <a:pt x="408" y="73"/>
                  <a:pt x="418" y="76"/>
                  <a:pt x="417" y="79"/>
                </a:cubicBezTo>
                <a:cubicBezTo>
                  <a:pt x="417" y="82"/>
                  <a:pt x="419" y="85"/>
                  <a:pt x="424" y="84"/>
                </a:cubicBezTo>
                <a:cubicBezTo>
                  <a:pt x="429" y="83"/>
                  <a:pt x="429" y="79"/>
                  <a:pt x="428" y="78"/>
                </a:cubicBezTo>
                <a:cubicBezTo>
                  <a:pt x="426" y="77"/>
                  <a:pt x="426" y="74"/>
                  <a:pt x="425" y="73"/>
                </a:cubicBezTo>
                <a:cubicBezTo>
                  <a:pt x="423" y="71"/>
                  <a:pt x="421" y="65"/>
                  <a:pt x="426" y="65"/>
                </a:cubicBezTo>
                <a:cubicBezTo>
                  <a:pt x="432" y="65"/>
                  <a:pt x="442" y="70"/>
                  <a:pt x="442" y="66"/>
                </a:cubicBezTo>
                <a:cubicBezTo>
                  <a:pt x="441" y="62"/>
                  <a:pt x="441" y="58"/>
                  <a:pt x="443" y="56"/>
                </a:cubicBezTo>
                <a:cubicBezTo>
                  <a:pt x="444" y="54"/>
                  <a:pt x="447" y="53"/>
                  <a:pt x="445" y="52"/>
                </a:cubicBezTo>
                <a:cubicBezTo>
                  <a:pt x="444" y="51"/>
                  <a:pt x="441" y="53"/>
                  <a:pt x="439" y="50"/>
                </a:cubicBezTo>
                <a:cubicBezTo>
                  <a:pt x="438" y="46"/>
                  <a:pt x="441" y="44"/>
                  <a:pt x="443" y="43"/>
                </a:cubicBezTo>
                <a:cubicBezTo>
                  <a:pt x="445" y="41"/>
                  <a:pt x="454" y="33"/>
                  <a:pt x="460" y="32"/>
                </a:cubicBezTo>
                <a:cubicBezTo>
                  <a:pt x="465" y="31"/>
                  <a:pt x="469" y="26"/>
                  <a:pt x="465" y="25"/>
                </a:cubicBezTo>
                <a:cubicBezTo>
                  <a:pt x="461" y="24"/>
                  <a:pt x="453" y="22"/>
                  <a:pt x="448" y="25"/>
                </a:cubicBezTo>
                <a:cubicBezTo>
                  <a:pt x="443" y="29"/>
                  <a:pt x="441" y="32"/>
                  <a:pt x="435" y="31"/>
                </a:cubicBezTo>
                <a:cubicBezTo>
                  <a:pt x="429" y="29"/>
                  <a:pt x="428" y="24"/>
                  <a:pt x="424" y="22"/>
                </a:cubicBezTo>
                <a:cubicBezTo>
                  <a:pt x="419" y="18"/>
                  <a:pt x="422" y="11"/>
                  <a:pt x="417" y="12"/>
                </a:cubicBezTo>
                <a:cubicBezTo>
                  <a:pt x="412" y="12"/>
                  <a:pt x="412" y="12"/>
                  <a:pt x="412" y="12"/>
                </a:cubicBezTo>
                <a:cubicBezTo>
                  <a:pt x="412" y="12"/>
                  <a:pt x="406" y="12"/>
                  <a:pt x="403" y="12"/>
                </a:cubicBezTo>
                <a:cubicBezTo>
                  <a:pt x="398" y="13"/>
                  <a:pt x="395" y="15"/>
                  <a:pt x="392" y="14"/>
                </a:cubicBezTo>
                <a:cubicBezTo>
                  <a:pt x="387" y="13"/>
                  <a:pt x="382" y="15"/>
                  <a:pt x="381" y="16"/>
                </a:cubicBezTo>
                <a:cubicBezTo>
                  <a:pt x="369" y="17"/>
                  <a:pt x="360" y="15"/>
                  <a:pt x="358" y="15"/>
                </a:cubicBezTo>
                <a:cubicBezTo>
                  <a:pt x="357" y="15"/>
                  <a:pt x="366" y="15"/>
                  <a:pt x="373" y="15"/>
                </a:cubicBezTo>
                <a:cubicBezTo>
                  <a:pt x="379" y="14"/>
                  <a:pt x="389" y="13"/>
                  <a:pt x="393" y="12"/>
                </a:cubicBezTo>
                <a:cubicBezTo>
                  <a:pt x="397" y="12"/>
                  <a:pt x="395" y="11"/>
                  <a:pt x="394" y="11"/>
                </a:cubicBezTo>
                <a:cubicBezTo>
                  <a:pt x="403" y="10"/>
                  <a:pt x="412" y="10"/>
                  <a:pt x="421" y="10"/>
                </a:cubicBezTo>
                <a:cubicBezTo>
                  <a:pt x="509" y="10"/>
                  <a:pt x="592" y="38"/>
                  <a:pt x="659" y="86"/>
                </a:cubicBezTo>
                <a:cubicBezTo>
                  <a:pt x="651" y="83"/>
                  <a:pt x="643" y="80"/>
                  <a:pt x="638" y="81"/>
                </a:cubicBezTo>
                <a:cubicBezTo>
                  <a:pt x="628" y="82"/>
                  <a:pt x="603" y="93"/>
                  <a:pt x="601" y="94"/>
                </a:cubicBezTo>
                <a:cubicBezTo>
                  <a:pt x="600" y="95"/>
                  <a:pt x="598" y="100"/>
                  <a:pt x="593" y="104"/>
                </a:cubicBezTo>
                <a:cubicBezTo>
                  <a:pt x="589" y="108"/>
                  <a:pt x="580" y="112"/>
                  <a:pt x="572" y="113"/>
                </a:cubicBezTo>
                <a:cubicBezTo>
                  <a:pt x="564" y="114"/>
                  <a:pt x="556" y="126"/>
                  <a:pt x="556" y="128"/>
                </a:cubicBezTo>
                <a:cubicBezTo>
                  <a:pt x="556" y="130"/>
                  <a:pt x="560" y="137"/>
                  <a:pt x="559" y="138"/>
                </a:cubicBezTo>
                <a:cubicBezTo>
                  <a:pt x="559" y="139"/>
                  <a:pt x="562" y="146"/>
                  <a:pt x="567" y="149"/>
                </a:cubicBezTo>
                <a:cubicBezTo>
                  <a:pt x="571" y="151"/>
                  <a:pt x="579" y="151"/>
                  <a:pt x="580" y="148"/>
                </a:cubicBezTo>
                <a:cubicBezTo>
                  <a:pt x="580" y="145"/>
                  <a:pt x="585" y="140"/>
                  <a:pt x="586" y="144"/>
                </a:cubicBezTo>
                <a:cubicBezTo>
                  <a:pt x="587" y="148"/>
                  <a:pt x="592" y="154"/>
                  <a:pt x="591" y="157"/>
                </a:cubicBezTo>
                <a:cubicBezTo>
                  <a:pt x="591" y="158"/>
                  <a:pt x="591" y="163"/>
                  <a:pt x="592" y="166"/>
                </a:cubicBezTo>
                <a:cubicBezTo>
                  <a:pt x="591" y="167"/>
                  <a:pt x="591" y="167"/>
                  <a:pt x="590" y="167"/>
                </a:cubicBezTo>
                <a:cubicBezTo>
                  <a:pt x="590" y="167"/>
                  <a:pt x="587" y="166"/>
                  <a:pt x="586" y="162"/>
                </a:cubicBezTo>
                <a:cubicBezTo>
                  <a:pt x="585" y="158"/>
                  <a:pt x="587" y="154"/>
                  <a:pt x="585" y="153"/>
                </a:cubicBezTo>
                <a:cubicBezTo>
                  <a:pt x="582" y="152"/>
                  <a:pt x="575" y="153"/>
                  <a:pt x="574" y="156"/>
                </a:cubicBezTo>
                <a:cubicBezTo>
                  <a:pt x="573" y="159"/>
                  <a:pt x="572" y="164"/>
                  <a:pt x="574" y="166"/>
                </a:cubicBezTo>
                <a:cubicBezTo>
                  <a:pt x="576" y="169"/>
                  <a:pt x="581" y="174"/>
                  <a:pt x="577" y="172"/>
                </a:cubicBezTo>
                <a:cubicBezTo>
                  <a:pt x="572" y="171"/>
                  <a:pt x="566" y="170"/>
                  <a:pt x="562" y="173"/>
                </a:cubicBezTo>
                <a:cubicBezTo>
                  <a:pt x="559" y="175"/>
                  <a:pt x="554" y="181"/>
                  <a:pt x="554" y="181"/>
                </a:cubicBezTo>
                <a:cubicBezTo>
                  <a:pt x="554" y="181"/>
                  <a:pt x="543" y="182"/>
                  <a:pt x="543" y="185"/>
                </a:cubicBezTo>
                <a:cubicBezTo>
                  <a:pt x="543" y="188"/>
                  <a:pt x="543" y="192"/>
                  <a:pt x="539" y="192"/>
                </a:cubicBezTo>
                <a:cubicBezTo>
                  <a:pt x="535" y="192"/>
                  <a:pt x="530" y="194"/>
                  <a:pt x="525" y="194"/>
                </a:cubicBezTo>
                <a:cubicBezTo>
                  <a:pt x="520" y="195"/>
                  <a:pt x="520" y="198"/>
                  <a:pt x="514" y="198"/>
                </a:cubicBezTo>
                <a:cubicBezTo>
                  <a:pt x="508" y="198"/>
                  <a:pt x="507" y="201"/>
                  <a:pt x="513" y="203"/>
                </a:cubicBezTo>
                <a:cubicBezTo>
                  <a:pt x="519" y="204"/>
                  <a:pt x="528" y="208"/>
                  <a:pt x="528" y="213"/>
                </a:cubicBezTo>
                <a:cubicBezTo>
                  <a:pt x="529" y="217"/>
                  <a:pt x="528" y="222"/>
                  <a:pt x="526" y="227"/>
                </a:cubicBezTo>
                <a:cubicBezTo>
                  <a:pt x="525" y="230"/>
                  <a:pt x="516" y="227"/>
                  <a:pt x="510" y="227"/>
                </a:cubicBezTo>
                <a:cubicBezTo>
                  <a:pt x="505" y="227"/>
                  <a:pt x="494" y="225"/>
                  <a:pt x="489" y="227"/>
                </a:cubicBezTo>
                <a:cubicBezTo>
                  <a:pt x="485" y="229"/>
                  <a:pt x="486" y="239"/>
                  <a:pt x="488" y="244"/>
                </a:cubicBezTo>
                <a:cubicBezTo>
                  <a:pt x="489" y="249"/>
                  <a:pt x="487" y="251"/>
                  <a:pt x="485" y="253"/>
                </a:cubicBezTo>
                <a:cubicBezTo>
                  <a:pt x="484" y="254"/>
                  <a:pt x="483" y="259"/>
                  <a:pt x="486" y="261"/>
                </a:cubicBezTo>
                <a:cubicBezTo>
                  <a:pt x="488" y="263"/>
                  <a:pt x="490" y="268"/>
                  <a:pt x="492" y="269"/>
                </a:cubicBezTo>
                <a:cubicBezTo>
                  <a:pt x="494" y="269"/>
                  <a:pt x="500" y="267"/>
                  <a:pt x="502" y="270"/>
                </a:cubicBezTo>
                <a:cubicBezTo>
                  <a:pt x="504" y="273"/>
                  <a:pt x="507" y="279"/>
                  <a:pt x="508" y="278"/>
                </a:cubicBezTo>
                <a:cubicBezTo>
                  <a:pt x="509" y="276"/>
                  <a:pt x="511" y="269"/>
                  <a:pt x="513" y="271"/>
                </a:cubicBezTo>
                <a:cubicBezTo>
                  <a:pt x="516" y="272"/>
                  <a:pt x="521" y="270"/>
                  <a:pt x="525" y="270"/>
                </a:cubicBezTo>
                <a:cubicBezTo>
                  <a:pt x="529" y="270"/>
                  <a:pt x="531" y="264"/>
                  <a:pt x="535" y="262"/>
                </a:cubicBezTo>
                <a:cubicBezTo>
                  <a:pt x="539" y="259"/>
                  <a:pt x="537" y="259"/>
                  <a:pt x="535" y="256"/>
                </a:cubicBezTo>
                <a:cubicBezTo>
                  <a:pt x="534" y="253"/>
                  <a:pt x="539" y="249"/>
                  <a:pt x="542" y="246"/>
                </a:cubicBezTo>
                <a:cubicBezTo>
                  <a:pt x="545" y="242"/>
                  <a:pt x="551" y="245"/>
                  <a:pt x="552" y="241"/>
                </a:cubicBezTo>
                <a:cubicBezTo>
                  <a:pt x="553" y="237"/>
                  <a:pt x="554" y="230"/>
                  <a:pt x="557" y="231"/>
                </a:cubicBezTo>
                <a:cubicBezTo>
                  <a:pt x="561" y="231"/>
                  <a:pt x="566" y="234"/>
                  <a:pt x="569" y="234"/>
                </a:cubicBezTo>
                <a:cubicBezTo>
                  <a:pt x="572" y="234"/>
                  <a:pt x="578" y="229"/>
                  <a:pt x="580" y="228"/>
                </a:cubicBezTo>
                <a:cubicBezTo>
                  <a:pt x="581" y="227"/>
                  <a:pt x="588" y="228"/>
                  <a:pt x="589" y="233"/>
                </a:cubicBezTo>
                <a:cubicBezTo>
                  <a:pt x="590" y="237"/>
                  <a:pt x="598" y="243"/>
                  <a:pt x="599" y="244"/>
                </a:cubicBezTo>
                <a:cubicBezTo>
                  <a:pt x="601" y="245"/>
                  <a:pt x="612" y="250"/>
                  <a:pt x="614" y="252"/>
                </a:cubicBezTo>
                <a:cubicBezTo>
                  <a:pt x="616" y="253"/>
                  <a:pt x="619" y="258"/>
                  <a:pt x="620" y="262"/>
                </a:cubicBezTo>
                <a:cubicBezTo>
                  <a:pt x="621" y="266"/>
                  <a:pt x="626" y="271"/>
                  <a:pt x="626" y="268"/>
                </a:cubicBezTo>
                <a:cubicBezTo>
                  <a:pt x="626" y="264"/>
                  <a:pt x="621" y="252"/>
                  <a:pt x="624" y="253"/>
                </a:cubicBezTo>
                <a:cubicBezTo>
                  <a:pt x="627" y="254"/>
                  <a:pt x="630" y="252"/>
                  <a:pt x="630" y="252"/>
                </a:cubicBezTo>
                <a:cubicBezTo>
                  <a:pt x="630" y="252"/>
                  <a:pt x="622" y="245"/>
                  <a:pt x="619" y="244"/>
                </a:cubicBezTo>
                <a:cubicBezTo>
                  <a:pt x="616" y="242"/>
                  <a:pt x="610" y="239"/>
                  <a:pt x="608" y="233"/>
                </a:cubicBezTo>
                <a:cubicBezTo>
                  <a:pt x="605" y="228"/>
                  <a:pt x="598" y="227"/>
                  <a:pt x="599" y="222"/>
                </a:cubicBezTo>
                <a:cubicBezTo>
                  <a:pt x="599" y="217"/>
                  <a:pt x="605" y="220"/>
                  <a:pt x="608" y="224"/>
                </a:cubicBezTo>
                <a:cubicBezTo>
                  <a:pt x="612" y="229"/>
                  <a:pt x="621" y="235"/>
                  <a:pt x="624" y="238"/>
                </a:cubicBezTo>
                <a:cubicBezTo>
                  <a:pt x="627" y="242"/>
                  <a:pt x="632" y="244"/>
                  <a:pt x="633" y="248"/>
                </a:cubicBezTo>
                <a:cubicBezTo>
                  <a:pt x="634" y="253"/>
                  <a:pt x="638" y="258"/>
                  <a:pt x="640" y="261"/>
                </a:cubicBezTo>
                <a:cubicBezTo>
                  <a:pt x="641" y="263"/>
                  <a:pt x="643" y="279"/>
                  <a:pt x="644" y="282"/>
                </a:cubicBezTo>
                <a:cubicBezTo>
                  <a:pt x="645" y="284"/>
                  <a:pt x="652" y="277"/>
                  <a:pt x="654" y="275"/>
                </a:cubicBezTo>
                <a:cubicBezTo>
                  <a:pt x="656" y="273"/>
                  <a:pt x="660" y="272"/>
                  <a:pt x="660" y="268"/>
                </a:cubicBezTo>
                <a:cubicBezTo>
                  <a:pt x="660" y="264"/>
                  <a:pt x="655" y="260"/>
                  <a:pt x="653" y="259"/>
                </a:cubicBezTo>
                <a:cubicBezTo>
                  <a:pt x="651" y="257"/>
                  <a:pt x="657" y="256"/>
                  <a:pt x="659" y="254"/>
                </a:cubicBezTo>
                <a:cubicBezTo>
                  <a:pt x="661" y="252"/>
                  <a:pt x="664" y="249"/>
                  <a:pt x="666" y="252"/>
                </a:cubicBezTo>
                <a:cubicBezTo>
                  <a:pt x="668" y="255"/>
                  <a:pt x="667" y="267"/>
                  <a:pt x="668" y="269"/>
                </a:cubicBezTo>
                <a:cubicBezTo>
                  <a:pt x="669" y="271"/>
                  <a:pt x="677" y="275"/>
                  <a:pt x="679" y="278"/>
                </a:cubicBezTo>
                <a:cubicBezTo>
                  <a:pt x="680" y="280"/>
                  <a:pt x="687" y="282"/>
                  <a:pt x="688" y="280"/>
                </a:cubicBezTo>
                <a:cubicBezTo>
                  <a:pt x="689" y="279"/>
                  <a:pt x="695" y="282"/>
                  <a:pt x="697" y="282"/>
                </a:cubicBezTo>
                <a:cubicBezTo>
                  <a:pt x="698" y="283"/>
                  <a:pt x="703" y="282"/>
                  <a:pt x="706" y="281"/>
                </a:cubicBezTo>
                <a:cubicBezTo>
                  <a:pt x="709" y="280"/>
                  <a:pt x="711" y="277"/>
                  <a:pt x="711" y="284"/>
                </a:cubicBezTo>
                <a:cubicBezTo>
                  <a:pt x="711" y="290"/>
                  <a:pt x="711" y="300"/>
                  <a:pt x="707" y="305"/>
                </a:cubicBezTo>
                <a:cubicBezTo>
                  <a:pt x="704" y="310"/>
                  <a:pt x="705" y="313"/>
                  <a:pt x="701" y="313"/>
                </a:cubicBezTo>
                <a:cubicBezTo>
                  <a:pt x="700" y="312"/>
                  <a:pt x="698" y="312"/>
                  <a:pt x="697" y="313"/>
                </a:cubicBezTo>
                <a:cubicBezTo>
                  <a:pt x="696" y="310"/>
                  <a:pt x="694" y="308"/>
                  <a:pt x="692" y="309"/>
                </a:cubicBezTo>
                <a:cubicBezTo>
                  <a:pt x="687" y="310"/>
                  <a:pt x="681" y="310"/>
                  <a:pt x="678" y="316"/>
                </a:cubicBezTo>
                <a:cubicBezTo>
                  <a:pt x="674" y="322"/>
                  <a:pt x="672" y="323"/>
                  <a:pt x="671" y="320"/>
                </a:cubicBezTo>
                <a:cubicBezTo>
                  <a:pt x="671" y="318"/>
                  <a:pt x="682" y="310"/>
                  <a:pt x="681" y="307"/>
                </a:cubicBezTo>
                <a:cubicBezTo>
                  <a:pt x="679" y="305"/>
                  <a:pt x="670" y="305"/>
                  <a:pt x="665" y="305"/>
                </a:cubicBezTo>
                <a:cubicBezTo>
                  <a:pt x="659" y="305"/>
                  <a:pt x="655" y="301"/>
                  <a:pt x="651" y="299"/>
                </a:cubicBezTo>
                <a:cubicBezTo>
                  <a:pt x="647" y="298"/>
                  <a:pt x="645" y="309"/>
                  <a:pt x="641" y="314"/>
                </a:cubicBezTo>
                <a:cubicBezTo>
                  <a:pt x="637" y="319"/>
                  <a:pt x="631" y="311"/>
                  <a:pt x="627" y="311"/>
                </a:cubicBezTo>
                <a:cubicBezTo>
                  <a:pt x="623" y="310"/>
                  <a:pt x="616" y="303"/>
                  <a:pt x="616" y="303"/>
                </a:cubicBezTo>
                <a:cubicBezTo>
                  <a:pt x="616" y="303"/>
                  <a:pt x="608" y="299"/>
                  <a:pt x="605" y="299"/>
                </a:cubicBezTo>
                <a:cubicBezTo>
                  <a:pt x="602" y="299"/>
                  <a:pt x="596" y="292"/>
                  <a:pt x="594" y="292"/>
                </a:cubicBezTo>
                <a:cubicBezTo>
                  <a:pt x="593" y="292"/>
                  <a:pt x="588" y="287"/>
                  <a:pt x="591" y="285"/>
                </a:cubicBezTo>
                <a:cubicBezTo>
                  <a:pt x="595" y="283"/>
                  <a:pt x="602" y="288"/>
                  <a:pt x="598" y="276"/>
                </a:cubicBezTo>
                <a:cubicBezTo>
                  <a:pt x="594" y="265"/>
                  <a:pt x="583" y="266"/>
                  <a:pt x="580" y="268"/>
                </a:cubicBezTo>
                <a:cubicBezTo>
                  <a:pt x="577" y="269"/>
                  <a:pt x="555" y="268"/>
                  <a:pt x="553" y="268"/>
                </a:cubicBezTo>
                <a:cubicBezTo>
                  <a:pt x="551" y="268"/>
                  <a:pt x="538" y="273"/>
                  <a:pt x="534" y="275"/>
                </a:cubicBezTo>
                <a:cubicBezTo>
                  <a:pt x="530" y="277"/>
                  <a:pt x="523" y="280"/>
                  <a:pt x="521" y="281"/>
                </a:cubicBezTo>
                <a:cubicBezTo>
                  <a:pt x="519" y="282"/>
                  <a:pt x="510" y="278"/>
                  <a:pt x="506" y="281"/>
                </a:cubicBezTo>
                <a:cubicBezTo>
                  <a:pt x="500" y="284"/>
                  <a:pt x="495" y="290"/>
                  <a:pt x="494" y="290"/>
                </a:cubicBezTo>
                <a:cubicBezTo>
                  <a:pt x="493" y="290"/>
                  <a:pt x="489" y="293"/>
                  <a:pt x="486" y="302"/>
                </a:cubicBezTo>
                <a:cubicBezTo>
                  <a:pt x="483" y="310"/>
                  <a:pt x="487" y="317"/>
                  <a:pt x="481" y="320"/>
                </a:cubicBezTo>
                <a:cubicBezTo>
                  <a:pt x="476" y="322"/>
                  <a:pt x="465" y="327"/>
                  <a:pt x="462" y="331"/>
                </a:cubicBezTo>
                <a:cubicBezTo>
                  <a:pt x="458" y="335"/>
                  <a:pt x="455" y="353"/>
                  <a:pt x="450" y="360"/>
                </a:cubicBezTo>
                <a:cubicBezTo>
                  <a:pt x="446" y="367"/>
                  <a:pt x="450" y="374"/>
                  <a:pt x="451" y="378"/>
                </a:cubicBezTo>
                <a:cubicBezTo>
                  <a:pt x="452" y="383"/>
                  <a:pt x="456" y="391"/>
                  <a:pt x="450" y="399"/>
                </a:cubicBezTo>
                <a:cubicBezTo>
                  <a:pt x="445" y="407"/>
                  <a:pt x="446" y="411"/>
                  <a:pt x="443" y="411"/>
                </a:cubicBezTo>
                <a:cubicBezTo>
                  <a:pt x="441" y="412"/>
                  <a:pt x="446" y="414"/>
                  <a:pt x="447" y="420"/>
                </a:cubicBezTo>
                <a:cubicBezTo>
                  <a:pt x="447" y="425"/>
                  <a:pt x="442" y="431"/>
                  <a:pt x="451" y="436"/>
                </a:cubicBezTo>
                <a:cubicBezTo>
                  <a:pt x="460" y="441"/>
                  <a:pt x="468" y="441"/>
                  <a:pt x="471" y="448"/>
                </a:cubicBezTo>
                <a:cubicBezTo>
                  <a:pt x="473" y="454"/>
                  <a:pt x="481" y="469"/>
                  <a:pt x="481" y="469"/>
                </a:cubicBezTo>
                <a:cubicBezTo>
                  <a:pt x="481" y="469"/>
                  <a:pt x="489" y="478"/>
                  <a:pt x="493" y="482"/>
                </a:cubicBezTo>
                <a:cubicBezTo>
                  <a:pt x="497" y="486"/>
                  <a:pt x="498" y="484"/>
                  <a:pt x="499" y="480"/>
                </a:cubicBezTo>
                <a:cubicBezTo>
                  <a:pt x="500" y="476"/>
                  <a:pt x="506" y="475"/>
                  <a:pt x="512" y="475"/>
                </a:cubicBezTo>
                <a:cubicBezTo>
                  <a:pt x="519" y="475"/>
                  <a:pt x="523" y="477"/>
                  <a:pt x="530" y="475"/>
                </a:cubicBezTo>
                <a:cubicBezTo>
                  <a:pt x="536" y="474"/>
                  <a:pt x="541" y="465"/>
                  <a:pt x="543" y="464"/>
                </a:cubicBezTo>
                <a:cubicBezTo>
                  <a:pt x="545" y="463"/>
                  <a:pt x="555" y="461"/>
                  <a:pt x="561" y="465"/>
                </a:cubicBezTo>
                <a:cubicBezTo>
                  <a:pt x="566" y="469"/>
                  <a:pt x="565" y="475"/>
                  <a:pt x="568" y="479"/>
                </a:cubicBezTo>
                <a:cubicBezTo>
                  <a:pt x="571" y="483"/>
                  <a:pt x="577" y="481"/>
                  <a:pt x="581" y="477"/>
                </a:cubicBezTo>
                <a:cubicBezTo>
                  <a:pt x="585" y="473"/>
                  <a:pt x="583" y="475"/>
                  <a:pt x="588" y="478"/>
                </a:cubicBezTo>
                <a:cubicBezTo>
                  <a:pt x="592" y="481"/>
                  <a:pt x="595" y="484"/>
                  <a:pt x="590" y="489"/>
                </a:cubicBezTo>
                <a:cubicBezTo>
                  <a:pt x="586" y="494"/>
                  <a:pt x="588" y="501"/>
                  <a:pt x="585" y="509"/>
                </a:cubicBezTo>
                <a:cubicBezTo>
                  <a:pt x="582" y="516"/>
                  <a:pt x="587" y="516"/>
                  <a:pt x="592" y="519"/>
                </a:cubicBezTo>
                <a:cubicBezTo>
                  <a:pt x="597" y="522"/>
                  <a:pt x="600" y="542"/>
                  <a:pt x="602" y="546"/>
                </a:cubicBezTo>
                <a:cubicBezTo>
                  <a:pt x="605" y="549"/>
                  <a:pt x="601" y="560"/>
                  <a:pt x="603" y="565"/>
                </a:cubicBezTo>
                <a:cubicBezTo>
                  <a:pt x="606" y="571"/>
                  <a:pt x="607" y="575"/>
                  <a:pt x="603" y="578"/>
                </a:cubicBezTo>
                <a:cubicBezTo>
                  <a:pt x="600" y="581"/>
                  <a:pt x="595" y="587"/>
                  <a:pt x="594" y="597"/>
                </a:cubicBezTo>
                <a:cubicBezTo>
                  <a:pt x="593" y="607"/>
                  <a:pt x="595" y="614"/>
                  <a:pt x="596" y="617"/>
                </a:cubicBezTo>
                <a:cubicBezTo>
                  <a:pt x="597" y="620"/>
                  <a:pt x="601" y="629"/>
                  <a:pt x="603" y="632"/>
                </a:cubicBezTo>
                <a:cubicBezTo>
                  <a:pt x="604" y="635"/>
                  <a:pt x="611" y="641"/>
                  <a:pt x="611" y="646"/>
                </a:cubicBezTo>
                <a:cubicBezTo>
                  <a:pt x="611" y="651"/>
                  <a:pt x="604" y="659"/>
                  <a:pt x="606" y="661"/>
                </a:cubicBezTo>
                <a:cubicBezTo>
                  <a:pt x="608" y="664"/>
                  <a:pt x="608" y="668"/>
                  <a:pt x="612" y="671"/>
                </a:cubicBezTo>
                <a:cubicBezTo>
                  <a:pt x="615" y="674"/>
                  <a:pt x="615" y="682"/>
                  <a:pt x="615" y="682"/>
                </a:cubicBezTo>
                <a:cubicBezTo>
                  <a:pt x="615" y="682"/>
                  <a:pt x="616" y="685"/>
                  <a:pt x="616" y="689"/>
                </a:cubicBezTo>
                <a:cubicBezTo>
                  <a:pt x="615" y="694"/>
                  <a:pt x="615" y="697"/>
                  <a:pt x="619" y="698"/>
                </a:cubicBezTo>
                <a:cubicBezTo>
                  <a:pt x="623" y="700"/>
                  <a:pt x="626" y="700"/>
                  <a:pt x="628" y="698"/>
                </a:cubicBezTo>
                <a:cubicBezTo>
                  <a:pt x="630" y="696"/>
                  <a:pt x="639" y="691"/>
                  <a:pt x="644" y="691"/>
                </a:cubicBezTo>
                <a:cubicBezTo>
                  <a:pt x="649" y="691"/>
                  <a:pt x="656" y="692"/>
                  <a:pt x="662" y="687"/>
                </a:cubicBezTo>
                <a:cubicBezTo>
                  <a:pt x="668" y="683"/>
                  <a:pt x="676" y="672"/>
                  <a:pt x="679" y="669"/>
                </a:cubicBezTo>
                <a:cubicBezTo>
                  <a:pt x="682" y="665"/>
                  <a:pt x="689" y="659"/>
                  <a:pt x="689" y="655"/>
                </a:cubicBezTo>
                <a:cubicBezTo>
                  <a:pt x="688" y="652"/>
                  <a:pt x="685" y="647"/>
                  <a:pt x="688" y="644"/>
                </a:cubicBezTo>
                <a:cubicBezTo>
                  <a:pt x="691" y="642"/>
                  <a:pt x="701" y="640"/>
                  <a:pt x="702" y="637"/>
                </a:cubicBezTo>
                <a:cubicBezTo>
                  <a:pt x="703" y="634"/>
                  <a:pt x="701" y="623"/>
                  <a:pt x="700" y="621"/>
                </a:cubicBezTo>
                <a:cubicBezTo>
                  <a:pt x="700" y="619"/>
                  <a:pt x="703" y="614"/>
                  <a:pt x="706" y="609"/>
                </a:cubicBezTo>
                <a:cubicBezTo>
                  <a:pt x="710" y="604"/>
                  <a:pt x="717" y="598"/>
                  <a:pt x="718" y="596"/>
                </a:cubicBezTo>
                <a:cubicBezTo>
                  <a:pt x="720" y="594"/>
                  <a:pt x="727" y="587"/>
                  <a:pt x="728" y="581"/>
                </a:cubicBezTo>
                <a:cubicBezTo>
                  <a:pt x="729" y="574"/>
                  <a:pt x="727" y="567"/>
                  <a:pt x="729" y="563"/>
                </a:cubicBezTo>
                <a:cubicBezTo>
                  <a:pt x="731" y="560"/>
                  <a:pt x="730" y="557"/>
                  <a:pt x="727" y="554"/>
                </a:cubicBezTo>
                <a:cubicBezTo>
                  <a:pt x="724" y="550"/>
                  <a:pt x="724" y="541"/>
                  <a:pt x="723" y="539"/>
                </a:cubicBezTo>
                <a:cubicBezTo>
                  <a:pt x="722" y="537"/>
                  <a:pt x="725" y="524"/>
                  <a:pt x="727" y="523"/>
                </a:cubicBezTo>
                <a:cubicBezTo>
                  <a:pt x="729" y="521"/>
                  <a:pt x="734" y="511"/>
                  <a:pt x="737" y="507"/>
                </a:cubicBezTo>
                <a:cubicBezTo>
                  <a:pt x="740" y="502"/>
                  <a:pt x="748" y="487"/>
                  <a:pt x="752" y="486"/>
                </a:cubicBezTo>
                <a:cubicBezTo>
                  <a:pt x="755" y="485"/>
                  <a:pt x="761" y="477"/>
                  <a:pt x="761" y="472"/>
                </a:cubicBezTo>
                <a:cubicBezTo>
                  <a:pt x="762" y="468"/>
                  <a:pt x="771" y="450"/>
                  <a:pt x="771" y="447"/>
                </a:cubicBezTo>
                <a:cubicBezTo>
                  <a:pt x="772" y="443"/>
                  <a:pt x="775" y="431"/>
                  <a:pt x="774" y="428"/>
                </a:cubicBezTo>
                <a:cubicBezTo>
                  <a:pt x="773" y="425"/>
                  <a:pt x="760" y="433"/>
                  <a:pt x="759" y="434"/>
                </a:cubicBezTo>
                <a:cubicBezTo>
                  <a:pt x="757" y="435"/>
                  <a:pt x="753" y="439"/>
                  <a:pt x="747" y="439"/>
                </a:cubicBezTo>
                <a:cubicBezTo>
                  <a:pt x="742" y="438"/>
                  <a:pt x="745" y="432"/>
                  <a:pt x="744" y="429"/>
                </a:cubicBezTo>
                <a:cubicBezTo>
                  <a:pt x="744" y="426"/>
                  <a:pt x="738" y="414"/>
                  <a:pt x="737" y="414"/>
                </a:cubicBezTo>
                <a:cubicBezTo>
                  <a:pt x="736" y="413"/>
                  <a:pt x="732" y="407"/>
                  <a:pt x="730" y="401"/>
                </a:cubicBezTo>
                <a:cubicBezTo>
                  <a:pt x="728" y="395"/>
                  <a:pt x="721" y="391"/>
                  <a:pt x="718" y="386"/>
                </a:cubicBezTo>
                <a:cubicBezTo>
                  <a:pt x="715" y="381"/>
                  <a:pt x="718" y="367"/>
                  <a:pt x="715" y="360"/>
                </a:cubicBezTo>
                <a:cubicBezTo>
                  <a:pt x="712" y="352"/>
                  <a:pt x="709" y="343"/>
                  <a:pt x="707" y="336"/>
                </a:cubicBezTo>
                <a:cubicBezTo>
                  <a:pt x="706" y="335"/>
                  <a:pt x="705" y="333"/>
                  <a:pt x="704" y="331"/>
                </a:cubicBezTo>
                <a:cubicBezTo>
                  <a:pt x="708" y="330"/>
                  <a:pt x="713" y="329"/>
                  <a:pt x="713" y="331"/>
                </a:cubicBezTo>
                <a:cubicBezTo>
                  <a:pt x="714" y="335"/>
                  <a:pt x="718" y="343"/>
                  <a:pt x="719" y="349"/>
                </a:cubicBezTo>
                <a:cubicBezTo>
                  <a:pt x="720" y="354"/>
                  <a:pt x="724" y="352"/>
                  <a:pt x="724" y="357"/>
                </a:cubicBezTo>
                <a:cubicBezTo>
                  <a:pt x="725" y="363"/>
                  <a:pt x="728" y="375"/>
                  <a:pt x="730" y="376"/>
                </a:cubicBezTo>
                <a:cubicBezTo>
                  <a:pt x="731" y="378"/>
                  <a:pt x="737" y="386"/>
                  <a:pt x="738" y="389"/>
                </a:cubicBezTo>
                <a:cubicBezTo>
                  <a:pt x="739" y="392"/>
                  <a:pt x="741" y="396"/>
                  <a:pt x="742" y="404"/>
                </a:cubicBezTo>
                <a:cubicBezTo>
                  <a:pt x="743" y="411"/>
                  <a:pt x="744" y="422"/>
                  <a:pt x="746" y="423"/>
                </a:cubicBezTo>
                <a:cubicBezTo>
                  <a:pt x="749" y="424"/>
                  <a:pt x="758" y="420"/>
                  <a:pt x="759" y="419"/>
                </a:cubicBezTo>
                <a:cubicBezTo>
                  <a:pt x="761" y="417"/>
                  <a:pt x="771" y="409"/>
                  <a:pt x="775" y="409"/>
                </a:cubicBezTo>
                <a:cubicBezTo>
                  <a:pt x="778" y="408"/>
                  <a:pt x="779" y="404"/>
                  <a:pt x="783" y="403"/>
                </a:cubicBezTo>
                <a:cubicBezTo>
                  <a:pt x="787" y="401"/>
                  <a:pt x="790" y="396"/>
                  <a:pt x="793" y="392"/>
                </a:cubicBezTo>
                <a:cubicBezTo>
                  <a:pt x="796" y="388"/>
                  <a:pt x="799" y="379"/>
                  <a:pt x="800" y="375"/>
                </a:cubicBezTo>
                <a:cubicBezTo>
                  <a:pt x="801" y="372"/>
                  <a:pt x="804" y="370"/>
                  <a:pt x="802" y="366"/>
                </a:cubicBezTo>
                <a:cubicBezTo>
                  <a:pt x="801" y="362"/>
                  <a:pt x="795" y="356"/>
                  <a:pt x="793" y="356"/>
                </a:cubicBezTo>
                <a:cubicBezTo>
                  <a:pt x="791" y="355"/>
                  <a:pt x="791" y="349"/>
                  <a:pt x="790" y="349"/>
                </a:cubicBezTo>
                <a:cubicBezTo>
                  <a:pt x="788" y="349"/>
                  <a:pt x="789" y="352"/>
                  <a:pt x="786" y="354"/>
                </a:cubicBezTo>
                <a:cubicBezTo>
                  <a:pt x="783" y="357"/>
                  <a:pt x="780" y="361"/>
                  <a:pt x="778" y="360"/>
                </a:cubicBezTo>
                <a:cubicBezTo>
                  <a:pt x="776" y="359"/>
                  <a:pt x="779" y="357"/>
                  <a:pt x="776" y="352"/>
                </a:cubicBezTo>
                <a:cubicBezTo>
                  <a:pt x="772" y="348"/>
                  <a:pt x="771" y="347"/>
                  <a:pt x="771" y="343"/>
                </a:cubicBezTo>
                <a:cubicBezTo>
                  <a:pt x="771" y="340"/>
                  <a:pt x="764" y="333"/>
                  <a:pt x="763" y="328"/>
                </a:cubicBezTo>
                <a:cubicBezTo>
                  <a:pt x="762" y="323"/>
                  <a:pt x="768" y="317"/>
                  <a:pt x="769" y="321"/>
                </a:cubicBezTo>
                <a:cubicBezTo>
                  <a:pt x="771" y="326"/>
                  <a:pt x="772" y="333"/>
                  <a:pt x="776" y="336"/>
                </a:cubicBezTo>
                <a:cubicBezTo>
                  <a:pt x="780" y="339"/>
                  <a:pt x="784" y="344"/>
                  <a:pt x="785" y="345"/>
                </a:cubicBezTo>
                <a:cubicBezTo>
                  <a:pt x="787" y="346"/>
                  <a:pt x="791" y="340"/>
                  <a:pt x="792" y="341"/>
                </a:cubicBezTo>
                <a:cubicBezTo>
                  <a:pt x="794" y="342"/>
                  <a:pt x="797" y="351"/>
                  <a:pt x="799" y="353"/>
                </a:cubicBezTo>
                <a:cubicBezTo>
                  <a:pt x="802" y="354"/>
                  <a:pt x="809" y="355"/>
                  <a:pt x="810" y="355"/>
                </a:cubicBezTo>
                <a:cubicBezTo>
                  <a:pt x="811" y="355"/>
                  <a:pt x="816" y="356"/>
                  <a:pt x="817" y="353"/>
                </a:cubicBezTo>
                <a:cubicBezTo>
                  <a:pt x="818" y="351"/>
                  <a:pt x="822" y="349"/>
                  <a:pt x="825" y="348"/>
                </a:cubicBezTo>
                <a:cubicBezTo>
                  <a:pt x="830" y="371"/>
                  <a:pt x="832" y="396"/>
                  <a:pt x="832" y="421"/>
                </a:cubicBezTo>
                <a:cubicBezTo>
                  <a:pt x="832" y="648"/>
                  <a:pt x="647" y="832"/>
                  <a:pt x="421" y="832"/>
                </a:cubicBezTo>
                <a:close/>
                <a:moveTo>
                  <a:pt x="153" y="225"/>
                </a:moveTo>
                <a:cubicBezTo>
                  <a:pt x="151" y="226"/>
                  <a:pt x="148" y="224"/>
                  <a:pt x="148" y="220"/>
                </a:cubicBezTo>
                <a:cubicBezTo>
                  <a:pt x="148" y="217"/>
                  <a:pt x="145" y="227"/>
                  <a:pt x="146" y="230"/>
                </a:cubicBezTo>
                <a:cubicBezTo>
                  <a:pt x="147" y="233"/>
                  <a:pt x="142" y="237"/>
                  <a:pt x="141" y="237"/>
                </a:cubicBezTo>
                <a:cubicBezTo>
                  <a:pt x="139" y="237"/>
                  <a:pt x="138" y="232"/>
                  <a:pt x="139" y="228"/>
                </a:cubicBezTo>
                <a:cubicBezTo>
                  <a:pt x="140" y="223"/>
                  <a:pt x="137" y="220"/>
                  <a:pt x="133" y="220"/>
                </a:cubicBezTo>
                <a:cubicBezTo>
                  <a:pt x="129" y="221"/>
                  <a:pt x="126" y="226"/>
                  <a:pt x="125" y="227"/>
                </a:cubicBezTo>
                <a:cubicBezTo>
                  <a:pt x="123" y="229"/>
                  <a:pt x="122" y="237"/>
                  <a:pt x="123" y="239"/>
                </a:cubicBezTo>
                <a:cubicBezTo>
                  <a:pt x="123" y="241"/>
                  <a:pt x="123" y="248"/>
                  <a:pt x="119" y="248"/>
                </a:cubicBezTo>
                <a:cubicBezTo>
                  <a:pt x="115" y="248"/>
                  <a:pt x="117" y="239"/>
                  <a:pt x="117" y="236"/>
                </a:cubicBezTo>
                <a:cubicBezTo>
                  <a:pt x="118" y="233"/>
                  <a:pt x="117" y="226"/>
                  <a:pt x="119" y="222"/>
                </a:cubicBezTo>
                <a:cubicBezTo>
                  <a:pt x="120" y="218"/>
                  <a:pt x="125" y="216"/>
                  <a:pt x="128" y="215"/>
                </a:cubicBezTo>
                <a:cubicBezTo>
                  <a:pt x="131" y="215"/>
                  <a:pt x="138" y="217"/>
                  <a:pt x="139" y="217"/>
                </a:cubicBezTo>
                <a:cubicBezTo>
                  <a:pt x="140" y="216"/>
                  <a:pt x="146" y="216"/>
                  <a:pt x="149" y="216"/>
                </a:cubicBezTo>
                <a:cubicBezTo>
                  <a:pt x="151" y="216"/>
                  <a:pt x="155" y="225"/>
                  <a:pt x="153" y="225"/>
                </a:cubicBezTo>
                <a:close/>
                <a:moveTo>
                  <a:pt x="160" y="226"/>
                </a:moveTo>
                <a:cubicBezTo>
                  <a:pt x="161" y="227"/>
                  <a:pt x="170" y="224"/>
                  <a:pt x="171" y="227"/>
                </a:cubicBezTo>
                <a:cubicBezTo>
                  <a:pt x="173" y="229"/>
                  <a:pt x="169" y="230"/>
                  <a:pt x="165" y="232"/>
                </a:cubicBezTo>
                <a:cubicBezTo>
                  <a:pt x="161" y="234"/>
                  <a:pt x="160" y="234"/>
                  <a:pt x="158" y="237"/>
                </a:cubicBezTo>
                <a:cubicBezTo>
                  <a:pt x="156" y="239"/>
                  <a:pt x="151" y="241"/>
                  <a:pt x="148" y="244"/>
                </a:cubicBezTo>
                <a:cubicBezTo>
                  <a:pt x="146" y="247"/>
                  <a:pt x="141" y="249"/>
                  <a:pt x="141" y="247"/>
                </a:cubicBezTo>
                <a:cubicBezTo>
                  <a:pt x="140" y="244"/>
                  <a:pt x="141" y="245"/>
                  <a:pt x="142" y="244"/>
                </a:cubicBezTo>
                <a:cubicBezTo>
                  <a:pt x="142" y="242"/>
                  <a:pt x="149" y="238"/>
                  <a:pt x="149" y="238"/>
                </a:cubicBezTo>
                <a:cubicBezTo>
                  <a:pt x="149" y="238"/>
                  <a:pt x="159" y="226"/>
                  <a:pt x="160" y="226"/>
                </a:cubicBezTo>
                <a:close/>
                <a:moveTo>
                  <a:pt x="129" y="212"/>
                </a:moveTo>
                <a:cubicBezTo>
                  <a:pt x="128" y="212"/>
                  <a:pt x="124" y="211"/>
                  <a:pt x="121" y="211"/>
                </a:cubicBezTo>
                <a:cubicBezTo>
                  <a:pt x="117" y="212"/>
                  <a:pt x="118" y="209"/>
                  <a:pt x="117" y="209"/>
                </a:cubicBezTo>
                <a:cubicBezTo>
                  <a:pt x="115" y="210"/>
                  <a:pt x="111" y="211"/>
                  <a:pt x="109" y="213"/>
                </a:cubicBezTo>
                <a:cubicBezTo>
                  <a:pt x="107" y="214"/>
                  <a:pt x="103" y="215"/>
                  <a:pt x="103" y="212"/>
                </a:cubicBezTo>
                <a:cubicBezTo>
                  <a:pt x="104" y="208"/>
                  <a:pt x="105" y="209"/>
                  <a:pt x="110" y="206"/>
                </a:cubicBezTo>
                <a:cubicBezTo>
                  <a:pt x="115" y="203"/>
                  <a:pt x="121" y="196"/>
                  <a:pt x="123" y="199"/>
                </a:cubicBezTo>
                <a:cubicBezTo>
                  <a:pt x="132" y="205"/>
                  <a:pt x="132" y="205"/>
                  <a:pt x="132" y="205"/>
                </a:cubicBezTo>
                <a:cubicBezTo>
                  <a:pt x="134" y="205"/>
                  <a:pt x="131" y="211"/>
                  <a:pt x="129" y="212"/>
                </a:cubicBezTo>
                <a:close/>
                <a:moveTo>
                  <a:pt x="704" y="499"/>
                </a:moveTo>
                <a:cubicBezTo>
                  <a:pt x="706" y="503"/>
                  <a:pt x="700" y="517"/>
                  <a:pt x="696" y="516"/>
                </a:cubicBezTo>
                <a:cubicBezTo>
                  <a:pt x="693" y="515"/>
                  <a:pt x="695" y="503"/>
                  <a:pt x="696" y="501"/>
                </a:cubicBezTo>
                <a:cubicBezTo>
                  <a:pt x="697" y="498"/>
                  <a:pt x="704" y="497"/>
                  <a:pt x="704" y="499"/>
                </a:cubicBezTo>
                <a:close/>
                <a:moveTo>
                  <a:pt x="480" y="167"/>
                </a:moveTo>
                <a:cubicBezTo>
                  <a:pt x="481" y="171"/>
                  <a:pt x="483" y="173"/>
                  <a:pt x="480" y="175"/>
                </a:cubicBezTo>
                <a:cubicBezTo>
                  <a:pt x="478" y="176"/>
                  <a:pt x="481" y="182"/>
                  <a:pt x="485" y="183"/>
                </a:cubicBezTo>
                <a:cubicBezTo>
                  <a:pt x="488" y="183"/>
                  <a:pt x="492" y="180"/>
                  <a:pt x="495" y="179"/>
                </a:cubicBezTo>
                <a:cubicBezTo>
                  <a:pt x="498" y="177"/>
                  <a:pt x="503" y="175"/>
                  <a:pt x="503" y="170"/>
                </a:cubicBezTo>
                <a:cubicBezTo>
                  <a:pt x="502" y="166"/>
                  <a:pt x="501" y="162"/>
                  <a:pt x="499" y="160"/>
                </a:cubicBezTo>
                <a:cubicBezTo>
                  <a:pt x="498" y="158"/>
                  <a:pt x="494" y="158"/>
                  <a:pt x="492" y="158"/>
                </a:cubicBezTo>
                <a:cubicBezTo>
                  <a:pt x="488" y="159"/>
                  <a:pt x="488" y="163"/>
                  <a:pt x="485" y="163"/>
                </a:cubicBezTo>
                <a:cubicBezTo>
                  <a:pt x="482" y="163"/>
                  <a:pt x="479" y="164"/>
                  <a:pt x="480" y="167"/>
                </a:cubicBezTo>
                <a:close/>
                <a:moveTo>
                  <a:pt x="279" y="93"/>
                </a:moveTo>
                <a:cubicBezTo>
                  <a:pt x="276" y="97"/>
                  <a:pt x="278" y="96"/>
                  <a:pt x="280" y="96"/>
                </a:cubicBezTo>
                <a:cubicBezTo>
                  <a:pt x="281" y="96"/>
                  <a:pt x="282" y="95"/>
                  <a:pt x="284" y="95"/>
                </a:cubicBezTo>
                <a:cubicBezTo>
                  <a:pt x="283" y="92"/>
                  <a:pt x="281" y="90"/>
                  <a:pt x="279" y="93"/>
                </a:cubicBezTo>
                <a:close/>
                <a:moveTo>
                  <a:pt x="506" y="162"/>
                </a:moveTo>
                <a:cubicBezTo>
                  <a:pt x="510" y="164"/>
                  <a:pt x="520" y="167"/>
                  <a:pt x="516" y="168"/>
                </a:cubicBezTo>
                <a:cubicBezTo>
                  <a:pt x="513" y="170"/>
                  <a:pt x="503" y="179"/>
                  <a:pt x="502" y="182"/>
                </a:cubicBezTo>
                <a:cubicBezTo>
                  <a:pt x="501" y="185"/>
                  <a:pt x="514" y="184"/>
                  <a:pt x="514" y="184"/>
                </a:cubicBezTo>
                <a:cubicBezTo>
                  <a:pt x="514" y="184"/>
                  <a:pt x="511" y="188"/>
                  <a:pt x="514" y="189"/>
                </a:cubicBezTo>
                <a:cubicBezTo>
                  <a:pt x="516" y="190"/>
                  <a:pt x="517" y="185"/>
                  <a:pt x="521" y="185"/>
                </a:cubicBezTo>
                <a:cubicBezTo>
                  <a:pt x="524" y="186"/>
                  <a:pt x="531" y="188"/>
                  <a:pt x="535" y="188"/>
                </a:cubicBezTo>
                <a:cubicBezTo>
                  <a:pt x="538" y="188"/>
                  <a:pt x="544" y="183"/>
                  <a:pt x="543" y="180"/>
                </a:cubicBezTo>
                <a:cubicBezTo>
                  <a:pt x="542" y="177"/>
                  <a:pt x="538" y="171"/>
                  <a:pt x="534" y="169"/>
                </a:cubicBezTo>
                <a:cubicBezTo>
                  <a:pt x="530" y="167"/>
                  <a:pt x="525" y="158"/>
                  <a:pt x="522" y="156"/>
                </a:cubicBezTo>
                <a:cubicBezTo>
                  <a:pt x="519" y="154"/>
                  <a:pt x="531" y="149"/>
                  <a:pt x="528" y="145"/>
                </a:cubicBezTo>
                <a:cubicBezTo>
                  <a:pt x="525" y="142"/>
                  <a:pt x="516" y="144"/>
                  <a:pt x="512" y="141"/>
                </a:cubicBezTo>
                <a:cubicBezTo>
                  <a:pt x="508" y="139"/>
                  <a:pt x="505" y="141"/>
                  <a:pt x="503" y="144"/>
                </a:cubicBezTo>
                <a:cubicBezTo>
                  <a:pt x="501" y="147"/>
                  <a:pt x="499" y="144"/>
                  <a:pt x="496" y="144"/>
                </a:cubicBezTo>
                <a:cubicBezTo>
                  <a:pt x="492" y="146"/>
                  <a:pt x="494" y="150"/>
                  <a:pt x="496" y="153"/>
                </a:cubicBezTo>
                <a:cubicBezTo>
                  <a:pt x="498" y="155"/>
                  <a:pt x="501" y="160"/>
                  <a:pt x="506" y="162"/>
                </a:cubicBezTo>
                <a:close/>
                <a:moveTo>
                  <a:pt x="454" y="114"/>
                </a:moveTo>
                <a:cubicBezTo>
                  <a:pt x="455" y="117"/>
                  <a:pt x="457" y="119"/>
                  <a:pt x="462" y="117"/>
                </a:cubicBezTo>
                <a:cubicBezTo>
                  <a:pt x="467" y="116"/>
                  <a:pt x="471" y="115"/>
                  <a:pt x="472" y="114"/>
                </a:cubicBezTo>
                <a:cubicBezTo>
                  <a:pt x="473" y="112"/>
                  <a:pt x="481" y="112"/>
                  <a:pt x="481" y="112"/>
                </a:cubicBezTo>
                <a:cubicBezTo>
                  <a:pt x="481" y="112"/>
                  <a:pt x="487" y="107"/>
                  <a:pt x="485" y="105"/>
                </a:cubicBezTo>
                <a:cubicBezTo>
                  <a:pt x="482" y="103"/>
                  <a:pt x="477" y="102"/>
                  <a:pt x="474" y="101"/>
                </a:cubicBezTo>
                <a:cubicBezTo>
                  <a:pt x="472" y="101"/>
                  <a:pt x="469" y="103"/>
                  <a:pt x="463" y="103"/>
                </a:cubicBezTo>
                <a:cubicBezTo>
                  <a:pt x="458" y="103"/>
                  <a:pt x="454" y="105"/>
                  <a:pt x="452" y="103"/>
                </a:cubicBezTo>
                <a:cubicBezTo>
                  <a:pt x="449" y="101"/>
                  <a:pt x="440" y="99"/>
                  <a:pt x="439" y="101"/>
                </a:cubicBezTo>
                <a:cubicBezTo>
                  <a:pt x="438" y="103"/>
                  <a:pt x="435" y="103"/>
                  <a:pt x="438" y="107"/>
                </a:cubicBezTo>
                <a:cubicBezTo>
                  <a:pt x="440" y="111"/>
                  <a:pt x="442" y="113"/>
                  <a:pt x="444" y="113"/>
                </a:cubicBezTo>
                <a:cubicBezTo>
                  <a:pt x="446" y="112"/>
                  <a:pt x="453" y="112"/>
                  <a:pt x="454" y="114"/>
                </a:cubicBezTo>
                <a:close/>
                <a:moveTo>
                  <a:pt x="213" y="386"/>
                </a:moveTo>
                <a:cubicBezTo>
                  <a:pt x="209" y="387"/>
                  <a:pt x="210" y="396"/>
                  <a:pt x="215" y="395"/>
                </a:cubicBezTo>
                <a:cubicBezTo>
                  <a:pt x="219" y="393"/>
                  <a:pt x="217" y="385"/>
                  <a:pt x="213" y="386"/>
                </a:cubicBezTo>
                <a:close/>
                <a:moveTo>
                  <a:pt x="193" y="379"/>
                </a:moveTo>
                <a:cubicBezTo>
                  <a:pt x="190" y="378"/>
                  <a:pt x="186" y="379"/>
                  <a:pt x="184" y="379"/>
                </a:cubicBezTo>
                <a:cubicBezTo>
                  <a:pt x="181" y="380"/>
                  <a:pt x="174" y="388"/>
                  <a:pt x="174" y="388"/>
                </a:cubicBezTo>
                <a:cubicBezTo>
                  <a:pt x="174" y="388"/>
                  <a:pt x="178" y="389"/>
                  <a:pt x="181" y="389"/>
                </a:cubicBezTo>
                <a:cubicBezTo>
                  <a:pt x="184" y="389"/>
                  <a:pt x="186" y="391"/>
                  <a:pt x="189" y="393"/>
                </a:cubicBezTo>
                <a:cubicBezTo>
                  <a:pt x="191" y="395"/>
                  <a:pt x="196" y="391"/>
                  <a:pt x="198" y="391"/>
                </a:cubicBezTo>
                <a:cubicBezTo>
                  <a:pt x="199" y="391"/>
                  <a:pt x="202" y="397"/>
                  <a:pt x="202" y="390"/>
                </a:cubicBezTo>
                <a:cubicBezTo>
                  <a:pt x="202" y="383"/>
                  <a:pt x="197" y="380"/>
                  <a:pt x="193" y="379"/>
                </a:cubicBezTo>
                <a:close/>
                <a:moveTo>
                  <a:pt x="157" y="353"/>
                </a:moveTo>
                <a:cubicBezTo>
                  <a:pt x="161" y="352"/>
                  <a:pt x="159" y="347"/>
                  <a:pt x="155" y="348"/>
                </a:cubicBezTo>
                <a:cubicBezTo>
                  <a:pt x="152" y="348"/>
                  <a:pt x="152" y="354"/>
                  <a:pt x="157" y="353"/>
                </a:cubicBezTo>
                <a:close/>
                <a:moveTo>
                  <a:pt x="157" y="392"/>
                </a:moveTo>
                <a:cubicBezTo>
                  <a:pt x="153" y="393"/>
                  <a:pt x="154" y="402"/>
                  <a:pt x="158" y="401"/>
                </a:cubicBezTo>
                <a:cubicBezTo>
                  <a:pt x="163" y="399"/>
                  <a:pt x="161" y="391"/>
                  <a:pt x="157" y="392"/>
                </a:cubicBezTo>
                <a:close/>
                <a:moveTo>
                  <a:pt x="161" y="370"/>
                </a:moveTo>
                <a:cubicBezTo>
                  <a:pt x="159" y="371"/>
                  <a:pt x="152" y="366"/>
                  <a:pt x="149" y="363"/>
                </a:cubicBezTo>
                <a:cubicBezTo>
                  <a:pt x="146" y="359"/>
                  <a:pt x="140" y="359"/>
                  <a:pt x="138" y="359"/>
                </a:cubicBezTo>
                <a:cubicBezTo>
                  <a:pt x="135" y="359"/>
                  <a:pt x="126" y="363"/>
                  <a:pt x="126" y="363"/>
                </a:cubicBezTo>
                <a:cubicBezTo>
                  <a:pt x="125" y="368"/>
                  <a:pt x="129" y="367"/>
                  <a:pt x="134" y="367"/>
                </a:cubicBezTo>
                <a:cubicBezTo>
                  <a:pt x="139" y="367"/>
                  <a:pt x="147" y="365"/>
                  <a:pt x="149" y="368"/>
                </a:cubicBezTo>
                <a:cubicBezTo>
                  <a:pt x="150" y="371"/>
                  <a:pt x="158" y="375"/>
                  <a:pt x="160" y="377"/>
                </a:cubicBezTo>
                <a:cubicBezTo>
                  <a:pt x="162" y="379"/>
                  <a:pt x="168" y="380"/>
                  <a:pt x="169" y="377"/>
                </a:cubicBezTo>
                <a:cubicBezTo>
                  <a:pt x="169" y="375"/>
                  <a:pt x="164" y="369"/>
                  <a:pt x="161" y="370"/>
                </a:cubicBezTo>
                <a:close/>
              </a:path>
            </a:pathLst>
          </a:custGeom>
          <a:solidFill>
            <a:schemeClr val="bg1">
              <a:lumMod val="50000"/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6" name="Freeform 17"/>
          <p:cNvSpPr>
            <a:spLocks noEditPoints="1"/>
          </p:cNvSpPr>
          <p:nvPr/>
        </p:nvSpPr>
        <p:spPr bwMode="auto">
          <a:xfrm>
            <a:off x="6508052" y="1226144"/>
            <a:ext cx="301061" cy="397158"/>
          </a:xfrm>
          <a:custGeom>
            <a:avLst/>
            <a:gdLst>
              <a:gd name="T0" fmla="*/ 61 w 160"/>
              <a:gd name="T1" fmla="*/ 71 h 211"/>
              <a:gd name="T2" fmla="*/ 24 w 160"/>
              <a:gd name="T3" fmla="*/ 80 h 211"/>
              <a:gd name="T4" fmla="*/ 49 w 160"/>
              <a:gd name="T5" fmla="*/ 108 h 211"/>
              <a:gd name="T6" fmla="*/ 45 w 160"/>
              <a:gd name="T7" fmla="*/ 146 h 211"/>
              <a:gd name="T8" fmla="*/ 80 w 160"/>
              <a:gd name="T9" fmla="*/ 131 h 211"/>
              <a:gd name="T10" fmla="*/ 112 w 160"/>
              <a:gd name="T11" fmla="*/ 147 h 211"/>
              <a:gd name="T12" fmla="*/ 117 w 160"/>
              <a:gd name="T13" fmla="*/ 141 h 211"/>
              <a:gd name="T14" fmla="*/ 135 w 160"/>
              <a:gd name="T15" fmla="*/ 85 h 211"/>
              <a:gd name="T16" fmla="*/ 132 w 160"/>
              <a:gd name="T17" fmla="*/ 76 h 211"/>
              <a:gd name="T18" fmla="*/ 85 w 160"/>
              <a:gd name="T19" fmla="*/ 42 h 211"/>
              <a:gd name="T20" fmla="*/ 75 w 160"/>
              <a:gd name="T21" fmla="*/ 42 h 211"/>
              <a:gd name="T22" fmla="*/ 96 w 160"/>
              <a:gd name="T23" fmla="*/ 74 h 211"/>
              <a:gd name="T24" fmla="*/ 131 w 160"/>
              <a:gd name="T25" fmla="*/ 81 h 211"/>
              <a:gd name="T26" fmla="*/ 132 w 160"/>
              <a:gd name="T27" fmla="*/ 82 h 211"/>
              <a:gd name="T28" fmla="*/ 106 w 160"/>
              <a:gd name="T29" fmla="*/ 108 h 211"/>
              <a:gd name="T30" fmla="*/ 112 w 160"/>
              <a:gd name="T31" fmla="*/ 142 h 211"/>
              <a:gd name="T32" fmla="*/ 81 w 160"/>
              <a:gd name="T33" fmla="*/ 126 h 211"/>
              <a:gd name="T34" fmla="*/ 79 w 160"/>
              <a:gd name="T35" fmla="*/ 126 h 211"/>
              <a:gd name="T36" fmla="*/ 48 w 160"/>
              <a:gd name="T37" fmla="*/ 142 h 211"/>
              <a:gd name="T38" fmla="*/ 54 w 160"/>
              <a:gd name="T39" fmla="*/ 108 h 211"/>
              <a:gd name="T40" fmla="*/ 28 w 160"/>
              <a:gd name="T41" fmla="*/ 82 h 211"/>
              <a:gd name="T42" fmla="*/ 29 w 160"/>
              <a:gd name="T43" fmla="*/ 81 h 211"/>
              <a:gd name="T44" fmla="*/ 64 w 160"/>
              <a:gd name="T45" fmla="*/ 74 h 211"/>
              <a:gd name="T46" fmla="*/ 80 w 160"/>
              <a:gd name="T47" fmla="*/ 44 h 211"/>
              <a:gd name="T48" fmla="*/ 80 w 160"/>
              <a:gd name="T49" fmla="*/ 0 h 211"/>
              <a:gd name="T50" fmla="*/ 0 w 160"/>
              <a:gd name="T51" fmla="*/ 15 h 211"/>
              <a:gd name="T52" fmla="*/ 34 w 160"/>
              <a:gd name="T53" fmla="*/ 184 h 211"/>
              <a:gd name="T54" fmla="*/ 80 w 160"/>
              <a:gd name="T55" fmla="*/ 211 h 211"/>
              <a:gd name="T56" fmla="*/ 125 w 160"/>
              <a:gd name="T57" fmla="*/ 187 h 211"/>
              <a:gd name="T58" fmla="*/ 160 w 160"/>
              <a:gd name="T59" fmla="*/ 15 h 211"/>
              <a:gd name="T60" fmla="*/ 155 w 160"/>
              <a:gd name="T61" fmla="*/ 145 h 211"/>
              <a:gd name="T62" fmla="*/ 37 w 160"/>
              <a:gd name="T63" fmla="*/ 181 h 211"/>
              <a:gd name="T64" fmla="*/ 5 w 160"/>
              <a:gd name="T65" fmla="*/ 17 h 211"/>
              <a:gd name="T66" fmla="*/ 155 w 160"/>
              <a:gd name="T67" fmla="*/ 17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60" h="211">
                <a:moveTo>
                  <a:pt x="75" y="42"/>
                </a:moveTo>
                <a:cubicBezTo>
                  <a:pt x="61" y="71"/>
                  <a:pt x="61" y="71"/>
                  <a:pt x="61" y="71"/>
                </a:cubicBezTo>
                <a:cubicBezTo>
                  <a:pt x="28" y="76"/>
                  <a:pt x="28" y="76"/>
                  <a:pt x="28" y="76"/>
                </a:cubicBezTo>
                <a:cubicBezTo>
                  <a:pt x="26" y="76"/>
                  <a:pt x="24" y="78"/>
                  <a:pt x="24" y="80"/>
                </a:cubicBezTo>
                <a:cubicBezTo>
                  <a:pt x="23" y="81"/>
                  <a:pt x="24" y="84"/>
                  <a:pt x="25" y="85"/>
                </a:cubicBezTo>
                <a:cubicBezTo>
                  <a:pt x="49" y="108"/>
                  <a:pt x="49" y="108"/>
                  <a:pt x="49" y="108"/>
                </a:cubicBezTo>
                <a:cubicBezTo>
                  <a:pt x="43" y="141"/>
                  <a:pt x="43" y="141"/>
                  <a:pt x="43" y="141"/>
                </a:cubicBezTo>
                <a:cubicBezTo>
                  <a:pt x="43" y="143"/>
                  <a:pt x="44" y="145"/>
                  <a:pt x="45" y="146"/>
                </a:cubicBezTo>
                <a:cubicBezTo>
                  <a:pt x="47" y="147"/>
                  <a:pt x="49" y="147"/>
                  <a:pt x="51" y="146"/>
                </a:cubicBezTo>
                <a:cubicBezTo>
                  <a:pt x="80" y="131"/>
                  <a:pt x="80" y="131"/>
                  <a:pt x="80" y="131"/>
                </a:cubicBezTo>
                <a:cubicBezTo>
                  <a:pt x="109" y="146"/>
                  <a:pt x="109" y="146"/>
                  <a:pt x="109" y="146"/>
                </a:cubicBezTo>
                <a:cubicBezTo>
                  <a:pt x="110" y="146"/>
                  <a:pt x="111" y="147"/>
                  <a:pt x="112" y="147"/>
                </a:cubicBezTo>
                <a:cubicBezTo>
                  <a:pt x="113" y="147"/>
                  <a:pt x="114" y="146"/>
                  <a:pt x="115" y="146"/>
                </a:cubicBezTo>
                <a:cubicBezTo>
                  <a:pt x="116" y="145"/>
                  <a:pt x="117" y="143"/>
                  <a:pt x="117" y="141"/>
                </a:cubicBezTo>
                <a:cubicBezTo>
                  <a:pt x="111" y="108"/>
                  <a:pt x="111" y="108"/>
                  <a:pt x="111" y="108"/>
                </a:cubicBezTo>
                <a:cubicBezTo>
                  <a:pt x="135" y="85"/>
                  <a:pt x="135" y="85"/>
                  <a:pt x="135" y="85"/>
                </a:cubicBezTo>
                <a:cubicBezTo>
                  <a:pt x="136" y="84"/>
                  <a:pt x="137" y="81"/>
                  <a:pt x="136" y="80"/>
                </a:cubicBezTo>
                <a:cubicBezTo>
                  <a:pt x="136" y="78"/>
                  <a:pt x="134" y="76"/>
                  <a:pt x="132" y="76"/>
                </a:cubicBezTo>
                <a:cubicBezTo>
                  <a:pt x="99" y="71"/>
                  <a:pt x="99" y="71"/>
                  <a:pt x="99" y="71"/>
                </a:cubicBezTo>
                <a:cubicBezTo>
                  <a:pt x="85" y="42"/>
                  <a:pt x="85" y="42"/>
                  <a:pt x="85" y="42"/>
                </a:cubicBezTo>
                <a:cubicBezTo>
                  <a:pt x="84" y="40"/>
                  <a:pt x="82" y="39"/>
                  <a:pt x="80" y="39"/>
                </a:cubicBezTo>
                <a:cubicBezTo>
                  <a:pt x="78" y="39"/>
                  <a:pt x="76" y="40"/>
                  <a:pt x="75" y="42"/>
                </a:cubicBezTo>
                <a:close/>
                <a:moveTo>
                  <a:pt x="80" y="44"/>
                </a:moveTo>
                <a:cubicBezTo>
                  <a:pt x="96" y="74"/>
                  <a:pt x="96" y="74"/>
                  <a:pt x="96" y="74"/>
                </a:cubicBezTo>
                <a:cubicBezTo>
                  <a:pt x="96" y="75"/>
                  <a:pt x="97" y="76"/>
                  <a:pt x="97" y="76"/>
                </a:cubicBezTo>
                <a:cubicBezTo>
                  <a:pt x="131" y="81"/>
                  <a:pt x="131" y="81"/>
                  <a:pt x="131" y="81"/>
                </a:cubicBezTo>
                <a:cubicBezTo>
                  <a:pt x="132" y="81"/>
                  <a:pt x="132" y="81"/>
                  <a:pt x="132" y="81"/>
                </a:cubicBezTo>
                <a:cubicBezTo>
                  <a:pt x="132" y="81"/>
                  <a:pt x="132" y="81"/>
                  <a:pt x="132" y="82"/>
                </a:cubicBezTo>
                <a:cubicBezTo>
                  <a:pt x="107" y="106"/>
                  <a:pt x="107" y="106"/>
                  <a:pt x="107" y="106"/>
                </a:cubicBezTo>
                <a:cubicBezTo>
                  <a:pt x="106" y="106"/>
                  <a:pt x="106" y="107"/>
                  <a:pt x="106" y="108"/>
                </a:cubicBezTo>
                <a:cubicBezTo>
                  <a:pt x="112" y="141"/>
                  <a:pt x="112" y="141"/>
                  <a:pt x="112" y="141"/>
                </a:cubicBezTo>
                <a:cubicBezTo>
                  <a:pt x="112" y="142"/>
                  <a:pt x="112" y="142"/>
                  <a:pt x="112" y="142"/>
                </a:cubicBezTo>
                <a:cubicBezTo>
                  <a:pt x="112" y="142"/>
                  <a:pt x="112" y="142"/>
                  <a:pt x="111" y="142"/>
                </a:cubicBezTo>
                <a:cubicBezTo>
                  <a:pt x="81" y="126"/>
                  <a:pt x="81" y="126"/>
                  <a:pt x="81" y="126"/>
                </a:cubicBezTo>
                <a:cubicBezTo>
                  <a:pt x="81" y="126"/>
                  <a:pt x="80" y="126"/>
                  <a:pt x="80" y="126"/>
                </a:cubicBezTo>
                <a:cubicBezTo>
                  <a:pt x="80" y="126"/>
                  <a:pt x="79" y="126"/>
                  <a:pt x="79" y="126"/>
                </a:cubicBezTo>
                <a:cubicBezTo>
                  <a:pt x="48" y="142"/>
                  <a:pt x="48" y="142"/>
                  <a:pt x="48" y="142"/>
                </a:cubicBezTo>
                <a:cubicBezTo>
                  <a:pt x="48" y="142"/>
                  <a:pt x="48" y="142"/>
                  <a:pt x="48" y="142"/>
                </a:cubicBezTo>
                <a:cubicBezTo>
                  <a:pt x="48" y="142"/>
                  <a:pt x="48" y="142"/>
                  <a:pt x="48" y="141"/>
                </a:cubicBezTo>
                <a:cubicBezTo>
                  <a:pt x="54" y="108"/>
                  <a:pt x="54" y="108"/>
                  <a:pt x="54" y="108"/>
                </a:cubicBezTo>
                <a:cubicBezTo>
                  <a:pt x="54" y="107"/>
                  <a:pt x="53" y="106"/>
                  <a:pt x="53" y="106"/>
                </a:cubicBezTo>
                <a:cubicBezTo>
                  <a:pt x="28" y="82"/>
                  <a:pt x="28" y="82"/>
                  <a:pt x="28" y="82"/>
                </a:cubicBezTo>
                <a:cubicBezTo>
                  <a:pt x="28" y="81"/>
                  <a:pt x="28" y="81"/>
                  <a:pt x="28" y="81"/>
                </a:cubicBezTo>
                <a:cubicBezTo>
                  <a:pt x="28" y="81"/>
                  <a:pt x="28" y="81"/>
                  <a:pt x="29" y="81"/>
                </a:cubicBezTo>
                <a:cubicBezTo>
                  <a:pt x="63" y="76"/>
                  <a:pt x="63" y="76"/>
                  <a:pt x="63" y="76"/>
                </a:cubicBezTo>
                <a:cubicBezTo>
                  <a:pt x="63" y="76"/>
                  <a:pt x="64" y="75"/>
                  <a:pt x="64" y="74"/>
                </a:cubicBezTo>
                <a:cubicBezTo>
                  <a:pt x="79" y="44"/>
                  <a:pt x="79" y="44"/>
                  <a:pt x="79" y="44"/>
                </a:cubicBezTo>
                <a:cubicBezTo>
                  <a:pt x="80" y="43"/>
                  <a:pt x="80" y="43"/>
                  <a:pt x="80" y="44"/>
                </a:cubicBezTo>
                <a:close/>
                <a:moveTo>
                  <a:pt x="158" y="13"/>
                </a:moveTo>
                <a:cubicBezTo>
                  <a:pt x="138" y="7"/>
                  <a:pt x="109" y="0"/>
                  <a:pt x="80" y="0"/>
                </a:cubicBezTo>
                <a:cubicBezTo>
                  <a:pt x="56" y="0"/>
                  <a:pt x="31" y="4"/>
                  <a:pt x="2" y="13"/>
                </a:cubicBezTo>
                <a:cubicBezTo>
                  <a:pt x="1" y="13"/>
                  <a:pt x="0" y="14"/>
                  <a:pt x="0" y="15"/>
                </a:cubicBezTo>
                <a:cubicBezTo>
                  <a:pt x="0" y="145"/>
                  <a:pt x="0" y="145"/>
                  <a:pt x="0" y="145"/>
                </a:cubicBezTo>
                <a:cubicBezTo>
                  <a:pt x="0" y="150"/>
                  <a:pt x="5" y="162"/>
                  <a:pt x="34" y="184"/>
                </a:cubicBezTo>
                <a:cubicBezTo>
                  <a:pt x="52" y="198"/>
                  <a:pt x="72" y="209"/>
                  <a:pt x="79" y="211"/>
                </a:cubicBezTo>
                <a:cubicBezTo>
                  <a:pt x="80" y="211"/>
                  <a:pt x="80" y="211"/>
                  <a:pt x="80" y="211"/>
                </a:cubicBezTo>
                <a:cubicBezTo>
                  <a:pt x="80" y="211"/>
                  <a:pt x="80" y="211"/>
                  <a:pt x="80" y="211"/>
                </a:cubicBezTo>
                <a:cubicBezTo>
                  <a:pt x="87" y="210"/>
                  <a:pt x="107" y="199"/>
                  <a:pt x="125" y="187"/>
                </a:cubicBezTo>
                <a:cubicBezTo>
                  <a:pt x="141" y="175"/>
                  <a:pt x="160" y="159"/>
                  <a:pt x="160" y="145"/>
                </a:cubicBezTo>
                <a:cubicBezTo>
                  <a:pt x="160" y="15"/>
                  <a:pt x="160" y="15"/>
                  <a:pt x="160" y="15"/>
                </a:cubicBezTo>
                <a:cubicBezTo>
                  <a:pt x="160" y="14"/>
                  <a:pt x="159" y="13"/>
                  <a:pt x="158" y="13"/>
                </a:cubicBezTo>
                <a:close/>
                <a:moveTo>
                  <a:pt x="155" y="145"/>
                </a:moveTo>
                <a:cubicBezTo>
                  <a:pt x="155" y="167"/>
                  <a:pt x="94" y="203"/>
                  <a:pt x="80" y="206"/>
                </a:cubicBezTo>
                <a:cubicBezTo>
                  <a:pt x="73" y="205"/>
                  <a:pt x="55" y="195"/>
                  <a:pt x="37" y="181"/>
                </a:cubicBezTo>
                <a:cubicBezTo>
                  <a:pt x="17" y="165"/>
                  <a:pt x="5" y="152"/>
                  <a:pt x="5" y="145"/>
                </a:cubicBezTo>
                <a:cubicBezTo>
                  <a:pt x="5" y="17"/>
                  <a:pt x="5" y="17"/>
                  <a:pt x="5" y="17"/>
                </a:cubicBezTo>
                <a:cubicBezTo>
                  <a:pt x="33" y="9"/>
                  <a:pt x="57" y="5"/>
                  <a:pt x="80" y="5"/>
                </a:cubicBezTo>
                <a:cubicBezTo>
                  <a:pt x="108" y="5"/>
                  <a:pt x="136" y="11"/>
                  <a:pt x="155" y="17"/>
                </a:cubicBezTo>
                <a:lnTo>
                  <a:pt x="155" y="14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52" name="Title 51"/>
          <p:cNvSpPr>
            <a:spLocks noGrp="1"/>
          </p:cNvSpPr>
          <p:nvPr>
            <p:ph type="title"/>
          </p:nvPr>
        </p:nvSpPr>
        <p:spPr>
          <a:xfrm>
            <a:off x="228600" y="209550"/>
            <a:ext cx="7630064" cy="545464"/>
          </a:xfrm>
        </p:spPr>
        <p:txBody>
          <a:bodyPr/>
          <a:lstStyle/>
          <a:p>
            <a:r>
              <a:rPr lang="en-US" dirty="0"/>
              <a:t>Global concepts or topics</a:t>
            </a:r>
          </a:p>
        </p:txBody>
      </p:sp>
      <p:sp>
        <p:nvSpPr>
          <p:cNvPr id="29" name="Footer Placeholder 99">
            <a:extLst>
              <a:ext uri="{FF2B5EF4-FFF2-40B4-BE49-F238E27FC236}">
                <a16:creationId xmlns:a16="http://schemas.microsoft.com/office/drawing/2014/main" id="{A2BB8ECC-667C-47B2-9B54-5E4CA3E2FF2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4933950"/>
            <a:ext cx="3657600" cy="1857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0" name="Slide Number Placeholder 100">
            <a:extLst>
              <a:ext uri="{FF2B5EF4-FFF2-40B4-BE49-F238E27FC236}">
                <a16:creationId xmlns:a16="http://schemas.microsoft.com/office/drawing/2014/main" id="{B501F718-025F-4D08-AEC7-53F889FF854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58000" y="4933950"/>
            <a:ext cx="2057400" cy="182880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62</a:t>
            </a:fld>
            <a:endParaRPr lang="en-US" dirty="0"/>
          </a:p>
        </p:txBody>
      </p:sp>
      <p:sp>
        <p:nvSpPr>
          <p:cNvPr id="33" name="Text Placeholder 41">
            <a:extLst>
              <a:ext uri="{FF2B5EF4-FFF2-40B4-BE49-F238E27FC236}">
                <a16:creationId xmlns:a16="http://schemas.microsoft.com/office/drawing/2014/main" id="{BDDBE113-F850-4662-B147-CFC7667F0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312035584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layou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34918E-7EB0-EB45-92D8-C32124FE5C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EAF9DB-6F40-460F-BF1F-2A84CCEEEA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89329B-CA23-AE4D-AC50-E5E895A9E3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086600" y="4933950"/>
            <a:ext cx="2057400" cy="182563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63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554072-2822-4C1D-9551-C73A1134819B}"/>
              </a:ext>
            </a:extLst>
          </p:cNvPr>
          <p:cNvSpPr/>
          <p:nvPr/>
        </p:nvSpPr>
        <p:spPr>
          <a:xfrm>
            <a:off x="203661" y="191193"/>
            <a:ext cx="8740833" cy="4671752"/>
          </a:xfrm>
          <a:prstGeom prst="rect">
            <a:avLst/>
          </a:prstGeom>
          <a:solidFill>
            <a:srgbClr val="336FCA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 indent="-631825" algn="ctr"/>
            <a:r>
              <a:rPr lang="en-US" sz="2800" dirty="0">
                <a:solidFill>
                  <a:schemeClr val="bg1"/>
                </a:solidFill>
              </a:rPr>
              <a:t>Maps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01598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2D0F01F-4519-D749-8ED2-39AFD8D63FA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84360C-519E-F54E-A0A1-66F8F8E3BA1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64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nited States</a:t>
            </a:r>
            <a:endParaRPr lang="en-US" dirty="0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04CCDC21-5AAA-F249-8E38-0E76659EF810}"/>
              </a:ext>
            </a:extLst>
          </p:cNvPr>
          <p:cNvGrpSpPr/>
          <p:nvPr/>
        </p:nvGrpSpPr>
        <p:grpSpPr>
          <a:xfrm>
            <a:off x="1961622" y="909163"/>
            <a:ext cx="5220756" cy="3415187"/>
            <a:chOff x="2169699" y="1096650"/>
            <a:chExt cx="4441031" cy="2905125"/>
          </a:xfrm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3523439" y="2798053"/>
              <a:ext cx="1208484" cy="1203722"/>
            </a:xfrm>
            <a:custGeom>
              <a:avLst/>
              <a:gdLst>
                <a:gd name="T0" fmla="*/ 337 w 846"/>
                <a:gd name="T1" fmla="*/ 0 h 842"/>
                <a:gd name="T2" fmla="*/ 594 w 846"/>
                <a:gd name="T3" fmla="*/ 7 h 842"/>
                <a:gd name="T4" fmla="*/ 594 w 846"/>
                <a:gd name="T5" fmla="*/ 160 h 842"/>
                <a:gd name="T6" fmla="*/ 724 w 846"/>
                <a:gd name="T7" fmla="*/ 202 h 842"/>
                <a:gd name="T8" fmla="*/ 761 w 846"/>
                <a:gd name="T9" fmla="*/ 188 h 842"/>
                <a:gd name="T10" fmla="*/ 847 w 846"/>
                <a:gd name="T11" fmla="*/ 221 h 842"/>
                <a:gd name="T12" fmla="*/ 897 w 846"/>
                <a:gd name="T13" fmla="*/ 219 h 842"/>
                <a:gd name="T14" fmla="*/ 996 w 846"/>
                <a:gd name="T15" fmla="*/ 186 h 842"/>
                <a:gd name="T16" fmla="*/ 1054 w 846"/>
                <a:gd name="T17" fmla="*/ 218 h 842"/>
                <a:gd name="T18" fmla="*/ 1103 w 846"/>
                <a:gd name="T19" fmla="*/ 226 h 842"/>
                <a:gd name="T20" fmla="*/ 1103 w 846"/>
                <a:gd name="T21" fmla="*/ 350 h 842"/>
                <a:gd name="T22" fmla="*/ 1163 w 846"/>
                <a:gd name="T23" fmla="*/ 428 h 842"/>
                <a:gd name="T24" fmla="*/ 1149 w 846"/>
                <a:gd name="T25" fmla="*/ 534 h 842"/>
                <a:gd name="T26" fmla="*/ 1086 w 846"/>
                <a:gd name="T27" fmla="*/ 576 h 842"/>
                <a:gd name="T28" fmla="*/ 1073 w 846"/>
                <a:gd name="T29" fmla="*/ 537 h 842"/>
                <a:gd name="T30" fmla="*/ 1054 w 846"/>
                <a:gd name="T31" fmla="*/ 555 h 842"/>
                <a:gd name="T32" fmla="*/ 1068 w 846"/>
                <a:gd name="T33" fmla="*/ 580 h 842"/>
                <a:gd name="T34" fmla="*/ 955 w 846"/>
                <a:gd name="T35" fmla="*/ 643 h 842"/>
                <a:gd name="T36" fmla="*/ 927 w 846"/>
                <a:gd name="T37" fmla="*/ 647 h 842"/>
                <a:gd name="T38" fmla="*/ 868 w 846"/>
                <a:gd name="T39" fmla="*/ 678 h 842"/>
                <a:gd name="T40" fmla="*/ 868 w 846"/>
                <a:gd name="T41" fmla="*/ 696 h 842"/>
                <a:gd name="T42" fmla="*/ 850 w 846"/>
                <a:gd name="T43" fmla="*/ 700 h 842"/>
                <a:gd name="T44" fmla="*/ 864 w 846"/>
                <a:gd name="T45" fmla="*/ 721 h 842"/>
                <a:gd name="T46" fmla="*/ 833 w 846"/>
                <a:gd name="T47" fmla="*/ 752 h 842"/>
                <a:gd name="T48" fmla="*/ 850 w 846"/>
                <a:gd name="T49" fmla="*/ 798 h 842"/>
                <a:gd name="T50" fmla="*/ 868 w 846"/>
                <a:gd name="T51" fmla="*/ 814 h 842"/>
                <a:gd name="T52" fmla="*/ 864 w 846"/>
                <a:gd name="T53" fmla="*/ 842 h 842"/>
                <a:gd name="T54" fmla="*/ 819 w 846"/>
                <a:gd name="T55" fmla="*/ 842 h 842"/>
                <a:gd name="T56" fmla="*/ 780 w 846"/>
                <a:gd name="T57" fmla="*/ 828 h 842"/>
                <a:gd name="T58" fmla="*/ 751 w 846"/>
                <a:gd name="T59" fmla="*/ 831 h 842"/>
                <a:gd name="T60" fmla="*/ 662 w 846"/>
                <a:gd name="T61" fmla="*/ 807 h 842"/>
                <a:gd name="T62" fmla="*/ 620 w 846"/>
                <a:gd name="T63" fmla="*/ 710 h 842"/>
                <a:gd name="T64" fmla="*/ 558 w 846"/>
                <a:gd name="T65" fmla="*/ 664 h 842"/>
                <a:gd name="T66" fmla="*/ 501 w 846"/>
                <a:gd name="T67" fmla="*/ 580 h 842"/>
                <a:gd name="T68" fmla="*/ 477 w 846"/>
                <a:gd name="T69" fmla="*/ 571 h 842"/>
                <a:gd name="T70" fmla="*/ 447 w 846"/>
                <a:gd name="T71" fmla="*/ 550 h 842"/>
                <a:gd name="T72" fmla="*/ 417 w 846"/>
                <a:gd name="T73" fmla="*/ 550 h 842"/>
                <a:gd name="T74" fmla="*/ 374 w 846"/>
                <a:gd name="T75" fmla="*/ 543 h 842"/>
                <a:gd name="T76" fmla="*/ 341 w 846"/>
                <a:gd name="T77" fmla="*/ 550 h 842"/>
                <a:gd name="T78" fmla="*/ 319 w 846"/>
                <a:gd name="T79" fmla="*/ 593 h 842"/>
                <a:gd name="T80" fmla="*/ 285 w 846"/>
                <a:gd name="T81" fmla="*/ 600 h 842"/>
                <a:gd name="T82" fmla="*/ 211 w 846"/>
                <a:gd name="T83" fmla="*/ 567 h 842"/>
                <a:gd name="T84" fmla="*/ 167 w 846"/>
                <a:gd name="T85" fmla="*/ 527 h 842"/>
                <a:gd name="T86" fmla="*/ 159 w 846"/>
                <a:gd name="T87" fmla="*/ 479 h 842"/>
                <a:gd name="T88" fmla="*/ 128 w 846"/>
                <a:gd name="T89" fmla="*/ 446 h 842"/>
                <a:gd name="T90" fmla="*/ 53 w 846"/>
                <a:gd name="T91" fmla="*/ 400 h 842"/>
                <a:gd name="T92" fmla="*/ 0 w 846"/>
                <a:gd name="T93" fmla="*/ 352 h 842"/>
                <a:gd name="T94" fmla="*/ 0 w 846"/>
                <a:gd name="T95" fmla="*/ 332 h 842"/>
                <a:gd name="T96" fmla="*/ 176 w 846"/>
                <a:gd name="T97" fmla="*/ 333 h 842"/>
                <a:gd name="T98" fmla="*/ 319 w 846"/>
                <a:gd name="T99" fmla="*/ 342 h 842"/>
                <a:gd name="T100" fmla="*/ 337 w 846"/>
                <a:gd name="T101" fmla="*/ 0 h 8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46"/>
                <a:gd name="T154" fmla="*/ 0 h 842"/>
                <a:gd name="T155" fmla="*/ 846 w 846"/>
                <a:gd name="T156" fmla="*/ 842 h 8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46" h="842">
                  <a:moveTo>
                    <a:pt x="245" y="0"/>
                  </a:moveTo>
                  <a:lnTo>
                    <a:pt x="432" y="7"/>
                  </a:lnTo>
                  <a:lnTo>
                    <a:pt x="432" y="160"/>
                  </a:lnTo>
                  <a:lnTo>
                    <a:pt x="527" y="202"/>
                  </a:lnTo>
                  <a:lnTo>
                    <a:pt x="553" y="188"/>
                  </a:lnTo>
                  <a:lnTo>
                    <a:pt x="616" y="221"/>
                  </a:lnTo>
                  <a:lnTo>
                    <a:pt x="653" y="219"/>
                  </a:lnTo>
                  <a:lnTo>
                    <a:pt x="725" y="186"/>
                  </a:lnTo>
                  <a:lnTo>
                    <a:pt x="767" y="218"/>
                  </a:lnTo>
                  <a:lnTo>
                    <a:pt x="803" y="226"/>
                  </a:lnTo>
                  <a:lnTo>
                    <a:pt x="803" y="350"/>
                  </a:lnTo>
                  <a:lnTo>
                    <a:pt x="846" y="428"/>
                  </a:lnTo>
                  <a:lnTo>
                    <a:pt x="836" y="534"/>
                  </a:lnTo>
                  <a:lnTo>
                    <a:pt x="790" y="576"/>
                  </a:lnTo>
                  <a:lnTo>
                    <a:pt x="780" y="537"/>
                  </a:lnTo>
                  <a:lnTo>
                    <a:pt x="767" y="555"/>
                  </a:lnTo>
                  <a:lnTo>
                    <a:pt x="777" y="580"/>
                  </a:lnTo>
                  <a:lnTo>
                    <a:pt x="695" y="643"/>
                  </a:lnTo>
                  <a:lnTo>
                    <a:pt x="675" y="647"/>
                  </a:lnTo>
                  <a:lnTo>
                    <a:pt x="632" y="678"/>
                  </a:lnTo>
                  <a:lnTo>
                    <a:pt x="632" y="696"/>
                  </a:lnTo>
                  <a:lnTo>
                    <a:pt x="619" y="700"/>
                  </a:lnTo>
                  <a:lnTo>
                    <a:pt x="629" y="721"/>
                  </a:lnTo>
                  <a:lnTo>
                    <a:pt x="606" y="752"/>
                  </a:lnTo>
                  <a:lnTo>
                    <a:pt x="619" y="798"/>
                  </a:lnTo>
                  <a:lnTo>
                    <a:pt x="632" y="814"/>
                  </a:lnTo>
                  <a:lnTo>
                    <a:pt x="629" y="842"/>
                  </a:lnTo>
                  <a:lnTo>
                    <a:pt x="596" y="842"/>
                  </a:lnTo>
                  <a:lnTo>
                    <a:pt x="567" y="828"/>
                  </a:lnTo>
                  <a:lnTo>
                    <a:pt x="547" y="831"/>
                  </a:lnTo>
                  <a:lnTo>
                    <a:pt x="481" y="807"/>
                  </a:lnTo>
                  <a:lnTo>
                    <a:pt x="452" y="710"/>
                  </a:lnTo>
                  <a:lnTo>
                    <a:pt x="406" y="664"/>
                  </a:lnTo>
                  <a:lnTo>
                    <a:pt x="365" y="580"/>
                  </a:lnTo>
                  <a:lnTo>
                    <a:pt x="347" y="571"/>
                  </a:lnTo>
                  <a:lnTo>
                    <a:pt x="325" y="550"/>
                  </a:lnTo>
                  <a:lnTo>
                    <a:pt x="304" y="550"/>
                  </a:lnTo>
                  <a:lnTo>
                    <a:pt x="272" y="543"/>
                  </a:lnTo>
                  <a:lnTo>
                    <a:pt x="248" y="550"/>
                  </a:lnTo>
                  <a:lnTo>
                    <a:pt x="232" y="593"/>
                  </a:lnTo>
                  <a:lnTo>
                    <a:pt x="207" y="600"/>
                  </a:lnTo>
                  <a:lnTo>
                    <a:pt x="153" y="567"/>
                  </a:lnTo>
                  <a:lnTo>
                    <a:pt x="121" y="527"/>
                  </a:lnTo>
                  <a:lnTo>
                    <a:pt x="116" y="479"/>
                  </a:lnTo>
                  <a:lnTo>
                    <a:pt x="93" y="446"/>
                  </a:lnTo>
                  <a:lnTo>
                    <a:pt x="39" y="400"/>
                  </a:lnTo>
                  <a:lnTo>
                    <a:pt x="0" y="352"/>
                  </a:lnTo>
                  <a:lnTo>
                    <a:pt x="0" y="332"/>
                  </a:lnTo>
                  <a:lnTo>
                    <a:pt x="128" y="333"/>
                  </a:lnTo>
                  <a:lnTo>
                    <a:pt x="232" y="342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auto">
            <a:xfrm>
              <a:off x="2790109" y="2657101"/>
              <a:ext cx="561293" cy="670194"/>
            </a:xfrm>
            <a:custGeom>
              <a:avLst/>
              <a:gdLst>
                <a:gd name="T0" fmla="*/ 100 w 393"/>
                <a:gd name="T1" fmla="*/ 0 h 469"/>
                <a:gd name="T2" fmla="*/ 92 w 393"/>
                <a:gd name="T3" fmla="*/ 61 h 469"/>
                <a:gd name="T4" fmla="*/ 58 w 393"/>
                <a:gd name="T5" fmla="*/ 54 h 469"/>
                <a:gd name="T6" fmla="*/ 61 w 393"/>
                <a:gd name="T7" fmla="*/ 133 h 469"/>
                <a:gd name="T8" fmla="*/ 44 w 393"/>
                <a:gd name="T9" fmla="*/ 148 h 469"/>
                <a:gd name="T10" fmla="*/ 68 w 393"/>
                <a:gd name="T11" fmla="*/ 197 h 469"/>
                <a:gd name="T12" fmla="*/ 44 w 393"/>
                <a:gd name="T13" fmla="*/ 218 h 469"/>
                <a:gd name="T14" fmla="*/ 31 w 393"/>
                <a:gd name="T15" fmla="*/ 253 h 469"/>
                <a:gd name="T16" fmla="*/ 12 w 393"/>
                <a:gd name="T17" fmla="*/ 287 h 469"/>
                <a:gd name="T18" fmla="*/ 26 w 393"/>
                <a:gd name="T19" fmla="*/ 307 h 469"/>
                <a:gd name="T20" fmla="*/ 3 w 393"/>
                <a:gd name="T21" fmla="*/ 315 h 469"/>
                <a:gd name="T22" fmla="*/ 0 w 393"/>
                <a:gd name="T23" fmla="*/ 347 h 469"/>
                <a:gd name="T24" fmla="*/ 221 w 393"/>
                <a:gd name="T25" fmla="*/ 467 h 469"/>
                <a:gd name="T26" fmla="*/ 346 w 393"/>
                <a:gd name="T27" fmla="*/ 469 h 469"/>
                <a:gd name="T28" fmla="*/ 393 w 393"/>
                <a:gd name="T29" fmla="*/ 37 h 469"/>
                <a:gd name="T30" fmla="*/ 100 w 393"/>
                <a:gd name="T31" fmla="*/ 0 h 46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93"/>
                <a:gd name="T49" fmla="*/ 0 h 469"/>
                <a:gd name="T50" fmla="*/ 393 w 393"/>
                <a:gd name="T51" fmla="*/ 469 h 46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93" h="469">
                  <a:moveTo>
                    <a:pt x="100" y="0"/>
                  </a:moveTo>
                  <a:lnTo>
                    <a:pt x="92" y="61"/>
                  </a:lnTo>
                  <a:lnTo>
                    <a:pt x="58" y="54"/>
                  </a:lnTo>
                  <a:lnTo>
                    <a:pt x="61" y="133"/>
                  </a:lnTo>
                  <a:lnTo>
                    <a:pt x="44" y="148"/>
                  </a:lnTo>
                  <a:lnTo>
                    <a:pt x="68" y="197"/>
                  </a:lnTo>
                  <a:lnTo>
                    <a:pt x="44" y="218"/>
                  </a:lnTo>
                  <a:lnTo>
                    <a:pt x="31" y="253"/>
                  </a:lnTo>
                  <a:lnTo>
                    <a:pt x="12" y="287"/>
                  </a:lnTo>
                  <a:lnTo>
                    <a:pt x="26" y="307"/>
                  </a:lnTo>
                  <a:lnTo>
                    <a:pt x="3" y="315"/>
                  </a:lnTo>
                  <a:lnTo>
                    <a:pt x="0" y="347"/>
                  </a:lnTo>
                  <a:lnTo>
                    <a:pt x="221" y="467"/>
                  </a:lnTo>
                  <a:lnTo>
                    <a:pt x="346" y="469"/>
                  </a:lnTo>
                  <a:lnTo>
                    <a:pt x="393" y="37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35" name="Freeform 33"/>
            <p:cNvSpPr>
              <a:spLocks/>
            </p:cNvSpPr>
            <p:nvPr/>
          </p:nvSpPr>
          <p:spPr bwMode="auto">
            <a:xfrm>
              <a:off x="3279991" y="2704258"/>
              <a:ext cx="595571" cy="635898"/>
            </a:xfrm>
            <a:custGeom>
              <a:avLst/>
              <a:gdLst>
                <a:gd name="T0" fmla="*/ 50 w 417"/>
                <a:gd name="T1" fmla="*/ 0 h 445"/>
                <a:gd name="T2" fmla="*/ 417 w 417"/>
                <a:gd name="T3" fmla="*/ 18 h 445"/>
                <a:gd name="T4" fmla="*/ 399 w 417"/>
                <a:gd name="T5" fmla="*/ 411 h 445"/>
                <a:gd name="T6" fmla="*/ 280 w 417"/>
                <a:gd name="T7" fmla="*/ 403 h 445"/>
                <a:gd name="T8" fmla="*/ 168 w 417"/>
                <a:gd name="T9" fmla="*/ 400 h 445"/>
                <a:gd name="T10" fmla="*/ 168 w 417"/>
                <a:gd name="T11" fmla="*/ 415 h 445"/>
                <a:gd name="T12" fmla="*/ 75 w 417"/>
                <a:gd name="T13" fmla="*/ 415 h 445"/>
                <a:gd name="T14" fmla="*/ 70 w 417"/>
                <a:gd name="T15" fmla="*/ 445 h 445"/>
                <a:gd name="T16" fmla="*/ 0 w 417"/>
                <a:gd name="T17" fmla="*/ 435 h 445"/>
                <a:gd name="T18" fmla="*/ 39 w 417"/>
                <a:gd name="T19" fmla="*/ 102 h 445"/>
                <a:gd name="T20" fmla="*/ 50 w 417"/>
                <a:gd name="T21" fmla="*/ 0 h 44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17"/>
                <a:gd name="T34" fmla="*/ 0 h 445"/>
                <a:gd name="T35" fmla="*/ 417 w 417"/>
                <a:gd name="T36" fmla="*/ 445 h 44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17" h="445">
                  <a:moveTo>
                    <a:pt x="50" y="0"/>
                  </a:moveTo>
                  <a:lnTo>
                    <a:pt x="417" y="18"/>
                  </a:lnTo>
                  <a:lnTo>
                    <a:pt x="399" y="411"/>
                  </a:lnTo>
                  <a:lnTo>
                    <a:pt x="280" y="403"/>
                  </a:lnTo>
                  <a:lnTo>
                    <a:pt x="168" y="400"/>
                  </a:lnTo>
                  <a:lnTo>
                    <a:pt x="168" y="415"/>
                  </a:lnTo>
                  <a:lnTo>
                    <a:pt x="75" y="415"/>
                  </a:lnTo>
                  <a:lnTo>
                    <a:pt x="70" y="445"/>
                  </a:lnTo>
                  <a:lnTo>
                    <a:pt x="0" y="435"/>
                  </a:lnTo>
                  <a:lnTo>
                    <a:pt x="39" y="10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auto">
            <a:xfrm>
              <a:off x="3865564" y="2729980"/>
              <a:ext cx="746963" cy="385826"/>
            </a:xfrm>
            <a:custGeom>
              <a:avLst/>
              <a:gdLst>
                <a:gd name="T0" fmla="*/ 3 w 523"/>
                <a:gd name="T1" fmla="*/ 0 h 270"/>
                <a:gd name="T2" fmla="*/ 0 w 523"/>
                <a:gd name="T3" fmla="*/ 48 h 270"/>
                <a:gd name="T4" fmla="*/ 186 w 523"/>
                <a:gd name="T5" fmla="*/ 55 h 270"/>
                <a:gd name="T6" fmla="*/ 187 w 523"/>
                <a:gd name="T7" fmla="*/ 209 h 270"/>
                <a:gd name="T8" fmla="*/ 282 w 523"/>
                <a:gd name="T9" fmla="*/ 251 h 270"/>
                <a:gd name="T10" fmla="*/ 308 w 523"/>
                <a:gd name="T11" fmla="*/ 236 h 270"/>
                <a:gd name="T12" fmla="*/ 369 w 523"/>
                <a:gd name="T13" fmla="*/ 270 h 270"/>
                <a:gd name="T14" fmla="*/ 408 w 523"/>
                <a:gd name="T15" fmla="*/ 269 h 270"/>
                <a:gd name="T16" fmla="*/ 480 w 523"/>
                <a:gd name="T17" fmla="*/ 236 h 270"/>
                <a:gd name="T18" fmla="*/ 523 w 523"/>
                <a:gd name="T19" fmla="*/ 268 h 270"/>
                <a:gd name="T20" fmla="*/ 523 w 523"/>
                <a:gd name="T21" fmla="*/ 101 h 270"/>
                <a:gd name="T22" fmla="*/ 510 w 523"/>
                <a:gd name="T23" fmla="*/ 3 h 270"/>
                <a:gd name="T24" fmla="*/ 3 w 523"/>
                <a:gd name="T25" fmla="*/ 0 h 27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23"/>
                <a:gd name="T40" fmla="*/ 0 h 270"/>
                <a:gd name="T41" fmla="*/ 523 w 523"/>
                <a:gd name="T42" fmla="*/ 270 h 27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23" h="270">
                  <a:moveTo>
                    <a:pt x="3" y="0"/>
                  </a:moveTo>
                  <a:lnTo>
                    <a:pt x="0" y="48"/>
                  </a:lnTo>
                  <a:lnTo>
                    <a:pt x="186" y="55"/>
                  </a:lnTo>
                  <a:lnTo>
                    <a:pt x="187" y="209"/>
                  </a:lnTo>
                  <a:lnTo>
                    <a:pt x="282" y="251"/>
                  </a:lnTo>
                  <a:lnTo>
                    <a:pt x="308" y="236"/>
                  </a:lnTo>
                  <a:lnTo>
                    <a:pt x="369" y="270"/>
                  </a:lnTo>
                  <a:lnTo>
                    <a:pt x="408" y="269"/>
                  </a:lnTo>
                  <a:lnTo>
                    <a:pt x="480" y="236"/>
                  </a:lnTo>
                  <a:lnTo>
                    <a:pt x="523" y="268"/>
                  </a:lnTo>
                  <a:lnTo>
                    <a:pt x="523" y="101"/>
                  </a:lnTo>
                  <a:lnTo>
                    <a:pt x="510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4310219" y="1298907"/>
              <a:ext cx="584820" cy="684529"/>
            </a:xfrm>
            <a:custGeom>
              <a:avLst/>
              <a:gdLst>
                <a:gd name="T0" fmla="*/ 0 w 400"/>
                <a:gd name="T1" fmla="*/ 38 h 485"/>
                <a:gd name="T2" fmla="*/ 144 w 400"/>
                <a:gd name="T3" fmla="*/ 38 h 485"/>
                <a:gd name="T4" fmla="*/ 143 w 400"/>
                <a:gd name="T5" fmla="*/ 0 h 485"/>
                <a:gd name="T6" fmla="*/ 172 w 400"/>
                <a:gd name="T7" fmla="*/ 11 h 485"/>
                <a:gd name="T8" fmla="*/ 181 w 400"/>
                <a:gd name="T9" fmla="*/ 40 h 485"/>
                <a:gd name="T10" fmla="*/ 248 w 400"/>
                <a:gd name="T11" fmla="*/ 72 h 485"/>
                <a:gd name="T12" fmla="*/ 268 w 400"/>
                <a:gd name="T13" fmla="*/ 58 h 485"/>
                <a:gd name="T14" fmla="*/ 311 w 400"/>
                <a:gd name="T15" fmla="*/ 58 h 485"/>
                <a:gd name="T16" fmla="*/ 342 w 400"/>
                <a:gd name="T17" fmla="*/ 86 h 485"/>
                <a:gd name="T18" fmla="*/ 364 w 400"/>
                <a:gd name="T19" fmla="*/ 76 h 485"/>
                <a:gd name="T20" fmla="*/ 422 w 400"/>
                <a:gd name="T21" fmla="*/ 87 h 485"/>
                <a:gd name="T22" fmla="*/ 444 w 400"/>
                <a:gd name="T23" fmla="*/ 66 h 485"/>
                <a:gd name="T24" fmla="*/ 482 w 400"/>
                <a:gd name="T25" fmla="*/ 83 h 485"/>
                <a:gd name="T26" fmla="*/ 550 w 400"/>
                <a:gd name="T27" fmla="*/ 80 h 485"/>
                <a:gd name="T28" fmla="*/ 439 w 400"/>
                <a:gd name="T29" fmla="*/ 140 h 485"/>
                <a:gd name="T30" fmla="*/ 385 w 400"/>
                <a:gd name="T31" fmla="*/ 193 h 485"/>
                <a:gd name="T32" fmla="*/ 396 w 400"/>
                <a:gd name="T33" fmla="*/ 269 h 485"/>
                <a:gd name="T34" fmla="*/ 358 w 400"/>
                <a:gd name="T35" fmla="*/ 301 h 485"/>
                <a:gd name="T36" fmla="*/ 372 w 400"/>
                <a:gd name="T37" fmla="*/ 324 h 485"/>
                <a:gd name="T38" fmla="*/ 372 w 400"/>
                <a:gd name="T39" fmla="*/ 380 h 485"/>
                <a:gd name="T40" fmla="*/ 411 w 400"/>
                <a:gd name="T41" fmla="*/ 380 h 485"/>
                <a:gd name="T42" fmla="*/ 467 w 400"/>
                <a:gd name="T43" fmla="*/ 421 h 485"/>
                <a:gd name="T44" fmla="*/ 488 w 400"/>
                <a:gd name="T45" fmla="*/ 471 h 485"/>
                <a:gd name="T46" fmla="*/ 101 w 400"/>
                <a:gd name="T47" fmla="*/ 485 h 485"/>
                <a:gd name="T48" fmla="*/ 102 w 400"/>
                <a:gd name="T49" fmla="*/ 351 h 485"/>
                <a:gd name="T50" fmla="*/ 67 w 400"/>
                <a:gd name="T51" fmla="*/ 321 h 485"/>
                <a:gd name="T52" fmla="*/ 80 w 400"/>
                <a:gd name="T53" fmla="*/ 286 h 485"/>
                <a:gd name="T54" fmla="*/ 90 w 400"/>
                <a:gd name="T55" fmla="*/ 266 h 485"/>
                <a:gd name="T56" fmla="*/ 67 w 400"/>
                <a:gd name="T57" fmla="*/ 173 h 485"/>
                <a:gd name="T58" fmla="*/ 34 w 400"/>
                <a:gd name="T59" fmla="*/ 112 h 485"/>
                <a:gd name="T60" fmla="*/ 0 w 400"/>
                <a:gd name="T61" fmla="*/ 38 h 48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00"/>
                <a:gd name="T94" fmla="*/ 0 h 485"/>
                <a:gd name="T95" fmla="*/ 400 w 400"/>
                <a:gd name="T96" fmla="*/ 485 h 48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00" h="485">
                  <a:moveTo>
                    <a:pt x="0" y="38"/>
                  </a:moveTo>
                  <a:lnTo>
                    <a:pt x="105" y="38"/>
                  </a:lnTo>
                  <a:lnTo>
                    <a:pt x="104" y="0"/>
                  </a:lnTo>
                  <a:lnTo>
                    <a:pt x="126" y="11"/>
                  </a:lnTo>
                  <a:lnTo>
                    <a:pt x="131" y="40"/>
                  </a:lnTo>
                  <a:lnTo>
                    <a:pt x="181" y="72"/>
                  </a:lnTo>
                  <a:lnTo>
                    <a:pt x="196" y="58"/>
                  </a:lnTo>
                  <a:lnTo>
                    <a:pt x="226" y="58"/>
                  </a:lnTo>
                  <a:lnTo>
                    <a:pt x="249" y="86"/>
                  </a:lnTo>
                  <a:lnTo>
                    <a:pt x="264" y="76"/>
                  </a:lnTo>
                  <a:lnTo>
                    <a:pt x="308" y="87"/>
                  </a:lnTo>
                  <a:lnTo>
                    <a:pt x="323" y="66"/>
                  </a:lnTo>
                  <a:lnTo>
                    <a:pt x="351" y="83"/>
                  </a:lnTo>
                  <a:lnTo>
                    <a:pt x="400" y="80"/>
                  </a:lnTo>
                  <a:lnTo>
                    <a:pt x="320" y="140"/>
                  </a:lnTo>
                  <a:lnTo>
                    <a:pt x="281" y="193"/>
                  </a:lnTo>
                  <a:lnTo>
                    <a:pt x="288" y="269"/>
                  </a:lnTo>
                  <a:lnTo>
                    <a:pt x="261" y="301"/>
                  </a:lnTo>
                  <a:lnTo>
                    <a:pt x="272" y="324"/>
                  </a:lnTo>
                  <a:lnTo>
                    <a:pt x="272" y="380"/>
                  </a:lnTo>
                  <a:lnTo>
                    <a:pt x="299" y="380"/>
                  </a:lnTo>
                  <a:lnTo>
                    <a:pt x="340" y="421"/>
                  </a:lnTo>
                  <a:lnTo>
                    <a:pt x="356" y="471"/>
                  </a:lnTo>
                  <a:lnTo>
                    <a:pt x="73" y="485"/>
                  </a:lnTo>
                  <a:lnTo>
                    <a:pt x="74" y="351"/>
                  </a:lnTo>
                  <a:lnTo>
                    <a:pt x="49" y="321"/>
                  </a:lnTo>
                  <a:lnTo>
                    <a:pt x="58" y="286"/>
                  </a:lnTo>
                  <a:lnTo>
                    <a:pt x="66" y="266"/>
                  </a:lnTo>
                  <a:lnTo>
                    <a:pt x="49" y="173"/>
                  </a:lnTo>
                  <a:lnTo>
                    <a:pt x="25" y="112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4692633" y="1527657"/>
              <a:ext cx="434578" cy="546497"/>
            </a:xfrm>
            <a:custGeom>
              <a:avLst/>
              <a:gdLst>
                <a:gd name="T0" fmla="*/ 30 w 304"/>
                <a:gd name="T1" fmla="*/ 26 h 382"/>
                <a:gd name="T2" fmla="*/ 62 w 304"/>
                <a:gd name="T3" fmla="*/ 23 h 382"/>
                <a:gd name="T4" fmla="*/ 89 w 304"/>
                <a:gd name="T5" fmla="*/ 23 h 382"/>
                <a:gd name="T6" fmla="*/ 108 w 304"/>
                <a:gd name="T7" fmla="*/ 0 h 382"/>
                <a:gd name="T8" fmla="*/ 120 w 304"/>
                <a:gd name="T9" fmla="*/ 28 h 382"/>
                <a:gd name="T10" fmla="*/ 167 w 304"/>
                <a:gd name="T11" fmla="*/ 28 h 382"/>
                <a:gd name="T12" fmla="*/ 189 w 304"/>
                <a:gd name="T13" fmla="*/ 54 h 382"/>
                <a:gd name="T14" fmla="*/ 237 w 304"/>
                <a:gd name="T15" fmla="*/ 47 h 382"/>
                <a:gd name="T16" fmla="*/ 268 w 304"/>
                <a:gd name="T17" fmla="*/ 64 h 382"/>
                <a:gd name="T18" fmla="*/ 327 w 304"/>
                <a:gd name="T19" fmla="*/ 75 h 382"/>
                <a:gd name="T20" fmla="*/ 338 w 304"/>
                <a:gd name="T21" fmla="*/ 95 h 382"/>
                <a:gd name="T22" fmla="*/ 368 w 304"/>
                <a:gd name="T23" fmla="*/ 97 h 382"/>
                <a:gd name="T24" fmla="*/ 357 w 304"/>
                <a:gd name="T25" fmla="*/ 117 h 382"/>
                <a:gd name="T26" fmla="*/ 369 w 304"/>
                <a:gd name="T27" fmla="*/ 139 h 382"/>
                <a:gd name="T28" fmla="*/ 351 w 304"/>
                <a:gd name="T29" fmla="*/ 167 h 382"/>
                <a:gd name="T30" fmla="*/ 365 w 304"/>
                <a:gd name="T31" fmla="*/ 173 h 382"/>
                <a:gd name="T32" fmla="*/ 397 w 304"/>
                <a:gd name="T33" fmla="*/ 142 h 382"/>
                <a:gd name="T34" fmla="*/ 396 w 304"/>
                <a:gd name="T35" fmla="*/ 132 h 382"/>
                <a:gd name="T36" fmla="*/ 407 w 304"/>
                <a:gd name="T37" fmla="*/ 127 h 382"/>
                <a:gd name="T38" fmla="*/ 417 w 304"/>
                <a:gd name="T39" fmla="*/ 142 h 382"/>
                <a:gd name="T40" fmla="*/ 390 w 304"/>
                <a:gd name="T41" fmla="*/ 164 h 382"/>
                <a:gd name="T42" fmla="*/ 382 w 304"/>
                <a:gd name="T43" fmla="*/ 212 h 382"/>
                <a:gd name="T44" fmla="*/ 382 w 304"/>
                <a:gd name="T45" fmla="*/ 293 h 382"/>
                <a:gd name="T46" fmla="*/ 397 w 304"/>
                <a:gd name="T47" fmla="*/ 307 h 382"/>
                <a:gd name="T48" fmla="*/ 389 w 304"/>
                <a:gd name="T49" fmla="*/ 358 h 382"/>
                <a:gd name="T50" fmla="*/ 194 w 304"/>
                <a:gd name="T51" fmla="*/ 382 h 382"/>
                <a:gd name="T52" fmla="*/ 143 w 304"/>
                <a:gd name="T53" fmla="*/ 359 h 382"/>
                <a:gd name="T54" fmla="*/ 153 w 304"/>
                <a:gd name="T55" fmla="*/ 328 h 382"/>
                <a:gd name="T56" fmla="*/ 129 w 304"/>
                <a:gd name="T57" fmla="*/ 295 h 382"/>
                <a:gd name="T58" fmla="*/ 108 w 304"/>
                <a:gd name="T59" fmla="*/ 254 h 382"/>
                <a:gd name="T60" fmla="*/ 52 w 304"/>
                <a:gd name="T61" fmla="*/ 213 h 382"/>
                <a:gd name="T62" fmla="*/ 17 w 304"/>
                <a:gd name="T63" fmla="*/ 213 h 382"/>
                <a:gd name="T64" fmla="*/ 17 w 304"/>
                <a:gd name="T65" fmla="*/ 157 h 382"/>
                <a:gd name="T66" fmla="*/ 0 w 304"/>
                <a:gd name="T67" fmla="*/ 135 h 382"/>
                <a:gd name="T68" fmla="*/ 38 w 304"/>
                <a:gd name="T69" fmla="*/ 102 h 382"/>
                <a:gd name="T70" fmla="*/ 30 w 304"/>
                <a:gd name="T71" fmla="*/ 26 h 38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4"/>
                <a:gd name="T109" fmla="*/ 0 h 382"/>
                <a:gd name="T110" fmla="*/ 304 w 304"/>
                <a:gd name="T111" fmla="*/ 382 h 38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4" h="382">
                  <a:moveTo>
                    <a:pt x="22" y="26"/>
                  </a:moveTo>
                  <a:lnTo>
                    <a:pt x="45" y="23"/>
                  </a:lnTo>
                  <a:lnTo>
                    <a:pt x="65" y="23"/>
                  </a:lnTo>
                  <a:lnTo>
                    <a:pt x="79" y="0"/>
                  </a:lnTo>
                  <a:lnTo>
                    <a:pt x="88" y="28"/>
                  </a:lnTo>
                  <a:lnTo>
                    <a:pt x="121" y="28"/>
                  </a:lnTo>
                  <a:lnTo>
                    <a:pt x="139" y="54"/>
                  </a:lnTo>
                  <a:lnTo>
                    <a:pt x="173" y="47"/>
                  </a:lnTo>
                  <a:lnTo>
                    <a:pt x="196" y="64"/>
                  </a:lnTo>
                  <a:lnTo>
                    <a:pt x="238" y="75"/>
                  </a:lnTo>
                  <a:lnTo>
                    <a:pt x="246" y="95"/>
                  </a:lnTo>
                  <a:lnTo>
                    <a:pt x="268" y="97"/>
                  </a:lnTo>
                  <a:lnTo>
                    <a:pt x="261" y="117"/>
                  </a:lnTo>
                  <a:lnTo>
                    <a:pt x="269" y="139"/>
                  </a:lnTo>
                  <a:lnTo>
                    <a:pt x="255" y="167"/>
                  </a:lnTo>
                  <a:lnTo>
                    <a:pt x="265" y="173"/>
                  </a:lnTo>
                  <a:lnTo>
                    <a:pt x="289" y="142"/>
                  </a:lnTo>
                  <a:lnTo>
                    <a:pt x="288" y="132"/>
                  </a:lnTo>
                  <a:lnTo>
                    <a:pt x="297" y="127"/>
                  </a:lnTo>
                  <a:lnTo>
                    <a:pt x="304" y="142"/>
                  </a:lnTo>
                  <a:lnTo>
                    <a:pt x="285" y="164"/>
                  </a:lnTo>
                  <a:lnTo>
                    <a:pt x="278" y="212"/>
                  </a:lnTo>
                  <a:lnTo>
                    <a:pt x="278" y="293"/>
                  </a:lnTo>
                  <a:lnTo>
                    <a:pt x="289" y="307"/>
                  </a:lnTo>
                  <a:lnTo>
                    <a:pt x="284" y="358"/>
                  </a:lnTo>
                  <a:lnTo>
                    <a:pt x="140" y="382"/>
                  </a:lnTo>
                  <a:lnTo>
                    <a:pt x="104" y="359"/>
                  </a:lnTo>
                  <a:lnTo>
                    <a:pt x="111" y="328"/>
                  </a:lnTo>
                  <a:lnTo>
                    <a:pt x="94" y="295"/>
                  </a:lnTo>
                  <a:lnTo>
                    <a:pt x="79" y="254"/>
                  </a:lnTo>
                  <a:lnTo>
                    <a:pt x="38" y="213"/>
                  </a:lnTo>
                  <a:lnTo>
                    <a:pt x="13" y="213"/>
                  </a:lnTo>
                  <a:lnTo>
                    <a:pt x="13" y="157"/>
                  </a:lnTo>
                  <a:lnTo>
                    <a:pt x="0" y="135"/>
                  </a:lnTo>
                  <a:lnTo>
                    <a:pt x="28" y="102"/>
                  </a:lnTo>
                  <a:lnTo>
                    <a:pt x="22" y="26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4862893" y="1451457"/>
              <a:ext cx="469106" cy="216694"/>
            </a:xfrm>
            <a:custGeom>
              <a:avLst/>
              <a:gdLst>
                <a:gd name="T0" fmla="*/ 0 w 327"/>
                <a:gd name="T1" fmla="*/ 84 h 152"/>
                <a:gd name="T2" fmla="*/ 101 w 327"/>
                <a:gd name="T3" fmla="*/ 0 h 152"/>
                <a:gd name="T4" fmla="*/ 84 w 327"/>
                <a:gd name="T5" fmla="*/ 34 h 152"/>
                <a:gd name="T6" fmla="*/ 98 w 327"/>
                <a:gd name="T7" fmla="*/ 45 h 152"/>
                <a:gd name="T8" fmla="*/ 129 w 327"/>
                <a:gd name="T9" fmla="*/ 31 h 152"/>
                <a:gd name="T10" fmla="*/ 198 w 327"/>
                <a:gd name="T11" fmla="*/ 52 h 152"/>
                <a:gd name="T12" fmla="*/ 229 w 327"/>
                <a:gd name="T13" fmla="*/ 34 h 152"/>
                <a:gd name="T14" fmla="*/ 325 w 327"/>
                <a:gd name="T15" fmla="*/ 25 h 152"/>
                <a:gd name="T16" fmla="*/ 342 w 327"/>
                <a:gd name="T17" fmla="*/ 46 h 152"/>
                <a:gd name="T18" fmla="*/ 377 w 327"/>
                <a:gd name="T19" fmla="*/ 41 h 152"/>
                <a:gd name="T20" fmla="*/ 451 w 327"/>
                <a:gd name="T21" fmla="*/ 64 h 152"/>
                <a:gd name="T22" fmla="*/ 454 w 327"/>
                <a:gd name="T23" fmla="*/ 80 h 152"/>
                <a:gd name="T24" fmla="*/ 376 w 327"/>
                <a:gd name="T25" fmla="*/ 94 h 152"/>
                <a:gd name="T26" fmla="*/ 355 w 327"/>
                <a:gd name="T27" fmla="*/ 84 h 152"/>
                <a:gd name="T28" fmla="*/ 315 w 327"/>
                <a:gd name="T29" fmla="*/ 87 h 152"/>
                <a:gd name="T30" fmla="*/ 270 w 327"/>
                <a:gd name="T31" fmla="*/ 108 h 152"/>
                <a:gd name="T32" fmla="*/ 248 w 327"/>
                <a:gd name="T33" fmla="*/ 109 h 152"/>
                <a:gd name="T34" fmla="*/ 230 w 327"/>
                <a:gd name="T35" fmla="*/ 94 h 152"/>
                <a:gd name="T36" fmla="*/ 206 w 327"/>
                <a:gd name="T37" fmla="*/ 151 h 152"/>
                <a:gd name="T38" fmla="*/ 177 w 327"/>
                <a:gd name="T39" fmla="*/ 152 h 152"/>
                <a:gd name="T40" fmla="*/ 164 w 327"/>
                <a:gd name="T41" fmla="*/ 129 h 152"/>
                <a:gd name="T42" fmla="*/ 102 w 327"/>
                <a:gd name="T43" fmla="*/ 119 h 152"/>
                <a:gd name="T44" fmla="*/ 75 w 327"/>
                <a:gd name="T45" fmla="*/ 102 h 152"/>
                <a:gd name="T46" fmla="*/ 26 w 327"/>
                <a:gd name="T47" fmla="*/ 108 h 152"/>
                <a:gd name="T48" fmla="*/ 0 w 327"/>
                <a:gd name="T49" fmla="*/ 84 h 15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7"/>
                <a:gd name="T76" fmla="*/ 0 h 152"/>
                <a:gd name="T77" fmla="*/ 327 w 327"/>
                <a:gd name="T78" fmla="*/ 152 h 15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7" h="152">
                  <a:moveTo>
                    <a:pt x="0" y="84"/>
                  </a:moveTo>
                  <a:lnTo>
                    <a:pt x="73" y="0"/>
                  </a:lnTo>
                  <a:lnTo>
                    <a:pt x="60" y="34"/>
                  </a:lnTo>
                  <a:lnTo>
                    <a:pt x="70" y="45"/>
                  </a:lnTo>
                  <a:lnTo>
                    <a:pt x="93" y="31"/>
                  </a:lnTo>
                  <a:lnTo>
                    <a:pt x="143" y="52"/>
                  </a:lnTo>
                  <a:lnTo>
                    <a:pt x="165" y="34"/>
                  </a:lnTo>
                  <a:lnTo>
                    <a:pt x="233" y="25"/>
                  </a:lnTo>
                  <a:lnTo>
                    <a:pt x="246" y="46"/>
                  </a:lnTo>
                  <a:lnTo>
                    <a:pt x="272" y="41"/>
                  </a:lnTo>
                  <a:lnTo>
                    <a:pt x="324" y="64"/>
                  </a:lnTo>
                  <a:lnTo>
                    <a:pt x="327" y="80"/>
                  </a:lnTo>
                  <a:lnTo>
                    <a:pt x="271" y="94"/>
                  </a:lnTo>
                  <a:lnTo>
                    <a:pt x="255" y="84"/>
                  </a:lnTo>
                  <a:lnTo>
                    <a:pt x="227" y="87"/>
                  </a:lnTo>
                  <a:lnTo>
                    <a:pt x="194" y="108"/>
                  </a:lnTo>
                  <a:lnTo>
                    <a:pt x="178" y="109"/>
                  </a:lnTo>
                  <a:lnTo>
                    <a:pt x="166" y="94"/>
                  </a:lnTo>
                  <a:lnTo>
                    <a:pt x="148" y="151"/>
                  </a:lnTo>
                  <a:lnTo>
                    <a:pt x="127" y="152"/>
                  </a:lnTo>
                  <a:lnTo>
                    <a:pt x="118" y="129"/>
                  </a:lnTo>
                  <a:lnTo>
                    <a:pt x="74" y="119"/>
                  </a:lnTo>
                  <a:lnTo>
                    <a:pt x="54" y="102"/>
                  </a:lnTo>
                  <a:lnTo>
                    <a:pt x="18" y="108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173646" y="1603856"/>
              <a:ext cx="333375" cy="486966"/>
            </a:xfrm>
            <a:custGeom>
              <a:avLst/>
              <a:gdLst>
                <a:gd name="T0" fmla="*/ 81 w 234"/>
                <a:gd name="T1" fmla="*/ 14 h 341"/>
                <a:gd name="T2" fmla="*/ 91 w 234"/>
                <a:gd name="T3" fmla="*/ 35 h 341"/>
                <a:gd name="T4" fmla="*/ 69 w 234"/>
                <a:gd name="T5" fmla="*/ 48 h 341"/>
                <a:gd name="T6" fmla="*/ 68 w 234"/>
                <a:gd name="T7" fmla="*/ 102 h 341"/>
                <a:gd name="T8" fmla="*/ 56 w 234"/>
                <a:gd name="T9" fmla="*/ 67 h 341"/>
                <a:gd name="T10" fmla="*/ 11 w 234"/>
                <a:gd name="T11" fmla="*/ 101 h 341"/>
                <a:gd name="T12" fmla="*/ 0 w 234"/>
                <a:gd name="T13" fmla="*/ 199 h 341"/>
                <a:gd name="T14" fmla="*/ 29 w 234"/>
                <a:gd name="T15" fmla="*/ 247 h 341"/>
                <a:gd name="T16" fmla="*/ 32 w 234"/>
                <a:gd name="T17" fmla="*/ 272 h 341"/>
                <a:gd name="T18" fmla="*/ 34 w 234"/>
                <a:gd name="T19" fmla="*/ 292 h 341"/>
                <a:gd name="T20" fmla="*/ 32 w 234"/>
                <a:gd name="T21" fmla="*/ 309 h 341"/>
                <a:gd name="T22" fmla="*/ 27 w 234"/>
                <a:gd name="T23" fmla="*/ 341 h 341"/>
                <a:gd name="T24" fmla="*/ 152 w 234"/>
                <a:gd name="T25" fmla="*/ 335 h 341"/>
                <a:gd name="T26" fmla="*/ 318 w 234"/>
                <a:gd name="T27" fmla="*/ 323 h 341"/>
                <a:gd name="T28" fmla="*/ 289 w 234"/>
                <a:gd name="T29" fmla="*/ 316 h 341"/>
                <a:gd name="T30" fmla="*/ 271 w 234"/>
                <a:gd name="T31" fmla="*/ 299 h 341"/>
                <a:gd name="T32" fmla="*/ 297 w 234"/>
                <a:gd name="T33" fmla="*/ 283 h 341"/>
                <a:gd name="T34" fmla="*/ 297 w 234"/>
                <a:gd name="T35" fmla="*/ 265 h 341"/>
                <a:gd name="T36" fmla="*/ 284 w 234"/>
                <a:gd name="T37" fmla="*/ 248 h 341"/>
                <a:gd name="T38" fmla="*/ 297 w 234"/>
                <a:gd name="T39" fmla="*/ 236 h 341"/>
                <a:gd name="T40" fmla="*/ 320 w 234"/>
                <a:gd name="T41" fmla="*/ 238 h 341"/>
                <a:gd name="T42" fmla="*/ 315 w 234"/>
                <a:gd name="T43" fmla="*/ 191 h 341"/>
                <a:gd name="T44" fmla="*/ 308 w 234"/>
                <a:gd name="T45" fmla="*/ 162 h 341"/>
                <a:gd name="T46" fmla="*/ 296 w 234"/>
                <a:gd name="T47" fmla="*/ 145 h 341"/>
                <a:gd name="T48" fmla="*/ 282 w 234"/>
                <a:gd name="T49" fmla="*/ 134 h 341"/>
                <a:gd name="T50" fmla="*/ 262 w 234"/>
                <a:gd name="T51" fmla="*/ 131 h 341"/>
                <a:gd name="T52" fmla="*/ 242 w 234"/>
                <a:gd name="T53" fmla="*/ 131 h 341"/>
                <a:gd name="T54" fmla="*/ 219 w 234"/>
                <a:gd name="T55" fmla="*/ 153 h 341"/>
                <a:gd name="T56" fmla="*/ 207 w 234"/>
                <a:gd name="T57" fmla="*/ 160 h 341"/>
                <a:gd name="T58" fmla="*/ 199 w 234"/>
                <a:gd name="T59" fmla="*/ 162 h 341"/>
                <a:gd name="T60" fmla="*/ 187 w 234"/>
                <a:gd name="T61" fmla="*/ 159 h 341"/>
                <a:gd name="T62" fmla="*/ 185 w 234"/>
                <a:gd name="T63" fmla="*/ 148 h 341"/>
                <a:gd name="T64" fmla="*/ 187 w 234"/>
                <a:gd name="T65" fmla="*/ 141 h 341"/>
                <a:gd name="T66" fmla="*/ 198 w 234"/>
                <a:gd name="T67" fmla="*/ 134 h 341"/>
                <a:gd name="T68" fmla="*/ 205 w 234"/>
                <a:gd name="T69" fmla="*/ 131 h 341"/>
                <a:gd name="T70" fmla="*/ 215 w 234"/>
                <a:gd name="T71" fmla="*/ 129 h 341"/>
                <a:gd name="T72" fmla="*/ 215 w 234"/>
                <a:gd name="T73" fmla="*/ 117 h 341"/>
                <a:gd name="T74" fmla="*/ 239 w 234"/>
                <a:gd name="T75" fmla="*/ 102 h 341"/>
                <a:gd name="T76" fmla="*/ 215 w 234"/>
                <a:gd name="T77" fmla="*/ 58 h 341"/>
                <a:gd name="T78" fmla="*/ 215 w 234"/>
                <a:gd name="T79" fmla="*/ 37 h 341"/>
                <a:gd name="T80" fmla="*/ 174 w 234"/>
                <a:gd name="T81" fmla="*/ 28 h 341"/>
                <a:gd name="T82" fmla="*/ 116 w 234"/>
                <a:gd name="T83" fmla="*/ 0 h 341"/>
                <a:gd name="T84" fmla="*/ 81 w 234"/>
                <a:gd name="T85" fmla="*/ 14 h 34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34"/>
                <a:gd name="T130" fmla="*/ 0 h 341"/>
                <a:gd name="T131" fmla="*/ 234 w 234"/>
                <a:gd name="T132" fmla="*/ 341 h 34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34" h="341">
                  <a:moveTo>
                    <a:pt x="59" y="14"/>
                  </a:moveTo>
                  <a:lnTo>
                    <a:pt x="67" y="35"/>
                  </a:lnTo>
                  <a:lnTo>
                    <a:pt x="51" y="48"/>
                  </a:lnTo>
                  <a:lnTo>
                    <a:pt x="50" y="102"/>
                  </a:lnTo>
                  <a:lnTo>
                    <a:pt x="41" y="67"/>
                  </a:lnTo>
                  <a:lnTo>
                    <a:pt x="7" y="101"/>
                  </a:lnTo>
                  <a:lnTo>
                    <a:pt x="0" y="199"/>
                  </a:lnTo>
                  <a:lnTo>
                    <a:pt x="21" y="247"/>
                  </a:lnTo>
                  <a:lnTo>
                    <a:pt x="24" y="272"/>
                  </a:lnTo>
                  <a:lnTo>
                    <a:pt x="25" y="292"/>
                  </a:lnTo>
                  <a:lnTo>
                    <a:pt x="24" y="309"/>
                  </a:lnTo>
                  <a:lnTo>
                    <a:pt x="19" y="341"/>
                  </a:lnTo>
                  <a:lnTo>
                    <a:pt x="111" y="335"/>
                  </a:lnTo>
                  <a:lnTo>
                    <a:pt x="233" y="323"/>
                  </a:lnTo>
                  <a:lnTo>
                    <a:pt x="211" y="316"/>
                  </a:lnTo>
                  <a:lnTo>
                    <a:pt x="199" y="299"/>
                  </a:lnTo>
                  <a:lnTo>
                    <a:pt x="217" y="283"/>
                  </a:lnTo>
                  <a:lnTo>
                    <a:pt x="217" y="265"/>
                  </a:lnTo>
                  <a:lnTo>
                    <a:pt x="208" y="248"/>
                  </a:lnTo>
                  <a:lnTo>
                    <a:pt x="217" y="236"/>
                  </a:lnTo>
                  <a:lnTo>
                    <a:pt x="234" y="238"/>
                  </a:lnTo>
                  <a:lnTo>
                    <a:pt x="230" y="191"/>
                  </a:lnTo>
                  <a:lnTo>
                    <a:pt x="226" y="162"/>
                  </a:lnTo>
                  <a:lnTo>
                    <a:pt x="216" y="145"/>
                  </a:lnTo>
                  <a:lnTo>
                    <a:pt x="206" y="134"/>
                  </a:lnTo>
                  <a:lnTo>
                    <a:pt x="191" y="131"/>
                  </a:lnTo>
                  <a:lnTo>
                    <a:pt x="177" y="131"/>
                  </a:lnTo>
                  <a:lnTo>
                    <a:pt x="161" y="153"/>
                  </a:lnTo>
                  <a:lnTo>
                    <a:pt x="152" y="160"/>
                  </a:lnTo>
                  <a:lnTo>
                    <a:pt x="145" y="162"/>
                  </a:lnTo>
                  <a:lnTo>
                    <a:pt x="137" y="159"/>
                  </a:lnTo>
                  <a:lnTo>
                    <a:pt x="135" y="148"/>
                  </a:lnTo>
                  <a:lnTo>
                    <a:pt x="137" y="141"/>
                  </a:lnTo>
                  <a:lnTo>
                    <a:pt x="144" y="134"/>
                  </a:lnTo>
                  <a:lnTo>
                    <a:pt x="151" y="131"/>
                  </a:lnTo>
                  <a:lnTo>
                    <a:pt x="157" y="129"/>
                  </a:lnTo>
                  <a:lnTo>
                    <a:pt x="157" y="117"/>
                  </a:lnTo>
                  <a:lnTo>
                    <a:pt x="175" y="102"/>
                  </a:lnTo>
                  <a:lnTo>
                    <a:pt x="157" y="58"/>
                  </a:lnTo>
                  <a:lnTo>
                    <a:pt x="157" y="37"/>
                  </a:lnTo>
                  <a:lnTo>
                    <a:pt x="128" y="28"/>
                  </a:lnTo>
                  <a:lnTo>
                    <a:pt x="85" y="0"/>
                  </a:lnTo>
                  <a:lnTo>
                    <a:pt x="59" y="14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4485464" y="2295610"/>
              <a:ext cx="576263" cy="509588"/>
            </a:xfrm>
            <a:custGeom>
              <a:avLst/>
              <a:gdLst>
                <a:gd name="T0" fmla="*/ 0 w 403"/>
                <a:gd name="T1" fmla="*/ 12 h 357"/>
                <a:gd name="T2" fmla="*/ 241 w 403"/>
                <a:gd name="T3" fmla="*/ 0 h 357"/>
                <a:gd name="T4" fmla="*/ 294 w 403"/>
                <a:gd name="T5" fmla="*/ 0 h 357"/>
                <a:gd name="T6" fmla="*/ 331 w 403"/>
                <a:gd name="T7" fmla="*/ 11 h 357"/>
                <a:gd name="T8" fmla="*/ 312 w 403"/>
                <a:gd name="T9" fmla="*/ 42 h 357"/>
                <a:gd name="T10" fmla="*/ 382 w 403"/>
                <a:gd name="T11" fmla="*/ 92 h 357"/>
                <a:gd name="T12" fmla="*/ 404 w 403"/>
                <a:gd name="T13" fmla="*/ 135 h 357"/>
                <a:gd name="T14" fmla="*/ 446 w 403"/>
                <a:gd name="T15" fmla="*/ 124 h 357"/>
                <a:gd name="T16" fmla="*/ 445 w 403"/>
                <a:gd name="T17" fmla="*/ 184 h 357"/>
                <a:gd name="T18" fmla="*/ 486 w 403"/>
                <a:gd name="T19" fmla="*/ 202 h 357"/>
                <a:gd name="T20" fmla="*/ 505 w 403"/>
                <a:gd name="T21" fmla="*/ 254 h 357"/>
                <a:gd name="T22" fmla="*/ 537 w 403"/>
                <a:gd name="T23" fmla="*/ 259 h 357"/>
                <a:gd name="T24" fmla="*/ 553 w 403"/>
                <a:gd name="T25" fmla="*/ 281 h 357"/>
                <a:gd name="T26" fmla="*/ 515 w 403"/>
                <a:gd name="T27" fmla="*/ 312 h 357"/>
                <a:gd name="T28" fmla="*/ 503 w 403"/>
                <a:gd name="T29" fmla="*/ 347 h 357"/>
                <a:gd name="T30" fmla="*/ 449 w 403"/>
                <a:gd name="T31" fmla="*/ 357 h 357"/>
                <a:gd name="T32" fmla="*/ 463 w 403"/>
                <a:gd name="T33" fmla="*/ 318 h 357"/>
                <a:gd name="T34" fmla="*/ 256 w 403"/>
                <a:gd name="T35" fmla="*/ 332 h 357"/>
                <a:gd name="T36" fmla="*/ 108 w 403"/>
                <a:gd name="T37" fmla="*/ 346 h 357"/>
                <a:gd name="T38" fmla="*/ 98 w 403"/>
                <a:gd name="T39" fmla="*/ 309 h 357"/>
                <a:gd name="T40" fmla="*/ 89 w 403"/>
                <a:gd name="T41" fmla="*/ 194 h 357"/>
                <a:gd name="T42" fmla="*/ 88 w 403"/>
                <a:gd name="T43" fmla="*/ 132 h 357"/>
                <a:gd name="T44" fmla="*/ 38 w 403"/>
                <a:gd name="T45" fmla="*/ 104 h 357"/>
                <a:gd name="T46" fmla="*/ 56 w 403"/>
                <a:gd name="T47" fmla="*/ 78 h 357"/>
                <a:gd name="T48" fmla="*/ 31 w 403"/>
                <a:gd name="T49" fmla="*/ 64 h 357"/>
                <a:gd name="T50" fmla="*/ 0 w 403"/>
                <a:gd name="T51" fmla="*/ 12 h 3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03"/>
                <a:gd name="T79" fmla="*/ 0 h 357"/>
                <a:gd name="T80" fmla="*/ 403 w 403"/>
                <a:gd name="T81" fmla="*/ 357 h 35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03" h="357">
                  <a:moveTo>
                    <a:pt x="0" y="12"/>
                  </a:moveTo>
                  <a:lnTo>
                    <a:pt x="176" y="0"/>
                  </a:lnTo>
                  <a:lnTo>
                    <a:pt x="214" y="0"/>
                  </a:lnTo>
                  <a:lnTo>
                    <a:pt x="242" y="11"/>
                  </a:lnTo>
                  <a:lnTo>
                    <a:pt x="227" y="42"/>
                  </a:lnTo>
                  <a:lnTo>
                    <a:pt x="278" y="92"/>
                  </a:lnTo>
                  <a:lnTo>
                    <a:pt x="295" y="135"/>
                  </a:lnTo>
                  <a:lnTo>
                    <a:pt x="325" y="124"/>
                  </a:lnTo>
                  <a:lnTo>
                    <a:pt x="324" y="184"/>
                  </a:lnTo>
                  <a:lnTo>
                    <a:pt x="355" y="202"/>
                  </a:lnTo>
                  <a:lnTo>
                    <a:pt x="369" y="254"/>
                  </a:lnTo>
                  <a:lnTo>
                    <a:pt x="391" y="259"/>
                  </a:lnTo>
                  <a:lnTo>
                    <a:pt x="403" y="281"/>
                  </a:lnTo>
                  <a:lnTo>
                    <a:pt x="376" y="312"/>
                  </a:lnTo>
                  <a:lnTo>
                    <a:pt x="367" y="347"/>
                  </a:lnTo>
                  <a:lnTo>
                    <a:pt x="328" y="357"/>
                  </a:lnTo>
                  <a:lnTo>
                    <a:pt x="338" y="318"/>
                  </a:lnTo>
                  <a:lnTo>
                    <a:pt x="187" y="332"/>
                  </a:lnTo>
                  <a:lnTo>
                    <a:pt x="79" y="346"/>
                  </a:lnTo>
                  <a:lnTo>
                    <a:pt x="72" y="309"/>
                  </a:lnTo>
                  <a:lnTo>
                    <a:pt x="65" y="194"/>
                  </a:lnTo>
                  <a:lnTo>
                    <a:pt x="64" y="132"/>
                  </a:lnTo>
                  <a:lnTo>
                    <a:pt x="28" y="104"/>
                  </a:lnTo>
                  <a:lnTo>
                    <a:pt x="41" y="78"/>
                  </a:lnTo>
                  <a:lnTo>
                    <a:pt x="23" y="64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5116495" y="2081298"/>
              <a:ext cx="280988" cy="497681"/>
            </a:xfrm>
            <a:custGeom>
              <a:avLst/>
              <a:gdLst>
                <a:gd name="T0" fmla="*/ 0 w 197"/>
                <a:gd name="T1" fmla="*/ 25 h 348"/>
                <a:gd name="T2" fmla="*/ 31 w 197"/>
                <a:gd name="T3" fmla="*/ 38 h 348"/>
                <a:gd name="T4" fmla="*/ 62 w 197"/>
                <a:gd name="T5" fmla="*/ 35 h 348"/>
                <a:gd name="T6" fmla="*/ 72 w 197"/>
                <a:gd name="T7" fmla="*/ 28 h 348"/>
                <a:gd name="T8" fmla="*/ 80 w 197"/>
                <a:gd name="T9" fmla="*/ 7 h 348"/>
                <a:gd name="T10" fmla="*/ 208 w 197"/>
                <a:gd name="T11" fmla="*/ 0 h 348"/>
                <a:gd name="T12" fmla="*/ 269 w 197"/>
                <a:gd name="T13" fmla="*/ 246 h 348"/>
                <a:gd name="T14" fmla="*/ 265 w 197"/>
                <a:gd name="T15" fmla="*/ 243 h 348"/>
                <a:gd name="T16" fmla="*/ 219 w 197"/>
                <a:gd name="T17" fmla="*/ 257 h 348"/>
                <a:gd name="T18" fmla="*/ 188 w 197"/>
                <a:gd name="T19" fmla="*/ 323 h 348"/>
                <a:gd name="T20" fmla="*/ 142 w 197"/>
                <a:gd name="T21" fmla="*/ 314 h 348"/>
                <a:gd name="T22" fmla="*/ 89 w 197"/>
                <a:gd name="T23" fmla="*/ 339 h 348"/>
                <a:gd name="T24" fmla="*/ 17 w 197"/>
                <a:gd name="T25" fmla="*/ 348 h 348"/>
                <a:gd name="T26" fmla="*/ 49 w 197"/>
                <a:gd name="T27" fmla="*/ 283 h 348"/>
                <a:gd name="T28" fmla="*/ 35 w 197"/>
                <a:gd name="T29" fmla="*/ 247 h 348"/>
                <a:gd name="T30" fmla="*/ 0 w 197"/>
                <a:gd name="T31" fmla="*/ 25 h 34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7"/>
                <a:gd name="T49" fmla="*/ 0 h 348"/>
                <a:gd name="T50" fmla="*/ 197 w 197"/>
                <a:gd name="T51" fmla="*/ 348 h 34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7" h="348">
                  <a:moveTo>
                    <a:pt x="0" y="25"/>
                  </a:moveTo>
                  <a:lnTo>
                    <a:pt x="23" y="38"/>
                  </a:lnTo>
                  <a:lnTo>
                    <a:pt x="45" y="35"/>
                  </a:lnTo>
                  <a:lnTo>
                    <a:pt x="53" y="28"/>
                  </a:lnTo>
                  <a:lnTo>
                    <a:pt x="58" y="7"/>
                  </a:lnTo>
                  <a:lnTo>
                    <a:pt x="153" y="0"/>
                  </a:lnTo>
                  <a:lnTo>
                    <a:pt x="197" y="246"/>
                  </a:lnTo>
                  <a:lnTo>
                    <a:pt x="194" y="243"/>
                  </a:lnTo>
                  <a:lnTo>
                    <a:pt x="161" y="257"/>
                  </a:lnTo>
                  <a:lnTo>
                    <a:pt x="138" y="323"/>
                  </a:lnTo>
                  <a:lnTo>
                    <a:pt x="104" y="314"/>
                  </a:lnTo>
                  <a:lnTo>
                    <a:pt x="65" y="339"/>
                  </a:lnTo>
                  <a:lnTo>
                    <a:pt x="13" y="348"/>
                  </a:lnTo>
                  <a:lnTo>
                    <a:pt x="36" y="283"/>
                  </a:lnTo>
                  <a:lnTo>
                    <a:pt x="26" y="247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334380" y="1980094"/>
              <a:ext cx="361950" cy="448866"/>
            </a:xfrm>
            <a:custGeom>
              <a:avLst/>
              <a:gdLst>
                <a:gd name="T0" fmla="*/ 0 w 253"/>
                <a:gd name="T1" fmla="*/ 71 h 314"/>
                <a:gd name="T2" fmla="*/ 156 w 253"/>
                <a:gd name="T3" fmla="*/ 59 h 314"/>
                <a:gd name="T4" fmla="*/ 188 w 253"/>
                <a:gd name="T5" fmla="*/ 64 h 314"/>
                <a:gd name="T6" fmla="*/ 264 w 253"/>
                <a:gd name="T7" fmla="*/ 37 h 314"/>
                <a:gd name="T8" fmla="*/ 280 w 253"/>
                <a:gd name="T9" fmla="*/ 12 h 314"/>
                <a:gd name="T10" fmla="*/ 325 w 253"/>
                <a:gd name="T11" fmla="*/ 0 h 314"/>
                <a:gd name="T12" fmla="*/ 349 w 253"/>
                <a:gd name="T13" fmla="*/ 119 h 314"/>
                <a:gd name="T14" fmla="*/ 330 w 253"/>
                <a:gd name="T15" fmla="*/ 132 h 314"/>
                <a:gd name="T16" fmla="*/ 335 w 253"/>
                <a:gd name="T17" fmla="*/ 214 h 314"/>
                <a:gd name="T18" fmla="*/ 300 w 253"/>
                <a:gd name="T19" fmla="*/ 221 h 314"/>
                <a:gd name="T20" fmla="*/ 280 w 253"/>
                <a:gd name="T21" fmla="*/ 267 h 314"/>
                <a:gd name="T22" fmla="*/ 253 w 253"/>
                <a:gd name="T23" fmla="*/ 261 h 314"/>
                <a:gd name="T24" fmla="*/ 245 w 253"/>
                <a:gd name="T25" fmla="*/ 314 h 314"/>
                <a:gd name="T26" fmla="*/ 204 w 253"/>
                <a:gd name="T27" fmla="*/ 292 h 314"/>
                <a:gd name="T28" fmla="*/ 128 w 253"/>
                <a:gd name="T29" fmla="*/ 306 h 314"/>
                <a:gd name="T30" fmla="*/ 95 w 253"/>
                <a:gd name="T31" fmla="*/ 286 h 314"/>
                <a:gd name="T32" fmla="*/ 52 w 253"/>
                <a:gd name="T33" fmla="*/ 285 h 314"/>
                <a:gd name="T34" fmla="*/ 29 w 253"/>
                <a:gd name="T35" fmla="*/ 197 h 314"/>
                <a:gd name="T36" fmla="*/ 0 w 253"/>
                <a:gd name="T37" fmla="*/ 71 h 3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53"/>
                <a:gd name="T58" fmla="*/ 0 h 314"/>
                <a:gd name="T59" fmla="*/ 253 w 253"/>
                <a:gd name="T60" fmla="*/ 314 h 31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53" h="314">
                  <a:moveTo>
                    <a:pt x="0" y="71"/>
                  </a:moveTo>
                  <a:lnTo>
                    <a:pt x="114" y="59"/>
                  </a:lnTo>
                  <a:lnTo>
                    <a:pt x="138" y="64"/>
                  </a:lnTo>
                  <a:lnTo>
                    <a:pt x="192" y="37"/>
                  </a:lnTo>
                  <a:lnTo>
                    <a:pt x="204" y="12"/>
                  </a:lnTo>
                  <a:lnTo>
                    <a:pt x="236" y="0"/>
                  </a:lnTo>
                  <a:lnTo>
                    <a:pt x="253" y="119"/>
                  </a:lnTo>
                  <a:lnTo>
                    <a:pt x="240" y="132"/>
                  </a:lnTo>
                  <a:lnTo>
                    <a:pt x="243" y="214"/>
                  </a:lnTo>
                  <a:lnTo>
                    <a:pt x="218" y="221"/>
                  </a:lnTo>
                  <a:lnTo>
                    <a:pt x="204" y="267"/>
                  </a:lnTo>
                  <a:lnTo>
                    <a:pt x="184" y="261"/>
                  </a:lnTo>
                  <a:lnTo>
                    <a:pt x="178" y="314"/>
                  </a:lnTo>
                  <a:lnTo>
                    <a:pt x="149" y="292"/>
                  </a:lnTo>
                  <a:lnTo>
                    <a:pt x="93" y="306"/>
                  </a:lnTo>
                  <a:lnTo>
                    <a:pt x="69" y="286"/>
                  </a:lnTo>
                  <a:lnTo>
                    <a:pt x="38" y="285"/>
                  </a:lnTo>
                  <a:lnTo>
                    <a:pt x="21" y="197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auto">
            <a:xfrm>
              <a:off x="3821289" y="1333862"/>
              <a:ext cx="581288" cy="365820"/>
            </a:xfrm>
            <a:custGeom>
              <a:avLst/>
              <a:gdLst>
                <a:gd name="T0" fmla="*/ 1 w 407"/>
                <a:gd name="T1" fmla="*/ 0 h 256"/>
                <a:gd name="T2" fmla="*/ 342 w 407"/>
                <a:gd name="T3" fmla="*/ 8 h 256"/>
                <a:gd name="T4" fmla="*/ 367 w 407"/>
                <a:gd name="T5" fmla="*/ 83 h 256"/>
                <a:gd name="T6" fmla="*/ 391 w 407"/>
                <a:gd name="T7" fmla="*/ 141 h 256"/>
                <a:gd name="T8" fmla="*/ 407 w 407"/>
                <a:gd name="T9" fmla="*/ 235 h 256"/>
                <a:gd name="T10" fmla="*/ 397 w 407"/>
                <a:gd name="T11" fmla="*/ 256 h 256"/>
                <a:gd name="T12" fmla="*/ 272 w 407"/>
                <a:gd name="T13" fmla="*/ 253 h 256"/>
                <a:gd name="T14" fmla="*/ 0 w 407"/>
                <a:gd name="T15" fmla="*/ 248 h 256"/>
                <a:gd name="T16" fmla="*/ 1 w 407"/>
                <a:gd name="T17" fmla="*/ 0 h 2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7"/>
                <a:gd name="T28" fmla="*/ 0 h 256"/>
                <a:gd name="T29" fmla="*/ 407 w 407"/>
                <a:gd name="T30" fmla="*/ 256 h 25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7" h="256">
                  <a:moveTo>
                    <a:pt x="1" y="0"/>
                  </a:moveTo>
                  <a:lnTo>
                    <a:pt x="342" y="8"/>
                  </a:lnTo>
                  <a:lnTo>
                    <a:pt x="367" y="83"/>
                  </a:lnTo>
                  <a:lnTo>
                    <a:pt x="391" y="141"/>
                  </a:lnTo>
                  <a:lnTo>
                    <a:pt x="407" y="235"/>
                  </a:lnTo>
                  <a:lnTo>
                    <a:pt x="397" y="256"/>
                  </a:lnTo>
                  <a:lnTo>
                    <a:pt x="272" y="253"/>
                  </a:lnTo>
                  <a:lnTo>
                    <a:pt x="0" y="24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37" name="Freeform 35"/>
            <p:cNvSpPr>
              <a:spLocks/>
            </p:cNvSpPr>
            <p:nvPr/>
          </p:nvSpPr>
          <p:spPr bwMode="auto">
            <a:xfrm>
              <a:off x="3805578" y="1686821"/>
              <a:ext cx="611281" cy="428695"/>
            </a:xfrm>
            <a:custGeom>
              <a:avLst/>
              <a:gdLst>
                <a:gd name="T0" fmla="*/ 8 w 428"/>
                <a:gd name="T1" fmla="*/ 0 h 300"/>
                <a:gd name="T2" fmla="*/ 7 w 428"/>
                <a:gd name="T3" fmla="*/ 116 h 300"/>
                <a:gd name="T4" fmla="*/ 0 w 428"/>
                <a:gd name="T5" fmla="*/ 252 h 300"/>
                <a:gd name="T6" fmla="*/ 311 w 428"/>
                <a:gd name="T7" fmla="*/ 257 h 300"/>
                <a:gd name="T8" fmla="*/ 344 w 428"/>
                <a:gd name="T9" fmla="*/ 276 h 300"/>
                <a:gd name="T10" fmla="*/ 367 w 428"/>
                <a:gd name="T11" fmla="*/ 250 h 300"/>
                <a:gd name="T12" fmla="*/ 428 w 428"/>
                <a:gd name="T13" fmla="*/ 300 h 300"/>
                <a:gd name="T14" fmla="*/ 419 w 428"/>
                <a:gd name="T15" fmla="*/ 248 h 300"/>
                <a:gd name="T16" fmla="*/ 425 w 428"/>
                <a:gd name="T17" fmla="*/ 208 h 300"/>
                <a:gd name="T18" fmla="*/ 428 w 428"/>
                <a:gd name="T19" fmla="*/ 71 h 300"/>
                <a:gd name="T20" fmla="*/ 401 w 428"/>
                <a:gd name="T21" fmla="*/ 42 h 300"/>
                <a:gd name="T22" fmla="*/ 412 w 428"/>
                <a:gd name="T23" fmla="*/ 4 h 300"/>
                <a:gd name="T24" fmla="*/ 208 w 428"/>
                <a:gd name="T25" fmla="*/ 3 h 300"/>
                <a:gd name="T26" fmla="*/ 8 w 428"/>
                <a:gd name="T27" fmla="*/ 0 h 3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8"/>
                <a:gd name="T43" fmla="*/ 0 h 300"/>
                <a:gd name="T44" fmla="*/ 428 w 428"/>
                <a:gd name="T45" fmla="*/ 300 h 30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8" h="300">
                  <a:moveTo>
                    <a:pt x="8" y="0"/>
                  </a:moveTo>
                  <a:lnTo>
                    <a:pt x="7" y="116"/>
                  </a:lnTo>
                  <a:lnTo>
                    <a:pt x="0" y="252"/>
                  </a:lnTo>
                  <a:lnTo>
                    <a:pt x="311" y="257"/>
                  </a:lnTo>
                  <a:lnTo>
                    <a:pt x="344" y="276"/>
                  </a:lnTo>
                  <a:lnTo>
                    <a:pt x="367" y="250"/>
                  </a:lnTo>
                  <a:lnTo>
                    <a:pt x="428" y="300"/>
                  </a:lnTo>
                  <a:lnTo>
                    <a:pt x="419" y="248"/>
                  </a:lnTo>
                  <a:lnTo>
                    <a:pt x="425" y="208"/>
                  </a:lnTo>
                  <a:lnTo>
                    <a:pt x="428" y="71"/>
                  </a:lnTo>
                  <a:lnTo>
                    <a:pt x="401" y="42"/>
                  </a:lnTo>
                  <a:lnTo>
                    <a:pt x="412" y="4"/>
                  </a:lnTo>
                  <a:lnTo>
                    <a:pt x="208" y="3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auto">
            <a:xfrm>
              <a:off x="3797009" y="2042638"/>
              <a:ext cx="728396" cy="352959"/>
            </a:xfrm>
            <a:custGeom>
              <a:avLst/>
              <a:gdLst>
                <a:gd name="T0" fmla="*/ 5 w 510"/>
                <a:gd name="T1" fmla="*/ 0 h 247"/>
                <a:gd name="T2" fmla="*/ 0 w 510"/>
                <a:gd name="T3" fmla="*/ 163 h 247"/>
                <a:gd name="T4" fmla="*/ 115 w 510"/>
                <a:gd name="T5" fmla="*/ 167 h 247"/>
                <a:gd name="T6" fmla="*/ 114 w 510"/>
                <a:gd name="T7" fmla="*/ 247 h 247"/>
                <a:gd name="T8" fmla="*/ 269 w 510"/>
                <a:gd name="T9" fmla="*/ 245 h 247"/>
                <a:gd name="T10" fmla="*/ 408 w 510"/>
                <a:gd name="T11" fmla="*/ 242 h 247"/>
                <a:gd name="T12" fmla="*/ 510 w 510"/>
                <a:gd name="T13" fmla="*/ 245 h 247"/>
                <a:gd name="T14" fmla="*/ 478 w 510"/>
                <a:gd name="T15" fmla="*/ 175 h 247"/>
                <a:gd name="T16" fmla="*/ 456 w 510"/>
                <a:gd name="T17" fmla="*/ 110 h 247"/>
                <a:gd name="T18" fmla="*/ 432 w 510"/>
                <a:gd name="T19" fmla="*/ 43 h 247"/>
                <a:gd name="T20" fmla="*/ 374 w 510"/>
                <a:gd name="T21" fmla="*/ 1 h 247"/>
                <a:gd name="T22" fmla="*/ 348 w 510"/>
                <a:gd name="T23" fmla="*/ 26 h 247"/>
                <a:gd name="T24" fmla="*/ 316 w 510"/>
                <a:gd name="T25" fmla="*/ 8 h 247"/>
                <a:gd name="T26" fmla="*/ 177 w 510"/>
                <a:gd name="T27" fmla="*/ 3 h 247"/>
                <a:gd name="T28" fmla="*/ 5 w 510"/>
                <a:gd name="T29" fmla="*/ 0 h 24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10"/>
                <a:gd name="T46" fmla="*/ 0 h 247"/>
                <a:gd name="T47" fmla="*/ 510 w 510"/>
                <a:gd name="T48" fmla="*/ 247 h 24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10" h="247">
                  <a:moveTo>
                    <a:pt x="5" y="0"/>
                  </a:moveTo>
                  <a:lnTo>
                    <a:pt x="0" y="163"/>
                  </a:lnTo>
                  <a:lnTo>
                    <a:pt x="115" y="167"/>
                  </a:lnTo>
                  <a:lnTo>
                    <a:pt x="114" y="247"/>
                  </a:lnTo>
                  <a:lnTo>
                    <a:pt x="269" y="245"/>
                  </a:lnTo>
                  <a:lnTo>
                    <a:pt x="408" y="242"/>
                  </a:lnTo>
                  <a:lnTo>
                    <a:pt x="510" y="245"/>
                  </a:lnTo>
                  <a:lnTo>
                    <a:pt x="478" y="175"/>
                  </a:lnTo>
                  <a:lnTo>
                    <a:pt x="456" y="110"/>
                  </a:lnTo>
                  <a:lnTo>
                    <a:pt x="432" y="43"/>
                  </a:lnTo>
                  <a:lnTo>
                    <a:pt x="374" y="1"/>
                  </a:lnTo>
                  <a:lnTo>
                    <a:pt x="348" y="26"/>
                  </a:lnTo>
                  <a:lnTo>
                    <a:pt x="316" y="8"/>
                  </a:lnTo>
                  <a:lnTo>
                    <a:pt x="177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39" name="Freeform 37"/>
            <p:cNvSpPr>
              <a:spLocks/>
            </p:cNvSpPr>
            <p:nvPr/>
          </p:nvSpPr>
          <p:spPr bwMode="auto">
            <a:xfrm>
              <a:off x="3951257" y="2387023"/>
              <a:ext cx="641274" cy="351530"/>
            </a:xfrm>
            <a:custGeom>
              <a:avLst/>
              <a:gdLst>
                <a:gd name="T0" fmla="*/ 5 w 449"/>
                <a:gd name="T1" fmla="*/ 2 h 246"/>
                <a:gd name="T2" fmla="*/ 3 w 449"/>
                <a:gd name="T3" fmla="*/ 143 h 246"/>
                <a:gd name="T4" fmla="*/ 0 w 449"/>
                <a:gd name="T5" fmla="*/ 243 h 246"/>
                <a:gd name="T6" fmla="*/ 449 w 449"/>
                <a:gd name="T7" fmla="*/ 246 h 246"/>
                <a:gd name="T8" fmla="*/ 440 w 449"/>
                <a:gd name="T9" fmla="*/ 118 h 246"/>
                <a:gd name="T10" fmla="*/ 440 w 449"/>
                <a:gd name="T11" fmla="*/ 69 h 246"/>
                <a:gd name="T12" fmla="*/ 404 w 449"/>
                <a:gd name="T13" fmla="*/ 40 h 246"/>
                <a:gd name="T14" fmla="*/ 415 w 449"/>
                <a:gd name="T15" fmla="*/ 14 h 246"/>
                <a:gd name="T16" fmla="*/ 399 w 449"/>
                <a:gd name="T17" fmla="*/ 0 h 246"/>
                <a:gd name="T18" fmla="*/ 196 w 449"/>
                <a:gd name="T19" fmla="*/ 2 h 246"/>
                <a:gd name="T20" fmla="*/ 5 w 449"/>
                <a:gd name="T21" fmla="*/ 2 h 2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49"/>
                <a:gd name="T34" fmla="*/ 0 h 246"/>
                <a:gd name="T35" fmla="*/ 449 w 449"/>
                <a:gd name="T36" fmla="*/ 246 h 24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49" h="246">
                  <a:moveTo>
                    <a:pt x="5" y="2"/>
                  </a:moveTo>
                  <a:lnTo>
                    <a:pt x="3" y="143"/>
                  </a:lnTo>
                  <a:lnTo>
                    <a:pt x="0" y="243"/>
                  </a:lnTo>
                  <a:lnTo>
                    <a:pt x="449" y="246"/>
                  </a:lnTo>
                  <a:lnTo>
                    <a:pt x="440" y="118"/>
                  </a:lnTo>
                  <a:lnTo>
                    <a:pt x="440" y="69"/>
                  </a:lnTo>
                  <a:lnTo>
                    <a:pt x="404" y="40"/>
                  </a:lnTo>
                  <a:lnTo>
                    <a:pt x="415" y="14"/>
                  </a:lnTo>
                  <a:lnTo>
                    <a:pt x="399" y="0"/>
                  </a:lnTo>
                  <a:lnTo>
                    <a:pt x="196" y="2"/>
                  </a:lnTo>
                  <a:lnTo>
                    <a:pt x="5" y="2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41" name="Freeform 39"/>
            <p:cNvSpPr>
              <a:spLocks/>
            </p:cNvSpPr>
            <p:nvPr/>
          </p:nvSpPr>
          <p:spPr bwMode="auto">
            <a:xfrm>
              <a:off x="4402577" y="1959757"/>
              <a:ext cx="505592" cy="352959"/>
            </a:xfrm>
            <a:custGeom>
              <a:avLst/>
              <a:gdLst>
                <a:gd name="T0" fmla="*/ 6 w 354"/>
                <a:gd name="T1" fmla="*/ 13 h 247"/>
                <a:gd name="T2" fmla="*/ 0 w 354"/>
                <a:gd name="T3" fmla="*/ 57 h 247"/>
                <a:gd name="T4" fmla="*/ 8 w 354"/>
                <a:gd name="T5" fmla="*/ 103 h 247"/>
                <a:gd name="T6" fmla="*/ 41 w 354"/>
                <a:gd name="T7" fmla="*/ 197 h 247"/>
                <a:gd name="T8" fmla="*/ 59 w 354"/>
                <a:gd name="T9" fmla="*/ 247 h 247"/>
                <a:gd name="T10" fmla="*/ 267 w 354"/>
                <a:gd name="T11" fmla="*/ 235 h 247"/>
                <a:gd name="T12" fmla="*/ 301 w 354"/>
                <a:gd name="T13" fmla="*/ 247 h 247"/>
                <a:gd name="T14" fmla="*/ 322 w 354"/>
                <a:gd name="T15" fmla="*/ 199 h 247"/>
                <a:gd name="T16" fmla="*/ 314 w 354"/>
                <a:gd name="T17" fmla="*/ 165 h 247"/>
                <a:gd name="T18" fmla="*/ 349 w 354"/>
                <a:gd name="T19" fmla="*/ 158 h 247"/>
                <a:gd name="T20" fmla="*/ 354 w 354"/>
                <a:gd name="T21" fmla="*/ 104 h 247"/>
                <a:gd name="T22" fmla="*/ 333 w 354"/>
                <a:gd name="T23" fmla="*/ 80 h 247"/>
                <a:gd name="T24" fmla="*/ 297 w 354"/>
                <a:gd name="T25" fmla="*/ 57 h 247"/>
                <a:gd name="T26" fmla="*/ 304 w 354"/>
                <a:gd name="T27" fmla="*/ 24 h 247"/>
                <a:gd name="T28" fmla="*/ 289 w 354"/>
                <a:gd name="T29" fmla="*/ 0 h 247"/>
                <a:gd name="T30" fmla="*/ 211 w 354"/>
                <a:gd name="T31" fmla="*/ 4 h 247"/>
                <a:gd name="T32" fmla="*/ 133 w 354"/>
                <a:gd name="T33" fmla="*/ 7 h 247"/>
                <a:gd name="T34" fmla="*/ 6 w 354"/>
                <a:gd name="T35" fmla="*/ 13 h 24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54"/>
                <a:gd name="T55" fmla="*/ 0 h 247"/>
                <a:gd name="T56" fmla="*/ 354 w 354"/>
                <a:gd name="T57" fmla="*/ 247 h 24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54" h="247">
                  <a:moveTo>
                    <a:pt x="6" y="13"/>
                  </a:moveTo>
                  <a:lnTo>
                    <a:pt x="0" y="57"/>
                  </a:lnTo>
                  <a:lnTo>
                    <a:pt x="8" y="103"/>
                  </a:lnTo>
                  <a:lnTo>
                    <a:pt x="41" y="197"/>
                  </a:lnTo>
                  <a:lnTo>
                    <a:pt x="59" y="247"/>
                  </a:lnTo>
                  <a:lnTo>
                    <a:pt x="267" y="235"/>
                  </a:lnTo>
                  <a:lnTo>
                    <a:pt x="301" y="247"/>
                  </a:lnTo>
                  <a:lnTo>
                    <a:pt x="322" y="199"/>
                  </a:lnTo>
                  <a:lnTo>
                    <a:pt x="314" y="165"/>
                  </a:lnTo>
                  <a:lnTo>
                    <a:pt x="349" y="158"/>
                  </a:lnTo>
                  <a:lnTo>
                    <a:pt x="354" y="104"/>
                  </a:lnTo>
                  <a:lnTo>
                    <a:pt x="333" y="80"/>
                  </a:lnTo>
                  <a:lnTo>
                    <a:pt x="297" y="57"/>
                  </a:lnTo>
                  <a:lnTo>
                    <a:pt x="304" y="24"/>
                  </a:lnTo>
                  <a:lnTo>
                    <a:pt x="289" y="0"/>
                  </a:lnTo>
                  <a:lnTo>
                    <a:pt x="211" y="4"/>
                  </a:lnTo>
                  <a:lnTo>
                    <a:pt x="133" y="7"/>
                  </a:lnTo>
                  <a:lnTo>
                    <a:pt x="6" y="13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42" name="Freeform 40"/>
            <p:cNvSpPr>
              <a:spLocks/>
            </p:cNvSpPr>
            <p:nvPr/>
          </p:nvSpPr>
          <p:spPr bwMode="auto">
            <a:xfrm>
              <a:off x="4808193" y="2035493"/>
              <a:ext cx="361341" cy="644472"/>
            </a:xfrm>
            <a:custGeom>
              <a:avLst/>
              <a:gdLst>
                <a:gd name="T0" fmla="*/ 47 w 253"/>
                <a:gd name="T1" fmla="*/ 26 h 451"/>
                <a:gd name="T2" fmla="*/ 192 w 253"/>
                <a:gd name="T3" fmla="*/ 0 h 451"/>
                <a:gd name="T4" fmla="*/ 215 w 253"/>
                <a:gd name="T5" fmla="*/ 56 h 451"/>
                <a:gd name="T6" fmla="*/ 245 w 253"/>
                <a:gd name="T7" fmla="*/ 286 h 451"/>
                <a:gd name="T8" fmla="*/ 253 w 253"/>
                <a:gd name="T9" fmla="*/ 317 h 451"/>
                <a:gd name="T10" fmla="*/ 230 w 253"/>
                <a:gd name="T11" fmla="*/ 378 h 451"/>
                <a:gd name="T12" fmla="*/ 230 w 253"/>
                <a:gd name="T13" fmla="*/ 420 h 451"/>
                <a:gd name="T14" fmla="*/ 204 w 253"/>
                <a:gd name="T15" fmla="*/ 415 h 451"/>
                <a:gd name="T16" fmla="*/ 205 w 253"/>
                <a:gd name="T17" fmla="*/ 451 h 451"/>
                <a:gd name="T18" fmla="*/ 178 w 253"/>
                <a:gd name="T19" fmla="*/ 436 h 451"/>
                <a:gd name="T20" fmla="*/ 164 w 253"/>
                <a:gd name="T21" fmla="*/ 441 h 451"/>
                <a:gd name="T22" fmla="*/ 143 w 253"/>
                <a:gd name="T23" fmla="*/ 438 h 451"/>
                <a:gd name="T24" fmla="*/ 128 w 253"/>
                <a:gd name="T25" fmla="*/ 384 h 451"/>
                <a:gd name="T26" fmla="*/ 98 w 253"/>
                <a:gd name="T27" fmla="*/ 367 h 451"/>
                <a:gd name="T28" fmla="*/ 98 w 253"/>
                <a:gd name="T29" fmla="*/ 309 h 451"/>
                <a:gd name="T30" fmla="*/ 69 w 253"/>
                <a:gd name="T31" fmla="*/ 317 h 451"/>
                <a:gd name="T32" fmla="*/ 52 w 253"/>
                <a:gd name="T33" fmla="*/ 274 h 451"/>
                <a:gd name="T34" fmla="*/ 0 w 253"/>
                <a:gd name="T35" fmla="*/ 225 h 451"/>
                <a:gd name="T36" fmla="*/ 38 w 253"/>
                <a:gd name="T37" fmla="*/ 147 h 451"/>
                <a:gd name="T38" fmla="*/ 27 w 253"/>
                <a:gd name="T39" fmla="*/ 111 h 451"/>
                <a:gd name="T40" fmla="*/ 65 w 253"/>
                <a:gd name="T41" fmla="*/ 104 h 451"/>
                <a:gd name="T42" fmla="*/ 69 w 253"/>
                <a:gd name="T43" fmla="*/ 53 h 451"/>
                <a:gd name="T44" fmla="*/ 47 w 253"/>
                <a:gd name="T45" fmla="*/ 26 h 4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53"/>
                <a:gd name="T70" fmla="*/ 0 h 451"/>
                <a:gd name="T71" fmla="*/ 253 w 253"/>
                <a:gd name="T72" fmla="*/ 451 h 45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53" h="451">
                  <a:moveTo>
                    <a:pt x="47" y="26"/>
                  </a:moveTo>
                  <a:lnTo>
                    <a:pt x="192" y="0"/>
                  </a:lnTo>
                  <a:lnTo>
                    <a:pt x="215" y="56"/>
                  </a:lnTo>
                  <a:lnTo>
                    <a:pt x="245" y="286"/>
                  </a:lnTo>
                  <a:lnTo>
                    <a:pt x="253" y="317"/>
                  </a:lnTo>
                  <a:lnTo>
                    <a:pt x="230" y="378"/>
                  </a:lnTo>
                  <a:lnTo>
                    <a:pt x="230" y="420"/>
                  </a:lnTo>
                  <a:lnTo>
                    <a:pt x="204" y="415"/>
                  </a:lnTo>
                  <a:lnTo>
                    <a:pt x="205" y="451"/>
                  </a:lnTo>
                  <a:lnTo>
                    <a:pt x="178" y="436"/>
                  </a:lnTo>
                  <a:lnTo>
                    <a:pt x="164" y="441"/>
                  </a:lnTo>
                  <a:lnTo>
                    <a:pt x="143" y="438"/>
                  </a:lnTo>
                  <a:lnTo>
                    <a:pt x="128" y="384"/>
                  </a:lnTo>
                  <a:lnTo>
                    <a:pt x="98" y="367"/>
                  </a:lnTo>
                  <a:lnTo>
                    <a:pt x="98" y="309"/>
                  </a:lnTo>
                  <a:lnTo>
                    <a:pt x="69" y="317"/>
                  </a:lnTo>
                  <a:lnTo>
                    <a:pt x="52" y="274"/>
                  </a:lnTo>
                  <a:lnTo>
                    <a:pt x="0" y="225"/>
                  </a:lnTo>
                  <a:lnTo>
                    <a:pt x="38" y="147"/>
                  </a:lnTo>
                  <a:lnTo>
                    <a:pt x="27" y="111"/>
                  </a:lnTo>
                  <a:lnTo>
                    <a:pt x="65" y="104"/>
                  </a:lnTo>
                  <a:lnTo>
                    <a:pt x="69" y="53"/>
                  </a:lnTo>
                  <a:lnTo>
                    <a:pt x="47" y="26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2969798" y="1240717"/>
              <a:ext cx="866775" cy="582215"/>
            </a:xfrm>
            <a:custGeom>
              <a:avLst/>
              <a:gdLst>
                <a:gd name="T0" fmla="*/ 14 w 607"/>
                <a:gd name="T1" fmla="*/ 0 h 407"/>
                <a:gd name="T2" fmla="*/ 179 w 607"/>
                <a:gd name="T3" fmla="*/ 17 h 407"/>
                <a:gd name="T4" fmla="*/ 278 w 607"/>
                <a:gd name="T5" fmla="*/ 27 h 407"/>
                <a:gd name="T6" fmla="*/ 407 w 607"/>
                <a:gd name="T7" fmla="*/ 38 h 407"/>
                <a:gd name="T8" fmla="*/ 527 w 607"/>
                <a:gd name="T9" fmla="*/ 47 h 407"/>
                <a:gd name="T10" fmla="*/ 736 w 607"/>
                <a:gd name="T11" fmla="*/ 59 h 407"/>
                <a:gd name="T12" fmla="*/ 833 w 607"/>
                <a:gd name="T13" fmla="*/ 65 h 407"/>
                <a:gd name="T14" fmla="*/ 830 w 607"/>
                <a:gd name="T15" fmla="*/ 396 h 407"/>
                <a:gd name="T16" fmla="*/ 319 w 607"/>
                <a:gd name="T17" fmla="*/ 362 h 407"/>
                <a:gd name="T18" fmla="*/ 311 w 607"/>
                <a:gd name="T19" fmla="*/ 407 h 407"/>
                <a:gd name="T20" fmla="*/ 289 w 607"/>
                <a:gd name="T21" fmla="*/ 386 h 407"/>
                <a:gd name="T22" fmla="*/ 245 w 607"/>
                <a:gd name="T23" fmla="*/ 389 h 407"/>
                <a:gd name="T24" fmla="*/ 175 w 607"/>
                <a:gd name="T25" fmla="*/ 398 h 407"/>
                <a:gd name="T26" fmla="*/ 166 w 607"/>
                <a:gd name="T27" fmla="*/ 340 h 407"/>
                <a:gd name="T28" fmla="*/ 86 w 607"/>
                <a:gd name="T29" fmla="*/ 294 h 407"/>
                <a:gd name="T30" fmla="*/ 96 w 607"/>
                <a:gd name="T31" fmla="*/ 251 h 407"/>
                <a:gd name="T32" fmla="*/ 104 w 607"/>
                <a:gd name="T33" fmla="*/ 215 h 407"/>
                <a:gd name="T34" fmla="*/ 0 w 607"/>
                <a:gd name="T35" fmla="*/ 101 h 407"/>
                <a:gd name="T36" fmla="*/ 14 w 607"/>
                <a:gd name="T37" fmla="*/ 0 h 40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7"/>
                <a:gd name="T58" fmla="*/ 0 h 407"/>
                <a:gd name="T59" fmla="*/ 607 w 607"/>
                <a:gd name="T60" fmla="*/ 407 h 40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7" h="407">
                  <a:moveTo>
                    <a:pt x="10" y="0"/>
                  </a:moveTo>
                  <a:lnTo>
                    <a:pt x="129" y="17"/>
                  </a:lnTo>
                  <a:lnTo>
                    <a:pt x="202" y="27"/>
                  </a:lnTo>
                  <a:lnTo>
                    <a:pt x="297" y="38"/>
                  </a:lnTo>
                  <a:lnTo>
                    <a:pt x="384" y="47"/>
                  </a:lnTo>
                  <a:lnTo>
                    <a:pt x="536" y="59"/>
                  </a:lnTo>
                  <a:lnTo>
                    <a:pt x="607" y="65"/>
                  </a:lnTo>
                  <a:lnTo>
                    <a:pt x="605" y="396"/>
                  </a:lnTo>
                  <a:lnTo>
                    <a:pt x="233" y="362"/>
                  </a:lnTo>
                  <a:lnTo>
                    <a:pt x="226" y="407"/>
                  </a:lnTo>
                  <a:lnTo>
                    <a:pt x="211" y="386"/>
                  </a:lnTo>
                  <a:lnTo>
                    <a:pt x="178" y="389"/>
                  </a:lnTo>
                  <a:lnTo>
                    <a:pt x="128" y="398"/>
                  </a:lnTo>
                  <a:lnTo>
                    <a:pt x="120" y="340"/>
                  </a:lnTo>
                  <a:lnTo>
                    <a:pt x="62" y="294"/>
                  </a:lnTo>
                  <a:lnTo>
                    <a:pt x="70" y="251"/>
                  </a:lnTo>
                  <a:lnTo>
                    <a:pt x="76" y="215"/>
                  </a:lnTo>
                  <a:lnTo>
                    <a:pt x="0" y="101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auto">
            <a:xfrm>
              <a:off x="2475899" y="1969760"/>
              <a:ext cx="554152" cy="898831"/>
            </a:xfrm>
            <a:custGeom>
              <a:avLst/>
              <a:gdLst>
                <a:gd name="T0" fmla="*/ 50 w 388"/>
                <a:gd name="T1" fmla="*/ 0 h 629"/>
                <a:gd name="T2" fmla="*/ 0 w 388"/>
                <a:gd name="T3" fmla="*/ 250 h 629"/>
                <a:gd name="T4" fmla="*/ 264 w 388"/>
                <a:gd name="T5" fmla="*/ 629 h 629"/>
                <a:gd name="T6" fmla="*/ 281 w 388"/>
                <a:gd name="T7" fmla="*/ 613 h 629"/>
                <a:gd name="T8" fmla="*/ 279 w 388"/>
                <a:gd name="T9" fmla="*/ 538 h 629"/>
                <a:gd name="T10" fmla="*/ 312 w 388"/>
                <a:gd name="T11" fmla="*/ 544 h 629"/>
                <a:gd name="T12" fmla="*/ 346 w 388"/>
                <a:gd name="T13" fmla="*/ 313 h 629"/>
                <a:gd name="T14" fmla="*/ 369 w 388"/>
                <a:gd name="T15" fmla="*/ 157 h 629"/>
                <a:gd name="T16" fmla="*/ 376 w 388"/>
                <a:gd name="T17" fmla="*/ 110 h 629"/>
                <a:gd name="T18" fmla="*/ 388 w 388"/>
                <a:gd name="T19" fmla="*/ 67 h 629"/>
                <a:gd name="T20" fmla="*/ 214 w 388"/>
                <a:gd name="T21" fmla="*/ 38 h 629"/>
                <a:gd name="T22" fmla="*/ 50 w 388"/>
                <a:gd name="T23" fmla="*/ 0 h 62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88"/>
                <a:gd name="T37" fmla="*/ 0 h 629"/>
                <a:gd name="T38" fmla="*/ 388 w 388"/>
                <a:gd name="T39" fmla="*/ 629 h 62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88" h="629">
                  <a:moveTo>
                    <a:pt x="50" y="0"/>
                  </a:moveTo>
                  <a:lnTo>
                    <a:pt x="0" y="250"/>
                  </a:lnTo>
                  <a:lnTo>
                    <a:pt x="264" y="629"/>
                  </a:lnTo>
                  <a:lnTo>
                    <a:pt x="281" y="613"/>
                  </a:lnTo>
                  <a:lnTo>
                    <a:pt x="279" y="538"/>
                  </a:lnTo>
                  <a:lnTo>
                    <a:pt x="312" y="544"/>
                  </a:lnTo>
                  <a:lnTo>
                    <a:pt x="346" y="313"/>
                  </a:lnTo>
                  <a:lnTo>
                    <a:pt x="369" y="157"/>
                  </a:lnTo>
                  <a:lnTo>
                    <a:pt x="376" y="110"/>
                  </a:lnTo>
                  <a:lnTo>
                    <a:pt x="388" y="67"/>
                  </a:lnTo>
                  <a:lnTo>
                    <a:pt x="214" y="38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auto">
            <a:xfrm>
              <a:off x="2934360" y="2068360"/>
              <a:ext cx="462745" cy="641614"/>
            </a:xfrm>
            <a:custGeom>
              <a:avLst/>
              <a:gdLst>
                <a:gd name="T0" fmla="*/ 60 w 324"/>
                <a:gd name="T1" fmla="*/ 0 h 449"/>
                <a:gd name="T2" fmla="*/ 219 w 324"/>
                <a:gd name="T3" fmla="*/ 23 h 449"/>
                <a:gd name="T4" fmla="*/ 208 w 324"/>
                <a:gd name="T5" fmla="*/ 109 h 449"/>
                <a:gd name="T6" fmla="*/ 324 w 324"/>
                <a:gd name="T7" fmla="*/ 121 h 449"/>
                <a:gd name="T8" fmla="*/ 292 w 324"/>
                <a:gd name="T9" fmla="*/ 449 h 449"/>
                <a:gd name="T10" fmla="*/ 0 w 324"/>
                <a:gd name="T11" fmla="*/ 415 h 449"/>
                <a:gd name="T12" fmla="*/ 30 w 324"/>
                <a:gd name="T13" fmla="*/ 205 h 449"/>
                <a:gd name="T14" fmla="*/ 60 w 324"/>
                <a:gd name="T15" fmla="*/ 0 h 44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24"/>
                <a:gd name="T25" fmla="*/ 0 h 449"/>
                <a:gd name="T26" fmla="*/ 324 w 324"/>
                <a:gd name="T27" fmla="*/ 449 h 44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24" h="449">
                  <a:moveTo>
                    <a:pt x="60" y="0"/>
                  </a:moveTo>
                  <a:lnTo>
                    <a:pt x="219" y="23"/>
                  </a:lnTo>
                  <a:lnTo>
                    <a:pt x="208" y="109"/>
                  </a:lnTo>
                  <a:lnTo>
                    <a:pt x="324" y="121"/>
                  </a:lnTo>
                  <a:lnTo>
                    <a:pt x="292" y="449"/>
                  </a:lnTo>
                  <a:lnTo>
                    <a:pt x="0" y="415"/>
                  </a:lnTo>
                  <a:lnTo>
                    <a:pt x="30" y="205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32" name="Freeform 30"/>
            <p:cNvSpPr>
              <a:spLocks/>
            </p:cNvSpPr>
            <p:nvPr/>
          </p:nvSpPr>
          <p:spPr bwMode="auto">
            <a:xfrm>
              <a:off x="3227146" y="1753983"/>
              <a:ext cx="592714" cy="521579"/>
            </a:xfrm>
            <a:custGeom>
              <a:avLst/>
              <a:gdLst>
                <a:gd name="T0" fmla="*/ 40 w 415"/>
                <a:gd name="T1" fmla="*/ 0 h 365"/>
                <a:gd name="T2" fmla="*/ 25 w 415"/>
                <a:gd name="T3" fmla="*/ 136 h 365"/>
                <a:gd name="T4" fmla="*/ 0 w 415"/>
                <a:gd name="T5" fmla="*/ 331 h 365"/>
                <a:gd name="T6" fmla="*/ 120 w 415"/>
                <a:gd name="T7" fmla="*/ 342 h 365"/>
                <a:gd name="T8" fmla="*/ 401 w 415"/>
                <a:gd name="T9" fmla="*/ 365 h 365"/>
                <a:gd name="T10" fmla="*/ 415 w 415"/>
                <a:gd name="T11" fmla="*/ 37 h 365"/>
                <a:gd name="T12" fmla="*/ 40 w 415"/>
                <a:gd name="T13" fmla="*/ 0 h 3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5"/>
                <a:gd name="T22" fmla="*/ 0 h 365"/>
                <a:gd name="T23" fmla="*/ 415 w 415"/>
                <a:gd name="T24" fmla="*/ 365 h 3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5" h="365">
                  <a:moveTo>
                    <a:pt x="40" y="0"/>
                  </a:moveTo>
                  <a:lnTo>
                    <a:pt x="25" y="136"/>
                  </a:lnTo>
                  <a:lnTo>
                    <a:pt x="0" y="331"/>
                  </a:lnTo>
                  <a:lnTo>
                    <a:pt x="120" y="342"/>
                  </a:lnTo>
                  <a:lnTo>
                    <a:pt x="401" y="365"/>
                  </a:lnTo>
                  <a:lnTo>
                    <a:pt x="415" y="37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33" name="Freeform 31"/>
            <p:cNvSpPr>
              <a:spLocks/>
            </p:cNvSpPr>
            <p:nvPr/>
          </p:nvSpPr>
          <p:spPr bwMode="auto">
            <a:xfrm>
              <a:off x="3347117" y="2241267"/>
              <a:ext cx="618422" cy="495858"/>
            </a:xfrm>
            <a:custGeom>
              <a:avLst/>
              <a:gdLst>
                <a:gd name="T0" fmla="*/ 36 w 433"/>
                <a:gd name="T1" fmla="*/ 0 h 347"/>
                <a:gd name="T2" fmla="*/ 14 w 433"/>
                <a:gd name="T3" fmla="*/ 208 h 347"/>
                <a:gd name="T4" fmla="*/ 0 w 433"/>
                <a:gd name="T5" fmla="*/ 328 h 347"/>
                <a:gd name="T6" fmla="*/ 216 w 433"/>
                <a:gd name="T7" fmla="*/ 339 h 347"/>
                <a:gd name="T8" fmla="*/ 423 w 433"/>
                <a:gd name="T9" fmla="*/ 347 h 347"/>
                <a:gd name="T10" fmla="*/ 430 w 433"/>
                <a:gd name="T11" fmla="*/ 184 h 347"/>
                <a:gd name="T12" fmla="*/ 433 w 433"/>
                <a:gd name="T13" fmla="*/ 26 h 347"/>
                <a:gd name="T14" fmla="*/ 315 w 433"/>
                <a:gd name="T15" fmla="*/ 23 h 347"/>
                <a:gd name="T16" fmla="*/ 36 w 433"/>
                <a:gd name="T17" fmla="*/ 0 h 3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33"/>
                <a:gd name="T28" fmla="*/ 0 h 347"/>
                <a:gd name="T29" fmla="*/ 433 w 433"/>
                <a:gd name="T30" fmla="*/ 347 h 34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33" h="347">
                  <a:moveTo>
                    <a:pt x="36" y="0"/>
                  </a:moveTo>
                  <a:lnTo>
                    <a:pt x="14" y="208"/>
                  </a:lnTo>
                  <a:lnTo>
                    <a:pt x="0" y="328"/>
                  </a:lnTo>
                  <a:lnTo>
                    <a:pt x="216" y="339"/>
                  </a:lnTo>
                  <a:lnTo>
                    <a:pt x="423" y="347"/>
                  </a:lnTo>
                  <a:lnTo>
                    <a:pt x="430" y="184"/>
                  </a:lnTo>
                  <a:lnTo>
                    <a:pt x="433" y="26"/>
                  </a:lnTo>
                  <a:lnTo>
                    <a:pt x="315" y="23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46" name="Freeform 44"/>
            <p:cNvSpPr>
              <a:spLocks/>
            </p:cNvSpPr>
            <p:nvPr/>
          </p:nvSpPr>
          <p:spPr bwMode="auto">
            <a:xfrm>
              <a:off x="2359009" y="1137131"/>
              <a:ext cx="554831" cy="438150"/>
            </a:xfrm>
            <a:custGeom>
              <a:avLst/>
              <a:gdLst>
                <a:gd name="T0" fmla="*/ 134 w 389"/>
                <a:gd name="T1" fmla="*/ 0 h 307"/>
                <a:gd name="T2" fmla="*/ 245 w 389"/>
                <a:gd name="T3" fmla="*/ 24 h 307"/>
                <a:gd name="T4" fmla="*/ 328 w 389"/>
                <a:gd name="T5" fmla="*/ 39 h 307"/>
                <a:gd name="T6" fmla="*/ 369 w 389"/>
                <a:gd name="T7" fmla="*/ 46 h 307"/>
                <a:gd name="T8" fmla="*/ 411 w 389"/>
                <a:gd name="T9" fmla="*/ 51 h 307"/>
                <a:gd name="T10" fmla="*/ 466 w 389"/>
                <a:gd name="T11" fmla="*/ 59 h 307"/>
                <a:gd name="T12" fmla="*/ 535 w 389"/>
                <a:gd name="T13" fmla="*/ 68 h 307"/>
                <a:gd name="T14" fmla="*/ 489 w 389"/>
                <a:gd name="T15" fmla="*/ 307 h 307"/>
                <a:gd name="T16" fmla="*/ 282 w 389"/>
                <a:gd name="T17" fmla="*/ 273 h 307"/>
                <a:gd name="T18" fmla="*/ 255 w 389"/>
                <a:gd name="T19" fmla="*/ 288 h 307"/>
                <a:gd name="T20" fmla="*/ 216 w 389"/>
                <a:gd name="T21" fmla="*/ 265 h 307"/>
                <a:gd name="T22" fmla="*/ 184 w 389"/>
                <a:gd name="T23" fmla="*/ 288 h 307"/>
                <a:gd name="T24" fmla="*/ 154 w 389"/>
                <a:gd name="T25" fmla="*/ 268 h 307"/>
                <a:gd name="T26" fmla="*/ 68 w 389"/>
                <a:gd name="T27" fmla="*/ 265 h 307"/>
                <a:gd name="T28" fmla="*/ 81 w 389"/>
                <a:gd name="T29" fmla="*/ 226 h 307"/>
                <a:gd name="T30" fmla="*/ 18 w 389"/>
                <a:gd name="T31" fmla="*/ 222 h 307"/>
                <a:gd name="T32" fmla="*/ 13 w 389"/>
                <a:gd name="T33" fmla="*/ 200 h 307"/>
                <a:gd name="T34" fmla="*/ 25 w 389"/>
                <a:gd name="T35" fmla="*/ 177 h 307"/>
                <a:gd name="T36" fmla="*/ 11 w 389"/>
                <a:gd name="T37" fmla="*/ 155 h 307"/>
                <a:gd name="T38" fmla="*/ 12 w 389"/>
                <a:gd name="T39" fmla="*/ 96 h 307"/>
                <a:gd name="T40" fmla="*/ 0 w 389"/>
                <a:gd name="T41" fmla="*/ 50 h 307"/>
                <a:gd name="T42" fmla="*/ 5 w 389"/>
                <a:gd name="T43" fmla="*/ 32 h 307"/>
                <a:gd name="T44" fmla="*/ 34 w 389"/>
                <a:gd name="T45" fmla="*/ 39 h 307"/>
                <a:gd name="T46" fmla="*/ 63 w 389"/>
                <a:gd name="T47" fmla="*/ 66 h 307"/>
                <a:gd name="T48" fmla="*/ 115 w 389"/>
                <a:gd name="T49" fmla="*/ 72 h 307"/>
                <a:gd name="T50" fmla="*/ 129 w 389"/>
                <a:gd name="T51" fmla="*/ 94 h 307"/>
                <a:gd name="T52" fmla="*/ 103 w 389"/>
                <a:gd name="T53" fmla="*/ 94 h 307"/>
                <a:gd name="T54" fmla="*/ 100 w 389"/>
                <a:gd name="T55" fmla="*/ 113 h 307"/>
                <a:gd name="T56" fmla="*/ 115 w 389"/>
                <a:gd name="T57" fmla="*/ 115 h 307"/>
                <a:gd name="T58" fmla="*/ 120 w 389"/>
                <a:gd name="T59" fmla="*/ 134 h 307"/>
                <a:gd name="T60" fmla="*/ 89 w 389"/>
                <a:gd name="T61" fmla="*/ 148 h 307"/>
                <a:gd name="T62" fmla="*/ 89 w 389"/>
                <a:gd name="T63" fmla="*/ 161 h 307"/>
                <a:gd name="T64" fmla="*/ 124 w 389"/>
                <a:gd name="T65" fmla="*/ 161 h 307"/>
                <a:gd name="T66" fmla="*/ 134 w 389"/>
                <a:gd name="T67" fmla="*/ 128 h 307"/>
                <a:gd name="T68" fmla="*/ 162 w 389"/>
                <a:gd name="T69" fmla="*/ 108 h 307"/>
                <a:gd name="T70" fmla="*/ 129 w 389"/>
                <a:gd name="T71" fmla="*/ 57 h 307"/>
                <a:gd name="T72" fmla="*/ 150 w 389"/>
                <a:gd name="T73" fmla="*/ 40 h 307"/>
                <a:gd name="T74" fmla="*/ 134 w 389"/>
                <a:gd name="T75" fmla="*/ 0 h 30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89"/>
                <a:gd name="T115" fmla="*/ 0 h 307"/>
                <a:gd name="T116" fmla="*/ 389 w 389"/>
                <a:gd name="T117" fmla="*/ 307 h 30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89" h="307">
                  <a:moveTo>
                    <a:pt x="98" y="0"/>
                  </a:moveTo>
                  <a:lnTo>
                    <a:pt x="178" y="24"/>
                  </a:lnTo>
                  <a:lnTo>
                    <a:pt x="239" y="39"/>
                  </a:lnTo>
                  <a:lnTo>
                    <a:pt x="269" y="46"/>
                  </a:lnTo>
                  <a:lnTo>
                    <a:pt x="299" y="51"/>
                  </a:lnTo>
                  <a:lnTo>
                    <a:pt x="340" y="59"/>
                  </a:lnTo>
                  <a:lnTo>
                    <a:pt x="389" y="68"/>
                  </a:lnTo>
                  <a:lnTo>
                    <a:pt x="357" y="307"/>
                  </a:lnTo>
                  <a:lnTo>
                    <a:pt x="206" y="273"/>
                  </a:lnTo>
                  <a:lnTo>
                    <a:pt x="186" y="288"/>
                  </a:lnTo>
                  <a:lnTo>
                    <a:pt x="158" y="265"/>
                  </a:lnTo>
                  <a:lnTo>
                    <a:pt x="134" y="288"/>
                  </a:lnTo>
                  <a:lnTo>
                    <a:pt x="112" y="268"/>
                  </a:lnTo>
                  <a:lnTo>
                    <a:pt x="50" y="265"/>
                  </a:lnTo>
                  <a:lnTo>
                    <a:pt x="59" y="226"/>
                  </a:lnTo>
                  <a:lnTo>
                    <a:pt x="14" y="222"/>
                  </a:lnTo>
                  <a:lnTo>
                    <a:pt x="9" y="200"/>
                  </a:lnTo>
                  <a:lnTo>
                    <a:pt x="18" y="177"/>
                  </a:lnTo>
                  <a:lnTo>
                    <a:pt x="7" y="155"/>
                  </a:lnTo>
                  <a:lnTo>
                    <a:pt x="8" y="96"/>
                  </a:lnTo>
                  <a:lnTo>
                    <a:pt x="0" y="50"/>
                  </a:lnTo>
                  <a:lnTo>
                    <a:pt x="5" y="32"/>
                  </a:lnTo>
                  <a:lnTo>
                    <a:pt x="25" y="39"/>
                  </a:lnTo>
                  <a:lnTo>
                    <a:pt x="46" y="66"/>
                  </a:lnTo>
                  <a:lnTo>
                    <a:pt x="84" y="72"/>
                  </a:lnTo>
                  <a:lnTo>
                    <a:pt x="94" y="94"/>
                  </a:lnTo>
                  <a:lnTo>
                    <a:pt x="75" y="94"/>
                  </a:lnTo>
                  <a:lnTo>
                    <a:pt x="73" y="113"/>
                  </a:lnTo>
                  <a:lnTo>
                    <a:pt x="84" y="115"/>
                  </a:lnTo>
                  <a:lnTo>
                    <a:pt x="88" y="134"/>
                  </a:lnTo>
                  <a:lnTo>
                    <a:pt x="65" y="148"/>
                  </a:lnTo>
                  <a:lnTo>
                    <a:pt x="65" y="161"/>
                  </a:lnTo>
                  <a:lnTo>
                    <a:pt x="91" y="161"/>
                  </a:lnTo>
                  <a:lnTo>
                    <a:pt x="98" y="128"/>
                  </a:lnTo>
                  <a:lnTo>
                    <a:pt x="118" y="108"/>
                  </a:lnTo>
                  <a:lnTo>
                    <a:pt x="94" y="57"/>
                  </a:lnTo>
                  <a:lnTo>
                    <a:pt x="109" y="40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47" name="Freeform 45"/>
            <p:cNvSpPr>
              <a:spLocks/>
            </p:cNvSpPr>
            <p:nvPr/>
          </p:nvSpPr>
          <p:spPr bwMode="auto">
            <a:xfrm>
              <a:off x="2226849" y="1453838"/>
              <a:ext cx="694135" cy="570310"/>
            </a:xfrm>
            <a:custGeom>
              <a:avLst/>
              <a:gdLst>
                <a:gd name="T0" fmla="*/ 147 w 485"/>
                <a:gd name="T1" fmla="*/ 0 h 399"/>
                <a:gd name="T2" fmla="*/ 127 w 485"/>
                <a:gd name="T3" fmla="*/ 9 h 399"/>
                <a:gd name="T4" fmla="*/ 115 w 485"/>
                <a:gd name="T5" fmla="*/ 44 h 399"/>
                <a:gd name="T6" fmla="*/ 102 w 485"/>
                <a:gd name="T7" fmla="*/ 73 h 399"/>
                <a:gd name="T8" fmla="*/ 94 w 485"/>
                <a:gd name="T9" fmla="*/ 97 h 399"/>
                <a:gd name="T10" fmla="*/ 81 w 485"/>
                <a:gd name="T11" fmla="*/ 123 h 399"/>
                <a:gd name="T12" fmla="*/ 67 w 485"/>
                <a:gd name="T13" fmla="*/ 149 h 399"/>
                <a:gd name="T14" fmla="*/ 50 w 485"/>
                <a:gd name="T15" fmla="*/ 177 h 399"/>
                <a:gd name="T16" fmla="*/ 26 w 485"/>
                <a:gd name="T17" fmla="*/ 210 h 399"/>
                <a:gd name="T18" fmla="*/ 0 w 485"/>
                <a:gd name="T19" fmla="*/ 241 h 399"/>
                <a:gd name="T20" fmla="*/ 0 w 485"/>
                <a:gd name="T21" fmla="*/ 311 h 399"/>
                <a:gd name="T22" fmla="*/ 376 w 485"/>
                <a:gd name="T23" fmla="*/ 371 h 399"/>
                <a:gd name="T24" fmla="*/ 552 w 485"/>
                <a:gd name="T25" fmla="*/ 399 h 399"/>
                <a:gd name="T26" fmla="*/ 587 w 485"/>
                <a:gd name="T27" fmla="*/ 260 h 399"/>
                <a:gd name="T28" fmla="*/ 610 w 485"/>
                <a:gd name="T29" fmla="*/ 249 h 399"/>
                <a:gd name="T30" fmla="*/ 588 w 485"/>
                <a:gd name="T31" fmla="*/ 218 h 399"/>
                <a:gd name="T32" fmla="*/ 600 w 485"/>
                <a:gd name="T33" fmla="*/ 186 h 399"/>
                <a:gd name="T34" fmla="*/ 670 w 485"/>
                <a:gd name="T35" fmla="*/ 133 h 399"/>
                <a:gd name="T36" fmla="*/ 621 w 485"/>
                <a:gd name="T37" fmla="*/ 85 h 399"/>
                <a:gd name="T38" fmla="*/ 412 w 485"/>
                <a:gd name="T39" fmla="*/ 51 h 399"/>
                <a:gd name="T40" fmla="*/ 386 w 485"/>
                <a:gd name="T41" fmla="*/ 65 h 399"/>
                <a:gd name="T42" fmla="*/ 346 w 485"/>
                <a:gd name="T43" fmla="*/ 42 h 399"/>
                <a:gd name="T44" fmla="*/ 312 w 485"/>
                <a:gd name="T45" fmla="*/ 66 h 399"/>
                <a:gd name="T46" fmla="*/ 281 w 485"/>
                <a:gd name="T47" fmla="*/ 42 h 399"/>
                <a:gd name="T48" fmla="*/ 197 w 485"/>
                <a:gd name="T49" fmla="*/ 43 h 399"/>
                <a:gd name="T50" fmla="*/ 209 w 485"/>
                <a:gd name="T51" fmla="*/ 4 h 399"/>
                <a:gd name="T52" fmla="*/ 147 w 485"/>
                <a:gd name="T53" fmla="*/ 0 h 39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85"/>
                <a:gd name="T82" fmla="*/ 0 h 399"/>
                <a:gd name="T83" fmla="*/ 485 w 485"/>
                <a:gd name="T84" fmla="*/ 399 h 39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85" h="399">
                  <a:moveTo>
                    <a:pt x="106" y="0"/>
                  </a:moveTo>
                  <a:lnTo>
                    <a:pt x="92" y="9"/>
                  </a:lnTo>
                  <a:lnTo>
                    <a:pt x="83" y="44"/>
                  </a:lnTo>
                  <a:lnTo>
                    <a:pt x="74" y="73"/>
                  </a:lnTo>
                  <a:lnTo>
                    <a:pt x="68" y="97"/>
                  </a:lnTo>
                  <a:lnTo>
                    <a:pt x="59" y="123"/>
                  </a:lnTo>
                  <a:lnTo>
                    <a:pt x="49" y="149"/>
                  </a:lnTo>
                  <a:lnTo>
                    <a:pt x="36" y="177"/>
                  </a:lnTo>
                  <a:lnTo>
                    <a:pt x="18" y="210"/>
                  </a:lnTo>
                  <a:lnTo>
                    <a:pt x="0" y="241"/>
                  </a:lnTo>
                  <a:lnTo>
                    <a:pt x="0" y="311"/>
                  </a:lnTo>
                  <a:lnTo>
                    <a:pt x="272" y="371"/>
                  </a:lnTo>
                  <a:lnTo>
                    <a:pt x="398" y="399"/>
                  </a:lnTo>
                  <a:lnTo>
                    <a:pt x="424" y="260"/>
                  </a:lnTo>
                  <a:lnTo>
                    <a:pt x="441" y="249"/>
                  </a:lnTo>
                  <a:lnTo>
                    <a:pt x="425" y="218"/>
                  </a:lnTo>
                  <a:lnTo>
                    <a:pt x="433" y="186"/>
                  </a:lnTo>
                  <a:lnTo>
                    <a:pt x="485" y="133"/>
                  </a:lnTo>
                  <a:lnTo>
                    <a:pt x="449" y="85"/>
                  </a:lnTo>
                  <a:lnTo>
                    <a:pt x="298" y="51"/>
                  </a:lnTo>
                  <a:lnTo>
                    <a:pt x="278" y="65"/>
                  </a:lnTo>
                  <a:lnTo>
                    <a:pt x="250" y="42"/>
                  </a:lnTo>
                  <a:lnTo>
                    <a:pt x="226" y="66"/>
                  </a:lnTo>
                  <a:lnTo>
                    <a:pt x="203" y="42"/>
                  </a:lnTo>
                  <a:lnTo>
                    <a:pt x="143" y="43"/>
                  </a:lnTo>
                  <a:lnTo>
                    <a:pt x="151" y="4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48" name="Freeform 46"/>
            <p:cNvSpPr>
              <a:spLocks/>
            </p:cNvSpPr>
            <p:nvPr/>
          </p:nvSpPr>
          <p:spPr bwMode="auto">
            <a:xfrm>
              <a:off x="2169699" y="1895560"/>
              <a:ext cx="732235" cy="1214438"/>
            </a:xfrm>
            <a:custGeom>
              <a:avLst/>
              <a:gdLst>
                <a:gd name="T0" fmla="*/ 55 w 512"/>
                <a:gd name="T1" fmla="*/ 0 h 850"/>
                <a:gd name="T2" fmla="*/ 379 w 512"/>
                <a:gd name="T3" fmla="*/ 50 h 850"/>
                <a:gd name="T4" fmla="*/ 308 w 512"/>
                <a:gd name="T5" fmla="*/ 300 h 850"/>
                <a:gd name="T6" fmla="*/ 673 w 512"/>
                <a:gd name="T7" fmla="*/ 681 h 850"/>
                <a:gd name="T8" fmla="*/ 708 w 512"/>
                <a:gd name="T9" fmla="*/ 730 h 850"/>
                <a:gd name="T10" fmla="*/ 672 w 512"/>
                <a:gd name="T11" fmla="*/ 753 h 850"/>
                <a:gd name="T12" fmla="*/ 651 w 512"/>
                <a:gd name="T13" fmla="*/ 795 h 850"/>
                <a:gd name="T14" fmla="*/ 628 w 512"/>
                <a:gd name="T15" fmla="*/ 820 h 850"/>
                <a:gd name="T16" fmla="*/ 653 w 512"/>
                <a:gd name="T17" fmla="*/ 842 h 850"/>
                <a:gd name="T18" fmla="*/ 612 w 512"/>
                <a:gd name="T19" fmla="*/ 850 h 850"/>
                <a:gd name="T20" fmla="*/ 398 w 512"/>
                <a:gd name="T21" fmla="*/ 844 h 850"/>
                <a:gd name="T22" fmla="*/ 384 w 512"/>
                <a:gd name="T23" fmla="*/ 794 h 850"/>
                <a:gd name="T24" fmla="*/ 348 w 512"/>
                <a:gd name="T25" fmla="*/ 758 h 850"/>
                <a:gd name="T26" fmla="*/ 320 w 512"/>
                <a:gd name="T27" fmla="*/ 745 h 850"/>
                <a:gd name="T28" fmla="*/ 313 w 512"/>
                <a:gd name="T29" fmla="*/ 719 h 850"/>
                <a:gd name="T30" fmla="*/ 291 w 512"/>
                <a:gd name="T31" fmla="*/ 705 h 850"/>
                <a:gd name="T32" fmla="*/ 268 w 512"/>
                <a:gd name="T33" fmla="*/ 687 h 850"/>
                <a:gd name="T34" fmla="*/ 260 w 512"/>
                <a:gd name="T35" fmla="*/ 667 h 850"/>
                <a:gd name="T36" fmla="*/ 240 w 512"/>
                <a:gd name="T37" fmla="*/ 654 h 850"/>
                <a:gd name="T38" fmla="*/ 207 w 512"/>
                <a:gd name="T39" fmla="*/ 661 h 850"/>
                <a:gd name="T40" fmla="*/ 168 w 512"/>
                <a:gd name="T41" fmla="*/ 651 h 850"/>
                <a:gd name="T42" fmla="*/ 168 w 512"/>
                <a:gd name="T43" fmla="*/ 640 h 850"/>
                <a:gd name="T44" fmla="*/ 167 w 512"/>
                <a:gd name="T45" fmla="*/ 617 h 850"/>
                <a:gd name="T46" fmla="*/ 152 w 512"/>
                <a:gd name="T47" fmla="*/ 591 h 850"/>
                <a:gd name="T48" fmla="*/ 151 w 512"/>
                <a:gd name="T49" fmla="*/ 570 h 850"/>
                <a:gd name="T50" fmla="*/ 134 w 512"/>
                <a:gd name="T51" fmla="*/ 551 h 850"/>
                <a:gd name="T52" fmla="*/ 138 w 512"/>
                <a:gd name="T53" fmla="*/ 533 h 850"/>
                <a:gd name="T54" fmla="*/ 92 w 512"/>
                <a:gd name="T55" fmla="*/ 490 h 850"/>
                <a:gd name="T56" fmla="*/ 92 w 512"/>
                <a:gd name="T57" fmla="*/ 465 h 850"/>
                <a:gd name="T58" fmla="*/ 115 w 512"/>
                <a:gd name="T59" fmla="*/ 456 h 850"/>
                <a:gd name="T60" fmla="*/ 115 w 512"/>
                <a:gd name="T61" fmla="*/ 440 h 850"/>
                <a:gd name="T62" fmla="*/ 92 w 512"/>
                <a:gd name="T63" fmla="*/ 436 h 850"/>
                <a:gd name="T64" fmla="*/ 80 w 512"/>
                <a:gd name="T65" fmla="*/ 412 h 850"/>
                <a:gd name="T66" fmla="*/ 69 w 512"/>
                <a:gd name="T67" fmla="*/ 371 h 850"/>
                <a:gd name="T68" fmla="*/ 103 w 512"/>
                <a:gd name="T69" fmla="*/ 393 h 850"/>
                <a:gd name="T70" fmla="*/ 89 w 512"/>
                <a:gd name="T71" fmla="*/ 364 h 850"/>
                <a:gd name="T72" fmla="*/ 115 w 512"/>
                <a:gd name="T73" fmla="*/ 364 h 850"/>
                <a:gd name="T74" fmla="*/ 115 w 512"/>
                <a:gd name="T75" fmla="*/ 343 h 850"/>
                <a:gd name="T76" fmla="*/ 89 w 512"/>
                <a:gd name="T77" fmla="*/ 329 h 850"/>
                <a:gd name="T78" fmla="*/ 78 w 512"/>
                <a:gd name="T79" fmla="*/ 349 h 850"/>
                <a:gd name="T80" fmla="*/ 55 w 512"/>
                <a:gd name="T81" fmla="*/ 342 h 850"/>
                <a:gd name="T82" fmla="*/ 11 w 512"/>
                <a:gd name="T83" fmla="*/ 246 h 850"/>
                <a:gd name="T84" fmla="*/ 22 w 512"/>
                <a:gd name="T85" fmla="*/ 178 h 850"/>
                <a:gd name="T86" fmla="*/ 0 w 512"/>
                <a:gd name="T87" fmla="*/ 139 h 850"/>
                <a:gd name="T88" fmla="*/ 12 w 512"/>
                <a:gd name="T89" fmla="*/ 110 h 850"/>
                <a:gd name="T90" fmla="*/ 33 w 512"/>
                <a:gd name="T91" fmla="*/ 104 h 850"/>
                <a:gd name="T92" fmla="*/ 55 w 512"/>
                <a:gd name="T93" fmla="*/ 57 h 850"/>
                <a:gd name="T94" fmla="*/ 55 w 512"/>
                <a:gd name="T95" fmla="*/ 0 h 8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12"/>
                <a:gd name="T145" fmla="*/ 0 h 850"/>
                <a:gd name="T146" fmla="*/ 512 w 512"/>
                <a:gd name="T147" fmla="*/ 850 h 85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12" h="850">
                  <a:moveTo>
                    <a:pt x="40" y="0"/>
                  </a:moveTo>
                  <a:lnTo>
                    <a:pt x="275" y="50"/>
                  </a:lnTo>
                  <a:lnTo>
                    <a:pt x="223" y="300"/>
                  </a:lnTo>
                  <a:lnTo>
                    <a:pt x="488" y="681"/>
                  </a:lnTo>
                  <a:lnTo>
                    <a:pt x="512" y="730"/>
                  </a:lnTo>
                  <a:lnTo>
                    <a:pt x="487" y="753"/>
                  </a:lnTo>
                  <a:lnTo>
                    <a:pt x="471" y="795"/>
                  </a:lnTo>
                  <a:lnTo>
                    <a:pt x="455" y="820"/>
                  </a:lnTo>
                  <a:lnTo>
                    <a:pt x="472" y="842"/>
                  </a:lnTo>
                  <a:lnTo>
                    <a:pt x="444" y="850"/>
                  </a:lnTo>
                  <a:lnTo>
                    <a:pt x="289" y="844"/>
                  </a:lnTo>
                  <a:lnTo>
                    <a:pt x="279" y="794"/>
                  </a:lnTo>
                  <a:lnTo>
                    <a:pt x="252" y="758"/>
                  </a:lnTo>
                  <a:lnTo>
                    <a:pt x="232" y="745"/>
                  </a:lnTo>
                  <a:lnTo>
                    <a:pt x="227" y="719"/>
                  </a:lnTo>
                  <a:lnTo>
                    <a:pt x="210" y="705"/>
                  </a:lnTo>
                  <a:lnTo>
                    <a:pt x="194" y="687"/>
                  </a:lnTo>
                  <a:lnTo>
                    <a:pt x="188" y="667"/>
                  </a:lnTo>
                  <a:lnTo>
                    <a:pt x="173" y="654"/>
                  </a:lnTo>
                  <a:lnTo>
                    <a:pt x="149" y="661"/>
                  </a:lnTo>
                  <a:lnTo>
                    <a:pt x="122" y="651"/>
                  </a:lnTo>
                  <a:lnTo>
                    <a:pt x="122" y="640"/>
                  </a:lnTo>
                  <a:lnTo>
                    <a:pt x="121" y="617"/>
                  </a:lnTo>
                  <a:lnTo>
                    <a:pt x="110" y="591"/>
                  </a:lnTo>
                  <a:lnTo>
                    <a:pt x="109" y="570"/>
                  </a:lnTo>
                  <a:lnTo>
                    <a:pt x="97" y="551"/>
                  </a:lnTo>
                  <a:lnTo>
                    <a:pt x="100" y="533"/>
                  </a:lnTo>
                  <a:lnTo>
                    <a:pt x="66" y="490"/>
                  </a:lnTo>
                  <a:lnTo>
                    <a:pt x="66" y="465"/>
                  </a:lnTo>
                  <a:lnTo>
                    <a:pt x="83" y="456"/>
                  </a:lnTo>
                  <a:lnTo>
                    <a:pt x="83" y="440"/>
                  </a:lnTo>
                  <a:lnTo>
                    <a:pt x="66" y="436"/>
                  </a:lnTo>
                  <a:lnTo>
                    <a:pt x="58" y="412"/>
                  </a:lnTo>
                  <a:lnTo>
                    <a:pt x="50" y="371"/>
                  </a:lnTo>
                  <a:lnTo>
                    <a:pt x="75" y="393"/>
                  </a:lnTo>
                  <a:lnTo>
                    <a:pt x="65" y="364"/>
                  </a:lnTo>
                  <a:lnTo>
                    <a:pt x="83" y="364"/>
                  </a:lnTo>
                  <a:lnTo>
                    <a:pt x="83" y="343"/>
                  </a:lnTo>
                  <a:lnTo>
                    <a:pt x="65" y="329"/>
                  </a:lnTo>
                  <a:lnTo>
                    <a:pt x="56" y="349"/>
                  </a:lnTo>
                  <a:lnTo>
                    <a:pt x="40" y="342"/>
                  </a:lnTo>
                  <a:lnTo>
                    <a:pt x="7" y="246"/>
                  </a:lnTo>
                  <a:lnTo>
                    <a:pt x="16" y="178"/>
                  </a:lnTo>
                  <a:lnTo>
                    <a:pt x="0" y="139"/>
                  </a:lnTo>
                  <a:lnTo>
                    <a:pt x="8" y="110"/>
                  </a:lnTo>
                  <a:lnTo>
                    <a:pt x="24" y="104"/>
                  </a:lnTo>
                  <a:lnTo>
                    <a:pt x="40" y="57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49" name="Freeform 47"/>
            <p:cNvSpPr>
              <a:spLocks/>
            </p:cNvSpPr>
            <p:nvPr/>
          </p:nvSpPr>
          <p:spPr bwMode="auto">
            <a:xfrm>
              <a:off x="2793586" y="1232382"/>
              <a:ext cx="500063" cy="869156"/>
            </a:xfrm>
            <a:custGeom>
              <a:avLst/>
              <a:gdLst>
                <a:gd name="T0" fmla="*/ 117 w 349"/>
                <a:gd name="T1" fmla="*/ 0 h 608"/>
                <a:gd name="T2" fmla="*/ 72 w 349"/>
                <a:gd name="T3" fmla="*/ 238 h 608"/>
                <a:gd name="T4" fmla="*/ 118 w 349"/>
                <a:gd name="T5" fmla="*/ 288 h 608"/>
                <a:gd name="T6" fmla="*/ 47 w 349"/>
                <a:gd name="T7" fmla="*/ 341 h 608"/>
                <a:gd name="T8" fmla="*/ 37 w 349"/>
                <a:gd name="T9" fmla="*/ 378 h 608"/>
                <a:gd name="T10" fmla="*/ 58 w 349"/>
                <a:gd name="T11" fmla="*/ 404 h 608"/>
                <a:gd name="T12" fmla="*/ 37 w 349"/>
                <a:gd name="T13" fmla="*/ 416 h 608"/>
                <a:gd name="T14" fmla="*/ 0 w 349"/>
                <a:gd name="T15" fmla="*/ 554 h 608"/>
                <a:gd name="T16" fmla="*/ 230 w 349"/>
                <a:gd name="T17" fmla="*/ 586 h 608"/>
                <a:gd name="T18" fmla="*/ 451 w 349"/>
                <a:gd name="T19" fmla="*/ 608 h 608"/>
                <a:gd name="T20" fmla="*/ 472 w 349"/>
                <a:gd name="T21" fmla="*/ 482 h 608"/>
                <a:gd name="T22" fmla="*/ 485 w 349"/>
                <a:gd name="T23" fmla="*/ 413 h 608"/>
                <a:gd name="T24" fmla="*/ 464 w 349"/>
                <a:gd name="T25" fmla="*/ 388 h 608"/>
                <a:gd name="T26" fmla="*/ 414 w 349"/>
                <a:gd name="T27" fmla="*/ 395 h 608"/>
                <a:gd name="T28" fmla="*/ 346 w 349"/>
                <a:gd name="T29" fmla="*/ 401 h 608"/>
                <a:gd name="T30" fmla="*/ 338 w 349"/>
                <a:gd name="T31" fmla="*/ 345 h 608"/>
                <a:gd name="T32" fmla="*/ 257 w 349"/>
                <a:gd name="T33" fmla="*/ 299 h 608"/>
                <a:gd name="T34" fmla="*/ 268 w 349"/>
                <a:gd name="T35" fmla="*/ 270 h 608"/>
                <a:gd name="T36" fmla="*/ 275 w 349"/>
                <a:gd name="T37" fmla="*/ 218 h 608"/>
                <a:gd name="T38" fmla="*/ 175 w 349"/>
                <a:gd name="T39" fmla="*/ 106 h 608"/>
                <a:gd name="T40" fmla="*/ 188 w 349"/>
                <a:gd name="T41" fmla="*/ 7 h 608"/>
                <a:gd name="T42" fmla="*/ 117 w 349"/>
                <a:gd name="T43" fmla="*/ 0 h 60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49"/>
                <a:gd name="T67" fmla="*/ 0 h 608"/>
                <a:gd name="T68" fmla="*/ 349 w 349"/>
                <a:gd name="T69" fmla="*/ 608 h 60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49" h="608">
                  <a:moveTo>
                    <a:pt x="84" y="0"/>
                  </a:moveTo>
                  <a:lnTo>
                    <a:pt x="52" y="238"/>
                  </a:lnTo>
                  <a:lnTo>
                    <a:pt x="85" y="288"/>
                  </a:lnTo>
                  <a:lnTo>
                    <a:pt x="34" y="341"/>
                  </a:lnTo>
                  <a:lnTo>
                    <a:pt x="27" y="378"/>
                  </a:lnTo>
                  <a:lnTo>
                    <a:pt x="41" y="404"/>
                  </a:lnTo>
                  <a:lnTo>
                    <a:pt x="27" y="416"/>
                  </a:lnTo>
                  <a:lnTo>
                    <a:pt x="0" y="554"/>
                  </a:lnTo>
                  <a:lnTo>
                    <a:pt x="166" y="586"/>
                  </a:lnTo>
                  <a:lnTo>
                    <a:pt x="324" y="608"/>
                  </a:lnTo>
                  <a:lnTo>
                    <a:pt x="340" y="482"/>
                  </a:lnTo>
                  <a:lnTo>
                    <a:pt x="349" y="413"/>
                  </a:lnTo>
                  <a:lnTo>
                    <a:pt x="333" y="388"/>
                  </a:lnTo>
                  <a:lnTo>
                    <a:pt x="297" y="395"/>
                  </a:lnTo>
                  <a:lnTo>
                    <a:pt x="250" y="401"/>
                  </a:lnTo>
                  <a:lnTo>
                    <a:pt x="242" y="345"/>
                  </a:lnTo>
                  <a:lnTo>
                    <a:pt x="185" y="299"/>
                  </a:lnTo>
                  <a:lnTo>
                    <a:pt x="192" y="270"/>
                  </a:lnTo>
                  <a:lnTo>
                    <a:pt x="198" y="218"/>
                  </a:lnTo>
                  <a:lnTo>
                    <a:pt x="125" y="106"/>
                  </a:lnTo>
                  <a:lnTo>
                    <a:pt x="134" y="7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4605717" y="2748048"/>
              <a:ext cx="420291" cy="421481"/>
            </a:xfrm>
            <a:custGeom>
              <a:avLst/>
              <a:gdLst>
                <a:gd name="T0" fmla="*/ 0 w 294"/>
                <a:gd name="T1" fmla="*/ 27 h 295"/>
                <a:gd name="T2" fmla="*/ 162 w 294"/>
                <a:gd name="T3" fmla="*/ 12 h 295"/>
                <a:gd name="T4" fmla="*/ 359 w 294"/>
                <a:gd name="T5" fmla="*/ 0 h 295"/>
                <a:gd name="T6" fmla="*/ 348 w 294"/>
                <a:gd name="T7" fmla="*/ 39 h 295"/>
                <a:gd name="T8" fmla="*/ 392 w 294"/>
                <a:gd name="T9" fmla="*/ 30 h 295"/>
                <a:gd name="T10" fmla="*/ 407 w 294"/>
                <a:gd name="T11" fmla="*/ 56 h 295"/>
                <a:gd name="T12" fmla="*/ 362 w 294"/>
                <a:gd name="T13" fmla="*/ 80 h 295"/>
                <a:gd name="T14" fmla="*/ 373 w 294"/>
                <a:gd name="T15" fmla="*/ 121 h 295"/>
                <a:gd name="T16" fmla="*/ 327 w 294"/>
                <a:gd name="T17" fmla="*/ 189 h 295"/>
                <a:gd name="T18" fmla="*/ 291 w 294"/>
                <a:gd name="T19" fmla="*/ 231 h 295"/>
                <a:gd name="T20" fmla="*/ 310 w 294"/>
                <a:gd name="T21" fmla="*/ 285 h 295"/>
                <a:gd name="T22" fmla="*/ 60 w 294"/>
                <a:gd name="T23" fmla="*/ 295 h 295"/>
                <a:gd name="T24" fmla="*/ 59 w 294"/>
                <a:gd name="T25" fmla="*/ 262 h 295"/>
                <a:gd name="T26" fmla="*/ 10 w 294"/>
                <a:gd name="T27" fmla="*/ 255 h 295"/>
                <a:gd name="T28" fmla="*/ 10 w 294"/>
                <a:gd name="T29" fmla="*/ 80 h 295"/>
                <a:gd name="T30" fmla="*/ 0 w 294"/>
                <a:gd name="T31" fmla="*/ 27 h 29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94"/>
                <a:gd name="T49" fmla="*/ 0 h 295"/>
                <a:gd name="T50" fmla="*/ 294 w 294"/>
                <a:gd name="T51" fmla="*/ 295 h 29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94" h="295">
                  <a:moveTo>
                    <a:pt x="0" y="27"/>
                  </a:moveTo>
                  <a:lnTo>
                    <a:pt x="116" y="12"/>
                  </a:lnTo>
                  <a:lnTo>
                    <a:pt x="259" y="0"/>
                  </a:lnTo>
                  <a:lnTo>
                    <a:pt x="252" y="39"/>
                  </a:lnTo>
                  <a:lnTo>
                    <a:pt x="283" y="30"/>
                  </a:lnTo>
                  <a:lnTo>
                    <a:pt x="294" y="56"/>
                  </a:lnTo>
                  <a:lnTo>
                    <a:pt x="262" y="80"/>
                  </a:lnTo>
                  <a:lnTo>
                    <a:pt x="269" y="121"/>
                  </a:lnTo>
                  <a:lnTo>
                    <a:pt x="235" y="189"/>
                  </a:lnTo>
                  <a:lnTo>
                    <a:pt x="210" y="231"/>
                  </a:lnTo>
                  <a:lnTo>
                    <a:pt x="224" y="285"/>
                  </a:lnTo>
                  <a:lnTo>
                    <a:pt x="43" y="295"/>
                  </a:lnTo>
                  <a:lnTo>
                    <a:pt x="42" y="262"/>
                  </a:lnTo>
                  <a:lnTo>
                    <a:pt x="6" y="255"/>
                  </a:lnTo>
                  <a:lnTo>
                    <a:pt x="6" y="8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4660486" y="3154051"/>
              <a:ext cx="513160" cy="441722"/>
            </a:xfrm>
            <a:custGeom>
              <a:avLst/>
              <a:gdLst>
                <a:gd name="T0" fmla="*/ 0 w 359"/>
                <a:gd name="T1" fmla="*/ 7 h 309"/>
                <a:gd name="T2" fmla="*/ 247 w 359"/>
                <a:gd name="T3" fmla="*/ 0 h 309"/>
                <a:gd name="T4" fmla="*/ 291 w 359"/>
                <a:gd name="T5" fmla="*/ 64 h 309"/>
                <a:gd name="T6" fmla="*/ 254 w 359"/>
                <a:gd name="T7" fmla="*/ 139 h 309"/>
                <a:gd name="T8" fmla="*/ 242 w 359"/>
                <a:gd name="T9" fmla="*/ 173 h 309"/>
                <a:gd name="T10" fmla="*/ 407 w 359"/>
                <a:gd name="T11" fmla="*/ 159 h 309"/>
                <a:gd name="T12" fmla="*/ 417 w 359"/>
                <a:gd name="T13" fmla="*/ 208 h 309"/>
                <a:gd name="T14" fmla="*/ 367 w 359"/>
                <a:gd name="T15" fmla="*/ 204 h 309"/>
                <a:gd name="T16" fmla="*/ 346 w 359"/>
                <a:gd name="T17" fmla="*/ 225 h 309"/>
                <a:gd name="T18" fmla="*/ 369 w 359"/>
                <a:gd name="T19" fmla="*/ 239 h 309"/>
                <a:gd name="T20" fmla="*/ 416 w 359"/>
                <a:gd name="T21" fmla="*/ 222 h 309"/>
                <a:gd name="T22" fmla="*/ 417 w 359"/>
                <a:gd name="T23" fmla="*/ 246 h 309"/>
                <a:gd name="T24" fmla="*/ 444 w 359"/>
                <a:gd name="T25" fmla="*/ 226 h 309"/>
                <a:gd name="T26" fmla="*/ 463 w 359"/>
                <a:gd name="T27" fmla="*/ 226 h 309"/>
                <a:gd name="T28" fmla="*/ 441 w 359"/>
                <a:gd name="T29" fmla="*/ 267 h 309"/>
                <a:gd name="T30" fmla="*/ 482 w 359"/>
                <a:gd name="T31" fmla="*/ 274 h 309"/>
                <a:gd name="T32" fmla="*/ 495 w 359"/>
                <a:gd name="T33" fmla="*/ 297 h 309"/>
                <a:gd name="T34" fmla="*/ 476 w 359"/>
                <a:gd name="T35" fmla="*/ 304 h 309"/>
                <a:gd name="T36" fmla="*/ 451 w 359"/>
                <a:gd name="T37" fmla="*/ 289 h 309"/>
                <a:gd name="T38" fmla="*/ 402 w 359"/>
                <a:gd name="T39" fmla="*/ 279 h 309"/>
                <a:gd name="T40" fmla="*/ 412 w 359"/>
                <a:gd name="T41" fmla="*/ 306 h 309"/>
                <a:gd name="T42" fmla="*/ 390 w 359"/>
                <a:gd name="T43" fmla="*/ 309 h 309"/>
                <a:gd name="T44" fmla="*/ 368 w 359"/>
                <a:gd name="T45" fmla="*/ 285 h 309"/>
                <a:gd name="T46" fmla="*/ 356 w 359"/>
                <a:gd name="T47" fmla="*/ 300 h 309"/>
                <a:gd name="T48" fmla="*/ 284 w 359"/>
                <a:gd name="T49" fmla="*/ 300 h 309"/>
                <a:gd name="T50" fmla="*/ 284 w 359"/>
                <a:gd name="T51" fmla="*/ 285 h 309"/>
                <a:gd name="T52" fmla="*/ 258 w 359"/>
                <a:gd name="T53" fmla="*/ 267 h 309"/>
                <a:gd name="T54" fmla="*/ 202 w 359"/>
                <a:gd name="T55" fmla="*/ 265 h 309"/>
                <a:gd name="T56" fmla="*/ 248 w 359"/>
                <a:gd name="T57" fmla="*/ 285 h 309"/>
                <a:gd name="T58" fmla="*/ 184 w 359"/>
                <a:gd name="T59" fmla="*/ 295 h 309"/>
                <a:gd name="T60" fmla="*/ 86 w 359"/>
                <a:gd name="T61" fmla="*/ 281 h 309"/>
                <a:gd name="T62" fmla="*/ 48 w 359"/>
                <a:gd name="T63" fmla="*/ 285 h 309"/>
                <a:gd name="T64" fmla="*/ 62 w 359"/>
                <a:gd name="T65" fmla="*/ 181 h 309"/>
                <a:gd name="T66" fmla="*/ 1 w 359"/>
                <a:gd name="T67" fmla="*/ 99 h 309"/>
                <a:gd name="T68" fmla="*/ 0 w 359"/>
                <a:gd name="T69" fmla="*/ 7 h 30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9"/>
                <a:gd name="T106" fmla="*/ 0 h 309"/>
                <a:gd name="T107" fmla="*/ 359 w 359"/>
                <a:gd name="T108" fmla="*/ 309 h 30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9" h="309">
                  <a:moveTo>
                    <a:pt x="0" y="7"/>
                  </a:moveTo>
                  <a:lnTo>
                    <a:pt x="179" y="0"/>
                  </a:lnTo>
                  <a:lnTo>
                    <a:pt x="211" y="64"/>
                  </a:lnTo>
                  <a:lnTo>
                    <a:pt x="184" y="139"/>
                  </a:lnTo>
                  <a:lnTo>
                    <a:pt x="175" y="173"/>
                  </a:lnTo>
                  <a:lnTo>
                    <a:pt x="295" y="159"/>
                  </a:lnTo>
                  <a:lnTo>
                    <a:pt x="303" y="208"/>
                  </a:lnTo>
                  <a:lnTo>
                    <a:pt x="267" y="204"/>
                  </a:lnTo>
                  <a:lnTo>
                    <a:pt x="250" y="225"/>
                  </a:lnTo>
                  <a:lnTo>
                    <a:pt x="269" y="239"/>
                  </a:lnTo>
                  <a:lnTo>
                    <a:pt x="302" y="222"/>
                  </a:lnTo>
                  <a:lnTo>
                    <a:pt x="303" y="246"/>
                  </a:lnTo>
                  <a:lnTo>
                    <a:pt x="322" y="226"/>
                  </a:lnTo>
                  <a:lnTo>
                    <a:pt x="336" y="226"/>
                  </a:lnTo>
                  <a:lnTo>
                    <a:pt x="320" y="267"/>
                  </a:lnTo>
                  <a:lnTo>
                    <a:pt x="350" y="274"/>
                  </a:lnTo>
                  <a:lnTo>
                    <a:pt x="359" y="297"/>
                  </a:lnTo>
                  <a:lnTo>
                    <a:pt x="345" y="304"/>
                  </a:lnTo>
                  <a:lnTo>
                    <a:pt x="327" y="289"/>
                  </a:lnTo>
                  <a:lnTo>
                    <a:pt x="292" y="279"/>
                  </a:lnTo>
                  <a:lnTo>
                    <a:pt x="299" y="306"/>
                  </a:lnTo>
                  <a:lnTo>
                    <a:pt x="282" y="309"/>
                  </a:lnTo>
                  <a:lnTo>
                    <a:pt x="268" y="285"/>
                  </a:lnTo>
                  <a:lnTo>
                    <a:pt x="259" y="300"/>
                  </a:lnTo>
                  <a:lnTo>
                    <a:pt x="206" y="300"/>
                  </a:lnTo>
                  <a:lnTo>
                    <a:pt x="206" y="285"/>
                  </a:lnTo>
                  <a:lnTo>
                    <a:pt x="187" y="267"/>
                  </a:lnTo>
                  <a:lnTo>
                    <a:pt x="147" y="265"/>
                  </a:lnTo>
                  <a:lnTo>
                    <a:pt x="180" y="285"/>
                  </a:lnTo>
                  <a:lnTo>
                    <a:pt x="134" y="295"/>
                  </a:lnTo>
                  <a:lnTo>
                    <a:pt x="62" y="281"/>
                  </a:lnTo>
                  <a:lnTo>
                    <a:pt x="35" y="285"/>
                  </a:lnTo>
                  <a:lnTo>
                    <a:pt x="45" y="181"/>
                  </a:lnTo>
                  <a:lnTo>
                    <a:pt x="1" y="99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598698" y="2769479"/>
              <a:ext cx="428625" cy="364331"/>
            </a:xfrm>
            <a:custGeom>
              <a:avLst/>
              <a:gdLst>
                <a:gd name="T0" fmla="*/ 15 w 300"/>
                <a:gd name="T1" fmla="*/ 46 h 255"/>
                <a:gd name="T2" fmla="*/ 48 w 300"/>
                <a:gd name="T3" fmla="*/ 21 h 255"/>
                <a:gd name="T4" fmla="*/ 171 w 300"/>
                <a:gd name="T5" fmla="*/ 0 h 255"/>
                <a:gd name="T6" fmla="*/ 210 w 300"/>
                <a:gd name="T7" fmla="*/ 14 h 255"/>
                <a:gd name="T8" fmla="*/ 288 w 300"/>
                <a:gd name="T9" fmla="*/ 4 h 255"/>
                <a:gd name="T10" fmla="*/ 353 w 300"/>
                <a:gd name="T11" fmla="*/ 40 h 255"/>
                <a:gd name="T12" fmla="*/ 413 w 300"/>
                <a:gd name="T13" fmla="*/ 68 h 255"/>
                <a:gd name="T14" fmla="*/ 380 w 300"/>
                <a:gd name="T15" fmla="*/ 145 h 255"/>
                <a:gd name="T16" fmla="*/ 331 w 300"/>
                <a:gd name="T17" fmla="*/ 183 h 255"/>
                <a:gd name="T18" fmla="*/ 276 w 300"/>
                <a:gd name="T19" fmla="*/ 195 h 255"/>
                <a:gd name="T20" fmla="*/ 286 w 300"/>
                <a:gd name="T21" fmla="*/ 226 h 255"/>
                <a:gd name="T22" fmla="*/ 253 w 300"/>
                <a:gd name="T23" fmla="*/ 255 h 255"/>
                <a:gd name="T24" fmla="*/ 192 w 300"/>
                <a:gd name="T25" fmla="*/ 183 h 255"/>
                <a:gd name="T26" fmla="*/ 28 w 300"/>
                <a:gd name="T27" fmla="*/ 68 h 255"/>
                <a:gd name="T28" fmla="*/ 0 w 300"/>
                <a:gd name="T29" fmla="*/ 68 h 255"/>
                <a:gd name="T30" fmla="*/ 15 w 300"/>
                <a:gd name="T31" fmla="*/ 46 h 2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00"/>
                <a:gd name="T49" fmla="*/ 0 h 255"/>
                <a:gd name="T50" fmla="*/ 300 w 300"/>
                <a:gd name="T51" fmla="*/ 255 h 2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00" h="255">
                  <a:moveTo>
                    <a:pt x="11" y="46"/>
                  </a:moveTo>
                  <a:lnTo>
                    <a:pt x="35" y="21"/>
                  </a:lnTo>
                  <a:lnTo>
                    <a:pt x="125" y="0"/>
                  </a:lnTo>
                  <a:lnTo>
                    <a:pt x="152" y="14"/>
                  </a:lnTo>
                  <a:lnTo>
                    <a:pt x="210" y="4"/>
                  </a:lnTo>
                  <a:lnTo>
                    <a:pt x="257" y="40"/>
                  </a:lnTo>
                  <a:lnTo>
                    <a:pt x="300" y="68"/>
                  </a:lnTo>
                  <a:lnTo>
                    <a:pt x="276" y="145"/>
                  </a:lnTo>
                  <a:lnTo>
                    <a:pt x="240" y="183"/>
                  </a:lnTo>
                  <a:lnTo>
                    <a:pt x="200" y="195"/>
                  </a:lnTo>
                  <a:lnTo>
                    <a:pt x="208" y="226"/>
                  </a:lnTo>
                  <a:lnTo>
                    <a:pt x="184" y="255"/>
                  </a:lnTo>
                  <a:lnTo>
                    <a:pt x="138" y="183"/>
                  </a:lnTo>
                  <a:lnTo>
                    <a:pt x="20" y="68"/>
                  </a:lnTo>
                  <a:lnTo>
                    <a:pt x="0" y="68"/>
                  </a:lnTo>
                  <a:lnTo>
                    <a:pt x="11" y="46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543930" y="2232507"/>
              <a:ext cx="645319" cy="432197"/>
            </a:xfrm>
            <a:custGeom>
              <a:avLst/>
              <a:gdLst>
                <a:gd name="T0" fmla="*/ 102 w 452"/>
                <a:gd name="T1" fmla="*/ 211 h 302"/>
                <a:gd name="T2" fmla="*/ 83 w 452"/>
                <a:gd name="T3" fmla="*/ 242 h 302"/>
                <a:gd name="T4" fmla="*/ 57 w 452"/>
                <a:gd name="T5" fmla="*/ 250 h 302"/>
                <a:gd name="T6" fmla="*/ 56 w 452"/>
                <a:gd name="T7" fmla="*/ 270 h 302"/>
                <a:gd name="T8" fmla="*/ 2 w 452"/>
                <a:gd name="T9" fmla="*/ 286 h 302"/>
                <a:gd name="T10" fmla="*/ 0 w 452"/>
                <a:gd name="T11" fmla="*/ 302 h 302"/>
                <a:gd name="T12" fmla="*/ 146 w 452"/>
                <a:gd name="T13" fmla="*/ 282 h 302"/>
                <a:gd name="T14" fmla="*/ 414 w 452"/>
                <a:gd name="T15" fmla="*/ 238 h 302"/>
                <a:gd name="T16" fmla="*/ 619 w 452"/>
                <a:gd name="T17" fmla="*/ 200 h 302"/>
                <a:gd name="T18" fmla="*/ 619 w 452"/>
                <a:gd name="T19" fmla="*/ 169 h 302"/>
                <a:gd name="T20" fmla="*/ 597 w 452"/>
                <a:gd name="T21" fmla="*/ 160 h 302"/>
                <a:gd name="T22" fmla="*/ 578 w 452"/>
                <a:gd name="T23" fmla="*/ 175 h 302"/>
                <a:gd name="T24" fmla="*/ 568 w 452"/>
                <a:gd name="T25" fmla="*/ 134 h 302"/>
                <a:gd name="T26" fmla="*/ 578 w 452"/>
                <a:gd name="T27" fmla="*/ 97 h 302"/>
                <a:gd name="T28" fmla="*/ 501 w 452"/>
                <a:gd name="T29" fmla="*/ 70 h 302"/>
                <a:gd name="T30" fmla="*/ 449 w 452"/>
                <a:gd name="T31" fmla="*/ 77 h 302"/>
                <a:gd name="T32" fmla="*/ 448 w 452"/>
                <a:gd name="T33" fmla="*/ 21 h 302"/>
                <a:gd name="T34" fmla="*/ 396 w 452"/>
                <a:gd name="T35" fmla="*/ 0 h 302"/>
                <a:gd name="T36" fmla="*/ 354 w 452"/>
                <a:gd name="T37" fmla="*/ 13 h 302"/>
                <a:gd name="T38" fmla="*/ 326 w 452"/>
                <a:gd name="T39" fmla="*/ 66 h 302"/>
                <a:gd name="T40" fmla="*/ 278 w 452"/>
                <a:gd name="T41" fmla="*/ 87 h 302"/>
                <a:gd name="T42" fmla="*/ 259 w 452"/>
                <a:gd name="T43" fmla="*/ 170 h 302"/>
                <a:gd name="T44" fmla="*/ 182 w 452"/>
                <a:gd name="T45" fmla="*/ 211 h 302"/>
                <a:gd name="T46" fmla="*/ 118 w 452"/>
                <a:gd name="T47" fmla="*/ 228 h 302"/>
                <a:gd name="T48" fmla="*/ 102 w 452"/>
                <a:gd name="T49" fmla="*/ 211 h 30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52"/>
                <a:gd name="T76" fmla="*/ 0 h 302"/>
                <a:gd name="T77" fmla="*/ 452 w 452"/>
                <a:gd name="T78" fmla="*/ 302 h 30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52" h="302">
                  <a:moveTo>
                    <a:pt x="74" y="211"/>
                  </a:moveTo>
                  <a:lnTo>
                    <a:pt x="61" y="242"/>
                  </a:lnTo>
                  <a:lnTo>
                    <a:pt x="42" y="250"/>
                  </a:lnTo>
                  <a:lnTo>
                    <a:pt x="41" y="270"/>
                  </a:lnTo>
                  <a:lnTo>
                    <a:pt x="2" y="286"/>
                  </a:lnTo>
                  <a:lnTo>
                    <a:pt x="0" y="302"/>
                  </a:lnTo>
                  <a:lnTo>
                    <a:pt x="107" y="282"/>
                  </a:lnTo>
                  <a:lnTo>
                    <a:pt x="302" y="238"/>
                  </a:lnTo>
                  <a:lnTo>
                    <a:pt x="452" y="200"/>
                  </a:lnTo>
                  <a:lnTo>
                    <a:pt x="452" y="169"/>
                  </a:lnTo>
                  <a:lnTo>
                    <a:pt x="435" y="160"/>
                  </a:lnTo>
                  <a:lnTo>
                    <a:pt x="422" y="175"/>
                  </a:lnTo>
                  <a:lnTo>
                    <a:pt x="414" y="134"/>
                  </a:lnTo>
                  <a:lnTo>
                    <a:pt x="422" y="97"/>
                  </a:lnTo>
                  <a:lnTo>
                    <a:pt x="366" y="70"/>
                  </a:lnTo>
                  <a:lnTo>
                    <a:pt x="328" y="77"/>
                  </a:lnTo>
                  <a:lnTo>
                    <a:pt x="327" y="21"/>
                  </a:lnTo>
                  <a:lnTo>
                    <a:pt x="288" y="0"/>
                  </a:lnTo>
                  <a:lnTo>
                    <a:pt x="258" y="13"/>
                  </a:lnTo>
                  <a:lnTo>
                    <a:pt x="238" y="66"/>
                  </a:lnTo>
                  <a:lnTo>
                    <a:pt x="203" y="87"/>
                  </a:lnTo>
                  <a:lnTo>
                    <a:pt x="189" y="170"/>
                  </a:lnTo>
                  <a:lnTo>
                    <a:pt x="132" y="211"/>
                  </a:lnTo>
                  <a:lnTo>
                    <a:pt x="86" y="228"/>
                  </a:lnTo>
                  <a:lnTo>
                    <a:pt x="74" y="211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014102" y="2386097"/>
              <a:ext cx="635794" cy="379809"/>
            </a:xfrm>
            <a:custGeom>
              <a:avLst/>
              <a:gdLst>
                <a:gd name="T0" fmla="*/ 0 w 445"/>
                <a:gd name="T1" fmla="*/ 266 h 266"/>
                <a:gd name="T2" fmla="*/ 149 w 445"/>
                <a:gd name="T3" fmla="*/ 249 h 266"/>
                <a:gd name="T4" fmla="*/ 149 w 445"/>
                <a:gd name="T5" fmla="*/ 237 h 266"/>
                <a:gd name="T6" fmla="*/ 509 w 445"/>
                <a:gd name="T7" fmla="*/ 199 h 266"/>
                <a:gd name="T8" fmla="*/ 516 w 445"/>
                <a:gd name="T9" fmla="*/ 179 h 266"/>
                <a:gd name="T10" fmla="*/ 566 w 445"/>
                <a:gd name="T11" fmla="*/ 163 h 266"/>
                <a:gd name="T12" fmla="*/ 575 w 445"/>
                <a:gd name="T13" fmla="*/ 142 h 266"/>
                <a:gd name="T14" fmla="*/ 596 w 445"/>
                <a:gd name="T15" fmla="*/ 135 h 266"/>
                <a:gd name="T16" fmla="*/ 612 w 445"/>
                <a:gd name="T17" fmla="*/ 103 h 266"/>
                <a:gd name="T18" fmla="*/ 563 w 445"/>
                <a:gd name="T19" fmla="*/ 72 h 266"/>
                <a:gd name="T20" fmla="*/ 555 w 445"/>
                <a:gd name="T21" fmla="*/ 29 h 266"/>
                <a:gd name="T22" fmla="*/ 516 w 445"/>
                <a:gd name="T23" fmla="*/ 8 h 266"/>
                <a:gd name="T24" fmla="*/ 434 w 445"/>
                <a:gd name="T25" fmla="*/ 20 h 266"/>
                <a:gd name="T26" fmla="*/ 398 w 445"/>
                <a:gd name="T27" fmla="*/ 1 h 266"/>
                <a:gd name="T28" fmla="*/ 363 w 445"/>
                <a:gd name="T29" fmla="*/ 0 h 266"/>
                <a:gd name="T30" fmla="*/ 368 w 445"/>
                <a:gd name="T31" fmla="*/ 29 h 266"/>
                <a:gd name="T32" fmla="*/ 320 w 445"/>
                <a:gd name="T33" fmla="*/ 44 h 266"/>
                <a:gd name="T34" fmla="*/ 286 w 445"/>
                <a:gd name="T35" fmla="*/ 110 h 266"/>
                <a:gd name="T36" fmla="*/ 242 w 445"/>
                <a:gd name="T37" fmla="*/ 100 h 266"/>
                <a:gd name="T38" fmla="*/ 186 w 445"/>
                <a:gd name="T39" fmla="*/ 124 h 266"/>
                <a:gd name="T40" fmla="*/ 117 w 445"/>
                <a:gd name="T41" fmla="*/ 134 h 266"/>
                <a:gd name="T42" fmla="*/ 117 w 445"/>
                <a:gd name="T43" fmla="*/ 171 h 266"/>
                <a:gd name="T44" fmla="*/ 82 w 445"/>
                <a:gd name="T45" fmla="*/ 170 h 266"/>
                <a:gd name="T46" fmla="*/ 83 w 445"/>
                <a:gd name="T47" fmla="*/ 203 h 266"/>
                <a:gd name="T48" fmla="*/ 48 w 445"/>
                <a:gd name="T49" fmla="*/ 190 h 266"/>
                <a:gd name="T50" fmla="*/ 28 w 445"/>
                <a:gd name="T51" fmla="*/ 196 h 266"/>
                <a:gd name="T52" fmla="*/ 45 w 445"/>
                <a:gd name="T53" fmla="*/ 218 h 266"/>
                <a:gd name="T54" fmla="*/ 5 w 445"/>
                <a:gd name="T55" fmla="*/ 248 h 266"/>
                <a:gd name="T56" fmla="*/ 0 w 445"/>
                <a:gd name="T57" fmla="*/ 266 h 26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45"/>
                <a:gd name="T88" fmla="*/ 0 h 266"/>
                <a:gd name="T89" fmla="*/ 445 w 445"/>
                <a:gd name="T90" fmla="*/ 266 h 26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45" h="266">
                  <a:moveTo>
                    <a:pt x="0" y="266"/>
                  </a:moveTo>
                  <a:lnTo>
                    <a:pt x="108" y="249"/>
                  </a:lnTo>
                  <a:lnTo>
                    <a:pt x="108" y="237"/>
                  </a:lnTo>
                  <a:lnTo>
                    <a:pt x="370" y="199"/>
                  </a:lnTo>
                  <a:lnTo>
                    <a:pt x="374" y="179"/>
                  </a:lnTo>
                  <a:lnTo>
                    <a:pt x="412" y="163"/>
                  </a:lnTo>
                  <a:lnTo>
                    <a:pt x="417" y="142"/>
                  </a:lnTo>
                  <a:lnTo>
                    <a:pt x="433" y="135"/>
                  </a:lnTo>
                  <a:lnTo>
                    <a:pt x="445" y="103"/>
                  </a:lnTo>
                  <a:lnTo>
                    <a:pt x="409" y="72"/>
                  </a:lnTo>
                  <a:lnTo>
                    <a:pt x="403" y="29"/>
                  </a:lnTo>
                  <a:lnTo>
                    <a:pt x="374" y="8"/>
                  </a:lnTo>
                  <a:lnTo>
                    <a:pt x="316" y="20"/>
                  </a:lnTo>
                  <a:lnTo>
                    <a:pt x="289" y="1"/>
                  </a:lnTo>
                  <a:lnTo>
                    <a:pt x="263" y="0"/>
                  </a:lnTo>
                  <a:lnTo>
                    <a:pt x="268" y="29"/>
                  </a:lnTo>
                  <a:lnTo>
                    <a:pt x="232" y="44"/>
                  </a:lnTo>
                  <a:lnTo>
                    <a:pt x="208" y="110"/>
                  </a:lnTo>
                  <a:lnTo>
                    <a:pt x="175" y="100"/>
                  </a:lnTo>
                  <a:lnTo>
                    <a:pt x="136" y="124"/>
                  </a:lnTo>
                  <a:lnTo>
                    <a:pt x="85" y="134"/>
                  </a:lnTo>
                  <a:lnTo>
                    <a:pt x="85" y="171"/>
                  </a:lnTo>
                  <a:lnTo>
                    <a:pt x="60" y="170"/>
                  </a:lnTo>
                  <a:lnTo>
                    <a:pt x="61" y="203"/>
                  </a:lnTo>
                  <a:lnTo>
                    <a:pt x="35" y="190"/>
                  </a:lnTo>
                  <a:lnTo>
                    <a:pt x="20" y="196"/>
                  </a:lnTo>
                  <a:lnTo>
                    <a:pt x="33" y="218"/>
                  </a:lnTo>
                  <a:lnTo>
                    <a:pt x="5" y="248"/>
                  </a:lnTo>
                  <a:lnTo>
                    <a:pt x="0" y="266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4970048" y="2630176"/>
              <a:ext cx="733425" cy="288131"/>
            </a:xfrm>
            <a:custGeom>
              <a:avLst/>
              <a:gdLst>
                <a:gd name="T0" fmla="*/ 43 w 513"/>
                <a:gd name="T1" fmla="*/ 92 h 202"/>
                <a:gd name="T2" fmla="*/ 43 w 513"/>
                <a:gd name="T3" fmla="*/ 96 h 202"/>
                <a:gd name="T4" fmla="*/ 30 w 513"/>
                <a:gd name="T5" fmla="*/ 115 h 202"/>
                <a:gd name="T6" fmla="*/ 44 w 513"/>
                <a:gd name="T7" fmla="*/ 140 h 202"/>
                <a:gd name="T8" fmla="*/ 0 w 513"/>
                <a:gd name="T9" fmla="*/ 163 h 202"/>
                <a:gd name="T10" fmla="*/ 11 w 513"/>
                <a:gd name="T11" fmla="*/ 202 h 202"/>
                <a:gd name="T12" fmla="*/ 196 w 513"/>
                <a:gd name="T13" fmla="*/ 190 h 202"/>
                <a:gd name="T14" fmla="*/ 415 w 513"/>
                <a:gd name="T15" fmla="*/ 170 h 202"/>
                <a:gd name="T16" fmla="*/ 527 w 513"/>
                <a:gd name="T17" fmla="*/ 154 h 202"/>
                <a:gd name="T18" fmla="*/ 548 w 513"/>
                <a:gd name="T19" fmla="*/ 103 h 202"/>
                <a:gd name="T20" fmla="*/ 589 w 513"/>
                <a:gd name="T21" fmla="*/ 100 h 202"/>
                <a:gd name="T22" fmla="*/ 709 w 513"/>
                <a:gd name="T23" fmla="*/ 0 h 202"/>
                <a:gd name="T24" fmla="*/ 552 w 513"/>
                <a:gd name="T25" fmla="*/ 25 h 202"/>
                <a:gd name="T26" fmla="*/ 185 w 513"/>
                <a:gd name="T27" fmla="*/ 66 h 202"/>
                <a:gd name="T28" fmla="*/ 188 w 513"/>
                <a:gd name="T29" fmla="*/ 78 h 202"/>
                <a:gd name="T30" fmla="*/ 43 w 513"/>
                <a:gd name="T31" fmla="*/ 92 h 2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13"/>
                <a:gd name="T49" fmla="*/ 0 h 202"/>
                <a:gd name="T50" fmla="*/ 513 w 513"/>
                <a:gd name="T51" fmla="*/ 202 h 2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13" h="202">
                  <a:moveTo>
                    <a:pt x="31" y="92"/>
                  </a:moveTo>
                  <a:lnTo>
                    <a:pt x="31" y="96"/>
                  </a:lnTo>
                  <a:lnTo>
                    <a:pt x="22" y="115"/>
                  </a:lnTo>
                  <a:lnTo>
                    <a:pt x="32" y="140"/>
                  </a:lnTo>
                  <a:lnTo>
                    <a:pt x="0" y="163"/>
                  </a:lnTo>
                  <a:lnTo>
                    <a:pt x="7" y="202"/>
                  </a:lnTo>
                  <a:lnTo>
                    <a:pt x="142" y="190"/>
                  </a:lnTo>
                  <a:lnTo>
                    <a:pt x="301" y="170"/>
                  </a:lnTo>
                  <a:lnTo>
                    <a:pt x="381" y="154"/>
                  </a:lnTo>
                  <a:lnTo>
                    <a:pt x="398" y="103"/>
                  </a:lnTo>
                  <a:lnTo>
                    <a:pt x="426" y="100"/>
                  </a:lnTo>
                  <a:lnTo>
                    <a:pt x="513" y="0"/>
                  </a:lnTo>
                  <a:lnTo>
                    <a:pt x="400" y="25"/>
                  </a:lnTo>
                  <a:lnTo>
                    <a:pt x="135" y="66"/>
                  </a:lnTo>
                  <a:lnTo>
                    <a:pt x="137" y="78"/>
                  </a:lnTo>
                  <a:lnTo>
                    <a:pt x="31" y="92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293899" y="3292163"/>
              <a:ext cx="802481" cy="583406"/>
            </a:xfrm>
            <a:custGeom>
              <a:avLst/>
              <a:gdLst>
                <a:gd name="T0" fmla="*/ 0 w 561"/>
                <a:gd name="T1" fmla="*/ 39 h 409"/>
                <a:gd name="T2" fmla="*/ 212 w 561"/>
                <a:gd name="T3" fmla="*/ 23 h 409"/>
                <a:gd name="T4" fmla="*/ 234 w 561"/>
                <a:gd name="T5" fmla="*/ 50 h 409"/>
                <a:gd name="T6" fmla="*/ 463 w 561"/>
                <a:gd name="T7" fmla="*/ 23 h 409"/>
                <a:gd name="T8" fmla="*/ 502 w 561"/>
                <a:gd name="T9" fmla="*/ 45 h 409"/>
                <a:gd name="T10" fmla="*/ 502 w 561"/>
                <a:gd name="T11" fmla="*/ 3 h 409"/>
                <a:gd name="T12" fmla="*/ 500 w 561"/>
                <a:gd name="T13" fmla="*/ 0 h 409"/>
                <a:gd name="T14" fmla="*/ 545 w 561"/>
                <a:gd name="T15" fmla="*/ 2 h 409"/>
                <a:gd name="T16" fmla="*/ 593 w 561"/>
                <a:gd name="T17" fmla="*/ 65 h 409"/>
                <a:gd name="T18" fmla="*/ 670 w 561"/>
                <a:gd name="T19" fmla="*/ 151 h 409"/>
                <a:gd name="T20" fmla="*/ 709 w 561"/>
                <a:gd name="T21" fmla="*/ 225 h 409"/>
                <a:gd name="T22" fmla="*/ 763 w 561"/>
                <a:gd name="T23" fmla="*/ 277 h 409"/>
                <a:gd name="T24" fmla="*/ 774 w 561"/>
                <a:gd name="T25" fmla="*/ 352 h 409"/>
                <a:gd name="T26" fmla="*/ 756 w 561"/>
                <a:gd name="T27" fmla="*/ 397 h 409"/>
                <a:gd name="T28" fmla="*/ 674 w 561"/>
                <a:gd name="T29" fmla="*/ 409 h 409"/>
                <a:gd name="T30" fmla="*/ 660 w 561"/>
                <a:gd name="T31" fmla="*/ 390 h 409"/>
                <a:gd name="T32" fmla="*/ 604 w 561"/>
                <a:gd name="T33" fmla="*/ 363 h 409"/>
                <a:gd name="T34" fmla="*/ 586 w 561"/>
                <a:gd name="T35" fmla="*/ 335 h 409"/>
                <a:gd name="T36" fmla="*/ 571 w 561"/>
                <a:gd name="T37" fmla="*/ 324 h 409"/>
                <a:gd name="T38" fmla="*/ 561 w 561"/>
                <a:gd name="T39" fmla="*/ 298 h 409"/>
                <a:gd name="T40" fmla="*/ 547 w 561"/>
                <a:gd name="T41" fmla="*/ 305 h 409"/>
                <a:gd name="T42" fmla="*/ 502 w 561"/>
                <a:gd name="T43" fmla="*/ 271 h 409"/>
                <a:gd name="T44" fmla="*/ 514 w 561"/>
                <a:gd name="T45" fmla="*/ 239 h 409"/>
                <a:gd name="T46" fmla="*/ 502 w 561"/>
                <a:gd name="T47" fmla="*/ 222 h 409"/>
                <a:gd name="T48" fmla="*/ 489 w 561"/>
                <a:gd name="T49" fmla="*/ 228 h 409"/>
                <a:gd name="T50" fmla="*/ 490 w 561"/>
                <a:gd name="T51" fmla="*/ 246 h 409"/>
                <a:gd name="T52" fmla="*/ 475 w 561"/>
                <a:gd name="T53" fmla="*/ 222 h 409"/>
                <a:gd name="T54" fmla="*/ 476 w 561"/>
                <a:gd name="T55" fmla="*/ 164 h 409"/>
                <a:gd name="T56" fmla="*/ 448 w 561"/>
                <a:gd name="T57" fmla="*/ 130 h 409"/>
                <a:gd name="T58" fmla="*/ 376 w 561"/>
                <a:gd name="T59" fmla="*/ 102 h 409"/>
                <a:gd name="T60" fmla="*/ 339 w 561"/>
                <a:gd name="T61" fmla="*/ 70 h 409"/>
                <a:gd name="T62" fmla="*/ 298 w 561"/>
                <a:gd name="T63" fmla="*/ 67 h 409"/>
                <a:gd name="T64" fmla="*/ 282 w 561"/>
                <a:gd name="T65" fmla="*/ 87 h 409"/>
                <a:gd name="T66" fmla="*/ 222 w 561"/>
                <a:gd name="T67" fmla="*/ 101 h 409"/>
                <a:gd name="T68" fmla="*/ 185 w 561"/>
                <a:gd name="T69" fmla="*/ 87 h 409"/>
                <a:gd name="T70" fmla="*/ 168 w 561"/>
                <a:gd name="T71" fmla="*/ 65 h 409"/>
                <a:gd name="T72" fmla="*/ 55 w 561"/>
                <a:gd name="T73" fmla="*/ 84 h 409"/>
                <a:gd name="T74" fmla="*/ 31 w 561"/>
                <a:gd name="T75" fmla="*/ 69 h 409"/>
                <a:gd name="T76" fmla="*/ 4 w 561"/>
                <a:gd name="T77" fmla="*/ 85 h 409"/>
                <a:gd name="T78" fmla="*/ 0 w 561"/>
                <a:gd name="T79" fmla="*/ 39 h 40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61"/>
                <a:gd name="T121" fmla="*/ 0 h 409"/>
                <a:gd name="T122" fmla="*/ 561 w 561"/>
                <a:gd name="T123" fmla="*/ 409 h 40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61" h="409">
                  <a:moveTo>
                    <a:pt x="0" y="39"/>
                  </a:moveTo>
                  <a:lnTo>
                    <a:pt x="154" y="23"/>
                  </a:lnTo>
                  <a:lnTo>
                    <a:pt x="170" y="50"/>
                  </a:lnTo>
                  <a:lnTo>
                    <a:pt x="336" y="23"/>
                  </a:lnTo>
                  <a:lnTo>
                    <a:pt x="364" y="45"/>
                  </a:lnTo>
                  <a:lnTo>
                    <a:pt x="364" y="3"/>
                  </a:lnTo>
                  <a:lnTo>
                    <a:pt x="362" y="0"/>
                  </a:lnTo>
                  <a:lnTo>
                    <a:pt x="395" y="2"/>
                  </a:lnTo>
                  <a:lnTo>
                    <a:pt x="430" y="65"/>
                  </a:lnTo>
                  <a:lnTo>
                    <a:pt x="485" y="151"/>
                  </a:lnTo>
                  <a:lnTo>
                    <a:pt x="513" y="225"/>
                  </a:lnTo>
                  <a:lnTo>
                    <a:pt x="554" y="277"/>
                  </a:lnTo>
                  <a:lnTo>
                    <a:pt x="561" y="352"/>
                  </a:lnTo>
                  <a:lnTo>
                    <a:pt x="548" y="397"/>
                  </a:lnTo>
                  <a:lnTo>
                    <a:pt x="489" y="409"/>
                  </a:lnTo>
                  <a:lnTo>
                    <a:pt x="479" y="390"/>
                  </a:lnTo>
                  <a:lnTo>
                    <a:pt x="437" y="363"/>
                  </a:lnTo>
                  <a:lnTo>
                    <a:pt x="424" y="335"/>
                  </a:lnTo>
                  <a:lnTo>
                    <a:pt x="413" y="324"/>
                  </a:lnTo>
                  <a:lnTo>
                    <a:pt x="407" y="298"/>
                  </a:lnTo>
                  <a:lnTo>
                    <a:pt x="397" y="305"/>
                  </a:lnTo>
                  <a:lnTo>
                    <a:pt x="364" y="271"/>
                  </a:lnTo>
                  <a:lnTo>
                    <a:pt x="372" y="239"/>
                  </a:lnTo>
                  <a:lnTo>
                    <a:pt x="364" y="222"/>
                  </a:lnTo>
                  <a:lnTo>
                    <a:pt x="354" y="228"/>
                  </a:lnTo>
                  <a:lnTo>
                    <a:pt x="355" y="246"/>
                  </a:lnTo>
                  <a:lnTo>
                    <a:pt x="344" y="222"/>
                  </a:lnTo>
                  <a:lnTo>
                    <a:pt x="345" y="164"/>
                  </a:lnTo>
                  <a:lnTo>
                    <a:pt x="325" y="130"/>
                  </a:lnTo>
                  <a:lnTo>
                    <a:pt x="272" y="102"/>
                  </a:lnTo>
                  <a:lnTo>
                    <a:pt x="246" y="70"/>
                  </a:lnTo>
                  <a:lnTo>
                    <a:pt x="216" y="67"/>
                  </a:lnTo>
                  <a:lnTo>
                    <a:pt x="204" y="87"/>
                  </a:lnTo>
                  <a:lnTo>
                    <a:pt x="161" y="101"/>
                  </a:lnTo>
                  <a:lnTo>
                    <a:pt x="135" y="87"/>
                  </a:lnTo>
                  <a:lnTo>
                    <a:pt x="122" y="65"/>
                  </a:lnTo>
                  <a:lnTo>
                    <a:pt x="40" y="84"/>
                  </a:lnTo>
                  <a:lnTo>
                    <a:pt x="23" y="69"/>
                  </a:lnTo>
                  <a:lnTo>
                    <a:pt x="4" y="85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589173" y="2146782"/>
              <a:ext cx="366713" cy="411956"/>
            </a:xfrm>
            <a:custGeom>
              <a:avLst/>
              <a:gdLst>
                <a:gd name="T0" fmla="*/ 36 w 256"/>
                <a:gd name="T1" fmla="*/ 150 h 288"/>
                <a:gd name="T2" fmla="*/ 10 w 256"/>
                <a:gd name="T3" fmla="*/ 144 h 288"/>
                <a:gd name="T4" fmla="*/ 0 w 256"/>
                <a:gd name="T5" fmla="*/ 190 h 288"/>
                <a:gd name="T6" fmla="*/ 10 w 256"/>
                <a:gd name="T7" fmla="*/ 239 h 288"/>
                <a:gd name="T8" fmla="*/ 60 w 256"/>
                <a:gd name="T9" fmla="*/ 271 h 288"/>
                <a:gd name="T10" fmla="*/ 72 w 256"/>
                <a:gd name="T11" fmla="*/ 288 h 288"/>
                <a:gd name="T12" fmla="*/ 138 w 256"/>
                <a:gd name="T13" fmla="*/ 271 h 288"/>
                <a:gd name="T14" fmla="*/ 215 w 256"/>
                <a:gd name="T15" fmla="*/ 233 h 288"/>
                <a:gd name="T16" fmla="*/ 238 w 256"/>
                <a:gd name="T17" fmla="*/ 148 h 288"/>
                <a:gd name="T18" fmla="*/ 288 w 256"/>
                <a:gd name="T19" fmla="*/ 126 h 288"/>
                <a:gd name="T20" fmla="*/ 316 w 256"/>
                <a:gd name="T21" fmla="*/ 74 h 288"/>
                <a:gd name="T22" fmla="*/ 356 w 256"/>
                <a:gd name="T23" fmla="*/ 60 h 288"/>
                <a:gd name="T24" fmla="*/ 303 w 256"/>
                <a:gd name="T25" fmla="*/ 53 h 288"/>
                <a:gd name="T26" fmla="*/ 214 w 256"/>
                <a:gd name="T27" fmla="*/ 90 h 288"/>
                <a:gd name="T28" fmla="*/ 200 w 256"/>
                <a:gd name="T29" fmla="*/ 54 h 288"/>
                <a:gd name="T30" fmla="*/ 123 w 256"/>
                <a:gd name="T31" fmla="*/ 57 h 288"/>
                <a:gd name="T32" fmla="*/ 104 w 256"/>
                <a:gd name="T33" fmla="*/ 0 h 288"/>
                <a:gd name="T34" fmla="*/ 85 w 256"/>
                <a:gd name="T35" fmla="*/ 15 h 288"/>
                <a:gd name="T36" fmla="*/ 91 w 256"/>
                <a:gd name="T37" fmla="*/ 97 h 288"/>
                <a:gd name="T38" fmla="*/ 55 w 256"/>
                <a:gd name="T39" fmla="*/ 104 h 288"/>
                <a:gd name="T40" fmla="*/ 36 w 256"/>
                <a:gd name="T41" fmla="*/ 150 h 28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56"/>
                <a:gd name="T64" fmla="*/ 0 h 288"/>
                <a:gd name="T65" fmla="*/ 256 w 256"/>
                <a:gd name="T66" fmla="*/ 288 h 28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56" h="288">
                  <a:moveTo>
                    <a:pt x="26" y="150"/>
                  </a:moveTo>
                  <a:lnTo>
                    <a:pt x="6" y="144"/>
                  </a:lnTo>
                  <a:lnTo>
                    <a:pt x="0" y="190"/>
                  </a:lnTo>
                  <a:lnTo>
                    <a:pt x="6" y="239"/>
                  </a:lnTo>
                  <a:lnTo>
                    <a:pt x="43" y="271"/>
                  </a:lnTo>
                  <a:lnTo>
                    <a:pt x="52" y="288"/>
                  </a:lnTo>
                  <a:lnTo>
                    <a:pt x="99" y="271"/>
                  </a:lnTo>
                  <a:lnTo>
                    <a:pt x="155" y="233"/>
                  </a:lnTo>
                  <a:lnTo>
                    <a:pt x="171" y="148"/>
                  </a:lnTo>
                  <a:lnTo>
                    <a:pt x="207" y="126"/>
                  </a:lnTo>
                  <a:lnTo>
                    <a:pt x="227" y="74"/>
                  </a:lnTo>
                  <a:lnTo>
                    <a:pt x="256" y="60"/>
                  </a:lnTo>
                  <a:lnTo>
                    <a:pt x="218" y="53"/>
                  </a:lnTo>
                  <a:lnTo>
                    <a:pt x="154" y="90"/>
                  </a:lnTo>
                  <a:lnTo>
                    <a:pt x="144" y="54"/>
                  </a:lnTo>
                  <a:lnTo>
                    <a:pt x="88" y="57"/>
                  </a:lnTo>
                  <a:lnTo>
                    <a:pt x="75" y="0"/>
                  </a:lnTo>
                  <a:lnTo>
                    <a:pt x="61" y="15"/>
                  </a:lnTo>
                  <a:lnTo>
                    <a:pt x="65" y="97"/>
                  </a:lnTo>
                  <a:lnTo>
                    <a:pt x="40" y="104"/>
                  </a:lnTo>
                  <a:lnTo>
                    <a:pt x="26" y="15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50" name="Freeform 48"/>
            <p:cNvSpPr>
              <a:spLocks/>
            </p:cNvSpPr>
            <p:nvPr/>
          </p:nvSpPr>
          <p:spPr bwMode="auto">
            <a:xfrm>
              <a:off x="4898611" y="2895685"/>
              <a:ext cx="300038" cy="563165"/>
            </a:xfrm>
            <a:custGeom>
              <a:avLst/>
              <a:gdLst>
                <a:gd name="T0" fmla="*/ 81 w 210"/>
                <a:gd name="T1" fmla="*/ 13 h 394"/>
                <a:gd name="T2" fmla="*/ 37 w 210"/>
                <a:gd name="T3" fmla="*/ 80 h 394"/>
                <a:gd name="T4" fmla="*/ 0 w 210"/>
                <a:gd name="T5" fmla="*/ 124 h 394"/>
                <a:gd name="T6" fmla="*/ 13 w 210"/>
                <a:gd name="T7" fmla="*/ 175 h 394"/>
                <a:gd name="T8" fmla="*/ 57 w 210"/>
                <a:gd name="T9" fmla="*/ 246 h 394"/>
                <a:gd name="T10" fmla="*/ 23 w 210"/>
                <a:gd name="T11" fmla="*/ 318 h 394"/>
                <a:gd name="T12" fmla="*/ 6 w 210"/>
                <a:gd name="T13" fmla="*/ 355 h 394"/>
                <a:gd name="T14" fmla="*/ 174 w 210"/>
                <a:gd name="T15" fmla="*/ 340 h 394"/>
                <a:gd name="T16" fmla="*/ 184 w 210"/>
                <a:gd name="T17" fmla="*/ 388 h 394"/>
                <a:gd name="T18" fmla="*/ 217 w 210"/>
                <a:gd name="T19" fmla="*/ 394 h 394"/>
                <a:gd name="T20" fmla="*/ 225 w 210"/>
                <a:gd name="T21" fmla="*/ 369 h 394"/>
                <a:gd name="T22" fmla="*/ 286 w 210"/>
                <a:gd name="T23" fmla="*/ 362 h 394"/>
                <a:gd name="T24" fmla="*/ 272 w 210"/>
                <a:gd name="T25" fmla="*/ 282 h 394"/>
                <a:gd name="T26" fmla="*/ 270 w 210"/>
                <a:gd name="T27" fmla="*/ 0 h 394"/>
                <a:gd name="T28" fmla="*/ 81 w 210"/>
                <a:gd name="T29" fmla="*/ 13 h 39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0"/>
                <a:gd name="T46" fmla="*/ 0 h 394"/>
                <a:gd name="T47" fmla="*/ 210 w 210"/>
                <a:gd name="T48" fmla="*/ 394 h 39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0" h="394">
                  <a:moveTo>
                    <a:pt x="59" y="13"/>
                  </a:moveTo>
                  <a:lnTo>
                    <a:pt x="27" y="80"/>
                  </a:lnTo>
                  <a:lnTo>
                    <a:pt x="0" y="124"/>
                  </a:lnTo>
                  <a:lnTo>
                    <a:pt x="9" y="175"/>
                  </a:lnTo>
                  <a:lnTo>
                    <a:pt x="42" y="246"/>
                  </a:lnTo>
                  <a:lnTo>
                    <a:pt x="17" y="318"/>
                  </a:lnTo>
                  <a:lnTo>
                    <a:pt x="6" y="355"/>
                  </a:lnTo>
                  <a:lnTo>
                    <a:pt x="128" y="340"/>
                  </a:lnTo>
                  <a:lnTo>
                    <a:pt x="134" y="388"/>
                  </a:lnTo>
                  <a:lnTo>
                    <a:pt x="159" y="394"/>
                  </a:lnTo>
                  <a:lnTo>
                    <a:pt x="165" y="369"/>
                  </a:lnTo>
                  <a:lnTo>
                    <a:pt x="210" y="362"/>
                  </a:lnTo>
                  <a:lnTo>
                    <a:pt x="200" y="282"/>
                  </a:lnTo>
                  <a:lnTo>
                    <a:pt x="198" y="0"/>
                  </a:lnTo>
                  <a:lnTo>
                    <a:pt x="59" y="13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51" name="Freeform 49"/>
            <p:cNvSpPr>
              <a:spLocks/>
            </p:cNvSpPr>
            <p:nvPr/>
          </p:nvSpPr>
          <p:spPr bwMode="auto">
            <a:xfrm>
              <a:off x="5179598" y="2868300"/>
              <a:ext cx="339329" cy="569119"/>
            </a:xfrm>
            <a:custGeom>
              <a:avLst/>
              <a:gdLst>
                <a:gd name="T0" fmla="*/ 0 w 237"/>
                <a:gd name="T1" fmla="*/ 20 h 398"/>
                <a:gd name="T2" fmla="*/ 213 w 237"/>
                <a:gd name="T3" fmla="*/ 0 h 398"/>
                <a:gd name="T4" fmla="*/ 281 w 237"/>
                <a:gd name="T5" fmla="*/ 184 h 398"/>
                <a:gd name="T6" fmla="*/ 329 w 237"/>
                <a:gd name="T7" fmla="*/ 213 h 398"/>
                <a:gd name="T8" fmla="*/ 291 w 237"/>
                <a:gd name="T9" fmla="*/ 267 h 398"/>
                <a:gd name="T10" fmla="*/ 326 w 237"/>
                <a:gd name="T11" fmla="*/ 319 h 398"/>
                <a:gd name="T12" fmla="*/ 110 w 237"/>
                <a:gd name="T13" fmla="*/ 338 h 398"/>
                <a:gd name="T14" fmla="*/ 117 w 237"/>
                <a:gd name="T15" fmla="*/ 383 h 398"/>
                <a:gd name="T16" fmla="*/ 86 w 237"/>
                <a:gd name="T17" fmla="*/ 398 h 398"/>
                <a:gd name="T18" fmla="*/ 61 w 237"/>
                <a:gd name="T19" fmla="*/ 341 h 398"/>
                <a:gd name="T20" fmla="*/ 46 w 237"/>
                <a:gd name="T21" fmla="*/ 387 h 398"/>
                <a:gd name="T22" fmla="*/ 17 w 237"/>
                <a:gd name="T23" fmla="*/ 383 h 398"/>
                <a:gd name="T24" fmla="*/ 11 w 237"/>
                <a:gd name="T25" fmla="*/ 337 h 398"/>
                <a:gd name="T26" fmla="*/ 1 w 237"/>
                <a:gd name="T27" fmla="*/ 297 h 398"/>
                <a:gd name="T28" fmla="*/ 0 w 237"/>
                <a:gd name="T29" fmla="*/ 20 h 39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7"/>
                <a:gd name="T46" fmla="*/ 0 h 398"/>
                <a:gd name="T47" fmla="*/ 237 w 237"/>
                <a:gd name="T48" fmla="*/ 398 h 39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7" h="398">
                  <a:moveTo>
                    <a:pt x="0" y="20"/>
                  </a:moveTo>
                  <a:lnTo>
                    <a:pt x="154" y="0"/>
                  </a:lnTo>
                  <a:lnTo>
                    <a:pt x="203" y="184"/>
                  </a:lnTo>
                  <a:lnTo>
                    <a:pt x="237" y="213"/>
                  </a:lnTo>
                  <a:lnTo>
                    <a:pt x="210" y="267"/>
                  </a:lnTo>
                  <a:lnTo>
                    <a:pt x="236" y="319"/>
                  </a:lnTo>
                  <a:lnTo>
                    <a:pt x="79" y="338"/>
                  </a:lnTo>
                  <a:lnTo>
                    <a:pt x="85" y="383"/>
                  </a:lnTo>
                  <a:lnTo>
                    <a:pt x="62" y="398"/>
                  </a:lnTo>
                  <a:lnTo>
                    <a:pt x="44" y="341"/>
                  </a:lnTo>
                  <a:lnTo>
                    <a:pt x="33" y="387"/>
                  </a:lnTo>
                  <a:lnTo>
                    <a:pt x="13" y="383"/>
                  </a:lnTo>
                  <a:lnTo>
                    <a:pt x="7" y="337"/>
                  </a:lnTo>
                  <a:lnTo>
                    <a:pt x="1" y="297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52" name="Freeform 50"/>
            <p:cNvSpPr>
              <a:spLocks/>
            </p:cNvSpPr>
            <p:nvPr/>
          </p:nvSpPr>
          <p:spPr bwMode="auto">
            <a:xfrm>
              <a:off x="5399864" y="2839725"/>
              <a:ext cx="470297" cy="523875"/>
            </a:xfrm>
            <a:custGeom>
              <a:avLst/>
              <a:gdLst>
                <a:gd name="T0" fmla="*/ 0 w 328"/>
                <a:gd name="T1" fmla="*/ 23 h 366"/>
                <a:gd name="T2" fmla="*/ 4 w 328"/>
                <a:gd name="T3" fmla="*/ 23 h 366"/>
                <a:gd name="T4" fmla="*/ 111 w 328"/>
                <a:gd name="T5" fmla="*/ 7 h 366"/>
                <a:gd name="T6" fmla="*/ 206 w 328"/>
                <a:gd name="T7" fmla="*/ 0 h 366"/>
                <a:gd name="T8" fmla="*/ 192 w 328"/>
                <a:gd name="T9" fmla="*/ 19 h 366"/>
                <a:gd name="T10" fmla="*/ 221 w 328"/>
                <a:gd name="T11" fmla="*/ 19 h 366"/>
                <a:gd name="T12" fmla="*/ 384 w 328"/>
                <a:gd name="T13" fmla="*/ 132 h 366"/>
                <a:gd name="T14" fmla="*/ 446 w 328"/>
                <a:gd name="T15" fmla="*/ 205 h 366"/>
                <a:gd name="T16" fmla="*/ 455 w 328"/>
                <a:gd name="T17" fmla="*/ 254 h 366"/>
                <a:gd name="T18" fmla="*/ 434 w 328"/>
                <a:gd name="T19" fmla="*/ 266 h 366"/>
                <a:gd name="T20" fmla="*/ 446 w 328"/>
                <a:gd name="T21" fmla="*/ 316 h 366"/>
                <a:gd name="T22" fmla="*/ 402 w 328"/>
                <a:gd name="T23" fmla="*/ 318 h 366"/>
                <a:gd name="T24" fmla="*/ 402 w 328"/>
                <a:gd name="T25" fmla="*/ 360 h 366"/>
                <a:gd name="T26" fmla="*/ 364 w 328"/>
                <a:gd name="T27" fmla="*/ 339 h 366"/>
                <a:gd name="T28" fmla="*/ 130 w 328"/>
                <a:gd name="T29" fmla="*/ 366 h 366"/>
                <a:gd name="T30" fmla="*/ 78 w 328"/>
                <a:gd name="T31" fmla="*/ 287 h 366"/>
                <a:gd name="T32" fmla="*/ 115 w 328"/>
                <a:gd name="T33" fmla="*/ 233 h 366"/>
                <a:gd name="T34" fmla="*/ 65 w 328"/>
                <a:gd name="T35" fmla="*/ 206 h 366"/>
                <a:gd name="T36" fmla="*/ 0 w 328"/>
                <a:gd name="T37" fmla="*/ 23 h 36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28"/>
                <a:gd name="T58" fmla="*/ 0 h 366"/>
                <a:gd name="T59" fmla="*/ 328 w 328"/>
                <a:gd name="T60" fmla="*/ 366 h 36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28" h="366">
                  <a:moveTo>
                    <a:pt x="0" y="23"/>
                  </a:moveTo>
                  <a:lnTo>
                    <a:pt x="4" y="23"/>
                  </a:lnTo>
                  <a:lnTo>
                    <a:pt x="80" y="7"/>
                  </a:lnTo>
                  <a:lnTo>
                    <a:pt x="148" y="0"/>
                  </a:lnTo>
                  <a:lnTo>
                    <a:pt x="138" y="19"/>
                  </a:lnTo>
                  <a:lnTo>
                    <a:pt x="159" y="19"/>
                  </a:lnTo>
                  <a:lnTo>
                    <a:pt x="276" y="132"/>
                  </a:lnTo>
                  <a:lnTo>
                    <a:pt x="322" y="205"/>
                  </a:lnTo>
                  <a:lnTo>
                    <a:pt x="328" y="254"/>
                  </a:lnTo>
                  <a:lnTo>
                    <a:pt x="313" y="266"/>
                  </a:lnTo>
                  <a:lnTo>
                    <a:pt x="322" y="316"/>
                  </a:lnTo>
                  <a:lnTo>
                    <a:pt x="289" y="318"/>
                  </a:lnTo>
                  <a:lnTo>
                    <a:pt x="289" y="360"/>
                  </a:lnTo>
                  <a:lnTo>
                    <a:pt x="263" y="339"/>
                  </a:lnTo>
                  <a:lnTo>
                    <a:pt x="94" y="366"/>
                  </a:lnTo>
                  <a:lnTo>
                    <a:pt x="56" y="287"/>
                  </a:lnTo>
                  <a:lnTo>
                    <a:pt x="83" y="233"/>
                  </a:lnTo>
                  <a:lnTo>
                    <a:pt x="47" y="206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53" name="Freeform 51"/>
            <p:cNvSpPr>
              <a:spLocks/>
            </p:cNvSpPr>
            <p:nvPr/>
          </p:nvSpPr>
          <p:spPr bwMode="auto">
            <a:xfrm>
              <a:off x="5514164" y="2519447"/>
              <a:ext cx="736997" cy="347663"/>
            </a:xfrm>
            <a:custGeom>
              <a:avLst/>
              <a:gdLst>
                <a:gd name="T0" fmla="*/ 25 w 516"/>
                <a:gd name="T1" fmla="*/ 180 h 243"/>
                <a:gd name="T2" fmla="*/ 0 w 516"/>
                <a:gd name="T3" fmla="*/ 231 h 243"/>
                <a:gd name="T4" fmla="*/ 93 w 516"/>
                <a:gd name="T5" fmla="*/ 224 h 243"/>
                <a:gd name="T6" fmla="*/ 128 w 516"/>
                <a:gd name="T7" fmla="*/ 201 h 243"/>
                <a:gd name="T8" fmla="*/ 253 w 516"/>
                <a:gd name="T9" fmla="*/ 175 h 243"/>
                <a:gd name="T10" fmla="*/ 287 w 516"/>
                <a:gd name="T11" fmla="*/ 189 h 243"/>
                <a:gd name="T12" fmla="*/ 369 w 516"/>
                <a:gd name="T13" fmla="*/ 180 h 243"/>
                <a:gd name="T14" fmla="*/ 369 w 516"/>
                <a:gd name="T15" fmla="*/ 183 h 243"/>
                <a:gd name="T16" fmla="*/ 494 w 516"/>
                <a:gd name="T17" fmla="*/ 243 h 243"/>
                <a:gd name="T18" fmla="*/ 565 w 516"/>
                <a:gd name="T19" fmla="*/ 226 h 243"/>
                <a:gd name="T20" fmla="*/ 608 w 516"/>
                <a:gd name="T21" fmla="*/ 159 h 243"/>
                <a:gd name="T22" fmla="*/ 677 w 516"/>
                <a:gd name="T23" fmla="*/ 140 h 243"/>
                <a:gd name="T24" fmla="*/ 711 w 516"/>
                <a:gd name="T25" fmla="*/ 90 h 243"/>
                <a:gd name="T26" fmla="*/ 708 w 516"/>
                <a:gd name="T27" fmla="*/ 30 h 243"/>
                <a:gd name="T28" fmla="*/ 701 w 516"/>
                <a:gd name="T29" fmla="*/ 80 h 243"/>
                <a:gd name="T30" fmla="*/ 661 w 516"/>
                <a:gd name="T31" fmla="*/ 122 h 243"/>
                <a:gd name="T32" fmla="*/ 646 w 516"/>
                <a:gd name="T33" fmla="*/ 119 h 243"/>
                <a:gd name="T34" fmla="*/ 594 w 516"/>
                <a:gd name="T35" fmla="*/ 130 h 243"/>
                <a:gd name="T36" fmla="*/ 594 w 516"/>
                <a:gd name="T37" fmla="*/ 116 h 243"/>
                <a:gd name="T38" fmla="*/ 646 w 516"/>
                <a:gd name="T39" fmla="*/ 102 h 243"/>
                <a:gd name="T40" fmla="*/ 597 w 516"/>
                <a:gd name="T41" fmla="*/ 97 h 243"/>
                <a:gd name="T42" fmla="*/ 652 w 516"/>
                <a:gd name="T43" fmla="*/ 85 h 243"/>
                <a:gd name="T44" fmla="*/ 674 w 516"/>
                <a:gd name="T45" fmla="*/ 92 h 243"/>
                <a:gd name="T46" fmla="*/ 685 w 516"/>
                <a:gd name="T47" fmla="*/ 45 h 243"/>
                <a:gd name="T48" fmla="*/ 672 w 516"/>
                <a:gd name="T49" fmla="*/ 34 h 243"/>
                <a:gd name="T50" fmla="*/ 607 w 516"/>
                <a:gd name="T51" fmla="*/ 53 h 243"/>
                <a:gd name="T52" fmla="*/ 608 w 516"/>
                <a:gd name="T53" fmla="*/ 25 h 243"/>
                <a:gd name="T54" fmla="*/ 635 w 516"/>
                <a:gd name="T55" fmla="*/ 32 h 243"/>
                <a:gd name="T56" fmla="*/ 672 w 516"/>
                <a:gd name="T57" fmla="*/ 10 h 243"/>
                <a:gd name="T58" fmla="*/ 651 w 516"/>
                <a:gd name="T59" fmla="*/ 0 h 243"/>
                <a:gd name="T60" fmla="*/ 438 w 516"/>
                <a:gd name="T61" fmla="*/ 37 h 243"/>
                <a:gd name="T62" fmla="*/ 179 w 516"/>
                <a:gd name="T63" fmla="*/ 79 h 243"/>
                <a:gd name="T64" fmla="*/ 60 w 516"/>
                <a:gd name="T65" fmla="*/ 179 h 243"/>
                <a:gd name="T66" fmla="*/ 25 w 516"/>
                <a:gd name="T67" fmla="*/ 180 h 24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16"/>
                <a:gd name="T103" fmla="*/ 0 h 243"/>
                <a:gd name="T104" fmla="*/ 516 w 516"/>
                <a:gd name="T105" fmla="*/ 243 h 24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16" h="243">
                  <a:moveTo>
                    <a:pt x="18" y="180"/>
                  </a:moveTo>
                  <a:lnTo>
                    <a:pt x="0" y="231"/>
                  </a:lnTo>
                  <a:lnTo>
                    <a:pt x="67" y="224"/>
                  </a:lnTo>
                  <a:lnTo>
                    <a:pt x="93" y="201"/>
                  </a:lnTo>
                  <a:lnTo>
                    <a:pt x="184" y="175"/>
                  </a:lnTo>
                  <a:lnTo>
                    <a:pt x="209" y="189"/>
                  </a:lnTo>
                  <a:lnTo>
                    <a:pt x="269" y="180"/>
                  </a:lnTo>
                  <a:lnTo>
                    <a:pt x="269" y="183"/>
                  </a:lnTo>
                  <a:lnTo>
                    <a:pt x="359" y="243"/>
                  </a:lnTo>
                  <a:lnTo>
                    <a:pt x="411" y="226"/>
                  </a:lnTo>
                  <a:lnTo>
                    <a:pt x="441" y="159"/>
                  </a:lnTo>
                  <a:lnTo>
                    <a:pt x="492" y="140"/>
                  </a:lnTo>
                  <a:lnTo>
                    <a:pt x="516" y="90"/>
                  </a:lnTo>
                  <a:lnTo>
                    <a:pt x="515" y="30"/>
                  </a:lnTo>
                  <a:lnTo>
                    <a:pt x="509" y="80"/>
                  </a:lnTo>
                  <a:lnTo>
                    <a:pt x="480" y="122"/>
                  </a:lnTo>
                  <a:lnTo>
                    <a:pt x="469" y="119"/>
                  </a:lnTo>
                  <a:lnTo>
                    <a:pt x="431" y="130"/>
                  </a:lnTo>
                  <a:lnTo>
                    <a:pt x="431" y="116"/>
                  </a:lnTo>
                  <a:lnTo>
                    <a:pt x="469" y="102"/>
                  </a:lnTo>
                  <a:lnTo>
                    <a:pt x="434" y="97"/>
                  </a:lnTo>
                  <a:lnTo>
                    <a:pt x="474" y="85"/>
                  </a:lnTo>
                  <a:lnTo>
                    <a:pt x="489" y="92"/>
                  </a:lnTo>
                  <a:lnTo>
                    <a:pt x="497" y="45"/>
                  </a:lnTo>
                  <a:lnTo>
                    <a:pt x="487" y="34"/>
                  </a:lnTo>
                  <a:lnTo>
                    <a:pt x="440" y="53"/>
                  </a:lnTo>
                  <a:lnTo>
                    <a:pt x="441" y="25"/>
                  </a:lnTo>
                  <a:lnTo>
                    <a:pt x="461" y="32"/>
                  </a:lnTo>
                  <a:lnTo>
                    <a:pt x="487" y="10"/>
                  </a:lnTo>
                  <a:lnTo>
                    <a:pt x="473" y="0"/>
                  </a:lnTo>
                  <a:lnTo>
                    <a:pt x="318" y="37"/>
                  </a:lnTo>
                  <a:lnTo>
                    <a:pt x="129" y="79"/>
                  </a:lnTo>
                  <a:lnTo>
                    <a:pt x="43" y="179"/>
                  </a:lnTo>
                  <a:lnTo>
                    <a:pt x="18" y="18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6282117" y="1096650"/>
              <a:ext cx="328613" cy="538163"/>
            </a:xfrm>
            <a:custGeom>
              <a:avLst/>
              <a:gdLst>
                <a:gd name="T0" fmla="*/ 74 w 230"/>
                <a:gd name="T1" fmla="*/ 12 h 377"/>
                <a:gd name="T2" fmla="*/ 28 w 230"/>
                <a:gd name="T3" fmla="*/ 81 h 377"/>
                <a:gd name="T4" fmla="*/ 49 w 230"/>
                <a:gd name="T5" fmla="*/ 107 h 377"/>
                <a:gd name="T6" fmla="*/ 28 w 230"/>
                <a:gd name="T7" fmla="*/ 139 h 377"/>
                <a:gd name="T8" fmla="*/ 41 w 230"/>
                <a:gd name="T9" fmla="*/ 149 h 377"/>
                <a:gd name="T10" fmla="*/ 31 w 230"/>
                <a:gd name="T11" fmla="*/ 171 h 377"/>
                <a:gd name="T12" fmla="*/ 31 w 230"/>
                <a:gd name="T13" fmla="*/ 206 h 377"/>
                <a:gd name="T14" fmla="*/ 0 w 230"/>
                <a:gd name="T15" fmla="*/ 219 h 377"/>
                <a:gd name="T16" fmla="*/ 13 w 230"/>
                <a:gd name="T17" fmla="*/ 229 h 377"/>
                <a:gd name="T18" fmla="*/ 79 w 230"/>
                <a:gd name="T19" fmla="*/ 361 h 377"/>
                <a:gd name="T20" fmla="*/ 131 w 230"/>
                <a:gd name="T21" fmla="*/ 377 h 377"/>
                <a:gd name="T22" fmla="*/ 128 w 230"/>
                <a:gd name="T23" fmla="*/ 350 h 377"/>
                <a:gd name="T24" fmla="*/ 154 w 230"/>
                <a:gd name="T25" fmla="*/ 329 h 377"/>
                <a:gd name="T26" fmla="*/ 144 w 230"/>
                <a:gd name="T27" fmla="*/ 307 h 377"/>
                <a:gd name="T28" fmla="*/ 210 w 230"/>
                <a:gd name="T29" fmla="*/ 280 h 377"/>
                <a:gd name="T30" fmla="*/ 212 w 230"/>
                <a:gd name="T31" fmla="*/ 243 h 377"/>
                <a:gd name="T32" fmla="*/ 250 w 230"/>
                <a:gd name="T33" fmla="*/ 241 h 377"/>
                <a:gd name="T34" fmla="*/ 280 w 230"/>
                <a:gd name="T35" fmla="*/ 213 h 377"/>
                <a:gd name="T36" fmla="*/ 316 w 230"/>
                <a:gd name="T37" fmla="*/ 194 h 377"/>
                <a:gd name="T38" fmla="*/ 316 w 230"/>
                <a:gd name="T39" fmla="*/ 171 h 377"/>
                <a:gd name="T40" fmla="*/ 266 w 230"/>
                <a:gd name="T41" fmla="*/ 163 h 377"/>
                <a:gd name="T42" fmla="*/ 257 w 230"/>
                <a:gd name="T43" fmla="*/ 138 h 377"/>
                <a:gd name="T44" fmla="*/ 207 w 230"/>
                <a:gd name="T45" fmla="*/ 134 h 377"/>
                <a:gd name="T46" fmla="*/ 168 w 230"/>
                <a:gd name="T47" fmla="*/ 22 h 377"/>
                <a:gd name="T48" fmla="*/ 148 w 230"/>
                <a:gd name="T49" fmla="*/ 0 h 377"/>
                <a:gd name="T50" fmla="*/ 99 w 230"/>
                <a:gd name="T51" fmla="*/ 9 h 377"/>
                <a:gd name="T52" fmla="*/ 90 w 230"/>
                <a:gd name="T53" fmla="*/ 20 h 377"/>
                <a:gd name="T54" fmla="*/ 74 w 230"/>
                <a:gd name="T55" fmla="*/ 12 h 37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30"/>
                <a:gd name="T85" fmla="*/ 0 h 377"/>
                <a:gd name="T86" fmla="*/ 230 w 230"/>
                <a:gd name="T87" fmla="*/ 377 h 37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30" h="377">
                  <a:moveTo>
                    <a:pt x="54" y="12"/>
                  </a:moveTo>
                  <a:lnTo>
                    <a:pt x="20" y="81"/>
                  </a:lnTo>
                  <a:lnTo>
                    <a:pt x="36" y="107"/>
                  </a:lnTo>
                  <a:lnTo>
                    <a:pt x="20" y="139"/>
                  </a:lnTo>
                  <a:lnTo>
                    <a:pt x="30" y="149"/>
                  </a:lnTo>
                  <a:lnTo>
                    <a:pt x="23" y="171"/>
                  </a:lnTo>
                  <a:lnTo>
                    <a:pt x="23" y="206"/>
                  </a:lnTo>
                  <a:lnTo>
                    <a:pt x="0" y="219"/>
                  </a:lnTo>
                  <a:lnTo>
                    <a:pt x="9" y="229"/>
                  </a:lnTo>
                  <a:lnTo>
                    <a:pt x="57" y="361"/>
                  </a:lnTo>
                  <a:lnTo>
                    <a:pt x="95" y="377"/>
                  </a:lnTo>
                  <a:lnTo>
                    <a:pt x="93" y="350"/>
                  </a:lnTo>
                  <a:lnTo>
                    <a:pt x="112" y="329"/>
                  </a:lnTo>
                  <a:lnTo>
                    <a:pt x="105" y="307"/>
                  </a:lnTo>
                  <a:lnTo>
                    <a:pt x="152" y="280"/>
                  </a:lnTo>
                  <a:lnTo>
                    <a:pt x="154" y="243"/>
                  </a:lnTo>
                  <a:lnTo>
                    <a:pt x="182" y="241"/>
                  </a:lnTo>
                  <a:lnTo>
                    <a:pt x="204" y="213"/>
                  </a:lnTo>
                  <a:lnTo>
                    <a:pt x="230" y="194"/>
                  </a:lnTo>
                  <a:lnTo>
                    <a:pt x="230" y="171"/>
                  </a:lnTo>
                  <a:lnTo>
                    <a:pt x="194" y="163"/>
                  </a:lnTo>
                  <a:lnTo>
                    <a:pt x="187" y="138"/>
                  </a:lnTo>
                  <a:lnTo>
                    <a:pt x="151" y="134"/>
                  </a:lnTo>
                  <a:lnTo>
                    <a:pt x="122" y="22"/>
                  </a:lnTo>
                  <a:lnTo>
                    <a:pt x="108" y="0"/>
                  </a:lnTo>
                  <a:lnTo>
                    <a:pt x="72" y="9"/>
                  </a:lnTo>
                  <a:lnTo>
                    <a:pt x="66" y="20"/>
                  </a:lnTo>
                  <a:lnTo>
                    <a:pt x="54" y="12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670136" y="1882463"/>
              <a:ext cx="495300" cy="350044"/>
            </a:xfrm>
            <a:custGeom>
              <a:avLst/>
              <a:gdLst>
                <a:gd name="T0" fmla="*/ 44 w 347"/>
                <a:gd name="T1" fmla="*/ 36 h 245"/>
                <a:gd name="T2" fmla="*/ 0 w 347"/>
                <a:gd name="T3" fmla="*/ 68 h 245"/>
                <a:gd name="T4" fmla="*/ 26 w 347"/>
                <a:gd name="T5" fmla="*/ 187 h 245"/>
                <a:gd name="T6" fmla="*/ 44 w 347"/>
                <a:gd name="T7" fmla="*/ 245 h 245"/>
                <a:gd name="T8" fmla="*/ 126 w 347"/>
                <a:gd name="T9" fmla="*/ 240 h 245"/>
                <a:gd name="T10" fmla="*/ 427 w 347"/>
                <a:gd name="T11" fmla="*/ 195 h 245"/>
                <a:gd name="T12" fmla="*/ 448 w 347"/>
                <a:gd name="T13" fmla="*/ 188 h 245"/>
                <a:gd name="T14" fmla="*/ 478 w 347"/>
                <a:gd name="T15" fmla="*/ 133 h 245"/>
                <a:gd name="T16" fmla="*/ 432 w 347"/>
                <a:gd name="T17" fmla="*/ 103 h 245"/>
                <a:gd name="T18" fmla="*/ 458 w 347"/>
                <a:gd name="T19" fmla="*/ 32 h 245"/>
                <a:gd name="T20" fmla="*/ 424 w 347"/>
                <a:gd name="T21" fmla="*/ 25 h 245"/>
                <a:gd name="T22" fmla="*/ 424 w 347"/>
                <a:gd name="T23" fmla="*/ 7 h 245"/>
                <a:gd name="T24" fmla="*/ 409 w 347"/>
                <a:gd name="T25" fmla="*/ 0 h 245"/>
                <a:gd name="T26" fmla="*/ 59 w 347"/>
                <a:gd name="T27" fmla="*/ 51 h 245"/>
                <a:gd name="T28" fmla="*/ 44 w 347"/>
                <a:gd name="T29" fmla="*/ 36 h 24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47"/>
                <a:gd name="T46" fmla="*/ 0 h 245"/>
                <a:gd name="T47" fmla="*/ 347 w 347"/>
                <a:gd name="T48" fmla="*/ 245 h 24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47" h="245">
                  <a:moveTo>
                    <a:pt x="32" y="36"/>
                  </a:moveTo>
                  <a:lnTo>
                    <a:pt x="0" y="68"/>
                  </a:lnTo>
                  <a:lnTo>
                    <a:pt x="18" y="187"/>
                  </a:lnTo>
                  <a:lnTo>
                    <a:pt x="32" y="245"/>
                  </a:lnTo>
                  <a:lnTo>
                    <a:pt x="91" y="240"/>
                  </a:lnTo>
                  <a:lnTo>
                    <a:pt x="310" y="195"/>
                  </a:lnTo>
                  <a:lnTo>
                    <a:pt x="325" y="188"/>
                  </a:lnTo>
                  <a:lnTo>
                    <a:pt x="347" y="133"/>
                  </a:lnTo>
                  <a:lnTo>
                    <a:pt x="314" y="103"/>
                  </a:lnTo>
                  <a:lnTo>
                    <a:pt x="332" y="32"/>
                  </a:lnTo>
                  <a:lnTo>
                    <a:pt x="307" y="25"/>
                  </a:lnTo>
                  <a:lnTo>
                    <a:pt x="307" y="7"/>
                  </a:lnTo>
                  <a:lnTo>
                    <a:pt x="296" y="0"/>
                  </a:lnTo>
                  <a:lnTo>
                    <a:pt x="42" y="51"/>
                  </a:lnTo>
                  <a:lnTo>
                    <a:pt x="32" y="36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5792771" y="2161069"/>
              <a:ext cx="421481" cy="186929"/>
            </a:xfrm>
            <a:custGeom>
              <a:avLst/>
              <a:gdLst>
                <a:gd name="T0" fmla="*/ 0 w 295"/>
                <a:gd name="T1" fmla="*/ 45 h 131"/>
                <a:gd name="T2" fmla="*/ 305 w 295"/>
                <a:gd name="T3" fmla="*/ 0 h 131"/>
                <a:gd name="T4" fmla="*/ 356 w 295"/>
                <a:gd name="T5" fmla="*/ 90 h 131"/>
                <a:gd name="T6" fmla="*/ 407 w 295"/>
                <a:gd name="T7" fmla="*/ 80 h 131"/>
                <a:gd name="T8" fmla="*/ 408 w 295"/>
                <a:gd name="T9" fmla="*/ 125 h 131"/>
                <a:gd name="T10" fmla="*/ 364 w 295"/>
                <a:gd name="T11" fmla="*/ 131 h 131"/>
                <a:gd name="T12" fmla="*/ 329 w 295"/>
                <a:gd name="T13" fmla="*/ 102 h 131"/>
                <a:gd name="T14" fmla="*/ 305 w 295"/>
                <a:gd name="T15" fmla="*/ 66 h 131"/>
                <a:gd name="T16" fmla="*/ 299 w 295"/>
                <a:gd name="T17" fmla="*/ 17 h 131"/>
                <a:gd name="T18" fmla="*/ 281 w 295"/>
                <a:gd name="T19" fmla="*/ 42 h 131"/>
                <a:gd name="T20" fmla="*/ 304 w 295"/>
                <a:gd name="T21" fmla="*/ 116 h 131"/>
                <a:gd name="T22" fmla="*/ 213 w 295"/>
                <a:gd name="T23" fmla="*/ 126 h 131"/>
                <a:gd name="T24" fmla="*/ 210 w 295"/>
                <a:gd name="T25" fmla="*/ 72 h 131"/>
                <a:gd name="T26" fmla="*/ 154 w 295"/>
                <a:gd name="T27" fmla="*/ 49 h 131"/>
                <a:gd name="T28" fmla="*/ 110 w 295"/>
                <a:gd name="T29" fmla="*/ 43 h 131"/>
                <a:gd name="T30" fmla="*/ 12 w 295"/>
                <a:gd name="T31" fmla="*/ 80 h 131"/>
                <a:gd name="T32" fmla="*/ 0 w 295"/>
                <a:gd name="T33" fmla="*/ 45 h 13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95"/>
                <a:gd name="T52" fmla="*/ 0 h 131"/>
                <a:gd name="T53" fmla="*/ 295 w 295"/>
                <a:gd name="T54" fmla="*/ 131 h 13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95" h="131">
                  <a:moveTo>
                    <a:pt x="0" y="45"/>
                  </a:moveTo>
                  <a:lnTo>
                    <a:pt x="220" y="0"/>
                  </a:lnTo>
                  <a:lnTo>
                    <a:pt x="256" y="90"/>
                  </a:lnTo>
                  <a:lnTo>
                    <a:pt x="294" y="80"/>
                  </a:lnTo>
                  <a:lnTo>
                    <a:pt x="295" y="125"/>
                  </a:lnTo>
                  <a:lnTo>
                    <a:pt x="264" y="131"/>
                  </a:lnTo>
                  <a:lnTo>
                    <a:pt x="237" y="102"/>
                  </a:lnTo>
                  <a:lnTo>
                    <a:pt x="220" y="66"/>
                  </a:lnTo>
                  <a:lnTo>
                    <a:pt x="216" y="17"/>
                  </a:lnTo>
                  <a:lnTo>
                    <a:pt x="203" y="42"/>
                  </a:lnTo>
                  <a:lnTo>
                    <a:pt x="219" y="116"/>
                  </a:lnTo>
                  <a:lnTo>
                    <a:pt x="154" y="126"/>
                  </a:lnTo>
                  <a:lnTo>
                    <a:pt x="152" y="72"/>
                  </a:lnTo>
                  <a:lnTo>
                    <a:pt x="112" y="49"/>
                  </a:lnTo>
                  <a:lnTo>
                    <a:pt x="79" y="43"/>
                  </a:lnTo>
                  <a:lnTo>
                    <a:pt x="8" y="8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6140434" y="1460982"/>
              <a:ext cx="144065" cy="288131"/>
            </a:xfrm>
            <a:custGeom>
              <a:avLst/>
              <a:gdLst>
                <a:gd name="T0" fmla="*/ 0 w 101"/>
                <a:gd name="T1" fmla="*/ 21 h 202"/>
                <a:gd name="T2" fmla="*/ 100 w 101"/>
                <a:gd name="T3" fmla="*/ 0 h 202"/>
                <a:gd name="T4" fmla="*/ 137 w 101"/>
                <a:gd name="T5" fmla="*/ 55 h 202"/>
                <a:gd name="T6" fmla="*/ 118 w 101"/>
                <a:gd name="T7" fmla="*/ 70 h 202"/>
                <a:gd name="T8" fmla="*/ 126 w 101"/>
                <a:gd name="T9" fmla="*/ 192 h 202"/>
                <a:gd name="T10" fmla="*/ 68 w 101"/>
                <a:gd name="T11" fmla="*/ 202 h 202"/>
                <a:gd name="T12" fmla="*/ 39 w 101"/>
                <a:gd name="T13" fmla="*/ 152 h 202"/>
                <a:gd name="T14" fmla="*/ 38 w 101"/>
                <a:gd name="T15" fmla="*/ 92 h 202"/>
                <a:gd name="T16" fmla="*/ 13 w 101"/>
                <a:gd name="T17" fmla="*/ 74 h 202"/>
                <a:gd name="T18" fmla="*/ 0 w 101"/>
                <a:gd name="T19" fmla="*/ 21 h 20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1"/>
                <a:gd name="T31" fmla="*/ 0 h 202"/>
                <a:gd name="T32" fmla="*/ 101 w 101"/>
                <a:gd name="T33" fmla="*/ 202 h 20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1" h="202">
                  <a:moveTo>
                    <a:pt x="0" y="21"/>
                  </a:moveTo>
                  <a:lnTo>
                    <a:pt x="74" y="0"/>
                  </a:lnTo>
                  <a:lnTo>
                    <a:pt x="101" y="55"/>
                  </a:lnTo>
                  <a:lnTo>
                    <a:pt x="87" y="70"/>
                  </a:lnTo>
                  <a:lnTo>
                    <a:pt x="93" y="192"/>
                  </a:lnTo>
                  <a:lnTo>
                    <a:pt x="50" y="202"/>
                  </a:lnTo>
                  <a:lnTo>
                    <a:pt x="29" y="152"/>
                  </a:lnTo>
                  <a:lnTo>
                    <a:pt x="28" y="92"/>
                  </a:lnTo>
                  <a:lnTo>
                    <a:pt x="9" y="74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6209489" y="1687200"/>
              <a:ext cx="308372" cy="151210"/>
            </a:xfrm>
            <a:custGeom>
              <a:avLst/>
              <a:gdLst>
                <a:gd name="T0" fmla="*/ 0 w 216"/>
                <a:gd name="T1" fmla="*/ 42 h 106"/>
                <a:gd name="T2" fmla="*/ 152 w 216"/>
                <a:gd name="T3" fmla="*/ 13 h 106"/>
                <a:gd name="T4" fmla="*/ 169 w 216"/>
                <a:gd name="T5" fmla="*/ 14 h 106"/>
                <a:gd name="T6" fmla="*/ 187 w 216"/>
                <a:gd name="T7" fmla="*/ 0 h 106"/>
                <a:gd name="T8" fmla="*/ 203 w 216"/>
                <a:gd name="T9" fmla="*/ 7 h 106"/>
                <a:gd name="T10" fmla="*/ 184 w 216"/>
                <a:gd name="T11" fmla="*/ 37 h 106"/>
                <a:gd name="T12" fmla="*/ 216 w 216"/>
                <a:gd name="T13" fmla="*/ 35 h 106"/>
                <a:gd name="T14" fmla="*/ 234 w 216"/>
                <a:gd name="T15" fmla="*/ 59 h 106"/>
                <a:gd name="T16" fmla="*/ 257 w 216"/>
                <a:gd name="T17" fmla="*/ 61 h 106"/>
                <a:gd name="T18" fmla="*/ 271 w 216"/>
                <a:gd name="T19" fmla="*/ 57 h 106"/>
                <a:gd name="T20" fmla="*/ 271 w 216"/>
                <a:gd name="T21" fmla="*/ 44 h 106"/>
                <a:gd name="T22" fmla="*/ 245 w 216"/>
                <a:gd name="T23" fmla="*/ 28 h 106"/>
                <a:gd name="T24" fmla="*/ 264 w 216"/>
                <a:gd name="T25" fmla="*/ 27 h 106"/>
                <a:gd name="T26" fmla="*/ 297 w 216"/>
                <a:gd name="T27" fmla="*/ 62 h 106"/>
                <a:gd name="T28" fmla="*/ 265 w 216"/>
                <a:gd name="T29" fmla="*/ 83 h 106"/>
                <a:gd name="T30" fmla="*/ 230 w 216"/>
                <a:gd name="T31" fmla="*/ 73 h 106"/>
                <a:gd name="T32" fmla="*/ 209 w 216"/>
                <a:gd name="T33" fmla="*/ 98 h 106"/>
                <a:gd name="T34" fmla="*/ 164 w 216"/>
                <a:gd name="T35" fmla="*/ 73 h 106"/>
                <a:gd name="T36" fmla="*/ 13 w 216"/>
                <a:gd name="T37" fmla="*/ 106 h 106"/>
                <a:gd name="T38" fmla="*/ 0 w 216"/>
                <a:gd name="T39" fmla="*/ 42 h 10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16"/>
                <a:gd name="T61" fmla="*/ 0 h 106"/>
                <a:gd name="T62" fmla="*/ 216 w 216"/>
                <a:gd name="T63" fmla="*/ 106 h 10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16" h="106">
                  <a:moveTo>
                    <a:pt x="0" y="42"/>
                  </a:moveTo>
                  <a:lnTo>
                    <a:pt x="110" y="13"/>
                  </a:lnTo>
                  <a:lnTo>
                    <a:pt x="123" y="14"/>
                  </a:lnTo>
                  <a:lnTo>
                    <a:pt x="137" y="0"/>
                  </a:lnTo>
                  <a:lnTo>
                    <a:pt x="148" y="7"/>
                  </a:lnTo>
                  <a:lnTo>
                    <a:pt x="134" y="37"/>
                  </a:lnTo>
                  <a:lnTo>
                    <a:pt x="157" y="35"/>
                  </a:lnTo>
                  <a:lnTo>
                    <a:pt x="170" y="59"/>
                  </a:lnTo>
                  <a:lnTo>
                    <a:pt x="186" y="61"/>
                  </a:lnTo>
                  <a:lnTo>
                    <a:pt x="197" y="57"/>
                  </a:lnTo>
                  <a:lnTo>
                    <a:pt x="197" y="44"/>
                  </a:lnTo>
                  <a:lnTo>
                    <a:pt x="178" y="28"/>
                  </a:lnTo>
                  <a:lnTo>
                    <a:pt x="192" y="27"/>
                  </a:lnTo>
                  <a:lnTo>
                    <a:pt x="216" y="62"/>
                  </a:lnTo>
                  <a:lnTo>
                    <a:pt x="193" y="83"/>
                  </a:lnTo>
                  <a:lnTo>
                    <a:pt x="167" y="73"/>
                  </a:lnTo>
                  <a:lnTo>
                    <a:pt x="151" y="98"/>
                  </a:lnTo>
                  <a:lnTo>
                    <a:pt x="118" y="73"/>
                  </a:lnTo>
                  <a:lnTo>
                    <a:pt x="9" y="10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245208" y="1405023"/>
              <a:ext cx="170259" cy="326231"/>
            </a:xfrm>
            <a:custGeom>
              <a:avLst/>
              <a:gdLst>
                <a:gd name="T0" fmla="*/ 34 w 119"/>
                <a:gd name="T1" fmla="*/ 0 h 228"/>
                <a:gd name="T2" fmla="*/ 0 w 119"/>
                <a:gd name="T3" fmla="*/ 40 h 228"/>
                <a:gd name="T4" fmla="*/ 37 w 119"/>
                <a:gd name="T5" fmla="*/ 93 h 228"/>
                <a:gd name="T6" fmla="*/ 15 w 119"/>
                <a:gd name="T7" fmla="*/ 107 h 228"/>
                <a:gd name="T8" fmla="*/ 24 w 119"/>
                <a:gd name="T9" fmla="*/ 228 h 228"/>
                <a:gd name="T10" fmla="*/ 116 w 119"/>
                <a:gd name="T11" fmla="*/ 211 h 228"/>
                <a:gd name="T12" fmla="*/ 141 w 119"/>
                <a:gd name="T13" fmla="*/ 211 h 228"/>
                <a:gd name="T14" fmla="*/ 154 w 119"/>
                <a:gd name="T15" fmla="*/ 198 h 228"/>
                <a:gd name="T16" fmla="*/ 154 w 119"/>
                <a:gd name="T17" fmla="*/ 176 h 228"/>
                <a:gd name="T18" fmla="*/ 165 w 119"/>
                <a:gd name="T19" fmla="*/ 161 h 228"/>
                <a:gd name="T20" fmla="*/ 113 w 119"/>
                <a:gd name="T21" fmla="*/ 144 h 228"/>
                <a:gd name="T22" fmla="*/ 47 w 119"/>
                <a:gd name="T23" fmla="*/ 11 h 228"/>
                <a:gd name="T24" fmla="*/ 34 w 119"/>
                <a:gd name="T25" fmla="*/ 0 h 2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9"/>
                <a:gd name="T40" fmla="*/ 0 h 228"/>
                <a:gd name="T41" fmla="*/ 119 w 119"/>
                <a:gd name="T42" fmla="*/ 228 h 2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9" h="228">
                  <a:moveTo>
                    <a:pt x="25" y="0"/>
                  </a:moveTo>
                  <a:lnTo>
                    <a:pt x="0" y="40"/>
                  </a:lnTo>
                  <a:lnTo>
                    <a:pt x="27" y="93"/>
                  </a:lnTo>
                  <a:lnTo>
                    <a:pt x="11" y="107"/>
                  </a:lnTo>
                  <a:lnTo>
                    <a:pt x="17" y="228"/>
                  </a:lnTo>
                  <a:lnTo>
                    <a:pt x="84" y="211"/>
                  </a:lnTo>
                  <a:lnTo>
                    <a:pt x="102" y="211"/>
                  </a:lnTo>
                  <a:lnTo>
                    <a:pt x="112" y="198"/>
                  </a:lnTo>
                  <a:lnTo>
                    <a:pt x="112" y="176"/>
                  </a:lnTo>
                  <a:lnTo>
                    <a:pt x="119" y="161"/>
                  </a:lnTo>
                  <a:lnTo>
                    <a:pt x="82" y="144"/>
                  </a:lnTo>
                  <a:lnTo>
                    <a:pt x="34" y="11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43" name="Freeform 41"/>
            <p:cNvSpPr>
              <a:spLocks/>
            </p:cNvSpPr>
            <p:nvPr/>
          </p:nvSpPr>
          <p:spPr bwMode="auto">
            <a:xfrm>
              <a:off x="6116449" y="1922604"/>
              <a:ext cx="131397" cy="280081"/>
            </a:xfrm>
            <a:custGeom>
              <a:avLst/>
              <a:gdLst>
                <a:gd name="T0" fmla="*/ 17 w 92"/>
                <a:gd name="T1" fmla="*/ 2 h 196"/>
                <a:gd name="T2" fmla="*/ 39 w 92"/>
                <a:gd name="T3" fmla="*/ 0 h 196"/>
                <a:gd name="T4" fmla="*/ 82 w 92"/>
                <a:gd name="T5" fmla="*/ 30 h 196"/>
                <a:gd name="T6" fmla="*/ 76 w 92"/>
                <a:gd name="T7" fmla="*/ 53 h 196"/>
                <a:gd name="T8" fmla="*/ 91 w 92"/>
                <a:gd name="T9" fmla="*/ 69 h 196"/>
                <a:gd name="T10" fmla="*/ 92 w 92"/>
                <a:gd name="T11" fmla="*/ 160 h 196"/>
                <a:gd name="T12" fmla="*/ 77 w 92"/>
                <a:gd name="T13" fmla="*/ 196 h 196"/>
                <a:gd name="T14" fmla="*/ 59 w 92"/>
                <a:gd name="T15" fmla="*/ 183 h 196"/>
                <a:gd name="T16" fmla="*/ 41 w 92"/>
                <a:gd name="T17" fmla="*/ 182 h 196"/>
                <a:gd name="T18" fmla="*/ 9 w 92"/>
                <a:gd name="T19" fmla="*/ 163 h 196"/>
                <a:gd name="T20" fmla="*/ 33 w 92"/>
                <a:gd name="T21" fmla="*/ 105 h 196"/>
                <a:gd name="T22" fmla="*/ 0 w 92"/>
                <a:gd name="T23" fmla="*/ 75 h 196"/>
                <a:gd name="T24" fmla="*/ 17 w 92"/>
                <a:gd name="T25" fmla="*/ 2 h 19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2"/>
                <a:gd name="T40" fmla="*/ 0 h 196"/>
                <a:gd name="T41" fmla="*/ 92 w 92"/>
                <a:gd name="T42" fmla="*/ 196 h 19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2" h="196">
                  <a:moveTo>
                    <a:pt x="17" y="2"/>
                  </a:moveTo>
                  <a:lnTo>
                    <a:pt x="39" y="0"/>
                  </a:lnTo>
                  <a:lnTo>
                    <a:pt x="82" y="30"/>
                  </a:lnTo>
                  <a:lnTo>
                    <a:pt x="76" y="53"/>
                  </a:lnTo>
                  <a:lnTo>
                    <a:pt x="91" y="69"/>
                  </a:lnTo>
                  <a:lnTo>
                    <a:pt x="92" y="160"/>
                  </a:lnTo>
                  <a:lnTo>
                    <a:pt x="77" y="196"/>
                  </a:lnTo>
                  <a:lnTo>
                    <a:pt x="59" y="183"/>
                  </a:lnTo>
                  <a:lnTo>
                    <a:pt x="41" y="182"/>
                  </a:lnTo>
                  <a:lnTo>
                    <a:pt x="9" y="163"/>
                  </a:lnTo>
                  <a:lnTo>
                    <a:pt x="33" y="105"/>
                  </a:lnTo>
                  <a:lnTo>
                    <a:pt x="0" y="75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44" name="Freeform 42"/>
            <p:cNvSpPr>
              <a:spLocks/>
            </p:cNvSpPr>
            <p:nvPr/>
          </p:nvSpPr>
          <p:spPr bwMode="auto">
            <a:xfrm>
              <a:off x="6217853" y="1801140"/>
              <a:ext cx="161390" cy="132896"/>
            </a:xfrm>
            <a:custGeom>
              <a:avLst/>
              <a:gdLst>
                <a:gd name="T0" fmla="*/ 0 w 113"/>
                <a:gd name="T1" fmla="*/ 23 h 93"/>
                <a:gd name="T2" fmla="*/ 87 w 113"/>
                <a:gd name="T3" fmla="*/ 0 h 93"/>
                <a:gd name="T4" fmla="*/ 113 w 113"/>
                <a:gd name="T5" fmla="*/ 42 h 93"/>
                <a:gd name="T6" fmla="*/ 98 w 113"/>
                <a:gd name="T7" fmla="*/ 61 h 93"/>
                <a:gd name="T8" fmla="*/ 70 w 113"/>
                <a:gd name="T9" fmla="*/ 54 h 93"/>
                <a:gd name="T10" fmla="*/ 28 w 113"/>
                <a:gd name="T11" fmla="*/ 93 h 93"/>
                <a:gd name="T12" fmla="*/ 5 w 113"/>
                <a:gd name="T13" fmla="*/ 73 h 93"/>
                <a:gd name="T14" fmla="*/ 0 w 113"/>
                <a:gd name="T15" fmla="*/ 23 h 9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3"/>
                <a:gd name="T25" fmla="*/ 0 h 93"/>
                <a:gd name="T26" fmla="*/ 113 w 113"/>
                <a:gd name="T27" fmla="*/ 93 h 9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3" h="93">
                  <a:moveTo>
                    <a:pt x="0" y="23"/>
                  </a:moveTo>
                  <a:lnTo>
                    <a:pt x="87" y="0"/>
                  </a:lnTo>
                  <a:lnTo>
                    <a:pt x="113" y="42"/>
                  </a:lnTo>
                  <a:lnTo>
                    <a:pt x="98" y="61"/>
                  </a:lnTo>
                  <a:lnTo>
                    <a:pt x="70" y="54"/>
                  </a:lnTo>
                  <a:lnTo>
                    <a:pt x="28" y="93"/>
                  </a:lnTo>
                  <a:lnTo>
                    <a:pt x="5" y="73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45" name="Freeform 43"/>
            <p:cNvSpPr>
              <a:spLocks/>
            </p:cNvSpPr>
            <p:nvPr/>
          </p:nvSpPr>
          <p:spPr bwMode="auto">
            <a:xfrm>
              <a:off x="6342109" y="1788279"/>
              <a:ext cx="81409" cy="72878"/>
            </a:xfrm>
            <a:custGeom>
              <a:avLst/>
              <a:gdLst>
                <a:gd name="T0" fmla="*/ 0 w 57"/>
                <a:gd name="T1" fmla="*/ 9 h 51"/>
                <a:gd name="T2" fmla="*/ 24 w 57"/>
                <a:gd name="T3" fmla="*/ 0 h 51"/>
                <a:gd name="T4" fmla="*/ 57 w 57"/>
                <a:gd name="T5" fmla="*/ 26 h 51"/>
                <a:gd name="T6" fmla="*/ 50 w 57"/>
                <a:gd name="T7" fmla="*/ 33 h 51"/>
                <a:gd name="T8" fmla="*/ 34 w 57"/>
                <a:gd name="T9" fmla="*/ 33 h 51"/>
                <a:gd name="T10" fmla="*/ 26 w 57"/>
                <a:gd name="T11" fmla="*/ 51 h 51"/>
                <a:gd name="T12" fmla="*/ 0 w 57"/>
                <a:gd name="T13" fmla="*/ 9 h 5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7"/>
                <a:gd name="T22" fmla="*/ 0 h 51"/>
                <a:gd name="T23" fmla="*/ 57 w 57"/>
                <a:gd name="T24" fmla="*/ 51 h 5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7" h="51">
                  <a:moveTo>
                    <a:pt x="0" y="9"/>
                  </a:moveTo>
                  <a:lnTo>
                    <a:pt x="24" y="0"/>
                  </a:lnTo>
                  <a:lnTo>
                    <a:pt x="57" y="26"/>
                  </a:lnTo>
                  <a:lnTo>
                    <a:pt x="50" y="33"/>
                  </a:lnTo>
                  <a:lnTo>
                    <a:pt x="34" y="33"/>
                  </a:lnTo>
                  <a:lnTo>
                    <a:pt x="26" y="51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54" name="Freeform 52"/>
            <p:cNvSpPr>
              <a:spLocks/>
            </p:cNvSpPr>
            <p:nvPr/>
          </p:nvSpPr>
          <p:spPr bwMode="auto">
            <a:xfrm>
              <a:off x="6110667" y="2153926"/>
              <a:ext cx="102394" cy="136922"/>
            </a:xfrm>
            <a:custGeom>
              <a:avLst/>
              <a:gdLst>
                <a:gd name="T0" fmla="*/ 0 w 72"/>
                <a:gd name="T1" fmla="*/ 5 h 96"/>
                <a:gd name="T2" fmla="*/ 20 w 72"/>
                <a:gd name="T3" fmla="*/ 0 h 96"/>
                <a:gd name="T4" fmla="*/ 66 w 72"/>
                <a:gd name="T5" fmla="*/ 21 h 96"/>
                <a:gd name="T6" fmla="*/ 66 w 72"/>
                <a:gd name="T7" fmla="*/ 42 h 96"/>
                <a:gd name="T8" fmla="*/ 97 w 72"/>
                <a:gd name="T9" fmla="*/ 57 h 96"/>
                <a:gd name="T10" fmla="*/ 99 w 72"/>
                <a:gd name="T11" fmla="*/ 85 h 96"/>
                <a:gd name="T12" fmla="*/ 48 w 72"/>
                <a:gd name="T13" fmla="*/ 96 h 96"/>
                <a:gd name="T14" fmla="*/ 0 w 72"/>
                <a:gd name="T15" fmla="*/ 5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2"/>
                <a:gd name="T25" fmla="*/ 0 h 96"/>
                <a:gd name="T26" fmla="*/ 72 w 72"/>
                <a:gd name="T27" fmla="*/ 96 h 9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2" h="96">
                  <a:moveTo>
                    <a:pt x="0" y="5"/>
                  </a:moveTo>
                  <a:lnTo>
                    <a:pt x="15" y="0"/>
                  </a:lnTo>
                  <a:lnTo>
                    <a:pt x="48" y="21"/>
                  </a:lnTo>
                  <a:lnTo>
                    <a:pt x="48" y="42"/>
                  </a:lnTo>
                  <a:lnTo>
                    <a:pt x="71" y="57"/>
                  </a:lnTo>
                  <a:lnTo>
                    <a:pt x="72" y="85"/>
                  </a:lnTo>
                  <a:lnTo>
                    <a:pt x="35" y="96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55" name="Freeform 53"/>
            <p:cNvSpPr>
              <a:spLocks/>
            </p:cNvSpPr>
            <p:nvPr/>
          </p:nvSpPr>
          <p:spPr bwMode="auto">
            <a:xfrm>
              <a:off x="5711808" y="1488366"/>
              <a:ext cx="548878" cy="479822"/>
            </a:xfrm>
            <a:custGeom>
              <a:avLst/>
              <a:gdLst>
                <a:gd name="T0" fmla="*/ 40 w 384"/>
                <a:gd name="T1" fmla="*/ 226 h 336"/>
                <a:gd name="T2" fmla="*/ 92 w 384"/>
                <a:gd name="T3" fmla="*/ 206 h 336"/>
                <a:gd name="T4" fmla="*/ 158 w 384"/>
                <a:gd name="T5" fmla="*/ 201 h 336"/>
                <a:gd name="T6" fmla="*/ 177 w 384"/>
                <a:gd name="T7" fmla="*/ 183 h 336"/>
                <a:gd name="T8" fmla="*/ 198 w 384"/>
                <a:gd name="T9" fmla="*/ 181 h 336"/>
                <a:gd name="T10" fmla="*/ 212 w 384"/>
                <a:gd name="T11" fmla="*/ 162 h 336"/>
                <a:gd name="T12" fmla="*/ 235 w 384"/>
                <a:gd name="T13" fmla="*/ 155 h 336"/>
                <a:gd name="T14" fmla="*/ 225 w 384"/>
                <a:gd name="T15" fmla="*/ 120 h 336"/>
                <a:gd name="T16" fmla="*/ 211 w 384"/>
                <a:gd name="T17" fmla="*/ 111 h 336"/>
                <a:gd name="T18" fmla="*/ 240 w 384"/>
                <a:gd name="T19" fmla="*/ 82 h 336"/>
                <a:gd name="T20" fmla="*/ 258 w 384"/>
                <a:gd name="T21" fmla="*/ 82 h 336"/>
                <a:gd name="T22" fmla="*/ 320 w 384"/>
                <a:gd name="T23" fmla="*/ 22 h 336"/>
                <a:gd name="T24" fmla="*/ 414 w 384"/>
                <a:gd name="T25" fmla="*/ 0 h 336"/>
                <a:gd name="T26" fmla="*/ 425 w 384"/>
                <a:gd name="T27" fmla="*/ 56 h 336"/>
                <a:gd name="T28" fmla="*/ 430 w 384"/>
                <a:gd name="T29" fmla="*/ 54 h 336"/>
                <a:gd name="T30" fmla="*/ 452 w 384"/>
                <a:gd name="T31" fmla="*/ 74 h 336"/>
                <a:gd name="T32" fmla="*/ 453 w 384"/>
                <a:gd name="T33" fmla="*/ 132 h 336"/>
                <a:gd name="T34" fmla="*/ 482 w 384"/>
                <a:gd name="T35" fmla="*/ 179 h 336"/>
                <a:gd name="T36" fmla="*/ 493 w 384"/>
                <a:gd name="T37" fmla="*/ 240 h 336"/>
                <a:gd name="T38" fmla="*/ 495 w 384"/>
                <a:gd name="T39" fmla="*/ 293 h 336"/>
                <a:gd name="T40" fmla="*/ 530 w 384"/>
                <a:gd name="T41" fmla="*/ 310 h 336"/>
                <a:gd name="T42" fmla="*/ 505 w 384"/>
                <a:gd name="T43" fmla="*/ 336 h 336"/>
                <a:gd name="T44" fmla="*/ 444 w 384"/>
                <a:gd name="T45" fmla="*/ 306 h 336"/>
                <a:gd name="T46" fmla="*/ 412 w 384"/>
                <a:gd name="T47" fmla="*/ 308 h 336"/>
                <a:gd name="T48" fmla="*/ 380 w 384"/>
                <a:gd name="T49" fmla="*/ 301 h 336"/>
                <a:gd name="T50" fmla="*/ 381 w 384"/>
                <a:gd name="T51" fmla="*/ 283 h 336"/>
                <a:gd name="T52" fmla="*/ 362 w 384"/>
                <a:gd name="T53" fmla="*/ 277 h 336"/>
                <a:gd name="T54" fmla="*/ 15 w 384"/>
                <a:gd name="T55" fmla="*/ 329 h 336"/>
                <a:gd name="T56" fmla="*/ 0 w 384"/>
                <a:gd name="T57" fmla="*/ 314 h 336"/>
                <a:gd name="T58" fmla="*/ 52 w 384"/>
                <a:gd name="T59" fmla="*/ 254 h 336"/>
                <a:gd name="T60" fmla="*/ 40 w 384"/>
                <a:gd name="T61" fmla="*/ 226 h 3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84"/>
                <a:gd name="T94" fmla="*/ 0 h 336"/>
                <a:gd name="T95" fmla="*/ 384 w 384"/>
                <a:gd name="T96" fmla="*/ 336 h 3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84" h="336">
                  <a:moveTo>
                    <a:pt x="29" y="226"/>
                  </a:moveTo>
                  <a:lnTo>
                    <a:pt x="66" y="206"/>
                  </a:lnTo>
                  <a:lnTo>
                    <a:pt x="115" y="201"/>
                  </a:lnTo>
                  <a:lnTo>
                    <a:pt x="127" y="183"/>
                  </a:lnTo>
                  <a:lnTo>
                    <a:pt x="144" y="181"/>
                  </a:lnTo>
                  <a:lnTo>
                    <a:pt x="154" y="162"/>
                  </a:lnTo>
                  <a:lnTo>
                    <a:pt x="171" y="155"/>
                  </a:lnTo>
                  <a:lnTo>
                    <a:pt x="163" y="120"/>
                  </a:lnTo>
                  <a:lnTo>
                    <a:pt x="153" y="111"/>
                  </a:lnTo>
                  <a:lnTo>
                    <a:pt x="174" y="82"/>
                  </a:lnTo>
                  <a:lnTo>
                    <a:pt x="187" y="82"/>
                  </a:lnTo>
                  <a:lnTo>
                    <a:pt x="232" y="22"/>
                  </a:lnTo>
                  <a:lnTo>
                    <a:pt x="301" y="0"/>
                  </a:lnTo>
                  <a:lnTo>
                    <a:pt x="308" y="56"/>
                  </a:lnTo>
                  <a:lnTo>
                    <a:pt x="312" y="54"/>
                  </a:lnTo>
                  <a:lnTo>
                    <a:pt x="328" y="74"/>
                  </a:lnTo>
                  <a:lnTo>
                    <a:pt x="329" y="132"/>
                  </a:lnTo>
                  <a:lnTo>
                    <a:pt x="350" y="179"/>
                  </a:lnTo>
                  <a:lnTo>
                    <a:pt x="358" y="240"/>
                  </a:lnTo>
                  <a:lnTo>
                    <a:pt x="360" y="293"/>
                  </a:lnTo>
                  <a:lnTo>
                    <a:pt x="384" y="310"/>
                  </a:lnTo>
                  <a:lnTo>
                    <a:pt x="366" y="336"/>
                  </a:lnTo>
                  <a:lnTo>
                    <a:pt x="322" y="306"/>
                  </a:lnTo>
                  <a:lnTo>
                    <a:pt x="299" y="308"/>
                  </a:lnTo>
                  <a:lnTo>
                    <a:pt x="276" y="301"/>
                  </a:lnTo>
                  <a:lnTo>
                    <a:pt x="277" y="283"/>
                  </a:lnTo>
                  <a:lnTo>
                    <a:pt x="262" y="277"/>
                  </a:lnTo>
                  <a:lnTo>
                    <a:pt x="11" y="329"/>
                  </a:lnTo>
                  <a:lnTo>
                    <a:pt x="0" y="314"/>
                  </a:lnTo>
                  <a:lnTo>
                    <a:pt x="38" y="254"/>
                  </a:lnTo>
                  <a:lnTo>
                    <a:pt x="29" y="226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56" name="Freeform 54"/>
            <p:cNvSpPr>
              <a:spLocks/>
            </p:cNvSpPr>
            <p:nvPr/>
          </p:nvSpPr>
          <p:spPr bwMode="auto">
            <a:xfrm>
              <a:off x="6247590" y="1890797"/>
              <a:ext cx="159544" cy="103584"/>
            </a:xfrm>
            <a:custGeom>
              <a:avLst/>
              <a:gdLst>
                <a:gd name="T0" fmla="*/ 0 w 112"/>
                <a:gd name="T1" fmla="*/ 53 h 72"/>
                <a:gd name="T2" fmla="*/ 63 w 112"/>
                <a:gd name="T3" fmla="*/ 30 h 72"/>
                <a:gd name="T4" fmla="*/ 124 w 112"/>
                <a:gd name="T5" fmla="*/ 0 h 72"/>
                <a:gd name="T6" fmla="*/ 135 w 112"/>
                <a:gd name="T7" fmla="*/ 1 h 72"/>
                <a:gd name="T8" fmla="*/ 153 w 112"/>
                <a:gd name="T9" fmla="*/ 3 h 72"/>
                <a:gd name="T10" fmla="*/ 92 w 112"/>
                <a:gd name="T11" fmla="*/ 40 h 72"/>
                <a:gd name="T12" fmla="*/ 17 w 112"/>
                <a:gd name="T13" fmla="*/ 72 h 72"/>
                <a:gd name="T14" fmla="*/ 0 w 112"/>
                <a:gd name="T15" fmla="*/ 53 h 7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2"/>
                <a:gd name="T25" fmla="*/ 0 h 72"/>
                <a:gd name="T26" fmla="*/ 112 w 112"/>
                <a:gd name="T27" fmla="*/ 72 h 7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2" h="72">
                  <a:moveTo>
                    <a:pt x="0" y="53"/>
                  </a:moveTo>
                  <a:lnTo>
                    <a:pt x="46" y="30"/>
                  </a:lnTo>
                  <a:lnTo>
                    <a:pt x="91" y="0"/>
                  </a:lnTo>
                  <a:lnTo>
                    <a:pt x="99" y="1"/>
                  </a:lnTo>
                  <a:lnTo>
                    <a:pt x="112" y="3"/>
                  </a:lnTo>
                  <a:lnTo>
                    <a:pt x="68" y="40"/>
                  </a:lnTo>
                  <a:lnTo>
                    <a:pt x="13" y="72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  <p:sp>
          <p:nvSpPr>
            <p:cNvPr id="57" name="Freeform 55"/>
            <p:cNvSpPr>
              <a:spLocks/>
            </p:cNvSpPr>
            <p:nvPr/>
          </p:nvSpPr>
          <p:spPr bwMode="auto">
            <a:xfrm>
              <a:off x="6170198" y="2339662"/>
              <a:ext cx="44054" cy="82154"/>
            </a:xfrm>
            <a:custGeom>
              <a:avLst/>
              <a:gdLst>
                <a:gd name="T0" fmla="*/ 0 w 31"/>
                <a:gd name="T1" fmla="*/ 5 h 57"/>
                <a:gd name="T2" fmla="*/ 45 w 31"/>
                <a:gd name="T3" fmla="*/ 0 h 57"/>
                <a:gd name="T4" fmla="*/ 20 w 31"/>
                <a:gd name="T5" fmla="*/ 57 h 57"/>
                <a:gd name="T6" fmla="*/ 2 w 31"/>
                <a:gd name="T7" fmla="*/ 55 h 57"/>
                <a:gd name="T8" fmla="*/ 0 w 31"/>
                <a:gd name="T9" fmla="*/ 5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"/>
                <a:gd name="T16" fmla="*/ 0 h 57"/>
                <a:gd name="T17" fmla="*/ 31 w 31"/>
                <a:gd name="T18" fmla="*/ 57 h 5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" h="57">
                  <a:moveTo>
                    <a:pt x="0" y="5"/>
                  </a:moveTo>
                  <a:lnTo>
                    <a:pt x="31" y="0"/>
                  </a:lnTo>
                  <a:lnTo>
                    <a:pt x="14" y="57"/>
                  </a:lnTo>
                  <a:lnTo>
                    <a:pt x="2" y="5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350"/>
            </a:p>
          </p:txBody>
        </p:sp>
      </p:grpSp>
      <p:sp>
        <p:nvSpPr>
          <p:cNvPr id="58" name="Text Placeholder 41">
            <a:extLst>
              <a:ext uri="{FF2B5EF4-FFF2-40B4-BE49-F238E27FC236}">
                <a16:creationId xmlns:a16="http://schemas.microsoft.com/office/drawing/2014/main" id="{01D607CB-3915-4D5E-A2F3-5748E04667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241903888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95E391-865F-9340-BD32-9C506DAF56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40EDEE-9C68-C24B-84D4-5295114B76F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65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ld</a:t>
            </a:r>
            <a:endParaRPr lang="en-US" dirty="0"/>
          </a:p>
        </p:txBody>
      </p:sp>
      <p:sp>
        <p:nvSpPr>
          <p:cNvPr id="1036" name="Freeform 990"/>
          <p:cNvSpPr>
            <a:spLocks/>
          </p:cNvSpPr>
          <p:nvPr/>
        </p:nvSpPr>
        <p:spPr bwMode="auto">
          <a:xfrm>
            <a:off x="5588959" y="1583956"/>
            <a:ext cx="9893" cy="13850"/>
          </a:xfrm>
          <a:custGeom>
            <a:avLst/>
            <a:gdLst>
              <a:gd name="T0" fmla="*/ 5 w 10"/>
              <a:gd name="T1" fmla="*/ 14 h 14"/>
              <a:gd name="T2" fmla="*/ 5 w 10"/>
              <a:gd name="T3" fmla="*/ 14 h 14"/>
              <a:gd name="T4" fmla="*/ 4 w 10"/>
              <a:gd name="T5" fmla="*/ 14 h 14"/>
              <a:gd name="T6" fmla="*/ 2 w 10"/>
              <a:gd name="T7" fmla="*/ 14 h 14"/>
              <a:gd name="T8" fmla="*/ 0 w 10"/>
              <a:gd name="T9" fmla="*/ 10 h 14"/>
              <a:gd name="T10" fmla="*/ 0 w 10"/>
              <a:gd name="T11" fmla="*/ 6 h 14"/>
              <a:gd name="T12" fmla="*/ 1 w 10"/>
              <a:gd name="T13" fmla="*/ 3 h 14"/>
              <a:gd name="T14" fmla="*/ 1 w 10"/>
              <a:gd name="T15" fmla="*/ 3 h 14"/>
              <a:gd name="T16" fmla="*/ 4 w 10"/>
              <a:gd name="T17" fmla="*/ 0 h 14"/>
              <a:gd name="T18" fmla="*/ 5 w 10"/>
              <a:gd name="T19" fmla="*/ 0 h 14"/>
              <a:gd name="T20" fmla="*/ 8 w 10"/>
              <a:gd name="T21" fmla="*/ 0 h 14"/>
              <a:gd name="T22" fmla="*/ 10 w 10"/>
              <a:gd name="T23" fmla="*/ 1 h 14"/>
              <a:gd name="T24" fmla="*/ 10 w 10"/>
              <a:gd name="T25" fmla="*/ 1 h 14"/>
              <a:gd name="T26" fmla="*/ 10 w 10"/>
              <a:gd name="T27" fmla="*/ 6 h 14"/>
              <a:gd name="T28" fmla="*/ 8 w 10"/>
              <a:gd name="T29" fmla="*/ 9 h 14"/>
              <a:gd name="T30" fmla="*/ 7 w 10"/>
              <a:gd name="T31" fmla="*/ 12 h 14"/>
              <a:gd name="T32" fmla="*/ 5 w 10"/>
              <a:gd name="T33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" h="14">
                <a:moveTo>
                  <a:pt x="5" y="14"/>
                </a:moveTo>
                <a:lnTo>
                  <a:pt x="5" y="14"/>
                </a:lnTo>
                <a:lnTo>
                  <a:pt x="4" y="14"/>
                </a:lnTo>
                <a:lnTo>
                  <a:pt x="2" y="14"/>
                </a:lnTo>
                <a:lnTo>
                  <a:pt x="0" y="10"/>
                </a:lnTo>
                <a:lnTo>
                  <a:pt x="0" y="6"/>
                </a:lnTo>
                <a:lnTo>
                  <a:pt x="1" y="3"/>
                </a:lnTo>
                <a:lnTo>
                  <a:pt x="1" y="3"/>
                </a:lnTo>
                <a:lnTo>
                  <a:pt x="4" y="0"/>
                </a:lnTo>
                <a:lnTo>
                  <a:pt x="5" y="0"/>
                </a:lnTo>
                <a:lnTo>
                  <a:pt x="8" y="0"/>
                </a:lnTo>
                <a:lnTo>
                  <a:pt x="10" y="1"/>
                </a:lnTo>
                <a:lnTo>
                  <a:pt x="10" y="1"/>
                </a:lnTo>
                <a:lnTo>
                  <a:pt x="10" y="6"/>
                </a:lnTo>
                <a:lnTo>
                  <a:pt x="8" y="9"/>
                </a:lnTo>
                <a:lnTo>
                  <a:pt x="7" y="12"/>
                </a:lnTo>
                <a:lnTo>
                  <a:pt x="5" y="1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037" name="Freeform 991"/>
          <p:cNvSpPr>
            <a:spLocks/>
          </p:cNvSpPr>
          <p:nvPr/>
        </p:nvSpPr>
        <p:spPr bwMode="auto">
          <a:xfrm>
            <a:off x="5588959" y="1583956"/>
            <a:ext cx="9893" cy="13850"/>
          </a:xfrm>
          <a:custGeom>
            <a:avLst/>
            <a:gdLst>
              <a:gd name="T0" fmla="*/ 5 w 10"/>
              <a:gd name="T1" fmla="*/ 14 h 14"/>
              <a:gd name="T2" fmla="*/ 5 w 10"/>
              <a:gd name="T3" fmla="*/ 14 h 14"/>
              <a:gd name="T4" fmla="*/ 4 w 10"/>
              <a:gd name="T5" fmla="*/ 14 h 14"/>
              <a:gd name="T6" fmla="*/ 2 w 10"/>
              <a:gd name="T7" fmla="*/ 14 h 14"/>
              <a:gd name="T8" fmla="*/ 0 w 10"/>
              <a:gd name="T9" fmla="*/ 10 h 14"/>
              <a:gd name="T10" fmla="*/ 0 w 10"/>
              <a:gd name="T11" fmla="*/ 6 h 14"/>
              <a:gd name="T12" fmla="*/ 1 w 10"/>
              <a:gd name="T13" fmla="*/ 3 h 14"/>
              <a:gd name="T14" fmla="*/ 1 w 10"/>
              <a:gd name="T15" fmla="*/ 3 h 14"/>
              <a:gd name="T16" fmla="*/ 4 w 10"/>
              <a:gd name="T17" fmla="*/ 0 h 14"/>
              <a:gd name="T18" fmla="*/ 5 w 10"/>
              <a:gd name="T19" fmla="*/ 0 h 14"/>
              <a:gd name="T20" fmla="*/ 8 w 10"/>
              <a:gd name="T21" fmla="*/ 0 h 14"/>
              <a:gd name="T22" fmla="*/ 10 w 10"/>
              <a:gd name="T23" fmla="*/ 1 h 14"/>
              <a:gd name="T24" fmla="*/ 10 w 10"/>
              <a:gd name="T25" fmla="*/ 1 h 14"/>
              <a:gd name="T26" fmla="*/ 10 w 10"/>
              <a:gd name="T27" fmla="*/ 6 h 14"/>
              <a:gd name="T28" fmla="*/ 8 w 10"/>
              <a:gd name="T29" fmla="*/ 9 h 14"/>
              <a:gd name="T30" fmla="*/ 7 w 10"/>
              <a:gd name="T31" fmla="*/ 12 h 14"/>
              <a:gd name="T32" fmla="*/ 5 w 10"/>
              <a:gd name="T33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" h="14">
                <a:moveTo>
                  <a:pt x="5" y="14"/>
                </a:moveTo>
                <a:lnTo>
                  <a:pt x="5" y="14"/>
                </a:lnTo>
                <a:lnTo>
                  <a:pt x="4" y="14"/>
                </a:lnTo>
                <a:lnTo>
                  <a:pt x="2" y="14"/>
                </a:lnTo>
                <a:lnTo>
                  <a:pt x="0" y="10"/>
                </a:lnTo>
                <a:lnTo>
                  <a:pt x="0" y="6"/>
                </a:lnTo>
                <a:lnTo>
                  <a:pt x="1" y="3"/>
                </a:lnTo>
                <a:lnTo>
                  <a:pt x="1" y="3"/>
                </a:lnTo>
                <a:lnTo>
                  <a:pt x="4" y="0"/>
                </a:lnTo>
                <a:lnTo>
                  <a:pt x="5" y="0"/>
                </a:lnTo>
                <a:lnTo>
                  <a:pt x="8" y="0"/>
                </a:lnTo>
                <a:lnTo>
                  <a:pt x="10" y="1"/>
                </a:lnTo>
                <a:lnTo>
                  <a:pt x="10" y="1"/>
                </a:lnTo>
                <a:lnTo>
                  <a:pt x="10" y="6"/>
                </a:lnTo>
                <a:lnTo>
                  <a:pt x="8" y="9"/>
                </a:lnTo>
                <a:lnTo>
                  <a:pt x="7" y="12"/>
                </a:lnTo>
                <a:lnTo>
                  <a:pt x="5" y="14"/>
                </a:ln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10" name="Freeform 1165"/>
          <p:cNvSpPr>
            <a:spLocks/>
          </p:cNvSpPr>
          <p:nvPr/>
        </p:nvSpPr>
        <p:spPr bwMode="auto">
          <a:xfrm>
            <a:off x="5295149" y="2131017"/>
            <a:ext cx="16817" cy="49463"/>
          </a:xfrm>
          <a:custGeom>
            <a:avLst/>
            <a:gdLst>
              <a:gd name="T0" fmla="*/ 17 w 17"/>
              <a:gd name="T1" fmla="*/ 18 h 50"/>
              <a:gd name="T2" fmla="*/ 17 w 17"/>
              <a:gd name="T3" fmla="*/ 18 h 50"/>
              <a:gd name="T4" fmla="*/ 14 w 17"/>
              <a:gd name="T5" fmla="*/ 22 h 50"/>
              <a:gd name="T6" fmla="*/ 13 w 17"/>
              <a:gd name="T7" fmla="*/ 25 h 50"/>
              <a:gd name="T8" fmla="*/ 13 w 17"/>
              <a:gd name="T9" fmla="*/ 25 h 50"/>
              <a:gd name="T10" fmla="*/ 14 w 17"/>
              <a:gd name="T11" fmla="*/ 28 h 50"/>
              <a:gd name="T12" fmla="*/ 16 w 17"/>
              <a:gd name="T13" fmla="*/ 29 h 50"/>
              <a:gd name="T14" fmla="*/ 14 w 17"/>
              <a:gd name="T15" fmla="*/ 31 h 50"/>
              <a:gd name="T16" fmla="*/ 14 w 17"/>
              <a:gd name="T17" fmla="*/ 31 h 50"/>
              <a:gd name="T18" fmla="*/ 13 w 17"/>
              <a:gd name="T19" fmla="*/ 34 h 50"/>
              <a:gd name="T20" fmla="*/ 11 w 17"/>
              <a:gd name="T21" fmla="*/ 36 h 50"/>
              <a:gd name="T22" fmla="*/ 11 w 17"/>
              <a:gd name="T23" fmla="*/ 36 h 50"/>
              <a:gd name="T24" fmla="*/ 13 w 17"/>
              <a:gd name="T25" fmla="*/ 44 h 50"/>
              <a:gd name="T26" fmla="*/ 13 w 17"/>
              <a:gd name="T27" fmla="*/ 48 h 50"/>
              <a:gd name="T28" fmla="*/ 13 w 17"/>
              <a:gd name="T29" fmla="*/ 50 h 50"/>
              <a:gd name="T30" fmla="*/ 11 w 17"/>
              <a:gd name="T31" fmla="*/ 50 h 50"/>
              <a:gd name="T32" fmla="*/ 11 w 17"/>
              <a:gd name="T33" fmla="*/ 50 h 50"/>
              <a:gd name="T34" fmla="*/ 5 w 17"/>
              <a:gd name="T35" fmla="*/ 48 h 50"/>
              <a:gd name="T36" fmla="*/ 3 w 17"/>
              <a:gd name="T37" fmla="*/ 45 h 50"/>
              <a:gd name="T38" fmla="*/ 3 w 17"/>
              <a:gd name="T39" fmla="*/ 42 h 50"/>
              <a:gd name="T40" fmla="*/ 3 w 17"/>
              <a:gd name="T41" fmla="*/ 42 h 50"/>
              <a:gd name="T42" fmla="*/ 3 w 17"/>
              <a:gd name="T43" fmla="*/ 39 h 50"/>
              <a:gd name="T44" fmla="*/ 4 w 17"/>
              <a:gd name="T45" fmla="*/ 36 h 50"/>
              <a:gd name="T46" fmla="*/ 5 w 17"/>
              <a:gd name="T47" fmla="*/ 35 h 50"/>
              <a:gd name="T48" fmla="*/ 5 w 17"/>
              <a:gd name="T49" fmla="*/ 34 h 50"/>
              <a:gd name="T50" fmla="*/ 5 w 17"/>
              <a:gd name="T51" fmla="*/ 34 h 50"/>
              <a:gd name="T52" fmla="*/ 4 w 17"/>
              <a:gd name="T53" fmla="*/ 31 h 50"/>
              <a:gd name="T54" fmla="*/ 3 w 17"/>
              <a:gd name="T55" fmla="*/ 29 h 50"/>
              <a:gd name="T56" fmla="*/ 1 w 17"/>
              <a:gd name="T57" fmla="*/ 28 h 50"/>
              <a:gd name="T58" fmla="*/ 0 w 17"/>
              <a:gd name="T59" fmla="*/ 25 h 50"/>
              <a:gd name="T60" fmla="*/ 0 w 17"/>
              <a:gd name="T61" fmla="*/ 25 h 50"/>
              <a:gd name="T62" fmla="*/ 3 w 17"/>
              <a:gd name="T63" fmla="*/ 23 h 50"/>
              <a:gd name="T64" fmla="*/ 7 w 17"/>
              <a:gd name="T65" fmla="*/ 21 h 50"/>
              <a:gd name="T66" fmla="*/ 11 w 17"/>
              <a:gd name="T67" fmla="*/ 18 h 50"/>
              <a:gd name="T68" fmla="*/ 13 w 17"/>
              <a:gd name="T69" fmla="*/ 16 h 50"/>
              <a:gd name="T70" fmla="*/ 13 w 17"/>
              <a:gd name="T71" fmla="*/ 15 h 50"/>
              <a:gd name="T72" fmla="*/ 13 w 17"/>
              <a:gd name="T73" fmla="*/ 15 h 50"/>
              <a:gd name="T74" fmla="*/ 10 w 17"/>
              <a:gd name="T75" fmla="*/ 5 h 50"/>
              <a:gd name="T76" fmla="*/ 10 w 17"/>
              <a:gd name="T77" fmla="*/ 0 h 50"/>
              <a:gd name="T78" fmla="*/ 10 w 17"/>
              <a:gd name="T79" fmla="*/ 0 h 50"/>
              <a:gd name="T80" fmla="*/ 11 w 17"/>
              <a:gd name="T81" fmla="*/ 0 h 50"/>
              <a:gd name="T82" fmla="*/ 11 w 17"/>
              <a:gd name="T83" fmla="*/ 0 h 50"/>
              <a:gd name="T84" fmla="*/ 14 w 17"/>
              <a:gd name="T85" fmla="*/ 5 h 50"/>
              <a:gd name="T86" fmla="*/ 16 w 17"/>
              <a:gd name="T87" fmla="*/ 9 h 50"/>
              <a:gd name="T88" fmla="*/ 17 w 17"/>
              <a:gd name="T89" fmla="*/ 13 h 50"/>
              <a:gd name="T90" fmla="*/ 17 w 17"/>
              <a:gd name="T91" fmla="*/ 18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" h="50">
                <a:moveTo>
                  <a:pt x="17" y="18"/>
                </a:moveTo>
                <a:lnTo>
                  <a:pt x="17" y="18"/>
                </a:lnTo>
                <a:lnTo>
                  <a:pt x="14" y="22"/>
                </a:lnTo>
                <a:lnTo>
                  <a:pt x="13" y="25"/>
                </a:lnTo>
                <a:lnTo>
                  <a:pt x="13" y="25"/>
                </a:lnTo>
                <a:lnTo>
                  <a:pt x="14" y="28"/>
                </a:lnTo>
                <a:lnTo>
                  <a:pt x="16" y="29"/>
                </a:lnTo>
                <a:lnTo>
                  <a:pt x="14" y="31"/>
                </a:lnTo>
                <a:lnTo>
                  <a:pt x="14" y="31"/>
                </a:lnTo>
                <a:lnTo>
                  <a:pt x="13" y="34"/>
                </a:lnTo>
                <a:lnTo>
                  <a:pt x="11" y="36"/>
                </a:lnTo>
                <a:lnTo>
                  <a:pt x="11" y="36"/>
                </a:lnTo>
                <a:lnTo>
                  <a:pt x="13" y="44"/>
                </a:lnTo>
                <a:lnTo>
                  <a:pt x="13" y="48"/>
                </a:lnTo>
                <a:lnTo>
                  <a:pt x="13" y="50"/>
                </a:lnTo>
                <a:lnTo>
                  <a:pt x="11" y="50"/>
                </a:lnTo>
                <a:lnTo>
                  <a:pt x="11" y="50"/>
                </a:lnTo>
                <a:lnTo>
                  <a:pt x="5" y="48"/>
                </a:lnTo>
                <a:lnTo>
                  <a:pt x="3" y="45"/>
                </a:lnTo>
                <a:lnTo>
                  <a:pt x="3" y="42"/>
                </a:lnTo>
                <a:lnTo>
                  <a:pt x="3" y="42"/>
                </a:lnTo>
                <a:lnTo>
                  <a:pt x="3" y="39"/>
                </a:lnTo>
                <a:lnTo>
                  <a:pt x="4" y="36"/>
                </a:lnTo>
                <a:lnTo>
                  <a:pt x="5" y="35"/>
                </a:lnTo>
                <a:lnTo>
                  <a:pt x="5" y="34"/>
                </a:lnTo>
                <a:lnTo>
                  <a:pt x="5" y="34"/>
                </a:lnTo>
                <a:lnTo>
                  <a:pt x="4" y="31"/>
                </a:lnTo>
                <a:lnTo>
                  <a:pt x="3" y="29"/>
                </a:lnTo>
                <a:lnTo>
                  <a:pt x="1" y="28"/>
                </a:lnTo>
                <a:lnTo>
                  <a:pt x="0" y="25"/>
                </a:lnTo>
                <a:lnTo>
                  <a:pt x="0" y="25"/>
                </a:lnTo>
                <a:lnTo>
                  <a:pt x="3" y="23"/>
                </a:lnTo>
                <a:lnTo>
                  <a:pt x="7" y="21"/>
                </a:lnTo>
                <a:lnTo>
                  <a:pt x="11" y="18"/>
                </a:lnTo>
                <a:lnTo>
                  <a:pt x="13" y="16"/>
                </a:lnTo>
                <a:lnTo>
                  <a:pt x="13" y="15"/>
                </a:lnTo>
                <a:lnTo>
                  <a:pt x="13" y="15"/>
                </a:lnTo>
                <a:lnTo>
                  <a:pt x="10" y="5"/>
                </a:lnTo>
                <a:lnTo>
                  <a:pt x="10" y="0"/>
                </a:lnTo>
                <a:lnTo>
                  <a:pt x="10" y="0"/>
                </a:lnTo>
                <a:lnTo>
                  <a:pt x="11" y="0"/>
                </a:lnTo>
                <a:lnTo>
                  <a:pt x="11" y="0"/>
                </a:lnTo>
                <a:lnTo>
                  <a:pt x="14" y="5"/>
                </a:lnTo>
                <a:lnTo>
                  <a:pt x="16" y="9"/>
                </a:lnTo>
                <a:lnTo>
                  <a:pt x="17" y="13"/>
                </a:lnTo>
                <a:lnTo>
                  <a:pt x="17" y="18"/>
                </a:ln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10" name="Freeform 1461"/>
          <p:cNvSpPr>
            <a:spLocks/>
          </p:cNvSpPr>
          <p:nvPr/>
        </p:nvSpPr>
        <p:spPr bwMode="auto">
          <a:xfrm>
            <a:off x="5588959" y="1583955"/>
            <a:ext cx="9893" cy="13850"/>
          </a:xfrm>
          <a:custGeom>
            <a:avLst/>
            <a:gdLst>
              <a:gd name="T0" fmla="*/ 5 w 10"/>
              <a:gd name="T1" fmla="*/ 14 h 14"/>
              <a:gd name="T2" fmla="*/ 5 w 10"/>
              <a:gd name="T3" fmla="*/ 14 h 14"/>
              <a:gd name="T4" fmla="*/ 4 w 10"/>
              <a:gd name="T5" fmla="*/ 14 h 14"/>
              <a:gd name="T6" fmla="*/ 2 w 10"/>
              <a:gd name="T7" fmla="*/ 14 h 14"/>
              <a:gd name="T8" fmla="*/ 0 w 10"/>
              <a:gd name="T9" fmla="*/ 10 h 14"/>
              <a:gd name="T10" fmla="*/ 0 w 10"/>
              <a:gd name="T11" fmla="*/ 6 h 14"/>
              <a:gd name="T12" fmla="*/ 1 w 10"/>
              <a:gd name="T13" fmla="*/ 3 h 14"/>
              <a:gd name="T14" fmla="*/ 1 w 10"/>
              <a:gd name="T15" fmla="*/ 3 h 14"/>
              <a:gd name="T16" fmla="*/ 4 w 10"/>
              <a:gd name="T17" fmla="*/ 0 h 14"/>
              <a:gd name="T18" fmla="*/ 5 w 10"/>
              <a:gd name="T19" fmla="*/ 0 h 14"/>
              <a:gd name="T20" fmla="*/ 8 w 10"/>
              <a:gd name="T21" fmla="*/ 0 h 14"/>
              <a:gd name="T22" fmla="*/ 10 w 10"/>
              <a:gd name="T23" fmla="*/ 1 h 14"/>
              <a:gd name="T24" fmla="*/ 10 w 10"/>
              <a:gd name="T25" fmla="*/ 1 h 14"/>
              <a:gd name="T26" fmla="*/ 10 w 10"/>
              <a:gd name="T27" fmla="*/ 6 h 14"/>
              <a:gd name="T28" fmla="*/ 8 w 10"/>
              <a:gd name="T29" fmla="*/ 9 h 14"/>
              <a:gd name="T30" fmla="*/ 7 w 10"/>
              <a:gd name="T31" fmla="*/ 12 h 14"/>
              <a:gd name="T32" fmla="*/ 5 w 10"/>
              <a:gd name="T33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" h="14">
                <a:moveTo>
                  <a:pt x="5" y="14"/>
                </a:moveTo>
                <a:lnTo>
                  <a:pt x="5" y="14"/>
                </a:lnTo>
                <a:lnTo>
                  <a:pt x="4" y="14"/>
                </a:lnTo>
                <a:lnTo>
                  <a:pt x="2" y="14"/>
                </a:lnTo>
                <a:lnTo>
                  <a:pt x="0" y="10"/>
                </a:lnTo>
                <a:lnTo>
                  <a:pt x="0" y="6"/>
                </a:lnTo>
                <a:lnTo>
                  <a:pt x="1" y="3"/>
                </a:lnTo>
                <a:lnTo>
                  <a:pt x="1" y="3"/>
                </a:lnTo>
                <a:lnTo>
                  <a:pt x="4" y="0"/>
                </a:lnTo>
                <a:lnTo>
                  <a:pt x="5" y="0"/>
                </a:lnTo>
                <a:lnTo>
                  <a:pt x="8" y="0"/>
                </a:lnTo>
                <a:lnTo>
                  <a:pt x="10" y="1"/>
                </a:lnTo>
                <a:lnTo>
                  <a:pt x="10" y="1"/>
                </a:lnTo>
                <a:lnTo>
                  <a:pt x="10" y="6"/>
                </a:lnTo>
                <a:lnTo>
                  <a:pt x="8" y="9"/>
                </a:lnTo>
                <a:lnTo>
                  <a:pt x="7" y="12"/>
                </a:lnTo>
                <a:lnTo>
                  <a:pt x="5" y="1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11" name="Freeform 1462"/>
          <p:cNvSpPr>
            <a:spLocks/>
          </p:cNvSpPr>
          <p:nvPr/>
        </p:nvSpPr>
        <p:spPr bwMode="auto">
          <a:xfrm>
            <a:off x="5588959" y="1583955"/>
            <a:ext cx="9893" cy="13850"/>
          </a:xfrm>
          <a:custGeom>
            <a:avLst/>
            <a:gdLst>
              <a:gd name="T0" fmla="*/ 5 w 10"/>
              <a:gd name="T1" fmla="*/ 14 h 14"/>
              <a:gd name="T2" fmla="*/ 5 w 10"/>
              <a:gd name="T3" fmla="*/ 14 h 14"/>
              <a:gd name="T4" fmla="*/ 4 w 10"/>
              <a:gd name="T5" fmla="*/ 14 h 14"/>
              <a:gd name="T6" fmla="*/ 2 w 10"/>
              <a:gd name="T7" fmla="*/ 14 h 14"/>
              <a:gd name="T8" fmla="*/ 0 w 10"/>
              <a:gd name="T9" fmla="*/ 10 h 14"/>
              <a:gd name="T10" fmla="*/ 0 w 10"/>
              <a:gd name="T11" fmla="*/ 6 h 14"/>
              <a:gd name="T12" fmla="*/ 1 w 10"/>
              <a:gd name="T13" fmla="*/ 3 h 14"/>
              <a:gd name="T14" fmla="*/ 1 w 10"/>
              <a:gd name="T15" fmla="*/ 3 h 14"/>
              <a:gd name="T16" fmla="*/ 4 w 10"/>
              <a:gd name="T17" fmla="*/ 0 h 14"/>
              <a:gd name="T18" fmla="*/ 5 w 10"/>
              <a:gd name="T19" fmla="*/ 0 h 14"/>
              <a:gd name="T20" fmla="*/ 8 w 10"/>
              <a:gd name="T21" fmla="*/ 0 h 14"/>
              <a:gd name="T22" fmla="*/ 10 w 10"/>
              <a:gd name="T23" fmla="*/ 1 h 14"/>
              <a:gd name="T24" fmla="*/ 10 w 10"/>
              <a:gd name="T25" fmla="*/ 1 h 14"/>
              <a:gd name="T26" fmla="*/ 10 w 10"/>
              <a:gd name="T27" fmla="*/ 6 h 14"/>
              <a:gd name="T28" fmla="*/ 8 w 10"/>
              <a:gd name="T29" fmla="*/ 9 h 14"/>
              <a:gd name="T30" fmla="*/ 7 w 10"/>
              <a:gd name="T31" fmla="*/ 12 h 14"/>
              <a:gd name="T32" fmla="*/ 5 w 10"/>
              <a:gd name="T33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" h="14">
                <a:moveTo>
                  <a:pt x="5" y="14"/>
                </a:moveTo>
                <a:lnTo>
                  <a:pt x="5" y="14"/>
                </a:lnTo>
                <a:lnTo>
                  <a:pt x="4" y="14"/>
                </a:lnTo>
                <a:lnTo>
                  <a:pt x="2" y="14"/>
                </a:lnTo>
                <a:lnTo>
                  <a:pt x="0" y="10"/>
                </a:lnTo>
                <a:lnTo>
                  <a:pt x="0" y="6"/>
                </a:lnTo>
                <a:lnTo>
                  <a:pt x="1" y="3"/>
                </a:lnTo>
                <a:lnTo>
                  <a:pt x="1" y="3"/>
                </a:lnTo>
                <a:lnTo>
                  <a:pt x="4" y="0"/>
                </a:lnTo>
                <a:lnTo>
                  <a:pt x="5" y="0"/>
                </a:lnTo>
                <a:lnTo>
                  <a:pt x="8" y="0"/>
                </a:lnTo>
                <a:lnTo>
                  <a:pt x="10" y="1"/>
                </a:lnTo>
                <a:lnTo>
                  <a:pt x="10" y="1"/>
                </a:lnTo>
                <a:lnTo>
                  <a:pt x="10" y="6"/>
                </a:lnTo>
                <a:lnTo>
                  <a:pt x="8" y="9"/>
                </a:lnTo>
                <a:lnTo>
                  <a:pt x="7" y="12"/>
                </a:lnTo>
                <a:lnTo>
                  <a:pt x="5" y="14"/>
                </a:ln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6" name="Freeform 1664"/>
          <p:cNvSpPr>
            <a:spLocks noEditPoints="1"/>
          </p:cNvSpPr>
          <p:nvPr/>
        </p:nvSpPr>
        <p:spPr bwMode="auto">
          <a:xfrm>
            <a:off x="5155663" y="2276437"/>
            <a:ext cx="1399802" cy="368005"/>
          </a:xfrm>
          <a:custGeom>
            <a:avLst/>
            <a:gdLst>
              <a:gd name="T0" fmla="*/ 20 w 1415"/>
              <a:gd name="T1" fmla="*/ 191 h 372"/>
              <a:gd name="T2" fmla="*/ 0 w 1415"/>
              <a:gd name="T3" fmla="*/ 165 h 372"/>
              <a:gd name="T4" fmla="*/ 22 w 1415"/>
              <a:gd name="T5" fmla="*/ 124 h 372"/>
              <a:gd name="T6" fmla="*/ 54 w 1415"/>
              <a:gd name="T7" fmla="*/ 107 h 372"/>
              <a:gd name="T8" fmla="*/ 91 w 1415"/>
              <a:gd name="T9" fmla="*/ 82 h 372"/>
              <a:gd name="T10" fmla="*/ 102 w 1415"/>
              <a:gd name="T11" fmla="*/ 79 h 372"/>
              <a:gd name="T12" fmla="*/ 131 w 1415"/>
              <a:gd name="T13" fmla="*/ 105 h 372"/>
              <a:gd name="T14" fmla="*/ 160 w 1415"/>
              <a:gd name="T15" fmla="*/ 94 h 372"/>
              <a:gd name="T16" fmla="*/ 180 w 1415"/>
              <a:gd name="T17" fmla="*/ 105 h 372"/>
              <a:gd name="T18" fmla="*/ 204 w 1415"/>
              <a:gd name="T19" fmla="*/ 102 h 372"/>
              <a:gd name="T20" fmla="*/ 213 w 1415"/>
              <a:gd name="T21" fmla="*/ 85 h 372"/>
              <a:gd name="T22" fmla="*/ 239 w 1415"/>
              <a:gd name="T23" fmla="*/ 52 h 372"/>
              <a:gd name="T24" fmla="*/ 271 w 1415"/>
              <a:gd name="T25" fmla="*/ 23 h 372"/>
              <a:gd name="T26" fmla="*/ 310 w 1415"/>
              <a:gd name="T27" fmla="*/ 14 h 372"/>
              <a:gd name="T28" fmla="*/ 352 w 1415"/>
              <a:gd name="T29" fmla="*/ 0 h 372"/>
              <a:gd name="T30" fmla="*/ 387 w 1415"/>
              <a:gd name="T31" fmla="*/ 14 h 372"/>
              <a:gd name="T32" fmla="*/ 387 w 1415"/>
              <a:gd name="T33" fmla="*/ 26 h 372"/>
              <a:gd name="T34" fmla="*/ 426 w 1415"/>
              <a:gd name="T35" fmla="*/ 36 h 372"/>
              <a:gd name="T36" fmla="*/ 446 w 1415"/>
              <a:gd name="T37" fmla="*/ 60 h 372"/>
              <a:gd name="T38" fmla="*/ 493 w 1415"/>
              <a:gd name="T39" fmla="*/ 52 h 372"/>
              <a:gd name="T40" fmla="*/ 517 w 1415"/>
              <a:gd name="T41" fmla="*/ 91 h 372"/>
              <a:gd name="T42" fmla="*/ 548 w 1415"/>
              <a:gd name="T43" fmla="*/ 108 h 372"/>
              <a:gd name="T44" fmla="*/ 577 w 1415"/>
              <a:gd name="T45" fmla="*/ 126 h 372"/>
              <a:gd name="T46" fmla="*/ 614 w 1415"/>
              <a:gd name="T47" fmla="*/ 133 h 372"/>
              <a:gd name="T48" fmla="*/ 655 w 1415"/>
              <a:gd name="T49" fmla="*/ 153 h 372"/>
              <a:gd name="T50" fmla="*/ 688 w 1415"/>
              <a:gd name="T51" fmla="*/ 139 h 372"/>
              <a:gd name="T52" fmla="*/ 703 w 1415"/>
              <a:gd name="T53" fmla="*/ 118 h 372"/>
              <a:gd name="T54" fmla="*/ 748 w 1415"/>
              <a:gd name="T55" fmla="*/ 110 h 372"/>
              <a:gd name="T56" fmla="*/ 791 w 1415"/>
              <a:gd name="T57" fmla="*/ 126 h 372"/>
              <a:gd name="T58" fmla="*/ 808 w 1415"/>
              <a:gd name="T59" fmla="*/ 140 h 372"/>
              <a:gd name="T60" fmla="*/ 827 w 1415"/>
              <a:gd name="T61" fmla="*/ 121 h 372"/>
              <a:gd name="T62" fmla="*/ 834 w 1415"/>
              <a:gd name="T63" fmla="*/ 100 h 372"/>
              <a:gd name="T64" fmla="*/ 855 w 1415"/>
              <a:gd name="T65" fmla="*/ 89 h 372"/>
              <a:gd name="T66" fmla="*/ 884 w 1415"/>
              <a:gd name="T67" fmla="*/ 100 h 372"/>
              <a:gd name="T68" fmla="*/ 904 w 1415"/>
              <a:gd name="T69" fmla="*/ 128 h 372"/>
              <a:gd name="T70" fmla="*/ 956 w 1415"/>
              <a:gd name="T71" fmla="*/ 124 h 372"/>
              <a:gd name="T72" fmla="*/ 985 w 1415"/>
              <a:gd name="T73" fmla="*/ 143 h 372"/>
              <a:gd name="T74" fmla="*/ 1030 w 1415"/>
              <a:gd name="T75" fmla="*/ 156 h 372"/>
              <a:gd name="T76" fmla="*/ 1084 w 1415"/>
              <a:gd name="T77" fmla="*/ 128 h 372"/>
              <a:gd name="T78" fmla="*/ 1102 w 1415"/>
              <a:gd name="T79" fmla="*/ 139 h 372"/>
              <a:gd name="T80" fmla="*/ 1155 w 1415"/>
              <a:gd name="T81" fmla="*/ 133 h 372"/>
              <a:gd name="T82" fmla="*/ 1165 w 1415"/>
              <a:gd name="T83" fmla="*/ 114 h 372"/>
              <a:gd name="T84" fmla="*/ 1179 w 1415"/>
              <a:gd name="T85" fmla="*/ 88 h 372"/>
              <a:gd name="T86" fmla="*/ 1169 w 1415"/>
              <a:gd name="T87" fmla="*/ 56 h 372"/>
              <a:gd name="T88" fmla="*/ 1197 w 1415"/>
              <a:gd name="T89" fmla="*/ 44 h 372"/>
              <a:gd name="T90" fmla="*/ 1254 w 1415"/>
              <a:gd name="T91" fmla="*/ 43 h 372"/>
              <a:gd name="T92" fmla="*/ 1276 w 1415"/>
              <a:gd name="T93" fmla="*/ 68 h 372"/>
              <a:gd name="T94" fmla="*/ 1292 w 1415"/>
              <a:gd name="T95" fmla="*/ 100 h 372"/>
              <a:gd name="T96" fmla="*/ 1301 w 1415"/>
              <a:gd name="T97" fmla="*/ 128 h 372"/>
              <a:gd name="T98" fmla="*/ 1323 w 1415"/>
              <a:gd name="T99" fmla="*/ 143 h 372"/>
              <a:gd name="T100" fmla="*/ 1353 w 1415"/>
              <a:gd name="T101" fmla="*/ 170 h 372"/>
              <a:gd name="T102" fmla="*/ 1382 w 1415"/>
              <a:gd name="T103" fmla="*/ 182 h 372"/>
              <a:gd name="T104" fmla="*/ 1412 w 1415"/>
              <a:gd name="T105" fmla="*/ 189 h 372"/>
              <a:gd name="T106" fmla="*/ 1401 w 1415"/>
              <a:gd name="T107" fmla="*/ 234 h 372"/>
              <a:gd name="T108" fmla="*/ 1388 w 1415"/>
              <a:gd name="T109" fmla="*/ 249 h 372"/>
              <a:gd name="T110" fmla="*/ 1359 w 1415"/>
              <a:gd name="T111" fmla="*/ 262 h 372"/>
              <a:gd name="T112" fmla="*/ 1360 w 1415"/>
              <a:gd name="T113" fmla="*/ 279 h 372"/>
              <a:gd name="T114" fmla="*/ 1338 w 1415"/>
              <a:gd name="T115" fmla="*/ 304 h 372"/>
              <a:gd name="T116" fmla="*/ 1311 w 1415"/>
              <a:gd name="T117" fmla="*/ 320 h 372"/>
              <a:gd name="T118" fmla="*/ 1308 w 1415"/>
              <a:gd name="T119" fmla="*/ 327 h 372"/>
              <a:gd name="T120" fmla="*/ 1283 w 1415"/>
              <a:gd name="T121" fmla="*/ 336 h 372"/>
              <a:gd name="T122" fmla="*/ 1244 w 1415"/>
              <a:gd name="T123" fmla="*/ 372 h 3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415" h="372">
                <a:moveTo>
                  <a:pt x="28" y="214"/>
                </a:moveTo>
                <a:lnTo>
                  <a:pt x="28" y="214"/>
                </a:lnTo>
                <a:lnTo>
                  <a:pt x="34" y="221"/>
                </a:lnTo>
                <a:lnTo>
                  <a:pt x="35" y="220"/>
                </a:lnTo>
                <a:lnTo>
                  <a:pt x="35" y="220"/>
                </a:lnTo>
                <a:lnTo>
                  <a:pt x="31" y="212"/>
                </a:lnTo>
                <a:lnTo>
                  <a:pt x="28" y="214"/>
                </a:lnTo>
                <a:close/>
                <a:moveTo>
                  <a:pt x="29" y="199"/>
                </a:moveTo>
                <a:lnTo>
                  <a:pt x="29" y="199"/>
                </a:lnTo>
                <a:lnTo>
                  <a:pt x="28" y="208"/>
                </a:lnTo>
                <a:lnTo>
                  <a:pt x="29" y="210"/>
                </a:lnTo>
                <a:lnTo>
                  <a:pt x="29" y="210"/>
                </a:lnTo>
                <a:lnTo>
                  <a:pt x="32" y="199"/>
                </a:lnTo>
                <a:lnTo>
                  <a:pt x="29" y="199"/>
                </a:lnTo>
                <a:close/>
                <a:moveTo>
                  <a:pt x="20" y="192"/>
                </a:moveTo>
                <a:lnTo>
                  <a:pt x="20" y="192"/>
                </a:lnTo>
                <a:lnTo>
                  <a:pt x="26" y="194"/>
                </a:lnTo>
                <a:lnTo>
                  <a:pt x="26" y="194"/>
                </a:lnTo>
                <a:lnTo>
                  <a:pt x="29" y="195"/>
                </a:lnTo>
                <a:lnTo>
                  <a:pt x="31" y="194"/>
                </a:lnTo>
                <a:lnTo>
                  <a:pt x="31" y="194"/>
                </a:lnTo>
                <a:lnTo>
                  <a:pt x="29" y="192"/>
                </a:lnTo>
                <a:lnTo>
                  <a:pt x="28" y="191"/>
                </a:lnTo>
                <a:lnTo>
                  <a:pt x="28" y="191"/>
                </a:lnTo>
                <a:lnTo>
                  <a:pt x="20" y="191"/>
                </a:lnTo>
                <a:lnTo>
                  <a:pt x="20" y="192"/>
                </a:lnTo>
                <a:close/>
                <a:moveTo>
                  <a:pt x="7" y="184"/>
                </a:moveTo>
                <a:lnTo>
                  <a:pt x="7" y="184"/>
                </a:lnTo>
                <a:lnTo>
                  <a:pt x="10" y="188"/>
                </a:lnTo>
                <a:lnTo>
                  <a:pt x="15" y="191"/>
                </a:lnTo>
                <a:lnTo>
                  <a:pt x="16" y="188"/>
                </a:lnTo>
                <a:lnTo>
                  <a:pt x="16" y="188"/>
                </a:lnTo>
                <a:lnTo>
                  <a:pt x="13" y="185"/>
                </a:lnTo>
                <a:lnTo>
                  <a:pt x="10" y="182"/>
                </a:lnTo>
                <a:lnTo>
                  <a:pt x="7" y="184"/>
                </a:lnTo>
                <a:close/>
                <a:moveTo>
                  <a:pt x="0" y="169"/>
                </a:moveTo>
                <a:lnTo>
                  <a:pt x="0" y="169"/>
                </a:lnTo>
                <a:lnTo>
                  <a:pt x="0" y="173"/>
                </a:lnTo>
                <a:lnTo>
                  <a:pt x="3" y="176"/>
                </a:lnTo>
                <a:lnTo>
                  <a:pt x="3" y="176"/>
                </a:lnTo>
                <a:lnTo>
                  <a:pt x="5" y="179"/>
                </a:lnTo>
                <a:lnTo>
                  <a:pt x="7" y="178"/>
                </a:lnTo>
                <a:lnTo>
                  <a:pt x="7" y="178"/>
                </a:lnTo>
                <a:lnTo>
                  <a:pt x="5" y="173"/>
                </a:lnTo>
                <a:lnTo>
                  <a:pt x="5" y="173"/>
                </a:lnTo>
                <a:lnTo>
                  <a:pt x="3" y="169"/>
                </a:lnTo>
                <a:lnTo>
                  <a:pt x="0" y="169"/>
                </a:lnTo>
                <a:close/>
                <a:moveTo>
                  <a:pt x="2" y="155"/>
                </a:moveTo>
                <a:lnTo>
                  <a:pt x="2" y="155"/>
                </a:lnTo>
                <a:lnTo>
                  <a:pt x="0" y="165"/>
                </a:lnTo>
                <a:lnTo>
                  <a:pt x="2" y="165"/>
                </a:lnTo>
                <a:lnTo>
                  <a:pt x="2" y="165"/>
                </a:lnTo>
                <a:lnTo>
                  <a:pt x="5" y="155"/>
                </a:lnTo>
                <a:lnTo>
                  <a:pt x="2" y="155"/>
                </a:lnTo>
                <a:close/>
                <a:moveTo>
                  <a:pt x="9" y="140"/>
                </a:moveTo>
                <a:lnTo>
                  <a:pt x="9" y="140"/>
                </a:lnTo>
                <a:lnTo>
                  <a:pt x="3" y="149"/>
                </a:lnTo>
                <a:lnTo>
                  <a:pt x="3" y="149"/>
                </a:lnTo>
                <a:lnTo>
                  <a:pt x="6" y="150"/>
                </a:lnTo>
                <a:lnTo>
                  <a:pt x="6" y="149"/>
                </a:lnTo>
                <a:lnTo>
                  <a:pt x="6" y="149"/>
                </a:lnTo>
                <a:lnTo>
                  <a:pt x="10" y="142"/>
                </a:lnTo>
                <a:lnTo>
                  <a:pt x="9" y="140"/>
                </a:lnTo>
                <a:close/>
                <a:moveTo>
                  <a:pt x="18" y="127"/>
                </a:moveTo>
                <a:lnTo>
                  <a:pt x="18" y="127"/>
                </a:lnTo>
                <a:lnTo>
                  <a:pt x="12" y="136"/>
                </a:lnTo>
                <a:lnTo>
                  <a:pt x="13" y="137"/>
                </a:lnTo>
                <a:lnTo>
                  <a:pt x="13" y="137"/>
                </a:lnTo>
                <a:lnTo>
                  <a:pt x="19" y="128"/>
                </a:lnTo>
                <a:lnTo>
                  <a:pt x="18" y="127"/>
                </a:lnTo>
                <a:close/>
                <a:moveTo>
                  <a:pt x="20" y="114"/>
                </a:moveTo>
                <a:lnTo>
                  <a:pt x="20" y="114"/>
                </a:lnTo>
                <a:lnTo>
                  <a:pt x="19" y="124"/>
                </a:lnTo>
                <a:lnTo>
                  <a:pt x="22" y="124"/>
                </a:lnTo>
                <a:lnTo>
                  <a:pt x="22" y="124"/>
                </a:lnTo>
                <a:lnTo>
                  <a:pt x="23" y="114"/>
                </a:lnTo>
                <a:lnTo>
                  <a:pt x="20" y="114"/>
                </a:lnTo>
                <a:close/>
                <a:moveTo>
                  <a:pt x="34" y="105"/>
                </a:moveTo>
                <a:lnTo>
                  <a:pt x="34" y="105"/>
                </a:lnTo>
                <a:lnTo>
                  <a:pt x="28" y="105"/>
                </a:lnTo>
                <a:lnTo>
                  <a:pt x="23" y="108"/>
                </a:lnTo>
                <a:lnTo>
                  <a:pt x="23" y="108"/>
                </a:lnTo>
                <a:lnTo>
                  <a:pt x="25" y="110"/>
                </a:lnTo>
                <a:lnTo>
                  <a:pt x="26" y="110"/>
                </a:lnTo>
                <a:lnTo>
                  <a:pt x="26" y="110"/>
                </a:lnTo>
                <a:lnTo>
                  <a:pt x="29" y="108"/>
                </a:lnTo>
                <a:lnTo>
                  <a:pt x="34" y="108"/>
                </a:lnTo>
                <a:lnTo>
                  <a:pt x="34" y="105"/>
                </a:lnTo>
                <a:close/>
                <a:moveTo>
                  <a:pt x="49" y="105"/>
                </a:moveTo>
                <a:lnTo>
                  <a:pt x="49" y="105"/>
                </a:lnTo>
                <a:lnTo>
                  <a:pt x="39" y="105"/>
                </a:lnTo>
                <a:lnTo>
                  <a:pt x="39" y="107"/>
                </a:lnTo>
                <a:lnTo>
                  <a:pt x="39" y="107"/>
                </a:lnTo>
                <a:lnTo>
                  <a:pt x="49" y="107"/>
                </a:lnTo>
                <a:lnTo>
                  <a:pt x="49" y="105"/>
                </a:lnTo>
                <a:close/>
                <a:moveTo>
                  <a:pt x="60" y="98"/>
                </a:moveTo>
                <a:lnTo>
                  <a:pt x="60" y="98"/>
                </a:lnTo>
                <a:lnTo>
                  <a:pt x="57" y="102"/>
                </a:lnTo>
                <a:lnTo>
                  <a:pt x="54" y="104"/>
                </a:lnTo>
                <a:lnTo>
                  <a:pt x="54" y="107"/>
                </a:lnTo>
                <a:lnTo>
                  <a:pt x="54" y="107"/>
                </a:lnTo>
                <a:lnTo>
                  <a:pt x="57" y="105"/>
                </a:lnTo>
                <a:lnTo>
                  <a:pt x="58" y="104"/>
                </a:lnTo>
                <a:lnTo>
                  <a:pt x="62" y="100"/>
                </a:lnTo>
                <a:lnTo>
                  <a:pt x="60" y="98"/>
                </a:lnTo>
                <a:close/>
                <a:moveTo>
                  <a:pt x="65" y="84"/>
                </a:moveTo>
                <a:lnTo>
                  <a:pt x="65" y="84"/>
                </a:lnTo>
                <a:lnTo>
                  <a:pt x="61" y="94"/>
                </a:lnTo>
                <a:lnTo>
                  <a:pt x="64" y="94"/>
                </a:lnTo>
                <a:lnTo>
                  <a:pt x="64" y="94"/>
                </a:lnTo>
                <a:lnTo>
                  <a:pt x="67" y="85"/>
                </a:lnTo>
                <a:lnTo>
                  <a:pt x="65" y="84"/>
                </a:lnTo>
                <a:close/>
                <a:moveTo>
                  <a:pt x="81" y="82"/>
                </a:moveTo>
                <a:lnTo>
                  <a:pt x="81" y="82"/>
                </a:lnTo>
                <a:lnTo>
                  <a:pt x="73" y="81"/>
                </a:lnTo>
                <a:lnTo>
                  <a:pt x="73" y="81"/>
                </a:lnTo>
                <a:lnTo>
                  <a:pt x="71" y="81"/>
                </a:lnTo>
                <a:lnTo>
                  <a:pt x="71" y="84"/>
                </a:lnTo>
                <a:lnTo>
                  <a:pt x="73" y="84"/>
                </a:lnTo>
                <a:lnTo>
                  <a:pt x="73" y="84"/>
                </a:lnTo>
                <a:lnTo>
                  <a:pt x="81" y="84"/>
                </a:lnTo>
                <a:lnTo>
                  <a:pt x="81" y="82"/>
                </a:lnTo>
                <a:close/>
                <a:moveTo>
                  <a:pt x="94" y="81"/>
                </a:moveTo>
                <a:lnTo>
                  <a:pt x="94" y="81"/>
                </a:lnTo>
                <a:lnTo>
                  <a:pt x="91" y="82"/>
                </a:lnTo>
                <a:lnTo>
                  <a:pt x="89" y="82"/>
                </a:lnTo>
                <a:lnTo>
                  <a:pt x="89" y="82"/>
                </a:lnTo>
                <a:lnTo>
                  <a:pt x="89" y="82"/>
                </a:lnTo>
                <a:lnTo>
                  <a:pt x="86" y="82"/>
                </a:lnTo>
                <a:lnTo>
                  <a:pt x="86" y="85"/>
                </a:lnTo>
                <a:lnTo>
                  <a:pt x="86" y="85"/>
                </a:lnTo>
                <a:lnTo>
                  <a:pt x="89" y="85"/>
                </a:lnTo>
                <a:lnTo>
                  <a:pt x="89" y="85"/>
                </a:lnTo>
                <a:lnTo>
                  <a:pt x="89" y="85"/>
                </a:lnTo>
                <a:lnTo>
                  <a:pt x="93" y="84"/>
                </a:lnTo>
                <a:lnTo>
                  <a:pt x="96" y="82"/>
                </a:lnTo>
                <a:lnTo>
                  <a:pt x="94" y="81"/>
                </a:lnTo>
                <a:close/>
                <a:moveTo>
                  <a:pt x="107" y="84"/>
                </a:moveTo>
                <a:lnTo>
                  <a:pt x="107" y="84"/>
                </a:lnTo>
                <a:lnTo>
                  <a:pt x="104" y="79"/>
                </a:lnTo>
                <a:lnTo>
                  <a:pt x="104" y="79"/>
                </a:lnTo>
                <a:lnTo>
                  <a:pt x="103" y="78"/>
                </a:lnTo>
                <a:lnTo>
                  <a:pt x="103" y="78"/>
                </a:lnTo>
                <a:lnTo>
                  <a:pt x="102" y="76"/>
                </a:lnTo>
                <a:lnTo>
                  <a:pt x="102" y="76"/>
                </a:lnTo>
                <a:lnTo>
                  <a:pt x="99" y="78"/>
                </a:lnTo>
                <a:lnTo>
                  <a:pt x="100" y="79"/>
                </a:lnTo>
                <a:lnTo>
                  <a:pt x="102" y="79"/>
                </a:lnTo>
                <a:lnTo>
                  <a:pt x="102" y="79"/>
                </a:lnTo>
                <a:lnTo>
                  <a:pt x="102" y="79"/>
                </a:lnTo>
                <a:lnTo>
                  <a:pt x="103" y="81"/>
                </a:lnTo>
                <a:lnTo>
                  <a:pt x="103" y="81"/>
                </a:lnTo>
                <a:lnTo>
                  <a:pt x="106" y="85"/>
                </a:lnTo>
                <a:lnTo>
                  <a:pt x="107" y="84"/>
                </a:lnTo>
                <a:close/>
                <a:moveTo>
                  <a:pt x="116" y="97"/>
                </a:moveTo>
                <a:lnTo>
                  <a:pt x="116" y="97"/>
                </a:lnTo>
                <a:lnTo>
                  <a:pt x="110" y="88"/>
                </a:lnTo>
                <a:lnTo>
                  <a:pt x="109" y="89"/>
                </a:lnTo>
                <a:lnTo>
                  <a:pt x="109" y="89"/>
                </a:lnTo>
                <a:lnTo>
                  <a:pt x="115" y="98"/>
                </a:lnTo>
                <a:lnTo>
                  <a:pt x="116" y="97"/>
                </a:lnTo>
                <a:close/>
                <a:moveTo>
                  <a:pt x="128" y="105"/>
                </a:moveTo>
                <a:lnTo>
                  <a:pt x="128" y="105"/>
                </a:lnTo>
                <a:lnTo>
                  <a:pt x="123" y="104"/>
                </a:lnTo>
                <a:lnTo>
                  <a:pt x="119" y="100"/>
                </a:lnTo>
                <a:lnTo>
                  <a:pt x="118" y="102"/>
                </a:lnTo>
                <a:lnTo>
                  <a:pt x="118" y="102"/>
                </a:lnTo>
                <a:lnTo>
                  <a:pt x="122" y="105"/>
                </a:lnTo>
                <a:lnTo>
                  <a:pt x="126" y="108"/>
                </a:lnTo>
                <a:lnTo>
                  <a:pt x="128" y="105"/>
                </a:lnTo>
                <a:close/>
                <a:moveTo>
                  <a:pt x="136" y="100"/>
                </a:moveTo>
                <a:lnTo>
                  <a:pt x="136" y="100"/>
                </a:lnTo>
                <a:lnTo>
                  <a:pt x="135" y="102"/>
                </a:lnTo>
                <a:lnTo>
                  <a:pt x="135" y="102"/>
                </a:lnTo>
                <a:lnTo>
                  <a:pt x="131" y="105"/>
                </a:lnTo>
                <a:lnTo>
                  <a:pt x="132" y="108"/>
                </a:lnTo>
                <a:lnTo>
                  <a:pt x="132" y="108"/>
                </a:lnTo>
                <a:lnTo>
                  <a:pt x="135" y="107"/>
                </a:lnTo>
                <a:lnTo>
                  <a:pt x="136" y="104"/>
                </a:lnTo>
                <a:lnTo>
                  <a:pt x="136" y="104"/>
                </a:lnTo>
                <a:lnTo>
                  <a:pt x="139" y="100"/>
                </a:lnTo>
                <a:lnTo>
                  <a:pt x="136" y="100"/>
                </a:lnTo>
                <a:close/>
                <a:moveTo>
                  <a:pt x="145" y="86"/>
                </a:moveTo>
                <a:lnTo>
                  <a:pt x="144" y="86"/>
                </a:lnTo>
                <a:lnTo>
                  <a:pt x="144" y="86"/>
                </a:lnTo>
                <a:lnTo>
                  <a:pt x="141" y="88"/>
                </a:lnTo>
                <a:lnTo>
                  <a:pt x="139" y="89"/>
                </a:lnTo>
                <a:lnTo>
                  <a:pt x="139" y="89"/>
                </a:lnTo>
                <a:lnTo>
                  <a:pt x="138" y="91"/>
                </a:lnTo>
                <a:lnTo>
                  <a:pt x="136" y="94"/>
                </a:lnTo>
                <a:lnTo>
                  <a:pt x="136" y="94"/>
                </a:lnTo>
                <a:lnTo>
                  <a:pt x="139" y="94"/>
                </a:lnTo>
                <a:lnTo>
                  <a:pt x="139" y="94"/>
                </a:lnTo>
                <a:lnTo>
                  <a:pt x="139" y="94"/>
                </a:lnTo>
                <a:lnTo>
                  <a:pt x="141" y="91"/>
                </a:lnTo>
                <a:lnTo>
                  <a:pt x="141" y="91"/>
                </a:lnTo>
                <a:lnTo>
                  <a:pt x="144" y="89"/>
                </a:lnTo>
                <a:lnTo>
                  <a:pt x="145" y="89"/>
                </a:lnTo>
                <a:lnTo>
                  <a:pt x="145" y="86"/>
                </a:lnTo>
                <a:close/>
                <a:moveTo>
                  <a:pt x="160" y="94"/>
                </a:moveTo>
                <a:lnTo>
                  <a:pt x="160" y="94"/>
                </a:lnTo>
                <a:lnTo>
                  <a:pt x="151" y="89"/>
                </a:lnTo>
                <a:lnTo>
                  <a:pt x="149" y="88"/>
                </a:lnTo>
                <a:lnTo>
                  <a:pt x="149" y="91"/>
                </a:lnTo>
                <a:lnTo>
                  <a:pt x="149" y="91"/>
                </a:lnTo>
                <a:lnTo>
                  <a:pt x="149" y="91"/>
                </a:lnTo>
                <a:lnTo>
                  <a:pt x="158" y="95"/>
                </a:lnTo>
                <a:lnTo>
                  <a:pt x="160" y="94"/>
                </a:lnTo>
                <a:close/>
                <a:moveTo>
                  <a:pt x="173" y="100"/>
                </a:moveTo>
                <a:lnTo>
                  <a:pt x="173" y="100"/>
                </a:lnTo>
                <a:lnTo>
                  <a:pt x="164" y="95"/>
                </a:lnTo>
                <a:lnTo>
                  <a:pt x="162" y="98"/>
                </a:lnTo>
                <a:lnTo>
                  <a:pt x="162" y="98"/>
                </a:lnTo>
                <a:lnTo>
                  <a:pt x="171" y="102"/>
                </a:lnTo>
                <a:lnTo>
                  <a:pt x="173" y="100"/>
                </a:lnTo>
                <a:close/>
                <a:moveTo>
                  <a:pt x="186" y="101"/>
                </a:moveTo>
                <a:lnTo>
                  <a:pt x="186" y="101"/>
                </a:lnTo>
                <a:lnTo>
                  <a:pt x="181" y="104"/>
                </a:lnTo>
                <a:lnTo>
                  <a:pt x="180" y="102"/>
                </a:lnTo>
                <a:lnTo>
                  <a:pt x="180" y="102"/>
                </a:lnTo>
                <a:lnTo>
                  <a:pt x="177" y="102"/>
                </a:lnTo>
                <a:lnTo>
                  <a:pt x="175" y="104"/>
                </a:lnTo>
                <a:lnTo>
                  <a:pt x="175" y="104"/>
                </a:lnTo>
                <a:lnTo>
                  <a:pt x="180" y="105"/>
                </a:lnTo>
                <a:lnTo>
                  <a:pt x="180" y="105"/>
                </a:lnTo>
                <a:lnTo>
                  <a:pt x="181" y="105"/>
                </a:lnTo>
                <a:lnTo>
                  <a:pt x="181" y="105"/>
                </a:lnTo>
                <a:lnTo>
                  <a:pt x="184" y="105"/>
                </a:lnTo>
                <a:lnTo>
                  <a:pt x="187" y="104"/>
                </a:lnTo>
                <a:lnTo>
                  <a:pt x="186" y="101"/>
                </a:lnTo>
                <a:close/>
                <a:moveTo>
                  <a:pt x="200" y="100"/>
                </a:moveTo>
                <a:lnTo>
                  <a:pt x="200" y="100"/>
                </a:lnTo>
                <a:lnTo>
                  <a:pt x="193" y="98"/>
                </a:lnTo>
                <a:lnTo>
                  <a:pt x="193" y="98"/>
                </a:lnTo>
                <a:lnTo>
                  <a:pt x="193" y="98"/>
                </a:lnTo>
                <a:lnTo>
                  <a:pt x="190" y="100"/>
                </a:lnTo>
                <a:lnTo>
                  <a:pt x="191" y="101"/>
                </a:lnTo>
                <a:lnTo>
                  <a:pt x="191" y="101"/>
                </a:lnTo>
                <a:lnTo>
                  <a:pt x="193" y="100"/>
                </a:lnTo>
                <a:lnTo>
                  <a:pt x="193" y="100"/>
                </a:lnTo>
                <a:lnTo>
                  <a:pt x="193" y="100"/>
                </a:lnTo>
                <a:lnTo>
                  <a:pt x="200" y="101"/>
                </a:lnTo>
                <a:lnTo>
                  <a:pt x="200" y="100"/>
                </a:lnTo>
                <a:close/>
                <a:moveTo>
                  <a:pt x="215" y="101"/>
                </a:moveTo>
                <a:lnTo>
                  <a:pt x="215" y="101"/>
                </a:lnTo>
                <a:lnTo>
                  <a:pt x="213" y="101"/>
                </a:lnTo>
                <a:lnTo>
                  <a:pt x="213" y="101"/>
                </a:lnTo>
                <a:lnTo>
                  <a:pt x="206" y="100"/>
                </a:lnTo>
                <a:lnTo>
                  <a:pt x="204" y="102"/>
                </a:lnTo>
                <a:lnTo>
                  <a:pt x="204" y="102"/>
                </a:lnTo>
                <a:lnTo>
                  <a:pt x="213" y="104"/>
                </a:lnTo>
                <a:lnTo>
                  <a:pt x="213" y="104"/>
                </a:lnTo>
                <a:lnTo>
                  <a:pt x="215" y="104"/>
                </a:lnTo>
                <a:lnTo>
                  <a:pt x="216" y="104"/>
                </a:lnTo>
                <a:lnTo>
                  <a:pt x="215" y="101"/>
                </a:lnTo>
                <a:close/>
                <a:moveTo>
                  <a:pt x="212" y="91"/>
                </a:moveTo>
                <a:lnTo>
                  <a:pt x="213" y="91"/>
                </a:lnTo>
                <a:lnTo>
                  <a:pt x="213" y="91"/>
                </a:lnTo>
                <a:lnTo>
                  <a:pt x="215" y="94"/>
                </a:lnTo>
                <a:lnTo>
                  <a:pt x="216" y="98"/>
                </a:lnTo>
                <a:lnTo>
                  <a:pt x="216" y="98"/>
                </a:lnTo>
                <a:lnTo>
                  <a:pt x="219" y="98"/>
                </a:lnTo>
                <a:lnTo>
                  <a:pt x="219" y="98"/>
                </a:lnTo>
                <a:lnTo>
                  <a:pt x="219" y="98"/>
                </a:lnTo>
                <a:lnTo>
                  <a:pt x="217" y="94"/>
                </a:lnTo>
                <a:lnTo>
                  <a:pt x="215" y="89"/>
                </a:lnTo>
                <a:lnTo>
                  <a:pt x="213" y="88"/>
                </a:lnTo>
                <a:lnTo>
                  <a:pt x="212" y="91"/>
                </a:lnTo>
                <a:close/>
                <a:moveTo>
                  <a:pt x="217" y="76"/>
                </a:moveTo>
                <a:lnTo>
                  <a:pt x="217" y="76"/>
                </a:lnTo>
                <a:lnTo>
                  <a:pt x="217" y="76"/>
                </a:lnTo>
                <a:lnTo>
                  <a:pt x="213" y="81"/>
                </a:lnTo>
                <a:lnTo>
                  <a:pt x="210" y="85"/>
                </a:lnTo>
                <a:lnTo>
                  <a:pt x="213" y="85"/>
                </a:lnTo>
                <a:lnTo>
                  <a:pt x="213" y="85"/>
                </a:lnTo>
                <a:lnTo>
                  <a:pt x="215" y="82"/>
                </a:lnTo>
                <a:lnTo>
                  <a:pt x="219" y="79"/>
                </a:lnTo>
                <a:lnTo>
                  <a:pt x="219" y="79"/>
                </a:lnTo>
                <a:lnTo>
                  <a:pt x="217" y="76"/>
                </a:lnTo>
                <a:close/>
                <a:moveTo>
                  <a:pt x="229" y="68"/>
                </a:moveTo>
                <a:lnTo>
                  <a:pt x="229" y="68"/>
                </a:lnTo>
                <a:lnTo>
                  <a:pt x="222" y="75"/>
                </a:lnTo>
                <a:lnTo>
                  <a:pt x="223" y="76"/>
                </a:lnTo>
                <a:lnTo>
                  <a:pt x="223" y="76"/>
                </a:lnTo>
                <a:lnTo>
                  <a:pt x="232" y="71"/>
                </a:lnTo>
                <a:lnTo>
                  <a:pt x="229" y="68"/>
                </a:lnTo>
                <a:close/>
                <a:moveTo>
                  <a:pt x="238" y="56"/>
                </a:moveTo>
                <a:lnTo>
                  <a:pt x="238" y="56"/>
                </a:lnTo>
                <a:lnTo>
                  <a:pt x="236" y="60"/>
                </a:lnTo>
                <a:lnTo>
                  <a:pt x="236" y="60"/>
                </a:lnTo>
                <a:lnTo>
                  <a:pt x="233" y="65"/>
                </a:lnTo>
                <a:lnTo>
                  <a:pt x="235" y="66"/>
                </a:lnTo>
                <a:lnTo>
                  <a:pt x="235" y="66"/>
                </a:lnTo>
                <a:lnTo>
                  <a:pt x="238" y="62"/>
                </a:lnTo>
                <a:lnTo>
                  <a:pt x="238" y="62"/>
                </a:lnTo>
                <a:lnTo>
                  <a:pt x="241" y="57"/>
                </a:lnTo>
                <a:lnTo>
                  <a:pt x="238" y="56"/>
                </a:lnTo>
                <a:close/>
                <a:moveTo>
                  <a:pt x="244" y="42"/>
                </a:moveTo>
                <a:lnTo>
                  <a:pt x="244" y="42"/>
                </a:lnTo>
                <a:lnTo>
                  <a:pt x="239" y="52"/>
                </a:lnTo>
                <a:lnTo>
                  <a:pt x="242" y="52"/>
                </a:lnTo>
                <a:lnTo>
                  <a:pt x="242" y="52"/>
                </a:lnTo>
                <a:lnTo>
                  <a:pt x="245" y="43"/>
                </a:lnTo>
                <a:lnTo>
                  <a:pt x="244" y="42"/>
                </a:lnTo>
                <a:close/>
                <a:moveTo>
                  <a:pt x="252" y="29"/>
                </a:moveTo>
                <a:lnTo>
                  <a:pt x="252" y="29"/>
                </a:lnTo>
                <a:lnTo>
                  <a:pt x="248" y="33"/>
                </a:lnTo>
                <a:lnTo>
                  <a:pt x="248" y="33"/>
                </a:lnTo>
                <a:lnTo>
                  <a:pt x="245" y="37"/>
                </a:lnTo>
                <a:lnTo>
                  <a:pt x="246" y="39"/>
                </a:lnTo>
                <a:lnTo>
                  <a:pt x="246" y="39"/>
                </a:lnTo>
                <a:lnTo>
                  <a:pt x="249" y="34"/>
                </a:lnTo>
                <a:lnTo>
                  <a:pt x="249" y="34"/>
                </a:lnTo>
                <a:lnTo>
                  <a:pt x="254" y="31"/>
                </a:lnTo>
                <a:lnTo>
                  <a:pt x="252" y="29"/>
                </a:lnTo>
                <a:close/>
                <a:moveTo>
                  <a:pt x="267" y="23"/>
                </a:moveTo>
                <a:lnTo>
                  <a:pt x="267" y="23"/>
                </a:lnTo>
                <a:lnTo>
                  <a:pt x="257" y="27"/>
                </a:lnTo>
                <a:lnTo>
                  <a:pt x="258" y="29"/>
                </a:lnTo>
                <a:lnTo>
                  <a:pt x="258" y="29"/>
                </a:lnTo>
                <a:lnTo>
                  <a:pt x="267" y="26"/>
                </a:lnTo>
                <a:lnTo>
                  <a:pt x="267" y="23"/>
                </a:lnTo>
                <a:close/>
                <a:moveTo>
                  <a:pt x="281" y="20"/>
                </a:moveTo>
                <a:lnTo>
                  <a:pt x="281" y="20"/>
                </a:lnTo>
                <a:lnTo>
                  <a:pt x="271" y="23"/>
                </a:lnTo>
                <a:lnTo>
                  <a:pt x="272" y="24"/>
                </a:lnTo>
                <a:lnTo>
                  <a:pt x="272" y="24"/>
                </a:lnTo>
                <a:lnTo>
                  <a:pt x="283" y="23"/>
                </a:lnTo>
                <a:lnTo>
                  <a:pt x="281" y="20"/>
                </a:lnTo>
                <a:close/>
                <a:moveTo>
                  <a:pt x="294" y="14"/>
                </a:moveTo>
                <a:lnTo>
                  <a:pt x="294" y="14"/>
                </a:lnTo>
                <a:lnTo>
                  <a:pt x="291" y="15"/>
                </a:lnTo>
                <a:lnTo>
                  <a:pt x="291" y="15"/>
                </a:lnTo>
                <a:lnTo>
                  <a:pt x="288" y="17"/>
                </a:lnTo>
                <a:lnTo>
                  <a:pt x="288" y="17"/>
                </a:lnTo>
                <a:lnTo>
                  <a:pt x="287" y="18"/>
                </a:lnTo>
                <a:lnTo>
                  <a:pt x="287" y="18"/>
                </a:lnTo>
                <a:lnTo>
                  <a:pt x="287" y="20"/>
                </a:lnTo>
                <a:lnTo>
                  <a:pt x="287" y="21"/>
                </a:lnTo>
                <a:lnTo>
                  <a:pt x="287" y="21"/>
                </a:lnTo>
                <a:lnTo>
                  <a:pt x="288" y="20"/>
                </a:lnTo>
                <a:lnTo>
                  <a:pt x="288" y="20"/>
                </a:lnTo>
                <a:lnTo>
                  <a:pt x="290" y="18"/>
                </a:lnTo>
                <a:lnTo>
                  <a:pt x="290" y="18"/>
                </a:lnTo>
                <a:lnTo>
                  <a:pt x="291" y="17"/>
                </a:lnTo>
                <a:lnTo>
                  <a:pt x="291" y="17"/>
                </a:lnTo>
                <a:lnTo>
                  <a:pt x="294" y="17"/>
                </a:lnTo>
                <a:lnTo>
                  <a:pt x="294" y="14"/>
                </a:lnTo>
                <a:close/>
                <a:moveTo>
                  <a:pt x="310" y="14"/>
                </a:moveTo>
                <a:lnTo>
                  <a:pt x="310" y="14"/>
                </a:lnTo>
                <a:lnTo>
                  <a:pt x="306" y="14"/>
                </a:lnTo>
                <a:lnTo>
                  <a:pt x="306" y="14"/>
                </a:lnTo>
                <a:lnTo>
                  <a:pt x="300" y="14"/>
                </a:lnTo>
                <a:lnTo>
                  <a:pt x="300" y="17"/>
                </a:lnTo>
                <a:lnTo>
                  <a:pt x="300" y="17"/>
                </a:lnTo>
                <a:lnTo>
                  <a:pt x="306" y="17"/>
                </a:lnTo>
                <a:lnTo>
                  <a:pt x="306" y="17"/>
                </a:lnTo>
                <a:lnTo>
                  <a:pt x="310" y="17"/>
                </a:lnTo>
                <a:lnTo>
                  <a:pt x="310" y="14"/>
                </a:lnTo>
                <a:close/>
                <a:moveTo>
                  <a:pt x="325" y="10"/>
                </a:moveTo>
                <a:lnTo>
                  <a:pt x="325" y="10"/>
                </a:lnTo>
                <a:lnTo>
                  <a:pt x="314" y="13"/>
                </a:lnTo>
                <a:lnTo>
                  <a:pt x="314" y="15"/>
                </a:lnTo>
                <a:lnTo>
                  <a:pt x="314" y="15"/>
                </a:lnTo>
                <a:lnTo>
                  <a:pt x="325" y="13"/>
                </a:lnTo>
                <a:lnTo>
                  <a:pt x="325" y="10"/>
                </a:lnTo>
                <a:close/>
                <a:moveTo>
                  <a:pt x="338" y="5"/>
                </a:moveTo>
                <a:lnTo>
                  <a:pt x="338" y="5"/>
                </a:lnTo>
                <a:lnTo>
                  <a:pt x="329" y="8"/>
                </a:lnTo>
                <a:lnTo>
                  <a:pt x="329" y="11"/>
                </a:lnTo>
                <a:lnTo>
                  <a:pt x="329" y="11"/>
                </a:lnTo>
                <a:lnTo>
                  <a:pt x="339" y="7"/>
                </a:lnTo>
                <a:lnTo>
                  <a:pt x="338" y="5"/>
                </a:lnTo>
                <a:close/>
                <a:moveTo>
                  <a:pt x="352" y="0"/>
                </a:moveTo>
                <a:lnTo>
                  <a:pt x="352" y="0"/>
                </a:lnTo>
                <a:lnTo>
                  <a:pt x="343" y="2"/>
                </a:lnTo>
                <a:lnTo>
                  <a:pt x="343" y="5"/>
                </a:lnTo>
                <a:lnTo>
                  <a:pt x="343" y="5"/>
                </a:lnTo>
                <a:lnTo>
                  <a:pt x="354" y="1"/>
                </a:lnTo>
                <a:lnTo>
                  <a:pt x="352" y="0"/>
                </a:lnTo>
                <a:close/>
                <a:moveTo>
                  <a:pt x="368" y="2"/>
                </a:moveTo>
                <a:lnTo>
                  <a:pt x="368" y="2"/>
                </a:lnTo>
                <a:lnTo>
                  <a:pt x="358" y="0"/>
                </a:lnTo>
                <a:lnTo>
                  <a:pt x="358" y="2"/>
                </a:lnTo>
                <a:lnTo>
                  <a:pt x="358" y="2"/>
                </a:lnTo>
                <a:lnTo>
                  <a:pt x="367" y="5"/>
                </a:lnTo>
                <a:lnTo>
                  <a:pt x="368" y="2"/>
                </a:lnTo>
                <a:close/>
                <a:moveTo>
                  <a:pt x="383" y="1"/>
                </a:moveTo>
                <a:lnTo>
                  <a:pt x="383" y="1"/>
                </a:lnTo>
                <a:lnTo>
                  <a:pt x="378" y="2"/>
                </a:lnTo>
                <a:lnTo>
                  <a:pt x="374" y="2"/>
                </a:lnTo>
                <a:lnTo>
                  <a:pt x="372" y="2"/>
                </a:lnTo>
                <a:lnTo>
                  <a:pt x="372" y="5"/>
                </a:lnTo>
                <a:lnTo>
                  <a:pt x="374" y="5"/>
                </a:lnTo>
                <a:lnTo>
                  <a:pt x="374" y="5"/>
                </a:lnTo>
                <a:lnTo>
                  <a:pt x="378" y="5"/>
                </a:lnTo>
                <a:lnTo>
                  <a:pt x="383" y="4"/>
                </a:lnTo>
                <a:lnTo>
                  <a:pt x="383" y="1"/>
                </a:lnTo>
                <a:close/>
                <a:moveTo>
                  <a:pt x="387" y="14"/>
                </a:moveTo>
                <a:lnTo>
                  <a:pt x="387" y="14"/>
                </a:lnTo>
                <a:lnTo>
                  <a:pt x="388" y="5"/>
                </a:lnTo>
                <a:lnTo>
                  <a:pt x="388" y="5"/>
                </a:lnTo>
                <a:lnTo>
                  <a:pt x="388" y="4"/>
                </a:lnTo>
                <a:lnTo>
                  <a:pt x="385" y="4"/>
                </a:lnTo>
                <a:lnTo>
                  <a:pt x="385" y="4"/>
                </a:lnTo>
                <a:lnTo>
                  <a:pt x="385" y="5"/>
                </a:lnTo>
                <a:lnTo>
                  <a:pt x="385" y="5"/>
                </a:lnTo>
                <a:lnTo>
                  <a:pt x="384" y="14"/>
                </a:lnTo>
                <a:lnTo>
                  <a:pt x="387" y="14"/>
                </a:lnTo>
                <a:close/>
                <a:moveTo>
                  <a:pt x="391" y="24"/>
                </a:moveTo>
                <a:lnTo>
                  <a:pt x="391" y="24"/>
                </a:lnTo>
                <a:lnTo>
                  <a:pt x="388" y="24"/>
                </a:lnTo>
                <a:lnTo>
                  <a:pt x="388" y="24"/>
                </a:lnTo>
                <a:lnTo>
                  <a:pt x="387" y="23"/>
                </a:lnTo>
                <a:lnTo>
                  <a:pt x="387" y="23"/>
                </a:lnTo>
                <a:lnTo>
                  <a:pt x="387" y="20"/>
                </a:lnTo>
                <a:lnTo>
                  <a:pt x="387" y="18"/>
                </a:lnTo>
                <a:lnTo>
                  <a:pt x="384" y="18"/>
                </a:lnTo>
                <a:lnTo>
                  <a:pt x="384" y="18"/>
                </a:lnTo>
                <a:lnTo>
                  <a:pt x="384" y="20"/>
                </a:lnTo>
                <a:lnTo>
                  <a:pt x="384" y="20"/>
                </a:lnTo>
                <a:lnTo>
                  <a:pt x="384" y="24"/>
                </a:lnTo>
                <a:lnTo>
                  <a:pt x="384" y="24"/>
                </a:lnTo>
                <a:lnTo>
                  <a:pt x="387" y="26"/>
                </a:lnTo>
                <a:lnTo>
                  <a:pt x="387" y="26"/>
                </a:lnTo>
                <a:lnTo>
                  <a:pt x="390" y="27"/>
                </a:lnTo>
                <a:lnTo>
                  <a:pt x="391" y="24"/>
                </a:lnTo>
                <a:close/>
                <a:moveTo>
                  <a:pt x="406" y="26"/>
                </a:moveTo>
                <a:lnTo>
                  <a:pt x="406" y="26"/>
                </a:lnTo>
                <a:lnTo>
                  <a:pt x="396" y="26"/>
                </a:lnTo>
                <a:lnTo>
                  <a:pt x="396" y="27"/>
                </a:lnTo>
                <a:lnTo>
                  <a:pt x="396" y="27"/>
                </a:lnTo>
                <a:lnTo>
                  <a:pt x="406" y="29"/>
                </a:lnTo>
                <a:lnTo>
                  <a:pt x="406" y="26"/>
                </a:lnTo>
                <a:close/>
                <a:moveTo>
                  <a:pt x="422" y="27"/>
                </a:moveTo>
                <a:lnTo>
                  <a:pt x="422" y="27"/>
                </a:lnTo>
                <a:lnTo>
                  <a:pt x="412" y="26"/>
                </a:lnTo>
                <a:lnTo>
                  <a:pt x="410" y="29"/>
                </a:lnTo>
                <a:lnTo>
                  <a:pt x="410" y="29"/>
                </a:lnTo>
                <a:lnTo>
                  <a:pt x="420" y="29"/>
                </a:lnTo>
                <a:lnTo>
                  <a:pt x="422" y="27"/>
                </a:lnTo>
                <a:close/>
                <a:moveTo>
                  <a:pt x="427" y="40"/>
                </a:moveTo>
                <a:lnTo>
                  <a:pt x="427" y="40"/>
                </a:lnTo>
                <a:lnTo>
                  <a:pt x="427" y="36"/>
                </a:lnTo>
                <a:lnTo>
                  <a:pt x="427" y="36"/>
                </a:lnTo>
                <a:lnTo>
                  <a:pt x="427" y="33"/>
                </a:lnTo>
                <a:lnTo>
                  <a:pt x="426" y="30"/>
                </a:lnTo>
                <a:lnTo>
                  <a:pt x="425" y="31"/>
                </a:lnTo>
                <a:lnTo>
                  <a:pt x="425" y="31"/>
                </a:lnTo>
                <a:lnTo>
                  <a:pt x="426" y="36"/>
                </a:lnTo>
                <a:lnTo>
                  <a:pt x="426" y="36"/>
                </a:lnTo>
                <a:lnTo>
                  <a:pt x="425" y="40"/>
                </a:lnTo>
                <a:lnTo>
                  <a:pt x="427" y="40"/>
                </a:lnTo>
                <a:close/>
                <a:moveTo>
                  <a:pt x="430" y="53"/>
                </a:moveTo>
                <a:lnTo>
                  <a:pt x="430" y="53"/>
                </a:lnTo>
                <a:lnTo>
                  <a:pt x="427" y="49"/>
                </a:lnTo>
                <a:lnTo>
                  <a:pt x="426" y="44"/>
                </a:lnTo>
                <a:lnTo>
                  <a:pt x="423" y="46"/>
                </a:lnTo>
                <a:lnTo>
                  <a:pt x="423" y="46"/>
                </a:lnTo>
                <a:lnTo>
                  <a:pt x="425" y="50"/>
                </a:lnTo>
                <a:lnTo>
                  <a:pt x="429" y="55"/>
                </a:lnTo>
                <a:lnTo>
                  <a:pt x="430" y="53"/>
                </a:lnTo>
                <a:close/>
                <a:moveTo>
                  <a:pt x="442" y="62"/>
                </a:moveTo>
                <a:lnTo>
                  <a:pt x="442" y="62"/>
                </a:lnTo>
                <a:lnTo>
                  <a:pt x="442" y="62"/>
                </a:lnTo>
                <a:lnTo>
                  <a:pt x="435" y="56"/>
                </a:lnTo>
                <a:lnTo>
                  <a:pt x="432" y="59"/>
                </a:lnTo>
                <a:lnTo>
                  <a:pt x="432" y="59"/>
                </a:lnTo>
                <a:lnTo>
                  <a:pt x="436" y="62"/>
                </a:lnTo>
                <a:lnTo>
                  <a:pt x="440" y="63"/>
                </a:lnTo>
                <a:lnTo>
                  <a:pt x="442" y="63"/>
                </a:lnTo>
                <a:lnTo>
                  <a:pt x="442" y="62"/>
                </a:lnTo>
                <a:close/>
                <a:moveTo>
                  <a:pt x="455" y="55"/>
                </a:moveTo>
                <a:lnTo>
                  <a:pt x="455" y="55"/>
                </a:lnTo>
                <a:lnTo>
                  <a:pt x="446" y="60"/>
                </a:lnTo>
                <a:lnTo>
                  <a:pt x="448" y="63"/>
                </a:lnTo>
                <a:lnTo>
                  <a:pt x="448" y="63"/>
                </a:lnTo>
                <a:lnTo>
                  <a:pt x="456" y="56"/>
                </a:lnTo>
                <a:lnTo>
                  <a:pt x="455" y="55"/>
                </a:lnTo>
                <a:close/>
                <a:moveTo>
                  <a:pt x="467" y="44"/>
                </a:moveTo>
                <a:lnTo>
                  <a:pt x="467" y="44"/>
                </a:lnTo>
                <a:lnTo>
                  <a:pt x="458" y="52"/>
                </a:lnTo>
                <a:lnTo>
                  <a:pt x="459" y="53"/>
                </a:lnTo>
                <a:lnTo>
                  <a:pt x="459" y="53"/>
                </a:lnTo>
                <a:lnTo>
                  <a:pt x="468" y="47"/>
                </a:lnTo>
                <a:lnTo>
                  <a:pt x="467" y="44"/>
                </a:lnTo>
                <a:close/>
                <a:moveTo>
                  <a:pt x="481" y="42"/>
                </a:moveTo>
                <a:lnTo>
                  <a:pt x="481" y="42"/>
                </a:lnTo>
                <a:lnTo>
                  <a:pt x="478" y="40"/>
                </a:lnTo>
                <a:lnTo>
                  <a:pt x="478" y="40"/>
                </a:lnTo>
                <a:lnTo>
                  <a:pt x="474" y="40"/>
                </a:lnTo>
                <a:lnTo>
                  <a:pt x="471" y="42"/>
                </a:lnTo>
                <a:lnTo>
                  <a:pt x="472" y="44"/>
                </a:lnTo>
                <a:lnTo>
                  <a:pt x="472" y="44"/>
                </a:lnTo>
                <a:lnTo>
                  <a:pt x="478" y="43"/>
                </a:lnTo>
                <a:lnTo>
                  <a:pt x="478" y="43"/>
                </a:lnTo>
                <a:lnTo>
                  <a:pt x="480" y="43"/>
                </a:lnTo>
                <a:lnTo>
                  <a:pt x="481" y="42"/>
                </a:lnTo>
                <a:close/>
                <a:moveTo>
                  <a:pt x="493" y="52"/>
                </a:moveTo>
                <a:lnTo>
                  <a:pt x="493" y="52"/>
                </a:lnTo>
                <a:lnTo>
                  <a:pt x="485" y="44"/>
                </a:lnTo>
                <a:lnTo>
                  <a:pt x="484" y="46"/>
                </a:lnTo>
                <a:lnTo>
                  <a:pt x="484" y="46"/>
                </a:lnTo>
                <a:lnTo>
                  <a:pt x="491" y="53"/>
                </a:lnTo>
                <a:lnTo>
                  <a:pt x="493" y="52"/>
                </a:lnTo>
                <a:close/>
                <a:moveTo>
                  <a:pt x="503" y="63"/>
                </a:moveTo>
                <a:lnTo>
                  <a:pt x="503" y="63"/>
                </a:lnTo>
                <a:lnTo>
                  <a:pt x="496" y="56"/>
                </a:lnTo>
                <a:lnTo>
                  <a:pt x="494" y="57"/>
                </a:lnTo>
                <a:lnTo>
                  <a:pt x="494" y="57"/>
                </a:lnTo>
                <a:lnTo>
                  <a:pt x="500" y="65"/>
                </a:lnTo>
                <a:lnTo>
                  <a:pt x="503" y="63"/>
                </a:lnTo>
                <a:close/>
                <a:moveTo>
                  <a:pt x="511" y="76"/>
                </a:moveTo>
                <a:lnTo>
                  <a:pt x="511" y="76"/>
                </a:lnTo>
                <a:lnTo>
                  <a:pt x="506" y="68"/>
                </a:lnTo>
                <a:lnTo>
                  <a:pt x="503" y="69"/>
                </a:lnTo>
                <a:lnTo>
                  <a:pt x="503" y="69"/>
                </a:lnTo>
                <a:lnTo>
                  <a:pt x="509" y="78"/>
                </a:lnTo>
                <a:lnTo>
                  <a:pt x="511" y="76"/>
                </a:lnTo>
                <a:close/>
                <a:moveTo>
                  <a:pt x="519" y="89"/>
                </a:moveTo>
                <a:lnTo>
                  <a:pt x="519" y="89"/>
                </a:lnTo>
                <a:lnTo>
                  <a:pt x="514" y="81"/>
                </a:lnTo>
                <a:lnTo>
                  <a:pt x="511" y="82"/>
                </a:lnTo>
                <a:lnTo>
                  <a:pt x="511" y="82"/>
                </a:lnTo>
                <a:lnTo>
                  <a:pt x="517" y="91"/>
                </a:lnTo>
                <a:lnTo>
                  <a:pt x="519" y="89"/>
                </a:lnTo>
                <a:close/>
                <a:moveTo>
                  <a:pt x="526" y="102"/>
                </a:moveTo>
                <a:lnTo>
                  <a:pt x="526" y="102"/>
                </a:lnTo>
                <a:lnTo>
                  <a:pt x="523" y="98"/>
                </a:lnTo>
                <a:lnTo>
                  <a:pt x="523" y="98"/>
                </a:lnTo>
                <a:lnTo>
                  <a:pt x="522" y="94"/>
                </a:lnTo>
                <a:lnTo>
                  <a:pt x="519" y="95"/>
                </a:lnTo>
                <a:lnTo>
                  <a:pt x="519" y="95"/>
                </a:lnTo>
                <a:lnTo>
                  <a:pt x="522" y="100"/>
                </a:lnTo>
                <a:lnTo>
                  <a:pt x="522" y="100"/>
                </a:lnTo>
                <a:lnTo>
                  <a:pt x="524" y="104"/>
                </a:lnTo>
                <a:lnTo>
                  <a:pt x="526" y="102"/>
                </a:lnTo>
                <a:close/>
                <a:moveTo>
                  <a:pt x="539" y="108"/>
                </a:moveTo>
                <a:lnTo>
                  <a:pt x="539" y="108"/>
                </a:lnTo>
                <a:lnTo>
                  <a:pt x="535" y="107"/>
                </a:lnTo>
                <a:lnTo>
                  <a:pt x="530" y="105"/>
                </a:lnTo>
                <a:lnTo>
                  <a:pt x="529" y="107"/>
                </a:lnTo>
                <a:lnTo>
                  <a:pt x="529" y="107"/>
                </a:lnTo>
                <a:lnTo>
                  <a:pt x="535" y="110"/>
                </a:lnTo>
                <a:lnTo>
                  <a:pt x="539" y="111"/>
                </a:lnTo>
                <a:lnTo>
                  <a:pt x="539" y="108"/>
                </a:lnTo>
                <a:close/>
                <a:moveTo>
                  <a:pt x="555" y="111"/>
                </a:moveTo>
                <a:lnTo>
                  <a:pt x="555" y="111"/>
                </a:lnTo>
                <a:lnTo>
                  <a:pt x="551" y="110"/>
                </a:lnTo>
                <a:lnTo>
                  <a:pt x="548" y="108"/>
                </a:lnTo>
                <a:lnTo>
                  <a:pt x="548" y="108"/>
                </a:lnTo>
                <a:lnTo>
                  <a:pt x="545" y="108"/>
                </a:lnTo>
                <a:lnTo>
                  <a:pt x="545" y="111"/>
                </a:lnTo>
                <a:lnTo>
                  <a:pt x="545" y="111"/>
                </a:lnTo>
                <a:lnTo>
                  <a:pt x="548" y="111"/>
                </a:lnTo>
                <a:lnTo>
                  <a:pt x="548" y="111"/>
                </a:lnTo>
                <a:lnTo>
                  <a:pt x="553" y="113"/>
                </a:lnTo>
                <a:lnTo>
                  <a:pt x="555" y="111"/>
                </a:lnTo>
                <a:close/>
                <a:moveTo>
                  <a:pt x="568" y="120"/>
                </a:moveTo>
                <a:lnTo>
                  <a:pt x="566" y="120"/>
                </a:lnTo>
                <a:lnTo>
                  <a:pt x="566" y="120"/>
                </a:lnTo>
                <a:lnTo>
                  <a:pt x="559" y="114"/>
                </a:lnTo>
                <a:lnTo>
                  <a:pt x="558" y="115"/>
                </a:lnTo>
                <a:lnTo>
                  <a:pt x="558" y="115"/>
                </a:lnTo>
                <a:lnTo>
                  <a:pt x="565" y="121"/>
                </a:lnTo>
                <a:lnTo>
                  <a:pt x="565" y="121"/>
                </a:lnTo>
                <a:lnTo>
                  <a:pt x="568" y="120"/>
                </a:lnTo>
                <a:close/>
                <a:moveTo>
                  <a:pt x="581" y="123"/>
                </a:moveTo>
                <a:lnTo>
                  <a:pt x="581" y="123"/>
                </a:lnTo>
                <a:lnTo>
                  <a:pt x="577" y="123"/>
                </a:lnTo>
                <a:lnTo>
                  <a:pt x="577" y="123"/>
                </a:lnTo>
                <a:lnTo>
                  <a:pt x="571" y="123"/>
                </a:lnTo>
                <a:lnTo>
                  <a:pt x="571" y="124"/>
                </a:lnTo>
                <a:lnTo>
                  <a:pt x="571" y="124"/>
                </a:lnTo>
                <a:lnTo>
                  <a:pt x="577" y="126"/>
                </a:lnTo>
                <a:lnTo>
                  <a:pt x="577" y="126"/>
                </a:lnTo>
                <a:lnTo>
                  <a:pt x="581" y="126"/>
                </a:lnTo>
                <a:lnTo>
                  <a:pt x="581" y="123"/>
                </a:lnTo>
                <a:close/>
                <a:moveTo>
                  <a:pt x="597" y="124"/>
                </a:moveTo>
                <a:lnTo>
                  <a:pt x="597" y="124"/>
                </a:lnTo>
                <a:lnTo>
                  <a:pt x="590" y="123"/>
                </a:lnTo>
                <a:lnTo>
                  <a:pt x="590" y="123"/>
                </a:lnTo>
                <a:lnTo>
                  <a:pt x="585" y="123"/>
                </a:lnTo>
                <a:lnTo>
                  <a:pt x="587" y="124"/>
                </a:lnTo>
                <a:lnTo>
                  <a:pt x="587" y="124"/>
                </a:lnTo>
                <a:lnTo>
                  <a:pt x="590" y="124"/>
                </a:lnTo>
                <a:lnTo>
                  <a:pt x="590" y="124"/>
                </a:lnTo>
                <a:lnTo>
                  <a:pt x="595" y="126"/>
                </a:lnTo>
                <a:lnTo>
                  <a:pt x="597" y="124"/>
                </a:lnTo>
                <a:close/>
                <a:moveTo>
                  <a:pt x="611" y="128"/>
                </a:moveTo>
                <a:lnTo>
                  <a:pt x="611" y="128"/>
                </a:lnTo>
                <a:lnTo>
                  <a:pt x="601" y="126"/>
                </a:lnTo>
                <a:lnTo>
                  <a:pt x="600" y="127"/>
                </a:lnTo>
                <a:lnTo>
                  <a:pt x="600" y="127"/>
                </a:lnTo>
                <a:lnTo>
                  <a:pt x="610" y="131"/>
                </a:lnTo>
                <a:lnTo>
                  <a:pt x="611" y="128"/>
                </a:lnTo>
                <a:close/>
                <a:moveTo>
                  <a:pt x="624" y="136"/>
                </a:moveTo>
                <a:lnTo>
                  <a:pt x="624" y="136"/>
                </a:lnTo>
                <a:lnTo>
                  <a:pt x="616" y="131"/>
                </a:lnTo>
                <a:lnTo>
                  <a:pt x="614" y="133"/>
                </a:lnTo>
                <a:lnTo>
                  <a:pt x="614" y="133"/>
                </a:lnTo>
                <a:lnTo>
                  <a:pt x="624" y="137"/>
                </a:lnTo>
                <a:lnTo>
                  <a:pt x="624" y="136"/>
                </a:lnTo>
                <a:close/>
                <a:moveTo>
                  <a:pt x="639" y="142"/>
                </a:moveTo>
                <a:lnTo>
                  <a:pt x="639" y="142"/>
                </a:lnTo>
                <a:lnTo>
                  <a:pt x="629" y="137"/>
                </a:lnTo>
                <a:lnTo>
                  <a:pt x="629" y="140"/>
                </a:lnTo>
                <a:lnTo>
                  <a:pt x="629" y="140"/>
                </a:lnTo>
                <a:lnTo>
                  <a:pt x="637" y="144"/>
                </a:lnTo>
                <a:lnTo>
                  <a:pt x="639" y="142"/>
                </a:lnTo>
                <a:close/>
                <a:moveTo>
                  <a:pt x="652" y="149"/>
                </a:moveTo>
                <a:lnTo>
                  <a:pt x="652" y="149"/>
                </a:lnTo>
                <a:lnTo>
                  <a:pt x="643" y="144"/>
                </a:lnTo>
                <a:lnTo>
                  <a:pt x="642" y="146"/>
                </a:lnTo>
                <a:lnTo>
                  <a:pt x="642" y="146"/>
                </a:lnTo>
                <a:lnTo>
                  <a:pt x="650" y="150"/>
                </a:lnTo>
                <a:lnTo>
                  <a:pt x="652" y="149"/>
                </a:lnTo>
                <a:close/>
                <a:moveTo>
                  <a:pt x="665" y="152"/>
                </a:moveTo>
                <a:lnTo>
                  <a:pt x="665" y="152"/>
                </a:lnTo>
                <a:lnTo>
                  <a:pt x="661" y="153"/>
                </a:lnTo>
                <a:lnTo>
                  <a:pt x="661" y="153"/>
                </a:lnTo>
                <a:lnTo>
                  <a:pt x="658" y="152"/>
                </a:lnTo>
                <a:lnTo>
                  <a:pt x="658" y="152"/>
                </a:lnTo>
                <a:lnTo>
                  <a:pt x="656" y="152"/>
                </a:lnTo>
                <a:lnTo>
                  <a:pt x="655" y="153"/>
                </a:lnTo>
                <a:lnTo>
                  <a:pt x="656" y="155"/>
                </a:lnTo>
                <a:lnTo>
                  <a:pt x="656" y="155"/>
                </a:lnTo>
                <a:lnTo>
                  <a:pt x="661" y="156"/>
                </a:lnTo>
                <a:lnTo>
                  <a:pt x="661" y="156"/>
                </a:lnTo>
                <a:lnTo>
                  <a:pt x="664" y="155"/>
                </a:lnTo>
                <a:lnTo>
                  <a:pt x="666" y="153"/>
                </a:lnTo>
                <a:lnTo>
                  <a:pt x="665" y="152"/>
                </a:lnTo>
                <a:close/>
                <a:moveTo>
                  <a:pt x="679" y="149"/>
                </a:moveTo>
                <a:lnTo>
                  <a:pt x="679" y="149"/>
                </a:lnTo>
                <a:lnTo>
                  <a:pt x="675" y="149"/>
                </a:lnTo>
                <a:lnTo>
                  <a:pt x="675" y="149"/>
                </a:lnTo>
                <a:lnTo>
                  <a:pt x="672" y="149"/>
                </a:lnTo>
                <a:lnTo>
                  <a:pt x="671" y="149"/>
                </a:lnTo>
                <a:lnTo>
                  <a:pt x="671" y="149"/>
                </a:lnTo>
                <a:lnTo>
                  <a:pt x="669" y="149"/>
                </a:lnTo>
                <a:lnTo>
                  <a:pt x="669" y="150"/>
                </a:lnTo>
                <a:lnTo>
                  <a:pt x="671" y="150"/>
                </a:lnTo>
                <a:lnTo>
                  <a:pt x="672" y="150"/>
                </a:lnTo>
                <a:lnTo>
                  <a:pt x="672" y="150"/>
                </a:lnTo>
                <a:lnTo>
                  <a:pt x="675" y="152"/>
                </a:lnTo>
                <a:lnTo>
                  <a:pt x="675" y="152"/>
                </a:lnTo>
                <a:lnTo>
                  <a:pt x="679" y="150"/>
                </a:lnTo>
                <a:lnTo>
                  <a:pt x="679" y="149"/>
                </a:lnTo>
                <a:close/>
                <a:moveTo>
                  <a:pt x="688" y="139"/>
                </a:moveTo>
                <a:lnTo>
                  <a:pt x="688" y="139"/>
                </a:lnTo>
                <a:lnTo>
                  <a:pt x="687" y="143"/>
                </a:lnTo>
                <a:lnTo>
                  <a:pt x="687" y="143"/>
                </a:lnTo>
                <a:lnTo>
                  <a:pt x="687" y="144"/>
                </a:lnTo>
                <a:lnTo>
                  <a:pt x="687" y="144"/>
                </a:lnTo>
                <a:lnTo>
                  <a:pt x="684" y="146"/>
                </a:lnTo>
                <a:lnTo>
                  <a:pt x="685" y="149"/>
                </a:lnTo>
                <a:lnTo>
                  <a:pt x="685" y="149"/>
                </a:lnTo>
                <a:lnTo>
                  <a:pt x="688" y="147"/>
                </a:lnTo>
                <a:lnTo>
                  <a:pt x="688" y="147"/>
                </a:lnTo>
                <a:lnTo>
                  <a:pt x="690" y="143"/>
                </a:lnTo>
                <a:lnTo>
                  <a:pt x="690" y="143"/>
                </a:lnTo>
                <a:lnTo>
                  <a:pt x="690" y="140"/>
                </a:lnTo>
                <a:lnTo>
                  <a:pt x="688" y="139"/>
                </a:lnTo>
                <a:close/>
                <a:moveTo>
                  <a:pt x="688" y="124"/>
                </a:moveTo>
                <a:lnTo>
                  <a:pt x="688" y="124"/>
                </a:lnTo>
                <a:lnTo>
                  <a:pt x="688" y="128"/>
                </a:lnTo>
                <a:lnTo>
                  <a:pt x="688" y="128"/>
                </a:lnTo>
                <a:lnTo>
                  <a:pt x="688" y="134"/>
                </a:lnTo>
                <a:lnTo>
                  <a:pt x="690" y="134"/>
                </a:lnTo>
                <a:lnTo>
                  <a:pt x="690" y="134"/>
                </a:lnTo>
                <a:lnTo>
                  <a:pt x="690" y="128"/>
                </a:lnTo>
                <a:lnTo>
                  <a:pt x="690" y="128"/>
                </a:lnTo>
                <a:lnTo>
                  <a:pt x="691" y="124"/>
                </a:lnTo>
                <a:lnTo>
                  <a:pt x="688" y="124"/>
                </a:lnTo>
                <a:close/>
                <a:moveTo>
                  <a:pt x="703" y="118"/>
                </a:moveTo>
                <a:lnTo>
                  <a:pt x="703" y="118"/>
                </a:lnTo>
                <a:lnTo>
                  <a:pt x="692" y="120"/>
                </a:lnTo>
                <a:lnTo>
                  <a:pt x="694" y="123"/>
                </a:lnTo>
                <a:lnTo>
                  <a:pt x="694" y="123"/>
                </a:lnTo>
                <a:lnTo>
                  <a:pt x="704" y="121"/>
                </a:lnTo>
                <a:lnTo>
                  <a:pt x="703" y="118"/>
                </a:lnTo>
                <a:close/>
                <a:moveTo>
                  <a:pt x="719" y="117"/>
                </a:moveTo>
                <a:lnTo>
                  <a:pt x="717" y="117"/>
                </a:lnTo>
                <a:lnTo>
                  <a:pt x="717" y="117"/>
                </a:lnTo>
                <a:lnTo>
                  <a:pt x="708" y="118"/>
                </a:lnTo>
                <a:lnTo>
                  <a:pt x="708" y="121"/>
                </a:lnTo>
                <a:lnTo>
                  <a:pt x="708" y="121"/>
                </a:lnTo>
                <a:lnTo>
                  <a:pt x="717" y="120"/>
                </a:lnTo>
                <a:lnTo>
                  <a:pt x="717" y="120"/>
                </a:lnTo>
                <a:lnTo>
                  <a:pt x="719" y="120"/>
                </a:lnTo>
                <a:lnTo>
                  <a:pt x="719" y="117"/>
                </a:lnTo>
                <a:close/>
                <a:moveTo>
                  <a:pt x="733" y="114"/>
                </a:moveTo>
                <a:lnTo>
                  <a:pt x="733" y="114"/>
                </a:lnTo>
                <a:lnTo>
                  <a:pt x="723" y="117"/>
                </a:lnTo>
                <a:lnTo>
                  <a:pt x="724" y="118"/>
                </a:lnTo>
                <a:lnTo>
                  <a:pt x="724" y="118"/>
                </a:lnTo>
                <a:lnTo>
                  <a:pt x="733" y="115"/>
                </a:lnTo>
                <a:lnTo>
                  <a:pt x="733" y="114"/>
                </a:lnTo>
                <a:close/>
                <a:moveTo>
                  <a:pt x="748" y="110"/>
                </a:moveTo>
                <a:lnTo>
                  <a:pt x="748" y="110"/>
                </a:lnTo>
                <a:lnTo>
                  <a:pt x="748" y="110"/>
                </a:lnTo>
                <a:lnTo>
                  <a:pt x="737" y="113"/>
                </a:lnTo>
                <a:lnTo>
                  <a:pt x="739" y="115"/>
                </a:lnTo>
                <a:lnTo>
                  <a:pt x="739" y="115"/>
                </a:lnTo>
                <a:lnTo>
                  <a:pt x="748" y="113"/>
                </a:lnTo>
                <a:lnTo>
                  <a:pt x="749" y="113"/>
                </a:lnTo>
                <a:lnTo>
                  <a:pt x="748" y="110"/>
                </a:lnTo>
                <a:close/>
                <a:moveTo>
                  <a:pt x="763" y="113"/>
                </a:moveTo>
                <a:lnTo>
                  <a:pt x="763" y="113"/>
                </a:lnTo>
                <a:lnTo>
                  <a:pt x="758" y="110"/>
                </a:lnTo>
                <a:lnTo>
                  <a:pt x="753" y="110"/>
                </a:lnTo>
                <a:lnTo>
                  <a:pt x="753" y="111"/>
                </a:lnTo>
                <a:lnTo>
                  <a:pt x="753" y="111"/>
                </a:lnTo>
                <a:lnTo>
                  <a:pt x="758" y="113"/>
                </a:lnTo>
                <a:lnTo>
                  <a:pt x="762" y="115"/>
                </a:lnTo>
                <a:lnTo>
                  <a:pt x="763" y="113"/>
                </a:lnTo>
                <a:close/>
                <a:moveTo>
                  <a:pt x="776" y="117"/>
                </a:moveTo>
                <a:lnTo>
                  <a:pt x="776" y="117"/>
                </a:lnTo>
                <a:lnTo>
                  <a:pt x="768" y="115"/>
                </a:lnTo>
                <a:lnTo>
                  <a:pt x="766" y="117"/>
                </a:lnTo>
                <a:lnTo>
                  <a:pt x="766" y="117"/>
                </a:lnTo>
                <a:lnTo>
                  <a:pt x="772" y="118"/>
                </a:lnTo>
                <a:lnTo>
                  <a:pt x="776" y="120"/>
                </a:lnTo>
                <a:lnTo>
                  <a:pt x="776" y="117"/>
                </a:lnTo>
                <a:close/>
                <a:moveTo>
                  <a:pt x="791" y="126"/>
                </a:moveTo>
                <a:lnTo>
                  <a:pt x="791" y="126"/>
                </a:lnTo>
                <a:lnTo>
                  <a:pt x="782" y="120"/>
                </a:lnTo>
                <a:lnTo>
                  <a:pt x="782" y="120"/>
                </a:lnTo>
                <a:lnTo>
                  <a:pt x="781" y="121"/>
                </a:lnTo>
                <a:lnTo>
                  <a:pt x="782" y="123"/>
                </a:lnTo>
                <a:lnTo>
                  <a:pt x="782" y="123"/>
                </a:lnTo>
                <a:lnTo>
                  <a:pt x="788" y="128"/>
                </a:lnTo>
                <a:lnTo>
                  <a:pt x="791" y="126"/>
                </a:lnTo>
                <a:close/>
                <a:moveTo>
                  <a:pt x="803" y="134"/>
                </a:moveTo>
                <a:lnTo>
                  <a:pt x="803" y="134"/>
                </a:lnTo>
                <a:lnTo>
                  <a:pt x="794" y="128"/>
                </a:lnTo>
                <a:lnTo>
                  <a:pt x="792" y="131"/>
                </a:lnTo>
                <a:lnTo>
                  <a:pt x="792" y="131"/>
                </a:lnTo>
                <a:lnTo>
                  <a:pt x="801" y="137"/>
                </a:lnTo>
                <a:lnTo>
                  <a:pt x="803" y="134"/>
                </a:lnTo>
                <a:close/>
                <a:moveTo>
                  <a:pt x="816" y="136"/>
                </a:moveTo>
                <a:lnTo>
                  <a:pt x="816" y="136"/>
                </a:lnTo>
                <a:lnTo>
                  <a:pt x="811" y="137"/>
                </a:lnTo>
                <a:lnTo>
                  <a:pt x="811" y="137"/>
                </a:lnTo>
                <a:lnTo>
                  <a:pt x="808" y="137"/>
                </a:lnTo>
                <a:lnTo>
                  <a:pt x="808" y="137"/>
                </a:lnTo>
                <a:lnTo>
                  <a:pt x="807" y="137"/>
                </a:lnTo>
                <a:lnTo>
                  <a:pt x="805" y="139"/>
                </a:lnTo>
                <a:lnTo>
                  <a:pt x="805" y="139"/>
                </a:lnTo>
                <a:lnTo>
                  <a:pt x="808" y="140"/>
                </a:lnTo>
                <a:lnTo>
                  <a:pt x="808" y="140"/>
                </a:lnTo>
                <a:lnTo>
                  <a:pt x="811" y="140"/>
                </a:lnTo>
                <a:lnTo>
                  <a:pt x="811" y="140"/>
                </a:lnTo>
                <a:lnTo>
                  <a:pt x="817" y="139"/>
                </a:lnTo>
                <a:lnTo>
                  <a:pt x="816" y="136"/>
                </a:lnTo>
                <a:close/>
                <a:moveTo>
                  <a:pt x="826" y="127"/>
                </a:moveTo>
                <a:lnTo>
                  <a:pt x="826" y="127"/>
                </a:lnTo>
                <a:lnTo>
                  <a:pt x="823" y="130"/>
                </a:lnTo>
                <a:lnTo>
                  <a:pt x="820" y="134"/>
                </a:lnTo>
                <a:lnTo>
                  <a:pt x="821" y="136"/>
                </a:lnTo>
                <a:lnTo>
                  <a:pt x="821" y="136"/>
                </a:lnTo>
                <a:lnTo>
                  <a:pt x="826" y="131"/>
                </a:lnTo>
                <a:lnTo>
                  <a:pt x="827" y="127"/>
                </a:lnTo>
                <a:lnTo>
                  <a:pt x="826" y="127"/>
                </a:lnTo>
                <a:close/>
                <a:moveTo>
                  <a:pt x="827" y="113"/>
                </a:moveTo>
                <a:lnTo>
                  <a:pt x="827" y="113"/>
                </a:lnTo>
                <a:lnTo>
                  <a:pt x="826" y="117"/>
                </a:lnTo>
                <a:lnTo>
                  <a:pt x="826" y="117"/>
                </a:lnTo>
                <a:lnTo>
                  <a:pt x="826" y="118"/>
                </a:lnTo>
                <a:lnTo>
                  <a:pt x="826" y="118"/>
                </a:lnTo>
                <a:lnTo>
                  <a:pt x="827" y="120"/>
                </a:lnTo>
                <a:lnTo>
                  <a:pt x="827" y="120"/>
                </a:lnTo>
                <a:lnTo>
                  <a:pt x="827" y="121"/>
                </a:lnTo>
                <a:lnTo>
                  <a:pt x="827" y="121"/>
                </a:lnTo>
                <a:lnTo>
                  <a:pt x="827" y="121"/>
                </a:lnTo>
                <a:lnTo>
                  <a:pt x="830" y="123"/>
                </a:lnTo>
                <a:lnTo>
                  <a:pt x="830" y="123"/>
                </a:lnTo>
                <a:lnTo>
                  <a:pt x="830" y="121"/>
                </a:lnTo>
                <a:lnTo>
                  <a:pt x="830" y="121"/>
                </a:lnTo>
                <a:lnTo>
                  <a:pt x="829" y="118"/>
                </a:lnTo>
                <a:lnTo>
                  <a:pt x="829" y="118"/>
                </a:lnTo>
                <a:lnTo>
                  <a:pt x="827" y="117"/>
                </a:lnTo>
                <a:lnTo>
                  <a:pt x="827" y="117"/>
                </a:lnTo>
                <a:lnTo>
                  <a:pt x="827" y="117"/>
                </a:lnTo>
                <a:lnTo>
                  <a:pt x="827" y="117"/>
                </a:lnTo>
                <a:lnTo>
                  <a:pt x="827" y="117"/>
                </a:lnTo>
                <a:lnTo>
                  <a:pt x="827" y="117"/>
                </a:lnTo>
                <a:lnTo>
                  <a:pt x="827" y="117"/>
                </a:lnTo>
                <a:lnTo>
                  <a:pt x="827" y="117"/>
                </a:lnTo>
                <a:lnTo>
                  <a:pt x="827" y="117"/>
                </a:lnTo>
                <a:lnTo>
                  <a:pt x="827" y="117"/>
                </a:lnTo>
                <a:lnTo>
                  <a:pt x="827" y="117"/>
                </a:lnTo>
                <a:lnTo>
                  <a:pt x="827" y="117"/>
                </a:lnTo>
                <a:lnTo>
                  <a:pt x="827" y="117"/>
                </a:lnTo>
                <a:lnTo>
                  <a:pt x="827" y="117"/>
                </a:lnTo>
                <a:lnTo>
                  <a:pt x="827" y="117"/>
                </a:lnTo>
                <a:lnTo>
                  <a:pt x="829" y="114"/>
                </a:lnTo>
                <a:lnTo>
                  <a:pt x="827" y="113"/>
                </a:lnTo>
                <a:close/>
                <a:moveTo>
                  <a:pt x="834" y="100"/>
                </a:moveTo>
                <a:lnTo>
                  <a:pt x="834" y="100"/>
                </a:lnTo>
                <a:lnTo>
                  <a:pt x="829" y="108"/>
                </a:lnTo>
                <a:lnTo>
                  <a:pt x="832" y="110"/>
                </a:lnTo>
                <a:lnTo>
                  <a:pt x="832" y="110"/>
                </a:lnTo>
                <a:lnTo>
                  <a:pt x="836" y="101"/>
                </a:lnTo>
                <a:lnTo>
                  <a:pt x="834" y="100"/>
                </a:lnTo>
                <a:close/>
                <a:moveTo>
                  <a:pt x="840" y="86"/>
                </a:moveTo>
                <a:lnTo>
                  <a:pt x="840" y="88"/>
                </a:lnTo>
                <a:lnTo>
                  <a:pt x="840" y="88"/>
                </a:lnTo>
                <a:lnTo>
                  <a:pt x="840" y="88"/>
                </a:lnTo>
                <a:lnTo>
                  <a:pt x="840" y="89"/>
                </a:lnTo>
                <a:lnTo>
                  <a:pt x="840" y="89"/>
                </a:lnTo>
                <a:lnTo>
                  <a:pt x="840" y="92"/>
                </a:lnTo>
                <a:lnTo>
                  <a:pt x="840" y="92"/>
                </a:lnTo>
                <a:lnTo>
                  <a:pt x="837" y="95"/>
                </a:lnTo>
                <a:lnTo>
                  <a:pt x="839" y="97"/>
                </a:lnTo>
                <a:lnTo>
                  <a:pt x="839" y="97"/>
                </a:lnTo>
                <a:lnTo>
                  <a:pt x="843" y="92"/>
                </a:lnTo>
                <a:lnTo>
                  <a:pt x="843" y="92"/>
                </a:lnTo>
                <a:lnTo>
                  <a:pt x="843" y="89"/>
                </a:lnTo>
                <a:lnTo>
                  <a:pt x="843" y="89"/>
                </a:lnTo>
                <a:lnTo>
                  <a:pt x="843" y="88"/>
                </a:lnTo>
                <a:lnTo>
                  <a:pt x="843" y="86"/>
                </a:lnTo>
                <a:lnTo>
                  <a:pt x="840" y="86"/>
                </a:lnTo>
                <a:close/>
                <a:moveTo>
                  <a:pt x="855" y="89"/>
                </a:moveTo>
                <a:lnTo>
                  <a:pt x="855" y="89"/>
                </a:lnTo>
                <a:lnTo>
                  <a:pt x="849" y="86"/>
                </a:lnTo>
                <a:lnTo>
                  <a:pt x="849" y="86"/>
                </a:lnTo>
                <a:lnTo>
                  <a:pt x="846" y="85"/>
                </a:lnTo>
                <a:lnTo>
                  <a:pt x="845" y="88"/>
                </a:lnTo>
                <a:lnTo>
                  <a:pt x="845" y="88"/>
                </a:lnTo>
                <a:lnTo>
                  <a:pt x="847" y="89"/>
                </a:lnTo>
                <a:lnTo>
                  <a:pt x="847" y="89"/>
                </a:lnTo>
                <a:lnTo>
                  <a:pt x="855" y="92"/>
                </a:lnTo>
                <a:lnTo>
                  <a:pt x="855" y="89"/>
                </a:lnTo>
                <a:close/>
                <a:moveTo>
                  <a:pt x="869" y="95"/>
                </a:moveTo>
                <a:lnTo>
                  <a:pt x="869" y="95"/>
                </a:lnTo>
                <a:lnTo>
                  <a:pt x="861" y="91"/>
                </a:lnTo>
                <a:lnTo>
                  <a:pt x="859" y="94"/>
                </a:lnTo>
                <a:lnTo>
                  <a:pt x="859" y="94"/>
                </a:lnTo>
                <a:lnTo>
                  <a:pt x="869" y="97"/>
                </a:lnTo>
                <a:lnTo>
                  <a:pt x="869" y="95"/>
                </a:lnTo>
                <a:close/>
                <a:moveTo>
                  <a:pt x="884" y="100"/>
                </a:moveTo>
                <a:lnTo>
                  <a:pt x="884" y="100"/>
                </a:lnTo>
                <a:lnTo>
                  <a:pt x="879" y="98"/>
                </a:lnTo>
                <a:lnTo>
                  <a:pt x="875" y="97"/>
                </a:lnTo>
                <a:lnTo>
                  <a:pt x="874" y="98"/>
                </a:lnTo>
                <a:lnTo>
                  <a:pt x="874" y="98"/>
                </a:lnTo>
                <a:lnTo>
                  <a:pt x="878" y="100"/>
                </a:lnTo>
                <a:lnTo>
                  <a:pt x="882" y="102"/>
                </a:lnTo>
                <a:lnTo>
                  <a:pt x="884" y="100"/>
                </a:lnTo>
                <a:close/>
                <a:moveTo>
                  <a:pt x="891" y="114"/>
                </a:moveTo>
                <a:lnTo>
                  <a:pt x="891" y="114"/>
                </a:lnTo>
                <a:lnTo>
                  <a:pt x="889" y="108"/>
                </a:lnTo>
                <a:lnTo>
                  <a:pt x="889" y="108"/>
                </a:lnTo>
                <a:lnTo>
                  <a:pt x="888" y="104"/>
                </a:lnTo>
                <a:lnTo>
                  <a:pt x="887" y="105"/>
                </a:lnTo>
                <a:lnTo>
                  <a:pt x="887" y="105"/>
                </a:lnTo>
                <a:lnTo>
                  <a:pt x="888" y="110"/>
                </a:lnTo>
                <a:lnTo>
                  <a:pt x="888" y="110"/>
                </a:lnTo>
                <a:lnTo>
                  <a:pt x="889" y="115"/>
                </a:lnTo>
                <a:lnTo>
                  <a:pt x="891" y="114"/>
                </a:lnTo>
                <a:close/>
                <a:moveTo>
                  <a:pt x="901" y="124"/>
                </a:moveTo>
                <a:lnTo>
                  <a:pt x="901" y="124"/>
                </a:lnTo>
                <a:lnTo>
                  <a:pt x="894" y="118"/>
                </a:lnTo>
                <a:lnTo>
                  <a:pt x="892" y="120"/>
                </a:lnTo>
                <a:lnTo>
                  <a:pt x="892" y="120"/>
                </a:lnTo>
                <a:lnTo>
                  <a:pt x="900" y="126"/>
                </a:lnTo>
                <a:lnTo>
                  <a:pt x="901" y="124"/>
                </a:lnTo>
                <a:close/>
                <a:moveTo>
                  <a:pt x="916" y="128"/>
                </a:moveTo>
                <a:lnTo>
                  <a:pt x="916" y="128"/>
                </a:lnTo>
                <a:lnTo>
                  <a:pt x="913" y="128"/>
                </a:lnTo>
                <a:lnTo>
                  <a:pt x="913" y="128"/>
                </a:lnTo>
                <a:lnTo>
                  <a:pt x="905" y="127"/>
                </a:lnTo>
                <a:lnTo>
                  <a:pt x="904" y="128"/>
                </a:lnTo>
                <a:lnTo>
                  <a:pt x="904" y="128"/>
                </a:lnTo>
                <a:lnTo>
                  <a:pt x="911" y="131"/>
                </a:lnTo>
                <a:lnTo>
                  <a:pt x="911" y="131"/>
                </a:lnTo>
                <a:lnTo>
                  <a:pt x="914" y="131"/>
                </a:lnTo>
                <a:lnTo>
                  <a:pt x="916" y="128"/>
                </a:lnTo>
                <a:close/>
                <a:moveTo>
                  <a:pt x="930" y="128"/>
                </a:moveTo>
                <a:lnTo>
                  <a:pt x="930" y="128"/>
                </a:lnTo>
                <a:lnTo>
                  <a:pt x="921" y="128"/>
                </a:lnTo>
                <a:lnTo>
                  <a:pt x="920" y="128"/>
                </a:lnTo>
                <a:lnTo>
                  <a:pt x="920" y="131"/>
                </a:lnTo>
                <a:lnTo>
                  <a:pt x="921" y="131"/>
                </a:lnTo>
                <a:lnTo>
                  <a:pt x="921" y="131"/>
                </a:lnTo>
                <a:lnTo>
                  <a:pt x="930" y="131"/>
                </a:lnTo>
                <a:lnTo>
                  <a:pt x="930" y="128"/>
                </a:lnTo>
                <a:close/>
                <a:moveTo>
                  <a:pt x="945" y="126"/>
                </a:moveTo>
                <a:lnTo>
                  <a:pt x="945" y="126"/>
                </a:lnTo>
                <a:lnTo>
                  <a:pt x="945" y="126"/>
                </a:lnTo>
                <a:lnTo>
                  <a:pt x="934" y="127"/>
                </a:lnTo>
                <a:lnTo>
                  <a:pt x="936" y="130"/>
                </a:lnTo>
                <a:lnTo>
                  <a:pt x="936" y="130"/>
                </a:lnTo>
                <a:lnTo>
                  <a:pt x="945" y="127"/>
                </a:lnTo>
                <a:lnTo>
                  <a:pt x="946" y="127"/>
                </a:lnTo>
                <a:lnTo>
                  <a:pt x="945" y="126"/>
                </a:lnTo>
                <a:close/>
                <a:moveTo>
                  <a:pt x="960" y="127"/>
                </a:moveTo>
                <a:lnTo>
                  <a:pt x="960" y="127"/>
                </a:lnTo>
                <a:lnTo>
                  <a:pt x="956" y="124"/>
                </a:lnTo>
                <a:lnTo>
                  <a:pt x="950" y="124"/>
                </a:lnTo>
                <a:lnTo>
                  <a:pt x="950" y="124"/>
                </a:lnTo>
                <a:lnTo>
                  <a:pt x="950" y="127"/>
                </a:lnTo>
                <a:lnTo>
                  <a:pt x="950" y="127"/>
                </a:lnTo>
                <a:lnTo>
                  <a:pt x="950" y="127"/>
                </a:lnTo>
                <a:lnTo>
                  <a:pt x="955" y="127"/>
                </a:lnTo>
                <a:lnTo>
                  <a:pt x="959" y="128"/>
                </a:lnTo>
                <a:lnTo>
                  <a:pt x="960" y="127"/>
                </a:lnTo>
                <a:close/>
                <a:moveTo>
                  <a:pt x="972" y="136"/>
                </a:moveTo>
                <a:lnTo>
                  <a:pt x="972" y="136"/>
                </a:lnTo>
                <a:lnTo>
                  <a:pt x="968" y="133"/>
                </a:lnTo>
                <a:lnTo>
                  <a:pt x="963" y="130"/>
                </a:lnTo>
                <a:lnTo>
                  <a:pt x="962" y="133"/>
                </a:lnTo>
                <a:lnTo>
                  <a:pt x="962" y="133"/>
                </a:lnTo>
                <a:lnTo>
                  <a:pt x="966" y="136"/>
                </a:lnTo>
                <a:lnTo>
                  <a:pt x="971" y="139"/>
                </a:lnTo>
                <a:lnTo>
                  <a:pt x="972" y="136"/>
                </a:lnTo>
                <a:close/>
                <a:moveTo>
                  <a:pt x="987" y="142"/>
                </a:moveTo>
                <a:lnTo>
                  <a:pt x="987" y="142"/>
                </a:lnTo>
                <a:lnTo>
                  <a:pt x="976" y="137"/>
                </a:lnTo>
                <a:lnTo>
                  <a:pt x="976" y="137"/>
                </a:lnTo>
                <a:lnTo>
                  <a:pt x="976" y="140"/>
                </a:lnTo>
                <a:lnTo>
                  <a:pt x="976" y="140"/>
                </a:lnTo>
                <a:lnTo>
                  <a:pt x="976" y="140"/>
                </a:lnTo>
                <a:lnTo>
                  <a:pt x="985" y="143"/>
                </a:lnTo>
                <a:lnTo>
                  <a:pt x="987" y="142"/>
                </a:lnTo>
                <a:close/>
                <a:moveTo>
                  <a:pt x="1000" y="147"/>
                </a:moveTo>
                <a:lnTo>
                  <a:pt x="1000" y="147"/>
                </a:lnTo>
                <a:lnTo>
                  <a:pt x="991" y="143"/>
                </a:lnTo>
                <a:lnTo>
                  <a:pt x="989" y="146"/>
                </a:lnTo>
                <a:lnTo>
                  <a:pt x="989" y="146"/>
                </a:lnTo>
                <a:lnTo>
                  <a:pt x="1000" y="150"/>
                </a:lnTo>
                <a:lnTo>
                  <a:pt x="1000" y="147"/>
                </a:lnTo>
                <a:close/>
                <a:moveTo>
                  <a:pt x="1014" y="152"/>
                </a:moveTo>
                <a:lnTo>
                  <a:pt x="1014" y="152"/>
                </a:lnTo>
                <a:lnTo>
                  <a:pt x="1005" y="149"/>
                </a:lnTo>
                <a:lnTo>
                  <a:pt x="1004" y="152"/>
                </a:lnTo>
                <a:lnTo>
                  <a:pt x="1004" y="152"/>
                </a:lnTo>
                <a:lnTo>
                  <a:pt x="1014" y="155"/>
                </a:lnTo>
                <a:lnTo>
                  <a:pt x="1014" y="152"/>
                </a:lnTo>
                <a:close/>
                <a:moveTo>
                  <a:pt x="1029" y="155"/>
                </a:moveTo>
                <a:lnTo>
                  <a:pt x="1029" y="155"/>
                </a:lnTo>
                <a:lnTo>
                  <a:pt x="1027" y="155"/>
                </a:lnTo>
                <a:lnTo>
                  <a:pt x="1027" y="155"/>
                </a:lnTo>
                <a:lnTo>
                  <a:pt x="1020" y="153"/>
                </a:lnTo>
                <a:lnTo>
                  <a:pt x="1018" y="156"/>
                </a:lnTo>
                <a:lnTo>
                  <a:pt x="1018" y="156"/>
                </a:lnTo>
                <a:lnTo>
                  <a:pt x="1027" y="157"/>
                </a:lnTo>
                <a:lnTo>
                  <a:pt x="1027" y="157"/>
                </a:lnTo>
                <a:lnTo>
                  <a:pt x="1030" y="156"/>
                </a:lnTo>
                <a:lnTo>
                  <a:pt x="1029" y="155"/>
                </a:lnTo>
                <a:close/>
                <a:moveTo>
                  <a:pt x="1043" y="149"/>
                </a:moveTo>
                <a:lnTo>
                  <a:pt x="1042" y="149"/>
                </a:lnTo>
                <a:lnTo>
                  <a:pt x="1042" y="149"/>
                </a:lnTo>
                <a:lnTo>
                  <a:pt x="1033" y="152"/>
                </a:lnTo>
                <a:lnTo>
                  <a:pt x="1034" y="155"/>
                </a:lnTo>
                <a:lnTo>
                  <a:pt x="1034" y="155"/>
                </a:lnTo>
                <a:lnTo>
                  <a:pt x="1043" y="150"/>
                </a:lnTo>
                <a:lnTo>
                  <a:pt x="1043" y="150"/>
                </a:lnTo>
                <a:lnTo>
                  <a:pt x="1043" y="149"/>
                </a:lnTo>
                <a:close/>
                <a:moveTo>
                  <a:pt x="1056" y="143"/>
                </a:moveTo>
                <a:lnTo>
                  <a:pt x="1056" y="143"/>
                </a:lnTo>
                <a:lnTo>
                  <a:pt x="1047" y="146"/>
                </a:lnTo>
                <a:lnTo>
                  <a:pt x="1049" y="149"/>
                </a:lnTo>
                <a:lnTo>
                  <a:pt x="1049" y="149"/>
                </a:lnTo>
                <a:lnTo>
                  <a:pt x="1057" y="144"/>
                </a:lnTo>
                <a:lnTo>
                  <a:pt x="1056" y="143"/>
                </a:lnTo>
                <a:close/>
                <a:moveTo>
                  <a:pt x="1071" y="136"/>
                </a:moveTo>
                <a:lnTo>
                  <a:pt x="1071" y="136"/>
                </a:lnTo>
                <a:lnTo>
                  <a:pt x="1062" y="140"/>
                </a:lnTo>
                <a:lnTo>
                  <a:pt x="1062" y="143"/>
                </a:lnTo>
                <a:lnTo>
                  <a:pt x="1062" y="143"/>
                </a:lnTo>
                <a:lnTo>
                  <a:pt x="1072" y="139"/>
                </a:lnTo>
                <a:lnTo>
                  <a:pt x="1071" y="136"/>
                </a:lnTo>
                <a:close/>
                <a:moveTo>
                  <a:pt x="1084" y="128"/>
                </a:moveTo>
                <a:lnTo>
                  <a:pt x="1084" y="128"/>
                </a:lnTo>
                <a:lnTo>
                  <a:pt x="1078" y="133"/>
                </a:lnTo>
                <a:lnTo>
                  <a:pt x="1078" y="133"/>
                </a:lnTo>
                <a:lnTo>
                  <a:pt x="1075" y="134"/>
                </a:lnTo>
                <a:lnTo>
                  <a:pt x="1076" y="136"/>
                </a:lnTo>
                <a:lnTo>
                  <a:pt x="1076" y="136"/>
                </a:lnTo>
                <a:lnTo>
                  <a:pt x="1079" y="134"/>
                </a:lnTo>
                <a:lnTo>
                  <a:pt x="1079" y="134"/>
                </a:lnTo>
                <a:lnTo>
                  <a:pt x="1085" y="131"/>
                </a:lnTo>
                <a:lnTo>
                  <a:pt x="1084" y="128"/>
                </a:lnTo>
                <a:close/>
                <a:moveTo>
                  <a:pt x="1098" y="134"/>
                </a:moveTo>
                <a:lnTo>
                  <a:pt x="1098" y="134"/>
                </a:lnTo>
                <a:lnTo>
                  <a:pt x="1092" y="133"/>
                </a:lnTo>
                <a:lnTo>
                  <a:pt x="1092" y="133"/>
                </a:lnTo>
                <a:lnTo>
                  <a:pt x="1089" y="131"/>
                </a:lnTo>
                <a:lnTo>
                  <a:pt x="1088" y="133"/>
                </a:lnTo>
                <a:lnTo>
                  <a:pt x="1088" y="133"/>
                </a:lnTo>
                <a:lnTo>
                  <a:pt x="1091" y="134"/>
                </a:lnTo>
                <a:lnTo>
                  <a:pt x="1091" y="134"/>
                </a:lnTo>
                <a:lnTo>
                  <a:pt x="1098" y="137"/>
                </a:lnTo>
                <a:lnTo>
                  <a:pt x="1098" y="134"/>
                </a:lnTo>
                <a:close/>
                <a:moveTo>
                  <a:pt x="1114" y="139"/>
                </a:moveTo>
                <a:lnTo>
                  <a:pt x="1114" y="139"/>
                </a:lnTo>
                <a:lnTo>
                  <a:pt x="1104" y="136"/>
                </a:lnTo>
                <a:lnTo>
                  <a:pt x="1102" y="139"/>
                </a:lnTo>
                <a:lnTo>
                  <a:pt x="1102" y="139"/>
                </a:lnTo>
                <a:lnTo>
                  <a:pt x="1113" y="140"/>
                </a:lnTo>
                <a:lnTo>
                  <a:pt x="1114" y="139"/>
                </a:lnTo>
                <a:close/>
                <a:moveTo>
                  <a:pt x="1128" y="142"/>
                </a:moveTo>
                <a:lnTo>
                  <a:pt x="1128" y="142"/>
                </a:lnTo>
                <a:lnTo>
                  <a:pt x="1118" y="139"/>
                </a:lnTo>
                <a:lnTo>
                  <a:pt x="1118" y="142"/>
                </a:lnTo>
                <a:lnTo>
                  <a:pt x="1118" y="142"/>
                </a:lnTo>
                <a:lnTo>
                  <a:pt x="1128" y="143"/>
                </a:lnTo>
                <a:lnTo>
                  <a:pt x="1128" y="142"/>
                </a:lnTo>
                <a:close/>
                <a:moveTo>
                  <a:pt x="1143" y="142"/>
                </a:moveTo>
                <a:lnTo>
                  <a:pt x="1141" y="142"/>
                </a:lnTo>
                <a:lnTo>
                  <a:pt x="1141" y="142"/>
                </a:lnTo>
                <a:lnTo>
                  <a:pt x="1140" y="142"/>
                </a:lnTo>
                <a:lnTo>
                  <a:pt x="1140" y="142"/>
                </a:lnTo>
                <a:lnTo>
                  <a:pt x="1133" y="142"/>
                </a:lnTo>
                <a:lnTo>
                  <a:pt x="1133" y="144"/>
                </a:lnTo>
                <a:lnTo>
                  <a:pt x="1133" y="144"/>
                </a:lnTo>
                <a:lnTo>
                  <a:pt x="1140" y="144"/>
                </a:lnTo>
                <a:lnTo>
                  <a:pt x="1140" y="144"/>
                </a:lnTo>
                <a:lnTo>
                  <a:pt x="1143" y="144"/>
                </a:lnTo>
                <a:lnTo>
                  <a:pt x="1144" y="144"/>
                </a:lnTo>
                <a:lnTo>
                  <a:pt x="1143" y="142"/>
                </a:lnTo>
                <a:close/>
                <a:moveTo>
                  <a:pt x="1155" y="133"/>
                </a:moveTo>
                <a:lnTo>
                  <a:pt x="1155" y="133"/>
                </a:lnTo>
                <a:lnTo>
                  <a:pt x="1147" y="139"/>
                </a:lnTo>
                <a:lnTo>
                  <a:pt x="1149" y="142"/>
                </a:lnTo>
                <a:lnTo>
                  <a:pt x="1149" y="142"/>
                </a:lnTo>
                <a:lnTo>
                  <a:pt x="1156" y="134"/>
                </a:lnTo>
                <a:lnTo>
                  <a:pt x="1155" y="133"/>
                </a:lnTo>
                <a:close/>
                <a:moveTo>
                  <a:pt x="1160" y="120"/>
                </a:moveTo>
                <a:lnTo>
                  <a:pt x="1160" y="120"/>
                </a:lnTo>
                <a:lnTo>
                  <a:pt x="1159" y="126"/>
                </a:lnTo>
                <a:lnTo>
                  <a:pt x="1159" y="126"/>
                </a:lnTo>
                <a:lnTo>
                  <a:pt x="1157" y="130"/>
                </a:lnTo>
                <a:lnTo>
                  <a:pt x="1160" y="131"/>
                </a:lnTo>
                <a:lnTo>
                  <a:pt x="1160" y="131"/>
                </a:lnTo>
                <a:lnTo>
                  <a:pt x="1162" y="127"/>
                </a:lnTo>
                <a:lnTo>
                  <a:pt x="1162" y="127"/>
                </a:lnTo>
                <a:lnTo>
                  <a:pt x="1163" y="121"/>
                </a:lnTo>
                <a:lnTo>
                  <a:pt x="1160" y="120"/>
                </a:lnTo>
                <a:close/>
                <a:moveTo>
                  <a:pt x="1166" y="105"/>
                </a:moveTo>
                <a:lnTo>
                  <a:pt x="1166" y="105"/>
                </a:lnTo>
                <a:lnTo>
                  <a:pt x="1162" y="113"/>
                </a:lnTo>
                <a:lnTo>
                  <a:pt x="1162" y="113"/>
                </a:lnTo>
                <a:lnTo>
                  <a:pt x="1162" y="115"/>
                </a:lnTo>
                <a:lnTo>
                  <a:pt x="1165" y="115"/>
                </a:lnTo>
                <a:lnTo>
                  <a:pt x="1165" y="115"/>
                </a:lnTo>
                <a:lnTo>
                  <a:pt x="1165" y="114"/>
                </a:lnTo>
                <a:lnTo>
                  <a:pt x="1165" y="114"/>
                </a:lnTo>
                <a:lnTo>
                  <a:pt x="1168" y="107"/>
                </a:lnTo>
                <a:lnTo>
                  <a:pt x="1166" y="105"/>
                </a:lnTo>
                <a:close/>
                <a:moveTo>
                  <a:pt x="1175" y="92"/>
                </a:moveTo>
                <a:lnTo>
                  <a:pt x="1175" y="92"/>
                </a:lnTo>
                <a:lnTo>
                  <a:pt x="1169" y="101"/>
                </a:lnTo>
                <a:lnTo>
                  <a:pt x="1170" y="102"/>
                </a:lnTo>
                <a:lnTo>
                  <a:pt x="1170" y="102"/>
                </a:lnTo>
                <a:lnTo>
                  <a:pt x="1176" y="94"/>
                </a:lnTo>
                <a:lnTo>
                  <a:pt x="1175" y="92"/>
                </a:lnTo>
                <a:close/>
                <a:moveTo>
                  <a:pt x="1173" y="81"/>
                </a:moveTo>
                <a:lnTo>
                  <a:pt x="1173" y="81"/>
                </a:lnTo>
                <a:lnTo>
                  <a:pt x="1172" y="85"/>
                </a:lnTo>
                <a:lnTo>
                  <a:pt x="1172" y="85"/>
                </a:lnTo>
                <a:lnTo>
                  <a:pt x="1173" y="86"/>
                </a:lnTo>
                <a:lnTo>
                  <a:pt x="1173" y="88"/>
                </a:lnTo>
                <a:lnTo>
                  <a:pt x="1173" y="88"/>
                </a:lnTo>
                <a:lnTo>
                  <a:pt x="1176" y="89"/>
                </a:lnTo>
                <a:lnTo>
                  <a:pt x="1176" y="89"/>
                </a:lnTo>
                <a:lnTo>
                  <a:pt x="1176" y="89"/>
                </a:lnTo>
                <a:lnTo>
                  <a:pt x="1176" y="89"/>
                </a:lnTo>
                <a:lnTo>
                  <a:pt x="1176" y="89"/>
                </a:lnTo>
                <a:lnTo>
                  <a:pt x="1176" y="89"/>
                </a:lnTo>
                <a:lnTo>
                  <a:pt x="1176" y="89"/>
                </a:lnTo>
                <a:lnTo>
                  <a:pt x="1176" y="89"/>
                </a:lnTo>
                <a:lnTo>
                  <a:pt x="1179" y="88"/>
                </a:lnTo>
                <a:lnTo>
                  <a:pt x="1179" y="88"/>
                </a:lnTo>
                <a:lnTo>
                  <a:pt x="1178" y="88"/>
                </a:lnTo>
                <a:lnTo>
                  <a:pt x="1178" y="88"/>
                </a:lnTo>
                <a:lnTo>
                  <a:pt x="1175" y="86"/>
                </a:lnTo>
                <a:lnTo>
                  <a:pt x="1175" y="86"/>
                </a:lnTo>
                <a:lnTo>
                  <a:pt x="1175" y="85"/>
                </a:lnTo>
                <a:lnTo>
                  <a:pt x="1175" y="85"/>
                </a:lnTo>
                <a:lnTo>
                  <a:pt x="1176" y="81"/>
                </a:lnTo>
                <a:lnTo>
                  <a:pt x="1173" y="81"/>
                </a:lnTo>
                <a:close/>
                <a:moveTo>
                  <a:pt x="1173" y="69"/>
                </a:moveTo>
                <a:lnTo>
                  <a:pt x="1173" y="69"/>
                </a:lnTo>
                <a:lnTo>
                  <a:pt x="1175" y="69"/>
                </a:lnTo>
                <a:lnTo>
                  <a:pt x="1175" y="69"/>
                </a:lnTo>
                <a:lnTo>
                  <a:pt x="1175" y="72"/>
                </a:lnTo>
                <a:lnTo>
                  <a:pt x="1175" y="72"/>
                </a:lnTo>
                <a:lnTo>
                  <a:pt x="1175" y="75"/>
                </a:lnTo>
                <a:lnTo>
                  <a:pt x="1178" y="76"/>
                </a:lnTo>
                <a:lnTo>
                  <a:pt x="1178" y="76"/>
                </a:lnTo>
                <a:lnTo>
                  <a:pt x="1178" y="72"/>
                </a:lnTo>
                <a:lnTo>
                  <a:pt x="1178" y="72"/>
                </a:lnTo>
                <a:lnTo>
                  <a:pt x="1176" y="68"/>
                </a:lnTo>
                <a:lnTo>
                  <a:pt x="1176" y="68"/>
                </a:lnTo>
                <a:lnTo>
                  <a:pt x="1175" y="66"/>
                </a:lnTo>
                <a:lnTo>
                  <a:pt x="1173" y="69"/>
                </a:lnTo>
                <a:close/>
                <a:moveTo>
                  <a:pt x="1169" y="56"/>
                </a:moveTo>
                <a:lnTo>
                  <a:pt x="1169" y="56"/>
                </a:lnTo>
                <a:lnTo>
                  <a:pt x="1168" y="59"/>
                </a:lnTo>
                <a:lnTo>
                  <a:pt x="1166" y="63"/>
                </a:lnTo>
                <a:lnTo>
                  <a:pt x="1166" y="63"/>
                </a:lnTo>
                <a:lnTo>
                  <a:pt x="1168" y="66"/>
                </a:lnTo>
                <a:lnTo>
                  <a:pt x="1169" y="66"/>
                </a:lnTo>
                <a:lnTo>
                  <a:pt x="1169" y="63"/>
                </a:lnTo>
                <a:lnTo>
                  <a:pt x="1169" y="63"/>
                </a:lnTo>
                <a:lnTo>
                  <a:pt x="1169" y="63"/>
                </a:lnTo>
                <a:lnTo>
                  <a:pt x="1169" y="63"/>
                </a:lnTo>
                <a:lnTo>
                  <a:pt x="1172" y="57"/>
                </a:lnTo>
                <a:lnTo>
                  <a:pt x="1169" y="56"/>
                </a:lnTo>
                <a:close/>
                <a:moveTo>
                  <a:pt x="1181" y="44"/>
                </a:moveTo>
                <a:lnTo>
                  <a:pt x="1181" y="44"/>
                </a:lnTo>
                <a:lnTo>
                  <a:pt x="1173" y="52"/>
                </a:lnTo>
                <a:lnTo>
                  <a:pt x="1175" y="53"/>
                </a:lnTo>
                <a:lnTo>
                  <a:pt x="1175" y="53"/>
                </a:lnTo>
                <a:lnTo>
                  <a:pt x="1182" y="47"/>
                </a:lnTo>
                <a:lnTo>
                  <a:pt x="1181" y="44"/>
                </a:lnTo>
                <a:close/>
                <a:moveTo>
                  <a:pt x="1197" y="42"/>
                </a:moveTo>
                <a:lnTo>
                  <a:pt x="1197" y="42"/>
                </a:lnTo>
                <a:lnTo>
                  <a:pt x="1186" y="43"/>
                </a:lnTo>
                <a:lnTo>
                  <a:pt x="1186" y="46"/>
                </a:lnTo>
                <a:lnTo>
                  <a:pt x="1186" y="46"/>
                </a:lnTo>
                <a:lnTo>
                  <a:pt x="1197" y="44"/>
                </a:lnTo>
                <a:lnTo>
                  <a:pt x="1197" y="42"/>
                </a:lnTo>
                <a:close/>
                <a:moveTo>
                  <a:pt x="1211" y="40"/>
                </a:moveTo>
                <a:lnTo>
                  <a:pt x="1211" y="40"/>
                </a:lnTo>
                <a:lnTo>
                  <a:pt x="1201" y="42"/>
                </a:lnTo>
                <a:lnTo>
                  <a:pt x="1201" y="43"/>
                </a:lnTo>
                <a:lnTo>
                  <a:pt x="1201" y="43"/>
                </a:lnTo>
                <a:lnTo>
                  <a:pt x="1211" y="43"/>
                </a:lnTo>
                <a:lnTo>
                  <a:pt x="1211" y="40"/>
                </a:lnTo>
                <a:close/>
                <a:moveTo>
                  <a:pt x="1227" y="39"/>
                </a:moveTo>
                <a:lnTo>
                  <a:pt x="1227" y="39"/>
                </a:lnTo>
                <a:lnTo>
                  <a:pt x="1217" y="39"/>
                </a:lnTo>
                <a:lnTo>
                  <a:pt x="1217" y="42"/>
                </a:lnTo>
                <a:lnTo>
                  <a:pt x="1217" y="42"/>
                </a:lnTo>
                <a:lnTo>
                  <a:pt x="1227" y="42"/>
                </a:lnTo>
                <a:lnTo>
                  <a:pt x="1227" y="39"/>
                </a:lnTo>
                <a:close/>
                <a:moveTo>
                  <a:pt x="1241" y="43"/>
                </a:moveTo>
                <a:lnTo>
                  <a:pt x="1241" y="43"/>
                </a:lnTo>
                <a:lnTo>
                  <a:pt x="1233" y="39"/>
                </a:lnTo>
                <a:lnTo>
                  <a:pt x="1231" y="42"/>
                </a:lnTo>
                <a:lnTo>
                  <a:pt x="1231" y="42"/>
                </a:lnTo>
                <a:lnTo>
                  <a:pt x="1241" y="44"/>
                </a:lnTo>
                <a:lnTo>
                  <a:pt x="1241" y="43"/>
                </a:lnTo>
                <a:close/>
                <a:moveTo>
                  <a:pt x="1256" y="44"/>
                </a:moveTo>
                <a:lnTo>
                  <a:pt x="1256" y="44"/>
                </a:lnTo>
                <a:lnTo>
                  <a:pt x="1254" y="43"/>
                </a:lnTo>
                <a:lnTo>
                  <a:pt x="1254" y="43"/>
                </a:lnTo>
                <a:lnTo>
                  <a:pt x="1247" y="44"/>
                </a:lnTo>
                <a:lnTo>
                  <a:pt x="1246" y="44"/>
                </a:lnTo>
                <a:lnTo>
                  <a:pt x="1246" y="47"/>
                </a:lnTo>
                <a:lnTo>
                  <a:pt x="1246" y="47"/>
                </a:lnTo>
                <a:lnTo>
                  <a:pt x="1247" y="47"/>
                </a:lnTo>
                <a:lnTo>
                  <a:pt x="1247" y="47"/>
                </a:lnTo>
                <a:lnTo>
                  <a:pt x="1254" y="46"/>
                </a:lnTo>
                <a:lnTo>
                  <a:pt x="1254" y="46"/>
                </a:lnTo>
                <a:lnTo>
                  <a:pt x="1256" y="46"/>
                </a:lnTo>
                <a:lnTo>
                  <a:pt x="1256" y="44"/>
                </a:lnTo>
                <a:close/>
                <a:moveTo>
                  <a:pt x="1267" y="55"/>
                </a:moveTo>
                <a:lnTo>
                  <a:pt x="1267" y="55"/>
                </a:lnTo>
                <a:lnTo>
                  <a:pt x="1262" y="46"/>
                </a:lnTo>
                <a:lnTo>
                  <a:pt x="1260" y="47"/>
                </a:lnTo>
                <a:lnTo>
                  <a:pt x="1260" y="47"/>
                </a:lnTo>
                <a:lnTo>
                  <a:pt x="1266" y="56"/>
                </a:lnTo>
                <a:lnTo>
                  <a:pt x="1267" y="55"/>
                </a:lnTo>
                <a:close/>
                <a:moveTo>
                  <a:pt x="1276" y="68"/>
                </a:moveTo>
                <a:lnTo>
                  <a:pt x="1276" y="68"/>
                </a:lnTo>
                <a:lnTo>
                  <a:pt x="1270" y="59"/>
                </a:lnTo>
                <a:lnTo>
                  <a:pt x="1269" y="60"/>
                </a:lnTo>
                <a:lnTo>
                  <a:pt x="1269" y="60"/>
                </a:lnTo>
                <a:lnTo>
                  <a:pt x="1273" y="69"/>
                </a:lnTo>
                <a:lnTo>
                  <a:pt x="1276" y="68"/>
                </a:lnTo>
                <a:close/>
                <a:moveTo>
                  <a:pt x="1283" y="81"/>
                </a:moveTo>
                <a:lnTo>
                  <a:pt x="1283" y="81"/>
                </a:lnTo>
                <a:lnTo>
                  <a:pt x="1279" y="72"/>
                </a:lnTo>
                <a:lnTo>
                  <a:pt x="1276" y="73"/>
                </a:lnTo>
                <a:lnTo>
                  <a:pt x="1276" y="73"/>
                </a:lnTo>
                <a:lnTo>
                  <a:pt x="1282" y="82"/>
                </a:lnTo>
                <a:lnTo>
                  <a:pt x="1283" y="81"/>
                </a:lnTo>
                <a:close/>
                <a:moveTo>
                  <a:pt x="1292" y="94"/>
                </a:moveTo>
                <a:lnTo>
                  <a:pt x="1292" y="94"/>
                </a:lnTo>
                <a:lnTo>
                  <a:pt x="1289" y="91"/>
                </a:lnTo>
                <a:lnTo>
                  <a:pt x="1289" y="91"/>
                </a:lnTo>
                <a:lnTo>
                  <a:pt x="1286" y="85"/>
                </a:lnTo>
                <a:lnTo>
                  <a:pt x="1283" y="86"/>
                </a:lnTo>
                <a:lnTo>
                  <a:pt x="1283" y="86"/>
                </a:lnTo>
                <a:lnTo>
                  <a:pt x="1288" y="92"/>
                </a:lnTo>
                <a:lnTo>
                  <a:pt x="1288" y="92"/>
                </a:lnTo>
                <a:lnTo>
                  <a:pt x="1289" y="95"/>
                </a:lnTo>
                <a:lnTo>
                  <a:pt x="1292" y="94"/>
                </a:lnTo>
                <a:close/>
                <a:moveTo>
                  <a:pt x="1294" y="108"/>
                </a:moveTo>
                <a:lnTo>
                  <a:pt x="1294" y="108"/>
                </a:lnTo>
                <a:lnTo>
                  <a:pt x="1292" y="104"/>
                </a:lnTo>
                <a:lnTo>
                  <a:pt x="1292" y="104"/>
                </a:lnTo>
                <a:lnTo>
                  <a:pt x="1292" y="104"/>
                </a:lnTo>
                <a:lnTo>
                  <a:pt x="1292" y="104"/>
                </a:lnTo>
                <a:lnTo>
                  <a:pt x="1292" y="100"/>
                </a:lnTo>
                <a:lnTo>
                  <a:pt x="1289" y="100"/>
                </a:lnTo>
                <a:lnTo>
                  <a:pt x="1289" y="100"/>
                </a:lnTo>
                <a:lnTo>
                  <a:pt x="1289" y="104"/>
                </a:lnTo>
                <a:lnTo>
                  <a:pt x="1289" y="104"/>
                </a:lnTo>
                <a:lnTo>
                  <a:pt x="1289" y="104"/>
                </a:lnTo>
                <a:lnTo>
                  <a:pt x="1289" y="104"/>
                </a:lnTo>
                <a:lnTo>
                  <a:pt x="1291" y="110"/>
                </a:lnTo>
                <a:lnTo>
                  <a:pt x="1294" y="108"/>
                </a:lnTo>
                <a:close/>
                <a:moveTo>
                  <a:pt x="1299" y="123"/>
                </a:moveTo>
                <a:lnTo>
                  <a:pt x="1299" y="123"/>
                </a:lnTo>
                <a:lnTo>
                  <a:pt x="1295" y="113"/>
                </a:lnTo>
                <a:lnTo>
                  <a:pt x="1294" y="114"/>
                </a:lnTo>
                <a:lnTo>
                  <a:pt x="1294" y="114"/>
                </a:lnTo>
                <a:lnTo>
                  <a:pt x="1296" y="123"/>
                </a:lnTo>
                <a:lnTo>
                  <a:pt x="1299" y="123"/>
                </a:lnTo>
                <a:close/>
                <a:moveTo>
                  <a:pt x="1304" y="134"/>
                </a:moveTo>
                <a:lnTo>
                  <a:pt x="1304" y="134"/>
                </a:lnTo>
                <a:lnTo>
                  <a:pt x="1301" y="133"/>
                </a:lnTo>
                <a:lnTo>
                  <a:pt x="1301" y="133"/>
                </a:lnTo>
                <a:lnTo>
                  <a:pt x="1301" y="130"/>
                </a:lnTo>
                <a:lnTo>
                  <a:pt x="1301" y="130"/>
                </a:lnTo>
                <a:lnTo>
                  <a:pt x="1301" y="128"/>
                </a:lnTo>
                <a:lnTo>
                  <a:pt x="1301" y="128"/>
                </a:lnTo>
                <a:lnTo>
                  <a:pt x="1301" y="128"/>
                </a:lnTo>
                <a:lnTo>
                  <a:pt x="1301" y="128"/>
                </a:lnTo>
                <a:lnTo>
                  <a:pt x="1301" y="127"/>
                </a:lnTo>
                <a:lnTo>
                  <a:pt x="1298" y="127"/>
                </a:lnTo>
                <a:lnTo>
                  <a:pt x="1298" y="128"/>
                </a:lnTo>
                <a:lnTo>
                  <a:pt x="1298" y="128"/>
                </a:lnTo>
                <a:lnTo>
                  <a:pt x="1298" y="128"/>
                </a:lnTo>
                <a:lnTo>
                  <a:pt x="1298" y="130"/>
                </a:lnTo>
                <a:lnTo>
                  <a:pt x="1298" y="130"/>
                </a:lnTo>
                <a:lnTo>
                  <a:pt x="1299" y="134"/>
                </a:lnTo>
                <a:lnTo>
                  <a:pt x="1299" y="134"/>
                </a:lnTo>
                <a:lnTo>
                  <a:pt x="1302" y="137"/>
                </a:lnTo>
                <a:lnTo>
                  <a:pt x="1304" y="134"/>
                </a:lnTo>
                <a:close/>
                <a:moveTo>
                  <a:pt x="1318" y="140"/>
                </a:moveTo>
                <a:lnTo>
                  <a:pt x="1318" y="140"/>
                </a:lnTo>
                <a:lnTo>
                  <a:pt x="1309" y="137"/>
                </a:lnTo>
                <a:lnTo>
                  <a:pt x="1309" y="137"/>
                </a:lnTo>
                <a:lnTo>
                  <a:pt x="1308" y="136"/>
                </a:lnTo>
                <a:lnTo>
                  <a:pt x="1308" y="139"/>
                </a:lnTo>
                <a:lnTo>
                  <a:pt x="1309" y="139"/>
                </a:lnTo>
                <a:lnTo>
                  <a:pt x="1309" y="139"/>
                </a:lnTo>
                <a:lnTo>
                  <a:pt x="1317" y="143"/>
                </a:lnTo>
                <a:lnTo>
                  <a:pt x="1318" y="140"/>
                </a:lnTo>
                <a:close/>
                <a:moveTo>
                  <a:pt x="1331" y="149"/>
                </a:moveTo>
                <a:lnTo>
                  <a:pt x="1331" y="149"/>
                </a:lnTo>
                <a:lnTo>
                  <a:pt x="1331" y="149"/>
                </a:lnTo>
                <a:lnTo>
                  <a:pt x="1323" y="143"/>
                </a:lnTo>
                <a:lnTo>
                  <a:pt x="1321" y="146"/>
                </a:lnTo>
                <a:lnTo>
                  <a:pt x="1321" y="146"/>
                </a:lnTo>
                <a:lnTo>
                  <a:pt x="1330" y="150"/>
                </a:lnTo>
                <a:lnTo>
                  <a:pt x="1330" y="150"/>
                </a:lnTo>
                <a:lnTo>
                  <a:pt x="1331" y="149"/>
                </a:lnTo>
                <a:close/>
                <a:moveTo>
                  <a:pt x="1343" y="159"/>
                </a:moveTo>
                <a:lnTo>
                  <a:pt x="1343" y="159"/>
                </a:lnTo>
                <a:lnTo>
                  <a:pt x="1336" y="152"/>
                </a:lnTo>
                <a:lnTo>
                  <a:pt x="1333" y="155"/>
                </a:lnTo>
                <a:lnTo>
                  <a:pt x="1333" y="155"/>
                </a:lnTo>
                <a:lnTo>
                  <a:pt x="1341" y="160"/>
                </a:lnTo>
                <a:lnTo>
                  <a:pt x="1343" y="159"/>
                </a:lnTo>
                <a:close/>
                <a:moveTo>
                  <a:pt x="1353" y="170"/>
                </a:moveTo>
                <a:lnTo>
                  <a:pt x="1353" y="170"/>
                </a:lnTo>
                <a:lnTo>
                  <a:pt x="1351" y="166"/>
                </a:lnTo>
                <a:lnTo>
                  <a:pt x="1350" y="163"/>
                </a:lnTo>
                <a:lnTo>
                  <a:pt x="1350" y="163"/>
                </a:lnTo>
                <a:lnTo>
                  <a:pt x="1347" y="162"/>
                </a:lnTo>
                <a:lnTo>
                  <a:pt x="1346" y="163"/>
                </a:lnTo>
                <a:lnTo>
                  <a:pt x="1346" y="163"/>
                </a:lnTo>
                <a:lnTo>
                  <a:pt x="1349" y="165"/>
                </a:lnTo>
                <a:lnTo>
                  <a:pt x="1349" y="165"/>
                </a:lnTo>
                <a:lnTo>
                  <a:pt x="1349" y="168"/>
                </a:lnTo>
                <a:lnTo>
                  <a:pt x="1350" y="170"/>
                </a:lnTo>
                <a:lnTo>
                  <a:pt x="1353" y="170"/>
                </a:lnTo>
                <a:close/>
                <a:moveTo>
                  <a:pt x="1356" y="184"/>
                </a:moveTo>
                <a:lnTo>
                  <a:pt x="1356" y="184"/>
                </a:lnTo>
                <a:lnTo>
                  <a:pt x="1353" y="181"/>
                </a:lnTo>
                <a:lnTo>
                  <a:pt x="1353" y="181"/>
                </a:lnTo>
                <a:lnTo>
                  <a:pt x="1353" y="176"/>
                </a:lnTo>
                <a:lnTo>
                  <a:pt x="1350" y="176"/>
                </a:lnTo>
                <a:lnTo>
                  <a:pt x="1350" y="176"/>
                </a:lnTo>
                <a:lnTo>
                  <a:pt x="1350" y="181"/>
                </a:lnTo>
                <a:lnTo>
                  <a:pt x="1350" y="181"/>
                </a:lnTo>
                <a:lnTo>
                  <a:pt x="1351" y="184"/>
                </a:lnTo>
                <a:lnTo>
                  <a:pt x="1354" y="185"/>
                </a:lnTo>
                <a:lnTo>
                  <a:pt x="1356" y="184"/>
                </a:lnTo>
                <a:close/>
                <a:moveTo>
                  <a:pt x="1369" y="188"/>
                </a:moveTo>
                <a:lnTo>
                  <a:pt x="1369" y="188"/>
                </a:lnTo>
                <a:lnTo>
                  <a:pt x="1367" y="188"/>
                </a:lnTo>
                <a:lnTo>
                  <a:pt x="1367" y="188"/>
                </a:lnTo>
                <a:lnTo>
                  <a:pt x="1360" y="186"/>
                </a:lnTo>
                <a:lnTo>
                  <a:pt x="1359" y="188"/>
                </a:lnTo>
                <a:lnTo>
                  <a:pt x="1359" y="188"/>
                </a:lnTo>
                <a:lnTo>
                  <a:pt x="1363" y="191"/>
                </a:lnTo>
                <a:lnTo>
                  <a:pt x="1367" y="191"/>
                </a:lnTo>
                <a:lnTo>
                  <a:pt x="1367" y="191"/>
                </a:lnTo>
                <a:lnTo>
                  <a:pt x="1369" y="191"/>
                </a:lnTo>
                <a:lnTo>
                  <a:pt x="1369" y="188"/>
                </a:lnTo>
                <a:close/>
                <a:moveTo>
                  <a:pt x="1382" y="182"/>
                </a:moveTo>
                <a:lnTo>
                  <a:pt x="1382" y="182"/>
                </a:lnTo>
                <a:lnTo>
                  <a:pt x="1373" y="186"/>
                </a:lnTo>
                <a:lnTo>
                  <a:pt x="1375" y="189"/>
                </a:lnTo>
                <a:lnTo>
                  <a:pt x="1375" y="189"/>
                </a:lnTo>
                <a:lnTo>
                  <a:pt x="1383" y="185"/>
                </a:lnTo>
                <a:lnTo>
                  <a:pt x="1382" y="182"/>
                </a:lnTo>
                <a:close/>
                <a:moveTo>
                  <a:pt x="1398" y="178"/>
                </a:moveTo>
                <a:lnTo>
                  <a:pt x="1398" y="178"/>
                </a:lnTo>
                <a:lnTo>
                  <a:pt x="1393" y="179"/>
                </a:lnTo>
                <a:lnTo>
                  <a:pt x="1393" y="179"/>
                </a:lnTo>
                <a:lnTo>
                  <a:pt x="1388" y="181"/>
                </a:lnTo>
                <a:lnTo>
                  <a:pt x="1388" y="184"/>
                </a:lnTo>
                <a:lnTo>
                  <a:pt x="1388" y="184"/>
                </a:lnTo>
                <a:lnTo>
                  <a:pt x="1393" y="181"/>
                </a:lnTo>
                <a:lnTo>
                  <a:pt x="1393" y="181"/>
                </a:lnTo>
                <a:lnTo>
                  <a:pt x="1398" y="181"/>
                </a:lnTo>
                <a:lnTo>
                  <a:pt x="1398" y="178"/>
                </a:lnTo>
                <a:close/>
                <a:moveTo>
                  <a:pt x="1411" y="175"/>
                </a:moveTo>
                <a:lnTo>
                  <a:pt x="1411" y="175"/>
                </a:lnTo>
                <a:lnTo>
                  <a:pt x="1402" y="178"/>
                </a:lnTo>
                <a:lnTo>
                  <a:pt x="1402" y="181"/>
                </a:lnTo>
                <a:lnTo>
                  <a:pt x="1402" y="181"/>
                </a:lnTo>
                <a:lnTo>
                  <a:pt x="1412" y="178"/>
                </a:lnTo>
                <a:lnTo>
                  <a:pt x="1411" y="175"/>
                </a:lnTo>
                <a:close/>
                <a:moveTo>
                  <a:pt x="1412" y="189"/>
                </a:moveTo>
                <a:lnTo>
                  <a:pt x="1412" y="189"/>
                </a:lnTo>
                <a:lnTo>
                  <a:pt x="1415" y="179"/>
                </a:lnTo>
                <a:lnTo>
                  <a:pt x="1412" y="179"/>
                </a:lnTo>
                <a:lnTo>
                  <a:pt x="1412" y="179"/>
                </a:lnTo>
                <a:lnTo>
                  <a:pt x="1409" y="189"/>
                </a:lnTo>
                <a:lnTo>
                  <a:pt x="1412" y="189"/>
                </a:lnTo>
                <a:close/>
                <a:moveTo>
                  <a:pt x="1408" y="204"/>
                </a:moveTo>
                <a:lnTo>
                  <a:pt x="1408" y="204"/>
                </a:lnTo>
                <a:lnTo>
                  <a:pt x="1409" y="198"/>
                </a:lnTo>
                <a:lnTo>
                  <a:pt x="1409" y="198"/>
                </a:lnTo>
                <a:lnTo>
                  <a:pt x="1411" y="194"/>
                </a:lnTo>
                <a:lnTo>
                  <a:pt x="1408" y="194"/>
                </a:lnTo>
                <a:lnTo>
                  <a:pt x="1408" y="194"/>
                </a:lnTo>
                <a:lnTo>
                  <a:pt x="1407" y="198"/>
                </a:lnTo>
                <a:lnTo>
                  <a:pt x="1407" y="198"/>
                </a:lnTo>
                <a:lnTo>
                  <a:pt x="1407" y="204"/>
                </a:lnTo>
                <a:lnTo>
                  <a:pt x="1408" y="204"/>
                </a:lnTo>
                <a:close/>
                <a:moveTo>
                  <a:pt x="1407" y="220"/>
                </a:moveTo>
                <a:lnTo>
                  <a:pt x="1407" y="220"/>
                </a:lnTo>
                <a:lnTo>
                  <a:pt x="1408" y="210"/>
                </a:lnTo>
                <a:lnTo>
                  <a:pt x="1405" y="208"/>
                </a:lnTo>
                <a:lnTo>
                  <a:pt x="1405" y="208"/>
                </a:lnTo>
                <a:lnTo>
                  <a:pt x="1404" y="218"/>
                </a:lnTo>
                <a:lnTo>
                  <a:pt x="1407" y="220"/>
                </a:lnTo>
                <a:close/>
                <a:moveTo>
                  <a:pt x="1401" y="234"/>
                </a:moveTo>
                <a:lnTo>
                  <a:pt x="1401" y="234"/>
                </a:lnTo>
                <a:lnTo>
                  <a:pt x="1404" y="228"/>
                </a:lnTo>
                <a:lnTo>
                  <a:pt x="1404" y="228"/>
                </a:lnTo>
                <a:lnTo>
                  <a:pt x="1405" y="224"/>
                </a:lnTo>
                <a:lnTo>
                  <a:pt x="1402" y="224"/>
                </a:lnTo>
                <a:lnTo>
                  <a:pt x="1402" y="224"/>
                </a:lnTo>
                <a:lnTo>
                  <a:pt x="1401" y="227"/>
                </a:lnTo>
                <a:lnTo>
                  <a:pt x="1401" y="227"/>
                </a:lnTo>
                <a:lnTo>
                  <a:pt x="1399" y="233"/>
                </a:lnTo>
                <a:lnTo>
                  <a:pt x="1401" y="234"/>
                </a:lnTo>
                <a:close/>
                <a:moveTo>
                  <a:pt x="1393" y="247"/>
                </a:moveTo>
                <a:lnTo>
                  <a:pt x="1393" y="247"/>
                </a:lnTo>
                <a:lnTo>
                  <a:pt x="1398" y="239"/>
                </a:lnTo>
                <a:lnTo>
                  <a:pt x="1396" y="237"/>
                </a:lnTo>
                <a:lnTo>
                  <a:pt x="1396" y="237"/>
                </a:lnTo>
                <a:lnTo>
                  <a:pt x="1391" y="246"/>
                </a:lnTo>
                <a:lnTo>
                  <a:pt x="1393" y="247"/>
                </a:lnTo>
                <a:close/>
                <a:moveTo>
                  <a:pt x="1380" y="256"/>
                </a:moveTo>
                <a:lnTo>
                  <a:pt x="1382" y="257"/>
                </a:lnTo>
                <a:lnTo>
                  <a:pt x="1382" y="257"/>
                </a:lnTo>
                <a:lnTo>
                  <a:pt x="1385" y="256"/>
                </a:lnTo>
                <a:lnTo>
                  <a:pt x="1385" y="256"/>
                </a:lnTo>
                <a:lnTo>
                  <a:pt x="1389" y="250"/>
                </a:lnTo>
                <a:lnTo>
                  <a:pt x="1388" y="249"/>
                </a:lnTo>
                <a:lnTo>
                  <a:pt x="1388" y="249"/>
                </a:lnTo>
                <a:lnTo>
                  <a:pt x="1383" y="253"/>
                </a:lnTo>
                <a:lnTo>
                  <a:pt x="1383" y="253"/>
                </a:lnTo>
                <a:lnTo>
                  <a:pt x="1382" y="254"/>
                </a:lnTo>
                <a:lnTo>
                  <a:pt x="1380" y="254"/>
                </a:lnTo>
                <a:lnTo>
                  <a:pt x="1380" y="256"/>
                </a:lnTo>
                <a:close/>
                <a:moveTo>
                  <a:pt x="1366" y="256"/>
                </a:moveTo>
                <a:lnTo>
                  <a:pt x="1366" y="256"/>
                </a:lnTo>
                <a:lnTo>
                  <a:pt x="1369" y="254"/>
                </a:lnTo>
                <a:lnTo>
                  <a:pt x="1369" y="254"/>
                </a:lnTo>
                <a:lnTo>
                  <a:pt x="1370" y="254"/>
                </a:lnTo>
                <a:lnTo>
                  <a:pt x="1370" y="254"/>
                </a:lnTo>
                <a:lnTo>
                  <a:pt x="1375" y="256"/>
                </a:lnTo>
                <a:lnTo>
                  <a:pt x="1376" y="253"/>
                </a:lnTo>
                <a:lnTo>
                  <a:pt x="1376" y="253"/>
                </a:lnTo>
                <a:lnTo>
                  <a:pt x="1370" y="252"/>
                </a:lnTo>
                <a:lnTo>
                  <a:pt x="1370" y="252"/>
                </a:lnTo>
                <a:lnTo>
                  <a:pt x="1367" y="253"/>
                </a:lnTo>
                <a:lnTo>
                  <a:pt x="1367" y="253"/>
                </a:lnTo>
                <a:lnTo>
                  <a:pt x="1366" y="253"/>
                </a:lnTo>
                <a:lnTo>
                  <a:pt x="1366" y="256"/>
                </a:lnTo>
                <a:close/>
                <a:moveTo>
                  <a:pt x="1359" y="265"/>
                </a:moveTo>
                <a:lnTo>
                  <a:pt x="1359" y="265"/>
                </a:lnTo>
                <a:lnTo>
                  <a:pt x="1359" y="263"/>
                </a:lnTo>
                <a:lnTo>
                  <a:pt x="1359" y="263"/>
                </a:lnTo>
                <a:lnTo>
                  <a:pt x="1359" y="262"/>
                </a:lnTo>
                <a:lnTo>
                  <a:pt x="1359" y="262"/>
                </a:lnTo>
                <a:lnTo>
                  <a:pt x="1362" y="259"/>
                </a:lnTo>
                <a:lnTo>
                  <a:pt x="1360" y="256"/>
                </a:lnTo>
                <a:lnTo>
                  <a:pt x="1360" y="256"/>
                </a:lnTo>
                <a:lnTo>
                  <a:pt x="1359" y="257"/>
                </a:lnTo>
                <a:lnTo>
                  <a:pt x="1356" y="260"/>
                </a:lnTo>
                <a:lnTo>
                  <a:pt x="1356" y="260"/>
                </a:lnTo>
                <a:lnTo>
                  <a:pt x="1356" y="263"/>
                </a:lnTo>
                <a:lnTo>
                  <a:pt x="1356" y="263"/>
                </a:lnTo>
                <a:lnTo>
                  <a:pt x="1356" y="266"/>
                </a:lnTo>
                <a:lnTo>
                  <a:pt x="1359" y="265"/>
                </a:lnTo>
                <a:close/>
                <a:moveTo>
                  <a:pt x="1362" y="281"/>
                </a:moveTo>
                <a:lnTo>
                  <a:pt x="1362" y="281"/>
                </a:lnTo>
                <a:lnTo>
                  <a:pt x="1363" y="278"/>
                </a:lnTo>
                <a:lnTo>
                  <a:pt x="1363" y="278"/>
                </a:lnTo>
                <a:lnTo>
                  <a:pt x="1362" y="273"/>
                </a:lnTo>
                <a:lnTo>
                  <a:pt x="1362" y="273"/>
                </a:lnTo>
                <a:lnTo>
                  <a:pt x="1360" y="270"/>
                </a:lnTo>
                <a:lnTo>
                  <a:pt x="1357" y="270"/>
                </a:lnTo>
                <a:lnTo>
                  <a:pt x="1357" y="270"/>
                </a:lnTo>
                <a:lnTo>
                  <a:pt x="1359" y="275"/>
                </a:lnTo>
                <a:lnTo>
                  <a:pt x="1359" y="275"/>
                </a:lnTo>
                <a:lnTo>
                  <a:pt x="1360" y="278"/>
                </a:lnTo>
                <a:lnTo>
                  <a:pt x="1360" y="278"/>
                </a:lnTo>
                <a:lnTo>
                  <a:pt x="1360" y="279"/>
                </a:lnTo>
                <a:lnTo>
                  <a:pt x="1362" y="281"/>
                </a:lnTo>
                <a:close/>
                <a:moveTo>
                  <a:pt x="1357" y="295"/>
                </a:moveTo>
                <a:lnTo>
                  <a:pt x="1357" y="295"/>
                </a:lnTo>
                <a:lnTo>
                  <a:pt x="1362" y="285"/>
                </a:lnTo>
                <a:lnTo>
                  <a:pt x="1359" y="285"/>
                </a:lnTo>
                <a:lnTo>
                  <a:pt x="1359" y="285"/>
                </a:lnTo>
                <a:lnTo>
                  <a:pt x="1354" y="294"/>
                </a:lnTo>
                <a:lnTo>
                  <a:pt x="1357" y="295"/>
                </a:lnTo>
                <a:close/>
                <a:moveTo>
                  <a:pt x="1344" y="304"/>
                </a:moveTo>
                <a:lnTo>
                  <a:pt x="1344" y="304"/>
                </a:lnTo>
                <a:lnTo>
                  <a:pt x="1350" y="302"/>
                </a:lnTo>
                <a:lnTo>
                  <a:pt x="1350" y="302"/>
                </a:lnTo>
                <a:lnTo>
                  <a:pt x="1353" y="301"/>
                </a:lnTo>
                <a:lnTo>
                  <a:pt x="1354" y="299"/>
                </a:lnTo>
                <a:lnTo>
                  <a:pt x="1353" y="298"/>
                </a:lnTo>
                <a:lnTo>
                  <a:pt x="1353" y="298"/>
                </a:lnTo>
                <a:lnTo>
                  <a:pt x="1350" y="301"/>
                </a:lnTo>
                <a:lnTo>
                  <a:pt x="1350" y="301"/>
                </a:lnTo>
                <a:lnTo>
                  <a:pt x="1344" y="301"/>
                </a:lnTo>
                <a:lnTo>
                  <a:pt x="1344" y="304"/>
                </a:lnTo>
                <a:close/>
                <a:moveTo>
                  <a:pt x="1331" y="308"/>
                </a:moveTo>
                <a:lnTo>
                  <a:pt x="1331" y="308"/>
                </a:lnTo>
                <a:lnTo>
                  <a:pt x="1336" y="305"/>
                </a:lnTo>
                <a:lnTo>
                  <a:pt x="1338" y="304"/>
                </a:lnTo>
                <a:lnTo>
                  <a:pt x="1338" y="304"/>
                </a:lnTo>
                <a:lnTo>
                  <a:pt x="1340" y="304"/>
                </a:lnTo>
                <a:lnTo>
                  <a:pt x="1340" y="301"/>
                </a:lnTo>
                <a:lnTo>
                  <a:pt x="1340" y="301"/>
                </a:lnTo>
                <a:lnTo>
                  <a:pt x="1337" y="302"/>
                </a:lnTo>
                <a:lnTo>
                  <a:pt x="1337" y="302"/>
                </a:lnTo>
                <a:lnTo>
                  <a:pt x="1334" y="304"/>
                </a:lnTo>
                <a:lnTo>
                  <a:pt x="1330" y="307"/>
                </a:lnTo>
                <a:lnTo>
                  <a:pt x="1331" y="308"/>
                </a:lnTo>
                <a:close/>
                <a:moveTo>
                  <a:pt x="1321" y="320"/>
                </a:moveTo>
                <a:lnTo>
                  <a:pt x="1321" y="320"/>
                </a:lnTo>
                <a:lnTo>
                  <a:pt x="1323" y="318"/>
                </a:lnTo>
                <a:lnTo>
                  <a:pt x="1323" y="318"/>
                </a:lnTo>
                <a:lnTo>
                  <a:pt x="1328" y="311"/>
                </a:lnTo>
                <a:lnTo>
                  <a:pt x="1327" y="310"/>
                </a:lnTo>
                <a:lnTo>
                  <a:pt x="1327" y="310"/>
                </a:lnTo>
                <a:lnTo>
                  <a:pt x="1321" y="315"/>
                </a:lnTo>
                <a:lnTo>
                  <a:pt x="1320" y="317"/>
                </a:lnTo>
                <a:lnTo>
                  <a:pt x="1321" y="320"/>
                </a:lnTo>
                <a:close/>
                <a:moveTo>
                  <a:pt x="1311" y="323"/>
                </a:moveTo>
                <a:lnTo>
                  <a:pt x="1311" y="323"/>
                </a:lnTo>
                <a:lnTo>
                  <a:pt x="1311" y="320"/>
                </a:lnTo>
                <a:lnTo>
                  <a:pt x="1311" y="320"/>
                </a:lnTo>
                <a:lnTo>
                  <a:pt x="1311" y="320"/>
                </a:lnTo>
                <a:lnTo>
                  <a:pt x="1311" y="320"/>
                </a:lnTo>
                <a:lnTo>
                  <a:pt x="1311" y="320"/>
                </a:lnTo>
                <a:lnTo>
                  <a:pt x="1311" y="320"/>
                </a:lnTo>
                <a:lnTo>
                  <a:pt x="1311" y="320"/>
                </a:lnTo>
                <a:lnTo>
                  <a:pt x="1311" y="320"/>
                </a:lnTo>
                <a:lnTo>
                  <a:pt x="1311" y="320"/>
                </a:lnTo>
                <a:lnTo>
                  <a:pt x="1315" y="320"/>
                </a:lnTo>
                <a:lnTo>
                  <a:pt x="1315" y="318"/>
                </a:lnTo>
                <a:lnTo>
                  <a:pt x="1315" y="318"/>
                </a:lnTo>
                <a:lnTo>
                  <a:pt x="1311" y="317"/>
                </a:lnTo>
                <a:lnTo>
                  <a:pt x="1311" y="317"/>
                </a:lnTo>
                <a:lnTo>
                  <a:pt x="1309" y="318"/>
                </a:lnTo>
                <a:lnTo>
                  <a:pt x="1309" y="318"/>
                </a:lnTo>
                <a:lnTo>
                  <a:pt x="1308" y="320"/>
                </a:lnTo>
                <a:lnTo>
                  <a:pt x="1308" y="320"/>
                </a:lnTo>
                <a:lnTo>
                  <a:pt x="1308" y="323"/>
                </a:lnTo>
                <a:lnTo>
                  <a:pt x="1311" y="323"/>
                </a:lnTo>
                <a:close/>
                <a:moveTo>
                  <a:pt x="1301" y="334"/>
                </a:moveTo>
                <a:lnTo>
                  <a:pt x="1301" y="334"/>
                </a:lnTo>
                <a:lnTo>
                  <a:pt x="1302" y="334"/>
                </a:lnTo>
                <a:lnTo>
                  <a:pt x="1302" y="334"/>
                </a:lnTo>
                <a:lnTo>
                  <a:pt x="1304" y="334"/>
                </a:lnTo>
                <a:lnTo>
                  <a:pt x="1307" y="333"/>
                </a:lnTo>
                <a:lnTo>
                  <a:pt x="1307" y="333"/>
                </a:lnTo>
                <a:lnTo>
                  <a:pt x="1309" y="328"/>
                </a:lnTo>
                <a:lnTo>
                  <a:pt x="1308" y="327"/>
                </a:lnTo>
                <a:lnTo>
                  <a:pt x="1308" y="327"/>
                </a:lnTo>
                <a:lnTo>
                  <a:pt x="1305" y="330"/>
                </a:lnTo>
                <a:lnTo>
                  <a:pt x="1305" y="330"/>
                </a:lnTo>
                <a:lnTo>
                  <a:pt x="1302" y="331"/>
                </a:lnTo>
                <a:lnTo>
                  <a:pt x="1301" y="331"/>
                </a:lnTo>
                <a:lnTo>
                  <a:pt x="1301" y="334"/>
                </a:lnTo>
                <a:close/>
                <a:moveTo>
                  <a:pt x="1288" y="333"/>
                </a:moveTo>
                <a:lnTo>
                  <a:pt x="1288" y="333"/>
                </a:lnTo>
                <a:lnTo>
                  <a:pt x="1289" y="331"/>
                </a:lnTo>
                <a:lnTo>
                  <a:pt x="1291" y="331"/>
                </a:lnTo>
                <a:lnTo>
                  <a:pt x="1292" y="331"/>
                </a:lnTo>
                <a:lnTo>
                  <a:pt x="1292" y="331"/>
                </a:lnTo>
                <a:lnTo>
                  <a:pt x="1295" y="331"/>
                </a:lnTo>
                <a:lnTo>
                  <a:pt x="1296" y="330"/>
                </a:lnTo>
                <a:lnTo>
                  <a:pt x="1296" y="330"/>
                </a:lnTo>
                <a:lnTo>
                  <a:pt x="1292" y="328"/>
                </a:lnTo>
                <a:lnTo>
                  <a:pt x="1291" y="328"/>
                </a:lnTo>
                <a:lnTo>
                  <a:pt x="1291" y="328"/>
                </a:lnTo>
                <a:lnTo>
                  <a:pt x="1288" y="330"/>
                </a:lnTo>
                <a:lnTo>
                  <a:pt x="1286" y="331"/>
                </a:lnTo>
                <a:lnTo>
                  <a:pt x="1288" y="333"/>
                </a:lnTo>
                <a:close/>
                <a:moveTo>
                  <a:pt x="1278" y="344"/>
                </a:moveTo>
                <a:lnTo>
                  <a:pt x="1278" y="344"/>
                </a:lnTo>
                <a:lnTo>
                  <a:pt x="1282" y="340"/>
                </a:lnTo>
                <a:lnTo>
                  <a:pt x="1285" y="337"/>
                </a:lnTo>
                <a:lnTo>
                  <a:pt x="1283" y="336"/>
                </a:lnTo>
                <a:lnTo>
                  <a:pt x="1283" y="336"/>
                </a:lnTo>
                <a:lnTo>
                  <a:pt x="1276" y="343"/>
                </a:lnTo>
                <a:lnTo>
                  <a:pt x="1278" y="344"/>
                </a:lnTo>
                <a:close/>
                <a:moveTo>
                  <a:pt x="1265" y="352"/>
                </a:moveTo>
                <a:lnTo>
                  <a:pt x="1266" y="352"/>
                </a:lnTo>
                <a:lnTo>
                  <a:pt x="1266" y="352"/>
                </a:lnTo>
                <a:lnTo>
                  <a:pt x="1273" y="347"/>
                </a:lnTo>
                <a:lnTo>
                  <a:pt x="1272" y="346"/>
                </a:lnTo>
                <a:lnTo>
                  <a:pt x="1272" y="346"/>
                </a:lnTo>
                <a:lnTo>
                  <a:pt x="1265" y="349"/>
                </a:lnTo>
                <a:lnTo>
                  <a:pt x="1263" y="350"/>
                </a:lnTo>
                <a:lnTo>
                  <a:pt x="1265" y="352"/>
                </a:lnTo>
                <a:close/>
                <a:moveTo>
                  <a:pt x="1252" y="359"/>
                </a:moveTo>
                <a:lnTo>
                  <a:pt x="1252" y="359"/>
                </a:lnTo>
                <a:lnTo>
                  <a:pt x="1252" y="359"/>
                </a:lnTo>
                <a:lnTo>
                  <a:pt x="1256" y="356"/>
                </a:lnTo>
                <a:lnTo>
                  <a:pt x="1260" y="354"/>
                </a:lnTo>
                <a:lnTo>
                  <a:pt x="1259" y="352"/>
                </a:lnTo>
                <a:lnTo>
                  <a:pt x="1259" y="352"/>
                </a:lnTo>
                <a:lnTo>
                  <a:pt x="1254" y="353"/>
                </a:lnTo>
                <a:lnTo>
                  <a:pt x="1250" y="356"/>
                </a:lnTo>
                <a:lnTo>
                  <a:pt x="1250" y="357"/>
                </a:lnTo>
                <a:lnTo>
                  <a:pt x="1252" y="359"/>
                </a:lnTo>
                <a:close/>
                <a:moveTo>
                  <a:pt x="1244" y="372"/>
                </a:moveTo>
                <a:lnTo>
                  <a:pt x="1244" y="372"/>
                </a:lnTo>
                <a:lnTo>
                  <a:pt x="1249" y="363"/>
                </a:lnTo>
                <a:lnTo>
                  <a:pt x="1247" y="362"/>
                </a:lnTo>
                <a:lnTo>
                  <a:pt x="1247" y="362"/>
                </a:lnTo>
                <a:lnTo>
                  <a:pt x="1241" y="370"/>
                </a:lnTo>
                <a:lnTo>
                  <a:pt x="1244" y="37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69" name="Freeform 1719"/>
          <p:cNvSpPr>
            <a:spLocks noEditPoints="1"/>
          </p:cNvSpPr>
          <p:nvPr/>
        </p:nvSpPr>
        <p:spPr bwMode="auto">
          <a:xfrm>
            <a:off x="5584012" y="2427793"/>
            <a:ext cx="550028" cy="561899"/>
          </a:xfrm>
          <a:custGeom>
            <a:avLst/>
            <a:gdLst>
              <a:gd name="T0" fmla="*/ 527 w 556"/>
              <a:gd name="T1" fmla="*/ 545 h 568"/>
              <a:gd name="T2" fmla="*/ 527 w 556"/>
              <a:gd name="T3" fmla="*/ 539 h 568"/>
              <a:gd name="T4" fmla="*/ 506 w 556"/>
              <a:gd name="T5" fmla="*/ 530 h 568"/>
              <a:gd name="T6" fmla="*/ 491 w 556"/>
              <a:gd name="T7" fmla="*/ 545 h 568"/>
              <a:gd name="T8" fmla="*/ 475 w 556"/>
              <a:gd name="T9" fmla="*/ 540 h 568"/>
              <a:gd name="T10" fmla="*/ 459 w 556"/>
              <a:gd name="T11" fmla="*/ 545 h 568"/>
              <a:gd name="T12" fmla="*/ 462 w 556"/>
              <a:gd name="T13" fmla="*/ 543 h 568"/>
              <a:gd name="T14" fmla="*/ 455 w 556"/>
              <a:gd name="T15" fmla="*/ 546 h 568"/>
              <a:gd name="T16" fmla="*/ 455 w 556"/>
              <a:gd name="T17" fmla="*/ 540 h 568"/>
              <a:gd name="T18" fmla="*/ 455 w 556"/>
              <a:gd name="T19" fmla="*/ 546 h 568"/>
              <a:gd name="T20" fmla="*/ 452 w 556"/>
              <a:gd name="T21" fmla="*/ 565 h 568"/>
              <a:gd name="T22" fmla="*/ 439 w 556"/>
              <a:gd name="T23" fmla="*/ 553 h 568"/>
              <a:gd name="T24" fmla="*/ 430 w 556"/>
              <a:gd name="T25" fmla="*/ 555 h 568"/>
              <a:gd name="T26" fmla="*/ 419 w 556"/>
              <a:gd name="T27" fmla="*/ 552 h 568"/>
              <a:gd name="T28" fmla="*/ 412 w 556"/>
              <a:gd name="T29" fmla="*/ 545 h 568"/>
              <a:gd name="T30" fmla="*/ 397 w 556"/>
              <a:gd name="T31" fmla="*/ 511 h 568"/>
              <a:gd name="T32" fmla="*/ 390 w 556"/>
              <a:gd name="T33" fmla="*/ 506 h 568"/>
              <a:gd name="T34" fmla="*/ 400 w 556"/>
              <a:gd name="T35" fmla="*/ 474 h 568"/>
              <a:gd name="T36" fmla="*/ 404 w 556"/>
              <a:gd name="T37" fmla="*/ 464 h 568"/>
              <a:gd name="T38" fmla="*/ 396 w 556"/>
              <a:gd name="T39" fmla="*/ 440 h 568"/>
              <a:gd name="T40" fmla="*/ 390 w 556"/>
              <a:gd name="T41" fmla="*/ 424 h 568"/>
              <a:gd name="T42" fmla="*/ 359 w 556"/>
              <a:gd name="T43" fmla="*/ 438 h 568"/>
              <a:gd name="T44" fmla="*/ 362 w 556"/>
              <a:gd name="T45" fmla="*/ 436 h 568"/>
              <a:gd name="T46" fmla="*/ 352 w 556"/>
              <a:gd name="T47" fmla="*/ 436 h 568"/>
              <a:gd name="T48" fmla="*/ 319 w 556"/>
              <a:gd name="T49" fmla="*/ 439 h 568"/>
              <a:gd name="T50" fmla="*/ 315 w 556"/>
              <a:gd name="T51" fmla="*/ 426 h 568"/>
              <a:gd name="T52" fmla="*/ 290 w 556"/>
              <a:gd name="T53" fmla="*/ 435 h 568"/>
              <a:gd name="T54" fmla="*/ 264 w 556"/>
              <a:gd name="T55" fmla="*/ 439 h 568"/>
              <a:gd name="T56" fmla="*/ 246 w 556"/>
              <a:gd name="T57" fmla="*/ 440 h 568"/>
              <a:gd name="T58" fmla="*/ 228 w 556"/>
              <a:gd name="T59" fmla="*/ 445 h 568"/>
              <a:gd name="T60" fmla="*/ 191 w 556"/>
              <a:gd name="T61" fmla="*/ 439 h 568"/>
              <a:gd name="T62" fmla="*/ 165 w 556"/>
              <a:gd name="T63" fmla="*/ 417 h 568"/>
              <a:gd name="T64" fmla="*/ 162 w 556"/>
              <a:gd name="T65" fmla="*/ 414 h 568"/>
              <a:gd name="T66" fmla="*/ 132 w 556"/>
              <a:gd name="T67" fmla="*/ 406 h 568"/>
              <a:gd name="T68" fmla="*/ 105 w 556"/>
              <a:gd name="T69" fmla="*/ 394 h 568"/>
              <a:gd name="T70" fmla="*/ 80 w 556"/>
              <a:gd name="T71" fmla="*/ 377 h 568"/>
              <a:gd name="T72" fmla="*/ 74 w 556"/>
              <a:gd name="T73" fmla="*/ 365 h 568"/>
              <a:gd name="T74" fmla="*/ 77 w 556"/>
              <a:gd name="T75" fmla="*/ 352 h 568"/>
              <a:gd name="T76" fmla="*/ 51 w 556"/>
              <a:gd name="T77" fmla="*/ 325 h 568"/>
              <a:gd name="T78" fmla="*/ 54 w 556"/>
              <a:gd name="T79" fmla="*/ 312 h 568"/>
              <a:gd name="T80" fmla="*/ 9 w 556"/>
              <a:gd name="T81" fmla="*/ 271 h 568"/>
              <a:gd name="T82" fmla="*/ 18 w 556"/>
              <a:gd name="T83" fmla="*/ 261 h 568"/>
              <a:gd name="T84" fmla="*/ 22 w 556"/>
              <a:gd name="T85" fmla="*/ 242 h 568"/>
              <a:gd name="T86" fmla="*/ 2 w 556"/>
              <a:gd name="T87" fmla="*/ 220 h 568"/>
              <a:gd name="T88" fmla="*/ 15 w 556"/>
              <a:gd name="T89" fmla="*/ 209 h 568"/>
              <a:gd name="T90" fmla="*/ 21 w 556"/>
              <a:gd name="T91" fmla="*/ 207 h 568"/>
              <a:gd name="T92" fmla="*/ 51 w 556"/>
              <a:gd name="T93" fmla="*/ 199 h 568"/>
              <a:gd name="T94" fmla="*/ 55 w 556"/>
              <a:gd name="T95" fmla="*/ 194 h 568"/>
              <a:gd name="T96" fmla="*/ 80 w 556"/>
              <a:gd name="T97" fmla="*/ 185 h 568"/>
              <a:gd name="T98" fmla="*/ 102 w 556"/>
              <a:gd name="T99" fmla="*/ 171 h 568"/>
              <a:gd name="T100" fmla="*/ 109 w 556"/>
              <a:gd name="T101" fmla="*/ 146 h 568"/>
              <a:gd name="T102" fmla="*/ 110 w 556"/>
              <a:gd name="T103" fmla="*/ 148 h 568"/>
              <a:gd name="T104" fmla="*/ 109 w 556"/>
              <a:gd name="T105" fmla="*/ 115 h 568"/>
              <a:gd name="T106" fmla="*/ 110 w 556"/>
              <a:gd name="T107" fmla="*/ 104 h 568"/>
              <a:gd name="T108" fmla="*/ 131 w 556"/>
              <a:gd name="T109" fmla="*/ 94 h 568"/>
              <a:gd name="T110" fmla="*/ 139 w 556"/>
              <a:gd name="T111" fmla="*/ 80 h 568"/>
              <a:gd name="T112" fmla="*/ 147 w 556"/>
              <a:gd name="T113" fmla="*/ 74 h 568"/>
              <a:gd name="T114" fmla="*/ 151 w 556"/>
              <a:gd name="T115" fmla="*/ 58 h 568"/>
              <a:gd name="T116" fmla="*/ 171 w 556"/>
              <a:gd name="T117" fmla="*/ 58 h 568"/>
              <a:gd name="T118" fmla="*/ 193 w 556"/>
              <a:gd name="T119" fmla="*/ 48 h 568"/>
              <a:gd name="T120" fmla="*/ 191 w 556"/>
              <a:gd name="T121" fmla="*/ 32 h 568"/>
              <a:gd name="T122" fmla="*/ 204 w 556"/>
              <a:gd name="T123" fmla="*/ 20 h 568"/>
              <a:gd name="T124" fmla="*/ 222 w 556"/>
              <a:gd name="T125" fmla="*/ 6 h 5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56" h="568">
                <a:moveTo>
                  <a:pt x="554" y="561"/>
                </a:moveTo>
                <a:lnTo>
                  <a:pt x="554" y="561"/>
                </a:lnTo>
                <a:lnTo>
                  <a:pt x="555" y="562"/>
                </a:lnTo>
                <a:lnTo>
                  <a:pt x="556" y="559"/>
                </a:lnTo>
                <a:lnTo>
                  <a:pt x="556" y="559"/>
                </a:lnTo>
                <a:lnTo>
                  <a:pt x="555" y="559"/>
                </a:lnTo>
                <a:lnTo>
                  <a:pt x="554" y="561"/>
                </a:lnTo>
                <a:close/>
                <a:moveTo>
                  <a:pt x="540" y="555"/>
                </a:moveTo>
                <a:lnTo>
                  <a:pt x="540" y="555"/>
                </a:lnTo>
                <a:lnTo>
                  <a:pt x="549" y="558"/>
                </a:lnTo>
                <a:lnTo>
                  <a:pt x="551" y="556"/>
                </a:lnTo>
                <a:lnTo>
                  <a:pt x="551" y="556"/>
                </a:lnTo>
                <a:lnTo>
                  <a:pt x="540" y="552"/>
                </a:lnTo>
                <a:lnTo>
                  <a:pt x="540" y="555"/>
                </a:lnTo>
                <a:close/>
                <a:moveTo>
                  <a:pt x="527" y="545"/>
                </a:moveTo>
                <a:lnTo>
                  <a:pt x="527" y="545"/>
                </a:lnTo>
                <a:lnTo>
                  <a:pt x="529" y="549"/>
                </a:lnTo>
                <a:lnTo>
                  <a:pt x="533" y="552"/>
                </a:lnTo>
                <a:lnTo>
                  <a:pt x="533" y="552"/>
                </a:lnTo>
                <a:lnTo>
                  <a:pt x="535" y="553"/>
                </a:lnTo>
                <a:lnTo>
                  <a:pt x="536" y="551"/>
                </a:lnTo>
                <a:lnTo>
                  <a:pt x="536" y="551"/>
                </a:lnTo>
                <a:lnTo>
                  <a:pt x="535" y="549"/>
                </a:lnTo>
                <a:lnTo>
                  <a:pt x="535" y="549"/>
                </a:lnTo>
                <a:lnTo>
                  <a:pt x="530" y="546"/>
                </a:lnTo>
                <a:lnTo>
                  <a:pt x="529" y="545"/>
                </a:lnTo>
                <a:lnTo>
                  <a:pt x="527" y="545"/>
                </a:lnTo>
                <a:close/>
                <a:moveTo>
                  <a:pt x="520" y="535"/>
                </a:moveTo>
                <a:lnTo>
                  <a:pt x="520" y="535"/>
                </a:lnTo>
                <a:lnTo>
                  <a:pt x="525" y="537"/>
                </a:lnTo>
                <a:lnTo>
                  <a:pt x="525" y="537"/>
                </a:lnTo>
                <a:lnTo>
                  <a:pt x="527" y="539"/>
                </a:lnTo>
                <a:lnTo>
                  <a:pt x="527" y="540"/>
                </a:lnTo>
                <a:lnTo>
                  <a:pt x="529" y="540"/>
                </a:lnTo>
                <a:lnTo>
                  <a:pt x="529" y="539"/>
                </a:lnTo>
                <a:lnTo>
                  <a:pt x="529" y="539"/>
                </a:lnTo>
                <a:lnTo>
                  <a:pt x="529" y="537"/>
                </a:lnTo>
                <a:lnTo>
                  <a:pt x="526" y="535"/>
                </a:lnTo>
                <a:lnTo>
                  <a:pt x="526" y="535"/>
                </a:lnTo>
                <a:lnTo>
                  <a:pt x="522" y="532"/>
                </a:lnTo>
                <a:lnTo>
                  <a:pt x="520" y="535"/>
                </a:lnTo>
                <a:close/>
                <a:moveTo>
                  <a:pt x="506" y="530"/>
                </a:moveTo>
                <a:lnTo>
                  <a:pt x="506" y="530"/>
                </a:lnTo>
                <a:lnTo>
                  <a:pt x="516" y="533"/>
                </a:lnTo>
                <a:lnTo>
                  <a:pt x="517" y="530"/>
                </a:lnTo>
                <a:lnTo>
                  <a:pt x="517" y="530"/>
                </a:lnTo>
                <a:lnTo>
                  <a:pt x="507" y="527"/>
                </a:lnTo>
                <a:lnTo>
                  <a:pt x="506" y="530"/>
                </a:lnTo>
                <a:close/>
                <a:moveTo>
                  <a:pt x="500" y="539"/>
                </a:moveTo>
                <a:lnTo>
                  <a:pt x="500" y="539"/>
                </a:lnTo>
                <a:lnTo>
                  <a:pt x="501" y="533"/>
                </a:lnTo>
                <a:lnTo>
                  <a:pt x="501" y="533"/>
                </a:lnTo>
                <a:lnTo>
                  <a:pt x="503" y="530"/>
                </a:lnTo>
                <a:lnTo>
                  <a:pt x="501" y="527"/>
                </a:lnTo>
                <a:lnTo>
                  <a:pt x="501" y="527"/>
                </a:lnTo>
                <a:lnTo>
                  <a:pt x="500" y="530"/>
                </a:lnTo>
                <a:lnTo>
                  <a:pt x="498" y="533"/>
                </a:lnTo>
                <a:lnTo>
                  <a:pt x="498" y="533"/>
                </a:lnTo>
                <a:lnTo>
                  <a:pt x="497" y="537"/>
                </a:lnTo>
                <a:lnTo>
                  <a:pt x="500" y="539"/>
                </a:lnTo>
                <a:close/>
                <a:moveTo>
                  <a:pt x="485" y="542"/>
                </a:moveTo>
                <a:lnTo>
                  <a:pt x="485" y="542"/>
                </a:lnTo>
                <a:lnTo>
                  <a:pt x="487" y="543"/>
                </a:lnTo>
                <a:lnTo>
                  <a:pt x="491" y="545"/>
                </a:lnTo>
                <a:lnTo>
                  <a:pt x="491" y="545"/>
                </a:lnTo>
                <a:lnTo>
                  <a:pt x="494" y="543"/>
                </a:lnTo>
                <a:lnTo>
                  <a:pt x="494" y="543"/>
                </a:lnTo>
                <a:lnTo>
                  <a:pt x="496" y="543"/>
                </a:lnTo>
                <a:lnTo>
                  <a:pt x="494" y="540"/>
                </a:lnTo>
                <a:lnTo>
                  <a:pt x="494" y="542"/>
                </a:lnTo>
                <a:lnTo>
                  <a:pt x="494" y="542"/>
                </a:lnTo>
                <a:lnTo>
                  <a:pt x="491" y="542"/>
                </a:lnTo>
                <a:lnTo>
                  <a:pt x="491" y="542"/>
                </a:lnTo>
                <a:lnTo>
                  <a:pt x="488" y="540"/>
                </a:lnTo>
                <a:lnTo>
                  <a:pt x="487" y="539"/>
                </a:lnTo>
                <a:lnTo>
                  <a:pt x="485" y="542"/>
                </a:lnTo>
                <a:close/>
                <a:moveTo>
                  <a:pt x="471" y="539"/>
                </a:moveTo>
                <a:lnTo>
                  <a:pt x="471" y="539"/>
                </a:lnTo>
                <a:lnTo>
                  <a:pt x="475" y="540"/>
                </a:lnTo>
                <a:lnTo>
                  <a:pt x="475" y="540"/>
                </a:lnTo>
                <a:lnTo>
                  <a:pt x="477" y="540"/>
                </a:lnTo>
                <a:lnTo>
                  <a:pt x="477" y="540"/>
                </a:lnTo>
                <a:lnTo>
                  <a:pt x="480" y="540"/>
                </a:lnTo>
                <a:lnTo>
                  <a:pt x="480" y="540"/>
                </a:lnTo>
                <a:lnTo>
                  <a:pt x="481" y="540"/>
                </a:lnTo>
                <a:lnTo>
                  <a:pt x="481" y="537"/>
                </a:lnTo>
                <a:lnTo>
                  <a:pt x="481" y="537"/>
                </a:lnTo>
                <a:lnTo>
                  <a:pt x="480" y="537"/>
                </a:lnTo>
                <a:lnTo>
                  <a:pt x="480" y="537"/>
                </a:lnTo>
                <a:lnTo>
                  <a:pt x="477" y="537"/>
                </a:lnTo>
                <a:lnTo>
                  <a:pt x="477" y="537"/>
                </a:lnTo>
                <a:lnTo>
                  <a:pt x="475" y="537"/>
                </a:lnTo>
                <a:lnTo>
                  <a:pt x="475" y="537"/>
                </a:lnTo>
                <a:lnTo>
                  <a:pt x="471" y="537"/>
                </a:lnTo>
                <a:lnTo>
                  <a:pt x="471" y="539"/>
                </a:lnTo>
                <a:close/>
                <a:moveTo>
                  <a:pt x="459" y="545"/>
                </a:moveTo>
                <a:lnTo>
                  <a:pt x="459" y="545"/>
                </a:lnTo>
                <a:lnTo>
                  <a:pt x="461" y="546"/>
                </a:lnTo>
                <a:lnTo>
                  <a:pt x="461" y="546"/>
                </a:lnTo>
                <a:lnTo>
                  <a:pt x="462" y="546"/>
                </a:lnTo>
                <a:lnTo>
                  <a:pt x="462" y="546"/>
                </a:lnTo>
                <a:lnTo>
                  <a:pt x="464" y="546"/>
                </a:lnTo>
                <a:lnTo>
                  <a:pt x="464" y="546"/>
                </a:lnTo>
                <a:lnTo>
                  <a:pt x="465" y="545"/>
                </a:lnTo>
                <a:lnTo>
                  <a:pt x="465" y="545"/>
                </a:lnTo>
                <a:lnTo>
                  <a:pt x="467" y="542"/>
                </a:lnTo>
                <a:lnTo>
                  <a:pt x="468" y="539"/>
                </a:lnTo>
                <a:lnTo>
                  <a:pt x="465" y="539"/>
                </a:lnTo>
                <a:lnTo>
                  <a:pt x="465" y="539"/>
                </a:lnTo>
                <a:lnTo>
                  <a:pt x="464" y="543"/>
                </a:lnTo>
                <a:lnTo>
                  <a:pt x="464" y="543"/>
                </a:lnTo>
                <a:lnTo>
                  <a:pt x="462" y="543"/>
                </a:lnTo>
                <a:lnTo>
                  <a:pt x="462" y="543"/>
                </a:lnTo>
                <a:lnTo>
                  <a:pt x="462" y="545"/>
                </a:lnTo>
                <a:lnTo>
                  <a:pt x="462" y="543"/>
                </a:lnTo>
                <a:lnTo>
                  <a:pt x="462" y="543"/>
                </a:lnTo>
                <a:lnTo>
                  <a:pt x="462" y="545"/>
                </a:lnTo>
                <a:lnTo>
                  <a:pt x="462" y="543"/>
                </a:lnTo>
                <a:lnTo>
                  <a:pt x="462" y="545"/>
                </a:lnTo>
                <a:lnTo>
                  <a:pt x="462" y="543"/>
                </a:lnTo>
                <a:lnTo>
                  <a:pt x="462" y="543"/>
                </a:lnTo>
                <a:lnTo>
                  <a:pt x="462" y="545"/>
                </a:lnTo>
                <a:lnTo>
                  <a:pt x="462" y="543"/>
                </a:lnTo>
                <a:lnTo>
                  <a:pt x="462" y="543"/>
                </a:lnTo>
                <a:lnTo>
                  <a:pt x="462" y="542"/>
                </a:lnTo>
                <a:lnTo>
                  <a:pt x="459" y="545"/>
                </a:lnTo>
                <a:close/>
                <a:moveTo>
                  <a:pt x="455" y="546"/>
                </a:moveTo>
                <a:lnTo>
                  <a:pt x="455" y="546"/>
                </a:lnTo>
                <a:lnTo>
                  <a:pt x="455" y="542"/>
                </a:lnTo>
                <a:lnTo>
                  <a:pt x="455" y="542"/>
                </a:lnTo>
                <a:lnTo>
                  <a:pt x="455" y="540"/>
                </a:lnTo>
                <a:lnTo>
                  <a:pt x="455" y="540"/>
                </a:lnTo>
                <a:lnTo>
                  <a:pt x="455" y="540"/>
                </a:lnTo>
                <a:lnTo>
                  <a:pt x="455" y="540"/>
                </a:lnTo>
                <a:lnTo>
                  <a:pt x="455" y="540"/>
                </a:lnTo>
                <a:lnTo>
                  <a:pt x="455" y="540"/>
                </a:lnTo>
                <a:lnTo>
                  <a:pt x="455" y="540"/>
                </a:lnTo>
                <a:lnTo>
                  <a:pt x="455" y="540"/>
                </a:lnTo>
                <a:lnTo>
                  <a:pt x="455" y="540"/>
                </a:lnTo>
                <a:lnTo>
                  <a:pt x="455" y="540"/>
                </a:lnTo>
                <a:lnTo>
                  <a:pt x="455" y="540"/>
                </a:lnTo>
                <a:lnTo>
                  <a:pt x="455" y="540"/>
                </a:lnTo>
                <a:lnTo>
                  <a:pt x="455" y="540"/>
                </a:lnTo>
                <a:lnTo>
                  <a:pt x="455" y="540"/>
                </a:lnTo>
                <a:lnTo>
                  <a:pt x="455" y="540"/>
                </a:lnTo>
                <a:lnTo>
                  <a:pt x="455" y="540"/>
                </a:lnTo>
                <a:lnTo>
                  <a:pt x="455" y="540"/>
                </a:lnTo>
                <a:lnTo>
                  <a:pt x="456" y="540"/>
                </a:lnTo>
                <a:lnTo>
                  <a:pt x="456" y="540"/>
                </a:lnTo>
                <a:lnTo>
                  <a:pt x="458" y="539"/>
                </a:lnTo>
                <a:lnTo>
                  <a:pt x="458" y="539"/>
                </a:lnTo>
                <a:lnTo>
                  <a:pt x="458" y="539"/>
                </a:lnTo>
                <a:lnTo>
                  <a:pt x="455" y="537"/>
                </a:lnTo>
                <a:lnTo>
                  <a:pt x="455" y="537"/>
                </a:lnTo>
                <a:lnTo>
                  <a:pt x="454" y="539"/>
                </a:lnTo>
                <a:lnTo>
                  <a:pt x="454" y="539"/>
                </a:lnTo>
                <a:lnTo>
                  <a:pt x="452" y="542"/>
                </a:lnTo>
                <a:lnTo>
                  <a:pt x="452" y="542"/>
                </a:lnTo>
                <a:lnTo>
                  <a:pt x="452" y="546"/>
                </a:lnTo>
                <a:lnTo>
                  <a:pt x="455" y="546"/>
                </a:lnTo>
                <a:close/>
                <a:moveTo>
                  <a:pt x="455" y="561"/>
                </a:moveTo>
                <a:lnTo>
                  <a:pt x="455" y="561"/>
                </a:lnTo>
                <a:lnTo>
                  <a:pt x="455" y="551"/>
                </a:lnTo>
                <a:lnTo>
                  <a:pt x="452" y="551"/>
                </a:lnTo>
                <a:lnTo>
                  <a:pt x="452" y="551"/>
                </a:lnTo>
                <a:lnTo>
                  <a:pt x="452" y="561"/>
                </a:lnTo>
                <a:lnTo>
                  <a:pt x="455" y="561"/>
                </a:lnTo>
                <a:close/>
                <a:moveTo>
                  <a:pt x="445" y="562"/>
                </a:moveTo>
                <a:lnTo>
                  <a:pt x="445" y="562"/>
                </a:lnTo>
                <a:lnTo>
                  <a:pt x="448" y="566"/>
                </a:lnTo>
                <a:lnTo>
                  <a:pt x="448" y="566"/>
                </a:lnTo>
                <a:lnTo>
                  <a:pt x="452" y="568"/>
                </a:lnTo>
                <a:lnTo>
                  <a:pt x="452" y="568"/>
                </a:lnTo>
                <a:lnTo>
                  <a:pt x="455" y="566"/>
                </a:lnTo>
                <a:lnTo>
                  <a:pt x="452" y="565"/>
                </a:lnTo>
                <a:lnTo>
                  <a:pt x="452" y="565"/>
                </a:lnTo>
                <a:lnTo>
                  <a:pt x="452" y="565"/>
                </a:lnTo>
                <a:lnTo>
                  <a:pt x="452" y="565"/>
                </a:lnTo>
                <a:lnTo>
                  <a:pt x="452" y="565"/>
                </a:lnTo>
                <a:lnTo>
                  <a:pt x="452" y="565"/>
                </a:lnTo>
                <a:lnTo>
                  <a:pt x="452" y="565"/>
                </a:lnTo>
                <a:lnTo>
                  <a:pt x="452" y="565"/>
                </a:lnTo>
                <a:lnTo>
                  <a:pt x="452" y="565"/>
                </a:lnTo>
                <a:lnTo>
                  <a:pt x="449" y="565"/>
                </a:lnTo>
                <a:lnTo>
                  <a:pt x="449" y="565"/>
                </a:lnTo>
                <a:lnTo>
                  <a:pt x="446" y="561"/>
                </a:lnTo>
                <a:lnTo>
                  <a:pt x="445" y="562"/>
                </a:lnTo>
                <a:close/>
                <a:moveTo>
                  <a:pt x="438" y="552"/>
                </a:moveTo>
                <a:lnTo>
                  <a:pt x="438" y="552"/>
                </a:lnTo>
                <a:lnTo>
                  <a:pt x="438" y="552"/>
                </a:lnTo>
                <a:lnTo>
                  <a:pt x="438" y="552"/>
                </a:lnTo>
                <a:lnTo>
                  <a:pt x="439" y="553"/>
                </a:lnTo>
                <a:lnTo>
                  <a:pt x="439" y="553"/>
                </a:lnTo>
                <a:lnTo>
                  <a:pt x="442" y="558"/>
                </a:lnTo>
                <a:lnTo>
                  <a:pt x="443" y="556"/>
                </a:lnTo>
                <a:lnTo>
                  <a:pt x="443" y="556"/>
                </a:lnTo>
                <a:lnTo>
                  <a:pt x="442" y="553"/>
                </a:lnTo>
                <a:lnTo>
                  <a:pt x="442" y="553"/>
                </a:lnTo>
                <a:lnTo>
                  <a:pt x="441" y="551"/>
                </a:lnTo>
                <a:lnTo>
                  <a:pt x="441" y="551"/>
                </a:lnTo>
                <a:lnTo>
                  <a:pt x="438" y="549"/>
                </a:lnTo>
                <a:lnTo>
                  <a:pt x="436" y="549"/>
                </a:lnTo>
                <a:lnTo>
                  <a:pt x="438" y="552"/>
                </a:lnTo>
                <a:close/>
                <a:moveTo>
                  <a:pt x="422" y="556"/>
                </a:moveTo>
                <a:lnTo>
                  <a:pt x="422" y="556"/>
                </a:lnTo>
                <a:lnTo>
                  <a:pt x="426" y="556"/>
                </a:lnTo>
                <a:lnTo>
                  <a:pt x="426" y="556"/>
                </a:lnTo>
                <a:lnTo>
                  <a:pt x="430" y="555"/>
                </a:lnTo>
                <a:lnTo>
                  <a:pt x="430" y="555"/>
                </a:lnTo>
                <a:lnTo>
                  <a:pt x="433" y="553"/>
                </a:lnTo>
                <a:lnTo>
                  <a:pt x="432" y="552"/>
                </a:lnTo>
                <a:lnTo>
                  <a:pt x="432" y="552"/>
                </a:lnTo>
                <a:lnTo>
                  <a:pt x="429" y="553"/>
                </a:lnTo>
                <a:lnTo>
                  <a:pt x="429" y="553"/>
                </a:lnTo>
                <a:lnTo>
                  <a:pt x="426" y="553"/>
                </a:lnTo>
                <a:lnTo>
                  <a:pt x="426" y="553"/>
                </a:lnTo>
                <a:lnTo>
                  <a:pt x="423" y="553"/>
                </a:lnTo>
                <a:lnTo>
                  <a:pt x="422" y="556"/>
                </a:lnTo>
                <a:close/>
                <a:moveTo>
                  <a:pt x="409" y="549"/>
                </a:moveTo>
                <a:lnTo>
                  <a:pt x="409" y="549"/>
                </a:lnTo>
                <a:lnTo>
                  <a:pt x="410" y="551"/>
                </a:lnTo>
                <a:lnTo>
                  <a:pt x="410" y="551"/>
                </a:lnTo>
                <a:lnTo>
                  <a:pt x="417" y="555"/>
                </a:lnTo>
                <a:lnTo>
                  <a:pt x="419" y="552"/>
                </a:lnTo>
                <a:lnTo>
                  <a:pt x="419" y="552"/>
                </a:lnTo>
                <a:lnTo>
                  <a:pt x="412" y="549"/>
                </a:lnTo>
                <a:lnTo>
                  <a:pt x="412" y="549"/>
                </a:lnTo>
                <a:lnTo>
                  <a:pt x="410" y="548"/>
                </a:lnTo>
                <a:lnTo>
                  <a:pt x="409" y="549"/>
                </a:lnTo>
                <a:close/>
                <a:moveTo>
                  <a:pt x="413" y="535"/>
                </a:moveTo>
                <a:lnTo>
                  <a:pt x="413" y="536"/>
                </a:lnTo>
                <a:lnTo>
                  <a:pt x="413" y="536"/>
                </a:lnTo>
                <a:lnTo>
                  <a:pt x="413" y="536"/>
                </a:lnTo>
                <a:lnTo>
                  <a:pt x="413" y="536"/>
                </a:lnTo>
                <a:lnTo>
                  <a:pt x="413" y="536"/>
                </a:lnTo>
                <a:lnTo>
                  <a:pt x="412" y="539"/>
                </a:lnTo>
                <a:lnTo>
                  <a:pt x="412" y="539"/>
                </a:lnTo>
                <a:lnTo>
                  <a:pt x="410" y="543"/>
                </a:lnTo>
                <a:lnTo>
                  <a:pt x="412" y="545"/>
                </a:lnTo>
                <a:lnTo>
                  <a:pt x="412" y="545"/>
                </a:lnTo>
                <a:lnTo>
                  <a:pt x="414" y="540"/>
                </a:lnTo>
                <a:lnTo>
                  <a:pt x="414" y="540"/>
                </a:lnTo>
                <a:lnTo>
                  <a:pt x="416" y="537"/>
                </a:lnTo>
                <a:lnTo>
                  <a:pt x="416" y="536"/>
                </a:lnTo>
                <a:lnTo>
                  <a:pt x="416" y="536"/>
                </a:lnTo>
                <a:lnTo>
                  <a:pt x="416" y="535"/>
                </a:lnTo>
                <a:lnTo>
                  <a:pt x="413" y="535"/>
                </a:lnTo>
                <a:close/>
                <a:moveTo>
                  <a:pt x="406" y="523"/>
                </a:moveTo>
                <a:lnTo>
                  <a:pt x="406" y="523"/>
                </a:lnTo>
                <a:lnTo>
                  <a:pt x="412" y="530"/>
                </a:lnTo>
                <a:lnTo>
                  <a:pt x="413" y="529"/>
                </a:lnTo>
                <a:lnTo>
                  <a:pt x="413" y="529"/>
                </a:lnTo>
                <a:lnTo>
                  <a:pt x="407" y="522"/>
                </a:lnTo>
                <a:lnTo>
                  <a:pt x="406" y="523"/>
                </a:lnTo>
                <a:close/>
                <a:moveTo>
                  <a:pt x="397" y="511"/>
                </a:moveTo>
                <a:lnTo>
                  <a:pt x="397" y="511"/>
                </a:lnTo>
                <a:lnTo>
                  <a:pt x="400" y="514"/>
                </a:lnTo>
                <a:lnTo>
                  <a:pt x="403" y="517"/>
                </a:lnTo>
                <a:lnTo>
                  <a:pt x="406" y="517"/>
                </a:lnTo>
                <a:lnTo>
                  <a:pt x="406" y="517"/>
                </a:lnTo>
                <a:lnTo>
                  <a:pt x="401" y="513"/>
                </a:lnTo>
                <a:lnTo>
                  <a:pt x="397" y="509"/>
                </a:lnTo>
                <a:lnTo>
                  <a:pt x="397" y="511"/>
                </a:lnTo>
                <a:close/>
                <a:moveTo>
                  <a:pt x="387" y="500"/>
                </a:moveTo>
                <a:lnTo>
                  <a:pt x="387" y="500"/>
                </a:lnTo>
                <a:lnTo>
                  <a:pt x="387" y="504"/>
                </a:lnTo>
                <a:lnTo>
                  <a:pt x="388" y="507"/>
                </a:lnTo>
                <a:lnTo>
                  <a:pt x="388" y="507"/>
                </a:lnTo>
                <a:lnTo>
                  <a:pt x="393" y="509"/>
                </a:lnTo>
                <a:lnTo>
                  <a:pt x="393" y="507"/>
                </a:lnTo>
                <a:lnTo>
                  <a:pt x="393" y="507"/>
                </a:lnTo>
                <a:lnTo>
                  <a:pt x="390" y="506"/>
                </a:lnTo>
                <a:lnTo>
                  <a:pt x="390" y="506"/>
                </a:lnTo>
                <a:lnTo>
                  <a:pt x="388" y="500"/>
                </a:lnTo>
                <a:lnTo>
                  <a:pt x="387" y="500"/>
                </a:lnTo>
                <a:close/>
                <a:moveTo>
                  <a:pt x="391" y="485"/>
                </a:moveTo>
                <a:lnTo>
                  <a:pt x="391" y="485"/>
                </a:lnTo>
                <a:lnTo>
                  <a:pt x="388" y="488"/>
                </a:lnTo>
                <a:lnTo>
                  <a:pt x="387" y="493"/>
                </a:lnTo>
                <a:lnTo>
                  <a:pt x="387" y="493"/>
                </a:lnTo>
                <a:lnTo>
                  <a:pt x="387" y="494"/>
                </a:lnTo>
                <a:lnTo>
                  <a:pt x="388" y="495"/>
                </a:lnTo>
                <a:lnTo>
                  <a:pt x="388" y="495"/>
                </a:lnTo>
                <a:lnTo>
                  <a:pt x="388" y="493"/>
                </a:lnTo>
                <a:lnTo>
                  <a:pt x="388" y="493"/>
                </a:lnTo>
                <a:lnTo>
                  <a:pt x="393" y="487"/>
                </a:lnTo>
                <a:lnTo>
                  <a:pt x="391" y="485"/>
                </a:lnTo>
                <a:close/>
                <a:moveTo>
                  <a:pt x="400" y="474"/>
                </a:moveTo>
                <a:lnTo>
                  <a:pt x="400" y="474"/>
                </a:lnTo>
                <a:lnTo>
                  <a:pt x="394" y="481"/>
                </a:lnTo>
                <a:lnTo>
                  <a:pt x="396" y="482"/>
                </a:lnTo>
                <a:lnTo>
                  <a:pt x="396" y="482"/>
                </a:lnTo>
                <a:lnTo>
                  <a:pt x="403" y="475"/>
                </a:lnTo>
                <a:lnTo>
                  <a:pt x="400" y="474"/>
                </a:lnTo>
                <a:close/>
                <a:moveTo>
                  <a:pt x="400" y="459"/>
                </a:moveTo>
                <a:lnTo>
                  <a:pt x="400" y="459"/>
                </a:lnTo>
                <a:lnTo>
                  <a:pt x="403" y="468"/>
                </a:lnTo>
                <a:lnTo>
                  <a:pt x="403" y="468"/>
                </a:lnTo>
                <a:lnTo>
                  <a:pt x="403" y="469"/>
                </a:lnTo>
                <a:lnTo>
                  <a:pt x="404" y="469"/>
                </a:lnTo>
                <a:lnTo>
                  <a:pt x="404" y="469"/>
                </a:lnTo>
                <a:lnTo>
                  <a:pt x="404" y="468"/>
                </a:lnTo>
                <a:lnTo>
                  <a:pt x="404" y="468"/>
                </a:lnTo>
                <a:lnTo>
                  <a:pt x="404" y="464"/>
                </a:lnTo>
                <a:lnTo>
                  <a:pt x="403" y="459"/>
                </a:lnTo>
                <a:lnTo>
                  <a:pt x="400" y="459"/>
                </a:lnTo>
                <a:close/>
                <a:moveTo>
                  <a:pt x="397" y="445"/>
                </a:moveTo>
                <a:lnTo>
                  <a:pt x="397" y="445"/>
                </a:lnTo>
                <a:lnTo>
                  <a:pt x="397" y="452"/>
                </a:lnTo>
                <a:lnTo>
                  <a:pt x="397" y="452"/>
                </a:lnTo>
                <a:lnTo>
                  <a:pt x="399" y="455"/>
                </a:lnTo>
                <a:lnTo>
                  <a:pt x="400" y="455"/>
                </a:lnTo>
                <a:lnTo>
                  <a:pt x="400" y="455"/>
                </a:lnTo>
                <a:lnTo>
                  <a:pt x="400" y="451"/>
                </a:lnTo>
                <a:lnTo>
                  <a:pt x="400" y="451"/>
                </a:lnTo>
                <a:lnTo>
                  <a:pt x="399" y="445"/>
                </a:lnTo>
                <a:lnTo>
                  <a:pt x="397" y="445"/>
                </a:lnTo>
                <a:close/>
                <a:moveTo>
                  <a:pt x="394" y="430"/>
                </a:moveTo>
                <a:lnTo>
                  <a:pt x="394" y="430"/>
                </a:lnTo>
                <a:lnTo>
                  <a:pt x="396" y="440"/>
                </a:lnTo>
                <a:lnTo>
                  <a:pt x="399" y="440"/>
                </a:lnTo>
                <a:lnTo>
                  <a:pt x="399" y="440"/>
                </a:lnTo>
                <a:lnTo>
                  <a:pt x="397" y="430"/>
                </a:lnTo>
                <a:lnTo>
                  <a:pt x="394" y="430"/>
                </a:lnTo>
                <a:close/>
                <a:moveTo>
                  <a:pt x="387" y="429"/>
                </a:moveTo>
                <a:lnTo>
                  <a:pt x="387" y="429"/>
                </a:lnTo>
                <a:lnTo>
                  <a:pt x="390" y="426"/>
                </a:lnTo>
                <a:lnTo>
                  <a:pt x="390" y="426"/>
                </a:lnTo>
                <a:lnTo>
                  <a:pt x="393" y="426"/>
                </a:lnTo>
                <a:lnTo>
                  <a:pt x="394" y="426"/>
                </a:lnTo>
                <a:lnTo>
                  <a:pt x="396" y="424"/>
                </a:lnTo>
                <a:lnTo>
                  <a:pt x="396" y="424"/>
                </a:lnTo>
                <a:lnTo>
                  <a:pt x="393" y="423"/>
                </a:lnTo>
                <a:lnTo>
                  <a:pt x="393" y="423"/>
                </a:lnTo>
                <a:lnTo>
                  <a:pt x="390" y="424"/>
                </a:lnTo>
                <a:lnTo>
                  <a:pt x="390" y="424"/>
                </a:lnTo>
                <a:lnTo>
                  <a:pt x="385" y="427"/>
                </a:lnTo>
                <a:lnTo>
                  <a:pt x="387" y="429"/>
                </a:lnTo>
                <a:close/>
                <a:moveTo>
                  <a:pt x="372" y="438"/>
                </a:moveTo>
                <a:lnTo>
                  <a:pt x="372" y="438"/>
                </a:lnTo>
                <a:lnTo>
                  <a:pt x="380" y="433"/>
                </a:lnTo>
                <a:lnTo>
                  <a:pt x="380" y="433"/>
                </a:lnTo>
                <a:lnTo>
                  <a:pt x="383" y="432"/>
                </a:lnTo>
                <a:lnTo>
                  <a:pt x="381" y="430"/>
                </a:lnTo>
                <a:lnTo>
                  <a:pt x="381" y="430"/>
                </a:lnTo>
                <a:lnTo>
                  <a:pt x="378" y="432"/>
                </a:lnTo>
                <a:lnTo>
                  <a:pt x="378" y="432"/>
                </a:lnTo>
                <a:lnTo>
                  <a:pt x="372" y="435"/>
                </a:lnTo>
                <a:lnTo>
                  <a:pt x="372" y="438"/>
                </a:lnTo>
                <a:close/>
                <a:moveTo>
                  <a:pt x="358" y="438"/>
                </a:moveTo>
                <a:lnTo>
                  <a:pt x="358" y="438"/>
                </a:lnTo>
                <a:lnTo>
                  <a:pt x="359" y="438"/>
                </a:lnTo>
                <a:lnTo>
                  <a:pt x="359" y="438"/>
                </a:lnTo>
                <a:lnTo>
                  <a:pt x="359" y="438"/>
                </a:lnTo>
                <a:lnTo>
                  <a:pt x="359" y="438"/>
                </a:lnTo>
                <a:lnTo>
                  <a:pt x="359" y="438"/>
                </a:lnTo>
                <a:lnTo>
                  <a:pt x="359" y="438"/>
                </a:lnTo>
                <a:lnTo>
                  <a:pt x="359" y="438"/>
                </a:lnTo>
                <a:lnTo>
                  <a:pt x="359" y="438"/>
                </a:lnTo>
                <a:lnTo>
                  <a:pt x="359" y="438"/>
                </a:lnTo>
                <a:lnTo>
                  <a:pt x="364" y="439"/>
                </a:lnTo>
                <a:lnTo>
                  <a:pt x="364" y="439"/>
                </a:lnTo>
                <a:lnTo>
                  <a:pt x="368" y="439"/>
                </a:lnTo>
                <a:lnTo>
                  <a:pt x="367" y="436"/>
                </a:lnTo>
                <a:lnTo>
                  <a:pt x="367" y="436"/>
                </a:lnTo>
                <a:lnTo>
                  <a:pt x="364" y="436"/>
                </a:lnTo>
                <a:lnTo>
                  <a:pt x="364" y="436"/>
                </a:lnTo>
                <a:lnTo>
                  <a:pt x="362" y="436"/>
                </a:lnTo>
                <a:lnTo>
                  <a:pt x="362" y="436"/>
                </a:lnTo>
                <a:lnTo>
                  <a:pt x="361" y="436"/>
                </a:lnTo>
                <a:lnTo>
                  <a:pt x="361" y="436"/>
                </a:lnTo>
                <a:lnTo>
                  <a:pt x="361" y="436"/>
                </a:lnTo>
                <a:lnTo>
                  <a:pt x="361" y="436"/>
                </a:lnTo>
                <a:lnTo>
                  <a:pt x="361" y="436"/>
                </a:lnTo>
                <a:lnTo>
                  <a:pt x="361" y="436"/>
                </a:lnTo>
                <a:lnTo>
                  <a:pt x="361" y="436"/>
                </a:lnTo>
                <a:lnTo>
                  <a:pt x="358" y="435"/>
                </a:lnTo>
                <a:lnTo>
                  <a:pt x="358" y="435"/>
                </a:lnTo>
                <a:lnTo>
                  <a:pt x="358" y="438"/>
                </a:lnTo>
                <a:close/>
                <a:moveTo>
                  <a:pt x="342" y="440"/>
                </a:moveTo>
                <a:lnTo>
                  <a:pt x="342" y="440"/>
                </a:lnTo>
                <a:lnTo>
                  <a:pt x="352" y="439"/>
                </a:lnTo>
                <a:lnTo>
                  <a:pt x="352" y="436"/>
                </a:lnTo>
                <a:lnTo>
                  <a:pt x="352" y="436"/>
                </a:lnTo>
                <a:lnTo>
                  <a:pt x="342" y="438"/>
                </a:lnTo>
                <a:lnTo>
                  <a:pt x="342" y="440"/>
                </a:lnTo>
                <a:close/>
                <a:moveTo>
                  <a:pt x="328" y="440"/>
                </a:moveTo>
                <a:lnTo>
                  <a:pt x="328" y="440"/>
                </a:lnTo>
                <a:lnTo>
                  <a:pt x="328" y="440"/>
                </a:lnTo>
                <a:lnTo>
                  <a:pt x="338" y="440"/>
                </a:lnTo>
                <a:lnTo>
                  <a:pt x="338" y="438"/>
                </a:lnTo>
                <a:lnTo>
                  <a:pt x="338" y="438"/>
                </a:lnTo>
                <a:lnTo>
                  <a:pt x="328" y="438"/>
                </a:lnTo>
                <a:lnTo>
                  <a:pt x="328" y="438"/>
                </a:lnTo>
                <a:lnTo>
                  <a:pt x="328" y="440"/>
                </a:lnTo>
                <a:close/>
                <a:moveTo>
                  <a:pt x="315" y="433"/>
                </a:moveTo>
                <a:lnTo>
                  <a:pt x="315" y="433"/>
                </a:lnTo>
                <a:lnTo>
                  <a:pt x="316" y="436"/>
                </a:lnTo>
                <a:lnTo>
                  <a:pt x="319" y="439"/>
                </a:lnTo>
                <a:lnTo>
                  <a:pt x="319" y="439"/>
                </a:lnTo>
                <a:lnTo>
                  <a:pt x="322" y="440"/>
                </a:lnTo>
                <a:lnTo>
                  <a:pt x="323" y="438"/>
                </a:lnTo>
                <a:lnTo>
                  <a:pt x="323" y="438"/>
                </a:lnTo>
                <a:lnTo>
                  <a:pt x="319" y="436"/>
                </a:lnTo>
                <a:lnTo>
                  <a:pt x="319" y="436"/>
                </a:lnTo>
                <a:lnTo>
                  <a:pt x="317" y="435"/>
                </a:lnTo>
                <a:lnTo>
                  <a:pt x="316" y="432"/>
                </a:lnTo>
                <a:lnTo>
                  <a:pt x="315" y="433"/>
                </a:lnTo>
                <a:close/>
                <a:moveTo>
                  <a:pt x="304" y="429"/>
                </a:moveTo>
                <a:lnTo>
                  <a:pt x="304" y="429"/>
                </a:lnTo>
                <a:lnTo>
                  <a:pt x="312" y="427"/>
                </a:lnTo>
                <a:lnTo>
                  <a:pt x="312" y="427"/>
                </a:lnTo>
                <a:lnTo>
                  <a:pt x="312" y="427"/>
                </a:lnTo>
                <a:lnTo>
                  <a:pt x="313" y="429"/>
                </a:lnTo>
                <a:lnTo>
                  <a:pt x="315" y="427"/>
                </a:lnTo>
                <a:lnTo>
                  <a:pt x="315" y="426"/>
                </a:lnTo>
                <a:lnTo>
                  <a:pt x="315" y="426"/>
                </a:lnTo>
                <a:lnTo>
                  <a:pt x="312" y="424"/>
                </a:lnTo>
                <a:lnTo>
                  <a:pt x="312" y="424"/>
                </a:lnTo>
                <a:lnTo>
                  <a:pt x="307" y="426"/>
                </a:lnTo>
                <a:lnTo>
                  <a:pt x="303" y="427"/>
                </a:lnTo>
                <a:lnTo>
                  <a:pt x="304" y="429"/>
                </a:lnTo>
                <a:close/>
                <a:moveTo>
                  <a:pt x="291" y="438"/>
                </a:moveTo>
                <a:lnTo>
                  <a:pt x="291" y="438"/>
                </a:lnTo>
                <a:lnTo>
                  <a:pt x="294" y="436"/>
                </a:lnTo>
                <a:lnTo>
                  <a:pt x="294" y="436"/>
                </a:lnTo>
                <a:lnTo>
                  <a:pt x="300" y="432"/>
                </a:lnTo>
                <a:lnTo>
                  <a:pt x="299" y="429"/>
                </a:lnTo>
                <a:lnTo>
                  <a:pt x="299" y="429"/>
                </a:lnTo>
                <a:lnTo>
                  <a:pt x="293" y="433"/>
                </a:lnTo>
                <a:lnTo>
                  <a:pt x="293" y="433"/>
                </a:lnTo>
                <a:lnTo>
                  <a:pt x="290" y="435"/>
                </a:lnTo>
                <a:lnTo>
                  <a:pt x="291" y="438"/>
                </a:lnTo>
                <a:close/>
                <a:moveTo>
                  <a:pt x="277" y="440"/>
                </a:moveTo>
                <a:lnTo>
                  <a:pt x="277" y="440"/>
                </a:lnTo>
                <a:lnTo>
                  <a:pt x="281" y="440"/>
                </a:lnTo>
                <a:lnTo>
                  <a:pt x="281" y="440"/>
                </a:lnTo>
                <a:lnTo>
                  <a:pt x="287" y="439"/>
                </a:lnTo>
                <a:lnTo>
                  <a:pt x="286" y="438"/>
                </a:lnTo>
                <a:lnTo>
                  <a:pt x="286" y="438"/>
                </a:lnTo>
                <a:lnTo>
                  <a:pt x="281" y="438"/>
                </a:lnTo>
                <a:lnTo>
                  <a:pt x="281" y="438"/>
                </a:lnTo>
                <a:lnTo>
                  <a:pt x="277" y="438"/>
                </a:lnTo>
                <a:lnTo>
                  <a:pt x="277" y="440"/>
                </a:lnTo>
                <a:close/>
                <a:moveTo>
                  <a:pt x="261" y="439"/>
                </a:moveTo>
                <a:lnTo>
                  <a:pt x="261" y="439"/>
                </a:lnTo>
                <a:lnTo>
                  <a:pt x="264" y="439"/>
                </a:lnTo>
                <a:lnTo>
                  <a:pt x="264" y="439"/>
                </a:lnTo>
                <a:lnTo>
                  <a:pt x="271" y="439"/>
                </a:lnTo>
                <a:lnTo>
                  <a:pt x="271" y="436"/>
                </a:lnTo>
                <a:lnTo>
                  <a:pt x="271" y="436"/>
                </a:lnTo>
                <a:lnTo>
                  <a:pt x="264" y="436"/>
                </a:lnTo>
                <a:lnTo>
                  <a:pt x="264" y="436"/>
                </a:lnTo>
                <a:lnTo>
                  <a:pt x="261" y="436"/>
                </a:lnTo>
                <a:lnTo>
                  <a:pt x="261" y="439"/>
                </a:lnTo>
                <a:close/>
                <a:moveTo>
                  <a:pt x="246" y="440"/>
                </a:moveTo>
                <a:lnTo>
                  <a:pt x="248" y="440"/>
                </a:lnTo>
                <a:lnTo>
                  <a:pt x="248" y="440"/>
                </a:lnTo>
                <a:lnTo>
                  <a:pt x="257" y="439"/>
                </a:lnTo>
                <a:lnTo>
                  <a:pt x="257" y="436"/>
                </a:lnTo>
                <a:lnTo>
                  <a:pt x="257" y="436"/>
                </a:lnTo>
                <a:lnTo>
                  <a:pt x="246" y="438"/>
                </a:lnTo>
                <a:lnTo>
                  <a:pt x="246" y="439"/>
                </a:lnTo>
                <a:lnTo>
                  <a:pt x="246" y="440"/>
                </a:lnTo>
                <a:close/>
                <a:moveTo>
                  <a:pt x="233" y="446"/>
                </a:moveTo>
                <a:lnTo>
                  <a:pt x="233" y="446"/>
                </a:lnTo>
                <a:lnTo>
                  <a:pt x="242" y="443"/>
                </a:lnTo>
                <a:lnTo>
                  <a:pt x="241" y="440"/>
                </a:lnTo>
                <a:lnTo>
                  <a:pt x="241" y="440"/>
                </a:lnTo>
                <a:lnTo>
                  <a:pt x="232" y="443"/>
                </a:lnTo>
                <a:lnTo>
                  <a:pt x="233" y="446"/>
                </a:lnTo>
                <a:close/>
                <a:moveTo>
                  <a:pt x="217" y="448"/>
                </a:moveTo>
                <a:lnTo>
                  <a:pt x="217" y="448"/>
                </a:lnTo>
                <a:lnTo>
                  <a:pt x="222" y="449"/>
                </a:lnTo>
                <a:lnTo>
                  <a:pt x="222" y="449"/>
                </a:lnTo>
                <a:lnTo>
                  <a:pt x="223" y="449"/>
                </a:lnTo>
                <a:lnTo>
                  <a:pt x="223" y="449"/>
                </a:lnTo>
                <a:lnTo>
                  <a:pt x="228" y="448"/>
                </a:lnTo>
                <a:lnTo>
                  <a:pt x="228" y="445"/>
                </a:lnTo>
                <a:lnTo>
                  <a:pt x="228" y="445"/>
                </a:lnTo>
                <a:lnTo>
                  <a:pt x="223" y="446"/>
                </a:lnTo>
                <a:lnTo>
                  <a:pt x="222" y="446"/>
                </a:lnTo>
                <a:lnTo>
                  <a:pt x="222" y="446"/>
                </a:lnTo>
                <a:lnTo>
                  <a:pt x="217" y="446"/>
                </a:lnTo>
                <a:lnTo>
                  <a:pt x="217" y="448"/>
                </a:lnTo>
                <a:close/>
                <a:moveTo>
                  <a:pt x="203" y="443"/>
                </a:moveTo>
                <a:lnTo>
                  <a:pt x="203" y="443"/>
                </a:lnTo>
                <a:lnTo>
                  <a:pt x="212" y="446"/>
                </a:lnTo>
                <a:lnTo>
                  <a:pt x="213" y="445"/>
                </a:lnTo>
                <a:lnTo>
                  <a:pt x="213" y="445"/>
                </a:lnTo>
                <a:lnTo>
                  <a:pt x="203" y="440"/>
                </a:lnTo>
                <a:lnTo>
                  <a:pt x="203" y="443"/>
                </a:lnTo>
                <a:close/>
                <a:moveTo>
                  <a:pt x="189" y="438"/>
                </a:moveTo>
                <a:lnTo>
                  <a:pt x="189" y="438"/>
                </a:lnTo>
                <a:lnTo>
                  <a:pt x="191" y="439"/>
                </a:lnTo>
                <a:lnTo>
                  <a:pt x="191" y="439"/>
                </a:lnTo>
                <a:lnTo>
                  <a:pt x="197" y="442"/>
                </a:lnTo>
                <a:lnTo>
                  <a:pt x="199" y="439"/>
                </a:lnTo>
                <a:lnTo>
                  <a:pt x="199" y="439"/>
                </a:lnTo>
                <a:lnTo>
                  <a:pt x="191" y="438"/>
                </a:lnTo>
                <a:lnTo>
                  <a:pt x="191" y="438"/>
                </a:lnTo>
                <a:lnTo>
                  <a:pt x="190" y="436"/>
                </a:lnTo>
                <a:lnTo>
                  <a:pt x="189" y="438"/>
                </a:lnTo>
                <a:close/>
                <a:moveTo>
                  <a:pt x="175" y="429"/>
                </a:moveTo>
                <a:lnTo>
                  <a:pt x="175" y="429"/>
                </a:lnTo>
                <a:lnTo>
                  <a:pt x="184" y="435"/>
                </a:lnTo>
                <a:lnTo>
                  <a:pt x="186" y="433"/>
                </a:lnTo>
                <a:lnTo>
                  <a:pt x="186" y="433"/>
                </a:lnTo>
                <a:lnTo>
                  <a:pt x="178" y="426"/>
                </a:lnTo>
                <a:lnTo>
                  <a:pt x="175" y="429"/>
                </a:lnTo>
                <a:close/>
                <a:moveTo>
                  <a:pt x="165" y="417"/>
                </a:moveTo>
                <a:lnTo>
                  <a:pt x="165" y="417"/>
                </a:lnTo>
                <a:lnTo>
                  <a:pt x="170" y="422"/>
                </a:lnTo>
                <a:lnTo>
                  <a:pt x="170" y="422"/>
                </a:lnTo>
                <a:lnTo>
                  <a:pt x="173" y="424"/>
                </a:lnTo>
                <a:lnTo>
                  <a:pt x="174" y="423"/>
                </a:lnTo>
                <a:lnTo>
                  <a:pt x="174" y="423"/>
                </a:lnTo>
                <a:lnTo>
                  <a:pt x="171" y="420"/>
                </a:lnTo>
                <a:lnTo>
                  <a:pt x="171" y="420"/>
                </a:lnTo>
                <a:lnTo>
                  <a:pt x="167" y="416"/>
                </a:lnTo>
                <a:lnTo>
                  <a:pt x="165" y="417"/>
                </a:lnTo>
                <a:close/>
                <a:moveTo>
                  <a:pt x="151" y="413"/>
                </a:moveTo>
                <a:lnTo>
                  <a:pt x="151" y="413"/>
                </a:lnTo>
                <a:lnTo>
                  <a:pt x="155" y="414"/>
                </a:lnTo>
                <a:lnTo>
                  <a:pt x="155" y="414"/>
                </a:lnTo>
                <a:lnTo>
                  <a:pt x="161" y="416"/>
                </a:lnTo>
                <a:lnTo>
                  <a:pt x="162" y="414"/>
                </a:lnTo>
                <a:lnTo>
                  <a:pt x="162" y="414"/>
                </a:lnTo>
                <a:lnTo>
                  <a:pt x="155" y="413"/>
                </a:lnTo>
                <a:lnTo>
                  <a:pt x="155" y="413"/>
                </a:lnTo>
                <a:lnTo>
                  <a:pt x="152" y="411"/>
                </a:lnTo>
                <a:lnTo>
                  <a:pt x="151" y="413"/>
                </a:lnTo>
                <a:close/>
                <a:moveTo>
                  <a:pt x="138" y="407"/>
                </a:moveTo>
                <a:lnTo>
                  <a:pt x="138" y="407"/>
                </a:lnTo>
                <a:lnTo>
                  <a:pt x="147" y="411"/>
                </a:lnTo>
                <a:lnTo>
                  <a:pt x="148" y="409"/>
                </a:lnTo>
                <a:lnTo>
                  <a:pt x="148" y="409"/>
                </a:lnTo>
                <a:lnTo>
                  <a:pt x="138" y="404"/>
                </a:lnTo>
                <a:lnTo>
                  <a:pt x="138" y="407"/>
                </a:lnTo>
                <a:close/>
                <a:moveTo>
                  <a:pt x="123" y="403"/>
                </a:moveTo>
                <a:lnTo>
                  <a:pt x="123" y="403"/>
                </a:lnTo>
                <a:lnTo>
                  <a:pt x="126" y="403"/>
                </a:lnTo>
                <a:lnTo>
                  <a:pt x="126" y="403"/>
                </a:lnTo>
                <a:lnTo>
                  <a:pt x="132" y="406"/>
                </a:lnTo>
                <a:lnTo>
                  <a:pt x="133" y="403"/>
                </a:lnTo>
                <a:lnTo>
                  <a:pt x="133" y="403"/>
                </a:lnTo>
                <a:lnTo>
                  <a:pt x="126" y="401"/>
                </a:lnTo>
                <a:lnTo>
                  <a:pt x="126" y="401"/>
                </a:lnTo>
                <a:lnTo>
                  <a:pt x="123" y="400"/>
                </a:lnTo>
                <a:lnTo>
                  <a:pt x="123" y="403"/>
                </a:lnTo>
                <a:close/>
                <a:moveTo>
                  <a:pt x="109" y="397"/>
                </a:moveTo>
                <a:lnTo>
                  <a:pt x="109" y="397"/>
                </a:lnTo>
                <a:lnTo>
                  <a:pt x="118" y="401"/>
                </a:lnTo>
                <a:lnTo>
                  <a:pt x="119" y="398"/>
                </a:lnTo>
                <a:lnTo>
                  <a:pt x="119" y="398"/>
                </a:lnTo>
                <a:lnTo>
                  <a:pt x="110" y="394"/>
                </a:lnTo>
                <a:lnTo>
                  <a:pt x="109" y="397"/>
                </a:lnTo>
                <a:close/>
                <a:moveTo>
                  <a:pt x="96" y="390"/>
                </a:moveTo>
                <a:lnTo>
                  <a:pt x="96" y="390"/>
                </a:lnTo>
                <a:lnTo>
                  <a:pt x="105" y="394"/>
                </a:lnTo>
                <a:lnTo>
                  <a:pt x="106" y="393"/>
                </a:lnTo>
                <a:lnTo>
                  <a:pt x="106" y="393"/>
                </a:lnTo>
                <a:lnTo>
                  <a:pt x="96" y="387"/>
                </a:lnTo>
                <a:lnTo>
                  <a:pt x="96" y="390"/>
                </a:lnTo>
                <a:close/>
                <a:moveTo>
                  <a:pt x="81" y="381"/>
                </a:moveTo>
                <a:lnTo>
                  <a:pt x="81" y="381"/>
                </a:lnTo>
                <a:lnTo>
                  <a:pt x="90" y="387"/>
                </a:lnTo>
                <a:lnTo>
                  <a:pt x="91" y="385"/>
                </a:lnTo>
                <a:lnTo>
                  <a:pt x="91" y="385"/>
                </a:lnTo>
                <a:lnTo>
                  <a:pt x="83" y="380"/>
                </a:lnTo>
                <a:lnTo>
                  <a:pt x="81" y="381"/>
                </a:lnTo>
                <a:close/>
                <a:moveTo>
                  <a:pt x="70" y="371"/>
                </a:moveTo>
                <a:lnTo>
                  <a:pt x="70" y="371"/>
                </a:lnTo>
                <a:lnTo>
                  <a:pt x="73" y="375"/>
                </a:lnTo>
                <a:lnTo>
                  <a:pt x="78" y="378"/>
                </a:lnTo>
                <a:lnTo>
                  <a:pt x="80" y="377"/>
                </a:lnTo>
                <a:lnTo>
                  <a:pt x="80" y="377"/>
                </a:lnTo>
                <a:lnTo>
                  <a:pt x="76" y="372"/>
                </a:lnTo>
                <a:lnTo>
                  <a:pt x="73" y="369"/>
                </a:lnTo>
                <a:lnTo>
                  <a:pt x="70" y="371"/>
                </a:lnTo>
                <a:close/>
                <a:moveTo>
                  <a:pt x="74" y="358"/>
                </a:moveTo>
                <a:lnTo>
                  <a:pt x="74" y="358"/>
                </a:lnTo>
                <a:lnTo>
                  <a:pt x="74" y="361"/>
                </a:lnTo>
                <a:lnTo>
                  <a:pt x="74" y="361"/>
                </a:lnTo>
                <a:lnTo>
                  <a:pt x="74" y="365"/>
                </a:lnTo>
                <a:lnTo>
                  <a:pt x="74" y="365"/>
                </a:lnTo>
                <a:lnTo>
                  <a:pt x="74" y="365"/>
                </a:lnTo>
                <a:lnTo>
                  <a:pt x="74" y="365"/>
                </a:lnTo>
                <a:lnTo>
                  <a:pt x="74" y="365"/>
                </a:lnTo>
                <a:lnTo>
                  <a:pt x="74" y="365"/>
                </a:lnTo>
                <a:lnTo>
                  <a:pt x="74" y="365"/>
                </a:lnTo>
                <a:lnTo>
                  <a:pt x="74" y="365"/>
                </a:lnTo>
                <a:lnTo>
                  <a:pt x="73" y="365"/>
                </a:lnTo>
                <a:lnTo>
                  <a:pt x="74" y="368"/>
                </a:lnTo>
                <a:lnTo>
                  <a:pt x="74" y="368"/>
                </a:lnTo>
                <a:lnTo>
                  <a:pt x="74" y="368"/>
                </a:lnTo>
                <a:lnTo>
                  <a:pt x="76" y="367"/>
                </a:lnTo>
                <a:lnTo>
                  <a:pt x="76" y="367"/>
                </a:lnTo>
                <a:lnTo>
                  <a:pt x="77" y="364"/>
                </a:lnTo>
                <a:lnTo>
                  <a:pt x="77" y="361"/>
                </a:lnTo>
                <a:lnTo>
                  <a:pt x="77" y="361"/>
                </a:lnTo>
                <a:lnTo>
                  <a:pt x="77" y="358"/>
                </a:lnTo>
                <a:lnTo>
                  <a:pt x="74" y="358"/>
                </a:lnTo>
                <a:close/>
                <a:moveTo>
                  <a:pt x="73" y="343"/>
                </a:moveTo>
                <a:lnTo>
                  <a:pt x="73" y="343"/>
                </a:lnTo>
                <a:lnTo>
                  <a:pt x="74" y="352"/>
                </a:lnTo>
                <a:lnTo>
                  <a:pt x="77" y="352"/>
                </a:lnTo>
                <a:lnTo>
                  <a:pt x="77" y="352"/>
                </a:lnTo>
                <a:lnTo>
                  <a:pt x="74" y="342"/>
                </a:lnTo>
                <a:lnTo>
                  <a:pt x="73" y="343"/>
                </a:lnTo>
                <a:close/>
                <a:moveTo>
                  <a:pt x="65" y="330"/>
                </a:moveTo>
                <a:lnTo>
                  <a:pt x="65" y="330"/>
                </a:lnTo>
                <a:lnTo>
                  <a:pt x="68" y="333"/>
                </a:lnTo>
                <a:lnTo>
                  <a:pt x="70" y="336"/>
                </a:lnTo>
                <a:lnTo>
                  <a:pt x="70" y="336"/>
                </a:lnTo>
                <a:lnTo>
                  <a:pt x="71" y="338"/>
                </a:lnTo>
                <a:lnTo>
                  <a:pt x="73" y="338"/>
                </a:lnTo>
                <a:lnTo>
                  <a:pt x="73" y="338"/>
                </a:lnTo>
                <a:lnTo>
                  <a:pt x="71" y="335"/>
                </a:lnTo>
                <a:lnTo>
                  <a:pt x="71" y="335"/>
                </a:lnTo>
                <a:lnTo>
                  <a:pt x="70" y="330"/>
                </a:lnTo>
                <a:lnTo>
                  <a:pt x="67" y="329"/>
                </a:lnTo>
                <a:lnTo>
                  <a:pt x="65" y="330"/>
                </a:lnTo>
                <a:close/>
                <a:moveTo>
                  <a:pt x="51" y="325"/>
                </a:moveTo>
                <a:lnTo>
                  <a:pt x="51" y="325"/>
                </a:lnTo>
                <a:lnTo>
                  <a:pt x="61" y="329"/>
                </a:lnTo>
                <a:lnTo>
                  <a:pt x="63" y="326"/>
                </a:lnTo>
                <a:lnTo>
                  <a:pt x="63" y="326"/>
                </a:lnTo>
                <a:lnTo>
                  <a:pt x="52" y="323"/>
                </a:lnTo>
                <a:lnTo>
                  <a:pt x="51" y="325"/>
                </a:lnTo>
                <a:close/>
                <a:moveTo>
                  <a:pt x="51" y="312"/>
                </a:moveTo>
                <a:lnTo>
                  <a:pt x="51" y="312"/>
                </a:lnTo>
                <a:lnTo>
                  <a:pt x="49" y="316"/>
                </a:lnTo>
                <a:lnTo>
                  <a:pt x="49" y="316"/>
                </a:lnTo>
                <a:lnTo>
                  <a:pt x="48" y="320"/>
                </a:lnTo>
                <a:lnTo>
                  <a:pt x="51" y="320"/>
                </a:lnTo>
                <a:lnTo>
                  <a:pt x="51" y="320"/>
                </a:lnTo>
                <a:lnTo>
                  <a:pt x="52" y="317"/>
                </a:lnTo>
                <a:lnTo>
                  <a:pt x="52" y="317"/>
                </a:lnTo>
                <a:lnTo>
                  <a:pt x="54" y="312"/>
                </a:lnTo>
                <a:lnTo>
                  <a:pt x="51" y="312"/>
                </a:lnTo>
                <a:close/>
                <a:moveTo>
                  <a:pt x="15" y="278"/>
                </a:moveTo>
                <a:lnTo>
                  <a:pt x="15" y="278"/>
                </a:lnTo>
                <a:lnTo>
                  <a:pt x="21" y="285"/>
                </a:lnTo>
                <a:lnTo>
                  <a:pt x="22" y="284"/>
                </a:lnTo>
                <a:lnTo>
                  <a:pt x="22" y="284"/>
                </a:lnTo>
                <a:lnTo>
                  <a:pt x="19" y="280"/>
                </a:lnTo>
                <a:lnTo>
                  <a:pt x="16" y="275"/>
                </a:lnTo>
                <a:lnTo>
                  <a:pt x="15" y="278"/>
                </a:lnTo>
                <a:close/>
                <a:moveTo>
                  <a:pt x="12" y="264"/>
                </a:moveTo>
                <a:lnTo>
                  <a:pt x="12" y="265"/>
                </a:lnTo>
                <a:lnTo>
                  <a:pt x="12" y="265"/>
                </a:lnTo>
                <a:lnTo>
                  <a:pt x="10" y="268"/>
                </a:lnTo>
                <a:lnTo>
                  <a:pt x="10" y="268"/>
                </a:lnTo>
                <a:lnTo>
                  <a:pt x="9" y="271"/>
                </a:lnTo>
                <a:lnTo>
                  <a:pt x="9" y="271"/>
                </a:lnTo>
                <a:lnTo>
                  <a:pt x="9" y="272"/>
                </a:lnTo>
                <a:lnTo>
                  <a:pt x="10" y="274"/>
                </a:lnTo>
                <a:lnTo>
                  <a:pt x="12" y="272"/>
                </a:lnTo>
                <a:lnTo>
                  <a:pt x="12" y="272"/>
                </a:lnTo>
                <a:lnTo>
                  <a:pt x="12" y="271"/>
                </a:lnTo>
                <a:lnTo>
                  <a:pt x="12" y="271"/>
                </a:lnTo>
                <a:lnTo>
                  <a:pt x="12" y="270"/>
                </a:lnTo>
                <a:lnTo>
                  <a:pt x="12" y="270"/>
                </a:lnTo>
                <a:lnTo>
                  <a:pt x="15" y="265"/>
                </a:lnTo>
                <a:lnTo>
                  <a:pt x="15" y="265"/>
                </a:lnTo>
                <a:lnTo>
                  <a:pt x="12" y="264"/>
                </a:lnTo>
                <a:close/>
                <a:moveTo>
                  <a:pt x="22" y="255"/>
                </a:moveTo>
                <a:lnTo>
                  <a:pt x="22" y="255"/>
                </a:lnTo>
                <a:lnTo>
                  <a:pt x="21" y="259"/>
                </a:lnTo>
                <a:lnTo>
                  <a:pt x="21" y="259"/>
                </a:lnTo>
                <a:lnTo>
                  <a:pt x="18" y="261"/>
                </a:lnTo>
                <a:lnTo>
                  <a:pt x="18" y="264"/>
                </a:lnTo>
                <a:lnTo>
                  <a:pt x="18" y="264"/>
                </a:lnTo>
                <a:lnTo>
                  <a:pt x="21" y="262"/>
                </a:lnTo>
                <a:lnTo>
                  <a:pt x="22" y="261"/>
                </a:lnTo>
                <a:lnTo>
                  <a:pt x="22" y="261"/>
                </a:lnTo>
                <a:lnTo>
                  <a:pt x="23" y="258"/>
                </a:lnTo>
                <a:lnTo>
                  <a:pt x="23" y="255"/>
                </a:lnTo>
                <a:lnTo>
                  <a:pt x="22" y="255"/>
                </a:lnTo>
                <a:close/>
                <a:moveTo>
                  <a:pt x="19" y="241"/>
                </a:moveTo>
                <a:lnTo>
                  <a:pt x="19" y="241"/>
                </a:lnTo>
                <a:lnTo>
                  <a:pt x="21" y="243"/>
                </a:lnTo>
                <a:lnTo>
                  <a:pt x="21" y="243"/>
                </a:lnTo>
                <a:lnTo>
                  <a:pt x="22" y="249"/>
                </a:lnTo>
                <a:lnTo>
                  <a:pt x="23" y="249"/>
                </a:lnTo>
                <a:lnTo>
                  <a:pt x="23" y="249"/>
                </a:lnTo>
                <a:lnTo>
                  <a:pt x="22" y="242"/>
                </a:lnTo>
                <a:lnTo>
                  <a:pt x="22" y="242"/>
                </a:lnTo>
                <a:lnTo>
                  <a:pt x="21" y="239"/>
                </a:lnTo>
                <a:lnTo>
                  <a:pt x="19" y="241"/>
                </a:lnTo>
                <a:close/>
                <a:moveTo>
                  <a:pt x="7" y="230"/>
                </a:moveTo>
                <a:lnTo>
                  <a:pt x="7" y="230"/>
                </a:lnTo>
                <a:lnTo>
                  <a:pt x="12" y="233"/>
                </a:lnTo>
                <a:lnTo>
                  <a:pt x="16" y="236"/>
                </a:lnTo>
                <a:lnTo>
                  <a:pt x="18" y="235"/>
                </a:lnTo>
                <a:lnTo>
                  <a:pt x="18" y="235"/>
                </a:lnTo>
                <a:lnTo>
                  <a:pt x="13" y="232"/>
                </a:lnTo>
                <a:lnTo>
                  <a:pt x="9" y="229"/>
                </a:lnTo>
                <a:lnTo>
                  <a:pt x="7" y="230"/>
                </a:lnTo>
                <a:close/>
                <a:moveTo>
                  <a:pt x="5" y="219"/>
                </a:moveTo>
                <a:lnTo>
                  <a:pt x="5" y="219"/>
                </a:lnTo>
                <a:lnTo>
                  <a:pt x="5" y="219"/>
                </a:lnTo>
                <a:lnTo>
                  <a:pt x="2" y="220"/>
                </a:lnTo>
                <a:lnTo>
                  <a:pt x="0" y="223"/>
                </a:lnTo>
                <a:lnTo>
                  <a:pt x="0" y="223"/>
                </a:lnTo>
                <a:lnTo>
                  <a:pt x="2" y="226"/>
                </a:lnTo>
                <a:lnTo>
                  <a:pt x="3" y="229"/>
                </a:lnTo>
                <a:lnTo>
                  <a:pt x="5" y="226"/>
                </a:lnTo>
                <a:lnTo>
                  <a:pt x="5" y="226"/>
                </a:lnTo>
                <a:lnTo>
                  <a:pt x="3" y="225"/>
                </a:lnTo>
                <a:lnTo>
                  <a:pt x="3" y="223"/>
                </a:lnTo>
                <a:lnTo>
                  <a:pt x="3" y="223"/>
                </a:lnTo>
                <a:lnTo>
                  <a:pt x="3" y="222"/>
                </a:lnTo>
                <a:lnTo>
                  <a:pt x="5" y="222"/>
                </a:lnTo>
                <a:lnTo>
                  <a:pt x="6" y="220"/>
                </a:lnTo>
                <a:lnTo>
                  <a:pt x="5" y="219"/>
                </a:lnTo>
                <a:close/>
                <a:moveTo>
                  <a:pt x="15" y="209"/>
                </a:moveTo>
                <a:lnTo>
                  <a:pt x="15" y="209"/>
                </a:lnTo>
                <a:lnTo>
                  <a:pt x="15" y="209"/>
                </a:lnTo>
                <a:lnTo>
                  <a:pt x="12" y="209"/>
                </a:lnTo>
                <a:lnTo>
                  <a:pt x="10" y="210"/>
                </a:lnTo>
                <a:lnTo>
                  <a:pt x="10" y="210"/>
                </a:lnTo>
                <a:lnTo>
                  <a:pt x="7" y="214"/>
                </a:lnTo>
                <a:lnTo>
                  <a:pt x="9" y="216"/>
                </a:lnTo>
                <a:lnTo>
                  <a:pt x="9" y="216"/>
                </a:lnTo>
                <a:lnTo>
                  <a:pt x="12" y="213"/>
                </a:lnTo>
                <a:lnTo>
                  <a:pt x="12" y="213"/>
                </a:lnTo>
                <a:lnTo>
                  <a:pt x="15" y="212"/>
                </a:lnTo>
                <a:lnTo>
                  <a:pt x="16" y="210"/>
                </a:lnTo>
                <a:lnTo>
                  <a:pt x="15" y="209"/>
                </a:lnTo>
                <a:close/>
                <a:moveTo>
                  <a:pt x="26" y="200"/>
                </a:moveTo>
                <a:lnTo>
                  <a:pt x="26" y="200"/>
                </a:lnTo>
                <a:lnTo>
                  <a:pt x="23" y="204"/>
                </a:lnTo>
                <a:lnTo>
                  <a:pt x="23" y="204"/>
                </a:lnTo>
                <a:lnTo>
                  <a:pt x="21" y="207"/>
                </a:lnTo>
                <a:lnTo>
                  <a:pt x="21" y="210"/>
                </a:lnTo>
                <a:lnTo>
                  <a:pt x="21" y="210"/>
                </a:lnTo>
                <a:lnTo>
                  <a:pt x="25" y="206"/>
                </a:lnTo>
                <a:lnTo>
                  <a:pt x="25" y="206"/>
                </a:lnTo>
                <a:lnTo>
                  <a:pt x="28" y="203"/>
                </a:lnTo>
                <a:lnTo>
                  <a:pt x="26" y="200"/>
                </a:lnTo>
                <a:close/>
                <a:moveTo>
                  <a:pt x="42" y="206"/>
                </a:moveTo>
                <a:lnTo>
                  <a:pt x="42" y="206"/>
                </a:lnTo>
                <a:lnTo>
                  <a:pt x="36" y="204"/>
                </a:lnTo>
                <a:lnTo>
                  <a:pt x="34" y="201"/>
                </a:lnTo>
                <a:lnTo>
                  <a:pt x="31" y="204"/>
                </a:lnTo>
                <a:lnTo>
                  <a:pt x="31" y="204"/>
                </a:lnTo>
                <a:lnTo>
                  <a:pt x="35" y="206"/>
                </a:lnTo>
                <a:lnTo>
                  <a:pt x="41" y="207"/>
                </a:lnTo>
                <a:lnTo>
                  <a:pt x="42" y="206"/>
                </a:lnTo>
                <a:close/>
                <a:moveTo>
                  <a:pt x="51" y="199"/>
                </a:moveTo>
                <a:lnTo>
                  <a:pt x="51" y="199"/>
                </a:lnTo>
                <a:lnTo>
                  <a:pt x="49" y="203"/>
                </a:lnTo>
                <a:lnTo>
                  <a:pt x="49" y="203"/>
                </a:lnTo>
                <a:lnTo>
                  <a:pt x="47" y="206"/>
                </a:lnTo>
                <a:lnTo>
                  <a:pt x="47" y="207"/>
                </a:lnTo>
                <a:lnTo>
                  <a:pt x="47" y="207"/>
                </a:lnTo>
                <a:lnTo>
                  <a:pt x="49" y="206"/>
                </a:lnTo>
                <a:lnTo>
                  <a:pt x="51" y="204"/>
                </a:lnTo>
                <a:lnTo>
                  <a:pt x="51" y="204"/>
                </a:lnTo>
                <a:lnTo>
                  <a:pt x="54" y="199"/>
                </a:lnTo>
                <a:lnTo>
                  <a:pt x="51" y="199"/>
                </a:lnTo>
                <a:close/>
                <a:moveTo>
                  <a:pt x="64" y="188"/>
                </a:moveTo>
                <a:lnTo>
                  <a:pt x="64" y="188"/>
                </a:lnTo>
                <a:lnTo>
                  <a:pt x="58" y="190"/>
                </a:lnTo>
                <a:lnTo>
                  <a:pt x="55" y="193"/>
                </a:lnTo>
                <a:lnTo>
                  <a:pt x="55" y="194"/>
                </a:lnTo>
                <a:lnTo>
                  <a:pt x="57" y="196"/>
                </a:lnTo>
                <a:lnTo>
                  <a:pt x="57" y="196"/>
                </a:lnTo>
                <a:lnTo>
                  <a:pt x="57" y="196"/>
                </a:lnTo>
                <a:lnTo>
                  <a:pt x="60" y="193"/>
                </a:lnTo>
                <a:lnTo>
                  <a:pt x="65" y="191"/>
                </a:lnTo>
                <a:lnTo>
                  <a:pt x="64" y="188"/>
                </a:lnTo>
                <a:close/>
                <a:moveTo>
                  <a:pt x="78" y="183"/>
                </a:moveTo>
                <a:lnTo>
                  <a:pt x="78" y="183"/>
                </a:lnTo>
                <a:lnTo>
                  <a:pt x="74" y="185"/>
                </a:lnTo>
                <a:lnTo>
                  <a:pt x="74" y="185"/>
                </a:lnTo>
                <a:lnTo>
                  <a:pt x="68" y="187"/>
                </a:lnTo>
                <a:lnTo>
                  <a:pt x="70" y="188"/>
                </a:lnTo>
                <a:lnTo>
                  <a:pt x="70" y="188"/>
                </a:lnTo>
                <a:lnTo>
                  <a:pt x="76" y="187"/>
                </a:lnTo>
                <a:lnTo>
                  <a:pt x="76" y="187"/>
                </a:lnTo>
                <a:lnTo>
                  <a:pt x="80" y="185"/>
                </a:lnTo>
                <a:lnTo>
                  <a:pt x="78" y="183"/>
                </a:lnTo>
                <a:close/>
                <a:moveTo>
                  <a:pt x="90" y="174"/>
                </a:moveTo>
                <a:lnTo>
                  <a:pt x="90" y="174"/>
                </a:lnTo>
                <a:lnTo>
                  <a:pt x="81" y="180"/>
                </a:lnTo>
                <a:lnTo>
                  <a:pt x="83" y="181"/>
                </a:lnTo>
                <a:lnTo>
                  <a:pt x="83" y="181"/>
                </a:lnTo>
                <a:lnTo>
                  <a:pt x="91" y="175"/>
                </a:lnTo>
                <a:lnTo>
                  <a:pt x="90" y="174"/>
                </a:lnTo>
                <a:close/>
                <a:moveTo>
                  <a:pt x="103" y="168"/>
                </a:moveTo>
                <a:lnTo>
                  <a:pt x="103" y="168"/>
                </a:lnTo>
                <a:lnTo>
                  <a:pt x="100" y="170"/>
                </a:lnTo>
                <a:lnTo>
                  <a:pt x="100" y="170"/>
                </a:lnTo>
                <a:lnTo>
                  <a:pt x="94" y="171"/>
                </a:lnTo>
                <a:lnTo>
                  <a:pt x="96" y="174"/>
                </a:lnTo>
                <a:lnTo>
                  <a:pt x="96" y="174"/>
                </a:lnTo>
                <a:lnTo>
                  <a:pt x="102" y="171"/>
                </a:lnTo>
                <a:lnTo>
                  <a:pt x="102" y="171"/>
                </a:lnTo>
                <a:lnTo>
                  <a:pt x="105" y="170"/>
                </a:lnTo>
                <a:lnTo>
                  <a:pt x="103" y="168"/>
                </a:lnTo>
                <a:close/>
                <a:moveTo>
                  <a:pt x="105" y="154"/>
                </a:moveTo>
                <a:lnTo>
                  <a:pt x="105" y="154"/>
                </a:lnTo>
                <a:lnTo>
                  <a:pt x="105" y="164"/>
                </a:lnTo>
                <a:lnTo>
                  <a:pt x="106" y="164"/>
                </a:lnTo>
                <a:lnTo>
                  <a:pt x="106" y="164"/>
                </a:lnTo>
                <a:lnTo>
                  <a:pt x="107" y="154"/>
                </a:lnTo>
                <a:lnTo>
                  <a:pt x="105" y="154"/>
                </a:lnTo>
                <a:close/>
                <a:moveTo>
                  <a:pt x="110" y="139"/>
                </a:moveTo>
                <a:lnTo>
                  <a:pt x="110" y="139"/>
                </a:lnTo>
                <a:lnTo>
                  <a:pt x="110" y="145"/>
                </a:lnTo>
                <a:lnTo>
                  <a:pt x="110" y="145"/>
                </a:lnTo>
                <a:lnTo>
                  <a:pt x="109" y="146"/>
                </a:lnTo>
                <a:lnTo>
                  <a:pt x="109" y="146"/>
                </a:lnTo>
                <a:lnTo>
                  <a:pt x="109" y="146"/>
                </a:lnTo>
                <a:lnTo>
                  <a:pt x="109" y="146"/>
                </a:lnTo>
                <a:lnTo>
                  <a:pt x="109" y="146"/>
                </a:lnTo>
                <a:lnTo>
                  <a:pt x="109" y="146"/>
                </a:lnTo>
                <a:lnTo>
                  <a:pt x="109" y="146"/>
                </a:lnTo>
                <a:lnTo>
                  <a:pt x="109" y="146"/>
                </a:lnTo>
                <a:lnTo>
                  <a:pt x="109" y="146"/>
                </a:lnTo>
                <a:lnTo>
                  <a:pt x="109" y="146"/>
                </a:lnTo>
                <a:lnTo>
                  <a:pt x="109" y="146"/>
                </a:lnTo>
                <a:lnTo>
                  <a:pt x="109" y="146"/>
                </a:lnTo>
                <a:lnTo>
                  <a:pt x="109" y="146"/>
                </a:lnTo>
                <a:lnTo>
                  <a:pt x="107" y="148"/>
                </a:lnTo>
                <a:lnTo>
                  <a:pt x="109" y="149"/>
                </a:lnTo>
                <a:lnTo>
                  <a:pt x="109" y="149"/>
                </a:lnTo>
                <a:lnTo>
                  <a:pt x="110" y="148"/>
                </a:lnTo>
                <a:lnTo>
                  <a:pt x="110" y="148"/>
                </a:lnTo>
                <a:lnTo>
                  <a:pt x="112" y="146"/>
                </a:lnTo>
                <a:lnTo>
                  <a:pt x="112" y="146"/>
                </a:lnTo>
                <a:lnTo>
                  <a:pt x="113" y="143"/>
                </a:lnTo>
                <a:lnTo>
                  <a:pt x="113" y="139"/>
                </a:lnTo>
                <a:lnTo>
                  <a:pt x="110" y="139"/>
                </a:lnTo>
                <a:close/>
                <a:moveTo>
                  <a:pt x="109" y="125"/>
                </a:moveTo>
                <a:lnTo>
                  <a:pt x="109" y="125"/>
                </a:lnTo>
                <a:lnTo>
                  <a:pt x="110" y="135"/>
                </a:lnTo>
                <a:lnTo>
                  <a:pt x="113" y="135"/>
                </a:lnTo>
                <a:lnTo>
                  <a:pt x="113" y="135"/>
                </a:lnTo>
                <a:lnTo>
                  <a:pt x="112" y="125"/>
                </a:lnTo>
                <a:lnTo>
                  <a:pt x="109" y="125"/>
                </a:lnTo>
                <a:close/>
                <a:moveTo>
                  <a:pt x="107" y="110"/>
                </a:moveTo>
                <a:lnTo>
                  <a:pt x="107" y="110"/>
                </a:lnTo>
                <a:lnTo>
                  <a:pt x="109" y="115"/>
                </a:lnTo>
                <a:lnTo>
                  <a:pt x="109" y="115"/>
                </a:lnTo>
                <a:lnTo>
                  <a:pt x="109" y="119"/>
                </a:lnTo>
                <a:lnTo>
                  <a:pt x="109" y="119"/>
                </a:lnTo>
                <a:lnTo>
                  <a:pt x="112" y="119"/>
                </a:lnTo>
                <a:lnTo>
                  <a:pt x="112" y="119"/>
                </a:lnTo>
                <a:lnTo>
                  <a:pt x="112" y="119"/>
                </a:lnTo>
                <a:lnTo>
                  <a:pt x="110" y="115"/>
                </a:lnTo>
                <a:lnTo>
                  <a:pt x="110" y="115"/>
                </a:lnTo>
                <a:lnTo>
                  <a:pt x="110" y="109"/>
                </a:lnTo>
                <a:lnTo>
                  <a:pt x="107" y="110"/>
                </a:lnTo>
                <a:close/>
                <a:moveTo>
                  <a:pt x="116" y="97"/>
                </a:moveTo>
                <a:lnTo>
                  <a:pt x="116" y="97"/>
                </a:lnTo>
                <a:lnTo>
                  <a:pt x="112" y="100"/>
                </a:lnTo>
                <a:lnTo>
                  <a:pt x="107" y="103"/>
                </a:lnTo>
                <a:lnTo>
                  <a:pt x="107" y="104"/>
                </a:lnTo>
                <a:lnTo>
                  <a:pt x="110" y="104"/>
                </a:lnTo>
                <a:lnTo>
                  <a:pt x="110" y="104"/>
                </a:lnTo>
                <a:lnTo>
                  <a:pt x="110" y="104"/>
                </a:lnTo>
                <a:lnTo>
                  <a:pt x="113" y="101"/>
                </a:lnTo>
                <a:lnTo>
                  <a:pt x="118" y="99"/>
                </a:lnTo>
                <a:lnTo>
                  <a:pt x="116" y="97"/>
                </a:lnTo>
                <a:close/>
                <a:moveTo>
                  <a:pt x="131" y="93"/>
                </a:moveTo>
                <a:lnTo>
                  <a:pt x="131" y="93"/>
                </a:lnTo>
                <a:lnTo>
                  <a:pt x="131" y="93"/>
                </a:lnTo>
                <a:lnTo>
                  <a:pt x="125" y="93"/>
                </a:lnTo>
                <a:lnTo>
                  <a:pt x="125" y="93"/>
                </a:lnTo>
                <a:lnTo>
                  <a:pt x="120" y="94"/>
                </a:lnTo>
                <a:lnTo>
                  <a:pt x="122" y="96"/>
                </a:lnTo>
                <a:lnTo>
                  <a:pt x="122" y="96"/>
                </a:lnTo>
                <a:lnTo>
                  <a:pt x="125" y="94"/>
                </a:lnTo>
                <a:lnTo>
                  <a:pt x="125" y="94"/>
                </a:lnTo>
                <a:lnTo>
                  <a:pt x="131" y="94"/>
                </a:lnTo>
                <a:lnTo>
                  <a:pt x="131" y="94"/>
                </a:lnTo>
                <a:lnTo>
                  <a:pt x="131" y="93"/>
                </a:lnTo>
                <a:close/>
                <a:moveTo>
                  <a:pt x="144" y="90"/>
                </a:moveTo>
                <a:lnTo>
                  <a:pt x="144" y="90"/>
                </a:lnTo>
                <a:lnTo>
                  <a:pt x="142" y="91"/>
                </a:lnTo>
                <a:lnTo>
                  <a:pt x="142" y="91"/>
                </a:lnTo>
                <a:lnTo>
                  <a:pt x="135" y="93"/>
                </a:lnTo>
                <a:lnTo>
                  <a:pt x="136" y="94"/>
                </a:lnTo>
                <a:lnTo>
                  <a:pt x="136" y="94"/>
                </a:lnTo>
                <a:lnTo>
                  <a:pt x="142" y="94"/>
                </a:lnTo>
                <a:lnTo>
                  <a:pt x="142" y="94"/>
                </a:lnTo>
                <a:lnTo>
                  <a:pt x="147" y="91"/>
                </a:lnTo>
                <a:lnTo>
                  <a:pt x="144" y="90"/>
                </a:lnTo>
                <a:close/>
                <a:moveTo>
                  <a:pt x="141" y="75"/>
                </a:moveTo>
                <a:lnTo>
                  <a:pt x="141" y="75"/>
                </a:lnTo>
                <a:lnTo>
                  <a:pt x="139" y="80"/>
                </a:lnTo>
                <a:lnTo>
                  <a:pt x="139" y="80"/>
                </a:lnTo>
                <a:lnTo>
                  <a:pt x="141" y="83"/>
                </a:lnTo>
                <a:lnTo>
                  <a:pt x="141" y="83"/>
                </a:lnTo>
                <a:lnTo>
                  <a:pt x="144" y="87"/>
                </a:lnTo>
                <a:lnTo>
                  <a:pt x="145" y="86"/>
                </a:lnTo>
                <a:lnTo>
                  <a:pt x="145" y="86"/>
                </a:lnTo>
                <a:lnTo>
                  <a:pt x="144" y="81"/>
                </a:lnTo>
                <a:lnTo>
                  <a:pt x="144" y="81"/>
                </a:lnTo>
                <a:lnTo>
                  <a:pt x="142" y="80"/>
                </a:lnTo>
                <a:lnTo>
                  <a:pt x="142" y="80"/>
                </a:lnTo>
                <a:lnTo>
                  <a:pt x="144" y="77"/>
                </a:lnTo>
                <a:lnTo>
                  <a:pt x="141" y="75"/>
                </a:lnTo>
                <a:close/>
                <a:moveTo>
                  <a:pt x="147" y="62"/>
                </a:moveTo>
                <a:lnTo>
                  <a:pt x="147" y="62"/>
                </a:lnTo>
                <a:lnTo>
                  <a:pt x="145" y="68"/>
                </a:lnTo>
                <a:lnTo>
                  <a:pt x="144" y="73"/>
                </a:lnTo>
                <a:lnTo>
                  <a:pt x="147" y="74"/>
                </a:lnTo>
                <a:lnTo>
                  <a:pt x="147" y="74"/>
                </a:lnTo>
                <a:lnTo>
                  <a:pt x="148" y="68"/>
                </a:lnTo>
                <a:lnTo>
                  <a:pt x="148" y="62"/>
                </a:lnTo>
                <a:lnTo>
                  <a:pt x="147" y="62"/>
                </a:lnTo>
                <a:close/>
                <a:moveTo>
                  <a:pt x="157" y="54"/>
                </a:moveTo>
                <a:lnTo>
                  <a:pt x="157" y="54"/>
                </a:lnTo>
                <a:lnTo>
                  <a:pt x="155" y="52"/>
                </a:lnTo>
                <a:lnTo>
                  <a:pt x="154" y="52"/>
                </a:lnTo>
                <a:lnTo>
                  <a:pt x="154" y="52"/>
                </a:lnTo>
                <a:lnTo>
                  <a:pt x="151" y="54"/>
                </a:lnTo>
                <a:lnTo>
                  <a:pt x="151" y="54"/>
                </a:lnTo>
                <a:lnTo>
                  <a:pt x="148" y="57"/>
                </a:lnTo>
                <a:lnTo>
                  <a:pt x="148" y="58"/>
                </a:lnTo>
                <a:lnTo>
                  <a:pt x="149" y="58"/>
                </a:lnTo>
                <a:lnTo>
                  <a:pt x="151" y="58"/>
                </a:lnTo>
                <a:lnTo>
                  <a:pt x="151" y="58"/>
                </a:lnTo>
                <a:lnTo>
                  <a:pt x="152" y="55"/>
                </a:lnTo>
                <a:lnTo>
                  <a:pt x="152" y="55"/>
                </a:lnTo>
                <a:lnTo>
                  <a:pt x="154" y="55"/>
                </a:lnTo>
                <a:lnTo>
                  <a:pt x="154" y="55"/>
                </a:lnTo>
                <a:lnTo>
                  <a:pt x="155" y="55"/>
                </a:lnTo>
                <a:lnTo>
                  <a:pt x="157" y="54"/>
                </a:lnTo>
                <a:close/>
                <a:moveTo>
                  <a:pt x="170" y="55"/>
                </a:moveTo>
                <a:lnTo>
                  <a:pt x="170" y="55"/>
                </a:lnTo>
                <a:lnTo>
                  <a:pt x="162" y="57"/>
                </a:lnTo>
                <a:lnTo>
                  <a:pt x="162" y="57"/>
                </a:lnTo>
                <a:lnTo>
                  <a:pt x="161" y="57"/>
                </a:lnTo>
                <a:lnTo>
                  <a:pt x="160" y="58"/>
                </a:lnTo>
                <a:lnTo>
                  <a:pt x="160" y="58"/>
                </a:lnTo>
                <a:lnTo>
                  <a:pt x="162" y="59"/>
                </a:lnTo>
                <a:lnTo>
                  <a:pt x="162" y="59"/>
                </a:lnTo>
                <a:lnTo>
                  <a:pt x="171" y="58"/>
                </a:lnTo>
                <a:lnTo>
                  <a:pt x="170" y="55"/>
                </a:lnTo>
                <a:close/>
                <a:moveTo>
                  <a:pt x="186" y="54"/>
                </a:moveTo>
                <a:lnTo>
                  <a:pt x="186" y="54"/>
                </a:lnTo>
                <a:lnTo>
                  <a:pt x="181" y="54"/>
                </a:lnTo>
                <a:lnTo>
                  <a:pt x="181" y="54"/>
                </a:lnTo>
                <a:lnTo>
                  <a:pt x="175" y="55"/>
                </a:lnTo>
                <a:lnTo>
                  <a:pt x="175" y="57"/>
                </a:lnTo>
                <a:lnTo>
                  <a:pt x="175" y="57"/>
                </a:lnTo>
                <a:lnTo>
                  <a:pt x="181" y="57"/>
                </a:lnTo>
                <a:lnTo>
                  <a:pt x="181" y="57"/>
                </a:lnTo>
                <a:lnTo>
                  <a:pt x="186" y="57"/>
                </a:lnTo>
                <a:lnTo>
                  <a:pt x="186" y="54"/>
                </a:lnTo>
                <a:close/>
                <a:moveTo>
                  <a:pt x="193" y="45"/>
                </a:moveTo>
                <a:lnTo>
                  <a:pt x="193" y="45"/>
                </a:lnTo>
                <a:lnTo>
                  <a:pt x="193" y="48"/>
                </a:lnTo>
                <a:lnTo>
                  <a:pt x="193" y="48"/>
                </a:lnTo>
                <a:lnTo>
                  <a:pt x="193" y="51"/>
                </a:lnTo>
                <a:lnTo>
                  <a:pt x="193" y="51"/>
                </a:lnTo>
                <a:lnTo>
                  <a:pt x="190" y="52"/>
                </a:lnTo>
                <a:lnTo>
                  <a:pt x="191" y="55"/>
                </a:lnTo>
                <a:lnTo>
                  <a:pt x="191" y="55"/>
                </a:lnTo>
                <a:lnTo>
                  <a:pt x="193" y="54"/>
                </a:lnTo>
                <a:lnTo>
                  <a:pt x="194" y="52"/>
                </a:lnTo>
                <a:lnTo>
                  <a:pt x="194" y="52"/>
                </a:lnTo>
                <a:lnTo>
                  <a:pt x="194" y="48"/>
                </a:lnTo>
                <a:lnTo>
                  <a:pt x="194" y="48"/>
                </a:lnTo>
                <a:lnTo>
                  <a:pt x="194" y="45"/>
                </a:lnTo>
                <a:lnTo>
                  <a:pt x="193" y="45"/>
                </a:lnTo>
                <a:close/>
                <a:moveTo>
                  <a:pt x="191" y="29"/>
                </a:moveTo>
                <a:lnTo>
                  <a:pt x="191" y="29"/>
                </a:lnTo>
                <a:lnTo>
                  <a:pt x="191" y="29"/>
                </a:lnTo>
                <a:lnTo>
                  <a:pt x="191" y="32"/>
                </a:lnTo>
                <a:lnTo>
                  <a:pt x="191" y="32"/>
                </a:lnTo>
                <a:lnTo>
                  <a:pt x="191" y="41"/>
                </a:lnTo>
                <a:lnTo>
                  <a:pt x="194" y="39"/>
                </a:lnTo>
                <a:lnTo>
                  <a:pt x="194" y="39"/>
                </a:lnTo>
                <a:lnTo>
                  <a:pt x="194" y="32"/>
                </a:lnTo>
                <a:lnTo>
                  <a:pt x="194" y="32"/>
                </a:lnTo>
                <a:lnTo>
                  <a:pt x="194" y="31"/>
                </a:lnTo>
                <a:lnTo>
                  <a:pt x="194" y="31"/>
                </a:lnTo>
                <a:lnTo>
                  <a:pt x="194" y="31"/>
                </a:lnTo>
                <a:lnTo>
                  <a:pt x="191" y="29"/>
                </a:lnTo>
                <a:close/>
                <a:moveTo>
                  <a:pt x="203" y="17"/>
                </a:moveTo>
                <a:lnTo>
                  <a:pt x="203" y="17"/>
                </a:lnTo>
                <a:lnTo>
                  <a:pt x="194" y="25"/>
                </a:lnTo>
                <a:lnTo>
                  <a:pt x="197" y="26"/>
                </a:lnTo>
                <a:lnTo>
                  <a:pt x="197" y="26"/>
                </a:lnTo>
                <a:lnTo>
                  <a:pt x="204" y="20"/>
                </a:lnTo>
                <a:lnTo>
                  <a:pt x="203" y="17"/>
                </a:lnTo>
                <a:close/>
                <a:moveTo>
                  <a:pt x="215" y="9"/>
                </a:moveTo>
                <a:lnTo>
                  <a:pt x="215" y="9"/>
                </a:lnTo>
                <a:lnTo>
                  <a:pt x="210" y="12"/>
                </a:lnTo>
                <a:lnTo>
                  <a:pt x="206" y="15"/>
                </a:lnTo>
                <a:lnTo>
                  <a:pt x="207" y="16"/>
                </a:lnTo>
                <a:lnTo>
                  <a:pt x="207" y="16"/>
                </a:lnTo>
                <a:lnTo>
                  <a:pt x="212" y="13"/>
                </a:lnTo>
                <a:lnTo>
                  <a:pt x="216" y="10"/>
                </a:lnTo>
                <a:lnTo>
                  <a:pt x="215" y="9"/>
                </a:lnTo>
                <a:close/>
                <a:moveTo>
                  <a:pt x="225" y="0"/>
                </a:moveTo>
                <a:lnTo>
                  <a:pt x="225" y="0"/>
                </a:lnTo>
                <a:lnTo>
                  <a:pt x="223" y="4"/>
                </a:lnTo>
                <a:lnTo>
                  <a:pt x="223" y="4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19" y="7"/>
                </a:lnTo>
                <a:lnTo>
                  <a:pt x="220" y="9"/>
                </a:lnTo>
                <a:lnTo>
                  <a:pt x="220" y="9"/>
                </a:lnTo>
                <a:lnTo>
                  <a:pt x="222" y="9"/>
                </a:lnTo>
                <a:lnTo>
                  <a:pt x="222" y="9"/>
                </a:lnTo>
                <a:lnTo>
                  <a:pt x="223" y="7"/>
                </a:lnTo>
                <a:lnTo>
                  <a:pt x="223" y="7"/>
                </a:lnTo>
                <a:lnTo>
                  <a:pt x="226" y="6"/>
                </a:lnTo>
                <a:lnTo>
                  <a:pt x="228" y="2"/>
                </a:lnTo>
                <a:lnTo>
                  <a:pt x="225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11" name="Freeform 1763"/>
          <p:cNvSpPr>
            <a:spLocks noEditPoints="1"/>
          </p:cNvSpPr>
          <p:nvPr/>
        </p:nvSpPr>
        <p:spPr bwMode="auto">
          <a:xfrm>
            <a:off x="5491022" y="2730507"/>
            <a:ext cx="466931" cy="239401"/>
          </a:xfrm>
          <a:custGeom>
            <a:avLst/>
            <a:gdLst>
              <a:gd name="T0" fmla="*/ 329 w 472"/>
              <a:gd name="T1" fmla="*/ 201 h 242"/>
              <a:gd name="T2" fmla="*/ 329 w 472"/>
              <a:gd name="T3" fmla="*/ 197 h 242"/>
              <a:gd name="T4" fmla="*/ 320 w 472"/>
              <a:gd name="T5" fmla="*/ 185 h 242"/>
              <a:gd name="T6" fmla="*/ 332 w 472"/>
              <a:gd name="T7" fmla="*/ 178 h 242"/>
              <a:gd name="T8" fmla="*/ 323 w 472"/>
              <a:gd name="T9" fmla="*/ 169 h 242"/>
              <a:gd name="T10" fmla="*/ 333 w 472"/>
              <a:gd name="T11" fmla="*/ 163 h 242"/>
              <a:gd name="T12" fmla="*/ 335 w 472"/>
              <a:gd name="T13" fmla="*/ 165 h 242"/>
              <a:gd name="T14" fmla="*/ 339 w 472"/>
              <a:gd name="T15" fmla="*/ 162 h 242"/>
              <a:gd name="T16" fmla="*/ 345 w 472"/>
              <a:gd name="T17" fmla="*/ 163 h 242"/>
              <a:gd name="T18" fmla="*/ 352 w 472"/>
              <a:gd name="T19" fmla="*/ 175 h 242"/>
              <a:gd name="T20" fmla="*/ 381 w 472"/>
              <a:gd name="T21" fmla="*/ 189 h 242"/>
              <a:gd name="T22" fmla="*/ 375 w 472"/>
              <a:gd name="T23" fmla="*/ 191 h 242"/>
              <a:gd name="T24" fmla="*/ 380 w 472"/>
              <a:gd name="T25" fmla="*/ 216 h 242"/>
              <a:gd name="T26" fmla="*/ 378 w 472"/>
              <a:gd name="T27" fmla="*/ 218 h 242"/>
              <a:gd name="T28" fmla="*/ 385 w 472"/>
              <a:gd name="T29" fmla="*/ 205 h 242"/>
              <a:gd name="T30" fmla="*/ 394 w 472"/>
              <a:gd name="T31" fmla="*/ 230 h 242"/>
              <a:gd name="T32" fmla="*/ 394 w 472"/>
              <a:gd name="T33" fmla="*/ 237 h 242"/>
              <a:gd name="T34" fmla="*/ 401 w 472"/>
              <a:gd name="T35" fmla="*/ 220 h 242"/>
              <a:gd name="T36" fmla="*/ 409 w 472"/>
              <a:gd name="T37" fmla="*/ 217 h 242"/>
              <a:gd name="T38" fmla="*/ 427 w 472"/>
              <a:gd name="T39" fmla="*/ 188 h 242"/>
              <a:gd name="T40" fmla="*/ 436 w 472"/>
              <a:gd name="T41" fmla="*/ 169 h 242"/>
              <a:gd name="T42" fmla="*/ 461 w 472"/>
              <a:gd name="T43" fmla="*/ 143 h 242"/>
              <a:gd name="T44" fmla="*/ 469 w 472"/>
              <a:gd name="T45" fmla="*/ 134 h 242"/>
              <a:gd name="T46" fmla="*/ 472 w 472"/>
              <a:gd name="T47" fmla="*/ 132 h 242"/>
              <a:gd name="T48" fmla="*/ 464 w 472"/>
              <a:gd name="T49" fmla="*/ 120 h 242"/>
              <a:gd name="T50" fmla="*/ 455 w 472"/>
              <a:gd name="T51" fmla="*/ 110 h 242"/>
              <a:gd name="T52" fmla="*/ 433 w 472"/>
              <a:gd name="T53" fmla="*/ 107 h 242"/>
              <a:gd name="T54" fmla="*/ 411 w 472"/>
              <a:gd name="T55" fmla="*/ 116 h 242"/>
              <a:gd name="T56" fmla="*/ 395 w 472"/>
              <a:gd name="T57" fmla="*/ 129 h 242"/>
              <a:gd name="T58" fmla="*/ 378 w 472"/>
              <a:gd name="T59" fmla="*/ 133 h 242"/>
              <a:gd name="T60" fmla="*/ 385 w 472"/>
              <a:gd name="T61" fmla="*/ 143 h 242"/>
              <a:gd name="T62" fmla="*/ 359 w 472"/>
              <a:gd name="T63" fmla="*/ 149 h 242"/>
              <a:gd name="T64" fmla="*/ 333 w 472"/>
              <a:gd name="T65" fmla="*/ 134 h 242"/>
              <a:gd name="T66" fmla="*/ 338 w 472"/>
              <a:gd name="T67" fmla="*/ 143 h 242"/>
              <a:gd name="T68" fmla="*/ 333 w 472"/>
              <a:gd name="T69" fmla="*/ 127 h 242"/>
              <a:gd name="T70" fmla="*/ 335 w 472"/>
              <a:gd name="T71" fmla="*/ 126 h 242"/>
              <a:gd name="T72" fmla="*/ 322 w 472"/>
              <a:gd name="T73" fmla="*/ 143 h 242"/>
              <a:gd name="T74" fmla="*/ 317 w 472"/>
              <a:gd name="T75" fmla="*/ 147 h 242"/>
              <a:gd name="T76" fmla="*/ 309 w 472"/>
              <a:gd name="T77" fmla="*/ 156 h 242"/>
              <a:gd name="T78" fmla="*/ 277 w 472"/>
              <a:gd name="T79" fmla="*/ 150 h 242"/>
              <a:gd name="T80" fmla="*/ 251 w 472"/>
              <a:gd name="T81" fmla="*/ 142 h 242"/>
              <a:gd name="T82" fmla="*/ 232 w 472"/>
              <a:gd name="T83" fmla="*/ 134 h 242"/>
              <a:gd name="T84" fmla="*/ 197 w 472"/>
              <a:gd name="T85" fmla="*/ 114 h 242"/>
              <a:gd name="T86" fmla="*/ 210 w 472"/>
              <a:gd name="T87" fmla="*/ 90 h 242"/>
              <a:gd name="T88" fmla="*/ 196 w 472"/>
              <a:gd name="T89" fmla="*/ 0 h 242"/>
              <a:gd name="T90" fmla="*/ 93 w 472"/>
              <a:gd name="T91" fmla="*/ 91 h 242"/>
              <a:gd name="T92" fmla="*/ 70 w 472"/>
              <a:gd name="T93" fmla="*/ 121 h 242"/>
              <a:gd name="T94" fmla="*/ 65 w 472"/>
              <a:gd name="T95" fmla="*/ 124 h 242"/>
              <a:gd name="T96" fmla="*/ 45 w 472"/>
              <a:gd name="T97" fmla="*/ 132 h 242"/>
              <a:gd name="T98" fmla="*/ 33 w 472"/>
              <a:gd name="T99" fmla="*/ 140 h 242"/>
              <a:gd name="T100" fmla="*/ 26 w 472"/>
              <a:gd name="T101" fmla="*/ 155 h 242"/>
              <a:gd name="T102" fmla="*/ 25 w 472"/>
              <a:gd name="T103" fmla="*/ 155 h 242"/>
              <a:gd name="T104" fmla="*/ 35 w 472"/>
              <a:gd name="T105" fmla="*/ 169 h 242"/>
              <a:gd name="T106" fmla="*/ 52 w 472"/>
              <a:gd name="T107" fmla="*/ 194 h 242"/>
              <a:gd name="T108" fmla="*/ 42 w 472"/>
              <a:gd name="T109" fmla="*/ 192 h 242"/>
              <a:gd name="T110" fmla="*/ 42 w 472"/>
              <a:gd name="T111" fmla="*/ 189 h 242"/>
              <a:gd name="T112" fmla="*/ 16 w 472"/>
              <a:gd name="T113" fmla="*/ 198 h 242"/>
              <a:gd name="T114" fmla="*/ 16 w 472"/>
              <a:gd name="T115" fmla="*/ 191 h 242"/>
              <a:gd name="T116" fmla="*/ 3 w 472"/>
              <a:gd name="T117" fmla="*/ 204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72" h="242">
                <a:moveTo>
                  <a:pt x="333" y="231"/>
                </a:moveTo>
                <a:lnTo>
                  <a:pt x="335" y="242"/>
                </a:lnTo>
                <a:lnTo>
                  <a:pt x="338" y="242"/>
                </a:lnTo>
                <a:lnTo>
                  <a:pt x="335" y="231"/>
                </a:lnTo>
                <a:lnTo>
                  <a:pt x="333" y="231"/>
                </a:lnTo>
                <a:close/>
                <a:moveTo>
                  <a:pt x="330" y="217"/>
                </a:moveTo>
                <a:lnTo>
                  <a:pt x="332" y="227"/>
                </a:lnTo>
                <a:lnTo>
                  <a:pt x="335" y="227"/>
                </a:lnTo>
                <a:lnTo>
                  <a:pt x="332" y="217"/>
                </a:lnTo>
                <a:lnTo>
                  <a:pt x="330" y="217"/>
                </a:lnTo>
                <a:close/>
                <a:moveTo>
                  <a:pt x="329" y="201"/>
                </a:moveTo>
                <a:lnTo>
                  <a:pt x="327" y="205"/>
                </a:lnTo>
                <a:lnTo>
                  <a:pt x="327" y="205"/>
                </a:lnTo>
                <a:lnTo>
                  <a:pt x="329" y="211"/>
                </a:lnTo>
                <a:lnTo>
                  <a:pt x="332" y="211"/>
                </a:lnTo>
                <a:lnTo>
                  <a:pt x="330" y="205"/>
                </a:lnTo>
                <a:lnTo>
                  <a:pt x="330" y="201"/>
                </a:lnTo>
                <a:lnTo>
                  <a:pt x="329" y="201"/>
                </a:lnTo>
                <a:close/>
                <a:moveTo>
                  <a:pt x="323" y="189"/>
                </a:moveTo>
                <a:lnTo>
                  <a:pt x="329" y="195"/>
                </a:lnTo>
                <a:lnTo>
                  <a:pt x="329" y="195"/>
                </a:lnTo>
                <a:lnTo>
                  <a:pt x="329" y="197"/>
                </a:lnTo>
                <a:lnTo>
                  <a:pt x="332" y="197"/>
                </a:lnTo>
                <a:lnTo>
                  <a:pt x="332" y="195"/>
                </a:lnTo>
                <a:lnTo>
                  <a:pt x="332" y="194"/>
                </a:lnTo>
                <a:lnTo>
                  <a:pt x="330" y="194"/>
                </a:lnTo>
                <a:lnTo>
                  <a:pt x="330" y="192"/>
                </a:lnTo>
                <a:lnTo>
                  <a:pt x="325" y="188"/>
                </a:lnTo>
                <a:lnTo>
                  <a:pt x="323" y="189"/>
                </a:lnTo>
                <a:close/>
                <a:moveTo>
                  <a:pt x="327" y="178"/>
                </a:moveTo>
                <a:lnTo>
                  <a:pt x="326" y="178"/>
                </a:lnTo>
                <a:lnTo>
                  <a:pt x="325" y="178"/>
                </a:lnTo>
                <a:lnTo>
                  <a:pt x="320" y="185"/>
                </a:lnTo>
                <a:lnTo>
                  <a:pt x="322" y="187"/>
                </a:lnTo>
                <a:lnTo>
                  <a:pt x="326" y="181"/>
                </a:lnTo>
                <a:lnTo>
                  <a:pt x="327" y="181"/>
                </a:lnTo>
                <a:lnTo>
                  <a:pt x="327" y="178"/>
                </a:lnTo>
                <a:close/>
                <a:moveTo>
                  <a:pt x="327" y="172"/>
                </a:moveTo>
                <a:lnTo>
                  <a:pt x="330" y="174"/>
                </a:lnTo>
                <a:lnTo>
                  <a:pt x="330" y="174"/>
                </a:lnTo>
                <a:lnTo>
                  <a:pt x="332" y="178"/>
                </a:lnTo>
                <a:lnTo>
                  <a:pt x="332" y="178"/>
                </a:lnTo>
                <a:lnTo>
                  <a:pt x="332" y="178"/>
                </a:lnTo>
                <a:lnTo>
                  <a:pt x="332" y="178"/>
                </a:lnTo>
                <a:lnTo>
                  <a:pt x="333" y="179"/>
                </a:lnTo>
                <a:lnTo>
                  <a:pt x="333" y="178"/>
                </a:lnTo>
                <a:lnTo>
                  <a:pt x="333" y="178"/>
                </a:lnTo>
                <a:lnTo>
                  <a:pt x="333" y="172"/>
                </a:lnTo>
                <a:lnTo>
                  <a:pt x="332" y="171"/>
                </a:lnTo>
                <a:lnTo>
                  <a:pt x="332" y="171"/>
                </a:lnTo>
                <a:lnTo>
                  <a:pt x="327" y="171"/>
                </a:lnTo>
                <a:lnTo>
                  <a:pt x="327" y="172"/>
                </a:lnTo>
                <a:close/>
                <a:moveTo>
                  <a:pt x="326" y="159"/>
                </a:moveTo>
                <a:lnTo>
                  <a:pt x="322" y="166"/>
                </a:lnTo>
                <a:lnTo>
                  <a:pt x="323" y="169"/>
                </a:lnTo>
                <a:lnTo>
                  <a:pt x="326" y="169"/>
                </a:lnTo>
                <a:lnTo>
                  <a:pt x="325" y="168"/>
                </a:lnTo>
                <a:lnTo>
                  <a:pt x="329" y="161"/>
                </a:lnTo>
                <a:lnTo>
                  <a:pt x="326" y="159"/>
                </a:lnTo>
                <a:close/>
                <a:moveTo>
                  <a:pt x="335" y="159"/>
                </a:moveTo>
                <a:lnTo>
                  <a:pt x="333" y="162"/>
                </a:lnTo>
                <a:lnTo>
                  <a:pt x="332" y="163"/>
                </a:lnTo>
                <a:lnTo>
                  <a:pt x="333" y="163"/>
                </a:lnTo>
                <a:lnTo>
                  <a:pt x="333" y="162"/>
                </a:lnTo>
                <a:lnTo>
                  <a:pt x="333" y="162"/>
                </a:lnTo>
                <a:lnTo>
                  <a:pt x="333" y="163"/>
                </a:lnTo>
                <a:lnTo>
                  <a:pt x="333" y="163"/>
                </a:lnTo>
                <a:lnTo>
                  <a:pt x="333" y="162"/>
                </a:lnTo>
                <a:lnTo>
                  <a:pt x="330" y="159"/>
                </a:lnTo>
                <a:lnTo>
                  <a:pt x="329" y="161"/>
                </a:lnTo>
                <a:lnTo>
                  <a:pt x="332" y="165"/>
                </a:lnTo>
                <a:lnTo>
                  <a:pt x="332" y="165"/>
                </a:lnTo>
                <a:lnTo>
                  <a:pt x="333" y="165"/>
                </a:lnTo>
                <a:lnTo>
                  <a:pt x="333" y="165"/>
                </a:lnTo>
                <a:lnTo>
                  <a:pt x="333" y="165"/>
                </a:lnTo>
                <a:lnTo>
                  <a:pt x="333" y="165"/>
                </a:lnTo>
                <a:lnTo>
                  <a:pt x="335" y="165"/>
                </a:lnTo>
                <a:lnTo>
                  <a:pt x="335" y="165"/>
                </a:lnTo>
                <a:lnTo>
                  <a:pt x="336" y="161"/>
                </a:lnTo>
                <a:lnTo>
                  <a:pt x="335" y="159"/>
                </a:lnTo>
                <a:close/>
                <a:moveTo>
                  <a:pt x="346" y="163"/>
                </a:moveTo>
                <a:lnTo>
                  <a:pt x="346" y="163"/>
                </a:lnTo>
                <a:lnTo>
                  <a:pt x="345" y="159"/>
                </a:lnTo>
                <a:lnTo>
                  <a:pt x="343" y="163"/>
                </a:lnTo>
                <a:lnTo>
                  <a:pt x="343" y="165"/>
                </a:lnTo>
                <a:lnTo>
                  <a:pt x="340" y="165"/>
                </a:lnTo>
                <a:lnTo>
                  <a:pt x="340" y="163"/>
                </a:lnTo>
                <a:lnTo>
                  <a:pt x="339" y="162"/>
                </a:lnTo>
                <a:lnTo>
                  <a:pt x="336" y="163"/>
                </a:lnTo>
                <a:lnTo>
                  <a:pt x="338" y="165"/>
                </a:lnTo>
                <a:lnTo>
                  <a:pt x="338" y="166"/>
                </a:lnTo>
                <a:lnTo>
                  <a:pt x="339" y="166"/>
                </a:lnTo>
                <a:lnTo>
                  <a:pt x="339" y="166"/>
                </a:lnTo>
                <a:lnTo>
                  <a:pt x="343" y="166"/>
                </a:lnTo>
                <a:lnTo>
                  <a:pt x="343" y="166"/>
                </a:lnTo>
                <a:lnTo>
                  <a:pt x="345" y="166"/>
                </a:lnTo>
                <a:lnTo>
                  <a:pt x="345" y="166"/>
                </a:lnTo>
                <a:lnTo>
                  <a:pt x="346" y="163"/>
                </a:lnTo>
                <a:lnTo>
                  <a:pt x="345" y="163"/>
                </a:lnTo>
                <a:lnTo>
                  <a:pt x="343" y="163"/>
                </a:lnTo>
                <a:lnTo>
                  <a:pt x="343" y="163"/>
                </a:lnTo>
                <a:lnTo>
                  <a:pt x="346" y="163"/>
                </a:lnTo>
                <a:close/>
                <a:moveTo>
                  <a:pt x="352" y="175"/>
                </a:moveTo>
                <a:lnTo>
                  <a:pt x="349" y="172"/>
                </a:lnTo>
                <a:lnTo>
                  <a:pt x="348" y="168"/>
                </a:lnTo>
                <a:lnTo>
                  <a:pt x="345" y="169"/>
                </a:lnTo>
                <a:lnTo>
                  <a:pt x="346" y="174"/>
                </a:lnTo>
                <a:lnTo>
                  <a:pt x="346" y="174"/>
                </a:lnTo>
                <a:lnTo>
                  <a:pt x="351" y="178"/>
                </a:lnTo>
                <a:lnTo>
                  <a:pt x="352" y="175"/>
                </a:lnTo>
                <a:close/>
                <a:moveTo>
                  <a:pt x="367" y="178"/>
                </a:moveTo>
                <a:lnTo>
                  <a:pt x="356" y="176"/>
                </a:lnTo>
                <a:lnTo>
                  <a:pt x="356" y="179"/>
                </a:lnTo>
                <a:lnTo>
                  <a:pt x="367" y="181"/>
                </a:lnTo>
                <a:lnTo>
                  <a:pt x="367" y="178"/>
                </a:lnTo>
                <a:close/>
                <a:moveTo>
                  <a:pt x="382" y="179"/>
                </a:moveTo>
                <a:lnTo>
                  <a:pt x="372" y="178"/>
                </a:lnTo>
                <a:lnTo>
                  <a:pt x="371" y="181"/>
                </a:lnTo>
                <a:lnTo>
                  <a:pt x="381" y="182"/>
                </a:lnTo>
                <a:lnTo>
                  <a:pt x="382" y="179"/>
                </a:lnTo>
                <a:close/>
                <a:moveTo>
                  <a:pt x="381" y="189"/>
                </a:moveTo>
                <a:lnTo>
                  <a:pt x="390" y="181"/>
                </a:lnTo>
                <a:lnTo>
                  <a:pt x="387" y="181"/>
                </a:lnTo>
                <a:lnTo>
                  <a:pt x="387" y="182"/>
                </a:lnTo>
                <a:lnTo>
                  <a:pt x="387" y="182"/>
                </a:lnTo>
                <a:lnTo>
                  <a:pt x="387" y="181"/>
                </a:lnTo>
                <a:lnTo>
                  <a:pt x="387" y="181"/>
                </a:lnTo>
                <a:lnTo>
                  <a:pt x="380" y="188"/>
                </a:lnTo>
                <a:lnTo>
                  <a:pt x="381" y="189"/>
                </a:lnTo>
                <a:close/>
                <a:moveTo>
                  <a:pt x="371" y="201"/>
                </a:moveTo>
                <a:lnTo>
                  <a:pt x="378" y="192"/>
                </a:lnTo>
                <a:lnTo>
                  <a:pt x="375" y="191"/>
                </a:lnTo>
                <a:lnTo>
                  <a:pt x="369" y="198"/>
                </a:lnTo>
                <a:lnTo>
                  <a:pt x="371" y="201"/>
                </a:lnTo>
                <a:close/>
                <a:moveTo>
                  <a:pt x="374" y="213"/>
                </a:moveTo>
                <a:lnTo>
                  <a:pt x="374" y="211"/>
                </a:lnTo>
                <a:lnTo>
                  <a:pt x="371" y="204"/>
                </a:lnTo>
                <a:lnTo>
                  <a:pt x="368" y="204"/>
                </a:lnTo>
                <a:lnTo>
                  <a:pt x="371" y="213"/>
                </a:lnTo>
                <a:lnTo>
                  <a:pt x="372" y="214"/>
                </a:lnTo>
                <a:lnTo>
                  <a:pt x="374" y="213"/>
                </a:lnTo>
                <a:close/>
                <a:moveTo>
                  <a:pt x="382" y="210"/>
                </a:moveTo>
                <a:lnTo>
                  <a:pt x="380" y="216"/>
                </a:lnTo>
                <a:lnTo>
                  <a:pt x="378" y="216"/>
                </a:lnTo>
                <a:lnTo>
                  <a:pt x="380" y="217"/>
                </a:lnTo>
                <a:lnTo>
                  <a:pt x="380" y="216"/>
                </a:lnTo>
                <a:lnTo>
                  <a:pt x="380" y="216"/>
                </a:lnTo>
                <a:lnTo>
                  <a:pt x="380" y="217"/>
                </a:lnTo>
                <a:lnTo>
                  <a:pt x="380" y="216"/>
                </a:lnTo>
                <a:lnTo>
                  <a:pt x="380" y="216"/>
                </a:lnTo>
                <a:lnTo>
                  <a:pt x="378" y="216"/>
                </a:lnTo>
                <a:lnTo>
                  <a:pt x="377" y="217"/>
                </a:lnTo>
                <a:lnTo>
                  <a:pt x="378" y="218"/>
                </a:lnTo>
                <a:lnTo>
                  <a:pt x="378" y="218"/>
                </a:lnTo>
                <a:lnTo>
                  <a:pt x="380" y="218"/>
                </a:lnTo>
                <a:lnTo>
                  <a:pt x="380" y="218"/>
                </a:lnTo>
                <a:lnTo>
                  <a:pt x="380" y="218"/>
                </a:lnTo>
                <a:lnTo>
                  <a:pt x="380" y="218"/>
                </a:lnTo>
                <a:lnTo>
                  <a:pt x="381" y="218"/>
                </a:lnTo>
                <a:lnTo>
                  <a:pt x="381" y="218"/>
                </a:lnTo>
                <a:lnTo>
                  <a:pt x="385" y="211"/>
                </a:lnTo>
                <a:lnTo>
                  <a:pt x="382" y="210"/>
                </a:lnTo>
                <a:close/>
                <a:moveTo>
                  <a:pt x="391" y="216"/>
                </a:moveTo>
                <a:lnTo>
                  <a:pt x="387" y="204"/>
                </a:lnTo>
                <a:lnTo>
                  <a:pt x="385" y="205"/>
                </a:lnTo>
                <a:lnTo>
                  <a:pt x="388" y="207"/>
                </a:lnTo>
                <a:lnTo>
                  <a:pt x="388" y="207"/>
                </a:lnTo>
                <a:lnTo>
                  <a:pt x="387" y="207"/>
                </a:lnTo>
                <a:lnTo>
                  <a:pt x="385" y="207"/>
                </a:lnTo>
                <a:lnTo>
                  <a:pt x="388" y="217"/>
                </a:lnTo>
                <a:lnTo>
                  <a:pt x="391" y="216"/>
                </a:lnTo>
                <a:close/>
                <a:moveTo>
                  <a:pt x="394" y="230"/>
                </a:moveTo>
                <a:lnTo>
                  <a:pt x="393" y="221"/>
                </a:lnTo>
                <a:lnTo>
                  <a:pt x="390" y="221"/>
                </a:lnTo>
                <a:lnTo>
                  <a:pt x="393" y="231"/>
                </a:lnTo>
                <a:lnTo>
                  <a:pt x="394" y="230"/>
                </a:lnTo>
                <a:close/>
                <a:moveTo>
                  <a:pt x="403" y="231"/>
                </a:moveTo>
                <a:lnTo>
                  <a:pt x="395" y="236"/>
                </a:lnTo>
                <a:lnTo>
                  <a:pt x="395" y="236"/>
                </a:lnTo>
                <a:lnTo>
                  <a:pt x="395" y="236"/>
                </a:lnTo>
                <a:lnTo>
                  <a:pt x="395" y="237"/>
                </a:lnTo>
                <a:lnTo>
                  <a:pt x="395" y="236"/>
                </a:lnTo>
                <a:lnTo>
                  <a:pt x="395" y="236"/>
                </a:lnTo>
                <a:lnTo>
                  <a:pt x="395" y="236"/>
                </a:lnTo>
                <a:lnTo>
                  <a:pt x="393" y="236"/>
                </a:lnTo>
                <a:lnTo>
                  <a:pt x="394" y="236"/>
                </a:lnTo>
                <a:lnTo>
                  <a:pt x="394" y="237"/>
                </a:lnTo>
                <a:lnTo>
                  <a:pt x="394" y="237"/>
                </a:lnTo>
                <a:lnTo>
                  <a:pt x="394" y="237"/>
                </a:lnTo>
                <a:lnTo>
                  <a:pt x="395" y="239"/>
                </a:lnTo>
                <a:lnTo>
                  <a:pt x="395" y="239"/>
                </a:lnTo>
                <a:lnTo>
                  <a:pt x="395" y="237"/>
                </a:lnTo>
                <a:lnTo>
                  <a:pt x="397" y="237"/>
                </a:lnTo>
                <a:lnTo>
                  <a:pt x="404" y="234"/>
                </a:lnTo>
                <a:lnTo>
                  <a:pt x="403" y="231"/>
                </a:lnTo>
                <a:close/>
                <a:moveTo>
                  <a:pt x="404" y="218"/>
                </a:moveTo>
                <a:lnTo>
                  <a:pt x="403" y="220"/>
                </a:lnTo>
                <a:lnTo>
                  <a:pt x="401" y="220"/>
                </a:lnTo>
                <a:lnTo>
                  <a:pt x="401" y="221"/>
                </a:lnTo>
                <a:lnTo>
                  <a:pt x="401" y="223"/>
                </a:lnTo>
                <a:lnTo>
                  <a:pt x="403" y="229"/>
                </a:lnTo>
                <a:lnTo>
                  <a:pt x="404" y="229"/>
                </a:lnTo>
                <a:lnTo>
                  <a:pt x="403" y="223"/>
                </a:lnTo>
                <a:lnTo>
                  <a:pt x="404" y="221"/>
                </a:lnTo>
                <a:lnTo>
                  <a:pt x="404" y="221"/>
                </a:lnTo>
                <a:lnTo>
                  <a:pt x="404" y="218"/>
                </a:lnTo>
                <a:close/>
                <a:moveTo>
                  <a:pt x="406" y="207"/>
                </a:moveTo>
                <a:lnTo>
                  <a:pt x="406" y="217"/>
                </a:lnTo>
                <a:lnTo>
                  <a:pt x="409" y="217"/>
                </a:lnTo>
                <a:lnTo>
                  <a:pt x="409" y="207"/>
                </a:lnTo>
                <a:lnTo>
                  <a:pt x="406" y="207"/>
                </a:lnTo>
                <a:close/>
                <a:moveTo>
                  <a:pt x="420" y="200"/>
                </a:moveTo>
                <a:lnTo>
                  <a:pt x="410" y="203"/>
                </a:lnTo>
                <a:lnTo>
                  <a:pt x="411" y="205"/>
                </a:lnTo>
                <a:lnTo>
                  <a:pt x="422" y="203"/>
                </a:lnTo>
                <a:lnTo>
                  <a:pt x="420" y="200"/>
                </a:lnTo>
                <a:close/>
                <a:moveTo>
                  <a:pt x="426" y="187"/>
                </a:moveTo>
                <a:lnTo>
                  <a:pt x="422" y="197"/>
                </a:lnTo>
                <a:lnTo>
                  <a:pt x="424" y="197"/>
                </a:lnTo>
                <a:lnTo>
                  <a:pt x="427" y="188"/>
                </a:lnTo>
                <a:lnTo>
                  <a:pt x="426" y="187"/>
                </a:lnTo>
                <a:close/>
                <a:moveTo>
                  <a:pt x="433" y="174"/>
                </a:moveTo>
                <a:lnTo>
                  <a:pt x="429" y="179"/>
                </a:lnTo>
                <a:lnTo>
                  <a:pt x="427" y="182"/>
                </a:lnTo>
                <a:lnTo>
                  <a:pt x="429" y="184"/>
                </a:lnTo>
                <a:lnTo>
                  <a:pt x="430" y="181"/>
                </a:lnTo>
                <a:lnTo>
                  <a:pt x="435" y="175"/>
                </a:lnTo>
                <a:lnTo>
                  <a:pt x="433" y="174"/>
                </a:lnTo>
                <a:close/>
                <a:moveTo>
                  <a:pt x="437" y="161"/>
                </a:moveTo>
                <a:lnTo>
                  <a:pt x="436" y="168"/>
                </a:lnTo>
                <a:lnTo>
                  <a:pt x="436" y="169"/>
                </a:lnTo>
                <a:lnTo>
                  <a:pt x="437" y="171"/>
                </a:lnTo>
                <a:lnTo>
                  <a:pt x="439" y="169"/>
                </a:lnTo>
                <a:lnTo>
                  <a:pt x="439" y="169"/>
                </a:lnTo>
                <a:lnTo>
                  <a:pt x="439" y="161"/>
                </a:lnTo>
                <a:lnTo>
                  <a:pt x="437" y="161"/>
                </a:lnTo>
                <a:close/>
                <a:moveTo>
                  <a:pt x="446" y="149"/>
                </a:moveTo>
                <a:lnTo>
                  <a:pt x="439" y="155"/>
                </a:lnTo>
                <a:lnTo>
                  <a:pt x="440" y="156"/>
                </a:lnTo>
                <a:lnTo>
                  <a:pt x="448" y="150"/>
                </a:lnTo>
                <a:lnTo>
                  <a:pt x="446" y="149"/>
                </a:lnTo>
                <a:close/>
                <a:moveTo>
                  <a:pt x="461" y="143"/>
                </a:moveTo>
                <a:lnTo>
                  <a:pt x="452" y="145"/>
                </a:lnTo>
                <a:lnTo>
                  <a:pt x="451" y="145"/>
                </a:lnTo>
                <a:lnTo>
                  <a:pt x="452" y="147"/>
                </a:lnTo>
                <a:lnTo>
                  <a:pt x="452" y="146"/>
                </a:lnTo>
                <a:lnTo>
                  <a:pt x="461" y="146"/>
                </a:lnTo>
                <a:lnTo>
                  <a:pt x="461" y="143"/>
                </a:lnTo>
                <a:lnTo>
                  <a:pt x="461" y="143"/>
                </a:lnTo>
                <a:close/>
                <a:moveTo>
                  <a:pt x="466" y="133"/>
                </a:moveTo>
                <a:lnTo>
                  <a:pt x="465" y="143"/>
                </a:lnTo>
                <a:lnTo>
                  <a:pt x="468" y="145"/>
                </a:lnTo>
                <a:lnTo>
                  <a:pt x="469" y="134"/>
                </a:lnTo>
                <a:lnTo>
                  <a:pt x="466" y="133"/>
                </a:lnTo>
                <a:close/>
                <a:moveTo>
                  <a:pt x="466" y="123"/>
                </a:moveTo>
                <a:lnTo>
                  <a:pt x="471" y="127"/>
                </a:lnTo>
                <a:lnTo>
                  <a:pt x="471" y="127"/>
                </a:lnTo>
                <a:lnTo>
                  <a:pt x="471" y="130"/>
                </a:lnTo>
                <a:lnTo>
                  <a:pt x="472" y="130"/>
                </a:lnTo>
                <a:lnTo>
                  <a:pt x="471" y="130"/>
                </a:lnTo>
                <a:lnTo>
                  <a:pt x="471" y="130"/>
                </a:lnTo>
                <a:lnTo>
                  <a:pt x="472" y="132"/>
                </a:lnTo>
                <a:lnTo>
                  <a:pt x="472" y="132"/>
                </a:lnTo>
                <a:lnTo>
                  <a:pt x="472" y="132"/>
                </a:lnTo>
                <a:lnTo>
                  <a:pt x="472" y="127"/>
                </a:lnTo>
                <a:lnTo>
                  <a:pt x="472" y="126"/>
                </a:lnTo>
                <a:lnTo>
                  <a:pt x="472" y="126"/>
                </a:lnTo>
                <a:lnTo>
                  <a:pt x="472" y="126"/>
                </a:lnTo>
                <a:lnTo>
                  <a:pt x="468" y="121"/>
                </a:lnTo>
                <a:lnTo>
                  <a:pt x="466" y="123"/>
                </a:lnTo>
                <a:close/>
                <a:moveTo>
                  <a:pt x="455" y="117"/>
                </a:moveTo>
                <a:lnTo>
                  <a:pt x="455" y="120"/>
                </a:lnTo>
                <a:lnTo>
                  <a:pt x="453" y="120"/>
                </a:lnTo>
                <a:lnTo>
                  <a:pt x="462" y="121"/>
                </a:lnTo>
                <a:lnTo>
                  <a:pt x="464" y="120"/>
                </a:lnTo>
                <a:lnTo>
                  <a:pt x="456" y="118"/>
                </a:lnTo>
                <a:lnTo>
                  <a:pt x="456" y="117"/>
                </a:lnTo>
                <a:lnTo>
                  <a:pt x="455" y="117"/>
                </a:lnTo>
                <a:close/>
                <a:moveTo>
                  <a:pt x="451" y="104"/>
                </a:moveTo>
                <a:lnTo>
                  <a:pt x="452" y="111"/>
                </a:lnTo>
                <a:lnTo>
                  <a:pt x="455" y="113"/>
                </a:lnTo>
                <a:lnTo>
                  <a:pt x="455" y="113"/>
                </a:lnTo>
                <a:lnTo>
                  <a:pt x="458" y="111"/>
                </a:lnTo>
                <a:lnTo>
                  <a:pt x="456" y="110"/>
                </a:lnTo>
                <a:lnTo>
                  <a:pt x="456" y="110"/>
                </a:lnTo>
                <a:lnTo>
                  <a:pt x="455" y="110"/>
                </a:lnTo>
                <a:lnTo>
                  <a:pt x="452" y="103"/>
                </a:lnTo>
                <a:lnTo>
                  <a:pt x="451" y="104"/>
                </a:lnTo>
                <a:close/>
                <a:moveTo>
                  <a:pt x="439" y="107"/>
                </a:moveTo>
                <a:lnTo>
                  <a:pt x="448" y="104"/>
                </a:lnTo>
                <a:lnTo>
                  <a:pt x="448" y="101"/>
                </a:lnTo>
                <a:lnTo>
                  <a:pt x="437" y="105"/>
                </a:lnTo>
                <a:lnTo>
                  <a:pt x="439" y="107"/>
                </a:lnTo>
                <a:close/>
                <a:moveTo>
                  <a:pt x="424" y="108"/>
                </a:moveTo>
                <a:lnTo>
                  <a:pt x="426" y="107"/>
                </a:lnTo>
                <a:lnTo>
                  <a:pt x="426" y="107"/>
                </a:lnTo>
                <a:lnTo>
                  <a:pt x="433" y="107"/>
                </a:lnTo>
                <a:lnTo>
                  <a:pt x="433" y="104"/>
                </a:lnTo>
                <a:lnTo>
                  <a:pt x="426" y="104"/>
                </a:lnTo>
                <a:lnTo>
                  <a:pt x="426" y="104"/>
                </a:lnTo>
                <a:lnTo>
                  <a:pt x="424" y="104"/>
                </a:lnTo>
                <a:lnTo>
                  <a:pt x="423" y="105"/>
                </a:lnTo>
                <a:lnTo>
                  <a:pt x="424" y="108"/>
                </a:lnTo>
                <a:lnTo>
                  <a:pt x="424" y="108"/>
                </a:lnTo>
                <a:close/>
                <a:moveTo>
                  <a:pt x="413" y="117"/>
                </a:moveTo>
                <a:lnTo>
                  <a:pt x="420" y="111"/>
                </a:lnTo>
                <a:lnTo>
                  <a:pt x="419" y="110"/>
                </a:lnTo>
                <a:lnTo>
                  <a:pt x="411" y="116"/>
                </a:lnTo>
                <a:lnTo>
                  <a:pt x="413" y="117"/>
                </a:lnTo>
                <a:close/>
                <a:moveTo>
                  <a:pt x="400" y="126"/>
                </a:moveTo>
                <a:lnTo>
                  <a:pt x="403" y="126"/>
                </a:lnTo>
                <a:lnTo>
                  <a:pt x="403" y="126"/>
                </a:lnTo>
                <a:lnTo>
                  <a:pt x="409" y="120"/>
                </a:lnTo>
                <a:lnTo>
                  <a:pt x="407" y="118"/>
                </a:lnTo>
                <a:lnTo>
                  <a:pt x="401" y="123"/>
                </a:lnTo>
                <a:lnTo>
                  <a:pt x="398" y="124"/>
                </a:lnTo>
                <a:lnTo>
                  <a:pt x="400" y="126"/>
                </a:lnTo>
                <a:close/>
                <a:moveTo>
                  <a:pt x="385" y="132"/>
                </a:moveTo>
                <a:lnTo>
                  <a:pt x="395" y="129"/>
                </a:lnTo>
                <a:lnTo>
                  <a:pt x="394" y="126"/>
                </a:lnTo>
                <a:lnTo>
                  <a:pt x="384" y="129"/>
                </a:lnTo>
                <a:lnTo>
                  <a:pt x="385" y="132"/>
                </a:lnTo>
                <a:close/>
                <a:moveTo>
                  <a:pt x="384" y="139"/>
                </a:moveTo>
                <a:lnTo>
                  <a:pt x="381" y="137"/>
                </a:lnTo>
                <a:lnTo>
                  <a:pt x="381" y="137"/>
                </a:lnTo>
                <a:lnTo>
                  <a:pt x="381" y="133"/>
                </a:lnTo>
                <a:lnTo>
                  <a:pt x="381" y="133"/>
                </a:lnTo>
                <a:lnTo>
                  <a:pt x="380" y="132"/>
                </a:lnTo>
                <a:lnTo>
                  <a:pt x="380" y="133"/>
                </a:lnTo>
                <a:lnTo>
                  <a:pt x="378" y="133"/>
                </a:lnTo>
                <a:lnTo>
                  <a:pt x="378" y="137"/>
                </a:lnTo>
                <a:lnTo>
                  <a:pt x="378" y="139"/>
                </a:lnTo>
                <a:lnTo>
                  <a:pt x="380" y="139"/>
                </a:lnTo>
                <a:lnTo>
                  <a:pt x="380" y="140"/>
                </a:lnTo>
                <a:lnTo>
                  <a:pt x="384" y="142"/>
                </a:lnTo>
                <a:lnTo>
                  <a:pt x="384" y="139"/>
                </a:lnTo>
                <a:close/>
                <a:moveTo>
                  <a:pt x="380" y="149"/>
                </a:moveTo>
                <a:lnTo>
                  <a:pt x="384" y="149"/>
                </a:lnTo>
                <a:lnTo>
                  <a:pt x="385" y="149"/>
                </a:lnTo>
                <a:lnTo>
                  <a:pt x="387" y="143"/>
                </a:lnTo>
                <a:lnTo>
                  <a:pt x="385" y="143"/>
                </a:lnTo>
                <a:lnTo>
                  <a:pt x="384" y="146"/>
                </a:lnTo>
                <a:lnTo>
                  <a:pt x="380" y="147"/>
                </a:lnTo>
                <a:lnTo>
                  <a:pt x="380" y="149"/>
                </a:lnTo>
                <a:close/>
                <a:moveTo>
                  <a:pt x="364" y="152"/>
                </a:moveTo>
                <a:lnTo>
                  <a:pt x="374" y="150"/>
                </a:lnTo>
                <a:lnTo>
                  <a:pt x="374" y="147"/>
                </a:lnTo>
                <a:lnTo>
                  <a:pt x="364" y="149"/>
                </a:lnTo>
                <a:lnTo>
                  <a:pt x="364" y="152"/>
                </a:lnTo>
                <a:close/>
                <a:moveTo>
                  <a:pt x="349" y="153"/>
                </a:moveTo>
                <a:lnTo>
                  <a:pt x="359" y="152"/>
                </a:lnTo>
                <a:lnTo>
                  <a:pt x="359" y="149"/>
                </a:lnTo>
                <a:lnTo>
                  <a:pt x="349" y="150"/>
                </a:lnTo>
                <a:lnTo>
                  <a:pt x="349" y="153"/>
                </a:lnTo>
                <a:close/>
                <a:moveTo>
                  <a:pt x="335" y="147"/>
                </a:moveTo>
                <a:lnTo>
                  <a:pt x="335" y="149"/>
                </a:lnTo>
                <a:lnTo>
                  <a:pt x="335" y="149"/>
                </a:lnTo>
                <a:lnTo>
                  <a:pt x="343" y="152"/>
                </a:lnTo>
                <a:lnTo>
                  <a:pt x="345" y="149"/>
                </a:lnTo>
                <a:lnTo>
                  <a:pt x="338" y="147"/>
                </a:lnTo>
                <a:lnTo>
                  <a:pt x="336" y="146"/>
                </a:lnTo>
                <a:lnTo>
                  <a:pt x="335" y="147"/>
                </a:lnTo>
                <a:close/>
                <a:moveTo>
                  <a:pt x="333" y="134"/>
                </a:moveTo>
                <a:lnTo>
                  <a:pt x="333" y="139"/>
                </a:lnTo>
                <a:lnTo>
                  <a:pt x="333" y="140"/>
                </a:lnTo>
                <a:lnTo>
                  <a:pt x="336" y="142"/>
                </a:lnTo>
                <a:lnTo>
                  <a:pt x="336" y="142"/>
                </a:lnTo>
                <a:lnTo>
                  <a:pt x="338" y="142"/>
                </a:lnTo>
                <a:lnTo>
                  <a:pt x="336" y="140"/>
                </a:lnTo>
                <a:lnTo>
                  <a:pt x="336" y="142"/>
                </a:lnTo>
                <a:lnTo>
                  <a:pt x="335" y="142"/>
                </a:lnTo>
                <a:lnTo>
                  <a:pt x="338" y="143"/>
                </a:lnTo>
                <a:lnTo>
                  <a:pt x="338" y="143"/>
                </a:lnTo>
                <a:lnTo>
                  <a:pt x="338" y="143"/>
                </a:lnTo>
                <a:lnTo>
                  <a:pt x="339" y="142"/>
                </a:lnTo>
                <a:lnTo>
                  <a:pt x="339" y="140"/>
                </a:lnTo>
                <a:lnTo>
                  <a:pt x="338" y="140"/>
                </a:lnTo>
                <a:lnTo>
                  <a:pt x="338" y="139"/>
                </a:lnTo>
                <a:lnTo>
                  <a:pt x="335" y="139"/>
                </a:lnTo>
                <a:lnTo>
                  <a:pt x="335" y="134"/>
                </a:lnTo>
                <a:lnTo>
                  <a:pt x="333" y="134"/>
                </a:lnTo>
                <a:close/>
                <a:moveTo>
                  <a:pt x="326" y="130"/>
                </a:moveTo>
                <a:lnTo>
                  <a:pt x="333" y="129"/>
                </a:lnTo>
                <a:lnTo>
                  <a:pt x="333" y="129"/>
                </a:lnTo>
                <a:lnTo>
                  <a:pt x="333" y="127"/>
                </a:lnTo>
                <a:lnTo>
                  <a:pt x="333" y="129"/>
                </a:lnTo>
                <a:lnTo>
                  <a:pt x="333" y="129"/>
                </a:lnTo>
                <a:lnTo>
                  <a:pt x="333" y="129"/>
                </a:lnTo>
                <a:lnTo>
                  <a:pt x="335" y="129"/>
                </a:lnTo>
                <a:lnTo>
                  <a:pt x="333" y="129"/>
                </a:lnTo>
                <a:lnTo>
                  <a:pt x="333" y="130"/>
                </a:lnTo>
                <a:lnTo>
                  <a:pt x="335" y="130"/>
                </a:lnTo>
                <a:lnTo>
                  <a:pt x="335" y="129"/>
                </a:lnTo>
                <a:lnTo>
                  <a:pt x="335" y="127"/>
                </a:lnTo>
                <a:lnTo>
                  <a:pt x="335" y="127"/>
                </a:lnTo>
                <a:lnTo>
                  <a:pt x="335" y="126"/>
                </a:lnTo>
                <a:lnTo>
                  <a:pt x="333" y="126"/>
                </a:lnTo>
                <a:lnTo>
                  <a:pt x="333" y="126"/>
                </a:lnTo>
                <a:lnTo>
                  <a:pt x="333" y="126"/>
                </a:lnTo>
                <a:lnTo>
                  <a:pt x="333" y="126"/>
                </a:lnTo>
                <a:lnTo>
                  <a:pt x="326" y="129"/>
                </a:lnTo>
                <a:lnTo>
                  <a:pt x="326" y="130"/>
                </a:lnTo>
                <a:close/>
                <a:moveTo>
                  <a:pt x="322" y="143"/>
                </a:moveTo>
                <a:lnTo>
                  <a:pt x="323" y="133"/>
                </a:lnTo>
                <a:lnTo>
                  <a:pt x="322" y="132"/>
                </a:lnTo>
                <a:lnTo>
                  <a:pt x="319" y="142"/>
                </a:lnTo>
                <a:lnTo>
                  <a:pt x="322" y="143"/>
                </a:lnTo>
                <a:close/>
                <a:moveTo>
                  <a:pt x="322" y="156"/>
                </a:moveTo>
                <a:lnTo>
                  <a:pt x="323" y="152"/>
                </a:lnTo>
                <a:lnTo>
                  <a:pt x="323" y="152"/>
                </a:lnTo>
                <a:lnTo>
                  <a:pt x="320" y="147"/>
                </a:lnTo>
                <a:lnTo>
                  <a:pt x="320" y="147"/>
                </a:lnTo>
                <a:lnTo>
                  <a:pt x="319" y="147"/>
                </a:lnTo>
                <a:lnTo>
                  <a:pt x="320" y="147"/>
                </a:lnTo>
                <a:lnTo>
                  <a:pt x="320" y="147"/>
                </a:lnTo>
                <a:lnTo>
                  <a:pt x="317" y="146"/>
                </a:lnTo>
                <a:lnTo>
                  <a:pt x="317" y="146"/>
                </a:lnTo>
                <a:lnTo>
                  <a:pt x="317" y="147"/>
                </a:lnTo>
                <a:lnTo>
                  <a:pt x="317" y="149"/>
                </a:lnTo>
                <a:lnTo>
                  <a:pt x="317" y="149"/>
                </a:lnTo>
                <a:lnTo>
                  <a:pt x="320" y="152"/>
                </a:lnTo>
                <a:lnTo>
                  <a:pt x="320" y="155"/>
                </a:lnTo>
                <a:lnTo>
                  <a:pt x="322" y="156"/>
                </a:lnTo>
                <a:close/>
                <a:moveTo>
                  <a:pt x="306" y="159"/>
                </a:moveTo>
                <a:lnTo>
                  <a:pt x="309" y="159"/>
                </a:lnTo>
                <a:lnTo>
                  <a:pt x="309" y="159"/>
                </a:lnTo>
                <a:lnTo>
                  <a:pt x="317" y="158"/>
                </a:lnTo>
                <a:lnTo>
                  <a:pt x="316" y="156"/>
                </a:lnTo>
                <a:lnTo>
                  <a:pt x="309" y="156"/>
                </a:lnTo>
                <a:lnTo>
                  <a:pt x="307" y="156"/>
                </a:lnTo>
                <a:lnTo>
                  <a:pt x="306" y="159"/>
                </a:lnTo>
                <a:close/>
                <a:moveTo>
                  <a:pt x="291" y="156"/>
                </a:moveTo>
                <a:lnTo>
                  <a:pt x="301" y="158"/>
                </a:lnTo>
                <a:lnTo>
                  <a:pt x="301" y="155"/>
                </a:lnTo>
                <a:lnTo>
                  <a:pt x="293" y="153"/>
                </a:lnTo>
                <a:lnTo>
                  <a:pt x="291" y="156"/>
                </a:lnTo>
                <a:close/>
                <a:moveTo>
                  <a:pt x="277" y="152"/>
                </a:moveTo>
                <a:lnTo>
                  <a:pt x="287" y="155"/>
                </a:lnTo>
                <a:lnTo>
                  <a:pt x="287" y="152"/>
                </a:lnTo>
                <a:lnTo>
                  <a:pt x="277" y="150"/>
                </a:lnTo>
                <a:lnTo>
                  <a:pt x="277" y="152"/>
                </a:lnTo>
                <a:close/>
                <a:moveTo>
                  <a:pt x="264" y="143"/>
                </a:moveTo>
                <a:lnTo>
                  <a:pt x="271" y="150"/>
                </a:lnTo>
                <a:lnTo>
                  <a:pt x="274" y="149"/>
                </a:lnTo>
                <a:lnTo>
                  <a:pt x="267" y="142"/>
                </a:lnTo>
                <a:lnTo>
                  <a:pt x="264" y="143"/>
                </a:lnTo>
                <a:close/>
                <a:moveTo>
                  <a:pt x="251" y="142"/>
                </a:moveTo>
                <a:lnTo>
                  <a:pt x="261" y="142"/>
                </a:lnTo>
                <a:lnTo>
                  <a:pt x="261" y="139"/>
                </a:lnTo>
                <a:lnTo>
                  <a:pt x="251" y="139"/>
                </a:lnTo>
                <a:lnTo>
                  <a:pt x="251" y="142"/>
                </a:lnTo>
                <a:close/>
                <a:moveTo>
                  <a:pt x="235" y="139"/>
                </a:moveTo>
                <a:lnTo>
                  <a:pt x="238" y="140"/>
                </a:lnTo>
                <a:lnTo>
                  <a:pt x="239" y="140"/>
                </a:lnTo>
                <a:lnTo>
                  <a:pt x="245" y="142"/>
                </a:lnTo>
                <a:lnTo>
                  <a:pt x="246" y="139"/>
                </a:lnTo>
                <a:lnTo>
                  <a:pt x="239" y="139"/>
                </a:lnTo>
                <a:lnTo>
                  <a:pt x="236" y="137"/>
                </a:lnTo>
                <a:lnTo>
                  <a:pt x="235" y="139"/>
                </a:lnTo>
                <a:close/>
                <a:moveTo>
                  <a:pt x="222" y="132"/>
                </a:moveTo>
                <a:lnTo>
                  <a:pt x="230" y="136"/>
                </a:lnTo>
                <a:lnTo>
                  <a:pt x="232" y="134"/>
                </a:lnTo>
                <a:lnTo>
                  <a:pt x="223" y="129"/>
                </a:lnTo>
                <a:lnTo>
                  <a:pt x="222" y="132"/>
                </a:lnTo>
                <a:close/>
                <a:moveTo>
                  <a:pt x="209" y="124"/>
                </a:moveTo>
                <a:lnTo>
                  <a:pt x="217" y="129"/>
                </a:lnTo>
                <a:lnTo>
                  <a:pt x="219" y="127"/>
                </a:lnTo>
                <a:lnTo>
                  <a:pt x="210" y="121"/>
                </a:lnTo>
                <a:lnTo>
                  <a:pt x="209" y="124"/>
                </a:lnTo>
                <a:close/>
                <a:moveTo>
                  <a:pt x="196" y="116"/>
                </a:moveTo>
                <a:lnTo>
                  <a:pt x="204" y="121"/>
                </a:lnTo>
                <a:lnTo>
                  <a:pt x="206" y="118"/>
                </a:lnTo>
                <a:lnTo>
                  <a:pt x="197" y="114"/>
                </a:lnTo>
                <a:lnTo>
                  <a:pt x="196" y="116"/>
                </a:lnTo>
                <a:close/>
                <a:moveTo>
                  <a:pt x="199" y="101"/>
                </a:moveTo>
                <a:lnTo>
                  <a:pt x="196" y="110"/>
                </a:lnTo>
                <a:lnTo>
                  <a:pt x="199" y="111"/>
                </a:lnTo>
                <a:lnTo>
                  <a:pt x="200" y="101"/>
                </a:lnTo>
                <a:lnTo>
                  <a:pt x="199" y="101"/>
                </a:lnTo>
                <a:close/>
                <a:moveTo>
                  <a:pt x="210" y="90"/>
                </a:moveTo>
                <a:lnTo>
                  <a:pt x="201" y="95"/>
                </a:lnTo>
                <a:lnTo>
                  <a:pt x="203" y="98"/>
                </a:lnTo>
                <a:lnTo>
                  <a:pt x="212" y="92"/>
                </a:lnTo>
                <a:lnTo>
                  <a:pt x="210" y="90"/>
                </a:lnTo>
                <a:close/>
                <a:moveTo>
                  <a:pt x="200" y="84"/>
                </a:moveTo>
                <a:lnTo>
                  <a:pt x="209" y="88"/>
                </a:lnTo>
                <a:lnTo>
                  <a:pt x="210" y="87"/>
                </a:lnTo>
                <a:lnTo>
                  <a:pt x="201" y="81"/>
                </a:lnTo>
                <a:lnTo>
                  <a:pt x="200" y="84"/>
                </a:lnTo>
                <a:close/>
                <a:moveTo>
                  <a:pt x="187" y="75"/>
                </a:moveTo>
                <a:lnTo>
                  <a:pt x="196" y="81"/>
                </a:lnTo>
                <a:lnTo>
                  <a:pt x="197" y="78"/>
                </a:lnTo>
                <a:lnTo>
                  <a:pt x="188" y="74"/>
                </a:lnTo>
                <a:lnTo>
                  <a:pt x="187" y="75"/>
                </a:lnTo>
                <a:close/>
                <a:moveTo>
                  <a:pt x="196" y="0"/>
                </a:moveTo>
                <a:lnTo>
                  <a:pt x="194" y="3"/>
                </a:lnTo>
                <a:lnTo>
                  <a:pt x="190" y="7"/>
                </a:lnTo>
                <a:lnTo>
                  <a:pt x="191" y="8"/>
                </a:lnTo>
                <a:lnTo>
                  <a:pt x="197" y="4"/>
                </a:lnTo>
                <a:lnTo>
                  <a:pt x="199" y="1"/>
                </a:lnTo>
                <a:lnTo>
                  <a:pt x="196" y="0"/>
                </a:lnTo>
                <a:lnTo>
                  <a:pt x="196" y="0"/>
                </a:lnTo>
                <a:close/>
                <a:moveTo>
                  <a:pt x="88" y="95"/>
                </a:moveTo>
                <a:lnTo>
                  <a:pt x="94" y="92"/>
                </a:lnTo>
                <a:lnTo>
                  <a:pt x="96" y="91"/>
                </a:lnTo>
                <a:lnTo>
                  <a:pt x="93" y="91"/>
                </a:lnTo>
                <a:lnTo>
                  <a:pt x="93" y="91"/>
                </a:lnTo>
                <a:lnTo>
                  <a:pt x="87" y="94"/>
                </a:lnTo>
                <a:lnTo>
                  <a:pt x="86" y="97"/>
                </a:lnTo>
                <a:lnTo>
                  <a:pt x="87" y="97"/>
                </a:lnTo>
                <a:lnTo>
                  <a:pt x="88" y="95"/>
                </a:lnTo>
                <a:close/>
                <a:moveTo>
                  <a:pt x="80" y="111"/>
                </a:moveTo>
                <a:lnTo>
                  <a:pt x="86" y="101"/>
                </a:lnTo>
                <a:lnTo>
                  <a:pt x="83" y="101"/>
                </a:lnTo>
                <a:lnTo>
                  <a:pt x="78" y="110"/>
                </a:lnTo>
                <a:lnTo>
                  <a:pt x="80" y="111"/>
                </a:lnTo>
                <a:close/>
                <a:moveTo>
                  <a:pt x="70" y="121"/>
                </a:moveTo>
                <a:lnTo>
                  <a:pt x="71" y="117"/>
                </a:lnTo>
                <a:lnTo>
                  <a:pt x="75" y="114"/>
                </a:lnTo>
                <a:lnTo>
                  <a:pt x="74" y="113"/>
                </a:lnTo>
                <a:lnTo>
                  <a:pt x="70" y="116"/>
                </a:lnTo>
                <a:lnTo>
                  <a:pt x="67" y="120"/>
                </a:lnTo>
                <a:lnTo>
                  <a:pt x="70" y="121"/>
                </a:lnTo>
                <a:close/>
                <a:moveTo>
                  <a:pt x="59" y="132"/>
                </a:moveTo>
                <a:lnTo>
                  <a:pt x="64" y="132"/>
                </a:lnTo>
                <a:lnTo>
                  <a:pt x="64" y="132"/>
                </a:lnTo>
                <a:lnTo>
                  <a:pt x="67" y="126"/>
                </a:lnTo>
                <a:lnTo>
                  <a:pt x="65" y="124"/>
                </a:lnTo>
                <a:lnTo>
                  <a:pt x="62" y="129"/>
                </a:lnTo>
                <a:lnTo>
                  <a:pt x="58" y="130"/>
                </a:lnTo>
                <a:lnTo>
                  <a:pt x="59" y="132"/>
                </a:lnTo>
                <a:close/>
                <a:moveTo>
                  <a:pt x="45" y="132"/>
                </a:moveTo>
                <a:lnTo>
                  <a:pt x="48" y="134"/>
                </a:lnTo>
                <a:lnTo>
                  <a:pt x="48" y="134"/>
                </a:lnTo>
                <a:lnTo>
                  <a:pt x="54" y="133"/>
                </a:lnTo>
                <a:lnTo>
                  <a:pt x="54" y="132"/>
                </a:lnTo>
                <a:lnTo>
                  <a:pt x="49" y="132"/>
                </a:lnTo>
                <a:lnTo>
                  <a:pt x="46" y="130"/>
                </a:lnTo>
                <a:lnTo>
                  <a:pt x="45" y="132"/>
                </a:lnTo>
                <a:close/>
                <a:moveTo>
                  <a:pt x="36" y="136"/>
                </a:moveTo>
                <a:lnTo>
                  <a:pt x="42" y="129"/>
                </a:lnTo>
                <a:lnTo>
                  <a:pt x="42" y="129"/>
                </a:lnTo>
                <a:lnTo>
                  <a:pt x="41" y="126"/>
                </a:lnTo>
                <a:lnTo>
                  <a:pt x="41" y="127"/>
                </a:lnTo>
                <a:lnTo>
                  <a:pt x="41" y="127"/>
                </a:lnTo>
                <a:lnTo>
                  <a:pt x="33" y="134"/>
                </a:lnTo>
                <a:lnTo>
                  <a:pt x="36" y="136"/>
                </a:lnTo>
                <a:close/>
                <a:moveTo>
                  <a:pt x="28" y="147"/>
                </a:moveTo>
                <a:lnTo>
                  <a:pt x="28" y="146"/>
                </a:lnTo>
                <a:lnTo>
                  <a:pt x="33" y="140"/>
                </a:lnTo>
                <a:lnTo>
                  <a:pt x="31" y="139"/>
                </a:lnTo>
                <a:lnTo>
                  <a:pt x="26" y="145"/>
                </a:lnTo>
                <a:lnTo>
                  <a:pt x="25" y="147"/>
                </a:lnTo>
                <a:lnTo>
                  <a:pt x="28" y="147"/>
                </a:lnTo>
                <a:close/>
                <a:moveTo>
                  <a:pt x="33" y="155"/>
                </a:moveTo>
                <a:lnTo>
                  <a:pt x="26" y="153"/>
                </a:lnTo>
                <a:lnTo>
                  <a:pt x="26" y="155"/>
                </a:lnTo>
                <a:lnTo>
                  <a:pt x="26" y="155"/>
                </a:lnTo>
                <a:lnTo>
                  <a:pt x="26" y="153"/>
                </a:lnTo>
                <a:lnTo>
                  <a:pt x="26" y="155"/>
                </a:lnTo>
                <a:lnTo>
                  <a:pt x="26" y="155"/>
                </a:lnTo>
                <a:lnTo>
                  <a:pt x="26" y="155"/>
                </a:lnTo>
                <a:lnTo>
                  <a:pt x="26" y="155"/>
                </a:lnTo>
                <a:lnTo>
                  <a:pt x="26" y="155"/>
                </a:lnTo>
                <a:lnTo>
                  <a:pt x="26" y="155"/>
                </a:lnTo>
                <a:lnTo>
                  <a:pt x="26" y="155"/>
                </a:lnTo>
                <a:lnTo>
                  <a:pt x="26" y="153"/>
                </a:lnTo>
                <a:lnTo>
                  <a:pt x="25" y="152"/>
                </a:lnTo>
                <a:lnTo>
                  <a:pt x="25" y="153"/>
                </a:lnTo>
                <a:lnTo>
                  <a:pt x="25" y="155"/>
                </a:lnTo>
                <a:lnTo>
                  <a:pt x="25" y="155"/>
                </a:lnTo>
                <a:lnTo>
                  <a:pt x="25" y="155"/>
                </a:lnTo>
                <a:lnTo>
                  <a:pt x="26" y="156"/>
                </a:lnTo>
                <a:lnTo>
                  <a:pt x="33" y="158"/>
                </a:lnTo>
                <a:lnTo>
                  <a:pt x="33" y="155"/>
                </a:lnTo>
                <a:close/>
                <a:moveTo>
                  <a:pt x="38" y="168"/>
                </a:moveTo>
                <a:lnTo>
                  <a:pt x="36" y="166"/>
                </a:lnTo>
                <a:lnTo>
                  <a:pt x="36" y="166"/>
                </a:lnTo>
                <a:lnTo>
                  <a:pt x="38" y="159"/>
                </a:lnTo>
                <a:lnTo>
                  <a:pt x="35" y="159"/>
                </a:lnTo>
                <a:lnTo>
                  <a:pt x="33" y="168"/>
                </a:lnTo>
                <a:lnTo>
                  <a:pt x="35" y="168"/>
                </a:lnTo>
                <a:lnTo>
                  <a:pt x="35" y="169"/>
                </a:lnTo>
                <a:lnTo>
                  <a:pt x="36" y="169"/>
                </a:lnTo>
                <a:lnTo>
                  <a:pt x="38" y="168"/>
                </a:lnTo>
                <a:close/>
                <a:moveTo>
                  <a:pt x="46" y="178"/>
                </a:moveTo>
                <a:lnTo>
                  <a:pt x="45" y="171"/>
                </a:lnTo>
                <a:lnTo>
                  <a:pt x="42" y="169"/>
                </a:lnTo>
                <a:lnTo>
                  <a:pt x="41" y="172"/>
                </a:lnTo>
                <a:lnTo>
                  <a:pt x="42" y="172"/>
                </a:lnTo>
                <a:lnTo>
                  <a:pt x="45" y="179"/>
                </a:lnTo>
                <a:lnTo>
                  <a:pt x="46" y="178"/>
                </a:lnTo>
                <a:close/>
                <a:moveTo>
                  <a:pt x="51" y="194"/>
                </a:moveTo>
                <a:lnTo>
                  <a:pt x="52" y="194"/>
                </a:lnTo>
                <a:lnTo>
                  <a:pt x="52" y="194"/>
                </a:lnTo>
                <a:lnTo>
                  <a:pt x="49" y="184"/>
                </a:lnTo>
                <a:lnTo>
                  <a:pt x="46" y="184"/>
                </a:lnTo>
                <a:lnTo>
                  <a:pt x="49" y="192"/>
                </a:lnTo>
                <a:lnTo>
                  <a:pt x="51" y="192"/>
                </a:lnTo>
                <a:lnTo>
                  <a:pt x="51" y="191"/>
                </a:lnTo>
                <a:lnTo>
                  <a:pt x="49" y="191"/>
                </a:lnTo>
                <a:lnTo>
                  <a:pt x="51" y="194"/>
                </a:lnTo>
                <a:close/>
                <a:moveTo>
                  <a:pt x="39" y="194"/>
                </a:moveTo>
                <a:lnTo>
                  <a:pt x="42" y="192"/>
                </a:lnTo>
                <a:lnTo>
                  <a:pt x="42" y="192"/>
                </a:lnTo>
                <a:lnTo>
                  <a:pt x="42" y="191"/>
                </a:lnTo>
                <a:lnTo>
                  <a:pt x="41" y="192"/>
                </a:lnTo>
                <a:lnTo>
                  <a:pt x="42" y="192"/>
                </a:lnTo>
                <a:lnTo>
                  <a:pt x="45" y="197"/>
                </a:lnTo>
                <a:lnTo>
                  <a:pt x="46" y="197"/>
                </a:lnTo>
                <a:lnTo>
                  <a:pt x="45" y="194"/>
                </a:lnTo>
                <a:lnTo>
                  <a:pt x="45" y="194"/>
                </a:lnTo>
                <a:lnTo>
                  <a:pt x="46" y="195"/>
                </a:lnTo>
                <a:lnTo>
                  <a:pt x="46" y="194"/>
                </a:lnTo>
                <a:lnTo>
                  <a:pt x="44" y="191"/>
                </a:lnTo>
                <a:lnTo>
                  <a:pt x="42" y="189"/>
                </a:lnTo>
                <a:lnTo>
                  <a:pt x="42" y="189"/>
                </a:lnTo>
                <a:lnTo>
                  <a:pt x="41" y="189"/>
                </a:lnTo>
                <a:lnTo>
                  <a:pt x="41" y="191"/>
                </a:lnTo>
                <a:lnTo>
                  <a:pt x="38" y="192"/>
                </a:lnTo>
                <a:lnTo>
                  <a:pt x="39" y="194"/>
                </a:lnTo>
                <a:close/>
                <a:moveTo>
                  <a:pt x="23" y="195"/>
                </a:moveTo>
                <a:lnTo>
                  <a:pt x="33" y="197"/>
                </a:lnTo>
                <a:lnTo>
                  <a:pt x="33" y="195"/>
                </a:lnTo>
                <a:lnTo>
                  <a:pt x="25" y="192"/>
                </a:lnTo>
                <a:lnTo>
                  <a:pt x="23" y="195"/>
                </a:lnTo>
                <a:close/>
                <a:moveTo>
                  <a:pt x="16" y="198"/>
                </a:moveTo>
                <a:lnTo>
                  <a:pt x="16" y="194"/>
                </a:lnTo>
                <a:lnTo>
                  <a:pt x="16" y="192"/>
                </a:lnTo>
                <a:lnTo>
                  <a:pt x="15" y="192"/>
                </a:lnTo>
                <a:lnTo>
                  <a:pt x="16" y="194"/>
                </a:lnTo>
                <a:lnTo>
                  <a:pt x="16" y="194"/>
                </a:lnTo>
                <a:lnTo>
                  <a:pt x="16" y="192"/>
                </a:lnTo>
                <a:lnTo>
                  <a:pt x="16" y="194"/>
                </a:lnTo>
                <a:lnTo>
                  <a:pt x="16" y="194"/>
                </a:lnTo>
                <a:lnTo>
                  <a:pt x="19" y="194"/>
                </a:lnTo>
                <a:lnTo>
                  <a:pt x="19" y="191"/>
                </a:lnTo>
                <a:lnTo>
                  <a:pt x="16" y="191"/>
                </a:lnTo>
                <a:lnTo>
                  <a:pt x="16" y="191"/>
                </a:lnTo>
                <a:lnTo>
                  <a:pt x="16" y="191"/>
                </a:lnTo>
                <a:lnTo>
                  <a:pt x="16" y="191"/>
                </a:lnTo>
                <a:lnTo>
                  <a:pt x="15" y="191"/>
                </a:lnTo>
                <a:lnTo>
                  <a:pt x="15" y="191"/>
                </a:lnTo>
                <a:lnTo>
                  <a:pt x="13" y="192"/>
                </a:lnTo>
                <a:lnTo>
                  <a:pt x="13" y="192"/>
                </a:lnTo>
                <a:lnTo>
                  <a:pt x="13" y="198"/>
                </a:lnTo>
                <a:lnTo>
                  <a:pt x="16" y="198"/>
                </a:lnTo>
                <a:close/>
                <a:moveTo>
                  <a:pt x="2" y="204"/>
                </a:moveTo>
                <a:lnTo>
                  <a:pt x="3" y="204"/>
                </a:lnTo>
                <a:lnTo>
                  <a:pt x="7" y="201"/>
                </a:lnTo>
                <a:lnTo>
                  <a:pt x="10" y="201"/>
                </a:lnTo>
                <a:lnTo>
                  <a:pt x="10" y="198"/>
                </a:lnTo>
                <a:lnTo>
                  <a:pt x="6" y="198"/>
                </a:lnTo>
                <a:lnTo>
                  <a:pt x="6" y="198"/>
                </a:lnTo>
                <a:lnTo>
                  <a:pt x="0" y="203"/>
                </a:lnTo>
                <a:lnTo>
                  <a:pt x="0" y="203"/>
                </a:lnTo>
                <a:lnTo>
                  <a:pt x="2" y="20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grpSp>
        <p:nvGrpSpPr>
          <p:cNvPr id="1869" name="Group 1868">
            <a:extLst>
              <a:ext uri="{FF2B5EF4-FFF2-40B4-BE49-F238E27FC236}">
                <a16:creationId xmlns:a16="http://schemas.microsoft.com/office/drawing/2014/main" id="{7D16C5DC-17E8-BE40-992C-80FAE62F06C4}"/>
              </a:ext>
            </a:extLst>
          </p:cNvPr>
          <p:cNvGrpSpPr/>
          <p:nvPr/>
        </p:nvGrpSpPr>
        <p:grpSpPr>
          <a:xfrm>
            <a:off x="1590639" y="984191"/>
            <a:ext cx="5717888" cy="3263960"/>
            <a:chOff x="1722932" y="1123950"/>
            <a:chExt cx="5698136" cy="3252685"/>
          </a:xfrm>
        </p:grpSpPr>
        <p:grpSp>
          <p:nvGrpSpPr>
            <p:cNvPr id="1867" name="Group 1866">
              <a:extLst>
                <a:ext uri="{FF2B5EF4-FFF2-40B4-BE49-F238E27FC236}">
                  <a16:creationId xmlns:a16="http://schemas.microsoft.com/office/drawing/2014/main" id="{99FB3DAC-D3E3-584B-ACC2-268D26FA113D}"/>
                </a:ext>
              </a:extLst>
            </p:cNvPr>
            <p:cNvGrpSpPr/>
            <p:nvPr/>
          </p:nvGrpSpPr>
          <p:grpSpPr>
            <a:xfrm>
              <a:off x="1722932" y="1123950"/>
              <a:ext cx="2131854" cy="3252685"/>
              <a:chOff x="1722932" y="1123950"/>
              <a:chExt cx="2131854" cy="3252685"/>
            </a:xfrm>
            <a:solidFill>
              <a:schemeClr val="accent2"/>
            </a:solidFill>
          </p:grpSpPr>
          <p:sp>
            <p:nvSpPr>
              <p:cNvPr id="1675" name="Freeform 25"/>
              <p:cNvSpPr>
                <a:spLocks/>
              </p:cNvSpPr>
              <p:nvPr/>
            </p:nvSpPr>
            <p:spPr bwMode="auto">
              <a:xfrm>
                <a:off x="2525222" y="1373243"/>
                <a:ext cx="187959" cy="144432"/>
              </a:xfrm>
              <a:custGeom>
                <a:avLst/>
                <a:gdLst>
                  <a:gd name="T0" fmla="*/ 162 w 190"/>
                  <a:gd name="T1" fmla="*/ 116 h 146"/>
                  <a:gd name="T2" fmla="*/ 156 w 190"/>
                  <a:gd name="T3" fmla="*/ 107 h 146"/>
                  <a:gd name="T4" fmla="*/ 152 w 190"/>
                  <a:gd name="T5" fmla="*/ 116 h 146"/>
                  <a:gd name="T6" fmla="*/ 142 w 190"/>
                  <a:gd name="T7" fmla="*/ 114 h 146"/>
                  <a:gd name="T8" fmla="*/ 139 w 190"/>
                  <a:gd name="T9" fmla="*/ 106 h 146"/>
                  <a:gd name="T10" fmla="*/ 128 w 190"/>
                  <a:gd name="T11" fmla="*/ 117 h 146"/>
                  <a:gd name="T12" fmla="*/ 112 w 190"/>
                  <a:gd name="T13" fmla="*/ 126 h 146"/>
                  <a:gd name="T14" fmla="*/ 100 w 190"/>
                  <a:gd name="T15" fmla="*/ 139 h 146"/>
                  <a:gd name="T16" fmla="*/ 81 w 190"/>
                  <a:gd name="T17" fmla="*/ 146 h 146"/>
                  <a:gd name="T18" fmla="*/ 59 w 190"/>
                  <a:gd name="T19" fmla="*/ 138 h 146"/>
                  <a:gd name="T20" fmla="*/ 54 w 190"/>
                  <a:gd name="T21" fmla="*/ 125 h 146"/>
                  <a:gd name="T22" fmla="*/ 68 w 190"/>
                  <a:gd name="T23" fmla="*/ 113 h 146"/>
                  <a:gd name="T24" fmla="*/ 86 w 190"/>
                  <a:gd name="T25" fmla="*/ 114 h 146"/>
                  <a:gd name="T26" fmla="*/ 100 w 190"/>
                  <a:gd name="T27" fmla="*/ 103 h 146"/>
                  <a:gd name="T28" fmla="*/ 99 w 190"/>
                  <a:gd name="T29" fmla="*/ 96 h 146"/>
                  <a:gd name="T30" fmla="*/ 86 w 190"/>
                  <a:gd name="T31" fmla="*/ 103 h 146"/>
                  <a:gd name="T32" fmla="*/ 77 w 190"/>
                  <a:gd name="T33" fmla="*/ 101 h 146"/>
                  <a:gd name="T34" fmla="*/ 61 w 190"/>
                  <a:gd name="T35" fmla="*/ 107 h 146"/>
                  <a:gd name="T36" fmla="*/ 64 w 190"/>
                  <a:gd name="T37" fmla="*/ 85 h 146"/>
                  <a:gd name="T38" fmla="*/ 54 w 190"/>
                  <a:gd name="T39" fmla="*/ 81 h 146"/>
                  <a:gd name="T40" fmla="*/ 54 w 190"/>
                  <a:gd name="T41" fmla="*/ 93 h 146"/>
                  <a:gd name="T42" fmla="*/ 51 w 190"/>
                  <a:gd name="T43" fmla="*/ 101 h 146"/>
                  <a:gd name="T44" fmla="*/ 46 w 190"/>
                  <a:gd name="T45" fmla="*/ 110 h 146"/>
                  <a:gd name="T46" fmla="*/ 36 w 190"/>
                  <a:gd name="T47" fmla="*/ 107 h 146"/>
                  <a:gd name="T48" fmla="*/ 25 w 190"/>
                  <a:gd name="T49" fmla="*/ 107 h 146"/>
                  <a:gd name="T50" fmla="*/ 6 w 190"/>
                  <a:gd name="T51" fmla="*/ 99 h 146"/>
                  <a:gd name="T52" fmla="*/ 0 w 190"/>
                  <a:gd name="T53" fmla="*/ 94 h 146"/>
                  <a:gd name="T54" fmla="*/ 7 w 190"/>
                  <a:gd name="T55" fmla="*/ 80 h 146"/>
                  <a:gd name="T56" fmla="*/ 16 w 190"/>
                  <a:gd name="T57" fmla="*/ 77 h 146"/>
                  <a:gd name="T58" fmla="*/ 10 w 190"/>
                  <a:gd name="T59" fmla="*/ 64 h 146"/>
                  <a:gd name="T60" fmla="*/ 16 w 190"/>
                  <a:gd name="T61" fmla="*/ 58 h 146"/>
                  <a:gd name="T62" fmla="*/ 17 w 190"/>
                  <a:gd name="T63" fmla="*/ 52 h 146"/>
                  <a:gd name="T64" fmla="*/ 15 w 190"/>
                  <a:gd name="T65" fmla="*/ 45 h 146"/>
                  <a:gd name="T66" fmla="*/ 23 w 190"/>
                  <a:gd name="T67" fmla="*/ 28 h 146"/>
                  <a:gd name="T68" fmla="*/ 30 w 190"/>
                  <a:gd name="T69" fmla="*/ 16 h 146"/>
                  <a:gd name="T70" fmla="*/ 57 w 190"/>
                  <a:gd name="T71" fmla="*/ 19 h 146"/>
                  <a:gd name="T72" fmla="*/ 58 w 190"/>
                  <a:gd name="T73" fmla="*/ 35 h 146"/>
                  <a:gd name="T74" fmla="*/ 71 w 190"/>
                  <a:gd name="T75" fmla="*/ 35 h 146"/>
                  <a:gd name="T76" fmla="*/ 78 w 190"/>
                  <a:gd name="T77" fmla="*/ 45 h 146"/>
                  <a:gd name="T78" fmla="*/ 90 w 190"/>
                  <a:gd name="T79" fmla="*/ 52 h 146"/>
                  <a:gd name="T80" fmla="*/ 84 w 190"/>
                  <a:gd name="T81" fmla="*/ 58 h 146"/>
                  <a:gd name="T82" fmla="*/ 94 w 190"/>
                  <a:gd name="T83" fmla="*/ 62 h 146"/>
                  <a:gd name="T84" fmla="*/ 97 w 190"/>
                  <a:gd name="T85" fmla="*/ 74 h 146"/>
                  <a:gd name="T86" fmla="*/ 116 w 190"/>
                  <a:gd name="T87" fmla="*/ 74 h 146"/>
                  <a:gd name="T88" fmla="*/ 132 w 190"/>
                  <a:gd name="T89" fmla="*/ 74 h 146"/>
                  <a:gd name="T90" fmla="*/ 120 w 190"/>
                  <a:gd name="T91" fmla="*/ 54 h 146"/>
                  <a:gd name="T92" fmla="*/ 132 w 190"/>
                  <a:gd name="T93" fmla="*/ 41 h 146"/>
                  <a:gd name="T94" fmla="*/ 114 w 190"/>
                  <a:gd name="T95" fmla="*/ 28 h 146"/>
                  <a:gd name="T96" fmla="*/ 116 w 190"/>
                  <a:gd name="T97" fmla="*/ 19 h 146"/>
                  <a:gd name="T98" fmla="*/ 119 w 190"/>
                  <a:gd name="T99" fmla="*/ 9 h 146"/>
                  <a:gd name="T100" fmla="*/ 133 w 190"/>
                  <a:gd name="T101" fmla="*/ 0 h 146"/>
                  <a:gd name="T102" fmla="*/ 146 w 190"/>
                  <a:gd name="T103" fmla="*/ 16 h 146"/>
                  <a:gd name="T104" fmla="*/ 152 w 190"/>
                  <a:gd name="T105" fmla="*/ 26 h 146"/>
                  <a:gd name="T106" fmla="*/ 151 w 190"/>
                  <a:gd name="T107" fmla="*/ 36 h 146"/>
                  <a:gd name="T108" fmla="*/ 161 w 190"/>
                  <a:gd name="T109" fmla="*/ 48 h 146"/>
                  <a:gd name="T110" fmla="*/ 180 w 190"/>
                  <a:gd name="T111" fmla="*/ 42 h 146"/>
                  <a:gd name="T112" fmla="*/ 190 w 190"/>
                  <a:gd name="T113" fmla="*/ 54 h 146"/>
                  <a:gd name="T114" fmla="*/ 190 w 190"/>
                  <a:gd name="T115" fmla="*/ 81 h 146"/>
                  <a:gd name="T116" fmla="*/ 184 w 190"/>
                  <a:gd name="T117" fmla="*/ 96 h 146"/>
                  <a:gd name="T118" fmla="*/ 183 w 190"/>
                  <a:gd name="T119" fmla="*/ 112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0" h="146">
                    <a:moveTo>
                      <a:pt x="180" y="113"/>
                    </a:moveTo>
                    <a:lnTo>
                      <a:pt x="180" y="113"/>
                    </a:lnTo>
                    <a:lnTo>
                      <a:pt x="171" y="116"/>
                    </a:lnTo>
                    <a:lnTo>
                      <a:pt x="165" y="116"/>
                    </a:lnTo>
                    <a:lnTo>
                      <a:pt x="162" y="116"/>
                    </a:lnTo>
                    <a:lnTo>
                      <a:pt x="162" y="116"/>
                    </a:lnTo>
                    <a:lnTo>
                      <a:pt x="159" y="110"/>
                    </a:lnTo>
                    <a:lnTo>
                      <a:pt x="158" y="107"/>
                    </a:lnTo>
                    <a:lnTo>
                      <a:pt x="156" y="107"/>
                    </a:lnTo>
                    <a:lnTo>
                      <a:pt x="156" y="107"/>
                    </a:lnTo>
                    <a:lnTo>
                      <a:pt x="156" y="107"/>
                    </a:lnTo>
                    <a:lnTo>
                      <a:pt x="155" y="110"/>
                    </a:lnTo>
                    <a:lnTo>
                      <a:pt x="154" y="113"/>
                    </a:lnTo>
                    <a:lnTo>
                      <a:pt x="154" y="116"/>
                    </a:lnTo>
                    <a:lnTo>
                      <a:pt x="152" y="116"/>
                    </a:lnTo>
                    <a:lnTo>
                      <a:pt x="152" y="116"/>
                    </a:lnTo>
                    <a:lnTo>
                      <a:pt x="146" y="117"/>
                    </a:lnTo>
                    <a:lnTo>
                      <a:pt x="143" y="117"/>
                    </a:lnTo>
                    <a:lnTo>
                      <a:pt x="142" y="114"/>
                    </a:lnTo>
                    <a:lnTo>
                      <a:pt x="142" y="114"/>
                    </a:lnTo>
                    <a:lnTo>
                      <a:pt x="141" y="112"/>
                    </a:lnTo>
                    <a:lnTo>
                      <a:pt x="141" y="109"/>
                    </a:lnTo>
                    <a:lnTo>
                      <a:pt x="139" y="106"/>
                    </a:lnTo>
                    <a:lnTo>
                      <a:pt x="139" y="106"/>
                    </a:lnTo>
                    <a:lnTo>
                      <a:pt x="139" y="106"/>
                    </a:lnTo>
                    <a:lnTo>
                      <a:pt x="136" y="110"/>
                    </a:lnTo>
                    <a:lnTo>
                      <a:pt x="136" y="113"/>
                    </a:lnTo>
                    <a:lnTo>
                      <a:pt x="133" y="114"/>
                    </a:lnTo>
                    <a:lnTo>
                      <a:pt x="133" y="114"/>
                    </a:lnTo>
                    <a:lnTo>
                      <a:pt x="128" y="117"/>
                    </a:lnTo>
                    <a:lnTo>
                      <a:pt x="122" y="122"/>
                    </a:lnTo>
                    <a:lnTo>
                      <a:pt x="122" y="122"/>
                    </a:lnTo>
                    <a:lnTo>
                      <a:pt x="116" y="122"/>
                    </a:lnTo>
                    <a:lnTo>
                      <a:pt x="113" y="123"/>
                    </a:lnTo>
                    <a:lnTo>
                      <a:pt x="112" y="126"/>
                    </a:lnTo>
                    <a:lnTo>
                      <a:pt x="112" y="126"/>
                    </a:lnTo>
                    <a:lnTo>
                      <a:pt x="109" y="132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0" y="139"/>
                    </a:lnTo>
                    <a:lnTo>
                      <a:pt x="96" y="141"/>
                    </a:lnTo>
                    <a:lnTo>
                      <a:pt x="88" y="143"/>
                    </a:lnTo>
                    <a:lnTo>
                      <a:pt x="88" y="143"/>
                    </a:lnTo>
                    <a:lnTo>
                      <a:pt x="84" y="145"/>
                    </a:lnTo>
                    <a:lnTo>
                      <a:pt x="81" y="146"/>
                    </a:lnTo>
                    <a:lnTo>
                      <a:pt x="77" y="145"/>
                    </a:lnTo>
                    <a:lnTo>
                      <a:pt x="77" y="145"/>
                    </a:lnTo>
                    <a:lnTo>
                      <a:pt x="67" y="142"/>
                    </a:lnTo>
                    <a:lnTo>
                      <a:pt x="59" y="138"/>
                    </a:lnTo>
                    <a:lnTo>
                      <a:pt x="59" y="138"/>
                    </a:lnTo>
                    <a:lnTo>
                      <a:pt x="57" y="133"/>
                    </a:lnTo>
                    <a:lnTo>
                      <a:pt x="54" y="130"/>
                    </a:lnTo>
                    <a:lnTo>
                      <a:pt x="54" y="127"/>
                    </a:lnTo>
                    <a:lnTo>
                      <a:pt x="54" y="125"/>
                    </a:lnTo>
                    <a:lnTo>
                      <a:pt x="54" y="125"/>
                    </a:lnTo>
                    <a:lnTo>
                      <a:pt x="64" y="122"/>
                    </a:lnTo>
                    <a:lnTo>
                      <a:pt x="67" y="119"/>
                    </a:lnTo>
                    <a:lnTo>
                      <a:pt x="68" y="117"/>
                    </a:lnTo>
                    <a:lnTo>
                      <a:pt x="68" y="117"/>
                    </a:lnTo>
                    <a:lnTo>
                      <a:pt x="68" y="113"/>
                    </a:lnTo>
                    <a:lnTo>
                      <a:pt x="68" y="112"/>
                    </a:lnTo>
                    <a:lnTo>
                      <a:pt x="71" y="112"/>
                    </a:lnTo>
                    <a:lnTo>
                      <a:pt x="71" y="112"/>
                    </a:lnTo>
                    <a:lnTo>
                      <a:pt x="80" y="114"/>
                    </a:lnTo>
                    <a:lnTo>
                      <a:pt x="86" y="114"/>
                    </a:lnTo>
                    <a:lnTo>
                      <a:pt x="91" y="114"/>
                    </a:lnTo>
                    <a:lnTo>
                      <a:pt x="91" y="114"/>
                    </a:lnTo>
                    <a:lnTo>
                      <a:pt x="96" y="112"/>
                    </a:lnTo>
                    <a:lnTo>
                      <a:pt x="97" y="109"/>
                    </a:lnTo>
                    <a:lnTo>
                      <a:pt x="100" y="103"/>
                    </a:lnTo>
                    <a:lnTo>
                      <a:pt x="100" y="103"/>
                    </a:lnTo>
                    <a:lnTo>
                      <a:pt x="101" y="101"/>
                    </a:lnTo>
                    <a:lnTo>
                      <a:pt x="101" y="99"/>
                    </a:lnTo>
                    <a:lnTo>
                      <a:pt x="100" y="96"/>
                    </a:lnTo>
                    <a:lnTo>
                      <a:pt x="99" y="96"/>
                    </a:lnTo>
                    <a:lnTo>
                      <a:pt x="99" y="96"/>
                    </a:lnTo>
                    <a:lnTo>
                      <a:pt x="96" y="96"/>
                    </a:lnTo>
                    <a:lnTo>
                      <a:pt x="93" y="99"/>
                    </a:lnTo>
                    <a:lnTo>
                      <a:pt x="86" y="103"/>
                    </a:lnTo>
                    <a:lnTo>
                      <a:pt x="86" y="103"/>
                    </a:lnTo>
                    <a:lnTo>
                      <a:pt x="83" y="103"/>
                    </a:lnTo>
                    <a:lnTo>
                      <a:pt x="81" y="103"/>
                    </a:lnTo>
                    <a:lnTo>
                      <a:pt x="80" y="101"/>
                    </a:lnTo>
                    <a:lnTo>
                      <a:pt x="77" y="101"/>
                    </a:lnTo>
                    <a:lnTo>
                      <a:pt x="77" y="101"/>
                    </a:lnTo>
                    <a:lnTo>
                      <a:pt x="67" y="107"/>
                    </a:lnTo>
                    <a:lnTo>
                      <a:pt x="64" y="109"/>
                    </a:lnTo>
                    <a:lnTo>
                      <a:pt x="62" y="109"/>
                    </a:lnTo>
                    <a:lnTo>
                      <a:pt x="61" y="107"/>
                    </a:lnTo>
                    <a:lnTo>
                      <a:pt x="61" y="107"/>
                    </a:lnTo>
                    <a:lnTo>
                      <a:pt x="61" y="99"/>
                    </a:lnTo>
                    <a:lnTo>
                      <a:pt x="61" y="93"/>
                    </a:lnTo>
                    <a:lnTo>
                      <a:pt x="61" y="90"/>
                    </a:lnTo>
                    <a:lnTo>
                      <a:pt x="61" y="90"/>
                    </a:lnTo>
                    <a:lnTo>
                      <a:pt x="64" y="85"/>
                    </a:lnTo>
                    <a:lnTo>
                      <a:pt x="62" y="83"/>
                    </a:lnTo>
                    <a:lnTo>
                      <a:pt x="61" y="83"/>
                    </a:lnTo>
                    <a:lnTo>
                      <a:pt x="61" y="83"/>
                    </a:lnTo>
                    <a:lnTo>
                      <a:pt x="55" y="81"/>
                    </a:lnTo>
                    <a:lnTo>
                      <a:pt x="54" y="81"/>
                    </a:lnTo>
                    <a:lnTo>
                      <a:pt x="54" y="83"/>
                    </a:lnTo>
                    <a:lnTo>
                      <a:pt x="54" y="83"/>
                    </a:lnTo>
                    <a:lnTo>
                      <a:pt x="55" y="87"/>
                    </a:lnTo>
                    <a:lnTo>
                      <a:pt x="55" y="90"/>
                    </a:lnTo>
                    <a:lnTo>
                      <a:pt x="54" y="93"/>
                    </a:lnTo>
                    <a:lnTo>
                      <a:pt x="54" y="93"/>
                    </a:lnTo>
                    <a:lnTo>
                      <a:pt x="51" y="96"/>
                    </a:lnTo>
                    <a:lnTo>
                      <a:pt x="49" y="97"/>
                    </a:lnTo>
                    <a:lnTo>
                      <a:pt x="49" y="97"/>
                    </a:lnTo>
                    <a:lnTo>
                      <a:pt x="51" y="101"/>
                    </a:lnTo>
                    <a:lnTo>
                      <a:pt x="51" y="103"/>
                    </a:lnTo>
                    <a:lnTo>
                      <a:pt x="51" y="106"/>
                    </a:lnTo>
                    <a:lnTo>
                      <a:pt x="51" y="106"/>
                    </a:lnTo>
                    <a:lnTo>
                      <a:pt x="49" y="109"/>
                    </a:lnTo>
                    <a:lnTo>
                      <a:pt x="46" y="110"/>
                    </a:lnTo>
                    <a:lnTo>
                      <a:pt x="44" y="110"/>
                    </a:lnTo>
                    <a:lnTo>
                      <a:pt x="44" y="110"/>
                    </a:lnTo>
                    <a:lnTo>
                      <a:pt x="38" y="107"/>
                    </a:lnTo>
                    <a:lnTo>
                      <a:pt x="36" y="107"/>
                    </a:lnTo>
                    <a:lnTo>
                      <a:pt x="36" y="107"/>
                    </a:lnTo>
                    <a:lnTo>
                      <a:pt x="35" y="109"/>
                    </a:lnTo>
                    <a:lnTo>
                      <a:pt x="33" y="109"/>
                    </a:lnTo>
                    <a:lnTo>
                      <a:pt x="30" y="109"/>
                    </a:lnTo>
                    <a:lnTo>
                      <a:pt x="30" y="109"/>
                    </a:lnTo>
                    <a:lnTo>
                      <a:pt x="25" y="107"/>
                    </a:lnTo>
                    <a:lnTo>
                      <a:pt x="19" y="104"/>
                    </a:lnTo>
                    <a:lnTo>
                      <a:pt x="19" y="104"/>
                    </a:lnTo>
                    <a:lnTo>
                      <a:pt x="12" y="100"/>
                    </a:lnTo>
                    <a:lnTo>
                      <a:pt x="7" y="99"/>
                    </a:lnTo>
                    <a:lnTo>
                      <a:pt x="6" y="99"/>
                    </a:lnTo>
                    <a:lnTo>
                      <a:pt x="6" y="99"/>
                    </a:lnTo>
                    <a:lnTo>
                      <a:pt x="3" y="99"/>
                    </a:lnTo>
                    <a:lnTo>
                      <a:pt x="2" y="99"/>
                    </a:lnTo>
                    <a:lnTo>
                      <a:pt x="0" y="97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2" y="85"/>
                    </a:lnTo>
                    <a:lnTo>
                      <a:pt x="4" y="81"/>
                    </a:lnTo>
                    <a:lnTo>
                      <a:pt x="7" y="80"/>
                    </a:lnTo>
                    <a:lnTo>
                      <a:pt x="7" y="80"/>
                    </a:lnTo>
                    <a:lnTo>
                      <a:pt x="13" y="80"/>
                    </a:lnTo>
                    <a:lnTo>
                      <a:pt x="16" y="78"/>
                    </a:lnTo>
                    <a:lnTo>
                      <a:pt x="17" y="77"/>
                    </a:lnTo>
                    <a:lnTo>
                      <a:pt x="17" y="77"/>
                    </a:lnTo>
                    <a:lnTo>
                      <a:pt x="16" y="77"/>
                    </a:lnTo>
                    <a:lnTo>
                      <a:pt x="13" y="75"/>
                    </a:lnTo>
                    <a:lnTo>
                      <a:pt x="10" y="74"/>
                    </a:lnTo>
                    <a:lnTo>
                      <a:pt x="10" y="72"/>
                    </a:lnTo>
                    <a:lnTo>
                      <a:pt x="10" y="72"/>
                    </a:lnTo>
                    <a:lnTo>
                      <a:pt x="10" y="64"/>
                    </a:lnTo>
                    <a:lnTo>
                      <a:pt x="12" y="59"/>
                    </a:lnTo>
                    <a:lnTo>
                      <a:pt x="12" y="58"/>
                    </a:lnTo>
                    <a:lnTo>
                      <a:pt x="13" y="58"/>
                    </a:lnTo>
                    <a:lnTo>
                      <a:pt x="13" y="58"/>
                    </a:lnTo>
                    <a:lnTo>
                      <a:pt x="16" y="58"/>
                    </a:lnTo>
                    <a:lnTo>
                      <a:pt x="19" y="57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17" y="52"/>
                    </a:lnTo>
                    <a:lnTo>
                      <a:pt x="16" y="51"/>
                    </a:lnTo>
                    <a:lnTo>
                      <a:pt x="17" y="49"/>
                    </a:lnTo>
                    <a:lnTo>
                      <a:pt x="17" y="49"/>
                    </a:lnTo>
                    <a:lnTo>
                      <a:pt x="16" y="48"/>
                    </a:lnTo>
                    <a:lnTo>
                      <a:pt x="15" y="45"/>
                    </a:lnTo>
                    <a:lnTo>
                      <a:pt x="13" y="43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19" y="35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6" y="20"/>
                    </a:lnTo>
                    <a:lnTo>
                      <a:pt x="29" y="17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52" y="17"/>
                    </a:lnTo>
                    <a:lnTo>
                      <a:pt x="57" y="19"/>
                    </a:lnTo>
                    <a:lnTo>
                      <a:pt x="57" y="19"/>
                    </a:lnTo>
                    <a:lnTo>
                      <a:pt x="57" y="20"/>
                    </a:lnTo>
                    <a:lnTo>
                      <a:pt x="57" y="20"/>
                    </a:lnTo>
                    <a:lnTo>
                      <a:pt x="57" y="23"/>
                    </a:lnTo>
                    <a:lnTo>
                      <a:pt x="57" y="29"/>
                    </a:lnTo>
                    <a:lnTo>
                      <a:pt x="58" y="35"/>
                    </a:lnTo>
                    <a:lnTo>
                      <a:pt x="58" y="38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67" y="36"/>
                    </a:lnTo>
                    <a:lnTo>
                      <a:pt x="71" y="35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8"/>
                    </a:lnTo>
                    <a:lnTo>
                      <a:pt x="75" y="39"/>
                    </a:lnTo>
                    <a:lnTo>
                      <a:pt x="78" y="45"/>
                    </a:lnTo>
                    <a:lnTo>
                      <a:pt x="78" y="45"/>
                    </a:lnTo>
                    <a:lnTo>
                      <a:pt x="80" y="48"/>
                    </a:lnTo>
                    <a:lnTo>
                      <a:pt x="84" y="49"/>
                    </a:lnTo>
                    <a:lnTo>
                      <a:pt x="88" y="51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90" y="54"/>
                    </a:lnTo>
                    <a:lnTo>
                      <a:pt x="86" y="55"/>
                    </a:lnTo>
                    <a:lnTo>
                      <a:pt x="84" y="57"/>
                    </a:lnTo>
                    <a:lnTo>
                      <a:pt x="84" y="58"/>
                    </a:lnTo>
                    <a:lnTo>
                      <a:pt x="84" y="58"/>
                    </a:lnTo>
                    <a:lnTo>
                      <a:pt x="84" y="58"/>
                    </a:lnTo>
                    <a:lnTo>
                      <a:pt x="90" y="61"/>
                    </a:lnTo>
                    <a:lnTo>
                      <a:pt x="94" y="62"/>
                    </a:lnTo>
                    <a:lnTo>
                      <a:pt x="94" y="62"/>
                    </a:lnTo>
                    <a:lnTo>
                      <a:pt x="97" y="67"/>
                    </a:lnTo>
                    <a:lnTo>
                      <a:pt x="97" y="71"/>
                    </a:lnTo>
                    <a:lnTo>
                      <a:pt x="97" y="71"/>
                    </a:lnTo>
                    <a:lnTo>
                      <a:pt x="97" y="74"/>
                    </a:lnTo>
                    <a:lnTo>
                      <a:pt x="97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9" y="74"/>
                    </a:lnTo>
                    <a:lnTo>
                      <a:pt x="116" y="74"/>
                    </a:lnTo>
                    <a:lnTo>
                      <a:pt x="116" y="74"/>
                    </a:lnTo>
                    <a:lnTo>
                      <a:pt x="125" y="75"/>
                    </a:lnTo>
                    <a:lnTo>
                      <a:pt x="129" y="75"/>
                    </a:lnTo>
                    <a:lnTo>
                      <a:pt x="130" y="75"/>
                    </a:lnTo>
                    <a:lnTo>
                      <a:pt x="132" y="74"/>
                    </a:lnTo>
                    <a:lnTo>
                      <a:pt x="132" y="74"/>
                    </a:lnTo>
                    <a:lnTo>
                      <a:pt x="129" y="70"/>
                    </a:lnTo>
                    <a:lnTo>
                      <a:pt x="125" y="64"/>
                    </a:lnTo>
                    <a:lnTo>
                      <a:pt x="120" y="58"/>
                    </a:lnTo>
                    <a:lnTo>
                      <a:pt x="120" y="55"/>
                    </a:lnTo>
                    <a:lnTo>
                      <a:pt x="120" y="54"/>
                    </a:lnTo>
                    <a:lnTo>
                      <a:pt x="120" y="54"/>
                    </a:lnTo>
                    <a:lnTo>
                      <a:pt x="130" y="48"/>
                    </a:lnTo>
                    <a:lnTo>
                      <a:pt x="133" y="45"/>
                    </a:lnTo>
                    <a:lnTo>
                      <a:pt x="133" y="42"/>
                    </a:lnTo>
                    <a:lnTo>
                      <a:pt x="132" y="41"/>
                    </a:lnTo>
                    <a:lnTo>
                      <a:pt x="132" y="41"/>
                    </a:lnTo>
                    <a:lnTo>
                      <a:pt x="122" y="35"/>
                    </a:lnTo>
                    <a:lnTo>
                      <a:pt x="117" y="30"/>
                    </a:lnTo>
                    <a:lnTo>
                      <a:pt x="114" y="28"/>
                    </a:lnTo>
                    <a:lnTo>
                      <a:pt x="114" y="28"/>
                    </a:lnTo>
                    <a:lnTo>
                      <a:pt x="113" y="25"/>
                    </a:lnTo>
                    <a:lnTo>
                      <a:pt x="113" y="23"/>
                    </a:lnTo>
                    <a:lnTo>
                      <a:pt x="114" y="20"/>
                    </a:lnTo>
                    <a:lnTo>
                      <a:pt x="116" y="19"/>
                    </a:lnTo>
                    <a:lnTo>
                      <a:pt x="116" y="19"/>
                    </a:lnTo>
                    <a:lnTo>
                      <a:pt x="117" y="16"/>
                    </a:lnTo>
                    <a:lnTo>
                      <a:pt x="117" y="13"/>
                    </a:lnTo>
                    <a:lnTo>
                      <a:pt x="117" y="12"/>
                    </a:lnTo>
                    <a:lnTo>
                      <a:pt x="119" y="9"/>
                    </a:lnTo>
                    <a:lnTo>
                      <a:pt x="119" y="9"/>
                    </a:lnTo>
                    <a:lnTo>
                      <a:pt x="125" y="4"/>
                    </a:lnTo>
                    <a:lnTo>
                      <a:pt x="128" y="3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3" y="0"/>
                    </a:lnTo>
                    <a:lnTo>
                      <a:pt x="135" y="3"/>
                    </a:lnTo>
                    <a:lnTo>
                      <a:pt x="136" y="6"/>
                    </a:lnTo>
                    <a:lnTo>
                      <a:pt x="139" y="9"/>
                    </a:lnTo>
                    <a:lnTo>
                      <a:pt x="139" y="9"/>
                    </a:lnTo>
                    <a:lnTo>
                      <a:pt x="146" y="16"/>
                    </a:lnTo>
                    <a:lnTo>
                      <a:pt x="149" y="19"/>
                    </a:lnTo>
                    <a:lnTo>
                      <a:pt x="151" y="20"/>
                    </a:lnTo>
                    <a:lnTo>
                      <a:pt x="151" y="20"/>
                    </a:lnTo>
                    <a:lnTo>
                      <a:pt x="152" y="22"/>
                    </a:lnTo>
                    <a:lnTo>
                      <a:pt x="152" y="26"/>
                    </a:lnTo>
                    <a:lnTo>
                      <a:pt x="152" y="29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49" y="35"/>
                    </a:lnTo>
                    <a:lnTo>
                      <a:pt x="151" y="36"/>
                    </a:lnTo>
                    <a:lnTo>
                      <a:pt x="154" y="41"/>
                    </a:lnTo>
                    <a:lnTo>
                      <a:pt x="154" y="41"/>
                    </a:lnTo>
                    <a:lnTo>
                      <a:pt x="156" y="45"/>
                    </a:lnTo>
                    <a:lnTo>
                      <a:pt x="159" y="46"/>
                    </a:lnTo>
                    <a:lnTo>
                      <a:pt x="161" y="48"/>
                    </a:lnTo>
                    <a:lnTo>
                      <a:pt x="161" y="48"/>
                    </a:lnTo>
                    <a:lnTo>
                      <a:pt x="170" y="43"/>
                    </a:lnTo>
                    <a:lnTo>
                      <a:pt x="175" y="42"/>
                    </a:lnTo>
                    <a:lnTo>
                      <a:pt x="180" y="42"/>
                    </a:lnTo>
                    <a:lnTo>
                      <a:pt x="180" y="42"/>
                    </a:lnTo>
                    <a:lnTo>
                      <a:pt x="184" y="43"/>
                    </a:lnTo>
                    <a:lnTo>
                      <a:pt x="188" y="45"/>
                    </a:lnTo>
                    <a:lnTo>
                      <a:pt x="190" y="48"/>
                    </a:lnTo>
                    <a:lnTo>
                      <a:pt x="190" y="54"/>
                    </a:lnTo>
                    <a:lnTo>
                      <a:pt x="190" y="54"/>
                    </a:lnTo>
                    <a:lnTo>
                      <a:pt x="188" y="59"/>
                    </a:lnTo>
                    <a:lnTo>
                      <a:pt x="188" y="67"/>
                    </a:lnTo>
                    <a:lnTo>
                      <a:pt x="190" y="74"/>
                    </a:lnTo>
                    <a:lnTo>
                      <a:pt x="190" y="81"/>
                    </a:lnTo>
                    <a:lnTo>
                      <a:pt x="190" y="81"/>
                    </a:lnTo>
                    <a:lnTo>
                      <a:pt x="187" y="87"/>
                    </a:lnTo>
                    <a:lnTo>
                      <a:pt x="185" y="91"/>
                    </a:lnTo>
                    <a:lnTo>
                      <a:pt x="184" y="93"/>
                    </a:lnTo>
                    <a:lnTo>
                      <a:pt x="184" y="96"/>
                    </a:lnTo>
                    <a:lnTo>
                      <a:pt x="184" y="96"/>
                    </a:lnTo>
                    <a:lnTo>
                      <a:pt x="187" y="100"/>
                    </a:lnTo>
                    <a:lnTo>
                      <a:pt x="188" y="103"/>
                    </a:lnTo>
                    <a:lnTo>
                      <a:pt x="188" y="103"/>
                    </a:lnTo>
                    <a:lnTo>
                      <a:pt x="185" y="109"/>
                    </a:lnTo>
                    <a:lnTo>
                      <a:pt x="183" y="112"/>
                    </a:lnTo>
                    <a:lnTo>
                      <a:pt x="180" y="11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76" name="Freeform 26"/>
              <p:cNvSpPr>
                <a:spLocks/>
              </p:cNvSpPr>
              <p:nvPr/>
            </p:nvSpPr>
            <p:spPr bwMode="auto">
              <a:xfrm>
                <a:off x="2525222" y="1373243"/>
                <a:ext cx="187959" cy="144432"/>
              </a:xfrm>
              <a:custGeom>
                <a:avLst/>
                <a:gdLst>
                  <a:gd name="T0" fmla="*/ 162 w 190"/>
                  <a:gd name="T1" fmla="*/ 116 h 146"/>
                  <a:gd name="T2" fmla="*/ 156 w 190"/>
                  <a:gd name="T3" fmla="*/ 107 h 146"/>
                  <a:gd name="T4" fmla="*/ 152 w 190"/>
                  <a:gd name="T5" fmla="*/ 116 h 146"/>
                  <a:gd name="T6" fmla="*/ 142 w 190"/>
                  <a:gd name="T7" fmla="*/ 114 h 146"/>
                  <a:gd name="T8" fmla="*/ 139 w 190"/>
                  <a:gd name="T9" fmla="*/ 106 h 146"/>
                  <a:gd name="T10" fmla="*/ 128 w 190"/>
                  <a:gd name="T11" fmla="*/ 117 h 146"/>
                  <a:gd name="T12" fmla="*/ 112 w 190"/>
                  <a:gd name="T13" fmla="*/ 126 h 146"/>
                  <a:gd name="T14" fmla="*/ 100 w 190"/>
                  <a:gd name="T15" fmla="*/ 139 h 146"/>
                  <a:gd name="T16" fmla="*/ 81 w 190"/>
                  <a:gd name="T17" fmla="*/ 146 h 146"/>
                  <a:gd name="T18" fmla="*/ 59 w 190"/>
                  <a:gd name="T19" fmla="*/ 138 h 146"/>
                  <a:gd name="T20" fmla="*/ 54 w 190"/>
                  <a:gd name="T21" fmla="*/ 125 h 146"/>
                  <a:gd name="T22" fmla="*/ 68 w 190"/>
                  <a:gd name="T23" fmla="*/ 113 h 146"/>
                  <a:gd name="T24" fmla="*/ 86 w 190"/>
                  <a:gd name="T25" fmla="*/ 114 h 146"/>
                  <a:gd name="T26" fmla="*/ 100 w 190"/>
                  <a:gd name="T27" fmla="*/ 103 h 146"/>
                  <a:gd name="T28" fmla="*/ 99 w 190"/>
                  <a:gd name="T29" fmla="*/ 96 h 146"/>
                  <a:gd name="T30" fmla="*/ 86 w 190"/>
                  <a:gd name="T31" fmla="*/ 103 h 146"/>
                  <a:gd name="T32" fmla="*/ 77 w 190"/>
                  <a:gd name="T33" fmla="*/ 101 h 146"/>
                  <a:gd name="T34" fmla="*/ 61 w 190"/>
                  <a:gd name="T35" fmla="*/ 107 h 146"/>
                  <a:gd name="T36" fmla="*/ 64 w 190"/>
                  <a:gd name="T37" fmla="*/ 85 h 146"/>
                  <a:gd name="T38" fmla="*/ 54 w 190"/>
                  <a:gd name="T39" fmla="*/ 81 h 146"/>
                  <a:gd name="T40" fmla="*/ 54 w 190"/>
                  <a:gd name="T41" fmla="*/ 93 h 146"/>
                  <a:gd name="T42" fmla="*/ 51 w 190"/>
                  <a:gd name="T43" fmla="*/ 101 h 146"/>
                  <a:gd name="T44" fmla="*/ 46 w 190"/>
                  <a:gd name="T45" fmla="*/ 110 h 146"/>
                  <a:gd name="T46" fmla="*/ 36 w 190"/>
                  <a:gd name="T47" fmla="*/ 107 h 146"/>
                  <a:gd name="T48" fmla="*/ 25 w 190"/>
                  <a:gd name="T49" fmla="*/ 107 h 146"/>
                  <a:gd name="T50" fmla="*/ 6 w 190"/>
                  <a:gd name="T51" fmla="*/ 99 h 146"/>
                  <a:gd name="T52" fmla="*/ 0 w 190"/>
                  <a:gd name="T53" fmla="*/ 94 h 146"/>
                  <a:gd name="T54" fmla="*/ 7 w 190"/>
                  <a:gd name="T55" fmla="*/ 80 h 146"/>
                  <a:gd name="T56" fmla="*/ 16 w 190"/>
                  <a:gd name="T57" fmla="*/ 77 h 146"/>
                  <a:gd name="T58" fmla="*/ 10 w 190"/>
                  <a:gd name="T59" fmla="*/ 64 h 146"/>
                  <a:gd name="T60" fmla="*/ 16 w 190"/>
                  <a:gd name="T61" fmla="*/ 58 h 146"/>
                  <a:gd name="T62" fmla="*/ 17 w 190"/>
                  <a:gd name="T63" fmla="*/ 52 h 146"/>
                  <a:gd name="T64" fmla="*/ 15 w 190"/>
                  <a:gd name="T65" fmla="*/ 45 h 146"/>
                  <a:gd name="T66" fmla="*/ 23 w 190"/>
                  <a:gd name="T67" fmla="*/ 28 h 146"/>
                  <a:gd name="T68" fmla="*/ 30 w 190"/>
                  <a:gd name="T69" fmla="*/ 16 h 146"/>
                  <a:gd name="T70" fmla="*/ 57 w 190"/>
                  <a:gd name="T71" fmla="*/ 19 h 146"/>
                  <a:gd name="T72" fmla="*/ 58 w 190"/>
                  <a:gd name="T73" fmla="*/ 35 h 146"/>
                  <a:gd name="T74" fmla="*/ 71 w 190"/>
                  <a:gd name="T75" fmla="*/ 35 h 146"/>
                  <a:gd name="T76" fmla="*/ 78 w 190"/>
                  <a:gd name="T77" fmla="*/ 45 h 146"/>
                  <a:gd name="T78" fmla="*/ 90 w 190"/>
                  <a:gd name="T79" fmla="*/ 52 h 146"/>
                  <a:gd name="T80" fmla="*/ 84 w 190"/>
                  <a:gd name="T81" fmla="*/ 58 h 146"/>
                  <a:gd name="T82" fmla="*/ 94 w 190"/>
                  <a:gd name="T83" fmla="*/ 62 h 146"/>
                  <a:gd name="T84" fmla="*/ 97 w 190"/>
                  <a:gd name="T85" fmla="*/ 74 h 146"/>
                  <a:gd name="T86" fmla="*/ 116 w 190"/>
                  <a:gd name="T87" fmla="*/ 74 h 146"/>
                  <a:gd name="T88" fmla="*/ 132 w 190"/>
                  <a:gd name="T89" fmla="*/ 74 h 146"/>
                  <a:gd name="T90" fmla="*/ 120 w 190"/>
                  <a:gd name="T91" fmla="*/ 54 h 146"/>
                  <a:gd name="T92" fmla="*/ 132 w 190"/>
                  <a:gd name="T93" fmla="*/ 41 h 146"/>
                  <a:gd name="T94" fmla="*/ 114 w 190"/>
                  <a:gd name="T95" fmla="*/ 28 h 146"/>
                  <a:gd name="T96" fmla="*/ 116 w 190"/>
                  <a:gd name="T97" fmla="*/ 19 h 146"/>
                  <a:gd name="T98" fmla="*/ 119 w 190"/>
                  <a:gd name="T99" fmla="*/ 9 h 146"/>
                  <a:gd name="T100" fmla="*/ 133 w 190"/>
                  <a:gd name="T101" fmla="*/ 0 h 146"/>
                  <a:gd name="T102" fmla="*/ 146 w 190"/>
                  <a:gd name="T103" fmla="*/ 16 h 146"/>
                  <a:gd name="T104" fmla="*/ 152 w 190"/>
                  <a:gd name="T105" fmla="*/ 26 h 146"/>
                  <a:gd name="T106" fmla="*/ 151 w 190"/>
                  <a:gd name="T107" fmla="*/ 36 h 146"/>
                  <a:gd name="T108" fmla="*/ 161 w 190"/>
                  <a:gd name="T109" fmla="*/ 48 h 146"/>
                  <a:gd name="T110" fmla="*/ 180 w 190"/>
                  <a:gd name="T111" fmla="*/ 42 h 146"/>
                  <a:gd name="T112" fmla="*/ 190 w 190"/>
                  <a:gd name="T113" fmla="*/ 54 h 146"/>
                  <a:gd name="T114" fmla="*/ 190 w 190"/>
                  <a:gd name="T115" fmla="*/ 81 h 146"/>
                  <a:gd name="T116" fmla="*/ 184 w 190"/>
                  <a:gd name="T117" fmla="*/ 96 h 146"/>
                  <a:gd name="T118" fmla="*/ 183 w 190"/>
                  <a:gd name="T119" fmla="*/ 112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0" h="146">
                    <a:moveTo>
                      <a:pt x="180" y="113"/>
                    </a:moveTo>
                    <a:lnTo>
                      <a:pt x="180" y="113"/>
                    </a:lnTo>
                    <a:lnTo>
                      <a:pt x="171" y="116"/>
                    </a:lnTo>
                    <a:lnTo>
                      <a:pt x="165" y="116"/>
                    </a:lnTo>
                    <a:lnTo>
                      <a:pt x="162" y="116"/>
                    </a:lnTo>
                    <a:lnTo>
                      <a:pt x="162" y="116"/>
                    </a:lnTo>
                    <a:lnTo>
                      <a:pt x="159" y="110"/>
                    </a:lnTo>
                    <a:lnTo>
                      <a:pt x="158" y="107"/>
                    </a:lnTo>
                    <a:lnTo>
                      <a:pt x="156" y="107"/>
                    </a:lnTo>
                    <a:lnTo>
                      <a:pt x="156" y="107"/>
                    </a:lnTo>
                    <a:lnTo>
                      <a:pt x="156" y="107"/>
                    </a:lnTo>
                    <a:lnTo>
                      <a:pt x="155" y="110"/>
                    </a:lnTo>
                    <a:lnTo>
                      <a:pt x="154" y="113"/>
                    </a:lnTo>
                    <a:lnTo>
                      <a:pt x="154" y="116"/>
                    </a:lnTo>
                    <a:lnTo>
                      <a:pt x="152" y="116"/>
                    </a:lnTo>
                    <a:lnTo>
                      <a:pt x="152" y="116"/>
                    </a:lnTo>
                    <a:lnTo>
                      <a:pt x="146" y="117"/>
                    </a:lnTo>
                    <a:lnTo>
                      <a:pt x="143" y="117"/>
                    </a:lnTo>
                    <a:lnTo>
                      <a:pt x="142" y="114"/>
                    </a:lnTo>
                    <a:lnTo>
                      <a:pt x="142" y="114"/>
                    </a:lnTo>
                    <a:lnTo>
                      <a:pt x="141" y="112"/>
                    </a:lnTo>
                    <a:lnTo>
                      <a:pt x="141" y="109"/>
                    </a:lnTo>
                    <a:lnTo>
                      <a:pt x="139" y="106"/>
                    </a:lnTo>
                    <a:lnTo>
                      <a:pt x="139" y="106"/>
                    </a:lnTo>
                    <a:lnTo>
                      <a:pt x="139" y="106"/>
                    </a:lnTo>
                    <a:lnTo>
                      <a:pt x="136" y="110"/>
                    </a:lnTo>
                    <a:lnTo>
                      <a:pt x="136" y="113"/>
                    </a:lnTo>
                    <a:lnTo>
                      <a:pt x="133" y="114"/>
                    </a:lnTo>
                    <a:lnTo>
                      <a:pt x="133" y="114"/>
                    </a:lnTo>
                    <a:lnTo>
                      <a:pt x="128" y="117"/>
                    </a:lnTo>
                    <a:lnTo>
                      <a:pt x="122" y="122"/>
                    </a:lnTo>
                    <a:lnTo>
                      <a:pt x="122" y="122"/>
                    </a:lnTo>
                    <a:lnTo>
                      <a:pt x="116" y="122"/>
                    </a:lnTo>
                    <a:lnTo>
                      <a:pt x="113" y="123"/>
                    </a:lnTo>
                    <a:lnTo>
                      <a:pt x="112" y="126"/>
                    </a:lnTo>
                    <a:lnTo>
                      <a:pt x="112" y="126"/>
                    </a:lnTo>
                    <a:lnTo>
                      <a:pt x="109" y="132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0" y="139"/>
                    </a:lnTo>
                    <a:lnTo>
                      <a:pt x="96" y="141"/>
                    </a:lnTo>
                    <a:lnTo>
                      <a:pt x="88" y="143"/>
                    </a:lnTo>
                    <a:lnTo>
                      <a:pt x="88" y="143"/>
                    </a:lnTo>
                    <a:lnTo>
                      <a:pt x="84" y="145"/>
                    </a:lnTo>
                    <a:lnTo>
                      <a:pt x="81" y="146"/>
                    </a:lnTo>
                    <a:lnTo>
                      <a:pt x="77" y="145"/>
                    </a:lnTo>
                    <a:lnTo>
                      <a:pt x="77" y="145"/>
                    </a:lnTo>
                    <a:lnTo>
                      <a:pt x="67" y="142"/>
                    </a:lnTo>
                    <a:lnTo>
                      <a:pt x="59" y="138"/>
                    </a:lnTo>
                    <a:lnTo>
                      <a:pt x="59" y="138"/>
                    </a:lnTo>
                    <a:lnTo>
                      <a:pt x="57" y="133"/>
                    </a:lnTo>
                    <a:lnTo>
                      <a:pt x="54" y="130"/>
                    </a:lnTo>
                    <a:lnTo>
                      <a:pt x="54" y="127"/>
                    </a:lnTo>
                    <a:lnTo>
                      <a:pt x="54" y="125"/>
                    </a:lnTo>
                    <a:lnTo>
                      <a:pt x="54" y="125"/>
                    </a:lnTo>
                    <a:lnTo>
                      <a:pt x="64" y="122"/>
                    </a:lnTo>
                    <a:lnTo>
                      <a:pt x="67" y="119"/>
                    </a:lnTo>
                    <a:lnTo>
                      <a:pt x="68" y="117"/>
                    </a:lnTo>
                    <a:lnTo>
                      <a:pt x="68" y="117"/>
                    </a:lnTo>
                    <a:lnTo>
                      <a:pt x="68" y="113"/>
                    </a:lnTo>
                    <a:lnTo>
                      <a:pt x="68" y="112"/>
                    </a:lnTo>
                    <a:lnTo>
                      <a:pt x="71" y="112"/>
                    </a:lnTo>
                    <a:lnTo>
                      <a:pt x="71" y="112"/>
                    </a:lnTo>
                    <a:lnTo>
                      <a:pt x="80" y="114"/>
                    </a:lnTo>
                    <a:lnTo>
                      <a:pt x="86" y="114"/>
                    </a:lnTo>
                    <a:lnTo>
                      <a:pt x="91" y="114"/>
                    </a:lnTo>
                    <a:lnTo>
                      <a:pt x="91" y="114"/>
                    </a:lnTo>
                    <a:lnTo>
                      <a:pt x="96" y="112"/>
                    </a:lnTo>
                    <a:lnTo>
                      <a:pt x="97" y="109"/>
                    </a:lnTo>
                    <a:lnTo>
                      <a:pt x="100" y="103"/>
                    </a:lnTo>
                    <a:lnTo>
                      <a:pt x="100" y="103"/>
                    </a:lnTo>
                    <a:lnTo>
                      <a:pt x="101" y="101"/>
                    </a:lnTo>
                    <a:lnTo>
                      <a:pt x="101" y="99"/>
                    </a:lnTo>
                    <a:lnTo>
                      <a:pt x="100" y="96"/>
                    </a:lnTo>
                    <a:lnTo>
                      <a:pt x="99" y="96"/>
                    </a:lnTo>
                    <a:lnTo>
                      <a:pt x="99" y="96"/>
                    </a:lnTo>
                    <a:lnTo>
                      <a:pt x="96" y="96"/>
                    </a:lnTo>
                    <a:lnTo>
                      <a:pt x="93" y="99"/>
                    </a:lnTo>
                    <a:lnTo>
                      <a:pt x="86" y="103"/>
                    </a:lnTo>
                    <a:lnTo>
                      <a:pt x="86" y="103"/>
                    </a:lnTo>
                    <a:lnTo>
                      <a:pt x="83" y="103"/>
                    </a:lnTo>
                    <a:lnTo>
                      <a:pt x="81" y="103"/>
                    </a:lnTo>
                    <a:lnTo>
                      <a:pt x="80" y="101"/>
                    </a:lnTo>
                    <a:lnTo>
                      <a:pt x="77" y="101"/>
                    </a:lnTo>
                    <a:lnTo>
                      <a:pt x="77" y="101"/>
                    </a:lnTo>
                    <a:lnTo>
                      <a:pt x="67" y="107"/>
                    </a:lnTo>
                    <a:lnTo>
                      <a:pt x="64" y="109"/>
                    </a:lnTo>
                    <a:lnTo>
                      <a:pt x="62" y="109"/>
                    </a:lnTo>
                    <a:lnTo>
                      <a:pt x="61" y="107"/>
                    </a:lnTo>
                    <a:lnTo>
                      <a:pt x="61" y="107"/>
                    </a:lnTo>
                    <a:lnTo>
                      <a:pt x="61" y="99"/>
                    </a:lnTo>
                    <a:lnTo>
                      <a:pt x="61" y="93"/>
                    </a:lnTo>
                    <a:lnTo>
                      <a:pt x="61" y="90"/>
                    </a:lnTo>
                    <a:lnTo>
                      <a:pt x="61" y="90"/>
                    </a:lnTo>
                    <a:lnTo>
                      <a:pt x="64" y="85"/>
                    </a:lnTo>
                    <a:lnTo>
                      <a:pt x="62" y="83"/>
                    </a:lnTo>
                    <a:lnTo>
                      <a:pt x="61" y="83"/>
                    </a:lnTo>
                    <a:lnTo>
                      <a:pt x="61" y="83"/>
                    </a:lnTo>
                    <a:lnTo>
                      <a:pt x="55" y="81"/>
                    </a:lnTo>
                    <a:lnTo>
                      <a:pt x="54" y="81"/>
                    </a:lnTo>
                    <a:lnTo>
                      <a:pt x="54" y="83"/>
                    </a:lnTo>
                    <a:lnTo>
                      <a:pt x="54" y="83"/>
                    </a:lnTo>
                    <a:lnTo>
                      <a:pt x="55" y="87"/>
                    </a:lnTo>
                    <a:lnTo>
                      <a:pt x="55" y="90"/>
                    </a:lnTo>
                    <a:lnTo>
                      <a:pt x="54" y="93"/>
                    </a:lnTo>
                    <a:lnTo>
                      <a:pt x="54" y="93"/>
                    </a:lnTo>
                    <a:lnTo>
                      <a:pt x="51" y="96"/>
                    </a:lnTo>
                    <a:lnTo>
                      <a:pt x="49" y="97"/>
                    </a:lnTo>
                    <a:lnTo>
                      <a:pt x="49" y="97"/>
                    </a:lnTo>
                    <a:lnTo>
                      <a:pt x="51" y="101"/>
                    </a:lnTo>
                    <a:lnTo>
                      <a:pt x="51" y="103"/>
                    </a:lnTo>
                    <a:lnTo>
                      <a:pt x="51" y="106"/>
                    </a:lnTo>
                    <a:lnTo>
                      <a:pt x="51" y="106"/>
                    </a:lnTo>
                    <a:lnTo>
                      <a:pt x="49" y="109"/>
                    </a:lnTo>
                    <a:lnTo>
                      <a:pt x="46" y="110"/>
                    </a:lnTo>
                    <a:lnTo>
                      <a:pt x="44" y="110"/>
                    </a:lnTo>
                    <a:lnTo>
                      <a:pt x="44" y="110"/>
                    </a:lnTo>
                    <a:lnTo>
                      <a:pt x="38" y="107"/>
                    </a:lnTo>
                    <a:lnTo>
                      <a:pt x="36" y="107"/>
                    </a:lnTo>
                    <a:lnTo>
                      <a:pt x="36" y="107"/>
                    </a:lnTo>
                    <a:lnTo>
                      <a:pt x="35" y="109"/>
                    </a:lnTo>
                    <a:lnTo>
                      <a:pt x="33" y="109"/>
                    </a:lnTo>
                    <a:lnTo>
                      <a:pt x="30" y="109"/>
                    </a:lnTo>
                    <a:lnTo>
                      <a:pt x="30" y="109"/>
                    </a:lnTo>
                    <a:lnTo>
                      <a:pt x="25" y="107"/>
                    </a:lnTo>
                    <a:lnTo>
                      <a:pt x="19" y="104"/>
                    </a:lnTo>
                    <a:lnTo>
                      <a:pt x="19" y="104"/>
                    </a:lnTo>
                    <a:lnTo>
                      <a:pt x="12" y="100"/>
                    </a:lnTo>
                    <a:lnTo>
                      <a:pt x="7" y="99"/>
                    </a:lnTo>
                    <a:lnTo>
                      <a:pt x="6" y="99"/>
                    </a:lnTo>
                    <a:lnTo>
                      <a:pt x="6" y="99"/>
                    </a:lnTo>
                    <a:lnTo>
                      <a:pt x="3" y="99"/>
                    </a:lnTo>
                    <a:lnTo>
                      <a:pt x="2" y="99"/>
                    </a:lnTo>
                    <a:lnTo>
                      <a:pt x="0" y="97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2" y="85"/>
                    </a:lnTo>
                    <a:lnTo>
                      <a:pt x="4" y="81"/>
                    </a:lnTo>
                    <a:lnTo>
                      <a:pt x="7" y="80"/>
                    </a:lnTo>
                    <a:lnTo>
                      <a:pt x="7" y="80"/>
                    </a:lnTo>
                    <a:lnTo>
                      <a:pt x="13" y="80"/>
                    </a:lnTo>
                    <a:lnTo>
                      <a:pt x="16" y="78"/>
                    </a:lnTo>
                    <a:lnTo>
                      <a:pt x="17" y="77"/>
                    </a:lnTo>
                    <a:lnTo>
                      <a:pt x="17" y="77"/>
                    </a:lnTo>
                    <a:lnTo>
                      <a:pt x="16" y="77"/>
                    </a:lnTo>
                    <a:lnTo>
                      <a:pt x="13" y="75"/>
                    </a:lnTo>
                    <a:lnTo>
                      <a:pt x="10" y="74"/>
                    </a:lnTo>
                    <a:lnTo>
                      <a:pt x="10" y="72"/>
                    </a:lnTo>
                    <a:lnTo>
                      <a:pt x="10" y="72"/>
                    </a:lnTo>
                    <a:lnTo>
                      <a:pt x="10" y="64"/>
                    </a:lnTo>
                    <a:lnTo>
                      <a:pt x="12" y="59"/>
                    </a:lnTo>
                    <a:lnTo>
                      <a:pt x="12" y="58"/>
                    </a:lnTo>
                    <a:lnTo>
                      <a:pt x="13" y="58"/>
                    </a:lnTo>
                    <a:lnTo>
                      <a:pt x="13" y="58"/>
                    </a:lnTo>
                    <a:lnTo>
                      <a:pt x="16" y="58"/>
                    </a:lnTo>
                    <a:lnTo>
                      <a:pt x="19" y="57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17" y="52"/>
                    </a:lnTo>
                    <a:lnTo>
                      <a:pt x="16" y="51"/>
                    </a:lnTo>
                    <a:lnTo>
                      <a:pt x="17" y="49"/>
                    </a:lnTo>
                    <a:lnTo>
                      <a:pt x="17" y="49"/>
                    </a:lnTo>
                    <a:lnTo>
                      <a:pt x="16" y="48"/>
                    </a:lnTo>
                    <a:lnTo>
                      <a:pt x="15" y="45"/>
                    </a:lnTo>
                    <a:lnTo>
                      <a:pt x="13" y="43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19" y="35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6" y="20"/>
                    </a:lnTo>
                    <a:lnTo>
                      <a:pt x="29" y="17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52" y="17"/>
                    </a:lnTo>
                    <a:lnTo>
                      <a:pt x="57" y="19"/>
                    </a:lnTo>
                    <a:lnTo>
                      <a:pt x="57" y="19"/>
                    </a:lnTo>
                    <a:lnTo>
                      <a:pt x="57" y="20"/>
                    </a:lnTo>
                    <a:lnTo>
                      <a:pt x="57" y="20"/>
                    </a:lnTo>
                    <a:lnTo>
                      <a:pt x="57" y="23"/>
                    </a:lnTo>
                    <a:lnTo>
                      <a:pt x="57" y="29"/>
                    </a:lnTo>
                    <a:lnTo>
                      <a:pt x="58" y="35"/>
                    </a:lnTo>
                    <a:lnTo>
                      <a:pt x="58" y="38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67" y="36"/>
                    </a:lnTo>
                    <a:lnTo>
                      <a:pt x="71" y="35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8"/>
                    </a:lnTo>
                    <a:lnTo>
                      <a:pt x="75" y="39"/>
                    </a:lnTo>
                    <a:lnTo>
                      <a:pt x="78" y="45"/>
                    </a:lnTo>
                    <a:lnTo>
                      <a:pt x="78" y="45"/>
                    </a:lnTo>
                    <a:lnTo>
                      <a:pt x="80" y="48"/>
                    </a:lnTo>
                    <a:lnTo>
                      <a:pt x="84" y="49"/>
                    </a:lnTo>
                    <a:lnTo>
                      <a:pt x="88" y="51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90" y="54"/>
                    </a:lnTo>
                    <a:lnTo>
                      <a:pt x="86" y="55"/>
                    </a:lnTo>
                    <a:lnTo>
                      <a:pt x="84" y="57"/>
                    </a:lnTo>
                    <a:lnTo>
                      <a:pt x="84" y="58"/>
                    </a:lnTo>
                    <a:lnTo>
                      <a:pt x="84" y="58"/>
                    </a:lnTo>
                    <a:lnTo>
                      <a:pt x="84" y="58"/>
                    </a:lnTo>
                    <a:lnTo>
                      <a:pt x="90" y="61"/>
                    </a:lnTo>
                    <a:lnTo>
                      <a:pt x="94" y="62"/>
                    </a:lnTo>
                    <a:lnTo>
                      <a:pt x="94" y="62"/>
                    </a:lnTo>
                    <a:lnTo>
                      <a:pt x="97" y="67"/>
                    </a:lnTo>
                    <a:lnTo>
                      <a:pt x="97" y="71"/>
                    </a:lnTo>
                    <a:lnTo>
                      <a:pt x="97" y="71"/>
                    </a:lnTo>
                    <a:lnTo>
                      <a:pt x="97" y="74"/>
                    </a:lnTo>
                    <a:lnTo>
                      <a:pt x="97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9" y="74"/>
                    </a:lnTo>
                    <a:lnTo>
                      <a:pt x="116" y="74"/>
                    </a:lnTo>
                    <a:lnTo>
                      <a:pt x="116" y="74"/>
                    </a:lnTo>
                    <a:lnTo>
                      <a:pt x="125" y="75"/>
                    </a:lnTo>
                    <a:lnTo>
                      <a:pt x="129" y="75"/>
                    </a:lnTo>
                    <a:lnTo>
                      <a:pt x="130" y="75"/>
                    </a:lnTo>
                    <a:lnTo>
                      <a:pt x="132" y="74"/>
                    </a:lnTo>
                    <a:lnTo>
                      <a:pt x="132" y="74"/>
                    </a:lnTo>
                    <a:lnTo>
                      <a:pt x="129" y="70"/>
                    </a:lnTo>
                    <a:lnTo>
                      <a:pt x="125" y="64"/>
                    </a:lnTo>
                    <a:lnTo>
                      <a:pt x="120" y="58"/>
                    </a:lnTo>
                    <a:lnTo>
                      <a:pt x="120" y="55"/>
                    </a:lnTo>
                    <a:lnTo>
                      <a:pt x="120" y="54"/>
                    </a:lnTo>
                    <a:lnTo>
                      <a:pt x="120" y="54"/>
                    </a:lnTo>
                    <a:lnTo>
                      <a:pt x="130" y="48"/>
                    </a:lnTo>
                    <a:lnTo>
                      <a:pt x="133" y="45"/>
                    </a:lnTo>
                    <a:lnTo>
                      <a:pt x="133" y="42"/>
                    </a:lnTo>
                    <a:lnTo>
                      <a:pt x="132" y="41"/>
                    </a:lnTo>
                    <a:lnTo>
                      <a:pt x="132" y="41"/>
                    </a:lnTo>
                    <a:lnTo>
                      <a:pt x="122" y="35"/>
                    </a:lnTo>
                    <a:lnTo>
                      <a:pt x="117" y="30"/>
                    </a:lnTo>
                    <a:lnTo>
                      <a:pt x="114" y="28"/>
                    </a:lnTo>
                    <a:lnTo>
                      <a:pt x="114" y="28"/>
                    </a:lnTo>
                    <a:lnTo>
                      <a:pt x="113" y="25"/>
                    </a:lnTo>
                    <a:lnTo>
                      <a:pt x="113" y="23"/>
                    </a:lnTo>
                    <a:lnTo>
                      <a:pt x="114" y="20"/>
                    </a:lnTo>
                    <a:lnTo>
                      <a:pt x="116" y="19"/>
                    </a:lnTo>
                    <a:lnTo>
                      <a:pt x="116" y="19"/>
                    </a:lnTo>
                    <a:lnTo>
                      <a:pt x="117" y="16"/>
                    </a:lnTo>
                    <a:lnTo>
                      <a:pt x="117" y="13"/>
                    </a:lnTo>
                    <a:lnTo>
                      <a:pt x="117" y="12"/>
                    </a:lnTo>
                    <a:lnTo>
                      <a:pt x="119" y="9"/>
                    </a:lnTo>
                    <a:lnTo>
                      <a:pt x="119" y="9"/>
                    </a:lnTo>
                    <a:lnTo>
                      <a:pt x="125" y="4"/>
                    </a:lnTo>
                    <a:lnTo>
                      <a:pt x="128" y="3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3" y="0"/>
                    </a:lnTo>
                    <a:lnTo>
                      <a:pt x="135" y="3"/>
                    </a:lnTo>
                    <a:lnTo>
                      <a:pt x="136" y="6"/>
                    </a:lnTo>
                    <a:lnTo>
                      <a:pt x="139" y="9"/>
                    </a:lnTo>
                    <a:lnTo>
                      <a:pt x="139" y="9"/>
                    </a:lnTo>
                    <a:lnTo>
                      <a:pt x="146" y="16"/>
                    </a:lnTo>
                    <a:lnTo>
                      <a:pt x="149" y="19"/>
                    </a:lnTo>
                    <a:lnTo>
                      <a:pt x="151" y="20"/>
                    </a:lnTo>
                    <a:lnTo>
                      <a:pt x="151" y="20"/>
                    </a:lnTo>
                    <a:lnTo>
                      <a:pt x="152" y="22"/>
                    </a:lnTo>
                    <a:lnTo>
                      <a:pt x="152" y="26"/>
                    </a:lnTo>
                    <a:lnTo>
                      <a:pt x="152" y="29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49" y="35"/>
                    </a:lnTo>
                    <a:lnTo>
                      <a:pt x="151" y="36"/>
                    </a:lnTo>
                    <a:lnTo>
                      <a:pt x="154" y="41"/>
                    </a:lnTo>
                    <a:lnTo>
                      <a:pt x="154" y="41"/>
                    </a:lnTo>
                    <a:lnTo>
                      <a:pt x="156" y="45"/>
                    </a:lnTo>
                    <a:lnTo>
                      <a:pt x="159" y="46"/>
                    </a:lnTo>
                    <a:lnTo>
                      <a:pt x="161" y="48"/>
                    </a:lnTo>
                    <a:lnTo>
                      <a:pt x="161" y="48"/>
                    </a:lnTo>
                    <a:lnTo>
                      <a:pt x="170" y="43"/>
                    </a:lnTo>
                    <a:lnTo>
                      <a:pt x="175" y="42"/>
                    </a:lnTo>
                    <a:lnTo>
                      <a:pt x="180" y="42"/>
                    </a:lnTo>
                    <a:lnTo>
                      <a:pt x="180" y="42"/>
                    </a:lnTo>
                    <a:lnTo>
                      <a:pt x="184" y="43"/>
                    </a:lnTo>
                    <a:lnTo>
                      <a:pt x="188" y="45"/>
                    </a:lnTo>
                    <a:lnTo>
                      <a:pt x="190" y="48"/>
                    </a:lnTo>
                    <a:lnTo>
                      <a:pt x="190" y="54"/>
                    </a:lnTo>
                    <a:lnTo>
                      <a:pt x="190" y="54"/>
                    </a:lnTo>
                    <a:lnTo>
                      <a:pt x="188" y="59"/>
                    </a:lnTo>
                    <a:lnTo>
                      <a:pt x="188" y="67"/>
                    </a:lnTo>
                    <a:lnTo>
                      <a:pt x="190" y="74"/>
                    </a:lnTo>
                    <a:lnTo>
                      <a:pt x="190" y="81"/>
                    </a:lnTo>
                    <a:lnTo>
                      <a:pt x="190" y="81"/>
                    </a:lnTo>
                    <a:lnTo>
                      <a:pt x="187" y="87"/>
                    </a:lnTo>
                    <a:lnTo>
                      <a:pt x="185" y="91"/>
                    </a:lnTo>
                    <a:lnTo>
                      <a:pt x="184" y="93"/>
                    </a:lnTo>
                    <a:lnTo>
                      <a:pt x="184" y="96"/>
                    </a:lnTo>
                    <a:lnTo>
                      <a:pt x="184" y="96"/>
                    </a:lnTo>
                    <a:lnTo>
                      <a:pt x="187" y="100"/>
                    </a:lnTo>
                    <a:lnTo>
                      <a:pt x="188" y="103"/>
                    </a:lnTo>
                    <a:lnTo>
                      <a:pt x="188" y="103"/>
                    </a:lnTo>
                    <a:lnTo>
                      <a:pt x="185" y="109"/>
                    </a:lnTo>
                    <a:lnTo>
                      <a:pt x="183" y="112"/>
                    </a:lnTo>
                    <a:lnTo>
                      <a:pt x="180" y="11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77" name="Freeform 27"/>
              <p:cNvSpPr>
                <a:spLocks/>
              </p:cNvSpPr>
              <p:nvPr/>
            </p:nvSpPr>
            <p:spPr bwMode="auto">
              <a:xfrm>
                <a:off x="2498512" y="1417760"/>
                <a:ext cx="23742" cy="35613"/>
              </a:xfrm>
              <a:custGeom>
                <a:avLst/>
                <a:gdLst>
                  <a:gd name="T0" fmla="*/ 13 w 24"/>
                  <a:gd name="T1" fmla="*/ 36 h 36"/>
                  <a:gd name="T2" fmla="*/ 13 w 24"/>
                  <a:gd name="T3" fmla="*/ 36 h 36"/>
                  <a:gd name="T4" fmla="*/ 4 w 24"/>
                  <a:gd name="T5" fmla="*/ 35 h 36"/>
                  <a:gd name="T6" fmla="*/ 0 w 24"/>
                  <a:gd name="T7" fmla="*/ 33 h 36"/>
                  <a:gd name="T8" fmla="*/ 0 w 24"/>
                  <a:gd name="T9" fmla="*/ 32 h 36"/>
                  <a:gd name="T10" fmla="*/ 0 w 24"/>
                  <a:gd name="T11" fmla="*/ 30 h 36"/>
                  <a:gd name="T12" fmla="*/ 0 w 24"/>
                  <a:gd name="T13" fmla="*/ 30 h 36"/>
                  <a:gd name="T14" fmla="*/ 2 w 24"/>
                  <a:gd name="T15" fmla="*/ 22 h 36"/>
                  <a:gd name="T16" fmla="*/ 5 w 24"/>
                  <a:gd name="T17" fmla="*/ 16 h 36"/>
                  <a:gd name="T18" fmla="*/ 8 w 24"/>
                  <a:gd name="T19" fmla="*/ 13 h 36"/>
                  <a:gd name="T20" fmla="*/ 8 w 24"/>
                  <a:gd name="T21" fmla="*/ 13 h 36"/>
                  <a:gd name="T22" fmla="*/ 15 w 24"/>
                  <a:gd name="T23" fmla="*/ 10 h 36"/>
                  <a:gd name="T24" fmla="*/ 18 w 24"/>
                  <a:gd name="T25" fmla="*/ 9 h 36"/>
                  <a:gd name="T26" fmla="*/ 20 w 24"/>
                  <a:gd name="T27" fmla="*/ 7 h 36"/>
                  <a:gd name="T28" fmla="*/ 20 w 24"/>
                  <a:gd name="T29" fmla="*/ 7 h 36"/>
                  <a:gd name="T30" fmla="*/ 23 w 24"/>
                  <a:gd name="T31" fmla="*/ 1 h 36"/>
                  <a:gd name="T32" fmla="*/ 24 w 24"/>
                  <a:gd name="T33" fmla="*/ 0 h 36"/>
                  <a:gd name="T34" fmla="*/ 24 w 24"/>
                  <a:gd name="T35" fmla="*/ 0 h 36"/>
                  <a:gd name="T36" fmla="*/ 24 w 24"/>
                  <a:gd name="T37" fmla="*/ 0 h 36"/>
                  <a:gd name="T38" fmla="*/ 24 w 24"/>
                  <a:gd name="T39" fmla="*/ 12 h 36"/>
                  <a:gd name="T40" fmla="*/ 24 w 24"/>
                  <a:gd name="T41" fmla="*/ 23 h 36"/>
                  <a:gd name="T42" fmla="*/ 24 w 24"/>
                  <a:gd name="T43" fmla="*/ 23 h 36"/>
                  <a:gd name="T44" fmla="*/ 20 w 24"/>
                  <a:gd name="T45" fmla="*/ 26 h 36"/>
                  <a:gd name="T46" fmla="*/ 18 w 24"/>
                  <a:gd name="T47" fmla="*/ 27 h 36"/>
                  <a:gd name="T48" fmla="*/ 17 w 24"/>
                  <a:gd name="T49" fmla="*/ 29 h 36"/>
                  <a:gd name="T50" fmla="*/ 17 w 24"/>
                  <a:gd name="T51" fmla="*/ 29 h 36"/>
                  <a:gd name="T52" fmla="*/ 15 w 24"/>
                  <a:gd name="T53" fmla="*/ 35 h 36"/>
                  <a:gd name="T54" fmla="*/ 14 w 24"/>
                  <a:gd name="T55" fmla="*/ 36 h 36"/>
                  <a:gd name="T56" fmla="*/ 13 w 24"/>
                  <a:gd name="T5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4" h="36">
                    <a:moveTo>
                      <a:pt x="13" y="36"/>
                    </a:moveTo>
                    <a:lnTo>
                      <a:pt x="13" y="36"/>
                    </a:lnTo>
                    <a:lnTo>
                      <a:pt x="4" y="35"/>
                    </a:lnTo>
                    <a:lnTo>
                      <a:pt x="0" y="33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22"/>
                    </a:lnTo>
                    <a:lnTo>
                      <a:pt x="5" y="16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15" y="10"/>
                    </a:lnTo>
                    <a:lnTo>
                      <a:pt x="18" y="9"/>
                    </a:lnTo>
                    <a:lnTo>
                      <a:pt x="20" y="7"/>
                    </a:lnTo>
                    <a:lnTo>
                      <a:pt x="20" y="7"/>
                    </a:lnTo>
                    <a:lnTo>
                      <a:pt x="23" y="1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12"/>
                    </a:lnTo>
                    <a:lnTo>
                      <a:pt x="24" y="23"/>
                    </a:lnTo>
                    <a:lnTo>
                      <a:pt x="24" y="23"/>
                    </a:lnTo>
                    <a:lnTo>
                      <a:pt x="20" y="26"/>
                    </a:lnTo>
                    <a:lnTo>
                      <a:pt x="18" y="27"/>
                    </a:lnTo>
                    <a:lnTo>
                      <a:pt x="17" y="29"/>
                    </a:lnTo>
                    <a:lnTo>
                      <a:pt x="17" y="29"/>
                    </a:lnTo>
                    <a:lnTo>
                      <a:pt x="15" y="35"/>
                    </a:lnTo>
                    <a:lnTo>
                      <a:pt x="14" y="36"/>
                    </a:lnTo>
                    <a:lnTo>
                      <a:pt x="13" y="3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78" name="Freeform 28"/>
              <p:cNvSpPr>
                <a:spLocks/>
              </p:cNvSpPr>
              <p:nvPr/>
            </p:nvSpPr>
            <p:spPr bwMode="auto">
              <a:xfrm>
                <a:off x="2498512" y="1417760"/>
                <a:ext cx="23742" cy="35613"/>
              </a:xfrm>
              <a:custGeom>
                <a:avLst/>
                <a:gdLst>
                  <a:gd name="T0" fmla="*/ 13 w 24"/>
                  <a:gd name="T1" fmla="*/ 36 h 36"/>
                  <a:gd name="T2" fmla="*/ 13 w 24"/>
                  <a:gd name="T3" fmla="*/ 36 h 36"/>
                  <a:gd name="T4" fmla="*/ 4 w 24"/>
                  <a:gd name="T5" fmla="*/ 35 h 36"/>
                  <a:gd name="T6" fmla="*/ 0 w 24"/>
                  <a:gd name="T7" fmla="*/ 33 h 36"/>
                  <a:gd name="T8" fmla="*/ 0 w 24"/>
                  <a:gd name="T9" fmla="*/ 32 h 36"/>
                  <a:gd name="T10" fmla="*/ 0 w 24"/>
                  <a:gd name="T11" fmla="*/ 30 h 36"/>
                  <a:gd name="T12" fmla="*/ 0 w 24"/>
                  <a:gd name="T13" fmla="*/ 30 h 36"/>
                  <a:gd name="T14" fmla="*/ 2 w 24"/>
                  <a:gd name="T15" fmla="*/ 22 h 36"/>
                  <a:gd name="T16" fmla="*/ 5 w 24"/>
                  <a:gd name="T17" fmla="*/ 16 h 36"/>
                  <a:gd name="T18" fmla="*/ 8 w 24"/>
                  <a:gd name="T19" fmla="*/ 13 h 36"/>
                  <a:gd name="T20" fmla="*/ 8 w 24"/>
                  <a:gd name="T21" fmla="*/ 13 h 36"/>
                  <a:gd name="T22" fmla="*/ 15 w 24"/>
                  <a:gd name="T23" fmla="*/ 10 h 36"/>
                  <a:gd name="T24" fmla="*/ 18 w 24"/>
                  <a:gd name="T25" fmla="*/ 9 h 36"/>
                  <a:gd name="T26" fmla="*/ 20 w 24"/>
                  <a:gd name="T27" fmla="*/ 7 h 36"/>
                  <a:gd name="T28" fmla="*/ 20 w 24"/>
                  <a:gd name="T29" fmla="*/ 7 h 36"/>
                  <a:gd name="T30" fmla="*/ 23 w 24"/>
                  <a:gd name="T31" fmla="*/ 1 h 36"/>
                  <a:gd name="T32" fmla="*/ 24 w 24"/>
                  <a:gd name="T33" fmla="*/ 0 h 36"/>
                  <a:gd name="T34" fmla="*/ 24 w 24"/>
                  <a:gd name="T35" fmla="*/ 0 h 36"/>
                  <a:gd name="T36" fmla="*/ 24 w 24"/>
                  <a:gd name="T37" fmla="*/ 0 h 36"/>
                  <a:gd name="T38" fmla="*/ 24 w 24"/>
                  <a:gd name="T39" fmla="*/ 12 h 36"/>
                  <a:gd name="T40" fmla="*/ 24 w 24"/>
                  <a:gd name="T41" fmla="*/ 23 h 36"/>
                  <a:gd name="T42" fmla="*/ 24 w 24"/>
                  <a:gd name="T43" fmla="*/ 23 h 36"/>
                  <a:gd name="T44" fmla="*/ 20 w 24"/>
                  <a:gd name="T45" fmla="*/ 26 h 36"/>
                  <a:gd name="T46" fmla="*/ 18 w 24"/>
                  <a:gd name="T47" fmla="*/ 27 h 36"/>
                  <a:gd name="T48" fmla="*/ 17 w 24"/>
                  <a:gd name="T49" fmla="*/ 29 h 36"/>
                  <a:gd name="T50" fmla="*/ 17 w 24"/>
                  <a:gd name="T51" fmla="*/ 29 h 36"/>
                  <a:gd name="T52" fmla="*/ 15 w 24"/>
                  <a:gd name="T53" fmla="*/ 35 h 36"/>
                  <a:gd name="T54" fmla="*/ 14 w 24"/>
                  <a:gd name="T55" fmla="*/ 36 h 36"/>
                  <a:gd name="T56" fmla="*/ 13 w 24"/>
                  <a:gd name="T5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4" h="36">
                    <a:moveTo>
                      <a:pt x="13" y="36"/>
                    </a:moveTo>
                    <a:lnTo>
                      <a:pt x="13" y="36"/>
                    </a:lnTo>
                    <a:lnTo>
                      <a:pt x="4" y="35"/>
                    </a:lnTo>
                    <a:lnTo>
                      <a:pt x="0" y="33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22"/>
                    </a:lnTo>
                    <a:lnTo>
                      <a:pt x="5" y="16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15" y="10"/>
                    </a:lnTo>
                    <a:lnTo>
                      <a:pt x="18" y="9"/>
                    </a:lnTo>
                    <a:lnTo>
                      <a:pt x="20" y="7"/>
                    </a:lnTo>
                    <a:lnTo>
                      <a:pt x="20" y="7"/>
                    </a:lnTo>
                    <a:lnTo>
                      <a:pt x="23" y="1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12"/>
                    </a:lnTo>
                    <a:lnTo>
                      <a:pt x="24" y="23"/>
                    </a:lnTo>
                    <a:lnTo>
                      <a:pt x="24" y="23"/>
                    </a:lnTo>
                    <a:lnTo>
                      <a:pt x="20" y="26"/>
                    </a:lnTo>
                    <a:lnTo>
                      <a:pt x="18" y="27"/>
                    </a:lnTo>
                    <a:lnTo>
                      <a:pt x="17" y="29"/>
                    </a:lnTo>
                    <a:lnTo>
                      <a:pt x="17" y="29"/>
                    </a:lnTo>
                    <a:lnTo>
                      <a:pt x="15" y="35"/>
                    </a:lnTo>
                    <a:lnTo>
                      <a:pt x="14" y="36"/>
                    </a:lnTo>
                    <a:lnTo>
                      <a:pt x="13" y="3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79" name="Freeform 29"/>
              <p:cNvSpPr>
                <a:spLocks/>
              </p:cNvSpPr>
              <p:nvPr/>
            </p:nvSpPr>
            <p:spPr bwMode="auto">
              <a:xfrm>
                <a:off x="2441135" y="1319823"/>
                <a:ext cx="118711" cy="111786"/>
              </a:xfrm>
              <a:custGeom>
                <a:avLst/>
                <a:gdLst>
                  <a:gd name="T0" fmla="*/ 43 w 120"/>
                  <a:gd name="T1" fmla="*/ 113 h 113"/>
                  <a:gd name="T2" fmla="*/ 40 w 120"/>
                  <a:gd name="T3" fmla="*/ 106 h 113"/>
                  <a:gd name="T4" fmla="*/ 34 w 120"/>
                  <a:gd name="T5" fmla="*/ 102 h 113"/>
                  <a:gd name="T6" fmla="*/ 36 w 120"/>
                  <a:gd name="T7" fmla="*/ 97 h 113"/>
                  <a:gd name="T8" fmla="*/ 34 w 120"/>
                  <a:gd name="T9" fmla="*/ 92 h 113"/>
                  <a:gd name="T10" fmla="*/ 30 w 120"/>
                  <a:gd name="T11" fmla="*/ 96 h 113"/>
                  <a:gd name="T12" fmla="*/ 29 w 120"/>
                  <a:gd name="T13" fmla="*/ 105 h 113"/>
                  <a:gd name="T14" fmla="*/ 26 w 120"/>
                  <a:gd name="T15" fmla="*/ 108 h 113"/>
                  <a:gd name="T16" fmla="*/ 20 w 120"/>
                  <a:gd name="T17" fmla="*/ 102 h 113"/>
                  <a:gd name="T18" fmla="*/ 13 w 120"/>
                  <a:gd name="T19" fmla="*/ 111 h 113"/>
                  <a:gd name="T20" fmla="*/ 10 w 120"/>
                  <a:gd name="T21" fmla="*/ 111 h 113"/>
                  <a:gd name="T22" fmla="*/ 7 w 120"/>
                  <a:gd name="T23" fmla="*/ 106 h 113"/>
                  <a:gd name="T24" fmla="*/ 4 w 120"/>
                  <a:gd name="T25" fmla="*/ 105 h 113"/>
                  <a:gd name="T26" fmla="*/ 7 w 120"/>
                  <a:gd name="T27" fmla="*/ 100 h 113"/>
                  <a:gd name="T28" fmla="*/ 11 w 120"/>
                  <a:gd name="T29" fmla="*/ 93 h 113"/>
                  <a:gd name="T30" fmla="*/ 4 w 120"/>
                  <a:gd name="T31" fmla="*/ 97 h 113"/>
                  <a:gd name="T32" fmla="*/ 0 w 120"/>
                  <a:gd name="T33" fmla="*/ 96 h 113"/>
                  <a:gd name="T34" fmla="*/ 5 w 120"/>
                  <a:gd name="T35" fmla="*/ 86 h 113"/>
                  <a:gd name="T36" fmla="*/ 13 w 120"/>
                  <a:gd name="T37" fmla="*/ 79 h 113"/>
                  <a:gd name="T38" fmla="*/ 21 w 120"/>
                  <a:gd name="T39" fmla="*/ 79 h 113"/>
                  <a:gd name="T40" fmla="*/ 30 w 120"/>
                  <a:gd name="T41" fmla="*/ 63 h 113"/>
                  <a:gd name="T42" fmla="*/ 37 w 120"/>
                  <a:gd name="T43" fmla="*/ 55 h 113"/>
                  <a:gd name="T44" fmla="*/ 40 w 120"/>
                  <a:gd name="T45" fmla="*/ 50 h 113"/>
                  <a:gd name="T46" fmla="*/ 56 w 120"/>
                  <a:gd name="T47" fmla="*/ 24 h 113"/>
                  <a:gd name="T48" fmla="*/ 66 w 120"/>
                  <a:gd name="T49" fmla="*/ 16 h 113"/>
                  <a:gd name="T50" fmla="*/ 76 w 120"/>
                  <a:gd name="T51" fmla="*/ 15 h 113"/>
                  <a:gd name="T52" fmla="*/ 88 w 120"/>
                  <a:gd name="T53" fmla="*/ 15 h 113"/>
                  <a:gd name="T54" fmla="*/ 98 w 120"/>
                  <a:gd name="T55" fmla="*/ 16 h 113"/>
                  <a:gd name="T56" fmla="*/ 92 w 120"/>
                  <a:gd name="T57" fmla="*/ 11 h 113"/>
                  <a:gd name="T58" fmla="*/ 98 w 120"/>
                  <a:gd name="T59" fmla="*/ 2 h 113"/>
                  <a:gd name="T60" fmla="*/ 104 w 120"/>
                  <a:gd name="T61" fmla="*/ 0 h 113"/>
                  <a:gd name="T62" fmla="*/ 120 w 120"/>
                  <a:gd name="T63" fmla="*/ 16 h 113"/>
                  <a:gd name="T64" fmla="*/ 110 w 120"/>
                  <a:gd name="T65" fmla="*/ 25 h 113"/>
                  <a:gd name="T66" fmla="*/ 102 w 120"/>
                  <a:gd name="T67" fmla="*/ 32 h 113"/>
                  <a:gd name="T68" fmla="*/ 111 w 120"/>
                  <a:gd name="T69" fmla="*/ 41 h 113"/>
                  <a:gd name="T70" fmla="*/ 108 w 120"/>
                  <a:gd name="T71" fmla="*/ 44 h 113"/>
                  <a:gd name="T72" fmla="*/ 107 w 120"/>
                  <a:gd name="T73" fmla="*/ 47 h 113"/>
                  <a:gd name="T74" fmla="*/ 105 w 120"/>
                  <a:gd name="T75" fmla="*/ 63 h 113"/>
                  <a:gd name="T76" fmla="*/ 100 w 120"/>
                  <a:gd name="T77" fmla="*/ 67 h 113"/>
                  <a:gd name="T78" fmla="*/ 94 w 120"/>
                  <a:gd name="T79" fmla="*/ 79 h 113"/>
                  <a:gd name="T80" fmla="*/ 92 w 120"/>
                  <a:gd name="T81" fmla="*/ 89 h 113"/>
                  <a:gd name="T82" fmla="*/ 87 w 120"/>
                  <a:gd name="T83" fmla="*/ 87 h 113"/>
                  <a:gd name="T84" fmla="*/ 79 w 120"/>
                  <a:gd name="T85" fmla="*/ 70 h 113"/>
                  <a:gd name="T86" fmla="*/ 84 w 120"/>
                  <a:gd name="T87" fmla="*/ 58 h 113"/>
                  <a:gd name="T88" fmla="*/ 85 w 120"/>
                  <a:gd name="T89" fmla="*/ 54 h 113"/>
                  <a:gd name="T90" fmla="*/ 73 w 120"/>
                  <a:gd name="T91" fmla="*/ 57 h 113"/>
                  <a:gd name="T92" fmla="*/ 73 w 120"/>
                  <a:gd name="T93" fmla="*/ 61 h 113"/>
                  <a:gd name="T94" fmla="*/ 72 w 120"/>
                  <a:gd name="T95" fmla="*/ 69 h 113"/>
                  <a:gd name="T96" fmla="*/ 66 w 120"/>
                  <a:gd name="T97" fmla="*/ 71 h 113"/>
                  <a:gd name="T98" fmla="*/ 68 w 120"/>
                  <a:gd name="T99" fmla="*/ 74 h 113"/>
                  <a:gd name="T100" fmla="*/ 71 w 120"/>
                  <a:gd name="T101" fmla="*/ 79 h 113"/>
                  <a:gd name="T102" fmla="*/ 65 w 120"/>
                  <a:gd name="T103" fmla="*/ 90 h 113"/>
                  <a:gd name="T104" fmla="*/ 62 w 120"/>
                  <a:gd name="T105" fmla="*/ 100 h 113"/>
                  <a:gd name="T106" fmla="*/ 60 w 120"/>
                  <a:gd name="T107" fmla="*/ 100 h 113"/>
                  <a:gd name="T108" fmla="*/ 55 w 120"/>
                  <a:gd name="T109" fmla="*/ 89 h 113"/>
                  <a:gd name="T110" fmla="*/ 53 w 120"/>
                  <a:gd name="T111" fmla="*/ 95 h 113"/>
                  <a:gd name="T112" fmla="*/ 52 w 120"/>
                  <a:gd name="T113" fmla="*/ 97 h 113"/>
                  <a:gd name="T114" fmla="*/ 55 w 120"/>
                  <a:gd name="T115" fmla="*/ 106 h 113"/>
                  <a:gd name="T116" fmla="*/ 49 w 120"/>
                  <a:gd name="T117" fmla="*/ 111 h 113"/>
                  <a:gd name="T118" fmla="*/ 45 w 120"/>
                  <a:gd name="T119" fmla="*/ 11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0" h="113">
                    <a:moveTo>
                      <a:pt x="43" y="113"/>
                    </a:moveTo>
                    <a:lnTo>
                      <a:pt x="43" y="113"/>
                    </a:lnTo>
                    <a:lnTo>
                      <a:pt x="43" y="113"/>
                    </a:lnTo>
                    <a:lnTo>
                      <a:pt x="43" y="111"/>
                    </a:lnTo>
                    <a:lnTo>
                      <a:pt x="42" y="109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34" y="103"/>
                    </a:lnTo>
                    <a:lnTo>
                      <a:pt x="34" y="102"/>
                    </a:lnTo>
                    <a:lnTo>
                      <a:pt x="34" y="99"/>
                    </a:lnTo>
                    <a:lnTo>
                      <a:pt x="34" y="99"/>
                    </a:lnTo>
                    <a:lnTo>
                      <a:pt x="36" y="97"/>
                    </a:lnTo>
                    <a:lnTo>
                      <a:pt x="36" y="95"/>
                    </a:lnTo>
                    <a:lnTo>
                      <a:pt x="36" y="93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0" y="95"/>
                    </a:lnTo>
                    <a:lnTo>
                      <a:pt x="30" y="96"/>
                    </a:lnTo>
                    <a:lnTo>
                      <a:pt x="29" y="97"/>
                    </a:lnTo>
                    <a:lnTo>
                      <a:pt x="29" y="97"/>
                    </a:lnTo>
                    <a:lnTo>
                      <a:pt x="29" y="105"/>
                    </a:lnTo>
                    <a:lnTo>
                      <a:pt x="27" y="10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3" y="103"/>
                    </a:lnTo>
                    <a:lnTo>
                      <a:pt x="21" y="102"/>
                    </a:lnTo>
                    <a:lnTo>
                      <a:pt x="20" y="102"/>
                    </a:lnTo>
                    <a:lnTo>
                      <a:pt x="20" y="102"/>
                    </a:lnTo>
                    <a:lnTo>
                      <a:pt x="16" y="109"/>
                    </a:lnTo>
                    <a:lnTo>
                      <a:pt x="13" y="111"/>
                    </a:lnTo>
                    <a:lnTo>
                      <a:pt x="11" y="112"/>
                    </a:lnTo>
                    <a:lnTo>
                      <a:pt x="10" y="111"/>
                    </a:lnTo>
                    <a:lnTo>
                      <a:pt x="10" y="111"/>
                    </a:lnTo>
                    <a:lnTo>
                      <a:pt x="8" y="109"/>
                    </a:lnTo>
                    <a:lnTo>
                      <a:pt x="7" y="106"/>
                    </a:lnTo>
                    <a:lnTo>
                      <a:pt x="7" y="106"/>
                    </a:lnTo>
                    <a:lnTo>
                      <a:pt x="5" y="105"/>
                    </a:lnTo>
                    <a:lnTo>
                      <a:pt x="5" y="105"/>
                    </a:lnTo>
                    <a:lnTo>
                      <a:pt x="4" y="105"/>
                    </a:lnTo>
                    <a:lnTo>
                      <a:pt x="4" y="103"/>
                    </a:lnTo>
                    <a:lnTo>
                      <a:pt x="7" y="100"/>
                    </a:lnTo>
                    <a:lnTo>
                      <a:pt x="7" y="100"/>
                    </a:lnTo>
                    <a:lnTo>
                      <a:pt x="10" y="97"/>
                    </a:lnTo>
                    <a:lnTo>
                      <a:pt x="11" y="95"/>
                    </a:lnTo>
                    <a:lnTo>
                      <a:pt x="11" y="93"/>
                    </a:lnTo>
                    <a:lnTo>
                      <a:pt x="10" y="93"/>
                    </a:lnTo>
                    <a:lnTo>
                      <a:pt x="10" y="93"/>
                    </a:lnTo>
                    <a:lnTo>
                      <a:pt x="4" y="97"/>
                    </a:lnTo>
                    <a:lnTo>
                      <a:pt x="1" y="97"/>
                    </a:lnTo>
                    <a:lnTo>
                      <a:pt x="0" y="97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3" y="92"/>
                    </a:lnTo>
                    <a:lnTo>
                      <a:pt x="5" y="86"/>
                    </a:lnTo>
                    <a:lnTo>
                      <a:pt x="10" y="80"/>
                    </a:lnTo>
                    <a:lnTo>
                      <a:pt x="10" y="80"/>
                    </a:lnTo>
                    <a:lnTo>
                      <a:pt x="13" y="79"/>
                    </a:lnTo>
                    <a:lnTo>
                      <a:pt x="16" y="79"/>
                    </a:lnTo>
                    <a:lnTo>
                      <a:pt x="18" y="80"/>
                    </a:lnTo>
                    <a:lnTo>
                      <a:pt x="21" y="79"/>
                    </a:lnTo>
                    <a:lnTo>
                      <a:pt x="21" y="79"/>
                    </a:lnTo>
                    <a:lnTo>
                      <a:pt x="27" y="69"/>
                    </a:lnTo>
                    <a:lnTo>
                      <a:pt x="30" y="63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7" y="55"/>
                    </a:lnTo>
                    <a:lnTo>
                      <a:pt x="40" y="53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43" y="44"/>
                    </a:lnTo>
                    <a:lnTo>
                      <a:pt x="50" y="34"/>
                    </a:lnTo>
                    <a:lnTo>
                      <a:pt x="56" y="24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6" y="16"/>
                    </a:lnTo>
                    <a:lnTo>
                      <a:pt x="69" y="16"/>
                    </a:lnTo>
                    <a:lnTo>
                      <a:pt x="73" y="16"/>
                    </a:lnTo>
                    <a:lnTo>
                      <a:pt x="76" y="15"/>
                    </a:lnTo>
                    <a:lnTo>
                      <a:pt x="76" y="15"/>
                    </a:lnTo>
                    <a:lnTo>
                      <a:pt x="81" y="15"/>
                    </a:lnTo>
                    <a:lnTo>
                      <a:pt x="88" y="15"/>
                    </a:lnTo>
                    <a:lnTo>
                      <a:pt x="94" y="16"/>
                    </a:lnTo>
                    <a:lnTo>
                      <a:pt x="98" y="16"/>
                    </a:lnTo>
                    <a:lnTo>
                      <a:pt x="98" y="16"/>
                    </a:lnTo>
                    <a:lnTo>
                      <a:pt x="97" y="15"/>
                    </a:lnTo>
                    <a:lnTo>
                      <a:pt x="95" y="13"/>
                    </a:lnTo>
                    <a:lnTo>
                      <a:pt x="92" y="11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8" y="2"/>
                    </a:lnTo>
                    <a:lnTo>
                      <a:pt x="101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14" y="9"/>
                    </a:lnTo>
                    <a:lnTo>
                      <a:pt x="118" y="13"/>
                    </a:lnTo>
                    <a:lnTo>
                      <a:pt x="120" y="16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10" y="25"/>
                    </a:lnTo>
                    <a:lnTo>
                      <a:pt x="104" y="29"/>
                    </a:lnTo>
                    <a:lnTo>
                      <a:pt x="102" y="31"/>
                    </a:lnTo>
                    <a:lnTo>
                      <a:pt x="102" y="32"/>
                    </a:lnTo>
                    <a:lnTo>
                      <a:pt x="102" y="32"/>
                    </a:lnTo>
                    <a:lnTo>
                      <a:pt x="108" y="38"/>
                    </a:lnTo>
                    <a:lnTo>
                      <a:pt x="111" y="41"/>
                    </a:lnTo>
                    <a:lnTo>
                      <a:pt x="111" y="42"/>
                    </a:lnTo>
                    <a:lnTo>
                      <a:pt x="111" y="42"/>
                    </a:lnTo>
                    <a:lnTo>
                      <a:pt x="108" y="44"/>
                    </a:lnTo>
                    <a:lnTo>
                      <a:pt x="107" y="45"/>
                    </a:lnTo>
                    <a:lnTo>
                      <a:pt x="107" y="47"/>
                    </a:lnTo>
                    <a:lnTo>
                      <a:pt x="107" y="47"/>
                    </a:lnTo>
                    <a:lnTo>
                      <a:pt x="108" y="57"/>
                    </a:lnTo>
                    <a:lnTo>
                      <a:pt x="108" y="57"/>
                    </a:lnTo>
                    <a:lnTo>
                      <a:pt x="105" y="63"/>
                    </a:lnTo>
                    <a:lnTo>
                      <a:pt x="104" y="64"/>
                    </a:lnTo>
                    <a:lnTo>
                      <a:pt x="100" y="67"/>
                    </a:lnTo>
                    <a:lnTo>
                      <a:pt x="100" y="67"/>
                    </a:lnTo>
                    <a:lnTo>
                      <a:pt x="97" y="69"/>
                    </a:lnTo>
                    <a:lnTo>
                      <a:pt x="95" y="71"/>
                    </a:lnTo>
                    <a:lnTo>
                      <a:pt x="94" y="79"/>
                    </a:lnTo>
                    <a:lnTo>
                      <a:pt x="94" y="79"/>
                    </a:lnTo>
                    <a:lnTo>
                      <a:pt x="94" y="86"/>
                    </a:lnTo>
                    <a:lnTo>
                      <a:pt x="92" y="89"/>
                    </a:lnTo>
                    <a:lnTo>
                      <a:pt x="88" y="89"/>
                    </a:lnTo>
                    <a:lnTo>
                      <a:pt x="88" y="89"/>
                    </a:lnTo>
                    <a:lnTo>
                      <a:pt x="87" y="87"/>
                    </a:lnTo>
                    <a:lnTo>
                      <a:pt x="85" y="84"/>
                    </a:lnTo>
                    <a:lnTo>
                      <a:pt x="81" y="77"/>
                    </a:lnTo>
                    <a:lnTo>
                      <a:pt x="79" y="70"/>
                    </a:lnTo>
                    <a:lnTo>
                      <a:pt x="79" y="66"/>
                    </a:lnTo>
                    <a:lnTo>
                      <a:pt x="79" y="66"/>
                    </a:lnTo>
                    <a:lnTo>
                      <a:pt x="84" y="58"/>
                    </a:lnTo>
                    <a:lnTo>
                      <a:pt x="85" y="55"/>
                    </a:lnTo>
                    <a:lnTo>
                      <a:pt x="85" y="54"/>
                    </a:lnTo>
                    <a:lnTo>
                      <a:pt x="85" y="54"/>
                    </a:lnTo>
                    <a:lnTo>
                      <a:pt x="79" y="54"/>
                    </a:lnTo>
                    <a:lnTo>
                      <a:pt x="75" y="55"/>
                    </a:lnTo>
                    <a:lnTo>
                      <a:pt x="73" y="57"/>
                    </a:lnTo>
                    <a:lnTo>
                      <a:pt x="73" y="57"/>
                    </a:lnTo>
                    <a:lnTo>
                      <a:pt x="73" y="58"/>
                    </a:lnTo>
                    <a:lnTo>
                      <a:pt x="73" y="61"/>
                    </a:lnTo>
                    <a:lnTo>
                      <a:pt x="73" y="67"/>
                    </a:lnTo>
                    <a:lnTo>
                      <a:pt x="73" y="67"/>
                    </a:lnTo>
                    <a:lnTo>
                      <a:pt x="72" y="69"/>
                    </a:lnTo>
                    <a:lnTo>
                      <a:pt x="69" y="70"/>
                    </a:lnTo>
                    <a:lnTo>
                      <a:pt x="68" y="70"/>
                    </a:lnTo>
                    <a:lnTo>
                      <a:pt x="66" y="71"/>
                    </a:lnTo>
                    <a:lnTo>
                      <a:pt x="66" y="71"/>
                    </a:lnTo>
                    <a:lnTo>
                      <a:pt x="66" y="73"/>
                    </a:lnTo>
                    <a:lnTo>
                      <a:pt x="68" y="74"/>
                    </a:lnTo>
                    <a:lnTo>
                      <a:pt x="69" y="77"/>
                    </a:lnTo>
                    <a:lnTo>
                      <a:pt x="71" y="79"/>
                    </a:lnTo>
                    <a:lnTo>
                      <a:pt x="71" y="79"/>
                    </a:lnTo>
                    <a:lnTo>
                      <a:pt x="69" y="82"/>
                    </a:lnTo>
                    <a:lnTo>
                      <a:pt x="68" y="86"/>
                    </a:lnTo>
                    <a:lnTo>
                      <a:pt x="65" y="90"/>
                    </a:lnTo>
                    <a:lnTo>
                      <a:pt x="65" y="90"/>
                    </a:lnTo>
                    <a:lnTo>
                      <a:pt x="63" y="97"/>
                    </a:lnTo>
                    <a:lnTo>
                      <a:pt x="62" y="100"/>
                    </a:lnTo>
                    <a:lnTo>
                      <a:pt x="62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92"/>
                    </a:lnTo>
                    <a:lnTo>
                      <a:pt x="55" y="89"/>
                    </a:lnTo>
                    <a:lnTo>
                      <a:pt x="55" y="89"/>
                    </a:lnTo>
                    <a:lnTo>
                      <a:pt x="55" y="89"/>
                    </a:lnTo>
                    <a:lnTo>
                      <a:pt x="55" y="89"/>
                    </a:lnTo>
                    <a:lnTo>
                      <a:pt x="53" y="95"/>
                    </a:lnTo>
                    <a:lnTo>
                      <a:pt x="52" y="96"/>
                    </a:lnTo>
                    <a:lnTo>
                      <a:pt x="52" y="97"/>
                    </a:lnTo>
                    <a:lnTo>
                      <a:pt x="52" y="97"/>
                    </a:lnTo>
                    <a:lnTo>
                      <a:pt x="55" y="102"/>
                    </a:lnTo>
                    <a:lnTo>
                      <a:pt x="55" y="103"/>
                    </a:lnTo>
                    <a:lnTo>
                      <a:pt x="55" y="106"/>
                    </a:lnTo>
                    <a:lnTo>
                      <a:pt x="55" y="106"/>
                    </a:lnTo>
                    <a:lnTo>
                      <a:pt x="52" y="109"/>
                    </a:lnTo>
                    <a:lnTo>
                      <a:pt x="49" y="111"/>
                    </a:lnTo>
                    <a:lnTo>
                      <a:pt x="49" y="111"/>
                    </a:lnTo>
                    <a:lnTo>
                      <a:pt x="46" y="111"/>
                    </a:lnTo>
                    <a:lnTo>
                      <a:pt x="45" y="111"/>
                    </a:lnTo>
                    <a:lnTo>
                      <a:pt x="43" y="11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80" name="Freeform 30"/>
              <p:cNvSpPr>
                <a:spLocks/>
              </p:cNvSpPr>
              <p:nvPr/>
            </p:nvSpPr>
            <p:spPr bwMode="auto">
              <a:xfrm>
                <a:off x="2441135" y="1319823"/>
                <a:ext cx="118711" cy="111786"/>
              </a:xfrm>
              <a:custGeom>
                <a:avLst/>
                <a:gdLst>
                  <a:gd name="T0" fmla="*/ 43 w 120"/>
                  <a:gd name="T1" fmla="*/ 113 h 113"/>
                  <a:gd name="T2" fmla="*/ 40 w 120"/>
                  <a:gd name="T3" fmla="*/ 106 h 113"/>
                  <a:gd name="T4" fmla="*/ 34 w 120"/>
                  <a:gd name="T5" fmla="*/ 102 h 113"/>
                  <a:gd name="T6" fmla="*/ 36 w 120"/>
                  <a:gd name="T7" fmla="*/ 97 h 113"/>
                  <a:gd name="T8" fmla="*/ 34 w 120"/>
                  <a:gd name="T9" fmla="*/ 92 h 113"/>
                  <a:gd name="T10" fmla="*/ 30 w 120"/>
                  <a:gd name="T11" fmla="*/ 96 h 113"/>
                  <a:gd name="T12" fmla="*/ 29 w 120"/>
                  <a:gd name="T13" fmla="*/ 105 h 113"/>
                  <a:gd name="T14" fmla="*/ 26 w 120"/>
                  <a:gd name="T15" fmla="*/ 108 h 113"/>
                  <a:gd name="T16" fmla="*/ 20 w 120"/>
                  <a:gd name="T17" fmla="*/ 102 h 113"/>
                  <a:gd name="T18" fmla="*/ 13 w 120"/>
                  <a:gd name="T19" fmla="*/ 111 h 113"/>
                  <a:gd name="T20" fmla="*/ 10 w 120"/>
                  <a:gd name="T21" fmla="*/ 111 h 113"/>
                  <a:gd name="T22" fmla="*/ 7 w 120"/>
                  <a:gd name="T23" fmla="*/ 106 h 113"/>
                  <a:gd name="T24" fmla="*/ 4 w 120"/>
                  <a:gd name="T25" fmla="*/ 105 h 113"/>
                  <a:gd name="T26" fmla="*/ 7 w 120"/>
                  <a:gd name="T27" fmla="*/ 100 h 113"/>
                  <a:gd name="T28" fmla="*/ 11 w 120"/>
                  <a:gd name="T29" fmla="*/ 93 h 113"/>
                  <a:gd name="T30" fmla="*/ 4 w 120"/>
                  <a:gd name="T31" fmla="*/ 97 h 113"/>
                  <a:gd name="T32" fmla="*/ 0 w 120"/>
                  <a:gd name="T33" fmla="*/ 96 h 113"/>
                  <a:gd name="T34" fmla="*/ 5 w 120"/>
                  <a:gd name="T35" fmla="*/ 86 h 113"/>
                  <a:gd name="T36" fmla="*/ 13 w 120"/>
                  <a:gd name="T37" fmla="*/ 79 h 113"/>
                  <a:gd name="T38" fmla="*/ 21 w 120"/>
                  <a:gd name="T39" fmla="*/ 79 h 113"/>
                  <a:gd name="T40" fmla="*/ 30 w 120"/>
                  <a:gd name="T41" fmla="*/ 63 h 113"/>
                  <a:gd name="T42" fmla="*/ 37 w 120"/>
                  <a:gd name="T43" fmla="*/ 55 h 113"/>
                  <a:gd name="T44" fmla="*/ 40 w 120"/>
                  <a:gd name="T45" fmla="*/ 50 h 113"/>
                  <a:gd name="T46" fmla="*/ 56 w 120"/>
                  <a:gd name="T47" fmla="*/ 24 h 113"/>
                  <a:gd name="T48" fmla="*/ 66 w 120"/>
                  <a:gd name="T49" fmla="*/ 16 h 113"/>
                  <a:gd name="T50" fmla="*/ 76 w 120"/>
                  <a:gd name="T51" fmla="*/ 15 h 113"/>
                  <a:gd name="T52" fmla="*/ 88 w 120"/>
                  <a:gd name="T53" fmla="*/ 15 h 113"/>
                  <a:gd name="T54" fmla="*/ 98 w 120"/>
                  <a:gd name="T55" fmla="*/ 16 h 113"/>
                  <a:gd name="T56" fmla="*/ 92 w 120"/>
                  <a:gd name="T57" fmla="*/ 11 h 113"/>
                  <a:gd name="T58" fmla="*/ 98 w 120"/>
                  <a:gd name="T59" fmla="*/ 2 h 113"/>
                  <a:gd name="T60" fmla="*/ 104 w 120"/>
                  <a:gd name="T61" fmla="*/ 0 h 113"/>
                  <a:gd name="T62" fmla="*/ 120 w 120"/>
                  <a:gd name="T63" fmla="*/ 16 h 113"/>
                  <a:gd name="T64" fmla="*/ 110 w 120"/>
                  <a:gd name="T65" fmla="*/ 25 h 113"/>
                  <a:gd name="T66" fmla="*/ 102 w 120"/>
                  <a:gd name="T67" fmla="*/ 32 h 113"/>
                  <a:gd name="T68" fmla="*/ 111 w 120"/>
                  <a:gd name="T69" fmla="*/ 41 h 113"/>
                  <a:gd name="T70" fmla="*/ 108 w 120"/>
                  <a:gd name="T71" fmla="*/ 44 h 113"/>
                  <a:gd name="T72" fmla="*/ 107 w 120"/>
                  <a:gd name="T73" fmla="*/ 47 h 113"/>
                  <a:gd name="T74" fmla="*/ 105 w 120"/>
                  <a:gd name="T75" fmla="*/ 63 h 113"/>
                  <a:gd name="T76" fmla="*/ 100 w 120"/>
                  <a:gd name="T77" fmla="*/ 67 h 113"/>
                  <a:gd name="T78" fmla="*/ 94 w 120"/>
                  <a:gd name="T79" fmla="*/ 79 h 113"/>
                  <a:gd name="T80" fmla="*/ 92 w 120"/>
                  <a:gd name="T81" fmla="*/ 89 h 113"/>
                  <a:gd name="T82" fmla="*/ 87 w 120"/>
                  <a:gd name="T83" fmla="*/ 87 h 113"/>
                  <a:gd name="T84" fmla="*/ 79 w 120"/>
                  <a:gd name="T85" fmla="*/ 70 h 113"/>
                  <a:gd name="T86" fmla="*/ 84 w 120"/>
                  <a:gd name="T87" fmla="*/ 58 h 113"/>
                  <a:gd name="T88" fmla="*/ 85 w 120"/>
                  <a:gd name="T89" fmla="*/ 54 h 113"/>
                  <a:gd name="T90" fmla="*/ 73 w 120"/>
                  <a:gd name="T91" fmla="*/ 57 h 113"/>
                  <a:gd name="T92" fmla="*/ 73 w 120"/>
                  <a:gd name="T93" fmla="*/ 61 h 113"/>
                  <a:gd name="T94" fmla="*/ 72 w 120"/>
                  <a:gd name="T95" fmla="*/ 69 h 113"/>
                  <a:gd name="T96" fmla="*/ 66 w 120"/>
                  <a:gd name="T97" fmla="*/ 71 h 113"/>
                  <a:gd name="T98" fmla="*/ 68 w 120"/>
                  <a:gd name="T99" fmla="*/ 74 h 113"/>
                  <a:gd name="T100" fmla="*/ 71 w 120"/>
                  <a:gd name="T101" fmla="*/ 79 h 113"/>
                  <a:gd name="T102" fmla="*/ 65 w 120"/>
                  <a:gd name="T103" fmla="*/ 90 h 113"/>
                  <a:gd name="T104" fmla="*/ 62 w 120"/>
                  <a:gd name="T105" fmla="*/ 100 h 113"/>
                  <a:gd name="T106" fmla="*/ 60 w 120"/>
                  <a:gd name="T107" fmla="*/ 100 h 113"/>
                  <a:gd name="T108" fmla="*/ 55 w 120"/>
                  <a:gd name="T109" fmla="*/ 89 h 113"/>
                  <a:gd name="T110" fmla="*/ 53 w 120"/>
                  <a:gd name="T111" fmla="*/ 95 h 113"/>
                  <a:gd name="T112" fmla="*/ 52 w 120"/>
                  <a:gd name="T113" fmla="*/ 97 h 113"/>
                  <a:gd name="T114" fmla="*/ 55 w 120"/>
                  <a:gd name="T115" fmla="*/ 106 h 113"/>
                  <a:gd name="T116" fmla="*/ 49 w 120"/>
                  <a:gd name="T117" fmla="*/ 111 h 113"/>
                  <a:gd name="T118" fmla="*/ 45 w 120"/>
                  <a:gd name="T119" fmla="*/ 11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0" h="113">
                    <a:moveTo>
                      <a:pt x="43" y="113"/>
                    </a:moveTo>
                    <a:lnTo>
                      <a:pt x="43" y="113"/>
                    </a:lnTo>
                    <a:lnTo>
                      <a:pt x="43" y="113"/>
                    </a:lnTo>
                    <a:lnTo>
                      <a:pt x="43" y="111"/>
                    </a:lnTo>
                    <a:lnTo>
                      <a:pt x="42" y="109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34" y="103"/>
                    </a:lnTo>
                    <a:lnTo>
                      <a:pt x="34" y="102"/>
                    </a:lnTo>
                    <a:lnTo>
                      <a:pt x="34" y="99"/>
                    </a:lnTo>
                    <a:lnTo>
                      <a:pt x="34" y="99"/>
                    </a:lnTo>
                    <a:lnTo>
                      <a:pt x="36" y="97"/>
                    </a:lnTo>
                    <a:lnTo>
                      <a:pt x="36" y="95"/>
                    </a:lnTo>
                    <a:lnTo>
                      <a:pt x="36" y="93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0" y="95"/>
                    </a:lnTo>
                    <a:lnTo>
                      <a:pt x="30" y="96"/>
                    </a:lnTo>
                    <a:lnTo>
                      <a:pt x="29" y="97"/>
                    </a:lnTo>
                    <a:lnTo>
                      <a:pt x="29" y="97"/>
                    </a:lnTo>
                    <a:lnTo>
                      <a:pt x="29" y="105"/>
                    </a:lnTo>
                    <a:lnTo>
                      <a:pt x="27" y="10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3" y="103"/>
                    </a:lnTo>
                    <a:lnTo>
                      <a:pt x="21" y="102"/>
                    </a:lnTo>
                    <a:lnTo>
                      <a:pt x="20" y="102"/>
                    </a:lnTo>
                    <a:lnTo>
                      <a:pt x="20" y="102"/>
                    </a:lnTo>
                    <a:lnTo>
                      <a:pt x="16" y="109"/>
                    </a:lnTo>
                    <a:lnTo>
                      <a:pt x="13" y="111"/>
                    </a:lnTo>
                    <a:lnTo>
                      <a:pt x="11" y="112"/>
                    </a:lnTo>
                    <a:lnTo>
                      <a:pt x="10" y="111"/>
                    </a:lnTo>
                    <a:lnTo>
                      <a:pt x="10" y="111"/>
                    </a:lnTo>
                    <a:lnTo>
                      <a:pt x="8" y="109"/>
                    </a:lnTo>
                    <a:lnTo>
                      <a:pt x="7" y="106"/>
                    </a:lnTo>
                    <a:lnTo>
                      <a:pt x="7" y="106"/>
                    </a:lnTo>
                    <a:lnTo>
                      <a:pt x="5" y="105"/>
                    </a:lnTo>
                    <a:lnTo>
                      <a:pt x="5" y="105"/>
                    </a:lnTo>
                    <a:lnTo>
                      <a:pt x="4" y="105"/>
                    </a:lnTo>
                    <a:lnTo>
                      <a:pt x="4" y="103"/>
                    </a:lnTo>
                    <a:lnTo>
                      <a:pt x="7" y="100"/>
                    </a:lnTo>
                    <a:lnTo>
                      <a:pt x="7" y="100"/>
                    </a:lnTo>
                    <a:lnTo>
                      <a:pt x="10" y="97"/>
                    </a:lnTo>
                    <a:lnTo>
                      <a:pt x="11" y="95"/>
                    </a:lnTo>
                    <a:lnTo>
                      <a:pt x="11" y="93"/>
                    </a:lnTo>
                    <a:lnTo>
                      <a:pt x="10" y="93"/>
                    </a:lnTo>
                    <a:lnTo>
                      <a:pt x="10" y="93"/>
                    </a:lnTo>
                    <a:lnTo>
                      <a:pt x="4" y="97"/>
                    </a:lnTo>
                    <a:lnTo>
                      <a:pt x="1" y="97"/>
                    </a:lnTo>
                    <a:lnTo>
                      <a:pt x="0" y="97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3" y="92"/>
                    </a:lnTo>
                    <a:lnTo>
                      <a:pt x="5" y="86"/>
                    </a:lnTo>
                    <a:lnTo>
                      <a:pt x="10" y="80"/>
                    </a:lnTo>
                    <a:lnTo>
                      <a:pt x="10" y="80"/>
                    </a:lnTo>
                    <a:lnTo>
                      <a:pt x="13" y="79"/>
                    </a:lnTo>
                    <a:lnTo>
                      <a:pt x="16" y="79"/>
                    </a:lnTo>
                    <a:lnTo>
                      <a:pt x="18" y="80"/>
                    </a:lnTo>
                    <a:lnTo>
                      <a:pt x="21" y="79"/>
                    </a:lnTo>
                    <a:lnTo>
                      <a:pt x="21" y="79"/>
                    </a:lnTo>
                    <a:lnTo>
                      <a:pt x="27" y="69"/>
                    </a:lnTo>
                    <a:lnTo>
                      <a:pt x="30" y="63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7" y="55"/>
                    </a:lnTo>
                    <a:lnTo>
                      <a:pt x="40" y="53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43" y="44"/>
                    </a:lnTo>
                    <a:lnTo>
                      <a:pt x="50" y="34"/>
                    </a:lnTo>
                    <a:lnTo>
                      <a:pt x="56" y="24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6" y="16"/>
                    </a:lnTo>
                    <a:lnTo>
                      <a:pt x="69" y="16"/>
                    </a:lnTo>
                    <a:lnTo>
                      <a:pt x="73" y="16"/>
                    </a:lnTo>
                    <a:lnTo>
                      <a:pt x="76" y="15"/>
                    </a:lnTo>
                    <a:lnTo>
                      <a:pt x="76" y="15"/>
                    </a:lnTo>
                    <a:lnTo>
                      <a:pt x="81" y="15"/>
                    </a:lnTo>
                    <a:lnTo>
                      <a:pt x="88" y="15"/>
                    </a:lnTo>
                    <a:lnTo>
                      <a:pt x="94" y="16"/>
                    </a:lnTo>
                    <a:lnTo>
                      <a:pt x="98" y="16"/>
                    </a:lnTo>
                    <a:lnTo>
                      <a:pt x="98" y="16"/>
                    </a:lnTo>
                    <a:lnTo>
                      <a:pt x="97" y="15"/>
                    </a:lnTo>
                    <a:lnTo>
                      <a:pt x="95" y="13"/>
                    </a:lnTo>
                    <a:lnTo>
                      <a:pt x="92" y="11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8" y="2"/>
                    </a:lnTo>
                    <a:lnTo>
                      <a:pt x="101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14" y="9"/>
                    </a:lnTo>
                    <a:lnTo>
                      <a:pt x="118" y="13"/>
                    </a:lnTo>
                    <a:lnTo>
                      <a:pt x="120" y="16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10" y="25"/>
                    </a:lnTo>
                    <a:lnTo>
                      <a:pt x="104" y="29"/>
                    </a:lnTo>
                    <a:lnTo>
                      <a:pt x="102" y="31"/>
                    </a:lnTo>
                    <a:lnTo>
                      <a:pt x="102" y="32"/>
                    </a:lnTo>
                    <a:lnTo>
                      <a:pt x="102" y="32"/>
                    </a:lnTo>
                    <a:lnTo>
                      <a:pt x="108" y="38"/>
                    </a:lnTo>
                    <a:lnTo>
                      <a:pt x="111" y="41"/>
                    </a:lnTo>
                    <a:lnTo>
                      <a:pt x="111" y="42"/>
                    </a:lnTo>
                    <a:lnTo>
                      <a:pt x="111" y="42"/>
                    </a:lnTo>
                    <a:lnTo>
                      <a:pt x="108" y="44"/>
                    </a:lnTo>
                    <a:lnTo>
                      <a:pt x="107" y="45"/>
                    </a:lnTo>
                    <a:lnTo>
                      <a:pt x="107" y="47"/>
                    </a:lnTo>
                    <a:lnTo>
                      <a:pt x="107" y="47"/>
                    </a:lnTo>
                    <a:lnTo>
                      <a:pt x="108" y="57"/>
                    </a:lnTo>
                    <a:lnTo>
                      <a:pt x="108" y="57"/>
                    </a:lnTo>
                    <a:lnTo>
                      <a:pt x="105" y="63"/>
                    </a:lnTo>
                    <a:lnTo>
                      <a:pt x="104" y="64"/>
                    </a:lnTo>
                    <a:lnTo>
                      <a:pt x="100" y="67"/>
                    </a:lnTo>
                    <a:lnTo>
                      <a:pt x="100" y="67"/>
                    </a:lnTo>
                    <a:lnTo>
                      <a:pt x="97" y="69"/>
                    </a:lnTo>
                    <a:lnTo>
                      <a:pt x="95" y="71"/>
                    </a:lnTo>
                    <a:lnTo>
                      <a:pt x="94" y="79"/>
                    </a:lnTo>
                    <a:lnTo>
                      <a:pt x="94" y="79"/>
                    </a:lnTo>
                    <a:lnTo>
                      <a:pt x="94" y="86"/>
                    </a:lnTo>
                    <a:lnTo>
                      <a:pt x="92" y="89"/>
                    </a:lnTo>
                    <a:lnTo>
                      <a:pt x="88" y="89"/>
                    </a:lnTo>
                    <a:lnTo>
                      <a:pt x="88" y="89"/>
                    </a:lnTo>
                    <a:lnTo>
                      <a:pt x="87" y="87"/>
                    </a:lnTo>
                    <a:lnTo>
                      <a:pt x="85" y="84"/>
                    </a:lnTo>
                    <a:lnTo>
                      <a:pt x="81" y="77"/>
                    </a:lnTo>
                    <a:lnTo>
                      <a:pt x="79" y="70"/>
                    </a:lnTo>
                    <a:lnTo>
                      <a:pt x="79" y="66"/>
                    </a:lnTo>
                    <a:lnTo>
                      <a:pt x="79" y="66"/>
                    </a:lnTo>
                    <a:lnTo>
                      <a:pt x="84" y="58"/>
                    </a:lnTo>
                    <a:lnTo>
                      <a:pt x="85" y="55"/>
                    </a:lnTo>
                    <a:lnTo>
                      <a:pt x="85" y="54"/>
                    </a:lnTo>
                    <a:lnTo>
                      <a:pt x="85" y="54"/>
                    </a:lnTo>
                    <a:lnTo>
                      <a:pt x="79" y="54"/>
                    </a:lnTo>
                    <a:lnTo>
                      <a:pt x="75" y="55"/>
                    </a:lnTo>
                    <a:lnTo>
                      <a:pt x="73" y="57"/>
                    </a:lnTo>
                    <a:lnTo>
                      <a:pt x="73" y="57"/>
                    </a:lnTo>
                    <a:lnTo>
                      <a:pt x="73" y="58"/>
                    </a:lnTo>
                    <a:lnTo>
                      <a:pt x="73" y="61"/>
                    </a:lnTo>
                    <a:lnTo>
                      <a:pt x="73" y="67"/>
                    </a:lnTo>
                    <a:lnTo>
                      <a:pt x="73" y="67"/>
                    </a:lnTo>
                    <a:lnTo>
                      <a:pt x="72" y="69"/>
                    </a:lnTo>
                    <a:lnTo>
                      <a:pt x="69" y="70"/>
                    </a:lnTo>
                    <a:lnTo>
                      <a:pt x="68" y="70"/>
                    </a:lnTo>
                    <a:lnTo>
                      <a:pt x="66" y="71"/>
                    </a:lnTo>
                    <a:lnTo>
                      <a:pt x="66" y="71"/>
                    </a:lnTo>
                    <a:lnTo>
                      <a:pt x="66" y="73"/>
                    </a:lnTo>
                    <a:lnTo>
                      <a:pt x="68" y="74"/>
                    </a:lnTo>
                    <a:lnTo>
                      <a:pt x="69" y="77"/>
                    </a:lnTo>
                    <a:lnTo>
                      <a:pt x="71" y="79"/>
                    </a:lnTo>
                    <a:lnTo>
                      <a:pt x="71" y="79"/>
                    </a:lnTo>
                    <a:lnTo>
                      <a:pt x="69" y="82"/>
                    </a:lnTo>
                    <a:lnTo>
                      <a:pt x="68" y="86"/>
                    </a:lnTo>
                    <a:lnTo>
                      <a:pt x="65" y="90"/>
                    </a:lnTo>
                    <a:lnTo>
                      <a:pt x="65" y="90"/>
                    </a:lnTo>
                    <a:lnTo>
                      <a:pt x="63" y="97"/>
                    </a:lnTo>
                    <a:lnTo>
                      <a:pt x="62" y="100"/>
                    </a:lnTo>
                    <a:lnTo>
                      <a:pt x="62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92"/>
                    </a:lnTo>
                    <a:lnTo>
                      <a:pt x="55" y="89"/>
                    </a:lnTo>
                    <a:lnTo>
                      <a:pt x="55" y="89"/>
                    </a:lnTo>
                    <a:lnTo>
                      <a:pt x="55" y="89"/>
                    </a:lnTo>
                    <a:lnTo>
                      <a:pt x="55" y="89"/>
                    </a:lnTo>
                    <a:lnTo>
                      <a:pt x="53" y="95"/>
                    </a:lnTo>
                    <a:lnTo>
                      <a:pt x="52" y="96"/>
                    </a:lnTo>
                    <a:lnTo>
                      <a:pt x="52" y="97"/>
                    </a:lnTo>
                    <a:lnTo>
                      <a:pt x="52" y="97"/>
                    </a:lnTo>
                    <a:lnTo>
                      <a:pt x="55" y="102"/>
                    </a:lnTo>
                    <a:lnTo>
                      <a:pt x="55" y="103"/>
                    </a:lnTo>
                    <a:lnTo>
                      <a:pt x="55" y="106"/>
                    </a:lnTo>
                    <a:lnTo>
                      <a:pt x="55" y="106"/>
                    </a:lnTo>
                    <a:lnTo>
                      <a:pt x="52" y="109"/>
                    </a:lnTo>
                    <a:lnTo>
                      <a:pt x="49" y="111"/>
                    </a:lnTo>
                    <a:lnTo>
                      <a:pt x="49" y="111"/>
                    </a:lnTo>
                    <a:lnTo>
                      <a:pt x="46" y="111"/>
                    </a:lnTo>
                    <a:lnTo>
                      <a:pt x="45" y="111"/>
                    </a:lnTo>
                    <a:lnTo>
                      <a:pt x="43" y="11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81" name="Freeform 31"/>
              <p:cNvSpPr>
                <a:spLocks/>
              </p:cNvSpPr>
              <p:nvPr/>
            </p:nvSpPr>
            <p:spPr bwMode="auto">
              <a:xfrm>
                <a:off x="2857613" y="1357415"/>
                <a:ext cx="281939" cy="160260"/>
              </a:xfrm>
              <a:custGeom>
                <a:avLst/>
                <a:gdLst>
                  <a:gd name="T0" fmla="*/ 272 w 285"/>
                  <a:gd name="T1" fmla="*/ 135 h 162"/>
                  <a:gd name="T2" fmla="*/ 255 w 285"/>
                  <a:gd name="T3" fmla="*/ 125 h 162"/>
                  <a:gd name="T4" fmla="*/ 264 w 285"/>
                  <a:gd name="T5" fmla="*/ 139 h 162"/>
                  <a:gd name="T6" fmla="*/ 240 w 285"/>
                  <a:gd name="T7" fmla="*/ 152 h 162"/>
                  <a:gd name="T8" fmla="*/ 226 w 285"/>
                  <a:gd name="T9" fmla="*/ 148 h 162"/>
                  <a:gd name="T10" fmla="*/ 216 w 285"/>
                  <a:gd name="T11" fmla="*/ 143 h 162"/>
                  <a:gd name="T12" fmla="*/ 200 w 285"/>
                  <a:gd name="T13" fmla="*/ 158 h 162"/>
                  <a:gd name="T14" fmla="*/ 158 w 285"/>
                  <a:gd name="T15" fmla="*/ 161 h 162"/>
                  <a:gd name="T16" fmla="*/ 136 w 285"/>
                  <a:gd name="T17" fmla="*/ 152 h 162"/>
                  <a:gd name="T18" fmla="*/ 128 w 285"/>
                  <a:gd name="T19" fmla="*/ 143 h 162"/>
                  <a:gd name="T20" fmla="*/ 122 w 285"/>
                  <a:gd name="T21" fmla="*/ 143 h 162"/>
                  <a:gd name="T22" fmla="*/ 107 w 285"/>
                  <a:gd name="T23" fmla="*/ 151 h 162"/>
                  <a:gd name="T24" fmla="*/ 94 w 285"/>
                  <a:gd name="T25" fmla="*/ 139 h 162"/>
                  <a:gd name="T26" fmla="*/ 87 w 285"/>
                  <a:gd name="T27" fmla="*/ 145 h 162"/>
                  <a:gd name="T28" fmla="*/ 75 w 285"/>
                  <a:gd name="T29" fmla="*/ 135 h 162"/>
                  <a:gd name="T30" fmla="*/ 74 w 285"/>
                  <a:gd name="T31" fmla="*/ 117 h 162"/>
                  <a:gd name="T32" fmla="*/ 78 w 285"/>
                  <a:gd name="T33" fmla="*/ 109 h 162"/>
                  <a:gd name="T34" fmla="*/ 77 w 285"/>
                  <a:gd name="T35" fmla="*/ 99 h 162"/>
                  <a:gd name="T36" fmla="*/ 78 w 285"/>
                  <a:gd name="T37" fmla="*/ 77 h 162"/>
                  <a:gd name="T38" fmla="*/ 80 w 285"/>
                  <a:gd name="T39" fmla="*/ 62 h 162"/>
                  <a:gd name="T40" fmla="*/ 68 w 285"/>
                  <a:gd name="T41" fmla="*/ 51 h 162"/>
                  <a:gd name="T42" fmla="*/ 64 w 285"/>
                  <a:gd name="T43" fmla="*/ 45 h 162"/>
                  <a:gd name="T44" fmla="*/ 46 w 285"/>
                  <a:gd name="T45" fmla="*/ 51 h 162"/>
                  <a:gd name="T46" fmla="*/ 33 w 285"/>
                  <a:gd name="T47" fmla="*/ 51 h 162"/>
                  <a:gd name="T48" fmla="*/ 13 w 285"/>
                  <a:gd name="T49" fmla="*/ 25 h 162"/>
                  <a:gd name="T50" fmla="*/ 2 w 285"/>
                  <a:gd name="T51" fmla="*/ 12 h 162"/>
                  <a:gd name="T52" fmla="*/ 3 w 285"/>
                  <a:gd name="T53" fmla="*/ 6 h 162"/>
                  <a:gd name="T54" fmla="*/ 9 w 285"/>
                  <a:gd name="T55" fmla="*/ 2 h 162"/>
                  <a:gd name="T56" fmla="*/ 30 w 285"/>
                  <a:gd name="T57" fmla="*/ 2 h 162"/>
                  <a:gd name="T58" fmla="*/ 41 w 285"/>
                  <a:gd name="T59" fmla="*/ 7 h 162"/>
                  <a:gd name="T60" fmla="*/ 49 w 285"/>
                  <a:gd name="T61" fmla="*/ 9 h 162"/>
                  <a:gd name="T62" fmla="*/ 57 w 285"/>
                  <a:gd name="T63" fmla="*/ 26 h 162"/>
                  <a:gd name="T64" fmla="*/ 61 w 285"/>
                  <a:gd name="T65" fmla="*/ 28 h 162"/>
                  <a:gd name="T66" fmla="*/ 86 w 285"/>
                  <a:gd name="T67" fmla="*/ 25 h 162"/>
                  <a:gd name="T68" fmla="*/ 97 w 285"/>
                  <a:gd name="T69" fmla="*/ 33 h 162"/>
                  <a:gd name="T70" fmla="*/ 86 w 285"/>
                  <a:gd name="T71" fmla="*/ 33 h 162"/>
                  <a:gd name="T72" fmla="*/ 99 w 285"/>
                  <a:gd name="T73" fmla="*/ 41 h 162"/>
                  <a:gd name="T74" fmla="*/ 123 w 285"/>
                  <a:gd name="T75" fmla="*/ 52 h 162"/>
                  <a:gd name="T76" fmla="*/ 104 w 285"/>
                  <a:gd name="T77" fmla="*/ 58 h 162"/>
                  <a:gd name="T78" fmla="*/ 96 w 285"/>
                  <a:gd name="T79" fmla="*/ 58 h 162"/>
                  <a:gd name="T80" fmla="*/ 103 w 285"/>
                  <a:gd name="T81" fmla="*/ 62 h 162"/>
                  <a:gd name="T82" fmla="*/ 97 w 285"/>
                  <a:gd name="T83" fmla="*/ 68 h 162"/>
                  <a:gd name="T84" fmla="*/ 100 w 285"/>
                  <a:gd name="T85" fmla="*/ 73 h 162"/>
                  <a:gd name="T86" fmla="*/ 114 w 285"/>
                  <a:gd name="T87" fmla="*/ 73 h 162"/>
                  <a:gd name="T88" fmla="*/ 125 w 285"/>
                  <a:gd name="T89" fmla="*/ 84 h 162"/>
                  <a:gd name="T90" fmla="*/ 133 w 285"/>
                  <a:gd name="T91" fmla="*/ 84 h 162"/>
                  <a:gd name="T92" fmla="*/ 148 w 285"/>
                  <a:gd name="T93" fmla="*/ 90 h 162"/>
                  <a:gd name="T94" fmla="*/ 161 w 285"/>
                  <a:gd name="T95" fmla="*/ 93 h 162"/>
                  <a:gd name="T96" fmla="*/ 196 w 285"/>
                  <a:gd name="T97" fmla="*/ 81 h 162"/>
                  <a:gd name="T98" fmla="*/ 204 w 285"/>
                  <a:gd name="T99" fmla="*/ 83 h 162"/>
                  <a:gd name="T100" fmla="*/ 227 w 285"/>
                  <a:gd name="T101" fmla="*/ 84 h 162"/>
                  <a:gd name="T102" fmla="*/ 243 w 285"/>
                  <a:gd name="T103" fmla="*/ 90 h 162"/>
                  <a:gd name="T104" fmla="*/ 259 w 285"/>
                  <a:gd name="T105" fmla="*/ 91 h 162"/>
                  <a:gd name="T106" fmla="*/ 274 w 285"/>
                  <a:gd name="T107" fmla="*/ 107 h 162"/>
                  <a:gd name="T108" fmla="*/ 272 w 285"/>
                  <a:gd name="T109" fmla="*/ 117 h 162"/>
                  <a:gd name="T110" fmla="*/ 275 w 285"/>
                  <a:gd name="T111" fmla="*/ 123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5" h="162">
                    <a:moveTo>
                      <a:pt x="285" y="125"/>
                    </a:moveTo>
                    <a:lnTo>
                      <a:pt x="285" y="125"/>
                    </a:lnTo>
                    <a:lnTo>
                      <a:pt x="278" y="133"/>
                    </a:lnTo>
                    <a:lnTo>
                      <a:pt x="275" y="135"/>
                    </a:lnTo>
                    <a:lnTo>
                      <a:pt x="272" y="135"/>
                    </a:lnTo>
                    <a:lnTo>
                      <a:pt x="272" y="135"/>
                    </a:lnTo>
                    <a:lnTo>
                      <a:pt x="261" y="128"/>
                    </a:lnTo>
                    <a:lnTo>
                      <a:pt x="256" y="125"/>
                    </a:lnTo>
                    <a:lnTo>
                      <a:pt x="255" y="125"/>
                    </a:lnTo>
                    <a:lnTo>
                      <a:pt x="255" y="125"/>
                    </a:lnTo>
                    <a:lnTo>
                      <a:pt x="255" y="125"/>
                    </a:lnTo>
                    <a:lnTo>
                      <a:pt x="256" y="129"/>
                    </a:lnTo>
                    <a:lnTo>
                      <a:pt x="261" y="133"/>
                    </a:lnTo>
                    <a:lnTo>
                      <a:pt x="264" y="136"/>
                    </a:lnTo>
                    <a:lnTo>
                      <a:pt x="264" y="139"/>
                    </a:lnTo>
                    <a:lnTo>
                      <a:pt x="262" y="141"/>
                    </a:lnTo>
                    <a:lnTo>
                      <a:pt x="262" y="141"/>
                    </a:lnTo>
                    <a:lnTo>
                      <a:pt x="252" y="146"/>
                    </a:lnTo>
                    <a:lnTo>
                      <a:pt x="245" y="151"/>
                    </a:lnTo>
                    <a:lnTo>
                      <a:pt x="240" y="152"/>
                    </a:lnTo>
                    <a:lnTo>
                      <a:pt x="240" y="152"/>
                    </a:lnTo>
                    <a:lnTo>
                      <a:pt x="236" y="151"/>
                    </a:lnTo>
                    <a:lnTo>
                      <a:pt x="233" y="149"/>
                    </a:lnTo>
                    <a:lnTo>
                      <a:pt x="230" y="148"/>
                    </a:lnTo>
                    <a:lnTo>
                      <a:pt x="226" y="148"/>
                    </a:lnTo>
                    <a:lnTo>
                      <a:pt x="226" y="148"/>
                    </a:lnTo>
                    <a:lnTo>
                      <a:pt x="223" y="146"/>
                    </a:lnTo>
                    <a:lnTo>
                      <a:pt x="222" y="143"/>
                    </a:lnTo>
                    <a:lnTo>
                      <a:pt x="220" y="143"/>
                    </a:lnTo>
                    <a:lnTo>
                      <a:pt x="216" y="143"/>
                    </a:lnTo>
                    <a:lnTo>
                      <a:pt x="216" y="143"/>
                    </a:lnTo>
                    <a:lnTo>
                      <a:pt x="212" y="146"/>
                    </a:lnTo>
                    <a:lnTo>
                      <a:pt x="209" y="152"/>
                    </a:lnTo>
                    <a:lnTo>
                      <a:pt x="204" y="157"/>
                    </a:lnTo>
                    <a:lnTo>
                      <a:pt x="200" y="158"/>
                    </a:lnTo>
                    <a:lnTo>
                      <a:pt x="200" y="158"/>
                    </a:lnTo>
                    <a:lnTo>
                      <a:pt x="170" y="162"/>
                    </a:lnTo>
                    <a:lnTo>
                      <a:pt x="170" y="162"/>
                    </a:lnTo>
                    <a:lnTo>
                      <a:pt x="164" y="162"/>
                    </a:lnTo>
                    <a:lnTo>
                      <a:pt x="158" y="161"/>
                    </a:lnTo>
                    <a:lnTo>
                      <a:pt x="146" y="158"/>
                    </a:lnTo>
                    <a:lnTo>
                      <a:pt x="146" y="158"/>
                    </a:lnTo>
                    <a:lnTo>
                      <a:pt x="142" y="155"/>
                    </a:lnTo>
                    <a:lnTo>
                      <a:pt x="136" y="152"/>
                    </a:lnTo>
                    <a:lnTo>
                      <a:pt x="136" y="152"/>
                    </a:lnTo>
                    <a:lnTo>
                      <a:pt x="130" y="152"/>
                    </a:lnTo>
                    <a:lnTo>
                      <a:pt x="129" y="151"/>
                    </a:lnTo>
                    <a:lnTo>
                      <a:pt x="129" y="148"/>
                    </a:lnTo>
                    <a:lnTo>
                      <a:pt x="129" y="148"/>
                    </a:lnTo>
                    <a:lnTo>
                      <a:pt x="128" y="143"/>
                    </a:lnTo>
                    <a:lnTo>
                      <a:pt x="126" y="142"/>
                    </a:lnTo>
                    <a:lnTo>
                      <a:pt x="125" y="141"/>
                    </a:lnTo>
                    <a:lnTo>
                      <a:pt x="125" y="141"/>
                    </a:lnTo>
                    <a:lnTo>
                      <a:pt x="123" y="142"/>
                    </a:lnTo>
                    <a:lnTo>
                      <a:pt x="122" y="143"/>
                    </a:lnTo>
                    <a:lnTo>
                      <a:pt x="120" y="148"/>
                    </a:lnTo>
                    <a:lnTo>
                      <a:pt x="120" y="148"/>
                    </a:lnTo>
                    <a:lnTo>
                      <a:pt x="114" y="151"/>
                    </a:lnTo>
                    <a:lnTo>
                      <a:pt x="107" y="151"/>
                    </a:lnTo>
                    <a:lnTo>
                      <a:pt x="107" y="151"/>
                    </a:lnTo>
                    <a:lnTo>
                      <a:pt x="103" y="149"/>
                    </a:lnTo>
                    <a:lnTo>
                      <a:pt x="99" y="146"/>
                    </a:lnTo>
                    <a:lnTo>
                      <a:pt x="99" y="146"/>
                    </a:lnTo>
                    <a:lnTo>
                      <a:pt x="94" y="141"/>
                    </a:lnTo>
                    <a:lnTo>
                      <a:pt x="94" y="139"/>
                    </a:lnTo>
                    <a:lnTo>
                      <a:pt x="93" y="141"/>
                    </a:lnTo>
                    <a:lnTo>
                      <a:pt x="93" y="141"/>
                    </a:lnTo>
                    <a:lnTo>
                      <a:pt x="91" y="143"/>
                    </a:lnTo>
                    <a:lnTo>
                      <a:pt x="90" y="143"/>
                    </a:lnTo>
                    <a:lnTo>
                      <a:pt x="87" y="145"/>
                    </a:lnTo>
                    <a:lnTo>
                      <a:pt x="87" y="145"/>
                    </a:lnTo>
                    <a:lnTo>
                      <a:pt x="83" y="143"/>
                    </a:lnTo>
                    <a:lnTo>
                      <a:pt x="80" y="141"/>
                    </a:lnTo>
                    <a:lnTo>
                      <a:pt x="77" y="139"/>
                    </a:lnTo>
                    <a:lnTo>
                      <a:pt x="75" y="135"/>
                    </a:lnTo>
                    <a:lnTo>
                      <a:pt x="75" y="135"/>
                    </a:lnTo>
                    <a:lnTo>
                      <a:pt x="77" y="129"/>
                    </a:lnTo>
                    <a:lnTo>
                      <a:pt x="75" y="125"/>
                    </a:lnTo>
                    <a:lnTo>
                      <a:pt x="75" y="125"/>
                    </a:lnTo>
                    <a:lnTo>
                      <a:pt x="74" y="117"/>
                    </a:lnTo>
                    <a:lnTo>
                      <a:pt x="77" y="113"/>
                    </a:lnTo>
                    <a:lnTo>
                      <a:pt x="77" y="113"/>
                    </a:lnTo>
                    <a:lnTo>
                      <a:pt x="78" y="112"/>
                    </a:lnTo>
                    <a:lnTo>
                      <a:pt x="80" y="110"/>
                    </a:lnTo>
                    <a:lnTo>
                      <a:pt x="78" y="109"/>
                    </a:lnTo>
                    <a:lnTo>
                      <a:pt x="78" y="109"/>
                    </a:lnTo>
                    <a:lnTo>
                      <a:pt x="77" y="104"/>
                    </a:lnTo>
                    <a:lnTo>
                      <a:pt x="77" y="101"/>
                    </a:lnTo>
                    <a:lnTo>
                      <a:pt x="77" y="99"/>
                    </a:lnTo>
                    <a:lnTo>
                      <a:pt x="77" y="99"/>
                    </a:lnTo>
                    <a:lnTo>
                      <a:pt x="80" y="88"/>
                    </a:lnTo>
                    <a:lnTo>
                      <a:pt x="81" y="84"/>
                    </a:lnTo>
                    <a:lnTo>
                      <a:pt x="81" y="81"/>
                    </a:lnTo>
                    <a:lnTo>
                      <a:pt x="81" y="81"/>
                    </a:lnTo>
                    <a:lnTo>
                      <a:pt x="78" y="77"/>
                    </a:lnTo>
                    <a:lnTo>
                      <a:pt x="77" y="74"/>
                    </a:lnTo>
                    <a:lnTo>
                      <a:pt x="78" y="71"/>
                    </a:lnTo>
                    <a:lnTo>
                      <a:pt x="78" y="71"/>
                    </a:lnTo>
                    <a:lnTo>
                      <a:pt x="80" y="65"/>
                    </a:lnTo>
                    <a:lnTo>
                      <a:pt x="80" y="62"/>
                    </a:lnTo>
                    <a:lnTo>
                      <a:pt x="80" y="59"/>
                    </a:lnTo>
                    <a:lnTo>
                      <a:pt x="80" y="59"/>
                    </a:lnTo>
                    <a:lnTo>
                      <a:pt x="74" y="55"/>
                    </a:lnTo>
                    <a:lnTo>
                      <a:pt x="68" y="51"/>
                    </a:lnTo>
                    <a:lnTo>
                      <a:pt x="68" y="51"/>
                    </a:lnTo>
                    <a:lnTo>
                      <a:pt x="67" y="49"/>
                    </a:lnTo>
                    <a:lnTo>
                      <a:pt x="65" y="46"/>
                    </a:lnTo>
                    <a:lnTo>
                      <a:pt x="65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57" y="48"/>
                    </a:lnTo>
                    <a:lnTo>
                      <a:pt x="52" y="51"/>
                    </a:lnTo>
                    <a:lnTo>
                      <a:pt x="49" y="51"/>
                    </a:lnTo>
                    <a:lnTo>
                      <a:pt x="49" y="51"/>
                    </a:lnTo>
                    <a:lnTo>
                      <a:pt x="46" y="51"/>
                    </a:lnTo>
                    <a:lnTo>
                      <a:pt x="42" y="49"/>
                    </a:lnTo>
                    <a:lnTo>
                      <a:pt x="39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3" y="51"/>
                    </a:lnTo>
                    <a:lnTo>
                      <a:pt x="32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2" y="41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2" y="22"/>
                    </a:lnTo>
                    <a:lnTo>
                      <a:pt x="9" y="19"/>
                    </a:lnTo>
                    <a:lnTo>
                      <a:pt x="4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5" y="2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9" y="7"/>
                    </a:lnTo>
                    <a:lnTo>
                      <a:pt x="41" y="7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6" y="6"/>
                    </a:lnTo>
                    <a:lnTo>
                      <a:pt x="49" y="9"/>
                    </a:lnTo>
                    <a:lnTo>
                      <a:pt x="49" y="9"/>
                    </a:lnTo>
                    <a:lnTo>
                      <a:pt x="55" y="13"/>
                    </a:lnTo>
                    <a:lnTo>
                      <a:pt x="57" y="16"/>
                    </a:lnTo>
                    <a:lnTo>
                      <a:pt x="58" y="19"/>
                    </a:lnTo>
                    <a:lnTo>
                      <a:pt x="58" y="19"/>
                    </a:lnTo>
                    <a:lnTo>
                      <a:pt x="57" y="26"/>
                    </a:lnTo>
                    <a:lnTo>
                      <a:pt x="57" y="29"/>
                    </a:lnTo>
                    <a:lnTo>
                      <a:pt x="57" y="31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61" y="28"/>
                    </a:lnTo>
                    <a:lnTo>
                      <a:pt x="64" y="28"/>
                    </a:lnTo>
                    <a:lnTo>
                      <a:pt x="71" y="25"/>
                    </a:lnTo>
                    <a:lnTo>
                      <a:pt x="71" y="25"/>
                    </a:lnTo>
                    <a:lnTo>
                      <a:pt x="80" y="25"/>
                    </a:lnTo>
                    <a:lnTo>
                      <a:pt x="86" y="25"/>
                    </a:lnTo>
                    <a:lnTo>
                      <a:pt x="90" y="26"/>
                    </a:lnTo>
                    <a:lnTo>
                      <a:pt x="90" y="26"/>
                    </a:lnTo>
                    <a:lnTo>
                      <a:pt x="93" y="29"/>
                    </a:lnTo>
                    <a:lnTo>
                      <a:pt x="96" y="32"/>
                    </a:lnTo>
                    <a:lnTo>
                      <a:pt x="97" y="33"/>
                    </a:lnTo>
                    <a:lnTo>
                      <a:pt x="97" y="35"/>
                    </a:lnTo>
                    <a:lnTo>
                      <a:pt x="96" y="35"/>
                    </a:lnTo>
                    <a:lnTo>
                      <a:pt x="96" y="35"/>
                    </a:lnTo>
                    <a:lnTo>
                      <a:pt x="88" y="33"/>
                    </a:lnTo>
                    <a:lnTo>
                      <a:pt x="86" y="33"/>
                    </a:lnTo>
                    <a:lnTo>
                      <a:pt x="86" y="33"/>
                    </a:lnTo>
                    <a:lnTo>
                      <a:pt x="90" y="38"/>
                    </a:lnTo>
                    <a:lnTo>
                      <a:pt x="94" y="39"/>
                    </a:lnTo>
                    <a:lnTo>
                      <a:pt x="99" y="41"/>
                    </a:lnTo>
                    <a:lnTo>
                      <a:pt x="99" y="41"/>
                    </a:lnTo>
                    <a:lnTo>
                      <a:pt x="110" y="44"/>
                    </a:lnTo>
                    <a:lnTo>
                      <a:pt x="119" y="48"/>
                    </a:lnTo>
                    <a:lnTo>
                      <a:pt x="119" y="48"/>
                    </a:lnTo>
                    <a:lnTo>
                      <a:pt x="122" y="49"/>
                    </a:lnTo>
                    <a:lnTo>
                      <a:pt x="123" y="52"/>
                    </a:lnTo>
                    <a:lnTo>
                      <a:pt x="122" y="52"/>
                    </a:lnTo>
                    <a:lnTo>
                      <a:pt x="119" y="54"/>
                    </a:lnTo>
                    <a:lnTo>
                      <a:pt x="119" y="54"/>
                    </a:lnTo>
                    <a:lnTo>
                      <a:pt x="112" y="57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99" y="58"/>
                    </a:lnTo>
                    <a:lnTo>
                      <a:pt x="96" y="58"/>
                    </a:lnTo>
                    <a:lnTo>
                      <a:pt x="96" y="58"/>
                    </a:lnTo>
                    <a:lnTo>
                      <a:pt x="96" y="58"/>
                    </a:lnTo>
                    <a:lnTo>
                      <a:pt x="94" y="61"/>
                    </a:lnTo>
                    <a:lnTo>
                      <a:pt x="94" y="62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103" y="62"/>
                    </a:lnTo>
                    <a:lnTo>
                      <a:pt x="104" y="64"/>
                    </a:lnTo>
                    <a:lnTo>
                      <a:pt x="104" y="65"/>
                    </a:lnTo>
                    <a:lnTo>
                      <a:pt x="104" y="65"/>
                    </a:lnTo>
                    <a:lnTo>
                      <a:pt x="100" y="67"/>
                    </a:lnTo>
                    <a:lnTo>
                      <a:pt x="97" y="68"/>
                    </a:lnTo>
                    <a:lnTo>
                      <a:pt x="96" y="70"/>
                    </a:lnTo>
                    <a:lnTo>
                      <a:pt x="96" y="70"/>
                    </a:lnTo>
                    <a:lnTo>
                      <a:pt x="96" y="74"/>
                    </a:lnTo>
                    <a:lnTo>
                      <a:pt x="97" y="74"/>
                    </a:lnTo>
                    <a:lnTo>
                      <a:pt x="100" y="73"/>
                    </a:lnTo>
                    <a:lnTo>
                      <a:pt x="100" y="73"/>
                    </a:lnTo>
                    <a:lnTo>
                      <a:pt x="104" y="71"/>
                    </a:lnTo>
                    <a:lnTo>
                      <a:pt x="109" y="71"/>
                    </a:lnTo>
                    <a:lnTo>
                      <a:pt x="114" y="73"/>
                    </a:lnTo>
                    <a:lnTo>
                      <a:pt x="114" y="73"/>
                    </a:lnTo>
                    <a:lnTo>
                      <a:pt x="117" y="75"/>
                    </a:lnTo>
                    <a:lnTo>
                      <a:pt x="119" y="78"/>
                    </a:lnTo>
                    <a:lnTo>
                      <a:pt x="119" y="78"/>
                    </a:lnTo>
                    <a:lnTo>
                      <a:pt x="123" y="83"/>
                    </a:lnTo>
                    <a:lnTo>
                      <a:pt x="125" y="84"/>
                    </a:lnTo>
                    <a:lnTo>
                      <a:pt x="126" y="86"/>
                    </a:lnTo>
                    <a:lnTo>
                      <a:pt x="126" y="86"/>
                    </a:lnTo>
                    <a:lnTo>
                      <a:pt x="129" y="84"/>
                    </a:lnTo>
                    <a:lnTo>
                      <a:pt x="132" y="84"/>
                    </a:lnTo>
                    <a:lnTo>
                      <a:pt x="133" y="84"/>
                    </a:lnTo>
                    <a:lnTo>
                      <a:pt x="133" y="84"/>
                    </a:lnTo>
                    <a:lnTo>
                      <a:pt x="139" y="90"/>
                    </a:lnTo>
                    <a:lnTo>
                      <a:pt x="143" y="91"/>
                    </a:lnTo>
                    <a:lnTo>
                      <a:pt x="148" y="90"/>
                    </a:lnTo>
                    <a:lnTo>
                      <a:pt x="148" y="90"/>
                    </a:lnTo>
                    <a:lnTo>
                      <a:pt x="151" y="90"/>
                    </a:lnTo>
                    <a:lnTo>
                      <a:pt x="154" y="90"/>
                    </a:lnTo>
                    <a:lnTo>
                      <a:pt x="156" y="91"/>
                    </a:lnTo>
                    <a:lnTo>
                      <a:pt x="161" y="93"/>
                    </a:lnTo>
                    <a:lnTo>
                      <a:pt x="161" y="93"/>
                    </a:lnTo>
                    <a:lnTo>
                      <a:pt x="170" y="93"/>
                    </a:lnTo>
                    <a:lnTo>
                      <a:pt x="175" y="91"/>
                    </a:lnTo>
                    <a:lnTo>
                      <a:pt x="175" y="91"/>
                    </a:lnTo>
                    <a:lnTo>
                      <a:pt x="196" y="81"/>
                    </a:lnTo>
                    <a:lnTo>
                      <a:pt x="196" y="81"/>
                    </a:lnTo>
                    <a:lnTo>
                      <a:pt x="201" y="78"/>
                    </a:lnTo>
                    <a:lnTo>
                      <a:pt x="204" y="78"/>
                    </a:lnTo>
                    <a:lnTo>
                      <a:pt x="206" y="78"/>
                    </a:lnTo>
                    <a:lnTo>
                      <a:pt x="206" y="78"/>
                    </a:lnTo>
                    <a:lnTo>
                      <a:pt x="204" y="83"/>
                    </a:lnTo>
                    <a:lnTo>
                      <a:pt x="204" y="84"/>
                    </a:lnTo>
                    <a:lnTo>
                      <a:pt x="207" y="84"/>
                    </a:lnTo>
                    <a:lnTo>
                      <a:pt x="207" y="84"/>
                    </a:lnTo>
                    <a:lnTo>
                      <a:pt x="216" y="84"/>
                    </a:lnTo>
                    <a:lnTo>
                      <a:pt x="227" y="84"/>
                    </a:lnTo>
                    <a:lnTo>
                      <a:pt x="227" y="84"/>
                    </a:lnTo>
                    <a:lnTo>
                      <a:pt x="235" y="86"/>
                    </a:lnTo>
                    <a:lnTo>
                      <a:pt x="239" y="87"/>
                    </a:lnTo>
                    <a:lnTo>
                      <a:pt x="239" y="87"/>
                    </a:lnTo>
                    <a:lnTo>
                      <a:pt x="243" y="90"/>
                    </a:lnTo>
                    <a:lnTo>
                      <a:pt x="246" y="91"/>
                    </a:lnTo>
                    <a:lnTo>
                      <a:pt x="251" y="91"/>
                    </a:lnTo>
                    <a:lnTo>
                      <a:pt x="251" y="91"/>
                    </a:lnTo>
                    <a:lnTo>
                      <a:pt x="256" y="91"/>
                    </a:lnTo>
                    <a:lnTo>
                      <a:pt x="259" y="91"/>
                    </a:lnTo>
                    <a:lnTo>
                      <a:pt x="262" y="93"/>
                    </a:lnTo>
                    <a:lnTo>
                      <a:pt x="262" y="93"/>
                    </a:lnTo>
                    <a:lnTo>
                      <a:pt x="269" y="99"/>
                    </a:lnTo>
                    <a:lnTo>
                      <a:pt x="272" y="103"/>
                    </a:lnTo>
                    <a:lnTo>
                      <a:pt x="274" y="107"/>
                    </a:lnTo>
                    <a:lnTo>
                      <a:pt x="274" y="107"/>
                    </a:lnTo>
                    <a:lnTo>
                      <a:pt x="274" y="113"/>
                    </a:lnTo>
                    <a:lnTo>
                      <a:pt x="272" y="116"/>
                    </a:lnTo>
                    <a:lnTo>
                      <a:pt x="272" y="117"/>
                    </a:lnTo>
                    <a:lnTo>
                      <a:pt x="272" y="117"/>
                    </a:lnTo>
                    <a:lnTo>
                      <a:pt x="271" y="119"/>
                    </a:lnTo>
                    <a:lnTo>
                      <a:pt x="271" y="120"/>
                    </a:lnTo>
                    <a:lnTo>
                      <a:pt x="272" y="122"/>
                    </a:lnTo>
                    <a:lnTo>
                      <a:pt x="275" y="123"/>
                    </a:lnTo>
                    <a:lnTo>
                      <a:pt x="275" y="123"/>
                    </a:lnTo>
                    <a:lnTo>
                      <a:pt x="282" y="123"/>
                    </a:lnTo>
                    <a:lnTo>
                      <a:pt x="285" y="125"/>
                    </a:lnTo>
                    <a:lnTo>
                      <a:pt x="285" y="12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82" name="Freeform 32"/>
              <p:cNvSpPr>
                <a:spLocks/>
              </p:cNvSpPr>
              <p:nvPr/>
            </p:nvSpPr>
            <p:spPr bwMode="auto">
              <a:xfrm>
                <a:off x="2857613" y="1357415"/>
                <a:ext cx="281939" cy="160260"/>
              </a:xfrm>
              <a:custGeom>
                <a:avLst/>
                <a:gdLst>
                  <a:gd name="T0" fmla="*/ 272 w 285"/>
                  <a:gd name="T1" fmla="*/ 135 h 162"/>
                  <a:gd name="T2" fmla="*/ 255 w 285"/>
                  <a:gd name="T3" fmla="*/ 125 h 162"/>
                  <a:gd name="T4" fmla="*/ 264 w 285"/>
                  <a:gd name="T5" fmla="*/ 139 h 162"/>
                  <a:gd name="T6" fmla="*/ 240 w 285"/>
                  <a:gd name="T7" fmla="*/ 152 h 162"/>
                  <a:gd name="T8" fmla="*/ 226 w 285"/>
                  <a:gd name="T9" fmla="*/ 148 h 162"/>
                  <a:gd name="T10" fmla="*/ 216 w 285"/>
                  <a:gd name="T11" fmla="*/ 143 h 162"/>
                  <a:gd name="T12" fmla="*/ 200 w 285"/>
                  <a:gd name="T13" fmla="*/ 158 h 162"/>
                  <a:gd name="T14" fmla="*/ 158 w 285"/>
                  <a:gd name="T15" fmla="*/ 161 h 162"/>
                  <a:gd name="T16" fmla="*/ 136 w 285"/>
                  <a:gd name="T17" fmla="*/ 152 h 162"/>
                  <a:gd name="T18" fmla="*/ 128 w 285"/>
                  <a:gd name="T19" fmla="*/ 143 h 162"/>
                  <a:gd name="T20" fmla="*/ 122 w 285"/>
                  <a:gd name="T21" fmla="*/ 143 h 162"/>
                  <a:gd name="T22" fmla="*/ 107 w 285"/>
                  <a:gd name="T23" fmla="*/ 151 h 162"/>
                  <a:gd name="T24" fmla="*/ 94 w 285"/>
                  <a:gd name="T25" fmla="*/ 139 h 162"/>
                  <a:gd name="T26" fmla="*/ 87 w 285"/>
                  <a:gd name="T27" fmla="*/ 145 h 162"/>
                  <a:gd name="T28" fmla="*/ 75 w 285"/>
                  <a:gd name="T29" fmla="*/ 135 h 162"/>
                  <a:gd name="T30" fmla="*/ 74 w 285"/>
                  <a:gd name="T31" fmla="*/ 117 h 162"/>
                  <a:gd name="T32" fmla="*/ 78 w 285"/>
                  <a:gd name="T33" fmla="*/ 109 h 162"/>
                  <a:gd name="T34" fmla="*/ 77 w 285"/>
                  <a:gd name="T35" fmla="*/ 99 h 162"/>
                  <a:gd name="T36" fmla="*/ 78 w 285"/>
                  <a:gd name="T37" fmla="*/ 77 h 162"/>
                  <a:gd name="T38" fmla="*/ 80 w 285"/>
                  <a:gd name="T39" fmla="*/ 62 h 162"/>
                  <a:gd name="T40" fmla="*/ 68 w 285"/>
                  <a:gd name="T41" fmla="*/ 51 h 162"/>
                  <a:gd name="T42" fmla="*/ 64 w 285"/>
                  <a:gd name="T43" fmla="*/ 45 h 162"/>
                  <a:gd name="T44" fmla="*/ 46 w 285"/>
                  <a:gd name="T45" fmla="*/ 51 h 162"/>
                  <a:gd name="T46" fmla="*/ 33 w 285"/>
                  <a:gd name="T47" fmla="*/ 51 h 162"/>
                  <a:gd name="T48" fmla="*/ 13 w 285"/>
                  <a:gd name="T49" fmla="*/ 25 h 162"/>
                  <a:gd name="T50" fmla="*/ 2 w 285"/>
                  <a:gd name="T51" fmla="*/ 12 h 162"/>
                  <a:gd name="T52" fmla="*/ 3 w 285"/>
                  <a:gd name="T53" fmla="*/ 6 h 162"/>
                  <a:gd name="T54" fmla="*/ 9 w 285"/>
                  <a:gd name="T55" fmla="*/ 2 h 162"/>
                  <a:gd name="T56" fmla="*/ 30 w 285"/>
                  <a:gd name="T57" fmla="*/ 2 h 162"/>
                  <a:gd name="T58" fmla="*/ 41 w 285"/>
                  <a:gd name="T59" fmla="*/ 7 h 162"/>
                  <a:gd name="T60" fmla="*/ 49 w 285"/>
                  <a:gd name="T61" fmla="*/ 9 h 162"/>
                  <a:gd name="T62" fmla="*/ 57 w 285"/>
                  <a:gd name="T63" fmla="*/ 26 h 162"/>
                  <a:gd name="T64" fmla="*/ 61 w 285"/>
                  <a:gd name="T65" fmla="*/ 28 h 162"/>
                  <a:gd name="T66" fmla="*/ 86 w 285"/>
                  <a:gd name="T67" fmla="*/ 25 h 162"/>
                  <a:gd name="T68" fmla="*/ 97 w 285"/>
                  <a:gd name="T69" fmla="*/ 33 h 162"/>
                  <a:gd name="T70" fmla="*/ 86 w 285"/>
                  <a:gd name="T71" fmla="*/ 33 h 162"/>
                  <a:gd name="T72" fmla="*/ 99 w 285"/>
                  <a:gd name="T73" fmla="*/ 41 h 162"/>
                  <a:gd name="T74" fmla="*/ 123 w 285"/>
                  <a:gd name="T75" fmla="*/ 52 h 162"/>
                  <a:gd name="T76" fmla="*/ 104 w 285"/>
                  <a:gd name="T77" fmla="*/ 58 h 162"/>
                  <a:gd name="T78" fmla="*/ 96 w 285"/>
                  <a:gd name="T79" fmla="*/ 58 h 162"/>
                  <a:gd name="T80" fmla="*/ 103 w 285"/>
                  <a:gd name="T81" fmla="*/ 62 h 162"/>
                  <a:gd name="T82" fmla="*/ 97 w 285"/>
                  <a:gd name="T83" fmla="*/ 68 h 162"/>
                  <a:gd name="T84" fmla="*/ 100 w 285"/>
                  <a:gd name="T85" fmla="*/ 73 h 162"/>
                  <a:gd name="T86" fmla="*/ 114 w 285"/>
                  <a:gd name="T87" fmla="*/ 73 h 162"/>
                  <a:gd name="T88" fmla="*/ 125 w 285"/>
                  <a:gd name="T89" fmla="*/ 84 h 162"/>
                  <a:gd name="T90" fmla="*/ 133 w 285"/>
                  <a:gd name="T91" fmla="*/ 84 h 162"/>
                  <a:gd name="T92" fmla="*/ 148 w 285"/>
                  <a:gd name="T93" fmla="*/ 90 h 162"/>
                  <a:gd name="T94" fmla="*/ 161 w 285"/>
                  <a:gd name="T95" fmla="*/ 93 h 162"/>
                  <a:gd name="T96" fmla="*/ 196 w 285"/>
                  <a:gd name="T97" fmla="*/ 81 h 162"/>
                  <a:gd name="T98" fmla="*/ 204 w 285"/>
                  <a:gd name="T99" fmla="*/ 83 h 162"/>
                  <a:gd name="T100" fmla="*/ 227 w 285"/>
                  <a:gd name="T101" fmla="*/ 84 h 162"/>
                  <a:gd name="T102" fmla="*/ 243 w 285"/>
                  <a:gd name="T103" fmla="*/ 90 h 162"/>
                  <a:gd name="T104" fmla="*/ 259 w 285"/>
                  <a:gd name="T105" fmla="*/ 91 h 162"/>
                  <a:gd name="T106" fmla="*/ 274 w 285"/>
                  <a:gd name="T107" fmla="*/ 107 h 162"/>
                  <a:gd name="T108" fmla="*/ 272 w 285"/>
                  <a:gd name="T109" fmla="*/ 117 h 162"/>
                  <a:gd name="T110" fmla="*/ 275 w 285"/>
                  <a:gd name="T111" fmla="*/ 123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5" h="162">
                    <a:moveTo>
                      <a:pt x="285" y="125"/>
                    </a:moveTo>
                    <a:lnTo>
                      <a:pt x="285" y="125"/>
                    </a:lnTo>
                    <a:lnTo>
                      <a:pt x="278" y="133"/>
                    </a:lnTo>
                    <a:lnTo>
                      <a:pt x="275" y="135"/>
                    </a:lnTo>
                    <a:lnTo>
                      <a:pt x="272" y="135"/>
                    </a:lnTo>
                    <a:lnTo>
                      <a:pt x="272" y="135"/>
                    </a:lnTo>
                    <a:lnTo>
                      <a:pt x="261" y="128"/>
                    </a:lnTo>
                    <a:lnTo>
                      <a:pt x="256" y="125"/>
                    </a:lnTo>
                    <a:lnTo>
                      <a:pt x="255" y="125"/>
                    </a:lnTo>
                    <a:lnTo>
                      <a:pt x="255" y="125"/>
                    </a:lnTo>
                    <a:lnTo>
                      <a:pt x="255" y="125"/>
                    </a:lnTo>
                    <a:lnTo>
                      <a:pt x="256" y="129"/>
                    </a:lnTo>
                    <a:lnTo>
                      <a:pt x="261" y="133"/>
                    </a:lnTo>
                    <a:lnTo>
                      <a:pt x="264" y="136"/>
                    </a:lnTo>
                    <a:lnTo>
                      <a:pt x="264" y="139"/>
                    </a:lnTo>
                    <a:lnTo>
                      <a:pt x="262" y="141"/>
                    </a:lnTo>
                    <a:lnTo>
                      <a:pt x="262" y="141"/>
                    </a:lnTo>
                    <a:lnTo>
                      <a:pt x="252" y="146"/>
                    </a:lnTo>
                    <a:lnTo>
                      <a:pt x="245" y="151"/>
                    </a:lnTo>
                    <a:lnTo>
                      <a:pt x="240" y="152"/>
                    </a:lnTo>
                    <a:lnTo>
                      <a:pt x="240" y="152"/>
                    </a:lnTo>
                    <a:lnTo>
                      <a:pt x="236" y="151"/>
                    </a:lnTo>
                    <a:lnTo>
                      <a:pt x="233" y="149"/>
                    </a:lnTo>
                    <a:lnTo>
                      <a:pt x="230" y="148"/>
                    </a:lnTo>
                    <a:lnTo>
                      <a:pt x="226" y="148"/>
                    </a:lnTo>
                    <a:lnTo>
                      <a:pt x="226" y="148"/>
                    </a:lnTo>
                    <a:lnTo>
                      <a:pt x="223" y="146"/>
                    </a:lnTo>
                    <a:lnTo>
                      <a:pt x="222" y="143"/>
                    </a:lnTo>
                    <a:lnTo>
                      <a:pt x="220" y="143"/>
                    </a:lnTo>
                    <a:lnTo>
                      <a:pt x="216" y="143"/>
                    </a:lnTo>
                    <a:lnTo>
                      <a:pt x="216" y="143"/>
                    </a:lnTo>
                    <a:lnTo>
                      <a:pt x="212" y="146"/>
                    </a:lnTo>
                    <a:lnTo>
                      <a:pt x="209" y="152"/>
                    </a:lnTo>
                    <a:lnTo>
                      <a:pt x="204" y="157"/>
                    </a:lnTo>
                    <a:lnTo>
                      <a:pt x="200" y="158"/>
                    </a:lnTo>
                    <a:lnTo>
                      <a:pt x="200" y="158"/>
                    </a:lnTo>
                    <a:lnTo>
                      <a:pt x="170" y="162"/>
                    </a:lnTo>
                    <a:lnTo>
                      <a:pt x="170" y="162"/>
                    </a:lnTo>
                    <a:lnTo>
                      <a:pt x="164" y="162"/>
                    </a:lnTo>
                    <a:lnTo>
                      <a:pt x="158" y="161"/>
                    </a:lnTo>
                    <a:lnTo>
                      <a:pt x="146" y="158"/>
                    </a:lnTo>
                    <a:lnTo>
                      <a:pt x="146" y="158"/>
                    </a:lnTo>
                    <a:lnTo>
                      <a:pt x="142" y="155"/>
                    </a:lnTo>
                    <a:lnTo>
                      <a:pt x="136" y="152"/>
                    </a:lnTo>
                    <a:lnTo>
                      <a:pt x="136" y="152"/>
                    </a:lnTo>
                    <a:lnTo>
                      <a:pt x="130" y="152"/>
                    </a:lnTo>
                    <a:lnTo>
                      <a:pt x="129" y="151"/>
                    </a:lnTo>
                    <a:lnTo>
                      <a:pt x="129" y="148"/>
                    </a:lnTo>
                    <a:lnTo>
                      <a:pt x="129" y="148"/>
                    </a:lnTo>
                    <a:lnTo>
                      <a:pt x="128" y="143"/>
                    </a:lnTo>
                    <a:lnTo>
                      <a:pt x="126" y="142"/>
                    </a:lnTo>
                    <a:lnTo>
                      <a:pt x="125" y="141"/>
                    </a:lnTo>
                    <a:lnTo>
                      <a:pt x="125" y="141"/>
                    </a:lnTo>
                    <a:lnTo>
                      <a:pt x="123" y="142"/>
                    </a:lnTo>
                    <a:lnTo>
                      <a:pt x="122" y="143"/>
                    </a:lnTo>
                    <a:lnTo>
                      <a:pt x="120" y="148"/>
                    </a:lnTo>
                    <a:lnTo>
                      <a:pt x="120" y="148"/>
                    </a:lnTo>
                    <a:lnTo>
                      <a:pt x="114" y="151"/>
                    </a:lnTo>
                    <a:lnTo>
                      <a:pt x="107" y="151"/>
                    </a:lnTo>
                    <a:lnTo>
                      <a:pt x="107" y="151"/>
                    </a:lnTo>
                    <a:lnTo>
                      <a:pt x="103" y="149"/>
                    </a:lnTo>
                    <a:lnTo>
                      <a:pt x="99" y="146"/>
                    </a:lnTo>
                    <a:lnTo>
                      <a:pt x="99" y="146"/>
                    </a:lnTo>
                    <a:lnTo>
                      <a:pt x="94" y="141"/>
                    </a:lnTo>
                    <a:lnTo>
                      <a:pt x="94" y="139"/>
                    </a:lnTo>
                    <a:lnTo>
                      <a:pt x="93" y="141"/>
                    </a:lnTo>
                    <a:lnTo>
                      <a:pt x="93" y="141"/>
                    </a:lnTo>
                    <a:lnTo>
                      <a:pt x="91" y="143"/>
                    </a:lnTo>
                    <a:lnTo>
                      <a:pt x="90" y="143"/>
                    </a:lnTo>
                    <a:lnTo>
                      <a:pt x="87" y="145"/>
                    </a:lnTo>
                    <a:lnTo>
                      <a:pt x="87" y="145"/>
                    </a:lnTo>
                    <a:lnTo>
                      <a:pt x="83" y="143"/>
                    </a:lnTo>
                    <a:lnTo>
                      <a:pt x="80" y="141"/>
                    </a:lnTo>
                    <a:lnTo>
                      <a:pt x="77" y="139"/>
                    </a:lnTo>
                    <a:lnTo>
                      <a:pt x="75" y="135"/>
                    </a:lnTo>
                    <a:lnTo>
                      <a:pt x="75" y="135"/>
                    </a:lnTo>
                    <a:lnTo>
                      <a:pt x="77" y="129"/>
                    </a:lnTo>
                    <a:lnTo>
                      <a:pt x="75" y="125"/>
                    </a:lnTo>
                    <a:lnTo>
                      <a:pt x="75" y="125"/>
                    </a:lnTo>
                    <a:lnTo>
                      <a:pt x="74" y="117"/>
                    </a:lnTo>
                    <a:lnTo>
                      <a:pt x="77" y="113"/>
                    </a:lnTo>
                    <a:lnTo>
                      <a:pt x="77" y="113"/>
                    </a:lnTo>
                    <a:lnTo>
                      <a:pt x="78" y="112"/>
                    </a:lnTo>
                    <a:lnTo>
                      <a:pt x="80" y="110"/>
                    </a:lnTo>
                    <a:lnTo>
                      <a:pt x="78" y="109"/>
                    </a:lnTo>
                    <a:lnTo>
                      <a:pt x="78" y="109"/>
                    </a:lnTo>
                    <a:lnTo>
                      <a:pt x="77" y="104"/>
                    </a:lnTo>
                    <a:lnTo>
                      <a:pt x="77" y="101"/>
                    </a:lnTo>
                    <a:lnTo>
                      <a:pt x="77" y="99"/>
                    </a:lnTo>
                    <a:lnTo>
                      <a:pt x="77" y="99"/>
                    </a:lnTo>
                    <a:lnTo>
                      <a:pt x="80" y="88"/>
                    </a:lnTo>
                    <a:lnTo>
                      <a:pt x="81" y="84"/>
                    </a:lnTo>
                    <a:lnTo>
                      <a:pt x="81" y="81"/>
                    </a:lnTo>
                    <a:lnTo>
                      <a:pt x="81" y="81"/>
                    </a:lnTo>
                    <a:lnTo>
                      <a:pt x="78" y="77"/>
                    </a:lnTo>
                    <a:lnTo>
                      <a:pt x="77" y="74"/>
                    </a:lnTo>
                    <a:lnTo>
                      <a:pt x="78" y="71"/>
                    </a:lnTo>
                    <a:lnTo>
                      <a:pt x="78" y="71"/>
                    </a:lnTo>
                    <a:lnTo>
                      <a:pt x="80" y="65"/>
                    </a:lnTo>
                    <a:lnTo>
                      <a:pt x="80" y="62"/>
                    </a:lnTo>
                    <a:lnTo>
                      <a:pt x="80" y="59"/>
                    </a:lnTo>
                    <a:lnTo>
                      <a:pt x="80" y="59"/>
                    </a:lnTo>
                    <a:lnTo>
                      <a:pt x="74" y="55"/>
                    </a:lnTo>
                    <a:lnTo>
                      <a:pt x="68" y="51"/>
                    </a:lnTo>
                    <a:lnTo>
                      <a:pt x="68" y="51"/>
                    </a:lnTo>
                    <a:lnTo>
                      <a:pt x="67" y="49"/>
                    </a:lnTo>
                    <a:lnTo>
                      <a:pt x="65" y="46"/>
                    </a:lnTo>
                    <a:lnTo>
                      <a:pt x="65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57" y="48"/>
                    </a:lnTo>
                    <a:lnTo>
                      <a:pt x="52" y="51"/>
                    </a:lnTo>
                    <a:lnTo>
                      <a:pt x="49" y="51"/>
                    </a:lnTo>
                    <a:lnTo>
                      <a:pt x="49" y="51"/>
                    </a:lnTo>
                    <a:lnTo>
                      <a:pt x="46" y="51"/>
                    </a:lnTo>
                    <a:lnTo>
                      <a:pt x="42" y="49"/>
                    </a:lnTo>
                    <a:lnTo>
                      <a:pt x="39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3" y="51"/>
                    </a:lnTo>
                    <a:lnTo>
                      <a:pt x="32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2" y="41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2" y="22"/>
                    </a:lnTo>
                    <a:lnTo>
                      <a:pt x="9" y="19"/>
                    </a:lnTo>
                    <a:lnTo>
                      <a:pt x="4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5" y="2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9" y="7"/>
                    </a:lnTo>
                    <a:lnTo>
                      <a:pt x="41" y="7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6" y="6"/>
                    </a:lnTo>
                    <a:lnTo>
                      <a:pt x="49" y="9"/>
                    </a:lnTo>
                    <a:lnTo>
                      <a:pt x="49" y="9"/>
                    </a:lnTo>
                    <a:lnTo>
                      <a:pt x="55" y="13"/>
                    </a:lnTo>
                    <a:lnTo>
                      <a:pt x="57" y="16"/>
                    </a:lnTo>
                    <a:lnTo>
                      <a:pt x="58" y="19"/>
                    </a:lnTo>
                    <a:lnTo>
                      <a:pt x="58" y="19"/>
                    </a:lnTo>
                    <a:lnTo>
                      <a:pt x="57" y="26"/>
                    </a:lnTo>
                    <a:lnTo>
                      <a:pt x="57" y="29"/>
                    </a:lnTo>
                    <a:lnTo>
                      <a:pt x="57" y="31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61" y="28"/>
                    </a:lnTo>
                    <a:lnTo>
                      <a:pt x="64" y="28"/>
                    </a:lnTo>
                    <a:lnTo>
                      <a:pt x="71" y="25"/>
                    </a:lnTo>
                    <a:lnTo>
                      <a:pt x="71" y="25"/>
                    </a:lnTo>
                    <a:lnTo>
                      <a:pt x="80" y="25"/>
                    </a:lnTo>
                    <a:lnTo>
                      <a:pt x="86" y="25"/>
                    </a:lnTo>
                    <a:lnTo>
                      <a:pt x="90" y="26"/>
                    </a:lnTo>
                    <a:lnTo>
                      <a:pt x="90" y="26"/>
                    </a:lnTo>
                    <a:lnTo>
                      <a:pt x="93" y="29"/>
                    </a:lnTo>
                    <a:lnTo>
                      <a:pt x="96" y="32"/>
                    </a:lnTo>
                    <a:lnTo>
                      <a:pt x="97" y="33"/>
                    </a:lnTo>
                    <a:lnTo>
                      <a:pt x="97" y="35"/>
                    </a:lnTo>
                    <a:lnTo>
                      <a:pt x="96" y="35"/>
                    </a:lnTo>
                    <a:lnTo>
                      <a:pt x="96" y="35"/>
                    </a:lnTo>
                    <a:lnTo>
                      <a:pt x="88" y="33"/>
                    </a:lnTo>
                    <a:lnTo>
                      <a:pt x="86" y="33"/>
                    </a:lnTo>
                    <a:lnTo>
                      <a:pt x="86" y="33"/>
                    </a:lnTo>
                    <a:lnTo>
                      <a:pt x="90" y="38"/>
                    </a:lnTo>
                    <a:lnTo>
                      <a:pt x="94" y="39"/>
                    </a:lnTo>
                    <a:lnTo>
                      <a:pt x="99" y="41"/>
                    </a:lnTo>
                    <a:lnTo>
                      <a:pt x="99" y="41"/>
                    </a:lnTo>
                    <a:lnTo>
                      <a:pt x="110" y="44"/>
                    </a:lnTo>
                    <a:lnTo>
                      <a:pt x="119" y="48"/>
                    </a:lnTo>
                    <a:lnTo>
                      <a:pt x="119" y="48"/>
                    </a:lnTo>
                    <a:lnTo>
                      <a:pt x="122" y="49"/>
                    </a:lnTo>
                    <a:lnTo>
                      <a:pt x="123" y="52"/>
                    </a:lnTo>
                    <a:lnTo>
                      <a:pt x="122" y="52"/>
                    </a:lnTo>
                    <a:lnTo>
                      <a:pt x="119" y="54"/>
                    </a:lnTo>
                    <a:lnTo>
                      <a:pt x="119" y="54"/>
                    </a:lnTo>
                    <a:lnTo>
                      <a:pt x="112" y="57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99" y="58"/>
                    </a:lnTo>
                    <a:lnTo>
                      <a:pt x="96" y="58"/>
                    </a:lnTo>
                    <a:lnTo>
                      <a:pt x="96" y="58"/>
                    </a:lnTo>
                    <a:lnTo>
                      <a:pt x="96" y="58"/>
                    </a:lnTo>
                    <a:lnTo>
                      <a:pt x="94" y="61"/>
                    </a:lnTo>
                    <a:lnTo>
                      <a:pt x="94" y="62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103" y="62"/>
                    </a:lnTo>
                    <a:lnTo>
                      <a:pt x="104" y="64"/>
                    </a:lnTo>
                    <a:lnTo>
                      <a:pt x="104" y="65"/>
                    </a:lnTo>
                    <a:lnTo>
                      <a:pt x="104" y="65"/>
                    </a:lnTo>
                    <a:lnTo>
                      <a:pt x="100" y="67"/>
                    </a:lnTo>
                    <a:lnTo>
                      <a:pt x="97" y="68"/>
                    </a:lnTo>
                    <a:lnTo>
                      <a:pt x="96" y="70"/>
                    </a:lnTo>
                    <a:lnTo>
                      <a:pt x="96" y="70"/>
                    </a:lnTo>
                    <a:lnTo>
                      <a:pt x="96" y="74"/>
                    </a:lnTo>
                    <a:lnTo>
                      <a:pt x="97" y="74"/>
                    </a:lnTo>
                    <a:lnTo>
                      <a:pt x="100" y="73"/>
                    </a:lnTo>
                    <a:lnTo>
                      <a:pt x="100" y="73"/>
                    </a:lnTo>
                    <a:lnTo>
                      <a:pt x="104" y="71"/>
                    </a:lnTo>
                    <a:lnTo>
                      <a:pt x="109" y="71"/>
                    </a:lnTo>
                    <a:lnTo>
                      <a:pt x="114" y="73"/>
                    </a:lnTo>
                    <a:lnTo>
                      <a:pt x="114" y="73"/>
                    </a:lnTo>
                    <a:lnTo>
                      <a:pt x="117" y="75"/>
                    </a:lnTo>
                    <a:lnTo>
                      <a:pt x="119" y="78"/>
                    </a:lnTo>
                    <a:lnTo>
                      <a:pt x="119" y="78"/>
                    </a:lnTo>
                    <a:lnTo>
                      <a:pt x="123" y="83"/>
                    </a:lnTo>
                    <a:lnTo>
                      <a:pt x="125" y="84"/>
                    </a:lnTo>
                    <a:lnTo>
                      <a:pt x="126" y="86"/>
                    </a:lnTo>
                    <a:lnTo>
                      <a:pt x="126" y="86"/>
                    </a:lnTo>
                    <a:lnTo>
                      <a:pt x="129" y="84"/>
                    </a:lnTo>
                    <a:lnTo>
                      <a:pt x="132" y="84"/>
                    </a:lnTo>
                    <a:lnTo>
                      <a:pt x="133" y="84"/>
                    </a:lnTo>
                    <a:lnTo>
                      <a:pt x="133" y="84"/>
                    </a:lnTo>
                    <a:lnTo>
                      <a:pt x="139" y="90"/>
                    </a:lnTo>
                    <a:lnTo>
                      <a:pt x="143" y="91"/>
                    </a:lnTo>
                    <a:lnTo>
                      <a:pt x="148" y="90"/>
                    </a:lnTo>
                    <a:lnTo>
                      <a:pt x="148" y="90"/>
                    </a:lnTo>
                    <a:lnTo>
                      <a:pt x="151" y="90"/>
                    </a:lnTo>
                    <a:lnTo>
                      <a:pt x="154" y="90"/>
                    </a:lnTo>
                    <a:lnTo>
                      <a:pt x="156" y="91"/>
                    </a:lnTo>
                    <a:lnTo>
                      <a:pt x="161" y="93"/>
                    </a:lnTo>
                    <a:lnTo>
                      <a:pt x="161" y="93"/>
                    </a:lnTo>
                    <a:lnTo>
                      <a:pt x="170" y="93"/>
                    </a:lnTo>
                    <a:lnTo>
                      <a:pt x="175" y="91"/>
                    </a:lnTo>
                    <a:lnTo>
                      <a:pt x="175" y="91"/>
                    </a:lnTo>
                    <a:lnTo>
                      <a:pt x="196" y="81"/>
                    </a:lnTo>
                    <a:lnTo>
                      <a:pt x="196" y="81"/>
                    </a:lnTo>
                    <a:lnTo>
                      <a:pt x="201" y="78"/>
                    </a:lnTo>
                    <a:lnTo>
                      <a:pt x="204" y="78"/>
                    </a:lnTo>
                    <a:lnTo>
                      <a:pt x="206" y="78"/>
                    </a:lnTo>
                    <a:lnTo>
                      <a:pt x="206" y="78"/>
                    </a:lnTo>
                    <a:lnTo>
                      <a:pt x="204" y="83"/>
                    </a:lnTo>
                    <a:lnTo>
                      <a:pt x="204" y="84"/>
                    </a:lnTo>
                    <a:lnTo>
                      <a:pt x="207" y="84"/>
                    </a:lnTo>
                    <a:lnTo>
                      <a:pt x="207" y="84"/>
                    </a:lnTo>
                    <a:lnTo>
                      <a:pt x="216" y="84"/>
                    </a:lnTo>
                    <a:lnTo>
                      <a:pt x="227" y="84"/>
                    </a:lnTo>
                    <a:lnTo>
                      <a:pt x="227" y="84"/>
                    </a:lnTo>
                    <a:lnTo>
                      <a:pt x="235" y="86"/>
                    </a:lnTo>
                    <a:lnTo>
                      <a:pt x="239" y="87"/>
                    </a:lnTo>
                    <a:lnTo>
                      <a:pt x="239" y="87"/>
                    </a:lnTo>
                    <a:lnTo>
                      <a:pt x="243" y="90"/>
                    </a:lnTo>
                    <a:lnTo>
                      <a:pt x="246" y="91"/>
                    </a:lnTo>
                    <a:lnTo>
                      <a:pt x="251" y="91"/>
                    </a:lnTo>
                    <a:lnTo>
                      <a:pt x="251" y="91"/>
                    </a:lnTo>
                    <a:lnTo>
                      <a:pt x="256" y="91"/>
                    </a:lnTo>
                    <a:lnTo>
                      <a:pt x="259" y="91"/>
                    </a:lnTo>
                    <a:lnTo>
                      <a:pt x="262" y="93"/>
                    </a:lnTo>
                    <a:lnTo>
                      <a:pt x="262" y="93"/>
                    </a:lnTo>
                    <a:lnTo>
                      <a:pt x="269" y="99"/>
                    </a:lnTo>
                    <a:lnTo>
                      <a:pt x="272" y="103"/>
                    </a:lnTo>
                    <a:lnTo>
                      <a:pt x="274" y="107"/>
                    </a:lnTo>
                    <a:lnTo>
                      <a:pt x="274" y="107"/>
                    </a:lnTo>
                    <a:lnTo>
                      <a:pt x="274" y="113"/>
                    </a:lnTo>
                    <a:lnTo>
                      <a:pt x="272" y="116"/>
                    </a:lnTo>
                    <a:lnTo>
                      <a:pt x="272" y="117"/>
                    </a:lnTo>
                    <a:lnTo>
                      <a:pt x="272" y="117"/>
                    </a:lnTo>
                    <a:lnTo>
                      <a:pt x="271" y="119"/>
                    </a:lnTo>
                    <a:lnTo>
                      <a:pt x="271" y="120"/>
                    </a:lnTo>
                    <a:lnTo>
                      <a:pt x="272" y="122"/>
                    </a:lnTo>
                    <a:lnTo>
                      <a:pt x="275" y="123"/>
                    </a:lnTo>
                    <a:lnTo>
                      <a:pt x="275" y="123"/>
                    </a:lnTo>
                    <a:lnTo>
                      <a:pt x="282" y="123"/>
                    </a:lnTo>
                    <a:lnTo>
                      <a:pt x="285" y="125"/>
                    </a:lnTo>
                    <a:lnTo>
                      <a:pt x="285" y="12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83" name="Freeform 33"/>
              <p:cNvSpPr>
                <a:spLocks/>
              </p:cNvSpPr>
              <p:nvPr/>
            </p:nvSpPr>
            <p:spPr bwMode="auto">
              <a:xfrm>
                <a:off x="3132628" y="1429631"/>
                <a:ext cx="6925" cy="10882"/>
              </a:xfrm>
              <a:custGeom>
                <a:avLst/>
                <a:gdLst>
                  <a:gd name="T0" fmla="*/ 6 w 7"/>
                  <a:gd name="T1" fmla="*/ 10 h 11"/>
                  <a:gd name="T2" fmla="*/ 6 w 7"/>
                  <a:gd name="T3" fmla="*/ 10 h 11"/>
                  <a:gd name="T4" fmla="*/ 4 w 7"/>
                  <a:gd name="T5" fmla="*/ 11 h 11"/>
                  <a:gd name="T6" fmla="*/ 3 w 7"/>
                  <a:gd name="T7" fmla="*/ 10 h 11"/>
                  <a:gd name="T8" fmla="*/ 0 w 7"/>
                  <a:gd name="T9" fmla="*/ 8 h 11"/>
                  <a:gd name="T10" fmla="*/ 0 w 7"/>
                  <a:gd name="T11" fmla="*/ 5 h 11"/>
                  <a:gd name="T12" fmla="*/ 0 w 7"/>
                  <a:gd name="T13" fmla="*/ 5 h 11"/>
                  <a:gd name="T14" fmla="*/ 0 w 7"/>
                  <a:gd name="T15" fmla="*/ 1 h 11"/>
                  <a:gd name="T16" fmla="*/ 2 w 7"/>
                  <a:gd name="T17" fmla="*/ 0 h 11"/>
                  <a:gd name="T18" fmla="*/ 4 w 7"/>
                  <a:gd name="T19" fmla="*/ 0 h 11"/>
                  <a:gd name="T20" fmla="*/ 4 w 7"/>
                  <a:gd name="T21" fmla="*/ 0 h 11"/>
                  <a:gd name="T22" fmla="*/ 6 w 7"/>
                  <a:gd name="T23" fmla="*/ 1 h 11"/>
                  <a:gd name="T24" fmla="*/ 7 w 7"/>
                  <a:gd name="T25" fmla="*/ 4 h 11"/>
                  <a:gd name="T26" fmla="*/ 6 w 7"/>
                  <a:gd name="T27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1">
                    <a:moveTo>
                      <a:pt x="6" y="10"/>
                    </a:moveTo>
                    <a:lnTo>
                      <a:pt x="6" y="10"/>
                    </a:lnTo>
                    <a:lnTo>
                      <a:pt x="4" y="11"/>
                    </a:lnTo>
                    <a:lnTo>
                      <a:pt x="3" y="1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1"/>
                    </a:lnTo>
                    <a:lnTo>
                      <a:pt x="7" y="4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84" name="Freeform 34"/>
              <p:cNvSpPr>
                <a:spLocks/>
              </p:cNvSpPr>
              <p:nvPr/>
            </p:nvSpPr>
            <p:spPr bwMode="auto">
              <a:xfrm>
                <a:off x="3132628" y="1429631"/>
                <a:ext cx="6925" cy="10882"/>
              </a:xfrm>
              <a:custGeom>
                <a:avLst/>
                <a:gdLst>
                  <a:gd name="T0" fmla="*/ 6 w 7"/>
                  <a:gd name="T1" fmla="*/ 10 h 11"/>
                  <a:gd name="T2" fmla="*/ 6 w 7"/>
                  <a:gd name="T3" fmla="*/ 10 h 11"/>
                  <a:gd name="T4" fmla="*/ 4 w 7"/>
                  <a:gd name="T5" fmla="*/ 11 h 11"/>
                  <a:gd name="T6" fmla="*/ 3 w 7"/>
                  <a:gd name="T7" fmla="*/ 10 h 11"/>
                  <a:gd name="T8" fmla="*/ 0 w 7"/>
                  <a:gd name="T9" fmla="*/ 8 h 11"/>
                  <a:gd name="T10" fmla="*/ 0 w 7"/>
                  <a:gd name="T11" fmla="*/ 5 h 11"/>
                  <a:gd name="T12" fmla="*/ 0 w 7"/>
                  <a:gd name="T13" fmla="*/ 5 h 11"/>
                  <a:gd name="T14" fmla="*/ 0 w 7"/>
                  <a:gd name="T15" fmla="*/ 1 h 11"/>
                  <a:gd name="T16" fmla="*/ 2 w 7"/>
                  <a:gd name="T17" fmla="*/ 0 h 11"/>
                  <a:gd name="T18" fmla="*/ 4 w 7"/>
                  <a:gd name="T19" fmla="*/ 0 h 11"/>
                  <a:gd name="T20" fmla="*/ 4 w 7"/>
                  <a:gd name="T21" fmla="*/ 0 h 11"/>
                  <a:gd name="T22" fmla="*/ 6 w 7"/>
                  <a:gd name="T23" fmla="*/ 1 h 11"/>
                  <a:gd name="T24" fmla="*/ 7 w 7"/>
                  <a:gd name="T25" fmla="*/ 4 h 11"/>
                  <a:gd name="T26" fmla="*/ 6 w 7"/>
                  <a:gd name="T27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1">
                    <a:moveTo>
                      <a:pt x="6" y="10"/>
                    </a:moveTo>
                    <a:lnTo>
                      <a:pt x="6" y="10"/>
                    </a:lnTo>
                    <a:lnTo>
                      <a:pt x="4" y="11"/>
                    </a:lnTo>
                    <a:lnTo>
                      <a:pt x="3" y="1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1"/>
                    </a:lnTo>
                    <a:lnTo>
                      <a:pt x="7" y="4"/>
                    </a:lnTo>
                    <a:lnTo>
                      <a:pt x="6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85" name="Freeform 35"/>
              <p:cNvSpPr>
                <a:spLocks/>
              </p:cNvSpPr>
              <p:nvPr/>
            </p:nvSpPr>
            <p:spPr bwMode="auto">
              <a:xfrm>
                <a:off x="2844753" y="1443481"/>
                <a:ext cx="63313" cy="61334"/>
              </a:xfrm>
              <a:custGeom>
                <a:avLst/>
                <a:gdLst>
                  <a:gd name="T0" fmla="*/ 62 w 64"/>
                  <a:gd name="T1" fmla="*/ 59 h 62"/>
                  <a:gd name="T2" fmla="*/ 51 w 64"/>
                  <a:gd name="T3" fmla="*/ 62 h 62"/>
                  <a:gd name="T4" fmla="*/ 46 w 64"/>
                  <a:gd name="T5" fmla="*/ 61 h 62"/>
                  <a:gd name="T6" fmla="*/ 32 w 64"/>
                  <a:gd name="T7" fmla="*/ 51 h 62"/>
                  <a:gd name="T8" fmla="*/ 29 w 64"/>
                  <a:gd name="T9" fmla="*/ 48 h 62"/>
                  <a:gd name="T10" fmla="*/ 25 w 64"/>
                  <a:gd name="T11" fmla="*/ 41 h 62"/>
                  <a:gd name="T12" fmla="*/ 23 w 64"/>
                  <a:gd name="T13" fmla="*/ 39 h 62"/>
                  <a:gd name="T14" fmla="*/ 19 w 64"/>
                  <a:gd name="T15" fmla="*/ 39 h 62"/>
                  <a:gd name="T16" fmla="*/ 17 w 64"/>
                  <a:gd name="T17" fmla="*/ 38 h 62"/>
                  <a:gd name="T18" fmla="*/ 17 w 64"/>
                  <a:gd name="T19" fmla="*/ 29 h 62"/>
                  <a:gd name="T20" fmla="*/ 20 w 64"/>
                  <a:gd name="T21" fmla="*/ 23 h 62"/>
                  <a:gd name="T22" fmla="*/ 28 w 64"/>
                  <a:gd name="T23" fmla="*/ 19 h 62"/>
                  <a:gd name="T24" fmla="*/ 30 w 64"/>
                  <a:gd name="T25" fmla="*/ 13 h 62"/>
                  <a:gd name="T26" fmla="*/ 29 w 64"/>
                  <a:gd name="T27" fmla="*/ 9 h 62"/>
                  <a:gd name="T28" fmla="*/ 28 w 64"/>
                  <a:gd name="T29" fmla="*/ 7 h 62"/>
                  <a:gd name="T30" fmla="*/ 25 w 64"/>
                  <a:gd name="T31" fmla="*/ 7 h 62"/>
                  <a:gd name="T32" fmla="*/ 20 w 64"/>
                  <a:gd name="T33" fmla="*/ 10 h 62"/>
                  <a:gd name="T34" fmla="*/ 16 w 64"/>
                  <a:gd name="T35" fmla="*/ 16 h 62"/>
                  <a:gd name="T36" fmla="*/ 10 w 64"/>
                  <a:gd name="T37" fmla="*/ 16 h 62"/>
                  <a:gd name="T38" fmla="*/ 1 w 64"/>
                  <a:gd name="T39" fmla="*/ 6 h 62"/>
                  <a:gd name="T40" fmla="*/ 0 w 64"/>
                  <a:gd name="T41" fmla="*/ 3 h 62"/>
                  <a:gd name="T42" fmla="*/ 3 w 64"/>
                  <a:gd name="T43" fmla="*/ 1 h 62"/>
                  <a:gd name="T44" fmla="*/ 7 w 64"/>
                  <a:gd name="T45" fmla="*/ 0 h 62"/>
                  <a:gd name="T46" fmla="*/ 32 w 64"/>
                  <a:gd name="T47" fmla="*/ 0 h 62"/>
                  <a:gd name="T48" fmla="*/ 42 w 64"/>
                  <a:gd name="T49" fmla="*/ 0 h 62"/>
                  <a:gd name="T50" fmla="*/ 51 w 64"/>
                  <a:gd name="T51" fmla="*/ 1 h 62"/>
                  <a:gd name="T52" fmla="*/ 52 w 64"/>
                  <a:gd name="T53" fmla="*/ 4 h 62"/>
                  <a:gd name="T54" fmla="*/ 57 w 64"/>
                  <a:gd name="T55" fmla="*/ 14 h 62"/>
                  <a:gd name="T56" fmla="*/ 59 w 64"/>
                  <a:gd name="T57" fmla="*/ 17 h 62"/>
                  <a:gd name="T58" fmla="*/ 62 w 64"/>
                  <a:gd name="T59" fmla="*/ 25 h 62"/>
                  <a:gd name="T60" fmla="*/ 62 w 64"/>
                  <a:gd name="T61" fmla="*/ 33 h 62"/>
                  <a:gd name="T62" fmla="*/ 61 w 64"/>
                  <a:gd name="T63" fmla="*/ 43 h 62"/>
                  <a:gd name="T64" fmla="*/ 61 w 64"/>
                  <a:gd name="T65" fmla="*/ 46 h 62"/>
                  <a:gd name="T66" fmla="*/ 64 w 64"/>
                  <a:gd name="T67" fmla="*/ 5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4" h="62">
                    <a:moveTo>
                      <a:pt x="62" y="59"/>
                    </a:moveTo>
                    <a:lnTo>
                      <a:pt x="62" y="59"/>
                    </a:lnTo>
                    <a:lnTo>
                      <a:pt x="55" y="62"/>
                    </a:lnTo>
                    <a:lnTo>
                      <a:pt x="51" y="62"/>
                    </a:lnTo>
                    <a:lnTo>
                      <a:pt x="46" y="61"/>
                    </a:lnTo>
                    <a:lnTo>
                      <a:pt x="46" y="61"/>
                    </a:lnTo>
                    <a:lnTo>
                      <a:pt x="39" y="56"/>
                    </a:lnTo>
                    <a:lnTo>
                      <a:pt x="32" y="51"/>
                    </a:lnTo>
                    <a:lnTo>
                      <a:pt x="32" y="51"/>
                    </a:lnTo>
                    <a:lnTo>
                      <a:pt x="29" y="48"/>
                    </a:lnTo>
                    <a:lnTo>
                      <a:pt x="26" y="45"/>
                    </a:lnTo>
                    <a:lnTo>
                      <a:pt x="25" y="41"/>
                    </a:lnTo>
                    <a:lnTo>
                      <a:pt x="23" y="39"/>
                    </a:lnTo>
                    <a:lnTo>
                      <a:pt x="23" y="39"/>
                    </a:lnTo>
                    <a:lnTo>
                      <a:pt x="20" y="41"/>
                    </a:lnTo>
                    <a:lnTo>
                      <a:pt x="19" y="39"/>
                    </a:lnTo>
                    <a:lnTo>
                      <a:pt x="17" y="38"/>
                    </a:lnTo>
                    <a:lnTo>
                      <a:pt x="17" y="38"/>
                    </a:lnTo>
                    <a:lnTo>
                      <a:pt x="17" y="33"/>
                    </a:lnTo>
                    <a:lnTo>
                      <a:pt x="17" y="29"/>
                    </a:lnTo>
                    <a:lnTo>
                      <a:pt x="19" y="25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28" y="19"/>
                    </a:lnTo>
                    <a:lnTo>
                      <a:pt x="29" y="16"/>
                    </a:lnTo>
                    <a:lnTo>
                      <a:pt x="30" y="13"/>
                    </a:lnTo>
                    <a:lnTo>
                      <a:pt x="30" y="13"/>
                    </a:lnTo>
                    <a:lnTo>
                      <a:pt x="29" y="9"/>
                    </a:lnTo>
                    <a:lnTo>
                      <a:pt x="29" y="7"/>
                    </a:lnTo>
                    <a:lnTo>
                      <a:pt x="28" y="7"/>
                    </a:lnTo>
                    <a:lnTo>
                      <a:pt x="28" y="7"/>
                    </a:lnTo>
                    <a:lnTo>
                      <a:pt x="25" y="7"/>
                    </a:lnTo>
                    <a:lnTo>
                      <a:pt x="22" y="9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6"/>
                    </a:lnTo>
                    <a:lnTo>
                      <a:pt x="13" y="17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3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0" y="1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51" y="1"/>
                    </a:lnTo>
                    <a:lnTo>
                      <a:pt x="51" y="1"/>
                    </a:lnTo>
                    <a:lnTo>
                      <a:pt x="52" y="4"/>
                    </a:lnTo>
                    <a:lnTo>
                      <a:pt x="55" y="10"/>
                    </a:lnTo>
                    <a:lnTo>
                      <a:pt x="57" y="14"/>
                    </a:lnTo>
                    <a:lnTo>
                      <a:pt x="59" y="17"/>
                    </a:lnTo>
                    <a:lnTo>
                      <a:pt x="59" y="17"/>
                    </a:lnTo>
                    <a:lnTo>
                      <a:pt x="61" y="20"/>
                    </a:lnTo>
                    <a:lnTo>
                      <a:pt x="62" y="25"/>
                    </a:lnTo>
                    <a:lnTo>
                      <a:pt x="62" y="33"/>
                    </a:lnTo>
                    <a:lnTo>
                      <a:pt x="62" y="33"/>
                    </a:lnTo>
                    <a:lnTo>
                      <a:pt x="61" y="41"/>
                    </a:lnTo>
                    <a:lnTo>
                      <a:pt x="61" y="43"/>
                    </a:lnTo>
                    <a:lnTo>
                      <a:pt x="61" y="46"/>
                    </a:lnTo>
                    <a:lnTo>
                      <a:pt x="61" y="46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2" y="5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86" name="Freeform 36"/>
              <p:cNvSpPr>
                <a:spLocks/>
              </p:cNvSpPr>
              <p:nvPr/>
            </p:nvSpPr>
            <p:spPr bwMode="auto">
              <a:xfrm>
                <a:off x="2844753" y="1443481"/>
                <a:ext cx="63313" cy="61334"/>
              </a:xfrm>
              <a:custGeom>
                <a:avLst/>
                <a:gdLst>
                  <a:gd name="T0" fmla="*/ 62 w 64"/>
                  <a:gd name="T1" fmla="*/ 59 h 62"/>
                  <a:gd name="T2" fmla="*/ 51 w 64"/>
                  <a:gd name="T3" fmla="*/ 62 h 62"/>
                  <a:gd name="T4" fmla="*/ 46 w 64"/>
                  <a:gd name="T5" fmla="*/ 61 h 62"/>
                  <a:gd name="T6" fmla="*/ 32 w 64"/>
                  <a:gd name="T7" fmla="*/ 51 h 62"/>
                  <a:gd name="T8" fmla="*/ 29 w 64"/>
                  <a:gd name="T9" fmla="*/ 48 h 62"/>
                  <a:gd name="T10" fmla="*/ 25 w 64"/>
                  <a:gd name="T11" fmla="*/ 41 h 62"/>
                  <a:gd name="T12" fmla="*/ 23 w 64"/>
                  <a:gd name="T13" fmla="*/ 39 h 62"/>
                  <a:gd name="T14" fmla="*/ 19 w 64"/>
                  <a:gd name="T15" fmla="*/ 39 h 62"/>
                  <a:gd name="T16" fmla="*/ 17 w 64"/>
                  <a:gd name="T17" fmla="*/ 38 h 62"/>
                  <a:gd name="T18" fmla="*/ 17 w 64"/>
                  <a:gd name="T19" fmla="*/ 29 h 62"/>
                  <a:gd name="T20" fmla="*/ 20 w 64"/>
                  <a:gd name="T21" fmla="*/ 23 h 62"/>
                  <a:gd name="T22" fmla="*/ 28 w 64"/>
                  <a:gd name="T23" fmla="*/ 19 h 62"/>
                  <a:gd name="T24" fmla="*/ 30 w 64"/>
                  <a:gd name="T25" fmla="*/ 13 h 62"/>
                  <a:gd name="T26" fmla="*/ 29 w 64"/>
                  <a:gd name="T27" fmla="*/ 9 h 62"/>
                  <a:gd name="T28" fmla="*/ 28 w 64"/>
                  <a:gd name="T29" fmla="*/ 7 h 62"/>
                  <a:gd name="T30" fmla="*/ 25 w 64"/>
                  <a:gd name="T31" fmla="*/ 7 h 62"/>
                  <a:gd name="T32" fmla="*/ 20 w 64"/>
                  <a:gd name="T33" fmla="*/ 10 h 62"/>
                  <a:gd name="T34" fmla="*/ 16 w 64"/>
                  <a:gd name="T35" fmla="*/ 16 h 62"/>
                  <a:gd name="T36" fmla="*/ 10 w 64"/>
                  <a:gd name="T37" fmla="*/ 16 h 62"/>
                  <a:gd name="T38" fmla="*/ 1 w 64"/>
                  <a:gd name="T39" fmla="*/ 6 h 62"/>
                  <a:gd name="T40" fmla="*/ 0 w 64"/>
                  <a:gd name="T41" fmla="*/ 3 h 62"/>
                  <a:gd name="T42" fmla="*/ 3 w 64"/>
                  <a:gd name="T43" fmla="*/ 1 h 62"/>
                  <a:gd name="T44" fmla="*/ 7 w 64"/>
                  <a:gd name="T45" fmla="*/ 0 h 62"/>
                  <a:gd name="T46" fmla="*/ 32 w 64"/>
                  <a:gd name="T47" fmla="*/ 0 h 62"/>
                  <a:gd name="T48" fmla="*/ 42 w 64"/>
                  <a:gd name="T49" fmla="*/ 0 h 62"/>
                  <a:gd name="T50" fmla="*/ 51 w 64"/>
                  <a:gd name="T51" fmla="*/ 1 h 62"/>
                  <a:gd name="T52" fmla="*/ 52 w 64"/>
                  <a:gd name="T53" fmla="*/ 4 h 62"/>
                  <a:gd name="T54" fmla="*/ 57 w 64"/>
                  <a:gd name="T55" fmla="*/ 14 h 62"/>
                  <a:gd name="T56" fmla="*/ 59 w 64"/>
                  <a:gd name="T57" fmla="*/ 17 h 62"/>
                  <a:gd name="T58" fmla="*/ 62 w 64"/>
                  <a:gd name="T59" fmla="*/ 25 h 62"/>
                  <a:gd name="T60" fmla="*/ 62 w 64"/>
                  <a:gd name="T61" fmla="*/ 33 h 62"/>
                  <a:gd name="T62" fmla="*/ 61 w 64"/>
                  <a:gd name="T63" fmla="*/ 43 h 62"/>
                  <a:gd name="T64" fmla="*/ 61 w 64"/>
                  <a:gd name="T65" fmla="*/ 46 h 62"/>
                  <a:gd name="T66" fmla="*/ 64 w 64"/>
                  <a:gd name="T67" fmla="*/ 5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4" h="62">
                    <a:moveTo>
                      <a:pt x="62" y="59"/>
                    </a:moveTo>
                    <a:lnTo>
                      <a:pt x="62" y="59"/>
                    </a:lnTo>
                    <a:lnTo>
                      <a:pt x="55" y="62"/>
                    </a:lnTo>
                    <a:lnTo>
                      <a:pt x="51" y="62"/>
                    </a:lnTo>
                    <a:lnTo>
                      <a:pt x="46" y="61"/>
                    </a:lnTo>
                    <a:lnTo>
                      <a:pt x="46" y="61"/>
                    </a:lnTo>
                    <a:lnTo>
                      <a:pt x="39" y="56"/>
                    </a:lnTo>
                    <a:lnTo>
                      <a:pt x="32" y="51"/>
                    </a:lnTo>
                    <a:lnTo>
                      <a:pt x="32" y="51"/>
                    </a:lnTo>
                    <a:lnTo>
                      <a:pt x="29" y="48"/>
                    </a:lnTo>
                    <a:lnTo>
                      <a:pt x="26" y="45"/>
                    </a:lnTo>
                    <a:lnTo>
                      <a:pt x="25" y="41"/>
                    </a:lnTo>
                    <a:lnTo>
                      <a:pt x="23" y="39"/>
                    </a:lnTo>
                    <a:lnTo>
                      <a:pt x="23" y="39"/>
                    </a:lnTo>
                    <a:lnTo>
                      <a:pt x="20" y="41"/>
                    </a:lnTo>
                    <a:lnTo>
                      <a:pt x="19" y="39"/>
                    </a:lnTo>
                    <a:lnTo>
                      <a:pt x="17" y="38"/>
                    </a:lnTo>
                    <a:lnTo>
                      <a:pt x="17" y="38"/>
                    </a:lnTo>
                    <a:lnTo>
                      <a:pt x="17" y="33"/>
                    </a:lnTo>
                    <a:lnTo>
                      <a:pt x="17" y="29"/>
                    </a:lnTo>
                    <a:lnTo>
                      <a:pt x="19" y="25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28" y="19"/>
                    </a:lnTo>
                    <a:lnTo>
                      <a:pt x="29" y="16"/>
                    </a:lnTo>
                    <a:lnTo>
                      <a:pt x="30" y="13"/>
                    </a:lnTo>
                    <a:lnTo>
                      <a:pt x="30" y="13"/>
                    </a:lnTo>
                    <a:lnTo>
                      <a:pt x="29" y="9"/>
                    </a:lnTo>
                    <a:lnTo>
                      <a:pt x="29" y="7"/>
                    </a:lnTo>
                    <a:lnTo>
                      <a:pt x="28" y="7"/>
                    </a:lnTo>
                    <a:lnTo>
                      <a:pt x="28" y="7"/>
                    </a:lnTo>
                    <a:lnTo>
                      <a:pt x="25" y="7"/>
                    </a:lnTo>
                    <a:lnTo>
                      <a:pt x="22" y="9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6"/>
                    </a:lnTo>
                    <a:lnTo>
                      <a:pt x="13" y="17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3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0" y="1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51" y="1"/>
                    </a:lnTo>
                    <a:lnTo>
                      <a:pt x="51" y="1"/>
                    </a:lnTo>
                    <a:lnTo>
                      <a:pt x="52" y="4"/>
                    </a:lnTo>
                    <a:lnTo>
                      <a:pt x="55" y="10"/>
                    </a:lnTo>
                    <a:lnTo>
                      <a:pt x="57" y="14"/>
                    </a:lnTo>
                    <a:lnTo>
                      <a:pt x="59" y="17"/>
                    </a:lnTo>
                    <a:lnTo>
                      <a:pt x="59" y="17"/>
                    </a:lnTo>
                    <a:lnTo>
                      <a:pt x="61" y="20"/>
                    </a:lnTo>
                    <a:lnTo>
                      <a:pt x="62" y="25"/>
                    </a:lnTo>
                    <a:lnTo>
                      <a:pt x="62" y="33"/>
                    </a:lnTo>
                    <a:lnTo>
                      <a:pt x="62" y="33"/>
                    </a:lnTo>
                    <a:lnTo>
                      <a:pt x="61" y="41"/>
                    </a:lnTo>
                    <a:lnTo>
                      <a:pt x="61" y="43"/>
                    </a:lnTo>
                    <a:lnTo>
                      <a:pt x="61" y="46"/>
                    </a:lnTo>
                    <a:lnTo>
                      <a:pt x="61" y="46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2" y="5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87" name="Freeform 37"/>
              <p:cNvSpPr>
                <a:spLocks/>
              </p:cNvSpPr>
              <p:nvPr/>
            </p:nvSpPr>
            <p:spPr bwMode="auto">
              <a:xfrm>
                <a:off x="2729999" y="1450406"/>
                <a:ext cx="15828" cy="21764"/>
              </a:xfrm>
              <a:custGeom>
                <a:avLst/>
                <a:gdLst>
                  <a:gd name="T0" fmla="*/ 7 w 16"/>
                  <a:gd name="T1" fmla="*/ 22 h 22"/>
                  <a:gd name="T2" fmla="*/ 7 w 16"/>
                  <a:gd name="T3" fmla="*/ 22 h 22"/>
                  <a:gd name="T4" fmla="*/ 6 w 16"/>
                  <a:gd name="T5" fmla="*/ 22 h 22"/>
                  <a:gd name="T6" fmla="*/ 5 w 16"/>
                  <a:gd name="T7" fmla="*/ 19 h 22"/>
                  <a:gd name="T8" fmla="*/ 5 w 16"/>
                  <a:gd name="T9" fmla="*/ 16 h 22"/>
                  <a:gd name="T10" fmla="*/ 3 w 16"/>
                  <a:gd name="T11" fmla="*/ 16 h 22"/>
                  <a:gd name="T12" fmla="*/ 3 w 16"/>
                  <a:gd name="T13" fmla="*/ 16 h 22"/>
                  <a:gd name="T14" fmla="*/ 3 w 16"/>
                  <a:gd name="T15" fmla="*/ 16 h 22"/>
                  <a:gd name="T16" fmla="*/ 2 w 16"/>
                  <a:gd name="T17" fmla="*/ 18 h 22"/>
                  <a:gd name="T18" fmla="*/ 0 w 16"/>
                  <a:gd name="T19" fmla="*/ 19 h 22"/>
                  <a:gd name="T20" fmla="*/ 0 w 16"/>
                  <a:gd name="T21" fmla="*/ 16 h 22"/>
                  <a:gd name="T22" fmla="*/ 0 w 16"/>
                  <a:gd name="T23" fmla="*/ 16 h 22"/>
                  <a:gd name="T24" fmla="*/ 0 w 16"/>
                  <a:gd name="T25" fmla="*/ 13 h 22"/>
                  <a:gd name="T26" fmla="*/ 0 w 16"/>
                  <a:gd name="T27" fmla="*/ 7 h 22"/>
                  <a:gd name="T28" fmla="*/ 3 w 16"/>
                  <a:gd name="T29" fmla="*/ 3 h 22"/>
                  <a:gd name="T30" fmla="*/ 5 w 16"/>
                  <a:gd name="T31" fmla="*/ 0 h 22"/>
                  <a:gd name="T32" fmla="*/ 5 w 16"/>
                  <a:gd name="T33" fmla="*/ 0 h 22"/>
                  <a:gd name="T34" fmla="*/ 6 w 16"/>
                  <a:gd name="T35" fmla="*/ 0 h 22"/>
                  <a:gd name="T36" fmla="*/ 7 w 16"/>
                  <a:gd name="T37" fmla="*/ 0 h 22"/>
                  <a:gd name="T38" fmla="*/ 10 w 16"/>
                  <a:gd name="T39" fmla="*/ 3 h 22"/>
                  <a:gd name="T40" fmla="*/ 10 w 16"/>
                  <a:gd name="T41" fmla="*/ 3 h 22"/>
                  <a:gd name="T42" fmla="*/ 13 w 16"/>
                  <a:gd name="T43" fmla="*/ 5 h 22"/>
                  <a:gd name="T44" fmla="*/ 15 w 16"/>
                  <a:gd name="T45" fmla="*/ 7 h 22"/>
                  <a:gd name="T46" fmla="*/ 16 w 16"/>
                  <a:gd name="T47" fmla="*/ 12 h 22"/>
                  <a:gd name="T48" fmla="*/ 16 w 16"/>
                  <a:gd name="T49" fmla="*/ 13 h 22"/>
                  <a:gd name="T50" fmla="*/ 16 w 16"/>
                  <a:gd name="T51" fmla="*/ 13 h 22"/>
                  <a:gd name="T52" fmla="*/ 12 w 16"/>
                  <a:gd name="T53" fmla="*/ 19 h 22"/>
                  <a:gd name="T54" fmla="*/ 7 w 16"/>
                  <a:gd name="T5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6" h="22">
                    <a:moveTo>
                      <a:pt x="7" y="22"/>
                    </a:moveTo>
                    <a:lnTo>
                      <a:pt x="7" y="22"/>
                    </a:lnTo>
                    <a:lnTo>
                      <a:pt x="6" y="22"/>
                    </a:lnTo>
                    <a:lnTo>
                      <a:pt x="5" y="19"/>
                    </a:lnTo>
                    <a:lnTo>
                      <a:pt x="5" y="16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2" y="18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10" y="3"/>
                    </a:lnTo>
                    <a:lnTo>
                      <a:pt x="10" y="3"/>
                    </a:lnTo>
                    <a:lnTo>
                      <a:pt x="13" y="5"/>
                    </a:lnTo>
                    <a:lnTo>
                      <a:pt x="15" y="7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2" y="19"/>
                    </a:lnTo>
                    <a:lnTo>
                      <a:pt x="7" y="2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88" name="Freeform 38"/>
              <p:cNvSpPr>
                <a:spLocks/>
              </p:cNvSpPr>
              <p:nvPr/>
            </p:nvSpPr>
            <p:spPr bwMode="auto">
              <a:xfrm>
                <a:off x="2729999" y="1450406"/>
                <a:ext cx="15828" cy="21764"/>
              </a:xfrm>
              <a:custGeom>
                <a:avLst/>
                <a:gdLst>
                  <a:gd name="T0" fmla="*/ 7 w 16"/>
                  <a:gd name="T1" fmla="*/ 22 h 22"/>
                  <a:gd name="T2" fmla="*/ 7 w 16"/>
                  <a:gd name="T3" fmla="*/ 22 h 22"/>
                  <a:gd name="T4" fmla="*/ 6 w 16"/>
                  <a:gd name="T5" fmla="*/ 22 h 22"/>
                  <a:gd name="T6" fmla="*/ 5 w 16"/>
                  <a:gd name="T7" fmla="*/ 19 h 22"/>
                  <a:gd name="T8" fmla="*/ 5 w 16"/>
                  <a:gd name="T9" fmla="*/ 16 h 22"/>
                  <a:gd name="T10" fmla="*/ 3 w 16"/>
                  <a:gd name="T11" fmla="*/ 16 h 22"/>
                  <a:gd name="T12" fmla="*/ 3 w 16"/>
                  <a:gd name="T13" fmla="*/ 16 h 22"/>
                  <a:gd name="T14" fmla="*/ 3 w 16"/>
                  <a:gd name="T15" fmla="*/ 16 h 22"/>
                  <a:gd name="T16" fmla="*/ 2 w 16"/>
                  <a:gd name="T17" fmla="*/ 18 h 22"/>
                  <a:gd name="T18" fmla="*/ 0 w 16"/>
                  <a:gd name="T19" fmla="*/ 19 h 22"/>
                  <a:gd name="T20" fmla="*/ 0 w 16"/>
                  <a:gd name="T21" fmla="*/ 16 h 22"/>
                  <a:gd name="T22" fmla="*/ 0 w 16"/>
                  <a:gd name="T23" fmla="*/ 16 h 22"/>
                  <a:gd name="T24" fmla="*/ 0 w 16"/>
                  <a:gd name="T25" fmla="*/ 13 h 22"/>
                  <a:gd name="T26" fmla="*/ 0 w 16"/>
                  <a:gd name="T27" fmla="*/ 7 h 22"/>
                  <a:gd name="T28" fmla="*/ 3 w 16"/>
                  <a:gd name="T29" fmla="*/ 3 h 22"/>
                  <a:gd name="T30" fmla="*/ 5 w 16"/>
                  <a:gd name="T31" fmla="*/ 0 h 22"/>
                  <a:gd name="T32" fmla="*/ 5 w 16"/>
                  <a:gd name="T33" fmla="*/ 0 h 22"/>
                  <a:gd name="T34" fmla="*/ 6 w 16"/>
                  <a:gd name="T35" fmla="*/ 0 h 22"/>
                  <a:gd name="T36" fmla="*/ 7 w 16"/>
                  <a:gd name="T37" fmla="*/ 0 h 22"/>
                  <a:gd name="T38" fmla="*/ 10 w 16"/>
                  <a:gd name="T39" fmla="*/ 3 h 22"/>
                  <a:gd name="T40" fmla="*/ 10 w 16"/>
                  <a:gd name="T41" fmla="*/ 3 h 22"/>
                  <a:gd name="T42" fmla="*/ 13 w 16"/>
                  <a:gd name="T43" fmla="*/ 5 h 22"/>
                  <a:gd name="T44" fmla="*/ 15 w 16"/>
                  <a:gd name="T45" fmla="*/ 7 h 22"/>
                  <a:gd name="T46" fmla="*/ 16 w 16"/>
                  <a:gd name="T47" fmla="*/ 12 h 22"/>
                  <a:gd name="T48" fmla="*/ 16 w 16"/>
                  <a:gd name="T49" fmla="*/ 13 h 22"/>
                  <a:gd name="T50" fmla="*/ 16 w 16"/>
                  <a:gd name="T51" fmla="*/ 13 h 22"/>
                  <a:gd name="T52" fmla="*/ 12 w 16"/>
                  <a:gd name="T53" fmla="*/ 19 h 22"/>
                  <a:gd name="T54" fmla="*/ 7 w 16"/>
                  <a:gd name="T5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6" h="22">
                    <a:moveTo>
                      <a:pt x="7" y="22"/>
                    </a:moveTo>
                    <a:lnTo>
                      <a:pt x="7" y="22"/>
                    </a:lnTo>
                    <a:lnTo>
                      <a:pt x="6" y="22"/>
                    </a:lnTo>
                    <a:lnTo>
                      <a:pt x="5" y="19"/>
                    </a:lnTo>
                    <a:lnTo>
                      <a:pt x="5" y="16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2" y="18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10" y="3"/>
                    </a:lnTo>
                    <a:lnTo>
                      <a:pt x="10" y="3"/>
                    </a:lnTo>
                    <a:lnTo>
                      <a:pt x="13" y="5"/>
                    </a:lnTo>
                    <a:lnTo>
                      <a:pt x="15" y="7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2" y="19"/>
                    </a:lnTo>
                    <a:lnTo>
                      <a:pt x="7" y="2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89" name="Freeform 39"/>
              <p:cNvSpPr>
                <a:spLocks/>
              </p:cNvSpPr>
              <p:nvPr/>
            </p:nvSpPr>
            <p:spPr bwMode="auto">
              <a:xfrm>
                <a:off x="2720106" y="1372254"/>
                <a:ext cx="121679" cy="108819"/>
              </a:xfrm>
              <a:custGeom>
                <a:avLst/>
                <a:gdLst>
                  <a:gd name="T0" fmla="*/ 78 w 123"/>
                  <a:gd name="T1" fmla="*/ 104 h 110"/>
                  <a:gd name="T2" fmla="*/ 72 w 123"/>
                  <a:gd name="T3" fmla="*/ 91 h 110"/>
                  <a:gd name="T4" fmla="*/ 68 w 123"/>
                  <a:gd name="T5" fmla="*/ 85 h 110"/>
                  <a:gd name="T6" fmla="*/ 74 w 123"/>
                  <a:gd name="T7" fmla="*/ 79 h 110"/>
                  <a:gd name="T8" fmla="*/ 68 w 123"/>
                  <a:gd name="T9" fmla="*/ 76 h 110"/>
                  <a:gd name="T10" fmla="*/ 61 w 123"/>
                  <a:gd name="T11" fmla="*/ 76 h 110"/>
                  <a:gd name="T12" fmla="*/ 52 w 123"/>
                  <a:gd name="T13" fmla="*/ 75 h 110"/>
                  <a:gd name="T14" fmla="*/ 39 w 123"/>
                  <a:gd name="T15" fmla="*/ 73 h 110"/>
                  <a:gd name="T16" fmla="*/ 42 w 123"/>
                  <a:gd name="T17" fmla="*/ 68 h 110"/>
                  <a:gd name="T18" fmla="*/ 42 w 123"/>
                  <a:gd name="T19" fmla="*/ 63 h 110"/>
                  <a:gd name="T20" fmla="*/ 25 w 123"/>
                  <a:gd name="T21" fmla="*/ 63 h 110"/>
                  <a:gd name="T22" fmla="*/ 30 w 123"/>
                  <a:gd name="T23" fmla="*/ 53 h 110"/>
                  <a:gd name="T24" fmla="*/ 29 w 123"/>
                  <a:gd name="T25" fmla="*/ 44 h 110"/>
                  <a:gd name="T26" fmla="*/ 20 w 123"/>
                  <a:gd name="T27" fmla="*/ 43 h 110"/>
                  <a:gd name="T28" fmla="*/ 19 w 123"/>
                  <a:gd name="T29" fmla="*/ 31 h 110"/>
                  <a:gd name="T30" fmla="*/ 3 w 123"/>
                  <a:gd name="T31" fmla="*/ 24 h 110"/>
                  <a:gd name="T32" fmla="*/ 3 w 123"/>
                  <a:gd name="T33" fmla="*/ 13 h 110"/>
                  <a:gd name="T34" fmla="*/ 1 w 123"/>
                  <a:gd name="T35" fmla="*/ 8 h 110"/>
                  <a:gd name="T36" fmla="*/ 15 w 123"/>
                  <a:gd name="T37" fmla="*/ 1 h 110"/>
                  <a:gd name="T38" fmla="*/ 28 w 123"/>
                  <a:gd name="T39" fmla="*/ 8 h 110"/>
                  <a:gd name="T40" fmla="*/ 41 w 123"/>
                  <a:gd name="T41" fmla="*/ 20 h 110"/>
                  <a:gd name="T42" fmla="*/ 43 w 123"/>
                  <a:gd name="T43" fmla="*/ 27 h 110"/>
                  <a:gd name="T44" fmla="*/ 46 w 123"/>
                  <a:gd name="T45" fmla="*/ 42 h 110"/>
                  <a:gd name="T46" fmla="*/ 54 w 123"/>
                  <a:gd name="T47" fmla="*/ 46 h 110"/>
                  <a:gd name="T48" fmla="*/ 62 w 123"/>
                  <a:gd name="T49" fmla="*/ 47 h 110"/>
                  <a:gd name="T50" fmla="*/ 57 w 123"/>
                  <a:gd name="T51" fmla="*/ 36 h 110"/>
                  <a:gd name="T52" fmla="*/ 51 w 123"/>
                  <a:gd name="T53" fmla="*/ 27 h 110"/>
                  <a:gd name="T54" fmla="*/ 54 w 123"/>
                  <a:gd name="T55" fmla="*/ 16 h 110"/>
                  <a:gd name="T56" fmla="*/ 67 w 123"/>
                  <a:gd name="T57" fmla="*/ 17 h 110"/>
                  <a:gd name="T58" fmla="*/ 67 w 123"/>
                  <a:gd name="T59" fmla="*/ 31 h 110"/>
                  <a:gd name="T60" fmla="*/ 77 w 123"/>
                  <a:gd name="T61" fmla="*/ 42 h 110"/>
                  <a:gd name="T62" fmla="*/ 87 w 123"/>
                  <a:gd name="T63" fmla="*/ 43 h 110"/>
                  <a:gd name="T64" fmla="*/ 90 w 123"/>
                  <a:gd name="T65" fmla="*/ 34 h 110"/>
                  <a:gd name="T66" fmla="*/ 85 w 123"/>
                  <a:gd name="T67" fmla="*/ 29 h 110"/>
                  <a:gd name="T68" fmla="*/ 74 w 123"/>
                  <a:gd name="T69" fmla="*/ 27 h 110"/>
                  <a:gd name="T70" fmla="*/ 74 w 123"/>
                  <a:gd name="T71" fmla="*/ 10 h 110"/>
                  <a:gd name="T72" fmla="*/ 84 w 123"/>
                  <a:gd name="T73" fmla="*/ 7 h 110"/>
                  <a:gd name="T74" fmla="*/ 88 w 123"/>
                  <a:gd name="T75" fmla="*/ 0 h 110"/>
                  <a:gd name="T76" fmla="*/ 93 w 123"/>
                  <a:gd name="T77" fmla="*/ 5 h 110"/>
                  <a:gd name="T78" fmla="*/ 101 w 123"/>
                  <a:gd name="T79" fmla="*/ 11 h 110"/>
                  <a:gd name="T80" fmla="*/ 103 w 123"/>
                  <a:gd name="T81" fmla="*/ 8 h 110"/>
                  <a:gd name="T82" fmla="*/ 107 w 123"/>
                  <a:gd name="T83" fmla="*/ 4 h 110"/>
                  <a:gd name="T84" fmla="*/ 116 w 123"/>
                  <a:gd name="T85" fmla="*/ 4 h 110"/>
                  <a:gd name="T86" fmla="*/ 114 w 123"/>
                  <a:gd name="T87" fmla="*/ 10 h 110"/>
                  <a:gd name="T88" fmla="*/ 122 w 123"/>
                  <a:gd name="T89" fmla="*/ 13 h 110"/>
                  <a:gd name="T90" fmla="*/ 122 w 123"/>
                  <a:gd name="T91" fmla="*/ 30 h 110"/>
                  <a:gd name="T92" fmla="*/ 122 w 123"/>
                  <a:gd name="T93" fmla="*/ 52 h 110"/>
                  <a:gd name="T94" fmla="*/ 119 w 123"/>
                  <a:gd name="T95" fmla="*/ 65 h 110"/>
                  <a:gd name="T96" fmla="*/ 122 w 123"/>
                  <a:gd name="T97" fmla="*/ 71 h 110"/>
                  <a:gd name="T98" fmla="*/ 117 w 123"/>
                  <a:gd name="T99" fmla="*/ 84 h 110"/>
                  <a:gd name="T100" fmla="*/ 120 w 123"/>
                  <a:gd name="T101" fmla="*/ 97 h 110"/>
                  <a:gd name="T102" fmla="*/ 120 w 123"/>
                  <a:gd name="T103" fmla="*/ 105 h 110"/>
                  <a:gd name="T104" fmla="*/ 113 w 123"/>
                  <a:gd name="T105" fmla="*/ 110 h 110"/>
                  <a:gd name="T106" fmla="*/ 99 w 123"/>
                  <a:gd name="T107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3" h="110">
                    <a:moveTo>
                      <a:pt x="91" y="108"/>
                    </a:moveTo>
                    <a:lnTo>
                      <a:pt x="91" y="108"/>
                    </a:lnTo>
                    <a:lnTo>
                      <a:pt x="81" y="105"/>
                    </a:lnTo>
                    <a:lnTo>
                      <a:pt x="78" y="104"/>
                    </a:lnTo>
                    <a:lnTo>
                      <a:pt x="77" y="100"/>
                    </a:lnTo>
                    <a:lnTo>
                      <a:pt x="77" y="100"/>
                    </a:lnTo>
                    <a:lnTo>
                      <a:pt x="75" y="94"/>
                    </a:lnTo>
                    <a:lnTo>
                      <a:pt x="72" y="91"/>
                    </a:lnTo>
                    <a:lnTo>
                      <a:pt x="72" y="91"/>
                    </a:lnTo>
                    <a:lnTo>
                      <a:pt x="68" y="86"/>
                    </a:lnTo>
                    <a:lnTo>
                      <a:pt x="67" y="85"/>
                    </a:lnTo>
                    <a:lnTo>
                      <a:pt x="68" y="85"/>
                    </a:lnTo>
                    <a:lnTo>
                      <a:pt x="68" y="85"/>
                    </a:lnTo>
                    <a:lnTo>
                      <a:pt x="71" y="84"/>
                    </a:lnTo>
                    <a:lnTo>
                      <a:pt x="72" y="82"/>
                    </a:lnTo>
                    <a:lnTo>
                      <a:pt x="74" y="79"/>
                    </a:lnTo>
                    <a:lnTo>
                      <a:pt x="72" y="79"/>
                    </a:lnTo>
                    <a:lnTo>
                      <a:pt x="72" y="79"/>
                    </a:lnTo>
                    <a:lnTo>
                      <a:pt x="71" y="78"/>
                    </a:lnTo>
                    <a:lnTo>
                      <a:pt x="68" y="76"/>
                    </a:lnTo>
                    <a:lnTo>
                      <a:pt x="67" y="75"/>
                    </a:lnTo>
                    <a:lnTo>
                      <a:pt x="64" y="75"/>
                    </a:lnTo>
                    <a:lnTo>
                      <a:pt x="64" y="75"/>
                    </a:lnTo>
                    <a:lnTo>
                      <a:pt x="61" y="76"/>
                    </a:lnTo>
                    <a:lnTo>
                      <a:pt x="58" y="78"/>
                    </a:lnTo>
                    <a:lnTo>
                      <a:pt x="57" y="78"/>
                    </a:lnTo>
                    <a:lnTo>
                      <a:pt x="57" y="78"/>
                    </a:lnTo>
                    <a:lnTo>
                      <a:pt x="52" y="75"/>
                    </a:lnTo>
                    <a:lnTo>
                      <a:pt x="48" y="73"/>
                    </a:lnTo>
                    <a:lnTo>
                      <a:pt x="48" y="73"/>
                    </a:lnTo>
                    <a:lnTo>
                      <a:pt x="42" y="73"/>
                    </a:lnTo>
                    <a:lnTo>
                      <a:pt x="39" y="73"/>
                    </a:lnTo>
                    <a:lnTo>
                      <a:pt x="39" y="73"/>
                    </a:lnTo>
                    <a:lnTo>
                      <a:pt x="39" y="73"/>
                    </a:lnTo>
                    <a:lnTo>
                      <a:pt x="41" y="71"/>
                    </a:lnTo>
                    <a:lnTo>
                      <a:pt x="42" y="68"/>
                    </a:lnTo>
                    <a:lnTo>
                      <a:pt x="43" y="65"/>
                    </a:lnTo>
                    <a:lnTo>
                      <a:pt x="43" y="63"/>
                    </a:lnTo>
                    <a:lnTo>
                      <a:pt x="42" y="63"/>
                    </a:lnTo>
                    <a:lnTo>
                      <a:pt x="42" y="63"/>
                    </a:lnTo>
                    <a:lnTo>
                      <a:pt x="32" y="65"/>
                    </a:lnTo>
                    <a:lnTo>
                      <a:pt x="26" y="65"/>
                    </a:lnTo>
                    <a:lnTo>
                      <a:pt x="25" y="63"/>
                    </a:lnTo>
                    <a:lnTo>
                      <a:pt x="25" y="63"/>
                    </a:lnTo>
                    <a:lnTo>
                      <a:pt x="25" y="63"/>
                    </a:lnTo>
                    <a:lnTo>
                      <a:pt x="26" y="58"/>
                    </a:lnTo>
                    <a:lnTo>
                      <a:pt x="28" y="55"/>
                    </a:lnTo>
                    <a:lnTo>
                      <a:pt x="30" y="53"/>
                    </a:lnTo>
                    <a:lnTo>
                      <a:pt x="30" y="53"/>
                    </a:lnTo>
                    <a:lnTo>
                      <a:pt x="30" y="50"/>
                    </a:lnTo>
                    <a:lnTo>
                      <a:pt x="30" y="47"/>
                    </a:lnTo>
                    <a:lnTo>
                      <a:pt x="29" y="44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3" y="43"/>
                    </a:lnTo>
                    <a:lnTo>
                      <a:pt x="20" y="43"/>
                    </a:lnTo>
                    <a:lnTo>
                      <a:pt x="17" y="42"/>
                    </a:lnTo>
                    <a:lnTo>
                      <a:pt x="17" y="42"/>
                    </a:lnTo>
                    <a:lnTo>
                      <a:pt x="19" y="34"/>
                    </a:lnTo>
                    <a:lnTo>
                      <a:pt x="19" y="31"/>
                    </a:lnTo>
                    <a:lnTo>
                      <a:pt x="16" y="29"/>
                    </a:lnTo>
                    <a:lnTo>
                      <a:pt x="16" y="29"/>
                    </a:lnTo>
                    <a:lnTo>
                      <a:pt x="7" y="27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3" y="18"/>
                    </a:lnTo>
                    <a:lnTo>
                      <a:pt x="3" y="14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1" y="13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0" y="2"/>
                    </a:lnTo>
                    <a:lnTo>
                      <a:pt x="15" y="1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23" y="7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10"/>
                    </a:lnTo>
                    <a:lnTo>
                      <a:pt x="35" y="13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2" y="24"/>
                    </a:lnTo>
                    <a:lnTo>
                      <a:pt x="43" y="27"/>
                    </a:lnTo>
                    <a:lnTo>
                      <a:pt x="43" y="27"/>
                    </a:lnTo>
                    <a:lnTo>
                      <a:pt x="45" y="30"/>
                    </a:lnTo>
                    <a:lnTo>
                      <a:pt x="45" y="34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8" y="44"/>
                    </a:lnTo>
                    <a:lnTo>
                      <a:pt x="49" y="44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8" y="47"/>
                    </a:lnTo>
                    <a:lnTo>
                      <a:pt x="61" y="50"/>
                    </a:lnTo>
                    <a:lnTo>
                      <a:pt x="64" y="50"/>
                    </a:lnTo>
                    <a:lnTo>
                      <a:pt x="62" y="47"/>
                    </a:lnTo>
                    <a:lnTo>
                      <a:pt x="62" y="47"/>
                    </a:lnTo>
                    <a:lnTo>
                      <a:pt x="59" y="40"/>
                    </a:lnTo>
                    <a:lnTo>
                      <a:pt x="57" y="36"/>
                    </a:lnTo>
                    <a:lnTo>
                      <a:pt x="57" y="36"/>
                    </a:lnTo>
                    <a:lnTo>
                      <a:pt x="55" y="33"/>
                    </a:lnTo>
                    <a:lnTo>
                      <a:pt x="54" y="30"/>
                    </a:lnTo>
                    <a:lnTo>
                      <a:pt x="52" y="29"/>
                    </a:lnTo>
                    <a:lnTo>
                      <a:pt x="51" y="27"/>
                    </a:lnTo>
                    <a:lnTo>
                      <a:pt x="51" y="27"/>
                    </a:lnTo>
                    <a:lnTo>
                      <a:pt x="52" y="20"/>
                    </a:lnTo>
                    <a:lnTo>
                      <a:pt x="52" y="17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61" y="14"/>
                    </a:lnTo>
                    <a:lnTo>
                      <a:pt x="64" y="16"/>
                    </a:lnTo>
                    <a:lnTo>
                      <a:pt x="67" y="17"/>
                    </a:lnTo>
                    <a:lnTo>
                      <a:pt x="67" y="17"/>
                    </a:lnTo>
                    <a:lnTo>
                      <a:pt x="65" y="24"/>
                    </a:lnTo>
                    <a:lnTo>
                      <a:pt x="65" y="29"/>
                    </a:lnTo>
                    <a:lnTo>
                      <a:pt x="67" y="31"/>
                    </a:lnTo>
                    <a:lnTo>
                      <a:pt x="67" y="31"/>
                    </a:lnTo>
                    <a:lnTo>
                      <a:pt x="71" y="37"/>
                    </a:lnTo>
                    <a:lnTo>
                      <a:pt x="74" y="40"/>
                    </a:lnTo>
                    <a:lnTo>
                      <a:pt x="77" y="42"/>
                    </a:lnTo>
                    <a:lnTo>
                      <a:pt x="77" y="42"/>
                    </a:lnTo>
                    <a:lnTo>
                      <a:pt x="81" y="42"/>
                    </a:lnTo>
                    <a:lnTo>
                      <a:pt x="84" y="42"/>
                    </a:lnTo>
                    <a:lnTo>
                      <a:pt x="87" y="43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8" y="39"/>
                    </a:lnTo>
                    <a:lnTo>
                      <a:pt x="90" y="34"/>
                    </a:lnTo>
                    <a:lnTo>
                      <a:pt x="88" y="30"/>
                    </a:lnTo>
                    <a:lnTo>
                      <a:pt x="87" y="29"/>
                    </a:lnTo>
                    <a:lnTo>
                      <a:pt x="85" y="29"/>
                    </a:lnTo>
                    <a:lnTo>
                      <a:pt x="85" y="29"/>
                    </a:lnTo>
                    <a:lnTo>
                      <a:pt x="80" y="30"/>
                    </a:lnTo>
                    <a:lnTo>
                      <a:pt x="77" y="29"/>
                    </a:lnTo>
                    <a:lnTo>
                      <a:pt x="74" y="27"/>
                    </a:lnTo>
                    <a:lnTo>
                      <a:pt x="74" y="27"/>
                    </a:lnTo>
                    <a:lnTo>
                      <a:pt x="72" y="23"/>
                    </a:lnTo>
                    <a:lnTo>
                      <a:pt x="71" y="17"/>
                    </a:lnTo>
                    <a:lnTo>
                      <a:pt x="72" y="13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7" y="8"/>
                    </a:lnTo>
                    <a:lnTo>
                      <a:pt x="81" y="8"/>
                    </a:lnTo>
                    <a:lnTo>
                      <a:pt x="84" y="7"/>
                    </a:lnTo>
                    <a:lnTo>
                      <a:pt x="85" y="5"/>
                    </a:lnTo>
                    <a:lnTo>
                      <a:pt x="85" y="5"/>
                    </a:lnTo>
                    <a:lnTo>
                      <a:pt x="87" y="1"/>
                    </a:lnTo>
                    <a:lnTo>
                      <a:pt x="88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3" y="1"/>
                    </a:lnTo>
                    <a:lnTo>
                      <a:pt x="93" y="5"/>
                    </a:lnTo>
                    <a:lnTo>
                      <a:pt x="94" y="8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101" y="11"/>
                    </a:lnTo>
                    <a:lnTo>
                      <a:pt x="104" y="13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3" y="8"/>
                    </a:lnTo>
                    <a:lnTo>
                      <a:pt x="103" y="5"/>
                    </a:lnTo>
                    <a:lnTo>
                      <a:pt x="104" y="4"/>
                    </a:lnTo>
                    <a:lnTo>
                      <a:pt x="107" y="4"/>
                    </a:lnTo>
                    <a:lnTo>
                      <a:pt x="107" y="4"/>
                    </a:lnTo>
                    <a:lnTo>
                      <a:pt x="113" y="4"/>
                    </a:lnTo>
                    <a:lnTo>
                      <a:pt x="116" y="4"/>
                    </a:lnTo>
                    <a:lnTo>
                      <a:pt x="116" y="4"/>
                    </a:lnTo>
                    <a:lnTo>
                      <a:pt x="116" y="4"/>
                    </a:lnTo>
                    <a:lnTo>
                      <a:pt x="113" y="7"/>
                    </a:lnTo>
                    <a:lnTo>
                      <a:pt x="112" y="8"/>
                    </a:lnTo>
                    <a:lnTo>
                      <a:pt x="114" y="10"/>
                    </a:lnTo>
                    <a:lnTo>
                      <a:pt x="114" y="10"/>
                    </a:lnTo>
                    <a:lnTo>
                      <a:pt x="119" y="10"/>
                    </a:lnTo>
                    <a:lnTo>
                      <a:pt x="120" y="10"/>
                    </a:lnTo>
                    <a:lnTo>
                      <a:pt x="122" y="13"/>
                    </a:lnTo>
                    <a:lnTo>
                      <a:pt x="122" y="13"/>
                    </a:lnTo>
                    <a:lnTo>
                      <a:pt x="122" y="16"/>
                    </a:lnTo>
                    <a:lnTo>
                      <a:pt x="122" y="20"/>
                    </a:lnTo>
                    <a:lnTo>
                      <a:pt x="120" y="24"/>
                    </a:lnTo>
                    <a:lnTo>
                      <a:pt x="122" y="30"/>
                    </a:lnTo>
                    <a:lnTo>
                      <a:pt x="122" y="30"/>
                    </a:lnTo>
                    <a:lnTo>
                      <a:pt x="123" y="36"/>
                    </a:lnTo>
                    <a:lnTo>
                      <a:pt x="123" y="4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19" y="59"/>
                    </a:lnTo>
                    <a:lnTo>
                      <a:pt x="119" y="65"/>
                    </a:lnTo>
                    <a:lnTo>
                      <a:pt x="119" y="65"/>
                    </a:lnTo>
                    <a:lnTo>
                      <a:pt x="119" y="66"/>
                    </a:lnTo>
                    <a:lnTo>
                      <a:pt x="120" y="68"/>
                    </a:lnTo>
                    <a:lnTo>
                      <a:pt x="122" y="69"/>
                    </a:lnTo>
                    <a:lnTo>
                      <a:pt x="122" y="71"/>
                    </a:lnTo>
                    <a:lnTo>
                      <a:pt x="122" y="71"/>
                    </a:lnTo>
                    <a:lnTo>
                      <a:pt x="119" y="76"/>
                    </a:lnTo>
                    <a:lnTo>
                      <a:pt x="117" y="81"/>
                    </a:lnTo>
                    <a:lnTo>
                      <a:pt x="117" y="84"/>
                    </a:lnTo>
                    <a:lnTo>
                      <a:pt x="117" y="84"/>
                    </a:lnTo>
                    <a:lnTo>
                      <a:pt x="117" y="91"/>
                    </a:lnTo>
                    <a:lnTo>
                      <a:pt x="119" y="95"/>
                    </a:lnTo>
                    <a:lnTo>
                      <a:pt x="120" y="97"/>
                    </a:lnTo>
                    <a:lnTo>
                      <a:pt x="120" y="97"/>
                    </a:lnTo>
                    <a:lnTo>
                      <a:pt x="122" y="98"/>
                    </a:lnTo>
                    <a:lnTo>
                      <a:pt x="122" y="101"/>
                    </a:lnTo>
                    <a:lnTo>
                      <a:pt x="120" y="105"/>
                    </a:lnTo>
                    <a:lnTo>
                      <a:pt x="120" y="105"/>
                    </a:lnTo>
                    <a:lnTo>
                      <a:pt x="117" y="108"/>
                    </a:lnTo>
                    <a:lnTo>
                      <a:pt x="113" y="110"/>
                    </a:lnTo>
                    <a:lnTo>
                      <a:pt x="113" y="110"/>
                    </a:lnTo>
                    <a:lnTo>
                      <a:pt x="109" y="108"/>
                    </a:lnTo>
                    <a:lnTo>
                      <a:pt x="104" y="108"/>
                    </a:lnTo>
                    <a:lnTo>
                      <a:pt x="104" y="108"/>
                    </a:lnTo>
                    <a:lnTo>
                      <a:pt x="99" y="110"/>
                    </a:lnTo>
                    <a:lnTo>
                      <a:pt x="91" y="10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90" name="Freeform 40"/>
              <p:cNvSpPr>
                <a:spLocks/>
              </p:cNvSpPr>
              <p:nvPr/>
            </p:nvSpPr>
            <p:spPr bwMode="auto">
              <a:xfrm>
                <a:off x="2720106" y="1372254"/>
                <a:ext cx="121679" cy="108819"/>
              </a:xfrm>
              <a:custGeom>
                <a:avLst/>
                <a:gdLst>
                  <a:gd name="T0" fmla="*/ 78 w 123"/>
                  <a:gd name="T1" fmla="*/ 104 h 110"/>
                  <a:gd name="T2" fmla="*/ 72 w 123"/>
                  <a:gd name="T3" fmla="*/ 91 h 110"/>
                  <a:gd name="T4" fmla="*/ 68 w 123"/>
                  <a:gd name="T5" fmla="*/ 85 h 110"/>
                  <a:gd name="T6" fmla="*/ 74 w 123"/>
                  <a:gd name="T7" fmla="*/ 79 h 110"/>
                  <a:gd name="T8" fmla="*/ 68 w 123"/>
                  <a:gd name="T9" fmla="*/ 76 h 110"/>
                  <a:gd name="T10" fmla="*/ 61 w 123"/>
                  <a:gd name="T11" fmla="*/ 76 h 110"/>
                  <a:gd name="T12" fmla="*/ 52 w 123"/>
                  <a:gd name="T13" fmla="*/ 75 h 110"/>
                  <a:gd name="T14" fmla="*/ 39 w 123"/>
                  <a:gd name="T15" fmla="*/ 73 h 110"/>
                  <a:gd name="T16" fmla="*/ 42 w 123"/>
                  <a:gd name="T17" fmla="*/ 68 h 110"/>
                  <a:gd name="T18" fmla="*/ 42 w 123"/>
                  <a:gd name="T19" fmla="*/ 63 h 110"/>
                  <a:gd name="T20" fmla="*/ 25 w 123"/>
                  <a:gd name="T21" fmla="*/ 63 h 110"/>
                  <a:gd name="T22" fmla="*/ 30 w 123"/>
                  <a:gd name="T23" fmla="*/ 53 h 110"/>
                  <a:gd name="T24" fmla="*/ 29 w 123"/>
                  <a:gd name="T25" fmla="*/ 44 h 110"/>
                  <a:gd name="T26" fmla="*/ 20 w 123"/>
                  <a:gd name="T27" fmla="*/ 43 h 110"/>
                  <a:gd name="T28" fmla="*/ 19 w 123"/>
                  <a:gd name="T29" fmla="*/ 31 h 110"/>
                  <a:gd name="T30" fmla="*/ 3 w 123"/>
                  <a:gd name="T31" fmla="*/ 24 h 110"/>
                  <a:gd name="T32" fmla="*/ 3 w 123"/>
                  <a:gd name="T33" fmla="*/ 13 h 110"/>
                  <a:gd name="T34" fmla="*/ 1 w 123"/>
                  <a:gd name="T35" fmla="*/ 8 h 110"/>
                  <a:gd name="T36" fmla="*/ 15 w 123"/>
                  <a:gd name="T37" fmla="*/ 1 h 110"/>
                  <a:gd name="T38" fmla="*/ 28 w 123"/>
                  <a:gd name="T39" fmla="*/ 8 h 110"/>
                  <a:gd name="T40" fmla="*/ 41 w 123"/>
                  <a:gd name="T41" fmla="*/ 20 h 110"/>
                  <a:gd name="T42" fmla="*/ 43 w 123"/>
                  <a:gd name="T43" fmla="*/ 27 h 110"/>
                  <a:gd name="T44" fmla="*/ 46 w 123"/>
                  <a:gd name="T45" fmla="*/ 42 h 110"/>
                  <a:gd name="T46" fmla="*/ 54 w 123"/>
                  <a:gd name="T47" fmla="*/ 46 h 110"/>
                  <a:gd name="T48" fmla="*/ 62 w 123"/>
                  <a:gd name="T49" fmla="*/ 47 h 110"/>
                  <a:gd name="T50" fmla="*/ 57 w 123"/>
                  <a:gd name="T51" fmla="*/ 36 h 110"/>
                  <a:gd name="T52" fmla="*/ 51 w 123"/>
                  <a:gd name="T53" fmla="*/ 27 h 110"/>
                  <a:gd name="T54" fmla="*/ 54 w 123"/>
                  <a:gd name="T55" fmla="*/ 16 h 110"/>
                  <a:gd name="T56" fmla="*/ 67 w 123"/>
                  <a:gd name="T57" fmla="*/ 17 h 110"/>
                  <a:gd name="T58" fmla="*/ 67 w 123"/>
                  <a:gd name="T59" fmla="*/ 31 h 110"/>
                  <a:gd name="T60" fmla="*/ 77 w 123"/>
                  <a:gd name="T61" fmla="*/ 42 h 110"/>
                  <a:gd name="T62" fmla="*/ 87 w 123"/>
                  <a:gd name="T63" fmla="*/ 43 h 110"/>
                  <a:gd name="T64" fmla="*/ 90 w 123"/>
                  <a:gd name="T65" fmla="*/ 34 h 110"/>
                  <a:gd name="T66" fmla="*/ 85 w 123"/>
                  <a:gd name="T67" fmla="*/ 29 h 110"/>
                  <a:gd name="T68" fmla="*/ 74 w 123"/>
                  <a:gd name="T69" fmla="*/ 27 h 110"/>
                  <a:gd name="T70" fmla="*/ 74 w 123"/>
                  <a:gd name="T71" fmla="*/ 10 h 110"/>
                  <a:gd name="T72" fmla="*/ 84 w 123"/>
                  <a:gd name="T73" fmla="*/ 7 h 110"/>
                  <a:gd name="T74" fmla="*/ 88 w 123"/>
                  <a:gd name="T75" fmla="*/ 0 h 110"/>
                  <a:gd name="T76" fmla="*/ 93 w 123"/>
                  <a:gd name="T77" fmla="*/ 5 h 110"/>
                  <a:gd name="T78" fmla="*/ 101 w 123"/>
                  <a:gd name="T79" fmla="*/ 11 h 110"/>
                  <a:gd name="T80" fmla="*/ 103 w 123"/>
                  <a:gd name="T81" fmla="*/ 8 h 110"/>
                  <a:gd name="T82" fmla="*/ 107 w 123"/>
                  <a:gd name="T83" fmla="*/ 4 h 110"/>
                  <a:gd name="T84" fmla="*/ 116 w 123"/>
                  <a:gd name="T85" fmla="*/ 4 h 110"/>
                  <a:gd name="T86" fmla="*/ 114 w 123"/>
                  <a:gd name="T87" fmla="*/ 10 h 110"/>
                  <a:gd name="T88" fmla="*/ 122 w 123"/>
                  <a:gd name="T89" fmla="*/ 13 h 110"/>
                  <a:gd name="T90" fmla="*/ 122 w 123"/>
                  <a:gd name="T91" fmla="*/ 30 h 110"/>
                  <a:gd name="T92" fmla="*/ 122 w 123"/>
                  <a:gd name="T93" fmla="*/ 52 h 110"/>
                  <a:gd name="T94" fmla="*/ 119 w 123"/>
                  <a:gd name="T95" fmla="*/ 65 h 110"/>
                  <a:gd name="T96" fmla="*/ 122 w 123"/>
                  <a:gd name="T97" fmla="*/ 71 h 110"/>
                  <a:gd name="T98" fmla="*/ 117 w 123"/>
                  <a:gd name="T99" fmla="*/ 84 h 110"/>
                  <a:gd name="T100" fmla="*/ 120 w 123"/>
                  <a:gd name="T101" fmla="*/ 97 h 110"/>
                  <a:gd name="T102" fmla="*/ 120 w 123"/>
                  <a:gd name="T103" fmla="*/ 105 h 110"/>
                  <a:gd name="T104" fmla="*/ 113 w 123"/>
                  <a:gd name="T105" fmla="*/ 110 h 110"/>
                  <a:gd name="T106" fmla="*/ 99 w 123"/>
                  <a:gd name="T107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3" h="110">
                    <a:moveTo>
                      <a:pt x="91" y="108"/>
                    </a:moveTo>
                    <a:lnTo>
                      <a:pt x="91" y="108"/>
                    </a:lnTo>
                    <a:lnTo>
                      <a:pt x="81" y="105"/>
                    </a:lnTo>
                    <a:lnTo>
                      <a:pt x="78" y="104"/>
                    </a:lnTo>
                    <a:lnTo>
                      <a:pt x="77" y="100"/>
                    </a:lnTo>
                    <a:lnTo>
                      <a:pt x="77" y="100"/>
                    </a:lnTo>
                    <a:lnTo>
                      <a:pt x="75" y="94"/>
                    </a:lnTo>
                    <a:lnTo>
                      <a:pt x="72" y="91"/>
                    </a:lnTo>
                    <a:lnTo>
                      <a:pt x="72" y="91"/>
                    </a:lnTo>
                    <a:lnTo>
                      <a:pt x="68" y="86"/>
                    </a:lnTo>
                    <a:lnTo>
                      <a:pt x="67" y="85"/>
                    </a:lnTo>
                    <a:lnTo>
                      <a:pt x="68" y="85"/>
                    </a:lnTo>
                    <a:lnTo>
                      <a:pt x="68" y="85"/>
                    </a:lnTo>
                    <a:lnTo>
                      <a:pt x="71" y="84"/>
                    </a:lnTo>
                    <a:lnTo>
                      <a:pt x="72" y="82"/>
                    </a:lnTo>
                    <a:lnTo>
                      <a:pt x="74" y="79"/>
                    </a:lnTo>
                    <a:lnTo>
                      <a:pt x="72" y="79"/>
                    </a:lnTo>
                    <a:lnTo>
                      <a:pt x="72" y="79"/>
                    </a:lnTo>
                    <a:lnTo>
                      <a:pt x="71" y="78"/>
                    </a:lnTo>
                    <a:lnTo>
                      <a:pt x="68" y="76"/>
                    </a:lnTo>
                    <a:lnTo>
                      <a:pt x="67" y="75"/>
                    </a:lnTo>
                    <a:lnTo>
                      <a:pt x="64" y="75"/>
                    </a:lnTo>
                    <a:lnTo>
                      <a:pt x="64" y="75"/>
                    </a:lnTo>
                    <a:lnTo>
                      <a:pt x="61" y="76"/>
                    </a:lnTo>
                    <a:lnTo>
                      <a:pt x="58" y="78"/>
                    </a:lnTo>
                    <a:lnTo>
                      <a:pt x="57" y="78"/>
                    </a:lnTo>
                    <a:lnTo>
                      <a:pt x="57" y="78"/>
                    </a:lnTo>
                    <a:lnTo>
                      <a:pt x="52" y="75"/>
                    </a:lnTo>
                    <a:lnTo>
                      <a:pt x="48" y="73"/>
                    </a:lnTo>
                    <a:lnTo>
                      <a:pt x="48" y="73"/>
                    </a:lnTo>
                    <a:lnTo>
                      <a:pt x="42" y="73"/>
                    </a:lnTo>
                    <a:lnTo>
                      <a:pt x="39" y="73"/>
                    </a:lnTo>
                    <a:lnTo>
                      <a:pt x="39" y="73"/>
                    </a:lnTo>
                    <a:lnTo>
                      <a:pt x="39" y="73"/>
                    </a:lnTo>
                    <a:lnTo>
                      <a:pt x="41" y="71"/>
                    </a:lnTo>
                    <a:lnTo>
                      <a:pt x="42" y="68"/>
                    </a:lnTo>
                    <a:lnTo>
                      <a:pt x="43" y="65"/>
                    </a:lnTo>
                    <a:lnTo>
                      <a:pt x="43" y="63"/>
                    </a:lnTo>
                    <a:lnTo>
                      <a:pt x="42" y="63"/>
                    </a:lnTo>
                    <a:lnTo>
                      <a:pt x="42" y="63"/>
                    </a:lnTo>
                    <a:lnTo>
                      <a:pt x="32" y="65"/>
                    </a:lnTo>
                    <a:lnTo>
                      <a:pt x="26" y="65"/>
                    </a:lnTo>
                    <a:lnTo>
                      <a:pt x="25" y="63"/>
                    </a:lnTo>
                    <a:lnTo>
                      <a:pt x="25" y="63"/>
                    </a:lnTo>
                    <a:lnTo>
                      <a:pt x="25" y="63"/>
                    </a:lnTo>
                    <a:lnTo>
                      <a:pt x="26" y="58"/>
                    </a:lnTo>
                    <a:lnTo>
                      <a:pt x="28" y="55"/>
                    </a:lnTo>
                    <a:lnTo>
                      <a:pt x="30" y="53"/>
                    </a:lnTo>
                    <a:lnTo>
                      <a:pt x="30" y="53"/>
                    </a:lnTo>
                    <a:lnTo>
                      <a:pt x="30" y="50"/>
                    </a:lnTo>
                    <a:lnTo>
                      <a:pt x="30" y="47"/>
                    </a:lnTo>
                    <a:lnTo>
                      <a:pt x="29" y="44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3" y="43"/>
                    </a:lnTo>
                    <a:lnTo>
                      <a:pt x="20" y="43"/>
                    </a:lnTo>
                    <a:lnTo>
                      <a:pt x="17" y="42"/>
                    </a:lnTo>
                    <a:lnTo>
                      <a:pt x="17" y="42"/>
                    </a:lnTo>
                    <a:lnTo>
                      <a:pt x="19" y="34"/>
                    </a:lnTo>
                    <a:lnTo>
                      <a:pt x="19" y="31"/>
                    </a:lnTo>
                    <a:lnTo>
                      <a:pt x="16" y="29"/>
                    </a:lnTo>
                    <a:lnTo>
                      <a:pt x="16" y="29"/>
                    </a:lnTo>
                    <a:lnTo>
                      <a:pt x="7" y="27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3" y="18"/>
                    </a:lnTo>
                    <a:lnTo>
                      <a:pt x="3" y="14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1" y="13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0" y="2"/>
                    </a:lnTo>
                    <a:lnTo>
                      <a:pt x="15" y="1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23" y="7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10"/>
                    </a:lnTo>
                    <a:lnTo>
                      <a:pt x="35" y="13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2" y="24"/>
                    </a:lnTo>
                    <a:lnTo>
                      <a:pt x="43" y="27"/>
                    </a:lnTo>
                    <a:lnTo>
                      <a:pt x="43" y="27"/>
                    </a:lnTo>
                    <a:lnTo>
                      <a:pt x="45" y="30"/>
                    </a:lnTo>
                    <a:lnTo>
                      <a:pt x="45" y="34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8" y="44"/>
                    </a:lnTo>
                    <a:lnTo>
                      <a:pt x="49" y="44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8" y="47"/>
                    </a:lnTo>
                    <a:lnTo>
                      <a:pt x="61" y="50"/>
                    </a:lnTo>
                    <a:lnTo>
                      <a:pt x="64" y="50"/>
                    </a:lnTo>
                    <a:lnTo>
                      <a:pt x="62" y="47"/>
                    </a:lnTo>
                    <a:lnTo>
                      <a:pt x="62" y="47"/>
                    </a:lnTo>
                    <a:lnTo>
                      <a:pt x="59" y="40"/>
                    </a:lnTo>
                    <a:lnTo>
                      <a:pt x="57" y="36"/>
                    </a:lnTo>
                    <a:lnTo>
                      <a:pt x="57" y="36"/>
                    </a:lnTo>
                    <a:lnTo>
                      <a:pt x="55" y="33"/>
                    </a:lnTo>
                    <a:lnTo>
                      <a:pt x="54" y="30"/>
                    </a:lnTo>
                    <a:lnTo>
                      <a:pt x="52" y="29"/>
                    </a:lnTo>
                    <a:lnTo>
                      <a:pt x="51" y="27"/>
                    </a:lnTo>
                    <a:lnTo>
                      <a:pt x="51" y="27"/>
                    </a:lnTo>
                    <a:lnTo>
                      <a:pt x="52" y="20"/>
                    </a:lnTo>
                    <a:lnTo>
                      <a:pt x="52" y="17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61" y="14"/>
                    </a:lnTo>
                    <a:lnTo>
                      <a:pt x="64" y="16"/>
                    </a:lnTo>
                    <a:lnTo>
                      <a:pt x="67" y="17"/>
                    </a:lnTo>
                    <a:lnTo>
                      <a:pt x="67" y="17"/>
                    </a:lnTo>
                    <a:lnTo>
                      <a:pt x="65" y="24"/>
                    </a:lnTo>
                    <a:lnTo>
                      <a:pt x="65" y="29"/>
                    </a:lnTo>
                    <a:lnTo>
                      <a:pt x="67" y="31"/>
                    </a:lnTo>
                    <a:lnTo>
                      <a:pt x="67" y="31"/>
                    </a:lnTo>
                    <a:lnTo>
                      <a:pt x="71" y="37"/>
                    </a:lnTo>
                    <a:lnTo>
                      <a:pt x="74" y="40"/>
                    </a:lnTo>
                    <a:lnTo>
                      <a:pt x="77" y="42"/>
                    </a:lnTo>
                    <a:lnTo>
                      <a:pt x="77" y="42"/>
                    </a:lnTo>
                    <a:lnTo>
                      <a:pt x="81" y="42"/>
                    </a:lnTo>
                    <a:lnTo>
                      <a:pt x="84" y="42"/>
                    </a:lnTo>
                    <a:lnTo>
                      <a:pt x="87" y="43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8" y="39"/>
                    </a:lnTo>
                    <a:lnTo>
                      <a:pt x="90" y="34"/>
                    </a:lnTo>
                    <a:lnTo>
                      <a:pt x="88" y="30"/>
                    </a:lnTo>
                    <a:lnTo>
                      <a:pt x="87" y="29"/>
                    </a:lnTo>
                    <a:lnTo>
                      <a:pt x="85" y="29"/>
                    </a:lnTo>
                    <a:lnTo>
                      <a:pt x="85" y="29"/>
                    </a:lnTo>
                    <a:lnTo>
                      <a:pt x="80" y="30"/>
                    </a:lnTo>
                    <a:lnTo>
                      <a:pt x="77" y="29"/>
                    </a:lnTo>
                    <a:lnTo>
                      <a:pt x="74" y="27"/>
                    </a:lnTo>
                    <a:lnTo>
                      <a:pt x="74" y="27"/>
                    </a:lnTo>
                    <a:lnTo>
                      <a:pt x="72" y="23"/>
                    </a:lnTo>
                    <a:lnTo>
                      <a:pt x="71" y="17"/>
                    </a:lnTo>
                    <a:lnTo>
                      <a:pt x="72" y="13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7" y="8"/>
                    </a:lnTo>
                    <a:lnTo>
                      <a:pt x="81" y="8"/>
                    </a:lnTo>
                    <a:lnTo>
                      <a:pt x="84" y="7"/>
                    </a:lnTo>
                    <a:lnTo>
                      <a:pt x="85" y="5"/>
                    </a:lnTo>
                    <a:lnTo>
                      <a:pt x="85" y="5"/>
                    </a:lnTo>
                    <a:lnTo>
                      <a:pt x="87" y="1"/>
                    </a:lnTo>
                    <a:lnTo>
                      <a:pt x="88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3" y="1"/>
                    </a:lnTo>
                    <a:lnTo>
                      <a:pt x="93" y="5"/>
                    </a:lnTo>
                    <a:lnTo>
                      <a:pt x="94" y="8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101" y="11"/>
                    </a:lnTo>
                    <a:lnTo>
                      <a:pt x="104" y="13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3" y="8"/>
                    </a:lnTo>
                    <a:lnTo>
                      <a:pt x="103" y="5"/>
                    </a:lnTo>
                    <a:lnTo>
                      <a:pt x="104" y="4"/>
                    </a:lnTo>
                    <a:lnTo>
                      <a:pt x="107" y="4"/>
                    </a:lnTo>
                    <a:lnTo>
                      <a:pt x="107" y="4"/>
                    </a:lnTo>
                    <a:lnTo>
                      <a:pt x="113" y="4"/>
                    </a:lnTo>
                    <a:lnTo>
                      <a:pt x="116" y="4"/>
                    </a:lnTo>
                    <a:lnTo>
                      <a:pt x="116" y="4"/>
                    </a:lnTo>
                    <a:lnTo>
                      <a:pt x="116" y="4"/>
                    </a:lnTo>
                    <a:lnTo>
                      <a:pt x="113" y="7"/>
                    </a:lnTo>
                    <a:lnTo>
                      <a:pt x="112" y="8"/>
                    </a:lnTo>
                    <a:lnTo>
                      <a:pt x="114" y="10"/>
                    </a:lnTo>
                    <a:lnTo>
                      <a:pt x="114" y="10"/>
                    </a:lnTo>
                    <a:lnTo>
                      <a:pt x="119" y="10"/>
                    </a:lnTo>
                    <a:lnTo>
                      <a:pt x="120" y="10"/>
                    </a:lnTo>
                    <a:lnTo>
                      <a:pt x="122" y="13"/>
                    </a:lnTo>
                    <a:lnTo>
                      <a:pt x="122" y="13"/>
                    </a:lnTo>
                    <a:lnTo>
                      <a:pt x="122" y="16"/>
                    </a:lnTo>
                    <a:lnTo>
                      <a:pt x="122" y="20"/>
                    </a:lnTo>
                    <a:lnTo>
                      <a:pt x="120" y="24"/>
                    </a:lnTo>
                    <a:lnTo>
                      <a:pt x="122" y="30"/>
                    </a:lnTo>
                    <a:lnTo>
                      <a:pt x="122" y="30"/>
                    </a:lnTo>
                    <a:lnTo>
                      <a:pt x="123" y="36"/>
                    </a:lnTo>
                    <a:lnTo>
                      <a:pt x="123" y="4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19" y="59"/>
                    </a:lnTo>
                    <a:lnTo>
                      <a:pt x="119" y="65"/>
                    </a:lnTo>
                    <a:lnTo>
                      <a:pt x="119" y="65"/>
                    </a:lnTo>
                    <a:lnTo>
                      <a:pt x="119" y="66"/>
                    </a:lnTo>
                    <a:lnTo>
                      <a:pt x="120" y="68"/>
                    </a:lnTo>
                    <a:lnTo>
                      <a:pt x="122" y="69"/>
                    </a:lnTo>
                    <a:lnTo>
                      <a:pt x="122" y="71"/>
                    </a:lnTo>
                    <a:lnTo>
                      <a:pt x="122" y="71"/>
                    </a:lnTo>
                    <a:lnTo>
                      <a:pt x="119" y="76"/>
                    </a:lnTo>
                    <a:lnTo>
                      <a:pt x="117" y="81"/>
                    </a:lnTo>
                    <a:lnTo>
                      <a:pt x="117" y="84"/>
                    </a:lnTo>
                    <a:lnTo>
                      <a:pt x="117" y="84"/>
                    </a:lnTo>
                    <a:lnTo>
                      <a:pt x="117" y="91"/>
                    </a:lnTo>
                    <a:lnTo>
                      <a:pt x="119" y="95"/>
                    </a:lnTo>
                    <a:lnTo>
                      <a:pt x="120" y="97"/>
                    </a:lnTo>
                    <a:lnTo>
                      <a:pt x="120" y="97"/>
                    </a:lnTo>
                    <a:lnTo>
                      <a:pt x="122" y="98"/>
                    </a:lnTo>
                    <a:lnTo>
                      <a:pt x="122" y="101"/>
                    </a:lnTo>
                    <a:lnTo>
                      <a:pt x="120" y="105"/>
                    </a:lnTo>
                    <a:lnTo>
                      <a:pt x="120" y="105"/>
                    </a:lnTo>
                    <a:lnTo>
                      <a:pt x="117" y="108"/>
                    </a:lnTo>
                    <a:lnTo>
                      <a:pt x="113" y="110"/>
                    </a:lnTo>
                    <a:lnTo>
                      <a:pt x="113" y="110"/>
                    </a:lnTo>
                    <a:lnTo>
                      <a:pt x="109" y="108"/>
                    </a:lnTo>
                    <a:lnTo>
                      <a:pt x="104" y="108"/>
                    </a:lnTo>
                    <a:lnTo>
                      <a:pt x="104" y="108"/>
                    </a:lnTo>
                    <a:lnTo>
                      <a:pt x="99" y="110"/>
                    </a:lnTo>
                    <a:lnTo>
                      <a:pt x="91" y="10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91" name="Freeform 41"/>
              <p:cNvSpPr>
                <a:spLocks/>
              </p:cNvSpPr>
              <p:nvPr/>
            </p:nvSpPr>
            <p:spPr bwMode="auto">
              <a:xfrm>
                <a:off x="2566771" y="1367308"/>
                <a:ext cx="19785" cy="8903"/>
              </a:xfrm>
              <a:custGeom>
                <a:avLst/>
                <a:gdLst>
                  <a:gd name="T0" fmla="*/ 17 w 20"/>
                  <a:gd name="T1" fmla="*/ 9 h 9"/>
                  <a:gd name="T2" fmla="*/ 17 w 20"/>
                  <a:gd name="T3" fmla="*/ 9 h 9"/>
                  <a:gd name="T4" fmla="*/ 7 w 20"/>
                  <a:gd name="T5" fmla="*/ 9 h 9"/>
                  <a:gd name="T6" fmla="*/ 2 w 20"/>
                  <a:gd name="T7" fmla="*/ 7 h 9"/>
                  <a:gd name="T8" fmla="*/ 0 w 20"/>
                  <a:gd name="T9" fmla="*/ 6 h 9"/>
                  <a:gd name="T10" fmla="*/ 0 w 20"/>
                  <a:gd name="T11" fmla="*/ 6 h 9"/>
                  <a:gd name="T12" fmla="*/ 0 w 20"/>
                  <a:gd name="T13" fmla="*/ 6 h 9"/>
                  <a:gd name="T14" fmla="*/ 2 w 20"/>
                  <a:gd name="T15" fmla="*/ 3 h 9"/>
                  <a:gd name="T16" fmla="*/ 2 w 20"/>
                  <a:gd name="T17" fmla="*/ 2 h 9"/>
                  <a:gd name="T18" fmla="*/ 4 w 20"/>
                  <a:gd name="T19" fmla="*/ 0 h 9"/>
                  <a:gd name="T20" fmla="*/ 9 w 20"/>
                  <a:gd name="T21" fmla="*/ 0 h 9"/>
                  <a:gd name="T22" fmla="*/ 9 w 20"/>
                  <a:gd name="T23" fmla="*/ 0 h 9"/>
                  <a:gd name="T24" fmla="*/ 15 w 20"/>
                  <a:gd name="T25" fmla="*/ 0 h 9"/>
                  <a:gd name="T26" fmla="*/ 19 w 20"/>
                  <a:gd name="T27" fmla="*/ 3 h 9"/>
                  <a:gd name="T28" fmla="*/ 20 w 20"/>
                  <a:gd name="T29" fmla="*/ 5 h 9"/>
                  <a:gd name="T30" fmla="*/ 20 w 20"/>
                  <a:gd name="T31" fmla="*/ 6 h 9"/>
                  <a:gd name="T32" fmla="*/ 20 w 20"/>
                  <a:gd name="T33" fmla="*/ 7 h 9"/>
                  <a:gd name="T34" fmla="*/ 17 w 20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" h="9">
                    <a:moveTo>
                      <a:pt x="17" y="9"/>
                    </a:moveTo>
                    <a:lnTo>
                      <a:pt x="1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5" y="0"/>
                    </a:lnTo>
                    <a:lnTo>
                      <a:pt x="19" y="3"/>
                    </a:lnTo>
                    <a:lnTo>
                      <a:pt x="20" y="5"/>
                    </a:lnTo>
                    <a:lnTo>
                      <a:pt x="20" y="6"/>
                    </a:lnTo>
                    <a:lnTo>
                      <a:pt x="20" y="7"/>
                    </a:lnTo>
                    <a:lnTo>
                      <a:pt x="17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92" name="Freeform 42"/>
              <p:cNvSpPr>
                <a:spLocks/>
              </p:cNvSpPr>
              <p:nvPr/>
            </p:nvSpPr>
            <p:spPr bwMode="auto">
              <a:xfrm>
                <a:off x="2566771" y="1367308"/>
                <a:ext cx="19785" cy="8903"/>
              </a:xfrm>
              <a:custGeom>
                <a:avLst/>
                <a:gdLst>
                  <a:gd name="T0" fmla="*/ 17 w 20"/>
                  <a:gd name="T1" fmla="*/ 9 h 9"/>
                  <a:gd name="T2" fmla="*/ 17 w 20"/>
                  <a:gd name="T3" fmla="*/ 9 h 9"/>
                  <a:gd name="T4" fmla="*/ 7 w 20"/>
                  <a:gd name="T5" fmla="*/ 9 h 9"/>
                  <a:gd name="T6" fmla="*/ 2 w 20"/>
                  <a:gd name="T7" fmla="*/ 7 h 9"/>
                  <a:gd name="T8" fmla="*/ 0 w 20"/>
                  <a:gd name="T9" fmla="*/ 6 h 9"/>
                  <a:gd name="T10" fmla="*/ 0 w 20"/>
                  <a:gd name="T11" fmla="*/ 6 h 9"/>
                  <a:gd name="T12" fmla="*/ 0 w 20"/>
                  <a:gd name="T13" fmla="*/ 6 h 9"/>
                  <a:gd name="T14" fmla="*/ 2 w 20"/>
                  <a:gd name="T15" fmla="*/ 3 h 9"/>
                  <a:gd name="T16" fmla="*/ 2 w 20"/>
                  <a:gd name="T17" fmla="*/ 2 h 9"/>
                  <a:gd name="T18" fmla="*/ 4 w 20"/>
                  <a:gd name="T19" fmla="*/ 0 h 9"/>
                  <a:gd name="T20" fmla="*/ 9 w 20"/>
                  <a:gd name="T21" fmla="*/ 0 h 9"/>
                  <a:gd name="T22" fmla="*/ 9 w 20"/>
                  <a:gd name="T23" fmla="*/ 0 h 9"/>
                  <a:gd name="T24" fmla="*/ 15 w 20"/>
                  <a:gd name="T25" fmla="*/ 0 h 9"/>
                  <a:gd name="T26" fmla="*/ 19 w 20"/>
                  <a:gd name="T27" fmla="*/ 3 h 9"/>
                  <a:gd name="T28" fmla="*/ 20 w 20"/>
                  <a:gd name="T29" fmla="*/ 5 h 9"/>
                  <a:gd name="T30" fmla="*/ 20 w 20"/>
                  <a:gd name="T31" fmla="*/ 6 h 9"/>
                  <a:gd name="T32" fmla="*/ 20 w 20"/>
                  <a:gd name="T33" fmla="*/ 7 h 9"/>
                  <a:gd name="T34" fmla="*/ 17 w 20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" h="9">
                    <a:moveTo>
                      <a:pt x="17" y="9"/>
                    </a:moveTo>
                    <a:lnTo>
                      <a:pt x="1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5" y="0"/>
                    </a:lnTo>
                    <a:lnTo>
                      <a:pt x="19" y="3"/>
                    </a:lnTo>
                    <a:lnTo>
                      <a:pt x="20" y="5"/>
                    </a:lnTo>
                    <a:lnTo>
                      <a:pt x="20" y="6"/>
                    </a:lnTo>
                    <a:lnTo>
                      <a:pt x="20" y="7"/>
                    </a:lnTo>
                    <a:lnTo>
                      <a:pt x="17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93" name="Freeform 43"/>
              <p:cNvSpPr>
                <a:spLocks/>
              </p:cNvSpPr>
              <p:nvPr/>
            </p:nvSpPr>
            <p:spPr bwMode="auto">
              <a:xfrm>
                <a:off x="2592492" y="1278274"/>
                <a:ext cx="57377" cy="57377"/>
              </a:xfrm>
              <a:custGeom>
                <a:avLst/>
                <a:gdLst>
                  <a:gd name="T0" fmla="*/ 20 w 58"/>
                  <a:gd name="T1" fmla="*/ 58 h 58"/>
                  <a:gd name="T2" fmla="*/ 13 w 58"/>
                  <a:gd name="T3" fmla="*/ 55 h 58"/>
                  <a:gd name="T4" fmla="*/ 10 w 58"/>
                  <a:gd name="T5" fmla="*/ 50 h 58"/>
                  <a:gd name="T6" fmla="*/ 9 w 58"/>
                  <a:gd name="T7" fmla="*/ 48 h 58"/>
                  <a:gd name="T8" fmla="*/ 3 w 58"/>
                  <a:gd name="T9" fmla="*/ 45 h 58"/>
                  <a:gd name="T10" fmla="*/ 2 w 58"/>
                  <a:gd name="T11" fmla="*/ 42 h 58"/>
                  <a:gd name="T12" fmla="*/ 0 w 58"/>
                  <a:gd name="T13" fmla="*/ 28 h 58"/>
                  <a:gd name="T14" fmla="*/ 2 w 58"/>
                  <a:gd name="T15" fmla="*/ 22 h 58"/>
                  <a:gd name="T16" fmla="*/ 6 w 58"/>
                  <a:gd name="T17" fmla="*/ 16 h 58"/>
                  <a:gd name="T18" fmla="*/ 13 w 58"/>
                  <a:gd name="T19" fmla="*/ 12 h 58"/>
                  <a:gd name="T20" fmla="*/ 26 w 58"/>
                  <a:gd name="T21" fmla="*/ 6 h 58"/>
                  <a:gd name="T22" fmla="*/ 54 w 58"/>
                  <a:gd name="T23" fmla="*/ 0 h 58"/>
                  <a:gd name="T24" fmla="*/ 58 w 58"/>
                  <a:gd name="T25" fmla="*/ 3 h 58"/>
                  <a:gd name="T26" fmla="*/ 57 w 58"/>
                  <a:gd name="T27" fmla="*/ 9 h 58"/>
                  <a:gd name="T28" fmla="*/ 54 w 58"/>
                  <a:gd name="T29" fmla="*/ 13 h 58"/>
                  <a:gd name="T30" fmla="*/ 46 w 58"/>
                  <a:gd name="T31" fmla="*/ 18 h 58"/>
                  <a:gd name="T32" fmla="*/ 39 w 58"/>
                  <a:gd name="T33" fmla="*/ 21 h 58"/>
                  <a:gd name="T34" fmla="*/ 32 w 58"/>
                  <a:gd name="T35" fmla="*/ 25 h 58"/>
                  <a:gd name="T36" fmla="*/ 35 w 58"/>
                  <a:gd name="T37" fmla="*/ 27 h 58"/>
                  <a:gd name="T38" fmla="*/ 49 w 58"/>
                  <a:gd name="T39" fmla="*/ 25 h 58"/>
                  <a:gd name="T40" fmla="*/ 51 w 58"/>
                  <a:gd name="T41" fmla="*/ 27 h 58"/>
                  <a:gd name="T42" fmla="*/ 49 w 58"/>
                  <a:gd name="T43" fmla="*/ 31 h 58"/>
                  <a:gd name="T44" fmla="*/ 46 w 58"/>
                  <a:gd name="T45" fmla="*/ 34 h 58"/>
                  <a:gd name="T46" fmla="*/ 46 w 58"/>
                  <a:gd name="T47" fmla="*/ 38 h 58"/>
                  <a:gd name="T48" fmla="*/ 49 w 58"/>
                  <a:gd name="T49" fmla="*/ 42 h 58"/>
                  <a:gd name="T50" fmla="*/ 45 w 58"/>
                  <a:gd name="T51" fmla="*/ 48 h 58"/>
                  <a:gd name="T52" fmla="*/ 41 w 58"/>
                  <a:gd name="T53" fmla="*/ 51 h 58"/>
                  <a:gd name="T54" fmla="*/ 36 w 58"/>
                  <a:gd name="T55" fmla="*/ 53 h 58"/>
                  <a:gd name="T56" fmla="*/ 35 w 58"/>
                  <a:gd name="T57" fmla="*/ 51 h 58"/>
                  <a:gd name="T58" fmla="*/ 33 w 58"/>
                  <a:gd name="T59" fmla="*/ 50 h 58"/>
                  <a:gd name="T60" fmla="*/ 31 w 58"/>
                  <a:gd name="T61" fmla="*/ 50 h 58"/>
                  <a:gd name="T62" fmla="*/ 23 w 58"/>
                  <a:gd name="T63" fmla="*/ 5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8" h="58">
                    <a:moveTo>
                      <a:pt x="20" y="58"/>
                    </a:moveTo>
                    <a:lnTo>
                      <a:pt x="20" y="58"/>
                    </a:lnTo>
                    <a:lnTo>
                      <a:pt x="16" y="57"/>
                    </a:lnTo>
                    <a:lnTo>
                      <a:pt x="13" y="55"/>
                    </a:lnTo>
                    <a:lnTo>
                      <a:pt x="12" y="53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9" y="48"/>
                    </a:lnTo>
                    <a:lnTo>
                      <a:pt x="7" y="47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2" y="42"/>
                    </a:lnTo>
                    <a:lnTo>
                      <a:pt x="2" y="3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22"/>
                    </a:lnTo>
                    <a:lnTo>
                      <a:pt x="3" y="19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3" y="12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45" y="2"/>
                    </a:lnTo>
                    <a:lnTo>
                      <a:pt x="54" y="0"/>
                    </a:lnTo>
                    <a:lnTo>
                      <a:pt x="57" y="2"/>
                    </a:lnTo>
                    <a:lnTo>
                      <a:pt x="58" y="3"/>
                    </a:lnTo>
                    <a:lnTo>
                      <a:pt x="58" y="3"/>
                    </a:lnTo>
                    <a:lnTo>
                      <a:pt x="57" y="9"/>
                    </a:lnTo>
                    <a:lnTo>
                      <a:pt x="55" y="12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46" y="18"/>
                    </a:lnTo>
                    <a:lnTo>
                      <a:pt x="39" y="21"/>
                    </a:lnTo>
                    <a:lnTo>
                      <a:pt x="39" y="21"/>
                    </a:lnTo>
                    <a:lnTo>
                      <a:pt x="33" y="24"/>
                    </a:lnTo>
                    <a:lnTo>
                      <a:pt x="32" y="25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45" y="25"/>
                    </a:lnTo>
                    <a:lnTo>
                      <a:pt x="49" y="25"/>
                    </a:lnTo>
                    <a:lnTo>
                      <a:pt x="51" y="25"/>
                    </a:lnTo>
                    <a:lnTo>
                      <a:pt x="51" y="27"/>
                    </a:lnTo>
                    <a:lnTo>
                      <a:pt x="51" y="27"/>
                    </a:lnTo>
                    <a:lnTo>
                      <a:pt x="49" y="31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7"/>
                    </a:lnTo>
                    <a:lnTo>
                      <a:pt x="46" y="38"/>
                    </a:lnTo>
                    <a:lnTo>
                      <a:pt x="48" y="41"/>
                    </a:lnTo>
                    <a:lnTo>
                      <a:pt x="49" y="42"/>
                    </a:lnTo>
                    <a:lnTo>
                      <a:pt x="49" y="42"/>
                    </a:lnTo>
                    <a:lnTo>
                      <a:pt x="45" y="48"/>
                    </a:lnTo>
                    <a:lnTo>
                      <a:pt x="44" y="50"/>
                    </a:lnTo>
                    <a:lnTo>
                      <a:pt x="41" y="51"/>
                    </a:lnTo>
                    <a:lnTo>
                      <a:pt x="41" y="51"/>
                    </a:lnTo>
                    <a:lnTo>
                      <a:pt x="36" y="53"/>
                    </a:lnTo>
                    <a:lnTo>
                      <a:pt x="36" y="53"/>
                    </a:lnTo>
                    <a:lnTo>
                      <a:pt x="35" y="51"/>
                    </a:lnTo>
                    <a:lnTo>
                      <a:pt x="35" y="51"/>
                    </a:lnTo>
                    <a:lnTo>
                      <a:pt x="33" y="50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26" y="54"/>
                    </a:lnTo>
                    <a:lnTo>
                      <a:pt x="23" y="57"/>
                    </a:lnTo>
                    <a:lnTo>
                      <a:pt x="20" y="5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94" name="Freeform 44"/>
              <p:cNvSpPr>
                <a:spLocks/>
              </p:cNvSpPr>
              <p:nvPr/>
            </p:nvSpPr>
            <p:spPr bwMode="auto">
              <a:xfrm>
                <a:off x="2592492" y="1278274"/>
                <a:ext cx="57377" cy="57377"/>
              </a:xfrm>
              <a:custGeom>
                <a:avLst/>
                <a:gdLst>
                  <a:gd name="T0" fmla="*/ 20 w 58"/>
                  <a:gd name="T1" fmla="*/ 58 h 58"/>
                  <a:gd name="T2" fmla="*/ 13 w 58"/>
                  <a:gd name="T3" fmla="*/ 55 h 58"/>
                  <a:gd name="T4" fmla="*/ 10 w 58"/>
                  <a:gd name="T5" fmla="*/ 50 h 58"/>
                  <a:gd name="T6" fmla="*/ 9 w 58"/>
                  <a:gd name="T7" fmla="*/ 48 h 58"/>
                  <a:gd name="T8" fmla="*/ 3 w 58"/>
                  <a:gd name="T9" fmla="*/ 45 h 58"/>
                  <a:gd name="T10" fmla="*/ 2 w 58"/>
                  <a:gd name="T11" fmla="*/ 42 h 58"/>
                  <a:gd name="T12" fmla="*/ 0 w 58"/>
                  <a:gd name="T13" fmla="*/ 28 h 58"/>
                  <a:gd name="T14" fmla="*/ 2 w 58"/>
                  <a:gd name="T15" fmla="*/ 22 h 58"/>
                  <a:gd name="T16" fmla="*/ 6 w 58"/>
                  <a:gd name="T17" fmla="*/ 16 h 58"/>
                  <a:gd name="T18" fmla="*/ 13 w 58"/>
                  <a:gd name="T19" fmla="*/ 12 h 58"/>
                  <a:gd name="T20" fmla="*/ 26 w 58"/>
                  <a:gd name="T21" fmla="*/ 6 h 58"/>
                  <a:gd name="T22" fmla="*/ 54 w 58"/>
                  <a:gd name="T23" fmla="*/ 0 h 58"/>
                  <a:gd name="T24" fmla="*/ 58 w 58"/>
                  <a:gd name="T25" fmla="*/ 3 h 58"/>
                  <a:gd name="T26" fmla="*/ 57 w 58"/>
                  <a:gd name="T27" fmla="*/ 9 h 58"/>
                  <a:gd name="T28" fmla="*/ 54 w 58"/>
                  <a:gd name="T29" fmla="*/ 13 h 58"/>
                  <a:gd name="T30" fmla="*/ 46 w 58"/>
                  <a:gd name="T31" fmla="*/ 18 h 58"/>
                  <a:gd name="T32" fmla="*/ 39 w 58"/>
                  <a:gd name="T33" fmla="*/ 21 h 58"/>
                  <a:gd name="T34" fmla="*/ 32 w 58"/>
                  <a:gd name="T35" fmla="*/ 25 h 58"/>
                  <a:gd name="T36" fmla="*/ 35 w 58"/>
                  <a:gd name="T37" fmla="*/ 27 h 58"/>
                  <a:gd name="T38" fmla="*/ 49 w 58"/>
                  <a:gd name="T39" fmla="*/ 25 h 58"/>
                  <a:gd name="T40" fmla="*/ 51 w 58"/>
                  <a:gd name="T41" fmla="*/ 27 h 58"/>
                  <a:gd name="T42" fmla="*/ 49 w 58"/>
                  <a:gd name="T43" fmla="*/ 31 h 58"/>
                  <a:gd name="T44" fmla="*/ 46 w 58"/>
                  <a:gd name="T45" fmla="*/ 34 h 58"/>
                  <a:gd name="T46" fmla="*/ 46 w 58"/>
                  <a:gd name="T47" fmla="*/ 38 h 58"/>
                  <a:gd name="T48" fmla="*/ 49 w 58"/>
                  <a:gd name="T49" fmla="*/ 42 h 58"/>
                  <a:gd name="T50" fmla="*/ 45 w 58"/>
                  <a:gd name="T51" fmla="*/ 48 h 58"/>
                  <a:gd name="T52" fmla="*/ 41 w 58"/>
                  <a:gd name="T53" fmla="*/ 51 h 58"/>
                  <a:gd name="T54" fmla="*/ 36 w 58"/>
                  <a:gd name="T55" fmla="*/ 53 h 58"/>
                  <a:gd name="T56" fmla="*/ 35 w 58"/>
                  <a:gd name="T57" fmla="*/ 51 h 58"/>
                  <a:gd name="T58" fmla="*/ 33 w 58"/>
                  <a:gd name="T59" fmla="*/ 50 h 58"/>
                  <a:gd name="T60" fmla="*/ 31 w 58"/>
                  <a:gd name="T61" fmla="*/ 50 h 58"/>
                  <a:gd name="T62" fmla="*/ 23 w 58"/>
                  <a:gd name="T63" fmla="*/ 5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8" h="58">
                    <a:moveTo>
                      <a:pt x="20" y="58"/>
                    </a:moveTo>
                    <a:lnTo>
                      <a:pt x="20" y="58"/>
                    </a:lnTo>
                    <a:lnTo>
                      <a:pt x="16" y="57"/>
                    </a:lnTo>
                    <a:lnTo>
                      <a:pt x="13" y="55"/>
                    </a:lnTo>
                    <a:lnTo>
                      <a:pt x="12" y="53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9" y="48"/>
                    </a:lnTo>
                    <a:lnTo>
                      <a:pt x="7" y="47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2" y="42"/>
                    </a:lnTo>
                    <a:lnTo>
                      <a:pt x="2" y="3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22"/>
                    </a:lnTo>
                    <a:lnTo>
                      <a:pt x="3" y="19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3" y="12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45" y="2"/>
                    </a:lnTo>
                    <a:lnTo>
                      <a:pt x="54" y="0"/>
                    </a:lnTo>
                    <a:lnTo>
                      <a:pt x="57" y="2"/>
                    </a:lnTo>
                    <a:lnTo>
                      <a:pt x="58" y="3"/>
                    </a:lnTo>
                    <a:lnTo>
                      <a:pt x="58" y="3"/>
                    </a:lnTo>
                    <a:lnTo>
                      <a:pt x="57" y="9"/>
                    </a:lnTo>
                    <a:lnTo>
                      <a:pt x="55" y="12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46" y="18"/>
                    </a:lnTo>
                    <a:lnTo>
                      <a:pt x="39" y="21"/>
                    </a:lnTo>
                    <a:lnTo>
                      <a:pt x="39" y="21"/>
                    </a:lnTo>
                    <a:lnTo>
                      <a:pt x="33" y="24"/>
                    </a:lnTo>
                    <a:lnTo>
                      <a:pt x="32" y="25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45" y="25"/>
                    </a:lnTo>
                    <a:lnTo>
                      <a:pt x="49" y="25"/>
                    </a:lnTo>
                    <a:lnTo>
                      <a:pt x="51" y="25"/>
                    </a:lnTo>
                    <a:lnTo>
                      <a:pt x="51" y="27"/>
                    </a:lnTo>
                    <a:lnTo>
                      <a:pt x="51" y="27"/>
                    </a:lnTo>
                    <a:lnTo>
                      <a:pt x="49" y="31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7"/>
                    </a:lnTo>
                    <a:lnTo>
                      <a:pt x="46" y="38"/>
                    </a:lnTo>
                    <a:lnTo>
                      <a:pt x="48" y="41"/>
                    </a:lnTo>
                    <a:lnTo>
                      <a:pt x="49" y="42"/>
                    </a:lnTo>
                    <a:lnTo>
                      <a:pt x="49" y="42"/>
                    </a:lnTo>
                    <a:lnTo>
                      <a:pt x="45" y="48"/>
                    </a:lnTo>
                    <a:lnTo>
                      <a:pt x="44" y="50"/>
                    </a:lnTo>
                    <a:lnTo>
                      <a:pt x="41" y="51"/>
                    </a:lnTo>
                    <a:lnTo>
                      <a:pt x="41" y="51"/>
                    </a:lnTo>
                    <a:lnTo>
                      <a:pt x="36" y="53"/>
                    </a:lnTo>
                    <a:lnTo>
                      <a:pt x="36" y="53"/>
                    </a:lnTo>
                    <a:lnTo>
                      <a:pt x="35" y="51"/>
                    </a:lnTo>
                    <a:lnTo>
                      <a:pt x="35" y="51"/>
                    </a:lnTo>
                    <a:lnTo>
                      <a:pt x="33" y="50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26" y="54"/>
                    </a:lnTo>
                    <a:lnTo>
                      <a:pt x="23" y="57"/>
                    </a:lnTo>
                    <a:lnTo>
                      <a:pt x="20" y="5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95" name="Freeform 45"/>
              <p:cNvSpPr>
                <a:spLocks/>
              </p:cNvSpPr>
              <p:nvPr/>
            </p:nvSpPr>
            <p:spPr bwMode="auto">
              <a:xfrm>
                <a:off x="2566771" y="1284210"/>
                <a:ext cx="18796" cy="22753"/>
              </a:xfrm>
              <a:custGeom>
                <a:avLst/>
                <a:gdLst>
                  <a:gd name="T0" fmla="*/ 12 w 19"/>
                  <a:gd name="T1" fmla="*/ 23 h 23"/>
                  <a:gd name="T2" fmla="*/ 12 w 19"/>
                  <a:gd name="T3" fmla="*/ 23 h 23"/>
                  <a:gd name="T4" fmla="*/ 9 w 19"/>
                  <a:gd name="T5" fmla="*/ 22 h 23"/>
                  <a:gd name="T6" fmla="*/ 9 w 19"/>
                  <a:gd name="T7" fmla="*/ 21 h 23"/>
                  <a:gd name="T8" fmla="*/ 7 w 19"/>
                  <a:gd name="T9" fmla="*/ 19 h 23"/>
                  <a:gd name="T10" fmla="*/ 7 w 19"/>
                  <a:gd name="T11" fmla="*/ 19 h 23"/>
                  <a:gd name="T12" fmla="*/ 7 w 19"/>
                  <a:gd name="T13" fmla="*/ 19 h 23"/>
                  <a:gd name="T14" fmla="*/ 4 w 19"/>
                  <a:gd name="T15" fmla="*/ 16 h 23"/>
                  <a:gd name="T16" fmla="*/ 2 w 19"/>
                  <a:gd name="T17" fmla="*/ 13 h 23"/>
                  <a:gd name="T18" fmla="*/ 2 w 19"/>
                  <a:gd name="T19" fmla="*/ 13 h 23"/>
                  <a:gd name="T20" fmla="*/ 0 w 19"/>
                  <a:gd name="T21" fmla="*/ 12 h 23"/>
                  <a:gd name="T22" fmla="*/ 0 w 19"/>
                  <a:gd name="T23" fmla="*/ 10 h 23"/>
                  <a:gd name="T24" fmla="*/ 3 w 19"/>
                  <a:gd name="T25" fmla="*/ 6 h 23"/>
                  <a:gd name="T26" fmla="*/ 3 w 19"/>
                  <a:gd name="T27" fmla="*/ 6 h 23"/>
                  <a:gd name="T28" fmla="*/ 6 w 19"/>
                  <a:gd name="T29" fmla="*/ 0 h 23"/>
                  <a:gd name="T30" fmla="*/ 7 w 19"/>
                  <a:gd name="T31" fmla="*/ 0 h 23"/>
                  <a:gd name="T32" fmla="*/ 7 w 19"/>
                  <a:gd name="T33" fmla="*/ 0 h 23"/>
                  <a:gd name="T34" fmla="*/ 7 w 19"/>
                  <a:gd name="T35" fmla="*/ 0 h 23"/>
                  <a:gd name="T36" fmla="*/ 9 w 19"/>
                  <a:gd name="T37" fmla="*/ 5 h 23"/>
                  <a:gd name="T38" fmla="*/ 12 w 19"/>
                  <a:gd name="T39" fmla="*/ 7 h 23"/>
                  <a:gd name="T40" fmla="*/ 12 w 19"/>
                  <a:gd name="T41" fmla="*/ 7 h 23"/>
                  <a:gd name="T42" fmla="*/ 17 w 19"/>
                  <a:gd name="T43" fmla="*/ 15 h 23"/>
                  <a:gd name="T44" fmla="*/ 19 w 19"/>
                  <a:gd name="T45" fmla="*/ 18 h 23"/>
                  <a:gd name="T46" fmla="*/ 19 w 19"/>
                  <a:gd name="T47" fmla="*/ 19 h 23"/>
                  <a:gd name="T48" fmla="*/ 19 w 19"/>
                  <a:gd name="T49" fmla="*/ 19 h 23"/>
                  <a:gd name="T50" fmla="*/ 16 w 19"/>
                  <a:gd name="T51" fmla="*/ 22 h 23"/>
                  <a:gd name="T52" fmla="*/ 13 w 19"/>
                  <a:gd name="T53" fmla="*/ 23 h 23"/>
                  <a:gd name="T54" fmla="*/ 12 w 19"/>
                  <a:gd name="T55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" h="23">
                    <a:moveTo>
                      <a:pt x="12" y="23"/>
                    </a:moveTo>
                    <a:lnTo>
                      <a:pt x="12" y="23"/>
                    </a:lnTo>
                    <a:lnTo>
                      <a:pt x="9" y="22"/>
                    </a:lnTo>
                    <a:lnTo>
                      <a:pt x="9" y="21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4" y="16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9" y="5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7" y="15"/>
                    </a:lnTo>
                    <a:lnTo>
                      <a:pt x="19" y="18"/>
                    </a:lnTo>
                    <a:lnTo>
                      <a:pt x="19" y="19"/>
                    </a:lnTo>
                    <a:lnTo>
                      <a:pt x="19" y="19"/>
                    </a:lnTo>
                    <a:lnTo>
                      <a:pt x="16" y="22"/>
                    </a:lnTo>
                    <a:lnTo>
                      <a:pt x="13" y="23"/>
                    </a:lnTo>
                    <a:lnTo>
                      <a:pt x="12" y="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96" name="Freeform 46"/>
              <p:cNvSpPr>
                <a:spLocks/>
              </p:cNvSpPr>
              <p:nvPr/>
            </p:nvSpPr>
            <p:spPr bwMode="auto">
              <a:xfrm>
                <a:off x="2566771" y="1284210"/>
                <a:ext cx="18796" cy="22753"/>
              </a:xfrm>
              <a:custGeom>
                <a:avLst/>
                <a:gdLst>
                  <a:gd name="T0" fmla="*/ 12 w 19"/>
                  <a:gd name="T1" fmla="*/ 23 h 23"/>
                  <a:gd name="T2" fmla="*/ 12 w 19"/>
                  <a:gd name="T3" fmla="*/ 23 h 23"/>
                  <a:gd name="T4" fmla="*/ 9 w 19"/>
                  <a:gd name="T5" fmla="*/ 22 h 23"/>
                  <a:gd name="T6" fmla="*/ 9 w 19"/>
                  <a:gd name="T7" fmla="*/ 21 h 23"/>
                  <a:gd name="T8" fmla="*/ 7 w 19"/>
                  <a:gd name="T9" fmla="*/ 19 h 23"/>
                  <a:gd name="T10" fmla="*/ 7 w 19"/>
                  <a:gd name="T11" fmla="*/ 19 h 23"/>
                  <a:gd name="T12" fmla="*/ 7 w 19"/>
                  <a:gd name="T13" fmla="*/ 19 h 23"/>
                  <a:gd name="T14" fmla="*/ 4 w 19"/>
                  <a:gd name="T15" fmla="*/ 16 h 23"/>
                  <a:gd name="T16" fmla="*/ 2 w 19"/>
                  <a:gd name="T17" fmla="*/ 13 h 23"/>
                  <a:gd name="T18" fmla="*/ 2 w 19"/>
                  <a:gd name="T19" fmla="*/ 13 h 23"/>
                  <a:gd name="T20" fmla="*/ 0 w 19"/>
                  <a:gd name="T21" fmla="*/ 12 h 23"/>
                  <a:gd name="T22" fmla="*/ 0 w 19"/>
                  <a:gd name="T23" fmla="*/ 10 h 23"/>
                  <a:gd name="T24" fmla="*/ 3 w 19"/>
                  <a:gd name="T25" fmla="*/ 6 h 23"/>
                  <a:gd name="T26" fmla="*/ 3 w 19"/>
                  <a:gd name="T27" fmla="*/ 6 h 23"/>
                  <a:gd name="T28" fmla="*/ 6 w 19"/>
                  <a:gd name="T29" fmla="*/ 0 h 23"/>
                  <a:gd name="T30" fmla="*/ 7 w 19"/>
                  <a:gd name="T31" fmla="*/ 0 h 23"/>
                  <a:gd name="T32" fmla="*/ 7 w 19"/>
                  <a:gd name="T33" fmla="*/ 0 h 23"/>
                  <a:gd name="T34" fmla="*/ 7 w 19"/>
                  <a:gd name="T35" fmla="*/ 0 h 23"/>
                  <a:gd name="T36" fmla="*/ 9 w 19"/>
                  <a:gd name="T37" fmla="*/ 5 h 23"/>
                  <a:gd name="T38" fmla="*/ 12 w 19"/>
                  <a:gd name="T39" fmla="*/ 7 h 23"/>
                  <a:gd name="T40" fmla="*/ 12 w 19"/>
                  <a:gd name="T41" fmla="*/ 7 h 23"/>
                  <a:gd name="T42" fmla="*/ 17 w 19"/>
                  <a:gd name="T43" fmla="*/ 15 h 23"/>
                  <a:gd name="T44" fmla="*/ 19 w 19"/>
                  <a:gd name="T45" fmla="*/ 18 h 23"/>
                  <a:gd name="T46" fmla="*/ 19 w 19"/>
                  <a:gd name="T47" fmla="*/ 19 h 23"/>
                  <a:gd name="T48" fmla="*/ 19 w 19"/>
                  <a:gd name="T49" fmla="*/ 19 h 23"/>
                  <a:gd name="T50" fmla="*/ 16 w 19"/>
                  <a:gd name="T51" fmla="*/ 22 h 23"/>
                  <a:gd name="T52" fmla="*/ 13 w 19"/>
                  <a:gd name="T53" fmla="*/ 23 h 23"/>
                  <a:gd name="T54" fmla="*/ 12 w 19"/>
                  <a:gd name="T55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" h="23">
                    <a:moveTo>
                      <a:pt x="12" y="23"/>
                    </a:moveTo>
                    <a:lnTo>
                      <a:pt x="12" y="23"/>
                    </a:lnTo>
                    <a:lnTo>
                      <a:pt x="9" y="22"/>
                    </a:lnTo>
                    <a:lnTo>
                      <a:pt x="9" y="21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4" y="16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9" y="5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7" y="15"/>
                    </a:lnTo>
                    <a:lnTo>
                      <a:pt x="19" y="18"/>
                    </a:lnTo>
                    <a:lnTo>
                      <a:pt x="19" y="19"/>
                    </a:lnTo>
                    <a:lnTo>
                      <a:pt x="19" y="19"/>
                    </a:lnTo>
                    <a:lnTo>
                      <a:pt x="16" y="22"/>
                    </a:lnTo>
                    <a:lnTo>
                      <a:pt x="13" y="23"/>
                    </a:lnTo>
                    <a:lnTo>
                      <a:pt x="12" y="2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97" name="Freeform 47"/>
              <p:cNvSpPr>
                <a:spLocks/>
              </p:cNvSpPr>
              <p:nvPr/>
            </p:nvSpPr>
            <p:spPr bwMode="auto">
              <a:xfrm>
                <a:off x="2591502" y="1229801"/>
                <a:ext cx="62323" cy="37592"/>
              </a:xfrm>
              <a:custGeom>
                <a:avLst/>
                <a:gdLst>
                  <a:gd name="T0" fmla="*/ 7 w 63"/>
                  <a:gd name="T1" fmla="*/ 35 h 38"/>
                  <a:gd name="T2" fmla="*/ 7 w 63"/>
                  <a:gd name="T3" fmla="*/ 35 h 38"/>
                  <a:gd name="T4" fmla="*/ 3 w 63"/>
                  <a:gd name="T5" fmla="*/ 35 h 38"/>
                  <a:gd name="T6" fmla="*/ 0 w 63"/>
                  <a:gd name="T7" fmla="*/ 34 h 38"/>
                  <a:gd name="T8" fmla="*/ 0 w 63"/>
                  <a:gd name="T9" fmla="*/ 32 h 38"/>
                  <a:gd name="T10" fmla="*/ 1 w 63"/>
                  <a:gd name="T11" fmla="*/ 29 h 38"/>
                  <a:gd name="T12" fmla="*/ 1 w 63"/>
                  <a:gd name="T13" fmla="*/ 29 h 38"/>
                  <a:gd name="T14" fmla="*/ 10 w 63"/>
                  <a:gd name="T15" fmla="*/ 20 h 38"/>
                  <a:gd name="T16" fmla="*/ 14 w 63"/>
                  <a:gd name="T17" fmla="*/ 18 h 38"/>
                  <a:gd name="T18" fmla="*/ 19 w 63"/>
                  <a:gd name="T19" fmla="*/ 16 h 38"/>
                  <a:gd name="T20" fmla="*/ 19 w 63"/>
                  <a:gd name="T21" fmla="*/ 16 h 38"/>
                  <a:gd name="T22" fmla="*/ 27 w 63"/>
                  <a:gd name="T23" fmla="*/ 15 h 38"/>
                  <a:gd name="T24" fmla="*/ 30 w 63"/>
                  <a:gd name="T25" fmla="*/ 13 h 38"/>
                  <a:gd name="T26" fmla="*/ 33 w 63"/>
                  <a:gd name="T27" fmla="*/ 10 h 38"/>
                  <a:gd name="T28" fmla="*/ 33 w 63"/>
                  <a:gd name="T29" fmla="*/ 10 h 38"/>
                  <a:gd name="T30" fmla="*/ 34 w 63"/>
                  <a:gd name="T31" fmla="*/ 6 h 38"/>
                  <a:gd name="T32" fmla="*/ 39 w 63"/>
                  <a:gd name="T33" fmla="*/ 3 h 38"/>
                  <a:gd name="T34" fmla="*/ 43 w 63"/>
                  <a:gd name="T35" fmla="*/ 0 h 38"/>
                  <a:gd name="T36" fmla="*/ 45 w 63"/>
                  <a:gd name="T37" fmla="*/ 0 h 38"/>
                  <a:gd name="T38" fmla="*/ 47 w 63"/>
                  <a:gd name="T39" fmla="*/ 0 h 38"/>
                  <a:gd name="T40" fmla="*/ 47 w 63"/>
                  <a:gd name="T41" fmla="*/ 0 h 38"/>
                  <a:gd name="T42" fmla="*/ 49 w 63"/>
                  <a:gd name="T43" fmla="*/ 3 h 38"/>
                  <a:gd name="T44" fmla="*/ 50 w 63"/>
                  <a:gd name="T45" fmla="*/ 6 h 38"/>
                  <a:gd name="T46" fmla="*/ 52 w 63"/>
                  <a:gd name="T47" fmla="*/ 9 h 38"/>
                  <a:gd name="T48" fmla="*/ 55 w 63"/>
                  <a:gd name="T49" fmla="*/ 10 h 38"/>
                  <a:gd name="T50" fmla="*/ 55 w 63"/>
                  <a:gd name="T51" fmla="*/ 10 h 38"/>
                  <a:gd name="T52" fmla="*/ 58 w 63"/>
                  <a:gd name="T53" fmla="*/ 12 h 38"/>
                  <a:gd name="T54" fmla="*/ 61 w 63"/>
                  <a:gd name="T55" fmla="*/ 16 h 38"/>
                  <a:gd name="T56" fmla="*/ 63 w 63"/>
                  <a:gd name="T57" fmla="*/ 22 h 38"/>
                  <a:gd name="T58" fmla="*/ 63 w 63"/>
                  <a:gd name="T59" fmla="*/ 22 h 38"/>
                  <a:gd name="T60" fmla="*/ 63 w 63"/>
                  <a:gd name="T61" fmla="*/ 28 h 38"/>
                  <a:gd name="T62" fmla="*/ 62 w 63"/>
                  <a:gd name="T63" fmla="*/ 32 h 38"/>
                  <a:gd name="T64" fmla="*/ 59 w 63"/>
                  <a:gd name="T65" fmla="*/ 35 h 38"/>
                  <a:gd name="T66" fmla="*/ 59 w 63"/>
                  <a:gd name="T67" fmla="*/ 35 h 38"/>
                  <a:gd name="T68" fmla="*/ 53 w 63"/>
                  <a:gd name="T69" fmla="*/ 36 h 38"/>
                  <a:gd name="T70" fmla="*/ 49 w 63"/>
                  <a:gd name="T71" fmla="*/ 38 h 38"/>
                  <a:gd name="T72" fmla="*/ 45 w 63"/>
                  <a:gd name="T73" fmla="*/ 36 h 38"/>
                  <a:gd name="T74" fmla="*/ 45 w 63"/>
                  <a:gd name="T75" fmla="*/ 36 h 38"/>
                  <a:gd name="T76" fmla="*/ 40 w 63"/>
                  <a:gd name="T77" fmla="*/ 34 h 38"/>
                  <a:gd name="T78" fmla="*/ 34 w 63"/>
                  <a:gd name="T79" fmla="*/ 31 h 38"/>
                  <a:gd name="T80" fmla="*/ 32 w 63"/>
                  <a:gd name="T81" fmla="*/ 28 h 38"/>
                  <a:gd name="T82" fmla="*/ 30 w 63"/>
                  <a:gd name="T83" fmla="*/ 28 h 38"/>
                  <a:gd name="T84" fmla="*/ 30 w 63"/>
                  <a:gd name="T85" fmla="*/ 28 h 38"/>
                  <a:gd name="T86" fmla="*/ 30 w 63"/>
                  <a:gd name="T87" fmla="*/ 28 h 38"/>
                  <a:gd name="T88" fmla="*/ 30 w 63"/>
                  <a:gd name="T89" fmla="*/ 34 h 38"/>
                  <a:gd name="T90" fmla="*/ 30 w 63"/>
                  <a:gd name="T91" fmla="*/ 35 h 38"/>
                  <a:gd name="T92" fmla="*/ 29 w 63"/>
                  <a:gd name="T93" fmla="*/ 35 h 38"/>
                  <a:gd name="T94" fmla="*/ 29 w 63"/>
                  <a:gd name="T95" fmla="*/ 35 h 38"/>
                  <a:gd name="T96" fmla="*/ 26 w 63"/>
                  <a:gd name="T97" fmla="*/ 34 h 38"/>
                  <a:gd name="T98" fmla="*/ 23 w 63"/>
                  <a:gd name="T99" fmla="*/ 32 h 38"/>
                  <a:gd name="T100" fmla="*/ 19 w 63"/>
                  <a:gd name="T101" fmla="*/ 29 h 38"/>
                  <a:gd name="T102" fmla="*/ 19 w 63"/>
                  <a:gd name="T103" fmla="*/ 29 h 38"/>
                  <a:gd name="T104" fmla="*/ 14 w 63"/>
                  <a:gd name="T105" fmla="*/ 32 h 38"/>
                  <a:gd name="T106" fmla="*/ 10 w 63"/>
                  <a:gd name="T107" fmla="*/ 34 h 38"/>
                  <a:gd name="T108" fmla="*/ 7 w 63"/>
                  <a:gd name="T109" fmla="*/ 3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" h="38">
                    <a:moveTo>
                      <a:pt x="7" y="35"/>
                    </a:moveTo>
                    <a:lnTo>
                      <a:pt x="7" y="35"/>
                    </a:lnTo>
                    <a:lnTo>
                      <a:pt x="3" y="35"/>
                    </a:lnTo>
                    <a:lnTo>
                      <a:pt x="0" y="34"/>
                    </a:lnTo>
                    <a:lnTo>
                      <a:pt x="0" y="32"/>
                    </a:lnTo>
                    <a:lnTo>
                      <a:pt x="1" y="29"/>
                    </a:lnTo>
                    <a:lnTo>
                      <a:pt x="1" y="29"/>
                    </a:lnTo>
                    <a:lnTo>
                      <a:pt x="10" y="20"/>
                    </a:lnTo>
                    <a:lnTo>
                      <a:pt x="14" y="18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27" y="15"/>
                    </a:lnTo>
                    <a:lnTo>
                      <a:pt x="30" y="13"/>
                    </a:lnTo>
                    <a:lnTo>
                      <a:pt x="33" y="10"/>
                    </a:lnTo>
                    <a:lnTo>
                      <a:pt x="33" y="10"/>
                    </a:lnTo>
                    <a:lnTo>
                      <a:pt x="34" y="6"/>
                    </a:lnTo>
                    <a:lnTo>
                      <a:pt x="39" y="3"/>
                    </a:lnTo>
                    <a:lnTo>
                      <a:pt x="43" y="0"/>
                    </a:lnTo>
                    <a:lnTo>
                      <a:pt x="45" y="0"/>
                    </a:lnTo>
                    <a:lnTo>
                      <a:pt x="47" y="0"/>
                    </a:lnTo>
                    <a:lnTo>
                      <a:pt x="47" y="0"/>
                    </a:lnTo>
                    <a:lnTo>
                      <a:pt x="49" y="3"/>
                    </a:lnTo>
                    <a:lnTo>
                      <a:pt x="50" y="6"/>
                    </a:lnTo>
                    <a:lnTo>
                      <a:pt x="52" y="9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8" y="12"/>
                    </a:lnTo>
                    <a:lnTo>
                      <a:pt x="61" y="16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3" y="28"/>
                    </a:lnTo>
                    <a:lnTo>
                      <a:pt x="62" y="32"/>
                    </a:lnTo>
                    <a:lnTo>
                      <a:pt x="59" y="35"/>
                    </a:lnTo>
                    <a:lnTo>
                      <a:pt x="59" y="35"/>
                    </a:lnTo>
                    <a:lnTo>
                      <a:pt x="53" y="36"/>
                    </a:lnTo>
                    <a:lnTo>
                      <a:pt x="49" y="38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0" y="34"/>
                    </a:lnTo>
                    <a:lnTo>
                      <a:pt x="34" y="31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34"/>
                    </a:lnTo>
                    <a:lnTo>
                      <a:pt x="30" y="35"/>
                    </a:lnTo>
                    <a:lnTo>
                      <a:pt x="29" y="35"/>
                    </a:lnTo>
                    <a:lnTo>
                      <a:pt x="29" y="35"/>
                    </a:lnTo>
                    <a:lnTo>
                      <a:pt x="26" y="34"/>
                    </a:lnTo>
                    <a:lnTo>
                      <a:pt x="23" y="32"/>
                    </a:lnTo>
                    <a:lnTo>
                      <a:pt x="19" y="29"/>
                    </a:lnTo>
                    <a:lnTo>
                      <a:pt x="19" y="29"/>
                    </a:lnTo>
                    <a:lnTo>
                      <a:pt x="14" y="32"/>
                    </a:lnTo>
                    <a:lnTo>
                      <a:pt x="10" y="34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98" name="Freeform 48"/>
              <p:cNvSpPr>
                <a:spLocks/>
              </p:cNvSpPr>
              <p:nvPr/>
            </p:nvSpPr>
            <p:spPr bwMode="auto">
              <a:xfrm>
                <a:off x="2591502" y="1229801"/>
                <a:ext cx="62323" cy="37592"/>
              </a:xfrm>
              <a:custGeom>
                <a:avLst/>
                <a:gdLst>
                  <a:gd name="T0" fmla="*/ 7 w 63"/>
                  <a:gd name="T1" fmla="*/ 35 h 38"/>
                  <a:gd name="T2" fmla="*/ 7 w 63"/>
                  <a:gd name="T3" fmla="*/ 35 h 38"/>
                  <a:gd name="T4" fmla="*/ 3 w 63"/>
                  <a:gd name="T5" fmla="*/ 35 h 38"/>
                  <a:gd name="T6" fmla="*/ 0 w 63"/>
                  <a:gd name="T7" fmla="*/ 34 h 38"/>
                  <a:gd name="T8" fmla="*/ 0 w 63"/>
                  <a:gd name="T9" fmla="*/ 32 h 38"/>
                  <a:gd name="T10" fmla="*/ 1 w 63"/>
                  <a:gd name="T11" fmla="*/ 29 h 38"/>
                  <a:gd name="T12" fmla="*/ 1 w 63"/>
                  <a:gd name="T13" fmla="*/ 29 h 38"/>
                  <a:gd name="T14" fmla="*/ 10 w 63"/>
                  <a:gd name="T15" fmla="*/ 20 h 38"/>
                  <a:gd name="T16" fmla="*/ 14 w 63"/>
                  <a:gd name="T17" fmla="*/ 18 h 38"/>
                  <a:gd name="T18" fmla="*/ 19 w 63"/>
                  <a:gd name="T19" fmla="*/ 16 h 38"/>
                  <a:gd name="T20" fmla="*/ 19 w 63"/>
                  <a:gd name="T21" fmla="*/ 16 h 38"/>
                  <a:gd name="T22" fmla="*/ 27 w 63"/>
                  <a:gd name="T23" fmla="*/ 15 h 38"/>
                  <a:gd name="T24" fmla="*/ 30 w 63"/>
                  <a:gd name="T25" fmla="*/ 13 h 38"/>
                  <a:gd name="T26" fmla="*/ 33 w 63"/>
                  <a:gd name="T27" fmla="*/ 10 h 38"/>
                  <a:gd name="T28" fmla="*/ 33 w 63"/>
                  <a:gd name="T29" fmla="*/ 10 h 38"/>
                  <a:gd name="T30" fmla="*/ 34 w 63"/>
                  <a:gd name="T31" fmla="*/ 6 h 38"/>
                  <a:gd name="T32" fmla="*/ 39 w 63"/>
                  <a:gd name="T33" fmla="*/ 3 h 38"/>
                  <a:gd name="T34" fmla="*/ 43 w 63"/>
                  <a:gd name="T35" fmla="*/ 0 h 38"/>
                  <a:gd name="T36" fmla="*/ 45 w 63"/>
                  <a:gd name="T37" fmla="*/ 0 h 38"/>
                  <a:gd name="T38" fmla="*/ 47 w 63"/>
                  <a:gd name="T39" fmla="*/ 0 h 38"/>
                  <a:gd name="T40" fmla="*/ 47 w 63"/>
                  <a:gd name="T41" fmla="*/ 0 h 38"/>
                  <a:gd name="T42" fmla="*/ 49 w 63"/>
                  <a:gd name="T43" fmla="*/ 3 h 38"/>
                  <a:gd name="T44" fmla="*/ 50 w 63"/>
                  <a:gd name="T45" fmla="*/ 6 h 38"/>
                  <a:gd name="T46" fmla="*/ 52 w 63"/>
                  <a:gd name="T47" fmla="*/ 9 h 38"/>
                  <a:gd name="T48" fmla="*/ 55 w 63"/>
                  <a:gd name="T49" fmla="*/ 10 h 38"/>
                  <a:gd name="T50" fmla="*/ 55 w 63"/>
                  <a:gd name="T51" fmla="*/ 10 h 38"/>
                  <a:gd name="T52" fmla="*/ 58 w 63"/>
                  <a:gd name="T53" fmla="*/ 12 h 38"/>
                  <a:gd name="T54" fmla="*/ 61 w 63"/>
                  <a:gd name="T55" fmla="*/ 16 h 38"/>
                  <a:gd name="T56" fmla="*/ 63 w 63"/>
                  <a:gd name="T57" fmla="*/ 22 h 38"/>
                  <a:gd name="T58" fmla="*/ 63 w 63"/>
                  <a:gd name="T59" fmla="*/ 22 h 38"/>
                  <a:gd name="T60" fmla="*/ 63 w 63"/>
                  <a:gd name="T61" fmla="*/ 28 h 38"/>
                  <a:gd name="T62" fmla="*/ 62 w 63"/>
                  <a:gd name="T63" fmla="*/ 32 h 38"/>
                  <a:gd name="T64" fmla="*/ 59 w 63"/>
                  <a:gd name="T65" fmla="*/ 35 h 38"/>
                  <a:gd name="T66" fmla="*/ 59 w 63"/>
                  <a:gd name="T67" fmla="*/ 35 h 38"/>
                  <a:gd name="T68" fmla="*/ 53 w 63"/>
                  <a:gd name="T69" fmla="*/ 36 h 38"/>
                  <a:gd name="T70" fmla="*/ 49 w 63"/>
                  <a:gd name="T71" fmla="*/ 38 h 38"/>
                  <a:gd name="T72" fmla="*/ 45 w 63"/>
                  <a:gd name="T73" fmla="*/ 36 h 38"/>
                  <a:gd name="T74" fmla="*/ 45 w 63"/>
                  <a:gd name="T75" fmla="*/ 36 h 38"/>
                  <a:gd name="T76" fmla="*/ 40 w 63"/>
                  <a:gd name="T77" fmla="*/ 34 h 38"/>
                  <a:gd name="T78" fmla="*/ 34 w 63"/>
                  <a:gd name="T79" fmla="*/ 31 h 38"/>
                  <a:gd name="T80" fmla="*/ 32 w 63"/>
                  <a:gd name="T81" fmla="*/ 28 h 38"/>
                  <a:gd name="T82" fmla="*/ 30 w 63"/>
                  <a:gd name="T83" fmla="*/ 28 h 38"/>
                  <a:gd name="T84" fmla="*/ 30 w 63"/>
                  <a:gd name="T85" fmla="*/ 28 h 38"/>
                  <a:gd name="T86" fmla="*/ 30 w 63"/>
                  <a:gd name="T87" fmla="*/ 28 h 38"/>
                  <a:gd name="T88" fmla="*/ 30 w 63"/>
                  <a:gd name="T89" fmla="*/ 34 h 38"/>
                  <a:gd name="T90" fmla="*/ 30 w 63"/>
                  <a:gd name="T91" fmla="*/ 35 h 38"/>
                  <a:gd name="T92" fmla="*/ 29 w 63"/>
                  <a:gd name="T93" fmla="*/ 35 h 38"/>
                  <a:gd name="T94" fmla="*/ 29 w 63"/>
                  <a:gd name="T95" fmla="*/ 35 h 38"/>
                  <a:gd name="T96" fmla="*/ 26 w 63"/>
                  <a:gd name="T97" fmla="*/ 34 h 38"/>
                  <a:gd name="T98" fmla="*/ 23 w 63"/>
                  <a:gd name="T99" fmla="*/ 32 h 38"/>
                  <a:gd name="T100" fmla="*/ 19 w 63"/>
                  <a:gd name="T101" fmla="*/ 29 h 38"/>
                  <a:gd name="T102" fmla="*/ 19 w 63"/>
                  <a:gd name="T103" fmla="*/ 29 h 38"/>
                  <a:gd name="T104" fmla="*/ 14 w 63"/>
                  <a:gd name="T105" fmla="*/ 32 h 38"/>
                  <a:gd name="T106" fmla="*/ 10 w 63"/>
                  <a:gd name="T107" fmla="*/ 34 h 38"/>
                  <a:gd name="T108" fmla="*/ 7 w 63"/>
                  <a:gd name="T109" fmla="*/ 3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" h="38">
                    <a:moveTo>
                      <a:pt x="7" y="35"/>
                    </a:moveTo>
                    <a:lnTo>
                      <a:pt x="7" y="35"/>
                    </a:lnTo>
                    <a:lnTo>
                      <a:pt x="3" y="35"/>
                    </a:lnTo>
                    <a:lnTo>
                      <a:pt x="0" y="34"/>
                    </a:lnTo>
                    <a:lnTo>
                      <a:pt x="0" y="32"/>
                    </a:lnTo>
                    <a:lnTo>
                      <a:pt x="1" y="29"/>
                    </a:lnTo>
                    <a:lnTo>
                      <a:pt x="1" y="29"/>
                    </a:lnTo>
                    <a:lnTo>
                      <a:pt x="10" y="20"/>
                    </a:lnTo>
                    <a:lnTo>
                      <a:pt x="14" y="18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27" y="15"/>
                    </a:lnTo>
                    <a:lnTo>
                      <a:pt x="30" y="13"/>
                    </a:lnTo>
                    <a:lnTo>
                      <a:pt x="33" y="10"/>
                    </a:lnTo>
                    <a:lnTo>
                      <a:pt x="33" y="10"/>
                    </a:lnTo>
                    <a:lnTo>
                      <a:pt x="34" y="6"/>
                    </a:lnTo>
                    <a:lnTo>
                      <a:pt x="39" y="3"/>
                    </a:lnTo>
                    <a:lnTo>
                      <a:pt x="43" y="0"/>
                    </a:lnTo>
                    <a:lnTo>
                      <a:pt x="45" y="0"/>
                    </a:lnTo>
                    <a:lnTo>
                      <a:pt x="47" y="0"/>
                    </a:lnTo>
                    <a:lnTo>
                      <a:pt x="47" y="0"/>
                    </a:lnTo>
                    <a:lnTo>
                      <a:pt x="49" y="3"/>
                    </a:lnTo>
                    <a:lnTo>
                      <a:pt x="50" y="6"/>
                    </a:lnTo>
                    <a:lnTo>
                      <a:pt x="52" y="9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8" y="12"/>
                    </a:lnTo>
                    <a:lnTo>
                      <a:pt x="61" y="16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3" y="28"/>
                    </a:lnTo>
                    <a:lnTo>
                      <a:pt x="62" y="32"/>
                    </a:lnTo>
                    <a:lnTo>
                      <a:pt x="59" y="35"/>
                    </a:lnTo>
                    <a:lnTo>
                      <a:pt x="59" y="35"/>
                    </a:lnTo>
                    <a:lnTo>
                      <a:pt x="53" y="36"/>
                    </a:lnTo>
                    <a:lnTo>
                      <a:pt x="49" y="38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0" y="34"/>
                    </a:lnTo>
                    <a:lnTo>
                      <a:pt x="34" y="31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34"/>
                    </a:lnTo>
                    <a:lnTo>
                      <a:pt x="30" y="35"/>
                    </a:lnTo>
                    <a:lnTo>
                      <a:pt x="29" y="35"/>
                    </a:lnTo>
                    <a:lnTo>
                      <a:pt x="29" y="35"/>
                    </a:lnTo>
                    <a:lnTo>
                      <a:pt x="26" y="34"/>
                    </a:lnTo>
                    <a:lnTo>
                      <a:pt x="23" y="32"/>
                    </a:lnTo>
                    <a:lnTo>
                      <a:pt x="19" y="29"/>
                    </a:lnTo>
                    <a:lnTo>
                      <a:pt x="19" y="29"/>
                    </a:lnTo>
                    <a:lnTo>
                      <a:pt x="14" y="32"/>
                    </a:lnTo>
                    <a:lnTo>
                      <a:pt x="10" y="34"/>
                    </a:lnTo>
                    <a:lnTo>
                      <a:pt x="7" y="3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99" name="Freeform 49"/>
              <p:cNvSpPr>
                <a:spLocks/>
              </p:cNvSpPr>
              <p:nvPr/>
            </p:nvSpPr>
            <p:spPr bwMode="auto">
              <a:xfrm>
                <a:off x="2713181" y="1308941"/>
                <a:ext cx="25721" cy="39570"/>
              </a:xfrm>
              <a:custGeom>
                <a:avLst/>
                <a:gdLst>
                  <a:gd name="T0" fmla="*/ 24 w 26"/>
                  <a:gd name="T1" fmla="*/ 39 h 40"/>
                  <a:gd name="T2" fmla="*/ 24 w 26"/>
                  <a:gd name="T3" fmla="*/ 39 h 40"/>
                  <a:gd name="T4" fmla="*/ 20 w 26"/>
                  <a:gd name="T5" fmla="*/ 40 h 40"/>
                  <a:gd name="T6" fmla="*/ 16 w 26"/>
                  <a:gd name="T7" fmla="*/ 40 h 40"/>
                  <a:gd name="T8" fmla="*/ 11 w 26"/>
                  <a:gd name="T9" fmla="*/ 39 h 40"/>
                  <a:gd name="T10" fmla="*/ 10 w 26"/>
                  <a:gd name="T11" fmla="*/ 38 h 40"/>
                  <a:gd name="T12" fmla="*/ 10 w 26"/>
                  <a:gd name="T13" fmla="*/ 38 h 40"/>
                  <a:gd name="T14" fmla="*/ 7 w 26"/>
                  <a:gd name="T15" fmla="*/ 26 h 40"/>
                  <a:gd name="T16" fmla="*/ 6 w 26"/>
                  <a:gd name="T17" fmla="*/ 20 h 40"/>
                  <a:gd name="T18" fmla="*/ 4 w 26"/>
                  <a:gd name="T19" fmla="*/ 14 h 40"/>
                  <a:gd name="T20" fmla="*/ 4 w 26"/>
                  <a:gd name="T21" fmla="*/ 14 h 40"/>
                  <a:gd name="T22" fmla="*/ 1 w 26"/>
                  <a:gd name="T23" fmla="*/ 10 h 40"/>
                  <a:gd name="T24" fmla="*/ 0 w 26"/>
                  <a:gd name="T25" fmla="*/ 6 h 40"/>
                  <a:gd name="T26" fmla="*/ 0 w 26"/>
                  <a:gd name="T27" fmla="*/ 1 h 40"/>
                  <a:gd name="T28" fmla="*/ 1 w 26"/>
                  <a:gd name="T29" fmla="*/ 0 h 40"/>
                  <a:gd name="T30" fmla="*/ 1 w 26"/>
                  <a:gd name="T31" fmla="*/ 0 h 40"/>
                  <a:gd name="T32" fmla="*/ 4 w 26"/>
                  <a:gd name="T33" fmla="*/ 0 h 40"/>
                  <a:gd name="T34" fmla="*/ 8 w 26"/>
                  <a:gd name="T35" fmla="*/ 3 h 40"/>
                  <a:gd name="T36" fmla="*/ 13 w 26"/>
                  <a:gd name="T37" fmla="*/ 7 h 40"/>
                  <a:gd name="T38" fmla="*/ 14 w 26"/>
                  <a:gd name="T39" fmla="*/ 11 h 40"/>
                  <a:gd name="T40" fmla="*/ 14 w 26"/>
                  <a:gd name="T41" fmla="*/ 11 h 40"/>
                  <a:gd name="T42" fmla="*/ 17 w 26"/>
                  <a:gd name="T43" fmla="*/ 20 h 40"/>
                  <a:gd name="T44" fmla="*/ 20 w 26"/>
                  <a:gd name="T45" fmla="*/ 27 h 40"/>
                  <a:gd name="T46" fmla="*/ 20 w 26"/>
                  <a:gd name="T47" fmla="*/ 27 h 40"/>
                  <a:gd name="T48" fmla="*/ 24 w 26"/>
                  <a:gd name="T49" fmla="*/ 33 h 40"/>
                  <a:gd name="T50" fmla="*/ 26 w 26"/>
                  <a:gd name="T51" fmla="*/ 38 h 40"/>
                  <a:gd name="T52" fmla="*/ 24 w 26"/>
                  <a:gd name="T53" fmla="*/ 38 h 40"/>
                  <a:gd name="T54" fmla="*/ 24 w 26"/>
                  <a:gd name="T55" fmla="*/ 3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6" h="40">
                    <a:moveTo>
                      <a:pt x="24" y="39"/>
                    </a:moveTo>
                    <a:lnTo>
                      <a:pt x="24" y="39"/>
                    </a:lnTo>
                    <a:lnTo>
                      <a:pt x="20" y="40"/>
                    </a:lnTo>
                    <a:lnTo>
                      <a:pt x="16" y="40"/>
                    </a:lnTo>
                    <a:lnTo>
                      <a:pt x="11" y="39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7" y="26"/>
                    </a:lnTo>
                    <a:lnTo>
                      <a:pt x="6" y="2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8" y="3"/>
                    </a:lnTo>
                    <a:lnTo>
                      <a:pt x="13" y="7"/>
                    </a:lnTo>
                    <a:lnTo>
                      <a:pt x="14" y="11"/>
                    </a:lnTo>
                    <a:lnTo>
                      <a:pt x="14" y="11"/>
                    </a:lnTo>
                    <a:lnTo>
                      <a:pt x="17" y="20"/>
                    </a:lnTo>
                    <a:lnTo>
                      <a:pt x="20" y="27"/>
                    </a:lnTo>
                    <a:lnTo>
                      <a:pt x="20" y="27"/>
                    </a:lnTo>
                    <a:lnTo>
                      <a:pt x="24" y="33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4" y="3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00" name="Freeform 50"/>
              <p:cNvSpPr>
                <a:spLocks/>
              </p:cNvSpPr>
              <p:nvPr/>
            </p:nvSpPr>
            <p:spPr bwMode="auto">
              <a:xfrm>
                <a:off x="2713181" y="1308941"/>
                <a:ext cx="25721" cy="39570"/>
              </a:xfrm>
              <a:custGeom>
                <a:avLst/>
                <a:gdLst>
                  <a:gd name="T0" fmla="*/ 24 w 26"/>
                  <a:gd name="T1" fmla="*/ 39 h 40"/>
                  <a:gd name="T2" fmla="*/ 24 w 26"/>
                  <a:gd name="T3" fmla="*/ 39 h 40"/>
                  <a:gd name="T4" fmla="*/ 20 w 26"/>
                  <a:gd name="T5" fmla="*/ 40 h 40"/>
                  <a:gd name="T6" fmla="*/ 16 w 26"/>
                  <a:gd name="T7" fmla="*/ 40 h 40"/>
                  <a:gd name="T8" fmla="*/ 11 w 26"/>
                  <a:gd name="T9" fmla="*/ 39 h 40"/>
                  <a:gd name="T10" fmla="*/ 10 w 26"/>
                  <a:gd name="T11" fmla="*/ 38 h 40"/>
                  <a:gd name="T12" fmla="*/ 10 w 26"/>
                  <a:gd name="T13" fmla="*/ 38 h 40"/>
                  <a:gd name="T14" fmla="*/ 7 w 26"/>
                  <a:gd name="T15" fmla="*/ 26 h 40"/>
                  <a:gd name="T16" fmla="*/ 6 w 26"/>
                  <a:gd name="T17" fmla="*/ 20 h 40"/>
                  <a:gd name="T18" fmla="*/ 4 w 26"/>
                  <a:gd name="T19" fmla="*/ 14 h 40"/>
                  <a:gd name="T20" fmla="*/ 4 w 26"/>
                  <a:gd name="T21" fmla="*/ 14 h 40"/>
                  <a:gd name="T22" fmla="*/ 1 w 26"/>
                  <a:gd name="T23" fmla="*/ 10 h 40"/>
                  <a:gd name="T24" fmla="*/ 0 w 26"/>
                  <a:gd name="T25" fmla="*/ 6 h 40"/>
                  <a:gd name="T26" fmla="*/ 0 w 26"/>
                  <a:gd name="T27" fmla="*/ 1 h 40"/>
                  <a:gd name="T28" fmla="*/ 1 w 26"/>
                  <a:gd name="T29" fmla="*/ 0 h 40"/>
                  <a:gd name="T30" fmla="*/ 1 w 26"/>
                  <a:gd name="T31" fmla="*/ 0 h 40"/>
                  <a:gd name="T32" fmla="*/ 4 w 26"/>
                  <a:gd name="T33" fmla="*/ 0 h 40"/>
                  <a:gd name="T34" fmla="*/ 8 w 26"/>
                  <a:gd name="T35" fmla="*/ 3 h 40"/>
                  <a:gd name="T36" fmla="*/ 13 w 26"/>
                  <a:gd name="T37" fmla="*/ 7 h 40"/>
                  <a:gd name="T38" fmla="*/ 14 w 26"/>
                  <a:gd name="T39" fmla="*/ 11 h 40"/>
                  <a:gd name="T40" fmla="*/ 14 w 26"/>
                  <a:gd name="T41" fmla="*/ 11 h 40"/>
                  <a:gd name="T42" fmla="*/ 17 w 26"/>
                  <a:gd name="T43" fmla="*/ 20 h 40"/>
                  <a:gd name="T44" fmla="*/ 20 w 26"/>
                  <a:gd name="T45" fmla="*/ 27 h 40"/>
                  <a:gd name="T46" fmla="*/ 20 w 26"/>
                  <a:gd name="T47" fmla="*/ 27 h 40"/>
                  <a:gd name="T48" fmla="*/ 24 w 26"/>
                  <a:gd name="T49" fmla="*/ 33 h 40"/>
                  <a:gd name="T50" fmla="*/ 26 w 26"/>
                  <a:gd name="T51" fmla="*/ 38 h 40"/>
                  <a:gd name="T52" fmla="*/ 24 w 26"/>
                  <a:gd name="T53" fmla="*/ 38 h 40"/>
                  <a:gd name="T54" fmla="*/ 24 w 26"/>
                  <a:gd name="T55" fmla="*/ 3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6" h="40">
                    <a:moveTo>
                      <a:pt x="24" y="39"/>
                    </a:moveTo>
                    <a:lnTo>
                      <a:pt x="24" y="39"/>
                    </a:lnTo>
                    <a:lnTo>
                      <a:pt x="20" y="40"/>
                    </a:lnTo>
                    <a:lnTo>
                      <a:pt x="16" y="40"/>
                    </a:lnTo>
                    <a:lnTo>
                      <a:pt x="11" y="39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7" y="26"/>
                    </a:lnTo>
                    <a:lnTo>
                      <a:pt x="6" y="2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8" y="3"/>
                    </a:lnTo>
                    <a:lnTo>
                      <a:pt x="13" y="7"/>
                    </a:lnTo>
                    <a:lnTo>
                      <a:pt x="14" y="11"/>
                    </a:lnTo>
                    <a:lnTo>
                      <a:pt x="14" y="11"/>
                    </a:lnTo>
                    <a:lnTo>
                      <a:pt x="17" y="20"/>
                    </a:lnTo>
                    <a:lnTo>
                      <a:pt x="20" y="27"/>
                    </a:lnTo>
                    <a:lnTo>
                      <a:pt x="20" y="27"/>
                    </a:lnTo>
                    <a:lnTo>
                      <a:pt x="24" y="33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4" y="3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01" name="Freeform 51"/>
              <p:cNvSpPr>
                <a:spLocks/>
              </p:cNvSpPr>
              <p:nvPr/>
            </p:nvSpPr>
            <p:spPr bwMode="auto">
              <a:xfrm>
                <a:off x="2765612" y="1291135"/>
                <a:ext cx="24731" cy="14839"/>
              </a:xfrm>
              <a:custGeom>
                <a:avLst/>
                <a:gdLst>
                  <a:gd name="T0" fmla="*/ 9 w 25"/>
                  <a:gd name="T1" fmla="*/ 15 h 15"/>
                  <a:gd name="T2" fmla="*/ 9 w 25"/>
                  <a:gd name="T3" fmla="*/ 15 h 15"/>
                  <a:gd name="T4" fmla="*/ 6 w 25"/>
                  <a:gd name="T5" fmla="*/ 14 h 15"/>
                  <a:gd name="T6" fmla="*/ 3 w 25"/>
                  <a:gd name="T7" fmla="*/ 11 h 15"/>
                  <a:gd name="T8" fmla="*/ 0 w 25"/>
                  <a:gd name="T9" fmla="*/ 8 h 15"/>
                  <a:gd name="T10" fmla="*/ 0 w 25"/>
                  <a:gd name="T11" fmla="*/ 5 h 15"/>
                  <a:gd name="T12" fmla="*/ 0 w 25"/>
                  <a:gd name="T13" fmla="*/ 5 h 15"/>
                  <a:gd name="T14" fmla="*/ 2 w 25"/>
                  <a:gd name="T15" fmla="*/ 3 h 15"/>
                  <a:gd name="T16" fmla="*/ 5 w 25"/>
                  <a:gd name="T17" fmla="*/ 2 h 15"/>
                  <a:gd name="T18" fmla="*/ 12 w 25"/>
                  <a:gd name="T19" fmla="*/ 0 h 15"/>
                  <a:gd name="T20" fmla="*/ 12 w 25"/>
                  <a:gd name="T21" fmla="*/ 0 h 15"/>
                  <a:gd name="T22" fmla="*/ 16 w 25"/>
                  <a:gd name="T23" fmla="*/ 2 h 15"/>
                  <a:gd name="T24" fmla="*/ 21 w 25"/>
                  <a:gd name="T25" fmla="*/ 5 h 15"/>
                  <a:gd name="T26" fmla="*/ 24 w 25"/>
                  <a:gd name="T27" fmla="*/ 8 h 15"/>
                  <a:gd name="T28" fmla="*/ 25 w 25"/>
                  <a:gd name="T29" fmla="*/ 9 h 15"/>
                  <a:gd name="T30" fmla="*/ 25 w 25"/>
                  <a:gd name="T31" fmla="*/ 9 h 15"/>
                  <a:gd name="T32" fmla="*/ 21 w 25"/>
                  <a:gd name="T33" fmla="*/ 11 h 15"/>
                  <a:gd name="T34" fmla="*/ 18 w 25"/>
                  <a:gd name="T35" fmla="*/ 12 h 15"/>
                  <a:gd name="T36" fmla="*/ 18 w 25"/>
                  <a:gd name="T37" fmla="*/ 12 h 15"/>
                  <a:gd name="T38" fmla="*/ 9 w 25"/>
                  <a:gd name="T3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15">
                    <a:moveTo>
                      <a:pt x="9" y="15"/>
                    </a:moveTo>
                    <a:lnTo>
                      <a:pt x="9" y="15"/>
                    </a:lnTo>
                    <a:lnTo>
                      <a:pt x="6" y="14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5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2"/>
                    </a:lnTo>
                    <a:lnTo>
                      <a:pt x="21" y="5"/>
                    </a:lnTo>
                    <a:lnTo>
                      <a:pt x="24" y="8"/>
                    </a:lnTo>
                    <a:lnTo>
                      <a:pt x="25" y="9"/>
                    </a:lnTo>
                    <a:lnTo>
                      <a:pt x="25" y="9"/>
                    </a:lnTo>
                    <a:lnTo>
                      <a:pt x="21" y="11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9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02" name="Freeform 52"/>
              <p:cNvSpPr>
                <a:spLocks/>
              </p:cNvSpPr>
              <p:nvPr/>
            </p:nvSpPr>
            <p:spPr bwMode="auto">
              <a:xfrm>
                <a:off x="2765612" y="1291135"/>
                <a:ext cx="24731" cy="14839"/>
              </a:xfrm>
              <a:custGeom>
                <a:avLst/>
                <a:gdLst>
                  <a:gd name="T0" fmla="*/ 9 w 25"/>
                  <a:gd name="T1" fmla="*/ 15 h 15"/>
                  <a:gd name="T2" fmla="*/ 9 w 25"/>
                  <a:gd name="T3" fmla="*/ 15 h 15"/>
                  <a:gd name="T4" fmla="*/ 6 w 25"/>
                  <a:gd name="T5" fmla="*/ 14 h 15"/>
                  <a:gd name="T6" fmla="*/ 3 w 25"/>
                  <a:gd name="T7" fmla="*/ 11 h 15"/>
                  <a:gd name="T8" fmla="*/ 0 w 25"/>
                  <a:gd name="T9" fmla="*/ 8 h 15"/>
                  <a:gd name="T10" fmla="*/ 0 w 25"/>
                  <a:gd name="T11" fmla="*/ 5 h 15"/>
                  <a:gd name="T12" fmla="*/ 0 w 25"/>
                  <a:gd name="T13" fmla="*/ 5 h 15"/>
                  <a:gd name="T14" fmla="*/ 2 w 25"/>
                  <a:gd name="T15" fmla="*/ 3 h 15"/>
                  <a:gd name="T16" fmla="*/ 5 w 25"/>
                  <a:gd name="T17" fmla="*/ 2 h 15"/>
                  <a:gd name="T18" fmla="*/ 12 w 25"/>
                  <a:gd name="T19" fmla="*/ 0 h 15"/>
                  <a:gd name="T20" fmla="*/ 12 w 25"/>
                  <a:gd name="T21" fmla="*/ 0 h 15"/>
                  <a:gd name="T22" fmla="*/ 16 w 25"/>
                  <a:gd name="T23" fmla="*/ 2 h 15"/>
                  <a:gd name="T24" fmla="*/ 21 w 25"/>
                  <a:gd name="T25" fmla="*/ 5 h 15"/>
                  <a:gd name="T26" fmla="*/ 24 w 25"/>
                  <a:gd name="T27" fmla="*/ 8 h 15"/>
                  <a:gd name="T28" fmla="*/ 25 w 25"/>
                  <a:gd name="T29" fmla="*/ 9 h 15"/>
                  <a:gd name="T30" fmla="*/ 25 w 25"/>
                  <a:gd name="T31" fmla="*/ 9 h 15"/>
                  <a:gd name="T32" fmla="*/ 21 w 25"/>
                  <a:gd name="T33" fmla="*/ 11 h 15"/>
                  <a:gd name="T34" fmla="*/ 18 w 25"/>
                  <a:gd name="T35" fmla="*/ 12 h 15"/>
                  <a:gd name="T36" fmla="*/ 18 w 25"/>
                  <a:gd name="T37" fmla="*/ 12 h 15"/>
                  <a:gd name="T38" fmla="*/ 9 w 25"/>
                  <a:gd name="T3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15">
                    <a:moveTo>
                      <a:pt x="9" y="15"/>
                    </a:moveTo>
                    <a:lnTo>
                      <a:pt x="9" y="15"/>
                    </a:lnTo>
                    <a:lnTo>
                      <a:pt x="6" y="14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5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2"/>
                    </a:lnTo>
                    <a:lnTo>
                      <a:pt x="21" y="5"/>
                    </a:lnTo>
                    <a:lnTo>
                      <a:pt x="24" y="8"/>
                    </a:lnTo>
                    <a:lnTo>
                      <a:pt x="25" y="9"/>
                    </a:lnTo>
                    <a:lnTo>
                      <a:pt x="25" y="9"/>
                    </a:lnTo>
                    <a:lnTo>
                      <a:pt x="21" y="11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9" y="1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03" name="Freeform 53"/>
              <p:cNvSpPr>
                <a:spLocks/>
              </p:cNvSpPr>
              <p:nvPr/>
            </p:nvSpPr>
            <p:spPr bwMode="auto">
              <a:xfrm>
                <a:off x="2717138" y="1179349"/>
                <a:ext cx="101894" cy="122668"/>
              </a:xfrm>
              <a:custGeom>
                <a:avLst/>
                <a:gdLst>
                  <a:gd name="T0" fmla="*/ 84 w 103"/>
                  <a:gd name="T1" fmla="*/ 121 h 124"/>
                  <a:gd name="T2" fmla="*/ 77 w 103"/>
                  <a:gd name="T3" fmla="*/ 103 h 124"/>
                  <a:gd name="T4" fmla="*/ 71 w 103"/>
                  <a:gd name="T5" fmla="*/ 92 h 124"/>
                  <a:gd name="T6" fmla="*/ 61 w 103"/>
                  <a:gd name="T7" fmla="*/ 87 h 124"/>
                  <a:gd name="T8" fmla="*/ 55 w 103"/>
                  <a:gd name="T9" fmla="*/ 85 h 124"/>
                  <a:gd name="T10" fmla="*/ 49 w 103"/>
                  <a:gd name="T11" fmla="*/ 87 h 124"/>
                  <a:gd name="T12" fmla="*/ 46 w 103"/>
                  <a:gd name="T13" fmla="*/ 85 h 124"/>
                  <a:gd name="T14" fmla="*/ 44 w 103"/>
                  <a:gd name="T15" fmla="*/ 83 h 124"/>
                  <a:gd name="T16" fmla="*/ 26 w 103"/>
                  <a:gd name="T17" fmla="*/ 89 h 124"/>
                  <a:gd name="T18" fmla="*/ 19 w 103"/>
                  <a:gd name="T19" fmla="*/ 83 h 124"/>
                  <a:gd name="T20" fmla="*/ 13 w 103"/>
                  <a:gd name="T21" fmla="*/ 70 h 124"/>
                  <a:gd name="T22" fmla="*/ 15 w 103"/>
                  <a:gd name="T23" fmla="*/ 67 h 124"/>
                  <a:gd name="T24" fmla="*/ 31 w 103"/>
                  <a:gd name="T25" fmla="*/ 70 h 124"/>
                  <a:gd name="T26" fmla="*/ 36 w 103"/>
                  <a:gd name="T27" fmla="*/ 67 h 124"/>
                  <a:gd name="T28" fmla="*/ 36 w 103"/>
                  <a:gd name="T29" fmla="*/ 63 h 124"/>
                  <a:gd name="T30" fmla="*/ 29 w 103"/>
                  <a:gd name="T31" fmla="*/ 58 h 124"/>
                  <a:gd name="T32" fmla="*/ 36 w 103"/>
                  <a:gd name="T33" fmla="*/ 54 h 124"/>
                  <a:gd name="T34" fmla="*/ 28 w 103"/>
                  <a:gd name="T35" fmla="*/ 51 h 124"/>
                  <a:gd name="T36" fmla="*/ 25 w 103"/>
                  <a:gd name="T37" fmla="*/ 47 h 124"/>
                  <a:gd name="T38" fmla="*/ 29 w 103"/>
                  <a:gd name="T39" fmla="*/ 41 h 124"/>
                  <a:gd name="T40" fmla="*/ 26 w 103"/>
                  <a:gd name="T41" fmla="*/ 34 h 124"/>
                  <a:gd name="T42" fmla="*/ 23 w 103"/>
                  <a:gd name="T43" fmla="*/ 32 h 124"/>
                  <a:gd name="T44" fmla="*/ 15 w 103"/>
                  <a:gd name="T45" fmla="*/ 48 h 124"/>
                  <a:gd name="T46" fmla="*/ 12 w 103"/>
                  <a:gd name="T47" fmla="*/ 41 h 124"/>
                  <a:gd name="T48" fmla="*/ 16 w 103"/>
                  <a:gd name="T49" fmla="*/ 34 h 124"/>
                  <a:gd name="T50" fmla="*/ 13 w 103"/>
                  <a:gd name="T51" fmla="*/ 29 h 124"/>
                  <a:gd name="T52" fmla="*/ 3 w 103"/>
                  <a:gd name="T53" fmla="*/ 31 h 124"/>
                  <a:gd name="T54" fmla="*/ 2 w 103"/>
                  <a:gd name="T55" fmla="*/ 14 h 124"/>
                  <a:gd name="T56" fmla="*/ 0 w 103"/>
                  <a:gd name="T57" fmla="*/ 8 h 124"/>
                  <a:gd name="T58" fmla="*/ 9 w 103"/>
                  <a:gd name="T59" fmla="*/ 8 h 124"/>
                  <a:gd name="T60" fmla="*/ 23 w 103"/>
                  <a:gd name="T61" fmla="*/ 2 h 124"/>
                  <a:gd name="T62" fmla="*/ 26 w 103"/>
                  <a:gd name="T63" fmla="*/ 2 h 124"/>
                  <a:gd name="T64" fmla="*/ 31 w 103"/>
                  <a:gd name="T65" fmla="*/ 8 h 124"/>
                  <a:gd name="T66" fmla="*/ 38 w 103"/>
                  <a:gd name="T67" fmla="*/ 8 h 124"/>
                  <a:gd name="T68" fmla="*/ 38 w 103"/>
                  <a:gd name="T69" fmla="*/ 19 h 124"/>
                  <a:gd name="T70" fmla="*/ 39 w 103"/>
                  <a:gd name="T71" fmla="*/ 29 h 124"/>
                  <a:gd name="T72" fmla="*/ 44 w 103"/>
                  <a:gd name="T73" fmla="*/ 32 h 124"/>
                  <a:gd name="T74" fmla="*/ 45 w 103"/>
                  <a:gd name="T75" fmla="*/ 18 h 124"/>
                  <a:gd name="T76" fmla="*/ 48 w 103"/>
                  <a:gd name="T77" fmla="*/ 16 h 124"/>
                  <a:gd name="T78" fmla="*/ 58 w 103"/>
                  <a:gd name="T79" fmla="*/ 22 h 124"/>
                  <a:gd name="T80" fmla="*/ 64 w 103"/>
                  <a:gd name="T81" fmla="*/ 28 h 124"/>
                  <a:gd name="T82" fmla="*/ 67 w 103"/>
                  <a:gd name="T83" fmla="*/ 34 h 124"/>
                  <a:gd name="T84" fmla="*/ 65 w 103"/>
                  <a:gd name="T85" fmla="*/ 41 h 124"/>
                  <a:gd name="T86" fmla="*/ 73 w 103"/>
                  <a:gd name="T87" fmla="*/ 40 h 124"/>
                  <a:gd name="T88" fmla="*/ 81 w 103"/>
                  <a:gd name="T89" fmla="*/ 38 h 124"/>
                  <a:gd name="T90" fmla="*/ 86 w 103"/>
                  <a:gd name="T91" fmla="*/ 44 h 124"/>
                  <a:gd name="T92" fmla="*/ 87 w 103"/>
                  <a:gd name="T93" fmla="*/ 48 h 124"/>
                  <a:gd name="T94" fmla="*/ 93 w 103"/>
                  <a:gd name="T95" fmla="*/ 53 h 124"/>
                  <a:gd name="T96" fmla="*/ 97 w 103"/>
                  <a:gd name="T97" fmla="*/ 56 h 124"/>
                  <a:gd name="T98" fmla="*/ 96 w 103"/>
                  <a:gd name="T99" fmla="*/ 61 h 124"/>
                  <a:gd name="T100" fmla="*/ 90 w 103"/>
                  <a:gd name="T101" fmla="*/ 74 h 124"/>
                  <a:gd name="T102" fmla="*/ 94 w 103"/>
                  <a:gd name="T103" fmla="*/ 82 h 124"/>
                  <a:gd name="T104" fmla="*/ 99 w 103"/>
                  <a:gd name="T105" fmla="*/ 89 h 124"/>
                  <a:gd name="T106" fmla="*/ 103 w 103"/>
                  <a:gd name="T107" fmla="*/ 111 h 124"/>
                  <a:gd name="T108" fmla="*/ 100 w 103"/>
                  <a:gd name="T109" fmla="*/ 121 h 124"/>
                  <a:gd name="T110" fmla="*/ 93 w 103"/>
                  <a:gd name="T111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3" h="124">
                    <a:moveTo>
                      <a:pt x="87" y="124"/>
                    </a:moveTo>
                    <a:lnTo>
                      <a:pt x="87" y="124"/>
                    </a:lnTo>
                    <a:lnTo>
                      <a:pt x="84" y="121"/>
                    </a:lnTo>
                    <a:lnTo>
                      <a:pt x="81" y="115"/>
                    </a:lnTo>
                    <a:lnTo>
                      <a:pt x="77" y="103"/>
                    </a:lnTo>
                    <a:lnTo>
                      <a:pt x="77" y="103"/>
                    </a:lnTo>
                    <a:lnTo>
                      <a:pt x="74" y="96"/>
                    </a:lnTo>
                    <a:lnTo>
                      <a:pt x="71" y="92"/>
                    </a:lnTo>
                    <a:lnTo>
                      <a:pt x="71" y="92"/>
                    </a:lnTo>
                    <a:lnTo>
                      <a:pt x="65" y="89"/>
                    </a:lnTo>
                    <a:lnTo>
                      <a:pt x="61" y="87"/>
                    </a:lnTo>
                    <a:lnTo>
                      <a:pt x="61" y="87"/>
                    </a:lnTo>
                    <a:lnTo>
                      <a:pt x="58" y="86"/>
                    </a:lnTo>
                    <a:lnTo>
                      <a:pt x="57" y="85"/>
                    </a:lnTo>
                    <a:lnTo>
                      <a:pt x="55" y="85"/>
                    </a:lnTo>
                    <a:lnTo>
                      <a:pt x="55" y="85"/>
                    </a:lnTo>
                    <a:lnTo>
                      <a:pt x="51" y="87"/>
                    </a:lnTo>
                    <a:lnTo>
                      <a:pt x="49" y="87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85"/>
                    </a:lnTo>
                    <a:lnTo>
                      <a:pt x="45" y="83"/>
                    </a:lnTo>
                    <a:lnTo>
                      <a:pt x="44" y="83"/>
                    </a:lnTo>
                    <a:lnTo>
                      <a:pt x="44" y="83"/>
                    </a:lnTo>
                    <a:lnTo>
                      <a:pt x="35" y="86"/>
                    </a:lnTo>
                    <a:lnTo>
                      <a:pt x="26" y="89"/>
                    </a:lnTo>
                    <a:lnTo>
                      <a:pt x="26" y="89"/>
                    </a:lnTo>
                    <a:lnTo>
                      <a:pt x="23" y="89"/>
                    </a:lnTo>
                    <a:lnTo>
                      <a:pt x="22" y="87"/>
                    </a:lnTo>
                    <a:lnTo>
                      <a:pt x="19" y="83"/>
                    </a:lnTo>
                    <a:lnTo>
                      <a:pt x="19" y="83"/>
                    </a:lnTo>
                    <a:lnTo>
                      <a:pt x="13" y="74"/>
                    </a:lnTo>
                    <a:lnTo>
                      <a:pt x="13" y="70"/>
                    </a:lnTo>
                    <a:lnTo>
                      <a:pt x="13" y="69"/>
                    </a:lnTo>
                    <a:lnTo>
                      <a:pt x="15" y="67"/>
                    </a:lnTo>
                    <a:lnTo>
                      <a:pt x="15" y="67"/>
                    </a:lnTo>
                    <a:lnTo>
                      <a:pt x="19" y="66"/>
                    </a:lnTo>
                    <a:lnTo>
                      <a:pt x="23" y="67"/>
                    </a:lnTo>
                    <a:lnTo>
                      <a:pt x="31" y="70"/>
                    </a:lnTo>
                    <a:lnTo>
                      <a:pt x="31" y="70"/>
                    </a:lnTo>
                    <a:lnTo>
                      <a:pt x="33" y="70"/>
                    </a:lnTo>
                    <a:lnTo>
                      <a:pt x="36" y="67"/>
                    </a:lnTo>
                    <a:lnTo>
                      <a:pt x="38" y="66"/>
                    </a:lnTo>
                    <a:lnTo>
                      <a:pt x="36" y="63"/>
                    </a:lnTo>
                    <a:lnTo>
                      <a:pt x="36" y="63"/>
                    </a:lnTo>
                    <a:lnTo>
                      <a:pt x="29" y="60"/>
                    </a:lnTo>
                    <a:lnTo>
                      <a:pt x="29" y="58"/>
                    </a:lnTo>
                    <a:lnTo>
                      <a:pt x="29" y="58"/>
                    </a:lnTo>
                    <a:lnTo>
                      <a:pt x="29" y="58"/>
                    </a:lnTo>
                    <a:lnTo>
                      <a:pt x="35" y="56"/>
                    </a:lnTo>
                    <a:lnTo>
                      <a:pt x="36" y="54"/>
                    </a:lnTo>
                    <a:lnTo>
                      <a:pt x="35" y="53"/>
                    </a:lnTo>
                    <a:lnTo>
                      <a:pt x="35" y="53"/>
                    </a:lnTo>
                    <a:lnTo>
                      <a:pt x="28" y="51"/>
                    </a:lnTo>
                    <a:lnTo>
                      <a:pt x="25" y="50"/>
                    </a:lnTo>
                    <a:lnTo>
                      <a:pt x="25" y="48"/>
                    </a:lnTo>
                    <a:lnTo>
                      <a:pt x="25" y="47"/>
                    </a:lnTo>
                    <a:lnTo>
                      <a:pt x="25" y="47"/>
                    </a:lnTo>
                    <a:lnTo>
                      <a:pt x="29" y="42"/>
                    </a:lnTo>
                    <a:lnTo>
                      <a:pt x="29" y="41"/>
                    </a:lnTo>
                    <a:lnTo>
                      <a:pt x="29" y="40"/>
                    </a:lnTo>
                    <a:lnTo>
                      <a:pt x="29" y="40"/>
                    </a:lnTo>
                    <a:lnTo>
                      <a:pt x="26" y="34"/>
                    </a:lnTo>
                    <a:lnTo>
                      <a:pt x="26" y="31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19" y="41"/>
                    </a:lnTo>
                    <a:lnTo>
                      <a:pt x="16" y="45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2" y="44"/>
                    </a:lnTo>
                    <a:lnTo>
                      <a:pt x="12" y="41"/>
                    </a:lnTo>
                    <a:lnTo>
                      <a:pt x="13" y="38"/>
                    </a:lnTo>
                    <a:lnTo>
                      <a:pt x="13" y="38"/>
                    </a:lnTo>
                    <a:lnTo>
                      <a:pt x="16" y="34"/>
                    </a:lnTo>
                    <a:lnTo>
                      <a:pt x="16" y="31"/>
                    </a:lnTo>
                    <a:lnTo>
                      <a:pt x="13" y="29"/>
                    </a:lnTo>
                    <a:lnTo>
                      <a:pt x="13" y="29"/>
                    </a:lnTo>
                    <a:lnTo>
                      <a:pt x="7" y="31"/>
                    </a:lnTo>
                    <a:lnTo>
                      <a:pt x="4" y="31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3" y="21"/>
                    </a:lnTo>
                    <a:lnTo>
                      <a:pt x="2" y="1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4" y="9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19" y="3"/>
                    </a:lnTo>
                    <a:lnTo>
                      <a:pt x="23" y="2"/>
                    </a:lnTo>
                    <a:lnTo>
                      <a:pt x="25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6"/>
                    </a:lnTo>
                    <a:lnTo>
                      <a:pt x="28" y="8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6" y="8"/>
                    </a:lnTo>
                    <a:lnTo>
                      <a:pt x="38" y="8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8" y="19"/>
                    </a:lnTo>
                    <a:lnTo>
                      <a:pt x="38" y="25"/>
                    </a:lnTo>
                    <a:lnTo>
                      <a:pt x="39" y="29"/>
                    </a:lnTo>
                    <a:lnTo>
                      <a:pt x="39" y="29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22"/>
                    </a:lnTo>
                    <a:lnTo>
                      <a:pt x="45" y="18"/>
                    </a:lnTo>
                    <a:lnTo>
                      <a:pt x="46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2" y="16"/>
                    </a:lnTo>
                    <a:lnTo>
                      <a:pt x="55" y="18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61" y="25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7" y="2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4" y="38"/>
                    </a:lnTo>
                    <a:lnTo>
                      <a:pt x="65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73" y="40"/>
                    </a:lnTo>
                    <a:lnTo>
                      <a:pt x="75" y="38"/>
                    </a:lnTo>
                    <a:lnTo>
                      <a:pt x="78" y="37"/>
                    </a:lnTo>
                    <a:lnTo>
                      <a:pt x="81" y="38"/>
                    </a:lnTo>
                    <a:lnTo>
                      <a:pt x="81" y="38"/>
                    </a:lnTo>
                    <a:lnTo>
                      <a:pt x="84" y="41"/>
                    </a:lnTo>
                    <a:lnTo>
                      <a:pt x="86" y="44"/>
                    </a:lnTo>
                    <a:lnTo>
                      <a:pt x="87" y="47"/>
                    </a:lnTo>
                    <a:lnTo>
                      <a:pt x="87" y="48"/>
                    </a:lnTo>
                    <a:lnTo>
                      <a:pt x="87" y="48"/>
                    </a:lnTo>
                    <a:lnTo>
                      <a:pt x="87" y="50"/>
                    </a:lnTo>
                    <a:lnTo>
                      <a:pt x="88" y="51"/>
                    </a:lnTo>
                    <a:lnTo>
                      <a:pt x="93" y="53"/>
                    </a:lnTo>
                    <a:lnTo>
                      <a:pt x="93" y="53"/>
                    </a:lnTo>
                    <a:lnTo>
                      <a:pt x="96" y="54"/>
                    </a:lnTo>
                    <a:lnTo>
                      <a:pt x="97" y="56"/>
                    </a:lnTo>
                    <a:lnTo>
                      <a:pt x="97" y="58"/>
                    </a:lnTo>
                    <a:lnTo>
                      <a:pt x="96" y="61"/>
                    </a:lnTo>
                    <a:lnTo>
                      <a:pt x="96" y="61"/>
                    </a:lnTo>
                    <a:lnTo>
                      <a:pt x="91" y="69"/>
                    </a:lnTo>
                    <a:lnTo>
                      <a:pt x="90" y="71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1" y="77"/>
                    </a:lnTo>
                    <a:lnTo>
                      <a:pt x="94" y="82"/>
                    </a:lnTo>
                    <a:lnTo>
                      <a:pt x="97" y="85"/>
                    </a:lnTo>
                    <a:lnTo>
                      <a:pt x="99" y="89"/>
                    </a:lnTo>
                    <a:lnTo>
                      <a:pt x="99" y="89"/>
                    </a:lnTo>
                    <a:lnTo>
                      <a:pt x="102" y="99"/>
                    </a:lnTo>
                    <a:lnTo>
                      <a:pt x="103" y="105"/>
                    </a:lnTo>
                    <a:lnTo>
                      <a:pt x="103" y="111"/>
                    </a:lnTo>
                    <a:lnTo>
                      <a:pt x="103" y="111"/>
                    </a:lnTo>
                    <a:lnTo>
                      <a:pt x="102" y="118"/>
                    </a:lnTo>
                    <a:lnTo>
                      <a:pt x="100" y="121"/>
                    </a:lnTo>
                    <a:lnTo>
                      <a:pt x="99" y="122"/>
                    </a:lnTo>
                    <a:lnTo>
                      <a:pt x="99" y="122"/>
                    </a:lnTo>
                    <a:lnTo>
                      <a:pt x="93" y="124"/>
                    </a:lnTo>
                    <a:lnTo>
                      <a:pt x="90" y="124"/>
                    </a:lnTo>
                    <a:lnTo>
                      <a:pt x="87" y="12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04" name="Freeform 54"/>
              <p:cNvSpPr>
                <a:spLocks/>
              </p:cNvSpPr>
              <p:nvPr/>
            </p:nvSpPr>
            <p:spPr bwMode="auto">
              <a:xfrm>
                <a:off x="2717138" y="1179349"/>
                <a:ext cx="101894" cy="122668"/>
              </a:xfrm>
              <a:custGeom>
                <a:avLst/>
                <a:gdLst>
                  <a:gd name="T0" fmla="*/ 84 w 103"/>
                  <a:gd name="T1" fmla="*/ 121 h 124"/>
                  <a:gd name="T2" fmla="*/ 77 w 103"/>
                  <a:gd name="T3" fmla="*/ 103 h 124"/>
                  <a:gd name="T4" fmla="*/ 71 w 103"/>
                  <a:gd name="T5" fmla="*/ 92 h 124"/>
                  <a:gd name="T6" fmla="*/ 61 w 103"/>
                  <a:gd name="T7" fmla="*/ 87 h 124"/>
                  <a:gd name="T8" fmla="*/ 55 w 103"/>
                  <a:gd name="T9" fmla="*/ 85 h 124"/>
                  <a:gd name="T10" fmla="*/ 49 w 103"/>
                  <a:gd name="T11" fmla="*/ 87 h 124"/>
                  <a:gd name="T12" fmla="*/ 46 w 103"/>
                  <a:gd name="T13" fmla="*/ 85 h 124"/>
                  <a:gd name="T14" fmla="*/ 44 w 103"/>
                  <a:gd name="T15" fmla="*/ 83 h 124"/>
                  <a:gd name="T16" fmla="*/ 26 w 103"/>
                  <a:gd name="T17" fmla="*/ 89 h 124"/>
                  <a:gd name="T18" fmla="*/ 19 w 103"/>
                  <a:gd name="T19" fmla="*/ 83 h 124"/>
                  <a:gd name="T20" fmla="*/ 13 w 103"/>
                  <a:gd name="T21" fmla="*/ 70 h 124"/>
                  <a:gd name="T22" fmla="*/ 15 w 103"/>
                  <a:gd name="T23" fmla="*/ 67 h 124"/>
                  <a:gd name="T24" fmla="*/ 31 w 103"/>
                  <a:gd name="T25" fmla="*/ 70 h 124"/>
                  <a:gd name="T26" fmla="*/ 36 w 103"/>
                  <a:gd name="T27" fmla="*/ 67 h 124"/>
                  <a:gd name="T28" fmla="*/ 36 w 103"/>
                  <a:gd name="T29" fmla="*/ 63 h 124"/>
                  <a:gd name="T30" fmla="*/ 29 w 103"/>
                  <a:gd name="T31" fmla="*/ 58 h 124"/>
                  <a:gd name="T32" fmla="*/ 36 w 103"/>
                  <a:gd name="T33" fmla="*/ 54 h 124"/>
                  <a:gd name="T34" fmla="*/ 28 w 103"/>
                  <a:gd name="T35" fmla="*/ 51 h 124"/>
                  <a:gd name="T36" fmla="*/ 25 w 103"/>
                  <a:gd name="T37" fmla="*/ 47 h 124"/>
                  <a:gd name="T38" fmla="*/ 29 w 103"/>
                  <a:gd name="T39" fmla="*/ 41 h 124"/>
                  <a:gd name="T40" fmla="*/ 26 w 103"/>
                  <a:gd name="T41" fmla="*/ 34 h 124"/>
                  <a:gd name="T42" fmla="*/ 23 w 103"/>
                  <a:gd name="T43" fmla="*/ 32 h 124"/>
                  <a:gd name="T44" fmla="*/ 15 w 103"/>
                  <a:gd name="T45" fmla="*/ 48 h 124"/>
                  <a:gd name="T46" fmla="*/ 12 w 103"/>
                  <a:gd name="T47" fmla="*/ 41 h 124"/>
                  <a:gd name="T48" fmla="*/ 16 w 103"/>
                  <a:gd name="T49" fmla="*/ 34 h 124"/>
                  <a:gd name="T50" fmla="*/ 13 w 103"/>
                  <a:gd name="T51" fmla="*/ 29 h 124"/>
                  <a:gd name="T52" fmla="*/ 3 w 103"/>
                  <a:gd name="T53" fmla="*/ 31 h 124"/>
                  <a:gd name="T54" fmla="*/ 2 w 103"/>
                  <a:gd name="T55" fmla="*/ 14 h 124"/>
                  <a:gd name="T56" fmla="*/ 0 w 103"/>
                  <a:gd name="T57" fmla="*/ 8 h 124"/>
                  <a:gd name="T58" fmla="*/ 9 w 103"/>
                  <a:gd name="T59" fmla="*/ 8 h 124"/>
                  <a:gd name="T60" fmla="*/ 23 w 103"/>
                  <a:gd name="T61" fmla="*/ 2 h 124"/>
                  <a:gd name="T62" fmla="*/ 26 w 103"/>
                  <a:gd name="T63" fmla="*/ 2 h 124"/>
                  <a:gd name="T64" fmla="*/ 31 w 103"/>
                  <a:gd name="T65" fmla="*/ 8 h 124"/>
                  <a:gd name="T66" fmla="*/ 38 w 103"/>
                  <a:gd name="T67" fmla="*/ 8 h 124"/>
                  <a:gd name="T68" fmla="*/ 38 w 103"/>
                  <a:gd name="T69" fmla="*/ 19 h 124"/>
                  <a:gd name="T70" fmla="*/ 39 w 103"/>
                  <a:gd name="T71" fmla="*/ 29 h 124"/>
                  <a:gd name="T72" fmla="*/ 44 w 103"/>
                  <a:gd name="T73" fmla="*/ 32 h 124"/>
                  <a:gd name="T74" fmla="*/ 45 w 103"/>
                  <a:gd name="T75" fmla="*/ 18 h 124"/>
                  <a:gd name="T76" fmla="*/ 48 w 103"/>
                  <a:gd name="T77" fmla="*/ 16 h 124"/>
                  <a:gd name="T78" fmla="*/ 58 w 103"/>
                  <a:gd name="T79" fmla="*/ 22 h 124"/>
                  <a:gd name="T80" fmla="*/ 64 w 103"/>
                  <a:gd name="T81" fmla="*/ 28 h 124"/>
                  <a:gd name="T82" fmla="*/ 67 w 103"/>
                  <a:gd name="T83" fmla="*/ 34 h 124"/>
                  <a:gd name="T84" fmla="*/ 65 w 103"/>
                  <a:gd name="T85" fmla="*/ 41 h 124"/>
                  <a:gd name="T86" fmla="*/ 73 w 103"/>
                  <a:gd name="T87" fmla="*/ 40 h 124"/>
                  <a:gd name="T88" fmla="*/ 81 w 103"/>
                  <a:gd name="T89" fmla="*/ 38 h 124"/>
                  <a:gd name="T90" fmla="*/ 86 w 103"/>
                  <a:gd name="T91" fmla="*/ 44 h 124"/>
                  <a:gd name="T92" fmla="*/ 87 w 103"/>
                  <a:gd name="T93" fmla="*/ 48 h 124"/>
                  <a:gd name="T94" fmla="*/ 93 w 103"/>
                  <a:gd name="T95" fmla="*/ 53 h 124"/>
                  <a:gd name="T96" fmla="*/ 97 w 103"/>
                  <a:gd name="T97" fmla="*/ 56 h 124"/>
                  <a:gd name="T98" fmla="*/ 96 w 103"/>
                  <a:gd name="T99" fmla="*/ 61 h 124"/>
                  <a:gd name="T100" fmla="*/ 90 w 103"/>
                  <a:gd name="T101" fmla="*/ 74 h 124"/>
                  <a:gd name="T102" fmla="*/ 94 w 103"/>
                  <a:gd name="T103" fmla="*/ 82 h 124"/>
                  <a:gd name="T104" fmla="*/ 99 w 103"/>
                  <a:gd name="T105" fmla="*/ 89 h 124"/>
                  <a:gd name="T106" fmla="*/ 103 w 103"/>
                  <a:gd name="T107" fmla="*/ 111 h 124"/>
                  <a:gd name="T108" fmla="*/ 100 w 103"/>
                  <a:gd name="T109" fmla="*/ 121 h 124"/>
                  <a:gd name="T110" fmla="*/ 93 w 103"/>
                  <a:gd name="T111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3" h="124">
                    <a:moveTo>
                      <a:pt x="87" y="124"/>
                    </a:moveTo>
                    <a:lnTo>
                      <a:pt x="87" y="124"/>
                    </a:lnTo>
                    <a:lnTo>
                      <a:pt x="84" y="121"/>
                    </a:lnTo>
                    <a:lnTo>
                      <a:pt x="81" y="115"/>
                    </a:lnTo>
                    <a:lnTo>
                      <a:pt x="77" y="103"/>
                    </a:lnTo>
                    <a:lnTo>
                      <a:pt x="77" y="103"/>
                    </a:lnTo>
                    <a:lnTo>
                      <a:pt x="74" y="96"/>
                    </a:lnTo>
                    <a:lnTo>
                      <a:pt x="71" y="92"/>
                    </a:lnTo>
                    <a:lnTo>
                      <a:pt x="71" y="92"/>
                    </a:lnTo>
                    <a:lnTo>
                      <a:pt x="65" y="89"/>
                    </a:lnTo>
                    <a:lnTo>
                      <a:pt x="61" y="87"/>
                    </a:lnTo>
                    <a:lnTo>
                      <a:pt x="61" y="87"/>
                    </a:lnTo>
                    <a:lnTo>
                      <a:pt x="58" y="86"/>
                    </a:lnTo>
                    <a:lnTo>
                      <a:pt x="57" y="85"/>
                    </a:lnTo>
                    <a:lnTo>
                      <a:pt x="55" y="85"/>
                    </a:lnTo>
                    <a:lnTo>
                      <a:pt x="55" y="85"/>
                    </a:lnTo>
                    <a:lnTo>
                      <a:pt x="51" y="87"/>
                    </a:lnTo>
                    <a:lnTo>
                      <a:pt x="49" y="87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85"/>
                    </a:lnTo>
                    <a:lnTo>
                      <a:pt x="45" y="83"/>
                    </a:lnTo>
                    <a:lnTo>
                      <a:pt x="44" y="83"/>
                    </a:lnTo>
                    <a:lnTo>
                      <a:pt x="44" y="83"/>
                    </a:lnTo>
                    <a:lnTo>
                      <a:pt x="35" y="86"/>
                    </a:lnTo>
                    <a:lnTo>
                      <a:pt x="26" y="89"/>
                    </a:lnTo>
                    <a:lnTo>
                      <a:pt x="26" y="89"/>
                    </a:lnTo>
                    <a:lnTo>
                      <a:pt x="23" y="89"/>
                    </a:lnTo>
                    <a:lnTo>
                      <a:pt x="22" y="87"/>
                    </a:lnTo>
                    <a:lnTo>
                      <a:pt x="19" y="83"/>
                    </a:lnTo>
                    <a:lnTo>
                      <a:pt x="19" y="83"/>
                    </a:lnTo>
                    <a:lnTo>
                      <a:pt x="13" y="74"/>
                    </a:lnTo>
                    <a:lnTo>
                      <a:pt x="13" y="70"/>
                    </a:lnTo>
                    <a:lnTo>
                      <a:pt x="13" y="69"/>
                    </a:lnTo>
                    <a:lnTo>
                      <a:pt x="15" y="67"/>
                    </a:lnTo>
                    <a:lnTo>
                      <a:pt x="15" y="67"/>
                    </a:lnTo>
                    <a:lnTo>
                      <a:pt x="19" y="66"/>
                    </a:lnTo>
                    <a:lnTo>
                      <a:pt x="23" y="67"/>
                    </a:lnTo>
                    <a:lnTo>
                      <a:pt x="31" y="70"/>
                    </a:lnTo>
                    <a:lnTo>
                      <a:pt x="31" y="70"/>
                    </a:lnTo>
                    <a:lnTo>
                      <a:pt x="33" y="70"/>
                    </a:lnTo>
                    <a:lnTo>
                      <a:pt x="36" y="67"/>
                    </a:lnTo>
                    <a:lnTo>
                      <a:pt x="38" y="66"/>
                    </a:lnTo>
                    <a:lnTo>
                      <a:pt x="36" y="63"/>
                    </a:lnTo>
                    <a:lnTo>
                      <a:pt x="36" y="63"/>
                    </a:lnTo>
                    <a:lnTo>
                      <a:pt x="29" y="60"/>
                    </a:lnTo>
                    <a:lnTo>
                      <a:pt x="29" y="58"/>
                    </a:lnTo>
                    <a:lnTo>
                      <a:pt x="29" y="58"/>
                    </a:lnTo>
                    <a:lnTo>
                      <a:pt x="29" y="58"/>
                    </a:lnTo>
                    <a:lnTo>
                      <a:pt x="35" y="56"/>
                    </a:lnTo>
                    <a:lnTo>
                      <a:pt x="36" y="54"/>
                    </a:lnTo>
                    <a:lnTo>
                      <a:pt x="35" y="53"/>
                    </a:lnTo>
                    <a:lnTo>
                      <a:pt x="35" y="53"/>
                    </a:lnTo>
                    <a:lnTo>
                      <a:pt x="28" y="51"/>
                    </a:lnTo>
                    <a:lnTo>
                      <a:pt x="25" y="50"/>
                    </a:lnTo>
                    <a:lnTo>
                      <a:pt x="25" y="48"/>
                    </a:lnTo>
                    <a:lnTo>
                      <a:pt x="25" y="47"/>
                    </a:lnTo>
                    <a:lnTo>
                      <a:pt x="25" y="47"/>
                    </a:lnTo>
                    <a:lnTo>
                      <a:pt x="29" y="42"/>
                    </a:lnTo>
                    <a:lnTo>
                      <a:pt x="29" y="41"/>
                    </a:lnTo>
                    <a:lnTo>
                      <a:pt x="29" y="40"/>
                    </a:lnTo>
                    <a:lnTo>
                      <a:pt x="29" y="40"/>
                    </a:lnTo>
                    <a:lnTo>
                      <a:pt x="26" y="34"/>
                    </a:lnTo>
                    <a:lnTo>
                      <a:pt x="26" y="31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19" y="41"/>
                    </a:lnTo>
                    <a:lnTo>
                      <a:pt x="16" y="45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2" y="44"/>
                    </a:lnTo>
                    <a:lnTo>
                      <a:pt x="12" y="41"/>
                    </a:lnTo>
                    <a:lnTo>
                      <a:pt x="13" y="38"/>
                    </a:lnTo>
                    <a:lnTo>
                      <a:pt x="13" y="38"/>
                    </a:lnTo>
                    <a:lnTo>
                      <a:pt x="16" y="34"/>
                    </a:lnTo>
                    <a:lnTo>
                      <a:pt x="16" y="31"/>
                    </a:lnTo>
                    <a:lnTo>
                      <a:pt x="13" y="29"/>
                    </a:lnTo>
                    <a:lnTo>
                      <a:pt x="13" y="29"/>
                    </a:lnTo>
                    <a:lnTo>
                      <a:pt x="7" y="31"/>
                    </a:lnTo>
                    <a:lnTo>
                      <a:pt x="4" y="31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3" y="21"/>
                    </a:lnTo>
                    <a:lnTo>
                      <a:pt x="2" y="1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4" y="9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19" y="3"/>
                    </a:lnTo>
                    <a:lnTo>
                      <a:pt x="23" y="2"/>
                    </a:lnTo>
                    <a:lnTo>
                      <a:pt x="25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6"/>
                    </a:lnTo>
                    <a:lnTo>
                      <a:pt x="28" y="8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6" y="8"/>
                    </a:lnTo>
                    <a:lnTo>
                      <a:pt x="38" y="8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8" y="19"/>
                    </a:lnTo>
                    <a:lnTo>
                      <a:pt x="38" y="25"/>
                    </a:lnTo>
                    <a:lnTo>
                      <a:pt x="39" y="29"/>
                    </a:lnTo>
                    <a:lnTo>
                      <a:pt x="39" y="29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22"/>
                    </a:lnTo>
                    <a:lnTo>
                      <a:pt x="45" y="18"/>
                    </a:lnTo>
                    <a:lnTo>
                      <a:pt x="46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2" y="16"/>
                    </a:lnTo>
                    <a:lnTo>
                      <a:pt x="55" y="18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61" y="25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7" y="2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4" y="38"/>
                    </a:lnTo>
                    <a:lnTo>
                      <a:pt x="65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73" y="40"/>
                    </a:lnTo>
                    <a:lnTo>
                      <a:pt x="75" y="38"/>
                    </a:lnTo>
                    <a:lnTo>
                      <a:pt x="78" y="37"/>
                    </a:lnTo>
                    <a:lnTo>
                      <a:pt x="81" y="38"/>
                    </a:lnTo>
                    <a:lnTo>
                      <a:pt x="81" y="38"/>
                    </a:lnTo>
                    <a:lnTo>
                      <a:pt x="84" y="41"/>
                    </a:lnTo>
                    <a:lnTo>
                      <a:pt x="86" y="44"/>
                    </a:lnTo>
                    <a:lnTo>
                      <a:pt x="87" y="47"/>
                    </a:lnTo>
                    <a:lnTo>
                      <a:pt x="87" y="48"/>
                    </a:lnTo>
                    <a:lnTo>
                      <a:pt x="87" y="48"/>
                    </a:lnTo>
                    <a:lnTo>
                      <a:pt x="87" y="50"/>
                    </a:lnTo>
                    <a:lnTo>
                      <a:pt x="88" y="51"/>
                    </a:lnTo>
                    <a:lnTo>
                      <a:pt x="93" y="53"/>
                    </a:lnTo>
                    <a:lnTo>
                      <a:pt x="93" y="53"/>
                    </a:lnTo>
                    <a:lnTo>
                      <a:pt x="96" y="54"/>
                    </a:lnTo>
                    <a:lnTo>
                      <a:pt x="97" y="56"/>
                    </a:lnTo>
                    <a:lnTo>
                      <a:pt x="97" y="58"/>
                    </a:lnTo>
                    <a:lnTo>
                      <a:pt x="96" y="61"/>
                    </a:lnTo>
                    <a:lnTo>
                      <a:pt x="96" y="61"/>
                    </a:lnTo>
                    <a:lnTo>
                      <a:pt x="91" y="69"/>
                    </a:lnTo>
                    <a:lnTo>
                      <a:pt x="90" y="71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1" y="77"/>
                    </a:lnTo>
                    <a:lnTo>
                      <a:pt x="94" y="82"/>
                    </a:lnTo>
                    <a:lnTo>
                      <a:pt x="97" y="85"/>
                    </a:lnTo>
                    <a:lnTo>
                      <a:pt x="99" y="89"/>
                    </a:lnTo>
                    <a:lnTo>
                      <a:pt x="99" y="89"/>
                    </a:lnTo>
                    <a:lnTo>
                      <a:pt x="102" y="99"/>
                    </a:lnTo>
                    <a:lnTo>
                      <a:pt x="103" y="105"/>
                    </a:lnTo>
                    <a:lnTo>
                      <a:pt x="103" y="111"/>
                    </a:lnTo>
                    <a:lnTo>
                      <a:pt x="103" y="111"/>
                    </a:lnTo>
                    <a:lnTo>
                      <a:pt x="102" y="118"/>
                    </a:lnTo>
                    <a:lnTo>
                      <a:pt x="100" y="121"/>
                    </a:lnTo>
                    <a:lnTo>
                      <a:pt x="99" y="122"/>
                    </a:lnTo>
                    <a:lnTo>
                      <a:pt x="99" y="122"/>
                    </a:lnTo>
                    <a:lnTo>
                      <a:pt x="93" y="124"/>
                    </a:lnTo>
                    <a:lnTo>
                      <a:pt x="90" y="124"/>
                    </a:lnTo>
                    <a:lnTo>
                      <a:pt x="87" y="12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05" name="Freeform 55"/>
              <p:cNvSpPr>
                <a:spLocks/>
              </p:cNvSpPr>
              <p:nvPr/>
            </p:nvSpPr>
            <p:spPr bwMode="auto">
              <a:xfrm>
                <a:off x="2752752" y="1270360"/>
                <a:ext cx="8903" cy="7914"/>
              </a:xfrm>
              <a:custGeom>
                <a:avLst/>
                <a:gdLst>
                  <a:gd name="T0" fmla="*/ 3 w 9"/>
                  <a:gd name="T1" fmla="*/ 8 h 8"/>
                  <a:gd name="T2" fmla="*/ 3 w 9"/>
                  <a:gd name="T3" fmla="*/ 8 h 8"/>
                  <a:gd name="T4" fmla="*/ 0 w 9"/>
                  <a:gd name="T5" fmla="*/ 7 h 8"/>
                  <a:gd name="T6" fmla="*/ 0 w 9"/>
                  <a:gd name="T7" fmla="*/ 7 h 8"/>
                  <a:gd name="T8" fmla="*/ 0 w 9"/>
                  <a:gd name="T9" fmla="*/ 4 h 8"/>
                  <a:gd name="T10" fmla="*/ 3 w 9"/>
                  <a:gd name="T11" fmla="*/ 1 h 8"/>
                  <a:gd name="T12" fmla="*/ 5 w 9"/>
                  <a:gd name="T13" fmla="*/ 0 h 8"/>
                  <a:gd name="T14" fmla="*/ 5 w 9"/>
                  <a:gd name="T15" fmla="*/ 0 h 8"/>
                  <a:gd name="T16" fmla="*/ 9 w 9"/>
                  <a:gd name="T17" fmla="*/ 0 h 8"/>
                  <a:gd name="T18" fmla="*/ 9 w 9"/>
                  <a:gd name="T19" fmla="*/ 1 h 8"/>
                  <a:gd name="T20" fmla="*/ 9 w 9"/>
                  <a:gd name="T21" fmla="*/ 4 h 8"/>
                  <a:gd name="T22" fmla="*/ 9 w 9"/>
                  <a:gd name="T23" fmla="*/ 4 h 8"/>
                  <a:gd name="T24" fmla="*/ 6 w 9"/>
                  <a:gd name="T25" fmla="*/ 8 h 8"/>
                  <a:gd name="T26" fmla="*/ 5 w 9"/>
                  <a:gd name="T27" fmla="*/ 8 h 8"/>
                  <a:gd name="T28" fmla="*/ 3 w 9"/>
                  <a:gd name="T2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8">
                    <a:moveTo>
                      <a:pt x="3" y="8"/>
                    </a:moveTo>
                    <a:lnTo>
                      <a:pt x="3" y="8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9" y="1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6" y="8"/>
                    </a:lnTo>
                    <a:lnTo>
                      <a:pt x="5" y="8"/>
                    </a:lnTo>
                    <a:lnTo>
                      <a:pt x="3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06" name="Freeform 56"/>
              <p:cNvSpPr>
                <a:spLocks/>
              </p:cNvSpPr>
              <p:nvPr/>
            </p:nvSpPr>
            <p:spPr bwMode="auto">
              <a:xfrm>
                <a:off x="2752752" y="1270360"/>
                <a:ext cx="8903" cy="7914"/>
              </a:xfrm>
              <a:custGeom>
                <a:avLst/>
                <a:gdLst>
                  <a:gd name="T0" fmla="*/ 3 w 9"/>
                  <a:gd name="T1" fmla="*/ 8 h 8"/>
                  <a:gd name="T2" fmla="*/ 3 w 9"/>
                  <a:gd name="T3" fmla="*/ 8 h 8"/>
                  <a:gd name="T4" fmla="*/ 0 w 9"/>
                  <a:gd name="T5" fmla="*/ 7 h 8"/>
                  <a:gd name="T6" fmla="*/ 0 w 9"/>
                  <a:gd name="T7" fmla="*/ 7 h 8"/>
                  <a:gd name="T8" fmla="*/ 0 w 9"/>
                  <a:gd name="T9" fmla="*/ 4 h 8"/>
                  <a:gd name="T10" fmla="*/ 3 w 9"/>
                  <a:gd name="T11" fmla="*/ 1 h 8"/>
                  <a:gd name="T12" fmla="*/ 5 w 9"/>
                  <a:gd name="T13" fmla="*/ 0 h 8"/>
                  <a:gd name="T14" fmla="*/ 5 w 9"/>
                  <a:gd name="T15" fmla="*/ 0 h 8"/>
                  <a:gd name="T16" fmla="*/ 9 w 9"/>
                  <a:gd name="T17" fmla="*/ 0 h 8"/>
                  <a:gd name="T18" fmla="*/ 9 w 9"/>
                  <a:gd name="T19" fmla="*/ 1 h 8"/>
                  <a:gd name="T20" fmla="*/ 9 w 9"/>
                  <a:gd name="T21" fmla="*/ 4 h 8"/>
                  <a:gd name="T22" fmla="*/ 9 w 9"/>
                  <a:gd name="T23" fmla="*/ 4 h 8"/>
                  <a:gd name="T24" fmla="*/ 6 w 9"/>
                  <a:gd name="T25" fmla="*/ 8 h 8"/>
                  <a:gd name="T26" fmla="*/ 5 w 9"/>
                  <a:gd name="T27" fmla="*/ 8 h 8"/>
                  <a:gd name="T28" fmla="*/ 3 w 9"/>
                  <a:gd name="T2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8">
                    <a:moveTo>
                      <a:pt x="3" y="8"/>
                    </a:moveTo>
                    <a:lnTo>
                      <a:pt x="3" y="8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9" y="1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6" y="8"/>
                    </a:lnTo>
                    <a:lnTo>
                      <a:pt x="5" y="8"/>
                    </a:lnTo>
                    <a:lnTo>
                      <a:pt x="3" y="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07" name="Freeform 57"/>
              <p:cNvSpPr>
                <a:spLocks/>
              </p:cNvSpPr>
              <p:nvPr/>
            </p:nvSpPr>
            <p:spPr bwMode="auto">
              <a:xfrm>
                <a:off x="2867506" y="1304984"/>
                <a:ext cx="47484" cy="26710"/>
              </a:xfrm>
              <a:custGeom>
                <a:avLst/>
                <a:gdLst>
                  <a:gd name="T0" fmla="*/ 39 w 48"/>
                  <a:gd name="T1" fmla="*/ 27 h 27"/>
                  <a:gd name="T2" fmla="*/ 39 w 48"/>
                  <a:gd name="T3" fmla="*/ 27 h 27"/>
                  <a:gd name="T4" fmla="*/ 35 w 48"/>
                  <a:gd name="T5" fmla="*/ 27 h 27"/>
                  <a:gd name="T6" fmla="*/ 31 w 48"/>
                  <a:gd name="T7" fmla="*/ 27 h 27"/>
                  <a:gd name="T8" fmla="*/ 28 w 48"/>
                  <a:gd name="T9" fmla="*/ 26 h 27"/>
                  <a:gd name="T10" fmla="*/ 25 w 48"/>
                  <a:gd name="T11" fmla="*/ 24 h 27"/>
                  <a:gd name="T12" fmla="*/ 25 w 48"/>
                  <a:gd name="T13" fmla="*/ 24 h 27"/>
                  <a:gd name="T14" fmla="*/ 19 w 48"/>
                  <a:gd name="T15" fmla="*/ 26 h 27"/>
                  <a:gd name="T16" fmla="*/ 18 w 48"/>
                  <a:gd name="T17" fmla="*/ 26 h 27"/>
                  <a:gd name="T18" fmla="*/ 15 w 48"/>
                  <a:gd name="T19" fmla="*/ 26 h 27"/>
                  <a:gd name="T20" fmla="*/ 15 w 48"/>
                  <a:gd name="T21" fmla="*/ 26 h 27"/>
                  <a:gd name="T22" fmla="*/ 13 w 48"/>
                  <a:gd name="T23" fmla="*/ 23 h 27"/>
                  <a:gd name="T24" fmla="*/ 10 w 48"/>
                  <a:gd name="T25" fmla="*/ 23 h 27"/>
                  <a:gd name="T26" fmla="*/ 10 w 48"/>
                  <a:gd name="T27" fmla="*/ 23 h 27"/>
                  <a:gd name="T28" fmla="*/ 7 w 48"/>
                  <a:gd name="T29" fmla="*/ 21 h 27"/>
                  <a:gd name="T30" fmla="*/ 3 w 48"/>
                  <a:gd name="T31" fmla="*/ 18 h 27"/>
                  <a:gd name="T32" fmla="*/ 0 w 48"/>
                  <a:gd name="T33" fmla="*/ 14 h 27"/>
                  <a:gd name="T34" fmla="*/ 0 w 48"/>
                  <a:gd name="T35" fmla="*/ 11 h 27"/>
                  <a:gd name="T36" fmla="*/ 0 w 48"/>
                  <a:gd name="T37" fmla="*/ 11 h 27"/>
                  <a:gd name="T38" fmla="*/ 2 w 48"/>
                  <a:gd name="T39" fmla="*/ 7 h 27"/>
                  <a:gd name="T40" fmla="*/ 5 w 48"/>
                  <a:gd name="T41" fmla="*/ 4 h 27"/>
                  <a:gd name="T42" fmla="*/ 12 w 48"/>
                  <a:gd name="T43" fmla="*/ 0 h 27"/>
                  <a:gd name="T44" fmla="*/ 12 w 48"/>
                  <a:gd name="T45" fmla="*/ 0 h 27"/>
                  <a:gd name="T46" fmla="*/ 13 w 48"/>
                  <a:gd name="T47" fmla="*/ 1 h 27"/>
                  <a:gd name="T48" fmla="*/ 15 w 48"/>
                  <a:gd name="T49" fmla="*/ 1 h 27"/>
                  <a:gd name="T50" fmla="*/ 15 w 48"/>
                  <a:gd name="T51" fmla="*/ 2 h 27"/>
                  <a:gd name="T52" fmla="*/ 18 w 48"/>
                  <a:gd name="T53" fmla="*/ 2 h 27"/>
                  <a:gd name="T54" fmla="*/ 18 w 48"/>
                  <a:gd name="T55" fmla="*/ 2 h 27"/>
                  <a:gd name="T56" fmla="*/ 19 w 48"/>
                  <a:gd name="T57" fmla="*/ 2 h 27"/>
                  <a:gd name="T58" fmla="*/ 20 w 48"/>
                  <a:gd name="T59" fmla="*/ 1 h 27"/>
                  <a:gd name="T60" fmla="*/ 22 w 48"/>
                  <a:gd name="T61" fmla="*/ 0 h 27"/>
                  <a:gd name="T62" fmla="*/ 25 w 48"/>
                  <a:gd name="T63" fmla="*/ 0 h 27"/>
                  <a:gd name="T64" fmla="*/ 25 w 48"/>
                  <a:gd name="T65" fmla="*/ 0 h 27"/>
                  <a:gd name="T66" fmla="*/ 28 w 48"/>
                  <a:gd name="T67" fmla="*/ 1 h 27"/>
                  <a:gd name="T68" fmla="*/ 29 w 48"/>
                  <a:gd name="T69" fmla="*/ 2 h 27"/>
                  <a:gd name="T70" fmla="*/ 32 w 48"/>
                  <a:gd name="T71" fmla="*/ 2 h 27"/>
                  <a:gd name="T72" fmla="*/ 32 w 48"/>
                  <a:gd name="T73" fmla="*/ 2 h 27"/>
                  <a:gd name="T74" fmla="*/ 41 w 48"/>
                  <a:gd name="T75" fmla="*/ 4 h 27"/>
                  <a:gd name="T76" fmla="*/ 47 w 48"/>
                  <a:gd name="T77" fmla="*/ 7 h 27"/>
                  <a:gd name="T78" fmla="*/ 47 w 48"/>
                  <a:gd name="T79" fmla="*/ 7 h 27"/>
                  <a:gd name="T80" fmla="*/ 48 w 48"/>
                  <a:gd name="T81" fmla="*/ 11 h 27"/>
                  <a:gd name="T82" fmla="*/ 48 w 48"/>
                  <a:gd name="T83" fmla="*/ 13 h 27"/>
                  <a:gd name="T84" fmla="*/ 47 w 48"/>
                  <a:gd name="T85" fmla="*/ 15 h 27"/>
                  <a:gd name="T86" fmla="*/ 47 w 48"/>
                  <a:gd name="T87" fmla="*/ 15 h 27"/>
                  <a:gd name="T88" fmla="*/ 45 w 48"/>
                  <a:gd name="T89" fmla="*/ 18 h 27"/>
                  <a:gd name="T90" fmla="*/ 44 w 48"/>
                  <a:gd name="T91" fmla="*/ 23 h 27"/>
                  <a:gd name="T92" fmla="*/ 42 w 48"/>
                  <a:gd name="T93" fmla="*/ 26 h 27"/>
                  <a:gd name="T94" fmla="*/ 39 w 48"/>
                  <a:gd name="T9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27">
                    <a:moveTo>
                      <a:pt x="39" y="27"/>
                    </a:moveTo>
                    <a:lnTo>
                      <a:pt x="39" y="27"/>
                    </a:lnTo>
                    <a:lnTo>
                      <a:pt x="35" y="27"/>
                    </a:lnTo>
                    <a:lnTo>
                      <a:pt x="31" y="27"/>
                    </a:lnTo>
                    <a:lnTo>
                      <a:pt x="28" y="26"/>
                    </a:lnTo>
                    <a:lnTo>
                      <a:pt x="25" y="24"/>
                    </a:lnTo>
                    <a:lnTo>
                      <a:pt x="25" y="24"/>
                    </a:lnTo>
                    <a:lnTo>
                      <a:pt x="19" y="26"/>
                    </a:lnTo>
                    <a:lnTo>
                      <a:pt x="18" y="26"/>
                    </a:lnTo>
                    <a:lnTo>
                      <a:pt x="15" y="26"/>
                    </a:lnTo>
                    <a:lnTo>
                      <a:pt x="15" y="26"/>
                    </a:lnTo>
                    <a:lnTo>
                      <a:pt x="13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7" y="21"/>
                    </a:lnTo>
                    <a:lnTo>
                      <a:pt x="3" y="18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5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3" y="1"/>
                    </a:lnTo>
                    <a:lnTo>
                      <a:pt x="15" y="1"/>
                    </a:lnTo>
                    <a:lnTo>
                      <a:pt x="15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9" y="2"/>
                    </a:lnTo>
                    <a:lnTo>
                      <a:pt x="20" y="1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8" y="1"/>
                    </a:lnTo>
                    <a:lnTo>
                      <a:pt x="29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41" y="4"/>
                    </a:lnTo>
                    <a:lnTo>
                      <a:pt x="47" y="7"/>
                    </a:lnTo>
                    <a:lnTo>
                      <a:pt x="47" y="7"/>
                    </a:lnTo>
                    <a:lnTo>
                      <a:pt x="48" y="11"/>
                    </a:lnTo>
                    <a:lnTo>
                      <a:pt x="48" y="13"/>
                    </a:lnTo>
                    <a:lnTo>
                      <a:pt x="47" y="15"/>
                    </a:lnTo>
                    <a:lnTo>
                      <a:pt x="47" y="15"/>
                    </a:lnTo>
                    <a:lnTo>
                      <a:pt x="45" y="18"/>
                    </a:lnTo>
                    <a:lnTo>
                      <a:pt x="44" y="23"/>
                    </a:lnTo>
                    <a:lnTo>
                      <a:pt x="42" y="26"/>
                    </a:lnTo>
                    <a:lnTo>
                      <a:pt x="39" y="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08" name="Freeform 58"/>
              <p:cNvSpPr>
                <a:spLocks/>
              </p:cNvSpPr>
              <p:nvPr/>
            </p:nvSpPr>
            <p:spPr bwMode="auto">
              <a:xfrm>
                <a:off x="2867506" y="1304984"/>
                <a:ext cx="47484" cy="26710"/>
              </a:xfrm>
              <a:custGeom>
                <a:avLst/>
                <a:gdLst>
                  <a:gd name="T0" fmla="*/ 39 w 48"/>
                  <a:gd name="T1" fmla="*/ 27 h 27"/>
                  <a:gd name="T2" fmla="*/ 39 w 48"/>
                  <a:gd name="T3" fmla="*/ 27 h 27"/>
                  <a:gd name="T4" fmla="*/ 35 w 48"/>
                  <a:gd name="T5" fmla="*/ 27 h 27"/>
                  <a:gd name="T6" fmla="*/ 31 w 48"/>
                  <a:gd name="T7" fmla="*/ 27 h 27"/>
                  <a:gd name="T8" fmla="*/ 28 w 48"/>
                  <a:gd name="T9" fmla="*/ 26 h 27"/>
                  <a:gd name="T10" fmla="*/ 25 w 48"/>
                  <a:gd name="T11" fmla="*/ 24 h 27"/>
                  <a:gd name="T12" fmla="*/ 25 w 48"/>
                  <a:gd name="T13" fmla="*/ 24 h 27"/>
                  <a:gd name="T14" fmla="*/ 19 w 48"/>
                  <a:gd name="T15" fmla="*/ 26 h 27"/>
                  <a:gd name="T16" fmla="*/ 18 w 48"/>
                  <a:gd name="T17" fmla="*/ 26 h 27"/>
                  <a:gd name="T18" fmla="*/ 15 w 48"/>
                  <a:gd name="T19" fmla="*/ 26 h 27"/>
                  <a:gd name="T20" fmla="*/ 15 w 48"/>
                  <a:gd name="T21" fmla="*/ 26 h 27"/>
                  <a:gd name="T22" fmla="*/ 13 w 48"/>
                  <a:gd name="T23" fmla="*/ 23 h 27"/>
                  <a:gd name="T24" fmla="*/ 10 w 48"/>
                  <a:gd name="T25" fmla="*/ 23 h 27"/>
                  <a:gd name="T26" fmla="*/ 10 w 48"/>
                  <a:gd name="T27" fmla="*/ 23 h 27"/>
                  <a:gd name="T28" fmla="*/ 7 w 48"/>
                  <a:gd name="T29" fmla="*/ 21 h 27"/>
                  <a:gd name="T30" fmla="*/ 3 w 48"/>
                  <a:gd name="T31" fmla="*/ 18 h 27"/>
                  <a:gd name="T32" fmla="*/ 0 w 48"/>
                  <a:gd name="T33" fmla="*/ 14 h 27"/>
                  <a:gd name="T34" fmla="*/ 0 w 48"/>
                  <a:gd name="T35" fmla="*/ 11 h 27"/>
                  <a:gd name="T36" fmla="*/ 0 w 48"/>
                  <a:gd name="T37" fmla="*/ 11 h 27"/>
                  <a:gd name="T38" fmla="*/ 2 w 48"/>
                  <a:gd name="T39" fmla="*/ 7 h 27"/>
                  <a:gd name="T40" fmla="*/ 5 w 48"/>
                  <a:gd name="T41" fmla="*/ 4 h 27"/>
                  <a:gd name="T42" fmla="*/ 12 w 48"/>
                  <a:gd name="T43" fmla="*/ 0 h 27"/>
                  <a:gd name="T44" fmla="*/ 12 w 48"/>
                  <a:gd name="T45" fmla="*/ 0 h 27"/>
                  <a:gd name="T46" fmla="*/ 13 w 48"/>
                  <a:gd name="T47" fmla="*/ 1 h 27"/>
                  <a:gd name="T48" fmla="*/ 15 w 48"/>
                  <a:gd name="T49" fmla="*/ 1 h 27"/>
                  <a:gd name="T50" fmla="*/ 15 w 48"/>
                  <a:gd name="T51" fmla="*/ 2 h 27"/>
                  <a:gd name="T52" fmla="*/ 18 w 48"/>
                  <a:gd name="T53" fmla="*/ 2 h 27"/>
                  <a:gd name="T54" fmla="*/ 18 w 48"/>
                  <a:gd name="T55" fmla="*/ 2 h 27"/>
                  <a:gd name="T56" fmla="*/ 19 w 48"/>
                  <a:gd name="T57" fmla="*/ 2 h 27"/>
                  <a:gd name="T58" fmla="*/ 20 w 48"/>
                  <a:gd name="T59" fmla="*/ 1 h 27"/>
                  <a:gd name="T60" fmla="*/ 22 w 48"/>
                  <a:gd name="T61" fmla="*/ 0 h 27"/>
                  <a:gd name="T62" fmla="*/ 25 w 48"/>
                  <a:gd name="T63" fmla="*/ 0 h 27"/>
                  <a:gd name="T64" fmla="*/ 25 w 48"/>
                  <a:gd name="T65" fmla="*/ 0 h 27"/>
                  <a:gd name="T66" fmla="*/ 28 w 48"/>
                  <a:gd name="T67" fmla="*/ 1 h 27"/>
                  <a:gd name="T68" fmla="*/ 29 w 48"/>
                  <a:gd name="T69" fmla="*/ 2 h 27"/>
                  <a:gd name="T70" fmla="*/ 32 w 48"/>
                  <a:gd name="T71" fmla="*/ 2 h 27"/>
                  <a:gd name="T72" fmla="*/ 32 w 48"/>
                  <a:gd name="T73" fmla="*/ 2 h 27"/>
                  <a:gd name="T74" fmla="*/ 41 w 48"/>
                  <a:gd name="T75" fmla="*/ 4 h 27"/>
                  <a:gd name="T76" fmla="*/ 47 w 48"/>
                  <a:gd name="T77" fmla="*/ 7 h 27"/>
                  <a:gd name="T78" fmla="*/ 47 w 48"/>
                  <a:gd name="T79" fmla="*/ 7 h 27"/>
                  <a:gd name="T80" fmla="*/ 48 w 48"/>
                  <a:gd name="T81" fmla="*/ 11 h 27"/>
                  <a:gd name="T82" fmla="*/ 48 w 48"/>
                  <a:gd name="T83" fmla="*/ 13 h 27"/>
                  <a:gd name="T84" fmla="*/ 47 w 48"/>
                  <a:gd name="T85" fmla="*/ 15 h 27"/>
                  <a:gd name="T86" fmla="*/ 47 w 48"/>
                  <a:gd name="T87" fmla="*/ 15 h 27"/>
                  <a:gd name="T88" fmla="*/ 45 w 48"/>
                  <a:gd name="T89" fmla="*/ 18 h 27"/>
                  <a:gd name="T90" fmla="*/ 44 w 48"/>
                  <a:gd name="T91" fmla="*/ 23 h 27"/>
                  <a:gd name="T92" fmla="*/ 42 w 48"/>
                  <a:gd name="T93" fmla="*/ 26 h 27"/>
                  <a:gd name="T94" fmla="*/ 39 w 48"/>
                  <a:gd name="T9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27">
                    <a:moveTo>
                      <a:pt x="39" y="27"/>
                    </a:moveTo>
                    <a:lnTo>
                      <a:pt x="39" y="27"/>
                    </a:lnTo>
                    <a:lnTo>
                      <a:pt x="35" y="27"/>
                    </a:lnTo>
                    <a:lnTo>
                      <a:pt x="31" y="27"/>
                    </a:lnTo>
                    <a:lnTo>
                      <a:pt x="28" y="26"/>
                    </a:lnTo>
                    <a:lnTo>
                      <a:pt x="25" y="24"/>
                    </a:lnTo>
                    <a:lnTo>
                      <a:pt x="25" y="24"/>
                    </a:lnTo>
                    <a:lnTo>
                      <a:pt x="19" y="26"/>
                    </a:lnTo>
                    <a:lnTo>
                      <a:pt x="18" y="26"/>
                    </a:lnTo>
                    <a:lnTo>
                      <a:pt x="15" y="26"/>
                    </a:lnTo>
                    <a:lnTo>
                      <a:pt x="15" y="26"/>
                    </a:lnTo>
                    <a:lnTo>
                      <a:pt x="13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7" y="21"/>
                    </a:lnTo>
                    <a:lnTo>
                      <a:pt x="3" y="18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5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3" y="1"/>
                    </a:lnTo>
                    <a:lnTo>
                      <a:pt x="15" y="1"/>
                    </a:lnTo>
                    <a:lnTo>
                      <a:pt x="15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9" y="2"/>
                    </a:lnTo>
                    <a:lnTo>
                      <a:pt x="20" y="1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8" y="1"/>
                    </a:lnTo>
                    <a:lnTo>
                      <a:pt x="29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41" y="4"/>
                    </a:lnTo>
                    <a:lnTo>
                      <a:pt x="47" y="7"/>
                    </a:lnTo>
                    <a:lnTo>
                      <a:pt x="47" y="7"/>
                    </a:lnTo>
                    <a:lnTo>
                      <a:pt x="48" y="11"/>
                    </a:lnTo>
                    <a:lnTo>
                      <a:pt x="48" y="13"/>
                    </a:lnTo>
                    <a:lnTo>
                      <a:pt x="47" y="15"/>
                    </a:lnTo>
                    <a:lnTo>
                      <a:pt x="47" y="15"/>
                    </a:lnTo>
                    <a:lnTo>
                      <a:pt x="45" y="18"/>
                    </a:lnTo>
                    <a:lnTo>
                      <a:pt x="44" y="23"/>
                    </a:lnTo>
                    <a:lnTo>
                      <a:pt x="42" y="26"/>
                    </a:lnTo>
                    <a:lnTo>
                      <a:pt x="39" y="2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09" name="Freeform 59"/>
              <p:cNvSpPr>
                <a:spLocks/>
              </p:cNvSpPr>
              <p:nvPr/>
            </p:nvSpPr>
            <p:spPr bwMode="auto">
              <a:xfrm>
                <a:off x="2947636" y="1318834"/>
                <a:ext cx="18796" cy="25721"/>
              </a:xfrm>
              <a:custGeom>
                <a:avLst/>
                <a:gdLst>
                  <a:gd name="T0" fmla="*/ 16 w 19"/>
                  <a:gd name="T1" fmla="*/ 26 h 26"/>
                  <a:gd name="T2" fmla="*/ 16 w 19"/>
                  <a:gd name="T3" fmla="*/ 26 h 26"/>
                  <a:gd name="T4" fmla="*/ 12 w 19"/>
                  <a:gd name="T5" fmla="*/ 25 h 26"/>
                  <a:gd name="T6" fmla="*/ 6 w 19"/>
                  <a:gd name="T7" fmla="*/ 23 h 26"/>
                  <a:gd name="T8" fmla="*/ 3 w 19"/>
                  <a:gd name="T9" fmla="*/ 20 h 26"/>
                  <a:gd name="T10" fmla="*/ 0 w 19"/>
                  <a:gd name="T11" fmla="*/ 16 h 26"/>
                  <a:gd name="T12" fmla="*/ 0 w 19"/>
                  <a:gd name="T13" fmla="*/ 16 h 26"/>
                  <a:gd name="T14" fmla="*/ 0 w 19"/>
                  <a:gd name="T15" fmla="*/ 10 h 26"/>
                  <a:gd name="T16" fmla="*/ 2 w 19"/>
                  <a:gd name="T17" fmla="*/ 6 h 26"/>
                  <a:gd name="T18" fmla="*/ 3 w 19"/>
                  <a:gd name="T19" fmla="*/ 1 h 26"/>
                  <a:gd name="T20" fmla="*/ 6 w 19"/>
                  <a:gd name="T21" fmla="*/ 0 h 26"/>
                  <a:gd name="T22" fmla="*/ 6 w 19"/>
                  <a:gd name="T23" fmla="*/ 0 h 26"/>
                  <a:gd name="T24" fmla="*/ 9 w 19"/>
                  <a:gd name="T25" fmla="*/ 0 h 26"/>
                  <a:gd name="T26" fmla="*/ 12 w 19"/>
                  <a:gd name="T27" fmla="*/ 3 h 26"/>
                  <a:gd name="T28" fmla="*/ 16 w 19"/>
                  <a:gd name="T29" fmla="*/ 9 h 26"/>
                  <a:gd name="T30" fmla="*/ 16 w 19"/>
                  <a:gd name="T31" fmla="*/ 9 h 26"/>
                  <a:gd name="T32" fmla="*/ 19 w 19"/>
                  <a:gd name="T33" fmla="*/ 12 h 26"/>
                  <a:gd name="T34" fmla="*/ 19 w 19"/>
                  <a:gd name="T35" fmla="*/ 17 h 26"/>
                  <a:gd name="T36" fmla="*/ 19 w 19"/>
                  <a:gd name="T37" fmla="*/ 23 h 26"/>
                  <a:gd name="T38" fmla="*/ 18 w 19"/>
                  <a:gd name="T39" fmla="*/ 25 h 26"/>
                  <a:gd name="T40" fmla="*/ 16 w 19"/>
                  <a:gd name="T41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" h="26">
                    <a:moveTo>
                      <a:pt x="16" y="26"/>
                    </a:moveTo>
                    <a:lnTo>
                      <a:pt x="16" y="26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3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9" y="12"/>
                    </a:lnTo>
                    <a:lnTo>
                      <a:pt x="19" y="17"/>
                    </a:lnTo>
                    <a:lnTo>
                      <a:pt x="19" y="23"/>
                    </a:lnTo>
                    <a:lnTo>
                      <a:pt x="18" y="25"/>
                    </a:lnTo>
                    <a:lnTo>
                      <a:pt x="16" y="2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10" name="Freeform 60"/>
              <p:cNvSpPr>
                <a:spLocks/>
              </p:cNvSpPr>
              <p:nvPr/>
            </p:nvSpPr>
            <p:spPr bwMode="auto">
              <a:xfrm>
                <a:off x="2947636" y="1318834"/>
                <a:ext cx="18796" cy="25721"/>
              </a:xfrm>
              <a:custGeom>
                <a:avLst/>
                <a:gdLst>
                  <a:gd name="T0" fmla="*/ 16 w 19"/>
                  <a:gd name="T1" fmla="*/ 26 h 26"/>
                  <a:gd name="T2" fmla="*/ 16 w 19"/>
                  <a:gd name="T3" fmla="*/ 26 h 26"/>
                  <a:gd name="T4" fmla="*/ 12 w 19"/>
                  <a:gd name="T5" fmla="*/ 25 h 26"/>
                  <a:gd name="T6" fmla="*/ 6 w 19"/>
                  <a:gd name="T7" fmla="*/ 23 h 26"/>
                  <a:gd name="T8" fmla="*/ 3 w 19"/>
                  <a:gd name="T9" fmla="*/ 20 h 26"/>
                  <a:gd name="T10" fmla="*/ 0 w 19"/>
                  <a:gd name="T11" fmla="*/ 16 h 26"/>
                  <a:gd name="T12" fmla="*/ 0 w 19"/>
                  <a:gd name="T13" fmla="*/ 16 h 26"/>
                  <a:gd name="T14" fmla="*/ 0 w 19"/>
                  <a:gd name="T15" fmla="*/ 10 h 26"/>
                  <a:gd name="T16" fmla="*/ 2 w 19"/>
                  <a:gd name="T17" fmla="*/ 6 h 26"/>
                  <a:gd name="T18" fmla="*/ 3 w 19"/>
                  <a:gd name="T19" fmla="*/ 1 h 26"/>
                  <a:gd name="T20" fmla="*/ 6 w 19"/>
                  <a:gd name="T21" fmla="*/ 0 h 26"/>
                  <a:gd name="T22" fmla="*/ 6 w 19"/>
                  <a:gd name="T23" fmla="*/ 0 h 26"/>
                  <a:gd name="T24" fmla="*/ 9 w 19"/>
                  <a:gd name="T25" fmla="*/ 0 h 26"/>
                  <a:gd name="T26" fmla="*/ 12 w 19"/>
                  <a:gd name="T27" fmla="*/ 3 h 26"/>
                  <a:gd name="T28" fmla="*/ 16 w 19"/>
                  <a:gd name="T29" fmla="*/ 9 h 26"/>
                  <a:gd name="T30" fmla="*/ 16 w 19"/>
                  <a:gd name="T31" fmla="*/ 9 h 26"/>
                  <a:gd name="T32" fmla="*/ 19 w 19"/>
                  <a:gd name="T33" fmla="*/ 12 h 26"/>
                  <a:gd name="T34" fmla="*/ 19 w 19"/>
                  <a:gd name="T35" fmla="*/ 17 h 26"/>
                  <a:gd name="T36" fmla="*/ 19 w 19"/>
                  <a:gd name="T37" fmla="*/ 23 h 26"/>
                  <a:gd name="T38" fmla="*/ 18 w 19"/>
                  <a:gd name="T39" fmla="*/ 25 h 26"/>
                  <a:gd name="T40" fmla="*/ 16 w 19"/>
                  <a:gd name="T41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" h="26">
                    <a:moveTo>
                      <a:pt x="16" y="26"/>
                    </a:moveTo>
                    <a:lnTo>
                      <a:pt x="16" y="26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3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9" y="12"/>
                    </a:lnTo>
                    <a:lnTo>
                      <a:pt x="19" y="17"/>
                    </a:lnTo>
                    <a:lnTo>
                      <a:pt x="19" y="23"/>
                    </a:lnTo>
                    <a:lnTo>
                      <a:pt x="18" y="25"/>
                    </a:lnTo>
                    <a:lnTo>
                      <a:pt x="16" y="2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11" name="Freeform 61"/>
              <p:cNvSpPr>
                <a:spLocks/>
              </p:cNvSpPr>
              <p:nvPr/>
            </p:nvSpPr>
            <p:spPr bwMode="auto">
              <a:xfrm>
                <a:off x="2832882" y="1218919"/>
                <a:ext cx="56388" cy="86066"/>
              </a:xfrm>
              <a:custGeom>
                <a:avLst/>
                <a:gdLst>
                  <a:gd name="T0" fmla="*/ 54 w 57"/>
                  <a:gd name="T1" fmla="*/ 73 h 87"/>
                  <a:gd name="T2" fmla="*/ 48 w 57"/>
                  <a:gd name="T3" fmla="*/ 76 h 87"/>
                  <a:gd name="T4" fmla="*/ 42 w 57"/>
                  <a:gd name="T5" fmla="*/ 79 h 87"/>
                  <a:gd name="T6" fmla="*/ 35 w 57"/>
                  <a:gd name="T7" fmla="*/ 85 h 87"/>
                  <a:gd name="T8" fmla="*/ 34 w 57"/>
                  <a:gd name="T9" fmla="*/ 84 h 87"/>
                  <a:gd name="T10" fmla="*/ 28 w 57"/>
                  <a:gd name="T11" fmla="*/ 81 h 87"/>
                  <a:gd name="T12" fmla="*/ 25 w 57"/>
                  <a:gd name="T13" fmla="*/ 84 h 87"/>
                  <a:gd name="T14" fmla="*/ 21 w 57"/>
                  <a:gd name="T15" fmla="*/ 85 h 87"/>
                  <a:gd name="T16" fmla="*/ 19 w 57"/>
                  <a:gd name="T17" fmla="*/ 84 h 87"/>
                  <a:gd name="T18" fmla="*/ 21 w 57"/>
                  <a:gd name="T19" fmla="*/ 78 h 87"/>
                  <a:gd name="T20" fmla="*/ 18 w 57"/>
                  <a:gd name="T21" fmla="*/ 73 h 87"/>
                  <a:gd name="T22" fmla="*/ 12 w 57"/>
                  <a:gd name="T23" fmla="*/ 66 h 87"/>
                  <a:gd name="T24" fmla="*/ 11 w 57"/>
                  <a:gd name="T25" fmla="*/ 62 h 87"/>
                  <a:gd name="T26" fmla="*/ 15 w 57"/>
                  <a:gd name="T27" fmla="*/ 62 h 87"/>
                  <a:gd name="T28" fmla="*/ 27 w 57"/>
                  <a:gd name="T29" fmla="*/ 60 h 87"/>
                  <a:gd name="T30" fmla="*/ 27 w 57"/>
                  <a:gd name="T31" fmla="*/ 58 h 87"/>
                  <a:gd name="T32" fmla="*/ 24 w 57"/>
                  <a:gd name="T33" fmla="*/ 55 h 87"/>
                  <a:gd name="T34" fmla="*/ 12 w 57"/>
                  <a:gd name="T35" fmla="*/ 52 h 87"/>
                  <a:gd name="T36" fmla="*/ 9 w 57"/>
                  <a:gd name="T37" fmla="*/ 49 h 87"/>
                  <a:gd name="T38" fmla="*/ 0 w 57"/>
                  <a:gd name="T39" fmla="*/ 30 h 87"/>
                  <a:gd name="T40" fmla="*/ 0 w 57"/>
                  <a:gd name="T41" fmla="*/ 27 h 87"/>
                  <a:gd name="T42" fmla="*/ 5 w 57"/>
                  <a:gd name="T43" fmla="*/ 24 h 87"/>
                  <a:gd name="T44" fmla="*/ 5 w 57"/>
                  <a:gd name="T45" fmla="*/ 21 h 87"/>
                  <a:gd name="T46" fmla="*/ 2 w 57"/>
                  <a:gd name="T47" fmla="*/ 13 h 87"/>
                  <a:gd name="T48" fmla="*/ 2 w 57"/>
                  <a:gd name="T49" fmla="*/ 10 h 87"/>
                  <a:gd name="T50" fmla="*/ 3 w 57"/>
                  <a:gd name="T51" fmla="*/ 4 h 87"/>
                  <a:gd name="T52" fmla="*/ 11 w 57"/>
                  <a:gd name="T53" fmla="*/ 0 h 87"/>
                  <a:gd name="T54" fmla="*/ 15 w 57"/>
                  <a:gd name="T55" fmla="*/ 1 h 87"/>
                  <a:gd name="T56" fmla="*/ 24 w 57"/>
                  <a:gd name="T57" fmla="*/ 7 h 87"/>
                  <a:gd name="T58" fmla="*/ 27 w 57"/>
                  <a:gd name="T59" fmla="*/ 10 h 87"/>
                  <a:gd name="T60" fmla="*/ 29 w 57"/>
                  <a:gd name="T61" fmla="*/ 13 h 87"/>
                  <a:gd name="T62" fmla="*/ 34 w 57"/>
                  <a:gd name="T63" fmla="*/ 16 h 87"/>
                  <a:gd name="T64" fmla="*/ 37 w 57"/>
                  <a:gd name="T65" fmla="*/ 20 h 87"/>
                  <a:gd name="T66" fmla="*/ 37 w 57"/>
                  <a:gd name="T67" fmla="*/ 24 h 87"/>
                  <a:gd name="T68" fmla="*/ 38 w 57"/>
                  <a:gd name="T69" fmla="*/ 30 h 87"/>
                  <a:gd name="T70" fmla="*/ 41 w 57"/>
                  <a:gd name="T71" fmla="*/ 30 h 87"/>
                  <a:gd name="T72" fmla="*/ 47 w 57"/>
                  <a:gd name="T73" fmla="*/ 30 h 87"/>
                  <a:gd name="T74" fmla="*/ 53 w 57"/>
                  <a:gd name="T75" fmla="*/ 34 h 87"/>
                  <a:gd name="T76" fmla="*/ 57 w 57"/>
                  <a:gd name="T77" fmla="*/ 40 h 87"/>
                  <a:gd name="T78" fmla="*/ 55 w 57"/>
                  <a:gd name="T79" fmla="*/ 43 h 87"/>
                  <a:gd name="T80" fmla="*/ 48 w 57"/>
                  <a:gd name="T81" fmla="*/ 47 h 87"/>
                  <a:gd name="T82" fmla="*/ 48 w 57"/>
                  <a:gd name="T83" fmla="*/ 50 h 87"/>
                  <a:gd name="T84" fmla="*/ 55 w 57"/>
                  <a:gd name="T85" fmla="*/ 62 h 87"/>
                  <a:gd name="T86" fmla="*/ 55 w 57"/>
                  <a:gd name="T87" fmla="*/ 65 h 87"/>
                  <a:gd name="T88" fmla="*/ 55 w 57"/>
                  <a:gd name="T89" fmla="*/ 7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7" h="87">
                    <a:moveTo>
                      <a:pt x="54" y="73"/>
                    </a:moveTo>
                    <a:lnTo>
                      <a:pt x="54" y="73"/>
                    </a:lnTo>
                    <a:lnTo>
                      <a:pt x="51" y="76"/>
                    </a:lnTo>
                    <a:lnTo>
                      <a:pt x="48" y="76"/>
                    </a:lnTo>
                    <a:lnTo>
                      <a:pt x="42" y="79"/>
                    </a:lnTo>
                    <a:lnTo>
                      <a:pt x="42" y="79"/>
                    </a:lnTo>
                    <a:lnTo>
                      <a:pt x="38" y="84"/>
                    </a:lnTo>
                    <a:lnTo>
                      <a:pt x="35" y="85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1" y="81"/>
                    </a:lnTo>
                    <a:lnTo>
                      <a:pt x="28" y="81"/>
                    </a:lnTo>
                    <a:lnTo>
                      <a:pt x="28" y="81"/>
                    </a:lnTo>
                    <a:lnTo>
                      <a:pt x="25" y="84"/>
                    </a:lnTo>
                    <a:lnTo>
                      <a:pt x="24" y="87"/>
                    </a:lnTo>
                    <a:lnTo>
                      <a:pt x="21" y="85"/>
                    </a:lnTo>
                    <a:lnTo>
                      <a:pt x="21" y="85"/>
                    </a:lnTo>
                    <a:lnTo>
                      <a:pt x="19" y="84"/>
                    </a:lnTo>
                    <a:lnTo>
                      <a:pt x="21" y="81"/>
                    </a:lnTo>
                    <a:lnTo>
                      <a:pt x="21" y="78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15" y="69"/>
                    </a:lnTo>
                    <a:lnTo>
                      <a:pt x="12" y="66"/>
                    </a:lnTo>
                    <a:lnTo>
                      <a:pt x="9" y="63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5" y="62"/>
                    </a:lnTo>
                    <a:lnTo>
                      <a:pt x="21" y="62"/>
                    </a:lnTo>
                    <a:lnTo>
                      <a:pt x="27" y="60"/>
                    </a:lnTo>
                    <a:lnTo>
                      <a:pt x="27" y="59"/>
                    </a:lnTo>
                    <a:lnTo>
                      <a:pt x="27" y="58"/>
                    </a:lnTo>
                    <a:lnTo>
                      <a:pt x="27" y="58"/>
                    </a:lnTo>
                    <a:lnTo>
                      <a:pt x="24" y="55"/>
                    </a:lnTo>
                    <a:lnTo>
                      <a:pt x="19" y="53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9" y="49"/>
                    </a:lnTo>
                    <a:lnTo>
                      <a:pt x="6" y="4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3" y="26"/>
                    </a:lnTo>
                    <a:lnTo>
                      <a:pt x="5" y="24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3" y="16"/>
                    </a:lnTo>
                    <a:lnTo>
                      <a:pt x="2" y="13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7"/>
                    </a:lnTo>
                    <a:lnTo>
                      <a:pt x="3" y="4"/>
                    </a:lnTo>
                    <a:lnTo>
                      <a:pt x="6" y="1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5" y="1"/>
                    </a:lnTo>
                    <a:lnTo>
                      <a:pt x="21" y="2"/>
                    </a:lnTo>
                    <a:lnTo>
                      <a:pt x="24" y="7"/>
                    </a:lnTo>
                    <a:lnTo>
                      <a:pt x="27" y="10"/>
                    </a:lnTo>
                    <a:lnTo>
                      <a:pt x="27" y="10"/>
                    </a:lnTo>
                    <a:lnTo>
                      <a:pt x="28" y="11"/>
                    </a:lnTo>
                    <a:lnTo>
                      <a:pt x="29" y="13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7" y="17"/>
                    </a:lnTo>
                    <a:lnTo>
                      <a:pt x="37" y="20"/>
                    </a:lnTo>
                    <a:lnTo>
                      <a:pt x="37" y="24"/>
                    </a:lnTo>
                    <a:lnTo>
                      <a:pt x="37" y="24"/>
                    </a:lnTo>
                    <a:lnTo>
                      <a:pt x="37" y="29"/>
                    </a:lnTo>
                    <a:lnTo>
                      <a:pt x="38" y="30"/>
                    </a:lnTo>
                    <a:lnTo>
                      <a:pt x="41" y="30"/>
                    </a:lnTo>
                    <a:lnTo>
                      <a:pt x="41" y="30"/>
                    </a:lnTo>
                    <a:lnTo>
                      <a:pt x="44" y="30"/>
                    </a:lnTo>
                    <a:lnTo>
                      <a:pt x="47" y="30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7" y="39"/>
                    </a:lnTo>
                    <a:lnTo>
                      <a:pt x="57" y="40"/>
                    </a:lnTo>
                    <a:lnTo>
                      <a:pt x="55" y="43"/>
                    </a:lnTo>
                    <a:lnTo>
                      <a:pt x="55" y="43"/>
                    </a:lnTo>
                    <a:lnTo>
                      <a:pt x="50" y="46"/>
                    </a:lnTo>
                    <a:lnTo>
                      <a:pt x="48" y="47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3" y="58"/>
                    </a:lnTo>
                    <a:lnTo>
                      <a:pt x="55" y="62"/>
                    </a:lnTo>
                    <a:lnTo>
                      <a:pt x="55" y="65"/>
                    </a:lnTo>
                    <a:lnTo>
                      <a:pt x="55" y="65"/>
                    </a:lnTo>
                    <a:lnTo>
                      <a:pt x="55" y="69"/>
                    </a:lnTo>
                    <a:lnTo>
                      <a:pt x="55" y="72"/>
                    </a:lnTo>
                    <a:lnTo>
                      <a:pt x="54" y="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12" name="Freeform 62"/>
              <p:cNvSpPr>
                <a:spLocks/>
              </p:cNvSpPr>
              <p:nvPr/>
            </p:nvSpPr>
            <p:spPr bwMode="auto">
              <a:xfrm>
                <a:off x="2832882" y="1218919"/>
                <a:ext cx="56388" cy="86066"/>
              </a:xfrm>
              <a:custGeom>
                <a:avLst/>
                <a:gdLst>
                  <a:gd name="T0" fmla="*/ 54 w 57"/>
                  <a:gd name="T1" fmla="*/ 73 h 87"/>
                  <a:gd name="T2" fmla="*/ 48 w 57"/>
                  <a:gd name="T3" fmla="*/ 76 h 87"/>
                  <a:gd name="T4" fmla="*/ 42 w 57"/>
                  <a:gd name="T5" fmla="*/ 79 h 87"/>
                  <a:gd name="T6" fmla="*/ 35 w 57"/>
                  <a:gd name="T7" fmla="*/ 85 h 87"/>
                  <a:gd name="T8" fmla="*/ 34 w 57"/>
                  <a:gd name="T9" fmla="*/ 84 h 87"/>
                  <a:gd name="T10" fmla="*/ 28 w 57"/>
                  <a:gd name="T11" fmla="*/ 81 h 87"/>
                  <a:gd name="T12" fmla="*/ 25 w 57"/>
                  <a:gd name="T13" fmla="*/ 84 h 87"/>
                  <a:gd name="T14" fmla="*/ 21 w 57"/>
                  <a:gd name="T15" fmla="*/ 85 h 87"/>
                  <a:gd name="T16" fmla="*/ 19 w 57"/>
                  <a:gd name="T17" fmla="*/ 84 h 87"/>
                  <a:gd name="T18" fmla="*/ 21 w 57"/>
                  <a:gd name="T19" fmla="*/ 78 h 87"/>
                  <a:gd name="T20" fmla="*/ 18 w 57"/>
                  <a:gd name="T21" fmla="*/ 73 h 87"/>
                  <a:gd name="T22" fmla="*/ 12 w 57"/>
                  <a:gd name="T23" fmla="*/ 66 h 87"/>
                  <a:gd name="T24" fmla="*/ 11 w 57"/>
                  <a:gd name="T25" fmla="*/ 62 h 87"/>
                  <a:gd name="T26" fmla="*/ 15 w 57"/>
                  <a:gd name="T27" fmla="*/ 62 h 87"/>
                  <a:gd name="T28" fmla="*/ 27 w 57"/>
                  <a:gd name="T29" fmla="*/ 60 h 87"/>
                  <a:gd name="T30" fmla="*/ 27 w 57"/>
                  <a:gd name="T31" fmla="*/ 58 h 87"/>
                  <a:gd name="T32" fmla="*/ 24 w 57"/>
                  <a:gd name="T33" fmla="*/ 55 h 87"/>
                  <a:gd name="T34" fmla="*/ 12 w 57"/>
                  <a:gd name="T35" fmla="*/ 52 h 87"/>
                  <a:gd name="T36" fmla="*/ 9 w 57"/>
                  <a:gd name="T37" fmla="*/ 49 h 87"/>
                  <a:gd name="T38" fmla="*/ 0 w 57"/>
                  <a:gd name="T39" fmla="*/ 30 h 87"/>
                  <a:gd name="T40" fmla="*/ 0 w 57"/>
                  <a:gd name="T41" fmla="*/ 27 h 87"/>
                  <a:gd name="T42" fmla="*/ 5 w 57"/>
                  <a:gd name="T43" fmla="*/ 24 h 87"/>
                  <a:gd name="T44" fmla="*/ 5 w 57"/>
                  <a:gd name="T45" fmla="*/ 21 h 87"/>
                  <a:gd name="T46" fmla="*/ 2 w 57"/>
                  <a:gd name="T47" fmla="*/ 13 h 87"/>
                  <a:gd name="T48" fmla="*/ 2 w 57"/>
                  <a:gd name="T49" fmla="*/ 10 h 87"/>
                  <a:gd name="T50" fmla="*/ 3 w 57"/>
                  <a:gd name="T51" fmla="*/ 4 h 87"/>
                  <a:gd name="T52" fmla="*/ 11 w 57"/>
                  <a:gd name="T53" fmla="*/ 0 h 87"/>
                  <a:gd name="T54" fmla="*/ 15 w 57"/>
                  <a:gd name="T55" fmla="*/ 1 h 87"/>
                  <a:gd name="T56" fmla="*/ 24 w 57"/>
                  <a:gd name="T57" fmla="*/ 7 h 87"/>
                  <a:gd name="T58" fmla="*/ 27 w 57"/>
                  <a:gd name="T59" fmla="*/ 10 h 87"/>
                  <a:gd name="T60" fmla="*/ 29 w 57"/>
                  <a:gd name="T61" fmla="*/ 13 h 87"/>
                  <a:gd name="T62" fmla="*/ 34 w 57"/>
                  <a:gd name="T63" fmla="*/ 16 h 87"/>
                  <a:gd name="T64" fmla="*/ 37 w 57"/>
                  <a:gd name="T65" fmla="*/ 20 h 87"/>
                  <a:gd name="T66" fmla="*/ 37 w 57"/>
                  <a:gd name="T67" fmla="*/ 24 h 87"/>
                  <a:gd name="T68" fmla="*/ 38 w 57"/>
                  <a:gd name="T69" fmla="*/ 30 h 87"/>
                  <a:gd name="T70" fmla="*/ 41 w 57"/>
                  <a:gd name="T71" fmla="*/ 30 h 87"/>
                  <a:gd name="T72" fmla="*/ 47 w 57"/>
                  <a:gd name="T73" fmla="*/ 30 h 87"/>
                  <a:gd name="T74" fmla="*/ 53 w 57"/>
                  <a:gd name="T75" fmla="*/ 34 h 87"/>
                  <a:gd name="T76" fmla="*/ 57 w 57"/>
                  <a:gd name="T77" fmla="*/ 40 h 87"/>
                  <a:gd name="T78" fmla="*/ 55 w 57"/>
                  <a:gd name="T79" fmla="*/ 43 h 87"/>
                  <a:gd name="T80" fmla="*/ 48 w 57"/>
                  <a:gd name="T81" fmla="*/ 47 h 87"/>
                  <a:gd name="T82" fmla="*/ 48 w 57"/>
                  <a:gd name="T83" fmla="*/ 50 h 87"/>
                  <a:gd name="T84" fmla="*/ 55 w 57"/>
                  <a:gd name="T85" fmla="*/ 62 h 87"/>
                  <a:gd name="T86" fmla="*/ 55 w 57"/>
                  <a:gd name="T87" fmla="*/ 65 h 87"/>
                  <a:gd name="T88" fmla="*/ 55 w 57"/>
                  <a:gd name="T89" fmla="*/ 7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7" h="87">
                    <a:moveTo>
                      <a:pt x="54" y="73"/>
                    </a:moveTo>
                    <a:lnTo>
                      <a:pt x="54" y="73"/>
                    </a:lnTo>
                    <a:lnTo>
                      <a:pt x="51" y="76"/>
                    </a:lnTo>
                    <a:lnTo>
                      <a:pt x="48" y="76"/>
                    </a:lnTo>
                    <a:lnTo>
                      <a:pt x="42" y="79"/>
                    </a:lnTo>
                    <a:lnTo>
                      <a:pt x="42" y="79"/>
                    </a:lnTo>
                    <a:lnTo>
                      <a:pt x="38" y="84"/>
                    </a:lnTo>
                    <a:lnTo>
                      <a:pt x="35" y="85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1" y="81"/>
                    </a:lnTo>
                    <a:lnTo>
                      <a:pt x="28" y="81"/>
                    </a:lnTo>
                    <a:lnTo>
                      <a:pt x="28" y="81"/>
                    </a:lnTo>
                    <a:lnTo>
                      <a:pt x="25" y="84"/>
                    </a:lnTo>
                    <a:lnTo>
                      <a:pt x="24" y="87"/>
                    </a:lnTo>
                    <a:lnTo>
                      <a:pt x="21" y="85"/>
                    </a:lnTo>
                    <a:lnTo>
                      <a:pt x="21" y="85"/>
                    </a:lnTo>
                    <a:lnTo>
                      <a:pt x="19" y="84"/>
                    </a:lnTo>
                    <a:lnTo>
                      <a:pt x="21" y="81"/>
                    </a:lnTo>
                    <a:lnTo>
                      <a:pt x="21" y="78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15" y="69"/>
                    </a:lnTo>
                    <a:lnTo>
                      <a:pt x="12" y="66"/>
                    </a:lnTo>
                    <a:lnTo>
                      <a:pt x="9" y="63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5" y="62"/>
                    </a:lnTo>
                    <a:lnTo>
                      <a:pt x="21" y="62"/>
                    </a:lnTo>
                    <a:lnTo>
                      <a:pt x="27" y="60"/>
                    </a:lnTo>
                    <a:lnTo>
                      <a:pt x="27" y="59"/>
                    </a:lnTo>
                    <a:lnTo>
                      <a:pt x="27" y="58"/>
                    </a:lnTo>
                    <a:lnTo>
                      <a:pt x="27" y="58"/>
                    </a:lnTo>
                    <a:lnTo>
                      <a:pt x="24" y="55"/>
                    </a:lnTo>
                    <a:lnTo>
                      <a:pt x="19" y="53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9" y="49"/>
                    </a:lnTo>
                    <a:lnTo>
                      <a:pt x="6" y="4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3" y="26"/>
                    </a:lnTo>
                    <a:lnTo>
                      <a:pt x="5" y="24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3" y="16"/>
                    </a:lnTo>
                    <a:lnTo>
                      <a:pt x="2" y="13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7"/>
                    </a:lnTo>
                    <a:lnTo>
                      <a:pt x="3" y="4"/>
                    </a:lnTo>
                    <a:lnTo>
                      <a:pt x="6" y="1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5" y="1"/>
                    </a:lnTo>
                    <a:lnTo>
                      <a:pt x="21" y="2"/>
                    </a:lnTo>
                    <a:lnTo>
                      <a:pt x="24" y="7"/>
                    </a:lnTo>
                    <a:lnTo>
                      <a:pt x="27" y="10"/>
                    </a:lnTo>
                    <a:lnTo>
                      <a:pt x="27" y="10"/>
                    </a:lnTo>
                    <a:lnTo>
                      <a:pt x="28" y="11"/>
                    </a:lnTo>
                    <a:lnTo>
                      <a:pt x="29" y="13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7" y="17"/>
                    </a:lnTo>
                    <a:lnTo>
                      <a:pt x="37" y="20"/>
                    </a:lnTo>
                    <a:lnTo>
                      <a:pt x="37" y="24"/>
                    </a:lnTo>
                    <a:lnTo>
                      <a:pt x="37" y="24"/>
                    </a:lnTo>
                    <a:lnTo>
                      <a:pt x="37" y="29"/>
                    </a:lnTo>
                    <a:lnTo>
                      <a:pt x="38" y="30"/>
                    </a:lnTo>
                    <a:lnTo>
                      <a:pt x="41" y="30"/>
                    </a:lnTo>
                    <a:lnTo>
                      <a:pt x="41" y="30"/>
                    </a:lnTo>
                    <a:lnTo>
                      <a:pt x="44" y="30"/>
                    </a:lnTo>
                    <a:lnTo>
                      <a:pt x="47" y="30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7" y="39"/>
                    </a:lnTo>
                    <a:lnTo>
                      <a:pt x="57" y="40"/>
                    </a:lnTo>
                    <a:lnTo>
                      <a:pt x="55" y="43"/>
                    </a:lnTo>
                    <a:lnTo>
                      <a:pt x="55" y="43"/>
                    </a:lnTo>
                    <a:lnTo>
                      <a:pt x="50" y="46"/>
                    </a:lnTo>
                    <a:lnTo>
                      <a:pt x="48" y="47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3" y="58"/>
                    </a:lnTo>
                    <a:lnTo>
                      <a:pt x="55" y="62"/>
                    </a:lnTo>
                    <a:lnTo>
                      <a:pt x="55" y="65"/>
                    </a:lnTo>
                    <a:lnTo>
                      <a:pt x="55" y="65"/>
                    </a:lnTo>
                    <a:lnTo>
                      <a:pt x="55" y="69"/>
                    </a:lnTo>
                    <a:lnTo>
                      <a:pt x="55" y="72"/>
                    </a:lnTo>
                    <a:lnTo>
                      <a:pt x="54" y="7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13" name="Freeform 63"/>
              <p:cNvSpPr>
                <a:spLocks/>
              </p:cNvSpPr>
              <p:nvPr/>
            </p:nvSpPr>
            <p:spPr bwMode="auto">
              <a:xfrm>
                <a:off x="2776494" y="1372254"/>
                <a:ext cx="13850" cy="7914"/>
              </a:xfrm>
              <a:custGeom>
                <a:avLst/>
                <a:gdLst>
                  <a:gd name="T0" fmla="*/ 14 w 14"/>
                  <a:gd name="T1" fmla="*/ 1 h 8"/>
                  <a:gd name="T2" fmla="*/ 14 w 14"/>
                  <a:gd name="T3" fmla="*/ 1 h 8"/>
                  <a:gd name="T4" fmla="*/ 10 w 14"/>
                  <a:gd name="T5" fmla="*/ 0 h 8"/>
                  <a:gd name="T6" fmla="*/ 5 w 14"/>
                  <a:gd name="T7" fmla="*/ 0 h 8"/>
                  <a:gd name="T8" fmla="*/ 5 w 14"/>
                  <a:gd name="T9" fmla="*/ 0 h 8"/>
                  <a:gd name="T10" fmla="*/ 1 w 14"/>
                  <a:gd name="T11" fmla="*/ 4 h 8"/>
                  <a:gd name="T12" fmla="*/ 0 w 14"/>
                  <a:gd name="T13" fmla="*/ 7 h 8"/>
                  <a:gd name="T14" fmla="*/ 0 w 14"/>
                  <a:gd name="T15" fmla="*/ 7 h 8"/>
                  <a:gd name="T16" fmla="*/ 1 w 14"/>
                  <a:gd name="T17" fmla="*/ 8 h 8"/>
                  <a:gd name="T18" fmla="*/ 1 w 14"/>
                  <a:gd name="T19" fmla="*/ 8 h 8"/>
                  <a:gd name="T20" fmla="*/ 4 w 14"/>
                  <a:gd name="T21" fmla="*/ 7 h 8"/>
                  <a:gd name="T22" fmla="*/ 10 w 14"/>
                  <a:gd name="T23" fmla="*/ 5 h 8"/>
                  <a:gd name="T24" fmla="*/ 14 w 14"/>
                  <a:gd name="T25" fmla="*/ 2 h 8"/>
                  <a:gd name="T26" fmla="*/ 14 w 14"/>
                  <a:gd name="T27" fmla="*/ 2 h 8"/>
                  <a:gd name="T28" fmla="*/ 14 w 14"/>
                  <a:gd name="T29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8">
                    <a:moveTo>
                      <a:pt x="14" y="1"/>
                    </a:moveTo>
                    <a:lnTo>
                      <a:pt x="14" y="1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4" y="7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14" name="Freeform 64"/>
              <p:cNvSpPr>
                <a:spLocks/>
              </p:cNvSpPr>
              <p:nvPr/>
            </p:nvSpPr>
            <p:spPr bwMode="auto">
              <a:xfrm>
                <a:off x="2776494" y="1372254"/>
                <a:ext cx="13850" cy="7914"/>
              </a:xfrm>
              <a:custGeom>
                <a:avLst/>
                <a:gdLst>
                  <a:gd name="T0" fmla="*/ 14 w 14"/>
                  <a:gd name="T1" fmla="*/ 1 h 8"/>
                  <a:gd name="T2" fmla="*/ 14 w 14"/>
                  <a:gd name="T3" fmla="*/ 1 h 8"/>
                  <a:gd name="T4" fmla="*/ 10 w 14"/>
                  <a:gd name="T5" fmla="*/ 0 h 8"/>
                  <a:gd name="T6" fmla="*/ 5 w 14"/>
                  <a:gd name="T7" fmla="*/ 0 h 8"/>
                  <a:gd name="T8" fmla="*/ 5 w 14"/>
                  <a:gd name="T9" fmla="*/ 0 h 8"/>
                  <a:gd name="T10" fmla="*/ 1 w 14"/>
                  <a:gd name="T11" fmla="*/ 4 h 8"/>
                  <a:gd name="T12" fmla="*/ 0 w 14"/>
                  <a:gd name="T13" fmla="*/ 7 h 8"/>
                  <a:gd name="T14" fmla="*/ 0 w 14"/>
                  <a:gd name="T15" fmla="*/ 7 h 8"/>
                  <a:gd name="T16" fmla="*/ 1 w 14"/>
                  <a:gd name="T17" fmla="*/ 8 h 8"/>
                  <a:gd name="T18" fmla="*/ 1 w 14"/>
                  <a:gd name="T19" fmla="*/ 8 h 8"/>
                  <a:gd name="T20" fmla="*/ 4 w 14"/>
                  <a:gd name="T21" fmla="*/ 7 h 8"/>
                  <a:gd name="T22" fmla="*/ 10 w 14"/>
                  <a:gd name="T23" fmla="*/ 5 h 8"/>
                  <a:gd name="T24" fmla="*/ 14 w 14"/>
                  <a:gd name="T25" fmla="*/ 2 h 8"/>
                  <a:gd name="T26" fmla="*/ 14 w 14"/>
                  <a:gd name="T27" fmla="*/ 2 h 8"/>
                  <a:gd name="T28" fmla="*/ 14 w 14"/>
                  <a:gd name="T29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8">
                    <a:moveTo>
                      <a:pt x="14" y="1"/>
                    </a:moveTo>
                    <a:lnTo>
                      <a:pt x="14" y="1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4" y="7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15" name="Freeform 65"/>
              <p:cNvSpPr>
                <a:spLocks/>
              </p:cNvSpPr>
              <p:nvPr/>
            </p:nvSpPr>
            <p:spPr bwMode="auto">
              <a:xfrm>
                <a:off x="2972368" y="1124939"/>
                <a:ext cx="283918" cy="292821"/>
              </a:xfrm>
              <a:custGeom>
                <a:avLst/>
                <a:gdLst>
                  <a:gd name="T0" fmla="*/ 284 w 287"/>
                  <a:gd name="T1" fmla="*/ 18 h 296"/>
                  <a:gd name="T2" fmla="*/ 248 w 287"/>
                  <a:gd name="T3" fmla="*/ 21 h 296"/>
                  <a:gd name="T4" fmla="*/ 239 w 287"/>
                  <a:gd name="T5" fmla="*/ 25 h 296"/>
                  <a:gd name="T6" fmla="*/ 236 w 287"/>
                  <a:gd name="T7" fmla="*/ 47 h 296"/>
                  <a:gd name="T8" fmla="*/ 211 w 287"/>
                  <a:gd name="T9" fmla="*/ 47 h 296"/>
                  <a:gd name="T10" fmla="*/ 210 w 287"/>
                  <a:gd name="T11" fmla="*/ 53 h 296"/>
                  <a:gd name="T12" fmla="*/ 191 w 287"/>
                  <a:gd name="T13" fmla="*/ 57 h 296"/>
                  <a:gd name="T14" fmla="*/ 198 w 287"/>
                  <a:gd name="T15" fmla="*/ 63 h 296"/>
                  <a:gd name="T16" fmla="*/ 229 w 287"/>
                  <a:gd name="T17" fmla="*/ 71 h 296"/>
                  <a:gd name="T18" fmla="*/ 214 w 287"/>
                  <a:gd name="T19" fmla="*/ 76 h 296"/>
                  <a:gd name="T20" fmla="*/ 200 w 287"/>
                  <a:gd name="T21" fmla="*/ 80 h 296"/>
                  <a:gd name="T22" fmla="*/ 181 w 287"/>
                  <a:gd name="T23" fmla="*/ 92 h 296"/>
                  <a:gd name="T24" fmla="*/ 209 w 287"/>
                  <a:gd name="T25" fmla="*/ 93 h 296"/>
                  <a:gd name="T26" fmla="*/ 229 w 287"/>
                  <a:gd name="T27" fmla="*/ 111 h 296"/>
                  <a:gd name="T28" fmla="*/ 203 w 287"/>
                  <a:gd name="T29" fmla="*/ 122 h 296"/>
                  <a:gd name="T30" fmla="*/ 217 w 287"/>
                  <a:gd name="T31" fmla="*/ 145 h 296"/>
                  <a:gd name="T32" fmla="*/ 213 w 287"/>
                  <a:gd name="T33" fmla="*/ 157 h 296"/>
                  <a:gd name="T34" fmla="*/ 201 w 287"/>
                  <a:gd name="T35" fmla="*/ 173 h 296"/>
                  <a:gd name="T36" fmla="*/ 178 w 287"/>
                  <a:gd name="T37" fmla="*/ 189 h 296"/>
                  <a:gd name="T38" fmla="*/ 175 w 287"/>
                  <a:gd name="T39" fmla="*/ 215 h 296"/>
                  <a:gd name="T40" fmla="*/ 122 w 287"/>
                  <a:gd name="T41" fmla="*/ 205 h 296"/>
                  <a:gd name="T42" fmla="*/ 119 w 287"/>
                  <a:gd name="T43" fmla="*/ 222 h 296"/>
                  <a:gd name="T44" fmla="*/ 140 w 287"/>
                  <a:gd name="T45" fmla="*/ 222 h 296"/>
                  <a:gd name="T46" fmla="*/ 159 w 287"/>
                  <a:gd name="T47" fmla="*/ 229 h 296"/>
                  <a:gd name="T48" fmla="*/ 172 w 287"/>
                  <a:gd name="T49" fmla="*/ 241 h 296"/>
                  <a:gd name="T50" fmla="*/ 180 w 287"/>
                  <a:gd name="T51" fmla="*/ 260 h 296"/>
                  <a:gd name="T52" fmla="*/ 142 w 287"/>
                  <a:gd name="T53" fmla="*/ 293 h 296"/>
                  <a:gd name="T54" fmla="*/ 119 w 287"/>
                  <a:gd name="T55" fmla="*/ 271 h 296"/>
                  <a:gd name="T56" fmla="*/ 114 w 287"/>
                  <a:gd name="T57" fmla="*/ 277 h 296"/>
                  <a:gd name="T58" fmla="*/ 98 w 287"/>
                  <a:gd name="T59" fmla="*/ 264 h 296"/>
                  <a:gd name="T60" fmla="*/ 81 w 287"/>
                  <a:gd name="T61" fmla="*/ 261 h 296"/>
                  <a:gd name="T62" fmla="*/ 68 w 287"/>
                  <a:gd name="T63" fmla="*/ 268 h 296"/>
                  <a:gd name="T64" fmla="*/ 64 w 287"/>
                  <a:gd name="T65" fmla="*/ 289 h 296"/>
                  <a:gd name="T66" fmla="*/ 49 w 287"/>
                  <a:gd name="T67" fmla="*/ 261 h 296"/>
                  <a:gd name="T68" fmla="*/ 36 w 287"/>
                  <a:gd name="T69" fmla="*/ 258 h 296"/>
                  <a:gd name="T70" fmla="*/ 20 w 287"/>
                  <a:gd name="T71" fmla="*/ 261 h 296"/>
                  <a:gd name="T72" fmla="*/ 10 w 287"/>
                  <a:gd name="T73" fmla="*/ 276 h 296"/>
                  <a:gd name="T74" fmla="*/ 1 w 287"/>
                  <a:gd name="T75" fmla="*/ 258 h 296"/>
                  <a:gd name="T76" fmla="*/ 29 w 287"/>
                  <a:gd name="T77" fmla="*/ 232 h 296"/>
                  <a:gd name="T78" fmla="*/ 33 w 287"/>
                  <a:gd name="T79" fmla="*/ 216 h 296"/>
                  <a:gd name="T80" fmla="*/ 16 w 287"/>
                  <a:gd name="T81" fmla="*/ 190 h 296"/>
                  <a:gd name="T82" fmla="*/ 46 w 287"/>
                  <a:gd name="T83" fmla="*/ 179 h 296"/>
                  <a:gd name="T84" fmla="*/ 81 w 287"/>
                  <a:gd name="T85" fmla="*/ 212 h 296"/>
                  <a:gd name="T86" fmla="*/ 103 w 287"/>
                  <a:gd name="T87" fmla="*/ 186 h 296"/>
                  <a:gd name="T88" fmla="*/ 88 w 287"/>
                  <a:gd name="T89" fmla="*/ 200 h 296"/>
                  <a:gd name="T90" fmla="*/ 64 w 287"/>
                  <a:gd name="T91" fmla="*/ 182 h 296"/>
                  <a:gd name="T92" fmla="*/ 71 w 287"/>
                  <a:gd name="T93" fmla="*/ 157 h 296"/>
                  <a:gd name="T94" fmla="*/ 72 w 287"/>
                  <a:gd name="T95" fmla="*/ 145 h 296"/>
                  <a:gd name="T96" fmla="*/ 51 w 287"/>
                  <a:gd name="T97" fmla="*/ 161 h 296"/>
                  <a:gd name="T98" fmla="*/ 45 w 287"/>
                  <a:gd name="T99" fmla="*/ 154 h 296"/>
                  <a:gd name="T100" fmla="*/ 33 w 287"/>
                  <a:gd name="T101" fmla="*/ 148 h 296"/>
                  <a:gd name="T102" fmla="*/ 38 w 287"/>
                  <a:gd name="T103" fmla="*/ 115 h 296"/>
                  <a:gd name="T104" fmla="*/ 67 w 287"/>
                  <a:gd name="T105" fmla="*/ 95 h 296"/>
                  <a:gd name="T106" fmla="*/ 110 w 287"/>
                  <a:gd name="T107" fmla="*/ 122 h 296"/>
                  <a:gd name="T108" fmla="*/ 98 w 287"/>
                  <a:gd name="T109" fmla="*/ 102 h 296"/>
                  <a:gd name="T110" fmla="*/ 113 w 287"/>
                  <a:gd name="T111" fmla="*/ 95 h 296"/>
                  <a:gd name="T112" fmla="*/ 72 w 287"/>
                  <a:gd name="T113" fmla="*/ 80 h 296"/>
                  <a:gd name="T114" fmla="*/ 88 w 287"/>
                  <a:gd name="T115" fmla="*/ 77 h 296"/>
                  <a:gd name="T116" fmla="*/ 69 w 287"/>
                  <a:gd name="T117" fmla="*/ 4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87" h="296">
                    <a:moveTo>
                      <a:pt x="45" y="0"/>
                    </a:moveTo>
                    <a:lnTo>
                      <a:pt x="287" y="0"/>
                    </a:lnTo>
                    <a:lnTo>
                      <a:pt x="287" y="0"/>
                    </a:lnTo>
                    <a:lnTo>
                      <a:pt x="279" y="8"/>
                    </a:lnTo>
                    <a:lnTo>
                      <a:pt x="277" y="12"/>
                    </a:lnTo>
                    <a:lnTo>
                      <a:pt x="275" y="13"/>
                    </a:lnTo>
                    <a:lnTo>
                      <a:pt x="277" y="13"/>
                    </a:lnTo>
                    <a:lnTo>
                      <a:pt x="277" y="13"/>
                    </a:lnTo>
                    <a:lnTo>
                      <a:pt x="281" y="15"/>
                    </a:lnTo>
                    <a:lnTo>
                      <a:pt x="282" y="16"/>
                    </a:lnTo>
                    <a:lnTo>
                      <a:pt x="284" y="18"/>
                    </a:lnTo>
                    <a:lnTo>
                      <a:pt x="284" y="18"/>
                    </a:lnTo>
                    <a:lnTo>
                      <a:pt x="282" y="21"/>
                    </a:lnTo>
                    <a:lnTo>
                      <a:pt x="281" y="25"/>
                    </a:lnTo>
                    <a:lnTo>
                      <a:pt x="278" y="28"/>
                    </a:lnTo>
                    <a:lnTo>
                      <a:pt x="274" y="29"/>
                    </a:lnTo>
                    <a:lnTo>
                      <a:pt x="274" y="29"/>
                    </a:lnTo>
                    <a:lnTo>
                      <a:pt x="265" y="29"/>
                    </a:lnTo>
                    <a:lnTo>
                      <a:pt x="261" y="29"/>
                    </a:lnTo>
                    <a:lnTo>
                      <a:pt x="256" y="29"/>
                    </a:lnTo>
                    <a:lnTo>
                      <a:pt x="256" y="29"/>
                    </a:lnTo>
                    <a:lnTo>
                      <a:pt x="252" y="25"/>
                    </a:lnTo>
                    <a:lnTo>
                      <a:pt x="248" y="21"/>
                    </a:lnTo>
                    <a:lnTo>
                      <a:pt x="248" y="21"/>
                    </a:lnTo>
                    <a:lnTo>
                      <a:pt x="242" y="16"/>
                    </a:lnTo>
                    <a:lnTo>
                      <a:pt x="237" y="13"/>
                    </a:lnTo>
                    <a:lnTo>
                      <a:pt x="237" y="13"/>
                    </a:lnTo>
                    <a:lnTo>
                      <a:pt x="230" y="16"/>
                    </a:lnTo>
                    <a:lnTo>
                      <a:pt x="230" y="16"/>
                    </a:lnTo>
                    <a:lnTo>
                      <a:pt x="229" y="18"/>
                    </a:lnTo>
                    <a:lnTo>
                      <a:pt x="229" y="19"/>
                    </a:lnTo>
                    <a:lnTo>
                      <a:pt x="232" y="21"/>
                    </a:lnTo>
                    <a:lnTo>
                      <a:pt x="232" y="21"/>
                    </a:lnTo>
                    <a:lnTo>
                      <a:pt x="236" y="21"/>
                    </a:lnTo>
                    <a:lnTo>
                      <a:pt x="239" y="25"/>
                    </a:lnTo>
                    <a:lnTo>
                      <a:pt x="239" y="25"/>
                    </a:lnTo>
                    <a:lnTo>
                      <a:pt x="246" y="35"/>
                    </a:lnTo>
                    <a:lnTo>
                      <a:pt x="249" y="40"/>
                    </a:lnTo>
                    <a:lnTo>
                      <a:pt x="251" y="41"/>
                    </a:lnTo>
                    <a:lnTo>
                      <a:pt x="249" y="42"/>
                    </a:lnTo>
                    <a:lnTo>
                      <a:pt x="249" y="42"/>
                    </a:lnTo>
                    <a:lnTo>
                      <a:pt x="248" y="41"/>
                    </a:lnTo>
                    <a:lnTo>
                      <a:pt x="245" y="40"/>
                    </a:lnTo>
                    <a:lnTo>
                      <a:pt x="242" y="40"/>
                    </a:lnTo>
                    <a:lnTo>
                      <a:pt x="239" y="40"/>
                    </a:lnTo>
                    <a:lnTo>
                      <a:pt x="239" y="40"/>
                    </a:lnTo>
                    <a:lnTo>
                      <a:pt x="237" y="44"/>
                    </a:lnTo>
                    <a:lnTo>
                      <a:pt x="236" y="47"/>
                    </a:lnTo>
                    <a:lnTo>
                      <a:pt x="235" y="48"/>
                    </a:lnTo>
                    <a:lnTo>
                      <a:pt x="235" y="48"/>
                    </a:lnTo>
                    <a:lnTo>
                      <a:pt x="230" y="47"/>
                    </a:lnTo>
                    <a:lnTo>
                      <a:pt x="227" y="47"/>
                    </a:lnTo>
                    <a:lnTo>
                      <a:pt x="226" y="47"/>
                    </a:lnTo>
                    <a:lnTo>
                      <a:pt x="226" y="47"/>
                    </a:lnTo>
                    <a:lnTo>
                      <a:pt x="223" y="51"/>
                    </a:lnTo>
                    <a:lnTo>
                      <a:pt x="219" y="54"/>
                    </a:lnTo>
                    <a:lnTo>
                      <a:pt x="219" y="54"/>
                    </a:lnTo>
                    <a:lnTo>
                      <a:pt x="217" y="53"/>
                    </a:lnTo>
                    <a:lnTo>
                      <a:pt x="214" y="50"/>
                    </a:lnTo>
                    <a:lnTo>
                      <a:pt x="211" y="47"/>
                    </a:lnTo>
                    <a:lnTo>
                      <a:pt x="209" y="44"/>
                    </a:lnTo>
                    <a:lnTo>
                      <a:pt x="209" y="44"/>
                    </a:lnTo>
                    <a:lnTo>
                      <a:pt x="198" y="42"/>
                    </a:lnTo>
                    <a:lnTo>
                      <a:pt x="194" y="42"/>
                    </a:lnTo>
                    <a:lnTo>
                      <a:pt x="194" y="44"/>
                    </a:lnTo>
                    <a:lnTo>
                      <a:pt x="194" y="44"/>
                    </a:lnTo>
                    <a:lnTo>
                      <a:pt x="194" y="44"/>
                    </a:lnTo>
                    <a:lnTo>
                      <a:pt x="197" y="47"/>
                    </a:lnTo>
                    <a:lnTo>
                      <a:pt x="203" y="50"/>
                    </a:lnTo>
                    <a:lnTo>
                      <a:pt x="207" y="51"/>
                    </a:lnTo>
                    <a:lnTo>
                      <a:pt x="210" y="53"/>
                    </a:lnTo>
                    <a:lnTo>
                      <a:pt x="210" y="53"/>
                    </a:lnTo>
                    <a:lnTo>
                      <a:pt x="207" y="55"/>
                    </a:lnTo>
                    <a:lnTo>
                      <a:pt x="201" y="57"/>
                    </a:lnTo>
                    <a:lnTo>
                      <a:pt x="201" y="57"/>
                    </a:lnTo>
                    <a:lnTo>
                      <a:pt x="198" y="55"/>
                    </a:lnTo>
                    <a:lnTo>
                      <a:pt x="195" y="53"/>
                    </a:lnTo>
                    <a:lnTo>
                      <a:pt x="194" y="50"/>
                    </a:lnTo>
                    <a:lnTo>
                      <a:pt x="191" y="50"/>
                    </a:lnTo>
                    <a:lnTo>
                      <a:pt x="191" y="50"/>
                    </a:lnTo>
                    <a:lnTo>
                      <a:pt x="191" y="51"/>
                    </a:lnTo>
                    <a:lnTo>
                      <a:pt x="191" y="53"/>
                    </a:lnTo>
                    <a:lnTo>
                      <a:pt x="191" y="55"/>
                    </a:lnTo>
                    <a:lnTo>
                      <a:pt x="191" y="57"/>
                    </a:lnTo>
                    <a:lnTo>
                      <a:pt x="191" y="57"/>
                    </a:lnTo>
                    <a:lnTo>
                      <a:pt x="190" y="57"/>
                    </a:lnTo>
                    <a:lnTo>
                      <a:pt x="188" y="57"/>
                    </a:lnTo>
                    <a:lnTo>
                      <a:pt x="185" y="55"/>
                    </a:lnTo>
                    <a:lnTo>
                      <a:pt x="184" y="57"/>
                    </a:lnTo>
                    <a:lnTo>
                      <a:pt x="184" y="57"/>
                    </a:lnTo>
                    <a:lnTo>
                      <a:pt x="182" y="58"/>
                    </a:lnTo>
                    <a:lnTo>
                      <a:pt x="184" y="60"/>
                    </a:lnTo>
                    <a:lnTo>
                      <a:pt x="185" y="63"/>
                    </a:lnTo>
                    <a:lnTo>
                      <a:pt x="188" y="63"/>
                    </a:lnTo>
                    <a:lnTo>
                      <a:pt x="188" y="63"/>
                    </a:lnTo>
                    <a:lnTo>
                      <a:pt x="198" y="63"/>
                    </a:lnTo>
                    <a:lnTo>
                      <a:pt x="210" y="63"/>
                    </a:lnTo>
                    <a:lnTo>
                      <a:pt x="210" y="63"/>
                    </a:lnTo>
                    <a:lnTo>
                      <a:pt x="214" y="66"/>
                    </a:lnTo>
                    <a:lnTo>
                      <a:pt x="220" y="67"/>
                    </a:lnTo>
                    <a:lnTo>
                      <a:pt x="220" y="67"/>
                    </a:lnTo>
                    <a:lnTo>
                      <a:pt x="230" y="66"/>
                    </a:lnTo>
                    <a:lnTo>
                      <a:pt x="233" y="66"/>
                    </a:lnTo>
                    <a:lnTo>
                      <a:pt x="233" y="66"/>
                    </a:lnTo>
                    <a:lnTo>
                      <a:pt x="233" y="67"/>
                    </a:lnTo>
                    <a:lnTo>
                      <a:pt x="233" y="67"/>
                    </a:lnTo>
                    <a:lnTo>
                      <a:pt x="229" y="70"/>
                    </a:lnTo>
                    <a:lnTo>
                      <a:pt x="229" y="71"/>
                    </a:lnTo>
                    <a:lnTo>
                      <a:pt x="230" y="74"/>
                    </a:lnTo>
                    <a:lnTo>
                      <a:pt x="230" y="74"/>
                    </a:lnTo>
                    <a:lnTo>
                      <a:pt x="235" y="79"/>
                    </a:lnTo>
                    <a:lnTo>
                      <a:pt x="235" y="80"/>
                    </a:lnTo>
                    <a:lnTo>
                      <a:pt x="233" y="82"/>
                    </a:lnTo>
                    <a:lnTo>
                      <a:pt x="233" y="82"/>
                    </a:lnTo>
                    <a:lnTo>
                      <a:pt x="223" y="82"/>
                    </a:lnTo>
                    <a:lnTo>
                      <a:pt x="220" y="82"/>
                    </a:lnTo>
                    <a:lnTo>
                      <a:pt x="217" y="80"/>
                    </a:lnTo>
                    <a:lnTo>
                      <a:pt x="217" y="80"/>
                    </a:lnTo>
                    <a:lnTo>
                      <a:pt x="216" y="79"/>
                    </a:lnTo>
                    <a:lnTo>
                      <a:pt x="214" y="76"/>
                    </a:lnTo>
                    <a:lnTo>
                      <a:pt x="213" y="73"/>
                    </a:lnTo>
                    <a:lnTo>
                      <a:pt x="211" y="70"/>
                    </a:lnTo>
                    <a:lnTo>
                      <a:pt x="211" y="70"/>
                    </a:lnTo>
                    <a:lnTo>
                      <a:pt x="203" y="70"/>
                    </a:lnTo>
                    <a:lnTo>
                      <a:pt x="197" y="70"/>
                    </a:lnTo>
                    <a:lnTo>
                      <a:pt x="197" y="70"/>
                    </a:lnTo>
                    <a:lnTo>
                      <a:pt x="203" y="73"/>
                    </a:lnTo>
                    <a:lnTo>
                      <a:pt x="206" y="76"/>
                    </a:lnTo>
                    <a:lnTo>
                      <a:pt x="207" y="77"/>
                    </a:lnTo>
                    <a:lnTo>
                      <a:pt x="207" y="77"/>
                    </a:lnTo>
                    <a:lnTo>
                      <a:pt x="204" y="79"/>
                    </a:lnTo>
                    <a:lnTo>
                      <a:pt x="200" y="80"/>
                    </a:lnTo>
                    <a:lnTo>
                      <a:pt x="191" y="82"/>
                    </a:lnTo>
                    <a:lnTo>
                      <a:pt x="191" y="82"/>
                    </a:lnTo>
                    <a:lnTo>
                      <a:pt x="184" y="82"/>
                    </a:lnTo>
                    <a:lnTo>
                      <a:pt x="181" y="82"/>
                    </a:lnTo>
                    <a:lnTo>
                      <a:pt x="181" y="82"/>
                    </a:lnTo>
                    <a:lnTo>
                      <a:pt x="181" y="83"/>
                    </a:lnTo>
                    <a:lnTo>
                      <a:pt x="181" y="83"/>
                    </a:lnTo>
                    <a:lnTo>
                      <a:pt x="182" y="84"/>
                    </a:lnTo>
                    <a:lnTo>
                      <a:pt x="182" y="87"/>
                    </a:lnTo>
                    <a:lnTo>
                      <a:pt x="182" y="87"/>
                    </a:lnTo>
                    <a:lnTo>
                      <a:pt x="181" y="90"/>
                    </a:lnTo>
                    <a:lnTo>
                      <a:pt x="181" y="92"/>
                    </a:lnTo>
                    <a:lnTo>
                      <a:pt x="182" y="92"/>
                    </a:lnTo>
                    <a:lnTo>
                      <a:pt x="182" y="92"/>
                    </a:lnTo>
                    <a:lnTo>
                      <a:pt x="188" y="89"/>
                    </a:lnTo>
                    <a:lnTo>
                      <a:pt x="191" y="87"/>
                    </a:lnTo>
                    <a:lnTo>
                      <a:pt x="195" y="87"/>
                    </a:lnTo>
                    <a:lnTo>
                      <a:pt x="195" y="87"/>
                    </a:lnTo>
                    <a:lnTo>
                      <a:pt x="207" y="86"/>
                    </a:lnTo>
                    <a:lnTo>
                      <a:pt x="211" y="86"/>
                    </a:lnTo>
                    <a:lnTo>
                      <a:pt x="213" y="87"/>
                    </a:lnTo>
                    <a:lnTo>
                      <a:pt x="213" y="87"/>
                    </a:lnTo>
                    <a:lnTo>
                      <a:pt x="213" y="87"/>
                    </a:lnTo>
                    <a:lnTo>
                      <a:pt x="209" y="93"/>
                    </a:lnTo>
                    <a:lnTo>
                      <a:pt x="207" y="95"/>
                    </a:lnTo>
                    <a:lnTo>
                      <a:pt x="207" y="96"/>
                    </a:lnTo>
                    <a:lnTo>
                      <a:pt x="207" y="96"/>
                    </a:lnTo>
                    <a:lnTo>
                      <a:pt x="217" y="96"/>
                    </a:lnTo>
                    <a:lnTo>
                      <a:pt x="223" y="96"/>
                    </a:lnTo>
                    <a:lnTo>
                      <a:pt x="226" y="97"/>
                    </a:lnTo>
                    <a:lnTo>
                      <a:pt x="226" y="97"/>
                    </a:lnTo>
                    <a:lnTo>
                      <a:pt x="230" y="103"/>
                    </a:lnTo>
                    <a:lnTo>
                      <a:pt x="232" y="106"/>
                    </a:lnTo>
                    <a:lnTo>
                      <a:pt x="232" y="108"/>
                    </a:lnTo>
                    <a:lnTo>
                      <a:pt x="232" y="108"/>
                    </a:lnTo>
                    <a:lnTo>
                      <a:pt x="229" y="111"/>
                    </a:lnTo>
                    <a:lnTo>
                      <a:pt x="227" y="113"/>
                    </a:lnTo>
                    <a:lnTo>
                      <a:pt x="227" y="115"/>
                    </a:lnTo>
                    <a:lnTo>
                      <a:pt x="227" y="115"/>
                    </a:lnTo>
                    <a:lnTo>
                      <a:pt x="230" y="119"/>
                    </a:lnTo>
                    <a:lnTo>
                      <a:pt x="230" y="121"/>
                    </a:lnTo>
                    <a:lnTo>
                      <a:pt x="229" y="122"/>
                    </a:lnTo>
                    <a:lnTo>
                      <a:pt x="229" y="122"/>
                    </a:lnTo>
                    <a:lnTo>
                      <a:pt x="223" y="124"/>
                    </a:lnTo>
                    <a:lnTo>
                      <a:pt x="217" y="124"/>
                    </a:lnTo>
                    <a:lnTo>
                      <a:pt x="217" y="124"/>
                    </a:lnTo>
                    <a:lnTo>
                      <a:pt x="207" y="122"/>
                    </a:lnTo>
                    <a:lnTo>
                      <a:pt x="203" y="122"/>
                    </a:lnTo>
                    <a:lnTo>
                      <a:pt x="203" y="124"/>
                    </a:lnTo>
                    <a:lnTo>
                      <a:pt x="203" y="125"/>
                    </a:lnTo>
                    <a:lnTo>
                      <a:pt x="203" y="125"/>
                    </a:lnTo>
                    <a:lnTo>
                      <a:pt x="209" y="128"/>
                    </a:lnTo>
                    <a:lnTo>
                      <a:pt x="216" y="131"/>
                    </a:lnTo>
                    <a:lnTo>
                      <a:pt x="216" y="131"/>
                    </a:lnTo>
                    <a:lnTo>
                      <a:pt x="219" y="134"/>
                    </a:lnTo>
                    <a:lnTo>
                      <a:pt x="222" y="135"/>
                    </a:lnTo>
                    <a:lnTo>
                      <a:pt x="223" y="138"/>
                    </a:lnTo>
                    <a:lnTo>
                      <a:pt x="222" y="140"/>
                    </a:lnTo>
                    <a:lnTo>
                      <a:pt x="222" y="140"/>
                    </a:lnTo>
                    <a:lnTo>
                      <a:pt x="217" y="145"/>
                    </a:lnTo>
                    <a:lnTo>
                      <a:pt x="216" y="148"/>
                    </a:lnTo>
                    <a:lnTo>
                      <a:pt x="214" y="150"/>
                    </a:lnTo>
                    <a:lnTo>
                      <a:pt x="214" y="150"/>
                    </a:lnTo>
                    <a:lnTo>
                      <a:pt x="206" y="148"/>
                    </a:lnTo>
                    <a:lnTo>
                      <a:pt x="201" y="148"/>
                    </a:lnTo>
                    <a:lnTo>
                      <a:pt x="200" y="150"/>
                    </a:lnTo>
                    <a:lnTo>
                      <a:pt x="200" y="150"/>
                    </a:lnTo>
                    <a:lnTo>
                      <a:pt x="203" y="154"/>
                    </a:lnTo>
                    <a:lnTo>
                      <a:pt x="206" y="157"/>
                    </a:lnTo>
                    <a:lnTo>
                      <a:pt x="209" y="158"/>
                    </a:lnTo>
                    <a:lnTo>
                      <a:pt x="209" y="158"/>
                    </a:lnTo>
                    <a:lnTo>
                      <a:pt x="213" y="157"/>
                    </a:lnTo>
                    <a:lnTo>
                      <a:pt x="214" y="158"/>
                    </a:lnTo>
                    <a:lnTo>
                      <a:pt x="214" y="160"/>
                    </a:lnTo>
                    <a:lnTo>
                      <a:pt x="214" y="160"/>
                    </a:lnTo>
                    <a:lnTo>
                      <a:pt x="213" y="166"/>
                    </a:lnTo>
                    <a:lnTo>
                      <a:pt x="213" y="168"/>
                    </a:lnTo>
                    <a:lnTo>
                      <a:pt x="211" y="168"/>
                    </a:lnTo>
                    <a:lnTo>
                      <a:pt x="211" y="168"/>
                    </a:lnTo>
                    <a:lnTo>
                      <a:pt x="209" y="167"/>
                    </a:lnTo>
                    <a:lnTo>
                      <a:pt x="207" y="167"/>
                    </a:lnTo>
                    <a:lnTo>
                      <a:pt x="206" y="167"/>
                    </a:lnTo>
                    <a:lnTo>
                      <a:pt x="206" y="167"/>
                    </a:lnTo>
                    <a:lnTo>
                      <a:pt x="201" y="173"/>
                    </a:lnTo>
                    <a:lnTo>
                      <a:pt x="200" y="174"/>
                    </a:lnTo>
                    <a:lnTo>
                      <a:pt x="197" y="176"/>
                    </a:lnTo>
                    <a:lnTo>
                      <a:pt x="197" y="176"/>
                    </a:lnTo>
                    <a:lnTo>
                      <a:pt x="185" y="171"/>
                    </a:lnTo>
                    <a:lnTo>
                      <a:pt x="178" y="170"/>
                    </a:lnTo>
                    <a:lnTo>
                      <a:pt x="175" y="168"/>
                    </a:lnTo>
                    <a:lnTo>
                      <a:pt x="175" y="168"/>
                    </a:lnTo>
                    <a:lnTo>
                      <a:pt x="175" y="174"/>
                    </a:lnTo>
                    <a:lnTo>
                      <a:pt x="177" y="182"/>
                    </a:lnTo>
                    <a:lnTo>
                      <a:pt x="177" y="182"/>
                    </a:lnTo>
                    <a:lnTo>
                      <a:pt x="178" y="184"/>
                    </a:lnTo>
                    <a:lnTo>
                      <a:pt x="178" y="189"/>
                    </a:lnTo>
                    <a:lnTo>
                      <a:pt x="180" y="192"/>
                    </a:lnTo>
                    <a:lnTo>
                      <a:pt x="180" y="193"/>
                    </a:lnTo>
                    <a:lnTo>
                      <a:pt x="180" y="193"/>
                    </a:lnTo>
                    <a:lnTo>
                      <a:pt x="181" y="195"/>
                    </a:lnTo>
                    <a:lnTo>
                      <a:pt x="181" y="196"/>
                    </a:lnTo>
                    <a:lnTo>
                      <a:pt x="181" y="197"/>
                    </a:lnTo>
                    <a:lnTo>
                      <a:pt x="181" y="197"/>
                    </a:lnTo>
                    <a:lnTo>
                      <a:pt x="180" y="200"/>
                    </a:lnTo>
                    <a:lnTo>
                      <a:pt x="180" y="203"/>
                    </a:lnTo>
                    <a:lnTo>
                      <a:pt x="180" y="203"/>
                    </a:lnTo>
                    <a:lnTo>
                      <a:pt x="178" y="210"/>
                    </a:lnTo>
                    <a:lnTo>
                      <a:pt x="175" y="215"/>
                    </a:lnTo>
                    <a:lnTo>
                      <a:pt x="172" y="216"/>
                    </a:lnTo>
                    <a:lnTo>
                      <a:pt x="172" y="216"/>
                    </a:lnTo>
                    <a:lnTo>
                      <a:pt x="161" y="219"/>
                    </a:lnTo>
                    <a:lnTo>
                      <a:pt x="161" y="219"/>
                    </a:lnTo>
                    <a:lnTo>
                      <a:pt x="149" y="219"/>
                    </a:lnTo>
                    <a:lnTo>
                      <a:pt x="140" y="219"/>
                    </a:lnTo>
                    <a:lnTo>
                      <a:pt x="136" y="218"/>
                    </a:lnTo>
                    <a:lnTo>
                      <a:pt x="136" y="218"/>
                    </a:lnTo>
                    <a:lnTo>
                      <a:pt x="127" y="209"/>
                    </a:lnTo>
                    <a:lnTo>
                      <a:pt x="123" y="206"/>
                    </a:lnTo>
                    <a:lnTo>
                      <a:pt x="122" y="205"/>
                    </a:lnTo>
                    <a:lnTo>
                      <a:pt x="122" y="205"/>
                    </a:lnTo>
                    <a:lnTo>
                      <a:pt x="122" y="205"/>
                    </a:lnTo>
                    <a:lnTo>
                      <a:pt x="119" y="208"/>
                    </a:lnTo>
                    <a:lnTo>
                      <a:pt x="119" y="208"/>
                    </a:lnTo>
                    <a:lnTo>
                      <a:pt x="122" y="209"/>
                    </a:lnTo>
                    <a:lnTo>
                      <a:pt x="122" y="209"/>
                    </a:lnTo>
                    <a:lnTo>
                      <a:pt x="123" y="212"/>
                    </a:lnTo>
                    <a:lnTo>
                      <a:pt x="126" y="215"/>
                    </a:lnTo>
                    <a:lnTo>
                      <a:pt x="126" y="218"/>
                    </a:lnTo>
                    <a:lnTo>
                      <a:pt x="126" y="218"/>
                    </a:lnTo>
                    <a:lnTo>
                      <a:pt x="123" y="221"/>
                    </a:lnTo>
                    <a:lnTo>
                      <a:pt x="119" y="222"/>
                    </a:lnTo>
                    <a:lnTo>
                      <a:pt x="119" y="222"/>
                    </a:lnTo>
                    <a:lnTo>
                      <a:pt x="117" y="224"/>
                    </a:lnTo>
                    <a:lnTo>
                      <a:pt x="117" y="228"/>
                    </a:lnTo>
                    <a:lnTo>
                      <a:pt x="117" y="232"/>
                    </a:lnTo>
                    <a:lnTo>
                      <a:pt x="117" y="234"/>
                    </a:lnTo>
                    <a:lnTo>
                      <a:pt x="119" y="234"/>
                    </a:lnTo>
                    <a:lnTo>
                      <a:pt x="119" y="234"/>
                    </a:lnTo>
                    <a:lnTo>
                      <a:pt x="126" y="226"/>
                    </a:lnTo>
                    <a:lnTo>
                      <a:pt x="130" y="222"/>
                    </a:lnTo>
                    <a:lnTo>
                      <a:pt x="133" y="221"/>
                    </a:lnTo>
                    <a:lnTo>
                      <a:pt x="133" y="221"/>
                    </a:lnTo>
                    <a:lnTo>
                      <a:pt x="139" y="222"/>
                    </a:lnTo>
                    <a:lnTo>
                      <a:pt x="140" y="222"/>
                    </a:lnTo>
                    <a:lnTo>
                      <a:pt x="140" y="225"/>
                    </a:lnTo>
                    <a:lnTo>
                      <a:pt x="140" y="225"/>
                    </a:lnTo>
                    <a:lnTo>
                      <a:pt x="140" y="228"/>
                    </a:lnTo>
                    <a:lnTo>
                      <a:pt x="139" y="231"/>
                    </a:lnTo>
                    <a:lnTo>
                      <a:pt x="139" y="232"/>
                    </a:lnTo>
                    <a:lnTo>
                      <a:pt x="142" y="231"/>
                    </a:lnTo>
                    <a:lnTo>
                      <a:pt x="142" y="231"/>
                    </a:lnTo>
                    <a:lnTo>
                      <a:pt x="149" y="228"/>
                    </a:lnTo>
                    <a:lnTo>
                      <a:pt x="155" y="226"/>
                    </a:lnTo>
                    <a:lnTo>
                      <a:pt x="155" y="226"/>
                    </a:lnTo>
                    <a:lnTo>
                      <a:pt x="158" y="226"/>
                    </a:lnTo>
                    <a:lnTo>
                      <a:pt x="159" y="229"/>
                    </a:lnTo>
                    <a:lnTo>
                      <a:pt x="161" y="232"/>
                    </a:lnTo>
                    <a:lnTo>
                      <a:pt x="161" y="234"/>
                    </a:lnTo>
                    <a:lnTo>
                      <a:pt x="161" y="234"/>
                    </a:lnTo>
                    <a:lnTo>
                      <a:pt x="156" y="237"/>
                    </a:lnTo>
                    <a:lnTo>
                      <a:pt x="156" y="239"/>
                    </a:lnTo>
                    <a:lnTo>
                      <a:pt x="158" y="241"/>
                    </a:lnTo>
                    <a:lnTo>
                      <a:pt x="158" y="241"/>
                    </a:lnTo>
                    <a:lnTo>
                      <a:pt x="162" y="244"/>
                    </a:lnTo>
                    <a:lnTo>
                      <a:pt x="164" y="245"/>
                    </a:lnTo>
                    <a:lnTo>
                      <a:pt x="166" y="245"/>
                    </a:lnTo>
                    <a:lnTo>
                      <a:pt x="166" y="245"/>
                    </a:lnTo>
                    <a:lnTo>
                      <a:pt x="172" y="241"/>
                    </a:lnTo>
                    <a:lnTo>
                      <a:pt x="177" y="239"/>
                    </a:lnTo>
                    <a:lnTo>
                      <a:pt x="180" y="241"/>
                    </a:lnTo>
                    <a:lnTo>
                      <a:pt x="180" y="241"/>
                    </a:lnTo>
                    <a:lnTo>
                      <a:pt x="181" y="245"/>
                    </a:lnTo>
                    <a:lnTo>
                      <a:pt x="181" y="250"/>
                    </a:lnTo>
                    <a:lnTo>
                      <a:pt x="181" y="250"/>
                    </a:lnTo>
                    <a:lnTo>
                      <a:pt x="182" y="252"/>
                    </a:lnTo>
                    <a:lnTo>
                      <a:pt x="184" y="254"/>
                    </a:lnTo>
                    <a:lnTo>
                      <a:pt x="185" y="257"/>
                    </a:lnTo>
                    <a:lnTo>
                      <a:pt x="182" y="258"/>
                    </a:lnTo>
                    <a:lnTo>
                      <a:pt x="182" y="258"/>
                    </a:lnTo>
                    <a:lnTo>
                      <a:pt x="180" y="260"/>
                    </a:lnTo>
                    <a:lnTo>
                      <a:pt x="177" y="264"/>
                    </a:lnTo>
                    <a:lnTo>
                      <a:pt x="175" y="270"/>
                    </a:lnTo>
                    <a:lnTo>
                      <a:pt x="175" y="270"/>
                    </a:lnTo>
                    <a:lnTo>
                      <a:pt x="174" y="276"/>
                    </a:lnTo>
                    <a:lnTo>
                      <a:pt x="174" y="279"/>
                    </a:lnTo>
                    <a:lnTo>
                      <a:pt x="171" y="281"/>
                    </a:lnTo>
                    <a:lnTo>
                      <a:pt x="171" y="281"/>
                    </a:lnTo>
                    <a:lnTo>
                      <a:pt x="161" y="290"/>
                    </a:lnTo>
                    <a:lnTo>
                      <a:pt x="153" y="294"/>
                    </a:lnTo>
                    <a:lnTo>
                      <a:pt x="149" y="296"/>
                    </a:lnTo>
                    <a:lnTo>
                      <a:pt x="149" y="296"/>
                    </a:lnTo>
                    <a:lnTo>
                      <a:pt x="142" y="293"/>
                    </a:lnTo>
                    <a:lnTo>
                      <a:pt x="133" y="290"/>
                    </a:lnTo>
                    <a:lnTo>
                      <a:pt x="133" y="290"/>
                    </a:lnTo>
                    <a:lnTo>
                      <a:pt x="132" y="287"/>
                    </a:lnTo>
                    <a:lnTo>
                      <a:pt x="133" y="283"/>
                    </a:lnTo>
                    <a:lnTo>
                      <a:pt x="133" y="279"/>
                    </a:lnTo>
                    <a:lnTo>
                      <a:pt x="133" y="276"/>
                    </a:lnTo>
                    <a:lnTo>
                      <a:pt x="133" y="276"/>
                    </a:lnTo>
                    <a:lnTo>
                      <a:pt x="130" y="271"/>
                    </a:lnTo>
                    <a:lnTo>
                      <a:pt x="126" y="270"/>
                    </a:lnTo>
                    <a:lnTo>
                      <a:pt x="126" y="270"/>
                    </a:lnTo>
                    <a:lnTo>
                      <a:pt x="122" y="271"/>
                    </a:lnTo>
                    <a:lnTo>
                      <a:pt x="119" y="271"/>
                    </a:lnTo>
                    <a:lnTo>
                      <a:pt x="117" y="268"/>
                    </a:lnTo>
                    <a:lnTo>
                      <a:pt x="117" y="268"/>
                    </a:lnTo>
                    <a:lnTo>
                      <a:pt x="116" y="266"/>
                    </a:lnTo>
                    <a:lnTo>
                      <a:pt x="114" y="261"/>
                    </a:lnTo>
                    <a:lnTo>
                      <a:pt x="113" y="258"/>
                    </a:lnTo>
                    <a:lnTo>
                      <a:pt x="110" y="258"/>
                    </a:lnTo>
                    <a:lnTo>
                      <a:pt x="110" y="258"/>
                    </a:lnTo>
                    <a:lnTo>
                      <a:pt x="110" y="260"/>
                    </a:lnTo>
                    <a:lnTo>
                      <a:pt x="110" y="261"/>
                    </a:lnTo>
                    <a:lnTo>
                      <a:pt x="111" y="268"/>
                    </a:lnTo>
                    <a:lnTo>
                      <a:pt x="114" y="274"/>
                    </a:lnTo>
                    <a:lnTo>
                      <a:pt x="114" y="277"/>
                    </a:lnTo>
                    <a:lnTo>
                      <a:pt x="114" y="277"/>
                    </a:lnTo>
                    <a:lnTo>
                      <a:pt x="114" y="277"/>
                    </a:lnTo>
                    <a:lnTo>
                      <a:pt x="109" y="279"/>
                    </a:lnTo>
                    <a:lnTo>
                      <a:pt x="106" y="279"/>
                    </a:lnTo>
                    <a:lnTo>
                      <a:pt x="103" y="277"/>
                    </a:lnTo>
                    <a:lnTo>
                      <a:pt x="103" y="277"/>
                    </a:lnTo>
                    <a:lnTo>
                      <a:pt x="101" y="274"/>
                    </a:lnTo>
                    <a:lnTo>
                      <a:pt x="101" y="268"/>
                    </a:lnTo>
                    <a:lnTo>
                      <a:pt x="100" y="264"/>
                    </a:lnTo>
                    <a:lnTo>
                      <a:pt x="100" y="264"/>
                    </a:lnTo>
                    <a:lnTo>
                      <a:pt x="98" y="264"/>
                    </a:lnTo>
                    <a:lnTo>
                      <a:pt x="98" y="264"/>
                    </a:lnTo>
                    <a:lnTo>
                      <a:pt x="97" y="266"/>
                    </a:lnTo>
                    <a:lnTo>
                      <a:pt x="97" y="268"/>
                    </a:lnTo>
                    <a:lnTo>
                      <a:pt x="96" y="273"/>
                    </a:lnTo>
                    <a:lnTo>
                      <a:pt x="94" y="274"/>
                    </a:lnTo>
                    <a:lnTo>
                      <a:pt x="94" y="274"/>
                    </a:lnTo>
                    <a:lnTo>
                      <a:pt x="88" y="274"/>
                    </a:lnTo>
                    <a:lnTo>
                      <a:pt x="87" y="273"/>
                    </a:lnTo>
                    <a:lnTo>
                      <a:pt x="85" y="271"/>
                    </a:lnTo>
                    <a:lnTo>
                      <a:pt x="85" y="271"/>
                    </a:lnTo>
                    <a:lnTo>
                      <a:pt x="84" y="264"/>
                    </a:lnTo>
                    <a:lnTo>
                      <a:pt x="81" y="261"/>
                    </a:lnTo>
                    <a:lnTo>
                      <a:pt x="81" y="261"/>
                    </a:lnTo>
                    <a:lnTo>
                      <a:pt x="80" y="261"/>
                    </a:lnTo>
                    <a:lnTo>
                      <a:pt x="80" y="261"/>
                    </a:lnTo>
                    <a:lnTo>
                      <a:pt x="80" y="264"/>
                    </a:lnTo>
                    <a:lnTo>
                      <a:pt x="78" y="268"/>
                    </a:lnTo>
                    <a:lnTo>
                      <a:pt x="78" y="271"/>
                    </a:lnTo>
                    <a:lnTo>
                      <a:pt x="77" y="273"/>
                    </a:lnTo>
                    <a:lnTo>
                      <a:pt x="77" y="273"/>
                    </a:lnTo>
                    <a:lnTo>
                      <a:pt x="75" y="271"/>
                    </a:lnTo>
                    <a:lnTo>
                      <a:pt x="72" y="270"/>
                    </a:lnTo>
                    <a:lnTo>
                      <a:pt x="71" y="268"/>
                    </a:lnTo>
                    <a:lnTo>
                      <a:pt x="68" y="268"/>
                    </a:lnTo>
                    <a:lnTo>
                      <a:pt x="68" y="268"/>
                    </a:lnTo>
                    <a:lnTo>
                      <a:pt x="67" y="271"/>
                    </a:lnTo>
                    <a:lnTo>
                      <a:pt x="67" y="274"/>
                    </a:lnTo>
                    <a:lnTo>
                      <a:pt x="67" y="277"/>
                    </a:lnTo>
                    <a:lnTo>
                      <a:pt x="68" y="279"/>
                    </a:lnTo>
                    <a:lnTo>
                      <a:pt x="68" y="279"/>
                    </a:lnTo>
                    <a:lnTo>
                      <a:pt x="72" y="280"/>
                    </a:lnTo>
                    <a:lnTo>
                      <a:pt x="74" y="281"/>
                    </a:lnTo>
                    <a:lnTo>
                      <a:pt x="74" y="284"/>
                    </a:lnTo>
                    <a:lnTo>
                      <a:pt x="74" y="284"/>
                    </a:lnTo>
                    <a:lnTo>
                      <a:pt x="69" y="289"/>
                    </a:lnTo>
                    <a:lnTo>
                      <a:pt x="68" y="289"/>
                    </a:lnTo>
                    <a:lnTo>
                      <a:pt x="64" y="289"/>
                    </a:lnTo>
                    <a:lnTo>
                      <a:pt x="64" y="289"/>
                    </a:lnTo>
                    <a:lnTo>
                      <a:pt x="59" y="286"/>
                    </a:lnTo>
                    <a:lnTo>
                      <a:pt x="54" y="283"/>
                    </a:lnTo>
                    <a:lnTo>
                      <a:pt x="54" y="283"/>
                    </a:lnTo>
                    <a:lnTo>
                      <a:pt x="52" y="281"/>
                    </a:lnTo>
                    <a:lnTo>
                      <a:pt x="51" y="279"/>
                    </a:lnTo>
                    <a:lnTo>
                      <a:pt x="51" y="273"/>
                    </a:lnTo>
                    <a:lnTo>
                      <a:pt x="51" y="273"/>
                    </a:lnTo>
                    <a:lnTo>
                      <a:pt x="51" y="266"/>
                    </a:lnTo>
                    <a:lnTo>
                      <a:pt x="49" y="263"/>
                    </a:lnTo>
                    <a:lnTo>
                      <a:pt x="49" y="261"/>
                    </a:lnTo>
                    <a:lnTo>
                      <a:pt x="49" y="261"/>
                    </a:lnTo>
                    <a:lnTo>
                      <a:pt x="46" y="270"/>
                    </a:lnTo>
                    <a:lnTo>
                      <a:pt x="45" y="276"/>
                    </a:lnTo>
                    <a:lnTo>
                      <a:pt x="43" y="279"/>
                    </a:lnTo>
                    <a:lnTo>
                      <a:pt x="43" y="279"/>
                    </a:lnTo>
                    <a:lnTo>
                      <a:pt x="39" y="276"/>
                    </a:lnTo>
                    <a:lnTo>
                      <a:pt x="38" y="274"/>
                    </a:lnTo>
                    <a:lnTo>
                      <a:pt x="36" y="271"/>
                    </a:lnTo>
                    <a:lnTo>
                      <a:pt x="36" y="271"/>
                    </a:lnTo>
                    <a:lnTo>
                      <a:pt x="38" y="263"/>
                    </a:lnTo>
                    <a:lnTo>
                      <a:pt x="38" y="260"/>
                    </a:lnTo>
                    <a:lnTo>
                      <a:pt x="36" y="258"/>
                    </a:lnTo>
                    <a:lnTo>
                      <a:pt x="36" y="258"/>
                    </a:lnTo>
                    <a:lnTo>
                      <a:pt x="35" y="263"/>
                    </a:lnTo>
                    <a:lnTo>
                      <a:pt x="33" y="268"/>
                    </a:lnTo>
                    <a:lnTo>
                      <a:pt x="32" y="276"/>
                    </a:lnTo>
                    <a:lnTo>
                      <a:pt x="30" y="277"/>
                    </a:lnTo>
                    <a:lnTo>
                      <a:pt x="29" y="279"/>
                    </a:lnTo>
                    <a:lnTo>
                      <a:pt x="29" y="279"/>
                    </a:lnTo>
                    <a:lnTo>
                      <a:pt x="26" y="279"/>
                    </a:lnTo>
                    <a:lnTo>
                      <a:pt x="23" y="276"/>
                    </a:lnTo>
                    <a:lnTo>
                      <a:pt x="20" y="274"/>
                    </a:lnTo>
                    <a:lnTo>
                      <a:pt x="20" y="270"/>
                    </a:lnTo>
                    <a:lnTo>
                      <a:pt x="20" y="270"/>
                    </a:lnTo>
                    <a:lnTo>
                      <a:pt x="20" y="261"/>
                    </a:lnTo>
                    <a:lnTo>
                      <a:pt x="19" y="257"/>
                    </a:lnTo>
                    <a:lnTo>
                      <a:pt x="17" y="257"/>
                    </a:lnTo>
                    <a:lnTo>
                      <a:pt x="16" y="257"/>
                    </a:lnTo>
                    <a:lnTo>
                      <a:pt x="16" y="257"/>
                    </a:lnTo>
                    <a:lnTo>
                      <a:pt x="13" y="258"/>
                    </a:lnTo>
                    <a:lnTo>
                      <a:pt x="13" y="261"/>
                    </a:lnTo>
                    <a:lnTo>
                      <a:pt x="13" y="263"/>
                    </a:lnTo>
                    <a:lnTo>
                      <a:pt x="13" y="266"/>
                    </a:lnTo>
                    <a:lnTo>
                      <a:pt x="13" y="266"/>
                    </a:lnTo>
                    <a:lnTo>
                      <a:pt x="12" y="267"/>
                    </a:lnTo>
                    <a:lnTo>
                      <a:pt x="12" y="271"/>
                    </a:lnTo>
                    <a:lnTo>
                      <a:pt x="10" y="276"/>
                    </a:lnTo>
                    <a:lnTo>
                      <a:pt x="10" y="276"/>
                    </a:lnTo>
                    <a:lnTo>
                      <a:pt x="9" y="276"/>
                    </a:lnTo>
                    <a:lnTo>
                      <a:pt x="9" y="276"/>
                    </a:lnTo>
                    <a:lnTo>
                      <a:pt x="7" y="276"/>
                    </a:lnTo>
                    <a:lnTo>
                      <a:pt x="6" y="274"/>
                    </a:lnTo>
                    <a:lnTo>
                      <a:pt x="3" y="270"/>
                    </a:lnTo>
                    <a:lnTo>
                      <a:pt x="3" y="270"/>
                    </a:lnTo>
                    <a:lnTo>
                      <a:pt x="1" y="267"/>
                    </a:lnTo>
                    <a:lnTo>
                      <a:pt x="1" y="264"/>
                    </a:lnTo>
                    <a:lnTo>
                      <a:pt x="1" y="261"/>
                    </a:lnTo>
                    <a:lnTo>
                      <a:pt x="1" y="258"/>
                    </a:lnTo>
                    <a:lnTo>
                      <a:pt x="1" y="258"/>
                    </a:lnTo>
                    <a:lnTo>
                      <a:pt x="0" y="251"/>
                    </a:lnTo>
                    <a:lnTo>
                      <a:pt x="1" y="248"/>
                    </a:lnTo>
                    <a:lnTo>
                      <a:pt x="1" y="247"/>
                    </a:lnTo>
                    <a:lnTo>
                      <a:pt x="1" y="247"/>
                    </a:lnTo>
                    <a:lnTo>
                      <a:pt x="10" y="239"/>
                    </a:lnTo>
                    <a:lnTo>
                      <a:pt x="16" y="235"/>
                    </a:lnTo>
                    <a:lnTo>
                      <a:pt x="20" y="232"/>
                    </a:lnTo>
                    <a:lnTo>
                      <a:pt x="20" y="232"/>
                    </a:lnTo>
                    <a:lnTo>
                      <a:pt x="23" y="232"/>
                    </a:lnTo>
                    <a:lnTo>
                      <a:pt x="25" y="234"/>
                    </a:lnTo>
                    <a:lnTo>
                      <a:pt x="27" y="234"/>
                    </a:lnTo>
                    <a:lnTo>
                      <a:pt x="29" y="232"/>
                    </a:lnTo>
                    <a:lnTo>
                      <a:pt x="29" y="232"/>
                    </a:lnTo>
                    <a:lnTo>
                      <a:pt x="35" y="228"/>
                    </a:lnTo>
                    <a:lnTo>
                      <a:pt x="36" y="225"/>
                    </a:lnTo>
                    <a:lnTo>
                      <a:pt x="35" y="222"/>
                    </a:lnTo>
                    <a:lnTo>
                      <a:pt x="35" y="222"/>
                    </a:lnTo>
                    <a:lnTo>
                      <a:pt x="35" y="219"/>
                    </a:lnTo>
                    <a:lnTo>
                      <a:pt x="36" y="218"/>
                    </a:lnTo>
                    <a:lnTo>
                      <a:pt x="38" y="216"/>
                    </a:lnTo>
                    <a:lnTo>
                      <a:pt x="38" y="215"/>
                    </a:lnTo>
                    <a:lnTo>
                      <a:pt x="38" y="215"/>
                    </a:lnTo>
                    <a:lnTo>
                      <a:pt x="35" y="215"/>
                    </a:lnTo>
                    <a:lnTo>
                      <a:pt x="33" y="216"/>
                    </a:lnTo>
                    <a:lnTo>
                      <a:pt x="30" y="218"/>
                    </a:lnTo>
                    <a:lnTo>
                      <a:pt x="29" y="216"/>
                    </a:lnTo>
                    <a:lnTo>
                      <a:pt x="29" y="216"/>
                    </a:lnTo>
                    <a:lnTo>
                      <a:pt x="27" y="213"/>
                    </a:lnTo>
                    <a:lnTo>
                      <a:pt x="27" y="210"/>
                    </a:lnTo>
                    <a:lnTo>
                      <a:pt x="27" y="208"/>
                    </a:lnTo>
                    <a:lnTo>
                      <a:pt x="26" y="205"/>
                    </a:lnTo>
                    <a:lnTo>
                      <a:pt x="26" y="205"/>
                    </a:lnTo>
                    <a:lnTo>
                      <a:pt x="20" y="197"/>
                    </a:lnTo>
                    <a:lnTo>
                      <a:pt x="17" y="195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84"/>
                    </a:lnTo>
                    <a:lnTo>
                      <a:pt x="17" y="182"/>
                    </a:lnTo>
                    <a:lnTo>
                      <a:pt x="19" y="180"/>
                    </a:lnTo>
                    <a:lnTo>
                      <a:pt x="19" y="180"/>
                    </a:lnTo>
                    <a:lnTo>
                      <a:pt x="23" y="179"/>
                    </a:lnTo>
                    <a:lnTo>
                      <a:pt x="25" y="177"/>
                    </a:lnTo>
                    <a:lnTo>
                      <a:pt x="27" y="176"/>
                    </a:lnTo>
                    <a:lnTo>
                      <a:pt x="27" y="176"/>
                    </a:lnTo>
                    <a:lnTo>
                      <a:pt x="38" y="176"/>
                    </a:lnTo>
                    <a:lnTo>
                      <a:pt x="43" y="176"/>
                    </a:lnTo>
                    <a:lnTo>
                      <a:pt x="46" y="179"/>
                    </a:lnTo>
                    <a:lnTo>
                      <a:pt x="46" y="179"/>
                    </a:lnTo>
                    <a:lnTo>
                      <a:pt x="52" y="190"/>
                    </a:lnTo>
                    <a:lnTo>
                      <a:pt x="55" y="196"/>
                    </a:lnTo>
                    <a:lnTo>
                      <a:pt x="56" y="200"/>
                    </a:lnTo>
                    <a:lnTo>
                      <a:pt x="56" y="200"/>
                    </a:lnTo>
                    <a:lnTo>
                      <a:pt x="56" y="203"/>
                    </a:lnTo>
                    <a:lnTo>
                      <a:pt x="62" y="208"/>
                    </a:lnTo>
                    <a:lnTo>
                      <a:pt x="62" y="208"/>
                    </a:lnTo>
                    <a:lnTo>
                      <a:pt x="74" y="213"/>
                    </a:lnTo>
                    <a:lnTo>
                      <a:pt x="78" y="215"/>
                    </a:lnTo>
                    <a:lnTo>
                      <a:pt x="80" y="215"/>
                    </a:lnTo>
                    <a:lnTo>
                      <a:pt x="80" y="215"/>
                    </a:lnTo>
                    <a:lnTo>
                      <a:pt x="81" y="212"/>
                    </a:lnTo>
                    <a:lnTo>
                      <a:pt x="82" y="210"/>
                    </a:lnTo>
                    <a:lnTo>
                      <a:pt x="85" y="210"/>
                    </a:lnTo>
                    <a:lnTo>
                      <a:pt x="85" y="210"/>
                    </a:lnTo>
                    <a:lnTo>
                      <a:pt x="90" y="212"/>
                    </a:lnTo>
                    <a:lnTo>
                      <a:pt x="91" y="212"/>
                    </a:lnTo>
                    <a:lnTo>
                      <a:pt x="93" y="210"/>
                    </a:lnTo>
                    <a:lnTo>
                      <a:pt x="93" y="210"/>
                    </a:lnTo>
                    <a:lnTo>
                      <a:pt x="96" y="202"/>
                    </a:lnTo>
                    <a:lnTo>
                      <a:pt x="97" y="196"/>
                    </a:lnTo>
                    <a:lnTo>
                      <a:pt x="100" y="192"/>
                    </a:lnTo>
                    <a:lnTo>
                      <a:pt x="100" y="192"/>
                    </a:lnTo>
                    <a:lnTo>
                      <a:pt x="103" y="186"/>
                    </a:lnTo>
                    <a:lnTo>
                      <a:pt x="106" y="176"/>
                    </a:lnTo>
                    <a:lnTo>
                      <a:pt x="106" y="168"/>
                    </a:lnTo>
                    <a:lnTo>
                      <a:pt x="106" y="166"/>
                    </a:lnTo>
                    <a:lnTo>
                      <a:pt x="106" y="166"/>
                    </a:lnTo>
                    <a:lnTo>
                      <a:pt x="104" y="167"/>
                    </a:lnTo>
                    <a:lnTo>
                      <a:pt x="103" y="170"/>
                    </a:lnTo>
                    <a:lnTo>
                      <a:pt x="103" y="174"/>
                    </a:lnTo>
                    <a:lnTo>
                      <a:pt x="101" y="177"/>
                    </a:lnTo>
                    <a:lnTo>
                      <a:pt x="101" y="177"/>
                    </a:lnTo>
                    <a:lnTo>
                      <a:pt x="94" y="190"/>
                    </a:lnTo>
                    <a:lnTo>
                      <a:pt x="90" y="197"/>
                    </a:lnTo>
                    <a:lnTo>
                      <a:pt x="88" y="200"/>
                    </a:lnTo>
                    <a:lnTo>
                      <a:pt x="85" y="202"/>
                    </a:lnTo>
                    <a:lnTo>
                      <a:pt x="85" y="202"/>
                    </a:lnTo>
                    <a:lnTo>
                      <a:pt x="80" y="200"/>
                    </a:lnTo>
                    <a:lnTo>
                      <a:pt x="77" y="199"/>
                    </a:lnTo>
                    <a:lnTo>
                      <a:pt x="74" y="197"/>
                    </a:lnTo>
                    <a:lnTo>
                      <a:pt x="74" y="197"/>
                    </a:lnTo>
                    <a:lnTo>
                      <a:pt x="71" y="193"/>
                    </a:lnTo>
                    <a:lnTo>
                      <a:pt x="69" y="192"/>
                    </a:lnTo>
                    <a:lnTo>
                      <a:pt x="69" y="192"/>
                    </a:lnTo>
                    <a:lnTo>
                      <a:pt x="67" y="190"/>
                    </a:lnTo>
                    <a:lnTo>
                      <a:pt x="65" y="187"/>
                    </a:lnTo>
                    <a:lnTo>
                      <a:pt x="64" y="182"/>
                    </a:lnTo>
                    <a:lnTo>
                      <a:pt x="64" y="182"/>
                    </a:lnTo>
                    <a:lnTo>
                      <a:pt x="62" y="177"/>
                    </a:lnTo>
                    <a:lnTo>
                      <a:pt x="61" y="173"/>
                    </a:lnTo>
                    <a:lnTo>
                      <a:pt x="58" y="170"/>
                    </a:lnTo>
                    <a:lnTo>
                      <a:pt x="58" y="170"/>
                    </a:lnTo>
                    <a:lnTo>
                      <a:pt x="58" y="168"/>
                    </a:lnTo>
                    <a:lnTo>
                      <a:pt x="59" y="167"/>
                    </a:lnTo>
                    <a:lnTo>
                      <a:pt x="64" y="167"/>
                    </a:lnTo>
                    <a:lnTo>
                      <a:pt x="65" y="166"/>
                    </a:lnTo>
                    <a:lnTo>
                      <a:pt x="65" y="166"/>
                    </a:lnTo>
                    <a:lnTo>
                      <a:pt x="68" y="160"/>
                    </a:lnTo>
                    <a:lnTo>
                      <a:pt x="71" y="157"/>
                    </a:lnTo>
                    <a:lnTo>
                      <a:pt x="71" y="157"/>
                    </a:lnTo>
                    <a:lnTo>
                      <a:pt x="74" y="157"/>
                    </a:lnTo>
                    <a:lnTo>
                      <a:pt x="77" y="157"/>
                    </a:lnTo>
                    <a:lnTo>
                      <a:pt x="80" y="157"/>
                    </a:lnTo>
                    <a:lnTo>
                      <a:pt x="80" y="155"/>
                    </a:lnTo>
                    <a:lnTo>
                      <a:pt x="80" y="155"/>
                    </a:lnTo>
                    <a:lnTo>
                      <a:pt x="78" y="153"/>
                    </a:lnTo>
                    <a:lnTo>
                      <a:pt x="77" y="153"/>
                    </a:lnTo>
                    <a:lnTo>
                      <a:pt x="72" y="150"/>
                    </a:lnTo>
                    <a:lnTo>
                      <a:pt x="72" y="150"/>
                    </a:lnTo>
                    <a:lnTo>
                      <a:pt x="72" y="148"/>
                    </a:lnTo>
                    <a:lnTo>
                      <a:pt x="72" y="145"/>
                    </a:lnTo>
                    <a:lnTo>
                      <a:pt x="72" y="141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69" y="141"/>
                    </a:lnTo>
                    <a:lnTo>
                      <a:pt x="68" y="144"/>
                    </a:lnTo>
                    <a:lnTo>
                      <a:pt x="64" y="151"/>
                    </a:lnTo>
                    <a:lnTo>
                      <a:pt x="64" y="151"/>
                    </a:lnTo>
                    <a:lnTo>
                      <a:pt x="61" y="155"/>
                    </a:lnTo>
                    <a:lnTo>
                      <a:pt x="58" y="160"/>
                    </a:lnTo>
                    <a:lnTo>
                      <a:pt x="54" y="161"/>
                    </a:lnTo>
                    <a:lnTo>
                      <a:pt x="51" y="161"/>
                    </a:lnTo>
                    <a:lnTo>
                      <a:pt x="51" y="161"/>
                    </a:lnTo>
                    <a:lnTo>
                      <a:pt x="49" y="161"/>
                    </a:lnTo>
                    <a:lnTo>
                      <a:pt x="49" y="158"/>
                    </a:lnTo>
                    <a:lnTo>
                      <a:pt x="51" y="154"/>
                    </a:lnTo>
                    <a:lnTo>
                      <a:pt x="51" y="154"/>
                    </a:lnTo>
                    <a:lnTo>
                      <a:pt x="52" y="151"/>
                    </a:lnTo>
                    <a:lnTo>
                      <a:pt x="54" y="147"/>
                    </a:lnTo>
                    <a:lnTo>
                      <a:pt x="54" y="144"/>
                    </a:lnTo>
                    <a:lnTo>
                      <a:pt x="52" y="144"/>
                    </a:lnTo>
                    <a:lnTo>
                      <a:pt x="52" y="144"/>
                    </a:lnTo>
                    <a:lnTo>
                      <a:pt x="52" y="144"/>
                    </a:lnTo>
                    <a:lnTo>
                      <a:pt x="48" y="151"/>
                    </a:lnTo>
                    <a:lnTo>
                      <a:pt x="45" y="154"/>
                    </a:lnTo>
                    <a:lnTo>
                      <a:pt x="42" y="155"/>
                    </a:lnTo>
                    <a:lnTo>
                      <a:pt x="42" y="155"/>
                    </a:lnTo>
                    <a:lnTo>
                      <a:pt x="33" y="157"/>
                    </a:lnTo>
                    <a:lnTo>
                      <a:pt x="29" y="157"/>
                    </a:lnTo>
                    <a:lnTo>
                      <a:pt x="29" y="155"/>
                    </a:lnTo>
                    <a:lnTo>
                      <a:pt x="29" y="155"/>
                    </a:lnTo>
                    <a:lnTo>
                      <a:pt x="29" y="155"/>
                    </a:lnTo>
                    <a:lnTo>
                      <a:pt x="30" y="153"/>
                    </a:lnTo>
                    <a:lnTo>
                      <a:pt x="32" y="153"/>
                    </a:lnTo>
                    <a:lnTo>
                      <a:pt x="33" y="151"/>
                    </a:lnTo>
                    <a:lnTo>
                      <a:pt x="33" y="148"/>
                    </a:lnTo>
                    <a:lnTo>
                      <a:pt x="33" y="148"/>
                    </a:lnTo>
                    <a:lnTo>
                      <a:pt x="32" y="142"/>
                    </a:lnTo>
                    <a:lnTo>
                      <a:pt x="30" y="138"/>
                    </a:lnTo>
                    <a:lnTo>
                      <a:pt x="30" y="138"/>
                    </a:lnTo>
                    <a:lnTo>
                      <a:pt x="29" y="135"/>
                    </a:lnTo>
                    <a:lnTo>
                      <a:pt x="29" y="132"/>
                    </a:lnTo>
                    <a:lnTo>
                      <a:pt x="30" y="129"/>
                    </a:lnTo>
                    <a:lnTo>
                      <a:pt x="33" y="128"/>
                    </a:lnTo>
                    <a:lnTo>
                      <a:pt x="33" y="128"/>
                    </a:lnTo>
                    <a:lnTo>
                      <a:pt x="36" y="125"/>
                    </a:lnTo>
                    <a:lnTo>
                      <a:pt x="36" y="121"/>
                    </a:lnTo>
                    <a:lnTo>
                      <a:pt x="38" y="115"/>
                    </a:lnTo>
                    <a:lnTo>
                      <a:pt x="38" y="115"/>
                    </a:lnTo>
                    <a:lnTo>
                      <a:pt x="39" y="108"/>
                    </a:lnTo>
                    <a:lnTo>
                      <a:pt x="40" y="105"/>
                    </a:lnTo>
                    <a:lnTo>
                      <a:pt x="43" y="103"/>
                    </a:lnTo>
                    <a:lnTo>
                      <a:pt x="43" y="103"/>
                    </a:lnTo>
                    <a:lnTo>
                      <a:pt x="52" y="102"/>
                    </a:lnTo>
                    <a:lnTo>
                      <a:pt x="58" y="102"/>
                    </a:lnTo>
                    <a:lnTo>
                      <a:pt x="61" y="100"/>
                    </a:lnTo>
                    <a:lnTo>
                      <a:pt x="61" y="100"/>
                    </a:lnTo>
                    <a:lnTo>
                      <a:pt x="64" y="95"/>
                    </a:lnTo>
                    <a:lnTo>
                      <a:pt x="65" y="93"/>
                    </a:lnTo>
                    <a:lnTo>
                      <a:pt x="67" y="95"/>
                    </a:lnTo>
                    <a:lnTo>
                      <a:pt x="67" y="95"/>
                    </a:lnTo>
                    <a:lnTo>
                      <a:pt x="72" y="99"/>
                    </a:lnTo>
                    <a:lnTo>
                      <a:pt x="75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84" y="102"/>
                    </a:lnTo>
                    <a:lnTo>
                      <a:pt x="88" y="103"/>
                    </a:lnTo>
                    <a:lnTo>
                      <a:pt x="91" y="105"/>
                    </a:lnTo>
                    <a:lnTo>
                      <a:pt x="91" y="105"/>
                    </a:lnTo>
                    <a:lnTo>
                      <a:pt x="101" y="116"/>
                    </a:lnTo>
                    <a:lnTo>
                      <a:pt x="107" y="121"/>
                    </a:lnTo>
                    <a:lnTo>
                      <a:pt x="109" y="122"/>
                    </a:lnTo>
                    <a:lnTo>
                      <a:pt x="110" y="122"/>
                    </a:lnTo>
                    <a:lnTo>
                      <a:pt x="110" y="122"/>
                    </a:lnTo>
                    <a:lnTo>
                      <a:pt x="109" y="118"/>
                    </a:lnTo>
                    <a:lnTo>
                      <a:pt x="109" y="116"/>
                    </a:lnTo>
                    <a:lnTo>
                      <a:pt x="110" y="115"/>
                    </a:lnTo>
                    <a:lnTo>
                      <a:pt x="110" y="115"/>
                    </a:lnTo>
                    <a:lnTo>
                      <a:pt x="111" y="113"/>
                    </a:lnTo>
                    <a:lnTo>
                      <a:pt x="109" y="111"/>
                    </a:lnTo>
                    <a:lnTo>
                      <a:pt x="109" y="111"/>
                    </a:lnTo>
                    <a:lnTo>
                      <a:pt x="100" y="105"/>
                    </a:lnTo>
                    <a:lnTo>
                      <a:pt x="98" y="103"/>
                    </a:lnTo>
                    <a:lnTo>
                      <a:pt x="98" y="102"/>
                    </a:lnTo>
                    <a:lnTo>
                      <a:pt x="98" y="102"/>
                    </a:lnTo>
                    <a:lnTo>
                      <a:pt x="98" y="102"/>
                    </a:lnTo>
                    <a:lnTo>
                      <a:pt x="110" y="103"/>
                    </a:lnTo>
                    <a:lnTo>
                      <a:pt x="116" y="103"/>
                    </a:lnTo>
                    <a:lnTo>
                      <a:pt x="119" y="102"/>
                    </a:lnTo>
                    <a:lnTo>
                      <a:pt x="119" y="102"/>
                    </a:lnTo>
                    <a:lnTo>
                      <a:pt x="122" y="95"/>
                    </a:lnTo>
                    <a:lnTo>
                      <a:pt x="122" y="90"/>
                    </a:lnTo>
                    <a:lnTo>
                      <a:pt x="122" y="89"/>
                    </a:lnTo>
                    <a:lnTo>
                      <a:pt x="122" y="89"/>
                    </a:lnTo>
                    <a:lnTo>
                      <a:pt x="119" y="90"/>
                    </a:lnTo>
                    <a:lnTo>
                      <a:pt x="117" y="93"/>
                    </a:lnTo>
                    <a:lnTo>
                      <a:pt x="113" y="95"/>
                    </a:lnTo>
                    <a:lnTo>
                      <a:pt x="109" y="96"/>
                    </a:lnTo>
                    <a:lnTo>
                      <a:pt x="109" y="96"/>
                    </a:lnTo>
                    <a:lnTo>
                      <a:pt x="101" y="96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82" y="92"/>
                    </a:lnTo>
                    <a:lnTo>
                      <a:pt x="78" y="90"/>
                    </a:lnTo>
                    <a:lnTo>
                      <a:pt x="75" y="87"/>
                    </a:lnTo>
                    <a:lnTo>
                      <a:pt x="75" y="87"/>
                    </a:lnTo>
                    <a:lnTo>
                      <a:pt x="72" y="83"/>
                    </a:lnTo>
                    <a:lnTo>
                      <a:pt x="71" y="82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4" y="79"/>
                    </a:lnTo>
                    <a:lnTo>
                      <a:pt x="77" y="79"/>
                    </a:lnTo>
                    <a:lnTo>
                      <a:pt x="80" y="80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87" y="87"/>
                    </a:lnTo>
                    <a:lnTo>
                      <a:pt x="90" y="87"/>
                    </a:lnTo>
                    <a:lnTo>
                      <a:pt x="90" y="87"/>
                    </a:lnTo>
                    <a:lnTo>
                      <a:pt x="90" y="87"/>
                    </a:lnTo>
                    <a:lnTo>
                      <a:pt x="90" y="83"/>
                    </a:lnTo>
                    <a:lnTo>
                      <a:pt x="88" y="77"/>
                    </a:lnTo>
                    <a:lnTo>
                      <a:pt x="82" y="70"/>
                    </a:lnTo>
                    <a:lnTo>
                      <a:pt x="82" y="70"/>
                    </a:lnTo>
                    <a:lnTo>
                      <a:pt x="80" y="69"/>
                    </a:lnTo>
                    <a:lnTo>
                      <a:pt x="78" y="67"/>
                    </a:lnTo>
                    <a:lnTo>
                      <a:pt x="77" y="63"/>
                    </a:lnTo>
                    <a:lnTo>
                      <a:pt x="77" y="63"/>
                    </a:lnTo>
                    <a:lnTo>
                      <a:pt x="77" y="55"/>
                    </a:lnTo>
                    <a:lnTo>
                      <a:pt x="77" y="53"/>
                    </a:lnTo>
                    <a:lnTo>
                      <a:pt x="74" y="50"/>
                    </a:lnTo>
                    <a:lnTo>
                      <a:pt x="74" y="50"/>
                    </a:lnTo>
                    <a:lnTo>
                      <a:pt x="72" y="45"/>
                    </a:lnTo>
                    <a:lnTo>
                      <a:pt x="69" y="40"/>
                    </a:lnTo>
                    <a:lnTo>
                      <a:pt x="68" y="35"/>
                    </a:lnTo>
                    <a:lnTo>
                      <a:pt x="65" y="32"/>
                    </a:lnTo>
                    <a:lnTo>
                      <a:pt x="65" y="32"/>
                    </a:lnTo>
                    <a:lnTo>
                      <a:pt x="56" y="27"/>
                    </a:lnTo>
                    <a:lnTo>
                      <a:pt x="51" y="24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5" y="9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16" name="Freeform 66"/>
              <p:cNvSpPr>
                <a:spLocks/>
              </p:cNvSpPr>
              <p:nvPr/>
            </p:nvSpPr>
            <p:spPr bwMode="auto">
              <a:xfrm>
                <a:off x="2972368" y="1124939"/>
                <a:ext cx="283918" cy="292821"/>
              </a:xfrm>
              <a:custGeom>
                <a:avLst/>
                <a:gdLst>
                  <a:gd name="T0" fmla="*/ 284 w 287"/>
                  <a:gd name="T1" fmla="*/ 18 h 296"/>
                  <a:gd name="T2" fmla="*/ 248 w 287"/>
                  <a:gd name="T3" fmla="*/ 21 h 296"/>
                  <a:gd name="T4" fmla="*/ 239 w 287"/>
                  <a:gd name="T5" fmla="*/ 25 h 296"/>
                  <a:gd name="T6" fmla="*/ 236 w 287"/>
                  <a:gd name="T7" fmla="*/ 47 h 296"/>
                  <a:gd name="T8" fmla="*/ 211 w 287"/>
                  <a:gd name="T9" fmla="*/ 47 h 296"/>
                  <a:gd name="T10" fmla="*/ 210 w 287"/>
                  <a:gd name="T11" fmla="*/ 53 h 296"/>
                  <a:gd name="T12" fmla="*/ 191 w 287"/>
                  <a:gd name="T13" fmla="*/ 57 h 296"/>
                  <a:gd name="T14" fmla="*/ 198 w 287"/>
                  <a:gd name="T15" fmla="*/ 63 h 296"/>
                  <a:gd name="T16" fmla="*/ 229 w 287"/>
                  <a:gd name="T17" fmla="*/ 71 h 296"/>
                  <a:gd name="T18" fmla="*/ 214 w 287"/>
                  <a:gd name="T19" fmla="*/ 76 h 296"/>
                  <a:gd name="T20" fmla="*/ 200 w 287"/>
                  <a:gd name="T21" fmla="*/ 80 h 296"/>
                  <a:gd name="T22" fmla="*/ 181 w 287"/>
                  <a:gd name="T23" fmla="*/ 92 h 296"/>
                  <a:gd name="T24" fmla="*/ 209 w 287"/>
                  <a:gd name="T25" fmla="*/ 93 h 296"/>
                  <a:gd name="T26" fmla="*/ 229 w 287"/>
                  <a:gd name="T27" fmla="*/ 111 h 296"/>
                  <a:gd name="T28" fmla="*/ 203 w 287"/>
                  <a:gd name="T29" fmla="*/ 122 h 296"/>
                  <a:gd name="T30" fmla="*/ 217 w 287"/>
                  <a:gd name="T31" fmla="*/ 145 h 296"/>
                  <a:gd name="T32" fmla="*/ 213 w 287"/>
                  <a:gd name="T33" fmla="*/ 157 h 296"/>
                  <a:gd name="T34" fmla="*/ 201 w 287"/>
                  <a:gd name="T35" fmla="*/ 173 h 296"/>
                  <a:gd name="T36" fmla="*/ 178 w 287"/>
                  <a:gd name="T37" fmla="*/ 189 h 296"/>
                  <a:gd name="T38" fmla="*/ 175 w 287"/>
                  <a:gd name="T39" fmla="*/ 215 h 296"/>
                  <a:gd name="T40" fmla="*/ 122 w 287"/>
                  <a:gd name="T41" fmla="*/ 205 h 296"/>
                  <a:gd name="T42" fmla="*/ 119 w 287"/>
                  <a:gd name="T43" fmla="*/ 222 h 296"/>
                  <a:gd name="T44" fmla="*/ 140 w 287"/>
                  <a:gd name="T45" fmla="*/ 222 h 296"/>
                  <a:gd name="T46" fmla="*/ 159 w 287"/>
                  <a:gd name="T47" fmla="*/ 229 h 296"/>
                  <a:gd name="T48" fmla="*/ 172 w 287"/>
                  <a:gd name="T49" fmla="*/ 241 h 296"/>
                  <a:gd name="T50" fmla="*/ 180 w 287"/>
                  <a:gd name="T51" fmla="*/ 260 h 296"/>
                  <a:gd name="T52" fmla="*/ 142 w 287"/>
                  <a:gd name="T53" fmla="*/ 293 h 296"/>
                  <a:gd name="T54" fmla="*/ 119 w 287"/>
                  <a:gd name="T55" fmla="*/ 271 h 296"/>
                  <a:gd name="T56" fmla="*/ 114 w 287"/>
                  <a:gd name="T57" fmla="*/ 277 h 296"/>
                  <a:gd name="T58" fmla="*/ 98 w 287"/>
                  <a:gd name="T59" fmla="*/ 264 h 296"/>
                  <a:gd name="T60" fmla="*/ 81 w 287"/>
                  <a:gd name="T61" fmla="*/ 261 h 296"/>
                  <a:gd name="T62" fmla="*/ 68 w 287"/>
                  <a:gd name="T63" fmla="*/ 268 h 296"/>
                  <a:gd name="T64" fmla="*/ 64 w 287"/>
                  <a:gd name="T65" fmla="*/ 289 h 296"/>
                  <a:gd name="T66" fmla="*/ 49 w 287"/>
                  <a:gd name="T67" fmla="*/ 261 h 296"/>
                  <a:gd name="T68" fmla="*/ 36 w 287"/>
                  <a:gd name="T69" fmla="*/ 258 h 296"/>
                  <a:gd name="T70" fmla="*/ 20 w 287"/>
                  <a:gd name="T71" fmla="*/ 261 h 296"/>
                  <a:gd name="T72" fmla="*/ 10 w 287"/>
                  <a:gd name="T73" fmla="*/ 276 h 296"/>
                  <a:gd name="T74" fmla="*/ 1 w 287"/>
                  <a:gd name="T75" fmla="*/ 258 h 296"/>
                  <a:gd name="T76" fmla="*/ 29 w 287"/>
                  <a:gd name="T77" fmla="*/ 232 h 296"/>
                  <a:gd name="T78" fmla="*/ 33 w 287"/>
                  <a:gd name="T79" fmla="*/ 216 h 296"/>
                  <a:gd name="T80" fmla="*/ 16 w 287"/>
                  <a:gd name="T81" fmla="*/ 190 h 296"/>
                  <a:gd name="T82" fmla="*/ 46 w 287"/>
                  <a:gd name="T83" fmla="*/ 179 h 296"/>
                  <a:gd name="T84" fmla="*/ 81 w 287"/>
                  <a:gd name="T85" fmla="*/ 212 h 296"/>
                  <a:gd name="T86" fmla="*/ 103 w 287"/>
                  <a:gd name="T87" fmla="*/ 186 h 296"/>
                  <a:gd name="T88" fmla="*/ 88 w 287"/>
                  <a:gd name="T89" fmla="*/ 200 h 296"/>
                  <a:gd name="T90" fmla="*/ 64 w 287"/>
                  <a:gd name="T91" fmla="*/ 182 h 296"/>
                  <a:gd name="T92" fmla="*/ 71 w 287"/>
                  <a:gd name="T93" fmla="*/ 157 h 296"/>
                  <a:gd name="T94" fmla="*/ 72 w 287"/>
                  <a:gd name="T95" fmla="*/ 145 h 296"/>
                  <a:gd name="T96" fmla="*/ 51 w 287"/>
                  <a:gd name="T97" fmla="*/ 161 h 296"/>
                  <a:gd name="T98" fmla="*/ 45 w 287"/>
                  <a:gd name="T99" fmla="*/ 154 h 296"/>
                  <a:gd name="T100" fmla="*/ 33 w 287"/>
                  <a:gd name="T101" fmla="*/ 148 h 296"/>
                  <a:gd name="T102" fmla="*/ 38 w 287"/>
                  <a:gd name="T103" fmla="*/ 115 h 296"/>
                  <a:gd name="T104" fmla="*/ 67 w 287"/>
                  <a:gd name="T105" fmla="*/ 95 h 296"/>
                  <a:gd name="T106" fmla="*/ 110 w 287"/>
                  <a:gd name="T107" fmla="*/ 122 h 296"/>
                  <a:gd name="T108" fmla="*/ 98 w 287"/>
                  <a:gd name="T109" fmla="*/ 102 h 296"/>
                  <a:gd name="T110" fmla="*/ 113 w 287"/>
                  <a:gd name="T111" fmla="*/ 95 h 296"/>
                  <a:gd name="T112" fmla="*/ 72 w 287"/>
                  <a:gd name="T113" fmla="*/ 80 h 296"/>
                  <a:gd name="T114" fmla="*/ 88 w 287"/>
                  <a:gd name="T115" fmla="*/ 77 h 296"/>
                  <a:gd name="T116" fmla="*/ 69 w 287"/>
                  <a:gd name="T117" fmla="*/ 4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87" h="296">
                    <a:moveTo>
                      <a:pt x="45" y="0"/>
                    </a:moveTo>
                    <a:lnTo>
                      <a:pt x="287" y="0"/>
                    </a:lnTo>
                    <a:lnTo>
                      <a:pt x="287" y="0"/>
                    </a:lnTo>
                    <a:lnTo>
                      <a:pt x="279" y="8"/>
                    </a:lnTo>
                    <a:lnTo>
                      <a:pt x="277" y="12"/>
                    </a:lnTo>
                    <a:lnTo>
                      <a:pt x="275" y="13"/>
                    </a:lnTo>
                    <a:lnTo>
                      <a:pt x="277" y="13"/>
                    </a:lnTo>
                    <a:lnTo>
                      <a:pt x="277" y="13"/>
                    </a:lnTo>
                    <a:lnTo>
                      <a:pt x="281" y="15"/>
                    </a:lnTo>
                    <a:lnTo>
                      <a:pt x="282" y="16"/>
                    </a:lnTo>
                    <a:lnTo>
                      <a:pt x="284" y="18"/>
                    </a:lnTo>
                    <a:lnTo>
                      <a:pt x="284" y="18"/>
                    </a:lnTo>
                    <a:lnTo>
                      <a:pt x="282" y="21"/>
                    </a:lnTo>
                    <a:lnTo>
                      <a:pt x="281" y="25"/>
                    </a:lnTo>
                    <a:lnTo>
                      <a:pt x="278" y="28"/>
                    </a:lnTo>
                    <a:lnTo>
                      <a:pt x="274" y="29"/>
                    </a:lnTo>
                    <a:lnTo>
                      <a:pt x="274" y="29"/>
                    </a:lnTo>
                    <a:lnTo>
                      <a:pt x="265" y="29"/>
                    </a:lnTo>
                    <a:lnTo>
                      <a:pt x="261" y="29"/>
                    </a:lnTo>
                    <a:lnTo>
                      <a:pt x="256" y="29"/>
                    </a:lnTo>
                    <a:lnTo>
                      <a:pt x="256" y="29"/>
                    </a:lnTo>
                    <a:lnTo>
                      <a:pt x="252" y="25"/>
                    </a:lnTo>
                    <a:lnTo>
                      <a:pt x="248" y="21"/>
                    </a:lnTo>
                    <a:lnTo>
                      <a:pt x="248" y="21"/>
                    </a:lnTo>
                    <a:lnTo>
                      <a:pt x="242" y="16"/>
                    </a:lnTo>
                    <a:lnTo>
                      <a:pt x="237" y="13"/>
                    </a:lnTo>
                    <a:lnTo>
                      <a:pt x="237" y="13"/>
                    </a:lnTo>
                    <a:lnTo>
                      <a:pt x="230" y="16"/>
                    </a:lnTo>
                    <a:lnTo>
                      <a:pt x="230" y="16"/>
                    </a:lnTo>
                    <a:lnTo>
                      <a:pt x="229" y="18"/>
                    </a:lnTo>
                    <a:lnTo>
                      <a:pt x="229" y="19"/>
                    </a:lnTo>
                    <a:lnTo>
                      <a:pt x="232" y="21"/>
                    </a:lnTo>
                    <a:lnTo>
                      <a:pt x="232" y="21"/>
                    </a:lnTo>
                    <a:lnTo>
                      <a:pt x="236" y="21"/>
                    </a:lnTo>
                    <a:lnTo>
                      <a:pt x="239" y="25"/>
                    </a:lnTo>
                    <a:lnTo>
                      <a:pt x="239" y="25"/>
                    </a:lnTo>
                    <a:lnTo>
                      <a:pt x="246" y="35"/>
                    </a:lnTo>
                    <a:lnTo>
                      <a:pt x="249" y="40"/>
                    </a:lnTo>
                    <a:lnTo>
                      <a:pt x="251" y="41"/>
                    </a:lnTo>
                    <a:lnTo>
                      <a:pt x="249" y="42"/>
                    </a:lnTo>
                    <a:lnTo>
                      <a:pt x="249" y="42"/>
                    </a:lnTo>
                    <a:lnTo>
                      <a:pt x="248" y="41"/>
                    </a:lnTo>
                    <a:lnTo>
                      <a:pt x="245" y="40"/>
                    </a:lnTo>
                    <a:lnTo>
                      <a:pt x="242" y="40"/>
                    </a:lnTo>
                    <a:lnTo>
                      <a:pt x="239" y="40"/>
                    </a:lnTo>
                    <a:lnTo>
                      <a:pt x="239" y="40"/>
                    </a:lnTo>
                    <a:lnTo>
                      <a:pt x="237" y="44"/>
                    </a:lnTo>
                    <a:lnTo>
                      <a:pt x="236" y="47"/>
                    </a:lnTo>
                    <a:lnTo>
                      <a:pt x="235" y="48"/>
                    </a:lnTo>
                    <a:lnTo>
                      <a:pt x="235" y="48"/>
                    </a:lnTo>
                    <a:lnTo>
                      <a:pt x="230" y="47"/>
                    </a:lnTo>
                    <a:lnTo>
                      <a:pt x="227" y="47"/>
                    </a:lnTo>
                    <a:lnTo>
                      <a:pt x="226" y="47"/>
                    </a:lnTo>
                    <a:lnTo>
                      <a:pt x="226" y="47"/>
                    </a:lnTo>
                    <a:lnTo>
                      <a:pt x="223" y="51"/>
                    </a:lnTo>
                    <a:lnTo>
                      <a:pt x="219" y="54"/>
                    </a:lnTo>
                    <a:lnTo>
                      <a:pt x="219" y="54"/>
                    </a:lnTo>
                    <a:lnTo>
                      <a:pt x="217" y="53"/>
                    </a:lnTo>
                    <a:lnTo>
                      <a:pt x="214" y="50"/>
                    </a:lnTo>
                    <a:lnTo>
                      <a:pt x="211" y="47"/>
                    </a:lnTo>
                    <a:lnTo>
                      <a:pt x="209" y="44"/>
                    </a:lnTo>
                    <a:lnTo>
                      <a:pt x="209" y="44"/>
                    </a:lnTo>
                    <a:lnTo>
                      <a:pt x="198" y="42"/>
                    </a:lnTo>
                    <a:lnTo>
                      <a:pt x="194" y="42"/>
                    </a:lnTo>
                    <a:lnTo>
                      <a:pt x="194" y="44"/>
                    </a:lnTo>
                    <a:lnTo>
                      <a:pt x="194" y="44"/>
                    </a:lnTo>
                    <a:lnTo>
                      <a:pt x="194" y="44"/>
                    </a:lnTo>
                    <a:lnTo>
                      <a:pt x="197" y="47"/>
                    </a:lnTo>
                    <a:lnTo>
                      <a:pt x="203" y="50"/>
                    </a:lnTo>
                    <a:lnTo>
                      <a:pt x="207" y="51"/>
                    </a:lnTo>
                    <a:lnTo>
                      <a:pt x="210" y="53"/>
                    </a:lnTo>
                    <a:lnTo>
                      <a:pt x="210" y="53"/>
                    </a:lnTo>
                    <a:lnTo>
                      <a:pt x="207" y="55"/>
                    </a:lnTo>
                    <a:lnTo>
                      <a:pt x="201" y="57"/>
                    </a:lnTo>
                    <a:lnTo>
                      <a:pt x="201" y="57"/>
                    </a:lnTo>
                    <a:lnTo>
                      <a:pt x="198" y="55"/>
                    </a:lnTo>
                    <a:lnTo>
                      <a:pt x="195" y="53"/>
                    </a:lnTo>
                    <a:lnTo>
                      <a:pt x="194" y="50"/>
                    </a:lnTo>
                    <a:lnTo>
                      <a:pt x="191" y="50"/>
                    </a:lnTo>
                    <a:lnTo>
                      <a:pt x="191" y="50"/>
                    </a:lnTo>
                    <a:lnTo>
                      <a:pt x="191" y="51"/>
                    </a:lnTo>
                    <a:lnTo>
                      <a:pt x="191" y="53"/>
                    </a:lnTo>
                    <a:lnTo>
                      <a:pt x="191" y="55"/>
                    </a:lnTo>
                    <a:lnTo>
                      <a:pt x="191" y="57"/>
                    </a:lnTo>
                    <a:lnTo>
                      <a:pt x="191" y="57"/>
                    </a:lnTo>
                    <a:lnTo>
                      <a:pt x="190" y="57"/>
                    </a:lnTo>
                    <a:lnTo>
                      <a:pt x="188" y="57"/>
                    </a:lnTo>
                    <a:lnTo>
                      <a:pt x="185" y="55"/>
                    </a:lnTo>
                    <a:lnTo>
                      <a:pt x="184" y="57"/>
                    </a:lnTo>
                    <a:lnTo>
                      <a:pt x="184" y="57"/>
                    </a:lnTo>
                    <a:lnTo>
                      <a:pt x="182" y="58"/>
                    </a:lnTo>
                    <a:lnTo>
                      <a:pt x="184" y="60"/>
                    </a:lnTo>
                    <a:lnTo>
                      <a:pt x="185" y="63"/>
                    </a:lnTo>
                    <a:lnTo>
                      <a:pt x="188" y="63"/>
                    </a:lnTo>
                    <a:lnTo>
                      <a:pt x="188" y="63"/>
                    </a:lnTo>
                    <a:lnTo>
                      <a:pt x="198" y="63"/>
                    </a:lnTo>
                    <a:lnTo>
                      <a:pt x="210" y="63"/>
                    </a:lnTo>
                    <a:lnTo>
                      <a:pt x="210" y="63"/>
                    </a:lnTo>
                    <a:lnTo>
                      <a:pt x="214" y="66"/>
                    </a:lnTo>
                    <a:lnTo>
                      <a:pt x="220" y="67"/>
                    </a:lnTo>
                    <a:lnTo>
                      <a:pt x="220" y="67"/>
                    </a:lnTo>
                    <a:lnTo>
                      <a:pt x="230" y="66"/>
                    </a:lnTo>
                    <a:lnTo>
                      <a:pt x="233" y="66"/>
                    </a:lnTo>
                    <a:lnTo>
                      <a:pt x="233" y="66"/>
                    </a:lnTo>
                    <a:lnTo>
                      <a:pt x="233" y="67"/>
                    </a:lnTo>
                    <a:lnTo>
                      <a:pt x="233" y="67"/>
                    </a:lnTo>
                    <a:lnTo>
                      <a:pt x="229" y="70"/>
                    </a:lnTo>
                    <a:lnTo>
                      <a:pt x="229" y="71"/>
                    </a:lnTo>
                    <a:lnTo>
                      <a:pt x="230" y="74"/>
                    </a:lnTo>
                    <a:lnTo>
                      <a:pt x="230" y="74"/>
                    </a:lnTo>
                    <a:lnTo>
                      <a:pt x="235" y="79"/>
                    </a:lnTo>
                    <a:lnTo>
                      <a:pt x="235" y="80"/>
                    </a:lnTo>
                    <a:lnTo>
                      <a:pt x="233" y="82"/>
                    </a:lnTo>
                    <a:lnTo>
                      <a:pt x="233" y="82"/>
                    </a:lnTo>
                    <a:lnTo>
                      <a:pt x="223" y="82"/>
                    </a:lnTo>
                    <a:lnTo>
                      <a:pt x="220" y="82"/>
                    </a:lnTo>
                    <a:lnTo>
                      <a:pt x="217" y="80"/>
                    </a:lnTo>
                    <a:lnTo>
                      <a:pt x="217" y="80"/>
                    </a:lnTo>
                    <a:lnTo>
                      <a:pt x="216" y="79"/>
                    </a:lnTo>
                    <a:lnTo>
                      <a:pt x="214" y="76"/>
                    </a:lnTo>
                    <a:lnTo>
                      <a:pt x="213" y="73"/>
                    </a:lnTo>
                    <a:lnTo>
                      <a:pt x="211" y="70"/>
                    </a:lnTo>
                    <a:lnTo>
                      <a:pt x="211" y="70"/>
                    </a:lnTo>
                    <a:lnTo>
                      <a:pt x="203" y="70"/>
                    </a:lnTo>
                    <a:lnTo>
                      <a:pt x="197" y="70"/>
                    </a:lnTo>
                    <a:lnTo>
                      <a:pt x="197" y="70"/>
                    </a:lnTo>
                    <a:lnTo>
                      <a:pt x="203" y="73"/>
                    </a:lnTo>
                    <a:lnTo>
                      <a:pt x="206" y="76"/>
                    </a:lnTo>
                    <a:lnTo>
                      <a:pt x="207" y="77"/>
                    </a:lnTo>
                    <a:lnTo>
                      <a:pt x="207" y="77"/>
                    </a:lnTo>
                    <a:lnTo>
                      <a:pt x="204" y="79"/>
                    </a:lnTo>
                    <a:lnTo>
                      <a:pt x="200" y="80"/>
                    </a:lnTo>
                    <a:lnTo>
                      <a:pt x="191" y="82"/>
                    </a:lnTo>
                    <a:lnTo>
                      <a:pt x="191" y="82"/>
                    </a:lnTo>
                    <a:lnTo>
                      <a:pt x="184" y="82"/>
                    </a:lnTo>
                    <a:lnTo>
                      <a:pt x="181" y="82"/>
                    </a:lnTo>
                    <a:lnTo>
                      <a:pt x="181" y="82"/>
                    </a:lnTo>
                    <a:lnTo>
                      <a:pt x="181" y="83"/>
                    </a:lnTo>
                    <a:lnTo>
                      <a:pt x="181" y="83"/>
                    </a:lnTo>
                    <a:lnTo>
                      <a:pt x="182" y="84"/>
                    </a:lnTo>
                    <a:lnTo>
                      <a:pt x="182" y="87"/>
                    </a:lnTo>
                    <a:lnTo>
                      <a:pt x="182" y="87"/>
                    </a:lnTo>
                    <a:lnTo>
                      <a:pt x="181" y="90"/>
                    </a:lnTo>
                    <a:lnTo>
                      <a:pt x="181" y="92"/>
                    </a:lnTo>
                    <a:lnTo>
                      <a:pt x="182" y="92"/>
                    </a:lnTo>
                    <a:lnTo>
                      <a:pt x="182" y="92"/>
                    </a:lnTo>
                    <a:lnTo>
                      <a:pt x="188" y="89"/>
                    </a:lnTo>
                    <a:lnTo>
                      <a:pt x="191" y="87"/>
                    </a:lnTo>
                    <a:lnTo>
                      <a:pt x="195" y="87"/>
                    </a:lnTo>
                    <a:lnTo>
                      <a:pt x="195" y="87"/>
                    </a:lnTo>
                    <a:lnTo>
                      <a:pt x="207" y="86"/>
                    </a:lnTo>
                    <a:lnTo>
                      <a:pt x="211" y="86"/>
                    </a:lnTo>
                    <a:lnTo>
                      <a:pt x="213" y="87"/>
                    </a:lnTo>
                    <a:lnTo>
                      <a:pt x="213" y="87"/>
                    </a:lnTo>
                    <a:lnTo>
                      <a:pt x="213" y="87"/>
                    </a:lnTo>
                    <a:lnTo>
                      <a:pt x="209" y="93"/>
                    </a:lnTo>
                    <a:lnTo>
                      <a:pt x="207" y="95"/>
                    </a:lnTo>
                    <a:lnTo>
                      <a:pt x="207" y="96"/>
                    </a:lnTo>
                    <a:lnTo>
                      <a:pt x="207" y="96"/>
                    </a:lnTo>
                    <a:lnTo>
                      <a:pt x="217" y="96"/>
                    </a:lnTo>
                    <a:lnTo>
                      <a:pt x="223" y="96"/>
                    </a:lnTo>
                    <a:lnTo>
                      <a:pt x="226" y="97"/>
                    </a:lnTo>
                    <a:lnTo>
                      <a:pt x="226" y="97"/>
                    </a:lnTo>
                    <a:lnTo>
                      <a:pt x="230" y="103"/>
                    </a:lnTo>
                    <a:lnTo>
                      <a:pt x="232" y="106"/>
                    </a:lnTo>
                    <a:lnTo>
                      <a:pt x="232" y="108"/>
                    </a:lnTo>
                    <a:lnTo>
                      <a:pt x="232" y="108"/>
                    </a:lnTo>
                    <a:lnTo>
                      <a:pt x="229" y="111"/>
                    </a:lnTo>
                    <a:lnTo>
                      <a:pt x="227" y="113"/>
                    </a:lnTo>
                    <a:lnTo>
                      <a:pt x="227" y="115"/>
                    </a:lnTo>
                    <a:lnTo>
                      <a:pt x="227" y="115"/>
                    </a:lnTo>
                    <a:lnTo>
                      <a:pt x="230" y="119"/>
                    </a:lnTo>
                    <a:lnTo>
                      <a:pt x="230" y="121"/>
                    </a:lnTo>
                    <a:lnTo>
                      <a:pt x="229" y="122"/>
                    </a:lnTo>
                    <a:lnTo>
                      <a:pt x="229" y="122"/>
                    </a:lnTo>
                    <a:lnTo>
                      <a:pt x="223" y="124"/>
                    </a:lnTo>
                    <a:lnTo>
                      <a:pt x="217" y="124"/>
                    </a:lnTo>
                    <a:lnTo>
                      <a:pt x="217" y="124"/>
                    </a:lnTo>
                    <a:lnTo>
                      <a:pt x="207" y="122"/>
                    </a:lnTo>
                    <a:lnTo>
                      <a:pt x="203" y="122"/>
                    </a:lnTo>
                    <a:lnTo>
                      <a:pt x="203" y="124"/>
                    </a:lnTo>
                    <a:lnTo>
                      <a:pt x="203" y="125"/>
                    </a:lnTo>
                    <a:lnTo>
                      <a:pt x="203" y="125"/>
                    </a:lnTo>
                    <a:lnTo>
                      <a:pt x="209" y="128"/>
                    </a:lnTo>
                    <a:lnTo>
                      <a:pt x="216" y="131"/>
                    </a:lnTo>
                    <a:lnTo>
                      <a:pt x="216" y="131"/>
                    </a:lnTo>
                    <a:lnTo>
                      <a:pt x="219" y="134"/>
                    </a:lnTo>
                    <a:lnTo>
                      <a:pt x="222" y="135"/>
                    </a:lnTo>
                    <a:lnTo>
                      <a:pt x="223" y="138"/>
                    </a:lnTo>
                    <a:lnTo>
                      <a:pt x="222" y="140"/>
                    </a:lnTo>
                    <a:lnTo>
                      <a:pt x="222" y="140"/>
                    </a:lnTo>
                    <a:lnTo>
                      <a:pt x="217" y="145"/>
                    </a:lnTo>
                    <a:lnTo>
                      <a:pt x="216" y="148"/>
                    </a:lnTo>
                    <a:lnTo>
                      <a:pt x="214" y="150"/>
                    </a:lnTo>
                    <a:lnTo>
                      <a:pt x="214" y="150"/>
                    </a:lnTo>
                    <a:lnTo>
                      <a:pt x="206" y="148"/>
                    </a:lnTo>
                    <a:lnTo>
                      <a:pt x="201" y="148"/>
                    </a:lnTo>
                    <a:lnTo>
                      <a:pt x="200" y="150"/>
                    </a:lnTo>
                    <a:lnTo>
                      <a:pt x="200" y="150"/>
                    </a:lnTo>
                    <a:lnTo>
                      <a:pt x="203" y="154"/>
                    </a:lnTo>
                    <a:lnTo>
                      <a:pt x="206" y="157"/>
                    </a:lnTo>
                    <a:lnTo>
                      <a:pt x="209" y="158"/>
                    </a:lnTo>
                    <a:lnTo>
                      <a:pt x="209" y="158"/>
                    </a:lnTo>
                    <a:lnTo>
                      <a:pt x="213" y="157"/>
                    </a:lnTo>
                    <a:lnTo>
                      <a:pt x="214" y="158"/>
                    </a:lnTo>
                    <a:lnTo>
                      <a:pt x="214" y="160"/>
                    </a:lnTo>
                    <a:lnTo>
                      <a:pt x="214" y="160"/>
                    </a:lnTo>
                    <a:lnTo>
                      <a:pt x="213" y="166"/>
                    </a:lnTo>
                    <a:lnTo>
                      <a:pt x="213" y="168"/>
                    </a:lnTo>
                    <a:lnTo>
                      <a:pt x="211" y="168"/>
                    </a:lnTo>
                    <a:lnTo>
                      <a:pt x="211" y="168"/>
                    </a:lnTo>
                    <a:lnTo>
                      <a:pt x="209" y="167"/>
                    </a:lnTo>
                    <a:lnTo>
                      <a:pt x="207" y="167"/>
                    </a:lnTo>
                    <a:lnTo>
                      <a:pt x="206" y="167"/>
                    </a:lnTo>
                    <a:lnTo>
                      <a:pt x="206" y="167"/>
                    </a:lnTo>
                    <a:lnTo>
                      <a:pt x="201" y="173"/>
                    </a:lnTo>
                    <a:lnTo>
                      <a:pt x="200" y="174"/>
                    </a:lnTo>
                    <a:lnTo>
                      <a:pt x="197" y="176"/>
                    </a:lnTo>
                    <a:lnTo>
                      <a:pt x="197" y="176"/>
                    </a:lnTo>
                    <a:lnTo>
                      <a:pt x="185" y="171"/>
                    </a:lnTo>
                    <a:lnTo>
                      <a:pt x="178" y="170"/>
                    </a:lnTo>
                    <a:lnTo>
                      <a:pt x="175" y="168"/>
                    </a:lnTo>
                    <a:lnTo>
                      <a:pt x="175" y="168"/>
                    </a:lnTo>
                    <a:lnTo>
                      <a:pt x="175" y="174"/>
                    </a:lnTo>
                    <a:lnTo>
                      <a:pt x="177" y="182"/>
                    </a:lnTo>
                    <a:lnTo>
                      <a:pt x="177" y="182"/>
                    </a:lnTo>
                    <a:lnTo>
                      <a:pt x="178" y="184"/>
                    </a:lnTo>
                    <a:lnTo>
                      <a:pt x="178" y="189"/>
                    </a:lnTo>
                    <a:lnTo>
                      <a:pt x="180" y="192"/>
                    </a:lnTo>
                    <a:lnTo>
                      <a:pt x="180" y="193"/>
                    </a:lnTo>
                    <a:lnTo>
                      <a:pt x="180" y="193"/>
                    </a:lnTo>
                    <a:lnTo>
                      <a:pt x="181" y="195"/>
                    </a:lnTo>
                    <a:lnTo>
                      <a:pt x="181" y="196"/>
                    </a:lnTo>
                    <a:lnTo>
                      <a:pt x="181" y="197"/>
                    </a:lnTo>
                    <a:lnTo>
                      <a:pt x="181" y="197"/>
                    </a:lnTo>
                    <a:lnTo>
                      <a:pt x="180" y="200"/>
                    </a:lnTo>
                    <a:lnTo>
                      <a:pt x="180" y="203"/>
                    </a:lnTo>
                    <a:lnTo>
                      <a:pt x="180" y="203"/>
                    </a:lnTo>
                    <a:lnTo>
                      <a:pt x="178" y="210"/>
                    </a:lnTo>
                    <a:lnTo>
                      <a:pt x="175" y="215"/>
                    </a:lnTo>
                    <a:lnTo>
                      <a:pt x="172" y="216"/>
                    </a:lnTo>
                    <a:lnTo>
                      <a:pt x="172" y="216"/>
                    </a:lnTo>
                    <a:lnTo>
                      <a:pt x="161" y="219"/>
                    </a:lnTo>
                    <a:lnTo>
                      <a:pt x="161" y="219"/>
                    </a:lnTo>
                    <a:lnTo>
                      <a:pt x="149" y="219"/>
                    </a:lnTo>
                    <a:lnTo>
                      <a:pt x="140" y="219"/>
                    </a:lnTo>
                    <a:lnTo>
                      <a:pt x="136" y="218"/>
                    </a:lnTo>
                    <a:lnTo>
                      <a:pt x="136" y="218"/>
                    </a:lnTo>
                    <a:lnTo>
                      <a:pt x="127" y="209"/>
                    </a:lnTo>
                    <a:lnTo>
                      <a:pt x="123" y="206"/>
                    </a:lnTo>
                    <a:lnTo>
                      <a:pt x="122" y="205"/>
                    </a:lnTo>
                    <a:lnTo>
                      <a:pt x="122" y="205"/>
                    </a:lnTo>
                    <a:lnTo>
                      <a:pt x="122" y="205"/>
                    </a:lnTo>
                    <a:lnTo>
                      <a:pt x="119" y="208"/>
                    </a:lnTo>
                    <a:lnTo>
                      <a:pt x="119" y="208"/>
                    </a:lnTo>
                    <a:lnTo>
                      <a:pt x="122" y="209"/>
                    </a:lnTo>
                    <a:lnTo>
                      <a:pt x="122" y="209"/>
                    </a:lnTo>
                    <a:lnTo>
                      <a:pt x="123" y="212"/>
                    </a:lnTo>
                    <a:lnTo>
                      <a:pt x="126" y="215"/>
                    </a:lnTo>
                    <a:lnTo>
                      <a:pt x="126" y="218"/>
                    </a:lnTo>
                    <a:lnTo>
                      <a:pt x="126" y="218"/>
                    </a:lnTo>
                    <a:lnTo>
                      <a:pt x="123" y="221"/>
                    </a:lnTo>
                    <a:lnTo>
                      <a:pt x="119" y="222"/>
                    </a:lnTo>
                    <a:lnTo>
                      <a:pt x="119" y="222"/>
                    </a:lnTo>
                    <a:lnTo>
                      <a:pt x="117" y="224"/>
                    </a:lnTo>
                    <a:lnTo>
                      <a:pt x="117" y="228"/>
                    </a:lnTo>
                    <a:lnTo>
                      <a:pt x="117" y="232"/>
                    </a:lnTo>
                    <a:lnTo>
                      <a:pt x="117" y="234"/>
                    </a:lnTo>
                    <a:lnTo>
                      <a:pt x="119" y="234"/>
                    </a:lnTo>
                    <a:lnTo>
                      <a:pt x="119" y="234"/>
                    </a:lnTo>
                    <a:lnTo>
                      <a:pt x="126" y="226"/>
                    </a:lnTo>
                    <a:lnTo>
                      <a:pt x="130" y="222"/>
                    </a:lnTo>
                    <a:lnTo>
                      <a:pt x="133" y="221"/>
                    </a:lnTo>
                    <a:lnTo>
                      <a:pt x="133" y="221"/>
                    </a:lnTo>
                    <a:lnTo>
                      <a:pt x="139" y="222"/>
                    </a:lnTo>
                    <a:lnTo>
                      <a:pt x="140" y="222"/>
                    </a:lnTo>
                    <a:lnTo>
                      <a:pt x="140" y="225"/>
                    </a:lnTo>
                    <a:lnTo>
                      <a:pt x="140" y="225"/>
                    </a:lnTo>
                    <a:lnTo>
                      <a:pt x="140" y="228"/>
                    </a:lnTo>
                    <a:lnTo>
                      <a:pt x="139" y="231"/>
                    </a:lnTo>
                    <a:lnTo>
                      <a:pt x="139" y="232"/>
                    </a:lnTo>
                    <a:lnTo>
                      <a:pt x="142" y="231"/>
                    </a:lnTo>
                    <a:lnTo>
                      <a:pt x="142" y="231"/>
                    </a:lnTo>
                    <a:lnTo>
                      <a:pt x="149" y="228"/>
                    </a:lnTo>
                    <a:lnTo>
                      <a:pt x="155" y="226"/>
                    </a:lnTo>
                    <a:lnTo>
                      <a:pt x="155" y="226"/>
                    </a:lnTo>
                    <a:lnTo>
                      <a:pt x="158" y="226"/>
                    </a:lnTo>
                    <a:lnTo>
                      <a:pt x="159" y="229"/>
                    </a:lnTo>
                    <a:lnTo>
                      <a:pt x="161" y="232"/>
                    </a:lnTo>
                    <a:lnTo>
                      <a:pt x="161" y="234"/>
                    </a:lnTo>
                    <a:lnTo>
                      <a:pt x="161" y="234"/>
                    </a:lnTo>
                    <a:lnTo>
                      <a:pt x="156" y="237"/>
                    </a:lnTo>
                    <a:lnTo>
                      <a:pt x="156" y="239"/>
                    </a:lnTo>
                    <a:lnTo>
                      <a:pt x="158" y="241"/>
                    </a:lnTo>
                    <a:lnTo>
                      <a:pt x="158" y="241"/>
                    </a:lnTo>
                    <a:lnTo>
                      <a:pt x="162" y="244"/>
                    </a:lnTo>
                    <a:lnTo>
                      <a:pt x="164" y="245"/>
                    </a:lnTo>
                    <a:lnTo>
                      <a:pt x="166" y="245"/>
                    </a:lnTo>
                    <a:lnTo>
                      <a:pt x="166" y="245"/>
                    </a:lnTo>
                    <a:lnTo>
                      <a:pt x="172" y="241"/>
                    </a:lnTo>
                    <a:lnTo>
                      <a:pt x="177" y="239"/>
                    </a:lnTo>
                    <a:lnTo>
                      <a:pt x="180" y="241"/>
                    </a:lnTo>
                    <a:lnTo>
                      <a:pt x="180" y="241"/>
                    </a:lnTo>
                    <a:lnTo>
                      <a:pt x="181" y="245"/>
                    </a:lnTo>
                    <a:lnTo>
                      <a:pt x="181" y="250"/>
                    </a:lnTo>
                    <a:lnTo>
                      <a:pt x="181" y="250"/>
                    </a:lnTo>
                    <a:lnTo>
                      <a:pt x="182" y="252"/>
                    </a:lnTo>
                    <a:lnTo>
                      <a:pt x="184" y="254"/>
                    </a:lnTo>
                    <a:lnTo>
                      <a:pt x="185" y="257"/>
                    </a:lnTo>
                    <a:lnTo>
                      <a:pt x="182" y="258"/>
                    </a:lnTo>
                    <a:lnTo>
                      <a:pt x="182" y="258"/>
                    </a:lnTo>
                    <a:lnTo>
                      <a:pt x="180" y="260"/>
                    </a:lnTo>
                    <a:lnTo>
                      <a:pt x="177" y="264"/>
                    </a:lnTo>
                    <a:lnTo>
                      <a:pt x="175" y="270"/>
                    </a:lnTo>
                    <a:lnTo>
                      <a:pt x="175" y="270"/>
                    </a:lnTo>
                    <a:lnTo>
                      <a:pt x="174" y="276"/>
                    </a:lnTo>
                    <a:lnTo>
                      <a:pt x="174" y="279"/>
                    </a:lnTo>
                    <a:lnTo>
                      <a:pt x="171" y="281"/>
                    </a:lnTo>
                    <a:lnTo>
                      <a:pt x="171" y="281"/>
                    </a:lnTo>
                    <a:lnTo>
                      <a:pt x="161" y="290"/>
                    </a:lnTo>
                    <a:lnTo>
                      <a:pt x="153" y="294"/>
                    </a:lnTo>
                    <a:lnTo>
                      <a:pt x="149" y="296"/>
                    </a:lnTo>
                    <a:lnTo>
                      <a:pt x="149" y="296"/>
                    </a:lnTo>
                    <a:lnTo>
                      <a:pt x="142" y="293"/>
                    </a:lnTo>
                    <a:lnTo>
                      <a:pt x="133" y="290"/>
                    </a:lnTo>
                    <a:lnTo>
                      <a:pt x="133" y="290"/>
                    </a:lnTo>
                    <a:lnTo>
                      <a:pt x="132" y="287"/>
                    </a:lnTo>
                    <a:lnTo>
                      <a:pt x="133" y="283"/>
                    </a:lnTo>
                    <a:lnTo>
                      <a:pt x="133" y="279"/>
                    </a:lnTo>
                    <a:lnTo>
                      <a:pt x="133" y="276"/>
                    </a:lnTo>
                    <a:lnTo>
                      <a:pt x="133" y="276"/>
                    </a:lnTo>
                    <a:lnTo>
                      <a:pt x="130" y="271"/>
                    </a:lnTo>
                    <a:lnTo>
                      <a:pt x="126" y="270"/>
                    </a:lnTo>
                    <a:lnTo>
                      <a:pt x="126" y="270"/>
                    </a:lnTo>
                    <a:lnTo>
                      <a:pt x="122" y="271"/>
                    </a:lnTo>
                    <a:lnTo>
                      <a:pt x="119" y="271"/>
                    </a:lnTo>
                    <a:lnTo>
                      <a:pt x="117" y="268"/>
                    </a:lnTo>
                    <a:lnTo>
                      <a:pt x="117" y="268"/>
                    </a:lnTo>
                    <a:lnTo>
                      <a:pt x="116" y="266"/>
                    </a:lnTo>
                    <a:lnTo>
                      <a:pt x="114" y="261"/>
                    </a:lnTo>
                    <a:lnTo>
                      <a:pt x="113" y="258"/>
                    </a:lnTo>
                    <a:lnTo>
                      <a:pt x="110" y="258"/>
                    </a:lnTo>
                    <a:lnTo>
                      <a:pt x="110" y="258"/>
                    </a:lnTo>
                    <a:lnTo>
                      <a:pt x="110" y="260"/>
                    </a:lnTo>
                    <a:lnTo>
                      <a:pt x="110" y="261"/>
                    </a:lnTo>
                    <a:lnTo>
                      <a:pt x="111" y="268"/>
                    </a:lnTo>
                    <a:lnTo>
                      <a:pt x="114" y="274"/>
                    </a:lnTo>
                    <a:lnTo>
                      <a:pt x="114" y="277"/>
                    </a:lnTo>
                    <a:lnTo>
                      <a:pt x="114" y="277"/>
                    </a:lnTo>
                    <a:lnTo>
                      <a:pt x="114" y="277"/>
                    </a:lnTo>
                    <a:lnTo>
                      <a:pt x="109" y="279"/>
                    </a:lnTo>
                    <a:lnTo>
                      <a:pt x="106" y="279"/>
                    </a:lnTo>
                    <a:lnTo>
                      <a:pt x="103" y="277"/>
                    </a:lnTo>
                    <a:lnTo>
                      <a:pt x="103" y="277"/>
                    </a:lnTo>
                    <a:lnTo>
                      <a:pt x="101" y="274"/>
                    </a:lnTo>
                    <a:lnTo>
                      <a:pt x="101" y="268"/>
                    </a:lnTo>
                    <a:lnTo>
                      <a:pt x="100" y="264"/>
                    </a:lnTo>
                    <a:lnTo>
                      <a:pt x="100" y="264"/>
                    </a:lnTo>
                    <a:lnTo>
                      <a:pt x="98" y="264"/>
                    </a:lnTo>
                    <a:lnTo>
                      <a:pt x="98" y="264"/>
                    </a:lnTo>
                    <a:lnTo>
                      <a:pt x="97" y="266"/>
                    </a:lnTo>
                    <a:lnTo>
                      <a:pt x="97" y="268"/>
                    </a:lnTo>
                    <a:lnTo>
                      <a:pt x="96" y="273"/>
                    </a:lnTo>
                    <a:lnTo>
                      <a:pt x="94" y="274"/>
                    </a:lnTo>
                    <a:lnTo>
                      <a:pt x="94" y="274"/>
                    </a:lnTo>
                    <a:lnTo>
                      <a:pt x="88" y="274"/>
                    </a:lnTo>
                    <a:lnTo>
                      <a:pt x="87" y="273"/>
                    </a:lnTo>
                    <a:lnTo>
                      <a:pt x="85" y="271"/>
                    </a:lnTo>
                    <a:lnTo>
                      <a:pt x="85" y="271"/>
                    </a:lnTo>
                    <a:lnTo>
                      <a:pt x="84" y="264"/>
                    </a:lnTo>
                    <a:lnTo>
                      <a:pt x="81" y="261"/>
                    </a:lnTo>
                    <a:lnTo>
                      <a:pt x="81" y="261"/>
                    </a:lnTo>
                    <a:lnTo>
                      <a:pt x="80" y="261"/>
                    </a:lnTo>
                    <a:lnTo>
                      <a:pt x="80" y="261"/>
                    </a:lnTo>
                    <a:lnTo>
                      <a:pt x="80" y="264"/>
                    </a:lnTo>
                    <a:lnTo>
                      <a:pt x="78" y="268"/>
                    </a:lnTo>
                    <a:lnTo>
                      <a:pt x="78" y="271"/>
                    </a:lnTo>
                    <a:lnTo>
                      <a:pt x="77" y="273"/>
                    </a:lnTo>
                    <a:lnTo>
                      <a:pt x="77" y="273"/>
                    </a:lnTo>
                    <a:lnTo>
                      <a:pt x="75" y="271"/>
                    </a:lnTo>
                    <a:lnTo>
                      <a:pt x="72" y="270"/>
                    </a:lnTo>
                    <a:lnTo>
                      <a:pt x="71" y="268"/>
                    </a:lnTo>
                    <a:lnTo>
                      <a:pt x="68" y="268"/>
                    </a:lnTo>
                    <a:lnTo>
                      <a:pt x="68" y="268"/>
                    </a:lnTo>
                    <a:lnTo>
                      <a:pt x="67" y="271"/>
                    </a:lnTo>
                    <a:lnTo>
                      <a:pt x="67" y="274"/>
                    </a:lnTo>
                    <a:lnTo>
                      <a:pt x="67" y="277"/>
                    </a:lnTo>
                    <a:lnTo>
                      <a:pt x="68" y="279"/>
                    </a:lnTo>
                    <a:lnTo>
                      <a:pt x="68" y="279"/>
                    </a:lnTo>
                    <a:lnTo>
                      <a:pt x="72" y="280"/>
                    </a:lnTo>
                    <a:lnTo>
                      <a:pt x="74" y="281"/>
                    </a:lnTo>
                    <a:lnTo>
                      <a:pt x="74" y="284"/>
                    </a:lnTo>
                    <a:lnTo>
                      <a:pt x="74" y="284"/>
                    </a:lnTo>
                    <a:lnTo>
                      <a:pt x="69" y="289"/>
                    </a:lnTo>
                    <a:lnTo>
                      <a:pt x="68" y="289"/>
                    </a:lnTo>
                    <a:lnTo>
                      <a:pt x="64" y="289"/>
                    </a:lnTo>
                    <a:lnTo>
                      <a:pt x="64" y="289"/>
                    </a:lnTo>
                    <a:lnTo>
                      <a:pt x="59" y="286"/>
                    </a:lnTo>
                    <a:lnTo>
                      <a:pt x="54" y="283"/>
                    </a:lnTo>
                    <a:lnTo>
                      <a:pt x="54" y="283"/>
                    </a:lnTo>
                    <a:lnTo>
                      <a:pt x="52" y="281"/>
                    </a:lnTo>
                    <a:lnTo>
                      <a:pt x="51" y="279"/>
                    </a:lnTo>
                    <a:lnTo>
                      <a:pt x="51" y="273"/>
                    </a:lnTo>
                    <a:lnTo>
                      <a:pt x="51" y="273"/>
                    </a:lnTo>
                    <a:lnTo>
                      <a:pt x="51" y="266"/>
                    </a:lnTo>
                    <a:lnTo>
                      <a:pt x="49" y="263"/>
                    </a:lnTo>
                    <a:lnTo>
                      <a:pt x="49" y="261"/>
                    </a:lnTo>
                    <a:lnTo>
                      <a:pt x="49" y="261"/>
                    </a:lnTo>
                    <a:lnTo>
                      <a:pt x="46" y="270"/>
                    </a:lnTo>
                    <a:lnTo>
                      <a:pt x="45" y="276"/>
                    </a:lnTo>
                    <a:lnTo>
                      <a:pt x="43" y="279"/>
                    </a:lnTo>
                    <a:lnTo>
                      <a:pt x="43" y="279"/>
                    </a:lnTo>
                    <a:lnTo>
                      <a:pt x="39" y="276"/>
                    </a:lnTo>
                    <a:lnTo>
                      <a:pt x="38" y="274"/>
                    </a:lnTo>
                    <a:lnTo>
                      <a:pt x="36" y="271"/>
                    </a:lnTo>
                    <a:lnTo>
                      <a:pt x="36" y="271"/>
                    </a:lnTo>
                    <a:lnTo>
                      <a:pt x="38" y="263"/>
                    </a:lnTo>
                    <a:lnTo>
                      <a:pt x="38" y="260"/>
                    </a:lnTo>
                    <a:lnTo>
                      <a:pt x="36" y="258"/>
                    </a:lnTo>
                    <a:lnTo>
                      <a:pt x="36" y="258"/>
                    </a:lnTo>
                    <a:lnTo>
                      <a:pt x="35" y="263"/>
                    </a:lnTo>
                    <a:lnTo>
                      <a:pt x="33" y="268"/>
                    </a:lnTo>
                    <a:lnTo>
                      <a:pt x="32" y="276"/>
                    </a:lnTo>
                    <a:lnTo>
                      <a:pt x="30" y="277"/>
                    </a:lnTo>
                    <a:lnTo>
                      <a:pt x="29" y="279"/>
                    </a:lnTo>
                    <a:lnTo>
                      <a:pt x="29" y="279"/>
                    </a:lnTo>
                    <a:lnTo>
                      <a:pt x="26" y="279"/>
                    </a:lnTo>
                    <a:lnTo>
                      <a:pt x="23" y="276"/>
                    </a:lnTo>
                    <a:lnTo>
                      <a:pt x="20" y="274"/>
                    </a:lnTo>
                    <a:lnTo>
                      <a:pt x="20" y="270"/>
                    </a:lnTo>
                    <a:lnTo>
                      <a:pt x="20" y="270"/>
                    </a:lnTo>
                    <a:lnTo>
                      <a:pt x="20" y="261"/>
                    </a:lnTo>
                    <a:lnTo>
                      <a:pt x="19" y="257"/>
                    </a:lnTo>
                    <a:lnTo>
                      <a:pt x="17" y="257"/>
                    </a:lnTo>
                    <a:lnTo>
                      <a:pt x="16" y="257"/>
                    </a:lnTo>
                    <a:lnTo>
                      <a:pt x="16" y="257"/>
                    </a:lnTo>
                    <a:lnTo>
                      <a:pt x="13" y="258"/>
                    </a:lnTo>
                    <a:lnTo>
                      <a:pt x="13" y="261"/>
                    </a:lnTo>
                    <a:lnTo>
                      <a:pt x="13" y="263"/>
                    </a:lnTo>
                    <a:lnTo>
                      <a:pt x="13" y="266"/>
                    </a:lnTo>
                    <a:lnTo>
                      <a:pt x="13" y="266"/>
                    </a:lnTo>
                    <a:lnTo>
                      <a:pt x="12" y="267"/>
                    </a:lnTo>
                    <a:lnTo>
                      <a:pt x="12" y="271"/>
                    </a:lnTo>
                    <a:lnTo>
                      <a:pt x="10" y="276"/>
                    </a:lnTo>
                    <a:lnTo>
                      <a:pt x="10" y="276"/>
                    </a:lnTo>
                    <a:lnTo>
                      <a:pt x="9" y="276"/>
                    </a:lnTo>
                    <a:lnTo>
                      <a:pt x="9" y="276"/>
                    </a:lnTo>
                    <a:lnTo>
                      <a:pt x="7" y="276"/>
                    </a:lnTo>
                    <a:lnTo>
                      <a:pt x="6" y="274"/>
                    </a:lnTo>
                    <a:lnTo>
                      <a:pt x="3" y="270"/>
                    </a:lnTo>
                    <a:lnTo>
                      <a:pt x="3" y="270"/>
                    </a:lnTo>
                    <a:lnTo>
                      <a:pt x="1" y="267"/>
                    </a:lnTo>
                    <a:lnTo>
                      <a:pt x="1" y="264"/>
                    </a:lnTo>
                    <a:lnTo>
                      <a:pt x="1" y="261"/>
                    </a:lnTo>
                    <a:lnTo>
                      <a:pt x="1" y="258"/>
                    </a:lnTo>
                    <a:lnTo>
                      <a:pt x="1" y="258"/>
                    </a:lnTo>
                    <a:lnTo>
                      <a:pt x="0" y="251"/>
                    </a:lnTo>
                    <a:lnTo>
                      <a:pt x="1" y="248"/>
                    </a:lnTo>
                    <a:lnTo>
                      <a:pt x="1" y="247"/>
                    </a:lnTo>
                    <a:lnTo>
                      <a:pt x="1" y="247"/>
                    </a:lnTo>
                    <a:lnTo>
                      <a:pt x="10" y="239"/>
                    </a:lnTo>
                    <a:lnTo>
                      <a:pt x="16" y="235"/>
                    </a:lnTo>
                    <a:lnTo>
                      <a:pt x="20" y="232"/>
                    </a:lnTo>
                    <a:lnTo>
                      <a:pt x="20" y="232"/>
                    </a:lnTo>
                    <a:lnTo>
                      <a:pt x="23" y="232"/>
                    </a:lnTo>
                    <a:lnTo>
                      <a:pt x="25" y="234"/>
                    </a:lnTo>
                    <a:lnTo>
                      <a:pt x="27" y="234"/>
                    </a:lnTo>
                    <a:lnTo>
                      <a:pt x="29" y="232"/>
                    </a:lnTo>
                    <a:lnTo>
                      <a:pt x="29" y="232"/>
                    </a:lnTo>
                    <a:lnTo>
                      <a:pt x="35" y="228"/>
                    </a:lnTo>
                    <a:lnTo>
                      <a:pt x="36" y="225"/>
                    </a:lnTo>
                    <a:lnTo>
                      <a:pt x="35" y="222"/>
                    </a:lnTo>
                    <a:lnTo>
                      <a:pt x="35" y="222"/>
                    </a:lnTo>
                    <a:lnTo>
                      <a:pt x="35" y="219"/>
                    </a:lnTo>
                    <a:lnTo>
                      <a:pt x="36" y="218"/>
                    </a:lnTo>
                    <a:lnTo>
                      <a:pt x="38" y="216"/>
                    </a:lnTo>
                    <a:lnTo>
                      <a:pt x="38" y="215"/>
                    </a:lnTo>
                    <a:lnTo>
                      <a:pt x="38" y="215"/>
                    </a:lnTo>
                    <a:lnTo>
                      <a:pt x="35" y="215"/>
                    </a:lnTo>
                    <a:lnTo>
                      <a:pt x="33" y="216"/>
                    </a:lnTo>
                    <a:lnTo>
                      <a:pt x="30" y="218"/>
                    </a:lnTo>
                    <a:lnTo>
                      <a:pt x="29" y="216"/>
                    </a:lnTo>
                    <a:lnTo>
                      <a:pt x="29" y="216"/>
                    </a:lnTo>
                    <a:lnTo>
                      <a:pt x="27" y="213"/>
                    </a:lnTo>
                    <a:lnTo>
                      <a:pt x="27" y="210"/>
                    </a:lnTo>
                    <a:lnTo>
                      <a:pt x="27" y="208"/>
                    </a:lnTo>
                    <a:lnTo>
                      <a:pt x="26" y="205"/>
                    </a:lnTo>
                    <a:lnTo>
                      <a:pt x="26" y="205"/>
                    </a:lnTo>
                    <a:lnTo>
                      <a:pt x="20" y="197"/>
                    </a:lnTo>
                    <a:lnTo>
                      <a:pt x="17" y="195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84"/>
                    </a:lnTo>
                    <a:lnTo>
                      <a:pt x="17" y="182"/>
                    </a:lnTo>
                    <a:lnTo>
                      <a:pt x="19" y="180"/>
                    </a:lnTo>
                    <a:lnTo>
                      <a:pt x="19" y="180"/>
                    </a:lnTo>
                    <a:lnTo>
                      <a:pt x="23" y="179"/>
                    </a:lnTo>
                    <a:lnTo>
                      <a:pt x="25" y="177"/>
                    </a:lnTo>
                    <a:lnTo>
                      <a:pt x="27" y="176"/>
                    </a:lnTo>
                    <a:lnTo>
                      <a:pt x="27" y="176"/>
                    </a:lnTo>
                    <a:lnTo>
                      <a:pt x="38" y="176"/>
                    </a:lnTo>
                    <a:lnTo>
                      <a:pt x="43" y="176"/>
                    </a:lnTo>
                    <a:lnTo>
                      <a:pt x="46" y="179"/>
                    </a:lnTo>
                    <a:lnTo>
                      <a:pt x="46" y="179"/>
                    </a:lnTo>
                    <a:lnTo>
                      <a:pt x="52" y="190"/>
                    </a:lnTo>
                    <a:lnTo>
                      <a:pt x="55" y="196"/>
                    </a:lnTo>
                    <a:lnTo>
                      <a:pt x="56" y="200"/>
                    </a:lnTo>
                    <a:lnTo>
                      <a:pt x="56" y="200"/>
                    </a:lnTo>
                    <a:lnTo>
                      <a:pt x="56" y="203"/>
                    </a:lnTo>
                    <a:lnTo>
                      <a:pt x="62" y="208"/>
                    </a:lnTo>
                    <a:lnTo>
                      <a:pt x="62" y="208"/>
                    </a:lnTo>
                    <a:lnTo>
                      <a:pt x="74" y="213"/>
                    </a:lnTo>
                    <a:lnTo>
                      <a:pt x="78" y="215"/>
                    </a:lnTo>
                    <a:lnTo>
                      <a:pt x="80" y="215"/>
                    </a:lnTo>
                    <a:lnTo>
                      <a:pt x="80" y="215"/>
                    </a:lnTo>
                    <a:lnTo>
                      <a:pt x="81" y="212"/>
                    </a:lnTo>
                    <a:lnTo>
                      <a:pt x="82" y="210"/>
                    </a:lnTo>
                    <a:lnTo>
                      <a:pt x="85" y="210"/>
                    </a:lnTo>
                    <a:lnTo>
                      <a:pt x="85" y="210"/>
                    </a:lnTo>
                    <a:lnTo>
                      <a:pt x="90" y="212"/>
                    </a:lnTo>
                    <a:lnTo>
                      <a:pt x="91" y="212"/>
                    </a:lnTo>
                    <a:lnTo>
                      <a:pt x="93" y="210"/>
                    </a:lnTo>
                    <a:lnTo>
                      <a:pt x="93" y="210"/>
                    </a:lnTo>
                    <a:lnTo>
                      <a:pt x="96" y="202"/>
                    </a:lnTo>
                    <a:lnTo>
                      <a:pt x="97" y="196"/>
                    </a:lnTo>
                    <a:lnTo>
                      <a:pt x="100" y="192"/>
                    </a:lnTo>
                    <a:lnTo>
                      <a:pt x="100" y="192"/>
                    </a:lnTo>
                    <a:lnTo>
                      <a:pt x="103" y="186"/>
                    </a:lnTo>
                    <a:lnTo>
                      <a:pt x="106" y="176"/>
                    </a:lnTo>
                    <a:lnTo>
                      <a:pt x="106" y="168"/>
                    </a:lnTo>
                    <a:lnTo>
                      <a:pt x="106" y="166"/>
                    </a:lnTo>
                    <a:lnTo>
                      <a:pt x="106" y="166"/>
                    </a:lnTo>
                    <a:lnTo>
                      <a:pt x="104" y="167"/>
                    </a:lnTo>
                    <a:lnTo>
                      <a:pt x="103" y="170"/>
                    </a:lnTo>
                    <a:lnTo>
                      <a:pt x="103" y="174"/>
                    </a:lnTo>
                    <a:lnTo>
                      <a:pt x="101" y="177"/>
                    </a:lnTo>
                    <a:lnTo>
                      <a:pt x="101" y="177"/>
                    </a:lnTo>
                    <a:lnTo>
                      <a:pt x="94" y="190"/>
                    </a:lnTo>
                    <a:lnTo>
                      <a:pt x="90" y="197"/>
                    </a:lnTo>
                    <a:lnTo>
                      <a:pt x="88" y="200"/>
                    </a:lnTo>
                    <a:lnTo>
                      <a:pt x="85" y="202"/>
                    </a:lnTo>
                    <a:lnTo>
                      <a:pt x="85" y="202"/>
                    </a:lnTo>
                    <a:lnTo>
                      <a:pt x="80" y="200"/>
                    </a:lnTo>
                    <a:lnTo>
                      <a:pt x="77" y="199"/>
                    </a:lnTo>
                    <a:lnTo>
                      <a:pt x="74" y="197"/>
                    </a:lnTo>
                    <a:lnTo>
                      <a:pt x="74" y="197"/>
                    </a:lnTo>
                    <a:lnTo>
                      <a:pt x="71" y="193"/>
                    </a:lnTo>
                    <a:lnTo>
                      <a:pt x="69" y="192"/>
                    </a:lnTo>
                    <a:lnTo>
                      <a:pt x="69" y="192"/>
                    </a:lnTo>
                    <a:lnTo>
                      <a:pt x="67" y="190"/>
                    </a:lnTo>
                    <a:lnTo>
                      <a:pt x="65" y="187"/>
                    </a:lnTo>
                    <a:lnTo>
                      <a:pt x="64" y="182"/>
                    </a:lnTo>
                    <a:lnTo>
                      <a:pt x="64" y="182"/>
                    </a:lnTo>
                    <a:lnTo>
                      <a:pt x="62" y="177"/>
                    </a:lnTo>
                    <a:lnTo>
                      <a:pt x="61" y="173"/>
                    </a:lnTo>
                    <a:lnTo>
                      <a:pt x="58" y="170"/>
                    </a:lnTo>
                    <a:lnTo>
                      <a:pt x="58" y="170"/>
                    </a:lnTo>
                    <a:lnTo>
                      <a:pt x="58" y="168"/>
                    </a:lnTo>
                    <a:lnTo>
                      <a:pt x="59" y="167"/>
                    </a:lnTo>
                    <a:lnTo>
                      <a:pt x="64" y="167"/>
                    </a:lnTo>
                    <a:lnTo>
                      <a:pt x="65" y="166"/>
                    </a:lnTo>
                    <a:lnTo>
                      <a:pt x="65" y="166"/>
                    </a:lnTo>
                    <a:lnTo>
                      <a:pt x="68" y="160"/>
                    </a:lnTo>
                    <a:lnTo>
                      <a:pt x="71" y="157"/>
                    </a:lnTo>
                    <a:lnTo>
                      <a:pt x="71" y="157"/>
                    </a:lnTo>
                    <a:lnTo>
                      <a:pt x="74" y="157"/>
                    </a:lnTo>
                    <a:lnTo>
                      <a:pt x="77" y="157"/>
                    </a:lnTo>
                    <a:lnTo>
                      <a:pt x="80" y="157"/>
                    </a:lnTo>
                    <a:lnTo>
                      <a:pt x="80" y="155"/>
                    </a:lnTo>
                    <a:lnTo>
                      <a:pt x="80" y="155"/>
                    </a:lnTo>
                    <a:lnTo>
                      <a:pt x="78" y="153"/>
                    </a:lnTo>
                    <a:lnTo>
                      <a:pt x="77" y="153"/>
                    </a:lnTo>
                    <a:lnTo>
                      <a:pt x="72" y="150"/>
                    </a:lnTo>
                    <a:lnTo>
                      <a:pt x="72" y="150"/>
                    </a:lnTo>
                    <a:lnTo>
                      <a:pt x="72" y="148"/>
                    </a:lnTo>
                    <a:lnTo>
                      <a:pt x="72" y="145"/>
                    </a:lnTo>
                    <a:lnTo>
                      <a:pt x="72" y="141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69" y="141"/>
                    </a:lnTo>
                    <a:lnTo>
                      <a:pt x="68" y="144"/>
                    </a:lnTo>
                    <a:lnTo>
                      <a:pt x="64" y="151"/>
                    </a:lnTo>
                    <a:lnTo>
                      <a:pt x="64" y="151"/>
                    </a:lnTo>
                    <a:lnTo>
                      <a:pt x="61" y="155"/>
                    </a:lnTo>
                    <a:lnTo>
                      <a:pt x="58" y="160"/>
                    </a:lnTo>
                    <a:lnTo>
                      <a:pt x="54" y="161"/>
                    </a:lnTo>
                    <a:lnTo>
                      <a:pt x="51" y="161"/>
                    </a:lnTo>
                    <a:lnTo>
                      <a:pt x="51" y="161"/>
                    </a:lnTo>
                    <a:lnTo>
                      <a:pt x="49" y="161"/>
                    </a:lnTo>
                    <a:lnTo>
                      <a:pt x="49" y="158"/>
                    </a:lnTo>
                    <a:lnTo>
                      <a:pt x="51" y="154"/>
                    </a:lnTo>
                    <a:lnTo>
                      <a:pt x="51" y="154"/>
                    </a:lnTo>
                    <a:lnTo>
                      <a:pt x="52" y="151"/>
                    </a:lnTo>
                    <a:lnTo>
                      <a:pt x="54" y="147"/>
                    </a:lnTo>
                    <a:lnTo>
                      <a:pt x="54" y="144"/>
                    </a:lnTo>
                    <a:lnTo>
                      <a:pt x="52" y="144"/>
                    </a:lnTo>
                    <a:lnTo>
                      <a:pt x="52" y="144"/>
                    </a:lnTo>
                    <a:lnTo>
                      <a:pt x="52" y="144"/>
                    </a:lnTo>
                    <a:lnTo>
                      <a:pt x="48" y="151"/>
                    </a:lnTo>
                    <a:lnTo>
                      <a:pt x="45" y="154"/>
                    </a:lnTo>
                    <a:lnTo>
                      <a:pt x="42" y="155"/>
                    </a:lnTo>
                    <a:lnTo>
                      <a:pt x="42" y="155"/>
                    </a:lnTo>
                    <a:lnTo>
                      <a:pt x="33" y="157"/>
                    </a:lnTo>
                    <a:lnTo>
                      <a:pt x="29" y="157"/>
                    </a:lnTo>
                    <a:lnTo>
                      <a:pt x="29" y="155"/>
                    </a:lnTo>
                    <a:lnTo>
                      <a:pt x="29" y="155"/>
                    </a:lnTo>
                    <a:lnTo>
                      <a:pt x="29" y="155"/>
                    </a:lnTo>
                    <a:lnTo>
                      <a:pt x="30" y="153"/>
                    </a:lnTo>
                    <a:lnTo>
                      <a:pt x="32" y="153"/>
                    </a:lnTo>
                    <a:lnTo>
                      <a:pt x="33" y="151"/>
                    </a:lnTo>
                    <a:lnTo>
                      <a:pt x="33" y="148"/>
                    </a:lnTo>
                    <a:lnTo>
                      <a:pt x="33" y="148"/>
                    </a:lnTo>
                    <a:lnTo>
                      <a:pt x="32" y="142"/>
                    </a:lnTo>
                    <a:lnTo>
                      <a:pt x="30" y="138"/>
                    </a:lnTo>
                    <a:lnTo>
                      <a:pt x="30" y="138"/>
                    </a:lnTo>
                    <a:lnTo>
                      <a:pt x="29" y="135"/>
                    </a:lnTo>
                    <a:lnTo>
                      <a:pt x="29" y="132"/>
                    </a:lnTo>
                    <a:lnTo>
                      <a:pt x="30" y="129"/>
                    </a:lnTo>
                    <a:lnTo>
                      <a:pt x="33" y="128"/>
                    </a:lnTo>
                    <a:lnTo>
                      <a:pt x="33" y="128"/>
                    </a:lnTo>
                    <a:lnTo>
                      <a:pt x="36" y="125"/>
                    </a:lnTo>
                    <a:lnTo>
                      <a:pt x="36" y="121"/>
                    </a:lnTo>
                    <a:lnTo>
                      <a:pt x="38" y="115"/>
                    </a:lnTo>
                    <a:lnTo>
                      <a:pt x="38" y="115"/>
                    </a:lnTo>
                    <a:lnTo>
                      <a:pt x="39" y="108"/>
                    </a:lnTo>
                    <a:lnTo>
                      <a:pt x="40" y="105"/>
                    </a:lnTo>
                    <a:lnTo>
                      <a:pt x="43" y="103"/>
                    </a:lnTo>
                    <a:lnTo>
                      <a:pt x="43" y="103"/>
                    </a:lnTo>
                    <a:lnTo>
                      <a:pt x="52" y="102"/>
                    </a:lnTo>
                    <a:lnTo>
                      <a:pt x="58" y="102"/>
                    </a:lnTo>
                    <a:lnTo>
                      <a:pt x="61" y="100"/>
                    </a:lnTo>
                    <a:lnTo>
                      <a:pt x="61" y="100"/>
                    </a:lnTo>
                    <a:lnTo>
                      <a:pt x="64" y="95"/>
                    </a:lnTo>
                    <a:lnTo>
                      <a:pt x="65" y="93"/>
                    </a:lnTo>
                    <a:lnTo>
                      <a:pt x="67" y="95"/>
                    </a:lnTo>
                    <a:lnTo>
                      <a:pt x="67" y="95"/>
                    </a:lnTo>
                    <a:lnTo>
                      <a:pt x="72" y="99"/>
                    </a:lnTo>
                    <a:lnTo>
                      <a:pt x="75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84" y="102"/>
                    </a:lnTo>
                    <a:lnTo>
                      <a:pt x="88" y="103"/>
                    </a:lnTo>
                    <a:lnTo>
                      <a:pt x="91" y="105"/>
                    </a:lnTo>
                    <a:lnTo>
                      <a:pt x="91" y="105"/>
                    </a:lnTo>
                    <a:lnTo>
                      <a:pt x="101" y="116"/>
                    </a:lnTo>
                    <a:lnTo>
                      <a:pt x="107" y="121"/>
                    </a:lnTo>
                    <a:lnTo>
                      <a:pt x="109" y="122"/>
                    </a:lnTo>
                    <a:lnTo>
                      <a:pt x="110" y="122"/>
                    </a:lnTo>
                    <a:lnTo>
                      <a:pt x="110" y="122"/>
                    </a:lnTo>
                    <a:lnTo>
                      <a:pt x="109" y="118"/>
                    </a:lnTo>
                    <a:lnTo>
                      <a:pt x="109" y="116"/>
                    </a:lnTo>
                    <a:lnTo>
                      <a:pt x="110" y="115"/>
                    </a:lnTo>
                    <a:lnTo>
                      <a:pt x="110" y="115"/>
                    </a:lnTo>
                    <a:lnTo>
                      <a:pt x="111" y="113"/>
                    </a:lnTo>
                    <a:lnTo>
                      <a:pt x="109" y="111"/>
                    </a:lnTo>
                    <a:lnTo>
                      <a:pt x="109" y="111"/>
                    </a:lnTo>
                    <a:lnTo>
                      <a:pt x="100" y="105"/>
                    </a:lnTo>
                    <a:lnTo>
                      <a:pt x="98" y="103"/>
                    </a:lnTo>
                    <a:lnTo>
                      <a:pt x="98" y="102"/>
                    </a:lnTo>
                    <a:lnTo>
                      <a:pt x="98" y="102"/>
                    </a:lnTo>
                    <a:lnTo>
                      <a:pt x="98" y="102"/>
                    </a:lnTo>
                    <a:lnTo>
                      <a:pt x="110" y="103"/>
                    </a:lnTo>
                    <a:lnTo>
                      <a:pt x="116" y="103"/>
                    </a:lnTo>
                    <a:lnTo>
                      <a:pt x="119" y="102"/>
                    </a:lnTo>
                    <a:lnTo>
                      <a:pt x="119" y="102"/>
                    </a:lnTo>
                    <a:lnTo>
                      <a:pt x="122" y="95"/>
                    </a:lnTo>
                    <a:lnTo>
                      <a:pt x="122" y="90"/>
                    </a:lnTo>
                    <a:lnTo>
                      <a:pt x="122" y="89"/>
                    </a:lnTo>
                    <a:lnTo>
                      <a:pt x="122" y="89"/>
                    </a:lnTo>
                    <a:lnTo>
                      <a:pt x="119" y="90"/>
                    </a:lnTo>
                    <a:lnTo>
                      <a:pt x="117" y="93"/>
                    </a:lnTo>
                    <a:lnTo>
                      <a:pt x="113" y="95"/>
                    </a:lnTo>
                    <a:lnTo>
                      <a:pt x="109" y="96"/>
                    </a:lnTo>
                    <a:lnTo>
                      <a:pt x="109" y="96"/>
                    </a:lnTo>
                    <a:lnTo>
                      <a:pt x="101" y="96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82" y="92"/>
                    </a:lnTo>
                    <a:lnTo>
                      <a:pt x="78" y="90"/>
                    </a:lnTo>
                    <a:lnTo>
                      <a:pt x="75" y="87"/>
                    </a:lnTo>
                    <a:lnTo>
                      <a:pt x="75" y="87"/>
                    </a:lnTo>
                    <a:lnTo>
                      <a:pt x="72" y="83"/>
                    </a:lnTo>
                    <a:lnTo>
                      <a:pt x="71" y="82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4" y="79"/>
                    </a:lnTo>
                    <a:lnTo>
                      <a:pt x="77" y="79"/>
                    </a:lnTo>
                    <a:lnTo>
                      <a:pt x="80" y="80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87" y="87"/>
                    </a:lnTo>
                    <a:lnTo>
                      <a:pt x="90" y="87"/>
                    </a:lnTo>
                    <a:lnTo>
                      <a:pt x="90" y="87"/>
                    </a:lnTo>
                    <a:lnTo>
                      <a:pt x="90" y="87"/>
                    </a:lnTo>
                    <a:lnTo>
                      <a:pt x="90" y="83"/>
                    </a:lnTo>
                    <a:lnTo>
                      <a:pt x="88" y="77"/>
                    </a:lnTo>
                    <a:lnTo>
                      <a:pt x="82" y="70"/>
                    </a:lnTo>
                    <a:lnTo>
                      <a:pt x="82" y="70"/>
                    </a:lnTo>
                    <a:lnTo>
                      <a:pt x="80" y="69"/>
                    </a:lnTo>
                    <a:lnTo>
                      <a:pt x="78" y="67"/>
                    </a:lnTo>
                    <a:lnTo>
                      <a:pt x="77" y="63"/>
                    </a:lnTo>
                    <a:lnTo>
                      <a:pt x="77" y="63"/>
                    </a:lnTo>
                    <a:lnTo>
                      <a:pt x="77" y="55"/>
                    </a:lnTo>
                    <a:lnTo>
                      <a:pt x="77" y="53"/>
                    </a:lnTo>
                    <a:lnTo>
                      <a:pt x="74" y="50"/>
                    </a:lnTo>
                    <a:lnTo>
                      <a:pt x="74" y="50"/>
                    </a:lnTo>
                    <a:lnTo>
                      <a:pt x="72" y="45"/>
                    </a:lnTo>
                    <a:lnTo>
                      <a:pt x="69" y="40"/>
                    </a:lnTo>
                    <a:lnTo>
                      <a:pt x="68" y="35"/>
                    </a:lnTo>
                    <a:lnTo>
                      <a:pt x="65" y="32"/>
                    </a:lnTo>
                    <a:lnTo>
                      <a:pt x="65" y="32"/>
                    </a:lnTo>
                    <a:lnTo>
                      <a:pt x="56" y="27"/>
                    </a:lnTo>
                    <a:lnTo>
                      <a:pt x="51" y="24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5" y="9"/>
                    </a:lnTo>
                    <a:lnTo>
                      <a:pt x="45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17" name="Freeform 67"/>
              <p:cNvSpPr>
                <a:spLocks/>
              </p:cNvSpPr>
              <p:nvPr/>
            </p:nvSpPr>
            <p:spPr bwMode="auto">
              <a:xfrm>
                <a:off x="2867506" y="1124939"/>
                <a:ext cx="172131" cy="158281"/>
              </a:xfrm>
              <a:custGeom>
                <a:avLst/>
                <a:gdLst>
                  <a:gd name="T0" fmla="*/ 142 w 174"/>
                  <a:gd name="T1" fmla="*/ 12 h 160"/>
                  <a:gd name="T2" fmla="*/ 133 w 174"/>
                  <a:gd name="T3" fmla="*/ 32 h 160"/>
                  <a:gd name="T4" fmla="*/ 145 w 174"/>
                  <a:gd name="T5" fmla="*/ 28 h 160"/>
                  <a:gd name="T6" fmla="*/ 155 w 174"/>
                  <a:gd name="T7" fmla="*/ 34 h 160"/>
                  <a:gd name="T8" fmla="*/ 155 w 174"/>
                  <a:gd name="T9" fmla="*/ 44 h 160"/>
                  <a:gd name="T10" fmla="*/ 164 w 174"/>
                  <a:gd name="T11" fmla="*/ 38 h 160"/>
                  <a:gd name="T12" fmla="*/ 174 w 174"/>
                  <a:gd name="T13" fmla="*/ 64 h 160"/>
                  <a:gd name="T14" fmla="*/ 151 w 174"/>
                  <a:gd name="T15" fmla="*/ 80 h 160"/>
                  <a:gd name="T16" fmla="*/ 145 w 174"/>
                  <a:gd name="T17" fmla="*/ 87 h 160"/>
                  <a:gd name="T18" fmla="*/ 141 w 174"/>
                  <a:gd name="T19" fmla="*/ 84 h 160"/>
                  <a:gd name="T20" fmla="*/ 136 w 174"/>
                  <a:gd name="T21" fmla="*/ 105 h 160"/>
                  <a:gd name="T22" fmla="*/ 132 w 174"/>
                  <a:gd name="T23" fmla="*/ 115 h 160"/>
                  <a:gd name="T24" fmla="*/ 126 w 174"/>
                  <a:gd name="T25" fmla="*/ 84 h 160"/>
                  <a:gd name="T26" fmla="*/ 122 w 174"/>
                  <a:gd name="T27" fmla="*/ 97 h 160"/>
                  <a:gd name="T28" fmla="*/ 128 w 174"/>
                  <a:gd name="T29" fmla="*/ 119 h 160"/>
                  <a:gd name="T30" fmla="*/ 123 w 174"/>
                  <a:gd name="T31" fmla="*/ 129 h 160"/>
                  <a:gd name="T32" fmla="*/ 113 w 174"/>
                  <a:gd name="T33" fmla="*/ 121 h 160"/>
                  <a:gd name="T34" fmla="*/ 118 w 174"/>
                  <a:gd name="T35" fmla="*/ 135 h 160"/>
                  <a:gd name="T36" fmla="*/ 116 w 174"/>
                  <a:gd name="T37" fmla="*/ 154 h 160"/>
                  <a:gd name="T38" fmla="*/ 110 w 174"/>
                  <a:gd name="T39" fmla="*/ 150 h 160"/>
                  <a:gd name="T40" fmla="*/ 97 w 174"/>
                  <a:gd name="T41" fmla="*/ 125 h 160"/>
                  <a:gd name="T42" fmla="*/ 96 w 174"/>
                  <a:gd name="T43" fmla="*/ 131 h 160"/>
                  <a:gd name="T44" fmla="*/ 102 w 174"/>
                  <a:gd name="T45" fmla="*/ 151 h 160"/>
                  <a:gd name="T46" fmla="*/ 89 w 174"/>
                  <a:gd name="T47" fmla="*/ 148 h 160"/>
                  <a:gd name="T48" fmla="*/ 90 w 174"/>
                  <a:gd name="T49" fmla="*/ 160 h 160"/>
                  <a:gd name="T50" fmla="*/ 65 w 174"/>
                  <a:gd name="T51" fmla="*/ 151 h 160"/>
                  <a:gd name="T52" fmla="*/ 60 w 174"/>
                  <a:gd name="T53" fmla="*/ 142 h 160"/>
                  <a:gd name="T54" fmla="*/ 52 w 174"/>
                  <a:gd name="T55" fmla="*/ 129 h 160"/>
                  <a:gd name="T56" fmla="*/ 70 w 174"/>
                  <a:gd name="T57" fmla="*/ 128 h 160"/>
                  <a:gd name="T58" fmla="*/ 61 w 174"/>
                  <a:gd name="T59" fmla="*/ 121 h 160"/>
                  <a:gd name="T60" fmla="*/ 48 w 174"/>
                  <a:gd name="T61" fmla="*/ 115 h 160"/>
                  <a:gd name="T62" fmla="*/ 52 w 174"/>
                  <a:gd name="T63" fmla="*/ 106 h 160"/>
                  <a:gd name="T64" fmla="*/ 42 w 174"/>
                  <a:gd name="T65" fmla="*/ 96 h 160"/>
                  <a:gd name="T66" fmla="*/ 44 w 174"/>
                  <a:gd name="T67" fmla="*/ 82 h 160"/>
                  <a:gd name="T68" fmla="*/ 55 w 174"/>
                  <a:gd name="T69" fmla="*/ 74 h 160"/>
                  <a:gd name="T70" fmla="*/ 89 w 174"/>
                  <a:gd name="T71" fmla="*/ 67 h 160"/>
                  <a:gd name="T72" fmla="*/ 67 w 174"/>
                  <a:gd name="T73" fmla="*/ 67 h 160"/>
                  <a:gd name="T74" fmla="*/ 64 w 174"/>
                  <a:gd name="T75" fmla="*/ 63 h 160"/>
                  <a:gd name="T76" fmla="*/ 76 w 174"/>
                  <a:gd name="T77" fmla="*/ 57 h 160"/>
                  <a:gd name="T78" fmla="*/ 57 w 174"/>
                  <a:gd name="T79" fmla="*/ 55 h 160"/>
                  <a:gd name="T80" fmla="*/ 51 w 174"/>
                  <a:gd name="T81" fmla="*/ 51 h 160"/>
                  <a:gd name="T82" fmla="*/ 39 w 174"/>
                  <a:gd name="T83" fmla="*/ 64 h 160"/>
                  <a:gd name="T84" fmla="*/ 38 w 174"/>
                  <a:gd name="T85" fmla="*/ 51 h 160"/>
                  <a:gd name="T86" fmla="*/ 29 w 174"/>
                  <a:gd name="T87" fmla="*/ 60 h 160"/>
                  <a:gd name="T88" fmla="*/ 18 w 174"/>
                  <a:gd name="T89" fmla="*/ 55 h 160"/>
                  <a:gd name="T90" fmla="*/ 15 w 174"/>
                  <a:gd name="T91" fmla="*/ 44 h 160"/>
                  <a:gd name="T92" fmla="*/ 31 w 174"/>
                  <a:gd name="T93" fmla="*/ 37 h 160"/>
                  <a:gd name="T94" fmla="*/ 34 w 174"/>
                  <a:gd name="T95" fmla="*/ 29 h 160"/>
                  <a:gd name="T96" fmla="*/ 16 w 174"/>
                  <a:gd name="T97" fmla="*/ 34 h 160"/>
                  <a:gd name="T98" fmla="*/ 5 w 174"/>
                  <a:gd name="T99" fmla="*/ 21 h 160"/>
                  <a:gd name="T100" fmla="*/ 7 w 174"/>
                  <a:gd name="T101" fmla="*/ 9 h 160"/>
                  <a:gd name="T102" fmla="*/ 2 w 174"/>
                  <a:gd name="T103" fmla="*/ 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4" h="160">
                    <a:moveTo>
                      <a:pt x="2" y="0"/>
                    </a:moveTo>
                    <a:lnTo>
                      <a:pt x="144" y="0"/>
                    </a:lnTo>
                    <a:lnTo>
                      <a:pt x="144" y="0"/>
                    </a:lnTo>
                    <a:lnTo>
                      <a:pt x="142" y="8"/>
                    </a:lnTo>
                    <a:lnTo>
                      <a:pt x="142" y="12"/>
                    </a:lnTo>
                    <a:lnTo>
                      <a:pt x="142" y="12"/>
                    </a:lnTo>
                    <a:lnTo>
                      <a:pt x="141" y="19"/>
                    </a:lnTo>
                    <a:lnTo>
                      <a:pt x="138" y="27"/>
                    </a:lnTo>
                    <a:lnTo>
                      <a:pt x="138" y="27"/>
                    </a:lnTo>
                    <a:lnTo>
                      <a:pt x="133" y="32"/>
                    </a:lnTo>
                    <a:lnTo>
                      <a:pt x="133" y="34"/>
                    </a:lnTo>
                    <a:lnTo>
                      <a:pt x="135" y="34"/>
                    </a:lnTo>
                    <a:lnTo>
                      <a:pt x="135" y="34"/>
                    </a:lnTo>
                    <a:lnTo>
                      <a:pt x="142" y="29"/>
                    </a:lnTo>
                    <a:lnTo>
                      <a:pt x="145" y="28"/>
                    </a:lnTo>
                    <a:lnTo>
                      <a:pt x="146" y="28"/>
                    </a:lnTo>
                    <a:lnTo>
                      <a:pt x="146" y="28"/>
                    </a:lnTo>
                    <a:lnTo>
                      <a:pt x="151" y="31"/>
                    </a:lnTo>
                    <a:lnTo>
                      <a:pt x="154" y="32"/>
                    </a:lnTo>
                    <a:lnTo>
                      <a:pt x="155" y="34"/>
                    </a:lnTo>
                    <a:lnTo>
                      <a:pt x="155" y="34"/>
                    </a:lnTo>
                    <a:lnTo>
                      <a:pt x="154" y="41"/>
                    </a:lnTo>
                    <a:lnTo>
                      <a:pt x="154" y="44"/>
                    </a:lnTo>
                    <a:lnTo>
                      <a:pt x="155" y="44"/>
                    </a:lnTo>
                    <a:lnTo>
                      <a:pt x="155" y="44"/>
                    </a:lnTo>
                    <a:lnTo>
                      <a:pt x="155" y="44"/>
                    </a:lnTo>
                    <a:lnTo>
                      <a:pt x="160" y="40"/>
                    </a:lnTo>
                    <a:lnTo>
                      <a:pt x="161" y="38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7" y="45"/>
                    </a:lnTo>
                    <a:lnTo>
                      <a:pt x="173" y="57"/>
                    </a:lnTo>
                    <a:lnTo>
                      <a:pt x="173" y="57"/>
                    </a:lnTo>
                    <a:lnTo>
                      <a:pt x="174" y="61"/>
                    </a:lnTo>
                    <a:lnTo>
                      <a:pt x="174" y="64"/>
                    </a:lnTo>
                    <a:lnTo>
                      <a:pt x="174" y="66"/>
                    </a:lnTo>
                    <a:lnTo>
                      <a:pt x="174" y="66"/>
                    </a:lnTo>
                    <a:lnTo>
                      <a:pt x="161" y="73"/>
                    </a:lnTo>
                    <a:lnTo>
                      <a:pt x="154" y="77"/>
                    </a:lnTo>
                    <a:lnTo>
                      <a:pt x="151" y="80"/>
                    </a:lnTo>
                    <a:lnTo>
                      <a:pt x="151" y="80"/>
                    </a:lnTo>
                    <a:lnTo>
                      <a:pt x="148" y="84"/>
                    </a:lnTo>
                    <a:lnTo>
                      <a:pt x="146" y="87"/>
                    </a:lnTo>
                    <a:lnTo>
                      <a:pt x="145" y="87"/>
                    </a:lnTo>
                    <a:lnTo>
                      <a:pt x="145" y="87"/>
                    </a:lnTo>
                    <a:lnTo>
                      <a:pt x="144" y="87"/>
                    </a:lnTo>
                    <a:lnTo>
                      <a:pt x="142" y="84"/>
                    </a:lnTo>
                    <a:lnTo>
                      <a:pt x="141" y="84"/>
                    </a:lnTo>
                    <a:lnTo>
                      <a:pt x="141" y="84"/>
                    </a:lnTo>
                    <a:lnTo>
                      <a:pt x="141" y="84"/>
                    </a:lnTo>
                    <a:lnTo>
                      <a:pt x="139" y="95"/>
                    </a:lnTo>
                    <a:lnTo>
                      <a:pt x="139" y="99"/>
                    </a:lnTo>
                    <a:lnTo>
                      <a:pt x="138" y="102"/>
                    </a:lnTo>
                    <a:lnTo>
                      <a:pt x="138" y="102"/>
                    </a:lnTo>
                    <a:lnTo>
                      <a:pt x="136" y="105"/>
                    </a:lnTo>
                    <a:lnTo>
                      <a:pt x="135" y="109"/>
                    </a:lnTo>
                    <a:lnTo>
                      <a:pt x="133" y="113"/>
                    </a:lnTo>
                    <a:lnTo>
                      <a:pt x="133" y="115"/>
                    </a:lnTo>
                    <a:lnTo>
                      <a:pt x="132" y="115"/>
                    </a:lnTo>
                    <a:lnTo>
                      <a:pt x="132" y="115"/>
                    </a:lnTo>
                    <a:lnTo>
                      <a:pt x="131" y="113"/>
                    </a:lnTo>
                    <a:lnTo>
                      <a:pt x="129" y="109"/>
                    </a:lnTo>
                    <a:lnTo>
                      <a:pt x="129" y="99"/>
                    </a:lnTo>
                    <a:lnTo>
                      <a:pt x="128" y="87"/>
                    </a:lnTo>
                    <a:lnTo>
                      <a:pt x="126" y="84"/>
                    </a:lnTo>
                    <a:lnTo>
                      <a:pt x="126" y="83"/>
                    </a:lnTo>
                    <a:lnTo>
                      <a:pt x="126" y="83"/>
                    </a:lnTo>
                    <a:lnTo>
                      <a:pt x="123" y="86"/>
                    </a:lnTo>
                    <a:lnTo>
                      <a:pt x="122" y="89"/>
                    </a:lnTo>
                    <a:lnTo>
                      <a:pt x="122" y="97"/>
                    </a:lnTo>
                    <a:lnTo>
                      <a:pt x="122" y="97"/>
                    </a:lnTo>
                    <a:lnTo>
                      <a:pt x="123" y="106"/>
                    </a:lnTo>
                    <a:lnTo>
                      <a:pt x="126" y="115"/>
                    </a:lnTo>
                    <a:lnTo>
                      <a:pt x="126" y="115"/>
                    </a:lnTo>
                    <a:lnTo>
                      <a:pt x="128" y="119"/>
                    </a:lnTo>
                    <a:lnTo>
                      <a:pt x="128" y="124"/>
                    </a:lnTo>
                    <a:lnTo>
                      <a:pt x="126" y="129"/>
                    </a:lnTo>
                    <a:lnTo>
                      <a:pt x="126" y="129"/>
                    </a:lnTo>
                    <a:lnTo>
                      <a:pt x="125" y="129"/>
                    </a:lnTo>
                    <a:lnTo>
                      <a:pt x="123" y="129"/>
                    </a:lnTo>
                    <a:lnTo>
                      <a:pt x="120" y="125"/>
                    </a:lnTo>
                    <a:lnTo>
                      <a:pt x="118" y="122"/>
                    </a:lnTo>
                    <a:lnTo>
                      <a:pt x="116" y="121"/>
                    </a:lnTo>
                    <a:lnTo>
                      <a:pt x="116" y="121"/>
                    </a:lnTo>
                    <a:lnTo>
                      <a:pt x="113" y="121"/>
                    </a:lnTo>
                    <a:lnTo>
                      <a:pt x="113" y="122"/>
                    </a:lnTo>
                    <a:lnTo>
                      <a:pt x="112" y="125"/>
                    </a:lnTo>
                    <a:lnTo>
                      <a:pt x="113" y="129"/>
                    </a:lnTo>
                    <a:lnTo>
                      <a:pt x="113" y="129"/>
                    </a:lnTo>
                    <a:lnTo>
                      <a:pt x="118" y="135"/>
                    </a:lnTo>
                    <a:lnTo>
                      <a:pt x="119" y="137"/>
                    </a:lnTo>
                    <a:lnTo>
                      <a:pt x="119" y="140"/>
                    </a:lnTo>
                    <a:lnTo>
                      <a:pt x="119" y="140"/>
                    </a:lnTo>
                    <a:lnTo>
                      <a:pt x="118" y="150"/>
                    </a:lnTo>
                    <a:lnTo>
                      <a:pt x="116" y="154"/>
                    </a:lnTo>
                    <a:lnTo>
                      <a:pt x="116" y="155"/>
                    </a:lnTo>
                    <a:lnTo>
                      <a:pt x="115" y="155"/>
                    </a:lnTo>
                    <a:lnTo>
                      <a:pt x="115" y="155"/>
                    </a:lnTo>
                    <a:lnTo>
                      <a:pt x="110" y="151"/>
                    </a:lnTo>
                    <a:lnTo>
                      <a:pt x="110" y="150"/>
                    </a:lnTo>
                    <a:lnTo>
                      <a:pt x="109" y="147"/>
                    </a:lnTo>
                    <a:lnTo>
                      <a:pt x="109" y="147"/>
                    </a:lnTo>
                    <a:lnTo>
                      <a:pt x="107" y="141"/>
                    </a:lnTo>
                    <a:lnTo>
                      <a:pt x="104" y="135"/>
                    </a:lnTo>
                    <a:lnTo>
                      <a:pt x="97" y="125"/>
                    </a:lnTo>
                    <a:lnTo>
                      <a:pt x="97" y="125"/>
                    </a:lnTo>
                    <a:lnTo>
                      <a:pt x="96" y="125"/>
                    </a:lnTo>
                    <a:lnTo>
                      <a:pt x="94" y="126"/>
                    </a:lnTo>
                    <a:lnTo>
                      <a:pt x="96" y="131"/>
                    </a:lnTo>
                    <a:lnTo>
                      <a:pt x="96" y="131"/>
                    </a:lnTo>
                    <a:lnTo>
                      <a:pt x="100" y="141"/>
                    </a:lnTo>
                    <a:lnTo>
                      <a:pt x="104" y="151"/>
                    </a:lnTo>
                    <a:lnTo>
                      <a:pt x="104" y="151"/>
                    </a:lnTo>
                    <a:lnTo>
                      <a:pt x="104" y="153"/>
                    </a:lnTo>
                    <a:lnTo>
                      <a:pt x="102" y="151"/>
                    </a:lnTo>
                    <a:lnTo>
                      <a:pt x="96" y="148"/>
                    </a:lnTo>
                    <a:lnTo>
                      <a:pt x="96" y="148"/>
                    </a:lnTo>
                    <a:lnTo>
                      <a:pt x="91" y="147"/>
                    </a:lnTo>
                    <a:lnTo>
                      <a:pt x="89" y="147"/>
                    </a:lnTo>
                    <a:lnTo>
                      <a:pt x="89" y="148"/>
                    </a:lnTo>
                    <a:lnTo>
                      <a:pt x="89" y="148"/>
                    </a:lnTo>
                    <a:lnTo>
                      <a:pt x="90" y="155"/>
                    </a:lnTo>
                    <a:lnTo>
                      <a:pt x="91" y="158"/>
                    </a:lnTo>
                    <a:lnTo>
                      <a:pt x="91" y="158"/>
                    </a:lnTo>
                    <a:lnTo>
                      <a:pt x="90" y="160"/>
                    </a:lnTo>
                    <a:lnTo>
                      <a:pt x="90" y="160"/>
                    </a:lnTo>
                    <a:lnTo>
                      <a:pt x="78" y="157"/>
                    </a:lnTo>
                    <a:lnTo>
                      <a:pt x="71" y="154"/>
                    </a:lnTo>
                    <a:lnTo>
                      <a:pt x="65" y="151"/>
                    </a:lnTo>
                    <a:lnTo>
                      <a:pt x="65" y="151"/>
                    </a:lnTo>
                    <a:lnTo>
                      <a:pt x="62" y="148"/>
                    </a:lnTo>
                    <a:lnTo>
                      <a:pt x="62" y="147"/>
                    </a:lnTo>
                    <a:lnTo>
                      <a:pt x="62" y="145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55" y="138"/>
                    </a:lnTo>
                    <a:lnTo>
                      <a:pt x="52" y="135"/>
                    </a:lnTo>
                    <a:lnTo>
                      <a:pt x="51" y="131"/>
                    </a:lnTo>
                    <a:lnTo>
                      <a:pt x="52" y="129"/>
                    </a:lnTo>
                    <a:lnTo>
                      <a:pt x="52" y="129"/>
                    </a:lnTo>
                    <a:lnTo>
                      <a:pt x="57" y="128"/>
                    </a:lnTo>
                    <a:lnTo>
                      <a:pt x="62" y="129"/>
                    </a:lnTo>
                    <a:lnTo>
                      <a:pt x="67" y="129"/>
                    </a:lnTo>
                    <a:lnTo>
                      <a:pt x="70" y="129"/>
                    </a:lnTo>
                    <a:lnTo>
                      <a:pt x="70" y="128"/>
                    </a:lnTo>
                    <a:lnTo>
                      <a:pt x="70" y="128"/>
                    </a:lnTo>
                    <a:lnTo>
                      <a:pt x="70" y="125"/>
                    </a:lnTo>
                    <a:lnTo>
                      <a:pt x="67" y="122"/>
                    </a:lnTo>
                    <a:lnTo>
                      <a:pt x="64" y="121"/>
                    </a:lnTo>
                    <a:lnTo>
                      <a:pt x="61" y="121"/>
                    </a:lnTo>
                    <a:lnTo>
                      <a:pt x="61" y="121"/>
                    </a:lnTo>
                    <a:lnTo>
                      <a:pt x="52" y="119"/>
                    </a:lnTo>
                    <a:lnTo>
                      <a:pt x="49" y="118"/>
                    </a:lnTo>
                    <a:lnTo>
                      <a:pt x="48" y="115"/>
                    </a:lnTo>
                    <a:lnTo>
                      <a:pt x="48" y="115"/>
                    </a:lnTo>
                    <a:lnTo>
                      <a:pt x="45" y="109"/>
                    </a:lnTo>
                    <a:lnTo>
                      <a:pt x="45" y="108"/>
                    </a:lnTo>
                    <a:lnTo>
                      <a:pt x="47" y="106"/>
                    </a:lnTo>
                    <a:lnTo>
                      <a:pt x="47" y="106"/>
                    </a:lnTo>
                    <a:lnTo>
                      <a:pt x="52" y="106"/>
                    </a:lnTo>
                    <a:lnTo>
                      <a:pt x="52" y="105"/>
                    </a:lnTo>
                    <a:lnTo>
                      <a:pt x="51" y="105"/>
                    </a:lnTo>
                    <a:lnTo>
                      <a:pt x="51" y="105"/>
                    </a:lnTo>
                    <a:lnTo>
                      <a:pt x="48" y="102"/>
                    </a:lnTo>
                    <a:lnTo>
                      <a:pt x="42" y="96"/>
                    </a:lnTo>
                    <a:lnTo>
                      <a:pt x="39" y="92"/>
                    </a:lnTo>
                    <a:lnTo>
                      <a:pt x="39" y="89"/>
                    </a:lnTo>
                    <a:lnTo>
                      <a:pt x="39" y="87"/>
                    </a:lnTo>
                    <a:lnTo>
                      <a:pt x="39" y="87"/>
                    </a:lnTo>
                    <a:lnTo>
                      <a:pt x="44" y="82"/>
                    </a:lnTo>
                    <a:lnTo>
                      <a:pt x="47" y="79"/>
                    </a:lnTo>
                    <a:lnTo>
                      <a:pt x="47" y="79"/>
                    </a:lnTo>
                    <a:lnTo>
                      <a:pt x="48" y="77"/>
                    </a:lnTo>
                    <a:lnTo>
                      <a:pt x="51" y="76"/>
                    </a:lnTo>
                    <a:lnTo>
                      <a:pt x="55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7" y="74"/>
                    </a:lnTo>
                    <a:lnTo>
                      <a:pt x="76" y="71"/>
                    </a:lnTo>
                    <a:lnTo>
                      <a:pt x="89" y="67"/>
                    </a:lnTo>
                    <a:lnTo>
                      <a:pt x="89" y="67"/>
                    </a:lnTo>
                    <a:lnTo>
                      <a:pt x="89" y="66"/>
                    </a:lnTo>
                    <a:lnTo>
                      <a:pt x="87" y="66"/>
                    </a:lnTo>
                    <a:lnTo>
                      <a:pt x="77" y="66"/>
                    </a:lnTo>
                    <a:lnTo>
                      <a:pt x="67" y="67"/>
                    </a:lnTo>
                    <a:lnTo>
                      <a:pt x="62" y="67"/>
                    </a:lnTo>
                    <a:lnTo>
                      <a:pt x="61" y="66"/>
                    </a:lnTo>
                    <a:lnTo>
                      <a:pt x="61" y="66"/>
                    </a:lnTo>
                    <a:lnTo>
                      <a:pt x="62" y="64"/>
                    </a:lnTo>
                    <a:lnTo>
                      <a:pt x="64" y="63"/>
                    </a:lnTo>
                    <a:lnTo>
                      <a:pt x="70" y="61"/>
                    </a:lnTo>
                    <a:lnTo>
                      <a:pt x="76" y="58"/>
                    </a:lnTo>
                    <a:lnTo>
                      <a:pt x="77" y="58"/>
                    </a:lnTo>
                    <a:lnTo>
                      <a:pt x="76" y="57"/>
                    </a:lnTo>
                    <a:lnTo>
                      <a:pt x="76" y="57"/>
                    </a:lnTo>
                    <a:lnTo>
                      <a:pt x="61" y="54"/>
                    </a:lnTo>
                    <a:lnTo>
                      <a:pt x="61" y="54"/>
                    </a:lnTo>
                    <a:lnTo>
                      <a:pt x="60" y="54"/>
                    </a:lnTo>
                    <a:lnTo>
                      <a:pt x="58" y="55"/>
                    </a:lnTo>
                    <a:lnTo>
                      <a:pt x="57" y="55"/>
                    </a:lnTo>
                    <a:lnTo>
                      <a:pt x="54" y="55"/>
                    </a:lnTo>
                    <a:lnTo>
                      <a:pt x="54" y="55"/>
                    </a:lnTo>
                    <a:lnTo>
                      <a:pt x="52" y="54"/>
                    </a:lnTo>
                    <a:lnTo>
                      <a:pt x="52" y="53"/>
                    </a:lnTo>
                    <a:lnTo>
                      <a:pt x="51" y="51"/>
                    </a:lnTo>
                    <a:lnTo>
                      <a:pt x="48" y="53"/>
                    </a:lnTo>
                    <a:lnTo>
                      <a:pt x="48" y="53"/>
                    </a:lnTo>
                    <a:lnTo>
                      <a:pt x="42" y="61"/>
                    </a:lnTo>
                    <a:lnTo>
                      <a:pt x="41" y="64"/>
                    </a:lnTo>
                    <a:lnTo>
                      <a:pt x="39" y="64"/>
                    </a:lnTo>
                    <a:lnTo>
                      <a:pt x="39" y="63"/>
                    </a:lnTo>
                    <a:lnTo>
                      <a:pt x="39" y="63"/>
                    </a:lnTo>
                    <a:lnTo>
                      <a:pt x="38" y="58"/>
                    </a:lnTo>
                    <a:lnTo>
                      <a:pt x="38" y="54"/>
                    </a:lnTo>
                    <a:lnTo>
                      <a:pt x="38" y="51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2" y="57"/>
                    </a:lnTo>
                    <a:lnTo>
                      <a:pt x="29" y="60"/>
                    </a:lnTo>
                    <a:lnTo>
                      <a:pt x="28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57"/>
                    </a:lnTo>
                    <a:lnTo>
                      <a:pt x="18" y="55"/>
                    </a:lnTo>
                    <a:lnTo>
                      <a:pt x="18" y="55"/>
                    </a:lnTo>
                    <a:lnTo>
                      <a:pt x="16" y="54"/>
                    </a:lnTo>
                    <a:lnTo>
                      <a:pt x="13" y="51"/>
                    </a:lnTo>
                    <a:lnTo>
                      <a:pt x="13" y="47"/>
                    </a:lnTo>
                    <a:lnTo>
                      <a:pt x="15" y="44"/>
                    </a:lnTo>
                    <a:lnTo>
                      <a:pt x="15" y="44"/>
                    </a:lnTo>
                    <a:lnTo>
                      <a:pt x="18" y="42"/>
                    </a:lnTo>
                    <a:lnTo>
                      <a:pt x="22" y="41"/>
                    </a:lnTo>
                    <a:lnTo>
                      <a:pt x="26" y="40"/>
                    </a:lnTo>
                    <a:lnTo>
                      <a:pt x="31" y="37"/>
                    </a:lnTo>
                    <a:lnTo>
                      <a:pt x="31" y="37"/>
                    </a:lnTo>
                    <a:lnTo>
                      <a:pt x="34" y="34"/>
                    </a:lnTo>
                    <a:lnTo>
                      <a:pt x="35" y="31"/>
                    </a:lnTo>
                    <a:lnTo>
                      <a:pt x="35" y="29"/>
                    </a:lnTo>
                    <a:lnTo>
                      <a:pt x="34" y="29"/>
                    </a:lnTo>
                    <a:lnTo>
                      <a:pt x="34" y="29"/>
                    </a:lnTo>
                    <a:lnTo>
                      <a:pt x="28" y="31"/>
                    </a:lnTo>
                    <a:lnTo>
                      <a:pt x="22" y="31"/>
                    </a:lnTo>
                    <a:lnTo>
                      <a:pt x="22" y="31"/>
                    </a:lnTo>
                    <a:lnTo>
                      <a:pt x="16" y="34"/>
                    </a:lnTo>
                    <a:lnTo>
                      <a:pt x="13" y="34"/>
                    </a:lnTo>
                    <a:lnTo>
                      <a:pt x="10" y="31"/>
                    </a:lnTo>
                    <a:lnTo>
                      <a:pt x="10" y="31"/>
                    </a:lnTo>
                    <a:lnTo>
                      <a:pt x="7" y="27"/>
                    </a:lnTo>
                    <a:lnTo>
                      <a:pt x="5" y="21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7" y="9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18" name="Freeform 68"/>
              <p:cNvSpPr>
                <a:spLocks/>
              </p:cNvSpPr>
              <p:nvPr/>
            </p:nvSpPr>
            <p:spPr bwMode="auto">
              <a:xfrm>
                <a:off x="2867506" y="1124939"/>
                <a:ext cx="172131" cy="158281"/>
              </a:xfrm>
              <a:custGeom>
                <a:avLst/>
                <a:gdLst>
                  <a:gd name="T0" fmla="*/ 142 w 174"/>
                  <a:gd name="T1" fmla="*/ 12 h 160"/>
                  <a:gd name="T2" fmla="*/ 133 w 174"/>
                  <a:gd name="T3" fmla="*/ 32 h 160"/>
                  <a:gd name="T4" fmla="*/ 145 w 174"/>
                  <a:gd name="T5" fmla="*/ 28 h 160"/>
                  <a:gd name="T6" fmla="*/ 155 w 174"/>
                  <a:gd name="T7" fmla="*/ 34 h 160"/>
                  <a:gd name="T8" fmla="*/ 155 w 174"/>
                  <a:gd name="T9" fmla="*/ 44 h 160"/>
                  <a:gd name="T10" fmla="*/ 164 w 174"/>
                  <a:gd name="T11" fmla="*/ 38 h 160"/>
                  <a:gd name="T12" fmla="*/ 174 w 174"/>
                  <a:gd name="T13" fmla="*/ 64 h 160"/>
                  <a:gd name="T14" fmla="*/ 151 w 174"/>
                  <a:gd name="T15" fmla="*/ 80 h 160"/>
                  <a:gd name="T16" fmla="*/ 145 w 174"/>
                  <a:gd name="T17" fmla="*/ 87 h 160"/>
                  <a:gd name="T18" fmla="*/ 141 w 174"/>
                  <a:gd name="T19" fmla="*/ 84 h 160"/>
                  <a:gd name="T20" fmla="*/ 136 w 174"/>
                  <a:gd name="T21" fmla="*/ 105 h 160"/>
                  <a:gd name="T22" fmla="*/ 132 w 174"/>
                  <a:gd name="T23" fmla="*/ 115 h 160"/>
                  <a:gd name="T24" fmla="*/ 126 w 174"/>
                  <a:gd name="T25" fmla="*/ 84 h 160"/>
                  <a:gd name="T26" fmla="*/ 122 w 174"/>
                  <a:gd name="T27" fmla="*/ 97 h 160"/>
                  <a:gd name="T28" fmla="*/ 128 w 174"/>
                  <a:gd name="T29" fmla="*/ 119 h 160"/>
                  <a:gd name="T30" fmla="*/ 123 w 174"/>
                  <a:gd name="T31" fmla="*/ 129 h 160"/>
                  <a:gd name="T32" fmla="*/ 113 w 174"/>
                  <a:gd name="T33" fmla="*/ 121 h 160"/>
                  <a:gd name="T34" fmla="*/ 118 w 174"/>
                  <a:gd name="T35" fmla="*/ 135 h 160"/>
                  <a:gd name="T36" fmla="*/ 116 w 174"/>
                  <a:gd name="T37" fmla="*/ 154 h 160"/>
                  <a:gd name="T38" fmla="*/ 110 w 174"/>
                  <a:gd name="T39" fmla="*/ 150 h 160"/>
                  <a:gd name="T40" fmla="*/ 97 w 174"/>
                  <a:gd name="T41" fmla="*/ 125 h 160"/>
                  <a:gd name="T42" fmla="*/ 96 w 174"/>
                  <a:gd name="T43" fmla="*/ 131 h 160"/>
                  <a:gd name="T44" fmla="*/ 102 w 174"/>
                  <a:gd name="T45" fmla="*/ 151 h 160"/>
                  <a:gd name="T46" fmla="*/ 89 w 174"/>
                  <a:gd name="T47" fmla="*/ 148 h 160"/>
                  <a:gd name="T48" fmla="*/ 90 w 174"/>
                  <a:gd name="T49" fmla="*/ 160 h 160"/>
                  <a:gd name="T50" fmla="*/ 65 w 174"/>
                  <a:gd name="T51" fmla="*/ 151 h 160"/>
                  <a:gd name="T52" fmla="*/ 60 w 174"/>
                  <a:gd name="T53" fmla="*/ 142 h 160"/>
                  <a:gd name="T54" fmla="*/ 52 w 174"/>
                  <a:gd name="T55" fmla="*/ 129 h 160"/>
                  <a:gd name="T56" fmla="*/ 70 w 174"/>
                  <a:gd name="T57" fmla="*/ 128 h 160"/>
                  <a:gd name="T58" fmla="*/ 61 w 174"/>
                  <a:gd name="T59" fmla="*/ 121 h 160"/>
                  <a:gd name="T60" fmla="*/ 48 w 174"/>
                  <a:gd name="T61" fmla="*/ 115 h 160"/>
                  <a:gd name="T62" fmla="*/ 52 w 174"/>
                  <a:gd name="T63" fmla="*/ 106 h 160"/>
                  <a:gd name="T64" fmla="*/ 42 w 174"/>
                  <a:gd name="T65" fmla="*/ 96 h 160"/>
                  <a:gd name="T66" fmla="*/ 44 w 174"/>
                  <a:gd name="T67" fmla="*/ 82 h 160"/>
                  <a:gd name="T68" fmla="*/ 55 w 174"/>
                  <a:gd name="T69" fmla="*/ 74 h 160"/>
                  <a:gd name="T70" fmla="*/ 89 w 174"/>
                  <a:gd name="T71" fmla="*/ 67 h 160"/>
                  <a:gd name="T72" fmla="*/ 67 w 174"/>
                  <a:gd name="T73" fmla="*/ 67 h 160"/>
                  <a:gd name="T74" fmla="*/ 64 w 174"/>
                  <a:gd name="T75" fmla="*/ 63 h 160"/>
                  <a:gd name="T76" fmla="*/ 76 w 174"/>
                  <a:gd name="T77" fmla="*/ 57 h 160"/>
                  <a:gd name="T78" fmla="*/ 57 w 174"/>
                  <a:gd name="T79" fmla="*/ 55 h 160"/>
                  <a:gd name="T80" fmla="*/ 51 w 174"/>
                  <a:gd name="T81" fmla="*/ 51 h 160"/>
                  <a:gd name="T82" fmla="*/ 39 w 174"/>
                  <a:gd name="T83" fmla="*/ 64 h 160"/>
                  <a:gd name="T84" fmla="*/ 38 w 174"/>
                  <a:gd name="T85" fmla="*/ 51 h 160"/>
                  <a:gd name="T86" fmla="*/ 29 w 174"/>
                  <a:gd name="T87" fmla="*/ 60 h 160"/>
                  <a:gd name="T88" fmla="*/ 18 w 174"/>
                  <a:gd name="T89" fmla="*/ 55 h 160"/>
                  <a:gd name="T90" fmla="*/ 15 w 174"/>
                  <a:gd name="T91" fmla="*/ 44 h 160"/>
                  <a:gd name="T92" fmla="*/ 31 w 174"/>
                  <a:gd name="T93" fmla="*/ 37 h 160"/>
                  <a:gd name="T94" fmla="*/ 34 w 174"/>
                  <a:gd name="T95" fmla="*/ 29 h 160"/>
                  <a:gd name="T96" fmla="*/ 16 w 174"/>
                  <a:gd name="T97" fmla="*/ 34 h 160"/>
                  <a:gd name="T98" fmla="*/ 5 w 174"/>
                  <a:gd name="T99" fmla="*/ 21 h 160"/>
                  <a:gd name="T100" fmla="*/ 7 w 174"/>
                  <a:gd name="T101" fmla="*/ 9 h 160"/>
                  <a:gd name="T102" fmla="*/ 2 w 174"/>
                  <a:gd name="T103" fmla="*/ 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4" h="160">
                    <a:moveTo>
                      <a:pt x="2" y="0"/>
                    </a:moveTo>
                    <a:lnTo>
                      <a:pt x="144" y="0"/>
                    </a:lnTo>
                    <a:lnTo>
                      <a:pt x="144" y="0"/>
                    </a:lnTo>
                    <a:lnTo>
                      <a:pt x="142" y="8"/>
                    </a:lnTo>
                    <a:lnTo>
                      <a:pt x="142" y="12"/>
                    </a:lnTo>
                    <a:lnTo>
                      <a:pt x="142" y="12"/>
                    </a:lnTo>
                    <a:lnTo>
                      <a:pt x="141" y="19"/>
                    </a:lnTo>
                    <a:lnTo>
                      <a:pt x="138" y="27"/>
                    </a:lnTo>
                    <a:lnTo>
                      <a:pt x="138" y="27"/>
                    </a:lnTo>
                    <a:lnTo>
                      <a:pt x="133" y="32"/>
                    </a:lnTo>
                    <a:lnTo>
                      <a:pt x="133" y="34"/>
                    </a:lnTo>
                    <a:lnTo>
                      <a:pt x="135" y="34"/>
                    </a:lnTo>
                    <a:lnTo>
                      <a:pt x="135" y="34"/>
                    </a:lnTo>
                    <a:lnTo>
                      <a:pt x="142" y="29"/>
                    </a:lnTo>
                    <a:lnTo>
                      <a:pt x="145" y="28"/>
                    </a:lnTo>
                    <a:lnTo>
                      <a:pt x="146" y="28"/>
                    </a:lnTo>
                    <a:lnTo>
                      <a:pt x="146" y="28"/>
                    </a:lnTo>
                    <a:lnTo>
                      <a:pt x="151" y="31"/>
                    </a:lnTo>
                    <a:lnTo>
                      <a:pt x="154" y="32"/>
                    </a:lnTo>
                    <a:lnTo>
                      <a:pt x="155" y="34"/>
                    </a:lnTo>
                    <a:lnTo>
                      <a:pt x="155" y="34"/>
                    </a:lnTo>
                    <a:lnTo>
                      <a:pt x="154" y="41"/>
                    </a:lnTo>
                    <a:lnTo>
                      <a:pt x="154" y="44"/>
                    </a:lnTo>
                    <a:lnTo>
                      <a:pt x="155" y="44"/>
                    </a:lnTo>
                    <a:lnTo>
                      <a:pt x="155" y="44"/>
                    </a:lnTo>
                    <a:lnTo>
                      <a:pt x="155" y="44"/>
                    </a:lnTo>
                    <a:lnTo>
                      <a:pt x="160" y="40"/>
                    </a:lnTo>
                    <a:lnTo>
                      <a:pt x="161" y="38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7" y="45"/>
                    </a:lnTo>
                    <a:lnTo>
                      <a:pt x="173" y="57"/>
                    </a:lnTo>
                    <a:lnTo>
                      <a:pt x="173" y="57"/>
                    </a:lnTo>
                    <a:lnTo>
                      <a:pt x="174" y="61"/>
                    </a:lnTo>
                    <a:lnTo>
                      <a:pt x="174" y="64"/>
                    </a:lnTo>
                    <a:lnTo>
                      <a:pt x="174" y="66"/>
                    </a:lnTo>
                    <a:lnTo>
                      <a:pt x="174" y="66"/>
                    </a:lnTo>
                    <a:lnTo>
                      <a:pt x="161" y="73"/>
                    </a:lnTo>
                    <a:lnTo>
                      <a:pt x="154" y="77"/>
                    </a:lnTo>
                    <a:lnTo>
                      <a:pt x="151" y="80"/>
                    </a:lnTo>
                    <a:lnTo>
                      <a:pt x="151" y="80"/>
                    </a:lnTo>
                    <a:lnTo>
                      <a:pt x="148" y="84"/>
                    </a:lnTo>
                    <a:lnTo>
                      <a:pt x="146" y="87"/>
                    </a:lnTo>
                    <a:lnTo>
                      <a:pt x="145" y="87"/>
                    </a:lnTo>
                    <a:lnTo>
                      <a:pt x="145" y="87"/>
                    </a:lnTo>
                    <a:lnTo>
                      <a:pt x="144" y="87"/>
                    </a:lnTo>
                    <a:lnTo>
                      <a:pt x="142" y="84"/>
                    </a:lnTo>
                    <a:lnTo>
                      <a:pt x="141" y="84"/>
                    </a:lnTo>
                    <a:lnTo>
                      <a:pt x="141" y="84"/>
                    </a:lnTo>
                    <a:lnTo>
                      <a:pt x="141" y="84"/>
                    </a:lnTo>
                    <a:lnTo>
                      <a:pt x="139" y="95"/>
                    </a:lnTo>
                    <a:lnTo>
                      <a:pt x="139" y="99"/>
                    </a:lnTo>
                    <a:lnTo>
                      <a:pt x="138" y="102"/>
                    </a:lnTo>
                    <a:lnTo>
                      <a:pt x="138" y="102"/>
                    </a:lnTo>
                    <a:lnTo>
                      <a:pt x="136" y="105"/>
                    </a:lnTo>
                    <a:lnTo>
                      <a:pt x="135" y="109"/>
                    </a:lnTo>
                    <a:lnTo>
                      <a:pt x="133" y="113"/>
                    </a:lnTo>
                    <a:lnTo>
                      <a:pt x="133" y="115"/>
                    </a:lnTo>
                    <a:lnTo>
                      <a:pt x="132" y="115"/>
                    </a:lnTo>
                    <a:lnTo>
                      <a:pt x="132" y="115"/>
                    </a:lnTo>
                    <a:lnTo>
                      <a:pt x="131" y="113"/>
                    </a:lnTo>
                    <a:lnTo>
                      <a:pt x="129" y="109"/>
                    </a:lnTo>
                    <a:lnTo>
                      <a:pt x="129" y="99"/>
                    </a:lnTo>
                    <a:lnTo>
                      <a:pt x="128" y="87"/>
                    </a:lnTo>
                    <a:lnTo>
                      <a:pt x="126" y="84"/>
                    </a:lnTo>
                    <a:lnTo>
                      <a:pt x="126" y="83"/>
                    </a:lnTo>
                    <a:lnTo>
                      <a:pt x="126" y="83"/>
                    </a:lnTo>
                    <a:lnTo>
                      <a:pt x="123" y="86"/>
                    </a:lnTo>
                    <a:lnTo>
                      <a:pt x="122" y="89"/>
                    </a:lnTo>
                    <a:lnTo>
                      <a:pt x="122" y="97"/>
                    </a:lnTo>
                    <a:lnTo>
                      <a:pt x="122" y="97"/>
                    </a:lnTo>
                    <a:lnTo>
                      <a:pt x="123" y="106"/>
                    </a:lnTo>
                    <a:lnTo>
                      <a:pt x="126" y="115"/>
                    </a:lnTo>
                    <a:lnTo>
                      <a:pt x="126" y="115"/>
                    </a:lnTo>
                    <a:lnTo>
                      <a:pt x="128" y="119"/>
                    </a:lnTo>
                    <a:lnTo>
                      <a:pt x="128" y="124"/>
                    </a:lnTo>
                    <a:lnTo>
                      <a:pt x="126" y="129"/>
                    </a:lnTo>
                    <a:lnTo>
                      <a:pt x="126" y="129"/>
                    </a:lnTo>
                    <a:lnTo>
                      <a:pt x="125" y="129"/>
                    </a:lnTo>
                    <a:lnTo>
                      <a:pt x="123" y="129"/>
                    </a:lnTo>
                    <a:lnTo>
                      <a:pt x="120" y="125"/>
                    </a:lnTo>
                    <a:lnTo>
                      <a:pt x="118" y="122"/>
                    </a:lnTo>
                    <a:lnTo>
                      <a:pt x="116" y="121"/>
                    </a:lnTo>
                    <a:lnTo>
                      <a:pt x="116" y="121"/>
                    </a:lnTo>
                    <a:lnTo>
                      <a:pt x="113" y="121"/>
                    </a:lnTo>
                    <a:lnTo>
                      <a:pt x="113" y="122"/>
                    </a:lnTo>
                    <a:lnTo>
                      <a:pt x="112" y="125"/>
                    </a:lnTo>
                    <a:lnTo>
                      <a:pt x="113" y="129"/>
                    </a:lnTo>
                    <a:lnTo>
                      <a:pt x="113" y="129"/>
                    </a:lnTo>
                    <a:lnTo>
                      <a:pt x="118" y="135"/>
                    </a:lnTo>
                    <a:lnTo>
                      <a:pt x="119" y="137"/>
                    </a:lnTo>
                    <a:lnTo>
                      <a:pt x="119" y="140"/>
                    </a:lnTo>
                    <a:lnTo>
                      <a:pt x="119" y="140"/>
                    </a:lnTo>
                    <a:lnTo>
                      <a:pt x="118" y="150"/>
                    </a:lnTo>
                    <a:lnTo>
                      <a:pt x="116" y="154"/>
                    </a:lnTo>
                    <a:lnTo>
                      <a:pt x="116" y="155"/>
                    </a:lnTo>
                    <a:lnTo>
                      <a:pt x="115" y="155"/>
                    </a:lnTo>
                    <a:lnTo>
                      <a:pt x="115" y="155"/>
                    </a:lnTo>
                    <a:lnTo>
                      <a:pt x="110" y="151"/>
                    </a:lnTo>
                    <a:lnTo>
                      <a:pt x="110" y="150"/>
                    </a:lnTo>
                    <a:lnTo>
                      <a:pt x="109" y="147"/>
                    </a:lnTo>
                    <a:lnTo>
                      <a:pt x="109" y="147"/>
                    </a:lnTo>
                    <a:lnTo>
                      <a:pt x="107" y="141"/>
                    </a:lnTo>
                    <a:lnTo>
                      <a:pt x="104" y="135"/>
                    </a:lnTo>
                    <a:lnTo>
                      <a:pt x="97" y="125"/>
                    </a:lnTo>
                    <a:lnTo>
                      <a:pt x="97" y="125"/>
                    </a:lnTo>
                    <a:lnTo>
                      <a:pt x="96" y="125"/>
                    </a:lnTo>
                    <a:lnTo>
                      <a:pt x="94" y="126"/>
                    </a:lnTo>
                    <a:lnTo>
                      <a:pt x="96" y="131"/>
                    </a:lnTo>
                    <a:lnTo>
                      <a:pt x="96" y="131"/>
                    </a:lnTo>
                    <a:lnTo>
                      <a:pt x="100" y="141"/>
                    </a:lnTo>
                    <a:lnTo>
                      <a:pt x="104" y="151"/>
                    </a:lnTo>
                    <a:lnTo>
                      <a:pt x="104" y="151"/>
                    </a:lnTo>
                    <a:lnTo>
                      <a:pt x="104" y="153"/>
                    </a:lnTo>
                    <a:lnTo>
                      <a:pt x="102" y="151"/>
                    </a:lnTo>
                    <a:lnTo>
                      <a:pt x="96" y="148"/>
                    </a:lnTo>
                    <a:lnTo>
                      <a:pt x="96" y="148"/>
                    </a:lnTo>
                    <a:lnTo>
                      <a:pt x="91" y="147"/>
                    </a:lnTo>
                    <a:lnTo>
                      <a:pt x="89" y="147"/>
                    </a:lnTo>
                    <a:lnTo>
                      <a:pt x="89" y="148"/>
                    </a:lnTo>
                    <a:lnTo>
                      <a:pt x="89" y="148"/>
                    </a:lnTo>
                    <a:lnTo>
                      <a:pt x="90" y="155"/>
                    </a:lnTo>
                    <a:lnTo>
                      <a:pt x="91" y="158"/>
                    </a:lnTo>
                    <a:lnTo>
                      <a:pt x="91" y="158"/>
                    </a:lnTo>
                    <a:lnTo>
                      <a:pt x="90" y="160"/>
                    </a:lnTo>
                    <a:lnTo>
                      <a:pt x="90" y="160"/>
                    </a:lnTo>
                    <a:lnTo>
                      <a:pt x="78" y="157"/>
                    </a:lnTo>
                    <a:lnTo>
                      <a:pt x="71" y="154"/>
                    </a:lnTo>
                    <a:lnTo>
                      <a:pt x="65" y="151"/>
                    </a:lnTo>
                    <a:lnTo>
                      <a:pt x="65" y="151"/>
                    </a:lnTo>
                    <a:lnTo>
                      <a:pt x="62" y="148"/>
                    </a:lnTo>
                    <a:lnTo>
                      <a:pt x="62" y="147"/>
                    </a:lnTo>
                    <a:lnTo>
                      <a:pt x="62" y="145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55" y="138"/>
                    </a:lnTo>
                    <a:lnTo>
                      <a:pt x="52" y="135"/>
                    </a:lnTo>
                    <a:lnTo>
                      <a:pt x="51" y="131"/>
                    </a:lnTo>
                    <a:lnTo>
                      <a:pt x="52" y="129"/>
                    </a:lnTo>
                    <a:lnTo>
                      <a:pt x="52" y="129"/>
                    </a:lnTo>
                    <a:lnTo>
                      <a:pt x="57" y="128"/>
                    </a:lnTo>
                    <a:lnTo>
                      <a:pt x="62" y="129"/>
                    </a:lnTo>
                    <a:lnTo>
                      <a:pt x="67" y="129"/>
                    </a:lnTo>
                    <a:lnTo>
                      <a:pt x="70" y="129"/>
                    </a:lnTo>
                    <a:lnTo>
                      <a:pt x="70" y="128"/>
                    </a:lnTo>
                    <a:lnTo>
                      <a:pt x="70" y="128"/>
                    </a:lnTo>
                    <a:lnTo>
                      <a:pt x="70" y="125"/>
                    </a:lnTo>
                    <a:lnTo>
                      <a:pt x="67" y="122"/>
                    </a:lnTo>
                    <a:lnTo>
                      <a:pt x="64" y="121"/>
                    </a:lnTo>
                    <a:lnTo>
                      <a:pt x="61" y="121"/>
                    </a:lnTo>
                    <a:lnTo>
                      <a:pt x="61" y="121"/>
                    </a:lnTo>
                    <a:lnTo>
                      <a:pt x="52" y="119"/>
                    </a:lnTo>
                    <a:lnTo>
                      <a:pt x="49" y="118"/>
                    </a:lnTo>
                    <a:lnTo>
                      <a:pt x="48" y="115"/>
                    </a:lnTo>
                    <a:lnTo>
                      <a:pt x="48" y="115"/>
                    </a:lnTo>
                    <a:lnTo>
                      <a:pt x="45" y="109"/>
                    </a:lnTo>
                    <a:lnTo>
                      <a:pt x="45" y="108"/>
                    </a:lnTo>
                    <a:lnTo>
                      <a:pt x="47" y="106"/>
                    </a:lnTo>
                    <a:lnTo>
                      <a:pt x="47" y="106"/>
                    </a:lnTo>
                    <a:lnTo>
                      <a:pt x="52" y="106"/>
                    </a:lnTo>
                    <a:lnTo>
                      <a:pt x="52" y="105"/>
                    </a:lnTo>
                    <a:lnTo>
                      <a:pt x="51" y="105"/>
                    </a:lnTo>
                    <a:lnTo>
                      <a:pt x="51" y="105"/>
                    </a:lnTo>
                    <a:lnTo>
                      <a:pt x="48" y="102"/>
                    </a:lnTo>
                    <a:lnTo>
                      <a:pt x="42" y="96"/>
                    </a:lnTo>
                    <a:lnTo>
                      <a:pt x="39" y="92"/>
                    </a:lnTo>
                    <a:lnTo>
                      <a:pt x="39" y="89"/>
                    </a:lnTo>
                    <a:lnTo>
                      <a:pt x="39" y="87"/>
                    </a:lnTo>
                    <a:lnTo>
                      <a:pt x="39" y="87"/>
                    </a:lnTo>
                    <a:lnTo>
                      <a:pt x="44" y="82"/>
                    </a:lnTo>
                    <a:lnTo>
                      <a:pt x="47" y="79"/>
                    </a:lnTo>
                    <a:lnTo>
                      <a:pt x="47" y="79"/>
                    </a:lnTo>
                    <a:lnTo>
                      <a:pt x="48" y="77"/>
                    </a:lnTo>
                    <a:lnTo>
                      <a:pt x="51" y="76"/>
                    </a:lnTo>
                    <a:lnTo>
                      <a:pt x="55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7" y="74"/>
                    </a:lnTo>
                    <a:lnTo>
                      <a:pt x="76" y="71"/>
                    </a:lnTo>
                    <a:lnTo>
                      <a:pt x="89" y="67"/>
                    </a:lnTo>
                    <a:lnTo>
                      <a:pt x="89" y="67"/>
                    </a:lnTo>
                    <a:lnTo>
                      <a:pt x="89" y="66"/>
                    </a:lnTo>
                    <a:lnTo>
                      <a:pt x="87" y="66"/>
                    </a:lnTo>
                    <a:lnTo>
                      <a:pt x="77" y="66"/>
                    </a:lnTo>
                    <a:lnTo>
                      <a:pt x="67" y="67"/>
                    </a:lnTo>
                    <a:lnTo>
                      <a:pt x="62" y="67"/>
                    </a:lnTo>
                    <a:lnTo>
                      <a:pt x="61" y="66"/>
                    </a:lnTo>
                    <a:lnTo>
                      <a:pt x="61" y="66"/>
                    </a:lnTo>
                    <a:lnTo>
                      <a:pt x="62" y="64"/>
                    </a:lnTo>
                    <a:lnTo>
                      <a:pt x="64" y="63"/>
                    </a:lnTo>
                    <a:lnTo>
                      <a:pt x="70" y="61"/>
                    </a:lnTo>
                    <a:lnTo>
                      <a:pt x="76" y="58"/>
                    </a:lnTo>
                    <a:lnTo>
                      <a:pt x="77" y="58"/>
                    </a:lnTo>
                    <a:lnTo>
                      <a:pt x="76" y="57"/>
                    </a:lnTo>
                    <a:lnTo>
                      <a:pt x="76" y="57"/>
                    </a:lnTo>
                    <a:lnTo>
                      <a:pt x="61" y="54"/>
                    </a:lnTo>
                    <a:lnTo>
                      <a:pt x="61" y="54"/>
                    </a:lnTo>
                    <a:lnTo>
                      <a:pt x="60" y="54"/>
                    </a:lnTo>
                    <a:lnTo>
                      <a:pt x="58" y="55"/>
                    </a:lnTo>
                    <a:lnTo>
                      <a:pt x="57" y="55"/>
                    </a:lnTo>
                    <a:lnTo>
                      <a:pt x="54" y="55"/>
                    </a:lnTo>
                    <a:lnTo>
                      <a:pt x="54" y="55"/>
                    </a:lnTo>
                    <a:lnTo>
                      <a:pt x="52" y="54"/>
                    </a:lnTo>
                    <a:lnTo>
                      <a:pt x="52" y="53"/>
                    </a:lnTo>
                    <a:lnTo>
                      <a:pt x="51" y="51"/>
                    </a:lnTo>
                    <a:lnTo>
                      <a:pt x="48" y="53"/>
                    </a:lnTo>
                    <a:lnTo>
                      <a:pt x="48" y="53"/>
                    </a:lnTo>
                    <a:lnTo>
                      <a:pt x="42" y="61"/>
                    </a:lnTo>
                    <a:lnTo>
                      <a:pt x="41" y="64"/>
                    </a:lnTo>
                    <a:lnTo>
                      <a:pt x="39" y="64"/>
                    </a:lnTo>
                    <a:lnTo>
                      <a:pt x="39" y="63"/>
                    </a:lnTo>
                    <a:lnTo>
                      <a:pt x="39" y="63"/>
                    </a:lnTo>
                    <a:lnTo>
                      <a:pt x="38" y="58"/>
                    </a:lnTo>
                    <a:lnTo>
                      <a:pt x="38" y="54"/>
                    </a:lnTo>
                    <a:lnTo>
                      <a:pt x="38" y="51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2" y="57"/>
                    </a:lnTo>
                    <a:lnTo>
                      <a:pt x="29" y="60"/>
                    </a:lnTo>
                    <a:lnTo>
                      <a:pt x="28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57"/>
                    </a:lnTo>
                    <a:lnTo>
                      <a:pt x="18" y="55"/>
                    </a:lnTo>
                    <a:lnTo>
                      <a:pt x="18" y="55"/>
                    </a:lnTo>
                    <a:lnTo>
                      <a:pt x="16" y="54"/>
                    </a:lnTo>
                    <a:lnTo>
                      <a:pt x="13" y="51"/>
                    </a:lnTo>
                    <a:lnTo>
                      <a:pt x="13" y="47"/>
                    </a:lnTo>
                    <a:lnTo>
                      <a:pt x="15" y="44"/>
                    </a:lnTo>
                    <a:lnTo>
                      <a:pt x="15" y="44"/>
                    </a:lnTo>
                    <a:lnTo>
                      <a:pt x="18" y="42"/>
                    </a:lnTo>
                    <a:lnTo>
                      <a:pt x="22" y="41"/>
                    </a:lnTo>
                    <a:lnTo>
                      <a:pt x="26" y="40"/>
                    </a:lnTo>
                    <a:lnTo>
                      <a:pt x="31" y="37"/>
                    </a:lnTo>
                    <a:lnTo>
                      <a:pt x="31" y="37"/>
                    </a:lnTo>
                    <a:lnTo>
                      <a:pt x="34" y="34"/>
                    </a:lnTo>
                    <a:lnTo>
                      <a:pt x="35" y="31"/>
                    </a:lnTo>
                    <a:lnTo>
                      <a:pt x="35" y="29"/>
                    </a:lnTo>
                    <a:lnTo>
                      <a:pt x="34" y="29"/>
                    </a:lnTo>
                    <a:lnTo>
                      <a:pt x="34" y="29"/>
                    </a:lnTo>
                    <a:lnTo>
                      <a:pt x="28" y="31"/>
                    </a:lnTo>
                    <a:lnTo>
                      <a:pt x="22" y="31"/>
                    </a:lnTo>
                    <a:lnTo>
                      <a:pt x="22" y="31"/>
                    </a:lnTo>
                    <a:lnTo>
                      <a:pt x="16" y="34"/>
                    </a:lnTo>
                    <a:lnTo>
                      <a:pt x="13" y="34"/>
                    </a:lnTo>
                    <a:lnTo>
                      <a:pt x="10" y="31"/>
                    </a:lnTo>
                    <a:lnTo>
                      <a:pt x="10" y="31"/>
                    </a:lnTo>
                    <a:lnTo>
                      <a:pt x="7" y="27"/>
                    </a:lnTo>
                    <a:lnTo>
                      <a:pt x="5" y="21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7" y="9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2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19" name="Freeform 69"/>
              <p:cNvSpPr>
                <a:spLocks/>
              </p:cNvSpPr>
              <p:nvPr/>
            </p:nvSpPr>
            <p:spPr bwMode="auto">
              <a:xfrm>
                <a:off x="3014906" y="1206059"/>
                <a:ext cx="20774" cy="12860"/>
              </a:xfrm>
              <a:custGeom>
                <a:avLst/>
                <a:gdLst>
                  <a:gd name="T0" fmla="*/ 19 w 21"/>
                  <a:gd name="T1" fmla="*/ 0 h 13"/>
                  <a:gd name="T2" fmla="*/ 19 w 21"/>
                  <a:gd name="T3" fmla="*/ 0 h 13"/>
                  <a:gd name="T4" fmla="*/ 12 w 21"/>
                  <a:gd name="T5" fmla="*/ 2 h 13"/>
                  <a:gd name="T6" fmla="*/ 8 w 21"/>
                  <a:gd name="T7" fmla="*/ 2 h 13"/>
                  <a:gd name="T8" fmla="*/ 6 w 21"/>
                  <a:gd name="T9" fmla="*/ 5 h 13"/>
                  <a:gd name="T10" fmla="*/ 6 w 21"/>
                  <a:gd name="T11" fmla="*/ 5 h 13"/>
                  <a:gd name="T12" fmla="*/ 2 w 21"/>
                  <a:gd name="T13" fmla="*/ 10 h 13"/>
                  <a:gd name="T14" fmla="*/ 0 w 21"/>
                  <a:gd name="T15" fmla="*/ 13 h 13"/>
                  <a:gd name="T16" fmla="*/ 0 w 21"/>
                  <a:gd name="T17" fmla="*/ 13 h 13"/>
                  <a:gd name="T18" fmla="*/ 2 w 21"/>
                  <a:gd name="T19" fmla="*/ 13 h 13"/>
                  <a:gd name="T20" fmla="*/ 2 w 21"/>
                  <a:gd name="T21" fmla="*/ 13 h 13"/>
                  <a:gd name="T22" fmla="*/ 5 w 21"/>
                  <a:gd name="T23" fmla="*/ 13 h 13"/>
                  <a:gd name="T24" fmla="*/ 9 w 21"/>
                  <a:gd name="T25" fmla="*/ 11 h 13"/>
                  <a:gd name="T26" fmla="*/ 15 w 21"/>
                  <a:gd name="T27" fmla="*/ 8 h 13"/>
                  <a:gd name="T28" fmla="*/ 15 w 21"/>
                  <a:gd name="T29" fmla="*/ 8 h 13"/>
                  <a:gd name="T30" fmla="*/ 18 w 21"/>
                  <a:gd name="T31" fmla="*/ 7 h 13"/>
                  <a:gd name="T32" fmla="*/ 19 w 21"/>
                  <a:gd name="T33" fmla="*/ 4 h 13"/>
                  <a:gd name="T34" fmla="*/ 21 w 21"/>
                  <a:gd name="T35" fmla="*/ 1 h 13"/>
                  <a:gd name="T36" fmla="*/ 19 w 21"/>
                  <a:gd name="T3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1" h="13">
                    <a:moveTo>
                      <a:pt x="19" y="0"/>
                    </a:moveTo>
                    <a:lnTo>
                      <a:pt x="19" y="0"/>
                    </a:lnTo>
                    <a:lnTo>
                      <a:pt x="12" y="2"/>
                    </a:lnTo>
                    <a:lnTo>
                      <a:pt x="8" y="2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0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5" y="13"/>
                    </a:lnTo>
                    <a:lnTo>
                      <a:pt x="9" y="11"/>
                    </a:lnTo>
                    <a:lnTo>
                      <a:pt x="15" y="8"/>
                    </a:lnTo>
                    <a:lnTo>
                      <a:pt x="15" y="8"/>
                    </a:lnTo>
                    <a:lnTo>
                      <a:pt x="18" y="7"/>
                    </a:lnTo>
                    <a:lnTo>
                      <a:pt x="19" y="4"/>
                    </a:lnTo>
                    <a:lnTo>
                      <a:pt x="21" y="1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20" name="Freeform 70"/>
              <p:cNvSpPr>
                <a:spLocks/>
              </p:cNvSpPr>
              <p:nvPr/>
            </p:nvSpPr>
            <p:spPr bwMode="auto">
              <a:xfrm>
                <a:off x="3014906" y="1206059"/>
                <a:ext cx="20774" cy="12860"/>
              </a:xfrm>
              <a:custGeom>
                <a:avLst/>
                <a:gdLst>
                  <a:gd name="T0" fmla="*/ 19 w 21"/>
                  <a:gd name="T1" fmla="*/ 0 h 13"/>
                  <a:gd name="T2" fmla="*/ 19 w 21"/>
                  <a:gd name="T3" fmla="*/ 0 h 13"/>
                  <a:gd name="T4" fmla="*/ 12 w 21"/>
                  <a:gd name="T5" fmla="*/ 2 h 13"/>
                  <a:gd name="T6" fmla="*/ 8 w 21"/>
                  <a:gd name="T7" fmla="*/ 2 h 13"/>
                  <a:gd name="T8" fmla="*/ 6 w 21"/>
                  <a:gd name="T9" fmla="*/ 5 h 13"/>
                  <a:gd name="T10" fmla="*/ 6 w 21"/>
                  <a:gd name="T11" fmla="*/ 5 h 13"/>
                  <a:gd name="T12" fmla="*/ 2 w 21"/>
                  <a:gd name="T13" fmla="*/ 10 h 13"/>
                  <a:gd name="T14" fmla="*/ 0 w 21"/>
                  <a:gd name="T15" fmla="*/ 13 h 13"/>
                  <a:gd name="T16" fmla="*/ 0 w 21"/>
                  <a:gd name="T17" fmla="*/ 13 h 13"/>
                  <a:gd name="T18" fmla="*/ 2 w 21"/>
                  <a:gd name="T19" fmla="*/ 13 h 13"/>
                  <a:gd name="T20" fmla="*/ 2 w 21"/>
                  <a:gd name="T21" fmla="*/ 13 h 13"/>
                  <a:gd name="T22" fmla="*/ 5 w 21"/>
                  <a:gd name="T23" fmla="*/ 13 h 13"/>
                  <a:gd name="T24" fmla="*/ 9 w 21"/>
                  <a:gd name="T25" fmla="*/ 11 h 13"/>
                  <a:gd name="T26" fmla="*/ 15 w 21"/>
                  <a:gd name="T27" fmla="*/ 8 h 13"/>
                  <a:gd name="T28" fmla="*/ 15 w 21"/>
                  <a:gd name="T29" fmla="*/ 8 h 13"/>
                  <a:gd name="T30" fmla="*/ 18 w 21"/>
                  <a:gd name="T31" fmla="*/ 7 h 13"/>
                  <a:gd name="T32" fmla="*/ 19 w 21"/>
                  <a:gd name="T33" fmla="*/ 4 h 13"/>
                  <a:gd name="T34" fmla="*/ 21 w 21"/>
                  <a:gd name="T35" fmla="*/ 1 h 13"/>
                  <a:gd name="T36" fmla="*/ 19 w 21"/>
                  <a:gd name="T3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1" h="13">
                    <a:moveTo>
                      <a:pt x="19" y="0"/>
                    </a:moveTo>
                    <a:lnTo>
                      <a:pt x="19" y="0"/>
                    </a:lnTo>
                    <a:lnTo>
                      <a:pt x="12" y="2"/>
                    </a:lnTo>
                    <a:lnTo>
                      <a:pt x="8" y="2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0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5" y="13"/>
                    </a:lnTo>
                    <a:lnTo>
                      <a:pt x="9" y="11"/>
                    </a:lnTo>
                    <a:lnTo>
                      <a:pt x="15" y="8"/>
                    </a:lnTo>
                    <a:lnTo>
                      <a:pt x="15" y="8"/>
                    </a:lnTo>
                    <a:lnTo>
                      <a:pt x="18" y="7"/>
                    </a:lnTo>
                    <a:lnTo>
                      <a:pt x="19" y="4"/>
                    </a:lnTo>
                    <a:lnTo>
                      <a:pt x="21" y="1"/>
                    </a:lnTo>
                    <a:lnTo>
                      <a:pt x="19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21" name="Freeform 71"/>
              <p:cNvSpPr>
                <a:spLocks/>
              </p:cNvSpPr>
              <p:nvPr/>
            </p:nvSpPr>
            <p:spPr bwMode="auto">
              <a:xfrm>
                <a:off x="2799247" y="1124939"/>
                <a:ext cx="23742" cy="26710"/>
              </a:xfrm>
              <a:custGeom>
                <a:avLst/>
                <a:gdLst>
                  <a:gd name="T0" fmla="*/ 23 w 24"/>
                  <a:gd name="T1" fmla="*/ 0 h 27"/>
                  <a:gd name="T2" fmla="*/ 0 w 24"/>
                  <a:gd name="T3" fmla="*/ 0 h 27"/>
                  <a:gd name="T4" fmla="*/ 0 w 24"/>
                  <a:gd name="T5" fmla="*/ 0 h 27"/>
                  <a:gd name="T6" fmla="*/ 0 w 24"/>
                  <a:gd name="T7" fmla="*/ 5 h 27"/>
                  <a:gd name="T8" fmla="*/ 0 w 24"/>
                  <a:gd name="T9" fmla="*/ 8 h 27"/>
                  <a:gd name="T10" fmla="*/ 1 w 24"/>
                  <a:gd name="T11" fmla="*/ 9 h 27"/>
                  <a:gd name="T12" fmla="*/ 1 w 24"/>
                  <a:gd name="T13" fmla="*/ 9 h 27"/>
                  <a:gd name="T14" fmla="*/ 7 w 24"/>
                  <a:gd name="T15" fmla="*/ 11 h 27"/>
                  <a:gd name="T16" fmla="*/ 8 w 24"/>
                  <a:gd name="T17" fmla="*/ 11 h 27"/>
                  <a:gd name="T18" fmla="*/ 10 w 24"/>
                  <a:gd name="T19" fmla="*/ 12 h 27"/>
                  <a:gd name="T20" fmla="*/ 10 w 24"/>
                  <a:gd name="T21" fmla="*/ 12 h 27"/>
                  <a:gd name="T22" fmla="*/ 14 w 24"/>
                  <a:gd name="T23" fmla="*/ 22 h 27"/>
                  <a:gd name="T24" fmla="*/ 17 w 24"/>
                  <a:gd name="T25" fmla="*/ 25 h 27"/>
                  <a:gd name="T26" fmla="*/ 17 w 24"/>
                  <a:gd name="T27" fmla="*/ 27 h 27"/>
                  <a:gd name="T28" fmla="*/ 19 w 24"/>
                  <a:gd name="T29" fmla="*/ 27 h 27"/>
                  <a:gd name="T30" fmla="*/ 19 w 24"/>
                  <a:gd name="T31" fmla="*/ 27 h 27"/>
                  <a:gd name="T32" fmla="*/ 23 w 24"/>
                  <a:gd name="T33" fmla="*/ 12 h 27"/>
                  <a:gd name="T34" fmla="*/ 24 w 24"/>
                  <a:gd name="T35" fmla="*/ 5 h 27"/>
                  <a:gd name="T36" fmla="*/ 24 w 24"/>
                  <a:gd name="T37" fmla="*/ 2 h 27"/>
                  <a:gd name="T38" fmla="*/ 23 w 24"/>
                  <a:gd name="T3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4" h="27">
                    <a:moveTo>
                      <a:pt x="2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7" y="11"/>
                    </a:lnTo>
                    <a:lnTo>
                      <a:pt x="8" y="11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22"/>
                    </a:lnTo>
                    <a:lnTo>
                      <a:pt x="17" y="25"/>
                    </a:lnTo>
                    <a:lnTo>
                      <a:pt x="17" y="27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23" y="12"/>
                    </a:lnTo>
                    <a:lnTo>
                      <a:pt x="24" y="5"/>
                    </a:lnTo>
                    <a:lnTo>
                      <a:pt x="24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22" name="Freeform 72"/>
              <p:cNvSpPr>
                <a:spLocks/>
              </p:cNvSpPr>
              <p:nvPr/>
            </p:nvSpPr>
            <p:spPr bwMode="auto">
              <a:xfrm>
                <a:off x="2799247" y="1124939"/>
                <a:ext cx="23742" cy="26710"/>
              </a:xfrm>
              <a:custGeom>
                <a:avLst/>
                <a:gdLst>
                  <a:gd name="T0" fmla="*/ 23 w 24"/>
                  <a:gd name="T1" fmla="*/ 0 h 27"/>
                  <a:gd name="T2" fmla="*/ 0 w 24"/>
                  <a:gd name="T3" fmla="*/ 0 h 27"/>
                  <a:gd name="T4" fmla="*/ 0 w 24"/>
                  <a:gd name="T5" fmla="*/ 0 h 27"/>
                  <a:gd name="T6" fmla="*/ 0 w 24"/>
                  <a:gd name="T7" fmla="*/ 5 h 27"/>
                  <a:gd name="T8" fmla="*/ 0 w 24"/>
                  <a:gd name="T9" fmla="*/ 8 h 27"/>
                  <a:gd name="T10" fmla="*/ 1 w 24"/>
                  <a:gd name="T11" fmla="*/ 9 h 27"/>
                  <a:gd name="T12" fmla="*/ 1 w 24"/>
                  <a:gd name="T13" fmla="*/ 9 h 27"/>
                  <a:gd name="T14" fmla="*/ 7 w 24"/>
                  <a:gd name="T15" fmla="*/ 11 h 27"/>
                  <a:gd name="T16" fmla="*/ 8 w 24"/>
                  <a:gd name="T17" fmla="*/ 11 h 27"/>
                  <a:gd name="T18" fmla="*/ 10 w 24"/>
                  <a:gd name="T19" fmla="*/ 12 h 27"/>
                  <a:gd name="T20" fmla="*/ 10 w 24"/>
                  <a:gd name="T21" fmla="*/ 12 h 27"/>
                  <a:gd name="T22" fmla="*/ 14 w 24"/>
                  <a:gd name="T23" fmla="*/ 22 h 27"/>
                  <a:gd name="T24" fmla="*/ 17 w 24"/>
                  <a:gd name="T25" fmla="*/ 25 h 27"/>
                  <a:gd name="T26" fmla="*/ 17 w 24"/>
                  <a:gd name="T27" fmla="*/ 27 h 27"/>
                  <a:gd name="T28" fmla="*/ 19 w 24"/>
                  <a:gd name="T29" fmla="*/ 27 h 27"/>
                  <a:gd name="T30" fmla="*/ 19 w 24"/>
                  <a:gd name="T31" fmla="*/ 27 h 27"/>
                  <a:gd name="T32" fmla="*/ 23 w 24"/>
                  <a:gd name="T33" fmla="*/ 12 h 27"/>
                  <a:gd name="T34" fmla="*/ 24 w 24"/>
                  <a:gd name="T35" fmla="*/ 5 h 27"/>
                  <a:gd name="T36" fmla="*/ 24 w 24"/>
                  <a:gd name="T37" fmla="*/ 2 h 27"/>
                  <a:gd name="T38" fmla="*/ 23 w 24"/>
                  <a:gd name="T3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4" h="27">
                    <a:moveTo>
                      <a:pt x="2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7" y="11"/>
                    </a:lnTo>
                    <a:lnTo>
                      <a:pt x="8" y="11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22"/>
                    </a:lnTo>
                    <a:lnTo>
                      <a:pt x="17" y="25"/>
                    </a:lnTo>
                    <a:lnTo>
                      <a:pt x="17" y="27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23" y="12"/>
                    </a:lnTo>
                    <a:lnTo>
                      <a:pt x="24" y="5"/>
                    </a:lnTo>
                    <a:lnTo>
                      <a:pt x="24" y="2"/>
                    </a:lnTo>
                    <a:lnTo>
                      <a:pt x="23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23" name="Freeform 73"/>
              <p:cNvSpPr>
                <a:spLocks/>
              </p:cNvSpPr>
              <p:nvPr/>
            </p:nvSpPr>
            <p:spPr bwMode="auto">
              <a:xfrm>
                <a:off x="2796279" y="1123950"/>
                <a:ext cx="28689" cy="29678"/>
              </a:xfrm>
              <a:custGeom>
                <a:avLst/>
                <a:gdLst>
                  <a:gd name="T0" fmla="*/ 26 w 29"/>
                  <a:gd name="T1" fmla="*/ 0 h 30"/>
                  <a:gd name="T2" fmla="*/ 1 w 29"/>
                  <a:gd name="T3" fmla="*/ 1 h 30"/>
                  <a:gd name="T4" fmla="*/ 0 w 29"/>
                  <a:gd name="T5" fmla="*/ 7 h 30"/>
                  <a:gd name="T6" fmla="*/ 0 w 29"/>
                  <a:gd name="T7" fmla="*/ 10 h 30"/>
                  <a:gd name="T8" fmla="*/ 1 w 29"/>
                  <a:gd name="T9" fmla="*/ 12 h 30"/>
                  <a:gd name="T10" fmla="*/ 4 w 29"/>
                  <a:gd name="T11" fmla="*/ 13 h 30"/>
                  <a:gd name="T12" fmla="*/ 10 w 29"/>
                  <a:gd name="T13" fmla="*/ 14 h 30"/>
                  <a:gd name="T14" fmla="*/ 10 w 29"/>
                  <a:gd name="T15" fmla="*/ 14 h 30"/>
                  <a:gd name="T16" fmla="*/ 10 w 29"/>
                  <a:gd name="T17" fmla="*/ 14 h 30"/>
                  <a:gd name="T18" fmla="*/ 14 w 29"/>
                  <a:gd name="T19" fmla="*/ 23 h 30"/>
                  <a:gd name="T20" fmla="*/ 17 w 29"/>
                  <a:gd name="T21" fmla="*/ 28 h 30"/>
                  <a:gd name="T22" fmla="*/ 19 w 29"/>
                  <a:gd name="T23" fmla="*/ 29 h 30"/>
                  <a:gd name="T24" fmla="*/ 22 w 29"/>
                  <a:gd name="T25" fmla="*/ 30 h 30"/>
                  <a:gd name="T26" fmla="*/ 23 w 29"/>
                  <a:gd name="T27" fmla="*/ 29 h 30"/>
                  <a:gd name="T28" fmla="*/ 24 w 29"/>
                  <a:gd name="T29" fmla="*/ 28 h 30"/>
                  <a:gd name="T30" fmla="*/ 27 w 29"/>
                  <a:gd name="T31" fmla="*/ 16 h 30"/>
                  <a:gd name="T32" fmla="*/ 29 w 29"/>
                  <a:gd name="T33" fmla="*/ 4 h 30"/>
                  <a:gd name="T34" fmla="*/ 29 w 29"/>
                  <a:gd name="T35" fmla="*/ 1 h 30"/>
                  <a:gd name="T36" fmla="*/ 29 w 29"/>
                  <a:gd name="T37" fmla="*/ 0 h 30"/>
                  <a:gd name="T38" fmla="*/ 26 w 29"/>
                  <a:gd name="T39" fmla="*/ 0 h 30"/>
                  <a:gd name="T40" fmla="*/ 26 w 29"/>
                  <a:gd name="T41" fmla="*/ 1 h 30"/>
                  <a:gd name="T42" fmla="*/ 26 w 29"/>
                  <a:gd name="T43" fmla="*/ 1 h 30"/>
                  <a:gd name="T44" fmla="*/ 26 w 29"/>
                  <a:gd name="T45" fmla="*/ 3 h 30"/>
                  <a:gd name="T46" fmla="*/ 26 w 29"/>
                  <a:gd name="T47" fmla="*/ 4 h 30"/>
                  <a:gd name="T48" fmla="*/ 26 w 29"/>
                  <a:gd name="T49" fmla="*/ 4 h 30"/>
                  <a:gd name="T50" fmla="*/ 24 w 29"/>
                  <a:gd name="T51" fmla="*/ 4 h 30"/>
                  <a:gd name="T52" fmla="*/ 26 w 29"/>
                  <a:gd name="T53" fmla="*/ 4 h 30"/>
                  <a:gd name="T54" fmla="*/ 24 w 29"/>
                  <a:gd name="T55" fmla="*/ 4 h 30"/>
                  <a:gd name="T56" fmla="*/ 24 w 29"/>
                  <a:gd name="T57" fmla="*/ 3 h 30"/>
                  <a:gd name="T58" fmla="*/ 26 w 29"/>
                  <a:gd name="T59" fmla="*/ 3 h 30"/>
                  <a:gd name="T60" fmla="*/ 24 w 29"/>
                  <a:gd name="T61" fmla="*/ 3 h 30"/>
                  <a:gd name="T62" fmla="*/ 24 w 29"/>
                  <a:gd name="T63" fmla="*/ 3 h 30"/>
                  <a:gd name="T64" fmla="*/ 24 w 29"/>
                  <a:gd name="T65" fmla="*/ 3 h 30"/>
                  <a:gd name="T66" fmla="*/ 24 w 29"/>
                  <a:gd name="T67" fmla="*/ 4 h 30"/>
                  <a:gd name="T68" fmla="*/ 22 w 29"/>
                  <a:gd name="T69" fmla="*/ 17 h 30"/>
                  <a:gd name="T70" fmla="*/ 20 w 29"/>
                  <a:gd name="T71" fmla="*/ 23 h 30"/>
                  <a:gd name="T72" fmla="*/ 20 w 29"/>
                  <a:gd name="T73" fmla="*/ 25 h 30"/>
                  <a:gd name="T74" fmla="*/ 19 w 29"/>
                  <a:gd name="T75" fmla="*/ 26 h 30"/>
                  <a:gd name="T76" fmla="*/ 19 w 29"/>
                  <a:gd name="T77" fmla="*/ 26 h 30"/>
                  <a:gd name="T78" fmla="*/ 20 w 29"/>
                  <a:gd name="T79" fmla="*/ 26 h 30"/>
                  <a:gd name="T80" fmla="*/ 22 w 29"/>
                  <a:gd name="T81" fmla="*/ 28 h 30"/>
                  <a:gd name="T82" fmla="*/ 22 w 29"/>
                  <a:gd name="T83" fmla="*/ 25 h 30"/>
                  <a:gd name="T84" fmla="*/ 22 w 29"/>
                  <a:gd name="T85" fmla="*/ 28 h 30"/>
                  <a:gd name="T86" fmla="*/ 22 w 29"/>
                  <a:gd name="T87" fmla="*/ 26 h 30"/>
                  <a:gd name="T88" fmla="*/ 22 w 29"/>
                  <a:gd name="T89" fmla="*/ 25 h 30"/>
                  <a:gd name="T90" fmla="*/ 22 w 29"/>
                  <a:gd name="T91" fmla="*/ 25 h 30"/>
                  <a:gd name="T92" fmla="*/ 22 w 29"/>
                  <a:gd name="T93" fmla="*/ 25 h 30"/>
                  <a:gd name="T94" fmla="*/ 22 w 29"/>
                  <a:gd name="T95" fmla="*/ 26 h 30"/>
                  <a:gd name="T96" fmla="*/ 22 w 29"/>
                  <a:gd name="T97" fmla="*/ 25 h 30"/>
                  <a:gd name="T98" fmla="*/ 20 w 29"/>
                  <a:gd name="T99" fmla="*/ 23 h 30"/>
                  <a:gd name="T100" fmla="*/ 16 w 29"/>
                  <a:gd name="T101" fmla="*/ 13 h 30"/>
                  <a:gd name="T102" fmla="*/ 13 w 29"/>
                  <a:gd name="T103" fmla="*/ 10 h 30"/>
                  <a:gd name="T104" fmla="*/ 10 w 29"/>
                  <a:gd name="T105" fmla="*/ 9 h 30"/>
                  <a:gd name="T106" fmla="*/ 8 w 29"/>
                  <a:gd name="T107" fmla="*/ 9 h 30"/>
                  <a:gd name="T108" fmla="*/ 6 w 29"/>
                  <a:gd name="T109" fmla="*/ 9 h 30"/>
                  <a:gd name="T110" fmla="*/ 6 w 29"/>
                  <a:gd name="T111" fmla="*/ 9 h 30"/>
                  <a:gd name="T112" fmla="*/ 6 w 29"/>
                  <a:gd name="T113" fmla="*/ 9 h 30"/>
                  <a:gd name="T114" fmla="*/ 6 w 29"/>
                  <a:gd name="T115" fmla="*/ 7 h 30"/>
                  <a:gd name="T116" fmla="*/ 6 w 29"/>
                  <a:gd name="T117" fmla="*/ 7 h 30"/>
                  <a:gd name="T118" fmla="*/ 6 w 29"/>
                  <a:gd name="T119" fmla="*/ 3 h 30"/>
                  <a:gd name="T120" fmla="*/ 3 w 29"/>
                  <a:gd name="T121" fmla="*/ 1 h 30"/>
                  <a:gd name="T122" fmla="*/ 26 w 29"/>
                  <a:gd name="T123" fmla="*/ 4 h 30"/>
                  <a:gd name="T124" fmla="*/ 26 w 29"/>
                  <a:gd name="T125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9" h="30">
                    <a:moveTo>
                      <a:pt x="26" y="1"/>
                    </a:moveTo>
                    <a:lnTo>
                      <a:pt x="26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7" y="28"/>
                    </a:lnTo>
                    <a:lnTo>
                      <a:pt x="17" y="28"/>
                    </a:lnTo>
                    <a:lnTo>
                      <a:pt x="19" y="29"/>
                    </a:lnTo>
                    <a:lnTo>
                      <a:pt x="19" y="29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3" y="29"/>
                    </a:lnTo>
                    <a:lnTo>
                      <a:pt x="23" y="29"/>
                    </a:lnTo>
                    <a:lnTo>
                      <a:pt x="23" y="29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7" y="16"/>
                    </a:lnTo>
                    <a:lnTo>
                      <a:pt x="27" y="16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9" y="1"/>
                    </a:lnTo>
                    <a:lnTo>
                      <a:pt x="29" y="1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1"/>
                    </a:lnTo>
                    <a:lnTo>
                      <a:pt x="26" y="0"/>
                    </a:lnTo>
                    <a:lnTo>
                      <a:pt x="26" y="1"/>
                    </a:lnTo>
                    <a:lnTo>
                      <a:pt x="26" y="4"/>
                    </a:lnTo>
                    <a:lnTo>
                      <a:pt x="26" y="3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3"/>
                    </a:lnTo>
                    <a:lnTo>
                      <a:pt x="26" y="4"/>
                    </a:lnTo>
                    <a:lnTo>
                      <a:pt x="26" y="3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26" y="3"/>
                    </a:lnTo>
                    <a:lnTo>
                      <a:pt x="24" y="4"/>
                    </a:lnTo>
                    <a:lnTo>
                      <a:pt x="26" y="3"/>
                    </a:lnTo>
                    <a:lnTo>
                      <a:pt x="24" y="3"/>
                    </a:lnTo>
                    <a:lnTo>
                      <a:pt x="24" y="4"/>
                    </a:lnTo>
                    <a:lnTo>
                      <a:pt x="26" y="3"/>
                    </a:lnTo>
                    <a:lnTo>
                      <a:pt x="24" y="3"/>
                    </a:lnTo>
                    <a:lnTo>
                      <a:pt x="24" y="3"/>
                    </a:lnTo>
                    <a:lnTo>
                      <a:pt x="24" y="3"/>
                    </a:lnTo>
                    <a:lnTo>
                      <a:pt x="24" y="3"/>
                    </a:lnTo>
                    <a:lnTo>
                      <a:pt x="24" y="3"/>
                    </a:lnTo>
                    <a:lnTo>
                      <a:pt x="24" y="3"/>
                    </a:lnTo>
                    <a:lnTo>
                      <a:pt x="24" y="3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20" y="25"/>
                    </a:lnTo>
                    <a:lnTo>
                      <a:pt x="19" y="26"/>
                    </a:lnTo>
                    <a:lnTo>
                      <a:pt x="19" y="26"/>
                    </a:lnTo>
                    <a:lnTo>
                      <a:pt x="20" y="26"/>
                    </a:lnTo>
                    <a:lnTo>
                      <a:pt x="19" y="26"/>
                    </a:lnTo>
                    <a:lnTo>
                      <a:pt x="19" y="26"/>
                    </a:lnTo>
                    <a:lnTo>
                      <a:pt x="20" y="26"/>
                    </a:lnTo>
                    <a:lnTo>
                      <a:pt x="19" y="26"/>
                    </a:lnTo>
                    <a:lnTo>
                      <a:pt x="22" y="28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19" y="26"/>
                    </a:lnTo>
                    <a:lnTo>
                      <a:pt x="22" y="28"/>
                    </a:lnTo>
                    <a:lnTo>
                      <a:pt x="22" y="25"/>
                    </a:lnTo>
                    <a:lnTo>
                      <a:pt x="22" y="26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2" y="26"/>
                    </a:lnTo>
                    <a:lnTo>
                      <a:pt x="22" y="25"/>
                    </a:lnTo>
                    <a:lnTo>
                      <a:pt x="22" y="26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2" y="26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0" y="9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6" y="4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3" y="1"/>
                    </a:lnTo>
                    <a:lnTo>
                      <a:pt x="3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95" name="Freeform 246"/>
              <p:cNvSpPr>
                <a:spLocks noEditPoints="1"/>
              </p:cNvSpPr>
              <p:nvPr/>
            </p:nvSpPr>
            <p:spPr bwMode="auto">
              <a:xfrm>
                <a:off x="1731835" y="1689806"/>
                <a:ext cx="605427" cy="590588"/>
              </a:xfrm>
              <a:custGeom>
                <a:avLst/>
                <a:gdLst>
                  <a:gd name="T0" fmla="*/ 556 w 612"/>
                  <a:gd name="T1" fmla="*/ 503 h 597"/>
                  <a:gd name="T2" fmla="*/ 512 w 612"/>
                  <a:gd name="T3" fmla="*/ 455 h 597"/>
                  <a:gd name="T4" fmla="*/ 459 w 612"/>
                  <a:gd name="T5" fmla="*/ 430 h 597"/>
                  <a:gd name="T6" fmla="*/ 386 w 612"/>
                  <a:gd name="T7" fmla="*/ 60 h 597"/>
                  <a:gd name="T8" fmla="*/ 320 w 612"/>
                  <a:gd name="T9" fmla="*/ 48 h 597"/>
                  <a:gd name="T10" fmla="*/ 257 w 612"/>
                  <a:gd name="T11" fmla="*/ 38 h 597"/>
                  <a:gd name="T12" fmla="*/ 220 w 612"/>
                  <a:gd name="T13" fmla="*/ 25 h 597"/>
                  <a:gd name="T14" fmla="*/ 204 w 612"/>
                  <a:gd name="T15" fmla="*/ 26 h 597"/>
                  <a:gd name="T16" fmla="*/ 176 w 612"/>
                  <a:gd name="T17" fmla="*/ 9 h 597"/>
                  <a:gd name="T18" fmla="*/ 121 w 612"/>
                  <a:gd name="T19" fmla="*/ 41 h 597"/>
                  <a:gd name="T20" fmla="*/ 85 w 612"/>
                  <a:gd name="T21" fmla="*/ 70 h 597"/>
                  <a:gd name="T22" fmla="*/ 29 w 612"/>
                  <a:gd name="T23" fmla="*/ 119 h 597"/>
                  <a:gd name="T24" fmla="*/ 30 w 612"/>
                  <a:gd name="T25" fmla="*/ 145 h 597"/>
                  <a:gd name="T26" fmla="*/ 66 w 612"/>
                  <a:gd name="T27" fmla="*/ 191 h 597"/>
                  <a:gd name="T28" fmla="*/ 113 w 612"/>
                  <a:gd name="T29" fmla="*/ 212 h 597"/>
                  <a:gd name="T30" fmla="*/ 92 w 612"/>
                  <a:gd name="T31" fmla="*/ 215 h 597"/>
                  <a:gd name="T32" fmla="*/ 104 w 612"/>
                  <a:gd name="T33" fmla="*/ 229 h 597"/>
                  <a:gd name="T34" fmla="*/ 76 w 612"/>
                  <a:gd name="T35" fmla="*/ 236 h 597"/>
                  <a:gd name="T36" fmla="*/ 50 w 612"/>
                  <a:gd name="T37" fmla="*/ 213 h 597"/>
                  <a:gd name="T38" fmla="*/ 23 w 612"/>
                  <a:gd name="T39" fmla="*/ 233 h 597"/>
                  <a:gd name="T40" fmla="*/ 5 w 612"/>
                  <a:gd name="T41" fmla="*/ 257 h 597"/>
                  <a:gd name="T42" fmla="*/ 36 w 612"/>
                  <a:gd name="T43" fmla="*/ 299 h 597"/>
                  <a:gd name="T44" fmla="*/ 85 w 612"/>
                  <a:gd name="T45" fmla="*/ 293 h 597"/>
                  <a:gd name="T46" fmla="*/ 107 w 612"/>
                  <a:gd name="T47" fmla="*/ 294 h 597"/>
                  <a:gd name="T48" fmla="*/ 101 w 612"/>
                  <a:gd name="T49" fmla="*/ 332 h 597"/>
                  <a:gd name="T50" fmla="*/ 56 w 612"/>
                  <a:gd name="T51" fmla="*/ 341 h 597"/>
                  <a:gd name="T52" fmla="*/ 29 w 612"/>
                  <a:gd name="T53" fmla="*/ 393 h 597"/>
                  <a:gd name="T54" fmla="*/ 30 w 612"/>
                  <a:gd name="T55" fmla="*/ 413 h 597"/>
                  <a:gd name="T56" fmla="*/ 56 w 612"/>
                  <a:gd name="T57" fmla="*/ 438 h 597"/>
                  <a:gd name="T58" fmla="*/ 85 w 612"/>
                  <a:gd name="T59" fmla="*/ 452 h 597"/>
                  <a:gd name="T60" fmla="*/ 89 w 612"/>
                  <a:gd name="T61" fmla="*/ 471 h 597"/>
                  <a:gd name="T62" fmla="*/ 100 w 612"/>
                  <a:gd name="T63" fmla="*/ 494 h 597"/>
                  <a:gd name="T64" fmla="*/ 136 w 612"/>
                  <a:gd name="T65" fmla="*/ 487 h 597"/>
                  <a:gd name="T66" fmla="*/ 152 w 612"/>
                  <a:gd name="T67" fmla="*/ 481 h 597"/>
                  <a:gd name="T68" fmla="*/ 171 w 612"/>
                  <a:gd name="T69" fmla="*/ 493 h 597"/>
                  <a:gd name="T70" fmla="*/ 134 w 612"/>
                  <a:gd name="T71" fmla="*/ 549 h 597"/>
                  <a:gd name="T72" fmla="*/ 94 w 612"/>
                  <a:gd name="T73" fmla="*/ 575 h 597"/>
                  <a:gd name="T74" fmla="*/ 103 w 612"/>
                  <a:gd name="T75" fmla="*/ 580 h 597"/>
                  <a:gd name="T76" fmla="*/ 136 w 612"/>
                  <a:gd name="T77" fmla="*/ 569 h 597"/>
                  <a:gd name="T78" fmla="*/ 197 w 612"/>
                  <a:gd name="T79" fmla="*/ 529 h 597"/>
                  <a:gd name="T80" fmla="*/ 234 w 612"/>
                  <a:gd name="T81" fmla="*/ 482 h 597"/>
                  <a:gd name="T82" fmla="*/ 240 w 612"/>
                  <a:gd name="T83" fmla="*/ 452 h 597"/>
                  <a:gd name="T84" fmla="*/ 278 w 612"/>
                  <a:gd name="T85" fmla="*/ 407 h 597"/>
                  <a:gd name="T86" fmla="*/ 292 w 612"/>
                  <a:gd name="T87" fmla="*/ 420 h 597"/>
                  <a:gd name="T88" fmla="*/ 259 w 612"/>
                  <a:gd name="T89" fmla="*/ 452 h 597"/>
                  <a:gd name="T90" fmla="*/ 268 w 612"/>
                  <a:gd name="T91" fmla="*/ 467 h 597"/>
                  <a:gd name="T92" fmla="*/ 315 w 612"/>
                  <a:gd name="T93" fmla="*/ 445 h 597"/>
                  <a:gd name="T94" fmla="*/ 318 w 612"/>
                  <a:gd name="T95" fmla="*/ 417 h 597"/>
                  <a:gd name="T96" fmla="*/ 343 w 612"/>
                  <a:gd name="T97" fmla="*/ 425 h 597"/>
                  <a:gd name="T98" fmla="*/ 382 w 612"/>
                  <a:gd name="T99" fmla="*/ 443 h 597"/>
                  <a:gd name="T100" fmla="*/ 453 w 612"/>
                  <a:gd name="T101" fmla="*/ 449 h 597"/>
                  <a:gd name="T102" fmla="*/ 486 w 612"/>
                  <a:gd name="T103" fmla="*/ 493 h 597"/>
                  <a:gd name="T104" fmla="*/ 504 w 612"/>
                  <a:gd name="T105" fmla="*/ 481 h 597"/>
                  <a:gd name="T106" fmla="*/ 517 w 612"/>
                  <a:gd name="T107" fmla="*/ 467 h 597"/>
                  <a:gd name="T108" fmla="*/ 541 w 612"/>
                  <a:gd name="T109" fmla="*/ 501 h 597"/>
                  <a:gd name="T110" fmla="*/ 570 w 612"/>
                  <a:gd name="T111" fmla="*/ 539 h 597"/>
                  <a:gd name="T112" fmla="*/ 596 w 612"/>
                  <a:gd name="T113" fmla="*/ 566 h 597"/>
                  <a:gd name="T114" fmla="*/ 604 w 612"/>
                  <a:gd name="T115" fmla="*/ 597 h 597"/>
                  <a:gd name="T116" fmla="*/ 194 w 612"/>
                  <a:gd name="T117" fmla="*/ 469 h 597"/>
                  <a:gd name="T118" fmla="*/ 218 w 612"/>
                  <a:gd name="T119" fmla="*/ 461 h 597"/>
                  <a:gd name="T120" fmla="*/ 215 w 612"/>
                  <a:gd name="T121" fmla="*/ 429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12" h="597">
                    <a:moveTo>
                      <a:pt x="612" y="571"/>
                    </a:moveTo>
                    <a:lnTo>
                      <a:pt x="612" y="571"/>
                    </a:lnTo>
                    <a:lnTo>
                      <a:pt x="611" y="568"/>
                    </a:lnTo>
                    <a:lnTo>
                      <a:pt x="609" y="565"/>
                    </a:lnTo>
                    <a:lnTo>
                      <a:pt x="602" y="559"/>
                    </a:lnTo>
                    <a:lnTo>
                      <a:pt x="594" y="552"/>
                    </a:lnTo>
                    <a:lnTo>
                      <a:pt x="586" y="545"/>
                    </a:lnTo>
                    <a:lnTo>
                      <a:pt x="586" y="545"/>
                    </a:lnTo>
                    <a:lnTo>
                      <a:pt x="582" y="539"/>
                    </a:lnTo>
                    <a:lnTo>
                      <a:pt x="578" y="530"/>
                    </a:lnTo>
                    <a:lnTo>
                      <a:pt x="572" y="523"/>
                    </a:lnTo>
                    <a:lnTo>
                      <a:pt x="566" y="514"/>
                    </a:lnTo>
                    <a:lnTo>
                      <a:pt x="566" y="514"/>
                    </a:lnTo>
                    <a:lnTo>
                      <a:pt x="559" y="509"/>
                    </a:lnTo>
                    <a:lnTo>
                      <a:pt x="556" y="503"/>
                    </a:lnTo>
                    <a:lnTo>
                      <a:pt x="550" y="494"/>
                    </a:lnTo>
                    <a:lnTo>
                      <a:pt x="550" y="494"/>
                    </a:lnTo>
                    <a:lnTo>
                      <a:pt x="546" y="490"/>
                    </a:lnTo>
                    <a:lnTo>
                      <a:pt x="540" y="485"/>
                    </a:lnTo>
                    <a:lnTo>
                      <a:pt x="534" y="480"/>
                    </a:lnTo>
                    <a:lnTo>
                      <a:pt x="533" y="477"/>
                    </a:lnTo>
                    <a:lnTo>
                      <a:pt x="531" y="474"/>
                    </a:lnTo>
                    <a:lnTo>
                      <a:pt x="531" y="474"/>
                    </a:lnTo>
                    <a:lnTo>
                      <a:pt x="525" y="459"/>
                    </a:lnTo>
                    <a:lnTo>
                      <a:pt x="521" y="454"/>
                    </a:lnTo>
                    <a:lnTo>
                      <a:pt x="520" y="452"/>
                    </a:lnTo>
                    <a:lnTo>
                      <a:pt x="518" y="451"/>
                    </a:lnTo>
                    <a:lnTo>
                      <a:pt x="518" y="451"/>
                    </a:lnTo>
                    <a:lnTo>
                      <a:pt x="515" y="452"/>
                    </a:lnTo>
                    <a:lnTo>
                      <a:pt x="512" y="455"/>
                    </a:lnTo>
                    <a:lnTo>
                      <a:pt x="507" y="462"/>
                    </a:lnTo>
                    <a:lnTo>
                      <a:pt x="499" y="471"/>
                    </a:lnTo>
                    <a:lnTo>
                      <a:pt x="496" y="474"/>
                    </a:lnTo>
                    <a:lnTo>
                      <a:pt x="495" y="475"/>
                    </a:lnTo>
                    <a:lnTo>
                      <a:pt x="495" y="475"/>
                    </a:lnTo>
                    <a:lnTo>
                      <a:pt x="488" y="477"/>
                    </a:lnTo>
                    <a:lnTo>
                      <a:pt x="486" y="475"/>
                    </a:lnTo>
                    <a:lnTo>
                      <a:pt x="483" y="472"/>
                    </a:lnTo>
                    <a:lnTo>
                      <a:pt x="483" y="472"/>
                    </a:lnTo>
                    <a:lnTo>
                      <a:pt x="465" y="446"/>
                    </a:lnTo>
                    <a:lnTo>
                      <a:pt x="465" y="446"/>
                    </a:lnTo>
                    <a:lnTo>
                      <a:pt x="463" y="440"/>
                    </a:lnTo>
                    <a:lnTo>
                      <a:pt x="462" y="435"/>
                    </a:lnTo>
                    <a:lnTo>
                      <a:pt x="460" y="432"/>
                    </a:lnTo>
                    <a:lnTo>
                      <a:pt x="459" y="430"/>
                    </a:lnTo>
                    <a:lnTo>
                      <a:pt x="456" y="430"/>
                    </a:lnTo>
                    <a:lnTo>
                      <a:pt x="456" y="430"/>
                    </a:lnTo>
                    <a:lnTo>
                      <a:pt x="444" y="433"/>
                    </a:lnTo>
                    <a:lnTo>
                      <a:pt x="439" y="435"/>
                    </a:lnTo>
                    <a:lnTo>
                      <a:pt x="433" y="436"/>
                    </a:lnTo>
                    <a:lnTo>
                      <a:pt x="433" y="77"/>
                    </a:lnTo>
                    <a:lnTo>
                      <a:pt x="433" y="77"/>
                    </a:lnTo>
                    <a:lnTo>
                      <a:pt x="430" y="75"/>
                    </a:lnTo>
                    <a:lnTo>
                      <a:pt x="430" y="75"/>
                    </a:lnTo>
                    <a:lnTo>
                      <a:pt x="415" y="68"/>
                    </a:lnTo>
                    <a:lnTo>
                      <a:pt x="401" y="60"/>
                    </a:lnTo>
                    <a:lnTo>
                      <a:pt x="401" y="60"/>
                    </a:lnTo>
                    <a:lnTo>
                      <a:pt x="395" y="57"/>
                    </a:lnTo>
                    <a:lnTo>
                      <a:pt x="392" y="58"/>
                    </a:lnTo>
                    <a:lnTo>
                      <a:pt x="386" y="60"/>
                    </a:lnTo>
                    <a:lnTo>
                      <a:pt x="386" y="60"/>
                    </a:lnTo>
                    <a:lnTo>
                      <a:pt x="379" y="61"/>
                    </a:lnTo>
                    <a:lnTo>
                      <a:pt x="372" y="61"/>
                    </a:lnTo>
                    <a:lnTo>
                      <a:pt x="363" y="61"/>
                    </a:lnTo>
                    <a:lnTo>
                      <a:pt x="355" y="60"/>
                    </a:lnTo>
                    <a:lnTo>
                      <a:pt x="355" y="60"/>
                    </a:lnTo>
                    <a:lnTo>
                      <a:pt x="346" y="58"/>
                    </a:lnTo>
                    <a:lnTo>
                      <a:pt x="339" y="57"/>
                    </a:lnTo>
                    <a:lnTo>
                      <a:pt x="331" y="57"/>
                    </a:lnTo>
                    <a:lnTo>
                      <a:pt x="328" y="55"/>
                    </a:lnTo>
                    <a:lnTo>
                      <a:pt x="328" y="55"/>
                    </a:lnTo>
                    <a:lnTo>
                      <a:pt x="326" y="51"/>
                    </a:lnTo>
                    <a:lnTo>
                      <a:pt x="323" y="49"/>
                    </a:lnTo>
                    <a:lnTo>
                      <a:pt x="320" y="48"/>
                    </a:lnTo>
                    <a:lnTo>
                      <a:pt x="320" y="48"/>
                    </a:lnTo>
                    <a:lnTo>
                      <a:pt x="305" y="45"/>
                    </a:lnTo>
                    <a:lnTo>
                      <a:pt x="292" y="42"/>
                    </a:lnTo>
                    <a:lnTo>
                      <a:pt x="292" y="42"/>
                    </a:lnTo>
                    <a:lnTo>
                      <a:pt x="282" y="39"/>
                    </a:lnTo>
                    <a:lnTo>
                      <a:pt x="276" y="39"/>
                    </a:lnTo>
                    <a:lnTo>
                      <a:pt x="272" y="39"/>
                    </a:lnTo>
                    <a:lnTo>
                      <a:pt x="272" y="39"/>
                    </a:lnTo>
                    <a:lnTo>
                      <a:pt x="269" y="44"/>
                    </a:lnTo>
                    <a:lnTo>
                      <a:pt x="266" y="44"/>
                    </a:lnTo>
                    <a:lnTo>
                      <a:pt x="263" y="44"/>
                    </a:lnTo>
                    <a:lnTo>
                      <a:pt x="263" y="44"/>
                    </a:lnTo>
                    <a:lnTo>
                      <a:pt x="260" y="42"/>
                    </a:lnTo>
                    <a:lnTo>
                      <a:pt x="259" y="41"/>
                    </a:lnTo>
                    <a:lnTo>
                      <a:pt x="259" y="39"/>
                    </a:lnTo>
                    <a:lnTo>
                      <a:pt x="257" y="38"/>
                    </a:lnTo>
                    <a:lnTo>
                      <a:pt x="257" y="38"/>
                    </a:lnTo>
                    <a:lnTo>
                      <a:pt x="250" y="33"/>
                    </a:lnTo>
                    <a:lnTo>
                      <a:pt x="247" y="32"/>
                    </a:lnTo>
                    <a:lnTo>
                      <a:pt x="247" y="29"/>
                    </a:lnTo>
                    <a:lnTo>
                      <a:pt x="247" y="29"/>
                    </a:lnTo>
                    <a:lnTo>
                      <a:pt x="252" y="25"/>
                    </a:lnTo>
                    <a:lnTo>
                      <a:pt x="252" y="22"/>
                    </a:lnTo>
                    <a:lnTo>
                      <a:pt x="252" y="20"/>
                    </a:lnTo>
                    <a:lnTo>
                      <a:pt x="250" y="20"/>
                    </a:lnTo>
                    <a:lnTo>
                      <a:pt x="250" y="20"/>
                    </a:lnTo>
                    <a:lnTo>
                      <a:pt x="239" y="22"/>
                    </a:lnTo>
                    <a:lnTo>
                      <a:pt x="227" y="25"/>
                    </a:lnTo>
                    <a:lnTo>
                      <a:pt x="227" y="25"/>
                    </a:lnTo>
                    <a:lnTo>
                      <a:pt x="224" y="25"/>
                    </a:lnTo>
                    <a:lnTo>
                      <a:pt x="220" y="25"/>
                    </a:lnTo>
                    <a:lnTo>
                      <a:pt x="217" y="23"/>
                    </a:lnTo>
                    <a:lnTo>
                      <a:pt x="215" y="22"/>
                    </a:lnTo>
                    <a:lnTo>
                      <a:pt x="215" y="20"/>
                    </a:lnTo>
                    <a:lnTo>
                      <a:pt x="215" y="20"/>
                    </a:lnTo>
                    <a:lnTo>
                      <a:pt x="220" y="16"/>
                    </a:lnTo>
                    <a:lnTo>
                      <a:pt x="220" y="13"/>
                    </a:lnTo>
                    <a:lnTo>
                      <a:pt x="220" y="12"/>
                    </a:lnTo>
                    <a:lnTo>
                      <a:pt x="220" y="12"/>
                    </a:lnTo>
                    <a:lnTo>
                      <a:pt x="217" y="12"/>
                    </a:lnTo>
                    <a:lnTo>
                      <a:pt x="214" y="12"/>
                    </a:lnTo>
                    <a:lnTo>
                      <a:pt x="211" y="13"/>
                    </a:lnTo>
                    <a:lnTo>
                      <a:pt x="210" y="15"/>
                    </a:lnTo>
                    <a:lnTo>
                      <a:pt x="210" y="15"/>
                    </a:lnTo>
                    <a:lnTo>
                      <a:pt x="207" y="23"/>
                    </a:lnTo>
                    <a:lnTo>
                      <a:pt x="204" y="26"/>
                    </a:lnTo>
                    <a:lnTo>
                      <a:pt x="204" y="26"/>
                    </a:lnTo>
                    <a:lnTo>
                      <a:pt x="202" y="26"/>
                    </a:lnTo>
                    <a:lnTo>
                      <a:pt x="202" y="26"/>
                    </a:lnTo>
                    <a:lnTo>
                      <a:pt x="201" y="22"/>
                    </a:lnTo>
                    <a:lnTo>
                      <a:pt x="201" y="18"/>
                    </a:lnTo>
                    <a:lnTo>
                      <a:pt x="201" y="10"/>
                    </a:lnTo>
                    <a:lnTo>
                      <a:pt x="201" y="10"/>
                    </a:lnTo>
                    <a:lnTo>
                      <a:pt x="192" y="4"/>
                    </a:lnTo>
                    <a:lnTo>
                      <a:pt x="192" y="4"/>
                    </a:lnTo>
                    <a:lnTo>
                      <a:pt x="187" y="0"/>
                    </a:lnTo>
                    <a:lnTo>
                      <a:pt x="184" y="0"/>
                    </a:lnTo>
                    <a:lnTo>
                      <a:pt x="181" y="0"/>
                    </a:lnTo>
                    <a:lnTo>
                      <a:pt x="181" y="0"/>
                    </a:lnTo>
                    <a:lnTo>
                      <a:pt x="179" y="3"/>
                    </a:lnTo>
                    <a:lnTo>
                      <a:pt x="176" y="9"/>
                    </a:lnTo>
                    <a:lnTo>
                      <a:pt x="173" y="16"/>
                    </a:lnTo>
                    <a:lnTo>
                      <a:pt x="171" y="20"/>
                    </a:lnTo>
                    <a:lnTo>
                      <a:pt x="171" y="20"/>
                    </a:lnTo>
                    <a:lnTo>
                      <a:pt x="163" y="23"/>
                    </a:lnTo>
                    <a:lnTo>
                      <a:pt x="155" y="26"/>
                    </a:lnTo>
                    <a:lnTo>
                      <a:pt x="147" y="28"/>
                    </a:lnTo>
                    <a:lnTo>
                      <a:pt x="142" y="29"/>
                    </a:lnTo>
                    <a:lnTo>
                      <a:pt x="142" y="29"/>
                    </a:lnTo>
                    <a:lnTo>
                      <a:pt x="136" y="28"/>
                    </a:lnTo>
                    <a:lnTo>
                      <a:pt x="133" y="28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27" y="35"/>
                    </a:lnTo>
                    <a:lnTo>
                      <a:pt x="124" y="39"/>
                    </a:lnTo>
                    <a:lnTo>
                      <a:pt x="121" y="41"/>
                    </a:lnTo>
                    <a:lnTo>
                      <a:pt x="121" y="41"/>
                    </a:lnTo>
                    <a:lnTo>
                      <a:pt x="113" y="44"/>
                    </a:lnTo>
                    <a:lnTo>
                      <a:pt x="105" y="45"/>
                    </a:lnTo>
                    <a:lnTo>
                      <a:pt x="98" y="46"/>
                    </a:lnTo>
                    <a:lnTo>
                      <a:pt x="98" y="46"/>
                    </a:lnTo>
                    <a:lnTo>
                      <a:pt x="94" y="48"/>
                    </a:lnTo>
                    <a:lnTo>
                      <a:pt x="92" y="51"/>
                    </a:lnTo>
                    <a:lnTo>
                      <a:pt x="92" y="54"/>
                    </a:lnTo>
                    <a:lnTo>
                      <a:pt x="92" y="55"/>
                    </a:lnTo>
                    <a:lnTo>
                      <a:pt x="92" y="55"/>
                    </a:lnTo>
                    <a:lnTo>
                      <a:pt x="89" y="58"/>
                    </a:lnTo>
                    <a:lnTo>
                      <a:pt x="88" y="62"/>
                    </a:lnTo>
                    <a:lnTo>
                      <a:pt x="87" y="67"/>
                    </a:lnTo>
                    <a:lnTo>
                      <a:pt x="85" y="70"/>
                    </a:lnTo>
                    <a:lnTo>
                      <a:pt x="85" y="70"/>
                    </a:lnTo>
                    <a:lnTo>
                      <a:pt x="82" y="74"/>
                    </a:lnTo>
                    <a:lnTo>
                      <a:pt x="79" y="81"/>
                    </a:lnTo>
                    <a:lnTo>
                      <a:pt x="75" y="94"/>
                    </a:lnTo>
                    <a:lnTo>
                      <a:pt x="75" y="94"/>
                    </a:lnTo>
                    <a:lnTo>
                      <a:pt x="69" y="106"/>
                    </a:lnTo>
                    <a:lnTo>
                      <a:pt x="65" y="112"/>
                    </a:lnTo>
                    <a:lnTo>
                      <a:pt x="62" y="115"/>
                    </a:lnTo>
                    <a:lnTo>
                      <a:pt x="62" y="115"/>
                    </a:lnTo>
                    <a:lnTo>
                      <a:pt x="58" y="113"/>
                    </a:lnTo>
                    <a:lnTo>
                      <a:pt x="53" y="115"/>
                    </a:lnTo>
                    <a:lnTo>
                      <a:pt x="53" y="115"/>
                    </a:lnTo>
                    <a:lnTo>
                      <a:pt x="43" y="116"/>
                    </a:lnTo>
                    <a:lnTo>
                      <a:pt x="30" y="117"/>
                    </a:lnTo>
                    <a:lnTo>
                      <a:pt x="30" y="117"/>
                    </a:lnTo>
                    <a:lnTo>
                      <a:pt x="29" y="119"/>
                    </a:lnTo>
                    <a:lnTo>
                      <a:pt x="27" y="120"/>
                    </a:lnTo>
                    <a:lnTo>
                      <a:pt x="26" y="125"/>
                    </a:lnTo>
                    <a:lnTo>
                      <a:pt x="26" y="129"/>
                    </a:lnTo>
                    <a:lnTo>
                      <a:pt x="26" y="131"/>
                    </a:lnTo>
                    <a:lnTo>
                      <a:pt x="24" y="132"/>
                    </a:lnTo>
                    <a:lnTo>
                      <a:pt x="24" y="132"/>
                    </a:lnTo>
                    <a:lnTo>
                      <a:pt x="20" y="132"/>
                    </a:lnTo>
                    <a:lnTo>
                      <a:pt x="19" y="133"/>
                    </a:lnTo>
                    <a:lnTo>
                      <a:pt x="19" y="135"/>
                    </a:lnTo>
                    <a:lnTo>
                      <a:pt x="19" y="135"/>
                    </a:lnTo>
                    <a:lnTo>
                      <a:pt x="21" y="138"/>
                    </a:lnTo>
                    <a:lnTo>
                      <a:pt x="24" y="139"/>
                    </a:lnTo>
                    <a:lnTo>
                      <a:pt x="27" y="142"/>
                    </a:lnTo>
                    <a:lnTo>
                      <a:pt x="30" y="145"/>
                    </a:lnTo>
                    <a:lnTo>
                      <a:pt x="30" y="145"/>
                    </a:lnTo>
                    <a:lnTo>
                      <a:pt x="33" y="148"/>
                    </a:lnTo>
                    <a:lnTo>
                      <a:pt x="34" y="149"/>
                    </a:lnTo>
                    <a:lnTo>
                      <a:pt x="37" y="149"/>
                    </a:lnTo>
                    <a:lnTo>
                      <a:pt x="39" y="152"/>
                    </a:lnTo>
                    <a:lnTo>
                      <a:pt x="39" y="152"/>
                    </a:lnTo>
                    <a:lnTo>
                      <a:pt x="46" y="159"/>
                    </a:lnTo>
                    <a:lnTo>
                      <a:pt x="52" y="165"/>
                    </a:lnTo>
                    <a:lnTo>
                      <a:pt x="52" y="165"/>
                    </a:lnTo>
                    <a:lnTo>
                      <a:pt x="56" y="168"/>
                    </a:lnTo>
                    <a:lnTo>
                      <a:pt x="58" y="173"/>
                    </a:lnTo>
                    <a:lnTo>
                      <a:pt x="58" y="173"/>
                    </a:lnTo>
                    <a:lnTo>
                      <a:pt x="61" y="180"/>
                    </a:lnTo>
                    <a:lnTo>
                      <a:pt x="65" y="188"/>
                    </a:lnTo>
                    <a:lnTo>
                      <a:pt x="65" y="188"/>
                    </a:lnTo>
                    <a:lnTo>
                      <a:pt x="66" y="191"/>
                    </a:lnTo>
                    <a:lnTo>
                      <a:pt x="71" y="194"/>
                    </a:lnTo>
                    <a:lnTo>
                      <a:pt x="74" y="196"/>
                    </a:lnTo>
                    <a:lnTo>
                      <a:pt x="78" y="196"/>
                    </a:lnTo>
                    <a:lnTo>
                      <a:pt x="78" y="196"/>
                    </a:lnTo>
                    <a:lnTo>
                      <a:pt x="88" y="196"/>
                    </a:lnTo>
                    <a:lnTo>
                      <a:pt x="94" y="199"/>
                    </a:lnTo>
                    <a:lnTo>
                      <a:pt x="95" y="199"/>
                    </a:lnTo>
                    <a:lnTo>
                      <a:pt x="95" y="200"/>
                    </a:lnTo>
                    <a:lnTo>
                      <a:pt x="95" y="200"/>
                    </a:lnTo>
                    <a:lnTo>
                      <a:pt x="97" y="203"/>
                    </a:lnTo>
                    <a:lnTo>
                      <a:pt x="98" y="204"/>
                    </a:lnTo>
                    <a:lnTo>
                      <a:pt x="103" y="209"/>
                    </a:lnTo>
                    <a:lnTo>
                      <a:pt x="103" y="209"/>
                    </a:lnTo>
                    <a:lnTo>
                      <a:pt x="108" y="210"/>
                    </a:lnTo>
                    <a:lnTo>
                      <a:pt x="113" y="212"/>
                    </a:lnTo>
                    <a:lnTo>
                      <a:pt x="117" y="212"/>
                    </a:lnTo>
                    <a:lnTo>
                      <a:pt x="118" y="213"/>
                    </a:lnTo>
                    <a:lnTo>
                      <a:pt x="118" y="213"/>
                    </a:lnTo>
                    <a:lnTo>
                      <a:pt x="118" y="213"/>
                    </a:lnTo>
                    <a:lnTo>
                      <a:pt x="117" y="216"/>
                    </a:lnTo>
                    <a:lnTo>
                      <a:pt x="116" y="217"/>
                    </a:lnTo>
                    <a:lnTo>
                      <a:pt x="113" y="217"/>
                    </a:lnTo>
                    <a:lnTo>
                      <a:pt x="113" y="217"/>
                    </a:lnTo>
                    <a:lnTo>
                      <a:pt x="103" y="215"/>
                    </a:lnTo>
                    <a:lnTo>
                      <a:pt x="97" y="212"/>
                    </a:lnTo>
                    <a:lnTo>
                      <a:pt x="94" y="209"/>
                    </a:lnTo>
                    <a:lnTo>
                      <a:pt x="94" y="209"/>
                    </a:lnTo>
                    <a:lnTo>
                      <a:pt x="91" y="207"/>
                    </a:lnTo>
                    <a:lnTo>
                      <a:pt x="91" y="209"/>
                    </a:lnTo>
                    <a:lnTo>
                      <a:pt x="92" y="215"/>
                    </a:lnTo>
                    <a:lnTo>
                      <a:pt x="92" y="215"/>
                    </a:lnTo>
                    <a:lnTo>
                      <a:pt x="92" y="222"/>
                    </a:lnTo>
                    <a:lnTo>
                      <a:pt x="92" y="223"/>
                    </a:lnTo>
                    <a:lnTo>
                      <a:pt x="94" y="223"/>
                    </a:lnTo>
                    <a:lnTo>
                      <a:pt x="94" y="223"/>
                    </a:lnTo>
                    <a:lnTo>
                      <a:pt x="98" y="219"/>
                    </a:lnTo>
                    <a:lnTo>
                      <a:pt x="100" y="217"/>
                    </a:lnTo>
                    <a:lnTo>
                      <a:pt x="103" y="220"/>
                    </a:lnTo>
                    <a:lnTo>
                      <a:pt x="103" y="220"/>
                    </a:lnTo>
                    <a:lnTo>
                      <a:pt x="108" y="226"/>
                    </a:lnTo>
                    <a:lnTo>
                      <a:pt x="110" y="228"/>
                    </a:lnTo>
                    <a:lnTo>
                      <a:pt x="110" y="229"/>
                    </a:lnTo>
                    <a:lnTo>
                      <a:pt x="110" y="229"/>
                    </a:lnTo>
                    <a:lnTo>
                      <a:pt x="105" y="229"/>
                    </a:lnTo>
                    <a:lnTo>
                      <a:pt x="104" y="229"/>
                    </a:lnTo>
                    <a:lnTo>
                      <a:pt x="103" y="230"/>
                    </a:lnTo>
                    <a:lnTo>
                      <a:pt x="103" y="230"/>
                    </a:lnTo>
                    <a:lnTo>
                      <a:pt x="103" y="236"/>
                    </a:lnTo>
                    <a:lnTo>
                      <a:pt x="101" y="239"/>
                    </a:lnTo>
                    <a:lnTo>
                      <a:pt x="98" y="239"/>
                    </a:lnTo>
                    <a:lnTo>
                      <a:pt x="98" y="239"/>
                    </a:lnTo>
                    <a:lnTo>
                      <a:pt x="92" y="236"/>
                    </a:lnTo>
                    <a:lnTo>
                      <a:pt x="88" y="236"/>
                    </a:lnTo>
                    <a:lnTo>
                      <a:pt x="88" y="236"/>
                    </a:lnTo>
                    <a:lnTo>
                      <a:pt x="85" y="239"/>
                    </a:lnTo>
                    <a:lnTo>
                      <a:pt x="82" y="239"/>
                    </a:lnTo>
                    <a:lnTo>
                      <a:pt x="82" y="239"/>
                    </a:lnTo>
                    <a:lnTo>
                      <a:pt x="82" y="239"/>
                    </a:lnTo>
                    <a:lnTo>
                      <a:pt x="79" y="238"/>
                    </a:lnTo>
                    <a:lnTo>
                      <a:pt x="76" y="236"/>
                    </a:lnTo>
                    <a:lnTo>
                      <a:pt x="76" y="236"/>
                    </a:lnTo>
                    <a:lnTo>
                      <a:pt x="72" y="236"/>
                    </a:lnTo>
                    <a:lnTo>
                      <a:pt x="69" y="235"/>
                    </a:lnTo>
                    <a:lnTo>
                      <a:pt x="66" y="233"/>
                    </a:lnTo>
                    <a:lnTo>
                      <a:pt x="66" y="233"/>
                    </a:lnTo>
                    <a:lnTo>
                      <a:pt x="63" y="228"/>
                    </a:lnTo>
                    <a:lnTo>
                      <a:pt x="63" y="225"/>
                    </a:lnTo>
                    <a:lnTo>
                      <a:pt x="63" y="222"/>
                    </a:lnTo>
                    <a:lnTo>
                      <a:pt x="63" y="222"/>
                    </a:lnTo>
                    <a:lnTo>
                      <a:pt x="65" y="215"/>
                    </a:lnTo>
                    <a:lnTo>
                      <a:pt x="65" y="210"/>
                    </a:lnTo>
                    <a:lnTo>
                      <a:pt x="65" y="209"/>
                    </a:lnTo>
                    <a:lnTo>
                      <a:pt x="65" y="209"/>
                    </a:lnTo>
                    <a:lnTo>
                      <a:pt x="55" y="210"/>
                    </a:lnTo>
                    <a:lnTo>
                      <a:pt x="50" y="213"/>
                    </a:lnTo>
                    <a:lnTo>
                      <a:pt x="46" y="215"/>
                    </a:lnTo>
                    <a:lnTo>
                      <a:pt x="46" y="215"/>
                    </a:lnTo>
                    <a:lnTo>
                      <a:pt x="45" y="216"/>
                    </a:lnTo>
                    <a:lnTo>
                      <a:pt x="42" y="217"/>
                    </a:lnTo>
                    <a:lnTo>
                      <a:pt x="39" y="220"/>
                    </a:lnTo>
                    <a:lnTo>
                      <a:pt x="34" y="222"/>
                    </a:lnTo>
                    <a:lnTo>
                      <a:pt x="34" y="222"/>
                    </a:lnTo>
                    <a:lnTo>
                      <a:pt x="32" y="226"/>
                    </a:lnTo>
                    <a:lnTo>
                      <a:pt x="30" y="229"/>
                    </a:lnTo>
                    <a:lnTo>
                      <a:pt x="30" y="229"/>
                    </a:lnTo>
                    <a:lnTo>
                      <a:pt x="29" y="232"/>
                    </a:lnTo>
                    <a:lnTo>
                      <a:pt x="27" y="233"/>
                    </a:lnTo>
                    <a:lnTo>
                      <a:pt x="26" y="233"/>
                    </a:lnTo>
                    <a:lnTo>
                      <a:pt x="26" y="233"/>
                    </a:lnTo>
                    <a:lnTo>
                      <a:pt x="23" y="233"/>
                    </a:lnTo>
                    <a:lnTo>
                      <a:pt x="20" y="236"/>
                    </a:lnTo>
                    <a:lnTo>
                      <a:pt x="13" y="241"/>
                    </a:lnTo>
                    <a:lnTo>
                      <a:pt x="13" y="241"/>
                    </a:lnTo>
                    <a:lnTo>
                      <a:pt x="8" y="242"/>
                    </a:lnTo>
                    <a:lnTo>
                      <a:pt x="5" y="243"/>
                    </a:lnTo>
                    <a:lnTo>
                      <a:pt x="4" y="245"/>
                    </a:lnTo>
                    <a:lnTo>
                      <a:pt x="4" y="245"/>
                    </a:lnTo>
                    <a:lnTo>
                      <a:pt x="3" y="249"/>
                    </a:lnTo>
                    <a:lnTo>
                      <a:pt x="1" y="251"/>
                    </a:lnTo>
                    <a:lnTo>
                      <a:pt x="0" y="251"/>
                    </a:lnTo>
                    <a:lnTo>
                      <a:pt x="0" y="251"/>
                    </a:lnTo>
                    <a:lnTo>
                      <a:pt x="0" y="252"/>
                    </a:lnTo>
                    <a:lnTo>
                      <a:pt x="0" y="254"/>
                    </a:lnTo>
                    <a:lnTo>
                      <a:pt x="5" y="257"/>
                    </a:lnTo>
                    <a:lnTo>
                      <a:pt x="5" y="257"/>
                    </a:lnTo>
                    <a:lnTo>
                      <a:pt x="11" y="259"/>
                    </a:lnTo>
                    <a:lnTo>
                      <a:pt x="13" y="261"/>
                    </a:lnTo>
                    <a:lnTo>
                      <a:pt x="13" y="264"/>
                    </a:lnTo>
                    <a:lnTo>
                      <a:pt x="13" y="264"/>
                    </a:lnTo>
                    <a:lnTo>
                      <a:pt x="14" y="268"/>
                    </a:lnTo>
                    <a:lnTo>
                      <a:pt x="16" y="272"/>
                    </a:lnTo>
                    <a:lnTo>
                      <a:pt x="20" y="280"/>
                    </a:lnTo>
                    <a:lnTo>
                      <a:pt x="20" y="280"/>
                    </a:lnTo>
                    <a:lnTo>
                      <a:pt x="21" y="283"/>
                    </a:lnTo>
                    <a:lnTo>
                      <a:pt x="23" y="288"/>
                    </a:lnTo>
                    <a:lnTo>
                      <a:pt x="24" y="293"/>
                    </a:lnTo>
                    <a:lnTo>
                      <a:pt x="26" y="296"/>
                    </a:lnTo>
                    <a:lnTo>
                      <a:pt x="27" y="296"/>
                    </a:lnTo>
                    <a:lnTo>
                      <a:pt x="27" y="296"/>
                    </a:lnTo>
                    <a:lnTo>
                      <a:pt x="36" y="299"/>
                    </a:lnTo>
                    <a:lnTo>
                      <a:pt x="40" y="300"/>
                    </a:lnTo>
                    <a:lnTo>
                      <a:pt x="46" y="299"/>
                    </a:lnTo>
                    <a:lnTo>
                      <a:pt x="46" y="299"/>
                    </a:lnTo>
                    <a:lnTo>
                      <a:pt x="56" y="297"/>
                    </a:lnTo>
                    <a:lnTo>
                      <a:pt x="65" y="297"/>
                    </a:lnTo>
                    <a:lnTo>
                      <a:pt x="65" y="297"/>
                    </a:lnTo>
                    <a:lnTo>
                      <a:pt x="71" y="296"/>
                    </a:lnTo>
                    <a:lnTo>
                      <a:pt x="74" y="294"/>
                    </a:lnTo>
                    <a:lnTo>
                      <a:pt x="74" y="294"/>
                    </a:lnTo>
                    <a:lnTo>
                      <a:pt x="75" y="294"/>
                    </a:lnTo>
                    <a:lnTo>
                      <a:pt x="76" y="296"/>
                    </a:lnTo>
                    <a:lnTo>
                      <a:pt x="78" y="297"/>
                    </a:lnTo>
                    <a:lnTo>
                      <a:pt x="81" y="296"/>
                    </a:lnTo>
                    <a:lnTo>
                      <a:pt x="81" y="296"/>
                    </a:lnTo>
                    <a:lnTo>
                      <a:pt x="85" y="293"/>
                    </a:lnTo>
                    <a:lnTo>
                      <a:pt x="89" y="288"/>
                    </a:lnTo>
                    <a:lnTo>
                      <a:pt x="94" y="284"/>
                    </a:lnTo>
                    <a:lnTo>
                      <a:pt x="95" y="283"/>
                    </a:lnTo>
                    <a:lnTo>
                      <a:pt x="98" y="281"/>
                    </a:lnTo>
                    <a:lnTo>
                      <a:pt x="98" y="281"/>
                    </a:lnTo>
                    <a:lnTo>
                      <a:pt x="100" y="283"/>
                    </a:lnTo>
                    <a:lnTo>
                      <a:pt x="101" y="284"/>
                    </a:lnTo>
                    <a:lnTo>
                      <a:pt x="103" y="285"/>
                    </a:lnTo>
                    <a:lnTo>
                      <a:pt x="104" y="285"/>
                    </a:lnTo>
                    <a:lnTo>
                      <a:pt x="104" y="285"/>
                    </a:lnTo>
                    <a:lnTo>
                      <a:pt x="107" y="284"/>
                    </a:lnTo>
                    <a:lnTo>
                      <a:pt x="108" y="284"/>
                    </a:lnTo>
                    <a:lnTo>
                      <a:pt x="108" y="287"/>
                    </a:lnTo>
                    <a:lnTo>
                      <a:pt x="108" y="287"/>
                    </a:lnTo>
                    <a:lnTo>
                      <a:pt x="107" y="294"/>
                    </a:lnTo>
                    <a:lnTo>
                      <a:pt x="107" y="296"/>
                    </a:lnTo>
                    <a:lnTo>
                      <a:pt x="104" y="297"/>
                    </a:lnTo>
                    <a:lnTo>
                      <a:pt x="104" y="297"/>
                    </a:lnTo>
                    <a:lnTo>
                      <a:pt x="104" y="297"/>
                    </a:lnTo>
                    <a:lnTo>
                      <a:pt x="104" y="299"/>
                    </a:lnTo>
                    <a:lnTo>
                      <a:pt x="105" y="300"/>
                    </a:lnTo>
                    <a:lnTo>
                      <a:pt x="108" y="303"/>
                    </a:lnTo>
                    <a:lnTo>
                      <a:pt x="110" y="306"/>
                    </a:lnTo>
                    <a:lnTo>
                      <a:pt x="110" y="306"/>
                    </a:lnTo>
                    <a:lnTo>
                      <a:pt x="111" y="317"/>
                    </a:lnTo>
                    <a:lnTo>
                      <a:pt x="111" y="323"/>
                    </a:lnTo>
                    <a:lnTo>
                      <a:pt x="108" y="327"/>
                    </a:lnTo>
                    <a:lnTo>
                      <a:pt x="108" y="327"/>
                    </a:lnTo>
                    <a:lnTo>
                      <a:pt x="105" y="330"/>
                    </a:lnTo>
                    <a:lnTo>
                      <a:pt x="101" y="332"/>
                    </a:lnTo>
                    <a:lnTo>
                      <a:pt x="94" y="333"/>
                    </a:lnTo>
                    <a:lnTo>
                      <a:pt x="94" y="333"/>
                    </a:lnTo>
                    <a:lnTo>
                      <a:pt x="91" y="333"/>
                    </a:lnTo>
                    <a:lnTo>
                      <a:pt x="88" y="336"/>
                    </a:lnTo>
                    <a:lnTo>
                      <a:pt x="82" y="341"/>
                    </a:lnTo>
                    <a:lnTo>
                      <a:pt x="82" y="341"/>
                    </a:lnTo>
                    <a:lnTo>
                      <a:pt x="75" y="345"/>
                    </a:lnTo>
                    <a:lnTo>
                      <a:pt x="72" y="346"/>
                    </a:lnTo>
                    <a:lnTo>
                      <a:pt x="71" y="345"/>
                    </a:lnTo>
                    <a:lnTo>
                      <a:pt x="71" y="345"/>
                    </a:lnTo>
                    <a:lnTo>
                      <a:pt x="68" y="342"/>
                    </a:lnTo>
                    <a:lnTo>
                      <a:pt x="66" y="341"/>
                    </a:lnTo>
                    <a:lnTo>
                      <a:pt x="63" y="341"/>
                    </a:lnTo>
                    <a:lnTo>
                      <a:pt x="63" y="341"/>
                    </a:lnTo>
                    <a:lnTo>
                      <a:pt x="56" y="341"/>
                    </a:lnTo>
                    <a:lnTo>
                      <a:pt x="53" y="341"/>
                    </a:lnTo>
                    <a:lnTo>
                      <a:pt x="50" y="342"/>
                    </a:lnTo>
                    <a:lnTo>
                      <a:pt x="50" y="342"/>
                    </a:lnTo>
                    <a:lnTo>
                      <a:pt x="49" y="346"/>
                    </a:lnTo>
                    <a:lnTo>
                      <a:pt x="47" y="352"/>
                    </a:lnTo>
                    <a:lnTo>
                      <a:pt x="46" y="356"/>
                    </a:lnTo>
                    <a:lnTo>
                      <a:pt x="45" y="361"/>
                    </a:lnTo>
                    <a:lnTo>
                      <a:pt x="45" y="361"/>
                    </a:lnTo>
                    <a:lnTo>
                      <a:pt x="37" y="371"/>
                    </a:lnTo>
                    <a:lnTo>
                      <a:pt x="33" y="377"/>
                    </a:lnTo>
                    <a:lnTo>
                      <a:pt x="30" y="383"/>
                    </a:lnTo>
                    <a:lnTo>
                      <a:pt x="30" y="383"/>
                    </a:lnTo>
                    <a:lnTo>
                      <a:pt x="30" y="388"/>
                    </a:lnTo>
                    <a:lnTo>
                      <a:pt x="30" y="391"/>
                    </a:lnTo>
                    <a:lnTo>
                      <a:pt x="29" y="393"/>
                    </a:lnTo>
                    <a:lnTo>
                      <a:pt x="29" y="393"/>
                    </a:lnTo>
                    <a:lnTo>
                      <a:pt x="26" y="396"/>
                    </a:lnTo>
                    <a:lnTo>
                      <a:pt x="24" y="398"/>
                    </a:lnTo>
                    <a:lnTo>
                      <a:pt x="24" y="401"/>
                    </a:lnTo>
                    <a:lnTo>
                      <a:pt x="26" y="403"/>
                    </a:lnTo>
                    <a:lnTo>
                      <a:pt x="26" y="403"/>
                    </a:lnTo>
                    <a:lnTo>
                      <a:pt x="29" y="401"/>
                    </a:lnTo>
                    <a:lnTo>
                      <a:pt x="32" y="400"/>
                    </a:lnTo>
                    <a:lnTo>
                      <a:pt x="33" y="398"/>
                    </a:lnTo>
                    <a:lnTo>
                      <a:pt x="33" y="400"/>
                    </a:lnTo>
                    <a:lnTo>
                      <a:pt x="33" y="400"/>
                    </a:lnTo>
                    <a:lnTo>
                      <a:pt x="32" y="406"/>
                    </a:lnTo>
                    <a:lnTo>
                      <a:pt x="29" y="410"/>
                    </a:lnTo>
                    <a:lnTo>
                      <a:pt x="29" y="410"/>
                    </a:lnTo>
                    <a:lnTo>
                      <a:pt x="30" y="413"/>
                    </a:lnTo>
                    <a:lnTo>
                      <a:pt x="33" y="414"/>
                    </a:lnTo>
                    <a:lnTo>
                      <a:pt x="40" y="417"/>
                    </a:lnTo>
                    <a:lnTo>
                      <a:pt x="40" y="417"/>
                    </a:lnTo>
                    <a:lnTo>
                      <a:pt x="47" y="422"/>
                    </a:lnTo>
                    <a:lnTo>
                      <a:pt x="55" y="425"/>
                    </a:lnTo>
                    <a:lnTo>
                      <a:pt x="55" y="425"/>
                    </a:lnTo>
                    <a:lnTo>
                      <a:pt x="59" y="425"/>
                    </a:lnTo>
                    <a:lnTo>
                      <a:pt x="62" y="425"/>
                    </a:lnTo>
                    <a:lnTo>
                      <a:pt x="65" y="426"/>
                    </a:lnTo>
                    <a:lnTo>
                      <a:pt x="65" y="427"/>
                    </a:lnTo>
                    <a:lnTo>
                      <a:pt x="65" y="427"/>
                    </a:lnTo>
                    <a:lnTo>
                      <a:pt x="62" y="430"/>
                    </a:lnTo>
                    <a:lnTo>
                      <a:pt x="61" y="432"/>
                    </a:lnTo>
                    <a:lnTo>
                      <a:pt x="58" y="435"/>
                    </a:lnTo>
                    <a:lnTo>
                      <a:pt x="56" y="438"/>
                    </a:lnTo>
                    <a:lnTo>
                      <a:pt x="56" y="438"/>
                    </a:lnTo>
                    <a:lnTo>
                      <a:pt x="56" y="445"/>
                    </a:lnTo>
                    <a:lnTo>
                      <a:pt x="56" y="448"/>
                    </a:lnTo>
                    <a:lnTo>
                      <a:pt x="58" y="451"/>
                    </a:lnTo>
                    <a:lnTo>
                      <a:pt x="58" y="451"/>
                    </a:lnTo>
                    <a:lnTo>
                      <a:pt x="61" y="452"/>
                    </a:lnTo>
                    <a:lnTo>
                      <a:pt x="63" y="455"/>
                    </a:lnTo>
                    <a:lnTo>
                      <a:pt x="63" y="455"/>
                    </a:lnTo>
                    <a:lnTo>
                      <a:pt x="65" y="458"/>
                    </a:lnTo>
                    <a:lnTo>
                      <a:pt x="69" y="458"/>
                    </a:lnTo>
                    <a:lnTo>
                      <a:pt x="76" y="458"/>
                    </a:lnTo>
                    <a:lnTo>
                      <a:pt x="76" y="458"/>
                    </a:lnTo>
                    <a:lnTo>
                      <a:pt x="81" y="456"/>
                    </a:lnTo>
                    <a:lnTo>
                      <a:pt x="84" y="455"/>
                    </a:lnTo>
                    <a:lnTo>
                      <a:pt x="85" y="452"/>
                    </a:lnTo>
                    <a:lnTo>
                      <a:pt x="85" y="451"/>
                    </a:lnTo>
                    <a:lnTo>
                      <a:pt x="85" y="451"/>
                    </a:lnTo>
                    <a:lnTo>
                      <a:pt x="84" y="446"/>
                    </a:lnTo>
                    <a:lnTo>
                      <a:pt x="84" y="442"/>
                    </a:lnTo>
                    <a:lnTo>
                      <a:pt x="85" y="439"/>
                    </a:lnTo>
                    <a:lnTo>
                      <a:pt x="87" y="438"/>
                    </a:lnTo>
                    <a:lnTo>
                      <a:pt x="87" y="438"/>
                    </a:lnTo>
                    <a:lnTo>
                      <a:pt x="88" y="439"/>
                    </a:lnTo>
                    <a:lnTo>
                      <a:pt x="89" y="445"/>
                    </a:lnTo>
                    <a:lnTo>
                      <a:pt x="91" y="454"/>
                    </a:lnTo>
                    <a:lnTo>
                      <a:pt x="91" y="454"/>
                    </a:lnTo>
                    <a:lnTo>
                      <a:pt x="92" y="458"/>
                    </a:lnTo>
                    <a:lnTo>
                      <a:pt x="91" y="465"/>
                    </a:lnTo>
                    <a:lnTo>
                      <a:pt x="91" y="465"/>
                    </a:lnTo>
                    <a:lnTo>
                      <a:pt x="89" y="471"/>
                    </a:lnTo>
                    <a:lnTo>
                      <a:pt x="91" y="475"/>
                    </a:lnTo>
                    <a:lnTo>
                      <a:pt x="91" y="475"/>
                    </a:lnTo>
                    <a:lnTo>
                      <a:pt x="94" y="480"/>
                    </a:lnTo>
                    <a:lnTo>
                      <a:pt x="95" y="482"/>
                    </a:lnTo>
                    <a:lnTo>
                      <a:pt x="95" y="482"/>
                    </a:lnTo>
                    <a:lnTo>
                      <a:pt x="94" y="485"/>
                    </a:lnTo>
                    <a:lnTo>
                      <a:pt x="89" y="488"/>
                    </a:lnTo>
                    <a:lnTo>
                      <a:pt x="89" y="488"/>
                    </a:lnTo>
                    <a:lnTo>
                      <a:pt x="85" y="493"/>
                    </a:lnTo>
                    <a:lnTo>
                      <a:pt x="84" y="494"/>
                    </a:lnTo>
                    <a:lnTo>
                      <a:pt x="87" y="494"/>
                    </a:lnTo>
                    <a:lnTo>
                      <a:pt x="87" y="494"/>
                    </a:lnTo>
                    <a:lnTo>
                      <a:pt x="94" y="496"/>
                    </a:lnTo>
                    <a:lnTo>
                      <a:pt x="97" y="496"/>
                    </a:lnTo>
                    <a:lnTo>
                      <a:pt x="100" y="494"/>
                    </a:lnTo>
                    <a:lnTo>
                      <a:pt x="100" y="494"/>
                    </a:lnTo>
                    <a:lnTo>
                      <a:pt x="108" y="488"/>
                    </a:lnTo>
                    <a:lnTo>
                      <a:pt x="113" y="484"/>
                    </a:lnTo>
                    <a:lnTo>
                      <a:pt x="118" y="484"/>
                    </a:lnTo>
                    <a:lnTo>
                      <a:pt x="118" y="484"/>
                    </a:lnTo>
                    <a:lnTo>
                      <a:pt x="123" y="485"/>
                    </a:lnTo>
                    <a:lnTo>
                      <a:pt x="126" y="487"/>
                    </a:lnTo>
                    <a:lnTo>
                      <a:pt x="129" y="488"/>
                    </a:lnTo>
                    <a:lnTo>
                      <a:pt x="130" y="488"/>
                    </a:lnTo>
                    <a:lnTo>
                      <a:pt x="130" y="488"/>
                    </a:lnTo>
                    <a:lnTo>
                      <a:pt x="131" y="487"/>
                    </a:lnTo>
                    <a:lnTo>
                      <a:pt x="131" y="485"/>
                    </a:lnTo>
                    <a:lnTo>
                      <a:pt x="133" y="485"/>
                    </a:lnTo>
                    <a:lnTo>
                      <a:pt x="136" y="487"/>
                    </a:lnTo>
                    <a:lnTo>
                      <a:pt x="136" y="487"/>
                    </a:lnTo>
                    <a:lnTo>
                      <a:pt x="143" y="494"/>
                    </a:lnTo>
                    <a:lnTo>
                      <a:pt x="146" y="497"/>
                    </a:lnTo>
                    <a:lnTo>
                      <a:pt x="147" y="497"/>
                    </a:lnTo>
                    <a:lnTo>
                      <a:pt x="149" y="496"/>
                    </a:lnTo>
                    <a:lnTo>
                      <a:pt x="149" y="496"/>
                    </a:lnTo>
                    <a:lnTo>
                      <a:pt x="149" y="493"/>
                    </a:lnTo>
                    <a:lnTo>
                      <a:pt x="147" y="491"/>
                    </a:lnTo>
                    <a:lnTo>
                      <a:pt x="146" y="490"/>
                    </a:lnTo>
                    <a:lnTo>
                      <a:pt x="145" y="487"/>
                    </a:lnTo>
                    <a:lnTo>
                      <a:pt x="145" y="487"/>
                    </a:lnTo>
                    <a:lnTo>
                      <a:pt x="147" y="480"/>
                    </a:lnTo>
                    <a:lnTo>
                      <a:pt x="149" y="478"/>
                    </a:lnTo>
                    <a:lnTo>
                      <a:pt x="152" y="478"/>
                    </a:lnTo>
                    <a:lnTo>
                      <a:pt x="152" y="478"/>
                    </a:lnTo>
                    <a:lnTo>
                      <a:pt x="152" y="481"/>
                    </a:lnTo>
                    <a:lnTo>
                      <a:pt x="153" y="484"/>
                    </a:lnTo>
                    <a:lnTo>
                      <a:pt x="153" y="487"/>
                    </a:lnTo>
                    <a:lnTo>
                      <a:pt x="156" y="488"/>
                    </a:lnTo>
                    <a:lnTo>
                      <a:pt x="156" y="488"/>
                    </a:lnTo>
                    <a:lnTo>
                      <a:pt x="160" y="488"/>
                    </a:lnTo>
                    <a:lnTo>
                      <a:pt x="166" y="485"/>
                    </a:lnTo>
                    <a:lnTo>
                      <a:pt x="172" y="481"/>
                    </a:lnTo>
                    <a:lnTo>
                      <a:pt x="172" y="481"/>
                    </a:lnTo>
                    <a:lnTo>
                      <a:pt x="175" y="477"/>
                    </a:lnTo>
                    <a:lnTo>
                      <a:pt x="175" y="477"/>
                    </a:lnTo>
                    <a:lnTo>
                      <a:pt x="176" y="480"/>
                    </a:lnTo>
                    <a:lnTo>
                      <a:pt x="176" y="480"/>
                    </a:lnTo>
                    <a:lnTo>
                      <a:pt x="176" y="482"/>
                    </a:lnTo>
                    <a:lnTo>
                      <a:pt x="175" y="485"/>
                    </a:lnTo>
                    <a:lnTo>
                      <a:pt x="171" y="493"/>
                    </a:lnTo>
                    <a:lnTo>
                      <a:pt x="171" y="493"/>
                    </a:lnTo>
                    <a:lnTo>
                      <a:pt x="165" y="500"/>
                    </a:lnTo>
                    <a:lnTo>
                      <a:pt x="162" y="503"/>
                    </a:lnTo>
                    <a:lnTo>
                      <a:pt x="160" y="507"/>
                    </a:lnTo>
                    <a:lnTo>
                      <a:pt x="160" y="507"/>
                    </a:lnTo>
                    <a:lnTo>
                      <a:pt x="160" y="516"/>
                    </a:lnTo>
                    <a:lnTo>
                      <a:pt x="159" y="522"/>
                    </a:lnTo>
                    <a:lnTo>
                      <a:pt x="158" y="527"/>
                    </a:lnTo>
                    <a:lnTo>
                      <a:pt x="158" y="527"/>
                    </a:lnTo>
                    <a:lnTo>
                      <a:pt x="152" y="539"/>
                    </a:lnTo>
                    <a:lnTo>
                      <a:pt x="150" y="543"/>
                    </a:lnTo>
                    <a:lnTo>
                      <a:pt x="147" y="546"/>
                    </a:lnTo>
                    <a:lnTo>
                      <a:pt x="147" y="546"/>
                    </a:lnTo>
                    <a:lnTo>
                      <a:pt x="140" y="548"/>
                    </a:lnTo>
                    <a:lnTo>
                      <a:pt x="134" y="549"/>
                    </a:lnTo>
                    <a:lnTo>
                      <a:pt x="131" y="552"/>
                    </a:lnTo>
                    <a:lnTo>
                      <a:pt x="131" y="552"/>
                    </a:lnTo>
                    <a:lnTo>
                      <a:pt x="126" y="562"/>
                    </a:lnTo>
                    <a:lnTo>
                      <a:pt x="123" y="566"/>
                    </a:lnTo>
                    <a:lnTo>
                      <a:pt x="120" y="569"/>
                    </a:lnTo>
                    <a:lnTo>
                      <a:pt x="120" y="569"/>
                    </a:lnTo>
                    <a:lnTo>
                      <a:pt x="118" y="569"/>
                    </a:lnTo>
                    <a:lnTo>
                      <a:pt x="117" y="568"/>
                    </a:lnTo>
                    <a:lnTo>
                      <a:pt x="116" y="568"/>
                    </a:lnTo>
                    <a:lnTo>
                      <a:pt x="113" y="568"/>
                    </a:lnTo>
                    <a:lnTo>
                      <a:pt x="113" y="568"/>
                    </a:lnTo>
                    <a:lnTo>
                      <a:pt x="108" y="569"/>
                    </a:lnTo>
                    <a:lnTo>
                      <a:pt x="104" y="571"/>
                    </a:lnTo>
                    <a:lnTo>
                      <a:pt x="98" y="572"/>
                    </a:lnTo>
                    <a:lnTo>
                      <a:pt x="94" y="575"/>
                    </a:lnTo>
                    <a:lnTo>
                      <a:pt x="94" y="575"/>
                    </a:lnTo>
                    <a:lnTo>
                      <a:pt x="89" y="582"/>
                    </a:lnTo>
                    <a:lnTo>
                      <a:pt x="87" y="587"/>
                    </a:lnTo>
                    <a:lnTo>
                      <a:pt x="87" y="587"/>
                    </a:lnTo>
                    <a:lnTo>
                      <a:pt x="87" y="588"/>
                    </a:lnTo>
                    <a:lnTo>
                      <a:pt x="85" y="590"/>
                    </a:lnTo>
                    <a:lnTo>
                      <a:pt x="87" y="591"/>
                    </a:lnTo>
                    <a:lnTo>
                      <a:pt x="89" y="591"/>
                    </a:lnTo>
                    <a:lnTo>
                      <a:pt x="89" y="591"/>
                    </a:lnTo>
                    <a:lnTo>
                      <a:pt x="95" y="593"/>
                    </a:lnTo>
                    <a:lnTo>
                      <a:pt x="97" y="591"/>
                    </a:lnTo>
                    <a:lnTo>
                      <a:pt x="98" y="588"/>
                    </a:lnTo>
                    <a:lnTo>
                      <a:pt x="98" y="588"/>
                    </a:lnTo>
                    <a:lnTo>
                      <a:pt x="101" y="582"/>
                    </a:lnTo>
                    <a:lnTo>
                      <a:pt x="103" y="580"/>
                    </a:lnTo>
                    <a:lnTo>
                      <a:pt x="104" y="581"/>
                    </a:lnTo>
                    <a:lnTo>
                      <a:pt x="104" y="581"/>
                    </a:lnTo>
                    <a:lnTo>
                      <a:pt x="104" y="584"/>
                    </a:lnTo>
                    <a:lnTo>
                      <a:pt x="104" y="585"/>
                    </a:lnTo>
                    <a:lnTo>
                      <a:pt x="105" y="587"/>
                    </a:lnTo>
                    <a:lnTo>
                      <a:pt x="108" y="585"/>
                    </a:lnTo>
                    <a:lnTo>
                      <a:pt x="108" y="585"/>
                    </a:lnTo>
                    <a:lnTo>
                      <a:pt x="118" y="581"/>
                    </a:lnTo>
                    <a:lnTo>
                      <a:pt x="127" y="577"/>
                    </a:lnTo>
                    <a:lnTo>
                      <a:pt x="127" y="577"/>
                    </a:lnTo>
                    <a:lnTo>
                      <a:pt x="129" y="574"/>
                    </a:lnTo>
                    <a:lnTo>
                      <a:pt x="130" y="571"/>
                    </a:lnTo>
                    <a:lnTo>
                      <a:pt x="131" y="569"/>
                    </a:lnTo>
                    <a:lnTo>
                      <a:pt x="136" y="569"/>
                    </a:lnTo>
                    <a:lnTo>
                      <a:pt x="136" y="569"/>
                    </a:lnTo>
                    <a:lnTo>
                      <a:pt x="142" y="568"/>
                    </a:lnTo>
                    <a:lnTo>
                      <a:pt x="145" y="565"/>
                    </a:lnTo>
                    <a:lnTo>
                      <a:pt x="150" y="559"/>
                    </a:lnTo>
                    <a:lnTo>
                      <a:pt x="150" y="559"/>
                    </a:lnTo>
                    <a:lnTo>
                      <a:pt x="158" y="555"/>
                    </a:lnTo>
                    <a:lnTo>
                      <a:pt x="171" y="549"/>
                    </a:lnTo>
                    <a:lnTo>
                      <a:pt x="182" y="545"/>
                    </a:lnTo>
                    <a:lnTo>
                      <a:pt x="188" y="540"/>
                    </a:lnTo>
                    <a:lnTo>
                      <a:pt x="188" y="540"/>
                    </a:lnTo>
                    <a:lnTo>
                      <a:pt x="188" y="539"/>
                    </a:lnTo>
                    <a:lnTo>
                      <a:pt x="188" y="536"/>
                    </a:lnTo>
                    <a:lnTo>
                      <a:pt x="189" y="535"/>
                    </a:lnTo>
                    <a:lnTo>
                      <a:pt x="192" y="532"/>
                    </a:lnTo>
                    <a:lnTo>
                      <a:pt x="192" y="532"/>
                    </a:lnTo>
                    <a:lnTo>
                      <a:pt x="197" y="529"/>
                    </a:lnTo>
                    <a:lnTo>
                      <a:pt x="200" y="523"/>
                    </a:lnTo>
                    <a:lnTo>
                      <a:pt x="207" y="514"/>
                    </a:lnTo>
                    <a:lnTo>
                      <a:pt x="207" y="514"/>
                    </a:lnTo>
                    <a:lnTo>
                      <a:pt x="211" y="511"/>
                    </a:lnTo>
                    <a:lnTo>
                      <a:pt x="214" y="510"/>
                    </a:lnTo>
                    <a:lnTo>
                      <a:pt x="217" y="510"/>
                    </a:lnTo>
                    <a:lnTo>
                      <a:pt x="220" y="509"/>
                    </a:lnTo>
                    <a:lnTo>
                      <a:pt x="220" y="509"/>
                    </a:lnTo>
                    <a:lnTo>
                      <a:pt x="221" y="507"/>
                    </a:lnTo>
                    <a:lnTo>
                      <a:pt x="221" y="504"/>
                    </a:lnTo>
                    <a:lnTo>
                      <a:pt x="221" y="503"/>
                    </a:lnTo>
                    <a:lnTo>
                      <a:pt x="223" y="501"/>
                    </a:lnTo>
                    <a:lnTo>
                      <a:pt x="223" y="501"/>
                    </a:lnTo>
                    <a:lnTo>
                      <a:pt x="229" y="491"/>
                    </a:lnTo>
                    <a:lnTo>
                      <a:pt x="234" y="482"/>
                    </a:lnTo>
                    <a:lnTo>
                      <a:pt x="234" y="482"/>
                    </a:lnTo>
                    <a:lnTo>
                      <a:pt x="234" y="481"/>
                    </a:lnTo>
                    <a:lnTo>
                      <a:pt x="234" y="480"/>
                    </a:lnTo>
                    <a:lnTo>
                      <a:pt x="229" y="478"/>
                    </a:lnTo>
                    <a:lnTo>
                      <a:pt x="229" y="478"/>
                    </a:lnTo>
                    <a:lnTo>
                      <a:pt x="223" y="475"/>
                    </a:lnTo>
                    <a:lnTo>
                      <a:pt x="223" y="472"/>
                    </a:lnTo>
                    <a:lnTo>
                      <a:pt x="224" y="469"/>
                    </a:lnTo>
                    <a:lnTo>
                      <a:pt x="224" y="469"/>
                    </a:lnTo>
                    <a:lnTo>
                      <a:pt x="227" y="465"/>
                    </a:lnTo>
                    <a:lnTo>
                      <a:pt x="230" y="461"/>
                    </a:lnTo>
                    <a:lnTo>
                      <a:pt x="233" y="456"/>
                    </a:lnTo>
                    <a:lnTo>
                      <a:pt x="237" y="454"/>
                    </a:lnTo>
                    <a:lnTo>
                      <a:pt x="237" y="454"/>
                    </a:lnTo>
                    <a:lnTo>
                      <a:pt x="240" y="452"/>
                    </a:lnTo>
                    <a:lnTo>
                      <a:pt x="242" y="449"/>
                    </a:lnTo>
                    <a:lnTo>
                      <a:pt x="242" y="442"/>
                    </a:lnTo>
                    <a:lnTo>
                      <a:pt x="242" y="442"/>
                    </a:lnTo>
                    <a:lnTo>
                      <a:pt x="244" y="432"/>
                    </a:lnTo>
                    <a:lnTo>
                      <a:pt x="247" y="426"/>
                    </a:lnTo>
                    <a:lnTo>
                      <a:pt x="252" y="423"/>
                    </a:lnTo>
                    <a:lnTo>
                      <a:pt x="252" y="423"/>
                    </a:lnTo>
                    <a:lnTo>
                      <a:pt x="265" y="414"/>
                    </a:lnTo>
                    <a:lnTo>
                      <a:pt x="265" y="414"/>
                    </a:lnTo>
                    <a:lnTo>
                      <a:pt x="269" y="409"/>
                    </a:lnTo>
                    <a:lnTo>
                      <a:pt x="272" y="404"/>
                    </a:lnTo>
                    <a:lnTo>
                      <a:pt x="273" y="404"/>
                    </a:lnTo>
                    <a:lnTo>
                      <a:pt x="273" y="404"/>
                    </a:lnTo>
                    <a:lnTo>
                      <a:pt x="273" y="404"/>
                    </a:lnTo>
                    <a:lnTo>
                      <a:pt x="278" y="407"/>
                    </a:lnTo>
                    <a:lnTo>
                      <a:pt x="279" y="407"/>
                    </a:lnTo>
                    <a:lnTo>
                      <a:pt x="281" y="406"/>
                    </a:lnTo>
                    <a:lnTo>
                      <a:pt x="281" y="406"/>
                    </a:lnTo>
                    <a:lnTo>
                      <a:pt x="286" y="401"/>
                    </a:lnTo>
                    <a:lnTo>
                      <a:pt x="289" y="398"/>
                    </a:lnTo>
                    <a:lnTo>
                      <a:pt x="289" y="398"/>
                    </a:lnTo>
                    <a:lnTo>
                      <a:pt x="289" y="400"/>
                    </a:lnTo>
                    <a:lnTo>
                      <a:pt x="289" y="400"/>
                    </a:lnTo>
                    <a:lnTo>
                      <a:pt x="288" y="407"/>
                    </a:lnTo>
                    <a:lnTo>
                      <a:pt x="288" y="413"/>
                    </a:lnTo>
                    <a:lnTo>
                      <a:pt x="288" y="413"/>
                    </a:lnTo>
                    <a:lnTo>
                      <a:pt x="292" y="417"/>
                    </a:lnTo>
                    <a:lnTo>
                      <a:pt x="294" y="419"/>
                    </a:lnTo>
                    <a:lnTo>
                      <a:pt x="292" y="420"/>
                    </a:lnTo>
                    <a:lnTo>
                      <a:pt x="292" y="420"/>
                    </a:lnTo>
                    <a:lnTo>
                      <a:pt x="281" y="420"/>
                    </a:lnTo>
                    <a:lnTo>
                      <a:pt x="281" y="420"/>
                    </a:lnTo>
                    <a:lnTo>
                      <a:pt x="279" y="419"/>
                    </a:lnTo>
                    <a:lnTo>
                      <a:pt x="278" y="417"/>
                    </a:lnTo>
                    <a:lnTo>
                      <a:pt x="276" y="417"/>
                    </a:lnTo>
                    <a:lnTo>
                      <a:pt x="273" y="417"/>
                    </a:lnTo>
                    <a:lnTo>
                      <a:pt x="273" y="417"/>
                    </a:lnTo>
                    <a:lnTo>
                      <a:pt x="268" y="422"/>
                    </a:lnTo>
                    <a:lnTo>
                      <a:pt x="266" y="423"/>
                    </a:lnTo>
                    <a:lnTo>
                      <a:pt x="265" y="425"/>
                    </a:lnTo>
                    <a:lnTo>
                      <a:pt x="265" y="425"/>
                    </a:lnTo>
                    <a:lnTo>
                      <a:pt x="263" y="436"/>
                    </a:lnTo>
                    <a:lnTo>
                      <a:pt x="260" y="449"/>
                    </a:lnTo>
                    <a:lnTo>
                      <a:pt x="260" y="449"/>
                    </a:lnTo>
                    <a:lnTo>
                      <a:pt x="259" y="452"/>
                    </a:lnTo>
                    <a:lnTo>
                      <a:pt x="259" y="455"/>
                    </a:lnTo>
                    <a:lnTo>
                      <a:pt x="260" y="456"/>
                    </a:lnTo>
                    <a:lnTo>
                      <a:pt x="262" y="456"/>
                    </a:lnTo>
                    <a:lnTo>
                      <a:pt x="262" y="456"/>
                    </a:lnTo>
                    <a:lnTo>
                      <a:pt x="266" y="454"/>
                    </a:lnTo>
                    <a:lnTo>
                      <a:pt x="266" y="454"/>
                    </a:lnTo>
                    <a:lnTo>
                      <a:pt x="268" y="454"/>
                    </a:lnTo>
                    <a:lnTo>
                      <a:pt x="268" y="454"/>
                    </a:lnTo>
                    <a:lnTo>
                      <a:pt x="262" y="459"/>
                    </a:lnTo>
                    <a:lnTo>
                      <a:pt x="259" y="464"/>
                    </a:lnTo>
                    <a:lnTo>
                      <a:pt x="259" y="467"/>
                    </a:lnTo>
                    <a:lnTo>
                      <a:pt x="259" y="467"/>
                    </a:lnTo>
                    <a:lnTo>
                      <a:pt x="260" y="468"/>
                    </a:lnTo>
                    <a:lnTo>
                      <a:pt x="263" y="468"/>
                    </a:lnTo>
                    <a:lnTo>
                      <a:pt x="268" y="467"/>
                    </a:lnTo>
                    <a:lnTo>
                      <a:pt x="271" y="465"/>
                    </a:lnTo>
                    <a:lnTo>
                      <a:pt x="271" y="465"/>
                    </a:lnTo>
                    <a:lnTo>
                      <a:pt x="273" y="462"/>
                    </a:lnTo>
                    <a:lnTo>
                      <a:pt x="275" y="462"/>
                    </a:lnTo>
                    <a:lnTo>
                      <a:pt x="282" y="459"/>
                    </a:lnTo>
                    <a:lnTo>
                      <a:pt x="282" y="459"/>
                    </a:lnTo>
                    <a:lnTo>
                      <a:pt x="285" y="456"/>
                    </a:lnTo>
                    <a:lnTo>
                      <a:pt x="288" y="454"/>
                    </a:lnTo>
                    <a:lnTo>
                      <a:pt x="292" y="451"/>
                    </a:lnTo>
                    <a:lnTo>
                      <a:pt x="297" y="449"/>
                    </a:lnTo>
                    <a:lnTo>
                      <a:pt x="297" y="449"/>
                    </a:lnTo>
                    <a:lnTo>
                      <a:pt x="307" y="449"/>
                    </a:lnTo>
                    <a:lnTo>
                      <a:pt x="313" y="448"/>
                    </a:lnTo>
                    <a:lnTo>
                      <a:pt x="315" y="445"/>
                    </a:lnTo>
                    <a:lnTo>
                      <a:pt x="315" y="445"/>
                    </a:lnTo>
                    <a:lnTo>
                      <a:pt x="320" y="442"/>
                    </a:lnTo>
                    <a:lnTo>
                      <a:pt x="324" y="440"/>
                    </a:lnTo>
                    <a:lnTo>
                      <a:pt x="327" y="439"/>
                    </a:lnTo>
                    <a:lnTo>
                      <a:pt x="327" y="438"/>
                    </a:lnTo>
                    <a:lnTo>
                      <a:pt x="327" y="438"/>
                    </a:lnTo>
                    <a:lnTo>
                      <a:pt x="326" y="435"/>
                    </a:lnTo>
                    <a:lnTo>
                      <a:pt x="321" y="432"/>
                    </a:lnTo>
                    <a:lnTo>
                      <a:pt x="314" y="426"/>
                    </a:lnTo>
                    <a:lnTo>
                      <a:pt x="314" y="426"/>
                    </a:lnTo>
                    <a:lnTo>
                      <a:pt x="313" y="425"/>
                    </a:lnTo>
                    <a:lnTo>
                      <a:pt x="313" y="420"/>
                    </a:lnTo>
                    <a:lnTo>
                      <a:pt x="313" y="417"/>
                    </a:lnTo>
                    <a:lnTo>
                      <a:pt x="314" y="416"/>
                    </a:lnTo>
                    <a:lnTo>
                      <a:pt x="314" y="416"/>
                    </a:lnTo>
                    <a:lnTo>
                      <a:pt x="318" y="417"/>
                    </a:lnTo>
                    <a:lnTo>
                      <a:pt x="323" y="417"/>
                    </a:lnTo>
                    <a:lnTo>
                      <a:pt x="323" y="417"/>
                    </a:lnTo>
                    <a:lnTo>
                      <a:pt x="324" y="419"/>
                    </a:lnTo>
                    <a:lnTo>
                      <a:pt x="327" y="420"/>
                    </a:lnTo>
                    <a:lnTo>
                      <a:pt x="330" y="420"/>
                    </a:lnTo>
                    <a:lnTo>
                      <a:pt x="333" y="420"/>
                    </a:lnTo>
                    <a:lnTo>
                      <a:pt x="333" y="420"/>
                    </a:lnTo>
                    <a:lnTo>
                      <a:pt x="336" y="417"/>
                    </a:lnTo>
                    <a:lnTo>
                      <a:pt x="337" y="417"/>
                    </a:lnTo>
                    <a:lnTo>
                      <a:pt x="340" y="417"/>
                    </a:lnTo>
                    <a:lnTo>
                      <a:pt x="340" y="419"/>
                    </a:lnTo>
                    <a:lnTo>
                      <a:pt x="340" y="419"/>
                    </a:lnTo>
                    <a:lnTo>
                      <a:pt x="340" y="423"/>
                    </a:lnTo>
                    <a:lnTo>
                      <a:pt x="340" y="425"/>
                    </a:lnTo>
                    <a:lnTo>
                      <a:pt x="343" y="425"/>
                    </a:lnTo>
                    <a:lnTo>
                      <a:pt x="343" y="425"/>
                    </a:lnTo>
                    <a:lnTo>
                      <a:pt x="347" y="425"/>
                    </a:lnTo>
                    <a:lnTo>
                      <a:pt x="350" y="427"/>
                    </a:lnTo>
                    <a:lnTo>
                      <a:pt x="350" y="427"/>
                    </a:lnTo>
                    <a:lnTo>
                      <a:pt x="356" y="433"/>
                    </a:lnTo>
                    <a:lnTo>
                      <a:pt x="360" y="435"/>
                    </a:lnTo>
                    <a:lnTo>
                      <a:pt x="363" y="435"/>
                    </a:lnTo>
                    <a:lnTo>
                      <a:pt x="363" y="435"/>
                    </a:lnTo>
                    <a:lnTo>
                      <a:pt x="369" y="433"/>
                    </a:lnTo>
                    <a:lnTo>
                      <a:pt x="372" y="435"/>
                    </a:lnTo>
                    <a:lnTo>
                      <a:pt x="373" y="436"/>
                    </a:lnTo>
                    <a:lnTo>
                      <a:pt x="373" y="436"/>
                    </a:lnTo>
                    <a:lnTo>
                      <a:pt x="378" y="440"/>
                    </a:lnTo>
                    <a:lnTo>
                      <a:pt x="379" y="443"/>
                    </a:lnTo>
                    <a:lnTo>
                      <a:pt x="382" y="443"/>
                    </a:lnTo>
                    <a:lnTo>
                      <a:pt x="382" y="443"/>
                    </a:lnTo>
                    <a:lnTo>
                      <a:pt x="392" y="445"/>
                    </a:lnTo>
                    <a:lnTo>
                      <a:pt x="407" y="446"/>
                    </a:lnTo>
                    <a:lnTo>
                      <a:pt x="407" y="446"/>
                    </a:lnTo>
                    <a:lnTo>
                      <a:pt x="414" y="448"/>
                    </a:lnTo>
                    <a:lnTo>
                      <a:pt x="423" y="451"/>
                    </a:lnTo>
                    <a:lnTo>
                      <a:pt x="434" y="454"/>
                    </a:lnTo>
                    <a:lnTo>
                      <a:pt x="434" y="454"/>
                    </a:lnTo>
                    <a:lnTo>
                      <a:pt x="440" y="452"/>
                    </a:lnTo>
                    <a:lnTo>
                      <a:pt x="446" y="449"/>
                    </a:lnTo>
                    <a:lnTo>
                      <a:pt x="452" y="446"/>
                    </a:lnTo>
                    <a:lnTo>
                      <a:pt x="453" y="446"/>
                    </a:lnTo>
                    <a:lnTo>
                      <a:pt x="454" y="446"/>
                    </a:lnTo>
                    <a:lnTo>
                      <a:pt x="454" y="446"/>
                    </a:lnTo>
                    <a:lnTo>
                      <a:pt x="453" y="449"/>
                    </a:lnTo>
                    <a:lnTo>
                      <a:pt x="452" y="452"/>
                    </a:lnTo>
                    <a:lnTo>
                      <a:pt x="450" y="456"/>
                    </a:lnTo>
                    <a:lnTo>
                      <a:pt x="452" y="459"/>
                    </a:lnTo>
                    <a:lnTo>
                      <a:pt x="452" y="459"/>
                    </a:lnTo>
                    <a:lnTo>
                      <a:pt x="460" y="468"/>
                    </a:lnTo>
                    <a:lnTo>
                      <a:pt x="465" y="471"/>
                    </a:lnTo>
                    <a:lnTo>
                      <a:pt x="469" y="472"/>
                    </a:lnTo>
                    <a:lnTo>
                      <a:pt x="469" y="472"/>
                    </a:lnTo>
                    <a:lnTo>
                      <a:pt x="476" y="472"/>
                    </a:lnTo>
                    <a:lnTo>
                      <a:pt x="479" y="475"/>
                    </a:lnTo>
                    <a:lnTo>
                      <a:pt x="479" y="478"/>
                    </a:lnTo>
                    <a:lnTo>
                      <a:pt x="479" y="478"/>
                    </a:lnTo>
                    <a:lnTo>
                      <a:pt x="482" y="487"/>
                    </a:lnTo>
                    <a:lnTo>
                      <a:pt x="483" y="491"/>
                    </a:lnTo>
                    <a:lnTo>
                      <a:pt x="486" y="493"/>
                    </a:lnTo>
                    <a:lnTo>
                      <a:pt x="486" y="493"/>
                    </a:lnTo>
                    <a:lnTo>
                      <a:pt x="491" y="493"/>
                    </a:lnTo>
                    <a:lnTo>
                      <a:pt x="496" y="496"/>
                    </a:lnTo>
                    <a:lnTo>
                      <a:pt x="496" y="496"/>
                    </a:lnTo>
                    <a:lnTo>
                      <a:pt x="501" y="500"/>
                    </a:lnTo>
                    <a:lnTo>
                      <a:pt x="502" y="501"/>
                    </a:lnTo>
                    <a:lnTo>
                      <a:pt x="504" y="500"/>
                    </a:lnTo>
                    <a:lnTo>
                      <a:pt x="504" y="500"/>
                    </a:lnTo>
                    <a:lnTo>
                      <a:pt x="507" y="496"/>
                    </a:lnTo>
                    <a:lnTo>
                      <a:pt x="508" y="493"/>
                    </a:lnTo>
                    <a:lnTo>
                      <a:pt x="507" y="490"/>
                    </a:lnTo>
                    <a:lnTo>
                      <a:pt x="507" y="490"/>
                    </a:lnTo>
                    <a:lnTo>
                      <a:pt x="504" y="484"/>
                    </a:lnTo>
                    <a:lnTo>
                      <a:pt x="502" y="481"/>
                    </a:lnTo>
                    <a:lnTo>
                      <a:pt x="504" y="481"/>
                    </a:lnTo>
                    <a:lnTo>
                      <a:pt x="504" y="481"/>
                    </a:lnTo>
                    <a:lnTo>
                      <a:pt x="510" y="484"/>
                    </a:lnTo>
                    <a:lnTo>
                      <a:pt x="512" y="487"/>
                    </a:lnTo>
                    <a:lnTo>
                      <a:pt x="515" y="491"/>
                    </a:lnTo>
                    <a:lnTo>
                      <a:pt x="515" y="491"/>
                    </a:lnTo>
                    <a:lnTo>
                      <a:pt x="518" y="498"/>
                    </a:lnTo>
                    <a:lnTo>
                      <a:pt x="520" y="501"/>
                    </a:lnTo>
                    <a:lnTo>
                      <a:pt x="521" y="501"/>
                    </a:lnTo>
                    <a:lnTo>
                      <a:pt x="521" y="501"/>
                    </a:lnTo>
                    <a:lnTo>
                      <a:pt x="523" y="498"/>
                    </a:lnTo>
                    <a:lnTo>
                      <a:pt x="523" y="493"/>
                    </a:lnTo>
                    <a:lnTo>
                      <a:pt x="521" y="482"/>
                    </a:lnTo>
                    <a:lnTo>
                      <a:pt x="521" y="482"/>
                    </a:lnTo>
                    <a:lnTo>
                      <a:pt x="518" y="471"/>
                    </a:lnTo>
                    <a:lnTo>
                      <a:pt x="517" y="467"/>
                    </a:lnTo>
                    <a:lnTo>
                      <a:pt x="517" y="465"/>
                    </a:lnTo>
                    <a:lnTo>
                      <a:pt x="518" y="465"/>
                    </a:lnTo>
                    <a:lnTo>
                      <a:pt x="518" y="465"/>
                    </a:lnTo>
                    <a:lnTo>
                      <a:pt x="521" y="467"/>
                    </a:lnTo>
                    <a:lnTo>
                      <a:pt x="523" y="469"/>
                    </a:lnTo>
                    <a:lnTo>
                      <a:pt x="525" y="478"/>
                    </a:lnTo>
                    <a:lnTo>
                      <a:pt x="525" y="478"/>
                    </a:lnTo>
                    <a:lnTo>
                      <a:pt x="527" y="490"/>
                    </a:lnTo>
                    <a:lnTo>
                      <a:pt x="528" y="496"/>
                    </a:lnTo>
                    <a:lnTo>
                      <a:pt x="531" y="500"/>
                    </a:lnTo>
                    <a:lnTo>
                      <a:pt x="531" y="500"/>
                    </a:lnTo>
                    <a:lnTo>
                      <a:pt x="534" y="501"/>
                    </a:lnTo>
                    <a:lnTo>
                      <a:pt x="537" y="501"/>
                    </a:lnTo>
                    <a:lnTo>
                      <a:pt x="541" y="501"/>
                    </a:lnTo>
                    <a:lnTo>
                      <a:pt x="541" y="501"/>
                    </a:lnTo>
                    <a:lnTo>
                      <a:pt x="544" y="503"/>
                    </a:lnTo>
                    <a:lnTo>
                      <a:pt x="546" y="506"/>
                    </a:lnTo>
                    <a:lnTo>
                      <a:pt x="549" y="509"/>
                    </a:lnTo>
                    <a:lnTo>
                      <a:pt x="553" y="511"/>
                    </a:lnTo>
                    <a:lnTo>
                      <a:pt x="553" y="511"/>
                    </a:lnTo>
                    <a:lnTo>
                      <a:pt x="557" y="516"/>
                    </a:lnTo>
                    <a:lnTo>
                      <a:pt x="559" y="520"/>
                    </a:lnTo>
                    <a:lnTo>
                      <a:pt x="560" y="526"/>
                    </a:lnTo>
                    <a:lnTo>
                      <a:pt x="560" y="526"/>
                    </a:lnTo>
                    <a:lnTo>
                      <a:pt x="562" y="529"/>
                    </a:lnTo>
                    <a:lnTo>
                      <a:pt x="563" y="530"/>
                    </a:lnTo>
                    <a:lnTo>
                      <a:pt x="566" y="532"/>
                    </a:lnTo>
                    <a:lnTo>
                      <a:pt x="569" y="535"/>
                    </a:lnTo>
                    <a:lnTo>
                      <a:pt x="569" y="535"/>
                    </a:lnTo>
                    <a:lnTo>
                      <a:pt x="570" y="539"/>
                    </a:lnTo>
                    <a:lnTo>
                      <a:pt x="572" y="543"/>
                    </a:lnTo>
                    <a:lnTo>
                      <a:pt x="572" y="548"/>
                    </a:lnTo>
                    <a:lnTo>
                      <a:pt x="575" y="552"/>
                    </a:lnTo>
                    <a:lnTo>
                      <a:pt x="575" y="552"/>
                    </a:lnTo>
                    <a:lnTo>
                      <a:pt x="580" y="556"/>
                    </a:lnTo>
                    <a:lnTo>
                      <a:pt x="583" y="558"/>
                    </a:lnTo>
                    <a:lnTo>
                      <a:pt x="585" y="561"/>
                    </a:lnTo>
                    <a:lnTo>
                      <a:pt x="585" y="561"/>
                    </a:lnTo>
                    <a:lnTo>
                      <a:pt x="583" y="566"/>
                    </a:lnTo>
                    <a:lnTo>
                      <a:pt x="583" y="568"/>
                    </a:lnTo>
                    <a:lnTo>
                      <a:pt x="586" y="568"/>
                    </a:lnTo>
                    <a:lnTo>
                      <a:pt x="586" y="568"/>
                    </a:lnTo>
                    <a:lnTo>
                      <a:pt x="594" y="565"/>
                    </a:lnTo>
                    <a:lnTo>
                      <a:pt x="595" y="565"/>
                    </a:lnTo>
                    <a:lnTo>
                      <a:pt x="596" y="566"/>
                    </a:lnTo>
                    <a:lnTo>
                      <a:pt x="596" y="566"/>
                    </a:lnTo>
                    <a:lnTo>
                      <a:pt x="598" y="568"/>
                    </a:lnTo>
                    <a:lnTo>
                      <a:pt x="601" y="572"/>
                    </a:lnTo>
                    <a:lnTo>
                      <a:pt x="601" y="577"/>
                    </a:lnTo>
                    <a:lnTo>
                      <a:pt x="601" y="580"/>
                    </a:lnTo>
                    <a:lnTo>
                      <a:pt x="601" y="580"/>
                    </a:lnTo>
                    <a:lnTo>
                      <a:pt x="602" y="582"/>
                    </a:lnTo>
                    <a:lnTo>
                      <a:pt x="602" y="585"/>
                    </a:lnTo>
                    <a:lnTo>
                      <a:pt x="604" y="588"/>
                    </a:lnTo>
                    <a:lnTo>
                      <a:pt x="602" y="590"/>
                    </a:lnTo>
                    <a:lnTo>
                      <a:pt x="602" y="590"/>
                    </a:lnTo>
                    <a:lnTo>
                      <a:pt x="601" y="593"/>
                    </a:lnTo>
                    <a:lnTo>
                      <a:pt x="601" y="594"/>
                    </a:lnTo>
                    <a:lnTo>
                      <a:pt x="602" y="595"/>
                    </a:lnTo>
                    <a:lnTo>
                      <a:pt x="604" y="597"/>
                    </a:lnTo>
                    <a:lnTo>
                      <a:pt x="604" y="597"/>
                    </a:lnTo>
                    <a:lnTo>
                      <a:pt x="607" y="595"/>
                    </a:lnTo>
                    <a:lnTo>
                      <a:pt x="609" y="594"/>
                    </a:lnTo>
                    <a:lnTo>
                      <a:pt x="611" y="593"/>
                    </a:lnTo>
                    <a:lnTo>
                      <a:pt x="612" y="593"/>
                    </a:lnTo>
                    <a:lnTo>
                      <a:pt x="612" y="594"/>
                    </a:lnTo>
                    <a:lnTo>
                      <a:pt x="612" y="593"/>
                    </a:lnTo>
                    <a:lnTo>
                      <a:pt x="612" y="571"/>
                    </a:lnTo>
                    <a:close/>
                    <a:moveTo>
                      <a:pt x="218" y="461"/>
                    </a:moveTo>
                    <a:lnTo>
                      <a:pt x="218" y="461"/>
                    </a:lnTo>
                    <a:lnTo>
                      <a:pt x="213" y="465"/>
                    </a:lnTo>
                    <a:lnTo>
                      <a:pt x="205" y="469"/>
                    </a:lnTo>
                    <a:lnTo>
                      <a:pt x="201" y="471"/>
                    </a:lnTo>
                    <a:lnTo>
                      <a:pt x="197" y="471"/>
                    </a:lnTo>
                    <a:lnTo>
                      <a:pt x="194" y="469"/>
                    </a:lnTo>
                    <a:lnTo>
                      <a:pt x="191" y="468"/>
                    </a:lnTo>
                    <a:lnTo>
                      <a:pt x="191" y="468"/>
                    </a:lnTo>
                    <a:lnTo>
                      <a:pt x="191" y="467"/>
                    </a:lnTo>
                    <a:lnTo>
                      <a:pt x="192" y="465"/>
                    </a:lnTo>
                    <a:lnTo>
                      <a:pt x="195" y="464"/>
                    </a:lnTo>
                    <a:lnTo>
                      <a:pt x="202" y="461"/>
                    </a:lnTo>
                    <a:lnTo>
                      <a:pt x="202" y="461"/>
                    </a:lnTo>
                    <a:lnTo>
                      <a:pt x="211" y="455"/>
                    </a:lnTo>
                    <a:lnTo>
                      <a:pt x="215" y="454"/>
                    </a:lnTo>
                    <a:lnTo>
                      <a:pt x="218" y="452"/>
                    </a:lnTo>
                    <a:lnTo>
                      <a:pt x="218" y="452"/>
                    </a:lnTo>
                    <a:lnTo>
                      <a:pt x="220" y="454"/>
                    </a:lnTo>
                    <a:lnTo>
                      <a:pt x="221" y="456"/>
                    </a:lnTo>
                    <a:lnTo>
                      <a:pt x="221" y="458"/>
                    </a:lnTo>
                    <a:lnTo>
                      <a:pt x="218" y="461"/>
                    </a:lnTo>
                    <a:close/>
                    <a:moveTo>
                      <a:pt x="230" y="423"/>
                    </a:moveTo>
                    <a:lnTo>
                      <a:pt x="230" y="423"/>
                    </a:lnTo>
                    <a:lnTo>
                      <a:pt x="226" y="427"/>
                    </a:lnTo>
                    <a:lnTo>
                      <a:pt x="223" y="430"/>
                    </a:lnTo>
                    <a:lnTo>
                      <a:pt x="220" y="433"/>
                    </a:lnTo>
                    <a:lnTo>
                      <a:pt x="220" y="433"/>
                    </a:lnTo>
                    <a:lnTo>
                      <a:pt x="214" y="439"/>
                    </a:lnTo>
                    <a:lnTo>
                      <a:pt x="211" y="440"/>
                    </a:lnTo>
                    <a:lnTo>
                      <a:pt x="207" y="442"/>
                    </a:lnTo>
                    <a:lnTo>
                      <a:pt x="207" y="442"/>
                    </a:lnTo>
                    <a:lnTo>
                      <a:pt x="207" y="442"/>
                    </a:lnTo>
                    <a:lnTo>
                      <a:pt x="207" y="440"/>
                    </a:lnTo>
                    <a:lnTo>
                      <a:pt x="208" y="436"/>
                    </a:lnTo>
                    <a:lnTo>
                      <a:pt x="211" y="432"/>
                    </a:lnTo>
                    <a:lnTo>
                      <a:pt x="215" y="429"/>
                    </a:lnTo>
                    <a:lnTo>
                      <a:pt x="215" y="429"/>
                    </a:lnTo>
                    <a:lnTo>
                      <a:pt x="226" y="425"/>
                    </a:lnTo>
                    <a:lnTo>
                      <a:pt x="229" y="422"/>
                    </a:lnTo>
                    <a:lnTo>
                      <a:pt x="230" y="422"/>
                    </a:lnTo>
                    <a:lnTo>
                      <a:pt x="230" y="4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96" name="Freeform 247"/>
              <p:cNvSpPr>
                <a:spLocks/>
              </p:cNvSpPr>
              <p:nvPr/>
            </p:nvSpPr>
            <p:spPr bwMode="auto">
              <a:xfrm>
                <a:off x="1731835" y="1689806"/>
                <a:ext cx="605427" cy="590588"/>
              </a:xfrm>
              <a:custGeom>
                <a:avLst/>
                <a:gdLst>
                  <a:gd name="T0" fmla="*/ 559 w 612"/>
                  <a:gd name="T1" fmla="*/ 509 h 597"/>
                  <a:gd name="T2" fmla="*/ 518 w 612"/>
                  <a:gd name="T3" fmla="*/ 451 h 597"/>
                  <a:gd name="T4" fmla="*/ 463 w 612"/>
                  <a:gd name="T5" fmla="*/ 440 h 597"/>
                  <a:gd name="T6" fmla="*/ 401 w 612"/>
                  <a:gd name="T7" fmla="*/ 60 h 597"/>
                  <a:gd name="T8" fmla="*/ 328 w 612"/>
                  <a:gd name="T9" fmla="*/ 55 h 597"/>
                  <a:gd name="T10" fmla="*/ 266 w 612"/>
                  <a:gd name="T11" fmla="*/ 44 h 597"/>
                  <a:gd name="T12" fmla="*/ 252 w 612"/>
                  <a:gd name="T13" fmla="*/ 20 h 597"/>
                  <a:gd name="T14" fmla="*/ 220 w 612"/>
                  <a:gd name="T15" fmla="*/ 12 h 597"/>
                  <a:gd name="T16" fmla="*/ 201 w 612"/>
                  <a:gd name="T17" fmla="*/ 10 h 597"/>
                  <a:gd name="T18" fmla="*/ 155 w 612"/>
                  <a:gd name="T19" fmla="*/ 26 h 597"/>
                  <a:gd name="T20" fmla="*/ 98 w 612"/>
                  <a:gd name="T21" fmla="*/ 46 h 597"/>
                  <a:gd name="T22" fmla="*/ 75 w 612"/>
                  <a:gd name="T23" fmla="*/ 94 h 597"/>
                  <a:gd name="T24" fmla="*/ 26 w 612"/>
                  <a:gd name="T25" fmla="*/ 125 h 597"/>
                  <a:gd name="T26" fmla="*/ 33 w 612"/>
                  <a:gd name="T27" fmla="*/ 148 h 597"/>
                  <a:gd name="T28" fmla="*/ 66 w 612"/>
                  <a:gd name="T29" fmla="*/ 191 h 597"/>
                  <a:gd name="T30" fmla="*/ 108 w 612"/>
                  <a:gd name="T31" fmla="*/ 210 h 597"/>
                  <a:gd name="T32" fmla="*/ 91 w 612"/>
                  <a:gd name="T33" fmla="*/ 207 h 597"/>
                  <a:gd name="T34" fmla="*/ 110 w 612"/>
                  <a:gd name="T35" fmla="*/ 229 h 597"/>
                  <a:gd name="T36" fmla="*/ 82 w 612"/>
                  <a:gd name="T37" fmla="*/ 239 h 597"/>
                  <a:gd name="T38" fmla="*/ 65 w 612"/>
                  <a:gd name="T39" fmla="*/ 215 h 597"/>
                  <a:gd name="T40" fmla="*/ 30 w 612"/>
                  <a:gd name="T41" fmla="*/ 229 h 597"/>
                  <a:gd name="T42" fmla="*/ 3 w 612"/>
                  <a:gd name="T43" fmla="*/ 249 h 597"/>
                  <a:gd name="T44" fmla="*/ 20 w 612"/>
                  <a:gd name="T45" fmla="*/ 280 h 597"/>
                  <a:gd name="T46" fmla="*/ 65 w 612"/>
                  <a:gd name="T47" fmla="*/ 297 h 597"/>
                  <a:gd name="T48" fmla="*/ 98 w 612"/>
                  <a:gd name="T49" fmla="*/ 281 h 597"/>
                  <a:gd name="T50" fmla="*/ 104 w 612"/>
                  <a:gd name="T51" fmla="*/ 297 h 597"/>
                  <a:gd name="T52" fmla="*/ 91 w 612"/>
                  <a:gd name="T53" fmla="*/ 333 h 597"/>
                  <a:gd name="T54" fmla="*/ 50 w 612"/>
                  <a:gd name="T55" fmla="*/ 342 h 597"/>
                  <a:gd name="T56" fmla="*/ 29 w 612"/>
                  <a:gd name="T57" fmla="*/ 393 h 597"/>
                  <a:gd name="T58" fmla="*/ 30 w 612"/>
                  <a:gd name="T59" fmla="*/ 413 h 597"/>
                  <a:gd name="T60" fmla="*/ 58 w 612"/>
                  <a:gd name="T61" fmla="*/ 435 h 597"/>
                  <a:gd name="T62" fmla="*/ 81 w 612"/>
                  <a:gd name="T63" fmla="*/ 456 h 597"/>
                  <a:gd name="T64" fmla="*/ 92 w 612"/>
                  <a:gd name="T65" fmla="*/ 458 h 597"/>
                  <a:gd name="T66" fmla="*/ 87 w 612"/>
                  <a:gd name="T67" fmla="*/ 494 h 597"/>
                  <a:gd name="T68" fmla="*/ 130 w 612"/>
                  <a:gd name="T69" fmla="*/ 488 h 597"/>
                  <a:gd name="T70" fmla="*/ 145 w 612"/>
                  <a:gd name="T71" fmla="*/ 487 h 597"/>
                  <a:gd name="T72" fmla="*/ 172 w 612"/>
                  <a:gd name="T73" fmla="*/ 481 h 597"/>
                  <a:gd name="T74" fmla="*/ 159 w 612"/>
                  <a:gd name="T75" fmla="*/ 522 h 597"/>
                  <a:gd name="T76" fmla="*/ 120 w 612"/>
                  <a:gd name="T77" fmla="*/ 569 h 597"/>
                  <a:gd name="T78" fmla="*/ 87 w 612"/>
                  <a:gd name="T79" fmla="*/ 588 h 597"/>
                  <a:gd name="T80" fmla="*/ 104 w 612"/>
                  <a:gd name="T81" fmla="*/ 585 h 597"/>
                  <a:gd name="T82" fmla="*/ 150 w 612"/>
                  <a:gd name="T83" fmla="*/ 559 h 597"/>
                  <a:gd name="T84" fmla="*/ 207 w 612"/>
                  <a:gd name="T85" fmla="*/ 514 h 597"/>
                  <a:gd name="T86" fmla="*/ 234 w 612"/>
                  <a:gd name="T87" fmla="*/ 482 h 597"/>
                  <a:gd name="T88" fmla="*/ 240 w 612"/>
                  <a:gd name="T89" fmla="*/ 452 h 597"/>
                  <a:gd name="T90" fmla="*/ 273 w 612"/>
                  <a:gd name="T91" fmla="*/ 404 h 597"/>
                  <a:gd name="T92" fmla="*/ 294 w 612"/>
                  <a:gd name="T93" fmla="*/ 419 h 597"/>
                  <a:gd name="T94" fmla="*/ 263 w 612"/>
                  <a:gd name="T95" fmla="*/ 436 h 597"/>
                  <a:gd name="T96" fmla="*/ 259 w 612"/>
                  <a:gd name="T97" fmla="*/ 467 h 597"/>
                  <a:gd name="T98" fmla="*/ 297 w 612"/>
                  <a:gd name="T99" fmla="*/ 449 h 597"/>
                  <a:gd name="T100" fmla="*/ 314 w 612"/>
                  <a:gd name="T101" fmla="*/ 426 h 597"/>
                  <a:gd name="T102" fmla="*/ 336 w 612"/>
                  <a:gd name="T103" fmla="*/ 417 h 597"/>
                  <a:gd name="T104" fmla="*/ 363 w 612"/>
                  <a:gd name="T105" fmla="*/ 435 h 597"/>
                  <a:gd name="T106" fmla="*/ 423 w 612"/>
                  <a:gd name="T107" fmla="*/ 451 h 597"/>
                  <a:gd name="T108" fmla="*/ 460 w 612"/>
                  <a:gd name="T109" fmla="*/ 468 h 597"/>
                  <a:gd name="T110" fmla="*/ 496 w 612"/>
                  <a:gd name="T111" fmla="*/ 496 h 597"/>
                  <a:gd name="T112" fmla="*/ 512 w 612"/>
                  <a:gd name="T113" fmla="*/ 487 h 597"/>
                  <a:gd name="T114" fmla="*/ 518 w 612"/>
                  <a:gd name="T115" fmla="*/ 465 h 597"/>
                  <a:gd name="T116" fmla="*/ 544 w 612"/>
                  <a:gd name="T117" fmla="*/ 503 h 597"/>
                  <a:gd name="T118" fmla="*/ 570 w 612"/>
                  <a:gd name="T119" fmla="*/ 539 h 597"/>
                  <a:gd name="T120" fmla="*/ 595 w 612"/>
                  <a:gd name="T121" fmla="*/ 565 h 597"/>
                  <a:gd name="T122" fmla="*/ 601 w 612"/>
                  <a:gd name="T123" fmla="*/ 594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12" h="597">
                    <a:moveTo>
                      <a:pt x="612" y="571"/>
                    </a:moveTo>
                    <a:lnTo>
                      <a:pt x="612" y="571"/>
                    </a:lnTo>
                    <a:lnTo>
                      <a:pt x="611" y="568"/>
                    </a:lnTo>
                    <a:lnTo>
                      <a:pt x="609" y="565"/>
                    </a:lnTo>
                    <a:lnTo>
                      <a:pt x="602" y="559"/>
                    </a:lnTo>
                    <a:lnTo>
                      <a:pt x="594" y="552"/>
                    </a:lnTo>
                    <a:lnTo>
                      <a:pt x="586" y="545"/>
                    </a:lnTo>
                    <a:lnTo>
                      <a:pt x="586" y="545"/>
                    </a:lnTo>
                    <a:lnTo>
                      <a:pt x="582" y="539"/>
                    </a:lnTo>
                    <a:lnTo>
                      <a:pt x="578" y="530"/>
                    </a:lnTo>
                    <a:lnTo>
                      <a:pt x="572" y="523"/>
                    </a:lnTo>
                    <a:lnTo>
                      <a:pt x="566" y="514"/>
                    </a:lnTo>
                    <a:lnTo>
                      <a:pt x="566" y="514"/>
                    </a:lnTo>
                    <a:lnTo>
                      <a:pt x="559" y="509"/>
                    </a:lnTo>
                    <a:lnTo>
                      <a:pt x="556" y="503"/>
                    </a:lnTo>
                    <a:lnTo>
                      <a:pt x="550" y="494"/>
                    </a:lnTo>
                    <a:lnTo>
                      <a:pt x="550" y="494"/>
                    </a:lnTo>
                    <a:lnTo>
                      <a:pt x="546" y="490"/>
                    </a:lnTo>
                    <a:lnTo>
                      <a:pt x="540" y="485"/>
                    </a:lnTo>
                    <a:lnTo>
                      <a:pt x="534" y="480"/>
                    </a:lnTo>
                    <a:lnTo>
                      <a:pt x="533" y="477"/>
                    </a:lnTo>
                    <a:lnTo>
                      <a:pt x="531" y="474"/>
                    </a:lnTo>
                    <a:lnTo>
                      <a:pt x="531" y="474"/>
                    </a:lnTo>
                    <a:lnTo>
                      <a:pt x="525" y="459"/>
                    </a:lnTo>
                    <a:lnTo>
                      <a:pt x="521" y="454"/>
                    </a:lnTo>
                    <a:lnTo>
                      <a:pt x="520" y="452"/>
                    </a:lnTo>
                    <a:lnTo>
                      <a:pt x="518" y="451"/>
                    </a:lnTo>
                    <a:lnTo>
                      <a:pt x="518" y="451"/>
                    </a:lnTo>
                    <a:lnTo>
                      <a:pt x="515" y="452"/>
                    </a:lnTo>
                    <a:lnTo>
                      <a:pt x="512" y="455"/>
                    </a:lnTo>
                    <a:lnTo>
                      <a:pt x="507" y="462"/>
                    </a:lnTo>
                    <a:lnTo>
                      <a:pt x="499" y="471"/>
                    </a:lnTo>
                    <a:lnTo>
                      <a:pt x="496" y="474"/>
                    </a:lnTo>
                    <a:lnTo>
                      <a:pt x="495" y="475"/>
                    </a:lnTo>
                    <a:lnTo>
                      <a:pt x="495" y="475"/>
                    </a:lnTo>
                    <a:lnTo>
                      <a:pt x="488" y="477"/>
                    </a:lnTo>
                    <a:lnTo>
                      <a:pt x="486" y="475"/>
                    </a:lnTo>
                    <a:lnTo>
                      <a:pt x="483" y="472"/>
                    </a:lnTo>
                    <a:lnTo>
                      <a:pt x="483" y="472"/>
                    </a:lnTo>
                    <a:lnTo>
                      <a:pt x="465" y="446"/>
                    </a:lnTo>
                    <a:lnTo>
                      <a:pt x="465" y="446"/>
                    </a:lnTo>
                    <a:lnTo>
                      <a:pt x="463" y="440"/>
                    </a:lnTo>
                    <a:lnTo>
                      <a:pt x="462" y="435"/>
                    </a:lnTo>
                    <a:lnTo>
                      <a:pt x="460" y="432"/>
                    </a:lnTo>
                    <a:lnTo>
                      <a:pt x="459" y="430"/>
                    </a:lnTo>
                    <a:lnTo>
                      <a:pt x="456" y="430"/>
                    </a:lnTo>
                    <a:lnTo>
                      <a:pt x="456" y="430"/>
                    </a:lnTo>
                    <a:lnTo>
                      <a:pt x="444" y="433"/>
                    </a:lnTo>
                    <a:lnTo>
                      <a:pt x="439" y="435"/>
                    </a:lnTo>
                    <a:lnTo>
                      <a:pt x="433" y="436"/>
                    </a:lnTo>
                    <a:lnTo>
                      <a:pt x="433" y="77"/>
                    </a:lnTo>
                    <a:lnTo>
                      <a:pt x="433" y="77"/>
                    </a:lnTo>
                    <a:lnTo>
                      <a:pt x="430" y="75"/>
                    </a:lnTo>
                    <a:lnTo>
                      <a:pt x="430" y="75"/>
                    </a:lnTo>
                    <a:lnTo>
                      <a:pt x="415" y="68"/>
                    </a:lnTo>
                    <a:lnTo>
                      <a:pt x="401" y="60"/>
                    </a:lnTo>
                    <a:lnTo>
                      <a:pt x="401" y="60"/>
                    </a:lnTo>
                    <a:lnTo>
                      <a:pt x="395" y="57"/>
                    </a:lnTo>
                    <a:lnTo>
                      <a:pt x="392" y="58"/>
                    </a:lnTo>
                    <a:lnTo>
                      <a:pt x="386" y="60"/>
                    </a:lnTo>
                    <a:lnTo>
                      <a:pt x="386" y="60"/>
                    </a:lnTo>
                    <a:lnTo>
                      <a:pt x="379" y="61"/>
                    </a:lnTo>
                    <a:lnTo>
                      <a:pt x="372" y="61"/>
                    </a:lnTo>
                    <a:lnTo>
                      <a:pt x="363" y="61"/>
                    </a:lnTo>
                    <a:lnTo>
                      <a:pt x="355" y="60"/>
                    </a:lnTo>
                    <a:lnTo>
                      <a:pt x="355" y="60"/>
                    </a:lnTo>
                    <a:lnTo>
                      <a:pt x="346" y="58"/>
                    </a:lnTo>
                    <a:lnTo>
                      <a:pt x="339" y="57"/>
                    </a:lnTo>
                    <a:lnTo>
                      <a:pt x="331" y="57"/>
                    </a:lnTo>
                    <a:lnTo>
                      <a:pt x="328" y="55"/>
                    </a:lnTo>
                    <a:lnTo>
                      <a:pt x="328" y="55"/>
                    </a:lnTo>
                    <a:lnTo>
                      <a:pt x="326" y="51"/>
                    </a:lnTo>
                    <a:lnTo>
                      <a:pt x="323" y="49"/>
                    </a:lnTo>
                    <a:lnTo>
                      <a:pt x="320" y="48"/>
                    </a:lnTo>
                    <a:lnTo>
                      <a:pt x="320" y="48"/>
                    </a:lnTo>
                    <a:lnTo>
                      <a:pt x="305" y="45"/>
                    </a:lnTo>
                    <a:lnTo>
                      <a:pt x="292" y="42"/>
                    </a:lnTo>
                    <a:lnTo>
                      <a:pt x="292" y="42"/>
                    </a:lnTo>
                    <a:lnTo>
                      <a:pt x="282" y="39"/>
                    </a:lnTo>
                    <a:lnTo>
                      <a:pt x="276" y="39"/>
                    </a:lnTo>
                    <a:lnTo>
                      <a:pt x="272" y="39"/>
                    </a:lnTo>
                    <a:lnTo>
                      <a:pt x="272" y="39"/>
                    </a:lnTo>
                    <a:lnTo>
                      <a:pt x="269" y="44"/>
                    </a:lnTo>
                    <a:lnTo>
                      <a:pt x="266" y="44"/>
                    </a:lnTo>
                    <a:lnTo>
                      <a:pt x="263" y="44"/>
                    </a:lnTo>
                    <a:lnTo>
                      <a:pt x="263" y="44"/>
                    </a:lnTo>
                    <a:lnTo>
                      <a:pt x="260" y="42"/>
                    </a:lnTo>
                    <a:lnTo>
                      <a:pt x="259" y="41"/>
                    </a:lnTo>
                    <a:lnTo>
                      <a:pt x="259" y="39"/>
                    </a:lnTo>
                    <a:lnTo>
                      <a:pt x="257" y="38"/>
                    </a:lnTo>
                    <a:lnTo>
                      <a:pt x="257" y="38"/>
                    </a:lnTo>
                    <a:lnTo>
                      <a:pt x="250" y="33"/>
                    </a:lnTo>
                    <a:lnTo>
                      <a:pt x="247" y="32"/>
                    </a:lnTo>
                    <a:lnTo>
                      <a:pt x="247" y="29"/>
                    </a:lnTo>
                    <a:lnTo>
                      <a:pt x="247" y="29"/>
                    </a:lnTo>
                    <a:lnTo>
                      <a:pt x="252" y="25"/>
                    </a:lnTo>
                    <a:lnTo>
                      <a:pt x="252" y="22"/>
                    </a:lnTo>
                    <a:lnTo>
                      <a:pt x="252" y="20"/>
                    </a:lnTo>
                    <a:lnTo>
                      <a:pt x="250" y="20"/>
                    </a:lnTo>
                    <a:lnTo>
                      <a:pt x="250" y="20"/>
                    </a:lnTo>
                    <a:lnTo>
                      <a:pt x="239" y="22"/>
                    </a:lnTo>
                    <a:lnTo>
                      <a:pt x="227" y="25"/>
                    </a:lnTo>
                    <a:lnTo>
                      <a:pt x="227" y="25"/>
                    </a:lnTo>
                    <a:lnTo>
                      <a:pt x="224" y="25"/>
                    </a:lnTo>
                    <a:lnTo>
                      <a:pt x="220" y="25"/>
                    </a:lnTo>
                    <a:lnTo>
                      <a:pt x="217" y="23"/>
                    </a:lnTo>
                    <a:lnTo>
                      <a:pt x="215" y="22"/>
                    </a:lnTo>
                    <a:lnTo>
                      <a:pt x="215" y="20"/>
                    </a:lnTo>
                    <a:lnTo>
                      <a:pt x="215" y="20"/>
                    </a:lnTo>
                    <a:lnTo>
                      <a:pt x="220" y="16"/>
                    </a:lnTo>
                    <a:lnTo>
                      <a:pt x="220" y="13"/>
                    </a:lnTo>
                    <a:lnTo>
                      <a:pt x="220" y="12"/>
                    </a:lnTo>
                    <a:lnTo>
                      <a:pt x="220" y="12"/>
                    </a:lnTo>
                    <a:lnTo>
                      <a:pt x="217" y="12"/>
                    </a:lnTo>
                    <a:lnTo>
                      <a:pt x="214" y="12"/>
                    </a:lnTo>
                    <a:lnTo>
                      <a:pt x="211" y="13"/>
                    </a:lnTo>
                    <a:lnTo>
                      <a:pt x="210" y="15"/>
                    </a:lnTo>
                    <a:lnTo>
                      <a:pt x="210" y="15"/>
                    </a:lnTo>
                    <a:lnTo>
                      <a:pt x="207" y="23"/>
                    </a:lnTo>
                    <a:lnTo>
                      <a:pt x="204" y="26"/>
                    </a:lnTo>
                    <a:lnTo>
                      <a:pt x="204" y="26"/>
                    </a:lnTo>
                    <a:lnTo>
                      <a:pt x="202" y="26"/>
                    </a:lnTo>
                    <a:lnTo>
                      <a:pt x="202" y="26"/>
                    </a:lnTo>
                    <a:lnTo>
                      <a:pt x="201" y="22"/>
                    </a:lnTo>
                    <a:lnTo>
                      <a:pt x="201" y="18"/>
                    </a:lnTo>
                    <a:lnTo>
                      <a:pt x="201" y="10"/>
                    </a:lnTo>
                    <a:lnTo>
                      <a:pt x="201" y="10"/>
                    </a:lnTo>
                    <a:lnTo>
                      <a:pt x="192" y="4"/>
                    </a:lnTo>
                    <a:lnTo>
                      <a:pt x="192" y="4"/>
                    </a:lnTo>
                    <a:lnTo>
                      <a:pt x="187" y="0"/>
                    </a:lnTo>
                    <a:lnTo>
                      <a:pt x="184" y="0"/>
                    </a:lnTo>
                    <a:lnTo>
                      <a:pt x="181" y="0"/>
                    </a:lnTo>
                    <a:lnTo>
                      <a:pt x="181" y="0"/>
                    </a:lnTo>
                    <a:lnTo>
                      <a:pt x="179" y="3"/>
                    </a:lnTo>
                    <a:lnTo>
                      <a:pt x="176" y="9"/>
                    </a:lnTo>
                    <a:lnTo>
                      <a:pt x="173" y="16"/>
                    </a:lnTo>
                    <a:lnTo>
                      <a:pt x="171" y="20"/>
                    </a:lnTo>
                    <a:lnTo>
                      <a:pt x="171" y="20"/>
                    </a:lnTo>
                    <a:lnTo>
                      <a:pt x="163" y="23"/>
                    </a:lnTo>
                    <a:lnTo>
                      <a:pt x="155" y="26"/>
                    </a:lnTo>
                    <a:lnTo>
                      <a:pt x="147" y="28"/>
                    </a:lnTo>
                    <a:lnTo>
                      <a:pt x="142" y="29"/>
                    </a:lnTo>
                    <a:lnTo>
                      <a:pt x="142" y="29"/>
                    </a:lnTo>
                    <a:lnTo>
                      <a:pt x="136" y="28"/>
                    </a:lnTo>
                    <a:lnTo>
                      <a:pt x="133" y="28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27" y="35"/>
                    </a:lnTo>
                    <a:lnTo>
                      <a:pt x="124" y="39"/>
                    </a:lnTo>
                    <a:lnTo>
                      <a:pt x="121" y="41"/>
                    </a:lnTo>
                    <a:lnTo>
                      <a:pt x="121" y="41"/>
                    </a:lnTo>
                    <a:lnTo>
                      <a:pt x="113" y="44"/>
                    </a:lnTo>
                    <a:lnTo>
                      <a:pt x="105" y="45"/>
                    </a:lnTo>
                    <a:lnTo>
                      <a:pt x="98" y="46"/>
                    </a:lnTo>
                    <a:lnTo>
                      <a:pt x="98" y="46"/>
                    </a:lnTo>
                    <a:lnTo>
                      <a:pt x="94" y="48"/>
                    </a:lnTo>
                    <a:lnTo>
                      <a:pt x="92" y="51"/>
                    </a:lnTo>
                    <a:lnTo>
                      <a:pt x="92" y="54"/>
                    </a:lnTo>
                    <a:lnTo>
                      <a:pt x="92" y="55"/>
                    </a:lnTo>
                    <a:lnTo>
                      <a:pt x="92" y="55"/>
                    </a:lnTo>
                    <a:lnTo>
                      <a:pt x="89" y="58"/>
                    </a:lnTo>
                    <a:lnTo>
                      <a:pt x="88" y="62"/>
                    </a:lnTo>
                    <a:lnTo>
                      <a:pt x="87" y="67"/>
                    </a:lnTo>
                    <a:lnTo>
                      <a:pt x="85" y="70"/>
                    </a:lnTo>
                    <a:lnTo>
                      <a:pt x="85" y="70"/>
                    </a:lnTo>
                    <a:lnTo>
                      <a:pt x="82" y="74"/>
                    </a:lnTo>
                    <a:lnTo>
                      <a:pt x="79" y="81"/>
                    </a:lnTo>
                    <a:lnTo>
                      <a:pt x="75" y="94"/>
                    </a:lnTo>
                    <a:lnTo>
                      <a:pt x="75" y="94"/>
                    </a:lnTo>
                    <a:lnTo>
                      <a:pt x="69" y="106"/>
                    </a:lnTo>
                    <a:lnTo>
                      <a:pt x="65" y="112"/>
                    </a:lnTo>
                    <a:lnTo>
                      <a:pt x="62" y="115"/>
                    </a:lnTo>
                    <a:lnTo>
                      <a:pt x="62" y="115"/>
                    </a:lnTo>
                    <a:lnTo>
                      <a:pt x="58" y="113"/>
                    </a:lnTo>
                    <a:lnTo>
                      <a:pt x="53" y="115"/>
                    </a:lnTo>
                    <a:lnTo>
                      <a:pt x="53" y="115"/>
                    </a:lnTo>
                    <a:lnTo>
                      <a:pt x="43" y="116"/>
                    </a:lnTo>
                    <a:lnTo>
                      <a:pt x="30" y="117"/>
                    </a:lnTo>
                    <a:lnTo>
                      <a:pt x="30" y="117"/>
                    </a:lnTo>
                    <a:lnTo>
                      <a:pt x="29" y="119"/>
                    </a:lnTo>
                    <a:lnTo>
                      <a:pt x="27" y="120"/>
                    </a:lnTo>
                    <a:lnTo>
                      <a:pt x="26" y="125"/>
                    </a:lnTo>
                    <a:lnTo>
                      <a:pt x="26" y="129"/>
                    </a:lnTo>
                    <a:lnTo>
                      <a:pt x="26" y="131"/>
                    </a:lnTo>
                    <a:lnTo>
                      <a:pt x="24" y="132"/>
                    </a:lnTo>
                    <a:lnTo>
                      <a:pt x="24" y="132"/>
                    </a:lnTo>
                    <a:lnTo>
                      <a:pt x="20" y="132"/>
                    </a:lnTo>
                    <a:lnTo>
                      <a:pt x="19" y="133"/>
                    </a:lnTo>
                    <a:lnTo>
                      <a:pt x="19" y="135"/>
                    </a:lnTo>
                    <a:lnTo>
                      <a:pt x="19" y="135"/>
                    </a:lnTo>
                    <a:lnTo>
                      <a:pt x="21" y="138"/>
                    </a:lnTo>
                    <a:lnTo>
                      <a:pt x="24" y="139"/>
                    </a:lnTo>
                    <a:lnTo>
                      <a:pt x="27" y="142"/>
                    </a:lnTo>
                    <a:lnTo>
                      <a:pt x="30" y="145"/>
                    </a:lnTo>
                    <a:lnTo>
                      <a:pt x="30" y="145"/>
                    </a:lnTo>
                    <a:lnTo>
                      <a:pt x="33" y="148"/>
                    </a:lnTo>
                    <a:lnTo>
                      <a:pt x="34" y="149"/>
                    </a:lnTo>
                    <a:lnTo>
                      <a:pt x="37" y="149"/>
                    </a:lnTo>
                    <a:lnTo>
                      <a:pt x="39" y="152"/>
                    </a:lnTo>
                    <a:lnTo>
                      <a:pt x="39" y="152"/>
                    </a:lnTo>
                    <a:lnTo>
                      <a:pt x="46" y="159"/>
                    </a:lnTo>
                    <a:lnTo>
                      <a:pt x="52" y="165"/>
                    </a:lnTo>
                    <a:lnTo>
                      <a:pt x="52" y="165"/>
                    </a:lnTo>
                    <a:lnTo>
                      <a:pt x="56" y="168"/>
                    </a:lnTo>
                    <a:lnTo>
                      <a:pt x="58" y="173"/>
                    </a:lnTo>
                    <a:lnTo>
                      <a:pt x="58" y="173"/>
                    </a:lnTo>
                    <a:lnTo>
                      <a:pt x="61" y="180"/>
                    </a:lnTo>
                    <a:lnTo>
                      <a:pt x="65" y="188"/>
                    </a:lnTo>
                    <a:lnTo>
                      <a:pt x="65" y="188"/>
                    </a:lnTo>
                    <a:lnTo>
                      <a:pt x="66" y="191"/>
                    </a:lnTo>
                    <a:lnTo>
                      <a:pt x="71" y="194"/>
                    </a:lnTo>
                    <a:lnTo>
                      <a:pt x="74" y="196"/>
                    </a:lnTo>
                    <a:lnTo>
                      <a:pt x="78" y="196"/>
                    </a:lnTo>
                    <a:lnTo>
                      <a:pt x="78" y="196"/>
                    </a:lnTo>
                    <a:lnTo>
                      <a:pt x="88" y="196"/>
                    </a:lnTo>
                    <a:lnTo>
                      <a:pt x="94" y="199"/>
                    </a:lnTo>
                    <a:lnTo>
                      <a:pt x="95" y="199"/>
                    </a:lnTo>
                    <a:lnTo>
                      <a:pt x="95" y="200"/>
                    </a:lnTo>
                    <a:lnTo>
                      <a:pt x="95" y="200"/>
                    </a:lnTo>
                    <a:lnTo>
                      <a:pt x="97" y="203"/>
                    </a:lnTo>
                    <a:lnTo>
                      <a:pt x="98" y="204"/>
                    </a:lnTo>
                    <a:lnTo>
                      <a:pt x="103" y="209"/>
                    </a:lnTo>
                    <a:lnTo>
                      <a:pt x="103" y="209"/>
                    </a:lnTo>
                    <a:lnTo>
                      <a:pt x="108" y="210"/>
                    </a:lnTo>
                    <a:lnTo>
                      <a:pt x="113" y="212"/>
                    </a:lnTo>
                    <a:lnTo>
                      <a:pt x="117" y="212"/>
                    </a:lnTo>
                    <a:lnTo>
                      <a:pt x="118" y="213"/>
                    </a:lnTo>
                    <a:lnTo>
                      <a:pt x="118" y="213"/>
                    </a:lnTo>
                    <a:lnTo>
                      <a:pt x="118" y="213"/>
                    </a:lnTo>
                    <a:lnTo>
                      <a:pt x="117" y="216"/>
                    </a:lnTo>
                    <a:lnTo>
                      <a:pt x="116" y="217"/>
                    </a:lnTo>
                    <a:lnTo>
                      <a:pt x="113" y="217"/>
                    </a:lnTo>
                    <a:lnTo>
                      <a:pt x="113" y="217"/>
                    </a:lnTo>
                    <a:lnTo>
                      <a:pt x="103" y="215"/>
                    </a:lnTo>
                    <a:lnTo>
                      <a:pt x="97" y="212"/>
                    </a:lnTo>
                    <a:lnTo>
                      <a:pt x="94" y="209"/>
                    </a:lnTo>
                    <a:lnTo>
                      <a:pt x="94" y="209"/>
                    </a:lnTo>
                    <a:lnTo>
                      <a:pt x="91" y="207"/>
                    </a:lnTo>
                    <a:lnTo>
                      <a:pt x="91" y="209"/>
                    </a:lnTo>
                    <a:lnTo>
                      <a:pt x="92" y="215"/>
                    </a:lnTo>
                    <a:lnTo>
                      <a:pt x="92" y="215"/>
                    </a:lnTo>
                    <a:lnTo>
                      <a:pt x="92" y="222"/>
                    </a:lnTo>
                    <a:lnTo>
                      <a:pt x="92" y="223"/>
                    </a:lnTo>
                    <a:lnTo>
                      <a:pt x="94" y="223"/>
                    </a:lnTo>
                    <a:lnTo>
                      <a:pt x="94" y="223"/>
                    </a:lnTo>
                    <a:lnTo>
                      <a:pt x="98" y="219"/>
                    </a:lnTo>
                    <a:lnTo>
                      <a:pt x="100" y="217"/>
                    </a:lnTo>
                    <a:lnTo>
                      <a:pt x="103" y="220"/>
                    </a:lnTo>
                    <a:lnTo>
                      <a:pt x="103" y="220"/>
                    </a:lnTo>
                    <a:lnTo>
                      <a:pt x="108" y="226"/>
                    </a:lnTo>
                    <a:lnTo>
                      <a:pt x="110" y="228"/>
                    </a:lnTo>
                    <a:lnTo>
                      <a:pt x="110" y="229"/>
                    </a:lnTo>
                    <a:lnTo>
                      <a:pt x="110" y="229"/>
                    </a:lnTo>
                    <a:lnTo>
                      <a:pt x="105" y="229"/>
                    </a:lnTo>
                    <a:lnTo>
                      <a:pt x="104" y="229"/>
                    </a:lnTo>
                    <a:lnTo>
                      <a:pt x="103" y="230"/>
                    </a:lnTo>
                    <a:lnTo>
                      <a:pt x="103" y="230"/>
                    </a:lnTo>
                    <a:lnTo>
                      <a:pt x="103" y="236"/>
                    </a:lnTo>
                    <a:lnTo>
                      <a:pt x="101" y="239"/>
                    </a:lnTo>
                    <a:lnTo>
                      <a:pt x="98" y="239"/>
                    </a:lnTo>
                    <a:lnTo>
                      <a:pt x="98" y="239"/>
                    </a:lnTo>
                    <a:lnTo>
                      <a:pt x="92" y="236"/>
                    </a:lnTo>
                    <a:lnTo>
                      <a:pt x="88" y="236"/>
                    </a:lnTo>
                    <a:lnTo>
                      <a:pt x="88" y="236"/>
                    </a:lnTo>
                    <a:lnTo>
                      <a:pt x="85" y="239"/>
                    </a:lnTo>
                    <a:lnTo>
                      <a:pt x="82" y="239"/>
                    </a:lnTo>
                    <a:lnTo>
                      <a:pt x="82" y="239"/>
                    </a:lnTo>
                    <a:lnTo>
                      <a:pt x="82" y="239"/>
                    </a:lnTo>
                    <a:lnTo>
                      <a:pt x="79" y="238"/>
                    </a:lnTo>
                    <a:lnTo>
                      <a:pt x="76" y="236"/>
                    </a:lnTo>
                    <a:lnTo>
                      <a:pt x="76" y="236"/>
                    </a:lnTo>
                    <a:lnTo>
                      <a:pt x="72" y="236"/>
                    </a:lnTo>
                    <a:lnTo>
                      <a:pt x="69" y="235"/>
                    </a:lnTo>
                    <a:lnTo>
                      <a:pt x="66" y="233"/>
                    </a:lnTo>
                    <a:lnTo>
                      <a:pt x="66" y="233"/>
                    </a:lnTo>
                    <a:lnTo>
                      <a:pt x="63" y="228"/>
                    </a:lnTo>
                    <a:lnTo>
                      <a:pt x="63" y="225"/>
                    </a:lnTo>
                    <a:lnTo>
                      <a:pt x="63" y="222"/>
                    </a:lnTo>
                    <a:lnTo>
                      <a:pt x="63" y="222"/>
                    </a:lnTo>
                    <a:lnTo>
                      <a:pt x="65" y="215"/>
                    </a:lnTo>
                    <a:lnTo>
                      <a:pt x="65" y="210"/>
                    </a:lnTo>
                    <a:lnTo>
                      <a:pt x="65" y="209"/>
                    </a:lnTo>
                    <a:lnTo>
                      <a:pt x="65" y="209"/>
                    </a:lnTo>
                    <a:lnTo>
                      <a:pt x="55" y="210"/>
                    </a:lnTo>
                    <a:lnTo>
                      <a:pt x="50" y="213"/>
                    </a:lnTo>
                    <a:lnTo>
                      <a:pt x="46" y="215"/>
                    </a:lnTo>
                    <a:lnTo>
                      <a:pt x="46" y="215"/>
                    </a:lnTo>
                    <a:lnTo>
                      <a:pt x="45" y="216"/>
                    </a:lnTo>
                    <a:lnTo>
                      <a:pt x="42" y="217"/>
                    </a:lnTo>
                    <a:lnTo>
                      <a:pt x="39" y="220"/>
                    </a:lnTo>
                    <a:lnTo>
                      <a:pt x="34" y="222"/>
                    </a:lnTo>
                    <a:lnTo>
                      <a:pt x="34" y="222"/>
                    </a:lnTo>
                    <a:lnTo>
                      <a:pt x="32" y="226"/>
                    </a:lnTo>
                    <a:lnTo>
                      <a:pt x="30" y="229"/>
                    </a:lnTo>
                    <a:lnTo>
                      <a:pt x="30" y="229"/>
                    </a:lnTo>
                    <a:lnTo>
                      <a:pt x="29" y="232"/>
                    </a:lnTo>
                    <a:lnTo>
                      <a:pt x="27" y="233"/>
                    </a:lnTo>
                    <a:lnTo>
                      <a:pt x="26" y="233"/>
                    </a:lnTo>
                    <a:lnTo>
                      <a:pt x="26" y="233"/>
                    </a:lnTo>
                    <a:lnTo>
                      <a:pt x="23" y="233"/>
                    </a:lnTo>
                    <a:lnTo>
                      <a:pt x="20" y="236"/>
                    </a:lnTo>
                    <a:lnTo>
                      <a:pt x="13" y="241"/>
                    </a:lnTo>
                    <a:lnTo>
                      <a:pt x="13" y="241"/>
                    </a:lnTo>
                    <a:lnTo>
                      <a:pt x="8" y="242"/>
                    </a:lnTo>
                    <a:lnTo>
                      <a:pt x="5" y="243"/>
                    </a:lnTo>
                    <a:lnTo>
                      <a:pt x="4" y="245"/>
                    </a:lnTo>
                    <a:lnTo>
                      <a:pt x="4" y="245"/>
                    </a:lnTo>
                    <a:lnTo>
                      <a:pt x="3" y="249"/>
                    </a:lnTo>
                    <a:lnTo>
                      <a:pt x="1" y="251"/>
                    </a:lnTo>
                    <a:lnTo>
                      <a:pt x="0" y="251"/>
                    </a:lnTo>
                    <a:lnTo>
                      <a:pt x="0" y="251"/>
                    </a:lnTo>
                    <a:lnTo>
                      <a:pt x="0" y="252"/>
                    </a:lnTo>
                    <a:lnTo>
                      <a:pt x="0" y="254"/>
                    </a:lnTo>
                    <a:lnTo>
                      <a:pt x="5" y="257"/>
                    </a:lnTo>
                    <a:lnTo>
                      <a:pt x="5" y="257"/>
                    </a:lnTo>
                    <a:lnTo>
                      <a:pt x="11" y="259"/>
                    </a:lnTo>
                    <a:lnTo>
                      <a:pt x="13" y="261"/>
                    </a:lnTo>
                    <a:lnTo>
                      <a:pt x="13" y="264"/>
                    </a:lnTo>
                    <a:lnTo>
                      <a:pt x="13" y="264"/>
                    </a:lnTo>
                    <a:lnTo>
                      <a:pt x="14" y="268"/>
                    </a:lnTo>
                    <a:lnTo>
                      <a:pt x="16" y="272"/>
                    </a:lnTo>
                    <a:lnTo>
                      <a:pt x="20" y="280"/>
                    </a:lnTo>
                    <a:lnTo>
                      <a:pt x="20" y="280"/>
                    </a:lnTo>
                    <a:lnTo>
                      <a:pt x="21" y="283"/>
                    </a:lnTo>
                    <a:lnTo>
                      <a:pt x="23" y="288"/>
                    </a:lnTo>
                    <a:lnTo>
                      <a:pt x="24" y="293"/>
                    </a:lnTo>
                    <a:lnTo>
                      <a:pt x="26" y="296"/>
                    </a:lnTo>
                    <a:lnTo>
                      <a:pt x="27" y="296"/>
                    </a:lnTo>
                    <a:lnTo>
                      <a:pt x="27" y="296"/>
                    </a:lnTo>
                    <a:lnTo>
                      <a:pt x="36" y="299"/>
                    </a:lnTo>
                    <a:lnTo>
                      <a:pt x="40" y="300"/>
                    </a:lnTo>
                    <a:lnTo>
                      <a:pt x="46" y="299"/>
                    </a:lnTo>
                    <a:lnTo>
                      <a:pt x="46" y="299"/>
                    </a:lnTo>
                    <a:lnTo>
                      <a:pt x="56" y="297"/>
                    </a:lnTo>
                    <a:lnTo>
                      <a:pt x="65" y="297"/>
                    </a:lnTo>
                    <a:lnTo>
                      <a:pt x="65" y="297"/>
                    </a:lnTo>
                    <a:lnTo>
                      <a:pt x="71" y="296"/>
                    </a:lnTo>
                    <a:lnTo>
                      <a:pt x="74" y="294"/>
                    </a:lnTo>
                    <a:lnTo>
                      <a:pt x="74" y="294"/>
                    </a:lnTo>
                    <a:lnTo>
                      <a:pt x="75" y="294"/>
                    </a:lnTo>
                    <a:lnTo>
                      <a:pt x="76" y="296"/>
                    </a:lnTo>
                    <a:lnTo>
                      <a:pt x="78" y="297"/>
                    </a:lnTo>
                    <a:lnTo>
                      <a:pt x="81" y="296"/>
                    </a:lnTo>
                    <a:lnTo>
                      <a:pt x="81" y="296"/>
                    </a:lnTo>
                    <a:lnTo>
                      <a:pt x="85" y="293"/>
                    </a:lnTo>
                    <a:lnTo>
                      <a:pt x="89" y="288"/>
                    </a:lnTo>
                    <a:lnTo>
                      <a:pt x="94" y="284"/>
                    </a:lnTo>
                    <a:lnTo>
                      <a:pt x="95" y="283"/>
                    </a:lnTo>
                    <a:lnTo>
                      <a:pt x="98" y="281"/>
                    </a:lnTo>
                    <a:lnTo>
                      <a:pt x="98" y="281"/>
                    </a:lnTo>
                    <a:lnTo>
                      <a:pt x="100" y="283"/>
                    </a:lnTo>
                    <a:lnTo>
                      <a:pt x="101" y="284"/>
                    </a:lnTo>
                    <a:lnTo>
                      <a:pt x="103" y="285"/>
                    </a:lnTo>
                    <a:lnTo>
                      <a:pt x="104" y="285"/>
                    </a:lnTo>
                    <a:lnTo>
                      <a:pt x="104" y="285"/>
                    </a:lnTo>
                    <a:lnTo>
                      <a:pt x="107" y="284"/>
                    </a:lnTo>
                    <a:lnTo>
                      <a:pt x="108" y="284"/>
                    </a:lnTo>
                    <a:lnTo>
                      <a:pt x="108" y="287"/>
                    </a:lnTo>
                    <a:lnTo>
                      <a:pt x="108" y="287"/>
                    </a:lnTo>
                    <a:lnTo>
                      <a:pt x="107" y="294"/>
                    </a:lnTo>
                    <a:lnTo>
                      <a:pt x="107" y="296"/>
                    </a:lnTo>
                    <a:lnTo>
                      <a:pt x="104" y="297"/>
                    </a:lnTo>
                    <a:lnTo>
                      <a:pt x="104" y="297"/>
                    </a:lnTo>
                    <a:lnTo>
                      <a:pt x="104" y="297"/>
                    </a:lnTo>
                    <a:lnTo>
                      <a:pt x="104" y="299"/>
                    </a:lnTo>
                    <a:lnTo>
                      <a:pt x="105" y="300"/>
                    </a:lnTo>
                    <a:lnTo>
                      <a:pt x="108" y="303"/>
                    </a:lnTo>
                    <a:lnTo>
                      <a:pt x="110" y="306"/>
                    </a:lnTo>
                    <a:lnTo>
                      <a:pt x="110" y="306"/>
                    </a:lnTo>
                    <a:lnTo>
                      <a:pt x="111" y="317"/>
                    </a:lnTo>
                    <a:lnTo>
                      <a:pt x="111" y="323"/>
                    </a:lnTo>
                    <a:lnTo>
                      <a:pt x="108" y="327"/>
                    </a:lnTo>
                    <a:lnTo>
                      <a:pt x="108" y="327"/>
                    </a:lnTo>
                    <a:lnTo>
                      <a:pt x="105" y="330"/>
                    </a:lnTo>
                    <a:lnTo>
                      <a:pt x="101" y="332"/>
                    </a:lnTo>
                    <a:lnTo>
                      <a:pt x="94" y="333"/>
                    </a:lnTo>
                    <a:lnTo>
                      <a:pt x="94" y="333"/>
                    </a:lnTo>
                    <a:lnTo>
                      <a:pt x="91" y="333"/>
                    </a:lnTo>
                    <a:lnTo>
                      <a:pt x="88" y="336"/>
                    </a:lnTo>
                    <a:lnTo>
                      <a:pt x="82" y="341"/>
                    </a:lnTo>
                    <a:lnTo>
                      <a:pt x="82" y="341"/>
                    </a:lnTo>
                    <a:lnTo>
                      <a:pt x="75" y="345"/>
                    </a:lnTo>
                    <a:lnTo>
                      <a:pt x="72" y="346"/>
                    </a:lnTo>
                    <a:lnTo>
                      <a:pt x="71" y="345"/>
                    </a:lnTo>
                    <a:lnTo>
                      <a:pt x="71" y="345"/>
                    </a:lnTo>
                    <a:lnTo>
                      <a:pt x="68" y="342"/>
                    </a:lnTo>
                    <a:lnTo>
                      <a:pt x="66" y="341"/>
                    </a:lnTo>
                    <a:lnTo>
                      <a:pt x="63" y="341"/>
                    </a:lnTo>
                    <a:lnTo>
                      <a:pt x="63" y="341"/>
                    </a:lnTo>
                    <a:lnTo>
                      <a:pt x="56" y="341"/>
                    </a:lnTo>
                    <a:lnTo>
                      <a:pt x="53" y="341"/>
                    </a:lnTo>
                    <a:lnTo>
                      <a:pt x="50" y="342"/>
                    </a:lnTo>
                    <a:lnTo>
                      <a:pt x="50" y="342"/>
                    </a:lnTo>
                    <a:lnTo>
                      <a:pt x="49" y="346"/>
                    </a:lnTo>
                    <a:lnTo>
                      <a:pt x="47" y="352"/>
                    </a:lnTo>
                    <a:lnTo>
                      <a:pt x="46" y="356"/>
                    </a:lnTo>
                    <a:lnTo>
                      <a:pt x="45" y="361"/>
                    </a:lnTo>
                    <a:lnTo>
                      <a:pt x="45" y="361"/>
                    </a:lnTo>
                    <a:lnTo>
                      <a:pt x="37" y="371"/>
                    </a:lnTo>
                    <a:lnTo>
                      <a:pt x="33" y="377"/>
                    </a:lnTo>
                    <a:lnTo>
                      <a:pt x="30" y="383"/>
                    </a:lnTo>
                    <a:lnTo>
                      <a:pt x="30" y="383"/>
                    </a:lnTo>
                    <a:lnTo>
                      <a:pt x="30" y="388"/>
                    </a:lnTo>
                    <a:lnTo>
                      <a:pt x="30" y="391"/>
                    </a:lnTo>
                    <a:lnTo>
                      <a:pt x="29" y="393"/>
                    </a:lnTo>
                    <a:lnTo>
                      <a:pt x="29" y="393"/>
                    </a:lnTo>
                    <a:lnTo>
                      <a:pt x="26" y="396"/>
                    </a:lnTo>
                    <a:lnTo>
                      <a:pt x="24" y="398"/>
                    </a:lnTo>
                    <a:lnTo>
                      <a:pt x="24" y="401"/>
                    </a:lnTo>
                    <a:lnTo>
                      <a:pt x="26" y="403"/>
                    </a:lnTo>
                    <a:lnTo>
                      <a:pt x="26" y="403"/>
                    </a:lnTo>
                    <a:lnTo>
                      <a:pt x="29" y="401"/>
                    </a:lnTo>
                    <a:lnTo>
                      <a:pt x="32" y="400"/>
                    </a:lnTo>
                    <a:lnTo>
                      <a:pt x="33" y="398"/>
                    </a:lnTo>
                    <a:lnTo>
                      <a:pt x="33" y="400"/>
                    </a:lnTo>
                    <a:lnTo>
                      <a:pt x="33" y="400"/>
                    </a:lnTo>
                    <a:lnTo>
                      <a:pt x="32" y="406"/>
                    </a:lnTo>
                    <a:lnTo>
                      <a:pt x="29" y="410"/>
                    </a:lnTo>
                    <a:lnTo>
                      <a:pt x="29" y="410"/>
                    </a:lnTo>
                    <a:lnTo>
                      <a:pt x="30" y="413"/>
                    </a:lnTo>
                    <a:lnTo>
                      <a:pt x="33" y="414"/>
                    </a:lnTo>
                    <a:lnTo>
                      <a:pt x="40" y="417"/>
                    </a:lnTo>
                    <a:lnTo>
                      <a:pt x="40" y="417"/>
                    </a:lnTo>
                    <a:lnTo>
                      <a:pt x="47" y="422"/>
                    </a:lnTo>
                    <a:lnTo>
                      <a:pt x="55" y="425"/>
                    </a:lnTo>
                    <a:lnTo>
                      <a:pt x="55" y="425"/>
                    </a:lnTo>
                    <a:lnTo>
                      <a:pt x="59" y="425"/>
                    </a:lnTo>
                    <a:lnTo>
                      <a:pt x="62" y="425"/>
                    </a:lnTo>
                    <a:lnTo>
                      <a:pt x="65" y="426"/>
                    </a:lnTo>
                    <a:lnTo>
                      <a:pt x="65" y="427"/>
                    </a:lnTo>
                    <a:lnTo>
                      <a:pt x="65" y="427"/>
                    </a:lnTo>
                    <a:lnTo>
                      <a:pt x="62" y="430"/>
                    </a:lnTo>
                    <a:lnTo>
                      <a:pt x="61" y="432"/>
                    </a:lnTo>
                    <a:lnTo>
                      <a:pt x="58" y="435"/>
                    </a:lnTo>
                    <a:lnTo>
                      <a:pt x="56" y="438"/>
                    </a:lnTo>
                    <a:lnTo>
                      <a:pt x="56" y="438"/>
                    </a:lnTo>
                    <a:lnTo>
                      <a:pt x="56" y="445"/>
                    </a:lnTo>
                    <a:lnTo>
                      <a:pt x="56" y="448"/>
                    </a:lnTo>
                    <a:lnTo>
                      <a:pt x="58" y="451"/>
                    </a:lnTo>
                    <a:lnTo>
                      <a:pt x="58" y="451"/>
                    </a:lnTo>
                    <a:lnTo>
                      <a:pt x="61" y="452"/>
                    </a:lnTo>
                    <a:lnTo>
                      <a:pt x="63" y="455"/>
                    </a:lnTo>
                    <a:lnTo>
                      <a:pt x="63" y="455"/>
                    </a:lnTo>
                    <a:lnTo>
                      <a:pt x="65" y="458"/>
                    </a:lnTo>
                    <a:lnTo>
                      <a:pt x="69" y="458"/>
                    </a:lnTo>
                    <a:lnTo>
                      <a:pt x="76" y="458"/>
                    </a:lnTo>
                    <a:lnTo>
                      <a:pt x="76" y="458"/>
                    </a:lnTo>
                    <a:lnTo>
                      <a:pt x="81" y="456"/>
                    </a:lnTo>
                    <a:lnTo>
                      <a:pt x="84" y="455"/>
                    </a:lnTo>
                    <a:lnTo>
                      <a:pt x="85" y="452"/>
                    </a:lnTo>
                    <a:lnTo>
                      <a:pt x="85" y="451"/>
                    </a:lnTo>
                    <a:lnTo>
                      <a:pt x="85" y="451"/>
                    </a:lnTo>
                    <a:lnTo>
                      <a:pt x="84" y="446"/>
                    </a:lnTo>
                    <a:lnTo>
                      <a:pt x="84" y="442"/>
                    </a:lnTo>
                    <a:lnTo>
                      <a:pt x="85" y="439"/>
                    </a:lnTo>
                    <a:lnTo>
                      <a:pt x="87" y="438"/>
                    </a:lnTo>
                    <a:lnTo>
                      <a:pt x="87" y="438"/>
                    </a:lnTo>
                    <a:lnTo>
                      <a:pt x="88" y="439"/>
                    </a:lnTo>
                    <a:lnTo>
                      <a:pt x="89" y="445"/>
                    </a:lnTo>
                    <a:lnTo>
                      <a:pt x="91" y="454"/>
                    </a:lnTo>
                    <a:lnTo>
                      <a:pt x="91" y="454"/>
                    </a:lnTo>
                    <a:lnTo>
                      <a:pt x="92" y="458"/>
                    </a:lnTo>
                    <a:lnTo>
                      <a:pt x="91" y="465"/>
                    </a:lnTo>
                    <a:lnTo>
                      <a:pt x="91" y="465"/>
                    </a:lnTo>
                    <a:lnTo>
                      <a:pt x="89" y="471"/>
                    </a:lnTo>
                    <a:lnTo>
                      <a:pt x="91" y="475"/>
                    </a:lnTo>
                    <a:lnTo>
                      <a:pt x="91" y="475"/>
                    </a:lnTo>
                    <a:lnTo>
                      <a:pt x="94" y="480"/>
                    </a:lnTo>
                    <a:lnTo>
                      <a:pt x="95" y="482"/>
                    </a:lnTo>
                    <a:lnTo>
                      <a:pt x="95" y="482"/>
                    </a:lnTo>
                    <a:lnTo>
                      <a:pt x="94" y="485"/>
                    </a:lnTo>
                    <a:lnTo>
                      <a:pt x="89" y="488"/>
                    </a:lnTo>
                    <a:lnTo>
                      <a:pt x="89" y="488"/>
                    </a:lnTo>
                    <a:lnTo>
                      <a:pt x="85" y="493"/>
                    </a:lnTo>
                    <a:lnTo>
                      <a:pt x="84" y="494"/>
                    </a:lnTo>
                    <a:lnTo>
                      <a:pt x="87" y="494"/>
                    </a:lnTo>
                    <a:lnTo>
                      <a:pt x="87" y="494"/>
                    </a:lnTo>
                    <a:lnTo>
                      <a:pt x="94" y="496"/>
                    </a:lnTo>
                    <a:lnTo>
                      <a:pt x="97" y="496"/>
                    </a:lnTo>
                    <a:lnTo>
                      <a:pt x="100" y="494"/>
                    </a:lnTo>
                    <a:lnTo>
                      <a:pt x="100" y="494"/>
                    </a:lnTo>
                    <a:lnTo>
                      <a:pt x="108" y="488"/>
                    </a:lnTo>
                    <a:lnTo>
                      <a:pt x="113" y="484"/>
                    </a:lnTo>
                    <a:lnTo>
                      <a:pt x="118" y="484"/>
                    </a:lnTo>
                    <a:lnTo>
                      <a:pt x="118" y="484"/>
                    </a:lnTo>
                    <a:lnTo>
                      <a:pt x="123" y="485"/>
                    </a:lnTo>
                    <a:lnTo>
                      <a:pt x="126" y="487"/>
                    </a:lnTo>
                    <a:lnTo>
                      <a:pt x="129" y="488"/>
                    </a:lnTo>
                    <a:lnTo>
                      <a:pt x="130" y="488"/>
                    </a:lnTo>
                    <a:lnTo>
                      <a:pt x="130" y="488"/>
                    </a:lnTo>
                    <a:lnTo>
                      <a:pt x="131" y="487"/>
                    </a:lnTo>
                    <a:lnTo>
                      <a:pt x="131" y="485"/>
                    </a:lnTo>
                    <a:lnTo>
                      <a:pt x="133" y="485"/>
                    </a:lnTo>
                    <a:lnTo>
                      <a:pt x="136" y="487"/>
                    </a:lnTo>
                    <a:lnTo>
                      <a:pt x="136" y="487"/>
                    </a:lnTo>
                    <a:lnTo>
                      <a:pt x="143" y="494"/>
                    </a:lnTo>
                    <a:lnTo>
                      <a:pt x="146" y="497"/>
                    </a:lnTo>
                    <a:lnTo>
                      <a:pt x="147" y="497"/>
                    </a:lnTo>
                    <a:lnTo>
                      <a:pt x="149" y="496"/>
                    </a:lnTo>
                    <a:lnTo>
                      <a:pt x="149" y="496"/>
                    </a:lnTo>
                    <a:lnTo>
                      <a:pt x="149" y="493"/>
                    </a:lnTo>
                    <a:lnTo>
                      <a:pt x="147" y="491"/>
                    </a:lnTo>
                    <a:lnTo>
                      <a:pt x="146" y="490"/>
                    </a:lnTo>
                    <a:lnTo>
                      <a:pt x="145" y="487"/>
                    </a:lnTo>
                    <a:lnTo>
                      <a:pt x="145" y="487"/>
                    </a:lnTo>
                    <a:lnTo>
                      <a:pt x="147" y="480"/>
                    </a:lnTo>
                    <a:lnTo>
                      <a:pt x="149" y="478"/>
                    </a:lnTo>
                    <a:lnTo>
                      <a:pt x="152" y="478"/>
                    </a:lnTo>
                    <a:lnTo>
                      <a:pt x="152" y="478"/>
                    </a:lnTo>
                    <a:lnTo>
                      <a:pt x="152" y="481"/>
                    </a:lnTo>
                    <a:lnTo>
                      <a:pt x="153" y="484"/>
                    </a:lnTo>
                    <a:lnTo>
                      <a:pt x="153" y="487"/>
                    </a:lnTo>
                    <a:lnTo>
                      <a:pt x="156" y="488"/>
                    </a:lnTo>
                    <a:lnTo>
                      <a:pt x="156" y="488"/>
                    </a:lnTo>
                    <a:lnTo>
                      <a:pt x="160" y="488"/>
                    </a:lnTo>
                    <a:lnTo>
                      <a:pt x="166" y="485"/>
                    </a:lnTo>
                    <a:lnTo>
                      <a:pt x="172" y="481"/>
                    </a:lnTo>
                    <a:lnTo>
                      <a:pt x="172" y="481"/>
                    </a:lnTo>
                    <a:lnTo>
                      <a:pt x="175" y="477"/>
                    </a:lnTo>
                    <a:lnTo>
                      <a:pt x="175" y="477"/>
                    </a:lnTo>
                    <a:lnTo>
                      <a:pt x="176" y="480"/>
                    </a:lnTo>
                    <a:lnTo>
                      <a:pt x="176" y="480"/>
                    </a:lnTo>
                    <a:lnTo>
                      <a:pt x="176" y="482"/>
                    </a:lnTo>
                    <a:lnTo>
                      <a:pt x="175" y="485"/>
                    </a:lnTo>
                    <a:lnTo>
                      <a:pt x="171" y="493"/>
                    </a:lnTo>
                    <a:lnTo>
                      <a:pt x="171" y="493"/>
                    </a:lnTo>
                    <a:lnTo>
                      <a:pt x="165" y="500"/>
                    </a:lnTo>
                    <a:lnTo>
                      <a:pt x="162" y="503"/>
                    </a:lnTo>
                    <a:lnTo>
                      <a:pt x="160" y="507"/>
                    </a:lnTo>
                    <a:lnTo>
                      <a:pt x="160" y="507"/>
                    </a:lnTo>
                    <a:lnTo>
                      <a:pt x="160" y="516"/>
                    </a:lnTo>
                    <a:lnTo>
                      <a:pt x="159" y="522"/>
                    </a:lnTo>
                    <a:lnTo>
                      <a:pt x="158" y="527"/>
                    </a:lnTo>
                    <a:lnTo>
                      <a:pt x="158" y="527"/>
                    </a:lnTo>
                    <a:lnTo>
                      <a:pt x="152" y="539"/>
                    </a:lnTo>
                    <a:lnTo>
                      <a:pt x="150" y="543"/>
                    </a:lnTo>
                    <a:lnTo>
                      <a:pt x="147" y="546"/>
                    </a:lnTo>
                    <a:lnTo>
                      <a:pt x="147" y="546"/>
                    </a:lnTo>
                    <a:lnTo>
                      <a:pt x="140" y="548"/>
                    </a:lnTo>
                    <a:lnTo>
                      <a:pt x="134" y="549"/>
                    </a:lnTo>
                    <a:lnTo>
                      <a:pt x="131" y="552"/>
                    </a:lnTo>
                    <a:lnTo>
                      <a:pt x="131" y="552"/>
                    </a:lnTo>
                    <a:lnTo>
                      <a:pt x="126" y="562"/>
                    </a:lnTo>
                    <a:lnTo>
                      <a:pt x="123" y="566"/>
                    </a:lnTo>
                    <a:lnTo>
                      <a:pt x="120" y="569"/>
                    </a:lnTo>
                    <a:lnTo>
                      <a:pt x="120" y="569"/>
                    </a:lnTo>
                    <a:lnTo>
                      <a:pt x="118" y="569"/>
                    </a:lnTo>
                    <a:lnTo>
                      <a:pt x="117" y="568"/>
                    </a:lnTo>
                    <a:lnTo>
                      <a:pt x="116" y="568"/>
                    </a:lnTo>
                    <a:lnTo>
                      <a:pt x="113" y="568"/>
                    </a:lnTo>
                    <a:lnTo>
                      <a:pt x="113" y="568"/>
                    </a:lnTo>
                    <a:lnTo>
                      <a:pt x="108" y="569"/>
                    </a:lnTo>
                    <a:lnTo>
                      <a:pt x="104" y="571"/>
                    </a:lnTo>
                    <a:lnTo>
                      <a:pt x="98" y="572"/>
                    </a:lnTo>
                    <a:lnTo>
                      <a:pt x="94" y="575"/>
                    </a:lnTo>
                    <a:lnTo>
                      <a:pt x="94" y="575"/>
                    </a:lnTo>
                    <a:lnTo>
                      <a:pt x="89" y="582"/>
                    </a:lnTo>
                    <a:lnTo>
                      <a:pt x="87" y="587"/>
                    </a:lnTo>
                    <a:lnTo>
                      <a:pt x="87" y="587"/>
                    </a:lnTo>
                    <a:lnTo>
                      <a:pt x="87" y="588"/>
                    </a:lnTo>
                    <a:lnTo>
                      <a:pt x="85" y="590"/>
                    </a:lnTo>
                    <a:lnTo>
                      <a:pt x="87" y="591"/>
                    </a:lnTo>
                    <a:lnTo>
                      <a:pt x="89" y="591"/>
                    </a:lnTo>
                    <a:lnTo>
                      <a:pt x="89" y="591"/>
                    </a:lnTo>
                    <a:lnTo>
                      <a:pt x="95" y="593"/>
                    </a:lnTo>
                    <a:lnTo>
                      <a:pt x="97" y="591"/>
                    </a:lnTo>
                    <a:lnTo>
                      <a:pt x="98" y="588"/>
                    </a:lnTo>
                    <a:lnTo>
                      <a:pt x="98" y="588"/>
                    </a:lnTo>
                    <a:lnTo>
                      <a:pt x="101" y="582"/>
                    </a:lnTo>
                    <a:lnTo>
                      <a:pt x="103" y="580"/>
                    </a:lnTo>
                    <a:lnTo>
                      <a:pt x="104" y="581"/>
                    </a:lnTo>
                    <a:lnTo>
                      <a:pt x="104" y="581"/>
                    </a:lnTo>
                    <a:lnTo>
                      <a:pt x="104" y="584"/>
                    </a:lnTo>
                    <a:lnTo>
                      <a:pt x="104" y="585"/>
                    </a:lnTo>
                    <a:lnTo>
                      <a:pt x="105" y="587"/>
                    </a:lnTo>
                    <a:lnTo>
                      <a:pt x="108" y="585"/>
                    </a:lnTo>
                    <a:lnTo>
                      <a:pt x="108" y="585"/>
                    </a:lnTo>
                    <a:lnTo>
                      <a:pt x="118" y="581"/>
                    </a:lnTo>
                    <a:lnTo>
                      <a:pt x="127" y="577"/>
                    </a:lnTo>
                    <a:lnTo>
                      <a:pt x="127" y="577"/>
                    </a:lnTo>
                    <a:lnTo>
                      <a:pt x="129" y="574"/>
                    </a:lnTo>
                    <a:lnTo>
                      <a:pt x="130" y="571"/>
                    </a:lnTo>
                    <a:lnTo>
                      <a:pt x="131" y="569"/>
                    </a:lnTo>
                    <a:lnTo>
                      <a:pt x="136" y="569"/>
                    </a:lnTo>
                    <a:lnTo>
                      <a:pt x="136" y="569"/>
                    </a:lnTo>
                    <a:lnTo>
                      <a:pt x="142" y="568"/>
                    </a:lnTo>
                    <a:lnTo>
                      <a:pt x="145" y="565"/>
                    </a:lnTo>
                    <a:lnTo>
                      <a:pt x="150" y="559"/>
                    </a:lnTo>
                    <a:lnTo>
                      <a:pt x="150" y="559"/>
                    </a:lnTo>
                    <a:lnTo>
                      <a:pt x="158" y="555"/>
                    </a:lnTo>
                    <a:lnTo>
                      <a:pt x="171" y="549"/>
                    </a:lnTo>
                    <a:lnTo>
                      <a:pt x="182" y="545"/>
                    </a:lnTo>
                    <a:lnTo>
                      <a:pt x="188" y="540"/>
                    </a:lnTo>
                    <a:lnTo>
                      <a:pt x="188" y="540"/>
                    </a:lnTo>
                    <a:lnTo>
                      <a:pt x="188" y="539"/>
                    </a:lnTo>
                    <a:lnTo>
                      <a:pt x="188" y="536"/>
                    </a:lnTo>
                    <a:lnTo>
                      <a:pt x="189" y="535"/>
                    </a:lnTo>
                    <a:lnTo>
                      <a:pt x="192" y="532"/>
                    </a:lnTo>
                    <a:lnTo>
                      <a:pt x="192" y="532"/>
                    </a:lnTo>
                    <a:lnTo>
                      <a:pt x="197" y="529"/>
                    </a:lnTo>
                    <a:lnTo>
                      <a:pt x="200" y="523"/>
                    </a:lnTo>
                    <a:lnTo>
                      <a:pt x="207" y="514"/>
                    </a:lnTo>
                    <a:lnTo>
                      <a:pt x="207" y="514"/>
                    </a:lnTo>
                    <a:lnTo>
                      <a:pt x="211" y="511"/>
                    </a:lnTo>
                    <a:lnTo>
                      <a:pt x="214" y="510"/>
                    </a:lnTo>
                    <a:lnTo>
                      <a:pt x="217" y="510"/>
                    </a:lnTo>
                    <a:lnTo>
                      <a:pt x="220" y="509"/>
                    </a:lnTo>
                    <a:lnTo>
                      <a:pt x="220" y="509"/>
                    </a:lnTo>
                    <a:lnTo>
                      <a:pt x="221" y="507"/>
                    </a:lnTo>
                    <a:lnTo>
                      <a:pt x="221" y="504"/>
                    </a:lnTo>
                    <a:lnTo>
                      <a:pt x="221" y="503"/>
                    </a:lnTo>
                    <a:lnTo>
                      <a:pt x="223" y="501"/>
                    </a:lnTo>
                    <a:lnTo>
                      <a:pt x="223" y="501"/>
                    </a:lnTo>
                    <a:lnTo>
                      <a:pt x="229" y="491"/>
                    </a:lnTo>
                    <a:lnTo>
                      <a:pt x="234" y="482"/>
                    </a:lnTo>
                    <a:lnTo>
                      <a:pt x="234" y="482"/>
                    </a:lnTo>
                    <a:lnTo>
                      <a:pt x="234" y="481"/>
                    </a:lnTo>
                    <a:lnTo>
                      <a:pt x="234" y="480"/>
                    </a:lnTo>
                    <a:lnTo>
                      <a:pt x="229" y="478"/>
                    </a:lnTo>
                    <a:lnTo>
                      <a:pt x="229" y="478"/>
                    </a:lnTo>
                    <a:lnTo>
                      <a:pt x="223" y="475"/>
                    </a:lnTo>
                    <a:lnTo>
                      <a:pt x="223" y="472"/>
                    </a:lnTo>
                    <a:lnTo>
                      <a:pt x="224" y="469"/>
                    </a:lnTo>
                    <a:lnTo>
                      <a:pt x="224" y="469"/>
                    </a:lnTo>
                    <a:lnTo>
                      <a:pt x="227" y="465"/>
                    </a:lnTo>
                    <a:lnTo>
                      <a:pt x="230" y="461"/>
                    </a:lnTo>
                    <a:lnTo>
                      <a:pt x="233" y="456"/>
                    </a:lnTo>
                    <a:lnTo>
                      <a:pt x="237" y="454"/>
                    </a:lnTo>
                    <a:lnTo>
                      <a:pt x="237" y="454"/>
                    </a:lnTo>
                    <a:lnTo>
                      <a:pt x="240" y="452"/>
                    </a:lnTo>
                    <a:lnTo>
                      <a:pt x="242" y="449"/>
                    </a:lnTo>
                    <a:lnTo>
                      <a:pt x="242" y="442"/>
                    </a:lnTo>
                    <a:lnTo>
                      <a:pt x="242" y="442"/>
                    </a:lnTo>
                    <a:lnTo>
                      <a:pt x="244" y="432"/>
                    </a:lnTo>
                    <a:lnTo>
                      <a:pt x="247" y="426"/>
                    </a:lnTo>
                    <a:lnTo>
                      <a:pt x="252" y="423"/>
                    </a:lnTo>
                    <a:lnTo>
                      <a:pt x="252" y="423"/>
                    </a:lnTo>
                    <a:lnTo>
                      <a:pt x="265" y="414"/>
                    </a:lnTo>
                    <a:lnTo>
                      <a:pt x="265" y="414"/>
                    </a:lnTo>
                    <a:lnTo>
                      <a:pt x="269" y="409"/>
                    </a:lnTo>
                    <a:lnTo>
                      <a:pt x="272" y="404"/>
                    </a:lnTo>
                    <a:lnTo>
                      <a:pt x="273" y="404"/>
                    </a:lnTo>
                    <a:lnTo>
                      <a:pt x="273" y="404"/>
                    </a:lnTo>
                    <a:lnTo>
                      <a:pt x="273" y="404"/>
                    </a:lnTo>
                    <a:lnTo>
                      <a:pt x="278" y="407"/>
                    </a:lnTo>
                    <a:lnTo>
                      <a:pt x="279" y="407"/>
                    </a:lnTo>
                    <a:lnTo>
                      <a:pt x="281" y="406"/>
                    </a:lnTo>
                    <a:lnTo>
                      <a:pt x="281" y="406"/>
                    </a:lnTo>
                    <a:lnTo>
                      <a:pt x="286" y="401"/>
                    </a:lnTo>
                    <a:lnTo>
                      <a:pt x="289" y="398"/>
                    </a:lnTo>
                    <a:lnTo>
                      <a:pt x="289" y="398"/>
                    </a:lnTo>
                    <a:lnTo>
                      <a:pt x="289" y="400"/>
                    </a:lnTo>
                    <a:lnTo>
                      <a:pt x="289" y="400"/>
                    </a:lnTo>
                    <a:lnTo>
                      <a:pt x="288" y="407"/>
                    </a:lnTo>
                    <a:lnTo>
                      <a:pt x="288" y="413"/>
                    </a:lnTo>
                    <a:lnTo>
                      <a:pt x="288" y="413"/>
                    </a:lnTo>
                    <a:lnTo>
                      <a:pt x="292" y="417"/>
                    </a:lnTo>
                    <a:lnTo>
                      <a:pt x="294" y="419"/>
                    </a:lnTo>
                    <a:lnTo>
                      <a:pt x="292" y="420"/>
                    </a:lnTo>
                    <a:lnTo>
                      <a:pt x="292" y="420"/>
                    </a:lnTo>
                    <a:lnTo>
                      <a:pt x="281" y="420"/>
                    </a:lnTo>
                    <a:lnTo>
                      <a:pt x="281" y="420"/>
                    </a:lnTo>
                    <a:lnTo>
                      <a:pt x="279" y="419"/>
                    </a:lnTo>
                    <a:lnTo>
                      <a:pt x="278" y="417"/>
                    </a:lnTo>
                    <a:lnTo>
                      <a:pt x="276" y="417"/>
                    </a:lnTo>
                    <a:lnTo>
                      <a:pt x="273" y="417"/>
                    </a:lnTo>
                    <a:lnTo>
                      <a:pt x="273" y="417"/>
                    </a:lnTo>
                    <a:lnTo>
                      <a:pt x="268" y="422"/>
                    </a:lnTo>
                    <a:lnTo>
                      <a:pt x="266" y="423"/>
                    </a:lnTo>
                    <a:lnTo>
                      <a:pt x="265" y="425"/>
                    </a:lnTo>
                    <a:lnTo>
                      <a:pt x="265" y="425"/>
                    </a:lnTo>
                    <a:lnTo>
                      <a:pt x="263" y="436"/>
                    </a:lnTo>
                    <a:lnTo>
                      <a:pt x="260" y="449"/>
                    </a:lnTo>
                    <a:lnTo>
                      <a:pt x="260" y="449"/>
                    </a:lnTo>
                    <a:lnTo>
                      <a:pt x="259" y="452"/>
                    </a:lnTo>
                    <a:lnTo>
                      <a:pt x="259" y="455"/>
                    </a:lnTo>
                    <a:lnTo>
                      <a:pt x="260" y="456"/>
                    </a:lnTo>
                    <a:lnTo>
                      <a:pt x="262" y="456"/>
                    </a:lnTo>
                    <a:lnTo>
                      <a:pt x="262" y="456"/>
                    </a:lnTo>
                    <a:lnTo>
                      <a:pt x="266" y="454"/>
                    </a:lnTo>
                    <a:lnTo>
                      <a:pt x="266" y="454"/>
                    </a:lnTo>
                    <a:lnTo>
                      <a:pt x="268" y="454"/>
                    </a:lnTo>
                    <a:lnTo>
                      <a:pt x="268" y="454"/>
                    </a:lnTo>
                    <a:lnTo>
                      <a:pt x="262" y="459"/>
                    </a:lnTo>
                    <a:lnTo>
                      <a:pt x="259" y="464"/>
                    </a:lnTo>
                    <a:lnTo>
                      <a:pt x="259" y="467"/>
                    </a:lnTo>
                    <a:lnTo>
                      <a:pt x="259" y="467"/>
                    </a:lnTo>
                    <a:lnTo>
                      <a:pt x="260" y="468"/>
                    </a:lnTo>
                    <a:lnTo>
                      <a:pt x="263" y="468"/>
                    </a:lnTo>
                    <a:lnTo>
                      <a:pt x="268" y="467"/>
                    </a:lnTo>
                    <a:lnTo>
                      <a:pt x="271" y="465"/>
                    </a:lnTo>
                    <a:lnTo>
                      <a:pt x="271" y="465"/>
                    </a:lnTo>
                    <a:lnTo>
                      <a:pt x="273" y="462"/>
                    </a:lnTo>
                    <a:lnTo>
                      <a:pt x="275" y="462"/>
                    </a:lnTo>
                    <a:lnTo>
                      <a:pt x="282" y="459"/>
                    </a:lnTo>
                    <a:lnTo>
                      <a:pt x="282" y="459"/>
                    </a:lnTo>
                    <a:lnTo>
                      <a:pt x="285" y="456"/>
                    </a:lnTo>
                    <a:lnTo>
                      <a:pt x="288" y="454"/>
                    </a:lnTo>
                    <a:lnTo>
                      <a:pt x="292" y="451"/>
                    </a:lnTo>
                    <a:lnTo>
                      <a:pt x="297" y="449"/>
                    </a:lnTo>
                    <a:lnTo>
                      <a:pt x="297" y="449"/>
                    </a:lnTo>
                    <a:lnTo>
                      <a:pt x="307" y="449"/>
                    </a:lnTo>
                    <a:lnTo>
                      <a:pt x="313" y="448"/>
                    </a:lnTo>
                    <a:lnTo>
                      <a:pt x="315" y="445"/>
                    </a:lnTo>
                    <a:lnTo>
                      <a:pt x="315" y="445"/>
                    </a:lnTo>
                    <a:lnTo>
                      <a:pt x="320" y="442"/>
                    </a:lnTo>
                    <a:lnTo>
                      <a:pt x="324" y="440"/>
                    </a:lnTo>
                    <a:lnTo>
                      <a:pt x="327" y="439"/>
                    </a:lnTo>
                    <a:lnTo>
                      <a:pt x="327" y="438"/>
                    </a:lnTo>
                    <a:lnTo>
                      <a:pt x="327" y="438"/>
                    </a:lnTo>
                    <a:lnTo>
                      <a:pt x="326" y="435"/>
                    </a:lnTo>
                    <a:lnTo>
                      <a:pt x="321" y="432"/>
                    </a:lnTo>
                    <a:lnTo>
                      <a:pt x="314" y="426"/>
                    </a:lnTo>
                    <a:lnTo>
                      <a:pt x="314" y="426"/>
                    </a:lnTo>
                    <a:lnTo>
                      <a:pt x="313" y="425"/>
                    </a:lnTo>
                    <a:lnTo>
                      <a:pt x="313" y="420"/>
                    </a:lnTo>
                    <a:lnTo>
                      <a:pt x="313" y="417"/>
                    </a:lnTo>
                    <a:lnTo>
                      <a:pt x="314" y="416"/>
                    </a:lnTo>
                    <a:lnTo>
                      <a:pt x="314" y="416"/>
                    </a:lnTo>
                    <a:lnTo>
                      <a:pt x="318" y="417"/>
                    </a:lnTo>
                    <a:lnTo>
                      <a:pt x="323" y="417"/>
                    </a:lnTo>
                    <a:lnTo>
                      <a:pt x="323" y="417"/>
                    </a:lnTo>
                    <a:lnTo>
                      <a:pt x="324" y="419"/>
                    </a:lnTo>
                    <a:lnTo>
                      <a:pt x="327" y="420"/>
                    </a:lnTo>
                    <a:lnTo>
                      <a:pt x="330" y="420"/>
                    </a:lnTo>
                    <a:lnTo>
                      <a:pt x="333" y="420"/>
                    </a:lnTo>
                    <a:lnTo>
                      <a:pt x="333" y="420"/>
                    </a:lnTo>
                    <a:lnTo>
                      <a:pt x="336" y="417"/>
                    </a:lnTo>
                    <a:lnTo>
                      <a:pt x="337" y="417"/>
                    </a:lnTo>
                    <a:lnTo>
                      <a:pt x="340" y="417"/>
                    </a:lnTo>
                    <a:lnTo>
                      <a:pt x="340" y="419"/>
                    </a:lnTo>
                    <a:lnTo>
                      <a:pt x="340" y="419"/>
                    </a:lnTo>
                    <a:lnTo>
                      <a:pt x="340" y="423"/>
                    </a:lnTo>
                    <a:lnTo>
                      <a:pt x="340" y="425"/>
                    </a:lnTo>
                    <a:lnTo>
                      <a:pt x="343" y="425"/>
                    </a:lnTo>
                    <a:lnTo>
                      <a:pt x="343" y="425"/>
                    </a:lnTo>
                    <a:lnTo>
                      <a:pt x="347" y="425"/>
                    </a:lnTo>
                    <a:lnTo>
                      <a:pt x="350" y="427"/>
                    </a:lnTo>
                    <a:lnTo>
                      <a:pt x="350" y="427"/>
                    </a:lnTo>
                    <a:lnTo>
                      <a:pt x="356" y="433"/>
                    </a:lnTo>
                    <a:lnTo>
                      <a:pt x="360" y="435"/>
                    </a:lnTo>
                    <a:lnTo>
                      <a:pt x="363" y="435"/>
                    </a:lnTo>
                    <a:lnTo>
                      <a:pt x="363" y="435"/>
                    </a:lnTo>
                    <a:lnTo>
                      <a:pt x="369" y="433"/>
                    </a:lnTo>
                    <a:lnTo>
                      <a:pt x="372" y="435"/>
                    </a:lnTo>
                    <a:lnTo>
                      <a:pt x="373" y="436"/>
                    </a:lnTo>
                    <a:lnTo>
                      <a:pt x="373" y="436"/>
                    </a:lnTo>
                    <a:lnTo>
                      <a:pt x="378" y="440"/>
                    </a:lnTo>
                    <a:lnTo>
                      <a:pt x="379" y="443"/>
                    </a:lnTo>
                    <a:lnTo>
                      <a:pt x="382" y="443"/>
                    </a:lnTo>
                    <a:lnTo>
                      <a:pt x="382" y="443"/>
                    </a:lnTo>
                    <a:lnTo>
                      <a:pt x="392" y="445"/>
                    </a:lnTo>
                    <a:lnTo>
                      <a:pt x="407" y="446"/>
                    </a:lnTo>
                    <a:lnTo>
                      <a:pt x="407" y="446"/>
                    </a:lnTo>
                    <a:lnTo>
                      <a:pt x="414" y="448"/>
                    </a:lnTo>
                    <a:lnTo>
                      <a:pt x="423" y="451"/>
                    </a:lnTo>
                    <a:lnTo>
                      <a:pt x="434" y="454"/>
                    </a:lnTo>
                    <a:lnTo>
                      <a:pt x="434" y="454"/>
                    </a:lnTo>
                    <a:lnTo>
                      <a:pt x="440" y="452"/>
                    </a:lnTo>
                    <a:lnTo>
                      <a:pt x="446" y="449"/>
                    </a:lnTo>
                    <a:lnTo>
                      <a:pt x="452" y="446"/>
                    </a:lnTo>
                    <a:lnTo>
                      <a:pt x="453" y="446"/>
                    </a:lnTo>
                    <a:lnTo>
                      <a:pt x="454" y="446"/>
                    </a:lnTo>
                    <a:lnTo>
                      <a:pt x="454" y="446"/>
                    </a:lnTo>
                    <a:lnTo>
                      <a:pt x="453" y="449"/>
                    </a:lnTo>
                    <a:lnTo>
                      <a:pt x="452" y="452"/>
                    </a:lnTo>
                    <a:lnTo>
                      <a:pt x="450" y="456"/>
                    </a:lnTo>
                    <a:lnTo>
                      <a:pt x="452" y="459"/>
                    </a:lnTo>
                    <a:lnTo>
                      <a:pt x="452" y="459"/>
                    </a:lnTo>
                    <a:lnTo>
                      <a:pt x="460" y="468"/>
                    </a:lnTo>
                    <a:lnTo>
                      <a:pt x="465" y="471"/>
                    </a:lnTo>
                    <a:lnTo>
                      <a:pt x="469" y="472"/>
                    </a:lnTo>
                    <a:lnTo>
                      <a:pt x="469" y="472"/>
                    </a:lnTo>
                    <a:lnTo>
                      <a:pt x="476" y="472"/>
                    </a:lnTo>
                    <a:lnTo>
                      <a:pt x="479" y="475"/>
                    </a:lnTo>
                    <a:lnTo>
                      <a:pt x="479" y="478"/>
                    </a:lnTo>
                    <a:lnTo>
                      <a:pt x="479" y="478"/>
                    </a:lnTo>
                    <a:lnTo>
                      <a:pt x="482" y="487"/>
                    </a:lnTo>
                    <a:lnTo>
                      <a:pt x="483" y="491"/>
                    </a:lnTo>
                    <a:lnTo>
                      <a:pt x="486" y="493"/>
                    </a:lnTo>
                    <a:lnTo>
                      <a:pt x="486" y="493"/>
                    </a:lnTo>
                    <a:lnTo>
                      <a:pt x="491" y="493"/>
                    </a:lnTo>
                    <a:lnTo>
                      <a:pt x="496" y="496"/>
                    </a:lnTo>
                    <a:lnTo>
                      <a:pt x="496" y="496"/>
                    </a:lnTo>
                    <a:lnTo>
                      <a:pt x="501" y="500"/>
                    </a:lnTo>
                    <a:lnTo>
                      <a:pt x="502" y="501"/>
                    </a:lnTo>
                    <a:lnTo>
                      <a:pt x="504" y="500"/>
                    </a:lnTo>
                    <a:lnTo>
                      <a:pt x="504" y="500"/>
                    </a:lnTo>
                    <a:lnTo>
                      <a:pt x="507" y="496"/>
                    </a:lnTo>
                    <a:lnTo>
                      <a:pt x="508" y="493"/>
                    </a:lnTo>
                    <a:lnTo>
                      <a:pt x="507" y="490"/>
                    </a:lnTo>
                    <a:lnTo>
                      <a:pt x="507" y="490"/>
                    </a:lnTo>
                    <a:lnTo>
                      <a:pt x="504" y="484"/>
                    </a:lnTo>
                    <a:lnTo>
                      <a:pt x="502" y="481"/>
                    </a:lnTo>
                    <a:lnTo>
                      <a:pt x="504" y="481"/>
                    </a:lnTo>
                    <a:lnTo>
                      <a:pt x="504" y="481"/>
                    </a:lnTo>
                    <a:lnTo>
                      <a:pt x="510" y="484"/>
                    </a:lnTo>
                    <a:lnTo>
                      <a:pt x="512" y="487"/>
                    </a:lnTo>
                    <a:lnTo>
                      <a:pt x="515" y="491"/>
                    </a:lnTo>
                    <a:lnTo>
                      <a:pt x="515" y="491"/>
                    </a:lnTo>
                    <a:lnTo>
                      <a:pt x="518" y="498"/>
                    </a:lnTo>
                    <a:lnTo>
                      <a:pt x="520" y="501"/>
                    </a:lnTo>
                    <a:lnTo>
                      <a:pt x="521" y="501"/>
                    </a:lnTo>
                    <a:lnTo>
                      <a:pt x="521" y="501"/>
                    </a:lnTo>
                    <a:lnTo>
                      <a:pt x="523" y="498"/>
                    </a:lnTo>
                    <a:lnTo>
                      <a:pt x="523" y="493"/>
                    </a:lnTo>
                    <a:lnTo>
                      <a:pt x="521" y="482"/>
                    </a:lnTo>
                    <a:lnTo>
                      <a:pt x="521" y="482"/>
                    </a:lnTo>
                    <a:lnTo>
                      <a:pt x="518" y="471"/>
                    </a:lnTo>
                    <a:lnTo>
                      <a:pt x="517" y="467"/>
                    </a:lnTo>
                    <a:lnTo>
                      <a:pt x="517" y="465"/>
                    </a:lnTo>
                    <a:lnTo>
                      <a:pt x="518" y="465"/>
                    </a:lnTo>
                    <a:lnTo>
                      <a:pt x="518" y="465"/>
                    </a:lnTo>
                    <a:lnTo>
                      <a:pt x="521" y="467"/>
                    </a:lnTo>
                    <a:lnTo>
                      <a:pt x="523" y="469"/>
                    </a:lnTo>
                    <a:lnTo>
                      <a:pt x="525" y="478"/>
                    </a:lnTo>
                    <a:lnTo>
                      <a:pt x="525" y="478"/>
                    </a:lnTo>
                    <a:lnTo>
                      <a:pt x="527" y="490"/>
                    </a:lnTo>
                    <a:lnTo>
                      <a:pt x="528" y="496"/>
                    </a:lnTo>
                    <a:lnTo>
                      <a:pt x="531" y="500"/>
                    </a:lnTo>
                    <a:lnTo>
                      <a:pt x="531" y="500"/>
                    </a:lnTo>
                    <a:lnTo>
                      <a:pt x="534" y="501"/>
                    </a:lnTo>
                    <a:lnTo>
                      <a:pt x="537" y="501"/>
                    </a:lnTo>
                    <a:lnTo>
                      <a:pt x="541" y="501"/>
                    </a:lnTo>
                    <a:lnTo>
                      <a:pt x="541" y="501"/>
                    </a:lnTo>
                    <a:lnTo>
                      <a:pt x="544" y="503"/>
                    </a:lnTo>
                    <a:lnTo>
                      <a:pt x="546" y="506"/>
                    </a:lnTo>
                    <a:lnTo>
                      <a:pt x="549" y="509"/>
                    </a:lnTo>
                    <a:lnTo>
                      <a:pt x="553" y="511"/>
                    </a:lnTo>
                    <a:lnTo>
                      <a:pt x="553" y="511"/>
                    </a:lnTo>
                    <a:lnTo>
                      <a:pt x="557" y="516"/>
                    </a:lnTo>
                    <a:lnTo>
                      <a:pt x="559" y="520"/>
                    </a:lnTo>
                    <a:lnTo>
                      <a:pt x="560" y="526"/>
                    </a:lnTo>
                    <a:lnTo>
                      <a:pt x="560" y="526"/>
                    </a:lnTo>
                    <a:lnTo>
                      <a:pt x="562" y="529"/>
                    </a:lnTo>
                    <a:lnTo>
                      <a:pt x="563" y="530"/>
                    </a:lnTo>
                    <a:lnTo>
                      <a:pt x="566" y="532"/>
                    </a:lnTo>
                    <a:lnTo>
                      <a:pt x="569" y="535"/>
                    </a:lnTo>
                    <a:lnTo>
                      <a:pt x="569" y="535"/>
                    </a:lnTo>
                    <a:lnTo>
                      <a:pt x="570" y="539"/>
                    </a:lnTo>
                    <a:lnTo>
                      <a:pt x="572" y="543"/>
                    </a:lnTo>
                    <a:lnTo>
                      <a:pt x="572" y="548"/>
                    </a:lnTo>
                    <a:lnTo>
                      <a:pt x="575" y="552"/>
                    </a:lnTo>
                    <a:lnTo>
                      <a:pt x="575" y="552"/>
                    </a:lnTo>
                    <a:lnTo>
                      <a:pt x="580" y="556"/>
                    </a:lnTo>
                    <a:lnTo>
                      <a:pt x="583" y="558"/>
                    </a:lnTo>
                    <a:lnTo>
                      <a:pt x="585" y="561"/>
                    </a:lnTo>
                    <a:lnTo>
                      <a:pt x="585" y="561"/>
                    </a:lnTo>
                    <a:lnTo>
                      <a:pt x="583" y="566"/>
                    </a:lnTo>
                    <a:lnTo>
                      <a:pt x="583" y="568"/>
                    </a:lnTo>
                    <a:lnTo>
                      <a:pt x="586" y="568"/>
                    </a:lnTo>
                    <a:lnTo>
                      <a:pt x="586" y="568"/>
                    </a:lnTo>
                    <a:lnTo>
                      <a:pt x="594" y="565"/>
                    </a:lnTo>
                    <a:lnTo>
                      <a:pt x="595" y="565"/>
                    </a:lnTo>
                    <a:lnTo>
                      <a:pt x="596" y="566"/>
                    </a:lnTo>
                    <a:lnTo>
                      <a:pt x="596" y="566"/>
                    </a:lnTo>
                    <a:lnTo>
                      <a:pt x="598" y="568"/>
                    </a:lnTo>
                    <a:lnTo>
                      <a:pt x="601" y="572"/>
                    </a:lnTo>
                    <a:lnTo>
                      <a:pt x="601" y="577"/>
                    </a:lnTo>
                    <a:lnTo>
                      <a:pt x="601" y="580"/>
                    </a:lnTo>
                    <a:lnTo>
                      <a:pt x="601" y="580"/>
                    </a:lnTo>
                    <a:lnTo>
                      <a:pt x="602" y="582"/>
                    </a:lnTo>
                    <a:lnTo>
                      <a:pt x="602" y="585"/>
                    </a:lnTo>
                    <a:lnTo>
                      <a:pt x="604" y="588"/>
                    </a:lnTo>
                    <a:lnTo>
                      <a:pt x="602" y="590"/>
                    </a:lnTo>
                    <a:lnTo>
                      <a:pt x="602" y="590"/>
                    </a:lnTo>
                    <a:lnTo>
                      <a:pt x="601" y="593"/>
                    </a:lnTo>
                    <a:lnTo>
                      <a:pt x="601" y="594"/>
                    </a:lnTo>
                    <a:lnTo>
                      <a:pt x="602" y="595"/>
                    </a:lnTo>
                    <a:lnTo>
                      <a:pt x="604" y="597"/>
                    </a:lnTo>
                    <a:lnTo>
                      <a:pt x="604" y="597"/>
                    </a:lnTo>
                    <a:lnTo>
                      <a:pt x="607" y="595"/>
                    </a:lnTo>
                    <a:lnTo>
                      <a:pt x="609" y="594"/>
                    </a:lnTo>
                    <a:lnTo>
                      <a:pt x="611" y="593"/>
                    </a:lnTo>
                    <a:lnTo>
                      <a:pt x="612" y="593"/>
                    </a:lnTo>
                    <a:lnTo>
                      <a:pt x="612" y="594"/>
                    </a:lnTo>
                    <a:lnTo>
                      <a:pt x="612" y="593"/>
                    </a:lnTo>
                    <a:lnTo>
                      <a:pt x="612" y="57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97" name="Freeform 248"/>
              <p:cNvSpPr>
                <a:spLocks/>
              </p:cNvSpPr>
              <p:nvPr/>
            </p:nvSpPr>
            <p:spPr bwMode="auto">
              <a:xfrm>
                <a:off x="1920784" y="2136951"/>
                <a:ext cx="29678" cy="18796"/>
              </a:xfrm>
              <a:custGeom>
                <a:avLst/>
                <a:gdLst>
                  <a:gd name="T0" fmla="*/ 27 w 30"/>
                  <a:gd name="T1" fmla="*/ 9 h 19"/>
                  <a:gd name="T2" fmla="*/ 27 w 30"/>
                  <a:gd name="T3" fmla="*/ 9 h 19"/>
                  <a:gd name="T4" fmla="*/ 22 w 30"/>
                  <a:gd name="T5" fmla="*/ 13 h 19"/>
                  <a:gd name="T6" fmla="*/ 14 w 30"/>
                  <a:gd name="T7" fmla="*/ 17 h 19"/>
                  <a:gd name="T8" fmla="*/ 10 w 30"/>
                  <a:gd name="T9" fmla="*/ 19 h 19"/>
                  <a:gd name="T10" fmla="*/ 6 w 30"/>
                  <a:gd name="T11" fmla="*/ 19 h 19"/>
                  <a:gd name="T12" fmla="*/ 3 w 30"/>
                  <a:gd name="T13" fmla="*/ 17 h 19"/>
                  <a:gd name="T14" fmla="*/ 0 w 30"/>
                  <a:gd name="T15" fmla="*/ 16 h 19"/>
                  <a:gd name="T16" fmla="*/ 0 w 30"/>
                  <a:gd name="T17" fmla="*/ 16 h 19"/>
                  <a:gd name="T18" fmla="*/ 0 w 30"/>
                  <a:gd name="T19" fmla="*/ 15 h 19"/>
                  <a:gd name="T20" fmla="*/ 1 w 30"/>
                  <a:gd name="T21" fmla="*/ 13 h 19"/>
                  <a:gd name="T22" fmla="*/ 4 w 30"/>
                  <a:gd name="T23" fmla="*/ 12 h 19"/>
                  <a:gd name="T24" fmla="*/ 11 w 30"/>
                  <a:gd name="T25" fmla="*/ 9 h 19"/>
                  <a:gd name="T26" fmla="*/ 11 w 30"/>
                  <a:gd name="T27" fmla="*/ 9 h 19"/>
                  <a:gd name="T28" fmla="*/ 20 w 30"/>
                  <a:gd name="T29" fmla="*/ 3 h 19"/>
                  <a:gd name="T30" fmla="*/ 24 w 30"/>
                  <a:gd name="T31" fmla="*/ 2 h 19"/>
                  <a:gd name="T32" fmla="*/ 27 w 30"/>
                  <a:gd name="T33" fmla="*/ 0 h 19"/>
                  <a:gd name="T34" fmla="*/ 27 w 30"/>
                  <a:gd name="T35" fmla="*/ 0 h 19"/>
                  <a:gd name="T36" fmla="*/ 29 w 30"/>
                  <a:gd name="T37" fmla="*/ 2 h 19"/>
                  <a:gd name="T38" fmla="*/ 30 w 30"/>
                  <a:gd name="T39" fmla="*/ 4 h 19"/>
                  <a:gd name="T40" fmla="*/ 30 w 30"/>
                  <a:gd name="T41" fmla="*/ 6 h 19"/>
                  <a:gd name="T42" fmla="*/ 27 w 30"/>
                  <a:gd name="T4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" h="19">
                    <a:moveTo>
                      <a:pt x="27" y="9"/>
                    </a:moveTo>
                    <a:lnTo>
                      <a:pt x="27" y="9"/>
                    </a:lnTo>
                    <a:lnTo>
                      <a:pt x="22" y="13"/>
                    </a:lnTo>
                    <a:lnTo>
                      <a:pt x="14" y="17"/>
                    </a:lnTo>
                    <a:lnTo>
                      <a:pt x="10" y="19"/>
                    </a:lnTo>
                    <a:lnTo>
                      <a:pt x="6" y="19"/>
                    </a:lnTo>
                    <a:lnTo>
                      <a:pt x="3" y="17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1" y="13"/>
                    </a:lnTo>
                    <a:lnTo>
                      <a:pt x="4" y="12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20" y="3"/>
                    </a:lnTo>
                    <a:lnTo>
                      <a:pt x="24" y="2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9" y="2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27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98" name="Freeform 249"/>
              <p:cNvSpPr>
                <a:spLocks/>
              </p:cNvSpPr>
              <p:nvPr/>
            </p:nvSpPr>
            <p:spPr bwMode="auto">
              <a:xfrm>
                <a:off x="1936612" y="2107274"/>
                <a:ext cx="22753" cy="19785"/>
              </a:xfrm>
              <a:custGeom>
                <a:avLst/>
                <a:gdLst>
                  <a:gd name="T0" fmla="*/ 23 w 23"/>
                  <a:gd name="T1" fmla="*/ 1 h 20"/>
                  <a:gd name="T2" fmla="*/ 23 w 23"/>
                  <a:gd name="T3" fmla="*/ 1 h 20"/>
                  <a:gd name="T4" fmla="*/ 19 w 23"/>
                  <a:gd name="T5" fmla="*/ 5 h 20"/>
                  <a:gd name="T6" fmla="*/ 16 w 23"/>
                  <a:gd name="T7" fmla="*/ 8 h 20"/>
                  <a:gd name="T8" fmla="*/ 13 w 23"/>
                  <a:gd name="T9" fmla="*/ 11 h 20"/>
                  <a:gd name="T10" fmla="*/ 13 w 23"/>
                  <a:gd name="T11" fmla="*/ 11 h 20"/>
                  <a:gd name="T12" fmla="*/ 7 w 23"/>
                  <a:gd name="T13" fmla="*/ 17 h 20"/>
                  <a:gd name="T14" fmla="*/ 4 w 23"/>
                  <a:gd name="T15" fmla="*/ 18 h 20"/>
                  <a:gd name="T16" fmla="*/ 0 w 23"/>
                  <a:gd name="T17" fmla="*/ 20 h 20"/>
                  <a:gd name="T18" fmla="*/ 0 w 23"/>
                  <a:gd name="T19" fmla="*/ 20 h 20"/>
                  <a:gd name="T20" fmla="*/ 0 w 23"/>
                  <a:gd name="T21" fmla="*/ 20 h 20"/>
                  <a:gd name="T22" fmla="*/ 0 w 23"/>
                  <a:gd name="T23" fmla="*/ 18 h 20"/>
                  <a:gd name="T24" fmla="*/ 1 w 23"/>
                  <a:gd name="T25" fmla="*/ 14 h 20"/>
                  <a:gd name="T26" fmla="*/ 4 w 23"/>
                  <a:gd name="T27" fmla="*/ 10 h 20"/>
                  <a:gd name="T28" fmla="*/ 8 w 23"/>
                  <a:gd name="T29" fmla="*/ 7 h 20"/>
                  <a:gd name="T30" fmla="*/ 8 w 23"/>
                  <a:gd name="T31" fmla="*/ 7 h 20"/>
                  <a:gd name="T32" fmla="*/ 19 w 23"/>
                  <a:gd name="T33" fmla="*/ 3 h 20"/>
                  <a:gd name="T34" fmla="*/ 22 w 23"/>
                  <a:gd name="T35" fmla="*/ 0 h 20"/>
                  <a:gd name="T36" fmla="*/ 23 w 23"/>
                  <a:gd name="T37" fmla="*/ 0 h 20"/>
                  <a:gd name="T38" fmla="*/ 23 w 23"/>
                  <a:gd name="T39" fmla="*/ 1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3" h="20">
                    <a:moveTo>
                      <a:pt x="23" y="1"/>
                    </a:moveTo>
                    <a:lnTo>
                      <a:pt x="23" y="1"/>
                    </a:lnTo>
                    <a:lnTo>
                      <a:pt x="19" y="5"/>
                    </a:lnTo>
                    <a:lnTo>
                      <a:pt x="16" y="8"/>
                    </a:lnTo>
                    <a:lnTo>
                      <a:pt x="13" y="11"/>
                    </a:lnTo>
                    <a:lnTo>
                      <a:pt x="13" y="11"/>
                    </a:lnTo>
                    <a:lnTo>
                      <a:pt x="7" y="17"/>
                    </a:lnTo>
                    <a:lnTo>
                      <a:pt x="4" y="1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4" y="10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19" y="3"/>
                    </a:lnTo>
                    <a:lnTo>
                      <a:pt x="22" y="0"/>
                    </a:lnTo>
                    <a:lnTo>
                      <a:pt x="23" y="0"/>
                    </a:lnTo>
                    <a:lnTo>
                      <a:pt x="23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99" name="Freeform 250"/>
              <p:cNvSpPr>
                <a:spLocks/>
              </p:cNvSpPr>
              <p:nvPr/>
            </p:nvSpPr>
            <p:spPr bwMode="auto">
              <a:xfrm>
                <a:off x="2982259" y="3028274"/>
                <a:ext cx="19785" cy="38581"/>
              </a:xfrm>
              <a:custGeom>
                <a:avLst/>
                <a:gdLst>
                  <a:gd name="T0" fmla="*/ 10 w 20"/>
                  <a:gd name="T1" fmla="*/ 39 h 39"/>
                  <a:gd name="T2" fmla="*/ 10 w 20"/>
                  <a:gd name="T3" fmla="*/ 39 h 39"/>
                  <a:gd name="T4" fmla="*/ 12 w 20"/>
                  <a:gd name="T5" fmla="*/ 38 h 39"/>
                  <a:gd name="T6" fmla="*/ 12 w 20"/>
                  <a:gd name="T7" fmla="*/ 38 h 39"/>
                  <a:gd name="T8" fmla="*/ 15 w 20"/>
                  <a:gd name="T9" fmla="*/ 35 h 39"/>
                  <a:gd name="T10" fmla="*/ 17 w 20"/>
                  <a:gd name="T11" fmla="*/ 32 h 39"/>
                  <a:gd name="T12" fmla="*/ 17 w 20"/>
                  <a:gd name="T13" fmla="*/ 29 h 39"/>
                  <a:gd name="T14" fmla="*/ 19 w 20"/>
                  <a:gd name="T15" fmla="*/ 25 h 39"/>
                  <a:gd name="T16" fmla="*/ 19 w 20"/>
                  <a:gd name="T17" fmla="*/ 25 h 39"/>
                  <a:gd name="T18" fmla="*/ 20 w 20"/>
                  <a:gd name="T19" fmla="*/ 12 h 39"/>
                  <a:gd name="T20" fmla="*/ 19 w 20"/>
                  <a:gd name="T21" fmla="*/ 1 h 39"/>
                  <a:gd name="T22" fmla="*/ 19 w 20"/>
                  <a:gd name="T23" fmla="*/ 1 h 39"/>
                  <a:gd name="T24" fmla="*/ 19 w 20"/>
                  <a:gd name="T25" fmla="*/ 0 h 39"/>
                  <a:gd name="T26" fmla="*/ 19 w 20"/>
                  <a:gd name="T27" fmla="*/ 0 h 39"/>
                  <a:gd name="T28" fmla="*/ 15 w 20"/>
                  <a:gd name="T29" fmla="*/ 1 h 39"/>
                  <a:gd name="T30" fmla="*/ 10 w 20"/>
                  <a:gd name="T31" fmla="*/ 4 h 39"/>
                  <a:gd name="T32" fmla="*/ 7 w 20"/>
                  <a:gd name="T33" fmla="*/ 7 h 39"/>
                  <a:gd name="T34" fmla="*/ 0 w 20"/>
                  <a:gd name="T35" fmla="*/ 7 h 39"/>
                  <a:gd name="T36" fmla="*/ 0 w 20"/>
                  <a:gd name="T37" fmla="*/ 39 h 39"/>
                  <a:gd name="T38" fmla="*/ 10 w 20"/>
                  <a:gd name="T3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" h="39">
                    <a:moveTo>
                      <a:pt x="10" y="39"/>
                    </a:moveTo>
                    <a:lnTo>
                      <a:pt x="10" y="39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5" y="35"/>
                    </a:lnTo>
                    <a:lnTo>
                      <a:pt x="17" y="32"/>
                    </a:lnTo>
                    <a:lnTo>
                      <a:pt x="17" y="29"/>
                    </a:lnTo>
                    <a:lnTo>
                      <a:pt x="19" y="25"/>
                    </a:lnTo>
                    <a:lnTo>
                      <a:pt x="19" y="25"/>
                    </a:lnTo>
                    <a:lnTo>
                      <a:pt x="20" y="12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1"/>
                    </a:lnTo>
                    <a:lnTo>
                      <a:pt x="10" y="4"/>
                    </a:lnTo>
                    <a:lnTo>
                      <a:pt x="7" y="7"/>
                    </a:lnTo>
                    <a:lnTo>
                      <a:pt x="0" y="7"/>
                    </a:lnTo>
                    <a:lnTo>
                      <a:pt x="0" y="39"/>
                    </a:lnTo>
                    <a:lnTo>
                      <a:pt x="10" y="3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00" name="Freeform 251"/>
              <p:cNvSpPr>
                <a:spLocks/>
              </p:cNvSpPr>
              <p:nvPr/>
            </p:nvSpPr>
            <p:spPr bwMode="auto">
              <a:xfrm>
                <a:off x="2934775" y="3035199"/>
                <a:ext cx="63313" cy="66280"/>
              </a:xfrm>
              <a:custGeom>
                <a:avLst/>
                <a:gdLst>
                  <a:gd name="T0" fmla="*/ 64 w 64"/>
                  <a:gd name="T1" fmla="*/ 38 h 67"/>
                  <a:gd name="T2" fmla="*/ 64 w 64"/>
                  <a:gd name="T3" fmla="*/ 38 h 67"/>
                  <a:gd name="T4" fmla="*/ 61 w 64"/>
                  <a:gd name="T5" fmla="*/ 38 h 67"/>
                  <a:gd name="T6" fmla="*/ 61 w 64"/>
                  <a:gd name="T7" fmla="*/ 38 h 67"/>
                  <a:gd name="T8" fmla="*/ 58 w 64"/>
                  <a:gd name="T9" fmla="*/ 35 h 67"/>
                  <a:gd name="T10" fmla="*/ 57 w 64"/>
                  <a:gd name="T11" fmla="*/ 34 h 67"/>
                  <a:gd name="T12" fmla="*/ 58 w 64"/>
                  <a:gd name="T13" fmla="*/ 32 h 67"/>
                  <a:gd name="T14" fmla="*/ 48 w 64"/>
                  <a:gd name="T15" fmla="*/ 32 h 67"/>
                  <a:gd name="T16" fmla="*/ 48 w 64"/>
                  <a:gd name="T17" fmla="*/ 0 h 67"/>
                  <a:gd name="T18" fmla="*/ 16 w 64"/>
                  <a:gd name="T19" fmla="*/ 0 h 67"/>
                  <a:gd name="T20" fmla="*/ 16 w 64"/>
                  <a:gd name="T21" fmla="*/ 0 h 67"/>
                  <a:gd name="T22" fmla="*/ 16 w 64"/>
                  <a:gd name="T23" fmla="*/ 2 h 67"/>
                  <a:gd name="T24" fmla="*/ 16 w 64"/>
                  <a:gd name="T25" fmla="*/ 9 h 67"/>
                  <a:gd name="T26" fmla="*/ 16 w 64"/>
                  <a:gd name="T27" fmla="*/ 9 h 67"/>
                  <a:gd name="T28" fmla="*/ 19 w 64"/>
                  <a:gd name="T29" fmla="*/ 15 h 67"/>
                  <a:gd name="T30" fmla="*/ 23 w 64"/>
                  <a:gd name="T31" fmla="*/ 21 h 67"/>
                  <a:gd name="T32" fmla="*/ 28 w 64"/>
                  <a:gd name="T33" fmla="*/ 28 h 67"/>
                  <a:gd name="T34" fmla="*/ 29 w 64"/>
                  <a:gd name="T35" fmla="*/ 29 h 67"/>
                  <a:gd name="T36" fmla="*/ 29 w 64"/>
                  <a:gd name="T37" fmla="*/ 32 h 67"/>
                  <a:gd name="T38" fmla="*/ 29 w 64"/>
                  <a:gd name="T39" fmla="*/ 32 h 67"/>
                  <a:gd name="T40" fmla="*/ 23 w 64"/>
                  <a:gd name="T41" fmla="*/ 35 h 67"/>
                  <a:gd name="T42" fmla="*/ 16 w 64"/>
                  <a:gd name="T43" fmla="*/ 36 h 67"/>
                  <a:gd name="T44" fmla="*/ 9 w 64"/>
                  <a:gd name="T45" fmla="*/ 38 h 67"/>
                  <a:gd name="T46" fmla="*/ 5 w 64"/>
                  <a:gd name="T47" fmla="*/ 39 h 67"/>
                  <a:gd name="T48" fmla="*/ 5 w 64"/>
                  <a:gd name="T49" fmla="*/ 39 h 67"/>
                  <a:gd name="T50" fmla="*/ 2 w 64"/>
                  <a:gd name="T51" fmla="*/ 45 h 67"/>
                  <a:gd name="T52" fmla="*/ 0 w 64"/>
                  <a:gd name="T53" fmla="*/ 55 h 67"/>
                  <a:gd name="T54" fmla="*/ 0 w 64"/>
                  <a:gd name="T55" fmla="*/ 55 h 67"/>
                  <a:gd name="T56" fmla="*/ 6 w 64"/>
                  <a:gd name="T57" fmla="*/ 61 h 67"/>
                  <a:gd name="T58" fmla="*/ 10 w 64"/>
                  <a:gd name="T59" fmla="*/ 63 h 67"/>
                  <a:gd name="T60" fmla="*/ 16 w 64"/>
                  <a:gd name="T61" fmla="*/ 64 h 67"/>
                  <a:gd name="T62" fmla="*/ 16 w 64"/>
                  <a:gd name="T63" fmla="*/ 64 h 67"/>
                  <a:gd name="T64" fmla="*/ 36 w 64"/>
                  <a:gd name="T65" fmla="*/ 67 h 67"/>
                  <a:gd name="T66" fmla="*/ 36 w 64"/>
                  <a:gd name="T67" fmla="*/ 67 h 67"/>
                  <a:gd name="T68" fmla="*/ 50 w 64"/>
                  <a:gd name="T69" fmla="*/ 54 h 67"/>
                  <a:gd name="T70" fmla="*/ 64 w 64"/>
                  <a:gd name="T71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4" h="67">
                    <a:moveTo>
                      <a:pt x="64" y="38"/>
                    </a:moveTo>
                    <a:lnTo>
                      <a:pt x="64" y="38"/>
                    </a:lnTo>
                    <a:lnTo>
                      <a:pt x="61" y="38"/>
                    </a:lnTo>
                    <a:lnTo>
                      <a:pt x="61" y="38"/>
                    </a:lnTo>
                    <a:lnTo>
                      <a:pt x="58" y="35"/>
                    </a:lnTo>
                    <a:lnTo>
                      <a:pt x="57" y="34"/>
                    </a:lnTo>
                    <a:lnTo>
                      <a:pt x="58" y="32"/>
                    </a:lnTo>
                    <a:lnTo>
                      <a:pt x="48" y="32"/>
                    </a:lnTo>
                    <a:lnTo>
                      <a:pt x="4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9" y="15"/>
                    </a:lnTo>
                    <a:lnTo>
                      <a:pt x="23" y="21"/>
                    </a:lnTo>
                    <a:lnTo>
                      <a:pt x="28" y="28"/>
                    </a:lnTo>
                    <a:lnTo>
                      <a:pt x="29" y="29"/>
                    </a:lnTo>
                    <a:lnTo>
                      <a:pt x="29" y="32"/>
                    </a:lnTo>
                    <a:lnTo>
                      <a:pt x="29" y="32"/>
                    </a:lnTo>
                    <a:lnTo>
                      <a:pt x="23" y="35"/>
                    </a:lnTo>
                    <a:lnTo>
                      <a:pt x="16" y="36"/>
                    </a:lnTo>
                    <a:lnTo>
                      <a:pt x="9" y="38"/>
                    </a:lnTo>
                    <a:lnTo>
                      <a:pt x="5" y="39"/>
                    </a:lnTo>
                    <a:lnTo>
                      <a:pt x="5" y="39"/>
                    </a:lnTo>
                    <a:lnTo>
                      <a:pt x="2" y="45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6" y="61"/>
                    </a:lnTo>
                    <a:lnTo>
                      <a:pt x="10" y="63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36" y="67"/>
                    </a:lnTo>
                    <a:lnTo>
                      <a:pt x="36" y="67"/>
                    </a:lnTo>
                    <a:lnTo>
                      <a:pt x="50" y="54"/>
                    </a:lnTo>
                    <a:lnTo>
                      <a:pt x="64" y="3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01" name="Freeform 252"/>
              <p:cNvSpPr>
                <a:spLocks/>
              </p:cNvSpPr>
              <p:nvPr/>
            </p:nvSpPr>
            <p:spPr bwMode="auto">
              <a:xfrm>
                <a:off x="2934775" y="3035199"/>
                <a:ext cx="63313" cy="66280"/>
              </a:xfrm>
              <a:custGeom>
                <a:avLst/>
                <a:gdLst>
                  <a:gd name="T0" fmla="*/ 64 w 64"/>
                  <a:gd name="T1" fmla="*/ 38 h 67"/>
                  <a:gd name="T2" fmla="*/ 64 w 64"/>
                  <a:gd name="T3" fmla="*/ 38 h 67"/>
                  <a:gd name="T4" fmla="*/ 61 w 64"/>
                  <a:gd name="T5" fmla="*/ 38 h 67"/>
                  <a:gd name="T6" fmla="*/ 61 w 64"/>
                  <a:gd name="T7" fmla="*/ 38 h 67"/>
                  <a:gd name="T8" fmla="*/ 58 w 64"/>
                  <a:gd name="T9" fmla="*/ 35 h 67"/>
                  <a:gd name="T10" fmla="*/ 57 w 64"/>
                  <a:gd name="T11" fmla="*/ 34 h 67"/>
                  <a:gd name="T12" fmla="*/ 58 w 64"/>
                  <a:gd name="T13" fmla="*/ 32 h 67"/>
                  <a:gd name="T14" fmla="*/ 48 w 64"/>
                  <a:gd name="T15" fmla="*/ 32 h 67"/>
                  <a:gd name="T16" fmla="*/ 48 w 64"/>
                  <a:gd name="T17" fmla="*/ 0 h 67"/>
                  <a:gd name="T18" fmla="*/ 16 w 64"/>
                  <a:gd name="T19" fmla="*/ 0 h 67"/>
                  <a:gd name="T20" fmla="*/ 16 w 64"/>
                  <a:gd name="T21" fmla="*/ 0 h 67"/>
                  <a:gd name="T22" fmla="*/ 16 w 64"/>
                  <a:gd name="T23" fmla="*/ 2 h 67"/>
                  <a:gd name="T24" fmla="*/ 16 w 64"/>
                  <a:gd name="T25" fmla="*/ 9 h 67"/>
                  <a:gd name="T26" fmla="*/ 16 w 64"/>
                  <a:gd name="T27" fmla="*/ 9 h 67"/>
                  <a:gd name="T28" fmla="*/ 19 w 64"/>
                  <a:gd name="T29" fmla="*/ 15 h 67"/>
                  <a:gd name="T30" fmla="*/ 23 w 64"/>
                  <a:gd name="T31" fmla="*/ 21 h 67"/>
                  <a:gd name="T32" fmla="*/ 28 w 64"/>
                  <a:gd name="T33" fmla="*/ 28 h 67"/>
                  <a:gd name="T34" fmla="*/ 29 w 64"/>
                  <a:gd name="T35" fmla="*/ 29 h 67"/>
                  <a:gd name="T36" fmla="*/ 29 w 64"/>
                  <a:gd name="T37" fmla="*/ 32 h 67"/>
                  <a:gd name="T38" fmla="*/ 29 w 64"/>
                  <a:gd name="T39" fmla="*/ 32 h 67"/>
                  <a:gd name="T40" fmla="*/ 23 w 64"/>
                  <a:gd name="T41" fmla="*/ 35 h 67"/>
                  <a:gd name="T42" fmla="*/ 16 w 64"/>
                  <a:gd name="T43" fmla="*/ 36 h 67"/>
                  <a:gd name="T44" fmla="*/ 9 w 64"/>
                  <a:gd name="T45" fmla="*/ 38 h 67"/>
                  <a:gd name="T46" fmla="*/ 5 w 64"/>
                  <a:gd name="T47" fmla="*/ 39 h 67"/>
                  <a:gd name="T48" fmla="*/ 5 w 64"/>
                  <a:gd name="T49" fmla="*/ 39 h 67"/>
                  <a:gd name="T50" fmla="*/ 2 w 64"/>
                  <a:gd name="T51" fmla="*/ 45 h 67"/>
                  <a:gd name="T52" fmla="*/ 0 w 64"/>
                  <a:gd name="T53" fmla="*/ 55 h 67"/>
                  <a:gd name="T54" fmla="*/ 0 w 64"/>
                  <a:gd name="T55" fmla="*/ 55 h 67"/>
                  <a:gd name="T56" fmla="*/ 6 w 64"/>
                  <a:gd name="T57" fmla="*/ 61 h 67"/>
                  <a:gd name="T58" fmla="*/ 10 w 64"/>
                  <a:gd name="T59" fmla="*/ 63 h 67"/>
                  <a:gd name="T60" fmla="*/ 16 w 64"/>
                  <a:gd name="T61" fmla="*/ 64 h 67"/>
                  <a:gd name="T62" fmla="*/ 16 w 64"/>
                  <a:gd name="T63" fmla="*/ 64 h 67"/>
                  <a:gd name="T64" fmla="*/ 36 w 64"/>
                  <a:gd name="T65" fmla="*/ 67 h 67"/>
                  <a:gd name="T66" fmla="*/ 36 w 64"/>
                  <a:gd name="T67" fmla="*/ 67 h 67"/>
                  <a:gd name="T68" fmla="*/ 50 w 64"/>
                  <a:gd name="T69" fmla="*/ 54 h 67"/>
                  <a:gd name="T70" fmla="*/ 64 w 64"/>
                  <a:gd name="T71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4" h="67">
                    <a:moveTo>
                      <a:pt x="64" y="38"/>
                    </a:moveTo>
                    <a:lnTo>
                      <a:pt x="64" y="38"/>
                    </a:lnTo>
                    <a:lnTo>
                      <a:pt x="61" y="38"/>
                    </a:lnTo>
                    <a:lnTo>
                      <a:pt x="61" y="38"/>
                    </a:lnTo>
                    <a:lnTo>
                      <a:pt x="58" y="35"/>
                    </a:lnTo>
                    <a:lnTo>
                      <a:pt x="57" y="34"/>
                    </a:lnTo>
                    <a:lnTo>
                      <a:pt x="58" y="32"/>
                    </a:lnTo>
                    <a:lnTo>
                      <a:pt x="48" y="32"/>
                    </a:lnTo>
                    <a:lnTo>
                      <a:pt x="4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9" y="15"/>
                    </a:lnTo>
                    <a:lnTo>
                      <a:pt x="23" y="21"/>
                    </a:lnTo>
                    <a:lnTo>
                      <a:pt x="28" y="28"/>
                    </a:lnTo>
                    <a:lnTo>
                      <a:pt x="29" y="29"/>
                    </a:lnTo>
                    <a:lnTo>
                      <a:pt x="29" y="32"/>
                    </a:lnTo>
                    <a:lnTo>
                      <a:pt x="29" y="32"/>
                    </a:lnTo>
                    <a:lnTo>
                      <a:pt x="23" y="35"/>
                    </a:lnTo>
                    <a:lnTo>
                      <a:pt x="16" y="36"/>
                    </a:lnTo>
                    <a:lnTo>
                      <a:pt x="9" y="38"/>
                    </a:lnTo>
                    <a:lnTo>
                      <a:pt x="5" y="39"/>
                    </a:lnTo>
                    <a:lnTo>
                      <a:pt x="5" y="39"/>
                    </a:lnTo>
                    <a:lnTo>
                      <a:pt x="2" y="45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6" y="61"/>
                    </a:lnTo>
                    <a:lnTo>
                      <a:pt x="10" y="63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36" y="67"/>
                    </a:lnTo>
                    <a:lnTo>
                      <a:pt x="36" y="67"/>
                    </a:lnTo>
                    <a:lnTo>
                      <a:pt x="50" y="54"/>
                    </a:lnTo>
                    <a:lnTo>
                      <a:pt x="64" y="3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02" name="Freeform 253"/>
              <p:cNvSpPr>
                <a:spLocks/>
              </p:cNvSpPr>
              <p:nvPr/>
            </p:nvSpPr>
            <p:spPr bwMode="auto">
              <a:xfrm>
                <a:off x="3479857" y="3816714"/>
                <a:ext cx="88044" cy="88044"/>
              </a:xfrm>
              <a:custGeom>
                <a:avLst/>
                <a:gdLst>
                  <a:gd name="T0" fmla="*/ 58 w 89"/>
                  <a:gd name="T1" fmla="*/ 21 h 89"/>
                  <a:gd name="T2" fmla="*/ 58 w 89"/>
                  <a:gd name="T3" fmla="*/ 21 h 89"/>
                  <a:gd name="T4" fmla="*/ 42 w 89"/>
                  <a:gd name="T5" fmla="*/ 13 h 89"/>
                  <a:gd name="T6" fmla="*/ 29 w 89"/>
                  <a:gd name="T7" fmla="*/ 4 h 89"/>
                  <a:gd name="T8" fmla="*/ 29 w 89"/>
                  <a:gd name="T9" fmla="*/ 4 h 89"/>
                  <a:gd name="T10" fmla="*/ 23 w 89"/>
                  <a:gd name="T11" fmla="*/ 1 h 89"/>
                  <a:gd name="T12" fmla="*/ 16 w 89"/>
                  <a:gd name="T13" fmla="*/ 0 h 89"/>
                  <a:gd name="T14" fmla="*/ 16 w 89"/>
                  <a:gd name="T15" fmla="*/ 0 h 89"/>
                  <a:gd name="T16" fmla="*/ 10 w 89"/>
                  <a:gd name="T17" fmla="*/ 4 h 89"/>
                  <a:gd name="T18" fmla="*/ 8 w 89"/>
                  <a:gd name="T19" fmla="*/ 5 h 89"/>
                  <a:gd name="T20" fmla="*/ 8 w 89"/>
                  <a:gd name="T21" fmla="*/ 8 h 89"/>
                  <a:gd name="T22" fmla="*/ 8 w 89"/>
                  <a:gd name="T23" fmla="*/ 8 h 89"/>
                  <a:gd name="T24" fmla="*/ 7 w 89"/>
                  <a:gd name="T25" fmla="*/ 27 h 89"/>
                  <a:gd name="T26" fmla="*/ 5 w 89"/>
                  <a:gd name="T27" fmla="*/ 40 h 89"/>
                  <a:gd name="T28" fmla="*/ 4 w 89"/>
                  <a:gd name="T29" fmla="*/ 50 h 89"/>
                  <a:gd name="T30" fmla="*/ 4 w 89"/>
                  <a:gd name="T31" fmla="*/ 50 h 89"/>
                  <a:gd name="T32" fmla="*/ 1 w 89"/>
                  <a:gd name="T33" fmla="*/ 62 h 89"/>
                  <a:gd name="T34" fmla="*/ 0 w 89"/>
                  <a:gd name="T35" fmla="*/ 75 h 89"/>
                  <a:gd name="T36" fmla="*/ 0 w 89"/>
                  <a:gd name="T37" fmla="*/ 75 h 89"/>
                  <a:gd name="T38" fmla="*/ 10 w 89"/>
                  <a:gd name="T39" fmla="*/ 79 h 89"/>
                  <a:gd name="T40" fmla="*/ 10 w 89"/>
                  <a:gd name="T41" fmla="*/ 79 h 89"/>
                  <a:gd name="T42" fmla="*/ 13 w 89"/>
                  <a:gd name="T43" fmla="*/ 81 h 89"/>
                  <a:gd name="T44" fmla="*/ 16 w 89"/>
                  <a:gd name="T45" fmla="*/ 81 h 89"/>
                  <a:gd name="T46" fmla="*/ 20 w 89"/>
                  <a:gd name="T47" fmla="*/ 81 h 89"/>
                  <a:gd name="T48" fmla="*/ 23 w 89"/>
                  <a:gd name="T49" fmla="*/ 82 h 89"/>
                  <a:gd name="T50" fmla="*/ 23 w 89"/>
                  <a:gd name="T51" fmla="*/ 82 h 89"/>
                  <a:gd name="T52" fmla="*/ 27 w 89"/>
                  <a:gd name="T53" fmla="*/ 87 h 89"/>
                  <a:gd name="T54" fmla="*/ 32 w 89"/>
                  <a:gd name="T55" fmla="*/ 88 h 89"/>
                  <a:gd name="T56" fmla="*/ 37 w 89"/>
                  <a:gd name="T57" fmla="*/ 89 h 89"/>
                  <a:gd name="T58" fmla="*/ 37 w 89"/>
                  <a:gd name="T59" fmla="*/ 89 h 89"/>
                  <a:gd name="T60" fmla="*/ 53 w 89"/>
                  <a:gd name="T61" fmla="*/ 88 h 89"/>
                  <a:gd name="T62" fmla="*/ 62 w 89"/>
                  <a:gd name="T63" fmla="*/ 87 h 89"/>
                  <a:gd name="T64" fmla="*/ 68 w 89"/>
                  <a:gd name="T65" fmla="*/ 84 h 89"/>
                  <a:gd name="T66" fmla="*/ 68 w 89"/>
                  <a:gd name="T67" fmla="*/ 84 h 89"/>
                  <a:gd name="T68" fmla="*/ 75 w 89"/>
                  <a:gd name="T69" fmla="*/ 76 h 89"/>
                  <a:gd name="T70" fmla="*/ 82 w 89"/>
                  <a:gd name="T71" fmla="*/ 68 h 89"/>
                  <a:gd name="T72" fmla="*/ 82 w 89"/>
                  <a:gd name="T73" fmla="*/ 68 h 89"/>
                  <a:gd name="T74" fmla="*/ 87 w 89"/>
                  <a:gd name="T75" fmla="*/ 59 h 89"/>
                  <a:gd name="T76" fmla="*/ 89 w 89"/>
                  <a:gd name="T77" fmla="*/ 52 h 89"/>
                  <a:gd name="T78" fmla="*/ 89 w 89"/>
                  <a:gd name="T79" fmla="*/ 52 h 89"/>
                  <a:gd name="T80" fmla="*/ 82 w 89"/>
                  <a:gd name="T81" fmla="*/ 46 h 89"/>
                  <a:gd name="T82" fmla="*/ 75 w 89"/>
                  <a:gd name="T83" fmla="*/ 39 h 89"/>
                  <a:gd name="T84" fmla="*/ 75 w 89"/>
                  <a:gd name="T85" fmla="*/ 39 h 89"/>
                  <a:gd name="T86" fmla="*/ 69 w 89"/>
                  <a:gd name="T87" fmla="*/ 33 h 89"/>
                  <a:gd name="T88" fmla="*/ 68 w 89"/>
                  <a:gd name="T89" fmla="*/ 29 h 89"/>
                  <a:gd name="T90" fmla="*/ 63 w 89"/>
                  <a:gd name="T91" fmla="*/ 26 h 89"/>
                  <a:gd name="T92" fmla="*/ 58 w 89"/>
                  <a:gd name="T93" fmla="*/ 21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9" h="89">
                    <a:moveTo>
                      <a:pt x="58" y="21"/>
                    </a:moveTo>
                    <a:lnTo>
                      <a:pt x="58" y="21"/>
                    </a:lnTo>
                    <a:lnTo>
                      <a:pt x="42" y="13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3" y="1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4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7" y="27"/>
                    </a:lnTo>
                    <a:lnTo>
                      <a:pt x="5" y="4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1" y="62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10" y="79"/>
                    </a:lnTo>
                    <a:lnTo>
                      <a:pt x="10" y="79"/>
                    </a:lnTo>
                    <a:lnTo>
                      <a:pt x="13" y="81"/>
                    </a:lnTo>
                    <a:lnTo>
                      <a:pt x="16" y="81"/>
                    </a:lnTo>
                    <a:lnTo>
                      <a:pt x="20" y="81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7" y="87"/>
                    </a:lnTo>
                    <a:lnTo>
                      <a:pt x="32" y="88"/>
                    </a:lnTo>
                    <a:lnTo>
                      <a:pt x="37" y="89"/>
                    </a:lnTo>
                    <a:lnTo>
                      <a:pt x="37" y="89"/>
                    </a:lnTo>
                    <a:lnTo>
                      <a:pt x="53" y="88"/>
                    </a:lnTo>
                    <a:lnTo>
                      <a:pt x="62" y="87"/>
                    </a:lnTo>
                    <a:lnTo>
                      <a:pt x="68" y="84"/>
                    </a:lnTo>
                    <a:lnTo>
                      <a:pt x="68" y="84"/>
                    </a:lnTo>
                    <a:lnTo>
                      <a:pt x="75" y="76"/>
                    </a:lnTo>
                    <a:lnTo>
                      <a:pt x="82" y="68"/>
                    </a:lnTo>
                    <a:lnTo>
                      <a:pt x="82" y="68"/>
                    </a:lnTo>
                    <a:lnTo>
                      <a:pt x="87" y="59"/>
                    </a:lnTo>
                    <a:lnTo>
                      <a:pt x="89" y="52"/>
                    </a:lnTo>
                    <a:lnTo>
                      <a:pt x="89" y="52"/>
                    </a:lnTo>
                    <a:lnTo>
                      <a:pt x="82" y="46"/>
                    </a:lnTo>
                    <a:lnTo>
                      <a:pt x="75" y="39"/>
                    </a:lnTo>
                    <a:lnTo>
                      <a:pt x="75" y="39"/>
                    </a:lnTo>
                    <a:lnTo>
                      <a:pt x="69" y="33"/>
                    </a:lnTo>
                    <a:lnTo>
                      <a:pt x="68" y="29"/>
                    </a:lnTo>
                    <a:lnTo>
                      <a:pt x="63" y="26"/>
                    </a:lnTo>
                    <a:lnTo>
                      <a:pt x="58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03" name="Freeform 254"/>
              <p:cNvSpPr>
                <a:spLocks/>
              </p:cNvSpPr>
              <p:nvPr/>
            </p:nvSpPr>
            <p:spPr bwMode="auto">
              <a:xfrm>
                <a:off x="3479857" y="3816714"/>
                <a:ext cx="88044" cy="88044"/>
              </a:xfrm>
              <a:custGeom>
                <a:avLst/>
                <a:gdLst>
                  <a:gd name="T0" fmla="*/ 58 w 89"/>
                  <a:gd name="T1" fmla="*/ 21 h 89"/>
                  <a:gd name="T2" fmla="*/ 58 w 89"/>
                  <a:gd name="T3" fmla="*/ 21 h 89"/>
                  <a:gd name="T4" fmla="*/ 42 w 89"/>
                  <a:gd name="T5" fmla="*/ 13 h 89"/>
                  <a:gd name="T6" fmla="*/ 29 w 89"/>
                  <a:gd name="T7" fmla="*/ 4 h 89"/>
                  <a:gd name="T8" fmla="*/ 29 w 89"/>
                  <a:gd name="T9" fmla="*/ 4 h 89"/>
                  <a:gd name="T10" fmla="*/ 23 w 89"/>
                  <a:gd name="T11" fmla="*/ 1 h 89"/>
                  <a:gd name="T12" fmla="*/ 16 w 89"/>
                  <a:gd name="T13" fmla="*/ 0 h 89"/>
                  <a:gd name="T14" fmla="*/ 16 w 89"/>
                  <a:gd name="T15" fmla="*/ 0 h 89"/>
                  <a:gd name="T16" fmla="*/ 10 w 89"/>
                  <a:gd name="T17" fmla="*/ 4 h 89"/>
                  <a:gd name="T18" fmla="*/ 8 w 89"/>
                  <a:gd name="T19" fmla="*/ 5 h 89"/>
                  <a:gd name="T20" fmla="*/ 8 w 89"/>
                  <a:gd name="T21" fmla="*/ 8 h 89"/>
                  <a:gd name="T22" fmla="*/ 8 w 89"/>
                  <a:gd name="T23" fmla="*/ 8 h 89"/>
                  <a:gd name="T24" fmla="*/ 7 w 89"/>
                  <a:gd name="T25" fmla="*/ 27 h 89"/>
                  <a:gd name="T26" fmla="*/ 5 w 89"/>
                  <a:gd name="T27" fmla="*/ 40 h 89"/>
                  <a:gd name="T28" fmla="*/ 4 w 89"/>
                  <a:gd name="T29" fmla="*/ 50 h 89"/>
                  <a:gd name="T30" fmla="*/ 4 w 89"/>
                  <a:gd name="T31" fmla="*/ 50 h 89"/>
                  <a:gd name="T32" fmla="*/ 1 w 89"/>
                  <a:gd name="T33" fmla="*/ 62 h 89"/>
                  <a:gd name="T34" fmla="*/ 0 w 89"/>
                  <a:gd name="T35" fmla="*/ 75 h 89"/>
                  <a:gd name="T36" fmla="*/ 0 w 89"/>
                  <a:gd name="T37" fmla="*/ 75 h 89"/>
                  <a:gd name="T38" fmla="*/ 10 w 89"/>
                  <a:gd name="T39" fmla="*/ 79 h 89"/>
                  <a:gd name="T40" fmla="*/ 10 w 89"/>
                  <a:gd name="T41" fmla="*/ 79 h 89"/>
                  <a:gd name="T42" fmla="*/ 13 w 89"/>
                  <a:gd name="T43" fmla="*/ 81 h 89"/>
                  <a:gd name="T44" fmla="*/ 16 w 89"/>
                  <a:gd name="T45" fmla="*/ 81 h 89"/>
                  <a:gd name="T46" fmla="*/ 20 w 89"/>
                  <a:gd name="T47" fmla="*/ 81 h 89"/>
                  <a:gd name="T48" fmla="*/ 23 w 89"/>
                  <a:gd name="T49" fmla="*/ 82 h 89"/>
                  <a:gd name="T50" fmla="*/ 23 w 89"/>
                  <a:gd name="T51" fmla="*/ 82 h 89"/>
                  <a:gd name="T52" fmla="*/ 27 w 89"/>
                  <a:gd name="T53" fmla="*/ 87 h 89"/>
                  <a:gd name="T54" fmla="*/ 32 w 89"/>
                  <a:gd name="T55" fmla="*/ 88 h 89"/>
                  <a:gd name="T56" fmla="*/ 37 w 89"/>
                  <a:gd name="T57" fmla="*/ 89 h 89"/>
                  <a:gd name="T58" fmla="*/ 37 w 89"/>
                  <a:gd name="T59" fmla="*/ 89 h 89"/>
                  <a:gd name="T60" fmla="*/ 53 w 89"/>
                  <a:gd name="T61" fmla="*/ 88 h 89"/>
                  <a:gd name="T62" fmla="*/ 62 w 89"/>
                  <a:gd name="T63" fmla="*/ 87 h 89"/>
                  <a:gd name="T64" fmla="*/ 68 w 89"/>
                  <a:gd name="T65" fmla="*/ 84 h 89"/>
                  <a:gd name="T66" fmla="*/ 68 w 89"/>
                  <a:gd name="T67" fmla="*/ 84 h 89"/>
                  <a:gd name="T68" fmla="*/ 75 w 89"/>
                  <a:gd name="T69" fmla="*/ 76 h 89"/>
                  <a:gd name="T70" fmla="*/ 82 w 89"/>
                  <a:gd name="T71" fmla="*/ 68 h 89"/>
                  <a:gd name="T72" fmla="*/ 82 w 89"/>
                  <a:gd name="T73" fmla="*/ 68 h 89"/>
                  <a:gd name="T74" fmla="*/ 87 w 89"/>
                  <a:gd name="T75" fmla="*/ 59 h 89"/>
                  <a:gd name="T76" fmla="*/ 89 w 89"/>
                  <a:gd name="T77" fmla="*/ 52 h 89"/>
                  <a:gd name="T78" fmla="*/ 89 w 89"/>
                  <a:gd name="T79" fmla="*/ 52 h 89"/>
                  <a:gd name="T80" fmla="*/ 82 w 89"/>
                  <a:gd name="T81" fmla="*/ 46 h 89"/>
                  <a:gd name="T82" fmla="*/ 75 w 89"/>
                  <a:gd name="T83" fmla="*/ 39 h 89"/>
                  <a:gd name="T84" fmla="*/ 75 w 89"/>
                  <a:gd name="T85" fmla="*/ 39 h 89"/>
                  <a:gd name="T86" fmla="*/ 69 w 89"/>
                  <a:gd name="T87" fmla="*/ 33 h 89"/>
                  <a:gd name="T88" fmla="*/ 68 w 89"/>
                  <a:gd name="T89" fmla="*/ 29 h 89"/>
                  <a:gd name="T90" fmla="*/ 63 w 89"/>
                  <a:gd name="T91" fmla="*/ 26 h 89"/>
                  <a:gd name="T92" fmla="*/ 58 w 89"/>
                  <a:gd name="T93" fmla="*/ 21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9" h="89">
                    <a:moveTo>
                      <a:pt x="58" y="21"/>
                    </a:moveTo>
                    <a:lnTo>
                      <a:pt x="58" y="21"/>
                    </a:lnTo>
                    <a:lnTo>
                      <a:pt x="42" y="13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3" y="1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4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7" y="27"/>
                    </a:lnTo>
                    <a:lnTo>
                      <a:pt x="5" y="4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1" y="62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10" y="79"/>
                    </a:lnTo>
                    <a:lnTo>
                      <a:pt x="10" y="79"/>
                    </a:lnTo>
                    <a:lnTo>
                      <a:pt x="13" y="81"/>
                    </a:lnTo>
                    <a:lnTo>
                      <a:pt x="16" y="81"/>
                    </a:lnTo>
                    <a:lnTo>
                      <a:pt x="20" y="81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7" y="87"/>
                    </a:lnTo>
                    <a:lnTo>
                      <a:pt x="32" y="88"/>
                    </a:lnTo>
                    <a:lnTo>
                      <a:pt x="37" y="89"/>
                    </a:lnTo>
                    <a:lnTo>
                      <a:pt x="37" y="89"/>
                    </a:lnTo>
                    <a:lnTo>
                      <a:pt x="53" y="88"/>
                    </a:lnTo>
                    <a:lnTo>
                      <a:pt x="62" y="87"/>
                    </a:lnTo>
                    <a:lnTo>
                      <a:pt x="68" y="84"/>
                    </a:lnTo>
                    <a:lnTo>
                      <a:pt x="68" y="84"/>
                    </a:lnTo>
                    <a:lnTo>
                      <a:pt x="75" y="76"/>
                    </a:lnTo>
                    <a:lnTo>
                      <a:pt x="82" y="68"/>
                    </a:lnTo>
                    <a:lnTo>
                      <a:pt x="82" y="68"/>
                    </a:lnTo>
                    <a:lnTo>
                      <a:pt x="87" y="59"/>
                    </a:lnTo>
                    <a:lnTo>
                      <a:pt x="89" y="52"/>
                    </a:lnTo>
                    <a:lnTo>
                      <a:pt x="89" y="52"/>
                    </a:lnTo>
                    <a:lnTo>
                      <a:pt x="82" y="46"/>
                    </a:lnTo>
                    <a:lnTo>
                      <a:pt x="75" y="39"/>
                    </a:lnTo>
                    <a:lnTo>
                      <a:pt x="75" y="39"/>
                    </a:lnTo>
                    <a:lnTo>
                      <a:pt x="69" y="33"/>
                    </a:lnTo>
                    <a:lnTo>
                      <a:pt x="68" y="29"/>
                    </a:lnTo>
                    <a:lnTo>
                      <a:pt x="63" y="26"/>
                    </a:lnTo>
                    <a:lnTo>
                      <a:pt x="58" y="2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04" name="Freeform 255"/>
              <p:cNvSpPr>
                <a:spLocks noEditPoints="1"/>
              </p:cNvSpPr>
              <p:nvPr/>
            </p:nvSpPr>
            <p:spPr bwMode="auto">
              <a:xfrm>
                <a:off x="3222649" y="3242944"/>
                <a:ext cx="632137" cy="625212"/>
              </a:xfrm>
              <a:custGeom>
                <a:avLst/>
                <a:gdLst>
                  <a:gd name="T0" fmla="*/ 620 w 639"/>
                  <a:gd name="T1" fmla="*/ 157 h 632"/>
                  <a:gd name="T2" fmla="*/ 568 w 639"/>
                  <a:gd name="T3" fmla="*/ 136 h 632"/>
                  <a:gd name="T4" fmla="*/ 513 w 639"/>
                  <a:gd name="T5" fmla="*/ 125 h 632"/>
                  <a:gd name="T6" fmla="*/ 481 w 639"/>
                  <a:gd name="T7" fmla="*/ 119 h 632"/>
                  <a:gd name="T8" fmla="*/ 436 w 639"/>
                  <a:gd name="T9" fmla="*/ 92 h 632"/>
                  <a:gd name="T10" fmla="*/ 412 w 639"/>
                  <a:gd name="T11" fmla="*/ 112 h 632"/>
                  <a:gd name="T12" fmla="*/ 418 w 639"/>
                  <a:gd name="T13" fmla="*/ 87 h 632"/>
                  <a:gd name="T14" fmla="*/ 391 w 639"/>
                  <a:gd name="T15" fmla="*/ 78 h 632"/>
                  <a:gd name="T16" fmla="*/ 378 w 639"/>
                  <a:gd name="T17" fmla="*/ 86 h 632"/>
                  <a:gd name="T18" fmla="*/ 394 w 639"/>
                  <a:gd name="T19" fmla="*/ 60 h 632"/>
                  <a:gd name="T20" fmla="*/ 373 w 639"/>
                  <a:gd name="T21" fmla="*/ 21 h 632"/>
                  <a:gd name="T22" fmla="*/ 336 w 639"/>
                  <a:gd name="T23" fmla="*/ 50 h 632"/>
                  <a:gd name="T24" fmla="*/ 300 w 639"/>
                  <a:gd name="T25" fmla="*/ 47 h 632"/>
                  <a:gd name="T26" fmla="*/ 258 w 639"/>
                  <a:gd name="T27" fmla="*/ 63 h 632"/>
                  <a:gd name="T28" fmla="*/ 236 w 639"/>
                  <a:gd name="T29" fmla="*/ 45 h 632"/>
                  <a:gd name="T30" fmla="*/ 225 w 639"/>
                  <a:gd name="T31" fmla="*/ 0 h 632"/>
                  <a:gd name="T32" fmla="*/ 203 w 639"/>
                  <a:gd name="T33" fmla="*/ 19 h 632"/>
                  <a:gd name="T34" fmla="*/ 157 w 639"/>
                  <a:gd name="T35" fmla="*/ 15 h 632"/>
                  <a:gd name="T36" fmla="*/ 167 w 639"/>
                  <a:gd name="T37" fmla="*/ 50 h 632"/>
                  <a:gd name="T38" fmla="*/ 137 w 639"/>
                  <a:gd name="T39" fmla="*/ 70 h 632"/>
                  <a:gd name="T40" fmla="*/ 105 w 639"/>
                  <a:gd name="T41" fmla="*/ 54 h 632"/>
                  <a:gd name="T42" fmla="*/ 87 w 639"/>
                  <a:gd name="T43" fmla="*/ 65 h 632"/>
                  <a:gd name="T44" fmla="*/ 76 w 639"/>
                  <a:gd name="T45" fmla="*/ 84 h 632"/>
                  <a:gd name="T46" fmla="*/ 70 w 639"/>
                  <a:gd name="T47" fmla="*/ 134 h 632"/>
                  <a:gd name="T48" fmla="*/ 53 w 639"/>
                  <a:gd name="T49" fmla="*/ 151 h 632"/>
                  <a:gd name="T50" fmla="*/ 31 w 639"/>
                  <a:gd name="T51" fmla="*/ 154 h 632"/>
                  <a:gd name="T52" fmla="*/ 11 w 639"/>
                  <a:gd name="T53" fmla="*/ 177 h 632"/>
                  <a:gd name="T54" fmla="*/ 11 w 639"/>
                  <a:gd name="T55" fmla="*/ 218 h 632"/>
                  <a:gd name="T56" fmla="*/ 50 w 639"/>
                  <a:gd name="T57" fmla="*/ 225 h 632"/>
                  <a:gd name="T58" fmla="*/ 61 w 639"/>
                  <a:gd name="T59" fmla="*/ 247 h 632"/>
                  <a:gd name="T60" fmla="*/ 109 w 639"/>
                  <a:gd name="T61" fmla="*/ 238 h 632"/>
                  <a:gd name="T62" fmla="*/ 141 w 639"/>
                  <a:gd name="T63" fmla="*/ 231 h 632"/>
                  <a:gd name="T64" fmla="*/ 157 w 639"/>
                  <a:gd name="T65" fmla="*/ 270 h 632"/>
                  <a:gd name="T66" fmla="*/ 199 w 639"/>
                  <a:gd name="T67" fmla="*/ 289 h 632"/>
                  <a:gd name="T68" fmla="*/ 223 w 639"/>
                  <a:gd name="T69" fmla="*/ 299 h 632"/>
                  <a:gd name="T70" fmla="*/ 236 w 639"/>
                  <a:gd name="T71" fmla="*/ 331 h 632"/>
                  <a:gd name="T72" fmla="*/ 258 w 639"/>
                  <a:gd name="T73" fmla="*/ 335 h 632"/>
                  <a:gd name="T74" fmla="*/ 270 w 639"/>
                  <a:gd name="T75" fmla="*/ 358 h 632"/>
                  <a:gd name="T76" fmla="*/ 265 w 639"/>
                  <a:gd name="T77" fmla="*/ 401 h 632"/>
                  <a:gd name="T78" fmla="*/ 296 w 639"/>
                  <a:gd name="T79" fmla="*/ 435 h 632"/>
                  <a:gd name="T80" fmla="*/ 309 w 639"/>
                  <a:gd name="T81" fmla="*/ 458 h 632"/>
                  <a:gd name="T82" fmla="*/ 316 w 639"/>
                  <a:gd name="T83" fmla="*/ 487 h 632"/>
                  <a:gd name="T84" fmla="*/ 329 w 639"/>
                  <a:gd name="T85" fmla="*/ 516 h 632"/>
                  <a:gd name="T86" fmla="*/ 287 w 639"/>
                  <a:gd name="T87" fmla="*/ 556 h 632"/>
                  <a:gd name="T88" fmla="*/ 289 w 639"/>
                  <a:gd name="T89" fmla="*/ 584 h 632"/>
                  <a:gd name="T90" fmla="*/ 335 w 639"/>
                  <a:gd name="T91" fmla="*/ 619 h 632"/>
                  <a:gd name="T92" fmla="*/ 352 w 639"/>
                  <a:gd name="T93" fmla="*/ 623 h 632"/>
                  <a:gd name="T94" fmla="*/ 367 w 639"/>
                  <a:gd name="T95" fmla="*/ 588 h 632"/>
                  <a:gd name="T96" fmla="*/ 373 w 639"/>
                  <a:gd name="T97" fmla="*/ 593 h 632"/>
                  <a:gd name="T98" fmla="*/ 393 w 639"/>
                  <a:gd name="T99" fmla="*/ 575 h 632"/>
                  <a:gd name="T100" fmla="*/ 416 w 639"/>
                  <a:gd name="T101" fmla="*/ 546 h 632"/>
                  <a:gd name="T102" fmla="*/ 416 w 639"/>
                  <a:gd name="T103" fmla="*/ 525 h 632"/>
                  <a:gd name="T104" fmla="*/ 418 w 639"/>
                  <a:gd name="T105" fmla="*/ 497 h 632"/>
                  <a:gd name="T106" fmla="*/ 461 w 639"/>
                  <a:gd name="T107" fmla="*/ 462 h 632"/>
                  <a:gd name="T108" fmla="*/ 497 w 639"/>
                  <a:gd name="T109" fmla="*/ 449 h 632"/>
                  <a:gd name="T110" fmla="*/ 542 w 639"/>
                  <a:gd name="T111" fmla="*/ 417 h 632"/>
                  <a:gd name="T112" fmla="*/ 562 w 639"/>
                  <a:gd name="T113" fmla="*/ 373 h 632"/>
                  <a:gd name="T114" fmla="*/ 572 w 639"/>
                  <a:gd name="T115" fmla="*/ 326 h 632"/>
                  <a:gd name="T116" fmla="*/ 587 w 639"/>
                  <a:gd name="T117" fmla="*/ 274 h 632"/>
                  <a:gd name="T118" fmla="*/ 636 w 639"/>
                  <a:gd name="T119" fmla="*/ 209 h 632"/>
                  <a:gd name="T120" fmla="*/ 403 w 639"/>
                  <a:gd name="T121" fmla="*/ 154 h 632"/>
                  <a:gd name="T122" fmla="*/ 406 w 639"/>
                  <a:gd name="T123" fmla="*/ 142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39" h="632">
                    <a:moveTo>
                      <a:pt x="635" y="173"/>
                    </a:moveTo>
                    <a:lnTo>
                      <a:pt x="635" y="173"/>
                    </a:lnTo>
                    <a:lnTo>
                      <a:pt x="633" y="168"/>
                    </a:lnTo>
                    <a:lnTo>
                      <a:pt x="632" y="165"/>
                    </a:lnTo>
                    <a:lnTo>
                      <a:pt x="632" y="162"/>
                    </a:lnTo>
                    <a:lnTo>
                      <a:pt x="629" y="161"/>
                    </a:lnTo>
                    <a:lnTo>
                      <a:pt x="629" y="161"/>
                    </a:lnTo>
                    <a:lnTo>
                      <a:pt x="620" y="157"/>
                    </a:lnTo>
                    <a:lnTo>
                      <a:pt x="613" y="154"/>
                    </a:lnTo>
                    <a:lnTo>
                      <a:pt x="606" y="152"/>
                    </a:lnTo>
                    <a:lnTo>
                      <a:pt x="606" y="152"/>
                    </a:lnTo>
                    <a:lnTo>
                      <a:pt x="591" y="151"/>
                    </a:lnTo>
                    <a:lnTo>
                      <a:pt x="584" y="149"/>
                    </a:lnTo>
                    <a:lnTo>
                      <a:pt x="580" y="147"/>
                    </a:lnTo>
                    <a:lnTo>
                      <a:pt x="580" y="147"/>
                    </a:lnTo>
                    <a:lnTo>
                      <a:pt x="568" y="136"/>
                    </a:lnTo>
                    <a:lnTo>
                      <a:pt x="562" y="131"/>
                    </a:lnTo>
                    <a:lnTo>
                      <a:pt x="558" y="129"/>
                    </a:lnTo>
                    <a:lnTo>
                      <a:pt x="552" y="129"/>
                    </a:lnTo>
                    <a:lnTo>
                      <a:pt x="552" y="129"/>
                    </a:lnTo>
                    <a:lnTo>
                      <a:pt x="533" y="128"/>
                    </a:lnTo>
                    <a:lnTo>
                      <a:pt x="517" y="126"/>
                    </a:lnTo>
                    <a:lnTo>
                      <a:pt x="517" y="126"/>
                    </a:lnTo>
                    <a:lnTo>
                      <a:pt x="513" y="125"/>
                    </a:lnTo>
                    <a:lnTo>
                      <a:pt x="509" y="123"/>
                    </a:lnTo>
                    <a:lnTo>
                      <a:pt x="504" y="120"/>
                    </a:lnTo>
                    <a:lnTo>
                      <a:pt x="499" y="120"/>
                    </a:lnTo>
                    <a:lnTo>
                      <a:pt x="499" y="120"/>
                    </a:lnTo>
                    <a:lnTo>
                      <a:pt x="490" y="120"/>
                    </a:lnTo>
                    <a:lnTo>
                      <a:pt x="490" y="120"/>
                    </a:lnTo>
                    <a:lnTo>
                      <a:pt x="486" y="120"/>
                    </a:lnTo>
                    <a:lnTo>
                      <a:pt x="481" y="119"/>
                    </a:lnTo>
                    <a:lnTo>
                      <a:pt x="481" y="119"/>
                    </a:lnTo>
                    <a:lnTo>
                      <a:pt x="477" y="113"/>
                    </a:lnTo>
                    <a:lnTo>
                      <a:pt x="474" y="110"/>
                    </a:lnTo>
                    <a:lnTo>
                      <a:pt x="471" y="109"/>
                    </a:lnTo>
                    <a:lnTo>
                      <a:pt x="471" y="109"/>
                    </a:lnTo>
                    <a:lnTo>
                      <a:pt x="444" y="96"/>
                    </a:lnTo>
                    <a:lnTo>
                      <a:pt x="444" y="96"/>
                    </a:lnTo>
                    <a:lnTo>
                      <a:pt x="436" y="92"/>
                    </a:lnTo>
                    <a:lnTo>
                      <a:pt x="432" y="90"/>
                    </a:lnTo>
                    <a:lnTo>
                      <a:pt x="428" y="92"/>
                    </a:lnTo>
                    <a:lnTo>
                      <a:pt x="428" y="92"/>
                    </a:lnTo>
                    <a:lnTo>
                      <a:pt x="423" y="96"/>
                    </a:lnTo>
                    <a:lnTo>
                      <a:pt x="419" y="103"/>
                    </a:lnTo>
                    <a:lnTo>
                      <a:pt x="416" y="109"/>
                    </a:lnTo>
                    <a:lnTo>
                      <a:pt x="413" y="112"/>
                    </a:lnTo>
                    <a:lnTo>
                      <a:pt x="412" y="112"/>
                    </a:lnTo>
                    <a:lnTo>
                      <a:pt x="412" y="112"/>
                    </a:lnTo>
                    <a:lnTo>
                      <a:pt x="412" y="112"/>
                    </a:lnTo>
                    <a:lnTo>
                      <a:pt x="412" y="110"/>
                    </a:lnTo>
                    <a:lnTo>
                      <a:pt x="415" y="105"/>
                    </a:lnTo>
                    <a:lnTo>
                      <a:pt x="420" y="94"/>
                    </a:lnTo>
                    <a:lnTo>
                      <a:pt x="420" y="94"/>
                    </a:lnTo>
                    <a:lnTo>
                      <a:pt x="419" y="90"/>
                    </a:lnTo>
                    <a:lnTo>
                      <a:pt x="418" y="87"/>
                    </a:lnTo>
                    <a:lnTo>
                      <a:pt x="413" y="86"/>
                    </a:lnTo>
                    <a:lnTo>
                      <a:pt x="413" y="86"/>
                    </a:lnTo>
                    <a:lnTo>
                      <a:pt x="403" y="87"/>
                    </a:lnTo>
                    <a:lnTo>
                      <a:pt x="400" y="87"/>
                    </a:lnTo>
                    <a:lnTo>
                      <a:pt x="397" y="86"/>
                    </a:lnTo>
                    <a:lnTo>
                      <a:pt x="397" y="86"/>
                    </a:lnTo>
                    <a:lnTo>
                      <a:pt x="393" y="80"/>
                    </a:lnTo>
                    <a:lnTo>
                      <a:pt x="391" y="78"/>
                    </a:lnTo>
                    <a:lnTo>
                      <a:pt x="389" y="80"/>
                    </a:lnTo>
                    <a:lnTo>
                      <a:pt x="389" y="80"/>
                    </a:lnTo>
                    <a:lnTo>
                      <a:pt x="383" y="86"/>
                    </a:lnTo>
                    <a:lnTo>
                      <a:pt x="381" y="87"/>
                    </a:lnTo>
                    <a:lnTo>
                      <a:pt x="380" y="87"/>
                    </a:lnTo>
                    <a:lnTo>
                      <a:pt x="378" y="87"/>
                    </a:lnTo>
                    <a:lnTo>
                      <a:pt x="378" y="87"/>
                    </a:lnTo>
                    <a:lnTo>
                      <a:pt x="378" y="86"/>
                    </a:lnTo>
                    <a:lnTo>
                      <a:pt x="380" y="84"/>
                    </a:lnTo>
                    <a:lnTo>
                      <a:pt x="383" y="81"/>
                    </a:lnTo>
                    <a:lnTo>
                      <a:pt x="390" y="76"/>
                    </a:lnTo>
                    <a:lnTo>
                      <a:pt x="390" y="76"/>
                    </a:lnTo>
                    <a:lnTo>
                      <a:pt x="391" y="73"/>
                    </a:lnTo>
                    <a:lnTo>
                      <a:pt x="393" y="68"/>
                    </a:lnTo>
                    <a:lnTo>
                      <a:pt x="394" y="64"/>
                    </a:lnTo>
                    <a:lnTo>
                      <a:pt x="394" y="60"/>
                    </a:lnTo>
                    <a:lnTo>
                      <a:pt x="394" y="60"/>
                    </a:lnTo>
                    <a:lnTo>
                      <a:pt x="391" y="55"/>
                    </a:lnTo>
                    <a:lnTo>
                      <a:pt x="387" y="50"/>
                    </a:lnTo>
                    <a:lnTo>
                      <a:pt x="387" y="50"/>
                    </a:lnTo>
                    <a:lnTo>
                      <a:pt x="384" y="44"/>
                    </a:lnTo>
                    <a:lnTo>
                      <a:pt x="380" y="35"/>
                    </a:lnTo>
                    <a:lnTo>
                      <a:pt x="373" y="21"/>
                    </a:lnTo>
                    <a:lnTo>
                      <a:pt x="373" y="21"/>
                    </a:lnTo>
                    <a:lnTo>
                      <a:pt x="370" y="16"/>
                    </a:lnTo>
                    <a:lnTo>
                      <a:pt x="370" y="16"/>
                    </a:lnTo>
                    <a:lnTo>
                      <a:pt x="362" y="29"/>
                    </a:lnTo>
                    <a:lnTo>
                      <a:pt x="355" y="38"/>
                    </a:lnTo>
                    <a:lnTo>
                      <a:pt x="355" y="38"/>
                    </a:lnTo>
                    <a:lnTo>
                      <a:pt x="349" y="44"/>
                    </a:lnTo>
                    <a:lnTo>
                      <a:pt x="342" y="48"/>
                    </a:lnTo>
                    <a:lnTo>
                      <a:pt x="336" y="50"/>
                    </a:lnTo>
                    <a:lnTo>
                      <a:pt x="332" y="51"/>
                    </a:lnTo>
                    <a:lnTo>
                      <a:pt x="332" y="51"/>
                    </a:lnTo>
                    <a:lnTo>
                      <a:pt x="328" y="51"/>
                    </a:lnTo>
                    <a:lnTo>
                      <a:pt x="320" y="50"/>
                    </a:lnTo>
                    <a:lnTo>
                      <a:pt x="320" y="50"/>
                    </a:lnTo>
                    <a:lnTo>
                      <a:pt x="310" y="47"/>
                    </a:lnTo>
                    <a:lnTo>
                      <a:pt x="305" y="47"/>
                    </a:lnTo>
                    <a:lnTo>
                      <a:pt x="300" y="47"/>
                    </a:lnTo>
                    <a:lnTo>
                      <a:pt x="300" y="47"/>
                    </a:lnTo>
                    <a:lnTo>
                      <a:pt x="292" y="50"/>
                    </a:lnTo>
                    <a:lnTo>
                      <a:pt x="281" y="52"/>
                    </a:lnTo>
                    <a:lnTo>
                      <a:pt x="273" y="57"/>
                    </a:lnTo>
                    <a:lnTo>
                      <a:pt x="265" y="58"/>
                    </a:lnTo>
                    <a:lnTo>
                      <a:pt x="265" y="58"/>
                    </a:lnTo>
                    <a:lnTo>
                      <a:pt x="261" y="60"/>
                    </a:lnTo>
                    <a:lnTo>
                      <a:pt x="258" y="63"/>
                    </a:lnTo>
                    <a:lnTo>
                      <a:pt x="255" y="65"/>
                    </a:lnTo>
                    <a:lnTo>
                      <a:pt x="251" y="67"/>
                    </a:lnTo>
                    <a:lnTo>
                      <a:pt x="251" y="67"/>
                    </a:lnTo>
                    <a:lnTo>
                      <a:pt x="248" y="67"/>
                    </a:lnTo>
                    <a:lnTo>
                      <a:pt x="245" y="64"/>
                    </a:lnTo>
                    <a:lnTo>
                      <a:pt x="241" y="60"/>
                    </a:lnTo>
                    <a:lnTo>
                      <a:pt x="238" y="52"/>
                    </a:lnTo>
                    <a:lnTo>
                      <a:pt x="236" y="45"/>
                    </a:lnTo>
                    <a:lnTo>
                      <a:pt x="236" y="45"/>
                    </a:lnTo>
                    <a:lnTo>
                      <a:pt x="236" y="32"/>
                    </a:lnTo>
                    <a:lnTo>
                      <a:pt x="236" y="21"/>
                    </a:lnTo>
                    <a:lnTo>
                      <a:pt x="236" y="21"/>
                    </a:lnTo>
                    <a:lnTo>
                      <a:pt x="236" y="15"/>
                    </a:lnTo>
                    <a:lnTo>
                      <a:pt x="234" y="8"/>
                    </a:lnTo>
                    <a:lnTo>
                      <a:pt x="229" y="3"/>
                    </a:lnTo>
                    <a:lnTo>
                      <a:pt x="225" y="0"/>
                    </a:lnTo>
                    <a:lnTo>
                      <a:pt x="225" y="0"/>
                    </a:lnTo>
                    <a:lnTo>
                      <a:pt x="223" y="0"/>
                    </a:lnTo>
                    <a:lnTo>
                      <a:pt x="222" y="2"/>
                    </a:lnTo>
                    <a:lnTo>
                      <a:pt x="219" y="6"/>
                    </a:lnTo>
                    <a:lnTo>
                      <a:pt x="216" y="12"/>
                    </a:lnTo>
                    <a:lnTo>
                      <a:pt x="212" y="16"/>
                    </a:lnTo>
                    <a:lnTo>
                      <a:pt x="212" y="16"/>
                    </a:lnTo>
                    <a:lnTo>
                      <a:pt x="203" y="19"/>
                    </a:lnTo>
                    <a:lnTo>
                      <a:pt x="190" y="21"/>
                    </a:lnTo>
                    <a:lnTo>
                      <a:pt x="170" y="21"/>
                    </a:lnTo>
                    <a:lnTo>
                      <a:pt x="170" y="21"/>
                    </a:lnTo>
                    <a:lnTo>
                      <a:pt x="167" y="21"/>
                    </a:lnTo>
                    <a:lnTo>
                      <a:pt x="166" y="19"/>
                    </a:lnTo>
                    <a:lnTo>
                      <a:pt x="163" y="16"/>
                    </a:lnTo>
                    <a:lnTo>
                      <a:pt x="158" y="15"/>
                    </a:lnTo>
                    <a:lnTo>
                      <a:pt x="157" y="15"/>
                    </a:lnTo>
                    <a:lnTo>
                      <a:pt x="154" y="16"/>
                    </a:lnTo>
                    <a:lnTo>
                      <a:pt x="154" y="16"/>
                    </a:lnTo>
                    <a:lnTo>
                      <a:pt x="152" y="18"/>
                    </a:lnTo>
                    <a:lnTo>
                      <a:pt x="152" y="22"/>
                    </a:lnTo>
                    <a:lnTo>
                      <a:pt x="157" y="29"/>
                    </a:lnTo>
                    <a:lnTo>
                      <a:pt x="166" y="47"/>
                    </a:lnTo>
                    <a:lnTo>
                      <a:pt x="166" y="47"/>
                    </a:lnTo>
                    <a:lnTo>
                      <a:pt x="167" y="50"/>
                    </a:lnTo>
                    <a:lnTo>
                      <a:pt x="167" y="51"/>
                    </a:lnTo>
                    <a:lnTo>
                      <a:pt x="164" y="55"/>
                    </a:lnTo>
                    <a:lnTo>
                      <a:pt x="160" y="60"/>
                    </a:lnTo>
                    <a:lnTo>
                      <a:pt x="155" y="63"/>
                    </a:lnTo>
                    <a:lnTo>
                      <a:pt x="155" y="63"/>
                    </a:lnTo>
                    <a:lnTo>
                      <a:pt x="145" y="68"/>
                    </a:lnTo>
                    <a:lnTo>
                      <a:pt x="137" y="70"/>
                    </a:lnTo>
                    <a:lnTo>
                      <a:pt x="137" y="70"/>
                    </a:lnTo>
                    <a:lnTo>
                      <a:pt x="131" y="68"/>
                    </a:lnTo>
                    <a:lnTo>
                      <a:pt x="125" y="64"/>
                    </a:lnTo>
                    <a:lnTo>
                      <a:pt x="121" y="60"/>
                    </a:lnTo>
                    <a:lnTo>
                      <a:pt x="118" y="55"/>
                    </a:lnTo>
                    <a:lnTo>
                      <a:pt x="118" y="55"/>
                    </a:lnTo>
                    <a:lnTo>
                      <a:pt x="116" y="52"/>
                    </a:lnTo>
                    <a:lnTo>
                      <a:pt x="113" y="52"/>
                    </a:lnTo>
                    <a:lnTo>
                      <a:pt x="105" y="54"/>
                    </a:lnTo>
                    <a:lnTo>
                      <a:pt x="105" y="54"/>
                    </a:lnTo>
                    <a:lnTo>
                      <a:pt x="102" y="54"/>
                    </a:lnTo>
                    <a:lnTo>
                      <a:pt x="102" y="57"/>
                    </a:lnTo>
                    <a:lnTo>
                      <a:pt x="103" y="63"/>
                    </a:lnTo>
                    <a:lnTo>
                      <a:pt x="103" y="63"/>
                    </a:lnTo>
                    <a:lnTo>
                      <a:pt x="102" y="65"/>
                    </a:lnTo>
                    <a:lnTo>
                      <a:pt x="97" y="65"/>
                    </a:lnTo>
                    <a:lnTo>
                      <a:pt x="87" y="65"/>
                    </a:lnTo>
                    <a:lnTo>
                      <a:pt x="87" y="65"/>
                    </a:lnTo>
                    <a:lnTo>
                      <a:pt x="83" y="65"/>
                    </a:lnTo>
                    <a:lnTo>
                      <a:pt x="80" y="68"/>
                    </a:lnTo>
                    <a:lnTo>
                      <a:pt x="73" y="77"/>
                    </a:lnTo>
                    <a:lnTo>
                      <a:pt x="73" y="77"/>
                    </a:lnTo>
                    <a:lnTo>
                      <a:pt x="73" y="78"/>
                    </a:lnTo>
                    <a:lnTo>
                      <a:pt x="73" y="80"/>
                    </a:lnTo>
                    <a:lnTo>
                      <a:pt x="76" y="84"/>
                    </a:lnTo>
                    <a:lnTo>
                      <a:pt x="80" y="90"/>
                    </a:lnTo>
                    <a:lnTo>
                      <a:pt x="83" y="94"/>
                    </a:lnTo>
                    <a:lnTo>
                      <a:pt x="83" y="94"/>
                    </a:lnTo>
                    <a:lnTo>
                      <a:pt x="83" y="102"/>
                    </a:lnTo>
                    <a:lnTo>
                      <a:pt x="80" y="109"/>
                    </a:lnTo>
                    <a:lnTo>
                      <a:pt x="74" y="125"/>
                    </a:lnTo>
                    <a:lnTo>
                      <a:pt x="74" y="125"/>
                    </a:lnTo>
                    <a:lnTo>
                      <a:pt x="70" y="134"/>
                    </a:lnTo>
                    <a:lnTo>
                      <a:pt x="68" y="142"/>
                    </a:lnTo>
                    <a:lnTo>
                      <a:pt x="67" y="152"/>
                    </a:lnTo>
                    <a:lnTo>
                      <a:pt x="64" y="151"/>
                    </a:lnTo>
                    <a:lnTo>
                      <a:pt x="64" y="151"/>
                    </a:lnTo>
                    <a:lnTo>
                      <a:pt x="61" y="151"/>
                    </a:lnTo>
                    <a:lnTo>
                      <a:pt x="57" y="151"/>
                    </a:lnTo>
                    <a:lnTo>
                      <a:pt x="57" y="151"/>
                    </a:lnTo>
                    <a:lnTo>
                      <a:pt x="53" y="151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0" y="154"/>
                    </a:lnTo>
                    <a:lnTo>
                      <a:pt x="35" y="154"/>
                    </a:lnTo>
                    <a:lnTo>
                      <a:pt x="31" y="154"/>
                    </a:lnTo>
                    <a:lnTo>
                      <a:pt x="31" y="154"/>
                    </a:lnTo>
                    <a:lnTo>
                      <a:pt x="26" y="157"/>
                    </a:lnTo>
                    <a:lnTo>
                      <a:pt x="22" y="161"/>
                    </a:lnTo>
                    <a:lnTo>
                      <a:pt x="21" y="165"/>
                    </a:lnTo>
                    <a:lnTo>
                      <a:pt x="19" y="170"/>
                    </a:lnTo>
                    <a:lnTo>
                      <a:pt x="19" y="170"/>
                    </a:lnTo>
                    <a:lnTo>
                      <a:pt x="19" y="171"/>
                    </a:lnTo>
                    <a:lnTo>
                      <a:pt x="16" y="173"/>
                    </a:lnTo>
                    <a:lnTo>
                      <a:pt x="11" y="177"/>
                    </a:lnTo>
                    <a:lnTo>
                      <a:pt x="3" y="181"/>
                    </a:lnTo>
                    <a:lnTo>
                      <a:pt x="0" y="184"/>
                    </a:lnTo>
                    <a:lnTo>
                      <a:pt x="0" y="184"/>
                    </a:lnTo>
                    <a:lnTo>
                      <a:pt x="0" y="189"/>
                    </a:lnTo>
                    <a:lnTo>
                      <a:pt x="3" y="197"/>
                    </a:lnTo>
                    <a:lnTo>
                      <a:pt x="8" y="215"/>
                    </a:lnTo>
                    <a:lnTo>
                      <a:pt x="8" y="215"/>
                    </a:lnTo>
                    <a:lnTo>
                      <a:pt x="11" y="218"/>
                    </a:lnTo>
                    <a:lnTo>
                      <a:pt x="13" y="220"/>
                    </a:lnTo>
                    <a:lnTo>
                      <a:pt x="22" y="225"/>
                    </a:lnTo>
                    <a:lnTo>
                      <a:pt x="31" y="228"/>
                    </a:lnTo>
                    <a:lnTo>
                      <a:pt x="38" y="229"/>
                    </a:lnTo>
                    <a:lnTo>
                      <a:pt x="38" y="229"/>
                    </a:lnTo>
                    <a:lnTo>
                      <a:pt x="44" y="228"/>
                    </a:lnTo>
                    <a:lnTo>
                      <a:pt x="50" y="225"/>
                    </a:lnTo>
                    <a:lnTo>
                      <a:pt x="50" y="225"/>
                    </a:lnTo>
                    <a:lnTo>
                      <a:pt x="55" y="222"/>
                    </a:lnTo>
                    <a:lnTo>
                      <a:pt x="58" y="222"/>
                    </a:lnTo>
                    <a:lnTo>
                      <a:pt x="58" y="222"/>
                    </a:lnTo>
                    <a:lnTo>
                      <a:pt x="60" y="225"/>
                    </a:lnTo>
                    <a:lnTo>
                      <a:pt x="60" y="232"/>
                    </a:lnTo>
                    <a:lnTo>
                      <a:pt x="60" y="241"/>
                    </a:lnTo>
                    <a:lnTo>
                      <a:pt x="61" y="247"/>
                    </a:lnTo>
                    <a:lnTo>
                      <a:pt x="61" y="247"/>
                    </a:lnTo>
                    <a:lnTo>
                      <a:pt x="63" y="248"/>
                    </a:lnTo>
                    <a:lnTo>
                      <a:pt x="66" y="248"/>
                    </a:lnTo>
                    <a:lnTo>
                      <a:pt x="73" y="248"/>
                    </a:lnTo>
                    <a:lnTo>
                      <a:pt x="90" y="247"/>
                    </a:lnTo>
                    <a:lnTo>
                      <a:pt x="90" y="247"/>
                    </a:lnTo>
                    <a:lnTo>
                      <a:pt x="97" y="245"/>
                    </a:lnTo>
                    <a:lnTo>
                      <a:pt x="103" y="242"/>
                    </a:lnTo>
                    <a:lnTo>
                      <a:pt x="109" y="238"/>
                    </a:lnTo>
                    <a:lnTo>
                      <a:pt x="115" y="235"/>
                    </a:lnTo>
                    <a:lnTo>
                      <a:pt x="115" y="235"/>
                    </a:lnTo>
                    <a:lnTo>
                      <a:pt x="126" y="231"/>
                    </a:lnTo>
                    <a:lnTo>
                      <a:pt x="132" y="228"/>
                    </a:lnTo>
                    <a:lnTo>
                      <a:pt x="138" y="226"/>
                    </a:lnTo>
                    <a:lnTo>
                      <a:pt x="138" y="226"/>
                    </a:lnTo>
                    <a:lnTo>
                      <a:pt x="139" y="228"/>
                    </a:lnTo>
                    <a:lnTo>
                      <a:pt x="141" y="231"/>
                    </a:lnTo>
                    <a:lnTo>
                      <a:pt x="142" y="239"/>
                    </a:lnTo>
                    <a:lnTo>
                      <a:pt x="141" y="248"/>
                    </a:lnTo>
                    <a:lnTo>
                      <a:pt x="141" y="254"/>
                    </a:lnTo>
                    <a:lnTo>
                      <a:pt x="141" y="254"/>
                    </a:lnTo>
                    <a:lnTo>
                      <a:pt x="144" y="258"/>
                    </a:lnTo>
                    <a:lnTo>
                      <a:pt x="147" y="261"/>
                    </a:lnTo>
                    <a:lnTo>
                      <a:pt x="157" y="270"/>
                    </a:lnTo>
                    <a:lnTo>
                      <a:pt x="157" y="270"/>
                    </a:lnTo>
                    <a:lnTo>
                      <a:pt x="161" y="273"/>
                    </a:lnTo>
                    <a:lnTo>
                      <a:pt x="168" y="274"/>
                    </a:lnTo>
                    <a:lnTo>
                      <a:pt x="181" y="277"/>
                    </a:lnTo>
                    <a:lnTo>
                      <a:pt x="181" y="277"/>
                    </a:lnTo>
                    <a:lnTo>
                      <a:pt x="186" y="280"/>
                    </a:lnTo>
                    <a:lnTo>
                      <a:pt x="192" y="283"/>
                    </a:lnTo>
                    <a:lnTo>
                      <a:pt x="199" y="289"/>
                    </a:lnTo>
                    <a:lnTo>
                      <a:pt x="199" y="289"/>
                    </a:lnTo>
                    <a:lnTo>
                      <a:pt x="200" y="290"/>
                    </a:lnTo>
                    <a:lnTo>
                      <a:pt x="203" y="291"/>
                    </a:lnTo>
                    <a:lnTo>
                      <a:pt x="210" y="291"/>
                    </a:lnTo>
                    <a:lnTo>
                      <a:pt x="218" y="293"/>
                    </a:lnTo>
                    <a:lnTo>
                      <a:pt x="221" y="294"/>
                    </a:lnTo>
                    <a:lnTo>
                      <a:pt x="222" y="296"/>
                    </a:lnTo>
                    <a:lnTo>
                      <a:pt x="222" y="296"/>
                    </a:lnTo>
                    <a:lnTo>
                      <a:pt x="223" y="299"/>
                    </a:lnTo>
                    <a:lnTo>
                      <a:pt x="223" y="302"/>
                    </a:lnTo>
                    <a:lnTo>
                      <a:pt x="223" y="306"/>
                    </a:lnTo>
                    <a:lnTo>
                      <a:pt x="225" y="309"/>
                    </a:lnTo>
                    <a:lnTo>
                      <a:pt x="225" y="309"/>
                    </a:lnTo>
                    <a:lnTo>
                      <a:pt x="231" y="320"/>
                    </a:lnTo>
                    <a:lnTo>
                      <a:pt x="234" y="326"/>
                    </a:lnTo>
                    <a:lnTo>
                      <a:pt x="236" y="331"/>
                    </a:lnTo>
                    <a:lnTo>
                      <a:pt x="236" y="331"/>
                    </a:lnTo>
                    <a:lnTo>
                      <a:pt x="239" y="332"/>
                    </a:lnTo>
                    <a:lnTo>
                      <a:pt x="242" y="333"/>
                    </a:lnTo>
                    <a:lnTo>
                      <a:pt x="250" y="333"/>
                    </a:lnTo>
                    <a:lnTo>
                      <a:pt x="250" y="333"/>
                    </a:lnTo>
                    <a:lnTo>
                      <a:pt x="255" y="332"/>
                    </a:lnTo>
                    <a:lnTo>
                      <a:pt x="255" y="332"/>
                    </a:lnTo>
                    <a:lnTo>
                      <a:pt x="257" y="333"/>
                    </a:lnTo>
                    <a:lnTo>
                      <a:pt x="258" y="335"/>
                    </a:lnTo>
                    <a:lnTo>
                      <a:pt x="258" y="338"/>
                    </a:lnTo>
                    <a:lnTo>
                      <a:pt x="258" y="348"/>
                    </a:lnTo>
                    <a:lnTo>
                      <a:pt x="258" y="348"/>
                    </a:lnTo>
                    <a:lnTo>
                      <a:pt x="260" y="351"/>
                    </a:lnTo>
                    <a:lnTo>
                      <a:pt x="263" y="354"/>
                    </a:lnTo>
                    <a:lnTo>
                      <a:pt x="267" y="355"/>
                    </a:lnTo>
                    <a:lnTo>
                      <a:pt x="270" y="358"/>
                    </a:lnTo>
                    <a:lnTo>
                      <a:pt x="270" y="358"/>
                    </a:lnTo>
                    <a:lnTo>
                      <a:pt x="271" y="362"/>
                    </a:lnTo>
                    <a:lnTo>
                      <a:pt x="271" y="370"/>
                    </a:lnTo>
                    <a:lnTo>
                      <a:pt x="270" y="378"/>
                    </a:lnTo>
                    <a:lnTo>
                      <a:pt x="267" y="384"/>
                    </a:lnTo>
                    <a:lnTo>
                      <a:pt x="267" y="384"/>
                    </a:lnTo>
                    <a:lnTo>
                      <a:pt x="264" y="388"/>
                    </a:lnTo>
                    <a:lnTo>
                      <a:pt x="264" y="393"/>
                    </a:lnTo>
                    <a:lnTo>
                      <a:pt x="265" y="401"/>
                    </a:lnTo>
                    <a:lnTo>
                      <a:pt x="265" y="401"/>
                    </a:lnTo>
                    <a:lnTo>
                      <a:pt x="268" y="415"/>
                    </a:lnTo>
                    <a:lnTo>
                      <a:pt x="270" y="428"/>
                    </a:lnTo>
                    <a:lnTo>
                      <a:pt x="270" y="428"/>
                    </a:lnTo>
                    <a:lnTo>
                      <a:pt x="271" y="430"/>
                    </a:lnTo>
                    <a:lnTo>
                      <a:pt x="274" y="432"/>
                    </a:lnTo>
                    <a:lnTo>
                      <a:pt x="286" y="435"/>
                    </a:lnTo>
                    <a:lnTo>
                      <a:pt x="296" y="435"/>
                    </a:lnTo>
                    <a:lnTo>
                      <a:pt x="302" y="436"/>
                    </a:lnTo>
                    <a:lnTo>
                      <a:pt x="302" y="436"/>
                    </a:lnTo>
                    <a:lnTo>
                      <a:pt x="305" y="439"/>
                    </a:lnTo>
                    <a:lnTo>
                      <a:pt x="306" y="443"/>
                    </a:lnTo>
                    <a:lnTo>
                      <a:pt x="309" y="449"/>
                    </a:lnTo>
                    <a:lnTo>
                      <a:pt x="309" y="454"/>
                    </a:lnTo>
                    <a:lnTo>
                      <a:pt x="309" y="454"/>
                    </a:lnTo>
                    <a:lnTo>
                      <a:pt x="309" y="458"/>
                    </a:lnTo>
                    <a:lnTo>
                      <a:pt x="312" y="461"/>
                    </a:lnTo>
                    <a:lnTo>
                      <a:pt x="316" y="465"/>
                    </a:lnTo>
                    <a:lnTo>
                      <a:pt x="316" y="465"/>
                    </a:lnTo>
                    <a:lnTo>
                      <a:pt x="318" y="470"/>
                    </a:lnTo>
                    <a:lnTo>
                      <a:pt x="319" y="475"/>
                    </a:lnTo>
                    <a:lnTo>
                      <a:pt x="318" y="483"/>
                    </a:lnTo>
                    <a:lnTo>
                      <a:pt x="316" y="487"/>
                    </a:lnTo>
                    <a:lnTo>
                      <a:pt x="316" y="487"/>
                    </a:lnTo>
                    <a:lnTo>
                      <a:pt x="315" y="490"/>
                    </a:lnTo>
                    <a:lnTo>
                      <a:pt x="316" y="493"/>
                    </a:lnTo>
                    <a:lnTo>
                      <a:pt x="323" y="497"/>
                    </a:lnTo>
                    <a:lnTo>
                      <a:pt x="323" y="497"/>
                    </a:lnTo>
                    <a:lnTo>
                      <a:pt x="325" y="499"/>
                    </a:lnTo>
                    <a:lnTo>
                      <a:pt x="326" y="501"/>
                    </a:lnTo>
                    <a:lnTo>
                      <a:pt x="329" y="507"/>
                    </a:lnTo>
                    <a:lnTo>
                      <a:pt x="329" y="516"/>
                    </a:lnTo>
                    <a:lnTo>
                      <a:pt x="329" y="522"/>
                    </a:lnTo>
                    <a:lnTo>
                      <a:pt x="329" y="522"/>
                    </a:lnTo>
                    <a:lnTo>
                      <a:pt x="328" y="523"/>
                    </a:lnTo>
                    <a:lnTo>
                      <a:pt x="325" y="528"/>
                    </a:lnTo>
                    <a:lnTo>
                      <a:pt x="315" y="535"/>
                    </a:lnTo>
                    <a:lnTo>
                      <a:pt x="293" y="551"/>
                    </a:lnTo>
                    <a:lnTo>
                      <a:pt x="293" y="551"/>
                    </a:lnTo>
                    <a:lnTo>
                      <a:pt x="287" y="556"/>
                    </a:lnTo>
                    <a:lnTo>
                      <a:pt x="283" y="562"/>
                    </a:lnTo>
                    <a:lnTo>
                      <a:pt x="280" y="570"/>
                    </a:lnTo>
                    <a:lnTo>
                      <a:pt x="277" y="575"/>
                    </a:lnTo>
                    <a:lnTo>
                      <a:pt x="277" y="575"/>
                    </a:lnTo>
                    <a:lnTo>
                      <a:pt x="276" y="580"/>
                    </a:lnTo>
                    <a:lnTo>
                      <a:pt x="276" y="580"/>
                    </a:lnTo>
                    <a:lnTo>
                      <a:pt x="283" y="581"/>
                    </a:lnTo>
                    <a:lnTo>
                      <a:pt x="289" y="584"/>
                    </a:lnTo>
                    <a:lnTo>
                      <a:pt x="289" y="584"/>
                    </a:lnTo>
                    <a:lnTo>
                      <a:pt x="302" y="593"/>
                    </a:lnTo>
                    <a:lnTo>
                      <a:pt x="318" y="601"/>
                    </a:lnTo>
                    <a:lnTo>
                      <a:pt x="318" y="601"/>
                    </a:lnTo>
                    <a:lnTo>
                      <a:pt x="323" y="606"/>
                    </a:lnTo>
                    <a:lnTo>
                      <a:pt x="328" y="609"/>
                    </a:lnTo>
                    <a:lnTo>
                      <a:pt x="329" y="613"/>
                    </a:lnTo>
                    <a:lnTo>
                      <a:pt x="335" y="619"/>
                    </a:lnTo>
                    <a:lnTo>
                      <a:pt x="335" y="619"/>
                    </a:lnTo>
                    <a:lnTo>
                      <a:pt x="342" y="626"/>
                    </a:lnTo>
                    <a:lnTo>
                      <a:pt x="349" y="632"/>
                    </a:lnTo>
                    <a:lnTo>
                      <a:pt x="349" y="632"/>
                    </a:lnTo>
                    <a:lnTo>
                      <a:pt x="351" y="627"/>
                    </a:lnTo>
                    <a:lnTo>
                      <a:pt x="351" y="627"/>
                    </a:lnTo>
                    <a:lnTo>
                      <a:pt x="351" y="625"/>
                    </a:lnTo>
                    <a:lnTo>
                      <a:pt x="352" y="623"/>
                    </a:lnTo>
                    <a:lnTo>
                      <a:pt x="357" y="619"/>
                    </a:lnTo>
                    <a:lnTo>
                      <a:pt x="357" y="619"/>
                    </a:lnTo>
                    <a:lnTo>
                      <a:pt x="362" y="613"/>
                    </a:lnTo>
                    <a:lnTo>
                      <a:pt x="364" y="610"/>
                    </a:lnTo>
                    <a:lnTo>
                      <a:pt x="365" y="606"/>
                    </a:lnTo>
                    <a:lnTo>
                      <a:pt x="365" y="606"/>
                    </a:lnTo>
                    <a:lnTo>
                      <a:pt x="365" y="594"/>
                    </a:lnTo>
                    <a:lnTo>
                      <a:pt x="367" y="588"/>
                    </a:lnTo>
                    <a:lnTo>
                      <a:pt x="368" y="585"/>
                    </a:lnTo>
                    <a:lnTo>
                      <a:pt x="368" y="585"/>
                    </a:lnTo>
                    <a:lnTo>
                      <a:pt x="371" y="584"/>
                    </a:lnTo>
                    <a:lnTo>
                      <a:pt x="374" y="583"/>
                    </a:lnTo>
                    <a:lnTo>
                      <a:pt x="377" y="583"/>
                    </a:lnTo>
                    <a:lnTo>
                      <a:pt x="377" y="584"/>
                    </a:lnTo>
                    <a:lnTo>
                      <a:pt x="377" y="584"/>
                    </a:lnTo>
                    <a:lnTo>
                      <a:pt x="373" y="593"/>
                    </a:lnTo>
                    <a:lnTo>
                      <a:pt x="371" y="597"/>
                    </a:lnTo>
                    <a:lnTo>
                      <a:pt x="371" y="598"/>
                    </a:lnTo>
                    <a:lnTo>
                      <a:pt x="373" y="598"/>
                    </a:lnTo>
                    <a:lnTo>
                      <a:pt x="373" y="598"/>
                    </a:lnTo>
                    <a:lnTo>
                      <a:pt x="381" y="591"/>
                    </a:lnTo>
                    <a:lnTo>
                      <a:pt x="390" y="583"/>
                    </a:lnTo>
                    <a:lnTo>
                      <a:pt x="390" y="583"/>
                    </a:lnTo>
                    <a:lnTo>
                      <a:pt x="393" y="575"/>
                    </a:lnTo>
                    <a:lnTo>
                      <a:pt x="397" y="567"/>
                    </a:lnTo>
                    <a:lnTo>
                      <a:pt x="400" y="558"/>
                    </a:lnTo>
                    <a:lnTo>
                      <a:pt x="402" y="555"/>
                    </a:lnTo>
                    <a:lnTo>
                      <a:pt x="404" y="554"/>
                    </a:lnTo>
                    <a:lnTo>
                      <a:pt x="404" y="554"/>
                    </a:lnTo>
                    <a:lnTo>
                      <a:pt x="412" y="551"/>
                    </a:lnTo>
                    <a:lnTo>
                      <a:pt x="413" y="549"/>
                    </a:lnTo>
                    <a:lnTo>
                      <a:pt x="416" y="546"/>
                    </a:lnTo>
                    <a:lnTo>
                      <a:pt x="416" y="546"/>
                    </a:lnTo>
                    <a:lnTo>
                      <a:pt x="416" y="543"/>
                    </a:lnTo>
                    <a:lnTo>
                      <a:pt x="416" y="539"/>
                    </a:lnTo>
                    <a:lnTo>
                      <a:pt x="416" y="535"/>
                    </a:lnTo>
                    <a:lnTo>
                      <a:pt x="418" y="532"/>
                    </a:lnTo>
                    <a:lnTo>
                      <a:pt x="418" y="532"/>
                    </a:lnTo>
                    <a:lnTo>
                      <a:pt x="418" y="528"/>
                    </a:lnTo>
                    <a:lnTo>
                      <a:pt x="416" y="525"/>
                    </a:lnTo>
                    <a:lnTo>
                      <a:pt x="415" y="520"/>
                    </a:lnTo>
                    <a:lnTo>
                      <a:pt x="415" y="516"/>
                    </a:lnTo>
                    <a:lnTo>
                      <a:pt x="415" y="516"/>
                    </a:lnTo>
                    <a:lnTo>
                      <a:pt x="415" y="512"/>
                    </a:lnTo>
                    <a:lnTo>
                      <a:pt x="415" y="507"/>
                    </a:lnTo>
                    <a:lnTo>
                      <a:pt x="415" y="501"/>
                    </a:lnTo>
                    <a:lnTo>
                      <a:pt x="418" y="497"/>
                    </a:lnTo>
                    <a:lnTo>
                      <a:pt x="418" y="497"/>
                    </a:lnTo>
                    <a:lnTo>
                      <a:pt x="431" y="483"/>
                    </a:lnTo>
                    <a:lnTo>
                      <a:pt x="438" y="475"/>
                    </a:lnTo>
                    <a:lnTo>
                      <a:pt x="446" y="471"/>
                    </a:lnTo>
                    <a:lnTo>
                      <a:pt x="446" y="471"/>
                    </a:lnTo>
                    <a:lnTo>
                      <a:pt x="451" y="470"/>
                    </a:lnTo>
                    <a:lnTo>
                      <a:pt x="455" y="467"/>
                    </a:lnTo>
                    <a:lnTo>
                      <a:pt x="458" y="465"/>
                    </a:lnTo>
                    <a:lnTo>
                      <a:pt x="461" y="462"/>
                    </a:lnTo>
                    <a:lnTo>
                      <a:pt x="461" y="462"/>
                    </a:lnTo>
                    <a:lnTo>
                      <a:pt x="465" y="461"/>
                    </a:lnTo>
                    <a:lnTo>
                      <a:pt x="470" y="458"/>
                    </a:lnTo>
                    <a:lnTo>
                      <a:pt x="474" y="454"/>
                    </a:lnTo>
                    <a:lnTo>
                      <a:pt x="478" y="451"/>
                    </a:lnTo>
                    <a:lnTo>
                      <a:pt x="478" y="451"/>
                    </a:lnTo>
                    <a:lnTo>
                      <a:pt x="487" y="449"/>
                    </a:lnTo>
                    <a:lnTo>
                      <a:pt x="497" y="449"/>
                    </a:lnTo>
                    <a:lnTo>
                      <a:pt x="509" y="448"/>
                    </a:lnTo>
                    <a:lnTo>
                      <a:pt x="517" y="446"/>
                    </a:lnTo>
                    <a:lnTo>
                      <a:pt x="517" y="446"/>
                    </a:lnTo>
                    <a:lnTo>
                      <a:pt x="525" y="443"/>
                    </a:lnTo>
                    <a:lnTo>
                      <a:pt x="529" y="439"/>
                    </a:lnTo>
                    <a:lnTo>
                      <a:pt x="536" y="432"/>
                    </a:lnTo>
                    <a:lnTo>
                      <a:pt x="536" y="432"/>
                    </a:lnTo>
                    <a:lnTo>
                      <a:pt x="542" y="417"/>
                    </a:lnTo>
                    <a:lnTo>
                      <a:pt x="548" y="407"/>
                    </a:lnTo>
                    <a:lnTo>
                      <a:pt x="552" y="401"/>
                    </a:lnTo>
                    <a:lnTo>
                      <a:pt x="552" y="401"/>
                    </a:lnTo>
                    <a:lnTo>
                      <a:pt x="555" y="396"/>
                    </a:lnTo>
                    <a:lnTo>
                      <a:pt x="558" y="388"/>
                    </a:lnTo>
                    <a:lnTo>
                      <a:pt x="561" y="380"/>
                    </a:lnTo>
                    <a:lnTo>
                      <a:pt x="562" y="373"/>
                    </a:lnTo>
                    <a:lnTo>
                      <a:pt x="562" y="373"/>
                    </a:lnTo>
                    <a:lnTo>
                      <a:pt x="564" y="364"/>
                    </a:lnTo>
                    <a:lnTo>
                      <a:pt x="565" y="355"/>
                    </a:lnTo>
                    <a:lnTo>
                      <a:pt x="568" y="342"/>
                    </a:lnTo>
                    <a:lnTo>
                      <a:pt x="568" y="342"/>
                    </a:lnTo>
                    <a:lnTo>
                      <a:pt x="570" y="339"/>
                    </a:lnTo>
                    <a:lnTo>
                      <a:pt x="571" y="336"/>
                    </a:lnTo>
                    <a:lnTo>
                      <a:pt x="571" y="333"/>
                    </a:lnTo>
                    <a:lnTo>
                      <a:pt x="572" y="326"/>
                    </a:lnTo>
                    <a:lnTo>
                      <a:pt x="572" y="326"/>
                    </a:lnTo>
                    <a:lnTo>
                      <a:pt x="571" y="303"/>
                    </a:lnTo>
                    <a:lnTo>
                      <a:pt x="571" y="293"/>
                    </a:lnTo>
                    <a:lnTo>
                      <a:pt x="572" y="289"/>
                    </a:lnTo>
                    <a:lnTo>
                      <a:pt x="574" y="287"/>
                    </a:lnTo>
                    <a:lnTo>
                      <a:pt x="574" y="287"/>
                    </a:lnTo>
                    <a:lnTo>
                      <a:pt x="581" y="281"/>
                    </a:lnTo>
                    <a:lnTo>
                      <a:pt x="587" y="274"/>
                    </a:lnTo>
                    <a:lnTo>
                      <a:pt x="587" y="274"/>
                    </a:lnTo>
                    <a:lnTo>
                      <a:pt x="599" y="255"/>
                    </a:lnTo>
                    <a:lnTo>
                      <a:pt x="606" y="245"/>
                    </a:lnTo>
                    <a:lnTo>
                      <a:pt x="613" y="236"/>
                    </a:lnTo>
                    <a:lnTo>
                      <a:pt x="613" y="236"/>
                    </a:lnTo>
                    <a:lnTo>
                      <a:pt x="622" y="229"/>
                    </a:lnTo>
                    <a:lnTo>
                      <a:pt x="630" y="219"/>
                    </a:lnTo>
                    <a:lnTo>
                      <a:pt x="636" y="209"/>
                    </a:lnTo>
                    <a:lnTo>
                      <a:pt x="638" y="205"/>
                    </a:lnTo>
                    <a:lnTo>
                      <a:pt x="639" y="200"/>
                    </a:lnTo>
                    <a:lnTo>
                      <a:pt x="639" y="200"/>
                    </a:lnTo>
                    <a:lnTo>
                      <a:pt x="638" y="186"/>
                    </a:lnTo>
                    <a:lnTo>
                      <a:pt x="636" y="178"/>
                    </a:lnTo>
                    <a:lnTo>
                      <a:pt x="635" y="173"/>
                    </a:lnTo>
                    <a:close/>
                    <a:moveTo>
                      <a:pt x="403" y="154"/>
                    </a:moveTo>
                    <a:lnTo>
                      <a:pt x="403" y="154"/>
                    </a:lnTo>
                    <a:lnTo>
                      <a:pt x="402" y="154"/>
                    </a:lnTo>
                    <a:lnTo>
                      <a:pt x="400" y="152"/>
                    </a:lnTo>
                    <a:lnTo>
                      <a:pt x="400" y="148"/>
                    </a:lnTo>
                    <a:lnTo>
                      <a:pt x="402" y="144"/>
                    </a:lnTo>
                    <a:lnTo>
                      <a:pt x="403" y="141"/>
                    </a:lnTo>
                    <a:lnTo>
                      <a:pt x="403" y="141"/>
                    </a:lnTo>
                    <a:lnTo>
                      <a:pt x="404" y="141"/>
                    </a:lnTo>
                    <a:lnTo>
                      <a:pt x="406" y="142"/>
                    </a:lnTo>
                    <a:lnTo>
                      <a:pt x="406" y="147"/>
                    </a:lnTo>
                    <a:lnTo>
                      <a:pt x="406" y="151"/>
                    </a:lnTo>
                    <a:lnTo>
                      <a:pt x="404" y="154"/>
                    </a:lnTo>
                    <a:lnTo>
                      <a:pt x="403" y="15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05" name="Freeform 256"/>
              <p:cNvSpPr>
                <a:spLocks/>
              </p:cNvSpPr>
              <p:nvPr/>
            </p:nvSpPr>
            <p:spPr bwMode="auto">
              <a:xfrm>
                <a:off x="3222649" y="3242944"/>
                <a:ext cx="632137" cy="625212"/>
              </a:xfrm>
              <a:custGeom>
                <a:avLst/>
                <a:gdLst>
                  <a:gd name="T0" fmla="*/ 620 w 639"/>
                  <a:gd name="T1" fmla="*/ 157 h 632"/>
                  <a:gd name="T2" fmla="*/ 568 w 639"/>
                  <a:gd name="T3" fmla="*/ 136 h 632"/>
                  <a:gd name="T4" fmla="*/ 513 w 639"/>
                  <a:gd name="T5" fmla="*/ 125 h 632"/>
                  <a:gd name="T6" fmla="*/ 481 w 639"/>
                  <a:gd name="T7" fmla="*/ 119 h 632"/>
                  <a:gd name="T8" fmla="*/ 436 w 639"/>
                  <a:gd name="T9" fmla="*/ 92 h 632"/>
                  <a:gd name="T10" fmla="*/ 412 w 639"/>
                  <a:gd name="T11" fmla="*/ 112 h 632"/>
                  <a:gd name="T12" fmla="*/ 418 w 639"/>
                  <a:gd name="T13" fmla="*/ 87 h 632"/>
                  <a:gd name="T14" fmla="*/ 391 w 639"/>
                  <a:gd name="T15" fmla="*/ 78 h 632"/>
                  <a:gd name="T16" fmla="*/ 378 w 639"/>
                  <a:gd name="T17" fmla="*/ 86 h 632"/>
                  <a:gd name="T18" fmla="*/ 394 w 639"/>
                  <a:gd name="T19" fmla="*/ 60 h 632"/>
                  <a:gd name="T20" fmla="*/ 373 w 639"/>
                  <a:gd name="T21" fmla="*/ 21 h 632"/>
                  <a:gd name="T22" fmla="*/ 336 w 639"/>
                  <a:gd name="T23" fmla="*/ 50 h 632"/>
                  <a:gd name="T24" fmla="*/ 300 w 639"/>
                  <a:gd name="T25" fmla="*/ 47 h 632"/>
                  <a:gd name="T26" fmla="*/ 258 w 639"/>
                  <a:gd name="T27" fmla="*/ 63 h 632"/>
                  <a:gd name="T28" fmla="*/ 236 w 639"/>
                  <a:gd name="T29" fmla="*/ 45 h 632"/>
                  <a:gd name="T30" fmla="*/ 225 w 639"/>
                  <a:gd name="T31" fmla="*/ 0 h 632"/>
                  <a:gd name="T32" fmla="*/ 203 w 639"/>
                  <a:gd name="T33" fmla="*/ 19 h 632"/>
                  <a:gd name="T34" fmla="*/ 157 w 639"/>
                  <a:gd name="T35" fmla="*/ 15 h 632"/>
                  <a:gd name="T36" fmla="*/ 167 w 639"/>
                  <a:gd name="T37" fmla="*/ 50 h 632"/>
                  <a:gd name="T38" fmla="*/ 137 w 639"/>
                  <a:gd name="T39" fmla="*/ 70 h 632"/>
                  <a:gd name="T40" fmla="*/ 105 w 639"/>
                  <a:gd name="T41" fmla="*/ 54 h 632"/>
                  <a:gd name="T42" fmla="*/ 87 w 639"/>
                  <a:gd name="T43" fmla="*/ 65 h 632"/>
                  <a:gd name="T44" fmla="*/ 76 w 639"/>
                  <a:gd name="T45" fmla="*/ 84 h 632"/>
                  <a:gd name="T46" fmla="*/ 70 w 639"/>
                  <a:gd name="T47" fmla="*/ 134 h 632"/>
                  <a:gd name="T48" fmla="*/ 53 w 639"/>
                  <a:gd name="T49" fmla="*/ 151 h 632"/>
                  <a:gd name="T50" fmla="*/ 31 w 639"/>
                  <a:gd name="T51" fmla="*/ 154 h 632"/>
                  <a:gd name="T52" fmla="*/ 11 w 639"/>
                  <a:gd name="T53" fmla="*/ 177 h 632"/>
                  <a:gd name="T54" fmla="*/ 11 w 639"/>
                  <a:gd name="T55" fmla="*/ 218 h 632"/>
                  <a:gd name="T56" fmla="*/ 50 w 639"/>
                  <a:gd name="T57" fmla="*/ 225 h 632"/>
                  <a:gd name="T58" fmla="*/ 61 w 639"/>
                  <a:gd name="T59" fmla="*/ 247 h 632"/>
                  <a:gd name="T60" fmla="*/ 109 w 639"/>
                  <a:gd name="T61" fmla="*/ 238 h 632"/>
                  <a:gd name="T62" fmla="*/ 141 w 639"/>
                  <a:gd name="T63" fmla="*/ 231 h 632"/>
                  <a:gd name="T64" fmla="*/ 157 w 639"/>
                  <a:gd name="T65" fmla="*/ 270 h 632"/>
                  <a:gd name="T66" fmla="*/ 199 w 639"/>
                  <a:gd name="T67" fmla="*/ 289 h 632"/>
                  <a:gd name="T68" fmla="*/ 223 w 639"/>
                  <a:gd name="T69" fmla="*/ 299 h 632"/>
                  <a:gd name="T70" fmla="*/ 236 w 639"/>
                  <a:gd name="T71" fmla="*/ 331 h 632"/>
                  <a:gd name="T72" fmla="*/ 258 w 639"/>
                  <a:gd name="T73" fmla="*/ 335 h 632"/>
                  <a:gd name="T74" fmla="*/ 270 w 639"/>
                  <a:gd name="T75" fmla="*/ 358 h 632"/>
                  <a:gd name="T76" fmla="*/ 265 w 639"/>
                  <a:gd name="T77" fmla="*/ 401 h 632"/>
                  <a:gd name="T78" fmla="*/ 296 w 639"/>
                  <a:gd name="T79" fmla="*/ 435 h 632"/>
                  <a:gd name="T80" fmla="*/ 309 w 639"/>
                  <a:gd name="T81" fmla="*/ 458 h 632"/>
                  <a:gd name="T82" fmla="*/ 316 w 639"/>
                  <a:gd name="T83" fmla="*/ 487 h 632"/>
                  <a:gd name="T84" fmla="*/ 329 w 639"/>
                  <a:gd name="T85" fmla="*/ 516 h 632"/>
                  <a:gd name="T86" fmla="*/ 287 w 639"/>
                  <a:gd name="T87" fmla="*/ 556 h 632"/>
                  <a:gd name="T88" fmla="*/ 289 w 639"/>
                  <a:gd name="T89" fmla="*/ 584 h 632"/>
                  <a:gd name="T90" fmla="*/ 335 w 639"/>
                  <a:gd name="T91" fmla="*/ 619 h 632"/>
                  <a:gd name="T92" fmla="*/ 352 w 639"/>
                  <a:gd name="T93" fmla="*/ 623 h 632"/>
                  <a:gd name="T94" fmla="*/ 367 w 639"/>
                  <a:gd name="T95" fmla="*/ 588 h 632"/>
                  <a:gd name="T96" fmla="*/ 373 w 639"/>
                  <a:gd name="T97" fmla="*/ 593 h 632"/>
                  <a:gd name="T98" fmla="*/ 393 w 639"/>
                  <a:gd name="T99" fmla="*/ 575 h 632"/>
                  <a:gd name="T100" fmla="*/ 416 w 639"/>
                  <a:gd name="T101" fmla="*/ 546 h 632"/>
                  <a:gd name="T102" fmla="*/ 416 w 639"/>
                  <a:gd name="T103" fmla="*/ 525 h 632"/>
                  <a:gd name="T104" fmla="*/ 418 w 639"/>
                  <a:gd name="T105" fmla="*/ 497 h 632"/>
                  <a:gd name="T106" fmla="*/ 461 w 639"/>
                  <a:gd name="T107" fmla="*/ 462 h 632"/>
                  <a:gd name="T108" fmla="*/ 497 w 639"/>
                  <a:gd name="T109" fmla="*/ 449 h 632"/>
                  <a:gd name="T110" fmla="*/ 542 w 639"/>
                  <a:gd name="T111" fmla="*/ 417 h 632"/>
                  <a:gd name="T112" fmla="*/ 562 w 639"/>
                  <a:gd name="T113" fmla="*/ 373 h 632"/>
                  <a:gd name="T114" fmla="*/ 572 w 639"/>
                  <a:gd name="T115" fmla="*/ 326 h 632"/>
                  <a:gd name="T116" fmla="*/ 587 w 639"/>
                  <a:gd name="T117" fmla="*/ 274 h 632"/>
                  <a:gd name="T118" fmla="*/ 636 w 639"/>
                  <a:gd name="T119" fmla="*/ 20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39" h="632">
                    <a:moveTo>
                      <a:pt x="635" y="173"/>
                    </a:moveTo>
                    <a:lnTo>
                      <a:pt x="635" y="173"/>
                    </a:lnTo>
                    <a:lnTo>
                      <a:pt x="633" y="168"/>
                    </a:lnTo>
                    <a:lnTo>
                      <a:pt x="632" y="165"/>
                    </a:lnTo>
                    <a:lnTo>
                      <a:pt x="632" y="162"/>
                    </a:lnTo>
                    <a:lnTo>
                      <a:pt x="629" y="161"/>
                    </a:lnTo>
                    <a:lnTo>
                      <a:pt x="629" y="161"/>
                    </a:lnTo>
                    <a:lnTo>
                      <a:pt x="620" y="157"/>
                    </a:lnTo>
                    <a:lnTo>
                      <a:pt x="613" y="154"/>
                    </a:lnTo>
                    <a:lnTo>
                      <a:pt x="606" y="152"/>
                    </a:lnTo>
                    <a:lnTo>
                      <a:pt x="606" y="152"/>
                    </a:lnTo>
                    <a:lnTo>
                      <a:pt x="591" y="151"/>
                    </a:lnTo>
                    <a:lnTo>
                      <a:pt x="584" y="149"/>
                    </a:lnTo>
                    <a:lnTo>
                      <a:pt x="580" y="147"/>
                    </a:lnTo>
                    <a:lnTo>
                      <a:pt x="580" y="147"/>
                    </a:lnTo>
                    <a:lnTo>
                      <a:pt x="568" y="136"/>
                    </a:lnTo>
                    <a:lnTo>
                      <a:pt x="562" y="131"/>
                    </a:lnTo>
                    <a:lnTo>
                      <a:pt x="558" y="129"/>
                    </a:lnTo>
                    <a:lnTo>
                      <a:pt x="552" y="129"/>
                    </a:lnTo>
                    <a:lnTo>
                      <a:pt x="552" y="129"/>
                    </a:lnTo>
                    <a:lnTo>
                      <a:pt x="533" y="128"/>
                    </a:lnTo>
                    <a:lnTo>
                      <a:pt x="517" y="126"/>
                    </a:lnTo>
                    <a:lnTo>
                      <a:pt x="517" y="126"/>
                    </a:lnTo>
                    <a:lnTo>
                      <a:pt x="513" y="125"/>
                    </a:lnTo>
                    <a:lnTo>
                      <a:pt x="509" y="123"/>
                    </a:lnTo>
                    <a:lnTo>
                      <a:pt x="504" y="120"/>
                    </a:lnTo>
                    <a:lnTo>
                      <a:pt x="499" y="120"/>
                    </a:lnTo>
                    <a:lnTo>
                      <a:pt x="499" y="120"/>
                    </a:lnTo>
                    <a:lnTo>
                      <a:pt x="490" y="120"/>
                    </a:lnTo>
                    <a:lnTo>
                      <a:pt x="490" y="120"/>
                    </a:lnTo>
                    <a:lnTo>
                      <a:pt x="486" y="120"/>
                    </a:lnTo>
                    <a:lnTo>
                      <a:pt x="481" y="119"/>
                    </a:lnTo>
                    <a:lnTo>
                      <a:pt x="481" y="119"/>
                    </a:lnTo>
                    <a:lnTo>
                      <a:pt x="477" y="113"/>
                    </a:lnTo>
                    <a:lnTo>
                      <a:pt x="474" y="110"/>
                    </a:lnTo>
                    <a:lnTo>
                      <a:pt x="471" y="109"/>
                    </a:lnTo>
                    <a:lnTo>
                      <a:pt x="471" y="109"/>
                    </a:lnTo>
                    <a:lnTo>
                      <a:pt x="444" y="96"/>
                    </a:lnTo>
                    <a:lnTo>
                      <a:pt x="444" y="96"/>
                    </a:lnTo>
                    <a:lnTo>
                      <a:pt x="436" y="92"/>
                    </a:lnTo>
                    <a:lnTo>
                      <a:pt x="432" y="90"/>
                    </a:lnTo>
                    <a:lnTo>
                      <a:pt x="428" y="92"/>
                    </a:lnTo>
                    <a:lnTo>
                      <a:pt x="428" y="92"/>
                    </a:lnTo>
                    <a:lnTo>
                      <a:pt x="423" y="96"/>
                    </a:lnTo>
                    <a:lnTo>
                      <a:pt x="419" y="103"/>
                    </a:lnTo>
                    <a:lnTo>
                      <a:pt x="416" y="109"/>
                    </a:lnTo>
                    <a:lnTo>
                      <a:pt x="413" y="112"/>
                    </a:lnTo>
                    <a:lnTo>
                      <a:pt x="412" y="112"/>
                    </a:lnTo>
                    <a:lnTo>
                      <a:pt x="412" y="112"/>
                    </a:lnTo>
                    <a:lnTo>
                      <a:pt x="412" y="112"/>
                    </a:lnTo>
                    <a:lnTo>
                      <a:pt x="412" y="110"/>
                    </a:lnTo>
                    <a:lnTo>
                      <a:pt x="415" y="105"/>
                    </a:lnTo>
                    <a:lnTo>
                      <a:pt x="420" y="94"/>
                    </a:lnTo>
                    <a:lnTo>
                      <a:pt x="420" y="94"/>
                    </a:lnTo>
                    <a:lnTo>
                      <a:pt x="419" y="90"/>
                    </a:lnTo>
                    <a:lnTo>
                      <a:pt x="418" y="87"/>
                    </a:lnTo>
                    <a:lnTo>
                      <a:pt x="413" y="86"/>
                    </a:lnTo>
                    <a:lnTo>
                      <a:pt x="413" y="86"/>
                    </a:lnTo>
                    <a:lnTo>
                      <a:pt x="403" y="87"/>
                    </a:lnTo>
                    <a:lnTo>
                      <a:pt x="400" y="87"/>
                    </a:lnTo>
                    <a:lnTo>
                      <a:pt x="397" y="86"/>
                    </a:lnTo>
                    <a:lnTo>
                      <a:pt x="397" y="86"/>
                    </a:lnTo>
                    <a:lnTo>
                      <a:pt x="393" y="80"/>
                    </a:lnTo>
                    <a:lnTo>
                      <a:pt x="391" y="78"/>
                    </a:lnTo>
                    <a:lnTo>
                      <a:pt x="389" y="80"/>
                    </a:lnTo>
                    <a:lnTo>
                      <a:pt x="389" y="80"/>
                    </a:lnTo>
                    <a:lnTo>
                      <a:pt x="383" y="86"/>
                    </a:lnTo>
                    <a:lnTo>
                      <a:pt x="381" y="87"/>
                    </a:lnTo>
                    <a:lnTo>
                      <a:pt x="380" y="87"/>
                    </a:lnTo>
                    <a:lnTo>
                      <a:pt x="378" y="87"/>
                    </a:lnTo>
                    <a:lnTo>
                      <a:pt x="378" y="87"/>
                    </a:lnTo>
                    <a:lnTo>
                      <a:pt x="378" y="86"/>
                    </a:lnTo>
                    <a:lnTo>
                      <a:pt x="380" y="84"/>
                    </a:lnTo>
                    <a:lnTo>
                      <a:pt x="383" y="81"/>
                    </a:lnTo>
                    <a:lnTo>
                      <a:pt x="390" y="76"/>
                    </a:lnTo>
                    <a:lnTo>
                      <a:pt x="390" y="76"/>
                    </a:lnTo>
                    <a:lnTo>
                      <a:pt x="391" y="73"/>
                    </a:lnTo>
                    <a:lnTo>
                      <a:pt x="393" y="68"/>
                    </a:lnTo>
                    <a:lnTo>
                      <a:pt x="394" y="64"/>
                    </a:lnTo>
                    <a:lnTo>
                      <a:pt x="394" y="60"/>
                    </a:lnTo>
                    <a:lnTo>
                      <a:pt x="394" y="60"/>
                    </a:lnTo>
                    <a:lnTo>
                      <a:pt x="391" y="55"/>
                    </a:lnTo>
                    <a:lnTo>
                      <a:pt x="387" y="50"/>
                    </a:lnTo>
                    <a:lnTo>
                      <a:pt x="387" y="50"/>
                    </a:lnTo>
                    <a:lnTo>
                      <a:pt x="384" y="44"/>
                    </a:lnTo>
                    <a:lnTo>
                      <a:pt x="380" y="35"/>
                    </a:lnTo>
                    <a:lnTo>
                      <a:pt x="373" y="21"/>
                    </a:lnTo>
                    <a:lnTo>
                      <a:pt x="373" y="21"/>
                    </a:lnTo>
                    <a:lnTo>
                      <a:pt x="370" y="16"/>
                    </a:lnTo>
                    <a:lnTo>
                      <a:pt x="370" y="16"/>
                    </a:lnTo>
                    <a:lnTo>
                      <a:pt x="362" y="29"/>
                    </a:lnTo>
                    <a:lnTo>
                      <a:pt x="355" y="38"/>
                    </a:lnTo>
                    <a:lnTo>
                      <a:pt x="355" y="38"/>
                    </a:lnTo>
                    <a:lnTo>
                      <a:pt x="349" y="44"/>
                    </a:lnTo>
                    <a:lnTo>
                      <a:pt x="342" y="48"/>
                    </a:lnTo>
                    <a:lnTo>
                      <a:pt x="336" y="50"/>
                    </a:lnTo>
                    <a:lnTo>
                      <a:pt x="332" y="51"/>
                    </a:lnTo>
                    <a:lnTo>
                      <a:pt x="332" y="51"/>
                    </a:lnTo>
                    <a:lnTo>
                      <a:pt x="328" y="51"/>
                    </a:lnTo>
                    <a:lnTo>
                      <a:pt x="320" y="50"/>
                    </a:lnTo>
                    <a:lnTo>
                      <a:pt x="320" y="50"/>
                    </a:lnTo>
                    <a:lnTo>
                      <a:pt x="310" y="47"/>
                    </a:lnTo>
                    <a:lnTo>
                      <a:pt x="305" y="47"/>
                    </a:lnTo>
                    <a:lnTo>
                      <a:pt x="300" y="47"/>
                    </a:lnTo>
                    <a:lnTo>
                      <a:pt x="300" y="47"/>
                    </a:lnTo>
                    <a:lnTo>
                      <a:pt x="292" y="50"/>
                    </a:lnTo>
                    <a:lnTo>
                      <a:pt x="281" y="52"/>
                    </a:lnTo>
                    <a:lnTo>
                      <a:pt x="273" y="57"/>
                    </a:lnTo>
                    <a:lnTo>
                      <a:pt x="265" y="58"/>
                    </a:lnTo>
                    <a:lnTo>
                      <a:pt x="265" y="58"/>
                    </a:lnTo>
                    <a:lnTo>
                      <a:pt x="261" y="60"/>
                    </a:lnTo>
                    <a:lnTo>
                      <a:pt x="258" y="63"/>
                    </a:lnTo>
                    <a:lnTo>
                      <a:pt x="255" y="65"/>
                    </a:lnTo>
                    <a:lnTo>
                      <a:pt x="251" y="67"/>
                    </a:lnTo>
                    <a:lnTo>
                      <a:pt x="251" y="67"/>
                    </a:lnTo>
                    <a:lnTo>
                      <a:pt x="248" y="67"/>
                    </a:lnTo>
                    <a:lnTo>
                      <a:pt x="245" y="64"/>
                    </a:lnTo>
                    <a:lnTo>
                      <a:pt x="241" y="60"/>
                    </a:lnTo>
                    <a:lnTo>
                      <a:pt x="238" y="52"/>
                    </a:lnTo>
                    <a:lnTo>
                      <a:pt x="236" y="45"/>
                    </a:lnTo>
                    <a:lnTo>
                      <a:pt x="236" y="45"/>
                    </a:lnTo>
                    <a:lnTo>
                      <a:pt x="236" y="32"/>
                    </a:lnTo>
                    <a:lnTo>
                      <a:pt x="236" y="21"/>
                    </a:lnTo>
                    <a:lnTo>
                      <a:pt x="236" y="21"/>
                    </a:lnTo>
                    <a:lnTo>
                      <a:pt x="236" y="15"/>
                    </a:lnTo>
                    <a:lnTo>
                      <a:pt x="234" y="8"/>
                    </a:lnTo>
                    <a:lnTo>
                      <a:pt x="229" y="3"/>
                    </a:lnTo>
                    <a:lnTo>
                      <a:pt x="225" y="0"/>
                    </a:lnTo>
                    <a:lnTo>
                      <a:pt x="225" y="0"/>
                    </a:lnTo>
                    <a:lnTo>
                      <a:pt x="223" y="0"/>
                    </a:lnTo>
                    <a:lnTo>
                      <a:pt x="222" y="2"/>
                    </a:lnTo>
                    <a:lnTo>
                      <a:pt x="219" y="6"/>
                    </a:lnTo>
                    <a:lnTo>
                      <a:pt x="216" y="12"/>
                    </a:lnTo>
                    <a:lnTo>
                      <a:pt x="212" y="16"/>
                    </a:lnTo>
                    <a:lnTo>
                      <a:pt x="212" y="16"/>
                    </a:lnTo>
                    <a:lnTo>
                      <a:pt x="203" y="19"/>
                    </a:lnTo>
                    <a:lnTo>
                      <a:pt x="190" y="21"/>
                    </a:lnTo>
                    <a:lnTo>
                      <a:pt x="170" y="21"/>
                    </a:lnTo>
                    <a:lnTo>
                      <a:pt x="170" y="21"/>
                    </a:lnTo>
                    <a:lnTo>
                      <a:pt x="167" y="21"/>
                    </a:lnTo>
                    <a:lnTo>
                      <a:pt x="166" y="19"/>
                    </a:lnTo>
                    <a:lnTo>
                      <a:pt x="163" y="16"/>
                    </a:lnTo>
                    <a:lnTo>
                      <a:pt x="158" y="15"/>
                    </a:lnTo>
                    <a:lnTo>
                      <a:pt x="157" y="15"/>
                    </a:lnTo>
                    <a:lnTo>
                      <a:pt x="154" y="16"/>
                    </a:lnTo>
                    <a:lnTo>
                      <a:pt x="154" y="16"/>
                    </a:lnTo>
                    <a:lnTo>
                      <a:pt x="152" y="18"/>
                    </a:lnTo>
                    <a:lnTo>
                      <a:pt x="152" y="22"/>
                    </a:lnTo>
                    <a:lnTo>
                      <a:pt x="157" y="29"/>
                    </a:lnTo>
                    <a:lnTo>
                      <a:pt x="166" y="47"/>
                    </a:lnTo>
                    <a:lnTo>
                      <a:pt x="166" y="47"/>
                    </a:lnTo>
                    <a:lnTo>
                      <a:pt x="167" y="50"/>
                    </a:lnTo>
                    <a:lnTo>
                      <a:pt x="167" y="51"/>
                    </a:lnTo>
                    <a:lnTo>
                      <a:pt x="164" y="55"/>
                    </a:lnTo>
                    <a:lnTo>
                      <a:pt x="160" y="60"/>
                    </a:lnTo>
                    <a:lnTo>
                      <a:pt x="155" y="63"/>
                    </a:lnTo>
                    <a:lnTo>
                      <a:pt x="155" y="63"/>
                    </a:lnTo>
                    <a:lnTo>
                      <a:pt x="145" y="68"/>
                    </a:lnTo>
                    <a:lnTo>
                      <a:pt x="137" y="70"/>
                    </a:lnTo>
                    <a:lnTo>
                      <a:pt x="137" y="70"/>
                    </a:lnTo>
                    <a:lnTo>
                      <a:pt x="131" y="68"/>
                    </a:lnTo>
                    <a:lnTo>
                      <a:pt x="125" y="64"/>
                    </a:lnTo>
                    <a:lnTo>
                      <a:pt x="121" y="60"/>
                    </a:lnTo>
                    <a:lnTo>
                      <a:pt x="118" y="55"/>
                    </a:lnTo>
                    <a:lnTo>
                      <a:pt x="118" y="55"/>
                    </a:lnTo>
                    <a:lnTo>
                      <a:pt x="116" y="52"/>
                    </a:lnTo>
                    <a:lnTo>
                      <a:pt x="113" y="52"/>
                    </a:lnTo>
                    <a:lnTo>
                      <a:pt x="105" y="54"/>
                    </a:lnTo>
                    <a:lnTo>
                      <a:pt x="105" y="54"/>
                    </a:lnTo>
                    <a:lnTo>
                      <a:pt x="102" y="54"/>
                    </a:lnTo>
                    <a:lnTo>
                      <a:pt x="102" y="57"/>
                    </a:lnTo>
                    <a:lnTo>
                      <a:pt x="103" y="63"/>
                    </a:lnTo>
                    <a:lnTo>
                      <a:pt x="103" y="63"/>
                    </a:lnTo>
                    <a:lnTo>
                      <a:pt x="102" y="65"/>
                    </a:lnTo>
                    <a:lnTo>
                      <a:pt x="97" y="65"/>
                    </a:lnTo>
                    <a:lnTo>
                      <a:pt x="87" y="65"/>
                    </a:lnTo>
                    <a:lnTo>
                      <a:pt x="87" y="65"/>
                    </a:lnTo>
                    <a:lnTo>
                      <a:pt x="83" y="65"/>
                    </a:lnTo>
                    <a:lnTo>
                      <a:pt x="80" y="68"/>
                    </a:lnTo>
                    <a:lnTo>
                      <a:pt x="73" y="77"/>
                    </a:lnTo>
                    <a:lnTo>
                      <a:pt x="73" y="77"/>
                    </a:lnTo>
                    <a:lnTo>
                      <a:pt x="73" y="78"/>
                    </a:lnTo>
                    <a:lnTo>
                      <a:pt x="73" y="80"/>
                    </a:lnTo>
                    <a:lnTo>
                      <a:pt x="76" y="84"/>
                    </a:lnTo>
                    <a:lnTo>
                      <a:pt x="80" y="90"/>
                    </a:lnTo>
                    <a:lnTo>
                      <a:pt x="83" y="94"/>
                    </a:lnTo>
                    <a:lnTo>
                      <a:pt x="83" y="94"/>
                    </a:lnTo>
                    <a:lnTo>
                      <a:pt x="83" y="102"/>
                    </a:lnTo>
                    <a:lnTo>
                      <a:pt x="80" y="109"/>
                    </a:lnTo>
                    <a:lnTo>
                      <a:pt x="74" y="125"/>
                    </a:lnTo>
                    <a:lnTo>
                      <a:pt x="74" y="125"/>
                    </a:lnTo>
                    <a:lnTo>
                      <a:pt x="70" y="134"/>
                    </a:lnTo>
                    <a:lnTo>
                      <a:pt x="68" y="142"/>
                    </a:lnTo>
                    <a:lnTo>
                      <a:pt x="67" y="152"/>
                    </a:lnTo>
                    <a:lnTo>
                      <a:pt x="64" y="151"/>
                    </a:lnTo>
                    <a:lnTo>
                      <a:pt x="64" y="151"/>
                    </a:lnTo>
                    <a:lnTo>
                      <a:pt x="61" y="151"/>
                    </a:lnTo>
                    <a:lnTo>
                      <a:pt x="57" y="151"/>
                    </a:lnTo>
                    <a:lnTo>
                      <a:pt x="57" y="151"/>
                    </a:lnTo>
                    <a:lnTo>
                      <a:pt x="53" y="151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0" y="154"/>
                    </a:lnTo>
                    <a:lnTo>
                      <a:pt x="35" y="154"/>
                    </a:lnTo>
                    <a:lnTo>
                      <a:pt x="31" y="154"/>
                    </a:lnTo>
                    <a:lnTo>
                      <a:pt x="31" y="154"/>
                    </a:lnTo>
                    <a:lnTo>
                      <a:pt x="26" y="157"/>
                    </a:lnTo>
                    <a:lnTo>
                      <a:pt x="22" y="161"/>
                    </a:lnTo>
                    <a:lnTo>
                      <a:pt x="21" y="165"/>
                    </a:lnTo>
                    <a:lnTo>
                      <a:pt x="19" y="170"/>
                    </a:lnTo>
                    <a:lnTo>
                      <a:pt x="19" y="170"/>
                    </a:lnTo>
                    <a:lnTo>
                      <a:pt x="19" y="171"/>
                    </a:lnTo>
                    <a:lnTo>
                      <a:pt x="16" y="173"/>
                    </a:lnTo>
                    <a:lnTo>
                      <a:pt x="11" y="177"/>
                    </a:lnTo>
                    <a:lnTo>
                      <a:pt x="3" y="181"/>
                    </a:lnTo>
                    <a:lnTo>
                      <a:pt x="0" y="184"/>
                    </a:lnTo>
                    <a:lnTo>
                      <a:pt x="0" y="184"/>
                    </a:lnTo>
                    <a:lnTo>
                      <a:pt x="0" y="189"/>
                    </a:lnTo>
                    <a:lnTo>
                      <a:pt x="3" y="197"/>
                    </a:lnTo>
                    <a:lnTo>
                      <a:pt x="8" y="215"/>
                    </a:lnTo>
                    <a:lnTo>
                      <a:pt x="8" y="215"/>
                    </a:lnTo>
                    <a:lnTo>
                      <a:pt x="11" y="218"/>
                    </a:lnTo>
                    <a:lnTo>
                      <a:pt x="13" y="220"/>
                    </a:lnTo>
                    <a:lnTo>
                      <a:pt x="22" y="225"/>
                    </a:lnTo>
                    <a:lnTo>
                      <a:pt x="31" y="228"/>
                    </a:lnTo>
                    <a:lnTo>
                      <a:pt x="38" y="229"/>
                    </a:lnTo>
                    <a:lnTo>
                      <a:pt x="38" y="229"/>
                    </a:lnTo>
                    <a:lnTo>
                      <a:pt x="44" y="228"/>
                    </a:lnTo>
                    <a:lnTo>
                      <a:pt x="50" y="225"/>
                    </a:lnTo>
                    <a:lnTo>
                      <a:pt x="50" y="225"/>
                    </a:lnTo>
                    <a:lnTo>
                      <a:pt x="55" y="222"/>
                    </a:lnTo>
                    <a:lnTo>
                      <a:pt x="58" y="222"/>
                    </a:lnTo>
                    <a:lnTo>
                      <a:pt x="58" y="222"/>
                    </a:lnTo>
                    <a:lnTo>
                      <a:pt x="60" y="225"/>
                    </a:lnTo>
                    <a:lnTo>
                      <a:pt x="60" y="232"/>
                    </a:lnTo>
                    <a:lnTo>
                      <a:pt x="60" y="241"/>
                    </a:lnTo>
                    <a:lnTo>
                      <a:pt x="61" y="247"/>
                    </a:lnTo>
                    <a:lnTo>
                      <a:pt x="61" y="247"/>
                    </a:lnTo>
                    <a:lnTo>
                      <a:pt x="63" y="248"/>
                    </a:lnTo>
                    <a:lnTo>
                      <a:pt x="66" y="248"/>
                    </a:lnTo>
                    <a:lnTo>
                      <a:pt x="73" y="248"/>
                    </a:lnTo>
                    <a:lnTo>
                      <a:pt x="90" y="247"/>
                    </a:lnTo>
                    <a:lnTo>
                      <a:pt x="90" y="247"/>
                    </a:lnTo>
                    <a:lnTo>
                      <a:pt x="97" y="245"/>
                    </a:lnTo>
                    <a:lnTo>
                      <a:pt x="103" y="242"/>
                    </a:lnTo>
                    <a:lnTo>
                      <a:pt x="109" y="238"/>
                    </a:lnTo>
                    <a:lnTo>
                      <a:pt x="115" y="235"/>
                    </a:lnTo>
                    <a:lnTo>
                      <a:pt x="115" y="235"/>
                    </a:lnTo>
                    <a:lnTo>
                      <a:pt x="126" y="231"/>
                    </a:lnTo>
                    <a:lnTo>
                      <a:pt x="132" y="228"/>
                    </a:lnTo>
                    <a:lnTo>
                      <a:pt x="138" y="226"/>
                    </a:lnTo>
                    <a:lnTo>
                      <a:pt x="138" y="226"/>
                    </a:lnTo>
                    <a:lnTo>
                      <a:pt x="139" y="228"/>
                    </a:lnTo>
                    <a:lnTo>
                      <a:pt x="141" y="231"/>
                    </a:lnTo>
                    <a:lnTo>
                      <a:pt x="142" y="239"/>
                    </a:lnTo>
                    <a:lnTo>
                      <a:pt x="141" y="248"/>
                    </a:lnTo>
                    <a:lnTo>
                      <a:pt x="141" y="254"/>
                    </a:lnTo>
                    <a:lnTo>
                      <a:pt x="141" y="254"/>
                    </a:lnTo>
                    <a:lnTo>
                      <a:pt x="144" y="258"/>
                    </a:lnTo>
                    <a:lnTo>
                      <a:pt x="147" y="261"/>
                    </a:lnTo>
                    <a:lnTo>
                      <a:pt x="157" y="270"/>
                    </a:lnTo>
                    <a:lnTo>
                      <a:pt x="157" y="270"/>
                    </a:lnTo>
                    <a:lnTo>
                      <a:pt x="161" y="273"/>
                    </a:lnTo>
                    <a:lnTo>
                      <a:pt x="168" y="274"/>
                    </a:lnTo>
                    <a:lnTo>
                      <a:pt x="181" y="277"/>
                    </a:lnTo>
                    <a:lnTo>
                      <a:pt x="181" y="277"/>
                    </a:lnTo>
                    <a:lnTo>
                      <a:pt x="186" y="280"/>
                    </a:lnTo>
                    <a:lnTo>
                      <a:pt x="192" y="283"/>
                    </a:lnTo>
                    <a:lnTo>
                      <a:pt x="199" y="289"/>
                    </a:lnTo>
                    <a:lnTo>
                      <a:pt x="199" y="289"/>
                    </a:lnTo>
                    <a:lnTo>
                      <a:pt x="200" y="290"/>
                    </a:lnTo>
                    <a:lnTo>
                      <a:pt x="203" y="291"/>
                    </a:lnTo>
                    <a:lnTo>
                      <a:pt x="210" y="291"/>
                    </a:lnTo>
                    <a:lnTo>
                      <a:pt x="218" y="293"/>
                    </a:lnTo>
                    <a:lnTo>
                      <a:pt x="221" y="294"/>
                    </a:lnTo>
                    <a:lnTo>
                      <a:pt x="222" y="296"/>
                    </a:lnTo>
                    <a:lnTo>
                      <a:pt x="222" y="296"/>
                    </a:lnTo>
                    <a:lnTo>
                      <a:pt x="223" y="299"/>
                    </a:lnTo>
                    <a:lnTo>
                      <a:pt x="223" y="302"/>
                    </a:lnTo>
                    <a:lnTo>
                      <a:pt x="223" y="306"/>
                    </a:lnTo>
                    <a:lnTo>
                      <a:pt x="225" y="309"/>
                    </a:lnTo>
                    <a:lnTo>
                      <a:pt x="225" y="309"/>
                    </a:lnTo>
                    <a:lnTo>
                      <a:pt x="231" y="320"/>
                    </a:lnTo>
                    <a:lnTo>
                      <a:pt x="234" y="326"/>
                    </a:lnTo>
                    <a:lnTo>
                      <a:pt x="236" y="331"/>
                    </a:lnTo>
                    <a:lnTo>
                      <a:pt x="236" y="331"/>
                    </a:lnTo>
                    <a:lnTo>
                      <a:pt x="239" y="332"/>
                    </a:lnTo>
                    <a:lnTo>
                      <a:pt x="242" y="333"/>
                    </a:lnTo>
                    <a:lnTo>
                      <a:pt x="250" y="333"/>
                    </a:lnTo>
                    <a:lnTo>
                      <a:pt x="250" y="333"/>
                    </a:lnTo>
                    <a:lnTo>
                      <a:pt x="255" y="332"/>
                    </a:lnTo>
                    <a:lnTo>
                      <a:pt x="255" y="332"/>
                    </a:lnTo>
                    <a:lnTo>
                      <a:pt x="257" y="333"/>
                    </a:lnTo>
                    <a:lnTo>
                      <a:pt x="258" y="335"/>
                    </a:lnTo>
                    <a:lnTo>
                      <a:pt x="258" y="338"/>
                    </a:lnTo>
                    <a:lnTo>
                      <a:pt x="258" y="348"/>
                    </a:lnTo>
                    <a:lnTo>
                      <a:pt x="258" y="348"/>
                    </a:lnTo>
                    <a:lnTo>
                      <a:pt x="260" y="351"/>
                    </a:lnTo>
                    <a:lnTo>
                      <a:pt x="263" y="354"/>
                    </a:lnTo>
                    <a:lnTo>
                      <a:pt x="267" y="355"/>
                    </a:lnTo>
                    <a:lnTo>
                      <a:pt x="270" y="358"/>
                    </a:lnTo>
                    <a:lnTo>
                      <a:pt x="270" y="358"/>
                    </a:lnTo>
                    <a:lnTo>
                      <a:pt x="271" y="362"/>
                    </a:lnTo>
                    <a:lnTo>
                      <a:pt x="271" y="370"/>
                    </a:lnTo>
                    <a:lnTo>
                      <a:pt x="270" y="378"/>
                    </a:lnTo>
                    <a:lnTo>
                      <a:pt x="267" y="384"/>
                    </a:lnTo>
                    <a:lnTo>
                      <a:pt x="267" y="384"/>
                    </a:lnTo>
                    <a:lnTo>
                      <a:pt x="264" y="388"/>
                    </a:lnTo>
                    <a:lnTo>
                      <a:pt x="264" y="393"/>
                    </a:lnTo>
                    <a:lnTo>
                      <a:pt x="265" y="401"/>
                    </a:lnTo>
                    <a:lnTo>
                      <a:pt x="265" y="401"/>
                    </a:lnTo>
                    <a:lnTo>
                      <a:pt x="268" y="415"/>
                    </a:lnTo>
                    <a:lnTo>
                      <a:pt x="270" y="428"/>
                    </a:lnTo>
                    <a:lnTo>
                      <a:pt x="270" y="428"/>
                    </a:lnTo>
                    <a:lnTo>
                      <a:pt x="271" y="430"/>
                    </a:lnTo>
                    <a:lnTo>
                      <a:pt x="274" y="432"/>
                    </a:lnTo>
                    <a:lnTo>
                      <a:pt x="286" y="435"/>
                    </a:lnTo>
                    <a:lnTo>
                      <a:pt x="296" y="435"/>
                    </a:lnTo>
                    <a:lnTo>
                      <a:pt x="302" y="436"/>
                    </a:lnTo>
                    <a:lnTo>
                      <a:pt x="302" y="436"/>
                    </a:lnTo>
                    <a:lnTo>
                      <a:pt x="305" y="439"/>
                    </a:lnTo>
                    <a:lnTo>
                      <a:pt x="306" y="443"/>
                    </a:lnTo>
                    <a:lnTo>
                      <a:pt x="309" y="449"/>
                    </a:lnTo>
                    <a:lnTo>
                      <a:pt x="309" y="454"/>
                    </a:lnTo>
                    <a:lnTo>
                      <a:pt x="309" y="454"/>
                    </a:lnTo>
                    <a:lnTo>
                      <a:pt x="309" y="458"/>
                    </a:lnTo>
                    <a:lnTo>
                      <a:pt x="312" y="461"/>
                    </a:lnTo>
                    <a:lnTo>
                      <a:pt x="316" y="465"/>
                    </a:lnTo>
                    <a:lnTo>
                      <a:pt x="316" y="465"/>
                    </a:lnTo>
                    <a:lnTo>
                      <a:pt x="318" y="470"/>
                    </a:lnTo>
                    <a:lnTo>
                      <a:pt x="319" y="475"/>
                    </a:lnTo>
                    <a:lnTo>
                      <a:pt x="318" y="483"/>
                    </a:lnTo>
                    <a:lnTo>
                      <a:pt x="316" y="487"/>
                    </a:lnTo>
                    <a:lnTo>
                      <a:pt x="316" y="487"/>
                    </a:lnTo>
                    <a:lnTo>
                      <a:pt x="315" y="490"/>
                    </a:lnTo>
                    <a:lnTo>
                      <a:pt x="316" y="493"/>
                    </a:lnTo>
                    <a:lnTo>
                      <a:pt x="323" y="497"/>
                    </a:lnTo>
                    <a:lnTo>
                      <a:pt x="323" y="497"/>
                    </a:lnTo>
                    <a:lnTo>
                      <a:pt x="325" y="499"/>
                    </a:lnTo>
                    <a:lnTo>
                      <a:pt x="326" y="501"/>
                    </a:lnTo>
                    <a:lnTo>
                      <a:pt x="329" y="507"/>
                    </a:lnTo>
                    <a:lnTo>
                      <a:pt x="329" y="516"/>
                    </a:lnTo>
                    <a:lnTo>
                      <a:pt x="329" y="522"/>
                    </a:lnTo>
                    <a:lnTo>
                      <a:pt x="329" y="522"/>
                    </a:lnTo>
                    <a:lnTo>
                      <a:pt x="328" y="523"/>
                    </a:lnTo>
                    <a:lnTo>
                      <a:pt x="325" y="528"/>
                    </a:lnTo>
                    <a:lnTo>
                      <a:pt x="315" y="535"/>
                    </a:lnTo>
                    <a:lnTo>
                      <a:pt x="293" y="551"/>
                    </a:lnTo>
                    <a:lnTo>
                      <a:pt x="293" y="551"/>
                    </a:lnTo>
                    <a:lnTo>
                      <a:pt x="287" y="556"/>
                    </a:lnTo>
                    <a:lnTo>
                      <a:pt x="283" y="562"/>
                    </a:lnTo>
                    <a:lnTo>
                      <a:pt x="280" y="570"/>
                    </a:lnTo>
                    <a:lnTo>
                      <a:pt x="277" y="575"/>
                    </a:lnTo>
                    <a:lnTo>
                      <a:pt x="277" y="575"/>
                    </a:lnTo>
                    <a:lnTo>
                      <a:pt x="276" y="580"/>
                    </a:lnTo>
                    <a:lnTo>
                      <a:pt x="276" y="580"/>
                    </a:lnTo>
                    <a:lnTo>
                      <a:pt x="283" y="581"/>
                    </a:lnTo>
                    <a:lnTo>
                      <a:pt x="289" y="584"/>
                    </a:lnTo>
                    <a:lnTo>
                      <a:pt x="289" y="584"/>
                    </a:lnTo>
                    <a:lnTo>
                      <a:pt x="302" y="593"/>
                    </a:lnTo>
                    <a:lnTo>
                      <a:pt x="318" y="601"/>
                    </a:lnTo>
                    <a:lnTo>
                      <a:pt x="318" y="601"/>
                    </a:lnTo>
                    <a:lnTo>
                      <a:pt x="323" y="606"/>
                    </a:lnTo>
                    <a:lnTo>
                      <a:pt x="328" y="609"/>
                    </a:lnTo>
                    <a:lnTo>
                      <a:pt x="329" y="613"/>
                    </a:lnTo>
                    <a:lnTo>
                      <a:pt x="335" y="619"/>
                    </a:lnTo>
                    <a:lnTo>
                      <a:pt x="335" y="619"/>
                    </a:lnTo>
                    <a:lnTo>
                      <a:pt x="342" y="626"/>
                    </a:lnTo>
                    <a:lnTo>
                      <a:pt x="349" y="632"/>
                    </a:lnTo>
                    <a:lnTo>
                      <a:pt x="349" y="632"/>
                    </a:lnTo>
                    <a:lnTo>
                      <a:pt x="351" y="627"/>
                    </a:lnTo>
                    <a:lnTo>
                      <a:pt x="351" y="627"/>
                    </a:lnTo>
                    <a:lnTo>
                      <a:pt x="351" y="625"/>
                    </a:lnTo>
                    <a:lnTo>
                      <a:pt x="352" y="623"/>
                    </a:lnTo>
                    <a:lnTo>
                      <a:pt x="357" y="619"/>
                    </a:lnTo>
                    <a:lnTo>
                      <a:pt x="357" y="619"/>
                    </a:lnTo>
                    <a:lnTo>
                      <a:pt x="362" y="613"/>
                    </a:lnTo>
                    <a:lnTo>
                      <a:pt x="364" y="610"/>
                    </a:lnTo>
                    <a:lnTo>
                      <a:pt x="365" y="606"/>
                    </a:lnTo>
                    <a:lnTo>
                      <a:pt x="365" y="606"/>
                    </a:lnTo>
                    <a:lnTo>
                      <a:pt x="365" y="594"/>
                    </a:lnTo>
                    <a:lnTo>
                      <a:pt x="367" y="588"/>
                    </a:lnTo>
                    <a:lnTo>
                      <a:pt x="368" y="585"/>
                    </a:lnTo>
                    <a:lnTo>
                      <a:pt x="368" y="585"/>
                    </a:lnTo>
                    <a:lnTo>
                      <a:pt x="371" y="584"/>
                    </a:lnTo>
                    <a:lnTo>
                      <a:pt x="374" y="583"/>
                    </a:lnTo>
                    <a:lnTo>
                      <a:pt x="377" y="583"/>
                    </a:lnTo>
                    <a:lnTo>
                      <a:pt x="377" y="584"/>
                    </a:lnTo>
                    <a:lnTo>
                      <a:pt x="377" y="584"/>
                    </a:lnTo>
                    <a:lnTo>
                      <a:pt x="373" y="593"/>
                    </a:lnTo>
                    <a:lnTo>
                      <a:pt x="371" y="597"/>
                    </a:lnTo>
                    <a:lnTo>
                      <a:pt x="371" y="598"/>
                    </a:lnTo>
                    <a:lnTo>
                      <a:pt x="373" y="598"/>
                    </a:lnTo>
                    <a:lnTo>
                      <a:pt x="373" y="598"/>
                    </a:lnTo>
                    <a:lnTo>
                      <a:pt x="381" y="591"/>
                    </a:lnTo>
                    <a:lnTo>
                      <a:pt x="390" y="583"/>
                    </a:lnTo>
                    <a:lnTo>
                      <a:pt x="390" y="583"/>
                    </a:lnTo>
                    <a:lnTo>
                      <a:pt x="393" y="575"/>
                    </a:lnTo>
                    <a:lnTo>
                      <a:pt x="397" y="567"/>
                    </a:lnTo>
                    <a:lnTo>
                      <a:pt x="400" y="558"/>
                    </a:lnTo>
                    <a:lnTo>
                      <a:pt x="402" y="555"/>
                    </a:lnTo>
                    <a:lnTo>
                      <a:pt x="404" y="554"/>
                    </a:lnTo>
                    <a:lnTo>
                      <a:pt x="404" y="554"/>
                    </a:lnTo>
                    <a:lnTo>
                      <a:pt x="412" y="551"/>
                    </a:lnTo>
                    <a:lnTo>
                      <a:pt x="413" y="549"/>
                    </a:lnTo>
                    <a:lnTo>
                      <a:pt x="416" y="546"/>
                    </a:lnTo>
                    <a:lnTo>
                      <a:pt x="416" y="546"/>
                    </a:lnTo>
                    <a:lnTo>
                      <a:pt x="416" y="543"/>
                    </a:lnTo>
                    <a:lnTo>
                      <a:pt x="416" y="539"/>
                    </a:lnTo>
                    <a:lnTo>
                      <a:pt x="416" y="535"/>
                    </a:lnTo>
                    <a:lnTo>
                      <a:pt x="418" y="532"/>
                    </a:lnTo>
                    <a:lnTo>
                      <a:pt x="418" y="532"/>
                    </a:lnTo>
                    <a:lnTo>
                      <a:pt x="418" y="528"/>
                    </a:lnTo>
                    <a:lnTo>
                      <a:pt x="416" y="525"/>
                    </a:lnTo>
                    <a:lnTo>
                      <a:pt x="415" y="520"/>
                    </a:lnTo>
                    <a:lnTo>
                      <a:pt x="415" y="516"/>
                    </a:lnTo>
                    <a:lnTo>
                      <a:pt x="415" y="516"/>
                    </a:lnTo>
                    <a:lnTo>
                      <a:pt x="415" y="512"/>
                    </a:lnTo>
                    <a:lnTo>
                      <a:pt x="415" y="507"/>
                    </a:lnTo>
                    <a:lnTo>
                      <a:pt x="415" y="501"/>
                    </a:lnTo>
                    <a:lnTo>
                      <a:pt x="418" y="497"/>
                    </a:lnTo>
                    <a:lnTo>
                      <a:pt x="418" y="497"/>
                    </a:lnTo>
                    <a:lnTo>
                      <a:pt x="431" y="483"/>
                    </a:lnTo>
                    <a:lnTo>
                      <a:pt x="438" y="475"/>
                    </a:lnTo>
                    <a:lnTo>
                      <a:pt x="446" y="471"/>
                    </a:lnTo>
                    <a:lnTo>
                      <a:pt x="446" y="471"/>
                    </a:lnTo>
                    <a:lnTo>
                      <a:pt x="451" y="470"/>
                    </a:lnTo>
                    <a:lnTo>
                      <a:pt x="455" y="467"/>
                    </a:lnTo>
                    <a:lnTo>
                      <a:pt x="458" y="465"/>
                    </a:lnTo>
                    <a:lnTo>
                      <a:pt x="461" y="462"/>
                    </a:lnTo>
                    <a:lnTo>
                      <a:pt x="461" y="462"/>
                    </a:lnTo>
                    <a:lnTo>
                      <a:pt x="465" y="461"/>
                    </a:lnTo>
                    <a:lnTo>
                      <a:pt x="470" y="458"/>
                    </a:lnTo>
                    <a:lnTo>
                      <a:pt x="474" y="454"/>
                    </a:lnTo>
                    <a:lnTo>
                      <a:pt x="478" y="451"/>
                    </a:lnTo>
                    <a:lnTo>
                      <a:pt x="478" y="451"/>
                    </a:lnTo>
                    <a:lnTo>
                      <a:pt x="487" y="449"/>
                    </a:lnTo>
                    <a:lnTo>
                      <a:pt x="497" y="449"/>
                    </a:lnTo>
                    <a:lnTo>
                      <a:pt x="509" y="448"/>
                    </a:lnTo>
                    <a:lnTo>
                      <a:pt x="517" y="446"/>
                    </a:lnTo>
                    <a:lnTo>
                      <a:pt x="517" y="446"/>
                    </a:lnTo>
                    <a:lnTo>
                      <a:pt x="525" y="443"/>
                    </a:lnTo>
                    <a:lnTo>
                      <a:pt x="529" y="439"/>
                    </a:lnTo>
                    <a:lnTo>
                      <a:pt x="536" y="432"/>
                    </a:lnTo>
                    <a:lnTo>
                      <a:pt x="536" y="432"/>
                    </a:lnTo>
                    <a:lnTo>
                      <a:pt x="542" y="417"/>
                    </a:lnTo>
                    <a:lnTo>
                      <a:pt x="548" y="407"/>
                    </a:lnTo>
                    <a:lnTo>
                      <a:pt x="552" y="401"/>
                    </a:lnTo>
                    <a:lnTo>
                      <a:pt x="552" y="401"/>
                    </a:lnTo>
                    <a:lnTo>
                      <a:pt x="555" y="396"/>
                    </a:lnTo>
                    <a:lnTo>
                      <a:pt x="558" y="388"/>
                    </a:lnTo>
                    <a:lnTo>
                      <a:pt x="561" y="380"/>
                    </a:lnTo>
                    <a:lnTo>
                      <a:pt x="562" y="373"/>
                    </a:lnTo>
                    <a:lnTo>
                      <a:pt x="562" y="373"/>
                    </a:lnTo>
                    <a:lnTo>
                      <a:pt x="564" y="364"/>
                    </a:lnTo>
                    <a:lnTo>
                      <a:pt x="565" y="355"/>
                    </a:lnTo>
                    <a:lnTo>
                      <a:pt x="568" y="342"/>
                    </a:lnTo>
                    <a:lnTo>
                      <a:pt x="568" y="342"/>
                    </a:lnTo>
                    <a:lnTo>
                      <a:pt x="570" y="339"/>
                    </a:lnTo>
                    <a:lnTo>
                      <a:pt x="571" y="336"/>
                    </a:lnTo>
                    <a:lnTo>
                      <a:pt x="571" y="333"/>
                    </a:lnTo>
                    <a:lnTo>
                      <a:pt x="572" y="326"/>
                    </a:lnTo>
                    <a:lnTo>
                      <a:pt x="572" y="326"/>
                    </a:lnTo>
                    <a:lnTo>
                      <a:pt x="571" y="303"/>
                    </a:lnTo>
                    <a:lnTo>
                      <a:pt x="571" y="293"/>
                    </a:lnTo>
                    <a:lnTo>
                      <a:pt x="572" y="289"/>
                    </a:lnTo>
                    <a:lnTo>
                      <a:pt x="574" y="287"/>
                    </a:lnTo>
                    <a:lnTo>
                      <a:pt x="574" y="287"/>
                    </a:lnTo>
                    <a:lnTo>
                      <a:pt x="581" y="281"/>
                    </a:lnTo>
                    <a:lnTo>
                      <a:pt x="587" y="274"/>
                    </a:lnTo>
                    <a:lnTo>
                      <a:pt x="587" y="274"/>
                    </a:lnTo>
                    <a:lnTo>
                      <a:pt x="599" y="255"/>
                    </a:lnTo>
                    <a:lnTo>
                      <a:pt x="606" y="245"/>
                    </a:lnTo>
                    <a:lnTo>
                      <a:pt x="613" y="236"/>
                    </a:lnTo>
                    <a:lnTo>
                      <a:pt x="613" y="236"/>
                    </a:lnTo>
                    <a:lnTo>
                      <a:pt x="622" y="229"/>
                    </a:lnTo>
                    <a:lnTo>
                      <a:pt x="630" y="219"/>
                    </a:lnTo>
                    <a:lnTo>
                      <a:pt x="636" y="209"/>
                    </a:lnTo>
                    <a:lnTo>
                      <a:pt x="638" y="205"/>
                    </a:lnTo>
                    <a:lnTo>
                      <a:pt x="639" y="200"/>
                    </a:lnTo>
                    <a:lnTo>
                      <a:pt x="639" y="200"/>
                    </a:lnTo>
                    <a:lnTo>
                      <a:pt x="638" y="186"/>
                    </a:lnTo>
                    <a:lnTo>
                      <a:pt x="636" y="178"/>
                    </a:lnTo>
                    <a:lnTo>
                      <a:pt x="635" y="17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06" name="Freeform 257"/>
              <p:cNvSpPr>
                <a:spLocks/>
              </p:cNvSpPr>
              <p:nvPr/>
            </p:nvSpPr>
            <p:spPr bwMode="auto">
              <a:xfrm>
                <a:off x="3618353" y="3382429"/>
                <a:ext cx="5936" cy="12860"/>
              </a:xfrm>
              <a:custGeom>
                <a:avLst/>
                <a:gdLst>
                  <a:gd name="T0" fmla="*/ 3 w 6"/>
                  <a:gd name="T1" fmla="*/ 13 h 13"/>
                  <a:gd name="T2" fmla="*/ 3 w 6"/>
                  <a:gd name="T3" fmla="*/ 13 h 13"/>
                  <a:gd name="T4" fmla="*/ 2 w 6"/>
                  <a:gd name="T5" fmla="*/ 13 h 13"/>
                  <a:gd name="T6" fmla="*/ 0 w 6"/>
                  <a:gd name="T7" fmla="*/ 11 h 13"/>
                  <a:gd name="T8" fmla="*/ 0 w 6"/>
                  <a:gd name="T9" fmla="*/ 7 h 13"/>
                  <a:gd name="T10" fmla="*/ 2 w 6"/>
                  <a:gd name="T11" fmla="*/ 3 h 13"/>
                  <a:gd name="T12" fmla="*/ 3 w 6"/>
                  <a:gd name="T13" fmla="*/ 0 h 13"/>
                  <a:gd name="T14" fmla="*/ 3 w 6"/>
                  <a:gd name="T15" fmla="*/ 0 h 13"/>
                  <a:gd name="T16" fmla="*/ 4 w 6"/>
                  <a:gd name="T17" fmla="*/ 0 h 13"/>
                  <a:gd name="T18" fmla="*/ 6 w 6"/>
                  <a:gd name="T19" fmla="*/ 1 h 13"/>
                  <a:gd name="T20" fmla="*/ 6 w 6"/>
                  <a:gd name="T21" fmla="*/ 6 h 13"/>
                  <a:gd name="T22" fmla="*/ 6 w 6"/>
                  <a:gd name="T23" fmla="*/ 10 h 13"/>
                  <a:gd name="T24" fmla="*/ 4 w 6"/>
                  <a:gd name="T25" fmla="*/ 13 h 13"/>
                  <a:gd name="T26" fmla="*/ 3 w 6"/>
                  <a:gd name="T27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13">
                    <a:moveTo>
                      <a:pt x="3" y="13"/>
                    </a:moveTo>
                    <a:lnTo>
                      <a:pt x="3" y="13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6" y="1"/>
                    </a:lnTo>
                    <a:lnTo>
                      <a:pt x="6" y="6"/>
                    </a:lnTo>
                    <a:lnTo>
                      <a:pt x="6" y="10"/>
                    </a:lnTo>
                    <a:lnTo>
                      <a:pt x="4" y="13"/>
                    </a:lnTo>
                    <a:lnTo>
                      <a:pt x="3" y="1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07" name="Freeform 258"/>
              <p:cNvSpPr>
                <a:spLocks/>
              </p:cNvSpPr>
              <p:nvPr/>
            </p:nvSpPr>
            <p:spPr bwMode="auto">
              <a:xfrm>
                <a:off x="3040626" y="3148964"/>
                <a:ext cx="47484" cy="41549"/>
              </a:xfrm>
              <a:custGeom>
                <a:avLst/>
                <a:gdLst>
                  <a:gd name="T0" fmla="*/ 48 w 48"/>
                  <a:gd name="T1" fmla="*/ 19 h 42"/>
                  <a:gd name="T2" fmla="*/ 48 w 48"/>
                  <a:gd name="T3" fmla="*/ 19 h 42"/>
                  <a:gd name="T4" fmla="*/ 41 w 48"/>
                  <a:gd name="T5" fmla="*/ 13 h 42"/>
                  <a:gd name="T6" fmla="*/ 38 w 48"/>
                  <a:gd name="T7" fmla="*/ 10 h 42"/>
                  <a:gd name="T8" fmla="*/ 35 w 48"/>
                  <a:gd name="T9" fmla="*/ 5 h 42"/>
                  <a:gd name="T10" fmla="*/ 35 w 48"/>
                  <a:gd name="T11" fmla="*/ 5 h 42"/>
                  <a:gd name="T12" fmla="*/ 34 w 48"/>
                  <a:gd name="T13" fmla="*/ 1 h 42"/>
                  <a:gd name="T14" fmla="*/ 34 w 48"/>
                  <a:gd name="T15" fmla="*/ 1 h 42"/>
                  <a:gd name="T16" fmla="*/ 0 w 48"/>
                  <a:gd name="T17" fmla="*/ 0 h 42"/>
                  <a:gd name="T18" fmla="*/ 0 w 48"/>
                  <a:gd name="T19" fmla="*/ 0 h 42"/>
                  <a:gd name="T20" fmla="*/ 2 w 48"/>
                  <a:gd name="T21" fmla="*/ 4 h 42"/>
                  <a:gd name="T22" fmla="*/ 2 w 48"/>
                  <a:gd name="T23" fmla="*/ 4 h 42"/>
                  <a:gd name="T24" fmla="*/ 2 w 48"/>
                  <a:gd name="T25" fmla="*/ 11 h 42"/>
                  <a:gd name="T26" fmla="*/ 2 w 48"/>
                  <a:gd name="T27" fmla="*/ 16 h 42"/>
                  <a:gd name="T28" fmla="*/ 3 w 48"/>
                  <a:gd name="T29" fmla="*/ 19 h 42"/>
                  <a:gd name="T30" fmla="*/ 3 w 48"/>
                  <a:gd name="T31" fmla="*/ 19 h 42"/>
                  <a:gd name="T32" fmla="*/ 11 w 48"/>
                  <a:gd name="T33" fmla="*/ 23 h 42"/>
                  <a:gd name="T34" fmla="*/ 13 w 48"/>
                  <a:gd name="T35" fmla="*/ 23 h 42"/>
                  <a:gd name="T36" fmla="*/ 15 w 48"/>
                  <a:gd name="T37" fmla="*/ 21 h 42"/>
                  <a:gd name="T38" fmla="*/ 15 w 48"/>
                  <a:gd name="T39" fmla="*/ 21 h 42"/>
                  <a:gd name="T40" fmla="*/ 15 w 48"/>
                  <a:gd name="T41" fmla="*/ 19 h 42"/>
                  <a:gd name="T42" fmla="*/ 16 w 48"/>
                  <a:gd name="T43" fmla="*/ 21 h 42"/>
                  <a:gd name="T44" fmla="*/ 16 w 48"/>
                  <a:gd name="T45" fmla="*/ 21 h 42"/>
                  <a:gd name="T46" fmla="*/ 19 w 48"/>
                  <a:gd name="T47" fmla="*/ 27 h 42"/>
                  <a:gd name="T48" fmla="*/ 22 w 48"/>
                  <a:gd name="T49" fmla="*/ 29 h 42"/>
                  <a:gd name="T50" fmla="*/ 27 w 48"/>
                  <a:gd name="T51" fmla="*/ 30 h 42"/>
                  <a:gd name="T52" fmla="*/ 27 w 48"/>
                  <a:gd name="T53" fmla="*/ 30 h 42"/>
                  <a:gd name="T54" fmla="*/ 31 w 48"/>
                  <a:gd name="T55" fmla="*/ 32 h 42"/>
                  <a:gd name="T56" fmla="*/ 32 w 48"/>
                  <a:gd name="T57" fmla="*/ 34 h 42"/>
                  <a:gd name="T58" fmla="*/ 34 w 48"/>
                  <a:gd name="T59" fmla="*/ 39 h 42"/>
                  <a:gd name="T60" fmla="*/ 34 w 48"/>
                  <a:gd name="T61" fmla="*/ 39 h 42"/>
                  <a:gd name="T62" fmla="*/ 37 w 48"/>
                  <a:gd name="T63" fmla="*/ 40 h 42"/>
                  <a:gd name="T64" fmla="*/ 40 w 48"/>
                  <a:gd name="T65" fmla="*/ 42 h 42"/>
                  <a:gd name="T66" fmla="*/ 45 w 48"/>
                  <a:gd name="T67" fmla="*/ 42 h 42"/>
                  <a:gd name="T68" fmla="*/ 45 w 48"/>
                  <a:gd name="T69" fmla="*/ 42 h 42"/>
                  <a:gd name="T70" fmla="*/ 45 w 48"/>
                  <a:gd name="T71" fmla="*/ 34 h 42"/>
                  <a:gd name="T72" fmla="*/ 44 w 48"/>
                  <a:gd name="T73" fmla="*/ 30 h 42"/>
                  <a:gd name="T74" fmla="*/ 44 w 48"/>
                  <a:gd name="T75" fmla="*/ 30 h 42"/>
                  <a:gd name="T76" fmla="*/ 44 w 48"/>
                  <a:gd name="T77" fmla="*/ 27 h 42"/>
                  <a:gd name="T78" fmla="*/ 44 w 48"/>
                  <a:gd name="T79" fmla="*/ 24 h 42"/>
                  <a:gd name="T80" fmla="*/ 48 w 48"/>
                  <a:gd name="T81" fmla="*/ 1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8" h="42">
                    <a:moveTo>
                      <a:pt x="48" y="19"/>
                    </a:moveTo>
                    <a:lnTo>
                      <a:pt x="48" y="19"/>
                    </a:lnTo>
                    <a:lnTo>
                      <a:pt x="41" y="13"/>
                    </a:lnTo>
                    <a:lnTo>
                      <a:pt x="38" y="10"/>
                    </a:lnTo>
                    <a:lnTo>
                      <a:pt x="35" y="5"/>
                    </a:lnTo>
                    <a:lnTo>
                      <a:pt x="35" y="5"/>
                    </a:lnTo>
                    <a:lnTo>
                      <a:pt x="34" y="1"/>
                    </a:lnTo>
                    <a:lnTo>
                      <a:pt x="34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11"/>
                    </a:lnTo>
                    <a:lnTo>
                      <a:pt x="2" y="16"/>
                    </a:lnTo>
                    <a:lnTo>
                      <a:pt x="3" y="19"/>
                    </a:lnTo>
                    <a:lnTo>
                      <a:pt x="3" y="19"/>
                    </a:lnTo>
                    <a:lnTo>
                      <a:pt x="11" y="23"/>
                    </a:lnTo>
                    <a:lnTo>
                      <a:pt x="13" y="23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19"/>
                    </a:lnTo>
                    <a:lnTo>
                      <a:pt x="16" y="21"/>
                    </a:lnTo>
                    <a:lnTo>
                      <a:pt x="16" y="21"/>
                    </a:lnTo>
                    <a:lnTo>
                      <a:pt x="19" y="27"/>
                    </a:lnTo>
                    <a:lnTo>
                      <a:pt x="22" y="29"/>
                    </a:lnTo>
                    <a:lnTo>
                      <a:pt x="27" y="30"/>
                    </a:lnTo>
                    <a:lnTo>
                      <a:pt x="27" y="30"/>
                    </a:lnTo>
                    <a:lnTo>
                      <a:pt x="31" y="32"/>
                    </a:lnTo>
                    <a:lnTo>
                      <a:pt x="32" y="34"/>
                    </a:lnTo>
                    <a:lnTo>
                      <a:pt x="34" y="39"/>
                    </a:lnTo>
                    <a:lnTo>
                      <a:pt x="34" y="39"/>
                    </a:lnTo>
                    <a:lnTo>
                      <a:pt x="37" y="40"/>
                    </a:lnTo>
                    <a:lnTo>
                      <a:pt x="40" y="42"/>
                    </a:lnTo>
                    <a:lnTo>
                      <a:pt x="45" y="42"/>
                    </a:lnTo>
                    <a:lnTo>
                      <a:pt x="45" y="42"/>
                    </a:lnTo>
                    <a:lnTo>
                      <a:pt x="45" y="34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7"/>
                    </a:lnTo>
                    <a:lnTo>
                      <a:pt x="44" y="24"/>
                    </a:lnTo>
                    <a:lnTo>
                      <a:pt x="48" y="1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08" name="Freeform 259"/>
              <p:cNvSpPr>
                <a:spLocks/>
              </p:cNvSpPr>
              <p:nvPr/>
            </p:nvSpPr>
            <p:spPr bwMode="auto">
              <a:xfrm>
                <a:off x="3040626" y="3148964"/>
                <a:ext cx="47484" cy="41549"/>
              </a:xfrm>
              <a:custGeom>
                <a:avLst/>
                <a:gdLst>
                  <a:gd name="T0" fmla="*/ 48 w 48"/>
                  <a:gd name="T1" fmla="*/ 19 h 42"/>
                  <a:gd name="T2" fmla="*/ 48 w 48"/>
                  <a:gd name="T3" fmla="*/ 19 h 42"/>
                  <a:gd name="T4" fmla="*/ 41 w 48"/>
                  <a:gd name="T5" fmla="*/ 13 h 42"/>
                  <a:gd name="T6" fmla="*/ 38 w 48"/>
                  <a:gd name="T7" fmla="*/ 10 h 42"/>
                  <a:gd name="T8" fmla="*/ 35 w 48"/>
                  <a:gd name="T9" fmla="*/ 5 h 42"/>
                  <a:gd name="T10" fmla="*/ 35 w 48"/>
                  <a:gd name="T11" fmla="*/ 5 h 42"/>
                  <a:gd name="T12" fmla="*/ 34 w 48"/>
                  <a:gd name="T13" fmla="*/ 1 h 42"/>
                  <a:gd name="T14" fmla="*/ 34 w 48"/>
                  <a:gd name="T15" fmla="*/ 1 h 42"/>
                  <a:gd name="T16" fmla="*/ 0 w 48"/>
                  <a:gd name="T17" fmla="*/ 0 h 42"/>
                  <a:gd name="T18" fmla="*/ 0 w 48"/>
                  <a:gd name="T19" fmla="*/ 0 h 42"/>
                  <a:gd name="T20" fmla="*/ 2 w 48"/>
                  <a:gd name="T21" fmla="*/ 4 h 42"/>
                  <a:gd name="T22" fmla="*/ 2 w 48"/>
                  <a:gd name="T23" fmla="*/ 4 h 42"/>
                  <a:gd name="T24" fmla="*/ 2 w 48"/>
                  <a:gd name="T25" fmla="*/ 11 h 42"/>
                  <a:gd name="T26" fmla="*/ 2 w 48"/>
                  <a:gd name="T27" fmla="*/ 16 h 42"/>
                  <a:gd name="T28" fmla="*/ 3 w 48"/>
                  <a:gd name="T29" fmla="*/ 19 h 42"/>
                  <a:gd name="T30" fmla="*/ 3 w 48"/>
                  <a:gd name="T31" fmla="*/ 19 h 42"/>
                  <a:gd name="T32" fmla="*/ 11 w 48"/>
                  <a:gd name="T33" fmla="*/ 23 h 42"/>
                  <a:gd name="T34" fmla="*/ 13 w 48"/>
                  <a:gd name="T35" fmla="*/ 23 h 42"/>
                  <a:gd name="T36" fmla="*/ 15 w 48"/>
                  <a:gd name="T37" fmla="*/ 21 h 42"/>
                  <a:gd name="T38" fmla="*/ 15 w 48"/>
                  <a:gd name="T39" fmla="*/ 21 h 42"/>
                  <a:gd name="T40" fmla="*/ 15 w 48"/>
                  <a:gd name="T41" fmla="*/ 19 h 42"/>
                  <a:gd name="T42" fmla="*/ 16 w 48"/>
                  <a:gd name="T43" fmla="*/ 21 h 42"/>
                  <a:gd name="T44" fmla="*/ 16 w 48"/>
                  <a:gd name="T45" fmla="*/ 21 h 42"/>
                  <a:gd name="T46" fmla="*/ 19 w 48"/>
                  <a:gd name="T47" fmla="*/ 27 h 42"/>
                  <a:gd name="T48" fmla="*/ 22 w 48"/>
                  <a:gd name="T49" fmla="*/ 29 h 42"/>
                  <a:gd name="T50" fmla="*/ 27 w 48"/>
                  <a:gd name="T51" fmla="*/ 30 h 42"/>
                  <a:gd name="T52" fmla="*/ 27 w 48"/>
                  <a:gd name="T53" fmla="*/ 30 h 42"/>
                  <a:gd name="T54" fmla="*/ 31 w 48"/>
                  <a:gd name="T55" fmla="*/ 32 h 42"/>
                  <a:gd name="T56" fmla="*/ 32 w 48"/>
                  <a:gd name="T57" fmla="*/ 34 h 42"/>
                  <a:gd name="T58" fmla="*/ 34 w 48"/>
                  <a:gd name="T59" fmla="*/ 39 h 42"/>
                  <a:gd name="T60" fmla="*/ 34 w 48"/>
                  <a:gd name="T61" fmla="*/ 39 h 42"/>
                  <a:gd name="T62" fmla="*/ 37 w 48"/>
                  <a:gd name="T63" fmla="*/ 40 h 42"/>
                  <a:gd name="T64" fmla="*/ 40 w 48"/>
                  <a:gd name="T65" fmla="*/ 42 h 42"/>
                  <a:gd name="T66" fmla="*/ 45 w 48"/>
                  <a:gd name="T67" fmla="*/ 42 h 42"/>
                  <a:gd name="T68" fmla="*/ 45 w 48"/>
                  <a:gd name="T69" fmla="*/ 42 h 42"/>
                  <a:gd name="T70" fmla="*/ 45 w 48"/>
                  <a:gd name="T71" fmla="*/ 34 h 42"/>
                  <a:gd name="T72" fmla="*/ 44 w 48"/>
                  <a:gd name="T73" fmla="*/ 30 h 42"/>
                  <a:gd name="T74" fmla="*/ 44 w 48"/>
                  <a:gd name="T75" fmla="*/ 30 h 42"/>
                  <a:gd name="T76" fmla="*/ 44 w 48"/>
                  <a:gd name="T77" fmla="*/ 27 h 42"/>
                  <a:gd name="T78" fmla="*/ 44 w 48"/>
                  <a:gd name="T79" fmla="*/ 24 h 42"/>
                  <a:gd name="T80" fmla="*/ 48 w 48"/>
                  <a:gd name="T81" fmla="*/ 1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8" h="42">
                    <a:moveTo>
                      <a:pt x="48" y="19"/>
                    </a:moveTo>
                    <a:lnTo>
                      <a:pt x="48" y="19"/>
                    </a:lnTo>
                    <a:lnTo>
                      <a:pt x="41" y="13"/>
                    </a:lnTo>
                    <a:lnTo>
                      <a:pt x="38" y="10"/>
                    </a:lnTo>
                    <a:lnTo>
                      <a:pt x="35" y="5"/>
                    </a:lnTo>
                    <a:lnTo>
                      <a:pt x="35" y="5"/>
                    </a:lnTo>
                    <a:lnTo>
                      <a:pt x="34" y="1"/>
                    </a:lnTo>
                    <a:lnTo>
                      <a:pt x="34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11"/>
                    </a:lnTo>
                    <a:lnTo>
                      <a:pt x="2" y="16"/>
                    </a:lnTo>
                    <a:lnTo>
                      <a:pt x="3" y="19"/>
                    </a:lnTo>
                    <a:lnTo>
                      <a:pt x="3" y="19"/>
                    </a:lnTo>
                    <a:lnTo>
                      <a:pt x="11" y="23"/>
                    </a:lnTo>
                    <a:lnTo>
                      <a:pt x="13" y="23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19"/>
                    </a:lnTo>
                    <a:lnTo>
                      <a:pt x="16" y="21"/>
                    </a:lnTo>
                    <a:lnTo>
                      <a:pt x="16" y="21"/>
                    </a:lnTo>
                    <a:lnTo>
                      <a:pt x="19" y="27"/>
                    </a:lnTo>
                    <a:lnTo>
                      <a:pt x="22" y="29"/>
                    </a:lnTo>
                    <a:lnTo>
                      <a:pt x="27" y="30"/>
                    </a:lnTo>
                    <a:lnTo>
                      <a:pt x="27" y="30"/>
                    </a:lnTo>
                    <a:lnTo>
                      <a:pt x="31" y="32"/>
                    </a:lnTo>
                    <a:lnTo>
                      <a:pt x="32" y="34"/>
                    </a:lnTo>
                    <a:lnTo>
                      <a:pt x="34" y="39"/>
                    </a:lnTo>
                    <a:lnTo>
                      <a:pt x="34" y="39"/>
                    </a:lnTo>
                    <a:lnTo>
                      <a:pt x="37" y="40"/>
                    </a:lnTo>
                    <a:lnTo>
                      <a:pt x="40" y="42"/>
                    </a:lnTo>
                    <a:lnTo>
                      <a:pt x="45" y="42"/>
                    </a:lnTo>
                    <a:lnTo>
                      <a:pt x="45" y="42"/>
                    </a:lnTo>
                    <a:lnTo>
                      <a:pt x="45" y="34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7"/>
                    </a:lnTo>
                    <a:lnTo>
                      <a:pt x="44" y="24"/>
                    </a:lnTo>
                    <a:lnTo>
                      <a:pt x="48" y="1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09" name="Freeform 260"/>
              <p:cNvSpPr>
                <a:spLocks/>
              </p:cNvSpPr>
              <p:nvPr/>
            </p:nvSpPr>
            <p:spPr bwMode="auto">
              <a:xfrm>
                <a:off x="3009959" y="3083673"/>
                <a:ext cx="71227" cy="66280"/>
              </a:xfrm>
              <a:custGeom>
                <a:avLst/>
                <a:gdLst>
                  <a:gd name="T0" fmla="*/ 63 w 72"/>
                  <a:gd name="T1" fmla="*/ 56 h 67"/>
                  <a:gd name="T2" fmla="*/ 63 w 72"/>
                  <a:gd name="T3" fmla="*/ 56 h 67"/>
                  <a:gd name="T4" fmla="*/ 65 w 72"/>
                  <a:gd name="T5" fmla="*/ 54 h 67"/>
                  <a:gd name="T6" fmla="*/ 65 w 72"/>
                  <a:gd name="T7" fmla="*/ 51 h 67"/>
                  <a:gd name="T8" fmla="*/ 65 w 72"/>
                  <a:gd name="T9" fmla="*/ 50 h 67"/>
                  <a:gd name="T10" fmla="*/ 66 w 72"/>
                  <a:gd name="T11" fmla="*/ 47 h 67"/>
                  <a:gd name="T12" fmla="*/ 66 w 72"/>
                  <a:gd name="T13" fmla="*/ 47 h 67"/>
                  <a:gd name="T14" fmla="*/ 66 w 72"/>
                  <a:gd name="T15" fmla="*/ 42 h 67"/>
                  <a:gd name="T16" fmla="*/ 66 w 72"/>
                  <a:gd name="T17" fmla="*/ 35 h 67"/>
                  <a:gd name="T18" fmla="*/ 68 w 72"/>
                  <a:gd name="T19" fmla="*/ 28 h 67"/>
                  <a:gd name="T20" fmla="*/ 69 w 72"/>
                  <a:gd name="T21" fmla="*/ 24 h 67"/>
                  <a:gd name="T22" fmla="*/ 69 w 72"/>
                  <a:gd name="T23" fmla="*/ 24 h 67"/>
                  <a:gd name="T24" fmla="*/ 72 w 72"/>
                  <a:gd name="T25" fmla="*/ 19 h 67"/>
                  <a:gd name="T26" fmla="*/ 72 w 72"/>
                  <a:gd name="T27" fmla="*/ 16 h 67"/>
                  <a:gd name="T28" fmla="*/ 72 w 72"/>
                  <a:gd name="T29" fmla="*/ 12 h 67"/>
                  <a:gd name="T30" fmla="*/ 71 w 72"/>
                  <a:gd name="T31" fmla="*/ 9 h 67"/>
                  <a:gd name="T32" fmla="*/ 71 w 72"/>
                  <a:gd name="T33" fmla="*/ 9 h 67"/>
                  <a:gd name="T34" fmla="*/ 68 w 72"/>
                  <a:gd name="T35" fmla="*/ 0 h 67"/>
                  <a:gd name="T36" fmla="*/ 68 w 72"/>
                  <a:gd name="T37" fmla="*/ 0 h 67"/>
                  <a:gd name="T38" fmla="*/ 44 w 72"/>
                  <a:gd name="T39" fmla="*/ 11 h 67"/>
                  <a:gd name="T40" fmla="*/ 44 w 72"/>
                  <a:gd name="T41" fmla="*/ 11 h 67"/>
                  <a:gd name="T42" fmla="*/ 24 w 72"/>
                  <a:gd name="T43" fmla="*/ 21 h 67"/>
                  <a:gd name="T44" fmla="*/ 0 w 72"/>
                  <a:gd name="T45" fmla="*/ 37 h 67"/>
                  <a:gd name="T46" fmla="*/ 0 w 72"/>
                  <a:gd name="T47" fmla="*/ 37 h 67"/>
                  <a:gd name="T48" fmla="*/ 1 w 72"/>
                  <a:gd name="T49" fmla="*/ 38 h 67"/>
                  <a:gd name="T50" fmla="*/ 1 w 72"/>
                  <a:gd name="T51" fmla="*/ 38 h 67"/>
                  <a:gd name="T52" fmla="*/ 8 w 72"/>
                  <a:gd name="T53" fmla="*/ 44 h 67"/>
                  <a:gd name="T54" fmla="*/ 17 w 72"/>
                  <a:gd name="T55" fmla="*/ 50 h 67"/>
                  <a:gd name="T56" fmla="*/ 17 w 72"/>
                  <a:gd name="T57" fmla="*/ 50 h 67"/>
                  <a:gd name="T58" fmla="*/ 20 w 72"/>
                  <a:gd name="T59" fmla="*/ 54 h 67"/>
                  <a:gd name="T60" fmla="*/ 24 w 72"/>
                  <a:gd name="T61" fmla="*/ 58 h 67"/>
                  <a:gd name="T62" fmla="*/ 24 w 72"/>
                  <a:gd name="T63" fmla="*/ 58 h 67"/>
                  <a:gd name="T64" fmla="*/ 29 w 72"/>
                  <a:gd name="T65" fmla="*/ 61 h 67"/>
                  <a:gd name="T66" fmla="*/ 31 w 72"/>
                  <a:gd name="T67" fmla="*/ 66 h 67"/>
                  <a:gd name="T68" fmla="*/ 31 w 72"/>
                  <a:gd name="T69" fmla="*/ 66 h 67"/>
                  <a:gd name="T70" fmla="*/ 65 w 72"/>
                  <a:gd name="T71" fmla="*/ 67 h 67"/>
                  <a:gd name="T72" fmla="*/ 65 w 72"/>
                  <a:gd name="T73" fmla="*/ 67 h 67"/>
                  <a:gd name="T74" fmla="*/ 62 w 72"/>
                  <a:gd name="T75" fmla="*/ 60 h 67"/>
                  <a:gd name="T76" fmla="*/ 62 w 72"/>
                  <a:gd name="T77" fmla="*/ 57 h 67"/>
                  <a:gd name="T78" fmla="*/ 63 w 72"/>
                  <a:gd name="T79" fmla="*/ 5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2" h="67">
                    <a:moveTo>
                      <a:pt x="63" y="56"/>
                    </a:moveTo>
                    <a:lnTo>
                      <a:pt x="63" y="56"/>
                    </a:lnTo>
                    <a:lnTo>
                      <a:pt x="65" y="54"/>
                    </a:lnTo>
                    <a:lnTo>
                      <a:pt x="65" y="51"/>
                    </a:lnTo>
                    <a:lnTo>
                      <a:pt x="65" y="50"/>
                    </a:lnTo>
                    <a:lnTo>
                      <a:pt x="66" y="47"/>
                    </a:lnTo>
                    <a:lnTo>
                      <a:pt x="66" y="47"/>
                    </a:lnTo>
                    <a:lnTo>
                      <a:pt x="66" y="42"/>
                    </a:lnTo>
                    <a:lnTo>
                      <a:pt x="66" y="35"/>
                    </a:lnTo>
                    <a:lnTo>
                      <a:pt x="68" y="28"/>
                    </a:lnTo>
                    <a:lnTo>
                      <a:pt x="69" y="24"/>
                    </a:lnTo>
                    <a:lnTo>
                      <a:pt x="69" y="24"/>
                    </a:lnTo>
                    <a:lnTo>
                      <a:pt x="72" y="19"/>
                    </a:lnTo>
                    <a:lnTo>
                      <a:pt x="72" y="16"/>
                    </a:lnTo>
                    <a:lnTo>
                      <a:pt x="72" y="12"/>
                    </a:lnTo>
                    <a:lnTo>
                      <a:pt x="71" y="9"/>
                    </a:lnTo>
                    <a:lnTo>
                      <a:pt x="71" y="9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24" y="21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1" y="38"/>
                    </a:lnTo>
                    <a:lnTo>
                      <a:pt x="1" y="38"/>
                    </a:lnTo>
                    <a:lnTo>
                      <a:pt x="8" y="44"/>
                    </a:lnTo>
                    <a:lnTo>
                      <a:pt x="17" y="50"/>
                    </a:lnTo>
                    <a:lnTo>
                      <a:pt x="17" y="50"/>
                    </a:lnTo>
                    <a:lnTo>
                      <a:pt x="20" y="54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9" y="61"/>
                    </a:lnTo>
                    <a:lnTo>
                      <a:pt x="31" y="66"/>
                    </a:lnTo>
                    <a:lnTo>
                      <a:pt x="31" y="66"/>
                    </a:lnTo>
                    <a:lnTo>
                      <a:pt x="65" y="67"/>
                    </a:lnTo>
                    <a:lnTo>
                      <a:pt x="65" y="67"/>
                    </a:lnTo>
                    <a:lnTo>
                      <a:pt x="62" y="60"/>
                    </a:lnTo>
                    <a:lnTo>
                      <a:pt x="62" y="57"/>
                    </a:lnTo>
                    <a:lnTo>
                      <a:pt x="63" y="5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10" name="Freeform 261"/>
              <p:cNvSpPr>
                <a:spLocks/>
              </p:cNvSpPr>
              <p:nvPr/>
            </p:nvSpPr>
            <p:spPr bwMode="auto">
              <a:xfrm>
                <a:off x="3009959" y="3083673"/>
                <a:ext cx="71227" cy="66280"/>
              </a:xfrm>
              <a:custGeom>
                <a:avLst/>
                <a:gdLst>
                  <a:gd name="T0" fmla="*/ 63 w 72"/>
                  <a:gd name="T1" fmla="*/ 56 h 67"/>
                  <a:gd name="T2" fmla="*/ 63 w 72"/>
                  <a:gd name="T3" fmla="*/ 56 h 67"/>
                  <a:gd name="T4" fmla="*/ 65 w 72"/>
                  <a:gd name="T5" fmla="*/ 54 h 67"/>
                  <a:gd name="T6" fmla="*/ 65 w 72"/>
                  <a:gd name="T7" fmla="*/ 51 h 67"/>
                  <a:gd name="T8" fmla="*/ 65 w 72"/>
                  <a:gd name="T9" fmla="*/ 50 h 67"/>
                  <a:gd name="T10" fmla="*/ 66 w 72"/>
                  <a:gd name="T11" fmla="*/ 47 h 67"/>
                  <a:gd name="T12" fmla="*/ 66 w 72"/>
                  <a:gd name="T13" fmla="*/ 47 h 67"/>
                  <a:gd name="T14" fmla="*/ 66 w 72"/>
                  <a:gd name="T15" fmla="*/ 42 h 67"/>
                  <a:gd name="T16" fmla="*/ 66 w 72"/>
                  <a:gd name="T17" fmla="*/ 35 h 67"/>
                  <a:gd name="T18" fmla="*/ 68 w 72"/>
                  <a:gd name="T19" fmla="*/ 28 h 67"/>
                  <a:gd name="T20" fmla="*/ 69 w 72"/>
                  <a:gd name="T21" fmla="*/ 24 h 67"/>
                  <a:gd name="T22" fmla="*/ 69 w 72"/>
                  <a:gd name="T23" fmla="*/ 24 h 67"/>
                  <a:gd name="T24" fmla="*/ 72 w 72"/>
                  <a:gd name="T25" fmla="*/ 19 h 67"/>
                  <a:gd name="T26" fmla="*/ 72 w 72"/>
                  <a:gd name="T27" fmla="*/ 16 h 67"/>
                  <a:gd name="T28" fmla="*/ 72 w 72"/>
                  <a:gd name="T29" fmla="*/ 12 h 67"/>
                  <a:gd name="T30" fmla="*/ 71 w 72"/>
                  <a:gd name="T31" fmla="*/ 9 h 67"/>
                  <a:gd name="T32" fmla="*/ 71 w 72"/>
                  <a:gd name="T33" fmla="*/ 9 h 67"/>
                  <a:gd name="T34" fmla="*/ 68 w 72"/>
                  <a:gd name="T35" fmla="*/ 0 h 67"/>
                  <a:gd name="T36" fmla="*/ 68 w 72"/>
                  <a:gd name="T37" fmla="*/ 0 h 67"/>
                  <a:gd name="T38" fmla="*/ 44 w 72"/>
                  <a:gd name="T39" fmla="*/ 11 h 67"/>
                  <a:gd name="T40" fmla="*/ 44 w 72"/>
                  <a:gd name="T41" fmla="*/ 11 h 67"/>
                  <a:gd name="T42" fmla="*/ 24 w 72"/>
                  <a:gd name="T43" fmla="*/ 21 h 67"/>
                  <a:gd name="T44" fmla="*/ 0 w 72"/>
                  <a:gd name="T45" fmla="*/ 37 h 67"/>
                  <a:gd name="T46" fmla="*/ 0 w 72"/>
                  <a:gd name="T47" fmla="*/ 37 h 67"/>
                  <a:gd name="T48" fmla="*/ 1 w 72"/>
                  <a:gd name="T49" fmla="*/ 38 h 67"/>
                  <a:gd name="T50" fmla="*/ 1 w 72"/>
                  <a:gd name="T51" fmla="*/ 38 h 67"/>
                  <a:gd name="T52" fmla="*/ 8 w 72"/>
                  <a:gd name="T53" fmla="*/ 44 h 67"/>
                  <a:gd name="T54" fmla="*/ 17 w 72"/>
                  <a:gd name="T55" fmla="*/ 50 h 67"/>
                  <a:gd name="T56" fmla="*/ 17 w 72"/>
                  <a:gd name="T57" fmla="*/ 50 h 67"/>
                  <a:gd name="T58" fmla="*/ 20 w 72"/>
                  <a:gd name="T59" fmla="*/ 54 h 67"/>
                  <a:gd name="T60" fmla="*/ 24 w 72"/>
                  <a:gd name="T61" fmla="*/ 58 h 67"/>
                  <a:gd name="T62" fmla="*/ 24 w 72"/>
                  <a:gd name="T63" fmla="*/ 58 h 67"/>
                  <a:gd name="T64" fmla="*/ 29 w 72"/>
                  <a:gd name="T65" fmla="*/ 61 h 67"/>
                  <a:gd name="T66" fmla="*/ 31 w 72"/>
                  <a:gd name="T67" fmla="*/ 66 h 67"/>
                  <a:gd name="T68" fmla="*/ 31 w 72"/>
                  <a:gd name="T69" fmla="*/ 66 h 67"/>
                  <a:gd name="T70" fmla="*/ 65 w 72"/>
                  <a:gd name="T71" fmla="*/ 67 h 67"/>
                  <a:gd name="T72" fmla="*/ 65 w 72"/>
                  <a:gd name="T73" fmla="*/ 67 h 67"/>
                  <a:gd name="T74" fmla="*/ 62 w 72"/>
                  <a:gd name="T75" fmla="*/ 60 h 67"/>
                  <a:gd name="T76" fmla="*/ 62 w 72"/>
                  <a:gd name="T77" fmla="*/ 57 h 67"/>
                  <a:gd name="T78" fmla="*/ 63 w 72"/>
                  <a:gd name="T79" fmla="*/ 5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2" h="67">
                    <a:moveTo>
                      <a:pt x="63" y="56"/>
                    </a:moveTo>
                    <a:lnTo>
                      <a:pt x="63" y="56"/>
                    </a:lnTo>
                    <a:lnTo>
                      <a:pt x="65" y="54"/>
                    </a:lnTo>
                    <a:lnTo>
                      <a:pt x="65" y="51"/>
                    </a:lnTo>
                    <a:lnTo>
                      <a:pt x="65" y="50"/>
                    </a:lnTo>
                    <a:lnTo>
                      <a:pt x="66" y="47"/>
                    </a:lnTo>
                    <a:lnTo>
                      <a:pt x="66" y="47"/>
                    </a:lnTo>
                    <a:lnTo>
                      <a:pt x="66" y="42"/>
                    </a:lnTo>
                    <a:lnTo>
                      <a:pt x="66" y="35"/>
                    </a:lnTo>
                    <a:lnTo>
                      <a:pt x="68" y="28"/>
                    </a:lnTo>
                    <a:lnTo>
                      <a:pt x="69" y="24"/>
                    </a:lnTo>
                    <a:lnTo>
                      <a:pt x="69" y="24"/>
                    </a:lnTo>
                    <a:lnTo>
                      <a:pt x="72" y="19"/>
                    </a:lnTo>
                    <a:lnTo>
                      <a:pt x="72" y="16"/>
                    </a:lnTo>
                    <a:lnTo>
                      <a:pt x="72" y="12"/>
                    </a:lnTo>
                    <a:lnTo>
                      <a:pt x="71" y="9"/>
                    </a:lnTo>
                    <a:lnTo>
                      <a:pt x="71" y="9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24" y="21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1" y="38"/>
                    </a:lnTo>
                    <a:lnTo>
                      <a:pt x="1" y="38"/>
                    </a:lnTo>
                    <a:lnTo>
                      <a:pt x="8" y="44"/>
                    </a:lnTo>
                    <a:lnTo>
                      <a:pt x="17" y="50"/>
                    </a:lnTo>
                    <a:lnTo>
                      <a:pt x="17" y="50"/>
                    </a:lnTo>
                    <a:lnTo>
                      <a:pt x="20" y="54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9" y="61"/>
                    </a:lnTo>
                    <a:lnTo>
                      <a:pt x="31" y="66"/>
                    </a:lnTo>
                    <a:lnTo>
                      <a:pt x="31" y="66"/>
                    </a:lnTo>
                    <a:lnTo>
                      <a:pt x="65" y="67"/>
                    </a:lnTo>
                    <a:lnTo>
                      <a:pt x="65" y="67"/>
                    </a:lnTo>
                    <a:lnTo>
                      <a:pt x="62" y="60"/>
                    </a:lnTo>
                    <a:lnTo>
                      <a:pt x="62" y="57"/>
                    </a:lnTo>
                    <a:lnTo>
                      <a:pt x="63" y="5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11" name="Freeform 262"/>
              <p:cNvSpPr>
                <a:spLocks/>
              </p:cNvSpPr>
              <p:nvPr/>
            </p:nvSpPr>
            <p:spPr bwMode="auto">
              <a:xfrm>
                <a:off x="3206821" y="3604023"/>
                <a:ext cx="129593" cy="711278"/>
              </a:xfrm>
              <a:custGeom>
                <a:avLst/>
                <a:gdLst>
                  <a:gd name="T0" fmla="*/ 48 w 131"/>
                  <a:gd name="T1" fmla="*/ 652 h 719"/>
                  <a:gd name="T2" fmla="*/ 31 w 131"/>
                  <a:gd name="T3" fmla="*/ 655 h 719"/>
                  <a:gd name="T4" fmla="*/ 32 w 131"/>
                  <a:gd name="T5" fmla="*/ 625 h 719"/>
                  <a:gd name="T6" fmla="*/ 54 w 131"/>
                  <a:gd name="T7" fmla="*/ 571 h 719"/>
                  <a:gd name="T8" fmla="*/ 56 w 131"/>
                  <a:gd name="T9" fmla="*/ 535 h 719"/>
                  <a:gd name="T10" fmla="*/ 61 w 131"/>
                  <a:gd name="T11" fmla="*/ 519 h 719"/>
                  <a:gd name="T12" fmla="*/ 66 w 131"/>
                  <a:gd name="T13" fmla="*/ 509 h 719"/>
                  <a:gd name="T14" fmla="*/ 53 w 131"/>
                  <a:gd name="T15" fmla="*/ 491 h 719"/>
                  <a:gd name="T16" fmla="*/ 53 w 131"/>
                  <a:gd name="T17" fmla="*/ 467 h 719"/>
                  <a:gd name="T18" fmla="*/ 57 w 131"/>
                  <a:gd name="T19" fmla="*/ 415 h 719"/>
                  <a:gd name="T20" fmla="*/ 66 w 131"/>
                  <a:gd name="T21" fmla="*/ 386 h 719"/>
                  <a:gd name="T22" fmla="*/ 76 w 131"/>
                  <a:gd name="T23" fmla="*/ 331 h 719"/>
                  <a:gd name="T24" fmla="*/ 82 w 131"/>
                  <a:gd name="T25" fmla="*/ 300 h 719"/>
                  <a:gd name="T26" fmla="*/ 77 w 131"/>
                  <a:gd name="T27" fmla="*/ 233 h 719"/>
                  <a:gd name="T28" fmla="*/ 102 w 131"/>
                  <a:gd name="T29" fmla="*/ 136 h 719"/>
                  <a:gd name="T30" fmla="*/ 129 w 131"/>
                  <a:gd name="T31" fmla="*/ 96 h 719"/>
                  <a:gd name="T32" fmla="*/ 119 w 131"/>
                  <a:gd name="T33" fmla="*/ 84 h 719"/>
                  <a:gd name="T34" fmla="*/ 106 w 131"/>
                  <a:gd name="T35" fmla="*/ 38 h 719"/>
                  <a:gd name="T36" fmla="*/ 96 w 131"/>
                  <a:gd name="T37" fmla="*/ 10 h 719"/>
                  <a:gd name="T38" fmla="*/ 74 w 131"/>
                  <a:gd name="T39" fmla="*/ 12 h 719"/>
                  <a:gd name="T40" fmla="*/ 76 w 131"/>
                  <a:gd name="T41" fmla="*/ 47 h 719"/>
                  <a:gd name="T42" fmla="*/ 77 w 131"/>
                  <a:gd name="T43" fmla="*/ 87 h 719"/>
                  <a:gd name="T44" fmla="*/ 69 w 131"/>
                  <a:gd name="T45" fmla="*/ 99 h 719"/>
                  <a:gd name="T46" fmla="*/ 70 w 131"/>
                  <a:gd name="T47" fmla="*/ 141 h 719"/>
                  <a:gd name="T48" fmla="*/ 63 w 131"/>
                  <a:gd name="T49" fmla="*/ 187 h 719"/>
                  <a:gd name="T50" fmla="*/ 58 w 131"/>
                  <a:gd name="T51" fmla="*/ 207 h 719"/>
                  <a:gd name="T52" fmla="*/ 60 w 131"/>
                  <a:gd name="T53" fmla="*/ 247 h 719"/>
                  <a:gd name="T54" fmla="*/ 47 w 131"/>
                  <a:gd name="T55" fmla="*/ 306 h 719"/>
                  <a:gd name="T56" fmla="*/ 25 w 131"/>
                  <a:gd name="T57" fmla="*/ 355 h 719"/>
                  <a:gd name="T58" fmla="*/ 29 w 131"/>
                  <a:gd name="T59" fmla="*/ 377 h 719"/>
                  <a:gd name="T60" fmla="*/ 27 w 131"/>
                  <a:gd name="T61" fmla="*/ 409 h 719"/>
                  <a:gd name="T62" fmla="*/ 24 w 131"/>
                  <a:gd name="T63" fmla="*/ 448 h 719"/>
                  <a:gd name="T64" fmla="*/ 24 w 131"/>
                  <a:gd name="T65" fmla="*/ 477 h 719"/>
                  <a:gd name="T66" fmla="*/ 35 w 131"/>
                  <a:gd name="T67" fmla="*/ 455 h 719"/>
                  <a:gd name="T68" fmla="*/ 37 w 131"/>
                  <a:gd name="T69" fmla="*/ 446 h 719"/>
                  <a:gd name="T70" fmla="*/ 40 w 131"/>
                  <a:gd name="T71" fmla="*/ 465 h 719"/>
                  <a:gd name="T72" fmla="*/ 34 w 131"/>
                  <a:gd name="T73" fmla="*/ 493 h 719"/>
                  <a:gd name="T74" fmla="*/ 35 w 131"/>
                  <a:gd name="T75" fmla="*/ 513 h 719"/>
                  <a:gd name="T76" fmla="*/ 35 w 131"/>
                  <a:gd name="T77" fmla="*/ 523 h 719"/>
                  <a:gd name="T78" fmla="*/ 28 w 131"/>
                  <a:gd name="T79" fmla="*/ 541 h 719"/>
                  <a:gd name="T80" fmla="*/ 16 w 131"/>
                  <a:gd name="T81" fmla="*/ 538 h 719"/>
                  <a:gd name="T82" fmla="*/ 6 w 131"/>
                  <a:gd name="T83" fmla="*/ 538 h 719"/>
                  <a:gd name="T84" fmla="*/ 0 w 131"/>
                  <a:gd name="T85" fmla="*/ 561 h 719"/>
                  <a:gd name="T86" fmla="*/ 9 w 131"/>
                  <a:gd name="T87" fmla="*/ 559 h 719"/>
                  <a:gd name="T88" fmla="*/ 27 w 131"/>
                  <a:gd name="T89" fmla="*/ 584 h 719"/>
                  <a:gd name="T90" fmla="*/ 21 w 131"/>
                  <a:gd name="T91" fmla="*/ 587 h 719"/>
                  <a:gd name="T92" fmla="*/ 18 w 131"/>
                  <a:gd name="T93" fmla="*/ 601 h 719"/>
                  <a:gd name="T94" fmla="*/ 16 w 131"/>
                  <a:gd name="T95" fmla="*/ 619 h 719"/>
                  <a:gd name="T96" fmla="*/ 15 w 131"/>
                  <a:gd name="T97" fmla="*/ 629 h 719"/>
                  <a:gd name="T98" fmla="*/ 15 w 131"/>
                  <a:gd name="T99" fmla="*/ 645 h 719"/>
                  <a:gd name="T100" fmla="*/ 15 w 131"/>
                  <a:gd name="T101" fmla="*/ 661 h 719"/>
                  <a:gd name="T102" fmla="*/ 18 w 131"/>
                  <a:gd name="T103" fmla="*/ 678 h 719"/>
                  <a:gd name="T104" fmla="*/ 18 w 131"/>
                  <a:gd name="T105" fmla="*/ 690 h 719"/>
                  <a:gd name="T106" fmla="*/ 22 w 131"/>
                  <a:gd name="T107" fmla="*/ 704 h 719"/>
                  <a:gd name="T108" fmla="*/ 29 w 131"/>
                  <a:gd name="T109" fmla="*/ 696 h 719"/>
                  <a:gd name="T110" fmla="*/ 32 w 131"/>
                  <a:gd name="T111" fmla="*/ 716 h 719"/>
                  <a:gd name="T112" fmla="*/ 45 w 131"/>
                  <a:gd name="T113" fmla="*/ 713 h 719"/>
                  <a:gd name="T114" fmla="*/ 61 w 131"/>
                  <a:gd name="T115" fmla="*/ 709 h 719"/>
                  <a:gd name="T116" fmla="*/ 73 w 131"/>
                  <a:gd name="T117" fmla="*/ 710 h 719"/>
                  <a:gd name="T118" fmla="*/ 95 w 131"/>
                  <a:gd name="T119" fmla="*/ 697 h 719"/>
                  <a:gd name="T120" fmla="*/ 79 w 131"/>
                  <a:gd name="T121" fmla="*/ 688 h 7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1" h="719">
                    <a:moveTo>
                      <a:pt x="51" y="684"/>
                    </a:moveTo>
                    <a:lnTo>
                      <a:pt x="51" y="684"/>
                    </a:lnTo>
                    <a:lnTo>
                      <a:pt x="48" y="677"/>
                    </a:lnTo>
                    <a:lnTo>
                      <a:pt x="48" y="669"/>
                    </a:lnTo>
                    <a:lnTo>
                      <a:pt x="48" y="656"/>
                    </a:lnTo>
                    <a:lnTo>
                      <a:pt x="48" y="656"/>
                    </a:lnTo>
                    <a:lnTo>
                      <a:pt x="48" y="652"/>
                    </a:lnTo>
                    <a:lnTo>
                      <a:pt x="47" y="651"/>
                    </a:lnTo>
                    <a:lnTo>
                      <a:pt x="45" y="651"/>
                    </a:lnTo>
                    <a:lnTo>
                      <a:pt x="42" y="652"/>
                    </a:lnTo>
                    <a:lnTo>
                      <a:pt x="42" y="652"/>
                    </a:lnTo>
                    <a:lnTo>
                      <a:pt x="37" y="656"/>
                    </a:lnTo>
                    <a:lnTo>
                      <a:pt x="34" y="656"/>
                    </a:lnTo>
                    <a:lnTo>
                      <a:pt x="31" y="655"/>
                    </a:lnTo>
                    <a:lnTo>
                      <a:pt x="31" y="655"/>
                    </a:lnTo>
                    <a:lnTo>
                      <a:pt x="29" y="651"/>
                    </a:lnTo>
                    <a:lnTo>
                      <a:pt x="28" y="642"/>
                    </a:lnTo>
                    <a:lnTo>
                      <a:pt x="28" y="633"/>
                    </a:lnTo>
                    <a:lnTo>
                      <a:pt x="29" y="629"/>
                    </a:lnTo>
                    <a:lnTo>
                      <a:pt x="32" y="625"/>
                    </a:lnTo>
                    <a:lnTo>
                      <a:pt x="32" y="625"/>
                    </a:lnTo>
                    <a:lnTo>
                      <a:pt x="42" y="610"/>
                    </a:lnTo>
                    <a:lnTo>
                      <a:pt x="45" y="604"/>
                    </a:lnTo>
                    <a:lnTo>
                      <a:pt x="47" y="598"/>
                    </a:lnTo>
                    <a:lnTo>
                      <a:pt x="47" y="598"/>
                    </a:lnTo>
                    <a:lnTo>
                      <a:pt x="48" y="585"/>
                    </a:lnTo>
                    <a:lnTo>
                      <a:pt x="50" y="578"/>
                    </a:lnTo>
                    <a:lnTo>
                      <a:pt x="54" y="571"/>
                    </a:lnTo>
                    <a:lnTo>
                      <a:pt x="54" y="571"/>
                    </a:lnTo>
                    <a:lnTo>
                      <a:pt x="56" y="568"/>
                    </a:lnTo>
                    <a:lnTo>
                      <a:pt x="56" y="564"/>
                    </a:lnTo>
                    <a:lnTo>
                      <a:pt x="57" y="552"/>
                    </a:lnTo>
                    <a:lnTo>
                      <a:pt x="56" y="542"/>
                    </a:lnTo>
                    <a:lnTo>
                      <a:pt x="56" y="535"/>
                    </a:lnTo>
                    <a:lnTo>
                      <a:pt x="56" y="535"/>
                    </a:lnTo>
                    <a:lnTo>
                      <a:pt x="54" y="532"/>
                    </a:lnTo>
                    <a:lnTo>
                      <a:pt x="56" y="529"/>
                    </a:lnTo>
                    <a:lnTo>
                      <a:pt x="58" y="526"/>
                    </a:lnTo>
                    <a:lnTo>
                      <a:pt x="61" y="522"/>
                    </a:lnTo>
                    <a:lnTo>
                      <a:pt x="63" y="520"/>
                    </a:lnTo>
                    <a:lnTo>
                      <a:pt x="61" y="519"/>
                    </a:lnTo>
                    <a:lnTo>
                      <a:pt x="61" y="519"/>
                    </a:lnTo>
                    <a:lnTo>
                      <a:pt x="56" y="513"/>
                    </a:lnTo>
                    <a:lnTo>
                      <a:pt x="54" y="513"/>
                    </a:lnTo>
                    <a:lnTo>
                      <a:pt x="56" y="512"/>
                    </a:lnTo>
                    <a:lnTo>
                      <a:pt x="56" y="512"/>
                    </a:lnTo>
                    <a:lnTo>
                      <a:pt x="61" y="510"/>
                    </a:lnTo>
                    <a:lnTo>
                      <a:pt x="66" y="509"/>
                    </a:lnTo>
                    <a:lnTo>
                      <a:pt x="66" y="509"/>
                    </a:lnTo>
                    <a:lnTo>
                      <a:pt x="64" y="506"/>
                    </a:lnTo>
                    <a:lnTo>
                      <a:pt x="64" y="506"/>
                    </a:lnTo>
                    <a:lnTo>
                      <a:pt x="60" y="503"/>
                    </a:lnTo>
                    <a:lnTo>
                      <a:pt x="56" y="500"/>
                    </a:lnTo>
                    <a:lnTo>
                      <a:pt x="53" y="496"/>
                    </a:lnTo>
                    <a:lnTo>
                      <a:pt x="51" y="494"/>
                    </a:lnTo>
                    <a:lnTo>
                      <a:pt x="53" y="491"/>
                    </a:lnTo>
                    <a:lnTo>
                      <a:pt x="53" y="491"/>
                    </a:lnTo>
                    <a:lnTo>
                      <a:pt x="54" y="487"/>
                    </a:lnTo>
                    <a:lnTo>
                      <a:pt x="57" y="486"/>
                    </a:lnTo>
                    <a:lnTo>
                      <a:pt x="58" y="483"/>
                    </a:lnTo>
                    <a:lnTo>
                      <a:pt x="57" y="478"/>
                    </a:lnTo>
                    <a:lnTo>
                      <a:pt x="57" y="478"/>
                    </a:lnTo>
                    <a:lnTo>
                      <a:pt x="53" y="467"/>
                    </a:lnTo>
                    <a:lnTo>
                      <a:pt x="51" y="461"/>
                    </a:lnTo>
                    <a:lnTo>
                      <a:pt x="51" y="455"/>
                    </a:lnTo>
                    <a:lnTo>
                      <a:pt x="51" y="455"/>
                    </a:lnTo>
                    <a:lnTo>
                      <a:pt x="54" y="441"/>
                    </a:lnTo>
                    <a:lnTo>
                      <a:pt x="56" y="423"/>
                    </a:lnTo>
                    <a:lnTo>
                      <a:pt x="56" y="423"/>
                    </a:lnTo>
                    <a:lnTo>
                      <a:pt x="57" y="415"/>
                    </a:lnTo>
                    <a:lnTo>
                      <a:pt x="58" y="407"/>
                    </a:lnTo>
                    <a:lnTo>
                      <a:pt x="58" y="407"/>
                    </a:lnTo>
                    <a:lnTo>
                      <a:pt x="60" y="403"/>
                    </a:lnTo>
                    <a:lnTo>
                      <a:pt x="61" y="397"/>
                    </a:lnTo>
                    <a:lnTo>
                      <a:pt x="64" y="390"/>
                    </a:lnTo>
                    <a:lnTo>
                      <a:pt x="64" y="390"/>
                    </a:lnTo>
                    <a:lnTo>
                      <a:pt x="66" y="386"/>
                    </a:lnTo>
                    <a:lnTo>
                      <a:pt x="66" y="377"/>
                    </a:lnTo>
                    <a:lnTo>
                      <a:pt x="64" y="357"/>
                    </a:lnTo>
                    <a:lnTo>
                      <a:pt x="64" y="357"/>
                    </a:lnTo>
                    <a:lnTo>
                      <a:pt x="66" y="348"/>
                    </a:lnTo>
                    <a:lnTo>
                      <a:pt x="69" y="341"/>
                    </a:lnTo>
                    <a:lnTo>
                      <a:pt x="71" y="335"/>
                    </a:lnTo>
                    <a:lnTo>
                      <a:pt x="76" y="331"/>
                    </a:lnTo>
                    <a:lnTo>
                      <a:pt x="76" y="331"/>
                    </a:lnTo>
                    <a:lnTo>
                      <a:pt x="77" y="328"/>
                    </a:lnTo>
                    <a:lnTo>
                      <a:pt x="79" y="323"/>
                    </a:lnTo>
                    <a:lnTo>
                      <a:pt x="79" y="315"/>
                    </a:lnTo>
                    <a:lnTo>
                      <a:pt x="80" y="307"/>
                    </a:lnTo>
                    <a:lnTo>
                      <a:pt x="82" y="300"/>
                    </a:lnTo>
                    <a:lnTo>
                      <a:pt x="82" y="300"/>
                    </a:lnTo>
                    <a:lnTo>
                      <a:pt x="82" y="297"/>
                    </a:lnTo>
                    <a:lnTo>
                      <a:pt x="83" y="293"/>
                    </a:lnTo>
                    <a:lnTo>
                      <a:pt x="82" y="280"/>
                    </a:lnTo>
                    <a:lnTo>
                      <a:pt x="80" y="258"/>
                    </a:lnTo>
                    <a:lnTo>
                      <a:pt x="80" y="258"/>
                    </a:lnTo>
                    <a:lnTo>
                      <a:pt x="79" y="242"/>
                    </a:lnTo>
                    <a:lnTo>
                      <a:pt x="77" y="233"/>
                    </a:lnTo>
                    <a:lnTo>
                      <a:pt x="79" y="225"/>
                    </a:lnTo>
                    <a:lnTo>
                      <a:pt x="79" y="225"/>
                    </a:lnTo>
                    <a:lnTo>
                      <a:pt x="90" y="189"/>
                    </a:lnTo>
                    <a:lnTo>
                      <a:pt x="100" y="152"/>
                    </a:lnTo>
                    <a:lnTo>
                      <a:pt x="100" y="152"/>
                    </a:lnTo>
                    <a:lnTo>
                      <a:pt x="100" y="145"/>
                    </a:lnTo>
                    <a:lnTo>
                      <a:pt x="102" y="136"/>
                    </a:lnTo>
                    <a:lnTo>
                      <a:pt x="103" y="128"/>
                    </a:lnTo>
                    <a:lnTo>
                      <a:pt x="106" y="123"/>
                    </a:lnTo>
                    <a:lnTo>
                      <a:pt x="108" y="121"/>
                    </a:lnTo>
                    <a:lnTo>
                      <a:pt x="108" y="121"/>
                    </a:lnTo>
                    <a:lnTo>
                      <a:pt x="115" y="113"/>
                    </a:lnTo>
                    <a:lnTo>
                      <a:pt x="124" y="105"/>
                    </a:lnTo>
                    <a:lnTo>
                      <a:pt x="129" y="96"/>
                    </a:lnTo>
                    <a:lnTo>
                      <a:pt x="131" y="93"/>
                    </a:lnTo>
                    <a:lnTo>
                      <a:pt x="131" y="90"/>
                    </a:lnTo>
                    <a:lnTo>
                      <a:pt x="131" y="90"/>
                    </a:lnTo>
                    <a:lnTo>
                      <a:pt x="126" y="89"/>
                    </a:lnTo>
                    <a:lnTo>
                      <a:pt x="124" y="89"/>
                    </a:lnTo>
                    <a:lnTo>
                      <a:pt x="119" y="87"/>
                    </a:lnTo>
                    <a:lnTo>
                      <a:pt x="119" y="84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3" y="63"/>
                    </a:lnTo>
                    <a:lnTo>
                      <a:pt x="108" y="47"/>
                    </a:lnTo>
                    <a:lnTo>
                      <a:pt x="108" y="47"/>
                    </a:lnTo>
                    <a:lnTo>
                      <a:pt x="106" y="41"/>
                    </a:lnTo>
                    <a:lnTo>
                      <a:pt x="106" y="38"/>
                    </a:lnTo>
                    <a:lnTo>
                      <a:pt x="108" y="35"/>
                    </a:lnTo>
                    <a:lnTo>
                      <a:pt x="105" y="31"/>
                    </a:lnTo>
                    <a:lnTo>
                      <a:pt x="105" y="31"/>
                    </a:lnTo>
                    <a:lnTo>
                      <a:pt x="98" y="21"/>
                    </a:lnTo>
                    <a:lnTo>
                      <a:pt x="96" y="16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98" y="3"/>
                    </a:lnTo>
                    <a:lnTo>
                      <a:pt x="96" y="0"/>
                    </a:lnTo>
                    <a:lnTo>
                      <a:pt x="93" y="0"/>
                    </a:lnTo>
                    <a:lnTo>
                      <a:pt x="93" y="0"/>
                    </a:lnTo>
                    <a:lnTo>
                      <a:pt x="86" y="3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9" y="21"/>
                    </a:lnTo>
                    <a:lnTo>
                      <a:pt x="80" y="25"/>
                    </a:lnTo>
                    <a:lnTo>
                      <a:pt x="79" y="29"/>
                    </a:lnTo>
                    <a:lnTo>
                      <a:pt x="79" y="29"/>
                    </a:lnTo>
                    <a:lnTo>
                      <a:pt x="76" y="38"/>
                    </a:lnTo>
                    <a:lnTo>
                      <a:pt x="76" y="42"/>
                    </a:lnTo>
                    <a:lnTo>
                      <a:pt x="76" y="47"/>
                    </a:lnTo>
                    <a:lnTo>
                      <a:pt x="76" y="47"/>
                    </a:lnTo>
                    <a:lnTo>
                      <a:pt x="79" y="52"/>
                    </a:lnTo>
                    <a:lnTo>
                      <a:pt x="79" y="57"/>
                    </a:lnTo>
                    <a:lnTo>
                      <a:pt x="79" y="63"/>
                    </a:lnTo>
                    <a:lnTo>
                      <a:pt x="79" y="63"/>
                    </a:lnTo>
                    <a:lnTo>
                      <a:pt x="79" y="78"/>
                    </a:lnTo>
                    <a:lnTo>
                      <a:pt x="77" y="87"/>
                    </a:lnTo>
                    <a:lnTo>
                      <a:pt x="77" y="89"/>
                    </a:lnTo>
                    <a:lnTo>
                      <a:pt x="76" y="90"/>
                    </a:lnTo>
                    <a:lnTo>
                      <a:pt x="76" y="90"/>
                    </a:lnTo>
                    <a:lnTo>
                      <a:pt x="70" y="94"/>
                    </a:lnTo>
                    <a:lnTo>
                      <a:pt x="69" y="96"/>
                    </a:lnTo>
                    <a:lnTo>
                      <a:pt x="69" y="99"/>
                    </a:lnTo>
                    <a:lnTo>
                      <a:pt x="69" y="99"/>
                    </a:lnTo>
                    <a:lnTo>
                      <a:pt x="71" y="107"/>
                    </a:lnTo>
                    <a:lnTo>
                      <a:pt x="71" y="113"/>
                    </a:lnTo>
                    <a:lnTo>
                      <a:pt x="71" y="119"/>
                    </a:lnTo>
                    <a:lnTo>
                      <a:pt x="71" y="119"/>
                    </a:lnTo>
                    <a:lnTo>
                      <a:pt x="70" y="131"/>
                    </a:lnTo>
                    <a:lnTo>
                      <a:pt x="70" y="141"/>
                    </a:lnTo>
                    <a:lnTo>
                      <a:pt x="70" y="141"/>
                    </a:lnTo>
                    <a:lnTo>
                      <a:pt x="67" y="154"/>
                    </a:lnTo>
                    <a:lnTo>
                      <a:pt x="66" y="167"/>
                    </a:lnTo>
                    <a:lnTo>
                      <a:pt x="66" y="167"/>
                    </a:lnTo>
                    <a:lnTo>
                      <a:pt x="66" y="177"/>
                    </a:lnTo>
                    <a:lnTo>
                      <a:pt x="64" y="184"/>
                    </a:lnTo>
                    <a:lnTo>
                      <a:pt x="63" y="187"/>
                    </a:lnTo>
                    <a:lnTo>
                      <a:pt x="63" y="187"/>
                    </a:lnTo>
                    <a:lnTo>
                      <a:pt x="60" y="190"/>
                    </a:lnTo>
                    <a:lnTo>
                      <a:pt x="57" y="196"/>
                    </a:lnTo>
                    <a:lnTo>
                      <a:pt x="56" y="202"/>
                    </a:lnTo>
                    <a:lnTo>
                      <a:pt x="56" y="203"/>
                    </a:lnTo>
                    <a:lnTo>
                      <a:pt x="57" y="206"/>
                    </a:lnTo>
                    <a:lnTo>
                      <a:pt x="57" y="206"/>
                    </a:lnTo>
                    <a:lnTo>
                      <a:pt x="58" y="207"/>
                    </a:lnTo>
                    <a:lnTo>
                      <a:pt x="60" y="210"/>
                    </a:lnTo>
                    <a:lnTo>
                      <a:pt x="57" y="215"/>
                    </a:lnTo>
                    <a:lnTo>
                      <a:pt x="57" y="215"/>
                    </a:lnTo>
                    <a:lnTo>
                      <a:pt x="57" y="222"/>
                    </a:lnTo>
                    <a:lnTo>
                      <a:pt x="57" y="231"/>
                    </a:lnTo>
                    <a:lnTo>
                      <a:pt x="60" y="247"/>
                    </a:lnTo>
                    <a:lnTo>
                      <a:pt x="60" y="247"/>
                    </a:lnTo>
                    <a:lnTo>
                      <a:pt x="60" y="254"/>
                    </a:lnTo>
                    <a:lnTo>
                      <a:pt x="60" y="261"/>
                    </a:lnTo>
                    <a:lnTo>
                      <a:pt x="58" y="274"/>
                    </a:lnTo>
                    <a:lnTo>
                      <a:pt x="58" y="274"/>
                    </a:lnTo>
                    <a:lnTo>
                      <a:pt x="51" y="290"/>
                    </a:lnTo>
                    <a:lnTo>
                      <a:pt x="51" y="290"/>
                    </a:lnTo>
                    <a:lnTo>
                      <a:pt x="47" y="306"/>
                    </a:lnTo>
                    <a:lnTo>
                      <a:pt x="40" y="323"/>
                    </a:lnTo>
                    <a:lnTo>
                      <a:pt x="40" y="323"/>
                    </a:lnTo>
                    <a:lnTo>
                      <a:pt x="35" y="336"/>
                    </a:lnTo>
                    <a:lnTo>
                      <a:pt x="34" y="342"/>
                    </a:lnTo>
                    <a:lnTo>
                      <a:pt x="31" y="348"/>
                    </a:lnTo>
                    <a:lnTo>
                      <a:pt x="31" y="348"/>
                    </a:lnTo>
                    <a:lnTo>
                      <a:pt x="25" y="355"/>
                    </a:lnTo>
                    <a:lnTo>
                      <a:pt x="24" y="359"/>
                    </a:lnTo>
                    <a:lnTo>
                      <a:pt x="25" y="364"/>
                    </a:lnTo>
                    <a:lnTo>
                      <a:pt x="25" y="364"/>
                    </a:lnTo>
                    <a:lnTo>
                      <a:pt x="29" y="370"/>
                    </a:lnTo>
                    <a:lnTo>
                      <a:pt x="31" y="373"/>
                    </a:lnTo>
                    <a:lnTo>
                      <a:pt x="29" y="377"/>
                    </a:lnTo>
                    <a:lnTo>
                      <a:pt x="29" y="377"/>
                    </a:lnTo>
                    <a:lnTo>
                      <a:pt x="29" y="380"/>
                    </a:lnTo>
                    <a:lnTo>
                      <a:pt x="31" y="383"/>
                    </a:lnTo>
                    <a:lnTo>
                      <a:pt x="31" y="386"/>
                    </a:lnTo>
                    <a:lnTo>
                      <a:pt x="31" y="390"/>
                    </a:lnTo>
                    <a:lnTo>
                      <a:pt x="31" y="390"/>
                    </a:lnTo>
                    <a:lnTo>
                      <a:pt x="29" y="400"/>
                    </a:lnTo>
                    <a:lnTo>
                      <a:pt x="27" y="409"/>
                    </a:lnTo>
                    <a:lnTo>
                      <a:pt x="27" y="409"/>
                    </a:lnTo>
                    <a:lnTo>
                      <a:pt x="25" y="415"/>
                    </a:lnTo>
                    <a:lnTo>
                      <a:pt x="25" y="422"/>
                    </a:lnTo>
                    <a:lnTo>
                      <a:pt x="24" y="433"/>
                    </a:lnTo>
                    <a:lnTo>
                      <a:pt x="24" y="433"/>
                    </a:lnTo>
                    <a:lnTo>
                      <a:pt x="25" y="442"/>
                    </a:lnTo>
                    <a:lnTo>
                      <a:pt x="24" y="448"/>
                    </a:lnTo>
                    <a:lnTo>
                      <a:pt x="24" y="448"/>
                    </a:lnTo>
                    <a:lnTo>
                      <a:pt x="21" y="454"/>
                    </a:lnTo>
                    <a:lnTo>
                      <a:pt x="19" y="462"/>
                    </a:lnTo>
                    <a:lnTo>
                      <a:pt x="19" y="462"/>
                    </a:lnTo>
                    <a:lnTo>
                      <a:pt x="21" y="471"/>
                    </a:lnTo>
                    <a:lnTo>
                      <a:pt x="22" y="475"/>
                    </a:lnTo>
                    <a:lnTo>
                      <a:pt x="24" y="477"/>
                    </a:lnTo>
                    <a:lnTo>
                      <a:pt x="24" y="477"/>
                    </a:lnTo>
                    <a:lnTo>
                      <a:pt x="25" y="475"/>
                    </a:lnTo>
                    <a:lnTo>
                      <a:pt x="28" y="471"/>
                    </a:lnTo>
                    <a:lnTo>
                      <a:pt x="29" y="462"/>
                    </a:lnTo>
                    <a:lnTo>
                      <a:pt x="29" y="462"/>
                    </a:lnTo>
                    <a:lnTo>
                      <a:pt x="34" y="458"/>
                    </a:lnTo>
                    <a:lnTo>
                      <a:pt x="35" y="455"/>
                    </a:lnTo>
                    <a:lnTo>
                      <a:pt x="35" y="452"/>
                    </a:lnTo>
                    <a:lnTo>
                      <a:pt x="35" y="452"/>
                    </a:lnTo>
                    <a:lnTo>
                      <a:pt x="34" y="446"/>
                    </a:lnTo>
                    <a:lnTo>
                      <a:pt x="34" y="445"/>
                    </a:lnTo>
                    <a:lnTo>
                      <a:pt x="35" y="445"/>
                    </a:lnTo>
                    <a:lnTo>
                      <a:pt x="35" y="445"/>
                    </a:lnTo>
                    <a:lnTo>
                      <a:pt x="37" y="446"/>
                    </a:lnTo>
                    <a:lnTo>
                      <a:pt x="38" y="445"/>
                    </a:lnTo>
                    <a:lnTo>
                      <a:pt x="40" y="445"/>
                    </a:lnTo>
                    <a:lnTo>
                      <a:pt x="40" y="449"/>
                    </a:lnTo>
                    <a:lnTo>
                      <a:pt x="40" y="449"/>
                    </a:lnTo>
                    <a:lnTo>
                      <a:pt x="41" y="457"/>
                    </a:lnTo>
                    <a:lnTo>
                      <a:pt x="40" y="465"/>
                    </a:lnTo>
                    <a:lnTo>
                      <a:pt x="40" y="465"/>
                    </a:lnTo>
                    <a:lnTo>
                      <a:pt x="38" y="471"/>
                    </a:lnTo>
                    <a:lnTo>
                      <a:pt x="38" y="478"/>
                    </a:lnTo>
                    <a:lnTo>
                      <a:pt x="40" y="483"/>
                    </a:lnTo>
                    <a:lnTo>
                      <a:pt x="38" y="486"/>
                    </a:lnTo>
                    <a:lnTo>
                      <a:pt x="38" y="486"/>
                    </a:lnTo>
                    <a:lnTo>
                      <a:pt x="37" y="490"/>
                    </a:lnTo>
                    <a:lnTo>
                      <a:pt x="34" y="493"/>
                    </a:lnTo>
                    <a:lnTo>
                      <a:pt x="34" y="493"/>
                    </a:lnTo>
                    <a:lnTo>
                      <a:pt x="38" y="499"/>
                    </a:lnTo>
                    <a:lnTo>
                      <a:pt x="40" y="504"/>
                    </a:lnTo>
                    <a:lnTo>
                      <a:pt x="40" y="504"/>
                    </a:lnTo>
                    <a:lnTo>
                      <a:pt x="38" y="509"/>
                    </a:lnTo>
                    <a:lnTo>
                      <a:pt x="37" y="512"/>
                    </a:lnTo>
                    <a:lnTo>
                      <a:pt x="35" y="513"/>
                    </a:lnTo>
                    <a:lnTo>
                      <a:pt x="35" y="513"/>
                    </a:lnTo>
                    <a:lnTo>
                      <a:pt x="32" y="513"/>
                    </a:lnTo>
                    <a:lnTo>
                      <a:pt x="31" y="514"/>
                    </a:lnTo>
                    <a:lnTo>
                      <a:pt x="31" y="517"/>
                    </a:lnTo>
                    <a:lnTo>
                      <a:pt x="32" y="520"/>
                    </a:lnTo>
                    <a:lnTo>
                      <a:pt x="32" y="520"/>
                    </a:lnTo>
                    <a:lnTo>
                      <a:pt x="35" y="523"/>
                    </a:lnTo>
                    <a:lnTo>
                      <a:pt x="34" y="526"/>
                    </a:lnTo>
                    <a:lnTo>
                      <a:pt x="34" y="526"/>
                    </a:lnTo>
                    <a:lnTo>
                      <a:pt x="31" y="529"/>
                    </a:lnTo>
                    <a:lnTo>
                      <a:pt x="29" y="532"/>
                    </a:lnTo>
                    <a:lnTo>
                      <a:pt x="28" y="538"/>
                    </a:lnTo>
                    <a:lnTo>
                      <a:pt x="28" y="538"/>
                    </a:lnTo>
                    <a:lnTo>
                      <a:pt x="28" y="541"/>
                    </a:lnTo>
                    <a:lnTo>
                      <a:pt x="27" y="542"/>
                    </a:lnTo>
                    <a:lnTo>
                      <a:pt x="24" y="541"/>
                    </a:lnTo>
                    <a:lnTo>
                      <a:pt x="24" y="541"/>
                    </a:lnTo>
                    <a:lnTo>
                      <a:pt x="21" y="539"/>
                    </a:lnTo>
                    <a:lnTo>
                      <a:pt x="19" y="539"/>
                    </a:lnTo>
                    <a:lnTo>
                      <a:pt x="18" y="539"/>
                    </a:lnTo>
                    <a:lnTo>
                      <a:pt x="16" y="538"/>
                    </a:lnTo>
                    <a:lnTo>
                      <a:pt x="16" y="538"/>
                    </a:lnTo>
                    <a:lnTo>
                      <a:pt x="14" y="535"/>
                    </a:lnTo>
                    <a:lnTo>
                      <a:pt x="11" y="533"/>
                    </a:lnTo>
                    <a:lnTo>
                      <a:pt x="9" y="533"/>
                    </a:lnTo>
                    <a:lnTo>
                      <a:pt x="6" y="535"/>
                    </a:lnTo>
                    <a:lnTo>
                      <a:pt x="6" y="535"/>
                    </a:lnTo>
                    <a:lnTo>
                      <a:pt x="6" y="538"/>
                    </a:lnTo>
                    <a:lnTo>
                      <a:pt x="6" y="541"/>
                    </a:lnTo>
                    <a:lnTo>
                      <a:pt x="6" y="542"/>
                    </a:lnTo>
                    <a:lnTo>
                      <a:pt x="5" y="543"/>
                    </a:lnTo>
                    <a:lnTo>
                      <a:pt x="5" y="543"/>
                    </a:lnTo>
                    <a:lnTo>
                      <a:pt x="2" y="548"/>
                    </a:lnTo>
                    <a:lnTo>
                      <a:pt x="0" y="555"/>
                    </a:lnTo>
                    <a:lnTo>
                      <a:pt x="0" y="561"/>
                    </a:lnTo>
                    <a:lnTo>
                      <a:pt x="0" y="562"/>
                    </a:lnTo>
                    <a:lnTo>
                      <a:pt x="0" y="562"/>
                    </a:lnTo>
                    <a:lnTo>
                      <a:pt x="0" y="562"/>
                    </a:lnTo>
                    <a:lnTo>
                      <a:pt x="6" y="558"/>
                    </a:lnTo>
                    <a:lnTo>
                      <a:pt x="8" y="558"/>
                    </a:lnTo>
                    <a:lnTo>
                      <a:pt x="9" y="559"/>
                    </a:lnTo>
                    <a:lnTo>
                      <a:pt x="9" y="559"/>
                    </a:lnTo>
                    <a:lnTo>
                      <a:pt x="12" y="572"/>
                    </a:lnTo>
                    <a:lnTo>
                      <a:pt x="12" y="572"/>
                    </a:lnTo>
                    <a:lnTo>
                      <a:pt x="15" y="578"/>
                    </a:lnTo>
                    <a:lnTo>
                      <a:pt x="16" y="581"/>
                    </a:lnTo>
                    <a:lnTo>
                      <a:pt x="18" y="583"/>
                    </a:lnTo>
                    <a:lnTo>
                      <a:pt x="18" y="583"/>
                    </a:lnTo>
                    <a:lnTo>
                      <a:pt x="27" y="584"/>
                    </a:lnTo>
                    <a:lnTo>
                      <a:pt x="29" y="585"/>
                    </a:lnTo>
                    <a:lnTo>
                      <a:pt x="29" y="585"/>
                    </a:lnTo>
                    <a:lnTo>
                      <a:pt x="29" y="587"/>
                    </a:lnTo>
                    <a:lnTo>
                      <a:pt x="29" y="587"/>
                    </a:lnTo>
                    <a:lnTo>
                      <a:pt x="28" y="587"/>
                    </a:lnTo>
                    <a:lnTo>
                      <a:pt x="24" y="587"/>
                    </a:lnTo>
                    <a:lnTo>
                      <a:pt x="21" y="587"/>
                    </a:lnTo>
                    <a:lnTo>
                      <a:pt x="16" y="588"/>
                    </a:lnTo>
                    <a:lnTo>
                      <a:pt x="16" y="588"/>
                    </a:lnTo>
                    <a:lnTo>
                      <a:pt x="15" y="590"/>
                    </a:lnTo>
                    <a:lnTo>
                      <a:pt x="15" y="593"/>
                    </a:lnTo>
                    <a:lnTo>
                      <a:pt x="18" y="598"/>
                    </a:lnTo>
                    <a:lnTo>
                      <a:pt x="18" y="598"/>
                    </a:lnTo>
                    <a:lnTo>
                      <a:pt x="18" y="601"/>
                    </a:lnTo>
                    <a:lnTo>
                      <a:pt x="18" y="603"/>
                    </a:lnTo>
                    <a:lnTo>
                      <a:pt x="15" y="607"/>
                    </a:lnTo>
                    <a:lnTo>
                      <a:pt x="15" y="607"/>
                    </a:lnTo>
                    <a:lnTo>
                      <a:pt x="14" y="613"/>
                    </a:lnTo>
                    <a:lnTo>
                      <a:pt x="15" y="616"/>
                    </a:lnTo>
                    <a:lnTo>
                      <a:pt x="16" y="619"/>
                    </a:lnTo>
                    <a:lnTo>
                      <a:pt x="16" y="619"/>
                    </a:lnTo>
                    <a:lnTo>
                      <a:pt x="19" y="619"/>
                    </a:lnTo>
                    <a:lnTo>
                      <a:pt x="21" y="622"/>
                    </a:lnTo>
                    <a:lnTo>
                      <a:pt x="19" y="623"/>
                    </a:lnTo>
                    <a:lnTo>
                      <a:pt x="18" y="625"/>
                    </a:lnTo>
                    <a:lnTo>
                      <a:pt x="18" y="625"/>
                    </a:lnTo>
                    <a:lnTo>
                      <a:pt x="15" y="626"/>
                    </a:lnTo>
                    <a:lnTo>
                      <a:pt x="15" y="629"/>
                    </a:lnTo>
                    <a:lnTo>
                      <a:pt x="18" y="635"/>
                    </a:lnTo>
                    <a:lnTo>
                      <a:pt x="18" y="635"/>
                    </a:lnTo>
                    <a:lnTo>
                      <a:pt x="19" y="642"/>
                    </a:lnTo>
                    <a:lnTo>
                      <a:pt x="19" y="643"/>
                    </a:lnTo>
                    <a:lnTo>
                      <a:pt x="16" y="645"/>
                    </a:lnTo>
                    <a:lnTo>
                      <a:pt x="16" y="645"/>
                    </a:lnTo>
                    <a:lnTo>
                      <a:pt x="15" y="645"/>
                    </a:lnTo>
                    <a:lnTo>
                      <a:pt x="15" y="646"/>
                    </a:lnTo>
                    <a:lnTo>
                      <a:pt x="16" y="651"/>
                    </a:lnTo>
                    <a:lnTo>
                      <a:pt x="18" y="655"/>
                    </a:lnTo>
                    <a:lnTo>
                      <a:pt x="18" y="658"/>
                    </a:lnTo>
                    <a:lnTo>
                      <a:pt x="18" y="658"/>
                    </a:lnTo>
                    <a:lnTo>
                      <a:pt x="16" y="659"/>
                    </a:lnTo>
                    <a:lnTo>
                      <a:pt x="15" y="661"/>
                    </a:lnTo>
                    <a:lnTo>
                      <a:pt x="18" y="665"/>
                    </a:lnTo>
                    <a:lnTo>
                      <a:pt x="18" y="665"/>
                    </a:lnTo>
                    <a:lnTo>
                      <a:pt x="21" y="671"/>
                    </a:lnTo>
                    <a:lnTo>
                      <a:pt x="21" y="672"/>
                    </a:lnTo>
                    <a:lnTo>
                      <a:pt x="19" y="675"/>
                    </a:lnTo>
                    <a:lnTo>
                      <a:pt x="19" y="675"/>
                    </a:lnTo>
                    <a:lnTo>
                      <a:pt x="18" y="678"/>
                    </a:lnTo>
                    <a:lnTo>
                      <a:pt x="18" y="681"/>
                    </a:lnTo>
                    <a:lnTo>
                      <a:pt x="19" y="684"/>
                    </a:lnTo>
                    <a:lnTo>
                      <a:pt x="18" y="687"/>
                    </a:lnTo>
                    <a:lnTo>
                      <a:pt x="18" y="687"/>
                    </a:lnTo>
                    <a:lnTo>
                      <a:pt x="16" y="687"/>
                    </a:lnTo>
                    <a:lnTo>
                      <a:pt x="16" y="688"/>
                    </a:lnTo>
                    <a:lnTo>
                      <a:pt x="18" y="690"/>
                    </a:lnTo>
                    <a:lnTo>
                      <a:pt x="18" y="693"/>
                    </a:lnTo>
                    <a:lnTo>
                      <a:pt x="18" y="693"/>
                    </a:lnTo>
                    <a:lnTo>
                      <a:pt x="18" y="697"/>
                    </a:lnTo>
                    <a:lnTo>
                      <a:pt x="19" y="701"/>
                    </a:lnTo>
                    <a:lnTo>
                      <a:pt x="21" y="704"/>
                    </a:lnTo>
                    <a:lnTo>
                      <a:pt x="22" y="704"/>
                    </a:lnTo>
                    <a:lnTo>
                      <a:pt x="22" y="704"/>
                    </a:lnTo>
                    <a:lnTo>
                      <a:pt x="22" y="704"/>
                    </a:lnTo>
                    <a:lnTo>
                      <a:pt x="27" y="697"/>
                    </a:lnTo>
                    <a:lnTo>
                      <a:pt x="29" y="693"/>
                    </a:lnTo>
                    <a:lnTo>
                      <a:pt x="29" y="693"/>
                    </a:lnTo>
                    <a:lnTo>
                      <a:pt x="31" y="693"/>
                    </a:lnTo>
                    <a:lnTo>
                      <a:pt x="31" y="693"/>
                    </a:lnTo>
                    <a:lnTo>
                      <a:pt x="29" y="696"/>
                    </a:lnTo>
                    <a:lnTo>
                      <a:pt x="28" y="703"/>
                    </a:lnTo>
                    <a:lnTo>
                      <a:pt x="28" y="703"/>
                    </a:lnTo>
                    <a:lnTo>
                      <a:pt x="27" y="710"/>
                    </a:lnTo>
                    <a:lnTo>
                      <a:pt x="27" y="713"/>
                    </a:lnTo>
                    <a:lnTo>
                      <a:pt x="28" y="716"/>
                    </a:lnTo>
                    <a:lnTo>
                      <a:pt x="28" y="716"/>
                    </a:lnTo>
                    <a:lnTo>
                      <a:pt x="32" y="716"/>
                    </a:lnTo>
                    <a:lnTo>
                      <a:pt x="35" y="716"/>
                    </a:lnTo>
                    <a:lnTo>
                      <a:pt x="38" y="716"/>
                    </a:lnTo>
                    <a:lnTo>
                      <a:pt x="37" y="717"/>
                    </a:lnTo>
                    <a:lnTo>
                      <a:pt x="37" y="717"/>
                    </a:lnTo>
                    <a:lnTo>
                      <a:pt x="37" y="719"/>
                    </a:lnTo>
                    <a:lnTo>
                      <a:pt x="40" y="719"/>
                    </a:lnTo>
                    <a:lnTo>
                      <a:pt x="45" y="713"/>
                    </a:lnTo>
                    <a:lnTo>
                      <a:pt x="45" y="713"/>
                    </a:lnTo>
                    <a:lnTo>
                      <a:pt x="54" y="707"/>
                    </a:lnTo>
                    <a:lnTo>
                      <a:pt x="58" y="706"/>
                    </a:lnTo>
                    <a:lnTo>
                      <a:pt x="60" y="704"/>
                    </a:lnTo>
                    <a:lnTo>
                      <a:pt x="61" y="706"/>
                    </a:lnTo>
                    <a:lnTo>
                      <a:pt x="61" y="706"/>
                    </a:lnTo>
                    <a:lnTo>
                      <a:pt x="61" y="709"/>
                    </a:lnTo>
                    <a:lnTo>
                      <a:pt x="60" y="711"/>
                    </a:lnTo>
                    <a:lnTo>
                      <a:pt x="60" y="714"/>
                    </a:lnTo>
                    <a:lnTo>
                      <a:pt x="63" y="714"/>
                    </a:lnTo>
                    <a:lnTo>
                      <a:pt x="63" y="714"/>
                    </a:lnTo>
                    <a:lnTo>
                      <a:pt x="70" y="714"/>
                    </a:lnTo>
                    <a:lnTo>
                      <a:pt x="71" y="713"/>
                    </a:lnTo>
                    <a:lnTo>
                      <a:pt x="73" y="710"/>
                    </a:lnTo>
                    <a:lnTo>
                      <a:pt x="73" y="710"/>
                    </a:lnTo>
                    <a:lnTo>
                      <a:pt x="74" y="706"/>
                    </a:lnTo>
                    <a:lnTo>
                      <a:pt x="77" y="704"/>
                    </a:lnTo>
                    <a:lnTo>
                      <a:pt x="84" y="700"/>
                    </a:lnTo>
                    <a:lnTo>
                      <a:pt x="84" y="700"/>
                    </a:lnTo>
                    <a:lnTo>
                      <a:pt x="92" y="698"/>
                    </a:lnTo>
                    <a:lnTo>
                      <a:pt x="95" y="697"/>
                    </a:lnTo>
                    <a:lnTo>
                      <a:pt x="96" y="694"/>
                    </a:lnTo>
                    <a:lnTo>
                      <a:pt x="96" y="694"/>
                    </a:lnTo>
                    <a:lnTo>
                      <a:pt x="98" y="693"/>
                    </a:lnTo>
                    <a:lnTo>
                      <a:pt x="98" y="693"/>
                    </a:lnTo>
                    <a:lnTo>
                      <a:pt x="89" y="690"/>
                    </a:lnTo>
                    <a:lnTo>
                      <a:pt x="79" y="688"/>
                    </a:lnTo>
                    <a:lnTo>
                      <a:pt x="79" y="688"/>
                    </a:lnTo>
                    <a:lnTo>
                      <a:pt x="63" y="688"/>
                    </a:lnTo>
                    <a:lnTo>
                      <a:pt x="56" y="687"/>
                    </a:lnTo>
                    <a:lnTo>
                      <a:pt x="53" y="685"/>
                    </a:lnTo>
                    <a:lnTo>
                      <a:pt x="51" y="68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12" name="Freeform 263"/>
              <p:cNvSpPr>
                <a:spLocks/>
              </p:cNvSpPr>
              <p:nvPr/>
            </p:nvSpPr>
            <p:spPr bwMode="auto">
              <a:xfrm>
                <a:off x="3206821" y="3604023"/>
                <a:ext cx="129593" cy="711278"/>
              </a:xfrm>
              <a:custGeom>
                <a:avLst/>
                <a:gdLst>
                  <a:gd name="T0" fmla="*/ 48 w 131"/>
                  <a:gd name="T1" fmla="*/ 652 h 719"/>
                  <a:gd name="T2" fmla="*/ 31 w 131"/>
                  <a:gd name="T3" fmla="*/ 655 h 719"/>
                  <a:gd name="T4" fmla="*/ 32 w 131"/>
                  <a:gd name="T5" fmla="*/ 625 h 719"/>
                  <a:gd name="T6" fmla="*/ 54 w 131"/>
                  <a:gd name="T7" fmla="*/ 571 h 719"/>
                  <a:gd name="T8" fmla="*/ 56 w 131"/>
                  <a:gd name="T9" fmla="*/ 535 h 719"/>
                  <a:gd name="T10" fmla="*/ 61 w 131"/>
                  <a:gd name="T11" fmla="*/ 519 h 719"/>
                  <a:gd name="T12" fmla="*/ 66 w 131"/>
                  <a:gd name="T13" fmla="*/ 509 h 719"/>
                  <a:gd name="T14" fmla="*/ 53 w 131"/>
                  <a:gd name="T15" fmla="*/ 491 h 719"/>
                  <a:gd name="T16" fmla="*/ 53 w 131"/>
                  <a:gd name="T17" fmla="*/ 467 h 719"/>
                  <a:gd name="T18" fmla="*/ 57 w 131"/>
                  <a:gd name="T19" fmla="*/ 415 h 719"/>
                  <a:gd name="T20" fmla="*/ 66 w 131"/>
                  <a:gd name="T21" fmla="*/ 386 h 719"/>
                  <a:gd name="T22" fmla="*/ 76 w 131"/>
                  <a:gd name="T23" fmla="*/ 331 h 719"/>
                  <a:gd name="T24" fmla="*/ 82 w 131"/>
                  <a:gd name="T25" fmla="*/ 300 h 719"/>
                  <a:gd name="T26" fmla="*/ 77 w 131"/>
                  <a:gd name="T27" fmla="*/ 233 h 719"/>
                  <a:gd name="T28" fmla="*/ 102 w 131"/>
                  <a:gd name="T29" fmla="*/ 136 h 719"/>
                  <a:gd name="T30" fmla="*/ 129 w 131"/>
                  <a:gd name="T31" fmla="*/ 96 h 719"/>
                  <a:gd name="T32" fmla="*/ 119 w 131"/>
                  <a:gd name="T33" fmla="*/ 84 h 719"/>
                  <a:gd name="T34" fmla="*/ 106 w 131"/>
                  <a:gd name="T35" fmla="*/ 38 h 719"/>
                  <a:gd name="T36" fmla="*/ 96 w 131"/>
                  <a:gd name="T37" fmla="*/ 10 h 719"/>
                  <a:gd name="T38" fmla="*/ 74 w 131"/>
                  <a:gd name="T39" fmla="*/ 12 h 719"/>
                  <a:gd name="T40" fmla="*/ 76 w 131"/>
                  <a:gd name="T41" fmla="*/ 47 h 719"/>
                  <a:gd name="T42" fmla="*/ 77 w 131"/>
                  <a:gd name="T43" fmla="*/ 87 h 719"/>
                  <a:gd name="T44" fmla="*/ 69 w 131"/>
                  <a:gd name="T45" fmla="*/ 99 h 719"/>
                  <a:gd name="T46" fmla="*/ 70 w 131"/>
                  <a:gd name="T47" fmla="*/ 141 h 719"/>
                  <a:gd name="T48" fmla="*/ 63 w 131"/>
                  <a:gd name="T49" fmla="*/ 187 h 719"/>
                  <a:gd name="T50" fmla="*/ 58 w 131"/>
                  <a:gd name="T51" fmla="*/ 207 h 719"/>
                  <a:gd name="T52" fmla="*/ 60 w 131"/>
                  <a:gd name="T53" fmla="*/ 247 h 719"/>
                  <a:gd name="T54" fmla="*/ 47 w 131"/>
                  <a:gd name="T55" fmla="*/ 306 h 719"/>
                  <a:gd name="T56" fmla="*/ 25 w 131"/>
                  <a:gd name="T57" fmla="*/ 355 h 719"/>
                  <a:gd name="T58" fmla="*/ 29 w 131"/>
                  <a:gd name="T59" fmla="*/ 377 h 719"/>
                  <a:gd name="T60" fmla="*/ 27 w 131"/>
                  <a:gd name="T61" fmla="*/ 409 h 719"/>
                  <a:gd name="T62" fmla="*/ 24 w 131"/>
                  <a:gd name="T63" fmla="*/ 448 h 719"/>
                  <a:gd name="T64" fmla="*/ 24 w 131"/>
                  <a:gd name="T65" fmla="*/ 477 h 719"/>
                  <a:gd name="T66" fmla="*/ 35 w 131"/>
                  <a:gd name="T67" fmla="*/ 455 h 719"/>
                  <a:gd name="T68" fmla="*/ 37 w 131"/>
                  <a:gd name="T69" fmla="*/ 446 h 719"/>
                  <a:gd name="T70" fmla="*/ 40 w 131"/>
                  <a:gd name="T71" fmla="*/ 465 h 719"/>
                  <a:gd name="T72" fmla="*/ 34 w 131"/>
                  <a:gd name="T73" fmla="*/ 493 h 719"/>
                  <a:gd name="T74" fmla="*/ 35 w 131"/>
                  <a:gd name="T75" fmla="*/ 513 h 719"/>
                  <a:gd name="T76" fmla="*/ 35 w 131"/>
                  <a:gd name="T77" fmla="*/ 523 h 719"/>
                  <a:gd name="T78" fmla="*/ 28 w 131"/>
                  <a:gd name="T79" fmla="*/ 541 h 719"/>
                  <a:gd name="T80" fmla="*/ 16 w 131"/>
                  <a:gd name="T81" fmla="*/ 538 h 719"/>
                  <a:gd name="T82" fmla="*/ 6 w 131"/>
                  <a:gd name="T83" fmla="*/ 538 h 719"/>
                  <a:gd name="T84" fmla="*/ 0 w 131"/>
                  <a:gd name="T85" fmla="*/ 561 h 719"/>
                  <a:gd name="T86" fmla="*/ 9 w 131"/>
                  <a:gd name="T87" fmla="*/ 559 h 719"/>
                  <a:gd name="T88" fmla="*/ 27 w 131"/>
                  <a:gd name="T89" fmla="*/ 584 h 719"/>
                  <a:gd name="T90" fmla="*/ 21 w 131"/>
                  <a:gd name="T91" fmla="*/ 587 h 719"/>
                  <a:gd name="T92" fmla="*/ 18 w 131"/>
                  <a:gd name="T93" fmla="*/ 601 h 719"/>
                  <a:gd name="T94" fmla="*/ 16 w 131"/>
                  <a:gd name="T95" fmla="*/ 619 h 719"/>
                  <a:gd name="T96" fmla="*/ 15 w 131"/>
                  <a:gd name="T97" fmla="*/ 629 h 719"/>
                  <a:gd name="T98" fmla="*/ 15 w 131"/>
                  <a:gd name="T99" fmla="*/ 645 h 719"/>
                  <a:gd name="T100" fmla="*/ 15 w 131"/>
                  <a:gd name="T101" fmla="*/ 661 h 719"/>
                  <a:gd name="T102" fmla="*/ 18 w 131"/>
                  <a:gd name="T103" fmla="*/ 678 h 719"/>
                  <a:gd name="T104" fmla="*/ 18 w 131"/>
                  <a:gd name="T105" fmla="*/ 690 h 719"/>
                  <a:gd name="T106" fmla="*/ 22 w 131"/>
                  <a:gd name="T107" fmla="*/ 704 h 719"/>
                  <a:gd name="T108" fmla="*/ 29 w 131"/>
                  <a:gd name="T109" fmla="*/ 696 h 719"/>
                  <a:gd name="T110" fmla="*/ 32 w 131"/>
                  <a:gd name="T111" fmla="*/ 716 h 719"/>
                  <a:gd name="T112" fmla="*/ 45 w 131"/>
                  <a:gd name="T113" fmla="*/ 713 h 719"/>
                  <a:gd name="T114" fmla="*/ 61 w 131"/>
                  <a:gd name="T115" fmla="*/ 709 h 719"/>
                  <a:gd name="T116" fmla="*/ 73 w 131"/>
                  <a:gd name="T117" fmla="*/ 710 h 719"/>
                  <a:gd name="T118" fmla="*/ 95 w 131"/>
                  <a:gd name="T119" fmla="*/ 697 h 719"/>
                  <a:gd name="T120" fmla="*/ 79 w 131"/>
                  <a:gd name="T121" fmla="*/ 688 h 7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1" h="719">
                    <a:moveTo>
                      <a:pt x="51" y="684"/>
                    </a:moveTo>
                    <a:lnTo>
                      <a:pt x="51" y="684"/>
                    </a:lnTo>
                    <a:lnTo>
                      <a:pt x="48" y="677"/>
                    </a:lnTo>
                    <a:lnTo>
                      <a:pt x="48" y="669"/>
                    </a:lnTo>
                    <a:lnTo>
                      <a:pt x="48" y="656"/>
                    </a:lnTo>
                    <a:lnTo>
                      <a:pt x="48" y="656"/>
                    </a:lnTo>
                    <a:lnTo>
                      <a:pt x="48" y="652"/>
                    </a:lnTo>
                    <a:lnTo>
                      <a:pt x="47" y="651"/>
                    </a:lnTo>
                    <a:lnTo>
                      <a:pt x="45" y="651"/>
                    </a:lnTo>
                    <a:lnTo>
                      <a:pt x="42" y="652"/>
                    </a:lnTo>
                    <a:lnTo>
                      <a:pt x="42" y="652"/>
                    </a:lnTo>
                    <a:lnTo>
                      <a:pt x="37" y="656"/>
                    </a:lnTo>
                    <a:lnTo>
                      <a:pt x="34" y="656"/>
                    </a:lnTo>
                    <a:lnTo>
                      <a:pt x="31" y="655"/>
                    </a:lnTo>
                    <a:lnTo>
                      <a:pt x="31" y="655"/>
                    </a:lnTo>
                    <a:lnTo>
                      <a:pt x="29" y="651"/>
                    </a:lnTo>
                    <a:lnTo>
                      <a:pt x="28" y="642"/>
                    </a:lnTo>
                    <a:lnTo>
                      <a:pt x="28" y="633"/>
                    </a:lnTo>
                    <a:lnTo>
                      <a:pt x="29" y="629"/>
                    </a:lnTo>
                    <a:lnTo>
                      <a:pt x="32" y="625"/>
                    </a:lnTo>
                    <a:lnTo>
                      <a:pt x="32" y="625"/>
                    </a:lnTo>
                    <a:lnTo>
                      <a:pt x="42" y="610"/>
                    </a:lnTo>
                    <a:lnTo>
                      <a:pt x="45" y="604"/>
                    </a:lnTo>
                    <a:lnTo>
                      <a:pt x="47" y="598"/>
                    </a:lnTo>
                    <a:lnTo>
                      <a:pt x="47" y="598"/>
                    </a:lnTo>
                    <a:lnTo>
                      <a:pt x="48" y="585"/>
                    </a:lnTo>
                    <a:lnTo>
                      <a:pt x="50" y="578"/>
                    </a:lnTo>
                    <a:lnTo>
                      <a:pt x="54" y="571"/>
                    </a:lnTo>
                    <a:lnTo>
                      <a:pt x="54" y="571"/>
                    </a:lnTo>
                    <a:lnTo>
                      <a:pt x="56" y="568"/>
                    </a:lnTo>
                    <a:lnTo>
                      <a:pt x="56" y="564"/>
                    </a:lnTo>
                    <a:lnTo>
                      <a:pt x="57" y="552"/>
                    </a:lnTo>
                    <a:lnTo>
                      <a:pt x="56" y="542"/>
                    </a:lnTo>
                    <a:lnTo>
                      <a:pt x="56" y="535"/>
                    </a:lnTo>
                    <a:lnTo>
                      <a:pt x="56" y="535"/>
                    </a:lnTo>
                    <a:lnTo>
                      <a:pt x="54" y="532"/>
                    </a:lnTo>
                    <a:lnTo>
                      <a:pt x="56" y="529"/>
                    </a:lnTo>
                    <a:lnTo>
                      <a:pt x="58" y="526"/>
                    </a:lnTo>
                    <a:lnTo>
                      <a:pt x="61" y="522"/>
                    </a:lnTo>
                    <a:lnTo>
                      <a:pt x="63" y="520"/>
                    </a:lnTo>
                    <a:lnTo>
                      <a:pt x="61" y="519"/>
                    </a:lnTo>
                    <a:lnTo>
                      <a:pt x="61" y="519"/>
                    </a:lnTo>
                    <a:lnTo>
                      <a:pt x="56" y="513"/>
                    </a:lnTo>
                    <a:lnTo>
                      <a:pt x="54" y="513"/>
                    </a:lnTo>
                    <a:lnTo>
                      <a:pt x="56" y="512"/>
                    </a:lnTo>
                    <a:lnTo>
                      <a:pt x="56" y="512"/>
                    </a:lnTo>
                    <a:lnTo>
                      <a:pt x="61" y="510"/>
                    </a:lnTo>
                    <a:lnTo>
                      <a:pt x="66" y="509"/>
                    </a:lnTo>
                    <a:lnTo>
                      <a:pt x="66" y="509"/>
                    </a:lnTo>
                    <a:lnTo>
                      <a:pt x="64" y="506"/>
                    </a:lnTo>
                    <a:lnTo>
                      <a:pt x="64" y="506"/>
                    </a:lnTo>
                    <a:lnTo>
                      <a:pt x="60" y="503"/>
                    </a:lnTo>
                    <a:lnTo>
                      <a:pt x="56" y="500"/>
                    </a:lnTo>
                    <a:lnTo>
                      <a:pt x="53" y="496"/>
                    </a:lnTo>
                    <a:lnTo>
                      <a:pt x="51" y="494"/>
                    </a:lnTo>
                    <a:lnTo>
                      <a:pt x="53" y="491"/>
                    </a:lnTo>
                    <a:lnTo>
                      <a:pt x="53" y="491"/>
                    </a:lnTo>
                    <a:lnTo>
                      <a:pt x="54" y="487"/>
                    </a:lnTo>
                    <a:lnTo>
                      <a:pt x="57" y="486"/>
                    </a:lnTo>
                    <a:lnTo>
                      <a:pt x="58" y="483"/>
                    </a:lnTo>
                    <a:lnTo>
                      <a:pt x="57" y="478"/>
                    </a:lnTo>
                    <a:lnTo>
                      <a:pt x="57" y="478"/>
                    </a:lnTo>
                    <a:lnTo>
                      <a:pt x="53" y="467"/>
                    </a:lnTo>
                    <a:lnTo>
                      <a:pt x="51" y="461"/>
                    </a:lnTo>
                    <a:lnTo>
                      <a:pt x="51" y="455"/>
                    </a:lnTo>
                    <a:lnTo>
                      <a:pt x="51" y="455"/>
                    </a:lnTo>
                    <a:lnTo>
                      <a:pt x="54" y="441"/>
                    </a:lnTo>
                    <a:lnTo>
                      <a:pt x="56" y="423"/>
                    </a:lnTo>
                    <a:lnTo>
                      <a:pt x="56" y="423"/>
                    </a:lnTo>
                    <a:lnTo>
                      <a:pt x="57" y="415"/>
                    </a:lnTo>
                    <a:lnTo>
                      <a:pt x="58" y="407"/>
                    </a:lnTo>
                    <a:lnTo>
                      <a:pt x="58" y="407"/>
                    </a:lnTo>
                    <a:lnTo>
                      <a:pt x="60" y="403"/>
                    </a:lnTo>
                    <a:lnTo>
                      <a:pt x="61" y="397"/>
                    </a:lnTo>
                    <a:lnTo>
                      <a:pt x="64" y="390"/>
                    </a:lnTo>
                    <a:lnTo>
                      <a:pt x="64" y="390"/>
                    </a:lnTo>
                    <a:lnTo>
                      <a:pt x="66" y="386"/>
                    </a:lnTo>
                    <a:lnTo>
                      <a:pt x="66" y="377"/>
                    </a:lnTo>
                    <a:lnTo>
                      <a:pt x="64" y="357"/>
                    </a:lnTo>
                    <a:lnTo>
                      <a:pt x="64" y="357"/>
                    </a:lnTo>
                    <a:lnTo>
                      <a:pt x="66" y="348"/>
                    </a:lnTo>
                    <a:lnTo>
                      <a:pt x="69" y="341"/>
                    </a:lnTo>
                    <a:lnTo>
                      <a:pt x="71" y="335"/>
                    </a:lnTo>
                    <a:lnTo>
                      <a:pt x="76" y="331"/>
                    </a:lnTo>
                    <a:lnTo>
                      <a:pt x="76" y="331"/>
                    </a:lnTo>
                    <a:lnTo>
                      <a:pt x="77" y="328"/>
                    </a:lnTo>
                    <a:lnTo>
                      <a:pt x="79" y="323"/>
                    </a:lnTo>
                    <a:lnTo>
                      <a:pt x="79" y="315"/>
                    </a:lnTo>
                    <a:lnTo>
                      <a:pt x="80" y="307"/>
                    </a:lnTo>
                    <a:lnTo>
                      <a:pt x="82" y="300"/>
                    </a:lnTo>
                    <a:lnTo>
                      <a:pt x="82" y="300"/>
                    </a:lnTo>
                    <a:lnTo>
                      <a:pt x="82" y="297"/>
                    </a:lnTo>
                    <a:lnTo>
                      <a:pt x="83" y="293"/>
                    </a:lnTo>
                    <a:lnTo>
                      <a:pt x="82" y="280"/>
                    </a:lnTo>
                    <a:lnTo>
                      <a:pt x="80" y="258"/>
                    </a:lnTo>
                    <a:lnTo>
                      <a:pt x="80" y="258"/>
                    </a:lnTo>
                    <a:lnTo>
                      <a:pt x="79" y="242"/>
                    </a:lnTo>
                    <a:lnTo>
                      <a:pt x="77" y="233"/>
                    </a:lnTo>
                    <a:lnTo>
                      <a:pt x="79" y="225"/>
                    </a:lnTo>
                    <a:lnTo>
                      <a:pt x="79" y="225"/>
                    </a:lnTo>
                    <a:lnTo>
                      <a:pt x="90" y="189"/>
                    </a:lnTo>
                    <a:lnTo>
                      <a:pt x="100" y="152"/>
                    </a:lnTo>
                    <a:lnTo>
                      <a:pt x="100" y="152"/>
                    </a:lnTo>
                    <a:lnTo>
                      <a:pt x="100" y="145"/>
                    </a:lnTo>
                    <a:lnTo>
                      <a:pt x="102" y="136"/>
                    </a:lnTo>
                    <a:lnTo>
                      <a:pt x="103" y="128"/>
                    </a:lnTo>
                    <a:lnTo>
                      <a:pt x="106" y="123"/>
                    </a:lnTo>
                    <a:lnTo>
                      <a:pt x="108" y="121"/>
                    </a:lnTo>
                    <a:lnTo>
                      <a:pt x="108" y="121"/>
                    </a:lnTo>
                    <a:lnTo>
                      <a:pt x="115" y="113"/>
                    </a:lnTo>
                    <a:lnTo>
                      <a:pt x="124" y="105"/>
                    </a:lnTo>
                    <a:lnTo>
                      <a:pt x="129" y="96"/>
                    </a:lnTo>
                    <a:lnTo>
                      <a:pt x="131" y="93"/>
                    </a:lnTo>
                    <a:lnTo>
                      <a:pt x="131" y="90"/>
                    </a:lnTo>
                    <a:lnTo>
                      <a:pt x="131" y="90"/>
                    </a:lnTo>
                    <a:lnTo>
                      <a:pt x="126" y="89"/>
                    </a:lnTo>
                    <a:lnTo>
                      <a:pt x="124" y="89"/>
                    </a:lnTo>
                    <a:lnTo>
                      <a:pt x="119" y="87"/>
                    </a:lnTo>
                    <a:lnTo>
                      <a:pt x="119" y="84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3" y="63"/>
                    </a:lnTo>
                    <a:lnTo>
                      <a:pt x="108" y="47"/>
                    </a:lnTo>
                    <a:lnTo>
                      <a:pt x="108" y="47"/>
                    </a:lnTo>
                    <a:lnTo>
                      <a:pt x="106" y="41"/>
                    </a:lnTo>
                    <a:lnTo>
                      <a:pt x="106" y="38"/>
                    </a:lnTo>
                    <a:lnTo>
                      <a:pt x="108" y="35"/>
                    </a:lnTo>
                    <a:lnTo>
                      <a:pt x="105" y="31"/>
                    </a:lnTo>
                    <a:lnTo>
                      <a:pt x="105" y="31"/>
                    </a:lnTo>
                    <a:lnTo>
                      <a:pt x="98" y="21"/>
                    </a:lnTo>
                    <a:lnTo>
                      <a:pt x="96" y="16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98" y="3"/>
                    </a:lnTo>
                    <a:lnTo>
                      <a:pt x="96" y="0"/>
                    </a:lnTo>
                    <a:lnTo>
                      <a:pt x="93" y="0"/>
                    </a:lnTo>
                    <a:lnTo>
                      <a:pt x="93" y="0"/>
                    </a:lnTo>
                    <a:lnTo>
                      <a:pt x="86" y="3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9" y="21"/>
                    </a:lnTo>
                    <a:lnTo>
                      <a:pt x="80" y="25"/>
                    </a:lnTo>
                    <a:lnTo>
                      <a:pt x="79" y="29"/>
                    </a:lnTo>
                    <a:lnTo>
                      <a:pt x="79" y="29"/>
                    </a:lnTo>
                    <a:lnTo>
                      <a:pt x="76" y="38"/>
                    </a:lnTo>
                    <a:lnTo>
                      <a:pt x="76" y="42"/>
                    </a:lnTo>
                    <a:lnTo>
                      <a:pt x="76" y="47"/>
                    </a:lnTo>
                    <a:lnTo>
                      <a:pt x="76" y="47"/>
                    </a:lnTo>
                    <a:lnTo>
                      <a:pt x="79" y="52"/>
                    </a:lnTo>
                    <a:lnTo>
                      <a:pt x="79" y="57"/>
                    </a:lnTo>
                    <a:lnTo>
                      <a:pt x="79" y="63"/>
                    </a:lnTo>
                    <a:lnTo>
                      <a:pt x="79" y="63"/>
                    </a:lnTo>
                    <a:lnTo>
                      <a:pt x="79" y="78"/>
                    </a:lnTo>
                    <a:lnTo>
                      <a:pt x="77" y="87"/>
                    </a:lnTo>
                    <a:lnTo>
                      <a:pt x="77" y="89"/>
                    </a:lnTo>
                    <a:lnTo>
                      <a:pt x="76" y="90"/>
                    </a:lnTo>
                    <a:lnTo>
                      <a:pt x="76" y="90"/>
                    </a:lnTo>
                    <a:lnTo>
                      <a:pt x="70" y="94"/>
                    </a:lnTo>
                    <a:lnTo>
                      <a:pt x="69" y="96"/>
                    </a:lnTo>
                    <a:lnTo>
                      <a:pt x="69" y="99"/>
                    </a:lnTo>
                    <a:lnTo>
                      <a:pt x="69" y="99"/>
                    </a:lnTo>
                    <a:lnTo>
                      <a:pt x="71" y="107"/>
                    </a:lnTo>
                    <a:lnTo>
                      <a:pt x="71" y="113"/>
                    </a:lnTo>
                    <a:lnTo>
                      <a:pt x="71" y="119"/>
                    </a:lnTo>
                    <a:lnTo>
                      <a:pt x="71" y="119"/>
                    </a:lnTo>
                    <a:lnTo>
                      <a:pt x="70" y="131"/>
                    </a:lnTo>
                    <a:lnTo>
                      <a:pt x="70" y="141"/>
                    </a:lnTo>
                    <a:lnTo>
                      <a:pt x="70" y="141"/>
                    </a:lnTo>
                    <a:lnTo>
                      <a:pt x="67" y="154"/>
                    </a:lnTo>
                    <a:lnTo>
                      <a:pt x="66" y="167"/>
                    </a:lnTo>
                    <a:lnTo>
                      <a:pt x="66" y="167"/>
                    </a:lnTo>
                    <a:lnTo>
                      <a:pt x="66" y="177"/>
                    </a:lnTo>
                    <a:lnTo>
                      <a:pt x="64" y="184"/>
                    </a:lnTo>
                    <a:lnTo>
                      <a:pt x="63" y="187"/>
                    </a:lnTo>
                    <a:lnTo>
                      <a:pt x="63" y="187"/>
                    </a:lnTo>
                    <a:lnTo>
                      <a:pt x="60" y="190"/>
                    </a:lnTo>
                    <a:lnTo>
                      <a:pt x="57" y="196"/>
                    </a:lnTo>
                    <a:lnTo>
                      <a:pt x="56" y="202"/>
                    </a:lnTo>
                    <a:lnTo>
                      <a:pt x="56" y="203"/>
                    </a:lnTo>
                    <a:lnTo>
                      <a:pt x="57" y="206"/>
                    </a:lnTo>
                    <a:lnTo>
                      <a:pt x="57" y="206"/>
                    </a:lnTo>
                    <a:lnTo>
                      <a:pt x="58" y="207"/>
                    </a:lnTo>
                    <a:lnTo>
                      <a:pt x="60" y="210"/>
                    </a:lnTo>
                    <a:lnTo>
                      <a:pt x="57" y="215"/>
                    </a:lnTo>
                    <a:lnTo>
                      <a:pt x="57" y="215"/>
                    </a:lnTo>
                    <a:lnTo>
                      <a:pt x="57" y="222"/>
                    </a:lnTo>
                    <a:lnTo>
                      <a:pt x="57" y="231"/>
                    </a:lnTo>
                    <a:lnTo>
                      <a:pt x="60" y="247"/>
                    </a:lnTo>
                    <a:lnTo>
                      <a:pt x="60" y="247"/>
                    </a:lnTo>
                    <a:lnTo>
                      <a:pt x="60" y="254"/>
                    </a:lnTo>
                    <a:lnTo>
                      <a:pt x="60" y="261"/>
                    </a:lnTo>
                    <a:lnTo>
                      <a:pt x="58" y="274"/>
                    </a:lnTo>
                    <a:lnTo>
                      <a:pt x="58" y="274"/>
                    </a:lnTo>
                    <a:lnTo>
                      <a:pt x="51" y="290"/>
                    </a:lnTo>
                    <a:lnTo>
                      <a:pt x="51" y="290"/>
                    </a:lnTo>
                    <a:lnTo>
                      <a:pt x="47" y="306"/>
                    </a:lnTo>
                    <a:lnTo>
                      <a:pt x="40" y="323"/>
                    </a:lnTo>
                    <a:lnTo>
                      <a:pt x="40" y="323"/>
                    </a:lnTo>
                    <a:lnTo>
                      <a:pt x="35" y="336"/>
                    </a:lnTo>
                    <a:lnTo>
                      <a:pt x="34" y="342"/>
                    </a:lnTo>
                    <a:lnTo>
                      <a:pt x="31" y="348"/>
                    </a:lnTo>
                    <a:lnTo>
                      <a:pt x="31" y="348"/>
                    </a:lnTo>
                    <a:lnTo>
                      <a:pt x="25" y="355"/>
                    </a:lnTo>
                    <a:lnTo>
                      <a:pt x="24" y="359"/>
                    </a:lnTo>
                    <a:lnTo>
                      <a:pt x="25" y="364"/>
                    </a:lnTo>
                    <a:lnTo>
                      <a:pt x="25" y="364"/>
                    </a:lnTo>
                    <a:lnTo>
                      <a:pt x="29" y="370"/>
                    </a:lnTo>
                    <a:lnTo>
                      <a:pt x="31" y="373"/>
                    </a:lnTo>
                    <a:lnTo>
                      <a:pt x="29" y="377"/>
                    </a:lnTo>
                    <a:lnTo>
                      <a:pt x="29" y="377"/>
                    </a:lnTo>
                    <a:lnTo>
                      <a:pt x="29" y="380"/>
                    </a:lnTo>
                    <a:lnTo>
                      <a:pt x="31" y="383"/>
                    </a:lnTo>
                    <a:lnTo>
                      <a:pt x="31" y="386"/>
                    </a:lnTo>
                    <a:lnTo>
                      <a:pt x="31" y="390"/>
                    </a:lnTo>
                    <a:lnTo>
                      <a:pt x="31" y="390"/>
                    </a:lnTo>
                    <a:lnTo>
                      <a:pt x="29" y="400"/>
                    </a:lnTo>
                    <a:lnTo>
                      <a:pt x="27" y="409"/>
                    </a:lnTo>
                    <a:lnTo>
                      <a:pt x="27" y="409"/>
                    </a:lnTo>
                    <a:lnTo>
                      <a:pt x="25" y="415"/>
                    </a:lnTo>
                    <a:lnTo>
                      <a:pt x="25" y="422"/>
                    </a:lnTo>
                    <a:lnTo>
                      <a:pt x="24" y="433"/>
                    </a:lnTo>
                    <a:lnTo>
                      <a:pt x="24" y="433"/>
                    </a:lnTo>
                    <a:lnTo>
                      <a:pt x="25" y="442"/>
                    </a:lnTo>
                    <a:lnTo>
                      <a:pt x="24" y="448"/>
                    </a:lnTo>
                    <a:lnTo>
                      <a:pt x="24" y="448"/>
                    </a:lnTo>
                    <a:lnTo>
                      <a:pt x="21" y="454"/>
                    </a:lnTo>
                    <a:lnTo>
                      <a:pt x="19" y="462"/>
                    </a:lnTo>
                    <a:lnTo>
                      <a:pt x="19" y="462"/>
                    </a:lnTo>
                    <a:lnTo>
                      <a:pt x="21" y="471"/>
                    </a:lnTo>
                    <a:lnTo>
                      <a:pt x="22" y="475"/>
                    </a:lnTo>
                    <a:lnTo>
                      <a:pt x="24" y="477"/>
                    </a:lnTo>
                    <a:lnTo>
                      <a:pt x="24" y="477"/>
                    </a:lnTo>
                    <a:lnTo>
                      <a:pt x="25" y="475"/>
                    </a:lnTo>
                    <a:lnTo>
                      <a:pt x="28" y="471"/>
                    </a:lnTo>
                    <a:lnTo>
                      <a:pt x="29" y="462"/>
                    </a:lnTo>
                    <a:lnTo>
                      <a:pt x="29" y="462"/>
                    </a:lnTo>
                    <a:lnTo>
                      <a:pt x="34" y="458"/>
                    </a:lnTo>
                    <a:lnTo>
                      <a:pt x="35" y="455"/>
                    </a:lnTo>
                    <a:lnTo>
                      <a:pt x="35" y="452"/>
                    </a:lnTo>
                    <a:lnTo>
                      <a:pt x="35" y="452"/>
                    </a:lnTo>
                    <a:lnTo>
                      <a:pt x="34" y="446"/>
                    </a:lnTo>
                    <a:lnTo>
                      <a:pt x="34" y="445"/>
                    </a:lnTo>
                    <a:lnTo>
                      <a:pt x="35" y="445"/>
                    </a:lnTo>
                    <a:lnTo>
                      <a:pt x="35" y="445"/>
                    </a:lnTo>
                    <a:lnTo>
                      <a:pt x="37" y="446"/>
                    </a:lnTo>
                    <a:lnTo>
                      <a:pt x="38" y="445"/>
                    </a:lnTo>
                    <a:lnTo>
                      <a:pt x="40" y="445"/>
                    </a:lnTo>
                    <a:lnTo>
                      <a:pt x="40" y="449"/>
                    </a:lnTo>
                    <a:lnTo>
                      <a:pt x="40" y="449"/>
                    </a:lnTo>
                    <a:lnTo>
                      <a:pt x="41" y="457"/>
                    </a:lnTo>
                    <a:lnTo>
                      <a:pt x="40" y="465"/>
                    </a:lnTo>
                    <a:lnTo>
                      <a:pt x="40" y="465"/>
                    </a:lnTo>
                    <a:lnTo>
                      <a:pt x="38" y="471"/>
                    </a:lnTo>
                    <a:lnTo>
                      <a:pt x="38" y="478"/>
                    </a:lnTo>
                    <a:lnTo>
                      <a:pt x="40" y="483"/>
                    </a:lnTo>
                    <a:lnTo>
                      <a:pt x="38" y="486"/>
                    </a:lnTo>
                    <a:lnTo>
                      <a:pt x="38" y="486"/>
                    </a:lnTo>
                    <a:lnTo>
                      <a:pt x="37" y="490"/>
                    </a:lnTo>
                    <a:lnTo>
                      <a:pt x="34" y="493"/>
                    </a:lnTo>
                    <a:lnTo>
                      <a:pt x="34" y="493"/>
                    </a:lnTo>
                    <a:lnTo>
                      <a:pt x="38" y="499"/>
                    </a:lnTo>
                    <a:lnTo>
                      <a:pt x="40" y="504"/>
                    </a:lnTo>
                    <a:lnTo>
                      <a:pt x="40" y="504"/>
                    </a:lnTo>
                    <a:lnTo>
                      <a:pt x="38" y="509"/>
                    </a:lnTo>
                    <a:lnTo>
                      <a:pt x="37" y="512"/>
                    </a:lnTo>
                    <a:lnTo>
                      <a:pt x="35" y="513"/>
                    </a:lnTo>
                    <a:lnTo>
                      <a:pt x="35" y="513"/>
                    </a:lnTo>
                    <a:lnTo>
                      <a:pt x="32" y="513"/>
                    </a:lnTo>
                    <a:lnTo>
                      <a:pt x="31" y="514"/>
                    </a:lnTo>
                    <a:lnTo>
                      <a:pt x="31" y="517"/>
                    </a:lnTo>
                    <a:lnTo>
                      <a:pt x="32" y="520"/>
                    </a:lnTo>
                    <a:lnTo>
                      <a:pt x="32" y="520"/>
                    </a:lnTo>
                    <a:lnTo>
                      <a:pt x="35" y="523"/>
                    </a:lnTo>
                    <a:lnTo>
                      <a:pt x="34" y="526"/>
                    </a:lnTo>
                    <a:lnTo>
                      <a:pt x="34" y="526"/>
                    </a:lnTo>
                    <a:lnTo>
                      <a:pt x="31" y="529"/>
                    </a:lnTo>
                    <a:lnTo>
                      <a:pt x="29" y="532"/>
                    </a:lnTo>
                    <a:lnTo>
                      <a:pt x="28" y="538"/>
                    </a:lnTo>
                    <a:lnTo>
                      <a:pt x="28" y="538"/>
                    </a:lnTo>
                    <a:lnTo>
                      <a:pt x="28" y="541"/>
                    </a:lnTo>
                    <a:lnTo>
                      <a:pt x="27" y="542"/>
                    </a:lnTo>
                    <a:lnTo>
                      <a:pt x="24" y="541"/>
                    </a:lnTo>
                    <a:lnTo>
                      <a:pt x="24" y="541"/>
                    </a:lnTo>
                    <a:lnTo>
                      <a:pt x="21" y="539"/>
                    </a:lnTo>
                    <a:lnTo>
                      <a:pt x="19" y="539"/>
                    </a:lnTo>
                    <a:lnTo>
                      <a:pt x="18" y="539"/>
                    </a:lnTo>
                    <a:lnTo>
                      <a:pt x="16" y="538"/>
                    </a:lnTo>
                    <a:lnTo>
                      <a:pt x="16" y="538"/>
                    </a:lnTo>
                    <a:lnTo>
                      <a:pt x="14" y="535"/>
                    </a:lnTo>
                    <a:lnTo>
                      <a:pt x="11" y="533"/>
                    </a:lnTo>
                    <a:lnTo>
                      <a:pt x="9" y="533"/>
                    </a:lnTo>
                    <a:lnTo>
                      <a:pt x="6" y="535"/>
                    </a:lnTo>
                    <a:lnTo>
                      <a:pt x="6" y="535"/>
                    </a:lnTo>
                    <a:lnTo>
                      <a:pt x="6" y="538"/>
                    </a:lnTo>
                    <a:lnTo>
                      <a:pt x="6" y="541"/>
                    </a:lnTo>
                    <a:lnTo>
                      <a:pt x="6" y="542"/>
                    </a:lnTo>
                    <a:lnTo>
                      <a:pt x="5" y="543"/>
                    </a:lnTo>
                    <a:lnTo>
                      <a:pt x="5" y="543"/>
                    </a:lnTo>
                    <a:lnTo>
                      <a:pt x="2" y="548"/>
                    </a:lnTo>
                    <a:lnTo>
                      <a:pt x="0" y="555"/>
                    </a:lnTo>
                    <a:lnTo>
                      <a:pt x="0" y="561"/>
                    </a:lnTo>
                    <a:lnTo>
                      <a:pt x="0" y="562"/>
                    </a:lnTo>
                    <a:lnTo>
                      <a:pt x="0" y="562"/>
                    </a:lnTo>
                    <a:lnTo>
                      <a:pt x="0" y="562"/>
                    </a:lnTo>
                    <a:lnTo>
                      <a:pt x="6" y="558"/>
                    </a:lnTo>
                    <a:lnTo>
                      <a:pt x="8" y="558"/>
                    </a:lnTo>
                    <a:lnTo>
                      <a:pt x="9" y="559"/>
                    </a:lnTo>
                    <a:lnTo>
                      <a:pt x="9" y="559"/>
                    </a:lnTo>
                    <a:lnTo>
                      <a:pt x="12" y="572"/>
                    </a:lnTo>
                    <a:lnTo>
                      <a:pt x="12" y="572"/>
                    </a:lnTo>
                    <a:lnTo>
                      <a:pt x="15" y="578"/>
                    </a:lnTo>
                    <a:lnTo>
                      <a:pt x="16" y="581"/>
                    </a:lnTo>
                    <a:lnTo>
                      <a:pt x="18" y="583"/>
                    </a:lnTo>
                    <a:lnTo>
                      <a:pt x="18" y="583"/>
                    </a:lnTo>
                    <a:lnTo>
                      <a:pt x="27" y="584"/>
                    </a:lnTo>
                    <a:lnTo>
                      <a:pt x="29" y="585"/>
                    </a:lnTo>
                    <a:lnTo>
                      <a:pt x="29" y="585"/>
                    </a:lnTo>
                    <a:lnTo>
                      <a:pt x="29" y="587"/>
                    </a:lnTo>
                    <a:lnTo>
                      <a:pt x="29" y="587"/>
                    </a:lnTo>
                    <a:lnTo>
                      <a:pt x="28" y="587"/>
                    </a:lnTo>
                    <a:lnTo>
                      <a:pt x="24" y="587"/>
                    </a:lnTo>
                    <a:lnTo>
                      <a:pt x="21" y="587"/>
                    </a:lnTo>
                    <a:lnTo>
                      <a:pt x="16" y="588"/>
                    </a:lnTo>
                    <a:lnTo>
                      <a:pt x="16" y="588"/>
                    </a:lnTo>
                    <a:lnTo>
                      <a:pt x="15" y="590"/>
                    </a:lnTo>
                    <a:lnTo>
                      <a:pt x="15" y="593"/>
                    </a:lnTo>
                    <a:lnTo>
                      <a:pt x="18" y="598"/>
                    </a:lnTo>
                    <a:lnTo>
                      <a:pt x="18" y="598"/>
                    </a:lnTo>
                    <a:lnTo>
                      <a:pt x="18" y="601"/>
                    </a:lnTo>
                    <a:lnTo>
                      <a:pt x="18" y="603"/>
                    </a:lnTo>
                    <a:lnTo>
                      <a:pt x="15" y="607"/>
                    </a:lnTo>
                    <a:lnTo>
                      <a:pt x="15" y="607"/>
                    </a:lnTo>
                    <a:lnTo>
                      <a:pt x="14" y="613"/>
                    </a:lnTo>
                    <a:lnTo>
                      <a:pt x="15" y="616"/>
                    </a:lnTo>
                    <a:lnTo>
                      <a:pt x="16" y="619"/>
                    </a:lnTo>
                    <a:lnTo>
                      <a:pt x="16" y="619"/>
                    </a:lnTo>
                    <a:lnTo>
                      <a:pt x="19" y="619"/>
                    </a:lnTo>
                    <a:lnTo>
                      <a:pt x="21" y="622"/>
                    </a:lnTo>
                    <a:lnTo>
                      <a:pt x="19" y="623"/>
                    </a:lnTo>
                    <a:lnTo>
                      <a:pt x="18" y="625"/>
                    </a:lnTo>
                    <a:lnTo>
                      <a:pt x="18" y="625"/>
                    </a:lnTo>
                    <a:lnTo>
                      <a:pt x="15" y="626"/>
                    </a:lnTo>
                    <a:lnTo>
                      <a:pt x="15" y="629"/>
                    </a:lnTo>
                    <a:lnTo>
                      <a:pt x="18" y="635"/>
                    </a:lnTo>
                    <a:lnTo>
                      <a:pt x="18" y="635"/>
                    </a:lnTo>
                    <a:lnTo>
                      <a:pt x="19" y="642"/>
                    </a:lnTo>
                    <a:lnTo>
                      <a:pt x="19" y="643"/>
                    </a:lnTo>
                    <a:lnTo>
                      <a:pt x="16" y="645"/>
                    </a:lnTo>
                    <a:lnTo>
                      <a:pt x="16" y="645"/>
                    </a:lnTo>
                    <a:lnTo>
                      <a:pt x="15" y="645"/>
                    </a:lnTo>
                    <a:lnTo>
                      <a:pt x="15" y="646"/>
                    </a:lnTo>
                    <a:lnTo>
                      <a:pt x="16" y="651"/>
                    </a:lnTo>
                    <a:lnTo>
                      <a:pt x="18" y="655"/>
                    </a:lnTo>
                    <a:lnTo>
                      <a:pt x="18" y="658"/>
                    </a:lnTo>
                    <a:lnTo>
                      <a:pt x="18" y="658"/>
                    </a:lnTo>
                    <a:lnTo>
                      <a:pt x="16" y="659"/>
                    </a:lnTo>
                    <a:lnTo>
                      <a:pt x="15" y="661"/>
                    </a:lnTo>
                    <a:lnTo>
                      <a:pt x="18" y="665"/>
                    </a:lnTo>
                    <a:lnTo>
                      <a:pt x="18" y="665"/>
                    </a:lnTo>
                    <a:lnTo>
                      <a:pt x="21" y="671"/>
                    </a:lnTo>
                    <a:lnTo>
                      <a:pt x="21" y="672"/>
                    </a:lnTo>
                    <a:lnTo>
                      <a:pt x="19" y="675"/>
                    </a:lnTo>
                    <a:lnTo>
                      <a:pt x="19" y="675"/>
                    </a:lnTo>
                    <a:lnTo>
                      <a:pt x="18" y="678"/>
                    </a:lnTo>
                    <a:lnTo>
                      <a:pt x="18" y="681"/>
                    </a:lnTo>
                    <a:lnTo>
                      <a:pt x="19" y="684"/>
                    </a:lnTo>
                    <a:lnTo>
                      <a:pt x="18" y="687"/>
                    </a:lnTo>
                    <a:lnTo>
                      <a:pt x="18" y="687"/>
                    </a:lnTo>
                    <a:lnTo>
                      <a:pt x="16" y="687"/>
                    </a:lnTo>
                    <a:lnTo>
                      <a:pt x="16" y="688"/>
                    </a:lnTo>
                    <a:lnTo>
                      <a:pt x="18" y="690"/>
                    </a:lnTo>
                    <a:lnTo>
                      <a:pt x="18" y="693"/>
                    </a:lnTo>
                    <a:lnTo>
                      <a:pt x="18" y="693"/>
                    </a:lnTo>
                    <a:lnTo>
                      <a:pt x="18" y="697"/>
                    </a:lnTo>
                    <a:lnTo>
                      <a:pt x="19" y="701"/>
                    </a:lnTo>
                    <a:lnTo>
                      <a:pt x="21" y="704"/>
                    </a:lnTo>
                    <a:lnTo>
                      <a:pt x="22" y="704"/>
                    </a:lnTo>
                    <a:lnTo>
                      <a:pt x="22" y="704"/>
                    </a:lnTo>
                    <a:lnTo>
                      <a:pt x="22" y="704"/>
                    </a:lnTo>
                    <a:lnTo>
                      <a:pt x="27" y="697"/>
                    </a:lnTo>
                    <a:lnTo>
                      <a:pt x="29" y="693"/>
                    </a:lnTo>
                    <a:lnTo>
                      <a:pt x="29" y="693"/>
                    </a:lnTo>
                    <a:lnTo>
                      <a:pt x="31" y="693"/>
                    </a:lnTo>
                    <a:lnTo>
                      <a:pt x="31" y="693"/>
                    </a:lnTo>
                    <a:lnTo>
                      <a:pt x="29" y="696"/>
                    </a:lnTo>
                    <a:lnTo>
                      <a:pt x="28" y="703"/>
                    </a:lnTo>
                    <a:lnTo>
                      <a:pt x="28" y="703"/>
                    </a:lnTo>
                    <a:lnTo>
                      <a:pt x="27" y="710"/>
                    </a:lnTo>
                    <a:lnTo>
                      <a:pt x="27" y="713"/>
                    </a:lnTo>
                    <a:lnTo>
                      <a:pt x="28" y="716"/>
                    </a:lnTo>
                    <a:lnTo>
                      <a:pt x="28" y="716"/>
                    </a:lnTo>
                    <a:lnTo>
                      <a:pt x="32" y="716"/>
                    </a:lnTo>
                    <a:lnTo>
                      <a:pt x="35" y="716"/>
                    </a:lnTo>
                    <a:lnTo>
                      <a:pt x="38" y="716"/>
                    </a:lnTo>
                    <a:lnTo>
                      <a:pt x="37" y="717"/>
                    </a:lnTo>
                    <a:lnTo>
                      <a:pt x="37" y="717"/>
                    </a:lnTo>
                    <a:lnTo>
                      <a:pt x="37" y="719"/>
                    </a:lnTo>
                    <a:lnTo>
                      <a:pt x="40" y="719"/>
                    </a:lnTo>
                    <a:lnTo>
                      <a:pt x="45" y="713"/>
                    </a:lnTo>
                    <a:lnTo>
                      <a:pt x="45" y="713"/>
                    </a:lnTo>
                    <a:lnTo>
                      <a:pt x="54" y="707"/>
                    </a:lnTo>
                    <a:lnTo>
                      <a:pt x="58" y="706"/>
                    </a:lnTo>
                    <a:lnTo>
                      <a:pt x="60" y="704"/>
                    </a:lnTo>
                    <a:lnTo>
                      <a:pt x="61" y="706"/>
                    </a:lnTo>
                    <a:lnTo>
                      <a:pt x="61" y="706"/>
                    </a:lnTo>
                    <a:lnTo>
                      <a:pt x="61" y="709"/>
                    </a:lnTo>
                    <a:lnTo>
                      <a:pt x="60" y="711"/>
                    </a:lnTo>
                    <a:lnTo>
                      <a:pt x="60" y="714"/>
                    </a:lnTo>
                    <a:lnTo>
                      <a:pt x="63" y="714"/>
                    </a:lnTo>
                    <a:lnTo>
                      <a:pt x="63" y="714"/>
                    </a:lnTo>
                    <a:lnTo>
                      <a:pt x="70" y="714"/>
                    </a:lnTo>
                    <a:lnTo>
                      <a:pt x="71" y="713"/>
                    </a:lnTo>
                    <a:lnTo>
                      <a:pt x="73" y="710"/>
                    </a:lnTo>
                    <a:lnTo>
                      <a:pt x="73" y="710"/>
                    </a:lnTo>
                    <a:lnTo>
                      <a:pt x="74" y="706"/>
                    </a:lnTo>
                    <a:lnTo>
                      <a:pt x="77" y="704"/>
                    </a:lnTo>
                    <a:lnTo>
                      <a:pt x="84" y="700"/>
                    </a:lnTo>
                    <a:lnTo>
                      <a:pt x="84" y="700"/>
                    </a:lnTo>
                    <a:lnTo>
                      <a:pt x="92" y="698"/>
                    </a:lnTo>
                    <a:lnTo>
                      <a:pt x="95" y="697"/>
                    </a:lnTo>
                    <a:lnTo>
                      <a:pt x="96" y="694"/>
                    </a:lnTo>
                    <a:lnTo>
                      <a:pt x="96" y="694"/>
                    </a:lnTo>
                    <a:lnTo>
                      <a:pt x="98" y="693"/>
                    </a:lnTo>
                    <a:lnTo>
                      <a:pt x="98" y="693"/>
                    </a:lnTo>
                    <a:lnTo>
                      <a:pt x="89" y="690"/>
                    </a:lnTo>
                    <a:lnTo>
                      <a:pt x="79" y="688"/>
                    </a:lnTo>
                    <a:lnTo>
                      <a:pt x="79" y="688"/>
                    </a:lnTo>
                    <a:lnTo>
                      <a:pt x="63" y="688"/>
                    </a:lnTo>
                    <a:lnTo>
                      <a:pt x="56" y="687"/>
                    </a:lnTo>
                    <a:lnTo>
                      <a:pt x="53" y="685"/>
                    </a:lnTo>
                    <a:lnTo>
                      <a:pt x="51" y="68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13" name="Freeform 264"/>
              <p:cNvSpPr>
                <a:spLocks/>
              </p:cNvSpPr>
              <p:nvPr/>
            </p:nvSpPr>
            <p:spPr bwMode="auto">
              <a:xfrm>
                <a:off x="3084153" y="3167760"/>
                <a:ext cx="95958" cy="46495"/>
              </a:xfrm>
              <a:custGeom>
                <a:avLst/>
                <a:gdLst>
                  <a:gd name="T0" fmla="*/ 84 w 97"/>
                  <a:gd name="T1" fmla="*/ 11 h 47"/>
                  <a:gd name="T2" fmla="*/ 64 w 97"/>
                  <a:gd name="T3" fmla="*/ 7 h 47"/>
                  <a:gd name="T4" fmla="*/ 59 w 97"/>
                  <a:gd name="T5" fmla="*/ 7 h 47"/>
                  <a:gd name="T6" fmla="*/ 46 w 97"/>
                  <a:gd name="T7" fmla="*/ 13 h 47"/>
                  <a:gd name="T8" fmla="*/ 36 w 97"/>
                  <a:gd name="T9" fmla="*/ 15 h 47"/>
                  <a:gd name="T10" fmla="*/ 26 w 97"/>
                  <a:gd name="T11" fmla="*/ 14 h 47"/>
                  <a:gd name="T12" fmla="*/ 23 w 97"/>
                  <a:gd name="T13" fmla="*/ 13 h 47"/>
                  <a:gd name="T14" fmla="*/ 19 w 97"/>
                  <a:gd name="T15" fmla="*/ 14 h 47"/>
                  <a:gd name="T16" fmla="*/ 14 w 97"/>
                  <a:gd name="T17" fmla="*/ 13 h 47"/>
                  <a:gd name="T18" fmla="*/ 11 w 97"/>
                  <a:gd name="T19" fmla="*/ 7 h 47"/>
                  <a:gd name="T20" fmla="*/ 6 w 97"/>
                  <a:gd name="T21" fmla="*/ 0 h 47"/>
                  <a:gd name="T22" fmla="*/ 4 w 97"/>
                  <a:gd name="T23" fmla="*/ 0 h 47"/>
                  <a:gd name="T24" fmla="*/ 0 w 97"/>
                  <a:gd name="T25" fmla="*/ 5 h 47"/>
                  <a:gd name="T26" fmla="*/ 0 w 97"/>
                  <a:gd name="T27" fmla="*/ 11 h 47"/>
                  <a:gd name="T28" fmla="*/ 1 w 97"/>
                  <a:gd name="T29" fmla="*/ 15 h 47"/>
                  <a:gd name="T30" fmla="*/ 3 w 97"/>
                  <a:gd name="T31" fmla="*/ 23 h 47"/>
                  <a:gd name="T32" fmla="*/ 6 w 97"/>
                  <a:gd name="T33" fmla="*/ 24 h 47"/>
                  <a:gd name="T34" fmla="*/ 14 w 97"/>
                  <a:gd name="T35" fmla="*/ 26 h 47"/>
                  <a:gd name="T36" fmla="*/ 19 w 97"/>
                  <a:gd name="T37" fmla="*/ 27 h 47"/>
                  <a:gd name="T38" fmla="*/ 26 w 97"/>
                  <a:gd name="T39" fmla="*/ 34 h 47"/>
                  <a:gd name="T40" fmla="*/ 32 w 97"/>
                  <a:gd name="T41" fmla="*/ 39 h 47"/>
                  <a:gd name="T42" fmla="*/ 43 w 97"/>
                  <a:gd name="T43" fmla="*/ 39 h 47"/>
                  <a:gd name="T44" fmla="*/ 51 w 97"/>
                  <a:gd name="T45" fmla="*/ 39 h 47"/>
                  <a:gd name="T46" fmla="*/ 51 w 97"/>
                  <a:gd name="T47" fmla="*/ 37 h 47"/>
                  <a:gd name="T48" fmla="*/ 45 w 97"/>
                  <a:gd name="T49" fmla="*/ 28 h 47"/>
                  <a:gd name="T50" fmla="*/ 46 w 97"/>
                  <a:gd name="T51" fmla="*/ 26 h 47"/>
                  <a:gd name="T52" fmla="*/ 51 w 97"/>
                  <a:gd name="T53" fmla="*/ 23 h 47"/>
                  <a:gd name="T54" fmla="*/ 55 w 97"/>
                  <a:gd name="T55" fmla="*/ 18 h 47"/>
                  <a:gd name="T56" fmla="*/ 64 w 97"/>
                  <a:gd name="T57" fmla="*/ 14 h 47"/>
                  <a:gd name="T58" fmla="*/ 67 w 97"/>
                  <a:gd name="T59" fmla="*/ 15 h 47"/>
                  <a:gd name="T60" fmla="*/ 78 w 97"/>
                  <a:gd name="T61" fmla="*/ 23 h 47"/>
                  <a:gd name="T62" fmla="*/ 80 w 97"/>
                  <a:gd name="T63" fmla="*/ 27 h 47"/>
                  <a:gd name="T64" fmla="*/ 81 w 97"/>
                  <a:gd name="T65" fmla="*/ 36 h 47"/>
                  <a:gd name="T66" fmla="*/ 87 w 97"/>
                  <a:gd name="T67" fmla="*/ 44 h 47"/>
                  <a:gd name="T68" fmla="*/ 90 w 97"/>
                  <a:gd name="T69" fmla="*/ 47 h 47"/>
                  <a:gd name="T70" fmla="*/ 94 w 97"/>
                  <a:gd name="T71" fmla="*/ 33 h 47"/>
                  <a:gd name="T72" fmla="*/ 97 w 97"/>
                  <a:gd name="T73" fmla="*/ 20 h 47"/>
                  <a:gd name="T74" fmla="*/ 88 w 97"/>
                  <a:gd name="T75" fmla="*/ 1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97" h="47">
                    <a:moveTo>
                      <a:pt x="84" y="11"/>
                    </a:moveTo>
                    <a:lnTo>
                      <a:pt x="84" y="11"/>
                    </a:lnTo>
                    <a:lnTo>
                      <a:pt x="69" y="7"/>
                    </a:lnTo>
                    <a:lnTo>
                      <a:pt x="64" y="7"/>
                    </a:lnTo>
                    <a:lnTo>
                      <a:pt x="59" y="7"/>
                    </a:lnTo>
                    <a:lnTo>
                      <a:pt x="59" y="7"/>
                    </a:lnTo>
                    <a:lnTo>
                      <a:pt x="52" y="10"/>
                    </a:lnTo>
                    <a:lnTo>
                      <a:pt x="46" y="13"/>
                    </a:lnTo>
                    <a:lnTo>
                      <a:pt x="46" y="13"/>
                    </a:lnTo>
                    <a:lnTo>
                      <a:pt x="36" y="15"/>
                    </a:lnTo>
                    <a:lnTo>
                      <a:pt x="30" y="15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3" y="13"/>
                    </a:lnTo>
                    <a:lnTo>
                      <a:pt x="20" y="14"/>
                    </a:lnTo>
                    <a:lnTo>
                      <a:pt x="19" y="14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13" y="8"/>
                    </a:lnTo>
                    <a:lnTo>
                      <a:pt x="11" y="7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1" y="15"/>
                    </a:lnTo>
                    <a:lnTo>
                      <a:pt x="1" y="23"/>
                    </a:lnTo>
                    <a:lnTo>
                      <a:pt x="3" y="23"/>
                    </a:lnTo>
                    <a:lnTo>
                      <a:pt x="3" y="23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23" y="30"/>
                    </a:lnTo>
                    <a:lnTo>
                      <a:pt x="26" y="34"/>
                    </a:lnTo>
                    <a:lnTo>
                      <a:pt x="27" y="37"/>
                    </a:lnTo>
                    <a:lnTo>
                      <a:pt x="32" y="39"/>
                    </a:lnTo>
                    <a:lnTo>
                      <a:pt x="32" y="39"/>
                    </a:lnTo>
                    <a:lnTo>
                      <a:pt x="43" y="39"/>
                    </a:lnTo>
                    <a:lnTo>
                      <a:pt x="49" y="39"/>
                    </a:lnTo>
                    <a:lnTo>
                      <a:pt x="51" y="39"/>
                    </a:lnTo>
                    <a:lnTo>
                      <a:pt x="51" y="37"/>
                    </a:lnTo>
                    <a:lnTo>
                      <a:pt x="51" y="37"/>
                    </a:lnTo>
                    <a:lnTo>
                      <a:pt x="46" y="31"/>
                    </a:lnTo>
                    <a:lnTo>
                      <a:pt x="45" y="28"/>
                    </a:lnTo>
                    <a:lnTo>
                      <a:pt x="45" y="27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51" y="23"/>
                    </a:lnTo>
                    <a:lnTo>
                      <a:pt x="55" y="18"/>
                    </a:lnTo>
                    <a:lnTo>
                      <a:pt x="55" y="18"/>
                    </a:lnTo>
                    <a:lnTo>
                      <a:pt x="61" y="14"/>
                    </a:lnTo>
                    <a:lnTo>
                      <a:pt x="64" y="14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75" y="20"/>
                    </a:lnTo>
                    <a:lnTo>
                      <a:pt x="78" y="23"/>
                    </a:lnTo>
                    <a:lnTo>
                      <a:pt x="80" y="27"/>
                    </a:lnTo>
                    <a:lnTo>
                      <a:pt x="80" y="27"/>
                    </a:lnTo>
                    <a:lnTo>
                      <a:pt x="80" y="31"/>
                    </a:lnTo>
                    <a:lnTo>
                      <a:pt x="81" y="36"/>
                    </a:lnTo>
                    <a:lnTo>
                      <a:pt x="84" y="42"/>
                    </a:lnTo>
                    <a:lnTo>
                      <a:pt x="87" y="44"/>
                    </a:lnTo>
                    <a:lnTo>
                      <a:pt x="87" y="44"/>
                    </a:lnTo>
                    <a:lnTo>
                      <a:pt x="90" y="47"/>
                    </a:lnTo>
                    <a:lnTo>
                      <a:pt x="90" y="47"/>
                    </a:lnTo>
                    <a:lnTo>
                      <a:pt x="94" y="33"/>
                    </a:lnTo>
                    <a:lnTo>
                      <a:pt x="97" y="20"/>
                    </a:lnTo>
                    <a:lnTo>
                      <a:pt x="97" y="20"/>
                    </a:lnTo>
                    <a:lnTo>
                      <a:pt x="91" y="15"/>
                    </a:lnTo>
                    <a:lnTo>
                      <a:pt x="88" y="13"/>
                    </a:lnTo>
                    <a:lnTo>
                      <a:pt x="84" y="1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14" name="Freeform 265"/>
              <p:cNvSpPr>
                <a:spLocks/>
              </p:cNvSpPr>
              <p:nvPr/>
            </p:nvSpPr>
            <p:spPr bwMode="auto">
              <a:xfrm>
                <a:off x="3084153" y="3167760"/>
                <a:ext cx="95958" cy="46495"/>
              </a:xfrm>
              <a:custGeom>
                <a:avLst/>
                <a:gdLst>
                  <a:gd name="T0" fmla="*/ 84 w 97"/>
                  <a:gd name="T1" fmla="*/ 11 h 47"/>
                  <a:gd name="T2" fmla="*/ 64 w 97"/>
                  <a:gd name="T3" fmla="*/ 7 h 47"/>
                  <a:gd name="T4" fmla="*/ 59 w 97"/>
                  <a:gd name="T5" fmla="*/ 7 h 47"/>
                  <a:gd name="T6" fmla="*/ 46 w 97"/>
                  <a:gd name="T7" fmla="*/ 13 h 47"/>
                  <a:gd name="T8" fmla="*/ 36 w 97"/>
                  <a:gd name="T9" fmla="*/ 15 h 47"/>
                  <a:gd name="T10" fmla="*/ 26 w 97"/>
                  <a:gd name="T11" fmla="*/ 14 h 47"/>
                  <a:gd name="T12" fmla="*/ 23 w 97"/>
                  <a:gd name="T13" fmla="*/ 13 h 47"/>
                  <a:gd name="T14" fmla="*/ 19 w 97"/>
                  <a:gd name="T15" fmla="*/ 14 h 47"/>
                  <a:gd name="T16" fmla="*/ 14 w 97"/>
                  <a:gd name="T17" fmla="*/ 13 h 47"/>
                  <a:gd name="T18" fmla="*/ 11 w 97"/>
                  <a:gd name="T19" fmla="*/ 7 h 47"/>
                  <a:gd name="T20" fmla="*/ 6 w 97"/>
                  <a:gd name="T21" fmla="*/ 0 h 47"/>
                  <a:gd name="T22" fmla="*/ 4 w 97"/>
                  <a:gd name="T23" fmla="*/ 0 h 47"/>
                  <a:gd name="T24" fmla="*/ 0 w 97"/>
                  <a:gd name="T25" fmla="*/ 5 h 47"/>
                  <a:gd name="T26" fmla="*/ 0 w 97"/>
                  <a:gd name="T27" fmla="*/ 11 h 47"/>
                  <a:gd name="T28" fmla="*/ 1 w 97"/>
                  <a:gd name="T29" fmla="*/ 15 h 47"/>
                  <a:gd name="T30" fmla="*/ 3 w 97"/>
                  <a:gd name="T31" fmla="*/ 23 h 47"/>
                  <a:gd name="T32" fmla="*/ 6 w 97"/>
                  <a:gd name="T33" fmla="*/ 24 h 47"/>
                  <a:gd name="T34" fmla="*/ 14 w 97"/>
                  <a:gd name="T35" fmla="*/ 26 h 47"/>
                  <a:gd name="T36" fmla="*/ 19 w 97"/>
                  <a:gd name="T37" fmla="*/ 27 h 47"/>
                  <a:gd name="T38" fmla="*/ 26 w 97"/>
                  <a:gd name="T39" fmla="*/ 34 h 47"/>
                  <a:gd name="T40" fmla="*/ 32 w 97"/>
                  <a:gd name="T41" fmla="*/ 39 h 47"/>
                  <a:gd name="T42" fmla="*/ 43 w 97"/>
                  <a:gd name="T43" fmla="*/ 39 h 47"/>
                  <a:gd name="T44" fmla="*/ 51 w 97"/>
                  <a:gd name="T45" fmla="*/ 39 h 47"/>
                  <a:gd name="T46" fmla="*/ 51 w 97"/>
                  <a:gd name="T47" fmla="*/ 37 h 47"/>
                  <a:gd name="T48" fmla="*/ 45 w 97"/>
                  <a:gd name="T49" fmla="*/ 28 h 47"/>
                  <a:gd name="T50" fmla="*/ 46 w 97"/>
                  <a:gd name="T51" fmla="*/ 26 h 47"/>
                  <a:gd name="T52" fmla="*/ 51 w 97"/>
                  <a:gd name="T53" fmla="*/ 23 h 47"/>
                  <a:gd name="T54" fmla="*/ 55 w 97"/>
                  <a:gd name="T55" fmla="*/ 18 h 47"/>
                  <a:gd name="T56" fmla="*/ 64 w 97"/>
                  <a:gd name="T57" fmla="*/ 14 h 47"/>
                  <a:gd name="T58" fmla="*/ 67 w 97"/>
                  <a:gd name="T59" fmla="*/ 15 h 47"/>
                  <a:gd name="T60" fmla="*/ 78 w 97"/>
                  <a:gd name="T61" fmla="*/ 23 h 47"/>
                  <a:gd name="T62" fmla="*/ 80 w 97"/>
                  <a:gd name="T63" fmla="*/ 27 h 47"/>
                  <a:gd name="T64" fmla="*/ 81 w 97"/>
                  <a:gd name="T65" fmla="*/ 36 h 47"/>
                  <a:gd name="T66" fmla="*/ 87 w 97"/>
                  <a:gd name="T67" fmla="*/ 44 h 47"/>
                  <a:gd name="T68" fmla="*/ 90 w 97"/>
                  <a:gd name="T69" fmla="*/ 47 h 47"/>
                  <a:gd name="T70" fmla="*/ 94 w 97"/>
                  <a:gd name="T71" fmla="*/ 33 h 47"/>
                  <a:gd name="T72" fmla="*/ 97 w 97"/>
                  <a:gd name="T73" fmla="*/ 20 h 47"/>
                  <a:gd name="T74" fmla="*/ 88 w 97"/>
                  <a:gd name="T75" fmla="*/ 1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97" h="47">
                    <a:moveTo>
                      <a:pt x="84" y="11"/>
                    </a:moveTo>
                    <a:lnTo>
                      <a:pt x="84" y="11"/>
                    </a:lnTo>
                    <a:lnTo>
                      <a:pt x="69" y="7"/>
                    </a:lnTo>
                    <a:lnTo>
                      <a:pt x="64" y="7"/>
                    </a:lnTo>
                    <a:lnTo>
                      <a:pt x="59" y="7"/>
                    </a:lnTo>
                    <a:lnTo>
                      <a:pt x="59" y="7"/>
                    </a:lnTo>
                    <a:lnTo>
                      <a:pt x="52" y="10"/>
                    </a:lnTo>
                    <a:lnTo>
                      <a:pt x="46" y="13"/>
                    </a:lnTo>
                    <a:lnTo>
                      <a:pt x="46" y="13"/>
                    </a:lnTo>
                    <a:lnTo>
                      <a:pt x="36" y="15"/>
                    </a:lnTo>
                    <a:lnTo>
                      <a:pt x="30" y="15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3" y="13"/>
                    </a:lnTo>
                    <a:lnTo>
                      <a:pt x="20" y="14"/>
                    </a:lnTo>
                    <a:lnTo>
                      <a:pt x="19" y="14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13" y="8"/>
                    </a:lnTo>
                    <a:lnTo>
                      <a:pt x="11" y="7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1" y="15"/>
                    </a:lnTo>
                    <a:lnTo>
                      <a:pt x="1" y="23"/>
                    </a:lnTo>
                    <a:lnTo>
                      <a:pt x="3" y="23"/>
                    </a:lnTo>
                    <a:lnTo>
                      <a:pt x="3" y="23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23" y="30"/>
                    </a:lnTo>
                    <a:lnTo>
                      <a:pt x="26" y="34"/>
                    </a:lnTo>
                    <a:lnTo>
                      <a:pt x="27" y="37"/>
                    </a:lnTo>
                    <a:lnTo>
                      <a:pt x="32" y="39"/>
                    </a:lnTo>
                    <a:lnTo>
                      <a:pt x="32" y="39"/>
                    </a:lnTo>
                    <a:lnTo>
                      <a:pt x="43" y="39"/>
                    </a:lnTo>
                    <a:lnTo>
                      <a:pt x="49" y="39"/>
                    </a:lnTo>
                    <a:lnTo>
                      <a:pt x="51" y="39"/>
                    </a:lnTo>
                    <a:lnTo>
                      <a:pt x="51" y="37"/>
                    </a:lnTo>
                    <a:lnTo>
                      <a:pt x="51" y="37"/>
                    </a:lnTo>
                    <a:lnTo>
                      <a:pt x="46" y="31"/>
                    </a:lnTo>
                    <a:lnTo>
                      <a:pt x="45" y="28"/>
                    </a:lnTo>
                    <a:lnTo>
                      <a:pt x="45" y="27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51" y="23"/>
                    </a:lnTo>
                    <a:lnTo>
                      <a:pt x="55" y="18"/>
                    </a:lnTo>
                    <a:lnTo>
                      <a:pt x="55" y="18"/>
                    </a:lnTo>
                    <a:lnTo>
                      <a:pt x="61" y="14"/>
                    </a:lnTo>
                    <a:lnTo>
                      <a:pt x="64" y="14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75" y="20"/>
                    </a:lnTo>
                    <a:lnTo>
                      <a:pt x="78" y="23"/>
                    </a:lnTo>
                    <a:lnTo>
                      <a:pt x="80" y="27"/>
                    </a:lnTo>
                    <a:lnTo>
                      <a:pt x="80" y="27"/>
                    </a:lnTo>
                    <a:lnTo>
                      <a:pt x="80" y="31"/>
                    </a:lnTo>
                    <a:lnTo>
                      <a:pt x="81" y="36"/>
                    </a:lnTo>
                    <a:lnTo>
                      <a:pt x="84" y="42"/>
                    </a:lnTo>
                    <a:lnTo>
                      <a:pt x="87" y="44"/>
                    </a:lnTo>
                    <a:lnTo>
                      <a:pt x="87" y="44"/>
                    </a:lnTo>
                    <a:lnTo>
                      <a:pt x="90" y="47"/>
                    </a:lnTo>
                    <a:lnTo>
                      <a:pt x="90" y="47"/>
                    </a:lnTo>
                    <a:lnTo>
                      <a:pt x="94" y="33"/>
                    </a:lnTo>
                    <a:lnTo>
                      <a:pt x="97" y="20"/>
                    </a:lnTo>
                    <a:lnTo>
                      <a:pt x="97" y="20"/>
                    </a:lnTo>
                    <a:lnTo>
                      <a:pt x="91" y="15"/>
                    </a:lnTo>
                    <a:lnTo>
                      <a:pt x="88" y="13"/>
                    </a:lnTo>
                    <a:lnTo>
                      <a:pt x="84" y="1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06" name="Freeform 659"/>
              <p:cNvSpPr>
                <a:spLocks noEditPoints="1"/>
              </p:cNvSpPr>
              <p:nvPr/>
            </p:nvSpPr>
            <p:spPr bwMode="auto">
              <a:xfrm>
                <a:off x="3292887" y="3466516"/>
                <a:ext cx="197852" cy="225551"/>
              </a:xfrm>
              <a:custGeom>
                <a:avLst/>
                <a:gdLst>
                  <a:gd name="T0" fmla="*/ 196 w 200"/>
                  <a:gd name="T1" fmla="*/ 129 h 228"/>
                  <a:gd name="T2" fmla="*/ 187 w 200"/>
                  <a:gd name="T3" fmla="*/ 122 h 228"/>
                  <a:gd name="T4" fmla="*/ 187 w 200"/>
                  <a:gd name="T5" fmla="*/ 109 h 228"/>
                  <a:gd name="T6" fmla="*/ 184 w 200"/>
                  <a:gd name="T7" fmla="*/ 106 h 228"/>
                  <a:gd name="T8" fmla="*/ 165 w 200"/>
                  <a:gd name="T9" fmla="*/ 105 h 228"/>
                  <a:gd name="T10" fmla="*/ 160 w 200"/>
                  <a:gd name="T11" fmla="*/ 94 h 228"/>
                  <a:gd name="T12" fmla="*/ 152 w 200"/>
                  <a:gd name="T13" fmla="*/ 80 h 228"/>
                  <a:gd name="T14" fmla="*/ 151 w 200"/>
                  <a:gd name="T15" fmla="*/ 70 h 228"/>
                  <a:gd name="T16" fmla="*/ 147 w 200"/>
                  <a:gd name="T17" fmla="*/ 67 h 228"/>
                  <a:gd name="T18" fmla="*/ 129 w 200"/>
                  <a:gd name="T19" fmla="*/ 64 h 228"/>
                  <a:gd name="T20" fmla="*/ 121 w 200"/>
                  <a:gd name="T21" fmla="*/ 57 h 228"/>
                  <a:gd name="T22" fmla="*/ 110 w 200"/>
                  <a:gd name="T23" fmla="*/ 51 h 228"/>
                  <a:gd name="T24" fmla="*/ 86 w 200"/>
                  <a:gd name="T25" fmla="*/ 44 h 228"/>
                  <a:gd name="T26" fmla="*/ 73 w 200"/>
                  <a:gd name="T27" fmla="*/ 32 h 228"/>
                  <a:gd name="T28" fmla="*/ 70 w 200"/>
                  <a:gd name="T29" fmla="*/ 22 h 228"/>
                  <a:gd name="T30" fmla="*/ 68 w 200"/>
                  <a:gd name="T31" fmla="*/ 2 h 228"/>
                  <a:gd name="T32" fmla="*/ 61 w 200"/>
                  <a:gd name="T33" fmla="*/ 2 h 228"/>
                  <a:gd name="T34" fmla="*/ 44 w 200"/>
                  <a:gd name="T35" fmla="*/ 9 h 228"/>
                  <a:gd name="T36" fmla="*/ 26 w 200"/>
                  <a:gd name="T37" fmla="*/ 19 h 228"/>
                  <a:gd name="T38" fmla="*/ 5 w 200"/>
                  <a:gd name="T39" fmla="*/ 22 h 228"/>
                  <a:gd name="T40" fmla="*/ 8 w 200"/>
                  <a:gd name="T41" fmla="*/ 47 h 228"/>
                  <a:gd name="T42" fmla="*/ 6 w 200"/>
                  <a:gd name="T43" fmla="*/ 58 h 228"/>
                  <a:gd name="T44" fmla="*/ 2 w 200"/>
                  <a:gd name="T45" fmla="*/ 89 h 228"/>
                  <a:gd name="T46" fmla="*/ 0 w 200"/>
                  <a:gd name="T47" fmla="*/ 93 h 228"/>
                  <a:gd name="T48" fmla="*/ 8 w 200"/>
                  <a:gd name="T49" fmla="*/ 102 h 228"/>
                  <a:gd name="T50" fmla="*/ 16 w 200"/>
                  <a:gd name="T51" fmla="*/ 110 h 228"/>
                  <a:gd name="T52" fmla="*/ 21 w 200"/>
                  <a:gd name="T53" fmla="*/ 116 h 228"/>
                  <a:gd name="T54" fmla="*/ 21 w 200"/>
                  <a:gd name="T55" fmla="*/ 122 h 228"/>
                  <a:gd name="T56" fmla="*/ 6 w 200"/>
                  <a:gd name="T57" fmla="*/ 139 h 228"/>
                  <a:gd name="T58" fmla="*/ 11 w 200"/>
                  <a:gd name="T59" fmla="*/ 142 h 228"/>
                  <a:gd name="T60" fmla="*/ 9 w 200"/>
                  <a:gd name="T61" fmla="*/ 155 h 228"/>
                  <a:gd name="T62" fmla="*/ 18 w 200"/>
                  <a:gd name="T63" fmla="*/ 170 h 228"/>
                  <a:gd name="T64" fmla="*/ 19 w 200"/>
                  <a:gd name="T65" fmla="*/ 180 h 228"/>
                  <a:gd name="T66" fmla="*/ 26 w 200"/>
                  <a:gd name="T67" fmla="*/ 202 h 228"/>
                  <a:gd name="T68" fmla="*/ 32 w 200"/>
                  <a:gd name="T69" fmla="*/ 223 h 228"/>
                  <a:gd name="T70" fmla="*/ 37 w 200"/>
                  <a:gd name="T71" fmla="*/ 228 h 228"/>
                  <a:gd name="T72" fmla="*/ 63 w 200"/>
                  <a:gd name="T73" fmla="*/ 215 h 228"/>
                  <a:gd name="T74" fmla="*/ 87 w 200"/>
                  <a:gd name="T75" fmla="*/ 219 h 228"/>
                  <a:gd name="T76" fmla="*/ 93 w 200"/>
                  <a:gd name="T77" fmla="*/ 212 h 228"/>
                  <a:gd name="T78" fmla="*/ 99 w 200"/>
                  <a:gd name="T79" fmla="*/ 206 h 228"/>
                  <a:gd name="T80" fmla="*/ 115 w 200"/>
                  <a:gd name="T81" fmla="*/ 207 h 228"/>
                  <a:gd name="T82" fmla="*/ 123 w 200"/>
                  <a:gd name="T83" fmla="*/ 174 h 228"/>
                  <a:gd name="T84" fmla="*/ 126 w 200"/>
                  <a:gd name="T85" fmla="*/ 160 h 228"/>
                  <a:gd name="T86" fmla="*/ 134 w 200"/>
                  <a:gd name="T87" fmla="*/ 155 h 228"/>
                  <a:gd name="T88" fmla="*/ 145 w 200"/>
                  <a:gd name="T89" fmla="*/ 158 h 228"/>
                  <a:gd name="T90" fmla="*/ 157 w 200"/>
                  <a:gd name="T91" fmla="*/ 160 h 228"/>
                  <a:gd name="T92" fmla="*/ 179 w 200"/>
                  <a:gd name="T93" fmla="*/ 154 h 228"/>
                  <a:gd name="T94" fmla="*/ 193 w 200"/>
                  <a:gd name="T95" fmla="*/ 162 h 228"/>
                  <a:gd name="T96" fmla="*/ 196 w 200"/>
                  <a:gd name="T97" fmla="*/ 158 h 228"/>
                  <a:gd name="T98" fmla="*/ 200 w 200"/>
                  <a:gd name="T99" fmla="*/ 136 h 228"/>
                  <a:gd name="T100" fmla="*/ 45 w 200"/>
                  <a:gd name="T101" fmla="*/ 167 h 228"/>
                  <a:gd name="T102" fmla="*/ 39 w 200"/>
                  <a:gd name="T103" fmla="*/ 162 h 228"/>
                  <a:gd name="T104" fmla="*/ 39 w 200"/>
                  <a:gd name="T105" fmla="*/ 157 h 228"/>
                  <a:gd name="T106" fmla="*/ 45 w 200"/>
                  <a:gd name="T107" fmla="*/ 16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0" h="228">
                    <a:moveTo>
                      <a:pt x="199" y="132"/>
                    </a:moveTo>
                    <a:lnTo>
                      <a:pt x="199" y="132"/>
                    </a:lnTo>
                    <a:lnTo>
                      <a:pt x="196" y="129"/>
                    </a:lnTo>
                    <a:lnTo>
                      <a:pt x="192" y="128"/>
                    </a:lnTo>
                    <a:lnTo>
                      <a:pt x="189" y="125"/>
                    </a:lnTo>
                    <a:lnTo>
                      <a:pt x="187" y="122"/>
                    </a:lnTo>
                    <a:lnTo>
                      <a:pt x="187" y="122"/>
                    </a:lnTo>
                    <a:lnTo>
                      <a:pt x="187" y="112"/>
                    </a:lnTo>
                    <a:lnTo>
                      <a:pt x="187" y="109"/>
                    </a:lnTo>
                    <a:lnTo>
                      <a:pt x="186" y="107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76" y="107"/>
                    </a:lnTo>
                    <a:lnTo>
                      <a:pt x="170" y="107"/>
                    </a:lnTo>
                    <a:lnTo>
                      <a:pt x="165" y="105"/>
                    </a:lnTo>
                    <a:lnTo>
                      <a:pt x="165" y="105"/>
                    </a:lnTo>
                    <a:lnTo>
                      <a:pt x="163" y="100"/>
                    </a:lnTo>
                    <a:lnTo>
                      <a:pt x="160" y="94"/>
                    </a:lnTo>
                    <a:lnTo>
                      <a:pt x="154" y="83"/>
                    </a:lnTo>
                    <a:lnTo>
                      <a:pt x="154" y="83"/>
                    </a:lnTo>
                    <a:lnTo>
                      <a:pt x="152" y="80"/>
                    </a:lnTo>
                    <a:lnTo>
                      <a:pt x="152" y="76"/>
                    </a:lnTo>
                    <a:lnTo>
                      <a:pt x="152" y="73"/>
                    </a:lnTo>
                    <a:lnTo>
                      <a:pt x="151" y="70"/>
                    </a:lnTo>
                    <a:lnTo>
                      <a:pt x="151" y="70"/>
                    </a:lnTo>
                    <a:lnTo>
                      <a:pt x="150" y="68"/>
                    </a:lnTo>
                    <a:lnTo>
                      <a:pt x="147" y="67"/>
                    </a:lnTo>
                    <a:lnTo>
                      <a:pt x="139" y="65"/>
                    </a:lnTo>
                    <a:lnTo>
                      <a:pt x="132" y="65"/>
                    </a:lnTo>
                    <a:lnTo>
                      <a:pt x="129" y="64"/>
                    </a:lnTo>
                    <a:lnTo>
                      <a:pt x="128" y="63"/>
                    </a:lnTo>
                    <a:lnTo>
                      <a:pt x="128" y="63"/>
                    </a:lnTo>
                    <a:lnTo>
                      <a:pt x="121" y="57"/>
                    </a:lnTo>
                    <a:lnTo>
                      <a:pt x="115" y="54"/>
                    </a:lnTo>
                    <a:lnTo>
                      <a:pt x="110" y="51"/>
                    </a:lnTo>
                    <a:lnTo>
                      <a:pt x="110" y="51"/>
                    </a:lnTo>
                    <a:lnTo>
                      <a:pt x="97" y="48"/>
                    </a:lnTo>
                    <a:lnTo>
                      <a:pt x="90" y="47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76" y="35"/>
                    </a:lnTo>
                    <a:lnTo>
                      <a:pt x="73" y="32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2"/>
                    </a:lnTo>
                    <a:lnTo>
                      <a:pt x="71" y="13"/>
                    </a:lnTo>
                    <a:lnTo>
                      <a:pt x="70" y="5"/>
                    </a:lnTo>
                    <a:lnTo>
                      <a:pt x="68" y="2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1" y="2"/>
                    </a:lnTo>
                    <a:lnTo>
                      <a:pt x="55" y="5"/>
                    </a:lnTo>
                    <a:lnTo>
                      <a:pt x="44" y="9"/>
                    </a:lnTo>
                    <a:lnTo>
                      <a:pt x="44" y="9"/>
                    </a:lnTo>
                    <a:lnTo>
                      <a:pt x="38" y="12"/>
                    </a:lnTo>
                    <a:lnTo>
                      <a:pt x="32" y="16"/>
                    </a:lnTo>
                    <a:lnTo>
                      <a:pt x="26" y="19"/>
                    </a:lnTo>
                    <a:lnTo>
                      <a:pt x="19" y="21"/>
                    </a:lnTo>
                    <a:lnTo>
                      <a:pt x="19" y="21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8" y="39"/>
                    </a:lnTo>
                    <a:lnTo>
                      <a:pt x="8" y="47"/>
                    </a:lnTo>
                    <a:lnTo>
                      <a:pt x="8" y="51"/>
                    </a:lnTo>
                    <a:lnTo>
                      <a:pt x="8" y="51"/>
                    </a:lnTo>
                    <a:lnTo>
                      <a:pt x="6" y="58"/>
                    </a:lnTo>
                    <a:lnTo>
                      <a:pt x="5" y="70"/>
                    </a:lnTo>
                    <a:lnTo>
                      <a:pt x="3" y="81"/>
                    </a:lnTo>
                    <a:lnTo>
                      <a:pt x="2" y="89"/>
                    </a:lnTo>
                    <a:lnTo>
                      <a:pt x="2" y="89"/>
                    </a:lnTo>
                    <a:lnTo>
                      <a:pt x="0" y="90"/>
                    </a:lnTo>
                    <a:lnTo>
                      <a:pt x="0" y="93"/>
                    </a:lnTo>
                    <a:lnTo>
                      <a:pt x="3" y="100"/>
                    </a:lnTo>
                    <a:lnTo>
                      <a:pt x="3" y="100"/>
                    </a:lnTo>
                    <a:lnTo>
                      <a:pt x="8" y="102"/>
                    </a:lnTo>
                    <a:lnTo>
                      <a:pt x="8" y="102"/>
                    </a:lnTo>
                    <a:lnTo>
                      <a:pt x="12" y="106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21" y="113"/>
                    </a:lnTo>
                    <a:lnTo>
                      <a:pt x="21" y="116"/>
                    </a:lnTo>
                    <a:lnTo>
                      <a:pt x="21" y="119"/>
                    </a:lnTo>
                    <a:lnTo>
                      <a:pt x="21" y="119"/>
                    </a:lnTo>
                    <a:lnTo>
                      <a:pt x="21" y="122"/>
                    </a:lnTo>
                    <a:lnTo>
                      <a:pt x="19" y="125"/>
                    </a:lnTo>
                    <a:lnTo>
                      <a:pt x="13" y="131"/>
                    </a:lnTo>
                    <a:lnTo>
                      <a:pt x="6" y="139"/>
                    </a:lnTo>
                    <a:lnTo>
                      <a:pt x="6" y="139"/>
                    </a:lnTo>
                    <a:lnTo>
                      <a:pt x="9" y="139"/>
                    </a:lnTo>
                    <a:lnTo>
                      <a:pt x="11" y="142"/>
                    </a:lnTo>
                    <a:lnTo>
                      <a:pt x="9" y="149"/>
                    </a:lnTo>
                    <a:lnTo>
                      <a:pt x="9" y="149"/>
                    </a:lnTo>
                    <a:lnTo>
                      <a:pt x="9" y="155"/>
                    </a:lnTo>
                    <a:lnTo>
                      <a:pt x="11" y="160"/>
                    </a:lnTo>
                    <a:lnTo>
                      <a:pt x="18" y="170"/>
                    </a:lnTo>
                    <a:lnTo>
                      <a:pt x="18" y="170"/>
                    </a:lnTo>
                    <a:lnTo>
                      <a:pt x="21" y="174"/>
                    </a:lnTo>
                    <a:lnTo>
                      <a:pt x="19" y="177"/>
                    </a:lnTo>
                    <a:lnTo>
                      <a:pt x="19" y="180"/>
                    </a:lnTo>
                    <a:lnTo>
                      <a:pt x="21" y="186"/>
                    </a:lnTo>
                    <a:lnTo>
                      <a:pt x="21" y="186"/>
                    </a:lnTo>
                    <a:lnTo>
                      <a:pt x="26" y="202"/>
                    </a:lnTo>
                    <a:lnTo>
                      <a:pt x="31" y="220"/>
                    </a:lnTo>
                    <a:lnTo>
                      <a:pt x="31" y="220"/>
                    </a:lnTo>
                    <a:lnTo>
                      <a:pt x="32" y="223"/>
                    </a:lnTo>
                    <a:lnTo>
                      <a:pt x="34" y="226"/>
                    </a:lnTo>
                    <a:lnTo>
                      <a:pt x="37" y="228"/>
                    </a:lnTo>
                    <a:lnTo>
                      <a:pt x="37" y="228"/>
                    </a:lnTo>
                    <a:lnTo>
                      <a:pt x="57" y="215"/>
                    </a:lnTo>
                    <a:lnTo>
                      <a:pt x="57" y="215"/>
                    </a:lnTo>
                    <a:lnTo>
                      <a:pt x="63" y="215"/>
                    </a:lnTo>
                    <a:lnTo>
                      <a:pt x="71" y="216"/>
                    </a:lnTo>
                    <a:lnTo>
                      <a:pt x="87" y="219"/>
                    </a:lnTo>
                    <a:lnTo>
                      <a:pt x="87" y="219"/>
                    </a:lnTo>
                    <a:lnTo>
                      <a:pt x="90" y="217"/>
                    </a:lnTo>
                    <a:lnTo>
                      <a:pt x="92" y="215"/>
                    </a:lnTo>
                    <a:lnTo>
                      <a:pt x="93" y="212"/>
                    </a:lnTo>
                    <a:lnTo>
                      <a:pt x="95" y="209"/>
                    </a:lnTo>
                    <a:lnTo>
                      <a:pt x="95" y="209"/>
                    </a:lnTo>
                    <a:lnTo>
                      <a:pt x="99" y="206"/>
                    </a:lnTo>
                    <a:lnTo>
                      <a:pt x="103" y="206"/>
                    </a:lnTo>
                    <a:lnTo>
                      <a:pt x="115" y="207"/>
                    </a:lnTo>
                    <a:lnTo>
                      <a:pt x="115" y="207"/>
                    </a:lnTo>
                    <a:lnTo>
                      <a:pt x="123" y="210"/>
                    </a:lnTo>
                    <a:lnTo>
                      <a:pt x="123" y="210"/>
                    </a:lnTo>
                    <a:lnTo>
                      <a:pt x="123" y="174"/>
                    </a:lnTo>
                    <a:lnTo>
                      <a:pt x="123" y="174"/>
                    </a:lnTo>
                    <a:lnTo>
                      <a:pt x="123" y="165"/>
                    </a:lnTo>
                    <a:lnTo>
                      <a:pt x="126" y="160"/>
                    </a:lnTo>
                    <a:lnTo>
                      <a:pt x="129" y="155"/>
                    </a:lnTo>
                    <a:lnTo>
                      <a:pt x="131" y="155"/>
                    </a:lnTo>
                    <a:lnTo>
                      <a:pt x="134" y="155"/>
                    </a:lnTo>
                    <a:lnTo>
                      <a:pt x="134" y="155"/>
                    </a:lnTo>
                    <a:lnTo>
                      <a:pt x="139" y="157"/>
                    </a:lnTo>
                    <a:lnTo>
                      <a:pt x="145" y="158"/>
                    </a:lnTo>
                    <a:lnTo>
                      <a:pt x="151" y="160"/>
                    </a:lnTo>
                    <a:lnTo>
                      <a:pt x="157" y="160"/>
                    </a:lnTo>
                    <a:lnTo>
                      <a:pt x="157" y="160"/>
                    </a:lnTo>
                    <a:lnTo>
                      <a:pt x="170" y="154"/>
                    </a:lnTo>
                    <a:lnTo>
                      <a:pt x="176" y="154"/>
                    </a:lnTo>
                    <a:lnTo>
                      <a:pt x="179" y="154"/>
                    </a:lnTo>
                    <a:lnTo>
                      <a:pt x="179" y="154"/>
                    </a:lnTo>
                    <a:lnTo>
                      <a:pt x="184" y="157"/>
                    </a:lnTo>
                    <a:lnTo>
                      <a:pt x="193" y="162"/>
                    </a:lnTo>
                    <a:lnTo>
                      <a:pt x="193" y="162"/>
                    </a:lnTo>
                    <a:lnTo>
                      <a:pt x="196" y="158"/>
                    </a:lnTo>
                    <a:lnTo>
                      <a:pt x="196" y="158"/>
                    </a:lnTo>
                    <a:lnTo>
                      <a:pt x="199" y="152"/>
                    </a:lnTo>
                    <a:lnTo>
                      <a:pt x="200" y="144"/>
                    </a:lnTo>
                    <a:lnTo>
                      <a:pt x="200" y="136"/>
                    </a:lnTo>
                    <a:lnTo>
                      <a:pt x="199" y="132"/>
                    </a:lnTo>
                    <a:close/>
                    <a:moveTo>
                      <a:pt x="45" y="167"/>
                    </a:moveTo>
                    <a:lnTo>
                      <a:pt x="45" y="167"/>
                    </a:lnTo>
                    <a:lnTo>
                      <a:pt x="44" y="167"/>
                    </a:lnTo>
                    <a:lnTo>
                      <a:pt x="42" y="167"/>
                    </a:lnTo>
                    <a:lnTo>
                      <a:pt x="39" y="162"/>
                    </a:lnTo>
                    <a:lnTo>
                      <a:pt x="38" y="158"/>
                    </a:lnTo>
                    <a:lnTo>
                      <a:pt x="39" y="157"/>
                    </a:lnTo>
                    <a:lnTo>
                      <a:pt x="39" y="157"/>
                    </a:lnTo>
                    <a:lnTo>
                      <a:pt x="39" y="157"/>
                    </a:lnTo>
                    <a:lnTo>
                      <a:pt x="42" y="158"/>
                    </a:lnTo>
                    <a:lnTo>
                      <a:pt x="45" y="160"/>
                    </a:lnTo>
                    <a:lnTo>
                      <a:pt x="47" y="162"/>
                    </a:lnTo>
                    <a:lnTo>
                      <a:pt x="45" y="16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07" name="Freeform 660"/>
              <p:cNvSpPr>
                <a:spLocks/>
              </p:cNvSpPr>
              <p:nvPr/>
            </p:nvSpPr>
            <p:spPr bwMode="auto">
              <a:xfrm>
                <a:off x="3292887" y="3466516"/>
                <a:ext cx="197852" cy="225551"/>
              </a:xfrm>
              <a:custGeom>
                <a:avLst/>
                <a:gdLst>
                  <a:gd name="T0" fmla="*/ 196 w 200"/>
                  <a:gd name="T1" fmla="*/ 129 h 228"/>
                  <a:gd name="T2" fmla="*/ 187 w 200"/>
                  <a:gd name="T3" fmla="*/ 122 h 228"/>
                  <a:gd name="T4" fmla="*/ 187 w 200"/>
                  <a:gd name="T5" fmla="*/ 109 h 228"/>
                  <a:gd name="T6" fmla="*/ 184 w 200"/>
                  <a:gd name="T7" fmla="*/ 106 h 228"/>
                  <a:gd name="T8" fmla="*/ 165 w 200"/>
                  <a:gd name="T9" fmla="*/ 105 h 228"/>
                  <a:gd name="T10" fmla="*/ 160 w 200"/>
                  <a:gd name="T11" fmla="*/ 94 h 228"/>
                  <a:gd name="T12" fmla="*/ 152 w 200"/>
                  <a:gd name="T13" fmla="*/ 80 h 228"/>
                  <a:gd name="T14" fmla="*/ 151 w 200"/>
                  <a:gd name="T15" fmla="*/ 70 h 228"/>
                  <a:gd name="T16" fmla="*/ 147 w 200"/>
                  <a:gd name="T17" fmla="*/ 67 h 228"/>
                  <a:gd name="T18" fmla="*/ 129 w 200"/>
                  <a:gd name="T19" fmla="*/ 64 h 228"/>
                  <a:gd name="T20" fmla="*/ 121 w 200"/>
                  <a:gd name="T21" fmla="*/ 57 h 228"/>
                  <a:gd name="T22" fmla="*/ 110 w 200"/>
                  <a:gd name="T23" fmla="*/ 51 h 228"/>
                  <a:gd name="T24" fmla="*/ 86 w 200"/>
                  <a:gd name="T25" fmla="*/ 44 h 228"/>
                  <a:gd name="T26" fmla="*/ 73 w 200"/>
                  <a:gd name="T27" fmla="*/ 32 h 228"/>
                  <a:gd name="T28" fmla="*/ 70 w 200"/>
                  <a:gd name="T29" fmla="*/ 22 h 228"/>
                  <a:gd name="T30" fmla="*/ 68 w 200"/>
                  <a:gd name="T31" fmla="*/ 2 h 228"/>
                  <a:gd name="T32" fmla="*/ 61 w 200"/>
                  <a:gd name="T33" fmla="*/ 2 h 228"/>
                  <a:gd name="T34" fmla="*/ 44 w 200"/>
                  <a:gd name="T35" fmla="*/ 9 h 228"/>
                  <a:gd name="T36" fmla="*/ 26 w 200"/>
                  <a:gd name="T37" fmla="*/ 19 h 228"/>
                  <a:gd name="T38" fmla="*/ 5 w 200"/>
                  <a:gd name="T39" fmla="*/ 22 h 228"/>
                  <a:gd name="T40" fmla="*/ 8 w 200"/>
                  <a:gd name="T41" fmla="*/ 47 h 228"/>
                  <a:gd name="T42" fmla="*/ 6 w 200"/>
                  <a:gd name="T43" fmla="*/ 58 h 228"/>
                  <a:gd name="T44" fmla="*/ 2 w 200"/>
                  <a:gd name="T45" fmla="*/ 89 h 228"/>
                  <a:gd name="T46" fmla="*/ 0 w 200"/>
                  <a:gd name="T47" fmla="*/ 93 h 228"/>
                  <a:gd name="T48" fmla="*/ 8 w 200"/>
                  <a:gd name="T49" fmla="*/ 102 h 228"/>
                  <a:gd name="T50" fmla="*/ 16 w 200"/>
                  <a:gd name="T51" fmla="*/ 110 h 228"/>
                  <a:gd name="T52" fmla="*/ 21 w 200"/>
                  <a:gd name="T53" fmla="*/ 116 h 228"/>
                  <a:gd name="T54" fmla="*/ 21 w 200"/>
                  <a:gd name="T55" fmla="*/ 122 h 228"/>
                  <a:gd name="T56" fmla="*/ 6 w 200"/>
                  <a:gd name="T57" fmla="*/ 139 h 228"/>
                  <a:gd name="T58" fmla="*/ 11 w 200"/>
                  <a:gd name="T59" fmla="*/ 142 h 228"/>
                  <a:gd name="T60" fmla="*/ 9 w 200"/>
                  <a:gd name="T61" fmla="*/ 155 h 228"/>
                  <a:gd name="T62" fmla="*/ 18 w 200"/>
                  <a:gd name="T63" fmla="*/ 170 h 228"/>
                  <a:gd name="T64" fmla="*/ 19 w 200"/>
                  <a:gd name="T65" fmla="*/ 180 h 228"/>
                  <a:gd name="T66" fmla="*/ 26 w 200"/>
                  <a:gd name="T67" fmla="*/ 202 h 228"/>
                  <a:gd name="T68" fmla="*/ 32 w 200"/>
                  <a:gd name="T69" fmla="*/ 223 h 228"/>
                  <a:gd name="T70" fmla="*/ 37 w 200"/>
                  <a:gd name="T71" fmla="*/ 228 h 228"/>
                  <a:gd name="T72" fmla="*/ 63 w 200"/>
                  <a:gd name="T73" fmla="*/ 215 h 228"/>
                  <a:gd name="T74" fmla="*/ 87 w 200"/>
                  <a:gd name="T75" fmla="*/ 219 h 228"/>
                  <a:gd name="T76" fmla="*/ 93 w 200"/>
                  <a:gd name="T77" fmla="*/ 212 h 228"/>
                  <a:gd name="T78" fmla="*/ 99 w 200"/>
                  <a:gd name="T79" fmla="*/ 206 h 228"/>
                  <a:gd name="T80" fmla="*/ 115 w 200"/>
                  <a:gd name="T81" fmla="*/ 207 h 228"/>
                  <a:gd name="T82" fmla="*/ 123 w 200"/>
                  <a:gd name="T83" fmla="*/ 174 h 228"/>
                  <a:gd name="T84" fmla="*/ 126 w 200"/>
                  <a:gd name="T85" fmla="*/ 160 h 228"/>
                  <a:gd name="T86" fmla="*/ 134 w 200"/>
                  <a:gd name="T87" fmla="*/ 155 h 228"/>
                  <a:gd name="T88" fmla="*/ 145 w 200"/>
                  <a:gd name="T89" fmla="*/ 158 h 228"/>
                  <a:gd name="T90" fmla="*/ 157 w 200"/>
                  <a:gd name="T91" fmla="*/ 160 h 228"/>
                  <a:gd name="T92" fmla="*/ 179 w 200"/>
                  <a:gd name="T93" fmla="*/ 154 h 228"/>
                  <a:gd name="T94" fmla="*/ 193 w 200"/>
                  <a:gd name="T95" fmla="*/ 162 h 228"/>
                  <a:gd name="T96" fmla="*/ 196 w 200"/>
                  <a:gd name="T97" fmla="*/ 158 h 228"/>
                  <a:gd name="T98" fmla="*/ 200 w 200"/>
                  <a:gd name="T99" fmla="*/ 136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0" h="228">
                    <a:moveTo>
                      <a:pt x="199" y="132"/>
                    </a:moveTo>
                    <a:lnTo>
                      <a:pt x="199" y="132"/>
                    </a:lnTo>
                    <a:lnTo>
                      <a:pt x="196" y="129"/>
                    </a:lnTo>
                    <a:lnTo>
                      <a:pt x="192" y="128"/>
                    </a:lnTo>
                    <a:lnTo>
                      <a:pt x="189" y="125"/>
                    </a:lnTo>
                    <a:lnTo>
                      <a:pt x="187" y="122"/>
                    </a:lnTo>
                    <a:lnTo>
                      <a:pt x="187" y="122"/>
                    </a:lnTo>
                    <a:lnTo>
                      <a:pt x="187" y="112"/>
                    </a:lnTo>
                    <a:lnTo>
                      <a:pt x="187" y="109"/>
                    </a:lnTo>
                    <a:lnTo>
                      <a:pt x="186" y="107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76" y="107"/>
                    </a:lnTo>
                    <a:lnTo>
                      <a:pt x="170" y="107"/>
                    </a:lnTo>
                    <a:lnTo>
                      <a:pt x="165" y="105"/>
                    </a:lnTo>
                    <a:lnTo>
                      <a:pt x="165" y="105"/>
                    </a:lnTo>
                    <a:lnTo>
                      <a:pt x="163" y="100"/>
                    </a:lnTo>
                    <a:lnTo>
                      <a:pt x="160" y="94"/>
                    </a:lnTo>
                    <a:lnTo>
                      <a:pt x="154" y="83"/>
                    </a:lnTo>
                    <a:lnTo>
                      <a:pt x="154" y="83"/>
                    </a:lnTo>
                    <a:lnTo>
                      <a:pt x="152" y="80"/>
                    </a:lnTo>
                    <a:lnTo>
                      <a:pt x="152" y="76"/>
                    </a:lnTo>
                    <a:lnTo>
                      <a:pt x="152" y="73"/>
                    </a:lnTo>
                    <a:lnTo>
                      <a:pt x="151" y="70"/>
                    </a:lnTo>
                    <a:lnTo>
                      <a:pt x="151" y="70"/>
                    </a:lnTo>
                    <a:lnTo>
                      <a:pt x="150" y="68"/>
                    </a:lnTo>
                    <a:lnTo>
                      <a:pt x="147" y="67"/>
                    </a:lnTo>
                    <a:lnTo>
                      <a:pt x="139" y="65"/>
                    </a:lnTo>
                    <a:lnTo>
                      <a:pt x="132" y="65"/>
                    </a:lnTo>
                    <a:lnTo>
                      <a:pt x="129" y="64"/>
                    </a:lnTo>
                    <a:lnTo>
                      <a:pt x="128" y="63"/>
                    </a:lnTo>
                    <a:lnTo>
                      <a:pt x="128" y="63"/>
                    </a:lnTo>
                    <a:lnTo>
                      <a:pt x="121" y="57"/>
                    </a:lnTo>
                    <a:lnTo>
                      <a:pt x="115" y="54"/>
                    </a:lnTo>
                    <a:lnTo>
                      <a:pt x="110" y="51"/>
                    </a:lnTo>
                    <a:lnTo>
                      <a:pt x="110" y="51"/>
                    </a:lnTo>
                    <a:lnTo>
                      <a:pt x="97" y="48"/>
                    </a:lnTo>
                    <a:lnTo>
                      <a:pt x="90" y="47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76" y="35"/>
                    </a:lnTo>
                    <a:lnTo>
                      <a:pt x="73" y="32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2"/>
                    </a:lnTo>
                    <a:lnTo>
                      <a:pt x="71" y="13"/>
                    </a:lnTo>
                    <a:lnTo>
                      <a:pt x="70" y="5"/>
                    </a:lnTo>
                    <a:lnTo>
                      <a:pt x="68" y="2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1" y="2"/>
                    </a:lnTo>
                    <a:lnTo>
                      <a:pt x="55" y="5"/>
                    </a:lnTo>
                    <a:lnTo>
                      <a:pt x="44" y="9"/>
                    </a:lnTo>
                    <a:lnTo>
                      <a:pt x="44" y="9"/>
                    </a:lnTo>
                    <a:lnTo>
                      <a:pt x="38" y="12"/>
                    </a:lnTo>
                    <a:lnTo>
                      <a:pt x="32" y="16"/>
                    </a:lnTo>
                    <a:lnTo>
                      <a:pt x="26" y="19"/>
                    </a:lnTo>
                    <a:lnTo>
                      <a:pt x="19" y="21"/>
                    </a:lnTo>
                    <a:lnTo>
                      <a:pt x="19" y="21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8" y="39"/>
                    </a:lnTo>
                    <a:lnTo>
                      <a:pt x="8" y="47"/>
                    </a:lnTo>
                    <a:lnTo>
                      <a:pt x="8" y="51"/>
                    </a:lnTo>
                    <a:lnTo>
                      <a:pt x="8" y="51"/>
                    </a:lnTo>
                    <a:lnTo>
                      <a:pt x="6" y="58"/>
                    </a:lnTo>
                    <a:lnTo>
                      <a:pt x="5" y="70"/>
                    </a:lnTo>
                    <a:lnTo>
                      <a:pt x="3" y="81"/>
                    </a:lnTo>
                    <a:lnTo>
                      <a:pt x="2" y="89"/>
                    </a:lnTo>
                    <a:lnTo>
                      <a:pt x="2" y="89"/>
                    </a:lnTo>
                    <a:lnTo>
                      <a:pt x="0" y="90"/>
                    </a:lnTo>
                    <a:lnTo>
                      <a:pt x="0" y="93"/>
                    </a:lnTo>
                    <a:lnTo>
                      <a:pt x="3" y="100"/>
                    </a:lnTo>
                    <a:lnTo>
                      <a:pt x="3" y="100"/>
                    </a:lnTo>
                    <a:lnTo>
                      <a:pt x="8" y="102"/>
                    </a:lnTo>
                    <a:lnTo>
                      <a:pt x="8" y="102"/>
                    </a:lnTo>
                    <a:lnTo>
                      <a:pt x="12" y="106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21" y="113"/>
                    </a:lnTo>
                    <a:lnTo>
                      <a:pt x="21" y="116"/>
                    </a:lnTo>
                    <a:lnTo>
                      <a:pt x="21" y="119"/>
                    </a:lnTo>
                    <a:lnTo>
                      <a:pt x="21" y="119"/>
                    </a:lnTo>
                    <a:lnTo>
                      <a:pt x="21" y="122"/>
                    </a:lnTo>
                    <a:lnTo>
                      <a:pt x="19" y="125"/>
                    </a:lnTo>
                    <a:lnTo>
                      <a:pt x="13" y="131"/>
                    </a:lnTo>
                    <a:lnTo>
                      <a:pt x="6" y="139"/>
                    </a:lnTo>
                    <a:lnTo>
                      <a:pt x="6" y="139"/>
                    </a:lnTo>
                    <a:lnTo>
                      <a:pt x="9" y="139"/>
                    </a:lnTo>
                    <a:lnTo>
                      <a:pt x="11" y="142"/>
                    </a:lnTo>
                    <a:lnTo>
                      <a:pt x="9" y="149"/>
                    </a:lnTo>
                    <a:lnTo>
                      <a:pt x="9" y="149"/>
                    </a:lnTo>
                    <a:lnTo>
                      <a:pt x="9" y="155"/>
                    </a:lnTo>
                    <a:lnTo>
                      <a:pt x="11" y="160"/>
                    </a:lnTo>
                    <a:lnTo>
                      <a:pt x="18" y="170"/>
                    </a:lnTo>
                    <a:lnTo>
                      <a:pt x="18" y="170"/>
                    </a:lnTo>
                    <a:lnTo>
                      <a:pt x="21" y="174"/>
                    </a:lnTo>
                    <a:lnTo>
                      <a:pt x="19" y="177"/>
                    </a:lnTo>
                    <a:lnTo>
                      <a:pt x="19" y="180"/>
                    </a:lnTo>
                    <a:lnTo>
                      <a:pt x="21" y="186"/>
                    </a:lnTo>
                    <a:lnTo>
                      <a:pt x="21" y="186"/>
                    </a:lnTo>
                    <a:lnTo>
                      <a:pt x="26" y="202"/>
                    </a:lnTo>
                    <a:lnTo>
                      <a:pt x="31" y="220"/>
                    </a:lnTo>
                    <a:lnTo>
                      <a:pt x="31" y="220"/>
                    </a:lnTo>
                    <a:lnTo>
                      <a:pt x="32" y="223"/>
                    </a:lnTo>
                    <a:lnTo>
                      <a:pt x="34" y="226"/>
                    </a:lnTo>
                    <a:lnTo>
                      <a:pt x="37" y="228"/>
                    </a:lnTo>
                    <a:lnTo>
                      <a:pt x="37" y="228"/>
                    </a:lnTo>
                    <a:lnTo>
                      <a:pt x="57" y="215"/>
                    </a:lnTo>
                    <a:lnTo>
                      <a:pt x="57" y="215"/>
                    </a:lnTo>
                    <a:lnTo>
                      <a:pt x="63" y="215"/>
                    </a:lnTo>
                    <a:lnTo>
                      <a:pt x="71" y="216"/>
                    </a:lnTo>
                    <a:lnTo>
                      <a:pt x="87" y="219"/>
                    </a:lnTo>
                    <a:lnTo>
                      <a:pt x="87" y="219"/>
                    </a:lnTo>
                    <a:lnTo>
                      <a:pt x="90" y="217"/>
                    </a:lnTo>
                    <a:lnTo>
                      <a:pt x="92" y="215"/>
                    </a:lnTo>
                    <a:lnTo>
                      <a:pt x="93" y="212"/>
                    </a:lnTo>
                    <a:lnTo>
                      <a:pt x="95" y="209"/>
                    </a:lnTo>
                    <a:lnTo>
                      <a:pt x="95" y="209"/>
                    </a:lnTo>
                    <a:lnTo>
                      <a:pt x="99" y="206"/>
                    </a:lnTo>
                    <a:lnTo>
                      <a:pt x="103" y="206"/>
                    </a:lnTo>
                    <a:lnTo>
                      <a:pt x="115" y="207"/>
                    </a:lnTo>
                    <a:lnTo>
                      <a:pt x="115" y="207"/>
                    </a:lnTo>
                    <a:lnTo>
                      <a:pt x="123" y="210"/>
                    </a:lnTo>
                    <a:lnTo>
                      <a:pt x="123" y="210"/>
                    </a:lnTo>
                    <a:lnTo>
                      <a:pt x="123" y="174"/>
                    </a:lnTo>
                    <a:lnTo>
                      <a:pt x="123" y="174"/>
                    </a:lnTo>
                    <a:lnTo>
                      <a:pt x="123" y="165"/>
                    </a:lnTo>
                    <a:lnTo>
                      <a:pt x="126" y="160"/>
                    </a:lnTo>
                    <a:lnTo>
                      <a:pt x="129" y="155"/>
                    </a:lnTo>
                    <a:lnTo>
                      <a:pt x="131" y="155"/>
                    </a:lnTo>
                    <a:lnTo>
                      <a:pt x="134" y="155"/>
                    </a:lnTo>
                    <a:lnTo>
                      <a:pt x="134" y="155"/>
                    </a:lnTo>
                    <a:lnTo>
                      <a:pt x="139" y="157"/>
                    </a:lnTo>
                    <a:lnTo>
                      <a:pt x="145" y="158"/>
                    </a:lnTo>
                    <a:lnTo>
                      <a:pt x="151" y="160"/>
                    </a:lnTo>
                    <a:lnTo>
                      <a:pt x="157" y="160"/>
                    </a:lnTo>
                    <a:lnTo>
                      <a:pt x="157" y="160"/>
                    </a:lnTo>
                    <a:lnTo>
                      <a:pt x="170" y="154"/>
                    </a:lnTo>
                    <a:lnTo>
                      <a:pt x="176" y="154"/>
                    </a:lnTo>
                    <a:lnTo>
                      <a:pt x="179" y="154"/>
                    </a:lnTo>
                    <a:lnTo>
                      <a:pt x="179" y="154"/>
                    </a:lnTo>
                    <a:lnTo>
                      <a:pt x="184" y="157"/>
                    </a:lnTo>
                    <a:lnTo>
                      <a:pt x="193" y="162"/>
                    </a:lnTo>
                    <a:lnTo>
                      <a:pt x="193" y="162"/>
                    </a:lnTo>
                    <a:lnTo>
                      <a:pt x="196" y="158"/>
                    </a:lnTo>
                    <a:lnTo>
                      <a:pt x="196" y="158"/>
                    </a:lnTo>
                    <a:lnTo>
                      <a:pt x="199" y="152"/>
                    </a:lnTo>
                    <a:lnTo>
                      <a:pt x="200" y="144"/>
                    </a:lnTo>
                    <a:lnTo>
                      <a:pt x="200" y="136"/>
                    </a:lnTo>
                    <a:lnTo>
                      <a:pt x="199" y="13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08" name="Freeform 661"/>
              <p:cNvSpPr>
                <a:spLocks/>
              </p:cNvSpPr>
              <p:nvPr/>
            </p:nvSpPr>
            <p:spPr bwMode="auto">
              <a:xfrm>
                <a:off x="3330479" y="3621830"/>
                <a:ext cx="8903" cy="9893"/>
              </a:xfrm>
              <a:custGeom>
                <a:avLst/>
                <a:gdLst>
                  <a:gd name="T0" fmla="*/ 7 w 9"/>
                  <a:gd name="T1" fmla="*/ 10 h 10"/>
                  <a:gd name="T2" fmla="*/ 7 w 9"/>
                  <a:gd name="T3" fmla="*/ 10 h 10"/>
                  <a:gd name="T4" fmla="*/ 6 w 9"/>
                  <a:gd name="T5" fmla="*/ 10 h 10"/>
                  <a:gd name="T6" fmla="*/ 4 w 9"/>
                  <a:gd name="T7" fmla="*/ 10 h 10"/>
                  <a:gd name="T8" fmla="*/ 1 w 9"/>
                  <a:gd name="T9" fmla="*/ 5 h 10"/>
                  <a:gd name="T10" fmla="*/ 0 w 9"/>
                  <a:gd name="T11" fmla="*/ 1 h 10"/>
                  <a:gd name="T12" fmla="*/ 1 w 9"/>
                  <a:gd name="T13" fmla="*/ 0 h 10"/>
                  <a:gd name="T14" fmla="*/ 1 w 9"/>
                  <a:gd name="T15" fmla="*/ 0 h 10"/>
                  <a:gd name="T16" fmla="*/ 1 w 9"/>
                  <a:gd name="T17" fmla="*/ 0 h 10"/>
                  <a:gd name="T18" fmla="*/ 4 w 9"/>
                  <a:gd name="T19" fmla="*/ 1 h 10"/>
                  <a:gd name="T20" fmla="*/ 7 w 9"/>
                  <a:gd name="T21" fmla="*/ 3 h 10"/>
                  <a:gd name="T22" fmla="*/ 9 w 9"/>
                  <a:gd name="T23" fmla="*/ 5 h 10"/>
                  <a:gd name="T24" fmla="*/ 7 w 9"/>
                  <a:gd name="T2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10">
                    <a:moveTo>
                      <a:pt x="7" y="10"/>
                    </a:moveTo>
                    <a:lnTo>
                      <a:pt x="7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1" y="5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4" y="1"/>
                    </a:lnTo>
                    <a:lnTo>
                      <a:pt x="7" y="3"/>
                    </a:lnTo>
                    <a:lnTo>
                      <a:pt x="9" y="5"/>
                    </a:lnTo>
                    <a:lnTo>
                      <a:pt x="7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09" name="Freeform 662"/>
              <p:cNvSpPr>
                <a:spLocks/>
              </p:cNvSpPr>
              <p:nvPr/>
            </p:nvSpPr>
            <p:spPr bwMode="auto">
              <a:xfrm>
                <a:off x="3106906" y="3328020"/>
                <a:ext cx="206755" cy="287875"/>
              </a:xfrm>
              <a:custGeom>
                <a:avLst/>
                <a:gdLst>
                  <a:gd name="T0" fmla="*/ 203 w 209"/>
                  <a:gd name="T1" fmla="*/ 259 h 291"/>
                  <a:gd name="T2" fmla="*/ 190 w 209"/>
                  <a:gd name="T3" fmla="*/ 253 h 291"/>
                  <a:gd name="T4" fmla="*/ 185 w 209"/>
                  <a:gd name="T5" fmla="*/ 242 h 291"/>
                  <a:gd name="T6" fmla="*/ 188 w 209"/>
                  <a:gd name="T7" fmla="*/ 233 h 291"/>
                  <a:gd name="T8" fmla="*/ 191 w 209"/>
                  <a:gd name="T9" fmla="*/ 221 h 291"/>
                  <a:gd name="T10" fmla="*/ 196 w 209"/>
                  <a:gd name="T11" fmla="*/ 191 h 291"/>
                  <a:gd name="T12" fmla="*/ 193 w 209"/>
                  <a:gd name="T13" fmla="*/ 162 h 291"/>
                  <a:gd name="T14" fmla="*/ 178 w 209"/>
                  <a:gd name="T15" fmla="*/ 161 h 291"/>
                  <a:gd name="T16" fmla="*/ 175 w 209"/>
                  <a:gd name="T17" fmla="*/ 136 h 291"/>
                  <a:gd name="T18" fmla="*/ 161 w 209"/>
                  <a:gd name="T19" fmla="*/ 142 h 291"/>
                  <a:gd name="T20" fmla="*/ 139 w 209"/>
                  <a:gd name="T21" fmla="*/ 139 h 291"/>
                  <a:gd name="T22" fmla="*/ 125 w 209"/>
                  <a:gd name="T23" fmla="*/ 129 h 291"/>
                  <a:gd name="T24" fmla="*/ 117 w 209"/>
                  <a:gd name="T25" fmla="*/ 98 h 291"/>
                  <a:gd name="T26" fmla="*/ 136 w 209"/>
                  <a:gd name="T27" fmla="*/ 85 h 291"/>
                  <a:gd name="T28" fmla="*/ 139 w 209"/>
                  <a:gd name="T29" fmla="*/ 75 h 291"/>
                  <a:gd name="T30" fmla="*/ 152 w 209"/>
                  <a:gd name="T31" fmla="*/ 68 h 291"/>
                  <a:gd name="T32" fmla="*/ 165 w 209"/>
                  <a:gd name="T33" fmla="*/ 66 h 291"/>
                  <a:gd name="T34" fmla="*/ 181 w 209"/>
                  <a:gd name="T35" fmla="*/ 65 h 291"/>
                  <a:gd name="T36" fmla="*/ 180 w 209"/>
                  <a:gd name="T37" fmla="*/ 56 h 291"/>
                  <a:gd name="T38" fmla="*/ 180 w 209"/>
                  <a:gd name="T39" fmla="*/ 40 h 291"/>
                  <a:gd name="T40" fmla="*/ 175 w 209"/>
                  <a:gd name="T41" fmla="*/ 34 h 291"/>
                  <a:gd name="T42" fmla="*/ 159 w 209"/>
                  <a:gd name="T43" fmla="*/ 33 h 291"/>
                  <a:gd name="T44" fmla="*/ 126 w 209"/>
                  <a:gd name="T45" fmla="*/ 16 h 291"/>
                  <a:gd name="T46" fmla="*/ 109 w 209"/>
                  <a:gd name="T47" fmla="*/ 0 h 291"/>
                  <a:gd name="T48" fmla="*/ 106 w 209"/>
                  <a:gd name="T49" fmla="*/ 16 h 291"/>
                  <a:gd name="T50" fmla="*/ 93 w 209"/>
                  <a:gd name="T51" fmla="*/ 30 h 291"/>
                  <a:gd name="T52" fmla="*/ 84 w 209"/>
                  <a:gd name="T53" fmla="*/ 37 h 291"/>
                  <a:gd name="T54" fmla="*/ 55 w 209"/>
                  <a:gd name="T55" fmla="*/ 48 h 291"/>
                  <a:gd name="T56" fmla="*/ 44 w 209"/>
                  <a:gd name="T57" fmla="*/ 68 h 291"/>
                  <a:gd name="T58" fmla="*/ 29 w 209"/>
                  <a:gd name="T59" fmla="*/ 65 h 291"/>
                  <a:gd name="T60" fmla="*/ 17 w 209"/>
                  <a:gd name="T61" fmla="*/ 62 h 291"/>
                  <a:gd name="T62" fmla="*/ 19 w 209"/>
                  <a:gd name="T63" fmla="*/ 50 h 291"/>
                  <a:gd name="T64" fmla="*/ 15 w 209"/>
                  <a:gd name="T65" fmla="*/ 46 h 291"/>
                  <a:gd name="T66" fmla="*/ 0 w 209"/>
                  <a:gd name="T67" fmla="*/ 62 h 291"/>
                  <a:gd name="T68" fmla="*/ 6 w 209"/>
                  <a:gd name="T69" fmla="*/ 71 h 291"/>
                  <a:gd name="T70" fmla="*/ 3 w 209"/>
                  <a:gd name="T71" fmla="*/ 78 h 291"/>
                  <a:gd name="T72" fmla="*/ 12 w 209"/>
                  <a:gd name="T73" fmla="*/ 82 h 291"/>
                  <a:gd name="T74" fmla="*/ 28 w 209"/>
                  <a:gd name="T75" fmla="*/ 95 h 291"/>
                  <a:gd name="T76" fmla="*/ 30 w 209"/>
                  <a:gd name="T77" fmla="*/ 107 h 291"/>
                  <a:gd name="T78" fmla="*/ 44 w 209"/>
                  <a:gd name="T79" fmla="*/ 123 h 291"/>
                  <a:gd name="T80" fmla="*/ 65 w 209"/>
                  <a:gd name="T81" fmla="*/ 163 h 291"/>
                  <a:gd name="T82" fmla="*/ 77 w 209"/>
                  <a:gd name="T83" fmla="*/ 178 h 291"/>
                  <a:gd name="T84" fmla="*/ 78 w 209"/>
                  <a:gd name="T85" fmla="*/ 195 h 291"/>
                  <a:gd name="T86" fmla="*/ 87 w 209"/>
                  <a:gd name="T87" fmla="*/ 223 h 291"/>
                  <a:gd name="T88" fmla="*/ 101 w 209"/>
                  <a:gd name="T89" fmla="*/ 239 h 291"/>
                  <a:gd name="T90" fmla="*/ 122 w 209"/>
                  <a:gd name="T91" fmla="*/ 256 h 291"/>
                  <a:gd name="T92" fmla="*/ 159 w 209"/>
                  <a:gd name="T93" fmla="*/ 276 h 291"/>
                  <a:gd name="T94" fmla="*/ 175 w 209"/>
                  <a:gd name="T95" fmla="*/ 289 h 291"/>
                  <a:gd name="T96" fmla="*/ 194 w 209"/>
                  <a:gd name="T97" fmla="*/ 279 h 291"/>
                  <a:gd name="T98" fmla="*/ 209 w 209"/>
                  <a:gd name="T99" fmla="*/ 262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9" h="291">
                    <a:moveTo>
                      <a:pt x="209" y="259"/>
                    </a:moveTo>
                    <a:lnTo>
                      <a:pt x="209" y="259"/>
                    </a:lnTo>
                    <a:lnTo>
                      <a:pt x="206" y="259"/>
                    </a:lnTo>
                    <a:lnTo>
                      <a:pt x="203" y="259"/>
                    </a:lnTo>
                    <a:lnTo>
                      <a:pt x="203" y="259"/>
                    </a:lnTo>
                    <a:lnTo>
                      <a:pt x="197" y="259"/>
                    </a:lnTo>
                    <a:lnTo>
                      <a:pt x="194" y="258"/>
                    </a:lnTo>
                    <a:lnTo>
                      <a:pt x="190" y="253"/>
                    </a:lnTo>
                    <a:lnTo>
                      <a:pt x="190" y="253"/>
                    </a:lnTo>
                    <a:lnTo>
                      <a:pt x="184" y="247"/>
                    </a:lnTo>
                    <a:lnTo>
                      <a:pt x="184" y="245"/>
                    </a:lnTo>
                    <a:lnTo>
                      <a:pt x="185" y="242"/>
                    </a:lnTo>
                    <a:lnTo>
                      <a:pt x="185" y="242"/>
                    </a:lnTo>
                    <a:lnTo>
                      <a:pt x="191" y="240"/>
                    </a:lnTo>
                    <a:lnTo>
                      <a:pt x="191" y="240"/>
                    </a:lnTo>
                    <a:lnTo>
                      <a:pt x="188" y="233"/>
                    </a:lnTo>
                    <a:lnTo>
                      <a:pt x="188" y="230"/>
                    </a:lnTo>
                    <a:lnTo>
                      <a:pt x="190" y="229"/>
                    </a:lnTo>
                    <a:lnTo>
                      <a:pt x="190" y="229"/>
                    </a:lnTo>
                    <a:lnTo>
                      <a:pt x="191" y="221"/>
                    </a:lnTo>
                    <a:lnTo>
                      <a:pt x="193" y="210"/>
                    </a:lnTo>
                    <a:lnTo>
                      <a:pt x="194" y="198"/>
                    </a:lnTo>
                    <a:lnTo>
                      <a:pt x="196" y="191"/>
                    </a:lnTo>
                    <a:lnTo>
                      <a:pt x="196" y="191"/>
                    </a:lnTo>
                    <a:lnTo>
                      <a:pt x="196" y="187"/>
                    </a:lnTo>
                    <a:lnTo>
                      <a:pt x="196" y="179"/>
                    </a:lnTo>
                    <a:lnTo>
                      <a:pt x="193" y="162"/>
                    </a:lnTo>
                    <a:lnTo>
                      <a:pt x="193" y="162"/>
                    </a:lnTo>
                    <a:lnTo>
                      <a:pt x="183" y="162"/>
                    </a:lnTo>
                    <a:lnTo>
                      <a:pt x="180" y="162"/>
                    </a:lnTo>
                    <a:lnTo>
                      <a:pt x="178" y="161"/>
                    </a:lnTo>
                    <a:lnTo>
                      <a:pt x="178" y="161"/>
                    </a:lnTo>
                    <a:lnTo>
                      <a:pt x="177" y="155"/>
                    </a:lnTo>
                    <a:lnTo>
                      <a:pt x="177" y="146"/>
                    </a:lnTo>
                    <a:lnTo>
                      <a:pt x="177" y="139"/>
                    </a:lnTo>
                    <a:lnTo>
                      <a:pt x="175" y="136"/>
                    </a:lnTo>
                    <a:lnTo>
                      <a:pt x="175" y="136"/>
                    </a:lnTo>
                    <a:lnTo>
                      <a:pt x="172" y="136"/>
                    </a:lnTo>
                    <a:lnTo>
                      <a:pt x="167" y="139"/>
                    </a:lnTo>
                    <a:lnTo>
                      <a:pt x="161" y="142"/>
                    </a:lnTo>
                    <a:lnTo>
                      <a:pt x="155" y="143"/>
                    </a:lnTo>
                    <a:lnTo>
                      <a:pt x="155" y="143"/>
                    </a:lnTo>
                    <a:lnTo>
                      <a:pt x="148" y="142"/>
                    </a:lnTo>
                    <a:lnTo>
                      <a:pt x="139" y="139"/>
                    </a:lnTo>
                    <a:lnTo>
                      <a:pt x="130" y="134"/>
                    </a:lnTo>
                    <a:lnTo>
                      <a:pt x="128" y="132"/>
                    </a:lnTo>
                    <a:lnTo>
                      <a:pt x="125" y="129"/>
                    </a:lnTo>
                    <a:lnTo>
                      <a:pt x="125" y="129"/>
                    </a:lnTo>
                    <a:lnTo>
                      <a:pt x="120" y="111"/>
                    </a:lnTo>
                    <a:lnTo>
                      <a:pt x="117" y="103"/>
                    </a:lnTo>
                    <a:lnTo>
                      <a:pt x="117" y="98"/>
                    </a:lnTo>
                    <a:lnTo>
                      <a:pt x="117" y="98"/>
                    </a:lnTo>
                    <a:lnTo>
                      <a:pt x="120" y="95"/>
                    </a:lnTo>
                    <a:lnTo>
                      <a:pt x="128" y="91"/>
                    </a:lnTo>
                    <a:lnTo>
                      <a:pt x="133" y="87"/>
                    </a:lnTo>
                    <a:lnTo>
                      <a:pt x="136" y="85"/>
                    </a:lnTo>
                    <a:lnTo>
                      <a:pt x="136" y="84"/>
                    </a:lnTo>
                    <a:lnTo>
                      <a:pt x="136" y="84"/>
                    </a:lnTo>
                    <a:lnTo>
                      <a:pt x="138" y="79"/>
                    </a:lnTo>
                    <a:lnTo>
                      <a:pt x="139" y="75"/>
                    </a:lnTo>
                    <a:lnTo>
                      <a:pt x="143" y="71"/>
                    </a:lnTo>
                    <a:lnTo>
                      <a:pt x="148" y="68"/>
                    </a:lnTo>
                    <a:lnTo>
                      <a:pt x="148" y="68"/>
                    </a:lnTo>
                    <a:lnTo>
                      <a:pt x="152" y="68"/>
                    </a:lnTo>
                    <a:lnTo>
                      <a:pt x="157" y="68"/>
                    </a:lnTo>
                    <a:lnTo>
                      <a:pt x="161" y="68"/>
                    </a:lnTo>
                    <a:lnTo>
                      <a:pt x="165" y="66"/>
                    </a:lnTo>
                    <a:lnTo>
                      <a:pt x="165" y="66"/>
                    </a:lnTo>
                    <a:lnTo>
                      <a:pt x="170" y="65"/>
                    </a:lnTo>
                    <a:lnTo>
                      <a:pt x="175" y="65"/>
                    </a:lnTo>
                    <a:lnTo>
                      <a:pt x="180" y="65"/>
                    </a:lnTo>
                    <a:lnTo>
                      <a:pt x="181" y="65"/>
                    </a:lnTo>
                    <a:lnTo>
                      <a:pt x="181" y="63"/>
                    </a:lnTo>
                    <a:lnTo>
                      <a:pt x="181" y="63"/>
                    </a:lnTo>
                    <a:lnTo>
                      <a:pt x="181" y="59"/>
                    </a:lnTo>
                    <a:lnTo>
                      <a:pt x="180" y="56"/>
                    </a:lnTo>
                    <a:lnTo>
                      <a:pt x="178" y="52"/>
                    </a:lnTo>
                    <a:lnTo>
                      <a:pt x="178" y="49"/>
                    </a:lnTo>
                    <a:lnTo>
                      <a:pt x="178" y="49"/>
                    </a:lnTo>
                    <a:lnTo>
                      <a:pt x="180" y="40"/>
                    </a:lnTo>
                    <a:lnTo>
                      <a:pt x="180" y="36"/>
                    </a:lnTo>
                    <a:lnTo>
                      <a:pt x="178" y="34"/>
                    </a:lnTo>
                    <a:lnTo>
                      <a:pt x="178" y="34"/>
                    </a:lnTo>
                    <a:lnTo>
                      <a:pt x="175" y="34"/>
                    </a:lnTo>
                    <a:lnTo>
                      <a:pt x="172" y="36"/>
                    </a:lnTo>
                    <a:lnTo>
                      <a:pt x="167" y="36"/>
                    </a:lnTo>
                    <a:lnTo>
                      <a:pt x="159" y="33"/>
                    </a:lnTo>
                    <a:lnTo>
                      <a:pt x="159" y="33"/>
                    </a:lnTo>
                    <a:lnTo>
                      <a:pt x="142" y="26"/>
                    </a:lnTo>
                    <a:lnTo>
                      <a:pt x="133" y="21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17" y="6"/>
                    </a:lnTo>
                    <a:lnTo>
                      <a:pt x="113" y="1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07" y="10"/>
                    </a:lnTo>
                    <a:lnTo>
                      <a:pt x="106" y="16"/>
                    </a:lnTo>
                    <a:lnTo>
                      <a:pt x="106" y="16"/>
                    </a:lnTo>
                    <a:lnTo>
                      <a:pt x="103" y="21"/>
                    </a:lnTo>
                    <a:lnTo>
                      <a:pt x="99" y="26"/>
                    </a:lnTo>
                    <a:lnTo>
                      <a:pt x="93" y="30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87" y="36"/>
                    </a:lnTo>
                    <a:lnTo>
                      <a:pt x="84" y="37"/>
                    </a:lnTo>
                    <a:lnTo>
                      <a:pt x="75" y="42"/>
                    </a:lnTo>
                    <a:lnTo>
                      <a:pt x="58" y="46"/>
                    </a:lnTo>
                    <a:lnTo>
                      <a:pt x="58" y="46"/>
                    </a:lnTo>
                    <a:lnTo>
                      <a:pt x="55" y="48"/>
                    </a:lnTo>
                    <a:lnTo>
                      <a:pt x="52" y="50"/>
                    </a:lnTo>
                    <a:lnTo>
                      <a:pt x="49" y="58"/>
                    </a:lnTo>
                    <a:lnTo>
                      <a:pt x="45" y="65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39" y="68"/>
                    </a:lnTo>
                    <a:lnTo>
                      <a:pt x="33" y="68"/>
                    </a:lnTo>
                    <a:lnTo>
                      <a:pt x="29" y="65"/>
                    </a:lnTo>
                    <a:lnTo>
                      <a:pt x="25" y="63"/>
                    </a:lnTo>
                    <a:lnTo>
                      <a:pt x="25" y="63"/>
                    </a:lnTo>
                    <a:lnTo>
                      <a:pt x="22" y="62"/>
                    </a:lnTo>
                    <a:lnTo>
                      <a:pt x="17" y="62"/>
                    </a:lnTo>
                    <a:lnTo>
                      <a:pt x="13" y="62"/>
                    </a:lnTo>
                    <a:lnTo>
                      <a:pt x="13" y="62"/>
                    </a:lnTo>
                    <a:lnTo>
                      <a:pt x="15" y="58"/>
                    </a:lnTo>
                    <a:lnTo>
                      <a:pt x="19" y="50"/>
                    </a:lnTo>
                    <a:lnTo>
                      <a:pt x="19" y="50"/>
                    </a:lnTo>
                    <a:lnTo>
                      <a:pt x="17" y="49"/>
                    </a:lnTo>
                    <a:lnTo>
                      <a:pt x="15" y="46"/>
                    </a:lnTo>
                    <a:lnTo>
                      <a:pt x="15" y="46"/>
                    </a:lnTo>
                    <a:lnTo>
                      <a:pt x="10" y="49"/>
                    </a:lnTo>
                    <a:lnTo>
                      <a:pt x="4" y="55"/>
                    </a:lnTo>
                    <a:lnTo>
                      <a:pt x="4" y="55"/>
                    </a:lnTo>
                    <a:lnTo>
                      <a:pt x="0" y="62"/>
                    </a:lnTo>
                    <a:lnTo>
                      <a:pt x="0" y="63"/>
                    </a:lnTo>
                    <a:lnTo>
                      <a:pt x="2" y="66"/>
                    </a:lnTo>
                    <a:lnTo>
                      <a:pt x="2" y="66"/>
                    </a:lnTo>
                    <a:lnTo>
                      <a:pt x="6" y="71"/>
                    </a:lnTo>
                    <a:lnTo>
                      <a:pt x="7" y="72"/>
                    </a:lnTo>
                    <a:lnTo>
                      <a:pt x="6" y="74"/>
                    </a:lnTo>
                    <a:lnTo>
                      <a:pt x="6" y="74"/>
                    </a:lnTo>
                    <a:lnTo>
                      <a:pt x="3" y="78"/>
                    </a:lnTo>
                    <a:lnTo>
                      <a:pt x="3" y="79"/>
                    </a:lnTo>
                    <a:lnTo>
                      <a:pt x="6" y="81"/>
                    </a:lnTo>
                    <a:lnTo>
                      <a:pt x="6" y="81"/>
                    </a:lnTo>
                    <a:lnTo>
                      <a:pt x="12" y="82"/>
                    </a:lnTo>
                    <a:lnTo>
                      <a:pt x="17" y="87"/>
                    </a:lnTo>
                    <a:lnTo>
                      <a:pt x="25" y="91"/>
                    </a:lnTo>
                    <a:lnTo>
                      <a:pt x="28" y="95"/>
                    </a:lnTo>
                    <a:lnTo>
                      <a:pt x="28" y="95"/>
                    </a:lnTo>
                    <a:lnTo>
                      <a:pt x="29" y="98"/>
                    </a:lnTo>
                    <a:lnTo>
                      <a:pt x="29" y="101"/>
                    </a:lnTo>
                    <a:lnTo>
                      <a:pt x="29" y="103"/>
                    </a:lnTo>
                    <a:lnTo>
                      <a:pt x="30" y="107"/>
                    </a:lnTo>
                    <a:lnTo>
                      <a:pt x="30" y="107"/>
                    </a:lnTo>
                    <a:lnTo>
                      <a:pt x="39" y="116"/>
                    </a:lnTo>
                    <a:lnTo>
                      <a:pt x="42" y="120"/>
                    </a:lnTo>
                    <a:lnTo>
                      <a:pt x="44" y="123"/>
                    </a:lnTo>
                    <a:lnTo>
                      <a:pt x="44" y="123"/>
                    </a:lnTo>
                    <a:lnTo>
                      <a:pt x="48" y="130"/>
                    </a:lnTo>
                    <a:lnTo>
                      <a:pt x="54" y="143"/>
                    </a:lnTo>
                    <a:lnTo>
                      <a:pt x="65" y="163"/>
                    </a:lnTo>
                    <a:lnTo>
                      <a:pt x="65" y="163"/>
                    </a:lnTo>
                    <a:lnTo>
                      <a:pt x="68" y="168"/>
                    </a:lnTo>
                    <a:lnTo>
                      <a:pt x="73" y="174"/>
                    </a:lnTo>
                    <a:lnTo>
                      <a:pt x="77" y="178"/>
                    </a:lnTo>
                    <a:lnTo>
                      <a:pt x="78" y="181"/>
                    </a:lnTo>
                    <a:lnTo>
                      <a:pt x="78" y="184"/>
                    </a:lnTo>
                    <a:lnTo>
                      <a:pt x="78" y="184"/>
                    </a:lnTo>
                    <a:lnTo>
                      <a:pt x="78" y="195"/>
                    </a:lnTo>
                    <a:lnTo>
                      <a:pt x="80" y="201"/>
                    </a:lnTo>
                    <a:lnTo>
                      <a:pt x="81" y="208"/>
                    </a:lnTo>
                    <a:lnTo>
                      <a:pt x="81" y="208"/>
                    </a:lnTo>
                    <a:lnTo>
                      <a:pt x="87" y="223"/>
                    </a:lnTo>
                    <a:lnTo>
                      <a:pt x="90" y="229"/>
                    </a:lnTo>
                    <a:lnTo>
                      <a:pt x="93" y="231"/>
                    </a:lnTo>
                    <a:lnTo>
                      <a:pt x="93" y="231"/>
                    </a:lnTo>
                    <a:lnTo>
                      <a:pt x="101" y="239"/>
                    </a:lnTo>
                    <a:lnTo>
                      <a:pt x="110" y="247"/>
                    </a:lnTo>
                    <a:lnTo>
                      <a:pt x="110" y="247"/>
                    </a:lnTo>
                    <a:lnTo>
                      <a:pt x="115" y="252"/>
                    </a:lnTo>
                    <a:lnTo>
                      <a:pt x="122" y="256"/>
                    </a:lnTo>
                    <a:lnTo>
                      <a:pt x="135" y="262"/>
                    </a:lnTo>
                    <a:lnTo>
                      <a:pt x="135" y="262"/>
                    </a:lnTo>
                    <a:lnTo>
                      <a:pt x="148" y="268"/>
                    </a:lnTo>
                    <a:lnTo>
                      <a:pt x="159" y="276"/>
                    </a:lnTo>
                    <a:lnTo>
                      <a:pt x="159" y="276"/>
                    </a:lnTo>
                    <a:lnTo>
                      <a:pt x="168" y="282"/>
                    </a:lnTo>
                    <a:lnTo>
                      <a:pt x="172" y="287"/>
                    </a:lnTo>
                    <a:lnTo>
                      <a:pt x="175" y="289"/>
                    </a:lnTo>
                    <a:lnTo>
                      <a:pt x="175" y="291"/>
                    </a:lnTo>
                    <a:lnTo>
                      <a:pt x="175" y="291"/>
                    </a:lnTo>
                    <a:lnTo>
                      <a:pt x="187" y="282"/>
                    </a:lnTo>
                    <a:lnTo>
                      <a:pt x="194" y="279"/>
                    </a:lnTo>
                    <a:lnTo>
                      <a:pt x="194" y="279"/>
                    </a:lnTo>
                    <a:lnTo>
                      <a:pt x="201" y="271"/>
                    </a:lnTo>
                    <a:lnTo>
                      <a:pt x="207" y="265"/>
                    </a:lnTo>
                    <a:lnTo>
                      <a:pt x="209" y="262"/>
                    </a:lnTo>
                    <a:lnTo>
                      <a:pt x="209" y="25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0" name="Freeform 663"/>
              <p:cNvSpPr>
                <a:spLocks/>
              </p:cNvSpPr>
              <p:nvPr/>
            </p:nvSpPr>
            <p:spPr bwMode="auto">
              <a:xfrm>
                <a:off x="3106906" y="3328020"/>
                <a:ext cx="206755" cy="287875"/>
              </a:xfrm>
              <a:custGeom>
                <a:avLst/>
                <a:gdLst>
                  <a:gd name="T0" fmla="*/ 203 w 209"/>
                  <a:gd name="T1" fmla="*/ 259 h 291"/>
                  <a:gd name="T2" fmla="*/ 190 w 209"/>
                  <a:gd name="T3" fmla="*/ 253 h 291"/>
                  <a:gd name="T4" fmla="*/ 185 w 209"/>
                  <a:gd name="T5" fmla="*/ 242 h 291"/>
                  <a:gd name="T6" fmla="*/ 188 w 209"/>
                  <a:gd name="T7" fmla="*/ 233 h 291"/>
                  <a:gd name="T8" fmla="*/ 191 w 209"/>
                  <a:gd name="T9" fmla="*/ 221 h 291"/>
                  <a:gd name="T10" fmla="*/ 196 w 209"/>
                  <a:gd name="T11" fmla="*/ 191 h 291"/>
                  <a:gd name="T12" fmla="*/ 193 w 209"/>
                  <a:gd name="T13" fmla="*/ 162 h 291"/>
                  <a:gd name="T14" fmla="*/ 178 w 209"/>
                  <a:gd name="T15" fmla="*/ 161 h 291"/>
                  <a:gd name="T16" fmla="*/ 175 w 209"/>
                  <a:gd name="T17" fmla="*/ 136 h 291"/>
                  <a:gd name="T18" fmla="*/ 161 w 209"/>
                  <a:gd name="T19" fmla="*/ 142 h 291"/>
                  <a:gd name="T20" fmla="*/ 139 w 209"/>
                  <a:gd name="T21" fmla="*/ 139 h 291"/>
                  <a:gd name="T22" fmla="*/ 125 w 209"/>
                  <a:gd name="T23" fmla="*/ 129 h 291"/>
                  <a:gd name="T24" fmla="*/ 117 w 209"/>
                  <a:gd name="T25" fmla="*/ 98 h 291"/>
                  <a:gd name="T26" fmla="*/ 136 w 209"/>
                  <a:gd name="T27" fmla="*/ 85 h 291"/>
                  <a:gd name="T28" fmla="*/ 139 w 209"/>
                  <a:gd name="T29" fmla="*/ 75 h 291"/>
                  <a:gd name="T30" fmla="*/ 152 w 209"/>
                  <a:gd name="T31" fmla="*/ 68 h 291"/>
                  <a:gd name="T32" fmla="*/ 165 w 209"/>
                  <a:gd name="T33" fmla="*/ 66 h 291"/>
                  <a:gd name="T34" fmla="*/ 181 w 209"/>
                  <a:gd name="T35" fmla="*/ 65 h 291"/>
                  <a:gd name="T36" fmla="*/ 180 w 209"/>
                  <a:gd name="T37" fmla="*/ 56 h 291"/>
                  <a:gd name="T38" fmla="*/ 180 w 209"/>
                  <a:gd name="T39" fmla="*/ 40 h 291"/>
                  <a:gd name="T40" fmla="*/ 175 w 209"/>
                  <a:gd name="T41" fmla="*/ 34 h 291"/>
                  <a:gd name="T42" fmla="*/ 159 w 209"/>
                  <a:gd name="T43" fmla="*/ 33 h 291"/>
                  <a:gd name="T44" fmla="*/ 126 w 209"/>
                  <a:gd name="T45" fmla="*/ 16 h 291"/>
                  <a:gd name="T46" fmla="*/ 109 w 209"/>
                  <a:gd name="T47" fmla="*/ 0 h 291"/>
                  <a:gd name="T48" fmla="*/ 106 w 209"/>
                  <a:gd name="T49" fmla="*/ 16 h 291"/>
                  <a:gd name="T50" fmla="*/ 93 w 209"/>
                  <a:gd name="T51" fmla="*/ 30 h 291"/>
                  <a:gd name="T52" fmla="*/ 84 w 209"/>
                  <a:gd name="T53" fmla="*/ 37 h 291"/>
                  <a:gd name="T54" fmla="*/ 55 w 209"/>
                  <a:gd name="T55" fmla="*/ 48 h 291"/>
                  <a:gd name="T56" fmla="*/ 44 w 209"/>
                  <a:gd name="T57" fmla="*/ 68 h 291"/>
                  <a:gd name="T58" fmla="*/ 29 w 209"/>
                  <a:gd name="T59" fmla="*/ 65 h 291"/>
                  <a:gd name="T60" fmla="*/ 17 w 209"/>
                  <a:gd name="T61" fmla="*/ 62 h 291"/>
                  <a:gd name="T62" fmla="*/ 19 w 209"/>
                  <a:gd name="T63" fmla="*/ 50 h 291"/>
                  <a:gd name="T64" fmla="*/ 15 w 209"/>
                  <a:gd name="T65" fmla="*/ 46 h 291"/>
                  <a:gd name="T66" fmla="*/ 0 w 209"/>
                  <a:gd name="T67" fmla="*/ 62 h 291"/>
                  <a:gd name="T68" fmla="*/ 6 w 209"/>
                  <a:gd name="T69" fmla="*/ 71 h 291"/>
                  <a:gd name="T70" fmla="*/ 3 w 209"/>
                  <a:gd name="T71" fmla="*/ 78 h 291"/>
                  <a:gd name="T72" fmla="*/ 12 w 209"/>
                  <a:gd name="T73" fmla="*/ 82 h 291"/>
                  <a:gd name="T74" fmla="*/ 28 w 209"/>
                  <a:gd name="T75" fmla="*/ 95 h 291"/>
                  <a:gd name="T76" fmla="*/ 30 w 209"/>
                  <a:gd name="T77" fmla="*/ 107 h 291"/>
                  <a:gd name="T78" fmla="*/ 44 w 209"/>
                  <a:gd name="T79" fmla="*/ 123 h 291"/>
                  <a:gd name="T80" fmla="*/ 65 w 209"/>
                  <a:gd name="T81" fmla="*/ 163 h 291"/>
                  <a:gd name="T82" fmla="*/ 77 w 209"/>
                  <a:gd name="T83" fmla="*/ 178 h 291"/>
                  <a:gd name="T84" fmla="*/ 78 w 209"/>
                  <a:gd name="T85" fmla="*/ 195 h 291"/>
                  <a:gd name="T86" fmla="*/ 87 w 209"/>
                  <a:gd name="T87" fmla="*/ 223 h 291"/>
                  <a:gd name="T88" fmla="*/ 101 w 209"/>
                  <a:gd name="T89" fmla="*/ 239 h 291"/>
                  <a:gd name="T90" fmla="*/ 122 w 209"/>
                  <a:gd name="T91" fmla="*/ 256 h 291"/>
                  <a:gd name="T92" fmla="*/ 159 w 209"/>
                  <a:gd name="T93" fmla="*/ 276 h 291"/>
                  <a:gd name="T94" fmla="*/ 175 w 209"/>
                  <a:gd name="T95" fmla="*/ 289 h 291"/>
                  <a:gd name="T96" fmla="*/ 194 w 209"/>
                  <a:gd name="T97" fmla="*/ 279 h 291"/>
                  <a:gd name="T98" fmla="*/ 209 w 209"/>
                  <a:gd name="T99" fmla="*/ 262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9" h="291">
                    <a:moveTo>
                      <a:pt x="209" y="259"/>
                    </a:moveTo>
                    <a:lnTo>
                      <a:pt x="209" y="259"/>
                    </a:lnTo>
                    <a:lnTo>
                      <a:pt x="206" y="259"/>
                    </a:lnTo>
                    <a:lnTo>
                      <a:pt x="203" y="259"/>
                    </a:lnTo>
                    <a:lnTo>
                      <a:pt x="203" y="259"/>
                    </a:lnTo>
                    <a:lnTo>
                      <a:pt x="197" y="259"/>
                    </a:lnTo>
                    <a:lnTo>
                      <a:pt x="194" y="258"/>
                    </a:lnTo>
                    <a:lnTo>
                      <a:pt x="190" y="253"/>
                    </a:lnTo>
                    <a:lnTo>
                      <a:pt x="190" y="253"/>
                    </a:lnTo>
                    <a:lnTo>
                      <a:pt x="184" y="247"/>
                    </a:lnTo>
                    <a:lnTo>
                      <a:pt x="184" y="245"/>
                    </a:lnTo>
                    <a:lnTo>
                      <a:pt x="185" y="242"/>
                    </a:lnTo>
                    <a:lnTo>
                      <a:pt x="185" y="242"/>
                    </a:lnTo>
                    <a:lnTo>
                      <a:pt x="191" y="240"/>
                    </a:lnTo>
                    <a:lnTo>
                      <a:pt x="191" y="240"/>
                    </a:lnTo>
                    <a:lnTo>
                      <a:pt x="188" y="233"/>
                    </a:lnTo>
                    <a:lnTo>
                      <a:pt x="188" y="230"/>
                    </a:lnTo>
                    <a:lnTo>
                      <a:pt x="190" y="229"/>
                    </a:lnTo>
                    <a:lnTo>
                      <a:pt x="190" y="229"/>
                    </a:lnTo>
                    <a:lnTo>
                      <a:pt x="191" y="221"/>
                    </a:lnTo>
                    <a:lnTo>
                      <a:pt x="193" y="210"/>
                    </a:lnTo>
                    <a:lnTo>
                      <a:pt x="194" y="198"/>
                    </a:lnTo>
                    <a:lnTo>
                      <a:pt x="196" y="191"/>
                    </a:lnTo>
                    <a:lnTo>
                      <a:pt x="196" y="191"/>
                    </a:lnTo>
                    <a:lnTo>
                      <a:pt x="196" y="187"/>
                    </a:lnTo>
                    <a:lnTo>
                      <a:pt x="196" y="179"/>
                    </a:lnTo>
                    <a:lnTo>
                      <a:pt x="193" y="162"/>
                    </a:lnTo>
                    <a:lnTo>
                      <a:pt x="193" y="162"/>
                    </a:lnTo>
                    <a:lnTo>
                      <a:pt x="183" y="162"/>
                    </a:lnTo>
                    <a:lnTo>
                      <a:pt x="180" y="162"/>
                    </a:lnTo>
                    <a:lnTo>
                      <a:pt x="178" y="161"/>
                    </a:lnTo>
                    <a:lnTo>
                      <a:pt x="178" y="161"/>
                    </a:lnTo>
                    <a:lnTo>
                      <a:pt x="177" y="155"/>
                    </a:lnTo>
                    <a:lnTo>
                      <a:pt x="177" y="146"/>
                    </a:lnTo>
                    <a:lnTo>
                      <a:pt x="177" y="139"/>
                    </a:lnTo>
                    <a:lnTo>
                      <a:pt x="175" y="136"/>
                    </a:lnTo>
                    <a:lnTo>
                      <a:pt x="175" y="136"/>
                    </a:lnTo>
                    <a:lnTo>
                      <a:pt x="172" y="136"/>
                    </a:lnTo>
                    <a:lnTo>
                      <a:pt x="167" y="139"/>
                    </a:lnTo>
                    <a:lnTo>
                      <a:pt x="161" y="142"/>
                    </a:lnTo>
                    <a:lnTo>
                      <a:pt x="155" y="143"/>
                    </a:lnTo>
                    <a:lnTo>
                      <a:pt x="155" y="143"/>
                    </a:lnTo>
                    <a:lnTo>
                      <a:pt x="148" y="142"/>
                    </a:lnTo>
                    <a:lnTo>
                      <a:pt x="139" y="139"/>
                    </a:lnTo>
                    <a:lnTo>
                      <a:pt x="130" y="134"/>
                    </a:lnTo>
                    <a:lnTo>
                      <a:pt x="128" y="132"/>
                    </a:lnTo>
                    <a:lnTo>
                      <a:pt x="125" y="129"/>
                    </a:lnTo>
                    <a:lnTo>
                      <a:pt x="125" y="129"/>
                    </a:lnTo>
                    <a:lnTo>
                      <a:pt x="120" y="111"/>
                    </a:lnTo>
                    <a:lnTo>
                      <a:pt x="117" y="103"/>
                    </a:lnTo>
                    <a:lnTo>
                      <a:pt x="117" y="98"/>
                    </a:lnTo>
                    <a:lnTo>
                      <a:pt x="117" y="98"/>
                    </a:lnTo>
                    <a:lnTo>
                      <a:pt x="120" y="95"/>
                    </a:lnTo>
                    <a:lnTo>
                      <a:pt x="128" y="91"/>
                    </a:lnTo>
                    <a:lnTo>
                      <a:pt x="133" y="87"/>
                    </a:lnTo>
                    <a:lnTo>
                      <a:pt x="136" y="85"/>
                    </a:lnTo>
                    <a:lnTo>
                      <a:pt x="136" y="84"/>
                    </a:lnTo>
                    <a:lnTo>
                      <a:pt x="136" y="84"/>
                    </a:lnTo>
                    <a:lnTo>
                      <a:pt x="138" y="79"/>
                    </a:lnTo>
                    <a:lnTo>
                      <a:pt x="139" y="75"/>
                    </a:lnTo>
                    <a:lnTo>
                      <a:pt x="143" y="71"/>
                    </a:lnTo>
                    <a:lnTo>
                      <a:pt x="148" y="68"/>
                    </a:lnTo>
                    <a:lnTo>
                      <a:pt x="148" y="68"/>
                    </a:lnTo>
                    <a:lnTo>
                      <a:pt x="152" y="68"/>
                    </a:lnTo>
                    <a:lnTo>
                      <a:pt x="157" y="68"/>
                    </a:lnTo>
                    <a:lnTo>
                      <a:pt x="161" y="68"/>
                    </a:lnTo>
                    <a:lnTo>
                      <a:pt x="165" y="66"/>
                    </a:lnTo>
                    <a:lnTo>
                      <a:pt x="165" y="66"/>
                    </a:lnTo>
                    <a:lnTo>
                      <a:pt x="170" y="65"/>
                    </a:lnTo>
                    <a:lnTo>
                      <a:pt x="175" y="65"/>
                    </a:lnTo>
                    <a:lnTo>
                      <a:pt x="180" y="65"/>
                    </a:lnTo>
                    <a:lnTo>
                      <a:pt x="181" y="65"/>
                    </a:lnTo>
                    <a:lnTo>
                      <a:pt x="181" y="63"/>
                    </a:lnTo>
                    <a:lnTo>
                      <a:pt x="181" y="63"/>
                    </a:lnTo>
                    <a:lnTo>
                      <a:pt x="181" y="59"/>
                    </a:lnTo>
                    <a:lnTo>
                      <a:pt x="180" y="56"/>
                    </a:lnTo>
                    <a:lnTo>
                      <a:pt x="178" y="52"/>
                    </a:lnTo>
                    <a:lnTo>
                      <a:pt x="178" y="49"/>
                    </a:lnTo>
                    <a:lnTo>
                      <a:pt x="178" y="49"/>
                    </a:lnTo>
                    <a:lnTo>
                      <a:pt x="180" y="40"/>
                    </a:lnTo>
                    <a:lnTo>
                      <a:pt x="180" y="36"/>
                    </a:lnTo>
                    <a:lnTo>
                      <a:pt x="178" y="34"/>
                    </a:lnTo>
                    <a:lnTo>
                      <a:pt x="178" y="34"/>
                    </a:lnTo>
                    <a:lnTo>
                      <a:pt x="175" y="34"/>
                    </a:lnTo>
                    <a:lnTo>
                      <a:pt x="172" y="36"/>
                    </a:lnTo>
                    <a:lnTo>
                      <a:pt x="167" y="36"/>
                    </a:lnTo>
                    <a:lnTo>
                      <a:pt x="159" y="33"/>
                    </a:lnTo>
                    <a:lnTo>
                      <a:pt x="159" y="33"/>
                    </a:lnTo>
                    <a:lnTo>
                      <a:pt x="142" y="26"/>
                    </a:lnTo>
                    <a:lnTo>
                      <a:pt x="133" y="21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17" y="6"/>
                    </a:lnTo>
                    <a:lnTo>
                      <a:pt x="113" y="1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07" y="10"/>
                    </a:lnTo>
                    <a:lnTo>
                      <a:pt x="106" y="16"/>
                    </a:lnTo>
                    <a:lnTo>
                      <a:pt x="106" y="16"/>
                    </a:lnTo>
                    <a:lnTo>
                      <a:pt x="103" y="21"/>
                    </a:lnTo>
                    <a:lnTo>
                      <a:pt x="99" y="26"/>
                    </a:lnTo>
                    <a:lnTo>
                      <a:pt x="93" y="30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87" y="36"/>
                    </a:lnTo>
                    <a:lnTo>
                      <a:pt x="84" y="37"/>
                    </a:lnTo>
                    <a:lnTo>
                      <a:pt x="75" y="42"/>
                    </a:lnTo>
                    <a:lnTo>
                      <a:pt x="58" y="46"/>
                    </a:lnTo>
                    <a:lnTo>
                      <a:pt x="58" y="46"/>
                    </a:lnTo>
                    <a:lnTo>
                      <a:pt x="55" y="48"/>
                    </a:lnTo>
                    <a:lnTo>
                      <a:pt x="52" y="50"/>
                    </a:lnTo>
                    <a:lnTo>
                      <a:pt x="49" y="58"/>
                    </a:lnTo>
                    <a:lnTo>
                      <a:pt x="45" y="65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39" y="68"/>
                    </a:lnTo>
                    <a:lnTo>
                      <a:pt x="33" y="68"/>
                    </a:lnTo>
                    <a:lnTo>
                      <a:pt x="29" y="65"/>
                    </a:lnTo>
                    <a:lnTo>
                      <a:pt x="25" y="63"/>
                    </a:lnTo>
                    <a:lnTo>
                      <a:pt x="25" y="63"/>
                    </a:lnTo>
                    <a:lnTo>
                      <a:pt x="22" y="62"/>
                    </a:lnTo>
                    <a:lnTo>
                      <a:pt x="17" y="62"/>
                    </a:lnTo>
                    <a:lnTo>
                      <a:pt x="13" y="62"/>
                    </a:lnTo>
                    <a:lnTo>
                      <a:pt x="13" y="62"/>
                    </a:lnTo>
                    <a:lnTo>
                      <a:pt x="15" y="58"/>
                    </a:lnTo>
                    <a:lnTo>
                      <a:pt x="19" y="50"/>
                    </a:lnTo>
                    <a:lnTo>
                      <a:pt x="19" y="50"/>
                    </a:lnTo>
                    <a:lnTo>
                      <a:pt x="17" y="49"/>
                    </a:lnTo>
                    <a:lnTo>
                      <a:pt x="15" y="46"/>
                    </a:lnTo>
                    <a:lnTo>
                      <a:pt x="15" y="46"/>
                    </a:lnTo>
                    <a:lnTo>
                      <a:pt x="10" y="49"/>
                    </a:lnTo>
                    <a:lnTo>
                      <a:pt x="4" y="55"/>
                    </a:lnTo>
                    <a:lnTo>
                      <a:pt x="4" y="55"/>
                    </a:lnTo>
                    <a:lnTo>
                      <a:pt x="0" y="62"/>
                    </a:lnTo>
                    <a:lnTo>
                      <a:pt x="0" y="63"/>
                    </a:lnTo>
                    <a:lnTo>
                      <a:pt x="2" y="66"/>
                    </a:lnTo>
                    <a:lnTo>
                      <a:pt x="2" y="66"/>
                    </a:lnTo>
                    <a:lnTo>
                      <a:pt x="6" y="71"/>
                    </a:lnTo>
                    <a:lnTo>
                      <a:pt x="7" y="72"/>
                    </a:lnTo>
                    <a:lnTo>
                      <a:pt x="6" y="74"/>
                    </a:lnTo>
                    <a:lnTo>
                      <a:pt x="6" y="74"/>
                    </a:lnTo>
                    <a:lnTo>
                      <a:pt x="3" y="78"/>
                    </a:lnTo>
                    <a:lnTo>
                      <a:pt x="3" y="79"/>
                    </a:lnTo>
                    <a:lnTo>
                      <a:pt x="6" y="81"/>
                    </a:lnTo>
                    <a:lnTo>
                      <a:pt x="6" y="81"/>
                    </a:lnTo>
                    <a:lnTo>
                      <a:pt x="12" y="82"/>
                    </a:lnTo>
                    <a:lnTo>
                      <a:pt x="17" y="87"/>
                    </a:lnTo>
                    <a:lnTo>
                      <a:pt x="25" y="91"/>
                    </a:lnTo>
                    <a:lnTo>
                      <a:pt x="28" y="95"/>
                    </a:lnTo>
                    <a:lnTo>
                      <a:pt x="28" y="95"/>
                    </a:lnTo>
                    <a:lnTo>
                      <a:pt x="29" y="98"/>
                    </a:lnTo>
                    <a:lnTo>
                      <a:pt x="29" y="101"/>
                    </a:lnTo>
                    <a:lnTo>
                      <a:pt x="29" y="103"/>
                    </a:lnTo>
                    <a:lnTo>
                      <a:pt x="30" y="107"/>
                    </a:lnTo>
                    <a:lnTo>
                      <a:pt x="30" y="107"/>
                    </a:lnTo>
                    <a:lnTo>
                      <a:pt x="39" y="116"/>
                    </a:lnTo>
                    <a:lnTo>
                      <a:pt x="42" y="120"/>
                    </a:lnTo>
                    <a:lnTo>
                      <a:pt x="44" y="123"/>
                    </a:lnTo>
                    <a:lnTo>
                      <a:pt x="44" y="123"/>
                    </a:lnTo>
                    <a:lnTo>
                      <a:pt x="48" y="130"/>
                    </a:lnTo>
                    <a:lnTo>
                      <a:pt x="54" y="143"/>
                    </a:lnTo>
                    <a:lnTo>
                      <a:pt x="65" y="163"/>
                    </a:lnTo>
                    <a:lnTo>
                      <a:pt x="65" y="163"/>
                    </a:lnTo>
                    <a:lnTo>
                      <a:pt x="68" y="168"/>
                    </a:lnTo>
                    <a:lnTo>
                      <a:pt x="73" y="174"/>
                    </a:lnTo>
                    <a:lnTo>
                      <a:pt x="77" y="178"/>
                    </a:lnTo>
                    <a:lnTo>
                      <a:pt x="78" y="181"/>
                    </a:lnTo>
                    <a:lnTo>
                      <a:pt x="78" y="184"/>
                    </a:lnTo>
                    <a:lnTo>
                      <a:pt x="78" y="184"/>
                    </a:lnTo>
                    <a:lnTo>
                      <a:pt x="78" y="195"/>
                    </a:lnTo>
                    <a:lnTo>
                      <a:pt x="80" y="201"/>
                    </a:lnTo>
                    <a:lnTo>
                      <a:pt x="81" y="208"/>
                    </a:lnTo>
                    <a:lnTo>
                      <a:pt x="81" y="208"/>
                    </a:lnTo>
                    <a:lnTo>
                      <a:pt x="87" y="223"/>
                    </a:lnTo>
                    <a:lnTo>
                      <a:pt x="90" y="229"/>
                    </a:lnTo>
                    <a:lnTo>
                      <a:pt x="93" y="231"/>
                    </a:lnTo>
                    <a:lnTo>
                      <a:pt x="93" y="231"/>
                    </a:lnTo>
                    <a:lnTo>
                      <a:pt x="101" y="239"/>
                    </a:lnTo>
                    <a:lnTo>
                      <a:pt x="110" y="247"/>
                    </a:lnTo>
                    <a:lnTo>
                      <a:pt x="110" y="247"/>
                    </a:lnTo>
                    <a:lnTo>
                      <a:pt x="115" y="252"/>
                    </a:lnTo>
                    <a:lnTo>
                      <a:pt x="122" y="256"/>
                    </a:lnTo>
                    <a:lnTo>
                      <a:pt x="135" y="262"/>
                    </a:lnTo>
                    <a:lnTo>
                      <a:pt x="135" y="262"/>
                    </a:lnTo>
                    <a:lnTo>
                      <a:pt x="148" y="268"/>
                    </a:lnTo>
                    <a:lnTo>
                      <a:pt x="159" y="276"/>
                    </a:lnTo>
                    <a:lnTo>
                      <a:pt x="159" y="276"/>
                    </a:lnTo>
                    <a:lnTo>
                      <a:pt x="168" y="282"/>
                    </a:lnTo>
                    <a:lnTo>
                      <a:pt x="172" y="287"/>
                    </a:lnTo>
                    <a:lnTo>
                      <a:pt x="175" y="289"/>
                    </a:lnTo>
                    <a:lnTo>
                      <a:pt x="175" y="291"/>
                    </a:lnTo>
                    <a:lnTo>
                      <a:pt x="175" y="291"/>
                    </a:lnTo>
                    <a:lnTo>
                      <a:pt x="187" y="282"/>
                    </a:lnTo>
                    <a:lnTo>
                      <a:pt x="194" y="279"/>
                    </a:lnTo>
                    <a:lnTo>
                      <a:pt x="194" y="279"/>
                    </a:lnTo>
                    <a:lnTo>
                      <a:pt x="201" y="271"/>
                    </a:lnTo>
                    <a:lnTo>
                      <a:pt x="207" y="265"/>
                    </a:lnTo>
                    <a:lnTo>
                      <a:pt x="209" y="262"/>
                    </a:lnTo>
                    <a:lnTo>
                      <a:pt x="209" y="25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1" name="Freeform 664"/>
              <p:cNvSpPr>
                <a:spLocks/>
              </p:cNvSpPr>
              <p:nvPr/>
            </p:nvSpPr>
            <p:spPr bwMode="auto">
              <a:xfrm>
                <a:off x="3118777" y="3305267"/>
                <a:ext cx="93980" cy="90023"/>
              </a:xfrm>
              <a:custGeom>
                <a:avLst/>
                <a:gdLst>
                  <a:gd name="T0" fmla="*/ 7 w 95"/>
                  <a:gd name="T1" fmla="*/ 73 h 91"/>
                  <a:gd name="T2" fmla="*/ 1 w 95"/>
                  <a:gd name="T3" fmla="*/ 85 h 91"/>
                  <a:gd name="T4" fmla="*/ 5 w 95"/>
                  <a:gd name="T5" fmla="*/ 85 h 91"/>
                  <a:gd name="T6" fmla="*/ 13 w 95"/>
                  <a:gd name="T7" fmla="*/ 86 h 91"/>
                  <a:gd name="T8" fmla="*/ 17 w 95"/>
                  <a:gd name="T9" fmla="*/ 88 h 91"/>
                  <a:gd name="T10" fmla="*/ 27 w 95"/>
                  <a:gd name="T11" fmla="*/ 91 h 91"/>
                  <a:gd name="T12" fmla="*/ 32 w 95"/>
                  <a:gd name="T13" fmla="*/ 91 h 91"/>
                  <a:gd name="T14" fmla="*/ 37 w 95"/>
                  <a:gd name="T15" fmla="*/ 81 h 91"/>
                  <a:gd name="T16" fmla="*/ 43 w 95"/>
                  <a:gd name="T17" fmla="*/ 71 h 91"/>
                  <a:gd name="T18" fmla="*/ 46 w 95"/>
                  <a:gd name="T19" fmla="*/ 69 h 91"/>
                  <a:gd name="T20" fmla="*/ 72 w 95"/>
                  <a:gd name="T21" fmla="*/ 60 h 91"/>
                  <a:gd name="T22" fmla="*/ 78 w 95"/>
                  <a:gd name="T23" fmla="*/ 57 h 91"/>
                  <a:gd name="T24" fmla="*/ 81 w 95"/>
                  <a:gd name="T25" fmla="*/ 53 h 91"/>
                  <a:gd name="T26" fmla="*/ 91 w 95"/>
                  <a:gd name="T27" fmla="*/ 44 h 91"/>
                  <a:gd name="T28" fmla="*/ 94 w 95"/>
                  <a:gd name="T29" fmla="*/ 39 h 91"/>
                  <a:gd name="T30" fmla="*/ 94 w 95"/>
                  <a:gd name="T31" fmla="*/ 23 h 91"/>
                  <a:gd name="T32" fmla="*/ 81 w 95"/>
                  <a:gd name="T33" fmla="*/ 20 h 91"/>
                  <a:gd name="T34" fmla="*/ 69 w 95"/>
                  <a:gd name="T35" fmla="*/ 15 h 91"/>
                  <a:gd name="T36" fmla="*/ 45 w 95"/>
                  <a:gd name="T37" fmla="*/ 2 h 91"/>
                  <a:gd name="T38" fmla="*/ 33 w 95"/>
                  <a:gd name="T39" fmla="*/ 0 h 91"/>
                  <a:gd name="T40" fmla="*/ 24 w 95"/>
                  <a:gd name="T41" fmla="*/ 7 h 91"/>
                  <a:gd name="T42" fmla="*/ 18 w 95"/>
                  <a:gd name="T43" fmla="*/ 11 h 91"/>
                  <a:gd name="T44" fmla="*/ 13 w 95"/>
                  <a:gd name="T45" fmla="*/ 18 h 91"/>
                  <a:gd name="T46" fmla="*/ 13 w 95"/>
                  <a:gd name="T47" fmla="*/ 24 h 91"/>
                  <a:gd name="T48" fmla="*/ 8 w 95"/>
                  <a:gd name="T49" fmla="*/ 27 h 91"/>
                  <a:gd name="T50" fmla="*/ 3 w 95"/>
                  <a:gd name="T51" fmla="*/ 33 h 91"/>
                  <a:gd name="T52" fmla="*/ 1 w 95"/>
                  <a:gd name="T53" fmla="*/ 39 h 91"/>
                  <a:gd name="T54" fmla="*/ 0 w 95"/>
                  <a:gd name="T55" fmla="*/ 50 h 91"/>
                  <a:gd name="T56" fmla="*/ 3 w 95"/>
                  <a:gd name="T57" fmla="*/ 60 h 91"/>
                  <a:gd name="T58" fmla="*/ 5 w 95"/>
                  <a:gd name="T59" fmla="*/ 63 h 91"/>
                  <a:gd name="T60" fmla="*/ 4 w 95"/>
                  <a:gd name="T61" fmla="*/ 68 h 91"/>
                  <a:gd name="T62" fmla="*/ 3 w 95"/>
                  <a:gd name="T63" fmla="*/ 69 h 91"/>
                  <a:gd name="T64" fmla="*/ 5 w 95"/>
                  <a:gd name="T65" fmla="*/ 72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5" h="91">
                    <a:moveTo>
                      <a:pt x="7" y="73"/>
                    </a:moveTo>
                    <a:lnTo>
                      <a:pt x="7" y="73"/>
                    </a:lnTo>
                    <a:lnTo>
                      <a:pt x="3" y="81"/>
                    </a:lnTo>
                    <a:lnTo>
                      <a:pt x="1" y="85"/>
                    </a:lnTo>
                    <a:lnTo>
                      <a:pt x="1" y="85"/>
                    </a:lnTo>
                    <a:lnTo>
                      <a:pt x="5" y="85"/>
                    </a:lnTo>
                    <a:lnTo>
                      <a:pt x="10" y="85"/>
                    </a:lnTo>
                    <a:lnTo>
                      <a:pt x="13" y="86"/>
                    </a:lnTo>
                    <a:lnTo>
                      <a:pt x="13" y="86"/>
                    </a:lnTo>
                    <a:lnTo>
                      <a:pt x="17" y="88"/>
                    </a:lnTo>
                    <a:lnTo>
                      <a:pt x="21" y="91"/>
                    </a:lnTo>
                    <a:lnTo>
                      <a:pt x="27" y="91"/>
                    </a:lnTo>
                    <a:lnTo>
                      <a:pt x="32" y="91"/>
                    </a:lnTo>
                    <a:lnTo>
                      <a:pt x="32" y="91"/>
                    </a:lnTo>
                    <a:lnTo>
                      <a:pt x="33" y="88"/>
                    </a:lnTo>
                    <a:lnTo>
                      <a:pt x="37" y="81"/>
                    </a:lnTo>
                    <a:lnTo>
                      <a:pt x="40" y="73"/>
                    </a:lnTo>
                    <a:lnTo>
                      <a:pt x="43" y="71"/>
                    </a:lnTo>
                    <a:lnTo>
                      <a:pt x="46" y="69"/>
                    </a:lnTo>
                    <a:lnTo>
                      <a:pt x="46" y="69"/>
                    </a:lnTo>
                    <a:lnTo>
                      <a:pt x="63" y="65"/>
                    </a:lnTo>
                    <a:lnTo>
                      <a:pt x="72" y="60"/>
                    </a:lnTo>
                    <a:lnTo>
                      <a:pt x="75" y="59"/>
                    </a:lnTo>
                    <a:lnTo>
                      <a:pt x="78" y="57"/>
                    </a:lnTo>
                    <a:lnTo>
                      <a:pt x="78" y="57"/>
                    </a:lnTo>
                    <a:lnTo>
                      <a:pt x="81" y="53"/>
                    </a:lnTo>
                    <a:lnTo>
                      <a:pt x="87" y="49"/>
                    </a:lnTo>
                    <a:lnTo>
                      <a:pt x="91" y="44"/>
                    </a:lnTo>
                    <a:lnTo>
                      <a:pt x="94" y="39"/>
                    </a:lnTo>
                    <a:lnTo>
                      <a:pt x="94" y="39"/>
                    </a:lnTo>
                    <a:lnTo>
                      <a:pt x="95" y="33"/>
                    </a:lnTo>
                    <a:lnTo>
                      <a:pt x="94" y="23"/>
                    </a:lnTo>
                    <a:lnTo>
                      <a:pt x="94" y="23"/>
                    </a:lnTo>
                    <a:lnTo>
                      <a:pt x="81" y="20"/>
                    </a:lnTo>
                    <a:lnTo>
                      <a:pt x="69" y="15"/>
                    </a:lnTo>
                    <a:lnTo>
                      <a:pt x="69" y="15"/>
                    </a:lnTo>
                    <a:lnTo>
                      <a:pt x="55" y="8"/>
                    </a:lnTo>
                    <a:lnTo>
                      <a:pt x="45" y="2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29" y="4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18" y="11"/>
                    </a:lnTo>
                    <a:lnTo>
                      <a:pt x="16" y="14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24"/>
                    </a:lnTo>
                    <a:lnTo>
                      <a:pt x="11" y="26"/>
                    </a:lnTo>
                    <a:lnTo>
                      <a:pt x="8" y="27"/>
                    </a:lnTo>
                    <a:lnTo>
                      <a:pt x="8" y="27"/>
                    </a:lnTo>
                    <a:lnTo>
                      <a:pt x="3" y="33"/>
                    </a:lnTo>
                    <a:lnTo>
                      <a:pt x="1" y="36"/>
                    </a:lnTo>
                    <a:lnTo>
                      <a:pt x="1" y="39"/>
                    </a:lnTo>
                    <a:lnTo>
                      <a:pt x="1" y="39"/>
                    </a:lnTo>
                    <a:lnTo>
                      <a:pt x="0" y="50"/>
                    </a:lnTo>
                    <a:lnTo>
                      <a:pt x="1" y="56"/>
                    </a:lnTo>
                    <a:lnTo>
                      <a:pt x="3" y="60"/>
                    </a:lnTo>
                    <a:lnTo>
                      <a:pt x="3" y="60"/>
                    </a:lnTo>
                    <a:lnTo>
                      <a:pt x="5" y="63"/>
                    </a:lnTo>
                    <a:lnTo>
                      <a:pt x="5" y="65"/>
                    </a:lnTo>
                    <a:lnTo>
                      <a:pt x="4" y="68"/>
                    </a:lnTo>
                    <a:lnTo>
                      <a:pt x="4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5" y="72"/>
                    </a:lnTo>
                    <a:lnTo>
                      <a:pt x="7" y="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2" name="Freeform 665"/>
              <p:cNvSpPr>
                <a:spLocks/>
              </p:cNvSpPr>
              <p:nvPr/>
            </p:nvSpPr>
            <p:spPr bwMode="auto">
              <a:xfrm>
                <a:off x="3118777" y="3305267"/>
                <a:ext cx="93980" cy="90023"/>
              </a:xfrm>
              <a:custGeom>
                <a:avLst/>
                <a:gdLst>
                  <a:gd name="T0" fmla="*/ 7 w 95"/>
                  <a:gd name="T1" fmla="*/ 73 h 91"/>
                  <a:gd name="T2" fmla="*/ 1 w 95"/>
                  <a:gd name="T3" fmla="*/ 85 h 91"/>
                  <a:gd name="T4" fmla="*/ 5 w 95"/>
                  <a:gd name="T5" fmla="*/ 85 h 91"/>
                  <a:gd name="T6" fmla="*/ 13 w 95"/>
                  <a:gd name="T7" fmla="*/ 86 h 91"/>
                  <a:gd name="T8" fmla="*/ 17 w 95"/>
                  <a:gd name="T9" fmla="*/ 88 h 91"/>
                  <a:gd name="T10" fmla="*/ 27 w 95"/>
                  <a:gd name="T11" fmla="*/ 91 h 91"/>
                  <a:gd name="T12" fmla="*/ 32 w 95"/>
                  <a:gd name="T13" fmla="*/ 91 h 91"/>
                  <a:gd name="T14" fmla="*/ 37 w 95"/>
                  <a:gd name="T15" fmla="*/ 81 h 91"/>
                  <a:gd name="T16" fmla="*/ 43 w 95"/>
                  <a:gd name="T17" fmla="*/ 71 h 91"/>
                  <a:gd name="T18" fmla="*/ 46 w 95"/>
                  <a:gd name="T19" fmla="*/ 69 h 91"/>
                  <a:gd name="T20" fmla="*/ 72 w 95"/>
                  <a:gd name="T21" fmla="*/ 60 h 91"/>
                  <a:gd name="T22" fmla="*/ 78 w 95"/>
                  <a:gd name="T23" fmla="*/ 57 h 91"/>
                  <a:gd name="T24" fmla="*/ 81 w 95"/>
                  <a:gd name="T25" fmla="*/ 53 h 91"/>
                  <a:gd name="T26" fmla="*/ 91 w 95"/>
                  <a:gd name="T27" fmla="*/ 44 h 91"/>
                  <a:gd name="T28" fmla="*/ 94 w 95"/>
                  <a:gd name="T29" fmla="*/ 39 h 91"/>
                  <a:gd name="T30" fmla="*/ 94 w 95"/>
                  <a:gd name="T31" fmla="*/ 23 h 91"/>
                  <a:gd name="T32" fmla="*/ 81 w 95"/>
                  <a:gd name="T33" fmla="*/ 20 h 91"/>
                  <a:gd name="T34" fmla="*/ 69 w 95"/>
                  <a:gd name="T35" fmla="*/ 15 h 91"/>
                  <a:gd name="T36" fmla="*/ 45 w 95"/>
                  <a:gd name="T37" fmla="*/ 2 h 91"/>
                  <a:gd name="T38" fmla="*/ 33 w 95"/>
                  <a:gd name="T39" fmla="*/ 0 h 91"/>
                  <a:gd name="T40" fmla="*/ 24 w 95"/>
                  <a:gd name="T41" fmla="*/ 7 h 91"/>
                  <a:gd name="T42" fmla="*/ 18 w 95"/>
                  <a:gd name="T43" fmla="*/ 11 h 91"/>
                  <a:gd name="T44" fmla="*/ 13 w 95"/>
                  <a:gd name="T45" fmla="*/ 18 h 91"/>
                  <a:gd name="T46" fmla="*/ 13 w 95"/>
                  <a:gd name="T47" fmla="*/ 24 h 91"/>
                  <a:gd name="T48" fmla="*/ 8 w 95"/>
                  <a:gd name="T49" fmla="*/ 27 h 91"/>
                  <a:gd name="T50" fmla="*/ 3 w 95"/>
                  <a:gd name="T51" fmla="*/ 33 h 91"/>
                  <a:gd name="T52" fmla="*/ 1 w 95"/>
                  <a:gd name="T53" fmla="*/ 39 h 91"/>
                  <a:gd name="T54" fmla="*/ 0 w 95"/>
                  <a:gd name="T55" fmla="*/ 50 h 91"/>
                  <a:gd name="T56" fmla="*/ 3 w 95"/>
                  <a:gd name="T57" fmla="*/ 60 h 91"/>
                  <a:gd name="T58" fmla="*/ 5 w 95"/>
                  <a:gd name="T59" fmla="*/ 63 h 91"/>
                  <a:gd name="T60" fmla="*/ 4 w 95"/>
                  <a:gd name="T61" fmla="*/ 68 h 91"/>
                  <a:gd name="T62" fmla="*/ 3 w 95"/>
                  <a:gd name="T63" fmla="*/ 69 h 91"/>
                  <a:gd name="T64" fmla="*/ 5 w 95"/>
                  <a:gd name="T65" fmla="*/ 72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5" h="91">
                    <a:moveTo>
                      <a:pt x="7" y="73"/>
                    </a:moveTo>
                    <a:lnTo>
                      <a:pt x="7" y="73"/>
                    </a:lnTo>
                    <a:lnTo>
                      <a:pt x="3" y="81"/>
                    </a:lnTo>
                    <a:lnTo>
                      <a:pt x="1" y="85"/>
                    </a:lnTo>
                    <a:lnTo>
                      <a:pt x="1" y="85"/>
                    </a:lnTo>
                    <a:lnTo>
                      <a:pt x="5" y="85"/>
                    </a:lnTo>
                    <a:lnTo>
                      <a:pt x="10" y="85"/>
                    </a:lnTo>
                    <a:lnTo>
                      <a:pt x="13" y="86"/>
                    </a:lnTo>
                    <a:lnTo>
                      <a:pt x="13" y="86"/>
                    </a:lnTo>
                    <a:lnTo>
                      <a:pt x="17" y="88"/>
                    </a:lnTo>
                    <a:lnTo>
                      <a:pt x="21" y="91"/>
                    </a:lnTo>
                    <a:lnTo>
                      <a:pt x="27" y="91"/>
                    </a:lnTo>
                    <a:lnTo>
                      <a:pt x="32" y="91"/>
                    </a:lnTo>
                    <a:lnTo>
                      <a:pt x="32" y="91"/>
                    </a:lnTo>
                    <a:lnTo>
                      <a:pt x="33" y="88"/>
                    </a:lnTo>
                    <a:lnTo>
                      <a:pt x="37" y="81"/>
                    </a:lnTo>
                    <a:lnTo>
                      <a:pt x="40" y="73"/>
                    </a:lnTo>
                    <a:lnTo>
                      <a:pt x="43" y="71"/>
                    </a:lnTo>
                    <a:lnTo>
                      <a:pt x="46" y="69"/>
                    </a:lnTo>
                    <a:lnTo>
                      <a:pt x="46" y="69"/>
                    </a:lnTo>
                    <a:lnTo>
                      <a:pt x="63" y="65"/>
                    </a:lnTo>
                    <a:lnTo>
                      <a:pt x="72" y="60"/>
                    </a:lnTo>
                    <a:lnTo>
                      <a:pt x="75" y="59"/>
                    </a:lnTo>
                    <a:lnTo>
                      <a:pt x="78" y="57"/>
                    </a:lnTo>
                    <a:lnTo>
                      <a:pt x="78" y="57"/>
                    </a:lnTo>
                    <a:lnTo>
                      <a:pt x="81" y="53"/>
                    </a:lnTo>
                    <a:lnTo>
                      <a:pt x="87" y="49"/>
                    </a:lnTo>
                    <a:lnTo>
                      <a:pt x="91" y="44"/>
                    </a:lnTo>
                    <a:lnTo>
                      <a:pt x="94" y="39"/>
                    </a:lnTo>
                    <a:lnTo>
                      <a:pt x="94" y="39"/>
                    </a:lnTo>
                    <a:lnTo>
                      <a:pt x="95" y="33"/>
                    </a:lnTo>
                    <a:lnTo>
                      <a:pt x="94" y="23"/>
                    </a:lnTo>
                    <a:lnTo>
                      <a:pt x="94" y="23"/>
                    </a:lnTo>
                    <a:lnTo>
                      <a:pt x="81" y="20"/>
                    </a:lnTo>
                    <a:lnTo>
                      <a:pt x="69" y="15"/>
                    </a:lnTo>
                    <a:lnTo>
                      <a:pt x="69" y="15"/>
                    </a:lnTo>
                    <a:lnTo>
                      <a:pt x="55" y="8"/>
                    </a:lnTo>
                    <a:lnTo>
                      <a:pt x="45" y="2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29" y="4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18" y="11"/>
                    </a:lnTo>
                    <a:lnTo>
                      <a:pt x="16" y="14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24"/>
                    </a:lnTo>
                    <a:lnTo>
                      <a:pt x="11" y="26"/>
                    </a:lnTo>
                    <a:lnTo>
                      <a:pt x="8" y="27"/>
                    </a:lnTo>
                    <a:lnTo>
                      <a:pt x="8" y="27"/>
                    </a:lnTo>
                    <a:lnTo>
                      <a:pt x="3" y="33"/>
                    </a:lnTo>
                    <a:lnTo>
                      <a:pt x="1" y="36"/>
                    </a:lnTo>
                    <a:lnTo>
                      <a:pt x="1" y="39"/>
                    </a:lnTo>
                    <a:lnTo>
                      <a:pt x="1" y="39"/>
                    </a:lnTo>
                    <a:lnTo>
                      <a:pt x="0" y="50"/>
                    </a:lnTo>
                    <a:lnTo>
                      <a:pt x="1" y="56"/>
                    </a:lnTo>
                    <a:lnTo>
                      <a:pt x="3" y="60"/>
                    </a:lnTo>
                    <a:lnTo>
                      <a:pt x="3" y="60"/>
                    </a:lnTo>
                    <a:lnTo>
                      <a:pt x="5" y="63"/>
                    </a:lnTo>
                    <a:lnTo>
                      <a:pt x="5" y="65"/>
                    </a:lnTo>
                    <a:lnTo>
                      <a:pt x="4" y="68"/>
                    </a:lnTo>
                    <a:lnTo>
                      <a:pt x="4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5" y="72"/>
                    </a:lnTo>
                    <a:lnTo>
                      <a:pt x="7" y="7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3" name="Freeform 666"/>
              <p:cNvSpPr>
                <a:spLocks/>
              </p:cNvSpPr>
              <p:nvPr/>
            </p:nvSpPr>
            <p:spPr bwMode="auto">
              <a:xfrm>
                <a:off x="3234520" y="3670304"/>
                <a:ext cx="315574" cy="622244"/>
              </a:xfrm>
              <a:custGeom>
                <a:avLst/>
                <a:gdLst>
                  <a:gd name="T0" fmla="*/ 291 w 319"/>
                  <a:gd name="T1" fmla="*/ 85 h 629"/>
                  <a:gd name="T2" fmla="*/ 282 w 319"/>
                  <a:gd name="T3" fmla="*/ 96 h 629"/>
                  <a:gd name="T4" fmla="*/ 269 w 319"/>
                  <a:gd name="T5" fmla="*/ 94 h 629"/>
                  <a:gd name="T6" fmla="*/ 246 w 319"/>
                  <a:gd name="T7" fmla="*/ 80 h 629"/>
                  <a:gd name="T8" fmla="*/ 242 w 319"/>
                  <a:gd name="T9" fmla="*/ 49 h 629"/>
                  <a:gd name="T10" fmla="*/ 206 w 319"/>
                  <a:gd name="T11" fmla="*/ 14 h 629"/>
                  <a:gd name="T12" fmla="*/ 194 w 319"/>
                  <a:gd name="T13" fmla="*/ 14 h 629"/>
                  <a:gd name="T14" fmla="*/ 174 w 319"/>
                  <a:gd name="T15" fmla="*/ 1 h 629"/>
                  <a:gd name="T16" fmla="*/ 151 w 319"/>
                  <a:gd name="T17" fmla="*/ 9 h 629"/>
                  <a:gd name="T18" fmla="*/ 116 w 319"/>
                  <a:gd name="T19" fmla="*/ 9 h 629"/>
                  <a:gd name="T20" fmla="*/ 103 w 319"/>
                  <a:gd name="T21" fmla="*/ 23 h 629"/>
                  <a:gd name="T22" fmla="*/ 80 w 319"/>
                  <a:gd name="T23" fmla="*/ 54 h 629"/>
                  <a:gd name="T24" fmla="*/ 72 w 319"/>
                  <a:gd name="T25" fmla="*/ 85 h 629"/>
                  <a:gd name="T26" fmla="*/ 52 w 319"/>
                  <a:gd name="T27" fmla="*/ 191 h 629"/>
                  <a:gd name="T28" fmla="*/ 54 w 319"/>
                  <a:gd name="T29" fmla="*/ 235 h 629"/>
                  <a:gd name="T30" fmla="*/ 48 w 319"/>
                  <a:gd name="T31" fmla="*/ 264 h 629"/>
                  <a:gd name="T32" fmla="*/ 38 w 319"/>
                  <a:gd name="T33" fmla="*/ 310 h 629"/>
                  <a:gd name="T34" fmla="*/ 30 w 319"/>
                  <a:gd name="T35" fmla="*/ 340 h 629"/>
                  <a:gd name="T36" fmla="*/ 23 w 319"/>
                  <a:gd name="T37" fmla="*/ 388 h 629"/>
                  <a:gd name="T38" fmla="*/ 30 w 319"/>
                  <a:gd name="T39" fmla="*/ 416 h 629"/>
                  <a:gd name="T40" fmla="*/ 25 w 319"/>
                  <a:gd name="T41" fmla="*/ 429 h 629"/>
                  <a:gd name="T42" fmla="*/ 38 w 319"/>
                  <a:gd name="T43" fmla="*/ 442 h 629"/>
                  <a:gd name="T44" fmla="*/ 33 w 319"/>
                  <a:gd name="T45" fmla="*/ 452 h 629"/>
                  <a:gd name="T46" fmla="*/ 26 w 319"/>
                  <a:gd name="T47" fmla="*/ 465 h 629"/>
                  <a:gd name="T48" fmla="*/ 28 w 319"/>
                  <a:gd name="T49" fmla="*/ 501 h 629"/>
                  <a:gd name="T50" fmla="*/ 19 w 319"/>
                  <a:gd name="T51" fmla="*/ 531 h 629"/>
                  <a:gd name="T52" fmla="*/ 0 w 319"/>
                  <a:gd name="T53" fmla="*/ 566 h 629"/>
                  <a:gd name="T54" fmla="*/ 9 w 319"/>
                  <a:gd name="T55" fmla="*/ 589 h 629"/>
                  <a:gd name="T56" fmla="*/ 20 w 319"/>
                  <a:gd name="T57" fmla="*/ 589 h 629"/>
                  <a:gd name="T58" fmla="*/ 25 w 319"/>
                  <a:gd name="T59" fmla="*/ 618 h 629"/>
                  <a:gd name="T60" fmla="*/ 70 w 319"/>
                  <a:gd name="T61" fmla="*/ 624 h 629"/>
                  <a:gd name="T62" fmla="*/ 77 w 319"/>
                  <a:gd name="T63" fmla="*/ 627 h 629"/>
                  <a:gd name="T64" fmla="*/ 77 w 319"/>
                  <a:gd name="T65" fmla="*/ 617 h 629"/>
                  <a:gd name="T66" fmla="*/ 71 w 319"/>
                  <a:gd name="T67" fmla="*/ 594 h 629"/>
                  <a:gd name="T68" fmla="*/ 80 w 319"/>
                  <a:gd name="T69" fmla="*/ 589 h 629"/>
                  <a:gd name="T70" fmla="*/ 78 w 319"/>
                  <a:gd name="T71" fmla="*/ 581 h 629"/>
                  <a:gd name="T72" fmla="*/ 90 w 319"/>
                  <a:gd name="T73" fmla="*/ 579 h 629"/>
                  <a:gd name="T74" fmla="*/ 98 w 319"/>
                  <a:gd name="T75" fmla="*/ 559 h 629"/>
                  <a:gd name="T76" fmla="*/ 106 w 319"/>
                  <a:gd name="T77" fmla="*/ 534 h 629"/>
                  <a:gd name="T78" fmla="*/ 123 w 319"/>
                  <a:gd name="T79" fmla="*/ 524 h 629"/>
                  <a:gd name="T80" fmla="*/ 126 w 319"/>
                  <a:gd name="T81" fmla="*/ 500 h 629"/>
                  <a:gd name="T82" fmla="*/ 97 w 319"/>
                  <a:gd name="T83" fmla="*/ 475 h 629"/>
                  <a:gd name="T84" fmla="*/ 117 w 319"/>
                  <a:gd name="T85" fmla="*/ 452 h 629"/>
                  <a:gd name="T86" fmla="*/ 132 w 319"/>
                  <a:gd name="T87" fmla="*/ 443 h 629"/>
                  <a:gd name="T88" fmla="*/ 139 w 319"/>
                  <a:gd name="T89" fmla="*/ 416 h 629"/>
                  <a:gd name="T90" fmla="*/ 149 w 319"/>
                  <a:gd name="T91" fmla="*/ 401 h 629"/>
                  <a:gd name="T92" fmla="*/ 151 w 319"/>
                  <a:gd name="T93" fmla="*/ 390 h 629"/>
                  <a:gd name="T94" fmla="*/ 139 w 319"/>
                  <a:gd name="T95" fmla="*/ 368 h 629"/>
                  <a:gd name="T96" fmla="*/ 156 w 319"/>
                  <a:gd name="T97" fmla="*/ 363 h 629"/>
                  <a:gd name="T98" fmla="*/ 184 w 319"/>
                  <a:gd name="T99" fmla="*/ 361 h 629"/>
                  <a:gd name="T100" fmla="*/ 185 w 319"/>
                  <a:gd name="T101" fmla="*/ 343 h 629"/>
                  <a:gd name="T102" fmla="*/ 187 w 319"/>
                  <a:gd name="T103" fmla="*/ 323 h 629"/>
                  <a:gd name="T104" fmla="*/ 227 w 319"/>
                  <a:gd name="T105" fmla="*/ 317 h 629"/>
                  <a:gd name="T106" fmla="*/ 265 w 319"/>
                  <a:gd name="T107" fmla="*/ 298 h 629"/>
                  <a:gd name="T108" fmla="*/ 274 w 319"/>
                  <a:gd name="T109" fmla="*/ 269 h 629"/>
                  <a:gd name="T110" fmla="*/ 264 w 319"/>
                  <a:gd name="T111" fmla="*/ 259 h 629"/>
                  <a:gd name="T112" fmla="*/ 248 w 319"/>
                  <a:gd name="T113" fmla="*/ 230 h 629"/>
                  <a:gd name="T114" fmla="*/ 248 w 319"/>
                  <a:gd name="T115" fmla="*/ 223 h 629"/>
                  <a:gd name="T116" fmla="*/ 255 w 319"/>
                  <a:gd name="T117" fmla="*/ 175 h 629"/>
                  <a:gd name="T118" fmla="*/ 265 w 319"/>
                  <a:gd name="T119" fmla="*/ 143 h 629"/>
                  <a:gd name="T120" fmla="*/ 281 w 319"/>
                  <a:gd name="T121" fmla="*/ 119 h 629"/>
                  <a:gd name="T122" fmla="*/ 319 w 319"/>
                  <a:gd name="T123" fmla="*/ 84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9" h="629">
                    <a:moveTo>
                      <a:pt x="311" y="65"/>
                    </a:moveTo>
                    <a:lnTo>
                      <a:pt x="311" y="65"/>
                    </a:lnTo>
                    <a:lnTo>
                      <a:pt x="304" y="61"/>
                    </a:lnTo>
                    <a:lnTo>
                      <a:pt x="304" y="61"/>
                    </a:lnTo>
                    <a:lnTo>
                      <a:pt x="297" y="75"/>
                    </a:lnTo>
                    <a:lnTo>
                      <a:pt x="291" y="85"/>
                    </a:lnTo>
                    <a:lnTo>
                      <a:pt x="291" y="85"/>
                    </a:lnTo>
                    <a:lnTo>
                      <a:pt x="291" y="90"/>
                    </a:lnTo>
                    <a:lnTo>
                      <a:pt x="288" y="96"/>
                    </a:lnTo>
                    <a:lnTo>
                      <a:pt x="285" y="97"/>
                    </a:lnTo>
                    <a:lnTo>
                      <a:pt x="284" y="97"/>
                    </a:lnTo>
                    <a:lnTo>
                      <a:pt x="282" y="96"/>
                    </a:lnTo>
                    <a:lnTo>
                      <a:pt x="282" y="96"/>
                    </a:lnTo>
                    <a:lnTo>
                      <a:pt x="280" y="93"/>
                    </a:lnTo>
                    <a:lnTo>
                      <a:pt x="277" y="93"/>
                    </a:lnTo>
                    <a:lnTo>
                      <a:pt x="274" y="94"/>
                    </a:lnTo>
                    <a:lnTo>
                      <a:pt x="269" y="94"/>
                    </a:lnTo>
                    <a:lnTo>
                      <a:pt x="269" y="94"/>
                    </a:lnTo>
                    <a:lnTo>
                      <a:pt x="255" y="94"/>
                    </a:lnTo>
                    <a:lnTo>
                      <a:pt x="246" y="93"/>
                    </a:lnTo>
                    <a:lnTo>
                      <a:pt x="245" y="91"/>
                    </a:lnTo>
                    <a:lnTo>
                      <a:pt x="245" y="88"/>
                    </a:lnTo>
                    <a:lnTo>
                      <a:pt x="245" y="88"/>
                    </a:lnTo>
                    <a:lnTo>
                      <a:pt x="246" y="80"/>
                    </a:lnTo>
                    <a:lnTo>
                      <a:pt x="251" y="71"/>
                    </a:lnTo>
                    <a:lnTo>
                      <a:pt x="255" y="62"/>
                    </a:lnTo>
                    <a:lnTo>
                      <a:pt x="255" y="59"/>
                    </a:lnTo>
                    <a:lnTo>
                      <a:pt x="255" y="58"/>
                    </a:lnTo>
                    <a:lnTo>
                      <a:pt x="255" y="58"/>
                    </a:lnTo>
                    <a:lnTo>
                      <a:pt x="242" y="49"/>
                    </a:lnTo>
                    <a:lnTo>
                      <a:pt x="226" y="39"/>
                    </a:lnTo>
                    <a:lnTo>
                      <a:pt x="226" y="39"/>
                    </a:lnTo>
                    <a:lnTo>
                      <a:pt x="219" y="32"/>
                    </a:lnTo>
                    <a:lnTo>
                      <a:pt x="213" y="23"/>
                    </a:lnTo>
                    <a:lnTo>
                      <a:pt x="207" y="17"/>
                    </a:lnTo>
                    <a:lnTo>
                      <a:pt x="206" y="14"/>
                    </a:lnTo>
                    <a:lnTo>
                      <a:pt x="203" y="14"/>
                    </a:lnTo>
                    <a:lnTo>
                      <a:pt x="203" y="14"/>
                    </a:lnTo>
                    <a:lnTo>
                      <a:pt x="200" y="16"/>
                    </a:lnTo>
                    <a:lnTo>
                      <a:pt x="197" y="16"/>
                    </a:lnTo>
                    <a:lnTo>
                      <a:pt x="196" y="17"/>
                    </a:lnTo>
                    <a:lnTo>
                      <a:pt x="194" y="14"/>
                    </a:lnTo>
                    <a:lnTo>
                      <a:pt x="194" y="14"/>
                    </a:lnTo>
                    <a:lnTo>
                      <a:pt x="190" y="10"/>
                    </a:lnTo>
                    <a:lnTo>
                      <a:pt x="185" y="7"/>
                    </a:lnTo>
                    <a:lnTo>
                      <a:pt x="180" y="3"/>
                    </a:lnTo>
                    <a:lnTo>
                      <a:pt x="174" y="1"/>
                    </a:lnTo>
                    <a:lnTo>
                      <a:pt x="174" y="1"/>
                    </a:lnTo>
                    <a:lnTo>
                      <a:pt x="162" y="0"/>
                    </a:lnTo>
                    <a:lnTo>
                      <a:pt x="158" y="0"/>
                    </a:lnTo>
                    <a:lnTo>
                      <a:pt x="154" y="3"/>
                    </a:lnTo>
                    <a:lnTo>
                      <a:pt x="154" y="3"/>
                    </a:lnTo>
                    <a:lnTo>
                      <a:pt x="152" y="6"/>
                    </a:lnTo>
                    <a:lnTo>
                      <a:pt x="151" y="9"/>
                    </a:lnTo>
                    <a:lnTo>
                      <a:pt x="149" y="11"/>
                    </a:lnTo>
                    <a:lnTo>
                      <a:pt x="146" y="13"/>
                    </a:lnTo>
                    <a:lnTo>
                      <a:pt x="146" y="13"/>
                    </a:lnTo>
                    <a:lnTo>
                      <a:pt x="130" y="10"/>
                    </a:lnTo>
                    <a:lnTo>
                      <a:pt x="122" y="9"/>
                    </a:lnTo>
                    <a:lnTo>
                      <a:pt x="116" y="9"/>
                    </a:lnTo>
                    <a:lnTo>
                      <a:pt x="116" y="9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100" y="22"/>
                    </a:lnTo>
                    <a:lnTo>
                      <a:pt x="103" y="23"/>
                    </a:lnTo>
                    <a:lnTo>
                      <a:pt x="103" y="23"/>
                    </a:lnTo>
                    <a:lnTo>
                      <a:pt x="103" y="26"/>
                    </a:lnTo>
                    <a:lnTo>
                      <a:pt x="101" y="29"/>
                    </a:lnTo>
                    <a:lnTo>
                      <a:pt x="96" y="38"/>
                    </a:lnTo>
                    <a:lnTo>
                      <a:pt x="87" y="46"/>
                    </a:lnTo>
                    <a:lnTo>
                      <a:pt x="80" y="54"/>
                    </a:lnTo>
                    <a:lnTo>
                      <a:pt x="80" y="54"/>
                    </a:lnTo>
                    <a:lnTo>
                      <a:pt x="78" y="56"/>
                    </a:lnTo>
                    <a:lnTo>
                      <a:pt x="75" y="61"/>
                    </a:lnTo>
                    <a:lnTo>
                      <a:pt x="74" y="69"/>
                    </a:lnTo>
                    <a:lnTo>
                      <a:pt x="72" y="78"/>
                    </a:lnTo>
                    <a:lnTo>
                      <a:pt x="72" y="85"/>
                    </a:lnTo>
                    <a:lnTo>
                      <a:pt x="72" y="85"/>
                    </a:lnTo>
                    <a:lnTo>
                      <a:pt x="62" y="122"/>
                    </a:lnTo>
                    <a:lnTo>
                      <a:pt x="51" y="158"/>
                    </a:lnTo>
                    <a:lnTo>
                      <a:pt x="51" y="158"/>
                    </a:lnTo>
                    <a:lnTo>
                      <a:pt x="49" y="166"/>
                    </a:lnTo>
                    <a:lnTo>
                      <a:pt x="51" y="175"/>
                    </a:lnTo>
                    <a:lnTo>
                      <a:pt x="52" y="191"/>
                    </a:lnTo>
                    <a:lnTo>
                      <a:pt x="52" y="191"/>
                    </a:lnTo>
                    <a:lnTo>
                      <a:pt x="54" y="213"/>
                    </a:lnTo>
                    <a:lnTo>
                      <a:pt x="55" y="226"/>
                    </a:lnTo>
                    <a:lnTo>
                      <a:pt x="54" y="230"/>
                    </a:lnTo>
                    <a:lnTo>
                      <a:pt x="54" y="235"/>
                    </a:lnTo>
                    <a:lnTo>
                      <a:pt x="54" y="235"/>
                    </a:lnTo>
                    <a:lnTo>
                      <a:pt x="52" y="240"/>
                    </a:lnTo>
                    <a:lnTo>
                      <a:pt x="51" y="248"/>
                    </a:lnTo>
                    <a:lnTo>
                      <a:pt x="51" y="256"/>
                    </a:lnTo>
                    <a:lnTo>
                      <a:pt x="49" y="261"/>
                    </a:lnTo>
                    <a:lnTo>
                      <a:pt x="48" y="264"/>
                    </a:lnTo>
                    <a:lnTo>
                      <a:pt x="48" y="264"/>
                    </a:lnTo>
                    <a:lnTo>
                      <a:pt x="43" y="268"/>
                    </a:lnTo>
                    <a:lnTo>
                      <a:pt x="41" y="274"/>
                    </a:lnTo>
                    <a:lnTo>
                      <a:pt x="38" y="281"/>
                    </a:lnTo>
                    <a:lnTo>
                      <a:pt x="36" y="290"/>
                    </a:lnTo>
                    <a:lnTo>
                      <a:pt x="36" y="290"/>
                    </a:lnTo>
                    <a:lnTo>
                      <a:pt x="38" y="310"/>
                    </a:lnTo>
                    <a:lnTo>
                      <a:pt x="38" y="319"/>
                    </a:lnTo>
                    <a:lnTo>
                      <a:pt x="36" y="323"/>
                    </a:lnTo>
                    <a:lnTo>
                      <a:pt x="36" y="323"/>
                    </a:lnTo>
                    <a:lnTo>
                      <a:pt x="33" y="330"/>
                    </a:lnTo>
                    <a:lnTo>
                      <a:pt x="32" y="336"/>
                    </a:lnTo>
                    <a:lnTo>
                      <a:pt x="30" y="340"/>
                    </a:lnTo>
                    <a:lnTo>
                      <a:pt x="30" y="340"/>
                    </a:lnTo>
                    <a:lnTo>
                      <a:pt x="29" y="348"/>
                    </a:lnTo>
                    <a:lnTo>
                      <a:pt x="28" y="356"/>
                    </a:lnTo>
                    <a:lnTo>
                      <a:pt x="28" y="356"/>
                    </a:lnTo>
                    <a:lnTo>
                      <a:pt x="26" y="374"/>
                    </a:lnTo>
                    <a:lnTo>
                      <a:pt x="23" y="388"/>
                    </a:lnTo>
                    <a:lnTo>
                      <a:pt x="23" y="388"/>
                    </a:lnTo>
                    <a:lnTo>
                      <a:pt x="23" y="394"/>
                    </a:lnTo>
                    <a:lnTo>
                      <a:pt x="25" y="400"/>
                    </a:lnTo>
                    <a:lnTo>
                      <a:pt x="29" y="411"/>
                    </a:lnTo>
                    <a:lnTo>
                      <a:pt x="29" y="411"/>
                    </a:lnTo>
                    <a:lnTo>
                      <a:pt x="30" y="416"/>
                    </a:lnTo>
                    <a:lnTo>
                      <a:pt x="29" y="419"/>
                    </a:lnTo>
                    <a:lnTo>
                      <a:pt x="26" y="420"/>
                    </a:lnTo>
                    <a:lnTo>
                      <a:pt x="25" y="424"/>
                    </a:lnTo>
                    <a:lnTo>
                      <a:pt x="25" y="424"/>
                    </a:lnTo>
                    <a:lnTo>
                      <a:pt x="23" y="427"/>
                    </a:lnTo>
                    <a:lnTo>
                      <a:pt x="25" y="429"/>
                    </a:lnTo>
                    <a:lnTo>
                      <a:pt x="28" y="433"/>
                    </a:lnTo>
                    <a:lnTo>
                      <a:pt x="32" y="436"/>
                    </a:lnTo>
                    <a:lnTo>
                      <a:pt x="36" y="439"/>
                    </a:lnTo>
                    <a:lnTo>
                      <a:pt x="36" y="439"/>
                    </a:lnTo>
                    <a:lnTo>
                      <a:pt x="38" y="442"/>
                    </a:lnTo>
                    <a:lnTo>
                      <a:pt x="38" y="442"/>
                    </a:lnTo>
                    <a:lnTo>
                      <a:pt x="33" y="443"/>
                    </a:lnTo>
                    <a:lnTo>
                      <a:pt x="28" y="445"/>
                    </a:lnTo>
                    <a:lnTo>
                      <a:pt x="28" y="445"/>
                    </a:lnTo>
                    <a:lnTo>
                      <a:pt x="26" y="446"/>
                    </a:lnTo>
                    <a:lnTo>
                      <a:pt x="28" y="446"/>
                    </a:lnTo>
                    <a:lnTo>
                      <a:pt x="33" y="452"/>
                    </a:lnTo>
                    <a:lnTo>
                      <a:pt x="33" y="452"/>
                    </a:lnTo>
                    <a:lnTo>
                      <a:pt x="35" y="453"/>
                    </a:lnTo>
                    <a:lnTo>
                      <a:pt x="33" y="455"/>
                    </a:lnTo>
                    <a:lnTo>
                      <a:pt x="30" y="459"/>
                    </a:lnTo>
                    <a:lnTo>
                      <a:pt x="28" y="462"/>
                    </a:lnTo>
                    <a:lnTo>
                      <a:pt x="26" y="465"/>
                    </a:lnTo>
                    <a:lnTo>
                      <a:pt x="28" y="468"/>
                    </a:lnTo>
                    <a:lnTo>
                      <a:pt x="28" y="468"/>
                    </a:lnTo>
                    <a:lnTo>
                      <a:pt x="28" y="475"/>
                    </a:lnTo>
                    <a:lnTo>
                      <a:pt x="29" y="485"/>
                    </a:lnTo>
                    <a:lnTo>
                      <a:pt x="28" y="497"/>
                    </a:lnTo>
                    <a:lnTo>
                      <a:pt x="28" y="501"/>
                    </a:lnTo>
                    <a:lnTo>
                      <a:pt x="26" y="504"/>
                    </a:lnTo>
                    <a:lnTo>
                      <a:pt x="26" y="504"/>
                    </a:lnTo>
                    <a:lnTo>
                      <a:pt x="22" y="511"/>
                    </a:lnTo>
                    <a:lnTo>
                      <a:pt x="20" y="518"/>
                    </a:lnTo>
                    <a:lnTo>
                      <a:pt x="19" y="531"/>
                    </a:lnTo>
                    <a:lnTo>
                      <a:pt x="19" y="531"/>
                    </a:lnTo>
                    <a:lnTo>
                      <a:pt x="17" y="537"/>
                    </a:lnTo>
                    <a:lnTo>
                      <a:pt x="14" y="543"/>
                    </a:lnTo>
                    <a:lnTo>
                      <a:pt x="4" y="558"/>
                    </a:lnTo>
                    <a:lnTo>
                      <a:pt x="4" y="558"/>
                    </a:lnTo>
                    <a:lnTo>
                      <a:pt x="1" y="562"/>
                    </a:lnTo>
                    <a:lnTo>
                      <a:pt x="0" y="566"/>
                    </a:lnTo>
                    <a:lnTo>
                      <a:pt x="0" y="575"/>
                    </a:lnTo>
                    <a:lnTo>
                      <a:pt x="1" y="584"/>
                    </a:lnTo>
                    <a:lnTo>
                      <a:pt x="3" y="588"/>
                    </a:lnTo>
                    <a:lnTo>
                      <a:pt x="3" y="588"/>
                    </a:lnTo>
                    <a:lnTo>
                      <a:pt x="6" y="589"/>
                    </a:lnTo>
                    <a:lnTo>
                      <a:pt x="9" y="589"/>
                    </a:lnTo>
                    <a:lnTo>
                      <a:pt x="14" y="585"/>
                    </a:lnTo>
                    <a:lnTo>
                      <a:pt x="14" y="585"/>
                    </a:lnTo>
                    <a:lnTo>
                      <a:pt x="17" y="584"/>
                    </a:lnTo>
                    <a:lnTo>
                      <a:pt x="19" y="584"/>
                    </a:lnTo>
                    <a:lnTo>
                      <a:pt x="20" y="585"/>
                    </a:lnTo>
                    <a:lnTo>
                      <a:pt x="20" y="589"/>
                    </a:lnTo>
                    <a:lnTo>
                      <a:pt x="20" y="589"/>
                    </a:lnTo>
                    <a:lnTo>
                      <a:pt x="20" y="602"/>
                    </a:lnTo>
                    <a:lnTo>
                      <a:pt x="20" y="610"/>
                    </a:lnTo>
                    <a:lnTo>
                      <a:pt x="23" y="617"/>
                    </a:lnTo>
                    <a:lnTo>
                      <a:pt x="23" y="617"/>
                    </a:lnTo>
                    <a:lnTo>
                      <a:pt x="25" y="618"/>
                    </a:lnTo>
                    <a:lnTo>
                      <a:pt x="28" y="620"/>
                    </a:lnTo>
                    <a:lnTo>
                      <a:pt x="35" y="621"/>
                    </a:lnTo>
                    <a:lnTo>
                      <a:pt x="51" y="621"/>
                    </a:lnTo>
                    <a:lnTo>
                      <a:pt x="51" y="621"/>
                    </a:lnTo>
                    <a:lnTo>
                      <a:pt x="61" y="623"/>
                    </a:lnTo>
                    <a:lnTo>
                      <a:pt x="70" y="624"/>
                    </a:lnTo>
                    <a:lnTo>
                      <a:pt x="70" y="624"/>
                    </a:lnTo>
                    <a:lnTo>
                      <a:pt x="72" y="624"/>
                    </a:lnTo>
                    <a:lnTo>
                      <a:pt x="75" y="626"/>
                    </a:lnTo>
                    <a:lnTo>
                      <a:pt x="75" y="626"/>
                    </a:lnTo>
                    <a:lnTo>
                      <a:pt x="77" y="627"/>
                    </a:lnTo>
                    <a:lnTo>
                      <a:pt x="77" y="627"/>
                    </a:lnTo>
                    <a:lnTo>
                      <a:pt x="80" y="629"/>
                    </a:lnTo>
                    <a:lnTo>
                      <a:pt x="80" y="629"/>
                    </a:lnTo>
                    <a:lnTo>
                      <a:pt x="83" y="629"/>
                    </a:lnTo>
                    <a:lnTo>
                      <a:pt x="81" y="626"/>
                    </a:lnTo>
                    <a:lnTo>
                      <a:pt x="81" y="626"/>
                    </a:lnTo>
                    <a:lnTo>
                      <a:pt x="77" y="617"/>
                    </a:lnTo>
                    <a:lnTo>
                      <a:pt x="77" y="610"/>
                    </a:lnTo>
                    <a:lnTo>
                      <a:pt x="77" y="610"/>
                    </a:lnTo>
                    <a:lnTo>
                      <a:pt x="75" y="605"/>
                    </a:lnTo>
                    <a:lnTo>
                      <a:pt x="72" y="601"/>
                    </a:lnTo>
                    <a:lnTo>
                      <a:pt x="71" y="597"/>
                    </a:lnTo>
                    <a:lnTo>
                      <a:pt x="71" y="594"/>
                    </a:lnTo>
                    <a:lnTo>
                      <a:pt x="71" y="594"/>
                    </a:lnTo>
                    <a:lnTo>
                      <a:pt x="74" y="592"/>
                    </a:lnTo>
                    <a:lnTo>
                      <a:pt x="77" y="592"/>
                    </a:lnTo>
                    <a:lnTo>
                      <a:pt x="78" y="591"/>
                    </a:lnTo>
                    <a:lnTo>
                      <a:pt x="80" y="589"/>
                    </a:lnTo>
                    <a:lnTo>
                      <a:pt x="80" y="589"/>
                    </a:lnTo>
                    <a:lnTo>
                      <a:pt x="78" y="587"/>
                    </a:lnTo>
                    <a:lnTo>
                      <a:pt x="75" y="584"/>
                    </a:lnTo>
                    <a:lnTo>
                      <a:pt x="75" y="582"/>
                    </a:lnTo>
                    <a:lnTo>
                      <a:pt x="77" y="581"/>
                    </a:lnTo>
                    <a:lnTo>
                      <a:pt x="77" y="581"/>
                    </a:lnTo>
                    <a:lnTo>
                      <a:pt x="78" y="581"/>
                    </a:lnTo>
                    <a:lnTo>
                      <a:pt x="80" y="582"/>
                    </a:lnTo>
                    <a:lnTo>
                      <a:pt x="81" y="584"/>
                    </a:lnTo>
                    <a:lnTo>
                      <a:pt x="84" y="582"/>
                    </a:lnTo>
                    <a:lnTo>
                      <a:pt x="84" y="582"/>
                    </a:lnTo>
                    <a:lnTo>
                      <a:pt x="88" y="581"/>
                    </a:lnTo>
                    <a:lnTo>
                      <a:pt x="90" y="579"/>
                    </a:lnTo>
                    <a:lnTo>
                      <a:pt x="90" y="576"/>
                    </a:lnTo>
                    <a:lnTo>
                      <a:pt x="91" y="575"/>
                    </a:lnTo>
                    <a:lnTo>
                      <a:pt x="91" y="575"/>
                    </a:lnTo>
                    <a:lnTo>
                      <a:pt x="94" y="571"/>
                    </a:lnTo>
                    <a:lnTo>
                      <a:pt x="97" y="566"/>
                    </a:lnTo>
                    <a:lnTo>
                      <a:pt x="98" y="559"/>
                    </a:lnTo>
                    <a:lnTo>
                      <a:pt x="98" y="553"/>
                    </a:lnTo>
                    <a:lnTo>
                      <a:pt x="98" y="553"/>
                    </a:lnTo>
                    <a:lnTo>
                      <a:pt x="98" y="550"/>
                    </a:lnTo>
                    <a:lnTo>
                      <a:pt x="98" y="547"/>
                    </a:lnTo>
                    <a:lnTo>
                      <a:pt x="101" y="540"/>
                    </a:lnTo>
                    <a:lnTo>
                      <a:pt x="106" y="534"/>
                    </a:lnTo>
                    <a:lnTo>
                      <a:pt x="112" y="531"/>
                    </a:lnTo>
                    <a:lnTo>
                      <a:pt x="112" y="531"/>
                    </a:lnTo>
                    <a:lnTo>
                      <a:pt x="114" y="530"/>
                    </a:lnTo>
                    <a:lnTo>
                      <a:pt x="119" y="527"/>
                    </a:lnTo>
                    <a:lnTo>
                      <a:pt x="123" y="524"/>
                    </a:lnTo>
                    <a:lnTo>
                      <a:pt x="123" y="524"/>
                    </a:lnTo>
                    <a:lnTo>
                      <a:pt x="126" y="520"/>
                    </a:lnTo>
                    <a:lnTo>
                      <a:pt x="127" y="513"/>
                    </a:lnTo>
                    <a:lnTo>
                      <a:pt x="127" y="505"/>
                    </a:lnTo>
                    <a:lnTo>
                      <a:pt x="126" y="503"/>
                    </a:lnTo>
                    <a:lnTo>
                      <a:pt x="126" y="500"/>
                    </a:lnTo>
                    <a:lnTo>
                      <a:pt x="126" y="500"/>
                    </a:lnTo>
                    <a:lnTo>
                      <a:pt x="112" y="494"/>
                    </a:lnTo>
                    <a:lnTo>
                      <a:pt x="112" y="494"/>
                    </a:lnTo>
                    <a:lnTo>
                      <a:pt x="106" y="489"/>
                    </a:lnTo>
                    <a:lnTo>
                      <a:pt x="101" y="484"/>
                    </a:lnTo>
                    <a:lnTo>
                      <a:pt x="97" y="478"/>
                    </a:lnTo>
                    <a:lnTo>
                      <a:pt x="97" y="475"/>
                    </a:lnTo>
                    <a:lnTo>
                      <a:pt x="97" y="474"/>
                    </a:lnTo>
                    <a:lnTo>
                      <a:pt x="97" y="474"/>
                    </a:lnTo>
                    <a:lnTo>
                      <a:pt x="106" y="459"/>
                    </a:lnTo>
                    <a:lnTo>
                      <a:pt x="106" y="459"/>
                    </a:lnTo>
                    <a:lnTo>
                      <a:pt x="110" y="456"/>
                    </a:lnTo>
                    <a:lnTo>
                      <a:pt x="117" y="452"/>
                    </a:lnTo>
                    <a:lnTo>
                      <a:pt x="126" y="449"/>
                    </a:lnTo>
                    <a:lnTo>
                      <a:pt x="126" y="449"/>
                    </a:lnTo>
                    <a:lnTo>
                      <a:pt x="129" y="449"/>
                    </a:lnTo>
                    <a:lnTo>
                      <a:pt x="129" y="446"/>
                    </a:lnTo>
                    <a:lnTo>
                      <a:pt x="132" y="443"/>
                    </a:lnTo>
                    <a:lnTo>
                      <a:pt x="132" y="443"/>
                    </a:lnTo>
                    <a:lnTo>
                      <a:pt x="135" y="439"/>
                    </a:lnTo>
                    <a:lnTo>
                      <a:pt x="138" y="436"/>
                    </a:lnTo>
                    <a:lnTo>
                      <a:pt x="138" y="436"/>
                    </a:lnTo>
                    <a:lnTo>
                      <a:pt x="138" y="426"/>
                    </a:lnTo>
                    <a:lnTo>
                      <a:pt x="138" y="420"/>
                    </a:lnTo>
                    <a:lnTo>
                      <a:pt x="139" y="416"/>
                    </a:lnTo>
                    <a:lnTo>
                      <a:pt x="139" y="416"/>
                    </a:lnTo>
                    <a:lnTo>
                      <a:pt x="146" y="407"/>
                    </a:lnTo>
                    <a:lnTo>
                      <a:pt x="149" y="404"/>
                    </a:lnTo>
                    <a:lnTo>
                      <a:pt x="151" y="403"/>
                    </a:lnTo>
                    <a:lnTo>
                      <a:pt x="149" y="401"/>
                    </a:lnTo>
                    <a:lnTo>
                      <a:pt x="149" y="401"/>
                    </a:lnTo>
                    <a:lnTo>
                      <a:pt x="145" y="400"/>
                    </a:lnTo>
                    <a:lnTo>
                      <a:pt x="143" y="398"/>
                    </a:lnTo>
                    <a:lnTo>
                      <a:pt x="143" y="397"/>
                    </a:lnTo>
                    <a:lnTo>
                      <a:pt x="143" y="397"/>
                    </a:lnTo>
                    <a:lnTo>
                      <a:pt x="149" y="392"/>
                    </a:lnTo>
                    <a:lnTo>
                      <a:pt x="151" y="390"/>
                    </a:lnTo>
                    <a:lnTo>
                      <a:pt x="149" y="388"/>
                    </a:lnTo>
                    <a:lnTo>
                      <a:pt x="149" y="388"/>
                    </a:lnTo>
                    <a:lnTo>
                      <a:pt x="143" y="379"/>
                    </a:lnTo>
                    <a:lnTo>
                      <a:pt x="140" y="374"/>
                    </a:lnTo>
                    <a:lnTo>
                      <a:pt x="139" y="368"/>
                    </a:lnTo>
                    <a:lnTo>
                      <a:pt x="139" y="368"/>
                    </a:lnTo>
                    <a:lnTo>
                      <a:pt x="138" y="363"/>
                    </a:lnTo>
                    <a:lnTo>
                      <a:pt x="139" y="361"/>
                    </a:lnTo>
                    <a:lnTo>
                      <a:pt x="142" y="359"/>
                    </a:lnTo>
                    <a:lnTo>
                      <a:pt x="145" y="359"/>
                    </a:lnTo>
                    <a:lnTo>
                      <a:pt x="145" y="359"/>
                    </a:lnTo>
                    <a:lnTo>
                      <a:pt x="156" y="363"/>
                    </a:lnTo>
                    <a:lnTo>
                      <a:pt x="162" y="366"/>
                    </a:lnTo>
                    <a:lnTo>
                      <a:pt x="168" y="366"/>
                    </a:lnTo>
                    <a:lnTo>
                      <a:pt x="168" y="366"/>
                    </a:lnTo>
                    <a:lnTo>
                      <a:pt x="177" y="365"/>
                    </a:lnTo>
                    <a:lnTo>
                      <a:pt x="181" y="363"/>
                    </a:lnTo>
                    <a:lnTo>
                      <a:pt x="184" y="361"/>
                    </a:lnTo>
                    <a:lnTo>
                      <a:pt x="184" y="361"/>
                    </a:lnTo>
                    <a:lnTo>
                      <a:pt x="185" y="356"/>
                    </a:lnTo>
                    <a:lnTo>
                      <a:pt x="185" y="352"/>
                    </a:lnTo>
                    <a:lnTo>
                      <a:pt x="185" y="348"/>
                    </a:lnTo>
                    <a:lnTo>
                      <a:pt x="185" y="343"/>
                    </a:lnTo>
                    <a:lnTo>
                      <a:pt x="185" y="343"/>
                    </a:lnTo>
                    <a:lnTo>
                      <a:pt x="185" y="337"/>
                    </a:lnTo>
                    <a:lnTo>
                      <a:pt x="185" y="332"/>
                    </a:lnTo>
                    <a:lnTo>
                      <a:pt x="185" y="327"/>
                    </a:lnTo>
                    <a:lnTo>
                      <a:pt x="185" y="324"/>
                    </a:lnTo>
                    <a:lnTo>
                      <a:pt x="187" y="323"/>
                    </a:lnTo>
                    <a:lnTo>
                      <a:pt x="187" y="323"/>
                    </a:lnTo>
                    <a:lnTo>
                      <a:pt x="193" y="320"/>
                    </a:lnTo>
                    <a:lnTo>
                      <a:pt x="201" y="320"/>
                    </a:lnTo>
                    <a:lnTo>
                      <a:pt x="201" y="320"/>
                    </a:lnTo>
                    <a:lnTo>
                      <a:pt x="214" y="319"/>
                    </a:lnTo>
                    <a:lnTo>
                      <a:pt x="227" y="317"/>
                    </a:lnTo>
                    <a:lnTo>
                      <a:pt x="227" y="317"/>
                    </a:lnTo>
                    <a:lnTo>
                      <a:pt x="236" y="314"/>
                    </a:lnTo>
                    <a:lnTo>
                      <a:pt x="248" y="310"/>
                    </a:lnTo>
                    <a:lnTo>
                      <a:pt x="258" y="304"/>
                    </a:lnTo>
                    <a:lnTo>
                      <a:pt x="262" y="301"/>
                    </a:lnTo>
                    <a:lnTo>
                      <a:pt x="265" y="298"/>
                    </a:lnTo>
                    <a:lnTo>
                      <a:pt x="265" y="298"/>
                    </a:lnTo>
                    <a:lnTo>
                      <a:pt x="272" y="285"/>
                    </a:lnTo>
                    <a:lnTo>
                      <a:pt x="275" y="279"/>
                    </a:lnTo>
                    <a:lnTo>
                      <a:pt x="275" y="275"/>
                    </a:lnTo>
                    <a:lnTo>
                      <a:pt x="275" y="275"/>
                    </a:lnTo>
                    <a:lnTo>
                      <a:pt x="275" y="271"/>
                    </a:lnTo>
                    <a:lnTo>
                      <a:pt x="274" y="269"/>
                    </a:lnTo>
                    <a:lnTo>
                      <a:pt x="272" y="266"/>
                    </a:lnTo>
                    <a:lnTo>
                      <a:pt x="269" y="266"/>
                    </a:lnTo>
                    <a:lnTo>
                      <a:pt x="269" y="266"/>
                    </a:lnTo>
                    <a:lnTo>
                      <a:pt x="265" y="264"/>
                    </a:lnTo>
                    <a:lnTo>
                      <a:pt x="264" y="262"/>
                    </a:lnTo>
                    <a:lnTo>
                      <a:pt x="264" y="259"/>
                    </a:lnTo>
                    <a:lnTo>
                      <a:pt x="264" y="259"/>
                    </a:lnTo>
                    <a:lnTo>
                      <a:pt x="268" y="253"/>
                    </a:lnTo>
                    <a:lnTo>
                      <a:pt x="268" y="249"/>
                    </a:lnTo>
                    <a:lnTo>
                      <a:pt x="266" y="246"/>
                    </a:lnTo>
                    <a:lnTo>
                      <a:pt x="266" y="246"/>
                    </a:lnTo>
                    <a:lnTo>
                      <a:pt x="248" y="230"/>
                    </a:lnTo>
                    <a:lnTo>
                      <a:pt x="248" y="230"/>
                    </a:lnTo>
                    <a:lnTo>
                      <a:pt x="243" y="224"/>
                    </a:lnTo>
                    <a:lnTo>
                      <a:pt x="242" y="223"/>
                    </a:lnTo>
                    <a:lnTo>
                      <a:pt x="243" y="222"/>
                    </a:lnTo>
                    <a:lnTo>
                      <a:pt x="243" y="222"/>
                    </a:lnTo>
                    <a:lnTo>
                      <a:pt x="248" y="223"/>
                    </a:lnTo>
                    <a:lnTo>
                      <a:pt x="248" y="223"/>
                    </a:lnTo>
                    <a:lnTo>
                      <a:pt x="249" y="210"/>
                    </a:lnTo>
                    <a:lnTo>
                      <a:pt x="252" y="198"/>
                    </a:lnTo>
                    <a:lnTo>
                      <a:pt x="252" y="198"/>
                    </a:lnTo>
                    <a:lnTo>
                      <a:pt x="253" y="188"/>
                    </a:lnTo>
                    <a:lnTo>
                      <a:pt x="255" y="175"/>
                    </a:lnTo>
                    <a:lnTo>
                      <a:pt x="256" y="156"/>
                    </a:lnTo>
                    <a:lnTo>
                      <a:pt x="256" y="156"/>
                    </a:lnTo>
                    <a:lnTo>
                      <a:pt x="256" y="153"/>
                    </a:lnTo>
                    <a:lnTo>
                      <a:pt x="259" y="151"/>
                    </a:lnTo>
                    <a:lnTo>
                      <a:pt x="264" y="148"/>
                    </a:lnTo>
                    <a:lnTo>
                      <a:pt x="265" y="143"/>
                    </a:lnTo>
                    <a:lnTo>
                      <a:pt x="265" y="143"/>
                    </a:lnTo>
                    <a:lnTo>
                      <a:pt x="268" y="138"/>
                    </a:lnTo>
                    <a:lnTo>
                      <a:pt x="271" y="130"/>
                    </a:lnTo>
                    <a:lnTo>
                      <a:pt x="275" y="124"/>
                    </a:lnTo>
                    <a:lnTo>
                      <a:pt x="281" y="119"/>
                    </a:lnTo>
                    <a:lnTo>
                      <a:pt x="281" y="119"/>
                    </a:lnTo>
                    <a:lnTo>
                      <a:pt x="303" y="103"/>
                    </a:lnTo>
                    <a:lnTo>
                      <a:pt x="313" y="96"/>
                    </a:lnTo>
                    <a:lnTo>
                      <a:pt x="316" y="91"/>
                    </a:lnTo>
                    <a:lnTo>
                      <a:pt x="317" y="90"/>
                    </a:lnTo>
                    <a:lnTo>
                      <a:pt x="317" y="90"/>
                    </a:lnTo>
                    <a:lnTo>
                      <a:pt x="319" y="84"/>
                    </a:lnTo>
                    <a:lnTo>
                      <a:pt x="317" y="75"/>
                    </a:lnTo>
                    <a:lnTo>
                      <a:pt x="314" y="69"/>
                    </a:lnTo>
                    <a:lnTo>
                      <a:pt x="313" y="67"/>
                    </a:lnTo>
                    <a:lnTo>
                      <a:pt x="311" y="6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4" name="Freeform 667"/>
              <p:cNvSpPr>
                <a:spLocks/>
              </p:cNvSpPr>
              <p:nvPr/>
            </p:nvSpPr>
            <p:spPr bwMode="auto">
              <a:xfrm>
                <a:off x="3234520" y="3670304"/>
                <a:ext cx="315574" cy="622244"/>
              </a:xfrm>
              <a:custGeom>
                <a:avLst/>
                <a:gdLst>
                  <a:gd name="T0" fmla="*/ 291 w 319"/>
                  <a:gd name="T1" fmla="*/ 85 h 629"/>
                  <a:gd name="T2" fmla="*/ 282 w 319"/>
                  <a:gd name="T3" fmla="*/ 96 h 629"/>
                  <a:gd name="T4" fmla="*/ 269 w 319"/>
                  <a:gd name="T5" fmla="*/ 94 h 629"/>
                  <a:gd name="T6" fmla="*/ 246 w 319"/>
                  <a:gd name="T7" fmla="*/ 80 h 629"/>
                  <a:gd name="T8" fmla="*/ 242 w 319"/>
                  <a:gd name="T9" fmla="*/ 49 h 629"/>
                  <a:gd name="T10" fmla="*/ 206 w 319"/>
                  <a:gd name="T11" fmla="*/ 14 h 629"/>
                  <a:gd name="T12" fmla="*/ 194 w 319"/>
                  <a:gd name="T13" fmla="*/ 14 h 629"/>
                  <a:gd name="T14" fmla="*/ 174 w 319"/>
                  <a:gd name="T15" fmla="*/ 1 h 629"/>
                  <a:gd name="T16" fmla="*/ 151 w 319"/>
                  <a:gd name="T17" fmla="*/ 9 h 629"/>
                  <a:gd name="T18" fmla="*/ 116 w 319"/>
                  <a:gd name="T19" fmla="*/ 9 h 629"/>
                  <a:gd name="T20" fmla="*/ 103 w 319"/>
                  <a:gd name="T21" fmla="*/ 23 h 629"/>
                  <a:gd name="T22" fmla="*/ 80 w 319"/>
                  <a:gd name="T23" fmla="*/ 54 h 629"/>
                  <a:gd name="T24" fmla="*/ 72 w 319"/>
                  <a:gd name="T25" fmla="*/ 85 h 629"/>
                  <a:gd name="T26" fmla="*/ 52 w 319"/>
                  <a:gd name="T27" fmla="*/ 191 h 629"/>
                  <a:gd name="T28" fmla="*/ 54 w 319"/>
                  <a:gd name="T29" fmla="*/ 235 h 629"/>
                  <a:gd name="T30" fmla="*/ 48 w 319"/>
                  <a:gd name="T31" fmla="*/ 264 h 629"/>
                  <a:gd name="T32" fmla="*/ 38 w 319"/>
                  <a:gd name="T33" fmla="*/ 310 h 629"/>
                  <a:gd name="T34" fmla="*/ 30 w 319"/>
                  <a:gd name="T35" fmla="*/ 340 h 629"/>
                  <a:gd name="T36" fmla="*/ 23 w 319"/>
                  <a:gd name="T37" fmla="*/ 388 h 629"/>
                  <a:gd name="T38" fmla="*/ 30 w 319"/>
                  <a:gd name="T39" fmla="*/ 416 h 629"/>
                  <a:gd name="T40" fmla="*/ 25 w 319"/>
                  <a:gd name="T41" fmla="*/ 429 h 629"/>
                  <a:gd name="T42" fmla="*/ 38 w 319"/>
                  <a:gd name="T43" fmla="*/ 442 h 629"/>
                  <a:gd name="T44" fmla="*/ 33 w 319"/>
                  <a:gd name="T45" fmla="*/ 452 h 629"/>
                  <a:gd name="T46" fmla="*/ 26 w 319"/>
                  <a:gd name="T47" fmla="*/ 465 h 629"/>
                  <a:gd name="T48" fmla="*/ 28 w 319"/>
                  <a:gd name="T49" fmla="*/ 501 h 629"/>
                  <a:gd name="T50" fmla="*/ 19 w 319"/>
                  <a:gd name="T51" fmla="*/ 531 h 629"/>
                  <a:gd name="T52" fmla="*/ 0 w 319"/>
                  <a:gd name="T53" fmla="*/ 566 h 629"/>
                  <a:gd name="T54" fmla="*/ 9 w 319"/>
                  <a:gd name="T55" fmla="*/ 589 h 629"/>
                  <a:gd name="T56" fmla="*/ 20 w 319"/>
                  <a:gd name="T57" fmla="*/ 589 h 629"/>
                  <a:gd name="T58" fmla="*/ 25 w 319"/>
                  <a:gd name="T59" fmla="*/ 618 h 629"/>
                  <a:gd name="T60" fmla="*/ 70 w 319"/>
                  <a:gd name="T61" fmla="*/ 624 h 629"/>
                  <a:gd name="T62" fmla="*/ 77 w 319"/>
                  <a:gd name="T63" fmla="*/ 627 h 629"/>
                  <a:gd name="T64" fmla="*/ 77 w 319"/>
                  <a:gd name="T65" fmla="*/ 617 h 629"/>
                  <a:gd name="T66" fmla="*/ 71 w 319"/>
                  <a:gd name="T67" fmla="*/ 594 h 629"/>
                  <a:gd name="T68" fmla="*/ 80 w 319"/>
                  <a:gd name="T69" fmla="*/ 589 h 629"/>
                  <a:gd name="T70" fmla="*/ 78 w 319"/>
                  <a:gd name="T71" fmla="*/ 581 h 629"/>
                  <a:gd name="T72" fmla="*/ 90 w 319"/>
                  <a:gd name="T73" fmla="*/ 579 h 629"/>
                  <a:gd name="T74" fmla="*/ 98 w 319"/>
                  <a:gd name="T75" fmla="*/ 559 h 629"/>
                  <a:gd name="T76" fmla="*/ 106 w 319"/>
                  <a:gd name="T77" fmla="*/ 534 h 629"/>
                  <a:gd name="T78" fmla="*/ 123 w 319"/>
                  <a:gd name="T79" fmla="*/ 524 h 629"/>
                  <a:gd name="T80" fmla="*/ 126 w 319"/>
                  <a:gd name="T81" fmla="*/ 500 h 629"/>
                  <a:gd name="T82" fmla="*/ 97 w 319"/>
                  <a:gd name="T83" fmla="*/ 475 h 629"/>
                  <a:gd name="T84" fmla="*/ 117 w 319"/>
                  <a:gd name="T85" fmla="*/ 452 h 629"/>
                  <a:gd name="T86" fmla="*/ 132 w 319"/>
                  <a:gd name="T87" fmla="*/ 443 h 629"/>
                  <a:gd name="T88" fmla="*/ 139 w 319"/>
                  <a:gd name="T89" fmla="*/ 416 h 629"/>
                  <a:gd name="T90" fmla="*/ 149 w 319"/>
                  <a:gd name="T91" fmla="*/ 401 h 629"/>
                  <a:gd name="T92" fmla="*/ 151 w 319"/>
                  <a:gd name="T93" fmla="*/ 390 h 629"/>
                  <a:gd name="T94" fmla="*/ 139 w 319"/>
                  <a:gd name="T95" fmla="*/ 368 h 629"/>
                  <a:gd name="T96" fmla="*/ 156 w 319"/>
                  <a:gd name="T97" fmla="*/ 363 h 629"/>
                  <a:gd name="T98" fmla="*/ 184 w 319"/>
                  <a:gd name="T99" fmla="*/ 361 h 629"/>
                  <a:gd name="T100" fmla="*/ 185 w 319"/>
                  <a:gd name="T101" fmla="*/ 343 h 629"/>
                  <a:gd name="T102" fmla="*/ 187 w 319"/>
                  <a:gd name="T103" fmla="*/ 323 h 629"/>
                  <a:gd name="T104" fmla="*/ 227 w 319"/>
                  <a:gd name="T105" fmla="*/ 317 h 629"/>
                  <a:gd name="T106" fmla="*/ 265 w 319"/>
                  <a:gd name="T107" fmla="*/ 298 h 629"/>
                  <a:gd name="T108" fmla="*/ 274 w 319"/>
                  <a:gd name="T109" fmla="*/ 269 h 629"/>
                  <a:gd name="T110" fmla="*/ 264 w 319"/>
                  <a:gd name="T111" fmla="*/ 259 h 629"/>
                  <a:gd name="T112" fmla="*/ 248 w 319"/>
                  <a:gd name="T113" fmla="*/ 230 h 629"/>
                  <a:gd name="T114" fmla="*/ 248 w 319"/>
                  <a:gd name="T115" fmla="*/ 223 h 629"/>
                  <a:gd name="T116" fmla="*/ 255 w 319"/>
                  <a:gd name="T117" fmla="*/ 175 h 629"/>
                  <a:gd name="T118" fmla="*/ 265 w 319"/>
                  <a:gd name="T119" fmla="*/ 143 h 629"/>
                  <a:gd name="T120" fmla="*/ 281 w 319"/>
                  <a:gd name="T121" fmla="*/ 119 h 629"/>
                  <a:gd name="T122" fmla="*/ 319 w 319"/>
                  <a:gd name="T123" fmla="*/ 84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9" h="629">
                    <a:moveTo>
                      <a:pt x="311" y="65"/>
                    </a:moveTo>
                    <a:lnTo>
                      <a:pt x="311" y="65"/>
                    </a:lnTo>
                    <a:lnTo>
                      <a:pt x="304" y="61"/>
                    </a:lnTo>
                    <a:lnTo>
                      <a:pt x="304" y="61"/>
                    </a:lnTo>
                    <a:lnTo>
                      <a:pt x="297" y="75"/>
                    </a:lnTo>
                    <a:lnTo>
                      <a:pt x="291" y="85"/>
                    </a:lnTo>
                    <a:lnTo>
                      <a:pt x="291" y="85"/>
                    </a:lnTo>
                    <a:lnTo>
                      <a:pt x="291" y="90"/>
                    </a:lnTo>
                    <a:lnTo>
                      <a:pt x="288" y="96"/>
                    </a:lnTo>
                    <a:lnTo>
                      <a:pt x="285" y="97"/>
                    </a:lnTo>
                    <a:lnTo>
                      <a:pt x="284" y="97"/>
                    </a:lnTo>
                    <a:lnTo>
                      <a:pt x="282" y="96"/>
                    </a:lnTo>
                    <a:lnTo>
                      <a:pt x="282" y="96"/>
                    </a:lnTo>
                    <a:lnTo>
                      <a:pt x="280" y="93"/>
                    </a:lnTo>
                    <a:lnTo>
                      <a:pt x="277" y="93"/>
                    </a:lnTo>
                    <a:lnTo>
                      <a:pt x="274" y="94"/>
                    </a:lnTo>
                    <a:lnTo>
                      <a:pt x="269" y="94"/>
                    </a:lnTo>
                    <a:lnTo>
                      <a:pt x="269" y="94"/>
                    </a:lnTo>
                    <a:lnTo>
                      <a:pt x="255" y="94"/>
                    </a:lnTo>
                    <a:lnTo>
                      <a:pt x="246" y="93"/>
                    </a:lnTo>
                    <a:lnTo>
                      <a:pt x="245" y="91"/>
                    </a:lnTo>
                    <a:lnTo>
                      <a:pt x="245" y="88"/>
                    </a:lnTo>
                    <a:lnTo>
                      <a:pt x="245" y="88"/>
                    </a:lnTo>
                    <a:lnTo>
                      <a:pt x="246" y="80"/>
                    </a:lnTo>
                    <a:lnTo>
                      <a:pt x="251" y="71"/>
                    </a:lnTo>
                    <a:lnTo>
                      <a:pt x="255" y="62"/>
                    </a:lnTo>
                    <a:lnTo>
                      <a:pt x="255" y="59"/>
                    </a:lnTo>
                    <a:lnTo>
                      <a:pt x="255" y="58"/>
                    </a:lnTo>
                    <a:lnTo>
                      <a:pt x="255" y="58"/>
                    </a:lnTo>
                    <a:lnTo>
                      <a:pt x="242" y="49"/>
                    </a:lnTo>
                    <a:lnTo>
                      <a:pt x="226" y="39"/>
                    </a:lnTo>
                    <a:lnTo>
                      <a:pt x="226" y="39"/>
                    </a:lnTo>
                    <a:lnTo>
                      <a:pt x="219" y="32"/>
                    </a:lnTo>
                    <a:lnTo>
                      <a:pt x="213" y="23"/>
                    </a:lnTo>
                    <a:lnTo>
                      <a:pt x="207" y="17"/>
                    </a:lnTo>
                    <a:lnTo>
                      <a:pt x="206" y="14"/>
                    </a:lnTo>
                    <a:lnTo>
                      <a:pt x="203" y="14"/>
                    </a:lnTo>
                    <a:lnTo>
                      <a:pt x="203" y="14"/>
                    </a:lnTo>
                    <a:lnTo>
                      <a:pt x="200" y="16"/>
                    </a:lnTo>
                    <a:lnTo>
                      <a:pt x="197" y="16"/>
                    </a:lnTo>
                    <a:lnTo>
                      <a:pt x="196" y="17"/>
                    </a:lnTo>
                    <a:lnTo>
                      <a:pt x="194" y="14"/>
                    </a:lnTo>
                    <a:lnTo>
                      <a:pt x="194" y="14"/>
                    </a:lnTo>
                    <a:lnTo>
                      <a:pt x="190" y="10"/>
                    </a:lnTo>
                    <a:lnTo>
                      <a:pt x="185" y="7"/>
                    </a:lnTo>
                    <a:lnTo>
                      <a:pt x="180" y="3"/>
                    </a:lnTo>
                    <a:lnTo>
                      <a:pt x="174" y="1"/>
                    </a:lnTo>
                    <a:lnTo>
                      <a:pt x="174" y="1"/>
                    </a:lnTo>
                    <a:lnTo>
                      <a:pt x="162" y="0"/>
                    </a:lnTo>
                    <a:lnTo>
                      <a:pt x="158" y="0"/>
                    </a:lnTo>
                    <a:lnTo>
                      <a:pt x="154" y="3"/>
                    </a:lnTo>
                    <a:lnTo>
                      <a:pt x="154" y="3"/>
                    </a:lnTo>
                    <a:lnTo>
                      <a:pt x="152" y="6"/>
                    </a:lnTo>
                    <a:lnTo>
                      <a:pt x="151" y="9"/>
                    </a:lnTo>
                    <a:lnTo>
                      <a:pt x="149" y="11"/>
                    </a:lnTo>
                    <a:lnTo>
                      <a:pt x="146" y="13"/>
                    </a:lnTo>
                    <a:lnTo>
                      <a:pt x="146" y="13"/>
                    </a:lnTo>
                    <a:lnTo>
                      <a:pt x="130" y="10"/>
                    </a:lnTo>
                    <a:lnTo>
                      <a:pt x="122" y="9"/>
                    </a:lnTo>
                    <a:lnTo>
                      <a:pt x="116" y="9"/>
                    </a:lnTo>
                    <a:lnTo>
                      <a:pt x="116" y="9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100" y="22"/>
                    </a:lnTo>
                    <a:lnTo>
                      <a:pt x="103" y="23"/>
                    </a:lnTo>
                    <a:lnTo>
                      <a:pt x="103" y="23"/>
                    </a:lnTo>
                    <a:lnTo>
                      <a:pt x="103" y="26"/>
                    </a:lnTo>
                    <a:lnTo>
                      <a:pt x="101" y="29"/>
                    </a:lnTo>
                    <a:lnTo>
                      <a:pt x="96" y="38"/>
                    </a:lnTo>
                    <a:lnTo>
                      <a:pt x="87" y="46"/>
                    </a:lnTo>
                    <a:lnTo>
                      <a:pt x="80" y="54"/>
                    </a:lnTo>
                    <a:lnTo>
                      <a:pt x="80" y="54"/>
                    </a:lnTo>
                    <a:lnTo>
                      <a:pt x="78" y="56"/>
                    </a:lnTo>
                    <a:lnTo>
                      <a:pt x="75" y="61"/>
                    </a:lnTo>
                    <a:lnTo>
                      <a:pt x="74" y="69"/>
                    </a:lnTo>
                    <a:lnTo>
                      <a:pt x="72" y="78"/>
                    </a:lnTo>
                    <a:lnTo>
                      <a:pt x="72" y="85"/>
                    </a:lnTo>
                    <a:lnTo>
                      <a:pt x="72" y="85"/>
                    </a:lnTo>
                    <a:lnTo>
                      <a:pt x="62" y="122"/>
                    </a:lnTo>
                    <a:lnTo>
                      <a:pt x="51" y="158"/>
                    </a:lnTo>
                    <a:lnTo>
                      <a:pt x="51" y="158"/>
                    </a:lnTo>
                    <a:lnTo>
                      <a:pt x="49" y="166"/>
                    </a:lnTo>
                    <a:lnTo>
                      <a:pt x="51" y="175"/>
                    </a:lnTo>
                    <a:lnTo>
                      <a:pt x="52" y="191"/>
                    </a:lnTo>
                    <a:lnTo>
                      <a:pt x="52" y="191"/>
                    </a:lnTo>
                    <a:lnTo>
                      <a:pt x="54" y="213"/>
                    </a:lnTo>
                    <a:lnTo>
                      <a:pt x="55" y="226"/>
                    </a:lnTo>
                    <a:lnTo>
                      <a:pt x="54" y="230"/>
                    </a:lnTo>
                    <a:lnTo>
                      <a:pt x="54" y="235"/>
                    </a:lnTo>
                    <a:lnTo>
                      <a:pt x="54" y="235"/>
                    </a:lnTo>
                    <a:lnTo>
                      <a:pt x="52" y="240"/>
                    </a:lnTo>
                    <a:lnTo>
                      <a:pt x="51" y="248"/>
                    </a:lnTo>
                    <a:lnTo>
                      <a:pt x="51" y="256"/>
                    </a:lnTo>
                    <a:lnTo>
                      <a:pt x="49" y="261"/>
                    </a:lnTo>
                    <a:lnTo>
                      <a:pt x="48" y="264"/>
                    </a:lnTo>
                    <a:lnTo>
                      <a:pt x="48" y="264"/>
                    </a:lnTo>
                    <a:lnTo>
                      <a:pt x="43" y="268"/>
                    </a:lnTo>
                    <a:lnTo>
                      <a:pt x="41" y="274"/>
                    </a:lnTo>
                    <a:lnTo>
                      <a:pt x="38" y="281"/>
                    </a:lnTo>
                    <a:lnTo>
                      <a:pt x="36" y="290"/>
                    </a:lnTo>
                    <a:lnTo>
                      <a:pt x="36" y="290"/>
                    </a:lnTo>
                    <a:lnTo>
                      <a:pt x="38" y="310"/>
                    </a:lnTo>
                    <a:lnTo>
                      <a:pt x="38" y="319"/>
                    </a:lnTo>
                    <a:lnTo>
                      <a:pt x="36" y="323"/>
                    </a:lnTo>
                    <a:lnTo>
                      <a:pt x="36" y="323"/>
                    </a:lnTo>
                    <a:lnTo>
                      <a:pt x="33" y="330"/>
                    </a:lnTo>
                    <a:lnTo>
                      <a:pt x="32" y="336"/>
                    </a:lnTo>
                    <a:lnTo>
                      <a:pt x="30" y="340"/>
                    </a:lnTo>
                    <a:lnTo>
                      <a:pt x="30" y="340"/>
                    </a:lnTo>
                    <a:lnTo>
                      <a:pt x="29" y="348"/>
                    </a:lnTo>
                    <a:lnTo>
                      <a:pt x="28" y="356"/>
                    </a:lnTo>
                    <a:lnTo>
                      <a:pt x="28" y="356"/>
                    </a:lnTo>
                    <a:lnTo>
                      <a:pt x="26" y="374"/>
                    </a:lnTo>
                    <a:lnTo>
                      <a:pt x="23" y="388"/>
                    </a:lnTo>
                    <a:lnTo>
                      <a:pt x="23" y="388"/>
                    </a:lnTo>
                    <a:lnTo>
                      <a:pt x="23" y="394"/>
                    </a:lnTo>
                    <a:lnTo>
                      <a:pt x="25" y="400"/>
                    </a:lnTo>
                    <a:lnTo>
                      <a:pt x="29" y="411"/>
                    </a:lnTo>
                    <a:lnTo>
                      <a:pt x="29" y="411"/>
                    </a:lnTo>
                    <a:lnTo>
                      <a:pt x="30" y="416"/>
                    </a:lnTo>
                    <a:lnTo>
                      <a:pt x="29" y="419"/>
                    </a:lnTo>
                    <a:lnTo>
                      <a:pt x="26" y="420"/>
                    </a:lnTo>
                    <a:lnTo>
                      <a:pt x="25" y="424"/>
                    </a:lnTo>
                    <a:lnTo>
                      <a:pt x="25" y="424"/>
                    </a:lnTo>
                    <a:lnTo>
                      <a:pt x="23" y="427"/>
                    </a:lnTo>
                    <a:lnTo>
                      <a:pt x="25" y="429"/>
                    </a:lnTo>
                    <a:lnTo>
                      <a:pt x="28" y="433"/>
                    </a:lnTo>
                    <a:lnTo>
                      <a:pt x="32" y="436"/>
                    </a:lnTo>
                    <a:lnTo>
                      <a:pt x="36" y="439"/>
                    </a:lnTo>
                    <a:lnTo>
                      <a:pt x="36" y="439"/>
                    </a:lnTo>
                    <a:lnTo>
                      <a:pt x="38" y="442"/>
                    </a:lnTo>
                    <a:lnTo>
                      <a:pt x="38" y="442"/>
                    </a:lnTo>
                    <a:lnTo>
                      <a:pt x="33" y="443"/>
                    </a:lnTo>
                    <a:lnTo>
                      <a:pt x="28" y="445"/>
                    </a:lnTo>
                    <a:lnTo>
                      <a:pt x="28" y="445"/>
                    </a:lnTo>
                    <a:lnTo>
                      <a:pt x="26" y="446"/>
                    </a:lnTo>
                    <a:lnTo>
                      <a:pt x="28" y="446"/>
                    </a:lnTo>
                    <a:lnTo>
                      <a:pt x="33" y="452"/>
                    </a:lnTo>
                    <a:lnTo>
                      <a:pt x="33" y="452"/>
                    </a:lnTo>
                    <a:lnTo>
                      <a:pt x="35" y="453"/>
                    </a:lnTo>
                    <a:lnTo>
                      <a:pt x="33" y="455"/>
                    </a:lnTo>
                    <a:lnTo>
                      <a:pt x="30" y="459"/>
                    </a:lnTo>
                    <a:lnTo>
                      <a:pt x="28" y="462"/>
                    </a:lnTo>
                    <a:lnTo>
                      <a:pt x="26" y="465"/>
                    </a:lnTo>
                    <a:lnTo>
                      <a:pt x="28" y="468"/>
                    </a:lnTo>
                    <a:lnTo>
                      <a:pt x="28" y="468"/>
                    </a:lnTo>
                    <a:lnTo>
                      <a:pt x="28" y="475"/>
                    </a:lnTo>
                    <a:lnTo>
                      <a:pt x="29" y="485"/>
                    </a:lnTo>
                    <a:lnTo>
                      <a:pt x="28" y="497"/>
                    </a:lnTo>
                    <a:lnTo>
                      <a:pt x="28" y="501"/>
                    </a:lnTo>
                    <a:lnTo>
                      <a:pt x="26" y="504"/>
                    </a:lnTo>
                    <a:lnTo>
                      <a:pt x="26" y="504"/>
                    </a:lnTo>
                    <a:lnTo>
                      <a:pt x="22" y="511"/>
                    </a:lnTo>
                    <a:lnTo>
                      <a:pt x="20" y="518"/>
                    </a:lnTo>
                    <a:lnTo>
                      <a:pt x="19" y="531"/>
                    </a:lnTo>
                    <a:lnTo>
                      <a:pt x="19" y="531"/>
                    </a:lnTo>
                    <a:lnTo>
                      <a:pt x="17" y="537"/>
                    </a:lnTo>
                    <a:lnTo>
                      <a:pt x="14" y="543"/>
                    </a:lnTo>
                    <a:lnTo>
                      <a:pt x="4" y="558"/>
                    </a:lnTo>
                    <a:lnTo>
                      <a:pt x="4" y="558"/>
                    </a:lnTo>
                    <a:lnTo>
                      <a:pt x="1" y="562"/>
                    </a:lnTo>
                    <a:lnTo>
                      <a:pt x="0" y="566"/>
                    </a:lnTo>
                    <a:lnTo>
                      <a:pt x="0" y="575"/>
                    </a:lnTo>
                    <a:lnTo>
                      <a:pt x="1" y="584"/>
                    </a:lnTo>
                    <a:lnTo>
                      <a:pt x="3" y="588"/>
                    </a:lnTo>
                    <a:lnTo>
                      <a:pt x="3" y="588"/>
                    </a:lnTo>
                    <a:lnTo>
                      <a:pt x="6" y="589"/>
                    </a:lnTo>
                    <a:lnTo>
                      <a:pt x="9" y="589"/>
                    </a:lnTo>
                    <a:lnTo>
                      <a:pt x="14" y="585"/>
                    </a:lnTo>
                    <a:lnTo>
                      <a:pt x="14" y="585"/>
                    </a:lnTo>
                    <a:lnTo>
                      <a:pt x="17" y="584"/>
                    </a:lnTo>
                    <a:lnTo>
                      <a:pt x="19" y="584"/>
                    </a:lnTo>
                    <a:lnTo>
                      <a:pt x="20" y="585"/>
                    </a:lnTo>
                    <a:lnTo>
                      <a:pt x="20" y="589"/>
                    </a:lnTo>
                    <a:lnTo>
                      <a:pt x="20" y="589"/>
                    </a:lnTo>
                    <a:lnTo>
                      <a:pt x="20" y="602"/>
                    </a:lnTo>
                    <a:lnTo>
                      <a:pt x="20" y="610"/>
                    </a:lnTo>
                    <a:lnTo>
                      <a:pt x="23" y="617"/>
                    </a:lnTo>
                    <a:lnTo>
                      <a:pt x="23" y="617"/>
                    </a:lnTo>
                    <a:lnTo>
                      <a:pt x="25" y="618"/>
                    </a:lnTo>
                    <a:lnTo>
                      <a:pt x="28" y="620"/>
                    </a:lnTo>
                    <a:lnTo>
                      <a:pt x="35" y="621"/>
                    </a:lnTo>
                    <a:lnTo>
                      <a:pt x="51" y="621"/>
                    </a:lnTo>
                    <a:lnTo>
                      <a:pt x="51" y="621"/>
                    </a:lnTo>
                    <a:lnTo>
                      <a:pt x="61" y="623"/>
                    </a:lnTo>
                    <a:lnTo>
                      <a:pt x="70" y="624"/>
                    </a:lnTo>
                    <a:lnTo>
                      <a:pt x="70" y="624"/>
                    </a:lnTo>
                    <a:lnTo>
                      <a:pt x="72" y="624"/>
                    </a:lnTo>
                    <a:lnTo>
                      <a:pt x="75" y="626"/>
                    </a:lnTo>
                    <a:lnTo>
                      <a:pt x="75" y="626"/>
                    </a:lnTo>
                    <a:lnTo>
                      <a:pt x="77" y="627"/>
                    </a:lnTo>
                    <a:lnTo>
                      <a:pt x="77" y="627"/>
                    </a:lnTo>
                    <a:lnTo>
                      <a:pt x="80" y="629"/>
                    </a:lnTo>
                    <a:lnTo>
                      <a:pt x="80" y="629"/>
                    </a:lnTo>
                    <a:lnTo>
                      <a:pt x="83" y="629"/>
                    </a:lnTo>
                    <a:lnTo>
                      <a:pt x="81" y="626"/>
                    </a:lnTo>
                    <a:lnTo>
                      <a:pt x="81" y="626"/>
                    </a:lnTo>
                    <a:lnTo>
                      <a:pt x="77" y="617"/>
                    </a:lnTo>
                    <a:lnTo>
                      <a:pt x="77" y="610"/>
                    </a:lnTo>
                    <a:lnTo>
                      <a:pt x="77" y="610"/>
                    </a:lnTo>
                    <a:lnTo>
                      <a:pt x="75" y="605"/>
                    </a:lnTo>
                    <a:lnTo>
                      <a:pt x="72" y="601"/>
                    </a:lnTo>
                    <a:lnTo>
                      <a:pt x="71" y="597"/>
                    </a:lnTo>
                    <a:lnTo>
                      <a:pt x="71" y="594"/>
                    </a:lnTo>
                    <a:lnTo>
                      <a:pt x="71" y="594"/>
                    </a:lnTo>
                    <a:lnTo>
                      <a:pt x="74" y="592"/>
                    </a:lnTo>
                    <a:lnTo>
                      <a:pt x="77" y="592"/>
                    </a:lnTo>
                    <a:lnTo>
                      <a:pt x="78" y="591"/>
                    </a:lnTo>
                    <a:lnTo>
                      <a:pt x="80" y="589"/>
                    </a:lnTo>
                    <a:lnTo>
                      <a:pt x="80" y="589"/>
                    </a:lnTo>
                    <a:lnTo>
                      <a:pt x="78" y="587"/>
                    </a:lnTo>
                    <a:lnTo>
                      <a:pt x="75" y="584"/>
                    </a:lnTo>
                    <a:lnTo>
                      <a:pt x="75" y="582"/>
                    </a:lnTo>
                    <a:lnTo>
                      <a:pt x="77" y="581"/>
                    </a:lnTo>
                    <a:lnTo>
                      <a:pt x="77" y="581"/>
                    </a:lnTo>
                    <a:lnTo>
                      <a:pt x="78" y="581"/>
                    </a:lnTo>
                    <a:lnTo>
                      <a:pt x="80" y="582"/>
                    </a:lnTo>
                    <a:lnTo>
                      <a:pt x="81" y="584"/>
                    </a:lnTo>
                    <a:lnTo>
                      <a:pt x="84" y="582"/>
                    </a:lnTo>
                    <a:lnTo>
                      <a:pt x="84" y="582"/>
                    </a:lnTo>
                    <a:lnTo>
                      <a:pt x="88" y="581"/>
                    </a:lnTo>
                    <a:lnTo>
                      <a:pt x="90" y="579"/>
                    </a:lnTo>
                    <a:lnTo>
                      <a:pt x="90" y="576"/>
                    </a:lnTo>
                    <a:lnTo>
                      <a:pt x="91" y="575"/>
                    </a:lnTo>
                    <a:lnTo>
                      <a:pt x="91" y="575"/>
                    </a:lnTo>
                    <a:lnTo>
                      <a:pt x="94" y="571"/>
                    </a:lnTo>
                    <a:lnTo>
                      <a:pt x="97" y="566"/>
                    </a:lnTo>
                    <a:lnTo>
                      <a:pt x="98" y="559"/>
                    </a:lnTo>
                    <a:lnTo>
                      <a:pt x="98" y="553"/>
                    </a:lnTo>
                    <a:lnTo>
                      <a:pt x="98" y="553"/>
                    </a:lnTo>
                    <a:lnTo>
                      <a:pt x="98" y="550"/>
                    </a:lnTo>
                    <a:lnTo>
                      <a:pt x="98" y="547"/>
                    </a:lnTo>
                    <a:lnTo>
                      <a:pt x="101" y="540"/>
                    </a:lnTo>
                    <a:lnTo>
                      <a:pt x="106" y="534"/>
                    </a:lnTo>
                    <a:lnTo>
                      <a:pt x="112" y="531"/>
                    </a:lnTo>
                    <a:lnTo>
                      <a:pt x="112" y="531"/>
                    </a:lnTo>
                    <a:lnTo>
                      <a:pt x="114" y="530"/>
                    </a:lnTo>
                    <a:lnTo>
                      <a:pt x="119" y="527"/>
                    </a:lnTo>
                    <a:lnTo>
                      <a:pt x="123" y="524"/>
                    </a:lnTo>
                    <a:lnTo>
                      <a:pt x="123" y="524"/>
                    </a:lnTo>
                    <a:lnTo>
                      <a:pt x="126" y="520"/>
                    </a:lnTo>
                    <a:lnTo>
                      <a:pt x="127" y="513"/>
                    </a:lnTo>
                    <a:lnTo>
                      <a:pt x="127" y="505"/>
                    </a:lnTo>
                    <a:lnTo>
                      <a:pt x="126" y="503"/>
                    </a:lnTo>
                    <a:lnTo>
                      <a:pt x="126" y="500"/>
                    </a:lnTo>
                    <a:lnTo>
                      <a:pt x="126" y="500"/>
                    </a:lnTo>
                    <a:lnTo>
                      <a:pt x="112" y="494"/>
                    </a:lnTo>
                    <a:lnTo>
                      <a:pt x="112" y="494"/>
                    </a:lnTo>
                    <a:lnTo>
                      <a:pt x="106" y="489"/>
                    </a:lnTo>
                    <a:lnTo>
                      <a:pt x="101" y="484"/>
                    </a:lnTo>
                    <a:lnTo>
                      <a:pt x="97" y="478"/>
                    </a:lnTo>
                    <a:lnTo>
                      <a:pt x="97" y="475"/>
                    </a:lnTo>
                    <a:lnTo>
                      <a:pt x="97" y="474"/>
                    </a:lnTo>
                    <a:lnTo>
                      <a:pt x="97" y="474"/>
                    </a:lnTo>
                    <a:lnTo>
                      <a:pt x="106" y="459"/>
                    </a:lnTo>
                    <a:lnTo>
                      <a:pt x="106" y="459"/>
                    </a:lnTo>
                    <a:lnTo>
                      <a:pt x="110" y="456"/>
                    </a:lnTo>
                    <a:lnTo>
                      <a:pt x="117" y="452"/>
                    </a:lnTo>
                    <a:lnTo>
                      <a:pt x="126" y="449"/>
                    </a:lnTo>
                    <a:lnTo>
                      <a:pt x="126" y="449"/>
                    </a:lnTo>
                    <a:lnTo>
                      <a:pt x="129" y="449"/>
                    </a:lnTo>
                    <a:lnTo>
                      <a:pt x="129" y="446"/>
                    </a:lnTo>
                    <a:lnTo>
                      <a:pt x="132" y="443"/>
                    </a:lnTo>
                    <a:lnTo>
                      <a:pt x="132" y="443"/>
                    </a:lnTo>
                    <a:lnTo>
                      <a:pt x="135" y="439"/>
                    </a:lnTo>
                    <a:lnTo>
                      <a:pt x="138" y="436"/>
                    </a:lnTo>
                    <a:lnTo>
                      <a:pt x="138" y="436"/>
                    </a:lnTo>
                    <a:lnTo>
                      <a:pt x="138" y="426"/>
                    </a:lnTo>
                    <a:lnTo>
                      <a:pt x="138" y="420"/>
                    </a:lnTo>
                    <a:lnTo>
                      <a:pt x="139" y="416"/>
                    </a:lnTo>
                    <a:lnTo>
                      <a:pt x="139" y="416"/>
                    </a:lnTo>
                    <a:lnTo>
                      <a:pt x="146" y="407"/>
                    </a:lnTo>
                    <a:lnTo>
                      <a:pt x="149" y="404"/>
                    </a:lnTo>
                    <a:lnTo>
                      <a:pt x="151" y="403"/>
                    </a:lnTo>
                    <a:lnTo>
                      <a:pt x="149" y="401"/>
                    </a:lnTo>
                    <a:lnTo>
                      <a:pt x="149" y="401"/>
                    </a:lnTo>
                    <a:lnTo>
                      <a:pt x="145" y="400"/>
                    </a:lnTo>
                    <a:lnTo>
                      <a:pt x="143" y="398"/>
                    </a:lnTo>
                    <a:lnTo>
                      <a:pt x="143" y="397"/>
                    </a:lnTo>
                    <a:lnTo>
                      <a:pt x="143" y="397"/>
                    </a:lnTo>
                    <a:lnTo>
                      <a:pt x="149" y="392"/>
                    </a:lnTo>
                    <a:lnTo>
                      <a:pt x="151" y="390"/>
                    </a:lnTo>
                    <a:lnTo>
                      <a:pt x="149" y="388"/>
                    </a:lnTo>
                    <a:lnTo>
                      <a:pt x="149" y="388"/>
                    </a:lnTo>
                    <a:lnTo>
                      <a:pt x="143" y="379"/>
                    </a:lnTo>
                    <a:lnTo>
                      <a:pt x="140" y="374"/>
                    </a:lnTo>
                    <a:lnTo>
                      <a:pt x="139" y="368"/>
                    </a:lnTo>
                    <a:lnTo>
                      <a:pt x="139" y="368"/>
                    </a:lnTo>
                    <a:lnTo>
                      <a:pt x="138" y="363"/>
                    </a:lnTo>
                    <a:lnTo>
                      <a:pt x="139" y="361"/>
                    </a:lnTo>
                    <a:lnTo>
                      <a:pt x="142" y="359"/>
                    </a:lnTo>
                    <a:lnTo>
                      <a:pt x="145" y="359"/>
                    </a:lnTo>
                    <a:lnTo>
                      <a:pt x="145" y="359"/>
                    </a:lnTo>
                    <a:lnTo>
                      <a:pt x="156" y="363"/>
                    </a:lnTo>
                    <a:lnTo>
                      <a:pt x="162" y="366"/>
                    </a:lnTo>
                    <a:lnTo>
                      <a:pt x="168" y="366"/>
                    </a:lnTo>
                    <a:lnTo>
                      <a:pt x="168" y="366"/>
                    </a:lnTo>
                    <a:lnTo>
                      <a:pt x="177" y="365"/>
                    </a:lnTo>
                    <a:lnTo>
                      <a:pt x="181" y="363"/>
                    </a:lnTo>
                    <a:lnTo>
                      <a:pt x="184" y="361"/>
                    </a:lnTo>
                    <a:lnTo>
                      <a:pt x="184" y="361"/>
                    </a:lnTo>
                    <a:lnTo>
                      <a:pt x="185" y="356"/>
                    </a:lnTo>
                    <a:lnTo>
                      <a:pt x="185" y="352"/>
                    </a:lnTo>
                    <a:lnTo>
                      <a:pt x="185" y="348"/>
                    </a:lnTo>
                    <a:lnTo>
                      <a:pt x="185" y="343"/>
                    </a:lnTo>
                    <a:lnTo>
                      <a:pt x="185" y="343"/>
                    </a:lnTo>
                    <a:lnTo>
                      <a:pt x="185" y="337"/>
                    </a:lnTo>
                    <a:lnTo>
                      <a:pt x="185" y="332"/>
                    </a:lnTo>
                    <a:lnTo>
                      <a:pt x="185" y="327"/>
                    </a:lnTo>
                    <a:lnTo>
                      <a:pt x="185" y="324"/>
                    </a:lnTo>
                    <a:lnTo>
                      <a:pt x="187" y="323"/>
                    </a:lnTo>
                    <a:lnTo>
                      <a:pt x="187" y="323"/>
                    </a:lnTo>
                    <a:lnTo>
                      <a:pt x="193" y="320"/>
                    </a:lnTo>
                    <a:lnTo>
                      <a:pt x="201" y="320"/>
                    </a:lnTo>
                    <a:lnTo>
                      <a:pt x="201" y="320"/>
                    </a:lnTo>
                    <a:lnTo>
                      <a:pt x="214" y="319"/>
                    </a:lnTo>
                    <a:lnTo>
                      <a:pt x="227" y="317"/>
                    </a:lnTo>
                    <a:lnTo>
                      <a:pt x="227" y="317"/>
                    </a:lnTo>
                    <a:lnTo>
                      <a:pt x="236" y="314"/>
                    </a:lnTo>
                    <a:lnTo>
                      <a:pt x="248" y="310"/>
                    </a:lnTo>
                    <a:lnTo>
                      <a:pt x="258" y="304"/>
                    </a:lnTo>
                    <a:lnTo>
                      <a:pt x="262" y="301"/>
                    </a:lnTo>
                    <a:lnTo>
                      <a:pt x="265" y="298"/>
                    </a:lnTo>
                    <a:lnTo>
                      <a:pt x="265" y="298"/>
                    </a:lnTo>
                    <a:lnTo>
                      <a:pt x="272" y="285"/>
                    </a:lnTo>
                    <a:lnTo>
                      <a:pt x="275" y="279"/>
                    </a:lnTo>
                    <a:lnTo>
                      <a:pt x="275" y="275"/>
                    </a:lnTo>
                    <a:lnTo>
                      <a:pt x="275" y="275"/>
                    </a:lnTo>
                    <a:lnTo>
                      <a:pt x="275" y="271"/>
                    </a:lnTo>
                    <a:lnTo>
                      <a:pt x="274" y="269"/>
                    </a:lnTo>
                    <a:lnTo>
                      <a:pt x="272" y="266"/>
                    </a:lnTo>
                    <a:lnTo>
                      <a:pt x="269" y="266"/>
                    </a:lnTo>
                    <a:lnTo>
                      <a:pt x="269" y="266"/>
                    </a:lnTo>
                    <a:lnTo>
                      <a:pt x="265" y="264"/>
                    </a:lnTo>
                    <a:lnTo>
                      <a:pt x="264" y="262"/>
                    </a:lnTo>
                    <a:lnTo>
                      <a:pt x="264" y="259"/>
                    </a:lnTo>
                    <a:lnTo>
                      <a:pt x="264" y="259"/>
                    </a:lnTo>
                    <a:lnTo>
                      <a:pt x="268" y="253"/>
                    </a:lnTo>
                    <a:lnTo>
                      <a:pt x="268" y="249"/>
                    </a:lnTo>
                    <a:lnTo>
                      <a:pt x="266" y="246"/>
                    </a:lnTo>
                    <a:lnTo>
                      <a:pt x="266" y="246"/>
                    </a:lnTo>
                    <a:lnTo>
                      <a:pt x="248" y="230"/>
                    </a:lnTo>
                    <a:lnTo>
                      <a:pt x="248" y="230"/>
                    </a:lnTo>
                    <a:lnTo>
                      <a:pt x="243" y="224"/>
                    </a:lnTo>
                    <a:lnTo>
                      <a:pt x="242" y="223"/>
                    </a:lnTo>
                    <a:lnTo>
                      <a:pt x="243" y="222"/>
                    </a:lnTo>
                    <a:lnTo>
                      <a:pt x="243" y="222"/>
                    </a:lnTo>
                    <a:lnTo>
                      <a:pt x="248" y="223"/>
                    </a:lnTo>
                    <a:lnTo>
                      <a:pt x="248" y="223"/>
                    </a:lnTo>
                    <a:lnTo>
                      <a:pt x="249" y="210"/>
                    </a:lnTo>
                    <a:lnTo>
                      <a:pt x="252" y="198"/>
                    </a:lnTo>
                    <a:lnTo>
                      <a:pt x="252" y="198"/>
                    </a:lnTo>
                    <a:lnTo>
                      <a:pt x="253" y="188"/>
                    </a:lnTo>
                    <a:lnTo>
                      <a:pt x="255" y="175"/>
                    </a:lnTo>
                    <a:lnTo>
                      <a:pt x="256" y="156"/>
                    </a:lnTo>
                    <a:lnTo>
                      <a:pt x="256" y="156"/>
                    </a:lnTo>
                    <a:lnTo>
                      <a:pt x="256" y="153"/>
                    </a:lnTo>
                    <a:lnTo>
                      <a:pt x="259" y="151"/>
                    </a:lnTo>
                    <a:lnTo>
                      <a:pt x="264" y="148"/>
                    </a:lnTo>
                    <a:lnTo>
                      <a:pt x="265" y="143"/>
                    </a:lnTo>
                    <a:lnTo>
                      <a:pt x="265" y="143"/>
                    </a:lnTo>
                    <a:lnTo>
                      <a:pt x="268" y="138"/>
                    </a:lnTo>
                    <a:lnTo>
                      <a:pt x="271" y="130"/>
                    </a:lnTo>
                    <a:lnTo>
                      <a:pt x="275" y="124"/>
                    </a:lnTo>
                    <a:lnTo>
                      <a:pt x="281" y="119"/>
                    </a:lnTo>
                    <a:lnTo>
                      <a:pt x="281" y="119"/>
                    </a:lnTo>
                    <a:lnTo>
                      <a:pt x="303" y="103"/>
                    </a:lnTo>
                    <a:lnTo>
                      <a:pt x="313" y="96"/>
                    </a:lnTo>
                    <a:lnTo>
                      <a:pt x="316" y="91"/>
                    </a:lnTo>
                    <a:lnTo>
                      <a:pt x="317" y="90"/>
                    </a:lnTo>
                    <a:lnTo>
                      <a:pt x="317" y="90"/>
                    </a:lnTo>
                    <a:lnTo>
                      <a:pt x="319" y="84"/>
                    </a:lnTo>
                    <a:lnTo>
                      <a:pt x="317" y="75"/>
                    </a:lnTo>
                    <a:lnTo>
                      <a:pt x="314" y="69"/>
                    </a:lnTo>
                    <a:lnTo>
                      <a:pt x="313" y="67"/>
                    </a:lnTo>
                    <a:lnTo>
                      <a:pt x="311" y="6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5" name="Freeform 668"/>
              <p:cNvSpPr>
                <a:spLocks/>
              </p:cNvSpPr>
              <p:nvPr/>
            </p:nvSpPr>
            <p:spPr bwMode="auto">
              <a:xfrm>
                <a:off x="3414566" y="3618862"/>
                <a:ext cx="123657" cy="147400"/>
              </a:xfrm>
              <a:custGeom>
                <a:avLst/>
                <a:gdLst>
                  <a:gd name="T0" fmla="*/ 122 w 125"/>
                  <a:gd name="T1" fmla="*/ 107 h 149"/>
                  <a:gd name="T2" fmla="*/ 125 w 125"/>
                  <a:gd name="T3" fmla="*/ 95 h 149"/>
                  <a:gd name="T4" fmla="*/ 122 w 125"/>
                  <a:gd name="T5" fmla="*/ 85 h 149"/>
                  <a:gd name="T6" fmla="*/ 118 w 125"/>
                  <a:gd name="T7" fmla="*/ 81 h 149"/>
                  <a:gd name="T8" fmla="*/ 115 w 125"/>
                  <a:gd name="T9" fmla="*/ 74 h 149"/>
                  <a:gd name="T10" fmla="*/ 115 w 125"/>
                  <a:gd name="T11" fmla="*/ 69 h 149"/>
                  <a:gd name="T12" fmla="*/ 111 w 125"/>
                  <a:gd name="T13" fmla="*/ 59 h 149"/>
                  <a:gd name="T14" fmla="*/ 108 w 125"/>
                  <a:gd name="T15" fmla="*/ 56 h 149"/>
                  <a:gd name="T16" fmla="*/ 92 w 125"/>
                  <a:gd name="T17" fmla="*/ 55 h 149"/>
                  <a:gd name="T18" fmla="*/ 77 w 125"/>
                  <a:gd name="T19" fmla="*/ 50 h 149"/>
                  <a:gd name="T20" fmla="*/ 76 w 125"/>
                  <a:gd name="T21" fmla="*/ 48 h 149"/>
                  <a:gd name="T22" fmla="*/ 71 w 125"/>
                  <a:gd name="T23" fmla="*/ 21 h 149"/>
                  <a:gd name="T24" fmla="*/ 70 w 125"/>
                  <a:gd name="T25" fmla="*/ 16 h 149"/>
                  <a:gd name="T26" fmla="*/ 70 w 125"/>
                  <a:gd name="T27" fmla="*/ 8 h 149"/>
                  <a:gd name="T28" fmla="*/ 56 w 125"/>
                  <a:gd name="T29" fmla="*/ 0 h 149"/>
                  <a:gd name="T30" fmla="*/ 53 w 125"/>
                  <a:gd name="T31" fmla="*/ 0 h 149"/>
                  <a:gd name="T32" fmla="*/ 34 w 125"/>
                  <a:gd name="T33" fmla="*/ 6 h 149"/>
                  <a:gd name="T34" fmla="*/ 28 w 125"/>
                  <a:gd name="T35" fmla="*/ 6 h 149"/>
                  <a:gd name="T36" fmla="*/ 16 w 125"/>
                  <a:gd name="T37" fmla="*/ 3 h 149"/>
                  <a:gd name="T38" fmla="*/ 11 w 125"/>
                  <a:gd name="T39" fmla="*/ 1 h 149"/>
                  <a:gd name="T40" fmla="*/ 6 w 125"/>
                  <a:gd name="T41" fmla="*/ 1 h 149"/>
                  <a:gd name="T42" fmla="*/ 0 w 125"/>
                  <a:gd name="T43" fmla="*/ 11 h 149"/>
                  <a:gd name="T44" fmla="*/ 0 w 125"/>
                  <a:gd name="T45" fmla="*/ 20 h 149"/>
                  <a:gd name="T46" fmla="*/ 0 w 125"/>
                  <a:gd name="T47" fmla="*/ 56 h 149"/>
                  <a:gd name="T48" fmla="*/ 12 w 125"/>
                  <a:gd name="T49" fmla="*/ 66 h 149"/>
                  <a:gd name="T50" fmla="*/ 14 w 125"/>
                  <a:gd name="T51" fmla="*/ 69 h 149"/>
                  <a:gd name="T52" fmla="*/ 18 w 125"/>
                  <a:gd name="T53" fmla="*/ 68 h 149"/>
                  <a:gd name="T54" fmla="*/ 21 w 125"/>
                  <a:gd name="T55" fmla="*/ 66 h 149"/>
                  <a:gd name="T56" fmla="*/ 25 w 125"/>
                  <a:gd name="T57" fmla="*/ 69 h 149"/>
                  <a:gd name="T58" fmla="*/ 37 w 125"/>
                  <a:gd name="T59" fmla="*/ 84 h 149"/>
                  <a:gd name="T60" fmla="*/ 44 w 125"/>
                  <a:gd name="T61" fmla="*/ 91 h 149"/>
                  <a:gd name="T62" fmla="*/ 73 w 125"/>
                  <a:gd name="T63" fmla="*/ 110 h 149"/>
                  <a:gd name="T64" fmla="*/ 73 w 125"/>
                  <a:gd name="T65" fmla="*/ 111 h 149"/>
                  <a:gd name="T66" fmla="*/ 69 w 125"/>
                  <a:gd name="T67" fmla="*/ 123 h 149"/>
                  <a:gd name="T68" fmla="*/ 63 w 125"/>
                  <a:gd name="T69" fmla="*/ 140 h 149"/>
                  <a:gd name="T70" fmla="*/ 63 w 125"/>
                  <a:gd name="T71" fmla="*/ 143 h 149"/>
                  <a:gd name="T72" fmla="*/ 73 w 125"/>
                  <a:gd name="T73" fmla="*/ 146 h 149"/>
                  <a:gd name="T74" fmla="*/ 87 w 125"/>
                  <a:gd name="T75" fmla="*/ 146 h 149"/>
                  <a:gd name="T76" fmla="*/ 95 w 125"/>
                  <a:gd name="T77" fmla="*/ 145 h 149"/>
                  <a:gd name="T78" fmla="*/ 100 w 125"/>
                  <a:gd name="T79" fmla="*/ 148 h 149"/>
                  <a:gd name="T80" fmla="*/ 102 w 125"/>
                  <a:gd name="T81" fmla="*/ 149 h 149"/>
                  <a:gd name="T82" fmla="*/ 106 w 125"/>
                  <a:gd name="T83" fmla="*/ 148 h 149"/>
                  <a:gd name="T84" fmla="*/ 109 w 125"/>
                  <a:gd name="T85" fmla="*/ 137 h 149"/>
                  <a:gd name="T86" fmla="*/ 115 w 125"/>
                  <a:gd name="T87" fmla="*/ 127 h 149"/>
                  <a:gd name="T88" fmla="*/ 122 w 125"/>
                  <a:gd name="T89" fmla="*/ 113 h 149"/>
                  <a:gd name="T90" fmla="*/ 122 w 125"/>
                  <a:gd name="T91" fmla="*/ 107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25" h="149">
                    <a:moveTo>
                      <a:pt x="122" y="107"/>
                    </a:moveTo>
                    <a:lnTo>
                      <a:pt x="122" y="107"/>
                    </a:lnTo>
                    <a:lnTo>
                      <a:pt x="124" y="103"/>
                    </a:lnTo>
                    <a:lnTo>
                      <a:pt x="125" y="95"/>
                    </a:lnTo>
                    <a:lnTo>
                      <a:pt x="124" y="90"/>
                    </a:lnTo>
                    <a:lnTo>
                      <a:pt x="122" y="85"/>
                    </a:lnTo>
                    <a:lnTo>
                      <a:pt x="122" y="85"/>
                    </a:lnTo>
                    <a:lnTo>
                      <a:pt x="118" y="81"/>
                    </a:lnTo>
                    <a:lnTo>
                      <a:pt x="115" y="78"/>
                    </a:lnTo>
                    <a:lnTo>
                      <a:pt x="115" y="74"/>
                    </a:lnTo>
                    <a:lnTo>
                      <a:pt x="115" y="74"/>
                    </a:lnTo>
                    <a:lnTo>
                      <a:pt x="115" y="69"/>
                    </a:lnTo>
                    <a:lnTo>
                      <a:pt x="112" y="63"/>
                    </a:lnTo>
                    <a:lnTo>
                      <a:pt x="111" y="59"/>
                    </a:lnTo>
                    <a:lnTo>
                      <a:pt x="108" y="56"/>
                    </a:lnTo>
                    <a:lnTo>
                      <a:pt x="108" y="56"/>
                    </a:lnTo>
                    <a:lnTo>
                      <a:pt x="102" y="55"/>
                    </a:lnTo>
                    <a:lnTo>
                      <a:pt x="92" y="55"/>
                    </a:lnTo>
                    <a:lnTo>
                      <a:pt x="80" y="52"/>
                    </a:lnTo>
                    <a:lnTo>
                      <a:pt x="77" y="50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4" y="35"/>
                    </a:lnTo>
                    <a:lnTo>
                      <a:pt x="71" y="21"/>
                    </a:lnTo>
                    <a:lnTo>
                      <a:pt x="71" y="21"/>
                    </a:lnTo>
                    <a:lnTo>
                      <a:pt x="70" y="16"/>
                    </a:lnTo>
                    <a:lnTo>
                      <a:pt x="70" y="13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3" y="0"/>
                    </a:lnTo>
                    <a:lnTo>
                      <a:pt x="47" y="0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6"/>
                    </a:lnTo>
                    <a:lnTo>
                      <a:pt x="22" y="4"/>
                    </a:lnTo>
                    <a:lnTo>
                      <a:pt x="16" y="3"/>
                    </a:lnTo>
                    <a:lnTo>
                      <a:pt x="11" y="1"/>
                    </a:lnTo>
                    <a:lnTo>
                      <a:pt x="11" y="1"/>
                    </a:lnTo>
                    <a:lnTo>
                      <a:pt x="8" y="1"/>
                    </a:lnTo>
                    <a:lnTo>
                      <a:pt x="6" y="1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6" y="61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4" y="69"/>
                    </a:lnTo>
                    <a:lnTo>
                      <a:pt x="15" y="68"/>
                    </a:lnTo>
                    <a:lnTo>
                      <a:pt x="18" y="68"/>
                    </a:lnTo>
                    <a:lnTo>
                      <a:pt x="21" y="66"/>
                    </a:lnTo>
                    <a:lnTo>
                      <a:pt x="21" y="66"/>
                    </a:lnTo>
                    <a:lnTo>
                      <a:pt x="24" y="66"/>
                    </a:lnTo>
                    <a:lnTo>
                      <a:pt x="25" y="69"/>
                    </a:lnTo>
                    <a:lnTo>
                      <a:pt x="31" y="75"/>
                    </a:lnTo>
                    <a:lnTo>
                      <a:pt x="37" y="84"/>
                    </a:lnTo>
                    <a:lnTo>
                      <a:pt x="44" y="91"/>
                    </a:lnTo>
                    <a:lnTo>
                      <a:pt x="44" y="91"/>
                    </a:lnTo>
                    <a:lnTo>
                      <a:pt x="60" y="101"/>
                    </a:lnTo>
                    <a:lnTo>
                      <a:pt x="73" y="110"/>
                    </a:lnTo>
                    <a:lnTo>
                      <a:pt x="73" y="110"/>
                    </a:lnTo>
                    <a:lnTo>
                      <a:pt x="73" y="111"/>
                    </a:lnTo>
                    <a:lnTo>
                      <a:pt x="73" y="114"/>
                    </a:lnTo>
                    <a:lnTo>
                      <a:pt x="69" y="123"/>
                    </a:lnTo>
                    <a:lnTo>
                      <a:pt x="64" y="132"/>
                    </a:lnTo>
                    <a:lnTo>
                      <a:pt x="63" y="140"/>
                    </a:lnTo>
                    <a:lnTo>
                      <a:pt x="63" y="140"/>
                    </a:lnTo>
                    <a:lnTo>
                      <a:pt x="63" y="143"/>
                    </a:lnTo>
                    <a:lnTo>
                      <a:pt x="64" y="145"/>
                    </a:lnTo>
                    <a:lnTo>
                      <a:pt x="73" y="146"/>
                    </a:lnTo>
                    <a:lnTo>
                      <a:pt x="87" y="146"/>
                    </a:lnTo>
                    <a:lnTo>
                      <a:pt x="87" y="146"/>
                    </a:lnTo>
                    <a:lnTo>
                      <a:pt x="92" y="146"/>
                    </a:lnTo>
                    <a:lnTo>
                      <a:pt x="95" y="145"/>
                    </a:lnTo>
                    <a:lnTo>
                      <a:pt x="98" y="145"/>
                    </a:lnTo>
                    <a:lnTo>
                      <a:pt x="100" y="148"/>
                    </a:lnTo>
                    <a:lnTo>
                      <a:pt x="100" y="148"/>
                    </a:lnTo>
                    <a:lnTo>
                      <a:pt x="102" y="149"/>
                    </a:lnTo>
                    <a:lnTo>
                      <a:pt x="103" y="149"/>
                    </a:lnTo>
                    <a:lnTo>
                      <a:pt x="106" y="148"/>
                    </a:lnTo>
                    <a:lnTo>
                      <a:pt x="109" y="142"/>
                    </a:lnTo>
                    <a:lnTo>
                      <a:pt x="109" y="137"/>
                    </a:lnTo>
                    <a:lnTo>
                      <a:pt x="109" y="137"/>
                    </a:lnTo>
                    <a:lnTo>
                      <a:pt x="115" y="127"/>
                    </a:lnTo>
                    <a:lnTo>
                      <a:pt x="122" y="113"/>
                    </a:lnTo>
                    <a:lnTo>
                      <a:pt x="122" y="113"/>
                    </a:lnTo>
                    <a:lnTo>
                      <a:pt x="121" y="110"/>
                    </a:lnTo>
                    <a:lnTo>
                      <a:pt x="122" y="10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6" name="Freeform 669"/>
              <p:cNvSpPr>
                <a:spLocks/>
              </p:cNvSpPr>
              <p:nvPr/>
            </p:nvSpPr>
            <p:spPr bwMode="auto">
              <a:xfrm>
                <a:off x="3414566" y="3618862"/>
                <a:ext cx="123657" cy="147400"/>
              </a:xfrm>
              <a:custGeom>
                <a:avLst/>
                <a:gdLst>
                  <a:gd name="T0" fmla="*/ 122 w 125"/>
                  <a:gd name="T1" fmla="*/ 107 h 149"/>
                  <a:gd name="T2" fmla="*/ 125 w 125"/>
                  <a:gd name="T3" fmla="*/ 95 h 149"/>
                  <a:gd name="T4" fmla="*/ 122 w 125"/>
                  <a:gd name="T5" fmla="*/ 85 h 149"/>
                  <a:gd name="T6" fmla="*/ 118 w 125"/>
                  <a:gd name="T7" fmla="*/ 81 h 149"/>
                  <a:gd name="T8" fmla="*/ 115 w 125"/>
                  <a:gd name="T9" fmla="*/ 74 h 149"/>
                  <a:gd name="T10" fmla="*/ 115 w 125"/>
                  <a:gd name="T11" fmla="*/ 69 h 149"/>
                  <a:gd name="T12" fmla="*/ 111 w 125"/>
                  <a:gd name="T13" fmla="*/ 59 h 149"/>
                  <a:gd name="T14" fmla="*/ 108 w 125"/>
                  <a:gd name="T15" fmla="*/ 56 h 149"/>
                  <a:gd name="T16" fmla="*/ 92 w 125"/>
                  <a:gd name="T17" fmla="*/ 55 h 149"/>
                  <a:gd name="T18" fmla="*/ 77 w 125"/>
                  <a:gd name="T19" fmla="*/ 50 h 149"/>
                  <a:gd name="T20" fmla="*/ 76 w 125"/>
                  <a:gd name="T21" fmla="*/ 48 h 149"/>
                  <a:gd name="T22" fmla="*/ 71 w 125"/>
                  <a:gd name="T23" fmla="*/ 21 h 149"/>
                  <a:gd name="T24" fmla="*/ 70 w 125"/>
                  <a:gd name="T25" fmla="*/ 16 h 149"/>
                  <a:gd name="T26" fmla="*/ 70 w 125"/>
                  <a:gd name="T27" fmla="*/ 8 h 149"/>
                  <a:gd name="T28" fmla="*/ 56 w 125"/>
                  <a:gd name="T29" fmla="*/ 0 h 149"/>
                  <a:gd name="T30" fmla="*/ 53 w 125"/>
                  <a:gd name="T31" fmla="*/ 0 h 149"/>
                  <a:gd name="T32" fmla="*/ 34 w 125"/>
                  <a:gd name="T33" fmla="*/ 6 h 149"/>
                  <a:gd name="T34" fmla="*/ 28 w 125"/>
                  <a:gd name="T35" fmla="*/ 6 h 149"/>
                  <a:gd name="T36" fmla="*/ 16 w 125"/>
                  <a:gd name="T37" fmla="*/ 3 h 149"/>
                  <a:gd name="T38" fmla="*/ 11 w 125"/>
                  <a:gd name="T39" fmla="*/ 1 h 149"/>
                  <a:gd name="T40" fmla="*/ 6 w 125"/>
                  <a:gd name="T41" fmla="*/ 1 h 149"/>
                  <a:gd name="T42" fmla="*/ 0 w 125"/>
                  <a:gd name="T43" fmla="*/ 11 h 149"/>
                  <a:gd name="T44" fmla="*/ 0 w 125"/>
                  <a:gd name="T45" fmla="*/ 20 h 149"/>
                  <a:gd name="T46" fmla="*/ 0 w 125"/>
                  <a:gd name="T47" fmla="*/ 56 h 149"/>
                  <a:gd name="T48" fmla="*/ 12 w 125"/>
                  <a:gd name="T49" fmla="*/ 66 h 149"/>
                  <a:gd name="T50" fmla="*/ 14 w 125"/>
                  <a:gd name="T51" fmla="*/ 69 h 149"/>
                  <a:gd name="T52" fmla="*/ 18 w 125"/>
                  <a:gd name="T53" fmla="*/ 68 h 149"/>
                  <a:gd name="T54" fmla="*/ 21 w 125"/>
                  <a:gd name="T55" fmla="*/ 66 h 149"/>
                  <a:gd name="T56" fmla="*/ 25 w 125"/>
                  <a:gd name="T57" fmla="*/ 69 h 149"/>
                  <a:gd name="T58" fmla="*/ 37 w 125"/>
                  <a:gd name="T59" fmla="*/ 84 h 149"/>
                  <a:gd name="T60" fmla="*/ 44 w 125"/>
                  <a:gd name="T61" fmla="*/ 91 h 149"/>
                  <a:gd name="T62" fmla="*/ 73 w 125"/>
                  <a:gd name="T63" fmla="*/ 110 h 149"/>
                  <a:gd name="T64" fmla="*/ 73 w 125"/>
                  <a:gd name="T65" fmla="*/ 111 h 149"/>
                  <a:gd name="T66" fmla="*/ 69 w 125"/>
                  <a:gd name="T67" fmla="*/ 123 h 149"/>
                  <a:gd name="T68" fmla="*/ 63 w 125"/>
                  <a:gd name="T69" fmla="*/ 140 h 149"/>
                  <a:gd name="T70" fmla="*/ 63 w 125"/>
                  <a:gd name="T71" fmla="*/ 143 h 149"/>
                  <a:gd name="T72" fmla="*/ 73 w 125"/>
                  <a:gd name="T73" fmla="*/ 146 h 149"/>
                  <a:gd name="T74" fmla="*/ 87 w 125"/>
                  <a:gd name="T75" fmla="*/ 146 h 149"/>
                  <a:gd name="T76" fmla="*/ 95 w 125"/>
                  <a:gd name="T77" fmla="*/ 145 h 149"/>
                  <a:gd name="T78" fmla="*/ 100 w 125"/>
                  <a:gd name="T79" fmla="*/ 148 h 149"/>
                  <a:gd name="T80" fmla="*/ 102 w 125"/>
                  <a:gd name="T81" fmla="*/ 149 h 149"/>
                  <a:gd name="T82" fmla="*/ 106 w 125"/>
                  <a:gd name="T83" fmla="*/ 148 h 149"/>
                  <a:gd name="T84" fmla="*/ 109 w 125"/>
                  <a:gd name="T85" fmla="*/ 137 h 149"/>
                  <a:gd name="T86" fmla="*/ 115 w 125"/>
                  <a:gd name="T87" fmla="*/ 127 h 149"/>
                  <a:gd name="T88" fmla="*/ 122 w 125"/>
                  <a:gd name="T89" fmla="*/ 113 h 149"/>
                  <a:gd name="T90" fmla="*/ 122 w 125"/>
                  <a:gd name="T91" fmla="*/ 107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25" h="149">
                    <a:moveTo>
                      <a:pt x="122" y="107"/>
                    </a:moveTo>
                    <a:lnTo>
                      <a:pt x="122" y="107"/>
                    </a:lnTo>
                    <a:lnTo>
                      <a:pt x="124" y="103"/>
                    </a:lnTo>
                    <a:lnTo>
                      <a:pt x="125" y="95"/>
                    </a:lnTo>
                    <a:lnTo>
                      <a:pt x="124" y="90"/>
                    </a:lnTo>
                    <a:lnTo>
                      <a:pt x="122" y="85"/>
                    </a:lnTo>
                    <a:lnTo>
                      <a:pt x="122" y="85"/>
                    </a:lnTo>
                    <a:lnTo>
                      <a:pt x="118" y="81"/>
                    </a:lnTo>
                    <a:lnTo>
                      <a:pt x="115" y="78"/>
                    </a:lnTo>
                    <a:lnTo>
                      <a:pt x="115" y="74"/>
                    </a:lnTo>
                    <a:lnTo>
                      <a:pt x="115" y="74"/>
                    </a:lnTo>
                    <a:lnTo>
                      <a:pt x="115" y="69"/>
                    </a:lnTo>
                    <a:lnTo>
                      <a:pt x="112" y="63"/>
                    </a:lnTo>
                    <a:lnTo>
                      <a:pt x="111" y="59"/>
                    </a:lnTo>
                    <a:lnTo>
                      <a:pt x="108" y="56"/>
                    </a:lnTo>
                    <a:lnTo>
                      <a:pt x="108" y="56"/>
                    </a:lnTo>
                    <a:lnTo>
                      <a:pt x="102" y="55"/>
                    </a:lnTo>
                    <a:lnTo>
                      <a:pt x="92" y="55"/>
                    </a:lnTo>
                    <a:lnTo>
                      <a:pt x="80" y="52"/>
                    </a:lnTo>
                    <a:lnTo>
                      <a:pt x="77" y="50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4" y="35"/>
                    </a:lnTo>
                    <a:lnTo>
                      <a:pt x="71" y="21"/>
                    </a:lnTo>
                    <a:lnTo>
                      <a:pt x="71" y="21"/>
                    </a:lnTo>
                    <a:lnTo>
                      <a:pt x="70" y="16"/>
                    </a:lnTo>
                    <a:lnTo>
                      <a:pt x="70" y="13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3" y="0"/>
                    </a:lnTo>
                    <a:lnTo>
                      <a:pt x="47" y="0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6"/>
                    </a:lnTo>
                    <a:lnTo>
                      <a:pt x="22" y="4"/>
                    </a:lnTo>
                    <a:lnTo>
                      <a:pt x="16" y="3"/>
                    </a:lnTo>
                    <a:lnTo>
                      <a:pt x="11" y="1"/>
                    </a:lnTo>
                    <a:lnTo>
                      <a:pt x="11" y="1"/>
                    </a:lnTo>
                    <a:lnTo>
                      <a:pt x="8" y="1"/>
                    </a:lnTo>
                    <a:lnTo>
                      <a:pt x="6" y="1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6" y="61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4" y="69"/>
                    </a:lnTo>
                    <a:lnTo>
                      <a:pt x="15" y="68"/>
                    </a:lnTo>
                    <a:lnTo>
                      <a:pt x="18" y="68"/>
                    </a:lnTo>
                    <a:lnTo>
                      <a:pt x="21" y="66"/>
                    </a:lnTo>
                    <a:lnTo>
                      <a:pt x="21" y="66"/>
                    </a:lnTo>
                    <a:lnTo>
                      <a:pt x="24" y="66"/>
                    </a:lnTo>
                    <a:lnTo>
                      <a:pt x="25" y="69"/>
                    </a:lnTo>
                    <a:lnTo>
                      <a:pt x="31" y="75"/>
                    </a:lnTo>
                    <a:lnTo>
                      <a:pt x="37" y="84"/>
                    </a:lnTo>
                    <a:lnTo>
                      <a:pt x="44" y="91"/>
                    </a:lnTo>
                    <a:lnTo>
                      <a:pt x="44" y="91"/>
                    </a:lnTo>
                    <a:lnTo>
                      <a:pt x="60" y="101"/>
                    </a:lnTo>
                    <a:lnTo>
                      <a:pt x="73" y="110"/>
                    </a:lnTo>
                    <a:lnTo>
                      <a:pt x="73" y="110"/>
                    </a:lnTo>
                    <a:lnTo>
                      <a:pt x="73" y="111"/>
                    </a:lnTo>
                    <a:lnTo>
                      <a:pt x="73" y="114"/>
                    </a:lnTo>
                    <a:lnTo>
                      <a:pt x="69" y="123"/>
                    </a:lnTo>
                    <a:lnTo>
                      <a:pt x="64" y="132"/>
                    </a:lnTo>
                    <a:lnTo>
                      <a:pt x="63" y="140"/>
                    </a:lnTo>
                    <a:lnTo>
                      <a:pt x="63" y="140"/>
                    </a:lnTo>
                    <a:lnTo>
                      <a:pt x="63" y="143"/>
                    </a:lnTo>
                    <a:lnTo>
                      <a:pt x="64" y="145"/>
                    </a:lnTo>
                    <a:lnTo>
                      <a:pt x="73" y="146"/>
                    </a:lnTo>
                    <a:lnTo>
                      <a:pt x="87" y="146"/>
                    </a:lnTo>
                    <a:lnTo>
                      <a:pt x="87" y="146"/>
                    </a:lnTo>
                    <a:lnTo>
                      <a:pt x="92" y="146"/>
                    </a:lnTo>
                    <a:lnTo>
                      <a:pt x="95" y="145"/>
                    </a:lnTo>
                    <a:lnTo>
                      <a:pt x="98" y="145"/>
                    </a:lnTo>
                    <a:lnTo>
                      <a:pt x="100" y="148"/>
                    </a:lnTo>
                    <a:lnTo>
                      <a:pt x="100" y="148"/>
                    </a:lnTo>
                    <a:lnTo>
                      <a:pt x="102" y="149"/>
                    </a:lnTo>
                    <a:lnTo>
                      <a:pt x="103" y="149"/>
                    </a:lnTo>
                    <a:lnTo>
                      <a:pt x="106" y="148"/>
                    </a:lnTo>
                    <a:lnTo>
                      <a:pt x="109" y="142"/>
                    </a:lnTo>
                    <a:lnTo>
                      <a:pt x="109" y="137"/>
                    </a:lnTo>
                    <a:lnTo>
                      <a:pt x="109" y="137"/>
                    </a:lnTo>
                    <a:lnTo>
                      <a:pt x="115" y="127"/>
                    </a:lnTo>
                    <a:lnTo>
                      <a:pt x="122" y="113"/>
                    </a:lnTo>
                    <a:lnTo>
                      <a:pt x="122" y="113"/>
                    </a:lnTo>
                    <a:lnTo>
                      <a:pt x="121" y="110"/>
                    </a:lnTo>
                    <a:lnTo>
                      <a:pt x="122" y="10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7" name="Freeform 670"/>
              <p:cNvSpPr>
                <a:spLocks/>
              </p:cNvSpPr>
              <p:nvPr/>
            </p:nvSpPr>
            <p:spPr bwMode="auto">
              <a:xfrm>
                <a:off x="3151423" y="3127200"/>
                <a:ext cx="185981" cy="266111"/>
              </a:xfrm>
              <a:custGeom>
                <a:avLst/>
                <a:gdLst>
                  <a:gd name="T0" fmla="*/ 171 w 188"/>
                  <a:gd name="T1" fmla="*/ 127 h 269"/>
                  <a:gd name="T2" fmla="*/ 172 w 188"/>
                  <a:gd name="T3" fmla="*/ 119 h 269"/>
                  <a:gd name="T4" fmla="*/ 182 w 188"/>
                  <a:gd name="T5" fmla="*/ 100 h 269"/>
                  <a:gd name="T6" fmla="*/ 174 w 188"/>
                  <a:gd name="T7" fmla="*/ 100 h 269"/>
                  <a:gd name="T8" fmla="*/ 164 w 188"/>
                  <a:gd name="T9" fmla="*/ 101 h 269"/>
                  <a:gd name="T10" fmla="*/ 116 w 188"/>
                  <a:gd name="T11" fmla="*/ 90 h 269"/>
                  <a:gd name="T12" fmla="*/ 104 w 188"/>
                  <a:gd name="T13" fmla="*/ 84 h 269"/>
                  <a:gd name="T14" fmla="*/ 98 w 188"/>
                  <a:gd name="T15" fmla="*/ 74 h 269"/>
                  <a:gd name="T16" fmla="*/ 94 w 188"/>
                  <a:gd name="T17" fmla="*/ 55 h 269"/>
                  <a:gd name="T18" fmla="*/ 93 w 188"/>
                  <a:gd name="T19" fmla="*/ 52 h 269"/>
                  <a:gd name="T20" fmla="*/ 96 w 188"/>
                  <a:gd name="T21" fmla="*/ 36 h 269"/>
                  <a:gd name="T22" fmla="*/ 104 w 188"/>
                  <a:gd name="T23" fmla="*/ 20 h 269"/>
                  <a:gd name="T24" fmla="*/ 116 w 188"/>
                  <a:gd name="T25" fmla="*/ 19 h 269"/>
                  <a:gd name="T26" fmla="*/ 120 w 188"/>
                  <a:gd name="T27" fmla="*/ 14 h 269"/>
                  <a:gd name="T28" fmla="*/ 126 w 188"/>
                  <a:gd name="T29" fmla="*/ 7 h 269"/>
                  <a:gd name="T30" fmla="*/ 119 w 188"/>
                  <a:gd name="T31" fmla="*/ 1 h 269"/>
                  <a:gd name="T32" fmla="*/ 107 w 188"/>
                  <a:gd name="T33" fmla="*/ 4 h 269"/>
                  <a:gd name="T34" fmla="*/ 91 w 188"/>
                  <a:gd name="T35" fmla="*/ 17 h 269"/>
                  <a:gd name="T36" fmla="*/ 83 w 188"/>
                  <a:gd name="T37" fmla="*/ 16 h 269"/>
                  <a:gd name="T38" fmla="*/ 77 w 188"/>
                  <a:gd name="T39" fmla="*/ 16 h 269"/>
                  <a:gd name="T40" fmla="*/ 64 w 188"/>
                  <a:gd name="T41" fmla="*/ 26 h 269"/>
                  <a:gd name="T42" fmla="*/ 56 w 188"/>
                  <a:gd name="T43" fmla="*/ 29 h 269"/>
                  <a:gd name="T44" fmla="*/ 55 w 188"/>
                  <a:gd name="T45" fmla="*/ 33 h 269"/>
                  <a:gd name="T46" fmla="*/ 52 w 188"/>
                  <a:gd name="T47" fmla="*/ 41 h 269"/>
                  <a:gd name="T48" fmla="*/ 52 w 188"/>
                  <a:gd name="T49" fmla="*/ 48 h 269"/>
                  <a:gd name="T50" fmla="*/ 48 w 188"/>
                  <a:gd name="T51" fmla="*/ 51 h 269"/>
                  <a:gd name="T52" fmla="*/ 39 w 188"/>
                  <a:gd name="T53" fmla="*/ 61 h 269"/>
                  <a:gd name="T54" fmla="*/ 29 w 188"/>
                  <a:gd name="T55" fmla="*/ 61 h 269"/>
                  <a:gd name="T56" fmla="*/ 26 w 188"/>
                  <a:gd name="T57" fmla="*/ 74 h 269"/>
                  <a:gd name="T58" fmla="*/ 25 w 188"/>
                  <a:gd name="T59" fmla="*/ 94 h 269"/>
                  <a:gd name="T60" fmla="*/ 26 w 188"/>
                  <a:gd name="T61" fmla="*/ 110 h 269"/>
                  <a:gd name="T62" fmla="*/ 26 w 188"/>
                  <a:gd name="T63" fmla="*/ 113 h 269"/>
                  <a:gd name="T64" fmla="*/ 25 w 188"/>
                  <a:gd name="T65" fmla="*/ 122 h 269"/>
                  <a:gd name="T66" fmla="*/ 26 w 188"/>
                  <a:gd name="T67" fmla="*/ 126 h 269"/>
                  <a:gd name="T68" fmla="*/ 26 w 188"/>
                  <a:gd name="T69" fmla="*/ 136 h 269"/>
                  <a:gd name="T70" fmla="*/ 26 w 188"/>
                  <a:gd name="T71" fmla="*/ 145 h 269"/>
                  <a:gd name="T72" fmla="*/ 20 w 188"/>
                  <a:gd name="T73" fmla="*/ 155 h 269"/>
                  <a:gd name="T74" fmla="*/ 10 w 188"/>
                  <a:gd name="T75" fmla="*/ 156 h 269"/>
                  <a:gd name="T76" fmla="*/ 7 w 188"/>
                  <a:gd name="T77" fmla="*/ 165 h 269"/>
                  <a:gd name="T78" fmla="*/ 4 w 188"/>
                  <a:gd name="T79" fmla="*/ 174 h 269"/>
                  <a:gd name="T80" fmla="*/ 12 w 188"/>
                  <a:gd name="T81" fmla="*/ 182 h 269"/>
                  <a:gd name="T82" fmla="*/ 36 w 188"/>
                  <a:gd name="T83" fmla="*/ 195 h 269"/>
                  <a:gd name="T84" fmla="*/ 64 w 188"/>
                  <a:gd name="T85" fmla="*/ 203 h 269"/>
                  <a:gd name="T86" fmla="*/ 72 w 188"/>
                  <a:gd name="T87" fmla="*/ 209 h 269"/>
                  <a:gd name="T88" fmla="*/ 88 w 188"/>
                  <a:gd name="T89" fmla="*/ 224 h 269"/>
                  <a:gd name="T90" fmla="*/ 114 w 188"/>
                  <a:gd name="T91" fmla="*/ 236 h 269"/>
                  <a:gd name="T92" fmla="*/ 130 w 188"/>
                  <a:gd name="T93" fmla="*/ 237 h 269"/>
                  <a:gd name="T94" fmla="*/ 135 w 188"/>
                  <a:gd name="T95" fmla="*/ 239 h 269"/>
                  <a:gd name="T96" fmla="*/ 133 w 188"/>
                  <a:gd name="T97" fmla="*/ 252 h 269"/>
                  <a:gd name="T98" fmla="*/ 136 w 188"/>
                  <a:gd name="T99" fmla="*/ 262 h 269"/>
                  <a:gd name="T100" fmla="*/ 136 w 188"/>
                  <a:gd name="T101" fmla="*/ 268 h 269"/>
                  <a:gd name="T102" fmla="*/ 140 w 188"/>
                  <a:gd name="T103" fmla="*/ 259 h 269"/>
                  <a:gd name="T104" fmla="*/ 146 w 188"/>
                  <a:gd name="T105" fmla="*/ 242 h 269"/>
                  <a:gd name="T106" fmla="*/ 155 w 188"/>
                  <a:gd name="T107" fmla="*/ 211 h 269"/>
                  <a:gd name="T108" fmla="*/ 148 w 188"/>
                  <a:gd name="T109" fmla="*/ 201 h 269"/>
                  <a:gd name="T110" fmla="*/ 145 w 188"/>
                  <a:gd name="T111" fmla="*/ 194 h 269"/>
                  <a:gd name="T112" fmla="*/ 155 w 188"/>
                  <a:gd name="T113" fmla="*/ 182 h 269"/>
                  <a:gd name="T114" fmla="*/ 169 w 188"/>
                  <a:gd name="T115" fmla="*/ 184 h 269"/>
                  <a:gd name="T116" fmla="*/ 175 w 188"/>
                  <a:gd name="T117" fmla="*/ 180 h 269"/>
                  <a:gd name="T118" fmla="*/ 177 w 188"/>
                  <a:gd name="T119" fmla="*/ 171 h 269"/>
                  <a:gd name="T120" fmla="*/ 188 w 188"/>
                  <a:gd name="T121" fmla="*/ 169 h 269"/>
                  <a:gd name="T122" fmla="*/ 184 w 188"/>
                  <a:gd name="T123" fmla="*/ 161 h 269"/>
                  <a:gd name="T124" fmla="*/ 180 w 188"/>
                  <a:gd name="T125" fmla="*/ 151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8" h="269">
                    <a:moveTo>
                      <a:pt x="175" y="138"/>
                    </a:moveTo>
                    <a:lnTo>
                      <a:pt x="175" y="138"/>
                    </a:lnTo>
                    <a:lnTo>
                      <a:pt x="171" y="127"/>
                    </a:lnTo>
                    <a:lnTo>
                      <a:pt x="171" y="123"/>
                    </a:lnTo>
                    <a:lnTo>
                      <a:pt x="172" y="119"/>
                    </a:lnTo>
                    <a:lnTo>
                      <a:pt x="172" y="119"/>
                    </a:lnTo>
                    <a:lnTo>
                      <a:pt x="180" y="107"/>
                    </a:lnTo>
                    <a:lnTo>
                      <a:pt x="182" y="101"/>
                    </a:lnTo>
                    <a:lnTo>
                      <a:pt x="182" y="100"/>
                    </a:lnTo>
                    <a:lnTo>
                      <a:pt x="181" y="98"/>
                    </a:lnTo>
                    <a:lnTo>
                      <a:pt x="181" y="98"/>
                    </a:lnTo>
                    <a:lnTo>
                      <a:pt x="174" y="100"/>
                    </a:lnTo>
                    <a:lnTo>
                      <a:pt x="169" y="101"/>
                    </a:lnTo>
                    <a:lnTo>
                      <a:pt x="164" y="101"/>
                    </a:lnTo>
                    <a:lnTo>
                      <a:pt x="164" y="101"/>
                    </a:lnTo>
                    <a:lnTo>
                      <a:pt x="140" y="94"/>
                    </a:lnTo>
                    <a:lnTo>
                      <a:pt x="126" y="91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0" y="88"/>
                    </a:lnTo>
                    <a:lnTo>
                      <a:pt x="104" y="84"/>
                    </a:lnTo>
                    <a:lnTo>
                      <a:pt x="101" y="80"/>
                    </a:lnTo>
                    <a:lnTo>
                      <a:pt x="98" y="74"/>
                    </a:lnTo>
                    <a:lnTo>
                      <a:pt x="98" y="74"/>
                    </a:lnTo>
                    <a:lnTo>
                      <a:pt x="98" y="64"/>
                    </a:lnTo>
                    <a:lnTo>
                      <a:pt x="97" y="58"/>
                    </a:lnTo>
                    <a:lnTo>
                      <a:pt x="94" y="55"/>
                    </a:lnTo>
                    <a:lnTo>
                      <a:pt x="94" y="55"/>
                    </a:lnTo>
                    <a:lnTo>
                      <a:pt x="93" y="54"/>
                    </a:lnTo>
                    <a:lnTo>
                      <a:pt x="93" y="52"/>
                    </a:lnTo>
                    <a:lnTo>
                      <a:pt x="93" y="48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7" y="30"/>
                    </a:lnTo>
                    <a:lnTo>
                      <a:pt x="101" y="23"/>
                    </a:lnTo>
                    <a:lnTo>
                      <a:pt x="104" y="20"/>
                    </a:lnTo>
                    <a:lnTo>
                      <a:pt x="107" y="19"/>
                    </a:lnTo>
                    <a:lnTo>
                      <a:pt x="112" y="17"/>
                    </a:lnTo>
                    <a:lnTo>
                      <a:pt x="116" y="19"/>
                    </a:lnTo>
                    <a:lnTo>
                      <a:pt x="116" y="19"/>
                    </a:lnTo>
                    <a:lnTo>
                      <a:pt x="120" y="14"/>
                    </a:lnTo>
                    <a:lnTo>
                      <a:pt x="120" y="14"/>
                    </a:lnTo>
                    <a:lnTo>
                      <a:pt x="123" y="13"/>
                    </a:lnTo>
                    <a:lnTo>
                      <a:pt x="126" y="10"/>
                    </a:lnTo>
                    <a:lnTo>
                      <a:pt x="126" y="7"/>
                    </a:lnTo>
                    <a:lnTo>
                      <a:pt x="123" y="3"/>
                    </a:lnTo>
                    <a:lnTo>
                      <a:pt x="123" y="3"/>
                    </a:lnTo>
                    <a:lnTo>
                      <a:pt x="119" y="1"/>
                    </a:lnTo>
                    <a:lnTo>
                      <a:pt x="116" y="0"/>
                    </a:lnTo>
                    <a:lnTo>
                      <a:pt x="112" y="1"/>
                    </a:lnTo>
                    <a:lnTo>
                      <a:pt x="107" y="4"/>
                    </a:lnTo>
                    <a:lnTo>
                      <a:pt x="107" y="4"/>
                    </a:lnTo>
                    <a:lnTo>
                      <a:pt x="97" y="13"/>
                    </a:lnTo>
                    <a:lnTo>
                      <a:pt x="91" y="17"/>
                    </a:lnTo>
                    <a:lnTo>
                      <a:pt x="87" y="19"/>
                    </a:lnTo>
                    <a:lnTo>
                      <a:pt x="87" y="19"/>
                    </a:lnTo>
                    <a:lnTo>
                      <a:pt x="83" y="16"/>
                    </a:lnTo>
                    <a:lnTo>
                      <a:pt x="80" y="16"/>
                    </a:lnTo>
                    <a:lnTo>
                      <a:pt x="77" y="16"/>
                    </a:lnTo>
                    <a:lnTo>
                      <a:pt x="77" y="16"/>
                    </a:lnTo>
                    <a:lnTo>
                      <a:pt x="71" y="22"/>
                    </a:lnTo>
                    <a:lnTo>
                      <a:pt x="67" y="25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58" y="27"/>
                    </a:lnTo>
                    <a:lnTo>
                      <a:pt x="56" y="29"/>
                    </a:lnTo>
                    <a:lnTo>
                      <a:pt x="56" y="32"/>
                    </a:lnTo>
                    <a:lnTo>
                      <a:pt x="56" y="32"/>
                    </a:lnTo>
                    <a:lnTo>
                      <a:pt x="55" y="33"/>
                    </a:lnTo>
                    <a:lnTo>
                      <a:pt x="54" y="36"/>
                    </a:lnTo>
                    <a:lnTo>
                      <a:pt x="52" y="38"/>
                    </a:lnTo>
                    <a:lnTo>
                      <a:pt x="52" y="41"/>
                    </a:lnTo>
                    <a:lnTo>
                      <a:pt x="52" y="41"/>
                    </a:lnTo>
                    <a:lnTo>
                      <a:pt x="54" y="46"/>
                    </a:lnTo>
                    <a:lnTo>
                      <a:pt x="52" y="48"/>
                    </a:lnTo>
                    <a:lnTo>
                      <a:pt x="51" y="48"/>
                    </a:lnTo>
                    <a:lnTo>
                      <a:pt x="51" y="48"/>
                    </a:lnTo>
                    <a:lnTo>
                      <a:pt x="48" y="51"/>
                    </a:lnTo>
                    <a:lnTo>
                      <a:pt x="45" y="54"/>
                    </a:lnTo>
                    <a:lnTo>
                      <a:pt x="39" y="61"/>
                    </a:lnTo>
                    <a:lnTo>
                      <a:pt x="39" y="61"/>
                    </a:lnTo>
                    <a:lnTo>
                      <a:pt x="35" y="62"/>
                    </a:lnTo>
                    <a:lnTo>
                      <a:pt x="32" y="62"/>
                    </a:lnTo>
                    <a:lnTo>
                      <a:pt x="29" y="61"/>
                    </a:lnTo>
                    <a:lnTo>
                      <a:pt x="29" y="61"/>
                    </a:lnTo>
                    <a:lnTo>
                      <a:pt x="29" y="61"/>
                    </a:lnTo>
                    <a:lnTo>
                      <a:pt x="26" y="74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5" y="94"/>
                    </a:lnTo>
                    <a:lnTo>
                      <a:pt x="25" y="101"/>
                    </a:lnTo>
                    <a:lnTo>
                      <a:pt x="25" y="101"/>
                    </a:lnTo>
                    <a:lnTo>
                      <a:pt x="26" y="110"/>
                    </a:lnTo>
                    <a:lnTo>
                      <a:pt x="26" y="111"/>
                    </a:lnTo>
                    <a:lnTo>
                      <a:pt x="26" y="113"/>
                    </a:lnTo>
                    <a:lnTo>
                      <a:pt x="26" y="113"/>
                    </a:lnTo>
                    <a:lnTo>
                      <a:pt x="23" y="117"/>
                    </a:lnTo>
                    <a:lnTo>
                      <a:pt x="25" y="120"/>
                    </a:lnTo>
                    <a:lnTo>
                      <a:pt x="25" y="122"/>
                    </a:lnTo>
                    <a:lnTo>
                      <a:pt x="25" y="122"/>
                    </a:lnTo>
                    <a:lnTo>
                      <a:pt x="26" y="125"/>
                    </a:lnTo>
                    <a:lnTo>
                      <a:pt x="26" y="126"/>
                    </a:lnTo>
                    <a:lnTo>
                      <a:pt x="25" y="133"/>
                    </a:lnTo>
                    <a:lnTo>
                      <a:pt x="25" y="133"/>
                    </a:lnTo>
                    <a:lnTo>
                      <a:pt x="26" y="136"/>
                    </a:lnTo>
                    <a:lnTo>
                      <a:pt x="28" y="139"/>
                    </a:lnTo>
                    <a:lnTo>
                      <a:pt x="28" y="142"/>
                    </a:lnTo>
                    <a:lnTo>
                      <a:pt x="26" y="145"/>
                    </a:lnTo>
                    <a:lnTo>
                      <a:pt x="26" y="145"/>
                    </a:lnTo>
                    <a:lnTo>
                      <a:pt x="22" y="152"/>
                    </a:lnTo>
                    <a:lnTo>
                      <a:pt x="20" y="155"/>
                    </a:lnTo>
                    <a:lnTo>
                      <a:pt x="17" y="156"/>
                    </a:lnTo>
                    <a:lnTo>
                      <a:pt x="17" y="156"/>
                    </a:lnTo>
                    <a:lnTo>
                      <a:pt x="10" y="156"/>
                    </a:lnTo>
                    <a:lnTo>
                      <a:pt x="7" y="159"/>
                    </a:lnTo>
                    <a:lnTo>
                      <a:pt x="7" y="159"/>
                    </a:lnTo>
                    <a:lnTo>
                      <a:pt x="7" y="165"/>
                    </a:lnTo>
                    <a:lnTo>
                      <a:pt x="6" y="169"/>
                    </a:lnTo>
                    <a:lnTo>
                      <a:pt x="4" y="174"/>
                    </a:lnTo>
                    <a:lnTo>
                      <a:pt x="4" y="174"/>
                    </a:lnTo>
                    <a:lnTo>
                      <a:pt x="0" y="180"/>
                    </a:lnTo>
                    <a:lnTo>
                      <a:pt x="0" y="180"/>
                    </a:lnTo>
                    <a:lnTo>
                      <a:pt x="12" y="182"/>
                    </a:lnTo>
                    <a:lnTo>
                      <a:pt x="22" y="188"/>
                    </a:lnTo>
                    <a:lnTo>
                      <a:pt x="36" y="195"/>
                    </a:lnTo>
                    <a:lnTo>
                      <a:pt x="36" y="195"/>
                    </a:lnTo>
                    <a:lnTo>
                      <a:pt x="42" y="198"/>
                    </a:lnTo>
                    <a:lnTo>
                      <a:pt x="48" y="200"/>
                    </a:lnTo>
                    <a:lnTo>
                      <a:pt x="64" y="203"/>
                    </a:lnTo>
                    <a:lnTo>
                      <a:pt x="64" y="203"/>
                    </a:lnTo>
                    <a:lnTo>
                      <a:pt x="68" y="204"/>
                    </a:lnTo>
                    <a:lnTo>
                      <a:pt x="72" y="209"/>
                    </a:lnTo>
                    <a:lnTo>
                      <a:pt x="81" y="219"/>
                    </a:lnTo>
                    <a:lnTo>
                      <a:pt x="81" y="219"/>
                    </a:lnTo>
                    <a:lnTo>
                      <a:pt x="88" y="224"/>
                    </a:lnTo>
                    <a:lnTo>
                      <a:pt x="97" y="229"/>
                    </a:lnTo>
                    <a:lnTo>
                      <a:pt x="114" y="236"/>
                    </a:lnTo>
                    <a:lnTo>
                      <a:pt x="114" y="236"/>
                    </a:lnTo>
                    <a:lnTo>
                      <a:pt x="122" y="239"/>
                    </a:lnTo>
                    <a:lnTo>
                      <a:pt x="127" y="239"/>
                    </a:lnTo>
                    <a:lnTo>
                      <a:pt x="130" y="237"/>
                    </a:lnTo>
                    <a:lnTo>
                      <a:pt x="133" y="237"/>
                    </a:lnTo>
                    <a:lnTo>
                      <a:pt x="133" y="237"/>
                    </a:lnTo>
                    <a:lnTo>
                      <a:pt x="135" y="239"/>
                    </a:lnTo>
                    <a:lnTo>
                      <a:pt x="135" y="243"/>
                    </a:lnTo>
                    <a:lnTo>
                      <a:pt x="133" y="252"/>
                    </a:lnTo>
                    <a:lnTo>
                      <a:pt x="133" y="252"/>
                    </a:lnTo>
                    <a:lnTo>
                      <a:pt x="133" y="255"/>
                    </a:lnTo>
                    <a:lnTo>
                      <a:pt x="135" y="259"/>
                    </a:lnTo>
                    <a:lnTo>
                      <a:pt x="136" y="262"/>
                    </a:lnTo>
                    <a:lnTo>
                      <a:pt x="136" y="266"/>
                    </a:lnTo>
                    <a:lnTo>
                      <a:pt x="136" y="266"/>
                    </a:lnTo>
                    <a:lnTo>
                      <a:pt x="136" y="268"/>
                    </a:lnTo>
                    <a:lnTo>
                      <a:pt x="139" y="269"/>
                    </a:lnTo>
                    <a:lnTo>
                      <a:pt x="139" y="269"/>
                    </a:lnTo>
                    <a:lnTo>
                      <a:pt x="140" y="259"/>
                    </a:lnTo>
                    <a:lnTo>
                      <a:pt x="142" y="251"/>
                    </a:lnTo>
                    <a:lnTo>
                      <a:pt x="146" y="242"/>
                    </a:lnTo>
                    <a:lnTo>
                      <a:pt x="146" y="242"/>
                    </a:lnTo>
                    <a:lnTo>
                      <a:pt x="152" y="226"/>
                    </a:lnTo>
                    <a:lnTo>
                      <a:pt x="155" y="219"/>
                    </a:lnTo>
                    <a:lnTo>
                      <a:pt x="155" y="211"/>
                    </a:lnTo>
                    <a:lnTo>
                      <a:pt x="155" y="211"/>
                    </a:lnTo>
                    <a:lnTo>
                      <a:pt x="152" y="207"/>
                    </a:lnTo>
                    <a:lnTo>
                      <a:pt x="148" y="201"/>
                    </a:lnTo>
                    <a:lnTo>
                      <a:pt x="145" y="197"/>
                    </a:lnTo>
                    <a:lnTo>
                      <a:pt x="145" y="195"/>
                    </a:lnTo>
                    <a:lnTo>
                      <a:pt x="145" y="194"/>
                    </a:lnTo>
                    <a:lnTo>
                      <a:pt x="145" y="194"/>
                    </a:lnTo>
                    <a:lnTo>
                      <a:pt x="152" y="185"/>
                    </a:lnTo>
                    <a:lnTo>
                      <a:pt x="155" y="182"/>
                    </a:lnTo>
                    <a:lnTo>
                      <a:pt x="159" y="182"/>
                    </a:lnTo>
                    <a:lnTo>
                      <a:pt x="159" y="182"/>
                    </a:lnTo>
                    <a:lnTo>
                      <a:pt x="169" y="184"/>
                    </a:lnTo>
                    <a:lnTo>
                      <a:pt x="174" y="182"/>
                    </a:lnTo>
                    <a:lnTo>
                      <a:pt x="175" y="180"/>
                    </a:lnTo>
                    <a:lnTo>
                      <a:pt x="175" y="180"/>
                    </a:lnTo>
                    <a:lnTo>
                      <a:pt x="174" y="174"/>
                    </a:lnTo>
                    <a:lnTo>
                      <a:pt x="174" y="171"/>
                    </a:lnTo>
                    <a:lnTo>
                      <a:pt x="177" y="171"/>
                    </a:lnTo>
                    <a:lnTo>
                      <a:pt x="177" y="171"/>
                    </a:lnTo>
                    <a:lnTo>
                      <a:pt x="184" y="169"/>
                    </a:lnTo>
                    <a:lnTo>
                      <a:pt x="188" y="169"/>
                    </a:lnTo>
                    <a:lnTo>
                      <a:pt x="188" y="169"/>
                    </a:lnTo>
                    <a:lnTo>
                      <a:pt x="187" y="165"/>
                    </a:lnTo>
                    <a:lnTo>
                      <a:pt x="184" y="161"/>
                    </a:lnTo>
                    <a:lnTo>
                      <a:pt x="184" y="161"/>
                    </a:lnTo>
                    <a:lnTo>
                      <a:pt x="181" y="155"/>
                    </a:lnTo>
                    <a:lnTo>
                      <a:pt x="180" y="151"/>
                    </a:lnTo>
                    <a:lnTo>
                      <a:pt x="175" y="13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8" name="Freeform 671"/>
              <p:cNvSpPr>
                <a:spLocks/>
              </p:cNvSpPr>
              <p:nvPr/>
            </p:nvSpPr>
            <p:spPr bwMode="auto">
              <a:xfrm>
                <a:off x="3151423" y="3127200"/>
                <a:ext cx="185981" cy="266111"/>
              </a:xfrm>
              <a:custGeom>
                <a:avLst/>
                <a:gdLst>
                  <a:gd name="T0" fmla="*/ 171 w 188"/>
                  <a:gd name="T1" fmla="*/ 127 h 269"/>
                  <a:gd name="T2" fmla="*/ 172 w 188"/>
                  <a:gd name="T3" fmla="*/ 119 h 269"/>
                  <a:gd name="T4" fmla="*/ 182 w 188"/>
                  <a:gd name="T5" fmla="*/ 100 h 269"/>
                  <a:gd name="T6" fmla="*/ 174 w 188"/>
                  <a:gd name="T7" fmla="*/ 100 h 269"/>
                  <a:gd name="T8" fmla="*/ 164 w 188"/>
                  <a:gd name="T9" fmla="*/ 101 h 269"/>
                  <a:gd name="T10" fmla="*/ 116 w 188"/>
                  <a:gd name="T11" fmla="*/ 90 h 269"/>
                  <a:gd name="T12" fmla="*/ 104 w 188"/>
                  <a:gd name="T13" fmla="*/ 84 h 269"/>
                  <a:gd name="T14" fmla="*/ 98 w 188"/>
                  <a:gd name="T15" fmla="*/ 74 h 269"/>
                  <a:gd name="T16" fmla="*/ 94 w 188"/>
                  <a:gd name="T17" fmla="*/ 55 h 269"/>
                  <a:gd name="T18" fmla="*/ 93 w 188"/>
                  <a:gd name="T19" fmla="*/ 52 h 269"/>
                  <a:gd name="T20" fmla="*/ 96 w 188"/>
                  <a:gd name="T21" fmla="*/ 36 h 269"/>
                  <a:gd name="T22" fmla="*/ 104 w 188"/>
                  <a:gd name="T23" fmla="*/ 20 h 269"/>
                  <a:gd name="T24" fmla="*/ 116 w 188"/>
                  <a:gd name="T25" fmla="*/ 19 h 269"/>
                  <a:gd name="T26" fmla="*/ 120 w 188"/>
                  <a:gd name="T27" fmla="*/ 14 h 269"/>
                  <a:gd name="T28" fmla="*/ 126 w 188"/>
                  <a:gd name="T29" fmla="*/ 7 h 269"/>
                  <a:gd name="T30" fmla="*/ 119 w 188"/>
                  <a:gd name="T31" fmla="*/ 1 h 269"/>
                  <a:gd name="T32" fmla="*/ 107 w 188"/>
                  <a:gd name="T33" fmla="*/ 4 h 269"/>
                  <a:gd name="T34" fmla="*/ 91 w 188"/>
                  <a:gd name="T35" fmla="*/ 17 h 269"/>
                  <a:gd name="T36" fmla="*/ 83 w 188"/>
                  <a:gd name="T37" fmla="*/ 16 h 269"/>
                  <a:gd name="T38" fmla="*/ 77 w 188"/>
                  <a:gd name="T39" fmla="*/ 16 h 269"/>
                  <a:gd name="T40" fmla="*/ 64 w 188"/>
                  <a:gd name="T41" fmla="*/ 26 h 269"/>
                  <a:gd name="T42" fmla="*/ 56 w 188"/>
                  <a:gd name="T43" fmla="*/ 29 h 269"/>
                  <a:gd name="T44" fmla="*/ 55 w 188"/>
                  <a:gd name="T45" fmla="*/ 33 h 269"/>
                  <a:gd name="T46" fmla="*/ 52 w 188"/>
                  <a:gd name="T47" fmla="*/ 41 h 269"/>
                  <a:gd name="T48" fmla="*/ 52 w 188"/>
                  <a:gd name="T49" fmla="*/ 48 h 269"/>
                  <a:gd name="T50" fmla="*/ 48 w 188"/>
                  <a:gd name="T51" fmla="*/ 51 h 269"/>
                  <a:gd name="T52" fmla="*/ 39 w 188"/>
                  <a:gd name="T53" fmla="*/ 61 h 269"/>
                  <a:gd name="T54" fmla="*/ 29 w 188"/>
                  <a:gd name="T55" fmla="*/ 61 h 269"/>
                  <a:gd name="T56" fmla="*/ 26 w 188"/>
                  <a:gd name="T57" fmla="*/ 74 h 269"/>
                  <a:gd name="T58" fmla="*/ 25 w 188"/>
                  <a:gd name="T59" fmla="*/ 94 h 269"/>
                  <a:gd name="T60" fmla="*/ 26 w 188"/>
                  <a:gd name="T61" fmla="*/ 110 h 269"/>
                  <a:gd name="T62" fmla="*/ 26 w 188"/>
                  <a:gd name="T63" fmla="*/ 113 h 269"/>
                  <a:gd name="T64" fmla="*/ 25 w 188"/>
                  <a:gd name="T65" fmla="*/ 122 h 269"/>
                  <a:gd name="T66" fmla="*/ 26 w 188"/>
                  <a:gd name="T67" fmla="*/ 126 h 269"/>
                  <a:gd name="T68" fmla="*/ 26 w 188"/>
                  <a:gd name="T69" fmla="*/ 136 h 269"/>
                  <a:gd name="T70" fmla="*/ 26 w 188"/>
                  <a:gd name="T71" fmla="*/ 145 h 269"/>
                  <a:gd name="T72" fmla="*/ 20 w 188"/>
                  <a:gd name="T73" fmla="*/ 155 h 269"/>
                  <a:gd name="T74" fmla="*/ 10 w 188"/>
                  <a:gd name="T75" fmla="*/ 156 h 269"/>
                  <a:gd name="T76" fmla="*/ 7 w 188"/>
                  <a:gd name="T77" fmla="*/ 165 h 269"/>
                  <a:gd name="T78" fmla="*/ 4 w 188"/>
                  <a:gd name="T79" fmla="*/ 174 h 269"/>
                  <a:gd name="T80" fmla="*/ 12 w 188"/>
                  <a:gd name="T81" fmla="*/ 182 h 269"/>
                  <a:gd name="T82" fmla="*/ 36 w 188"/>
                  <a:gd name="T83" fmla="*/ 195 h 269"/>
                  <a:gd name="T84" fmla="*/ 64 w 188"/>
                  <a:gd name="T85" fmla="*/ 203 h 269"/>
                  <a:gd name="T86" fmla="*/ 72 w 188"/>
                  <a:gd name="T87" fmla="*/ 209 h 269"/>
                  <a:gd name="T88" fmla="*/ 88 w 188"/>
                  <a:gd name="T89" fmla="*/ 224 h 269"/>
                  <a:gd name="T90" fmla="*/ 114 w 188"/>
                  <a:gd name="T91" fmla="*/ 236 h 269"/>
                  <a:gd name="T92" fmla="*/ 130 w 188"/>
                  <a:gd name="T93" fmla="*/ 237 h 269"/>
                  <a:gd name="T94" fmla="*/ 135 w 188"/>
                  <a:gd name="T95" fmla="*/ 239 h 269"/>
                  <a:gd name="T96" fmla="*/ 133 w 188"/>
                  <a:gd name="T97" fmla="*/ 252 h 269"/>
                  <a:gd name="T98" fmla="*/ 136 w 188"/>
                  <a:gd name="T99" fmla="*/ 262 h 269"/>
                  <a:gd name="T100" fmla="*/ 136 w 188"/>
                  <a:gd name="T101" fmla="*/ 268 h 269"/>
                  <a:gd name="T102" fmla="*/ 140 w 188"/>
                  <a:gd name="T103" fmla="*/ 259 h 269"/>
                  <a:gd name="T104" fmla="*/ 146 w 188"/>
                  <a:gd name="T105" fmla="*/ 242 h 269"/>
                  <a:gd name="T106" fmla="*/ 155 w 188"/>
                  <a:gd name="T107" fmla="*/ 211 h 269"/>
                  <a:gd name="T108" fmla="*/ 148 w 188"/>
                  <a:gd name="T109" fmla="*/ 201 h 269"/>
                  <a:gd name="T110" fmla="*/ 145 w 188"/>
                  <a:gd name="T111" fmla="*/ 194 h 269"/>
                  <a:gd name="T112" fmla="*/ 155 w 188"/>
                  <a:gd name="T113" fmla="*/ 182 h 269"/>
                  <a:gd name="T114" fmla="*/ 169 w 188"/>
                  <a:gd name="T115" fmla="*/ 184 h 269"/>
                  <a:gd name="T116" fmla="*/ 175 w 188"/>
                  <a:gd name="T117" fmla="*/ 180 h 269"/>
                  <a:gd name="T118" fmla="*/ 177 w 188"/>
                  <a:gd name="T119" fmla="*/ 171 h 269"/>
                  <a:gd name="T120" fmla="*/ 188 w 188"/>
                  <a:gd name="T121" fmla="*/ 169 h 269"/>
                  <a:gd name="T122" fmla="*/ 184 w 188"/>
                  <a:gd name="T123" fmla="*/ 161 h 269"/>
                  <a:gd name="T124" fmla="*/ 180 w 188"/>
                  <a:gd name="T125" fmla="*/ 151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8" h="269">
                    <a:moveTo>
                      <a:pt x="175" y="138"/>
                    </a:moveTo>
                    <a:lnTo>
                      <a:pt x="175" y="138"/>
                    </a:lnTo>
                    <a:lnTo>
                      <a:pt x="171" y="127"/>
                    </a:lnTo>
                    <a:lnTo>
                      <a:pt x="171" y="123"/>
                    </a:lnTo>
                    <a:lnTo>
                      <a:pt x="172" y="119"/>
                    </a:lnTo>
                    <a:lnTo>
                      <a:pt x="172" y="119"/>
                    </a:lnTo>
                    <a:lnTo>
                      <a:pt x="180" y="107"/>
                    </a:lnTo>
                    <a:lnTo>
                      <a:pt x="182" y="101"/>
                    </a:lnTo>
                    <a:lnTo>
                      <a:pt x="182" y="100"/>
                    </a:lnTo>
                    <a:lnTo>
                      <a:pt x="181" y="98"/>
                    </a:lnTo>
                    <a:lnTo>
                      <a:pt x="181" y="98"/>
                    </a:lnTo>
                    <a:lnTo>
                      <a:pt x="174" y="100"/>
                    </a:lnTo>
                    <a:lnTo>
                      <a:pt x="169" y="101"/>
                    </a:lnTo>
                    <a:lnTo>
                      <a:pt x="164" y="101"/>
                    </a:lnTo>
                    <a:lnTo>
                      <a:pt x="164" y="101"/>
                    </a:lnTo>
                    <a:lnTo>
                      <a:pt x="140" y="94"/>
                    </a:lnTo>
                    <a:lnTo>
                      <a:pt x="126" y="91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0" y="88"/>
                    </a:lnTo>
                    <a:lnTo>
                      <a:pt x="104" y="84"/>
                    </a:lnTo>
                    <a:lnTo>
                      <a:pt x="101" y="80"/>
                    </a:lnTo>
                    <a:lnTo>
                      <a:pt x="98" y="74"/>
                    </a:lnTo>
                    <a:lnTo>
                      <a:pt x="98" y="74"/>
                    </a:lnTo>
                    <a:lnTo>
                      <a:pt x="98" y="64"/>
                    </a:lnTo>
                    <a:lnTo>
                      <a:pt x="97" y="58"/>
                    </a:lnTo>
                    <a:lnTo>
                      <a:pt x="94" y="55"/>
                    </a:lnTo>
                    <a:lnTo>
                      <a:pt x="94" y="55"/>
                    </a:lnTo>
                    <a:lnTo>
                      <a:pt x="93" y="54"/>
                    </a:lnTo>
                    <a:lnTo>
                      <a:pt x="93" y="52"/>
                    </a:lnTo>
                    <a:lnTo>
                      <a:pt x="93" y="48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7" y="30"/>
                    </a:lnTo>
                    <a:lnTo>
                      <a:pt x="101" y="23"/>
                    </a:lnTo>
                    <a:lnTo>
                      <a:pt x="104" y="20"/>
                    </a:lnTo>
                    <a:lnTo>
                      <a:pt x="107" y="19"/>
                    </a:lnTo>
                    <a:lnTo>
                      <a:pt x="112" y="17"/>
                    </a:lnTo>
                    <a:lnTo>
                      <a:pt x="116" y="19"/>
                    </a:lnTo>
                    <a:lnTo>
                      <a:pt x="116" y="19"/>
                    </a:lnTo>
                    <a:lnTo>
                      <a:pt x="120" y="14"/>
                    </a:lnTo>
                    <a:lnTo>
                      <a:pt x="120" y="14"/>
                    </a:lnTo>
                    <a:lnTo>
                      <a:pt x="123" y="13"/>
                    </a:lnTo>
                    <a:lnTo>
                      <a:pt x="126" y="10"/>
                    </a:lnTo>
                    <a:lnTo>
                      <a:pt x="126" y="7"/>
                    </a:lnTo>
                    <a:lnTo>
                      <a:pt x="123" y="3"/>
                    </a:lnTo>
                    <a:lnTo>
                      <a:pt x="123" y="3"/>
                    </a:lnTo>
                    <a:lnTo>
                      <a:pt x="119" y="1"/>
                    </a:lnTo>
                    <a:lnTo>
                      <a:pt x="116" y="0"/>
                    </a:lnTo>
                    <a:lnTo>
                      <a:pt x="112" y="1"/>
                    </a:lnTo>
                    <a:lnTo>
                      <a:pt x="107" y="4"/>
                    </a:lnTo>
                    <a:lnTo>
                      <a:pt x="107" y="4"/>
                    </a:lnTo>
                    <a:lnTo>
                      <a:pt x="97" y="13"/>
                    </a:lnTo>
                    <a:lnTo>
                      <a:pt x="91" y="17"/>
                    </a:lnTo>
                    <a:lnTo>
                      <a:pt x="87" y="19"/>
                    </a:lnTo>
                    <a:lnTo>
                      <a:pt x="87" y="19"/>
                    </a:lnTo>
                    <a:lnTo>
                      <a:pt x="83" y="16"/>
                    </a:lnTo>
                    <a:lnTo>
                      <a:pt x="80" y="16"/>
                    </a:lnTo>
                    <a:lnTo>
                      <a:pt x="77" y="16"/>
                    </a:lnTo>
                    <a:lnTo>
                      <a:pt x="77" y="16"/>
                    </a:lnTo>
                    <a:lnTo>
                      <a:pt x="71" y="22"/>
                    </a:lnTo>
                    <a:lnTo>
                      <a:pt x="67" y="25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58" y="27"/>
                    </a:lnTo>
                    <a:lnTo>
                      <a:pt x="56" y="29"/>
                    </a:lnTo>
                    <a:lnTo>
                      <a:pt x="56" y="32"/>
                    </a:lnTo>
                    <a:lnTo>
                      <a:pt x="56" y="32"/>
                    </a:lnTo>
                    <a:lnTo>
                      <a:pt x="55" y="33"/>
                    </a:lnTo>
                    <a:lnTo>
                      <a:pt x="54" y="36"/>
                    </a:lnTo>
                    <a:lnTo>
                      <a:pt x="52" y="38"/>
                    </a:lnTo>
                    <a:lnTo>
                      <a:pt x="52" y="41"/>
                    </a:lnTo>
                    <a:lnTo>
                      <a:pt x="52" y="41"/>
                    </a:lnTo>
                    <a:lnTo>
                      <a:pt x="54" y="46"/>
                    </a:lnTo>
                    <a:lnTo>
                      <a:pt x="52" y="48"/>
                    </a:lnTo>
                    <a:lnTo>
                      <a:pt x="51" y="48"/>
                    </a:lnTo>
                    <a:lnTo>
                      <a:pt x="51" y="48"/>
                    </a:lnTo>
                    <a:lnTo>
                      <a:pt x="48" y="51"/>
                    </a:lnTo>
                    <a:lnTo>
                      <a:pt x="45" y="54"/>
                    </a:lnTo>
                    <a:lnTo>
                      <a:pt x="39" y="61"/>
                    </a:lnTo>
                    <a:lnTo>
                      <a:pt x="39" y="61"/>
                    </a:lnTo>
                    <a:lnTo>
                      <a:pt x="35" y="62"/>
                    </a:lnTo>
                    <a:lnTo>
                      <a:pt x="32" y="62"/>
                    </a:lnTo>
                    <a:lnTo>
                      <a:pt x="29" y="61"/>
                    </a:lnTo>
                    <a:lnTo>
                      <a:pt x="29" y="61"/>
                    </a:lnTo>
                    <a:lnTo>
                      <a:pt x="29" y="61"/>
                    </a:lnTo>
                    <a:lnTo>
                      <a:pt x="26" y="74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5" y="94"/>
                    </a:lnTo>
                    <a:lnTo>
                      <a:pt x="25" y="101"/>
                    </a:lnTo>
                    <a:lnTo>
                      <a:pt x="25" y="101"/>
                    </a:lnTo>
                    <a:lnTo>
                      <a:pt x="26" y="110"/>
                    </a:lnTo>
                    <a:lnTo>
                      <a:pt x="26" y="111"/>
                    </a:lnTo>
                    <a:lnTo>
                      <a:pt x="26" y="113"/>
                    </a:lnTo>
                    <a:lnTo>
                      <a:pt x="26" y="113"/>
                    </a:lnTo>
                    <a:lnTo>
                      <a:pt x="23" y="117"/>
                    </a:lnTo>
                    <a:lnTo>
                      <a:pt x="25" y="120"/>
                    </a:lnTo>
                    <a:lnTo>
                      <a:pt x="25" y="122"/>
                    </a:lnTo>
                    <a:lnTo>
                      <a:pt x="25" y="122"/>
                    </a:lnTo>
                    <a:lnTo>
                      <a:pt x="26" y="125"/>
                    </a:lnTo>
                    <a:lnTo>
                      <a:pt x="26" y="126"/>
                    </a:lnTo>
                    <a:lnTo>
                      <a:pt x="25" y="133"/>
                    </a:lnTo>
                    <a:lnTo>
                      <a:pt x="25" y="133"/>
                    </a:lnTo>
                    <a:lnTo>
                      <a:pt x="26" y="136"/>
                    </a:lnTo>
                    <a:lnTo>
                      <a:pt x="28" y="139"/>
                    </a:lnTo>
                    <a:lnTo>
                      <a:pt x="28" y="142"/>
                    </a:lnTo>
                    <a:lnTo>
                      <a:pt x="26" y="145"/>
                    </a:lnTo>
                    <a:lnTo>
                      <a:pt x="26" y="145"/>
                    </a:lnTo>
                    <a:lnTo>
                      <a:pt x="22" y="152"/>
                    </a:lnTo>
                    <a:lnTo>
                      <a:pt x="20" y="155"/>
                    </a:lnTo>
                    <a:lnTo>
                      <a:pt x="17" y="156"/>
                    </a:lnTo>
                    <a:lnTo>
                      <a:pt x="17" y="156"/>
                    </a:lnTo>
                    <a:lnTo>
                      <a:pt x="10" y="156"/>
                    </a:lnTo>
                    <a:lnTo>
                      <a:pt x="7" y="159"/>
                    </a:lnTo>
                    <a:lnTo>
                      <a:pt x="7" y="159"/>
                    </a:lnTo>
                    <a:lnTo>
                      <a:pt x="7" y="165"/>
                    </a:lnTo>
                    <a:lnTo>
                      <a:pt x="6" y="169"/>
                    </a:lnTo>
                    <a:lnTo>
                      <a:pt x="4" y="174"/>
                    </a:lnTo>
                    <a:lnTo>
                      <a:pt x="4" y="174"/>
                    </a:lnTo>
                    <a:lnTo>
                      <a:pt x="0" y="180"/>
                    </a:lnTo>
                    <a:lnTo>
                      <a:pt x="0" y="180"/>
                    </a:lnTo>
                    <a:lnTo>
                      <a:pt x="12" y="182"/>
                    </a:lnTo>
                    <a:lnTo>
                      <a:pt x="22" y="188"/>
                    </a:lnTo>
                    <a:lnTo>
                      <a:pt x="36" y="195"/>
                    </a:lnTo>
                    <a:lnTo>
                      <a:pt x="36" y="195"/>
                    </a:lnTo>
                    <a:lnTo>
                      <a:pt x="42" y="198"/>
                    </a:lnTo>
                    <a:lnTo>
                      <a:pt x="48" y="200"/>
                    </a:lnTo>
                    <a:lnTo>
                      <a:pt x="64" y="203"/>
                    </a:lnTo>
                    <a:lnTo>
                      <a:pt x="64" y="203"/>
                    </a:lnTo>
                    <a:lnTo>
                      <a:pt x="68" y="204"/>
                    </a:lnTo>
                    <a:lnTo>
                      <a:pt x="72" y="209"/>
                    </a:lnTo>
                    <a:lnTo>
                      <a:pt x="81" y="219"/>
                    </a:lnTo>
                    <a:lnTo>
                      <a:pt x="81" y="219"/>
                    </a:lnTo>
                    <a:lnTo>
                      <a:pt x="88" y="224"/>
                    </a:lnTo>
                    <a:lnTo>
                      <a:pt x="97" y="229"/>
                    </a:lnTo>
                    <a:lnTo>
                      <a:pt x="114" y="236"/>
                    </a:lnTo>
                    <a:lnTo>
                      <a:pt x="114" y="236"/>
                    </a:lnTo>
                    <a:lnTo>
                      <a:pt x="122" y="239"/>
                    </a:lnTo>
                    <a:lnTo>
                      <a:pt x="127" y="239"/>
                    </a:lnTo>
                    <a:lnTo>
                      <a:pt x="130" y="237"/>
                    </a:lnTo>
                    <a:lnTo>
                      <a:pt x="133" y="237"/>
                    </a:lnTo>
                    <a:lnTo>
                      <a:pt x="133" y="237"/>
                    </a:lnTo>
                    <a:lnTo>
                      <a:pt x="135" y="239"/>
                    </a:lnTo>
                    <a:lnTo>
                      <a:pt x="135" y="243"/>
                    </a:lnTo>
                    <a:lnTo>
                      <a:pt x="133" y="252"/>
                    </a:lnTo>
                    <a:lnTo>
                      <a:pt x="133" y="252"/>
                    </a:lnTo>
                    <a:lnTo>
                      <a:pt x="133" y="255"/>
                    </a:lnTo>
                    <a:lnTo>
                      <a:pt x="135" y="259"/>
                    </a:lnTo>
                    <a:lnTo>
                      <a:pt x="136" y="262"/>
                    </a:lnTo>
                    <a:lnTo>
                      <a:pt x="136" y="266"/>
                    </a:lnTo>
                    <a:lnTo>
                      <a:pt x="136" y="266"/>
                    </a:lnTo>
                    <a:lnTo>
                      <a:pt x="136" y="268"/>
                    </a:lnTo>
                    <a:lnTo>
                      <a:pt x="139" y="269"/>
                    </a:lnTo>
                    <a:lnTo>
                      <a:pt x="139" y="269"/>
                    </a:lnTo>
                    <a:lnTo>
                      <a:pt x="140" y="259"/>
                    </a:lnTo>
                    <a:lnTo>
                      <a:pt x="142" y="251"/>
                    </a:lnTo>
                    <a:lnTo>
                      <a:pt x="146" y="242"/>
                    </a:lnTo>
                    <a:lnTo>
                      <a:pt x="146" y="242"/>
                    </a:lnTo>
                    <a:lnTo>
                      <a:pt x="152" y="226"/>
                    </a:lnTo>
                    <a:lnTo>
                      <a:pt x="155" y="219"/>
                    </a:lnTo>
                    <a:lnTo>
                      <a:pt x="155" y="211"/>
                    </a:lnTo>
                    <a:lnTo>
                      <a:pt x="155" y="211"/>
                    </a:lnTo>
                    <a:lnTo>
                      <a:pt x="152" y="207"/>
                    </a:lnTo>
                    <a:lnTo>
                      <a:pt x="148" y="201"/>
                    </a:lnTo>
                    <a:lnTo>
                      <a:pt x="145" y="197"/>
                    </a:lnTo>
                    <a:lnTo>
                      <a:pt x="145" y="195"/>
                    </a:lnTo>
                    <a:lnTo>
                      <a:pt x="145" y="194"/>
                    </a:lnTo>
                    <a:lnTo>
                      <a:pt x="145" y="194"/>
                    </a:lnTo>
                    <a:lnTo>
                      <a:pt x="152" y="185"/>
                    </a:lnTo>
                    <a:lnTo>
                      <a:pt x="155" y="182"/>
                    </a:lnTo>
                    <a:lnTo>
                      <a:pt x="159" y="182"/>
                    </a:lnTo>
                    <a:lnTo>
                      <a:pt x="159" y="182"/>
                    </a:lnTo>
                    <a:lnTo>
                      <a:pt x="169" y="184"/>
                    </a:lnTo>
                    <a:lnTo>
                      <a:pt x="174" y="182"/>
                    </a:lnTo>
                    <a:lnTo>
                      <a:pt x="175" y="180"/>
                    </a:lnTo>
                    <a:lnTo>
                      <a:pt x="175" y="180"/>
                    </a:lnTo>
                    <a:lnTo>
                      <a:pt x="174" y="174"/>
                    </a:lnTo>
                    <a:lnTo>
                      <a:pt x="174" y="171"/>
                    </a:lnTo>
                    <a:lnTo>
                      <a:pt x="177" y="171"/>
                    </a:lnTo>
                    <a:lnTo>
                      <a:pt x="177" y="171"/>
                    </a:lnTo>
                    <a:lnTo>
                      <a:pt x="184" y="169"/>
                    </a:lnTo>
                    <a:lnTo>
                      <a:pt x="188" y="169"/>
                    </a:lnTo>
                    <a:lnTo>
                      <a:pt x="188" y="169"/>
                    </a:lnTo>
                    <a:lnTo>
                      <a:pt x="187" y="165"/>
                    </a:lnTo>
                    <a:lnTo>
                      <a:pt x="184" y="161"/>
                    </a:lnTo>
                    <a:lnTo>
                      <a:pt x="184" y="161"/>
                    </a:lnTo>
                    <a:lnTo>
                      <a:pt x="181" y="155"/>
                    </a:lnTo>
                    <a:lnTo>
                      <a:pt x="180" y="151"/>
                    </a:lnTo>
                    <a:lnTo>
                      <a:pt x="175" y="13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9" name="Freeform 672"/>
              <p:cNvSpPr>
                <a:spLocks/>
              </p:cNvSpPr>
              <p:nvPr/>
            </p:nvSpPr>
            <p:spPr bwMode="auto">
              <a:xfrm>
                <a:off x="3537234" y="3233051"/>
                <a:ext cx="51442" cy="60345"/>
              </a:xfrm>
              <a:custGeom>
                <a:avLst/>
                <a:gdLst>
                  <a:gd name="T0" fmla="*/ 14 w 52"/>
                  <a:gd name="T1" fmla="*/ 61 h 61"/>
                  <a:gd name="T2" fmla="*/ 14 w 52"/>
                  <a:gd name="T3" fmla="*/ 61 h 61"/>
                  <a:gd name="T4" fmla="*/ 2 w 52"/>
                  <a:gd name="T5" fmla="*/ 60 h 61"/>
                  <a:gd name="T6" fmla="*/ 2 w 52"/>
                  <a:gd name="T7" fmla="*/ 60 h 61"/>
                  <a:gd name="T8" fmla="*/ 0 w 52"/>
                  <a:gd name="T9" fmla="*/ 58 h 61"/>
                  <a:gd name="T10" fmla="*/ 0 w 52"/>
                  <a:gd name="T11" fmla="*/ 58 h 61"/>
                  <a:gd name="T12" fmla="*/ 7 w 52"/>
                  <a:gd name="T13" fmla="*/ 46 h 61"/>
                  <a:gd name="T14" fmla="*/ 10 w 52"/>
                  <a:gd name="T15" fmla="*/ 41 h 61"/>
                  <a:gd name="T16" fmla="*/ 11 w 52"/>
                  <a:gd name="T17" fmla="*/ 36 h 61"/>
                  <a:gd name="T18" fmla="*/ 11 w 52"/>
                  <a:gd name="T19" fmla="*/ 36 h 61"/>
                  <a:gd name="T20" fmla="*/ 10 w 52"/>
                  <a:gd name="T21" fmla="*/ 31 h 61"/>
                  <a:gd name="T22" fmla="*/ 5 w 52"/>
                  <a:gd name="T23" fmla="*/ 25 h 61"/>
                  <a:gd name="T24" fmla="*/ 2 w 52"/>
                  <a:gd name="T25" fmla="*/ 19 h 61"/>
                  <a:gd name="T26" fmla="*/ 1 w 52"/>
                  <a:gd name="T27" fmla="*/ 15 h 61"/>
                  <a:gd name="T28" fmla="*/ 1 w 52"/>
                  <a:gd name="T29" fmla="*/ 15 h 61"/>
                  <a:gd name="T30" fmla="*/ 1 w 52"/>
                  <a:gd name="T31" fmla="*/ 13 h 61"/>
                  <a:gd name="T32" fmla="*/ 1 w 52"/>
                  <a:gd name="T33" fmla="*/ 13 h 61"/>
                  <a:gd name="T34" fmla="*/ 7 w 52"/>
                  <a:gd name="T35" fmla="*/ 0 h 61"/>
                  <a:gd name="T36" fmla="*/ 7 w 52"/>
                  <a:gd name="T37" fmla="*/ 0 h 61"/>
                  <a:gd name="T38" fmla="*/ 26 w 52"/>
                  <a:gd name="T39" fmla="*/ 9 h 61"/>
                  <a:gd name="T40" fmla="*/ 39 w 52"/>
                  <a:gd name="T41" fmla="*/ 16 h 61"/>
                  <a:gd name="T42" fmla="*/ 39 w 52"/>
                  <a:gd name="T43" fmla="*/ 16 h 61"/>
                  <a:gd name="T44" fmla="*/ 52 w 52"/>
                  <a:gd name="T45" fmla="*/ 26 h 61"/>
                  <a:gd name="T46" fmla="*/ 52 w 52"/>
                  <a:gd name="T47" fmla="*/ 26 h 61"/>
                  <a:gd name="T48" fmla="*/ 44 w 52"/>
                  <a:gd name="T49" fmla="*/ 39 h 61"/>
                  <a:gd name="T50" fmla="*/ 37 w 52"/>
                  <a:gd name="T51" fmla="*/ 48 h 61"/>
                  <a:gd name="T52" fmla="*/ 37 w 52"/>
                  <a:gd name="T53" fmla="*/ 48 h 61"/>
                  <a:gd name="T54" fmla="*/ 31 w 52"/>
                  <a:gd name="T55" fmla="*/ 54 h 61"/>
                  <a:gd name="T56" fmla="*/ 24 w 52"/>
                  <a:gd name="T57" fmla="*/ 58 h 61"/>
                  <a:gd name="T58" fmla="*/ 18 w 52"/>
                  <a:gd name="T59" fmla="*/ 60 h 61"/>
                  <a:gd name="T60" fmla="*/ 14 w 52"/>
                  <a:gd name="T61" fmla="*/ 61 h 61"/>
                  <a:gd name="T62" fmla="*/ 14 w 52"/>
                  <a:gd name="T63" fmla="*/ 61 h 61"/>
                  <a:gd name="T64" fmla="*/ 14 w 52"/>
                  <a:gd name="T65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2" h="61">
                    <a:moveTo>
                      <a:pt x="14" y="61"/>
                    </a:moveTo>
                    <a:lnTo>
                      <a:pt x="14" y="61"/>
                    </a:lnTo>
                    <a:lnTo>
                      <a:pt x="2" y="60"/>
                    </a:lnTo>
                    <a:lnTo>
                      <a:pt x="2" y="60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7" y="46"/>
                    </a:lnTo>
                    <a:lnTo>
                      <a:pt x="10" y="41"/>
                    </a:lnTo>
                    <a:lnTo>
                      <a:pt x="11" y="36"/>
                    </a:lnTo>
                    <a:lnTo>
                      <a:pt x="11" y="36"/>
                    </a:lnTo>
                    <a:lnTo>
                      <a:pt x="10" y="31"/>
                    </a:lnTo>
                    <a:lnTo>
                      <a:pt x="5" y="25"/>
                    </a:lnTo>
                    <a:lnTo>
                      <a:pt x="2" y="19"/>
                    </a:lnTo>
                    <a:lnTo>
                      <a:pt x="1" y="15"/>
                    </a:lnTo>
                    <a:lnTo>
                      <a:pt x="1" y="15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6" y="9"/>
                    </a:lnTo>
                    <a:lnTo>
                      <a:pt x="39" y="16"/>
                    </a:lnTo>
                    <a:lnTo>
                      <a:pt x="39" y="1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4" y="39"/>
                    </a:lnTo>
                    <a:lnTo>
                      <a:pt x="37" y="48"/>
                    </a:lnTo>
                    <a:lnTo>
                      <a:pt x="37" y="48"/>
                    </a:lnTo>
                    <a:lnTo>
                      <a:pt x="31" y="54"/>
                    </a:lnTo>
                    <a:lnTo>
                      <a:pt x="24" y="58"/>
                    </a:lnTo>
                    <a:lnTo>
                      <a:pt x="18" y="60"/>
                    </a:lnTo>
                    <a:lnTo>
                      <a:pt x="14" y="61"/>
                    </a:lnTo>
                    <a:lnTo>
                      <a:pt x="14" y="61"/>
                    </a:lnTo>
                    <a:lnTo>
                      <a:pt x="14" y="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0" name="Freeform 673"/>
              <p:cNvSpPr>
                <a:spLocks/>
              </p:cNvSpPr>
              <p:nvPr/>
            </p:nvSpPr>
            <p:spPr bwMode="auto">
              <a:xfrm>
                <a:off x="3537234" y="3233051"/>
                <a:ext cx="51442" cy="60345"/>
              </a:xfrm>
              <a:custGeom>
                <a:avLst/>
                <a:gdLst>
                  <a:gd name="T0" fmla="*/ 14 w 52"/>
                  <a:gd name="T1" fmla="*/ 61 h 61"/>
                  <a:gd name="T2" fmla="*/ 14 w 52"/>
                  <a:gd name="T3" fmla="*/ 61 h 61"/>
                  <a:gd name="T4" fmla="*/ 2 w 52"/>
                  <a:gd name="T5" fmla="*/ 60 h 61"/>
                  <a:gd name="T6" fmla="*/ 2 w 52"/>
                  <a:gd name="T7" fmla="*/ 60 h 61"/>
                  <a:gd name="T8" fmla="*/ 0 w 52"/>
                  <a:gd name="T9" fmla="*/ 58 h 61"/>
                  <a:gd name="T10" fmla="*/ 0 w 52"/>
                  <a:gd name="T11" fmla="*/ 58 h 61"/>
                  <a:gd name="T12" fmla="*/ 7 w 52"/>
                  <a:gd name="T13" fmla="*/ 46 h 61"/>
                  <a:gd name="T14" fmla="*/ 10 w 52"/>
                  <a:gd name="T15" fmla="*/ 41 h 61"/>
                  <a:gd name="T16" fmla="*/ 11 w 52"/>
                  <a:gd name="T17" fmla="*/ 36 h 61"/>
                  <a:gd name="T18" fmla="*/ 11 w 52"/>
                  <a:gd name="T19" fmla="*/ 36 h 61"/>
                  <a:gd name="T20" fmla="*/ 10 w 52"/>
                  <a:gd name="T21" fmla="*/ 31 h 61"/>
                  <a:gd name="T22" fmla="*/ 5 w 52"/>
                  <a:gd name="T23" fmla="*/ 25 h 61"/>
                  <a:gd name="T24" fmla="*/ 2 w 52"/>
                  <a:gd name="T25" fmla="*/ 19 h 61"/>
                  <a:gd name="T26" fmla="*/ 1 w 52"/>
                  <a:gd name="T27" fmla="*/ 15 h 61"/>
                  <a:gd name="T28" fmla="*/ 1 w 52"/>
                  <a:gd name="T29" fmla="*/ 15 h 61"/>
                  <a:gd name="T30" fmla="*/ 1 w 52"/>
                  <a:gd name="T31" fmla="*/ 13 h 61"/>
                  <a:gd name="T32" fmla="*/ 1 w 52"/>
                  <a:gd name="T33" fmla="*/ 13 h 61"/>
                  <a:gd name="T34" fmla="*/ 7 w 52"/>
                  <a:gd name="T35" fmla="*/ 0 h 61"/>
                  <a:gd name="T36" fmla="*/ 7 w 52"/>
                  <a:gd name="T37" fmla="*/ 0 h 61"/>
                  <a:gd name="T38" fmla="*/ 26 w 52"/>
                  <a:gd name="T39" fmla="*/ 9 h 61"/>
                  <a:gd name="T40" fmla="*/ 39 w 52"/>
                  <a:gd name="T41" fmla="*/ 16 h 61"/>
                  <a:gd name="T42" fmla="*/ 39 w 52"/>
                  <a:gd name="T43" fmla="*/ 16 h 61"/>
                  <a:gd name="T44" fmla="*/ 52 w 52"/>
                  <a:gd name="T45" fmla="*/ 26 h 61"/>
                  <a:gd name="T46" fmla="*/ 52 w 52"/>
                  <a:gd name="T47" fmla="*/ 26 h 61"/>
                  <a:gd name="T48" fmla="*/ 44 w 52"/>
                  <a:gd name="T49" fmla="*/ 39 h 61"/>
                  <a:gd name="T50" fmla="*/ 37 w 52"/>
                  <a:gd name="T51" fmla="*/ 48 h 61"/>
                  <a:gd name="T52" fmla="*/ 37 w 52"/>
                  <a:gd name="T53" fmla="*/ 48 h 61"/>
                  <a:gd name="T54" fmla="*/ 31 w 52"/>
                  <a:gd name="T55" fmla="*/ 54 h 61"/>
                  <a:gd name="T56" fmla="*/ 24 w 52"/>
                  <a:gd name="T57" fmla="*/ 58 h 61"/>
                  <a:gd name="T58" fmla="*/ 18 w 52"/>
                  <a:gd name="T59" fmla="*/ 60 h 61"/>
                  <a:gd name="T60" fmla="*/ 14 w 52"/>
                  <a:gd name="T61" fmla="*/ 61 h 61"/>
                  <a:gd name="T62" fmla="*/ 14 w 52"/>
                  <a:gd name="T63" fmla="*/ 61 h 61"/>
                  <a:gd name="T64" fmla="*/ 14 w 52"/>
                  <a:gd name="T65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2" h="61">
                    <a:moveTo>
                      <a:pt x="14" y="61"/>
                    </a:moveTo>
                    <a:lnTo>
                      <a:pt x="14" y="61"/>
                    </a:lnTo>
                    <a:lnTo>
                      <a:pt x="2" y="60"/>
                    </a:lnTo>
                    <a:lnTo>
                      <a:pt x="2" y="60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7" y="46"/>
                    </a:lnTo>
                    <a:lnTo>
                      <a:pt x="10" y="41"/>
                    </a:lnTo>
                    <a:lnTo>
                      <a:pt x="11" y="36"/>
                    </a:lnTo>
                    <a:lnTo>
                      <a:pt x="11" y="36"/>
                    </a:lnTo>
                    <a:lnTo>
                      <a:pt x="10" y="31"/>
                    </a:lnTo>
                    <a:lnTo>
                      <a:pt x="5" y="25"/>
                    </a:lnTo>
                    <a:lnTo>
                      <a:pt x="2" y="19"/>
                    </a:lnTo>
                    <a:lnTo>
                      <a:pt x="1" y="15"/>
                    </a:lnTo>
                    <a:lnTo>
                      <a:pt x="1" y="15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6" y="9"/>
                    </a:lnTo>
                    <a:lnTo>
                      <a:pt x="39" y="16"/>
                    </a:lnTo>
                    <a:lnTo>
                      <a:pt x="39" y="1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4" y="39"/>
                    </a:lnTo>
                    <a:lnTo>
                      <a:pt x="37" y="48"/>
                    </a:lnTo>
                    <a:lnTo>
                      <a:pt x="37" y="48"/>
                    </a:lnTo>
                    <a:lnTo>
                      <a:pt x="31" y="54"/>
                    </a:lnTo>
                    <a:lnTo>
                      <a:pt x="24" y="58"/>
                    </a:lnTo>
                    <a:lnTo>
                      <a:pt x="18" y="60"/>
                    </a:lnTo>
                    <a:lnTo>
                      <a:pt x="14" y="61"/>
                    </a:lnTo>
                    <a:lnTo>
                      <a:pt x="14" y="61"/>
                    </a:lnTo>
                    <a:lnTo>
                      <a:pt x="14" y="6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1" name="Freeform 674"/>
              <p:cNvSpPr>
                <a:spLocks/>
              </p:cNvSpPr>
              <p:nvPr/>
            </p:nvSpPr>
            <p:spPr bwMode="auto">
              <a:xfrm>
                <a:off x="3537234" y="3258772"/>
                <a:ext cx="51442" cy="34624"/>
              </a:xfrm>
              <a:custGeom>
                <a:avLst/>
                <a:gdLst>
                  <a:gd name="T0" fmla="*/ 14 w 52"/>
                  <a:gd name="T1" fmla="*/ 35 h 35"/>
                  <a:gd name="T2" fmla="*/ 14 w 52"/>
                  <a:gd name="T3" fmla="*/ 35 h 35"/>
                  <a:gd name="T4" fmla="*/ 8 w 52"/>
                  <a:gd name="T5" fmla="*/ 35 h 35"/>
                  <a:gd name="T6" fmla="*/ 0 w 52"/>
                  <a:gd name="T7" fmla="*/ 32 h 35"/>
                  <a:gd name="T8" fmla="*/ 0 w 52"/>
                  <a:gd name="T9" fmla="*/ 32 h 35"/>
                  <a:gd name="T10" fmla="*/ 0 w 52"/>
                  <a:gd name="T11" fmla="*/ 32 h 35"/>
                  <a:gd name="T12" fmla="*/ 0 w 52"/>
                  <a:gd name="T13" fmla="*/ 32 h 35"/>
                  <a:gd name="T14" fmla="*/ 2 w 52"/>
                  <a:gd name="T15" fmla="*/ 34 h 35"/>
                  <a:gd name="T16" fmla="*/ 2 w 52"/>
                  <a:gd name="T17" fmla="*/ 34 h 35"/>
                  <a:gd name="T18" fmla="*/ 14 w 52"/>
                  <a:gd name="T19" fmla="*/ 35 h 35"/>
                  <a:gd name="T20" fmla="*/ 14 w 52"/>
                  <a:gd name="T21" fmla="*/ 35 h 35"/>
                  <a:gd name="T22" fmla="*/ 14 w 52"/>
                  <a:gd name="T23" fmla="*/ 35 h 35"/>
                  <a:gd name="T24" fmla="*/ 14 w 52"/>
                  <a:gd name="T25" fmla="*/ 35 h 35"/>
                  <a:gd name="T26" fmla="*/ 18 w 52"/>
                  <a:gd name="T27" fmla="*/ 34 h 35"/>
                  <a:gd name="T28" fmla="*/ 24 w 52"/>
                  <a:gd name="T29" fmla="*/ 32 h 35"/>
                  <a:gd name="T30" fmla="*/ 31 w 52"/>
                  <a:gd name="T31" fmla="*/ 28 h 35"/>
                  <a:gd name="T32" fmla="*/ 37 w 52"/>
                  <a:gd name="T33" fmla="*/ 22 h 35"/>
                  <a:gd name="T34" fmla="*/ 37 w 52"/>
                  <a:gd name="T35" fmla="*/ 22 h 35"/>
                  <a:gd name="T36" fmla="*/ 44 w 52"/>
                  <a:gd name="T37" fmla="*/ 13 h 35"/>
                  <a:gd name="T38" fmla="*/ 52 w 52"/>
                  <a:gd name="T39" fmla="*/ 0 h 35"/>
                  <a:gd name="T40" fmla="*/ 52 w 52"/>
                  <a:gd name="T41" fmla="*/ 0 h 35"/>
                  <a:gd name="T42" fmla="*/ 44 w 52"/>
                  <a:gd name="T43" fmla="*/ 13 h 35"/>
                  <a:gd name="T44" fmla="*/ 37 w 52"/>
                  <a:gd name="T45" fmla="*/ 22 h 35"/>
                  <a:gd name="T46" fmla="*/ 37 w 52"/>
                  <a:gd name="T47" fmla="*/ 22 h 35"/>
                  <a:gd name="T48" fmla="*/ 31 w 52"/>
                  <a:gd name="T49" fmla="*/ 28 h 35"/>
                  <a:gd name="T50" fmla="*/ 24 w 52"/>
                  <a:gd name="T51" fmla="*/ 32 h 35"/>
                  <a:gd name="T52" fmla="*/ 18 w 52"/>
                  <a:gd name="T53" fmla="*/ 34 h 35"/>
                  <a:gd name="T54" fmla="*/ 14 w 52"/>
                  <a:gd name="T55" fmla="*/ 35 h 35"/>
                  <a:gd name="T56" fmla="*/ 14 w 52"/>
                  <a:gd name="T57" fmla="*/ 35 h 35"/>
                  <a:gd name="T58" fmla="*/ 14 w 52"/>
                  <a:gd name="T59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2" h="35">
                    <a:moveTo>
                      <a:pt x="14" y="35"/>
                    </a:moveTo>
                    <a:lnTo>
                      <a:pt x="14" y="35"/>
                    </a:lnTo>
                    <a:lnTo>
                      <a:pt x="8" y="35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14" y="35"/>
                    </a:lnTo>
                    <a:lnTo>
                      <a:pt x="14" y="35"/>
                    </a:lnTo>
                    <a:lnTo>
                      <a:pt x="14" y="35"/>
                    </a:lnTo>
                    <a:lnTo>
                      <a:pt x="14" y="35"/>
                    </a:lnTo>
                    <a:lnTo>
                      <a:pt x="18" y="34"/>
                    </a:lnTo>
                    <a:lnTo>
                      <a:pt x="24" y="32"/>
                    </a:lnTo>
                    <a:lnTo>
                      <a:pt x="31" y="28"/>
                    </a:lnTo>
                    <a:lnTo>
                      <a:pt x="37" y="22"/>
                    </a:lnTo>
                    <a:lnTo>
                      <a:pt x="37" y="22"/>
                    </a:lnTo>
                    <a:lnTo>
                      <a:pt x="44" y="13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4" y="13"/>
                    </a:lnTo>
                    <a:lnTo>
                      <a:pt x="37" y="22"/>
                    </a:lnTo>
                    <a:lnTo>
                      <a:pt x="37" y="22"/>
                    </a:lnTo>
                    <a:lnTo>
                      <a:pt x="31" y="28"/>
                    </a:lnTo>
                    <a:lnTo>
                      <a:pt x="24" y="32"/>
                    </a:lnTo>
                    <a:lnTo>
                      <a:pt x="18" y="34"/>
                    </a:lnTo>
                    <a:lnTo>
                      <a:pt x="14" y="35"/>
                    </a:lnTo>
                    <a:lnTo>
                      <a:pt x="14" y="35"/>
                    </a:lnTo>
                    <a:lnTo>
                      <a:pt x="14" y="3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2" name="Freeform 675"/>
              <p:cNvSpPr>
                <a:spLocks/>
              </p:cNvSpPr>
              <p:nvPr/>
            </p:nvSpPr>
            <p:spPr bwMode="auto">
              <a:xfrm>
                <a:off x="3537234" y="3258772"/>
                <a:ext cx="51442" cy="34624"/>
              </a:xfrm>
              <a:custGeom>
                <a:avLst/>
                <a:gdLst>
                  <a:gd name="T0" fmla="*/ 14 w 52"/>
                  <a:gd name="T1" fmla="*/ 35 h 35"/>
                  <a:gd name="T2" fmla="*/ 14 w 52"/>
                  <a:gd name="T3" fmla="*/ 35 h 35"/>
                  <a:gd name="T4" fmla="*/ 8 w 52"/>
                  <a:gd name="T5" fmla="*/ 35 h 35"/>
                  <a:gd name="T6" fmla="*/ 0 w 52"/>
                  <a:gd name="T7" fmla="*/ 32 h 35"/>
                  <a:gd name="T8" fmla="*/ 0 w 52"/>
                  <a:gd name="T9" fmla="*/ 32 h 35"/>
                  <a:gd name="T10" fmla="*/ 0 w 52"/>
                  <a:gd name="T11" fmla="*/ 32 h 35"/>
                  <a:gd name="T12" fmla="*/ 0 w 52"/>
                  <a:gd name="T13" fmla="*/ 32 h 35"/>
                  <a:gd name="T14" fmla="*/ 2 w 52"/>
                  <a:gd name="T15" fmla="*/ 34 h 35"/>
                  <a:gd name="T16" fmla="*/ 2 w 52"/>
                  <a:gd name="T17" fmla="*/ 34 h 35"/>
                  <a:gd name="T18" fmla="*/ 14 w 52"/>
                  <a:gd name="T19" fmla="*/ 35 h 35"/>
                  <a:gd name="T20" fmla="*/ 14 w 52"/>
                  <a:gd name="T21" fmla="*/ 35 h 35"/>
                  <a:gd name="T22" fmla="*/ 14 w 52"/>
                  <a:gd name="T23" fmla="*/ 35 h 35"/>
                  <a:gd name="T24" fmla="*/ 14 w 52"/>
                  <a:gd name="T25" fmla="*/ 35 h 35"/>
                  <a:gd name="T26" fmla="*/ 18 w 52"/>
                  <a:gd name="T27" fmla="*/ 34 h 35"/>
                  <a:gd name="T28" fmla="*/ 24 w 52"/>
                  <a:gd name="T29" fmla="*/ 32 h 35"/>
                  <a:gd name="T30" fmla="*/ 31 w 52"/>
                  <a:gd name="T31" fmla="*/ 28 h 35"/>
                  <a:gd name="T32" fmla="*/ 37 w 52"/>
                  <a:gd name="T33" fmla="*/ 22 h 35"/>
                  <a:gd name="T34" fmla="*/ 37 w 52"/>
                  <a:gd name="T35" fmla="*/ 22 h 35"/>
                  <a:gd name="T36" fmla="*/ 44 w 52"/>
                  <a:gd name="T37" fmla="*/ 13 h 35"/>
                  <a:gd name="T38" fmla="*/ 52 w 52"/>
                  <a:gd name="T39" fmla="*/ 0 h 35"/>
                  <a:gd name="T40" fmla="*/ 52 w 52"/>
                  <a:gd name="T41" fmla="*/ 0 h 35"/>
                  <a:gd name="T42" fmla="*/ 44 w 52"/>
                  <a:gd name="T43" fmla="*/ 13 h 35"/>
                  <a:gd name="T44" fmla="*/ 37 w 52"/>
                  <a:gd name="T45" fmla="*/ 22 h 35"/>
                  <a:gd name="T46" fmla="*/ 37 w 52"/>
                  <a:gd name="T47" fmla="*/ 22 h 35"/>
                  <a:gd name="T48" fmla="*/ 31 w 52"/>
                  <a:gd name="T49" fmla="*/ 28 h 35"/>
                  <a:gd name="T50" fmla="*/ 24 w 52"/>
                  <a:gd name="T51" fmla="*/ 32 h 35"/>
                  <a:gd name="T52" fmla="*/ 18 w 52"/>
                  <a:gd name="T53" fmla="*/ 34 h 35"/>
                  <a:gd name="T54" fmla="*/ 14 w 52"/>
                  <a:gd name="T55" fmla="*/ 35 h 35"/>
                  <a:gd name="T56" fmla="*/ 14 w 52"/>
                  <a:gd name="T57" fmla="*/ 35 h 35"/>
                  <a:gd name="T58" fmla="*/ 14 w 52"/>
                  <a:gd name="T59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2" h="35">
                    <a:moveTo>
                      <a:pt x="14" y="35"/>
                    </a:moveTo>
                    <a:lnTo>
                      <a:pt x="14" y="35"/>
                    </a:lnTo>
                    <a:lnTo>
                      <a:pt x="8" y="35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14" y="35"/>
                    </a:lnTo>
                    <a:lnTo>
                      <a:pt x="14" y="35"/>
                    </a:lnTo>
                    <a:lnTo>
                      <a:pt x="14" y="35"/>
                    </a:lnTo>
                    <a:lnTo>
                      <a:pt x="14" y="35"/>
                    </a:lnTo>
                    <a:lnTo>
                      <a:pt x="18" y="34"/>
                    </a:lnTo>
                    <a:lnTo>
                      <a:pt x="24" y="32"/>
                    </a:lnTo>
                    <a:lnTo>
                      <a:pt x="31" y="28"/>
                    </a:lnTo>
                    <a:lnTo>
                      <a:pt x="37" y="22"/>
                    </a:lnTo>
                    <a:lnTo>
                      <a:pt x="37" y="22"/>
                    </a:lnTo>
                    <a:lnTo>
                      <a:pt x="44" y="13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4" y="13"/>
                    </a:lnTo>
                    <a:lnTo>
                      <a:pt x="37" y="22"/>
                    </a:lnTo>
                    <a:lnTo>
                      <a:pt x="37" y="22"/>
                    </a:lnTo>
                    <a:lnTo>
                      <a:pt x="31" y="28"/>
                    </a:lnTo>
                    <a:lnTo>
                      <a:pt x="24" y="32"/>
                    </a:lnTo>
                    <a:lnTo>
                      <a:pt x="18" y="34"/>
                    </a:lnTo>
                    <a:lnTo>
                      <a:pt x="14" y="35"/>
                    </a:lnTo>
                    <a:lnTo>
                      <a:pt x="14" y="35"/>
                    </a:lnTo>
                    <a:lnTo>
                      <a:pt x="14" y="3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3" name="Freeform 676"/>
              <p:cNvSpPr>
                <a:spLocks noEditPoints="1"/>
              </p:cNvSpPr>
              <p:nvPr/>
            </p:nvSpPr>
            <p:spPr bwMode="auto">
              <a:xfrm>
                <a:off x="3243424" y="3143028"/>
                <a:ext cx="210712" cy="169163"/>
              </a:xfrm>
              <a:custGeom>
                <a:avLst/>
                <a:gdLst>
                  <a:gd name="T0" fmla="*/ 198 w 213"/>
                  <a:gd name="T1" fmla="*/ 80 h 171"/>
                  <a:gd name="T2" fmla="*/ 208 w 213"/>
                  <a:gd name="T3" fmla="*/ 69 h 171"/>
                  <a:gd name="T4" fmla="*/ 202 w 213"/>
                  <a:gd name="T5" fmla="*/ 64 h 171"/>
                  <a:gd name="T6" fmla="*/ 200 w 213"/>
                  <a:gd name="T7" fmla="*/ 58 h 171"/>
                  <a:gd name="T8" fmla="*/ 213 w 213"/>
                  <a:gd name="T9" fmla="*/ 51 h 171"/>
                  <a:gd name="T10" fmla="*/ 200 w 213"/>
                  <a:gd name="T11" fmla="*/ 46 h 171"/>
                  <a:gd name="T12" fmla="*/ 197 w 213"/>
                  <a:gd name="T13" fmla="*/ 42 h 171"/>
                  <a:gd name="T14" fmla="*/ 192 w 213"/>
                  <a:gd name="T15" fmla="*/ 29 h 171"/>
                  <a:gd name="T16" fmla="*/ 194 w 213"/>
                  <a:gd name="T17" fmla="*/ 22 h 171"/>
                  <a:gd name="T18" fmla="*/ 195 w 213"/>
                  <a:gd name="T19" fmla="*/ 14 h 171"/>
                  <a:gd name="T20" fmla="*/ 185 w 213"/>
                  <a:gd name="T21" fmla="*/ 22 h 171"/>
                  <a:gd name="T22" fmla="*/ 176 w 213"/>
                  <a:gd name="T23" fmla="*/ 23 h 171"/>
                  <a:gd name="T24" fmla="*/ 165 w 213"/>
                  <a:gd name="T25" fmla="*/ 16 h 171"/>
                  <a:gd name="T26" fmla="*/ 152 w 213"/>
                  <a:gd name="T27" fmla="*/ 16 h 171"/>
                  <a:gd name="T28" fmla="*/ 137 w 213"/>
                  <a:gd name="T29" fmla="*/ 20 h 171"/>
                  <a:gd name="T30" fmla="*/ 121 w 213"/>
                  <a:gd name="T31" fmla="*/ 20 h 171"/>
                  <a:gd name="T32" fmla="*/ 103 w 213"/>
                  <a:gd name="T33" fmla="*/ 11 h 171"/>
                  <a:gd name="T34" fmla="*/ 91 w 213"/>
                  <a:gd name="T35" fmla="*/ 16 h 171"/>
                  <a:gd name="T36" fmla="*/ 82 w 213"/>
                  <a:gd name="T37" fmla="*/ 17 h 171"/>
                  <a:gd name="T38" fmla="*/ 81 w 213"/>
                  <a:gd name="T39" fmla="*/ 11 h 171"/>
                  <a:gd name="T40" fmla="*/ 79 w 213"/>
                  <a:gd name="T41" fmla="*/ 6 h 171"/>
                  <a:gd name="T42" fmla="*/ 61 w 213"/>
                  <a:gd name="T43" fmla="*/ 0 h 171"/>
                  <a:gd name="T44" fmla="*/ 45 w 213"/>
                  <a:gd name="T45" fmla="*/ 6 h 171"/>
                  <a:gd name="T46" fmla="*/ 29 w 213"/>
                  <a:gd name="T47" fmla="*/ 10 h 171"/>
                  <a:gd name="T48" fmla="*/ 20 w 213"/>
                  <a:gd name="T49" fmla="*/ 11 h 171"/>
                  <a:gd name="T50" fmla="*/ 20 w 213"/>
                  <a:gd name="T51" fmla="*/ 6 h 171"/>
                  <a:gd name="T52" fmla="*/ 19 w 213"/>
                  <a:gd name="T53" fmla="*/ 1 h 171"/>
                  <a:gd name="T54" fmla="*/ 8 w 213"/>
                  <a:gd name="T55" fmla="*/ 7 h 171"/>
                  <a:gd name="T56" fmla="*/ 3 w 213"/>
                  <a:gd name="T57" fmla="*/ 20 h 171"/>
                  <a:gd name="T58" fmla="*/ 0 w 213"/>
                  <a:gd name="T59" fmla="*/ 38 h 171"/>
                  <a:gd name="T60" fmla="*/ 4 w 213"/>
                  <a:gd name="T61" fmla="*/ 42 h 171"/>
                  <a:gd name="T62" fmla="*/ 5 w 213"/>
                  <a:gd name="T63" fmla="*/ 58 h 171"/>
                  <a:gd name="T64" fmla="*/ 17 w 213"/>
                  <a:gd name="T65" fmla="*/ 72 h 171"/>
                  <a:gd name="T66" fmla="*/ 33 w 213"/>
                  <a:gd name="T67" fmla="*/ 75 h 171"/>
                  <a:gd name="T68" fmla="*/ 71 w 213"/>
                  <a:gd name="T69" fmla="*/ 85 h 171"/>
                  <a:gd name="T70" fmla="*/ 88 w 213"/>
                  <a:gd name="T71" fmla="*/ 82 h 171"/>
                  <a:gd name="T72" fmla="*/ 89 w 213"/>
                  <a:gd name="T73" fmla="*/ 85 h 171"/>
                  <a:gd name="T74" fmla="*/ 79 w 213"/>
                  <a:gd name="T75" fmla="*/ 103 h 171"/>
                  <a:gd name="T76" fmla="*/ 82 w 213"/>
                  <a:gd name="T77" fmla="*/ 122 h 171"/>
                  <a:gd name="T78" fmla="*/ 88 w 213"/>
                  <a:gd name="T79" fmla="*/ 139 h 171"/>
                  <a:gd name="T80" fmla="*/ 94 w 213"/>
                  <a:gd name="T81" fmla="*/ 149 h 171"/>
                  <a:gd name="T82" fmla="*/ 97 w 213"/>
                  <a:gd name="T83" fmla="*/ 156 h 171"/>
                  <a:gd name="T84" fmla="*/ 104 w 213"/>
                  <a:gd name="T85" fmla="*/ 165 h 171"/>
                  <a:gd name="T86" fmla="*/ 116 w 213"/>
                  <a:gd name="T87" fmla="*/ 171 h 171"/>
                  <a:gd name="T88" fmla="*/ 134 w 213"/>
                  <a:gd name="T89" fmla="*/ 164 h 171"/>
                  <a:gd name="T90" fmla="*/ 146 w 213"/>
                  <a:gd name="T91" fmla="*/ 152 h 171"/>
                  <a:gd name="T92" fmla="*/ 145 w 213"/>
                  <a:gd name="T93" fmla="*/ 148 h 171"/>
                  <a:gd name="T94" fmla="*/ 131 w 213"/>
                  <a:gd name="T95" fmla="*/ 119 h 171"/>
                  <a:gd name="T96" fmla="*/ 136 w 213"/>
                  <a:gd name="T97" fmla="*/ 116 h 171"/>
                  <a:gd name="T98" fmla="*/ 145 w 213"/>
                  <a:gd name="T99" fmla="*/ 120 h 171"/>
                  <a:gd name="T100" fmla="*/ 149 w 213"/>
                  <a:gd name="T101" fmla="*/ 122 h 171"/>
                  <a:gd name="T102" fmla="*/ 191 w 213"/>
                  <a:gd name="T103" fmla="*/ 117 h 171"/>
                  <a:gd name="T104" fmla="*/ 195 w 213"/>
                  <a:gd name="T105" fmla="*/ 113 h 171"/>
                  <a:gd name="T106" fmla="*/ 200 w 213"/>
                  <a:gd name="T107" fmla="*/ 101 h 171"/>
                  <a:gd name="T108" fmla="*/ 192 w 213"/>
                  <a:gd name="T109" fmla="*/ 97 h 171"/>
                  <a:gd name="T110" fmla="*/ 189 w 213"/>
                  <a:gd name="T111" fmla="*/ 90 h 171"/>
                  <a:gd name="T112" fmla="*/ 34 w 213"/>
                  <a:gd name="T113" fmla="*/ 39 h 171"/>
                  <a:gd name="T114" fmla="*/ 19 w 213"/>
                  <a:gd name="T115" fmla="*/ 38 h 171"/>
                  <a:gd name="T116" fmla="*/ 19 w 213"/>
                  <a:gd name="T117" fmla="*/ 33 h 171"/>
                  <a:gd name="T118" fmla="*/ 20 w 213"/>
                  <a:gd name="T119" fmla="*/ 25 h 171"/>
                  <a:gd name="T120" fmla="*/ 30 w 213"/>
                  <a:gd name="T121" fmla="*/ 20 h 171"/>
                  <a:gd name="T122" fmla="*/ 37 w 213"/>
                  <a:gd name="T123" fmla="*/ 33 h 171"/>
                  <a:gd name="T124" fmla="*/ 34 w 213"/>
                  <a:gd name="T125" fmla="*/ 39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3" h="171">
                    <a:moveTo>
                      <a:pt x="192" y="85"/>
                    </a:moveTo>
                    <a:lnTo>
                      <a:pt x="192" y="85"/>
                    </a:lnTo>
                    <a:lnTo>
                      <a:pt x="198" y="80"/>
                    </a:lnTo>
                    <a:lnTo>
                      <a:pt x="205" y="75"/>
                    </a:lnTo>
                    <a:lnTo>
                      <a:pt x="208" y="71"/>
                    </a:lnTo>
                    <a:lnTo>
                      <a:pt x="208" y="69"/>
                    </a:lnTo>
                    <a:lnTo>
                      <a:pt x="208" y="67"/>
                    </a:lnTo>
                    <a:lnTo>
                      <a:pt x="208" y="67"/>
                    </a:lnTo>
                    <a:lnTo>
                      <a:pt x="202" y="64"/>
                    </a:lnTo>
                    <a:lnTo>
                      <a:pt x="198" y="62"/>
                    </a:lnTo>
                    <a:lnTo>
                      <a:pt x="197" y="61"/>
                    </a:lnTo>
                    <a:lnTo>
                      <a:pt x="200" y="58"/>
                    </a:lnTo>
                    <a:lnTo>
                      <a:pt x="200" y="58"/>
                    </a:lnTo>
                    <a:lnTo>
                      <a:pt x="213" y="51"/>
                    </a:lnTo>
                    <a:lnTo>
                      <a:pt x="213" y="51"/>
                    </a:lnTo>
                    <a:lnTo>
                      <a:pt x="205" y="48"/>
                    </a:lnTo>
                    <a:lnTo>
                      <a:pt x="200" y="46"/>
                    </a:lnTo>
                    <a:lnTo>
                      <a:pt x="200" y="46"/>
                    </a:lnTo>
                    <a:lnTo>
                      <a:pt x="197" y="46"/>
                    </a:lnTo>
                    <a:lnTo>
                      <a:pt x="197" y="45"/>
                    </a:lnTo>
                    <a:lnTo>
                      <a:pt x="197" y="42"/>
                    </a:lnTo>
                    <a:lnTo>
                      <a:pt x="195" y="38"/>
                    </a:lnTo>
                    <a:lnTo>
                      <a:pt x="195" y="38"/>
                    </a:lnTo>
                    <a:lnTo>
                      <a:pt x="192" y="29"/>
                    </a:lnTo>
                    <a:lnTo>
                      <a:pt x="192" y="25"/>
                    </a:lnTo>
                    <a:lnTo>
                      <a:pt x="194" y="22"/>
                    </a:lnTo>
                    <a:lnTo>
                      <a:pt x="194" y="22"/>
                    </a:lnTo>
                    <a:lnTo>
                      <a:pt x="197" y="19"/>
                    </a:lnTo>
                    <a:lnTo>
                      <a:pt x="197" y="16"/>
                    </a:lnTo>
                    <a:lnTo>
                      <a:pt x="195" y="14"/>
                    </a:lnTo>
                    <a:lnTo>
                      <a:pt x="192" y="16"/>
                    </a:lnTo>
                    <a:lnTo>
                      <a:pt x="192" y="16"/>
                    </a:lnTo>
                    <a:lnTo>
                      <a:pt x="185" y="22"/>
                    </a:lnTo>
                    <a:lnTo>
                      <a:pt x="181" y="23"/>
                    </a:lnTo>
                    <a:lnTo>
                      <a:pt x="176" y="23"/>
                    </a:lnTo>
                    <a:lnTo>
                      <a:pt x="176" y="23"/>
                    </a:lnTo>
                    <a:lnTo>
                      <a:pt x="171" y="20"/>
                    </a:lnTo>
                    <a:lnTo>
                      <a:pt x="168" y="19"/>
                    </a:lnTo>
                    <a:lnTo>
                      <a:pt x="165" y="16"/>
                    </a:lnTo>
                    <a:lnTo>
                      <a:pt x="159" y="16"/>
                    </a:lnTo>
                    <a:lnTo>
                      <a:pt x="159" y="16"/>
                    </a:lnTo>
                    <a:lnTo>
                      <a:pt x="152" y="16"/>
                    </a:lnTo>
                    <a:lnTo>
                      <a:pt x="145" y="19"/>
                    </a:lnTo>
                    <a:lnTo>
                      <a:pt x="145" y="19"/>
                    </a:lnTo>
                    <a:lnTo>
                      <a:pt x="137" y="20"/>
                    </a:lnTo>
                    <a:lnTo>
                      <a:pt x="130" y="22"/>
                    </a:lnTo>
                    <a:lnTo>
                      <a:pt x="130" y="22"/>
                    </a:lnTo>
                    <a:lnTo>
                      <a:pt x="121" y="20"/>
                    </a:lnTo>
                    <a:lnTo>
                      <a:pt x="114" y="16"/>
                    </a:lnTo>
                    <a:lnTo>
                      <a:pt x="107" y="13"/>
                    </a:lnTo>
                    <a:lnTo>
                      <a:pt x="103" y="11"/>
                    </a:lnTo>
                    <a:lnTo>
                      <a:pt x="103" y="11"/>
                    </a:lnTo>
                    <a:lnTo>
                      <a:pt x="97" y="13"/>
                    </a:lnTo>
                    <a:lnTo>
                      <a:pt x="91" y="16"/>
                    </a:lnTo>
                    <a:lnTo>
                      <a:pt x="85" y="17"/>
                    </a:lnTo>
                    <a:lnTo>
                      <a:pt x="84" y="17"/>
                    </a:lnTo>
                    <a:lnTo>
                      <a:pt x="82" y="17"/>
                    </a:lnTo>
                    <a:lnTo>
                      <a:pt x="82" y="17"/>
                    </a:lnTo>
                    <a:lnTo>
                      <a:pt x="81" y="14"/>
                    </a:lnTo>
                    <a:lnTo>
                      <a:pt x="81" y="11"/>
                    </a:lnTo>
                    <a:lnTo>
                      <a:pt x="81" y="9"/>
                    </a:lnTo>
                    <a:lnTo>
                      <a:pt x="79" y="6"/>
                    </a:lnTo>
                    <a:lnTo>
                      <a:pt x="79" y="6"/>
                    </a:lnTo>
                    <a:lnTo>
                      <a:pt x="74" y="4"/>
                    </a:lnTo>
                    <a:lnTo>
                      <a:pt x="68" y="1"/>
                    </a:lnTo>
                    <a:lnTo>
                      <a:pt x="61" y="0"/>
                    </a:lnTo>
                    <a:lnTo>
                      <a:pt x="55" y="1"/>
                    </a:lnTo>
                    <a:lnTo>
                      <a:pt x="55" y="1"/>
                    </a:lnTo>
                    <a:lnTo>
                      <a:pt x="45" y="6"/>
                    </a:lnTo>
                    <a:lnTo>
                      <a:pt x="33" y="9"/>
                    </a:lnTo>
                    <a:lnTo>
                      <a:pt x="33" y="9"/>
                    </a:lnTo>
                    <a:lnTo>
                      <a:pt x="29" y="10"/>
                    </a:lnTo>
                    <a:lnTo>
                      <a:pt x="24" y="11"/>
                    </a:lnTo>
                    <a:lnTo>
                      <a:pt x="21" y="11"/>
                    </a:lnTo>
                    <a:lnTo>
                      <a:pt x="20" y="11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19" y="1"/>
                    </a:lnTo>
                    <a:lnTo>
                      <a:pt x="14" y="3"/>
                    </a:lnTo>
                    <a:lnTo>
                      <a:pt x="11" y="4"/>
                    </a:lnTo>
                    <a:lnTo>
                      <a:pt x="8" y="7"/>
                    </a:lnTo>
                    <a:lnTo>
                      <a:pt x="4" y="14"/>
                    </a:lnTo>
                    <a:lnTo>
                      <a:pt x="3" y="20"/>
                    </a:lnTo>
                    <a:lnTo>
                      <a:pt x="3" y="20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1" y="39"/>
                    </a:lnTo>
                    <a:lnTo>
                      <a:pt x="1" y="39"/>
                    </a:lnTo>
                    <a:lnTo>
                      <a:pt x="4" y="42"/>
                    </a:lnTo>
                    <a:lnTo>
                      <a:pt x="5" y="48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8" y="64"/>
                    </a:lnTo>
                    <a:lnTo>
                      <a:pt x="11" y="68"/>
                    </a:lnTo>
                    <a:lnTo>
                      <a:pt x="17" y="72"/>
                    </a:lnTo>
                    <a:lnTo>
                      <a:pt x="23" y="74"/>
                    </a:lnTo>
                    <a:lnTo>
                      <a:pt x="23" y="74"/>
                    </a:lnTo>
                    <a:lnTo>
                      <a:pt x="33" y="75"/>
                    </a:lnTo>
                    <a:lnTo>
                      <a:pt x="47" y="78"/>
                    </a:lnTo>
                    <a:lnTo>
                      <a:pt x="71" y="85"/>
                    </a:lnTo>
                    <a:lnTo>
                      <a:pt x="71" y="85"/>
                    </a:lnTo>
                    <a:lnTo>
                      <a:pt x="76" y="85"/>
                    </a:lnTo>
                    <a:lnTo>
                      <a:pt x="81" y="84"/>
                    </a:lnTo>
                    <a:lnTo>
                      <a:pt x="88" y="82"/>
                    </a:lnTo>
                    <a:lnTo>
                      <a:pt x="88" y="82"/>
                    </a:lnTo>
                    <a:lnTo>
                      <a:pt x="89" y="84"/>
                    </a:lnTo>
                    <a:lnTo>
                      <a:pt x="89" y="85"/>
                    </a:lnTo>
                    <a:lnTo>
                      <a:pt x="87" y="91"/>
                    </a:lnTo>
                    <a:lnTo>
                      <a:pt x="79" y="103"/>
                    </a:lnTo>
                    <a:lnTo>
                      <a:pt x="79" y="103"/>
                    </a:lnTo>
                    <a:lnTo>
                      <a:pt x="78" y="107"/>
                    </a:lnTo>
                    <a:lnTo>
                      <a:pt x="78" y="111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7" y="135"/>
                    </a:lnTo>
                    <a:lnTo>
                      <a:pt x="88" y="139"/>
                    </a:lnTo>
                    <a:lnTo>
                      <a:pt x="91" y="145"/>
                    </a:lnTo>
                    <a:lnTo>
                      <a:pt x="91" y="145"/>
                    </a:lnTo>
                    <a:lnTo>
                      <a:pt x="94" y="149"/>
                    </a:lnTo>
                    <a:lnTo>
                      <a:pt x="95" y="153"/>
                    </a:lnTo>
                    <a:lnTo>
                      <a:pt x="95" y="153"/>
                    </a:lnTo>
                    <a:lnTo>
                      <a:pt x="97" y="156"/>
                    </a:lnTo>
                    <a:lnTo>
                      <a:pt x="97" y="156"/>
                    </a:lnTo>
                    <a:lnTo>
                      <a:pt x="100" y="161"/>
                    </a:lnTo>
                    <a:lnTo>
                      <a:pt x="104" y="165"/>
                    </a:lnTo>
                    <a:lnTo>
                      <a:pt x="110" y="169"/>
                    </a:lnTo>
                    <a:lnTo>
                      <a:pt x="116" y="171"/>
                    </a:lnTo>
                    <a:lnTo>
                      <a:pt x="116" y="171"/>
                    </a:lnTo>
                    <a:lnTo>
                      <a:pt x="124" y="169"/>
                    </a:lnTo>
                    <a:lnTo>
                      <a:pt x="134" y="164"/>
                    </a:lnTo>
                    <a:lnTo>
                      <a:pt x="134" y="164"/>
                    </a:lnTo>
                    <a:lnTo>
                      <a:pt x="139" y="161"/>
                    </a:lnTo>
                    <a:lnTo>
                      <a:pt x="143" y="156"/>
                    </a:lnTo>
                    <a:lnTo>
                      <a:pt x="146" y="152"/>
                    </a:lnTo>
                    <a:lnTo>
                      <a:pt x="146" y="151"/>
                    </a:lnTo>
                    <a:lnTo>
                      <a:pt x="145" y="148"/>
                    </a:lnTo>
                    <a:lnTo>
                      <a:pt x="145" y="148"/>
                    </a:lnTo>
                    <a:lnTo>
                      <a:pt x="136" y="130"/>
                    </a:lnTo>
                    <a:lnTo>
                      <a:pt x="131" y="123"/>
                    </a:lnTo>
                    <a:lnTo>
                      <a:pt x="131" y="119"/>
                    </a:lnTo>
                    <a:lnTo>
                      <a:pt x="133" y="117"/>
                    </a:lnTo>
                    <a:lnTo>
                      <a:pt x="133" y="117"/>
                    </a:lnTo>
                    <a:lnTo>
                      <a:pt x="136" y="116"/>
                    </a:lnTo>
                    <a:lnTo>
                      <a:pt x="137" y="116"/>
                    </a:lnTo>
                    <a:lnTo>
                      <a:pt x="142" y="117"/>
                    </a:lnTo>
                    <a:lnTo>
                      <a:pt x="145" y="120"/>
                    </a:lnTo>
                    <a:lnTo>
                      <a:pt x="146" y="122"/>
                    </a:lnTo>
                    <a:lnTo>
                      <a:pt x="149" y="122"/>
                    </a:lnTo>
                    <a:lnTo>
                      <a:pt x="149" y="122"/>
                    </a:lnTo>
                    <a:lnTo>
                      <a:pt x="169" y="122"/>
                    </a:lnTo>
                    <a:lnTo>
                      <a:pt x="182" y="120"/>
                    </a:lnTo>
                    <a:lnTo>
                      <a:pt x="191" y="117"/>
                    </a:lnTo>
                    <a:lnTo>
                      <a:pt x="191" y="117"/>
                    </a:lnTo>
                    <a:lnTo>
                      <a:pt x="194" y="116"/>
                    </a:lnTo>
                    <a:lnTo>
                      <a:pt x="195" y="113"/>
                    </a:lnTo>
                    <a:lnTo>
                      <a:pt x="198" y="106"/>
                    </a:lnTo>
                    <a:lnTo>
                      <a:pt x="198" y="106"/>
                    </a:lnTo>
                    <a:lnTo>
                      <a:pt x="200" y="101"/>
                    </a:lnTo>
                    <a:lnTo>
                      <a:pt x="200" y="101"/>
                    </a:lnTo>
                    <a:lnTo>
                      <a:pt x="198" y="100"/>
                    </a:lnTo>
                    <a:lnTo>
                      <a:pt x="192" y="97"/>
                    </a:lnTo>
                    <a:lnTo>
                      <a:pt x="191" y="94"/>
                    </a:lnTo>
                    <a:lnTo>
                      <a:pt x="189" y="93"/>
                    </a:lnTo>
                    <a:lnTo>
                      <a:pt x="189" y="90"/>
                    </a:lnTo>
                    <a:lnTo>
                      <a:pt x="192" y="85"/>
                    </a:lnTo>
                    <a:close/>
                    <a:moveTo>
                      <a:pt x="34" y="39"/>
                    </a:moveTo>
                    <a:lnTo>
                      <a:pt x="34" y="39"/>
                    </a:lnTo>
                    <a:lnTo>
                      <a:pt x="24" y="40"/>
                    </a:lnTo>
                    <a:lnTo>
                      <a:pt x="20" y="39"/>
                    </a:lnTo>
                    <a:lnTo>
                      <a:pt x="19" y="38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19" y="33"/>
                    </a:lnTo>
                    <a:lnTo>
                      <a:pt x="19" y="30"/>
                    </a:lnTo>
                    <a:lnTo>
                      <a:pt x="19" y="27"/>
                    </a:lnTo>
                    <a:lnTo>
                      <a:pt x="20" y="25"/>
                    </a:lnTo>
                    <a:lnTo>
                      <a:pt x="20" y="25"/>
                    </a:lnTo>
                    <a:lnTo>
                      <a:pt x="27" y="20"/>
                    </a:lnTo>
                    <a:lnTo>
                      <a:pt x="30" y="20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7" y="33"/>
                    </a:lnTo>
                    <a:lnTo>
                      <a:pt x="37" y="38"/>
                    </a:lnTo>
                    <a:lnTo>
                      <a:pt x="37" y="39"/>
                    </a:lnTo>
                    <a:lnTo>
                      <a:pt x="34" y="3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4" name="Freeform 677"/>
              <p:cNvSpPr>
                <a:spLocks/>
              </p:cNvSpPr>
              <p:nvPr/>
            </p:nvSpPr>
            <p:spPr bwMode="auto">
              <a:xfrm>
                <a:off x="3243424" y="3143028"/>
                <a:ext cx="210712" cy="169163"/>
              </a:xfrm>
              <a:custGeom>
                <a:avLst/>
                <a:gdLst>
                  <a:gd name="T0" fmla="*/ 198 w 213"/>
                  <a:gd name="T1" fmla="*/ 80 h 171"/>
                  <a:gd name="T2" fmla="*/ 208 w 213"/>
                  <a:gd name="T3" fmla="*/ 69 h 171"/>
                  <a:gd name="T4" fmla="*/ 202 w 213"/>
                  <a:gd name="T5" fmla="*/ 64 h 171"/>
                  <a:gd name="T6" fmla="*/ 200 w 213"/>
                  <a:gd name="T7" fmla="*/ 58 h 171"/>
                  <a:gd name="T8" fmla="*/ 213 w 213"/>
                  <a:gd name="T9" fmla="*/ 51 h 171"/>
                  <a:gd name="T10" fmla="*/ 200 w 213"/>
                  <a:gd name="T11" fmla="*/ 46 h 171"/>
                  <a:gd name="T12" fmla="*/ 197 w 213"/>
                  <a:gd name="T13" fmla="*/ 42 h 171"/>
                  <a:gd name="T14" fmla="*/ 192 w 213"/>
                  <a:gd name="T15" fmla="*/ 29 h 171"/>
                  <a:gd name="T16" fmla="*/ 194 w 213"/>
                  <a:gd name="T17" fmla="*/ 22 h 171"/>
                  <a:gd name="T18" fmla="*/ 195 w 213"/>
                  <a:gd name="T19" fmla="*/ 14 h 171"/>
                  <a:gd name="T20" fmla="*/ 185 w 213"/>
                  <a:gd name="T21" fmla="*/ 22 h 171"/>
                  <a:gd name="T22" fmla="*/ 176 w 213"/>
                  <a:gd name="T23" fmla="*/ 23 h 171"/>
                  <a:gd name="T24" fmla="*/ 165 w 213"/>
                  <a:gd name="T25" fmla="*/ 16 h 171"/>
                  <a:gd name="T26" fmla="*/ 152 w 213"/>
                  <a:gd name="T27" fmla="*/ 16 h 171"/>
                  <a:gd name="T28" fmla="*/ 137 w 213"/>
                  <a:gd name="T29" fmla="*/ 20 h 171"/>
                  <a:gd name="T30" fmla="*/ 121 w 213"/>
                  <a:gd name="T31" fmla="*/ 20 h 171"/>
                  <a:gd name="T32" fmla="*/ 103 w 213"/>
                  <a:gd name="T33" fmla="*/ 11 h 171"/>
                  <a:gd name="T34" fmla="*/ 91 w 213"/>
                  <a:gd name="T35" fmla="*/ 16 h 171"/>
                  <a:gd name="T36" fmla="*/ 82 w 213"/>
                  <a:gd name="T37" fmla="*/ 17 h 171"/>
                  <a:gd name="T38" fmla="*/ 81 w 213"/>
                  <a:gd name="T39" fmla="*/ 11 h 171"/>
                  <a:gd name="T40" fmla="*/ 79 w 213"/>
                  <a:gd name="T41" fmla="*/ 6 h 171"/>
                  <a:gd name="T42" fmla="*/ 61 w 213"/>
                  <a:gd name="T43" fmla="*/ 0 h 171"/>
                  <a:gd name="T44" fmla="*/ 45 w 213"/>
                  <a:gd name="T45" fmla="*/ 6 h 171"/>
                  <a:gd name="T46" fmla="*/ 29 w 213"/>
                  <a:gd name="T47" fmla="*/ 10 h 171"/>
                  <a:gd name="T48" fmla="*/ 20 w 213"/>
                  <a:gd name="T49" fmla="*/ 11 h 171"/>
                  <a:gd name="T50" fmla="*/ 20 w 213"/>
                  <a:gd name="T51" fmla="*/ 6 h 171"/>
                  <a:gd name="T52" fmla="*/ 19 w 213"/>
                  <a:gd name="T53" fmla="*/ 1 h 171"/>
                  <a:gd name="T54" fmla="*/ 8 w 213"/>
                  <a:gd name="T55" fmla="*/ 7 h 171"/>
                  <a:gd name="T56" fmla="*/ 3 w 213"/>
                  <a:gd name="T57" fmla="*/ 20 h 171"/>
                  <a:gd name="T58" fmla="*/ 0 w 213"/>
                  <a:gd name="T59" fmla="*/ 38 h 171"/>
                  <a:gd name="T60" fmla="*/ 4 w 213"/>
                  <a:gd name="T61" fmla="*/ 42 h 171"/>
                  <a:gd name="T62" fmla="*/ 5 w 213"/>
                  <a:gd name="T63" fmla="*/ 58 h 171"/>
                  <a:gd name="T64" fmla="*/ 17 w 213"/>
                  <a:gd name="T65" fmla="*/ 72 h 171"/>
                  <a:gd name="T66" fmla="*/ 33 w 213"/>
                  <a:gd name="T67" fmla="*/ 75 h 171"/>
                  <a:gd name="T68" fmla="*/ 71 w 213"/>
                  <a:gd name="T69" fmla="*/ 85 h 171"/>
                  <a:gd name="T70" fmla="*/ 88 w 213"/>
                  <a:gd name="T71" fmla="*/ 82 h 171"/>
                  <a:gd name="T72" fmla="*/ 89 w 213"/>
                  <a:gd name="T73" fmla="*/ 85 h 171"/>
                  <a:gd name="T74" fmla="*/ 79 w 213"/>
                  <a:gd name="T75" fmla="*/ 103 h 171"/>
                  <a:gd name="T76" fmla="*/ 82 w 213"/>
                  <a:gd name="T77" fmla="*/ 122 h 171"/>
                  <a:gd name="T78" fmla="*/ 88 w 213"/>
                  <a:gd name="T79" fmla="*/ 139 h 171"/>
                  <a:gd name="T80" fmla="*/ 94 w 213"/>
                  <a:gd name="T81" fmla="*/ 149 h 171"/>
                  <a:gd name="T82" fmla="*/ 97 w 213"/>
                  <a:gd name="T83" fmla="*/ 156 h 171"/>
                  <a:gd name="T84" fmla="*/ 104 w 213"/>
                  <a:gd name="T85" fmla="*/ 165 h 171"/>
                  <a:gd name="T86" fmla="*/ 116 w 213"/>
                  <a:gd name="T87" fmla="*/ 171 h 171"/>
                  <a:gd name="T88" fmla="*/ 134 w 213"/>
                  <a:gd name="T89" fmla="*/ 164 h 171"/>
                  <a:gd name="T90" fmla="*/ 146 w 213"/>
                  <a:gd name="T91" fmla="*/ 152 h 171"/>
                  <a:gd name="T92" fmla="*/ 145 w 213"/>
                  <a:gd name="T93" fmla="*/ 148 h 171"/>
                  <a:gd name="T94" fmla="*/ 131 w 213"/>
                  <a:gd name="T95" fmla="*/ 119 h 171"/>
                  <a:gd name="T96" fmla="*/ 136 w 213"/>
                  <a:gd name="T97" fmla="*/ 116 h 171"/>
                  <a:gd name="T98" fmla="*/ 145 w 213"/>
                  <a:gd name="T99" fmla="*/ 120 h 171"/>
                  <a:gd name="T100" fmla="*/ 149 w 213"/>
                  <a:gd name="T101" fmla="*/ 122 h 171"/>
                  <a:gd name="T102" fmla="*/ 191 w 213"/>
                  <a:gd name="T103" fmla="*/ 117 h 171"/>
                  <a:gd name="T104" fmla="*/ 195 w 213"/>
                  <a:gd name="T105" fmla="*/ 113 h 171"/>
                  <a:gd name="T106" fmla="*/ 200 w 213"/>
                  <a:gd name="T107" fmla="*/ 101 h 171"/>
                  <a:gd name="T108" fmla="*/ 192 w 213"/>
                  <a:gd name="T109" fmla="*/ 97 h 171"/>
                  <a:gd name="T110" fmla="*/ 189 w 213"/>
                  <a:gd name="T111" fmla="*/ 90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13" h="171">
                    <a:moveTo>
                      <a:pt x="192" y="85"/>
                    </a:moveTo>
                    <a:lnTo>
                      <a:pt x="192" y="85"/>
                    </a:lnTo>
                    <a:lnTo>
                      <a:pt x="198" y="80"/>
                    </a:lnTo>
                    <a:lnTo>
                      <a:pt x="205" y="75"/>
                    </a:lnTo>
                    <a:lnTo>
                      <a:pt x="208" y="71"/>
                    </a:lnTo>
                    <a:lnTo>
                      <a:pt x="208" y="69"/>
                    </a:lnTo>
                    <a:lnTo>
                      <a:pt x="208" y="67"/>
                    </a:lnTo>
                    <a:lnTo>
                      <a:pt x="208" y="67"/>
                    </a:lnTo>
                    <a:lnTo>
                      <a:pt x="202" y="64"/>
                    </a:lnTo>
                    <a:lnTo>
                      <a:pt x="198" y="62"/>
                    </a:lnTo>
                    <a:lnTo>
                      <a:pt x="197" y="61"/>
                    </a:lnTo>
                    <a:lnTo>
                      <a:pt x="200" y="58"/>
                    </a:lnTo>
                    <a:lnTo>
                      <a:pt x="200" y="58"/>
                    </a:lnTo>
                    <a:lnTo>
                      <a:pt x="213" y="51"/>
                    </a:lnTo>
                    <a:lnTo>
                      <a:pt x="213" y="51"/>
                    </a:lnTo>
                    <a:lnTo>
                      <a:pt x="205" y="48"/>
                    </a:lnTo>
                    <a:lnTo>
                      <a:pt x="200" y="46"/>
                    </a:lnTo>
                    <a:lnTo>
                      <a:pt x="200" y="46"/>
                    </a:lnTo>
                    <a:lnTo>
                      <a:pt x="197" y="46"/>
                    </a:lnTo>
                    <a:lnTo>
                      <a:pt x="197" y="45"/>
                    </a:lnTo>
                    <a:lnTo>
                      <a:pt x="197" y="42"/>
                    </a:lnTo>
                    <a:lnTo>
                      <a:pt x="195" y="38"/>
                    </a:lnTo>
                    <a:lnTo>
                      <a:pt x="195" y="38"/>
                    </a:lnTo>
                    <a:lnTo>
                      <a:pt x="192" y="29"/>
                    </a:lnTo>
                    <a:lnTo>
                      <a:pt x="192" y="25"/>
                    </a:lnTo>
                    <a:lnTo>
                      <a:pt x="194" y="22"/>
                    </a:lnTo>
                    <a:lnTo>
                      <a:pt x="194" y="22"/>
                    </a:lnTo>
                    <a:lnTo>
                      <a:pt x="197" y="19"/>
                    </a:lnTo>
                    <a:lnTo>
                      <a:pt x="197" y="16"/>
                    </a:lnTo>
                    <a:lnTo>
                      <a:pt x="195" y="14"/>
                    </a:lnTo>
                    <a:lnTo>
                      <a:pt x="192" y="16"/>
                    </a:lnTo>
                    <a:lnTo>
                      <a:pt x="192" y="16"/>
                    </a:lnTo>
                    <a:lnTo>
                      <a:pt x="185" y="22"/>
                    </a:lnTo>
                    <a:lnTo>
                      <a:pt x="181" y="23"/>
                    </a:lnTo>
                    <a:lnTo>
                      <a:pt x="176" y="23"/>
                    </a:lnTo>
                    <a:lnTo>
                      <a:pt x="176" y="23"/>
                    </a:lnTo>
                    <a:lnTo>
                      <a:pt x="171" y="20"/>
                    </a:lnTo>
                    <a:lnTo>
                      <a:pt x="168" y="19"/>
                    </a:lnTo>
                    <a:lnTo>
                      <a:pt x="165" y="16"/>
                    </a:lnTo>
                    <a:lnTo>
                      <a:pt x="159" y="16"/>
                    </a:lnTo>
                    <a:lnTo>
                      <a:pt x="159" y="16"/>
                    </a:lnTo>
                    <a:lnTo>
                      <a:pt x="152" y="16"/>
                    </a:lnTo>
                    <a:lnTo>
                      <a:pt x="145" y="19"/>
                    </a:lnTo>
                    <a:lnTo>
                      <a:pt x="145" y="19"/>
                    </a:lnTo>
                    <a:lnTo>
                      <a:pt x="137" y="20"/>
                    </a:lnTo>
                    <a:lnTo>
                      <a:pt x="130" y="22"/>
                    </a:lnTo>
                    <a:lnTo>
                      <a:pt x="130" y="22"/>
                    </a:lnTo>
                    <a:lnTo>
                      <a:pt x="121" y="20"/>
                    </a:lnTo>
                    <a:lnTo>
                      <a:pt x="114" y="16"/>
                    </a:lnTo>
                    <a:lnTo>
                      <a:pt x="107" y="13"/>
                    </a:lnTo>
                    <a:lnTo>
                      <a:pt x="103" y="11"/>
                    </a:lnTo>
                    <a:lnTo>
                      <a:pt x="103" y="11"/>
                    </a:lnTo>
                    <a:lnTo>
                      <a:pt x="97" y="13"/>
                    </a:lnTo>
                    <a:lnTo>
                      <a:pt x="91" y="16"/>
                    </a:lnTo>
                    <a:lnTo>
                      <a:pt x="85" y="17"/>
                    </a:lnTo>
                    <a:lnTo>
                      <a:pt x="84" y="17"/>
                    </a:lnTo>
                    <a:lnTo>
                      <a:pt x="82" y="17"/>
                    </a:lnTo>
                    <a:lnTo>
                      <a:pt x="82" y="17"/>
                    </a:lnTo>
                    <a:lnTo>
                      <a:pt x="81" y="14"/>
                    </a:lnTo>
                    <a:lnTo>
                      <a:pt x="81" y="11"/>
                    </a:lnTo>
                    <a:lnTo>
                      <a:pt x="81" y="9"/>
                    </a:lnTo>
                    <a:lnTo>
                      <a:pt x="79" y="6"/>
                    </a:lnTo>
                    <a:lnTo>
                      <a:pt x="79" y="6"/>
                    </a:lnTo>
                    <a:lnTo>
                      <a:pt x="74" y="4"/>
                    </a:lnTo>
                    <a:lnTo>
                      <a:pt x="68" y="1"/>
                    </a:lnTo>
                    <a:lnTo>
                      <a:pt x="61" y="0"/>
                    </a:lnTo>
                    <a:lnTo>
                      <a:pt x="55" y="1"/>
                    </a:lnTo>
                    <a:lnTo>
                      <a:pt x="55" y="1"/>
                    </a:lnTo>
                    <a:lnTo>
                      <a:pt x="45" y="6"/>
                    </a:lnTo>
                    <a:lnTo>
                      <a:pt x="33" y="9"/>
                    </a:lnTo>
                    <a:lnTo>
                      <a:pt x="33" y="9"/>
                    </a:lnTo>
                    <a:lnTo>
                      <a:pt x="29" y="10"/>
                    </a:lnTo>
                    <a:lnTo>
                      <a:pt x="24" y="11"/>
                    </a:lnTo>
                    <a:lnTo>
                      <a:pt x="21" y="11"/>
                    </a:lnTo>
                    <a:lnTo>
                      <a:pt x="20" y="11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19" y="1"/>
                    </a:lnTo>
                    <a:lnTo>
                      <a:pt x="14" y="3"/>
                    </a:lnTo>
                    <a:lnTo>
                      <a:pt x="11" y="4"/>
                    </a:lnTo>
                    <a:lnTo>
                      <a:pt x="8" y="7"/>
                    </a:lnTo>
                    <a:lnTo>
                      <a:pt x="4" y="14"/>
                    </a:lnTo>
                    <a:lnTo>
                      <a:pt x="3" y="20"/>
                    </a:lnTo>
                    <a:lnTo>
                      <a:pt x="3" y="20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1" y="39"/>
                    </a:lnTo>
                    <a:lnTo>
                      <a:pt x="1" y="39"/>
                    </a:lnTo>
                    <a:lnTo>
                      <a:pt x="4" y="42"/>
                    </a:lnTo>
                    <a:lnTo>
                      <a:pt x="5" y="48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8" y="64"/>
                    </a:lnTo>
                    <a:lnTo>
                      <a:pt x="11" y="68"/>
                    </a:lnTo>
                    <a:lnTo>
                      <a:pt x="17" y="72"/>
                    </a:lnTo>
                    <a:lnTo>
                      <a:pt x="23" y="74"/>
                    </a:lnTo>
                    <a:lnTo>
                      <a:pt x="23" y="74"/>
                    </a:lnTo>
                    <a:lnTo>
                      <a:pt x="33" y="75"/>
                    </a:lnTo>
                    <a:lnTo>
                      <a:pt x="47" y="78"/>
                    </a:lnTo>
                    <a:lnTo>
                      <a:pt x="71" y="85"/>
                    </a:lnTo>
                    <a:lnTo>
                      <a:pt x="71" y="85"/>
                    </a:lnTo>
                    <a:lnTo>
                      <a:pt x="76" y="85"/>
                    </a:lnTo>
                    <a:lnTo>
                      <a:pt x="81" y="84"/>
                    </a:lnTo>
                    <a:lnTo>
                      <a:pt x="88" y="82"/>
                    </a:lnTo>
                    <a:lnTo>
                      <a:pt x="88" y="82"/>
                    </a:lnTo>
                    <a:lnTo>
                      <a:pt x="89" y="84"/>
                    </a:lnTo>
                    <a:lnTo>
                      <a:pt x="89" y="85"/>
                    </a:lnTo>
                    <a:lnTo>
                      <a:pt x="87" y="91"/>
                    </a:lnTo>
                    <a:lnTo>
                      <a:pt x="79" y="103"/>
                    </a:lnTo>
                    <a:lnTo>
                      <a:pt x="79" y="103"/>
                    </a:lnTo>
                    <a:lnTo>
                      <a:pt x="78" y="107"/>
                    </a:lnTo>
                    <a:lnTo>
                      <a:pt x="78" y="111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7" y="135"/>
                    </a:lnTo>
                    <a:lnTo>
                      <a:pt x="88" y="139"/>
                    </a:lnTo>
                    <a:lnTo>
                      <a:pt x="91" y="145"/>
                    </a:lnTo>
                    <a:lnTo>
                      <a:pt x="91" y="145"/>
                    </a:lnTo>
                    <a:lnTo>
                      <a:pt x="94" y="149"/>
                    </a:lnTo>
                    <a:lnTo>
                      <a:pt x="95" y="153"/>
                    </a:lnTo>
                    <a:lnTo>
                      <a:pt x="95" y="153"/>
                    </a:lnTo>
                    <a:lnTo>
                      <a:pt x="97" y="156"/>
                    </a:lnTo>
                    <a:lnTo>
                      <a:pt x="97" y="156"/>
                    </a:lnTo>
                    <a:lnTo>
                      <a:pt x="100" y="161"/>
                    </a:lnTo>
                    <a:lnTo>
                      <a:pt x="104" y="165"/>
                    </a:lnTo>
                    <a:lnTo>
                      <a:pt x="110" y="169"/>
                    </a:lnTo>
                    <a:lnTo>
                      <a:pt x="116" y="171"/>
                    </a:lnTo>
                    <a:lnTo>
                      <a:pt x="116" y="171"/>
                    </a:lnTo>
                    <a:lnTo>
                      <a:pt x="124" y="169"/>
                    </a:lnTo>
                    <a:lnTo>
                      <a:pt x="134" y="164"/>
                    </a:lnTo>
                    <a:lnTo>
                      <a:pt x="134" y="164"/>
                    </a:lnTo>
                    <a:lnTo>
                      <a:pt x="139" y="161"/>
                    </a:lnTo>
                    <a:lnTo>
                      <a:pt x="143" y="156"/>
                    </a:lnTo>
                    <a:lnTo>
                      <a:pt x="146" y="152"/>
                    </a:lnTo>
                    <a:lnTo>
                      <a:pt x="146" y="151"/>
                    </a:lnTo>
                    <a:lnTo>
                      <a:pt x="145" y="148"/>
                    </a:lnTo>
                    <a:lnTo>
                      <a:pt x="145" y="148"/>
                    </a:lnTo>
                    <a:lnTo>
                      <a:pt x="136" y="130"/>
                    </a:lnTo>
                    <a:lnTo>
                      <a:pt x="131" y="123"/>
                    </a:lnTo>
                    <a:lnTo>
                      <a:pt x="131" y="119"/>
                    </a:lnTo>
                    <a:lnTo>
                      <a:pt x="133" y="117"/>
                    </a:lnTo>
                    <a:lnTo>
                      <a:pt x="133" y="117"/>
                    </a:lnTo>
                    <a:lnTo>
                      <a:pt x="136" y="116"/>
                    </a:lnTo>
                    <a:lnTo>
                      <a:pt x="137" y="116"/>
                    </a:lnTo>
                    <a:lnTo>
                      <a:pt x="142" y="117"/>
                    </a:lnTo>
                    <a:lnTo>
                      <a:pt x="145" y="120"/>
                    </a:lnTo>
                    <a:lnTo>
                      <a:pt x="146" y="122"/>
                    </a:lnTo>
                    <a:lnTo>
                      <a:pt x="149" y="122"/>
                    </a:lnTo>
                    <a:lnTo>
                      <a:pt x="149" y="122"/>
                    </a:lnTo>
                    <a:lnTo>
                      <a:pt x="169" y="122"/>
                    </a:lnTo>
                    <a:lnTo>
                      <a:pt x="182" y="120"/>
                    </a:lnTo>
                    <a:lnTo>
                      <a:pt x="191" y="117"/>
                    </a:lnTo>
                    <a:lnTo>
                      <a:pt x="191" y="117"/>
                    </a:lnTo>
                    <a:lnTo>
                      <a:pt x="194" y="116"/>
                    </a:lnTo>
                    <a:lnTo>
                      <a:pt x="195" y="113"/>
                    </a:lnTo>
                    <a:lnTo>
                      <a:pt x="198" y="106"/>
                    </a:lnTo>
                    <a:lnTo>
                      <a:pt x="198" y="106"/>
                    </a:lnTo>
                    <a:lnTo>
                      <a:pt x="200" y="101"/>
                    </a:lnTo>
                    <a:lnTo>
                      <a:pt x="200" y="101"/>
                    </a:lnTo>
                    <a:lnTo>
                      <a:pt x="198" y="100"/>
                    </a:lnTo>
                    <a:lnTo>
                      <a:pt x="192" y="97"/>
                    </a:lnTo>
                    <a:lnTo>
                      <a:pt x="191" y="94"/>
                    </a:lnTo>
                    <a:lnTo>
                      <a:pt x="189" y="93"/>
                    </a:lnTo>
                    <a:lnTo>
                      <a:pt x="189" y="90"/>
                    </a:lnTo>
                    <a:lnTo>
                      <a:pt x="192" y="8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5" name="Freeform 678"/>
              <p:cNvSpPr>
                <a:spLocks/>
              </p:cNvSpPr>
              <p:nvPr/>
            </p:nvSpPr>
            <p:spPr bwMode="auto">
              <a:xfrm>
                <a:off x="3262220" y="3162814"/>
                <a:ext cx="17807" cy="19785"/>
              </a:xfrm>
              <a:custGeom>
                <a:avLst/>
                <a:gdLst>
                  <a:gd name="T0" fmla="*/ 15 w 18"/>
                  <a:gd name="T1" fmla="*/ 19 h 20"/>
                  <a:gd name="T2" fmla="*/ 15 w 18"/>
                  <a:gd name="T3" fmla="*/ 19 h 20"/>
                  <a:gd name="T4" fmla="*/ 5 w 18"/>
                  <a:gd name="T5" fmla="*/ 20 h 20"/>
                  <a:gd name="T6" fmla="*/ 1 w 18"/>
                  <a:gd name="T7" fmla="*/ 19 h 20"/>
                  <a:gd name="T8" fmla="*/ 0 w 18"/>
                  <a:gd name="T9" fmla="*/ 18 h 20"/>
                  <a:gd name="T10" fmla="*/ 0 w 18"/>
                  <a:gd name="T11" fmla="*/ 16 h 20"/>
                  <a:gd name="T12" fmla="*/ 0 w 18"/>
                  <a:gd name="T13" fmla="*/ 16 h 20"/>
                  <a:gd name="T14" fmla="*/ 0 w 18"/>
                  <a:gd name="T15" fmla="*/ 13 h 20"/>
                  <a:gd name="T16" fmla="*/ 0 w 18"/>
                  <a:gd name="T17" fmla="*/ 10 h 20"/>
                  <a:gd name="T18" fmla="*/ 0 w 18"/>
                  <a:gd name="T19" fmla="*/ 7 h 20"/>
                  <a:gd name="T20" fmla="*/ 1 w 18"/>
                  <a:gd name="T21" fmla="*/ 5 h 20"/>
                  <a:gd name="T22" fmla="*/ 1 w 18"/>
                  <a:gd name="T23" fmla="*/ 5 h 20"/>
                  <a:gd name="T24" fmla="*/ 8 w 18"/>
                  <a:gd name="T25" fmla="*/ 0 h 20"/>
                  <a:gd name="T26" fmla="*/ 11 w 18"/>
                  <a:gd name="T27" fmla="*/ 0 h 20"/>
                  <a:gd name="T28" fmla="*/ 13 w 18"/>
                  <a:gd name="T29" fmla="*/ 2 h 20"/>
                  <a:gd name="T30" fmla="*/ 13 w 18"/>
                  <a:gd name="T31" fmla="*/ 2 h 20"/>
                  <a:gd name="T32" fmla="*/ 18 w 18"/>
                  <a:gd name="T33" fmla="*/ 13 h 20"/>
                  <a:gd name="T34" fmla="*/ 18 w 18"/>
                  <a:gd name="T35" fmla="*/ 18 h 20"/>
                  <a:gd name="T36" fmla="*/ 18 w 18"/>
                  <a:gd name="T37" fmla="*/ 19 h 20"/>
                  <a:gd name="T38" fmla="*/ 15 w 18"/>
                  <a:gd name="T39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" h="20">
                    <a:moveTo>
                      <a:pt x="15" y="19"/>
                    </a:moveTo>
                    <a:lnTo>
                      <a:pt x="15" y="19"/>
                    </a:lnTo>
                    <a:lnTo>
                      <a:pt x="5" y="20"/>
                    </a:lnTo>
                    <a:lnTo>
                      <a:pt x="1" y="19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18" y="13"/>
                    </a:lnTo>
                    <a:lnTo>
                      <a:pt x="18" y="18"/>
                    </a:lnTo>
                    <a:lnTo>
                      <a:pt x="18" y="19"/>
                    </a:lnTo>
                    <a:lnTo>
                      <a:pt x="15" y="1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6" name="Freeform 679"/>
              <p:cNvSpPr>
                <a:spLocks/>
              </p:cNvSpPr>
              <p:nvPr/>
            </p:nvSpPr>
            <p:spPr bwMode="auto">
              <a:xfrm>
                <a:off x="3489749" y="3227115"/>
                <a:ext cx="58366" cy="63313"/>
              </a:xfrm>
              <a:custGeom>
                <a:avLst/>
                <a:gdLst>
                  <a:gd name="T0" fmla="*/ 48 w 59"/>
                  <a:gd name="T1" fmla="*/ 64 h 64"/>
                  <a:gd name="T2" fmla="*/ 48 w 59"/>
                  <a:gd name="T3" fmla="*/ 64 h 64"/>
                  <a:gd name="T4" fmla="*/ 35 w 59"/>
                  <a:gd name="T5" fmla="*/ 63 h 64"/>
                  <a:gd name="T6" fmla="*/ 35 w 59"/>
                  <a:gd name="T7" fmla="*/ 63 h 64"/>
                  <a:gd name="T8" fmla="*/ 30 w 59"/>
                  <a:gd name="T9" fmla="*/ 63 h 64"/>
                  <a:gd name="T10" fmla="*/ 30 w 59"/>
                  <a:gd name="T11" fmla="*/ 63 h 64"/>
                  <a:gd name="T12" fmla="*/ 29 w 59"/>
                  <a:gd name="T13" fmla="*/ 63 h 64"/>
                  <a:gd name="T14" fmla="*/ 29 w 59"/>
                  <a:gd name="T15" fmla="*/ 63 h 64"/>
                  <a:gd name="T16" fmla="*/ 11 w 59"/>
                  <a:gd name="T17" fmla="*/ 48 h 64"/>
                  <a:gd name="T18" fmla="*/ 4 w 59"/>
                  <a:gd name="T19" fmla="*/ 39 h 64"/>
                  <a:gd name="T20" fmla="*/ 1 w 59"/>
                  <a:gd name="T21" fmla="*/ 37 h 64"/>
                  <a:gd name="T22" fmla="*/ 0 w 59"/>
                  <a:gd name="T23" fmla="*/ 34 h 64"/>
                  <a:gd name="T24" fmla="*/ 0 w 59"/>
                  <a:gd name="T25" fmla="*/ 34 h 64"/>
                  <a:gd name="T26" fmla="*/ 1 w 59"/>
                  <a:gd name="T27" fmla="*/ 32 h 64"/>
                  <a:gd name="T28" fmla="*/ 1 w 59"/>
                  <a:gd name="T29" fmla="*/ 32 h 64"/>
                  <a:gd name="T30" fmla="*/ 7 w 59"/>
                  <a:gd name="T31" fmla="*/ 21 h 64"/>
                  <a:gd name="T32" fmla="*/ 10 w 59"/>
                  <a:gd name="T33" fmla="*/ 16 h 64"/>
                  <a:gd name="T34" fmla="*/ 10 w 59"/>
                  <a:gd name="T35" fmla="*/ 12 h 64"/>
                  <a:gd name="T36" fmla="*/ 10 w 59"/>
                  <a:gd name="T37" fmla="*/ 0 h 64"/>
                  <a:gd name="T38" fmla="*/ 10 w 59"/>
                  <a:gd name="T39" fmla="*/ 0 h 64"/>
                  <a:gd name="T40" fmla="*/ 17 w 59"/>
                  <a:gd name="T41" fmla="*/ 5 h 64"/>
                  <a:gd name="T42" fmla="*/ 17 w 59"/>
                  <a:gd name="T43" fmla="*/ 5 h 64"/>
                  <a:gd name="T44" fmla="*/ 24 w 59"/>
                  <a:gd name="T45" fmla="*/ 5 h 64"/>
                  <a:gd name="T46" fmla="*/ 24 w 59"/>
                  <a:gd name="T47" fmla="*/ 5 h 64"/>
                  <a:gd name="T48" fmla="*/ 45 w 59"/>
                  <a:gd name="T49" fmla="*/ 3 h 64"/>
                  <a:gd name="T50" fmla="*/ 45 w 59"/>
                  <a:gd name="T51" fmla="*/ 3 h 64"/>
                  <a:gd name="T52" fmla="*/ 49 w 59"/>
                  <a:gd name="T53" fmla="*/ 3 h 64"/>
                  <a:gd name="T54" fmla="*/ 55 w 59"/>
                  <a:gd name="T55" fmla="*/ 6 h 64"/>
                  <a:gd name="T56" fmla="*/ 55 w 59"/>
                  <a:gd name="T57" fmla="*/ 6 h 64"/>
                  <a:gd name="T58" fmla="*/ 49 w 59"/>
                  <a:gd name="T59" fmla="*/ 19 h 64"/>
                  <a:gd name="T60" fmla="*/ 49 w 59"/>
                  <a:gd name="T61" fmla="*/ 19 h 64"/>
                  <a:gd name="T62" fmla="*/ 49 w 59"/>
                  <a:gd name="T63" fmla="*/ 21 h 64"/>
                  <a:gd name="T64" fmla="*/ 49 w 59"/>
                  <a:gd name="T65" fmla="*/ 21 h 64"/>
                  <a:gd name="T66" fmla="*/ 50 w 59"/>
                  <a:gd name="T67" fmla="*/ 25 h 64"/>
                  <a:gd name="T68" fmla="*/ 53 w 59"/>
                  <a:gd name="T69" fmla="*/ 31 h 64"/>
                  <a:gd name="T70" fmla="*/ 58 w 59"/>
                  <a:gd name="T71" fmla="*/ 37 h 64"/>
                  <a:gd name="T72" fmla="*/ 59 w 59"/>
                  <a:gd name="T73" fmla="*/ 42 h 64"/>
                  <a:gd name="T74" fmla="*/ 59 w 59"/>
                  <a:gd name="T75" fmla="*/ 42 h 64"/>
                  <a:gd name="T76" fmla="*/ 58 w 59"/>
                  <a:gd name="T77" fmla="*/ 47 h 64"/>
                  <a:gd name="T78" fmla="*/ 55 w 59"/>
                  <a:gd name="T79" fmla="*/ 52 h 64"/>
                  <a:gd name="T80" fmla="*/ 48 w 59"/>
                  <a:gd name="T8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9" h="64">
                    <a:moveTo>
                      <a:pt x="48" y="64"/>
                    </a:moveTo>
                    <a:lnTo>
                      <a:pt x="48" y="64"/>
                    </a:lnTo>
                    <a:lnTo>
                      <a:pt x="35" y="63"/>
                    </a:lnTo>
                    <a:lnTo>
                      <a:pt x="35" y="63"/>
                    </a:lnTo>
                    <a:lnTo>
                      <a:pt x="30" y="63"/>
                    </a:lnTo>
                    <a:lnTo>
                      <a:pt x="30" y="63"/>
                    </a:lnTo>
                    <a:lnTo>
                      <a:pt x="29" y="63"/>
                    </a:lnTo>
                    <a:lnTo>
                      <a:pt x="29" y="63"/>
                    </a:lnTo>
                    <a:lnTo>
                      <a:pt x="11" y="48"/>
                    </a:lnTo>
                    <a:lnTo>
                      <a:pt x="4" y="39"/>
                    </a:lnTo>
                    <a:lnTo>
                      <a:pt x="1" y="37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32"/>
                    </a:lnTo>
                    <a:lnTo>
                      <a:pt x="1" y="32"/>
                    </a:lnTo>
                    <a:lnTo>
                      <a:pt x="7" y="21"/>
                    </a:lnTo>
                    <a:lnTo>
                      <a:pt x="10" y="16"/>
                    </a:lnTo>
                    <a:lnTo>
                      <a:pt x="10" y="1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24" y="5"/>
                    </a:lnTo>
                    <a:lnTo>
                      <a:pt x="24" y="5"/>
                    </a:lnTo>
                    <a:lnTo>
                      <a:pt x="45" y="3"/>
                    </a:lnTo>
                    <a:lnTo>
                      <a:pt x="45" y="3"/>
                    </a:lnTo>
                    <a:lnTo>
                      <a:pt x="49" y="3"/>
                    </a:lnTo>
                    <a:lnTo>
                      <a:pt x="55" y="6"/>
                    </a:lnTo>
                    <a:lnTo>
                      <a:pt x="55" y="6"/>
                    </a:lnTo>
                    <a:lnTo>
                      <a:pt x="49" y="19"/>
                    </a:lnTo>
                    <a:lnTo>
                      <a:pt x="49" y="19"/>
                    </a:lnTo>
                    <a:lnTo>
                      <a:pt x="49" y="21"/>
                    </a:lnTo>
                    <a:lnTo>
                      <a:pt x="49" y="21"/>
                    </a:lnTo>
                    <a:lnTo>
                      <a:pt x="50" y="25"/>
                    </a:lnTo>
                    <a:lnTo>
                      <a:pt x="53" y="31"/>
                    </a:lnTo>
                    <a:lnTo>
                      <a:pt x="58" y="37"/>
                    </a:lnTo>
                    <a:lnTo>
                      <a:pt x="59" y="42"/>
                    </a:lnTo>
                    <a:lnTo>
                      <a:pt x="59" y="42"/>
                    </a:lnTo>
                    <a:lnTo>
                      <a:pt x="58" y="47"/>
                    </a:lnTo>
                    <a:lnTo>
                      <a:pt x="55" y="52"/>
                    </a:lnTo>
                    <a:lnTo>
                      <a:pt x="48" y="6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7" name="Freeform 680"/>
              <p:cNvSpPr>
                <a:spLocks/>
              </p:cNvSpPr>
              <p:nvPr/>
            </p:nvSpPr>
            <p:spPr bwMode="auto">
              <a:xfrm>
                <a:off x="3489749" y="3227115"/>
                <a:ext cx="58366" cy="63313"/>
              </a:xfrm>
              <a:custGeom>
                <a:avLst/>
                <a:gdLst>
                  <a:gd name="T0" fmla="*/ 48 w 59"/>
                  <a:gd name="T1" fmla="*/ 64 h 64"/>
                  <a:gd name="T2" fmla="*/ 48 w 59"/>
                  <a:gd name="T3" fmla="*/ 64 h 64"/>
                  <a:gd name="T4" fmla="*/ 35 w 59"/>
                  <a:gd name="T5" fmla="*/ 63 h 64"/>
                  <a:gd name="T6" fmla="*/ 35 w 59"/>
                  <a:gd name="T7" fmla="*/ 63 h 64"/>
                  <a:gd name="T8" fmla="*/ 30 w 59"/>
                  <a:gd name="T9" fmla="*/ 63 h 64"/>
                  <a:gd name="T10" fmla="*/ 30 w 59"/>
                  <a:gd name="T11" fmla="*/ 63 h 64"/>
                  <a:gd name="T12" fmla="*/ 29 w 59"/>
                  <a:gd name="T13" fmla="*/ 63 h 64"/>
                  <a:gd name="T14" fmla="*/ 29 w 59"/>
                  <a:gd name="T15" fmla="*/ 63 h 64"/>
                  <a:gd name="T16" fmla="*/ 11 w 59"/>
                  <a:gd name="T17" fmla="*/ 48 h 64"/>
                  <a:gd name="T18" fmla="*/ 4 w 59"/>
                  <a:gd name="T19" fmla="*/ 39 h 64"/>
                  <a:gd name="T20" fmla="*/ 1 w 59"/>
                  <a:gd name="T21" fmla="*/ 37 h 64"/>
                  <a:gd name="T22" fmla="*/ 0 w 59"/>
                  <a:gd name="T23" fmla="*/ 34 h 64"/>
                  <a:gd name="T24" fmla="*/ 0 w 59"/>
                  <a:gd name="T25" fmla="*/ 34 h 64"/>
                  <a:gd name="T26" fmla="*/ 1 w 59"/>
                  <a:gd name="T27" fmla="*/ 32 h 64"/>
                  <a:gd name="T28" fmla="*/ 1 w 59"/>
                  <a:gd name="T29" fmla="*/ 32 h 64"/>
                  <a:gd name="T30" fmla="*/ 7 w 59"/>
                  <a:gd name="T31" fmla="*/ 21 h 64"/>
                  <a:gd name="T32" fmla="*/ 10 w 59"/>
                  <a:gd name="T33" fmla="*/ 16 h 64"/>
                  <a:gd name="T34" fmla="*/ 10 w 59"/>
                  <a:gd name="T35" fmla="*/ 12 h 64"/>
                  <a:gd name="T36" fmla="*/ 10 w 59"/>
                  <a:gd name="T37" fmla="*/ 0 h 64"/>
                  <a:gd name="T38" fmla="*/ 10 w 59"/>
                  <a:gd name="T39" fmla="*/ 0 h 64"/>
                  <a:gd name="T40" fmla="*/ 17 w 59"/>
                  <a:gd name="T41" fmla="*/ 5 h 64"/>
                  <a:gd name="T42" fmla="*/ 17 w 59"/>
                  <a:gd name="T43" fmla="*/ 5 h 64"/>
                  <a:gd name="T44" fmla="*/ 24 w 59"/>
                  <a:gd name="T45" fmla="*/ 5 h 64"/>
                  <a:gd name="T46" fmla="*/ 24 w 59"/>
                  <a:gd name="T47" fmla="*/ 5 h 64"/>
                  <a:gd name="T48" fmla="*/ 45 w 59"/>
                  <a:gd name="T49" fmla="*/ 3 h 64"/>
                  <a:gd name="T50" fmla="*/ 45 w 59"/>
                  <a:gd name="T51" fmla="*/ 3 h 64"/>
                  <a:gd name="T52" fmla="*/ 49 w 59"/>
                  <a:gd name="T53" fmla="*/ 3 h 64"/>
                  <a:gd name="T54" fmla="*/ 55 w 59"/>
                  <a:gd name="T55" fmla="*/ 6 h 64"/>
                  <a:gd name="T56" fmla="*/ 55 w 59"/>
                  <a:gd name="T57" fmla="*/ 6 h 64"/>
                  <a:gd name="T58" fmla="*/ 49 w 59"/>
                  <a:gd name="T59" fmla="*/ 19 h 64"/>
                  <a:gd name="T60" fmla="*/ 49 w 59"/>
                  <a:gd name="T61" fmla="*/ 19 h 64"/>
                  <a:gd name="T62" fmla="*/ 49 w 59"/>
                  <a:gd name="T63" fmla="*/ 21 h 64"/>
                  <a:gd name="T64" fmla="*/ 49 w 59"/>
                  <a:gd name="T65" fmla="*/ 21 h 64"/>
                  <a:gd name="T66" fmla="*/ 50 w 59"/>
                  <a:gd name="T67" fmla="*/ 25 h 64"/>
                  <a:gd name="T68" fmla="*/ 53 w 59"/>
                  <a:gd name="T69" fmla="*/ 31 h 64"/>
                  <a:gd name="T70" fmla="*/ 58 w 59"/>
                  <a:gd name="T71" fmla="*/ 37 h 64"/>
                  <a:gd name="T72" fmla="*/ 59 w 59"/>
                  <a:gd name="T73" fmla="*/ 42 h 64"/>
                  <a:gd name="T74" fmla="*/ 59 w 59"/>
                  <a:gd name="T75" fmla="*/ 42 h 64"/>
                  <a:gd name="T76" fmla="*/ 58 w 59"/>
                  <a:gd name="T77" fmla="*/ 47 h 64"/>
                  <a:gd name="T78" fmla="*/ 55 w 59"/>
                  <a:gd name="T79" fmla="*/ 52 h 64"/>
                  <a:gd name="T80" fmla="*/ 48 w 59"/>
                  <a:gd name="T8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9" h="64">
                    <a:moveTo>
                      <a:pt x="48" y="64"/>
                    </a:moveTo>
                    <a:lnTo>
                      <a:pt x="48" y="64"/>
                    </a:lnTo>
                    <a:lnTo>
                      <a:pt x="35" y="63"/>
                    </a:lnTo>
                    <a:lnTo>
                      <a:pt x="35" y="63"/>
                    </a:lnTo>
                    <a:lnTo>
                      <a:pt x="30" y="63"/>
                    </a:lnTo>
                    <a:lnTo>
                      <a:pt x="30" y="63"/>
                    </a:lnTo>
                    <a:lnTo>
                      <a:pt x="29" y="63"/>
                    </a:lnTo>
                    <a:lnTo>
                      <a:pt x="29" y="63"/>
                    </a:lnTo>
                    <a:lnTo>
                      <a:pt x="11" y="48"/>
                    </a:lnTo>
                    <a:lnTo>
                      <a:pt x="4" y="39"/>
                    </a:lnTo>
                    <a:lnTo>
                      <a:pt x="1" y="37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32"/>
                    </a:lnTo>
                    <a:lnTo>
                      <a:pt x="1" y="32"/>
                    </a:lnTo>
                    <a:lnTo>
                      <a:pt x="7" y="21"/>
                    </a:lnTo>
                    <a:lnTo>
                      <a:pt x="10" y="16"/>
                    </a:lnTo>
                    <a:lnTo>
                      <a:pt x="10" y="1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24" y="5"/>
                    </a:lnTo>
                    <a:lnTo>
                      <a:pt x="24" y="5"/>
                    </a:lnTo>
                    <a:lnTo>
                      <a:pt x="45" y="3"/>
                    </a:lnTo>
                    <a:lnTo>
                      <a:pt x="45" y="3"/>
                    </a:lnTo>
                    <a:lnTo>
                      <a:pt x="49" y="3"/>
                    </a:lnTo>
                    <a:lnTo>
                      <a:pt x="55" y="6"/>
                    </a:lnTo>
                    <a:lnTo>
                      <a:pt x="55" y="6"/>
                    </a:lnTo>
                    <a:lnTo>
                      <a:pt x="49" y="19"/>
                    </a:lnTo>
                    <a:lnTo>
                      <a:pt x="49" y="19"/>
                    </a:lnTo>
                    <a:lnTo>
                      <a:pt x="49" y="21"/>
                    </a:lnTo>
                    <a:lnTo>
                      <a:pt x="49" y="21"/>
                    </a:lnTo>
                    <a:lnTo>
                      <a:pt x="50" y="25"/>
                    </a:lnTo>
                    <a:lnTo>
                      <a:pt x="53" y="31"/>
                    </a:lnTo>
                    <a:lnTo>
                      <a:pt x="58" y="37"/>
                    </a:lnTo>
                    <a:lnTo>
                      <a:pt x="59" y="42"/>
                    </a:lnTo>
                    <a:lnTo>
                      <a:pt x="59" y="42"/>
                    </a:lnTo>
                    <a:lnTo>
                      <a:pt x="58" y="47"/>
                    </a:lnTo>
                    <a:lnTo>
                      <a:pt x="55" y="52"/>
                    </a:lnTo>
                    <a:lnTo>
                      <a:pt x="48" y="6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8" name="Freeform 681"/>
              <p:cNvSpPr>
                <a:spLocks/>
              </p:cNvSpPr>
              <p:nvPr/>
            </p:nvSpPr>
            <p:spPr bwMode="auto">
              <a:xfrm>
                <a:off x="3518438" y="3289439"/>
                <a:ext cx="18796" cy="989"/>
              </a:xfrm>
              <a:custGeom>
                <a:avLst/>
                <a:gdLst>
                  <a:gd name="T0" fmla="*/ 19 w 19"/>
                  <a:gd name="T1" fmla="*/ 1 h 1"/>
                  <a:gd name="T2" fmla="*/ 19 w 19"/>
                  <a:gd name="T3" fmla="*/ 1 h 1"/>
                  <a:gd name="T4" fmla="*/ 13 w 19"/>
                  <a:gd name="T5" fmla="*/ 0 h 1"/>
                  <a:gd name="T6" fmla="*/ 6 w 19"/>
                  <a:gd name="T7" fmla="*/ 0 h 1"/>
                  <a:gd name="T8" fmla="*/ 6 w 19"/>
                  <a:gd name="T9" fmla="*/ 0 h 1"/>
                  <a:gd name="T10" fmla="*/ 1 w 19"/>
                  <a:gd name="T11" fmla="*/ 0 h 1"/>
                  <a:gd name="T12" fmla="*/ 1 w 19"/>
                  <a:gd name="T13" fmla="*/ 0 h 1"/>
                  <a:gd name="T14" fmla="*/ 0 w 19"/>
                  <a:gd name="T15" fmla="*/ 0 h 1"/>
                  <a:gd name="T16" fmla="*/ 0 w 19"/>
                  <a:gd name="T17" fmla="*/ 0 h 1"/>
                  <a:gd name="T18" fmla="*/ 0 w 19"/>
                  <a:gd name="T19" fmla="*/ 0 h 1"/>
                  <a:gd name="T20" fmla="*/ 0 w 19"/>
                  <a:gd name="T21" fmla="*/ 0 h 1"/>
                  <a:gd name="T22" fmla="*/ 1 w 19"/>
                  <a:gd name="T23" fmla="*/ 0 h 1"/>
                  <a:gd name="T24" fmla="*/ 1 w 19"/>
                  <a:gd name="T25" fmla="*/ 0 h 1"/>
                  <a:gd name="T26" fmla="*/ 6 w 19"/>
                  <a:gd name="T27" fmla="*/ 0 h 1"/>
                  <a:gd name="T28" fmla="*/ 6 w 19"/>
                  <a:gd name="T29" fmla="*/ 0 h 1"/>
                  <a:gd name="T30" fmla="*/ 13 w 19"/>
                  <a:gd name="T31" fmla="*/ 0 h 1"/>
                  <a:gd name="T32" fmla="*/ 19 w 19"/>
                  <a:gd name="T33" fmla="*/ 1 h 1"/>
                  <a:gd name="T34" fmla="*/ 19 w 19"/>
                  <a:gd name="T3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1">
                    <a:moveTo>
                      <a:pt x="19" y="1"/>
                    </a:moveTo>
                    <a:lnTo>
                      <a:pt x="19" y="1"/>
                    </a:lnTo>
                    <a:lnTo>
                      <a:pt x="1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3" y="0"/>
                    </a:lnTo>
                    <a:lnTo>
                      <a:pt x="19" y="1"/>
                    </a:lnTo>
                    <a:lnTo>
                      <a:pt x="19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9" name="Freeform 682"/>
              <p:cNvSpPr>
                <a:spLocks/>
              </p:cNvSpPr>
              <p:nvPr/>
            </p:nvSpPr>
            <p:spPr bwMode="auto">
              <a:xfrm>
                <a:off x="3518438" y="3289439"/>
                <a:ext cx="18796" cy="989"/>
              </a:xfrm>
              <a:custGeom>
                <a:avLst/>
                <a:gdLst>
                  <a:gd name="T0" fmla="*/ 19 w 19"/>
                  <a:gd name="T1" fmla="*/ 1 h 1"/>
                  <a:gd name="T2" fmla="*/ 19 w 19"/>
                  <a:gd name="T3" fmla="*/ 1 h 1"/>
                  <a:gd name="T4" fmla="*/ 13 w 19"/>
                  <a:gd name="T5" fmla="*/ 0 h 1"/>
                  <a:gd name="T6" fmla="*/ 6 w 19"/>
                  <a:gd name="T7" fmla="*/ 0 h 1"/>
                  <a:gd name="T8" fmla="*/ 6 w 19"/>
                  <a:gd name="T9" fmla="*/ 0 h 1"/>
                  <a:gd name="T10" fmla="*/ 1 w 19"/>
                  <a:gd name="T11" fmla="*/ 0 h 1"/>
                  <a:gd name="T12" fmla="*/ 1 w 19"/>
                  <a:gd name="T13" fmla="*/ 0 h 1"/>
                  <a:gd name="T14" fmla="*/ 0 w 19"/>
                  <a:gd name="T15" fmla="*/ 0 h 1"/>
                  <a:gd name="T16" fmla="*/ 0 w 19"/>
                  <a:gd name="T17" fmla="*/ 0 h 1"/>
                  <a:gd name="T18" fmla="*/ 0 w 19"/>
                  <a:gd name="T19" fmla="*/ 0 h 1"/>
                  <a:gd name="T20" fmla="*/ 0 w 19"/>
                  <a:gd name="T21" fmla="*/ 0 h 1"/>
                  <a:gd name="T22" fmla="*/ 1 w 19"/>
                  <a:gd name="T23" fmla="*/ 0 h 1"/>
                  <a:gd name="T24" fmla="*/ 1 w 19"/>
                  <a:gd name="T25" fmla="*/ 0 h 1"/>
                  <a:gd name="T26" fmla="*/ 6 w 19"/>
                  <a:gd name="T27" fmla="*/ 0 h 1"/>
                  <a:gd name="T28" fmla="*/ 6 w 19"/>
                  <a:gd name="T29" fmla="*/ 0 h 1"/>
                  <a:gd name="T30" fmla="*/ 13 w 19"/>
                  <a:gd name="T31" fmla="*/ 0 h 1"/>
                  <a:gd name="T32" fmla="*/ 19 w 19"/>
                  <a:gd name="T33" fmla="*/ 1 h 1"/>
                  <a:gd name="T34" fmla="*/ 19 w 19"/>
                  <a:gd name="T3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1">
                    <a:moveTo>
                      <a:pt x="19" y="1"/>
                    </a:moveTo>
                    <a:lnTo>
                      <a:pt x="19" y="1"/>
                    </a:lnTo>
                    <a:lnTo>
                      <a:pt x="1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3" y="0"/>
                    </a:lnTo>
                    <a:lnTo>
                      <a:pt x="19" y="1"/>
                    </a:lnTo>
                    <a:lnTo>
                      <a:pt x="19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0" name="Freeform 683"/>
              <p:cNvSpPr>
                <a:spLocks/>
              </p:cNvSpPr>
              <p:nvPr/>
            </p:nvSpPr>
            <p:spPr bwMode="auto">
              <a:xfrm>
                <a:off x="3430394" y="3193481"/>
                <a:ext cx="88044" cy="115743"/>
              </a:xfrm>
              <a:custGeom>
                <a:avLst/>
                <a:gdLst>
                  <a:gd name="T0" fmla="*/ 41 w 89"/>
                  <a:gd name="T1" fmla="*/ 117 h 117"/>
                  <a:gd name="T2" fmla="*/ 35 w 89"/>
                  <a:gd name="T3" fmla="*/ 114 h 117"/>
                  <a:gd name="T4" fmla="*/ 28 w 89"/>
                  <a:gd name="T5" fmla="*/ 102 h 117"/>
                  <a:gd name="T6" fmla="*/ 26 w 89"/>
                  <a:gd name="T7" fmla="*/ 95 h 117"/>
                  <a:gd name="T8" fmla="*/ 26 w 89"/>
                  <a:gd name="T9" fmla="*/ 86 h 117"/>
                  <a:gd name="T10" fmla="*/ 26 w 89"/>
                  <a:gd name="T11" fmla="*/ 71 h 117"/>
                  <a:gd name="T12" fmla="*/ 24 w 89"/>
                  <a:gd name="T13" fmla="*/ 58 h 117"/>
                  <a:gd name="T14" fmla="*/ 15 w 89"/>
                  <a:gd name="T15" fmla="*/ 50 h 117"/>
                  <a:gd name="T16" fmla="*/ 15 w 89"/>
                  <a:gd name="T17" fmla="*/ 50 h 117"/>
                  <a:gd name="T18" fmla="*/ 12 w 89"/>
                  <a:gd name="T19" fmla="*/ 52 h 117"/>
                  <a:gd name="T20" fmla="*/ 9 w 89"/>
                  <a:gd name="T21" fmla="*/ 55 h 117"/>
                  <a:gd name="T22" fmla="*/ 11 w 89"/>
                  <a:gd name="T23" fmla="*/ 50 h 117"/>
                  <a:gd name="T24" fmla="*/ 6 w 89"/>
                  <a:gd name="T25" fmla="*/ 47 h 117"/>
                  <a:gd name="T26" fmla="*/ 2 w 89"/>
                  <a:gd name="T27" fmla="*/ 42 h 117"/>
                  <a:gd name="T28" fmla="*/ 0 w 89"/>
                  <a:gd name="T29" fmla="*/ 40 h 117"/>
                  <a:gd name="T30" fmla="*/ 3 w 89"/>
                  <a:gd name="T31" fmla="*/ 34 h 117"/>
                  <a:gd name="T32" fmla="*/ 9 w 89"/>
                  <a:gd name="T33" fmla="*/ 29 h 117"/>
                  <a:gd name="T34" fmla="*/ 18 w 89"/>
                  <a:gd name="T35" fmla="*/ 21 h 117"/>
                  <a:gd name="T36" fmla="*/ 19 w 89"/>
                  <a:gd name="T37" fmla="*/ 18 h 117"/>
                  <a:gd name="T38" fmla="*/ 19 w 89"/>
                  <a:gd name="T39" fmla="*/ 16 h 117"/>
                  <a:gd name="T40" fmla="*/ 12 w 89"/>
                  <a:gd name="T41" fmla="*/ 11 h 117"/>
                  <a:gd name="T42" fmla="*/ 8 w 89"/>
                  <a:gd name="T43" fmla="*/ 10 h 117"/>
                  <a:gd name="T44" fmla="*/ 11 w 89"/>
                  <a:gd name="T45" fmla="*/ 7 h 117"/>
                  <a:gd name="T46" fmla="*/ 24 w 89"/>
                  <a:gd name="T47" fmla="*/ 0 h 117"/>
                  <a:gd name="T48" fmla="*/ 25 w 89"/>
                  <a:gd name="T49" fmla="*/ 0 h 117"/>
                  <a:gd name="T50" fmla="*/ 31 w 89"/>
                  <a:gd name="T51" fmla="*/ 1 h 117"/>
                  <a:gd name="T52" fmla="*/ 41 w 89"/>
                  <a:gd name="T53" fmla="*/ 14 h 117"/>
                  <a:gd name="T54" fmla="*/ 44 w 89"/>
                  <a:gd name="T55" fmla="*/ 17 h 117"/>
                  <a:gd name="T56" fmla="*/ 47 w 89"/>
                  <a:gd name="T57" fmla="*/ 21 h 117"/>
                  <a:gd name="T58" fmla="*/ 50 w 89"/>
                  <a:gd name="T59" fmla="*/ 21 h 117"/>
                  <a:gd name="T60" fmla="*/ 58 w 89"/>
                  <a:gd name="T61" fmla="*/ 27 h 117"/>
                  <a:gd name="T62" fmla="*/ 70 w 89"/>
                  <a:gd name="T63" fmla="*/ 46 h 117"/>
                  <a:gd name="T64" fmla="*/ 70 w 89"/>
                  <a:gd name="T65" fmla="*/ 50 h 117"/>
                  <a:gd name="T66" fmla="*/ 61 w 89"/>
                  <a:gd name="T67" fmla="*/ 66 h 117"/>
                  <a:gd name="T68" fmla="*/ 60 w 89"/>
                  <a:gd name="T69" fmla="*/ 68 h 117"/>
                  <a:gd name="T70" fmla="*/ 61 w 89"/>
                  <a:gd name="T71" fmla="*/ 71 h 117"/>
                  <a:gd name="T72" fmla="*/ 71 w 89"/>
                  <a:gd name="T73" fmla="*/ 82 h 117"/>
                  <a:gd name="T74" fmla="*/ 89 w 89"/>
                  <a:gd name="T75" fmla="*/ 97 h 117"/>
                  <a:gd name="T76" fmla="*/ 58 w 89"/>
                  <a:gd name="T77" fmla="*/ 107 h 117"/>
                  <a:gd name="T78" fmla="*/ 58 w 89"/>
                  <a:gd name="T79" fmla="*/ 107 h 117"/>
                  <a:gd name="T80" fmla="*/ 58 w 89"/>
                  <a:gd name="T81" fmla="*/ 107 h 117"/>
                  <a:gd name="T82" fmla="*/ 55 w 89"/>
                  <a:gd name="T83" fmla="*/ 108 h 117"/>
                  <a:gd name="T84" fmla="*/ 51 w 89"/>
                  <a:gd name="T85" fmla="*/ 110 h 117"/>
                  <a:gd name="T86" fmla="*/ 45 w 89"/>
                  <a:gd name="T87" fmla="*/ 115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9" h="117">
                    <a:moveTo>
                      <a:pt x="41" y="117"/>
                    </a:moveTo>
                    <a:lnTo>
                      <a:pt x="41" y="117"/>
                    </a:lnTo>
                    <a:lnTo>
                      <a:pt x="38" y="117"/>
                    </a:lnTo>
                    <a:lnTo>
                      <a:pt x="35" y="114"/>
                    </a:lnTo>
                    <a:lnTo>
                      <a:pt x="31" y="110"/>
                    </a:lnTo>
                    <a:lnTo>
                      <a:pt x="28" y="102"/>
                    </a:lnTo>
                    <a:lnTo>
                      <a:pt x="26" y="95"/>
                    </a:lnTo>
                    <a:lnTo>
                      <a:pt x="26" y="95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71"/>
                    </a:lnTo>
                    <a:lnTo>
                      <a:pt x="26" y="71"/>
                    </a:lnTo>
                    <a:lnTo>
                      <a:pt x="26" y="65"/>
                    </a:lnTo>
                    <a:lnTo>
                      <a:pt x="24" y="58"/>
                    </a:lnTo>
                    <a:lnTo>
                      <a:pt x="19" y="53"/>
                    </a:lnTo>
                    <a:lnTo>
                      <a:pt x="15" y="50"/>
                    </a:lnTo>
                    <a:lnTo>
                      <a:pt x="15" y="50"/>
                    </a:lnTo>
                    <a:lnTo>
                      <a:pt x="15" y="50"/>
                    </a:lnTo>
                    <a:lnTo>
                      <a:pt x="15" y="50"/>
                    </a:lnTo>
                    <a:lnTo>
                      <a:pt x="12" y="52"/>
                    </a:lnTo>
                    <a:lnTo>
                      <a:pt x="9" y="55"/>
                    </a:lnTo>
                    <a:lnTo>
                      <a:pt x="9" y="55"/>
                    </a:lnTo>
                    <a:lnTo>
                      <a:pt x="11" y="50"/>
                    </a:lnTo>
                    <a:lnTo>
                      <a:pt x="11" y="50"/>
                    </a:lnTo>
                    <a:lnTo>
                      <a:pt x="9" y="49"/>
                    </a:lnTo>
                    <a:lnTo>
                      <a:pt x="6" y="47"/>
                    </a:lnTo>
                    <a:lnTo>
                      <a:pt x="2" y="44"/>
                    </a:lnTo>
                    <a:lnTo>
                      <a:pt x="2" y="4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2" y="37"/>
                    </a:lnTo>
                    <a:lnTo>
                      <a:pt x="3" y="34"/>
                    </a:lnTo>
                    <a:lnTo>
                      <a:pt x="3" y="34"/>
                    </a:lnTo>
                    <a:lnTo>
                      <a:pt x="9" y="29"/>
                    </a:lnTo>
                    <a:lnTo>
                      <a:pt x="13" y="26"/>
                    </a:lnTo>
                    <a:lnTo>
                      <a:pt x="18" y="21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5" y="14"/>
                    </a:lnTo>
                    <a:lnTo>
                      <a:pt x="12" y="11"/>
                    </a:lnTo>
                    <a:lnTo>
                      <a:pt x="9" y="11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31" y="1"/>
                    </a:lnTo>
                    <a:lnTo>
                      <a:pt x="34" y="5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4" y="17"/>
                    </a:lnTo>
                    <a:lnTo>
                      <a:pt x="45" y="20"/>
                    </a:lnTo>
                    <a:lnTo>
                      <a:pt x="47" y="21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4" y="23"/>
                    </a:lnTo>
                    <a:lnTo>
                      <a:pt x="58" y="27"/>
                    </a:lnTo>
                    <a:lnTo>
                      <a:pt x="70" y="34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50"/>
                    </a:lnTo>
                    <a:lnTo>
                      <a:pt x="67" y="55"/>
                    </a:lnTo>
                    <a:lnTo>
                      <a:pt x="61" y="66"/>
                    </a:lnTo>
                    <a:lnTo>
                      <a:pt x="61" y="66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1" y="71"/>
                    </a:lnTo>
                    <a:lnTo>
                      <a:pt x="64" y="73"/>
                    </a:lnTo>
                    <a:lnTo>
                      <a:pt x="71" y="82"/>
                    </a:lnTo>
                    <a:lnTo>
                      <a:pt x="89" y="97"/>
                    </a:lnTo>
                    <a:lnTo>
                      <a:pt x="89" y="97"/>
                    </a:lnTo>
                    <a:lnTo>
                      <a:pt x="73" y="102"/>
                    </a:lnTo>
                    <a:lnTo>
                      <a:pt x="58" y="107"/>
                    </a:lnTo>
                    <a:lnTo>
                      <a:pt x="58" y="107"/>
                    </a:lnTo>
                    <a:lnTo>
                      <a:pt x="58" y="107"/>
                    </a:lnTo>
                    <a:lnTo>
                      <a:pt x="58" y="107"/>
                    </a:lnTo>
                    <a:lnTo>
                      <a:pt x="58" y="107"/>
                    </a:lnTo>
                    <a:lnTo>
                      <a:pt x="58" y="107"/>
                    </a:lnTo>
                    <a:lnTo>
                      <a:pt x="55" y="108"/>
                    </a:lnTo>
                    <a:lnTo>
                      <a:pt x="55" y="108"/>
                    </a:lnTo>
                    <a:lnTo>
                      <a:pt x="51" y="110"/>
                    </a:lnTo>
                    <a:lnTo>
                      <a:pt x="48" y="113"/>
                    </a:lnTo>
                    <a:lnTo>
                      <a:pt x="45" y="115"/>
                    </a:lnTo>
                    <a:lnTo>
                      <a:pt x="41" y="1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1" name="Freeform 684"/>
              <p:cNvSpPr>
                <a:spLocks/>
              </p:cNvSpPr>
              <p:nvPr/>
            </p:nvSpPr>
            <p:spPr bwMode="auto">
              <a:xfrm>
                <a:off x="3430394" y="3193481"/>
                <a:ext cx="88044" cy="115743"/>
              </a:xfrm>
              <a:custGeom>
                <a:avLst/>
                <a:gdLst>
                  <a:gd name="T0" fmla="*/ 41 w 89"/>
                  <a:gd name="T1" fmla="*/ 117 h 117"/>
                  <a:gd name="T2" fmla="*/ 35 w 89"/>
                  <a:gd name="T3" fmla="*/ 114 h 117"/>
                  <a:gd name="T4" fmla="*/ 28 w 89"/>
                  <a:gd name="T5" fmla="*/ 102 h 117"/>
                  <a:gd name="T6" fmla="*/ 26 w 89"/>
                  <a:gd name="T7" fmla="*/ 95 h 117"/>
                  <a:gd name="T8" fmla="*/ 26 w 89"/>
                  <a:gd name="T9" fmla="*/ 86 h 117"/>
                  <a:gd name="T10" fmla="*/ 26 w 89"/>
                  <a:gd name="T11" fmla="*/ 71 h 117"/>
                  <a:gd name="T12" fmla="*/ 24 w 89"/>
                  <a:gd name="T13" fmla="*/ 58 h 117"/>
                  <a:gd name="T14" fmla="*/ 15 w 89"/>
                  <a:gd name="T15" fmla="*/ 50 h 117"/>
                  <a:gd name="T16" fmla="*/ 15 w 89"/>
                  <a:gd name="T17" fmla="*/ 50 h 117"/>
                  <a:gd name="T18" fmla="*/ 12 w 89"/>
                  <a:gd name="T19" fmla="*/ 52 h 117"/>
                  <a:gd name="T20" fmla="*/ 9 w 89"/>
                  <a:gd name="T21" fmla="*/ 55 h 117"/>
                  <a:gd name="T22" fmla="*/ 11 w 89"/>
                  <a:gd name="T23" fmla="*/ 50 h 117"/>
                  <a:gd name="T24" fmla="*/ 6 w 89"/>
                  <a:gd name="T25" fmla="*/ 47 h 117"/>
                  <a:gd name="T26" fmla="*/ 2 w 89"/>
                  <a:gd name="T27" fmla="*/ 42 h 117"/>
                  <a:gd name="T28" fmla="*/ 0 w 89"/>
                  <a:gd name="T29" fmla="*/ 40 h 117"/>
                  <a:gd name="T30" fmla="*/ 3 w 89"/>
                  <a:gd name="T31" fmla="*/ 34 h 117"/>
                  <a:gd name="T32" fmla="*/ 9 w 89"/>
                  <a:gd name="T33" fmla="*/ 29 h 117"/>
                  <a:gd name="T34" fmla="*/ 18 w 89"/>
                  <a:gd name="T35" fmla="*/ 21 h 117"/>
                  <a:gd name="T36" fmla="*/ 19 w 89"/>
                  <a:gd name="T37" fmla="*/ 18 h 117"/>
                  <a:gd name="T38" fmla="*/ 19 w 89"/>
                  <a:gd name="T39" fmla="*/ 16 h 117"/>
                  <a:gd name="T40" fmla="*/ 12 w 89"/>
                  <a:gd name="T41" fmla="*/ 11 h 117"/>
                  <a:gd name="T42" fmla="*/ 8 w 89"/>
                  <a:gd name="T43" fmla="*/ 10 h 117"/>
                  <a:gd name="T44" fmla="*/ 11 w 89"/>
                  <a:gd name="T45" fmla="*/ 7 h 117"/>
                  <a:gd name="T46" fmla="*/ 24 w 89"/>
                  <a:gd name="T47" fmla="*/ 0 h 117"/>
                  <a:gd name="T48" fmla="*/ 25 w 89"/>
                  <a:gd name="T49" fmla="*/ 0 h 117"/>
                  <a:gd name="T50" fmla="*/ 31 w 89"/>
                  <a:gd name="T51" fmla="*/ 1 h 117"/>
                  <a:gd name="T52" fmla="*/ 41 w 89"/>
                  <a:gd name="T53" fmla="*/ 14 h 117"/>
                  <a:gd name="T54" fmla="*/ 44 w 89"/>
                  <a:gd name="T55" fmla="*/ 17 h 117"/>
                  <a:gd name="T56" fmla="*/ 47 w 89"/>
                  <a:gd name="T57" fmla="*/ 21 h 117"/>
                  <a:gd name="T58" fmla="*/ 50 w 89"/>
                  <a:gd name="T59" fmla="*/ 21 h 117"/>
                  <a:gd name="T60" fmla="*/ 58 w 89"/>
                  <a:gd name="T61" fmla="*/ 27 h 117"/>
                  <a:gd name="T62" fmla="*/ 70 w 89"/>
                  <a:gd name="T63" fmla="*/ 46 h 117"/>
                  <a:gd name="T64" fmla="*/ 70 w 89"/>
                  <a:gd name="T65" fmla="*/ 50 h 117"/>
                  <a:gd name="T66" fmla="*/ 61 w 89"/>
                  <a:gd name="T67" fmla="*/ 66 h 117"/>
                  <a:gd name="T68" fmla="*/ 60 w 89"/>
                  <a:gd name="T69" fmla="*/ 68 h 117"/>
                  <a:gd name="T70" fmla="*/ 61 w 89"/>
                  <a:gd name="T71" fmla="*/ 71 h 117"/>
                  <a:gd name="T72" fmla="*/ 71 w 89"/>
                  <a:gd name="T73" fmla="*/ 82 h 117"/>
                  <a:gd name="T74" fmla="*/ 89 w 89"/>
                  <a:gd name="T75" fmla="*/ 97 h 117"/>
                  <a:gd name="T76" fmla="*/ 58 w 89"/>
                  <a:gd name="T77" fmla="*/ 107 h 117"/>
                  <a:gd name="T78" fmla="*/ 58 w 89"/>
                  <a:gd name="T79" fmla="*/ 107 h 117"/>
                  <a:gd name="T80" fmla="*/ 58 w 89"/>
                  <a:gd name="T81" fmla="*/ 107 h 117"/>
                  <a:gd name="T82" fmla="*/ 55 w 89"/>
                  <a:gd name="T83" fmla="*/ 108 h 117"/>
                  <a:gd name="T84" fmla="*/ 51 w 89"/>
                  <a:gd name="T85" fmla="*/ 110 h 117"/>
                  <a:gd name="T86" fmla="*/ 45 w 89"/>
                  <a:gd name="T87" fmla="*/ 115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9" h="117">
                    <a:moveTo>
                      <a:pt x="41" y="117"/>
                    </a:moveTo>
                    <a:lnTo>
                      <a:pt x="41" y="117"/>
                    </a:lnTo>
                    <a:lnTo>
                      <a:pt x="38" y="117"/>
                    </a:lnTo>
                    <a:lnTo>
                      <a:pt x="35" y="114"/>
                    </a:lnTo>
                    <a:lnTo>
                      <a:pt x="31" y="110"/>
                    </a:lnTo>
                    <a:lnTo>
                      <a:pt x="28" y="102"/>
                    </a:lnTo>
                    <a:lnTo>
                      <a:pt x="26" y="95"/>
                    </a:lnTo>
                    <a:lnTo>
                      <a:pt x="26" y="95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71"/>
                    </a:lnTo>
                    <a:lnTo>
                      <a:pt x="26" y="71"/>
                    </a:lnTo>
                    <a:lnTo>
                      <a:pt x="26" y="65"/>
                    </a:lnTo>
                    <a:lnTo>
                      <a:pt x="24" y="58"/>
                    </a:lnTo>
                    <a:lnTo>
                      <a:pt x="19" y="53"/>
                    </a:lnTo>
                    <a:lnTo>
                      <a:pt x="15" y="50"/>
                    </a:lnTo>
                    <a:lnTo>
                      <a:pt x="15" y="50"/>
                    </a:lnTo>
                    <a:lnTo>
                      <a:pt x="15" y="50"/>
                    </a:lnTo>
                    <a:lnTo>
                      <a:pt x="15" y="50"/>
                    </a:lnTo>
                    <a:lnTo>
                      <a:pt x="12" y="52"/>
                    </a:lnTo>
                    <a:lnTo>
                      <a:pt x="9" y="55"/>
                    </a:lnTo>
                    <a:lnTo>
                      <a:pt x="9" y="55"/>
                    </a:lnTo>
                    <a:lnTo>
                      <a:pt x="11" y="50"/>
                    </a:lnTo>
                    <a:lnTo>
                      <a:pt x="11" y="50"/>
                    </a:lnTo>
                    <a:lnTo>
                      <a:pt x="9" y="49"/>
                    </a:lnTo>
                    <a:lnTo>
                      <a:pt x="6" y="47"/>
                    </a:lnTo>
                    <a:lnTo>
                      <a:pt x="2" y="44"/>
                    </a:lnTo>
                    <a:lnTo>
                      <a:pt x="2" y="4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2" y="37"/>
                    </a:lnTo>
                    <a:lnTo>
                      <a:pt x="3" y="34"/>
                    </a:lnTo>
                    <a:lnTo>
                      <a:pt x="3" y="34"/>
                    </a:lnTo>
                    <a:lnTo>
                      <a:pt x="9" y="29"/>
                    </a:lnTo>
                    <a:lnTo>
                      <a:pt x="13" y="26"/>
                    </a:lnTo>
                    <a:lnTo>
                      <a:pt x="18" y="21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5" y="14"/>
                    </a:lnTo>
                    <a:lnTo>
                      <a:pt x="12" y="11"/>
                    </a:lnTo>
                    <a:lnTo>
                      <a:pt x="9" y="11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31" y="1"/>
                    </a:lnTo>
                    <a:lnTo>
                      <a:pt x="34" y="5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4" y="17"/>
                    </a:lnTo>
                    <a:lnTo>
                      <a:pt x="45" y="20"/>
                    </a:lnTo>
                    <a:lnTo>
                      <a:pt x="47" y="21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4" y="23"/>
                    </a:lnTo>
                    <a:lnTo>
                      <a:pt x="58" y="27"/>
                    </a:lnTo>
                    <a:lnTo>
                      <a:pt x="70" y="34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50"/>
                    </a:lnTo>
                    <a:lnTo>
                      <a:pt x="67" y="55"/>
                    </a:lnTo>
                    <a:lnTo>
                      <a:pt x="61" y="66"/>
                    </a:lnTo>
                    <a:lnTo>
                      <a:pt x="61" y="66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1" y="71"/>
                    </a:lnTo>
                    <a:lnTo>
                      <a:pt x="64" y="73"/>
                    </a:lnTo>
                    <a:lnTo>
                      <a:pt x="71" y="82"/>
                    </a:lnTo>
                    <a:lnTo>
                      <a:pt x="89" y="97"/>
                    </a:lnTo>
                    <a:lnTo>
                      <a:pt x="89" y="97"/>
                    </a:lnTo>
                    <a:lnTo>
                      <a:pt x="73" y="102"/>
                    </a:lnTo>
                    <a:lnTo>
                      <a:pt x="58" y="107"/>
                    </a:lnTo>
                    <a:lnTo>
                      <a:pt x="58" y="107"/>
                    </a:lnTo>
                    <a:lnTo>
                      <a:pt x="58" y="107"/>
                    </a:lnTo>
                    <a:lnTo>
                      <a:pt x="58" y="107"/>
                    </a:lnTo>
                    <a:lnTo>
                      <a:pt x="58" y="107"/>
                    </a:lnTo>
                    <a:lnTo>
                      <a:pt x="58" y="107"/>
                    </a:lnTo>
                    <a:lnTo>
                      <a:pt x="55" y="108"/>
                    </a:lnTo>
                    <a:lnTo>
                      <a:pt x="55" y="108"/>
                    </a:lnTo>
                    <a:lnTo>
                      <a:pt x="51" y="110"/>
                    </a:lnTo>
                    <a:lnTo>
                      <a:pt x="48" y="113"/>
                    </a:lnTo>
                    <a:lnTo>
                      <a:pt x="45" y="115"/>
                    </a:lnTo>
                    <a:lnTo>
                      <a:pt x="41" y="1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2" name="Freeform 685"/>
              <p:cNvSpPr>
                <a:spLocks noEditPoints="1"/>
              </p:cNvSpPr>
              <p:nvPr/>
            </p:nvSpPr>
            <p:spPr bwMode="auto">
              <a:xfrm>
                <a:off x="3439297" y="3242944"/>
                <a:ext cx="79141" cy="66280"/>
              </a:xfrm>
              <a:custGeom>
                <a:avLst/>
                <a:gdLst>
                  <a:gd name="T0" fmla="*/ 17 w 80"/>
                  <a:gd name="T1" fmla="*/ 21 h 67"/>
                  <a:gd name="T2" fmla="*/ 17 w 80"/>
                  <a:gd name="T3" fmla="*/ 21 h 67"/>
                  <a:gd name="T4" fmla="*/ 17 w 80"/>
                  <a:gd name="T5" fmla="*/ 15 h 67"/>
                  <a:gd name="T6" fmla="*/ 15 w 80"/>
                  <a:gd name="T7" fmla="*/ 8 h 67"/>
                  <a:gd name="T8" fmla="*/ 10 w 80"/>
                  <a:gd name="T9" fmla="*/ 3 h 67"/>
                  <a:gd name="T10" fmla="*/ 6 w 80"/>
                  <a:gd name="T11" fmla="*/ 0 h 67"/>
                  <a:gd name="T12" fmla="*/ 6 w 80"/>
                  <a:gd name="T13" fmla="*/ 0 h 67"/>
                  <a:gd name="T14" fmla="*/ 6 w 80"/>
                  <a:gd name="T15" fmla="*/ 0 h 67"/>
                  <a:gd name="T16" fmla="*/ 6 w 80"/>
                  <a:gd name="T17" fmla="*/ 0 h 67"/>
                  <a:gd name="T18" fmla="*/ 3 w 80"/>
                  <a:gd name="T19" fmla="*/ 2 h 67"/>
                  <a:gd name="T20" fmla="*/ 0 w 80"/>
                  <a:gd name="T21" fmla="*/ 5 h 67"/>
                  <a:gd name="T22" fmla="*/ 0 w 80"/>
                  <a:gd name="T23" fmla="*/ 5 h 67"/>
                  <a:gd name="T24" fmla="*/ 0 w 80"/>
                  <a:gd name="T25" fmla="*/ 5 h 67"/>
                  <a:gd name="T26" fmla="*/ 3 w 80"/>
                  <a:gd name="T27" fmla="*/ 2 h 67"/>
                  <a:gd name="T28" fmla="*/ 6 w 80"/>
                  <a:gd name="T29" fmla="*/ 0 h 67"/>
                  <a:gd name="T30" fmla="*/ 6 w 80"/>
                  <a:gd name="T31" fmla="*/ 0 h 67"/>
                  <a:gd name="T32" fmla="*/ 6 w 80"/>
                  <a:gd name="T33" fmla="*/ 0 h 67"/>
                  <a:gd name="T34" fmla="*/ 6 w 80"/>
                  <a:gd name="T35" fmla="*/ 0 h 67"/>
                  <a:gd name="T36" fmla="*/ 10 w 80"/>
                  <a:gd name="T37" fmla="*/ 3 h 67"/>
                  <a:gd name="T38" fmla="*/ 15 w 80"/>
                  <a:gd name="T39" fmla="*/ 8 h 67"/>
                  <a:gd name="T40" fmla="*/ 17 w 80"/>
                  <a:gd name="T41" fmla="*/ 15 h 67"/>
                  <a:gd name="T42" fmla="*/ 17 w 80"/>
                  <a:gd name="T43" fmla="*/ 21 h 67"/>
                  <a:gd name="T44" fmla="*/ 49 w 80"/>
                  <a:gd name="T45" fmla="*/ 57 h 67"/>
                  <a:gd name="T46" fmla="*/ 49 w 80"/>
                  <a:gd name="T47" fmla="*/ 57 h 67"/>
                  <a:gd name="T48" fmla="*/ 64 w 80"/>
                  <a:gd name="T49" fmla="*/ 52 h 67"/>
                  <a:gd name="T50" fmla="*/ 80 w 80"/>
                  <a:gd name="T51" fmla="*/ 47 h 67"/>
                  <a:gd name="T52" fmla="*/ 80 w 80"/>
                  <a:gd name="T53" fmla="*/ 47 h 67"/>
                  <a:gd name="T54" fmla="*/ 80 w 80"/>
                  <a:gd name="T55" fmla="*/ 47 h 67"/>
                  <a:gd name="T56" fmla="*/ 80 w 80"/>
                  <a:gd name="T57" fmla="*/ 47 h 67"/>
                  <a:gd name="T58" fmla="*/ 64 w 80"/>
                  <a:gd name="T59" fmla="*/ 52 h 67"/>
                  <a:gd name="T60" fmla="*/ 49 w 80"/>
                  <a:gd name="T61" fmla="*/ 57 h 67"/>
                  <a:gd name="T62" fmla="*/ 49 w 80"/>
                  <a:gd name="T63" fmla="*/ 57 h 67"/>
                  <a:gd name="T64" fmla="*/ 49 w 80"/>
                  <a:gd name="T65" fmla="*/ 57 h 67"/>
                  <a:gd name="T66" fmla="*/ 49 w 80"/>
                  <a:gd name="T67" fmla="*/ 57 h 67"/>
                  <a:gd name="T68" fmla="*/ 49 w 80"/>
                  <a:gd name="T69" fmla="*/ 57 h 67"/>
                  <a:gd name="T70" fmla="*/ 49 w 80"/>
                  <a:gd name="T71" fmla="*/ 57 h 67"/>
                  <a:gd name="T72" fmla="*/ 32 w 80"/>
                  <a:gd name="T73" fmla="*/ 67 h 67"/>
                  <a:gd name="T74" fmla="*/ 32 w 80"/>
                  <a:gd name="T75" fmla="*/ 67 h 67"/>
                  <a:gd name="T76" fmla="*/ 29 w 80"/>
                  <a:gd name="T77" fmla="*/ 67 h 67"/>
                  <a:gd name="T78" fmla="*/ 26 w 80"/>
                  <a:gd name="T79" fmla="*/ 64 h 67"/>
                  <a:gd name="T80" fmla="*/ 22 w 80"/>
                  <a:gd name="T81" fmla="*/ 60 h 67"/>
                  <a:gd name="T82" fmla="*/ 19 w 80"/>
                  <a:gd name="T83" fmla="*/ 52 h 67"/>
                  <a:gd name="T84" fmla="*/ 17 w 80"/>
                  <a:gd name="T85" fmla="*/ 45 h 67"/>
                  <a:gd name="T86" fmla="*/ 17 w 80"/>
                  <a:gd name="T87" fmla="*/ 45 h 67"/>
                  <a:gd name="T88" fmla="*/ 17 w 80"/>
                  <a:gd name="T89" fmla="*/ 36 h 67"/>
                  <a:gd name="T90" fmla="*/ 17 w 80"/>
                  <a:gd name="T91" fmla="*/ 36 h 67"/>
                  <a:gd name="T92" fmla="*/ 17 w 80"/>
                  <a:gd name="T93" fmla="*/ 45 h 67"/>
                  <a:gd name="T94" fmla="*/ 17 w 80"/>
                  <a:gd name="T95" fmla="*/ 45 h 67"/>
                  <a:gd name="T96" fmla="*/ 19 w 80"/>
                  <a:gd name="T97" fmla="*/ 52 h 67"/>
                  <a:gd name="T98" fmla="*/ 22 w 80"/>
                  <a:gd name="T99" fmla="*/ 60 h 67"/>
                  <a:gd name="T100" fmla="*/ 26 w 80"/>
                  <a:gd name="T101" fmla="*/ 64 h 67"/>
                  <a:gd name="T102" fmla="*/ 29 w 80"/>
                  <a:gd name="T103" fmla="*/ 67 h 67"/>
                  <a:gd name="T104" fmla="*/ 32 w 80"/>
                  <a:gd name="T105" fmla="*/ 67 h 67"/>
                  <a:gd name="T106" fmla="*/ 32 w 80"/>
                  <a:gd name="T107" fmla="*/ 67 h 67"/>
                  <a:gd name="T108" fmla="*/ 36 w 80"/>
                  <a:gd name="T109" fmla="*/ 65 h 67"/>
                  <a:gd name="T110" fmla="*/ 39 w 80"/>
                  <a:gd name="T111" fmla="*/ 63 h 67"/>
                  <a:gd name="T112" fmla="*/ 42 w 80"/>
                  <a:gd name="T113" fmla="*/ 60 h 67"/>
                  <a:gd name="T114" fmla="*/ 46 w 80"/>
                  <a:gd name="T115" fmla="*/ 58 h 67"/>
                  <a:gd name="T116" fmla="*/ 46 w 80"/>
                  <a:gd name="T117" fmla="*/ 58 h 67"/>
                  <a:gd name="T118" fmla="*/ 42 w 80"/>
                  <a:gd name="T119" fmla="*/ 60 h 67"/>
                  <a:gd name="T120" fmla="*/ 39 w 80"/>
                  <a:gd name="T121" fmla="*/ 63 h 67"/>
                  <a:gd name="T122" fmla="*/ 36 w 80"/>
                  <a:gd name="T123" fmla="*/ 65 h 67"/>
                  <a:gd name="T124" fmla="*/ 32 w 80"/>
                  <a:gd name="T12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0" h="67">
                    <a:moveTo>
                      <a:pt x="17" y="21"/>
                    </a:moveTo>
                    <a:lnTo>
                      <a:pt x="17" y="21"/>
                    </a:lnTo>
                    <a:lnTo>
                      <a:pt x="17" y="15"/>
                    </a:lnTo>
                    <a:lnTo>
                      <a:pt x="15" y="8"/>
                    </a:lnTo>
                    <a:lnTo>
                      <a:pt x="10" y="3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3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3"/>
                    </a:lnTo>
                    <a:lnTo>
                      <a:pt x="15" y="8"/>
                    </a:lnTo>
                    <a:lnTo>
                      <a:pt x="17" y="15"/>
                    </a:lnTo>
                    <a:lnTo>
                      <a:pt x="17" y="21"/>
                    </a:lnTo>
                    <a:close/>
                    <a:moveTo>
                      <a:pt x="49" y="57"/>
                    </a:moveTo>
                    <a:lnTo>
                      <a:pt x="49" y="57"/>
                    </a:lnTo>
                    <a:lnTo>
                      <a:pt x="64" y="52"/>
                    </a:lnTo>
                    <a:lnTo>
                      <a:pt x="80" y="47"/>
                    </a:lnTo>
                    <a:lnTo>
                      <a:pt x="80" y="47"/>
                    </a:lnTo>
                    <a:lnTo>
                      <a:pt x="80" y="47"/>
                    </a:lnTo>
                    <a:lnTo>
                      <a:pt x="80" y="47"/>
                    </a:lnTo>
                    <a:lnTo>
                      <a:pt x="64" y="52"/>
                    </a:lnTo>
                    <a:lnTo>
                      <a:pt x="49" y="57"/>
                    </a:lnTo>
                    <a:close/>
                    <a:moveTo>
                      <a:pt x="49" y="57"/>
                    </a:moveTo>
                    <a:lnTo>
                      <a:pt x="49" y="57"/>
                    </a:lnTo>
                    <a:lnTo>
                      <a:pt x="49" y="57"/>
                    </a:lnTo>
                    <a:lnTo>
                      <a:pt x="49" y="57"/>
                    </a:lnTo>
                    <a:lnTo>
                      <a:pt x="49" y="57"/>
                    </a:lnTo>
                    <a:close/>
                    <a:moveTo>
                      <a:pt x="32" y="67"/>
                    </a:moveTo>
                    <a:lnTo>
                      <a:pt x="32" y="67"/>
                    </a:lnTo>
                    <a:lnTo>
                      <a:pt x="29" y="67"/>
                    </a:lnTo>
                    <a:lnTo>
                      <a:pt x="26" y="64"/>
                    </a:lnTo>
                    <a:lnTo>
                      <a:pt x="22" y="60"/>
                    </a:lnTo>
                    <a:lnTo>
                      <a:pt x="19" y="52"/>
                    </a:lnTo>
                    <a:lnTo>
                      <a:pt x="17" y="45"/>
                    </a:lnTo>
                    <a:lnTo>
                      <a:pt x="17" y="45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17" y="45"/>
                    </a:lnTo>
                    <a:lnTo>
                      <a:pt x="17" y="45"/>
                    </a:lnTo>
                    <a:lnTo>
                      <a:pt x="19" y="52"/>
                    </a:lnTo>
                    <a:lnTo>
                      <a:pt x="22" y="60"/>
                    </a:lnTo>
                    <a:lnTo>
                      <a:pt x="26" y="64"/>
                    </a:lnTo>
                    <a:lnTo>
                      <a:pt x="29" y="67"/>
                    </a:lnTo>
                    <a:lnTo>
                      <a:pt x="32" y="67"/>
                    </a:lnTo>
                    <a:lnTo>
                      <a:pt x="32" y="67"/>
                    </a:lnTo>
                    <a:lnTo>
                      <a:pt x="36" y="65"/>
                    </a:lnTo>
                    <a:lnTo>
                      <a:pt x="39" y="63"/>
                    </a:lnTo>
                    <a:lnTo>
                      <a:pt x="42" y="60"/>
                    </a:lnTo>
                    <a:lnTo>
                      <a:pt x="46" y="58"/>
                    </a:lnTo>
                    <a:lnTo>
                      <a:pt x="46" y="58"/>
                    </a:lnTo>
                    <a:lnTo>
                      <a:pt x="42" y="60"/>
                    </a:lnTo>
                    <a:lnTo>
                      <a:pt x="39" y="63"/>
                    </a:lnTo>
                    <a:lnTo>
                      <a:pt x="36" y="65"/>
                    </a:lnTo>
                    <a:lnTo>
                      <a:pt x="32" y="6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3" name="Freeform 686"/>
              <p:cNvSpPr>
                <a:spLocks/>
              </p:cNvSpPr>
              <p:nvPr/>
            </p:nvSpPr>
            <p:spPr bwMode="auto">
              <a:xfrm>
                <a:off x="3439297" y="3242944"/>
                <a:ext cx="16817" cy="20774"/>
              </a:xfrm>
              <a:custGeom>
                <a:avLst/>
                <a:gdLst>
                  <a:gd name="T0" fmla="*/ 17 w 17"/>
                  <a:gd name="T1" fmla="*/ 21 h 21"/>
                  <a:gd name="T2" fmla="*/ 17 w 17"/>
                  <a:gd name="T3" fmla="*/ 21 h 21"/>
                  <a:gd name="T4" fmla="*/ 17 w 17"/>
                  <a:gd name="T5" fmla="*/ 15 h 21"/>
                  <a:gd name="T6" fmla="*/ 15 w 17"/>
                  <a:gd name="T7" fmla="*/ 8 h 21"/>
                  <a:gd name="T8" fmla="*/ 10 w 17"/>
                  <a:gd name="T9" fmla="*/ 3 h 21"/>
                  <a:gd name="T10" fmla="*/ 6 w 17"/>
                  <a:gd name="T11" fmla="*/ 0 h 21"/>
                  <a:gd name="T12" fmla="*/ 6 w 17"/>
                  <a:gd name="T13" fmla="*/ 0 h 21"/>
                  <a:gd name="T14" fmla="*/ 6 w 17"/>
                  <a:gd name="T15" fmla="*/ 0 h 21"/>
                  <a:gd name="T16" fmla="*/ 6 w 17"/>
                  <a:gd name="T17" fmla="*/ 0 h 21"/>
                  <a:gd name="T18" fmla="*/ 3 w 17"/>
                  <a:gd name="T19" fmla="*/ 2 h 21"/>
                  <a:gd name="T20" fmla="*/ 0 w 17"/>
                  <a:gd name="T21" fmla="*/ 5 h 21"/>
                  <a:gd name="T22" fmla="*/ 0 w 17"/>
                  <a:gd name="T23" fmla="*/ 5 h 21"/>
                  <a:gd name="T24" fmla="*/ 0 w 17"/>
                  <a:gd name="T25" fmla="*/ 5 h 21"/>
                  <a:gd name="T26" fmla="*/ 3 w 17"/>
                  <a:gd name="T27" fmla="*/ 2 h 21"/>
                  <a:gd name="T28" fmla="*/ 6 w 17"/>
                  <a:gd name="T29" fmla="*/ 0 h 21"/>
                  <a:gd name="T30" fmla="*/ 6 w 17"/>
                  <a:gd name="T31" fmla="*/ 0 h 21"/>
                  <a:gd name="T32" fmla="*/ 6 w 17"/>
                  <a:gd name="T33" fmla="*/ 0 h 21"/>
                  <a:gd name="T34" fmla="*/ 6 w 17"/>
                  <a:gd name="T35" fmla="*/ 0 h 21"/>
                  <a:gd name="T36" fmla="*/ 10 w 17"/>
                  <a:gd name="T37" fmla="*/ 3 h 21"/>
                  <a:gd name="T38" fmla="*/ 15 w 17"/>
                  <a:gd name="T39" fmla="*/ 8 h 21"/>
                  <a:gd name="T40" fmla="*/ 17 w 17"/>
                  <a:gd name="T41" fmla="*/ 15 h 21"/>
                  <a:gd name="T42" fmla="*/ 17 w 17"/>
                  <a:gd name="T4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21">
                    <a:moveTo>
                      <a:pt x="17" y="21"/>
                    </a:moveTo>
                    <a:lnTo>
                      <a:pt x="17" y="21"/>
                    </a:lnTo>
                    <a:lnTo>
                      <a:pt x="17" y="15"/>
                    </a:lnTo>
                    <a:lnTo>
                      <a:pt x="15" y="8"/>
                    </a:lnTo>
                    <a:lnTo>
                      <a:pt x="10" y="3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3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3"/>
                    </a:lnTo>
                    <a:lnTo>
                      <a:pt x="15" y="8"/>
                    </a:lnTo>
                    <a:lnTo>
                      <a:pt x="17" y="15"/>
                    </a:lnTo>
                    <a:lnTo>
                      <a:pt x="17" y="2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4" name="Freeform 687"/>
              <p:cNvSpPr>
                <a:spLocks/>
              </p:cNvSpPr>
              <p:nvPr/>
            </p:nvSpPr>
            <p:spPr bwMode="auto">
              <a:xfrm>
                <a:off x="3487771" y="3289439"/>
                <a:ext cx="30667" cy="9893"/>
              </a:xfrm>
              <a:custGeom>
                <a:avLst/>
                <a:gdLst>
                  <a:gd name="T0" fmla="*/ 0 w 31"/>
                  <a:gd name="T1" fmla="*/ 10 h 10"/>
                  <a:gd name="T2" fmla="*/ 0 w 31"/>
                  <a:gd name="T3" fmla="*/ 10 h 10"/>
                  <a:gd name="T4" fmla="*/ 15 w 31"/>
                  <a:gd name="T5" fmla="*/ 5 h 10"/>
                  <a:gd name="T6" fmla="*/ 31 w 31"/>
                  <a:gd name="T7" fmla="*/ 0 h 10"/>
                  <a:gd name="T8" fmla="*/ 31 w 31"/>
                  <a:gd name="T9" fmla="*/ 0 h 10"/>
                  <a:gd name="T10" fmla="*/ 31 w 31"/>
                  <a:gd name="T11" fmla="*/ 0 h 10"/>
                  <a:gd name="T12" fmla="*/ 31 w 31"/>
                  <a:gd name="T13" fmla="*/ 0 h 10"/>
                  <a:gd name="T14" fmla="*/ 15 w 31"/>
                  <a:gd name="T15" fmla="*/ 5 h 10"/>
                  <a:gd name="T16" fmla="*/ 0 w 31"/>
                  <a:gd name="T1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" h="10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15" y="5"/>
                    </a:lnTo>
                    <a:lnTo>
                      <a:pt x="0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5" name="Rectangle 688"/>
              <p:cNvSpPr>
                <a:spLocks noChangeArrowheads="1"/>
              </p:cNvSpPr>
              <p:nvPr/>
            </p:nvSpPr>
            <p:spPr bwMode="auto">
              <a:xfrm>
                <a:off x="3487771" y="3299331"/>
                <a:ext cx="989" cy="98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6" name="Freeform 689"/>
              <p:cNvSpPr>
                <a:spLocks/>
              </p:cNvSpPr>
              <p:nvPr/>
            </p:nvSpPr>
            <p:spPr bwMode="auto">
              <a:xfrm>
                <a:off x="3456115" y="3278557"/>
                <a:ext cx="28689" cy="30667"/>
              </a:xfrm>
              <a:custGeom>
                <a:avLst/>
                <a:gdLst>
                  <a:gd name="T0" fmla="*/ 15 w 29"/>
                  <a:gd name="T1" fmla="*/ 31 h 31"/>
                  <a:gd name="T2" fmla="*/ 15 w 29"/>
                  <a:gd name="T3" fmla="*/ 31 h 31"/>
                  <a:gd name="T4" fmla="*/ 12 w 29"/>
                  <a:gd name="T5" fmla="*/ 31 h 31"/>
                  <a:gd name="T6" fmla="*/ 9 w 29"/>
                  <a:gd name="T7" fmla="*/ 28 h 31"/>
                  <a:gd name="T8" fmla="*/ 5 w 29"/>
                  <a:gd name="T9" fmla="*/ 24 h 31"/>
                  <a:gd name="T10" fmla="*/ 2 w 29"/>
                  <a:gd name="T11" fmla="*/ 16 h 31"/>
                  <a:gd name="T12" fmla="*/ 0 w 29"/>
                  <a:gd name="T13" fmla="*/ 9 h 31"/>
                  <a:gd name="T14" fmla="*/ 0 w 29"/>
                  <a:gd name="T15" fmla="*/ 9 h 31"/>
                  <a:gd name="T16" fmla="*/ 0 w 29"/>
                  <a:gd name="T17" fmla="*/ 0 h 31"/>
                  <a:gd name="T18" fmla="*/ 0 w 29"/>
                  <a:gd name="T19" fmla="*/ 0 h 31"/>
                  <a:gd name="T20" fmla="*/ 0 w 29"/>
                  <a:gd name="T21" fmla="*/ 9 h 31"/>
                  <a:gd name="T22" fmla="*/ 0 w 29"/>
                  <a:gd name="T23" fmla="*/ 9 h 31"/>
                  <a:gd name="T24" fmla="*/ 2 w 29"/>
                  <a:gd name="T25" fmla="*/ 16 h 31"/>
                  <a:gd name="T26" fmla="*/ 5 w 29"/>
                  <a:gd name="T27" fmla="*/ 24 h 31"/>
                  <a:gd name="T28" fmla="*/ 9 w 29"/>
                  <a:gd name="T29" fmla="*/ 28 h 31"/>
                  <a:gd name="T30" fmla="*/ 12 w 29"/>
                  <a:gd name="T31" fmla="*/ 31 h 31"/>
                  <a:gd name="T32" fmla="*/ 15 w 29"/>
                  <a:gd name="T33" fmla="*/ 31 h 31"/>
                  <a:gd name="T34" fmla="*/ 15 w 29"/>
                  <a:gd name="T35" fmla="*/ 31 h 31"/>
                  <a:gd name="T36" fmla="*/ 19 w 29"/>
                  <a:gd name="T37" fmla="*/ 29 h 31"/>
                  <a:gd name="T38" fmla="*/ 22 w 29"/>
                  <a:gd name="T39" fmla="*/ 27 h 31"/>
                  <a:gd name="T40" fmla="*/ 25 w 29"/>
                  <a:gd name="T41" fmla="*/ 24 h 31"/>
                  <a:gd name="T42" fmla="*/ 29 w 29"/>
                  <a:gd name="T43" fmla="*/ 22 h 31"/>
                  <a:gd name="T44" fmla="*/ 29 w 29"/>
                  <a:gd name="T45" fmla="*/ 22 h 31"/>
                  <a:gd name="T46" fmla="*/ 25 w 29"/>
                  <a:gd name="T47" fmla="*/ 24 h 31"/>
                  <a:gd name="T48" fmla="*/ 22 w 29"/>
                  <a:gd name="T49" fmla="*/ 27 h 31"/>
                  <a:gd name="T50" fmla="*/ 19 w 29"/>
                  <a:gd name="T51" fmla="*/ 29 h 31"/>
                  <a:gd name="T52" fmla="*/ 15 w 29"/>
                  <a:gd name="T5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9" h="31">
                    <a:moveTo>
                      <a:pt x="15" y="31"/>
                    </a:moveTo>
                    <a:lnTo>
                      <a:pt x="15" y="31"/>
                    </a:lnTo>
                    <a:lnTo>
                      <a:pt x="12" y="31"/>
                    </a:lnTo>
                    <a:lnTo>
                      <a:pt x="9" y="28"/>
                    </a:lnTo>
                    <a:lnTo>
                      <a:pt x="5" y="24"/>
                    </a:lnTo>
                    <a:lnTo>
                      <a:pt x="2" y="1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2" y="16"/>
                    </a:lnTo>
                    <a:lnTo>
                      <a:pt x="5" y="24"/>
                    </a:lnTo>
                    <a:lnTo>
                      <a:pt x="9" y="28"/>
                    </a:lnTo>
                    <a:lnTo>
                      <a:pt x="12" y="31"/>
                    </a:lnTo>
                    <a:lnTo>
                      <a:pt x="15" y="31"/>
                    </a:lnTo>
                    <a:lnTo>
                      <a:pt x="15" y="31"/>
                    </a:lnTo>
                    <a:lnTo>
                      <a:pt x="19" y="29"/>
                    </a:lnTo>
                    <a:lnTo>
                      <a:pt x="22" y="27"/>
                    </a:lnTo>
                    <a:lnTo>
                      <a:pt x="25" y="24"/>
                    </a:lnTo>
                    <a:lnTo>
                      <a:pt x="29" y="22"/>
                    </a:lnTo>
                    <a:lnTo>
                      <a:pt x="29" y="22"/>
                    </a:lnTo>
                    <a:lnTo>
                      <a:pt x="25" y="24"/>
                    </a:lnTo>
                    <a:lnTo>
                      <a:pt x="22" y="27"/>
                    </a:lnTo>
                    <a:lnTo>
                      <a:pt x="19" y="29"/>
                    </a:lnTo>
                    <a:lnTo>
                      <a:pt x="15" y="3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7" name="Freeform 690"/>
              <p:cNvSpPr>
                <a:spLocks/>
              </p:cNvSpPr>
              <p:nvPr/>
            </p:nvSpPr>
            <p:spPr bwMode="auto">
              <a:xfrm>
                <a:off x="2970388" y="3088619"/>
                <a:ext cx="37592" cy="25721"/>
              </a:xfrm>
              <a:custGeom>
                <a:avLst/>
                <a:gdLst>
                  <a:gd name="T0" fmla="*/ 14 w 38"/>
                  <a:gd name="T1" fmla="*/ 0 h 26"/>
                  <a:gd name="T2" fmla="*/ 14 w 38"/>
                  <a:gd name="T3" fmla="*/ 0 h 26"/>
                  <a:gd name="T4" fmla="*/ 0 w 38"/>
                  <a:gd name="T5" fmla="*/ 13 h 26"/>
                  <a:gd name="T6" fmla="*/ 0 w 38"/>
                  <a:gd name="T7" fmla="*/ 13 h 26"/>
                  <a:gd name="T8" fmla="*/ 3 w 38"/>
                  <a:gd name="T9" fmla="*/ 14 h 26"/>
                  <a:gd name="T10" fmla="*/ 3 w 38"/>
                  <a:gd name="T11" fmla="*/ 14 h 26"/>
                  <a:gd name="T12" fmla="*/ 15 w 38"/>
                  <a:gd name="T13" fmla="*/ 20 h 26"/>
                  <a:gd name="T14" fmla="*/ 24 w 38"/>
                  <a:gd name="T15" fmla="*/ 24 h 26"/>
                  <a:gd name="T16" fmla="*/ 29 w 38"/>
                  <a:gd name="T17" fmla="*/ 26 h 26"/>
                  <a:gd name="T18" fmla="*/ 29 w 38"/>
                  <a:gd name="T19" fmla="*/ 26 h 26"/>
                  <a:gd name="T20" fmla="*/ 37 w 38"/>
                  <a:gd name="T21" fmla="*/ 24 h 26"/>
                  <a:gd name="T22" fmla="*/ 38 w 38"/>
                  <a:gd name="T23" fmla="*/ 11 h 26"/>
                  <a:gd name="T24" fmla="*/ 14 w 38"/>
                  <a:gd name="T2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" h="26">
                    <a:moveTo>
                      <a:pt x="14" y="0"/>
                    </a:moveTo>
                    <a:lnTo>
                      <a:pt x="14" y="0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3" y="14"/>
                    </a:lnTo>
                    <a:lnTo>
                      <a:pt x="3" y="14"/>
                    </a:lnTo>
                    <a:lnTo>
                      <a:pt x="15" y="20"/>
                    </a:lnTo>
                    <a:lnTo>
                      <a:pt x="24" y="24"/>
                    </a:lnTo>
                    <a:lnTo>
                      <a:pt x="29" y="26"/>
                    </a:lnTo>
                    <a:lnTo>
                      <a:pt x="29" y="26"/>
                    </a:lnTo>
                    <a:lnTo>
                      <a:pt x="37" y="24"/>
                    </a:lnTo>
                    <a:lnTo>
                      <a:pt x="38" y="11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8" name="Freeform 691"/>
              <p:cNvSpPr>
                <a:spLocks/>
              </p:cNvSpPr>
              <p:nvPr/>
            </p:nvSpPr>
            <p:spPr bwMode="auto">
              <a:xfrm>
                <a:off x="2984238" y="3069823"/>
                <a:ext cx="92990" cy="50452"/>
              </a:xfrm>
              <a:custGeom>
                <a:avLst/>
                <a:gdLst>
                  <a:gd name="T0" fmla="*/ 88 w 94"/>
                  <a:gd name="T1" fmla="*/ 4 h 51"/>
                  <a:gd name="T2" fmla="*/ 88 w 94"/>
                  <a:gd name="T3" fmla="*/ 4 h 51"/>
                  <a:gd name="T4" fmla="*/ 81 w 94"/>
                  <a:gd name="T5" fmla="*/ 4 h 51"/>
                  <a:gd name="T6" fmla="*/ 73 w 94"/>
                  <a:gd name="T7" fmla="*/ 3 h 51"/>
                  <a:gd name="T8" fmla="*/ 73 w 94"/>
                  <a:gd name="T9" fmla="*/ 3 h 51"/>
                  <a:gd name="T10" fmla="*/ 68 w 94"/>
                  <a:gd name="T11" fmla="*/ 1 h 51"/>
                  <a:gd name="T12" fmla="*/ 60 w 94"/>
                  <a:gd name="T13" fmla="*/ 0 h 51"/>
                  <a:gd name="T14" fmla="*/ 60 w 94"/>
                  <a:gd name="T15" fmla="*/ 0 h 51"/>
                  <a:gd name="T16" fmla="*/ 55 w 94"/>
                  <a:gd name="T17" fmla="*/ 1 h 51"/>
                  <a:gd name="T18" fmla="*/ 47 w 94"/>
                  <a:gd name="T19" fmla="*/ 1 h 51"/>
                  <a:gd name="T20" fmla="*/ 47 w 94"/>
                  <a:gd name="T21" fmla="*/ 1 h 51"/>
                  <a:gd name="T22" fmla="*/ 26 w 94"/>
                  <a:gd name="T23" fmla="*/ 3 h 51"/>
                  <a:gd name="T24" fmla="*/ 26 w 94"/>
                  <a:gd name="T25" fmla="*/ 3 h 51"/>
                  <a:gd name="T26" fmla="*/ 20 w 94"/>
                  <a:gd name="T27" fmla="*/ 3 h 51"/>
                  <a:gd name="T28" fmla="*/ 14 w 94"/>
                  <a:gd name="T29" fmla="*/ 3 h 51"/>
                  <a:gd name="T30" fmla="*/ 14 w 94"/>
                  <a:gd name="T31" fmla="*/ 3 h 51"/>
                  <a:gd name="T32" fmla="*/ 0 w 94"/>
                  <a:gd name="T33" fmla="*/ 19 h 51"/>
                  <a:gd name="T34" fmla="*/ 24 w 94"/>
                  <a:gd name="T35" fmla="*/ 30 h 51"/>
                  <a:gd name="T36" fmla="*/ 23 w 94"/>
                  <a:gd name="T37" fmla="*/ 43 h 51"/>
                  <a:gd name="T38" fmla="*/ 23 w 94"/>
                  <a:gd name="T39" fmla="*/ 43 h 51"/>
                  <a:gd name="T40" fmla="*/ 27 w 94"/>
                  <a:gd name="T41" fmla="*/ 43 h 51"/>
                  <a:gd name="T42" fmla="*/ 28 w 94"/>
                  <a:gd name="T43" fmla="*/ 43 h 51"/>
                  <a:gd name="T44" fmla="*/ 28 w 94"/>
                  <a:gd name="T45" fmla="*/ 43 h 51"/>
                  <a:gd name="T46" fmla="*/ 28 w 94"/>
                  <a:gd name="T47" fmla="*/ 43 h 51"/>
                  <a:gd name="T48" fmla="*/ 27 w 94"/>
                  <a:gd name="T49" fmla="*/ 46 h 51"/>
                  <a:gd name="T50" fmla="*/ 26 w 94"/>
                  <a:gd name="T51" fmla="*/ 51 h 51"/>
                  <a:gd name="T52" fmla="*/ 26 w 94"/>
                  <a:gd name="T53" fmla="*/ 51 h 51"/>
                  <a:gd name="T54" fmla="*/ 50 w 94"/>
                  <a:gd name="T55" fmla="*/ 35 h 51"/>
                  <a:gd name="T56" fmla="*/ 70 w 94"/>
                  <a:gd name="T57" fmla="*/ 25 h 51"/>
                  <a:gd name="T58" fmla="*/ 70 w 94"/>
                  <a:gd name="T59" fmla="*/ 25 h 51"/>
                  <a:gd name="T60" fmla="*/ 94 w 94"/>
                  <a:gd name="T61" fmla="*/ 14 h 51"/>
                  <a:gd name="T62" fmla="*/ 94 w 94"/>
                  <a:gd name="T63" fmla="*/ 14 h 51"/>
                  <a:gd name="T64" fmla="*/ 92 w 94"/>
                  <a:gd name="T65" fmla="*/ 7 h 51"/>
                  <a:gd name="T66" fmla="*/ 91 w 94"/>
                  <a:gd name="T67" fmla="*/ 4 h 51"/>
                  <a:gd name="T68" fmla="*/ 88 w 94"/>
                  <a:gd name="T69" fmla="*/ 4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4" h="51">
                    <a:moveTo>
                      <a:pt x="88" y="4"/>
                    </a:moveTo>
                    <a:lnTo>
                      <a:pt x="88" y="4"/>
                    </a:lnTo>
                    <a:lnTo>
                      <a:pt x="81" y="4"/>
                    </a:lnTo>
                    <a:lnTo>
                      <a:pt x="73" y="3"/>
                    </a:lnTo>
                    <a:lnTo>
                      <a:pt x="73" y="3"/>
                    </a:lnTo>
                    <a:lnTo>
                      <a:pt x="68" y="1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55" y="1"/>
                    </a:lnTo>
                    <a:lnTo>
                      <a:pt x="47" y="1"/>
                    </a:lnTo>
                    <a:lnTo>
                      <a:pt x="47" y="1"/>
                    </a:lnTo>
                    <a:lnTo>
                      <a:pt x="26" y="3"/>
                    </a:lnTo>
                    <a:lnTo>
                      <a:pt x="26" y="3"/>
                    </a:lnTo>
                    <a:lnTo>
                      <a:pt x="20" y="3"/>
                    </a:lnTo>
                    <a:lnTo>
                      <a:pt x="14" y="3"/>
                    </a:lnTo>
                    <a:lnTo>
                      <a:pt x="14" y="3"/>
                    </a:lnTo>
                    <a:lnTo>
                      <a:pt x="0" y="19"/>
                    </a:lnTo>
                    <a:lnTo>
                      <a:pt x="24" y="30"/>
                    </a:lnTo>
                    <a:lnTo>
                      <a:pt x="23" y="43"/>
                    </a:lnTo>
                    <a:lnTo>
                      <a:pt x="23" y="43"/>
                    </a:lnTo>
                    <a:lnTo>
                      <a:pt x="27" y="43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7" y="46"/>
                    </a:lnTo>
                    <a:lnTo>
                      <a:pt x="26" y="51"/>
                    </a:lnTo>
                    <a:lnTo>
                      <a:pt x="26" y="51"/>
                    </a:lnTo>
                    <a:lnTo>
                      <a:pt x="50" y="35"/>
                    </a:lnTo>
                    <a:lnTo>
                      <a:pt x="70" y="25"/>
                    </a:lnTo>
                    <a:lnTo>
                      <a:pt x="70" y="25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2" y="7"/>
                    </a:lnTo>
                    <a:lnTo>
                      <a:pt x="91" y="4"/>
                    </a:lnTo>
                    <a:lnTo>
                      <a:pt x="88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9" name="Freeform 692"/>
              <p:cNvSpPr>
                <a:spLocks/>
              </p:cNvSpPr>
              <p:nvPr/>
            </p:nvSpPr>
            <p:spPr bwMode="auto">
              <a:xfrm>
                <a:off x="2984238" y="3069823"/>
                <a:ext cx="92990" cy="50452"/>
              </a:xfrm>
              <a:custGeom>
                <a:avLst/>
                <a:gdLst>
                  <a:gd name="T0" fmla="*/ 88 w 94"/>
                  <a:gd name="T1" fmla="*/ 4 h 51"/>
                  <a:gd name="T2" fmla="*/ 88 w 94"/>
                  <a:gd name="T3" fmla="*/ 4 h 51"/>
                  <a:gd name="T4" fmla="*/ 81 w 94"/>
                  <a:gd name="T5" fmla="*/ 4 h 51"/>
                  <a:gd name="T6" fmla="*/ 73 w 94"/>
                  <a:gd name="T7" fmla="*/ 3 h 51"/>
                  <a:gd name="T8" fmla="*/ 73 w 94"/>
                  <a:gd name="T9" fmla="*/ 3 h 51"/>
                  <a:gd name="T10" fmla="*/ 68 w 94"/>
                  <a:gd name="T11" fmla="*/ 1 h 51"/>
                  <a:gd name="T12" fmla="*/ 60 w 94"/>
                  <a:gd name="T13" fmla="*/ 0 h 51"/>
                  <a:gd name="T14" fmla="*/ 60 w 94"/>
                  <a:gd name="T15" fmla="*/ 0 h 51"/>
                  <a:gd name="T16" fmla="*/ 55 w 94"/>
                  <a:gd name="T17" fmla="*/ 1 h 51"/>
                  <a:gd name="T18" fmla="*/ 47 w 94"/>
                  <a:gd name="T19" fmla="*/ 1 h 51"/>
                  <a:gd name="T20" fmla="*/ 47 w 94"/>
                  <a:gd name="T21" fmla="*/ 1 h 51"/>
                  <a:gd name="T22" fmla="*/ 26 w 94"/>
                  <a:gd name="T23" fmla="*/ 3 h 51"/>
                  <a:gd name="T24" fmla="*/ 26 w 94"/>
                  <a:gd name="T25" fmla="*/ 3 h 51"/>
                  <a:gd name="T26" fmla="*/ 20 w 94"/>
                  <a:gd name="T27" fmla="*/ 3 h 51"/>
                  <a:gd name="T28" fmla="*/ 14 w 94"/>
                  <a:gd name="T29" fmla="*/ 3 h 51"/>
                  <a:gd name="T30" fmla="*/ 14 w 94"/>
                  <a:gd name="T31" fmla="*/ 3 h 51"/>
                  <a:gd name="T32" fmla="*/ 0 w 94"/>
                  <a:gd name="T33" fmla="*/ 19 h 51"/>
                  <a:gd name="T34" fmla="*/ 24 w 94"/>
                  <a:gd name="T35" fmla="*/ 30 h 51"/>
                  <a:gd name="T36" fmla="*/ 23 w 94"/>
                  <a:gd name="T37" fmla="*/ 43 h 51"/>
                  <a:gd name="T38" fmla="*/ 23 w 94"/>
                  <a:gd name="T39" fmla="*/ 43 h 51"/>
                  <a:gd name="T40" fmla="*/ 27 w 94"/>
                  <a:gd name="T41" fmla="*/ 43 h 51"/>
                  <a:gd name="T42" fmla="*/ 28 w 94"/>
                  <a:gd name="T43" fmla="*/ 43 h 51"/>
                  <a:gd name="T44" fmla="*/ 28 w 94"/>
                  <a:gd name="T45" fmla="*/ 43 h 51"/>
                  <a:gd name="T46" fmla="*/ 28 w 94"/>
                  <a:gd name="T47" fmla="*/ 43 h 51"/>
                  <a:gd name="T48" fmla="*/ 27 w 94"/>
                  <a:gd name="T49" fmla="*/ 46 h 51"/>
                  <a:gd name="T50" fmla="*/ 26 w 94"/>
                  <a:gd name="T51" fmla="*/ 51 h 51"/>
                  <a:gd name="T52" fmla="*/ 26 w 94"/>
                  <a:gd name="T53" fmla="*/ 51 h 51"/>
                  <a:gd name="T54" fmla="*/ 50 w 94"/>
                  <a:gd name="T55" fmla="*/ 35 h 51"/>
                  <a:gd name="T56" fmla="*/ 70 w 94"/>
                  <a:gd name="T57" fmla="*/ 25 h 51"/>
                  <a:gd name="T58" fmla="*/ 70 w 94"/>
                  <a:gd name="T59" fmla="*/ 25 h 51"/>
                  <a:gd name="T60" fmla="*/ 94 w 94"/>
                  <a:gd name="T61" fmla="*/ 14 h 51"/>
                  <a:gd name="T62" fmla="*/ 94 w 94"/>
                  <a:gd name="T63" fmla="*/ 14 h 51"/>
                  <a:gd name="T64" fmla="*/ 92 w 94"/>
                  <a:gd name="T65" fmla="*/ 7 h 51"/>
                  <a:gd name="T66" fmla="*/ 91 w 94"/>
                  <a:gd name="T67" fmla="*/ 4 h 51"/>
                  <a:gd name="T68" fmla="*/ 88 w 94"/>
                  <a:gd name="T69" fmla="*/ 4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4" h="51">
                    <a:moveTo>
                      <a:pt x="88" y="4"/>
                    </a:moveTo>
                    <a:lnTo>
                      <a:pt x="88" y="4"/>
                    </a:lnTo>
                    <a:lnTo>
                      <a:pt x="81" y="4"/>
                    </a:lnTo>
                    <a:lnTo>
                      <a:pt x="73" y="3"/>
                    </a:lnTo>
                    <a:lnTo>
                      <a:pt x="73" y="3"/>
                    </a:lnTo>
                    <a:lnTo>
                      <a:pt x="68" y="1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55" y="1"/>
                    </a:lnTo>
                    <a:lnTo>
                      <a:pt x="47" y="1"/>
                    </a:lnTo>
                    <a:lnTo>
                      <a:pt x="47" y="1"/>
                    </a:lnTo>
                    <a:lnTo>
                      <a:pt x="26" y="3"/>
                    </a:lnTo>
                    <a:lnTo>
                      <a:pt x="26" y="3"/>
                    </a:lnTo>
                    <a:lnTo>
                      <a:pt x="20" y="3"/>
                    </a:lnTo>
                    <a:lnTo>
                      <a:pt x="14" y="3"/>
                    </a:lnTo>
                    <a:lnTo>
                      <a:pt x="14" y="3"/>
                    </a:lnTo>
                    <a:lnTo>
                      <a:pt x="0" y="19"/>
                    </a:lnTo>
                    <a:lnTo>
                      <a:pt x="24" y="30"/>
                    </a:lnTo>
                    <a:lnTo>
                      <a:pt x="23" y="43"/>
                    </a:lnTo>
                    <a:lnTo>
                      <a:pt x="23" y="43"/>
                    </a:lnTo>
                    <a:lnTo>
                      <a:pt x="27" y="43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7" y="46"/>
                    </a:lnTo>
                    <a:lnTo>
                      <a:pt x="26" y="51"/>
                    </a:lnTo>
                    <a:lnTo>
                      <a:pt x="26" y="51"/>
                    </a:lnTo>
                    <a:lnTo>
                      <a:pt x="50" y="35"/>
                    </a:lnTo>
                    <a:lnTo>
                      <a:pt x="70" y="25"/>
                    </a:lnTo>
                    <a:lnTo>
                      <a:pt x="70" y="25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2" y="7"/>
                    </a:lnTo>
                    <a:lnTo>
                      <a:pt x="91" y="4"/>
                    </a:lnTo>
                    <a:lnTo>
                      <a:pt x="88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0" name="Freeform 693"/>
              <p:cNvSpPr>
                <a:spLocks/>
              </p:cNvSpPr>
              <p:nvPr/>
            </p:nvSpPr>
            <p:spPr bwMode="auto">
              <a:xfrm>
                <a:off x="2542039" y="2777992"/>
                <a:ext cx="480780" cy="311617"/>
              </a:xfrm>
              <a:custGeom>
                <a:avLst/>
                <a:gdLst>
                  <a:gd name="T0" fmla="*/ 260 w 486"/>
                  <a:gd name="T1" fmla="*/ 68 h 315"/>
                  <a:gd name="T2" fmla="*/ 234 w 486"/>
                  <a:gd name="T3" fmla="*/ 57 h 315"/>
                  <a:gd name="T4" fmla="*/ 222 w 486"/>
                  <a:gd name="T5" fmla="*/ 69 h 315"/>
                  <a:gd name="T6" fmla="*/ 181 w 486"/>
                  <a:gd name="T7" fmla="*/ 31 h 315"/>
                  <a:gd name="T8" fmla="*/ 138 w 486"/>
                  <a:gd name="T9" fmla="*/ 28 h 315"/>
                  <a:gd name="T10" fmla="*/ 6 w 486"/>
                  <a:gd name="T11" fmla="*/ 18 h 315"/>
                  <a:gd name="T12" fmla="*/ 25 w 486"/>
                  <a:gd name="T13" fmla="*/ 56 h 315"/>
                  <a:gd name="T14" fmla="*/ 47 w 486"/>
                  <a:gd name="T15" fmla="*/ 81 h 315"/>
                  <a:gd name="T16" fmla="*/ 40 w 486"/>
                  <a:gd name="T17" fmla="*/ 92 h 315"/>
                  <a:gd name="T18" fmla="*/ 60 w 486"/>
                  <a:gd name="T19" fmla="*/ 108 h 315"/>
                  <a:gd name="T20" fmla="*/ 74 w 486"/>
                  <a:gd name="T21" fmla="*/ 115 h 315"/>
                  <a:gd name="T22" fmla="*/ 82 w 486"/>
                  <a:gd name="T23" fmla="*/ 140 h 315"/>
                  <a:gd name="T24" fmla="*/ 106 w 486"/>
                  <a:gd name="T25" fmla="*/ 166 h 315"/>
                  <a:gd name="T26" fmla="*/ 116 w 486"/>
                  <a:gd name="T27" fmla="*/ 176 h 315"/>
                  <a:gd name="T28" fmla="*/ 119 w 486"/>
                  <a:gd name="T29" fmla="*/ 162 h 315"/>
                  <a:gd name="T30" fmla="*/ 105 w 486"/>
                  <a:gd name="T31" fmla="*/ 141 h 315"/>
                  <a:gd name="T32" fmla="*/ 93 w 486"/>
                  <a:gd name="T33" fmla="*/ 124 h 315"/>
                  <a:gd name="T34" fmla="*/ 86 w 486"/>
                  <a:gd name="T35" fmla="*/ 107 h 315"/>
                  <a:gd name="T36" fmla="*/ 66 w 486"/>
                  <a:gd name="T37" fmla="*/ 76 h 315"/>
                  <a:gd name="T38" fmla="*/ 38 w 486"/>
                  <a:gd name="T39" fmla="*/ 47 h 315"/>
                  <a:gd name="T40" fmla="*/ 35 w 486"/>
                  <a:gd name="T41" fmla="*/ 26 h 315"/>
                  <a:gd name="T42" fmla="*/ 38 w 486"/>
                  <a:gd name="T43" fmla="*/ 14 h 315"/>
                  <a:gd name="T44" fmla="*/ 57 w 486"/>
                  <a:gd name="T45" fmla="*/ 27 h 315"/>
                  <a:gd name="T46" fmla="*/ 64 w 486"/>
                  <a:gd name="T47" fmla="*/ 33 h 315"/>
                  <a:gd name="T48" fmla="*/ 70 w 486"/>
                  <a:gd name="T49" fmla="*/ 52 h 315"/>
                  <a:gd name="T50" fmla="*/ 80 w 486"/>
                  <a:gd name="T51" fmla="*/ 72 h 315"/>
                  <a:gd name="T52" fmla="*/ 118 w 486"/>
                  <a:gd name="T53" fmla="*/ 104 h 315"/>
                  <a:gd name="T54" fmla="*/ 126 w 486"/>
                  <a:gd name="T55" fmla="*/ 123 h 315"/>
                  <a:gd name="T56" fmla="*/ 155 w 486"/>
                  <a:gd name="T57" fmla="*/ 149 h 315"/>
                  <a:gd name="T58" fmla="*/ 168 w 486"/>
                  <a:gd name="T59" fmla="*/ 165 h 315"/>
                  <a:gd name="T60" fmla="*/ 187 w 486"/>
                  <a:gd name="T61" fmla="*/ 208 h 315"/>
                  <a:gd name="T62" fmla="*/ 181 w 486"/>
                  <a:gd name="T63" fmla="*/ 224 h 315"/>
                  <a:gd name="T64" fmla="*/ 223 w 486"/>
                  <a:gd name="T65" fmla="*/ 256 h 315"/>
                  <a:gd name="T66" fmla="*/ 251 w 486"/>
                  <a:gd name="T67" fmla="*/ 267 h 315"/>
                  <a:gd name="T68" fmla="*/ 296 w 486"/>
                  <a:gd name="T69" fmla="*/ 283 h 315"/>
                  <a:gd name="T70" fmla="*/ 331 w 486"/>
                  <a:gd name="T71" fmla="*/ 296 h 315"/>
                  <a:gd name="T72" fmla="*/ 363 w 486"/>
                  <a:gd name="T73" fmla="*/ 286 h 315"/>
                  <a:gd name="T74" fmla="*/ 384 w 486"/>
                  <a:gd name="T75" fmla="*/ 301 h 315"/>
                  <a:gd name="T76" fmla="*/ 399 w 486"/>
                  <a:gd name="T77" fmla="*/ 305 h 315"/>
                  <a:gd name="T78" fmla="*/ 426 w 486"/>
                  <a:gd name="T79" fmla="*/ 292 h 315"/>
                  <a:gd name="T80" fmla="*/ 413 w 486"/>
                  <a:gd name="T81" fmla="*/ 269 h 315"/>
                  <a:gd name="T82" fmla="*/ 455 w 486"/>
                  <a:gd name="T83" fmla="*/ 257 h 315"/>
                  <a:gd name="T84" fmla="*/ 465 w 486"/>
                  <a:gd name="T85" fmla="*/ 249 h 315"/>
                  <a:gd name="T86" fmla="*/ 475 w 486"/>
                  <a:gd name="T87" fmla="*/ 244 h 315"/>
                  <a:gd name="T88" fmla="*/ 483 w 486"/>
                  <a:gd name="T89" fmla="*/ 215 h 315"/>
                  <a:gd name="T90" fmla="*/ 483 w 486"/>
                  <a:gd name="T91" fmla="*/ 201 h 315"/>
                  <a:gd name="T92" fmla="*/ 470 w 486"/>
                  <a:gd name="T93" fmla="*/ 198 h 315"/>
                  <a:gd name="T94" fmla="*/ 457 w 486"/>
                  <a:gd name="T95" fmla="*/ 199 h 315"/>
                  <a:gd name="T96" fmla="*/ 432 w 486"/>
                  <a:gd name="T97" fmla="*/ 211 h 315"/>
                  <a:gd name="T98" fmla="*/ 425 w 486"/>
                  <a:gd name="T99" fmla="*/ 228 h 315"/>
                  <a:gd name="T100" fmla="*/ 425 w 486"/>
                  <a:gd name="T101" fmla="*/ 234 h 315"/>
                  <a:gd name="T102" fmla="*/ 413 w 486"/>
                  <a:gd name="T103" fmla="*/ 249 h 315"/>
                  <a:gd name="T104" fmla="*/ 393 w 486"/>
                  <a:gd name="T105" fmla="*/ 247 h 315"/>
                  <a:gd name="T106" fmla="*/ 376 w 486"/>
                  <a:gd name="T107" fmla="*/ 250 h 315"/>
                  <a:gd name="T108" fmla="*/ 364 w 486"/>
                  <a:gd name="T109" fmla="*/ 252 h 315"/>
                  <a:gd name="T110" fmla="*/ 339 w 486"/>
                  <a:gd name="T111" fmla="*/ 243 h 315"/>
                  <a:gd name="T112" fmla="*/ 335 w 486"/>
                  <a:gd name="T113" fmla="*/ 231 h 315"/>
                  <a:gd name="T114" fmla="*/ 321 w 486"/>
                  <a:gd name="T115" fmla="*/ 214 h 315"/>
                  <a:gd name="T116" fmla="*/ 316 w 486"/>
                  <a:gd name="T117" fmla="*/ 195 h 315"/>
                  <a:gd name="T118" fmla="*/ 310 w 486"/>
                  <a:gd name="T119" fmla="*/ 175 h 315"/>
                  <a:gd name="T120" fmla="*/ 315 w 486"/>
                  <a:gd name="T121" fmla="*/ 141 h 315"/>
                  <a:gd name="T122" fmla="*/ 299 w 486"/>
                  <a:gd name="T123" fmla="*/ 117 h 315"/>
                  <a:gd name="T124" fmla="*/ 279 w 486"/>
                  <a:gd name="T125" fmla="*/ 95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6" h="315">
                    <a:moveTo>
                      <a:pt x="276" y="91"/>
                    </a:moveTo>
                    <a:lnTo>
                      <a:pt x="276" y="91"/>
                    </a:lnTo>
                    <a:lnTo>
                      <a:pt x="271" y="86"/>
                    </a:lnTo>
                    <a:lnTo>
                      <a:pt x="267" y="79"/>
                    </a:lnTo>
                    <a:lnTo>
                      <a:pt x="264" y="72"/>
                    </a:lnTo>
                    <a:lnTo>
                      <a:pt x="260" y="68"/>
                    </a:lnTo>
                    <a:lnTo>
                      <a:pt x="260" y="68"/>
                    </a:lnTo>
                    <a:lnTo>
                      <a:pt x="254" y="63"/>
                    </a:lnTo>
                    <a:lnTo>
                      <a:pt x="245" y="60"/>
                    </a:lnTo>
                    <a:lnTo>
                      <a:pt x="238" y="57"/>
                    </a:lnTo>
                    <a:lnTo>
                      <a:pt x="234" y="57"/>
                    </a:lnTo>
                    <a:lnTo>
                      <a:pt x="234" y="57"/>
                    </a:lnTo>
                    <a:lnTo>
                      <a:pt x="231" y="59"/>
                    </a:lnTo>
                    <a:lnTo>
                      <a:pt x="229" y="63"/>
                    </a:lnTo>
                    <a:lnTo>
                      <a:pt x="228" y="68"/>
                    </a:lnTo>
                    <a:lnTo>
                      <a:pt x="226" y="70"/>
                    </a:lnTo>
                    <a:lnTo>
                      <a:pt x="226" y="70"/>
                    </a:lnTo>
                    <a:lnTo>
                      <a:pt x="222" y="69"/>
                    </a:lnTo>
                    <a:lnTo>
                      <a:pt x="213" y="63"/>
                    </a:lnTo>
                    <a:lnTo>
                      <a:pt x="205" y="57"/>
                    </a:lnTo>
                    <a:lnTo>
                      <a:pt x="197" y="52"/>
                    </a:lnTo>
                    <a:lnTo>
                      <a:pt x="197" y="52"/>
                    </a:lnTo>
                    <a:lnTo>
                      <a:pt x="187" y="37"/>
                    </a:lnTo>
                    <a:lnTo>
                      <a:pt x="181" y="31"/>
                    </a:lnTo>
                    <a:lnTo>
                      <a:pt x="177" y="27"/>
                    </a:lnTo>
                    <a:lnTo>
                      <a:pt x="177" y="27"/>
                    </a:lnTo>
                    <a:lnTo>
                      <a:pt x="170" y="21"/>
                    </a:lnTo>
                    <a:lnTo>
                      <a:pt x="168" y="18"/>
                    </a:lnTo>
                    <a:lnTo>
                      <a:pt x="142" y="18"/>
                    </a:lnTo>
                    <a:lnTo>
                      <a:pt x="138" y="28"/>
                    </a:lnTo>
                    <a:lnTo>
                      <a:pt x="96" y="28"/>
                    </a:lnTo>
                    <a:lnTo>
                      <a:pt x="37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5" y="33"/>
                    </a:lnTo>
                    <a:lnTo>
                      <a:pt x="19" y="42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22" y="52"/>
                    </a:lnTo>
                    <a:lnTo>
                      <a:pt x="25" y="56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42" y="69"/>
                    </a:lnTo>
                    <a:lnTo>
                      <a:pt x="45" y="75"/>
                    </a:lnTo>
                    <a:lnTo>
                      <a:pt x="47" y="78"/>
                    </a:lnTo>
                    <a:lnTo>
                      <a:pt x="47" y="81"/>
                    </a:lnTo>
                    <a:lnTo>
                      <a:pt x="47" y="81"/>
                    </a:lnTo>
                    <a:lnTo>
                      <a:pt x="44" y="88"/>
                    </a:lnTo>
                    <a:lnTo>
                      <a:pt x="42" y="91"/>
                    </a:lnTo>
                    <a:lnTo>
                      <a:pt x="41" y="91"/>
                    </a:lnTo>
                    <a:lnTo>
                      <a:pt x="41" y="91"/>
                    </a:lnTo>
                    <a:lnTo>
                      <a:pt x="40" y="92"/>
                    </a:lnTo>
                    <a:lnTo>
                      <a:pt x="40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53" y="104"/>
                    </a:lnTo>
                    <a:lnTo>
                      <a:pt x="57" y="107"/>
                    </a:lnTo>
                    <a:lnTo>
                      <a:pt x="60" y="108"/>
                    </a:lnTo>
                    <a:lnTo>
                      <a:pt x="60" y="108"/>
                    </a:lnTo>
                    <a:lnTo>
                      <a:pt x="63" y="108"/>
                    </a:lnTo>
                    <a:lnTo>
                      <a:pt x="66" y="108"/>
                    </a:lnTo>
                    <a:lnTo>
                      <a:pt x="71" y="113"/>
                    </a:lnTo>
                    <a:lnTo>
                      <a:pt x="71" y="113"/>
                    </a:lnTo>
                    <a:lnTo>
                      <a:pt x="74" y="115"/>
                    </a:lnTo>
                    <a:lnTo>
                      <a:pt x="77" y="120"/>
                    </a:lnTo>
                    <a:lnTo>
                      <a:pt x="79" y="126"/>
                    </a:lnTo>
                    <a:lnTo>
                      <a:pt x="79" y="128"/>
                    </a:lnTo>
                    <a:lnTo>
                      <a:pt x="79" y="128"/>
                    </a:lnTo>
                    <a:lnTo>
                      <a:pt x="80" y="137"/>
                    </a:lnTo>
                    <a:lnTo>
                      <a:pt x="82" y="140"/>
                    </a:lnTo>
                    <a:lnTo>
                      <a:pt x="84" y="143"/>
                    </a:lnTo>
                    <a:lnTo>
                      <a:pt x="84" y="143"/>
                    </a:lnTo>
                    <a:lnTo>
                      <a:pt x="96" y="155"/>
                    </a:lnTo>
                    <a:lnTo>
                      <a:pt x="103" y="160"/>
                    </a:lnTo>
                    <a:lnTo>
                      <a:pt x="106" y="166"/>
                    </a:lnTo>
                    <a:lnTo>
                      <a:pt x="106" y="166"/>
                    </a:lnTo>
                    <a:lnTo>
                      <a:pt x="108" y="169"/>
                    </a:lnTo>
                    <a:lnTo>
                      <a:pt x="111" y="173"/>
                    </a:lnTo>
                    <a:lnTo>
                      <a:pt x="115" y="176"/>
                    </a:lnTo>
                    <a:lnTo>
                      <a:pt x="115" y="178"/>
                    </a:lnTo>
                    <a:lnTo>
                      <a:pt x="116" y="176"/>
                    </a:lnTo>
                    <a:lnTo>
                      <a:pt x="116" y="176"/>
                    </a:lnTo>
                    <a:lnTo>
                      <a:pt x="118" y="175"/>
                    </a:lnTo>
                    <a:lnTo>
                      <a:pt x="121" y="173"/>
                    </a:lnTo>
                    <a:lnTo>
                      <a:pt x="122" y="170"/>
                    </a:lnTo>
                    <a:lnTo>
                      <a:pt x="122" y="168"/>
                    </a:lnTo>
                    <a:lnTo>
                      <a:pt x="122" y="168"/>
                    </a:lnTo>
                    <a:lnTo>
                      <a:pt x="119" y="162"/>
                    </a:lnTo>
                    <a:lnTo>
                      <a:pt x="113" y="156"/>
                    </a:lnTo>
                    <a:lnTo>
                      <a:pt x="102" y="146"/>
                    </a:lnTo>
                    <a:lnTo>
                      <a:pt x="102" y="146"/>
                    </a:lnTo>
                    <a:lnTo>
                      <a:pt x="102" y="144"/>
                    </a:lnTo>
                    <a:lnTo>
                      <a:pt x="103" y="144"/>
                    </a:lnTo>
                    <a:lnTo>
                      <a:pt x="105" y="141"/>
                    </a:lnTo>
                    <a:lnTo>
                      <a:pt x="103" y="139"/>
                    </a:lnTo>
                    <a:lnTo>
                      <a:pt x="103" y="139"/>
                    </a:lnTo>
                    <a:lnTo>
                      <a:pt x="96" y="130"/>
                    </a:lnTo>
                    <a:lnTo>
                      <a:pt x="93" y="127"/>
                    </a:lnTo>
                    <a:lnTo>
                      <a:pt x="93" y="124"/>
                    </a:lnTo>
                    <a:lnTo>
                      <a:pt x="93" y="124"/>
                    </a:lnTo>
                    <a:lnTo>
                      <a:pt x="95" y="123"/>
                    </a:lnTo>
                    <a:lnTo>
                      <a:pt x="96" y="123"/>
                    </a:lnTo>
                    <a:lnTo>
                      <a:pt x="97" y="121"/>
                    </a:lnTo>
                    <a:lnTo>
                      <a:pt x="95" y="118"/>
                    </a:lnTo>
                    <a:lnTo>
                      <a:pt x="95" y="118"/>
                    </a:lnTo>
                    <a:lnTo>
                      <a:pt x="86" y="107"/>
                    </a:lnTo>
                    <a:lnTo>
                      <a:pt x="80" y="98"/>
                    </a:lnTo>
                    <a:lnTo>
                      <a:pt x="80" y="98"/>
                    </a:lnTo>
                    <a:lnTo>
                      <a:pt x="74" y="91"/>
                    </a:lnTo>
                    <a:lnTo>
                      <a:pt x="70" y="82"/>
                    </a:lnTo>
                    <a:lnTo>
                      <a:pt x="70" y="82"/>
                    </a:lnTo>
                    <a:lnTo>
                      <a:pt x="66" y="76"/>
                    </a:lnTo>
                    <a:lnTo>
                      <a:pt x="61" y="70"/>
                    </a:lnTo>
                    <a:lnTo>
                      <a:pt x="53" y="60"/>
                    </a:lnTo>
                    <a:lnTo>
                      <a:pt x="53" y="60"/>
                    </a:lnTo>
                    <a:lnTo>
                      <a:pt x="44" y="53"/>
                    </a:lnTo>
                    <a:lnTo>
                      <a:pt x="40" y="50"/>
                    </a:lnTo>
                    <a:lnTo>
                      <a:pt x="38" y="47"/>
                    </a:lnTo>
                    <a:lnTo>
                      <a:pt x="38" y="47"/>
                    </a:lnTo>
                    <a:lnTo>
                      <a:pt x="38" y="39"/>
                    </a:lnTo>
                    <a:lnTo>
                      <a:pt x="35" y="30"/>
                    </a:lnTo>
                    <a:lnTo>
                      <a:pt x="35" y="30"/>
                    </a:lnTo>
                    <a:lnTo>
                      <a:pt x="35" y="27"/>
                    </a:lnTo>
                    <a:lnTo>
                      <a:pt x="35" y="26"/>
                    </a:lnTo>
                    <a:lnTo>
                      <a:pt x="35" y="23"/>
                    </a:lnTo>
                    <a:lnTo>
                      <a:pt x="35" y="20"/>
                    </a:lnTo>
                    <a:lnTo>
                      <a:pt x="35" y="20"/>
                    </a:lnTo>
                    <a:lnTo>
                      <a:pt x="35" y="17"/>
                    </a:lnTo>
                    <a:lnTo>
                      <a:pt x="37" y="15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44" y="18"/>
                    </a:lnTo>
                    <a:lnTo>
                      <a:pt x="47" y="21"/>
                    </a:lnTo>
                    <a:lnTo>
                      <a:pt x="47" y="21"/>
                    </a:lnTo>
                    <a:lnTo>
                      <a:pt x="57" y="27"/>
                    </a:lnTo>
                    <a:lnTo>
                      <a:pt x="57" y="27"/>
                    </a:lnTo>
                    <a:lnTo>
                      <a:pt x="60" y="28"/>
                    </a:lnTo>
                    <a:lnTo>
                      <a:pt x="63" y="28"/>
                    </a:lnTo>
                    <a:lnTo>
                      <a:pt x="63" y="30"/>
                    </a:lnTo>
                    <a:lnTo>
                      <a:pt x="64" y="33"/>
                    </a:lnTo>
                    <a:lnTo>
                      <a:pt x="64" y="33"/>
                    </a:lnTo>
                    <a:lnTo>
                      <a:pt x="64" y="40"/>
                    </a:lnTo>
                    <a:lnTo>
                      <a:pt x="66" y="43"/>
                    </a:lnTo>
                    <a:lnTo>
                      <a:pt x="67" y="44"/>
                    </a:lnTo>
                    <a:lnTo>
                      <a:pt x="67" y="44"/>
                    </a:lnTo>
                    <a:lnTo>
                      <a:pt x="69" y="47"/>
                    </a:lnTo>
                    <a:lnTo>
                      <a:pt x="70" y="52"/>
                    </a:lnTo>
                    <a:lnTo>
                      <a:pt x="71" y="57"/>
                    </a:lnTo>
                    <a:lnTo>
                      <a:pt x="74" y="60"/>
                    </a:lnTo>
                    <a:lnTo>
                      <a:pt x="74" y="60"/>
                    </a:lnTo>
                    <a:lnTo>
                      <a:pt x="76" y="63"/>
                    </a:lnTo>
                    <a:lnTo>
                      <a:pt x="79" y="68"/>
                    </a:lnTo>
                    <a:lnTo>
                      <a:pt x="80" y="72"/>
                    </a:lnTo>
                    <a:lnTo>
                      <a:pt x="84" y="76"/>
                    </a:lnTo>
                    <a:lnTo>
                      <a:pt x="84" y="76"/>
                    </a:lnTo>
                    <a:lnTo>
                      <a:pt x="92" y="84"/>
                    </a:lnTo>
                    <a:lnTo>
                      <a:pt x="102" y="91"/>
                    </a:lnTo>
                    <a:lnTo>
                      <a:pt x="102" y="91"/>
                    </a:lnTo>
                    <a:lnTo>
                      <a:pt x="118" y="104"/>
                    </a:lnTo>
                    <a:lnTo>
                      <a:pt x="124" y="110"/>
                    </a:lnTo>
                    <a:lnTo>
                      <a:pt x="126" y="113"/>
                    </a:lnTo>
                    <a:lnTo>
                      <a:pt x="126" y="113"/>
                    </a:lnTo>
                    <a:lnTo>
                      <a:pt x="125" y="117"/>
                    </a:lnTo>
                    <a:lnTo>
                      <a:pt x="125" y="120"/>
                    </a:lnTo>
                    <a:lnTo>
                      <a:pt x="126" y="123"/>
                    </a:lnTo>
                    <a:lnTo>
                      <a:pt x="126" y="123"/>
                    </a:lnTo>
                    <a:lnTo>
                      <a:pt x="134" y="128"/>
                    </a:lnTo>
                    <a:lnTo>
                      <a:pt x="142" y="136"/>
                    </a:lnTo>
                    <a:lnTo>
                      <a:pt x="142" y="136"/>
                    </a:lnTo>
                    <a:lnTo>
                      <a:pt x="153" y="144"/>
                    </a:lnTo>
                    <a:lnTo>
                      <a:pt x="155" y="149"/>
                    </a:lnTo>
                    <a:lnTo>
                      <a:pt x="158" y="152"/>
                    </a:lnTo>
                    <a:lnTo>
                      <a:pt x="158" y="152"/>
                    </a:lnTo>
                    <a:lnTo>
                      <a:pt x="158" y="155"/>
                    </a:lnTo>
                    <a:lnTo>
                      <a:pt x="161" y="157"/>
                    </a:lnTo>
                    <a:lnTo>
                      <a:pt x="168" y="165"/>
                    </a:lnTo>
                    <a:lnTo>
                      <a:pt x="168" y="165"/>
                    </a:lnTo>
                    <a:lnTo>
                      <a:pt x="173" y="169"/>
                    </a:lnTo>
                    <a:lnTo>
                      <a:pt x="176" y="175"/>
                    </a:lnTo>
                    <a:lnTo>
                      <a:pt x="181" y="185"/>
                    </a:lnTo>
                    <a:lnTo>
                      <a:pt x="181" y="185"/>
                    </a:lnTo>
                    <a:lnTo>
                      <a:pt x="186" y="198"/>
                    </a:lnTo>
                    <a:lnTo>
                      <a:pt x="187" y="208"/>
                    </a:lnTo>
                    <a:lnTo>
                      <a:pt x="187" y="208"/>
                    </a:lnTo>
                    <a:lnTo>
                      <a:pt x="183" y="214"/>
                    </a:lnTo>
                    <a:lnTo>
                      <a:pt x="181" y="217"/>
                    </a:lnTo>
                    <a:lnTo>
                      <a:pt x="181" y="220"/>
                    </a:lnTo>
                    <a:lnTo>
                      <a:pt x="181" y="220"/>
                    </a:lnTo>
                    <a:lnTo>
                      <a:pt x="181" y="224"/>
                    </a:lnTo>
                    <a:lnTo>
                      <a:pt x="183" y="228"/>
                    </a:lnTo>
                    <a:lnTo>
                      <a:pt x="189" y="233"/>
                    </a:lnTo>
                    <a:lnTo>
                      <a:pt x="189" y="233"/>
                    </a:lnTo>
                    <a:lnTo>
                      <a:pt x="206" y="244"/>
                    </a:lnTo>
                    <a:lnTo>
                      <a:pt x="223" y="256"/>
                    </a:lnTo>
                    <a:lnTo>
                      <a:pt x="223" y="256"/>
                    </a:lnTo>
                    <a:lnTo>
                      <a:pt x="229" y="257"/>
                    </a:lnTo>
                    <a:lnTo>
                      <a:pt x="235" y="259"/>
                    </a:lnTo>
                    <a:lnTo>
                      <a:pt x="239" y="260"/>
                    </a:lnTo>
                    <a:lnTo>
                      <a:pt x="244" y="262"/>
                    </a:lnTo>
                    <a:lnTo>
                      <a:pt x="244" y="262"/>
                    </a:lnTo>
                    <a:lnTo>
                      <a:pt x="251" y="267"/>
                    </a:lnTo>
                    <a:lnTo>
                      <a:pt x="261" y="270"/>
                    </a:lnTo>
                    <a:lnTo>
                      <a:pt x="261" y="270"/>
                    </a:lnTo>
                    <a:lnTo>
                      <a:pt x="280" y="276"/>
                    </a:lnTo>
                    <a:lnTo>
                      <a:pt x="290" y="281"/>
                    </a:lnTo>
                    <a:lnTo>
                      <a:pt x="296" y="283"/>
                    </a:lnTo>
                    <a:lnTo>
                      <a:pt x="296" y="283"/>
                    </a:lnTo>
                    <a:lnTo>
                      <a:pt x="303" y="289"/>
                    </a:lnTo>
                    <a:lnTo>
                      <a:pt x="307" y="292"/>
                    </a:lnTo>
                    <a:lnTo>
                      <a:pt x="312" y="292"/>
                    </a:lnTo>
                    <a:lnTo>
                      <a:pt x="312" y="292"/>
                    </a:lnTo>
                    <a:lnTo>
                      <a:pt x="323" y="296"/>
                    </a:lnTo>
                    <a:lnTo>
                      <a:pt x="331" y="296"/>
                    </a:lnTo>
                    <a:lnTo>
                      <a:pt x="335" y="296"/>
                    </a:lnTo>
                    <a:lnTo>
                      <a:pt x="335" y="296"/>
                    </a:lnTo>
                    <a:lnTo>
                      <a:pt x="348" y="289"/>
                    </a:lnTo>
                    <a:lnTo>
                      <a:pt x="355" y="286"/>
                    </a:lnTo>
                    <a:lnTo>
                      <a:pt x="360" y="285"/>
                    </a:lnTo>
                    <a:lnTo>
                      <a:pt x="363" y="286"/>
                    </a:lnTo>
                    <a:lnTo>
                      <a:pt x="363" y="286"/>
                    </a:lnTo>
                    <a:lnTo>
                      <a:pt x="371" y="289"/>
                    </a:lnTo>
                    <a:lnTo>
                      <a:pt x="377" y="292"/>
                    </a:lnTo>
                    <a:lnTo>
                      <a:pt x="377" y="292"/>
                    </a:lnTo>
                    <a:lnTo>
                      <a:pt x="380" y="295"/>
                    </a:lnTo>
                    <a:lnTo>
                      <a:pt x="384" y="301"/>
                    </a:lnTo>
                    <a:lnTo>
                      <a:pt x="389" y="307"/>
                    </a:lnTo>
                    <a:lnTo>
                      <a:pt x="394" y="312"/>
                    </a:lnTo>
                    <a:lnTo>
                      <a:pt x="394" y="312"/>
                    </a:lnTo>
                    <a:lnTo>
                      <a:pt x="397" y="315"/>
                    </a:lnTo>
                    <a:lnTo>
                      <a:pt x="397" y="315"/>
                    </a:lnTo>
                    <a:lnTo>
                      <a:pt x="399" y="305"/>
                    </a:lnTo>
                    <a:lnTo>
                      <a:pt x="402" y="299"/>
                    </a:lnTo>
                    <a:lnTo>
                      <a:pt x="402" y="299"/>
                    </a:lnTo>
                    <a:lnTo>
                      <a:pt x="406" y="298"/>
                    </a:lnTo>
                    <a:lnTo>
                      <a:pt x="413" y="296"/>
                    </a:lnTo>
                    <a:lnTo>
                      <a:pt x="420" y="295"/>
                    </a:lnTo>
                    <a:lnTo>
                      <a:pt x="426" y="292"/>
                    </a:lnTo>
                    <a:lnTo>
                      <a:pt x="426" y="292"/>
                    </a:lnTo>
                    <a:lnTo>
                      <a:pt x="426" y="289"/>
                    </a:lnTo>
                    <a:lnTo>
                      <a:pt x="425" y="288"/>
                    </a:lnTo>
                    <a:lnTo>
                      <a:pt x="420" y="281"/>
                    </a:lnTo>
                    <a:lnTo>
                      <a:pt x="416" y="275"/>
                    </a:lnTo>
                    <a:lnTo>
                      <a:pt x="413" y="269"/>
                    </a:lnTo>
                    <a:lnTo>
                      <a:pt x="413" y="269"/>
                    </a:lnTo>
                    <a:lnTo>
                      <a:pt x="413" y="262"/>
                    </a:lnTo>
                    <a:lnTo>
                      <a:pt x="413" y="260"/>
                    </a:lnTo>
                    <a:lnTo>
                      <a:pt x="452" y="260"/>
                    </a:lnTo>
                    <a:lnTo>
                      <a:pt x="452" y="260"/>
                    </a:lnTo>
                    <a:lnTo>
                      <a:pt x="455" y="257"/>
                    </a:lnTo>
                    <a:lnTo>
                      <a:pt x="460" y="254"/>
                    </a:lnTo>
                    <a:lnTo>
                      <a:pt x="464" y="253"/>
                    </a:lnTo>
                    <a:lnTo>
                      <a:pt x="464" y="253"/>
                    </a:lnTo>
                    <a:lnTo>
                      <a:pt x="462" y="249"/>
                    </a:lnTo>
                    <a:lnTo>
                      <a:pt x="464" y="247"/>
                    </a:lnTo>
                    <a:lnTo>
                      <a:pt x="465" y="249"/>
                    </a:lnTo>
                    <a:lnTo>
                      <a:pt x="465" y="249"/>
                    </a:lnTo>
                    <a:lnTo>
                      <a:pt x="470" y="252"/>
                    </a:lnTo>
                    <a:lnTo>
                      <a:pt x="474" y="249"/>
                    </a:lnTo>
                    <a:lnTo>
                      <a:pt x="474" y="249"/>
                    </a:lnTo>
                    <a:lnTo>
                      <a:pt x="474" y="247"/>
                    </a:lnTo>
                    <a:lnTo>
                      <a:pt x="475" y="244"/>
                    </a:lnTo>
                    <a:lnTo>
                      <a:pt x="475" y="236"/>
                    </a:lnTo>
                    <a:lnTo>
                      <a:pt x="475" y="227"/>
                    </a:lnTo>
                    <a:lnTo>
                      <a:pt x="477" y="223"/>
                    </a:lnTo>
                    <a:lnTo>
                      <a:pt x="478" y="221"/>
                    </a:lnTo>
                    <a:lnTo>
                      <a:pt x="478" y="221"/>
                    </a:lnTo>
                    <a:lnTo>
                      <a:pt x="483" y="215"/>
                    </a:lnTo>
                    <a:lnTo>
                      <a:pt x="486" y="210"/>
                    </a:lnTo>
                    <a:lnTo>
                      <a:pt x="486" y="210"/>
                    </a:lnTo>
                    <a:lnTo>
                      <a:pt x="486" y="204"/>
                    </a:lnTo>
                    <a:lnTo>
                      <a:pt x="484" y="202"/>
                    </a:lnTo>
                    <a:lnTo>
                      <a:pt x="483" y="201"/>
                    </a:lnTo>
                    <a:lnTo>
                      <a:pt x="483" y="201"/>
                    </a:lnTo>
                    <a:lnTo>
                      <a:pt x="478" y="202"/>
                    </a:lnTo>
                    <a:lnTo>
                      <a:pt x="475" y="202"/>
                    </a:lnTo>
                    <a:lnTo>
                      <a:pt x="474" y="202"/>
                    </a:lnTo>
                    <a:lnTo>
                      <a:pt x="474" y="202"/>
                    </a:lnTo>
                    <a:lnTo>
                      <a:pt x="471" y="199"/>
                    </a:lnTo>
                    <a:lnTo>
                      <a:pt x="470" y="198"/>
                    </a:lnTo>
                    <a:lnTo>
                      <a:pt x="468" y="198"/>
                    </a:lnTo>
                    <a:lnTo>
                      <a:pt x="468" y="198"/>
                    </a:lnTo>
                    <a:lnTo>
                      <a:pt x="462" y="199"/>
                    </a:lnTo>
                    <a:lnTo>
                      <a:pt x="460" y="201"/>
                    </a:lnTo>
                    <a:lnTo>
                      <a:pt x="457" y="199"/>
                    </a:lnTo>
                    <a:lnTo>
                      <a:pt x="457" y="199"/>
                    </a:lnTo>
                    <a:lnTo>
                      <a:pt x="452" y="199"/>
                    </a:lnTo>
                    <a:lnTo>
                      <a:pt x="445" y="199"/>
                    </a:lnTo>
                    <a:lnTo>
                      <a:pt x="445" y="199"/>
                    </a:lnTo>
                    <a:lnTo>
                      <a:pt x="442" y="202"/>
                    </a:lnTo>
                    <a:lnTo>
                      <a:pt x="438" y="205"/>
                    </a:lnTo>
                    <a:lnTo>
                      <a:pt x="432" y="211"/>
                    </a:lnTo>
                    <a:lnTo>
                      <a:pt x="432" y="211"/>
                    </a:lnTo>
                    <a:lnTo>
                      <a:pt x="428" y="217"/>
                    </a:lnTo>
                    <a:lnTo>
                      <a:pt x="426" y="221"/>
                    </a:lnTo>
                    <a:lnTo>
                      <a:pt x="425" y="224"/>
                    </a:lnTo>
                    <a:lnTo>
                      <a:pt x="425" y="224"/>
                    </a:lnTo>
                    <a:lnTo>
                      <a:pt x="425" y="228"/>
                    </a:lnTo>
                    <a:lnTo>
                      <a:pt x="425" y="230"/>
                    </a:lnTo>
                    <a:lnTo>
                      <a:pt x="423" y="231"/>
                    </a:lnTo>
                    <a:lnTo>
                      <a:pt x="423" y="231"/>
                    </a:lnTo>
                    <a:lnTo>
                      <a:pt x="423" y="231"/>
                    </a:lnTo>
                    <a:lnTo>
                      <a:pt x="423" y="233"/>
                    </a:lnTo>
                    <a:lnTo>
                      <a:pt x="425" y="234"/>
                    </a:lnTo>
                    <a:lnTo>
                      <a:pt x="425" y="236"/>
                    </a:lnTo>
                    <a:lnTo>
                      <a:pt x="425" y="236"/>
                    </a:lnTo>
                    <a:lnTo>
                      <a:pt x="422" y="239"/>
                    </a:lnTo>
                    <a:lnTo>
                      <a:pt x="419" y="243"/>
                    </a:lnTo>
                    <a:lnTo>
                      <a:pt x="416" y="247"/>
                    </a:lnTo>
                    <a:lnTo>
                      <a:pt x="413" y="249"/>
                    </a:lnTo>
                    <a:lnTo>
                      <a:pt x="409" y="249"/>
                    </a:lnTo>
                    <a:lnTo>
                      <a:pt x="409" y="249"/>
                    </a:lnTo>
                    <a:lnTo>
                      <a:pt x="399" y="246"/>
                    </a:lnTo>
                    <a:lnTo>
                      <a:pt x="394" y="246"/>
                    </a:lnTo>
                    <a:lnTo>
                      <a:pt x="393" y="247"/>
                    </a:lnTo>
                    <a:lnTo>
                      <a:pt x="393" y="247"/>
                    </a:lnTo>
                    <a:lnTo>
                      <a:pt x="390" y="252"/>
                    </a:lnTo>
                    <a:lnTo>
                      <a:pt x="389" y="252"/>
                    </a:lnTo>
                    <a:lnTo>
                      <a:pt x="386" y="252"/>
                    </a:lnTo>
                    <a:lnTo>
                      <a:pt x="386" y="252"/>
                    </a:lnTo>
                    <a:lnTo>
                      <a:pt x="378" y="250"/>
                    </a:lnTo>
                    <a:lnTo>
                      <a:pt x="376" y="250"/>
                    </a:lnTo>
                    <a:lnTo>
                      <a:pt x="376" y="250"/>
                    </a:lnTo>
                    <a:lnTo>
                      <a:pt x="371" y="253"/>
                    </a:lnTo>
                    <a:lnTo>
                      <a:pt x="370" y="254"/>
                    </a:lnTo>
                    <a:lnTo>
                      <a:pt x="367" y="254"/>
                    </a:lnTo>
                    <a:lnTo>
                      <a:pt x="367" y="254"/>
                    </a:lnTo>
                    <a:lnTo>
                      <a:pt x="364" y="252"/>
                    </a:lnTo>
                    <a:lnTo>
                      <a:pt x="360" y="250"/>
                    </a:lnTo>
                    <a:lnTo>
                      <a:pt x="360" y="250"/>
                    </a:lnTo>
                    <a:lnTo>
                      <a:pt x="348" y="247"/>
                    </a:lnTo>
                    <a:lnTo>
                      <a:pt x="342" y="246"/>
                    </a:lnTo>
                    <a:lnTo>
                      <a:pt x="341" y="244"/>
                    </a:lnTo>
                    <a:lnTo>
                      <a:pt x="339" y="243"/>
                    </a:lnTo>
                    <a:lnTo>
                      <a:pt x="339" y="243"/>
                    </a:lnTo>
                    <a:lnTo>
                      <a:pt x="339" y="240"/>
                    </a:lnTo>
                    <a:lnTo>
                      <a:pt x="338" y="237"/>
                    </a:lnTo>
                    <a:lnTo>
                      <a:pt x="338" y="237"/>
                    </a:lnTo>
                    <a:lnTo>
                      <a:pt x="335" y="234"/>
                    </a:lnTo>
                    <a:lnTo>
                      <a:pt x="335" y="231"/>
                    </a:lnTo>
                    <a:lnTo>
                      <a:pt x="334" y="225"/>
                    </a:lnTo>
                    <a:lnTo>
                      <a:pt x="334" y="225"/>
                    </a:lnTo>
                    <a:lnTo>
                      <a:pt x="331" y="223"/>
                    </a:lnTo>
                    <a:lnTo>
                      <a:pt x="326" y="220"/>
                    </a:lnTo>
                    <a:lnTo>
                      <a:pt x="322" y="215"/>
                    </a:lnTo>
                    <a:lnTo>
                      <a:pt x="321" y="214"/>
                    </a:lnTo>
                    <a:lnTo>
                      <a:pt x="319" y="211"/>
                    </a:lnTo>
                    <a:lnTo>
                      <a:pt x="319" y="211"/>
                    </a:lnTo>
                    <a:lnTo>
                      <a:pt x="319" y="207"/>
                    </a:lnTo>
                    <a:lnTo>
                      <a:pt x="319" y="202"/>
                    </a:lnTo>
                    <a:lnTo>
                      <a:pt x="319" y="199"/>
                    </a:lnTo>
                    <a:lnTo>
                      <a:pt x="316" y="195"/>
                    </a:lnTo>
                    <a:lnTo>
                      <a:pt x="316" y="195"/>
                    </a:lnTo>
                    <a:lnTo>
                      <a:pt x="310" y="186"/>
                    </a:lnTo>
                    <a:lnTo>
                      <a:pt x="310" y="182"/>
                    </a:lnTo>
                    <a:lnTo>
                      <a:pt x="310" y="179"/>
                    </a:lnTo>
                    <a:lnTo>
                      <a:pt x="310" y="179"/>
                    </a:lnTo>
                    <a:lnTo>
                      <a:pt x="310" y="175"/>
                    </a:lnTo>
                    <a:lnTo>
                      <a:pt x="309" y="169"/>
                    </a:lnTo>
                    <a:lnTo>
                      <a:pt x="307" y="163"/>
                    </a:lnTo>
                    <a:lnTo>
                      <a:pt x="309" y="157"/>
                    </a:lnTo>
                    <a:lnTo>
                      <a:pt x="309" y="157"/>
                    </a:lnTo>
                    <a:lnTo>
                      <a:pt x="313" y="147"/>
                    </a:lnTo>
                    <a:lnTo>
                      <a:pt x="315" y="141"/>
                    </a:lnTo>
                    <a:lnTo>
                      <a:pt x="318" y="137"/>
                    </a:lnTo>
                    <a:lnTo>
                      <a:pt x="318" y="137"/>
                    </a:lnTo>
                    <a:lnTo>
                      <a:pt x="319" y="131"/>
                    </a:lnTo>
                    <a:lnTo>
                      <a:pt x="321" y="123"/>
                    </a:lnTo>
                    <a:lnTo>
                      <a:pt x="321" y="123"/>
                    </a:lnTo>
                    <a:lnTo>
                      <a:pt x="299" y="117"/>
                    </a:lnTo>
                    <a:lnTo>
                      <a:pt x="292" y="114"/>
                    </a:lnTo>
                    <a:lnTo>
                      <a:pt x="287" y="111"/>
                    </a:lnTo>
                    <a:lnTo>
                      <a:pt x="287" y="111"/>
                    </a:lnTo>
                    <a:lnTo>
                      <a:pt x="284" y="107"/>
                    </a:lnTo>
                    <a:lnTo>
                      <a:pt x="281" y="101"/>
                    </a:lnTo>
                    <a:lnTo>
                      <a:pt x="279" y="95"/>
                    </a:lnTo>
                    <a:lnTo>
                      <a:pt x="276" y="9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1" name="Freeform 694"/>
              <p:cNvSpPr>
                <a:spLocks/>
              </p:cNvSpPr>
              <p:nvPr/>
            </p:nvSpPr>
            <p:spPr bwMode="auto">
              <a:xfrm>
                <a:off x="2542039" y="2777992"/>
                <a:ext cx="480780" cy="311617"/>
              </a:xfrm>
              <a:custGeom>
                <a:avLst/>
                <a:gdLst>
                  <a:gd name="T0" fmla="*/ 260 w 486"/>
                  <a:gd name="T1" fmla="*/ 68 h 315"/>
                  <a:gd name="T2" fmla="*/ 234 w 486"/>
                  <a:gd name="T3" fmla="*/ 57 h 315"/>
                  <a:gd name="T4" fmla="*/ 222 w 486"/>
                  <a:gd name="T5" fmla="*/ 69 h 315"/>
                  <a:gd name="T6" fmla="*/ 181 w 486"/>
                  <a:gd name="T7" fmla="*/ 31 h 315"/>
                  <a:gd name="T8" fmla="*/ 138 w 486"/>
                  <a:gd name="T9" fmla="*/ 28 h 315"/>
                  <a:gd name="T10" fmla="*/ 6 w 486"/>
                  <a:gd name="T11" fmla="*/ 18 h 315"/>
                  <a:gd name="T12" fmla="*/ 25 w 486"/>
                  <a:gd name="T13" fmla="*/ 56 h 315"/>
                  <a:gd name="T14" fmla="*/ 47 w 486"/>
                  <a:gd name="T15" fmla="*/ 81 h 315"/>
                  <a:gd name="T16" fmla="*/ 40 w 486"/>
                  <a:gd name="T17" fmla="*/ 92 h 315"/>
                  <a:gd name="T18" fmla="*/ 60 w 486"/>
                  <a:gd name="T19" fmla="*/ 108 h 315"/>
                  <a:gd name="T20" fmla="*/ 74 w 486"/>
                  <a:gd name="T21" fmla="*/ 115 h 315"/>
                  <a:gd name="T22" fmla="*/ 82 w 486"/>
                  <a:gd name="T23" fmla="*/ 140 h 315"/>
                  <a:gd name="T24" fmla="*/ 106 w 486"/>
                  <a:gd name="T25" fmla="*/ 166 h 315"/>
                  <a:gd name="T26" fmla="*/ 116 w 486"/>
                  <a:gd name="T27" fmla="*/ 176 h 315"/>
                  <a:gd name="T28" fmla="*/ 119 w 486"/>
                  <a:gd name="T29" fmla="*/ 162 h 315"/>
                  <a:gd name="T30" fmla="*/ 105 w 486"/>
                  <a:gd name="T31" fmla="*/ 141 h 315"/>
                  <a:gd name="T32" fmla="*/ 93 w 486"/>
                  <a:gd name="T33" fmla="*/ 124 h 315"/>
                  <a:gd name="T34" fmla="*/ 86 w 486"/>
                  <a:gd name="T35" fmla="*/ 107 h 315"/>
                  <a:gd name="T36" fmla="*/ 66 w 486"/>
                  <a:gd name="T37" fmla="*/ 76 h 315"/>
                  <a:gd name="T38" fmla="*/ 38 w 486"/>
                  <a:gd name="T39" fmla="*/ 47 h 315"/>
                  <a:gd name="T40" fmla="*/ 35 w 486"/>
                  <a:gd name="T41" fmla="*/ 26 h 315"/>
                  <a:gd name="T42" fmla="*/ 38 w 486"/>
                  <a:gd name="T43" fmla="*/ 14 h 315"/>
                  <a:gd name="T44" fmla="*/ 57 w 486"/>
                  <a:gd name="T45" fmla="*/ 27 h 315"/>
                  <a:gd name="T46" fmla="*/ 64 w 486"/>
                  <a:gd name="T47" fmla="*/ 33 h 315"/>
                  <a:gd name="T48" fmla="*/ 70 w 486"/>
                  <a:gd name="T49" fmla="*/ 52 h 315"/>
                  <a:gd name="T50" fmla="*/ 80 w 486"/>
                  <a:gd name="T51" fmla="*/ 72 h 315"/>
                  <a:gd name="T52" fmla="*/ 118 w 486"/>
                  <a:gd name="T53" fmla="*/ 104 h 315"/>
                  <a:gd name="T54" fmla="*/ 126 w 486"/>
                  <a:gd name="T55" fmla="*/ 123 h 315"/>
                  <a:gd name="T56" fmla="*/ 155 w 486"/>
                  <a:gd name="T57" fmla="*/ 149 h 315"/>
                  <a:gd name="T58" fmla="*/ 168 w 486"/>
                  <a:gd name="T59" fmla="*/ 165 h 315"/>
                  <a:gd name="T60" fmla="*/ 187 w 486"/>
                  <a:gd name="T61" fmla="*/ 208 h 315"/>
                  <a:gd name="T62" fmla="*/ 181 w 486"/>
                  <a:gd name="T63" fmla="*/ 224 h 315"/>
                  <a:gd name="T64" fmla="*/ 223 w 486"/>
                  <a:gd name="T65" fmla="*/ 256 h 315"/>
                  <a:gd name="T66" fmla="*/ 251 w 486"/>
                  <a:gd name="T67" fmla="*/ 267 h 315"/>
                  <a:gd name="T68" fmla="*/ 296 w 486"/>
                  <a:gd name="T69" fmla="*/ 283 h 315"/>
                  <a:gd name="T70" fmla="*/ 331 w 486"/>
                  <a:gd name="T71" fmla="*/ 296 h 315"/>
                  <a:gd name="T72" fmla="*/ 363 w 486"/>
                  <a:gd name="T73" fmla="*/ 286 h 315"/>
                  <a:gd name="T74" fmla="*/ 384 w 486"/>
                  <a:gd name="T75" fmla="*/ 301 h 315"/>
                  <a:gd name="T76" fmla="*/ 399 w 486"/>
                  <a:gd name="T77" fmla="*/ 305 h 315"/>
                  <a:gd name="T78" fmla="*/ 426 w 486"/>
                  <a:gd name="T79" fmla="*/ 292 h 315"/>
                  <a:gd name="T80" fmla="*/ 413 w 486"/>
                  <a:gd name="T81" fmla="*/ 269 h 315"/>
                  <a:gd name="T82" fmla="*/ 455 w 486"/>
                  <a:gd name="T83" fmla="*/ 257 h 315"/>
                  <a:gd name="T84" fmla="*/ 465 w 486"/>
                  <a:gd name="T85" fmla="*/ 249 h 315"/>
                  <a:gd name="T86" fmla="*/ 475 w 486"/>
                  <a:gd name="T87" fmla="*/ 244 h 315"/>
                  <a:gd name="T88" fmla="*/ 483 w 486"/>
                  <a:gd name="T89" fmla="*/ 215 h 315"/>
                  <a:gd name="T90" fmla="*/ 483 w 486"/>
                  <a:gd name="T91" fmla="*/ 201 h 315"/>
                  <a:gd name="T92" fmla="*/ 470 w 486"/>
                  <a:gd name="T93" fmla="*/ 198 h 315"/>
                  <a:gd name="T94" fmla="*/ 457 w 486"/>
                  <a:gd name="T95" fmla="*/ 199 h 315"/>
                  <a:gd name="T96" fmla="*/ 432 w 486"/>
                  <a:gd name="T97" fmla="*/ 211 h 315"/>
                  <a:gd name="T98" fmla="*/ 425 w 486"/>
                  <a:gd name="T99" fmla="*/ 228 h 315"/>
                  <a:gd name="T100" fmla="*/ 425 w 486"/>
                  <a:gd name="T101" fmla="*/ 234 h 315"/>
                  <a:gd name="T102" fmla="*/ 413 w 486"/>
                  <a:gd name="T103" fmla="*/ 249 h 315"/>
                  <a:gd name="T104" fmla="*/ 393 w 486"/>
                  <a:gd name="T105" fmla="*/ 247 h 315"/>
                  <a:gd name="T106" fmla="*/ 376 w 486"/>
                  <a:gd name="T107" fmla="*/ 250 h 315"/>
                  <a:gd name="T108" fmla="*/ 364 w 486"/>
                  <a:gd name="T109" fmla="*/ 252 h 315"/>
                  <a:gd name="T110" fmla="*/ 339 w 486"/>
                  <a:gd name="T111" fmla="*/ 243 h 315"/>
                  <a:gd name="T112" fmla="*/ 335 w 486"/>
                  <a:gd name="T113" fmla="*/ 231 h 315"/>
                  <a:gd name="T114" fmla="*/ 321 w 486"/>
                  <a:gd name="T115" fmla="*/ 214 h 315"/>
                  <a:gd name="T116" fmla="*/ 316 w 486"/>
                  <a:gd name="T117" fmla="*/ 195 h 315"/>
                  <a:gd name="T118" fmla="*/ 310 w 486"/>
                  <a:gd name="T119" fmla="*/ 175 h 315"/>
                  <a:gd name="T120" fmla="*/ 315 w 486"/>
                  <a:gd name="T121" fmla="*/ 141 h 315"/>
                  <a:gd name="T122" fmla="*/ 299 w 486"/>
                  <a:gd name="T123" fmla="*/ 117 h 315"/>
                  <a:gd name="T124" fmla="*/ 279 w 486"/>
                  <a:gd name="T125" fmla="*/ 95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6" h="315">
                    <a:moveTo>
                      <a:pt x="276" y="91"/>
                    </a:moveTo>
                    <a:lnTo>
                      <a:pt x="276" y="91"/>
                    </a:lnTo>
                    <a:lnTo>
                      <a:pt x="271" y="86"/>
                    </a:lnTo>
                    <a:lnTo>
                      <a:pt x="267" y="79"/>
                    </a:lnTo>
                    <a:lnTo>
                      <a:pt x="264" y="72"/>
                    </a:lnTo>
                    <a:lnTo>
                      <a:pt x="260" y="68"/>
                    </a:lnTo>
                    <a:lnTo>
                      <a:pt x="260" y="68"/>
                    </a:lnTo>
                    <a:lnTo>
                      <a:pt x="254" y="63"/>
                    </a:lnTo>
                    <a:lnTo>
                      <a:pt x="245" y="60"/>
                    </a:lnTo>
                    <a:lnTo>
                      <a:pt x="238" y="57"/>
                    </a:lnTo>
                    <a:lnTo>
                      <a:pt x="234" y="57"/>
                    </a:lnTo>
                    <a:lnTo>
                      <a:pt x="234" y="57"/>
                    </a:lnTo>
                    <a:lnTo>
                      <a:pt x="231" y="59"/>
                    </a:lnTo>
                    <a:lnTo>
                      <a:pt x="229" y="63"/>
                    </a:lnTo>
                    <a:lnTo>
                      <a:pt x="228" y="68"/>
                    </a:lnTo>
                    <a:lnTo>
                      <a:pt x="226" y="70"/>
                    </a:lnTo>
                    <a:lnTo>
                      <a:pt x="226" y="70"/>
                    </a:lnTo>
                    <a:lnTo>
                      <a:pt x="222" y="69"/>
                    </a:lnTo>
                    <a:lnTo>
                      <a:pt x="213" y="63"/>
                    </a:lnTo>
                    <a:lnTo>
                      <a:pt x="205" y="57"/>
                    </a:lnTo>
                    <a:lnTo>
                      <a:pt x="197" y="52"/>
                    </a:lnTo>
                    <a:lnTo>
                      <a:pt x="197" y="52"/>
                    </a:lnTo>
                    <a:lnTo>
                      <a:pt x="187" y="37"/>
                    </a:lnTo>
                    <a:lnTo>
                      <a:pt x="181" y="31"/>
                    </a:lnTo>
                    <a:lnTo>
                      <a:pt x="177" y="27"/>
                    </a:lnTo>
                    <a:lnTo>
                      <a:pt x="177" y="27"/>
                    </a:lnTo>
                    <a:lnTo>
                      <a:pt x="170" y="21"/>
                    </a:lnTo>
                    <a:lnTo>
                      <a:pt x="168" y="18"/>
                    </a:lnTo>
                    <a:lnTo>
                      <a:pt x="142" y="18"/>
                    </a:lnTo>
                    <a:lnTo>
                      <a:pt x="138" y="28"/>
                    </a:lnTo>
                    <a:lnTo>
                      <a:pt x="96" y="28"/>
                    </a:lnTo>
                    <a:lnTo>
                      <a:pt x="37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5" y="33"/>
                    </a:lnTo>
                    <a:lnTo>
                      <a:pt x="19" y="42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22" y="52"/>
                    </a:lnTo>
                    <a:lnTo>
                      <a:pt x="25" y="56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42" y="69"/>
                    </a:lnTo>
                    <a:lnTo>
                      <a:pt x="45" y="75"/>
                    </a:lnTo>
                    <a:lnTo>
                      <a:pt x="47" y="78"/>
                    </a:lnTo>
                    <a:lnTo>
                      <a:pt x="47" y="81"/>
                    </a:lnTo>
                    <a:lnTo>
                      <a:pt x="47" y="81"/>
                    </a:lnTo>
                    <a:lnTo>
                      <a:pt x="44" y="88"/>
                    </a:lnTo>
                    <a:lnTo>
                      <a:pt x="42" y="91"/>
                    </a:lnTo>
                    <a:lnTo>
                      <a:pt x="41" y="91"/>
                    </a:lnTo>
                    <a:lnTo>
                      <a:pt x="41" y="91"/>
                    </a:lnTo>
                    <a:lnTo>
                      <a:pt x="40" y="92"/>
                    </a:lnTo>
                    <a:lnTo>
                      <a:pt x="40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53" y="104"/>
                    </a:lnTo>
                    <a:lnTo>
                      <a:pt x="57" y="107"/>
                    </a:lnTo>
                    <a:lnTo>
                      <a:pt x="60" y="108"/>
                    </a:lnTo>
                    <a:lnTo>
                      <a:pt x="60" y="108"/>
                    </a:lnTo>
                    <a:lnTo>
                      <a:pt x="63" y="108"/>
                    </a:lnTo>
                    <a:lnTo>
                      <a:pt x="66" y="108"/>
                    </a:lnTo>
                    <a:lnTo>
                      <a:pt x="71" y="113"/>
                    </a:lnTo>
                    <a:lnTo>
                      <a:pt x="71" y="113"/>
                    </a:lnTo>
                    <a:lnTo>
                      <a:pt x="74" y="115"/>
                    </a:lnTo>
                    <a:lnTo>
                      <a:pt x="77" y="120"/>
                    </a:lnTo>
                    <a:lnTo>
                      <a:pt x="79" y="126"/>
                    </a:lnTo>
                    <a:lnTo>
                      <a:pt x="79" y="128"/>
                    </a:lnTo>
                    <a:lnTo>
                      <a:pt x="79" y="128"/>
                    </a:lnTo>
                    <a:lnTo>
                      <a:pt x="80" y="137"/>
                    </a:lnTo>
                    <a:lnTo>
                      <a:pt x="82" y="140"/>
                    </a:lnTo>
                    <a:lnTo>
                      <a:pt x="84" y="143"/>
                    </a:lnTo>
                    <a:lnTo>
                      <a:pt x="84" y="143"/>
                    </a:lnTo>
                    <a:lnTo>
                      <a:pt x="96" y="155"/>
                    </a:lnTo>
                    <a:lnTo>
                      <a:pt x="103" y="160"/>
                    </a:lnTo>
                    <a:lnTo>
                      <a:pt x="106" y="166"/>
                    </a:lnTo>
                    <a:lnTo>
                      <a:pt x="106" y="166"/>
                    </a:lnTo>
                    <a:lnTo>
                      <a:pt x="108" y="169"/>
                    </a:lnTo>
                    <a:lnTo>
                      <a:pt x="111" y="173"/>
                    </a:lnTo>
                    <a:lnTo>
                      <a:pt x="115" y="176"/>
                    </a:lnTo>
                    <a:lnTo>
                      <a:pt x="115" y="178"/>
                    </a:lnTo>
                    <a:lnTo>
                      <a:pt x="116" y="176"/>
                    </a:lnTo>
                    <a:lnTo>
                      <a:pt x="116" y="176"/>
                    </a:lnTo>
                    <a:lnTo>
                      <a:pt x="118" y="175"/>
                    </a:lnTo>
                    <a:lnTo>
                      <a:pt x="121" y="173"/>
                    </a:lnTo>
                    <a:lnTo>
                      <a:pt x="122" y="170"/>
                    </a:lnTo>
                    <a:lnTo>
                      <a:pt x="122" y="168"/>
                    </a:lnTo>
                    <a:lnTo>
                      <a:pt x="122" y="168"/>
                    </a:lnTo>
                    <a:lnTo>
                      <a:pt x="119" y="162"/>
                    </a:lnTo>
                    <a:lnTo>
                      <a:pt x="113" y="156"/>
                    </a:lnTo>
                    <a:lnTo>
                      <a:pt x="102" y="146"/>
                    </a:lnTo>
                    <a:lnTo>
                      <a:pt x="102" y="146"/>
                    </a:lnTo>
                    <a:lnTo>
                      <a:pt x="102" y="144"/>
                    </a:lnTo>
                    <a:lnTo>
                      <a:pt x="103" y="144"/>
                    </a:lnTo>
                    <a:lnTo>
                      <a:pt x="105" y="141"/>
                    </a:lnTo>
                    <a:lnTo>
                      <a:pt x="103" y="139"/>
                    </a:lnTo>
                    <a:lnTo>
                      <a:pt x="103" y="139"/>
                    </a:lnTo>
                    <a:lnTo>
                      <a:pt x="96" y="130"/>
                    </a:lnTo>
                    <a:lnTo>
                      <a:pt x="93" y="127"/>
                    </a:lnTo>
                    <a:lnTo>
                      <a:pt x="93" y="124"/>
                    </a:lnTo>
                    <a:lnTo>
                      <a:pt x="93" y="124"/>
                    </a:lnTo>
                    <a:lnTo>
                      <a:pt x="95" y="123"/>
                    </a:lnTo>
                    <a:lnTo>
                      <a:pt x="96" y="123"/>
                    </a:lnTo>
                    <a:lnTo>
                      <a:pt x="97" y="121"/>
                    </a:lnTo>
                    <a:lnTo>
                      <a:pt x="95" y="118"/>
                    </a:lnTo>
                    <a:lnTo>
                      <a:pt x="95" y="118"/>
                    </a:lnTo>
                    <a:lnTo>
                      <a:pt x="86" y="107"/>
                    </a:lnTo>
                    <a:lnTo>
                      <a:pt x="80" y="98"/>
                    </a:lnTo>
                    <a:lnTo>
                      <a:pt x="80" y="98"/>
                    </a:lnTo>
                    <a:lnTo>
                      <a:pt x="74" y="91"/>
                    </a:lnTo>
                    <a:lnTo>
                      <a:pt x="70" y="82"/>
                    </a:lnTo>
                    <a:lnTo>
                      <a:pt x="70" y="82"/>
                    </a:lnTo>
                    <a:lnTo>
                      <a:pt x="66" y="76"/>
                    </a:lnTo>
                    <a:lnTo>
                      <a:pt x="61" y="70"/>
                    </a:lnTo>
                    <a:lnTo>
                      <a:pt x="53" y="60"/>
                    </a:lnTo>
                    <a:lnTo>
                      <a:pt x="53" y="60"/>
                    </a:lnTo>
                    <a:lnTo>
                      <a:pt x="44" y="53"/>
                    </a:lnTo>
                    <a:lnTo>
                      <a:pt x="40" y="50"/>
                    </a:lnTo>
                    <a:lnTo>
                      <a:pt x="38" y="47"/>
                    </a:lnTo>
                    <a:lnTo>
                      <a:pt x="38" y="47"/>
                    </a:lnTo>
                    <a:lnTo>
                      <a:pt x="38" y="39"/>
                    </a:lnTo>
                    <a:lnTo>
                      <a:pt x="35" y="30"/>
                    </a:lnTo>
                    <a:lnTo>
                      <a:pt x="35" y="30"/>
                    </a:lnTo>
                    <a:lnTo>
                      <a:pt x="35" y="27"/>
                    </a:lnTo>
                    <a:lnTo>
                      <a:pt x="35" y="26"/>
                    </a:lnTo>
                    <a:lnTo>
                      <a:pt x="35" y="23"/>
                    </a:lnTo>
                    <a:lnTo>
                      <a:pt x="35" y="20"/>
                    </a:lnTo>
                    <a:lnTo>
                      <a:pt x="35" y="20"/>
                    </a:lnTo>
                    <a:lnTo>
                      <a:pt x="35" y="17"/>
                    </a:lnTo>
                    <a:lnTo>
                      <a:pt x="37" y="15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44" y="18"/>
                    </a:lnTo>
                    <a:lnTo>
                      <a:pt x="47" y="21"/>
                    </a:lnTo>
                    <a:lnTo>
                      <a:pt x="47" y="21"/>
                    </a:lnTo>
                    <a:lnTo>
                      <a:pt x="57" y="27"/>
                    </a:lnTo>
                    <a:lnTo>
                      <a:pt x="57" y="27"/>
                    </a:lnTo>
                    <a:lnTo>
                      <a:pt x="60" y="28"/>
                    </a:lnTo>
                    <a:lnTo>
                      <a:pt x="63" y="28"/>
                    </a:lnTo>
                    <a:lnTo>
                      <a:pt x="63" y="30"/>
                    </a:lnTo>
                    <a:lnTo>
                      <a:pt x="64" y="33"/>
                    </a:lnTo>
                    <a:lnTo>
                      <a:pt x="64" y="33"/>
                    </a:lnTo>
                    <a:lnTo>
                      <a:pt x="64" y="40"/>
                    </a:lnTo>
                    <a:lnTo>
                      <a:pt x="66" y="43"/>
                    </a:lnTo>
                    <a:lnTo>
                      <a:pt x="67" y="44"/>
                    </a:lnTo>
                    <a:lnTo>
                      <a:pt x="67" y="44"/>
                    </a:lnTo>
                    <a:lnTo>
                      <a:pt x="69" y="47"/>
                    </a:lnTo>
                    <a:lnTo>
                      <a:pt x="70" y="52"/>
                    </a:lnTo>
                    <a:lnTo>
                      <a:pt x="71" y="57"/>
                    </a:lnTo>
                    <a:lnTo>
                      <a:pt x="74" y="60"/>
                    </a:lnTo>
                    <a:lnTo>
                      <a:pt x="74" y="60"/>
                    </a:lnTo>
                    <a:lnTo>
                      <a:pt x="76" y="63"/>
                    </a:lnTo>
                    <a:lnTo>
                      <a:pt x="79" y="68"/>
                    </a:lnTo>
                    <a:lnTo>
                      <a:pt x="80" y="72"/>
                    </a:lnTo>
                    <a:lnTo>
                      <a:pt x="84" y="76"/>
                    </a:lnTo>
                    <a:lnTo>
                      <a:pt x="84" y="76"/>
                    </a:lnTo>
                    <a:lnTo>
                      <a:pt x="92" y="84"/>
                    </a:lnTo>
                    <a:lnTo>
                      <a:pt x="102" y="91"/>
                    </a:lnTo>
                    <a:lnTo>
                      <a:pt x="102" y="91"/>
                    </a:lnTo>
                    <a:lnTo>
                      <a:pt x="118" y="104"/>
                    </a:lnTo>
                    <a:lnTo>
                      <a:pt x="124" y="110"/>
                    </a:lnTo>
                    <a:lnTo>
                      <a:pt x="126" y="113"/>
                    </a:lnTo>
                    <a:lnTo>
                      <a:pt x="126" y="113"/>
                    </a:lnTo>
                    <a:lnTo>
                      <a:pt x="125" y="117"/>
                    </a:lnTo>
                    <a:lnTo>
                      <a:pt x="125" y="120"/>
                    </a:lnTo>
                    <a:lnTo>
                      <a:pt x="126" y="123"/>
                    </a:lnTo>
                    <a:lnTo>
                      <a:pt x="126" y="123"/>
                    </a:lnTo>
                    <a:lnTo>
                      <a:pt x="134" y="128"/>
                    </a:lnTo>
                    <a:lnTo>
                      <a:pt x="142" y="136"/>
                    </a:lnTo>
                    <a:lnTo>
                      <a:pt x="142" y="136"/>
                    </a:lnTo>
                    <a:lnTo>
                      <a:pt x="153" y="144"/>
                    </a:lnTo>
                    <a:lnTo>
                      <a:pt x="155" y="149"/>
                    </a:lnTo>
                    <a:lnTo>
                      <a:pt x="158" y="152"/>
                    </a:lnTo>
                    <a:lnTo>
                      <a:pt x="158" y="152"/>
                    </a:lnTo>
                    <a:lnTo>
                      <a:pt x="158" y="155"/>
                    </a:lnTo>
                    <a:lnTo>
                      <a:pt x="161" y="157"/>
                    </a:lnTo>
                    <a:lnTo>
                      <a:pt x="168" y="165"/>
                    </a:lnTo>
                    <a:lnTo>
                      <a:pt x="168" y="165"/>
                    </a:lnTo>
                    <a:lnTo>
                      <a:pt x="173" y="169"/>
                    </a:lnTo>
                    <a:lnTo>
                      <a:pt x="176" y="175"/>
                    </a:lnTo>
                    <a:lnTo>
                      <a:pt x="181" y="185"/>
                    </a:lnTo>
                    <a:lnTo>
                      <a:pt x="181" y="185"/>
                    </a:lnTo>
                    <a:lnTo>
                      <a:pt x="186" y="198"/>
                    </a:lnTo>
                    <a:lnTo>
                      <a:pt x="187" y="208"/>
                    </a:lnTo>
                    <a:lnTo>
                      <a:pt x="187" y="208"/>
                    </a:lnTo>
                    <a:lnTo>
                      <a:pt x="183" y="214"/>
                    </a:lnTo>
                    <a:lnTo>
                      <a:pt x="181" y="217"/>
                    </a:lnTo>
                    <a:lnTo>
                      <a:pt x="181" y="220"/>
                    </a:lnTo>
                    <a:lnTo>
                      <a:pt x="181" y="220"/>
                    </a:lnTo>
                    <a:lnTo>
                      <a:pt x="181" y="224"/>
                    </a:lnTo>
                    <a:lnTo>
                      <a:pt x="183" y="228"/>
                    </a:lnTo>
                    <a:lnTo>
                      <a:pt x="189" y="233"/>
                    </a:lnTo>
                    <a:lnTo>
                      <a:pt x="189" y="233"/>
                    </a:lnTo>
                    <a:lnTo>
                      <a:pt x="206" y="244"/>
                    </a:lnTo>
                    <a:lnTo>
                      <a:pt x="223" y="256"/>
                    </a:lnTo>
                    <a:lnTo>
                      <a:pt x="223" y="256"/>
                    </a:lnTo>
                    <a:lnTo>
                      <a:pt x="229" y="257"/>
                    </a:lnTo>
                    <a:lnTo>
                      <a:pt x="235" y="259"/>
                    </a:lnTo>
                    <a:lnTo>
                      <a:pt x="239" y="260"/>
                    </a:lnTo>
                    <a:lnTo>
                      <a:pt x="244" y="262"/>
                    </a:lnTo>
                    <a:lnTo>
                      <a:pt x="244" y="262"/>
                    </a:lnTo>
                    <a:lnTo>
                      <a:pt x="251" y="267"/>
                    </a:lnTo>
                    <a:lnTo>
                      <a:pt x="261" y="270"/>
                    </a:lnTo>
                    <a:lnTo>
                      <a:pt x="261" y="270"/>
                    </a:lnTo>
                    <a:lnTo>
                      <a:pt x="280" y="276"/>
                    </a:lnTo>
                    <a:lnTo>
                      <a:pt x="290" y="281"/>
                    </a:lnTo>
                    <a:lnTo>
                      <a:pt x="296" y="283"/>
                    </a:lnTo>
                    <a:lnTo>
                      <a:pt x="296" y="283"/>
                    </a:lnTo>
                    <a:lnTo>
                      <a:pt x="303" y="289"/>
                    </a:lnTo>
                    <a:lnTo>
                      <a:pt x="307" y="292"/>
                    </a:lnTo>
                    <a:lnTo>
                      <a:pt x="312" y="292"/>
                    </a:lnTo>
                    <a:lnTo>
                      <a:pt x="312" y="292"/>
                    </a:lnTo>
                    <a:lnTo>
                      <a:pt x="323" y="296"/>
                    </a:lnTo>
                    <a:lnTo>
                      <a:pt x="331" y="296"/>
                    </a:lnTo>
                    <a:lnTo>
                      <a:pt x="335" y="296"/>
                    </a:lnTo>
                    <a:lnTo>
                      <a:pt x="335" y="296"/>
                    </a:lnTo>
                    <a:lnTo>
                      <a:pt x="348" y="289"/>
                    </a:lnTo>
                    <a:lnTo>
                      <a:pt x="355" y="286"/>
                    </a:lnTo>
                    <a:lnTo>
                      <a:pt x="360" y="285"/>
                    </a:lnTo>
                    <a:lnTo>
                      <a:pt x="363" y="286"/>
                    </a:lnTo>
                    <a:lnTo>
                      <a:pt x="363" y="286"/>
                    </a:lnTo>
                    <a:lnTo>
                      <a:pt x="371" y="289"/>
                    </a:lnTo>
                    <a:lnTo>
                      <a:pt x="377" y="292"/>
                    </a:lnTo>
                    <a:lnTo>
                      <a:pt x="377" y="292"/>
                    </a:lnTo>
                    <a:lnTo>
                      <a:pt x="380" y="295"/>
                    </a:lnTo>
                    <a:lnTo>
                      <a:pt x="384" y="301"/>
                    </a:lnTo>
                    <a:lnTo>
                      <a:pt x="389" y="307"/>
                    </a:lnTo>
                    <a:lnTo>
                      <a:pt x="394" y="312"/>
                    </a:lnTo>
                    <a:lnTo>
                      <a:pt x="394" y="312"/>
                    </a:lnTo>
                    <a:lnTo>
                      <a:pt x="397" y="315"/>
                    </a:lnTo>
                    <a:lnTo>
                      <a:pt x="397" y="315"/>
                    </a:lnTo>
                    <a:lnTo>
                      <a:pt x="399" y="305"/>
                    </a:lnTo>
                    <a:lnTo>
                      <a:pt x="402" y="299"/>
                    </a:lnTo>
                    <a:lnTo>
                      <a:pt x="402" y="299"/>
                    </a:lnTo>
                    <a:lnTo>
                      <a:pt x="406" y="298"/>
                    </a:lnTo>
                    <a:lnTo>
                      <a:pt x="413" y="296"/>
                    </a:lnTo>
                    <a:lnTo>
                      <a:pt x="420" y="295"/>
                    </a:lnTo>
                    <a:lnTo>
                      <a:pt x="426" y="292"/>
                    </a:lnTo>
                    <a:lnTo>
                      <a:pt x="426" y="292"/>
                    </a:lnTo>
                    <a:lnTo>
                      <a:pt x="426" y="289"/>
                    </a:lnTo>
                    <a:lnTo>
                      <a:pt x="425" y="288"/>
                    </a:lnTo>
                    <a:lnTo>
                      <a:pt x="420" y="281"/>
                    </a:lnTo>
                    <a:lnTo>
                      <a:pt x="416" y="275"/>
                    </a:lnTo>
                    <a:lnTo>
                      <a:pt x="413" y="269"/>
                    </a:lnTo>
                    <a:lnTo>
                      <a:pt x="413" y="269"/>
                    </a:lnTo>
                    <a:lnTo>
                      <a:pt x="413" y="262"/>
                    </a:lnTo>
                    <a:lnTo>
                      <a:pt x="413" y="260"/>
                    </a:lnTo>
                    <a:lnTo>
                      <a:pt x="452" y="260"/>
                    </a:lnTo>
                    <a:lnTo>
                      <a:pt x="452" y="260"/>
                    </a:lnTo>
                    <a:lnTo>
                      <a:pt x="455" y="257"/>
                    </a:lnTo>
                    <a:lnTo>
                      <a:pt x="460" y="254"/>
                    </a:lnTo>
                    <a:lnTo>
                      <a:pt x="464" y="253"/>
                    </a:lnTo>
                    <a:lnTo>
                      <a:pt x="464" y="253"/>
                    </a:lnTo>
                    <a:lnTo>
                      <a:pt x="462" y="249"/>
                    </a:lnTo>
                    <a:lnTo>
                      <a:pt x="464" y="247"/>
                    </a:lnTo>
                    <a:lnTo>
                      <a:pt x="465" y="249"/>
                    </a:lnTo>
                    <a:lnTo>
                      <a:pt x="465" y="249"/>
                    </a:lnTo>
                    <a:lnTo>
                      <a:pt x="470" y="252"/>
                    </a:lnTo>
                    <a:lnTo>
                      <a:pt x="474" y="249"/>
                    </a:lnTo>
                    <a:lnTo>
                      <a:pt x="474" y="249"/>
                    </a:lnTo>
                    <a:lnTo>
                      <a:pt x="474" y="247"/>
                    </a:lnTo>
                    <a:lnTo>
                      <a:pt x="475" y="244"/>
                    </a:lnTo>
                    <a:lnTo>
                      <a:pt x="475" y="236"/>
                    </a:lnTo>
                    <a:lnTo>
                      <a:pt x="475" y="227"/>
                    </a:lnTo>
                    <a:lnTo>
                      <a:pt x="477" y="223"/>
                    </a:lnTo>
                    <a:lnTo>
                      <a:pt x="478" y="221"/>
                    </a:lnTo>
                    <a:lnTo>
                      <a:pt x="478" y="221"/>
                    </a:lnTo>
                    <a:lnTo>
                      <a:pt x="483" y="215"/>
                    </a:lnTo>
                    <a:lnTo>
                      <a:pt x="486" y="210"/>
                    </a:lnTo>
                    <a:lnTo>
                      <a:pt x="486" y="210"/>
                    </a:lnTo>
                    <a:lnTo>
                      <a:pt x="486" y="204"/>
                    </a:lnTo>
                    <a:lnTo>
                      <a:pt x="484" y="202"/>
                    </a:lnTo>
                    <a:lnTo>
                      <a:pt x="483" y="201"/>
                    </a:lnTo>
                    <a:lnTo>
                      <a:pt x="483" y="201"/>
                    </a:lnTo>
                    <a:lnTo>
                      <a:pt x="478" y="202"/>
                    </a:lnTo>
                    <a:lnTo>
                      <a:pt x="475" y="202"/>
                    </a:lnTo>
                    <a:lnTo>
                      <a:pt x="474" y="202"/>
                    </a:lnTo>
                    <a:lnTo>
                      <a:pt x="474" y="202"/>
                    </a:lnTo>
                    <a:lnTo>
                      <a:pt x="471" y="199"/>
                    </a:lnTo>
                    <a:lnTo>
                      <a:pt x="470" y="198"/>
                    </a:lnTo>
                    <a:lnTo>
                      <a:pt x="468" y="198"/>
                    </a:lnTo>
                    <a:lnTo>
                      <a:pt x="468" y="198"/>
                    </a:lnTo>
                    <a:lnTo>
                      <a:pt x="462" y="199"/>
                    </a:lnTo>
                    <a:lnTo>
                      <a:pt x="460" y="201"/>
                    </a:lnTo>
                    <a:lnTo>
                      <a:pt x="457" y="199"/>
                    </a:lnTo>
                    <a:lnTo>
                      <a:pt x="457" y="199"/>
                    </a:lnTo>
                    <a:lnTo>
                      <a:pt x="452" y="199"/>
                    </a:lnTo>
                    <a:lnTo>
                      <a:pt x="445" y="199"/>
                    </a:lnTo>
                    <a:lnTo>
                      <a:pt x="445" y="199"/>
                    </a:lnTo>
                    <a:lnTo>
                      <a:pt x="442" y="202"/>
                    </a:lnTo>
                    <a:lnTo>
                      <a:pt x="438" y="205"/>
                    </a:lnTo>
                    <a:lnTo>
                      <a:pt x="432" y="211"/>
                    </a:lnTo>
                    <a:lnTo>
                      <a:pt x="432" y="211"/>
                    </a:lnTo>
                    <a:lnTo>
                      <a:pt x="428" y="217"/>
                    </a:lnTo>
                    <a:lnTo>
                      <a:pt x="426" y="221"/>
                    </a:lnTo>
                    <a:lnTo>
                      <a:pt x="425" y="224"/>
                    </a:lnTo>
                    <a:lnTo>
                      <a:pt x="425" y="224"/>
                    </a:lnTo>
                    <a:lnTo>
                      <a:pt x="425" y="228"/>
                    </a:lnTo>
                    <a:lnTo>
                      <a:pt x="425" y="230"/>
                    </a:lnTo>
                    <a:lnTo>
                      <a:pt x="423" y="231"/>
                    </a:lnTo>
                    <a:lnTo>
                      <a:pt x="423" y="231"/>
                    </a:lnTo>
                    <a:lnTo>
                      <a:pt x="423" y="231"/>
                    </a:lnTo>
                    <a:lnTo>
                      <a:pt x="423" y="233"/>
                    </a:lnTo>
                    <a:lnTo>
                      <a:pt x="425" y="234"/>
                    </a:lnTo>
                    <a:lnTo>
                      <a:pt x="425" y="236"/>
                    </a:lnTo>
                    <a:lnTo>
                      <a:pt x="425" y="236"/>
                    </a:lnTo>
                    <a:lnTo>
                      <a:pt x="422" y="239"/>
                    </a:lnTo>
                    <a:lnTo>
                      <a:pt x="419" y="243"/>
                    </a:lnTo>
                    <a:lnTo>
                      <a:pt x="416" y="247"/>
                    </a:lnTo>
                    <a:lnTo>
                      <a:pt x="413" y="249"/>
                    </a:lnTo>
                    <a:lnTo>
                      <a:pt x="409" y="249"/>
                    </a:lnTo>
                    <a:lnTo>
                      <a:pt x="409" y="249"/>
                    </a:lnTo>
                    <a:lnTo>
                      <a:pt x="399" y="246"/>
                    </a:lnTo>
                    <a:lnTo>
                      <a:pt x="394" y="246"/>
                    </a:lnTo>
                    <a:lnTo>
                      <a:pt x="393" y="247"/>
                    </a:lnTo>
                    <a:lnTo>
                      <a:pt x="393" y="247"/>
                    </a:lnTo>
                    <a:lnTo>
                      <a:pt x="390" y="252"/>
                    </a:lnTo>
                    <a:lnTo>
                      <a:pt x="389" y="252"/>
                    </a:lnTo>
                    <a:lnTo>
                      <a:pt x="386" y="252"/>
                    </a:lnTo>
                    <a:lnTo>
                      <a:pt x="386" y="252"/>
                    </a:lnTo>
                    <a:lnTo>
                      <a:pt x="378" y="250"/>
                    </a:lnTo>
                    <a:lnTo>
                      <a:pt x="376" y="250"/>
                    </a:lnTo>
                    <a:lnTo>
                      <a:pt x="376" y="250"/>
                    </a:lnTo>
                    <a:lnTo>
                      <a:pt x="371" y="253"/>
                    </a:lnTo>
                    <a:lnTo>
                      <a:pt x="370" y="254"/>
                    </a:lnTo>
                    <a:lnTo>
                      <a:pt x="367" y="254"/>
                    </a:lnTo>
                    <a:lnTo>
                      <a:pt x="367" y="254"/>
                    </a:lnTo>
                    <a:lnTo>
                      <a:pt x="364" y="252"/>
                    </a:lnTo>
                    <a:lnTo>
                      <a:pt x="360" y="250"/>
                    </a:lnTo>
                    <a:lnTo>
                      <a:pt x="360" y="250"/>
                    </a:lnTo>
                    <a:lnTo>
                      <a:pt x="348" y="247"/>
                    </a:lnTo>
                    <a:lnTo>
                      <a:pt x="342" y="246"/>
                    </a:lnTo>
                    <a:lnTo>
                      <a:pt x="341" y="244"/>
                    </a:lnTo>
                    <a:lnTo>
                      <a:pt x="339" y="243"/>
                    </a:lnTo>
                    <a:lnTo>
                      <a:pt x="339" y="243"/>
                    </a:lnTo>
                    <a:lnTo>
                      <a:pt x="339" y="240"/>
                    </a:lnTo>
                    <a:lnTo>
                      <a:pt x="338" y="237"/>
                    </a:lnTo>
                    <a:lnTo>
                      <a:pt x="338" y="237"/>
                    </a:lnTo>
                    <a:lnTo>
                      <a:pt x="335" y="234"/>
                    </a:lnTo>
                    <a:lnTo>
                      <a:pt x="335" y="231"/>
                    </a:lnTo>
                    <a:lnTo>
                      <a:pt x="334" y="225"/>
                    </a:lnTo>
                    <a:lnTo>
                      <a:pt x="334" y="225"/>
                    </a:lnTo>
                    <a:lnTo>
                      <a:pt x="331" y="223"/>
                    </a:lnTo>
                    <a:lnTo>
                      <a:pt x="326" y="220"/>
                    </a:lnTo>
                    <a:lnTo>
                      <a:pt x="322" y="215"/>
                    </a:lnTo>
                    <a:lnTo>
                      <a:pt x="321" y="214"/>
                    </a:lnTo>
                    <a:lnTo>
                      <a:pt x="319" y="211"/>
                    </a:lnTo>
                    <a:lnTo>
                      <a:pt x="319" y="211"/>
                    </a:lnTo>
                    <a:lnTo>
                      <a:pt x="319" y="207"/>
                    </a:lnTo>
                    <a:lnTo>
                      <a:pt x="319" y="202"/>
                    </a:lnTo>
                    <a:lnTo>
                      <a:pt x="319" y="199"/>
                    </a:lnTo>
                    <a:lnTo>
                      <a:pt x="316" y="195"/>
                    </a:lnTo>
                    <a:lnTo>
                      <a:pt x="316" y="195"/>
                    </a:lnTo>
                    <a:lnTo>
                      <a:pt x="310" y="186"/>
                    </a:lnTo>
                    <a:lnTo>
                      <a:pt x="310" y="182"/>
                    </a:lnTo>
                    <a:lnTo>
                      <a:pt x="310" y="179"/>
                    </a:lnTo>
                    <a:lnTo>
                      <a:pt x="310" y="179"/>
                    </a:lnTo>
                    <a:lnTo>
                      <a:pt x="310" y="175"/>
                    </a:lnTo>
                    <a:lnTo>
                      <a:pt x="309" y="169"/>
                    </a:lnTo>
                    <a:lnTo>
                      <a:pt x="307" y="163"/>
                    </a:lnTo>
                    <a:lnTo>
                      <a:pt x="309" y="157"/>
                    </a:lnTo>
                    <a:lnTo>
                      <a:pt x="309" y="157"/>
                    </a:lnTo>
                    <a:lnTo>
                      <a:pt x="313" y="147"/>
                    </a:lnTo>
                    <a:lnTo>
                      <a:pt x="315" y="141"/>
                    </a:lnTo>
                    <a:lnTo>
                      <a:pt x="318" y="137"/>
                    </a:lnTo>
                    <a:lnTo>
                      <a:pt x="318" y="137"/>
                    </a:lnTo>
                    <a:lnTo>
                      <a:pt x="319" y="131"/>
                    </a:lnTo>
                    <a:lnTo>
                      <a:pt x="321" y="123"/>
                    </a:lnTo>
                    <a:lnTo>
                      <a:pt x="321" y="123"/>
                    </a:lnTo>
                    <a:lnTo>
                      <a:pt x="299" y="117"/>
                    </a:lnTo>
                    <a:lnTo>
                      <a:pt x="292" y="114"/>
                    </a:lnTo>
                    <a:lnTo>
                      <a:pt x="287" y="111"/>
                    </a:lnTo>
                    <a:lnTo>
                      <a:pt x="287" y="111"/>
                    </a:lnTo>
                    <a:lnTo>
                      <a:pt x="284" y="107"/>
                    </a:lnTo>
                    <a:lnTo>
                      <a:pt x="281" y="101"/>
                    </a:lnTo>
                    <a:lnTo>
                      <a:pt x="279" y="95"/>
                    </a:lnTo>
                    <a:lnTo>
                      <a:pt x="276" y="9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2" name="Freeform 695"/>
              <p:cNvSpPr>
                <a:spLocks noEditPoints="1"/>
              </p:cNvSpPr>
              <p:nvPr/>
            </p:nvSpPr>
            <p:spPr bwMode="auto">
              <a:xfrm>
                <a:off x="2417392" y="2429772"/>
                <a:ext cx="921990" cy="490673"/>
              </a:xfrm>
              <a:custGeom>
                <a:avLst/>
                <a:gdLst>
                  <a:gd name="T0" fmla="*/ 917 w 932"/>
                  <a:gd name="T1" fmla="*/ 44 h 496"/>
                  <a:gd name="T2" fmla="*/ 868 w 932"/>
                  <a:gd name="T3" fmla="*/ 82 h 496"/>
                  <a:gd name="T4" fmla="*/ 784 w 932"/>
                  <a:gd name="T5" fmla="*/ 121 h 496"/>
                  <a:gd name="T6" fmla="*/ 755 w 932"/>
                  <a:gd name="T7" fmla="*/ 134 h 496"/>
                  <a:gd name="T8" fmla="*/ 710 w 932"/>
                  <a:gd name="T9" fmla="*/ 162 h 496"/>
                  <a:gd name="T10" fmla="*/ 677 w 932"/>
                  <a:gd name="T11" fmla="*/ 168 h 496"/>
                  <a:gd name="T12" fmla="*/ 684 w 932"/>
                  <a:gd name="T13" fmla="*/ 139 h 496"/>
                  <a:gd name="T14" fmla="*/ 665 w 932"/>
                  <a:gd name="T15" fmla="*/ 127 h 496"/>
                  <a:gd name="T16" fmla="*/ 665 w 932"/>
                  <a:gd name="T17" fmla="*/ 89 h 496"/>
                  <a:gd name="T18" fmla="*/ 651 w 932"/>
                  <a:gd name="T19" fmla="*/ 76 h 496"/>
                  <a:gd name="T20" fmla="*/ 632 w 932"/>
                  <a:gd name="T21" fmla="*/ 94 h 496"/>
                  <a:gd name="T22" fmla="*/ 619 w 932"/>
                  <a:gd name="T23" fmla="*/ 150 h 496"/>
                  <a:gd name="T24" fmla="*/ 599 w 932"/>
                  <a:gd name="T25" fmla="*/ 160 h 496"/>
                  <a:gd name="T26" fmla="*/ 599 w 932"/>
                  <a:gd name="T27" fmla="*/ 104 h 496"/>
                  <a:gd name="T28" fmla="*/ 613 w 932"/>
                  <a:gd name="T29" fmla="*/ 76 h 496"/>
                  <a:gd name="T30" fmla="*/ 648 w 932"/>
                  <a:gd name="T31" fmla="*/ 71 h 496"/>
                  <a:gd name="T32" fmla="*/ 638 w 932"/>
                  <a:gd name="T33" fmla="*/ 60 h 496"/>
                  <a:gd name="T34" fmla="*/ 615 w 932"/>
                  <a:gd name="T35" fmla="*/ 59 h 496"/>
                  <a:gd name="T36" fmla="*/ 587 w 932"/>
                  <a:gd name="T37" fmla="*/ 50 h 496"/>
                  <a:gd name="T38" fmla="*/ 564 w 932"/>
                  <a:gd name="T39" fmla="*/ 53 h 496"/>
                  <a:gd name="T40" fmla="*/ 528 w 932"/>
                  <a:gd name="T41" fmla="*/ 53 h 496"/>
                  <a:gd name="T42" fmla="*/ 545 w 932"/>
                  <a:gd name="T43" fmla="*/ 36 h 496"/>
                  <a:gd name="T44" fmla="*/ 552 w 932"/>
                  <a:gd name="T45" fmla="*/ 17 h 496"/>
                  <a:gd name="T46" fmla="*/ 502 w 932"/>
                  <a:gd name="T47" fmla="*/ 13 h 496"/>
                  <a:gd name="T48" fmla="*/ 35 w 932"/>
                  <a:gd name="T49" fmla="*/ 24 h 496"/>
                  <a:gd name="T50" fmla="*/ 2 w 932"/>
                  <a:gd name="T51" fmla="*/ 17 h 496"/>
                  <a:gd name="T52" fmla="*/ 9 w 932"/>
                  <a:gd name="T53" fmla="*/ 92 h 496"/>
                  <a:gd name="T54" fmla="*/ 8 w 932"/>
                  <a:gd name="T55" fmla="*/ 166 h 496"/>
                  <a:gd name="T56" fmla="*/ 24 w 932"/>
                  <a:gd name="T57" fmla="*/ 233 h 496"/>
                  <a:gd name="T58" fmla="*/ 58 w 932"/>
                  <a:gd name="T59" fmla="*/ 294 h 496"/>
                  <a:gd name="T60" fmla="*/ 97 w 932"/>
                  <a:gd name="T61" fmla="*/ 320 h 496"/>
                  <a:gd name="T62" fmla="*/ 294 w 932"/>
                  <a:gd name="T63" fmla="*/ 370 h 496"/>
                  <a:gd name="T64" fmla="*/ 352 w 932"/>
                  <a:gd name="T65" fmla="*/ 422 h 496"/>
                  <a:gd name="T66" fmla="*/ 390 w 932"/>
                  <a:gd name="T67" fmla="*/ 424 h 496"/>
                  <a:gd name="T68" fmla="*/ 447 w 932"/>
                  <a:gd name="T69" fmla="*/ 475 h 496"/>
                  <a:gd name="T70" fmla="*/ 449 w 932"/>
                  <a:gd name="T71" fmla="*/ 438 h 496"/>
                  <a:gd name="T72" fmla="*/ 483 w 932"/>
                  <a:gd name="T73" fmla="*/ 409 h 496"/>
                  <a:gd name="T74" fmla="*/ 532 w 932"/>
                  <a:gd name="T75" fmla="*/ 408 h 496"/>
                  <a:gd name="T76" fmla="*/ 567 w 932"/>
                  <a:gd name="T77" fmla="*/ 408 h 496"/>
                  <a:gd name="T78" fmla="*/ 599 w 932"/>
                  <a:gd name="T79" fmla="*/ 398 h 496"/>
                  <a:gd name="T80" fmla="*/ 633 w 932"/>
                  <a:gd name="T81" fmla="*/ 402 h 496"/>
                  <a:gd name="T82" fmla="*/ 668 w 932"/>
                  <a:gd name="T83" fmla="*/ 411 h 496"/>
                  <a:gd name="T84" fmla="*/ 688 w 932"/>
                  <a:gd name="T85" fmla="*/ 462 h 496"/>
                  <a:gd name="T86" fmla="*/ 709 w 932"/>
                  <a:gd name="T87" fmla="*/ 488 h 496"/>
                  <a:gd name="T88" fmla="*/ 713 w 932"/>
                  <a:gd name="T89" fmla="*/ 433 h 496"/>
                  <a:gd name="T90" fmla="*/ 709 w 932"/>
                  <a:gd name="T91" fmla="*/ 360 h 496"/>
                  <a:gd name="T92" fmla="*/ 755 w 932"/>
                  <a:gd name="T93" fmla="*/ 331 h 496"/>
                  <a:gd name="T94" fmla="*/ 780 w 932"/>
                  <a:gd name="T95" fmla="*/ 304 h 496"/>
                  <a:gd name="T96" fmla="*/ 783 w 932"/>
                  <a:gd name="T97" fmla="*/ 269 h 496"/>
                  <a:gd name="T98" fmla="*/ 785 w 932"/>
                  <a:gd name="T99" fmla="*/ 244 h 496"/>
                  <a:gd name="T100" fmla="*/ 798 w 932"/>
                  <a:gd name="T101" fmla="*/ 253 h 496"/>
                  <a:gd name="T102" fmla="*/ 803 w 932"/>
                  <a:gd name="T103" fmla="*/ 223 h 496"/>
                  <a:gd name="T104" fmla="*/ 822 w 932"/>
                  <a:gd name="T105" fmla="*/ 192 h 496"/>
                  <a:gd name="T106" fmla="*/ 851 w 932"/>
                  <a:gd name="T107" fmla="*/ 185 h 496"/>
                  <a:gd name="T108" fmla="*/ 875 w 932"/>
                  <a:gd name="T109" fmla="*/ 165 h 496"/>
                  <a:gd name="T110" fmla="*/ 881 w 932"/>
                  <a:gd name="T111" fmla="*/ 130 h 496"/>
                  <a:gd name="T112" fmla="*/ 932 w 932"/>
                  <a:gd name="T113" fmla="*/ 98 h 496"/>
                  <a:gd name="T114" fmla="*/ 196 w 932"/>
                  <a:gd name="T115" fmla="*/ 189 h 496"/>
                  <a:gd name="T116" fmla="*/ 196 w 932"/>
                  <a:gd name="T117" fmla="*/ 178 h 496"/>
                  <a:gd name="T118" fmla="*/ 232 w 932"/>
                  <a:gd name="T119" fmla="*/ 262 h 496"/>
                  <a:gd name="T120" fmla="*/ 232 w 932"/>
                  <a:gd name="T121" fmla="*/ 253 h 496"/>
                  <a:gd name="T122" fmla="*/ 276 w 932"/>
                  <a:gd name="T123" fmla="*/ 37 h 496"/>
                  <a:gd name="T124" fmla="*/ 261 w 932"/>
                  <a:gd name="T125" fmla="*/ 30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32" h="496">
                    <a:moveTo>
                      <a:pt x="924" y="85"/>
                    </a:moveTo>
                    <a:lnTo>
                      <a:pt x="924" y="85"/>
                    </a:lnTo>
                    <a:lnTo>
                      <a:pt x="926" y="79"/>
                    </a:lnTo>
                    <a:lnTo>
                      <a:pt x="926" y="75"/>
                    </a:lnTo>
                    <a:lnTo>
                      <a:pt x="923" y="71"/>
                    </a:lnTo>
                    <a:lnTo>
                      <a:pt x="923" y="71"/>
                    </a:lnTo>
                    <a:lnTo>
                      <a:pt x="922" y="68"/>
                    </a:lnTo>
                    <a:lnTo>
                      <a:pt x="922" y="65"/>
                    </a:lnTo>
                    <a:lnTo>
                      <a:pt x="920" y="56"/>
                    </a:lnTo>
                    <a:lnTo>
                      <a:pt x="920" y="47"/>
                    </a:lnTo>
                    <a:lnTo>
                      <a:pt x="919" y="44"/>
                    </a:lnTo>
                    <a:lnTo>
                      <a:pt x="917" y="44"/>
                    </a:lnTo>
                    <a:lnTo>
                      <a:pt x="917" y="44"/>
                    </a:lnTo>
                    <a:lnTo>
                      <a:pt x="904" y="42"/>
                    </a:lnTo>
                    <a:lnTo>
                      <a:pt x="898" y="43"/>
                    </a:lnTo>
                    <a:lnTo>
                      <a:pt x="894" y="44"/>
                    </a:lnTo>
                    <a:lnTo>
                      <a:pt x="894" y="44"/>
                    </a:lnTo>
                    <a:lnTo>
                      <a:pt x="890" y="47"/>
                    </a:lnTo>
                    <a:lnTo>
                      <a:pt x="884" y="53"/>
                    </a:lnTo>
                    <a:lnTo>
                      <a:pt x="880" y="60"/>
                    </a:lnTo>
                    <a:lnTo>
                      <a:pt x="878" y="66"/>
                    </a:lnTo>
                    <a:lnTo>
                      <a:pt x="878" y="66"/>
                    </a:lnTo>
                    <a:lnTo>
                      <a:pt x="875" y="73"/>
                    </a:lnTo>
                    <a:lnTo>
                      <a:pt x="868" y="82"/>
                    </a:lnTo>
                    <a:lnTo>
                      <a:pt x="861" y="91"/>
                    </a:lnTo>
                    <a:lnTo>
                      <a:pt x="856" y="95"/>
                    </a:lnTo>
                    <a:lnTo>
                      <a:pt x="856" y="95"/>
                    </a:lnTo>
                    <a:lnTo>
                      <a:pt x="836" y="97"/>
                    </a:lnTo>
                    <a:lnTo>
                      <a:pt x="814" y="97"/>
                    </a:lnTo>
                    <a:lnTo>
                      <a:pt x="814" y="97"/>
                    </a:lnTo>
                    <a:lnTo>
                      <a:pt x="807" y="98"/>
                    </a:lnTo>
                    <a:lnTo>
                      <a:pt x="798" y="104"/>
                    </a:lnTo>
                    <a:lnTo>
                      <a:pt x="780" y="115"/>
                    </a:lnTo>
                    <a:lnTo>
                      <a:pt x="780" y="115"/>
                    </a:lnTo>
                    <a:lnTo>
                      <a:pt x="783" y="118"/>
                    </a:lnTo>
                    <a:lnTo>
                      <a:pt x="784" y="121"/>
                    </a:lnTo>
                    <a:lnTo>
                      <a:pt x="784" y="124"/>
                    </a:lnTo>
                    <a:lnTo>
                      <a:pt x="784" y="127"/>
                    </a:lnTo>
                    <a:lnTo>
                      <a:pt x="784" y="127"/>
                    </a:lnTo>
                    <a:lnTo>
                      <a:pt x="781" y="133"/>
                    </a:lnTo>
                    <a:lnTo>
                      <a:pt x="778" y="136"/>
                    </a:lnTo>
                    <a:lnTo>
                      <a:pt x="774" y="137"/>
                    </a:lnTo>
                    <a:lnTo>
                      <a:pt x="774" y="137"/>
                    </a:lnTo>
                    <a:lnTo>
                      <a:pt x="767" y="137"/>
                    </a:lnTo>
                    <a:lnTo>
                      <a:pt x="762" y="137"/>
                    </a:lnTo>
                    <a:lnTo>
                      <a:pt x="758" y="136"/>
                    </a:lnTo>
                    <a:lnTo>
                      <a:pt x="758" y="136"/>
                    </a:lnTo>
                    <a:lnTo>
                      <a:pt x="755" y="134"/>
                    </a:lnTo>
                    <a:lnTo>
                      <a:pt x="751" y="134"/>
                    </a:lnTo>
                    <a:lnTo>
                      <a:pt x="751" y="134"/>
                    </a:lnTo>
                    <a:lnTo>
                      <a:pt x="730" y="144"/>
                    </a:lnTo>
                    <a:lnTo>
                      <a:pt x="730" y="144"/>
                    </a:lnTo>
                    <a:lnTo>
                      <a:pt x="736" y="147"/>
                    </a:lnTo>
                    <a:lnTo>
                      <a:pt x="738" y="149"/>
                    </a:lnTo>
                    <a:lnTo>
                      <a:pt x="738" y="149"/>
                    </a:lnTo>
                    <a:lnTo>
                      <a:pt x="736" y="150"/>
                    </a:lnTo>
                    <a:lnTo>
                      <a:pt x="733" y="153"/>
                    </a:lnTo>
                    <a:lnTo>
                      <a:pt x="726" y="156"/>
                    </a:lnTo>
                    <a:lnTo>
                      <a:pt x="710" y="162"/>
                    </a:lnTo>
                    <a:lnTo>
                      <a:pt x="710" y="162"/>
                    </a:lnTo>
                    <a:lnTo>
                      <a:pt x="694" y="169"/>
                    </a:lnTo>
                    <a:lnTo>
                      <a:pt x="685" y="173"/>
                    </a:lnTo>
                    <a:lnTo>
                      <a:pt x="681" y="175"/>
                    </a:lnTo>
                    <a:lnTo>
                      <a:pt x="681" y="175"/>
                    </a:lnTo>
                    <a:lnTo>
                      <a:pt x="675" y="173"/>
                    </a:lnTo>
                    <a:lnTo>
                      <a:pt x="672" y="170"/>
                    </a:lnTo>
                    <a:lnTo>
                      <a:pt x="672" y="170"/>
                    </a:lnTo>
                    <a:lnTo>
                      <a:pt x="672" y="169"/>
                    </a:lnTo>
                    <a:lnTo>
                      <a:pt x="674" y="169"/>
                    </a:lnTo>
                    <a:lnTo>
                      <a:pt x="675" y="168"/>
                    </a:lnTo>
                    <a:lnTo>
                      <a:pt x="675" y="168"/>
                    </a:lnTo>
                    <a:lnTo>
                      <a:pt x="677" y="168"/>
                    </a:lnTo>
                    <a:lnTo>
                      <a:pt x="678" y="165"/>
                    </a:lnTo>
                    <a:lnTo>
                      <a:pt x="678" y="162"/>
                    </a:lnTo>
                    <a:lnTo>
                      <a:pt x="677" y="159"/>
                    </a:lnTo>
                    <a:lnTo>
                      <a:pt x="677" y="159"/>
                    </a:lnTo>
                    <a:lnTo>
                      <a:pt x="675" y="155"/>
                    </a:lnTo>
                    <a:lnTo>
                      <a:pt x="677" y="153"/>
                    </a:lnTo>
                    <a:lnTo>
                      <a:pt x="678" y="153"/>
                    </a:lnTo>
                    <a:lnTo>
                      <a:pt x="678" y="153"/>
                    </a:lnTo>
                    <a:lnTo>
                      <a:pt x="680" y="147"/>
                    </a:lnTo>
                    <a:lnTo>
                      <a:pt x="683" y="141"/>
                    </a:lnTo>
                    <a:lnTo>
                      <a:pt x="683" y="141"/>
                    </a:lnTo>
                    <a:lnTo>
                      <a:pt x="684" y="139"/>
                    </a:lnTo>
                    <a:lnTo>
                      <a:pt x="684" y="139"/>
                    </a:lnTo>
                    <a:lnTo>
                      <a:pt x="683" y="134"/>
                    </a:lnTo>
                    <a:lnTo>
                      <a:pt x="683" y="127"/>
                    </a:lnTo>
                    <a:lnTo>
                      <a:pt x="683" y="127"/>
                    </a:lnTo>
                    <a:lnTo>
                      <a:pt x="681" y="123"/>
                    </a:lnTo>
                    <a:lnTo>
                      <a:pt x="678" y="120"/>
                    </a:lnTo>
                    <a:lnTo>
                      <a:pt x="677" y="118"/>
                    </a:lnTo>
                    <a:lnTo>
                      <a:pt x="674" y="118"/>
                    </a:lnTo>
                    <a:lnTo>
                      <a:pt x="674" y="118"/>
                    </a:lnTo>
                    <a:lnTo>
                      <a:pt x="671" y="120"/>
                    </a:lnTo>
                    <a:lnTo>
                      <a:pt x="668" y="124"/>
                    </a:lnTo>
                    <a:lnTo>
                      <a:pt x="665" y="127"/>
                    </a:lnTo>
                    <a:lnTo>
                      <a:pt x="662" y="128"/>
                    </a:lnTo>
                    <a:lnTo>
                      <a:pt x="662" y="128"/>
                    </a:lnTo>
                    <a:lnTo>
                      <a:pt x="661" y="127"/>
                    </a:lnTo>
                    <a:lnTo>
                      <a:pt x="661" y="124"/>
                    </a:lnTo>
                    <a:lnTo>
                      <a:pt x="661" y="121"/>
                    </a:lnTo>
                    <a:lnTo>
                      <a:pt x="661" y="118"/>
                    </a:lnTo>
                    <a:lnTo>
                      <a:pt x="661" y="118"/>
                    </a:lnTo>
                    <a:lnTo>
                      <a:pt x="665" y="114"/>
                    </a:lnTo>
                    <a:lnTo>
                      <a:pt x="668" y="110"/>
                    </a:lnTo>
                    <a:lnTo>
                      <a:pt x="668" y="110"/>
                    </a:lnTo>
                    <a:lnTo>
                      <a:pt x="667" y="99"/>
                    </a:lnTo>
                    <a:lnTo>
                      <a:pt x="665" y="89"/>
                    </a:lnTo>
                    <a:lnTo>
                      <a:pt x="665" y="89"/>
                    </a:lnTo>
                    <a:lnTo>
                      <a:pt x="662" y="85"/>
                    </a:lnTo>
                    <a:lnTo>
                      <a:pt x="659" y="84"/>
                    </a:lnTo>
                    <a:lnTo>
                      <a:pt x="658" y="85"/>
                    </a:lnTo>
                    <a:lnTo>
                      <a:pt x="658" y="85"/>
                    </a:lnTo>
                    <a:lnTo>
                      <a:pt x="658" y="85"/>
                    </a:lnTo>
                    <a:lnTo>
                      <a:pt x="657" y="85"/>
                    </a:lnTo>
                    <a:lnTo>
                      <a:pt x="654" y="82"/>
                    </a:lnTo>
                    <a:lnTo>
                      <a:pt x="654" y="82"/>
                    </a:lnTo>
                    <a:lnTo>
                      <a:pt x="652" y="79"/>
                    </a:lnTo>
                    <a:lnTo>
                      <a:pt x="651" y="78"/>
                    </a:lnTo>
                    <a:lnTo>
                      <a:pt x="651" y="76"/>
                    </a:lnTo>
                    <a:lnTo>
                      <a:pt x="649" y="76"/>
                    </a:lnTo>
                    <a:lnTo>
                      <a:pt x="649" y="76"/>
                    </a:lnTo>
                    <a:lnTo>
                      <a:pt x="646" y="76"/>
                    </a:lnTo>
                    <a:lnTo>
                      <a:pt x="642" y="78"/>
                    </a:lnTo>
                    <a:lnTo>
                      <a:pt x="642" y="78"/>
                    </a:lnTo>
                    <a:lnTo>
                      <a:pt x="641" y="81"/>
                    </a:lnTo>
                    <a:lnTo>
                      <a:pt x="639" y="82"/>
                    </a:lnTo>
                    <a:lnTo>
                      <a:pt x="638" y="88"/>
                    </a:lnTo>
                    <a:lnTo>
                      <a:pt x="638" y="88"/>
                    </a:lnTo>
                    <a:lnTo>
                      <a:pt x="635" y="91"/>
                    </a:lnTo>
                    <a:lnTo>
                      <a:pt x="632" y="94"/>
                    </a:lnTo>
                    <a:lnTo>
                      <a:pt x="632" y="94"/>
                    </a:lnTo>
                    <a:lnTo>
                      <a:pt x="628" y="95"/>
                    </a:lnTo>
                    <a:lnTo>
                      <a:pt x="623" y="99"/>
                    </a:lnTo>
                    <a:lnTo>
                      <a:pt x="623" y="99"/>
                    </a:lnTo>
                    <a:lnTo>
                      <a:pt x="620" y="110"/>
                    </a:lnTo>
                    <a:lnTo>
                      <a:pt x="616" y="123"/>
                    </a:lnTo>
                    <a:lnTo>
                      <a:pt x="616" y="123"/>
                    </a:lnTo>
                    <a:lnTo>
                      <a:pt x="616" y="127"/>
                    </a:lnTo>
                    <a:lnTo>
                      <a:pt x="616" y="131"/>
                    </a:lnTo>
                    <a:lnTo>
                      <a:pt x="619" y="139"/>
                    </a:lnTo>
                    <a:lnTo>
                      <a:pt x="619" y="139"/>
                    </a:lnTo>
                    <a:lnTo>
                      <a:pt x="619" y="144"/>
                    </a:lnTo>
                    <a:lnTo>
                      <a:pt x="619" y="150"/>
                    </a:lnTo>
                    <a:lnTo>
                      <a:pt x="617" y="157"/>
                    </a:lnTo>
                    <a:lnTo>
                      <a:pt x="615" y="162"/>
                    </a:lnTo>
                    <a:lnTo>
                      <a:pt x="615" y="162"/>
                    </a:lnTo>
                    <a:lnTo>
                      <a:pt x="612" y="166"/>
                    </a:lnTo>
                    <a:lnTo>
                      <a:pt x="609" y="168"/>
                    </a:lnTo>
                    <a:lnTo>
                      <a:pt x="606" y="169"/>
                    </a:lnTo>
                    <a:lnTo>
                      <a:pt x="606" y="169"/>
                    </a:lnTo>
                    <a:lnTo>
                      <a:pt x="603" y="168"/>
                    </a:lnTo>
                    <a:lnTo>
                      <a:pt x="600" y="168"/>
                    </a:lnTo>
                    <a:lnTo>
                      <a:pt x="599" y="165"/>
                    </a:lnTo>
                    <a:lnTo>
                      <a:pt x="599" y="160"/>
                    </a:lnTo>
                    <a:lnTo>
                      <a:pt x="599" y="160"/>
                    </a:lnTo>
                    <a:lnTo>
                      <a:pt x="596" y="149"/>
                    </a:lnTo>
                    <a:lnTo>
                      <a:pt x="594" y="137"/>
                    </a:lnTo>
                    <a:lnTo>
                      <a:pt x="594" y="137"/>
                    </a:lnTo>
                    <a:lnTo>
                      <a:pt x="597" y="124"/>
                    </a:lnTo>
                    <a:lnTo>
                      <a:pt x="601" y="111"/>
                    </a:lnTo>
                    <a:lnTo>
                      <a:pt x="601" y="111"/>
                    </a:lnTo>
                    <a:lnTo>
                      <a:pt x="604" y="102"/>
                    </a:lnTo>
                    <a:lnTo>
                      <a:pt x="604" y="99"/>
                    </a:lnTo>
                    <a:lnTo>
                      <a:pt x="603" y="99"/>
                    </a:lnTo>
                    <a:lnTo>
                      <a:pt x="603" y="99"/>
                    </a:lnTo>
                    <a:lnTo>
                      <a:pt x="600" y="102"/>
                    </a:lnTo>
                    <a:lnTo>
                      <a:pt x="599" y="104"/>
                    </a:lnTo>
                    <a:lnTo>
                      <a:pt x="597" y="105"/>
                    </a:lnTo>
                    <a:lnTo>
                      <a:pt x="596" y="102"/>
                    </a:lnTo>
                    <a:lnTo>
                      <a:pt x="596" y="102"/>
                    </a:lnTo>
                    <a:lnTo>
                      <a:pt x="596" y="98"/>
                    </a:lnTo>
                    <a:lnTo>
                      <a:pt x="599" y="92"/>
                    </a:lnTo>
                    <a:lnTo>
                      <a:pt x="604" y="85"/>
                    </a:lnTo>
                    <a:lnTo>
                      <a:pt x="604" y="85"/>
                    </a:lnTo>
                    <a:lnTo>
                      <a:pt x="607" y="78"/>
                    </a:lnTo>
                    <a:lnTo>
                      <a:pt x="609" y="75"/>
                    </a:lnTo>
                    <a:lnTo>
                      <a:pt x="610" y="75"/>
                    </a:lnTo>
                    <a:lnTo>
                      <a:pt x="610" y="75"/>
                    </a:lnTo>
                    <a:lnTo>
                      <a:pt x="613" y="76"/>
                    </a:lnTo>
                    <a:lnTo>
                      <a:pt x="616" y="75"/>
                    </a:lnTo>
                    <a:lnTo>
                      <a:pt x="616" y="75"/>
                    </a:lnTo>
                    <a:lnTo>
                      <a:pt x="619" y="73"/>
                    </a:lnTo>
                    <a:lnTo>
                      <a:pt x="625" y="73"/>
                    </a:lnTo>
                    <a:lnTo>
                      <a:pt x="625" y="73"/>
                    </a:lnTo>
                    <a:lnTo>
                      <a:pt x="630" y="73"/>
                    </a:lnTo>
                    <a:lnTo>
                      <a:pt x="635" y="72"/>
                    </a:lnTo>
                    <a:lnTo>
                      <a:pt x="635" y="72"/>
                    </a:lnTo>
                    <a:lnTo>
                      <a:pt x="636" y="71"/>
                    </a:lnTo>
                    <a:lnTo>
                      <a:pt x="642" y="71"/>
                    </a:lnTo>
                    <a:lnTo>
                      <a:pt x="642" y="71"/>
                    </a:lnTo>
                    <a:lnTo>
                      <a:pt x="648" y="71"/>
                    </a:lnTo>
                    <a:lnTo>
                      <a:pt x="651" y="69"/>
                    </a:lnTo>
                    <a:lnTo>
                      <a:pt x="651" y="69"/>
                    </a:lnTo>
                    <a:lnTo>
                      <a:pt x="652" y="66"/>
                    </a:lnTo>
                    <a:lnTo>
                      <a:pt x="652" y="65"/>
                    </a:lnTo>
                    <a:lnTo>
                      <a:pt x="651" y="65"/>
                    </a:lnTo>
                    <a:lnTo>
                      <a:pt x="651" y="65"/>
                    </a:lnTo>
                    <a:lnTo>
                      <a:pt x="645" y="65"/>
                    </a:lnTo>
                    <a:lnTo>
                      <a:pt x="642" y="65"/>
                    </a:lnTo>
                    <a:lnTo>
                      <a:pt x="639" y="63"/>
                    </a:lnTo>
                    <a:lnTo>
                      <a:pt x="639" y="63"/>
                    </a:lnTo>
                    <a:lnTo>
                      <a:pt x="639" y="62"/>
                    </a:lnTo>
                    <a:lnTo>
                      <a:pt x="638" y="60"/>
                    </a:lnTo>
                    <a:lnTo>
                      <a:pt x="638" y="59"/>
                    </a:lnTo>
                    <a:lnTo>
                      <a:pt x="636" y="57"/>
                    </a:lnTo>
                    <a:lnTo>
                      <a:pt x="636" y="57"/>
                    </a:lnTo>
                    <a:lnTo>
                      <a:pt x="633" y="57"/>
                    </a:lnTo>
                    <a:lnTo>
                      <a:pt x="629" y="56"/>
                    </a:lnTo>
                    <a:lnTo>
                      <a:pt x="629" y="56"/>
                    </a:lnTo>
                    <a:lnTo>
                      <a:pt x="626" y="57"/>
                    </a:lnTo>
                    <a:lnTo>
                      <a:pt x="623" y="59"/>
                    </a:lnTo>
                    <a:lnTo>
                      <a:pt x="622" y="60"/>
                    </a:lnTo>
                    <a:lnTo>
                      <a:pt x="619" y="60"/>
                    </a:lnTo>
                    <a:lnTo>
                      <a:pt x="619" y="60"/>
                    </a:lnTo>
                    <a:lnTo>
                      <a:pt x="615" y="59"/>
                    </a:lnTo>
                    <a:lnTo>
                      <a:pt x="613" y="57"/>
                    </a:lnTo>
                    <a:lnTo>
                      <a:pt x="610" y="56"/>
                    </a:lnTo>
                    <a:lnTo>
                      <a:pt x="607" y="56"/>
                    </a:lnTo>
                    <a:lnTo>
                      <a:pt x="607" y="56"/>
                    </a:lnTo>
                    <a:lnTo>
                      <a:pt x="603" y="55"/>
                    </a:lnTo>
                    <a:lnTo>
                      <a:pt x="599" y="53"/>
                    </a:lnTo>
                    <a:lnTo>
                      <a:pt x="599" y="53"/>
                    </a:lnTo>
                    <a:lnTo>
                      <a:pt x="590" y="53"/>
                    </a:lnTo>
                    <a:lnTo>
                      <a:pt x="587" y="52"/>
                    </a:lnTo>
                    <a:lnTo>
                      <a:pt x="586" y="52"/>
                    </a:lnTo>
                    <a:lnTo>
                      <a:pt x="587" y="50"/>
                    </a:lnTo>
                    <a:lnTo>
                      <a:pt x="587" y="50"/>
                    </a:lnTo>
                    <a:lnTo>
                      <a:pt x="591" y="43"/>
                    </a:lnTo>
                    <a:lnTo>
                      <a:pt x="593" y="40"/>
                    </a:lnTo>
                    <a:lnTo>
                      <a:pt x="591" y="40"/>
                    </a:lnTo>
                    <a:lnTo>
                      <a:pt x="591" y="40"/>
                    </a:lnTo>
                    <a:lnTo>
                      <a:pt x="588" y="40"/>
                    </a:lnTo>
                    <a:lnTo>
                      <a:pt x="584" y="42"/>
                    </a:lnTo>
                    <a:lnTo>
                      <a:pt x="578" y="47"/>
                    </a:lnTo>
                    <a:lnTo>
                      <a:pt x="578" y="47"/>
                    </a:lnTo>
                    <a:lnTo>
                      <a:pt x="575" y="49"/>
                    </a:lnTo>
                    <a:lnTo>
                      <a:pt x="571" y="52"/>
                    </a:lnTo>
                    <a:lnTo>
                      <a:pt x="564" y="53"/>
                    </a:lnTo>
                    <a:lnTo>
                      <a:pt x="564" y="53"/>
                    </a:lnTo>
                    <a:lnTo>
                      <a:pt x="559" y="55"/>
                    </a:lnTo>
                    <a:lnTo>
                      <a:pt x="557" y="56"/>
                    </a:lnTo>
                    <a:lnTo>
                      <a:pt x="552" y="57"/>
                    </a:lnTo>
                    <a:lnTo>
                      <a:pt x="551" y="57"/>
                    </a:lnTo>
                    <a:lnTo>
                      <a:pt x="551" y="57"/>
                    </a:lnTo>
                    <a:lnTo>
                      <a:pt x="548" y="53"/>
                    </a:lnTo>
                    <a:lnTo>
                      <a:pt x="545" y="52"/>
                    </a:lnTo>
                    <a:lnTo>
                      <a:pt x="544" y="52"/>
                    </a:lnTo>
                    <a:lnTo>
                      <a:pt x="544" y="52"/>
                    </a:lnTo>
                    <a:lnTo>
                      <a:pt x="533" y="53"/>
                    </a:lnTo>
                    <a:lnTo>
                      <a:pt x="529" y="55"/>
                    </a:lnTo>
                    <a:lnTo>
                      <a:pt x="528" y="53"/>
                    </a:lnTo>
                    <a:lnTo>
                      <a:pt x="526" y="53"/>
                    </a:lnTo>
                    <a:lnTo>
                      <a:pt x="526" y="53"/>
                    </a:lnTo>
                    <a:lnTo>
                      <a:pt x="528" y="52"/>
                    </a:lnTo>
                    <a:lnTo>
                      <a:pt x="531" y="50"/>
                    </a:lnTo>
                    <a:lnTo>
                      <a:pt x="533" y="49"/>
                    </a:lnTo>
                    <a:lnTo>
                      <a:pt x="536" y="44"/>
                    </a:lnTo>
                    <a:lnTo>
                      <a:pt x="536" y="44"/>
                    </a:lnTo>
                    <a:lnTo>
                      <a:pt x="539" y="42"/>
                    </a:lnTo>
                    <a:lnTo>
                      <a:pt x="541" y="39"/>
                    </a:lnTo>
                    <a:lnTo>
                      <a:pt x="542" y="37"/>
                    </a:lnTo>
                    <a:lnTo>
                      <a:pt x="545" y="36"/>
                    </a:lnTo>
                    <a:lnTo>
                      <a:pt x="545" y="36"/>
                    </a:lnTo>
                    <a:lnTo>
                      <a:pt x="561" y="29"/>
                    </a:lnTo>
                    <a:lnTo>
                      <a:pt x="575" y="23"/>
                    </a:lnTo>
                    <a:lnTo>
                      <a:pt x="575" y="23"/>
                    </a:lnTo>
                    <a:lnTo>
                      <a:pt x="577" y="20"/>
                    </a:lnTo>
                    <a:lnTo>
                      <a:pt x="577" y="20"/>
                    </a:lnTo>
                    <a:lnTo>
                      <a:pt x="571" y="21"/>
                    </a:lnTo>
                    <a:lnTo>
                      <a:pt x="564" y="21"/>
                    </a:lnTo>
                    <a:lnTo>
                      <a:pt x="564" y="21"/>
                    </a:lnTo>
                    <a:lnTo>
                      <a:pt x="561" y="20"/>
                    </a:lnTo>
                    <a:lnTo>
                      <a:pt x="558" y="18"/>
                    </a:lnTo>
                    <a:lnTo>
                      <a:pt x="555" y="17"/>
                    </a:lnTo>
                    <a:lnTo>
                      <a:pt x="552" y="17"/>
                    </a:lnTo>
                    <a:lnTo>
                      <a:pt x="552" y="17"/>
                    </a:lnTo>
                    <a:lnTo>
                      <a:pt x="546" y="18"/>
                    </a:lnTo>
                    <a:lnTo>
                      <a:pt x="544" y="21"/>
                    </a:lnTo>
                    <a:lnTo>
                      <a:pt x="539" y="23"/>
                    </a:lnTo>
                    <a:lnTo>
                      <a:pt x="536" y="23"/>
                    </a:lnTo>
                    <a:lnTo>
                      <a:pt x="533" y="23"/>
                    </a:lnTo>
                    <a:lnTo>
                      <a:pt x="533" y="23"/>
                    </a:lnTo>
                    <a:lnTo>
                      <a:pt x="522" y="17"/>
                    </a:lnTo>
                    <a:lnTo>
                      <a:pt x="515" y="15"/>
                    </a:lnTo>
                    <a:lnTo>
                      <a:pt x="509" y="14"/>
                    </a:lnTo>
                    <a:lnTo>
                      <a:pt x="509" y="14"/>
                    </a:lnTo>
                    <a:lnTo>
                      <a:pt x="502" y="13"/>
                    </a:lnTo>
                    <a:lnTo>
                      <a:pt x="493" y="7"/>
                    </a:lnTo>
                    <a:lnTo>
                      <a:pt x="483" y="2"/>
                    </a:lnTo>
                    <a:lnTo>
                      <a:pt x="477" y="1"/>
                    </a:lnTo>
                    <a:lnTo>
                      <a:pt x="473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32" y="11"/>
                    </a:lnTo>
                    <a:lnTo>
                      <a:pt x="35" y="18"/>
                    </a:lnTo>
                    <a:lnTo>
                      <a:pt x="35" y="18"/>
                    </a:lnTo>
                    <a:lnTo>
                      <a:pt x="35" y="24"/>
                    </a:lnTo>
                    <a:lnTo>
                      <a:pt x="35" y="27"/>
                    </a:lnTo>
                    <a:lnTo>
                      <a:pt x="34" y="27"/>
                    </a:lnTo>
                    <a:lnTo>
                      <a:pt x="34" y="27"/>
                    </a:lnTo>
                    <a:lnTo>
                      <a:pt x="29" y="23"/>
                    </a:lnTo>
                    <a:lnTo>
                      <a:pt x="27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15" y="20"/>
                    </a:lnTo>
                    <a:lnTo>
                      <a:pt x="9" y="20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2" y="17"/>
                    </a:lnTo>
                    <a:lnTo>
                      <a:pt x="0" y="18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5" y="31"/>
                    </a:lnTo>
                    <a:lnTo>
                      <a:pt x="8" y="42"/>
                    </a:lnTo>
                    <a:lnTo>
                      <a:pt x="9" y="52"/>
                    </a:lnTo>
                    <a:lnTo>
                      <a:pt x="9" y="62"/>
                    </a:lnTo>
                    <a:lnTo>
                      <a:pt x="9" y="62"/>
                    </a:lnTo>
                    <a:lnTo>
                      <a:pt x="9" y="72"/>
                    </a:lnTo>
                    <a:lnTo>
                      <a:pt x="9" y="82"/>
                    </a:lnTo>
                    <a:lnTo>
                      <a:pt x="9" y="92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6" y="117"/>
                    </a:lnTo>
                    <a:lnTo>
                      <a:pt x="5" y="127"/>
                    </a:lnTo>
                    <a:lnTo>
                      <a:pt x="3" y="134"/>
                    </a:lnTo>
                    <a:lnTo>
                      <a:pt x="3" y="134"/>
                    </a:lnTo>
                    <a:lnTo>
                      <a:pt x="3" y="139"/>
                    </a:lnTo>
                    <a:lnTo>
                      <a:pt x="3" y="143"/>
                    </a:lnTo>
                    <a:lnTo>
                      <a:pt x="6" y="152"/>
                    </a:lnTo>
                    <a:lnTo>
                      <a:pt x="6" y="152"/>
                    </a:lnTo>
                    <a:lnTo>
                      <a:pt x="8" y="157"/>
                    </a:lnTo>
                    <a:lnTo>
                      <a:pt x="8" y="166"/>
                    </a:lnTo>
                    <a:lnTo>
                      <a:pt x="8" y="166"/>
                    </a:lnTo>
                    <a:lnTo>
                      <a:pt x="6" y="183"/>
                    </a:lnTo>
                    <a:lnTo>
                      <a:pt x="8" y="192"/>
                    </a:lnTo>
                    <a:lnTo>
                      <a:pt x="9" y="198"/>
                    </a:lnTo>
                    <a:lnTo>
                      <a:pt x="9" y="198"/>
                    </a:lnTo>
                    <a:lnTo>
                      <a:pt x="15" y="207"/>
                    </a:lnTo>
                    <a:lnTo>
                      <a:pt x="18" y="211"/>
                    </a:lnTo>
                    <a:lnTo>
                      <a:pt x="19" y="217"/>
                    </a:lnTo>
                    <a:lnTo>
                      <a:pt x="19" y="217"/>
                    </a:lnTo>
                    <a:lnTo>
                      <a:pt x="21" y="226"/>
                    </a:lnTo>
                    <a:lnTo>
                      <a:pt x="24" y="233"/>
                    </a:lnTo>
                    <a:lnTo>
                      <a:pt x="24" y="233"/>
                    </a:lnTo>
                    <a:lnTo>
                      <a:pt x="31" y="241"/>
                    </a:lnTo>
                    <a:lnTo>
                      <a:pt x="34" y="247"/>
                    </a:lnTo>
                    <a:lnTo>
                      <a:pt x="37" y="253"/>
                    </a:lnTo>
                    <a:lnTo>
                      <a:pt x="37" y="253"/>
                    </a:lnTo>
                    <a:lnTo>
                      <a:pt x="40" y="262"/>
                    </a:lnTo>
                    <a:lnTo>
                      <a:pt x="41" y="266"/>
                    </a:lnTo>
                    <a:lnTo>
                      <a:pt x="45" y="270"/>
                    </a:lnTo>
                    <a:lnTo>
                      <a:pt x="45" y="270"/>
                    </a:lnTo>
                    <a:lnTo>
                      <a:pt x="48" y="275"/>
                    </a:lnTo>
                    <a:lnTo>
                      <a:pt x="51" y="281"/>
                    </a:lnTo>
                    <a:lnTo>
                      <a:pt x="54" y="288"/>
                    </a:lnTo>
                    <a:lnTo>
                      <a:pt x="58" y="294"/>
                    </a:lnTo>
                    <a:lnTo>
                      <a:pt x="58" y="294"/>
                    </a:lnTo>
                    <a:lnTo>
                      <a:pt x="66" y="304"/>
                    </a:lnTo>
                    <a:lnTo>
                      <a:pt x="69" y="307"/>
                    </a:lnTo>
                    <a:lnTo>
                      <a:pt x="71" y="311"/>
                    </a:lnTo>
                    <a:lnTo>
                      <a:pt x="71" y="311"/>
                    </a:lnTo>
                    <a:lnTo>
                      <a:pt x="73" y="314"/>
                    </a:lnTo>
                    <a:lnTo>
                      <a:pt x="77" y="314"/>
                    </a:lnTo>
                    <a:lnTo>
                      <a:pt x="83" y="315"/>
                    </a:lnTo>
                    <a:lnTo>
                      <a:pt x="89" y="317"/>
                    </a:lnTo>
                    <a:lnTo>
                      <a:pt x="89" y="317"/>
                    </a:lnTo>
                    <a:lnTo>
                      <a:pt x="93" y="320"/>
                    </a:lnTo>
                    <a:lnTo>
                      <a:pt x="97" y="320"/>
                    </a:lnTo>
                    <a:lnTo>
                      <a:pt x="106" y="323"/>
                    </a:lnTo>
                    <a:lnTo>
                      <a:pt x="106" y="323"/>
                    </a:lnTo>
                    <a:lnTo>
                      <a:pt x="109" y="324"/>
                    </a:lnTo>
                    <a:lnTo>
                      <a:pt x="111" y="325"/>
                    </a:lnTo>
                    <a:lnTo>
                      <a:pt x="113" y="331"/>
                    </a:lnTo>
                    <a:lnTo>
                      <a:pt x="113" y="331"/>
                    </a:lnTo>
                    <a:lnTo>
                      <a:pt x="126" y="357"/>
                    </a:lnTo>
                    <a:lnTo>
                      <a:pt x="163" y="352"/>
                    </a:lnTo>
                    <a:lnTo>
                      <a:pt x="222" y="380"/>
                    </a:lnTo>
                    <a:lnTo>
                      <a:pt x="264" y="380"/>
                    </a:lnTo>
                    <a:lnTo>
                      <a:pt x="268" y="370"/>
                    </a:lnTo>
                    <a:lnTo>
                      <a:pt x="294" y="370"/>
                    </a:lnTo>
                    <a:lnTo>
                      <a:pt x="294" y="370"/>
                    </a:lnTo>
                    <a:lnTo>
                      <a:pt x="296" y="373"/>
                    </a:lnTo>
                    <a:lnTo>
                      <a:pt x="303" y="379"/>
                    </a:lnTo>
                    <a:lnTo>
                      <a:pt x="303" y="379"/>
                    </a:lnTo>
                    <a:lnTo>
                      <a:pt x="307" y="383"/>
                    </a:lnTo>
                    <a:lnTo>
                      <a:pt x="313" y="389"/>
                    </a:lnTo>
                    <a:lnTo>
                      <a:pt x="323" y="404"/>
                    </a:lnTo>
                    <a:lnTo>
                      <a:pt x="323" y="404"/>
                    </a:lnTo>
                    <a:lnTo>
                      <a:pt x="331" y="409"/>
                    </a:lnTo>
                    <a:lnTo>
                      <a:pt x="339" y="415"/>
                    </a:lnTo>
                    <a:lnTo>
                      <a:pt x="348" y="421"/>
                    </a:lnTo>
                    <a:lnTo>
                      <a:pt x="352" y="422"/>
                    </a:lnTo>
                    <a:lnTo>
                      <a:pt x="352" y="422"/>
                    </a:lnTo>
                    <a:lnTo>
                      <a:pt x="354" y="420"/>
                    </a:lnTo>
                    <a:lnTo>
                      <a:pt x="355" y="415"/>
                    </a:lnTo>
                    <a:lnTo>
                      <a:pt x="357" y="411"/>
                    </a:lnTo>
                    <a:lnTo>
                      <a:pt x="360" y="409"/>
                    </a:lnTo>
                    <a:lnTo>
                      <a:pt x="360" y="409"/>
                    </a:lnTo>
                    <a:lnTo>
                      <a:pt x="364" y="409"/>
                    </a:lnTo>
                    <a:lnTo>
                      <a:pt x="371" y="412"/>
                    </a:lnTo>
                    <a:lnTo>
                      <a:pt x="380" y="415"/>
                    </a:lnTo>
                    <a:lnTo>
                      <a:pt x="386" y="420"/>
                    </a:lnTo>
                    <a:lnTo>
                      <a:pt x="386" y="420"/>
                    </a:lnTo>
                    <a:lnTo>
                      <a:pt x="390" y="424"/>
                    </a:lnTo>
                    <a:lnTo>
                      <a:pt x="393" y="431"/>
                    </a:lnTo>
                    <a:lnTo>
                      <a:pt x="397" y="438"/>
                    </a:lnTo>
                    <a:lnTo>
                      <a:pt x="402" y="443"/>
                    </a:lnTo>
                    <a:lnTo>
                      <a:pt x="402" y="443"/>
                    </a:lnTo>
                    <a:lnTo>
                      <a:pt x="405" y="447"/>
                    </a:lnTo>
                    <a:lnTo>
                      <a:pt x="407" y="453"/>
                    </a:lnTo>
                    <a:lnTo>
                      <a:pt x="410" y="459"/>
                    </a:lnTo>
                    <a:lnTo>
                      <a:pt x="413" y="463"/>
                    </a:lnTo>
                    <a:lnTo>
                      <a:pt x="413" y="463"/>
                    </a:lnTo>
                    <a:lnTo>
                      <a:pt x="418" y="466"/>
                    </a:lnTo>
                    <a:lnTo>
                      <a:pt x="425" y="469"/>
                    </a:lnTo>
                    <a:lnTo>
                      <a:pt x="447" y="475"/>
                    </a:lnTo>
                    <a:lnTo>
                      <a:pt x="447" y="475"/>
                    </a:lnTo>
                    <a:lnTo>
                      <a:pt x="447" y="467"/>
                    </a:lnTo>
                    <a:lnTo>
                      <a:pt x="445" y="460"/>
                    </a:lnTo>
                    <a:lnTo>
                      <a:pt x="445" y="460"/>
                    </a:lnTo>
                    <a:lnTo>
                      <a:pt x="445" y="454"/>
                    </a:lnTo>
                    <a:lnTo>
                      <a:pt x="447" y="450"/>
                    </a:lnTo>
                    <a:lnTo>
                      <a:pt x="448" y="444"/>
                    </a:lnTo>
                    <a:lnTo>
                      <a:pt x="448" y="444"/>
                    </a:lnTo>
                    <a:lnTo>
                      <a:pt x="445" y="441"/>
                    </a:lnTo>
                    <a:lnTo>
                      <a:pt x="447" y="440"/>
                    </a:lnTo>
                    <a:lnTo>
                      <a:pt x="449" y="438"/>
                    </a:lnTo>
                    <a:lnTo>
                      <a:pt x="449" y="438"/>
                    </a:lnTo>
                    <a:lnTo>
                      <a:pt x="454" y="437"/>
                    </a:lnTo>
                    <a:lnTo>
                      <a:pt x="457" y="433"/>
                    </a:lnTo>
                    <a:lnTo>
                      <a:pt x="458" y="430"/>
                    </a:lnTo>
                    <a:lnTo>
                      <a:pt x="462" y="427"/>
                    </a:lnTo>
                    <a:lnTo>
                      <a:pt x="462" y="427"/>
                    </a:lnTo>
                    <a:lnTo>
                      <a:pt x="473" y="422"/>
                    </a:lnTo>
                    <a:lnTo>
                      <a:pt x="478" y="420"/>
                    </a:lnTo>
                    <a:lnTo>
                      <a:pt x="481" y="415"/>
                    </a:lnTo>
                    <a:lnTo>
                      <a:pt x="481" y="415"/>
                    </a:lnTo>
                    <a:lnTo>
                      <a:pt x="483" y="412"/>
                    </a:lnTo>
                    <a:lnTo>
                      <a:pt x="483" y="409"/>
                    </a:lnTo>
                    <a:lnTo>
                      <a:pt x="483" y="409"/>
                    </a:lnTo>
                    <a:lnTo>
                      <a:pt x="487" y="409"/>
                    </a:lnTo>
                    <a:lnTo>
                      <a:pt x="487" y="409"/>
                    </a:lnTo>
                    <a:lnTo>
                      <a:pt x="491" y="412"/>
                    </a:lnTo>
                    <a:lnTo>
                      <a:pt x="494" y="412"/>
                    </a:lnTo>
                    <a:lnTo>
                      <a:pt x="502" y="411"/>
                    </a:lnTo>
                    <a:lnTo>
                      <a:pt x="502" y="411"/>
                    </a:lnTo>
                    <a:lnTo>
                      <a:pt x="512" y="409"/>
                    </a:lnTo>
                    <a:lnTo>
                      <a:pt x="522" y="409"/>
                    </a:lnTo>
                    <a:lnTo>
                      <a:pt x="522" y="409"/>
                    </a:lnTo>
                    <a:lnTo>
                      <a:pt x="528" y="408"/>
                    </a:lnTo>
                    <a:lnTo>
                      <a:pt x="531" y="408"/>
                    </a:lnTo>
                    <a:lnTo>
                      <a:pt x="532" y="408"/>
                    </a:lnTo>
                    <a:lnTo>
                      <a:pt x="532" y="408"/>
                    </a:lnTo>
                    <a:lnTo>
                      <a:pt x="538" y="411"/>
                    </a:lnTo>
                    <a:lnTo>
                      <a:pt x="541" y="412"/>
                    </a:lnTo>
                    <a:lnTo>
                      <a:pt x="544" y="414"/>
                    </a:lnTo>
                    <a:lnTo>
                      <a:pt x="544" y="414"/>
                    </a:lnTo>
                    <a:lnTo>
                      <a:pt x="545" y="417"/>
                    </a:lnTo>
                    <a:lnTo>
                      <a:pt x="546" y="418"/>
                    </a:lnTo>
                    <a:lnTo>
                      <a:pt x="549" y="418"/>
                    </a:lnTo>
                    <a:lnTo>
                      <a:pt x="552" y="417"/>
                    </a:lnTo>
                    <a:lnTo>
                      <a:pt x="552" y="417"/>
                    </a:lnTo>
                    <a:lnTo>
                      <a:pt x="558" y="412"/>
                    </a:lnTo>
                    <a:lnTo>
                      <a:pt x="567" y="408"/>
                    </a:lnTo>
                    <a:lnTo>
                      <a:pt x="567" y="408"/>
                    </a:lnTo>
                    <a:lnTo>
                      <a:pt x="573" y="405"/>
                    </a:lnTo>
                    <a:lnTo>
                      <a:pt x="577" y="402"/>
                    </a:lnTo>
                    <a:lnTo>
                      <a:pt x="580" y="399"/>
                    </a:lnTo>
                    <a:lnTo>
                      <a:pt x="584" y="398"/>
                    </a:lnTo>
                    <a:lnTo>
                      <a:pt x="584" y="398"/>
                    </a:lnTo>
                    <a:lnTo>
                      <a:pt x="591" y="398"/>
                    </a:lnTo>
                    <a:lnTo>
                      <a:pt x="596" y="396"/>
                    </a:lnTo>
                    <a:lnTo>
                      <a:pt x="596" y="396"/>
                    </a:lnTo>
                    <a:lnTo>
                      <a:pt x="597" y="396"/>
                    </a:lnTo>
                    <a:lnTo>
                      <a:pt x="597" y="398"/>
                    </a:lnTo>
                    <a:lnTo>
                      <a:pt x="599" y="398"/>
                    </a:lnTo>
                    <a:lnTo>
                      <a:pt x="601" y="398"/>
                    </a:lnTo>
                    <a:lnTo>
                      <a:pt x="601" y="398"/>
                    </a:lnTo>
                    <a:lnTo>
                      <a:pt x="609" y="396"/>
                    </a:lnTo>
                    <a:lnTo>
                      <a:pt x="610" y="396"/>
                    </a:lnTo>
                    <a:lnTo>
                      <a:pt x="615" y="398"/>
                    </a:lnTo>
                    <a:lnTo>
                      <a:pt x="615" y="398"/>
                    </a:lnTo>
                    <a:lnTo>
                      <a:pt x="619" y="399"/>
                    </a:lnTo>
                    <a:lnTo>
                      <a:pt x="622" y="398"/>
                    </a:lnTo>
                    <a:lnTo>
                      <a:pt x="623" y="398"/>
                    </a:lnTo>
                    <a:lnTo>
                      <a:pt x="626" y="398"/>
                    </a:lnTo>
                    <a:lnTo>
                      <a:pt x="626" y="398"/>
                    </a:lnTo>
                    <a:lnTo>
                      <a:pt x="633" y="402"/>
                    </a:lnTo>
                    <a:lnTo>
                      <a:pt x="638" y="405"/>
                    </a:lnTo>
                    <a:lnTo>
                      <a:pt x="642" y="407"/>
                    </a:lnTo>
                    <a:lnTo>
                      <a:pt x="642" y="407"/>
                    </a:lnTo>
                    <a:lnTo>
                      <a:pt x="649" y="407"/>
                    </a:lnTo>
                    <a:lnTo>
                      <a:pt x="651" y="405"/>
                    </a:lnTo>
                    <a:lnTo>
                      <a:pt x="654" y="404"/>
                    </a:lnTo>
                    <a:lnTo>
                      <a:pt x="654" y="404"/>
                    </a:lnTo>
                    <a:lnTo>
                      <a:pt x="657" y="399"/>
                    </a:lnTo>
                    <a:lnTo>
                      <a:pt x="658" y="398"/>
                    </a:lnTo>
                    <a:lnTo>
                      <a:pt x="661" y="401"/>
                    </a:lnTo>
                    <a:lnTo>
                      <a:pt x="661" y="401"/>
                    </a:lnTo>
                    <a:lnTo>
                      <a:pt x="668" y="411"/>
                    </a:lnTo>
                    <a:lnTo>
                      <a:pt x="671" y="415"/>
                    </a:lnTo>
                    <a:lnTo>
                      <a:pt x="674" y="418"/>
                    </a:lnTo>
                    <a:lnTo>
                      <a:pt x="674" y="418"/>
                    </a:lnTo>
                    <a:lnTo>
                      <a:pt x="675" y="420"/>
                    </a:lnTo>
                    <a:lnTo>
                      <a:pt x="677" y="422"/>
                    </a:lnTo>
                    <a:lnTo>
                      <a:pt x="680" y="430"/>
                    </a:lnTo>
                    <a:lnTo>
                      <a:pt x="680" y="444"/>
                    </a:lnTo>
                    <a:lnTo>
                      <a:pt x="680" y="444"/>
                    </a:lnTo>
                    <a:lnTo>
                      <a:pt x="681" y="449"/>
                    </a:lnTo>
                    <a:lnTo>
                      <a:pt x="684" y="454"/>
                    </a:lnTo>
                    <a:lnTo>
                      <a:pt x="685" y="460"/>
                    </a:lnTo>
                    <a:lnTo>
                      <a:pt x="688" y="462"/>
                    </a:lnTo>
                    <a:lnTo>
                      <a:pt x="688" y="462"/>
                    </a:lnTo>
                    <a:lnTo>
                      <a:pt x="690" y="459"/>
                    </a:lnTo>
                    <a:lnTo>
                      <a:pt x="690" y="459"/>
                    </a:lnTo>
                    <a:lnTo>
                      <a:pt x="691" y="460"/>
                    </a:lnTo>
                    <a:lnTo>
                      <a:pt x="691" y="460"/>
                    </a:lnTo>
                    <a:lnTo>
                      <a:pt x="694" y="467"/>
                    </a:lnTo>
                    <a:lnTo>
                      <a:pt x="697" y="473"/>
                    </a:lnTo>
                    <a:lnTo>
                      <a:pt x="700" y="478"/>
                    </a:lnTo>
                    <a:lnTo>
                      <a:pt x="700" y="478"/>
                    </a:lnTo>
                    <a:lnTo>
                      <a:pt x="704" y="483"/>
                    </a:lnTo>
                    <a:lnTo>
                      <a:pt x="709" y="488"/>
                    </a:lnTo>
                    <a:lnTo>
                      <a:pt x="709" y="488"/>
                    </a:lnTo>
                    <a:lnTo>
                      <a:pt x="713" y="495"/>
                    </a:lnTo>
                    <a:lnTo>
                      <a:pt x="716" y="496"/>
                    </a:lnTo>
                    <a:lnTo>
                      <a:pt x="717" y="496"/>
                    </a:lnTo>
                    <a:lnTo>
                      <a:pt x="719" y="495"/>
                    </a:lnTo>
                    <a:lnTo>
                      <a:pt x="719" y="495"/>
                    </a:lnTo>
                    <a:lnTo>
                      <a:pt x="720" y="489"/>
                    </a:lnTo>
                    <a:lnTo>
                      <a:pt x="720" y="480"/>
                    </a:lnTo>
                    <a:lnTo>
                      <a:pt x="720" y="465"/>
                    </a:lnTo>
                    <a:lnTo>
                      <a:pt x="720" y="465"/>
                    </a:lnTo>
                    <a:lnTo>
                      <a:pt x="719" y="456"/>
                    </a:lnTo>
                    <a:lnTo>
                      <a:pt x="716" y="444"/>
                    </a:lnTo>
                    <a:lnTo>
                      <a:pt x="713" y="433"/>
                    </a:lnTo>
                    <a:lnTo>
                      <a:pt x="709" y="424"/>
                    </a:lnTo>
                    <a:lnTo>
                      <a:pt x="709" y="424"/>
                    </a:lnTo>
                    <a:lnTo>
                      <a:pt x="704" y="417"/>
                    </a:lnTo>
                    <a:lnTo>
                      <a:pt x="700" y="408"/>
                    </a:lnTo>
                    <a:lnTo>
                      <a:pt x="697" y="399"/>
                    </a:lnTo>
                    <a:lnTo>
                      <a:pt x="697" y="395"/>
                    </a:lnTo>
                    <a:lnTo>
                      <a:pt x="697" y="391"/>
                    </a:lnTo>
                    <a:lnTo>
                      <a:pt x="697" y="391"/>
                    </a:lnTo>
                    <a:lnTo>
                      <a:pt x="701" y="375"/>
                    </a:lnTo>
                    <a:lnTo>
                      <a:pt x="706" y="365"/>
                    </a:lnTo>
                    <a:lnTo>
                      <a:pt x="706" y="365"/>
                    </a:lnTo>
                    <a:lnTo>
                      <a:pt x="709" y="360"/>
                    </a:lnTo>
                    <a:lnTo>
                      <a:pt x="713" y="359"/>
                    </a:lnTo>
                    <a:lnTo>
                      <a:pt x="720" y="354"/>
                    </a:lnTo>
                    <a:lnTo>
                      <a:pt x="720" y="354"/>
                    </a:lnTo>
                    <a:lnTo>
                      <a:pt x="732" y="350"/>
                    </a:lnTo>
                    <a:lnTo>
                      <a:pt x="732" y="350"/>
                    </a:lnTo>
                    <a:lnTo>
                      <a:pt x="735" y="346"/>
                    </a:lnTo>
                    <a:lnTo>
                      <a:pt x="738" y="340"/>
                    </a:lnTo>
                    <a:lnTo>
                      <a:pt x="742" y="331"/>
                    </a:lnTo>
                    <a:lnTo>
                      <a:pt x="742" y="331"/>
                    </a:lnTo>
                    <a:lnTo>
                      <a:pt x="748" y="331"/>
                    </a:lnTo>
                    <a:lnTo>
                      <a:pt x="752" y="331"/>
                    </a:lnTo>
                    <a:lnTo>
                      <a:pt x="755" y="331"/>
                    </a:lnTo>
                    <a:lnTo>
                      <a:pt x="755" y="331"/>
                    </a:lnTo>
                    <a:lnTo>
                      <a:pt x="759" y="328"/>
                    </a:lnTo>
                    <a:lnTo>
                      <a:pt x="762" y="323"/>
                    </a:lnTo>
                    <a:lnTo>
                      <a:pt x="770" y="314"/>
                    </a:lnTo>
                    <a:lnTo>
                      <a:pt x="770" y="314"/>
                    </a:lnTo>
                    <a:lnTo>
                      <a:pt x="772" y="312"/>
                    </a:lnTo>
                    <a:lnTo>
                      <a:pt x="777" y="312"/>
                    </a:lnTo>
                    <a:lnTo>
                      <a:pt x="780" y="311"/>
                    </a:lnTo>
                    <a:lnTo>
                      <a:pt x="781" y="311"/>
                    </a:lnTo>
                    <a:lnTo>
                      <a:pt x="781" y="310"/>
                    </a:lnTo>
                    <a:lnTo>
                      <a:pt x="781" y="310"/>
                    </a:lnTo>
                    <a:lnTo>
                      <a:pt x="780" y="304"/>
                    </a:lnTo>
                    <a:lnTo>
                      <a:pt x="781" y="301"/>
                    </a:lnTo>
                    <a:lnTo>
                      <a:pt x="783" y="299"/>
                    </a:lnTo>
                    <a:lnTo>
                      <a:pt x="783" y="299"/>
                    </a:lnTo>
                    <a:lnTo>
                      <a:pt x="785" y="299"/>
                    </a:lnTo>
                    <a:lnTo>
                      <a:pt x="787" y="298"/>
                    </a:lnTo>
                    <a:lnTo>
                      <a:pt x="790" y="294"/>
                    </a:lnTo>
                    <a:lnTo>
                      <a:pt x="790" y="294"/>
                    </a:lnTo>
                    <a:lnTo>
                      <a:pt x="790" y="285"/>
                    </a:lnTo>
                    <a:lnTo>
                      <a:pt x="790" y="279"/>
                    </a:lnTo>
                    <a:lnTo>
                      <a:pt x="788" y="276"/>
                    </a:lnTo>
                    <a:lnTo>
                      <a:pt x="788" y="276"/>
                    </a:lnTo>
                    <a:lnTo>
                      <a:pt x="783" y="269"/>
                    </a:lnTo>
                    <a:lnTo>
                      <a:pt x="781" y="266"/>
                    </a:lnTo>
                    <a:lnTo>
                      <a:pt x="780" y="263"/>
                    </a:lnTo>
                    <a:lnTo>
                      <a:pt x="780" y="263"/>
                    </a:lnTo>
                    <a:lnTo>
                      <a:pt x="781" y="257"/>
                    </a:lnTo>
                    <a:lnTo>
                      <a:pt x="783" y="254"/>
                    </a:lnTo>
                    <a:lnTo>
                      <a:pt x="783" y="252"/>
                    </a:lnTo>
                    <a:lnTo>
                      <a:pt x="783" y="252"/>
                    </a:lnTo>
                    <a:lnTo>
                      <a:pt x="783" y="249"/>
                    </a:lnTo>
                    <a:lnTo>
                      <a:pt x="783" y="246"/>
                    </a:lnTo>
                    <a:lnTo>
                      <a:pt x="784" y="244"/>
                    </a:lnTo>
                    <a:lnTo>
                      <a:pt x="785" y="244"/>
                    </a:lnTo>
                    <a:lnTo>
                      <a:pt x="785" y="244"/>
                    </a:lnTo>
                    <a:lnTo>
                      <a:pt x="788" y="249"/>
                    </a:lnTo>
                    <a:lnTo>
                      <a:pt x="790" y="252"/>
                    </a:lnTo>
                    <a:lnTo>
                      <a:pt x="790" y="253"/>
                    </a:lnTo>
                    <a:lnTo>
                      <a:pt x="790" y="253"/>
                    </a:lnTo>
                    <a:lnTo>
                      <a:pt x="788" y="259"/>
                    </a:lnTo>
                    <a:lnTo>
                      <a:pt x="788" y="262"/>
                    </a:lnTo>
                    <a:lnTo>
                      <a:pt x="790" y="260"/>
                    </a:lnTo>
                    <a:lnTo>
                      <a:pt x="790" y="260"/>
                    </a:lnTo>
                    <a:lnTo>
                      <a:pt x="796" y="256"/>
                    </a:lnTo>
                    <a:lnTo>
                      <a:pt x="797" y="254"/>
                    </a:lnTo>
                    <a:lnTo>
                      <a:pt x="798" y="253"/>
                    </a:lnTo>
                    <a:lnTo>
                      <a:pt x="798" y="253"/>
                    </a:lnTo>
                    <a:lnTo>
                      <a:pt x="800" y="243"/>
                    </a:lnTo>
                    <a:lnTo>
                      <a:pt x="801" y="239"/>
                    </a:lnTo>
                    <a:lnTo>
                      <a:pt x="804" y="234"/>
                    </a:lnTo>
                    <a:lnTo>
                      <a:pt x="804" y="234"/>
                    </a:lnTo>
                    <a:lnTo>
                      <a:pt x="804" y="233"/>
                    </a:lnTo>
                    <a:lnTo>
                      <a:pt x="804" y="231"/>
                    </a:lnTo>
                    <a:lnTo>
                      <a:pt x="803" y="228"/>
                    </a:lnTo>
                    <a:lnTo>
                      <a:pt x="801" y="226"/>
                    </a:lnTo>
                    <a:lnTo>
                      <a:pt x="800" y="224"/>
                    </a:lnTo>
                    <a:lnTo>
                      <a:pt x="801" y="224"/>
                    </a:lnTo>
                    <a:lnTo>
                      <a:pt x="801" y="224"/>
                    </a:lnTo>
                    <a:lnTo>
                      <a:pt x="803" y="223"/>
                    </a:lnTo>
                    <a:lnTo>
                      <a:pt x="804" y="223"/>
                    </a:lnTo>
                    <a:lnTo>
                      <a:pt x="807" y="221"/>
                    </a:lnTo>
                    <a:lnTo>
                      <a:pt x="810" y="220"/>
                    </a:lnTo>
                    <a:lnTo>
                      <a:pt x="810" y="220"/>
                    </a:lnTo>
                    <a:lnTo>
                      <a:pt x="817" y="210"/>
                    </a:lnTo>
                    <a:lnTo>
                      <a:pt x="820" y="205"/>
                    </a:lnTo>
                    <a:lnTo>
                      <a:pt x="820" y="201"/>
                    </a:lnTo>
                    <a:lnTo>
                      <a:pt x="820" y="201"/>
                    </a:lnTo>
                    <a:lnTo>
                      <a:pt x="819" y="197"/>
                    </a:lnTo>
                    <a:lnTo>
                      <a:pt x="820" y="194"/>
                    </a:lnTo>
                    <a:lnTo>
                      <a:pt x="822" y="192"/>
                    </a:lnTo>
                    <a:lnTo>
                      <a:pt x="822" y="192"/>
                    </a:lnTo>
                    <a:lnTo>
                      <a:pt x="830" y="189"/>
                    </a:lnTo>
                    <a:lnTo>
                      <a:pt x="833" y="189"/>
                    </a:lnTo>
                    <a:lnTo>
                      <a:pt x="835" y="188"/>
                    </a:lnTo>
                    <a:lnTo>
                      <a:pt x="835" y="188"/>
                    </a:lnTo>
                    <a:lnTo>
                      <a:pt x="836" y="185"/>
                    </a:lnTo>
                    <a:lnTo>
                      <a:pt x="838" y="183"/>
                    </a:lnTo>
                    <a:lnTo>
                      <a:pt x="839" y="182"/>
                    </a:lnTo>
                    <a:lnTo>
                      <a:pt x="839" y="182"/>
                    </a:lnTo>
                    <a:lnTo>
                      <a:pt x="843" y="185"/>
                    </a:lnTo>
                    <a:lnTo>
                      <a:pt x="848" y="185"/>
                    </a:lnTo>
                    <a:lnTo>
                      <a:pt x="851" y="185"/>
                    </a:lnTo>
                    <a:lnTo>
                      <a:pt x="851" y="185"/>
                    </a:lnTo>
                    <a:lnTo>
                      <a:pt x="855" y="182"/>
                    </a:lnTo>
                    <a:lnTo>
                      <a:pt x="861" y="179"/>
                    </a:lnTo>
                    <a:lnTo>
                      <a:pt x="867" y="175"/>
                    </a:lnTo>
                    <a:lnTo>
                      <a:pt x="872" y="173"/>
                    </a:lnTo>
                    <a:lnTo>
                      <a:pt x="872" y="173"/>
                    </a:lnTo>
                    <a:lnTo>
                      <a:pt x="881" y="172"/>
                    </a:lnTo>
                    <a:lnTo>
                      <a:pt x="882" y="170"/>
                    </a:lnTo>
                    <a:lnTo>
                      <a:pt x="882" y="169"/>
                    </a:lnTo>
                    <a:lnTo>
                      <a:pt x="882" y="169"/>
                    </a:lnTo>
                    <a:lnTo>
                      <a:pt x="881" y="168"/>
                    </a:lnTo>
                    <a:lnTo>
                      <a:pt x="878" y="166"/>
                    </a:lnTo>
                    <a:lnTo>
                      <a:pt x="875" y="165"/>
                    </a:lnTo>
                    <a:lnTo>
                      <a:pt x="874" y="163"/>
                    </a:lnTo>
                    <a:lnTo>
                      <a:pt x="874" y="163"/>
                    </a:lnTo>
                    <a:lnTo>
                      <a:pt x="872" y="160"/>
                    </a:lnTo>
                    <a:lnTo>
                      <a:pt x="872" y="156"/>
                    </a:lnTo>
                    <a:lnTo>
                      <a:pt x="872" y="152"/>
                    </a:lnTo>
                    <a:lnTo>
                      <a:pt x="872" y="147"/>
                    </a:lnTo>
                    <a:lnTo>
                      <a:pt x="872" y="147"/>
                    </a:lnTo>
                    <a:lnTo>
                      <a:pt x="872" y="143"/>
                    </a:lnTo>
                    <a:lnTo>
                      <a:pt x="874" y="139"/>
                    </a:lnTo>
                    <a:lnTo>
                      <a:pt x="877" y="133"/>
                    </a:lnTo>
                    <a:lnTo>
                      <a:pt x="881" y="130"/>
                    </a:lnTo>
                    <a:lnTo>
                      <a:pt x="881" y="130"/>
                    </a:lnTo>
                    <a:lnTo>
                      <a:pt x="891" y="123"/>
                    </a:lnTo>
                    <a:lnTo>
                      <a:pt x="900" y="117"/>
                    </a:lnTo>
                    <a:lnTo>
                      <a:pt x="900" y="117"/>
                    </a:lnTo>
                    <a:lnTo>
                      <a:pt x="906" y="113"/>
                    </a:lnTo>
                    <a:lnTo>
                      <a:pt x="910" y="113"/>
                    </a:lnTo>
                    <a:lnTo>
                      <a:pt x="910" y="113"/>
                    </a:lnTo>
                    <a:lnTo>
                      <a:pt x="916" y="111"/>
                    </a:lnTo>
                    <a:lnTo>
                      <a:pt x="923" y="107"/>
                    </a:lnTo>
                    <a:lnTo>
                      <a:pt x="930" y="102"/>
                    </a:lnTo>
                    <a:lnTo>
                      <a:pt x="932" y="99"/>
                    </a:lnTo>
                    <a:lnTo>
                      <a:pt x="932" y="99"/>
                    </a:lnTo>
                    <a:lnTo>
                      <a:pt x="932" y="98"/>
                    </a:lnTo>
                    <a:lnTo>
                      <a:pt x="929" y="97"/>
                    </a:lnTo>
                    <a:lnTo>
                      <a:pt x="929" y="95"/>
                    </a:lnTo>
                    <a:lnTo>
                      <a:pt x="932" y="94"/>
                    </a:lnTo>
                    <a:lnTo>
                      <a:pt x="932" y="94"/>
                    </a:lnTo>
                    <a:lnTo>
                      <a:pt x="926" y="89"/>
                    </a:lnTo>
                    <a:lnTo>
                      <a:pt x="924" y="85"/>
                    </a:lnTo>
                    <a:close/>
                    <a:moveTo>
                      <a:pt x="203" y="185"/>
                    </a:moveTo>
                    <a:lnTo>
                      <a:pt x="203" y="185"/>
                    </a:lnTo>
                    <a:lnTo>
                      <a:pt x="202" y="186"/>
                    </a:lnTo>
                    <a:lnTo>
                      <a:pt x="199" y="188"/>
                    </a:lnTo>
                    <a:lnTo>
                      <a:pt x="196" y="189"/>
                    </a:lnTo>
                    <a:lnTo>
                      <a:pt x="196" y="189"/>
                    </a:lnTo>
                    <a:lnTo>
                      <a:pt x="190" y="182"/>
                    </a:lnTo>
                    <a:lnTo>
                      <a:pt x="187" y="178"/>
                    </a:lnTo>
                    <a:lnTo>
                      <a:pt x="187" y="178"/>
                    </a:lnTo>
                    <a:lnTo>
                      <a:pt x="187" y="170"/>
                    </a:lnTo>
                    <a:lnTo>
                      <a:pt x="187" y="169"/>
                    </a:lnTo>
                    <a:lnTo>
                      <a:pt x="190" y="168"/>
                    </a:lnTo>
                    <a:lnTo>
                      <a:pt x="190" y="168"/>
                    </a:lnTo>
                    <a:lnTo>
                      <a:pt x="192" y="168"/>
                    </a:lnTo>
                    <a:lnTo>
                      <a:pt x="192" y="169"/>
                    </a:lnTo>
                    <a:lnTo>
                      <a:pt x="193" y="175"/>
                    </a:lnTo>
                    <a:lnTo>
                      <a:pt x="193" y="175"/>
                    </a:lnTo>
                    <a:lnTo>
                      <a:pt x="196" y="178"/>
                    </a:lnTo>
                    <a:lnTo>
                      <a:pt x="196" y="179"/>
                    </a:lnTo>
                    <a:lnTo>
                      <a:pt x="197" y="178"/>
                    </a:lnTo>
                    <a:lnTo>
                      <a:pt x="197" y="178"/>
                    </a:lnTo>
                    <a:lnTo>
                      <a:pt x="197" y="173"/>
                    </a:lnTo>
                    <a:lnTo>
                      <a:pt x="199" y="172"/>
                    </a:lnTo>
                    <a:lnTo>
                      <a:pt x="199" y="173"/>
                    </a:lnTo>
                    <a:lnTo>
                      <a:pt x="199" y="173"/>
                    </a:lnTo>
                    <a:lnTo>
                      <a:pt x="202" y="179"/>
                    </a:lnTo>
                    <a:lnTo>
                      <a:pt x="203" y="182"/>
                    </a:lnTo>
                    <a:lnTo>
                      <a:pt x="203" y="185"/>
                    </a:lnTo>
                    <a:close/>
                    <a:moveTo>
                      <a:pt x="232" y="262"/>
                    </a:moveTo>
                    <a:lnTo>
                      <a:pt x="232" y="262"/>
                    </a:lnTo>
                    <a:lnTo>
                      <a:pt x="231" y="263"/>
                    </a:lnTo>
                    <a:lnTo>
                      <a:pt x="229" y="265"/>
                    </a:lnTo>
                    <a:lnTo>
                      <a:pt x="225" y="266"/>
                    </a:lnTo>
                    <a:lnTo>
                      <a:pt x="225" y="266"/>
                    </a:lnTo>
                    <a:lnTo>
                      <a:pt x="222" y="268"/>
                    </a:lnTo>
                    <a:lnTo>
                      <a:pt x="219" y="269"/>
                    </a:lnTo>
                    <a:lnTo>
                      <a:pt x="216" y="270"/>
                    </a:lnTo>
                    <a:lnTo>
                      <a:pt x="215" y="270"/>
                    </a:lnTo>
                    <a:lnTo>
                      <a:pt x="215" y="270"/>
                    </a:lnTo>
                    <a:lnTo>
                      <a:pt x="216" y="268"/>
                    </a:lnTo>
                    <a:lnTo>
                      <a:pt x="222" y="262"/>
                    </a:lnTo>
                    <a:lnTo>
                      <a:pt x="232" y="253"/>
                    </a:lnTo>
                    <a:lnTo>
                      <a:pt x="232" y="253"/>
                    </a:lnTo>
                    <a:lnTo>
                      <a:pt x="234" y="253"/>
                    </a:lnTo>
                    <a:lnTo>
                      <a:pt x="234" y="256"/>
                    </a:lnTo>
                    <a:lnTo>
                      <a:pt x="232" y="262"/>
                    </a:lnTo>
                    <a:close/>
                    <a:moveTo>
                      <a:pt x="293" y="34"/>
                    </a:moveTo>
                    <a:lnTo>
                      <a:pt x="293" y="34"/>
                    </a:lnTo>
                    <a:lnTo>
                      <a:pt x="289" y="36"/>
                    </a:lnTo>
                    <a:lnTo>
                      <a:pt x="284" y="36"/>
                    </a:lnTo>
                    <a:lnTo>
                      <a:pt x="281" y="34"/>
                    </a:lnTo>
                    <a:lnTo>
                      <a:pt x="280" y="36"/>
                    </a:lnTo>
                    <a:lnTo>
                      <a:pt x="280" y="36"/>
                    </a:lnTo>
                    <a:lnTo>
                      <a:pt x="276" y="37"/>
                    </a:lnTo>
                    <a:lnTo>
                      <a:pt x="271" y="39"/>
                    </a:lnTo>
                    <a:lnTo>
                      <a:pt x="271" y="39"/>
                    </a:lnTo>
                    <a:lnTo>
                      <a:pt x="270" y="37"/>
                    </a:lnTo>
                    <a:lnTo>
                      <a:pt x="268" y="36"/>
                    </a:lnTo>
                    <a:lnTo>
                      <a:pt x="267" y="34"/>
                    </a:lnTo>
                    <a:lnTo>
                      <a:pt x="263" y="34"/>
                    </a:lnTo>
                    <a:lnTo>
                      <a:pt x="263" y="34"/>
                    </a:lnTo>
                    <a:lnTo>
                      <a:pt x="260" y="33"/>
                    </a:lnTo>
                    <a:lnTo>
                      <a:pt x="258" y="31"/>
                    </a:lnTo>
                    <a:lnTo>
                      <a:pt x="260" y="30"/>
                    </a:lnTo>
                    <a:lnTo>
                      <a:pt x="261" y="30"/>
                    </a:lnTo>
                    <a:lnTo>
                      <a:pt x="261" y="30"/>
                    </a:lnTo>
                    <a:lnTo>
                      <a:pt x="270" y="30"/>
                    </a:lnTo>
                    <a:lnTo>
                      <a:pt x="277" y="30"/>
                    </a:lnTo>
                    <a:lnTo>
                      <a:pt x="277" y="30"/>
                    </a:lnTo>
                    <a:lnTo>
                      <a:pt x="290" y="30"/>
                    </a:lnTo>
                    <a:lnTo>
                      <a:pt x="294" y="31"/>
                    </a:lnTo>
                    <a:lnTo>
                      <a:pt x="294" y="33"/>
                    </a:lnTo>
                    <a:lnTo>
                      <a:pt x="293" y="3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3" name="Freeform 696"/>
              <p:cNvSpPr>
                <a:spLocks/>
              </p:cNvSpPr>
              <p:nvPr/>
            </p:nvSpPr>
            <p:spPr bwMode="auto">
              <a:xfrm>
                <a:off x="2417392" y="2429772"/>
                <a:ext cx="921990" cy="490673"/>
              </a:xfrm>
              <a:custGeom>
                <a:avLst/>
                <a:gdLst>
                  <a:gd name="T0" fmla="*/ 919 w 932"/>
                  <a:gd name="T1" fmla="*/ 44 h 496"/>
                  <a:gd name="T2" fmla="*/ 878 w 932"/>
                  <a:gd name="T3" fmla="*/ 66 h 496"/>
                  <a:gd name="T4" fmla="*/ 780 w 932"/>
                  <a:gd name="T5" fmla="*/ 115 h 496"/>
                  <a:gd name="T6" fmla="*/ 767 w 932"/>
                  <a:gd name="T7" fmla="*/ 137 h 496"/>
                  <a:gd name="T8" fmla="*/ 738 w 932"/>
                  <a:gd name="T9" fmla="*/ 149 h 496"/>
                  <a:gd name="T10" fmla="*/ 672 w 932"/>
                  <a:gd name="T11" fmla="*/ 170 h 496"/>
                  <a:gd name="T12" fmla="*/ 675 w 932"/>
                  <a:gd name="T13" fmla="*/ 155 h 496"/>
                  <a:gd name="T14" fmla="*/ 683 w 932"/>
                  <a:gd name="T15" fmla="*/ 127 h 496"/>
                  <a:gd name="T16" fmla="*/ 661 w 932"/>
                  <a:gd name="T17" fmla="*/ 127 h 496"/>
                  <a:gd name="T18" fmla="*/ 662 w 932"/>
                  <a:gd name="T19" fmla="*/ 85 h 496"/>
                  <a:gd name="T20" fmla="*/ 649 w 932"/>
                  <a:gd name="T21" fmla="*/ 76 h 496"/>
                  <a:gd name="T22" fmla="*/ 632 w 932"/>
                  <a:gd name="T23" fmla="*/ 94 h 496"/>
                  <a:gd name="T24" fmla="*/ 619 w 932"/>
                  <a:gd name="T25" fmla="*/ 144 h 496"/>
                  <a:gd name="T26" fmla="*/ 599 w 932"/>
                  <a:gd name="T27" fmla="*/ 165 h 496"/>
                  <a:gd name="T28" fmla="*/ 603 w 932"/>
                  <a:gd name="T29" fmla="*/ 99 h 496"/>
                  <a:gd name="T30" fmla="*/ 607 w 932"/>
                  <a:gd name="T31" fmla="*/ 78 h 496"/>
                  <a:gd name="T32" fmla="*/ 635 w 932"/>
                  <a:gd name="T33" fmla="*/ 72 h 496"/>
                  <a:gd name="T34" fmla="*/ 651 w 932"/>
                  <a:gd name="T35" fmla="*/ 65 h 496"/>
                  <a:gd name="T36" fmla="*/ 629 w 932"/>
                  <a:gd name="T37" fmla="*/ 56 h 496"/>
                  <a:gd name="T38" fmla="*/ 607 w 932"/>
                  <a:gd name="T39" fmla="*/ 56 h 496"/>
                  <a:gd name="T40" fmla="*/ 591 w 932"/>
                  <a:gd name="T41" fmla="*/ 40 h 496"/>
                  <a:gd name="T42" fmla="*/ 557 w 932"/>
                  <a:gd name="T43" fmla="*/ 56 h 496"/>
                  <a:gd name="T44" fmla="*/ 526 w 932"/>
                  <a:gd name="T45" fmla="*/ 53 h 496"/>
                  <a:gd name="T46" fmla="*/ 545 w 932"/>
                  <a:gd name="T47" fmla="*/ 36 h 496"/>
                  <a:gd name="T48" fmla="*/ 555 w 932"/>
                  <a:gd name="T49" fmla="*/ 17 h 496"/>
                  <a:gd name="T50" fmla="*/ 509 w 932"/>
                  <a:gd name="T51" fmla="*/ 14 h 496"/>
                  <a:gd name="T52" fmla="*/ 32 w 932"/>
                  <a:gd name="T53" fmla="*/ 11 h 496"/>
                  <a:gd name="T54" fmla="*/ 15 w 932"/>
                  <a:gd name="T55" fmla="*/ 20 h 496"/>
                  <a:gd name="T56" fmla="*/ 9 w 932"/>
                  <a:gd name="T57" fmla="*/ 52 h 496"/>
                  <a:gd name="T58" fmla="*/ 3 w 932"/>
                  <a:gd name="T59" fmla="*/ 134 h 496"/>
                  <a:gd name="T60" fmla="*/ 9 w 932"/>
                  <a:gd name="T61" fmla="*/ 198 h 496"/>
                  <a:gd name="T62" fmla="*/ 37 w 932"/>
                  <a:gd name="T63" fmla="*/ 253 h 496"/>
                  <a:gd name="T64" fmla="*/ 69 w 932"/>
                  <a:gd name="T65" fmla="*/ 307 h 496"/>
                  <a:gd name="T66" fmla="*/ 106 w 932"/>
                  <a:gd name="T67" fmla="*/ 323 h 496"/>
                  <a:gd name="T68" fmla="*/ 294 w 932"/>
                  <a:gd name="T69" fmla="*/ 370 h 496"/>
                  <a:gd name="T70" fmla="*/ 352 w 932"/>
                  <a:gd name="T71" fmla="*/ 422 h 496"/>
                  <a:gd name="T72" fmla="*/ 386 w 932"/>
                  <a:gd name="T73" fmla="*/ 420 h 496"/>
                  <a:gd name="T74" fmla="*/ 418 w 932"/>
                  <a:gd name="T75" fmla="*/ 466 h 496"/>
                  <a:gd name="T76" fmla="*/ 445 w 932"/>
                  <a:gd name="T77" fmla="*/ 441 h 496"/>
                  <a:gd name="T78" fmla="*/ 481 w 932"/>
                  <a:gd name="T79" fmla="*/ 415 h 496"/>
                  <a:gd name="T80" fmla="*/ 512 w 932"/>
                  <a:gd name="T81" fmla="*/ 409 h 496"/>
                  <a:gd name="T82" fmla="*/ 545 w 932"/>
                  <a:gd name="T83" fmla="*/ 417 h 496"/>
                  <a:gd name="T84" fmla="*/ 584 w 932"/>
                  <a:gd name="T85" fmla="*/ 398 h 496"/>
                  <a:gd name="T86" fmla="*/ 610 w 932"/>
                  <a:gd name="T87" fmla="*/ 396 h 496"/>
                  <a:gd name="T88" fmla="*/ 642 w 932"/>
                  <a:gd name="T89" fmla="*/ 407 h 496"/>
                  <a:gd name="T90" fmla="*/ 674 w 932"/>
                  <a:gd name="T91" fmla="*/ 418 h 496"/>
                  <a:gd name="T92" fmla="*/ 688 w 932"/>
                  <a:gd name="T93" fmla="*/ 462 h 496"/>
                  <a:gd name="T94" fmla="*/ 709 w 932"/>
                  <a:gd name="T95" fmla="*/ 488 h 496"/>
                  <a:gd name="T96" fmla="*/ 716 w 932"/>
                  <a:gd name="T97" fmla="*/ 444 h 496"/>
                  <a:gd name="T98" fmla="*/ 706 w 932"/>
                  <a:gd name="T99" fmla="*/ 365 h 496"/>
                  <a:gd name="T100" fmla="*/ 742 w 932"/>
                  <a:gd name="T101" fmla="*/ 331 h 496"/>
                  <a:gd name="T102" fmla="*/ 780 w 932"/>
                  <a:gd name="T103" fmla="*/ 311 h 496"/>
                  <a:gd name="T104" fmla="*/ 790 w 932"/>
                  <a:gd name="T105" fmla="*/ 294 h 496"/>
                  <a:gd name="T106" fmla="*/ 783 w 932"/>
                  <a:gd name="T107" fmla="*/ 252 h 496"/>
                  <a:gd name="T108" fmla="*/ 788 w 932"/>
                  <a:gd name="T109" fmla="*/ 259 h 496"/>
                  <a:gd name="T110" fmla="*/ 804 w 932"/>
                  <a:gd name="T111" fmla="*/ 234 h 496"/>
                  <a:gd name="T112" fmla="*/ 810 w 932"/>
                  <a:gd name="T113" fmla="*/ 220 h 496"/>
                  <a:gd name="T114" fmla="*/ 833 w 932"/>
                  <a:gd name="T115" fmla="*/ 189 h 496"/>
                  <a:gd name="T116" fmla="*/ 855 w 932"/>
                  <a:gd name="T117" fmla="*/ 182 h 496"/>
                  <a:gd name="T118" fmla="*/ 875 w 932"/>
                  <a:gd name="T119" fmla="*/ 165 h 496"/>
                  <a:gd name="T120" fmla="*/ 881 w 932"/>
                  <a:gd name="T121" fmla="*/ 130 h 496"/>
                  <a:gd name="T122" fmla="*/ 932 w 932"/>
                  <a:gd name="T123" fmla="*/ 99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32" h="496">
                    <a:moveTo>
                      <a:pt x="924" y="85"/>
                    </a:moveTo>
                    <a:lnTo>
                      <a:pt x="924" y="85"/>
                    </a:lnTo>
                    <a:lnTo>
                      <a:pt x="926" y="79"/>
                    </a:lnTo>
                    <a:lnTo>
                      <a:pt x="926" y="75"/>
                    </a:lnTo>
                    <a:lnTo>
                      <a:pt x="923" y="71"/>
                    </a:lnTo>
                    <a:lnTo>
                      <a:pt x="923" y="71"/>
                    </a:lnTo>
                    <a:lnTo>
                      <a:pt x="922" y="68"/>
                    </a:lnTo>
                    <a:lnTo>
                      <a:pt x="922" y="65"/>
                    </a:lnTo>
                    <a:lnTo>
                      <a:pt x="920" y="56"/>
                    </a:lnTo>
                    <a:lnTo>
                      <a:pt x="920" y="47"/>
                    </a:lnTo>
                    <a:lnTo>
                      <a:pt x="919" y="44"/>
                    </a:lnTo>
                    <a:lnTo>
                      <a:pt x="917" y="44"/>
                    </a:lnTo>
                    <a:lnTo>
                      <a:pt x="917" y="44"/>
                    </a:lnTo>
                    <a:lnTo>
                      <a:pt x="904" y="42"/>
                    </a:lnTo>
                    <a:lnTo>
                      <a:pt x="898" y="43"/>
                    </a:lnTo>
                    <a:lnTo>
                      <a:pt x="894" y="44"/>
                    </a:lnTo>
                    <a:lnTo>
                      <a:pt x="894" y="44"/>
                    </a:lnTo>
                    <a:lnTo>
                      <a:pt x="890" y="47"/>
                    </a:lnTo>
                    <a:lnTo>
                      <a:pt x="884" y="53"/>
                    </a:lnTo>
                    <a:lnTo>
                      <a:pt x="880" y="60"/>
                    </a:lnTo>
                    <a:lnTo>
                      <a:pt x="878" y="66"/>
                    </a:lnTo>
                    <a:lnTo>
                      <a:pt x="878" y="66"/>
                    </a:lnTo>
                    <a:lnTo>
                      <a:pt x="875" y="73"/>
                    </a:lnTo>
                    <a:lnTo>
                      <a:pt x="868" y="82"/>
                    </a:lnTo>
                    <a:lnTo>
                      <a:pt x="861" y="91"/>
                    </a:lnTo>
                    <a:lnTo>
                      <a:pt x="856" y="95"/>
                    </a:lnTo>
                    <a:lnTo>
                      <a:pt x="856" y="95"/>
                    </a:lnTo>
                    <a:lnTo>
                      <a:pt x="836" y="97"/>
                    </a:lnTo>
                    <a:lnTo>
                      <a:pt x="814" y="97"/>
                    </a:lnTo>
                    <a:lnTo>
                      <a:pt x="814" y="97"/>
                    </a:lnTo>
                    <a:lnTo>
                      <a:pt x="807" y="98"/>
                    </a:lnTo>
                    <a:lnTo>
                      <a:pt x="798" y="104"/>
                    </a:lnTo>
                    <a:lnTo>
                      <a:pt x="780" y="115"/>
                    </a:lnTo>
                    <a:lnTo>
                      <a:pt x="780" y="115"/>
                    </a:lnTo>
                    <a:lnTo>
                      <a:pt x="783" y="118"/>
                    </a:lnTo>
                    <a:lnTo>
                      <a:pt x="784" y="121"/>
                    </a:lnTo>
                    <a:lnTo>
                      <a:pt x="784" y="124"/>
                    </a:lnTo>
                    <a:lnTo>
                      <a:pt x="784" y="127"/>
                    </a:lnTo>
                    <a:lnTo>
                      <a:pt x="784" y="127"/>
                    </a:lnTo>
                    <a:lnTo>
                      <a:pt x="781" y="133"/>
                    </a:lnTo>
                    <a:lnTo>
                      <a:pt x="778" y="136"/>
                    </a:lnTo>
                    <a:lnTo>
                      <a:pt x="774" y="137"/>
                    </a:lnTo>
                    <a:lnTo>
                      <a:pt x="774" y="137"/>
                    </a:lnTo>
                    <a:lnTo>
                      <a:pt x="767" y="137"/>
                    </a:lnTo>
                    <a:lnTo>
                      <a:pt x="762" y="137"/>
                    </a:lnTo>
                    <a:lnTo>
                      <a:pt x="758" y="136"/>
                    </a:lnTo>
                    <a:lnTo>
                      <a:pt x="758" y="136"/>
                    </a:lnTo>
                    <a:lnTo>
                      <a:pt x="755" y="134"/>
                    </a:lnTo>
                    <a:lnTo>
                      <a:pt x="751" y="134"/>
                    </a:lnTo>
                    <a:lnTo>
                      <a:pt x="751" y="134"/>
                    </a:lnTo>
                    <a:lnTo>
                      <a:pt x="730" y="144"/>
                    </a:lnTo>
                    <a:lnTo>
                      <a:pt x="730" y="144"/>
                    </a:lnTo>
                    <a:lnTo>
                      <a:pt x="736" y="147"/>
                    </a:lnTo>
                    <a:lnTo>
                      <a:pt x="738" y="149"/>
                    </a:lnTo>
                    <a:lnTo>
                      <a:pt x="738" y="149"/>
                    </a:lnTo>
                    <a:lnTo>
                      <a:pt x="736" y="150"/>
                    </a:lnTo>
                    <a:lnTo>
                      <a:pt x="733" y="153"/>
                    </a:lnTo>
                    <a:lnTo>
                      <a:pt x="726" y="156"/>
                    </a:lnTo>
                    <a:lnTo>
                      <a:pt x="710" y="162"/>
                    </a:lnTo>
                    <a:lnTo>
                      <a:pt x="710" y="162"/>
                    </a:lnTo>
                    <a:lnTo>
                      <a:pt x="694" y="169"/>
                    </a:lnTo>
                    <a:lnTo>
                      <a:pt x="685" y="173"/>
                    </a:lnTo>
                    <a:lnTo>
                      <a:pt x="681" y="175"/>
                    </a:lnTo>
                    <a:lnTo>
                      <a:pt x="681" y="175"/>
                    </a:lnTo>
                    <a:lnTo>
                      <a:pt x="675" y="173"/>
                    </a:lnTo>
                    <a:lnTo>
                      <a:pt x="672" y="170"/>
                    </a:lnTo>
                    <a:lnTo>
                      <a:pt x="672" y="170"/>
                    </a:lnTo>
                    <a:lnTo>
                      <a:pt x="672" y="169"/>
                    </a:lnTo>
                    <a:lnTo>
                      <a:pt x="674" y="169"/>
                    </a:lnTo>
                    <a:lnTo>
                      <a:pt x="675" y="168"/>
                    </a:lnTo>
                    <a:lnTo>
                      <a:pt x="675" y="168"/>
                    </a:lnTo>
                    <a:lnTo>
                      <a:pt x="677" y="168"/>
                    </a:lnTo>
                    <a:lnTo>
                      <a:pt x="678" y="165"/>
                    </a:lnTo>
                    <a:lnTo>
                      <a:pt x="678" y="162"/>
                    </a:lnTo>
                    <a:lnTo>
                      <a:pt x="677" y="159"/>
                    </a:lnTo>
                    <a:lnTo>
                      <a:pt x="677" y="159"/>
                    </a:lnTo>
                    <a:lnTo>
                      <a:pt x="675" y="155"/>
                    </a:lnTo>
                    <a:lnTo>
                      <a:pt x="677" y="153"/>
                    </a:lnTo>
                    <a:lnTo>
                      <a:pt x="678" y="153"/>
                    </a:lnTo>
                    <a:lnTo>
                      <a:pt x="678" y="153"/>
                    </a:lnTo>
                    <a:lnTo>
                      <a:pt x="680" y="147"/>
                    </a:lnTo>
                    <a:lnTo>
                      <a:pt x="683" y="141"/>
                    </a:lnTo>
                    <a:lnTo>
                      <a:pt x="683" y="141"/>
                    </a:lnTo>
                    <a:lnTo>
                      <a:pt x="684" y="139"/>
                    </a:lnTo>
                    <a:lnTo>
                      <a:pt x="684" y="139"/>
                    </a:lnTo>
                    <a:lnTo>
                      <a:pt x="683" y="134"/>
                    </a:lnTo>
                    <a:lnTo>
                      <a:pt x="683" y="127"/>
                    </a:lnTo>
                    <a:lnTo>
                      <a:pt x="683" y="127"/>
                    </a:lnTo>
                    <a:lnTo>
                      <a:pt x="681" y="123"/>
                    </a:lnTo>
                    <a:lnTo>
                      <a:pt x="678" y="120"/>
                    </a:lnTo>
                    <a:lnTo>
                      <a:pt x="677" y="118"/>
                    </a:lnTo>
                    <a:lnTo>
                      <a:pt x="674" y="118"/>
                    </a:lnTo>
                    <a:lnTo>
                      <a:pt x="674" y="118"/>
                    </a:lnTo>
                    <a:lnTo>
                      <a:pt x="671" y="120"/>
                    </a:lnTo>
                    <a:lnTo>
                      <a:pt x="668" y="124"/>
                    </a:lnTo>
                    <a:lnTo>
                      <a:pt x="665" y="127"/>
                    </a:lnTo>
                    <a:lnTo>
                      <a:pt x="662" y="128"/>
                    </a:lnTo>
                    <a:lnTo>
                      <a:pt x="662" y="128"/>
                    </a:lnTo>
                    <a:lnTo>
                      <a:pt x="661" y="127"/>
                    </a:lnTo>
                    <a:lnTo>
                      <a:pt x="661" y="124"/>
                    </a:lnTo>
                    <a:lnTo>
                      <a:pt x="661" y="121"/>
                    </a:lnTo>
                    <a:lnTo>
                      <a:pt x="661" y="118"/>
                    </a:lnTo>
                    <a:lnTo>
                      <a:pt x="661" y="118"/>
                    </a:lnTo>
                    <a:lnTo>
                      <a:pt x="665" y="114"/>
                    </a:lnTo>
                    <a:lnTo>
                      <a:pt x="668" y="110"/>
                    </a:lnTo>
                    <a:lnTo>
                      <a:pt x="668" y="110"/>
                    </a:lnTo>
                    <a:lnTo>
                      <a:pt x="667" y="99"/>
                    </a:lnTo>
                    <a:lnTo>
                      <a:pt x="665" y="89"/>
                    </a:lnTo>
                    <a:lnTo>
                      <a:pt x="665" y="89"/>
                    </a:lnTo>
                    <a:lnTo>
                      <a:pt x="662" y="85"/>
                    </a:lnTo>
                    <a:lnTo>
                      <a:pt x="659" y="84"/>
                    </a:lnTo>
                    <a:lnTo>
                      <a:pt x="658" y="85"/>
                    </a:lnTo>
                    <a:lnTo>
                      <a:pt x="658" y="85"/>
                    </a:lnTo>
                    <a:lnTo>
                      <a:pt x="658" y="85"/>
                    </a:lnTo>
                    <a:lnTo>
                      <a:pt x="657" y="85"/>
                    </a:lnTo>
                    <a:lnTo>
                      <a:pt x="654" y="82"/>
                    </a:lnTo>
                    <a:lnTo>
                      <a:pt x="654" y="82"/>
                    </a:lnTo>
                    <a:lnTo>
                      <a:pt x="652" y="79"/>
                    </a:lnTo>
                    <a:lnTo>
                      <a:pt x="651" y="78"/>
                    </a:lnTo>
                    <a:lnTo>
                      <a:pt x="651" y="76"/>
                    </a:lnTo>
                    <a:lnTo>
                      <a:pt x="649" y="76"/>
                    </a:lnTo>
                    <a:lnTo>
                      <a:pt x="649" y="76"/>
                    </a:lnTo>
                    <a:lnTo>
                      <a:pt x="646" y="76"/>
                    </a:lnTo>
                    <a:lnTo>
                      <a:pt x="642" y="78"/>
                    </a:lnTo>
                    <a:lnTo>
                      <a:pt x="642" y="78"/>
                    </a:lnTo>
                    <a:lnTo>
                      <a:pt x="641" y="81"/>
                    </a:lnTo>
                    <a:lnTo>
                      <a:pt x="639" y="82"/>
                    </a:lnTo>
                    <a:lnTo>
                      <a:pt x="638" y="88"/>
                    </a:lnTo>
                    <a:lnTo>
                      <a:pt x="638" y="88"/>
                    </a:lnTo>
                    <a:lnTo>
                      <a:pt x="635" y="91"/>
                    </a:lnTo>
                    <a:lnTo>
                      <a:pt x="632" y="94"/>
                    </a:lnTo>
                    <a:lnTo>
                      <a:pt x="632" y="94"/>
                    </a:lnTo>
                    <a:lnTo>
                      <a:pt x="628" y="95"/>
                    </a:lnTo>
                    <a:lnTo>
                      <a:pt x="623" y="99"/>
                    </a:lnTo>
                    <a:lnTo>
                      <a:pt x="623" y="99"/>
                    </a:lnTo>
                    <a:lnTo>
                      <a:pt x="620" y="110"/>
                    </a:lnTo>
                    <a:lnTo>
                      <a:pt x="616" y="123"/>
                    </a:lnTo>
                    <a:lnTo>
                      <a:pt x="616" y="123"/>
                    </a:lnTo>
                    <a:lnTo>
                      <a:pt x="616" y="127"/>
                    </a:lnTo>
                    <a:lnTo>
                      <a:pt x="616" y="131"/>
                    </a:lnTo>
                    <a:lnTo>
                      <a:pt x="619" y="139"/>
                    </a:lnTo>
                    <a:lnTo>
                      <a:pt x="619" y="139"/>
                    </a:lnTo>
                    <a:lnTo>
                      <a:pt x="619" y="144"/>
                    </a:lnTo>
                    <a:lnTo>
                      <a:pt x="619" y="150"/>
                    </a:lnTo>
                    <a:lnTo>
                      <a:pt x="617" y="157"/>
                    </a:lnTo>
                    <a:lnTo>
                      <a:pt x="615" y="162"/>
                    </a:lnTo>
                    <a:lnTo>
                      <a:pt x="615" y="162"/>
                    </a:lnTo>
                    <a:lnTo>
                      <a:pt x="612" y="166"/>
                    </a:lnTo>
                    <a:lnTo>
                      <a:pt x="609" y="168"/>
                    </a:lnTo>
                    <a:lnTo>
                      <a:pt x="606" y="169"/>
                    </a:lnTo>
                    <a:lnTo>
                      <a:pt x="606" y="169"/>
                    </a:lnTo>
                    <a:lnTo>
                      <a:pt x="603" y="168"/>
                    </a:lnTo>
                    <a:lnTo>
                      <a:pt x="600" y="168"/>
                    </a:lnTo>
                    <a:lnTo>
                      <a:pt x="599" y="165"/>
                    </a:lnTo>
                    <a:lnTo>
                      <a:pt x="599" y="160"/>
                    </a:lnTo>
                    <a:lnTo>
                      <a:pt x="599" y="160"/>
                    </a:lnTo>
                    <a:lnTo>
                      <a:pt x="596" y="149"/>
                    </a:lnTo>
                    <a:lnTo>
                      <a:pt x="594" y="137"/>
                    </a:lnTo>
                    <a:lnTo>
                      <a:pt x="594" y="137"/>
                    </a:lnTo>
                    <a:lnTo>
                      <a:pt x="597" y="124"/>
                    </a:lnTo>
                    <a:lnTo>
                      <a:pt x="601" y="111"/>
                    </a:lnTo>
                    <a:lnTo>
                      <a:pt x="601" y="111"/>
                    </a:lnTo>
                    <a:lnTo>
                      <a:pt x="604" y="102"/>
                    </a:lnTo>
                    <a:lnTo>
                      <a:pt x="604" y="99"/>
                    </a:lnTo>
                    <a:lnTo>
                      <a:pt x="603" y="99"/>
                    </a:lnTo>
                    <a:lnTo>
                      <a:pt x="603" y="99"/>
                    </a:lnTo>
                    <a:lnTo>
                      <a:pt x="600" y="102"/>
                    </a:lnTo>
                    <a:lnTo>
                      <a:pt x="599" y="104"/>
                    </a:lnTo>
                    <a:lnTo>
                      <a:pt x="597" y="105"/>
                    </a:lnTo>
                    <a:lnTo>
                      <a:pt x="596" y="102"/>
                    </a:lnTo>
                    <a:lnTo>
                      <a:pt x="596" y="102"/>
                    </a:lnTo>
                    <a:lnTo>
                      <a:pt x="596" y="98"/>
                    </a:lnTo>
                    <a:lnTo>
                      <a:pt x="599" y="92"/>
                    </a:lnTo>
                    <a:lnTo>
                      <a:pt x="604" y="85"/>
                    </a:lnTo>
                    <a:lnTo>
                      <a:pt x="604" y="85"/>
                    </a:lnTo>
                    <a:lnTo>
                      <a:pt x="607" y="78"/>
                    </a:lnTo>
                    <a:lnTo>
                      <a:pt x="609" y="75"/>
                    </a:lnTo>
                    <a:lnTo>
                      <a:pt x="610" y="75"/>
                    </a:lnTo>
                    <a:lnTo>
                      <a:pt x="610" y="75"/>
                    </a:lnTo>
                    <a:lnTo>
                      <a:pt x="613" y="76"/>
                    </a:lnTo>
                    <a:lnTo>
                      <a:pt x="616" y="75"/>
                    </a:lnTo>
                    <a:lnTo>
                      <a:pt x="616" y="75"/>
                    </a:lnTo>
                    <a:lnTo>
                      <a:pt x="619" y="73"/>
                    </a:lnTo>
                    <a:lnTo>
                      <a:pt x="625" y="73"/>
                    </a:lnTo>
                    <a:lnTo>
                      <a:pt x="625" y="73"/>
                    </a:lnTo>
                    <a:lnTo>
                      <a:pt x="630" y="73"/>
                    </a:lnTo>
                    <a:lnTo>
                      <a:pt x="635" y="72"/>
                    </a:lnTo>
                    <a:lnTo>
                      <a:pt x="635" y="72"/>
                    </a:lnTo>
                    <a:lnTo>
                      <a:pt x="636" y="71"/>
                    </a:lnTo>
                    <a:lnTo>
                      <a:pt x="642" y="71"/>
                    </a:lnTo>
                    <a:lnTo>
                      <a:pt x="642" y="71"/>
                    </a:lnTo>
                    <a:lnTo>
                      <a:pt x="648" y="71"/>
                    </a:lnTo>
                    <a:lnTo>
                      <a:pt x="651" y="69"/>
                    </a:lnTo>
                    <a:lnTo>
                      <a:pt x="651" y="69"/>
                    </a:lnTo>
                    <a:lnTo>
                      <a:pt x="652" y="66"/>
                    </a:lnTo>
                    <a:lnTo>
                      <a:pt x="652" y="65"/>
                    </a:lnTo>
                    <a:lnTo>
                      <a:pt x="651" y="65"/>
                    </a:lnTo>
                    <a:lnTo>
                      <a:pt x="651" y="65"/>
                    </a:lnTo>
                    <a:lnTo>
                      <a:pt x="645" y="65"/>
                    </a:lnTo>
                    <a:lnTo>
                      <a:pt x="642" y="65"/>
                    </a:lnTo>
                    <a:lnTo>
                      <a:pt x="639" y="63"/>
                    </a:lnTo>
                    <a:lnTo>
                      <a:pt x="639" y="63"/>
                    </a:lnTo>
                    <a:lnTo>
                      <a:pt x="639" y="62"/>
                    </a:lnTo>
                    <a:lnTo>
                      <a:pt x="638" y="60"/>
                    </a:lnTo>
                    <a:lnTo>
                      <a:pt x="638" y="59"/>
                    </a:lnTo>
                    <a:lnTo>
                      <a:pt x="636" y="57"/>
                    </a:lnTo>
                    <a:lnTo>
                      <a:pt x="636" y="57"/>
                    </a:lnTo>
                    <a:lnTo>
                      <a:pt x="633" y="57"/>
                    </a:lnTo>
                    <a:lnTo>
                      <a:pt x="629" y="56"/>
                    </a:lnTo>
                    <a:lnTo>
                      <a:pt x="629" y="56"/>
                    </a:lnTo>
                    <a:lnTo>
                      <a:pt x="626" y="57"/>
                    </a:lnTo>
                    <a:lnTo>
                      <a:pt x="623" y="59"/>
                    </a:lnTo>
                    <a:lnTo>
                      <a:pt x="622" y="60"/>
                    </a:lnTo>
                    <a:lnTo>
                      <a:pt x="619" y="60"/>
                    </a:lnTo>
                    <a:lnTo>
                      <a:pt x="619" y="60"/>
                    </a:lnTo>
                    <a:lnTo>
                      <a:pt x="615" y="59"/>
                    </a:lnTo>
                    <a:lnTo>
                      <a:pt x="613" y="57"/>
                    </a:lnTo>
                    <a:lnTo>
                      <a:pt x="610" y="56"/>
                    </a:lnTo>
                    <a:lnTo>
                      <a:pt x="607" y="56"/>
                    </a:lnTo>
                    <a:lnTo>
                      <a:pt x="607" y="56"/>
                    </a:lnTo>
                    <a:lnTo>
                      <a:pt x="603" y="55"/>
                    </a:lnTo>
                    <a:lnTo>
                      <a:pt x="599" y="53"/>
                    </a:lnTo>
                    <a:lnTo>
                      <a:pt x="599" y="53"/>
                    </a:lnTo>
                    <a:lnTo>
                      <a:pt x="590" y="53"/>
                    </a:lnTo>
                    <a:lnTo>
                      <a:pt x="587" y="52"/>
                    </a:lnTo>
                    <a:lnTo>
                      <a:pt x="586" y="52"/>
                    </a:lnTo>
                    <a:lnTo>
                      <a:pt x="587" y="50"/>
                    </a:lnTo>
                    <a:lnTo>
                      <a:pt x="587" y="50"/>
                    </a:lnTo>
                    <a:lnTo>
                      <a:pt x="591" y="43"/>
                    </a:lnTo>
                    <a:lnTo>
                      <a:pt x="593" y="40"/>
                    </a:lnTo>
                    <a:lnTo>
                      <a:pt x="591" y="40"/>
                    </a:lnTo>
                    <a:lnTo>
                      <a:pt x="591" y="40"/>
                    </a:lnTo>
                    <a:lnTo>
                      <a:pt x="588" y="40"/>
                    </a:lnTo>
                    <a:lnTo>
                      <a:pt x="584" y="42"/>
                    </a:lnTo>
                    <a:lnTo>
                      <a:pt x="578" y="47"/>
                    </a:lnTo>
                    <a:lnTo>
                      <a:pt x="578" y="47"/>
                    </a:lnTo>
                    <a:lnTo>
                      <a:pt x="575" y="49"/>
                    </a:lnTo>
                    <a:lnTo>
                      <a:pt x="571" y="52"/>
                    </a:lnTo>
                    <a:lnTo>
                      <a:pt x="564" y="53"/>
                    </a:lnTo>
                    <a:lnTo>
                      <a:pt x="564" y="53"/>
                    </a:lnTo>
                    <a:lnTo>
                      <a:pt x="559" y="55"/>
                    </a:lnTo>
                    <a:lnTo>
                      <a:pt x="557" y="56"/>
                    </a:lnTo>
                    <a:lnTo>
                      <a:pt x="552" y="57"/>
                    </a:lnTo>
                    <a:lnTo>
                      <a:pt x="551" y="57"/>
                    </a:lnTo>
                    <a:lnTo>
                      <a:pt x="551" y="57"/>
                    </a:lnTo>
                    <a:lnTo>
                      <a:pt x="548" y="53"/>
                    </a:lnTo>
                    <a:lnTo>
                      <a:pt x="545" y="52"/>
                    </a:lnTo>
                    <a:lnTo>
                      <a:pt x="544" y="52"/>
                    </a:lnTo>
                    <a:lnTo>
                      <a:pt x="544" y="52"/>
                    </a:lnTo>
                    <a:lnTo>
                      <a:pt x="533" y="53"/>
                    </a:lnTo>
                    <a:lnTo>
                      <a:pt x="529" y="55"/>
                    </a:lnTo>
                    <a:lnTo>
                      <a:pt x="528" y="53"/>
                    </a:lnTo>
                    <a:lnTo>
                      <a:pt x="526" y="53"/>
                    </a:lnTo>
                    <a:lnTo>
                      <a:pt x="526" y="53"/>
                    </a:lnTo>
                    <a:lnTo>
                      <a:pt x="528" y="52"/>
                    </a:lnTo>
                    <a:lnTo>
                      <a:pt x="531" y="50"/>
                    </a:lnTo>
                    <a:lnTo>
                      <a:pt x="533" y="49"/>
                    </a:lnTo>
                    <a:lnTo>
                      <a:pt x="536" y="44"/>
                    </a:lnTo>
                    <a:lnTo>
                      <a:pt x="536" y="44"/>
                    </a:lnTo>
                    <a:lnTo>
                      <a:pt x="539" y="42"/>
                    </a:lnTo>
                    <a:lnTo>
                      <a:pt x="541" y="39"/>
                    </a:lnTo>
                    <a:lnTo>
                      <a:pt x="542" y="37"/>
                    </a:lnTo>
                    <a:lnTo>
                      <a:pt x="545" y="36"/>
                    </a:lnTo>
                    <a:lnTo>
                      <a:pt x="545" y="36"/>
                    </a:lnTo>
                    <a:lnTo>
                      <a:pt x="561" y="29"/>
                    </a:lnTo>
                    <a:lnTo>
                      <a:pt x="575" y="23"/>
                    </a:lnTo>
                    <a:lnTo>
                      <a:pt x="575" y="23"/>
                    </a:lnTo>
                    <a:lnTo>
                      <a:pt x="577" y="20"/>
                    </a:lnTo>
                    <a:lnTo>
                      <a:pt x="577" y="20"/>
                    </a:lnTo>
                    <a:lnTo>
                      <a:pt x="571" y="21"/>
                    </a:lnTo>
                    <a:lnTo>
                      <a:pt x="564" y="21"/>
                    </a:lnTo>
                    <a:lnTo>
                      <a:pt x="564" y="21"/>
                    </a:lnTo>
                    <a:lnTo>
                      <a:pt x="561" y="20"/>
                    </a:lnTo>
                    <a:lnTo>
                      <a:pt x="558" y="18"/>
                    </a:lnTo>
                    <a:lnTo>
                      <a:pt x="555" y="17"/>
                    </a:lnTo>
                    <a:lnTo>
                      <a:pt x="552" y="17"/>
                    </a:lnTo>
                    <a:lnTo>
                      <a:pt x="552" y="17"/>
                    </a:lnTo>
                    <a:lnTo>
                      <a:pt x="546" y="18"/>
                    </a:lnTo>
                    <a:lnTo>
                      <a:pt x="544" y="21"/>
                    </a:lnTo>
                    <a:lnTo>
                      <a:pt x="539" y="23"/>
                    </a:lnTo>
                    <a:lnTo>
                      <a:pt x="536" y="23"/>
                    </a:lnTo>
                    <a:lnTo>
                      <a:pt x="533" y="23"/>
                    </a:lnTo>
                    <a:lnTo>
                      <a:pt x="533" y="23"/>
                    </a:lnTo>
                    <a:lnTo>
                      <a:pt x="522" y="17"/>
                    </a:lnTo>
                    <a:lnTo>
                      <a:pt x="515" y="15"/>
                    </a:lnTo>
                    <a:lnTo>
                      <a:pt x="509" y="14"/>
                    </a:lnTo>
                    <a:lnTo>
                      <a:pt x="509" y="14"/>
                    </a:lnTo>
                    <a:lnTo>
                      <a:pt x="502" y="13"/>
                    </a:lnTo>
                    <a:lnTo>
                      <a:pt x="493" y="7"/>
                    </a:lnTo>
                    <a:lnTo>
                      <a:pt x="483" y="2"/>
                    </a:lnTo>
                    <a:lnTo>
                      <a:pt x="477" y="1"/>
                    </a:lnTo>
                    <a:lnTo>
                      <a:pt x="473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32" y="11"/>
                    </a:lnTo>
                    <a:lnTo>
                      <a:pt x="35" y="18"/>
                    </a:lnTo>
                    <a:lnTo>
                      <a:pt x="35" y="18"/>
                    </a:lnTo>
                    <a:lnTo>
                      <a:pt x="35" y="24"/>
                    </a:lnTo>
                    <a:lnTo>
                      <a:pt x="35" y="27"/>
                    </a:lnTo>
                    <a:lnTo>
                      <a:pt x="34" y="27"/>
                    </a:lnTo>
                    <a:lnTo>
                      <a:pt x="34" y="27"/>
                    </a:lnTo>
                    <a:lnTo>
                      <a:pt x="29" y="23"/>
                    </a:lnTo>
                    <a:lnTo>
                      <a:pt x="27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15" y="20"/>
                    </a:lnTo>
                    <a:lnTo>
                      <a:pt x="9" y="20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2" y="17"/>
                    </a:lnTo>
                    <a:lnTo>
                      <a:pt x="0" y="18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5" y="31"/>
                    </a:lnTo>
                    <a:lnTo>
                      <a:pt x="8" y="42"/>
                    </a:lnTo>
                    <a:lnTo>
                      <a:pt x="9" y="52"/>
                    </a:lnTo>
                    <a:lnTo>
                      <a:pt x="9" y="62"/>
                    </a:lnTo>
                    <a:lnTo>
                      <a:pt x="9" y="62"/>
                    </a:lnTo>
                    <a:lnTo>
                      <a:pt x="9" y="72"/>
                    </a:lnTo>
                    <a:lnTo>
                      <a:pt x="9" y="82"/>
                    </a:lnTo>
                    <a:lnTo>
                      <a:pt x="9" y="92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6" y="117"/>
                    </a:lnTo>
                    <a:lnTo>
                      <a:pt x="5" y="127"/>
                    </a:lnTo>
                    <a:lnTo>
                      <a:pt x="3" y="134"/>
                    </a:lnTo>
                    <a:lnTo>
                      <a:pt x="3" y="134"/>
                    </a:lnTo>
                    <a:lnTo>
                      <a:pt x="3" y="139"/>
                    </a:lnTo>
                    <a:lnTo>
                      <a:pt x="3" y="143"/>
                    </a:lnTo>
                    <a:lnTo>
                      <a:pt x="6" y="152"/>
                    </a:lnTo>
                    <a:lnTo>
                      <a:pt x="6" y="152"/>
                    </a:lnTo>
                    <a:lnTo>
                      <a:pt x="8" y="157"/>
                    </a:lnTo>
                    <a:lnTo>
                      <a:pt x="8" y="166"/>
                    </a:lnTo>
                    <a:lnTo>
                      <a:pt x="8" y="166"/>
                    </a:lnTo>
                    <a:lnTo>
                      <a:pt x="6" y="183"/>
                    </a:lnTo>
                    <a:lnTo>
                      <a:pt x="8" y="192"/>
                    </a:lnTo>
                    <a:lnTo>
                      <a:pt x="9" y="198"/>
                    </a:lnTo>
                    <a:lnTo>
                      <a:pt x="9" y="198"/>
                    </a:lnTo>
                    <a:lnTo>
                      <a:pt x="15" y="207"/>
                    </a:lnTo>
                    <a:lnTo>
                      <a:pt x="18" y="211"/>
                    </a:lnTo>
                    <a:lnTo>
                      <a:pt x="19" y="217"/>
                    </a:lnTo>
                    <a:lnTo>
                      <a:pt x="19" y="217"/>
                    </a:lnTo>
                    <a:lnTo>
                      <a:pt x="21" y="226"/>
                    </a:lnTo>
                    <a:lnTo>
                      <a:pt x="24" y="233"/>
                    </a:lnTo>
                    <a:lnTo>
                      <a:pt x="24" y="233"/>
                    </a:lnTo>
                    <a:lnTo>
                      <a:pt x="31" y="241"/>
                    </a:lnTo>
                    <a:lnTo>
                      <a:pt x="34" y="247"/>
                    </a:lnTo>
                    <a:lnTo>
                      <a:pt x="37" y="253"/>
                    </a:lnTo>
                    <a:lnTo>
                      <a:pt x="37" y="253"/>
                    </a:lnTo>
                    <a:lnTo>
                      <a:pt x="40" y="262"/>
                    </a:lnTo>
                    <a:lnTo>
                      <a:pt x="41" y="266"/>
                    </a:lnTo>
                    <a:lnTo>
                      <a:pt x="45" y="270"/>
                    </a:lnTo>
                    <a:lnTo>
                      <a:pt x="45" y="270"/>
                    </a:lnTo>
                    <a:lnTo>
                      <a:pt x="48" y="275"/>
                    </a:lnTo>
                    <a:lnTo>
                      <a:pt x="51" y="281"/>
                    </a:lnTo>
                    <a:lnTo>
                      <a:pt x="54" y="288"/>
                    </a:lnTo>
                    <a:lnTo>
                      <a:pt x="58" y="294"/>
                    </a:lnTo>
                    <a:lnTo>
                      <a:pt x="58" y="294"/>
                    </a:lnTo>
                    <a:lnTo>
                      <a:pt x="66" y="304"/>
                    </a:lnTo>
                    <a:lnTo>
                      <a:pt x="69" y="307"/>
                    </a:lnTo>
                    <a:lnTo>
                      <a:pt x="71" y="311"/>
                    </a:lnTo>
                    <a:lnTo>
                      <a:pt x="71" y="311"/>
                    </a:lnTo>
                    <a:lnTo>
                      <a:pt x="73" y="314"/>
                    </a:lnTo>
                    <a:lnTo>
                      <a:pt x="77" y="314"/>
                    </a:lnTo>
                    <a:lnTo>
                      <a:pt x="83" y="315"/>
                    </a:lnTo>
                    <a:lnTo>
                      <a:pt x="89" y="317"/>
                    </a:lnTo>
                    <a:lnTo>
                      <a:pt x="89" y="317"/>
                    </a:lnTo>
                    <a:lnTo>
                      <a:pt x="93" y="320"/>
                    </a:lnTo>
                    <a:lnTo>
                      <a:pt x="97" y="320"/>
                    </a:lnTo>
                    <a:lnTo>
                      <a:pt x="106" y="323"/>
                    </a:lnTo>
                    <a:lnTo>
                      <a:pt x="106" y="323"/>
                    </a:lnTo>
                    <a:lnTo>
                      <a:pt x="109" y="324"/>
                    </a:lnTo>
                    <a:lnTo>
                      <a:pt x="111" y="325"/>
                    </a:lnTo>
                    <a:lnTo>
                      <a:pt x="113" y="331"/>
                    </a:lnTo>
                    <a:lnTo>
                      <a:pt x="113" y="331"/>
                    </a:lnTo>
                    <a:lnTo>
                      <a:pt x="126" y="357"/>
                    </a:lnTo>
                    <a:lnTo>
                      <a:pt x="163" y="352"/>
                    </a:lnTo>
                    <a:lnTo>
                      <a:pt x="222" y="380"/>
                    </a:lnTo>
                    <a:lnTo>
                      <a:pt x="264" y="380"/>
                    </a:lnTo>
                    <a:lnTo>
                      <a:pt x="268" y="370"/>
                    </a:lnTo>
                    <a:lnTo>
                      <a:pt x="294" y="370"/>
                    </a:lnTo>
                    <a:lnTo>
                      <a:pt x="294" y="370"/>
                    </a:lnTo>
                    <a:lnTo>
                      <a:pt x="296" y="373"/>
                    </a:lnTo>
                    <a:lnTo>
                      <a:pt x="303" y="379"/>
                    </a:lnTo>
                    <a:lnTo>
                      <a:pt x="303" y="379"/>
                    </a:lnTo>
                    <a:lnTo>
                      <a:pt x="307" y="383"/>
                    </a:lnTo>
                    <a:lnTo>
                      <a:pt x="313" y="389"/>
                    </a:lnTo>
                    <a:lnTo>
                      <a:pt x="323" y="404"/>
                    </a:lnTo>
                    <a:lnTo>
                      <a:pt x="323" y="404"/>
                    </a:lnTo>
                    <a:lnTo>
                      <a:pt x="331" y="409"/>
                    </a:lnTo>
                    <a:lnTo>
                      <a:pt x="339" y="415"/>
                    </a:lnTo>
                    <a:lnTo>
                      <a:pt x="348" y="421"/>
                    </a:lnTo>
                    <a:lnTo>
                      <a:pt x="352" y="422"/>
                    </a:lnTo>
                    <a:lnTo>
                      <a:pt x="352" y="422"/>
                    </a:lnTo>
                    <a:lnTo>
                      <a:pt x="354" y="420"/>
                    </a:lnTo>
                    <a:lnTo>
                      <a:pt x="355" y="415"/>
                    </a:lnTo>
                    <a:lnTo>
                      <a:pt x="357" y="411"/>
                    </a:lnTo>
                    <a:lnTo>
                      <a:pt x="360" y="409"/>
                    </a:lnTo>
                    <a:lnTo>
                      <a:pt x="360" y="409"/>
                    </a:lnTo>
                    <a:lnTo>
                      <a:pt x="364" y="409"/>
                    </a:lnTo>
                    <a:lnTo>
                      <a:pt x="371" y="412"/>
                    </a:lnTo>
                    <a:lnTo>
                      <a:pt x="380" y="415"/>
                    </a:lnTo>
                    <a:lnTo>
                      <a:pt x="386" y="420"/>
                    </a:lnTo>
                    <a:lnTo>
                      <a:pt x="386" y="420"/>
                    </a:lnTo>
                    <a:lnTo>
                      <a:pt x="390" y="424"/>
                    </a:lnTo>
                    <a:lnTo>
                      <a:pt x="393" y="431"/>
                    </a:lnTo>
                    <a:lnTo>
                      <a:pt x="397" y="438"/>
                    </a:lnTo>
                    <a:lnTo>
                      <a:pt x="402" y="443"/>
                    </a:lnTo>
                    <a:lnTo>
                      <a:pt x="402" y="443"/>
                    </a:lnTo>
                    <a:lnTo>
                      <a:pt x="405" y="447"/>
                    </a:lnTo>
                    <a:lnTo>
                      <a:pt x="407" y="453"/>
                    </a:lnTo>
                    <a:lnTo>
                      <a:pt x="410" y="459"/>
                    </a:lnTo>
                    <a:lnTo>
                      <a:pt x="413" y="463"/>
                    </a:lnTo>
                    <a:lnTo>
                      <a:pt x="413" y="463"/>
                    </a:lnTo>
                    <a:lnTo>
                      <a:pt x="418" y="466"/>
                    </a:lnTo>
                    <a:lnTo>
                      <a:pt x="425" y="469"/>
                    </a:lnTo>
                    <a:lnTo>
                      <a:pt x="447" y="475"/>
                    </a:lnTo>
                    <a:lnTo>
                      <a:pt x="447" y="475"/>
                    </a:lnTo>
                    <a:lnTo>
                      <a:pt x="447" y="467"/>
                    </a:lnTo>
                    <a:lnTo>
                      <a:pt x="445" y="460"/>
                    </a:lnTo>
                    <a:lnTo>
                      <a:pt x="445" y="460"/>
                    </a:lnTo>
                    <a:lnTo>
                      <a:pt x="445" y="454"/>
                    </a:lnTo>
                    <a:lnTo>
                      <a:pt x="447" y="450"/>
                    </a:lnTo>
                    <a:lnTo>
                      <a:pt x="448" y="444"/>
                    </a:lnTo>
                    <a:lnTo>
                      <a:pt x="448" y="444"/>
                    </a:lnTo>
                    <a:lnTo>
                      <a:pt x="445" y="441"/>
                    </a:lnTo>
                    <a:lnTo>
                      <a:pt x="447" y="440"/>
                    </a:lnTo>
                    <a:lnTo>
                      <a:pt x="449" y="438"/>
                    </a:lnTo>
                    <a:lnTo>
                      <a:pt x="449" y="438"/>
                    </a:lnTo>
                    <a:lnTo>
                      <a:pt x="454" y="437"/>
                    </a:lnTo>
                    <a:lnTo>
                      <a:pt x="457" y="433"/>
                    </a:lnTo>
                    <a:lnTo>
                      <a:pt x="458" y="430"/>
                    </a:lnTo>
                    <a:lnTo>
                      <a:pt x="462" y="427"/>
                    </a:lnTo>
                    <a:lnTo>
                      <a:pt x="462" y="427"/>
                    </a:lnTo>
                    <a:lnTo>
                      <a:pt x="473" y="422"/>
                    </a:lnTo>
                    <a:lnTo>
                      <a:pt x="478" y="420"/>
                    </a:lnTo>
                    <a:lnTo>
                      <a:pt x="481" y="415"/>
                    </a:lnTo>
                    <a:lnTo>
                      <a:pt x="481" y="415"/>
                    </a:lnTo>
                    <a:lnTo>
                      <a:pt x="483" y="412"/>
                    </a:lnTo>
                    <a:lnTo>
                      <a:pt x="483" y="409"/>
                    </a:lnTo>
                    <a:lnTo>
                      <a:pt x="483" y="409"/>
                    </a:lnTo>
                    <a:lnTo>
                      <a:pt x="487" y="409"/>
                    </a:lnTo>
                    <a:lnTo>
                      <a:pt x="487" y="409"/>
                    </a:lnTo>
                    <a:lnTo>
                      <a:pt x="491" y="412"/>
                    </a:lnTo>
                    <a:lnTo>
                      <a:pt x="494" y="412"/>
                    </a:lnTo>
                    <a:lnTo>
                      <a:pt x="502" y="411"/>
                    </a:lnTo>
                    <a:lnTo>
                      <a:pt x="502" y="411"/>
                    </a:lnTo>
                    <a:lnTo>
                      <a:pt x="512" y="409"/>
                    </a:lnTo>
                    <a:lnTo>
                      <a:pt x="522" y="409"/>
                    </a:lnTo>
                    <a:lnTo>
                      <a:pt x="522" y="409"/>
                    </a:lnTo>
                    <a:lnTo>
                      <a:pt x="528" y="408"/>
                    </a:lnTo>
                    <a:lnTo>
                      <a:pt x="531" y="408"/>
                    </a:lnTo>
                    <a:lnTo>
                      <a:pt x="532" y="408"/>
                    </a:lnTo>
                    <a:lnTo>
                      <a:pt x="532" y="408"/>
                    </a:lnTo>
                    <a:lnTo>
                      <a:pt x="538" y="411"/>
                    </a:lnTo>
                    <a:lnTo>
                      <a:pt x="541" y="412"/>
                    </a:lnTo>
                    <a:lnTo>
                      <a:pt x="544" y="414"/>
                    </a:lnTo>
                    <a:lnTo>
                      <a:pt x="544" y="414"/>
                    </a:lnTo>
                    <a:lnTo>
                      <a:pt x="545" y="417"/>
                    </a:lnTo>
                    <a:lnTo>
                      <a:pt x="546" y="418"/>
                    </a:lnTo>
                    <a:lnTo>
                      <a:pt x="549" y="418"/>
                    </a:lnTo>
                    <a:lnTo>
                      <a:pt x="552" y="417"/>
                    </a:lnTo>
                    <a:lnTo>
                      <a:pt x="552" y="417"/>
                    </a:lnTo>
                    <a:lnTo>
                      <a:pt x="558" y="412"/>
                    </a:lnTo>
                    <a:lnTo>
                      <a:pt x="567" y="408"/>
                    </a:lnTo>
                    <a:lnTo>
                      <a:pt x="567" y="408"/>
                    </a:lnTo>
                    <a:lnTo>
                      <a:pt x="573" y="405"/>
                    </a:lnTo>
                    <a:lnTo>
                      <a:pt x="577" y="402"/>
                    </a:lnTo>
                    <a:lnTo>
                      <a:pt x="580" y="399"/>
                    </a:lnTo>
                    <a:lnTo>
                      <a:pt x="584" y="398"/>
                    </a:lnTo>
                    <a:lnTo>
                      <a:pt x="584" y="398"/>
                    </a:lnTo>
                    <a:lnTo>
                      <a:pt x="591" y="398"/>
                    </a:lnTo>
                    <a:lnTo>
                      <a:pt x="596" y="396"/>
                    </a:lnTo>
                    <a:lnTo>
                      <a:pt x="596" y="396"/>
                    </a:lnTo>
                    <a:lnTo>
                      <a:pt x="597" y="396"/>
                    </a:lnTo>
                    <a:lnTo>
                      <a:pt x="597" y="398"/>
                    </a:lnTo>
                    <a:lnTo>
                      <a:pt x="599" y="398"/>
                    </a:lnTo>
                    <a:lnTo>
                      <a:pt x="601" y="398"/>
                    </a:lnTo>
                    <a:lnTo>
                      <a:pt x="601" y="398"/>
                    </a:lnTo>
                    <a:lnTo>
                      <a:pt x="609" y="396"/>
                    </a:lnTo>
                    <a:lnTo>
                      <a:pt x="610" y="396"/>
                    </a:lnTo>
                    <a:lnTo>
                      <a:pt x="615" y="398"/>
                    </a:lnTo>
                    <a:lnTo>
                      <a:pt x="615" y="398"/>
                    </a:lnTo>
                    <a:lnTo>
                      <a:pt x="619" y="399"/>
                    </a:lnTo>
                    <a:lnTo>
                      <a:pt x="622" y="398"/>
                    </a:lnTo>
                    <a:lnTo>
                      <a:pt x="623" y="398"/>
                    </a:lnTo>
                    <a:lnTo>
                      <a:pt x="626" y="398"/>
                    </a:lnTo>
                    <a:lnTo>
                      <a:pt x="626" y="398"/>
                    </a:lnTo>
                    <a:lnTo>
                      <a:pt x="633" y="402"/>
                    </a:lnTo>
                    <a:lnTo>
                      <a:pt x="638" y="405"/>
                    </a:lnTo>
                    <a:lnTo>
                      <a:pt x="642" y="407"/>
                    </a:lnTo>
                    <a:lnTo>
                      <a:pt x="642" y="407"/>
                    </a:lnTo>
                    <a:lnTo>
                      <a:pt x="649" y="407"/>
                    </a:lnTo>
                    <a:lnTo>
                      <a:pt x="651" y="405"/>
                    </a:lnTo>
                    <a:lnTo>
                      <a:pt x="654" y="404"/>
                    </a:lnTo>
                    <a:lnTo>
                      <a:pt x="654" y="404"/>
                    </a:lnTo>
                    <a:lnTo>
                      <a:pt x="657" y="399"/>
                    </a:lnTo>
                    <a:lnTo>
                      <a:pt x="658" y="398"/>
                    </a:lnTo>
                    <a:lnTo>
                      <a:pt x="661" y="401"/>
                    </a:lnTo>
                    <a:lnTo>
                      <a:pt x="661" y="401"/>
                    </a:lnTo>
                    <a:lnTo>
                      <a:pt x="668" y="411"/>
                    </a:lnTo>
                    <a:lnTo>
                      <a:pt x="671" y="415"/>
                    </a:lnTo>
                    <a:lnTo>
                      <a:pt x="674" y="418"/>
                    </a:lnTo>
                    <a:lnTo>
                      <a:pt x="674" y="418"/>
                    </a:lnTo>
                    <a:lnTo>
                      <a:pt x="675" y="420"/>
                    </a:lnTo>
                    <a:lnTo>
                      <a:pt x="677" y="422"/>
                    </a:lnTo>
                    <a:lnTo>
                      <a:pt x="680" y="430"/>
                    </a:lnTo>
                    <a:lnTo>
                      <a:pt x="680" y="444"/>
                    </a:lnTo>
                    <a:lnTo>
                      <a:pt x="680" y="444"/>
                    </a:lnTo>
                    <a:lnTo>
                      <a:pt x="681" y="449"/>
                    </a:lnTo>
                    <a:lnTo>
                      <a:pt x="684" y="454"/>
                    </a:lnTo>
                    <a:lnTo>
                      <a:pt x="685" y="460"/>
                    </a:lnTo>
                    <a:lnTo>
                      <a:pt x="688" y="462"/>
                    </a:lnTo>
                    <a:lnTo>
                      <a:pt x="688" y="462"/>
                    </a:lnTo>
                    <a:lnTo>
                      <a:pt x="690" y="459"/>
                    </a:lnTo>
                    <a:lnTo>
                      <a:pt x="690" y="459"/>
                    </a:lnTo>
                    <a:lnTo>
                      <a:pt x="691" y="460"/>
                    </a:lnTo>
                    <a:lnTo>
                      <a:pt x="691" y="460"/>
                    </a:lnTo>
                    <a:lnTo>
                      <a:pt x="694" y="467"/>
                    </a:lnTo>
                    <a:lnTo>
                      <a:pt x="697" y="473"/>
                    </a:lnTo>
                    <a:lnTo>
                      <a:pt x="700" y="478"/>
                    </a:lnTo>
                    <a:lnTo>
                      <a:pt x="700" y="478"/>
                    </a:lnTo>
                    <a:lnTo>
                      <a:pt x="704" y="483"/>
                    </a:lnTo>
                    <a:lnTo>
                      <a:pt x="709" y="488"/>
                    </a:lnTo>
                    <a:lnTo>
                      <a:pt x="709" y="488"/>
                    </a:lnTo>
                    <a:lnTo>
                      <a:pt x="713" y="495"/>
                    </a:lnTo>
                    <a:lnTo>
                      <a:pt x="716" y="496"/>
                    </a:lnTo>
                    <a:lnTo>
                      <a:pt x="717" y="496"/>
                    </a:lnTo>
                    <a:lnTo>
                      <a:pt x="719" y="495"/>
                    </a:lnTo>
                    <a:lnTo>
                      <a:pt x="719" y="495"/>
                    </a:lnTo>
                    <a:lnTo>
                      <a:pt x="720" y="489"/>
                    </a:lnTo>
                    <a:lnTo>
                      <a:pt x="720" y="480"/>
                    </a:lnTo>
                    <a:lnTo>
                      <a:pt x="720" y="465"/>
                    </a:lnTo>
                    <a:lnTo>
                      <a:pt x="720" y="465"/>
                    </a:lnTo>
                    <a:lnTo>
                      <a:pt x="719" y="456"/>
                    </a:lnTo>
                    <a:lnTo>
                      <a:pt x="716" y="444"/>
                    </a:lnTo>
                    <a:lnTo>
                      <a:pt x="713" y="433"/>
                    </a:lnTo>
                    <a:lnTo>
                      <a:pt x="709" y="424"/>
                    </a:lnTo>
                    <a:lnTo>
                      <a:pt x="709" y="424"/>
                    </a:lnTo>
                    <a:lnTo>
                      <a:pt x="704" y="417"/>
                    </a:lnTo>
                    <a:lnTo>
                      <a:pt x="700" y="408"/>
                    </a:lnTo>
                    <a:lnTo>
                      <a:pt x="697" y="399"/>
                    </a:lnTo>
                    <a:lnTo>
                      <a:pt x="697" y="395"/>
                    </a:lnTo>
                    <a:lnTo>
                      <a:pt x="697" y="391"/>
                    </a:lnTo>
                    <a:lnTo>
                      <a:pt x="697" y="391"/>
                    </a:lnTo>
                    <a:lnTo>
                      <a:pt x="701" y="375"/>
                    </a:lnTo>
                    <a:lnTo>
                      <a:pt x="706" y="365"/>
                    </a:lnTo>
                    <a:lnTo>
                      <a:pt x="706" y="365"/>
                    </a:lnTo>
                    <a:lnTo>
                      <a:pt x="709" y="360"/>
                    </a:lnTo>
                    <a:lnTo>
                      <a:pt x="713" y="359"/>
                    </a:lnTo>
                    <a:lnTo>
                      <a:pt x="720" y="354"/>
                    </a:lnTo>
                    <a:lnTo>
                      <a:pt x="720" y="354"/>
                    </a:lnTo>
                    <a:lnTo>
                      <a:pt x="732" y="350"/>
                    </a:lnTo>
                    <a:lnTo>
                      <a:pt x="732" y="350"/>
                    </a:lnTo>
                    <a:lnTo>
                      <a:pt x="735" y="346"/>
                    </a:lnTo>
                    <a:lnTo>
                      <a:pt x="738" y="340"/>
                    </a:lnTo>
                    <a:lnTo>
                      <a:pt x="742" y="331"/>
                    </a:lnTo>
                    <a:lnTo>
                      <a:pt x="742" y="331"/>
                    </a:lnTo>
                    <a:lnTo>
                      <a:pt x="748" y="331"/>
                    </a:lnTo>
                    <a:lnTo>
                      <a:pt x="752" y="331"/>
                    </a:lnTo>
                    <a:lnTo>
                      <a:pt x="755" y="331"/>
                    </a:lnTo>
                    <a:lnTo>
                      <a:pt x="755" y="331"/>
                    </a:lnTo>
                    <a:lnTo>
                      <a:pt x="759" y="328"/>
                    </a:lnTo>
                    <a:lnTo>
                      <a:pt x="762" y="323"/>
                    </a:lnTo>
                    <a:lnTo>
                      <a:pt x="770" y="314"/>
                    </a:lnTo>
                    <a:lnTo>
                      <a:pt x="770" y="314"/>
                    </a:lnTo>
                    <a:lnTo>
                      <a:pt x="772" y="312"/>
                    </a:lnTo>
                    <a:lnTo>
                      <a:pt x="777" y="312"/>
                    </a:lnTo>
                    <a:lnTo>
                      <a:pt x="780" y="311"/>
                    </a:lnTo>
                    <a:lnTo>
                      <a:pt x="781" y="311"/>
                    </a:lnTo>
                    <a:lnTo>
                      <a:pt x="781" y="310"/>
                    </a:lnTo>
                    <a:lnTo>
                      <a:pt x="781" y="310"/>
                    </a:lnTo>
                    <a:lnTo>
                      <a:pt x="780" y="304"/>
                    </a:lnTo>
                    <a:lnTo>
                      <a:pt x="781" y="301"/>
                    </a:lnTo>
                    <a:lnTo>
                      <a:pt x="783" y="299"/>
                    </a:lnTo>
                    <a:lnTo>
                      <a:pt x="783" y="299"/>
                    </a:lnTo>
                    <a:lnTo>
                      <a:pt x="785" y="299"/>
                    </a:lnTo>
                    <a:lnTo>
                      <a:pt x="787" y="298"/>
                    </a:lnTo>
                    <a:lnTo>
                      <a:pt x="790" y="294"/>
                    </a:lnTo>
                    <a:lnTo>
                      <a:pt x="790" y="294"/>
                    </a:lnTo>
                    <a:lnTo>
                      <a:pt x="790" y="285"/>
                    </a:lnTo>
                    <a:lnTo>
                      <a:pt x="790" y="279"/>
                    </a:lnTo>
                    <a:lnTo>
                      <a:pt x="788" y="276"/>
                    </a:lnTo>
                    <a:lnTo>
                      <a:pt x="788" y="276"/>
                    </a:lnTo>
                    <a:lnTo>
                      <a:pt x="783" y="269"/>
                    </a:lnTo>
                    <a:lnTo>
                      <a:pt x="781" y="266"/>
                    </a:lnTo>
                    <a:lnTo>
                      <a:pt x="780" y="263"/>
                    </a:lnTo>
                    <a:lnTo>
                      <a:pt x="780" y="263"/>
                    </a:lnTo>
                    <a:lnTo>
                      <a:pt x="781" y="257"/>
                    </a:lnTo>
                    <a:lnTo>
                      <a:pt x="783" y="254"/>
                    </a:lnTo>
                    <a:lnTo>
                      <a:pt x="783" y="252"/>
                    </a:lnTo>
                    <a:lnTo>
                      <a:pt x="783" y="252"/>
                    </a:lnTo>
                    <a:lnTo>
                      <a:pt x="783" y="249"/>
                    </a:lnTo>
                    <a:lnTo>
                      <a:pt x="783" y="246"/>
                    </a:lnTo>
                    <a:lnTo>
                      <a:pt x="784" y="244"/>
                    </a:lnTo>
                    <a:lnTo>
                      <a:pt x="785" y="244"/>
                    </a:lnTo>
                    <a:lnTo>
                      <a:pt x="785" y="244"/>
                    </a:lnTo>
                    <a:lnTo>
                      <a:pt x="788" y="249"/>
                    </a:lnTo>
                    <a:lnTo>
                      <a:pt x="790" y="252"/>
                    </a:lnTo>
                    <a:lnTo>
                      <a:pt x="790" y="253"/>
                    </a:lnTo>
                    <a:lnTo>
                      <a:pt x="790" y="253"/>
                    </a:lnTo>
                    <a:lnTo>
                      <a:pt x="788" y="259"/>
                    </a:lnTo>
                    <a:lnTo>
                      <a:pt x="788" y="262"/>
                    </a:lnTo>
                    <a:lnTo>
                      <a:pt x="790" y="260"/>
                    </a:lnTo>
                    <a:lnTo>
                      <a:pt x="790" y="260"/>
                    </a:lnTo>
                    <a:lnTo>
                      <a:pt x="796" y="256"/>
                    </a:lnTo>
                    <a:lnTo>
                      <a:pt x="797" y="254"/>
                    </a:lnTo>
                    <a:lnTo>
                      <a:pt x="798" y="253"/>
                    </a:lnTo>
                    <a:lnTo>
                      <a:pt x="798" y="253"/>
                    </a:lnTo>
                    <a:lnTo>
                      <a:pt x="800" y="243"/>
                    </a:lnTo>
                    <a:lnTo>
                      <a:pt x="801" y="239"/>
                    </a:lnTo>
                    <a:lnTo>
                      <a:pt x="804" y="234"/>
                    </a:lnTo>
                    <a:lnTo>
                      <a:pt x="804" y="234"/>
                    </a:lnTo>
                    <a:lnTo>
                      <a:pt x="804" y="233"/>
                    </a:lnTo>
                    <a:lnTo>
                      <a:pt x="804" y="231"/>
                    </a:lnTo>
                    <a:lnTo>
                      <a:pt x="803" y="228"/>
                    </a:lnTo>
                    <a:lnTo>
                      <a:pt x="801" y="226"/>
                    </a:lnTo>
                    <a:lnTo>
                      <a:pt x="800" y="224"/>
                    </a:lnTo>
                    <a:lnTo>
                      <a:pt x="801" y="224"/>
                    </a:lnTo>
                    <a:lnTo>
                      <a:pt x="801" y="224"/>
                    </a:lnTo>
                    <a:lnTo>
                      <a:pt x="803" y="223"/>
                    </a:lnTo>
                    <a:lnTo>
                      <a:pt x="804" y="223"/>
                    </a:lnTo>
                    <a:lnTo>
                      <a:pt x="807" y="221"/>
                    </a:lnTo>
                    <a:lnTo>
                      <a:pt x="810" y="220"/>
                    </a:lnTo>
                    <a:lnTo>
                      <a:pt x="810" y="220"/>
                    </a:lnTo>
                    <a:lnTo>
                      <a:pt x="817" y="210"/>
                    </a:lnTo>
                    <a:lnTo>
                      <a:pt x="820" y="205"/>
                    </a:lnTo>
                    <a:lnTo>
                      <a:pt x="820" y="201"/>
                    </a:lnTo>
                    <a:lnTo>
                      <a:pt x="820" y="201"/>
                    </a:lnTo>
                    <a:lnTo>
                      <a:pt x="819" y="197"/>
                    </a:lnTo>
                    <a:lnTo>
                      <a:pt x="820" y="194"/>
                    </a:lnTo>
                    <a:lnTo>
                      <a:pt x="822" y="192"/>
                    </a:lnTo>
                    <a:lnTo>
                      <a:pt x="822" y="192"/>
                    </a:lnTo>
                    <a:lnTo>
                      <a:pt x="830" y="189"/>
                    </a:lnTo>
                    <a:lnTo>
                      <a:pt x="833" y="189"/>
                    </a:lnTo>
                    <a:lnTo>
                      <a:pt x="835" y="188"/>
                    </a:lnTo>
                    <a:lnTo>
                      <a:pt x="835" y="188"/>
                    </a:lnTo>
                    <a:lnTo>
                      <a:pt x="836" y="185"/>
                    </a:lnTo>
                    <a:lnTo>
                      <a:pt x="838" y="183"/>
                    </a:lnTo>
                    <a:lnTo>
                      <a:pt x="839" y="182"/>
                    </a:lnTo>
                    <a:lnTo>
                      <a:pt x="839" y="182"/>
                    </a:lnTo>
                    <a:lnTo>
                      <a:pt x="843" y="185"/>
                    </a:lnTo>
                    <a:lnTo>
                      <a:pt x="848" y="185"/>
                    </a:lnTo>
                    <a:lnTo>
                      <a:pt x="851" y="185"/>
                    </a:lnTo>
                    <a:lnTo>
                      <a:pt x="851" y="185"/>
                    </a:lnTo>
                    <a:lnTo>
                      <a:pt x="855" y="182"/>
                    </a:lnTo>
                    <a:lnTo>
                      <a:pt x="861" y="179"/>
                    </a:lnTo>
                    <a:lnTo>
                      <a:pt x="867" y="175"/>
                    </a:lnTo>
                    <a:lnTo>
                      <a:pt x="872" y="173"/>
                    </a:lnTo>
                    <a:lnTo>
                      <a:pt x="872" y="173"/>
                    </a:lnTo>
                    <a:lnTo>
                      <a:pt x="881" y="172"/>
                    </a:lnTo>
                    <a:lnTo>
                      <a:pt x="882" y="170"/>
                    </a:lnTo>
                    <a:lnTo>
                      <a:pt x="882" y="169"/>
                    </a:lnTo>
                    <a:lnTo>
                      <a:pt x="882" y="169"/>
                    </a:lnTo>
                    <a:lnTo>
                      <a:pt x="881" y="168"/>
                    </a:lnTo>
                    <a:lnTo>
                      <a:pt x="878" y="166"/>
                    </a:lnTo>
                    <a:lnTo>
                      <a:pt x="875" y="165"/>
                    </a:lnTo>
                    <a:lnTo>
                      <a:pt x="874" y="163"/>
                    </a:lnTo>
                    <a:lnTo>
                      <a:pt x="874" y="163"/>
                    </a:lnTo>
                    <a:lnTo>
                      <a:pt x="872" y="160"/>
                    </a:lnTo>
                    <a:lnTo>
                      <a:pt x="872" y="156"/>
                    </a:lnTo>
                    <a:lnTo>
                      <a:pt x="872" y="152"/>
                    </a:lnTo>
                    <a:lnTo>
                      <a:pt x="872" y="147"/>
                    </a:lnTo>
                    <a:lnTo>
                      <a:pt x="872" y="147"/>
                    </a:lnTo>
                    <a:lnTo>
                      <a:pt x="872" y="143"/>
                    </a:lnTo>
                    <a:lnTo>
                      <a:pt x="874" y="139"/>
                    </a:lnTo>
                    <a:lnTo>
                      <a:pt x="877" y="133"/>
                    </a:lnTo>
                    <a:lnTo>
                      <a:pt x="881" y="130"/>
                    </a:lnTo>
                    <a:lnTo>
                      <a:pt x="881" y="130"/>
                    </a:lnTo>
                    <a:lnTo>
                      <a:pt x="891" y="123"/>
                    </a:lnTo>
                    <a:lnTo>
                      <a:pt x="900" y="117"/>
                    </a:lnTo>
                    <a:lnTo>
                      <a:pt x="900" y="117"/>
                    </a:lnTo>
                    <a:lnTo>
                      <a:pt x="906" y="113"/>
                    </a:lnTo>
                    <a:lnTo>
                      <a:pt x="910" y="113"/>
                    </a:lnTo>
                    <a:lnTo>
                      <a:pt x="910" y="113"/>
                    </a:lnTo>
                    <a:lnTo>
                      <a:pt x="916" y="111"/>
                    </a:lnTo>
                    <a:lnTo>
                      <a:pt x="923" y="107"/>
                    </a:lnTo>
                    <a:lnTo>
                      <a:pt x="930" y="102"/>
                    </a:lnTo>
                    <a:lnTo>
                      <a:pt x="932" y="99"/>
                    </a:lnTo>
                    <a:lnTo>
                      <a:pt x="932" y="99"/>
                    </a:lnTo>
                    <a:lnTo>
                      <a:pt x="932" y="98"/>
                    </a:lnTo>
                    <a:lnTo>
                      <a:pt x="929" y="97"/>
                    </a:lnTo>
                    <a:lnTo>
                      <a:pt x="929" y="95"/>
                    </a:lnTo>
                    <a:lnTo>
                      <a:pt x="932" y="94"/>
                    </a:lnTo>
                    <a:lnTo>
                      <a:pt x="932" y="94"/>
                    </a:lnTo>
                    <a:lnTo>
                      <a:pt x="926" y="89"/>
                    </a:lnTo>
                    <a:lnTo>
                      <a:pt x="924" y="8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4" name="Freeform 697"/>
              <p:cNvSpPr>
                <a:spLocks/>
              </p:cNvSpPr>
              <p:nvPr/>
            </p:nvSpPr>
            <p:spPr bwMode="auto">
              <a:xfrm>
                <a:off x="2602384" y="2595968"/>
                <a:ext cx="15828" cy="20774"/>
              </a:xfrm>
              <a:custGeom>
                <a:avLst/>
                <a:gdLst>
                  <a:gd name="T0" fmla="*/ 16 w 16"/>
                  <a:gd name="T1" fmla="*/ 17 h 21"/>
                  <a:gd name="T2" fmla="*/ 16 w 16"/>
                  <a:gd name="T3" fmla="*/ 17 h 21"/>
                  <a:gd name="T4" fmla="*/ 15 w 16"/>
                  <a:gd name="T5" fmla="*/ 18 h 21"/>
                  <a:gd name="T6" fmla="*/ 12 w 16"/>
                  <a:gd name="T7" fmla="*/ 20 h 21"/>
                  <a:gd name="T8" fmla="*/ 9 w 16"/>
                  <a:gd name="T9" fmla="*/ 21 h 21"/>
                  <a:gd name="T10" fmla="*/ 9 w 16"/>
                  <a:gd name="T11" fmla="*/ 21 h 21"/>
                  <a:gd name="T12" fmla="*/ 3 w 16"/>
                  <a:gd name="T13" fmla="*/ 14 h 21"/>
                  <a:gd name="T14" fmla="*/ 0 w 16"/>
                  <a:gd name="T15" fmla="*/ 10 h 21"/>
                  <a:gd name="T16" fmla="*/ 0 w 16"/>
                  <a:gd name="T17" fmla="*/ 10 h 21"/>
                  <a:gd name="T18" fmla="*/ 0 w 16"/>
                  <a:gd name="T19" fmla="*/ 2 h 21"/>
                  <a:gd name="T20" fmla="*/ 0 w 16"/>
                  <a:gd name="T21" fmla="*/ 1 h 21"/>
                  <a:gd name="T22" fmla="*/ 3 w 16"/>
                  <a:gd name="T23" fmla="*/ 0 h 21"/>
                  <a:gd name="T24" fmla="*/ 3 w 16"/>
                  <a:gd name="T25" fmla="*/ 0 h 21"/>
                  <a:gd name="T26" fmla="*/ 5 w 16"/>
                  <a:gd name="T27" fmla="*/ 0 h 21"/>
                  <a:gd name="T28" fmla="*/ 5 w 16"/>
                  <a:gd name="T29" fmla="*/ 1 h 21"/>
                  <a:gd name="T30" fmla="*/ 6 w 16"/>
                  <a:gd name="T31" fmla="*/ 7 h 21"/>
                  <a:gd name="T32" fmla="*/ 6 w 16"/>
                  <a:gd name="T33" fmla="*/ 7 h 21"/>
                  <a:gd name="T34" fmla="*/ 9 w 16"/>
                  <a:gd name="T35" fmla="*/ 10 h 21"/>
                  <a:gd name="T36" fmla="*/ 9 w 16"/>
                  <a:gd name="T37" fmla="*/ 11 h 21"/>
                  <a:gd name="T38" fmla="*/ 10 w 16"/>
                  <a:gd name="T39" fmla="*/ 10 h 21"/>
                  <a:gd name="T40" fmla="*/ 10 w 16"/>
                  <a:gd name="T41" fmla="*/ 10 h 21"/>
                  <a:gd name="T42" fmla="*/ 10 w 16"/>
                  <a:gd name="T43" fmla="*/ 5 h 21"/>
                  <a:gd name="T44" fmla="*/ 12 w 16"/>
                  <a:gd name="T45" fmla="*/ 4 h 21"/>
                  <a:gd name="T46" fmla="*/ 12 w 16"/>
                  <a:gd name="T47" fmla="*/ 5 h 21"/>
                  <a:gd name="T48" fmla="*/ 12 w 16"/>
                  <a:gd name="T49" fmla="*/ 5 h 21"/>
                  <a:gd name="T50" fmla="*/ 15 w 16"/>
                  <a:gd name="T51" fmla="*/ 11 h 21"/>
                  <a:gd name="T52" fmla="*/ 16 w 16"/>
                  <a:gd name="T53" fmla="*/ 14 h 21"/>
                  <a:gd name="T54" fmla="*/ 16 w 16"/>
                  <a:gd name="T55" fmla="*/ 1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6" h="21">
                    <a:moveTo>
                      <a:pt x="16" y="17"/>
                    </a:moveTo>
                    <a:lnTo>
                      <a:pt x="16" y="17"/>
                    </a:lnTo>
                    <a:lnTo>
                      <a:pt x="15" y="18"/>
                    </a:lnTo>
                    <a:lnTo>
                      <a:pt x="12" y="20"/>
                    </a:lnTo>
                    <a:lnTo>
                      <a:pt x="9" y="21"/>
                    </a:lnTo>
                    <a:lnTo>
                      <a:pt x="9" y="21"/>
                    </a:lnTo>
                    <a:lnTo>
                      <a:pt x="3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5" y="1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9" y="10"/>
                    </a:lnTo>
                    <a:lnTo>
                      <a:pt x="9" y="11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5"/>
                    </a:lnTo>
                    <a:lnTo>
                      <a:pt x="12" y="4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5" y="11"/>
                    </a:lnTo>
                    <a:lnTo>
                      <a:pt x="16" y="14"/>
                    </a:lnTo>
                    <a:lnTo>
                      <a:pt x="16" y="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5" name="Freeform 698"/>
              <p:cNvSpPr>
                <a:spLocks/>
              </p:cNvSpPr>
              <p:nvPr/>
            </p:nvSpPr>
            <p:spPr bwMode="auto">
              <a:xfrm>
                <a:off x="2630083" y="2680055"/>
                <a:ext cx="18796" cy="16817"/>
              </a:xfrm>
              <a:custGeom>
                <a:avLst/>
                <a:gdLst>
                  <a:gd name="T0" fmla="*/ 17 w 19"/>
                  <a:gd name="T1" fmla="*/ 9 h 17"/>
                  <a:gd name="T2" fmla="*/ 17 w 19"/>
                  <a:gd name="T3" fmla="*/ 9 h 17"/>
                  <a:gd name="T4" fmla="*/ 16 w 19"/>
                  <a:gd name="T5" fmla="*/ 10 h 17"/>
                  <a:gd name="T6" fmla="*/ 14 w 19"/>
                  <a:gd name="T7" fmla="*/ 12 h 17"/>
                  <a:gd name="T8" fmla="*/ 10 w 19"/>
                  <a:gd name="T9" fmla="*/ 13 h 17"/>
                  <a:gd name="T10" fmla="*/ 10 w 19"/>
                  <a:gd name="T11" fmla="*/ 13 h 17"/>
                  <a:gd name="T12" fmla="*/ 7 w 19"/>
                  <a:gd name="T13" fmla="*/ 15 h 17"/>
                  <a:gd name="T14" fmla="*/ 4 w 19"/>
                  <a:gd name="T15" fmla="*/ 16 h 17"/>
                  <a:gd name="T16" fmla="*/ 1 w 19"/>
                  <a:gd name="T17" fmla="*/ 17 h 17"/>
                  <a:gd name="T18" fmla="*/ 0 w 19"/>
                  <a:gd name="T19" fmla="*/ 17 h 17"/>
                  <a:gd name="T20" fmla="*/ 0 w 19"/>
                  <a:gd name="T21" fmla="*/ 17 h 17"/>
                  <a:gd name="T22" fmla="*/ 1 w 19"/>
                  <a:gd name="T23" fmla="*/ 15 h 17"/>
                  <a:gd name="T24" fmla="*/ 7 w 19"/>
                  <a:gd name="T25" fmla="*/ 9 h 17"/>
                  <a:gd name="T26" fmla="*/ 17 w 19"/>
                  <a:gd name="T27" fmla="*/ 0 h 17"/>
                  <a:gd name="T28" fmla="*/ 17 w 19"/>
                  <a:gd name="T29" fmla="*/ 0 h 17"/>
                  <a:gd name="T30" fmla="*/ 19 w 19"/>
                  <a:gd name="T31" fmla="*/ 0 h 17"/>
                  <a:gd name="T32" fmla="*/ 19 w 19"/>
                  <a:gd name="T33" fmla="*/ 3 h 17"/>
                  <a:gd name="T34" fmla="*/ 17 w 19"/>
                  <a:gd name="T3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17">
                    <a:moveTo>
                      <a:pt x="17" y="9"/>
                    </a:moveTo>
                    <a:lnTo>
                      <a:pt x="17" y="9"/>
                    </a:lnTo>
                    <a:lnTo>
                      <a:pt x="16" y="10"/>
                    </a:lnTo>
                    <a:lnTo>
                      <a:pt x="14" y="12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7" y="15"/>
                    </a:lnTo>
                    <a:lnTo>
                      <a:pt x="4" y="16"/>
                    </a:lnTo>
                    <a:lnTo>
                      <a:pt x="1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1" y="15"/>
                    </a:lnTo>
                    <a:lnTo>
                      <a:pt x="7" y="9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19" y="3"/>
                    </a:lnTo>
                    <a:lnTo>
                      <a:pt x="17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6" name="Freeform 699"/>
              <p:cNvSpPr>
                <a:spLocks/>
              </p:cNvSpPr>
              <p:nvPr/>
            </p:nvSpPr>
            <p:spPr bwMode="auto">
              <a:xfrm>
                <a:off x="2672621" y="2459450"/>
                <a:ext cx="35613" cy="8903"/>
              </a:xfrm>
              <a:custGeom>
                <a:avLst/>
                <a:gdLst>
                  <a:gd name="T0" fmla="*/ 35 w 36"/>
                  <a:gd name="T1" fmla="*/ 4 h 9"/>
                  <a:gd name="T2" fmla="*/ 35 w 36"/>
                  <a:gd name="T3" fmla="*/ 4 h 9"/>
                  <a:gd name="T4" fmla="*/ 31 w 36"/>
                  <a:gd name="T5" fmla="*/ 6 h 9"/>
                  <a:gd name="T6" fmla="*/ 26 w 36"/>
                  <a:gd name="T7" fmla="*/ 6 h 9"/>
                  <a:gd name="T8" fmla="*/ 23 w 36"/>
                  <a:gd name="T9" fmla="*/ 4 h 9"/>
                  <a:gd name="T10" fmla="*/ 22 w 36"/>
                  <a:gd name="T11" fmla="*/ 6 h 9"/>
                  <a:gd name="T12" fmla="*/ 22 w 36"/>
                  <a:gd name="T13" fmla="*/ 6 h 9"/>
                  <a:gd name="T14" fmla="*/ 18 w 36"/>
                  <a:gd name="T15" fmla="*/ 7 h 9"/>
                  <a:gd name="T16" fmla="*/ 13 w 36"/>
                  <a:gd name="T17" fmla="*/ 9 h 9"/>
                  <a:gd name="T18" fmla="*/ 13 w 36"/>
                  <a:gd name="T19" fmla="*/ 9 h 9"/>
                  <a:gd name="T20" fmla="*/ 12 w 36"/>
                  <a:gd name="T21" fmla="*/ 7 h 9"/>
                  <a:gd name="T22" fmla="*/ 10 w 36"/>
                  <a:gd name="T23" fmla="*/ 6 h 9"/>
                  <a:gd name="T24" fmla="*/ 9 w 36"/>
                  <a:gd name="T25" fmla="*/ 4 h 9"/>
                  <a:gd name="T26" fmla="*/ 5 w 36"/>
                  <a:gd name="T27" fmla="*/ 4 h 9"/>
                  <a:gd name="T28" fmla="*/ 5 w 36"/>
                  <a:gd name="T29" fmla="*/ 4 h 9"/>
                  <a:gd name="T30" fmla="*/ 2 w 36"/>
                  <a:gd name="T31" fmla="*/ 3 h 9"/>
                  <a:gd name="T32" fmla="*/ 0 w 36"/>
                  <a:gd name="T33" fmla="*/ 1 h 9"/>
                  <a:gd name="T34" fmla="*/ 2 w 36"/>
                  <a:gd name="T35" fmla="*/ 0 h 9"/>
                  <a:gd name="T36" fmla="*/ 3 w 36"/>
                  <a:gd name="T37" fmla="*/ 0 h 9"/>
                  <a:gd name="T38" fmla="*/ 3 w 36"/>
                  <a:gd name="T39" fmla="*/ 0 h 9"/>
                  <a:gd name="T40" fmla="*/ 12 w 36"/>
                  <a:gd name="T41" fmla="*/ 0 h 9"/>
                  <a:gd name="T42" fmla="*/ 19 w 36"/>
                  <a:gd name="T43" fmla="*/ 0 h 9"/>
                  <a:gd name="T44" fmla="*/ 19 w 36"/>
                  <a:gd name="T45" fmla="*/ 0 h 9"/>
                  <a:gd name="T46" fmla="*/ 32 w 36"/>
                  <a:gd name="T47" fmla="*/ 0 h 9"/>
                  <a:gd name="T48" fmla="*/ 36 w 36"/>
                  <a:gd name="T49" fmla="*/ 1 h 9"/>
                  <a:gd name="T50" fmla="*/ 36 w 36"/>
                  <a:gd name="T51" fmla="*/ 3 h 9"/>
                  <a:gd name="T52" fmla="*/ 35 w 36"/>
                  <a:gd name="T53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6" h="9">
                    <a:moveTo>
                      <a:pt x="35" y="4"/>
                    </a:moveTo>
                    <a:lnTo>
                      <a:pt x="35" y="4"/>
                    </a:lnTo>
                    <a:lnTo>
                      <a:pt x="31" y="6"/>
                    </a:lnTo>
                    <a:lnTo>
                      <a:pt x="26" y="6"/>
                    </a:lnTo>
                    <a:lnTo>
                      <a:pt x="23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2" y="7"/>
                    </a:lnTo>
                    <a:lnTo>
                      <a:pt x="10" y="6"/>
                    </a:lnTo>
                    <a:lnTo>
                      <a:pt x="9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2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32" y="0"/>
                    </a:lnTo>
                    <a:lnTo>
                      <a:pt x="36" y="1"/>
                    </a:lnTo>
                    <a:lnTo>
                      <a:pt x="36" y="3"/>
                    </a:lnTo>
                    <a:lnTo>
                      <a:pt x="35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44" name="Freeform 898"/>
              <p:cNvSpPr>
                <a:spLocks/>
              </p:cNvSpPr>
              <p:nvPr/>
            </p:nvSpPr>
            <p:spPr bwMode="auto">
              <a:xfrm>
                <a:off x="1952440" y="2998597"/>
                <a:ext cx="15828" cy="17807"/>
              </a:xfrm>
              <a:custGeom>
                <a:avLst/>
                <a:gdLst>
                  <a:gd name="T0" fmla="*/ 1 w 16"/>
                  <a:gd name="T1" fmla="*/ 18 h 18"/>
                  <a:gd name="T2" fmla="*/ 1 w 16"/>
                  <a:gd name="T3" fmla="*/ 18 h 18"/>
                  <a:gd name="T4" fmla="*/ 0 w 16"/>
                  <a:gd name="T5" fmla="*/ 17 h 18"/>
                  <a:gd name="T6" fmla="*/ 0 w 16"/>
                  <a:gd name="T7" fmla="*/ 14 h 18"/>
                  <a:gd name="T8" fmla="*/ 0 w 16"/>
                  <a:gd name="T9" fmla="*/ 11 h 18"/>
                  <a:gd name="T10" fmla="*/ 0 w 16"/>
                  <a:gd name="T11" fmla="*/ 7 h 18"/>
                  <a:gd name="T12" fmla="*/ 0 w 16"/>
                  <a:gd name="T13" fmla="*/ 7 h 18"/>
                  <a:gd name="T14" fmla="*/ 0 w 16"/>
                  <a:gd name="T15" fmla="*/ 4 h 18"/>
                  <a:gd name="T16" fmla="*/ 0 w 16"/>
                  <a:gd name="T17" fmla="*/ 1 h 18"/>
                  <a:gd name="T18" fmla="*/ 1 w 16"/>
                  <a:gd name="T19" fmla="*/ 0 h 18"/>
                  <a:gd name="T20" fmla="*/ 4 w 16"/>
                  <a:gd name="T21" fmla="*/ 0 h 18"/>
                  <a:gd name="T22" fmla="*/ 4 w 16"/>
                  <a:gd name="T23" fmla="*/ 0 h 18"/>
                  <a:gd name="T24" fmla="*/ 8 w 16"/>
                  <a:gd name="T25" fmla="*/ 1 h 18"/>
                  <a:gd name="T26" fmla="*/ 13 w 16"/>
                  <a:gd name="T27" fmla="*/ 4 h 18"/>
                  <a:gd name="T28" fmla="*/ 14 w 16"/>
                  <a:gd name="T29" fmla="*/ 7 h 18"/>
                  <a:gd name="T30" fmla="*/ 16 w 16"/>
                  <a:gd name="T31" fmla="*/ 8 h 18"/>
                  <a:gd name="T32" fmla="*/ 14 w 16"/>
                  <a:gd name="T33" fmla="*/ 10 h 18"/>
                  <a:gd name="T34" fmla="*/ 14 w 16"/>
                  <a:gd name="T35" fmla="*/ 10 h 18"/>
                  <a:gd name="T36" fmla="*/ 8 w 16"/>
                  <a:gd name="T37" fmla="*/ 17 h 18"/>
                  <a:gd name="T38" fmla="*/ 4 w 16"/>
                  <a:gd name="T39" fmla="*/ 18 h 18"/>
                  <a:gd name="T40" fmla="*/ 1 w 16"/>
                  <a:gd name="T41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" h="18">
                    <a:moveTo>
                      <a:pt x="1" y="18"/>
                    </a:moveTo>
                    <a:lnTo>
                      <a:pt x="1" y="18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1"/>
                    </a:lnTo>
                    <a:lnTo>
                      <a:pt x="13" y="4"/>
                    </a:lnTo>
                    <a:lnTo>
                      <a:pt x="14" y="7"/>
                    </a:lnTo>
                    <a:lnTo>
                      <a:pt x="16" y="8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8" y="17"/>
                    </a:lnTo>
                    <a:lnTo>
                      <a:pt x="4" y="18"/>
                    </a:lnTo>
                    <a:lnTo>
                      <a:pt x="1" y="1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45" name="Freeform 899"/>
              <p:cNvSpPr>
                <a:spLocks/>
              </p:cNvSpPr>
              <p:nvPr/>
            </p:nvSpPr>
            <p:spPr bwMode="auto">
              <a:xfrm>
                <a:off x="1952440" y="2998597"/>
                <a:ext cx="15828" cy="17807"/>
              </a:xfrm>
              <a:custGeom>
                <a:avLst/>
                <a:gdLst>
                  <a:gd name="T0" fmla="*/ 1 w 16"/>
                  <a:gd name="T1" fmla="*/ 18 h 18"/>
                  <a:gd name="T2" fmla="*/ 1 w 16"/>
                  <a:gd name="T3" fmla="*/ 18 h 18"/>
                  <a:gd name="T4" fmla="*/ 0 w 16"/>
                  <a:gd name="T5" fmla="*/ 17 h 18"/>
                  <a:gd name="T6" fmla="*/ 0 w 16"/>
                  <a:gd name="T7" fmla="*/ 14 h 18"/>
                  <a:gd name="T8" fmla="*/ 0 w 16"/>
                  <a:gd name="T9" fmla="*/ 11 h 18"/>
                  <a:gd name="T10" fmla="*/ 0 w 16"/>
                  <a:gd name="T11" fmla="*/ 7 h 18"/>
                  <a:gd name="T12" fmla="*/ 0 w 16"/>
                  <a:gd name="T13" fmla="*/ 7 h 18"/>
                  <a:gd name="T14" fmla="*/ 0 w 16"/>
                  <a:gd name="T15" fmla="*/ 4 h 18"/>
                  <a:gd name="T16" fmla="*/ 0 w 16"/>
                  <a:gd name="T17" fmla="*/ 1 h 18"/>
                  <a:gd name="T18" fmla="*/ 1 w 16"/>
                  <a:gd name="T19" fmla="*/ 0 h 18"/>
                  <a:gd name="T20" fmla="*/ 4 w 16"/>
                  <a:gd name="T21" fmla="*/ 0 h 18"/>
                  <a:gd name="T22" fmla="*/ 4 w 16"/>
                  <a:gd name="T23" fmla="*/ 0 h 18"/>
                  <a:gd name="T24" fmla="*/ 8 w 16"/>
                  <a:gd name="T25" fmla="*/ 1 h 18"/>
                  <a:gd name="T26" fmla="*/ 13 w 16"/>
                  <a:gd name="T27" fmla="*/ 4 h 18"/>
                  <a:gd name="T28" fmla="*/ 14 w 16"/>
                  <a:gd name="T29" fmla="*/ 7 h 18"/>
                  <a:gd name="T30" fmla="*/ 16 w 16"/>
                  <a:gd name="T31" fmla="*/ 8 h 18"/>
                  <a:gd name="T32" fmla="*/ 14 w 16"/>
                  <a:gd name="T33" fmla="*/ 10 h 18"/>
                  <a:gd name="T34" fmla="*/ 14 w 16"/>
                  <a:gd name="T35" fmla="*/ 10 h 18"/>
                  <a:gd name="T36" fmla="*/ 8 w 16"/>
                  <a:gd name="T37" fmla="*/ 17 h 18"/>
                  <a:gd name="T38" fmla="*/ 4 w 16"/>
                  <a:gd name="T39" fmla="*/ 18 h 18"/>
                  <a:gd name="T40" fmla="*/ 1 w 16"/>
                  <a:gd name="T41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" h="18">
                    <a:moveTo>
                      <a:pt x="1" y="18"/>
                    </a:moveTo>
                    <a:lnTo>
                      <a:pt x="1" y="18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1"/>
                    </a:lnTo>
                    <a:lnTo>
                      <a:pt x="13" y="4"/>
                    </a:lnTo>
                    <a:lnTo>
                      <a:pt x="14" y="7"/>
                    </a:lnTo>
                    <a:lnTo>
                      <a:pt x="16" y="8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8" y="17"/>
                    </a:lnTo>
                    <a:lnTo>
                      <a:pt x="4" y="18"/>
                    </a:lnTo>
                    <a:lnTo>
                      <a:pt x="1" y="1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46" name="Freeform 900"/>
              <p:cNvSpPr>
                <a:spLocks/>
              </p:cNvSpPr>
              <p:nvPr/>
            </p:nvSpPr>
            <p:spPr bwMode="auto">
              <a:xfrm>
                <a:off x="3324543" y="4367732"/>
                <a:ext cx="14839" cy="5936"/>
              </a:xfrm>
              <a:custGeom>
                <a:avLst/>
                <a:gdLst>
                  <a:gd name="T0" fmla="*/ 13 w 15"/>
                  <a:gd name="T1" fmla="*/ 6 h 6"/>
                  <a:gd name="T2" fmla="*/ 13 w 15"/>
                  <a:gd name="T3" fmla="*/ 6 h 6"/>
                  <a:gd name="T4" fmla="*/ 10 w 15"/>
                  <a:gd name="T5" fmla="*/ 6 h 6"/>
                  <a:gd name="T6" fmla="*/ 5 w 15"/>
                  <a:gd name="T7" fmla="*/ 5 h 6"/>
                  <a:gd name="T8" fmla="*/ 2 w 15"/>
                  <a:gd name="T9" fmla="*/ 3 h 6"/>
                  <a:gd name="T10" fmla="*/ 0 w 15"/>
                  <a:gd name="T11" fmla="*/ 2 h 6"/>
                  <a:gd name="T12" fmla="*/ 2 w 15"/>
                  <a:gd name="T13" fmla="*/ 0 h 6"/>
                  <a:gd name="T14" fmla="*/ 2 w 15"/>
                  <a:gd name="T15" fmla="*/ 0 h 6"/>
                  <a:gd name="T16" fmla="*/ 6 w 15"/>
                  <a:gd name="T17" fmla="*/ 0 h 6"/>
                  <a:gd name="T18" fmla="*/ 10 w 15"/>
                  <a:gd name="T19" fmla="*/ 0 h 6"/>
                  <a:gd name="T20" fmla="*/ 15 w 15"/>
                  <a:gd name="T21" fmla="*/ 3 h 6"/>
                  <a:gd name="T22" fmla="*/ 15 w 15"/>
                  <a:gd name="T23" fmla="*/ 5 h 6"/>
                  <a:gd name="T24" fmla="*/ 13 w 15"/>
                  <a:gd name="T2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6">
                    <a:moveTo>
                      <a:pt x="13" y="6"/>
                    </a:moveTo>
                    <a:lnTo>
                      <a:pt x="13" y="6"/>
                    </a:lnTo>
                    <a:lnTo>
                      <a:pt x="10" y="6"/>
                    </a:lnTo>
                    <a:lnTo>
                      <a:pt x="5" y="5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5" y="3"/>
                    </a:lnTo>
                    <a:lnTo>
                      <a:pt x="15" y="5"/>
                    </a:lnTo>
                    <a:lnTo>
                      <a:pt x="13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47" name="Freeform 901"/>
              <p:cNvSpPr>
                <a:spLocks/>
              </p:cNvSpPr>
              <p:nvPr/>
            </p:nvSpPr>
            <p:spPr bwMode="auto">
              <a:xfrm>
                <a:off x="3324543" y="4367732"/>
                <a:ext cx="14839" cy="5936"/>
              </a:xfrm>
              <a:custGeom>
                <a:avLst/>
                <a:gdLst>
                  <a:gd name="T0" fmla="*/ 13 w 15"/>
                  <a:gd name="T1" fmla="*/ 6 h 6"/>
                  <a:gd name="T2" fmla="*/ 13 w 15"/>
                  <a:gd name="T3" fmla="*/ 6 h 6"/>
                  <a:gd name="T4" fmla="*/ 10 w 15"/>
                  <a:gd name="T5" fmla="*/ 6 h 6"/>
                  <a:gd name="T6" fmla="*/ 5 w 15"/>
                  <a:gd name="T7" fmla="*/ 5 h 6"/>
                  <a:gd name="T8" fmla="*/ 2 w 15"/>
                  <a:gd name="T9" fmla="*/ 3 h 6"/>
                  <a:gd name="T10" fmla="*/ 0 w 15"/>
                  <a:gd name="T11" fmla="*/ 2 h 6"/>
                  <a:gd name="T12" fmla="*/ 2 w 15"/>
                  <a:gd name="T13" fmla="*/ 0 h 6"/>
                  <a:gd name="T14" fmla="*/ 2 w 15"/>
                  <a:gd name="T15" fmla="*/ 0 h 6"/>
                  <a:gd name="T16" fmla="*/ 6 w 15"/>
                  <a:gd name="T17" fmla="*/ 0 h 6"/>
                  <a:gd name="T18" fmla="*/ 10 w 15"/>
                  <a:gd name="T19" fmla="*/ 0 h 6"/>
                  <a:gd name="T20" fmla="*/ 15 w 15"/>
                  <a:gd name="T21" fmla="*/ 3 h 6"/>
                  <a:gd name="T22" fmla="*/ 15 w 15"/>
                  <a:gd name="T23" fmla="*/ 5 h 6"/>
                  <a:gd name="T24" fmla="*/ 13 w 15"/>
                  <a:gd name="T2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6">
                    <a:moveTo>
                      <a:pt x="13" y="6"/>
                    </a:moveTo>
                    <a:lnTo>
                      <a:pt x="13" y="6"/>
                    </a:lnTo>
                    <a:lnTo>
                      <a:pt x="10" y="6"/>
                    </a:lnTo>
                    <a:lnTo>
                      <a:pt x="5" y="5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5" y="3"/>
                    </a:lnTo>
                    <a:lnTo>
                      <a:pt x="15" y="5"/>
                    </a:lnTo>
                    <a:lnTo>
                      <a:pt x="13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48" name="Freeform 902"/>
              <p:cNvSpPr>
                <a:spLocks/>
              </p:cNvSpPr>
              <p:nvPr/>
            </p:nvSpPr>
            <p:spPr bwMode="auto">
              <a:xfrm>
                <a:off x="3292887" y="4369710"/>
                <a:ext cx="18796" cy="6925"/>
              </a:xfrm>
              <a:custGeom>
                <a:avLst/>
                <a:gdLst>
                  <a:gd name="T0" fmla="*/ 19 w 19"/>
                  <a:gd name="T1" fmla="*/ 1 h 7"/>
                  <a:gd name="T2" fmla="*/ 19 w 19"/>
                  <a:gd name="T3" fmla="*/ 1 h 7"/>
                  <a:gd name="T4" fmla="*/ 13 w 19"/>
                  <a:gd name="T5" fmla="*/ 6 h 7"/>
                  <a:gd name="T6" fmla="*/ 12 w 19"/>
                  <a:gd name="T7" fmla="*/ 7 h 7"/>
                  <a:gd name="T8" fmla="*/ 9 w 19"/>
                  <a:gd name="T9" fmla="*/ 7 h 7"/>
                  <a:gd name="T10" fmla="*/ 9 w 19"/>
                  <a:gd name="T11" fmla="*/ 7 h 7"/>
                  <a:gd name="T12" fmla="*/ 3 w 19"/>
                  <a:gd name="T13" fmla="*/ 4 h 7"/>
                  <a:gd name="T14" fmla="*/ 0 w 19"/>
                  <a:gd name="T15" fmla="*/ 3 h 7"/>
                  <a:gd name="T16" fmla="*/ 2 w 19"/>
                  <a:gd name="T17" fmla="*/ 1 h 7"/>
                  <a:gd name="T18" fmla="*/ 2 w 19"/>
                  <a:gd name="T19" fmla="*/ 1 h 7"/>
                  <a:gd name="T20" fmla="*/ 6 w 19"/>
                  <a:gd name="T21" fmla="*/ 0 h 7"/>
                  <a:gd name="T22" fmla="*/ 12 w 19"/>
                  <a:gd name="T23" fmla="*/ 0 h 7"/>
                  <a:gd name="T24" fmla="*/ 18 w 19"/>
                  <a:gd name="T25" fmla="*/ 0 h 7"/>
                  <a:gd name="T26" fmla="*/ 19 w 19"/>
                  <a:gd name="T27" fmla="*/ 0 h 7"/>
                  <a:gd name="T28" fmla="*/ 19 w 19"/>
                  <a:gd name="T2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" h="7">
                    <a:moveTo>
                      <a:pt x="19" y="1"/>
                    </a:moveTo>
                    <a:lnTo>
                      <a:pt x="19" y="1"/>
                    </a:lnTo>
                    <a:lnTo>
                      <a:pt x="13" y="6"/>
                    </a:lnTo>
                    <a:lnTo>
                      <a:pt x="12" y="7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3" y="4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19" y="0"/>
                    </a:lnTo>
                    <a:lnTo>
                      <a:pt x="19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49" name="Freeform 903"/>
              <p:cNvSpPr>
                <a:spLocks/>
              </p:cNvSpPr>
              <p:nvPr/>
            </p:nvSpPr>
            <p:spPr bwMode="auto">
              <a:xfrm>
                <a:off x="3292887" y="4369710"/>
                <a:ext cx="18796" cy="6925"/>
              </a:xfrm>
              <a:custGeom>
                <a:avLst/>
                <a:gdLst>
                  <a:gd name="T0" fmla="*/ 19 w 19"/>
                  <a:gd name="T1" fmla="*/ 1 h 7"/>
                  <a:gd name="T2" fmla="*/ 19 w 19"/>
                  <a:gd name="T3" fmla="*/ 1 h 7"/>
                  <a:gd name="T4" fmla="*/ 13 w 19"/>
                  <a:gd name="T5" fmla="*/ 6 h 7"/>
                  <a:gd name="T6" fmla="*/ 12 w 19"/>
                  <a:gd name="T7" fmla="*/ 7 h 7"/>
                  <a:gd name="T8" fmla="*/ 9 w 19"/>
                  <a:gd name="T9" fmla="*/ 7 h 7"/>
                  <a:gd name="T10" fmla="*/ 9 w 19"/>
                  <a:gd name="T11" fmla="*/ 7 h 7"/>
                  <a:gd name="T12" fmla="*/ 3 w 19"/>
                  <a:gd name="T13" fmla="*/ 4 h 7"/>
                  <a:gd name="T14" fmla="*/ 0 w 19"/>
                  <a:gd name="T15" fmla="*/ 3 h 7"/>
                  <a:gd name="T16" fmla="*/ 2 w 19"/>
                  <a:gd name="T17" fmla="*/ 1 h 7"/>
                  <a:gd name="T18" fmla="*/ 2 w 19"/>
                  <a:gd name="T19" fmla="*/ 1 h 7"/>
                  <a:gd name="T20" fmla="*/ 6 w 19"/>
                  <a:gd name="T21" fmla="*/ 0 h 7"/>
                  <a:gd name="T22" fmla="*/ 12 w 19"/>
                  <a:gd name="T23" fmla="*/ 0 h 7"/>
                  <a:gd name="T24" fmla="*/ 18 w 19"/>
                  <a:gd name="T25" fmla="*/ 0 h 7"/>
                  <a:gd name="T26" fmla="*/ 19 w 19"/>
                  <a:gd name="T27" fmla="*/ 0 h 7"/>
                  <a:gd name="T28" fmla="*/ 19 w 19"/>
                  <a:gd name="T2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" h="7">
                    <a:moveTo>
                      <a:pt x="19" y="1"/>
                    </a:moveTo>
                    <a:lnTo>
                      <a:pt x="19" y="1"/>
                    </a:lnTo>
                    <a:lnTo>
                      <a:pt x="13" y="6"/>
                    </a:lnTo>
                    <a:lnTo>
                      <a:pt x="12" y="7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3" y="4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19" y="0"/>
                    </a:lnTo>
                    <a:lnTo>
                      <a:pt x="19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50" name="Freeform 904"/>
              <p:cNvSpPr>
                <a:spLocks/>
              </p:cNvSpPr>
              <p:nvPr/>
            </p:nvSpPr>
            <p:spPr bwMode="auto">
              <a:xfrm>
                <a:off x="3214735" y="4307387"/>
                <a:ext cx="39570" cy="34624"/>
              </a:xfrm>
              <a:custGeom>
                <a:avLst/>
                <a:gdLst>
                  <a:gd name="T0" fmla="*/ 34 w 40"/>
                  <a:gd name="T1" fmla="*/ 35 h 35"/>
                  <a:gd name="T2" fmla="*/ 34 w 40"/>
                  <a:gd name="T3" fmla="*/ 35 h 35"/>
                  <a:gd name="T4" fmla="*/ 27 w 40"/>
                  <a:gd name="T5" fmla="*/ 31 h 35"/>
                  <a:gd name="T6" fmla="*/ 21 w 40"/>
                  <a:gd name="T7" fmla="*/ 27 h 35"/>
                  <a:gd name="T8" fmla="*/ 21 w 40"/>
                  <a:gd name="T9" fmla="*/ 27 h 35"/>
                  <a:gd name="T10" fmla="*/ 17 w 40"/>
                  <a:gd name="T11" fmla="*/ 21 h 35"/>
                  <a:gd name="T12" fmla="*/ 17 w 40"/>
                  <a:gd name="T13" fmla="*/ 18 h 35"/>
                  <a:gd name="T14" fmla="*/ 17 w 40"/>
                  <a:gd name="T15" fmla="*/ 18 h 35"/>
                  <a:gd name="T16" fmla="*/ 17 w 40"/>
                  <a:gd name="T17" fmla="*/ 16 h 35"/>
                  <a:gd name="T18" fmla="*/ 16 w 40"/>
                  <a:gd name="T19" fmla="*/ 15 h 35"/>
                  <a:gd name="T20" fmla="*/ 13 w 40"/>
                  <a:gd name="T21" fmla="*/ 12 h 35"/>
                  <a:gd name="T22" fmla="*/ 13 w 40"/>
                  <a:gd name="T23" fmla="*/ 12 h 35"/>
                  <a:gd name="T24" fmla="*/ 10 w 40"/>
                  <a:gd name="T25" fmla="*/ 12 h 35"/>
                  <a:gd name="T26" fmla="*/ 6 w 40"/>
                  <a:gd name="T27" fmla="*/ 8 h 35"/>
                  <a:gd name="T28" fmla="*/ 6 w 40"/>
                  <a:gd name="T29" fmla="*/ 8 h 35"/>
                  <a:gd name="T30" fmla="*/ 1 w 40"/>
                  <a:gd name="T31" fmla="*/ 3 h 35"/>
                  <a:gd name="T32" fmla="*/ 0 w 40"/>
                  <a:gd name="T33" fmla="*/ 0 h 35"/>
                  <a:gd name="T34" fmla="*/ 1 w 40"/>
                  <a:gd name="T35" fmla="*/ 0 h 35"/>
                  <a:gd name="T36" fmla="*/ 1 w 40"/>
                  <a:gd name="T37" fmla="*/ 0 h 35"/>
                  <a:gd name="T38" fmla="*/ 11 w 40"/>
                  <a:gd name="T39" fmla="*/ 5 h 35"/>
                  <a:gd name="T40" fmla="*/ 21 w 40"/>
                  <a:gd name="T41" fmla="*/ 12 h 35"/>
                  <a:gd name="T42" fmla="*/ 21 w 40"/>
                  <a:gd name="T43" fmla="*/ 12 h 35"/>
                  <a:gd name="T44" fmla="*/ 33 w 40"/>
                  <a:gd name="T45" fmla="*/ 21 h 35"/>
                  <a:gd name="T46" fmla="*/ 39 w 40"/>
                  <a:gd name="T47" fmla="*/ 24 h 35"/>
                  <a:gd name="T48" fmla="*/ 40 w 40"/>
                  <a:gd name="T49" fmla="*/ 27 h 35"/>
                  <a:gd name="T50" fmla="*/ 40 w 40"/>
                  <a:gd name="T51" fmla="*/ 27 h 35"/>
                  <a:gd name="T52" fmla="*/ 39 w 40"/>
                  <a:gd name="T53" fmla="*/ 32 h 35"/>
                  <a:gd name="T54" fmla="*/ 36 w 40"/>
                  <a:gd name="T55" fmla="*/ 34 h 35"/>
                  <a:gd name="T56" fmla="*/ 34 w 40"/>
                  <a:gd name="T57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0" h="35">
                    <a:moveTo>
                      <a:pt x="34" y="35"/>
                    </a:moveTo>
                    <a:lnTo>
                      <a:pt x="34" y="35"/>
                    </a:lnTo>
                    <a:lnTo>
                      <a:pt x="27" y="31"/>
                    </a:lnTo>
                    <a:lnTo>
                      <a:pt x="21" y="27"/>
                    </a:lnTo>
                    <a:lnTo>
                      <a:pt x="21" y="27"/>
                    </a:lnTo>
                    <a:lnTo>
                      <a:pt x="17" y="21"/>
                    </a:lnTo>
                    <a:lnTo>
                      <a:pt x="17" y="18"/>
                    </a:lnTo>
                    <a:lnTo>
                      <a:pt x="17" y="18"/>
                    </a:lnTo>
                    <a:lnTo>
                      <a:pt x="17" y="16"/>
                    </a:lnTo>
                    <a:lnTo>
                      <a:pt x="16" y="15"/>
                    </a:lnTo>
                    <a:lnTo>
                      <a:pt x="13" y="12"/>
                    </a:lnTo>
                    <a:lnTo>
                      <a:pt x="13" y="12"/>
                    </a:lnTo>
                    <a:lnTo>
                      <a:pt x="10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1" y="5"/>
                    </a:lnTo>
                    <a:lnTo>
                      <a:pt x="21" y="12"/>
                    </a:lnTo>
                    <a:lnTo>
                      <a:pt x="21" y="12"/>
                    </a:lnTo>
                    <a:lnTo>
                      <a:pt x="33" y="21"/>
                    </a:lnTo>
                    <a:lnTo>
                      <a:pt x="39" y="24"/>
                    </a:lnTo>
                    <a:lnTo>
                      <a:pt x="40" y="27"/>
                    </a:lnTo>
                    <a:lnTo>
                      <a:pt x="40" y="27"/>
                    </a:lnTo>
                    <a:lnTo>
                      <a:pt x="39" y="32"/>
                    </a:lnTo>
                    <a:lnTo>
                      <a:pt x="36" y="34"/>
                    </a:lnTo>
                    <a:lnTo>
                      <a:pt x="34" y="3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51" name="Freeform 905"/>
              <p:cNvSpPr>
                <a:spLocks/>
              </p:cNvSpPr>
              <p:nvPr/>
            </p:nvSpPr>
            <p:spPr bwMode="auto">
              <a:xfrm>
                <a:off x="3214735" y="4307387"/>
                <a:ext cx="39570" cy="34624"/>
              </a:xfrm>
              <a:custGeom>
                <a:avLst/>
                <a:gdLst>
                  <a:gd name="T0" fmla="*/ 34 w 40"/>
                  <a:gd name="T1" fmla="*/ 35 h 35"/>
                  <a:gd name="T2" fmla="*/ 34 w 40"/>
                  <a:gd name="T3" fmla="*/ 35 h 35"/>
                  <a:gd name="T4" fmla="*/ 27 w 40"/>
                  <a:gd name="T5" fmla="*/ 31 h 35"/>
                  <a:gd name="T6" fmla="*/ 21 w 40"/>
                  <a:gd name="T7" fmla="*/ 27 h 35"/>
                  <a:gd name="T8" fmla="*/ 21 w 40"/>
                  <a:gd name="T9" fmla="*/ 27 h 35"/>
                  <a:gd name="T10" fmla="*/ 17 w 40"/>
                  <a:gd name="T11" fmla="*/ 21 h 35"/>
                  <a:gd name="T12" fmla="*/ 17 w 40"/>
                  <a:gd name="T13" fmla="*/ 18 h 35"/>
                  <a:gd name="T14" fmla="*/ 17 w 40"/>
                  <a:gd name="T15" fmla="*/ 18 h 35"/>
                  <a:gd name="T16" fmla="*/ 17 w 40"/>
                  <a:gd name="T17" fmla="*/ 16 h 35"/>
                  <a:gd name="T18" fmla="*/ 16 w 40"/>
                  <a:gd name="T19" fmla="*/ 15 h 35"/>
                  <a:gd name="T20" fmla="*/ 13 w 40"/>
                  <a:gd name="T21" fmla="*/ 12 h 35"/>
                  <a:gd name="T22" fmla="*/ 13 w 40"/>
                  <a:gd name="T23" fmla="*/ 12 h 35"/>
                  <a:gd name="T24" fmla="*/ 10 w 40"/>
                  <a:gd name="T25" fmla="*/ 12 h 35"/>
                  <a:gd name="T26" fmla="*/ 6 w 40"/>
                  <a:gd name="T27" fmla="*/ 8 h 35"/>
                  <a:gd name="T28" fmla="*/ 6 w 40"/>
                  <a:gd name="T29" fmla="*/ 8 h 35"/>
                  <a:gd name="T30" fmla="*/ 1 w 40"/>
                  <a:gd name="T31" fmla="*/ 3 h 35"/>
                  <a:gd name="T32" fmla="*/ 0 w 40"/>
                  <a:gd name="T33" fmla="*/ 0 h 35"/>
                  <a:gd name="T34" fmla="*/ 1 w 40"/>
                  <a:gd name="T35" fmla="*/ 0 h 35"/>
                  <a:gd name="T36" fmla="*/ 1 w 40"/>
                  <a:gd name="T37" fmla="*/ 0 h 35"/>
                  <a:gd name="T38" fmla="*/ 11 w 40"/>
                  <a:gd name="T39" fmla="*/ 5 h 35"/>
                  <a:gd name="T40" fmla="*/ 21 w 40"/>
                  <a:gd name="T41" fmla="*/ 12 h 35"/>
                  <a:gd name="T42" fmla="*/ 21 w 40"/>
                  <a:gd name="T43" fmla="*/ 12 h 35"/>
                  <a:gd name="T44" fmla="*/ 33 w 40"/>
                  <a:gd name="T45" fmla="*/ 21 h 35"/>
                  <a:gd name="T46" fmla="*/ 39 w 40"/>
                  <a:gd name="T47" fmla="*/ 24 h 35"/>
                  <a:gd name="T48" fmla="*/ 40 w 40"/>
                  <a:gd name="T49" fmla="*/ 27 h 35"/>
                  <a:gd name="T50" fmla="*/ 40 w 40"/>
                  <a:gd name="T51" fmla="*/ 27 h 35"/>
                  <a:gd name="T52" fmla="*/ 39 w 40"/>
                  <a:gd name="T53" fmla="*/ 32 h 35"/>
                  <a:gd name="T54" fmla="*/ 36 w 40"/>
                  <a:gd name="T55" fmla="*/ 34 h 35"/>
                  <a:gd name="T56" fmla="*/ 34 w 40"/>
                  <a:gd name="T57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0" h="35">
                    <a:moveTo>
                      <a:pt x="34" y="35"/>
                    </a:moveTo>
                    <a:lnTo>
                      <a:pt x="34" y="35"/>
                    </a:lnTo>
                    <a:lnTo>
                      <a:pt x="27" y="31"/>
                    </a:lnTo>
                    <a:lnTo>
                      <a:pt x="21" y="27"/>
                    </a:lnTo>
                    <a:lnTo>
                      <a:pt x="21" y="27"/>
                    </a:lnTo>
                    <a:lnTo>
                      <a:pt x="17" y="21"/>
                    </a:lnTo>
                    <a:lnTo>
                      <a:pt x="17" y="18"/>
                    </a:lnTo>
                    <a:lnTo>
                      <a:pt x="17" y="18"/>
                    </a:lnTo>
                    <a:lnTo>
                      <a:pt x="17" y="16"/>
                    </a:lnTo>
                    <a:lnTo>
                      <a:pt x="16" y="15"/>
                    </a:lnTo>
                    <a:lnTo>
                      <a:pt x="13" y="12"/>
                    </a:lnTo>
                    <a:lnTo>
                      <a:pt x="13" y="12"/>
                    </a:lnTo>
                    <a:lnTo>
                      <a:pt x="10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1" y="5"/>
                    </a:lnTo>
                    <a:lnTo>
                      <a:pt x="21" y="12"/>
                    </a:lnTo>
                    <a:lnTo>
                      <a:pt x="21" y="12"/>
                    </a:lnTo>
                    <a:lnTo>
                      <a:pt x="33" y="21"/>
                    </a:lnTo>
                    <a:lnTo>
                      <a:pt x="39" y="24"/>
                    </a:lnTo>
                    <a:lnTo>
                      <a:pt x="40" y="27"/>
                    </a:lnTo>
                    <a:lnTo>
                      <a:pt x="40" y="27"/>
                    </a:lnTo>
                    <a:lnTo>
                      <a:pt x="39" y="32"/>
                    </a:lnTo>
                    <a:lnTo>
                      <a:pt x="36" y="34"/>
                    </a:lnTo>
                    <a:lnTo>
                      <a:pt x="34" y="3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52" name="Freeform 906"/>
              <p:cNvSpPr>
                <a:spLocks/>
              </p:cNvSpPr>
              <p:nvPr/>
            </p:nvSpPr>
            <p:spPr bwMode="auto">
              <a:xfrm>
                <a:off x="3256284" y="4316290"/>
                <a:ext cx="19785" cy="19785"/>
              </a:xfrm>
              <a:custGeom>
                <a:avLst/>
                <a:gdLst>
                  <a:gd name="T0" fmla="*/ 16 w 20"/>
                  <a:gd name="T1" fmla="*/ 20 h 20"/>
                  <a:gd name="T2" fmla="*/ 16 w 20"/>
                  <a:gd name="T3" fmla="*/ 20 h 20"/>
                  <a:gd name="T4" fmla="*/ 6 w 20"/>
                  <a:gd name="T5" fmla="*/ 15 h 20"/>
                  <a:gd name="T6" fmla="*/ 3 w 20"/>
                  <a:gd name="T7" fmla="*/ 12 h 20"/>
                  <a:gd name="T8" fmla="*/ 0 w 20"/>
                  <a:gd name="T9" fmla="*/ 9 h 20"/>
                  <a:gd name="T10" fmla="*/ 0 w 20"/>
                  <a:gd name="T11" fmla="*/ 9 h 20"/>
                  <a:gd name="T12" fmla="*/ 1 w 20"/>
                  <a:gd name="T13" fmla="*/ 6 h 20"/>
                  <a:gd name="T14" fmla="*/ 3 w 20"/>
                  <a:gd name="T15" fmla="*/ 5 h 20"/>
                  <a:gd name="T16" fmla="*/ 7 w 20"/>
                  <a:gd name="T17" fmla="*/ 3 h 20"/>
                  <a:gd name="T18" fmla="*/ 7 w 20"/>
                  <a:gd name="T19" fmla="*/ 3 h 20"/>
                  <a:gd name="T20" fmla="*/ 13 w 20"/>
                  <a:gd name="T21" fmla="*/ 0 h 20"/>
                  <a:gd name="T22" fmla="*/ 16 w 20"/>
                  <a:gd name="T23" fmla="*/ 0 h 20"/>
                  <a:gd name="T24" fmla="*/ 19 w 20"/>
                  <a:gd name="T25" fmla="*/ 0 h 20"/>
                  <a:gd name="T26" fmla="*/ 19 w 20"/>
                  <a:gd name="T27" fmla="*/ 0 h 20"/>
                  <a:gd name="T28" fmla="*/ 20 w 20"/>
                  <a:gd name="T29" fmla="*/ 5 h 20"/>
                  <a:gd name="T30" fmla="*/ 19 w 20"/>
                  <a:gd name="T31" fmla="*/ 12 h 20"/>
                  <a:gd name="T32" fmla="*/ 17 w 20"/>
                  <a:gd name="T33" fmla="*/ 18 h 20"/>
                  <a:gd name="T34" fmla="*/ 17 w 20"/>
                  <a:gd name="T35" fmla="*/ 19 h 20"/>
                  <a:gd name="T36" fmla="*/ 16 w 20"/>
                  <a:gd name="T37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0" h="20">
                    <a:moveTo>
                      <a:pt x="16" y="20"/>
                    </a:moveTo>
                    <a:lnTo>
                      <a:pt x="16" y="20"/>
                    </a:lnTo>
                    <a:lnTo>
                      <a:pt x="6" y="15"/>
                    </a:lnTo>
                    <a:lnTo>
                      <a:pt x="3" y="12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1" y="6"/>
                    </a:lnTo>
                    <a:lnTo>
                      <a:pt x="3" y="5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20" y="5"/>
                    </a:lnTo>
                    <a:lnTo>
                      <a:pt x="19" y="12"/>
                    </a:lnTo>
                    <a:lnTo>
                      <a:pt x="17" y="18"/>
                    </a:lnTo>
                    <a:lnTo>
                      <a:pt x="17" y="19"/>
                    </a:lnTo>
                    <a:lnTo>
                      <a:pt x="16" y="2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53" name="Freeform 907"/>
              <p:cNvSpPr>
                <a:spLocks/>
              </p:cNvSpPr>
              <p:nvPr/>
            </p:nvSpPr>
            <p:spPr bwMode="auto">
              <a:xfrm>
                <a:off x="3256284" y="4316290"/>
                <a:ext cx="19785" cy="19785"/>
              </a:xfrm>
              <a:custGeom>
                <a:avLst/>
                <a:gdLst>
                  <a:gd name="T0" fmla="*/ 16 w 20"/>
                  <a:gd name="T1" fmla="*/ 20 h 20"/>
                  <a:gd name="T2" fmla="*/ 16 w 20"/>
                  <a:gd name="T3" fmla="*/ 20 h 20"/>
                  <a:gd name="T4" fmla="*/ 6 w 20"/>
                  <a:gd name="T5" fmla="*/ 15 h 20"/>
                  <a:gd name="T6" fmla="*/ 3 w 20"/>
                  <a:gd name="T7" fmla="*/ 12 h 20"/>
                  <a:gd name="T8" fmla="*/ 0 w 20"/>
                  <a:gd name="T9" fmla="*/ 9 h 20"/>
                  <a:gd name="T10" fmla="*/ 0 w 20"/>
                  <a:gd name="T11" fmla="*/ 9 h 20"/>
                  <a:gd name="T12" fmla="*/ 1 w 20"/>
                  <a:gd name="T13" fmla="*/ 6 h 20"/>
                  <a:gd name="T14" fmla="*/ 3 w 20"/>
                  <a:gd name="T15" fmla="*/ 5 h 20"/>
                  <a:gd name="T16" fmla="*/ 7 w 20"/>
                  <a:gd name="T17" fmla="*/ 3 h 20"/>
                  <a:gd name="T18" fmla="*/ 7 w 20"/>
                  <a:gd name="T19" fmla="*/ 3 h 20"/>
                  <a:gd name="T20" fmla="*/ 13 w 20"/>
                  <a:gd name="T21" fmla="*/ 0 h 20"/>
                  <a:gd name="T22" fmla="*/ 16 w 20"/>
                  <a:gd name="T23" fmla="*/ 0 h 20"/>
                  <a:gd name="T24" fmla="*/ 19 w 20"/>
                  <a:gd name="T25" fmla="*/ 0 h 20"/>
                  <a:gd name="T26" fmla="*/ 19 w 20"/>
                  <a:gd name="T27" fmla="*/ 0 h 20"/>
                  <a:gd name="T28" fmla="*/ 20 w 20"/>
                  <a:gd name="T29" fmla="*/ 5 h 20"/>
                  <a:gd name="T30" fmla="*/ 19 w 20"/>
                  <a:gd name="T31" fmla="*/ 12 h 20"/>
                  <a:gd name="T32" fmla="*/ 17 w 20"/>
                  <a:gd name="T33" fmla="*/ 18 h 20"/>
                  <a:gd name="T34" fmla="*/ 17 w 20"/>
                  <a:gd name="T35" fmla="*/ 19 h 20"/>
                  <a:gd name="T36" fmla="*/ 16 w 20"/>
                  <a:gd name="T37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0" h="20">
                    <a:moveTo>
                      <a:pt x="16" y="20"/>
                    </a:moveTo>
                    <a:lnTo>
                      <a:pt x="16" y="20"/>
                    </a:lnTo>
                    <a:lnTo>
                      <a:pt x="6" y="15"/>
                    </a:lnTo>
                    <a:lnTo>
                      <a:pt x="3" y="12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1" y="6"/>
                    </a:lnTo>
                    <a:lnTo>
                      <a:pt x="3" y="5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20" y="5"/>
                    </a:lnTo>
                    <a:lnTo>
                      <a:pt x="19" y="12"/>
                    </a:lnTo>
                    <a:lnTo>
                      <a:pt x="17" y="18"/>
                    </a:lnTo>
                    <a:lnTo>
                      <a:pt x="17" y="19"/>
                    </a:lnTo>
                    <a:lnTo>
                      <a:pt x="16" y="2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54" name="Freeform 908"/>
              <p:cNvSpPr>
                <a:spLocks/>
              </p:cNvSpPr>
              <p:nvPr/>
            </p:nvSpPr>
            <p:spPr bwMode="auto">
              <a:xfrm>
                <a:off x="3442265" y="4265838"/>
                <a:ext cx="22753" cy="21764"/>
              </a:xfrm>
              <a:custGeom>
                <a:avLst/>
                <a:gdLst>
                  <a:gd name="T0" fmla="*/ 13 w 23"/>
                  <a:gd name="T1" fmla="*/ 19 h 22"/>
                  <a:gd name="T2" fmla="*/ 13 w 23"/>
                  <a:gd name="T3" fmla="*/ 19 h 22"/>
                  <a:gd name="T4" fmla="*/ 7 w 23"/>
                  <a:gd name="T5" fmla="*/ 21 h 22"/>
                  <a:gd name="T6" fmla="*/ 3 w 23"/>
                  <a:gd name="T7" fmla="*/ 22 h 22"/>
                  <a:gd name="T8" fmla="*/ 0 w 23"/>
                  <a:gd name="T9" fmla="*/ 22 h 22"/>
                  <a:gd name="T10" fmla="*/ 0 w 23"/>
                  <a:gd name="T11" fmla="*/ 22 h 22"/>
                  <a:gd name="T12" fmla="*/ 0 w 23"/>
                  <a:gd name="T13" fmla="*/ 19 h 22"/>
                  <a:gd name="T14" fmla="*/ 1 w 23"/>
                  <a:gd name="T15" fmla="*/ 18 h 22"/>
                  <a:gd name="T16" fmla="*/ 6 w 23"/>
                  <a:gd name="T17" fmla="*/ 12 h 22"/>
                  <a:gd name="T18" fmla="*/ 6 w 23"/>
                  <a:gd name="T19" fmla="*/ 12 h 22"/>
                  <a:gd name="T20" fmla="*/ 4 w 23"/>
                  <a:gd name="T21" fmla="*/ 11 h 22"/>
                  <a:gd name="T22" fmla="*/ 3 w 23"/>
                  <a:gd name="T23" fmla="*/ 8 h 22"/>
                  <a:gd name="T24" fmla="*/ 1 w 23"/>
                  <a:gd name="T25" fmla="*/ 5 h 22"/>
                  <a:gd name="T26" fmla="*/ 1 w 23"/>
                  <a:gd name="T27" fmla="*/ 3 h 22"/>
                  <a:gd name="T28" fmla="*/ 1 w 23"/>
                  <a:gd name="T29" fmla="*/ 3 h 22"/>
                  <a:gd name="T30" fmla="*/ 3 w 23"/>
                  <a:gd name="T31" fmla="*/ 2 h 22"/>
                  <a:gd name="T32" fmla="*/ 4 w 23"/>
                  <a:gd name="T33" fmla="*/ 0 h 22"/>
                  <a:gd name="T34" fmla="*/ 7 w 23"/>
                  <a:gd name="T35" fmla="*/ 0 h 22"/>
                  <a:gd name="T36" fmla="*/ 10 w 23"/>
                  <a:gd name="T37" fmla="*/ 2 h 22"/>
                  <a:gd name="T38" fmla="*/ 10 w 23"/>
                  <a:gd name="T39" fmla="*/ 2 h 22"/>
                  <a:gd name="T40" fmla="*/ 13 w 23"/>
                  <a:gd name="T41" fmla="*/ 3 h 22"/>
                  <a:gd name="T42" fmla="*/ 14 w 23"/>
                  <a:gd name="T43" fmla="*/ 5 h 22"/>
                  <a:gd name="T44" fmla="*/ 16 w 23"/>
                  <a:gd name="T45" fmla="*/ 3 h 22"/>
                  <a:gd name="T46" fmla="*/ 16 w 23"/>
                  <a:gd name="T47" fmla="*/ 3 h 22"/>
                  <a:gd name="T48" fmla="*/ 20 w 23"/>
                  <a:gd name="T49" fmla="*/ 0 h 22"/>
                  <a:gd name="T50" fmla="*/ 22 w 23"/>
                  <a:gd name="T51" fmla="*/ 0 h 22"/>
                  <a:gd name="T52" fmla="*/ 23 w 23"/>
                  <a:gd name="T53" fmla="*/ 2 h 22"/>
                  <a:gd name="T54" fmla="*/ 23 w 23"/>
                  <a:gd name="T55" fmla="*/ 2 h 22"/>
                  <a:gd name="T56" fmla="*/ 23 w 23"/>
                  <a:gd name="T57" fmla="*/ 3 h 22"/>
                  <a:gd name="T58" fmla="*/ 22 w 23"/>
                  <a:gd name="T59" fmla="*/ 6 h 22"/>
                  <a:gd name="T60" fmla="*/ 19 w 23"/>
                  <a:gd name="T61" fmla="*/ 11 h 22"/>
                  <a:gd name="T62" fmla="*/ 19 w 23"/>
                  <a:gd name="T63" fmla="*/ 11 h 22"/>
                  <a:gd name="T64" fmla="*/ 16 w 23"/>
                  <a:gd name="T65" fmla="*/ 15 h 22"/>
                  <a:gd name="T66" fmla="*/ 13 w 23"/>
                  <a:gd name="T67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" h="22">
                    <a:moveTo>
                      <a:pt x="13" y="19"/>
                    </a:moveTo>
                    <a:lnTo>
                      <a:pt x="13" y="19"/>
                    </a:lnTo>
                    <a:lnTo>
                      <a:pt x="7" y="21"/>
                    </a:lnTo>
                    <a:lnTo>
                      <a:pt x="3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1" y="1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4" y="11"/>
                    </a:lnTo>
                    <a:lnTo>
                      <a:pt x="3" y="8"/>
                    </a:lnTo>
                    <a:lnTo>
                      <a:pt x="1" y="5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3" y="2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3" y="3"/>
                    </a:lnTo>
                    <a:lnTo>
                      <a:pt x="14" y="5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3" y="3"/>
                    </a:lnTo>
                    <a:lnTo>
                      <a:pt x="22" y="6"/>
                    </a:lnTo>
                    <a:lnTo>
                      <a:pt x="19" y="11"/>
                    </a:lnTo>
                    <a:lnTo>
                      <a:pt x="19" y="11"/>
                    </a:lnTo>
                    <a:lnTo>
                      <a:pt x="16" y="15"/>
                    </a:lnTo>
                    <a:lnTo>
                      <a:pt x="13" y="1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55" name="Freeform 909"/>
              <p:cNvSpPr>
                <a:spLocks/>
              </p:cNvSpPr>
              <p:nvPr/>
            </p:nvSpPr>
            <p:spPr bwMode="auto">
              <a:xfrm>
                <a:off x="3442265" y="4265838"/>
                <a:ext cx="22753" cy="21764"/>
              </a:xfrm>
              <a:custGeom>
                <a:avLst/>
                <a:gdLst>
                  <a:gd name="T0" fmla="*/ 13 w 23"/>
                  <a:gd name="T1" fmla="*/ 19 h 22"/>
                  <a:gd name="T2" fmla="*/ 13 w 23"/>
                  <a:gd name="T3" fmla="*/ 19 h 22"/>
                  <a:gd name="T4" fmla="*/ 7 w 23"/>
                  <a:gd name="T5" fmla="*/ 21 h 22"/>
                  <a:gd name="T6" fmla="*/ 3 w 23"/>
                  <a:gd name="T7" fmla="*/ 22 h 22"/>
                  <a:gd name="T8" fmla="*/ 0 w 23"/>
                  <a:gd name="T9" fmla="*/ 22 h 22"/>
                  <a:gd name="T10" fmla="*/ 0 w 23"/>
                  <a:gd name="T11" fmla="*/ 22 h 22"/>
                  <a:gd name="T12" fmla="*/ 0 w 23"/>
                  <a:gd name="T13" fmla="*/ 19 h 22"/>
                  <a:gd name="T14" fmla="*/ 1 w 23"/>
                  <a:gd name="T15" fmla="*/ 18 h 22"/>
                  <a:gd name="T16" fmla="*/ 6 w 23"/>
                  <a:gd name="T17" fmla="*/ 12 h 22"/>
                  <a:gd name="T18" fmla="*/ 6 w 23"/>
                  <a:gd name="T19" fmla="*/ 12 h 22"/>
                  <a:gd name="T20" fmla="*/ 4 w 23"/>
                  <a:gd name="T21" fmla="*/ 11 h 22"/>
                  <a:gd name="T22" fmla="*/ 3 w 23"/>
                  <a:gd name="T23" fmla="*/ 8 h 22"/>
                  <a:gd name="T24" fmla="*/ 1 w 23"/>
                  <a:gd name="T25" fmla="*/ 5 h 22"/>
                  <a:gd name="T26" fmla="*/ 1 w 23"/>
                  <a:gd name="T27" fmla="*/ 3 h 22"/>
                  <a:gd name="T28" fmla="*/ 1 w 23"/>
                  <a:gd name="T29" fmla="*/ 3 h 22"/>
                  <a:gd name="T30" fmla="*/ 3 w 23"/>
                  <a:gd name="T31" fmla="*/ 2 h 22"/>
                  <a:gd name="T32" fmla="*/ 4 w 23"/>
                  <a:gd name="T33" fmla="*/ 0 h 22"/>
                  <a:gd name="T34" fmla="*/ 7 w 23"/>
                  <a:gd name="T35" fmla="*/ 0 h 22"/>
                  <a:gd name="T36" fmla="*/ 10 w 23"/>
                  <a:gd name="T37" fmla="*/ 2 h 22"/>
                  <a:gd name="T38" fmla="*/ 10 w 23"/>
                  <a:gd name="T39" fmla="*/ 2 h 22"/>
                  <a:gd name="T40" fmla="*/ 13 w 23"/>
                  <a:gd name="T41" fmla="*/ 3 h 22"/>
                  <a:gd name="T42" fmla="*/ 14 w 23"/>
                  <a:gd name="T43" fmla="*/ 5 h 22"/>
                  <a:gd name="T44" fmla="*/ 16 w 23"/>
                  <a:gd name="T45" fmla="*/ 3 h 22"/>
                  <a:gd name="T46" fmla="*/ 16 w 23"/>
                  <a:gd name="T47" fmla="*/ 3 h 22"/>
                  <a:gd name="T48" fmla="*/ 20 w 23"/>
                  <a:gd name="T49" fmla="*/ 0 h 22"/>
                  <a:gd name="T50" fmla="*/ 22 w 23"/>
                  <a:gd name="T51" fmla="*/ 0 h 22"/>
                  <a:gd name="T52" fmla="*/ 23 w 23"/>
                  <a:gd name="T53" fmla="*/ 2 h 22"/>
                  <a:gd name="T54" fmla="*/ 23 w 23"/>
                  <a:gd name="T55" fmla="*/ 2 h 22"/>
                  <a:gd name="T56" fmla="*/ 23 w 23"/>
                  <a:gd name="T57" fmla="*/ 3 h 22"/>
                  <a:gd name="T58" fmla="*/ 22 w 23"/>
                  <a:gd name="T59" fmla="*/ 6 h 22"/>
                  <a:gd name="T60" fmla="*/ 19 w 23"/>
                  <a:gd name="T61" fmla="*/ 11 h 22"/>
                  <a:gd name="T62" fmla="*/ 19 w 23"/>
                  <a:gd name="T63" fmla="*/ 11 h 22"/>
                  <a:gd name="T64" fmla="*/ 16 w 23"/>
                  <a:gd name="T65" fmla="*/ 15 h 22"/>
                  <a:gd name="T66" fmla="*/ 13 w 23"/>
                  <a:gd name="T67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" h="22">
                    <a:moveTo>
                      <a:pt x="13" y="19"/>
                    </a:moveTo>
                    <a:lnTo>
                      <a:pt x="13" y="19"/>
                    </a:lnTo>
                    <a:lnTo>
                      <a:pt x="7" y="21"/>
                    </a:lnTo>
                    <a:lnTo>
                      <a:pt x="3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1" y="1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4" y="11"/>
                    </a:lnTo>
                    <a:lnTo>
                      <a:pt x="3" y="8"/>
                    </a:lnTo>
                    <a:lnTo>
                      <a:pt x="1" y="5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3" y="2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3" y="3"/>
                    </a:lnTo>
                    <a:lnTo>
                      <a:pt x="14" y="5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3" y="3"/>
                    </a:lnTo>
                    <a:lnTo>
                      <a:pt x="22" y="6"/>
                    </a:lnTo>
                    <a:lnTo>
                      <a:pt x="19" y="11"/>
                    </a:lnTo>
                    <a:lnTo>
                      <a:pt x="19" y="11"/>
                    </a:lnTo>
                    <a:lnTo>
                      <a:pt x="16" y="15"/>
                    </a:lnTo>
                    <a:lnTo>
                      <a:pt x="13" y="1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56" name="Freeform 910"/>
              <p:cNvSpPr>
                <a:spLocks/>
              </p:cNvSpPr>
              <p:nvPr/>
            </p:nvSpPr>
            <p:spPr bwMode="auto">
              <a:xfrm>
                <a:off x="3461061" y="4268806"/>
                <a:ext cx="22753" cy="23742"/>
              </a:xfrm>
              <a:custGeom>
                <a:avLst/>
                <a:gdLst>
                  <a:gd name="T0" fmla="*/ 6 w 23"/>
                  <a:gd name="T1" fmla="*/ 24 h 24"/>
                  <a:gd name="T2" fmla="*/ 6 w 23"/>
                  <a:gd name="T3" fmla="*/ 24 h 24"/>
                  <a:gd name="T4" fmla="*/ 3 w 23"/>
                  <a:gd name="T5" fmla="*/ 24 h 24"/>
                  <a:gd name="T6" fmla="*/ 1 w 23"/>
                  <a:gd name="T7" fmla="*/ 22 h 24"/>
                  <a:gd name="T8" fmla="*/ 0 w 23"/>
                  <a:gd name="T9" fmla="*/ 19 h 24"/>
                  <a:gd name="T10" fmla="*/ 1 w 23"/>
                  <a:gd name="T11" fmla="*/ 16 h 24"/>
                  <a:gd name="T12" fmla="*/ 1 w 23"/>
                  <a:gd name="T13" fmla="*/ 16 h 24"/>
                  <a:gd name="T14" fmla="*/ 4 w 23"/>
                  <a:gd name="T15" fmla="*/ 15 h 24"/>
                  <a:gd name="T16" fmla="*/ 7 w 23"/>
                  <a:gd name="T17" fmla="*/ 13 h 24"/>
                  <a:gd name="T18" fmla="*/ 9 w 23"/>
                  <a:gd name="T19" fmla="*/ 12 h 24"/>
                  <a:gd name="T20" fmla="*/ 10 w 23"/>
                  <a:gd name="T21" fmla="*/ 9 h 24"/>
                  <a:gd name="T22" fmla="*/ 10 w 23"/>
                  <a:gd name="T23" fmla="*/ 9 h 24"/>
                  <a:gd name="T24" fmla="*/ 10 w 23"/>
                  <a:gd name="T25" fmla="*/ 3 h 24"/>
                  <a:gd name="T26" fmla="*/ 11 w 23"/>
                  <a:gd name="T27" fmla="*/ 2 h 24"/>
                  <a:gd name="T28" fmla="*/ 13 w 23"/>
                  <a:gd name="T29" fmla="*/ 0 h 24"/>
                  <a:gd name="T30" fmla="*/ 13 w 23"/>
                  <a:gd name="T31" fmla="*/ 0 h 24"/>
                  <a:gd name="T32" fmla="*/ 16 w 23"/>
                  <a:gd name="T33" fmla="*/ 0 h 24"/>
                  <a:gd name="T34" fmla="*/ 19 w 23"/>
                  <a:gd name="T35" fmla="*/ 2 h 24"/>
                  <a:gd name="T36" fmla="*/ 22 w 23"/>
                  <a:gd name="T37" fmla="*/ 3 h 24"/>
                  <a:gd name="T38" fmla="*/ 23 w 23"/>
                  <a:gd name="T39" fmla="*/ 6 h 24"/>
                  <a:gd name="T40" fmla="*/ 23 w 23"/>
                  <a:gd name="T41" fmla="*/ 6 h 24"/>
                  <a:gd name="T42" fmla="*/ 19 w 23"/>
                  <a:gd name="T43" fmla="*/ 11 h 24"/>
                  <a:gd name="T44" fmla="*/ 16 w 23"/>
                  <a:gd name="T45" fmla="*/ 13 h 24"/>
                  <a:gd name="T46" fmla="*/ 16 w 23"/>
                  <a:gd name="T47" fmla="*/ 13 h 24"/>
                  <a:gd name="T48" fmla="*/ 13 w 23"/>
                  <a:gd name="T49" fmla="*/ 19 h 24"/>
                  <a:gd name="T50" fmla="*/ 10 w 23"/>
                  <a:gd name="T51" fmla="*/ 22 h 24"/>
                  <a:gd name="T52" fmla="*/ 6 w 23"/>
                  <a:gd name="T5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" h="24">
                    <a:moveTo>
                      <a:pt x="6" y="24"/>
                    </a:moveTo>
                    <a:lnTo>
                      <a:pt x="6" y="24"/>
                    </a:lnTo>
                    <a:lnTo>
                      <a:pt x="3" y="24"/>
                    </a:lnTo>
                    <a:lnTo>
                      <a:pt x="1" y="22"/>
                    </a:lnTo>
                    <a:lnTo>
                      <a:pt x="0" y="19"/>
                    </a:lnTo>
                    <a:lnTo>
                      <a:pt x="1" y="16"/>
                    </a:lnTo>
                    <a:lnTo>
                      <a:pt x="1" y="16"/>
                    </a:lnTo>
                    <a:lnTo>
                      <a:pt x="4" y="15"/>
                    </a:lnTo>
                    <a:lnTo>
                      <a:pt x="7" y="13"/>
                    </a:lnTo>
                    <a:lnTo>
                      <a:pt x="9" y="12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3"/>
                    </a:lnTo>
                    <a:lnTo>
                      <a:pt x="11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9" y="2"/>
                    </a:lnTo>
                    <a:lnTo>
                      <a:pt x="22" y="3"/>
                    </a:lnTo>
                    <a:lnTo>
                      <a:pt x="23" y="6"/>
                    </a:lnTo>
                    <a:lnTo>
                      <a:pt x="23" y="6"/>
                    </a:lnTo>
                    <a:lnTo>
                      <a:pt x="19" y="11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3" y="19"/>
                    </a:lnTo>
                    <a:lnTo>
                      <a:pt x="10" y="22"/>
                    </a:lnTo>
                    <a:lnTo>
                      <a:pt x="6" y="2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57" name="Freeform 911"/>
              <p:cNvSpPr>
                <a:spLocks/>
              </p:cNvSpPr>
              <p:nvPr/>
            </p:nvSpPr>
            <p:spPr bwMode="auto">
              <a:xfrm>
                <a:off x="3461061" y="4268806"/>
                <a:ext cx="22753" cy="23742"/>
              </a:xfrm>
              <a:custGeom>
                <a:avLst/>
                <a:gdLst>
                  <a:gd name="T0" fmla="*/ 6 w 23"/>
                  <a:gd name="T1" fmla="*/ 24 h 24"/>
                  <a:gd name="T2" fmla="*/ 6 w 23"/>
                  <a:gd name="T3" fmla="*/ 24 h 24"/>
                  <a:gd name="T4" fmla="*/ 3 w 23"/>
                  <a:gd name="T5" fmla="*/ 24 h 24"/>
                  <a:gd name="T6" fmla="*/ 1 w 23"/>
                  <a:gd name="T7" fmla="*/ 22 h 24"/>
                  <a:gd name="T8" fmla="*/ 0 w 23"/>
                  <a:gd name="T9" fmla="*/ 19 h 24"/>
                  <a:gd name="T10" fmla="*/ 1 w 23"/>
                  <a:gd name="T11" fmla="*/ 16 h 24"/>
                  <a:gd name="T12" fmla="*/ 1 w 23"/>
                  <a:gd name="T13" fmla="*/ 16 h 24"/>
                  <a:gd name="T14" fmla="*/ 4 w 23"/>
                  <a:gd name="T15" fmla="*/ 15 h 24"/>
                  <a:gd name="T16" fmla="*/ 7 w 23"/>
                  <a:gd name="T17" fmla="*/ 13 h 24"/>
                  <a:gd name="T18" fmla="*/ 9 w 23"/>
                  <a:gd name="T19" fmla="*/ 12 h 24"/>
                  <a:gd name="T20" fmla="*/ 10 w 23"/>
                  <a:gd name="T21" fmla="*/ 9 h 24"/>
                  <a:gd name="T22" fmla="*/ 10 w 23"/>
                  <a:gd name="T23" fmla="*/ 9 h 24"/>
                  <a:gd name="T24" fmla="*/ 10 w 23"/>
                  <a:gd name="T25" fmla="*/ 3 h 24"/>
                  <a:gd name="T26" fmla="*/ 11 w 23"/>
                  <a:gd name="T27" fmla="*/ 2 h 24"/>
                  <a:gd name="T28" fmla="*/ 13 w 23"/>
                  <a:gd name="T29" fmla="*/ 0 h 24"/>
                  <a:gd name="T30" fmla="*/ 13 w 23"/>
                  <a:gd name="T31" fmla="*/ 0 h 24"/>
                  <a:gd name="T32" fmla="*/ 16 w 23"/>
                  <a:gd name="T33" fmla="*/ 0 h 24"/>
                  <a:gd name="T34" fmla="*/ 19 w 23"/>
                  <a:gd name="T35" fmla="*/ 2 h 24"/>
                  <a:gd name="T36" fmla="*/ 22 w 23"/>
                  <a:gd name="T37" fmla="*/ 3 h 24"/>
                  <a:gd name="T38" fmla="*/ 23 w 23"/>
                  <a:gd name="T39" fmla="*/ 6 h 24"/>
                  <a:gd name="T40" fmla="*/ 23 w 23"/>
                  <a:gd name="T41" fmla="*/ 6 h 24"/>
                  <a:gd name="T42" fmla="*/ 19 w 23"/>
                  <a:gd name="T43" fmla="*/ 11 h 24"/>
                  <a:gd name="T44" fmla="*/ 16 w 23"/>
                  <a:gd name="T45" fmla="*/ 13 h 24"/>
                  <a:gd name="T46" fmla="*/ 16 w 23"/>
                  <a:gd name="T47" fmla="*/ 13 h 24"/>
                  <a:gd name="T48" fmla="*/ 13 w 23"/>
                  <a:gd name="T49" fmla="*/ 19 h 24"/>
                  <a:gd name="T50" fmla="*/ 10 w 23"/>
                  <a:gd name="T51" fmla="*/ 22 h 24"/>
                  <a:gd name="T52" fmla="*/ 6 w 23"/>
                  <a:gd name="T5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" h="24">
                    <a:moveTo>
                      <a:pt x="6" y="24"/>
                    </a:moveTo>
                    <a:lnTo>
                      <a:pt x="6" y="24"/>
                    </a:lnTo>
                    <a:lnTo>
                      <a:pt x="3" y="24"/>
                    </a:lnTo>
                    <a:lnTo>
                      <a:pt x="1" y="22"/>
                    </a:lnTo>
                    <a:lnTo>
                      <a:pt x="0" y="19"/>
                    </a:lnTo>
                    <a:lnTo>
                      <a:pt x="1" y="16"/>
                    </a:lnTo>
                    <a:lnTo>
                      <a:pt x="1" y="16"/>
                    </a:lnTo>
                    <a:lnTo>
                      <a:pt x="4" y="15"/>
                    </a:lnTo>
                    <a:lnTo>
                      <a:pt x="7" y="13"/>
                    </a:lnTo>
                    <a:lnTo>
                      <a:pt x="9" y="12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3"/>
                    </a:lnTo>
                    <a:lnTo>
                      <a:pt x="11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9" y="2"/>
                    </a:lnTo>
                    <a:lnTo>
                      <a:pt x="22" y="3"/>
                    </a:lnTo>
                    <a:lnTo>
                      <a:pt x="23" y="6"/>
                    </a:lnTo>
                    <a:lnTo>
                      <a:pt x="23" y="6"/>
                    </a:lnTo>
                    <a:lnTo>
                      <a:pt x="19" y="11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3" y="19"/>
                    </a:lnTo>
                    <a:lnTo>
                      <a:pt x="10" y="22"/>
                    </a:lnTo>
                    <a:lnTo>
                      <a:pt x="6" y="2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58" name="Freeform 912"/>
              <p:cNvSpPr>
                <a:spLocks/>
              </p:cNvSpPr>
              <p:nvPr/>
            </p:nvSpPr>
            <p:spPr bwMode="auto">
              <a:xfrm>
                <a:off x="3059422" y="2948144"/>
                <a:ext cx="169163" cy="58366"/>
              </a:xfrm>
              <a:custGeom>
                <a:avLst/>
                <a:gdLst>
                  <a:gd name="T0" fmla="*/ 129 w 171"/>
                  <a:gd name="T1" fmla="*/ 59 h 59"/>
                  <a:gd name="T2" fmla="*/ 126 w 171"/>
                  <a:gd name="T3" fmla="*/ 59 h 59"/>
                  <a:gd name="T4" fmla="*/ 113 w 171"/>
                  <a:gd name="T5" fmla="*/ 58 h 59"/>
                  <a:gd name="T6" fmla="*/ 113 w 171"/>
                  <a:gd name="T7" fmla="*/ 56 h 59"/>
                  <a:gd name="T8" fmla="*/ 121 w 171"/>
                  <a:gd name="T9" fmla="*/ 51 h 59"/>
                  <a:gd name="T10" fmla="*/ 119 w 171"/>
                  <a:gd name="T11" fmla="*/ 48 h 59"/>
                  <a:gd name="T12" fmla="*/ 118 w 171"/>
                  <a:gd name="T13" fmla="*/ 46 h 59"/>
                  <a:gd name="T14" fmla="*/ 105 w 171"/>
                  <a:gd name="T15" fmla="*/ 43 h 59"/>
                  <a:gd name="T16" fmla="*/ 102 w 171"/>
                  <a:gd name="T17" fmla="*/ 42 h 59"/>
                  <a:gd name="T18" fmla="*/ 93 w 171"/>
                  <a:gd name="T19" fmla="*/ 29 h 59"/>
                  <a:gd name="T20" fmla="*/ 89 w 171"/>
                  <a:gd name="T21" fmla="*/ 27 h 59"/>
                  <a:gd name="T22" fmla="*/ 87 w 171"/>
                  <a:gd name="T23" fmla="*/ 27 h 59"/>
                  <a:gd name="T24" fmla="*/ 81 w 171"/>
                  <a:gd name="T25" fmla="*/ 29 h 59"/>
                  <a:gd name="T26" fmla="*/ 76 w 171"/>
                  <a:gd name="T27" fmla="*/ 30 h 59"/>
                  <a:gd name="T28" fmla="*/ 70 w 171"/>
                  <a:gd name="T29" fmla="*/ 27 h 59"/>
                  <a:gd name="T30" fmla="*/ 63 w 171"/>
                  <a:gd name="T31" fmla="*/ 23 h 59"/>
                  <a:gd name="T32" fmla="*/ 54 w 171"/>
                  <a:gd name="T33" fmla="*/ 20 h 59"/>
                  <a:gd name="T34" fmla="*/ 44 w 171"/>
                  <a:gd name="T35" fmla="*/ 17 h 59"/>
                  <a:gd name="T36" fmla="*/ 42 w 171"/>
                  <a:gd name="T37" fmla="*/ 14 h 59"/>
                  <a:gd name="T38" fmla="*/ 41 w 171"/>
                  <a:gd name="T39" fmla="*/ 11 h 59"/>
                  <a:gd name="T40" fmla="*/ 34 w 171"/>
                  <a:gd name="T41" fmla="*/ 10 h 59"/>
                  <a:gd name="T42" fmla="*/ 28 w 171"/>
                  <a:gd name="T43" fmla="*/ 11 h 59"/>
                  <a:gd name="T44" fmla="*/ 26 w 171"/>
                  <a:gd name="T45" fmla="*/ 14 h 59"/>
                  <a:gd name="T46" fmla="*/ 29 w 171"/>
                  <a:gd name="T47" fmla="*/ 22 h 59"/>
                  <a:gd name="T48" fmla="*/ 31 w 171"/>
                  <a:gd name="T49" fmla="*/ 27 h 59"/>
                  <a:gd name="T50" fmla="*/ 31 w 171"/>
                  <a:gd name="T51" fmla="*/ 27 h 59"/>
                  <a:gd name="T52" fmla="*/ 31 w 171"/>
                  <a:gd name="T53" fmla="*/ 27 h 59"/>
                  <a:gd name="T54" fmla="*/ 25 w 171"/>
                  <a:gd name="T55" fmla="*/ 25 h 59"/>
                  <a:gd name="T56" fmla="*/ 18 w 171"/>
                  <a:gd name="T57" fmla="*/ 20 h 59"/>
                  <a:gd name="T58" fmla="*/ 9 w 171"/>
                  <a:gd name="T59" fmla="*/ 20 h 59"/>
                  <a:gd name="T60" fmla="*/ 9 w 171"/>
                  <a:gd name="T61" fmla="*/ 20 h 59"/>
                  <a:gd name="T62" fmla="*/ 8 w 171"/>
                  <a:gd name="T63" fmla="*/ 20 h 59"/>
                  <a:gd name="T64" fmla="*/ 0 w 171"/>
                  <a:gd name="T65" fmla="*/ 19 h 59"/>
                  <a:gd name="T66" fmla="*/ 2 w 171"/>
                  <a:gd name="T67" fmla="*/ 16 h 59"/>
                  <a:gd name="T68" fmla="*/ 13 w 171"/>
                  <a:gd name="T69" fmla="*/ 7 h 59"/>
                  <a:gd name="T70" fmla="*/ 31 w 171"/>
                  <a:gd name="T71" fmla="*/ 1 h 59"/>
                  <a:gd name="T72" fmla="*/ 51 w 171"/>
                  <a:gd name="T73" fmla="*/ 0 h 59"/>
                  <a:gd name="T74" fmla="*/ 63 w 171"/>
                  <a:gd name="T75" fmla="*/ 1 h 59"/>
                  <a:gd name="T76" fmla="*/ 71 w 171"/>
                  <a:gd name="T77" fmla="*/ 6 h 59"/>
                  <a:gd name="T78" fmla="*/ 80 w 171"/>
                  <a:gd name="T79" fmla="*/ 11 h 59"/>
                  <a:gd name="T80" fmla="*/ 97 w 171"/>
                  <a:gd name="T81" fmla="*/ 20 h 59"/>
                  <a:gd name="T82" fmla="*/ 105 w 171"/>
                  <a:gd name="T83" fmla="*/ 22 h 59"/>
                  <a:gd name="T84" fmla="*/ 116 w 171"/>
                  <a:gd name="T85" fmla="*/ 26 h 59"/>
                  <a:gd name="T86" fmla="*/ 123 w 171"/>
                  <a:gd name="T87" fmla="*/ 30 h 59"/>
                  <a:gd name="T88" fmla="*/ 142 w 171"/>
                  <a:gd name="T89" fmla="*/ 38 h 59"/>
                  <a:gd name="T90" fmla="*/ 148 w 171"/>
                  <a:gd name="T91" fmla="*/ 39 h 59"/>
                  <a:gd name="T92" fmla="*/ 149 w 171"/>
                  <a:gd name="T93" fmla="*/ 42 h 59"/>
                  <a:gd name="T94" fmla="*/ 148 w 171"/>
                  <a:gd name="T95" fmla="*/ 42 h 59"/>
                  <a:gd name="T96" fmla="*/ 149 w 171"/>
                  <a:gd name="T97" fmla="*/ 45 h 59"/>
                  <a:gd name="T98" fmla="*/ 152 w 171"/>
                  <a:gd name="T99" fmla="*/ 45 h 59"/>
                  <a:gd name="T100" fmla="*/ 167 w 171"/>
                  <a:gd name="T101" fmla="*/ 51 h 59"/>
                  <a:gd name="T102" fmla="*/ 171 w 171"/>
                  <a:gd name="T103" fmla="*/ 53 h 59"/>
                  <a:gd name="T104" fmla="*/ 164 w 171"/>
                  <a:gd name="T105" fmla="*/ 56 h 59"/>
                  <a:gd name="T106" fmla="*/ 149 w 171"/>
                  <a:gd name="T107" fmla="*/ 58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1" h="59">
                    <a:moveTo>
                      <a:pt x="129" y="59"/>
                    </a:moveTo>
                    <a:lnTo>
                      <a:pt x="129" y="59"/>
                    </a:lnTo>
                    <a:lnTo>
                      <a:pt x="126" y="59"/>
                    </a:lnTo>
                    <a:lnTo>
                      <a:pt x="126" y="59"/>
                    </a:lnTo>
                    <a:lnTo>
                      <a:pt x="115" y="58"/>
                    </a:lnTo>
                    <a:lnTo>
                      <a:pt x="113" y="58"/>
                    </a:lnTo>
                    <a:lnTo>
                      <a:pt x="113" y="56"/>
                    </a:lnTo>
                    <a:lnTo>
                      <a:pt x="113" y="56"/>
                    </a:lnTo>
                    <a:lnTo>
                      <a:pt x="119" y="52"/>
                    </a:lnTo>
                    <a:lnTo>
                      <a:pt x="121" y="51"/>
                    </a:lnTo>
                    <a:lnTo>
                      <a:pt x="121" y="49"/>
                    </a:lnTo>
                    <a:lnTo>
                      <a:pt x="119" y="48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07" y="45"/>
                    </a:lnTo>
                    <a:lnTo>
                      <a:pt x="105" y="43"/>
                    </a:lnTo>
                    <a:lnTo>
                      <a:pt x="102" y="42"/>
                    </a:lnTo>
                    <a:lnTo>
                      <a:pt x="102" y="42"/>
                    </a:lnTo>
                    <a:lnTo>
                      <a:pt x="97" y="33"/>
                    </a:lnTo>
                    <a:lnTo>
                      <a:pt x="93" y="29"/>
                    </a:lnTo>
                    <a:lnTo>
                      <a:pt x="89" y="27"/>
                    </a:lnTo>
                    <a:lnTo>
                      <a:pt x="89" y="27"/>
                    </a:lnTo>
                    <a:lnTo>
                      <a:pt x="87" y="27"/>
                    </a:lnTo>
                    <a:lnTo>
                      <a:pt x="87" y="27"/>
                    </a:lnTo>
                    <a:lnTo>
                      <a:pt x="81" y="29"/>
                    </a:lnTo>
                    <a:lnTo>
                      <a:pt x="81" y="29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3" y="29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3" y="23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45" y="19"/>
                    </a:lnTo>
                    <a:lnTo>
                      <a:pt x="44" y="17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3"/>
                    </a:lnTo>
                    <a:lnTo>
                      <a:pt x="41" y="11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1" y="10"/>
                    </a:lnTo>
                    <a:lnTo>
                      <a:pt x="28" y="11"/>
                    </a:lnTo>
                    <a:lnTo>
                      <a:pt x="26" y="13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9" y="22"/>
                    </a:lnTo>
                    <a:lnTo>
                      <a:pt x="31" y="26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28" y="26"/>
                    </a:lnTo>
                    <a:lnTo>
                      <a:pt x="25" y="25"/>
                    </a:lnTo>
                    <a:lnTo>
                      <a:pt x="21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2" y="19"/>
                    </a:lnTo>
                    <a:lnTo>
                      <a:pt x="0" y="19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1"/>
                    </a:lnTo>
                    <a:lnTo>
                      <a:pt x="13" y="7"/>
                    </a:lnTo>
                    <a:lnTo>
                      <a:pt x="22" y="3"/>
                    </a:lnTo>
                    <a:lnTo>
                      <a:pt x="31" y="1"/>
                    </a:lnTo>
                    <a:lnTo>
                      <a:pt x="31" y="1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63" y="1"/>
                    </a:lnTo>
                    <a:lnTo>
                      <a:pt x="67" y="3"/>
                    </a:lnTo>
                    <a:lnTo>
                      <a:pt x="71" y="6"/>
                    </a:lnTo>
                    <a:lnTo>
                      <a:pt x="71" y="6"/>
                    </a:lnTo>
                    <a:lnTo>
                      <a:pt x="80" y="11"/>
                    </a:lnTo>
                    <a:lnTo>
                      <a:pt x="89" y="17"/>
                    </a:lnTo>
                    <a:lnTo>
                      <a:pt x="97" y="20"/>
                    </a:lnTo>
                    <a:lnTo>
                      <a:pt x="105" y="22"/>
                    </a:lnTo>
                    <a:lnTo>
                      <a:pt x="105" y="22"/>
                    </a:lnTo>
                    <a:lnTo>
                      <a:pt x="112" y="23"/>
                    </a:lnTo>
                    <a:lnTo>
                      <a:pt x="116" y="26"/>
                    </a:lnTo>
                    <a:lnTo>
                      <a:pt x="123" y="30"/>
                    </a:lnTo>
                    <a:lnTo>
                      <a:pt x="123" y="30"/>
                    </a:lnTo>
                    <a:lnTo>
                      <a:pt x="134" y="35"/>
                    </a:lnTo>
                    <a:lnTo>
                      <a:pt x="142" y="38"/>
                    </a:lnTo>
                    <a:lnTo>
                      <a:pt x="142" y="38"/>
                    </a:lnTo>
                    <a:lnTo>
                      <a:pt x="148" y="39"/>
                    </a:lnTo>
                    <a:lnTo>
                      <a:pt x="149" y="40"/>
                    </a:lnTo>
                    <a:lnTo>
                      <a:pt x="149" y="42"/>
                    </a:lnTo>
                    <a:lnTo>
                      <a:pt x="149" y="42"/>
                    </a:lnTo>
                    <a:lnTo>
                      <a:pt x="148" y="42"/>
                    </a:lnTo>
                    <a:lnTo>
                      <a:pt x="148" y="43"/>
                    </a:lnTo>
                    <a:lnTo>
                      <a:pt x="149" y="45"/>
                    </a:lnTo>
                    <a:lnTo>
                      <a:pt x="152" y="45"/>
                    </a:lnTo>
                    <a:lnTo>
                      <a:pt x="152" y="45"/>
                    </a:lnTo>
                    <a:lnTo>
                      <a:pt x="160" y="48"/>
                    </a:lnTo>
                    <a:lnTo>
                      <a:pt x="167" y="51"/>
                    </a:lnTo>
                    <a:lnTo>
                      <a:pt x="170" y="52"/>
                    </a:lnTo>
                    <a:lnTo>
                      <a:pt x="171" y="53"/>
                    </a:lnTo>
                    <a:lnTo>
                      <a:pt x="170" y="55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49" y="58"/>
                    </a:lnTo>
                    <a:lnTo>
                      <a:pt x="129" y="5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59" name="Freeform 913"/>
              <p:cNvSpPr>
                <a:spLocks/>
              </p:cNvSpPr>
              <p:nvPr/>
            </p:nvSpPr>
            <p:spPr bwMode="auto">
              <a:xfrm>
                <a:off x="3059422" y="2948144"/>
                <a:ext cx="169163" cy="58366"/>
              </a:xfrm>
              <a:custGeom>
                <a:avLst/>
                <a:gdLst>
                  <a:gd name="T0" fmla="*/ 129 w 171"/>
                  <a:gd name="T1" fmla="*/ 59 h 59"/>
                  <a:gd name="T2" fmla="*/ 126 w 171"/>
                  <a:gd name="T3" fmla="*/ 59 h 59"/>
                  <a:gd name="T4" fmla="*/ 113 w 171"/>
                  <a:gd name="T5" fmla="*/ 58 h 59"/>
                  <a:gd name="T6" fmla="*/ 113 w 171"/>
                  <a:gd name="T7" fmla="*/ 56 h 59"/>
                  <a:gd name="T8" fmla="*/ 121 w 171"/>
                  <a:gd name="T9" fmla="*/ 51 h 59"/>
                  <a:gd name="T10" fmla="*/ 119 w 171"/>
                  <a:gd name="T11" fmla="*/ 48 h 59"/>
                  <a:gd name="T12" fmla="*/ 118 w 171"/>
                  <a:gd name="T13" fmla="*/ 46 h 59"/>
                  <a:gd name="T14" fmla="*/ 105 w 171"/>
                  <a:gd name="T15" fmla="*/ 43 h 59"/>
                  <a:gd name="T16" fmla="*/ 102 w 171"/>
                  <a:gd name="T17" fmla="*/ 42 h 59"/>
                  <a:gd name="T18" fmla="*/ 93 w 171"/>
                  <a:gd name="T19" fmla="*/ 29 h 59"/>
                  <a:gd name="T20" fmla="*/ 89 w 171"/>
                  <a:gd name="T21" fmla="*/ 27 h 59"/>
                  <a:gd name="T22" fmla="*/ 87 w 171"/>
                  <a:gd name="T23" fmla="*/ 27 h 59"/>
                  <a:gd name="T24" fmla="*/ 81 w 171"/>
                  <a:gd name="T25" fmla="*/ 29 h 59"/>
                  <a:gd name="T26" fmla="*/ 76 w 171"/>
                  <a:gd name="T27" fmla="*/ 30 h 59"/>
                  <a:gd name="T28" fmla="*/ 70 w 171"/>
                  <a:gd name="T29" fmla="*/ 27 h 59"/>
                  <a:gd name="T30" fmla="*/ 63 w 171"/>
                  <a:gd name="T31" fmla="*/ 23 h 59"/>
                  <a:gd name="T32" fmla="*/ 54 w 171"/>
                  <a:gd name="T33" fmla="*/ 20 h 59"/>
                  <a:gd name="T34" fmla="*/ 44 w 171"/>
                  <a:gd name="T35" fmla="*/ 17 h 59"/>
                  <a:gd name="T36" fmla="*/ 42 w 171"/>
                  <a:gd name="T37" fmla="*/ 14 h 59"/>
                  <a:gd name="T38" fmla="*/ 41 w 171"/>
                  <a:gd name="T39" fmla="*/ 11 h 59"/>
                  <a:gd name="T40" fmla="*/ 34 w 171"/>
                  <a:gd name="T41" fmla="*/ 10 h 59"/>
                  <a:gd name="T42" fmla="*/ 28 w 171"/>
                  <a:gd name="T43" fmla="*/ 11 h 59"/>
                  <a:gd name="T44" fmla="*/ 26 w 171"/>
                  <a:gd name="T45" fmla="*/ 14 h 59"/>
                  <a:gd name="T46" fmla="*/ 29 w 171"/>
                  <a:gd name="T47" fmla="*/ 22 h 59"/>
                  <a:gd name="T48" fmla="*/ 31 w 171"/>
                  <a:gd name="T49" fmla="*/ 27 h 59"/>
                  <a:gd name="T50" fmla="*/ 31 w 171"/>
                  <a:gd name="T51" fmla="*/ 27 h 59"/>
                  <a:gd name="T52" fmla="*/ 31 w 171"/>
                  <a:gd name="T53" fmla="*/ 27 h 59"/>
                  <a:gd name="T54" fmla="*/ 25 w 171"/>
                  <a:gd name="T55" fmla="*/ 25 h 59"/>
                  <a:gd name="T56" fmla="*/ 18 w 171"/>
                  <a:gd name="T57" fmla="*/ 20 h 59"/>
                  <a:gd name="T58" fmla="*/ 9 w 171"/>
                  <a:gd name="T59" fmla="*/ 20 h 59"/>
                  <a:gd name="T60" fmla="*/ 9 w 171"/>
                  <a:gd name="T61" fmla="*/ 20 h 59"/>
                  <a:gd name="T62" fmla="*/ 8 w 171"/>
                  <a:gd name="T63" fmla="*/ 20 h 59"/>
                  <a:gd name="T64" fmla="*/ 0 w 171"/>
                  <a:gd name="T65" fmla="*/ 19 h 59"/>
                  <a:gd name="T66" fmla="*/ 2 w 171"/>
                  <a:gd name="T67" fmla="*/ 16 h 59"/>
                  <a:gd name="T68" fmla="*/ 13 w 171"/>
                  <a:gd name="T69" fmla="*/ 7 h 59"/>
                  <a:gd name="T70" fmla="*/ 31 w 171"/>
                  <a:gd name="T71" fmla="*/ 1 h 59"/>
                  <a:gd name="T72" fmla="*/ 51 w 171"/>
                  <a:gd name="T73" fmla="*/ 0 h 59"/>
                  <a:gd name="T74" fmla="*/ 63 w 171"/>
                  <a:gd name="T75" fmla="*/ 1 h 59"/>
                  <a:gd name="T76" fmla="*/ 71 w 171"/>
                  <a:gd name="T77" fmla="*/ 6 h 59"/>
                  <a:gd name="T78" fmla="*/ 80 w 171"/>
                  <a:gd name="T79" fmla="*/ 11 h 59"/>
                  <a:gd name="T80" fmla="*/ 97 w 171"/>
                  <a:gd name="T81" fmla="*/ 20 h 59"/>
                  <a:gd name="T82" fmla="*/ 105 w 171"/>
                  <a:gd name="T83" fmla="*/ 22 h 59"/>
                  <a:gd name="T84" fmla="*/ 116 w 171"/>
                  <a:gd name="T85" fmla="*/ 26 h 59"/>
                  <a:gd name="T86" fmla="*/ 123 w 171"/>
                  <a:gd name="T87" fmla="*/ 30 h 59"/>
                  <a:gd name="T88" fmla="*/ 142 w 171"/>
                  <a:gd name="T89" fmla="*/ 38 h 59"/>
                  <a:gd name="T90" fmla="*/ 148 w 171"/>
                  <a:gd name="T91" fmla="*/ 39 h 59"/>
                  <a:gd name="T92" fmla="*/ 149 w 171"/>
                  <a:gd name="T93" fmla="*/ 42 h 59"/>
                  <a:gd name="T94" fmla="*/ 148 w 171"/>
                  <a:gd name="T95" fmla="*/ 42 h 59"/>
                  <a:gd name="T96" fmla="*/ 149 w 171"/>
                  <a:gd name="T97" fmla="*/ 45 h 59"/>
                  <a:gd name="T98" fmla="*/ 152 w 171"/>
                  <a:gd name="T99" fmla="*/ 45 h 59"/>
                  <a:gd name="T100" fmla="*/ 167 w 171"/>
                  <a:gd name="T101" fmla="*/ 51 h 59"/>
                  <a:gd name="T102" fmla="*/ 171 w 171"/>
                  <a:gd name="T103" fmla="*/ 53 h 59"/>
                  <a:gd name="T104" fmla="*/ 164 w 171"/>
                  <a:gd name="T105" fmla="*/ 56 h 59"/>
                  <a:gd name="T106" fmla="*/ 149 w 171"/>
                  <a:gd name="T107" fmla="*/ 58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1" h="59">
                    <a:moveTo>
                      <a:pt x="129" y="59"/>
                    </a:moveTo>
                    <a:lnTo>
                      <a:pt x="129" y="59"/>
                    </a:lnTo>
                    <a:lnTo>
                      <a:pt x="126" y="59"/>
                    </a:lnTo>
                    <a:lnTo>
                      <a:pt x="126" y="59"/>
                    </a:lnTo>
                    <a:lnTo>
                      <a:pt x="115" y="58"/>
                    </a:lnTo>
                    <a:lnTo>
                      <a:pt x="113" y="58"/>
                    </a:lnTo>
                    <a:lnTo>
                      <a:pt x="113" y="56"/>
                    </a:lnTo>
                    <a:lnTo>
                      <a:pt x="113" y="56"/>
                    </a:lnTo>
                    <a:lnTo>
                      <a:pt x="119" y="52"/>
                    </a:lnTo>
                    <a:lnTo>
                      <a:pt x="121" y="51"/>
                    </a:lnTo>
                    <a:lnTo>
                      <a:pt x="121" y="49"/>
                    </a:lnTo>
                    <a:lnTo>
                      <a:pt x="119" y="48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07" y="45"/>
                    </a:lnTo>
                    <a:lnTo>
                      <a:pt x="105" y="43"/>
                    </a:lnTo>
                    <a:lnTo>
                      <a:pt x="102" y="42"/>
                    </a:lnTo>
                    <a:lnTo>
                      <a:pt x="102" y="42"/>
                    </a:lnTo>
                    <a:lnTo>
                      <a:pt x="97" y="33"/>
                    </a:lnTo>
                    <a:lnTo>
                      <a:pt x="93" y="29"/>
                    </a:lnTo>
                    <a:lnTo>
                      <a:pt x="89" y="27"/>
                    </a:lnTo>
                    <a:lnTo>
                      <a:pt x="89" y="27"/>
                    </a:lnTo>
                    <a:lnTo>
                      <a:pt x="87" y="27"/>
                    </a:lnTo>
                    <a:lnTo>
                      <a:pt x="87" y="27"/>
                    </a:lnTo>
                    <a:lnTo>
                      <a:pt x="81" y="29"/>
                    </a:lnTo>
                    <a:lnTo>
                      <a:pt x="81" y="29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3" y="29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3" y="23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45" y="19"/>
                    </a:lnTo>
                    <a:lnTo>
                      <a:pt x="44" y="17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3"/>
                    </a:lnTo>
                    <a:lnTo>
                      <a:pt x="41" y="11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1" y="10"/>
                    </a:lnTo>
                    <a:lnTo>
                      <a:pt x="28" y="11"/>
                    </a:lnTo>
                    <a:lnTo>
                      <a:pt x="26" y="13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9" y="22"/>
                    </a:lnTo>
                    <a:lnTo>
                      <a:pt x="31" y="26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28" y="26"/>
                    </a:lnTo>
                    <a:lnTo>
                      <a:pt x="25" y="25"/>
                    </a:lnTo>
                    <a:lnTo>
                      <a:pt x="21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2" y="19"/>
                    </a:lnTo>
                    <a:lnTo>
                      <a:pt x="0" y="19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1"/>
                    </a:lnTo>
                    <a:lnTo>
                      <a:pt x="13" y="7"/>
                    </a:lnTo>
                    <a:lnTo>
                      <a:pt x="22" y="3"/>
                    </a:lnTo>
                    <a:lnTo>
                      <a:pt x="31" y="1"/>
                    </a:lnTo>
                    <a:lnTo>
                      <a:pt x="31" y="1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63" y="1"/>
                    </a:lnTo>
                    <a:lnTo>
                      <a:pt x="67" y="3"/>
                    </a:lnTo>
                    <a:lnTo>
                      <a:pt x="71" y="6"/>
                    </a:lnTo>
                    <a:lnTo>
                      <a:pt x="71" y="6"/>
                    </a:lnTo>
                    <a:lnTo>
                      <a:pt x="80" y="11"/>
                    </a:lnTo>
                    <a:lnTo>
                      <a:pt x="89" y="17"/>
                    </a:lnTo>
                    <a:lnTo>
                      <a:pt x="97" y="20"/>
                    </a:lnTo>
                    <a:lnTo>
                      <a:pt x="105" y="22"/>
                    </a:lnTo>
                    <a:lnTo>
                      <a:pt x="105" y="22"/>
                    </a:lnTo>
                    <a:lnTo>
                      <a:pt x="112" y="23"/>
                    </a:lnTo>
                    <a:lnTo>
                      <a:pt x="116" y="26"/>
                    </a:lnTo>
                    <a:lnTo>
                      <a:pt x="123" y="30"/>
                    </a:lnTo>
                    <a:lnTo>
                      <a:pt x="123" y="30"/>
                    </a:lnTo>
                    <a:lnTo>
                      <a:pt x="134" y="35"/>
                    </a:lnTo>
                    <a:lnTo>
                      <a:pt x="142" y="38"/>
                    </a:lnTo>
                    <a:lnTo>
                      <a:pt x="142" y="38"/>
                    </a:lnTo>
                    <a:lnTo>
                      <a:pt x="148" y="39"/>
                    </a:lnTo>
                    <a:lnTo>
                      <a:pt x="149" y="40"/>
                    </a:lnTo>
                    <a:lnTo>
                      <a:pt x="149" y="42"/>
                    </a:lnTo>
                    <a:lnTo>
                      <a:pt x="149" y="42"/>
                    </a:lnTo>
                    <a:lnTo>
                      <a:pt x="148" y="42"/>
                    </a:lnTo>
                    <a:lnTo>
                      <a:pt x="148" y="43"/>
                    </a:lnTo>
                    <a:lnTo>
                      <a:pt x="149" y="45"/>
                    </a:lnTo>
                    <a:lnTo>
                      <a:pt x="152" y="45"/>
                    </a:lnTo>
                    <a:lnTo>
                      <a:pt x="152" y="45"/>
                    </a:lnTo>
                    <a:lnTo>
                      <a:pt x="160" y="48"/>
                    </a:lnTo>
                    <a:lnTo>
                      <a:pt x="167" y="51"/>
                    </a:lnTo>
                    <a:lnTo>
                      <a:pt x="170" y="52"/>
                    </a:lnTo>
                    <a:lnTo>
                      <a:pt x="171" y="53"/>
                    </a:lnTo>
                    <a:lnTo>
                      <a:pt x="170" y="55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49" y="58"/>
                    </a:lnTo>
                    <a:lnTo>
                      <a:pt x="129" y="5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60" name="Freeform 914"/>
              <p:cNvSpPr>
                <a:spLocks/>
              </p:cNvSpPr>
              <p:nvPr/>
            </p:nvSpPr>
            <p:spPr bwMode="auto">
              <a:xfrm>
                <a:off x="3163294" y="3031242"/>
                <a:ext cx="23742" cy="8903"/>
              </a:xfrm>
              <a:custGeom>
                <a:avLst/>
                <a:gdLst>
                  <a:gd name="T0" fmla="*/ 23 w 24"/>
                  <a:gd name="T1" fmla="*/ 6 h 9"/>
                  <a:gd name="T2" fmla="*/ 23 w 24"/>
                  <a:gd name="T3" fmla="*/ 6 h 9"/>
                  <a:gd name="T4" fmla="*/ 13 w 24"/>
                  <a:gd name="T5" fmla="*/ 7 h 9"/>
                  <a:gd name="T6" fmla="*/ 8 w 24"/>
                  <a:gd name="T7" fmla="*/ 9 h 9"/>
                  <a:gd name="T8" fmla="*/ 7 w 24"/>
                  <a:gd name="T9" fmla="*/ 9 h 9"/>
                  <a:gd name="T10" fmla="*/ 7 w 24"/>
                  <a:gd name="T11" fmla="*/ 9 h 9"/>
                  <a:gd name="T12" fmla="*/ 5 w 24"/>
                  <a:gd name="T13" fmla="*/ 4 h 9"/>
                  <a:gd name="T14" fmla="*/ 1 w 24"/>
                  <a:gd name="T15" fmla="*/ 1 h 9"/>
                  <a:gd name="T16" fmla="*/ 1 w 24"/>
                  <a:gd name="T17" fmla="*/ 1 h 9"/>
                  <a:gd name="T18" fmla="*/ 0 w 24"/>
                  <a:gd name="T19" fmla="*/ 0 h 9"/>
                  <a:gd name="T20" fmla="*/ 2 w 24"/>
                  <a:gd name="T21" fmla="*/ 0 h 9"/>
                  <a:gd name="T22" fmla="*/ 11 w 24"/>
                  <a:gd name="T23" fmla="*/ 0 h 9"/>
                  <a:gd name="T24" fmla="*/ 11 w 24"/>
                  <a:gd name="T25" fmla="*/ 0 h 9"/>
                  <a:gd name="T26" fmla="*/ 21 w 24"/>
                  <a:gd name="T27" fmla="*/ 3 h 9"/>
                  <a:gd name="T28" fmla="*/ 24 w 24"/>
                  <a:gd name="T29" fmla="*/ 4 h 9"/>
                  <a:gd name="T30" fmla="*/ 24 w 24"/>
                  <a:gd name="T31" fmla="*/ 4 h 9"/>
                  <a:gd name="T32" fmla="*/ 23 w 24"/>
                  <a:gd name="T33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9">
                    <a:moveTo>
                      <a:pt x="23" y="6"/>
                    </a:moveTo>
                    <a:lnTo>
                      <a:pt x="23" y="6"/>
                    </a:lnTo>
                    <a:lnTo>
                      <a:pt x="13" y="7"/>
                    </a:lnTo>
                    <a:lnTo>
                      <a:pt x="8" y="9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5" y="4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21" y="3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3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61" name="Freeform 915"/>
              <p:cNvSpPr>
                <a:spLocks/>
              </p:cNvSpPr>
              <p:nvPr/>
            </p:nvSpPr>
            <p:spPr bwMode="auto">
              <a:xfrm>
                <a:off x="3163294" y="3031242"/>
                <a:ext cx="23742" cy="8903"/>
              </a:xfrm>
              <a:custGeom>
                <a:avLst/>
                <a:gdLst>
                  <a:gd name="T0" fmla="*/ 23 w 24"/>
                  <a:gd name="T1" fmla="*/ 6 h 9"/>
                  <a:gd name="T2" fmla="*/ 23 w 24"/>
                  <a:gd name="T3" fmla="*/ 6 h 9"/>
                  <a:gd name="T4" fmla="*/ 13 w 24"/>
                  <a:gd name="T5" fmla="*/ 7 h 9"/>
                  <a:gd name="T6" fmla="*/ 8 w 24"/>
                  <a:gd name="T7" fmla="*/ 9 h 9"/>
                  <a:gd name="T8" fmla="*/ 7 w 24"/>
                  <a:gd name="T9" fmla="*/ 9 h 9"/>
                  <a:gd name="T10" fmla="*/ 7 w 24"/>
                  <a:gd name="T11" fmla="*/ 9 h 9"/>
                  <a:gd name="T12" fmla="*/ 5 w 24"/>
                  <a:gd name="T13" fmla="*/ 4 h 9"/>
                  <a:gd name="T14" fmla="*/ 1 w 24"/>
                  <a:gd name="T15" fmla="*/ 1 h 9"/>
                  <a:gd name="T16" fmla="*/ 1 w 24"/>
                  <a:gd name="T17" fmla="*/ 1 h 9"/>
                  <a:gd name="T18" fmla="*/ 0 w 24"/>
                  <a:gd name="T19" fmla="*/ 0 h 9"/>
                  <a:gd name="T20" fmla="*/ 2 w 24"/>
                  <a:gd name="T21" fmla="*/ 0 h 9"/>
                  <a:gd name="T22" fmla="*/ 11 w 24"/>
                  <a:gd name="T23" fmla="*/ 0 h 9"/>
                  <a:gd name="T24" fmla="*/ 11 w 24"/>
                  <a:gd name="T25" fmla="*/ 0 h 9"/>
                  <a:gd name="T26" fmla="*/ 21 w 24"/>
                  <a:gd name="T27" fmla="*/ 3 h 9"/>
                  <a:gd name="T28" fmla="*/ 24 w 24"/>
                  <a:gd name="T29" fmla="*/ 4 h 9"/>
                  <a:gd name="T30" fmla="*/ 24 w 24"/>
                  <a:gd name="T31" fmla="*/ 4 h 9"/>
                  <a:gd name="T32" fmla="*/ 23 w 24"/>
                  <a:gd name="T33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9">
                    <a:moveTo>
                      <a:pt x="23" y="6"/>
                    </a:moveTo>
                    <a:lnTo>
                      <a:pt x="23" y="6"/>
                    </a:lnTo>
                    <a:lnTo>
                      <a:pt x="13" y="7"/>
                    </a:lnTo>
                    <a:lnTo>
                      <a:pt x="8" y="9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5" y="4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21" y="3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3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62" name="Freeform 916"/>
              <p:cNvSpPr>
                <a:spLocks/>
              </p:cNvSpPr>
              <p:nvPr/>
            </p:nvSpPr>
            <p:spPr bwMode="auto">
              <a:xfrm>
                <a:off x="3228585" y="3028274"/>
                <a:ext cx="24731" cy="5936"/>
              </a:xfrm>
              <a:custGeom>
                <a:avLst/>
                <a:gdLst>
                  <a:gd name="T0" fmla="*/ 23 w 25"/>
                  <a:gd name="T1" fmla="*/ 6 h 6"/>
                  <a:gd name="T2" fmla="*/ 23 w 25"/>
                  <a:gd name="T3" fmla="*/ 6 h 6"/>
                  <a:gd name="T4" fmla="*/ 20 w 25"/>
                  <a:gd name="T5" fmla="*/ 6 h 6"/>
                  <a:gd name="T6" fmla="*/ 15 w 25"/>
                  <a:gd name="T7" fmla="*/ 6 h 6"/>
                  <a:gd name="T8" fmla="*/ 2 w 25"/>
                  <a:gd name="T9" fmla="*/ 3 h 6"/>
                  <a:gd name="T10" fmla="*/ 2 w 25"/>
                  <a:gd name="T11" fmla="*/ 3 h 6"/>
                  <a:gd name="T12" fmla="*/ 0 w 25"/>
                  <a:gd name="T13" fmla="*/ 1 h 6"/>
                  <a:gd name="T14" fmla="*/ 2 w 25"/>
                  <a:gd name="T15" fmla="*/ 0 h 6"/>
                  <a:gd name="T16" fmla="*/ 10 w 25"/>
                  <a:gd name="T17" fmla="*/ 0 h 6"/>
                  <a:gd name="T18" fmla="*/ 10 w 25"/>
                  <a:gd name="T19" fmla="*/ 0 h 6"/>
                  <a:gd name="T20" fmla="*/ 16 w 25"/>
                  <a:gd name="T21" fmla="*/ 0 h 6"/>
                  <a:gd name="T22" fmla="*/ 22 w 25"/>
                  <a:gd name="T23" fmla="*/ 1 h 6"/>
                  <a:gd name="T24" fmla="*/ 25 w 25"/>
                  <a:gd name="T25" fmla="*/ 3 h 6"/>
                  <a:gd name="T26" fmla="*/ 25 w 25"/>
                  <a:gd name="T27" fmla="*/ 4 h 6"/>
                  <a:gd name="T28" fmla="*/ 23 w 25"/>
                  <a:gd name="T2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" h="6">
                    <a:moveTo>
                      <a:pt x="23" y="6"/>
                    </a:moveTo>
                    <a:lnTo>
                      <a:pt x="23" y="6"/>
                    </a:lnTo>
                    <a:lnTo>
                      <a:pt x="20" y="6"/>
                    </a:lnTo>
                    <a:lnTo>
                      <a:pt x="15" y="6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22" y="1"/>
                    </a:lnTo>
                    <a:lnTo>
                      <a:pt x="25" y="3"/>
                    </a:lnTo>
                    <a:lnTo>
                      <a:pt x="25" y="4"/>
                    </a:lnTo>
                    <a:lnTo>
                      <a:pt x="23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63" name="Freeform 917"/>
              <p:cNvSpPr>
                <a:spLocks/>
              </p:cNvSpPr>
              <p:nvPr/>
            </p:nvSpPr>
            <p:spPr bwMode="auto">
              <a:xfrm>
                <a:off x="3228585" y="3028274"/>
                <a:ext cx="24731" cy="5936"/>
              </a:xfrm>
              <a:custGeom>
                <a:avLst/>
                <a:gdLst>
                  <a:gd name="T0" fmla="*/ 23 w 25"/>
                  <a:gd name="T1" fmla="*/ 6 h 6"/>
                  <a:gd name="T2" fmla="*/ 23 w 25"/>
                  <a:gd name="T3" fmla="*/ 6 h 6"/>
                  <a:gd name="T4" fmla="*/ 20 w 25"/>
                  <a:gd name="T5" fmla="*/ 6 h 6"/>
                  <a:gd name="T6" fmla="*/ 15 w 25"/>
                  <a:gd name="T7" fmla="*/ 6 h 6"/>
                  <a:gd name="T8" fmla="*/ 2 w 25"/>
                  <a:gd name="T9" fmla="*/ 3 h 6"/>
                  <a:gd name="T10" fmla="*/ 2 w 25"/>
                  <a:gd name="T11" fmla="*/ 3 h 6"/>
                  <a:gd name="T12" fmla="*/ 0 w 25"/>
                  <a:gd name="T13" fmla="*/ 1 h 6"/>
                  <a:gd name="T14" fmla="*/ 2 w 25"/>
                  <a:gd name="T15" fmla="*/ 0 h 6"/>
                  <a:gd name="T16" fmla="*/ 10 w 25"/>
                  <a:gd name="T17" fmla="*/ 0 h 6"/>
                  <a:gd name="T18" fmla="*/ 10 w 25"/>
                  <a:gd name="T19" fmla="*/ 0 h 6"/>
                  <a:gd name="T20" fmla="*/ 16 w 25"/>
                  <a:gd name="T21" fmla="*/ 0 h 6"/>
                  <a:gd name="T22" fmla="*/ 22 w 25"/>
                  <a:gd name="T23" fmla="*/ 1 h 6"/>
                  <a:gd name="T24" fmla="*/ 25 w 25"/>
                  <a:gd name="T25" fmla="*/ 3 h 6"/>
                  <a:gd name="T26" fmla="*/ 25 w 25"/>
                  <a:gd name="T27" fmla="*/ 4 h 6"/>
                  <a:gd name="T28" fmla="*/ 23 w 25"/>
                  <a:gd name="T2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" h="6">
                    <a:moveTo>
                      <a:pt x="23" y="6"/>
                    </a:moveTo>
                    <a:lnTo>
                      <a:pt x="23" y="6"/>
                    </a:lnTo>
                    <a:lnTo>
                      <a:pt x="20" y="6"/>
                    </a:lnTo>
                    <a:lnTo>
                      <a:pt x="15" y="6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22" y="1"/>
                    </a:lnTo>
                    <a:lnTo>
                      <a:pt x="25" y="3"/>
                    </a:lnTo>
                    <a:lnTo>
                      <a:pt x="25" y="4"/>
                    </a:lnTo>
                    <a:lnTo>
                      <a:pt x="23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64" name="Freeform 918"/>
              <p:cNvSpPr>
                <a:spLocks/>
              </p:cNvSpPr>
              <p:nvPr/>
            </p:nvSpPr>
            <p:spPr bwMode="auto">
              <a:xfrm>
                <a:off x="3264198" y="3008489"/>
                <a:ext cx="53420" cy="26710"/>
              </a:xfrm>
              <a:custGeom>
                <a:avLst/>
                <a:gdLst>
                  <a:gd name="T0" fmla="*/ 48 w 54"/>
                  <a:gd name="T1" fmla="*/ 17 h 27"/>
                  <a:gd name="T2" fmla="*/ 48 w 54"/>
                  <a:gd name="T3" fmla="*/ 17 h 27"/>
                  <a:gd name="T4" fmla="*/ 45 w 54"/>
                  <a:gd name="T5" fmla="*/ 16 h 27"/>
                  <a:gd name="T6" fmla="*/ 42 w 54"/>
                  <a:gd name="T7" fmla="*/ 13 h 27"/>
                  <a:gd name="T8" fmla="*/ 38 w 54"/>
                  <a:gd name="T9" fmla="*/ 6 h 27"/>
                  <a:gd name="T10" fmla="*/ 38 w 54"/>
                  <a:gd name="T11" fmla="*/ 6 h 27"/>
                  <a:gd name="T12" fmla="*/ 34 w 54"/>
                  <a:gd name="T13" fmla="*/ 3 h 27"/>
                  <a:gd name="T14" fmla="*/ 28 w 54"/>
                  <a:gd name="T15" fmla="*/ 1 h 27"/>
                  <a:gd name="T16" fmla="*/ 16 w 54"/>
                  <a:gd name="T17" fmla="*/ 1 h 27"/>
                  <a:gd name="T18" fmla="*/ 16 w 54"/>
                  <a:gd name="T19" fmla="*/ 1 h 27"/>
                  <a:gd name="T20" fmla="*/ 0 w 54"/>
                  <a:gd name="T21" fmla="*/ 0 h 27"/>
                  <a:gd name="T22" fmla="*/ 0 w 54"/>
                  <a:gd name="T23" fmla="*/ 23 h 27"/>
                  <a:gd name="T24" fmla="*/ 0 w 54"/>
                  <a:gd name="T25" fmla="*/ 23 h 27"/>
                  <a:gd name="T26" fmla="*/ 8 w 54"/>
                  <a:gd name="T27" fmla="*/ 27 h 27"/>
                  <a:gd name="T28" fmla="*/ 8 w 54"/>
                  <a:gd name="T29" fmla="*/ 27 h 27"/>
                  <a:gd name="T30" fmla="*/ 11 w 54"/>
                  <a:gd name="T31" fmla="*/ 27 h 27"/>
                  <a:gd name="T32" fmla="*/ 13 w 54"/>
                  <a:gd name="T33" fmla="*/ 26 h 27"/>
                  <a:gd name="T34" fmla="*/ 18 w 54"/>
                  <a:gd name="T35" fmla="*/ 21 h 27"/>
                  <a:gd name="T36" fmla="*/ 18 w 54"/>
                  <a:gd name="T37" fmla="*/ 21 h 27"/>
                  <a:gd name="T38" fmla="*/ 19 w 54"/>
                  <a:gd name="T39" fmla="*/ 21 h 27"/>
                  <a:gd name="T40" fmla="*/ 21 w 54"/>
                  <a:gd name="T41" fmla="*/ 21 h 27"/>
                  <a:gd name="T42" fmla="*/ 24 w 54"/>
                  <a:gd name="T43" fmla="*/ 26 h 27"/>
                  <a:gd name="T44" fmla="*/ 24 w 54"/>
                  <a:gd name="T45" fmla="*/ 26 h 27"/>
                  <a:gd name="T46" fmla="*/ 25 w 54"/>
                  <a:gd name="T47" fmla="*/ 26 h 27"/>
                  <a:gd name="T48" fmla="*/ 29 w 54"/>
                  <a:gd name="T49" fmla="*/ 26 h 27"/>
                  <a:gd name="T50" fmla="*/ 37 w 54"/>
                  <a:gd name="T51" fmla="*/ 21 h 27"/>
                  <a:gd name="T52" fmla="*/ 37 w 54"/>
                  <a:gd name="T53" fmla="*/ 21 h 27"/>
                  <a:gd name="T54" fmla="*/ 42 w 54"/>
                  <a:gd name="T55" fmla="*/ 21 h 27"/>
                  <a:gd name="T56" fmla="*/ 48 w 54"/>
                  <a:gd name="T57" fmla="*/ 23 h 27"/>
                  <a:gd name="T58" fmla="*/ 48 w 54"/>
                  <a:gd name="T59" fmla="*/ 23 h 27"/>
                  <a:gd name="T60" fmla="*/ 54 w 54"/>
                  <a:gd name="T61" fmla="*/ 24 h 27"/>
                  <a:gd name="T62" fmla="*/ 54 w 54"/>
                  <a:gd name="T63" fmla="*/ 24 h 27"/>
                  <a:gd name="T64" fmla="*/ 54 w 54"/>
                  <a:gd name="T65" fmla="*/ 23 h 27"/>
                  <a:gd name="T66" fmla="*/ 54 w 54"/>
                  <a:gd name="T67" fmla="*/ 21 h 27"/>
                  <a:gd name="T68" fmla="*/ 51 w 54"/>
                  <a:gd name="T69" fmla="*/ 19 h 27"/>
                  <a:gd name="T70" fmla="*/ 48 w 54"/>
                  <a:gd name="T71" fmla="*/ 1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4" h="27">
                    <a:moveTo>
                      <a:pt x="48" y="17"/>
                    </a:moveTo>
                    <a:lnTo>
                      <a:pt x="48" y="17"/>
                    </a:lnTo>
                    <a:lnTo>
                      <a:pt x="45" y="16"/>
                    </a:lnTo>
                    <a:lnTo>
                      <a:pt x="42" y="13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4" y="3"/>
                    </a:lnTo>
                    <a:lnTo>
                      <a:pt x="28" y="1"/>
                    </a:lnTo>
                    <a:lnTo>
                      <a:pt x="16" y="1"/>
                    </a:lnTo>
                    <a:lnTo>
                      <a:pt x="16" y="1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8" y="27"/>
                    </a:lnTo>
                    <a:lnTo>
                      <a:pt x="8" y="27"/>
                    </a:lnTo>
                    <a:lnTo>
                      <a:pt x="11" y="27"/>
                    </a:lnTo>
                    <a:lnTo>
                      <a:pt x="13" y="26"/>
                    </a:lnTo>
                    <a:lnTo>
                      <a:pt x="18" y="21"/>
                    </a:lnTo>
                    <a:lnTo>
                      <a:pt x="18" y="21"/>
                    </a:lnTo>
                    <a:lnTo>
                      <a:pt x="19" y="21"/>
                    </a:lnTo>
                    <a:lnTo>
                      <a:pt x="21" y="21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5" y="26"/>
                    </a:lnTo>
                    <a:lnTo>
                      <a:pt x="29" y="26"/>
                    </a:lnTo>
                    <a:lnTo>
                      <a:pt x="37" y="21"/>
                    </a:lnTo>
                    <a:lnTo>
                      <a:pt x="37" y="21"/>
                    </a:lnTo>
                    <a:lnTo>
                      <a:pt x="42" y="21"/>
                    </a:lnTo>
                    <a:lnTo>
                      <a:pt x="48" y="23"/>
                    </a:lnTo>
                    <a:lnTo>
                      <a:pt x="48" y="23"/>
                    </a:lnTo>
                    <a:lnTo>
                      <a:pt x="54" y="24"/>
                    </a:lnTo>
                    <a:lnTo>
                      <a:pt x="54" y="24"/>
                    </a:lnTo>
                    <a:lnTo>
                      <a:pt x="54" y="23"/>
                    </a:lnTo>
                    <a:lnTo>
                      <a:pt x="54" y="21"/>
                    </a:lnTo>
                    <a:lnTo>
                      <a:pt x="51" y="19"/>
                    </a:lnTo>
                    <a:lnTo>
                      <a:pt x="48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65" name="Freeform 919"/>
              <p:cNvSpPr>
                <a:spLocks/>
              </p:cNvSpPr>
              <p:nvPr/>
            </p:nvSpPr>
            <p:spPr bwMode="auto">
              <a:xfrm>
                <a:off x="3264198" y="3008489"/>
                <a:ext cx="53420" cy="26710"/>
              </a:xfrm>
              <a:custGeom>
                <a:avLst/>
                <a:gdLst>
                  <a:gd name="T0" fmla="*/ 48 w 54"/>
                  <a:gd name="T1" fmla="*/ 17 h 27"/>
                  <a:gd name="T2" fmla="*/ 48 w 54"/>
                  <a:gd name="T3" fmla="*/ 17 h 27"/>
                  <a:gd name="T4" fmla="*/ 45 w 54"/>
                  <a:gd name="T5" fmla="*/ 16 h 27"/>
                  <a:gd name="T6" fmla="*/ 42 w 54"/>
                  <a:gd name="T7" fmla="*/ 13 h 27"/>
                  <a:gd name="T8" fmla="*/ 38 w 54"/>
                  <a:gd name="T9" fmla="*/ 6 h 27"/>
                  <a:gd name="T10" fmla="*/ 38 w 54"/>
                  <a:gd name="T11" fmla="*/ 6 h 27"/>
                  <a:gd name="T12" fmla="*/ 34 w 54"/>
                  <a:gd name="T13" fmla="*/ 3 h 27"/>
                  <a:gd name="T14" fmla="*/ 28 w 54"/>
                  <a:gd name="T15" fmla="*/ 1 h 27"/>
                  <a:gd name="T16" fmla="*/ 16 w 54"/>
                  <a:gd name="T17" fmla="*/ 1 h 27"/>
                  <a:gd name="T18" fmla="*/ 16 w 54"/>
                  <a:gd name="T19" fmla="*/ 1 h 27"/>
                  <a:gd name="T20" fmla="*/ 0 w 54"/>
                  <a:gd name="T21" fmla="*/ 0 h 27"/>
                  <a:gd name="T22" fmla="*/ 0 w 54"/>
                  <a:gd name="T23" fmla="*/ 23 h 27"/>
                  <a:gd name="T24" fmla="*/ 0 w 54"/>
                  <a:gd name="T25" fmla="*/ 23 h 27"/>
                  <a:gd name="T26" fmla="*/ 8 w 54"/>
                  <a:gd name="T27" fmla="*/ 27 h 27"/>
                  <a:gd name="T28" fmla="*/ 8 w 54"/>
                  <a:gd name="T29" fmla="*/ 27 h 27"/>
                  <a:gd name="T30" fmla="*/ 11 w 54"/>
                  <a:gd name="T31" fmla="*/ 27 h 27"/>
                  <a:gd name="T32" fmla="*/ 13 w 54"/>
                  <a:gd name="T33" fmla="*/ 26 h 27"/>
                  <a:gd name="T34" fmla="*/ 18 w 54"/>
                  <a:gd name="T35" fmla="*/ 21 h 27"/>
                  <a:gd name="T36" fmla="*/ 18 w 54"/>
                  <a:gd name="T37" fmla="*/ 21 h 27"/>
                  <a:gd name="T38" fmla="*/ 19 w 54"/>
                  <a:gd name="T39" fmla="*/ 21 h 27"/>
                  <a:gd name="T40" fmla="*/ 21 w 54"/>
                  <a:gd name="T41" fmla="*/ 21 h 27"/>
                  <a:gd name="T42" fmla="*/ 24 w 54"/>
                  <a:gd name="T43" fmla="*/ 26 h 27"/>
                  <a:gd name="T44" fmla="*/ 24 w 54"/>
                  <a:gd name="T45" fmla="*/ 26 h 27"/>
                  <a:gd name="T46" fmla="*/ 25 w 54"/>
                  <a:gd name="T47" fmla="*/ 26 h 27"/>
                  <a:gd name="T48" fmla="*/ 29 w 54"/>
                  <a:gd name="T49" fmla="*/ 26 h 27"/>
                  <a:gd name="T50" fmla="*/ 37 w 54"/>
                  <a:gd name="T51" fmla="*/ 21 h 27"/>
                  <a:gd name="T52" fmla="*/ 37 w 54"/>
                  <a:gd name="T53" fmla="*/ 21 h 27"/>
                  <a:gd name="T54" fmla="*/ 42 w 54"/>
                  <a:gd name="T55" fmla="*/ 21 h 27"/>
                  <a:gd name="T56" fmla="*/ 48 w 54"/>
                  <a:gd name="T57" fmla="*/ 23 h 27"/>
                  <a:gd name="T58" fmla="*/ 48 w 54"/>
                  <a:gd name="T59" fmla="*/ 23 h 27"/>
                  <a:gd name="T60" fmla="*/ 54 w 54"/>
                  <a:gd name="T61" fmla="*/ 24 h 27"/>
                  <a:gd name="T62" fmla="*/ 54 w 54"/>
                  <a:gd name="T63" fmla="*/ 24 h 27"/>
                  <a:gd name="T64" fmla="*/ 54 w 54"/>
                  <a:gd name="T65" fmla="*/ 23 h 27"/>
                  <a:gd name="T66" fmla="*/ 54 w 54"/>
                  <a:gd name="T67" fmla="*/ 21 h 27"/>
                  <a:gd name="T68" fmla="*/ 51 w 54"/>
                  <a:gd name="T69" fmla="*/ 19 h 27"/>
                  <a:gd name="T70" fmla="*/ 48 w 54"/>
                  <a:gd name="T71" fmla="*/ 1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4" h="27">
                    <a:moveTo>
                      <a:pt x="48" y="17"/>
                    </a:moveTo>
                    <a:lnTo>
                      <a:pt x="48" y="17"/>
                    </a:lnTo>
                    <a:lnTo>
                      <a:pt x="45" y="16"/>
                    </a:lnTo>
                    <a:lnTo>
                      <a:pt x="42" y="13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4" y="3"/>
                    </a:lnTo>
                    <a:lnTo>
                      <a:pt x="28" y="1"/>
                    </a:lnTo>
                    <a:lnTo>
                      <a:pt x="16" y="1"/>
                    </a:lnTo>
                    <a:lnTo>
                      <a:pt x="16" y="1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8" y="27"/>
                    </a:lnTo>
                    <a:lnTo>
                      <a:pt x="8" y="27"/>
                    </a:lnTo>
                    <a:lnTo>
                      <a:pt x="11" y="27"/>
                    </a:lnTo>
                    <a:lnTo>
                      <a:pt x="13" y="26"/>
                    </a:lnTo>
                    <a:lnTo>
                      <a:pt x="18" y="21"/>
                    </a:lnTo>
                    <a:lnTo>
                      <a:pt x="18" y="21"/>
                    </a:lnTo>
                    <a:lnTo>
                      <a:pt x="19" y="21"/>
                    </a:lnTo>
                    <a:lnTo>
                      <a:pt x="21" y="21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5" y="26"/>
                    </a:lnTo>
                    <a:lnTo>
                      <a:pt x="29" y="26"/>
                    </a:lnTo>
                    <a:lnTo>
                      <a:pt x="37" y="21"/>
                    </a:lnTo>
                    <a:lnTo>
                      <a:pt x="37" y="21"/>
                    </a:lnTo>
                    <a:lnTo>
                      <a:pt x="42" y="21"/>
                    </a:lnTo>
                    <a:lnTo>
                      <a:pt x="48" y="23"/>
                    </a:lnTo>
                    <a:lnTo>
                      <a:pt x="48" y="23"/>
                    </a:lnTo>
                    <a:lnTo>
                      <a:pt x="54" y="24"/>
                    </a:lnTo>
                    <a:lnTo>
                      <a:pt x="54" y="24"/>
                    </a:lnTo>
                    <a:lnTo>
                      <a:pt x="54" y="23"/>
                    </a:lnTo>
                    <a:lnTo>
                      <a:pt x="54" y="21"/>
                    </a:lnTo>
                    <a:lnTo>
                      <a:pt x="51" y="19"/>
                    </a:lnTo>
                    <a:lnTo>
                      <a:pt x="48" y="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66" name="Freeform 920"/>
              <p:cNvSpPr>
                <a:spLocks/>
              </p:cNvSpPr>
              <p:nvPr/>
            </p:nvSpPr>
            <p:spPr bwMode="auto">
              <a:xfrm>
                <a:off x="3241445" y="3006511"/>
                <a:ext cx="22753" cy="24731"/>
              </a:xfrm>
              <a:custGeom>
                <a:avLst/>
                <a:gdLst>
                  <a:gd name="T0" fmla="*/ 23 w 23"/>
                  <a:gd name="T1" fmla="*/ 25 h 25"/>
                  <a:gd name="T2" fmla="*/ 23 w 23"/>
                  <a:gd name="T3" fmla="*/ 25 h 25"/>
                  <a:gd name="T4" fmla="*/ 16 w 23"/>
                  <a:gd name="T5" fmla="*/ 19 h 25"/>
                  <a:gd name="T6" fmla="*/ 10 w 23"/>
                  <a:gd name="T7" fmla="*/ 15 h 25"/>
                  <a:gd name="T8" fmla="*/ 10 w 23"/>
                  <a:gd name="T9" fmla="*/ 15 h 25"/>
                  <a:gd name="T10" fmla="*/ 6 w 23"/>
                  <a:gd name="T11" fmla="*/ 9 h 25"/>
                  <a:gd name="T12" fmla="*/ 2 w 23"/>
                  <a:gd name="T13" fmla="*/ 5 h 25"/>
                  <a:gd name="T14" fmla="*/ 2 w 23"/>
                  <a:gd name="T15" fmla="*/ 5 h 25"/>
                  <a:gd name="T16" fmla="*/ 0 w 23"/>
                  <a:gd name="T17" fmla="*/ 3 h 25"/>
                  <a:gd name="T18" fmla="*/ 0 w 23"/>
                  <a:gd name="T19" fmla="*/ 2 h 25"/>
                  <a:gd name="T20" fmla="*/ 3 w 23"/>
                  <a:gd name="T21" fmla="*/ 0 h 25"/>
                  <a:gd name="T22" fmla="*/ 6 w 23"/>
                  <a:gd name="T23" fmla="*/ 0 h 25"/>
                  <a:gd name="T24" fmla="*/ 6 w 23"/>
                  <a:gd name="T25" fmla="*/ 0 h 25"/>
                  <a:gd name="T26" fmla="*/ 9 w 23"/>
                  <a:gd name="T27" fmla="*/ 0 h 25"/>
                  <a:gd name="T28" fmla="*/ 9 w 23"/>
                  <a:gd name="T29" fmla="*/ 0 h 25"/>
                  <a:gd name="T30" fmla="*/ 23 w 23"/>
                  <a:gd name="T31" fmla="*/ 2 h 25"/>
                  <a:gd name="T32" fmla="*/ 23 w 23"/>
                  <a:gd name="T33" fmla="*/ 3 h 25"/>
                  <a:gd name="T34" fmla="*/ 23 w 23"/>
                  <a:gd name="T35" fmla="*/ 3 h 25"/>
                  <a:gd name="T36" fmla="*/ 23 w 23"/>
                  <a:gd name="T37" fmla="*/ 2 h 25"/>
                  <a:gd name="T38" fmla="*/ 23 w 23"/>
                  <a:gd name="T3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3" h="25">
                    <a:moveTo>
                      <a:pt x="23" y="25"/>
                    </a:moveTo>
                    <a:lnTo>
                      <a:pt x="23" y="25"/>
                    </a:lnTo>
                    <a:lnTo>
                      <a:pt x="16" y="19"/>
                    </a:lnTo>
                    <a:lnTo>
                      <a:pt x="10" y="15"/>
                    </a:lnTo>
                    <a:lnTo>
                      <a:pt x="10" y="15"/>
                    </a:lnTo>
                    <a:lnTo>
                      <a:pt x="6" y="9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23" y="2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23" y="2"/>
                    </a:lnTo>
                    <a:lnTo>
                      <a:pt x="23" y="2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67" name="Freeform 921"/>
              <p:cNvSpPr>
                <a:spLocks/>
              </p:cNvSpPr>
              <p:nvPr/>
            </p:nvSpPr>
            <p:spPr bwMode="auto">
              <a:xfrm>
                <a:off x="3241445" y="3006511"/>
                <a:ext cx="22753" cy="24731"/>
              </a:xfrm>
              <a:custGeom>
                <a:avLst/>
                <a:gdLst>
                  <a:gd name="T0" fmla="*/ 23 w 23"/>
                  <a:gd name="T1" fmla="*/ 25 h 25"/>
                  <a:gd name="T2" fmla="*/ 23 w 23"/>
                  <a:gd name="T3" fmla="*/ 25 h 25"/>
                  <a:gd name="T4" fmla="*/ 16 w 23"/>
                  <a:gd name="T5" fmla="*/ 19 h 25"/>
                  <a:gd name="T6" fmla="*/ 10 w 23"/>
                  <a:gd name="T7" fmla="*/ 15 h 25"/>
                  <a:gd name="T8" fmla="*/ 10 w 23"/>
                  <a:gd name="T9" fmla="*/ 15 h 25"/>
                  <a:gd name="T10" fmla="*/ 6 w 23"/>
                  <a:gd name="T11" fmla="*/ 9 h 25"/>
                  <a:gd name="T12" fmla="*/ 2 w 23"/>
                  <a:gd name="T13" fmla="*/ 5 h 25"/>
                  <a:gd name="T14" fmla="*/ 2 w 23"/>
                  <a:gd name="T15" fmla="*/ 5 h 25"/>
                  <a:gd name="T16" fmla="*/ 0 w 23"/>
                  <a:gd name="T17" fmla="*/ 3 h 25"/>
                  <a:gd name="T18" fmla="*/ 0 w 23"/>
                  <a:gd name="T19" fmla="*/ 2 h 25"/>
                  <a:gd name="T20" fmla="*/ 3 w 23"/>
                  <a:gd name="T21" fmla="*/ 0 h 25"/>
                  <a:gd name="T22" fmla="*/ 6 w 23"/>
                  <a:gd name="T23" fmla="*/ 0 h 25"/>
                  <a:gd name="T24" fmla="*/ 6 w 23"/>
                  <a:gd name="T25" fmla="*/ 0 h 25"/>
                  <a:gd name="T26" fmla="*/ 9 w 23"/>
                  <a:gd name="T27" fmla="*/ 0 h 25"/>
                  <a:gd name="T28" fmla="*/ 9 w 23"/>
                  <a:gd name="T29" fmla="*/ 0 h 25"/>
                  <a:gd name="T30" fmla="*/ 23 w 23"/>
                  <a:gd name="T31" fmla="*/ 2 h 25"/>
                  <a:gd name="T32" fmla="*/ 23 w 23"/>
                  <a:gd name="T33" fmla="*/ 3 h 25"/>
                  <a:gd name="T34" fmla="*/ 23 w 23"/>
                  <a:gd name="T35" fmla="*/ 3 h 25"/>
                  <a:gd name="T36" fmla="*/ 23 w 23"/>
                  <a:gd name="T37" fmla="*/ 2 h 25"/>
                  <a:gd name="T38" fmla="*/ 23 w 23"/>
                  <a:gd name="T3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3" h="25">
                    <a:moveTo>
                      <a:pt x="23" y="25"/>
                    </a:moveTo>
                    <a:lnTo>
                      <a:pt x="23" y="25"/>
                    </a:lnTo>
                    <a:lnTo>
                      <a:pt x="16" y="19"/>
                    </a:lnTo>
                    <a:lnTo>
                      <a:pt x="10" y="15"/>
                    </a:lnTo>
                    <a:lnTo>
                      <a:pt x="10" y="15"/>
                    </a:lnTo>
                    <a:lnTo>
                      <a:pt x="6" y="9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23" y="2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23" y="2"/>
                    </a:lnTo>
                    <a:lnTo>
                      <a:pt x="23" y="2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68" name="Freeform 922"/>
              <p:cNvSpPr>
                <a:spLocks/>
              </p:cNvSpPr>
              <p:nvPr/>
            </p:nvSpPr>
            <p:spPr bwMode="auto">
              <a:xfrm>
                <a:off x="3264198" y="3008489"/>
                <a:ext cx="0" cy="22753"/>
              </a:xfrm>
              <a:custGeom>
                <a:avLst/>
                <a:gdLst>
                  <a:gd name="T0" fmla="*/ 23 h 23"/>
                  <a:gd name="T1" fmla="*/ 23 h 23"/>
                  <a:gd name="T2" fmla="*/ 23 h 23"/>
                  <a:gd name="T3" fmla="*/ 0 h 23"/>
                  <a:gd name="T4" fmla="*/ 0 h 23"/>
                  <a:gd name="T5" fmla="*/ 1 h 23"/>
                  <a:gd name="T6" fmla="*/ 23 h 2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23">
                    <a:moveTo>
                      <a:pt x="0" y="23"/>
                    </a:moveTo>
                    <a:lnTo>
                      <a:pt x="0" y="23"/>
                    </a:lnTo>
                    <a:lnTo>
                      <a:pt x="0" y="2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69" name="Freeform 923"/>
              <p:cNvSpPr>
                <a:spLocks/>
              </p:cNvSpPr>
              <p:nvPr/>
            </p:nvSpPr>
            <p:spPr bwMode="auto">
              <a:xfrm>
                <a:off x="3264198" y="3008489"/>
                <a:ext cx="0" cy="22753"/>
              </a:xfrm>
              <a:custGeom>
                <a:avLst/>
                <a:gdLst>
                  <a:gd name="T0" fmla="*/ 23 h 23"/>
                  <a:gd name="T1" fmla="*/ 23 h 23"/>
                  <a:gd name="T2" fmla="*/ 23 h 23"/>
                  <a:gd name="T3" fmla="*/ 0 h 23"/>
                  <a:gd name="T4" fmla="*/ 0 h 23"/>
                  <a:gd name="T5" fmla="*/ 1 h 23"/>
                  <a:gd name="T6" fmla="*/ 23 h 2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23">
                    <a:moveTo>
                      <a:pt x="0" y="23"/>
                    </a:moveTo>
                    <a:lnTo>
                      <a:pt x="0" y="23"/>
                    </a:lnTo>
                    <a:lnTo>
                      <a:pt x="0" y="2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2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70" name="Freeform 924"/>
              <p:cNvSpPr>
                <a:spLocks/>
              </p:cNvSpPr>
              <p:nvPr/>
            </p:nvSpPr>
            <p:spPr bwMode="auto">
              <a:xfrm>
                <a:off x="3339382" y="3029264"/>
                <a:ext cx="22753" cy="10882"/>
              </a:xfrm>
              <a:custGeom>
                <a:avLst/>
                <a:gdLst>
                  <a:gd name="T0" fmla="*/ 14 w 23"/>
                  <a:gd name="T1" fmla="*/ 9 h 11"/>
                  <a:gd name="T2" fmla="*/ 14 w 23"/>
                  <a:gd name="T3" fmla="*/ 9 h 11"/>
                  <a:gd name="T4" fmla="*/ 8 w 23"/>
                  <a:gd name="T5" fmla="*/ 11 h 11"/>
                  <a:gd name="T6" fmla="*/ 4 w 23"/>
                  <a:gd name="T7" fmla="*/ 11 h 11"/>
                  <a:gd name="T8" fmla="*/ 1 w 23"/>
                  <a:gd name="T9" fmla="*/ 9 h 11"/>
                  <a:gd name="T10" fmla="*/ 0 w 23"/>
                  <a:gd name="T11" fmla="*/ 6 h 11"/>
                  <a:gd name="T12" fmla="*/ 0 w 23"/>
                  <a:gd name="T13" fmla="*/ 6 h 11"/>
                  <a:gd name="T14" fmla="*/ 0 w 23"/>
                  <a:gd name="T15" fmla="*/ 3 h 11"/>
                  <a:gd name="T16" fmla="*/ 1 w 23"/>
                  <a:gd name="T17" fmla="*/ 2 h 11"/>
                  <a:gd name="T18" fmla="*/ 4 w 23"/>
                  <a:gd name="T19" fmla="*/ 2 h 11"/>
                  <a:gd name="T20" fmla="*/ 10 w 23"/>
                  <a:gd name="T21" fmla="*/ 0 h 11"/>
                  <a:gd name="T22" fmla="*/ 10 w 23"/>
                  <a:gd name="T23" fmla="*/ 0 h 11"/>
                  <a:gd name="T24" fmla="*/ 17 w 23"/>
                  <a:gd name="T25" fmla="*/ 0 h 11"/>
                  <a:gd name="T26" fmla="*/ 23 w 23"/>
                  <a:gd name="T27" fmla="*/ 2 h 11"/>
                  <a:gd name="T28" fmla="*/ 23 w 23"/>
                  <a:gd name="T29" fmla="*/ 2 h 11"/>
                  <a:gd name="T30" fmla="*/ 23 w 23"/>
                  <a:gd name="T31" fmla="*/ 3 h 11"/>
                  <a:gd name="T32" fmla="*/ 14 w 23"/>
                  <a:gd name="T33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11">
                    <a:moveTo>
                      <a:pt x="14" y="9"/>
                    </a:moveTo>
                    <a:lnTo>
                      <a:pt x="14" y="9"/>
                    </a:lnTo>
                    <a:lnTo>
                      <a:pt x="8" y="11"/>
                    </a:lnTo>
                    <a:lnTo>
                      <a:pt x="4" y="11"/>
                    </a:lnTo>
                    <a:lnTo>
                      <a:pt x="1" y="9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7" y="0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3" y="3"/>
                    </a:lnTo>
                    <a:lnTo>
                      <a:pt x="14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71" name="Freeform 925"/>
              <p:cNvSpPr>
                <a:spLocks/>
              </p:cNvSpPr>
              <p:nvPr/>
            </p:nvSpPr>
            <p:spPr bwMode="auto">
              <a:xfrm>
                <a:off x="3339382" y="3029264"/>
                <a:ext cx="22753" cy="10882"/>
              </a:xfrm>
              <a:custGeom>
                <a:avLst/>
                <a:gdLst>
                  <a:gd name="T0" fmla="*/ 14 w 23"/>
                  <a:gd name="T1" fmla="*/ 9 h 11"/>
                  <a:gd name="T2" fmla="*/ 14 w 23"/>
                  <a:gd name="T3" fmla="*/ 9 h 11"/>
                  <a:gd name="T4" fmla="*/ 8 w 23"/>
                  <a:gd name="T5" fmla="*/ 11 h 11"/>
                  <a:gd name="T6" fmla="*/ 4 w 23"/>
                  <a:gd name="T7" fmla="*/ 11 h 11"/>
                  <a:gd name="T8" fmla="*/ 1 w 23"/>
                  <a:gd name="T9" fmla="*/ 9 h 11"/>
                  <a:gd name="T10" fmla="*/ 0 w 23"/>
                  <a:gd name="T11" fmla="*/ 6 h 11"/>
                  <a:gd name="T12" fmla="*/ 0 w 23"/>
                  <a:gd name="T13" fmla="*/ 6 h 11"/>
                  <a:gd name="T14" fmla="*/ 0 w 23"/>
                  <a:gd name="T15" fmla="*/ 3 h 11"/>
                  <a:gd name="T16" fmla="*/ 1 w 23"/>
                  <a:gd name="T17" fmla="*/ 2 h 11"/>
                  <a:gd name="T18" fmla="*/ 4 w 23"/>
                  <a:gd name="T19" fmla="*/ 2 h 11"/>
                  <a:gd name="T20" fmla="*/ 10 w 23"/>
                  <a:gd name="T21" fmla="*/ 0 h 11"/>
                  <a:gd name="T22" fmla="*/ 10 w 23"/>
                  <a:gd name="T23" fmla="*/ 0 h 11"/>
                  <a:gd name="T24" fmla="*/ 17 w 23"/>
                  <a:gd name="T25" fmla="*/ 0 h 11"/>
                  <a:gd name="T26" fmla="*/ 23 w 23"/>
                  <a:gd name="T27" fmla="*/ 2 h 11"/>
                  <a:gd name="T28" fmla="*/ 23 w 23"/>
                  <a:gd name="T29" fmla="*/ 2 h 11"/>
                  <a:gd name="T30" fmla="*/ 23 w 23"/>
                  <a:gd name="T31" fmla="*/ 3 h 11"/>
                  <a:gd name="T32" fmla="*/ 14 w 23"/>
                  <a:gd name="T33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11">
                    <a:moveTo>
                      <a:pt x="14" y="9"/>
                    </a:moveTo>
                    <a:lnTo>
                      <a:pt x="14" y="9"/>
                    </a:lnTo>
                    <a:lnTo>
                      <a:pt x="8" y="11"/>
                    </a:lnTo>
                    <a:lnTo>
                      <a:pt x="4" y="11"/>
                    </a:lnTo>
                    <a:lnTo>
                      <a:pt x="1" y="9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7" y="0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3" y="3"/>
                    </a:lnTo>
                    <a:lnTo>
                      <a:pt x="14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72" name="Freeform 926"/>
              <p:cNvSpPr>
                <a:spLocks/>
              </p:cNvSpPr>
              <p:nvPr/>
            </p:nvSpPr>
            <p:spPr bwMode="auto">
              <a:xfrm>
                <a:off x="3403684" y="3041135"/>
                <a:ext cx="3957" cy="5936"/>
              </a:xfrm>
              <a:custGeom>
                <a:avLst/>
                <a:gdLst>
                  <a:gd name="T0" fmla="*/ 4 w 4"/>
                  <a:gd name="T1" fmla="*/ 4 h 6"/>
                  <a:gd name="T2" fmla="*/ 4 w 4"/>
                  <a:gd name="T3" fmla="*/ 4 h 6"/>
                  <a:gd name="T4" fmla="*/ 3 w 4"/>
                  <a:gd name="T5" fmla="*/ 6 h 6"/>
                  <a:gd name="T6" fmla="*/ 1 w 4"/>
                  <a:gd name="T7" fmla="*/ 4 h 6"/>
                  <a:gd name="T8" fmla="*/ 0 w 4"/>
                  <a:gd name="T9" fmla="*/ 3 h 6"/>
                  <a:gd name="T10" fmla="*/ 1 w 4"/>
                  <a:gd name="T11" fmla="*/ 0 h 6"/>
                  <a:gd name="T12" fmla="*/ 1 w 4"/>
                  <a:gd name="T13" fmla="*/ 0 h 6"/>
                  <a:gd name="T14" fmla="*/ 3 w 4"/>
                  <a:gd name="T15" fmla="*/ 0 h 6"/>
                  <a:gd name="T16" fmla="*/ 4 w 4"/>
                  <a:gd name="T17" fmla="*/ 1 h 6"/>
                  <a:gd name="T18" fmla="*/ 4 w 4"/>
                  <a:gd name="T19" fmla="*/ 3 h 6"/>
                  <a:gd name="T20" fmla="*/ 4 w 4"/>
                  <a:gd name="T2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6">
                    <a:moveTo>
                      <a:pt x="4" y="4"/>
                    </a:moveTo>
                    <a:lnTo>
                      <a:pt x="4" y="4"/>
                    </a:lnTo>
                    <a:lnTo>
                      <a:pt x="3" y="6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73" name="Freeform 927"/>
              <p:cNvSpPr>
                <a:spLocks/>
              </p:cNvSpPr>
              <p:nvPr/>
            </p:nvSpPr>
            <p:spPr bwMode="auto">
              <a:xfrm>
                <a:off x="3403684" y="3041135"/>
                <a:ext cx="3957" cy="5936"/>
              </a:xfrm>
              <a:custGeom>
                <a:avLst/>
                <a:gdLst>
                  <a:gd name="T0" fmla="*/ 4 w 4"/>
                  <a:gd name="T1" fmla="*/ 4 h 6"/>
                  <a:gd name="T2" fmla="*/ 4 w 4"/>
                  <a:gd name="T3" fmla="*/ 4 h 6"/>
                  <a:gd name="T4" fmla="*/ 3 w 4"/>
                  <a:gd name="T5" fmla="*/ 6 h 6"/>
                  <a:gd name="T6" fmla="*/ 1 w 4"/>
                  <a:gd name="T7" fmla="*/ 4 h 6"/>
                  <a:gd name="T8" fmla="*/ 0 w 4"/>
                  <a:gd name="T9" fmla="*/ 3 h 6"/>
                  <a:gd name="T10" fmla="*/ 1 w 4"/>
                  <a:gd name="T11" fmla="*/ 0 h 6"/>
                  <a:gd name="T12" fmla="*/ 1 w 4"/>
                  <a:gd name="T13" fmla="*/ 0 h 6"/>
                  <a:gd name="T14" fmla="*/ 3 w 4"/>
                  <a:gd name="T15" fmla="*/ 0 h 6"/>
                  <a:gd name="T16" fmla="*/ 4 w 4"/>
                  <a:gd name="T17" fmla="*/ 1 h 6"/>
                  <a:gd name="T18" fmla="*/ 4 w 4"/>
                  <a:gd name="T19" fmla="*/ 3 h 6"/>
                  <a:gd name="T20" fmla="*/ 4 w 4"/>
                  <a:gd name="T2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6">
                    <a:moveTo>
                      <a:pt x="4" y="4"/>
                    </a:moveTo>
                    <a:lnTo>
                      <a:pt x="4" y="4"/>
                    </a:lnTo>
                    <a:lnTo>
                      <a:pt x="3" y="6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74" name="Freeform 928"/>
              <p:cNvSpPr>
                <a:spLocks/>
              </p:cNvSpPr>
              <p:nvPr/>
            </p:nvSpPr>
            <p:spPr bwMode="auto">
              <a:xfrm>
                <a:off x="3420501" y="3050038"/>
                <a:ext cx="5936" cy="3957"/>
              </a:xfrm>
              <a:custGeom>
                <a:avLst/>
                <a:gdLst>
                  <a:gd name="T0" fmla="*/ 2 w 6"/>
                  <a:gd name="T1" fmla="*/ 4 h 4"/>
                  <a:gd name="T2" fmla="*/ 2 w 6"/>
                  <a:gd name="T3" fmla="*/ 4 h 4"/>
                  <a:gd name="T4" fmla="*/ 0 w 6"/>
                  <a:gd name="T5" fmla="*/ 3 h 4"/>
                  <a:gd name="T6" fmla="*/ 0 w 6"/>
                  <a:gd name="T7" fmla="*/ 1 h 4"/>
                  <a:gd name="T8" fmla="*/ 3 w 6"/>
                  <a:gd name="T9" fmla="*/ 0 h 4"/>
                  <a:gd name="T10" fmla="*/ 6 w 6"/>
                  <a:gd name="T11" fmla="*/ 0 h 4"/>
                  <a:gd name="T12" fmla="*/ 6 w 6"/>
                  <a:gd name="T13" fmla="*/ 0 h 4"/>
                  <a:gd name="T14" fmla="*/ 6 w 6"/>
                  <a:gd name="T15" fmla="*/ 1 h 4"/>
                  <a:gd name="T16" fmla="*/ 5 w 6"/>
                  <a:gd name="T17" fmla="*/ 3 h 4"/>
                  <a:gd name="T18" fmla="*/ 2 w 6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4">
                    <a:moveTo>
                      <a:pt x="2" y="4"/>
                    </a:moveTo>
                    <a:lnTo>
                      <a:pt x="2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1"/>
                    </a:lnTo>
                    <a:lnTo>
                      <a:pt x="5" y="3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75" name="Freeform 929"/>
              <p:cNvSpPr>
                <a:spLocks/>
              </p:cNvSpPr>
              <p:nvPr/>
            </p:nvSpPr>
            <p:spPr bwMode="auto">
              <a:xfrm>
                <a:off x="3420501" y="3050038"/>
                <a:ext cx="5936" cy="3957"/>
              </a:xfrm>
              <a:custGeom>
                <a:avLst/>
                <a:gdLst>
                  <a:gd name="T0" fmla="*/ 2 w 6"/>
                  <a:gd name="T1" fmla="*/ 4 h 4"/>
                  <a:gd name="T2" fmla="*/ 2 w 6"/>
                  <a:gd name="T3" fmla="*/ 4 h 4"/>
                  <a:gd name="T4" fmla="*/ 0 w 6"/>
                  <a:gd name="T5" fmla="*/ 3 h 4"/>
                  <a:gd name="T6" fmla="*/ 0 w 6"/>
                  <a:gd name="T7" fmla="*/ 1 h 4"/>
                  <a:gd name="T8" fmla="*/ 3 w 6"/>
                  <a:gd name="T9" fmla="*/ 0 h 4"/>
                  <a:gd name="T10" fmla="*/ 6 w 6"/>
                  <a:gd name="T11" fmla="*/ 0 h 4"/>
                  <a:gd name="T12" fmla="*/ 6 w 6"/>
                  <a:gd name="T13" fmla="*/ 0 h 4"/>
                  <a:gd name="T14" fmla="*/ 6 w 6"/>
                  <a:gd name="T15" fmla="*/ 1 h 4"/>
                  <a:gd name="T16" fmla="*/ 5 w 6"/>
                  <a:gd name="T17" fmla="*/ 3 h 4"/>
                  <a:gd name="T18" fmla="*/ 2 w 6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4">
                    <a:moveTo>
                      <a:pt x="2" y="4"/>
                    </a:moveTo>
                    <a:lnTo>
                      <a:pt x="2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1"/>
                    </a:lnTo>
                    <a:lnTo>
                      <a:pt x="5" y="3"/>
                    </a:lnTo>
                    <a:lnTo>
                      <a:pt x="2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76" name="Freeform 930"/>
              <p:cNvSpPr>
                <a:spLocks/>
              </p:cNvSpPr>
              <p:nvPr/>
            </p:nvSpPr>
            <p:spPr bwMode="auto">
              <a:xfrm>
                <a:off x="3429405" y="3078727"/>
                <a:ext cx="2968" cy="3957"/>
              </a:xfrm>
              <a:custGeom>
                <a:avLst/>
                <a:gdLst>
                  <a:gd name="T0" fmla="*/ 3 w 3"/>
                  <a:gd name="T1" fmla="*/ 4 h 4"/>
                  <a:gd name="T2" fmla="*/ 3 w 3"/>
                  <a:gd name="T3" fmla="*/ 4 h 4"/>
                  <a:gd name="T4" fmla="*/ 1 w 3"/>
                  <a:gd name="T5" fmla="*/ 4 h 4"/>
                  <a:gd name="T6" fmla="*/ 0 w 3"/>
                  <a:gd name="T7" fmla="*/ 3 h 4"/>
                  <a:gd name="T8" fmla="*/ 1 w 3"/>
                  <a:gd name="T9" fmla="*/ 1 h 4"/>
                  <a:gd name="T10" fmla="*/ 1 w 3"/>
                  <a:gd name="T11" fmla="*/ 0 h 4"/>
                  <a:gd name="T12" fmla="*/ 1 w 3"/>
                  <a:gd name="T13" fmla="*/ 0 h 4"/>
                  <a:gd name="T14" fmla="*/ 3 w 3"/>
                  <a:gd name="T15" fmla="*/ 0 h 4"/>
                  <a:gd name="T16" fmla="*/ 3 w 3"/>
                  <a:gd name="T17" fmla="*/ 0 h 4"/>
                  <a:gd name="T18" fmla="*/ 3 w 3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3" y="4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77" name="Freeform 931"/>
              <p:cNvSpPr>
                <a:spLocks/>
              </p:cNvSpPr>
              <p:nvPr/>
            </p:nvSpPr>
            <p:spPr bwMode="auto">
              <a:xfrm>
                <a:off x="3429405" y="3078727"/>
                <a:ext cx="2968" cy="3957"/>
              </a:xfrm>
              <a:custGeom>
                <a:avLst/>
                <a:gdLst>
                  <a:gd name="T0" fmla="*/ 3 w 3"/>
                  <a:gd name="T1" fmla="*/ 4 h 4"/>
                  <a:gd name="T2" fmla="*/ 3 w 3"/>
                  <a:gd name="T3" fmla="*/ 4 h 4"/>
                  <a:gd name="T4" fmla="*/ 1 w 3"/>
                  <a:gd name="T5" fmla="*/ 4 h 4"/>
                  <a:gd name="T6" fmla="*/ 0 w 3"/>
                  <a:gd name="T7" fmla="*/ 3 h 4"/>
                  <a:gd name="T8" fmla="*/ 1 w 3"/>
                  <a:gd name="T9" fmla="*/ 1 h 4"/>
                  <a:gd name="T10" fmla="*/ 1 w 3"/>
                  <a:gd name="T11" fmla="*/ 0 h 4"/>
                  <a:gd name="T12" fmla="*/ 1 w 3"/>
                  <a:gd name="T13" fmla="*/ 0 h 4"/>
                  <a:gd name="T14" fmla="*/ 3 w 3"/>
                  <a:gd name="T15" fmla="*/ 0 h 4"/>
                  <a:gd name="T16" fmla="*/ 3 w 3"/>
                  <a:gd name="T17" fmla="*/ 0 h 4"/>
                  <a:gd name="T18" fmla="*/ 3 w 3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3" y="4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78" name="Freeform 932"/>
              <p:cNvSpPr>
                <a:spLocks/>
              </p:cNvSpPr>
              <p:nvPr/>
            </p:nvSpPr>
            <p:spPr bwMode="auto">
              <a:xfrm>
                <a:off x="3422480" y="3131157"/>
                <a:ext cx="5936" cy="5936"/>
              </a:xfrm>
              <a:custGeom>
                <a:avLst/>
                <a:gdLst>
                  <a:gd name="T0" fmla="*/ 4 w 6"/>
                  <a:gd name="T1" fmla="*/ 5 h 6"/>
                  <a:gd name="T2" fmla="*/ 4 w 6"/>
                  <a:gd name="T3" fmla="*/ 5 h 6"/>
                  <a:gd name="T4" fmla="*/ 3 w 6"/>
                  <a:gd name="T5" fmla="*/ 6 h 6"/>
                  <a:gd name="T6" fmla="*/ 1 w 6"/>
                  <a:gd name="T7" fmla="*/ 5 h 6"/>
                  <a:gd name="T8" fmla="*/ 0 w 6"/>
                  <a:gd name="T9" fmla="*/ 3 h 6"/>
                  <a:gd name="T10" fmla="*/ 0 w 6"/>
                  <a:gd name="T11" fmla="*/ 2 h 6"/>
                  <a:gd name="T12" fmla="*/ 0 w 6"/>
                  <a:gd name="T13" fmla="*/ 2 h 6"/>
                  <a:gd name="T14" fmla="*/ 3 w 6"/>
                  <a:gd name="T15" fmla="*/ 0 h 6"/>
                  <a:gd name="T16" fmla="*/ 4 w 6"/>
                  <a:gd name="T17" fmla="*/ 0 h 6"/>
                  <a:gd name="T18" fmla="*/ 6 w 6"/>
                  <a:gd name="T19" fmla="*/ 2 h 6"/>
                  <a:gd name="T20" fmla="*/ 4 w 6"/>
                  <a:gd name="T21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4" y="5"/>
                    </a:moveTo>
                    <a:lnTo>
                      <a:pt x="4" y="5"/>
                    </a:lnTo>
                    <a:lnTo>
                      <a:pt x="3" y="6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79" name="Freeform 933"/>
              <p:cNvSpPr>
                <a:spLocks/>
              </p:cNvSpPr>
              <p:nvPr/>
            </p:nvSpPr>
            <p:spPr bwMode="auto">
              <a:xfrm>
                <a:off x="3422480" y="3131157"/>
                <a:ext cx="5936" cy="5936"/>
              </a:xfrm>
              <a:custGeom>
                <a:avLst/>
                <a:gdLst>
                  <a:gd name="T0" fmla="*/ 4 w 6"/>
                  <a:gd name="T1" fmla="*/ 5 h 6"/>
                  <a:gd name="T2" fmla="*/ 4 w 6"/>
                  <a:gd name="T3" fmla="*/ 5 h 6"/>
                  <a:gd name="T4" fmla="*/ 3 w 6"/>
                  <a:gd name="T5" fmla="*/ 6 h 6"/>
                  <a:gd name="T6" fmla="*/ 1 w 6"/>
                  <a:gd name="T7" fmla="*/ 5 h 6"/>
                  <a:gd name="T8" fmla="*/ 0 w 6"/>
                  <a:gd name="T9" fmla="*/ 3 h 6"/>
                  <a:gd name="T10" fmla="*/ 0 w 6"/>
                  <a:gd name="T11" fmla="*/ 2 h 6"/>
                  <a:gd name="T12" fmla="*/ 0 w 6"/>
                  <a:gd name="T13" fmla="*/ 2 h 6"/>
                  <a:gd name="T14" fmla="*/ 3 w 6"/>
                  <a:gd name="T15" fmla="*/ 0 h 6"/>
                  <a:gd name="T16" fmla="*/ 4 w 6"/>
                  <a:gd name="T17" fmla="*/ 0 h 6"/>
                  <a:gd name="T18" fmla="*/ 6 w 6"/>
                  <a:gd name="T19" fmla="*/ 2 h 6"/>
                  <a:gd name="T20" fmla="*/ 4 w 6"/>
                  <a:gd name="T21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4" y="5"/>
                    </a:moveTo>
                    <a:lnTo>
                      <a:pt x="4" y="5"/>
                    </a:lnTo>
                    <a:lnTo>
                      <a:pt x="3" y="6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80" name="Freeform 934"/>
              <p:cNvSpPr>
                <a:spLocks/>
              </p:cNvSpPr>
              <p:nvPr/>
            </p:nvSpPr>
            <p:spPr bwMode="auto">
              <a:xfrm>
                <a:off x="3456115" y="3111372"/>
                <a:ext cx="7914" cy="6925"/>
              </a:xfrm>
              <a:custGeom>
                <a:avLst/>
                <a:gdLst>
                  <a:gd name="T0" fmla="*/ 6 w 8"/>
                  <a:gd name="T1" fmla="*/ 6 h 7"/>
                  <a:gd name="T2" fmla="*/ 6 w 8"/>
                  <a:gd name="T3" fmla="*/ 6 h 7"/>
                  <a:gd name="T4" fmla="*/ 5 w 8"/>
                  <a:gd name="T5" fmla="*/ 7 h 7"/>
                  <a:gd name="T6" fmla="*/ 2 w 8"/>
                  <a:gd name="T7" fmla="*/ 6 h 7"/>
                  <a:gd name="T8" fmla="*/ 0 w 8"/>
                  <a:gd name="T9" fmla="*/ 4 h 7"/>
                  <a:gd name="T10" fmla="*/ 2 w 8"/>
                  <a:gd name="T11" fmla="*/ 1 h 7"/>
                  <a:gd name="T12" fmla="*/ 2 w 8"/>
                  <a:gd name="T13" fmla="*/ 1 h 7"/>
                  <a:gd name="T14" fmla="*/ 5 w 8"/>
                  <a:gd name="T15" fmla="*/ 0 h 7"/>
                  <a:gd name="T16" fmla="*/ 8 w 8"/>
                  <a:gd name="T17" fmla="*/ 0 h 7"/>
                  <a:gd name="T18" fmla="*/ 8 w 8"/>
                  <a:gd name="T19" fmla="*/ 1 h 7"/>
                  <a:gd name="T20" fmla="*/ 6 w 8"/>
                  <a:gd name="T21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7">
                    <a:moveTo>
                      <a:pt x="6" y="6"/>
                    </a:moveTo>
                    <a:lnTo>
                      <a:pt x="6" y="6"/>
                    </a:lnTo>
                    <a:lnTo>
                      <a:pt x="5" y="7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8" y="1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81" name="Freeform 935"/>
              <p:cNvSpPr>
                <a:spLocks/>
              </p:cNvSpPr>
              <p:nvPr/>
            </p:nvSpPr>
            <p:spPr bwMode="auto">
              <a:xfrm>
                <a:off x="3456115" y="3111372"/>
                <a:ext cx="7914" cy="6925"/>
              </a:xfrm>
              <a:custGeom>
                <a:avLst/>
                <a:gdLst>
                  <a:gd name="T0" fmla="*/ 6 w 8"/>
                  <a:gd name="T1" fmla="*/ 6 h 7"/>
                  <a:gd name="T2" fmla="*/ 6 w 8"/>
                  <a:gd name="T3" fmla="*/ 6 h 7"/>
                  <a:gd name="T4" fmla="*/ 5 w 8"/>
                  <a:gd name="T5" fmla="*/ 7 h 7"/>
                  <a:gd name="T6" fmla="*/ 2 w 8"/>
                  <a:gd name="T7" fmla="*/ 6 h 7"/>
                  <a:gd name="T8" fmla="*/ 0 w 8"/>
                  <a:gd name="T9" fmla="*/ 4 h 7"/>
                  <a:gd name="T10" fmla="*/ 2 w 8"/>
                  <a:gd name="T11" fmla="*/ 1 h 7"/>
                  <a:gd name="T12" fmla="*/ 2 w 8"/>
                  <a:gd name="T13" fmla="*/ 1 h 7"/>
                  <a:gd name="T14" fmla="*/ 5 w 8"/>
                  <a:gd name="T15" fmla="*/ 0 h 7"/>
                  <a:gd name="T16" fmla="*/ 8 w 8"/>
                  <a:gd name="T17" fmla="*/ 0 h 7"/>
                  <a:gd name="T18" fmla="*/ 8 w 8"/>
                  <a:gd name="T19" fmla="*/ 1 h 7"/>
                  <a:gd name="T20" fmla="*/ 6 w 8"/>
                  <a:gd name="T21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7">
                    <a:moveTo>
                      <a:pt x="6" y="6"/>
                    </a:moveTo>
                    <a:lnTo>
                      <a:pt x="6" y="6"/>
                    </a:lnTo>
                    <a:lnTo>
                      <a:pt x="5" y="7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8" y="1"/>
                    </a:lnTo>
                    <a:lnTo>
                      <a:pt x="6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82" name="Freeform 936"/>
              <p:cNvSpPr>
                <a:spLocks/>
              </p:cNvSpPr>
              <p:nvPr/>
            </p:nvSpPr>
            <p:spPr bwMode="auto">
              <a:xfrm>
                <a:off x="3161315" y="2917477"/>
                <a:ext cx="6925" cy="10882"/>
              </a:xfrm>
              <a:custGeom>
                <a:avLst/>
                <a:gdLst>
                  <a:gd name="T0" fmla="*/ 7 w 7"/>
                  <a:gd name="T1" fmla="*/ 9 h 11"/>
                  <a:gd name="T2" fmla="*/ 7 w 7"/>
                  <a:gd name="T3" fmla="*/ 9 h 11"/>
                  <a:gd name="T4" fmla="*/ 4 w 7"/>
                  <a:gd name="T5" fmla="*/ 11 h 11"/>
                  <a:gd name="T6" fmla="*/ 3 w 7"/>
                  <a:gd name="T7" fmla="*/ 9 h 11"/>
                  <a:gd name="T8" fmla="*/ 2 w 7"/>
                  <a:gd name="T9" fmla="*/ 8 h 11"/>
                  <a:gd name="T10" fmla="*/ 0 w 7"/>
                  <a:gd name="T11" fmla="*/ 6 h 11"/>
                  <a:gd name="T12" fmla="*/ 0 w 7"/>
                  <a:gd name="T13" fmla="*/ 6 h 11"/>
                  <a:gd name="T14" fmla="*/ 0 w 7"/>
                  <a:gd name="T15" fmla="*/ 2 h 11"/>
                  <a:gd name="T16" fmla="*/ 0 w 7"/>
                  <a:gd name="T17" fmla="*/ 0 h 11"/>
                  <a:gd name="T18" fmla="*/ 3 w 7"/>
                  <a:gd name="T19" fmla="*/ 0 h 11"/>
                  <a:gd name="T20" fmla="*/ 3 w 7"/>
                  <a:gd name="T21" fmla="*/ 0 h 11"/>
                  <a:gd name="T22" fmla="*/ 6 w 7"/>
                  <a:gd name="T23" fmla="*/ 2 h 11"/>
                  <a:gd name="T24" fmla="*/ 7 w 7"/>
                  <a:gd name="T25" fmla="*/ 5 h 11"/>
                  <a:gd name="T26" fmla="*/ 7 w 7"/>
                  <a:gd name="T27" fmla="*/ 8 h 11"/>
                  <a:gd name="T28" fmla="*/ 7 w 7"/>
                  <a:gd name="T29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11">
                    <a:moveTo>
                      <a:pt x="7" y="9"/>
                    </a:moveTo>
                    <a:lnTo>
                      <a:pt x="7" y="9"/>
                    </a:lnTo>
                    <a:lnTo>
                      <a:pt x="4" y="11"/>
                    </a:lnTo>
                    <a:lnTo>
                      <a:pt x="3" y="9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7" y="5"/>
                    </a:lnTo>
                    <a:lnTo>
                      <a:pt x="7" y="8"/>
                    </a:lnTo>
                    <a:lnTo>
                      <a:pt x="7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83" name="Freeform 937"/>
              <p:cNvSpPr>
                <a:spLocks/>
              </p:cNvSpPr>
              <p:nvPr/>
            </p:nvSpPr>
            <p:spPr bwMode="auto">
              <a:xfrm>
                <a:off x="3161315" y="2917477"/>
                <a:ext cx="6925" cy="10882"/>
              </a:xfrm>
              <a:custGeom>
                <a:avLst/>
                <a:gdLst>
                  <a:gd name="T0" fmla="*/ 7 w 7"/>
                  <a:gd name="T1" fmla="*/ 9 h 11"/>
                  <a:gd name="T2" fmla="*/ 7 w 7"/>
                  <a:gd name="T3" fmla="*/ 9 h 11"/>
                  <a:gd name="T4" fmla="*/ 4 w 7"/>
                  <a:gd name="T5" fmla="*/ 11 h 11"/>
                  <a:gd name="T6" fmla="*/ 3 w 7"/>
                  <a:gd name="T7" fmla="*/ 9 h 11"/>
                  <a:gd name="T8" fmla="*/ 2 w 7"/>
                  <a:gd name="T9" fmla="*/ 8 h 11"/>
                  <a:gd name="T10" fmla="*/ 0 w 7"/>
                  <a:gd name="T11" fmla="*/ 6 h 11"/>
                  <a:gd name="T12" fmla="*/ 0 w 7"/>
                  <a:gd name="T13" fmla="*/ 6 h 11"/>
                  <a:gd name="T14" fmla="*/ 0 w 7"/>
                  <a:gd name="T15" fmla="*/ 2 h 11"/>
                  <a:gd name="T16" fmla="*/ 0 w 7"/>
                  <a:gd name="T17" fmla="*/ 0 h 11"/>
                  <a:gd name="T18" fmla="*/ 3 w 7"/>
                  <a:gd name="T19" fmla="*/ 0 h 11"/>
                  <a:gd name="T20" fmla="*/ 3 w 7"/>
                  <a:gd name="T21" fmla="*/ 0 h 11"/>
                  <a:gd name="T22" fmla="*/ 6 w 7"/>
                  <a:gd name="T23" fmla="*/ 2 h 11"/>
                  <a:gd name="T24" fmla="*/ 7 w 7"/>
                  <a:gd name="T25" fmla="*/ 5 h 11"/>
                  <a:gd name="T26" fmla="*/ 7 w 7"/>
                  <a:gd name="T27" fmla="*/ 8 h 11"/>
                  <a:gd name="T28" fmla="*/ 7 w 7"/>
                  <a:gd name="T29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11">
                    <a:moveTo>
                      <a:pt x="7" y="9"/>
                    </a:moveTo>
                    <a:lnTo>
                      <a:pt x="7" y="9"/>
                    </a:lnTo>
                    <a:lnTo>
                      <a:pt x="4" y="11"/>
                    </a:lnTo>
                    <a:lnTo>
                      <a:pt x="3" y="9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7" y="5"/>
                    </a:lnTo>
                    <a:lnTo>
                      <a:pt x="7" y="8"/>
                    </a:lnTo>
                    <a:lnTo>
                      <a:pt x="7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84" name="Freeform 938"/>
              <p:cNvSpPr>
                <a:spLocks/>
              </p:cNvSpPr>
              <p:nvPr/>
            </p:nvSpPr>
            <p:spPr bwMode="auto">
              <a:xfrm>
                <a:off x="3167251" y="2932316"/>
                <a:ext cx="3957" cy="3957"/>
              </a:xfrm>
              <a:custGeom>
                <a:avLst/>
                <a:gdLst>
                  <a:gd name="T0" fmla="*/ 1 w 4"/>
                  <a:gd name="T1" fmla="*/ 4 h 4"/>
                  <a:gd name="T2" fmla="*/ 1 w 4"/>
                  <a:gd name="T3" fmla="*/ 4 h 4"/>
                  <a:gd name="T4" fmla="*/ 0 w 4"/>
                  <a:gd name="T5" fmla="*/ 4 h 4"/>
                  <a:gd name="T6" fmla="*/ 0 w 4"/>
                  <a:gd name="T7" fmla="*/ 3 h 4"/>
                  <a:gd name="T8" fmla="*/ 0 w 4"/>
                  <a:gd name="T9" fmla="*/ 0 h 4"/>
                  <a:gd name="T10" fmla="*/ 3 w 4"/>
                  <a:gd name="T11" fmla="*/ 0 h 4"/>
                  <a:gd name="T12" fmla="*/ 3 w 4"/>
                  <a:gd name="T13" fmla="*/ 0 h 4"/>
                  <a:gd name="T14" fmla="*/ 3 w 4"/>
                  <a:gd name="T15" fmla="*/ 0 h 4"/>
                  <a:gd name="T16" fmla="*/ 4 w 4"/>
                  <a:gd name="T17" fmla="*/ 1 h 4"/>
                  <a:gd name="T18" fmla="*/ 3 w 4"/>
                  <a:gd name="T19" fmla="*/ 3 h 4"/>
                  <a:gd name="T20" fmla="*/ 1 w 4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1" y="4"/>
                    </a:moveTo>
                    <a:lnTo>
                      <a:pt x="1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85" name="Freeform 939"/>
              <p:cNvSpPr>
                <a:spLocks/>
              </p:cNvSpPr>
              <p:nvPr/>
            </p:nvSpPr>
            <p:spPr bwMode="auto">
              <a:xfrm>
                <a:off x="3167251" y="2932316"/>
                <a:ext cx="3957" cy="3957"/>
              </a:xfrm>
              <a:custGeom>
                <a:avLst/>
                <a:gdLst>
                  <a:gd name="T0" fmla="*/ 1 w 4"/>
                  <a:gd name="T1" fmla="*/ 4 h 4"/>
                  <a:gd name="T2" fmla="*/ 1 w 4"/>
                  <a:gd name="T3" fmla="*/ 4 h 4"/>
                  <a:gd name="T4" fmla="*/ 0 w 4"/>
                  <a:gd name="T5" fmla="*/ 4 h 4"/>
                  <a:gd name="T6" fmla="*/ 0 w 4"/>
                  <a:gd name="T7" fmla="*/ 3 h 4"/>
                  <a:gd name="T8" fmla="*/ 0 w 4"/>
                  <a:gd name="T9" fmla="*/ 0 h 4"/>
                  <a:gd name="T10" fmla="*/ 3 w 4"/>
                  <a:gd name="T11" fmla="*/ 0 h 4"/>
                  <a:gd name="T12" fmla="*/ 3 w 4"/>
                  <a:gd name="T13" fmla="*/ 0 h 4"/>
                  <a:gd name="T14" fmla="*/ 3 w 4"/>
                  <a:gd name="T15" fmla="*/ 0 h 4"/>
                  <a:gd name="T16" fmla="*/ 4 w 4"/>
                  <a:gd name="T17" fmla="*/ 1 h 4"/>
                  <a:gd name="T18" fmla="*/ 3 w 4"/>
                  <a:gd name="T19" fmla="*/ 3 h 4"/>
                  <a:gd name="T20" fmla="*/ 1 w 4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1" y="4"/>
                    </a:moveTo>
                    <a:lnTo>
                      <a:pt x="1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1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86" name="Freeform 940"/>
              <p:cNvSpPr>
                <a:spLocks/>
              </p:cNvSpPr>
              <p:nvPr/>
            </p:nvSpPr>
            <p:spPr bwMode="auto">
              <a:xfrm>
                <a:off x="3369060" y="2785906"/>
                <a:ext cx="5936" cy="6925"/>
              </a:xfrm>
              <a:custGeom>
                <a:avLst/>
                <a:gdLst>
                  <a:gd name="T0" fmla="*/ 2 w 6"/>
                  <a:gd name="T1" fmla="*/ 7 h 7"/>
                  <a:gd name="T2" fmla="*/ 2 w 6"/>
                  <a:gd name="T3" fmla="*/ 7 h 7"/>
                  <a:gd name="T4" fmla="*/ 0 w 6"/>
                  <a:gd name="T5" fmla="*/ 7 h 7"/>
                  <a:gd name="T6" fmla="*/ 0 w 6"/>
                  <a:gd name="T7" fmla="*/ 5 h 7"/>
                  <a:gd name="T8" fmla="*/ 2 w 6"/>
                  <a:gd name="T9" fmla="*/ 3 h 7"/>
                  <a:gd name="T10" fmla="*/ 3 w 6"/>
                  <a:gd name="T11" fmla="*/ 0 h 7"/>
                  <a:gd name="T12" fmla="*/ 3 w 6"/>
                  <a:gd name="T13" fmla="*/ 0 h 7"/>
                  <a:gd name="T14" fmla="*/ 6 w 6"/>
                  <a:gd name="T15" fmla="*/ 0 h 7"/>
                  <a:gd name="T16" fmla="*/ 6 w 6"/>
                  <a:gd name="T17" fmla="*/ 3 h 7"/>
                  <a:gd name="T18" fmla="*/ 4 w 6"/>
                  <a:gd name="T19" fmla="*/ 5 h 7"/>
                  <a:gd name="T20" fmla="*/ 2 w 6"/>
                  <a:gd name="T2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7">
                    <a:moveTo>
                      <a:pt x="2" y="7"/>
                    </a:moveTo>
                    <a:lnTo>
                      <a:pt x="2" y="7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87" name="Freeform 941"/>
              <p:cNvSpPr>
                <a:spLocks/>
              </p:cNvSpPr>
              <p:nvPr/>
            </p:nvSpPr>
            <p:spPr bwMode="auto">
              <a:xfrm>
                <a:off x="3369060" y="2785906"/>
                <a:ext cx="5936" cy="6925"/>
              </a:xfrm>
              <a:custGeom>
                <a:avLst/>
                <a:gdLst>
                  <a:gd name="T0" fmla="*/ 2 w 6"/>
                  <a:gd name="T1" fmla="*/ 7 h 7"/>
                  <a:gd name="T2" fmla="*/ 2 w 6"/>
                  <a:gd name="T3" fmla="*/ 7 h 7"/>
                  <a:gd name="T4" fmla="*/ 0 w 6"/>
                  <a:gd name="T5" fmla="*/ 7 h 7"/>
                  <a:gd name="T6" fmla="*/ 0 w 6"/>
                  <a:gd name="T7" fmla="*/ 5 h 7"/>
                  <a:gd name="T8" fmla="*/ 2 w 6"/>
                  <a:gd name="T9" fmla="*/ 3 h 7"/>
                  <a:gd name="T10" fmla="*/ 3 w 6"/>
                  <a:gd name="T11" fmla="*/ 0 h 7"/>
                  <a:gd name="T12" fmla="*/ 3 w 6"/>
                  <a:gd name="T13" fmla="*/ 0 h 7"/>
                  <a:gd name="T14" fmla="*/ 6 w 6"/>
                  <a:gd name="T15" fmla="*/ 0 h 7"/>
                  <a:gd name="T16" fmla="*/ 6 w 6"/>
                  <a:gd name="T17" fmla="*/ 3 h 7"/>
                  <a:gd name="T18" fmla="*/ 4 w 6"/>
                  <a:gd name="T19" fmla="*/ 5 h 7"/>
                  <a:gd name="T20" fmla="*/ 2 w 6"/>
                  <a:gd name="T2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7">
                    <a:moveTo>
                      <a:pt x="2" y="7"/>
                    </a:moveTo>
                    <a:lnTo>
                      <a:pt x="2" y="7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88" name="Freeform 942"/>
              <p:cNvSpPr>
                <a:spLocks/>
              </p:cNvSpPr>
              <p:nvPr/>
            </p:nvSpPr>
            <p:spPr bwMode="auto">
              <a:xfrm>
                <a:off x="3381920" y="2413944"/>
                <a:ext cx="38581" cy="16817"/>
              </a:xfrm>
              <a:custGeom>
                <a:avLst/>
                <a:gdLst>
                  <a:gd name="T0" fmla="*/ 39 w 39"/>
                  <a:gd name="T1" fmla="*/ 16 h 17"/>
                  <a:gd name="T2" fmla="*/ 39 w 39"/>
                  <a:gd name="T3" fmla="*/ 16 h 17"/>
                  <a:gd name="T4" fmla="*/ 35 w 39"/>
                  <a:gd name="T5" fmla="*/ 17 h 17"/>
                  <a:gd name="T6" fmla="*/ 29 w 39"/>
                  <a:gd name="T7" fmla="*/ 16 h 17"/>
                  <a:gd name="T8" fmla="*/ 19 w 39"/>
                  <a:gd name="T9" fmla="*/ 11 h 17"/>
                  <a:gd name="T10" fmla="*/ 2 w 39"/>
                  <a:gd name="T11" fmla="*/ 1 h 17"/>
                  <a:gd name="T12" fmla="*/ 2 w 39"/>
                  <a:gd name="T13" fmla="*/ 1 h 17"/>
                  <a:gd name="T14" fmla="*/ 0 w 39"/>
                  <a:gd name="T15" fmla="*/ 1 h 17"/>
                  <a:gd name="T16" fmla="*/ 0 w 39"/>
                  <a:gd name="T17" fmla="*/ 0 h 17"/>
                  <a:gd name="T18" fmla="*/ 5 w 39"/>
                  <a:gd name="T19" fmla="*/ 0 h 17"/>
                  <a:gd name="T20" fmla="*/ 13 w 39"/>
                  <a:gd name="T21" fmla="*/ 0 h 17"/>
                  <a:gd name="T22" fmla="*/ 23 w 39"/>
                  <a:gd name="T23" fmla="*/ 3 h 17"/>
                  <a:gd name="T24" fmla="*/ 23 w 39"/>
                  <a:gd name="T25" fmla="*/ 3 h 17"/>
                  <a:gd name="T26" fmla="*/ 31 w 39"/>
                  <a:gd name="T27" fmla="*/ 7 h 17"/>
                  <a:gd name="T28" fmla="*/ 36 w 39"/>
                  <a:gd name="T29" fmla="*/ 11 h 17"/>
                  <a:gd name="T30" fmla="*/ 39 w 39"/>
                  <a:gd name="T31" fmla="*/ 14 h 17"/>
                  <a:gd name="T32" fmla="*/ 39 w 39"/>
                  <a:gd name="T33" fmla="*/ 16 h 17"/>
                  <a:gd name="T34" fmla="*/ 39 w 39"/>
                  <a:gd name="T3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17">
                    <a:moveTo>
                      <a:pt x="39" y="16"/>
                    </a:moveTo>
                    <a:lnTo>
                      <a:pt x="39" y="16"/>
                    </a:lnTo>
                    <a:lnTo>
                      <a:pt x="35" y="17"/>
                    </a:lnTo>
                    <a:lnTo>
                      <a:pt x="29" y="16"/>
                    </a:lnTo>
                    <a:lnTo>
                      <a:pt x="19" y="1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13" y="0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31" y="7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39" y="16"/>
                    </a:lnTo>
                    <a:lnTo>
                      <a:pt x="39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89" name="Freeform 943"/>
              <p:cNvSpPr>
                <a:spLocks/>
              </p:cNvSpPr>
              <p:nvPr/>
            </p:nvSpPr>
            <p:spPr bwMode="auto">
              <a:xfrm>
                <a:off x="3381920" y="2413944"/>
                <a:ext cx="38581" cy="16817"/>
              </a:xfrm>
              <a:custGeom>
                <a:avLst/>
                <a:gdLst>
                  <a:gd name="T0" fmla="*/ 39 w 39"/>
                  <a:gd name="T1" fmla="*/ 16 h 17"/>
                  <a:gd name="T2" fmla="*/ 39 w 39"/>
                  <a:gd name="T3" fmla="*/ 16 h 17"/>
                  <a:gd name="T4" fmla="*/ 35 w 39"/>
                  <a:gd name="T5" fmla="*/ 17 h 17"/>
                  <a:gd name="T6" fmla="*/ 29 w 39"/>
                  <a:gd name="T7" fmla="*/ 16 h 17"/>
                  <a:gd name="T8" fmla="*/ 19 w 39"/>
                  <a:gd name="T9" fmla="*/ 11 h 17"/>
                  <a:gd name="T10" fmla="*/ 2 w 39"/>
                  <a:gd name="T11" fmla="*/ 1 h 17"/>
                  <a:gd name="T12" fmla="*/ 2 w 39"/>
                  <a:gd name="T13" fmla="*/ 1 h 17"/>
                  <a:gd name="T14" fmla="*/ 0 w 39"/>
                  <a:gd name="T15" fmla="*/ 1 h 17"/>
                  <a:gd name="T16" fmla="*/ 0 w 39"/>
                  <a:gd name="T17" fmla="*/ 0 h 17"/>
                  <a:gd name="T18" fmla="*/ 5 w 39"/>
                  <a:gd name="T19" fmla="*/ 0 h 17"/>
                  <a:gd name="T20" fmla="*/ 13 w 39"/>
                  <a:gd name="T21" fmla="*/ 0 h 17"/>
                  <a:gd name="T22" fmla="*/ 23 w 39"/>
                  <a:gd name="T23" fmla="*/ 3 h 17"/>
                  <a:gd name="T24" fmla="*/ 23 w 39"/>
                  <a:gd name="T25" fmla="*/ 3 h 17"/>
                  <a:gd name="T26" fmla="*/ 31 w 39"/>
                  <a:gd name="T27" fmla="*/ 7 h 17"/>
                  <a:gd name="T28" fmla="*/ 36 w 39"/>
                  <a:gd name="T29" fmla="*/ 11 h 17"/>
                  <a:gd name="T30" fmla="*/ 39 w 39"/>
                  <a:gd name="T31" fmla="*/ 14 h 17"/>
                  <a:gd name="T32" fmla="*/ 39 w 39"/>
                  <a:gd name="T33" fmla="*/ 16 h 17"/>
                  <a:gd name="T34" fmla="*/ 39 w 39"/>
                  <a:gd name="T3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17">
                    <a:moveTo>
                      <a:pt x="39" y="16"/>
                    </a:moveTo>
                    <a:lnTo>
                      <a:pt x="39" y="16"/>
                    </a:lnTo>
                    <a:lnTo>
                      <a:pt x="35" y="17"/>
                    </a:lnTo>
                    <a:lnTo>
                      <a:pt x="29" y="16"/>
                    </a:lnTo>
                    <a:lnTo>
                      <a:pt x="19" y="1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13" y="0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31" y="7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39" y="16"/>
                    </a:lnTo>
                    <a:lnTo>
                      <a:pt x="39" y="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90" name="Freeform 944"/>
              <p:cNvSpPr>
                <a:spLocks/>
              </p:cNvSpPr>
              <p:nvPr/>
            </p:nvSpPr>
            <p:spPr bwMode="auto">
              <a:xfrm>
                <a:off x="3428415" y="2482203"/>
                <a:ext cx="13850" cy="22753"/>
              </a:xfrm>
              <a:custGeom>
                <a:avLst/>
                <a:gdLst>
                  <a:gd name="T0" fmla="*/ 2 w 14"/>
                  <a:gd name="T1" fmla="*/ 23 h 23"/>
                  <a:gd name="T2" fmla="*/ 2 w 14"/>
                  <a:gd name="T3" fmla="*/ 23 h 23"/>
                  <a:gd name="T4" fmla="*/ 1 w 14"/>
                  <a:gd name="T5" fmla="*/ 23 h 23"/>
                  <a:gd name="T6" fmla="*/ 0 w 14"/>
                  <a:gd name="T7" fmla="*/ 20 h 23"/>
                  <a:gd name="T8" fmla="*/ 0 w 14"/>
                  <a:gd name="T9" fmla="*/ 18 h 23"/>
                  <a:gd name="T10" fmla="*/ 2 w 14"/>
                  <a:gd name="T11" fmla="*/ 13 h 23"/>
                  <a:gd name="T12" fmla="*/ 2 w 14"/>
                  <a:gd name="T13" fmla="*/ 13 h 23"/>
                  <a:gd name="T14" fmla="*/ 7 w 14"/>
                  <a:gd name="T15" fmla="*/ 3 h 23"/>
                  <a:gd name="T16" fmla="*/ 10 w 14"/>
                  <a:gd name="T17" fmla="*/ 0 h 23"/>
                  <a:gd name="T18" fmla="*/ 10 w 14"/>
                  <a:gd name="T19" fmla="*/ 0 h 23"/>
                  <a:gd name="T20" fmla="*/ 11 w 14"/>
                  <a:gd name="T21" fmla="*/ 2 h 23"/>
                  <a:gd name="T22" fmla="*/ 11 w 14"/>
                  <a:gd name="T23" fmla="*/ 2 h 23"/>
                  <a:gd name="T24" fmla="*/ 11 w 14"/>
                  <a:gd name="T25" fmla="*/ 9 h 23"/>
                  <a:gd name="T26" fmla="*/ 13 w 14"/>
                  <a:gd name="T27" fmla="*/ 12 h 23"/>
                  <a:gd name="T28" fmla="*/ 14 w 14"/>
                  <a:gd name="T29" fmla="*/ 13 h 23"/>
                  <a:gd name="T30" fmla="*/ 14 w 14"/>
                  <a:gd name="T31" fmla="*/ 13 h 23"/>
                  <a:gd name="T32" fmla="*/ 14 w 14"/>
                  <a:gd name="T33" fmla="*/ 15 h 23"/>
                  <a:gd name="T34" fmla="*/ 14 w 14"/>
                  <a:gd name="T35" fmla="*/ 16 h 23"/>
                  <a:gd name="T36" fmla="*/ 10 w 14"/>
                  <a:gd name="T37" fmla="*/ 19 h 23"/>
                  <a:gd name="T38" fmla="*/ 2 w 14"/>
                  <a:gd name="T3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" h="23">
                    <a:moveTo>
                      <a:pt x="2" y="23"/>
                    </a:moveTo>
                    <a:lnTo>
                      <a:pt x="2" y="23"/>
                    </a:lnTo>
                    <a:lnTo>
                      <a:pt x="1" y="23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7" y="3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9"/>
                    </a:lnTo>
                    <a:lnTo>
                      <a:pt x="13" y="12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14" y="15"/>
                    </a:lnTo>
                    <a:lnTo>
                      <a:pt x="14" y="16"/>
                    </a:lnTo>
                    <a:lnTo>
                      <a:pt x="10" y="19"/>
                    </a:lnTo>
                    <a:lnTo>
                      <a:pt x="2" y="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91" name="Freeform 945"/>
              <p:cNvSpPr>
                <a:spLocks/>
              </p:cNvSpPr>
              <p:nvPr/>
            </p:nvSpPr>
            <p:spPr bwMode="auto">
              <a:xfrm>
                <a:off x="3428415" y="2482203"/>
                <a:ext cx="13850" cy="22753"/>
              </a:xfrm>
              <a:custGeom>
                <a:avLst/>
                <a:gdLst>
                  <a:gd name="T0" fmla="*/ 2 w 14"/>
                  <a:gd name="T1" fmla="*/ 23 h 23"/>
                  <a:gd name="T2" fmla="*/ 2 w 14"/>
                  <a:gd name="T3" fmla="*/ 23 h 23"/>
                  <a:gd name="T4" fmla="*/ 1 w 14"/>
                  <a:gd name="T5" fmla="*/ 23 h 23"/>
                  <a:gd name="T6" fmla="*/ 0 w 14"/>
                  <a:gd name="T7" fmla="*/ 20 h 23"/>
                  <a:gd name="T8" fmla="*/ 0 w 14"/>
                  <a:gd name="T9" fmla="*/ 18 h 23"/>
                  <a:gd name="T10" fmla="*/ 2 w 14"/>
                  <a:gd name="T11" fmla="*/ 13 h 23"/>
                  <a:gd name="T12" fmla="*/ 2 w 14"/>
                  <a:gd name="T13" fmla="*/ 13 h 23"/>
                  <a:gd name="T14" fmla="*/ 7 w 14"/>
                  <a:gd name="T15" fmla="*/ 3 h 23"/>
                  <a:gd name="T16" fmla="*/ 10 w 14"/>
                  <a:gd name="T17" fmla="*/ 0 h 23"/>
                  <a:gd name="T18" fmla="*/ 10 w 14"/>
                  <a:gd name="T19" fmla="*/ 0 h 23"/>
                  <a:gd name="T20" fmla="*/ 11 w 14"/>
                  <a:gd name="T21" fmla="*/ 2 h 23"/>
                  <a:gd name="T22" fmla="*/ 11 w 14"/>
                  <a:gd name="T23" fmla="*/ 2 h 23"/>
                  <a:gd name="T24" fmla="*/ 11 w 14"/>
                  <a:gd name="T25" fmla="*/ 9 h 23"/>
                  <a:gd name="T26" fmla="*/ 13 w 14"/>
                  <a:gd name="T27" fmla="*/ 12 h 23"/>
                  <a:gd name="T28" fmla="*/ 14 w 14"/>
                  <a:gd name="T29" fmla="*/ 13 h 23"/>
                  <a:gd name="T30" fmla="*/ 14 w 14"/>
                  <a:gd name="T31" fmla="*/ 13 h 23"/>
                  <a:gd name="T32" fmla="*/ 14 w 14"/>
                  <a:gd name="T33" fmla="*/ 15 h 23"/>
                  <a:gd name="T34" fmla="*/ 14 w 14"/>
                  <a:gd name="T35" fmla="*/ 16 h 23"/>
                  <a:gd name="T36" fmla="*/ 10 w 14"/>
                  <a:gd name="T37" fmla="*/ 19 h 23"/>
                  <a:gd name="T38" fmla="*/ 2 w 14"/>
                  <a:gd name="T3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" h="23">
                    <a:moveTo>
                      <a:pt x="2" y="23"/>
                    </a:moveTo>
                    <a:lnTo>
                      <a:pt x="2" y="23"/>
                    </a:lnTo>
                    <a:lnTo>
                      <a:pt x="1" y="23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7" y="3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9"/>
                    </a:lnTo>
                    <a:lnTo>
                      <a:pt x="13" y="12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14" y="15"/>
                    </a:lnTo>
                    <a:lnTo>
                      <a:pt x="14" y="16"/>
                    </a:lnTo>
                    <a:lnTo>
                      <a:pt x="10" y="19"/>
                    </a:lnTo>
                    <a:lnTo>
                      <a:pt x="2" y="2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92" name="Freeform 946"/>
              <p:cNvSpPr>
                <a:spLocks/>
              </p:cNvSpPr>
              <p:nvPr/>
            </p:nvSpPr>
            <p:spPr bwMode="auto">
              <a:xfrm>
                <a:off x="3461061" y="2364481"/>
                <a:ext cx="102883" cy="123657"/>
              </a:xfrm>
              <a:custGeom>
                <a:avLst/>
                <a:gdLst>
                  <a:gd name="T0" fmla="*/ 46 w 104"/>
                  <a:gd name="T1" fmla="*/ 110 h 125"/>
                  <a:gd name="T2" fmla="*/ 49 w 104"/>
                  <a:gd name="T3" fmla="*/ 106 h 125"/>
                  <a:gd name="T4" fmla="*/ 46 w 104"/>
                  <a:gd name="T5" fmla="*/ 100 h 125"/>
                  <a:gd name="T6" fmla="*/ 11 w 104"/>
                  <a:gd name="T7" fmla="*/ 102 h 125"/>
                  <a:gd name="T8" fmla="*/ 0 w 104"/>
                  <a:gd name="T9" fmla="*/ 99 h 125"/>
                  <a:gd name="T10" fmla="*/ 0 w 104"/>
                  <a:gd name="T11" fmla="*/ 96 h 125"/>
                  <a:gd name="T12" fmla="*/ 7 w 104"/>
                  <a:gd name="T13" fmla="*/ 83 h 125"/>
                  <a:gd name="T14" fmla="*/ 1 w 104"/>
                  <a:gd name="T15" fmla="*/ 83 h 125"/>
                  <a:gd name="T16" fmla="*/ 0 w 104"/>
                  <a:gd name="T17" fmla="*/ 79 h 125"/>
                  <a:gd name="T18" fmla="*/ 11 w 104"/>
                  <a:gd name="T19" fmla="*/ 67 h 125"/>
                  <a:gd name="T20" fmla="*/ 19 w 104"/>
                  <a:gd name="T21" fmla="*/ 64 h 125"/>
                  <a:gd name="T22" fmla="*/ 16 w 104"/>
                  <a:gd name="T23" fmla="*/ 54 h 125"/>
                  <a:gd name="T24" fmla="*/ 23 w 104"/>
                  <a:gd name="T25" fmla="*/ 35 h 125"/>
                  <a:gd name="T26" fmla="*/ 39 w 104"/>
                  <a:gd name="T27" fmla="*/ 9 h 125"/>
                  <a:gd name="T28" fmla="*/ 48 w 104"/>
                  <a:gd name="T29" fmla="*/ 3 h 125"/>
                  <a:gd name="T30" fmla="*/ 56 w 104"/>
                  <a:gd name="T31" fmla="*/ 0 h 125"/>
                  <a:gd name="T32" fmla="*/ 51 w 104"/>
                  <a:gd name="T33" fmla="*/ 9 h 125"/>
                  <a:gd name="T34" fmla="*/ 51 w 104"/>
                  <a:gd name="T35" fmla="*/ 16 h 125"/>
                  <a:gd name="T36" fmla="*/ 42 w 104"/>
                  <a:gd name="T37" fmla="*/ 32 h 125"/>
                  <a:gd name="T38" fmla="*/ 39 w 104"/>
                  <a:gd name="T39" fmla="*/ 51 h 125"/>
                  <a:gd name="T40" fmla="*/ 48 w 104"/>
                  <a:gd name="T41" fmla="*/ 42 h 125"/>
                  <a:gd name="T42" fmla="*/ 52 w 104"/>
                  <a:gd name="T43" fmla="*/ 42 h 125"/>
                  <a:gd name="T44" fmla="*/ 55 w 104"/>
                  <a:gd name="T45" fmla="*/ 48 h 125"/>
                  <a:gd name="T46" fmla="*/ 61 w 104"/>
                  <a:gd name="T47" fmla="*/ 57 h 125"/>
                  <a:gd name="T48" fmla="*/ 68 w 104"/>
                  <a:gd name="T49" fmla="*/ 57 h 125"/>
                  <a:gd name="T50" fmla="*/ 84 w 104"/>
                  <a:gd name="T51" fmla="*/ 58 h 125"/>
                  <a:gd name="T52" fmla="*/ 91 w 104"/>
                  <a:gd name="T53" fmla="*/ 61 h 125"/>
                  <a:gd name="T54" fmla="*/ 90 w 104"/>
                  <a:gd name="T55" fmla="*/ 73 h 125"/>
                  <a:gd name="T56" fmla="*/ 91 w 104"/>
                  <a:gd name="T57" fmla="*/ 80 h 125"/>
                  <a:gd name="T58" fmla="*/ 93 w 104"/>
                  <a:gd name="T59" fmla="*/ 83 h 125"/>
                  <a:gd name="T60" fmla="*/ 95 w 104"/>
                  <a:gd name="T61" fmla="*/ 83 h 125"/>
                  <a:gd name="T62" fmla="*/ 90 w 104"/>
                  <a:gd name="T63" fmla="*/ 96 h 125"/>
                  <a:gd name="T64" fmla="*/ 98 w 104"/>
                  <a:gd name="T65" fmla="*/ 92 h 125"/>
                  <a:gd name="T66" fmla="*/ 100 w 104"/>
                  <a:gd name="T67" fmla="*/ 92 h 125"/>
                  <a:gd name="T68" fmla="*/ 97 w 104"/>
                  <a:gd name="T69" fmla="*/ 102 h 125"/>
                  <a:gd name="T70" fmla="*/ 103 w 104"/>
                  <a:gd name="T71" fmla="*/ 100 h 125"/>
                  <a:gd name="T72" fmla="*/ 103 w 104"/>
                  <a:gd name="T73" fmla="*/ 116 h 125"/>
                  <a:gd name="T74" fmla="*/ 97 w 104"/>
                  <a:gd name="T75" fmla="*/ 125 h 125"/>
                  <a:gd name="T76" fmla="*/ 93 w 104"/>
                  <a:gd name="T77" fmla="*/ 118 h 125"/>
                  <a:gd name="T78" fmla="*/ 90 w 104"/>
                  <a:gd name="T79" fmla="*/ 113 h 125"/>
                  <a:gd name="T80" fmla="*/ 82 w 104"/>
                  <a:gd name="T81" fmla="*/ 118 h 125"/>
                  <a:gd name="T82" fmla="*/ 81 w 104"/>
                  <a:gd name="T83" fmla="*/ 118 h 125"/>
                  <a:gd name="T84" fmla="*/ 84 w 104"/>
                  <a:gd name="T85" fmla="*/ 105 h 125"/>
                  <a:gd name="T86" fmla="*/ 81 w 104"/>
                  <a:gd name="T87" fmla="*/ 96 h 125"/>
                  <a:gd name="T88" fmla="*/ 77 w 104"/>
                  <a:gd name="T89" fmla="*/ 102 h 125"/>
                  <a:gd name="T90" fmla="*/ 72 w 104"/>
                  <a:gd name="T91" fmla="*/ 106 h 125"/>
                  <a:gd name="T92" fmla="*/ 68 w 104"/>
                  <a:gd name="T93" fmla="*/ 110 h 125"/>
                  <a:gd name="T94" fmla="*/ 61 w 104"/>
                  <a:gd name="T95" fmla="*/ 121 h 125"/>
                  <a:gd name="T96" fmla="*/ 52 w 104"/>
                  <a:gd name="T97" fmla="*/ 121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4" h="125">
                    <a:moveTo>
                      <a:pt x="49" y="118"/>
                    </a:moveTo>
                    <a:lnTo>
                      <a:pt x="49" y="118"/>
                    </a:lnTo>
                    <a:lnTo>
                      <a:pt x="46" y="110"/>
                    </a:lnTo>
                    <a:lnTo>
                      <a:pt x="46" y="109"/>
                    </a:lnTo>
                    <a:lnTo>
                      <a:pt x="49" y="106"/>
                    </a:lnTo>
                    <a:lnTo>
                      <a:pt x="49" y="106"/>
                    </a:lnTo>
                    <a:lnTo>
                      <a:pt x="51" y="105"/>
                    </a:lnTo>
                    <a:lnTo>
                      <a:pt x="49" y="102"/>
                    </a:lnTo>
                    <a:lnTo>
                      <a:pt x="46" y="100"/>
                    </a:lnTo>
                    <a:lnTo>
                      <a:pt x="43" y="99"/>
                    </a:lnTo>
                    <a:lnTo>
                      <a:pt x="43" y="99"/>
                    </a:lnTo>
                    <a:lnTo>
                      <a:pt x="11" y="102"/>
                    </a:lnTo>
                    <a:lnTo>
                      <a:pt x="11" y="102"/>
                    </a:lnTo>
                    <a:lnTo>
                      <a:pt x="3" y="100"/>
                    </a:lnTo>
                    <a:lnTo>
                      <a:pt x="0" y="99"/>
                    </a:lnTo>
                    <a:lnTo>
                      <a:pt x="0" y="97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6" y="87"/>
                    </a:lnTo>
                    <a:lnTo>
                      <a:pt x="7" y="84"/>
                    </a:lnTo>
                    <a:lnTo>
                      <a:pt x="7" y="83"/>
                    </a:lnTo>
                    <a:lnTo>
                      <a:pt x="7" y="83"/>
                    </a:lnTo>
                    <a:lnTo>
                      <a:pt x="7" y="83"/>
                    </a:lnTo>
                    <a:lnTo>
                      <a:pt x="1" y="83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0" y="79"/>
                    </a:lnTo>
                    <a:lnTo>
                      <a:pt x="7" y="71"/>
                    </a:lnTo>
                    <a:lnTo>
                      <a:pt x="11" y="67"/>
                    </a:lnTo>
                    <a:lnTo>
                      <a:pt x="11" y="67"/>
                    </a:lnTo>
                    <a:lnTo>
                      <a:pt x="17" y="67"/>
                    </a:lnTo>
                    <a:lnTo>
                      <a:pt x="19" y="66"/>
                    </a:lnTo>
                    <a:lnTo>
                      <a:pt x="19" y="64"/>
                    </a:lnTo>
                    <a:lnTo>
                      <a:pt x="19" y="64"/>
                    </a:lnTo>
                    <a:lnTo>
                      <a:pt x="16" y="5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20" y="42"/>
                    </a:lnTo>
                    <a:lnTo>
                      <a:pt x="23" y="35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42" y="6"/>
                    </a:lnTo>
                    <a:lnTo>
                      <a:pt x="48" y="3"/>
                    </a:lnTo>
                    <a:lnTo>
                      <a:pt x="53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3" y="5"/>
                    </a:lnTo>
                    <a:lnTo>
                      <a:pt x="51" y="9"/>
                    </a:lnTo>
                    <a:lnTo>
                      <a:pt x="51" y="9"/>
                    </a:lnTo>
                    <a:lnTo>
                      <a:pt x="51" y="12"/>
                    </a:lnTo>
                    <a:lnTo>
                      <a:pt x="52" y="15"/>
                    </a:lnTo>
                    <a:lnTo>
                      <a:pt x="51" y="16"/>
                    </a:lnTo>
                    <a:lnTo>
                      <a:pt x="51" y="16"/>
                    </a:lnTo>
                    <a:lnTo>
                      <a:pt x="46" y="24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0" y="42"/>
                    </a:lnTo>
                    <a:lnTo>
                      <a:pt x="39" y="51"/>
                    </a:lnTo>
                    <a:lnTo>
                      <a:pt x="39" y="51"/>
                    </a:lnTo>
                    <a:lnTo>
                      <a:pt x="43" y="44"/>
                    </a:lnTo>
                    <a:lnTo>
                      <a:pt x="48" y="42"/>
                    </a:lnTo>
                    <a:lnTo>
                      <a:pt x="51" y="41"/>
                    </a:lnTo>
                    <a:lnTo>
                      <a:pt x="51" y="41"/>
                    </a:lnTo>
                    <a:lnTo>
                      <a:pt x="52" y="42"/>
                    </a:lnTo>
                    <a:lnTo>
                      <a:pt x="53" y="44"/>
                    </a:lnTo>
                    <a:lnTo>
                      <a:pt x="55" y="48"/>
                    </a:lnTo>
                    <a:lnTo>
                      <a:pt x="55" y="48"/>
                    </a:lnTo>
                    <a:lnTo>
                      <a:pt x="55" y="51"/>
                    </a:lnTo>
                    <a:lnTo>
                      <a:pt x="58" y="55"/>
                    </a:lnTo>
                    <a:lnTo>
                      <a:pt x="61" y="57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8" y="57"/>
                    </a:lnTo>
                    <a:lnTo>
                      <a:pt x="72" y="57"/>
                    </a:lnTo>
                    <a:lnTo>
                      <a:pt x="72" y="57"/>
                    </a:lnTo>
                    <a:lnTo>
                      <a:pt x="84" y="58"/>
                    </a:lnTo>
                    <a:lnTo>
                      <a:pt x="90" y="60"/>
                    </a:lnTo>
                    <a:lnTo>
                      <a:pt x="91" y="61"/>
                    </a:lnTo>
                    <a:lnTo>
                      <a:pt x="91" y="61"/>
                    </a:lnTo>
                    <a:lnTo>
                      <a:pt x="88" y="66"/>
                    </a:lnTo>
                    <a:lnTo>
                      <a:pt x="88" y="68"/>
                    </a:lnTo>
                    <a:lnTo>
                      <a:pt x="90" y="73"/>
                    </a:lnTo>
                    <a:lnTo>
                      <a:pt x="90" y="73"/>
                    </a:lnTo>
                    <a:lnTo>
                      <a:pt x="91" y="77"/>
                    </a:lnTo>
                    <a:lnTo>
                      <a:pt x="91" y="80"/>
                    </a:lnTo>
                    <a:lnTo>
                      <a:pt x="93" y="83"/>
                    </a:lnTo>
                    <a:lnTo>
                      <a:pt x="93" y="83"/>
                    </a:lnTo>
                    <a:lnTo>
                      <a:pt x="93" y="83"/>
                    </a:lnTo>
                    <a:lnTo>
                      <a:pt x="95" y="81"/>
                    </a:lnTo>
                    <a:lnTo>
                      <a:pt x="95" y="81"/>
                    </a:lnTo>
                    <a:lnTo>
                      <a:pt x="95" y="83"/>
                    </a:lnTo>
                    <a:lnTo>
                      <a:pt x="95" y="83"/>
                    </a:lnTo>
                    <a:lnTo>
                      <a:pt x="90" y="96"/>
                    </a:lnTo>
                    <a:lnTo>
                      <a:pt x="90" y="96"/>
                    </a:lnTo>
                    <a:lnTo>
                      <a:pt x="91" y="96"/>
                    </a:lnTo>
                    <a:lnTo>
                      <a:pt x="94" y="93"/>
                    </a:lnTo>
                    <a:lnTo>
                      <a:pt x="98" y="92"/>
                    </a:lnTo>
                    <a:lnTo>
                      <a:pt x="98" y="92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97" y="99"/>
                    </a:lnTo>
                    <a:lnTo>
                      <a:pt x="97" y="102"/>
                    </a:lnTo>
                    <a:lnTo>
                      <a:pt x="97" y="102"/>
                    </a:lnTo>
                    <a:lnTo>
                      <a:pt x="97" y="102"/>
                    </a:lnTo>
                    <a:lnTo>
                      <a:pt x="101" y="100"/>
                    </a:lnTo>
                    <a:lnTo>
                      <a:pt x="103" y="100"/>
                    </a:lnTo>
                    <a:lnTo>
                      <a:pt x="104" y="102"/>
                    </a:lnTo>
                    <a:lnTo>
                      <a:pt x="104" y="102"/>
                    </a:lnTo>
                    <a:lnTo>
                      <a:pt x="103" y="116"/>
                    </a:lnTo>
                    <a:lnTo>
                      <a:pt x="100" y="122"/>
                    </a:lnTo>
                    <a:lnTo>
                      <a:pt x="98" y="125"/>
                    </a:lnTo>
                    <a:lnTo>
                      <a:pt x="97" y="125"/>
                    </a:lnTo>
                    <a:lnTo>
                      <a:pt x="97" y="125"/>
                    </a:lnTo>
                    <a:lnTo>
                      <a:pt x="94" y="121"/>
                    </a:lnTo>
                    <a:lnTo>
                      <a:pt x="93" y="118"/>
                    </a:lnTo>
                    <a:lnTo>
                      <a:pt x="93" y="115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88" y="115"/>
                    </a:lnTo>
                    <a:lnTo>
                      <a:pt x="85" y="116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1" y="118"/>
                    </a:lnTo>
                    <a:lnTo>
                      <a:pt x="81" y="118"/>
                    </a:lnTo>
                    <a:lnTo>
                      <a:pt x="84" y="110"/>
                    </a:lnTo>
                    <a:lnTo>
                      <a:pt x="84" y="108"/>
                    </a:lnTo>
                    <a:lnTo>
                      <a:pt x="84" y="105"/>
                    </a:lnTo>
                    <a:lnTo>
                      <a:pt x="84" y="105"/>
                    </a:lnTo>
                    <a:lnTo>
                      <a:pt x="81" y="99"/>
                    </a:lnTo>
                    <a:lnTo>
                      <a:pt x="81" y="96"/>
                    </a:lnTo>
                    <a:lnTo>
                      <a:pt x="79" y="96"/>
                    </a:lnTo>
                    <a:lnTo>
                      <a:pt x="79" y="96"/>
                    </a:lnTo>
                    <a:lnTo>
                      <a:pt x="77" y="102"/>
                    </a:lnTo>
                    <a:lnTo>
                      <a:pt x="75" y="105"/>
                    </a:lnTo>
                    <a:lnTo>
                      <a:pt x="72" y="106"/>
                    </a:lnTo>
                    <a:lnTo>
                      <a:pt x="72" y="106"/>
                    </a:lnTo>
                    <a:lnTo>
                      <a:pt x="69" y="106"/>
                    </a:lnTo>
                    <a:lnTo>
                      <a:pt x="68" y="110"/>
                    </a:lnTo>
                    <a:lnTo>
                      <a:pt x="68" y="110"/>
                    </a:lnTo>
                    <a:lnTo>
                      <a:pt x="65" y="116"/>
                    </a:lnTo>
                    <a:lnTo>
                      <a:pt x="62" y="119"/>
                    </a:lnTo>
                    <a:lnTo>
                      <a:pt x="61" y="121"/>
                    </a:lnTo>
                    <a:lnTo>
                      <a:pt x="61" y="121"/>
                    </a:lnTo>
                    <a:lnTo>
                      <a:pt x="55" y="122"/>
                    </a:lnTo>
                    <a:lnTo>
                      <a:pt x="52" y="121"/>
                    </a:lnTo>
                    <a:lnTo>
                      <a:pt x="49" y="11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93" name="Freeform 947"/>
              <p:cNvSpPr>
                <a:spLocks/>
              </p:cNvSpPr>
              <p:nvPr/>
            </p:nvSpPr>
            <p:spPr bwMode="auto">
              <a:xfrm>
                <a:off x="3461061" y="2364481"/>
                <a:ext cx="102883" cy="123657"/>
              </a:xfrm>
              <a:custGeom>
                <a:avLst/>
                <a:gdLst>
                  <a:gd name="T0" fmla="*/ 46 w 104"/>
                  <a:gd name="T1" fmla="*/ 110 h 125"/>
                  <a:gd name="T2" fmla="*/ 49 w 104"/>
                  <a:gd name="T3" fmla="*/ 106 h 125"/>
                  <a:gd name="T4" fmla="*/ 46 w 104"/>
                  <a:gd name="T5" fmla="*/ 100 h 125"/>
                  <a:gd name="T6" fmla="*/ 11 w 104"/>
                  <a:gd name="T7" fmla="*/ 102 h 125"/>
                  <a:gd name="T8" fmla="*/ 0 w 104"/>
                  <a:gd name="T9" fmla="*/ 99 h 125"/>
                  <a:gd name="T10" fmla="*/ 0 w 104"/>
                  <a:gd name="T11" fmla="*/ 96 h 125"/>
                  <a:gd name="T12" fmla="*/ 7 w 104"/>
                  <a:gd name="T13" fmla="*/ 83 h 125"/>
                  <a:gd name="T14" fmla="*/ 1 w 104"/>
                  <a:gd name="T15" fmla="*/ 83 h 125"/>
                  <a:gd name="T16" fmla="*/ 0 w 104"/>
                  <a:gd name="T17" fmla="*/ 79 h 125"/>
                  <a:gd name="T18" fmla="*/ 11 w 104"/>
                  <a:gd name="T19" fmla="*/ 67 h 125"/>
                  <a:gd name="T20" fmla="*/ 19 w 104"/>
                  <a:gd name="T21" fmla="*/ 64 h 125"/>
                  <a:gd name="T22" fmla="*/ 16 w 104"/>
                  <a:gd name="T23" fmla="*/ 54 h 125"/>
                  <a:gd name="T24" fmla="*/ 23 w 104"/>
                  <a:gd name="T25" fmla="*/ 35 h 125"/>
                  <a:gd name="T26" fmla="*/ 39 w 104"/>
                  <a:gd name="T27" fmla="*/ 9 h 125"/>
                  <a:gd name="T28" fmla="*/ 48 w 104"/>
                  <a:gd name="T29" fmla="*/ 3 h 125"/>
                  <a:gd name="T30" fmla="*/ 56 w 104"/>
                  <a:gd name="T31" fmla="*/ 0 h 125"/>
                  <a:gd name="T32" fmla="*/ 51 w 104"/>
                  <a:gd name="T33" fmla="*/ 9 h 125"/>
                  <a:gd name="T34" fmla="*/ 51 w 104"/>
                  <a:gd name="T35" fmla="*/ 16 h 125"/>
                  <a:gd name="T36" fmla="*/ 42 w 104"/>
                  <a:gd name="T37" fmla="*/ 32 h 125"/>
                  <a:gd name="T38" fmla="*/ 39 w 104"/>
                  <a:gd name="T39" fmla="*/ 51 h 125"/>
                  <a:gd name="T40" fmla="*/ 48 w 104"/>
                  <a:gd name="T41" fmla="*/ 42 h 125"/>
                  <a:gd name="T42" fmla="*/ 52 w 104"/>
                  <a:gd name="T43" fmla="*/ 42 h 125"/>
                  <a:gd name="T44" fmla="*/ 55 w 104"/>
                  <a:gd name="T45" fmla="*/ 48 h 125"/>
                  <a:gd name="T46" fmla="*/ 61 w 104"/>
                  <a:gd name="T47" fmla="*/ 57 h 125"/>
                  <a:gd name="T48" fmla="*/ 68 w 104"/>
                  <a:gd name="T49" fmla="*/ 57 h 125"/>
                  <a:gd name="T50" fmla="*/ 84 w 104"/>
                  <a:gd name="T51" fmla="*/ 58 h 125"/>
                  <a:gd name="T52" fmla="*/ 91 w 104"/>
                  <a:gd name="T53" fmla="*/ 61 h 125"/>
                  <a:gd name="T54" fmla="*/ 90 w 104"/>
                  <a:gd name="T55" fmla="*/ 73 h 125"/>
                  <a:gd name="T56" fmla="*/ 91 w 104"/>
                  <a:gd name="T57" fmla="*/ 80 h 125"/>
                  <a:gd name="T58" fmla="*/ 93 w 104"/>
                  <a:gd name="T59" fmla="*/ 83 h 125"/>
                  <a:gd name="T60" fmla="*/ 95 w 104"/>
                  <a:gd name="T61" fmla="*/ 83 h 125"/>
                  <a:gd name="T62" fmla="*/ 90 w 104"/>
                  <a:gd name="T63" fmla="*/ 96 h 125"/>
                  <a:gd name="T64" fmla="*/ 98 w 104"/>
                  <a:gd name="T65" fmla="*/ 92 h 125"/>
                  <a:gd name="T66" fmla="*/ 100 w 104"/>
                  <a:gd name="T67" fmla="*/ 92 h 125"/>
                  <a:gd name="T68" fmla="*/ 97 w 104"/>
                  <a:gd name="T69" fmla="*/ 102 h 125"/>
                  <a:gd name="T70" fmla="*/ 103 w 104"/>
                  <a:gd name="T71" fmla="*/ 100 h 125"/>
                  <a:gd name="T72" fmla="*/ 103 w 104"/>
                  <a:gd name="T73" fmla="*/ 116 h 125"/>
                  <a:gd name="T74" fmla="*/ 97 w 104"/>
                  <a:gd name="T75" fmla="*/ 125 h 125"/>
                  <a:gd name="T76" fmla="*/ 93 w 104"/>
                  <a:gd name="T77" fmla="*/ 118 h 125"/>
                  <a:gd name="T78" fmla="*/ 90 w 104"/>
                  <a:gd name="T79" fmla="*/ 113 h 125"/>
                  <a:gd name="T80" fmla="*/ 82 w 104"/>
                  <a:gd name="T81" fmla="*/ 118 h 125"/>
                  <a:gd name="T82" fmla="*/ 81 w 104"/>
                  <a:gd name="T83" fmla="*/ 118 h 125"/>
                  <a:gd name="T84" fmla="*/ 84 w 104"/>
                  <a:gd name="T85" fmla="*/ 105 h 125"/>
                  <a:gd name="T86" fmla="*/ 81 w 104"/>
                  <a:gd name="T87" fmla="*/ 96 h 125"/>
                  <a:gd name="T88" fmla="*/ 77 w 104"/>
                  <a:gd name="T89" fmla="*/ 102 h 125"/>
                  <a:gd name="T90" fmla="*/ 72 w 104"/>
                  <a:gd name="T91" fmla="*/ 106 h 125"/>
                  <a:gd name="T92" fmla="*/ 68 w 104"/>
                  <a:gd name="T93" fmla="*/ 110 h 125"/>
                  <a:gd name="T94" fmla="*/ 61 w 104"/>
                  <a:gd name="T95" fmla="*/ 121 h 125"/>
                  <a:gd name="T96" fmla="*/ 52 w 104"/>
                  <a:gd name="T97" fmla="*/ 121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4" h="125">
                    <a:moveTo>
                      <a:pt x="49" y="118"/>
                    </a:moveTo>
                    <a:lnTo>
                      <a:pt x="49" y="118"/>
                    </a:lnTo>
                    <a:lnTo>
                      <a:pt x="46" y="110"/>
                    </a:lnTo>
                    <a:lnTo>
                      <a:pt x="46" y="109"/>
                    </a:lnTo>
                    <a:lnTo>
                      <a:pt x="49" y="106"/>
                    </a:lnTo>
                    <a:lnTo>
                      <a:pt x="49" y="106"/>
                    </a:lnTo>
                    <a:lnTo>
                      <a:pt x="51" y="105"/>
                    </a:lnTo>
                    <a:lnTo>
                      <a:pt x="49" y="102"/>
                    </a:lnTo>
                    <a:lnTo>
                      <a:pt x="46" y="100"/>
                    </a:lnTo>
                    <a:lnTo>
                      <a:pt x="43" y="99"/>
                    </a:lnTo>
                    <a:lnTo>
                      <a:pt x="43" y="99"/>
                    </a:lnTo>
                    <a:lnTo>
                      <a:pt x="11" y="102"/>
                    </a:lnTo>
                    <a:lnTo>
                      <a:pt x="11" y="102"/>
                    </a:lnTo>
                    <a:lnTo>
                      <a:pt x="3" y="100"/>
                    </a:lnTo>
                    <a:lnTo>
                      <a:pt x="0" y="99"/>
                    </a:lnTo>
                    <a:lnTo>
                      <a:pt x="0" y="97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6" y="87"/>
                    </a:lnTo>
                    <a:lnTo>
                      <a:pt x="7" y="84"/>
                    </a:lnTo>
                    <a:lnTo>
                      <a:pt x="7" y="83"/>
                    </a:lnTo>
                    <a:lnTo>
                      <a:pt x="7" y="83"/>
                    </a:lnTo>
                    <a:lnTo>
                      <a:pt x="7" y="83"/>
                    </a:lnTo>
                    <a:lnTo>
                      <a:pt x="1" y="83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0" y="79"/>
                    </a:lnTo>
                    <a:lnTo>
                      <a:pt x="7" y="71"/>
                    </a:lnTo>
                    <a:lnTo>
                      <a:pt x="11" y="67"/>
                    </a:lnTo>
                    <a:lnTo>
                      <a:pt x="11" y="67"/>
                    </a:lnTo>
                    <a:lnTo>
                      <a:pt x="17" y="67"/>
                    </a:lnTo>
                    <a:lnTo>
                      <a:pt x="19" y="66"/>
                    </a:lnTo>
                    <a:lnTo>
                      <a:pt x="19" y="64"/>
                    </a:lnTo>
                    <a:lnTo>
                      <a:pt x="19" y="64"/>
                    </a:lnTo>
                    <a:lnTo>
                      <a:pt x="16" y="5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20" y="42"/>
                    </a:lnTo>
                    <a:lnTo>
                      <a:pt x="23" y="35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42" y="6"/>
                    </a:lnTo>
                    <a:lnTo>
                      <a:pt x="48" y="3"/>
                    </a:lnTo>
                    <a:lnTo>
                      <a:pt x="53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3" y="5"/>
                    </a:lnTo>
                    <a:lnTo>
                      <a:pt x="51" y="9"/>
                    </a:lnTo>
                    <a:lnTo>
                      <a:pt x="51" y="9"/>
                    </a:lnTo>
                    <a:lnTo>
                      <a:pt x="51" y="12"/>
                    </a:lnTo>
                    <a:lnTo>
                      <a:pt x="52" y="15"/>
                    </a:lnTo>
                    <a:lnTo>
                      <a:pt x="51" y="16"/>
                    </a:lnTo>
                    <a:lnTo>
                      <a:pt x="51" y="16"/>
                    </a:lnTo>
                    <a:lnTo>
                      <a:pt x="46" y="24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0" y="42"/>
                    </a:lnTo>
                    <a:lnTo>
                      <a:pt x="39" y="51"/>
                    </a:lnTo>
                    <a:lnTo>
                      <a:pt x="39" y="51"/>
                    </a:lnTo>
                    <a:lnTo>
                      <a:pt x="43" y="44"/>
                    </a:lnTo>
                    <a:lnTo>
                      <a:pt x="48" y="42"/>
                    </a:lnTo>
                    <a:lnTo>
                      <a:pt x="51" y="41"/>
                    </a:lnTo>
                    <a:lnTo>
                      <a:pt x="51" y="41"/>
                    </a:lnTo>
                    <a:lnTo>
                      <a:pt x="52" y="42"/>
                    </a:lnTo>
                    <a:lnTo>
                      <a:pt x="53" y="44"/>
                    </a:lnTo>
                    <a:lnTo>
                      <a:pt x="55" y="48"/>
                    </a:lnTo>
                    <a:lnTo>
                      <a:pt x="55" y="48"/>
                    </a:lnTo>
                    <a:lnTo>
                      <a:pt x="55" y="51"/>
                    </a:lnTo>
                    <a:lnTo>
                      <a:pt x="58" y="55"/>
                    </a:lnTo>
                    <a:lnTo>
                      <a:pt x="61" y="57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8" y="57"/>
                    </a:lnTo>
                    <a:lnTo>
                      <a:pt x="72" y="57"/>
                    </a:lnTo>
                    <a:lnTo>
                      <a:pt x="72" y="57"/>
                    </a:lnTo>
                    <a:lnTo>
                      <a:pt x="84" y="58"/>
                    </a:lnTo>
                    <a:lnTo>
                      <a:pt x="90" y="60"/>
                    </a:lnTo>
                    <a:lnTo>
                      <a:pt x="91" y="61"/>
                    </a:lnTo>
                    <a:lnTo>
                      <a:pt x="91" y="61"/>
                    </a:lnTo>
                    <a:lnTo>
                      <a:pt x="88" y="66"/>
                    </a:lnTo>
                    <a:lnTo>
                      <a:pt x="88" y="68"/>
                    </a:lnTo>
                    <a:lnTo>
                      <a:pt x="90" y="73"/>
                    </a:lnTo>
                    <a:lnTo>
                      <a:pt x="90" y="73"/>
                    </a:lnTo>
                    <a:lnTo>
                      <a:pt x="91" y="77"/>
                    </a:lnTo>
                    <a:lnTo>
                      <a:pt x="91" y="80"/>
                    </a:lnTo>
                    <a:lnTo>
                      <a:pt x="93" y="83"/>
                    </a:lnTo>
                    <a:lnTo>
                      <a:pt x="93" y="83"/>
                    </a:lnTo>
                    <a:lnTo>
                      <a:pt x="93" y="83"/>
                    </a:lnTo>
                    <a:lnTo>
                      <a:pt x="95" y="81"/>
                    </a:lnTo>
                    <a:lnTo>
                      <a:pt x="95" y="81"/>
                    </a:lnTo>
                    <a:lnTo>
                      <a:pt x="95" y="83"/>
                    </a:lnTo>
                    <a:lnTo>
                      <a:pt x="95" y="83"/>
                    </a:lnTo>
                    <a:lnTo>
                      <a:pt x="90" y="96"/>
                    </a:lnTo>
                    <a:lnTo>
                      <a:pt x="90" y="96"/>
                    </a:lnTo>
                    <a:lnTo>
                      <a:pt x="91" y="96"/>
                    </a:lnTo>
                    <a:lnTo>
                      <a:pt x="94" y="93"/>
                    </a:lnTo>
                    <a:lnTo>
                      <a:pt x="98" y="92"/>
                    </a:lnTo>
                    <a:lnTo>
                      <a:pt x="98" y="92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97" y="99"/>
                    </a:lnTo>
                    <a:lnTo>
                      <a:pt x="97" y="102"/>
                    </a:lnTo>
                    <a:lnTo>
                      <a:pt x="97" y="102"/>
                    </a:lnTo>
                    <a:lnTo>
                      <a:pt x="97" y="102"/>
                    </a:lnTo>
                    <a:lnTo>
                      <a:pt x="101" y="100"/>
                    </a:lnTo>
                    <a:lnTo>
                      <a:pt x="103" y="100"/>
                    </a:lnTo>
                    <a:lnTo>
                      <a:pt x="104" y="102"/>
                    </a:lnTo>
                    <a:lnTo>
                      <a:pt x="104" y="102"/>
                    </a:lnTo>
                    <a:lnTo>
                      <a:pt x="103" y="116"/>
                    </a:lnTo>
                    <a:lnTo>
                      <a:pt x="100" y="122"/>
                    </a:lnTo>
                    <a:lnTo>
                      <a:pt x="98" y="125"/>
                    </a:lnTo>
                    <a:lnTo>
                      <a:pt x="97" y="125"/>
                    </a:lnTo>
                    <a:lnTo>
                      <a:pt x="97" y="125"/>
                    </a:lnTo>
                    <a:lnTo>
                      <a:pt x="94" y="121"/>
                    </a:lnTo>
                    <a:lnTo>
                      <a:pt x="93" y="118"/>
                    </a:lnTo>
                    <a:lnTo>
                      <a:pt x="93" y="115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88" y="115"/>
                    </a:lnTo>
                    <a:lnTo>
                      <a:pt x="85" y="116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1" y="118"/>
                    </a:lnTo>
                    <a:lnTo>
                      <a:pt x="81" y="118"/>
                    </a:lnTo>
                    <a:lnTo>
                      <a:pt x="84" y="110"/>
                    </a:lnTo>
                    <a:lnTo>
                      <a:pt x="84" y="108"/>
                    </a:lnTo>
                    <a:lnTo>
                      <a:pt x="84" y="105"/>
                    </a:lnTo>
                    <a:lnTo>
                      <a:pt x="84" y="105"/>
                    </a:lnTo>
                    <a:lnTo>
                      <a:pt x="81" y="99"/>
                    </a:lnTo>
                    <a:lnTo>
                      <a:pt x="81" y="96"/>
                    </a:lnTo>
                    <a:lnTo>
                      <a:pt x="79" y="96"/>
                    </a:lnTo>
                    <a:lnTo>
                      <a:pt x="79" y="96"/>
                    </a:lnTo>
                    <a:lnTo>
                      <a:pt x="77" y="102"/>
                    </a:lnTo>
                    <a:lnTo>
                      <a:pt x="75" y="105"/>
                    </a:lnTo>
                    <a:lnTo>
                      <a:pt x="72" y="106"/>
                    </a:lnTo>
                    <a:lnTo>
                      <a:pt x="72" y="106"/>
                    </a:lnTo>
                    <a:lnTo>
                      <a:pt x="69" y="106"/>
                    </a:lnTo>
                    <a:lnTo>
                      <a:pt x="68" y="110"/>
                    </a:lnTo>
                    <a:lnTo>
                      <a:pt x="68" y="110"/>
                    </a:lnTo>
                    <a:lnTo>
                      <a:pt x="65" y="116"/>
                    </a:lnTo>
                    <a:lnTo>
                      <a:pt x="62" y="119"/>
                    </a:lnTo>
                    <a:lnTo>
                      <a:pt x="61" y="121"/>
                    </a:lnTo>
                    <a:lnTo>
                      <a:pt x="61" y="121"/>
                    </a:lnTo>
                    <a:lnTo>
                      <a:pt x="55" y="122"/>
                    </a:lnTo>
                    <a:lnTo>
                      <a:pt x="52" y="121"/>
                    </a:lnTo>
                    <a:lnTo>
                      <a:pt x="49" y="11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94" name="Freeform 948"/>
              <p:cNvSpPr>
                <a:spLocks/>
              </p:cNvSpPr>
              <p:nvPr/>
            </p:nvSpPr>
            <p:spPr bwMode="auto">
              <a:xfrm>
                <a:off x="3122734" y="2046929"/>
                <a:ext cx="12860" cy="28689"/>
              </a:xfrm>
              <a:custGeom>
                <a:avLst/>
                <a:gdLst>
                  <a:gd name="T0" fmla="*/ 4 w 13"/>
                  <a:gd name="T1" fmla="*/ 29 h 29"/>
                  <a:gd name="T2" fmla="*/ 4 w 13"/>
                  <a:gd name="T3" fmla="*/ 29 h 29"/>
                  <a:gd name="T4" fmla="*/ 1 w 13"/>
                  <a:gd name="T5" fmla="*/ 27 h 29"/>
                  <a:gd name="T6" fmla="*/ 0 w 13"/>
                  <a:gd name="T7" fmla="*/ 24 h 29"/>
                  <a:gd name="T8" fmla="*/ 0 w 13"/>
                  <a:gd name="T9" fmla="*/ 14 h 29"/>
                  <a:gd name="T10" fmla="*/ 1 w 13"/>
                  <a:gd name="T11" fmla="*/ 4 h 29"/>
                  <a:gd name="T12" fmla="*/ 3 w 13"/>
                  <a:gd name="T13" fmla="*/ 1 h 29"/>
                  <a:gd name="T14" fmla="*/ 4 w 13"/>
                  <a:gd name="T15" fmla="*/ 0 h 29"/>
                  <a:gd name="T16" fmla="*/ 4 w 13"/>
                  <a:gd name="T17" fmla="*/ 0 h 29"/>
                  <a:gd name="T18" fmla="*/ 9 w 13"/>
                  <a:gd name="T19" fmla="*/ 0 h 29"/>
                  <a:gd name="T20" fmla="*/ 12 w 13"/>
                  <a:gd name="T21" fmla="*/ 3 h 29"/>
                  <a:gd name="T22" fmla="*/ 13 w 13"/>
                  <a:gd name="T23" fmla="*/ 7 h 29"/>
                  <a:gd name="T24" fmla="*/ 13 w 13"/>
                  <a:gd name="T25" fmla="*/ 10 h 29"/>
                  <a:gd name="T26" fmla="*/ 13 w 13"/>
                  <a:gd name="T27" fmla="*/ 10 h 29"/>
                  <a:gd name="T28" fmla="*/ 13 w 13"/>
                  <a:gd name="T29" fmla="*/ 14 h 29"/>
                  <a:gd name="T30" fmla="*/ 10 w 13"/>
                  <a:gd name="T31" fmla="*/ 22 h 29"/>
                  <a:gd name="T32" fmla="*/ 7 w 13"/>
                  <a:gd name="T33" fmla="*/ 27 h 29"/>
                  <a:gd name="T34" fmla="*/ 6 w 13"/>
                  <a:gd name="T35" fmla="*/ 29 h 29"/>
                  <a:gd name="T36" fmla="*/ 4 w 13"/>
                  <a:gd name="T37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29">
                    <a:moveTo>
                      <a:pt x="4" y="29"/>
                    </a:moveTo>
                    <a:lnTo>
                      <a:pt x="4" y="29"/>
                    </a:lnTo>
                    <a:lnTo>
                      <a:pt x="1" y="27"/>
                    </a:lnTo>
                    <a:lnTo>
                      <a:pt x="0" y="24"/>
                    </a:lnTo>
                    <a:lnTo>
                      <a:pt x="0" y="14"/>
                    </a:lnTo>
                    <a:lnTo>
                      <a:pt x="1" y="4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12" y="3"/>
                    </a:lnTo>
                    <a:lnTo>
                      <a:pt x="13" y="7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3" y="14"/>
                    </a:lnTo>
                    <a:lnTo>
                      <a:pt x="10" y="22"/>
                    </a:lnTo>
                    <a:lnTo>
                      <a:pt x="7" y="27"/>
                    </a:lnTo>
                    <a:lnTo>
                      <a:pt x="6" y="29"/>
                    </a:lnTo>
                    <a:lnTo>
                      <a:pt x="4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95" name="Freeform 949"/>
              <p:cNvSpPr>
                <a:spLocks/>
              </p:cNvSpPr>
              <p:nvPr/>
            </p:nvSpPr>
            <p:spPr bwMode="auto">
              <a:xfrm>
                <a:off x="3122734" y="2046929"/>
                <a:ext cx="12860" cy="28689"/>
              </a:xfrm>
              <a:custGeom>
                <a:avLst/>
                <a:gdLst>
                  <a:gd name="T0" fmla="*/ 4 w 13"/>
                  <a:gd name="T1" fmla="*/ 29 h 29"/>
                  <a:gd name="T2" fmla="*/ 4 w 13"/>
                  <a:gd name="T3" fmla="*/ 29 h 29"/>
                  <a:gd name="T4" fmla="*/ 1 w 13"/>
                  <a:gd name="T5" fmla="*/ 27 h 29"/>
                  <a:gd name="T6" fmla="*/ 0 w 13"/>
                  <a:gd name="T7" fmla="*/ 24 h 29"/>
                  <a:gd name="T8" fmla="*/ 0 w 13"/>
                  <a:gd name="T9" fmla="*/ 14 h 29"/>
                  <a:gd name="T10" fmla="*/ 1 w 13"/>
                  <a:gd name="T11" fmla="*/ 4 h 29"/>
                  <a:gd name="T12" fmla="*/ 3 w 13"/>
                  <a:gd name="T13" fmla="*/ 1 h 29"/>
                  <a:gd name="T14" fmla="*/ 4 w 13"/>
                  <a:gd name="T15" fmla="*/ 0 h 29"/>
                  <a:gd name="T16" fmla="*/ 4 w 13"/>
                  <a:gd name="T17" fmla="*/ 0 h 29"/>
                  <a:gd name="T18" fmla="*/ 9 w 13"/>
                  <a:gd name="T19" fmla="*/ 0 h 29"/>
                  <a:gd name="T20" fmla="*/ 12 w 13"/>
                  <a:gd name="T21" fmla="*/ 3 h 29"/>
                  <a:gd name="T22" fmla="*/ 13 w 13"/>
                  <a:gd name="T23" fmla="*/ 7 h 29"/>
                  <a:gd name="T24" fmla="*/ 13 w 13"/>
                  <a:gd name="T25" fmla="*/ 10 h 29"/>
                  <a:gd name="T26" fmla="*/ 13 w 13"/>
                  <a:gd name="T27" fmla="*/ 10 h 29"/>
                  <a:gd name="T28" fmla="*/ 13 w 13"/>
                  <a:gd name="T29" fmla="*/ 14 h 29"/>
                  <a:gd name="T30" fmla="*/ 10 w 13"/>
                  <a:gd name="T31" fmla="*/ 22 h 29"/>
                  <a:gd name="T32" fmla="*/ 7 w 13"/>
                  <a:gd name="T33" fmla="*/ 27 h 29"/>
                  <a:gd name="T34" fmla="*/ 6 w 13"/>
                  <a:gd name="T35" fmla="*/ 29 h 29"/>
                  <a:gd name="T36" fmla="*/ 4 w 13"/>
                  <a:gd name="T37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29">
                    <a:moveTo>
                      <a:pt x="4" y="29"/>
                    </a:moveTo>
                    <a:lnTo>
                      <a:pt x="4" y="29"/>
                    </a:lnTo>
                    <a:lnTo>
                      <a:pt x="1" y="27"/>
                    </a:lnTo>
                    <a:lnTo>
                      <a:pt x="0" y="24"/>
                    </a:lnTo>
                    <a:lnTo>
                      <a:pt x="0" y="14"/>
                    </a:lnTo>
                    <a:lnTo>
                      <a:pt x="1" y="4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12" y="3"/>
                    </a:lnTo>
                    <a:lnTo>
                      <a:pt x="13" y="7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3" y="14"/>
                    </a:lnTo>
                    <a:lnTo>
                      <a:pt x="10" y="22"/>
                    </a:lnTo>
                    <a:lnTo>
                      <a:pt x="7" y="27"/>
                    </a:lnTo>
                    <a:lnTo>
                      <a:pt x="6" y="29"/>
                    </a:lnTo>
                    <a:lnTo>
                      <a:pt x="4" y="2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96" name="Freeform 950"/>
              <p:cNvSpPr>
                <a:spLocks/>
              </p:cNvSpPr>
              <p:nvPr/>
            </p:nvSpPr>
            <p:spPr bwMode="auto">
              <a:xfrm>
                <a:off x="3067336" y="2032090"/>
                <a:ext cx="35613" cy="33635"/>
              </a:xfrm>
              <a:custGeom>
                <a:avLst/>
                <a:gdLst>
                  <a:gd name="T0" fmla="*/ 8 w 36"/>
                  <a:gd name="T1" fmla="*/ 29 h 34"/>
                  <a:gd name="T2" fmla="*/ 8 w 36"/>
                  <a:gd name="T3" fmla="*/ 29 h 34"/>
                  <a:gd name="T4" fmla="*/ 7 w 36"/>
                  <a:gd name="T5" fmla="*/ 29 h 34"/>
                  <a:gd name="T6" fmla="*/ 5 w 36"/>
                  <a:gd name="T7" fmla="*/ 28 h 34"/>
                  <a:gd name="T8" fmla="*/ 5 w 36"/>
                  <a:gd name="T9" fmla="*/ 28 h 34"/>
                  <a:gd name="T10" fmla="*/ 4 w 36"/>
                  <a:gd name="T11" fmla="*/ 28 h 34"/>
                  <a:gd name="T12" fmla="*/ 4 w 36"/>
                  <a:gd name="T13" fmla="*/ 28 h 34"/>
                  <a:gd name="T14" fmla="*/ 2 w 36"/>
                  <a:gd name="T15" fmla="*/ 32 h 34"/>
                  <a:gd name="T16" fmla="*/ 1 w 36"/>
                  <a:gd name="T17" fmla="*/ 34 h 34"/>
                  <a:gd name="T18" fmla="*/ 0 w 36"/>
                  <a:gd name="T19" fmla="*/ 32 h 34"/>
                  <a:gd name="T20" fmla="*/ 0 w 36"/>
                  <a:gd name="T21" fmla="*/ 32 h 34"/>
                  <a:gd name="T22" fmla="*/ 0 w 36"/>
                  <a:gd name="T23" fmla="*/ 29 h 34"/>
                  <a:gd name="T24" fmla="*/ 0 w 36"/>
                  <a:gd name="T25" fmla="*/ 26 h 34"/>
                  <a:gd name="T26" fmla="*/ 2 w 36"/>
                  <a:gd name="T27" fmla="*/ 19 h 34"/>
                  <a:gd name="T28" fmla="*/ 2 w 36"/>
                  <a:gd name="T29" fmla="*/ 19 h 34"/>
                  <a:gd name="T30" fmla="*/ 10 w 36"/>
                  <a:gd name="T31" fmla="*/ 10 h 34"/>
                  <a:gd name="T32" fmla="*/ 13 w 36"/>
                  <a:gd name="T33" fmla="*/ 6 h 34"/>
                  <a:gd name="T34" fmla="*/ 17 w 36"/>
                  <a:gd name="T35" fmla="*/ 3 h 34"/>
                  <a:gd name="T36" fmla="*/ 17 w 36"/>
                  <a:gd name="T37" fmla="*/ 3 h 34"/>
                  <a:gd name="T38" fmla="*/ 24 w 36"/>
                  <a:gd name="T39" fmla="*/ 3 h 34"/>
                  <a:gd name="T40" fmla="*/ 30 w 36"/>
                  <a:gd name="T41" fmla="*/ 3 h 34"/>
                  <a:gd name="T42" fmla="*/ 30 w 36"/>
                  <a:gd name="T43" fmla="*/ 3 h 34"/>
                  <a:gd name="T44" fmla="*/ 34 w 36"/>
                  <a:gd name="T45" fmla="*/ 0 h 34"/>
                  <a:gd name="T46" fmla="*/ 36 w 36"/>
                  <a:gd name="T47" fmla="*/ 0 h 34"/>
                  <a:gd name="T48" fmla="*/ 36 w 36"/>
                  <a:gd name="T49" fmla="*/ 2 h 34"/>
                  <a:gd name="T50" fmla="*/ 36 w 36"/>
                  <a:gd name="T51" fmla="*/ 2 h 34"/>
                  <a:gd name="T52" fmla="*/ 34 w 36"/>
                  <a:gd name="T53" fmla="*/ 8 h 34"/>
                  <a:gd name="T54" fmla="*/ 31 w 36"/>
                  <a:gd name="T55" fmla="*/ 13 h 34"/>
                  <a:gd name="T56" fmla="*/ 27 w 36"/>
                  <a:gd name="T57" fmla="*/ 21 h 34"/>
                  <a:gd name="T58" fmla="*/ 21 w 36"/>
                  <a:gd name="T59" fmla="*/ 23 h 34"/>
                  <a:gd name="T60" fmla="*/ 21 w 36"/>
                  <a:gd name="T61" fmla="*/ 23 h 34"/>
                  <a:gd name="T62" fmla="*/ 14 w 36"/>
                  <a:gd name="T63" fmla="*/ 28 h 34"/>
                  <a:gd name="T64" fmla="*/ 8 w 36"/>
                  <a:gd name="T65" fmla="*/ 2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6" h="34">
                    <a:moveTo>
                      <a:pt x="8" y="29"/>
                    </a:moveTo>
                    <a:lnTo>
                      <a:pt x="8" y="29"/>
                    </a:lnTo>
                    <a:lnTo>
                      <a:pt x="7" y="29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2" y="32"/>
                    </a:lnTo>
                    <a:lnTo>
                      <a:pt x="1" y="34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0" y="26"/>
                    </a:lnTo>
                    <a:lnTo>
                      <a:pt x="2" y="19"/>
                    </a:lnTo>
                    <a:lnTo>
                      <a:pt x="2" y="19"/>
                    </a:lnTo>
                    <a:lnTo>
                      <a:pt x="10" y="10"/>
                    </a:lnTo>
                    <a:lnTo>
                      <a:pt x="13" y="6"/>
                    </a:lnTo>
                    <a:lnTo>
                      <a:pt x="17" y="3"/>
                    </a:lnTo>
                    <a:lnTo>
                      <a:pt x="17" y="3"/>
                    </a:lnTo>
                    <a:lnTo>
                      <a:pt x="24" y="3"/>
                    </a:lnTo>
                    <a:lnTo>
                      <a:pt x="30" y="3"/>
                    </a:lnTo>
                    <a:lnTo>
                      <a:pt x="30" y="3"/>
                    </a:lnTo>
                    <a:lnTo>
                      <a:pt x="34" y="0"/>
                    </a:lnTo>
                    <a:lnTo>
                      <a:pt x="36" y="0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4" y="8"/>
                    </a:lnTo>
                    <a:lnTo>
                      <a:pt x="31" y="13"/>
                    </a:lnTo>
                    <a:lnTo>
                      <a:pt x="27" y="21"/>
                    </a:lnTo>
                    <a:lnTo>
                      <a:pt x="21" y="23"/>
                    </a:lnTo>
                    <a:lnTo>
                      <a:pt x="21" y="23"/>
                    </a:lnTo>
                    <a:lnTo>
                      <a:pt x="14" y="28"/>
                    </a:lnTo>
                    <a:lnTo>
                      <a:pt x="8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97" name="Freeform 951"/>
              <p:cNvSpPr>
                <a:spLocks/>
              </p:cNvSpPr>
              <p:nvPr/>
            </p:nvSpPr>
            <p:spPr bwMode="auto">
              <a:xfrm>
                <a:off x="3067336" y="2032090"/>
                <a:ext cx="35613" cy="33635"/>
              </a:xfrm>
              <a:custGeom>
                <a:avLst/>
                <a:gdLst>
                  <a:gd name="T0" fmla="*/ 8 w 36"/>
                  <a:gd name="T1" fmla="*/ 29 h 34"/>
                  <a:gd name="T2" fmla="*/ 8 w 36"/>
                  <a:gd name="T3" fmla="*/ 29 h 34"/>
                  <a:gd name="T4" fmla="*/ 7 w 36"/>
                  <a:gd name="T5" fmla="*/ 29 h 34"/>
                  <a:gd name="T6" fmla="*/ 5 w 36"/>
                  <a:gd name="T7" fmla="*/ 28 h 34"/>
                  <a:gd name="T8" fmla="*/ 5 w 36"/>
                  <a:gd name="T9" fmla="*/ 28 h 34"/>
                  <a:gd name="T10" fmla="*/ 4 w 36"/>
                  <a:gd name="T11" fmla="*/ 28 h 34"/>
                  <a:gd name="T12" fmla="*/ 4 w 36"/>
                  <a:gd name="T13" fmla="*/ 28 h 34"/>
                  <a:gd name="T14" fmla="*/ 2 w 36"/>
                  <a:gd name="T15" fmla="*/ 32 h 34"/>
                  <a:gd name="T16" fmla="*/ 1 w 36"/>
                  <a:gd name="T17" fmla="*/ 34 h 34"/>
                  <a:gd name="T18" fmla="*/ 0 w 36"/>
                  <a:gd name="T19" fmla="*/ 32 h 34"/>
                  <a:gd name="T20" fmla="*/ 0 w 36"/>
                  <a:gd name="T21" fmla="*/ 32 h 34"/>
                  <a:gd name="T22" fmla="*/ 0 w 36"/>
                  <a:gd name="T23" fmla="*/ 29 h 34"/>
                  <a:gd name="T24" fmla="*/ 0 w 36"/>
                  <a:gd name="T25" fmla="*/ 26 h 34"/>
                  <a:gd name="T26" fmla="*/ 2 w 36"/>
                  <a:gd name="T27" fmla="*/ 19 h 34"/>
                  <a:gd name="T28" fmla="*/ 2 w 36"/>
                  <a:gd name="T29" fmla="*/ 19 h 34"/>
                  <a:gd name="T30" fmla="*/ 10 w 36"/>
                  <a:gd name="T31" fmla="*/ 10 h 34"/>
                  <a:gd name="T32" fmla="*/ 13 w 36"/>
                  <a:gd name="T33" fmla="*/ 6 h 34"/>
                  <a:gd name="T34" fmla="*/ 17 w 36"/>
                  <a:gd name="T35" fmla="*/ 3 h 34"/>
                  <a:gd name="T36" fmla="*/ 17 w 36"/>
                  <a:gd name="T37" fmla="*/ 3 h 34"/>
                  <a:gd name="T38" fmla="*/ 24 w 36"/>
                  <a:gd name="T39" fmla="*/ 3 h 34"/>
                  <a:gd name="T40" fmla="*/ 30 w 36"/>
                  <a:gd name="T41" fmla="*/ 3 h 34"/>
                  <a:gd name="T42" fmla="*/ 30 w 36"/>
                  <a:gd name="T43" fmla="*/ 3 h 34"/>
                  <a:gd name="T44" fmla="*/ 34 w 36"/>
                  <a:gd name="T45" fmla="*/ 0 h 34"/>
                  <a:gd name="T46" fmla="*/ 36 w 36"/>
                  <a:gd name="T47" fmla="*/ 0 h 34"/>
                  <a:gd name="T48" fmla="*/ 36 w 36"/>
                  <a:gd name="T49" fmla="*/ 2 h 34"/>
                  <a:gd name="T50" fmla="*/ 36 w 36"/>
                  <a:gd name="T51" fmla="*/ 2 h 34"/>
                  <a:gd name="T52" fmla="*/ 34 w 36"/>
                  <a:gd name="T53" fmla="*/ 8 h 34"/>
                  <a:gd name="T54" fmla="*/ 31 w 36"/>
                  <a:gd name="T55" fmla="*/ 13 h 34"/>
                  <a:gd name="T56" fmla="*/ 27 w 36"/>
                  <a:gd name="T57" fmla="*/ 21 h 34"/>
                  <a:gd name="T58" fmla="*/ 21 w 36"/>
                  <a:gd name="T59" fmla="*/ 23 h 34"/>
                  <a:gd name="T60" fmla="*/ 21 w 36"/>
                  <a:gd name="T61" fmla="*/ 23 h 34"/>
                  <a:gd name="T62" fmla="*/ 14 w 36"/>
                  <a:gd name="T63" fmla="*/ 28 h 34"/>
                  <a:gd name="T64" fmla="*/ 8 w 36"/>
                  <a:gd name="T65" fmla="*/ 2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6" h="34">
                    <a:moveTo>
                      <a:pt x="8" y="29"/>
                    </a:moveTo>
                    <a:lnTo>
                      <a:pt x="8" y="29"/>
                    </a:lnTo>
                    <a:lnTo>
                      <a:pt x="7" y="29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2" y="32"/>
                    </a:lnTo>
                    <a:lnTo>
                      <a:pt x="1" y="34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0" y="26"/>
                    </a:lnTo>
                    <a:lnTo>
                      <a:pt x="2" y="19"/>
                    </a:lnTo>
                    <a:lnTo>
                      <a:pt x="2" y="19"/>
                    </a:lnTo>
                    <a:lnTo>
                      <a:pt x="10" y="10"/>
                    </a:lnTo>
                    <a:lnTo>
                      <a:pt x="13" y="6"/>
                    </a:lnTo>
                    <a:lnTo>
                      <a:pt x="17" y="3"/>
                    </a:lnTo>
                    <a:lnTo>
                      <a:pt x="17" y="3"/>
                    </a:lnTo>
                    <a:lnTo>
                      <a:pt x="24" y="3"/>
                    </a:lnTo>
                    <a:lnTo>
                      <a:pt x="30" y="3"/>
                    </a:lnTo>
                    <a:lnTo>
                      <a:pt x="30" y="3"/>
                    </a:lnTo>
                    <a:lnTo>
                      <a:pt x="34" y="0"/>
                    </a:lnTo>
                    <a:lnTo>
                      <a:pt x="36" y="0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4" y="8"/>
                    </a:lnTo>
                    <a:lnTo>
                      <a:pt x="31" y="13"/>
                    </a:lnTo>
                    <a:lnTo>
                      <a:pt x="27" y="21"/>
                    </a:lnTo>
                    <a:lnTo>
                      <a:pt x="21" y="23"/>
                    </a:lnTo>
                    <a:lnTo>
                      <a:pt x="21" y="23"/>
                    </a:lnTo>
                    <a:lnTo>
                      <a:pt x="14" y="28"/>
                    </a:lnTo>
                    <a:lnTo>
                      <a:pt x="8" y="2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98" name="Freeform 952"/>
              <p:cNvSpPr>
                <a:spLocks/>
              </p:cNvSpPr>
              <p:nvPr/>
            </p:nvSpPr>
            <p:spPr bwMode="auto">
              <a:xfrm>
                <a:off x="3011937" y="1926239"/>
                <a:ext cx="106840" cy="105851"/>
              </a:xfrm>
              <a:custGeom>
                <a:avLst/>
                <a:gdLst>
                  <a:gd name="T0" fmla="*/ 24 w 108"/>
                  <a:gd name="T1" fmla="*/ 107 h 107"/>
                  <a:gd name="T2" fmla="*/ 21 w 108"/>
                  <a:gd name="T3" fmla="*/ 104 h 107"/>
                  <a:gd name="T4" fmla="*/ 22 w 108"/>
                  <a:gd name="T5" fmla="*/ 91 h 107"/>
                  <a:gd name="T6" fmla="*/ 21 w 108"/>
                  <a:gd name="T7" fmla="*/ 88 h 107"/>
                  <a:gd name="T8" fmla="*/ 11 w 108"/>
                  <a:gd name="T9" fmla="*/ 87 h 107"/>
                  <a:gd name="T10" fmla="*/ 2 w 108"/>
                  <a:gd name="T11" fmla="*/ 86 h 107"/>
                  <a:gd name="T12" fmla="*/ 0 w 108"/>
                  <a:gd name="T13" fmla="*/ 84 h 107"/>
                  <a:gd name="T14" fmla="*/ 0 w 108"/>
                  <a:gd name="T15" fmla="*/ 77 h 107"/>
                  <a:gd name="T16" fmla="*/ 8 w 108"/>
                  <a:gd name="T17" fmla="*/ 71 h 107"/>
                  <a:gd name="T18" fmla="*/ 18 w 108"/>
                  <a:gd name="T19" fmla="*/ 65 h 107"/>
                  <a:gd name="T20" fmla="*/ 22 w 108"/>
                  <a:gd name="T21" fmla="*/ 60 h 107"/>
                  <a:gd name="T22" fmla="*/ 22 w 108"/>
                  <a:gd name="T23" fmla="*/ 35 h 107"/>
                  <a:gd name="T24" fmla="*/ 24 w 108"/>
                  <a:gd name="T25" fmla="*/ 13 h 107"/>
                  <a:gd name="T26" fmla="*/ 27 w 108"/>
                  <a:gd name="T27" fmla="*/ 2 h 107"/>
                  <a:gd name="T28" fmla="*/ 29 w 108"/>
                  <a:gd name="T29" fmla="*/ 0 h 107"/>
                  <a:gd name="T30" fmla="*/ 35 w 108"/>
                  <a:gd name="T31" fmla="*/ 3 h 107"/>
                  <a:gd name="T32" fmla="*/ 38 w 108"/>
                  <a:gd name="T33" fmla="*/ 10 h 107"/>
                  <a:gd name="T34" fmla="*/ 37 w 108"/>
                  <a:gd name="T35" fmla="*/ 19 h 107"/>
                  <a:gd name="T36" fmla="*/ 38 w 108"/>
                  <a:gd name="T37" fmla="*/ 25 h 107"/>
                  <a:gd name="T38" fmla="*/ 38 w 108"/>
                  <a:gd name="T39" fmla="*/ 25 h 107"/>
                  <a:gd name="T40" fmla="*/ 41 w 108"/>
                  <a:gd name="T41" fmla="*/ 23 h 107"/>
                  <a:gd name="T42" fmla="*/ 42 w 108"/>
                  <a:gd name="T43" fmla="*/ 16 h 107"/>
                  <a:gd name="T44" fmla="*/ 44 w 108"/>
                  <a:gd name="T45" fmla="*/ 16 h 107"/>
                  <a:gd name="T46" fmla="*/ 47 w 108"/>
                  <a:gd name="T47" fmla="*/ 18 h 107"/>
                  <a:gd name="T48" fmla="*/ 53 w 108"/>
                  <a:gd name="T49" fmla="*/ 25 h 107"/>
                  <a:gd name="T50" fmla="*/ 56 w 108"/>
                  <a:gd name="T51" fmla="*/ 26 h 107"/>
                  <a:gd name="T52" fmla="*/ 61 w 108"/>
                  <a:gd name="T53" fmla="*/ 31 h 107"/>
                  <a:gd name="T54" fmla="*/ 63 w 108"/>
                  <a:gd name="T55" fmla="*/ 38 h 107"/>
                  <a:gd name="T56" fmla="*/ 70 w 108"/>
                  <a:gd name="T57" fmla="*/ 44 h 107"/>
                  <a:gd name="T58" fmla="*/ 80 w 108"/>
                  <a:gd name="T59" fmla="*/ 46 h 107"/>
                  <a:gd name="T60" fmla="*/ 83 w 108"/>
                  <a:gd name="T61" fmla="*/ 52 h 107"/>
                  <a:gd name="T62" fmla="*/ 86 w 108"/>
                  <a:gd name="T63" fmla="*/ 71 h 107"/>
                  <a:gd name="T64" fmla="*/ 87 w 108"/>
                  <a:gd name="T65" fmla="*/ 74 h 107"/>
                  <a:gd name="T66" fmla="*/ 89 w 108"/>
                  <a:gd name="T67" fmla="*/ 73 h 107"/>
                  <a:gd name="T68" fmla="*/ 92 w 108"/>
                  <a:gd name="T69" fmla="*/ 68 h 107"/>
                  <a:gd name="T70" fmla="*/ 95 w 108"/>
                  <a:gd name="T71" fmla="*/ 68 h 107"/>
                  <a:gd name="T72" fmla="*/ 106 w 108"/>
                  <a:gd name="T73" fmla="*/ 74 h 107"/>
                  <a:gd name="T74" fmla="*/ 108 w 108"/>
                  <a:gd name="T75" fmla="*/ 75 h 107"/>
                  <a:gd name="T76" fmla="*/ 105 w 108"/>
                  <a:gd name="T77" fmla="*/ 84 h 107"/>
                  <a:gd name="T78" fmla="*/ 96 w 108"/>
                  <a:gd name="T79" fmla="*/ 90 h 107"/>
                  <a:gd name="T80" fmla="*/ 90 w 108"/>
                  <a:gd name="T81" fmla="*/ 88 h 107"/>
                  <a:gd name="T82" fmla="*/ 82 w 108"/>
                  <a:gd name="T83" fmla="*/ 84 h 107"/>
                  <a:gd name="T84" fmla="*/ 76 w 108"/>
                  <a:gd name="T85" fmla="*/ 81 h 107"/>
                  <a:gd name="T86" fmla="*/ 69 w 108"/>
                  <a:gd name="T87" fmla="*/ 78 h 107"/>
                  <a:gd name="T88" fmla="*/ 69 w 108"/>
                  <a:gd name="T89" fmla="*/ 74 h 107"/>
                  <a:gd name="T90" fmla="*/ 69 w 108"/>
                  <a:gd name="T91" fmla="*/ 71 h 107"/>
                  <a:gd name="T92" fmla="*/ 67 w 108"/>
                  <a:gd name="T93" fmla="*/ 64 h 107"/>
                  <a:gd name="T94" fmla="*/ 66 w 108"/>
                  <a:gd name="T95" fmla="*/ 64 h 107"/>
                  <a:gd name="T96" fmla="*/ 58 w 108"/>
                  <a:gd name="T97" fmla="*/ 70 h 107"/>
                  <a:gd name="T98" fmla="*/ 54 w 108"/>
                  <a:gd name="T99" fmla="*/ 75 h 107"/>
                  <a:gd name="T100" fmla="*/ 56 w 108"/>
                  <a:gd name="T101" fmla="*/ 83 h 107"/>
                  <a:gd name="T102" fmla="*/ 54 w 108"/>
                  <a:gd name="T103" fmla="*/ 84 h 107"/>
                  <a:gd name="T104" fmla="*/ 48 w 108"/>
                  <a:gd name="T105" fmla="*/ 94 h 107"/>
                  <a:gd name="T106" fmla="*/ 45 w 108"/>
                  <a:gd name="T107" fmla="*/ 103 h 107"/>
                  <a:gd name="T108" fmla="*/ 29 w 108"/>
                  <a:gd name="T109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8" h="107">
                    <a:moveTo>
                      <a:pt x="24" y="107"/>
                    </a:moveTo>
                    <a:lnTo>
                      <a:pt x="24" y="107"/>
                    </a:lnTo>
                    <a:lnTo>
                      <a:pt x="22" y="107"/>
                    </a:lnTo>
                    <a:lnTo>
                      <a:pt x="21" y="104"/>
                    </a:lnTo>
                    <a:lnTo>
                      <a:pt x="21" y="99"/>
                    </a:lnTo>
                    <a:lnTo>
                      <a:pt x="22" y="91"/>
                    </a:lnTo>
                    <a:lnTo>
                      <a:pt x="22" y="88"/>
                    </a:lnTo>
                    <a:lnTo>
                      <a:pt x="21" y="88"/>
                    </a:lnTo>
                    <a:lnTo>
                      <a:pt x="21" y="88"/>
                    </a:lnTo>
                    <a:lnTo>
                      <a:pt x="11" y="87"/>
                    </a:lnTo>
                    <a:lnTo>
                      <a:pt x="5" y="87"/>
                    </a:lnTo>
                    <a:lnTo>
                      <a:pt x="2" y="86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77"/>
                    </a:lnTo>
                    <a:lnTo>
                      <a:pt x="2" y="74"/>
                    </a:lnTo>
                    <a:lnTo>
                      <a:pt x="8" y="71"/>
                    </a:lnTo>
                    <a:lnTo>
                      <a:pt x="8" y="71"/>
                    </a:lnTo>
                    <a:lnTo>
                      <a:pt x="18" y="65"/>
                    </a:lnTo>
                    <a:lnTo>
                      <a:pt x="21" y="64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35"/>
                    </a:lnTo>
                    <a:lnTo>
                      <a:pt x="24" y="13"/>
                    </a:lnTo>
                    <a:lnTo>
                      <a:pt x="24" y="13"/>
                    </a:lnTo>
                    <a:lnTo>
                      <a:pt x="27" y="4"/>
                    </a:lnTo>
                    <a:lnTo>
                      <a:pt x="27" y="2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2" y="2"/>
                    </a:lnTo>
                    <a:lnTo>
                      <a:pt x="35" y="3"/>
                    </a:lnTo>
                    <a:lnTo>
                      <a:pt x="37" y="7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7" y="19"/>
                    </a:lnTo>
                    <a:lnTo>
                      <a:pt x="37" y="23"/>
                    </a:lnTo>
                    <a:lnTo>
                      <a:pt x="38" y="25"/>
                    </a:lnTo>
                    <a:lnTo>
                      <a:pt x="38" y="25"/>
                    </a:lnTo>
                    <a:lnTo>
                      <a:pt x="38" y="25"/>
                    </a:lnTo>
                    <a:lnTo>
                      <a:pt x="40" y="25"/>
                    </a:lnTo>
                    <a:lnTo>
                      <a:pt x="41" y="23"/>
                    </a:lnTo>
                    <a:lnTo>
                      <a:pt x="41" y="19"/>
                    </a:lnTo>
                    <a:lnTo>
                      <a:pt x="42" y="16"/>
                    </a:lnTo>
                    <a:lnTo>
                      <a:pt x="44" y="15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7" y="18"/>
                    </a:lnTo>
                    <a:lnTo>
                      <a:pt x="50" y="20"/>
                    </a:lnTo>
                    <a:lnTo>
                      <a:pt x="53" y="25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8" y="28"/>
                    </a:lnTo>
                    <a:lnTo>
                      <a:pt x="61" y="31"/>
                    </a:lnTo>
                    <a:lnTo>
                      <a:pt x="63" y="38"/>
                    </a:lnTo>
                    <a:lnTo>
                      <a:pt x="63" y="38"/>
                    </a:lnTo>
                    <a:lnTo>
                      <a:pt x="66" y="42"/>
                    </a:lnTo>
                    <a:lnTo>
                      <a:pt x="70" y="44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2" y="48"/>
                    </a:lnTo>
                    <a:lnTo>
                      <a:pt x="83" y="52"/>
                    </a:lnTo>
                    <a:lnTo>
                      <a:pt x="84" y="62"/>
                    </a:lnTo>
                    <a:lnTo>
                      <a:pt x="86" y="71"/>
                    </a:lnTo>
                    <a:lnTo>
                      <a:pt x="86" y="74"/>
                    </a:lnTo>
                    <a:lnTo>
                      <a:pt x="87" y="74"/>
                    </a:lnTo>
                    <a:lnTo>
                      <a:pt x="87" y="74"/>
                    </a:lnTo>
                    <a:lnTo>
                      <a:pt x="89" y="73"/>
                    </a:lnTo>
                    <a:lnTo>
                      <a:pt x="90" y="70"/>
                    </a:lnTo>
                    <a:lnTo>
                      <a:pt x="92" y="68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103" y="73"/>
                    </a:lnTo>
                    <a:lnTo>
                      <a:pt x="106" y="74"/>
                    </a:lnTo>
                    <a:lnTo>
                      <a:pt x="108" y="75"/>
                    </a:lnTo>
                    <a:lnTo>
                      <a:pt x="108" y="75"/>
                    </a:lnTo>
                    <a:lnTo>
                      <a:pt x="108" y="80"/>
                    </a:lnTo>
                    <a:lnTo>
                      <a:pt x="105" y="84"/>
                    </a:lnTo>
                    <a:lnTo>
                      <a:pt x="100" y="88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0" y="88"/>
                    </a:lnTo>
                    <a:lnTo>
                      <a:pt x="86" y="86"/>
                    </a:lnTo>
                    <a:lnTo>
                      <a:pt x="82" y="84"/>
                    </a:lnTo>
                    <a:lnTo>
                      <a:pt x="76" y="81"/>
                    </a:lnTo>
                    <a:lnTo>
                      <a:pt x="76" y="81"/>
                    </a:lnTo>
                    <a:lnTo>
                      <a:pt x="71" y="80"/>
                    </a:lnTo>
                    <a:lnTo>
                      <a:pt x="69" y="78"/>
                    </a:lnTo>
                    <a:lnTo>
                      <a:pt x="67" y="75"/>
                    </a:lnTo>
                    <a:lnTo>
                      <a:pt x="69" y="74"/>
                    </a:lnTo>
                    <a:lnTo>
                      <a:pt x="69" y="74"/>
                    </a:lnTo>
                    <a:lnTo>
                      <a:pt x="69" y="71"/>
                    </a:lnTo>
                    <a:lnTo>
                      <a:pt x="69" y="67"/>
                    </a:lnTo>
                    <a:lnTo>
                      <a:pt x="67" y="64"/>
                    </a:lnTo>
                    <a:lnTo>
                      <a:pt x="66" y="64"/>
                    </a:lnTo>
                    <a:lnTo>
                      <a:pt x="66" y="64"/>
                    </a:lnTo>
                    <a:lnTo>
                      <a:pt x="63" y="65"/>
                    </a:lnTo>
                    <a:lnTo>
                      <a:pt x="58" y="70"/>
                    </a:lnTo>
                    <a:lnTo>
                      <a:pt x="54" y="75"/>
                    </a:lnTo>
                    <a:lnTo>
                      <a:pt x="54" y="75"/>
                    </a:lnTo>
                    <a:lnTo>
                      <a:pt x="56" y="80"/>
                    </a:lnTo>
                    <a:lnTo>
                      <a:pt x="56" y="83"/>
                    </a:lnTo>
                    <a:lnTo>
                      <a:pt x="54" y="84"/>
                    </a:lnTo>
                    <a:lnTo>
                      <a:pt x="54" y="84"/>
                    </a:lnTo>
                    <a:lnTo>
                      <a:pt x="51" y="88"/>
                    </a:lnTo>
                    <a:lnTo>
                      <a:pt x="48" y="94"/>
                    </a:lnTo>
                    <a:lnTo>
                      <a:pt x="45" y="103"/>
                    </a:lnTo>
                    <a:lnTo>
                      <a:pt x="45" y="103"/>
                    </a:lnTo>
                    <a:lnTo>
                      <a:pt x="37" y="106"/>
                    </a:lnTo>
                    <a:lnTo>
                      <a:pt x="29" y="107"/>
                    </a:lnTo>
                    <a:lnTo>
                      <a:pt x="24" y="10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99" name="Freeform 953"/>
              <p:cNvSpPr>
                <a:spLocks/>
              </p:cNvSpPr>
              <p:nvPr/>
            </p:nvSpPr>
            <p:spPr bwMode="auto">
              <a:xfrm>
                <a:off x="3011937" y="1926239"/>
                <a:ext cx="106840" cy="105851"/>
              </a:xfrm>
              <a:custGeom>
                <a:avLst/>
                <a:gdLst>
                  <a:gd name="T0" fmla="*/ 24 w 108"/>
                  <a:gd name="T1" fmla="*/ 107 h 107"/>
                  <a:gd name="T2" fmla="*/ 21 w 108"/>
                  <a:gd name="T3" fmla="*/ 104 h 107"/>
                  <a:gd name="T4" fmla="*/ 22 w 108"/>
                  <a:gd name="T5" fmla="*/ 91 h 107"/>
                  <a:gd name="T6" fmla="*/ 21 w 108"/>
                  <a:gd name="T7" fmla="*/ 88 h 107"/>
                  <a:gd name="T8" fmla="*/ 11 w 108"/>
                  <a:gd name="T9" fmla="*/ 87 h 107"/>
                  <a:gd name="T10" fmla="*/ 2 w 108"/>
                  <a:gd name="T11" fmla="*/ 86 h 107"/>
                  <a:gd name="T12" fmla="*/ 0 w 108"/>
                  <a:gd name="T13" fmla="*/ 84 h 107"/>
                  <a:gd name="T14" fmla="*/ 0 w 108"/>
                  <a:gd name="T15" fmla="*/ 77 h 107"/>
                  <a:gd name="T16" fmla="*/ 8 w 108"/>
                  <a:gd name="T17" fmla="*/ 71 h 107"/>
                  <a:gd name="T18" fmla="*/ 18 w 108"/>
                  <a:gd name="T19" fmla="*/ 65 h 107"/>
                  <a:gd name="T20" fmla="*/ 22 w 108"/>
                  <a:gd name="T21" fmla="*/ 60 h 107"/>
                  <a:gd name="T22" fmla="*/ 22 w 108"/>
                  <a:gd name="T23" fmla="*/ 35 h 107"/>
                  <a:gd name="T24" fmla="*/ 24 w 108"/>
                  <a:gd name="T25" fmla="*/ 13 h 107"/>
                  <a:gd name="T26" fmla="*/ 27 w 108"/>
                  <a:gd name="T27" fmla="*/ 2 h 107"/>
                  <a:gd name="T28" fmla="*/ 29 w 108"/>
                  <a:gd name="T29" fmla="*/ 0 h 107"/>
                  <a:gd name="T30" fmla="*/ 35 w 108"/>
                  <a:gd name="T31" fmla="*/ 3 h 107"/>
                  <a:gd name="T32" fmla="*/ 38 w 108"/>
                  <a:gd name="T33" fmla="*/ 10 h 107"/>
                  <a:gd name="T34" fmla="*/ 37 w 108"/>
                  <a:gd name="T35" fmla="*/ 19 h 107"/>
                  <a:gd name="T36" fmla="*/ 38 w 108"/>
                  <a:gd name="T37" fmla="*/ 25 h 107"/>
                  <a:gd name="T38" fmla="*/ 38 w 108"/>
                  <a:gd name="T39" fmla="*/ 25 h 107"/>
                  <a:gd name="T40" fmla="*/ 41 w 108"/>
                  <a:gd name="T41" fmla="*/ 23 h 107"/>
                  <a:gd name="T42" fmla="*/ 42 w 108"/>
                  <a:gd name="T43" fmla="*/ 16 h 107"/>
                  <a:gd name="T44" fmla="*/ 44 w 108"/>
                  <a:gd name="T45" fmla="*/ 16 h 107"/>
                  <a:gd name="T46" fmla="*/ 47 w 108"/>
                  <a:gd name="T47" fmla="*/ 18 h 107"/>
                  <a:gd name="T48" fmla="*/ 53 w 108"/>
                  <a:gd name="T49" fmla="*/ 25 h 107"/>
                  <a:gd name="T50" fmla="*/ 56 w 108"/>
                  <a:gd name="T51" fmla="*/ 26 h 107"/>
                  <a:gd name="T52" fmla="*/ 61 w 108"/>
                  <a:gd name="T53" fmla="*/ 31 h 107"/>
                  <a:gd name="T54" fmla="*/ 63 w 108"/>
                  <a:gd name="T55" fmla="*/ 38 h 107"/>
                  <a:gd name="T56" fmla="*/ 70 w 108"/>
                  <a:gd name="T57" fmla="*/ 44 h 107"/>
                  <a:gd name="T58" fmla="*/ 80 w 108"/>
                  <a:gd name="T59" fmla="*/ 46 h 107"/>
                  <a:gd name="T60" fmla="*/ 83 w 108"/>
                  <a:gd name="T61" fmla="*/ 52 h 107"/>
                  <a:gd name="T62" fmla="*/ 86 w 108"/>
                  <a:gd name="T63" fmla="*/ 71 h 107"/>
                  <a:gd name="T64" fmla="*/ 87 w 108"/>
                  <a:gd name="T65" fmla="*/ 74 h 107"/>
                  <a:gd name="T66" fmla="*/ 89 w 108"/>
                  <a:gd name="T67" fmla="*/ 73 h 107"/>
                  <a:gd name="T68" fmla="*/ 92 w 108"/>
                  <a:gd name="T69" fmla="*/ 68 h 107"/>
                  <a:gd name="T70" fmla="*/ 95 w 108"/>
                  <a:gd name="T71" fmla="*/ 68 h 107"/>
                  <a:gd name="T72" fmla="*/ 106 w 108"/>
                  <a:gd name="T73" fmla="*/ 74 h 107"/>
                  <a:gd name="T74" fmla="*/ 108 w 108"/>
                  <a:gd name="T75" fmla="*/ 75 h 107"/>
                  <a:gd name="T76" fmla="*/ 105 w 108"/>
                  <a:gd name="T77" fmla="*/ 84 h 107"/>
                  <a:gd name="T78" fmla="*/ 96 w 108"/>
                  <a:gd name="T79" fmla="*/ 90 h 107"/>
                  <a:gd name="T80" fmla="*/ 90 w 108"/>
                  <a:gd name="T81" fmla="*/ 88 h 107"/>
                  <a:gd name="T82" fmla="*/ 82 w 108"/>
                  <a:gd name="T83" fmla="*/ 84 h 107"/>
                  <a:gd name="T84" fmla="*/ 76 w 108"/>
                  <a:gd name="T85" fmla="*/ 81 h 107"/>
                  <a:gd name="T86" fmla="*/ 69 w 108"/>
                  <a:gd name="T87" fmla="*/ 78 h 107"/>
                  <a:gd name="T88" fmla="*/ 69 w 108"/>
                  <a:gd name="T89" fmla="*/ 74 h 107"/>
                  <a:gd name="T90" fmla="*/ 69 w 108"/>
                  <a:gd name="T91" fmla="*/ 71 h 107"/>
                  <a:gd name="T92" fmla="*/ 67 w 108"/>
                  <a:gd name="T93" fmla="*/ 64 h 107"/>
                  <a:gd name="T94" fmla="*/ 66 w 108"/>
                  <a:gd name="T95" fmla="*/ 64 h 107"/>
                  <a:gd name="T96" fmla="*/ 58 w 108"/>
                  <a:gd name="T97" fmla="*/ 70 h 107"/>
                  <a:gd name="T98" fmla="*/ 54 w 108"/>
                  <a:gd name="T99" fmla="*/ 75 h 107"/>
                  <a:gd name="T100" fmla="*/ 56 w 108"/>
                  <a:gd name="T101" fmla="*/ 83 h 107"/>
                  <a:gd name="T102" fmla="*/ 54 w 108"/>
                  <a:gd name="T103" fmla="*/ 84 h 107"/>
                  <a:gd name="T104" fmla="*/ 48 w 108"/>
                  <a:gd name="T105" fmla="*/ 94 h 107"/>
                  <a:gd name="T106" fmla="*/ 45 w 108"/>
                  <a:gd name="T107" fmla="*/ 103 h 107"/>
                  <a:gd name="T108" fmla="*/ 29 w 108"/>
                  <a:gd name="T109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8" h="107">
                    <a:moveTo>
                      <a:pt x="24" y="107"/>
                    </a:moveTo>
                    <a:lnTo>
                      <a:pt x="24" y="107"/>
                    </a:lnTo>
                    <a:lnTo>
                      <a:pt x="22" y="107"/>
                    </a:lnTo>
                    <a:lnTo>
                      <a:pt x="21" y="104"/>
                    </a:lnTo>
                    <a:lnTo>
                      <a:pt x="21" y="99"/>
                    </a:lnTo>
                    <a:lnTo>
                      <a:pt x="22" y="91"/>
                    </a:lnTo>
                    <a:lnTo>
                      <a:pt x="22" y="88"/>
                    </a:lnTo>
                    <a:lnTo>
                      <a:pt x="21" y="88"/>
                    </a:lnTo>
                    <a:lnTo>
                      <a:pt x="21" y="88"/>
                    </a:lnTo>
                    <a:lnTo>
                      <a:pt x="11" y="87"/>
                    </a:lnTo>
                    <a:lnTo>
                      <a:pt x="5" y="87"/>
                    </a:lnTo>
                    <a:lnTo>
                      <a:pt x="2" y="86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77"/>
                    </a:lnTo>
                    <a:lnTo>
                      <a:pt x="2" y="74"/>
                    </a:lnTo>
                    <a:lnTo>
                      <a:pt x="8" y="71"/>
                    </a:lnTo>
                    <a:lnTo>
                      <a:pt x="8" y="71"/>
                    </a:lnTo>
                    <a:lnTo>
                      <a:pt x="18" y="65"/>
                    </a:lnTo>
                    <a:lnTo>
                      <a:pt x="21" y="64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35"/>
                    </a:lnTo>
                    <a:lnTo>
                      <a:pt x="24" y="13"/>
                    </a:lnTo>
                    <a:lnTo>
                      <a:pt x="24" y="13"/>
                    </a:lnTo>
                    <a:lnTo>
                      <a:pt x="27" y="4"/>
                    </a:lnTo>
                    <a:lnTo>
                      <a:pt x="27" y="2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2" y="2"/>
                    </a:lnTo>
                    <a:lnTo>
                      <a:pt x="35" y="3"/>
                    </a:lnTo>
                    <a:lnTo>
                      <a:pt x="37" y="7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7" y="19"/>
                    </a:lnTo>
                    <a:lnTo>
                      <a:pt x="37" y="23"/>
                    </a:lnTo>
                    <a:lnTo>
                      <a:pt x="38" y="25"/>
                    </a:lnTo>
                    <a:lnTo>
                      <a:pt x="38" y="25"/>
                    </a:lnTo>
                    <a:lnTo>
                      <a:pt x="38" y="25"/>
                    </a:lnTo>
                    <a:lnTo>
                      <a:pt x="40" y="25"/>
                    </a:lnTo>
                    <a:lnTo>
                      <a:pt x="41" y="23"/>
                    </a:lnTo>
                    <a:lnTo>
                      <a:pt x="41" y="19"/>
                    </a:lnTo>
                    <a:lnTo>
                      <a:pt x="42" y="16"/>
                    </a:lnTo>
                    <a:lnTo>
                      <a:pt x="44" y="15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7" y="18"/>
                    </a:lnTo>
                    <a:lnTo>
                      <a:pt x="50" y="20"/>
                    </a:lnTo>
                    <a:lnTo>
                      <a:pt x="53" y="25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8" y="28"/>
                    </a:lnTo>
                    <a:lnTo>
                      <a:pt x="61" y="31"/>
                    </a:lnTo>
                    <a:lnTo>
                      <a:pt x="63" y="38"/>
                    </a:lnTo>
                    <a:lnTo>
                      <a:pt x="63" y="38"/>
                    </a:lnTo>
                    <a:lnTo>
                      <a:pt x="66" y="42"/>
                    </a:lnTo>
                    <a:lnTo>
                      <a:pt x="70" y="44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2" y="48"/>
                    </a:lnTo>
                    <a:lnTo>
                      <a:pt x="83" y="52"/>
                    </a:lnTo>
                    <a:lnTo>
                      <a:pt x="84" y="62"/>
                    </a:lnTo>
                    <a:lnTo>
                      <a:pt x="86" y="71"/>
                    </a:lnTo>
                    <a:lnTo>
                      <a:pt x="86" y="74"/>
                    </a:lnTo>
                    <a:lnTo>
                      <a:pt x="87" y="74"/>
                    </a:lnTo>
                    <a:lnTo>
                      <a:pt x="87" y="74"/>
                    </a:lnTo>
                    <a:lnTo>
                      <a:pt x="89" y="73"/>
                    </a:lnTo>
                    <a:lnTo>
                      <a:pt x="90" y="70"/>
                    </a:lnTo>
                    <a:lnTo>
                      <a:pt x="92" y="68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103" y="73"/>
                    </a:lnTo>
                    <a:lnTo>
                      <a:pt x="106" y="74"/>
                    </a:lnTo>
                    <a:lnTo>
                      <a:pt x="108" y="75"/>
                    </a:lnTo>
                    <a:lnTo>
                      <a:pt x="108" y="75"/>
                    </a:lnTo>
                    <a:lnTo>
                      <a:pt x="108" y="80"/>
                    </a:lnTo>
                    <a:lnTo>
                      <a:pt x="105" y="84"/>
                    </a:lnTo>
                    <a:lnTo>
                      <a:pt x="100" y="88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0" y="88"/>
                    </a:lnTo>
                    <a:lnTo>
                      <a:pt x="86" y="86"/>
                    </a:lnTo>
                    <a:lnTo>
                      <a:pt x="82" y="84"/>
                    </a:lnTo>
                    <a:lnTo>
                      <a:pt x="76" y="81"/>
                    </a:lnTo>
                    <a:lnTo>
                      <a:pt x="76" y="81"/>
                    </a:lnTo>
                    <a:lnTo>
                      <a:pt x="71" y="80"/>
                    </a:lnTo>
                    <a:lnTo>
                      <a:pt x="69" y="78"/>
                    </a:lnTo>
                    <a:lnTo>
                      <a:pt x="67" y="75"/>
                    </a:lnTo>
                    <a:lnTo>
                      <a:pt x="69" y="74"/>
                    </a:lnTo>
                    <a:lnTo>
                      <a:pt x="69" y="74"/>
                    </a:lnTo>
                    <a:lnTo>
                      <a:pt x="69" y="71"/>
                    </a:lnTo>
                    <a:lnTo>
                      <a:pt x="69" y="67"/>
                    </a:lnTo>
                    <a:lnTo>
                      <a:pt x="67" y="64"/>
                    </a:lnTo>
                    <a:lnTo>
                      <a:pt x="66" y="64"/>
                    </a:lnTo>
                    <a:lnTo>
                      <a:pt x="66" y="64"/>
                    </a:lnTo>
                    <a:lnTo>
                      <a:pt x="63" y="65"/>
                    </a:lnTo>
                    <a:lnTo>
                      <a:pt x="58" y="70"/>
                    </a:lnTo>
                    <a:lnTo>
                      <a:pt x="54" y="75"/>
                    </a:lnTo>
                    <a:lnTo>
                      <a:pt x="54" y="75"/>
                    </a:lnTo>
                    <a:lnTo>
                      <a:pt x="56" y="80"/>
                    </a:lnTo>
                    <a:lnTo>
                      <a:pt x="56" y="83"/>
                    </a:lnTo>
                    <a:lnTo>
                      <a:pt x="54" y="84"/>
                    </a:lnTo>
                    <a:lnTo>
                      <a:pt x="54" y="84"/>
                    </a:lnTo>
                    <a:lnTo>
                      <a:pt x="51" y="88"/>
                    </a:lnTo>
                    <a:lnTo>
                      <a:pt x="48" y="94"/>
                    </a:lnTo>
                    <a:lnTo>
                      <a:pt x="45" y="103"/>
                    </a:lnTo>
                    <a:lnTo>
                      <a:pt x="45" y="103"/>
                    </a:lnTo>
                    <a:lnTo>
                      <a:pt x="37" y="106"/>
                    </a:lnTo>
                    <a:lnTo>
                      <a:pt x="29" y="107"/>
                    </a:lnTo>
                    <a:lnTo>
                      <a:pt x="24" y="10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00" name="Freeform 954"/>
              <p:cNvSpPr>
                <a:spLocks/>
              </p:cNvSpPr>
              <p:nvPr/>
            </p:nvSpPr>
            <p:spPr bwMode="auto">
              <a:xfrm>
                <a:off x="3152412" y="2013294"/>
                <a:ext cx="17807" cy="15828"/>
              </a:xfrm>
              <a:custGeom>
                <a:avLst/>
                <a:gdLst>
                  <a:gd name="T0" fmla="*/ 6 w 18"/>
                  <a:gd name="T1" fmla="*/ 15 h 16"/>
                  <a:gd name="T2" fmla="*/ 6 w 18"/>
                  <a:gd name="T3" fmla="*/ 15 h 16"/>
                  <a:gd name="T4" fmla="*/ 3 w 18"/>
                  <a:gd name="T5" fmla="*/ 12 h 16"/>
                  <a:gd name="T6" fmla="*/ 0 w 18"/>
                  <a:gd name="T7" fmla="*/ 8 h 16"/>
                  <a:gd name="T8" fmla="*/ 0 w 18"/>
                  <a:gd name="T9" fmla="*/ 3 h 16"/>
                  <a:gd name="T10" fmla="*/ 2 w 18"/>
                  <a:gd name="T11" fmla="*/ 0 h 16"/>
                  <a:gd name="T12" fmla="*/ 2 w 18"/>
                  <a:gd name="T13" fmla="*/ 0 h 16"/>
                  <a:gd name="T14" fmla="*/ 5 w 18"/>
                  <a:gd name="T15" fmla="*/ 2 h 16"/>
                  <a:gd name="T16" fmla="*/ 8 w 18"/>
                  <a:gd name="T17" fmla="*/ 3 h 16"/>
                  <a:gd name="T18" fmla="*/ 11 w 18"/>
                  <a:gd name="T19" fmla="*/ 8 h 16"/>
                  <a:gd name="T20" fmla="*/ 11 w 18"/>
                  <a:gd name="T21" fmla="*/ 8 h 16"/>
                  <a:gd name="T22" fmla="*/ 15 w 18"/>
                  <a:gd name="T23" fmla="*/ 9 h 16"/>
                  <a:gd name="T24" fmla="*/ 18 w 18"/>
                  <a:gd name="T25" fmla="*/ 11 h 16"/>
                  <a:gd name="T26" fmla="*/ 18 w 18"/>
                  <a:gd name="T27" fmla="*/ 11 h 16"/>
                  <a:gd name="T28" fmla="*/ 18 w 18"/>
                  <a:gd name="T29" fmla="*/ 11 h 16"/>
                  <a:gd name="T30" fmla="*/ 18 w 18"/>
                  <a:gd name="T31" fmla="*/ 11 h 16"/>
                  <a:gd name="T32" fmla="*/ 11 w 18"/>
                  <a:gd name="T33" fmla="*/ 15 h 16"/>
                  <a:gd name="T34" fmla="*/ 8 w 18"/>
                  <a:gd name="T35" fmla="*/ 16 h 16"/>
                  <a:gd name="T36" fmla="*/ 6 w 18"/>
                  <a:gd name="T3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16">
                    <a:moveTo>
                      <a:pt x="6" y="15"/>
                    </a:moveTo>
                    <a:lnTo>
                      <a:pt x="6" y="15"/>
                    </a:lnTo>
                    <a:lnTo>
                      <a:pt x="3" y="12"/>
                    </a:lnTo>
                    <a:lnTo>
                      <a:pt x="0" y="8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5" y="2"/>
                    </a:lnTo>
                    <a:lnTo>
                      <a:pt x="8" y="3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15" y="9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1" y="15"/>
                    </a:lnTo>
                    <a:lnTo>
                      <a:pt x="8" y="16"/>
                    </a:lnTo>
                    <a:lnTo>
                      <a:pt x="6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01" name="Freeform 955"/>
              <p:cNvSpPr>
                <a:spLocks/>
              </p:cNvSpPr>
              <p:nvPr/>
            </p:nvSpPr>
            <p:spPr bwMode="auto">
              <a:xfrm>
                <a:off x="3152412" y="2013294"/>
                <a:ext cx="17807" cy="15828"/>
              </a:xfrm>
              <a:custGeom>
                <a:avLst/>
                <a:gdLst>
                  <a:gd name="T0" fmla="*/ 6 w 18"/>
                  <a:gd name="T1" fmla="*/ 15 h 16"/>
                  <a:gd name="T2" fmla="*/ 6 w 18"/>
                  <a:gd name="T3" fmla="*/ 15 h 16"/>
                  <a:gd name="T4" fmla="*/ 3 w 18"/>
                  <a:gd name="T5" fmla="*/ 12 h 16"/>
                  <a:gd name="T6" fmla="*/ 0 w 18"/>
                  <a:gd name="T7" fmla="*/ 8 h 16"/>
                  <a:gd name="T8" fmla="*/ 0 w 18"/>
                  <a:gd name="T9" fmla="*/ 3 h 16"/>
                  <a:gd name="T10" fmla="*/ 2 w 18"/>
                  <a:gd name="T11" fmla="*/ 0 h 16"/>
                  <a:gd name="T12" fmla="*/ 2 w 18"/>
                  <a:gd name="T13" fmla="*/ 0 h 16"/>
                  <a:gd name="T14" fmla="*/ 5 w 18"/>
                  <a:gd name="T15" fmla="*/ 2 h 16"/>
                  <a:gd name="T16" fmla="*/ 8 w 18"/>
                  <a:gd name="T17" fmla="*/ 3 h 16"/>
                  <a:gd name="T18" fmla="*/ 11 w 18"/>
                  <a:gd name="T19" fmla="*/ 8 h 16"/>
                  <a:gd name="T20" fmla="*/ 11 w 18"/>
                  <a:gd name="T21" fmla="*/ 8 h 16"/>
                  <a:gd name="T22" fmla="*/ 15 w 18"/>
                  <a:gd name="T23" fmla="*/ 9 h 16"/>
                  <a:gd name="T24" fmla="*/ 18 w 18"/>
                  <a:gd name="T25" fmla="*/ 11 h 16"/>
                  <a:gd name="T26" fmla="*/ 18 w 18"/>
                  <a:gd name="T27" fmla="*/ 11 h 16"/>
                  <a:gd name="T28" fmla="*/ 18 w 18"/>
                  <a:gd name="T29" fmla="*/ 11 h 16"/>
                  <a:gd name="T30" fmla="*/ 18 w 18"/>
                  <a:gd name="T31" fmla="*/ 11 h 16"/>
                  <a:gd name="T32" fmla="*/ 11 w 18"/>
                  <a:gd name="T33" fmla="*/ 15 h 16"/>
                  <a:gd name="T34" fmla="*/ 8 w 18"/>
                  <a:gd name="T35" fmla="*/ 16 h 16"/>
                  <a:gd name="T36" fmla="*/ 6 w 18"/>
                  <a:gd name="T3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16">
                    <a:moveTo>
                      <a:pt x="6" y="15"/>
                    </a:moveTo>
                    <a:lnTo>
                      <a:pt x="6" y="15"/>
                    </a:lnTo>
                    <a:lnTo>
                      <a:pt x="3" y="12"/>
                    </a:lnTo>
                    <a:lnTo>
                      <a:pt x="0" y="8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5" y="2"/>
                    </a:lnTo>
                    <a:lnTo>
                      <a:pt x="8" y="3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15" y="9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1" y="15"/>
                    </a:lnTo>
                    <a:lnTo>
                      <a:pt x="8" y="16"/>
                    </a:lnTo>
                    <a:lnTo>
                      <a:pt x="6" y="1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02" name="Freeform 956"/>
              <p:cNvSpPr>
                <a:spLocks/>
              </p:cNvSpPr>
              <p:nvPr/>
            </p:nvSpPr>
            <p:spPr bwMode="auto">
              <a:xfrm>
                <a:off x="3168240" y="2006369"/>
                <a:ext cx="14839" cy="11871"/>
              </a:xfrm>
              <a:custGeom>
                <a:avLst/>
                <a:gdLst>
                  <a:gd name="T0" fmla="*/ 13 w 15"/>
                  <a:gd name="T1" fmla="*/ 12 h 12"/>
                  <a:gd name="T2" fmla="*/ 13 w 15"/>
                  <a:gd name="T3" fmla="*/ 12 h 12"/>
                  <a:gd name="T4" fmla="*/ 8 w 15"/>
                  <a:gd name="T5" fmla="*/ 12 h 12"/>
                  <a:gd name="T6" fmla="*/ 3 w 15"/>
                  <a:gd name="T7" fmla="*/ 9 h 12"/>
                  <a:gd name="T8" fmla="*/ 0 w 15"/>
                  <a:gd name="T9" fmla="*/ 6 h 12"/>
                  <a:gd name="T10" fmla="*/ 0 w 15"/>
                  <a:gd name="T11" fmla="*/ 3 h 12"/>
                  <a:gd name="T12" fmla="*/ 0 w 15"/>
                  <a:gd name="T13" fmla="*/ 3 h 12"/>
                  <a:gd name="T14" fmla="*/ 2 w 15"/>
                  <a:gd name="T15" fmla="*/ 2 h 12"/>
                  <a:gd name="T16" fmla="*/ 3 w 15"/>
                  <a:gd name="T17" fmla="*/ 0 h 12"/>
                  <a:gd name="T18" fmla="*/ 6 w 15"/>
                  <a:gd name="T19" fmla="*/ 2 h 12"/>
                  <a:gd name="T20" fmla="*/ 8 w 15"/>
                  <a:gd name="T21" fmla="*/ 3 h 12"/>
                  <a:gd name="T22" fmla="*/ 8 w 15"/>
                  <a:gd name="T23" fmla="*/ 3 h 12"/>
                  <a:gd name="T24" fmla="*/ 13 w 15"/>
                  <a:gd name="T25" fmla="*/ 9 h 12"/>
                  <a:gd name="T26" fmla="*/ 15 w 15"/>
                  <a:gd name="T27" fmla="*/ 12 h 12"/>
                  <a:gd name="T28" fmla="*/ 13 w 15"/>
                  <a:gd name="T2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12">
                    <a:moveTo>
                      <a:pt x="13" y="12"/>
                    </a:moveTo>
                    <a:lnTo>
                      <a:pt x="13" y="12"/>
                    </a:lnTo>
                    <a:lnTo>
                      <a:pt x="8" y="12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13" y="9"/>
                    </a:lnTo>
                    <a:lnTo>
                      <a:pt x="15" y="12"/>
                    </a:lnTo>
                    <a:lnTo>
                      <a:pt x="13" y="1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03" name="Freeform 957"/>
              <p:cNvSpPr>
                <a:spLocks/>
              </p:cNvSpPr>
              <p:nvPr/>
            </p:nvSpPr>
            <p:spPr bwMode="auto">
              <a:xfrm>
                <a:off x="3168240" y="2006369"/>
                <a:ext cx="14839" cy="11871"/>
              </a:xfrm>
              <a:custGeom>
                <a:avLst/>
                <a:gdLst>
                  <a:gd name="T0" fmla="*/ 13 w 15"/>
                  <a:gd name="T1" fmla="*/ 12 h 12"/>
                  <a:gd name="T2" fmla="*/ 13 w 15"/>
                  <a:gd name="T3" fmla="*/ 12 h 12"/>
                  <a:gd name="T4" fmla="*/ 8 w 15"/>
                  <a:gd name="T5" fmla="*/ 12 h 12"/>
                  <a:gd name="T6" fmla="*/ 3 w 15"/>
                  <a:gd name="T7" fmla="*/ 9 h 12"/>
                  <a:gd name="T8" fmla="*/ 0 w 15"/>
                  <a:gd name="T9" fmla="*/ 6 h 12"/>
                  <a:gd name="T10" fmla="*/ 0 w 15"/>
                  <a:gd name="T11" fmla="*/ 3 h 12"/>
                  <a:gd name="T12" fmla="*/ 0 w 15"/>
                  <a:gd name="T13" fmla="*/ 3 h 12"/>
                  <a:gd name="T14" fmla="*/ 2 w 15"/>
                  <a:gd name="T15" fmla="*/ 2 h 12"/>
                  <a:gd name="T16" fmla="*/ 3 w 15"/>
                  <a:gd name="T17" fmla="*/ 0 h 12"/>
                  <a:gd name="T18" fmla="*/ 6 w 15"/>
                  <a:gd name="T19" fmla="*/ 2 h 12"/>
                  <a:gd name="T20" fmla="*/ 8 w 15"/>
                  <a:gd name="T21" fmla="*/ 3 h 12"/>
                  <a:gd name="T22" fmla="*/ 8 w 15"/>
                  <a:gd name="T23" fmla="*/ 3 h 12"/>
                  <a:gd name="T24" fmla="*/ 13 w 15"/>
                  <a:gd name="T25" fmla="*/ 9 h 12"/>
                  <a:gd name="T26" fmla="*/ 15 w 15"/>
                  <a:gd name="T27" fmla="*/ 12 h 12"/>
                  <a:gd name="T28" fmla="*/ 13 w 15"/>
                  <a:gd name="T2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12">
                    <a:moveTo>
                      <a:pt x="13" y="12"/>
                    </a:moveTo>
                    <a:lnTo>
                      <a:pt x="13" y="12"/>
                    </a:lnTo>
                    <a:lnTo>
                      <a:pt x="8" y="12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13" y="9"/>
                    </a:lnTo>
                    <a:lnTo>
                      <a:pt x="15" y="12"/>
                    </a:lnTo>
                    <a:lnTo>
                      <a:pt x="13" y="1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04" name="Freeform 958"/>
              <p:cNvSpPr>
                <a:spLocks/>
              </p:cNvSpPr>
              <p:nvPr/>
            </p:nvSpPr>
            <p:spPr bwMode="auto">
              <a:xfrm>
                <a:off x="3192972" y="1836217"/>
                <a:ext cx="19785" cy="25721"/>
              </a:xfrm>
              <a:custGeom>
                <a:avLst/>
                <a:gdLst>
                  <a:gd name="T0" fmla="*/ 10 w 20"/>
                  <a:gd name="T1" fmla="*/ 26 h 26"/>
                  <a:gd name="T2" fmla="*/ 10 w 20"/>
                  <a:gd name="T3" fmla="*/ 26 h 26"/>
                  <a:gd name="T4" fmla="*/ 7 w 20"/>
                  <a:gd name="T5" fmla="*/ 25 h 26"/>
                  <a:gd name="T6" fmla="*/ 6 w 20"/>
                  <a:gd name="T7" fmla="*/ 25 h 26"/>
                  <a:gd name="T8" fmla="*/ 1 w 20"/>
                  <a:gd name="T9" fmla="*/ 20 h 26"/>
                  <a:gd name="T10" fmla="*/ 0 w 20"/>
                  <a:gd name="T11" fmla="*/ 14 h 26"/>
                  <a:gd name="T12" fmla="*/ 0 w 20"/>
                  <a:gd name="T13" fmla="*/ 10 h 26"/>
                  <a:gd name="T14" fmla="*/ 0 w 20"/>
                  <a:gd name="T15" fmla="*/ 10 h 26"/>
                  <a:gd name="T16" fmla="*/ 0 w 20"/>
                  <a:gd name="T17" fmla="*/ 7 h 26"/>
                  <a:gd name="T18" fmla="*/ 3 w 20"/>
                  <a:gd name="T19" fmla="*/ 3 h 26"/>
                  <a:gd name="T20" fmla="*/ 7 w 20"/>
                  <a:gd name="T21" fmla="*/ 0 h 26"/>
                  <a:gd name="T22" fmla="*/ 13 w 20"/>
                  <a:gd name="T23" fmla="*/ 0 h 26"/>
                  <a:gd name="T24" fmla="*/ 13 w 20"/>
                  <a:gd name="T25" fmla="*/ 0 h 26"/>
                  <a:gd name="T26" fmla="*/ 16 w 20"/>
                  <a:gd name="T27" fmla="*/ 0 h 26"/>
                  <a:gd name="T28" fmla="*/ 17 w 20"/>
                  <a:gd name="T29" fmla="*/ 1 h 26"/>
                  <a:gd name="T30" fmla="*/ 20 w 20"/>
                  <a:gd name="T31" fmla="*/ 7 h 26"/>
                  <a:gd name="T32" fmla="*/ 20 w 20"/>
                  <a:gd name="T33" fmla="*/ 13 h 26"/>
                  <a:gd name="T34" fmla="*/ 20 w 20"/>
                  <a:gd name="T35" fmla="*/ 17 h 26"/>
                  <a:gd name="T36" fmla="*/ 20 w 20"/>
                  <a:gd name="T37" fmla="*/ 17 h 26"/>
                  <a:gd name="T38" fmla="*/ 19 w 20"/>
                  <a:gd name="T39" fmla="*/ 22 h 26"/>
                  <a:gd name="T40" fmla="*/ 17 w 20"/>
                  <a:gd name="T41" fmla="*/ 23 h 26"/>
                  <a:gd name="T42" fmla="*/ 14 w 20"/>
                  <a:gd name="T43" fmla="*/ 25 h 26"/>
                  <a:gd name="T44" fmla="*/ 10 w 20"/>
                  <a:gd name="T4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" h="26">
                    <a:moveTo>
                      <a:pt x="10" y="26"/>
                    </a:moveTo>
                    <a:lnTo>
                      <a:pt x="10" y="26"/>
                    </a:lnTo>
                    <a:lnTo>
                      <a:pt x="7" y="25"/>
                    </a:lnTo>
                    <a:lnTo>
                      <a:pt x="6" y="25"/>
                    </a:lnTo>
                    <a:lnTo>
                      <a:pt x="1" y="20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7" y="1"/>
                    </a:lnTo>
                    <a:lnTo>
                      <a:pt x="20" y="7"/>
                    </a:lnTo>
                    <a:lnTo>
                      <a:pt x="20" y="13"/>
                    </a:lnTo>
                    <a:lnTo>
                      <a:pt x="20" y="17"/>
                    </a:lnTo>
                    <a:lnTo>
                      <a:pt x="20" y="17"/>
                    </a:lnTo>
                    <a:lnTo>
                      <a:pt x="19" y="22"/>
                    </a:lnTo>
                    <a:lnTo>
                      <a:pt x="17" y="23"/>
                    </a:lnTo>
                    <a:lnTo>
                      <a:pt x="14" y="25"/>
                    </a:lnTo>
                    <a:lnTo>
                      <a:pt x="10" y="2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05" name="Freeform 959"/>
              <p:cNvSpPr>
                <a:spLocks/>
              </p:cNvSpPr>
              <p:nvPr/>
            </p:nvSpPr>
            <p:spPr bwMode="auto">
              <a:xfrm>
                <a:off x="3192972" y="1836217"/>
                <a:ext cx="19785" cy="25721"/>
              </a:xfrm>
              <a:custGeom>
                <a:avLst/>
                <a:gdLst>
                  <a:gd name="T0" fmla="*/ 10 w 20"/>
                  <a:gd name="T1" fmla="*/ 26 h 26"/>
                  <a:gd name="T2" fmla="*/ 10 w 20"/>
                  <a:gd name="T3" fmla="*/ 26 h 26"/>
                  <a:gd name="T4" fmla="*/ 7 w 20"/>
                  <a:gd name="T5" fmla="*/ 25 h 26"/>
                  <a:gd name="T6" fmla="*/ 6 w 20"/>
                  <a:gd name="T7" fmla="*/ 25 h 26"/>
                  <a:gd name="T8" fmla="*/ 1 w 20"/>
                  <a:gd name="T9" fmla="*/ 20 h 26"/>
                  <a:gd name="T10" fmla="*/ 0 w 20"/>
                  <a:gd name="T11" fmla="*/ 14 h 26"/>
                  <a:gd name="T12" fmla="*/ 0 w 20"/>
                  <a:gd name="T13" fmla="*/ 10 h 26"/>
                  <a:gd name="T14" fmla="*/ 0 w 20"/>
                  <a:gd name="T15" fmla="*/ 10 h 26"/>
                  <a:gd name="T16" fmla="*/ 0 w 20"/>
                  <a:gd name="T17" fmla="*/ 7 h 26"/>
                  <a:gd name="T18" fmla="*/ 3 w 20"/>
                  <a:gd name="T19" fmla="*/ 3 h 26"/>
                  <a:gd name="T20" fmla="*/ 7 w 20"/>
                  <a:gd name="T21" fmla="*/ 0 h 26"/>
                  <a:gd name="T22" fmla="*/ 13 w 20"/>
                  <a:gd name="T23" fmla="*/ 0 h 26"/>
                  <a:gd name="T24" fmla="*/ 13 w 20"/>
                  <a:gd name="T25" fmla="*/ 0 h 26"/>
                  <a:gd name="T26" fmla="*/ 16 w 20"/>
                  <a:gd name="T27" fmla="*/ 0 h 26"/>
                  <a:gd name="T28" fmla="*/ 17 w 20"/>
                  <a:gd name="T29" fmla="*/ 1 h 26"/>
                  <a:gd name="T30" fmla="*/ 20 w 20"/>
                  <a:gd name="T31" fmla="*/ 7 h 26"/>
                  <a:gd name="T32" fmla="*/ 20 w 20"/>
                  <a:gd name="T33" fmla="*/ 13 h 26"/>
                  <a:gd name="T34" fmla="*/ 20 w 20"/>
                  <a:gd name="T35" fmla="*/ 17 h 26"/>
                  <a:gd name="T36" fmla="*/ 20 w 20"/>
                  <a:gd name="T37" fmla="*/ 17 h 26"/>
                  <a:gd name="T38" fmla="*/ 19 w 20"/>
                  <a:gd name="T39" fmla="*/ 22 h 26"/>
                  <a:gd name="T40" fmla="*/ 17 w 20"/>
                  <a:gd name="T41" fmla="*/ 23 h 26"/>
                  <a:gd name="T42" fmla="*/ 14 w 20"/>
                  <a:gd name="T43" fmla="*/ 25 h 26"/>
                  <a:gd name="T44" fmla="*/ 10 w 20"/>
                  <a:gd name="T4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" h="26">
                    <a:moveTo>
                      <a:pt x="10" y="26"/>
                    </a:moveTo>
                    <a:lnTo>
                      <a:pt x="10" y="26"/>
                    </a:lnTo>
                    <a:lnTo>
                      <a:pt x="7" y="25"/>
                    </a:lnTo>
                    <a:lnTo>
                      <a:pt x="6" y="25"/>
                    </a:lnTo>
                    <a:lnTo>
                      <a:pt x="1" y="20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7" y="1"/>
                    </a:lnTo>
                    <a:lnTo>
                      <a:pt x="20" y="7"/>
                    </a:lnTo>
                    <a:lnTo>
                      <a:pt x="20" y="13"/>
                    </a:lnTo>
                    <a:lnTo>
                      <a:pt x="20" y="17"/>
                    </a:lnTo>
                    <a:lnTo>
                      <a:pt x="20" y="17"/>
                    </a:lnTo>
                    <a:lnTo>
                      <a:pt x="19" y="22"/>
                    </a:lnTo>
                    <a:lnTo>
                      <a:pt x="17" y="23"/>
                    </a:lnTo>
                    <a:lnTo>
                      <a:pt x="14" y="25"/>
                    </a:lnTo>
                    <a:lnTo>
                      <a:pt x="10" y="2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06" name="Freeform 960"/>
              <p:cNvSpPr>
                <a:spLocks/>
              </p:cNvSpPr>
              <p:nvPr/>
            </p:nvSpPr>
            <p:spPr bwMode="auto">
              <a:xfrm>
                <a:off x="3109874" y="1756087"/>
                <a:ext cx="26710" cy="15828"/>
              </a:xfrm>
              <a:custGeom>
                <a:avLst/>
                <a:gdLst>
                  <a:gd name="T0" fmla="*/ 26 w 27"/>
                  <a:gd name="T1" fmla="*/ 16 h 16"/>
                  <a:gd name="T2" fmla="*/ 26 w 27"/>
                  <a:gd name="T3" fmla="*/ 16 h 16"/>
                  <a:gd name="T4" fmla="*/ 20 w 27"/>
                  <a:gd name="T5" fmla="*/ 16 h 16"/>
                  <a:gd name="T6" fmla="*/ 16 w 27"/>
                  <a:gd name="T7" fmla="*/ 16 h 16"/>
                  <a:gd name="T8" fmla="*/ 12 w 27"/>
                  <a:gd name="T9" fmla="*/ 13 h 16"/>
                  <a:gd name="T10" fmla="*/ 12 w 27"/>
                  <a:gd name="T11" fmla="*/ 13 h 16"/>
                  <a:gd name="T12" fmla="*/ 1 w 27"/>
                  <a:gd name="T13" fmla="*/ 7 h 16"/>
                  <a:gd name="T14" fmla="*/ 0 w 27"/>
                  <a:gd name="T15" fmla="*/ 4 h 16"/>
                  <a:gd name="T16" fmla="*/ 0 w 27"/>
                  <a:gd name="T17" fmla="*/ 3 h 16"/>
                  <a:gd name="T18" fmla="*/ 1 w 27"/>
                  <a:gd name="T19" fmla="*/ 3 h 16"/>
                  <a:gd name="T20" fmla="*/ 1 w 27"/>
                  <a:gd name="T21" fmla="*/ 3 h 16"/>
                  <a:gd name="T22" fmla="*/ 16 w 27"/>
                  <a:gd name="T23" fmla="*/ 1 h 16"/>
                  <a:gd name="T24" fmla="*/ 22 w 27"/>
                  <a:gd name="T25" fmla="*/ 0 h 16"/>
                  <a:gd name="T26" fmla="*/ 25 w 27"/>
                  <a:gd name="T27" fmla="*/ 0 h 16"/>
                  <a:gd name="T28" fmla="*/ 26 w 27"/>
                  <a:gd name="T29" fmla="*/ 1 h 16"/>
                  <a:gd name="T30" fmla="*/ 26 w 27"/>
                  <a:gd name="T31" fmla="*/ 1 h 16"/>
                  <a:gd name="T32" fmla="*/ 27 w 27"/>
                  <a:gd name="T33" fmla="*/ 10 h 16"/>
                  <a:gd name="T34" fmla="*/ 27 w 27"/>
                  <a:gd name="T35" fmla="*/ 13 h 16"/>
                  <a:gd name="T36" fmla="*/ 26 w 27"/>
                  <a:gd name="T3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16">
                    <a:moveTo>
                      <a:pt x="26" y="16"/>
                    </a:moveTo>
                    <a:lnTo>
                      <a:pt x="26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2" y="13"/>
                    </a:lnTo>
                    <a:lnTo>
                      <a:pt x="12" y="13"/>
                    </a:lnTo>
                    <a:lnTo>
                      <a:pt x="1" y="7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6" y="1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6" y="1"/>
                    </a:lnTo>
                    <a:lnTo>
                      <a:pt x="26" y="1"/>
                    </a:lnTo>
                    <a:lnTo>
                      <a:pt x="27" y="10"/>
                    </a:lnTo>
                    <a:lnTo>
                      <a:pt x="27" y="13"/>
                    </a:lnTo>
                    <a:lnTo>
                      <a:pt x="26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07" name="Freeform 961"/>
              <p:cNvSpPr>
                <a:spLocks/>
              </p:cNvSpPr>
              <p:nvPr/>
            </p:nvSpPr>
            <p:spPr bwMode="auto">
              <a:xfrm>
                <a:off x="3109874" y="1756087"/>
                <a:ext cx="26710" cy="15828"/>
              </a:xfrm>
              <a:custGeom>
                <a:avLst/>
                <a:gdLst>
                  <a:gd name="T0" fmla="*/ 26 w 27"/>
                  <a:gd name="T1" fmla="*/ 16 h 16"/>
                  <a:gd name="T2" fmla="*/ 26 w 27"/>
                  <a:gd name="T3" fmla="*/ 16 h 16"/>
                  <a:gd name="T4" fmla="*/ 20 w 27"/>
                  <a:gd name="T5" fmla="*/ 16 h 16"/>
                  <a:gd name="T6" fmla="*/ 16 w 27"/>
                  <a:gd name="T7" fmla="*/ 16 h 16"/>
                  <a:gd name="T8" fmla="*/ 12 w 27"/>
                  <a:gd name="T9" fmla="*/ 13 h 16"/>
                  <a:gd name="T10" fmla="*/ 12 w 27"/>
                  <a:gd name="T11" fmla="*/ 13 h 16"/>
                  <a:gd name="T12" fmla="*/ 1 w 27"/>
                  <a:gd name="T13" fmla="*/ 7 h 16"/>
                  <a:gd name="T14" fmla="*/ 0 w 27"/>
                  <a:gd name="T15" fmla="*/ 4 h 16"/>
                  <a:gd name="T16" fmla="*/ 0 w 27"/>
                  <a:gd name="T17" fmla="*/ 3 h 16"/>
                  <a:gd name="T18" fmla="*/ 1 w 27"/>
                  <a:gd name="T19" fmla="*/ 3 h 16"/>
                  <a:gd name="T20" fmla="*/ 1 w 27"/>
                  <a:gd name="T21" fmla="*/ 3 h 16"/>
                  <a:gd name="T22" fmla="*/ 16 w 27"/>
                  <a:gd name="T23" fmla="*/ 1 h 16"/>
                  <a:gd name="T24" fmla="*/ 22 w 27"/>
                  <a:gd name="T25" fmla="*/ 0 h 16"/>
                  <a:gd name="T26" fmla="*/ 25 w 27"/>
                  <a:gd name="T27" fmla="*/ 0 h 16"/>
                  <a:gd name="T28" fmla="*/ 26 w 27"/>
                  <a:gd name="T29" fmla="*/ 1 h 16"/>
                  <a:gd name="T30" fmla="*/ 26 w 27"/>
                  <a:gd name="T31" fmla="*/ 1 h 16"/>
                  <a:gd name="T32" fmla="*/ 27 w 27"/>
                  <a:gd name="T33" fmla="*/ 10 h 16"/>
                  <a:gd name="T34" fmla="*/ 27 w 27"/>
                  <a:gd name="T35" fmla="*/ 13 h 16"/>
                  <a:gd name="T36" fmla="*/ 26 w 27"/>
                  <a:gd name="T3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16">
                    <a:moveTo>
                      <a:pt x="26" y="16"/>
                    </a:moveTo>
                    <a:lnTo>
                      <a:pt x="26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2" y="13"/>
                    </a:lnTo>
                    <a:lnTo>
                      <a:pt x="12" y="13"/>
                    </a:lnTo>
                    <a:lnTo>
                      <a:pt x="1" y="7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6" y="1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6" y="1"/>
                    </a:lnTo>
                    <a:lnTo>
                      <a:pt x="26" y="1"/>
                    </a:lnTo>
                    <a:lnTo>
                      <a:pt x="27" y="10"/>
                    </a:lnTo>
                    <a:lnTo>
                      <a:pt x="27" y="13"/>
                    </a:lnTo>
                    <a:lnTo>
                      <a:pt x="26" y="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08" name="Freeform 962"/>
              <p:cNvSpPr>
                <a:spLocks/>
              </p:cNvSpPr>
              <p:nvPr/>
            </p:nvSpPr>
            <p:spPr bwMode="auto">
              <a:xfrm>
                <a:off x="3356199" y="2068693"/>
                <a:ext cx="19785" cy="17807"/>
              </a:xfrm>
              <a:custGeom>
                <a:avLst/>
                <a:gdLst>
                  <a:gd name="T0" fmla="*/ 19 w 20"/>
                  <a:gd name="T1" fmla="*/ 10 h 18"/>
                  <a:gd name="T2" fmla="*/ 19 w 20"/>
                  <a:gd name="T3" fmla="*/ 10 h 18"/>
                  <a:gd name="T4" fmla="*/ 17 w 20"/>
                  <a:gd name="T5" fmla="*/ 13 h 18"/>
                  <a:gd name="T6" fmla="*/ 16 w 20"/>
                  <a:gd name="T7" fmla="*/ 15 h 18"/>
                  <a:gd name="T8" fmla="*/ 15 w 20"/>
                  <a:gd name="T9" fmla="*/ 18 h 18"/>
                  <a:gd name="T10" fmla="*/ 10 w 20"/>
                  <a:gd name="T11" fmla="*/ 18 h 18"/>
                  <a:gd name="T12" fmla="*/ 10 w 20"/>
                  <a:gd name="T13" fmla="*/ 18 h 18"/>
                  <a:gd name="T14" fmla="*/ 6 w 20"/>
                  <a:gd name="T15" fmla="*/ 15 h 18"/>
                  <a:gd name="T16" fmla="*/ 3 w 20"/>
                  <a:gd name="T17" fmla="*/ 13 h 18"/>
                  <a:gd name="T18" fmla="*/ 0 w 20"/>
                  <a:gd name="T19" fmla="*/ 8 h 18"/>
                  <a:gd name="T20" fmla="*/ 0 w 20"/>
                  <a:gd name="T21" fmla="*/ 7 h 18"/>
                  <a:gd name="T22" fmla="*/ 0 w 20"/>
                  <a:gd name="T23" fmla="*/ 5 h 18"/>
                  <a:gd name="T24" fmla="*/ 0 w 20"/>
                  <a:gd name="T25" fmla="*/ 5 h 18"/>
                  <a:gd name="T26" fmla="*/ 6 w 20"/>
                  <a:gd name="T27" fmla="*/ 1 h 18"/>
                  <a:gd name="T28" fmla="*/ 7 w 20"/>
                  <a:gd name="T29" fmla="*/ 0 h 18"/>
                  <a:gd name="T30" fmla="*/ 9 w 20"/>
                  <a:gd name="T31" fmla="*/ 1 h 18"/>
                  <a:gd name="T32" fmla="*/ 9 w 20"/>
                  <a:gd name="T33" fmla="*/ 1 h 18"/>
                  <a:gd name="T34" fmla="*/ 9 w 20"/>
                  <a:gd name="T35" fmla="*/ 4 h 18"/>
                  <a:gd name="T36" fmla="*/ 10 w 20"/>
                  <a:gd name="T37" fmla="*/ 5 h 18"/>
                  <a:gd name="T38" fmla="*/ 12 w 20"/>
                  <a:gd name="T39" fmla="*/ 7 h 18"/>
                  <a:gd name="T40" fmla="*/ 12 w 20"/>
                  <a:gd name="T41" fmla="*/ 7 h 18"/>
                  <a:gd name="T42" fmla="*/ 17 w 20"/>
                  <a:gd name="T43" fmla="*/ 7 h 18"/>
                  <a:gd name="T44" fmla="*/ 20 w 20"/>
                  <a:gd name="T45" fmla="*/ 8 h 18"/>
                  <a:gd name="T46" fmla="*/ 19 w 20"/>
                  <a:gd name="T47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0" h="18">
                    <a:moveTo>
                      <a:pt x="19" y="10"/>
                    </a:moveTo>
                    <a:lnTo>
                      <a:pt x="19" y="10"/>
                    </a:lnTo>
                    <a:lnTo>
                      <a:pt x="17" y="13"/>
                    </a:lnTo>
                    <a:lnTo>
                      <a:pt x="16" y="15"/>
                    </a:lnTo>
                    <a:lnTo>
                      <a:pt x="15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6" y="15"/>
                    </a:lnTo>
                    <a:lnTo>
                      <a:pt x="3" y="13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9" y="4"/>
                    </a:lnTo>
                    <a:lnTo>
                      <a:pt x="10" y="5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7" y="7"/>
                    </a:lnTo>
                    <a:lnTo>
                      <a:pt x="20" y="8"/>
                    </a:lnTo>
                    <a:lnTo>
                      <a:pt x="19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09" name="Freeform 963"/>
              <p:cNvSpPr>
                <a:spLocks/>
              </p:cNvSpPr>
              <p:nvPr/>
            </p:nvSpPr>
            <p:spPr bwMode="auto">
              <a:xfrm>
                <a:off x="3356199" y="2068693"/>
                <a:ext cx="19785" cy="17807"/>
              </a:xfrm>
              <a:custGeom>
                <a:avLst/>
                <a:gdLst>
                  <a:gd name="T0" fmla="*/ 19 w 20"/>
                  <a:gd name="T1" fmla="*/ 10 h 18"/>
                  <a:gd name="T2" fmla="*/ 19 w 20"/>
                  <a:gd name="T3" fmla="*/ 10 h 18"/>
                  <a:gd name="T4" fmla="*/ 17 w 20"/>
                  <a:gd name="T5" fmla="*/ 13 h 18"/>
                  <a:gd name="T6" fmla="*/ 16 w 20"/>
                  <a:gd name="T7" fmla="*/ 15 h 18"/>
                  <a:gd name="T8" fmla="*/ 15 w 20"/>
                  <a:gd name="T9" fmla="*/ 18 h 18"/>
                  <a:gd name="T10" fmla="*/ 10 w 20"/>
                  <a:gd name="T11" fmla="*/ 18 h 18"/>
                  <a:gd name="T12" fmla="*/ 10 w 20"/>
                  <a:gd name="T13" fmla="*/ 18 h 18"/>
                  <a:gd name="T14" fmla="*/ 6 w 20"/>
                  <a:gd name="T15" fmla="*/ 15 h 18"/>
                  <a:gd name="T16" fmla="*/ 3 w 20"/>
                  <a:gd name="T17" fmla="*/ 13 h 18"/>
                  <a:gd name="T18" fmla="*/ 0 w 20"/>
                  <a:gd name="T19" fmla="*/ 8 h 18"/>
                  <a:gd name="T20" fmla="*/ 0 w 20"/>
                  <a:gd name="T21" fmla="*/ 7 h 18"/>
                  <a:gd name="T22" fmla="*/ 0 w 20"/>
                  <a:gd name="T23" fmla="*/ 5 h 18"/>
                  <a:gd name="T24" fmla="*/ 0 w 20"/>
                  <a:gd name="T25" fmla="*/ 5 h 18"/>
                  <a:gd name="T26" fmla="*/ 6 w 20"/>
                  <a:gd name="T27" fmla="*/ 1 h 18"/>
                  <a:gd name="T28" fmla="*/ 7 w 20"/>
                  <a:gd name="T29" fmla="*/ 0 h 18"/>
                  <a:gd name="T30" fmla="*/ 9 w 20"/>
                  <a:gd name="T31" fmla="*/ 1 h 18"/>
                  <a:gd name="T32" fmla="*/ 9 w 20"/>
                  <a:gd name="T33" fmla="*/ 1 h 18"/>
                  <a:gd name="T34" fmla="*/ 9 w 20"/>
                  <a:gd name="T35" fmla="*/ 4 h 18"/>
                  <a:gd name="T36" fmla="*/ 10 w 20"/>
                  <a:gd name="T37" fmla="*/ 5 h 18"/>
                  <a:gd name="T38" fmla="*/ 12 w 20"/>
                  <a:gd name="T39" fmla="*/ 7 h 18"/>
                  <a:gd name="T40" fmla="*/ 12 w 20"/>
                  <a:gd name="T41" fmla="*/ 7 h 18"/>
                  <a:gd name="T42" fmla="*/ 17 w 20"/>
                  <a:gd name="T43" fmla="*/ 7 h 18"/>
                  <a:gd name="T44" fmla="*/ 20 w 20"/>
                  <a:gd name="T45" fmla="*/ 8 h 18"/>
                  <a:gd name="T46" fmla="*/ 19 w 20"/>
                  <a:gd name="T47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0" h="18">
                    <a:moveTo>
                      <a:pt x="19" y="10"/>
                    </a:moveTo>
                    <a:lnTo>
                      <a:pt x="19" y="10"/>
                    </a:lnTo>
                    <a:lnTo>
                      <a:pt x="17" y="13"/>
                    </a:lnTo>
                    <a:lnTo>
                      <a:pt x="16" y="15"/>
                    </a:lnTo>
                    <a:lnTo>
                      <a:pt x="15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6" y="15"/>
                    </a:lnTo>
                    <a:lnTo>
                      <a:pt x="3" y="13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9" y="4"/>
                    </a:lnTo>
                    <a:lnTo>
                      <a:pt x="10" y="5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7" y="7"/>
                    </a:lnTo>
                    <a:lnTo>
                      <a:pt x="20" y="8"/>
                    </a:lnTo>
                    <a:lnTo>
                      <a:pt x="19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10" name="Freeform 964"/>
              <p:cNvSpPr>
                <a:spLocks/>
              </p:cNvSpPr>
              <p:nvPr/>
            </p:nvSpPr>
            <p:spPr bwMode="auto">
              <a:xfrm>
                <a:off x="3113831" y="1546364"/>
                <a:ext cx="72216" cy="66280"/>
              </a:xfrm>
              <a:custGeom>
                <a:avLst/>
                <a:gdLst>
                  <a:gd name="T0" fmla="*/ 63 w 73"/>
                  <a:gd name="T1" fmla="*/ 67 h 67"/>
                  <a:gd name="T2" fmla="*/ 63 w 73"/>
                  <a:gd name="T3" fmla="*/ 67 h 67"/>
                  <a:gd name="T4" fmla="*/ 58 w 73"/>
                  <a:gd name="T5" fmla="*/ 67 h 67"/>
                  <a:gd name="T6" fmla="*/ 52 w 73"/>
                  <a:gd name="T7" fmla="*/ 65 h 67"/>
                  <a:gd name="T8" fmla="*/ 48 w 73"/>
                  <a:gd name="T9" fmla="*/ 64 h 67"/>
                  <a:gd name="T10" fmla="*/ 45 w 73"/>
                  <a:gd name="T11" fmla="*/ 64 h 67"/>
                  <a:gd name="T12" fmla="*/ 45 w 73"/>
                  <a:gd name="T13" fmla="*/ 64 h 67"/>
                  <a:gd name="T14" fmla="*/ 23 w 73"/>
                  <a:gd name="T15" fmla="*/ 65 h 67"/>
                  <a:gd name="T16" fmla="*/ 12 w 73"/>
                  <a:gd name="T17" fmla="*/ 65 h 67"/>
                  <a:gd name="T18" fmla="*/ 5 w 73"/>
                  <a:gd name="T19" fmla="*/ 65 h 67"/>
                  <a:gd name="T20" fmla="*/ 5 w 73"/>
                  <a:gd name="T21" fmla="*/ 65 h 67"/>
                  <a:gd name="T22" fmla="*/ 3 w 73"/>
                  <a:gd name="T23" fmla="*/ 63 h 67"/>
                  <a:gd name="T24" fmla="*/ 3 w 73"/>
                  <a:gd name="T25" fmla="*/ 55 h 67"/>
                  <a:gd name="T26" fmla="*/ 3 w 73"/>
                  <a:gd name="T27" fmla="*/ 42 h 67"/>
                  <a:gd name="T28" fmla="*/ 3 w 73"/>
                  <a:gd name="T29" fmla="*/ 42 h 67"/>
                  <a:gd name="T30" fmla="*/ 0 w 73"/>
                  <a:gd name="T31" fmla="*/ 26 h 67"/>
                  <a:gd name="T32" fmla="*/ 0 w 73"/>
                  <a:gd name="T33" fmla="*/ 13 h 67"/>
                  <a:gd name="T34" fmla="*/ 0 w 73"/>
                  <a:gd name="T35" fmla="*/ 13 h 67"/>
                  <a:gd name="T36" fmla="*/ 0 w 73"/>
                  <a:gd name="T37" fmla="*/ 8 h 67"/>
                  <a:gd name="T38" fmla="*/ 3 w 73"/>
                  <a:gd name="T39" fmla="*/ 6 h 67"/>
                  <a:gd name="T40" fmla="*/ 6 w 73"/>
                  <a:gd name="T41" fmla="*/ 3 h 67"/>
                  <a:gd name="T42" fmla="*/ 6 w 73"/>
                  <a:gd name="T43" fmla="*/ 3 h 67"/>
                  <a:gd name="T44" fmla="*/ 15 w 73"/>
                  <a:gd name="T45" fmla="*/ 0 h 67"/>
                  <a:gd name="T46" fmla="*/ 18 w 73"/>
                  <a:gd name="T47" fmla="*/ 0 h 67"/>
                  <a:gd name="T48" fmla="*/ 21 w 73"/>
                  <a:gd name="T49" fmla="*/ 2 h 67"/>
                  <a:gd name="T50" fmla="*/ 21 w 73"/>
                  <a:gd name="T51" fmla="*/ 2 h 67"/>
                  <a:gd name="T52" fmla="*/ 23 w 73"/>
                  <a:gd name="T53" fmla="*/ 6 h 67"/>
                  <a:gd name="T54" fmla="*/ 28 w 73"/>
                  <a:gd name="T55" fmla="*/ 9 h 67"/>
                  <a:gd name="T56" fmla="*/ 32 w 73"/>
                  <a:gd name="T57" fmla="*/ 10 h 67"/>
                  <a:gd name="T58" fmla="*/ 35 w 73"/>
                  <a:gd name="T59" fmla="*/ 10 h 67"/>
                  <a:gd name="T60" fmla="*/ 35 w 73"/>
                  <a:gd name="T61" fmla="*/ 10 h 67"/>
                  <a:gd name="T62" fmla="*/ 44 w 73"/>
                  <a:gd name="T63" fmla="*/ 9 h 67"/>
                  <a:gd name="T64" fmla="*/ 51 w 73"/>
                  <a:gd name="T65" fmla="*/ 9 h 67"/>
                  <a:gd name="T66" fmla="*/ 55 w 73"/>
                  <a:gd name="T67" fmla="*/ 9 h 67"/>
                  <a:gd name="T68" fmla="*/ 55 w 73"/>
                  <a:gd name="T69" fmla="*/ 9 h 67"/>
                  <a:gd name="T70" fmla="*/ 61 w 73"/>
                  <a:gd name="T71" fmla="*/ 13 h 67"/>
                  <a:gd name="T72" fmla="*/ 63 w 73"/>
                  <a:gd name="T73" fmla="*/ 15 h 67"/>
                  <a:gd name="T74" fmla="*/ 64 w 73"/>
                  <a:gd name="T75" fmla="*/ 18 h 67"/>
                  <a:gd name="T76" fmla="*/ 64 w 73"/>
                  <a:gd name="T77" fmla="*/ 18 h 67"/>
                  <a:gd name="T78" fmla="*/ 64 w 73"/>
                  <a:gd name="T79" fmla="*/ 23 h 67"/>
                  <a:gd name="T80" fmla="*/ 64 w 73"/>
                  <a:gd name="T81" fmla="*/ 26 h 67"/>
                  <a:gd name="T82" fmla="*/ 66 w 73"/>
                  <a:gd name="T83" fmla="*/ 29 h 67"/>
                  <a:gd name="T84" fmla="*/ 66 w 73"/>
                  <a:gd name="T85" fmla="*/ 29 h 67"/>
                  <a:gd name="T86" fmla="*/ 67 w 73"/>
                  <a:gd name="T87" fmla="*/ 32 h 67"/>
                  <a:gd name="T88" fmla="*/ 68 w 73"/>
                  <a:gd name="T89" fmla="*/ 37 h 67"/>
                  <a:gd name="T90" fmla="*/ 70 w 73"/>
                  <a:gd name="T91" fmla="*/ 47 h 67"/>
                  <a:gd name="T92" fmla="*/ 70 w 73"/>
                  <a:gd name="T93" fmla="*/ 47 h 67"/>
                  <a:gd name="T94" fmla="*/ 71 w 73"/>
                  <a:gd name="T95" fmla="*/ 52 h 67"/>
                  <a:gd name="T96" fmla="*/ 73 w 73"/>
                  <a:gd name="T97" fmla="*/ 58 h 67"/>
                  <a:gd name="T98" fmla="*/ 73 w 73"/>
                  <a:gd name="T99" fmla="*/ 61 h 67"/>
                  <a:gd name="T100" fmla="*/ 71 w 73"/>
                  <a:gd name="T101" fmla="*/ 64 h 67"/>
                  <a:gd name="T102" fmla="*/ 68 w 73"/>
                  <a:gd name="T103" fmla="*/ 65 h 67"/>
                  <a:gd name="T104" fmla="*/ 63 w 73"/>
                  <a:gd name="T10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3" h="67">
                    <a:moveTo>
                      <a:pt x="63" y="67"/>
                    </a:moveTo>
                    <a:lnTo>
                      <a:pt x="63" y="67"/>
                    </a:lnTo>
                    <a:lnTo>
                      <a:pt x="58" y="67"/>
                    </a:lnTo>
                    <a:lnTo>
                      <a:pt x="52" y="65"/>
                    </a:lnTo>
                    <a:lnTo>
                      <a:pt x="48" y="64"/>
                    </a:lnTo>
                    <a:lnTo>
                      <a:pt x="45" y="64"/>
                    </a:lnTo>
                    <a:lnTo>
                      <a:pt x="45" y="64"/>
                    </a:lnTo>
                    <a:lnTo>
                      <a:pt x="23" y="65"/>
                    </a:lnTo>
                    <a:lnTo>
                      <a:pt x="12" y="65"/>
                    </a:lnTo>
                    <a:lnTo>
                      <a:pt x="5" y="65"/>
                    </a:lnTo>
                    <a:lnTo>
                      <a:pt x="5" y="65"/>
                    </a:lnTo>
                    <a:lnTo>
                      <a:pt x="3" y="63"/>
                    </a:lnTo>
                    <a:lnTo>
                      <a:pt x="3" y="55"/>
                    </a:lnTo>
                    <a:lnTo>
                      <a:pt x="3" y="42"/>
                    </a:lnTo>
                    <a:lnTo>
                      <a:pt x="3" y="42"/>
                    </a:lnTo>
                    <a:lnTo>
                      <a:pt x="0" y="2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8" y="9"/>
                    </a:lnTo>
                    <a:lnTo>
                      <a:pt x="32" y="10"/>
                    </a:lnTo>
                    <a:lnTo>
                      <a:pt x="35" y="10"/>
                    </a:lnTo>
                    <a:lnTo>
                      <a:pt x="35" y="10"/>
                    </a:lnTo>
                    <a:lnTo>
                      <a:pt x="44" y="9"/>
                    </a:lnTo>
                    <a:lnTo>
                      <a:pt x="51" y="9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61" y="13"/>
                    </a:lnTo>
                    <a:lnTo>
                      <a:pt x="63" y="15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23"/>
                    </a:lnTo>
                    <a:lnTo>
                      <a:pt x="64" y="26"/>
                    </a:lnTo>
                    <a:lnTo>
                      <a:pt x="66" y="29"/>
                    </a:lnTo>
                    <a:lnTo>
                      <a:pt x="66" y="29"/>
                    </a:lnTo>
                    <a:lnTo>
                      <a:pt x="67" y="32"/>
                    </a:lnTo>
                    <a:lnTo>
                      <a:pt x="68" y="37"/>
                    </a:lnTo>
                    <a:lnTo>
                      <a:pt x="70" y="47"/>
                    </a:lnTo>
                    <a:lnTo>
                      <a:pt x="70" y="47"/>
                    </a:lnTo>
                    <a:lnTo>
                      <a:pt x="71" y="52"/>
                    </a:lnTo>
                    <a:lnTo>
                      <a:pt x="73" y="58"/>
                    </a:lnTo>
                    <a:lnTo>
                      <a:pt x="73" y="61"/>
                    </a:lnTo>
                    <a:lnTo>
                      <a:pt x="71" y="64"/>
                    </a:lnTo>
                    <a:lnTo>
                      <a:pt x="68" y="65"/>
                    </a:lnTo>
                    <a:lnTo>
                      <a:pt x="63" y="6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11" name="Freeform 965"/>
              <p:cNvSpPr>
                <a:spLocks/>
              </p:cNvSpPr>
              <p:nvPr/>
            </p:nvSpPr>
            <p:spPr bwMode="auto">
              <a:xfrm>
                <a:off x="3113831" y="1546364"/>
                <a:ext cx="72216" cy="66280"/>
              </a:xfrm>
              <a:custGeom>
                <a:avLst/>
                <a:gdLst>
                  <a:gd name="T0" fmla="*/ 63 w 73"/>
                  <a:gd name="T1" fmla="*/ 67 h 67"/>
                  <a:gd name="T2" fmla="*/ 63 w 73"/>
                  <a:gd name="T3" fmla="*/ 67 h 67"/>
                  <a:gd name="T4" fmla="*/ 58 w 73"/>
                  <a:gd name="T5" fmla="*/ 67 h 67"/>
                  <a:gd name="T6" fmla="*/ 52 w 73"/>
                  <a:gd name="T7" fmla="*/ 65 h 67"/>
                  <a:gd name="T8" fmla="*/ 48 w 73"/>
                  <a:gd name="T9" fmla="*/ 64 h 67"/>
                  <a:gd name="T10" fmla="*/ 45 w 73"/>
                  <a:gd name="T11" fmla="*/ 64 h 67"/>
                  <a:gd name="T12" fmla="*/ 45 w 73"/>
                  <a:gd name="T13" fmla="*/ 64 h 67"/>
                  <a:gd name="T14" fmla="*/ 23 w 73"/>
                  <a:gd name="T15" fmla="*/ 65 h 67"/>
                  <a:gd name="T16" fmla="*/ 12 w 73"/>
                  <a:gd name="T17" fmla="*/ 65 h 67"/>
                  <a:gd name="T18" fmla="*/ 5 w 73"/>
                  <a:gd name="T19" fmla="*/ 65 h 67"/>
                  <a:gd name="T20" fmla="*/ 5 w 73"/>
                  <a:gd name="T21" fmla="*/ 65 h 67"/>
                  <a:gd name="T22" fmla="*/ 3 w 73"/>
                  <a:gd name="T23" fmla="*/ 63 h 67"/>
                  <a:gd name="T24" fmla="*/ 3 w 73"/>
                  <a:gd name="T25" fmla="*/ 55 h 67"/>
                  <a:gd name="T26" fmla="*/ 3 w 73"/>
                  <a:gd name="T27" fmla="*/ 42 h 67"/>
                  <a:gd name="T28" fmla="*/ 3 w 73"/>
                  <a:gd name="T29" fmla="*/ 42 h 67"/>
                  <a:gd name="T30" fmla="*/ 0 w 73"/>
                  <a:gd name="T31" fmla="*/ 26 h 67"/>
                  <a:gd name="T32" fmla="*/ 0 w 73"/>
                  <a:gd name="T33" fmla="*/ 13 h 67"/>
                  <a:gd name="T34" fmla="*/ 0 w 73"/>
                  <a:gd name="T35" fmla="*/ 13 h 67"/>
                  <a:gd name="T36" fmla="*/ 0 w 73"/>
                  <a:gd name="T37" fmla="*/ 8 h 67"/>
                  <a:gd name="T38" fmla="*/ 3 w 73"/>
                  <a:gd name="T39" fmla="*/ 6 h 67"/>
                  <a:gd name="T40" fmla="*/ 6 w 73"/>
                  <a:gd name="T41" fmla="*/ 3 h 67"/>
                  <a:gd name="T42" fmla="*/ 6 w 73"/>
                  <a:gd name="T43" fmla="*/ 3 h 67"/>
                  <a:gd name="T44" fmla="*/ 15 w 73"/>
                  <a:gd name="T45" fmla="*/ 0 h 67"/>
                  <a:gd name="T46" fmla="*/ 18 w 73"/>
                  <a:gd name="T47" fmla="*/ 0 h 67"/>
                  <a:gd name="T48" fmla="*/ 21 w 73"/>
                  <a:gd name="T49" fmla="*/ 2 h 67"/>
                  <a:gd name="T50" fmla="*/ 21 w 73"/>
                  <a:gd name="T51" fmla="*/ 2 h 67"/>
                  <a:gd name="T52" fmla="*/ 23 w 73"/>
                  <a:gd name="T53" fmla="*/ 6 h 67"/>
                  <a:gd name="T54" fmla="*/ 28 w 73"/>
                  <a:gd name="T55" fmla="*/ 9 h 67"/>
                  <a:gd name="T56" fmla="*/ 32 w 73"/>
                  <a:gd name="T57" fmla="*/ 10 h 67"/>
                  <a:gd name="T58" fmla="*/ 35 w 73"/>
                  <a:gd name="T59" fmla="*/ 10 h 67"/>
                  <a:gd name="T60" fmla="*/ 35 w 73"/>
                  <a:gd name="T61" fmla="*/ 10 h 67"/>
                  <a:gd name="T62" fmla="*/ 44 w 73"/>
                  <a:gd name="T63" fmla="*/ 9 h 67"/>
                  <a:gd name="T64" fmla="*/ 51 w 73"/>
                  <a:gd name="T65" fmla="*/ 9 h 67"/>
                  <a:gd name="T66" fmla="*/ 55 w 73"/>
                  <a:gd name="T67" fmla="*/ 9 h 67"/>
                  <a:gd name="T68" fmla="*/ 55 w 73"/>
                  <a:gd name="T69" fmla="*/ 9 h 67"/>
                  <a:gd name="T70" fmla="*/ 61 w 73"/>
                  <a:gd name="T71" fmla="*/ 13 h 67"/>
                  <a:gd name="T72" fmla="*/ 63 w 73"/>
                  <a:gd name="T73" fmla="*/ 15 h 67"/>
                  <a:gd name="T74" fmla="*/ 64 w 73"/>
                  <a:gd name="T75" fmla="*/ 18 h 67"/>
                  <a:gd name="T76" fmla="*/ 64 w 73"/>
                  <a:gd name="T77" fmla="*/ 18 h 67"/>
                  <a:gd name="T78" fmla="*/ 64 w 73"/>
                  <a:gd name="T79" fmla="*/ 23 h 67"/>
                  <a:gd name="T80" fmla="*/ 64 w 73"/>
                  <a:gd name="T81" fmla="*/ 26 h 67"/>
                  <a:gd name="T82" fmla="*/ 66 w 73"/>
                  <a:gd name="T83" fmla="*/ 29 h 67"/>
                  <a:gd name="T84" fmla="*/ 66 w 73"/>
                  <a:gd name="T85" fmla="*/ 29 h 67"/>
                  <a:gd name="T86" fmla="*/ 67 w 73"/>
                  <a:gd name="T87" fmla="*/ 32 h 67"/>
                  <a:gd name="T88" fmla="*/ 68 w 73"/>
                  <a:gd name="T89" fmla="*/ 37 h 67"/>
                  <a:gd name="T90" fmla="*/ 70 w 73"/>
                  <a:gd name="T91" fmla="*/ 47 h 67"/>
                  <a:gd name="T92" fmla="*/ 70 w 73"/>
                  <a:gd name="T93" fmla="*/ 47 h 67"/>
                  <a:gd name="T94" fmla="*/ 71 w 73"/>
                  <a:gd name="T95" fmla="*/ 52 h 67"/>
                  <a:gd name="T96" fmla="*/ 73 w 73"/>
                  <a:gd name="T97" fmla="*/ 58 h 67"/>
                  <a:gd name="T98" fmla="*/ 73 w 73"/>
                  <a:gd name="T99" fmla="*/ 61 h 67"/>
                  <a:gd name="T100" fmla="*/ 71 w 73"/>
                  <a:gd name="T101" fmla="*/ 64 h 67"/>
                  <a:gd name="T102" fmla="*/ 68 w 73"/>
                  <a:gd name="T103" fmla="*/ 65 h 67"/>
                  <a:gd name="T104" fmla="*/ 63 w 73"/>
                  <a:gd name="T10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3" h="67">
                    <a:moveTo>
                      <a:pt x="63" y="67"/>
                    </a:moveTo>
                    <a:lnTo>
                      <a:pt x="63" y="67"/>
                    </a:lnTo>
                    <a:lnTo>
                      <a:pt x="58" y="67"/>
                    </a:lnTo>
                    <a:lnTo>
                      <a:pt x="52" y="65"/>
                    </a:lnTo>
                    <a:lnTo>
                      <a:pt x="48" y="64"/>
                    </a:lnTo>
                    <a:lnTo>
                      <a:pt x="45" y="64"/>
                    </a:lnTo>
                    <a:lnTo>
                      <a:pt x="45" y="64"/>
                    </a:lnTo>
                    <a:lnTo>
                      <a:pt x="23" y="65"/>
                    </a:lnTo>
                    <a:lnTo>
                      <a:pt x="12" y="65"/>
                    </a:lnTo>
                    <a:lnTo>
                      <a:pt x="5" y="65"/>
                    </a:lnTo>
                    <a:lnTo>
                      <a:pt x="5" y="65"/>
                    </a:lnTo>
                    <a:lnTo>
                      <a:pt x="3" y="63"/>
                    </a:lnTo>
                    <a:lnTo>
                      <a:pt x="3" y="55"/>
                    </a:lnTo>
                    <a:lnTo>
                      <a:pt x="3" y="42"/>
                    </a:lnTo>
                    <a:lnTo>
                      <a:pt x="3" y="42"/>
                    </a:lnTo>
                    <a:lnTo>
                      <a:pt x="0" y="2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8" y="9"/>
                    </a:lnTo>
                    <a:lnTo>
                      <a:pt x="32" y="10"/>
                    </a:lnTo>
                    <a:lnTo>
                      <a:pt x="35" y="10"/>
                    </a:lnTo>
                    <a:lnTo>
                      <a:pt x="35" y="10"/>
                    </a:lnTo>
                    <a:lnTo>
                      <a:pt x="44" y="9"/>
                    </a:lnTo>
                    <a:lnTo>
                      <a:pt x="51" y="9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61" y="13"/>
                    </a:lnTo>
                    <a:lnTo>
                      <a:pt x="63" y="15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23"/>
                    </a:lnTo>
                    <a:lnTo>
                      <a:pt x="64" y="26"/>
                    </a:lnTo>
                    <a:lnTo>
                      <a:pt x="66" y="29"/>
                    </a:lnTo>
                    <a:lnTo>
                      <a:pt x="66" y="29"/>
                    </a:lnTo>
                    <a:lnTo>
                      <a:pt x="67" y="32"/>
                    </a:lnTo>
                    <a:lnTo>
                      <a:pt x="68" y="37"/>
                    </a:lnTo>
                    <a:lnTo>
                      <a:pt x="70" y="47"/>
                    </a:lnTo>
                    <a:lnTo>
                      <a:pt x="70" y="47"/>
                    </a:lnTo>
                    <a:lnTo>
                      <a:pt x="71" y="52"/>
                    </a:lnTo>
                    <a:lnTo>
                      <a:pt x="73" y="58"/>
                    </a:lnTo>
                    <a:lnTo>
                      <a:pt x="73" y="61"/>
                    </a:lnTo>
                    <a:lnTo>
                      <a:pt x="71" y="64"/>
                    </a:lnTo>
                    <a:lnTo>
                      <a:pt x="68" y="65"/>
                    </a:lnTo>
                    <a:lnTo>
                      <a:pt x="63" y="6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12" name="Freeform 966"/>
              <p:cNvSpPr>
                <a:spLocks/>
              </p:cNvSpPr>
              <p:nvPr/>
            </p:nvSpPr>
            <p:spPr bwMode="auto">
              <a:xfrm>
                <a:off x="2812107" y="1751141"/>
                <a:ext cx="70237" cy="66280"/>
              </a:xfrm>
              <a:custGeom>
                <a:avLst/>
                <a:gdLst>
                  <a:gd name="T0" fmla="*/ 69 w 71"/>
                  <a:gd name="T1" fmla="*/ 55 h 67"/>
                  <a:gd name="T2" fmla="*/ 56 w 71"/>
                  <a:gd name="T3" fmla="*/ 66 h 67"/>
                  <a:gd name="T4" fmla="*/ 52 w 71"/>
                  <a:gd name="T5" fmla="*/ 67 h 67"/>
                  <a:gd name="T6" fmla="*/ 34 w 71"/>
                  <a:gd name="T7" fmla="*/ 63 h 67"/>
                  <a:gd name="T8" fmla="*/ 24 w 71"/>
                  <a:gd name="T9" fmla="*/ 58 h 67"/>
                  <a:gd name="T10" fmla="*/ 16 w 71"/>
                  <a:gd name="T11" fmla="*/ 55 h 67"/>
                  <a:gd name="T12" fmla="*/ 6 w 71"/>
                  <a:gd name="T13" fmla="*/ 51 h 67"/>
                  <a:gd name="T14" fmla="*/ 1 w 71"/>
                  <a:gd name="T15" fmla="*/ 45 h 67"/>
                  <a:gd name="T16" fmla="*/ 1 w 71"/>
                  <a:gd name="T17" fmla="*/ 40 h 67"/>
                  <a:gd name="T18" fmla="*/ 7 w 71"/>
                  <a:gd name="T19" fmla="*/ 40 h 67"/>
                  <a:gd name="T20" fmla="*/ 14 w 71"/>
                  <a:gd name="T21" fmla="*/ 38 h 67"/>
                  <a:gd name="T22" fmla="*/ 19 w 71"/>
                  <a:gd name="T23" fmla="*/ 32 h 67"/>
                  <a:gd name="T24" fmla="*/ 19 w 71"/>
                  <a:gd name="T25" fmla="*/ 25 h 67"/>
                  <a:gd name="T26" fmla="*/ 17 w 71"/>
                  <a:gd name="T27" fmla="*/ 24 h 67"/>
                  <a:gd name="T28" fmla="*/ 20 w 71"/>
                  <a:gd name="T29" fmla="*/ 19 h 67"/>
                  <a:gd name="T30" fmla="*/ 20 w 71"/>
                  <a:gd name="T31" fmla="*/ 18 h 67"/>
                  <a:gd name="T32" fmla="*/ 23 w 71"/>
                  <a:gd name="T33" fmla="*/ 8 h 67"/>
                  <a:gd name="T34" fmla="*/ 26 w 71"/>
                  <a:gd name="T35" fmla="*/ 3 h 67"/>
                  <a:gd name="T36" fmla="*/ 29 w 71"/>
                  <a:gd name="T37" fmla="*/ 0 h 67"/>
                  <a:gd name="T38" fmla="*/ 34 w 71"/>
                  <a:gd name="T39" fmla="*/ 5 h 67"/>
                  <a:gd name="T40" fmla="*/ 39 w 71"/>
                  <a:gd name="T41" fmla="*/ 9 h 67"/>
                  <a:gd name="T42" fmla="*/ 39 w 71"/>
                  <a:gd name="T43" fmla="*/ 12 h 67"/>
                  <a:gd name="T44" fmla="*/ 42 w 71"/>
                  <a:gd name="T45" fmla="*/ 16 h 67"/>
                  <a:gd name="T46" fmla="*/ 45 w 71"/>
                  <a:gd name="T47" fmla="*/ 16 h 67"/>
                  <a:gd name="T48" fmla="*/ 48 w 71"/>
                  <a:gd name="T49" fmla="*/ 15 h 67"/>
                  <a:gd name="T50" fmla="*/ 52 w 71"/>
                  <a:gd name="T51" fmla="*/ 19 h 67"/>
                  <a:gd name="T52" fmla="*/ 58 w 71"/>
                  <a:gd name="T53" fmla="*/ 28 h 67"/>
                  <a:gd name="T54" fmla="*/ 59 w 71"/>
                  <a:gd name="T55" fmla="*/ 32 h 67"/>
                  <a:gd name="T56" fmla="*/ 58 w 71"/>
                  <a:gd name="T57" fmla="*/ 34 h 67"/>
                  <a:gd name="T58" fmla="*/ 58 w 71"/>
                  <a:gd name="T59" fmla="*/ 38 h 67"/>
                  <a:gd name="T60" fmla="*/ 59 w 71"/>
                  <a:gd name="T61" fmla="*/ 40 h 67"/>
                  <a:gd name="T62" fmla="*/ 62 w 71"/>
                  <a:gd name="T63" fmla="*/ 44 h 67"/>
                  <a:gd name="T64" fmla="*/ 66 w 71"/>
                  <a:gd name="T65" fmla="*/ 51 h 67"/>
                  <a:gd name="T66" fmla="*/ 71 w 71"/>
                  <a:gd name="T67" fmla="*/ 54 h 67"/>
                  <a:gd name="T68" fmla="*/ 69 w 71"/>
                  <a:gd name="T69" fmla="*/ 5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1" h="67">
                    <a:moveTo>
                      <a:pt x="69" y="55"/>
                    </a:moveTo>
                    <a:lnTo>
                      <a:pt x="69" y="55"/>
                    </a:lnTo>
                    <a:lnTo>
                      <a:pt x="61" y="63"/>
                    </a:lnTo>
                    <a:lnTo>
                      <a:pt x="56" y="66"/>
                    </a:lnTo>
                    <a:lnTo>
                      <a:pt x="52" y="67"/>
                    </a:lnTo>
                    <a:lnTo>
                      <a:pt x="52" y="67"/>
                    </a:lnTo>
                    <a:lnTo>
                      <a:pt x="43" y="64"/>
                    </a:lnTo>
                    <a:lnTo>
                      <a:pt x="34" y="63"/>
                    </a:lnTo>
                    <a:lnTo>
                      <a:pt x="34" y="63"/>
                    </a:lnTo>
                    <a:lnTo>
                      <a:pt x="24" y="58"/>
                    </a:lnTo>
                    <a:lnTo>
                      <a:pt x="16" y="55"/>
                    </a:lnTo>
                    <a:lnTo>
                      <a:pt x="16" y="55"/>
                    </a:lnTo>
                    <a:lnTo>
                      <a:pt x="10" y="54"/>
                    </a:lnTo>
                    <a:lnTo>
                      <a:pt x="6" y="51"/>
                    </a:lnTo>
                    <a:lnTo>
                      <a:pt x="6" y="51"/>
                    </a:lnTo>
                    <a:lnTo>
                      <a:pt x="1" y="45"/>
                    </a:lnTo>
                    <a:lnTo>
                      <a:pt x="0" y="41"/>
                    </a:lnTo>
                    <a:lnTo>
                      <a:pt x="1" y="40"/>
                    </a:lnTo>
                    <a:lnTo>
                      <a:pt x="1" y="40"/>
                    </a:lnTo>
                    <a:lnTo>
                      <a:pt x="7" y="40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7" y="35"/>
                    </a:lnTo>
                    <a:lnTo>
                      <a:pt x="19" y="32"/>
                    </a:lnTo>
                    <a:lnTo>
                      <a:pt x="20" y="28"/>
                    </a:lnTo>
                    <a:lnTo>
                      <a:pt x="19" y="25"/>
                    </a:lnTo>
                    <a:lnTo>
                      <a:pt x="19" y="25"/>
                    </a:lnTo>
                    <a:lnTo>
                      <a:pt x="17" y="24"/>
                    </a:lnTo>
                    <a:lnTo>
                      <a:pt x="17" y="22"/>
                    </a:lnTo>
                    <a:lnTo>
                      <a:pt x="20" y="19"/>
                    </a:lnTo>
                    <a:lnTo>
                      <a:pt x="20" y="19"/>
                    </a:lnTo>
                    <a:lnTo>
                      <a:pt x="20" y="18"/>
                    </a:lnTo>
                    <a:lnTo>
                      <a:pt x="21" y="13"/>
                    </a:lnTo>
                    <a:lnTo>
                      <a:pt x="23" y="8"/>
                    </a:lnTo>
                    <a:lnTo>
                      <a:pt x="23" y="8"/>
                    </a:lnTo>
                    <a:lnTo>
                      <a:pt x="26" y="3"/>
                    </a:lnTo>
                    <a:lnTo>
                      <a:pt x="27" y="0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4" y="5"/>
                    </a:lnTo>
                    <a:lnTo>
                      <a:pt x="39" y="8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9" y="12"/>
                    </a:lnTo>
                    <a:lnTo>
                      <a:pt x="40" y="13"/>
                    </a:lnTo>
                    <a:lnTo>
                      <a:pt x="42" y="16"/>
                    </a:lnTo>
                    <a:lnTo>
                      <a:pt x="45" y="16"/>
                    </a:lnTo>
                    <a:lnTo>
                      <a:pt x="45" y="16"/>
                    </a:lnTo>
                    <a:lnTo>
                      <a:pt x="46" y="15"/>
                    </a:lnTo>
                    <a:lnTo>
                      <a:pt x="48" y="15"/>
                    </a:lnTo>
                    <a:lnTo>
                      <a:pt x="50" y="16"/>
                    </a:lnTo>
                    <a:lnTo>
                      <a:pt x="52" y="19"/>
                    </a:lnTo>
                    <a:lnTo>
                      <a:pt x="52" y="19"/>
                    </a:lnTo>
                    <a:lnTo>
                      <a:pt x="58" y="28"/>
                    </a:lnTo>
                    <a:lnTo>
                      <a:pt x="59" y="31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8" y="34"/>
                    </a:lnTo>
                    <a:lnTo>
                      <a:pt x="58" y="37"/>
                    </a:lnTo>
                    <a:lnTo>
                      <a:pt x="58" y="38"/>
                    </a:lnTo>
                    <a:lnTo>
                      <a:pt x="59" y="40"/>
                    </a:lnTo>
                    <a:lnTo>
                      <a:pt x="59" y="40"/>
                    </a:lnTo>
                    <a:lnTo>
                      <a:pt x="61" y="41"/>
                    </a:lnTo>
                    <a:lnTo>
                      <a:pt x="62" y="44"/>
                    </a:lnTo>
                    <a:lnTo>
                      <a:pt x="65" y="48"/>
                    </a:lnTo>
                    <a:lnTo>
                      <a:pt x="66" y="51"/>
                    </a:lnTo>
                    <a:lnTo>
                      <a:pt x="66" y="51"/>
                    </a:lnTo>
                    <a:lnTo>
                      <a:pt x="71" y="54"/>
                    </a:lnTo>
                    <a:lnTo>
                      <a:pt x="71" y="55"/>
                    </a:lnTo>
                    <a:lnTo>
                      <a:pt x="69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13" name="Freeform 967"/>
              <p:cNvSpPr>
                <a:spLocks/>
              </p:cNvSpPr>
              <p:nvPr/>
            </p:nvSpPr>
            <p:spPr bwMode="auto">
              <a:xfrm>
                <a:off x="2812107" y="1751141"/>
                <a:ext cx="70237" cy="66280"/>
              </a:xfrm>
              <a:custGeom>
                <a:avLst/>
                <a:gdLst>
                  <a:gd name="T0" fmla="*/ 69 w 71"/>
                  <a:gd name="T1" fmla="*/ 55 h 67"/>
                  <a:gd name="T2" fmla="*/ 56 w 71"/>
                  <a:gd name="T3" fmla="*/ 66 h 67"/>
                  <a:gd name="T4" fmla="*/ 52 w 71"/>
                  <a:gd name="T5" fmla="*/ 67 h 67"/>
                  <a:gd name="T6" fmla="*/ 34 w 71"/>
                  <a:gd name="T7" fmla="*/ 63 h 67"/>
                  <a:gd name="T8" fmla="*/ 24 w 71"/>
                  <a:gd name="T9" fmla="*/ 58 h 67"/>
                  <a:gd name="T10" fmla="*/ 16 w 71"/>
                  <a:gd name="T11" fmla="*/ 55 h 67"/>
                  <a:gd name="T12" fmla="*/ 6 w 71"/>
                  <a:gd name="T13" fmla="*/ 51 h 67"/>
                  <a:gd name="T14" fmla="*/ 1 w 71"/>
                  <a:gd name="T15" fmla="*/ 45 h 67"/>
                  <a:gd name="T16" fmla="*/ 1 w 71"/>
                  <a:gd name="T17" fmla="*/ 40 h 67"/>
                  <a:gd name="T18" fmla="*/ 7 w 71"/>
                  <a:gd name="T19" fmla="*/ 40 h 67"/>
                  <a:gd name="T20" fmla="*/ 14 w 71"/>
                  <a:gd name="T21" fmla="*/ 38 h 67"/>
                  <a:gd name="T22" fmla="*/ 19 w 71"/>
                  <a:gd name="T23" fmla="*/ 32 h 67"/>
                  <a:gd name="T24" fmla="*/ 19 w 71"/>
                  <a:gd name="T25" fmla="*/ 25 h 67"/>
                  <a:gd name="T26" fmla="*/ 17 w 71"/>
                  <a:gd name="T27" fmla="*/ 24 h 67"/>
                  <a:gd name="T28" fmla="*/ 20 w 71"/>
                  <a:gd name="T29" fmla="*/ 19 h 67"/>
                  <a:gd name="T30" fmla="*/ 20 w 71"/>
                  <a:gd name="T31" fmla="*/ 18 h 67"/>
                  <a:gd name="T32" fmla="*/ 23 w 71"/>
                  <a:gd name="T33" fmla="*/ 8 h 67"/>
                  <a:gd name="T34" fmla="*/ 26 w 71"/>
                  <a:gd name="T35" fmla="*/ 3 h 67"/>
                  <a:gd name="T36" fmla="*/ 29 w 71"/>
                  <a:gd name="T37" fmla="*/ 0 h 67"/>
                  <a:gd name="T38" fmla="*/ 34 w 71"/>
                  <a:gd name="T39" fmla="*/ 5 h 67"/>
                  <a:gd name="T40" fmla="*/ 39 w 71"/>
                  <a:gd name="T41" fmla="*/ 9 h 67"/>
                  <a:gd name="T42" fmla="*/ 39 w 71"/>
                  <a:gd name="T43" fmla="*/ 12 h 67"/>
                  <a:gd name="T44" fmla="*/ 42 w 71"/>
                  <a:gd name="T45" fmla="*/ 16 h 67"/>
                  <a:gd name="T46" fmla="*/ 45 w 71"/>
                  <a:gd name="T47" fmla="*/ 16 h 67"/>
                  <a:gd name="T48" fmla="*/ 48 w 71"/>
                  <a:gd name="T49" fmla="*/ 15 h 67"/>
                  <a:gd name="T50" fmla="*/ 52 w 71"/>
                  <a:gd name="T51" fmla="*/ 19 h 67"/>
                  <a:gd name="T52" fmla="*/ 58 w 71"/>
                  <a:gd name="T53" fmla="*/ 28 h 67"/>
                  <a:gd name="T54" fmla="*/ 59 w 71"/>
                  <a:gd name="T55" fmla="*/ 32 h 67"/>
                  <a:gd name="T56" fmla="*/ 58 w 71"/>
                  <a:gd name="T57" fmla="*/ 34 h 67"/>
                  <a:gd name="T58" fmla="*/ 58 w 71"/>
                  <a:gd name="T59" fmla="*/ 38 h 67"/>
                  <a:gd name="T60" fmla="*/ 59 w 71"/>
                  <a:gd name="T61" fmla="*/ 40 h 67"/>
                  <a:gd name="T62" fmla="*/ 62 w 71"/>
                  <a:gd name="T63" fmla="*/ 44 h 67"/>
                  <a:gd name="T64" fmla="*/ 66 w 71"/>
                  <a:gd name="T65" fmla="*/ 51 h 67"/>
                  <a:gd name="T66" fmla="*/ 71 w 71"/>
                  <a:gd name="T67" fmla="*/ 54 h 67"/>
                  <a:gd name="T68" fmla="*/ 69 w 71"/>
                  <a:gd name="T69" fmla="*/ 5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1" h="67">
                    <a:moveTo>
                      <a:pt x="69" y="55"/>
                    </a:moveTo>
                    <a:lnTo>
                      <a:pt x="69" y="55"/>
                    </a:lnTo>
                    <a:lnTo>
                      <a:pt x="61" y="63"/>
                    </a:lnTo>
                    <a:lnTo>
                      <a:pt x="56" y="66"/>
                    </a:lnTo>
                    <a:lnTo>
                      <a:pt x="52" y="67"/>
                    </a:lnTo>
                    <a:lnTo>
                      <a:pt x="52" y="67"/>
                    </a:lnTo>
                    <a:lnTo>
                      <a:pt x="43" y="64"/>
                    </a:lnTo>
                    <a:lnTo>
                      <a:pt x="34" y="63"/>
                    </a:lnTo>
                    <a:lnTo>
                      <a:pt x="34" y="63"/>
                    </a:lnTo>
                    <a:lnTo>
                      <a:pt x="24" y="58"/>
                    </a:lnTo>
                    <a:lnTo>
                      <a:pt x="16" y="55"/>
                    </a:lnTo>
                    <a:lnTo>
                      <a:pt x="16" y="55"/>
                    </a:lnTo>
                    <a:lnTo>
                      <a:pt x="10" y="54"/>
                    </a:lnTo>
                    <a:lnTo>
                      <a:pt x="6" y="51"/>
                    </a:lnTo>
                    <a:lnTo>
                      <a:pt x="6" y="51"/>
                    </a:lnTo>
                    <a:lnTo>
                      <a:pt x="1" y="45"/>
                    </a:lnTo>
                    <a:lnTo>
                      <a:pt x="0" y="41"/>
                    </a:lnTo>
                    <a:lnTo>
                      <a:pt x="1" y="40"/>
                    </a:lnTo>
                    <a:lnTo>
                      <a:pt x="1" y="40"/>
                    </a:lnTo>
                    <a:lnTo>
                      <a:pt x="7" y="40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7" y="35"/>
                    </a:lnTo>
                    <a:lnTo>
                      <a:pt x="19" y="32"/>
                    </a:lnTo>
                    <a:lnTo>
                      <a:pt x="20" y="28"/>
                    </a:lnTo>
                    <a:lnTo>
                      <a:pt x="19" y="25"/>
                    </a:lnTo>
                    <a:lnTo>
                      <a:pt x="19" y="25"/>
                    </a:lnTo>
                    <a:lnTo>
                      <a:pt x="17" y="24"/>
                    </a:lnTo>
                    <a:lnTo>
                      <a:pt x="17" y="22"/>
                    </a:lnTo>
                    <a:lnTo>
                      <a:pt x="20" y="19"/>
                    </a:lnTo>
                    <a:lnTo>
                      <a:pt x="20" y="19"/>
                    </a:lnTo>
                    <a:lnTo>
                      <a:pt x="20" y="18"/>
                    </a:lnTo>
                    <a:lnTo>
                      <a:pt x="21" y="13"/>
                    </a:lnTo>
                    <a:lnTo>
                      <a:pt x="23" y="8"/>
                    </a:lnTo>
                    <a:lnTo>
                      <a:pt x="23" y="8"/>
                    </a:lnTo>
                    <a:lnTo>
                      <a:pt x="26" y="3"/>
                    </a:lnTo>
                    <a:lnTo>
                      <a:pt x="27" y="0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4" y="5"/>
                    </a:lnTo>
                    <a:lnTo>
                      <a:pt x="39" y="8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9" y="12"/>
                    </a:lnTo>
                    <a:lnTo>
                      <a:pt x="40" y="13"/>
                    </a:lnTo>
                    <a:lnTo>
                      <a:pt x="42" y="16"/>
                    </a:lnTo>
                    <a:lnTo>
                      <a:pt x="45" y="16"/>
                    </a:lnTo>
                    <a:lnTo>
                      <a:pt x="45" y="16"/>
                    </a:lnTo>
                    <a:lnTo>
                      <a:pt x="46" y="15"/>
                    </a:lnTo>
                    <a:lnTo>
                      <a:pt x="48" y="15"/>
                    </a:lnTo>
                    <a:lnTo>
                      <a:pt x="50" y="16"/>
                    </a:lnTo>
                    <a:lnTo>
                      <a:pt x="52" y="19"/>
                    </a:lnTo>
                    <a:lnTo>
                      <a:pt x="52" y="19"/>
                    </a:lnTo>
                    <a:lnTo>
                      <a:pt x="58" y="28"/>
                    </a:lnTo>
                    <a:lnTo>
                      <a:pt x="59" y="31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8" y="34"/>
                    </a:lnTo>
                    <a:lnTo>
                      <a:pt x="58" y="37"/>
                    </a:lnTo>
                    <a:lnTo>
                      <a:pt x="58" y="38"/>
                    </a:lnTo>
                    <a:lnTo>
                      <a:pt x="59" y="40"/>
                    </a:lnTo>
                    <a:lnTo>
                      <a:pt x="59" y="40"/>
                    </a:lnTo>
                    <a:lnTo>
                      <a:pt x="61" y="41"/>
                    </a:lnTo>
                    <a:lnTo>
                      <a:pt x="62" y="44"/>
                    </a:lnTo>
                    <a:lnTo>
                      <a:pt x="65" y="48"/>
                    </a:lnTo>
                    <a:lnTo>
                      <a:pt x="66" y="51"/>
                    </a:lnTo>
                    <a:lnTo>
                      <a:pt x="66" y="51"/>
                    </a:lnTo>
                    <a:lnTo>
                      <a:pt x="71" y="54"/>
                    </a:lnTo>
                    <a:lnTo>
                      <a:pt x="71" y="55"/>
                    </a:lnTo>
                    <a:lnTo>
                      <a:pt x="69" y="5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14" name="Freeform 968"/>
              <p:cNvSpPr>
                <a:spLocks/>
              </p:cNvSpPr>
              <p:nvPr/>
            </p:nvSpPr>
            <p:spPr bwMode="auto">
              <a:xfrm>
                <a:off x="2409478" y="1510751"/>
                <a:ext cx="159271" cy="184992"/>
              </a:xfrm>
              <a:custGeom>
                <a:avLst/>
                <a:gdLst>
                  <a:gd name="T0" fmla="*/ 159 w 161"/>
                  <a:gd name="T1" fmla="*/ 61 h 187"/>
                  <a:gd name="T2" fmla="*/ 143 w 161"/>
                  <a:gd name="T3" fmla="*/ 78 h 187"/>
                  <a:gd name="T4" fmla="*/ 123 w 161"/>
                  <a:gd name="T5" fmla="*/ 86 h 187"/>
                  <a:gd name="T6" fmla="*/ 114 w 161"/>
                  <a:gd name="T7" fmla="*/ 94 h 187"/>
                  <a:gd name="T8" fmla="*/ 105 w 161"/>
                  <a:gd name="T9" fmla="*/ 96 h 187"/>
                  <a:gd name="T10" fmla="*/ 97 w 161"/>
                  <a:gd name="T11" fmla="*/ 107 h 187"/>
                  <a:gd name="T12" fmla="*/ 88 w 161"/>
                  <a:gd name="T13" fmla="*/ 157 h 187"/>
                  <a:gd name="T14" fmla="*/ 81 w 161"/>
                  <a:gd name="T15" fmla="*/ 167 h 187"/>
                  <a:gd name="T16" fmla="*/ 68 w 161"/>
                  <a:gd name="T17" fmla="*/ 172 h 187"/>
                  <a:gd name="T18" fmla="*/ 55 w 161"/>
                  <a:gd name="T19" fmla="*/ 171 h 187"/>
                  <a:gd name="T20" fmla="*/ 52 w 161"/>
                  <a:gd name="T21" fmla="*/ 180 h 187"/>
                  <a:gd name="T22" fmla="*/ 50 w 161"/>
                  <a:gd name="T23" fmla="*/ 184 h 187"/>
                  <a:gd name="T24" fmla="*/ 42 w 161"/>
                  <a:gd name="T25" fmla="*/ 187 h 187"/>
                  <a:gd name="T26" fmla="*/ 29 w 161"/>
                  <a:gd name="T27" fmla="*/ 184 h 187"/>
                  <a:gd name="T28" fmla="*/ 20 w 161"/>
                  <a:gd name="T29" fmla="*/ 161 h 187"/>
                  <a:gd name="T30" fmla="*/ 10 w 161"/>
                  <a:gd name="T31" fmla="*/ 152 h 187"/>
                  <a:gd name="T32" fmla="*/ 1 w 161"/>
                  <a:gd name="T33" fmla="*/ 143 h 187"/>
                  <a:gd name="T34" fmla="*/ 1 w 161"/>
                  <a:gd name="T35" fmla="*/ 135 h 187"/>
                  <a:gd name="T36" fmla="*/ 4 w 161"/>
                  <a:gd name="T37" fmla="*/ 129 h 187"/>
                  <a:gd name="T38" fmla="*/ 6 w 161"/>
                  <a:gd name="T39" fmla="*/ 107 h 187"/>
                  <a:gd name="T40" fmla="*/ 7 w 161"/>
                  <a:gd name="T41" fmla="*/ 99 h 187"/>
                  <a:gd name="T42" fmla="*/ 11 w 161"/>
                  <a:gd name="T43" fmla="*/ 90 h 187"/>
                  <a:gd name="T44" fmla="*/ 13 w 161"/>
                  <a:gd name="T45" fmla="*/ 68 h 187"/>
                  <a:gd name="T46" fmla="*/ 20 w 161"/>
                  <a:gd name="T47" fmla="*/ 55 h 187"/>
                  <a:gd name="T48" fmla="*/ 23 w 161"/>
                  <a:gd name="T49" fmla="*/ 54 h 187"/>
                  <a:gd name="T50" fmla="*/ 26 w 161"/>
                  <a:gd name="T51" fmla="*/ 48 h 187"/>
                  <a:gd name="T52" fmla="*/ 21 w 161"/>
                  <a:gd name="T53" fmla="*/ 42 h 187"/>
                  <a:gd name="T54" fmla="*/ 20 w 161"/>
                  <a:gd name="T55" fmla="*/ 38 h 187"/>
                  <a:gd name="T56" fmla="*/ 20 w 161"/>
                  <a:gd name="T57" fmla="*/ 29 h 187"/>
                  <a:gd name="T58" fmla="*/ 14 w 161"/>
                  <a:gd name="T59" fmla="*/ 28 h 187"/>
                  <a:gd name="T60" fmla="*/ 21 w 161"/>
                  <a:gd name="T61" fmla="*/ 17 h 187"/>
                  <a:gd name="T62" fmla="*/ 30 w 161"/>
                  <a:gd name="T63" fmla="*/ 12 h 187"/>
                  <a:gd name="T64" fmla="*/ 40 w 161"/>
                  <a:gd name="T65" fmla="*/ 7 h 187"/>
                  <a:gd name="T66" fmla="*/ 46 w 161"/>
                  <a:gd name="T67" fmla="*/ 3 h 187"/>
                  <a:gd name="T68" fmla="*/ 69 w 161"/>
                  <a:gd name="T69" fmla="*/ 0 h 187"/>
                  <a:gd name="T70" fmla="*/ 75 w 161"/>
                  <a:gd name="T71" fmla="*/ 0 h 187"/>
                  <a:gd name="T72" fmla="*/ 74 w 161"/>
                  <a:gd name="T73" fmla="*/ 4 h 187"/>
                  <a:gd name="T74" fmla="*/ 68 w 161"/>
                  <a:gd name="T75" fmla="*/ 16 h 187"/>
                  <a:gd name="T76" fmla="*/ 74 w 161"/>
                  <a:gd name="T77" fmla="*/ 16 h 187"/>
                  <a:gd name="T78" fmla="*/ 82 w 161"/>
                  <a:gd name="T79" fmla="*/ 13 h 187"/>
                  <a:gd name="T80" fmla="*/ 90 w 161"/>
                  <a:gd name="T81" fmla="*/ 16 h 187"/>
                  <a:gd name="T82" fmla="*/ 97 w 161"/>
                  <a:gd name="T83" fmla="*/ 19 h 187"/>
                  <a:gd name="T84" fmla="*/ 103 w 161"/>
                  <a:gd name="T85" fmla="*/ 23 h 187"/>
                  <a:gd name="T86" fmla="*/ 107 w 161"/>
                  <a:gd name="T87" fmla="*/ 31 h 187"/>
                  <a:gd name="T88" fmla="*/ 110 w 161"/>
                  <a:gd name="T89" fmla="*/ 28 h 187"/>
                  <a:gd name="T90" fmla="*/ 113 w 161"/>
                  <a:gd name="T91" fmla="*/ 22 h 187"/>
                  <a:gd name="T92" fmla="*/ 121 w 161"/>
                  <a:gd name="T93" fmla="*/ 20 h 187"/>
                  <a:gd name="T94" fmla="*/ 129 w 161"/>
                  <a:gd name="T95" fmla="*/ 23 h 187"/>
                  <a:gd name="T96" fmla="*/ 145 w 161"/>
                  <a:gd name="T97" fmla="*/ 41 h 187"/>
                  <a:gd name="T98" fmla="*/ 149 w 161"/>
                  <a:gd name="T99" fmla="*/ 48 h 187"/>
                  <a:gd name="T100" fmla="*/ 155 w 161"/>
                  <a:gd name="T101" fmla="*/ 49 h 187"/>
                  <a:gd name="T102" fmla="*/ 161 w 161"/>
                  <a:gd name="T103" fmla="*/ 55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61" h="187">
                    <a:moveTo>
                      <a:pt x="161" y="55"/>
                    </a:moveTo>
                    <a:lnTo>
                      <a:pt x="161" y="55"/>
                    </a:lnTo>
                    <a:lnTo>
                      <a:pt x="159" y="61"/>
                    </a:lnTo>
                    <a:lnTo>
                      <a:pt x="155" y="68"/>
                    </a:lnTo>
                    <a:lnTo>
                      <a:pt x="149" y="75"/>
                    </a:lnTo>
                    <a:lnTo>
                      <a:pt x="143" y="78"/>
                    </a:lnTo>
                    <a:lnTo>
                      <a:pt x="143" y="78"/>
                    </a:lnTo>
                    <a:lnTo>
                      <a:pt x="133" y="81"/>
                    </a:lnTo>
                    <a:lnTo>
                      <a:pt x="123" y="86"/>
                    </a:lnTo>
                    <a:lnTo>
                      <a:pt x="123" y="86"/>
                    </a:lnTo>
                    <a:lnTo>
                      <a:pt x="117" y="91"/>
                    </a:lnTo>
                    <a:lnTo>
                      <a:pt x="114" y="94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05" y="96"/>
                    </a:lnTo>
                    <a:lnTo>
                      <a:pt x="101" y="100"/>
                    </a:lnTo>
                    <a:lnTo>
                      <a:pt x="97" y="107"/>
                    </a:lnTo>
                    <a:lnTo>
                      <a:pt x="97" y="107"/>
                    </a:lnTo>
                    <a:lnTo>
                      <a:pt x="94" y="130"/>
                    </a:lnTo>
                    <a:lnTo>
                      <a:pt x="91" y="146"/>
                    </a:lnTo>
                    <a:lnTo>
                      <a:pt x="88" y="157"/>
                    </a:lnTo>
                    <a:lnTo>
                      <a:pt x="88" y="157"/>
                    </a:lnTo>
                    <a:lnTo>
                      <a:pt x="85" y="162"/>
                    </a:lnTo>
                    <a:lnTo>
                      <a:pt x="81" y="167"/>
                    </a:lnTo>
                    <a:lnTo>
                      <a:pt x="75" y="171"/>
                    </a:lnTo>
                    <a:lnTo>
                      <a:pt x="68" y="172"/>
                    </a:lnTo>
                    <a:lnTo>
                      <a:pt x="68" y="172"/>
                    </a:lnTo>
                    <a:lnTo>
                      <a:pt x="61" y="172"/>
                    </a:lnTo>
                    <a:lnTo>
                      <a:pt x="58" y="171"/>
                    </a:lnTo>
                    <a:lnTo>
                      <a:pt x="55" y="171"/>
                    </a:lnTo>
                    <a:lnTo>
                      <a:pt x="53" y="172"/>
                    </a:lnTo>
                    <a:lnTo>
                      <a:pt x="53" y="172"/>
                    </a:lnTo>
                    <a:lnTo>
                      <a:pt x="52" y="180"/>
                    </a:lnTo>
                    <a:lnTo>
                      <a:pt x="52" y="183"/>
                    </a:lnTo>
                    <a:lnTo>
                      <a:pt x="50" y="184"/>
                    </a:lnTo>
                    <a:lnTo>
                      <a:pt x="50" y="184"/>
                    </a:lnTo>
                    <a:lnTo>
                      <a:pt x="46" y="185"/>
                    </a:lnTo>
                    <a:lnTo>
                      <a:pt x="42" y="187"/>
                    </a:lnTo>
                    <a:lnTo>
                      <a:pt x="42" y="187"/>
                    </a:lnTo>
                    <a:lnTo>
                      <a:pt x="35" y="187"/>
                    </a:lnTo>
                    <a:lnTo>
                      <a:pt x="32" y="187"/>
                    </a:lnTo>
                    <a:lnTo>
                      <a:pt x="29" y="184"/>
                    </a:lnTo>
                    <a:lnTo>
                      <a:pt x="29" y="184"/>
                    </a:lnTo>
                    <a:lnTo>
                      <a:pt x="23" y="170"/>
                    </a:lnTo>
                    <a:lnTo>
                      <a:pt x="20" y="161"/>
                    </a:lnTo>
                    <a:lnTo>
                      <a:pt x="14" y="155"/>
                    </a:lnTo>
                    <a:lnTo>
                      <a:pt x="14" y="155"/>
                    </a:lnTo>
                    <a:lnTo>
                      <a:pt x="10" y="152"/>
                    </a:lnTo>
                    <a:lnTo>
                      <a:pt x="6" y="149"/>
                    </a:lnTo>
                    <a:lnTo>
                      <a:pt x="3" y="148"/>
                    </a:lnTo>
                    <a:lnTo>
                      <a:pt x="1" y="143"/>
                    </a:lnTo>
                    <a:lnTo>
                      <a:pt x="1" y="143"/>
                    </a:lnTo>
                    <a:lnTo>
                      <a:pt x="0" y="138"/>
                    </a:lnTo>
                    <a:lnTo>
                      <a:pt x="1" y="135"/>
                    </a:lnTo>
                    <a:lnTo>
                      <a:pt x="1" y="133"/>
                    </a:lnTo>
                    <a:lnTo>
                      <a:pt x="1" y="133"/>
                    </a:lnTo>
                    <a:lnTo>
                      <a:pt x="4" y="129"/>
                    </a:lnTo>
                    <a:lnTo>
                      <a:pt x="6" y="120"/>
                    </a:lnTo>
                    <a:lnTo>
                      <a:pt x="6" y="107"/>
                    </a:lnTo>
                    <a:lnTo>
                      <a:pt x="6" y="107"/>
                    </a:lnTo>
                    <a:lnTo>
                      <a:pt x="4" y="101"/>
                    </a:lnTo>
                    <a:lnTo>
                      <a:pt x="4" y="100"/>
                    </a:lnTo>
                    <a:lnTo>
                      <a:pt x="7" y="99"/>
                    </a:lnTo>
                    <a:lnTo>
                      <a:pt x="7" y="99"/>
                    </a:lnTo>
                    <a:lnTo>
                      <a:pt x="10" y="94"/>
                    </a:lnTo>
                    <a:lnTo>
                      <a:pt x="11" y="90"/>
                    </a:lnTo>
                    <a:lnTo>
                      <a:pt x="11" y="90"/>
                    </a:lnTo>
                    <a:lnTo>
                      <a:pt x="11" y="77"/>
                    </a:lnTo>
                    <a:lnTo>
                      <a:pt x="13" y="68"/>
                    </a:lnTo>
                    <a:lnTo>
                      <a:pt x="16" y="61"/>
                    </a:lnTo>
                    <a:lnTo>
                      <a:pt x="16" y="61"/>
                    </a:lnTo>
                    <a:lnTo>
                      <a:pt x="20" y="55"/>
                    </a:lnTo>
                    <a:lnTo>
                      <a:pt x="21" y="54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4" y="54"/>
                    </a:lnTo>
                    <a:lnTo>
                      <a:pt x="24" y="52"/>
                    </a:lnTo>
                    <a:lnTo>
                      <a:pt x="26" y="48"/>
                    </a:lnTo>
                    <a:lnTo>
                      <a:pt x="24" y="44"/>
                    </a:lnTo>
                    <a:lnTo>
                      <a:pt x="24" y="44"/>
                    </a:lnTo>
                    <a:lnTo>
                      <a:pt x="21" y="42"/>
                    </a:lnTo>
                    <a:lnTo>
                      <a:pt x="21" y="41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1" y="32"/>
                    </a:lnTo>
                    <a:lnTo>
                      <a:pt x="20" y="29"/>
                    </a:lnTo>
                    <a:lnTo>
                      <a:pt x="20" y="29"/>
                    </a:lnTo>
                    <a:lnTo>
                      <a:pt x="20" y="29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6" y="25"/>
                    </a:lnTo>
                    <a:lnTo>
                      <a:pt x="16" y="25"/>
                    </a:lnTo>
                    <a:lnTo>
                      <a:pt x="21" y="17"/>
                    </a:lnTo>
                    <a:lnTo>
                      <a:pt x="26" y="13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6" y="10"/>
                    </a:lnTo>
                    <a:lnTo>
                      <a:pt x="40" y="7"/>
                    </a:lnTo>
                    <a:lnTo>
                      <a:pt x="43" y="4"/>
                    </a:lnTo>
                    <a:lnTo>
                      <a:pt x="46" y="3"/>
                    </a:lnTo>
                    <a:lnTo>
                      <a:pt x="46" y="3"/>
                    </a:lnTo>
                    <a:lnTo>
                      <a:pt x="58" y="3"/>
                    </a:lnTo>
                    <a:lnTo>
                      <a:pt x="65" y="3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74" y="0"/>
                    </a:lnTo>
                    <a:lnTo>
                      <a:pt x="75" y="0"/>
                    </a:lnTo>
                    <a:lnTo>
                      <a:pt x="75" y="2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68" y="12"/>
                    </a:lnTo>
                    <a:lnTo>
                      <a:pt x="66" y="15"/>
                    </a:lnTo>
                    <a:lnTo>
                      <a:pt x="68" y="16"/>
                    </a:lnTo>
                    <a:lnTo>
                      <a:pt x="69" y="16"/>
                    </a:lnTo>
                    <a:lnTo>
                      <a:pt x="69" y="16"/>
                    </a:lnTo>
                    <a:lnTo>
                      <a:pt x="74" y="16"/>
                    </a:lnTo>
                    <a:lnTo>
                      <a:pt x="77" y="15"/>
                    </a:lnTo>
                    <a:lnTo>
                      <a:pt x="79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7" y="15"/>
                    </a:lnTo>
                    <a:lnTo>
                      <a:pt x="90" y="16"/>
                    </a:lnTo>
                    <a:lnTo>
                      <a:pt x="94" y="19"/>
                    </a:lnTo>
                    <a:lnTo>
                      <a:pt x="97" y="19"/>
                    </a:lnTo>
                    <a:lnTo>
                      <a:pt x="97" y="19"/>
                    </a:lnTo>
                    <a:lnTo>
                      <a:pt x="100" y="19"/>
                    </a:lnTo>
                    <a:lnTo>
                      <a:pt x="103" y="19"/>
                    </a:lnTo>
                    <a:lnTo>
                      <a:pt x="103" y="23"/>
                    </a:lnTo>
                    <a:lnTo>
                      <a:pt x="103" y="23"/>
                    </a:lnTo>
                    <a:lnTo>
                      <a:pt x="104" y="29"/>
                    </a:lnTo>
                    <a:lnTo>
                      <a:pt x="107" y="31"/>
                    </a:lnTo>
                    <a:lnTo>
                      <a:pt x="108" y="31"/>
                    </a:lnTo>
                    <a:lnTo>
                      <a:pt x="108" y="31"/>
                    </a:lnTo>
                    <a:lnTo>
                      <a:pt x="110" y="28"/>
                    </a:lnTo>
                    <a:lnTo>
                      <a:pt x="110" y="26"/>
                    </a:lnTo>
                    <a:lnTo>
                      <a:pt x="111" y="23"/>
                    </a:lnTo>
                    <a:lnTo>
                      <a:pt x="113" y="22"/>
                    </a:lnTo>
                    <a:lnTo>
                      <a:pt x="113" y="22"/>
                    </a:lnTo>
                    <a:lnTo>
                      <a:pt x="117" y="20"/>
                    </a:lnTo>
                    <a:lnTo>
                      <a:pt x="121" y="20"/>
                    </a:lnTo>
                    <a:lnTo>
                      <a:pt x="126" y="20"/>
                    </a:lnTo>
                    <a:lnTo>
                      <a:pt x="129" y="23"/>
                    </a:lnTo>
                    <a:lnTo>
                      <a:pt x="129" y="23"/>
                    </a:lnTo>
                    <a:lnTo>
                      <a:pt x="137" y="33"/>
                    </a:lnTo>
                    <a:lnTo>
                      <a:pt x="145" y="41"/>
                    </a:lnTo>
                    <a:lnTo>
                      <a:pt x="145" y="41"/>
                    </a:lnTo>
                    <a:lnTo>
                      <a:pt x="146" y="44"/>
                    </a:lnTo>
                    <a:lnTo>
                      <a:pt x="147" y="45"/>
                    </a:lnTo>
                    <a:lnTo>
                      <a:pt x="149" y="48"/>
                    </a:lnTo>
                    <a:lnTo>
                      <a:pt x="150" y="48"/>
                    </a:lnTo>
                    <a:lnTo>
                      <a:pt x="150" y="48"/>
                    </a:lnTo>
                    <a:lnTo>
                      <a:pt x="155" y="49"/>
                    </a:lnTo>
                    <a:lnTo>
                      <a:pt x="158" y="51"/>
                    </a:lnTo>
                    <a:lnTo>
                      <a:pt x="161" y="54"/>
                    </a:lnTo>
                    <a:lnTo>
                      <a:pt x="161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15" name="Freeform 969"/>
              <p:cNvSpPr>
                <a:spLocks/>
              </p:cNvSpPr>
              <p:nvPr/>
            </p:nvSpPr>
            <p:spPr bwMode="auto">
              <a:xfrm>
                <a:off x="2409478" y="1510751"/>
                <a:ext cx="159271" cy="184992"/>
              </a:xfrm>
              <a:custGeom>
                <a:avLst/>
                <a:gdLst>
                  <a:gd name="T0" fmla="*/ 159 w 161"/>
                  <a:gd name="T1" fmla="*/ 61 h 187"/>
                  <a:gd name="T2" fmla="*/ 143 w 161"/>
                  <a:gd name="T3" fmla="*/ 78 h 187"/>
                  <a:gd name="T4" fmla="*/ 123 w 161"/>
                  <a:gd name="T5" fmla="*/ 86 h 187"/>
                  <a:gd name="T6" fmla="*/ 114 w 161"/>
                  <a:gd name="T7" fmla="*/ 94 h 187"/>
                  <a:gd name="T8" fmla="*/ 105 w 161"/>
                  <a:gd name="T9" fmla="*/ 96 h 187"/>
                  <a:gd name="T10" fmla="*/ 97 w 161"/>
                  <a:gd name="T11" fmla="*/ 107 h 187"/>
                  <a:gd name="T12" fmla="*/ 88 w 161"/>
                  <a:gd name="T13" fmla="*/ 157 h 187"/>
                  <a:gd name="T14" fmla="*/ 81 w 161"/>
                  <a:gd name="T15" fmla="*/ 167 h 187"/>
                  <a:gd name="T16" fmla="*/ 68 w 161"/>
                  <a:gd name="T17" fmla="*/ 172 h 187"/>
                  <a:gd name="T18" fmla="*/ 55 w 161"/>
                  <a:gd name="T19" fmla="*/ 171 h 187"/>
                  <a:gd name="T20" fmla="*/ 52 w 161"/>
                  <a:gd name="T21" fmla="*/ 180 h 187"/>
                  <a:gd name="T22" fmla="*/ 50 w 161"/>
                  <a:gd name="T23" fmla="*/ 184 h 187"/>
                  <a:gd name="T24" fmla="*/ 42 w 161"/>
                  <a:gd name="T25" fmla="*/ 187 h 187"/>
                  <a:gd name="T26" fmla="*/ 29 w 161"/>
                  <a:gd name="T27" fmla="*/ 184 h 187"/>
                  <a:gd name="T28" fmla="*/ 20 w 161"/>
                  <a:gd name="T29" fmla="*/ 161 h 187"/>
                  <a:gd name="T30" fmla="*/ 10 w 161"/>
                  <a:gd name="T31" fmla="*/ 152 h 187"/>
                  <a:gd name="T32" fmla="*/ 1 w 161"/>
                  <a:gd name="T33" fmla="*/ 143 h 187"/>
                  <a:gd name="T34" fmla="*/ 1 w 161"/>
                  <a:gd name="T35" fmla="*/ 135 h 187"/>
                  <a:gd name="T36" fmla="*/ 4 w 161"/>
                  <a:gd name="T37" fmla="*/ 129 h 187"/>
                  <a:gd name="T38" fmla="*/ 6 w 161"/>
                  <a:gd name="T39" fmla="*/ 107 h 187"/>
                  <a:gd name="T40" fmla="*/ 7 w 161"/>
                  <a:gd name="T41" fmla="*/ 99 h 187"/>
                  <a:gd name="T42" fmla="*/ 11 w 161"/>
                  <a:gd name="T43" fmla="*/ 90 h 187"/>
                  <a:gd name="T44" fmla="*/ 13 w 161"/>
                  <a:gd name="T45" fmla="*/ 68 h 187"/>
                  <a:gd name="T46" fmla="*/ 20 w 161"/>
                  <a:gd name="T47" fmla="*/ 55 h 187"/>
                  <a:gd name="T48" fmla="*/ 23 w 161"/>
                  <a:gd name="T49" fmla="*/ 54 h 187"/>
                  <a:gd name="T50" fmla="*/ 26 w 161"/>
                  <a:gd name="T51" fmla="*/ 48 h 187"/>
                  <a:gd name="T52" fmla="*/ 21 w 161"/>
                  <a:gd name="T53" fmla="*/ 42 h 187"/>
                  <a:gd name="T54" fmla="*/ 20 w 161"/>
                  <a:gd name="T55" fmla="*/ 38 h 187"/>
                  <a:gd name="T56" fmla="*/ 20 w 161"/>
                  <a:gd name="T57" fmla="*/ 29 h 187"/>
                  <a:gd name="T58" fmla="*/ 14 w 161"/>
                  <a:gd name="T59" fmla="*/ 28 h 187"/>
                  <a:gd name="T60" fmla="*/ 21 w 161"/>
                  <a:gd name="T61" fmla="*/ 17 h 187"/>
                  <a:gd name="T62" fmla="*/ 30 w 161"/>
                  <a:gd name="T63" fmla="*/ 12 h 187"/>
                  <a:gd name="T64" fmla="*/ 40 w 161"/>
                  <a:gd name="T65" fmla="*/ 7 h 187"/>
                  <a:gd name="T66" fmla="*/ 46 w 161"/>
                  <a:gd name="T67" fmla="*/ 3 h 187"/>
                  <a:gd name="T68" fmla="*/ 69 w 161"/>
                  <a:gd name="T69" fmla="*/ 0 h 187"/>
                  <a:gd name="T70" fmla="*/ 75 w 161"/>
                  <a:gd name="T71" fmla="*/ 0 h 187"/>
                  <a:gd name="T72" fmla="*/ 74 w 161"/>
                  <a:gd name="T73" fmla="*/ 4 h 187"/>
                  <a:gd name="T74" fmla="*/ 68 w 161"/>
                  <a:gd name="T75" fmla="*/ 16 h 187"/>
                  <a:gd name="T76" fmla="*/ 74 w 161"/>
                  <a:gd name="T77" fmla="*/ 16 h 187"/>
                  <a:gd name="T78" fmla="*/ 82 w 161"/>
                  <a:gd name="T79" fmla="*/ 13 h 187"/>
                  <a:gd name="T80" fmla="*/ 90 w 161"/>
                  <a:gd name="T81" fmla="*/ 16 h 187"/>
                  <a:gd name="T82" fmla="*/ 97 w 161"/>
                  <a:gd name="T83" fmla="*/ 19 h 187"/>
                  <a:gd name="T84" fmla="*/ 103 w 161"/>
                  <a:gd name="T85" fmla="*/ 23 h 187"/>
                  <a:gd name="T86" fmla="*/ 107 w 161"/>
                  <a:gd name="T87" fmla="*/ 31 h 187"/>
                  <a:gd name="T88" fmla="*/ 110 w 161"/>
                  <a:gd name="T89" fmla="*/ 28 h 187"/>
                  <a:gd name="T90" fmla="*/ 113 w 161"/>
                  <a:gd name="T91" fmla="*/ 22 h 187"/>
                  <a:gd name="T92" fmla="*/ 121 w 161"/>
                  <a:gd name="T93" fmla="*/ 20 h 187"/>
                  <a:gd name="T94" fmla="*/ 129 w 161"/>
                  <a:gd name="T95" fmla="*/ 23 h 187"/>
                  <a:gd name="T96" fmla="*/ 145 w 161"/>
                  <a:gd name="T97" fmla="*/ 41 h 187"/>
                  <a:gd name="T98" fmla="*/ 149 w 161"/>
                  <a:gd name="T99" fmla="*/ 48 h 187"/>
                  <a:gd name="T100" fmla="*/ 155 w 161"/>
                  <a:gd name="T101" fmla="*/ 49 h 187"/>
                  <a:gd name="T102" fmla="*/ 161 w 161"/>
                  <a:gd name="T103" fmla="*/ 55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61" h="187">
                    <a:moveTo>
                      <a:pt x="161" y="55"/>
                    </a:moveTo>
                    <a:lnTo>
                      <a:pt x="161" y="55"/>
                    </a:lnTo>
                    <a:lnTo>
                      <a:pt x="159" y="61"/>
                    </a:lnTo>
                    <a:lnTo>
                      <a:pt x="155" y="68"/>
                    </a:lnTo>
                    <a:lnTo>
                      <a:pt x="149" y="75"/>
                    </a:lnTo>
                    <a:lnTo>
                      <a:pt x="143" y="78"/>
                    </a:lnTo>
                    <a:lnTo>
                      <a:pt x="143" y="78"/>
                    </a:lnTo>
                    <a:lnTo>
                      <a:pt x="133" y="81"/>
                    </a:lnTo>
                    <a:lnTo>
                      <a:pt x="123" y="86"/>
                    </a:lnTo>
                    <a:lnTo>
                      <a:pt x="123" y="86"/>
                    </a:lnTo>
                    <a:lnTo>
                      <a:pt x="117" y="91"/>
                    </a:lnTo>
                    <a:lnTo>
                      <a:pt x="114" y="94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05" y="96"/>
                    </a:lnTo>
                    <a:lnTo>
                      <a:pt x="101" y="100"/>
                    </a:lnTo>
                    <a:lnTo>
                      <a:pt x="97" y="107"/>
                    </a:lnTo>
                    <a:lnTo>
                      <a:pt x="97" y="107"/>
                    </a:lnTo>
                    <a:lnTo>
                      <a:pt x="94" y="130"/>
                    </a:lnTo>
                    <a:lnTo>
                      <a:pt x="91" y="146"/>
                    </a:lnTo>
                    <a:lnTo>
                      <a:pt x="88" y="157"/>
                    </a:lnTo>
                    <a:lnTo>
                      <a:pt x="88" y="157"/>
                    </a:lnTo>
                    <a:lnTo>
                      <a:pt x="85" y="162"/>
                    </a:lnTo>
                    <a:lnTo>
                      <a:pt x="81" y="167"/>
                    </a:lnTo>
                    <a:lnTo>
                      <a:pt x="75" y="171"/>
                    </a:lnTo>
                    <a:lnTo>
                      <a:pt x="68" y="172"/>
                    </a:lnTo>
                    <a:lnTo>
                      <a:pt x="68" y="172"/>
                    </a:lnTo>
                    <a:lnTo>
                      <a:pt x="61" y="172"/>
                    </a:lnTo>
                    <a:lnTo>
                      <a:pt x="58" y="171"/>
                    </a:lnTo>
                    <a:lnTo>
                      <a:pt x="55" y="171"/>
                    </a:lnTo>
                    <a:lnTo>
                      <a:pt x="53" y="172"/>
                    </a:lnTo>
                    <a:lnTo>
                      <a:pt x="53" y="172"/>
                    </a:lnTo>
                    <a:lnTo>
                      <a:pt x="52" y="180"/>
                    </a:lnTo>
                    <a:lnTo>
                      <a:pt x="52" y="183"/>
                    </a:lnTo>
                    <a:lnTo>
                      <a:pt x="50" y="184"/>
                    </a:lnTo>
                    <a:lnTo>
                      <a:pt x="50" y="184"/>
                    </a:lnTo>
                    <a:lnTo>
                      <a:pt x="46" y="185"/>
                    </a:lnTo>
                    <a:lnTo>
                      <a:pt x="42" y="187"/>
                    </a:lnTo>
                    <a:lnTo>
                      <a:pt x="42" y="187"/>
                    </a:lnTo>
                    <a:lnTo>
                      <a:pt x="35" y="187"/>
                    </a:lnTo>
                    <a:lnTo>
                      <a:pt x="32" y="187"/>
                    </a:lnTo>
                    <a:lnTo>
                      <a:pt x="29" y="184"/>
                    </a:lnTo>
                    <a:lnTo>
                      <a:pt x="29" y="184"/>
                    </a:lnTo>
                    <a:lnTo>
                      <a:pt x="23" y="170"/>
                    </a:lnTo>
                    <a:lnTo>
                      <a:pt x="20" y="161"/>
                    </a:lnTo>
                    <a:lnTo>
                      <a:pt x="14" y="155"/>
                    </a:lnTo>
                    <a:lnTo>
                      <a:pt x="14" y="155"/>
                    </a:lnTo>
                    <a:lnTo>
                      <a:pt x="10" y="152"/>
                    </a:lnTo>
                    <a:lnTo>
                      <a:pt x="6" y="149"/>
                    </a:lnTo>
                    <a:lnTo>
                      <a:pt x="3" y="148"/>
                    </a:lnTo>
                    <a:lnTo>
                      <a:pt x="1" y="143"/>
                    </a:lnTo>
                    <a:lnTo>
                      <a:pt x="1" y="143"/>
                    </a:lnTo>
                    <a:lnTo>
                      <a:pt x="0" y="138"/>
                    </a:lnTo>
                    <a:lnTo>
                      <a:pt x="1" y="135"/>
                    </a:lnTo>
                    <a:lnTo>
                      <a:pt x="1" y="133"/>
                    </a:lnTo>
                    <a:lnTo>
                      <a:pt x="1" y="133"/>
                    </a:lnTo>
                    <a:lnTo>
                      <a:pt x="4" y="129"/>
                    </a:lnTo>
                    <a:lnTo>
                      <a:pt x="6" y="120"/>
                    </a:lnTo>
                    <a:lnTo>
                      <a:pt x="6" y="107"/>
                    </a:lnTo>
                    <a:lnTo>
                      <a:pt x="6" y="107"/>
                    </a:lnTo>
                    <a:lnTo>
                      <a:pt x="4" y="101"/>
                    </a:lnTo>
                    <a:lnTo>
                      <a:pt x="4" y="100"/>
                    </a:lnTo>
                    <a:lnTo>
                      <a:pt x="7" y="99"/>
                    </a:lnTo>
                    <a:lnTo>
                      <a:pt x="7" y="99"/>
                    </a:lnTo>
                    <a:lnTo>
                      <a:pt x="10" y="94"/>
                    </a:lnTo>
                    <a:lnTo>
                      <a:pt x="11" y="90"/>
                    </a:lnTo>
                    <a:lnTo>
                      <a:pt x="11" y="90"/>
                    </a:lnTo>
                    <a:lnTo>
                      <a:pt x="11" y="77"/>
                    </a:lnTo>
                    <a:lnTo>
                      <a:pt x="13" y="68"/>
                    </a:lnTo>
                    <a:lnTo>
                      <a:pt x="16" y="61"/>
                    </a:lnTo>
                    <a:lnTo>
                      <a:pt x="16" y="61"/>
                    </a:lnTo>
                    <a:lnTo>
                      <a:pt x="20" y="55"/>
                    </a:lnTo>
                    <a:lnTo>
                      <a:pt x="21" y="54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4" y="54"/>
                    </a:lnTo>
                    <a:lnTo>
                      <a:pt x="24" y="52"/>
                    </a:lnTo>
                    <a:lnTo>
                      <a:pt x="26" y="48"/>
                    </a:lnTo>
                    <a:lnTo>
                      <a:pt x="24" y="44"/>
                    </a:lnTo>
                    <a:lnTo>
                      <a:pt x="24" y="44"/>
                    </a:lnTo>
                    <a:lnTo>
                      <a:pt x="21" y="42"/>
                    </a:lnTo>
                    <a:lnTo>
                      <a:pt x="21" y="41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1" y="32"/>
                    </a:lnTo>
                    <a:lnTo>
                      <a:pt x="20" y="29"/>
                    </a:lnTo>
                    <a:lnTo>
                      <a:pt x="20" y="29"/>
                    </a:lnTo>
                    <a:lnTo>
                      <a:pt x="20" y="29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6" y="25"/>
                    </a:lnTo>
                    <a:lnTo>
                      <a:pt x="16" y="25"/>
                    </a:lnTo>
                    <a:lnTo>
                      <a:pt x="21" y="17"/>
                    </a:lnTo>
                    <a:lnTo>
                      <a:pt x="26" y="13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6" y="10"/>
                    </a:lnTo>
                    <a:lnTo>
                      <a:pt x="40" y="7"/>
                    </a:lnTo>
                    <a:lnTo>
                      <a:pt x="43" y="4"/>
                    </a:lnTo>
                    <a:lnTo>
                      <a:pt x="46" y="3"/>
                    </a:lnTo>
                    <a:lnTo>
                      <a:pt x="46" y="3"/>
                    </a:lnTo>
                    <a:lnTo>
                      <a:pt x="58" y="3"/>
                    </a:lnTo>
                    <a:lnTo>
                      <a:pt x="65" y="3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74" y="0"/>
                    </a:lnTo>
                    <a:lnTo>
                      <a:pt x="75" y="0"/>
                    </a:lnTo>
                    <a:lnTo>
                      <a:pt x="75" y="2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68" y="12"/>
                    </a:lnTo>
                    <a:lnTo>
                      <a:pt x="66" y="15"/>
                    </a:lnTo>
                    <a:lnTo>
                      <a:pt x="68" y="16"/>
                    </a:lnTo>
                    <a:lnTo>
                      <a:pt x="69" y="16"/>
                    </a:lnTo>
                    <a:lnTo>
                      <a:pt x="69" y="16"/>
                    </a:lnTo>
                    <a:lnTo>
                      <a:pt x="74" y="16"/>
                    </a:lnTo>
                    <a:lnTo>
                      <a:pt x="77" y="15"/>
                    </a:lnTo>
                    <a:lnTo>
                      <a:pt x="79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7" y="15"/>
                    </a:lnTo>
                    <a:lnTo>
                      <a:pt x="90" y="16"/>
                    </a:lnTo>
                    <a:lnTo>
                      <a:pt x="94" y="19"/>
                    </a:lnTo>
                    <a:lnTo>
                      <a:pt x="97" y="19"/>
                    </a:lnTo>
                    <a:lnTo>
                      <a:pt x="97" y="19"/>
                    </a:lnTo>
                    <a:lnTo>
                      <a:pt x="100" y="19"/>
                    </a:lnTo>
                    <a:lnTo>
                      <a:pt x="103" y="19"/>
                    </a:lnTo>
                    <a:lnTo>
                      <a:pt x="103" y="23"/>
                    </a:lnTo>
                    <a:lnTo>
                      <a:pt x="103" y="23"/>
                    </a:lnTo>
                    <a:lnTo>
                      <a:pt x="104" y="29"/>
                    </a:lnTo>
                    <a:lnTo>
                      <a:pt x="107" y="31"/>
                    </a:lnTo>
                    <a:lnTo>
                      <a:pt x="108" y="31"/>
                    </a:lnTo>
                    <a:lnTo>
                      <a:pt x="108" y="31"/>
                    </a:lnTo>
                    <a:lnTo>
                      <a:pt x="110" y="28"/>
                    </a:lnTo>
                    <a:lnTo>
                      <a:pt x="110" y="26"/>
                    </a:lnTo>
                    <a:lnTo>
                      <a:pt x="111" y="23"/>
                    </a:lnTo>
                    <a:lnTo>
                      <a:pt x="113" y="22"/>
                    </a:lnTo>
                    <a:lnTo>
                      <a:pt x="113" y="22"/>
                    </a:lnTo>
                    <a:lnTo>
                      <a:pt x="117" y="20"/>
                    </a:lnTo>
                    <a:lnTo>
                      <a:pt x="121" y="20"/>
                    </a:lnTo>
                    <a:lnTo>
                      <a:pt x="126" y="20"/>
                    </a:lnTo>
                    <a:lnTo>
                      <a:pt x="129" y="23"/>
                    </a:lnTo>
                    <a:lnTo>
                      <a:pt x="129" y="23"/>
                    </a:lnTo>
                    <a:lnTo>
                      <a:pt x="137" y="33"/>
                    </a:lnTo>
                    <a:lnTo>
                      <a:pt x="145" y="41"/>
                    </a:lnTo>
                    <a:lnTo>
                      <a:pt x="145" y="41"/>
                    </a:lnTo>
                    <a:lnTo>
                      <a:pt x="146" y="44"/>
                    </a:lnTo>
                    <a:lnTo>
                      <a:pt x="147" y="45"/>
                    </a:lnTo>
                    <a:lnTo>
                      <a:pt x="149" y="48"/>
                    </a:lnTo>
                    <a:lnTo>
                      <a:pt x="150" y="48"/>
                    </a:lnTo>
                    <a:lnTo>
                      <a:pt x="150" y="48"/>
                    </a:lnTo>
                    <a:lnTo>
                      <a:pt x="155" y="49"/>
                    </a:lnTo>
                    <a:lnTo>
                      <a:pt x="158" y="51"/>
                    </a:lnTo>
                    <a:lnTo>
                      <a:pt x="161" y="54"/>
                    </a:lnTo>
                    <a:lnTo>
                      <a:pt x="161" y="5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16" name="Freeform 970"/>
              <p:cNvSpPr>
                <a:spLocks/>
              </p:cNvSpPr>
              <p:nvPr/>
            </p:nvSpPr>
            <p:spPr bwMode="auto">
              <a:xfrm>
                <a:off x="2505436" y="1575052"/>
                <a:ext cx="288864" cy="238412"/>
              </a:xfrm>
              <a:custGeom>
                <a:avLst/>
                <a:gdLst>
                  <a:gd name="T0" fmla="*/ 56 w 292"/>
                  <a:gd name="T1" fmla="*/ 15 h 241"/>
                  <a:gd name="T2" fmla="*/ 29 w 292"/>
                  <a:gd name="T3" fmla="*/ 35 h 241"/>
                  <a:gd name="T4" fmla="*/ 8 w 292"/>
                  <a:gd name="T5" fmla="*/ 47 h 241"/>
                  <a:gd name="T6" fmla="*/ 17 w 292"/>
                  <a:gd name="T7" fmla="*/ 61 h 241"/>
                  <a:gd name="T8" fmla="*/ 3 w 292"/>
                  <a:gd name="T9" fmla="*/ 73 h 241"/>
                  <a:gd name="T10" fmla="*/ 4 w 292"/>
                  <a:gd name="T11" fmla="*/ 94 h 241"/>
                  <a:gd name="T12" fmla="*/ 17 w 292"/>
                  <a:gd name="T13" fmla="*/ 100 h 241"/>
                  <a:gd name="T14" fmla="*/ 30 w 292"/>
                  <a:gd name="T15" fmla="*/ 107 h 241"/>
                  <a:gd name="T16" fmla="*/ 50 w 292"/>
                  <a:gd name="T17" fmla="*/ 105 h 241"/>
                  <a:gd name="T18" fmla="*/ 45 w 292"/>
                  <a:gd name="T19" fmla="*/ 110 h 241"/>
                  <a:gd name="T20" fmla="*/ 17 w 292"/>
                  <a:gd name="T21" fmla="*/ 122 h 241"/>
                  <a:gd name="T22" fmla="*/ 29 w 292"/>
                  <a:gd name="T23" fmla="*/ 147 h 241"/>
                  <a:gd name="T24" fmla="*/ 45 w 292"/>
                  <a:gd name="T25" fmla="*/ 148 h 241"/>
                  <a:gd name="T26" fmla="*/ 78 w 292"/>
                  <a:gd name="T27" fmla="*/ 142 h 241"/>
                  <a:gd name="T28" fmla="*/ 104 w 292"/>
                  <a:gd name="T29" fmla="*/ 147 h 241"/>
                  <a:gd name="T30" fmla="*/ 111 w 292"/>
                  <a:gd name="T31" fmla="*/ 157 h 241"/>
                  <a:gd name="T32" fmla="*/ 113 w 292"/>
                  <a:gd name="T33" fmla="*/ 165 h 241"/>
                  <a:gd name="T34" fmla="*/ 90 w 292"/>
                  <a:gd name="T35" fmla="*/ 168 h 241"/>
                  <a:gd name="T36" fmla="*/ 50 w 292"/>
                  <a:gd name="T37" fmla="*/ 170 h 241"/>
                  <a:gd name="T38" fmla="*/ 36 w 292"/>
                  <a:gd name="T39" fmla="*/ 178 h 241"/>
                  <a:gd name="T40" fmla="*/ 45 w 292"/>
                  <a:gd name="T41" fmla="*/ 200 h 241"/>
                  <a:gd name="T42" fmla="*/ 62 w 292"/>
                  <a:gd name="T43" fmla="*/ 213 h 241"/>
                  <a:gd name="T44" fmla="*/ 90 w 292"/>
                  <a:gd name="T45" fmla="*/ 223 h 241"/>
                  <a:gd name="T46" fmla="*/ 98 w 292"/>
                  <a:gd name="T47" fmla="*/ 239 h 241"/>
                  <a:gd name="T48" fmla="*/ 130 w 292"/>
                  <a:gd name="T49" fmla="*/ 235 h 241"/>
                  <a:gd name="T50" fmla="*/ 161 w 292"/>
                  <a:gd name="T51" fmla="*/ 228 h 241"/>
                  <a:gd name="T52" fmla="*/ 192 w 292"/>
                  <a:gd name="T53" fmla="*/ 218 h 241"/>
                  <a:gd name="T54" fmla="*/ 223 w 292"/>
                  <a:gd name="T55" fmla="*/ 220 h 241"/>
                  <a:gd name="T56" fmla="*/ 224 w 292"/>
                  <a:gd name="T57" fmla="*/ 229 h 241"/>
                  <a:gd name="T58" fmla="*/ 255 w 292"/>
                  <a:gd name="T59" fmla="*/ 232 h 241"/>
                  <a:gd name="T60" fmla="*/ 281 w 292"/>
                  <a:gd name="T61" fmla="*/ 215 h 241"/>
                  <a:gd name="T62" fmla="*/ 274 w 292"/>
                  <a:gd name="T63" fmla="*/ 204 h 241"/>
                  <a:gd name="T64" fmla="*/ 259 w 292"/>
                  <a:gd name="T65" fmla="*/ 206 h 241"/>
                  <a:gd name="T66" fmla="*/ 246 w 292"/>
                  <a:gd name="T67" fmla="*/ 207 h 241"/>
                  <a:gd name="T68" fmla="*/ 246 w 292"/>
                  <a:gd name="T69" fmla="*/ 197 h 241"/>
                  <a:gd name="T70" fmla="*/ 247 w 292"/>
                  <a:gd name="T71" fmla="*/ 186 h 241"/>
                  <a:gd name="T72" fmla="*/ 265 w 292"/>
                  <a:gd name="T73" fmla="*/ 193 h 241"/>
                  <a:gd name="T74" fmla="*/ 269 w 292"/>
                  <a:gd name="T75" fmla="*/ 186 h 241"/>
                  <a:gd name="T76" fmla="*/ 282 w 292"/>
                  <a:gd name="T77" fmla="*/ 187 h 241"/>
                  <a:gd name="T78" fmla="*/ 291 w 292"/>
                  <a:gd name="T79" fmla="*/ 183 h 241"/>
                  <a:gd name="T80" fmla="*/ 291 w 292"/>
                  <a:gd name="T81" fmla="*/ 174 h 241"/>
                  <a:gd name="T82" fmla="*/ 276 w 292"/>
                  <a:gd name="T83" fmla="*/ 171 h 241"/>
                  <a:gd name="T84" fmla="*/ 256 w 292"/>
                  <a:gd name="T85" fmla="*/ 149 h 241"/>
                  <a:gd name="T86" fmla="*/ 232 w 292"/>
                  <a:gd name="T87" fmla="*/ 120 h 241"/>
                  <a:gd name="T88" fmla="*/ 226 w 292"/>
                  <a:gd name="T89" fmla="*/ 41 h 241"/>
                  <a:gd name="T90" fmla="*/ 197 w 292"/>
                  <a:gd name="T91" fmla="*/ 5 h 241"/>
                  <a:gd name="T92" fmla="*/ 179 w 292"/>
                  <a:gd name="T93" fmla="*/ 6 h 241"/>
                  <a:gd name="T94" fmla="*/ 181 w 292"/>
                  <a:gd name="T95" fmla="*/ 15 h 241"/>
                  <a:gd name="T96" fmla="*/ 185 w 292"/>
                  <a:gd name="T97" fmla="*/ 41 h 241"/>
                  <a:gd name="T98" fmla="*/ 190 w 292"/>
                  <a:gd name="T99" fmla="*/ 94 h 241"/>
                  <a:gd name="T100" fmla="*/ 168 w 292"/>
                  <a:gd name="T101" fmla="*/ 45 h 241"/>
                  <a:gd name="T102" fmla="*/ 150 w 292"/>
                  <a:gd name="T103" fmla="*/ 21 h 241"/>
                  <a:gd name="T104" fmla="*/ 133 w 292"/>
                  <a:gd name="T105" fmla="*/ 16 h 241"/>
                  <a:gd name="T106" fmla="*/ 148 w 292"/>
                  <a:gd name="T107" fmla="*/ 32 h 241"/>
                  <a:gd name="T108" fmla="*/ 142 w 292"/>
                  <a:gd name="T109" fmla="*/ 44 h 241"/>
                  <a:gd name="T110" fmla="*/ 117 w 292"/>
                  <a:gd name="T111" fmla="*/ 51 h 241"/>
                  <a:gd name="T112" fmla="*/ 129 w 292"/>
                  <a:gd name="T113" fmla="*/ 34 h 241"/>
                  <a:gd name="T114" fmla="*/ 117 w 292"/>
                  <a:gd name="T115" fmla="*/ 19 h 241"/>
                  <a:gd name="T116" fmla="*/ 103 w 292"/>
                  <a:gd name="T117" fmla="*/ 18 h 241"/>
                  <a:gd name="T118" fmla="*/ 98 w 292"/>
                  <a:gd name="T119" fmla="*/ 44 h 241"/>
                  <a:gd name="T120" fmla="*/ 77 w 292"/>
                  <a:gd name="T121" fmla="*/ 42 h 241"/>
                  <a:gd name="T122" fmla="*/ 87 w 292"/>
                  <a:gd name="T123" fmla="*/ 22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92" h="241">
                    <a:moveTo>
                      <a:pt x="84" y="2"/>
                    </a:moveTo>
                    <a:lnTo>
                      <a:pt x="84" y="2"/>
                    </a:lnTo>
                    <a:lnTo>
                      <a:pt x="78" y="0"/>
                    </a:lnTo>
                    <a:lnTo>
                      <a:pt x="74" y="0"/>
                    </a:lnTo>
                    <a:lnTo>
                      <a:pt x="71" y="2"/>
                    </a:lnTo>
                    <a:lnTo>
                      <a:pt x="71" y="2"/>
                    </a:lnTo>
                    <a:lnTo>
                      <a:pt x="56" y="15"/>
                    </a:lnTo>
                    <a:lnTo>
                      <a:pt x="56" y="15"/>
                    </a:lnTo>
                    <a:lnTo>
                      <a:pt x="46" y="21"/>
                    </a:lnTo>
                    <a:lnTo>
                      <a:pt x="37" y="26"/>
                    </a:lnTo>
                    <a:lnTo>
                      <a:pt x="37" y="26"/>
                    </a:lnTo>
                    <a:lnTo>
                      <a:pt x="33" y="29"/>
                    </a:lnTo>
                    <a:lnTo>
                      <a:pt x="29" y="35"/>
                    </a:lnTo>
                    <a:lnTo>
                      <a:pt x="29" y="35"/>
                    </a:lnTo>
                    <a:lnTo>
                      <a:pt x="26" y="38"/>
                    </a:lnTo>
                    <a:lnTo>
                      <a:pt x="24" y="39"/>
                    </a:lnTo>
                    <a:lnTo>
                      <a:pt x="22" y="41"/>
                    </a:lnTo>
                    <a:lnTo>
                      <a:pt x="22" y="41"/>
                    </a:lnTo>
                    <a:lnTo>
                      <a:pt x="13" y="42"/>
                    </a:lnTo>
                    <a:lnTo>
                      <a:pt x="10" y="45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11" y="52"/>
                    </a:lnTo>
                    <a:lnTo>
                      <a:pt x="13" y="57"/>
                    </a:lnTo>
                    <a:lnTo>
                      <a:pt x="13" y="57"/>
                    </a:lnTo>
                    <a:lnTo>
                      <a:pt x="14" y="58"/>
                    </a:lnTo>
                    <a:lnTo>
                      <a:pt x="16" y="60"/>
                    </a:lnTo>
                    <a:lnTo>
                      <a:pt x="17" y="61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4" y="65"/>
                    </a:lnTo>
                    <a:lnTo>
                      <a:pt x="10" y="68"/>
                    </a:lnTo>
                    <a:lnTo>
                      <a:pt x="6" y="70"/>
                    </a:lnTo>
                    <a:lnTo>
                      <a:pt x="3" y="73"/>
                    </a:lnTo>
                    <a:lnTo>
                      <a:pt x="3" y="73"/>
                    </a:lnTo>
                    <a:lnTo>
                      <a:pt x="1" y="80"/>
                    </a:lnTo>
                    <a:lnTo>
                      <a:pt x="0" y="87"/>
                    </a:lnTo>
                    <a:lnTo>
                      <a:pt x="0" y="87"/>
                    </a:lnTo>
                    <a:lnTo>
                      <a:pt x="1" y="92"/>
                    </a:lnTo>
                    <a:lnTo>
                      <a:pt x="3" y="93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6" y="94"/>
                    </a:lnTo>
                    <a:lnTo>
                      <a:pt x="6" y="97"/>
                    </a:lnTo>
                    <a:lnTo>
                      <a:pt x="7" y="99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6" y="99"/>
                    </a:lnTo>
                    <a:lnTo>
                      <a:pt x="17" y="100"/>
                    </a:lnTo>
                    <a:lnTo>
                      <a:pt x="19" y="100"/>
                    </a:lnTo>
                    <a:lnTo>
                      <a:pt x="19" y="100"/>
                    </a:lnTo>
                    <a:lnTo>
                      <a:pt x="19" y="105"/>
                    </a:lnTo>
                    <a:lnTo>
                      <a:pt x="20" y="107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30" y="107"/>
                    </a:lnTo>
                    <a:lnTo>
                      <a:pt x="35" y="107"/>
                    </a:lnTo>
                    <a:lnTo>
                      <a:pt x="37" y="107"/>
                    </a:lnTo>
                    <a:lnTo>
                      <a:pt x="37" y="107"/>
                    </a:lnTo>
                    <a:lnTo>
                      <a:pt x="40" y="105"/>
                    </a:lnTo>
                    <a:lnTo>
                      <a:pt x="43" y="105"/>
                    </a:lnTo>
                    <a:lnTo>
                      <a:pt x="50" y="105"/>
                    </a:lnTo>
                    <a:lnTo>
                      <a:pt x="50" y="105"/>
                    </a:lnTo>
                    <a:lnTo>
                      <a:pt x="61" y="106"/>
                    </a:lnTo>
                    <a:lnTo>
                      <a:pt x="62" y="107"/>
                    </a:lnTo>
                    <a:lnTo>
                      <a:pt x="62" y="107"/>
                    </a:lnTo>
                    <a:lnTo>
                      <a:pt x="62" y="107"/>
                    </a:lnTo>
                    <a:lnTo>
                      <a:pt x="53" y="109"/>
                    </a:lnTo>
                    <a:lnTo>
                      <a:pt x="48" y="109"/>
                    </a:lnTo>
                    <a:lnTo>
                      <a:pt x="45" y="110"/>
                    </a:lnTo>
                    <a:lnTo>
                      <a:pt x="45" y="110"/>
                    </a:lnTo>
                    <a:lnTo>
                      <a:pt x="40" y="112"/>
                    </a:lnTo>
                    <a:lnTo>
                      <a:pt x="33" y="115"/>
                    </a:lnTo>
                    <a:lnTo>
                      <a:pt x="33" y="115"/>
                    </a:lnTo>
                    <a:lnTo>
                      <a:pt x="29" y="116"/>
                    </a:lnTo>
                    <a:lnTo>
                      <a:pt x="23" y="118"/>
                    </a:lnTo>
                    <a:lnTo>
                      <a:pt x="17" y="122"/>
                    </a:lnTo>
                    <a:lnTo>
                      <a:pt x="17" y="122"/>
                    </a:lnTo>
                    <a:lnTo>
                      <a:pt x="16" y="123"/>
                    </a:lnTo>
                    <a:lnTo>
                      <a:pt x="17" y="129"/>
                    </a:lnTo>
                    <a:lnTo>
                      <a:pt x="20" y="139"/>
                    </a:lnTo>
                    <a:lnTo>
                      <a:pt x="20" y="139"/>
                    </a:lnTo>
                    <a:lnTo>
                      <a:pt x="24" y="145"/>
                    </a:lnTo>
                    <a:lnTo>
                      <a:pt x="29" y="147"/>
                    </a:lnTo>
                    <a:lnTo>
                      <a:pt x="33" y="148"/>
                    </a:lnTo>
                    <a:lnTo>
                      <a:pt x="33" y="148"/>
                    </a:lnTo>
                    <a:lnTo>
                      <a:pt x="37" y="148"/>
                    </a:lnTo>
                    <a:lnTo>
                      <a:pt x="40" y="149"/>
                    </a:lnTo>
                    <a:lnTo>
                      <a:pt x="43" y="149"/>
                    </a:lnTo>
                    <a:lnTo>
                      <a:pt x="45" y="148"/>
                    </a:lnTo>
                    <a:lnTo>
                      <a:pt x="45" y="148"/>
                    </a:lnTo>
                    <a:lnTo>
                      <a:pt x="46" y="147"/>
                    </a:lnTo>
                    <a:lnTo>
                      <a:pt x="50" y="147"/>
                    </a:lnTo>
                    <a:lnTo>
                      <a:pt x="50" y="147"/>
                    </a:lnTo>
                    <a:lnTo>
                      <a:pt x="58" y="148"/>
                    </a:lnTo>
                    <a:lnTo>
                      <a:pt x="65" y="147"/>
                    </a:lnTo>
                    <a:lnTo>
                      <a:pt x="65" y="147"/>
                    </a:lnTo>
                    <a:lnTo>
                      <a:pt x="78" y="142"/>
                    </a:lnTo>
                    <a:lnTo>
                      <a:pt x="85" y="141"/>
                    </a:lnTo>
                    <a:lnTo>
                      <a:pt x="90" y="141"/>
                    </a:lnTo>
                    <a:lnTo>
                      <a:pt x="90" y="141"/>
                    </a:lnTo>
                    <a:lnTo>
                      <a:pt x="95" y="145"/>
                    </a:lnTo>
                    <a:lnTo>
                      <a:pt x="100" y="147"/>
                    </a:lnTo>
                    <a:lnTo>
                      <a:pt x="104" y="147"/>
                    </a:lnTo>
                    <a:lnTo>
                      <a:pt x="104" y="147"/>
                    </a:lnTo>
                    <a:lnTo>
                      <a:pt x="117" y="148"/>
                    </a:lnTo>
                    <a:lnTo>
                      <a:pt x="123" y="149"/>
                    </a:lnTo>
                    <a:lnTo>
                      <a:pt x="124" y="149"/>
                    </a:lnTo>
                    <a:lnTo>
                      <a:pt x="123" y="149"/>
                    </a:lnTo>
                    <a:lnTo>
                      <a:pt x="123" y="149"/>
                    </a:lnTo>
                    <a:lnTo>
                      <a:pt x="116" y="154"/>
                    </a:lnTo>
                    <a:lnTo>
                      <a:pt x="111" y="157"/>
                    </a:lnTo>
                    <a:lnTo>
                      <a:pt x="111" y="157"/>
                    </a:lnTo>
                    <a:lnTo>
                      <a:pt x="114" y="158"/>
                    </a:lnTo>
                    <a:lnTo>
                      <a:pt x="116" y="161"/>
                    </a:lnTo>
                    <a:lnTo>
                      <a:pt x="116" y="161"/>
                    </a:lnTo>
                    <a:lnTo>
                      <a:pt x="116" y="161"/>
                    </a:lnTo>
                    <a:lnTo>
                      <a:pt x="114" y="162"/>
                    </a:lnTo>
                    <a:lnTo>
                      <a:pt x="113" y="165"/>
                    </a:lnTo>
                    <a:lnTo>
                      <a:pt x="113" y="167"/>
                    </a:lnTo>
                    <a:lnTo>
                      <a:pt x="111" y="168"/>
                    </a:lnTo>
                    <a:lnTo>
                      <a:pt x="111" y="168"/>
                    </a:lnTo>
                    <a:lnTo>
                      <a:pt x="106" y="168"/>
                    </a:lnTo>
                    <a:lnTo>
                      <a:pt x="95" y="168"/>
                    </a:lnTo>
                    <a:lnTo>
                      <a:pt x="95" y="168"/>
                    </a:lnTo>
                    <a:lnTo>
                      <a:pt x="90" y="168"/>
                    </a:lnTo>
                    <a:lnTo>
                      <a:pt x="82" y="170"/>
                    </a:lnTo>
                    <a:lnTo>
                      <a:pt x="69" y="173"/>
                    </a:lnTo>
                    <a:lnTo>
                      <a:pt x="69" y="173"/>
                    </a:lnTo>
                    <a:lnTo>
                      <a:pt x="65" y="173"/>
                    </a:lnTo>
                    <a:lnTo>
                      <a:pt x="61" y="171"/>
                    </a:lnTo>
                    <a:lnTo>
                      <a:pt x="56" y="170"/>
                    </a:lnTo>
                    <a:lnTo>
                      <a:pt x="50" y="170"/>
                    </a:lnTo>
                    <a:lnTo>
                      <a:pt x="50" y="170"/>
                    </a:lnTo>
                    <a:lnTo>
                      <a:pt x="39" y="171"/>
                    </a:lnTo>
                    <a:lnTo>
                      <a:pt x="36" y="173"/>
                    </a:lnTo>
                    <a:lnTo>
                      <a:pt x="35" y="174"/>
                    </a:lnTo>
                    <a:lnTo>
                      <a:pt x="36" y="176"/>
                    </a:lnTo>
                    <a:lnTo>
                      <a:pt x="36" y="176"/>
                    </a:lnTo>
                    <a:lnTo>
                      <a:pt x="36" y="178"/>
                    </a:lnTo>
                    <a:lnTo>
                      <a:pt x="36" y="183"/>
                    </a:lnTo>
                    <a:lnTo>
                      <a:pt x="36" y="187"/>
                    </a:lnTo>
                    <a:lnTo>
                      <a:pt x="37" y="190"/>
                    </a:lnTo>
                    <a:lnTo>
                      <a:pt x="37" y="190"/>
                    </a:lnTo>
                    <a:lnTo>
                      <a:pt x="42" y="194"/>
                    </a:lnTo>
                    <a:lnTo>
                      <a:pt x="45" y="196"/>
                    </a:lnTo>
                    <a:lnTo>
                      <a:pt x="45" y="200"/>
                    </a:lnTo>
                    <a:lnTo>
                      <a:pt x="45" y="200"/>
                    </a:lnTo>
                    <a:lnTo>
                      <a:pt x="46" y="203"/>
                    </a:lnTo>
                    <a:lnTo>
                      <a:pt x="48" y="206"/>
                    </a:lnTo>
                    <a:lnTo>
                      <a:pt x="50" y="210"/>
                    </a:lnTo>
                    <a:lnTo>
                      <a:pt x="56" y="213"/>
                    </a:lnTo>
                    <a:lnTo>
                      <a:pt x="56" y="213"/>
                    </a:lnTo>
                    <a:lnTo>
                      <a:pt x="62" y="213"/>
                    </a:lnTo>
                    <a:lnTo>
                      <a:pt x="69" y="215"/>
                    </a:lnTo>
                    <a:lnTo>
                      <a:pt x="77" y="213"/>
                    </a:lnTo>
                    <a:lnTo>
                      <a:pt x="81" y="215"/>
                    </a:lnTo>
                    <a:lnTo>
                      <a:pt x="81" y="215"/>
                    </a:lnTo>
                    <a:lnTo>
                      <a:pt x="87" y="218"/>
                    </a:lnTo>
                    <a:lnTo>
                      <a:pt x="88" y="220"/>
                    </a:lnTo>
                    <a:lnTo>
                      <a:pt x="90" y="223"/>
                    </a:lnTo>
                    <a:lnTo>
                      <a:pt x="90" y="223"/>
                    </a:lnTo>
                    <a:lnTo>
                      <a:pt x="88" y="228"/>
                    </a:lnTo>
                    <a:lnTo>
                      <a:pt x="88" y="231"/>
                    </a:lnTo>
                    <a:lnTo>
                      <a:pt x="90" y="233"/>
                    </a:lnTo>
                    <a:lnTo>
                      <a:pt x="90" y="233"/>
                    </a:lnTo>
                    <a:lnTo>
                      <a:pt x="95" y="238"/>
                    </a:lnTo>
                    <a:lnTo>
                      <a:pt x="98" y="239"/>
                    </a:lnTo>
                    <a:lnTo>
                      <a:pt x="104" y="241"/>
                    </a:lnTo>
                    <a:lnTo>
                      <a:pt x="104" y="241"/>
                    </a:lnTo>
                    <a:lnTo>
                      <a:pt x="110" y="239"/>
                    </a:lnTo>
                    <a:lnTo>
                      <a:pt x="119" y="238"/>
                    </a:lnTo>
                    <a:lnTo>
                      <a:pt x="126" y="235"/>
                    </a:lnTo>
                    <a:lnTo>
                      <a:pt x="130" y="235"/>
                    </a:lnTo>
                    <a:lnTo>
                      <a:pt x="130" y="235"/>
                    </a:lnTo>
                    <a:lnTo>
                      <a:pt x="137" y="238"/>
                    </a:lnTo>
                    <a:lnTo>
                      <a:pt x="142" y="238"/>
                    </a:lnTo>
                    <a:lnTo>
                      <a:pt x="146" y="238"/>
                    </a:lnTo>
                    <a:lnTo>
                      <a:pt x="146" y="238"/>
                    </a:lnTo>
                    <a:lnTo>
                      <a:pt x="150" y="235"/>
                    </a:lnTo>
                    <a:lnTo>
                      <a:pt x="156" y="232"/>
                    </a:lnTo>
                    <a:lnTo>
                      <a:pt x="161" y="228"/>
                    </a:lnTo>
                    <a:lnTo>
                      <a:pt x="163" y="226"/>
                    </a:lnTo>
                    <a:lnTo>
                      <a:pt x="163" y="226"/>
                    </a:lnTo>
                    <a:lnTo>
                      <a:pt x="178" y="225"/>
                    </a:lnTo>
                    <a:lnTo>
                      <a:pt x="185" y="223"/>
                    </a:lnTo>
                    <a:lnTo>
                      <a:pt x="188" y="222"/>
                    </a:lnTo>
                    <a:lnTo>
                      <a:pt x="188" y="222"/>
                    </a:lnTo>
                    <a:lnTo>
                      <a:pt x="192" y="218"/>
                    </a:lnTo>
                    <a:lnTo>
                      <a:pt x="195" y="216"/>
                    </a:lnTo>
                    <a:lnTo>
                      <a:pt x="198" y="216"/>
                    </a:lnTo>
                    <a:lnTo>
                      <a:pt x="198" y="216"/>
                    </a:lnTo>
                    <a:lnTo>
                      <a:pt x="204" y="218"/>
                    </a:lnTo>
                    <a:lnTo>
                      <a:pt x="210" y="219"/>
                    </a:lnTo>
                    <a:lnTo>
                      <a:pt x="210" y="219"/>
                    </a:lnTo>
                    <a:lnTo>
                      <a:pt x="223" y="220"/>
                    </a:lnTo>
                    <a:lnTo>
                      <a:pt x="227" y="220"/>
                    </a:lnTo>
                    <a:lnTo>
                      <a:pt x="227" y="220"/>
                    </a:lnTo>
                    <a:lnTo>
                      <a:pt x="227" y="222"/>
                    </a:lnTo>
                    <a:lnTo>
                      <a:pt x="227" y="222"/>
                    </a:lnTo>
                    <a:lnTo>
                      <a:pt x="224" y="226"/>
                    </a:lnTo>
                    <a:lnTo>
                      <a:pt x="223" y="228"/>
                    </a:lnTo>
                    <a:lnTo>
                      <a:pt x="224" y="229"/>
                    </a:lnTo>
                    <a:lnTo>
                      <a:pt x="224" y="229"/>
                    </a:lnTo>
                    <a:lnTo>
                      <a:pt x="233" y="228"/>
                    </a:lnTo>
                    <a:lnTo>
                      <a:pt x="239" y="228"/>
                    </a:lnTo>
                    <a:lnTo>
                      <a:pt x="243" y="228"/>
                    </a:lnTo>
                    <a:lnTo>
                      <a:pt x="243" y="228"/>
                    </a:lnTo>
                    <a:lnTo>
                      <a:pt x="252" y="232"/>
                    </a:lnTo>
                    <a:lnTo>
                      <a:pt x="255" y="232"/>
                    </a:lnTo>
                    <a:lnTo>
                      <a:pt x="259" y="232"/>
                    </a:lnTo>
                    <a:lnTo>
                      <a:pt x="259" y="232"/>
                    </a:lnTo>
                    <a:lnTo>
                      <a:pt x="269" y="226"/>
                    </a:lnTo>
                    <a:lnTo>
                      <a:pt x="275" y="222"/>
                    </a:lnTo>
                    <a:lnTo>
                      <a:pt x="278" y="219"/>
                    </a:lnTo>
                    <a:lnTo>
                      <a:pt x="278" y="219"/>
                    </a:lnTo>
                    <a:lnTo>
                      <a:pt x="281" y="215"/>
                    </a:lnTo>
                    <a:lnTo>
                      <a:pt x="282" y="213"/>
                    </a:lnTo>
                    <a:lnTo>
                      <a:pt x="282" y="213"/>
                    </a:lnTo>
                    <a:lnTo>
                      <a:pt x="281" y="213"/>
                    </a:lnTo>
                    <a:lnTo>
                      <a:pt x="278" y="213"/>
                    </a:lnTo>
                    <a:lnTo>
                      <a:pt x="276" y="212"/>
                    </a:lnTo>
                    <a:lnTo>
                      <a:pt x="276" y="212"/>
                    </a:lnTo>
                    <a:lnTo>
                      <a:pt x="274" y="204"/>
                    </a:lnTo>
                    <a:lnTo>
                      <a:pt x="271" y="200"/>
                    </a:lnTo>
                    <a:lnTo>
                      <a:pt x="269" y="199"/>
                    </a:lnTo>
                    <a:lnTo>
                      <a:pt x="269" y="199"/>
                    </a:lnTo>
                    <a:lnTo>
                      <a:pt x="268" y="200"/>
                    </a:lnTo>
                    <a:lnTo>
                      <a:pt x="265" y="203"/>
                    </a:lnTo>
                    <a:lnTo>
                      <a:pt x="262" y="206"/>
                    </a:lnTo>
                    <a:lnTo>
                      <a:pt x="259" y="206"/>
                    </a:lnTo>
                    <a:lnTo>
                      <a:pt x="259" y="206"/>
                    </a:lnTo>
                    <a:lnTo>
                      <a:pt x="256" y="204"/>
                    </a:lnTo>
                    <a:lnTo>
                      <a:pt x="255" y="204"/>
                    </a:lnTo>
                    <a:lnTo>
                      <a:pt x="252" y="204"/>
                    </a:lnTo>
                    <a:lnTo>
                      <a:pt x="252" y="204"/>
                    </a:lnTo>
                    <a:lnTo>
                      <a:pt x="247" y="206"/>
                    </a:lnTo>
                    <a:lnTo>
                      <a:pt x="246" y="207"/>
                    </a:lnTo>
                    <a:lnTo>
                      <a:pt x="246" y="204"/>
                    </a:lnTo>
                    <a:lnTo>
                      <a:pt x="246" y="204"/>
                    </a:lnTo>
                    <a:lnTo>
                      <a:pt x="250" y="200"/>
                    </a:lnTo>
                    <a:lnTo>
                      <a:pt x="250" y="199"/>
                    </a:lnTo>
                    <a:lnTo>
                      <a:pt x="250" y="197"/>
                    </a:lnTo>
                    <a:lnTo>
                      <a:pt x="250" y="197"/>
                    </a:lnTo>
                    <a:lnTo>
                      <a:pt x="246" y="197"/>
                    </a:lnTo>
                    <a:lnTo>
                      <a:pt x="243" y="196"/>
                    </a:lnTo>
                    <a:lnTo>
                      <a:pt x="243" y="194"/>
                    </a:lnTo>
                    <a:lnTo>
                      <a:pt x="243" y="194"/>
                    </a:lnTo>
                    <a:lnTo>
                      <a:pt x="245" y="189"/>
                    </a:lnTo>
                    <a:lnTo>
                      <a:pt x="246" y="186"/>
                    </a:lnTo>
                    <a:lnTo>
                      <a:pt x="247" y="186"/>
                    </a:lnTo>
                    <a:lnTo>
                      <a:pt x="247" y="186"/>
                    </a:lnTo>
                    <a:lnTo>
                      <a:pt x="250" y="191"/>
                    </a:lnTo>
                    <a:lnTo>
                      <a:pt x="253" y="194"/>
                    </a:lnTo>
                    <a:lnTo>
                      <a:pt x="256" y="196"/>
                    </a:lnTo>
                    <a:lnTo>
                      <a:pt x="256" y="196"/>
                    </a:lnTo>
                    <a:lnTo>
                      <a:pt x="263" y="196"/>
                    </a:lnTo>
                    <a:lnTo>
                      <a:pt x="265" y="194"/>
                    </a:lnTo>
                    <a:lnTo>
                      <a:pt x="265" y="193"/>
                    </a:lnTo>
                    <a:lnTo>
                      <a:pt x="265" y="193"/>
                    </a:lnTo>
                    <a:lnTo>
                      <a:pt x="259" y="191"/>
                    </a:lnTo>
                    <a:lnTo>
                      <a:pt x="259" y="190"/>
                    </a:lnTo>
                    <a:lnTo>
                      <a:pt x="262" y="189"/>
                    </a:lnTo>
                    <a:lnTo>
                      <a:pt x="262" y="189"/>
                    </a:lnTo>
                    <a:lnTo>
                      <a:pt x="268" y="186"/>
                    </a:lnTo>
                    <a:lnTo>
                      <a:pt x="269" y="186"/>
                    </a:lnTo>
                    <a:lnTo>
                      <a:pt x="271" y="186"/>
                    </a:lnTo>
                    <a:lnTo>
                      <a:pt x="271" y="186"/>
                    </a:lnTo>
                    <a:lnTo>
                      <a:pt x="275" y="187"/>
                    </a:lnTo>
                    <a:lnTo>
                      <a:pt x="278" y="186"/>
                    </a:lnTo>
                    <a:lnTo>
                      <a:pt x="279" y="186"/>
                    </a:lnTo>
                    <a:lnTo>
                      <a:pt x="282" y="187"/>
                    </a:lnTo>
                    <a:lnTo>
                      <a:pt x="282" y="187"/>
                    </a:lnTo>
                    <a:lnTo>
                      <a:pt x="285" y="191"/>
                    </a:lnTo>
                    <a:lnTo>
                      <a:pt x="288" y="191"/>
                    </a:lnTo>
                    <a:lnTo>
                      <a:pt x="289" y="190"/>
                    </a:lnTo>
                    <a:lnTo>
                      <a:pt x="289" y="190"/>
                    </a:lnTo>
                    <a:lnTo>
                      <a:pt x="292" y="186"/>
                    </a:lnTo>
                    <a:lnTo>
                      <a:pt x="292" y="184"/>
                    </a:lnTo>
                    <a:lnTo>
                      <a:pt x="291" y="183"/>
                    </a:lnTo>
                    <a:lnTo>
                      <a:pt x="291" y="183"/>
                    </a:lnTo>
                    <a:lnTo>
                      <a:pt x="287" y="180"/>
                    </a:lnTo>
                    <a:lnTo>
                      <a:pt x="285" y="178"/>
                    </a:lnTo>
                    <a:lnTo>
                      <a:pt x="287" y="177"/>
                    </a:lnTo>
                    <a:lnTo>
                      <a:pt x="287" y="177"/>
                    </a:lnTo>
                    <a:lnTo>
                      <a:pt x="291" y="176"/>
                    </a:lnTo>
                    <a:lnTo>
                      <a:pt x="291" y="174"/>
                    </a:lnTo>
                    <a:lnTo>
                      <a:pt x="291" y="173"/>
                    </a:lnTo>
                    <a:lnTo>
                      <a:pt x="291" y="173"/>
                    </a:lnTo>
                    <a:lnTo>
                      <a:pt x="287" y="168"/>
                    </a:lnTo>
                    <a:lnTo>
                      <a:pt x="284" y="167"/>
                    </a:lnTo>
                    <a:lnTo>
                      <a:pt x="281" y="168"/>
                    </a:lnTo>
                    <a:lnTo>
                      <a:pt x="281" y="168"/>
                    </a:lnTo>
                    <a:lnTo>
                      <a:pt x="276" y="171"/>
                    </a:lnTo>
                    <a:lnTo>
                      <a:pt x="274" y="173"/>
                    </a:lnTo>
                    <a:lnTo>
                      <a:pt x="272" y="171"/>
                    </a:lnTo>
                    <a:lnTo>
                      <a:pt x="272" y="171"/>
                    </a:lnTo>
                    <a:lnTo>
                      <a:pt x="265" y="162"/>
                    </a:lnTo>
                    <a:lnTo>
                      <a:pt x="265" y="162"/>
                    </a:lnTo>
                    <a:lnTo>
                      <a:pt x="259" y="154"/>
                    </a:lnTo>
                    <a:lnTo>
                      <a:pt x="256" y="149"/>
                    </a:lnTo>
                    <a:lnTo>
                      <a:pt x="253" y="148"/>
                    </a:lnTo>
                    <a:lnTo>
                      <a:pt x="253" y="148"/>
                    </a:lnTo>
                    <a:lnTo>
                      <a:pt x="242" y="141"/>
                    </a:lnTo>
                    <a:lnTo>
                      <a:pt x="237" y="136"/>
                    </a:lnTo>
                    <a:lnTo>
                      <a:pt x="233" y="132"/>
                    </a:lnTo>
                    <a:lnTo>
                      <a:pt x="233" y="132"/>
                    </a:lnTo>
                    <a:lnTo>
                      <a:pt x="232" y="120"/>
                    </a:lnTo>
                    <a:lnTo>
                      <a:pt x="230" y="100"/>
                    </a:lnTo>
                    <a:lnTo>
                      <a:pt x="230" y="70"/>
                    </a:lnTo>
                    <a:lnTo>
                      <a:pt x="230" y="70"/>
                    </a:lnTo>
                    <a:lnTo>
                      <a:pt x="227" y="47"/>
                    </a:lnTo>
                    <a:lnTo>
                      <a:pt x="227" y="47"/>
                    </a:lnTo>
                    <a:lnTo>
                      <a:pt x="227" y="44"/>
                    </a:lnTo>
                    <a:lnTo>
                      <a:pt x="226" y="41"/>
                    </a:lnTo>
                    <a:lnTo>
                      <a:pt x="221" y="34"/>
                    </a:lnTo>
                    <a:lnTo>
                      <a:pt x="221" y="34"/>
                    </a:lnTo>
                    <a:lnTo>
                      <a:pt x="208" y="15"/>
                    </a:lnTo>
                    <a:lnTo>
                      <a:pt x="208" y="15"/>
                    </a:lnTo>
                    <a:lnTo>
                      <a:pt x="203" y="8"/>
                    </a:lnTo>
                    <a:lnTo>
                      <a:pt x="198" y="5"/>
                    </a:lnTo>
                    <a:lnTo>
                      <a:pt x="197" y="5"/>
                    </a:lnTo>
                    <a:lnTo>
                      <a:pt x="197" y="5"/>
                    </a:lnTo>
                    <a:lnTo>
                      <a:pt x="195" y="10"/>
                    </a:lnTo>
                    <a:lnTo>
                      <a:pt x="194" y="12"/>
                    </a:lnTo>
                    <a:lnTo>
                      <a:pt x="191" y="12"/>
                    </a:lnTo>
                    <a:lnTo>
                      <a:pt x="191" y="12"/>
                    </a:lnTo>
                    <a:lnTo>
                      <a:pt x="184" y="8"/>
                    </a:lnTo>
                    <a:lnTo>
                      <a:pt x="179" y="6"/>
                    </a:lnTo>
                    <a:lnTo>
                      <a:pt x="179" y="6"/>
                    </a:lnTo>
                    <a:lnTo>
                      <a:pt x="179" y="6"/>
                    </a:lnTo>
                    <a:lnTo>
                      <a:pt x="179" y="6"/>
                    </a:lnTo>
                    <a:lnTo>
                      <a:pt x="181" y="12"/>
                    </a:lnTo>
                    <a:lnTo>
                      <a:pt x="181" y="13"/>
                    </a:lnTo>
                    <a:lnTo>
                      <a:pt x="181" y="15"/>
                    </a:lnTo>
                    <a:lnTo>
                      <a:pt x="181" y="15"/>
                    </a:lnTo>
                    <a:lnTo>
                      <a:pt x="178" y="16"/>
                    </a:lnTo>
                    <a:lnTo>
                      <a:pt x="178" y="18"/>
                    </a:lnTo>
                    <a:lnTo>
                      <a:pt x="178" y="21"/>
                    </a:lnTo>
                    <a:lnTo>
                      <a:pt x="178" y="21"/>
                    </a:lnTo>
                    <a:lnTo>
                      <a:pt x="181" y="31"/>
                    </a:lnTo>
                    <a:lnTo>
                      <a:pt x="185" y="41"/>
                    </a:lnTo>
                    <a:lnTo>
                      <a:pt x="185" y="41"/>
                    </a:lnTo>
                    <a:lnTo>
                      <a:pt x="187" y="57"/>
                    </a:lnTo>
                    <a:lnTo>
                      <a:pt x="188" y="67"/>
                    </a:lnTo>
                    <a:lnTo>
                      <a:pt x="188" y="73"/>
                    </a:lnTo>
                    <a:lnTo>
                      <a:pt x="188" y="73"/>
                    </a:lnTo>
                    <a:lnTo>
                      <a:pt x="190" y="86"/>
                    </a:lnTo>
                    <a:lnTo>
                      <a:pt x="190" y="94"/>
                    </a:lnTo>
                    <a:lnTo>
                      <a:pt x="190" y="94"/>
                    </a:lnTo>
                    <a:lnTo>
                      <a:pt x="187" y="97"/>
                    </a:lnTo>
                    <a:lnTo>
                      <a:pt x="182" y="97"/>
                    </a:lnTo>
                    <a:lnTo>
                      <a:pt x="182" y="97"/>
                    </a:lnTo>
                    <a:lnTo>
                      <a:pt x="178" y="96"/>
                    </a:lnTo>
                    <a:lnTo>
                      <a:pt x="175" y="94"/>
                    </a:lnTo>
                    <a:lnTo>
                      <a:pt x="175" y="94"/>
                    </a:lnTo>
                    <a:lnTo>
                      <a:pt x="168" y="45"/>
                    </a:lnTo>
                    <a:lnTo>
                      <a:pt x="168" y="45"/>
                    </a:lnTo>
                    <a:lnTo>
                      <a:pt x="166" y="41"/>
                    </a:lnTo>
                    <a:lnTo>
                      <a:pt x="161" y="35"/>
                    </a:lnTo>
                    <a:lnTo>
                      <a:pt x="155" y="28"/>
                    </a:lnTo>
                    <a:lnTo>
                      <a:pt x="152" y="23"/>
                    </a:lnTo>
                    <a:lnTo>
                      <a:pt x="152" y="23"/>
                    </a:lnTo>
                    <a:lnTo>
                      <a:pt x="150" y="21"/>
                    </a:lnTo>
                    <a:lnTo>
                      <a:pt x="149" y="18"/>
                    </a:lnTo>
                    <a:lnTo>
                      <a:pt x="143" y="15"/>
                    </a:lnTo>
                    <a:lnTo>
                      <a:pt x="136" y="10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2" y="13"/>
                    </a:lnTo>
                    <a:lnTo>
                      <a:pt x="133" y="16"/>
                    </a:lnTo>
                    <a:lnTo>
                      <a:pt x="134" y="21"/>
                    </a:lnTo>
                    <a:lnTo>
                      <a:pt x="137" y="23"/>
                    </a:lnTo>
                    <a:lnTo>
                      <a:pt x="137" y="23"/>
                    </a:lnTo>
                    <a:lnTo>
                      <a:pt x="140" y="25"/>
                    </a:lnTo>
                    <a:lnTo>
                      <a:pt x="143" y="26"/>
                    </a:lnTo>
                    <a:lnTo>
                      <a:pt x="146" y="28"/>
                    </a:lnTo>
                    <a:lnTo>
                      <a:pt x="148" y="32"/>
                    </a:lnTo>
                    <a:lnTo>
                      <a:pt x="148" y="32"/>
                    </a:lnTo>
                    <a:lnTo>
                      <a:pt x="149" y="38"/>
                    </a:lnTo>
                    <a:lnTo>
                      <a:pt x="150" y="41"/>
                    </a:lnTo>
                    <a:lnTo>
                      <a:pt x="152" y="44"/>
                    </a:lnTo>
                    <a:lnTo>
                      <a:pt x="149" y="45"/>
                    </a:lnTo>
                    <a:lnTo>
                      <a:pt x="149" y="45"/>
                    </a:lnTo>
                    <a:lnTo>
                      <a:pt x="142" y="44"/>
                    </a:lnTo>
                    <a:lnTo>
                      <a:pt x="139" y="42"/>
                    </a:lnTo>
                    <a:lnTo>
                      <a:pt x="136" y="44"/>
                    </a:lnTo>
                    <a:lnTo>
                      <a:pt x="136" y="44"/>
                    </a:lnTo>
                    <a:lnTo>
                      <a:pt x="130" y="45"/>
                    </a:lnTo>
                    <a:lnTo>
                      <a:pt x="124" y="48"/>
                    </a:lnTo>
                    <a:lnTo>
                      <a:pt x="120" y="51"/>
                    </a:lnTo>
                    <a:lnTo>
                      <a:pt x="117" y="51"/>
                    </a:lnTo>
                    <a:lnTo>
                      <a:pt x="116" y="51"/>
                    </a:lnTo>
                    <a:lnTo>
                      <a:pt x="116" y="51"/>
                    </a:lnTo>
                    <a:lnTo>
                      <a:pt x="116" y="50"/>
                    </a:lnTo>
                    <a:lnTo>
                      <a:pt x="116" y="47"/>
                    </a:lnTo>
                    <a:lnTo>
                      <a:pt x="121" y="42"/>
                    </a:lnTo>
                    <a:lnTo>
                      <a:pt x="127" y="36"/>
                    </a:lnTo>
                    <a:lnTo>
                      <a:pt x="129" y="34"/>
                    </a:lnTo>
                    <a:lnTo>
                      <a:pt x="129" y="31"/>
                    </a:lnTo>
                    <a:lnTo>
                      <a:pt x="129" y="31"/>
                    </a:lnTo>
                    <a:lnTo>
                      <a:pt x="126" y="26"/>
                    </a:lnTo>
                    <a:lnTo>
                      <a:pt x="123" y="25"/>
                    </a:lnTo>
                    <a:lnTo>
                      <a:pt x="119" y="22"/>
                    </a:lnTo>
                    <a:lnTo>
                      <a:pt x="117" y="19"/>
                    </a:lnTo>
                    <a:lnTo>
                      <a:pt x="117" y="19"/>
                    </a:lnTo>
                    <a:lnTo>
                      <a:pt x="114" y="16"/>
                    </a:lnTo>
                    <a:lnTo>
                      <a:pt x="110" y="13"/>
                    </a:lnTo>
                    <a:lnTo>
                      <a:pt x="107" y="12"/>
                    </a:lnTo>
                    <a:lnTo>
                      <a:pt x="104" y="13"/>
                    </a:lnTo>
                    <a:lnTo>
                      <a:pt x="104" y="13"/>
                    </a:lnTo>
                    <a:lnTo>
                      <a:pt x="103" y="15"/>
                    </a:lnTo>
                    <a:lnTo>
                      <a:pt x="103" y="18"/>
                    </a:lnTo>
                    <a:lnTo>
                      <a:pt x="104" y="21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1" y="35"/>
                    </a:lnTo>
                    <a:lnTo>
                      <a:pt x="100" y="41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2" y="41"/>
                    </a:lnTo>
                    <a:lnTo>
                      <a:pt x="88" y="39"/>
                    </a:lnTo>
                    <a:lnTo>
                      <a:pt x="88" y="39"/>
                    </a:lnTo>
                    <a:lnTo>
                      <a:pt x="82" y="42"/>
                    </a:lnTo>
                    <a:lnTo>
                      <a:pt x="79" y="44"/>
                    </a:lnTo>
                    <a:lnTo>
                      <a:pt x="77" y="42"/>
                    </a:lnTo>
                    <a:lnTo>
                      <a:pt x="77" y="42"/>
                    </a:lnTo>
                    <a:lnTo>
                      <a:pt x="77" y="39"/>
                    </a:lnTo>
                    <a:lnTo>
                      <a:pt x="77" y="38"/>
                    </a:lnTo>
                    <a:lnTo>
                      <a:pt x="78" y="32"/>
                    </a:lnTo>
                    <a:lnTo>
                      <a:pt x="84" y="25"/>
                    </a:lnTo>
                    <a:lnTo>
                      <a:pt x="84" y="25"/>
                    </a:lnTo>
                    <a:lnTo>
                      <a:pt x="87" y="22"/>
                    </a:lnTo>
                    <a:lnTo>
                      <a:pt x="88" y="19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7" y="8"/>
                    </a:lnTo>
                    <a:lnTo>
                      <a:pt x="85" y="5"/>
                    </a:lnTo>
                    <a:lnTo>
                      <a:pt x="84" y="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17" name="Freeform 971"/>
              <p:cNvSpPr>
                <a:spLocks/>
              </p:cNvSpPr>
              <p:nvPr/>
            </p:nvSpPr>
            <p:spPr bwMode="auto">
              <a:xfrm>
                <a:off x="2505436" y="1575052"/>
                <a:ext cx="288864" cy="238412"/>
              </a:xfrm>
              <a:custGeom>
                <a:avLst/>
                <a:gdLst>
                  <a:gd name="T0" fmla="*/ 56 w 292"/>
                  <a:gd name="T1" fmla="*/ 15 h 241"/>
                  <a:gd name="T2" fmla="*/ 29 w 292"/>
                  <a:gd name="T3" fmla="*/ 35 h 241"/>
                  <a:gd name="T4" fmla="*/ 8 w 292"/>
                  <a:gd name="T5" fmla="*/ 47 h 241"/>
                  <a:gd name="T6" fmla="*/ 17 w 292"/>
                  <a:gd name="T7" fmla="*/ 61 h 241"/>
                  <a:gd name="T8" fmla="*/ 3 w 292"/>
                  <a:gd name="T9" fmla="*/ 73 h 241"/>
                  <a:gd name="T10" fmla="*/ 4 w 292"/>
                  <a:gd name="T11" fmla="*/ 94 h 241"/>
                  <a:gd name="T12" fmla="*/ 17 w 292"/>
                  <a:gd name="T13" fmla="*/ 100 h 241"/>
                  <a:gd name="T14" fmla="*/ 30 w 292"/>
                  <a:gd name="T15" fmla="*/ 107 h 241"/>
                  <a:gd name="T16" fmla="*/ 50 w 292"/>
                  <a:gd name="T17" fmla="*/ 105 h 241"/>
                  <a:gd name="T18" fmla="*/ 45 w 292"/>
                  <a:gd name="T19" fmla="*/ 110 h 241"/>
                  <a:gd name="T20" fmla="*/ 17 w 292"/>
                  <a:gd name="T21" fmla="*/ 122 h 241"/>
                  <a:gd name="T22" fmla="*/ 29 w 292"/>
                  <a:gd name="T23" fmla="*/ 147 h 241"/>
                  <a:gd name="T24" fmla="*/ 45 w 292"/>
                  <a:gd name="T25" fmla="*/ 148 h 241"/>
                  <a:gd name="T26" fmla="*/ 78 w 292"/>
                  <a:gd name="T27" fmla="*/ 142 h 241"/>
                  <a:gd name="T28" fmla="*/ 104 w 292"/>
                  <a:gd name="T29" fmla="*/ 147 h 241"/>
                  <a:gd name="T30" fmla="*/ 111 w 292"/>
                  <a:gd name="T31" fmla="*/ 157 h 241"/>
                  <a:gd name="T32" fmla="*/ 113 w 292"/>
                  <a:gd name="T33" fmla="*/ 165 h 241"/>
                  <a:gd name="T34" fmla="*/ 90 w 292"/>
                  <a:gd name="T35" fmla="*/ 168 h 241"/>
                  <a:gd name="T36" fmla="*/ 50 w 292"/>
                  <a:gd name="T37" fmla="*/ 170 h 241"/>
                  <a:gd name="T38" fmla="*/ 36 w 292"/>
                  <a:gd name="T39" fmla="*/ 178 h 241"/>
                  <a:gd name="T40" fmla="*/ 45 w 292"/>
                  <a:gd name="T41" fmla="*/ 200 h 241"/>
                  <a:gd name="T42" fmla="*/ 62 w 292"/>
                  <a:gd name="T43" fmla="*/ 213 h 241"/>
                  <a:gd name="T44" fmla="*/ 90 w 292"/>
                  <a:gd name="T45" fmla="*/ 223 h 241"/>
                  <a:gd name="T46" fmla="*/ 98 w 292"/>
                  <a:gd name="T47" fmla="*/ 239 h 241"/>
                  <a:gd name="T48" fmla="*/ 130 w 292"/>
                  <a:gd name="T49" fmla="*/ 235 h 241"/>
                  <a:gd name="T50" fmla="*/ 161 w 292"/>
                  <a:gd name="T51" fmla="*/ 228 h 241"/>
                  <a:gd name="T52" fmla="*/ 192 w 292"/>
                  <a:gd name="T53" fmla="*/ 218 h 241"/>
                  <a:gd name="T54" fmla="*/ 223 w 292"/>
                  <a:gd name="T55" fmla="*/ 220 h 241"/>
                  <a:gd name="T56" fmla="*/ 224 w 292"/>
                  <a:gd name="T57" fmla="*/ 229 h 241"/>
                  <a:gd name="T58" fmla="*/ 255 w 292"/>
                  <a:gd name="T59" fmla="*/ 232 h 241"/>
                  <a:gd name="T60" fmla="*/ 281 w 292"/>
                  <a:gd name="T61" fmla="*/ 215 h 241"/>
                  <a:gd name="T62" fmla="*/ 274 w 292"/>
                  <a:gd name="T63" fmla="*/ 204 h 241"/>
                  <a:gd name="T64" fmla="*/ 259 w 292"/>
                  <a:gd name="T65" fmla="*/ 206 h 241"/>
                  <a:gd name="T66" fmla="*/ 246 w 292"/>
                  <a:gd name="T67" fmla="*/ 207 h 241"/>
                  <a:gd name="T68" fmla="*/ 246 w 292"/>
                  <a:gd name="T69" fmla="*/ 197 h 241"/>
                  <a:gd name="T70" fmla="*/ 247 w 292"/>
                  <a:gd name="T71" fmla="*/ 186 h 241"/>
                  <a:gd name="T72" fmla="*/ 265 w 292"/>
                  <a:gd name="T73" fmla="*/ 193 h 241"/>
                  <a:gd name="T74" fmla="*/ 269 w 292"/>
                  <a:gd name="T75" fmla="*/ 186 h 241"/>
                  <a:gd name="T76" fmla="*/ 282 w 292"/>
                  <a:gd name="T77" fmla="*/ 187 h 241"/>
                  <a:gd name="T78" fmla="*/ 291 w 292"/>
                  <a:gd name="T79" fmla="*/ 183 h 241"/>
                  <a:gd name="T80" fmla="*/ 291 w 292"/>
                  <a:gd name="T81" fmla="*/ 174 h 241"/>
                  <a:gd name="T82" fmla="*/ 276 w 292"/>
                  <a:gd name="T83" fmla="*/ 171 h 241"/>
                  <a:gd name="T84" fmla="*/ 256 w 292"/>
                  <a:gd name="T85" fmla="*/ 149 h 241"/>
                  <a:gd name="T86" fmla="*/ 232 w 292"/>
                  <a:gd name="T87" fmla="*/ 120 h 241"/>
                  <a:gd name="T88" fmla="*/ 226 w 292"/>
                  <a:gd name="T89" fmla="*/ 41 h 241"/>
                  <a:gd name="T90" fmla="*/ 197 w 292"/>
                  <a:gd name="T91" fmla="*/ 5 h 241"/>
                  <a:gd name="T92" fmla="*/ 179 w 292"/>
                  <a:gd name="T93" fmla="*/ 6 h 241"/>
                  <a:gd name="T94" fmla="*/ 181 w 292"/>
                  <a:gd name="T95" fmla="*/ 15 h 241"/>
                  <a:gd name="T96" fmla="*/ 185 w 292"/>
                  <a:gd name="T97" fmla="*/ 41 h 241"/>
                  <a:gd name="T98" fmla="*/ 190 w 292"/>
                  <a:gd name="T99" fmla="*/ 94 h 241"/>
                  <a:gd name="T100" fmla="*/ 168 w 292"/>
                  <a:gd name="T101" fmla="*/ 45 h 241"/>
                  <a:gd name="T102" fmla="*/ 150 w 292"/>
                  <a:gd name="T103" fmla="*/ 21 h 241"/>
                  <a:gd name="T104" fmla="*/ 133 w 292"/>
                  <a:gd name="T105" fmla="*/ 16 h 241"/>
                  <a:gd name="T106" fmla="*/ 148 w 292"/>
                  <a:gd name="T107" fmla="*/ 32 h 241"/>
                  <a:gd name="T108" fmla="*/ 142 w 292"/>
                  <a:gd name="T109" fmla="*/ 44 h 241"/>
                  <a:gd name="T110" fmla="*/ 117 w 292"/>
                  <a:gd name="T111" fmla="*/ 51 h 241"/>
                  <a:gd name="T112" fmla="*/ 129 w 292"/>
                  <a:gd name="T113" fmla="*/ 34 h 241"/>
                  <a:gd name="T114" fmla="*/ 117 w 292"/>
                  <a:gd name="T115" fmla="*/ 19 h 241"/>
                  <a:gd name="T116" fmla="*/ 103 w 292"/>
                  <a:gd name="T117" fmla="*/ 18 h 241"/>
                  <a:gd name="T118" fmla="*/ 98 w 292"/>
                  <a:gd name="T119" fmla="*/ 44 h 241"/>
                  <a:gd name="T120" fmla="*/ 77 w 292"/>
                  <a:gd name="T121" fmla="*/ 42 h 241"/>
                  <a:gd name="T122" fmla="*/ 87 w 292"/>
                  <a:gd name="T123" fmla="*/ 22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92" h="241">
                    <a:moveTo>
                      <a:pt x="84" y="2"/>
                    </a:moveTo>
                    <a:lnTo>
                      <a:pt x="84" y="2"/>
                    </a:lnTo>
                    <a:lnTo>
                      <a:pt x="78" y="0"/>
                    </a:lnTo>
                    <a:lnTo>
                      <a:pt x="74" y="0"/>
                    </a:lnTo>
                    <a:lnTo>
                      <a:pt x="71" y="2"/>
                    </a:lnTo>
                    <a:lnTo>
                      <a:pt x="71" y="2"/>
                    </a:lnTo>
                    <a:lnTo>
                      <a:pt x="56" y="15"/>
                    </a:lnTo>
                    <a:lnTo>
                      <a:pt x="56" y="15"/>
                    </a:lnTo>
                    <a:lnTo>
                      <a:pt x="46" y="21"/>
                    </a:lnTo>
                    <a:lnTo>
                      <a:pt x="37" y="26"/>
                    </a:lnTo>
                    <a:lnTo>
                      <a:pt x="37" y="26"/>
                    </a:lnTo>
                    <a:lnTo>
                      <a:pt x="33" y="29"/>
                    </a:lnTo>
                    <a:lnTo>
                      <a:pt x="29" y="35"/>
                    </a:lnTo>
                    <a:lnTo>
                      <a:pt x="29" y="35"/>
                    </a:lnTo>
                    <a:lnTo>
                      <a:pt x="26" y="38"/>
                    </a:lnTo>
                    <a:lnTo>
                      <a:pt x="24" y="39"/>
                    </a:lnTo>
                    <a:lnTo>
                      <a:pt x="22" y="41"/>
                    </a:lnTo>
                    <a:lnTo>
                      <a:pt x="22" y="41"/>
                    </a:lnTo>
                    <a:lnTo>
                      <a:pt x="13" y="42"/>
                    </a:lnTo>
                    <a:lnTo>
                      <a:pt x="10" y="45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11" y="52"/>
                    </a:lnTo>
                    <a:lnTo>
                      <a:pt x="13" y="57"/>
                    </a:lnTo>
                    <a:lnTo>
                      <a:pt x="13" y="57"/>
                    </a:lnTo>
                    <a:lnTo>
                      <a:pt x="14" y="58"/>
                    </a:lnTo>
                    <a:lnTo>
                      <a:pt x="16" y="60"/>
                    </a:lnTo>
                    <a:lnTo>
                      <a:pt x="17" y="61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4" y="65"/>
                    </a:lnTo>
                    <a:lnTo>
                      <a:pt x="10" y="68"/>
                    </a:lnTo>
                    <a:lnTo>
                      <a:pt x="6" y="70"/>
                    </a:lnTo>
                    <a:lnTo>
                      <a:pt x="3" y="73"/>
                    </a:lnTo>
                    <a:lnTo>
                      <a:pt x="3" y="73"/>
                    </a:lnTo>
                    <a:lnTo>
                      <a:pt x="1" y="80"/>
                    </a:lnTo>
                    <a:lnTo>
                      <a:pt x="0" y="87"/>
                    </a:lnTo>
                    <a:lnTo>
                      <a:pt x="0" y="87"/>
                    </a:lnTo>
                    <a:lnTo>
                      <a:pt x="1" y="92"/>
                    </a:lnTo>
                    <a:lnTo>
                      <a:pt x="3" y="93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6" y="94"/>
                    </a:lnTo>
                    <a:lnTo>
                      <a:pt x="6" y="97"/>
                    </a:lnTo>
                    <a:lnTo>
                      <a:pt x="7" y="99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6" y="99"/>
                    </a:lnTo>
                    <a:lnTo>
                      <a:pt x="17" y="100"/>
                    </a:lnTo>
                    <a:lnTo>
                      <a:pt x="19" y="100"/>
                    </a:lnTo>
                    <a:lnTo>
                      <a:pt x="19" y="100"/>
                    </a:lnTo>
                    <a:lnTo>
                      <a:pt x="19" y="105"/>
                    </a:lnTo>
                    <a:lnTo>
                      <a:pt x="20" y="107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30" y="107"/>
                    </a:lnTo>
                    <a:lnTo>
                      <a:pt x="35" y="107"/>
                    </a:lnTo>
                    <a:lnTo>
                      <a:pt x="37" y="107"/>
                    </a:lnTo>
                    <a:lnTo>
                      <a:pt x="37" y="107"/>
                    </a:lnTo>
                    <a:lnTo>
                      <a:pt x="40" y="105"/>
                    </a:lnTo>
                    <a:lnTo>
                      <a:pt x="43" y="105"/>
                    </a:lnTo>
                    <a:lnTo>
                      <a:pt x="50" y="105"/>
                    </a:lnTo>
                    <a:lnTo>
                      <a:pt x="50" y="105"/>
                    </a:lnTo>
                    <a:lnTo>
                      <a:pt x="61" y="106"/>
                    </a:lnTo>
                    <a:lnTo>
                      <a:pt x="62" y="107"/>
                    </a:lnTo>
                    <a:lnTo>
                      <a:pt x="62" y="107"/>
                    </a:lnTo>
                    <a:lnTo>
                      <a:pt x="62" y="107"/>
                    </a:lnTo>
                    <a:lnTo>
                      <a:pt x="53" y="109"/>
                    </a:lnTo>
                    <a:lnTo>
                      <a:pt x="48" y="109"/>
                    </a:lnTo>
                    <a:lnTo>
                      <a:pt x="45" y="110"/>
                    </a:lnTo>
                    <a:lnTo>
                      <a:pt x="45" y="110"/>
                    </a:lnTo>
                    <a:lnTo>
                      <a:pt x="40" y="112"/>
                    </a:lnTo>
                    <a:lnTo>
                      <a:pt x="33" y="115"/>
                    </a:lnTo>
                    <a:lnTo>
                      <a:pt x="33" y="115"/>
                    </a:lnTo>
                    <a:lnTo>
                      <a:pt x="29" y="116"/>
                    </a:lnTo>
                    <a:lnTo>
                      <a:pt x="23" y="118"/>
                    </a:lnTo>
                    <a:lnTo>
                      <a:pt x="17" y="122"/>
                    </a:lnTo>
                    <a:lnTo>
                      <a:pt x="17" y="122"/>
                    </a:lnTo>
                    <a:lnTo>
                      <a:pt x="16" y="123"/>
                    </a:lnTo>
                    <a:lnTo>
                      <a:pt x="17" y="129"/>
                    </a:lnTo>
                    <a:lnTo>
                      <a:pt x="20" y="139"/>
                    </a:lnTo>
                    <a:lnTo>
                      <a:pt x="20" y="139"/>
                    </a:lnTo>
                    <a:lnTo>
                      <a:pt x="24" y="145"/>
                    </a:lnTo>
                    <a:lnTo>
                      <a:pt x="29" y="147"/>
                    </a:lnTo>
                    <a:lnTo>
                      <a:pt x="33" y="148"/>
                    </a:lnTo>
                    <a:lnTo>
                      <a:pt x="33" y="148"/>
                    </a:lnTo>
                    <a:lnTo>
                      <a:pt x="37" y="148"/>
                    </a:lnTo>
                    <a:lnTo>
                      <a:pt x="40" y="149"/>
                    </a:lnTo>
                    <a:lnTo>
                      <a:pt x="43" y="149"/>
                    </a:lnTo>
                    <a:lnTo>
                      <a:pt x="45" y="148"/>
                    </a:lnTo>
                    <a:lnTo>
                      <a:pt x="45" y="148"/>
                    </a:lnTo>
                    <a:lnTo>
                      <a:pt x="46" y="147"/>
                    </a:lnTo>
                    <a:lnTo>
                      <a:pt x="50" y="147"/>
                    </a:lnTo>
                    <a:lnTo>
                      <a:pt x="50" y="147"/>
                    </a:lnTo>
                    <a:lnTo>
                      <a:pt x="58" y="148"/>
                    </a:lnTo>
                    <a:lnTo>
                      <a:pt x="65" y="147"/>
                    </a:lnTo>
                    <a:lnTo>
                      <a:pt x="65" y="147"/>
                    </a:lnTo>
                    <a:lnTo>
                      <a:pt x="78" y="142"/>
                    </a:lnTo>
                    <a:lnTo>
                      <a:pt x="85" y="141"/>
                    </a:lnTo>
                    <a:lnTo>
                      <a:pt x="90" y="141"/>
                    </a:lnTo>
                    <a:lnTo>
                      <a:pt x="90" y="141"/>
                    </a:lnTo>
                    <a:lnTo>
                      <a:pt x="95" y="145"/>
                    </a:lnTo>
                    <a:lnTo>
                      <a:pt x="100" y="147"/>
                    </a:lnTo>
                    <a:lnTo>
                      <a:pt x="104" y="147"/>
                    </a:lnTo>
                    <a:lnTo>
                      <a:pt x="104" y="147"/>
                    </a:lnTo>
                    <a:lnTo>
                      <a:pt x="117" y="148"/>
                    </a:lnTo>
                    <a:lnTo>
                      <a:pt x="123" y="149"/>
                    </a:lnTo>
                    <a:lnTo>
                      <a:pt x="124" y="149"/>
                    </a:lnTo>
                    <a:lnTo>
                      <a:pt x="123" y="149"/>
                    </a:lnTo>
                    <a:lnTo>
                      <a:pt x="123" y="149"/>
                    </a:lnTo>
                    <a:lnTo>
                      <a:pt x="116" y="154"/>
                    </a:lnTo>
                    <a:lnTo>
                      <a:pt x="111" y="157"/>
                    </a:lnTo>
                    <a:lnTo>
                      <a:pt x="111" y="157"/>
                    </a:lnTo>
                    <a:lnTo>
                      <a:pt x="114" y="158"/>
                    </a:lnTo>
                    <a:lnTo>
                      <a:pt x="116" y="161"/>
                    </a:lnTo>
                    <a:lnTo>
                      <a:pt x="116" y="161"/>
                    </a:lnTo>
                    <a:lnTo>
                      <a:pt x="116" y="161"/>
                    </a:lnTo>
                    <a:lnTo>
                      <a:pt x="114" y="162"/>
                    </a:lnTo>
                    <a:lnTo>
                      <a:pt x="113" y="165"/>
                    </a:lnTo>
                    <a:lnTo>
                      <a:pt x="113" y="167"/>
                    </a:lnTo>
                    <a:lnTo>
                      <a:pt x="111" y="168"/>
                    </a:lnTo>
                    <a:lnTo>
                      <a:pt x="111" y="168"/>
                    </a:lnTo>
                    <a:lnTo>
                      <a:pt x="106" y="168"/>
                    </a:lnTo>
                    <a:lnTo>
                      <a:pt x="95" y="168"/>
                    </a:lnTo>
                    <a:lnTo>
                      <a:pt x="95" y="168"/>
                    </a:lnTo>
                    <a:lnTo>
                      <a:pt x="90" y="168"/>
                    </a:lnTo>
                    <a:lnTo>
                      <a:pt x="82" y="170"/>
                    </a:lnTo>
                    <a:lnTo>
                      <a:pt x="69" y="173"/>
                    </a:lnTo>
                    <a:lnTo>
                      <a:pt x="69" y="173"/>
                    </a:lnTo>
                    <a:lnTo>
                      <a:pt x="65" y="173"/>
                    </a:lnTo>
                    <a:lnTo>
                      <a:pt x="61" y="171"/>
                    </a:lnTo>
                    <a:lnTo>
                      <a:pt x="56" y="170"/>
                    </a:lnTo>
                    <a:lnTo>
                      <a:pt x="50" y="170"/>
                    </a:lnTo>
                    <a:lnTo>
                      <a:pt x="50" y="170"/>
                    </a:lnTo>
                    <a:lnTo>
                      <a:pt x="39" y="171"/>
                    </a:lnTo>
                    <a:lnTo>
                      <a:pt x="36" y="173"/>
                    </a:lnTo>
                    <a:lnTo>
                      <a:pt x="35" y="174"/>
                    </a:lnTo>
                    <a:lnTo>
                      <a:pt x="36" y="176"/>
                    </a:lnTo>
                    <a:lnTo>
                      <a:pt x="36" y="176"/>
                    </a:lnTo>
                    <a:lnTo>
                      <a:pt x="36" y="178"/>
                    </a:lnTo>
                    <a:lnTo>
                      <a:pt x="36" y="183"/>
                    </a:lnTo>
                    <a:lnTo>
                      <a:pt x="36" y="187"/>
                    </a:lnTo>
                    <a:lnTo>
                      <a:pt x="37" y="190"/>
                    </a:lnTo>
                    <a:lnTo>
                      <a:pt x="37" y="190"/>
                    </a:lnTo>
                    <a:lnTo>
                      <a:pt x="42" y="194"/>
                    </a:lnTo>
                    <a:lnTo>
                      <a:pt x="45" y="196"/>
                    </a:lnTo>
                    <a:lnTo>
                      <a:pt x="45" y="200"/>
                    </a:lnTo>
                    <a:lnTo>
                      <a:pt x="45" y="200"/>
                    </a:lnTo>
                    <a:lnTo>
                      <a:pt x="46" y="203"/>
                    </a:lnTo>
                    <a:lnTo>
                      <a:pt x="48" y="206"/>
                    </a:lnTo>
                    <a:lnTo>
                      <a:pt x="50" y="210"/>
                    </a:lnTo>
                    <a:lnTo>
                      <a:pt x="56" y="213"/>
                    </a:lnTo>
                    <a:lnTo>
                      <a:pt x="56" y="213"/>
                    </a:lnTo>
                    <a:lnTo>
                      <a:pt x="62" y="213"/>
                    </a:lnTo>
                    <a:lnTo>
                      <a:pt x="69" y="215"/>
                    </a:lnTo>
                    <a:lnTo>
                      <a:pt x="77" y="213"/>
                    </a:lnTo>
                    <a:lnTo>
                      <a:pt x="81" y="215"/>
                    </a:lnTo>
                    <a:lnTo>
                      <a:pt x="81" y="215"/>
                    </a:lnTo>
                    <a:lnTo>
                      <a:pt x="87" y="218"/>
                    </a:lnTo>
                    <a:lnTo>
                      <a:pt x="88" y="220"/>
                    </a:lnTo>
                    <a:lnTo>
                      <a:pt x="90" y="223"/>
                    </a:lnTo>
                    <a:lnTo>
                      <a:pt x="90" y="223"/>
                    </a:lnTo>
                    <a:lnTo>
                      <a:pt x="88" y="228"/>
                    </a:lnTo>
                    <a:lnTo>
                      <a:pt x="88" y="231"/>
                    </a:lnTo>
                    <a:lnTo>
                      <a:pt x="90" y="233"/>
                    </a:lnTo>
                    <a:lnTo>
                      <a:pt x="90" y="233"/>
                    </a:lnTo>
                    <a:lnTo>
                      <a:pt x="95" y="238"/>
                    </a:lnTo>
                    <a:lnTo>
                      <a:pt x="98" y="239"/>
                    </a:lnTo>
                    <a:lnTo>
                      <a:pt x="104" y="241"/>
                    </a:lnTo>
                    <a:lnTo>
                      <a:pt x="104" y="241"/>
                    </a:lnTo>
                    <a:lnTo>
                      <a:pt x="110" y="239"/>
                    </a:lnTo>
                    <a:lnTo>
                      <a:pt x="119" y="238"/>
                    </a:lnTo>
                    <a:lnTo>
                      <a:pt x="126" y="235"/>
                    </a:lnTo>
                    <a:lnTo>
                      <a:pt x="130" y="235"/>
                    </a:lnTo>
                    <a:lnTo>
                      <a:pt x="130" y="235"/>
                    </a:lnTo>
                    <a:lnTo>
                      <a:pt x="137" y="238"/>
                    </a:lnTo>
                    <a:lnTo>
                      <a:pt x="142" y="238"/>
                    </a:lnTo>
                    <a:lnTo>
                      <a:pt x="146" y="238"/>
                    </a:lnTo>
                    <a:lnTo>
                      <a:pt x="146" y="238"/>
                    </a:lnTo>
                    <a:lnTo>
                      <a:pt x="150" y="235"/>
                    </a:lnTo>
                    <a:lnTo>
                      <a:pt x="156" y="232"/>
                    </a:lnTo>
                    <a:lnTo>
                      <a:pt x="161" y="228"/>
                    </a:lnTo>
                    <a:lnTo>
                      <a:pt x="163" y="226"/>
                    </a:lnTo>
                    <a:lnTo>
                      <a:pt x="163" y="226"/>
                    </a:lnTo>
                    <a:lnTo>
                      <a:pt x="178" y="225"/>
                    </a:lnTo>
                    <a:lnTo>
                      <a:pt x="185" y="223"/>
                    </a:lnTo>
                    <a:lnTo>
                      <a:pt x="188" y="222"/>
                    </a:lnTo>
                    <a:lnTo>
                      <a:pt x="188" y="222"/>
                    </a:lnTo>
                    <a:lnTo>
                      <a:pt x="192" y="218"/>
                    </a:lnTo>
                    <a:lnTo>
                      <a:pt x="195" y="216"/>
                    </a:lnTo>
                    <a:lnTo>
                      <a:pt x="198" y="216"/>
                    </a:lnTo>
                    <a:lnTo>
                      <a:pt x="198" y="216"/>
                    </a:lnTo>
                    <a:lnTo>
                      <a:pt x="204" y="218"/>
                    </a:lnTo>
                    <a:lnTo>
                      <a:pt x="210" y="219"/>
                    </a:lnTo>
                    <a:lnTo>
                      <a:pt x="210" y="219"/>
                    </a:lnTo>
                    <a:lnTo>
                      <a:pt x="223" y="220"/>
                    </a:lnTo>
                    <a:lnTo>
                      <a:pt x="227" y="220"/>
                    </a:lnTo>
                    <a:lnTo>
                      <a:pt x="227" y="220"/>
                    </a:lnTo>
                    <a:lnTo>
                      <a:pt x="227" y="222"/>
                    </a:lnTo>
                    <a:lnTo>
                      <a:pt x="227" y="222"/>
                    </a:lnTo>
                    <a:lnTo>
                      <a:pt x="224" y="226"/>
                    </a:lnTo>
                    <a:lnTo>
                      <a:pt x="223" y="228"/>
                    </a:lnTo>
                    <a:lnTo>
                      <a:pt x="224" y="229"/>
                    </a:lnTo>
                    <a:lnTo>
                      <a:pt x="224" y="229"/>
                    </a:lnTo>
                    <a:lnTo>
                      <a:pt x="233" y="228"/>
                    </a:lnTo>
                    <a:lnTo>
                      <a:pt x="239" y="228"/>
                    </a:lnTo>
                    <a:lnTo>
                      <a:pt x="243" y="228"/>
                    </a:lnTo>
                    <a:lnTo>
                      <a:pt x="243" y="228"/>
                    </a:lnTo>
                    <a:lnTo>
                      <a:pt x="252" y="232"/>
                    </a:lnTo>
                    <a:lnTo>
                      <a:pt x="255" y="232"/>
                    </a:lnTo>
                    <a:lnTo>
                      <a:pt x="259" y="232"/>
                    </a:lnTo>
                    <a:lnTo>
                      <a:pt x="259" y="232"/>
                    </a:lnTo>
                    <a:lnTo>
                      <a:pt x="269" y="226"/>
                    </a:lnTo>
                    <a:lnTo>
                      <a:pt x="275" y="222"/>
                    </a:lnTo>
                    <a:lnTo>
                      <a:pt x="278" y="219"/>
                    </a:lnTo>
                    <a:lnTo>
                      <a:pt x="278" y="219"/>
                    </a:lnTo>
                    <a:lnTo>
                      <a:pt x="281" y="215"/>
                    </a:lnTo>
                    <a:lnTo>
                      <a:pt x="282" y="213"/>
                    </a:lnTo>
                    <a:lnTo>
                      <a:pt x="282" y="213"/>
                    </a:lnTo>
                    <a:lnTo>
                      <a:pt x="281" y="213"/>
                    </a:lnTo>
                    <a:lnTo>
                      <a:pt x="278" y="213"/>
                    </a:lnTo>
                    <a:lnTo>
                      <a:pt x="276" y="212"/>
                    </a:lnTo>
                    <a:lnTo>
                      <a:pt x="276" y="212"/>
                    </a:lnTo>
                    <a:lnTo>
                      <a:pt x="274" y="204"/>
                    </a:lnTo>
                    <a:lnTo>
                      <a:pt x="271" y="200"/>
                    </a:lnTo>
                    <a:lnTo>
                      <a:pt x="269" y="199"/>
                    </a:lnTo>
                    <a:lnTo>
                      <a:pt x="269" y="199"/>
                    </a:lnTo>
                    <a:lnTo>
                      <a:pt x="268" y="200"/>
                    </a:lnTo>
                    <a:lnTo>
                      <a:pt x="265" y="203"/>
                    </a:lnTo>
                    <a:lnTo>
                      <a:pt x="262" y="206"/>
                    </a:lnTo>
                    <a:lnTo>
                      <a:pt x="259" y="206"/>
                    </a:lnTo>
                    <a:lnTo>
                      <a:pt x="259" y="206"/>
                    </a:lnTo>
                    <a:lnTo>
                      <a:pt x="256" y="204"/>
                    </a:lnTo>
                    <a:lnTo>
                      <a:pt x="255" y="204"/>
                    </a:lnTo>
                    <a:lnTo>
                      <a:pt x="252" y="204"/>
                    </a:lnTo>
                    <a:lnTo>
                      <a:pt x="252" y="204"/>
                    </a:lnTo>
                    <a:lnTo>
                      <a:pt x="247" y="206"/>
                    </a:lnTo>
                    <a:lnTo>
                      <a:pt x="246" y="207"/>
                    </a:lnTo>
                    <a:lnTo>
                      <a:pt x="246" y="204"/>
                    </a:lnTo>
                    <a:lnTo>
                      <a:pt x="246" y="204"/>
                    </a:lnTo>
                    <a:lnTo>
                      <a:pt x="250" y="200"/>
                    </a:lnTo>
                    <a:lnTo>
                      <a:pt x="250" y="199"/>
                    </a:lnTo>
                    <a:lnTo>
                      <a:pt x="250" y="197"/>
                    </a:lnTo>
                    <a:lnTo>
                      <a:pt x="250" y="197"/>
                    </a:lnTo>
                    <a:lnTo>
                      <a:pt x="246" y="197"/>
                    </a:lnTo>
                    <a:lnTo>
                      <a:pt x="243" y="196"/>
                    </a:lnTo>
                    <a:lnTo>
                      <a:pt x="243" y="194"/>
                    </a:lnTo>
                    <a:lnTo>
                      <a:pt x="243" y="194"/>
                    </a:lnTo>
                    <a:lnTo>
                      <a:pt x="245" y="189"/>
                    </a:lnTo>
                    <a:lnTo>
                      <a:pt x="246" y="186"/>
                    </a:lnTo>
                    <a:lnTo>
                      <a:pt x="247" y="186"/>
                    </a:lnTo>
                    <a:lnTo>
                      <a:pt x="247" y="186"/>
                    </a:lnTo>
                    <a:lnTo>
                      <a:pt x="250" y="191"/>
                    </a:lnTo>
                    <a:lnTo>
                      <a:pt x="253" y="194"/>
                    </a:lnTo>
                    <a:lnTo>
                      <a:pt x="256" y="196"/>
                    </a:lnTo>
                    <a:lnTo>
                      <a:pt x="256" y="196"/>
                    </a:lnTo>
                    <a:lnTo>
                      <a:pt x="263" y="196"/>
                    </a:lnTo>
                    <a:lnTo>
                      <a:pt x="265" y="194"/>
                    </a:lnTo>
                    <a:lnTo>
                      <a:pt x="265" y="193"/>
                    </a:lnTo>
                    <a:lnTo>
                      <a:pt x="265" y="193"/>
                    </a:lnTo>
                    <a:lnTo>
                      <a:pt x="259" y="191"/>
                    </a:lnTo>
                    <a:lnTo>
                      <a:pt x="259" y="190"/>
                    </a:lnTo>
                    <a:lnTo>
                      <a:pt x="262" y="189"/>
                    </a:lnTo>
                    <a:lnTo>
                      <a:pt x="262" y="189"/>
                    </a:lnTo>
                    <a:lnTo>
                      <a:pt x="268" y="186"/>
                    </a:lnTo>
                    <a:lnTo>
                      <a:pt x="269" y="186"/>
                    </a:lnTo>
                    <a:lnTo>
                      <a:pt x="271" y="186"/>
                    </a:lnTo>
                    <a:lnTo>
                      <a:pt x="271" y="186"/>
                    </a:lnTo>
                    <a:lnTo>
                      <a:pt x="275" y="187"/>
                    </a:lnTo>
                    <a:lnTo>
                      <a:pt x="278" y="186"/>
                    </a:lnTo>
                    <a:lnTo>
                      <a:pt x="279" y="186"/>
                    </a:lnTo>
                    <a:lnTo>
                      <a:pt x="282" y="187"/>
                    </a:lnTo>
                    <a:lnTo>
                      <a:pt x="282" y="187"/>
                    </a:lnTo>
                    <a:lnTo>
                      <a:pt x="285" y="191"/>
                    </a:lnTo>
                    <a:lnTo>
                      <a:pt x="288" y="191"/>
                    </a:lnTo>
                    <a:lnTo>
                      <a:pt x="289" y="190"/>
                    </a:lnTo>
                    <a:lnTo>
                      <a:pt x="289" y="190"/>
                    </a:lnTo>
                    <a:lnTo>
                      <a:pt x="292" y="186"/>
                    </a:lnTo>
                    <a:lnTo>
                      <a:pt x="292" y="184"/>
                    </a:lnTo>
                    <a:lnTo>
                      <a:pt x="291" y="183"/>
                    </a:lnTo>
                    <a:lnTo>
                      <a:pt x="291" y="183"/>
                    </a:lnTo>
                    <a:lnTo>
                      <a:pt x="287" y="180"/>
                    </a:lnTo>
                    <a:lnTo>
                      <a:pt x="285" y="178"/>
                    </a:lnTo>
                    <a:lnTo>
                      <a:pt x="287" y="177"/>
                    </a:lnTo>
                    <a:lnTo>
                      <a:pt x="287" y="177"/>
                    </a:lnTo>
                    <a:lnTo>
                      <a:pt x="291" y="176"/>
                    </a:lnTo>
                    <a:lnTo>
                      <a:pt x="291" y="174"/>
                    </a:lnTo>
                    <a:lnTo>
                      <a:pt x="291" y="173"/>
                    </a:lnTo>
                    <a:lnTo>
                      <a:pt x="291" y="173"/>
                    </a:lnTo>
                    <a:lnTo>
                      <a:pt x="287" y="168"/>
                    </a:lnTo>
                    <a:lnTo>
                      <a:pt x="284" y="167"/>
                    </a:lnTo>
                    <a:lnTo>
                      <a:pt x="281" y="168"/>
                    </a:lnTo>
                    <a:lnTo>
                      <a:pt x="281" y="168"/>
                    </a:lnTo>
                    <a:lnTo>
                      <a:pt x="276" y="171"/>
                    </a:lnTo>
                    <a:lnTo>
                      <a:pt x="274" y="173"/>
                    </a:lnTo>
                    <a:lnTo>
                      <a:pt x="272" y="171"/>
                    </a:lnTo>
                    <a:lnTo>
                      <a:pt x="272" y="171"/>
                    </a:lnTo>
                    <a:lnTo>
                      <a:pt x="265" y="162"/>
                    </a:lnTo>
                    <a:lnTo>
                      <a:pt x="265" y="162"/>
                    </a:lnTo>
                    <a:lnTo>
                      <a:pt x="259" y="154"/>
                    </a:lnTo>
                    <a:lnTo>
                      <a:pt x="256" y="149"/>
                    </a:lnTo>
                    <a:lnTo>
                      <a:pt x="253" y="148"/>
                    </a:lnTo>
                    <a:lnTo>
                      <a:pt x="253" y="148"/>
                    </a:lnTo>
                    <a:lnTo>
                      <a:pt x="242" y="141"/>
                    </a:lnTo>
                    <a:lnTo>
                      <a:pt x="237" y="136"/>
                    </a:lnTo>
                    <a:lnTo>
                      <a:pt x="233" y="132"/>
                    </a:lnTo>
                    <a:lnTo>
                      <a:pt x="233" y="132"/>
                    </a:lnTo>
                    <a:lnTo>
                      <a:pt x="232" y="120"/>
                    </a:lnTo>
                    <a:lnTo>
                      <a:pt x="230" y="100"/>
                    </a:lnTo>
                    <a:lnTo>
                      <a:pt x="230" y="70"/>
                    </a:lnTo>
                    <a:lnTo>
                      <a:pt x="230" y="70"/>
                    </a:lnTo>
                    <a:lnTo>
                      <a:pt x="227" y="47"/>
                    </a:lnTo>
                    <a:lnTo>
                      <a:pt x="227" y="47"/>
                    </a:lnTo>
                    <a:lnTo>
                      <a:pt x="227" y="44"/>
                    </a:lnTo>
                    <a:lnTo>
                      <a:pt x="226" y="41"/>
                    </a:lnTo>
                    <a:lnTo>
                      <a:pt x="221" y="34"/>
                    </a:lnTo>
                    <a:lnTo>
                      <a:pt x="221" y="34"/>
                    </a:lnTo>
                    <a:lnTo>
                      <a:pt x="208" y="15"/>
                    </a:lnTo>
                    <a:lnTo>
                      <a:pt x="208" y="15"/>
                    </a:lnTo>
                    <a:lnTo>
                      <a:pt x="203" y="8"/>
                    </a:lnTo>
                    <a:lnTo>
                      <a:pt x="198" y="5"/>
                    </a:lnTo>
                    <a:lnTo>
                      <a:pt x="197" y="5"/>
                    </a:lnTo>
                    <a:lnTo>
                      <a:pt x="197" y="5"/>
                    </a:lnTo>
                    <a:lnTo>
                      <a:pt x="195" y="10"/>
                    </a:lnTo>
                    <a:lnTo>
                      <a:pt x="194" y="12"/>
                    </a:lnTo>
                    <a:lnTo>
                      <a:pt x="191" y="12"/>
                    </a:lnTo>
                    <a:lnTo>
                      <a:pt x="191" y="12"/>
                    </a:lnTo>
                    <a:lnTo>
                      <a:pt x="184" y="8"/>
                    </a:lnTo>
                    <a:lnTo>
                      <a:pt x="179" y="6"/>
                    </a:lnTo>
                    <a:lnTo>
                      <a:pt x="179" y="6"/>
                    </a:lnTo>
                    <a:lnTo>
                      <a:pt x="179" y="6"/>
                    </a:lnTo>
                    <a:lnTo>
                      <a:pt x="179" y="6"/>
                    </a:lnTo>
                    <a:lnTo>
                      <a:pt x="181" y="12"/>
                    </a:lnTo>
                    <a:lnTo>
                      <a:pt x="181" y="13"/>
                    </a:lnTo>
                    <a:lnTo>
                      <a:pt x="181" y="15"/>
                    </a:lnTo>
                    <a:lnTo>
                      <a:pt x="181" y="15"/>
                    </a:lnTo>
                    <a:lnTo>
                      <a:pt x="178" y="16"/>
                    </a:lnTo>
                    <a:lnTo>
                      <a:pt x="178" y="18"/>
                    </a:lnTo>
                    <a:lnTo>
                      <a:pt x="178" y="21"/>
                    </a:lnTo>
                    <a:lnTo>
                      <a:pt x="178" y="21"/>
                    </a:lnTo>
                    <a:lnTo>
                      <a:pt x="181" y="31"/>
                    </a:lnTo>
                    <a:lnTo>
                      <a:pt x="185" y="41"/>
                    </a:lnTo>
                    <a:lnTo>
                      <a:pt x="185" y="41"/>
                    </a:lnTo>
                    <a:lnTo>
                      <a:pt x="187" y="57"/>
                    </a:lnTo>
                    <a:lnTo>
                      <a:pt x="188" y="67"/>
                    </a:lnTo>
                    <a:lnTo>
                      <a:pt x="188" y="73"/>
                    </a:lnTo>
                    <a:lnTo>
                      <a:pt x="188" y="73"/>
                    </a:lnTo>
                    <a:lnTo>
                      <a:pt x="190" y="86"/>
                    </a:lnTo>
                    <a:lnTo>
                      <a:pt x="190" y="94"/>
                    </a:lnTo>
                    <a:lnTo>
                      <a:pt x="190" y="94"/>
                    </a:lnTo>
                    <a:lnTo>
                      <a:pt x="187" y="97"/>
                    </a:lnTo>
                    <a:lnTo>
                      <a:pt x="182" y="97"/>
                    </a:lnTo>
                    <a:lnTo>
                      <a:pt x="182" y="97"/>
                    </a:lnTo>
                    <a:lnTo>
                      <a:pt x="178" y="96"/>
                    </a:lnTo>
                    <a:lnTo>
                      <a:pt x="175" y="94"/>
                    </a:lnTo>
                    <a:lnTo>
                      <a:pt x="175" y="94"/>
                    </a:lnTo>
                    <a:lnTo>
                      <a:pt x="168" y="45"/>
                    </a:lnTo>
                    <a:lnTo>
                      <a:pt x="168" y="45"/>
                    </a:lnTo>
                    <a:lnTo>
                      <a:pt x="166" y="41"/>
                    </a:lnTo>
                    <a:lnTo>
                      <a:pt x="161" y="35"/>
                    </a:lnTo>
                    <a:lnTo>
                      <a:pt x="155" y="28"/>
                    </a:lnTo>
                    <a:lnTo>
                      <a:pt x="152" y="23"/>
                    </a:lnTo>
                    <a:lnTo>
                      <a:pt x="152" y="23"/>
                    </a:lnTo>
                    <a:lnTo>
                      <a:pt x="150" y="21"/>
                    </a:lnTo>
                    <a:lnTo>
                      <a:pt x="149" y="18"/>
                    </a:lnTo>
                    <a:lnTo>
                      <a:pt x="143" y="15"/>
                    </a:lnTo>
                    <a:lnTo>
                      <a:pt x="136" y="10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2" y="13"/>
                    </a:lnTo>
                    <a:lnTo>
                      <a:pt x="133" y="16"/>
                    </a:lnTo>
                    <a:lnTo>
                      <a:pt x="134" y="21"/>
                    </a:lnTo>
                    <a:lnTo>
                      <a:pt x="137" y="23"/>
                    </a:lnTo>
                    <a:lnTo>
                      <a:pt x="137" y="23"/>
                    </a:lnTo>
                    <a:lnTo>
                      <a:pt x="140" y="25"/>
                    </a:lnTo>
                    <a:lnTo>
                      <a:pt x="143" y="26"/>
                    </a:lnTo>
                    <a:lnTo>
                      <a:pt x="146" y="28"/>
                    </a:lnTo>
                    <a:lnTo>
                      <a:pt x="148" y="32"/>
                    </a:lnTo>
                    <a:lnTo>
                      <a:pt x="148" y="32"/>
                    </a:lnTo>
                    <a:lnTo>
                      <a:pt x="149" y="38"/>
                    </a:lnTo>
                    <a:lnTo>
                      <a:pt x="150" y="41"/>
                    </a:lnTo>
                    <a:lnTo>
                      <a:pt x="152" y="44"/>
                    </a:lnTo>
                    <a:lnTo>
                      <a:pt x="149" y="45"/>
                    </a:lnTo>
                    <a:lnTo>
                      <a:pt x="149" y="45"/>
                    </a:lnTo>
                    <a:lnTo>
                      <a:pt x="142" y="44"/>
                    </a:lnTo>
                    <a:lnTo>
                      <a:pt x="139" y="42"/>
                    </a:lnTo>
                    <a:lnTo>
                      <a:pt x="136" y="44"/>
                    </a:lnTo>
                    <a:lnTo>
                      <a:pt x="136" y="44"/>
                    </a:lnTo>
                    <a:lnTo>
                      <a:pt x="130" y="45"/>
                    </a:lnTo>
                    <a:lnTo>
                      <a:pt x="124" y="48"/>
                    </a:lnTo>
                    <a:lnTo>
                      <a:pt x="120" y="51"/>
                    </a:lnTo>
                    <a:lnTo>
                      <a:pt x="117" y="51"/>
                    </a:lnTo>
                    <a:lnTo>
                      <a:pt x="116" y="51"/>
                    </a:lnTo>
                    <a:lnTo>
                      <a:pt x="116" y="51"/>
                    </a:lnTo>
                    <a:lnTo>
                      <a:pt x="116" y="50"/>
                    </a:lnTo>
                    <a:lnTo>
                      <a:pt x="116" y="47"/>
                    </a:lnTo>
                    <a:lnTo>
                      <a:pt x="121" y="42"/>
                    </a:lnTo>
                    <a:lnTo>
                      <a:pt x="127" y="36"/>
                    </a:lnTo>
                    <a:lnTo>
                      <a:pt x="129" y="34"/>
                    </a:lnTo>
                    <a:lnTo>
                      <a:pt x="129" y="31"/>
                    </a:lnTo>
                    <a:lnTo>
                      <a:pt x="129" y="31"/>
                    </a:lnTo>
                    <a:lnTo>
                      <a:pt x="126" y="26"/>
                    </a:lnTo>
                    <a:lnTo>
                      <a:pt x="123" y="25"/>
                    </a:lnTo>
                    <a:lnTo>
                      <a:pt x="119" y="22"/>
                    </a:lnTo>
                    <a:lnTo>
                      <a:pt x="117" y="19"/>
                    </a:lnTo>
                    <a:lnTo>
                      <a:pt x="117" y="19"/>
                    </a:lnTo>
                    <a:lnTo>
                      <a:pt x="114" y="16"/>
                    </a:lnTo>
                    <a:lnTo>
                      <a:pt x="110" y="13"/>
                    </a:lnTo>
                    <a:lnTo>
                      <a:pt x="107" y="12"/>
                    </a:lnTo>
                    <a:lnTo>
                      <a:pt x="104" y="13"/>
                    </a:lnTo>
                    <a:lnTo>
                      <a:pt x="104" y="13"/>
                    </a:lnTo>
                    <a:lnTo>
                      <a:pt x="103" y="15"/>
                    </a:lnTo>
                    <a:lnTo>
                      <a:pt x="103" y="18"/>
                    </a:lnTo>
                    <a:lnTo>
                      <a:pt x="104" y="21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1" y="35"/>
                    </a:lnTo>
                    <a:lnTo>
                      <a:pt x="100" y="41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2" y="41"/>
                    </a:lnTo>
                    <a:lnTo>
                      <a:pt x="88" y="39"/>
                    </a:lnTo>
                    <a:lnTo>
                      <a:pt x="88" y="39"/>
                    </a:lnTo>
                    <a:lnTo>
                      <a:pt x="82" y="42"/>
                    </a:lnTo>
                    <a:lnTo>
                      <a:pt x="79" y="44"/>
                    </a:lnTo>
                    <a:lnTo>
                      <a:pt x="77" y="42"/>
                    </a:lnTo>
                    <a:lnTo>
                      <a:pt x="77" y="42"/>
                    </a:lnTo>
                    <a:lnTo>
                      <a:pt x="77" y="39"/>
                    </a:lnTo>
                    <a:lnTo>
                      <a:pt x="77" y="38"/>
                    </a:lnTo>
                    <a:lnTo>
                      <a:pt x="78" y="32"/>
                    </a:lnTo>
                    <a:lnTo>
                      <a:pt x="84" y="25"/>
                    </a:lnTo>
                    <a:lnTo>
                      <a:pt x="84" y="25"/>
                    </a:lnTo>
                    <a:lnTo>
                      <a:pt x="87" y="22"/>
                    </a:lnTo>
                    <a:lnTo>
                      <a:pt x="88" y="19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7" y="8"/>
                    </a:lnTo>
                    <a:lnTo>
                      <a:pt x="85" y="5"/>
                    </a:lnTo>
                    <a:lnTo>
                      <a:pt x="84" y="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18" name="Freeform 972"/>
              <p:cNvSpPr>
                <a:spLocks/>
              </p:cNvSpPr>
              <p:nvPr/>
            </p:nvSpPr>
            <p:spPr bwMode="auto">
              <a:xfrm>
                <a:off x="2698342" y="1546364"/>
                <a:ext cx="46495" cy="51441"/>
              </a:xfrm>
              <a:custGeom>
                <a:avLst/>
                <a:gdLst>
                  <a:gd name="T0" fmla="*/ 28 w 47"/>
                  <a:gd name="T1" fmla="*/ 48 h 52"/>
                  <a:gd name="T2" fmla="*/ 28 w 47"/>
                  <a:gd name="T3" fmla="*/ 48 h 52"/>
                  <a:gd name="T4" fmla="*/ 22 w 47"/>
                  <a:gd name="T5" fmla="*/ 39 h 52"/>
                  <a:gd name="T6" fmla="*/ 19 w 47"/>
                  <a:gd name="T7" fmla="*/ 35 h 52"/>
                  <a:gd name="T8" fmla="*/ 15 w 47"/>
                  <a:gd name="T9" fmla="*/ 31 h 52"/>
                  <a:gd name="T10" fmla="*/ 15 w 47"/>
                  <a:gd name="T11" fmla="*/ 31 h 52"/>
                  <a:gd name="T12" fmla="*/ 5 w 47"/>
                  <a:gd name="T13" fmla="*/ 25 h 52"/>
                  <a:gd name="T14" fmla="*/ 2 w 47"/>
                  <a:gd name="T15" fmla="*/ 21 h 52"/>
                  <a:gd name="T16" fmla="*/ 0 w 47"/>
                  <a:gd name="T17" fmla="*/ 18 h 52"/>
                  <a:gd name="T18" fmla="*/ 2 w 47"/>
                  <a:gd name="T19" fmla="*/ 16 h 52"/>
                  <a:gd name="T20" fmla="*/ 2 w 47"/>
                  <a:gd name="T21" fmla="*/ 16 h 52"/>
                  <a:gd name="T22" fmla="*/ 8 w 47"/>
                  <a:gd name="T23" fmla="*/ 3 h 52"/>
                  <a:gd name="T24" fmla="*/ 8 w 47"/>
                  <a:gd name="T25" fmla="*/ 3 h 52"/>
                  <a:gd name="T26" fmla="*/ 13 w 47"/>
                  <a:gd name="T27" fmla="*/ 2 h 52"/>
                  <a:gd name="T28" fmla="*/ 25 w 47"/>
                  <a:gd name="T29" fmla="*/ 0 h 52"/>
                  <a:gd name="T30" fmla="*/ 38 w 47"/>
                  <a:gd name="T31" fmla="*/ 2 h 52"/>
                  <a:gd name="T32" fmla="*/ 42 w 47"/>
                  <a:gd name="T33" fmla="*/ 2 h 52"/>
                  <a:gd name="T34" fmla="*/ 45 w 47"/>
                  <a:gd name="T35" fmla="*/ 3 h 52"/>
                  <a:gd name="T36" fmla="*/ 45 w 47"/>
                  <a:gd name="T37" fmla="*/ 3 h 52"/>
                  <a:gd name="T38" fmla="*/ 47 w 47"/>
                  <a:gd name="T39" fmla="*/ 8 h 52"/>
                  <a:gd name="T40" fmla="*/ 47 w 47"/>
                  <a:gd name="T41" fmla="*/ 10 h 52"/>
                  <a:gd name="T42" fmla="*/ 47 w 47"/>
                  <a:gd name="T43" fmla="*/ 15 h 52"/>
                  <a:gd name="T44" fmla="*/ 45 w 47"/>
                  <a:gd name="T45" fmla="*/ 19 h 52"/>
                  <a:gd name="T46" fmla="*/ 45 w 47"/>
                  <a:gd name="T47" fmla="*/ 19 h 52"/>
                  <a:gd name="T48" fmla="*/ 41 w 47"/>
                  <a:gd name="T49" fmla="*/ 31 h 52"/>
                  <a:gd name="T50" fmla="*/ 39 w 47"/>
                  <a:gd name="T51" fmla="*/ 35 h 52"/>
                  <a:gd name="T52" fmla="*/ 38 w 47"/>
                  <a:gd name="T53" fmla="*/ 38 h 52"/>
                  <a:gd name="T54" fmla="*/ 38 w 47"/>
                  <a:gd name="T55" fmla="*/ 38 h 52"/>
                  <a:gd name="T56" fmla="*/ 35 w 47"/>
                  <a:gd name="T57" fmla="*/ 41 h 52"/>
                  <a:gd name="T58" fmla="*/ 34 w 47"/>
                  <a:gd name="T59" fmla="*/ 44 h 52"/>
                  <a:gd name="T60" fmla="*/ 34 w 47"/>
                  <a:gd name="T61" fmla="*/ 44 h 52"/>
                  <a:gd name="T62" fmla="*/ 31 w 47"/>
                  <a:gd name="T63" fmla="*/ 51 h 52"/>
                  <a:gd name="T64" fmla="*/ 31 w 47"/>
                  <a:gd name="T65" fmla="*/ 52 h 52"/>
                  <a:gd name="T66" fmla="*/ 29 w 47"/>
                  <a:gd name="T67" fmla="*/ 52 h 52"/>
                  <a:gd name="T68" fmla="*/ 28 w 47"/>
                  <a:gd name="T69" fmla="*/ 4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7" h="52">
                    <a:moveTo>
                      <a:pt x="28" y="48"/>
                    </a:moveTo>
                    <a:lnTo>
                      <a:pt x="28" y="48"/>
                    </a:lnTo>
                    <a:lnTo>
                      <a:pt x="22" y="39"/>
                    </a:lnTo>
                    <a:lnTo>
                      <a:pt x="19" y="35"/>
                    </a:lnTo>
                    <a:lnTo>
                      <a:pt x="15" y="31"/>
                    </a:lnTo>
                    <a:lnTo>
                      <a:pt x="15" y="31"/>
                    </a:lnTo>
                    <a:lnTo>
                      <a:pt x="5" y="25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13" y="2"/>
                    </a:lnTo>
                    <a:lnTo>
                      <a:pt x="25" y="0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5" y="3"/>
                    </a:lnTo>
                    <a:lnTo>
                      <a:pt x="45" y="3"/>
                    </a:lnTo>
                    <a:lnTo>
                      <a:pt x="47" y="8"/>
                    </a:lnTo>
                    <a:lnTo>
                      <a:pt x="47" y="10"/>
                    </a:lnTo>
                    <a:lnTo>
                      <a:pt x="47" y="15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1" y="31"/>
                    </a:lnTo>
                    <a:lnTo>
                      <a:pt x="39" y="35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5" y="41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1" y="51"/>
                    </a:lnTo>
                    <a:lnTo>
                      <a:pt x="31" y="52"/>
                    </a:lnTo>
                    <a:lnTo>
                      <a:pt x="29" y="52"/>
                    </a:lnTo>
                    <a:lnTo>
                      <a:pt x="28" y="4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19" name="Freeform 973"/>
              <p:cNvSpPr>
                <a:spLocks/>
              </p:cNvSpPr>
              <p:nvPr/>
            </p:nvSpPr>
            <p:spPr bwMode="auto">
              <a:xfrm>
                <a:off x="2698342" y="1546364"/>
                <a:ext cx="46495" cy="51441"/>
              </a:xfrm>
              <a:custGeom>
                <a:avLst/>
                <a:gdLst>
                  <a:gd name="T0" fmla="*/ 28 w 47"/>
                  <a:gd name="T1" fmla="*/ 48 h 52"/>
                  <a:gd name="T2" fmla="*/ 28 w 47"/>
                  <a:gd name="T3" fmla="*/ 48 h 52"/>
                  <a:gd name="T4" fmla="*/ 22 w 47"/>
                  <a:gd name="T5" fmla="*/ 39 h 52"/>
                  <a:gd name="T6" fmla="*/ 19 w 47"/>
                  <a:gd name="T7" fmla="*/ 35 h 52"/>
                  <a:gd name="T8" fmla="*/ 15 w 47"/>
                  <a:gd name="T9" fmla="*/ 31 h 52"/>
                  <a:gd name="T10" fmla="*/ 15 w 47"/>
                  <a:gd name="T11" fmla="*/ 31 h 52"/>
                  <a:gd name="T12" fmla="*/ 5 w 47"/>
                  <a:gd name="T13" fmla="*/ 25 h 52"/>
                  <a:gd name="T14" fmla="*/ 2 w 47"/>
                  <a:gd name="T15" fmla="*/ 21 h 52"/>
                  <a:gd name="T16" fmla="*/ 0 w 47"/>
                  <a:gd name="T17" fmla="*/ 18 h 52"/>
                  <a:gd name="T18" fmla="*/ 2 w 47"/>
                  <a:gd name="T19" fmla="*/ 16 h 52"/>
                  <a:gd name="T20" fmla="*/ 2 w 47"/>
                  <a:gd name="T21" fmla="*/ 16 h 52"/>
                  <a:gd name="T22" fmla="*/ 8 w 47"/>
                  <a:gd name="T23" fmla="*/ 3 h 52"/>
                  <a:gd name="T24" fmla="*/ 8 w 47"/>
                  <a:gd name="T25" fmla="*/ 3 h 52"/>
                  <a:gd name="T26" fmla="*/ 13 w 47"/>
                  <a:gd name="T27" fmla="*/ 2 h 52"/>
                  <a:gd name="T28" fmla="*/ 25 w 47"/>
                  <a:gd name="T29" fmla="*/ 0 h 52"/>
                  <a:gd name="T30" fmla="*/ 38 w 47"/>
                  <a:gd name="T31" fmla="*/ 2 h 52"/>
                  <a:gd name="T32" fmla="*/ 42 w 47"/>
                  <a:gd name="T33" fmla="*/ 2 h 52"/>
                  <a:gd name="T34" fmla="*/ 45 w 47"/>
                  <a:gd name="T35" fmla="*/ 3 h 52"/>
                  <a:gd name="T36" fmla="*/ 45 w 47"/>
                  <a:gd name="T37" fmla="*/ 3 h 52"/>
                  <a:gd name="T38" fmla="*/ 47 w 47"/>
                  <a:gd name="T39" fmla="*/ 8 h 52"/>
                  <a:gd name="T40" fmla="*/ 47 w 47"/>
                  <a:gd name="T41" fmla="*/ 10 h 52"/>
                  <a:gd name="T42" fmla="*/ 47 w 47"/>
                  <a:gd name="T43" fmla="*/ 15 h 52"/>
                  <a:gd name="T44" fmla="*/ 45 w 47"/>
                  <a:gd name="T45" fmla="*/ 19 h 52"/>
                  <a:gd name="T46" fmla="*/ 45 w 47"/>
                  <a:gd name="T47" fmla="*/ 19 h 52"/>
                  <a:gd name="T48" fmla="*/ 41 w 47"/>
                  <a:gd name="T49" fmla="*/ 31 h 52"/>
                  <a:gd name="T50" fmla="*/ 39 w 47"/>
                  <a:gd name="T51" fmla="*/ 35 h 52"/>
                  <a:gd name="T52" fmla="*/ 38 w 47"/>
                  <a:gd name="T53" fmla="*/ 38 h 52"/>
                  <a:gd name="T54" fmla="*/ 38 w 47"/>
                  <a:gd name="T55" fmla="*/ 38 h 52"/>
                  <a:gd name="T56" fmla="*/ 35 w 47"/>
                  <a:gd name="T57" fmla="*/ 41 h 52"/>
                  <a:gd name="T58" fmla="*/ 34 w 47"/>
                  <a:gd name="T59" fmla="*/ 44 h 52"/>
                  <a:gd name="T60" fmla="*/ 34 w 47"/>
                  <a:gd name="T61" fmla="*/ 44 h 52"/>
                  <a:gd name="T62" fmla="*/ 31 w 47"/>
                  <a:gd name="T63" fmla="*/ 51 h 52"/>
                  <a:gd name="T64" fmla="*/ 31 w 47"/>
                  <a:gd name="T65" fmla="*/ 52 h 52"/>
                  <a:gd name="T66" fmla="*/ 29 w 47"/>
                  <a:gd name="T67" fmla="*/ 52 h 52"/>
                  <a:gd name="T68" fmla="*/ 28 w 47"/>
                  <a:gd name="T69" fmla="*/ 4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7" h="52">
                    <a:moveTo>
                      <a:pt x="28" y="48"/>
                    </a:moveTo>
                    <a:lnTo>
                      <a:pt x="28" y="48"/>
                    </a:lnTo>
                    <a:lnTo>
                      <a:pt x="22" y="39"/>
                    </a:lnTo>
                    <a:lnTo>
                      <a:pt x="19" y="35"/>
                    </a:lnTo>
                    <a:lnTo>
                      <a:pt x="15" y="31"/>
                    </a:lnTo>
                    <a:lnTo>
                      <a:pt x="15" y="31"/>
                    </a:lnTo>
                    <a:lnTo>
                      <a:pt x="5" y="25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13" y="2"/>
                    </a:lnTo>
                    <a:lnTo>
                      <a:pt x="25" y="0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5" y="3"/>
                    </a:lnTo>
                    <a:lnTo>
                      <a:pt x="45" y="3"/>
                    </a:lnTo>
                    <a:lnTo>
                      <a:pt x="47" y="8"/>
                    </a:lnTo>
                    <a:lnTo>
                      <a:pt x="47" y="10"/>
                    </a:lnTo>
                    <a:lnTo>
                      <a:pt x="47" y="15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1" y="31"/>
                    </a:lnTo>
                    <a:lnTo>
                      <a:pt x="39" y="35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5" y="41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1" y="51"/>
                    </a:lnTo>
                    <a:lnTo>
                      <a:pt x="31" y="52"/>
                    </a:lnTo>
                    <a:lnTo>
                      <a:pt x="29" y="52"/>
                    </a:lnTo>
                    <a:lnTo>
                      <a:pt x="28" y="4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20" name="Freeform 974"/>
              <p:cNvSpPr>
                <a:spLocks/>
              </p:cNvSpPr>
              <p:nvPr/>
            </p:nvSpPr>
            <p:spPr bwMode="auto">
              <a:xfrm>
                <a:off x="2264057" y="1766969"/>
                <a:ext cx="11871" cy="17807"/>
              </a:xfrm>
              <a:custGeom>
                <a:avLst/>
                <a:gdLst>
                  <a:gd name="T0" fmla="*/ 11 w 12"/>
                  <a:gd name="T1" fmla="*/ 16 h 18"/>
                  <a:gd name="T2" fmla="*/ 11 w 12"/>
                  <a:gd name="T3" fmla="*/ 16 h 18"/>
                  <a:gd name="T4" fmla="*/ 5 w 12"/>
                  <a:gd name="T5" fmla="*/ 18 h 18"/>
                  <a:gd name="T6" fmla="*/ 2 w 12"/>
                  <a:gd name="T7" fmla="*/ 16 h 18"/>
                  <a:gd name="T8" fmla="*/ 0 w 12"/>
                  <a:gd name="T9" fmla="*/ 15 h 18"/>
                  <a:gd name="T10" fmla="*/ 0 w 12"/>
                  <a:gd name="T11" fmla="*/ 15 h 18"/>
                  <a:gd name="T12" fmla="*/ 2 w 12"/>
                  <a:gd name="T13" fmla="*/ 6 h 18"/>
                  <a:gd name="T14" fmla="*/ 2 w 12"/>
                  <a:gd name="T15" fmla="*/ 2 h 18"/>
                  <a:gd name="T16" fmla="*/ 3 w 12"/>
                  <a:gd name="T17" fmla="*/ 0 h 18"/>
                  <a:gd name="T18" fmla="*/ 3 w 12"/>
                  <a:gd name="T19" fmla="*/ 0 h 18"/>
                  <a:gd name="T20" fmla="*/ 6 w 12"/>
                  <a:gd name="T21" fmla="*/ 3 h 18"/>
                  <a:gd name="T22" fmla="*/ 9 w 12"/>
                  <a:gd name="T23" fmla="*/ 8 h 18"/>
                  <a:gd name="T24" fmla="*/ 12 w 12"/>
                  <a:gd name="T25" fmla="*/ 13 h 18"/>
                  <a:gd name="T26" fmla="*/ 12 w 12"/>
                  <a:gd name="T27" fmla="*/ 15 h 18"/>
                  <a:gd name="T28" fmla="*/ 11 w 12"/>
                  <a:gd name="T29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18">
                    <a:moveTo>
                      <a:pt x="11" y="16"/>
                    </a:moveTo>
                    <a:lnTo>
                      <a:pt x="11" y="16"/>
                    </a:lnTo>
                    <a:lnTo>
                      <a:pt x="5" y="18"/>
                    </a:lnTo>
                    <a:lnTo>
                      <a:pt x="2" y="16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6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9" y="8"/>
                    </a:lnTo>
                    <a:lnTo>
                      <a:pt x="12" y="13"/>
                    </a:lnTo>
                    <a:lnTo>
                      <a:pt x="12" y="15"/>
                    </a:lnTo>
                    <a:lnTo>
                      <a:pt x="11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21" name="Freeform 975"/>
              <p:cNvSpPr>
                <a:spLocks/>
              </p:cNvSpPr>
              <p:nvPr/>
            </p:nvSpPr>
            <p:spPr bwMode="auto">
              <a:xfrm>
                <a:off x="2264057" y="1766969"/>
                <a:ext cx="11871" cy="17807"/>
              </a:xfrm>
              <a:custGeom>
                <a:avLst/>
                <a:gdLst>
                  <a:gd name="T0" fmla="*/ 11 w 12"/>
                  <a:gd name="T1" fmla="*/ 16 h 18"/>
                  <a:gd name="T2" fmla="*/ 11 w 12"/>
                  <a:gd name="T3" fmla="*/ 16 h 18"/>
                  <a:gd name="T4" fmla="*/ 5 w 12"/>
                  <a:gd name="T5" fmla="*/ 18 h 18"/>
                  <a:gd name="T6" fmla="*/ 2 w 12"/>
                  <a:gd name="T7" fmla="*/ 16 h 18"/>
                  <a:gd name="T8" fmla="*/ 0 w 12"/>
                  <a:gd name="T9" fmla="*/ 15 h 18"/>
                  <a:gd name="T10" fmla="*/ 0 w 12"/>
                  <a:gd name="T11" fmla="*/ 15 h 18"/>
                  <a:gd name="T12" fmla="*/ 2 w 12"/>
                  <a:gd name="T13" fmla="*/ 6 h 18"/>
                  <a:gd name="T14" fmla="*/ 2 w 12"/>
                  <a:gd name="T15" fmla="*/ 2 h 18"/>
                  <a:gd name="T16" fmla="*/ 3 w 12"/>
                  <a:gd name="T17" fmla="*/ 0 h 18"/>
                  <a:gd name="T18" fmla="*/ 3 w 12"/>
                  <a:gd name="T19" fmla="*/ 0 h 18"/>
                  <a:gd name="T20" fmla="*/ 6 w 12"/>
                  <a:gd name="T21" fmla="*/ 3 h 18"/>
                  <a:gd name="T22" fmla="*/ 9 w 12"/>
                  <a:gd name="T23" fmla="*/ 8 h 18"/>
                  <a:gd name="T24" fmla="*/ 12 w 12"/>
                  <a:gd name="T25" fmla="*/ 13 h 18"/>
                  <a:gd name="T26" fmla="*/ 12 w 12"/>
                  <a:gd name="T27" fmla="*/ 15 h 18"/>
                  <a:gd name="T28" fmla="*/ 11 w 12"/>
                  <a:gd name="T29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18">
                    <a:moveTo>
                      <a:pt x="11" y="16"/>
                    </a:moveTo>
                    <a:lnTo>
                      <a:pt x="11" y="16"/>
                    </a:lnTo>
                    <a:lnTo>
                      <a:pt x="5" y="18"/>
                    </a:lnTo>
                    <a:lnTo>
                      <a:pt x="2" y="16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6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9" y="8"/>
                    </a:lnTo>
                    <a:lnTo>
                      <a:pt x="12" y="13"/>
                    </a:lnTo>
                    <a:lnTo>
                      <a:pt x="12" y="15"/>
                    </a:lnTo>
                    <a:lnTo>
                      <a:pt x="11" y="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22" name="Freeform 976"/>
              <p:cNvSpPr>
                <a:spLocks/>
              </p:cNvSpPr>
              <p:nvPr/>
            </p:nvSpPr>
            <p:spPr bwMode="auto">
              <a:xfrm>
                <a:off x="2873441" y="1532514"/>
                <a:ext cx="89033" cy="121679"/>
              </a:xfrm>
              <a:custGeom>
                <a:avLst/>
                <a:gdLst>
                  <a:gd name="T0" fmla="*/ 23 w 90"/>
                  <a:gd name="T1" fmla="*/ 123 h 123"/>
                  <a:gd name="T2" fmla="*/ 17 w 90"/>
                  <a:gd name="T3" fmla="*/ 121 h 123"/>
                  <a:gd name="T4" fmla="*/ 22 w 90"/>
                  <a:gd name="T5" fmla="*/ 119 h 123"/>
                  <a:gd name="T6" fmla="*/ 14 w 90"/>
                  <a:gd name="T7" fmla="*/ 116 h 123"/>
                  <a:gd name="T8" fmla="*/ 13 w 90"/>
                  <a:gd name="T9" fmla="*/ 111 h 123"/>
                  <a:gd name="T10" fmla="*/ 14 w 90"/>
                  <a:gd name="T11" fmla="*/ 95 h 123"/>
                  <a:gd name="T12" fmla="*/ 9 w 90"/>
                  <a:gd name="T13" fmla="*/ 90 h 123"/>
                  <a:gd name="T14" fmla="*/ 1 w 90"/>
                  <a:gd name="T15" fmla="*/ 85 h 123"/>
                  <a:gd name="T16" fmla="*/ 1 w 90"/>
                  <a:gd name="T17" fmla="*/ 84 h 123"/>
                  <a:gd name="T18" fmla="*/ 6 w 90"/>
                  <a:gd name="T19" fmla="*/ 79 h 123"/>
                  <a:gd name="T20" fmla="*/ 1 w 90"/>
                  <a:gd name="T21" fmla="*/ 71 h 123"/>
                  <a:gd name="T22" fmla="*/ 0 w 90"/>
                  <a:gd name="T23" fmla="*/ 62 h 123"/>
                  <a:gd name="T24" fmla="*/ 4 w 90"/>
                  <a:gd name="T25" fmla="*/ 56 h 123"/>
                  <a:gd name="T26" fmla="*/ 3 w 90"/>
                  <a:gd name="T27" fmla="*/ 37 h 123"/>
                  <a:gd name="T28" fmla="*/ 3 w 90"/>
                  <a:gd name="T29" fmla="*/ 23 h 123"/>
                  <a:gd name="T30" fmla="*/ 4 w 90"/>
                  <a:gd name="T31" fmla="*/ 23 h 123"/>
                  <a:gd name="T32" fmla="*/ 7 w 90"/>
                  <a:gd name="T33" fmla="*/ 27 h 123"/>
                  <a:gd name="T34" fmla="*/ 12 w 90"/>
                  <a:gd name="T35" fmla="*/ 24 h 123"/>
                  <a:gd name="T36" fmla="*/ 13 w 90"/>
                  <a:gd name="T37" fmla="*/ 16 h 123"/>
                  <a:gd name="T38" fmla="*/ 10 w 90"/>
                  <a:gd name="T39" fmla="*/ 9 h 123"/>
                  <a:gd name="T40" fmla="*/ 13 w 90"/>
                  <a:gd name="T41" fmla="*/ 4 h 123"/>
                  <a:gd name="T42" fmla="*/ 29 w 90"/>
                  <a:gd name="T43" fmla="*/ 7 h 123"/>
                  <a:gd name="T44" fmla="*/ 30 w 90"/>
                  <a:gd name="T45" fmla="*/ 6 h 123"/>
                  <a:gd name="T46" fmla="*/ 33 w 90"/>
                  <a:gd name="T47" fmla="*/ 0 h 123"/>
                  <a:gd name="T48" fmla="*/ 49 w 90"/>
                  <a:gd name="T49" fmla="*/ 0 h 123"/>
                  <a:gd name="T50" fmla="*/ 56 w 90"/>
                  <a:gd name="T51" fmla="*/ 9 h 123"/>
                  <a:gd name="T52" fmla="*/ 61 w 90"/>
                  <a:gd name="T53" fmla="*/ 11 h 123"/>
                  <a:gd name="T54" fmla="*/ 61 w 90"/>
                  <a:gd name="T55" fmla="*/ 9 h 123"/>
                  <a:gd name="T56" fmla="*/ 65 w 90"/>
                  <a:gd name="T57" fmla="*/ 7 h 123"/>
                  <a:gd name="T58" fmla="*/ 72 w 90"/>
                  <a:gd name="T59" fmla="*/ 6 h 123"/>
                  <a:gd name="T60" fmla="*/ 78 w 90"/>
                  <a:gd name="T61" fmla="*/ 6 h 123"/>
                  <a:gd name="T62" fmla="*/ 88 w 90"/>
                  <a:gd name="T63" fmla="*/ 10 h 123"/>
                  <a:gd name="T64" fmla="*/ 90 w 90"/>
                  <a:gd name="T65" fmla="*/ 16 h 123"/>
                  <a:gd name="T66" fmla="*/ 83 w 90"/>
                  <a:gd name="T67" fmla="*/ 33 h 123"/>
                  <a:gd name="T68" fmla="*/ 77 w 90"/>
                  <a:gd name="T69" fmla="*/ 42 h 123"/>
                  <a:gd name="T70" fmla="*/ 72 w 90"/>
                  <a:gd name="T71" fmla="*/ 49 h 123"/>
                  <a:gd name="T72" fmla="*/ 72 w 90"/>
                  <a:gd name="T73" fmla="*/ 62 h 123"/>
                  <a:gd name="T74" fmla="*/ 61 w 90"/>
                  <a:gd name="T75" fmla="*/ 77 h 123"/>
                  <a:gd name="T76" fmla="*/ 46 w 90"/>
                  <a:gd name="T77" fmla="*/ 79 h 123"/>
                  <a:gd name="T78" fmla="*/ 42 w 90"/>
                  <a:gd name="T79" fmla="*/ 78 h 123"/>
                  <a:gd name="T80" fmla="*/ 35 w 90"/>
                  <a:gd name="T81" fmla="*/ 84 h 123"/>
                  <a:gd name="T82" fmla="*/ 28 w 90"/>
                  <a:gd name="T83" fmla="*/ 87 h 123"/>
                  <a:gd name="T84" fmla="*/ 30 w 90"/>
                  <a:gd name="T85" fmla="*/ 95 h 123"/>
                  <a:gd name="T86" fmla="*/ 38 w 90"/>
                  <a:gd name="T87" fmla="*/ 110 h 123"/>
                  <a:gd name="T88" fmla="*/ 32 w 90"/>
                  <a:gd name="T89" fmla="*/ 12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0" h="123">
                    <a:moveTo>
                      <a:pt x="32" y="123"/>
                    </a:moveTo>
                    <a:lnTo>
                      <a:pt x="32" y="123"/>
                    </a:lnTo>
                    <a:lnTo>
                      <a:pt x="23" y="123"/>
                    </a:lnTo>
                    <a:lnTo>
                      <a:pt x="19" y="123"/>
                    </a:lnTo>
                    <a:lnTo>
                      <a:pt x="17" y="121"/>
                    </a:lnTo>
                    <a:lnTo>
                      <a:pt x="17" y="121"/>
                    </a:lnTo>
                    <a:lnTo>
                      <a:pt x="17" y="121"/>
                    </a:lnTo>
                    <a:lnTo>
                      <a:pt x="20" y="119"/>
                    </a:lnTo>
                    <a:lnTo>
                      <a:pt x="22" y="119"/>
                    </a:lnTo>
                    <a:lnTo>
                      <a:pt x="20" y="117"/>
                    </a:lnTo>
                    <a:lnTo>
                      <a:pt x="20" y="117"/>
                    </a:lnTo>
                    <a:lnTo>
                      <a:pt x="14" y="116"/>
                    </a:lnTo>
                    <a:lnTo>
                      <a:pt x="14" y="113"/>
                    </a:lnTo>
                    <a:lnTo>
                      <a:pt x="13" y="111"/>
                    </a:lnTo>
                    <a:lnTo>
                      <a:pt x="13" y="111"/>
                    </a:lnTo>
                    <a:lnTo>
                      <a:pt x="14" y="104"/>
                    </a:lnTo>
                    <a:lnTo>
                      <a:pt x="16" y="100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0" y="91"/>
                    </a:lnTo>
                    <a:lnTo>
                      <a:pt x="9" y="90"/>
                    </a:lnTo>
                    <a:lnTo>
                      <a:pt x="7" y="88"/>
                    </a:lnTo>
                    <a:lnTo>
                      <a:pt x="7" y="88"/>
                    </a:lnTo>
                    <a:lnTo>
                      <a:pt x="1" y="85"/>
                    </a:lnTo>
                    <a:lnTo>
                      <a:pt x="0" y="84"/>
                    </a:lnTo>
                    <a:lnTo>
                      <a:pt x="1" y="84"/>
                    </a:lnTo>
                    <a:lnTo>
                      <a:pt x="1" y="84"/>
                    </a:lnTo>
                    <a:lnTo>
                      <a:pt x="4" y="82"/>
                    </a:lnTo>
                    <a:lnTo>
                      <a:pt x="4" y="81"/>
                    </a:lnTo>
                    <a:lnTo>
                      <a:pt x="6" y="79"/>
                    </a:lnTo>
                    <a:lnTo>
                      <a:pt x="6" y="79"/>
                    </a:lnTo>
                    <a:lnTo>
                      <a:pt x="4" y="75"/>
                    </a:lnTo>
                    <a:lnTo>
                      <a:pt x="1" y="71"/>
                    </a:lnTo>
                    <a:lnTo>
                      <a:pt x="0" y="65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3" y="59"/>
                    </a:lnTo>
                    <a:lnTo>
                      <a:pt x="4" y="59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3" y="46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3" y="27"/>
                    </a:lnTo>
                    <a:lnTo>
                      <a:pt x="3" y="23"/>
                    </a:lnTo>
                    <a:lnTo>
                      <a:pt x="3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6" y="24"/>
                    </a:lnTo>
                    <a:lnTo>
                      <a:pt x="7" y="26"/>
                    </a:lnTo>
                    <a:lnTo>
                      <a:pt x="7" y="27"/>
                    </a:lnTo>
                    <a:lnTo>
                      <a:pt x="9" y="26"/>
                    </a:lnTo>
                    <a:lnTo>
                      <a:pt x="9" y="26"/>
                    </a:lnTo>
                    <a:lnTo>
                      <a:pt x="12" y="24"/>
                    </a:lnTo>
                    <a:lnTo>
                      <a:pt x="13" y="22"/>
                    </a:lnTo>
                    <a:lnTo>
                      <a:pt x="14" y="19"/>
                    </a:lnTo>
                    <a:lnTo>
                      <a:pt x="13" y="16"/>
                    </a:lnTo>
                    <a:lnTo>
                      <a:pt x="13" y="16"/>
                    </a:lnTo>
                    <a:lnTo>
                      <a:pt x="10" y="13"/>
                    </a:lnTo>
                    <a:lnTo>
                      <a:pt x="10" y="9"/>
                    </a:lnTo>
                    <a:lnTo>
                      <a:pt x="10" y="6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7" y="6"/>
                    </a:lnTo>
                    <a:lnTo>
                      <a:pt x="23" y="7"/>
                    </a:lnTo>
                    <a:lnTo>
                      <a:pt x="29" y="7"/>
                    </a:lnTo>
                    <a:lnTo>
                      <a:pt x="30" y="7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9" y="1"/>
                    </a:lnTo>
                    <a:lnTo>
                      <a:pt x="30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45" y="0"/>
                    </a:lnTo>
                    <a:lnTo>
                      <a:pt x="49" y="0"/>
                    </a:lnTo>
                    <a:lnTo>
                      <a:pt x="52" y="3"/>
                    </a:lnTo>
                    <a:lnTo>
                      <a:pt x="52" y="3"/>
                    </a:lnTo>
                    <a:lnTo>
                      <a:pt x="56" y="9"/>
                    </a:lnTo>
                    <a:lnTo>
                      <a:pt x="58" y="11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61" y="9"/>
                    </a:lnTo>
                    <a:lnTo>
                      <a:pt x="61" y="7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70" y="7"/>
                    </a:lnTo>
                    <a:lnTo>
                      <a:pt x="72" y="7"/>
                    </a:lnTo>
                    <a:lnTo>
                      <a:pt x="72" y="6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6"/>
                    </a:lnTo>
                    <a:lnTo>
                      <a:pt x="84" y="9"/>
                    </a:lnTo>
                    <a:lnTo>
                      <a:pt x="84" y="9"/>
                    </a:lnTo>
                    <a:lnTo>
                      <a:pt x="88" y="10"/>
                    </a:lnTo>
                    <a:lnTo>
                      <a:pt x="90" y="11"/>
                    </a:lnTo>
                    <a:lnTo>
                      <a:pt x="90" y="14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5" y="23"/>
                    </a:lnTo>
                    <a:lnTo>
                      <a:pt x="83" y="33"/>
                    </a:lnTo>
                    <a:lnTo>
                      <a:pt x="83" y="33"/>
                    </a:lnTo>
                    <a:lnTo>
                      <a:pt x="80" y="37"/>
                    </a:lnTo>
                    <a:lnTo>
                      <a:pt x="77" y="42"/>
                    </a:lnTo>
                    <a:lnTo>
                      <a:pt x="74" y="46"/>
                    </a:lnTo>
                    <a:lnTo>
                      <a:pt x="72" y="49"/>
                    </a:lnTo>
                    <a:lnTo>
                      <a:pt x="72" y="49"/>
                    </a:lnTo>
                    <a:lnTo>
                      <a:pt x="72" y="56"/>
                    </a:lnTo>
                    <a:lnTo>
                      <a:pt x="72" y="62"/>
                    </a:lnTo>
                    <a:lnTo>
                      <a:pt x="72" y="62"/>
                    </a:lnTo>
                    <a:lnTo>
                      <a:pt x="67" y="71"/>
                    </a:lnTo>
                    <a:lnTo>
                      <a:pt x="64" y="75"/>
                    </a:lnTo>
                    <a:lnTo>
                      <a:pt x="61" y="77"/>
                    </a:lnTo>
                    <a:lnTo>
                      <a:pt x="61" y="77"/>
                    </a:lnTo>
                    <a:lnTo>
                      <a:pt x="54" y="79"/>
                    </a:lnTo>
                    <a:lnTo>
                      <a:pt x="46" y="79"/>
                    </a:lnTo>
                    <a:lnTo>
                      <a:pt x="46" y="79"/>
                    </a:lnTo>
                    <a:lnTo>
                      <a:pt x="43" y="79"/>
                    </a:lnTo>
                    <a:lnTo>
                      <a:pt x="42" y="78"/>
                    </a:lnTo>
                    <a:lnTo>
                      <a:pt x="41" y="79"/>
                    </a:lnTo>
                    <a:lnTo>
                      <a:pt x="41" y="79"/>
                    </a:lnTo>
                    <a:lnTo>
                      <a:pt x="35" y="84"/>
                    </a:lnTo>
                    <a:lnTo>
                      <a:pt x="29" y="87"/>
                    </a:lnTo>
                    <a:lnTo>
                      <a:pt x="29" y="87"/>
                    </a:lnTo>
                    <a:lnTo>
                      <a:pt x="28" y="87"/>
                    </a:lnTo>
                    <a:lnTo>
                      <a:pt x="28" y="90"/>
                    </a:lnTo>
                    <a:lnTo>
                      <a:pt x="30" y="95"/>
                    </a:lnTo>
                    <a:lnTo>
                      <a:pt x="30" y="95"/>
                    </a:lnTo>
                    <a:lnTo>
                      <a:pt x="35" y="104"/>
                    </a:lnTo>
                    <a:lnTo>
                      <a:pt x="38" y="110"/>
                    </a:lnTo>
                    <a:lnTo>
                      <a:pt x="38" y="110"/>
                    </a:lnTo>
                    <a:lnTo>
                      <a:pt x="38" y="117"/>
                    </a:lnTo>
                    <a:lnTo>
                      <a:pt x="35" y="120"/>
                    </a:lnTo>
                    <a:lnTo>
                      <a:pt x="32" y="1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23" name="Freeform 977"/>
              <p:cNvSpPr>
                <a:spLocks/>
              </p:cNvSpPr>
              <p:nvPr/>
            </p:nvSpPr>
            <p:spPr bwMode="auto">
              <a:xfrm>
                <a:off x="2873441" y="1532514"/>
                <a:ext cx="89033" cy="121679"/>
              </a:xfrm>
              <a:custGeom>
                <a:avLst/>
                <a:gdLst>
                  <a:gd name="T0" fmla="*/ 23 w 90"/>
                  <a:gd name="T1" fmla="*/ 123 h 123"/>
                  <a:gd name="T2" fmla="*/ 17 w 90"/>
                  <a:gd name="T3" fmla="*/ 121 h 123"/>
                  <a:gd name="T4" fmla="*/ 22 w 90"/>
                  <a:gd name="T5" fmla="*/ 119 h 123"/>
                  <a:gd name="T6" fmla="*/ 14 w 90"/>
                  <a:gd name="T7" fmla="*/ 116 h 123"/>
                  <a:gd name="T8" fmla="*/ 13 w 90"/>
                  <a:gd name="T9" fmla="*/ 111 h 123"/>
                  <a:gd name="T10" fmla="*/ 14 w 90"/>
                  <a:gd name="T11" fmla="*/ 95 h 123"/>
                  <a:gd name="T12" fmla="*/ 9 w 90"/>
                  <a:gd name="T13" fmla="*/ 90 h 123"/>
                  <a:gd name="T14" fmla="*/ 1 w 90"/>
                  <a:gd name="T15" fmla="*/ 85 h 123"/>
                  <a:gd name="T16" fmla="*/ 1 w 90"/>
                  <a:gd name="T17" fmla="*/ 84 h 123"/>
                  <a:gd name="T18" fmla="*/ 6 w 90"/>
                  <a:gd name="T19" fmla="*/ 79 h 123"/>
                  <a:gd name="T20" fmla="*/ 1 w 90"/>
                  <a:gd name="T21" fmla="*/ 71 h 123"/>
                  <a:gd name="T22" fmla="*/ 0 w 90"/>
                  <a:gd name="T23" fmla="*/ 62 h 123"/>
                  <a:gd name="T24" fmla="*/ 4 w 90"/>
                  <a:gd name="T25" fmla="*/ 56 h 123"/>
                  <a:gd name="T26" fmla="*/ 3 w 90"/>
                  <a:gd name="T27" fmla="*/ 37 h 123"/>
                  <a:gd name="T28" fmla="*/ 3 w 90"/>
                  <a:gd name="T29" fmla="*/ 23 h 123"/>
                  <a:gd name="T30" fmla="*/ 4 w 90"/>
                  <a:gd name="T31" fmla="*/ 23 h 123"/>
                  <a:gd name="T32" fmla="*/ 7 w 90"/>
                  <a:gd name="T33" fmla="*/ 27 h 123"/>
                  <a:gd name="T34" fmla="*/ 12 w 90"/>
                  <a:gd name="T35" fmla="*/ 24 h 123"/>
                  <a:gd name="T36" fmla="*/ 13 w 90"/>
                  <a:gd name="T37" fmla="*/ 16 h 123"/>
                  <a:gd name="T38" fmla="*/ 10 w 90"/>
                  <a:gd name="T39" fmla="*/ 9 h 123"/>
                  <a:gd name="T40" fmla="*/ 13 w 90"/>
                  <a:gd name="T41" fmla="*/ 4 h 123"/>
                  <a:gd name="T42" fmla="*/ 29 w 90"/>
                  <a:gd name="T43" fmla="*/ 7 h 123"/>
                  <a:gd name="T44" fmla="*/ 30 w 90"/>
                  <a:gd name="T45" fmla="*/ 6 h 123"/>
                  <a:gd name="T46" fmla="*/ 33 w 90"/>
                  <a:gd name="T47" fmla="*/ 0 h 123"/>
                  <a:gd name="T48" fmla="*/ 49 w 90"/>
                  <a:gd name="T49" fmla="*/ 0 h 123"/>
                  <a:gd name="T50" fmla="*/ 56 w 90"/>
                  <a:gd name="T51" fmla="*/ 9 h 123"/>
                  <a:gd name="T52" fmla="*/ 61 w 90"/>
                  <a:gd name="T53" fmla="*/ 11 h 123"/>
                  <a:gd name="T54" fmla="*/ 61 w 90"/>
                  <a:gd name="T55" fmla="*/ 9 h 123"/>
                  <a:gd name="T56" fmla="*/ 65 w 90"/>
                  <a:gd name="T57" fmla="*/ 7 h 123"/>
                  <a:gd name="T58" fmla="*/ 72 w 90"/>
                  <a:gd name="T59" fmla="*/ 6 h 123"/>
                  <a:gd name="T60" fmla="*/ 78 w 90"/>
                  <a:gd name="T61" fmla="*/ 6 h 123"/>
                  <a:gd name="T62" fmla="*/ 88 w 90"/>
                  <a:gd name="T63" fmla="*/ 10 h 123"/>
                  <a:gd name="T64" fmla="*/ 90 w 90"/>
                  <a:gd name="T65" fmla="*/ 16 h 123"/>
                  <a:gd name="T66" fmla="*/ 83 w 90"/>
                  <a:gd name="T67" fmla="*/ 33 h 123"/>
                  <a:gd name="T68" fmla="*/ 77 w 90"/>
                  <a:gd name="T69" fmla="*/ 42 h 123"/>
                  <a:gd name="T70" fmla="*/ 72 w 90"/>
                  <a:gd name="T71" fmla="*/ 49 h 123"/>
                  <a:gd name="T72" fmla="*/ 72 w 90"/>
                  <a:gd name="T73" fmla="*/ 62 h 123"/>
                  <a:gd name="T74" fmla="*/ 61 w 90"/>
                  <a:gd name="T75" fmla="*/ 77 h 123"/>
                  <a:gd name="T76" fmla="*/ 46 w 90"/>
                  <a:gd name="T77" fmla="*/ 79 h 123"/>
                  <a:gd name="T78" fmla="*/ 42 w 90"/>
                  <a:gd name="T79" fmla="*/ 78 h 123"/>
                  <a:gd name="T80" fmla="*/ 35 w 90"/>
                  <a:gd name="T81" fmla="*/ 84 h 123"/>
                  <a:gd name="T82" fmla="*/ 28 w 90"/>
                  <a:gd name="T83" fmla="*/ 87 h 123"/>
                  <a:gd name="T84" fmla="*/ 30 w 90"/>
                  <a:gd name="T85" fmla="*/ 95 h 123"/>
                  <a:gd name="T86" fmla="*/ 38 w 90"/>
                  <a:gd name="T87" fmla="*/ 110 h 123"/>
                  <a:gd name="T88" fmla="*/ 32 w 90"/>
                  <a:gd name="T89" fmla="*/ 12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0" h="123">
                    <a:moveTo>
                      <a:pt x="32" y="123"/>
                    </a:moveTo>
                    <a:lnTo>
                      <a:pt x="32" y="123"/>
                    </a:lnTo>
                    <a:lnTo>
                      <a:pt x="23" y="123"/>
                    </a:lnTo>
                    <a:lnTo>
                      <a:pt x="19" y="123"/>
                    </a:lnTo>
                    <a:lnTo>
                      <a:pt x="17" y="121"/>
                    </a:lnTo>
                    <a:lnTo>
                      <a:pt x="17" y="121"/>
                    </a:lnTo>
                    <a:lnTo>
                      <a:pt x="17" y="121"/>
                    </a:lnTo>
                    <a:lnTo>
                      <a:pt x="20" y="119"/>
                    </a:lnTo>
                    <a:lnTo>
                      <a:pt x="22" y="119"/>
                    </a:lnTo>
                    <a:lnTo>
                      <a:pt x="20" y="117"/>
                    </a:lnTo>
                    <a:lnTo>
                      <a:pt x="20" y="117"/>
                    </a:lnTo>
                    <a:lnTo>
                      <a:pt x="14" y="116"/>
                    </a:lnTo>
                    <a:lnTo>
                      <a:pt x="14" y="113"/>
                    </a:lnTo>
                    <a:lnTo>
                      <a:pt x="13" y="111"/>
                    </a:lnTo>
                    <a:lnTo>
                      <a:pt x="13" y="111"/>
                    </a:lnTo>
                    <a:lnTo>
                      <a:pt x="14" y="104"/>
                    </a:lnTo>
                    <a:lnTo>
                      <a:pt x="16" y="100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0" y="91"/>
                    </a:lnTo>
                    <a:lnTo>
                      <a:pt x="9" y="90"/>
                    </a:lnTo>
                    <a:lnTo>
                      <a:pt x="7" y="88"/>
                    </a:lnTo>
                    <a:lnTo>
                      <a:pt x="7" y="88"/>
                    </a:lnTo>
                    <a:lnTo>
                      <a:pt x="1" y="85"/>
                    </a:lnTo>
                    <a:lnTo>
                      <a:pt x="0" y="84"/>
                    </a:lnTo>
                    <a:lnTo>
                      <a:pt x="1" y="84"/>
                    </a:lnTo>
                    <a:lnTo>
                      <a:pt x="1" y="84"/>
                    </a:lnTo>
                    <a:lnTo>
                      <a:pt x="4" y="82"/>
                    </a:lnTo>
                    <a:lnTo>
                      <a:pt x="4" y="81"/>
                    </a:lnTo>
                    <a:lnTo>
                      <a:pt x="6" y="79"/>
                    </a:lnTo>
                    <a:lnTo>
                      <a:pt x="6" y="79"/>
                    </a:lnTo>
                    <a:lnTo>
                      <a:pt x="4" y="75"/>
                    </a:lnTo>
                    <a:lnTo>
                      <a:pt x="1" y="71"/>
                    </a:lnTo>
                    <a:lnTo>
                      <a:pt x="0" y="65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3" y="59"/>
                    </a:lnTo>
                    <a:lnTo>
                      <a:pt x="4" y="59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3" y="46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3" y="27"/>
                    </a:lnTo>
                    <a:lnTo>
                      <a:pt x="3" y="23"/>
                    </a:lnTo>
                    <a:lnTo>
                      <a:pt x="3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6" y="24"/>
                    </a:lnTo>
                    <a:lnTo>
                      <a:pt x="7" y="26"/>
                    </a:lnTo>
                    <a:lnTo>
                      <a:pt x="7" y="27"/>
                    </a:lnTo>
                    <a:lnTo>
                      <a:pt x="9" y="26"/>
                    </a:lnTo>
                    <a:lnTo>
                      <a:pt x="9" y="26"/>
                    </a:lnTo>
                    <a:lnTo>
                      <a:pt x="12" y="24"/>
                    </a:lnTo>
                    <a:lnTo>
                      <a:pt x="13" y="22"/>
                    </a:lnTo>
                    <a:lnTo>
                      <a:pt x="14" y="19"/>
                    </a:lnTo>
                    <a:lnTo>
                      <a:pt x="13" y="16"/>
                    </a:lnTo>
                    <a:lnTo>
                      <a:pt x="13" y="16"/>
                    </a:lnTo>
                    <a:lnTo>
                      <a:pt x="10" y="13"/>
                    </a:lnTo>
                    <a:lnTo>
                      <a:pt x="10" y="9"/>
                    </a:lnTo>
                    <a:lnTo>
                      <a:pt x="10" y="6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7" y="6"/>
                    </a:lnTo>
                    <a:lnTo>
                      <a:pt x="23" y="7"/>
                    </a:lnTo>
                    <a:lnTo>
                      <a:pt x="29" y="7"/>
                    </a:lnTo>
                    <a:lnTo>
                      <a:pt x="30" y="7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9" y="1"/>
                    </a:lnTo>
                    <a:lnTo>
                      <a:pt x="30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45" y="0"/>
                    </a:lnTo>
                    <a:lnTo>
                      <a:pt x="49" y="0"/>
                    </a:lnTo>
                    <a:lnTo>
                      <a:pt x="52" y="3"/>
                    </a:lnTo>
                    <a:lnTo>
                      <a:pt x="52" y="3"/>
                    </a:lnTo>
                    <a:lnTo>
                      <a:pt x="56" y="9"/>
                    </a:lnTo>
                    <a:lnTo>
                      <a:pt x="58" y="11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61" y="9"/>
                    </a:lnTo>
                    <a:lnTo>
                      <a:pt x="61" y="7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70" y="7"/>
                    </a:lnTo>
                    <a:lnTo>
                      <a:pt x="72" y="7"/>
                    </a:lnTo>
                    <a:lnTo>
                      <a:pt x="72" y="6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6"/>
                    </a:lnTo>
                    <a:lnTo>
                      <a:pt x="84" y="9"/>
                    </a:lnTo>
                    <a:lnTo>
                      <a:pt x="84" y="9"/>
                    </a:lnTo>
                    <a:lnTo>
                      <a:pt x="88" y="10"/>
                    </a:lnTo>
                    <a:lnTo>
                      <a:pt x="90" y="11"/>
                    </a:lnTo>
                    <a:lnTo>
                      <a:pt x="90" y="14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5" y="23"/>
                    </a:lnTo>
                    <a:lnTo>
                      <a:pt x="83" y="33"/>
                    </a:lnTo>
                    <a:lnTo>
                      <a:pt x="83" y="33"/>
                    </a:lnTo>
                    <a:lnTo>
                      <a:pt x="80" y="37"/>
                    </a:lnTo>
                    <a:lnTo>
                      <a:pt x="77" y="42"/>
                    </a:lnTo>
                    <a:lnTo>
                      <a:pt x="74" y="46"/>
                    </a:lnTo>
                    <a:lnTo>
                      <a:pt x="72" y="49"/>
                    </a:lnTo>
                    <a:lnTo>
                      <a:pt x="72" y="49"/>
                    </a:lnTo>
                    <a:lnTo>
                      <a:pt x="72" y="56"/>
                    </a:lnTo>
                    <a:lnTo>
                      <a:pt x="72" y="62"/>
                    </a:lnTo>
                    <a:lnTo>
                      <a:pt x="72" y="62"/>
                    </a:lnTo>
                    <a:lnTo>
                      <a:pt x="67" y="71"/>
                    </a:lnTo>
                    <a:lnTo>
                      <a:pt x="64" y="75"/>
                    </a:lnTo>
                    <a:lnTo>
                      <a:pt x="61" y="77"/>
                    </a:lnTo>
                    <a:lnTo>
                      <a:pt x="61" y="77"/>
                    </a:lnTo>
                    <a:lnTo>
                      <a:pt x="54" y="79"/>
                    </a:lnTo>
                    <a:lnTo>
                      <a:pt x="46" y="79"/>
                    </a:lnTo>
                    <a:lnTo>
                      <a:pt x="46" y="79"/>
                    </a:lnTo>
                    <a:lnTo>
                      <a:pt x="43" y="79"/>
                    </a:lnTo>
                    <a:lnTo>
                      <a:pt x="42" y="78"/>
                    </a:lnTo>
                    <a:lnTo>
                      <a:pt x="41" y="79"/>
                    </a:lnTo>
                    <a:lnTo>
                      <a:pt x="41" y="79"/>
                    </a:lnTo>
                    <a:lnTo>
                      <a:pt x="35" y="84"/>
                    </a:lnTo>
                    <a:lnTo>
                      <a:pt x="29" y="87"/>
                    </a:lnTo>
                    <a:lnTo>
                      <a:pt x="29" y="87"/>
                    </a:lnTo>
                    <a:lnTo>
                      <a:pt x="28" y="87"/>
                    </a:lnTo>
                    <a:lnTo>
                      <a:pt x="28" y="90"/>
                    </a:lnTo>
                    <a:lnTo>
                      <a:pt x="30" y="95"/>
                    </a:lnTo>
                    <a:lnTo>
                      <a:pt x="30" y="95"/>
                    </a:lnTo>
                    <a:lnTo>
                      <a:pt x="35" y="104"/>
                    </a:lnTo>
                    <a:lnTo>
                      <a:pt x="38" y="110"/>
                    </a:lnTo>
                    <a:lnTo>
                      <a:pt x="38" y="110"/>
                    </a:lnTo>
                    <a:lnTo>
                      <a:pt x="38" y="117"/>
                    </a:lnTo>
                    <a:lnTo>
                      <a:pt x="35" y="120"/>
                    </a:lnTo>
                    <a:lnTo>
                      <a:pt x="32" y="12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24" name="Freeform 978"/>
              <p:cNvSpPr>
                <a:spLocks/>
              </p:cNvSpPr>
              <p:nvPr/>
            </p:nvSpPr>
            <p:spPr bwMode="auto">
              <a:xfrm>
                <a:off x="2764622" y="1539439"/>
                <a:ext cx="104862" cy="149378"/>
              </a:xfrm>
              <a:custGeom>
                <a:avLst/>
                <a:gdLst>
                  <a:gd name="T0" fmla="*/ 91 w 106"/>
                  <a:gd name="T1" fmla="*/ 126 h 151"/>
                  <a:gd name="T2" fmla="*/ 88 w 106"/>
                  <a:gd name="T3" fmla="*/ 128 h 151"/>
                  <a:gd name="T4" fmla="*/ 82 w 106"/>
                  <a:gd name="T5" fmla="*/ 133 h 151"/>
                  <a:gd name="T6" fmla="*/ 74 w 106"/>
                  <a:gd name="T7" fmla="*/ 138 h 151"/>
                  <a:gd name="T8" fmla="*/ 68 w 106"/>
                  <a:gd name="T9" fmla="*/ 145 h 151"/>
                  <a:gd name="T10" fmla="*/ 59 w 106"/>
                  <a:gd name="T11" fmla="*/ 149 h 151"/>
                  <a:gd name="T12" fmla="*/ 55 w 106"/>
                  <a:gd name="T13" fmla="*/ 149 h 151"/>
                  <a:gd name="T14" fmla="*/ 49 w 106"/>
                  <a:gd name="T15" fmla="*/ 133 h 151"/>
                  <a:gd name="T16" fmla="*/ 39 w 106"/>
                  <a:gd name="T17" fmla="*/ 119 h 151"/>
                  <a:gd name="T18" fmla="*/ 35 w 106"/>
                  <a:gd name="T19" fmla="*/ 120 h 151"/>
                  <a:gd name="T20" fmla="*/ 30 w 106"/>
                  <a:gd name="T21" fmla="*/ 113 h 151"/>
                  <a:gd name="T22" fmla="*/ 26 w 106"/>
                  <a:gd name="T23" fmla="*/ 109 h 151"/>
                  <a:gd name="T24" fmla="*/ 19 w 106"/>
                  <a:gd name="T25" fmla="*/ 110 h 151"/>
                  <a:gd name="T26" fmla="*/ 7 w 106"/>
                  <a:gd name="T27" fmla="*/ 96 h 151"/>
                  <a:gd name="T28" fmla="*/ 6 w 106"/>
                  <a:gd name="T29" fmla="*/ 87 h 151"/>
                  <a:gd name="T30" fmla="*/ 4 w 106"/>
                  <a:gd name="T31" fmla="*/ 83 h 151"/>
                  <a:gd name="T32" fmla="*/ 0 w 106"/>
                  <a:gd name="T33" fmla="*/ 62 h 151"/>
                  <a:gd name="T34" fmla="*/ 1 w 106"/>
                  <a:gd name="T35" fmla="*/ 54 h 151"/>
                  <a:gd name="T36" fmla="*/ 4 w 106"/>
                  <a:gd name="T37" fmla="*/ 48 h 151"/>
                  <a:gd name="T38" fmla="*/ 10 w 106"/>
                  <a:gd name="T39" fmla="*/ 45 h 151"/>
                  <a:gd name="T40" fmla="*/ 17 w 106"/>
                  <a:gd name="T41" fmla="*/ 54 h 151"/>
                  <a:gd name="T42" fmla="*/ 14 w 106"/>
                  <a:gd name="T43" fmla="*/ 61 h 151"/>
                  <a:gd name="T44" fmla="*/ 19 w 106"/>
                  <a:gd name="T45" fmla="*/ 65 h 151"/>
                  <a:gd name="T46" fmla="*/ 29 w 106"/>
                  <a:gd name="T47" fmla="*/ 71 h 151"/>
                  <a:gd name="T48" fmla="*/ 33 w 106"/>
                  <a:gd name="T49" fmla="*/ 72 h 151"/>
                  <a:gd name="T50" fmla="*/ 40 w 106"/>
                  <a:gd name="T51" fmla="*/ 65 h 151"/>
                  <a:gd name="T52" fmla="*/ 36 w 106"/>
                  <a:gd name="T53" fmla="*/ 59 h 151"/>
                  <a:gd name="T54" fmla="*/ 36 w 106"/>
                  <a:gd name="T55" fmla="*/ 49 h 151"/>
                  <a:gd name="T56" fmla="*/ 33 w 106"/>
                  <a:gd name="T57" fmla="*/ 41 h 151"/>
                  <a:gd name="T58" fmla="*/ 22 w 106"/>
                  <a:gd name="T59" fmla="*/ 35 h 151"/>
                  <a:gd name="T60" fmla="*/ 17 w 106"/>
                  <a:gd name="T61" fmla="*/ 25 h 151"/>
                  <a:gd name="T62" fmla="*/ 17 w 106"/>
                  <a:gd name="T63" fmla="*/ 13 h 151"/>
                  <a:gd name="T64" fmla="*/ 23 w 106"/>
                  <a:gd name="T65" fmla="*/ 2 h 151"/>
                  <a:gd name="T66" fmla="*/ 29 w 106"/>
                  <a:gd name="T67" fmla="*/ 2 h 151"/>
                  <a:gd name="T68" fmla="*/ 33 w 106"/>
                  <a:gd name="T69" fmla="*/ 3 h 151"/>
                  <a:gd name="T70" fmla="*/ 46 w 106"/>
                  <a:gd name="T71" fmla="*/ 0 h 151"/>
                  <a:gd name="T72" fmla="*/ 43 w 106"/>
                  <a:gd name="T73" fmla="*/ 4 h 151"/>
                  <a:gd name="T74" fmla="*/ 43 w 106"/>
                  <a:gd name="T75" fmla="*/ 7 h 151"/>
                  <a:gd name="T76" fmla="*/ 56 w 106"/>
                  <a:gd name="T77" fmla="*/ 15 h 151"/>
                  <a:gd name="T78" fmla="*/ 71 w 106"/>
                  <a:gd name="T79" fmla="*/ 9 h 151"/>
                  <a:gd name="T80" fmla="*/ 77 w 106"/>
                  <a:gd name="T81" fmla="*/ 4 h 151"/>
                  <a:gd name="T82" fmla="*/ 84 w 106"/>
                  <a:gd name="T83" fmla="*/ 12 h 151"/>
                  <a:gd name="T84" fmla="*/ 87 w 106"/>
                  <a:gd name="T85" fmla="*/ 17 h 151"/>
                  <a:gd name="T86" fmla="*/ 80 w 106"/>
                  <a:gd name="T87" fmla="*/ 22 h 151"/>
                  <a:gd name="T88" fmla="*/ 82 w 106"/>
                  <a:gd name="T89" fmla="*/ 26 h 151"/>
                  <a:gd name="T90" fmla="*/ 87 w 106"/>
                  <a:gd name="T91" fmla="*/ 35 h 151"/>
                  <a:gd name="T92" fmla="*/ 82 w 106"/>
                  <a:gd name="T93" fmla="*/ 38 h 151"/>
                  <a:gd name="T94" fmla="*/ 77 w 106"/>
                  <a:gd name="T95" fmla="*/ 36 h 151"/>
                  <a:gd name="T96" fmla="*/ 74 w 106"/>
                  <a:gd name="T97" fmla="*/ 46 h 151"/>
                  <a:gd name="T98" fmla="*/ 72 w 106"/>
                  <a:gd name="T99" fmla="*/ 52 h 151"/>
                  <a:gd name="T100" fmla="*/ 71 w 106"/>
                  <a:gd name="T101" fmla="*/ 57 h 151"/>
                  <a:gd name="T102" fmla="*/ 80 w 106"/>
                  <a:gd name="T103" fmla="*/ 68 h 151"/>
                  <a:gd name="T104" fmla="*/ 81 w 106"/>
                  <a:gd name="T105" fmla="*/ 68 h 151"/>
                  <a:gd name="T106" fmla="*/ 81 w 106"/>
                  <a:gd name="T107" fmla="*/ 57 h 151"/>
                  <a:gd name="T108" fmla="*/ 84 w 106"/>
                  <a:gd name="T109" fmla="*/ 57 h 151"/>
                  <a:gd name="T110" fmla="*/ 88 w 106"/>
                  <a:gd name="T111" fmla="*/ 67 h 151"/>
                  <a:gd name="T112" fmla="*/ 94 w 106"/>
                  <a:gd name="T113" fmla="*/ 71 h 151"/>
                  <a:gd name="T114" fmla="*/ 100 w 106"/>
                  <a:gd name="T115" fmla="*/ 75 h 151"/>
                  <a:gd name="T116" fmla="*/ 106 w 106"/>
                  <a:gd name="T117" fmla="*/ 90 h 151"/>
                  <a:gd name="T118" fmla="*/ 100 w 106"/>
                  <a:gd name="T119" fmla="*/ 99 h 151"/>
                  <a:gd name="T120" fmla="*/ 97 w 106"/>
                  <a:gd name="T121" fmla="*/ 104 h 151"/>
                  <a:gd name="T122" fmla="*/ 103 w 106"/>
                  <a:gd name="T123" fmla="*/ 114 h 151"/>
                  <a:gd name="T124" fmla="*/ 101 w 106"/>
                  <a:gd name="T125" fmla="*/ 122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6" h="151">
                    <a:moveTo>
                      <a:pt x="97" y="125"/>
                    </a:moveTo>
                    <a:lnTo>
                      <a:pt x="97" y="125"/>
                    </a:lnTo>
                    <a:lnTo>
                      <a:pt x="91" y="126"/>
                    </a:lnTo>
                    <a:lnTo>
                      <a:pt x="90" y="126"/>
                    </a:lnTo>
                    <a:lnTo>
                      <a:pt x="88" y="128"/>
                    </a:lnTo>
                    <a:lnTo>
                      <a:pt x="88" y="128"/>
                    </a:lnTo>
                    <a:lnTo>
                      <a:pt x="85" y="130"/>
                    </a:lnTo>
                    <a:lnTo>
                      <a:pt x="82" y="133"/>
                    </a:lnTo>
                    <a:lnTo>
                      <a:pt x="82" y="133"/>
                    </a:lnTo>
                    <a:lnTo>
                      <a:pt x="80" y="136"/>
                    </a:lnTo>
                    <a:lnTo>
                      <a:pt x="77" y="138"/>
                    </a:lnTo>
                    <a:lnTo>
                      <a:pt x="74" y="138"/>
                    </a:lnTo>
                    <a:lnTo>
                      <a:pt x="72" y="141"/>
                    </a:lnTo>
                    <a:lnTo>
                      <a:pt x="72" y="141"/>
                    </a:lnTo>
                    <a:lnTo>
                      <a:pt x="68" y="145"/>
                    </a:lnTo>
                    <a:lnTo>
                      <a:pt x="64" y="148"/>
                    </a:lnTo>
                    <a:lnTo>
                      <a:pt x="64" y="148"/>
                    </a:lnTo>
                    <a:lnTo>
                      <a:pt x="59" y="149"/>
                    </a:lnTo>
                    <a:lnTo>
                      <a:pt x="56" y="151"/>
                    </a:lnTo>
                    <a:lnTo>
                      <a:pt x="55" y="149"/>
                    </a:lnTo>
                    <a:lnTo>
                      <a:pt x="55" y="149"/>
                    </a:lnTo>
                    <a:lnTo>
                      <a:pt x="52" y="142"/>
                    </a:lnTo>
                    <a:lnTo>
                      <a:pt x="49" y="133"/>
                    </a:lnTo>
                    <a:lnTo>
                      <a:pt x="49" y="133"/>
                    </a:lnTo>
                    <a:lnTo>
                      <a:pt x="43" y="125"/>
                    </a:lnTo>
                    <a:lnTo>
                      <a:pt x="40" y="120"/>
                    </a:lnTo>
                    <a:lnTo>
                      <a:pt x="39" y="119"/>
                    </a:lnTo>
                    <a:lnTo>
                      <a:pt x="39" y="119"/>
                    </a:lnTo>
                    <a:lnTo>
                      <a:pt x="36" y="120"/>
                    </a:lnTo>
                    <a:lnTo>
                      <a:pt x="35" y="120"/>
                    </a:lnTo>
                    <a:lnTo>
                      <a:pt x="33" y="119"/>
                    </a:lnTo>
                    <a:lnTo>
                      <a:pt x="33" y="119"/>
                    </a:lnTo>
                    <a:lnTo>
                      <a:pt x="30" y="113"/>
                    </a:lnTo>
                    <a:lnTo>
                      <a:pt x="29" y="110"/>
                    </a:lnTo>
                    <a:lnTo>
                      <a:pt x="26" y="109"/>
                    </a:lnTo>
                    <a:lnTo>
                      <a:pt x="26" y="109"/>
                    </a:lnTo>
                    <a:lnTo>
                      <a:pt x="23" y="110"/>
                    </a:lnTo>
                    <a:lnTo>
                      <a:pt x="20" y="110"/>
                    </a:lnTo>
                    <a:lnTo>
                      <a:pt x="19" y="110"/>
                    </a:lnTo>
                    <a:lnTo>
                      <a:pt x="19" y="110"/>
                    </a:lnTo>
                    <a:lnTo>
                      <a:pt x="12" y="101"/>
                    </a:lnTo>
                    <a:lnTo>
                      <a:pt x="7" y="96"/>
                    </a:lnTo>
                    <a:lnTo>
                      <a:pt x="6" y="91"/>
                    </a:lnTo>
                    <a:lnTo>
                      <a:pt x="6" y="91"/>
                    </a:lnTo>
                    <a:lnTo>
                      <a:pt x="6" y="87"/>
                    </a:lnTo>
                    <a:lnTo>
                      <a:pt x="6" y="86"/>
                    </a:lnTo>
                    <a:lnTo>
                      <a:pt x="4" y="83"/>
                    </a:lnTo>
                    <a:lnTo>
                      <a:pt x="4" y="83"/>
                    </a:lnTo>
                    <a:lnTo>
                      <a:pt x="3" y="78"/>
                    </a:lnTo>
                    <a:lnTo>
                      <a:pt x="1" y="7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1" y="54"/>
                    </a:lnTo>
                    <a:lnTo>
                      <a:pt x="1" y="54"/>
                    </a:lnTo>
                    <a:lnTo>
                      <a:pt x="1" y="51"/>
                    </a:lnTo>
                    <a:lnTo>
                      <a:pt x="4" y="48"/>
                    </a:lnTo>
                    <a:lnTo>
                      <a:pt x="7" y="45"/>
                    </a:lnTo>
                    <a:lnTo>
                      <a:pt x="10" y="45"/>
                    </a:lnTo>
                    <a:lnTo>
                      <a:pt x="10" y="45"/>
                    </a:lnTo>
                    <a:lnTo>
                      <a:pt x="16" y="49"/>
                    </a:lnTo>
                    <a:lnTo>
                      <a:pt x="17" y="52"/>
                    </a:lnTo>
                    <a:lnTo>
                      <a:pt x="17" y="54"/>
                    </a:lnTo>
                    <a:lnTo>
                      <a:pt x="17" y="54"/>
                    </a:lnTo>
                    <a:lnTo>
                      <a:pt x="16" y="57"/>
                    </a:lnTo>
                    <a:lnTo>
                      <a:pt x="14" y="61"/>
                    </a:lnTo>
                    <a:lnTo>
                      <a:pt x="14" y="61"/>
                    </a:lnTo>
                    <a:lnTo>
                      <a:pt x="16" y="64"/>
                    </a:lnTo>
                    <a:lnTo>
                      <a:pt x="19" y="65"/>
                    </a:lnTo>
                    <a:lnTo>
                      <a:pt x="25" y="70"/>
                    </a:lnTo>
                    <a:lnTo>
                      <a:pt x="25" y="70"/>
                    </a:lnTo>
                    <a:lnTo>
                      <a:pt x="29" y="71"/>
                    </a:lnTo>
                    <a:lnTo>
                      <a:pt x="32" y="72"/>
                    </a:lnTo>
                    <a:lnTo>
                      <a:pt x="33" y="72"/>
                    </a:lnTo>
                    <a:lnTo>
                      <a:pt x="33" y="72"/>
                    </a:lnTo>
                    <a:lnTo>
                      <a:pt x="38" y="68"/>
                    </a:lnTo>
                    <a:lnTo>
                      <a:pt x="40" y="65"/>
                    </a:lnTo>
                    <a:lnTo>
                      <a:pt x="40" y="65"/>
                    </a:lnTo>
                    <a:lnTo>
                      <a:pt x="40" y="64"/>
                    </a:lnTo>
                    <a:lnTo>
                      <a:pt x="39" y="61"/>
                    </a:lnTo>
                    <a:lnTo>
                      <a:pt x="36" y="59"/>
                    </a:lnTo>
                    <a:lnTo>
                      <a:pt x="36" y="57"/>
                    </a:lnTo>
                    <a:lnTo>
                      <a:pt x="36" y="57"/>
                    </a:lnTo>
                    <a:lnTo>
                      <a:pt x="36" y="49"/>
                    </a:lnTo>
                    <a:lnTo>
                      <a:pt x="35" y="44"/>
                    </a:lnTo>
                    <a:lnTo>
                      <a:pt x="33" y="41"/>
                    </a:lnTo>
                    <a:lnTo>
                      <a:pt x="33" y="41"/>
                    </a:lnTo>
                    <a:lnTo>
                      <a:pt x="26" y="39"/>
                    </a:lnTo>
                    <a:lnTo>
                      <a:pt x="23" y="38"/>
                    </a:lnTo>
                    <a:lnTo>
                      <a:pt x="22" y="35"/>
                    </a:lnTo>
                    <a:lnTo>
                      <a:pt x="22" y="35"/>
                    </a:lnTo>
                    <a:lnTo>
                      <a:pt x="20" y="29"/>
                    </a:lnTo>
                    <a:lnTo>
                      <a:pt x="17" y="25"/>
                    </a:lnTo>
                    <a:lnTo>
                      <a:pt x="17" y="25"/>
                    </a:lnTo>
                    <a:lnTo>
                      <a:pt x="17" y="20"/>
                    </a:lnTo>
                    <a:lnTo>
                      <a:pt x="17" y="13"/>
                    </a:lnTo>
                    <a:lnTo>
                      <a:pt x="20" y="6"/>
                    </a:lnTo>
                    <a:lnTo>
                      <a:pt x="22" y="3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6" y="2"/>
                    </a:lnTo>
                    <a:lnTo>
                      <a:pt x="29" y="2"/>
                    </a:lnTo>
                    <a:lnTo>
                      <a:pt x="30" y="3"/>
                    </a:lnTo>
                    <a:lnTo>
                      <a:pt x="33" y="3"/>
                    </a:lnTo>
                    <a:lnTo>
                      <a:pt x="33" y="3"/>
                    </a:lnTo>
                    <a:lnTo>
                      <a:pt x="42" y="0"/>
                    </a:lnTo>
                    <a:lnTo>
                      <a:pt x="45" y="0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46" y="2"/>
                    </a:lnTo>
                    <a:lnTo>
                      <a:pt x="43" y="4"/>
                    </a:lnTo>
                    <a:lnTo>
                      <a:pt x="42" y="6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51" y="13"/>
                    </a:lnTo>
                    <a:lnTo>
                      <a:pt x="54" y="15"/>
                    </a:lnTo>
                    <a:lnTo>
                      <a:pt x="56" y="15"/>
                    </a:lnTo>
                    <a:lnTo>
                      <a:pt x="56" y="15"/>
                    </a:lnTo>
                    <a:lnTo>
                      <a:pt x="65" y="12"/>
                    </a:lnTo>
                    <a:lnTo>
                      <a:pt x="71" y="9"/>
                    </a:lnTo>
                    <a:lnTo>
                      <a:pt x="71" y="9"/>
                    </a:lnTo>
                    <a:lnTo>
                      <a:pt x="74" y="4"/>
                    </a:lnTo>
                    <a:lnTo>
                      <a:pt x="77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84" y="12"/>
                    </a:lnTo>
                    <a:lnTo>
                      <a:pt x="87" y="16"/>
                    </a:lnTo>
                    <a:lnTo>
                      <a:pt x="87" y="17"/>
                    </a:lnTo>
                    <a:lnTo>
                      <a:pt x="87" y="17"/>
                    </a:lnTo>
                    <a:lnTo>
                      <a:pt x="82" y="19"/>
                    </a:lnTo>
                    <a:lnTo>
                      <a:pt x="81" y="19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1" y="23"/>
                    </a:lnTo>
                    <a:lnTo>
                      <a:pt x="82" y="26"/>
                    </a:lnTo>
                    <a:lnTo>
                      <a:pt x="87" y="32"/>
                    </a:lnTo>
                    <a:lnTo>
                      <a:pt x="87" y="32"/>
                    </a:lnTo>
                    <a:lnTo>
                      <a:pt x="87" y="35"/>
                    </a:lnTo>
                    <a:lnTo>
                      <a:pt x="87" y="36"/>
                    </a:lnTo>
                    <a:lnTo>
                      <a:pt x="85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78" y="36"/>
                    </a:lnTo>
                    <a:lnTo>
                      <a:pt x="77" y="36"/>
                    </a:lnTo>
                    <a:lnTo>
                      <a:pt x="75" y="38"/>
                    </a:lnTo>
                    <a:lnTo>
                      <a:pt x="75" y="38"/>
                    </a:lnTo>
                    <a:lnTo>
                      <a:pt x="74" y="46"/>
                    </a:lnTo>
                    <a:lnTo>
                      <a:pt x="74" y="49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69" y="54"/>
                    </a:lnTo>
                    <a:lnTo>
                      <a:pt x="69" y="55"/>
                    </a:lnTo>
                    <a:lnTo>
                      <a:pt x="71" y="57"/>
                    </a:lnTo>
                    <a:lnTo>
                      <a:pt x="71" y="57"/>
                    </a:lnTo>
                    <a:lnTo>
                      <a:pt x="77" y="65"/>
                    </a:lnTo>
                    <a:lnTo>
                      <a:pt x="80" y="68"/>
                    </a:lnTo>
                    <a:lnTo>
                      <a:pt x="81" y="70"/>
                    </a:lnTo>
                    <a:lnTo>
                      <a:pt x="81" y="68"/>
                    </a:lnTo>
                    <a:lnTo>
                      <a:pt x="81" y="68"/>
                    </a:lnTo>
                    <a:lnTo>
                      <a:pt x="81" y="64"/>
                    </a:lnTo>
                    <a:lnTo>
                      <a:pt x="81" y="59"/>
                    </a:lnTo>
                    <a:lnTo>
                      <a:pt x="81" y="57"/>
                    </a:lnTo>
                    <a:lnTo>
                      <a:pt x="82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7" y="59"/>
                    </a:lnTo>
                    <a:lnTo>
                      <a:pt x="87" y="64"/>
                    </a:lnTo>
                    <a:lnTo>
                      <a:pt x="88" y="67"/>
                    </a:lnTo>
                    <a:lnTo>
                      <a:pt x="90" y="70"/>
                    </a:lnTo>
                    <a:lnTo>
                      <a:pt x="90" y="70"/>
                    </a:lnTo>
                    <a:lnTo>
                      <a:pt x="94" y="71"/>
                    </a:lnTo>
                    <a:lnTo>
                      <a:pt x="97" y="72"/>
                    </a:lnTo>
                    <a:lnTo>
                      <a:pt x="100" y="75"/>
                    </a:lnTo>
                    <a:lnTo>
                      <a:pt x="100" y="75"/>
                    </a:lnTo>
                    <a:lnTo>
                      <a:pt x="103" y="80"/>
                    </a:lnTo>
                    <a:lnTo>
                      <a:pt x="106" y="86"/>
                    </a:lnTo>
                    <a:lnTo>
                      <a:pt x="106" y="90"/>
                    </a:lnTo>
                    <a:lnTo>
                      <a:pt x="106" y="94"/>
                    </a:lnTo>
                    <a:lnTo>
                      <a:pt x="106" y="94"/>
                    </a:lnTo>
                    <a:lnTo>
                      <a:pt x="100" y="99"/>
                    </a:lnTo>
                    <a:lnTo>
                      <a:pt x="98" y="100"/>
                    </a:lnTo>
                    <a:lnTo>
                      <a:pt x="97" y="104"/>
                    </a:lnTo>
                    <a:lnTo>
                      <a:pt x="97" y="104"/>
                    </a:lnTo>
                    <a:lnTo>
                      <a:pt x="98" y="107"/>
                    </a:lnTo>
                    <a:lnTo>
                      <a:pt x="101" y="112"/>
                    </a:lnTo>
                    <a:lnTo>
                      <a:pt x="103" y="114"/>
                    </a:lnTo>
                    <a:lnTo>
                      <a:pt x="103" y="117"/>
                    </a:lnTo>
                    <a:lnTo>
                      <a:pt x="103" y="117"/>
                    </a:lnTo>
                    <a:lnTo>
                      <a:pt x="101" y="122"/>
                    </a:lnTo>
                    <a:lnTo>
                      <a:pt x="98" y="125"/>
                    </a:lnTo>
                    <a:lnTo>
                      <a:pt x="97" y="12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25" name="Freeform 979"/>
              <p:cNvSpPr>
                <a:spLocks/>
              </p:cNvSpPr>
              <p:nvPr/>
            </p:nvSpPr>
            <p:spPr bwMode="auto">
              <a:xfrm>
                <a:off x="2764622" y="1539439"/>
                <a:ext cx="104862" cy="149378"/>
              </a:xfrm>
              <a:custGeom>
                <a:avLst/>
                <a:gdLst>
                  <a:gd name="T0" fmla="*/ 91 w 106"/>
                  <a:gd name="T1" fmla="*/ 126 h 151"/>
                  <a:gd name="T2" fmla="*/ 88 w 106"/>
                  <a:gd name="T3" fmla="*/ 128 h 151"/>
                  <a:gd name="T4" fmla="*/ 82 w 106"/>
                  <a:gd name="T5" fmla="*/ 133 h 151"/>
                  <a:gd name="T6" fmla="*/ 74 w 106"/>
                  <a:gd name="T7" fmla="*/ 138 h 151"/>
                  <a:gd name="T8" fmla="*/ 68 w 106"/>
                  <a:gd name="T9" fmla="*/ 145 h 151"/>
                  <a:gd name="T10" fmla="*/ 59 w 106"/>
                  <a:gd name="T11" fmla="*/ 149 h 151"/>
                  <a:gd name="T12" fmla="*/ 55 w 106"/>
                  <a:gd name="T13" fmla="*/ 149 h 151"/>
                  <a:gd name="T14" fmla="*/ 49 w 106"/>
                  <a:gd name="T15" fmla="*/ 133 h 151"/>
                  <a:gd name="T16" fmla="*/ 39 w 106"/>
                  <a:gd name="T17" fmla="*/ 119 h 151"/>
                  <a:gd name="T18" fmla="*/ 35 w 106"/>
                  <a:gd name="T19" fmla="*/ 120 h 151"/>
                  <a:gd name="T20" fmla="*/ 30 w 106"/>
                  <a:gd name="T21" fmla="*/ 113 h 151"/>
                  <a:gd name="T22" fmla="*/ 26 w 106"/>
                  <a:gd name="T23" fmla="*/ 109 h 151"/>
                  <a:gd name="T24" fmla="*/ 19 w 106"/>
                  <a:gd name="T25" fmla="*/ 110 h 151"/>
                  <a:gd name="T26" fmla="*/ 7 w 106"/>
                  <a:gd name="T27" fmla="*/ 96 h 151"/>
                  <a:gd name="T28" fmla="*/ 6 w 106"/>
                  <a:gd name="T29" fmla="*/ 87 h 151"/>
                  <a:gd name="T30" fmla="*/ 4 w 106"/>
                  <a:gd name="T31" fmla="*/ 83 h 151"/>
                  <a:gd name="T32" fmla="*/ 0 w 106"/>
                  <a:gd name="T33" fmla="*/ 62 h 151"/>
                  <a:gd name="T34" fmla="*/ 1 w 106"/>
                  <a:gd name="T35" fmla="*/ 54 h 151"/>
                  <a:gd name="T36" fmla="*/ 4 w 106"/>
                  <a:gd name="T37" fmla="*/ 48 h 151"/>
                  <a:gd name="T38" fmla="*/ 10 w 106"/>
                  <a:gd name="T39" fmla="*/ 45 h 151"/>
                  <a:gd name="T40" fmla="*/ 17 w 106"/>
                  <a:gd name="T41" fmla="*/ 54 h 151"/>
                  <a:gd name="T42" fmla="*/ 14 w 106"/>
                  <a:gd name="T43" fmla="*/ 61 h 151"/>
                  <a:gd name="T44" fmla="*/ 19 w 106"/>
                  <a:gd name="T45" fmla="*/ 65 h 151"/>
                  <a:gd name="T46" fmla="*/ 29 w 106"/>
                  <a:gd name="T47" fmla="*/ 71 h 151"/>
                  <a:gd name="T48" fmla="*/ 33 w 106"/>
                  <a:gd name="T49" fmla="*/ 72 h 151"/>
                  <a:gd name="T50" fmla="*/ 40 w 106"/>
                  <a:gd name="T51" fmla="*/ 65 h 151"/>
                  <a:gd name="T52" fmla="*/ 36 w 106"/>
                  <a:gd name="T53" fmla="*/ 59 h 151"/>
                  <a:gd name="T54" fmla="*/ 36 w 106"/>
                  <a:gd name="T55" fmla="*/ 49 h 151"/>
                  <a:gd name="T56" fmla="*/ 33 w 106"/>
                  <a:gd name="T57" fmla="*/ 41 h 151"/>
                  <a:gd name="T58" fmla="*/ 22 w 106"/>
                  <a:gd name="T59" fmla="*/ 35 h 151"/>
                  <a:gd name="T60" fmla="*/ 17 w 106"/>
                  <a:gd name="T61" fmla="*/ 25 h 151"/>
                  <a:gd name="T62" fmla="*/ 17 w 106"/>
                  <a:gd name="T63" fmla="*/ 13 h 151"/>
                  <a:gd name="T64" fmla="*/ 23 w 106"/>
                  <a:gd name="T65" fmla="*/ 2 h 151"/>
                  <a:gd name="T66" fmla="*/ 29 w 106"/>
                  <a:gd name="T67" fmla="*/ 2 h 151"/>
                  <a:gd name="T68" fmla="*/ 33 w 106"/>
                  <a:gd name="T69" fmla="*/ 3 h 151"/>
                  <a:gd name="T70" fmla="*/ 46 w 106"/>
                  <a:gd name="T71" fmla="*/ 0 h 151"/>
                  <a:gd name="T72" fmla="*/ 43 w 106"/>
                  <a:gd name="T73" fmla="*/ 4 h 151"/>
                  <a:gd name="T74" fmla="*/ 43 w 106"/>
                  <a:gd name="T75" fmla="*/ 7 h 151"/>
                  <a:gd name="T76" fmla="*/ 56 w 106"/>
                  <a:gd name="T77" fmla="*/ 15 h 151"/>
                  <a:gd name="T78" fmla="*/ 71 w 106"/>
                  <a:gd name="T79" fmla="*/ 9 h 151"/>
                  <a:gd name="T80" fmla="*/ 77 w 106"/>
                  <a:gd name="T81" fmla="*/ 4 h 151"/>
                  <a:gd name="T82" fmla="*/ 84 w 106"/>
                  <a:gd name="T83" fmla="*/ 12 h 151"/>
                  <a:gd name="T84" fmla="*/ 87 w 106"/>
                  <a:gd name="T85" fmla="*/ 17 h 151"/>
                  <a:gd name="T86" fmla="*/ 80 w 106"/>
                  <a:gd name="T87" fmla="*/ 22 h 151"/>
                  <a:gd name="T88" fmla="*/ 82 w 106"/>
                  <a:gd name="T89" fmla="*/ 26 h 151"/>
                  <a:gd name="T90" fmla="*/ 87 w 106"/>
                  <a:gd name="T91" fmla="*/ 35 h 151"/>
                  <a:gd name="T92" fmla="*/ 82 w 106"/>
                  <a:gd name="T93" fmla="*/ 38 h 151"/>
                  <a:gd name="T94" fmla="*/ 77 w 106"/>
                  <a:gd name="T95" fmla="*/ 36 h 151"/>
                  <a:gd name="T96" fmla="*/ 74 w 106"/>
                  <a:gd name="T97" fmla="*/ 46 h 151"/>
                  <a:gd name="T98" fmla="*/ 72 w 106"/>
                  <a:gd name="T99" fmla="*/ 52 h 151"/>
                  <a:gd name="T100" fmla="*/ 71 w 106"/>
                  <a:gd name="T101" fmla="*/ 57 h 151"/>
                  <a:gd name="T102" fmla="*/ 80 w 106"/>
                  <a:gd name="T103" fmla="*/ 68 h 151"/>
                  <a:gd name="T104" fmla="*/ 81 w 106"/>
                  <a:gd name="T105" fmla="*/ 68 h 151"/>
                  <a:gd name="T106" fmla="*/ 81 w 106"/>
                  <a:gd name="T107" fmla="*/ 57 h 151"/>
                  <a:gd name="T108" fmla="*/ 84 w 106"/>
                  <a:gd name="T109" fmla="*/ 57 h 151"/>
                  <a:gd name="T110" fmla="*/ 88 w 106"/>
                  <a:gd name="T111" fmla="*/ 67 h 151"/>
                  <a:gd name="T112" fmla="*/ 94 w 106"/>
                  <a:gd name="T113" fmla="*/ 71 h 151"/>
                  <a:gd name="T114" fmla="*/ 100 w 106"/>
                  <a:gd name="T115" fmla="*/ 75 h 151"/>
                  <a:gd name="T116" fmla="*/ 106 w 106"/>
                  <a:gd name="T117" fmla="*/ 90 h 151"/>
                  <a:gd name="T118" fmla="*/ 100 w 106"/>
                  <a:gd name="T119" fmla="*/ 99 h 151"/>
                  <a:gd name="T120" fmla="*/ 97 w 106"/>
                  <a:gd name="T121" fmla="*/ 104 h 151"/>
                  <a:gd name="T122" fmla="*/ 103 w 106"/>
                  <a:gd name="T123" fmla="*/ 114 h 151"/>
                  <a:gd name="T124" fmla="*/ 101 w 106"/>
                  <a:gd name="T125" fmla="*/ 122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6" h="151">
                    <a:moveTo>
                      <a:pt x="97" y="125"/>
                    </a:moveTo>
                    <a:lnTo>
                      <a:pt x="97" y="125"/>
                    </a:lnTo>
                    <a:lnTo>
                      <a:pt x="91" y="126"/>
                    </a:lnTo>
                    <a:lnTo>
                      <a:pt x="90" y="126"/>
                    </a:lnTo>
                    <a:lnTo>
                      <a:pt x="88" y="128"/>
                    </a:lnTo>
                    <a:lnTo>
                      <a:pt x="88" y="128"/>
                    </a:lnTo>
                    <a:lnTo>
                      <a:pt x="85" y="130"/>
                    </a:lnTo>
                    <a:lnTo>
                      <a:pt x="82" y="133"/>
                    </a:lnTo>
                    <a:lnTo>
                      <a:pt x="82" y="133"/>
                    </a:lnTo>
                    <a:lnTo>
                      <a:pt x="80" y="136"/>
                    </a:lnTo>
                    <a:lnTo>
                      <a:pt x="77" y="138"/>
                    </a:lnTo>
                    <a:lnTo>
                      <a:pt x="74" y="138"/>
                    </a:lnTo>
                    <a:lnTo>
                      <a:pt x="72" y="141"/>
                    </a:lnTo>
                    <a:lnTo>
                      <a:pt x="72" y="141"/>
                    </a:lnTo>
                    <a:lnTo>
                      <a:pt x="68" y="145"/>
                    </a:lnTo>
                    <a:lnTo>
                      <a:pt x="64" y="148"/>
                    </a:lnTo>
                    <a:lnTo>
                      <a:pt x="64" y="148"/>
                    </a:lnTo>
                    <a:lnTo>
                      <a:pt x="59" y="149"/>
                    </a:lnTo>
                    <a:lnTo>
                      <a:pt x="56" y="151"/>
                    </a:lnTo>
                    <a:lnTo>
                      <a:pt x="55" y="149"/>
                    </a:lnTo>
                    <a:lnTo>
                      <a:pt x="55" y="149"/>
                    </a:lnTo>
                    <a:lnTo>
                      <a:pt x="52" y="142"/>
                    </a:lnTo>
                    <a:lnTo>
                      <a:pt x="49" y="133"/>
                    </a:lnTo>
                    <a:lnTo>
                      <a:pt x="49" y="133"/>
                    </a:lnTo>
                    <a:lnTo>
                      <a:pt x="43" y="125"/>
                    </a:lnTo>
                    <a:lnTo>
                      <a:pt x="40" y="120"/>
                    </a:lnTo>
                    <a:lnTo>
                      <a:pt x="39" y="119"/>
                    </a:lnTo>
                    <a:lnTo>
                      <a:pt x="39" y="119"/>
                    </a:lnTo>
                    <a:lnTo>
                      <a:pt x="36" y="120"/>
                    </a:lnTo>
                    <a:lnTo>
                      <a:pt x="35" y="120"/>
                    </a:lnTo>
                    <a:lnTo>
                      <a:pt x="33" y="119"/>
                    </a:lnTo>
                    <a:lnTo>
                      <a:pt x="33" y="119"/>
                    </a:lnTo>
                    <a:lnTo>
                      <a:pt x="30" y="113"/>
                    </a:lnTo>
                    <a:lnTo>
                      <a:pt x="29" y="110"/>
                    </a:lnTo>
                    <a:lnTo>
                      <a:pt x="26" y="109"/>
                    </a:lnTo>
                    <a:lnTo>
                      <a:pt x="26" y="109"/>
                    </a:lnTo>
                    <a:lnTo>
                      <a:pt x="23" y="110"/>
                    </a:lnTo>
                    <a:lnTo>
                      <a:pt x="20" y="110"/>
                    </a:lnTo>
                    <a:lnTo>
                      <a:pt x="19" y="110"/>
                    </a:lnTo>
                    <a:lnTo>
                      <a:pt x="19" y="110"/>
                    </a:lnTo>
                    <a:lnTo>
                      <a:pt x="12" y="101"/>
                    </a:lnTo>
                    <a:lnTo>
                      <a:pt x="7" y="96"/>
                    </a:lnTo>
                    <a:lnTo>
                      <a:pt x="6" y="91"/>
                    </a:lnTo>
                    <a:lnTo>
                      <a:pt x="6" y="91"/>
                    </a:lnTo>
                    <a:lnTo>
                      <a:pt x="6" y="87"/>
                    </a:lnTo>
                    <a:lnTo>
                      <a:pt x="6" y="86"/>
                    </a:lnTo>
                    <a:lnTo>
                      <a:pt x="4" y="83"/>
                    </a:lnTo>
                    <a:lnTo>
                      <a:pt x="4" y="83"/>
                    </a:lnTo>
                    <a:lnTo>
                      <a:pt x="3" y="78"/>
                    </a:lnTo>
                    <a:lnTo>
                      <a:pt x="1" y="7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1" y="54"/>
                    </a:lnTo>
                    <a:lnTo>
                      <a:pt x="1" y="54"/>
                    </a:lnTo>
                    <a:lnTo>
                      <a:pt x="1" y="51"/>
                    </a:lnTo>
                    <a:lnTo>
                      <a:pt x="4" y="48"/>
                    </a:lnTo>
                    <a:lnTo>
                      <a:pt x="7" y="45"/>
                    </a:lnTo>
                    <a:lnTo>
                      <a:pt x="10" y="45"/>
                    </a:lnTo>
                    <a:lnTo>
                      <a:pt x="10" y="45"/>
                    </a:lnTo>
                    <a:lnTo>
                      <a:pt x="16" y="49"/>
                    </a:lnTo>
                    <a:lnTo>
                      <a:pt x="17" y="52"/>
                    </a:lnTo>
                    <a:lnTo>
                      <a:pt x="17" y="54"/>
                    </a:lnTo>
                    <a:lnTo>
                      <a:pt x="17" y="54"/>
                    </a:lnTo>
                    <a:lnTo>
                      <a:pt x="16" y="57"/>
                    </a:lnTo>
                    <a:lnTo>
                      <a:pt x="14" y="61"/>
                    </a:lnTo>
                    <a:lnTo>
                      <a:pt x="14" y="61"/>
                    </a:lnTo>
                    <a:lnTo>
                      <a:pt x="16" y="64"/>
                    </a:lnTo>
                    <a:lnTo>
                      <a:pt x="19" y="65"/>
                    </a:lnTo>
                    <a:lnTo>
                      <a:pt x="25" y="70"/>
                    </a:lnTo>
                    <a:lnTo>
                      <a:pt x="25" y="70"/>
                    </a:lnTo>
                    <a:lnTo>
                      <a:pt x="29" y="71"/>
                    </a:lnTo>
                    <a:lnTo>
                      <a:pt x="32" y="72"/>
                    </a:lnTo>
                    <a:lnTo>
                      <a:pt x="33" y="72"/>
                    </a:lnTo>
                    <a:lnTo>
                      <a:pt x="33" y="72"/>
                    </a:lnTo>
                    <a:lnTo>
                      <a:pt x="38" y="68"/>
                    </a:lnTo>
                    <a:lnTo>
                      <a:pt x="40" y="65"/>
                    </a:lnTo>
                    <a:lnTo>
                      <a:pt x="40" y="65"/>
                    </a:lnTo>
                    <a:lnTo>
                      <a:pt x="40" y="64"/>
                    </a:lnTo>
                    <a:lnTo>
                      <a:pt x="39" y="61"/>
                    </a:lnTo>
                    <a:lnTo>
                      <a:pt x="36" y="59"/>
                    </a:lnTo>
                    <a:lnTo>
                      <a:pt x="36" y="57"/>
                    </a:lnTo>
                    <a:lnTo>
                      <a:pt x="36" y="57"/>
                    </a:lnTo>
                    <a:lnTo>
                      <a:pt x="36" y="49"/>
                    </a:lnTo>
                    <a:lnTo>
                      <a:pt x="35" y="44"/>
                    </a:lnTo>
                    <a:lnTo>
                      <a:pt x="33" y="41"/>
                    </a:lnTo>
                    <a:lnTo>
                      <a:pt x="33" y="41"/>
                    </a:lnTo>
                    <a:lnTo>
                      <a:pt x="26" y="39"/>
                    </a:lnTo>
                    <a:lnTo>
                      <a:pt x="23" y="38"/>
                    </a:lnTo>
                    <a:lnTo>
                      <a:pt x="22" y="35"/>
                    </a:lnTo>
                    <a:lnTo>
                      <a:pt x="22" y="35"/>
                    </a:lnTo>
                    <a:lnTo>
                      <a:pt x="20" y="29"/>
                    </a:lnTo>
                    <a:lnTo>
                      <a:pt x="17" y="25"/>
                    </a:lnTo>
                    <a:lnTo>
                      <a:pt x="17" y="25"/>
                    </a:lnTo>
                    <a:lnTo>
                      <a:pt x="17" y="20"/>
                    </a:lnTo>
                    <a:lnTo>
                      <a:pt x="17" y="13"/>
                    </a:lnTo>
                    <a:lnTo>
                      <a:pt x="20" y="6"/>
                    </a:lnTo>
                    <a:lnTo>
                      <a:pt x="22" y="3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6" y="2"/>
                    </a:lnTo>
                    <a:lnTo>
                      <a:pt x="29" y="2"/>
                    </a:lnTo>
                    <a:lnTo>
                      <a:pt x="30" y="3"/>
                    </a:lnTo>
                    <a:lnTo>
                      <a:pt x="33" y="3"/>
                    </a:lnTo>
                    <a:lnTo>
                      <a:pt x="33" y="3"/>
                    </a:lnTo>
                    <a:lnTo>
                      <a:pt x="42" y="0"/>
                    </a:lnTo>
                    <a:lnTo>
                      <a:pt x="45" y="0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46" y="2"/>
                    </a:lnTo>
                    <a:lnTo>
                      <a:pt x="43" y="4"/>
                    </a:lnTo>
                    <a:lnTo>
                      <a:pt x="42" y="6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51" y="13"/>
                    </a:lnTo>
                    <a:lnTo>
                      <a:pt x="54" y="15"/>
                    </a:lnTo>
                    <a:lnTo>
                      <a:pt x="56" y="15"/>
                    </a:lnTo>
                    <a:lnTo>
                      <a:pt x="56" y="15"/>
                    </a:lnTo>
                    <a:lnTo>
                      <a:pt x="65" y="12"/>
                    </a:lnTo>
                    <a:lnTo>
                      <a:pt x="71" y="9"/>
                    </a:lnTo>
                    <a:lnTo>
                      <a:pt x="71" y="9"/>
                    </a:lnTo>
                    <a:lnTo>
                      <a:pt x="74" y="4"/>
                    </a:lnTo>
                    <a:lnTo>
                      <a:pt x="77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84" y="12"/>
                    </a:lnTo>
                    <a:lnTo>
                      <a:pt x="87" y="16"/>
                    </a:lnTo>
                    <a:lnTo>
                      <a:pt x="87" y="17"/>
                    </a:lnTo>
                    <a:lnTo>
                      <a:pt x="87" y="17"/>
                    </a:lnTo>
                    <a:lnTo>
                      <a:pt x="82" y="19"/>
                    </a:lnTo>
                    <a:lnTo>
                      <a:pt x="81" y="19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1" y="23"/>
                    </a:lnTo>
                    <a:lnTo>
                      <a:pt x="82" y="26"/>
                    </a:lnTo>
                    <a:lnTo>
                      <a:pt x="87" y="32"/>
                    </a:lnTo>
                    <a:lnTo>
                      <a:pt x="87" y="32"/>
                    </a:lnTo>
                    <a:lnTo>
                      <a:pt x="87" y="35"/>
                    </a:lnTo>
                    <a:lnTo>
                      <a:pt x="87" y="36"/>
                    </a:lnTo>
                    <a:lnTo>
                      <a:pt x="85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78" y="36"/>
                    </a:lnTo>
                    <a:lnTo>
                      <a:pt x="77" y="36"/>
                    </a:lnTo>
                    <a:lnTo>
                      <a:pt x="75" y="38"/>
                    </a:lnTo>
                    <a:lnTo>
                      <a:pt x="75" y="38"/>
                    </a:lnTo>
                    <a:lnTo>
                      <a:pt x="74" y="46"/>
                    </a:lnTo>
                    <a:lnTo>
                      <a:pt x="74" y="49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69" y="54"/>
                    </a:lnTo>
                    <a:lnTo>
                      <a:pt x="69" y="55"/>
                    </a:lnTo>
                    <a:lnTo>
                      <a:pt x="71" y="57"/>
                    </a:lnTo>
                    <a:lnTo>
                      <a:pt x="71" y="57"/>
                    </a:lnTo>
                    <a:lnTo>
                      <a:pt x="77" y="65"/>
                    </a:lnTo>
                    <a:lnTo>
                      <a:pt x="80" y="68"/>
                    </a:lnTo>
                    <a:lnTo>
                      <a:pt x="81" y="70"/>
                    </a:lnTo>
                    <a:lnTo>
                      <a:pt x="81" y="68"/>
                    </a:lnTo>
                    <a:lnTo>
                      <a:pt x="81" y="68"/>
                    </a:lnTo>
                    <a:lnTo>
                      <a:pt x="81" y="64"/>
                    </a:lnTo>
                    <a:lnTo>
                      <a:pt x="81" y="59"/>
                    </a:lnTo>
                    <a:lnTo>
                      <a:pt x="81" y="57"/>
                    </a:lnTo>
                    <a:lnTo>
                      <a:pt x="82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7" y="59"/>
                    </a:lnTo>
                    <a:lnTo>
                      <a:pt x="87" y="64"/>
                    </a:lnTo>
                    <a:lnTo>
                      <a:pt x="88" y="67"/>
                    </a:lnTo>
                    <a:lnTo>
                      <a:pt x="90" y="70"/>
                    </a:lnTo>
                    <a:lnTo>
                      <a:pt x="90" y="70"/>
                    </a:lnTo>
                    <a:lnTo>
                      <a:pt x="94" y="71"/>
                    </a:lnTo>
                    <a:lnTo>
                      <a:pt x="97" y="72"/>
                    </a:lnTo>
                    <a:lnTo>
                      <a:pt x="100" y="75"/>
                    </a:lnTo>
                    <a:lnTo>
                      <a:pt x="100" y="75"/>
                    </a:lnTo>
                    <a:lnTo>
                      <a:pt x="103" y="80"/>
                    </a:lnTo>
                    <a:lnTo>
                      <a:pt x="106" y="86"/>
                    </a:lnTo>
                    <a:lnTo>
                      <a:pt x="106" y="90"/>
                    </a:lnTo>
                    <a:lnTo>
                      <a:pt x="106" y="94"/>
                    </a:lnTo>
                    <a:lnTo>
                      <a:pt x="106" y="94"/>
                    </a:lnTo>
                    <a:lnTo>
                      <a:pt x="100" y="99"/>
                    </a:lnTo>
                    <a:lnTo>
                      <a:pt x="98" y="100"/>
                    </a:lnTo>
                    <a:lnTo>
                      <a:pt x="97" y="104"/>
                    </a:lnTo>
                    <a:lnTo>
                      <a:pt x="97" y="104"/>
                    </a:lnTo>
                    <a:lnTo>
                      <a:pt x="98" y="107"/>
                    </a:lnTo>
                    <a:lnTo>
                      <a:pt x="101" y="112"/>
                    </a:lnTo>
                    <a:lnTo>
                      <a:pt x="103" y="114"/>
                    </a:lnTo>
                    <a:lnTo>
                      <a:pt x="103" y="117"/>
                    </a:lnTo>
                    <a:lnTo>
                      <a:pt x="103" y="117"/>
                    </a:lnTo>
                    <a:lnTo>
                      <a:pt x="101" y="122"/>
                    </a:lnTo>
                    <a:lnTo>
                      <a:pt x="98" y="125"/>
                    </a:lnTo>
                    <a:lnTo>
                      <a:pt x="97" y="12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76" name="Freeform 1031"/>
              <p:cNvSpPr>
                <a:spLocks/>
              </p:cNvSpPr>
              <p:nvPr/>
            </p:nvSpPr>
            <p:spPr bwMode="auto">
              <a:xfrm>
                <a:off x="3277059" y="4297495"/>
                <a:ext cx="36603" cy="65291"/>
              </a:xfrm>
              <a:custGeom>
                <a:avLst/>
                <a:gdLst>
                  <a:gd name="T0" fmla="*/ 32 w 37"/>
                  <a:gd name="T1" fmla="*/ 2 h 66"/>
                  <a:gd name="T2" fmla="*/ 29 w 37"/>
                  <a:gd name="T3" fmla="*/ 8 h 66"/>
                  <a:gd name="T4" fmla="*/ 28 w 37"/>
                  <a:gd name="T5" fmla="*/ 8 h 66"/>
                  <a:gd name="T6" fmla="*/ 25 w 37"/>
                  <a:gd name="T7" fmla="*/ 3 h 66"/>
                  <a:gd name="T8" fmla="*/ 24 w 37"/>
                  <a:gd name="T9" fmla="*/ 2 h 66"/>
                  <a:gd name="T10" fmla="*/ 21 w 37"/>
                  <a:gd name="T11" fmla="*/ 6 h 66"/>
                  <a:gd name="T12" fmla="*/ 16 w 37"/>
                  <a:gd name="T13" fmla="*/ 9 h 66"/>
                  <a:gd name="T14" fmla="*/ 15 w 37"/>
                  <a:gd name="T15" fmla="*/ 10 h 66"/>
                  <a:gd name="T16" fmla="*/ 15 w 37"/>
                  <a:gd name="T17" fmla="*/ 15 h 66"/>
                  <a:gd name="T18" fmla="*/ 19 w 37"/>
                  <a:gd name="T19" fmla="*/ 16 h 66"/>
                  <a:gd name="T20" fmla="*/ 24 w 37"/>
                  <a:gd name="T21" fmla="*/ 19 h 66"/>
                  <a:gd name="T22" fmla="*/ 28 w 37"/>
                  <a:gd name="T23" fmla="*/ 25 h 66"/>
                  <a:gd name="T24" fmla="*/ 27 w 37"/>
                  <a:gd name="T25" fmla="*/ 26 h 66"/>
                  <a:gd name="T26" fmla="*/ 15 w 37"/>
                  <a:gd name="T27" fmla="*/ 35 h 66"/>
                  <a:gd name="T28" fmla="*/ 13 w 37"/>
                  <a:gd name="T29" fmla="*/ 35 h 66"/>
                  <a:gd name="T30" fmla="*/ 13 w 37"/>
                  <a:gd name="T31" fmla="*/ 39 h 66"/>
                  <a:gd name="T32" fmla="*/ 16 w 37"/>
                  <a:gd name="T33" fmla="*/ 42 h 66"/>
                  <a:gd name="T34" fmla="*/ 28 w 37"/>
                  <a:gd name="T35" fmla="*/ 51 h 66"/>
                  <a:gd name="T36" fmla="*/ 27 w 37"/>
                  <a:gd name="T37" fmla="*/ 52 h 66"/>
                  <a:gd name="T38" fmla="*/ 16 w 37"/>
                  <a:gd name="T39" fmla="*/ 50 h 66"/>
                  <a:gd name="T40" fmla="*/ 15 w 37"/>
                  <a:gd name="T41" fmla="*/ 51 h 66"/>
                  <a:gd name="T42" fmla="*/ 13 w 37"/>
                  <a:gd name="T43" fmla="*/ 54 h 66"/>
                  <a:gd name="T44" fmla="*/ 12 w 37"/>
                  <a:gd name="T45" fmla="*/ 54 h 66"/>
                  <a:gd name="T46" fmla="*/ 3 w 37"/>
                  <a:gd name="T47" fmla="*/ 51 h 66"/>
                  <a:gd name="T48" fmla="*/ 2 w 37"/>
                  <a:gd name="T49" fmla="*/ 52 h 66"/>
                  <a:gd name="T50" fmla="*/ 0 w 37"/>
                  <a:gd name="T51" fmla="*/ 58 h 66"/>
                  <a:gd name="T52" fmla="*/ 2 w 37"/>
                  <a:gd name="T53" fmla="*/ 63 h 66"/>
                  <a:gd name="T54" fmla="*/ 5 w 37"/>
                  <a:gd name="T55" fmla="*/ 63 h 66"/>
                  <a:gd name="T56" fmla="*/ 13 w 37"/>
                  <a:gd name="T57" fmla="*/ 63 h 66"/>
                  <a:gd name="T58" fmla="*/ 16 w 37"/>
                  <a:gd name="T59" fmla="*/ 64 h 66"/>
                  <a:gd name="T60" fmla="*/ 25 w 37"/>
                  <a:gd name="T61" fmla="*/ 66 h 66"/>
                  <a:gd name="T62" fmla="*/ 34 w 37"/>
                  <a:gd name="T63" fmla="*/ 66 h 66"/>
                  <a:gd name="T64" fmla="*/ 37 w 37"/>
                  <a:gd name="T65" fmla="*/ 0 h 66"/>
                  <a:gd name="T66" fmla="*/ 34 w 37"/>
                  <a:gd name="T6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7" h="66">
                    <a:moveTo>
                      <a:pt x="32" y="2"/>
                    </a:moveTo>
                    <a:lnTo>
                      <a:pt x="32" y="2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7" y="5"/>
                    </a:lnTo>
                    <a:lnTo>
                      <a:pt x="25" y="3"/>
                    </a:lnTo>
                    <a:lnTo>
                      <a:pt x="25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1" y="6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5" y="9"/>
                    </a:lnTo>
                    <a:lnTo>
                      <a:pt x="15" y="10"/>
                    </a:lnTo>
                    <a:lnTo>
                      <a:pt x="15" y="12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9" y="16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8" y="22"/>
                    </a:lnTo>
                    <a:lnTo>
                      <a:pt x="28" y="25"/>
                    </a:lnTo>
                    <a:lnTo>
                      <a:pt x="27" y="26"/>
                    </a:lnTo>
                    <a:lnTo>
                      <a:pt x="27" y="26"/>
                    </a:lnTo>
                    <a:lnTo>
                      <a:pt x="21" y="32"/>
                    </a:lnTo>
                    <a:lnTo>
                      <a:pt x="15" y="35"/>
                    </a:lnTo>
                    <a:lnTo>
                      <a:pt x="15" y="35"/>
                    </a:lnTo>
                    <a:lnTo>
                      <a:pt x="13" y="35"/>
                    </a:lnTo>
                    <a:lnTo>
                      <a:pt x="13" y="38"/>
                    </a:lnTo>
                    <a:lnTo>
                      <a:pt x="13" y="39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5" y="50"/>
                    </a:lnTo>
                    <a:lnTo>
                      <a:pt x="28" y="51"/>
                    </a:lnTo>
                    <a:lnTo>
                      <a:pt x="27" y="52"/>
                    </a:lnTo>
                    <a:lnTo>
                      <a:pt x="27" y="52"/>
                    </a:lnTo>
                    <a:lnTo>
                      <a:pt x="21" y="51"/>
                    </a:lnTo>
                    <a:lnTo>
                      <a:pt x="16" y="50"/>
                    </a:lnTo>
                    <a:lnTo>
                      <a:pt x="15" y="51"/>
                    </a:lnTo>
                    <a:lnTo>
                      <a:pt x="15" y="51"/>
                    </a:lnTo>
                    <a:lnTo>
                      <a:pt x="13" y="54"/>
                    </a:lnTo>
                    <a:lnTo>
                      <a:pt x="13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6" y="52"/>
                    </a:lnTo>
                    <a:lnTo>
                      <a:pt x="3" y="51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0" y="54"/>
                    </a:lnTo>
                    <a:lnTo>
                      <a:pt x="0" y="58"/>
                    </a:lnTo>
                    <a:lnTo>
                      <a:pt x="0" y="61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5" y="63"/>
                    </a:lnTo>
                    <a:lnTo>
                      <a:pt x="9" y="63"/>
                    </a:lnTo>
                    <a:lnTo>
                      <a:pt x="13" y="63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21" y="66"/>
                    </a:lnTo>
                    <a:lnTo>
                      <a:pt x="25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37" y="66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4" y="0"/>
                    </a:lnTo>
                    <a:lnTo>
                      <a:pt x="32" y="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77" name="Freeform 1032"/>
              <p:cNvSpPr>
                <a:spLocks/>
              </p:cNvSpPr>
              <p:nvPr/>
            </p:nvSpPr>
            <p:spPr bwMode="auto">
              <a:xfrm>
                <a:off x="3277059" y="4297495"/>
                <a:ext cx="36603" cy="65291"/>
              </a:xfrm>
              <a:custGeom>
                <a:avLst/>
                <a:gdLst>
                  <a:gd name="T0" fmla="*/ 32 w 37"/>
                  <a:gd name="T1" fmla="*/ 2 h 66"/>
                  <a:gd name="T2" fmla="*/ 29 w 37"/>
                  <a:gd name="T3" fmla="*/ 8 h 66"/>
                  <a:gd name="T4" fmla="*/ 28 w 37"/>
                  <a:gd name="T5" fmla="*/ 8 h 66"/>
                  <a:gd name="T6" fmla="*/ 25 w 37"/>
                  <a:gd name="T7" fmla="*/ 3 h 66"/>
                  <a:gd name="T8" fmla="*/ 24 w 37"/>
                  <a:gd name="T9" fmla="*/ 2 h 66"/>
                  <a:gd name="T10" fmla="*/ 21 w 37"/>
                  <a:gd name="T11" fmla="*/ 6 h 66"/>
                  <a:gd name="T12" fmla="*/ 16 w 37"/>
                  <a:gd name="T13" fmla="*/ 9 h 66"/>
                  <a:gd name="T14" fmla="*/ 15 w 37"/>
                  <a:gd name="T15" fmla="*/ 10 h 66"/>
                  <a:gd name="T16" fmla="*/ 15 w 37"/>
                  <a:gd name="T17" fmla="*/ 15 h 66"/>
                  <a:gd name="T18" fmla="*/ 19 w 37"/>
                  <a:gd name="T19" fmla="*/ 16 h 66"/>
                  <a:gd name="T20" fmla="*/ 24 w 37"/>
                  <a:gd name="T21" fmla="*/ 19 h 66"/>
                  <a:gd name="T22" fmla="*/ 28 w 37"/>
                  <a:gd name="T23" fmla="*/ 25 h 66"/>
                  <a:gd name="T24" fmla="*/ 27 w 37"/>
                  <a:gd name="T25" fmla="*/ 26 h 66"/>
                  <a:gd name="T26" fmla="*/ 15 w 37"/>
                  <a:gd name="T27" fmla="*/ 35 h 66"/>
                  <a:gd name="T28" fmla="*/ 13 w 37"/>
                  <a:gd name="T29" fmla="*/ 35 h 66"/>
                  <a:gd name="T30" fmla="*/ 13 w 37"/>
                  <a:gd name="T31" fmla="*/ 39 h 66"/>
                  <a:gd name="T32" fmla="*/ 16 w 37"/>
                  <a:gd name="T33" fmla="*/ 42 h 66"/>
                  <a:gd name="T34" fmla="*/ 28 w 37"/>
                  <a:gd name="T35" fmla="*/ 51 h 66"/>
                  <a:gd name="T36" fmla="*/ 27 w 37"/>
                  <a:gd name="T37" fmla="*/ 52 h 66"/>
                  <a:gd name="T38" fmla="*/ 16 w 37"/>
                  <a:gd name="T39" fmla="*/ 50 h 66"/>
                  <a:gd name="T40" fmla="*/ 15 w 37"/>
                  <a:gd name="T41" fmla="*/ 51 h 66"/>
                  <a:gd name="T42" fmla="*/ 13 w 37"/>
                  <a:gd name="T43" fmla="*/ 54 h 66"/>
                  <a:gd name="T44" fmla="*/ 12 w 37"/>
                  <a:gd name="T45" fmla="*/ 54 h 66"/>
                  <a:gd name="T46" fmla="*/ 3 w 37"/>
                  <a:gd name="T47" fmla="*/ 51 h 66"/>
                  <a:gd name="T48" fmla="*/ 2 w 37"/>
                  <a:gd name="T49" fmla="*/ 52 h 66"/>
                  <a:gd name="T50" fmla="*/ 0 w 37"/>
                  <a:gd name="T51" fmla="*/ 58 h 66"/>
                  <a:gd name="T52" fmla="*/ 2 w 37"/>
                  <a:gd name="T53" fmla="*/ 63 h 66"/>
                  <a:gd name="T54" fmla="*/ 5 w 37"/>
                  <a:gd name="T55" fmla="*/ 63 h 66"/>
                  <a:gd name="T56" fmla="*/ 13 w 37"/>
                  <a:gd name="T57" fmla="*/ 63 h 66"/>
                  <a:gd name="T58" fmla="*/ 16 w 37"/>
                  <a:gd name="T59" fmla="*/ 64 h 66"/>
                  <a:gd name="T60" fmla="*/ 25 w 37"/>
                  <a:gd name="T61" fmla="*/ 66 h 66"/>
                  <a:gd name="T62" fmla="*/ 34 w 37"/>
                  <a:gd name="T63" fmla="*/ 66 h 66"/>
                  <a:gd name="T64" fmla="*/ 37 w 37"/>
                  <a:gd name="T65" fmla="*/ 0 h 66"/>
                  <a:gd name="T66" fmla="*/ 34 w 37"/>
                  <a:gd name="T6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7" h="66">
                    <a:moveTo>
                      <a:pt x="32" y="2"/>
                    </a:moveTo>
                    <a:lnTo>
                      <a:pt x="32" y="2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7" y="5"/>
                    </a:lnTo>
                    <a:lnTo>
                      <a:pt x="25" y="3"/>
                    </a:lnTo>
                    <a:lnTo>
                      <a:pt x="25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1" y="6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5" y="9"/>
                    </a:lnTo>
                    <a:lnTo>
                      <a:pt x="15" y="10"/>
                    </a:lnTo>
                    <a:lnTo>
                      <a:pt x="15" y="12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9" y="16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8" y="22"/>
                    </a:lnTo>
                    <a:lnTo>
                      <a:pt x="28" y="25"/>
                    </a:lnTo>
                    <a:lnTo>
                      <a:pt x="27" y="26"/>
                    </a:lnTo>
                    <a:lnTo>
                      <a:pt x="27" y="26"/>
                    </a:lnTo>
                    <a:lnTo>
                      <a:pt x="21" y="32"/>
                    </a:lnTo>
                    <a:lnTo>
                      <a:pt x="15" y="35"/>
                    </a:lnTo>
                    <a:lnTo>
                      <a:pt x="15" y="35"/>
                    </a:lnTo>
                    <a:lnTo>
                      <a:pt x="13" y="35"/>
                    </a:lnTo>
                    <a:lnTo>
                      <a:pt x="13" y="38"/>
                    </a:lnTo>
                    <a:lnTo>
                      <a:pt x="13" y="39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5" y="50"/>
                    </a:lnTo>
                    <a:lnTo>
                      <a:pt x="28" y="51"/>
                    </a:lnTo>
                    <a:lnTo>
                      <a:pt x="27" y="52"/>
                    </a:lnTo>
                    <a:lnTo>
                      <a:pt x="27" y="52"/>
                    </a:lnTo>
                    <a:lnTo>
                      <a:pt x="21" y="51"/>
                    </a:lnTo>
                    <a:lnTo>
                      <a:pt x="16" y="50"/>
                    </a:lnTo>
                    <a:lnTo>
                      <a:pt x="15" y="51"/>
                    </a:lnTo>
                    <a:lnTo>
                      <a:pt x="15" y="51"/>
                    </a:lnTo>
                    <a:lnTo>
                      <a:pt x="13" y="54"/>
                    </a:lnTo>
                    <a:lnTo>
                      <a:pt x="13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6" y="52"/>
                    </a:lnTo>
                    <a:lnTo>
                      <a:pt x="3" y="51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0" y="54"/>
                    </a:lnTo>
                    <a:lnTo>
                      <a:pt x="0" y="58"/>
                    </a:lnTo>
                    <a:lnTo>
                      <a:pt x="0" y="61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5" y="63"/>
                    </a:lnTo>
                    <a:lnTo>
                      <a:pt x="9" y="63"/>
                    </a:lnTo>
                    <a:lnTo>
                      <a:pt x="13" y="63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21" y="66"/>
                    </a:lnTo>
                    <a:lnTo>
                      <a:pt x="25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37" y="66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4" y="0"/>
                    </a:lnTo>
                    <a:lnTo>
                      <a:pt x="32" y="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78" name="Freeform 1033"/>
              <p:cNvSpPr>
                <a:spLocks/>
              </p:cNvSpPr>
              <p:nvPr/>
            </p:nvSpPr>
            <p:spPr bwMode="auto">
              <a:xfrm>
                <a:off x="3313662" y="4297495"/>
                <a:ext cx="54409" cy="69248"/>
              </a:xfrm>
              <a:custGeom>
                <a:avLst/>
                <a:gdLst>
                  <a:gd name="T0" fmla="*/ 53 w 55"/>
                  <a:gd name="T1" fmla="*/ 63 h 70"/>
                  <a:gd name="T2" fmla="*/ 53 w 55"/>
                  <a:gd name="T3" fmla="*/ 63 h 70"/>
                  <a:gd name="T4" fmla="*/ 39 w 55"/>
                  <a:gd name="T5" fmla="*/ 55 h 70"/>
                  <a:gd name="T6" fmla="*/ 32 w 55"/>
                  <a:gd name="T7" fmla="*/ 51 h 70"/>
                  <a:gd name="T8" fmla="*/ 27 w 55"/>
                  <a:gd name="T9" fmla="*/ 48 h 70"/>
                  <a:gd name="T10" fmla="*/ 27 w 55"/>
                  <a:gd name="T11" fmla="*/ 48 h 70"/>
                  <a:gd name="T12" fmla="*/ 23 w 55"/>
                  <a:gd name="T13" fmla="*/ 42 h 70"/>
                  <a:gd name="T14" fmla="*/ 18 w 55"/>
                  <a:gd name="T15" fmla="*/ 38 h 70"/>
                  <a:gd name="T16" fmla="*/ 13 w 55"/>
                  <a:gd name="T17" fmla="*/ 32 h 70"/>
                  <a:gd name="T18" fmla="*/ 10 w 55"/>
                  <a:gd name="T19" fmla="*/ 28 h 70"/>
                  <a:gd name="T20" fmla="*/ 10 w 55"/>
                  <a:gd name="T21" fmla="*/ 28 h 70"/>
                  <a:gd name="T22" fmla="*/ 8 w 55"/>
                  <a:gd name="T23" fmla="*/ 25 h 70"/>
                  <a:gd name="T24" fmla="*/ 5 w 55"/>
                  <a:gd name="T25" fmla="*/ 24 h 70"/>
                  <a:gd name="T26" fmla="*/ 4 w 55"/>
                  <a:gd name="T27" fmla="*/ 22 h 70"/>
                  <a:gd name="T28" fmla="*/ 4 w 55"/>
                  <a:gd name="T29" fmla="*/ 19 h 70"/>
                  <a:gd name="T30" fmla="*/ 4 w 55"/>
                  <a:gd name="T31" fmla="*/ 19 h 70"/>
                  <a:gd name="T32" fmla="*/ 5 w 55"/>
                  <a:gd name="T33" fmla="*/ 16 h 70"/>
                  <a:gd name="T34" fmla="*/ 7 w 55"/>
                  <a:gd name="T35" fmla="*/ 15 h 70"/>
                  <a:gd name="T36" fmla="*/ 7 w 55"/>
                  <a:gd name="T37" fmla="*/ 12 h 70"/>
                  <a:gd name="T38" fmla="*/ 5 w 55"/>
                  <a:gd name="T39" fmla="*/ 8 h 70"/>
                  <a:gd name="T40" fmla="*/ 5 w 55"/>
                  <a:gd name="T41" fmla="*/ 8 h 70"/>
                  <a:gd name="T42" fmla="*/ 3 w 55"/>
                  <a:gd name="T43" fmla="*/ 3 h 70"/>
                  <a:gd name="T44" fmla="*/ 0 w 55"/>
                  <a:gd name="T45" fmla="*/ 0 h 70"/>
                  <a:gd name="T46" fmla="*/ 0 w 55"/>
                  <a:gd name="T47" fmla="*/ 66 h 70"/>
                  <a:gd name="T48" fmla="*/ 0 w 55"/>
                  <a:gd name="T49" fmla="*/ 66 h 70"/>
                  <a:gd name="T50" fmla="*/ 13 w 55"/>
                  <a:gd name="T51" fmla="*/ 66 h 70"/>
                  <a:gd name="T52" fmla="*/ 18 w 55"/>
                  <a:gd name="T53" fmla="*/ 66 h 70"/>
                  <a:gd name="T54" fmla="*/ 23 w 55"/>
                  <a:gd name="T55" fmla="*/ 66 h 70"/>
                  <a:gd name="T56" fmla="*/ 23 w 55"/>
                  <a:gd name="T57" fmla="*/ 66 h 70"/>
                  <a:gd name="T58" fmla="*/ 30 w 55"/>
                  <a:gd name="T59" fmla="*/ 68 h 70"/>
                  <a:gd name="T60" fmla="*/ 37 w 55"/>
                  <a:gd name="T61" fmla="*/ 70 h 70"/>
                  <a:gd name="T62" fmla="*/ 37 w 55"/>
                  <a:gd name="T63" fmla="*/ 70 h 70"/>
                  <a:gd name="T64" fmla="*/ 42 w 55"/>
                  <a:gd name="T65" fmla="*/ 67 h 70"/>
                  <a:gd name="T66" fmla="*/ 45 w 55"/>
                  <a:gd name="T67" fmla="*/ 67 h 70"/>
                  <a:gd name="T68" fmla="*/ 47 w 55"/>
                  <a:gd name="T69" fmla="*/ 66 h 70"/>
                  <a:gd name="T70" fmla="*/ 47 w 55"/>
                  <a:gd name="T71" fmla="*/ 66 h 70"/>
                  <a:gd name="T72" fmla="*/ 53 w 55"/>
                  <a:gd name="T73" fmla="*/ 66 h 70"/>
                  <a:gd name="T74" fmla="*/ 55 w 55"/>
                  <a:gd name="T75" fmla="*/ 64 h 70"/>
                  <a:gd name="T76" fmla="*/ 53 w 55"/>
                  <a:gd name="T77" fmla="*/ 63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5" h="70">
                    <a:moveTo>
                      <a:pt x="53" y="63"/>
                    </a:moveTo>
                    <a:lnTo>
                      <a:pt x="53" y="63"/>
                    </a:lnTo>
                    <a:lnTo>
                      <a:pt x="39" y="55"/>
                    </a:lnTo>
                    <a:lnTo>
                      <a:pt x="32" y="51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23" y="42"/>
                    </a:lnTo>
                    <a:lnTo>
                      <a:pt x="18" y="38"/>
                    </a:lnTo>
                    <a:lnTo>
                      <a:pt x="13" y="32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8" y="25"/>
                    </a:lnTo>
                    <a:lnTo>
                      <a:pt x="5" y="24"/>
                    </a:lnTo>
                    <a:lnTo>
                      <a:pt x="4" y="22"/>
                    </a:lnTo>
                    <a:lnTo>
                      <a:pt x="4" y="19"/>
                    </a:lnTo>
                    <a:lnTo>
                      <a:pt x="4" y="19"/>
                    </a:lnTo>
                    <a:lnTo>
                      <a:pt x="5" y="16"/>
                    </a:lnTo>
                    <a:lnTo>
                      <a:pt x="7" y="15"/>
                    </a:lnTo>
                    <a:lnTo>
                      <a:pt x="7" y="12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13" y="66"/>
                    </a:lnTo>
                    <a:lnTo>
                      <a:pt x="18" y="66"/>
                    </a:lnTo>
                    <a:lnTo>
                      <a:pt x="23" y="66"/>
                    </a:lnTo>
                    <a:lnTo>
                      <a:pt x="23" y="66"/>
                    </a:lnTo>
                    <a:lnTo>
                      <a:pt x="30" y="68"/>
                    </a:lnTo>
                    <a:lnTo>
                      <a:pt x="37" y="70"/>
                    </a:lnTo>
                    <a:lnTo>
                      <a:pt x="37" y="70"/>
                    </a:lnTo>
                    <a:lnTo>
                      <a:pt x="42" y="67"/>
                    </a:lnTo>
                    <a:lnTo>
                      <a:pt x="45" y="67"/>
                    </a:lnTo>
                    <a:lnTo>
                      <a:pt x="47" y="66"/>
                    </a:lnTo>
                    <a:lnTo>
                      <a:pt x="47" y="66"/>
                    </a:lnTo>
                    <a:lnTo>
                      <a:pt x="53" y="66"/>
                    </a:lnTo>
                    <a:lnTo>
                      <a:pt x="55" y="64"/>
                    </a:lnTo>
                    <a:lnTo>
                      <a:pt x="53" y="6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79" name="Freeform 1034"/>
              <p:cNvSpPr>
                <a:spLocks/>
              </p:cNvSpPr>
              <p:nvPr/>
            </p:nvSpPr>
            <p:spPr bwMode="auto">
              <a:xfrm>
                <a:off x="3313662" y="4297495"/>
                <a:ext cx="54409" cy="69248"/>
              </a:xfrm>
              <a:custGeom>
                <a:avLst/>
                <a:gdLst>
                  <a:gd name="T0" fmla="*/ 53 w 55"/>
                  <a:gd name="T1" fmla="*/ 63 h 70"/>
                  <a:gd name="T2" fmla="*/ 53 w 55"/>
                  <a:gd name="T3" fmla="*/ 63 h 70"/>
                  <a:gd name="T4" fmla="*/ 39 w 55"/>
                  <a:gd name="T5" fmla="*/ 55 h 70"/>
                  <a:gd name="T6" fmla="*/ 32 w 55"/>
                  <a:gd name="T7" fmla="*/ 51 h 70"/>
                  <a:gd name="T8" fmla="*/ 27 w 55"/>
                  <a:gd name="T9" fmla="*/ 48 h 70"/>
                  <a:gd name="T10" fmla="*/ 27 w 55"/>
                  <a:gd name="T11" fmla="*/ 48 h 70"/>
                  <a:gd name="T12" fmla="*/ 23 w 55"/>
                  <a:gd name="T13" fmla="*/ 42 h 70"/>
                  <a:gd name="T14" fmla="*/ 18 w 55"/>
                  <a:gd name="T15" fmla="*/ 38 h 70"/>
                  <a:gd name="T16" fmla="*/ 13 w 55"/>
                  <a:gd name="T17" fmla="*/ 32 h 70"/>
                  <a:gd name="T18" fmla="*/ 10 w 55"/>
                  <a:gd name="T19" fmla="*/ 28 h 70"/>
                  <a:gd name="T20" fmla="*/ 10 w 55"/>
                  <a:gd name="T21" fmla="*/ 28 h 70"/>
                  <a:gd name="T22" fmla="*/ 8 w 55"/>
                  <a:gd name="T23" fmla="*/ 25 h 70"/>
                  <a:gd name="T24" fmla="*/ 5 w 55"/>
                  <a:gd name="T25" fmla="*/ 24 h 70"/>
                  <a:gd name="T26" fmla="*/ 4 w 55"/>
                  <a:gd name="T27" fmla="*/ 22 h 70"/>
                  <a:gd name="T28" fmla="*/ 4 w 55"/>
                  <a:gd name="T29" fmla="*/ 19 h 70"/>
                  <a:gd name="T30" fmla="*/ 4 w 55"/>
                  <a:gd name="T31" fmla="*/ 19 h 70"/>
                  <a:gd name="T32" fmla="*/ 5 w 55"/>
                  <a:gd name="T33" fmla="*/ 16 h 70"/>
                  <a:gd name="T34" fmla="*/ 7 w 55"/>
                  <a:gd name="T35" fmla="*/ 15 h 70"/>
                  <a:gd name="T36" fmla="*/ 7 w 55"/>
                  <a:gd name="T37" fmla="*/ 12 h 70"/>
                  <a:gd name="T38" fmla="*/ 5 w 55"/>
                  <a:gd name="T39" fmla="*/ 8 h 70"/>
                  <a:gd name="T40" fmla="*/ 5 w 55"/>
                  <a:gd name="T41" fmla="*/ 8 h 70"/>
                  <a:gd name="T42" fmla="*/ 3 w 55"/>
                  <a:gd name="T43" fmla="*/ 3 h 70"/>
                  <a:gd name="T44" fmla="*/ 0 w 55"/>
                  <a:gd name="T45" fmla="*/ 0 h 70"/>
                  <a:gd name="T46" fmla="*/ 0 w 55"/>
                  <a:gd name="T47" fmla="*/ 66 h 70"/>
                  <a:gd name="T48" fmla="*/ 0 w 55"/>
                  <a:gd name="T49" fmla="*/ 66 h 70"/>
                  <a:gd name="T50" fmla="*/ 13 w 55"/>
                  <a:gd name="T51" fmla="*/ 66 h 70"/>
                  <a:gd name="T52" fmla="*/ 18 w 55"/>
                  <a:gd name="T53" fmla="*/ 66 h 70"/>
                  <a:gd name="T54" fmla="*/ 23 w 55"/>
                  <a:gd name="T55" fmla="*/ 66 h 70"/>
                  <a:gd name="T56" fmla="*/ 23 w 55"/>
                  <a:gd name="T57" fmla="*/ 66 h 70"/>
                  <a:gd name="T58" fmla="*/ 30 w 55"/>
                  <a:gd name="T59" fmla="*/ 68 h 70"/>
                  <a:gd name="T60" fmla="*/ 37 w 55"/>
                  <a:gd name="T61" fmla="*/ 70 h 70"/>
                  <a:gd name="T62" fmla="*/ 37 w 55"/>
                  <a:gd name="T63" fmla="*/ 70 h 70"/>
                  <a:gd name="T64" fmla="*/ 42 w 55"/>
                  <a:gd name="T65" fmla="*/ 67 h 70"/>
                  <a:gd name="T66" fmla="*/ 45 w 55"/>
                  <a:gd name="T67" fmla="*/ 67 h 70"/>
                  <a:gd name="T68" fmla="*/ 47 w 55"/>
                  <a:gd name="T69" fmla="*/ 66 h 70"/>
                  <a:gd name="T70" fmla="*/ 47 w 55"/>
                  <a:gd name="T71" fmla="*/ 66 h 70"/>
                  <a:gd name="T72" fmla="*/ 53 w 55"/>
                  <a:gd name="T73" fmla="*/ 66 h 70"/>
                  <a:gd name="T74" fmla="*/ 55 w 55"/>
                  <a:gd name="T75" fmla="*/ 64 h 70"/>
                  <a:gd name="T76" fmla="*/ 53 w 55"/>
                  <a:gd name="T77" fmla="*/ 63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5" h="70">
                    <a:moveTo>
                      <a:pt x="53" y="63"/>
                    </a:moveTo>
                    <a:lnTo>
                      <a:pt x="53" y="63"/>
                    </a:lnTo>
                    <a:lnTo>
                      <a:pt x="39" y="55"/>
                    </a:lnTo>
                    <a:lnTo>
                      <a:pt x="32" y="51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23" y="42"/>
                    </a:lnTo>
                    <a:lnTo>
                      <a:pt x="18" y="38"/>
                    </a:lnTo>
                    <a:lnTo>
                      <a:pt x="13" y="32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8" y="25"/>
                    </a:lnTo>
                    <a:lnTo>
                      <a:pt x="5" y="24"/>
                    </a:lnTo>
                    <a:lnTo>
                      <a:pt x="4" y="22"/>
                    </a:lnTo>
                    <a:lnTo>
                      <a:pt x="4" y="19"/>
                    </a:lnTo>
                    <a:lnTo>
                      <a:pt x="4" y="19"/>
                    </a:lnTo>
                    <a:lnTo>
                      <a:pt x="5" y="16"/>
                    </a:lnTo>
                    <a:lnTo>
                      <a:pt x="7" y="15"/>
                    </a:lnTo>
                    <a:lnTo>
                      <a:pt x="7" y="12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13" y="66"/>
                    </a:lnTo>
                    <a:lnTo>
                      <a:pt x="18" y="66"/>
                    </a:lnTo>
                    <a:lnTo>
                      <a:pt x="23" y="66"/>
                    </a:lnTo>
                    <a:lnTo>
                      <a:pt x="23" y="66"/>
                    </a:lnTo>
                    <a:lnTo>
                      <a:pt x="30" y="68"/>
                    </a:lnTo>
                    <a:lnTo>
                      <a:pt x="37" y="70"/>
                    </a:lnTo>
                    <a:lnTo>
                      <a:pt x="37" y="70"/>
                    </a:lnTo>
                    <a:lnTo>
                      <a:pt x="42" y="67"/>
                    </a:lnTo>
                    <a:lnTo>
                      <a:pt x="45" y="67"/>
                    </a:lnTo>
                    <a:lnTo>
                      <a:pt x="47" y="66"/>
                    </a:lnTo>
                    <a:lnTo>
                      <a:pt x="47" y="66"/>
                    </a:lnTo>
                    <a:lnTo>
                      <a:pt x="53" y="66"/>
                    </a:lnTo>
                    <a:lnTo>
                      <a:pt x="55" y="64"/>
                    </a:lnTo>
                    <a:lnTo>
                      <a:pt x="53" y="6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80" name="Freeform 1035"/>
              <p:cNvSpPr>
                <a:spLocks/>
              </p:cNvSpPr>
              <p:nvPr/>
            </p:nvSpPr>
            <p:spPr bwMode="auto">
              <a:xfrm>
                <a:off x="2361994" y="2388224"/>
                <a:ext cx="79141" cy="54409"/>
              </a:xfrm>
              <a:custGeom>
                <a:avLst/>
                <a:gdLst>
                  <a:gd name="T0" fmla="*/ 77 w 80"/>
                  <a:gd name="T1" fmla="*/ 55 h 55"/>
                  <a:gd name="T2" fmla="*/ 77 w 80"/>
                  <a:gd name="T3" fmla="*/ 55 h 55"/>
                  <a:gd name="T4" fmla="*/ 72 w 80"/>
                  <a:gd name="T5" fmla="*/ 55 h 55"/>
                  <a:gd name="T6" fmla="*/ 65 w 80"/>
                  <a:gd name="T7" fmla="*/ 53 h 55"/>
                  <a:gd name="T8" fmla="*/ 59 w 80"/>
                  <a:gd name="T9" fmla="*/ 50 h 55"/>
                  <a:gd name="T10" fmla="*/ 55 w 80"/>
                  <a:gd name="T11" fmla="*/ 46 h 55"/>
                  <a:gd name="T12" fmla="*/ 55 w 80"/>
                  <a:gd name="T13" fmla="*/ 46 h 55"/>
                  <a:gd name="T14" fmla="*/ 52 w 80"/>
                  <a:gd name="T15" fmla="*/ 43 h 55"/>
                  <a:gd name="T16" fmla="*/ 51 w 80"/>
                  <a:gd name="T17" fmla="*/ 42 h 55"/>
                  <a:gd name="T18" fmla="*/ 45 w 80"/>
                  <a:gd name="T19" fmla="*/ 40 h 55"/>
                  <a:gd name="T20" fmla="*/ 45 w 80"/>
                  <a:gd name="T21" fmla="*/ 40 h 55"/>
                  <a:gd name="T22" fmla="*/ 42 w 80"/>
                  <a:gd name="T23" fmla="*/ 39 h 55"/>
                  <a:gd name="T24" fmla="*/ 36 w 80"/>
                  <a:gd name="T25" fmla="*/ 33 h 55"/>
                  <a:gd name="T26" fmla="*/ 36 w 80"/>
                  <a:gd name="T27" fmla="*/ 33 h 55"/>
                  <a:gd name="T28" fmla="*/ 3 w 80"/>
                  <a:gd name="T29" fmla="*/ 8 h 55"/>
                  <a:gd name="T30" fmla="*/ 3 w 80"/>
                  <a:gd name="T31" fmla="*/ 8 h 55"/>
                  <a:gd name="T32" fmla="*/ 0 w 80"/>
                  <a:gd name="T33" fmla="*/ 5 h 55"/>
                  <a:gd name="T34" fmla="*/ 0 w 80"/>
                  <a:gd name="T35" fmla="*/ 2 h 55"/>
                  <a:gd name="T36" fmla="*/ 3 w 80"/>
                  <a:gd name="T37" fmla="*/ 0 h 55"/>
                  <a:gd name="T38" fmla="*/ 4 w 80"/>
                  <a:gd name="T39" fmla="*/ 0 h 55"/>
                  <a:gd name="T40" fmla="*/ 4 w 80"/>
                  <a:gd name="T41" fmla="*/ 0 h 55"/>
                  <a:gd name="T42" fmla="*/ 19 w 80"/>
                  <a:gd name="T43" fmla="*/ 4 h 55"/>
                  <a:gd name="T44" fmla="*/ 33 w 80"/>
                  <a:gd name="T45" fmla="*/ 10 h 55"/>
                  <a:gd name="T46" fmla="*/ 33 w 80"/>
                  <a:gd name="T47" fmla="*/ 10 h 55"/>
                  <a:gd name="T48" fmla="*/ 38 w 80"/>
                  <a:gd name="T49" fmla="*/ 11 h 55"/>
                  <a:gd name="T50" fmla="*/ 43 w 80"/>
                  <a:gd name="T51" fmla="*/ 15 h 55"/>
                  <a:gd name="T52" fmla="*/ 49 w 80"/>
                  <a:gd name="T53" fmla="*/ 21 h 55"/>
                  <a:gd name="T54" fmla="*/ 52 w 80"/>
                  <a:gd name="T55" fmla="*/ 24 h 55"/>
                  <a:gd name="T56" fmla="*/ 52 w 80"/>
                  <a:gd name="T57" fmla="*/ 24 h 55"/>
                  <a:gd name="T58" fmla="*/ 54 w 80"/>
                  <a:gd name="T59" fmla="*/ 27 h 55"/>
                  <a:gd name="T60" fmla="*/ 58 w 80"/>
                  <a:gd name="T61" fmla="*/ 29 h 55"/>
                  <a:gd name="T62" fmla="*/ 62 w 80"/>
                  <a:gd name="T63" fmla="*/ 33 h 55"/>
                  <a:gd name="T64" fmla="*/ 67 w 80"/>
                  <a:gd name="T65" fmla="*/ 36 h 55"/>
                  <a:gd name="T66" fmla="*/ 67 w 80"/>
                  <a:gd name="T67" fmla="*/ 36 h 55"/>
                  <a:gd name="T68" fmla="*/ 77 w 80"/>
                  <a:gd name="T69" fmla="*/ 47 h 55"/>
                  <a:gd name="T70" fmla="*/ 80 w 80"/>
                  <a:gd name="T71" fmla="*/ 53 h 55"/>
                  <a:gd name="T72" fmla="*/ 80 w 80"/>
                  <a:gd name="T73" fmla="*/ 55 h 55"/>
                  <a:gd name="T74" fmla="*/ 77 w 80"/>
                  <a:gd name="T7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55">
                    <a:moveTo>
                      <a:pt x="77" y="55"/>
                    </a:moveTo>
                    <a:lnTo>
                      <a:pt x="77" y="55"/>
                    </a:lnTo>
                    <a:lnTo>
                      <a:pt x="72" y="55"/>
                    </a:lnTo>
                    <a:lnTo>
                      <a:pt x="65" y="53"/>
                    </a:lnTo>
                    <a:lnTo>
                      <a:pt x="59" y="50"/>
                    </a:lnTo>
                    <a:lnTo>
                      <a:pt x="55" y="46"/>
                    </a:lnTo>
                    <a:lnTo>
                      <a:pt x="55" y="46"/>
                    </a:lnTo>
                    <a:lnTo>
                      <a:pt x="52" y="43"/>
                    </a:lnTo>
                    <a:lnTo>
                      <a:pt x="51" y="42"/>
                    </a:lnTo>
                    <a:lnTo>
                      <a:pt x="45" y="40"/>
                    </a:lnTo>
                    <a:lnTo>
                      <a:pt x="45" y="40"/>
                    </a:lnTo>
                    <a:lnTo>
                      <a:pt x="42" y="39"/>
                    </a:lnTo>
                    <a:lnTo>
                      <a:pt x="36" y="33"/>
                    </a:lnTo>
                    <a:lnTo>
                      <a:pt x="36" y="3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9" y="4"/>
                    </a:lnTo>
                    <a:lnTo>
                      <a:pt x="33" y="10"/>
                    </a:lnTo>
                    <a:lnTo>
                      <a:pt x="33" y="10"/>
                    </a:lnTo>
                    <a:lnTo>
                      <a:pt x="38" y="11"/>
                    </a:lnTo>
                    <a:lnTo>
                      <a:pt x="43" y="15"/>
                    </a:lnTo>
                    <a:lnTo>
                      <a:pt x="49" y="21"/>
                    </a:lnTo>
                    <a:lnTo>
                      <a:pt x="52" y="24"/>
                    </a:lnTo>
                    <a:lnTo>
                      <a:pt x="52" y="24"/>
                    </a:lnTo>
                    <a:lnTo>
                      <a:pt x="54" y="27"/>
                    </a:lnTo>
                    <a:lnTo>
                      <a:pt x="58" y="29"/>
                    </a:lnTo>
                    <a:lnTo>
                      <a:pt x="62" y="33"/>
                    </a:lnTo>
                    <a:lnTo>
                      <a:pt x="67" y="36"/>
                    </a:lnTo>
                    <a:lnTo>
                      <a:pt x="67" y="36"/>
                    </a:lnTo>
                    <a:lnTo>
                      <a:pt x="77" y="47"/>
                    </a:lnTo>
                    <a:lnTo>
                      <a:pt x="80" y="53"/>
                    </a:lnTo>
                    <a:lnTo>
                      <a:pt x="80" y="55"/>
                    </a:lnTo>
                    <a:lnTo>
                      <a:pt x="77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81" name="Freeform 1036"/>
              <p:cNvSpPr>
                <a:spLocks/>
              </p:cNvSpPr>
              <p:nvPr/>
            </p:nvSpPr>
            <p:spPr bwMode="auto">
              <a:xfrm>
                <a:off x="2361994" y="2388224"/>
                <a:ext cx="79141" cy="54409"/>
              </a:xfrm>
              <a:custGeom>
                <a:avLst/>
                <a:gdLst>
                  <a:gd name="T0" fmla="*/ 77 w 80"/>
                  <a:gd name="T1" fmla="*/ 55 h 55"/>
                  <a:gd name="T2" fmla="*/ 77 w 80"/>
                  <a:gd name="T3" fmla="*/ 55 h 55"/>
                  <a:gd name="T4" fmla="*/ 72 w 80"/>
                  <a:gd name="T5" fmla="*/ 55 h 55"/>
                  <a:gd name="T6" fmla="*/ 65 w 80"/>
                  <a:gd name="T7" fmla="*/ 53 h 55"/>
                  <a:gd name="T8" fmla="*/ 59 w 80"/>
                  <a:gd name="T9" fmla="*/ 50 h 55"/>
                  <a:gd name="T10" fmla="*/ 55 w 80"/>
                  <a:gd name="T11" fmla="*/ 46 h 55"/>
                  <a:gd name="T12" fmla="*/ 55 w 80"/>
                  <a:gd name="T13" fmla="*/ 46 h 55"/>
                  <a:gd name="T14" fmla="*/ 52 w 80"/>
                  <a:gd name="T15" fmla="*/ 43 h 55"/>
                  <a:gd name="T16" fmla="*/ 51 w 80"/>
                  <a:gd name="T17" fmla="*/ 42 h 55"/>
                  <a:gd name="T18" fmla="*/ 45 w 80"/>
                  <a:gd name="T19" fmla="*/ 40 h 55"/>
                  <a:gd name="T20" fmla="*/ 45 w 80"/>
                  <a:gd name="T21" fmla="*/ 40 h 55"/>
                  <a:gd name="T22" fmla="*/ 42 w 80"/>
                  <a:gd name="T23" fmla="*/ 39 h 55"/>
                  <a:gd name="T24" fmla="*/ 36 w 80"/>
                  <a:gd name="T25" fmla="*/ 33 h 55"/>
                  <a:gd name="T26" fmla="*/ 36 w 80"/>
                  <a:gd name="T27" fmla="*/ 33 h 55"/>
                  <a:gd name="T28" fmla="*/ 3 w 80"/>
                  <a:gd name="T29" fmla="*/ 8 h 55"/>
                  <a:gd name="T30" fmla="*/ 3 w 80"/>
                  <a:gd name="T31" fmla="*/ 8 h 55"/>
                  <a:gd name="T32" fmla="*/ 0 w 80"/>
                  <a:gd name="T33" fmla="*/ 5 h 55"/>
                  <a:gd name="T34" fmla="*/ 0 w 80"/>
                  <a:gd name="T35" fmla="*/ 2 h 55"/>
                  <a:gd name="T36" fmla="*/ 3 w 80"/>
                  <a:gd name="T37" fmla="*/ 0 h 55"/>
                  <a:gd name="T38" fmla="*/ 4 w 80"/>
                  <a:gd name="T39" fmla="*/ 0 h 55"/>
                  <a:gd name="T40" fmla="*/ 4 w 80"/>
                  <a:gd name="T41" fmla="*/ 0 h 55"/>
                  <a:gd name="T42" fmla="*/ 19 w 80"/>
                  <a:gd name="T43" fmla="*/ 4 h 55"/>
                  <a:gd name="T44" fmla="*/ 33 w 80"/>
                  <a:gd name="T45" fmla="*/ 10 h 55"/>
                  <a:gd name="T46" fmla="*/ 33 w 80"/>
                  <a:gd name="T47" fmla="*/ 10 h 55"/>
                  <a:gd name="T48" fmla="*/ 38 w 80"/>
                  <a:gd name="T49" fmla="*/ 11 h 55"/>
                  <a:gd name="T50" fmla="*/ 43 w 80"/>
                  <a:gd name="T51" fmla="*/ 15 h 55"/>
                  <a:gd name="T52" fmla="*/ 49 w 80"/>
                  <a:gd name="T53" fmla="*/ 21 h 55"/>
                  <a:gd name="T54" fmla="*/ 52 w 80"/>
                  <a:gd name="T55" fmla="*/ 24 h 55"/>
                  <a:gd name="T56" fmla="*/ 52 w 80"/>
                  <a:gd name="T57" fmla="*/ 24 h 55"/>
                  <a:gd name="T58" fmla="*/ 54 w 80"/>
                  <a:gd name="T59" fmla="*/ 27 h 55"/>
                  <a:gd name="T60" fmla="*/ 58 w 80"/>
                  <a:gd name="T61" fmla="*/ 29 h 55"/>
                  <a:gd name="T62" fmla="*/ 62 w 80"/>
                  <a:gd name="T63" fmla="*/ 33 h 55"/>
                  <a:gd name="T64" fmla="*/ 67 w 80"/>
                  <a:gd name="T65" fmla="*/ 36 h 55"/>
                  <a:gd name="T66" fmla="*/ 67 w 80"/>
                  <a:gd name="T67" fmla="*/ 36 h 55"/>
                  <a:gd name="T68" fmla="*/ 77 w 80"/>
                  <a:gd name="T69" fmla="*/ 47 h 55"/>
                  <a:gd name="T70" fmla="*/ 80 w 80"/>
                  <a:gd name="T71" fmla="*/ 53 h 55"/>
                  <a:gd name="T72" fmla="*/ 80 w 80"/>
                  <a:gd name="T73" fmla="*/ 55 h 55"/>
                  <a:gd name="T74" fmla="*/ 77 w 80"/>
                  <a:gd name="T7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55">
                    <a:moveTo>
                      <a:pt x="77" y="55"/>
                    </a:moveTo>
                    <a:lnTo>
                      <a:pt x="77" y="55"/>
                    </a:lnTo>
                    <a:lnTo>
                      <a:pt x="72" y="55"/>
                    </a:lnTo>
                    <a:lnTo>
                      <a:pt x="65" y="53"/>
                    </a:lnTo>
                    <a:lnTo>
                      <a:pt x="59" y="50"/>
                    </a:lnTo>
                    <a:lnTo>
                      <a:pt x="55" y="46"/>
                    </a:lnTo>
                    <a:lnTo>
                      <a:pt x="55" y="46"/>
                    </a:lnTo>
                    <a:lnTo>
                      <a:pt x="52" y="43"/>
                    </a:lnTo>
                    <a:lnTo>
                      <a:pt x="51" y="42"/>
                    </a:lnTo>
                    <a:lnTo>
                      <a:pt x="45" y="40"/>
                    </a:lnTo>
                    <a:lnTo>
                      <a:pt x="45" y="40"/>
                    </a:lnTo>
                    <a:lnTo>
                      <a:pt x="42" y="39"/>
                    </a:lnTo>
                    <a:lnTo>
                      <a:pt x="36" y="33"/>
                    </a:lnTo>
                    <a:lnTo>
                      <a:pt x="36" y="3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9" y="4"/>
                    </a:lnTo>
                    <a:lnTo>
                      <a:pt x="33" y="10"/>
                    </a:lnTo>
                    <a:lnTo>
                      <a:pt x="33" y="10"/>
                    </a:lnTo>
                    <a:lnTo>
                      <a:pt x="38" y="11"/>
                    </a:lnTo>
                    <a:lnTo>
                      <a:pt x="43" y="15"/>
                    </a:lnTo>
                    <a:lnTo>
                      <a:pt x="49" y="21"/>
                    </a:lnTo>
                    <a:lnTo>
                      <a:pt x="52" y="24"/>
                    </a:lnTo>
                    <a:lnTo>
                      <a:pt x="52" y="24"/>
                    </a:lnTo>
                    <a:lnTo>
                      <a:pt x="54" y="27"/>
                    </a:lnTo>
                    <a:lnTo>
                      <a:pt x="58" y="29"/>
                    </a:lnTo>
                    <a:lnTo>
                      <a:pt x="62" y="33"/>
                    </a:lnTo>
                    <a:lnTo>
                      <a:pt x="67" y="36"/>
                    </a:lnTo>
                    <a:lnTo>
                      <a:pt x="67" y="36"/>
                    </a:lnTo>
                    <a:lnTo>
                      <a:pt x="77" y="47"/>
                    </a:lnTo>
                    <a:lnTo>
                      <a:pt x="80" y="53"/>
                    </a:lnTo>
                    <a:lnTo>
                      <a:pt x="80" y="55"/>
                    </a:lnTo>
                    <a:lnTo>
                      <a:pt x="77" y="5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82" name="Freeform 1037"/>
              <p:cNvSpPr>
                <a:spLocks/>
              </p:cNvSpPr>
              <p:nvPr/>
            </p:nvSpPr>
            <p:spPr bwMode="auto">
              <a:xfrm>
                <a:off x="2281864" y="2241814"/>
                <a:ext cx="37592" cy="35613"/>
              </a:xfrm>
              <a:custGeom>
                <a:avLst/>
                <a:gdLst>
                  <a:gd name="T0" fmla="*/ 24 w 38"/>
                  <a:gd name="T1" fmla="*/ 36 h 36"/>
                  <a:gd name="T2" fmla="*/ 24 w 38"/>
                  <a:gd name="T3" fmla="*/ 36 h 36"/>
                  <a:gd name="T4" fmla="*/ 13 w 38"/>
                  <a:gd name="T5" fmla="*/ 35 h 36"/>
                  <a:gd name="T6" fmla="*/ 9 w 38"/>
                  <a:gd name="T7" fmla="*/ 32 h 36"/>
                  <a:gd name="T8" fmla="*/ 7 w 38"/>
                  <a:gd name="T9" fmla="*/ 30 h 36"/>
                  <a:gd name="T10" fmla="*/ 7 w 38"/>
                  <a:gd name="T11" fmla="*/ 30 h 36"/>
                  <a:gd name="T12" fmla="*/ 7 w 38"/>
                  <a:gd name="T13" fmla="*/ 26 h 36"/>
                  <a:gd name="T14" fmla="*/ 7 w 38"/>
                  <a:gd name="T15" fmla="*/ 24 h 36"/>
                  <a:gd name="T16" fmla="*/ 4 w 38"/>
                  <a:gd name="T17" fmla="*/ 19 h 36"/>
                  <a:gd name="T18" fmla="*/ 4 w 38"/>
                  <a:gd name="T19" fmla="*/ 19 h 36"/>
                  <a:gd name="T20" fmla="*/ 1 w 38"/>
                  <a:gd name="T21" fmla="*/ 11 h 36"/>
                  <a:gd name="T22" fmla="*/ 0 w 38"/>
                  <a:gd name="T23" fmla="*/ 6 h 36"/>
                  <a:gd name="T24" fmla="*/ 1 w 38"/>
                  <a:gd name="T25" fmla="*/ 1 h 36"/>
                  <a:gd name="T26" fmla="*/ 1 w 38"/>
                  <a:gd name="T27" fmla="*/ 0 h 36"/>
                  <a:gd name="T28" fmla="*/ 3 w 38"/>
                  <a:gd name="T29" fmla="*/ 0 h 36"/>
                  <a:gd name="T30" fmla="*/ 3 w 38"/>
                  <a:gd name="T31" fmla="*/ 0 h 36"/>
                  <a:gd name="T32" fmla="*/ 6 w 38"/>
                  <a:gd name="T33" fmla="*/ 1 h 36"/>
                  <a:gd name="T34" fmla="*/ 9 w 38"/>
                  <a:gd name="T35" fmla="*/ 6 h 36"/>
                  <a:gd name="T36" fmla="*/ 13 w 38"/>
                  <a:gd name="T37" fmla="*/ 10 h 36"/>
                  <a:gd name="T38" fmla="*/ 17 w 38"/>
                  <a:gd name="T39" fmla="*/ 14 h 36"/>
                  <a:gd name="T40" fmla="*/ 17 w 38"/>
                  <a:gd name="T41" fmla="*/ 14 h 36"/>
                  <a:gd name="T42" fmla="*/ 23 w 38"/>
                  <a:gd name="T43" fmla="*/ 19 h 36"/>
                  <a:gd name="T44" fmla="*/ 24 w 38"/>
                  <a:gd name="T45" fmla="*/ 20 h 36"/>
                  <a:gd name="T46" fmla="*/ 27 w 38"/>
                  <a:gd name="T47" fmla="*/ 19 h 36"/>
                  <a:gd name="T48" fmla="*/ 27 w 38"/>
                  <a:gd name="T49" fmla="*/ 19 h 36"/>
                  <a:gd name="T50" fmla="*/ 30 w 38"/>
                  <a:gd name="T51" fmla="*/ 19 h 36"/>
                  <a:gd name="T52" fmla="*/ 33 w 38"/>
                  <a:gd name="T53" fmla="*/ 19 h 36"/>
                  <a:gd name="T54" fmla="*/ 36 w 38"/>
                  <a:gd name="T55" fmla="*/ 22 h 36"/>
                  <a:gd name="T56" fmla="*/ 38 w 38"/>
                  <a:gd name="T57" fmla="*/ 24 h 36"/>
                  <a:gd name="T58" fmla="*/ 38 w 38"/>
                  <a:gd name="T59" fmla="*/ 24 h 36"/>
                  <a:gd name="T60" fmla="*/ 35 w 38"/>
                  <a:gd name="T61" fmla="*/ 29 h 36"/>
                  <a:gd name="T62" fmla="*/ 32 w 38"/>
                  <a:gd name="T63" fmla="*/ 32 h 36"/>
                  <a:gd name="T64" fmla="*/ 27 w 38"/>
                  <a:gd name="T65" fmla="*/ 36 h 36"/>
                  <a:gd name="T66" fmla="*/ 24 w 38"/>
                  <a:gd name="T6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8" h="36">
                    <a:moveTo>
                      <a:pt x="24" y="36"/>
                    </a:moveTo>
                    <a:lnTo>
                      <a:pt x="24" y="36"/>
                    </a:lnTo>
                    <a:lnTo>
                      <a:pt x="13" y="35"/>
                    </a:lnTo>
                    <a:lnTo>
                      <a:pt x="9" y="32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7" y="26"/>
                    </a:lnTo>
                    <a:lnTo>
                      <a:pt x="7" y="24"/>
                    </a:lnTo>
                    <a:lnTo>
                      <a:pt x="4" y="19"/>
                    </a:lnTo>
                    <a:lnTo>
                      <a:pt x="4" y="19"/>
                    </a:lnTo>
                    <a:lnTo>
                      <a:pt x="1" y="11"/>
                    </a:lnTo>
                    <a:lnTo>
                      <a:pt x="0" y="6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1"/>
                    </a:lnTo>
                    <a:lnTo>
                      <a:pt x="9" y="6"/>
                    </a:lnTo>
                    <a:lnTo>
                      <a:pt x="13" y="10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23" y="19"/>
                    </a:lnTo>
                    <a:lnTo>
                      <a:pt x="24" y="20"/>
                    </a:lnTo>
                    <a:lnTo>
                      <a:pt x="27" y="19"/>
                    </a:lnTo>
                    <a:lnTo>
                      <a:pt x="27" y="19"/>
                    </a:lnTo>
                    <a:lnTo>
                      <a:pt x="30" y="19"/>
                    </a:lnTo>
                    <a:lnTo>
                      <a:pt x="33" y="19"/>
                    </a:lnTo>
                    <a:lnTo>
                      <a:pt x="36" y="22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5" y="29"/>
                    </a:lnTo>
                    <a:lnTo>
                      <a:pt x="32" y="32"/>
                    </a:lnTo>
                    <a:lnTo>
                      <a:pt x="27" y="36"/>
                    </a:lnTo>
                    <a:lnTo>
                      <a:pt x="24" y="3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83" name="Freeform 1038"/>
              <p:cNvSpPr>
                <a:spLocks/>
              </p:cNvSpPr>
              <p:nvPr/>
            </p:nvSpPr>
            <p:spPr bwMode="auto">
              <a:xfrm>
                <a:off x="2281864" y="2241814"/>
                <a:ext cx="37592" cy="35613"/>
              </a:xfrm>
              <a:custGeom>
                <a:avLst/>
                <a:gdLst>
                  <a:gd name="T0" fmla="*/ 24 w 38"/>
                  <a:gd name="T1" fmla="*/ 36 h 36"/>
                  <a:gd name="T2" fmla="*/ 24 w 38"/>
                  <a:gd name="T3" fmla="*/ 36 h 36"/>
                  <a:gd name="T4" fmla="*/ 13 w 38"/>
                  <a:gd name="T5" fmla="*/ 35 h 36"/>
                  <a:gd name="T6" fmla="*/ 9 w 38"/>
                  <a:gd name="T7" fmla="*/ 32 h 36"/>
                  <a:gd name="T8" fmla="*/ 7 w 38"/>
                  <a:gd name="T9" fmla="*/ 30 h 36"/>
                  <a:gd name="T10" fmla="*/ 7 w 38"/>
                  <a:gd name="T11" fmla="*/ 30 h 36"/>
                  <a:gd name="T12" fmla="*/ 7 w 38"/>
                  <a:gd name="T13" fmla="*/ 26 h 36"/>
                  <a:gd name="T14" fmla="*/ 7 w 38"/>
                  <a:gd name="T15" fmla="*/ 24 h 36"/>
                  <a:gd name="T16" fmla="*/ 4 w 38"/>
                  <a:gd name="T17" fmla="*/ 19 h 36"/>
                  <a:gd name="T18" fmla="*/ 4 w 38"/>
                  <a:gd name="T19" fmla="*/ 19 h 36"/>
                  <a:gd name="T20" fmla="*/ 1 w 38"/>
                  <a:gd name="T21" fmla="*/ 11 h 36"/>
                  <a:gd name="T22" fmla="*/ 0 w 38"/>
                  <a:gd name="T23" fmla="*/ 6 h 36"/>
                  <a:gd name="T24" fmla="*/ 1 w 38"/>
                  <a:gd name="T25" fmla="*/ 1 h 36"/>
                  <a:gd name="T26" fmla="*/ 1 w 38"/>
                  <a:gd name="T27" fmla="*/ 0 h 36"/>
                  <a:gd name="T28" fmla="*/ 3 w 38"/>
                  <a:gd name="T29" fmla="*/ 0 h 36"/>
                  <a:gd name="T30" fmla="*/ 3 w 38"/>
                  <a:gd name="T31" fmla="*/ 0 h 36"/>
                  <a:gd name="T32" fmla="*/ 6 w 38"/>
                  <a:gd name="T33" fmla="*/ 1 h 36"/>
                  <a:gd name="T34" fmla="*/ 9 w 38"/>
                  <a:gd name="T35" fmla="*/ 6 h 36"/>
                  <a:gd name="T36" fmla="*/ 13 w 38"/>
                  <a:gd name="T37" fmla="*/ 10 h 36"/>
                  <a:gd name="T38" fmla="*/ 17 w 38"/>
                  <a:gd name="T39" fmla="*/ 14 h 36"/>
                  <a:gd name="T40" fmla="*/ 17 w 38"/>
                  <a:gd name="T41" fmla="*/ 14 h 36"/>
                  <a:gd name="T42" fmla="*/ 23 w 38"/>
                  <a:gd name="T43" fmla="*/ 19 h 36"/>
                  <a:gd name="T44" fmla="*/ 24 w 38"/>
                  <a:gd name="T45" fmla="*/ 20 h 36"/>
                  <a:gd name="T46" fmla="*/ 27 w 38"/>
                  <a:gd name="T47" fmla="*/ 19 h 36"/>
                  <a:gd name="T48" fmla="*/ 27 w 38"/>
                  <a:gd name="T49" fmla="*/ 19 h 36"/>
                  <a:gd name="T50" fmla="*/ 30 w 38"/>
                  <a:gd name="T51" fmla="*/ 19 h 36"/>
                  <a:gd name="T52" fmla="*/ 33 w 38"/>
                  <a:gd name="T53" fmla="*/ 19 h 36"/>
                  <a:gd name="T54" fmla="*/ 36 w 38"/>
                  <a:gd name="T55" fmla="*/ 22 h 36"/>
                  <a:gd name="T56" fmla="*/ 38 w 38"/>
                  <a:gd name="T57" fmla="*/ 24 h 36"/>
                  <a:gd name="T58" fmla="*/ 38 w 38"/>
                  <a:gd name="T59" fmla="*/ 24 h 36"/>
                  <a:gd name="T60" fmla="*/ 35 w 38"/>
                  <a:gd name="T61" fmla="*/ 29 h 36"/>
                  <a:gd name="T62" fmla="*/ 32 w 38"/>
                  <a:gd name="T63" fmla="*/ 32 h 36"/>
                  <a:gd name="T64" fmla="*/ 27 w 38"/>
                  <a:gd name="T65" fmla="*/ 36 h 36"/>
                  <a:gd name="T66" fmla="*/ 24 w 38"/>
                  <a:gd name="T6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8" h="36">
                    <a:moveTo>
                      <a:pt x="24" y="36"/>
                    </a:moveTo>
                    <a:lnTo>
                      <a:pt x="24" y="36"/>
                    </a:lnTo>
                    <a:lnTo>
                      <a:pt x="13" y="35"/>
                    </a:lnTo>
                    <a:lnTo>
                      <a:pt x="9" y="32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7" y="26"/>
                    </a:lnTo>
                    <a:lnTo>
                      <a:pt x="7" y="24"/>
                    </a:lnTo>
                    <a:lnTo>
                      <a:pt x="4" y="19"/>
                    </a:lnTo>
                    <a:lnTo>
                      <a:pt x="4" y="19"/>
                    </a:lnTo>
                    <a:lnTo>
                      <a:pt x="1" y="11"/>
                    </a:lnTo>
                    <a:lnTo>
                      <a:pt x="0" y="6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1"/>
                    </a:lnTo>
                    <a:lnTo>
                      <a:pt x="9" y="6"/>
                    </a:lnTo>
                    <a:lnTo>
                      <a:pt x="13" y="10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23" y="19"/>
                    </a:lnTo>
                    <a:lnTo>
                      <a:pt x="24" y="20"/>
                    </a:lnTo>
                    <a:lnTo>
                      <a:pt x="27" y="19"/>
                    </a:lnTo>
                    <a:lnTo>
                      <a:pt x="27" y="19"/>
                    </a:lnTo>
                    <a:lnTo>
                      <a:pt x="30" y="19"/>
                    </a:lnTo>
                    <a:lnTo>
                      <a:pt x="33" y="19"/>
                    </a:lnTo>
                    <a:lnTo>
                      <a:pt x="36" y="22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5" y="29"/>
                    </a:lnTo>
                    <a:lnTo>
                      <a:pt x="32" y="32"/>
                    </a:lnTo>
                    <a:lnTo>
                      <a:pt x="27" y="36"/>
                    </a:lnTo>
                    <a:lnTo>
                      <a:pt x="24" y="3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84" name="Freeform 1039"/>
              <p:cNvSpPr>
                <a:spLocks/>
              </p:cNvSpPr>
              <p:nvPr/>
            </p:nvSpPr>
            <p:spPr bwMode="auto">
              <a:xfrm>
                <a:off x="2294724" y="2293255"/>
                <a:ext cx="15828" cy="45506"/>
              </a:xfrm>
              <a:custGeom>
                <a:avLst/>
                <a:gdLst>
                  <a:gd name="T0" fmla="*/ 16 w 16"/>
                  <a:gd name="T1" fmla="*/ 6 h 46"/>
                  <a:gd name="T2" fmla="*/ 16 w 16"/>
                  <a:gd name="T3" fmla="*/ 6 h 46"/>
                  <a:gd name="T4" fmla="*/ 10 w 16"/>
                  <a:gd name="T5" fmla="*/ 6 h 46"/>
                  <a:gd name="T6" fmla="*/ 6 w 16"/>
                  <a:gd name="T7" fmla="*/ 4 h 46"/>
                  <a:gd name="T8" fmla="*/ 6 w 16"/>
                  <a:gd name="T9" fmla="*/ 4 h 46"/>
                  <a:gd name="T10" fmla="*/ 1 w 16"/>
                  <a:gd name="T11" fmla="*/ 1 h 46"/>
                  <a:gd name="T12" fmla="*/ 0 w 16"/>
                  <a:gd name="T13" fmla="*/ 0 h 46"/>
                  <a:gd name="T14" fmla="*/ 0 w 16"/>
                  <a:gd name="T15" fmla="*/ 1 h 46"/>
                  <a:gd name="T16" fmla="*/ 0 w 16"/>
                  <a:gd name="T17" fmla="*/ 1 h 46"/>
                  <a:gd name="T18" fmla="*/ 0 w 16"/>
                  <a:gd name="T19" fmla="*/ 10 h 46"/>
                  <a:gd name="T20" fmla="*/ 0 w 16"/>
                  <a:gd name="T21" fmla="*/ 17 h 46"/>
                  <a:gd name="T22" fmla="*/ 1 w 16"/>
                  <a:gd name="T23" fmla="*/ 25 h 46"/>
                  <a:gd name="T24" fmla="*/ 1 w 16"/>
                  <a:gd name="T25" fmla="*/ 25 h 46"/>
                  <a:gd name="T26" fmla="*/ 7 w 16"/>
                  <a:gd name="T27" fmla="*/ 39 h 46"/>
                  <a:gd name="T28" fmla="*/ 10 w 16"/>
                  <a:gd name="T29" fmla="*/ 45 h 46"/>
                  <a:gd name="T30" fmla="*/ 11 w 16"/>
                  <a:gd name="T31" fmla="*/ 46 h 46"/>
                  <a:gd name="T32" fmla="*/ 13 w 16"/>
                  <a:gd name="T33" fmla="*/ 46 h 46"/>
                  <a:gd name="T34" fmla="*/ 13 w 16"/>
                  <a:gd name="T35" fmla="*/ 46 h 46"/>
                  <a:gd name="T36" fmla="*/ 14 w 16"/>
                  <a:gd name="T37" fmla="*/ 42 h 46"/>
                  <a:gd name="T38" fmla="*/ 16 w 16"/>
                  <a:gd name="T39" fmla="*/ 36 h 46"/>
                  <a:gd name="T40" fmla="*/ 16 w 16"/>
                  <a:gd name="T41" fmla="*/ 30 h 46"/>
                  <a:gd name="T42" fmla="*/ 14 w 16"/>
                  <a:gd name="T43" fmla="*/ 26 h 46"/>
                  <a:gd name="T44" fmla="*/ 14 w 16"/>
                  <a:gd name="T45" fmla="*/ 26 h 46"/>
                  <a:gd name="T46" fmla="*/ 14 w 16"/>
                  <a:gd name="T47" fmla="*/ 22 h 46"/>
                  <a:gd name="T48" fmla="*/ 16 w 16"/>
                  <a:gd name="T49" fmla="*/ 14 h 46"/>
                  <a:gd name="T50" fmla="*/ 16 w 16"/>
                  <a:gd name="T51" fmla="*/ 9 h 46"/>
                  <a:gd name="T52" fmla="*/ 16 w 16"/>
                  <a:gd name="T53" fmla="*/ 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6" h="46">
                    <a:moveTo>
                      <a:pt x="16" y="6"/>
                    </a:moveTo>
                    <a:lnTo>
                      <a:pt x="16" y="6"/>
                    </a:lnTo>
                    <a:lnTo>
                      <a:pt x="10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0"/>
                    </a:lnTo>
                    <a:lnTo>
                      <a:pt x="0" y="17"/>
                    </a:lnTo>
                    <a:lnTo>
                      <a:pt x="1" y="25"/>
                    </a:lnTo>
                    <a:lnTo>
                      <a:pt x="1" y="25"/>
                    </a:lnTo>
                    <a:lnTo>
                      <a:pt x="7" y="39"/>
                    </a:lnTo>
                    <a:lnTo>
                      <a:pt x="10" y="45"/>
                    </a:lnTo>
                    <a:lnTo>
                      <a:pt x="11" y="46"/>
                    </a:lnTo>
                    <a:lnTo>
                      <a:pt x="13" y="46"/>
                    </a:lnTo>
                    <a:lnTo>
                      <a:pt x="13" y="46"/>
                    </a:lnTo>
                    <a:lnTo>
                      <a:pt x="14" y="42"/>
                    </a:lnTo>
                    <a:lnTo>
                      <a:pt x="16" y="36"/>
                    </a:lnTo>
                    <a:lnTo>
                      <a:pt x="16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6" y="14"/>
                    </a:lnTo>
                    <a:lnTo>
                      <a:pt x="16" y="9"/>
                    </a:lnTo>
                    <a:lnTo>
                      <a:pt x="16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85" name="Freeform 1040"/>
              <p:cNvSpPr>
                <a:spLocks/>
              </p:cNvSpPr>
              <p:nvPr/>
            </p:nvSpPr>
            <p:spPr bwMode="auto">
              <a:xfrm>
                <a:off x="2294724" y="2293255"/>
                <a:ext cx="15828" cy="45506"/>
              </a:xfrm>
              <a:custGeom>
                <a:avLst/>
                <a:gdLst>
                  <a:gd name="T0" fmla="*/ 16 w 16"/>
                  <a:gd name="T1" fmla="*/ 6 h 46"/>
                  <a:gd name="T2" fmla="*/ 16 w 16"/>
                  <a:gd name="T3" fmla="*/ 6 h 46"/>
                  <a:gd name="T4" fmla="*/ 10 w 16"/>
                  <a:gd name="T5" fmla="*/ 6 h 46"/>
                  <a:gd name="T6" fmla="*/ 6 w 16"/>
                  <a:gd name="T7" fmla="*/ 4 h 46"/>
                  <a:gd name="T8" fmla="*/ 6 w 16"/>
                  <a:gd name="T9" fmla="*/ 4 h 46"/>
                  <a:gd name="T10" fmla="*/ 1 w 16"/>
                  <a:gd name="T11" fmla="*/ 1 h 46"/>
                  <a:gd name="T12" fmla="*/ 0 w 16"/>
                  <a:gd name="T13" fmla="*/ 0 h 46"/>
                  <a:gd name="T14" fmla="*/ 0 w 16"/>
                  <a:gd name="T15" fmla="*/ 1 h 46"/>
                  <a:gd name="T16" fmla="*/ 0 w 16"/>
                  <a:gd name="T17" fmla="*/ 1 h 46"/>
                  <a:gd name="T18" fmla="*/ 0 w 16"/>
                  <a:gd name="T19" fmla="*/ 10 h 46"/>
                  <a:gd name="T20" fmla="*/ 0 w 16"/>
                  <a:gd name="T21" fmla="*/ 17 h 46"/>
                  <a:gd name="T22" fmla="*/ 1 w 16"/>
                  <a:gd name="T23" fmla="*/ 25 h 46"/>
                  <a:gd name="T24" fmla="*/ 1 w 16"/>
                  <a:gd name="T25" fmla="*/ 25 h 46"/>
                  <a:gd name="T26" fmla="*/ 7 w 16"/>
                  <a:gd name="T27" fmla="*/ 39 h 46"/>
                  <a:gd name="T28" fmla="*/ 10 w 16"/>
                  <a:gd name="T29" fmla="*/ 45 h 46"/>
                  <a:gd name="T30" fmla="*/ 11 w 16"/>
                  <a:gd name="T31" fmla="*/ 46 h 46"/>
                  <a:gd name="T32" fmla="*/ 13 w 16"/>
                  <a:gd name="T33" fmla="*/ 46 h 46"/>
                  <a:gd name="T34" fmla="*/ 13 w 16"/>
                  <a:gd name="T35" fmla="*/ 46 h 46"/>
                  <a:gd name="T36" fmla="*/ 14 w 16"/>
                  <a:gd name="T37" fmla="*/ 42 h 46"/>
                  <a:gd name="T38" fmla="*/ 16 w 16"/>
                  <a:gd name="T39" fmla="*/ 36 h 46"/>
                  <a:gd name="T40" fmla="*/ 16 w 16"/>
                  <a:gd name="T41" fmla="*/ 30 h 46"/>
                  <a:gd name="T42" fmla="*/ 14 w 16"/>
                  <a:gd name="T43" fmla="*/ 26 h 46"/>
                  <a:gd name="T44" fmla="*/ 14 w 16"/>
                  <a:gd name="T45" fmla="*/ 26 h 46"/>
                  <a:gd name="T46" fmla="*/ 14 w 16"/>
                  <a:gd name="T47" fmla="*/ 22 h 46"/>
                  <a:gd name="T48" fmla="*/ 16 w 16"/>
                  <a:gd name="T49" fmla="*/ 14 h 46"/>
                  <a:gd name="T50" fmla="*/ 16 w 16"/>
                  <a:gd name="T51" fmla="*/ 9 h 46"/>
                  <a:gd name="T52" fmla="*/ 16 w 16"/>
                  <a:gd name="T53" fmla="*/ 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6" h="46">
                    <a:moveTo>
                      <a:pt x="16" y="6"/>
                    </a:moveTo>
                    <a:lnTo>
                      <a:pt x="16" y="6"/>
                    </a:lnTo>
                    <a:lnTo>
                      <a:pt x="10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0"/>
                    </a:lnTo>
                    <a:lnTo>
                      <a:pt x="0" y="17"/>
                    </a:lnTo>
                    <a:lnTo>
                      <a:pt x="1" y="25"/>
                    </a:lnTo>
                    <a:lnTo>
                      <a:pt x="1" y="25"/>
                    </a:lnTo>
                    <a:lnTo>
                      <a:pt x="7" y="39"/>
                    </a:lnTo>
                    <a:lnTo>
                      <a:pt x="10" y="45"/>
                    </a:lnTo>
                    <a:lnTo>
                      <a:pt x="11" y="46"/>
                    </a:lnTo>
                    <a:lnTo>
                      <a:pt x="13" y="46"/>
                    </a:lnTo>
                    <a:lnTo>
                      <a:pt x="13" y="46"/>
                    </a:lnTo>
                    <a:lnTo>
                      <a:pt x="14" y="42"/>
                    </a:lnTo>
                    <a:lnTo>
                      <a:pt x="16" y="36"/>
                    </a:lnTo>
                    <a:lnTo>
                      <a:pt x="16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6" y="14"/>
                    </a:lnTo>
                    <a:lnTo>
                      <a:pt x="16" y="9"/>
                    </a:lnTo>
                    <a:lnTo>
                      <a:pt x="16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86" name="Freeform 1041"/>
              <p:cNvSpPr>
                <a:spLocks/>
              </p:cNvSpPr>
              <p:nvPr/>
            </p:nvSpPr>
            <p:spPr bwMode="auto">
              <a:xfrm>
                <a:off x="2237347" y="2188394"/>
                <a:ext cx="26710" cy="50452"/>
              </a:xfrm>
              <a:custGeom>
                <a:avLst/>
                <a:gdLst>
                  <a:gd name="T0" fmla="*/ 25 w 27"/>
                  <a:gd name="T1" fmla="*/ 49 h 51"/>
                  <a:gd name="T2" fmla="*/ 25 w 27"/>
                  <a:gd name="T3" fmla="*/ 49 h 51"/>
                  <a:gd name="T4" fmla="*/ 22 w 27"/>
                  <a:gd name="T5" fmla="*/ 42 h 51"/>
                  <a:gd name="T6" fmla="*/ 19 w 27"/>
                  <a:gd name="T7" fmla="*/ 34 h 51"/>
                  <a:gd name="T8" fmla="*/ 14 w 27"/>
                  <a:gd name="T9" fmla="*/ 26 h 51"/>
                  <a:gd name="T10" fmla="*/ 12 w 27"/>
                  <a:gd name="T11" fmla="*/ 20 h 51"/>
                  <a:gd name="T12" fmla="*/ 12 w 27"/>
                  <a:gd name="T13" fmla="*/ 20 h 51"/>
                  <a:gd name="T14" fmla="*/ 4 w 27"/>
                  <a:gd name="T15" fmla="*/ 9 h 51"/>
                  <a:gd name="T16" fmla="*/ 0 w 27"/>
                  <a:gd name="T17" fmla="*/ 5 h 51"/>
                  <a:gd name="T18" fmla="*/ 0 w 27"/>
                  <a:gd name="T19" fmla="*/ 2 h 51"/>
                  <a:gd name="T20" fmla="*/ 0 w 27"/>
                  <a:gd name="T21" fmla="*/ 2 h 51"/>
                  <a:gd name="T22" fmla="*/ 0 w 27"/>
                  <a:gd name="T23" fmla="*/ 2 h 51"/>
                  <a:gd name="T24" fmla="*/ 3 w 27"/>
                  <a:gd name="T25" fmla="*/ 0 h 51"/>
                  <a:gd name="T26" fmla="*/ 4 w 27"/>
                  <a:gd name="T27" fmla="*/ 2 h 51"/>
                  <a:gd name="T28" fmla="*/ 10 w 27"/>
                  <a:gd name="T29" fmla="*/ 6 h 51"/>
                  <a:gd name="T30" fmla="*/ 10 w 27"/>
                  <a:gd name="T31" fmla="*/ 6 h 51"/>
                  <a:gd name="T32" fmla="*/ 17 w 27"/>
                  <a:gd name="T33" fmla="*/ 13 h 51"/>
                  <a:gd name="T34" fmla="*/ 19 w 27"/>
                  <a:gd name="T35" fmla="*/ 18 h 51"/>
                  <a:gd name="T36" fmla="*/ 19 w 27"/>
                  <a:gd name="T37" fmla="*/ 18 h 51"/>
                  <a:gd name="T38" fmla="*/ 23 w 27"/>
                  <a:gd name="T39" fmla="*/ 23 h 51"/>
                  <a:gd name="T40" fmla="*/ 27 w 27"/>
                  <a:gd name="T41" fmla="*/ 29 h 51"/>
                  <a:gd name="T42" fmla="*/ 27 w 27"/>
                  <a:gd name="T43" fmla="*/ 29 h 51"/>
                  <a:gd name="T44" fmla="*/ 27 w 27"/>
                  <a:gd name="T45" fmla="*/ 44 h 51"/>
                  <a:gd name="T46" fmla="*/ 27 w 27"/>
                  <a:gd name="T47" fmla="*/ 49 h 51"/>
                  <a:gd name="T48" fmla="*/ 26 w 27"/>
                  <a:gd name="T49" fmla="*/ 51 h 51"/>
                  <a:gd name="T50" fmla="*/ 25 w 27"/>
                  <a:gd name="T51" fmla="*/ 4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7" h="51">
                    <a:moveTo>
                      <a:pt x="25" y="49"/>
                    </a:moveTo>
                    <a:lnTo>
                      <a:pt x="25" y="49"/>
                    </a:lnTo>
                    <a:lnTo>
                      <a:pt x="22" y="42"/>
                    </a:lnTo>
                    <a:lnTo>
                      <a:pt x="19" y="34"/>
                    </a:lnTo>
                    <a:lnTo>
                      <a:pt x="14" y="2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4" y="9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4" y="2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7" y="13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23" y="23"/>
                    </a:lnTo>
                    <a:lnTo>
                      <a:pt x="27" y="29"/>
                    </a:lnTo>
                    <a:lnTo>
                      <a:pt x="27" y="29"/>
                    </a:lnTo>
                    <a:lnTo>
                      <a:pt x="27" y="44"/>
                    </a:lnTo>
                    <a:lnTo>
                      <a:pt x="27" y="49"/>
                    </a:lnTo>
                    <a:lnTo>
                      <a:pt x="26" y="51"/>
                    </a:lnTo>
                    <a:lnTo>
                      <a:pt x="25" y="4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87" name="Freeform 1042"/>
              <p:cNvSpPr>
                <a:spLocks/>
              </p:cNvSpPr>
              <p:nvPr/>
            </p:nvSpPr>
            <p:spPr bwMode="auto">
              <a:xfrm>
                <a:off x="2237347" y="2188394"/>
                <a:ext cx="26710" cy="50452"/>
              </a:xfrm>
              <a:custGeom>
                <a:avLst/>
                <a:gdLst>
                  <a:gd name="T0" fmla="*/ 25 w 27"/>
                  <a:gd name="T1" fmla="*/ 49 h 51"/>
                  <a:gd name="T2" fmla="*/ 25 w 27"/>
                  <a:gd name="T3" fmla="*/ 49 h 51"/>
                  <a:gd name="T4" fmla="*/ 22 w 27"/>
                  <a:gd name="T5" fmla="*/ 42 h 51"/>
                  <a:gd name="T6" fmla="*/ 19 w 27"/>
                  <a:gd name="T7" fmla="*/ 34 h 51"/>
                  <a:gd name="T8" fmla="*/ 14 w 27"/>
                  <a:gd name="T9" fmla="*/ 26 h 51"/>
                  <a:gd name="T10" fmla="*/ 12 w 27"/>
                  <a:gd name="T11" fmla="*/ 20 h 51"/>
                  <a:gd name="T12" fmla="*/ 12 w 27"/>
                  <a:gd name="T13" fmla="*/ 20 h 51"/>
                  <a:gd name="T14" fmla="*/ 4 w 27"/>
                  <a:gd name="T15" fmla="*/ 9 h 51"/>
                  <a:gd name="T16" fmla="*/ 0 w 27"/>
                  <a:gd name="T17" fmla="*/ 5 h 51"/>
                  <a:gd name="T18" fmla="*/ 0 w 27"/>
                  <a:gd name="T19" fmla="*/ 2 h 51"/>
                  <a:gd name="T20" fmla="*/ 0 w 27"/>
                  <a:gd name="T21" fmla="*/ 2 h 51"/>
                  <a:gd name="T22" fmla="*/ 0 w 27"/>
                  <a:gd name="T23" fmla="*/ 2 h 51"/>
                  <a:gd name="T24" fmla="*/ 3 w 27"/>
                  <a:gd name="T25" fmla="*/ 0 h 51"/>
                  <a:gd name="T26" fmla="*/ 4 w 27"/>
                  <a:gd name="T27" fmla="*/ 2 h 51"/>
                  <a:gd name="T28" fmla="*/ 10 w 27"/>
                  <a:gd name="T29" fmla="*/ 6 h 51"/>
                  <a:gd name="T30" fmla="*/ 10 w 27"/>
                  <a:gd name="T31" fmla="*/ 6 h 51"/>
                  <a:gd name="T32" fmla="*/ 17 w 27"/>
                  <a:gd name="T33" fmla="*/ 13 h 51"/>
                  <a:gd name="T34" fmla="*/ 19 w 27"/>
                  <a:gd name="T35" fmla="*/ 18 h 51"/>
                  <a:gd name="T36" fmla="*/ 19 w 27"/>
                  <a:gd name="T37" fmla="*/ 18 h 51"/>
                  <a:gd name="T38" fmla="*/ 23 w 27"/>
                  <a:gd name="T39" fmla="*/ 23 h 51"/>
                  <a:gd name="T40" fmla="*/ 27 w 27"/>
                  <a:gd name="T41" fmla="*/ 29 h 51"/>
                  <a:gd name="T42" fmla="*/ 27 w 27"/>
                  <a:gd name="T43" fmla="*/ 29 h 51"/>
                  <a:gd name="T44" fmla="*/ 27 w 27"/>
                  <a:gd name="T45" fmla="*/ 44 h 51"/>
                  <a:gd name="T46" fmla="*/ 27 w 27"/>
                  <a:gd name="T47" fmla="*/ 49 h 51"/>
                  <a:gd name="T48" fmla="*/ 26 w 27"/>
                  <a:gd name="T49" fmla="*/ 51 h 51"/>
                  <a:gd name="T50" fmla="*/ 25 w 27"/>
                  <a:gd name="T51" fmla="*/ 4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7" h="51">
                    <a:moveTo>
                      <a:pt x="25" y="49"/>
                    </a:moveTo>
                    <a:lnTo>
                      <a:pt x="25" y="49"/>
                    </a:lnTo>
                    <a:lnTo>
                      <a:pt x="22" y="42"/>
                    </a:lnTo>
                    <a:lnTo>
                      <a:pt x="19" y="34"/>
                    </a:lnTo>
                    <a:lnTo>
                      <a:pt x="14" y="2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4" y="9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4" y="2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7" y="13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23" y="23"/>
                    </a:lnTo>
                    <a:lnTo>
                      <a:pt x="27" y="29"/>
                    </a:lnTo>
                    <a:lnTo>
                      <a:pt x="27" y="29"/>
                    </a:lnTo>
                    <a:lnTo>
                      <a:pt x="27" y="44"/>
                    </a:lnTo>
                    <a:lnTo>
                      <a:pt x="27" y="49"/>
                    </a:lnTo>
                    <a:lnTo>
                      <a:pt x="26" y="51"/>
                    </a:lnTo>
                    <a:lnTo>
                      <a:pt x="25" y="4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88" name="Freeform 1043"/>
              <p:cNvSpPr>
                <a:spLocks/>
              </p:cNvSpPr>
              <p:nvPr/>
            </p:nvSpPr>
            <p:spPr bwMode="auto">
              <a:xfrm>
                <a:off x="2259111" y="2191361"/>
                <a:ext cx="16817" cy="25721"/>
              </a:xfrm>
              <a:custGeom>
                <a:avLst/>
                <a:gdLst>
                  <a:gd name="T0" fmla="*/ 10 w 17"/>
                  <a:gd name="T1" fmla="*/ 25 h 26"/>
                  <a:gd name="T2" fmla="*/ 10 w 17"/>
                  <a:gd name="T3" fmla="*/ 25 h 26"/>
                  <a:gd name="T4" fmla="*/ 10 w 17"/>
                  <a:gd name="T5" fmla="*/ 22 h 26"/>
                  <a:gd name="T6" fmla="*/ 10 w 17"/>
                  <a:gd name="T7" fmla="*/ 19 h 26"/>
                  <a:gd name="T8" fmla="*/ 10 w 17"/>
                  <a:gd name="T9" fmla="*/ 16 h 26"/>
                  <a:gd name="T10" fmla="*/ 8 w 17"/>
                  <a:gd name="T11" fmla="*/ 13 h 26"/>
                  <a:gd name="T12" fmla="*/ 8 w 17"/>
                  <a:gd name="T13" fmla="*/ 13 h 26"/>
                  <a:gd name="T14" fmla="*/ 1 w 17"/>
                  <a:gd name="T15" fmla="*/ 4 h 26"/>
                  <a:gd name="T16" fmla="*/ 0 w 17"/>
                  <a:gd name="T17" fmla="*/ 2 h 26"/>
                  <a:gd name="T18" fmla="*/ 0 w 17"/>
                  <a:gd name="T19" fmla="*/ 0 h 26"/>
                  <a:gd name="T20" fmla="*/ 0 w 17"/>
                  <a:gd name="T21" fmla="*/ 0 h 26"/>
                  <a:gd name="T22" fmla="*/ 0 w 17"/>
                  <a:gd name="T23" fmla="*/ 0 h 26"/>
                  <a:gd name="T24" fmla="*/ 10 w 17"/>
                  <a:gd name="T25" fmla="*/ 4 h 26"/>
                  <a:gd name="T26" fmla="*/ 16 w 17"/>
                  <a:gd name="T27" fmla="*/ 7 h 26"/>
                  <a:gd name="T28" fmla="*/ 17 w 17"/>
                  <a:gd name="T29" fmla="*/ 10 h 26"/>
                  <a:gd name="T30" fmla="*/ 17 w 17"/>
                  <a:gd name="T31" fmla="*/ 10 h 26"/>
                  <a:gd name="T32" fmla="*/ 17 w 17"/>
                  <a:gd name="T33" fmla="*/ 16 h 26"/>
                  <a:gd name="T34" fmla="*/ 16 w 17"/>
                  <a:gd name="T35" fmla="*/ 22 h 26"/>
                  <a:gd name="T36" fmla="*/ 13 w 17"/>
                  <a:gd name="T37" fmla="*/ 26 h 26"/>
                  <a:gd name="T38" fmla="*/ 11 w 17"/>
                  <a:gd name="T39" fmla="*/ 26 h 26"/>
                  <a:gd name="T40" fmla="*/ 10 w 17"/>
                  <a:gd name="T41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" h="26">
                    <a:moveTo>
                      <a:pt x="10" y="25"/>
                    </a:moveTo>
                    <a:lnTo>
                      <a:pt x="10" y="25"/>
                    </a:lnTo>
                    <a:lnTo>
                      <a:pt x="10" y="22"/>
                    </a:lnTo>
                    <a:lnTo>
                      <a:pt x="10" y="19"/>
                    </a:lnTo>
                    <a:lnTo>
                      <a:pt x="10" y="16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1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16" y="7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7" y="16"/>
                    </a:lnTo>
                    <a:lnTo>
                      <a:pt x="16" y="22"/>
                    </a:lnTo>
                    <a:lnTo>
                      <a:pt x="13" y="26"/>
                    </a:lnTo>
                    <a:lnTo>
                      <a:pt x="11" y="26"/>
                    </a:lnTo>
                    <a:lnTo>
                      <a:pt x="10" y="2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89" name="Freeform 1044"/>
              <p:cNvSpPr>
                <a:spLocks/>
              </p:cNvSpPr>
              <p:nvPr/>
            </p:nvSpPr>
            <p:spPr bwMode="auto">
              <a:xfrm>
                <a:off x="2259111" y="2191361"/>
                <a:ext cx="16817" cy="25721"/>
              </a:xfrm>
              <a:custGeom>
                <a:avLst/>
                <a:gdLst>
                  <a:gd name="T0" fmla="*/ 10 w 17"/>
                  <a:gd name="T1" fmla="*/ 25 h 26"/>
                  <a:gd name="T2" fmla="*/ 10 w 17"/>
                  <a:gd name="T3" fmla="*/ 25 h 26"/>
                  <a:gd name="T4" fmla="*/ 10 w 17"/>
                  <a:gd name="T5" fmla="*/ 22 h 26"/>
                  <a:gd name="T6" fmla="*/ 10 w 17"/>
                  <a:gd name="T7" fmla="*/ 19 h 26"/>
                  <a:gd name="T8" fmla="*/ 10 w 17"/>
                  <a:gd name="T9" fmla="*/ 16 h 26"/>
                  <a:gd name="T10" fmla="*/ 8 w 17"/>
                  <a:gd name="T11" fmla="*/ 13 h 26"/>
                  <a:gd name="T12" fmla="*/ 8 w 17"/>
                  <a:gd name="T13" fmla="*/ 13 h 26"/>
                  <a:gd name="T14" fmla="*/ 1 w 17"/>
                  <a:gd name="T15" fmla="*/ 4 h 26"/>
                  <a:gd name="T16" fmla="*/ 0 w 17"/>
                  <a:gd name="T17" fmla="*/ 2 h 26"/>
                  <a:gd name="T18" fmla="*/ 0 w 17"/>
                  <a:gd name="T19" fmla="*/ 0 h 26"/>
                  <a:gd name="T20" fmla="*/ 0 w 17"/>
                  <a:gd name="T21" fmla="*/ 0 h 26"/>
                  <a:gd name="T22" fmla="*/ 0 w 17"/>
                  <a:gd name="T23" fmla="*/ 0 h 26"/>
                  <a:gd name="T24" fmla="*/ 10 w 17"/>
                  <a:gd name="T25" fmla="*/ 4 h 26"/>
                  <a:gd name="T26" fmla="*/ 16 w 17"/>
                  <a:gd name="T27" fmla="*/ 7 h 26"/>
                  <a:gd name="T28" fmla="*/ 17 w 17"/>
                  <a:gd name="T29" fmla="*/ 10 h 26"/>
                  <a:gd name="T30" fmla="*/ 17 w 17"/>
                  <a:gd name="T31" fmla="*/ 10 h 26"/>
                  <a:gd name="T32" fmla="*/ 17 w 17"/>
                  <a:gd name="T33" fmla="*/ 16 h 26"/>
                  <a:gd name="T34" fmla="*/ 16 w 17"/>
                  <a:gd name="T35" fmla="*/ 22 h 26"/>
                  <a:gd name="T36" fmla="*/ 13 w 17"/>
                  <a:gd name="T37" fmla="*/ 26 h 26"/>
                  <a:gd name="T38" fmla="*/ 11 w 17"/>
                  <a:gd name="T39" fmla="*/ 26 h 26"/>
                  <a:gd name="T40" fmla="*/ 10 w 17"/>
                  <a:gd name="T41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" h="26">
                    <a:moveTo>
                      <a:pt x="10" y="25"/>
                    </a:moveTo>
                    <a:lnTo>
                      <a:pt x="10" y="25"/>
                    </a:lnTo>
                    <a:lnTo>
                      <a:pt x="10" y="22"/>
                    </a:lnTo>
                    <a:lnTo>
                      <a:pt x="10" y="19"/>
                    </a:lnTo>
                    <a:lnTo>
                      <a:pt x="10" y="16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1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16" y="7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7" y="16"/>
                    </a:lnTo>
                    <a:lnTo>
                      <a:pt x="16" y="22"/>
                    </a:lnTo>
                    <a:lnTo>
                      <a:pt x="13" y="26"/>
                    </a:lnTo>
                    <a:lnTo>
                      <a:pt x="11" y="26"/>
                    </a:lnTo>
                    <a:lnTo>
                      <a:pt x="10" y="2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90" name="Freeform 1045"/>
              <p:cNvSpPr>
                <a:spLocks/>
              </p:cNvSpPr>
              <p:nvPr/>
            </p:nvSpPr>
            <p:spPr bwMode="auto">
              <a:xfrm>
                <a:off x="2277907" y="2217082"/>
                <a:ext cx="7914" cy="15828"/>
              </a:xfrm>
              <a:custGeom>
                <a:avLst/>
                <a:gdLst>
                  <a:gd name="T0" fmla="*/ 0 w 8"/>
                  <a:gd name="T1" fmla="*/ 2 h 16"/>
                  <a:gd name="T2" fmla="*/ 0 w 8"/>
                  <a:gd name="T3" fmla="*/ 2 h 16"/>
                  <a:gd name="T4" fmla="*/ 0 w 8"/>
                  <a:gd name="T5" fmla="*/ 3 h 16"/>
                  <a:gd name="T6" fmla="*/ 1 w 8"/>
                  <a:gd name="T7" fmla="*/ 7 h 16"/>
                  <a:gd name="T8" fmla="*/ 2 w 8"/>
                  <a:gd name="T9" fmla="*/ 12 h 16"/>
                  <a:gd name="T10" fmla="*/ 2 w 8"/>
                  <a:gd name="T11" fmla="*/ 13 h 16"/>
                  <a:gd name="T12" fmla="*/ 2 w 8"/>
                  <a:gd name="T13" fmla="*/ 13 h 16"/>
                  <a:gd name="T14" fmla="*/ 2 w 8"/>
                  <a:gd name="T15" fmla="*/ 15 h 16"/>
                  <a:gd name="T16" fmla="*/ 4 w 8"/>
                  <a:gd name="T17" fmla="*/ 16 h 16"/>
                  <a:gd name="T18" fmla="*/ 7 w 8"/>
                  <a:gd name="T19" fmla="*/ 16 h 16"/>
                  <a:gd name="T20" fmla="*/ 8 w 8"/>
                  <a:gd name="T21" fmla="*/ 15 h 16"/>
                  <a:gd name="T22" fmla="*/ 8 w 8"/>
                  <a:gd name="T23" fmla="*/ 15 h 16"/>
                  <a:gd name="T24" fmla="*/ 8 w 8"/>
                  <a:gd name="T25" fmla="*/ 12 h 16"/>
                  <a:gd name="T26" fmla="*/ 7 w 8"/>
                  <a:gd name="T27" fmla="*/ 6 h 16"/>
                  <a:gd name="T28" fmla="*/ 4 w 8"/>
                  <a:gd name="T29" fmla="*/ 2 h 16"/>
                  <a:gd name="T30" fmla="*/ 2 w 8"/>
                  <a:gd name="T31" fmla="*/ 0 h 16"/>
                  <a:gd name="T32" fmla="*/ 0 w 8"/>
                  <a:gd name="T3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16">
                    <a:moveTo>
                      <a:pt x="0" y="2"/>
                    </a:moveTo>
                    <a:lnTo>
                      <a:pt x="0" y="2"/>
                    </a:lnTo>
                    <a:lnTo>
                      <a:pt x="0" y="3"/>
                    </a:lnTo>
                    <a:lnTo>
                      <a:pt x="1" y="7"/>
                    </a:lnTo>
                    <a:lnTo>
                      <a:pt x="2" y="12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4" y="16"/>
                    </a:lnTo>
                    <a:lnTo>
                      <a:pt x="7" y="16"/>
                    </a:lnTo>
                    <a:lnTo>
                      <a:pt x="8" y="15"/>
                    </a:lnTo>
                    <a:lnTo>
                      <a:pt x="8" y="15"/>
                    </a:lnTo>
                    <a:lnTo>
                      <a:pt x="8" y="12"/>
                    </a:lnTo>
                    <a:lnTo>
                      <a:pt x="7" y="6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91" name="Freeform 1046"/>
              <p:cNvSpPr>
                <a:spLocks/>
              </p:cNvSpPr>
              <p:nvPr/>
            </p:nvSpPr>
            <p:spPr bwMode="auto">
              <a:xfrm>
                <a:off x="2277907" y="2217082"/>
                <a:ext cx="7914" cy="15828"/>
              </a:xfrm>
              <a:custGeom>
                <a:avLst/>
                <a:gdLst>
                  <a:gd name="T0" fmla="*/ 0 w 8"/>
                  <a:gd name="T1" fmla="*/ 2 h 16"/>
                  <a:gd name="T2" fmla="*/ 0 w 8"/>
                  <a:gd name="T3" fmla="*/ 2 h 16"/>
                  <a:gd name="T4" fmla="*/ 0 w 8"/>
                  <a:gd name="T5" fmla="*/ 3 h 16"/>
                  <a:gd name="T6" fmla="*/ 1 w 8"/>
                  <a:gd name="T7" fmla="*/ 7 h 16"/>
                  <a:gd name="T8" fmla="*/ 2 w 8"/>
                  <a:gd name="T9" fmla="*/ 12 h 16"/>
                  <a:gd name="T10" fmla="*/ 2 w 8"/>
                  <a:gd name="T11" fmla="*/ 13 h 16"/>
                  <a:gd name="T12" fmla="*/ 2 w 8"/>
                  <a:gd name="T13" fmla="*/ 13 h 16"/>
                  <a:gd name="T14" fmla="*/ 2 w 8"/>
                  <a:gd name="T15" fmla="*/ 15 h 16"/>
                  <a:gd name="T16" fmla="*/ 4 w 8"/>
                  <a:gd name="T17" fmla="*/ 16 h 16"/>
                  <a:gd name="T18" fmla="*/ 7 w 8"/>
                  <a:gd name="T19" fmla="*/ 16 h 16"/>
                  <a:gd name="T20" fmla="*/ 8 w 8"/>
                  <a:gd name="T21" fmla="*/ 15 h 16"/>
                  <a:gd name="T22" fmla="*/ 8 w 8"/>
                  <a:gd name="T23" fmla="*/ 15 h 16"/>
                  <a:gd name="T24" fmla="*/ 8 w 8"/>
                  <a:gd name="T25" fmla="*/ 12 h 16"/>
                  <a:gd name="T26" fmla="*/ 7 w 8"/>
                  <a:gd name="T27" fmla="*/ 6 h 16"/>
                  <a:gd name="T28" fmla="*/ 4 w 8"/>
                  <a:gd name="T29" fmla="*/ 2 h 16"/>
                  <a:gd name="T30" fmla="*/ 2 w 8"/>
                  <a:gd name="T31" fmla="*/ 0 h 16"/>
                  <a:gd name="T32" fmla="*/ 0 w 8"/>
                  <a:gd name="T3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16">
                    <a:moveTo>
                      <a:pt x="0" y="2"/>
                    </a:moveTo>
                    <a:lnTo>
                      <a:pt x="0" y="2"/>
                    </a:lnTo>
                    <a:lnTo>
                      <a:pt x="0" y="3"/>
                    </a:lnTo>
                    <a:lnTo>
                      <a:pt x="1" y="7"/>
                    </a:lnTo>
                    <a:lnTo>
                      <a:pt x="2" y="12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4" y="16"/>
                    </a:lnTo>
                    <a:lnTo>
                      <a:pt x="7" y="16"/>
                    </a:lnTo>
                    <a:lnTo>
                      <a:pt x="8" y="15"/>
                    </a:lnTo>
                    <a:lnTo>
                      <a:pt x="8" y="15"/>
                    </a:lnTo>
                    <a:lnTo>
                      <a:pt x="8" y="12"/>
                    </a:lnTo>
                    <a:lnTo>
                      <a:pt x="7" y="6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92" name="Freeform 1047"/>
              <p:cNvSpPr>
                <a:spLocks/>
              </p:cNvSpPr>
              <p:nvPr/>
            </p:nvSpPr>
            <p:spPr bwMode="auto">
              <a:xfrm>
                <a:off x="1942548" y="2193340"/>
                <a:ext cx="36603" cy="41549"/>
              </a:xfrm>
              <a:custGeom>
                <a:avLst/>
                <a:gdLst>
                  <a:gd name="T0" fmla="*/ 11 w 37"/>
                  <a:gd name="T1" fmla="*/ 40 h 42"/>
                  <a:gd name="T2" fmla="*/ 11 w 37"/>
                  <a:gd name="T3" fmla="*/ 40 h 42"/>
                  <a:gd name="T4" fmla="*/ 10 w 37"/>
                  <a:gd name="T5" fmla="*/ 34 h 42"/>
                  <a:gd name="T6" fmla="*/ 8 w 37"/>
                  <a:gd name="T7" fmla="*/ 33 h 42"/>
                  <a:gd name="T8" fmla="*/ 8 w 37"/>
                  <a:gd name="T9" fmla="*/ 31 h 42"/>
                  <a:gd name="T10" fmla="*/ 8 w 37"/>
                  <a:gd name="T11" fmla="*/ 31 h 42"/>
                  <a:gd name="T12" fmla="*/ 2 w 37"/>
                  <a:gd name="T13" fmla="*/ 31 h 42"/>
                  <a:gd name="T14" fmla="*/ 1 w 37"/>
                  <a:gd name="T15" fmla="*/ 30 h 42"/>
                  <a:gd name="T16" fmla="*/ 0 w 37"/>
                  <a:gd name="T17" fmla="*/ 27 h 42"/>
                  <a:gd name="T18" fmla="*/ 0 w 37"/>
                  <a:gd name="T19" fmla="*/ 27 h 42"/>
                  <a:gd name="T20" fmla="*/ 1 w 37"/>
                  <a:gd name="T21" fmla="*/ 18 h 42"/>
                  <a:gd name="T22" fmla="*/ 2 w 37"/>
                  <a:gd name="T23" fmla="*/ 15 h 42"/>
                  <a:gd name="T24" fmla="*/ 5 w 37"/>
                  <a:gd name="T25" fmla="*/ 14 h 42"/>
                  <a:gd name="T26" fmla="*/ 5 w 37"/>
                  <a:gd name="T27" fmla="*/ 14 h 42"/>
                  <a:gd name="T28" fmla="*/ 11 w 37"/>
                  <a:gd name="T29" fmla="*/ 15 h 42"/>
                  <a:gd name="T30" fmla="*/ 13 w 37"/>
                  <a:gd name="T31" fmla="*/ 15 h 42"/>
                  <a:gd name="T32" fmla="*/ 14 w 37"/>
                  <a:gd name="T33" fmla="*/ 15 h 42"/>
                  <a:gd name="T34" fmla="*/ 14 w 37"/>
                  <a:gd name="T35" fmla="*/ 15 h 42"/>
                  <a:gd name="T36" fmla="*/ 13 w 37"/>
                  <a:gd name="T37" fmla="*/ 10 h 42"/>
                  <a:gd name="T38" fmla="*/ 13 w 37"/>
                  <a:gd name="T39" fmla="*/ 8 h 42"/>
                  <a:gd name="T40" fmla="*/ 14 w 37"/>
                  <a:gd name="T41" fmla="*/ 8 h 42"/>
                  <a:gd name="T42" fmla="*/ 14 w 37"/>
                  <a:gd name="T43" fmla="*/ 8 h 42"/>
                  <a:gd name="T44" fmla="*/ 21 w 37"/>
                  <a:gd name="T45" fmla="*/ 8 h 42"/>
                  <a:gd name="T46" fmla="*/ 24 w 37"/>
                  <a:gd name="T47" fmla="*/ 8 h 42"/>
                  <a:gd name="T48" fmla="*/ 26 w 37"/>
                  <a:gd name="T49" fmla="*/ 7 h 42"/>
                  <a:gd name="T50" fmla="*/ 26 w 37"/>
                  <a:gd name="T51" fmla="*/ 7 h 42"/>
                  <a:gd name="T52" fmla="*/ 24 w 37"/>
                  <a:gd name="T53" fmla="*/ 1 h 42"/>
                  <a:gd name="T54" fmla="*/ 24 w 37"/>
                  <a:gd name="T55" fmla="*/ 0 h 42"/>
                  <a:gd name="T56" fmla="*/ 26 w 37"/>
                  <a:gd name="T57" fmla="*/ 1 h 42"/>
                  <a:gd name="T58" fmla="*/ 26 w 37"/>
                  <a:gd name="T59" fmla="*/ 1 h 42"/>
                  <a:gd name="T60" fmla="*/ 30 w 37"/>
                  <a:gd name="T61" fmla="*/ 5 h 42"/>
                  <a:gd name="T62" fmla="*/ 31 w 37"/>
                  <a:gd name="T63" fmla="*/ 8 h 42"/>
                  <a:gd name="T64" fmla="*/ 33 w 37"/>
                  <a:gd name="T65" fmla="*/ 10 h 42"/>
                  <a:gd name="T66" fmla="*/ 33 w 37"/>
                  <a:gd name="T67" fmla="*/ 10 h 42"/>
                  <a:gd name="T68" fmla="*/ 34 w 37"/>
                  <a:gd name="T69" fmla="*/ 11 h 42"/>
                  <a:gd name="T70" fmla="*/ 37 w 37"/>
                  <a:gd name="T71" fmla="*/ 14 h 42"/>
                  <a:gd name="T72" fmla="*/ 37 w 37"/>
                  <a:gd name="T73" fmla="*/ 17 h 42"/>
                  <a:gd name="T74" fmla="*/ 36 w 37"/>
                  <a:gd name="T75" fmla="*/ 18 h 42"/>
                  <a:gd name="T76" fmla="*/ 36 w 37"/>
                  <a:gd name="T77" fmla="*/ 18 h 42"/>
                  <a:gd name="T78" fmla="*/ 31 w 37"/>
                  <a:gd name="T79" fmla="*/ 27 h 42"/>
                  <a:gd name="T80" fmla="*/ 29 w 37"/>
                  <a:gd name="T81" fmla="*/ 31 h 42"/>
                  <a:gd name="T82" fmla="*/ 27 w 37"/>
                  <a:gd name="T83" fmla="*/ 33 h 42"/>
                  <a:gd name="T84" fmla="*/ 27 w 37"/>
                  <a:gd name="T85" fmla="*/ 33 h 42"/>
                  <a:gd name="T86" fmla="*/ 24 w 37"/>
                  <a:gd name="T87" fmla="*/ 30 h 42"/>
                  <a:gd name="T88" fmla="*/ 23 w 37"/>
                  <a:gd name="T89" fmla="*/ 30 h 42"/>
                  <a:gd name="T90" fmla="*/ 21 w 37"/>
                  <a:gd name="T91" fmla="*/ 30 h 42"/>
                  <a:gd name="T92" fmla="*/ 21 w 37"/>
                  <a:gd name="T93" fmla="*/ 30 h 42"/>
                  <a:gd name="T94" fmla="*/ 17 w 37"/>
                  <a:gd name="T95" fmla="*/ 37 h 42"/>
                  <a:gd name="T96" fmla="*/ 14 w 37"/>
                  <a:gd name="T97" fmla="*/ 40 h 42"/>
                  <a:gd name="T98" fmla="*/ 13 w 37"/>
                  <a:gd name="T99" fmla="*/ 42 h 42"/>
                  <a:gd name="T100" fmla="*/ 11 w 37"/>
                  <a:gd name="T101" fmla="*/ 4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" h="42">
                    <a:moveTo>
                      <a:pt x="11" y="40"/>
                    </a:moveTo>
                    <a:lnTo>
                      <a:pt x="11" y="40"/>
                    </a:lnTo>
                    <a:lnTo>
                      <a:pt x="10" y="34"/>
                    </a:lnTo>
                    <a:lnTo>
                      <a:pt x="8" y="33"/>
                    </a:lnTo>
                    <a:lnTo>
                      <a:pt x="8" y="31"/>
                    </a:lnTo>
                    <a:lnTo>
                      <a:pt x="8" y="31"/>
                    </a:lnTo>
                    <a:lnTo>
                      <a:pt x="2" y="31"/>
                    </a:lnTo>
                    <a:lnTo>
                      <a:pt x="1" y="30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1" y="18"/>
                    </a:lnTo>
                    <a:lnTo>
                      <a:pt x="2" y="15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11" y="15"/>
                    </a:lnTo>
                    <a:lnTo>
                      <a:pt x="13" y="15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13" y="10"/>
                    </a:lnTo>
                    <a:lnTo>
                      <a:pt x="13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21" y="8"/>
                    </a:lnTo>
                    <a:lnTo>
                      <a:pt x="24" y="8"/>
                    </a:lnTo>
                    <a:lnTo>
                      <a:pt x="26" y="7"/>
                    </a:lnTo>
                    <a:lnTo>
                      <a:pt x="26" y="7"/>
                    </a:lnTo>
                    <a:lnTo>
                      <a:pt x="24" y="1"/>
                    </a:lnTo>
                    <a:lnTo>
                      <a:pt x="24" y="0"/>
                    </a:lnTo>
                    <a:lnTo>
                      <a:pt x="26" y="1"/>
                    </a:lnTo>
                    <a:lnTo>
                      <a:pt x="26" y="1"/>
                    </a:lnTo>
                    <a:lnTo>
                      <a:pt x="30" y="5"/>
                    </a:lnTo>
                    <a:lnTo>
                      <a:pt x="31" y="8"/>
                    </a:lnTo>
                    <a:lnTo>
                      <a:pt x="33" y="10"/>
                    </a:lnTo>
                    <a:lnTo>
                      <a:pt x="33" y="10"/>
                    </a:lnTo>
                    <a:lnTo>
                      <a:pt x="34" y="11"/>
                    </a:lnTo>
                    <a:lnTo>
                      <a:pt x="37" y="14"/>
                    </a:lnTo>
                    <a:lnTo>
                      <a:pt x="37" y="17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1" y="27"/>
                    </a:lnTo>
                    <a:lnTo>
                      <a:pt x="29" y="31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4" y="30"/>
                    </a:lnTo>
                    <a:lnTo>
                      <a:pt x="23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17" y="37"/>
                    </a:lnTo>
                    <a:lnTo>
                      <a:pt x="14" y="40"/>
                    </a:lnTo>
                    <a:lnTo>
                      <a:pt x="13" y="42"/>
                    </a:lnTo>
                    <a:lnTo>
                      <a:pt x="11" y="4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93" name="Freeform 1048"/>
              <p:cNvSpPr>
                <a:spLocks/>
              </p:cNvSpPr>
              <p:nvPr/>
            </p:nvSpPr>
            <p:spPr bwMode="auto">
              <a:xfrm>
                <a:off x="1942548" y="2193340"/>
                <a:ext cx="36603" cy="41549"/>
              </a:xfrm>
              <a:custGeom>
                <a:avLst/>
                <a:gdLst>
                  <a:gd name="T0" fmla="*/ 11 w 37"/>
                  <a:gd name="T1" fmla="*/ 40 h 42"/>
                  <a:gd name="T2" fmla="*/ 11 w 37"/>
                  <a:gd name="T3" fmla="*/ 40 h 42"/>
                  <a:gd name="T4" fmla="*/ 10 w 37"/>
                  <a:gd name="T5" fmla="*/ 34 h 42"/>
                  <a:gd name="T6" fmla="*/ 8 w 37"/>
                  <a:gd name="T7" fmla="*/ 33 h 42"/>
                  <a:gd name="T8" fmla="*/ 8 w 37"/>
                  <a:gd name="T9" fmla="*/ 31 h 42"/>
                  <a:gd name="T10" fmla="*/ 8 w 37"/>
                  <a:gd name="T11" fmla="*/ 31 h 42"/>
                  <a:gd name="T12" fmla="*/ 2 w 37"/>
                  <a:gd name="T13" fmla="*/ 31 h 42"/>
                  <a:gd name="T14" fmla="*/ 1 w 37"/>
                  <a:gd name="T15" fmla="*/ 30 h 42"/>
                  <a:gd name="T16" fmla="*/ 0 w 37"/>
                  <a:gd name="T17" fmla="*/ 27 h 42"/>
                  <a:gd name="T18" fmla="*/ 0 w 37"/>
                  <a:gd name="T19" fmla="*/ 27 h 42"/>
                  <a:gd name="T20" fmla="*/ 1 w 37"/>
                  <a:gd name="T21" fmla="*/ 18 h 42"/>
                  <a:gd name="T22" fmla="*/ 2 w 37"/>
                  <a:gd name="T23" fmla="*/ 15 h 42"/>
                  <a:gd name="T24" fmla="*/ 5 w 37"/>
                  <a:gd name="T25" fmla="*/ 14 h 42"/>
                  <a:gd name="T26" fmla="*/ 5 w 37"/>
                  <a:gd name="T27" fmla="*/ 14 h 42"/>
                  <a:gd name="T28" fmla="*/ 11 w 37"/>
                  <a:gd name="T29" fmla="*/ 15 h 42"/>
                  <a:gd name="T30" fmla="*/ 13 w 37"/>
                  <a:gd name="T31" fmla="*/ 15 h 42"/>
                  <a:gd name="T32" fmla="*/ 14 w 37"/>
                  <a:gd name="T33" fmla="*/ 15 h 42"/>
                  <a:gd name="T34" fmla="*/ 14 w 37"/>
                  <a:gd name="T35" fmla="*/ 15 h 42"/>
                  <a:gd name="T36" fmla="*/ 13 w 37"/>
                  <a:gd name="T37" fmla="*/ 10 h 42"/>
                  <a:gd name="T38" fmla="*/ 13 w 37"/>
                  <a:gd name="T39" fmla="*/ 8 h 42"/>
                  <a:gd name="T40" fmla="*/ 14 w 37"/>
                  <a:gd name="T41" fmla="*/ 8 h 42"/>
                  <a:gd name="T42" fmla="*/ 14 w 37"/>
                  <a:gd name="T43" fmla="*/ 8 h 42"/>
                  <a:gd name="T44" fmla="*/ 21 w 37"/>
                  <a:gd name="T45" fmla="*/ 8 h 42"/>
                  <a:gd name="T46" fmla="*/ 24 w 37"/>
                  <a:gd name="T47" fmla="*/ 8 h 42"/>
                  <a:gd name="T48" fmla="*/ 26 w 37"/>
                  <a:gd name="T49" fmla="*/ 7 h 42"/>
                  <a:gd name="T50" fmla="*/ 26 w 37"/>
                  <a:gd name="T51" fmla="*/ 7 h 42"/>
                  <a:gd name="T52" fmla="*/ 24 w 37"/>
                  <a:gd name="T53" fmla="*/ 1 h 42"/>
                  <a:gd name="T54" fmla="*/ 24 w 37"/>
                  <a:gd name="T55" fmla="*/ 0 h 42"/>
                  <a:gd name="T56" fmla="*/ 26 w 37"/>
                  <a:gd name="T57" fmla="*/ 1 h 42"/>
                  <a:gd name="T58" fmla="*/ 26 w 37"/>
                  <a:gd name="T59" fmla="*/ 1 h 42"/>
                  <a:gd name="T60" fmla="*/ 30 w 37"/>
                  <a:gd name="T61" fmla="*/ 5 h 42"/>
                  <a:gd name="T62" fmla="*/ 31 w 37"/>
                  <a:gd name="T63" fmla="*/ 8 h 42"/>
                  <a:gd name="T64" fmla="*/ 33 w 37"/>
                  <a:gd name="T65" fmla="*/ 10 h 42"/>
                  <a:gd name="T66" fmla="*/ 33 w 37"/>
                  <a:gd name="T67" fmla="*/ 10 h 42"/>
                  <a:gd name="T68" fmla="*/ 34 w 37"/>
                  <a:gd name="T69" fmla="*/ 11 h 42"/>
                  <a:gd name="T70" fmla="*/ 37 w 37"/>
                  <a:gd name="T71" fmla="*/ 14 h 42"/>
                  <a:gd name="T72" fmla="*/ 37 w 37"/>
                  <a:gd name="T73" fmla="*/ 17 h 42"/>
                  <a:gd name="T74" fmla="*/ 36 w 37"/>
                  <a:gd name="T75" fmla="*/ 18 h 42"/>
                  <a:gd name="T76" fmla="*/ 36 w 37"/>
                  <a:gd name="T77" fmla="*/ 18 h 42"/>
                  <a:gd name="T78" fmla="*/ 31 w 37"/>
                  <a:gd name="T79" fmla="*/ 27 h 42"/>
                  <a:gd name="T80" fmla="*/ 29 w 37"/>
                  <a:gd name="T81" fmla="*/ 31 h 42"/>
                  <a:gd name="T82" fmla="*/ 27 w 37"/>
                  <a:gd name="T83" fmla="*/ 33 h 42"/>
                  <a:gd name="T84" fmla="*/ 27 w 37"/>
                  <a:gd name="T85" fmla="*/ 33 h 42"/>
                  <a:gd name="T86" fmla="*/ 24 w 37"/>
                  <a:gd name="T87" fmla="*/ 30 h 42"/>
                  <a:gd name="T88" fmla="*/ 23 w 37"/>
                  <a:gd name="T89" fmla="*/ 30 h 42"/>
                  <a:gd name="T90" fmla="*/ 21 w 37"/>
                  <a:gd name="T91" fmla="*/ 30 h 42"/>
                  <a:gd name="T92" fmla="*/ 21 w 37"/>
                  <a:gd name="T93" fmla="*/ 30 h 42"/>
                  <a:gd name="T94" fmla="*/ 17 w 37"/>
                  <a:gd name="T95" fmla="*/ 37 h 42"/>
                  <a:gd name="T96" fmla="*/ 14 w 37"/>
                  <a:gd name="T97" fmla="*/ 40 h 42"/>
                  <a:gd name="T98" fmla="*/ 13 w 37"/>
                  <a:gd name="T99" fmla="*/ 42 h 42"/>
                  <a:gd name="T100" fmla="*/ 11 w 37"/>
                  <a:gd name="T101" fmla="*/ 4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" h="42">
                    <a:moveTo>
                      <a:pt x="11" y="40"/>
                    </a:moveTo>
                    <a:lnTo>
                      <a:pt x="11" y="40"/>
                    </a:lnTo>
                    <a:lnTo>
                      <a:pt x="10" y="34"/>
                    </a:lnTo>
                    <a:lnTo>
                      <a:pt x="8" y="33"/>
                    </a:lnTo>
                    <a:lnTo>
                      <a:pt x="8" y="31"/>
                    </a:lnTo>
                    <a:lnTo>
                      <a:pt x="8" y="31"/>
                    </a:lnTo>
                    <a:lnTo>
                      <a:pt x="2" y="31"/>
                    </a:lnTo>
                    <a:lnTo>
                      <a:pt x="1" y="30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1" y="18"/>
                    </a:lnTo>
                    <a:lnTo>
                      <a:pt x="2" y="15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11" y="15"/>
                    </a:lnTo>
                    <a:lnTo>
                      <a:pt x="13" y="15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13" y="10"/>
                    </a:lnTo>
                    <a:lnTo>
                      <a:pt x="13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21" y="8"/>
                    </a:lnTo>
                    <a:lnTo>
                      <a:pt x="24" y="8"/>
                    </a:lnTo>
                    <a:lnTo>
                      <a:pt x="26" y="7"/>
                    </a:lnTo>
                    <a:lnTo>
                      <a:pt x="26" y="7"/>
                    </a:lnTo>
                    <a:lnTo>
                      <a:pt x="24" y="1"/>
                    </a:lnTo>
                    <a:lnTo>
                      <a:pt x="24" y="0"/>
                    </a:lnTo>
                    <a:lnTo>
                      <a:pt x="26" y="1"/>
                    </a:lnTo>
                    <a:lnTo>
                      <a:pt x="26" y="1"/>
                    </a:lnTo>
                    <a:lnTo>
                      <a:pt x="30" y="5"/>
                    </a:lnTo>
                    <a:lnTo>
                      <a:pt x="31" y="8"/>
                    </a:lnTo>
                    <a:lnTo>
                      <a:pt x="33" y="10"/>
                    </a:lnTo>
                    <a:lnTo>
                      <a:pt x="33" y="10"/>
                    </a:lnTo>
                    <a:lnTo>
                      <a:pt x="34" y="11"/>
                    </a:lnTo>
                    <a:lnTo>
                      <a:pt x="37" y="14"/>
                    </a:lnTo>
                    <a:lnTo>
                      <a:pt x="37" y="17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1" y="27"/>
                    </a:lnTo>
                    <a:lnTo>
                      <a:pt x="29" y="31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4" y="30"/>
                    </a:lnTo>
                    <a:lnTo>
                      <a:pt x="23" y="30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17" y="37"/>
                    </a:lnTo>
                    <a:lnTo>
                      <a:pt x="14" y="40"/>
                    </a:lnTo>
                    <a:lnTo>
                      <a:pt x="13" y="42"/>
                    </a:lnTo>
                    <a:lnTo>
                      <a:pt x="11" y="4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94" name="Freeform 1049"/>
              <p:cNvSpPr>
                <a:spLocks/>
              </p:cNvSpPr>
              <p:nvPr/>
            </p:nvSpPr>
            <p:spPr bwMode="auto">
              <a:xfrm>
                <a:off x="1972225" y="2184437"/>
                <a:ext cx="16817" cy="8903"/>
              </a:xfrm>
              <a:custGeom>
                <a:avLst/>
                <a:gdLst>
                  <a:gd name="T0" fmla="*/ 7 w 17"/>
                  <a:gd name="T1" fmla="*/ 9 h 9"/>
                  <a:gd name="T2" fmla="*/ 7 w 17"/>
                  <a:gd name="T3" fmla="*/ 9 h 9"/>
                  <a:gd name="T4" fmla="*/ 4 w 17"/>
                  <a:gd name="T5" fmla="*/ 9 h 9"/>
                  <a:gd name="T6" fmla="*/ 1 w 17"/>
                  <a:gd name="T7" fmla="*/ 6 h 9"/>
                  <a:gd name="T8" fmla="*/ 0 w 17"/>
                  <a:gd name="T9" fmla="*/ 3 h 9"/>
                  <a:gd name="T10" fmla="*/ 1 w 17"/>
                  <a:gd name="T11" fmla="*/ 0 h 9"/>
                  <a:gd name="T12" fmla="*/ 1 w 17"/>
                  <a:gd name="T13" fmla="*/ 0 h 9"/>
                  <a:gd name="T14" fmla="*/ 6 w 17"/>
                  <a:gd name="T15" fmla="*/ 0 h 9"/>
                  <a:gd name="T16" fmla="*/ 10 w 17"/>
                  <a:gd name="T17" fmla="*/ 3 h 9"/>
                  <a:gd name="T18" fmla="*/ 17 w 17"/>
                  <a:gd name="T19" fmla="*/ 6 h 9"/>
                  <a:gd name="T20" fmla="*/ 17 w 17"/>
                  <a:gd name="T21" fmla="*/ 6 h 9"/>
                  <a:gd name="T22" fmla="*/ 17 w 17"/>
                  <a:gd name="T23" fmla="*/ 6 h 9"/>
                  <a:gd name="T24" fmla="*/ 14 w 17"/>
                  <a:gd name="T25" fmla="*/ 7 h 9"/>
                  <a:gd name="T26" fmla="*/ 7 w 17"/>
                  <a:gd name="T2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" h="9">
                    <a:moveTo>
                      <a:pt x="7" y="9"/>
                    </a:moveTo>
                    <a:lnTo>
                      <a:pt x="7" y="9"/>
                    </a:lnTo>
                    <a:lnTo>
                      <a:pt x="4" y="9"/>
                    </a:lnTo>
                    <a:lnTo>
                      <a:pt x="1" y="6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" y="0"/>
                    </a:lnTo>
                    <a:lnTo>
                      <a:pt x="10" y="3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4" y="7"/>
                    </a:lnTo>
                    <a:lnTo>
                      <a:pt x="7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95" name="Freeform 1050"/>
              <p:cNvSpPr>
                <a:spLocks/>
              </p:cNvSpPr>
              <p:nvPr/>
            </p:nvSpPr>
            <p:spPr bwMode="auto">
              <a:xfrm>
                <a:off x="1972225" y="2184437"/>
                <a:ext cx="16817" cy="8903"/>
              </a:xfrm>
              <a:custGeom>
                <a:avLst/>
                <a:gdLst>
                  <a:gd name="T0" fmla="*/ 7 w 17"/>
                  <a:gd name="T1" fmla="*/ 9 h 9"/>
                  <a:gd name="T2" fmla="*/ 7 w 17"/>
                  <a:gd name="T3" fmla="*/ 9 h 9"/>
                  <a:gd name="T4" fmla="*/ 4 w 17"/>
                  <a:gd name="T5" fmla="*/ 9 h 9"/>
                  <a:gd name="T6" fmla="*/ 1 w 17"/>
                  <a:gd name="T7" fmla="*/ 6 h 9"/>
                  <a:gd name="T8" fmla="*/ 0 w 17"/>
                  <a:gd name="T9" fmla="*/ 3 h 9"/>
                  <a:gd name="T10" fmla="*/ 1 w 17"/>
                  <a:gd name="T11" fmla="*/ 0 h 9"/>
                  <a:gd name="T12" fmla="*/ 1 w 17"/>
                  <a:gd name="T13" fmla="*/ 0 h 9"/>
                  <a:gd name="T14" fmla="*/ 6 w 17"/>
                  <a:gd name="T15" fmla="*/ 0 h 9"/>
                  <a:gd name="T16" fmla="*/ 10 w 17"/>
                  <a:gd name="T17" fmla="*/ 3 h 9"/>
                  <a:gd name="T18" fmla="*/ 17 w 17"/>
                  <a:gd name="T19" fmla="*/ 6 h 9"/>
                  <a:gd name="T20" fmla="*/ 17 w 17"/>
                  <a:gd name="T21" fmla="*/ 6 h 9"/>
                  <a:gd name="T22" fmla="*/ 17 w 17"/>
                  <a:gd name="T23" fmla="*/ 6 h 9"/>
                  <a:gd name="T24" fmla="*/ 14 w 17"/>
                  <a:gd name="T25" fmla="*/ 7 h 9"/>
                  <a:gd name="T26" fmla="*/ 7 w 17"/>
                  <a:gd name="T2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" h="9">
                    <a:moveTo>
                      <a:pt x="7" y="9"/>
                    </a:moveTo>
                    <a:lnTo>
                      <a:pt x="7" y="9"/>
                    </a:lnTo>
                    <a:lnTo>
                      <a:pt x="4" y="9"/>
                    </a:lnTo>
                    <a:lnTo>
                      <a:pt x="1" y="6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6" y="0"/>
                    </a:lnTo>
                    <a:lnTo>
                      <a:pt x="10" y="3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4" y="7"/>
                    </a:lnTo>
                    <a:lnTo>
                      <a:pt x="7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96" name="Freeform 1051"/>
              <p:cNvSpPr>
                <a:spLocks/>
              </p:cNvSpPr>
              <p:nvPr/>
            </p:nvSpPr>
            <p:spPr bwMode="auto">
              <a:xfrm>
                <a:off x="1784266" y="2276438"/>
                <a:ext cx="21764" cy="13850"/>
              </a:xfrm>
              <a:custGeom>
                <a:avLst/>
                <a:gdLst>
                  <a:gd name="T0" fmla="*/ 19 w 22"/>
                  <a:gd name="T1" fmla="*/ 10 h 14"/>
                  <a:gd name="T2" fmla="*/ 19 w 22"/>
                  <a:gd name="T3" fmla="*/ 10 h 14"/>
                  <a:gd name="T4" fmla="*/ 15 w 22"/>
                  <a:gd name="T5" fmla="*/ 11 h 14"/>
                  <a:gd name="T6" fmla="*/ 9 w 22"/>
                  <a:gd name="T7" fmla="*/ 13 h 14"/>
                  <a:gd name="T8" fmla="*/ 3 w 22"/>
                  <a:gd name="T9" fmla="*/ 14 h 14"/>
                  <a:gd name="T10" fmla="*/ 2 w 22"/>
                  <a:gd name="T11" fmla="*/ 14 h 14"/>
                  <a:gd name="T12" fmla="*/ 0 w 22"/>
                  <a:gd name="T13" fmla="*/ 13 h 14"/>
                  <a:gd name="T14" fmla="*/ 0 w 22"/>
                  <a:gd name="T15" fmla="*/ 13 h 14"/>
                  <a:gd name="T16" fmla="*/ 0 w 22"/>
                  <a:gd name="T17" fmla="*/ 11 h 14"/>
                  <a:gd name="T18" fmla="*/ 2 w 22"/>
                  <a:gd name="T19" fmla="*/ 8 h 14"/>
                  <a:gd name="T20" fmla="*/ 8 w 22"/>
                  <a:gd name="T21" fmla="*/ 4 h 14"/>
                  <a:gd name="T22" fmla="*/ 8 w 22"/>
                  <a:gd name="T23" fmla="*/ 4 h 14"/>
                  <a:gd name="T24" fmla="*/ 13 w 22"/>
                  <a:gd name="T25" fmla="*/ 1 h 14"/>
                  <a:gd name="T26" fmla="*/ 16 w 22"/>
                  <a:gd name="T27" fmla="*/ 0 h 14"/>
                  <a:gd name="T28" fmla="*/ 18 w 22"/>
                  <a:gd name="T29" fmla="*/ 1 h 14"/>
                  <a:gd name="T30" fmla="*/ 18 w 22"/>
                  <a:gd name="T31" fmla="*/ 1 h 14"/>
                  <a:gd name="T32" fmla="*/ 21 w 22"/>
                  <a:gd name="T33" fmla="*/ 5 h 14"/>
                  <a:gd name="T34" fmla="*/ 22 w 22"/>
                  <a:gd name="T35" fmla="*/ 8 h 14"/>
                  <a:gd name="T36" fmla="*/ 21 w 22"/>
                  <a:gd name="T37" fmla="*/ 10 h 14"/>
                  <a:gd name="T38" fmla="*/ 19 w 22"/>
                  <a:gd name="T3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" h="14">
                    <a:moveTo>
                      <a:pt x="19" y="10"/>
                    </a:moveTo>
                    <a:lnTo>
                      <a:pt x="19" y="10"/>
                    </a:lnTo>
                    <a:lnTo>
                      <a:pt x="15" y="11"/>
                    </a:lnTo>
                    <a:lnTo>
                      <a:pt x="9" y="13"/>
                    </a:lnTo>
                    <a:lnTo>
                      <a:pt x="3" y="14"/>
                    </a:lnTo>
                    <a:lnTo>
                      <a:pt x="2" y="14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2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3" y="1"/>
                    </a:lnTo>
                    <a:lnTo>
                      <a:pt x="16" y="0"/>
                    </a:lnTo>
                    <a:lnTo>
                      <a:pt x="18" y="1"/>
                    </a:lnTo>
                    <a:lnTo>
                      <a:pt x="18" y="1"/>
                    </a:lnTo>
                    <a:lnTo>
                      <a:pt x="21" y="5"/>
                    </a:lnTo>
                    <a:lnTo>
                      <a:pt x="22" y="8"/>
                    </a:lnTo>
                    <a:lnTo>
                      <a:pt x="21" y="10"/>
                    </a:lnTo>
                    <a:lnTo>
                      <a:pt x="19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97" name="Freeform 1052"/>
              <p:cNvSpPr>
                <a:spLocks/>
              </p:cNvSpPr>
              <p:nvPr/>
            </p:nvSpPr>
            <p:spPr bwMode="auto">
              <a:xfrm>
                <a:off x="1784266" y="2276438"/>
                <a:ext cx="21764" cy="13850"/>
              </a:xfrm>
              <a:custGeom>
                <a:avLst/>
                <a:gdLst>
                  <a:gd name="T0" fmla="*/ 19 w 22"/>
                  <a:gd name="T1" fmla="*/ 10 h 14"/>
                  <a:gd name="T2" fmla="*/ 19 w 22"/>
                  <a:gd name="T3" fmla="*/ 10 h 14"/>
                  <a:gd name="T4" fmla="*/ 15 w 22"/>
                  <a:gd name="T5" fmla="*/ 11 h 14"/>
                  <a:gd name="T6" fmla="*/ 9 w 22"/>
                  <a:gd name="T7" fmla="*/ 13 h 14"/>
                  <a:gd name="T8" fmla="*/ 3 w 22"/>
                  <a:gd name="T9" fmla="*/ 14 h 14"/>
                  <a:gd name="T10" fmla="*/ 2 w 22"/>
                  <a:gd name="T11" fmla="*/ 14 h 14"/>
                  <a:gd name="T12" fmla="*/ 0 w 22"/>
                  <a:gd name="T13" fmla="*/ 13 h 14"/>
                  <a:gd name="T14" fmla="*/ 0 w 22"/>
                  <a:gd name="T15" fmla="*/ 13 h 14"/>
                  <a:gd name="T16" fmla="*/ 0 w 22"/>
                  <a:gd name="T17" fmla="*/ 11 h 14"/>
                  <a:gd name="T18" fmla="*/ 2 w 22"/>
                  <a:gd name="T19" fmla="*/ 8 h 14"/>
                  <a:gd name="T20" fmla="*/ 8 w 22"/>
                  <a:gd name="T21" fmla="*/ 4 h 14"/>
                  <a:gd name="T22" fmla="*/ 8 w 22"/>
                  <a:gd name="T23" fmla="*/ 4 h 14"/>
                  <a:gd name="T24" fmla="*/ 13 w 22"/>
                  <a:gd name="T25" fmla="*/ 1 h 14"/>
                  <a:gd name="T26" fmla="*/ 16 w 22"/>
                  <a:gd name="T27" fmla="*/ 0 h 14"/>
                  <a:gd name="T28" fmla="*/ 18 w 22"/>
                  <a:gd name="T29" fmla="*/ 1 h 14"/>
                  <a:gd name="T30" fmla="*/ 18 w 22"/>
                  <a:gd name="T31" fmla="*/ 1 h 14"/>
                  <a:gd name="T32" fmla="*/ 21 w 22"/>
                  <a:gd name="T33" fmla="*/ 5 h 14"/>
                  <a:gd name="T34" fmla="*/ 22 w 22"/>
                  <a:gd name="T35" fmla="*/ 8 h 14"/>
                  <a:gd name="T36" fmla="*/ 21 w 22"/>
                  <a:gd name="T37" fmla="*/ 10 h 14"/>
                  <a:gd name="T38" fmla="*/ 19 w 22"/>
                  <a:gd name="T3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" h="14">
                    <a:moveTo>
                      <a:pt x="19" y="10"/>
                    </a:moveTo>
                    <a:lnTo>
                      <a:pt x="19" y="10"/>
                    </a:lnTo>
                    <a:lnTo>
                      <a:pt x="15" y="11"/>
                    </a:lnTo>
                    <a:lnTo>
                      <a:pt x="9" y="13"/>
                    </a:lnTo>
                    <a:lnTo>
                      <a:pt x="3" y="14"/>
                    </a:lnTo>
                    <a:lnTo>
                      <a:pt x="2" y="14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2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3" y="1"/>
                    </a:lnTo>
                    <a:lnTo>
                      <a:pt x="16" y="0"/>
                    </a:lnTo>
                    <a:lnTo>
                      <a:pt x="18" y="1"/>
                    </a:lnTo>
                    <a:lnTo>
                      <a:pt x="18" y="1"/>
                    </a:lnTo>
                    <a:lnTo>
                      <a:pt x="21" y="5"/>
                    </a:lnTo>
                    <a:lnTo>
                      <a:pt x="22" y="8"/>
                    </a:lnTo>
                    <a:lnTo>
                      <a:pt x="21" y="10"/>
                    </a:lnTo>
                    <a:lnTo>
                      <a:pt x="19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98" name="Freeform 1053"/>
              <p:cNvSpPr>
                <a:spLocks/>
              </p:cNvSpPr>
              <p:nvPr/>
            </p:nvSpPr>
            <p:spPr bwMode="auto">
              <a:xfrm>
                <a:off x="1747663" y="2307105"/>
                <a:ext cx="10882" cy="12860"/>
              </a:xfrm>
              <a:custGeom>
                <a:avLst/>
                <a:gdLst>
                  <a:gd name="T0" fmla="*/ 11 w 11"/>
                  <a:gd name="T1" fmla="*/ 6 h 13"/>
                  <a:gd name="T2" fmla="*/ 11 w 11"/>
                  <a:gd name="T3" fmla="*/ 6 h 13"/>
                  <a:gd name="T4" fmla="*/ 5 w 11"/>
                  <a:gd name="T5" fmla="*/ 11 h 13"/>
                  <a:gd name="T6" fmla="*/ 1 w 11"/>
                  <a:gd name="T7" fmla="*/ 13 h 13"/>
                  <a:gd name="T8" fmla="*/ 0 w 11"/>
                  <a:gd name="T9" fmla="*/ 13 h 13"/>
                  <a:gd name="T10" fmla="*/ 0 w 11"/>
                  <a:gd name="T11" fmla="*/ 13 h 13"/>
                  <a:gd name="T12" fmla="*/ 0 w 11"/>
                  <a:gd name="T13" fmla="*/ 11 h 13"/>
                  <a:gd name="T14" fmla="*/ 1 w 11"/>
                  <a:gd name="T15" fmla="*/ 5 h 13"/>
                  <a:gd name="T16" fmla="*/ 4 w 11"/>
                  <a:gd name="T17" fmla="*/ 0 h 13"/>
                  <a:gd name="T18" fmla="*/ 5 w 11"/>
                  <a:gd name="T19" fmla="*/ 0 h 13"/>
                  <a:gd name="T20" fmla="*/ 7 w 11"/>
                  <a:gd name="T21" fmla="*/ 0 h 13"/>
                  <a:gd name="T22" fmla="*/ 7 w 11"/>
                  <a:gd name="T23" fmla="*/ 0 h 13"/>
                  <a:gd name="T24" fmla="*/ 10 w 11"/>
                  <a:gd name="T25" fmla="*/ 0 h 13"/>
                  <a:gd name="T26" fmla="*/ 11 w 11"/>
                  <a:gd name="T27" fmla="*/ 2 h 13"/>
                  <a:gd name="T28" fmla="*/ 11 w 11"/>
                  <a:gd name="T29" fmla="*/ 5 h 13"/>
                  <a:gd name="T30" fmla="*/ 11 w 11"/>
                  <a:gd name="T31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3">
                    <a:moveTo>
                      <a:pt x="11" y="6"/>
                    </a:moveTo>
                    <a:lnTo>
                      <a:pt x="11" y="6"/>
                    </a:lnTo>
                    <a:lnTo>
                      <a:pt x="5" y="11"/>
                    </a:lnTo>
                    <a:lnTo>
                      <a:pt x="1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1" y="5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11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99" name="Freeform 1054"/>
              <p:cNvSpPr>
                <a:spLocks/>
              </p:cNvSpPr>
              <p:nvPr/>
            </p:nvSpPr>
            <p:spPr bwMode="auto">
              <a:xfrm>
                <a:off x="1747663" y="2307105"/>
                <a:ext cx="10882" cy="12860"/>
              </a:xfrm>
              <a:custGeom>
                <a:avLst/>
                <a:gdLst>
                  <a:gd name="T0" fmla="*/ 11 w 11"/>
                  <a:gd name="T1" fmla="*/ 6 h 13"/>
                  <a:gd name="T2" fmla="*/ 11 w 11"/>
                  <a:gd name="T3" fmla="*/ 6 h 13"/>
                  <a:gd name="T4" fmla="*/ 5 w 11"/>
                  <a:gd name="T5" fmla="*/ 11 h 13"/>
                  <a:gd name="T6" fmla="*/ 1 w 11"/>
                  <a:gd name="T7" fmla="*/ 13 h 13"/>
                  <a:gd name="T8" fmla="*/ 0 w 11"/>
                  <a:gd name="T9" fmla="*/ 13 h 13"/>
                  <a:gd name="T10" fmla="*/ 0 w 11"/>
                  <a:gd name="T11" fmla="*/ 13 h 13"/>
                  <a:gd name="T12" fmla="*/ 0 w 11"/>
                  <a:gd name="T13" fmla="*/ 11 h 13"/>
                  <a:gd name="T14" fmla="*/ 1 w 11"/>
                  <a:gd name="T15" fmla="*/ 5 h 13"/>
                  <a:gd name="T16" fmla="*/ 4 w 11"/>
                  <a:gd name="T17" fmla="*/ 0 h 13"/>
                  <a:gd name="T18" fmla="*/ 5 w 11"/>
                  <a:gd name="T19" fmla="*/ 0 h 13"/>
                  <a:gd name="T20" fmla="*/ 7 w 11"/>
                  <a:gd name="T21" fmla="*/ 0 h 13"/>
                  <a:gd name="T22" fmla="*/ 7 w 11"/>
                  <a:gd name="T23" fmla="*/ 0 h 13"/>
                  <a:gd name="T24" fmla="*/ 10 w 11"/>
                  <a:gd name="T25" fmla="*/ 0 h 13"/>
                  <a:gd name="T26" fmla="*/ 11 w 11"/>
                  <a:gd name="T27" fmla="*/ 2 h 13"/>
                  <a:gd name="T28" fmla="*/ 11 w 11"/>
                  <a:gd name="T29" fmla="*/ 5 h 13"/>
                  <a:gd name="T30" fmla="*/ 11 w 11"/>
                  <a:gd name="T31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3">
                    <a:moveTo>
                      <a:pt x="11" y="6"/>
                    </a:moveTo>
                    <a:lnTo>
                      <a:pt x="11" y="6"/>
                    </a:lnTo>
                    <a:lnTo>
                      <a:pt x="5" y="11"/>
                    </a:lnTo>
                    <a:lnTo>
                      <a:pt x="1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1" y="5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11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00" name="Freeform 1055"/>
              <p:cNvSpPr>
                <a:spLocks/>
              </p:cNvSpPr>
              <p:nvPr/>
            </p:nvSpPr>
            <p:spPr bwMode="auto">
              <a:xfrm>
                <a:off x="1722932" y="2318976"/>
                <a:ext cx="12860" cy="12860"/>
              </a:xfrm>
              <a:custGeom>
                <a:avLst/>
                <a:gdLst>
                  <a:gd name="T0" fmla="*/ 12 w 13"/>
                  <a:gd name="T1" fmla="*/ 0 h 13"/>
                  <a:gd name="T2" fmla="*/ 12 w 13"/>
                  <a:gd name="T3" fmla="*/ 0 h 13"/>
                  <a:gd name="T4" fmla="*/ 9 w 13"/>
                  <a:gd name="T5" fmla="*/ 1 h 13"/>
                  <a:gd name="T6" fmla="*/ 3 w 13"/>
                  <a:gd name="T7" fmla="*/ 6 h 13"/>
                  <a:gd name="T8" fmla="*/ 0 w 13"/>
                  <a:gd name="T9" fmla="*/ 10 h 13"/>
                  <a:gd name="T10" fmla="*/ 0 w 13"/>
                  <a:gd name="T11" fmla="*/ 12 h 13"/>
                  <a:gd name="T12" fmla="*/ 0 w 13"/>
                  <a:gd name="T13" fmla="*/ 13 h 13"/>
                  <a:gd name="T14" fmla="*/ 0 w 13"/>
                  <a:gd name="T15" fmla="*/ 13 h 13"/>
                  <a:gd name="T16" fmla="*/ 3 w 13"/>
                  <a:gd name="T17" fmla="*/ 13 h 13"/>
                  <a:gd name="T18" fmla="*/ 4 w 13"/>
                  <a:gd name="T19" fmla="*/ 13 h 13"/>
                  <a:gd name="T20" fmla="*/ 10 w 13"/>
                  <a:gd name="T21" fmla="*/ 9 h 13"/>
                  <a:gd name="T22" fmla="*/ 13 w 13"/>
                  <a:gd name="T23" fmla="*/ 3 h 13"/>
                  <a:gd name="T24" fmla="*/ 13 w 13"/>
                  <a:gd name="T25" fmla="*/ 1 h 13"/>
                  <a:gd name="T26" fmla="*/ 12 w 13"/>
                  <a:gd name="T2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12" y="0"/>
                    </a:moveTo>
                    <a:lnTo>
                      <a:pt x="12" y="0"/>
                    </a:lnTo>
                    <a:lnTo>
                      <a:pt x="9" y="1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10" y="9"/>
                    </a:lnTo>
                    <a:lnTo>
                      <a:pt x="13" y="3"/>
                    </a:lnTo>
                    <a:lnTo>
                      <a:pt x="13" y="1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01" name="Freeform 1056"/>
              <p:cNvSpPr>
                <a:spLocks/>
              </p:cNvSpPr>
              <p:nvPr/>
            </p:nvSpPr>
            <p:spPr bwMode="auto">
              <a:xfrm>
                <a:off x="1722932" y="2318976"/>
                <a:ext cx="12860" cy="12860"/>
              </a:xfrm>
              <a:custGeom>
                <a:avLst/>
                <a:gdLst>
                  <a:gd name="T0" fmla="*/ 12 w 13"/>
                  <a:gd name="T1" fmla="*/ 0 h 13"/>
                  <a:gd name="T2" fmla="*/ 12 w 13"/>
                  <a:gd name="T3" fmla="*/ 0 h 13"/>
                  <a:gd name="T4" fmla="*/ 9 w 13"/>
                  <a:gd name="T5" fmla="*/ 1 h 13"/>
                  <a:gd name="T6" fmla="*/ 3 w 13"/>
                  <a:gd name="T7" fmla="*/ 6 h 13"/>
                  <a:gd name="T8" fmla="*/ 0 w 13"/>
                  <a:gd name="T9" fmla="*/ 10 h 13"/>
                  <a:gd name="T10" fmla="*/ 0 w 13"/>
                  <a:gd name="T11" fmla="*/ 12 h 13"/>
                  <a:gd name="T12" fmla="*/ 0 w 13"/>
                  <a:gd name="T13" fmla="*/ 13 h 13"/>
                  <a:gd name="T14" fmla="*/ 0 w 13"/>
                  <a:gd name="T15" fmla="*/ 13 h 13"/>
                  <a:gd name="T16" fmla="*/ 3 w 13"/>
                  <a:gd name="T17" fmla="*/ 13 h 13"/>
                  <a:gd name="T18" fmla="*/ 4 w 13"/>
                  <a:gd name="T19" fmla="*/ 13 h 13"/>
                  <a:gd name="T20" fmla="*/ 10 w 13"/>
                  <a:gd name="T21" fmla="*/ 9 h 13"/>
                  <a:gd name="T22" fmla="*/ 13 w 13"/>
                  <a:gd name="T23" fmla="*/ 3 h 13"/>
                  <a:gd name="T24" fmla="*/ 13 w 13"/>
                  <a:gd name="T25" fmla="*/ 1 h 13"/>
                  <a:gd name="T26" fmla="*/ 12 w 13"/>
                  <a:gd name="T2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12" y="0"/>
                    </a:moveTo>
                    <a:lnTo>
                      <a:pt x="12" y="0"/>
                    </a:lnTo>
                    <a:lnTo>
                      <a:pt x="9" y="1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10" y="9"/>
                    </a:lnTo>
                    <a:lnTo>
                      <a:pt x="13" y="3"/>
                    </a:lnTo>
                    <a:lnTo>
                      <a:pt x="13" y="1"/>
                    </a:lnTo>
                    <a:lnTo>
                      <a:pt x="12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02" name="Freeform 1057"/>
              <p:cNvSpPr>
                <a:spLocks/>
              </p:cNvSpPr>
              <p:nvPr/>
            </p:nvSpPr>
            <p:spPr bwMode="auto">
              <a:xfrm>
                <a:off x="1739749" y="2120135"/>
                <a:ext cx="24731" cy="16817"/>
              </a:xfrm>
              <a:custGeom>
                <a:avLst/>
                <a:gdLst>
                  <a:gd name="T0" fmla="*/ 24 w 25"/>
                  <a:gd name="T1" fmla="*/ 14 h 17"/>
                  <a:gd name="T2" fmla="*/ 24 w 25"/>
                  <a:gd name="T3" fmla="*/ 14 h 17"/>
                  <a:gd name="T4" fmla="*/ 18 w 25"/>
                  <a:gd name="T5" fmla="*/ 16 h 17"/>
                  <a:gd name="T6" fmla="*/ 15 w 25"/>
                  <a:gd name="T7" fmla="*/ 17 h 17"/>
                  <a:gd name="T8" fmla="*/ 12 w 25"/>
                  <a:gd name="T9" fmla="*/ 17 h 17"/>
                  <a:gd name="T10" fmla="*/ 12 w 25"/>
                  <a:gd name="T11" fmla="*/ 17 h 17"/>
                  <a:gd name="T12" fmla="*/ 5 w 25"/>
                  <a:gd name="T13" fmla="*/ 13 h 17"/>
                  <a:gd name="T14" fmla="*/ 0 w 25"/>
                  <a:gd name="T15" fmla="*/ 10 h 17"/>
                  <a:gd name="T16" fmla="*/ 0 w 25"/>
                  <a:gd name="T17" fmla="*/ 8 h 17"/>
                  <a:gd name="T18" fmla="*/ 0 w 25"/>
                  <a:gd name="T19" fmla="*/ 7 h 17"/>
                  <a:gd name="T20" fmla="*/ 0 w 25"/>
                  <a:gd name="T21" fmla="*/ 7 h 17"/>
                  <a:gd name="T22" fmla="*/ 11 w 25"/>
                  <a:gd name="T23" fmla="*/ 1 h 17"/>
                  <a:gd name="T24" fmla="*/ 15 w 25"/>
                  <a:gd name="T25" fmla="*/ 0 h 17"/>
                  <a:gd name="T26" fmla="*/ 18 w 25"/>
                  <a:gd name="T27" fmla="*/ 0 h 17"/>
                  <a:gd name="T28" fmla="*/ 19 w 25"/>
                  <a:gd name="T29" fmla="*/ 0 h 17"/>
                  <a:gd name="T30" fmla="*/ 19 w 25"/>
                  <a:gd name="T31" fmla="*/ 0 h 17"/>
                  <a:gd name="T32" fmla="*/ 24 w 25"/>
                  <a:gd name="T33" fmla="*/ 8 h 17"/>
                  <a:gd name="T34" fmla="*/ 25 w 25"/>
                  <a:gd name="T35" fmla="*/ 13 h 17"/>
                  <a:gd name="T36" fmla="*/ 25 w 25"/>
                  <a:gd name="T37" fmla="*/ 14 h 17"/>
                  <a:gd name="T38" fmla="*/ 24 w 25"/>
                  <a:gd name="T39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17">
                    <a:moveTo>
                      <a:pt x="24" y="14"/>
                    </a:moveTo>
                    <a:lnTo>
                      <a:pt x="24" y="14"/>
                    </a:lnTo>
                    <a:lnTo>
                      <a:pt x="18" y="16"/>
                    </a:lnTo>
                    <a:lnTo>
                      <a:pt x="15" y="17"/>
                    </a:lnTo>
                    <a:lnTo>
                      <a:pt x="12" y="17"/>
                    </a:lnTo>
                    <a:lnTo>
                      <a:pt x="12" y="17"/>
                    </a:lnTo>
                    <a:lnTo>
                      <a:pt x="5" y="13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1" y="1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24" y="8"/>
                    </a:lnTo>
                    <a:lnTo>
                      <a:pt x="25" y="13"/>
                    </a:lnTo>
                    <a:lnTo>
                      <a:pt x="25" y="14"/>
                    </a:lnTo>
                    <a:lnTo>
                      <a:pt x="24" y="1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03" name="Freeform 1058"/>
              <p:cNvSpPr>
                <a:spLocks/>
              </p:cNvSpPr>
              <p:nvPr/>
            </p:nvSpPr>
            <p:spPr bwMode="auto">
              <a:xfrm>
                <a:off x="1739749" y="2120135"/>
                <a:ext cx="24731" cy="16817"/>
              </a:xfrm>
              <a:custGeom>
                <a:avLst/>
                <a:gdLst>
                  <a:gd name="T0" fmla="*/ 24 w 25"/>
                  <a:gd name="T1" fmla="*/ 14 h 17"/>
                  <a:gd name="T2" fmla="*/ 24 w 25"/>
                  <a:gd name="T3" fmla="*/ 14 h 17"/>
                  <a:gd name="T4" fmla="*/ 18 w 25"/>
                  <a:gd name="T5" fmla="*/ 16 h 17"/>
                  <a:gd name="T6" fmla="*/ 15 w 25"/>
                  <a:gd name="T7" fmla="*/ 17 h 17"/>
                  <a:gd name="T8" fmla="*/ 12 w 25"/>
                  <a:gd name="T9" fmla="*/ 17 h 17"/>
                  <a:gd name="T10" fmla="*/ 12 w 25"/>
                  <a:gd name="T11" fmla="*/ 17 h 17"/>
                  <a:gd name="T12" fmla="*/ 5 w 25"/>
                  <a:gd name="T13" fmla="*/ 13 h 17"/>
                  <a:gd name="T14" fmla="*/ 0 w 25"/>
                  <a:gd name="T15" fmla="*/ 10 h 17"/>
                  <a:gd name="T16" fmla="*/ 0 w 25"/>
                  <a:gd name="T17" fmla="*/ 8 h 17"/>
                  <a:gd name="T18" fmla="*/ 0 w 25"/>
                  <a:gd name="T19" fmla="*/ 7 h 17"/>
                  <a:gd name="T20" fmla="*/ 0 w 25"/>
                  <a:gd name="T21" fmla="*/ 7 h 17"/>
                  <a:gd name="T22" fmla="*/ 11 w 25"/>
                  <a:gd name="T23" fmla="*/ 1 h 17"/>
                  <a:gd name="T24" fmla="*/ 15 w 25"/>
                  <a:gd name="T25" fmla="*/ 0 h 17"/>
                  <a:gd name="T26" fmla="*/ 18 w 25"/>
                  <a:gd name="T27" fmla="*/ 0 h 17"/>
                  <a:gd name="T28" fmla="*/ 19 w 25"/>
                  <a:gd name="T29" fmla="*/ 0 h 17"/>
                  <a:gd name="T30" fmla="*/ 19 w 25"/>
                  <a:gd name="T31" fmla="*/ 0 h 17"/>
                  <a:gd name="T32" fmla="*/ 24 w 25"/>
                  <a:gd name="T33" fmla="*/ 8 h 17"/>
                  <a:gd name="T34" fmla="*/ 25 w 25"/>
                  <a:gd name="T35" fmla="*/ 13 h 17"/>
                  <a:gd name="T36" fmla="*/ 25 w 25"/>
                  <a:gd name="T37" fmla="*/ 14 h 17"/>
                  <a:gd name="T38" fmla="*/ 24 w 25"/>
                  <a:gd name="T39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17">
                    <a:moveTo>
                      <a:pt x="24" y="14"/>
                    </a:moveTo>
                    <a:lnTo>
                      <a:pt x="24" y="14"/>
                    </a:lnTo>
                    <a:lnTo>
                      <a:pt x="18" y="16"/>
                    </a:lnTo>
                    <a:lnTo>
                      <a:pt x="15" y="17"/>
                    </a:lnTo>
                    <a:lnTo>
                      <a:pt x="12" y="17"/>
                    </a:lnTo>
                    <a:lnTo>
                      <a:pt x="12" y="17"/>
                    </a:lnTo>
                    <a:lnTo>
                      <a:pt x="5" y="13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1" y="1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24" y="8"/>
                    </a:lnTo>
                    <a:lnTo>
                      <a:pt x="25" y="13"/>
                    </a:lnTo>
                    <a:lnTo>
                      <a:pt x="25" y="14"/>
                    </a:lnTo>
                    <a:lnTo>
                      <a:pt x="24" y="1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06" name="Freeform 1061"/>
              <p:cNvSpPr>
                <a:spLocks/>
              </p:cNvSpPr>
              <p:nvPr/>
            </p:nvSpPr>
            <p:spPr bwMode="auto">
              <a:xfrm>
                <a:off x="3090089" y="2321944"/>
                <a:ext cx="28689" cy="16817"/>
              </a:xfrm>
              <a:custGeom>
                <a:avLst/>
                <a:gdLst>
                  <a:gd name="T0" fmla="*/ 26 w 29"/>
                  <a:gd name="T1" fmla="*/ 17 h 17"/>
                  <a:gd name="T2" fmla="*/ 26 w 29"/>
                  <a:gd name="T3" fmla="*/ 17 h 17"/>
                  <a:gd name="T4" fmla="*/ 20 w 29"/>
                  <a:gd name="T5" fmla="*/ 17 h 17"/>
                  <a:gd name="T6" fmla="*/ 14 w 29"/>
                  <a:gd name="T7" fmla="*/ 14 h 17"/>
                  <a:gd name="T8" fmla="*/ 4 w 29"/>
                  <a:gd name="T9" fmla="*/ 10 h 17"/>
                  <a:gd name="T10" fmla="*/ 4 w 29"/>
                  <a:gd name="T11" fmla="*/ 10 h 17"/>
                  <a:gd name="T12" fmla="*/ 1 w 29"/>
                  <a:gd name="T13" fmla="*/ 7 h 17"/>
                  <a:gd name="T14" fmla="*/ 0 w 29"/>
                  <a:gd name="T15" fmla="*/ 3 h 17"/>
                  <a:gd name="T16" fmla="*/ 0 w 29"/>
                  <a:gd name="T17" fmla="*/ 1 h 17"/>
                  <a:gd name="T18" fmla="*/ 1 w 29"/>
                  <a:gd name="T19" fmla="*/ 0 h 17"/>
                  <a:gd name="T20" fmla="*/ 1 w 29"/>
                  <a:gd name="T21" fmla="*/ 0 h 17"/>
                  <a:gd name="T22" fmla="*/ 7 w 29"/>
                  <a:gd name="T23" fmla="*/ 3 h 17"/>
                  <a:gd name="T24" fmla="*/ 19 w 29"/>
                  <a:gd name="T25" fmla="*/ 7 h 17"/>
                  <a:gd name="T26" fmla="*/ 19 w 29"/>
                  <a:gd name="T27" fmla="*/ 7 h 17"/>
                  <a:gd name="T28" fmla="*/ 24 w 29"/>
                  <a:gd name="T29" fmla="*/ 9 h 17"/>
                  <a:gd name="T30" fmla="*/ 27 w 29"/>
                  <a:gd name="T31" fmla="*/ 13 h 17"/>
                  <a:gd name="T32" fmla="*/ 29 w 29"/>
                  <a:gd name="T33" fmla="*/ 16 h 17"/>
                  <a:gd name="T34" fmla="*/ 27 w 29"/>
                  <a:gd name="T35" fmla="*/ 16 h 17"/>
                  <a:gd name="T36" fmla="*/ 26 w 29"/>
                  <a:gd name="T3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9" h="17">
                    <a:moveTo>
                      <a:pt x="26" y="17"/>
                    </a:moveTo>
                    <a:lnTo>
                      <a:pt x="26" y="17"/>
                    </a:lnTo>
                    <a:lnTo>
                      <a:pt x="20" y="17"/>
                    </a:lnTo>
                    <a:lnTo>
                      <a:pt x="1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1" y="7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7" y="3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24" y="9"/>
                    </a:lnTo>
                    <a:lnTo>
                      <a:pt x="27" y="13"/>
                    </a:lnTo>
                    <a:lnTo>
                      <a:pt x="29" y="16"/>
                    </a:lnTo>
                    <a:lnTo>
                      <a:pt x="27" y="16"/>
                    </a:lnTo>
                    <a:lnTo>
                      <a:pt x="26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07" name="Freeform 1062"/>
              <p:cNvSpPr>
                <a:spLocks/>
              </p:cNvSpPr>
              <p:nvPr/>
            </p:nvSpPr>
            <p:spPr bwMode="auto">
              <a:xfrm>
                <a:off x="3090089" y="2321944"/>
                <a:ext cx="28689" cy="16817"/>
              </a:xfrm>
              <a:custGeom>
                <a:avLst/>
                <a:gdLst>
                  <a:gd name="T0" fmla="*/ 26 w 29"/>
                  <a:gd name="T1" fmla="*/ 17 h 17"/>
                  <a:gd name="T2" fmla="*/ 26 w 29"/>
                  <a:gd name="T3" fmla="*/ 17 h 17"/>
                  <a:gd name="T4" fmla="*/ 20 w 29"/>
                  <a:gd name="T5" fmla="*/ 17 h 17"/>
                  <a:gd name="T6" fmla="*/ 14 w 29"/>
                  <a:gd name="T7" fmla="*/ 14 h 17"/>
                  <a:gd name="T8" fmla="*/ 4 w 29"/>
                  <a:gd name="T9" fmla="*/ 10 h 17"/>
                  <a:gd name="T10" fmla="*/ 4 w 29"/>
                  <a:gd name="T11" fmla="*/ 10 h 17"/>
                  <a:gd name="T12" fmla="*/ 1 w 29"/>
                  <a:gd name="T13" fmla="*/ 7 h 17"/>
                  <a:gd name="T14" fmla="*/ 0 w 29"/>
                  <a:gd name="T15" fmla="*/ 3 h 17"/>
                  <a:gd name="T16" fmla="*/ 0 w 29"/>
                  <a:gd name="T17" fmla="*/ 1 h 17"/>
                  <a:gd name="T18" fmla="*/ 1 w 29"/>
                  <a:gd name="T19" fmla="*/ 0 h 17"/>
                  <a:gd name="T20" fmla="*/ 1 w 29"/>
                  <a:gd name="T21" fmla="*/ 0 h 17"/>
                  <a:gd name="T22" fmla="*/ 7 w 29"/>
                  <a:gd name="T23" fmla="*/ 3 h 17"/>
                  <a:gd name="T24" fmla="*/ 19 w 29"/>
                  <a:gd name="T25" fmla="*/ 7 h 17"/>
                  <a:gd name="T26" fmla="*/ 19 w 29"/>
                  <a:gd name="T27" fmla="*/ 7 h 17"/>
                  <a:gd name="T28" fmla="*/ 24 w 29"/>
                  <a:gd name="T29" fmla="*/ 9 h 17"/>
                  <a:gd name="T30" fmla="*/ 27 w 29"/>
                  <a:gd name="T31" fmla="*/ 13 h 17"/>
                  <a:gd name="T32" fmla="*/ 29 w 29"/>
                  <a:gd name="T33" fmla="*/ 16 h 17"/>
                  <a:gd name="T34" fmla="*/ 27 w 29"/>
                  <a:gd name="T35" fmla="*/ 16 h 17"/>
                  <a:gd name="T36" fmla="*/ 26 w 29"/>
                  <a:gd name="T3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9" h="17">
                    <a:moveTo>
                      <a:pt x="26" y="17"/>
                    </a:moveTo>
                    <a:lnTo>
                      <a:pt x="26" y="17"/>
                    </a:lnTo>
                    <a:lnTo>
                      <a:pt x="20" y="17"/>
                    </a:lnTo>
                    <a:lnTo>
                      <a:pt x="1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1" y="7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7" y="3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24" y="9"/>
                    </a:lnTo>
                    <a:lnTo>
                      <a:pt x="27" y="13"/>
                    </a:lnTo>
                    <a:lnTo>
                      <a:pt x="29" y="16"/>
                    </a:lnTo>
                    <a:lnTo>
                      <a:pt x="27" y="16"/>
                    </a:lnTo>
                    <a:lnTo>
                      <a:pt x="26" y="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08" name="Freeform 1063"/>
              <p:cNvSpPr>
                <a:spLocks/>
              </p:cNvSpPr>
              <p:nvPr/>
            </p:nvSpPr>
            <p:spPr bwMode="auto">
              <a:xfrm>
                <a:off x="2953571" y="3329010"/>
                <a:ext cx="12860" cy="15828"/>
              </a:xfrm>
              <a:custGeom>
                <a:avLst/>
                <a:gdLst>
                  <a:gd name="T0" fmla="*/ 2 w 13"/>
                  <a:gd name="T1" fmla="*/ 16 h 16"/>
                  <a:gd name="T2" fmla="*/ 2 w 13"/>
                  <a:gd name="T3" fmla="*/ 16 h 16"/>
                  <a:gd name="T4" fmla="*/ 0 w 13"/>
                  <a:gd name="T5" fmla="*/ 16 h 16"/>
                  <a:gd name="T6" fmla="*/ 0 w 13"/>
                  <a:gd name="T7" fmla="*/ 15 h 16"/>
                  <a:gd name="T8" fmla="*/ 2 w 13"/>
                  <a:gd name="T9" fmla="*/ 13 h 16"/>
                  <a:gd name="T10" fmla="*/ 3 w 13"/>
                  <a:gd name="T11" fmla="*/ 10 h 16"/>
                  <a:gd name="T12" fmla="*/ 3 w 13"/>
                  <a:gd name="T13" fmla="*/ 7 h 16"/>
                  <a:gd name="T14" fmla="*/ 3 w 13"/>
                  <a:gd name="T15" fmla="*/ 7 h 16"/>
                  <a:gd name="T16" fmla="*/ 0 w 13"/>
                  <a:gd name="T17" fmla="*/ 2 h 16"/>
                  <a:gd name="T18" fmla="*/ 0 w 13"/>
                  <a:gd name="T19" fmla="*/ 0 h 16"/>
                  <a:gd name="T20" fmla="*/ 3 w 13"/>
                  <a:gd name="T21" fmla="*/ 0 h 16"/>
                  <a:gd name="T22" fmla="*/ 3 w 13"/>
                  <a:gd name="T23" fmla="*/ 0 h 16"/>
                  <a:gd name="T24" fmla="*/ 9 w 13"/>
                  <a:gd name="T25" fmla="*/ 5 h 16"/>
                  <a:gd name="T26" fmla="*/ 12 w 13"/>
                  <a:gd name="T27" fmla="*/ 7 h 16"/>
                  <a:gd name="T28" fmla="*/ 13 w 13"/>
                  <a:gd name="T29" fmla="*/ 10 h 16"/>
                  <a:gd name="T30" fmla="*/ 13 w 13"/>
                  <a:gd name="T31" fmla="*/ 10 h 16"/>
                  <a:gd name="T32" fmla="*/ 7 w 13"/>
                  <a:gd name="T33" fmla="*/ 13 h 16"/>
                  <a:gd name="T34" fmla="*/ 4 w 13"/>
                  <a:gd name="T35" fmla="*/ 16 h 16"/>
                  <a:gd name="T36" fmla="*/ 2 w 13"/>
                  <a:gd name="T3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16">
                    <a:moveTo>
                      <a:pt x="2" y="16"/>
                    </a:moveTo>
                    <a:lnTo>
                      <a:pt x="2" y="16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2" y="13"/>
                    </a:lnTo>
                    <a:lnTo>
                      <a:pt x="3" y="10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9" y="5"/>
                    </a:lnTo>
                    <a:lnTo>
                      <a:pt x="12" y="7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7" y="13"/>
                    </a:lnTo>
                    <a:lnTo>
                      <a:pt x="4" y="16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09" name="Freeform 1064"/>
              <p:cNvSpPr>
                <a:spLocks/>
              </p:cNvSpPr>
              <p:nvPr/>
            </p:nvSpPr>
            <p:spPr bwMode="auto">
              <a:xfrm>
                <a:off x="2953571" y="3329010"/>
                <a:ext cx="12860" cy="15828"/>
              </a:xfrm>
              <a:custGeom>
                <a:avLst/>
                <a:gdLst>
                  <a:gd name="T0" fmla="*/ 2 w 13"/>
                  <a:gd name="T1" fmla="*/ 16 h 16"/>
                  <a:gd name="T2" fmla="*/ 2 w 13"/>
                  <a:gd name="T3" fmla="*/ 16 h 16"/>
                  <a:gd name="T4" fmla="*/ 0 w 13"/>
                  <a:gd name="T5" fmla="*/ 16 h 16"/>
                  <a:gd name="T6" fmla="*/ 0 w 13"/>
                  <a:gd name="T7" fmla="*/ 15 h 16"/>
                  <a:gd name="T8" fmla="*/ 2 w 13"/>
                  <a:gd name="T9" fmla="*/ 13 h 16"/>
                  <a:gd name="T10" fmla="*/ 3 w 13"/>
                  <a:gd name="T11" fmla="*/ 10 h 16"/>
                  <a:gd name="T12" fmla="*/ 3 w 13"/>
                  <a:gd name="T13" fmla="*/ 7 h 16"/>
                  <a:gd name="T14" fmla="*/ 3 w 13"/>
                  <a:gd name="T15" fmla="*/ 7 h 16"/>
                  <a:gd name="T16" fmla="*/ 0 w 13"/>
                  <a:gd name="T17" fmla="*/ 2 h 16"/>
                  <a:gd name="T18" fmla="*/ 0 w 13"/>
                  <a:gd name="T19" fmla="*/ 0 h 16"/>
                  <a:gd name="T20" fmla="*/ 3 w 13"/>
                  <a:gd name="T21" fmla="*/ 0 h 16"/>
                  <a:gd name="T22" fmla="*/ 3 w 13"/>
                  <a:gd name="T23" fmla="*/ 0 h 16"/>
                  <a:gd name="T24" fmla="*/ 9 w 13"/>
                  <a:gd name="T25" fmla="*/ 5 h 16"/>
                  <a:gd name="T26" fmla="*/ 12 w 13"/>
                  <a:gd name="T27" fmla="*/ 7 h 16"/>
                  <a:gd name="T28" fmla="*/ 13 w 13"/>
                  <a:gd name="T29" fmla="*/ 10 h 16"/>
                  <a:gd name="T30" fmla="*/ 13 w 13"/>
                  <a:gd name="T31" fmla="*/ 10 h 16"/>
                  <a:gd name="T32" fmla="*/ 7 w 13"/>
                  <a:gd name="T33" fmla="*/ 13 h 16"/>
                  <a:gd name="T34" fmla="*/ 4 w 13"/>
                  <a:gd name="T35" fmla="*/ 16 h 16"/>
                  <a:gd name="T36" fmla="*/ 2 w 13"/>
                  <a:gd name="T3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16">
                    <a:moveTo>
                      <a:pt x="2" y="16"/>
                    </a:moveTo>
                    <a:lnTo>
                      <a:pt x="2" y="16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2" y="13"/>
                    </a:lnTo>
                    <a:lnTo>
                      <a:pt x="3" y="10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9" y="5"/>
                    </a:lnTo>
                    <a:lnTo>
                      <a:pt x="12" y="7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7" y="13"/>
                    </a:lnTo>
                    <a:lnTo>
                      <a:pt x="4" y="16"/>
                    </a:lnTo>
                    <a:lnTo>
                      <a:pt x="2" y="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26" name="Freeform 1181"/>
              <p:cNvSpPr>
                <a:spLocks noEditPoints="1"/>
              </p:cNvSpPr>
              <p:nvPr/>
            </p:nvSpPr>
            <p:spPr bwMode="auto">
              <a:xfrm>
                <a:off x="2968410" y="1543396"/>
                <a:ext cx="455059" cy="532222"/>
              </a:xfrm>
              <a:custGeom>
                <a:avLst/>
                <a:gdLst>
                  <a:gd name="T0" fmla="*/ 446 w 460"/>
                  <a:gd name="T1" fmla="*/ 347 h 538"/>
                  <a:gd name="T2" fmla="*/ 423 w 460"/>
                  <a:gd name="T3" fmla="*/ 336 h 538"/>
                  <a:gd name="T4" fmla="*/ 415 w 460"/>
                  <a:gd name="T5" fmla="*/ 329 h 538"/>
                  <a:gd name="T6" fmla="*/ 401 w 460"/>
                  <a:gd name="T7" fmla="*/ 297 h 538"/>
                  <a:gd name="T8" fmla="*/ 376 w 460"/>
                  <a:gd name="T9" fmla="*/ 286 h 538"/>
                  <a:gd name="T10" fmla="*/ 359 w 460"/>
                  <a:gd name="T11" fmla="*/ 271 h 538"/>
                  <a:gd name="T12" fmla="*/ 343 w 460"/>
                  <a:gd name="T13" fmla="*/ 250 h 538"/>
                  <a:gd name="T14" fmla="*/ 347 w 460"/>
                  <a:gd name="T15" fmla="*/ 234 h 538"/>
                  <a:gd name="T16" fmla="*/ 333 w 460"/>
                  <a:gd name="T17" fmla="*/ 199 h 538"/>
                  <a:gd name="T18" fmla="*/ 323 w 460"/>
                  <a:gd name="T19" fmla="*/ 166 h 538"/>
                  <a:gd name="T20" fmla="*/ 286 w 460"/>
                  <a:gd name="T21" fmla="*/ 139 h 538"/>
                  <a:gd name="T22" fmla="*/ 250 w 460"/>
                  <a:gd name="T23" fmla="*/ 116 h 538"/>
                  <a:gd name="T24" fmla="*/ 186 w 460"/>
                  <a:gd name="T25" fmla="*/ 79 h 538"/>
                  <a:gd name="T26" fmla="*/ 170 w 460"/>
                  <a:gd name="T27" fmla="*/ 105 h 538"/>
                  <a:gd name="T28" fmla="*/ 143 w 460"/>
                  <a:gd name="T29" fmla="*/ 86 h 538"/>
                  <a:gd name="T30" fmla="*/ 139 w 460"/>
                  <a:gd name="T31" fmla="*/ 73 h 538"/>
                  <a:gd name="T32" fmla="*/ 142 w 460"/>
                  <a:gd name="T33" fmla="*/ 24 h 538"/>
                  <a:gd name="T34" fmla="*/ 110 w 460"/>
                  <a:gd name="T35" fmla="*/ 18 h 538"/>
                  <a:gd name="T36" fmla="*/ 111 w 460"/>
                  <a:gd name="T37" fmla="*/ 44 h 538"/>
                  <a:gd name="T38" fmla="*/ 86 w 460"/>
                  <a:gd name="T39" fmla="*/ 73 h 538"/>
                  <a:gd name="T40" fmla="*/ 88 w 460"/>
                  <a:gd name="T41" fmla="*/ 105 h 538"/>
                  <a:gd name="T42" fmla="*/ 118 w 460"/>
                  <a:gd name="T43" fmla="*/ 150 h 538"/>
                  <a:gd name="T44" fmla="*/ 94 w 460"/>
                  <a:gd name="T45" fmla="*/ 151 h 538"/>
                  <a:gd name="T46" fmla="*/ 76 w 460"/>
                  <a:gd name="T47" fmla="*/ 115 h 538"/>
                  <a:gd name="T48" fmla="*/ 88 w 460"/>
                  <a:gd name="T49" fmla="*/ 18 h 538"/>
                  <a:gd name="T50" fmla="*/ 24 w 460"/>
                  <a:gd name="T51" fmla="*/ 25 h 538"/>
                  <a:gd name="T52" fmla="*/ 8 w 460"/>
                  <a:gd name="T53" fmla="*/ 118 h 538"/>
                  <a:gd name="T54" fmla="*/ 44 w 460"/>
                  <a:gd name="T55" fmla="*/ 161 h 538"/>
                  <a:gd name="T56" fmla="*/ 58 w 460"/>
                  <a:gd name="T57" fmla="*/ 186 h 538"/>
                  <a:gd name="T58" fmla="*/ 81 w 460"/>
                  <a:gd name="T59" fmla="*/ 199 h 538"/>
                  <a:gd name="T60" fmla="*/ 137 w 460"/>
                  <a:gd name="T61" fmla="*/ 209 h 538"/>
                  <a:gd name="T62" fmla="*/ 204 w 460"/>
                  <a:gd name="T63" fmla="*/ 215 h 538"/>
                  <a:gd name="T64" fmla="*/ 231 w 460"/>
                  <a:gd name="T65" fmla="*/ 241 h 538"/>
                  <a:gd name="T66" fmla="*/ 263 w 460"/>
                  <a:gd name="T67" fmla="*/ 284 h 538"/>
                  <a:gd name="T68" fmla="*/ 276 w 460"/>
                  <a:gd name="T69" fmla="*/ 338 h 538"/>
                  <a:gd name="T70" fmla="*/ 247 w 460"/>
                  <a:gd name="T71" fmla="*/ 393 h 538"/>
                  <a:gd name="T72" fmla="*/ 192 w 460"/>
                  <a:gd name="T73" fmla="*/ 397 h 538"/>
                  <a:gd name="T74" fmla="*/ 207 w 460"/>
                  <a:gd name="T75" fmla="*/ 452 h 538"/>
                  <a:gd name="T76" fmla="*/ 275 w 460"/>
                  <a:gd name="T77" fmla="*/ 452 h 538"/>
                  <a:gd name="T78" fmla="*/ 294 w 460"/>
                  <a:gd name="T79" fmla="*/ 478 h 538"/>
                  <a:gd name="T80" fmla="*/ 317 w 460"/>
                  <a:gd name="T81" fmla="*/ 502 h 538"/>
                  <a:gd name="T82" fmla="*/ 383 w 460"/>
                  <a:gd name="T83" fmla="*/ 538 h 538"/>
                  <a:gd name="T84" fmla="*/ 360 w 460"/>
                  <a:gd name="T85" fmla="*/ 489 h 538"/>
                  <a:gd name="T86" fmla="*/ 346 w 460"/>
                  <a:gd name="T87" fmla="*/ 467 h 538"/>
                  <a:gd name="T88" fmla="*/ 386 w 460"/>
                  <a:gd name="T89" fmla="*/ 494 h 538"/>
                  <a:gd name="T90" fmla="*/ 412 w 460"/>
                  <a:gd name="T91" fmla="*/ 519 h 538"/>
                  <a:gd name="T92" fmla="*/ 412 w 460"/>
                  <a:gd name="T93" fmla="*/ 486 h 538"/>
                  <a:gd name="T94" fmla="*/ 407 w 460"/>
                  <a:gd name="T95" fmla="*/ 457 h 538"/>
                  <a:gd name="T96" fmla="*/ 379 w 460"/>
                  <a:gd name="T97" fmla="*/ 425 h 538"/>
                  <a:gd name="T98" fmla="*/ 365 w 460"/>
                  <a:gd name="T99" fmla="*/ 399 h 538"/>
                  <a:gd name="T100" fmla="*/ 360 w 460"/>
                  <a:gd name="T101" fmla="*/ 374 h 538"/>
                  <a:gd name="T102" fmla="*/ 388 w 460"/>
                  <a:gd name="T103" fmla="*/ 380 h 538"/>
                  <a:gd name="T104" fmla="*/ 404 w 460"/>
                  <a:gd name="T105" fmla="*/ 396 h 538"/>
                  <a:gd name="T106" fmla="*/ 420 w 460"/>
                  <a:gd name="T107" fmla="*/ 410 h 538"/>
                  <a:gd name="T108" fmla="*/ 428 w 460"/>
                  <a:gd name="T109" fmla="*/ 389 h 538"/>
                  <a:gd name="T110" fmla="*/ 457 w 460"/>
                  <a:gd name="T111" fmla="*/ 386 h 538"/>
                  <a:gd name="T112" fmla="*/ 292 w 460"/>
                  <a:gd name="T113" fmla="*/ 438 h 538"/>
                  <a:gd name="T114" fmla="*/ 292 w 460"/>
                  <a:gd name="T115" fmla="*/ 402 h 538"/>
                  <a:gd name="T116" fmla="*/ 314 w 460"/>
                  <a:gd name="T117" fmla="*/ 368 h 538"/>
                  <a:gd name="T118" fmla="*/ 298 w 460"/>
                  <a:gd name="T119" fmla="*/ 364 h 538"/>
                  <a:gd name="T120" fmla="*/ 336 w 460"/>
                  <a:gd name="T121" fmla="*/ 357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60" h="538">
                    <a:moveTo>
                      <a:pt x="451" y="360"/>
                    </a:moveTo>
                    <a:lnTo>
                      <a:pt x="451" y="360"/>
                    </a:lnTo>
                    <a:lnTo>
                      <a:pt x="456" y="360"/>
                    </a:lnTo>
                    <a:lnTo>
                      <a:pt x="457" y="357"/>
                    </a:lnTo>
                    <a:lnTo>
                      <a:pt x="460" y="352"/>
                    </a:lnTo>
                    <a:lnTo>
                      <a:pt x="460" y="352"/>
                    </a:lnTo>
                    <a:lnTo>
                      <a:pt x="460" y="351"/>
                    </a:lnTo>
                    <a:lnTo>
                      <a:pt x="460" y="349"/>
                    </a:lnTo>
                    <a:lnTo>
                      <a:pt x="456" y="349"/>
                    </a:lnTo>
                    <a:lnTo>
                      <a:pt x="456" y="349"/>
                    </a:lnTo>
                    <a:lnTo>
                      <a:pt x="454" y="348"/>
                    </a:lnTo>
                    <a:lnTo>
                      <a:pt x="451" y="344"/>
                    </a:lnTo>
                    <a:lnTo>
                      <a:pt x="450" y="341"/>
                    </a:lnTo>
                    <a:lnTo>
                      <a:pt x="449" y="338"/>
                    </a:lnTo>
                    <a:lnTo>
                      <a:pt x="449" y="338"/>
                    </a:lnTo>
                    <a:lnTo>
                      <a:pt x="447" y="339"/>
                    </a:lnTo>
                    <a:lnTo>
                      <a:pt x="446" y="341"/>
                    </a:lnTo>
                    <a:lnTo>
                      <a:pt x="446" y="347"/>
                    </a:lnTo>
                    <a:lnTo>
                      <a:pt x="446" y="347"/>
                    </a:lnTo>
                    <a:lnTo>
                      <a:pt x="444" y="347"/>
                    </a:lnTo>
                    <a:lnTo>
                      <a:pt x="441" y="347"/>
                    </a:lnTo>
                    <a:lnTo>
                      <a:pt x="434" y="345"/>
                    </a:lnTo>
                    <a:lnTo>
                      <a:pt x="434" y="345"/>
                    </a:lnTo>
                    <a:lnTo>
                      <a:pt x="433" y="344"/>
                    </a:lnTo>
                    <a:lnTo>
                      <a:pt x="434" y="339"/>
                    </a:lnTo>
                    <a:lnTo>
                      <a:pt x="436" y="334"/>
                    </a:lnTo>
                    <a:lnTo>
                      <a:pt x="436" y="334"/>
                    </a:lnTo>
                    <a:lnTo>
                      <a:pt x="434" y="334"/>
                    </a:lnTo>
                    <a:lnTo>
                      <a:pt x="431" y="335"/>
                    </a:lnTo>
                    <a:lnTo>
                      <a:pt x="427" y="341"/>
                    </a:lnTo>
                    <a:lnTo>
                      <a:pt x="427" y="341"/>
                    </a:lnTo>
                    <a:lnTo>
                      <a:pt x="425" y="342"/>
                    </a:lnTo>
                    <a:lnTo>
                      <a:pt x="424" y="339"/>
                    </a:lnTo>
                    <a:lnTo>
                      <a:pt x="424" y="338"/>
                    </a:lnTo>
                    <a:lnTo>
                      <a:pt x="423" y="336"/>
                    </a:lnTo>
                    <a:lnTo>
                      <a:pt x="423" y="336"/>
                    </a:lnTo>
                    <a:lnTo>
                      <a:pt x="420" y="336"/>
                    </a:lnTo>
                    <a:lnTo>
                      <a:pt x="417" y="339"/>
                    </a:lnTo>
                    <a:lnTo>
                      <a:pt x="408" y="347"/>
                    </a:lnTo>
                    <a:lnTo>
                      <a:pt x="408" y="347"/>
                    </a:lnTo>
                    <a:lnTo>
                      <a:pt x="407" y="347"/>
                    </a:lnTo>
                    <a:lnTo>
                      <a:pt x="405" y="347"/>
                    </a:lnTo>
                    <a:lnTo>
                      <a:pt x="407" y="344"/>
                    </a:lnTo>
                    <a:lnTo>
                      <a:pt x="408" y="341"/>
                    </a:lnTo>
                    <a:lnTo>
                      <a:pt x="409" y="339"/>
                    </a:lnTo>
                    <a:lnTo>
                      <a:pt x="409" y="339"/>
                    </a:lnTo>
                    <a:lnTo>
                      <a:pt x="411" y="338"/>
                    </a:lnTo>
                    <a:lnTo>
                      <a:pt x="409" y="335"/>
                    </a:lnTo>
                    <a:lnTo>
                      <a:pt x="408" y="331"/>
                    </a:lnTo>
                    <a:lnTo>
                      <a:pt x="408" y="331"/>
                    </a:lnTo>
                    <a:lnTo>
                      <a:pt x="408" y="329"/>
                    </a:lnTo>
                    <a:lnTo>
                      <a:pt x="411" y="329"/>
                    </a:lnTo>
                    <a:lnTo>
                      <a:pt x="415" y="329"/>
                    </a:lnTo>
                    <a:lnTo>
                      <a:pt x="415" y="329"/>
                    </a:lnTo>
                    <a:lnTo>
                      <a:pt x="415" y="326"/>
                    </a:lnTo>
                    <a:lnTo>
                      <a:pt x="415" y="322"/>
                    </a:lnTo>
                    <a:lnTo>
                      <a:pt x="412" y="315"/>
                    </a:lnTo>
                    <a:lnTo>
                      <a:pt x="409" y="310"/>
                    </a:lnTo>
                    <a:lnTo>
                      <a:pt x="409" y="310"/>
                    </a:lnTo>
                    <a:lnTo>
                      <a:pt x="408" y="309"/>
                    </a:lnTo>
                    <a:lnTo>
                      <a:pt x="407" y="309"/>
                    </a:lnTo>
                    <a:lnTo>
                      <a:pt x="404" y="310"/>
                    </a:lnTo>
                    <a:lnTo>
                      <a:pt x="402" y="310"/>
                    </a:lnTo>
                    <a:lnTo>
                      <a:pt x="401" y="310"/>
                    </a:lnTo>
                    <a:lnTo>
                      <a:pt x="399" y="310"/>
                    </a:lnTo>
                    <a:lnTo>
                      <a:pt x="399" y="310"/>
                    </a:lnTo>
                    <a:lnTo>
                      <a:pt x="398" y="306"/>
                    </a:lnTo>
                    <a:lnTo>
                      <a:pt x="399" y="303"/>
                    </a:lnTo>
                    <a:lnTo>
                      <a:pt x="401" y="299"/>
                    </a:lnTo>
                    <a:lnTo>
                      <a:pt x="401" y="297"/>
                    </a:lnTo>
                    <a:lnTo>
                      <a:pt x="401" y="297"/>
                    </a:lnTo>
                    <a:lnTo>
                      <a:pt x="401" y="297"/>
                    </a:lnTo>
                    <a:lnTo>
                      <a:pt x="398" y="297"/>
                    </a:lnTo>
                    <a:lnTo>
                      <a:pt x="394" y="302"/>
                    </a:lnTo>
                    <a:lnTo>
                      <a:pt x="394" y="302"/>
                    </a:lnTo>
                    <a:lnTo>
                      <a:pt x="391" y="303"/>
                    </a:lnTo>
                    <a:lnTo>
                      <a:pt x="389" y="302"/>
                    </a:lnTo>
                    <a:lnTo>
                      <a:pt x="388" y="300"/>
                    </a:lnTo>
                    <a:lnTo>
                      <a:pt x="385" y="299"/>
                    </a:lnTo>
                    <a:lnTo>
                      <a:pt x="385" y="299"/>
                    </a:lnTo>
                    <a:lnTo>
                      <a:pt x="382" y="299"/>
                    </a:lnTo>
                    <a:lnTo>
                      <a:pt x="379" y="296"/>
                    </a:lnTo>
                    <a:lnTo>
                      <a:pt x="378" y="293"/>
                    </a:lnTo>
                    <a:lnTo>
                      <a:pt x="375" y="292"/>
                    </a:lnTo>
                    <a:lnTo>
                      <a:pt x="375" y="292"/>
                    </a:lnTo>
                    <a:lnTo>
                      <a:pt x="373" y="290"/>
                    </a:lnTo>
                    <a:lnTo>
                      <a:pt x="372" y="289"/>
                    </a:lnTo>
                    <a:lnTo>
                      <a:pt x="376" y="287"/>
                    </a:lnTo>
                    <a:lnTo>
                      <a:pt x="376" y="287"/>
                    </a:lnTo>
                    <a:lnTo>
                      <a:pt x="376" y="286"/>
                    </a:lnTo>
                    <a:lnTo>
                      <a:pt x="376" y="286"/>
                    </a:lnTo>
                    <a:lnTo>
                      <a:pt x="375" y="283"/>
                    </a:lnTo>
                    <a:lnTo>
                      <a:pt x="370" y="281"/>
                    </a:lnTo>
                    <a:lnTo>
                      <a:pt x="367" y="280"/>
                    </a:lnTo>
                    <a:lnTo>
                      <a:pt x="367" y="280"/>
                    </a:lnTo>
                    <a:lnTo>
                      <a:pt x="360" y="280"/>
                    </a:lnTo>
                    <a:lnTo>
                      <a:pt x="353" y="277"/>
                    </a:lnTo>
                    <a:lnTo>
                      <a:pt x="353" y="277"/>
                    </a:lnTo>
                    <a:lnTo>
                      <a:pt x="347" y="274"/>
                    </a:lnTo>
                    <a:lnTo>
                      <a:pt x="344" y="274"/>
                    </a:lnTo>
                    <a:lnTo>
                      <a:pt x="344" y="273"/>
                    </a:lnTo>
                    <a:lnTo>
                      <a:pt x="344" y="273"/>
                    </a:lnTo>
                    <a:lnTo>
                      <a:pt x="346" y="271"/>
                    </a:lnTo>
                    <a:lnTo>
                      <a:pt x="349" y="271"/>
                    </a:lnTo>
                    <a:lnTo>
                      <a:pt x="357" y="273"/>
                    </a:lnTo>
                    <a:lnTo>
                      <a:pt x="357" y="273"/>
                    </a:lnTo>
                    <a:lnTo>
                      <a:pt x="359" y="273"/>
                    </a:lnTo>
                    <a:lnTo>
                      <a:pt x="359" y="271"/>
                    </a:lnTo>
                    <a:lnTo>
                      <a:pt x="356" y="268"/>
                    </a:lnTo>
                    <a:lnTo>
                      <a:pt x="350" y="264"/>
                    </a:lnTo>
                    <a:lnTo>
                      <a:pt x="350" y="264"/>
                    </a:lnTo>
                    <a:lnTo>
                      <a:pt x="349" y="264"/>
                    </a:lnTo>
                    <a:lnTo>
                      <a:pt x="349" y="263"/>
                    </a:lnTo>
                    <a:lnTo>
                      <a:pt x="353" y="261"/>
                    </a:lnTo>
                    <a:lnTo>
                      <a:pt x="353" y="261"/>
                    </a:lnTo>
                    <a:lnTo>
                      <a:pt x="354" y="261"/>
                    </a:lnTo>
                    <a:lnTo>
                      <a:pt x="354" y="260"/>
                    </a:lnTo>
                    <a:lnTo>
                      <a:pt x="353" y="258"/>
                    </a:lnTo>
                    <a:lnTo>
                      <a:pt x="352" y="257"/>
                    </a:lnTo>
                    <a:lnTo>
                      <a:pt x="352" y="257"/>
                    </a:lnTo>
                    <a:lnTo>
                      <a:pt x="353" y="255"/>
                    </a:lnTo>
                    <a:lnTo>
                      <a:pt x="353" y="255"/>
                    </a:lnTo>
                    <a:lnTo>
                      <a:pt x="353" y="255"/>
                    </a:lnTo>
                    <a:lnTo>
                      <a:pt x="353" y="254"/>
                    </a:lnTo>
                    <a:lnTo>
                      <a:pt x="352" y="252"/>
                    </a:lnTo>
                    <a:lnTo>
                      <a:pt x="343" y="250"/>
                    </a:lnTo>
                    <a:lnTo>
                      <a:pt x="343" y="250"/>
                    </a:lnTo>
                    <a:lnTo>
                      <a:pt x="343" y="250"/>
                    </a:lnTo>
                    <a:lnTo>
                      <a:pt x="344" y="250"/>
                    </a:lnTo>
                    <a:lnTo>
                      <a:pt x="349" y="248"/>
                    </a:lnTo>
                    <a:lnTo>
                      <a:pt x="360" y="248"/>
                    </a:lnTo>
                    <a:lnTo>
                      <a:pt x="360" y="248"/>
                    </a:lnTo>
                    <a:lnTo>
                      <a:pt x="363" y="248"/>
                    </a:lnTo>
                    <a:lnTo>
                      <a:pt x="366" y="247"/>
                    </a:lnTo>
                    <a:lnTo>
                      <a:pt x="369" y="245"/>
                    </a:lnTo>
                    <a:lnTo>
                      <a:pt x="370" y="242"/>
                    </a:lnTo>
                    <a:lnTo>
                      <a:pt x="370" y="242"/>
                    </a:lnTo>
                    <a:lnTo>
                      <a:pt x="369" y="241"/>
                    </a:lnTo>
                    <a:lnTo>
                      <a:pt x="367" y="239"/>
                    </a:lnTo>
                    <a:lnTo>
                      <a:pt x="362" y="238"/>
                    </a:lnTo>
                    <a:lnTo>
                      <a:pt x="349" y="235"/>
                    </a:lnTo>
                    <a:lnTo>
                      <a:pt x="349" y="235"/>
                    </a:lnTo>
                    <a:lnTo>
                      <a:pt x="347" y="235"/>
                    </a:lnTo>
                    <a:lnTo>
                      <a:pt x="347" y="234"/>
                    </a:lnTo>
                    <a:lnTo>
                      <a:pt x="349" y="231"/>
                    </a:lnTo>
                    <a:lnTo>
                      <a:pt x="356" y="225"/>
                    </a:lnTo>
                    <a:lnTo>
                      <a:pt x="356" y="225"/>
                    </a:lnTo>
                    <a:lnTo>
                      <a:pt x="360" y="221"/>
                    </a:lnTo>
                    <a:lnTo>
                      <a:pt x="365" y="219"/>
                    </a:lnTo>
                    <a:lnTo>
                      <a:pt x="365" y="219"/>
                    </a:lnTo>
                    <a:lnTo>
                      <a:pt x="366" y="219"/>
                    </a:lnTo>
                    <a:lnTo>
                      <a:pt x="366" y="216"/>
                    </a:lnTo>
                    <a:lnTo>
                      <a:pt x="365" y="209"/>
                    </a:lnTo>
                    <a:lnTo>
                      <a:pt x="362" y="194"/>
                    </a:lnTo>
                    <a:lnTo>
                      <a:pt x="362" y="194"/>
                    </a:lnTo>
                    <a:lnTo>
                      <a:pt x="360" y="192"/>
                    </a:lnTo>
                    <a:lnTo>
                      <a:pt x="357" y="192"/>
                    </a:lnTo>
                    <a:lnTo>
                      <a:pt x="350" y="196"/>
                    </a:lnTo>
                    <a:lnTo>
                      <a:pt x="350" y="196"/>
                    </a:lnTo>
                    <a:lnTo>
                      <a:pt x="343" y="199"/>
                    </a:lnTo>
                    <a:lnTo>
                      <a:pt x="333" y="199"/>
                    </a:lnTo>
                    <a:lnTo>
                      <a:pt x="333" y="199"/>
                    </a:lnTo>
                    <a:lnTo>
                      <a:pt x="328" y="197"/>
                    </a:lnTo>
                    <a:lnTo>
                      <a:pt x="330" y="196"/>
                    </a:lnTo>
                    <a:lnTo>
                      <a:pt x="337" y="192"/>
                    </a:lnTo>
                    <a:lnTo>
                      <a:pt x="337" y="192"/>
                    </a:lnTo>
                    <a:lnTo>
                      <a:pt x="341" y="190"/>
                    </a:lnTo>
                    <a:lnTo>
                      <a:pt x="346" y="186"/>
                    </a:lnTo>
                    <a:lnTo>
                      <a:pt x="350" y="180"/>
                    </a:lnTo>
                    <a:lnTo>
                      <a:pt x="350" y="180"/>
                    </a:lnTo>
                    <a:lnTo>
                      <a:pt x="350" y="179"/>
                    </a:lnTo>
                    <a:lnTo>
                      <a:pt x="349" y="177"/>
                    </a:lnTo>
                    <a:lnTo>
                      <a:pt x="344" y="174"/>
                    </a:lnTo>
                    <a:lnTo>
                      <a:pt x="344" y="174"/>
                    </a:lnTo>
                    <a:lnTo>
                      <a:pt x="341" y="173"/>
                    </a:lnTo>
                    <a:lnTo>
                      <a:pt x="337" y="170"/>
                    </a:lnTo>
                    <a:lnTo>
                      <a:pt x="334" y="168"/>
                    </a:lnTo>
                    <a:lnTo>
                      <a:pt x="330" y="167"/>
                    </a:lnTo>
                    <a:lnTo>
                      <a:pt x="330" y="167"/>
                    </a:lnTo>
                    <a:lnTo>
                      <a:pt x="323" y="166"/>
                    </a:lnTo>
                    <a:lnTo>
                      <a:pt x="318" y="164"/>
                    </a:lnTo>
                    <a:lnTo>
                      <a:pt x="315" y="161"/>
                    </a:lnTo>
                    <a:lnTo>
                      <a:pt x="315" y="161"/>
                    </a:lnTo>
                    <a:lnTo>
                      <a:pt x="312" y="158"/>
                    </a:lnTo>
                    <a:lnTo>
                      <a:pt x="311" y="157"/>
                    </a:lnTo>
                    <a:lnTo>
                      <a:pt x="310" y="157"/>
                    </a:lnTo>
                    <a:lnTo>
                      <a:pt x="310" y="157"/>
                    </a:lnTo>
                    <a:lnTo>
                      <a:pt x="307" y="155"/>
                    </a:lnTo>
                    <a:lnTo>
                      <a:pt x="305" y="154"/>
                    </a:lnTo>
                    <a:lnTo>
                      <a:pt x="304" y="150"/>
                    </a:lnTo>
                    <a:lnTo>
                      <a:pt x="304" y="150"/>
                    </a:lnTo>
                    <a:lnTo>
                      <a:pt x="304" y="145"/>
                    </a:lnTo>
                    <a:lnTo>
                      <a:pt x="304" y="142"/>
                    </a:lnTo>
                    <a:lnTo>
                      <a:pt x="302" y="139"/>
                    </a:lnTo>
                    <a:lnTo>
                      <a:pt x="302" y="139"/>
                    </a:lnTo>
                    <a:lnTo>
                      <a:pt x="298" y="137"/>
                    </a:lnTo>
                    <a:lnTo>
                      <a:pt x="295" y="137"/>
                    </a:lnTo>
                    <a:lnTo>
                      <a:pt x="286" y="139"/>
                    </a:lnTo>
                    <a:lnTo>
                      <a:pt x="286" y="139"/>
                    </a:lnTo>
                    <a:lnTo>
                      <a:pt x="282" y="138"/>
                    </a:lnTo>
                    <a:lnTo>
                      <a:pt x="276" y="135"/>
                    </a:lnTo>
                    <a:lnTo>
                      <a:pt x="269" y="132"/>
                    </a:lnTo>
                    <a:lnTo>
                      <a:pt x="265" y="131"/>
                    </a:lnTo>
                    <a:lnTo>
                      <a:pt x="265" y="131"/>
                    </a:lnTo>
                    <a:lnTo>
                      <a:pt x="262" y="129"/>
                    </a:lnTo>
                    <a:lnTo>
                      <a:pt x="260" y="129"/>
                    </a:lnTo>
                    <a:lnTo>
                      <a:pt x="259" y="125"/>
                    </a:lnTo>
                    <a:lnTo>
                      <a:pt x="259" y="125"/>
                    </a:lnTo>
                    <a:lnTo>
                      <a:pt x="257" y="124"/>
                    </a:lnTo>
                    <a:lnTo>
                      <a:pt x="255" y="124"/>
                    </a:lnTo>
                    <a:lnTo>
                      <a:pt x="252" y="122"/>
                    </a:lnTo>
                    <a:lnTo>
                      <a:pt x="252" y="122"/>
                    </a:lnTo>
                    <a:lnTo>
                      <a:pt x="250" y="122"/>
                    </a:lnTo>
                    <a:lnTo>
                      <a:pt x="250" y="121"/>
                    </a:lnTo>
                    <a:lnTo>
                      <a:pt x="250" y="116"/>
                    </a:lnTo>
                    <a:lnTo>
                      <a:pt x="250" y="116"/>
                    </a:lnTo>
                    <a:lnTo>
                      <a:pt x="246" y="113"/>
                    </a:lnTo>
                    <a:lnTo>
                      <a:pt x="241" y="110"/>
                    </a:lnTo>
                    <a:lnTo>
                      <a:pt x="241" y="110"/>
                    </a:lnTo>
                    <a:lnTo>
                      <a:pt x="239" y="109"/>
                    </a:lnTo>
                    <a:lnTo>
                      <a:pt x="239" y="105"/>
                    </a:lnTo>
                    <a:lnTo>
                      <a:pt x="239" y="102"/>
                    </a:lnTo>
                    <a:lnTo>
                      <a:pt x="239" y="99"/>
                    </a:lnTo>
                    <a:lnTo>
                      <a:pt x="239" y="99"/>
                    </a:lnTo>
                    <a:lnTo>
                      <a:pt x="233" y="92"/>
                    </a:lnTo>
                    <a:lnTo>
                      <a:pt x="228" y="89"/>
                    </a:lnTo>
                    <a:lnTo>
                      <a:pt x="224" y="86"/>
                    </a:lnTo>
                    <a:lnTo>
                      <a:pt x="224" y="86"/>
                    </a:lnTo>
                    <a:lnTo>
                      <a:pt x="220" y="84"/>
                    </a:lnTo>
                    <a:lnTo>
                      <a:pt x="214" y="82"/>
                    </a:lnTo>
                    <a:lnTo>
                      <a:pt x="214" y="82"/>
                    </a:lnTo>
                    <a:lnTo>
                      <a:pt x="208" y="80"/>
                    </a:lnTo>
                    <a:lnTo>
                      <a:pt x="199" y="80"/>
                    </a:lnTo>
                    <a:lnTo>
                      <a:pt x="186" y="79"/>
                    </a:lnTo>
                    <a:lnTo>
                      <a:pt x="186" y="79"/>
                    </a:lnTo>
                    <a:lnTo>
                      <a:pt x="184" y="80"/>
                    </a:lnTo>
                    <a:lnTo>
                      <a:pt x="182" y="82"/>
                    </a:lnTo>
                    <a:lnTo>
                      <a:pt x="179" y="86"/>
                    </a:lnTo>
                    <a:lnTo>
                      <a:pt x="179" y="86"/>
                    </a:lnTo>
                    <a:lnTo>
                      <a:pt x="181" y="87"/>
                    </a:lnTo>
                    <a:lnTo>
                      <a:pt x="184" y="90"/>
                    </a:lnTo>
                    <a:lnTo>
                      <a:pt x="186" y="93"/>
                    </a:lnTo>
                    <a:lnTo>
                      <a:pt x="188" y="95"/>
                    </a:lnTo>
                    <a:lnTo>
                      <a:pt x="188" y="95"/>
                    </a:lnTo>
                    <a:lnTo>
                      <a:pt x="186" y="95"/>
                    </a:lnTo>
                    <a:lnTo>
                      <a:pt x="182" y="95"/>
                    </a:lnTo>
                    <a:lnTo>
                      <a:pt x="175" y="92"/>
                    </a:lnTo>
                    <a:lnTo>
                      <a:pt x="175" y="92"/>
                    </a:lnTo>
                    <a:lnTo>
                      <a:pt x="173" y="93"/>
                    </a:lnTo>
                    <a:lnTo>
                      <a:pt x="173" y="95"/>
                    </a:lnTo>
                    <a:lnTo>
                      <a:pt x="172" y="99"/>
                    </a:lnTo>
                    <a:lnTo>
                      <a:pt x="170" y="105"/>
                    </a:lnTo>
                    <a:lnTo>
                      <a:pt x="169" y="108"/>
                    </a:lnTo>
                    <a:lnTo>
                      <a:pt x="169" y="108"/>
                    </a:lnTo>
                    <a:lnTo>
                      <a:pt x="168" y="108"/>
                    </a:lnTo>
                    <a:lnTo>
                      <a:pt x="166" y="106"/>
                    </a:lnTo>
                    <a:lnTo>
                      <a:pt x="165" y="99"/>
                    </a:lnTo>
                    <a:lnTo>
                      <a:pt x="165" y="84"/>
                    </a:lnTo>
                    <a:lnTo>
                      <a:pt x="165" y="84"/>
                    </a:lnTo>
                    <a:lnTo>
                      <a:pt x="165" y="82"/>
                    </a:lnTo>
                    <a:lnTo>
                      <a:pt x="163" y="80"/>
                    </a:lnTo>
                    <a:lnTo>
                      <a:pt x="159" y="77"/>
                    </a:lnTo>
                    <a:lnTo>
                      <a:pt x="159" y="77"/>
                    </a:lnTo>
                    <a:lnTo>
                      <a:pt x="156" y="79"/>
                    </a:lnTo>
                    <a:lnTo>
                      <a:pt x="155" y="80"/>
                    </a:lnTo>
                    <a:lnTo>
                      <a:pt x="150" y="86"/>
                    </a:lnTo>
                    <a:lnTo>
                      <a:pt x="150" y="86"/>
                    </a:lnTo>
                    <a:lnTo>
                      <a:pt x="149" y="87"/>
                    </a:lnTo>
                    <a:lnTo>
                      <a:pt x="147" y="87"/>
                    </a:lnTo>
                    <a:lnTo>
                      <a:pt x="143" y="86"/>
                    </a:lnTo>
                    <a:lnTo>
                      <a:pt x="143" y="86"/>
                    </a:lnTo>
                    <a:lnTo>
                      <a:pt x="142" y="87"/>
                    </a:lnTo>
                    <a:lnTo>
                      <a:pt x="139" y="90"/>
                    </a:lnTo>
                    <a:lnTo>
                      <a:pt x="136" y="100"/>
                    </a:lnTo>
                    <a:lnTo>
                      <a:pt x="136" y="100"/>
                    </a:lnTo>
                    <a:lnTo>
                      <a:pt x="133" y="105"/>
                    </a:lnTo>
                    <a:lnTo>
                      <a:pt x="130" y="108"/>
                    </a:lnTo>
                    <a:lnTo>
                      <a:pt x="127" y="109"/>
                    </a:lnTo>
                    <a:lnTo>
                      <a:pt x="124" y="109"/>
                    </a:lnTo>
                    <a:lnTo>
                      <a:pt x="124" y="109"/>
                    </a:lnTo>
                    <a:lnTo>
                      <a:pt x="123" y="109"/>
                    </a:lnTo>
                    <a:lnTo>
                      <a:pt x="123" y="106"/>
                    </a:lnTo>
                    <a:lnTo>
                      <a:pt x="124" y="99"/>
                    </a:lnTo>
                    <a:lnTo>
                      <a:pt x="130" y="84"/>
                    </a:lnTo>
                    <a:lnTo>
                      <a:pt x="130" y="84"/>
                    </a:lnTo>
                    <a:lnTo>
                      <a:pt x="131" y="80"/>
                    </a:lnTo>
                    <a:lnTo>
                      <a:pt x="133" y="77"/>
                    </a:lnTo>
                    <a:lnTo>
                      <a:pt x="139" y="73"/>
                    </a:lnTo>
                    <a:lnTo>
                      <a:pt x="139" y="73"/>
                    </a:lnTo>
                    <a:lnTo>
                      <a:pt x="139" y="68"/>
                    </a:lnTo>
                    <a:lnTo>
                      <a:pt x="139" y="61"/>
                    </a:lnTo>
                    <a:lnTo>
                      <a:pt x="136" y="51"/>
                    </a:lnTo>
                    <a:lnTo>
                      <a:pt x="136" y="51"/>
                    </a:lnTo>
                    <a:lnTo>
                      <a:pt x="136" y="48"/>
                    </a:lnTo>
                    <a:lnTo>
                      <a:pt x="137" y="45"/>
                    </a:lnTo>
                    <a:lnTo>
                      <a:pt x="140" y="41"/>
                    </a:lnTo>
                    <a:lnTo>
                      <a:pt x="140" y="41"/>
                    </a:lnTo>
                    <a:lnTo>
                      <a:pt x="142" y="40"/>
                    </a:lnTo>
                    <a:lnTo>
                      <a:pt x="142" y="38"/>
                    </a:lnTo>
                    <a:lnTo>
                      <a:pt x="139" y="35"/>
                    </a:lnTo>
                    <a:lnTo>
                      <a:pt x="139" y="35"/>
                    </a:lnTo>
                    <a:lnTo>
                      <a:pt x="139" y="32"/>
                    </a:lnTo>
                    <a:lnTo>
                      <a:pt x="139" y="31"/>
                    </a:lnTo>
                    <a:lnTo>
                      <a:pt x="140" y="28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40" y="6"/>
                    </a:lnTo>
                    <a:lnTo>
                      <a:pt x="140" y="6"/>
                    </a:lnTo>
                    <a:lnTo>
                      <a:pt x="140" y="5"/>
                    </a:lnTo>
                    <a:lnTo>
                      <a:pt x="139" y="5"/>
                    </a:lnTo>
                    <a:lnTo>
                      <a:pt x="134" y="3"/>
                    </a:lnTo>
                    <a:lnTo>
                      <a:pt x="126" y="6"/>
                    </a:lnTo>
                    <a:lnTo>
                      <a:pt x="126" y="6"/>
                    </a:lnTo>
                    <a:lnTo>
                      <a:pt x="120" y="8"/>
                    </a:lnTo>
                    <a:lnTo>
                      <a:pt x="117" y="8"/>
                    </a:lnTo>
                    <a:lnTo>
                      <a:pt x="114" y="11"/>
                    </a:lnTo>
                    <a:lnTo>
                      <a:pt x="114" y="11"/>
                    </a:lnTo>
                    <a:lnTo>
                      <a:pt x="115" y="12"/>
                    </a:lnTo>
                    <a:lnTo>
                      <a:pt x="117" y="16"/>
                    </a:lnTo>
                    <a:lnTo>
                      <a:pt x="120" y="21"/>
                    </a:lnTo>
                    <a:lnTo>
                      <a:pt x="120" y="21"/>
                    </a:lnTo>
                    <a:lnTo>
                      <a:pt x="118" y="21"/>
                    </a:lnTo>
                    <a:lnTo>
                      <a:pt x="117" y="21"/>
                    </a:lnTo>
                    <a:lnTo>
                      <a:pt x="110" y="18"/>
                    </a:lnTo>
                    <a:lnTo>
                      <a:pt x="110" y="18"/>
                    </a:lnTo>
                    <a:lnTo>
                      <a:pt x="107" y="18"/>
                    </a:lnTo>
                    <a:lnTo>
                      <a:pt x="104" y="18"/>
                    </a:lnTo>
                    <a:lnTo>
                      <a:pt x="101" y="19"/>
                    </a:lnTo>
                    <a:lnTo>
                      <a:pt x="100" y="21"/>
                    </a:lnTo>
                    <a:lnTo>
                      <a:pt x="100" y="21"/>
                    </a:lnTo>
                    <a:lnTo>
                      <a:pt x="101" y="22"/>
                    </a:lnTo>
                    <a:lnTo>
                      <a:pt x="105" y="24"/>
                    </a:lnTo>
                    <a:lnTo>
                      <a:pt x="108" y="25"/>
                    </a:lnTo>
                    <a:lnTo>
                      <a:pt x="111" y="28"/>
                    </a:lnTo>
                    <a:lnTo>
                      <a:pt x="111" y="28"/>
                    </a:lnTo>
                    <a:lnTo>
                      <a:pt x="115" y="32"/>
                    </a:lnTo>
                    <a:lnTo>
                      <a:pt x="120" y="37"/>
                    </a:lnTo>
                    <a:lnTo>
                      <a:pt x="120" y="37"/>
                    </a:lnTo>
                    <a:lnTo>
                      <a:pt x="120" y="38"/>
                    </a:lnTo>
                    <a:lnTo>
                      <a:pt x="118" y="40"/>
                    </a:lnTo>
                    <a:lnTo>
                      <a:pt x="115" y="42"/>
                    </a:lnTo>
                    <a:lnTo>
                      <a:pt x="111" y="44"/>
                    </a:lnTo>
                    <a:lnTo>
                      <a:pt x="107" y="45"/>
                    </a:lnTo>
                    <a:lnTo>
                      <a:pt x="107" y="45"/>
                    </a:lnTo>
                    <a:lnTo>
                      <a:pt x="104" y="45"/>
                    </a:lnTo>
                    <a:lnTo>
                      <a:pt x="101" y="44"/>
                    </a:lnTo>
                    <a:lnTo>
                      <a:pt x="100" y="44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2" y="45"/>
                    </a:lnTo>
                    <a:lnTo>
                      <a:pt x="91" y="45"/>
                    </a:lnTo>
                    <a:lnTo>
                      <a:pt x="89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5"/>
                    </a:lnTo>
                    <a:lnTo>
                      <a:pt x="85" y="47"/>
                    </a:lnTo>
                    <a:lnTo>
                      <a:pt x="85" y="54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73"/>
                    </a:lnTo>
                    <a:lnTo>
                      <a:pt x="88" y="76"/>
                    </a:lnTo>
                    <a:lnTo>
                      <a:pt x="94" y="82"/>
                    </a:lnTo>
                    <a:lnTo>
                      <a:pt x="94" y="82"/>
                    </a:lnTo>
                    <a:lnTo>
                      <a:pt x="97" y="84"/>
                    </a:lnTo>
                    <a:lnTo>
                      <a:pt x="97" y="87"/>
                    </a:lnTo>
                    <a:lnTo>
                      <a:pt x="97" y="89"/>
                    </a:lnTo>
                    <a:lnTo>
                      <a:pt x="95" y="90"/>
                    </a:lnTo>
                    <a:lnTo>
                      <a:pt x="95" y="90"/>
                    </a:lnTo>
                    <a:lnTo>
                      <a:pt x="92" y="90"/>
                    </a:lnTo>
                    <a:lnTo>
                      <a:pt x="89" y="89"/>
                    </a:lnTo>
                    <a:lnTo>
                      <a:pt x="86" y="87"/>
                    </a:lnTo>
                    <a:lnTo>
                      <a:pt x="84" y="87"/>
                    </a:lnTo>
                    <a:lnTo>
                      <a:pt x="84" y="87"/>
                    </a:lnTo>
                    <a:lnTo>
                      <a:pt x="84" y="90"/>
                    </a:lnTo>
                    <a:lnTo>
                      <a:pt x="85" y="95"/>
                    </a:lnTo>
                    <a:lnTo>
                      <a:pt x="86" y="99"/>
                    </a:lnTo>
                    <a:lnTo>
                      <a:pt x="88" y="105"/>
                    </a:lnTo>
                    <a:lnTo>
                      <a:pt x="88" y="105"/>
                    </a:lnTo>
                    <a:lnTo>
                      <a:pt x="89" y="109"/>
                    </a:lnTo>
                    <a:lnTo>
                      <a:pt x="92" y="112"/>
                    </a:lnTo>
                    <a:lnTo>
                      <a:pt x="97" y="116"/>
                    </a:lnTo>
                    <a:lnTo>
                      <a:pt x="101" y="118"/>
                    </a:lnTo>
                    <a:lnTo>
                      <a:pt x="101" y="118"/>
                    </a:lnTo>
                    <a:lnTo>
                      <a:pt x="104" y="119"/>
                    </a:lnTo>
                    <a:lnTo>
                      <a:pt x="104" y="121"/>
                    </a:lnTo>
                    <a:lnTo>
                      <a:pt x="105" y="125"/>
                    </a:lnTo>
                    <a:lnTo>
                      <a:pt x="105" y="125"/>
                    </a:lnTo>
                    <a:lnTo>
                      <a:pt x="110" y="128"/>
                    </a:lnTo>
                    <a:lnTo>
                      <a:pt x="115" y="132"/>
                    </a:lnTo>
                    <a:lnTo>
                      <a:pt x="121" y="137"/>
                    </a:lnTo>
                    <a:lnTo>
                      <a:pt x="124" y="139"/>
                    </a:lnTo>
                    <a:lnTo>
                      <a:pt x="124" y="139"/>
                    </a:lnTo>
                    <a:lnTo>
                      <a:pt x="124" y="144"/>
                    </a:lnTo>
                    <a:lnTo>
                      <a:pt x="123" y="145"/>
                    </a:lnTo>
                    <a:lnTo>
                      <a:pt x="118" y="150"/>
                    </a:lnTo>
                    <a:lnTo>
                      <a:pt x="118" y="150"/>
                    </a:lnTo>
                    <a:lnTo>
                      <a:pt x="117" y="150"/>
                    </a:lnTo>
                    <a:lnTo>
                      <a:pt x="115" y="150"/>
                    </a:lnTo>
                    <a:lnTo>
                      <a:pt x="115" y="148"/>
                    </a:lnTo>
                    <a:lnTo>
                      <a:pt x="114" y="148"/>
                    </a:lnTo>
                    <a:lnTo>
                      <a:pt x="114" y="148"/>
                    </a:lnTo>
                    <a:lnTo>
                      <a:pt x="113" y="148"/>
                    </a:lnTo>
                    <a:lnTo>
                      <a:pt x="111" y="151"/>
                    </a:lnTo>
                    <a:lnTo>
                      <a:pt x="110" y="154"/>
                    </a:lnTo>
                    <a:lnTo>
                      <a:pt x="108" y="157"/>
                    </a:lnTo>
                    <a:lnTo>
                      <a:pt x="108" y="157"/>
                    </a:lnTo>
                    <a:lnTo>
                      <a:pt x="107" y="157"/>
                    </a:lnTo>
                    <a:lnTo>
                      <a:pt x="107" y="155"/>
                    </a:lnTo>
                    <a:lnTo>
                      <a:pt x="105" y="152"/>
                    </a:lnTo>
                    <a:lnTo>
                      <a:pt x="104" y="145"/>
                    </a:lnTo>
                    <a:lnTo>
                      <a:pt x="104" y="145"/>
                    </a:lnTo>
                    <a:lnTo>
                      <a:pt x="101" y="145"/>
                    </a:lnTo>
                    <a:lnTo>
                      <a:pt x="98" y="148"/>
                    </a:lnTo>
                    <a:lnTo>
                      <a:pt x="94" y="151"/>
                    </a:lnTo>
                    <a:lnTo>
                      <a:pt x="89" y="154"/>
                    </a:lnTo>
                    <a:lnTo>
                      <a:pt x="89" y="154"/>
                    </a:lnTo>
                    <a:lnTo>
                      <a:pt x="88" y="154"/>
                    </a:lnTo>
                    <a:lnTo>
                      <a:pt x="88" y="152"/>
                    </a:lnTo>
                    <a:lnTo>
                      <a:pt x="89" y="150"/>
                    </a:lnTo>
                    <a:lnTo>
                      <a:pt x="95" y="141"/>
                    </a:lnTo>
                    <a:lnTo>
                      <a:pt x="95" y="141"/>
                    </a:lnTo>
                    <a:lnTo>
                      <a:pt x="95" y="139"/>
                    </a:lnTo>
                    <a:lnTo>
                      <a:pt x="95" y="137"/>
                    </a:lnTo>
                    <a:lnTo>
                      <a:pt x="94" y="135"/>
                    </a:lnTo>
                    <a:lnTo>
                      <a:pt x="92" y="135"/>
                    </a:lnTo>
                    <a:lnTo>
                      <a:pt x="92" y="135"/>
                    </a:lnTo>
                    <a:lnTo>
                      <a:pt x="91" y="134"/>
                    </a:lnTo>
                    <a:lnTo>
                      <a:pt x="91" y="132"/>
                    </a:lnTo>
                    <a:lnTo>
                      <a:pt x="89" y="128"/>
                    </a:lnTo>
                    <a:lnTo>
                      <a:pt x="86" y="125"/>
                    </a:lnTo>
                    <a:lnTo>
                      <a:pt x="86" y="125"/>
                    </a:lnTo>
                    <a:lnTo>
                      <a:pt x="76" y="115"/>
                    </a:lnTo>
                    <a:lnTo>
                      <a:pt x="72" y="109"/>
                    </a:lnTo>
                    <a:lnTo>
                      <a:pt x="69" y="103"/>
                    </a:lnTo>
                    <a:lnTo>
                      <a:pt x="69" y="103"/>
                    </a:lnTo>
                    <a:lnTo>
                      <a:pt x="68" y="100"/>
                    </a:lnTo>
                    <a:lnTo>
                      <a:pt x="68" y="96"/>
                    </a:lnTo>
                    <a:lnTo>
                      <a:pt x="71" y="87"/>
                    </a:lnTo>
                    <a:lnTo>
                      <a:pt x="72" y="80"/>
                    </a:lnTo>
                    <a:lnTo>
                      <a:pt x="73" y="74"/>
                    </a:lnTo>
                    <a:lnTo>
                      <a:pt x="73" y="74"/>
                    </a:lnTo>
                    <a:lnTo>
                      <a:pt x="72" y="63"/>
                    </a:lnTo>
                    <a:lnTo>
                      <a:pt x="71" y="55"/>
                    </a:lnTo>
                    <a:lnTo>
                      <a:pt x="69" y="48"/>
                    </a:lnTo>
                    <a:lnTo>
                      <a:pt x="69" y="48"/>
                    </a:lnTo>
                    <a:lnTo>
                      <a:pt x="71" y="44"/>
                    </a:lnTo>
                    <a:lnTo>
                      <a:pt x="72" y="40"/>
                    </a:lnTo>
                    <a:lnTo>
                      <a:pt x="78" y="31"/>
                    </a:lnTo>
                    <a:lnTo>
                      <a:pt x="88" y="18"/>
                    </a:lnTo>
                    <a:lnTo>
                      <a:pt x="88" y="18"/>
                    </a:lnTo>
                    <a:lnTo>
                      <a:pt x="94" y="9"/>
                    </a:lnTo>
                    <a:lnTo>
                      <a:pt x="97" y="5"/>
                    </a:lnTo>
                    <a:lnTo>
                      <a:pt x="97" y="2"/>
                    </a:lnTo>
                    <a:lnTo>
                      <a:pt x="97" y="2"/>
                    </a:lnTo>
                    <a:lnTo>
                      <a:pt x="97" y="0"/>
                    </a:lnTo>
                    <a:lnTo>
                      <a:pt x="95" y="0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86" y="3"/>
                    </a:lnTo>
                    <a:lnTo>
                      <a:pt x="75" y="3"/>
                    </a:lnTo>
                    <a:lnTo>
                      <a:pt x="58" y="3"/>
                    </a:lnTo>
                    <a:lnTo>
                      <a:pt x="58" y="3"/>
                    </a:lnTo>
                    <a:lnTo>
                      <a:pt x="44" y="9"/>
                    </a:lnTo>
                    <a:lnTo>
                      <a:pt x="33" y="15"/>
                    </a:lnTo>
                    <a:lnTo>
                      <a:pt x="33" y="15"/>
                    </a:lnTo>
                    <a:lnTo>
                      <a:pt x="29" y="19"/>
                    </a:lnTo>
                    <a:lnTo>
                      <a:pt x="24" y="25"/>
                    </a:lnTo>
                    <a:lnTo>
                      <a:pt x="24" y="25"/>
                    </a:lnTo>
                    <a:lnTo>
                      <a:pt x="17" y="32"/>
                    </a:lnTo>
                    <a:lnTo>
                      <a:pt x="11" y="38"/>
                    </a:lnTo>
                    <a:lnTo>
                      <a:pt x="11" y="38"/>
                    </a:lnTo>
                    <a:lnTo>
                      <a:pt x="10" y="40"/>
                    </a:lnTo>
                    <a:lnTo>
                      <a:pt x="10" y="41"/>
                    </a:lnTo>
                    <a:lnTo>
                      <a:pt x="11" y="48"/>
                    </a:lnTo>
                    <a:lnTo>
                      <a:pt x="13" y="61"/>
                    </a:lnTo>
                    <a:lnTo>
                      <a:pt x="13" y="61"/>
                    </a:lnTo>
                    <a:lnTo>
                      <a:pt x="11" y="68"/>
                    </a:lnTo>
                    <a:lnTo>
                      <a:pt x="8" y="79"/>
                    </a:lnTo>
                    <a:lnTo>
                      <a:pt x="5" y="89"/>
                    </a:lnTo>
                    <a:lnTo>
                      <a:pt x="1" y="95"/>
                    </a:lnTo>
                    <a:lnTo>
                      <a:pt x="1" y="95"/>
                    </a:lnTo>
                    <a:lnTo>
                      <a:pt x="0" y="100"/>
                    </a:lnTo>
                    <a:lnTo>
                      <a:pt x="1" y="106"/>
                    </a:lnTo>
                    <a:lnTo>
                      <a:pt x="4" y="112"/>
                    </a:lnTo>
                    <a:lnTo>
                      <a:pt x="8" y="118"/>
                    </a:lnTo>
                    <a:lnTo>
                      <a:pt x="8" y="118"/>
                    </a:lnTo>
                    <a:lnTo>
                      <a:pt x="13" y="122"/>
                    </a:lnTo>
                    <a:lnTo>
                      <a:pt x="13" y="124"/>
                    </a:lnTo>
                    <a:lnTo>
                      <a:pt x="13" y="126"/>
                    </a:lnTo>
                    <a:lnTo>
                      <a:pt x="13" y="126"/>
                    </a:lnTo>
                    <a:lnTo>
                      <a:pt x="13" y="129"/>
                    </a:lnTo>
                    <a:lnTo>
                      <a:pt x="14" y="134"/>
                    </a:lnTo>
                    <a:lnTo>
                      <a:pt x="18" y="142"/>
                    </a:lnTo>
                    <a:lnTo>
                      <a:pt x="18" y="142"/>
                    </a:lnTo>
                    <a:lnTo>
                      <a:pt x="20" y="145"/>
                    </a:lnTo>
                    <a:lnTo>
                      <a:pt x="23" y="145"/>
                    </a:lnTo>
                    <a:lnTo>
                      <a:pt x="31" y="148"/>
                    </a:lnTo>
                    <a:lnTo>
                      <a:pt x="31" y="148"/>
                    </a:lnTo>
                    <a:lnTo>
                      <a:pt x="37" y="151"/>
                    </a:lnTo>
                    <a:lnTo>
                      <a:pt x="42" y="154"/>
                    </a:lnTo>
                    <a:lnTo>
                      <a:pt x="46" y="160"/>
                    </a:lnTo>
                    <a:lnTo>
                      <a:pt x="46" y="160"/>
                    </a:lnTo>
                    <a:lnTo>
                      <a:pt x="46" y="161"/>
                    </a:lnTo>
                    <a:lnTo>
                      <a:pt x="44" y="161"/>
                    </a:lnTo>
                    <a:lnTo>
                      <a:pt x="40" y="160"/>
                    </a:lnTo>
                    <a:lnTo>
                      <a:pt x="30" y="158"/>
                    </a:lnTo>
                    <a:lnTo>
                      <a:pt x="30" y="158"/>
                    </a:lnTo>
                    <a:lnTo>
                      <a:pt x="30" y="158"/>
                    </a:lnTo>
                    <a:lnTo>
                      <a:pt x="30" y="160"/>
                    </a:lnTo>
                    <a:lnTo>
                      <a:pt x="31" y="163"/>
                    </a:lnTo>
                    <a:lnTo>
                      <a:pt x="37" y="171"/>
                    </a:lnTo>
                    <a:lnTo>
                      <a:pt x="37" y="171"/>
                    </a:lnTo>
                    <a:lnTo>
                      <a:pt x="40" y="174"/>
                    </a:lnTo>
                    <a:lnTo>
                      <a:pt x="43" y="176"/>
                    </a:lnTo>
                    <a:lnTo>
                      <a:pt x="44" y="174"/>
                    </a:lnTo>
                    <a:lnTo>
                      <a:pt x="49" y="176"/>
                    </a:lnTo>
                    <a:lnTo>
                      <a:pt x="49" y="176"/>
                    </a:lnTo>
                    <a:lnTo>
                      <a:pt x="53" y="177"/>
                    </a:lnTo>
                    <a:lnTo>
                      <a:pt x="55" y="180"/>
                    </a:lnTo>
                    <a:lnTo>
                      <a:pt x="58" y="186"/>
                    </a:lnTo>
                    <a:lnTo>
                      <a:pt x="58" y="186"/>
                    </a:lnTo>
                    <a:lnTo>
                      <a:pt x="58" y="186"/>
                    </a:lnTo>
                    <a:lnTo>
                      <a:pt x="56" y="186"/>
                    </a:lnTo>
                    <a:lnTo>
                      <a:pt x="52" y="184"/>
                    </a:lnTo>
                    <a:lnTo>
                      <a:pt x="47" y="183"/>
                    </a:lnTo>
                    <a:lnTo>
                      <a:pt x="46" y="183"/>
                    </a:lnTo>
                    <a:lnTo>
                      <a:pt x="47" y="183"/>
                    </a:lnTo>
                    <a:lnTo>
                      <a:pt x="47" y="183"/>
                    </a:lnTo>
                    <a:lnTo>
                      <a:pt x="53" y="190"/>
                    </a:lnTo>
                    <a:lnTo>
                      <a:pt x="59" y="196"/>
                    </a:lnTo>
                    <a:lnTo>
                      <a:pt x="59" y="196"/>
                    </a:lnTo>
                    <a:lnTo>
                      <a:pt x="62" y="197"/>
                    </a:lnTo>
                    <a:lnTo>
                      <a:pt x="63" y="196"/>
                    </a:lnTo>
                    <a:lnTo>
                      <a:pt x="66" y="193"/>
                    </a:lnTo>
                    <a:lnTo>
                      <a:pt x="66" y="193"/>
                    </a:lnTo>
                    <a:lnTo>
                      <a:pt x="69" y="194"/>
                    </a:lnTo>
                    <a:lnTo>
                      <a:pt x="72" y="197"/>
                    </a:lnTo>
                    <a:lnTo>
                      <a:pt x="76" y="200"/>
                    </a:lnTo>
                    <a:lnTo>
                      <a:pt x="76" y="200"/>
                    </a:lnTo>
                    <a:lnTo>
                      <a:pt x="81" y="199"/>
                    </a:lnTo>
                    <a:lnTo>
                      <a:pt x="85" y="197"/>
                    </a:lnTo>
                    <a:lnTo>
                      <a:pt x="85" y="197"/>
                    </a:lnTo>
                    <a:lnTo>
                      <a:pt x="88" y="199"/>
                    </a:lnTo>
                    <a:lnTo>
                      <a:pt x="89" y="202"/>
                    </a:lnTo>
                    <a:lnTo>
                      <a:pt x="92" y="205"/>
                    </a:lnTo>
                    <a:lnTo>
                      <a:pt x="95" y="208"/>
                    </a:lnTo>
                    <a:lnTo>
                      <a:pt x="95" y="208"/>
                    </a:lnTo>
                    <a:lnTo>
                      <a:pt x="101" y="209"/>
                    </a:lnTo>
                    <a:lnTo>
                      <a:pt x="108" y="209"/>
                    </a:lnTo>
                    <a:lnTo>
                      <a:pt x="121" y="210"/>
                    </a:lnTo>
                    <a:lnTo>
                      <a:pt x="121" y="210"/>
                    </a:lnTo>
                    <a:lnTo>
                      <a:pt x="127" y="212"/>
                    </a:lnTo>
                    <a:lnTo>
                      <a:pt x="130" y="213"/>
                    </a:lnTo>
                    <a:lnTo>
                      <a:pt x="130" y="213"/>
                    </a:lnTo>
                    <a:lnTo>
                      <a:pt x="133" y="212"/>
                    </a:lnTo>
                    <a:lnTo>
                      <a:pt x="136" y="209"/>
                    </a:lnTo>
                    <a:lnTo>
                      <a:pt x="136" y="209"/>
                    </a:lnTo>
                    <a:lnTo>
                      <a:pt x="137" y="209"/>
                    </a:lnTo>
                    <a:lnTo>
                      <a:pt x="139" y="210"/>
                    </a:lnTo>
                    <a:lnTo>
                      <a:pt x="139" y="212"/>
                    </a:lnTo>
                    <a:lnTo>
                      <a:pt x="140" y="212"/>
                    </a:lnTo>
                    <a:lnTo>
                      <a:pt x="140" y="212"/>
                    </a:lnTo>
                    <a:lnTo>
                      <a:pt x="152" y="210"/>
                    </a:lnTo>
                    <a:lnTo>
                      <a:pt x="168" y="208"/>
                    </a:lnTo>
                    <a:lnTo>
                      <a:pt x="168" y="208"/>
                    </a:lnTo>
                    <a:lnTo>
                      <a:pt x="185" y="205"/>
                    </a:lnTo>
                    <a:lnTo>
                      <a:pt x="185" y="205"/>
                    </a:lnTo>
                    <a:lnTo>
                      <a:pt x="189" y="206"/>
                    </a:lnTo>
                    <a:lnTo>
                      <a:pt x="192" y="210"/>
                    </a:lnTo>
                    <a:lnTo>
                      <a:pt x="197" y="216"/>
                    </a:lnTo>
                    <a:lnTo>
                      <a:pt x="201" y="221"/>
                    </a:lnTo>
                    <a:lnTo>
                      <a:pt x="201" y="221"/>
                    </a:lnTo>
                    <a:lnTo>
                      <a:pt x="202" y="221"/>
                    </a:lnTo>
                    <a:lnTo>
                      <a:pt x="204" y="221"/>
                    </a:lnTo>
                    <a:lnTo>
                      <a:pt x="204" y="215"/>
                    </a:lnTo>
                    <a:lnTo>
                      <a:pt x="204" y="215"/>
                    </a:lnTo>
                    <a:lnTo>
                      <a:pt x="205" y="212"/>
                    </a:lnTo>
                    <a:lnTo>
                      <a:pt x="207" y="210"/>
                    </a:lnTo>
                    <a:lnTo>
                      <a:pt x="210" y="209"/>
                    </a:lnTo>
                    <a:lnTo>
                      <a:pt x="213" y="209"/>
                    </a:lnTo>
                    <a:lnTo>
                      <a:pt x="213" y="209"/>
                    </a:lnTo>
                    <a:lnTo>
                      <a:pt x="214" y="209"/>
                    </a:lnTo>
                    <a:lnTo>
                      <a:pt x="214" y="212"/>
                    </a:lnTo>
                    <a:lnTo>
                      <a:pt x="213" y="216"/>
                    </a:lnTo>
                    <a:lnTo>
                      <a:pt x="213" y="216"/>
                    </a:lnTo>
                    <a:lnTo>
                      <a:pt x="213" y="219"/>
                    </a:lnTo>
                    <a:lnTo>
                      <a:pt x="213" y="223"/>
                    </a:lnTo>
                    <a:lnTo>
                      <a:pt x="214" y="228"/>
                    </a:lnTo>
                    <a:lnTo>
                      <a:pt x="217" y="232"/>
                    </a:lnTo>
                    <a:lnTo>
                      <a:pt x="217" y="232"/>
                    </a:lnTo>
                    <a:lnTo>
                      <a:pt x="220" y="235"/>
                    </a:lnTo>
                    <a:lnTo>
                      <a:pt x="223" y="236"/>
                    </a:lnTo>
                    <a:lnTo>
                      <a:pt x="231" y="241"/>
                    </a:lnTo>
                    <a:lnTo>
                      <a:pt x="231" y="241"/>
                    </a:lnTo>
                    <a:lnTo>
                      <a:pt x="236" y="244"/>
                    </a:lnTo>
                    <a:lnTo>
                      <a:pt x="240" y="245"/>
                    </a:lnTo>
                    <a:lnTo>
                      <a:pt x="249" y="245"/>
                    </a:lnTo>
                    <a:lnTo>
                      <a:pt x="249" y="245"/>
                    </a:lnTo>
                    <a:lnTo>
                      <a:pt x="253" y="247"/>
                    </a:lnTo>
                    <a:lnTo>
                      <a:pt x="256" y="248"/>
                    </a:lnTo>
                    <a:lnTo>
                      <a:pt x="257" y="251"/>
                    </a:lnTo>
                    <a:lnTo>
                      <a:pt x="256" y="252"/>
                    </a:lnTo>
                    <a:lnTo>
                      <a:pt x="256" y="252"/>
                    </a:lnTo>
                    <a:lnTo>
                      <a:pt x="253" y="257"/>
                    </a:lnTo>
                    <a:lnTo>
                      <a:pt x="253" y="263"/>
                    </a:lnTo>
                    <a:lnTo>
                      <a:pt x="255" y="268"/>
                    </a:lnTo>
                    <a:lnTo>
                      <a:pt x="256" y="273"/>
                    </a:lnTo>
                    <a:lnTo>
                      <a:pt x="256" y="273"/>
                    </a:lnTo>
                    <a:lnTo>
                      <a:pt x="259" y="280"/>
                    </a:lnTo>
                    <a:lnTo>
                      <a:pt x="260" y="283"/>
                    </a:lnTo>
                    <a:lnTo>
                      <a:pt x="263" y="284"/>
                    </a:lnTo>
                    <a:lnTo>
                      <a:pt x="263" y="284"/>
                    </a:lnTo>
                    <a:lnTo>
                      <a:pt x="266" y="286"/>
                    </a:lnTo>
                    <a:lnTo>
                      <a:pt x="268" y="287"/>
                    </a:lnTo>
                    <a:lnTo>
                      <a:pt x="268" y="297"/>
                    </a:lnTo>
                    <a:lnTo>
                      <a:pt x="268" y="297"/>
                    </a:lnTo>
                    <a:lnTo>
                      <a:pt x="269" y="305"/>
                    </a:lnTo>
                    <a:lnTo>
                      <a:pt x="272" y="310"/>
                    </a:lnTo>
                    <a:lnTo>
                      <a:pt x="276" y="315"/>
                    </a:lnTo>
                    <a:lnTo>
                      <a:pt x="278" y="321"/>
                    </a:lnTo>
                    <a:lnTo>
                      <a:pt x="278" y="321"/>
                    </a:lnTo>
                    <a:lnTo>
                      <a:pt x="276" y="323"/>
                    </a:lnTo>
                    <a:lnTo>
                      <a:pt x="275" y="325"/>
                    </a:lnTo>
                    <a:lnTo>
                      <a:pt x="270" y="326"/>
                    </a:lnTo>
                    <a:lnTo>
                      <a:pt x="270" y="326"/>
                    </a:lnTo>
                    <a:lnTo>
                      <a:pt x="270" y="329"/>
                    </a:lnTo>
                    <a:lnTo>
                      <a:pt x="272" y="332"/>
                    </a:lnTo>
                    <a:lnTo>
                      <a:pt x="276" y="336"/>
                    </a:lnTo>
                    <a:lnTo>
                      <a:pt x="276" y="336"/>
                    </a:lnTo>
                    <a:lnTo>
                      <a:pt x="276" y="338"/>
                    </a:lnTo>
                    <a:lnTo>
                      <a:pt x="276" y="338"/>
                    </a:lnTo>
                    <a:lnTo>
                      <a:pt x="272" y="339"/>
                    </a:lnTo>
                    <a:lnTo>
                      <a:pt x="263" y="342"/>
                    </a:lnTo>
                    <a:lnTo>
                      <a:pt x="263" y="342"/>
                    </a:lnTo>
                    <a:lnTo>
                      <a:pt x="259" y="345"/>
                    </a:lnTo>
                    <a:lnTo>
                      <a:pt x="255" y="349"/>
                    </a:lnTo>
                    <a:lnTo>
                      <a:pt x="252" y="355"/>
                    </a:lnTo>
                    <a:lnTo>
                      <a:pt x="249" y="360"/>
                    </a:lnTo>
                    <a:lnTo>
                      <a:pt x="249" y="360"/>
                    </a:lnTo>
                    <a:lnTo>
                      <a:pt x="250" y="365"/>
                    </a:lnTo>
                    <a:lnTo>
                      <a:pt x="253" y="371"/>
                    </a:lnTo>
                    <a:lnTo>
                      <a:pt x="260" y="381"/>
                    </a:lnTo>
                    <a:lnTo>
                      <a:pt x="260" y="381"/>
                    </a:lnTo>
                    <a:lnTo>
                      <a:pt x="260" y="386"/>
                    </a:lnTo>
                    <a:lnTo>
                      <a:pt x="257" y="389"/>
                    </a:lnTo>
                    <a:lnTo>
                      <a:pt x="250" y="393"/>
                    </a:lnTo>
                    <a:lnTo>
                      <a:pt x="250" y="393"/>
                    </a:lnTo>
                    <a:lnTo>
                      <a:pt x="247" y="393"/>
                    </a:lnTo>
                    <a:lnTo>
                      <a:pt x="246" y="393"/>
                    </a:lnTo>
                    <a:lnTo>
                      <a:pt x="241" y="391"/>
                    </a:lnTo>
                    <a:lnTo>
                      <a:pt x="241" y="391"/>
                    </a:lnTo>
                    <a:lnTo>
                      <a:pt x="237" y="391"/>
                    </a:lnTo>
                    <a:lnTo>
                      <a:pt x="230" y="393"/>
                    </a:lnTo>
                    <a:lnTo>
                      <a:pt x="230" y="393"/>
                    </a:lnTo>
                    <a:lnTo>
                      <a:pt x="227" y="393"/>
                    </a:lnTo>
                    <a:lnTo>
                      <a:pt x="223" y="391"/>
                    </a:lnTo>
                    <a:lnTo>
                      <a:pt x="218" y="387"/>
                    </a:lnTo>
                    <a:lnTo>
                      <a:pt x="218" y="387"/>
                    </a:lnTo>
                    <a:lnTo>
                      <a:pt x="215" y="387"/>
                    </a:lnTo>
                    <a:lnTo>
                      <a:pt x="210" y="387"/>
                    </a:lnTo>
                    <a:lnTo>
                      <a:pt x="204" y="387"/>
                    </a:lnTo>
                    <a:lnTo>
                      <a:pt x="201" y="389"/>
                    </a:lnTo>
                    <a:lnTo>
                      <a:pt x="201" y="389"/>
                    </a:lnTo>
                    <a:lnTo>
                      <a:pt x="194" y="394"/>
                    </a:lnTo>
                    <a:lnTo>
                      <a:pt x="194" y="394"/>
                    </a:lnTo>
                    <a:lnTo>
                      <a:pt x="192" y="397"/>
                    </a:lnTo>
                    <a:lnTo>
                      <a:pt x="194" y="399"/>
                    </a:lnTo>
                    <a:lnTo>
                      <a:pt x="198" y="402"/>
                    </a:lnTo>
                    <a:lnTo>
                      <a:pt x="198" y="402"/>
                    </a:lnTo>
                    <a:lnTo>
                      <a:pt x="199" y="405"/>
                    </a:lnTo>
                    <a:lnTo>
                      <a:pt x="199" y="409"/>
                    </a:lnTo>
                    <a:lnTo>
                      <a:pt x="198" y="418"/>
                    </a:lnTo>
                    <a:lnTo>
                      <a:pt x="198" y="418"/>
                    </a:lnTo>
                    <a:lnTo>
                      <a:pt x="195" y="420"/>
                    </a:lnTo>
                    <a:lnTo>
                      <a:pt x="192" y="422"/>
                    </a:lnTo>
                    <a:lnTo>
                      <a:pt x="189" y="425"/>
                    </a:lnTo>
                    <a:lnTo>
                      <a:pt x="188" y="428"/>
                    </a:lnTo>
                    <a:lnTo>
                      <a:pt x="188" y="428"/>
                    </a:lnTo>
                    <a:lnTo>
                      <a:pt x="188" y="432"/>
                    </a:lnTo>
                    <a:lnTo>
                      <a:pt x="191" y="439"/>
                    </a:lnTo>
                    <a:lnTo>
                      <a:pt x="198" y="449"/>
                    </a:lnTo>
                    <a:lnTo>
                      <a:pt x="198" y="449"/>
                    </a:lnTo>
                    <a:lnTo>
                      <a:pt x="201" y="451"/>
                    </a:lnTo>
                    <a:lnTo>
                      <a:pt x="207" y="452"/>
                    </a:lnTo>
                    <a:lnTo>
                      <a:pt x="211" y="452"/>
                    </a:lnTo>
                    <a:lnTo>
                      <a:pt x="217" y="452"/>
                    </a:lnTo>
                    <a:lnTo>
                      <a:pt x="217" y="452"/>
                    </a:lnTo>
                    <a:lnTo>
                      <a:pt x="228" y="447"/>
                    </a:lnTo>
                    <a:lnTo>
                      <a:pt x="236" y="442"/>
                    </a:lnTo>
                    <a:lnTo>
                      <a:pt x="240" y="442"/>
                    </a:lnTo>
                    <a:lnTo>
                      <a:pt x="240" y="442"/>
                    </a:lnTo>
                    <a:lnTo>
                      <a:pt x="247" y="444"/>
                    </a:lnTo>
                    <a:lnTo>
                      <a:pt x="255" y="447"/>
                    </a:lnTo>
                    <a:lnTo>
                      <a:pt x="255" y="447"/>
                    </a:lnTo>
                    <a:lnTo>
                      <a:pt x="260" y="448"/>
                    </a:lnTo>
                    <a:lnTo>
                      <a:pt x="260" y="447"/>
                    </a:lnTo>
                    <a:lnTo>
                      <a:pt x="262" y="445"/>
                    </a:lnTo>
                    <a:lnTo>
                      <a:pt x="262" y="445"/>
                    </a:lnTo>
                    <a:lnTo>
                      <a:pt x="262" y="444"/>
                    </a:lnTo>
                    <a:lnTo>
                      <a:pt x="263" y="444"/>
                    </a:lnTo>
                    <a:lnTo>
                      <a:pt x="268" y="447"/>
                    </a:lnTo>
                    <a:lnTo>
                      <a:pt x="275" y="452"/>
                    </a:lnTo>
                    <a:lnTo>
                      <a:pt x="275" y="452"/>
                    </a:lnTo>
                    <a:lnTo>
                      <a:pt x="276" y="455"/>
                    </a:lnTo>
                    <a:lnTo>
                      <a:pt x="276" y="460"/>
                    </a:lnTo>
                    <a:lnTo>
                      <a:pt x="276" y="462"/>
                    </a:lnTo>
                    <a:lnTo>
                      <a:pt x="276" y="465"/>
                    </a:lnTo>
                    <a:lnTo>
                      <a:pt x="276" y="465"/>
                    </a:lnTo>
                    <a:lnTo>
                      <a:pt x="279" y="468"/>
                    </a:lnTo>
                    <a:lnTo>
                      <a:pt x="282" y="468"/>
                    </a:lnTo>
                    <a:lnTo>
                      <a:pt x="288" y="468"/>
                    </a:lnTo>
                    <a:lnTo>
                      <a:pt x="288" y="468"/>
                    </a:lnTo>
                    <a:lnTo>
                      <a:pt x="292" y="468"/>
                    </a:lnTo>
                    <a:lnTo>
                      <a:pt x="294" y="470"/>
                    </a:lnTo>
                    <a:lnTo>
                      <a:pt x="299" y="474"/>
                    </a:lnTo>
                    <a:lnTo>
                      <a:pt x="299" y="474"/>
                    </a:lnTo>
                    <a:lnTo>
                      <a:pt x="299" y="474"/>
                    </a:lnTo>
                    <a:lnTo>
                      <a:pt x="299" y="475"/>
                    </a:lnTo>
                    <a:lnTo>
                      <a:pt x="297" y="477"/>
                    </a:lnTo>
                    <a:lnTo>
                      <a:pt x="294" y="478"/>
                    </a:lnTo>
                    <a:lnTo>
                      <a:pt x="291" y="481"/>
                    </a:lnTo>
                    <a:lnTo>
                      <a:pt x="291" y="481"/>
                    </a:lnTo>
                    <a:lnTo>
                      <a:pt x="289" y="484"/>
                    </a:lnTo>
                    <a:lnTo>
                      <a:pt x="292" y="487"/>
                    </a:lnTo>
                    <a:lnTo>
                      <a:pt x="299" y="491"/>
                    </a:lnTo>
                    <a:lnTo>
                      <a:pt x="299" y="491"/>
                    </a:lnTo>
                    <a:lnTo>
                      <a:pt x="304" y="493"/>
                    </a:lnTo>
                    <a:lnTo>
                      <a:pt x="305" y="496"/>
                    </a:lnTo>
                    <a:lnTo>
                      <a:pt x="305" y="499"/>
                    </a:lnTo>
                    <a:lnTo>
                      <a:pt x="307" y="500"/>
                    </a:lnTo>
                    <a:lnTo>
                      <a:pt x="307" y="500"/>
                    </a:lnTo>
                    <a:lnTo>
                      <a:pt x="312" y="506"/>
                    </a:lnTo>
                    <a:lnTo>
                      <a:pt x="315" y="507"/>
                    </a:lnTo>
                    <a:lnTo>
                      <a:pt x="318" y="507"/>
                    </a:lnTo>
                    <a:lnTo>
                      <a:pt x="318" y="507"/>
                    </a:lnTo>
                    <a:lnTo>
                      <a:pt x="320" y="507"/>
                    </a:lnTo>
                    <a:lnTo>
                      <a:pt x="318" y="504"/>
                    </a:lnTo>
                    <a:lnTo>
                      <a:pt x="317" y="502"/>
                    </a:lnTo>
                    <a:lnTo>
                      <a:pt x="317" y="502"/>
                    </a:lnTo>
                    <a:lnTo>
                      <a:pt x="317" y="502"/>
                    </a:lnTo>
                    <a:lnTo>
                      <a:pt x="321" y="503"/>
                    </a:lnTo>
                    <a:lnTo>
                      <a:pt x="330" y="509"/>
                    </a:lnTo>
                    <a:lnTo>
                      <a:pt x="330" y="509"/>
                    </a:lnTo>
                    <a:lnTo>
                      <a:pt x="336" y="512"/>
                    </a:lnTo>
                    <a:lnTo>
                      <a:pt x="337" y="515"/>
                    </a:lnTo>
                    <a:lnTo>
                      <a:pt x="337" y="515"/>
                    </a:lnTo>
                    <a:lnTo>
                      <a:pt x="340" y="516"/>
                    </a:lnTo>
                    <a:lnTo>
                      <a:pt x="347" y="517"/>
                    </a:lnTo>
                    <a:lnTo>
                      <a:pt x="357" y="519"/>
                    </a:lnTo>
                    <a:lnTo>
                      <a:pt x="357" y="519"/>
                    </a:lnTo>
                    <a:lnTo>
                      <a:pt x="362" y="520"/>
                    </a:lnTo>
                    <a:lnTo>
                      <a:pt x="367" y="528"/>
                    </a:lnTo>
                    <a:lnTo>
                      <a:pt x="375" y="533"/>
                    </a:lnTo>
                    <a:lnTo>
                      <a:pt x="381" y="538"/>
                    </a:lnTo>
                    <a:lnTo>
                      <a:pt x="381" y="538"/>
                    </a:lnTo>
                    <a:lnTo>
                      <a:pt x="383" y="538"/>
                    </a:lnTo>
                    <a:lnTo>
                      <a:pt x="385" y="538"/>
                    </a:lnTo>
                    <a:lnTo>
                      <a:pt x="388" y="535"/>
                    </a:lnTo>
                    <a:lnTo>
                      <a:pt x="391" y="528"/>
                    </a:lnTo>
                    <a:lnTo>
                      <a:pt x="391" y="528"/>
                    </a:lnTo>
                    <a:lnTo>
                      <a:pt x="391" y="525"/>
                    </a:lnTo>
                    <a:lnTo>
                      <a:pt x="389" y="523"/>
                    </a:lnTo>
                    <a:lnTo>
                      <a:pt x="388" y="517"/>
                    </a:lnTo>
                    <a:lnTo>
                      <a:pt x="388" y="517"/>
                    </a:lnTo>
                    <a:lnTo>
                      <a:pt x="388" y="515"/>
                    </a:lnTo>
                    <a:lnTo>
                      <a:pt x="385" y="510"/>
                    </a:lnTo>
                    <a:lnTo>
                      <a:pt x="382" y="507"/>
                    </a:lnTo>
                    <a:lnTo>
                      <a:pt x="379" y="506"/>
                    </a:lnTo>
                    <a:lnTo>
                      <a:pt x="379" y="506"/>
                    </a:lnTo>
                    <a:lnTo>
                      <a:pt x="376" y="504"/>
                    </a:lnTo>
                    <a:lnTo>
                      <a:pt x="372" y="500"/>
                    </a:lnTo>
                    <a:lnTo>
                      <a:pt x="363" y="493"/>
                    </a:lnTo>
                    <a:lnTo>
                      <a:pt x="363" y="493"/>
                    </a:lnTo>
                    <a:lnTo>
                      <a:pt x="360" y="489"/>
                    </a:lnTo>
                    <a:lnTo>
                      <a:pt x="360" y="487"/>
                    </a:lnTo>
                    <a:lnTo>
                      <a:pt x="360" y="486"/>
                    </a:lnTo>
                    <a:lnTo>
                      <a:pt x="362" y="484"/>
                    </a:lnTo>
                    <a:lnTo>
                      <a:pt x="362" y="484"/>
                    </a:lnTo>
                    <a:lnTo>
                      <a:pt x="360" y="483"/>
                    </a:lnTo>
                    <a:lnTo>
                      <a:pt x="359" y="483"/>
                    </a:lnTo>
                    <a:lnTo>
                      <a:pt x="356" y="483"/>
                    </a:lnTo>
                    <a:lnTo>
                      <a:pt x="356" y="483"/>
                    </a:lnTo>
                    <a:lnTo>
                      <a:pt x="354" y="484"/>
                    </a:lnTo>
                    <a:lnTo>
                      <a:pt x="352" y="483"/>
                    </a:lnTo>
                    <a:lnTo>
                      <a:pt x="349" y="478"/>
                    </a:lnTo>
                    <a:lnTo>
                      <a:pt x="349" y="478"/>
                    </a:lnTo>
                    <a:lnTo>
                      <a:pt x="344" y="470"/>
                    </a:lnTo>
                    <a:lnTo>
                      <a:pt x="341" y="465"/>
                    </a:lnTo>
                    <a:lnTo>
                      <a:pt x="341" y="465"/>
                    </a:lnTo>
                    <a:lnTo>
                      <a:pt x="341" y="465"/>
                    </a:lnTo>
                    <a:lnTo>
                      <a:pt x="343" y="465"/>
                    </a:lnTo>
                    <a:lnTo>
                      <a:pt x="346" y="467"/>
                    </a:lnTo>
                    <a:lnTo>
                      <a:pt x="346" y="467"/>
                    </a:lnTo>
                    <a:lnTo>
                      <a:pt x="347" y="467"/>
                    </a:lnTo>
                    <a:lnTo>
                      <a:pt x="349" y="464"/>
                    </a:lnTo>
                    <a:lnTo>
                      <a:pt x="349" y="464"/>
                    </a:lnTo>
                    <a:lnTo>
                      <a:pt x="350" y="465"/>
                    </a:lnTo>
                    <a:lnTo>
                      <a:pt x="353" y="468"/>
                    </a:lnTo>
                    <a:lnTo>
                      <a:pt x="360" y="475"/>
                    </a:lnTo>
                    <a:lnTo>
                      <a:pt x="360" y="475"/>
                    </a:lnTo>
                    <a:lnTo>
                      <a:pt x="362" y="477"/>
                    </a:lnTo>
                    <a:lnTo>
                      <a:pt x="363" y="477"/>
                    </a:lnTo>
                    <a:lnTo>
                      <a:pt x="365" y="474"/>
                    </a:lnTo>
                    <a:lnTo>
                      <a:pt x="365" y="474"/>
                    </a:lnTo>
                    <a:lnTo>
                      <a:pt x="366" y="474"/>
                    </a:lnTo>
                    <a:lnTo>
                      <a:pt x="367" y="477"/>
                    </a:lnTo>
                    <a:lnTo>
                      <a:pt x="373" y="484"/>
                    </a:lnTo>
                    <a:lnTo>
                      <a:pt x="373" y="484"/>
                    </a:lnTo>
                    <a:lnTo>
                      <a:pt x="381" y="490"/>
                    </a:lnTo>
                    <a:lnTo>
                      <a:pt x="386" y="494"/>
                    </a:lnTo>
                    <a:lnTo>
                      <a:pt x="386" y="494"/>
                    </a:lnTo>
                    <a:lnTo>
                      <a:pt x="388" y="497"/>
                    </a:lnTo>
                    <a:lnTo>
                      <a:pt x="392" y="499"/>
                    </a:lnTo>
                    <a:lnTo>
                      <a:pt x="399" y="502"/>
                    </a:lnTo>
                    <a:lnTo>
                      <a:pt x="399" y="502"/>
                    </a:lnTo>
                    <a:lnTo>
                      <a:pt x="401" y="504"/>
                    </a:lnTo>
                    <a:lnTo>
                      <a:pt x="401" y="506"/>
                    </a:lnTo>
                    <a:lnTo>
                      <a:pt x="398" y="512"/>
                    </a:lnTo>
                    <a:lnTo>
                      <a:pt x="398" y="512"/>
                    </a:lnTo>
                    <a:lnTo>
                      <a:pt x="399" y="515"/>
                    </a:lnTo>
                    <a:lnTo>
                      <a:pt x="401" y="515"/>
                    </a:lnTo>
                    <a:lnTo>
                      <a:pt x="404" y="515"/>
                    </a:lnTo>
                    <a:lnTo>
                      <a:pt x="404" y="515"/>
                    </a:lnTo>
                    <a:lnTo>
                      <a:pt x="407" y="516"/>
                    </a:lnTo>
                    <a:lnTo>
                      <a:pt x="411" y="519"/>
                    </a:lnTo>
                    <a:lnTo>
                      <a:pt x="411" y="519"/>
                    </a:lnTo>
                    <a:lnTo>
                      <a:pt x="411" y="519"/>
                    </a:lnTo>
                    <a:lnTo>
                      <a:pt x="412" y="519"/>
                    </a:lnTo>
                    <a:lnTo>
                      <a:pt x="414" y="516"/>
                    </a:lnTo>
                    <a:lnTo>
                      <a:pt x="417" y="510"/>
                    </a:lnTo>
                    <a:lnTo>
                      <a:pt x="417" y="510"/>
                    </a:lnTo>
                    <a:lnTo>
                      <a:pt x="415" y="509"/>
                    </a:lnTo>
                    <a:lnTo>
                      <a:pt x="412" y="507"/>
                    </a:lnTo>
                    <a:lnTo>
                      <a:pt x="409" y="507"/>
                    </a:lnTo>
                    <a:lnTo>
                      <a:pt x="408" y="506"/>
                    </a:lnTo>
                    <a:lnTo>
                      <a:pt x="408" y="506"/>
                    </a:lnTo>
                    <a:lnTo>
                      <a:pt x="408" y="500"/>
                    </a:lnTo>
                    <a:lnTo>
                      <a:pt x="409" y="494"/>
                    </a:lnTo>
                    <a:lnTo>
                      <a:pt x="409" y="494"/>
                    </a:lnTo>
                    <a:lnTo>
                      <a:pt x="409" y="489"/>
                    </a:lnTo>
                    <a:lnTo>
                      <a:pt x="408" y="484"/>
                    </a:lnTo>
                    <a:lnTo>
                      <a:pt x="408" y="484"/>
                    </a:lnTo>
                    <a:lnTo>
                      <a:pt x="408" y="483"/>
                    </a:lnTo>
                    <a:lnTo>
                      <a:pt x="409" y="484"/>
                    </a:lnTo>
                    <a:lnTo>
                      <a:pt x="412" y="486"/>
                    </a:lnTo>
                    <a:lnTo>
                      <a:pt x="412" y="486"/>
                    </a:lnTo>
                    <a:lnTo>
                      <a:pt x="414" y="487"/>
                    </a:lnTo>
                    <a:lnTo>
                      <a:pt x="415" y="486"/>
                    </a:lnTo>
                    <a:lnTo>
                      <a:pt x="420" y="484"/>
                    </a:lnTo>
                    <a:lnTo>
                      <a:pt x="420" y="484"/>
                    </a:lnTo>
                    <a:lnTo>
                      <a:pt x="421" y="484"/>
                    </a:lnTo>
                    <a:lnTo>
                      <a:pt x="421" y="484"/>
                    </a:lnTo>
                    <a:lnTo>
                      <a:pt x="420" y="481"/>
                    </a:lnTo>
                    <a:lnTo>
                      <a:pt x="418" y="478"/>
                    </a:lnTo>
                    <a:lnTo>
                      <a:pt x="418" y="475"/>
                    </a:lnTo>
                    <a:lnTo>
                      <a:pt x="418" y="475"/>
                    </a:lnTo>
                    <a:lnTo>
                      <a:pt x="418" y="474"/>
                    </a:lnTo>
                    <a:lnTo>
                      <a:pt x="417" y="471"/>
                    </a:lnTo>
                    <a:lnTo>
                      <a:pt x="412" y="468"/>
                    </a:lnTo>
                    <a:lnTo>
                      <a:pt x="412" y="468"/>
                    </a:lnTo>
                    <a:lnTo>
                      <a:pt x="411" y="462"/>
                    </a:lnTo>
                    <a:lnTo>
                      <a:pt x="409" y="460"/>
                    </a:lnTo>
                    <a:lnTo>
                      <a:pt x="407" y="457"/>
                    </a:lnTo>
                    <a:lnTo>
                      <a:pt x="407" y="457"/>
                    </a:lnTo>
                    <a:lnTo>
                      <a:pt x="404" y="454"/>
                    </a:lnTo>
                    <a:lnTo>
                      <a:pt x="402" y="448"/>
                    </a:lnTo>
                    <a:lnTo>
                      <a:pt x="399" y="444"/>
                    </a:lnTo>
                    <a:lnTo>
                      <a:pt x="396" y="439"/>
                    </a:lnTo>
                    <a:lnTo>
                      <a:pt x="396" y="439"/>
                    </a:lnTo>
                    <a:lnTo>
                      <a:pt x="394" y="435"/>
                    </a:lnTo>
                    <a:lnTo>
                      <a:pt x="392" y="432"/>
                    </a:lnTo>
                    <a:lnTo>
                      <a:pt x="389" y="426"/>
                    </a:lnTo>
                    <a:lnTo>
                      <a:pt x="389" y="426"/>
                    </a:lnTo>
                    <a:lnTo>
                      <a:pt x="388" y="426"/>
                    </a:lnTo>
                    <a:lnTo>
                      <a:pt x="388" y="426"/>
                    </a:lnTo>
                    <a:lnTo>
                      <a:pt x="385" y="429"/>
                    </a:lnTo>
                    <a:lnTo>
                      <a:pt x="385" y="429"/>
                    </a:lnTo>
                    <a:lnTo>
                      <a:pt x="385" y="429"/>
                    </a:lnTo>
                    <a:lnTo>
                      <a:pt x="383" y="428"/>
                    </a:lnTo>
                    <a:lnTo>
                      <a:pt x="382" y="426"/>
                    </a:lnTo>
                    <a:lnTo>
                      <a:pt x="379" y="425"/>
                    </a:lnTo>
                    <a:lnTo>
                      <a:pt x="379" y="425"/>
                    </a:lnTo>
                    <a:lnTo>
                      <a:pt x="375" y="423"/>
                    </a:lnTo>
                    <a:lnTo>
                      <a:pt x="370" y="423"/>
                    </a:lnTo>
                    <a:lnTo>
                      <a:pt x="370" y="423"/>
                    </a:lnTo>
                    <a:lnTo>
                      <a:pt x="369" y="422"/>
                    </a:lnTo>
                    <a:lnTo>
                      <a:pt x="369" y="419"/>
                    </a:lnTo>
                    <a:lnTo>
                      <a:pt x="370" y="416"/>
                    </a:lnTo>
                    <a:lnTo>
                      <a:pt x="373" y="415"/>
                    </a:lnTo>
                    <a:lnTo>
                      <a:pt x="373" y="415"/>
                    </a:lnTo>
                    <a:lnTo>
                      <a:pt x="375" y="413"/>
                    </a:lnTo>
                    <a:lnTo>
                      <a:pt x="375" y="412"/>
                    </a:lnTo>
                    <a:lnTo>
                      <a:pt x="370" y="407"/>
                    </a:lnTo>
                    <a:lnTo>
                      <a:pt x="370" y="407"/>
                    </a:lnTo>
                    <a:lnTo>
                      <a:pt x="369" y="403"/>
                    </a:lnTo>
                    <a:lnTo>
                      <a:pt x="367" y="402"/>
                    </a:lnTo>
                    <a:lnTo>
                      <a:pt x="366" y="402"/>
                    </a:lnTo>
                    <a:lnTo>
                      <a:pt x="366" y="402"/>
                    </a:lnTo>
                    <a:lnTo>
                      <a:pt x="365" y="400"/>
                    </a:lnTo>
                    <a:lnTo>
                      <a:pt x="365" y="399"/>
                    </a:lnTo>
                    <a:lnTo>
                      <a:pt x="365" y="394"/>
                    </a:lnTo>
                    <a:lnTo>
                      <a:pt x="365" y="394"/>
                    </a:lnTo>
                    <a:lnTo>
                      <a:pt x="365" y="393"/>
                    </a:lnTo>
                    <a:lnTo>
                      <a:pt x="362" y="393"/>
                    </a:lnTo>
                    <a:lnTo>
                      <a:pt x="359" y="393"/>
                    </a:lnTo>
                    <a:lnTo>
                      <a:pt x="357" y="391"/>
                    </a:lnTo>
                    <a:lnTo>
                      <a:pt x="357" y="391"/>
                    </a:lnTo>
                    <a:lnTo>
                      <a:pt x="357" y="389"/>
                    </a:lnTo>
                    <a:lnTo>
                      <a:pt x="360" y="386"/>
                    </a:lnTo>
                    <a:lnTo>
                      <a:pt x="362" y="384"/>
                    </a:lnTo>
                    <a:lnTo>
                      <a:pt x="362" y="384"/>
                    </a:lnTo>
                    <a:lnTo>
                      <a:pt x="363" y="383"/>
                    </a:lnTo>
                    <a:lnTo>
                      <a:pt x="362" y="381"/>
                    </a:lnTo>
                    <a:lnTo>
                      <a:pt x="357" y="378"/>
                    </a:lnTo>
                    <a:lnTo>
                      <a:pt x="357" y="378"/>
                    </a:lnTo>
                    <a:lnTo>
                      <a:pt x="357" y="377"/>
                    </a:lnTo>
                    <a:lnTo>
                      <a:pt x="357" y="376"/>
                    </a:lnTo>
                    <a:lnTo>
                      <a:pt x="360" y="374"/>
                    </a:lnTo>
                    <a:lnTo>
                      <a:pt x="360" y="374"/>
                    </a:lnTo>
                    <a:lnTo>
                      <a:pt x="362" y="373"/>
                    </a:lnTo>
                    <a:lnTo>
                      <a:pt x="363" y="370"/>
                    </a:lnTo>
                    <a:lnTo>
                      <a:pt x="365" y="367"/>
                    </a:lnTo>
                    <a:lnTo>
                      <a:pt x="366" y="365"/>
                    </a:lnTo>
                    <a:lnTo>
                      <a:pt x="366" y="365"/>
                    </a:lnTo>
                    <a:lnTo>
                      <a:pt x="370" y="364"/>
                    </a:lnTo>
                    <a:lnTo>
                      <a:pt x="373" y="361"/>
                    </a:lnTo>
                    <a:lnTo>
                      <a:pt x="373" y="361"/>
                    </a:lnTo>
                    <a:lnTo>
                      <a:pt x="375" y="363"/>
                    </a:lnTo>
                    <a:lnTo>
                      <a:pt x="376" y="364"/>
                    </a:lnTo>
                    <a:lnTo>
                      <a:pt x="378" y="371"/>
                    </a:lnTo>
                    <a:lnTo>
                      <a:pt x="378" y="371"/>
                    </a:lnTo>
                    <a:lnTo>
                      <a:pt x="381" y="376"/>
                    </a:lnTo>
                    <a:lnTo>
                      <a:pt x="383" y="381"/>
                    </a:lnTo>
                    <a:lnTo>
                      <a:pt x="383" y="381"/>
                    </a:lnTo>
                    <a:lnTo>
                      <a:pt x="386" y="381"/>
                    </a:lnTo>
                    <a:lnTo>
                      <a:pt x="388" y="380"/>
                    </a:lnTo>
                    <a:lnTo>
                      <a:pt x="391" y="377"/>
                    </a:lnTo>
                    <a:lnTo>
                      <a:pt x="391" y="377"/>
                    </a:lnTo>
                    <a:lnTo>
                      <a:pt x="392" y="377"/>
                    </a:lnTo>
                    <a:lnTo>
                      <a:pt x="392" y="378"/>
                    </a:lnTo>
                    <a:lnTo>
                      <a:pt x="391" y="383"/>
                    </a:lnTo>
                    <a:lnTo>
                      <a:pt x="391" y="383"/>
                    </a:lnTo>
                    <a:lnTo>
                      <a:pt x="392" y="384"/>
                    </a:lnTo>
                    <a:lnTo>
                      <a:pt x="394" y="384"/>
                    </a:lnTo>
                    <a:lnTo>
                      <a:pt x="398" y="384"/>
                    </a:lnTo>
                    <a:lnTo>
                      <a:pt x="398" y="384"/>
                    </a:lnTo>
                    <a:lnTo>
                      <a:pt x="401" y="384"/>
                    </a:lnTo>
                    <a:lnTo>
                      <a:pt x="399" y="386"/>
                    </a:lnTo>
                    <a:lnTo>
                      <a:pt x="395" y="390"/>
                    </a:lnTo>
                    <a:lnTo>
                      <a:pt x="395" y="390"/>
                    </a:lnTo>
                    <a:lnTo>
                      <a:pt x="395" y="391"/>
                    </a:lnTo>
                    <a:lnTo>
                      <a:pt x="398" y="393"/>
                    </a:lnTo>
                    <a:lnTo>
                      <a:pt x="404" y="396"/>
                    </a:lnTo>
                    <a:lnTo>
                      <a:pt x="404" y="396"/>
                    </a:lnTo>
                    <a:lnTo>
                      <a:pt x="405" y="397"/>
                    </a:lnTo>
                    <a:lnTo>
                      <a:pt x="405" y="397"/>
                    </a:lnTo>
                    <a:lnTo>
                      <a:pt x="402" y="402"/>
                    </a:lnTo>
                    <a:lnTo>
                      <a:pt x="402" y="402"/>
                    </a:lnTo>
                    <a:lnTo>
                      <a:pt x="401" y="403"/>
                    </a:lnTo>
                    <a:lnTo>
                      <a:pt x="402" y="403"/>
                    </a:lnTo>
                    <a:lnTo>
                      <a:pt x="408" y="403"/>
                    </a:lnTo>
                    <a:lnTo>
                      <a:pt x="408" y="403"/>
                    </a:lnTo>
                    <a:lnTo>
                      <a:pt x="409" y="403"/>
                    </a:lnTo>
                    <a:lnTo>
                      <a:pt x="409" y="405"/>
                    </a:lnTo>
                    <a:lnTo>
                      <a:pt x="408" y="407"/>
                    </a:lnTo>
                    <a:lnTo>
                      <a:pt x="405" y="412"/>
                    </a:lnTo>
                    <a:lnTo>
                      <a:pt x="405" y="412"/>
                    </a:lnTo>
                    <a:lnTo>
                      <a:pt x="409" y="412"/>
                    </a:lnTo>
                    <a:lnTo>
                      <a:pt x="417" y="409"/>
                    </a:lnTo>
                    <a:lnTo>
                      <a:pt x="417" y="409"/>
                    </a:lnTo>
                    <a:lnTo>
                      <a:pt x="418" y="409"/>
                    </a:lnTo>
                    <a:lnTo>
                      <a:pt x="420" y="410"/>
                    </a:lnTo>
                    <a:lnTo>
                      <a:pt x="423" y="413"/>
                    </a:lnTo>
                    <a:lnTo>
                      <a:pt x="427" y="416"/>
                    </a:lnTo>
                    <a:lnTo>
                      <a:pt x="430" y="418"/>
                    </a:lnTo>
                    <a:lnTo>
                      <a:pt x="430" y="418"/>
                    </a:lnTo>
                    <a:lnTo>
                      <a:pt x="431" y="418"/>
                    </a:lnTo>
                    <a:lnTo>
                      <a:pt x="431" y="418"/>
                    </a:lnTo>
                    <a:lnTo>
                      <a:pt x="428" y="413"/>
                    </a:lnTo>
                    <a:lnTo>
                      <a:pt x="425" y="409"/>
                    </a:lnTo>
                    <a:lnTo>
                      <a:pt x="424" y="407"/>
                    </a:lnTo>
                    <a:lnTo>
                      <a:pt x="424" y="407"/>
                    </a:lnTo>
                    <a:lnTo>
                      <a:pt x="425" y="406"/>
                    </a:lnTo>
                    <a:lnTo>
                      <a:pt x="425" y="403"/>
                    </a:lnTo>
                    <a:lnTo>
                      <a:pt x="425" y="400"/>
                    </a:lnTo>
                    <a:lnTo>
                      <a:pt x="427" y="399"/>
                    </a:lnTo>
                    <a:lnTo>
                      <a:pt x="427" y="399"/>
                    </a:lnTo>
                    <a:lnTo>
                      <a:pt x="428" y="397"/>
                    </a:lnTo>
                    <a:lnTo>
                      <a:pt x="428" y="396"/>
                    </a:lnTo>
                    <a:lnTo>
                      <a:pt x="428" y="389"/>
                    </a:lnTo>
                    <a:lnTo>
                      <a:pt x="428" y="389"/>
                    </a:lnTo>
                    <a:lnTo>
                      <a:pt x="428" y="389"/>
                    </a:lnTo>
                    <a:lnTo>
                      <a:pt x="430" y="389"/>
                    </a:lnTo>
                    <a:lnTo>
                      <a:pt x="431" y="391"/>
                    </a:lnTo>
                    <a:lnTo>
                      <a:pt x="438" y="399"/>
                    </a:lnTo>
                    <a:lnTo>
                      <a:pt x="438" y="399"/>
                    </a:lnTo>
                    <a:lnTo>
                      <a:pt x="440" y="400"/>
                    </a:lnTo>
                    <a:lnTo>
                      <a:pt x="441" y="399"/>
                    </a:lnTo>
                    <a:lnTo>
                      <a:pt x="441" y="396"/>
                    </a:lnTo>
                    <a:lnTo>
                      <a:pt x="444" y="393"/>
                    </a:lnTo>
                    <a:lnTo>
                      <a:pt x="444" y="393"/>
                    </a:lnTo>
                    <a:lnTo>
                      <a:pt x="447" y="393"/>
                    </a:lnTo>
                    <a:lnTo>
                      <a:pt x="450" y="393"/>
                    </a:lnTo>
                    <a:lnTo>
                      <a:pt x="457" y="393"/>
                    </a:lnTo>
                    <a:lnTo>
                      <a:pt x="457" y="393"/>
                    </a:lnTo>
                    <a:lnTo>
                      <a:pt x="459" y="391"/>
                    </a:lnTo>
                    <a:lnTo>
                      <a:pt x="459" y="389"/>
                    </a:lnTo>
                    <a:lnTo>
                      <a:pt x="457" y="386"/>
                    </a:lnTo>
                    <a:lnTo>
                      <a:pt x="454" y="381"/>
                    </a:lnTo>
                    <a:lnTo>
                      <a:pt x="454" y="381"/>
                    </a:lnTo>
                    <a:lnTo>
                      <a:pt x="447" y="374"/>
                    </a:lnTo>
                    <a:lnTo>
                      <a:pt x="443" y="364"/>
                    </a:lnTo>
                    <a:lnTo>
                      <a:pt x="443" y="364"/>
                    </a:lnTo>
                    <a:lnTo>
                      <a:pt x="443" y="361"/>
                    </a:lnTo>
                    <a:lnTo>
                      <a:pt x="444" y="360"/>
                    </a:lnTo>
                    <a:lnTo>
                      <a:pt x="451" y="360"/>
                    </a:lnTo>
                    <a:close/>
                    <a:moveTo>
                      <a:pt x="312" y="425"/>
                    </a:moveTo>
                    <a:lnTo>
                      <a:pt x="312" y="425"/>
                    </a:lnTo>
                    <a:lnTo>
                      <a:pt x="311" y="433"/>
                    </a:lnTo>
                    <a:lnTo>
                      <a:pt x="310" y="439"/>
                    </a:lnTo>
                    <a:lnTo>
                      <a:pt x="307" y="442"/>
                    </a:lnTo>
                    <a:lnTo>
                      <a:pt x="307" y="442"/>
                    </a:lnTo>
                    <a:lnTo>
                      <a:pt x="301" y="441"/>
                    </a:lnTo>
                    <a:lnTo>
                      <a:pt x="297" y="441"/>
                    </a:lnTo>
                    <a:lnTo>
                      <a:pt x="292" y="438"/>
                    </a:lnTo>
                    <a:lnTo>
                      <a:pt x="292" y="438"/>
                    </a:lnTo>
                    <a:lnTo>
                      <a:pt x="288" y="433"/>
                    </a:lnTo>
                    <a:lnTo>
                      <a:pt x="286" y="426"/>
                    </a:lnTo>
                    <a:lnTo>
                      <a:pt x="286" y="426"/>
                    </a:lnTo>
                    <a:lnTo>
                      <a:pt x="285" y="420"/>
                    </a:lnTo>
                    <a:lnTo>
                      <a:pt x="283" y="416"/>
                    </a:lnTo>
                    <a:lnTo>
                      <a:pt x="283" y="416"/>
                    </a:lnTo>
                    <a:lnTo>
                      <a:pt x="286" y="416"/>
                    </a:lnTo>
                    <a:lnTo>
                      <a:pt x="288" y="418"/>
                    </a:lnTo>
                    <a:lnTo>
                      <a:pt x="291" y="416"/>
                    </a:lnTo>
                    <a:lnTo>
                      <a:pt x="291" y="416"/>
                    </a:lnTo>
                    <a:lnTo>
                      <a:pt x="291" y="412"/>
                    </a:lnTo>
                    <a:lnTo>
                      <a:pt x="289" y="407"/>
                    </a:lnTo>
                    <a:lnTo>
                      <a:pt x="288" y="402"/>
                    </a:lnTo>
                    <a:lnTo>
                      <a:pt x="288" y="400"/>
                    </a:lnTo>
                    <a:lnTo>
                      <a:pt x="289" y="400"/>
                    </a:lnTo>
                    <a:lnTo>
                      <a:pt x="289" y="400"/>
                    </a:lnTo>
                    <a:lnTo>
                      <a:pt x="291" y="400"/>
                    </a:lnTo>
                    <a:lnTo>
                      <a:pt x="292" y="402"/>
                    </a:lnTo>
                    <a:lnTo>
                      <a:pt x="295" y="403"/>
                    </a:lnTo>
                    <a:lnTo>
                      <a:pt x="298" y="405"/>
                    </a:lnTo>
                    <a:lnTo>
                      <a:pt x="298" y="405"/>
                    </a:lnTo>
                    <a:lnTo>
                      <a:pt x="302" y="406"/>
                    </a:lnTo>
                    <a:lnTo>
                      <a:pt x="308" y="409"/>
                    </a:lnTo>
                    <a:lnTo>
                      <a:pt x="312" y="413"/>
                    </a:lnTo>
                    <a:lnTo>
                      <a:pt x="314" y="416"/>
                    </a:lnTo>
                    <a:lnTo>
                      <a:pt x="314" y="416"/>
                    </a:lnTo>
                    <a:lnTo>
                      <a:pt x="312" y="420"/>
                    </a:lnTo>
                    <a:lnTo>
                      <a:pt x="312" y="425"/>
                    </a:lnTo>
                    <a:close/>
                    <a:moveTo>
                      <a:pt x="328" y="367"/>
                    </a:moveTo>
                    <a:lnTo>
                      <a:pt x="328" y="367"/>
                    </a:lnTo>
                    <a:lnTo>
                      <a:pt x="325" y="368"/>
                    </a:lnTo>
                    <a:lnTo>
                      <a:pt x="323" y="370"/>
                    </a:lnTo>
                    <a:lnTo>
                      <a:pt x="320" y="371"/>
                    </a:lnTo>
                    <a:lnTo>
                      <a:pt x="317" y="371"/>
                    </a:lnTo>
                    <a:lnTo>
                      <a:pt x="317" y="371"/>
                    </a:lnTo>
                    <a:lnTo>
                      <a:pt x="314" y="368"/>
                    </a:lnTo>
                    <a:lnTo>
                      <a:pt x="312" y="368"/>
                    </a:lnTo>
                    <a:lnTo>
                      <a:pt x="310" y="368"/>
                    </a:lnTo>
                    <a:lnTo>
                      <a:pt x="310" y="368"/>
                    </a:lnTo>
                    <a:lnTo>
                      <a:pt x="307" y="368"/>
                    </a:lnTo>
                    <a:lnTo>
                      <a:pt x="305" y="370"/>
                    </a:lnTo>
                    <a:lnTo>
                      <a:pt x="305" y="371"/>
                    </a:lnTo>
                    <a:lnTo>
                      <a:pt x="304" y="373"/>
                    </a:lnTo>
                    <a:lnTo>
                      <a:pt x="304" y="373"/>
                    </a:lnTo>
                    <a:lnTo>
                      <a:pt x="302" y="374"/>
                    </a:lnTo>
                    <a:lnTo>
                      <a:pt x="301" y="376"/>
                    </a:lnTo>
                    <a:lnTo>
                      <a:pt x="299" y="377"/>
                    </a:lnTo>
                    <a:lnTo>
                      <a:pt x="298" y="377"/>
                    </a:lnTo>
                    <a:lnTo>
                      <a:pt x="298" y="377"/>
                    </a:lnTo>
                    <a:lnTo>
                      <a:pt x="298" y="377"/>
                    </a:lnTo>
                    <a:lnTo>
                      <a:pt x="298" y="374"/>
                    </a:lnTo>
                    <a:lnTo>
                      <a:pt x="299" y="368"/>
                    </a:lnTo>
                    <a:lnTo>
                      <a:pt x="299" y="368"/>
                    </a:lnTo>
                    <a:lnTo>
                      <a:pt x="298" y="364"/>
                    </a:lnTo>
                    <a:lnTo>
                      <a:pt x="297" y="360"/>
                    </a:lnTo>
                    <a:lnTo>
                      <a:pt x="294" y="355"/>
                    </a:lnTo>
                    <a:lnTo>
                      <a:pt x="294" y="352"/>
                    </a:lnTo>
                    <a:lnTo>
                      <a:pt x="294" y="352"/>
                    </a:lnTo>
                    <a:lnTo>
                      <a:pt x="297" y="344"/>
                    </a:lnTo>
                    <a:lnTo>
                      <a:pt x="297" y="339"/>
                    </a:lnTo>
                    <a:lnTo>
                      <a:pt x="297" y="335"/>
                    </a:lnTo>
                    <a:lnTo>
                      <a:pt x="297" y="335"/>
                    </a:lnTo>
                    <a:lnTo>
                      <a:pt x="295" y="332"/>
                    </a:lnTo>
                    <a:lnTo>
                      <a:pt x="298" y="332"/>
                    </a:lnTo>
                    <a:lnTo>
                      <a:pt x="301" y="334"/>
                    </a:lnTo>
                    <a:lnTo>
                      <a:pt x="304" y="336"/>
                    </a:lnTo>
                    <a:lnTo>
                      <a:pt x="304" y="336"/>
                    </a:lnTo>
                    <a:lnTo>
                      <a:pt x="312" y="344"/>
                    </a:lnTo>
                    <a:lnTo>
                      <a:pt x="320" y="349"/>
                    </a:lnTo>
                    <a:lnTo>
                      <a:pt x="320" y="349"/>
                    </a:lnTo>
                    <a:lnTo>
                      <a:pt x="330" y="354"/>
                    </a:lnTo>
                    <a:lnTo>
                      <a:pt x="336" y="357"/>
                    </a:lnTo>
                    <a:lnTo>
                      <a:pt x="337" y="361"/>
                    </a:lnTo>
                    <a:lnTo>
                      <a:pt x="337" y="361"/>
                    </a:lnTo>
                    <a:lnTo>
                      <a:pt x="336" y="363"/>
                    </a:lnTo>
                    <a:lnTo>
                      <a:pt x="333" y="365"/>
                    </a:lnTo>
                    <a:lnTo>
                      <a:pt x="330" y="367"/>
                    </a:lnTo>
                    <a:lnTo>
                      <a:pt x="328" y="36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27" name="Freeform 1182"/>
              <p:cNvSpPr>
                <a:spLocks/>
              </p:cNvSpPr>
              <p:nvPr/>
            </p:nvSpPr>
            <p:spPr bwMode="auto">
              <a:xfrm>
                <a:off x="2968410" y="1543396"/>
                <a:ext cx="455059" cy="532222"/>
              </a:xfrm>
              <a:custGeom>
                <a:avLst/>
                <a:gdLst>
                  <a:gd name="T0" fmla="*/ 447 w 460"/>
                  <a:gd name="T1" fmla="*/ 339 h 538"/>
                  <a:gd name="T2" fmla="*/ 425 w 460"/>
                  <a:gd name="T3" fmla="*/ 342 h 538"/>
                  <a:gd name="T4" fmla="*/ 409 w 460"/>
                  <a:gd name="T5" fmla="*/ 335 h 538"/>
                  <a:gd name="T6" fmla="*/ 401 w 460"/>
                  <a:gd name="T7" fmla="*/ 310 h 538"/>
                  <a:gd name="T8" fmla="*/ 385 w 460"/>
                  <a:gd name="T9" fmla="*/ 299 h 538"/>
                  <a:gd name="T10" fmla="*/ 360 w 460"/>
                  <a:gd name="T11" fmla="*/ 280 h 538"/>
                  <a:gd name="T12" fmla="*/ 349 w 460"/>
                  <a:gd name="T13" fmla="*/ 264 h 538"/>
                  <a:gd name="T14" fmla="*/ 343 w 460"/>
                  <a:gd name="T15" fmla="*/ 250 h 538"/>
                  <a:gd name="T16" fmla="*/ 347 w 460"/>
                  <a:gd name="T17" fmla="*/ 234 h 538"/>
                  <a:gd name="T18" fmla="*/ 343 w 460"/>
                  <a:gd name="T19" fmla="*/ 199 h 538"/>
                  <a:gd name="T20" fmla="*/ 337 w 460"/>
                  <a:gd name="T21" fmla="*/ 170 h 538"/>
                  <a:gd name="T22" fmla="*/ 304 w 460"/>
                  <a:gd name="T23" fmla="*/ 145 h 538"/>
                  <a:gd name="T24" fmla="*/ 259 w 460"/>
                  <a:gd name="T25" fmla="*/ 125 h 538"/>
                  <a:gd name="T26" fmla="*/ 239 w 460"/>
                  <a:gd name="T27" fmla="*/ 99 h 538"/>
                  <a:gd name="T28" fmla="*/ 181 w 460"/>
                  <a:gd name="T29" fmla="*/ 87 h 538"/>
                  <a:gd name="T30" fmla="*/ 166 w 460"/>
                  <a:gd name="T31" fmla="*/ 106 h 538"/>
                  <a:gd name="T32" fmla="*/ 142 w 460"/>
                  <a:gd name="T33" fmla="*/ 87 h 538"/>
                  <a:gd name="T34" fmla="*/ 139 w 460"/>
                  <a:gd name="T35" fmla="*/ 73 h 538"/>
                  <a:gd name="T36" fmla="*/ 140 w 460"/>
                  <a:gd name="T37" fmla="*/ 28 h 538"/>
                  <a:gd name="T38" fmla="*/ 120 w 460"/>
                  <a:gd name="T39" fmla="*/ 21 h 538"/>
                  <a:gd name="T40" fmla="*/ 115 w 460"/>
                  <a:gd name="T41" fmla="*/ 32 h 538"/>
                  <a:gd name="T42" fmla="*/ 89 w 460"/>
                  <a:gd name="T43" fmla="*/ 44 h 538"/>
                  <a:gd name="T44" fmla="*/ 95 w 460"/>
                  <a:gd name="T45" fmla="*/ 90 h 538"/>
                  <a:gd name="T46" fmla="*/ 104 w 460"/>
                  <a:gd name="T47" fmla="*/ 119 h 538"/>
                  <a:gd name="T48" fmla="*/ 114 w 460"/>
                  <a:gd name="T49" fmla="*/ 148 h 538"/>
                  <a:gd name="T50" fmla="*/ 89 w 460"/>
                  <a:gd name="T51" fmla="*/ 154 h 538"/>
                  <a:gd name="T52" fmla="*/ 76 w 460"/>
                  <a:gd name="T53" fmla="*/ 115 h 538"/>
                  <a:gd name="T54" fmla="*/ 78 w 460"/>
                  <a:gd name="T55" fmla="*/ 31 h 538"/>
                  <a:gd name="T56" fmla="*/ 33 w 460"/>
                  <a:gd name="T57" fmla="*/ 15 h 538"/>
                  <a:gd name="T58" fmla="*/ 1 w 460"/>
                  <a:gd name="T59" fmla="*/ 95 h 538"/>
                  <a:gd name="T60" fmla="*/ 23 w 460"/>
                  <a:gd name="T61" fmla="*/ 145 h 538"/>
                  <a:gd name="T62" fmla="*/ 37 w 460"/>
                  <a:gd name="T63" fmla="*/ 171 h 538"/>
                  <a:gd name="T64" fmla="*/ 47 w 460"/>
                  <a:gd name="T65" fmla="*/ 183 h 538"/>
                  <a:gd name="T66" fmla="*/ 89 w 460"/>
                  <a:gd name="T67" fmla="*/ 202 h 538"/>
                  <a:gd name="T68" fmla="*/ 139 w 460"/>
                  <a:gd name="T69" fmla="*/ 212 h 538"/>
                  <a:gd name="T70" fmla="*/ 204 w 460"/>
                  <a:gd name="T71" fmla="*/ 215 h 538"/>
                  <a:gd name="T72" fmla="*/ 223 w 460"/>
                  <a:gd name="T73" fmla="*/ 236 h 538"/>
                  <a:gd name="T74" fmla="*/ 256 w 460"/>
                  <a:gd name="T75" fmla="*/ 273 h 538"/>
                  <a:gd name="T76" fmla="*/ 270 w 460"/>
                  <a:gd name="T77" fmla="*/ 326 h 538"/>
                  <a:gd name="T78" fmla="*/ 250 w 460"/>
                  <a:gd name="T79" fmla="*/ 365 h 538"/>
                  <a:gd name="T80" fmla="*/ 223 w 460"/>
                  <a:gd name="T81" fmla="*/ 391 h 538"/>
                  <a:gd name="T82" fmla="*/ 198 w 460"/>
                  <a:gd name="T83" fmla="*/ 418 h 538"/>
                  <a:gd name="T84" fmla="*/ 228 w 460"/>
                  <a:gd name="T85" fmla="*/ 447 h 538"/>
                  <a:gd name="T86" fmla="*/ 276 w 460"/>
                  <a:gd name="T87" fmla="*/ 455 h 538"/>
                  <a:gd name="T88" fmla="*/ 294 w 460"/>
                  <a:gd name="T89" fmla="*/ 478 h 538"/>
                  <a:gd name="T90" fmla="*/ 320 w 460"/>
                  <a:gd name="T91" fmla="*/ 507 h 538"/>
                  <a:gd name="T92" fmla="*/ 367 w 460"/>
                  <a:gd name="T93" fmla="*/ 528 h 538"/>
                  <a:gd name="T94" fmla="*/ 379 w 460"/>
                  <a:gd name="T95" fmla="*/ 506 h 538"/>
                  <a:gd name="T96" fmla="*/ 352 w 460"/>
                  <a:gd name="T97" fmla="*/ 483 h 538"/>
                  <a:gd name="T98" fmla="*/ 360 w 460"/>
                  <a:gd name="T99" fmla="*/ 475 h 538"/>
                  <a:gd name="T100" fmla="*/ 401 w 460"/>
                  <a:gd name="T101" fmla="*/ 504 h 538"/>
                  <a:gd name="T102" fmla="*/ 415 w 460"/>
                  <a:gd name="T103" fmla="*/ 509 h 538"/>
                  <a:gd name="T104" fmla="*/ 415 w 460"/>
                  <a:gd name="T105" fmla="*/ 486 h 538"/>
                  <a:gd name="T106" fmla="*/ 407 w 460"/>
                  <a:gd name="T107" fmla="*/ 457 h 538"/>
                  <a:gd name="T108" fmla="*/ 382 w 460"/>
                  <a:gd name="T109" fmla="*/ 426 h 538"/>
                  <a:gd name="T110" fmla="*/ 367 w 460"/>
                  <a:gd name="T111" fmla="*/ 402 h 538"/>
                  <a:gd name="T112" fmla="*/ 363 w 460"/>
                  <a:gd name="T113" fmla="*/ 383 h 538"/>
                  <a:gd name="T114" fmla="*/ 375 w 460"/>
                  <a:gd name="T115" fmla="*/ 363 h 538"/>
                  <a:gd name="T116" fmla="*/ 394 w 460"/>
                  <a:gd name="T117" fmla="*/ 384 h 538"/>
                  <a:gd name="T118" fmla="*/ 402 w 460"/>
                  <a:gd name="T119" fmla="*/ 403 h 538"/>
                  <a:gd name="T120" fmla="*/ 430 w 460"/>
                  <a:gd name="T121" fmla="*/ 418 h 538"/>
                  <a:gd name="T122" fmla="*/ 428 w 460"/>
                  <a:gd name="T123" fmla="*/ 389 h 538"/>
                  <a:gd name="T124" fmla="*/ 457 w 460"/>
                  <a:gd name="T125" fmla="*/ 38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60" h="538">
                    <a:moveTo>
                      <a:pt x="451" y="360"/>
                    </a:moveTo>
                    <a:lnTo>
                      <a:pt x="451" y="360"/>
                    </a:lnTo>
                    <a:lnTo>
                      <a:pt x="456" y="360"/>
                    </a:lnTo>
                    <a:lnTo>
                      <a:pt x="457" y="357"/>
                    </a:lnTo>
                    <a:lnTo>
                      <a:pt x="460" y="352"/>
                    </a:lnTo>
                    <a:lnTo>
                      <a:pt x="460" y="352"/>
                    </a:lnTo>
                    <a:lnTo>
                      <a:pt x="460" y="351"/>
                    </a:lnTo>
                    <a:lnTo>
                      <a:pt x="460" y="349"/>
                    </a:lnTo>
                    <a:lnTo>
                      <a:pt x="456" y="349"/>
                    </a:lnTo>
                    <a:lnTo>
                      <a:pt x="456" y="349"/>
                    </a:lnTo>
                    <a:lnTo>
                      <a:pt x="454" y="348"/>
                    </a:lnTo>
                    <a:lnTo>
                      <a:pt x="451" y="344"/>
                    </a:lnTo>
                    <a:lnTo>
                      <a:pt x="450" y="341"/>
                    </a:lnTo>
                    <a:lnTo>
                      <a:pt x="449" y="338"/>
                    </a:lnTo>
                    <a:lnTo>
                      <a:pt x="449" y="338"/>
                    </a:lnTo>
                    <a:lnTo>
                      <a:pt x="447" y="339"/>
                    </a:lnTo>
                    <a:lnTo>
                      <a:pt x="446" y="341"/>
                    </a:lnTo>
                    <a:lnTo>
                      <a:pt x="446" y="347"/>
                    </a:lnTo>
                    <a:lnTo>
                      <a:pt x="446" y="347"/>
                    </a:lnTo>
                    <a:lnTo>
                      <a:pt x="444" y="347"/>
                    </a:lnTo>
                    <a:lnTo>
                      <a:pt x="441" y="347"/>
                    </a:lnTo>
                    <a:lnTo>
                      <a:pt x="434" y="345"/>
                    </a:lnTo>
                    <a:lnTo>
                      <a:pt x="434" y="345"/>
                    </a:lnTo>
                    <a:lnTo>
                      <a:pt x="433" y="344"/>
                    </a:lnTo>
                    <a:lnTo>
                      <a:pt x="434" y="339"/>
                    </a:lnTo>
                    <a:lnTo>
                      <a:pt x="436" y="334"/>
                    </a:lnTo>
                    <a:lnTo>
                      <a:pt x="436" y="334"/>
                    </a:lnTo>
                    <a:lnTo>
                      <a:pt x="434" y="334"/>
                    </a:lnTo>
                    <a:lnTo>
                      <a:pt x="431" y="335"/>
                    </a:lnTo>
                    <a:lnTo>
                      <a:pt x="427" y="341"/>
                    </a:lnTo>
                    <a:lnTo>
                      <a:pt x="427" y="341"/>
                    </a:lnTo>
                    <a:lnTo>
                      <a:pt x="425" y="342"/>
                    </a:lnTo>
                    <a:lnTo>
                      <a:pt x="424" y="339"/>
                    </a:lnTo>
                    <a:lnTo>
                      <a:pt x="424" y="338"/>
                    </a:lnTo>
                    <a:lnTo>
                      <a:pt x="423" y="336"/>
                    </a:lnTo>
                    <a:lnTo>
                      <a:pt x="423" y="336"/>
                    </a:lnTo>
                    <a:lnTo>
                      <a:pt x="420" y="336"/>
                    </a:lnTo>
                    <a:lnTo>
                      <a:pt x="417" y="339"/>
                    </a:lnTo>
                    <a:lnTo>
                      <a:pt x="408" y="347"/>
                    </a:lnTo>
                    <a:lnTo>
                      <a:pt x="408" y="347"/>
                    </a:lnTo>
                    <a:lnTo>
                      <a:pt x="407" y="347"/>
                    </a:lnTo>
                    <a:lnTo>
                      <a:pt x="405" y="347"/>
                    </a:lnTo>
                    <a:lnTo>
                      <a:pt x="407" y="344"/>
                    </a:lnTo>
                    <a:lnTo>
                      <a:pt x="408" y="341"/>
                    </a:lnTo>
                    <a:lnTo>
                      <a:pt x="409" y="339"/>
                    </a:lnTo>
                    <a:lnTo>
                      <a:pt x="409" y="339"/>
                    </a:lnTo>
                    <a:lnTo>
                      <a:pt x="411" y="338"/>
                    </a:lnTo>
                    <a:lnTo>
                      <a:pt x="409" y="335"/>
                    </a:lnTo>
                    <a:lnTo>
                      <a:pt x="408" y="331"/>
                    </a:lnTo>
                    <a:lnTo>
                      <a:pt x="408" y="331"/>
                    </a:lnTo>
                    <a:lnTo>
                      <a:pt x="408" y="329"/>
                    </a:lnTo>
                    <a:lnTo>
                      <a:pt x="411" y="329"/>
                    </a:lnTo>
                    <a:lnTo>
                      <a:pt x="415" y="329"/>
                    </a:lnTo>
                    <a:lnTo>
                      <a:pt x="415" y="329"/>
                    </a:lnTo>
                    <a:lnTo>
                      <a:pt x="415" y="326"/>
                    </a:lnTo>
                    <a:lnTo>
                      <a:pt x="415" y="322"/>
                    </a:lnTo>
                    <a:lnTo>
                      <a:pt x="412" y="315"/>
                    </a:lnTo>
                    <a:lnTo>
                      <a:pt x="409" y="310"/>
                    </a:lnTo>
                    <a:lnTo>
                      <a:pt x="409" y="310"/>
                    </a:lnTo>
                    <a:lnTo>
                      <a:pt x="408" y="309"/>
                    </a:lnTo>
                    <a:lnTo>
                      <a:pt x="407" y="309"/>
                    </a:lnTo>
                    <a:lnTo>
                      <a:pt x="404" y="310"/>
                    </a:lnTo>
                    <a:lnTo>
                      <a:pt x="402" y="310"/>
                    </a:lnTo>
                    <a:lnTo>
                      <a:pt x="401" y="310"/>
                    </a:lnTo>
                    <a:lnTo>
                      <a:pt x="399" y="310"/>
                    </a:lnTo>
                    <a:lnTo>
                      <a:pt x="399" y="310"/>
                    </a:lnTo>
                    <a:lnTo>
                      <a:pt x="398" y="306"/>
                    </a:lnTo>
                    <a:lnTo>
                      <a:pt x="399" y="303"/>
                    </a:lnTo>
                    <a:lnTo>
                      <a:pt x="401" y="299"/>
                    </a:lnTo>
                    <a:lnTo>
                      <a:pt x="401" y="297"/>
                    </a:lnTo>
                    <a:lnTo>
                      <a:pt x="401" y="297"/>
                    </a:lnTo>
                    <a:lnTo>
                      <a:pt x="401" y="297"/>
                    </a:lnTo>
                    <a:lnTo>
                      <a:pt x="398" y="297"/>
                    </a:lnTo>
                    <a:lnTo>
                      <a:pt x="394" y="302"/>
                    </a:lnTo>
                    <a:lnTo>
                      <a:pt x="394" y="302"/>
                    </a:lnTo>
                    <a:lnTo>
                      <a:pt x="391" y="303"/>
                    </a:lnTo>
                    <a:lnTo>
                      <a:pt x="389" y="302"/>
                    </a:lnTo>
                    <a:lnTo>
                      <a:pt x="388" y="300"/>
                    </a:lnTo>
                    <a:lnTo>
                      <a:pt x="385" y="299"/>
                    </a:lnTo>
                    <a:lnTo>
                      <a:pt x="385" y="299"/>
                    </a:lnTo>
                    <a:lnTo>
                      <a:pt x="382" y="299"/>
                    </a:lnTo>
                    <a:lnTo>
                      <a:pt x="379" y="296"/>
                    </a:lnTo>
                    <a:lnTo>
                      <a:pt x="378" y="293"/>
                    </a:lnTo>
                    <a:lnTo>
                      <a:pt x="375" y="292"/>
                    </a:lnTo>
                    <a:lnTo>
                      <a:pt x="375" y="292"/>
                    </a:lnTo>
                    <a:lnTo>
                      <a:pt x="373" y="290"/>
                    </a:lnTo>
                    <a:lnTo>
                      <a:pt x="372" y="289"/>
                    </a:lnTo>
                    <a:lnTo>
                      <a:pt x="376" y="287"/>
                    </a:lnTo>
                    <a:lnTo>
                      <a:pt x="376" y="287"/>
                    </a:lnTo>
                    <a:lnTo>
                      <a:pt x="376" y="286"/>
                    </a:lnTo>
                    <a:lnTo>
                      <a:pt x="376" y="286"/>
                    </a:lnTo>
                    <a:lnTo>
                      <a:pt x="375" y="283"/>
                    </a:lnTo>
                    <a:lnTo>
                      <a:pt x="370" y="281"/>
                    </a:lnTo>
                    <a:lnTo>
                      <a:pt x="367" y="280"/>
                    </a:lnTo>
                    <a:lnTo>
                      <a:pt x="367" y="280"/>
                    </a:lnTo>
                    <a:lnTo>
                      <a:pt x="360" y="280"/>
                    </a:lnTo>
                    <a:lnTo>
                      <a:pt x="353" y="277"/>
                    </a:lnTo>
                    <a:lnTo>
                      <a:pt x="353" y="277"/>
                    </a:lnTo>
                    <a:lnTo>
                      <a:pt x="347" y="274"/>
                    </a:lnTo>
                    <a:lnTo>
                      <a:pt x="344" y="274"/>
                    </a:lnTo>
                    <a:lnTo>
                      <a:pt x="344" y="273"/>
                    </a:lnTo>
                    <a:lnTo>
                      <a:pt x="344" y="273"/>
                    </a:lnTo>
                    <a:lnTo>
                      <a:pt x="346" y="271"/>
                    </a:lnTo>
                    <a:lnTo>
                      <a:pt x="349" y="271"/>
                    </a:lnTo>
                    <a:lnTo>
                      <a:pt x="357" y="273"/>
                    </a:lnTo>
                    <a:lnTo>
                      <a:pt x="357" y="273"/>
                    </a:lnTo>
                    <a:lnTo>
                      <a:pt x="359" y="273"/>
                    </a:lnTo>
                    <a:lnTo>
                      <a:pt x="359" y="271"/>
                    </a:lnTo>
                    <a:lnTo>
                      <a:pt x="356" y="268"/>
                    </a:lnTo>
                    <a:lnTo>
                      <a:pt x="350" y="264"/>
                    </a:lnTo>
                    <a:lnTo>
                      <a:pt x="350" y="264"/>
                    </a:lnTo>
                    <a:lnTo>
                      <a:pt x="349" y="264"/>
                    </a:lnTo>
                    <a:lnTo>
                      <a:pt x="349" y="263"/>
                    </a:lnTo>
                    <a:lnTo>
                      <a:pt x="353" y="261"/>
                    </a:lnTo>
                    <a:lnTo>
                      <a:pt x="353" y="261"/>
                    </a:lnTo>
                    <a:lnTo>
                      <a:pt x="354" y="261"/>
                    </a:lnTo>
                    <a:lnTo>
                      <a:pt x="354" y="260"/>
                    </a:lnTo>
                    <a:lnTo>
                      <a:pt x="353" y="258"/>
                    </a:lnTo>
                    <a:lnTo>
                      <a:pt x="352" y="257"/>
                    </a:lnTo>
                    <a:lnTo>
                      <a:pt x="352" y="257"/>
                    </a:lnTo>
                    <a:lnTo>
                      <a:pt x="353" y="255"/>
                    </a:lnTo>
                    <a:lnTo>
                      <a:pt x="353" y="255"/>
                    </a:lnTo>
                    <a:lnTo>
                      <a:pt x="353" y="255"/>
                    </a:lnTo>
                    <a:lnTo>
                      <a:pt x="353" y="254"/>
                    </a:lnTo>
                    <a:lnTo>
                      <a:pt x="352" y="252"/>
                    </a:lnTo>
                    <a:lnTo>
                      <a:pt x="343" y="250"/>
                    </a:lnTo>
                    <a:lnTo>
                      <a:pt x="343" y="250"/>
                    </a:lnTo>
                    <a:lnTo>
                      <a:pt x="343" y="250"/>
                    </a:lnTo>
                    <a:lnTo>
                      <a:pt x="344" y="250"/>
                    </a:lnTo>
                    <a:lnTo>
                      <a:pt x="349" y="248"/>
                    </a:lnTo>
                    <a:lnTo>
                      <a:pt x="360" y="248"/>
                    </a:lnTo>
                    <a:lnTo>
                      <a:pt x="360" y="248"/>
                    </a:lnTo>
                    <a:lnTo>
                      <a:pt x="363" y="248"/>
                    </a:lnTo>
                    <a:lnTo>
                      <a:pt x="366" y="247"/>
                    </a:lnTo>
                    <a:lnTo>
                      <a:pt x="369" y="245"/>
                    </a:lnTo>
                    <a:lnTo>
                      <a:pt x="370" y="242"/>
                    </a:lnTo>
                    <a:lnTo>
                      <a:pt x="370" y="242"/>
                    </a:lnTo>
                    <a:lnTo>
                      <a:pt x="369" y="241"/>
                    </a:lnTo>
                    <a:lnTo>
                      <a:pt x="367" y="239"/>
                    </a:lnTo>
                    <a:lnTo>
                      <a:pt x="362" y="238"/>
                    </a:lnTo>
                    <a:lnTo>
                      <a:pt x="349" y="235"/>
                    </a:lnTo>
                    <a:lnTo>
                      <a:pt x="349" y="235"/>
                    </a:lnTo>
                    <a:lnTo>
                      <a:pt x="347" y="235"/>
                    </a:lnTo>
                    <a:lnTo>
                      <a:pt x="347" y="234"/>
                    </a:lnTo>
                    <a:lnTo>
                      <a:pt x="349" y="231"/>
                    </a:lnTo>
                    <a:lnTo>
                      <a:pt x="356" y="225"/>
                    </a:lnTo>
                    <a:lnTo>
                      <a:pt x="356" y="225"/>
                    </a:lnTo>
                    <a:lnTo>
                      <a:pt x="360" y="221"/>
                    </a:lnTo>
                    <a:lnTo>
                      <a:pt x="365" y="219"/>
                    </a:lnTo>
                    <a:lnTo>
                      <a:pt x="365" y="219"/>
                    </a:lnTo>
                    <a:lnTo>
                      <a:pt x="366" y="219"/>
                    </a:lnTo>
                    <a:lnTo>
                      <a:pt x="366" y="216"/>
                    </a:lnTo>
                    <a:lnTo>
                      <a:pt x="365" y="209"/>
                    </a:lnTo>
                    <a:lnTo>
                      <a:pt x="362" y="194"/>
                    </a:lnTo>
                    <a:lnTo>
                      <a:pt x="362" y="194"/>
                    </a:lnTo>
                    <a:lnTo>
                      <a:pt x="360" y="192"/>
                    </a:lnTo>
                    <a:lnTo>
                      <a:pt x="357" y="192"/>
                    </a:lnTo>
                    <a:lnTo>
                      <a:pt x="350" y="196"/>
                    </a:lnTo>
                    <a:lnTo>
                      <a:pt x="350" y="196"/>
                    </a:lnTo>
                    <a:lnTo>
                      <a:pt x="343" y="199"/>
                    </a:lnTo>
                    <a:lnTo>
                      <a:pt x="333" y="199"/>
                    </a:lnTo>
                    <a:lnTo>
                      <a:pt x="333" y="199"/>
                    </a:lnTo>
                    <a:lnTo>
                      <a:pt x="328" y="197"/>
                    </a:lnTo>
                    <a:lnTo>
                      <a:pt x="330" y="196"/>
                    </a:lnTo>
                    <a:lnTo>
                      <a:pt x="337" y="192"/>
                    </a:lnTo>
                    <a:lnTo>
                      <a:pt x="337" y="192"/>
                    </a:lnTo>
                    <a:lnTo>
                      <a:pt x="341" y="190"/>
                    </a:lnTo>
                    <a:lnTo>
                      <a:pt x="346" y="186"/>
                    </a:lnTo>
                    <a:lnTo>
                      <a:pt x="350" y="180"/>
                    </a:lnTo>
                    <a:lnTo>
                      <a:pt x="350" y="180"/>
                    </a:lnTo>
                    <a:lnTo>
                      <a:pt x="350" y="179"/>
                    </a:lnTo>
                    <a:lnTo>
                      <a:pt x="349" y="177"/>
                    </a:lnTo>
                    <a:lnTo>
                      <a:pt x="344" y="174"/>
                    </a:lnTo>
                    <a:lnTo>
                      <a:pt x="344" y="174"/>
                    </a:lnTo>
                    <a:lnTo>
                      <a:pt x="341" y="173"/>
                    </a:lnTo>
                    <a:lnTo>
                      <a:pt x="337" y="170"/>
                    </a:lnTo>
                    <a:lnTo>
                      <a:pt x="334" y="168"/>
                    </a:lnTo>
                    <a:lnTo>
                      <a:pt x="330" y="167"/>
                    </a:lnTo>
                    <a:lnTo>
                      <a:pt x="330" y="167"/>
                    </a:lnTo>
                    <a:lnTo>
                      <a:pt x="323" y="166"/>
                    </a:lnTo>
                    <a:lnTo>
                      <a:pt x="318" y="164"/>
                    </a:lnTo>
                    <a:lnTo>
                      <a:pt x="315" y="161"/>
                    </a:lnTo>
                    <a:lnTo>
                      <a:pt x="315" y="161"/>
                    </a:lnTo>
                    <a:lnTo>
                      <a:pt x="312" y="158"/>
                    </a:lnTo>
                    <a:lnTo>
                      <a:pt x="311" y="157"/>
                    </a:lnTo>
                    <a:lnTo>
                      <a:pt x="310" y="157"/>
                    </a:lnTo>
                    <a:lnTo>
                      <a:pt x="310" y="157"/>
                    </a:lnTo>
                    <a:lnTo>
                      <a:pt x="307" y="155"/>
                    </a:lnTo>
                    <a:lnTo>
                      <a:pt x="305" y="154"/>
                    </a:lnTo>
                    <a:lnTo>
                      <a:pt x="304" y="150"/>
                    </a:lnTo>
                    <a:lnTo>
                      <a:pt x="304" y="150"/>
                    </a:lnTo>
                    <a:lnTo>
                      <a:pt x="304" y="145"/>
                    </a:lnTo>
                    <a:lnTo>
                      <a:pt x="304" y="142"/>
                    </a:lnTo>
                    <a:lnTo>
                      <a:pt x="302" y="139"/>
                    </a:lnTo>
                    <a:lnTo>
                      <a:pt x="302" y="139"/>
                    </a:lnTo>
                    <a:lnTo>
                      <a:pt x="298" y="137"/>
                    </a:lnTo>
                    <a:lnTo>
                      <a:pt x="295" y="137"/>
                    </a:lnTo>
                    <a:lnTo>
                      <a:pt x="286" y="139"/>
                    </a:lnTo>
                    <a:lnTo>
                      <a:pt x="286" y="139"/>
                    </a:lnTo>
                    <a:lnTo>
                      <a:pt x="282" y="138"/>
                    </a:lnTo>
                    <a:lnTo>
                      <a:pt x="276" y="135"/>
                    </a:lnTo>
                    <a:lnTo>
                      <a:pt x="269" y="132"/>
                    </a:lnTo>
                    <a:lnTo>
                      <a:pt x="265" y="131"/>
                    </a:lnTo>
                    <a:lnTo>
                      <a:pt x="265" y="131"/>
                    </a:lnTo>
                    <a:lnTo>
                      <a:pt x="262" y="129"/>
                    </a:lnTo>
                    <a:lnTo>
                      <a:pt x="260" y="129"/>
                    </a:lnTo>
                    <a:lnTo>
                      <a:pt x="259" y="125"/>
                    </a:lnTo>
                    <a:lnTo>
                      <a:pt x="259" y="125"/>
                    </a:lnTo>
                    <a:lnTo>
                      <a:pt x="257" y="124"/>
                    </a:lnTo>
                    <a:lnTo>
                      <a:pt x="255" y="124"/>
                    </a:lnTo>
                    <a:lnTo>
                      <a:pt x="252" y="122"/>
                    </a:lnTo>
                    <a:lnTo>
                      <a:pt x="252" y="122"/>
                    </a:lnTo>
                    <a:lnTo>
                      <a:pt x="250" y="122"/>
                    </a:lnTo>
                    <a:lnTo>
                      <a:pt x="250" y="121"/>
                    </a:lnTo>
                    <a:lnTo>
                      <a:pt x="250" y="116"/>
                    </a:lnTo>
                    <a:lnTo>
                      <a:pt x="250" y="116"/>
                    </a:lnTo>
                    <a:lnTo>
                      <a:pt x="246" y="113"/>
                    </a:lnTo>
                    <a:lnTo>
                      <a:pt x="241" y="110"/>
                    </a:lnTo>
                    <a:lnTo>
                      <a:pt x="241" y="110"/>
                    </a:lnTo>
                    <a:lnTo>
                      <a:pt x="239" y="109"/>
                    </a:lnTo>
                    <a:lnTo>
                      <a:pt x="239" y="105"/>
                    </a:lnTo>
                    <a:lnTo>
                      <a:pt x="239" y="102"/>
                    </a:lnTo>
                    <a:lnTo>
                      <a:pt x="239" y="99"/>
                    </a:lnTo>
                    <a:lnTo>
                      <a:pt x="239" y="99"/>
                    </a:lnTo>
                    <a:lnTo>
                      <a:pt x="233" y="92"/>
                    </a:lnTo>
                    <a:lnTo>
                      <a:pt x="228" y="89"/>
                    </a:lnTo>
                    <a:lnTo>
                      <a:pt x="224" y="86"/>
                    </a:lnTo>
                    <a:lnTo>
                      <a:pt x="224" y="86"/>
                    </a:lnTo>
                    <a:lnTo>
                      <a:pt x="220" y="84"/>
                    </a:lnTo>
                    <a:lnTo>
                      <a:pt x="214" y="82"/>
                    </a:lnTo>
                    <a:lnTo>
                      <a:pt x="214" y="82"/>
                    </a:lnTo>
                    <a:lnTo>
                      <a:pt x="208" y="80"/>
                    </a:lnTo>
                    <a:lnTo>
                      <a:pt x="199" y="80"/>
                    </a:lnTo>
                    <a:lnTo>
                      <a:pt x="186" y="79"/>
                    </a:lnTo>
                    <a:lnTo>
                      <a:pt x="186" y="79"/>
                    </a:lnTo>
                    <a:lnTo>
                      <a:pt x="184" y="80"/>
                    </a:lnTo>
                    <a:lnTo>
                      <a:pt x="182" y="82"/>
                    </a:lnTo>
                    <a:lnTo>
                      <a:pt x="179" y="86"/>
                    </a:lnTo>
                    <a:lnTo>
                      <a:pt x="179" y="86"/>
                    </a:lnTo>
                    <a:lnTo>
                      <a:pt x="181" y="87"/>
                    </a:lnTo>
                    <a:lnTo>
                      <a:pt x="184" y="90"/>
                    </a:lnTo>
                    <a:lnTo>
                      <a:pt x="186" y="93"/>
                    </a:lnTo>
                    <a:lnTo>
                      <a:pt x="188" y="95"/>
                    </a:lnTo>
                    <a:lnTo>
                      <a:pt x="188" y="95"/>
                    </a:lnTo>
                    <a:lnTo>
                      <a:pt x="186" y="95"/>
                    </a:lnTo>
                    <a:lnTo>
                      <a:pt x="182" y="95"/>
                    </a:lnTo>
                    <a:lnTo>
                      <a:pt x="175" y="92"/>
                    </a:lnTo>
                    <a:lnTo>
                      <a:pt x="175" y="92"/>
                    </a:lnTo>
                    <a:lnTo>
                      <a:pt x="173" y="93"/>
                    </a:lnTo>
                    <a:lnTo>
                      <a:pt x="173" y="95"/>
                    </a:lnTo>
                    <a:lnTo>
                      <a:pt x="172" y="99"/>
                    </a:lnTo>
                    <a:lnTo>
                      <a:pt x="170" y="105"/>
                    </a:lnTo>
                    <a:lnTo>
                      <a:pt x="169" y="108"/>
                    </a:lnTo>
                    <a:lnTo>
                      <a:pt x="169" y="108"/>
                    </a:lnTo>
                    <a:lnTo>
                      <a:pt x="168" y="108"/>
                    </a:lnTo>
                    <a:lnTo>
                      <a:pt x="166" y="106"/>
                    </a:lnTo>
                    <a:lnTo>
                      <a:pt x="165" y="99"/>
                    </a:lnTo>
                    <a:lnTo>
                      <a:pt x="165" y="84"/>
                    </a:lnTo>
                    <a:lnTo>
                      <a:pt x="165" y="84"/>
                    </a:lnTo>
                    <a:lnTo>
                      <a:pt x="165" y="82"/>
                    </a:lnTo>
                    <a:lnTo>
                      <a:pt x="163" y="80"/>
                    </a:lnTo>
                    <a:lnTo>
                      <a:pt x="159" y="77"/>
                    </a:lnTo>
                    <a:lnTo>
                      <a:pt x="159" y="77"/>
                    </a:lnTo>
                    <a:lnTo>
                      <a:pt x="156" y="79"/>
                    </a:lnTo>
                    <a:lnTo>
                      <a:pt x="155" y="80"/>
                    </a:lnTo>
                    <a:lnTo>
                      <a:pt x="150" y="86"/>
                    </a:lnTo>
                    <a:lnTo>
                      <a:pt x="150" y="86"/>
                    </a:lnTo>
                    <a:lnTo>
                      <a:pt x="149" y="87"/>
                    </a:lnTo>
                    <a:lnTo>
                      <a:pt x="147" y="87"/>
                    </a:lnTo>
                    <a:lnTo>
                      <a:pt x="143" y="86"/>
                    </a:lnTo>
                    <a:lnTo>
                      <a:pt x="143" y="86"/>
                    </a:lnTo>
                    <a:lnTo>
                      <a:pt x="142" y="87"/>
                    </a:lnTo>
                    <a:lnTo>
                      <a:pt x="139" y="90"/>
                    </a:lnTo>
                    <a:lnTo>
                      <a:pt x="136" y="100"/>
                    </a:lnTo>
                    <a:lnTo>
                      <a:pt x="136" y="100"/>
                    </a:lnTo>
                    <a:lnTo>
                      <a:pt x="133" y="105"/>
                    </a:lnTo>
                    <a:lnTo>
                      <a:pt x="130" y="108"/>
                    </a:lnTo>
                    <a:lnTo>
                      <a:pt x="127" y="109"/>
                    </a:lnTo>
                    <a:lnTo>
                      <a:pt x="124" y="109"/>
                    </a:lnTo>
                    <a:lnTo>
                      <a:pt x="124" y="109"/>
                    </a:lnTo>
                    <a:lnTo>
                      <a:pt x="123" y="109"/>
                    </a:lnTo>
                    <a:lnTo>
                      <a:pt x="123" y="106"/>
                    </a:lnTo>
                    <a:lnTo>
                      <a:pt x="124" y="99"/>
                    </a:lnTo>
                    <a:lnTo>
                      <a:pt x="130" y="84"/>
                    </a:lnTo>
                    <a:lnTo>
                      <a:pt x="130" y="84"/>
                    </a:lnTo>
                    <a:lnTo>
                      <a:pt x="131" y="80"/>
                    </a:lnTo>
                    <a:lnTo>
                      <a:pt x="133" y="77"/>
                    </a:lnTo>
                    <a:lnTo>
                      <a:pt x="139" y="73"/>
                    </a:lnTo>
                    <a:lnTo>
                      <a:pt x="139" y="73"/>
                    </a:lnTo>
                    <a:lnTo>
                      <a:pt x="139" y="68"/>
                    </a:lnTo>
                    <a:lnTo>
                      <a:pt x="139" y="61"/>
                    </a:lnTo>
                    <a:lnTo>
                      <a:pt x="136" y="51"/>
                    </a:lnTo>
                    <a:lnTo>
                      <a:pt x="136" y="51"/>
                    </a:lnTo>
                    <a:lnTo>
                      <a:pt x="136" y="48"/>
                    </a:lnTo>
                    <a:lnTo>
                      <a:pt x="137" y="45"/>
                    </a:lnTo>
                    <a:lnTo>
                      <a:pt x="140" y="41"/>
                    </a:lnTo>
                    <a:lnTo>
                      <a:pt x="140" y="41"/>
                    </a:lnTo>
                    <a:lnTo>
                      <a:pt x="142" y="40"/>
                    </a:lnTo>
                    <a:lnTo>
                      <a:pt x="142" y="38"/>
                    </a:lnTo>
                    <a:lnTo>
                      <a:pt x="139" y="35"/>
                    </a:lnTo>
                    <a:lnTo>
                      <a:pt x="139" y="35"/>
                    </a:lnTo>
                    <a:lnTo>
                      <a:pt x="139" y="32"/>
                    </a:lnTo>
                    <a:lnTo>
                      <a:pt x="139" y="31"/>
                    </a:lnTo>
                    <a:lnTo>
                      <a:pt x="140" y="28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40" y="6"/>
                    </a:lnTo>
                    <a:lnTo>
                      <a:pt x="140" y="6"/>
                    </a:lnTo>
                    <a:lnTo>
                      <a:pt x="140" y="5"/>
                    </a:lnTo>
                    <a:lnTo>
                      <a:pt x="139" y="5"/>
                    </a:lnTo>
                    <a:lnTo>
                      <a:pt x="134" y="3"/>
                    </a:lnTo>
                    <a:lnTo>
                      <a:pt x="126" y="6"/>
                    </a:lnTo>
                    <a:lnTo>
                      <a:pt x="126" y="6"/>
                    </a:lnTo>
                    <a:lnTo>
                      <a:pt x="120" y="8"/>
                    </a:lnTo>
                    <a:lnTo>
                      <a:pt x="117" y="8"/>
                    </a:lnTo>
                    <a:lnTo>
                      <a:pt x="114" y="11"/>
                    </a:lnTo>
                    <a:lnTo>
                      <a:pt x="114" y="11"/>
                    </a:lnTo>
                    <a:lnTo>
                      <a:pt x="115" y="12"/>
                    </a:lnTo>
                    <a:lnTo>
                      <a:pt x="117" y="16"/>
                    </a:lnTo>
                    <a:lnTo>
                      <a:pt x="120" y="21"/>
                    </a:lnTo>
                    <a:lnTo>
                      <a:pt x="120" y="21"/>
                    </a:lnTo>
                    <a:lnTo>
                      <a:pt x="118" y="21"/>
                    </a:lnTo>
                    <a:lnTo>
                      <a:pt x="117" y="21"/>
                    </a:lnTo>
                    <a:lnTo>
                      <a:pt x="110" y="18"/>
                    </a:lnTo>
                    <a:lnTo>
                      <a:pt x="110" y="18"/>
                    </a:lnTo>
                    <a:lnTo>
                      <a:pt x="107" y="18"/>
                    </a:lnTo>
                    <a:lnTo>
                      <a:pt x="104" y="18"/>
                    </a:lnTo>
                    <a:lnTo>
                      <a:pt x="101" y="19"/>
                    </a:lnTo>
                    <a:lnTo>
                      <a:pt x="100" y="21"/>
                    </a:lnTo>
                    <a:lnTo>
                      <a:pt x="100" y="21"/>
                    </a:lnTo>
                    <a:lnTo>
                      <a:pt x="101" y="22"/>
                    </a:lnTo>
                    <a:lnTo>
                      <a:pt x="105" y="24"/>
                    </a:lnTo>
                    <a:lnTo>
                      <a:pt x="108" y="25"/>
                    </a:lnTo>
                    <a:lnTo>
                      <a:pt x="111" y="28"/>
                    </a:lnTo>
                    <a:lnTo>
                      <a:pt x="111" y="28"/>
                    </a:lnTo>
                    <a:lnTo>
                      <a:pt x="115" y="32"/>
                    </a:lnTo>
                    <a:lnTo>
                      <a:pt x="120" y="37"/>
                    </a:lnTo>
                    <a:lnTo>
                      <a:pt x="120" y="37"/>
                    </a:lnTo>
                    <a:lnTo>
                      <a:pt x="120" y="38"/>
                    </a:lnTo>
                    <a:lnTo>
                      <a:pt x="118" y="40"/>
                    </a:lnTo>
                    <a:lnTo>
                      <a:pt x="115" y="42"/>
                    </a:lnTo>
                    <a:lnTo>
                      <a:pt x="111" y="44"/>
                    </a:lnTo>
                    <a:lnTo>
                      <a:pt x="107" y="45"/>
                    </a:lnTo>
                    <a:lnTo>
                      <a:pt x="107" y="45"/>
                    </a:lnTo>
                    <a:lnTo>
                      <a:pt x="104" y="45"/>
                    </a:lnTo>
                    <a:lnTo>
                      <a:pt x="101" y="44"/>
                    </a:lnTo>
                    <a:lnTo>
                      <a:pt x="100" y="44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2" y="45"/>
                    </a:lnTo>
                    <a:lnTo>
                      <a:pt x="91" y="45"/>
                    </a:lnTo>
                    <a:lnTo>
                      <a:pt x="89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5"/>
                    </a:lnTo>
                    <a:lnTo>
                      <a:pt x="85" y="47"/>
                    </a:lnTo>
                    <a:lnTo>
                      <a:pt x="85" y="54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73"/>
                    </a:lnTo>
                    <a:lnTo>
                      <a:pt x="88" y="76"/>
                    </a:lnTo>
                    <a:lnTo>
                      <a:pt x="94" y="82"/>
                    </a:lnTo>
                    <a:lnTo>
                      <a:pt x="94" y="82"/>
                    </a:lnTo>
                    <a:lnTo>
                      <a:pt x="97" y="84"/>
                    </a:lnTo>
                    <a:lnTo>
                      <a:pt x="97" y="87"/>
                    </a:lnTo>
                    <a:lnTo>
                      <a:pt x="97" y="89"/>
                    </a:lnTo>
                    <a:lnTo>
                      <a:pt x="95" y="90"/>
                    </a:lnTo>
                    <a:lnTo>
                      <a:pt x="95" y="90"/>
                    </a:lnTo>
                    <a:lnTo>
                      <a:pt x="92" y="90"/>
                    </a:lnTo>
                    <a:lnTo>
                      <a:pt x="89" y="89"/>
                    </a:lnTo>
                    <a:lnTo>
                      <a:pt x="86" y="87"/>
                    </a:lnTo>
                    <a:lnTo>
                      <a:pt x="84" y="87"/>
                    </a:lnTo>
                    <a:lnTo>
                      <a:pt x="84" y="87"/>
                    </a:lnTo>
                    <a:lnTo>
                      <a:pt x="84" y="90"/>
                    </a:lnTo>
                    <a:lnTo>
                      <a:pt x="85" y="95"/>
                    </a:lnTo>
                    <a:lnTo>
                      <a:pt x="86" y="99"/>
                    </a:lnTo>
                    <a:lnTo>
                      <a:pt x="88" y="105"/>
                    </a:lnTo>
                    <a:lnTo>
                      <a:pt x="88" y="105"/>
                    </a:lnTo>
                    <a:lnTo>
                      <a:pt x="89" y="109"/>
                    </a:lnTo>
                    <a:lnTo>
                      <a:pt x="92" y="112"/>
                    </a:lnTo>
                    <a:lnTo>
                      <a:pt x="97" y="116"/>
                    </a:lnTo>
                    <a:lnTo>
                      <a:pt x="101" y="118"/>
                    </a:lnTo>
                    <a:lnTo>
                      <a:pt x="101" y="118"/>
                    </a:lnTo>
                    <a:lnTo>
                      <a:pt x="104" y="119"/>
                    </a:lnTo>
                    <a:lnTo>
                      <a:pt x="104" y="121"/>
                    </a:lnTo>
                    <a:lnTo>
                      <a:pt x="105" y="125"/>
                    </a:lnTo>
                    <a:lnTo>
                      <a:pt x="105" y="125"/>
                    </a:lnTo>
                    <a:lnTo>
                      <a:pt x="110" y="128"/>
                    </a:lnTo>
                    <a:lnTo>
                      <a:pt x="115" y="132"/>
                    </a:lnTo>
                    <a:lnTo>
                      <a:pt x="121" y="137"/>
                    </a:lnTo>
                    <a:lnTo>
                      <a:pt x="124" y="139"/>
                    </a:lnTo>
                    <a:lnTo>
                      <a:pt x="124" y="139"/>
                    </a:lnTo>
                    <a:lnTo>
                      <a:pt x="124" y="144"/>
                    </a:lnTo>
                    <a:lnTo>
                      <a:pt x="123" y="145"/>
                    </a:lnTo>
                    <a:lnTo>
                      <a:pt x="118" y="150"/>
                    </a:lnTo>
                    <a:lnTo>
                      <a:pt x="118" y="150"/>
                    </a:lnTo>
                    <a:lnTo>
                      <a:pt x="117" y="150"/>
                    </a:lnTo>
                    <a:lnTo>
                      <a:pt x="115" y="150"/>
                    </a:lnTo>
                    <a:lnTo>
                      <a:pt x="115" y="148"/>
                    </a:lnTo>
                    <a:lnTo>
                      <a:pt x="114" y="148"/>
                    </a:lnTo>
                    <a:lnTo>
                      <a:pt x="114" y="148"/>
                    </a:lnTo>
                    <a:lnTo>
                      <a:pt x="113" y="148"/>
                    </a:lnTo>
                    <a:lnTo>
                      <a:pt x="111" y="151"/>
                    </a:lnTo>
                    <a:lnTo>
                      <a:pt x="110" y="154"/>
                    </a:lnTo>
                    <a:lnTo>
                      <a:pt x="108" y="157"/>
                    </a:lnTo>
                    <a:lnTo>
                      <a:pt x="108" y="157"/>
                    </a:lnTo>
                    <a:lnTo>
                      <a:pt x="107" y="157"/>
                    </a:lnTo>
                    <a:lnTo>
                      <a:pt x="107" y="155"/>
                    </a:lnTo>
                    <a:lnTo>
                      <a:pt x="105" y="152"/>
                    </a:lnTo>
                    <a:lnTo>
                      <a:pt x="104" y="145"/>
                    </a:lnTo>
                    <a:lnTo>
                      <a:pt x="104" y="145"/>
                    </a:lnTo>
                    <a:lnTo>
                      <a:pt x="101" y="145"/>
                    </a:lnTo>
                    <a:lnTo>
                      <a:pt x="98" y="148"/>
                    </a:lnTo>
                    <a:lnTo>
                      <a:pt x="94" y="151"/>
                    </a:lnTo>
                    <a:lnTo>
                      <a:pt x="89" y="154"/>
                    </a:lnTo>
                    <a:lnTo>
                      <a:pt x="89" y="154"/>
                    </a:lnTo>
                    <a:lnTo>
                      <a:pt x="88" y="154"/>
                    </a:lnTo>
                    <a:lnTo>
                      <a:pt x="88" y="152"/>
                    </a:lnTo>
                    <a:lnTo>
                      <a:pt x="89" y="150"/>
                    </a:lnTo>
                    <a:lnTo>
                      <a:pt x="95" y="141"/>
                    </a:lnTo>
                    <a:lnTo>
                      <a:pt x="95" y="141"/>
                    </a:lnTo>
                    <a:lnTo>
                      <a:pt x="95" y="139"/>
                    </a:lnTo>
                    <a:lnTo>
                      <a:pt x="95" y="137"/>
                    </a:lnTo>
                    <a:lnTo>
                      <a:pt x="94" y="135"/>
                    </a:lnTo>
                    <a:lnTo>
                      <a:pt x="92" y="135"/>
                    </a:lnTo>
                    <a:lnTo>
                      <a:pt x="92" y="135"/>
                    </a:lnTo>
                    <a:lnTo>
                      <a:pt x="91" y="134"/>
                    </a:lnTo>
                    <a:lnTo>
                      <a:pt x="91" y="132"/>
                    </a:lnTo>
                    <a:lnTo>
                      <a:pt x="89" y="128"/>
                    </a:lnTo>
                    <a:lnTo>
                      <a:pt x="86" y="125"/>
                    </a:lnTo>
                    <a:lnTo>
                      <a:pt x="86" y="125"/>
                    </a:lnTo>
                    <a:lnTo>
                      <a:pt x="76" y="115"/>
                    </a:lnTo>
                    <a:lnTo>
                      <a:pt x="72" y="109"/>
                    </a:lnTo>
                    <a:lnTo>
                      <a:pt x="69" y="103"/>
                    </a:lnTo>
                    <a:lnTo>
                      <a:pt x="69" y="103"/>
                    </a:lnTo>
                    <a:lnTo>
                      <a:pt x="68" y="100"/>
                    </a:lnTo>
                    <a:lnTo>
                      <a:pt x="68" y="96"/>
                    </a:lnTo>
                    <a:lnTo>
                      <a:pt x="71" y="87"/>
                    </a:lnTo>
                    <a:lnTo>
                      <a:pt x="72" y="80"/>
                    </a:lnTo>
                    <a:lnTo>
                      <a:pt x="73" y="74"/>
                    </a:lnTo>
                    <a:lnTo>
                      <a:pt x="73" y="74"/>
                    </a:lnTo>
                    <a:lnTo>
                      <a:pt x="72" y="63"/>
                    </a:lnTo>
                    <a:lnTo>
                      <a:pt x="71" y="55"/>
                    </a:lnTo>
                    <a:lnTo>
                      <a:pt x="69" y="48"/>
                    </a:lnTo>
                    <a:lnTo>
                      <a:pt x="69" y="48"/>
                    </a:lnTo>
                    <a:lnTo>
                      <a:pt x="71" y="44"/>
                    </a:lnTo>
                    <a:lnTo>
                      <a:pt x="72" y="40"/>
                    </a:lnTo>
                    <a:lnTo>
                      <a:pt x="78" y="31"/>
                    </a:lnTo>
                    <a:lnTo>
                      <a:pt x="88" y="18"/>
                    </a:lnTo>
                    <a:lnTo>
                      <a:pt x="88" y="18"/>
                    </a:lnTo>
                    <a:lnTo>
                      <a:pt x="94" y="9"/>
                    </a:lnTo>
                    <a:lnTo>
                      <a:pt x="97" y="5"/>
                    </a:lnTo>
                    <a:lnTo>
                      <a:pt x="97" y="2"/>
                    </a:lnTo>
                    <a:lnTo>
                      <a:pt x="97" y="2"/>
                    </a:lnTo>
                    <a:lnTo>
                      <a:pt x="97" y="0"/>
                    </a:lnTo>
                    <a:lnTo>
                      <a:pt x="95" y="0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86" y="3"/>
                    </a:lnTo>
                    <a:lnTo>
                      <a:pt x="75" y="3"/>
                    </a:lnTo>
                    <a:lnTo>
                      <a:pt x="58" y="3"/>
                    </a:lnTo>
                    <a:lnTo>
                      <a:pt x="58" y="3"/>
                    </a:lnTo>
                    <a:lnTo>
                      <a:pt x="44" y="9"/>
                    </a:lnTo>
                    <a:lnTo>
                      <a:pt x="33" y="15"/>
                    </a:lnTo>
                    <a:lnTo>
                      <a:pt x="33" y="15"/>
                    </a:lnTo>
                    <a:lnTo>
                      <a:pt x="29" y="19"/>
                    </a:lnTo>
                    <a:lnTo>
                      <a:pt x="24" y="25"/>
                    </a:lnTo>
                    <a:lnTo>
                      <a:pt x="24" y="25"/>
                    </a:lnTo>
                    <a:lnTo>
                      <a:pt x="17" y="32"/>
                    </a:lnTo>
                    <a:lnTo>
                      <a:pt x="11" y="38"/>
                    </a:lnTo>
                    <a:lnTo>
                      <a:pt x="11" y="38"/>
                    </a:lnTo>
                    <a:lnTo>
                      <a:pt x="10" y="40"/>
                    </a:lnTo>
                    <a:lnTo>
                      <a:pt x="10" y="41"/>
                    </a:lnTo>
                    <a:lnTo>
                      <a:pt x="11" y="48"/>
                    </a:lnTo>
                    <a:lnTo>
                      <a:pt x="13" y="61"/>
                    </a:lnTo>
                    <a:lnTo>
                      <a:pt x="13" y="61"/>
                    </a:lnTo>
                    <a:lnTo>
                      <a:pt x="11" y="68"/>
                    </a:lnTo>
                    <a:lnTo>
                      <a:pt x="8" y="79"/>
                    </a:lnTo>
                    <a:lnTo>
                      <a:pt x="5" y="89"/>
                    </a:lnTo>
                    <a:lnTo>
                      <a:pt x="1" y="95"/>
                    </a:lnTo>
                    <a:lnTo>
                      <a:pt x="1" y="95"/>
                    </a:lnTo>
                    <a:lnTo>
                      <a:pt x="0" y="100"/>
                    </a:lnTo>
                    <a:lnTo>
                      <a:pt x="1" y="106"/>
                    </a:lnTo>
                    <a:lnTo>
                      <a:pt x="4" y="112"/>
                    </a:lnTo>
                    <a:lnTo>
                      <a:pt x="8" y="118"/>
                    </a:lnTo>
                    <a:lnTo>
                      <a:pt x="8" y="118"/>
                    </a:lnTo>
                    <a:lnTo>
                      <a:pt x="13" y="122"/>
                    </a:lnTo>
                    <a:lnTo>
                      <a:pt x="13" y="124"/>
                    </a:lnTo>
                    <a:lnTo>
                      <a:pt x="13" y="126"/>
                    </a:lnTo>
                    <a:lnTo>
                      <a:pt x="13" y="126"/>
                    </a:lnTo>
                    <a:lnTo>
                      <a:pt x="13" y="129"/>
                    </a:lnTo>
                    <a:lnTo>
                      <a:pt x="14" y="134"/>
                    </a:lnTo>
                    <a:lnTo>
                      <a:pt x="18" y="142"/>
                    </a:lnTo>
                    <a:lnTo>
                      <a:pt x="18" y="142"/>
                    </a:lnTo>
                    <a:lnTo>
                      <a:pt x="20" y="145"/>
                    </a:lnTo>
                    <a:lnTo>
                      <a:pt x="23" y="145"/>
                    </a:lnTo>
                    <a:lnTo>
                      <a:pt x="31" y="148"/>
                    </a:lnTo>
                    <a:lnTo>
                      <a:pt x="31" y="148"/>
                    </a:lnTo>
                    <a:lnTo>
                      <a:pt x="37" y="151"/>
                    </a:lnTo>
                    <a:lnTo>
                      <a:pt x="42" y="154"/>
                    </a:lnTo>
                    <a:lnTo>
                      <a:pt x="46" y="160"/>
                    </a:lnTo>
                    <a:lnTo>
                      <a:pt x="46" y="160"/>
                    </a:lnTo>
                    <a:lnTo>
                      <a:pt x="46" y="161"/>
                    </a:lnTo>
                    <a:lnTo>
                      <a:pt x="44" y="161"/>
                    </a:lnTo>
                    <a:lnTo>
                      <a:pt x="40" y="160"/>
                    </a:lnTo>
                    <a:lnTo>
                      <a:pt x="30" y="158"/>
                    </a:lnTo>
                    <a:lnTo>
                      <a:pt x="30" y="158"/>
                    </a:lnTo>
                    <a:lnTo>
                      <a:pt x="30" y="158"/>
                    </a:lnTo>
                    <a:lnTo>
                      <a:pt x="30" y="160"/>
                    </a:lnTo>
                    <a:lnTo>
                      <a:pt x="31" y="163"/>
                    </a:lnTo>
                    <a:lnTo>
                      <a:pt x="37" y="171"/>
                    </a:lnTo>
                    <a:lnTo>
                      <a:pt x="37" y="171"/>
                    </a:lnTo>
                    <a:lnTo>
                      <a:pt x="40" y="174"/>
                    </a:lnTo>
                    <a:lnTo>
                      <a:pt x="43" y="176"/>
                    </a:lnTo>
                    <a:lnTo>
                      <a:pt x="44" y="174"/>
                    </a:lnTo>
                    <a:lnTo>
                      <a:pt x="49" y="176"/>
                    </a:lnTo>
                    <a:lnTo>
                      <a:pt x="49" y="176"/>
                    </a:lnTo>
                    <a:lnTo>
                      <a:pt x="53" y="177"/>
                    </a:lnTo>
                    <a:lnTo>
                      <a:pt x="55" y="180"/>
                    </a:lnTo>
                    <a:lnTo>
                      <a:pt x="58" y="186"/>
                    </a:lnTo>
                    <a:lnTo>
                      <a:pt x="58" y="186"/>
                    </a:lnTo>
                    <a:lnTo>
                      <a:pt x="58" y="186"/>
                    </a:lnTo>
                    <a:lnTo>
                      <a:pt x="56" y="186"/>
                    </a:lnTo>
                    <a:lnTo>
                      <a:pt x="52" y="184"/>
                    </a:lnTo>
                    <a:lnTo>
                      <a:pt x="47" y="183"/>
                    </a:lnTo>
                    <a:lnTo>
                      <a:pt x="46" y="183"/>
                    </a:lnTo>
                    <a:lnTo>
                      <a:pt x="47" y="183"/>
                    </a:lnTo>
                    <a:lnTo>
                      <a:pt x="47" y="183"/>
                    </a:lnTo>
                    <a:lnTo>
                      <a:pt x="53" y="190"/>
                    </a:lnTo>
                    <a:lnTo>
                      <a:pt x="59" y="196"/>
                    </a:lnTo>
                    <a:lnTo>
                      <a:pt x="59" y="196"/>
                    </a:lnTo>
                    <a:lnTo>
                      <a:pt x="62" y="197"/>
                    </a:lnTo>
                    <a:lnTo>
                      <a:pt x="63" y="196"/>
                    </a:lnTo>
                    <a:lnTo>
                      <a:pt x="66" y="193"/>
                    </a:lnTo>
                    <a:lnTo>
                      <a:pt x="66" y="193"/>
                    </a:lnTo>
                    <a:lnTo>
                      <a:pt x="69" y="194"/>
                    </a:lnTo>
                    <a:lnTo>
                      <a:pt x="72" y="197"/>
                    </a:lnTo>
                    <a:lnTo>
                      <a:pt x="76" y="200"/>
                    </a:lnTo>
                    <a:lnTo>
                      <a:pt x="76" y="200"/>
                    </a:lnTo>
                    <a:lnTo>
                      <a:pt x="81" y="199"/>
                    </a:lnTo>
                    <a:lnTo>
                      <a:pt x="85" y="197"/>
                    </a:lnTo>
                    <a:lnTo>
                      <a:pt x="85" y="197"/>
                    </a:lnTo>
                    <a:lnTo>
                      <a:pt x="88" y="199"/>
                    </a:lnTo>
                    <a:lnTo>
                      <a:pt x="89" y="202"/>
                    </a:lnTo>
                    <a:lnTo>
                      <a:pt x="92" y="205"/>
                    </a:lnTo>
                    <a:lnTo>
                      <a:pt x="95" y="208"/>
                    </a:lnTo>
                    <a:lnTo>
                      <a:pt x="95" y="208"/>
                    </a:lnTo>
                    <a:lnTo>
                      <a:pt x="101" y="209"/>
                    </a:lnTo>
                    <a:lnTo>
                      <a:pt x="108" y="209"/>
                    </a:lnTo>
                    <a:lnTo>
                      <a:pt x="121" y="210"/>
                    </a:lnTo>
                    <a:lnTo>
                      <a:pt x="121" y="210"/>
                    </a:lnTo>
                    <a:lnTo>
                      <a:pt x="127" y="212"/>
                    </a:lnTo>
                    <a:lnTo>
                      <a:pt x="130" y="213"/>
                    </a:lnTo>
                    <a:lnTo>
                      <a:pt x="130" y="213"/>
                    </a:lnTo>
                    <a:lnTo>
                      <a:pt x="133" y="212"/>
                    </a:lnTo>
                    <a:lnTo>
                      <a:pt x="136" y="209"/>
                    </a:lnTo>
                    <a:lnTo>
                      <a:pt x="136" y="209"/>
                    </a:lnTo>
                    <a:lnTo>
                      <a:pt x="137" y="209"/>
                    </a:lnTo>
                    <a:lnTo>
                      <a:pt x="139" y="210"/>
                    </a:lnTo>
                    <a:lnTo>
                      <a:pt x="139" y="212"/>
                    </a:lnTo>
                    <a:lnTo>
                      <a:pt x="140" y="212"/>
                    </a:lnTo>
                    <a:lnTo>
                      <a:pt x="140" y="212"/>
                    </a:lnTo>
                    <a:lnTo>
                      <a:pt x="152" y="210"/>
                    </a:lnTo>
                    <a:lnTo>
                      <a:pt x="168" y="208"/>
                    </a:lnTo>
                    <a:lnTo>
                      <a:pt x="168" y="208"/>
                    </a:lnTo>
                    <a:lnTo>
                      <a:pt x="185" y="205"/>
                    </a:lnTo>
                    <a:lnTo>
                      <a:pt x="185" y="205"/>
                    </a:lnTo>
                    <a:lnTo>
                      <a:pt x="189" y="206"/>
                    </a:lnTo>
                    <a:lnTo>
                      <a:pt x="192" y="210"/>
                    </a:lnTo>
                    <a:lnTo>
                      <a:pt x="197" y="216"/>
                    </a:lnTo>
                    <a:lnTo>
                      <a:pt x="201" y="221"/>
                    </a:lnTo>
                    <a:lnTo>
                      <a:pt x="201" y="221"/>
                    </a:lnTo>
                    <a:lnTo>
                      <a:pt x="202" y="221"/>
                    </a:lnTo>
                    <a:lnTo>
                      <a:pt x="204" y="221"/>
                    </a:lnTo>
                    <a:lnTo>
                      <a:pt x="204" y="215"/>
                    </a:lnTo>
                    <a:lnTo>
                      <a:pt x="204" y="215"/>
                    </a:lnTo>
                    <a:lnTo>
                      <a:pt x="205" y="212"/>
                    </a:lnTo>
                    <a:lnTo>
                      <a:pt x="207" y="210"/>
                    </a:lnTo>
                    <a:lnTo>
                      <a:pt x="210" y="209"/>
                    </a:lnTo>
                    <a:lnTo>
                      <a:pt x="213" y="209"/>
                    </a:lnTo>
                    <a:lnTo>
                      <a:pt x="213" y="209"/>
                    </a:lnTo>
                    <a:lnTo>
                      <a:pt x="214" y="209"/>
                    </a:lnTo>
                    <a:lnTo>
                      <a:pt x="214" y="212"/>
                    </a:lnTo>
                    <a:lnTo>
                      <a:pt x="213" y="216"/>
                    </a:lnTo>
                    <a:lnTo>
                      <a:pt x="213" y="216"/>
                    </a:lnTo>
                    <a:lnTo>
                      <a:pt x="213" y="219"/>
                    </a:lnTo>
                    <a:lnTo>
                      <a:pt x="213" y="223"/>
                    </a:lnTo>
                    <a:lnTo>
                      <a:pt x="214" y="228"/>
                    </a:lnTo>
                    <a:lnTo>
                      <a:pt x="217" y="232"/>
                    </a:lnTo>
                    <a:lnTo>
                      <a:pt x="217" y="232"/>
                    </a:lnTo>
                    <a:lnTo>
                      <a:pt x="220" y="235"/>
                    </a:lnTo>
                    <a:lnTo>
                      <a:pt x="223" y="236"/>
                    </a:lnTo>
                    <a:lnTo>
                      <a:pt x="231" y="241"/>
                    </a:lnTo>
                    <a:lnTo>
                      <a:pt x="231" y="241"/>
                    </a:lnTo>
                    <a:lnTo>
                      <a:pt x="236" y="244"/>
                    </a:lnTo>
                    <a:lnTo>
                      <a:pt x="240" y="245"/>
                    </a:lnTo>
                    <a:lnTo>
                      <a:pt x="249" y="245"/>
                    </a:lnTo>
                    <a:lnTo>
                      <a:pt x="249" y="245"/>
                    </a:lnTo>
                    <a:lnTo>
                      <a:pt x="253" y="247"/>
                    </a:lnTo>
                    <a:lnTo>
                      <a:pt x="256" y="248"/>
                    </a:lnTo>
                    <a:lnTo>
                      <a:pt x="257" y="251"/>
                    </a:lnTo>
                    <a:lnTo>
                      <a:pt x="256" y="252"/>
                    </a:lnTo>
                    <a:lnTo>
                      <a:pt x="256" y="252"/>
                    </a:lnTo>
                    <a:lnTo>
                      <a:pt x="253" y="257"/>
                    </a:lnTo>
                    <a:lnTo>
                      <a:pt x="253" y="263"/>
                    </a:lnTo>
                    <a:lnTo>
                      <a:pt x="255" y="268"/>
                    </a:lnTo>
                    <a:lnTo>
                      <a:pt x="256" y="273"/>
                    </a:lnTo>
                    <a:lnTo>
                      <a:pt x="256" y="273"/>
                    </a:lnTo>
                    <a:lnTo>
                      <a:pt x="259" y="280"/>
                    </a:lnTo>
                    <a:lnTo>
                      <a:pt x="260" y="283"/>
                    </a:lnTo>
                    <a:lnTo>
                      <a:pt x="263" y="284"/>
                    </a:lnTo>
                    <a:lnTo>
                      <a:pt x="263" y="284"/>
                    </a:lnTo>
                    <a:lnTo>
                      <a:pt x="266" y="286"/>
                    </a:lnTo>
                    <a:lnTo>
                      <a:pt x="268" y="287"/>
                    </a:lnTo>
                    <a:lnTo>
                      <a:pt x="268" y="297"/>
                    </a:lnTo>
                    <a:lnTo>
                      <a:pt x="268" y="297"/>
                    </a:lnTo>
                    <a:lnTo>
                      <a:pt x="269" y="305"/>
                    </a:lnTo>
                    <a:lnTo>
                      <a:pt x="272" y="310"/>
                    </a:lnTo>
                    <a:lnTo>
                      <a:pt x="276" y="315"/>
                    </a:lnTo>
                    <a:lnTo>
                      <a:pt x="278" y="321"/>
                    </a:lnTo>
                    <a:lnTo>
                      <a:pt x="278" y="321"/>
                    </a:lnTo>
                    <a:lnTo>
                      <a:pt x="276" y="323"/>
                    </a:lnTo>
                    <a:lnTo>
                      <a:pt x="275" y="325"/>
                    </a:lnTo>
                    <a:lnTo>
                      <a:pt x="270" y="326"/>
                    </a:lnTo>
                    <a:lnTo>
                      <a:pt x="270" y="326"/>
                    </a:lnTo>
                    <a:lnTo>
                      <a:pt x="270" y="329"/>
                    </a:lnTo>
                    <a:lnTo>
                      <a:pt x="272" y="332"/>
                    </a:lnTo>
                    <a:lnTo>
                      <a:pt x="276" y="336"/>
                    </a:lnTo>
                    <a:lnTo>
                      <a:pt x="276" y="336"/>
                    </a:lnTo>
                    <a:lnTo>
                      <a:pt x="276" y="338"/>
                    </a:lnTo>
                    <a:lnTo>
                      <a:pt x="276" y="338"/>
                    </a:lnTo>
                    <a:lnTo>
                      <a:pt x="272" y="339"/>
                    </a:lnTo>
                    <a:lnTo>
                      <a:pt x="263" y="342"/>
                    </a:lnTo>
                    <a:lnTo>
                      <a:pt x="263" y="342"/>
                    </a:lnTo>
                    <a:lnTo>
                      <a:pt x="259" y="345"/>
                    </a:lnTo>
                    <a:lnTo>
                      <a:pt x="255" y="349"/>
                    </a:lnTo>
                    <a:lnTo>
                      <a:pt x="252" y="355"/>
                    </a:lnTo>
                    <a:lnTo>
                      <a:pt x="249" y="360"/>
                    </a:lnTo>
                    <a:lnTo>
                      <a:pt x="249" y="360"/>
                    </a:lnTo>
                    <a:lnTo>
                      <a:pt x="250" y="365"/>
                    </a:lnTo>
                    <a:lnTo>
                      <a:pt x="253" y="371"/>
                    </a:lnTo>
                    <a:lnTo>
                      <a:pt x="260" y="381"/>
                    </a:lnTo>
                    <a:lnTo>
                      <a:pt x="260" y="381"/>
                    </a:lnTo>
                    <a:lnTo>
                      <a:pt x="260" y="386"/>
                    </a:lnTo>
                    <a:lnTo>
                      <a:pt x="257" y="389"/>
                    </a:lnTo>
                    <a:lnTo>
                      <a:pt x="250" y="393"/>
                    </a:lnTo>
                    <a:lnTo>
                      <a:pt x="250" y="393"/>
                    </a:lnTo>
                    <a:lnTo>
                      <a:pt x="247" y="393"/>
                    </a:lnTo>
                    <a:lnTo>
                      <a:pt x="246" y="393"/>
                    </a:lnTo>
                    <a:lnTo>
                      <a:pt x="241" y="391"/>
                    </a:lnTo>
                    <a:lnTo>
                      <a:pt x="241" y="391"/>
                    </a:lnTo>
                    <a:lnTo>
                      <a:pt x="237" y="391"/>
                    </a:lnTo>
                    <a:lnTo>
                      <a:pt x="230" y="393"/>
                    </a:lnTo>
                    <a:lnTo>
                      <a:pt x="230" y="393"/>
                    </a:lnTo>
                    <a:lnTo>
                      <a:pt x="227" y="393"/>
                    </a:lnTo>
                    <a:lnTo>
                      <a:pt x="223" y="391"/>
                    </a:lnTo>
                    <a:lnTo>
                      <a:pt x="218" y="387"/>
                    </a:lnTo>
                    <a:lnTo>
                      <a:pt x="218" y="387"/>
                    </a:lnTo>
                    <a:lnTo>
                      <a:pt x="215" y="387"/>
                    </a:lnTo>
                    <a:lnTo>
                      <a:pt x="210" y="387"/>
                    </a:lnTo>
                    <a:lnTo>
                      <a:pt x="204" y="387"/>
                    </a:lnTo>
                    <a:lnTo>
                      <a:pt x="201" y="389"/>
                    </a:lnTo>
                    <a:lnTo>
                      <a:pt x="201" y="389"/>
                    </a:lnTo>
                    <a:lnTo>
                      <a:pt x="194" y="394"/>
                    </a:lnTo>
                    <a:lnTo>
                      <a:pt x="194" y="394"/>
                    </a:lnTo>
                    <a:lnTo>
                      <a:pt x="192" y="397"/>
                    </a:lnTo>
                    <a:lnTo>
                      <a:pt x="194" y="399"/>
                    </a:lnTo>
                    <a:lnTo>
                      <a:pt x="198" y="402"/>
                    </a:lnTo>
                    <a:lnTo>
                      <a:pt x="198" y="402"/>
                    </a:lnTo>
                    <a:lnTo>
                      <a:pt x="199" y="405"/>
                    </a:lnTo>
                    <a:lnTo>
                      <a:pt x="199" y="409"/>
                    </a:lnTo>
                    <a:lnTo>
                      <a:pt x="198" y="418"/>
                    </a:lnTo>
                    <a:lnTo>
                      <a:pt x="198" y="418"/>
                    </a:lnTo>
                    <a:lnTo>
                      <a:pt x="195" y="420"/>
                    </a:lnTo>
                    <a:lnTo>
                      <a:pt x="192" y="422"/>
                    </a:lnTo>
                    <a:lnTo>
                      <a:pt x="189" y="425"/>
                    </a:lnTo>
                    <a:lnTo>
                      <a:pt x="188" y="428"/>
                    </a:lnTo>
                    <a:lnTo>
                      <a:pt x="188" y="428"/>
                    </a:lnTo>
                    <a:lnTo>
                      <a:pt x="188" y="432"/>
                    </a:lnTo>
                    <a:lnTo>
                      <a:pt x="191" y="439"/>
                    </a:lnTo>
                    <a:lnTo>
                      <a:pt x="198" y="449"/>
                    </a:lnTo>
                    <a:lnTo>
                      <a:pt x="198" y="449"/>
                    </a:lnTo>
                    <a:lnTo>
                      <a:pt x="201" y="451"/>
                    </a:lnTo>
                    <a:lnTo>
                      <a:pt x="207" y="452"/>
                    </a:lnTo>
                    <a:lnTo>
                      <a:pt x="211" y="452"/>
                    </a:lnTo>
                    <a:lnTo>
                      <a:pt x="217" y="452"/>
                    </a:lnTo>
                    <a:lnTo>
                      <a:pt x="217" y="452"/>
                    </a:lnTo>
                    <a:lnTo>
                      <a:pt x="228" y="447"/>
                    </a:lnTo>
                    <a:lnTo>
                      <a:pt x="236" y="442"/>
                    </a:lnTo>
                    <a:lnTo>
                      <a:pt x="240" y="442"/>
                    </a:lnTo>
                    <a:lnTo>
                      <a:pt x="240" y="442"/>
                    </a:lnTo>
                    <a:lnTo>
                      <a:pt x="247" y="444"/>
                    </a:lnTo>
                    <a:lnTo>
                      <a:pt x="255" y="447"/>
                    </a:lnTo>
                    <a:lnTo>
                      <a:pt x="255" y="447"/>
                    </a:lnTo>
                    <a:lnTo>
                      <a:pt x="260" y="448"/>
                    </a:lnTo>
                    <a:lnTo>
                      <a:pt x="260" y="447"/>
                    </a:lnTo>
                    <a:lnTo>
                      <a:pt x="262" y="445"/>
                    </a:lnTo>
                    <a:lnTo>
                      <a:pt x="262" y="445"/>
                    </a:lnTo>
                    <a:lnTo>
                      <a:pt x="262" y="444"/>
                    </a:lnTo>
                    <a:lnTo>
                      <a:pt x="263" y="444"/>
                    </a:lnTo>
                    <a:lnTo>
                      <a:pt x="268" y="447"/>
                    </a:lnTo>
                    <a:lnTo>
                      <a:pt x="275" y="452"/>
                    </a:lnTo>
                    <a:lnTo>
                      <a:pt x="275" y="452"/>
                    </a:lnTo>
                    <a:lnTo>
                      <a:pt x="276" y="455"/>
                    </a:lnTo>
                    <a:lnTo>
                      <a:pt x="276" y="460"/>
                    </a:lnTo>
                    <a:lnTo>
                      <a:pt x="276" y="462"/>
                    </a:lnTo>
                    <a:lnTo>
                      <a:pt x="276" y="465"/>
                    </a:lnTo>
                    <a:lnTo>
                      <a:pt x="276" y="465"/>
                    </a:lnTo>
                    <a:lnTo>
                      <a:pt x="279" y="468"/>
                    </a:lnTo>
                    <a:lnTo>
                      <a:pt x="282" y="468"/>
                    </a:lnTo>
                    <a:lnTo>
                      <a:pt x="288" y="468"/>
                    </a:lnTo>
                    <a:lnTo>
                      <a:pt x="288" y="468"/>
                    </a:lnTo>
                    <a:lnTo>
                      <a:pt x="292" y="468"/>
                    </a:lnTo>
                    <a:lnTo>
                      <a:pt x="294" y="470"/>
                    </a:lnTo>
                    <a:lnTo>
                      <a:pt x="299" y="474"/>
                    </a:lnTo>
                    <a:lnTo>
                      <a:pt x="299" y="474"/>
                    </a:lnTo>
                    <a:lnTo>
                      <a:pt x="299" y="474"/>
                    </a:lnTo>
                    <a:lnTo>
                      <a:pt x="299" y="475"/>
                    </a:lnTo>
                    <a:lnTo>
                      <a:pt x="297" y="477"/>
                    </a:lnTo>
                    <a:lnTo>
                      <a:pt x="294" y="478"/>
                    </a:lnTo>
                    <a:lnTo>
                      <a:pt x="291" y="481"/>
                    </a:lnTo>
                    <a:lnTo>
                      <a:pt x="291" y="481"/>
                    </a:lnTo>
                    <a:lnTo>
                      <a:pt x="289" y="484"/>
                    </a:lnTo>
                    <a:lnTo>
                      <a:pt x="292" y="487"/>
                    </a:lnTo>
                    <a:lnTo>
                      <a:pt x="299" y="491"/>
                    </a:lnTo>
                    <a:lnTo>
                      <a:pt x="299" y="491"/>
                    </a:lnTo>
                    <a:lnTo>
                      <a:pt x="304" y="493"/>
                    </a:lnTo>
                    <a:lnTo>
                      <a:pt x="305" y="496"/>
                    </a:lnTo>
                    <a:lnTo>
                      <a:pt x="305" y="499"/>
                    </a:lnTo>
                    <a:lnTo>
                      <a:pt x="307" y="500"/>
                    </a:lnTo>
                    <a:lnTo>
                      <a:pt x="307" y="500"/>
                    </a:lnTo>
                    <a:lnTo>
                      <a:pt x="312" y="506"/>
                    </a:lnTo>
                    <a:lnTo>
                      <a:pt x="315" y="507"/>
                    </a:lnTo>
                    <a:lnTo>
                      <a:pt x="318" y="507"/>
                    </a:lnTo>
                    <a:lnTo>
                      <a:pt x="318" y="507"/>
                    </a:lnTo>
                    <a:lnTo>
                      <a:pt x="320" y="507"/>
                    </a:lnTo>
                    <a:lnTo>
                      <a:pt x="318" y="504"/>
                    </a:lnTo>
                    <a:lnTo>
                      <a:pt x="317" y="502"/>
                    </a:lnTo>
                    <a:lnTo>
                      <a:pt x="317" y="502"/>
                    </a:lnTo>
                    <a:lnTo>
                      <a:pt x="317" y="502"/>
                    </a:lnTo>
                    <a:lnTo>
                      <a:pt x="321" y="503"/>
                    </a:lnTo>
                    <a:lnTo>
                      <a:pt x="330" y="509"/>
                    </a:lnTo>
                    <a:lnTo>
                      <a:pt x="330" y="509"/>
                    </a:lnTo>
                    <a:lnTo>
                      <a:pt x="336" y="512"/>
                    </a:lnTo>
                    <a:lnTo>
                      <a:pt x="337" y="515"/>
                    </a:lnTo>
                    <a:lnTo>
                      <a:pt x="337" y="515"/>
                    </a:lnTo>
                    <a:lnTo>
                      <a:pt x="340" y="516"/>
                    </a:lnTo>
                    <a:lnTo>
                      <a:pt x="347" y="517"/>
                    </a:lnTo>
                    <a:lnTo>
                      <a:pt x="357" y="519"/>
                    </a:lnTo>
                    <a:lnTo>
                      <a:pt x="357" y="519"/>
                    </a:lnTo>
                    <a:lnTo>
                      <a:pt x="362" y="520"/>
                    </a:lnTo>
                    <a:lnTo>
                      <a:pt x="367" y="528"/>
                    </a:lnTo>
                    <a:lnTo>
                      <a:pt x="375" y="533"/>
                    </a:lnTo>
                    <a:lnTo>
                      <a:pt x="381" y="538"/>
                    </a:lnTo>
                    <a:lnTo>
                      <a:pt x="381" y="538"/>
                    </a:lnTo>
                    <a:lnTo>
                      <a:pt x="383" y="538"/>
                    </a:lnTo>
                    <a:lnTo>
                      <a:pt x="385" y="538"/>
                    </a:lnTo>
                    <a:lnTo>
                      <a:pt x="388" y="535"/>
                    </a:lnTo>
                    <a:lnTo>
                      <a:pt x="391" y="528"/>
                    </a:lnTo>
                    <a:lnTo>
                      <a:pt x="391" y="528"/>
                    </a:lnTo>
                    <a:lnTo>
                      <a:pt x="391" y="525"/>
                    </a:lnTo>
                    <a:lnTo>
                      <a:pt x="389" y="523"/>
                    </a:lnTo>
                    <a:lnTo>
                      <a:pt x="388" y="517"/>
                    </a:lnTo>
                    <a:lnTo>
                      <a:pt x="388" y="517"/>
                    </a:lnTo>
                    <a:lnTo>
                      <a:pt x="388" y="515"/>
                    </a:lnTo>
                    <a:lnTo>
                      <a:pt x="385" y="510"/>
                    </a:lnTo>
                    <a:lnTo>
                      <a:pt x="382" y="507"/>
                    </a:lnTo>
                    <a:lnTo>
                      <a:pt x="379" y="506"/>
                    </a:lnTo>
                    <a:lnTo>
                      <a:pt x="379" y="506"/>
                    </a:lnTo>
                    <a:lnTo>
                      <a:pt x="376" y="504"/>
                    </a:lnTo>
                    <a:lnTo>
                      <a:pt x="372" y="500"/>
                    </a:lnTo>
                    <a:lnTo>
                      <a:pt x="363" y="493"/>
                    </a:lnTo>
                    <a:lnTo>
                      <a:pt x="363" y="493"/>
                    </a:lnTo>
                    <a:lnTo>
                      <a:pt x="360" y="489"/>
                    </a:lnTo>
                    <a:lnTo>
                      <a:pt x="360" y="487"/>
                    </a:lnTo>
                    <a:lnTo>
                      <a:pt x="360" y="486"/>
                    </a:lnTo>
                    <a:lnTo>
                      <a:pt x="362" y="484"/>
                    </a:lnTo>
                    <a:lnTo>
                      <a:pt x="362" y="484"/>
                    </a:lnTo>
                    <a:lnTo>
                      <a:pt x="360" y="483"/>
                    </a:lnTo>
                    <a:lnTo>
                      <a:pt x="359" y="483"/>
                    </a:lnTo>
                    <a:lnTo>
                      <a:pt x="356" y="483"/>
                    </a:lnTo>
                    <a:lnTo>
                      <a:pt x="356" y="483"/>
                    </a:lnTo>
                    <a:lnTo>
                      <a:pt x="354" y="484"/>
                    </a:lnTo>
                    <a:lnTo>
                      <a:pt x="352" y="483"/>
                    </a:lnTo>
                    <a:lnTo>
                      <a:pt x="349" y="478"/>
                    </a:lnTo>
                    <a:lnTo>
                      <a:pt x="349" y="478"/>
                    </a:lnTo>
                    <a:lnTo>
                      <a:pt x="344" y="470"/>
                    </a:lnTo>
                    <a:lnTo>
                      <a:pt x="341" y="465"/>
                    </a:lnTo>
                    <a:lnTo>
                      <a:pt x="341" y="465"/>
                    </a:lnTo>
                    <a:lnTo>
                      <a:pt x="341" y="465"/>
                    </a:lnTo>
                    <a:lnTo>
                      <a:pt x="343" y="465"/>
                    </a:lnTo>
                    <a:lnTo>
                      <a:pt x="346" y="467"/>
                    </a:lnTo>
                    <a:lnTo>
                      <a:pt x="346" y="467"/>
                    </a:lnTo>
                    <a:lnTo>
                      <a:pt x="347" y="467"/>
                    </a:lnTo>
                    <a:lnTo>
                      <a:pt x="349" y="464"/>
                    </a:lnTo>
                    <a:lnTo>
                      <a:pt x="349" y="464"/>
                    </a:lnTo>
                    <a:lnTo>
                      <a:pt x="350" y="465"/>
                    </a:lnTo>
                    <a:lnTo>
                      <a:pt x="353" y="468"/>
                    </a:lnTo>
                    <a:lnTo>
                      <a:pt x="360" y="475"/>
                    </a:lnTo>
                    <a:lnTo>
                      <a:pt x="360" y="475"/>
                    </a:lnTo>
                    <a:lnTo>
                      <a:pt x="362" y="477"/>
                    </a:lnTo>
                    <a:lnTo>
                      <a:pt x="363" y="477"/>
                    </a:lnTo>
                    <a:lnTo>
                      <a:pt x="365" y="474"/>
                    </a:lnTo>
                    <a:lnTo>
                      <a:pt x="365" y="474"/>
                    </a:lnTo>
                    <a:lnTo>
                      <a:pt x="366" y="474"/>
                    </a:lnTo>
                    <a:lnTo>
                      <a:pt x="367" y="477"/>
                    </a:lnTo>
                    <a:lnTo>
                      <a:pt x="373" y="484"/>
                    </a:lnTo>
                    <a:lnTo>
                      <a:pt x="373" y="484"/>
                    </a:lnTo>
                    <a:lnTo>
                      <a:pt x="381" y="490"/>
                    </a:lnTo>
                    <a:lnTo>
                      <a:pt x="386" y="494"/>
                    </a:lnTo>
                    <a:lnTo>
                      <a:pt x="386" y="494"/>
                    </a:lnTo>
                    <a:lnTo>
                      <a:pt x="388" y="497"/>
                    </a:lnTo>
                    <a:lnTo>
                      <a:pt x="392" y="499"/>
                    </a:lnTo>
                    <a:lnTo>
                      <a:pt x="399" y="502"/>
                    </a:lnTo>
                    <a:lnTo>
                      <a:pt x="399" y="502"/>
                    </a:lnTo>
                    <a:lnTo>
                      <a:pt x="401" y="504"/>
                    </a:lnTo>
                    <a:lnTo>
                      <a:pt x="401" y="506"/>
                    </a:lnTo>
                    <a:lnTo>
                      <a:pt x="398" y="512"/>
                    </a:lnTo>
                    <a:lnTo>
                      <a:pt x="398" y="512"/>
                    </a:lnTo>
                    <a:lnTo>
                      <a:pt x="399" y="515"/>
                    </a:lnTo>
                    <a:lnTo>
                      <a:pt x="401" y="515"/>
                    </a:lnTo>
                    <a:lnTo>
                      <a:pt x="404" y="515"/>
                    </a:lnTo>
                    <a:lnTo>
                      <a:pt x="404" y="515"/>
                    </a:lnTo>
                    <a:lnTo>
                      <a:pt x="407" y="516"/>
                    </a:lnTo>
                    <a:lnTo>
                      <a:pt x="411" y="519"/>
                    </a:lnTo>
                    <a:lnTo>
                      <a:pt x="411" y="519"/>
                    </a:lnTo>
                    <a:lnTo>
                      <a:pt x="411" y="519"/>
                    </a:lnTo>
                    <a:lnTo>
                      <a:pt x="412" y="519"/>
                    </a:lnTo>
                    <a:lnTo>
                      <a:pt x="414" y="516"/>
                    </a:lnTo>
                    <a:lnTo>
                      <a:pt x="417" y="510"/>
                    </a:lnTo>
                    <a:lnTo>
                      <a:pt x="417" y="510"/>
                    </a:lnTo>
                    <a:lnTo>
                      <a:pt x="415" y="509"/>
                    </a:lnTo>
                    <a:lnTo>
                      <a:pt x="412" y="507"/>
                    </a:lnTo>
                    <a:lnTo>
                      <a:pt x="409" y="507"/>
                    </a:lnTo>
                    <a:lnTo>
                      <a:pt x="408" y="506"/>
                    </a:lnTo>
                    <a:lnTo>
                      <a:pt x="408" y="506"/>
                    </a:lnTo>
                    <a:lnTo>
                      <a:pt x="408" y="500"/>
                    </a:lnTo>
                    <a:lnTo>
                      <a:pt x="409" y="494"/>
                    </a:lnTo>
                    <a:lnTo>
                      <a:pt x="409" y="494"/>
                    </a:lnTo>
                    <a:lnTo>
                      <a:pt x="409" y="489"/>
                    </a:lnTo>
                    <a:lnTo>
                      <a:pt x="408" y="484"/>
                    </a:lnTo>
                    <a:lnTo>
                      <a:pt x="408" y="484"/>
                    </a:lnTo>
                    <a:lnTo>
                      <a:pt x="408" y="483"/>
                    </a:lnTo>
                    <a:lnTo>
                      <a:pt x="409" y="484"/>
                    </a:lnTo>
                    <a:lnTo>
                      <a:pt x="412" y="486"/>
                    </a:lnTo>
                    <a:lnTo>
                      <a:pt x="412" y="486"/>
                    </a:lnTo>
                    <a:lnTo>
                      <a:pt x="414" y="487"/>
                    </a:lnTo>
                    <a:lnTo>
                      <a:pt x="415" y="486"/>
                    </a:lnTo>
                    <a:lnTo>
                      <a:pt x="420" y="484"/>
                    </a:lnTo>
                    <a:lnTo>
                      <a:pt x="420" y="484"/>
                    </a:lnTo>
                    <a:lnTo>
                      <a:pt x="421" y="484"/>
                    </a:lnTo>
                    <a:lnTo>
                      <a:pt x="421" y="484"/>
                    </a:lnTo>
                    <a:lnTo>
                      <a:pt x="420" y="481"/>
                    </a:lnTo>
                    <a:lnTo>
                      <a:pt x="418" y="478"/>
                    </a:lnTo>
                    <a:lnTo>
                      <a:pt x="418" y="475"/>
                    </a:lnTo>
                    <a:lnTo>
                      <a:pt x="418" y="475"/>
                    </a:lnTo>
                    <a:lnTo>
                      <a:pt x="418" y="474"/>
                    </a:lnTo>
                    <a:lnTo>
                      <a:pt x="417" y="471"/>
                    </a:lnTo>
                    <a:lnTo>
                      <a:pt x="412" y="468"/>
                    </a:lnTo>
                    <a:lnTo>
                      <a:pt x="412" y="468"/>
                    </a:lnTo>
                    <a:lnTo>
                      <a:pt x="411" y="462"/>
                    </a:lnTo>
                    <a:lnTo>
                      <a:pt x="409" y="460"/>
                    </a:lnTo>
                    <a:lnTo>
                      <a:pt x="407" y="457"/>
                    </a:lnTo>
                    <a:lnTo>
                      <a:pt x="407" y="457"/>
                    </a:lnTo>
                    <a:lnTo>
                      <a:pt x="404" y="454"/>
                    </a:lnTo>
                    <a:lnTo>
                      <a:pt x="402" y="448"/>
                    </a:lnTo>
                    <a:lnTo>
                      <a:pt x="399" y="444"/>
                    </a:lnTo>
                    <a:lnTo>
                      <a:pt x="396" y="439"/>
                    </a:lnTo>
                    <a:lnTo>
                      <a:pt x="396" y="439"/>
                    </a:lnTo>
                    <a:lnTo>
                      <a:pt x="394" y="435"/>
                    </a:lnTo>
                    <a:lnTo>
                      <a:pt x="392" y="432"/>
                    </a:lnTo>
                    <a:lnTo>
                      <a:pt x="389" y="426"/>
                    </a:lnTo>
                    <a:lnTo>
                      <a:pt x="389" y="426"/>
                    </a:lnTo>
                    <a:lnTo>
                      <a:pt x="388" y="426"/>
                    </a:lnTo>
                    <a:lnTo>
                      <a:pt x="388" y="426"/>
                    </a:lnTo>
                    <a:lnTo>
                      <a:pt x="385" y="429"/>
                    </a:lnTo>
                    <a:lnTo>
                      <a:pt x="385" y="429"/>
                    </a:lnTo>
                    <a:lnTo>
                      <a:pt x="385" y="429"/>
                    </a:lnTo>
                    <a:lnTo>
                      <a:pt x="383" y="428"/>
                    </a:lnTo>
                    <a:lnTo>
                      <a:pt x="382" y="426"/>
                    </a:lnTo>
                    <a:lnTo>
                      <a:pt x="379" y="425"/>
                    </a:lnTo>
                    <a:lnTo>
                      <a:pt x="379" y="425"/>
                    </a:lnTo>
                    <a:lnTo>
                      <a:pt x="375" y="423"/>
                    </a:lnTo>
                    <a:lnTo>
                      <a:pt x="370" y="423"/>
                    </a:lnTo>
                    <a:lnTo>
                      <a:pt x="370" y="423"/>
                    </a:lnTo>
                    <a:lnTo>
                      <a:pt x="369" y="422"/>
                    </a:lnTo>
                    <a:lnTo>
                      <a:pt x="369" y="419"/>
                    </a:lnTo>
                    <a:lnTo>
                      <a:pt x="370" y="416"/>
                    </a:lnTo>
                    <a:lnTo>
                      <a:pt x="373" y="415"/>
                    </a:lnTo>
                    <a:lnTo>
                      <a:pt x="373" y="415"/>
                    </a:lnTo>
                    <a:lnTo>
                      <a:pt x="375" y="413"/>
                    </a:lnTo>
                    <a:lnTo>
                      <a:pt x="375" y="412"/>
                    </a:lnTo>
                    <a:lnTo>
                      <a:pt x="370" y="407"/>
                    </a:lnTo>
                    <a:lnTo>
                      <a:pt x="370" y="407"/>
                    </a:lnTo>
                    <a:lnTo>
                      <a:pt x="369" y="403"/>
                    </a:lnTo>
                    <a:lnTo>
                      <a:pt x="367" y="402"/>
                    </a:lnTo>
                    <a:lnTo>
                      <a:pt x="366" y="402"/>
                    </a:lnTo>
                    <a:lnTo>
                      <a:pt x="366" y="402"/>
                    </a:lnTo>
                    <a:lnTo>
                      <a:pt x="365" y="400"/>
                    </a:lnTo>
                    <a:lnTo>
                      <a:pt x="365" y="399"/>
                    </a:lnTo>
                    <a:lnTo>
                      <a:pt x="365" y="394"/>
                    </a:lnTo>
                    <a:lnTo>
                      <a:pt x="365" y="394"/>
                    </a:lnTo>
                    <a:lnTo>
                      <a:pt x="365" y="393"/>
                    </a:lnTo>
                    <a:lnTo>
                      <a:pt x="362" y="393"/>
                    </a:lnTo>
                    <a:lnTo>
                      <a:pt x="359" y="393"/>
                    </a:lnTo>
                    <a:lnTo>
                      <a:pt x="357" y="391"/>
                    </a:lnTo>
                    <a:lnTo>
                      <a:pt x="357" y="391"/>
                    </a:lnTo>
                    <a:lnTo>
                      <a:pt x="357" y="389"/>
                    </a:lnTo>
                    <a:lnTo>
                      <a:pt x="360" y="386"/>
                    </a:lnTo>
                    <a:lnTo>
                      <a:pt x="362" y="384"/>
                    </a:lnTo>
                    <a:lnTo>
                      <a:pt x="362" y="384"/>
                    </a:lnTo>
                    <a:lnTo>
                      <a:pt x="363" y="383"/>
                    </a:lnTo>
                    <a:lnTo>
                      <a:pt x="362" y="381"/>
                    </a:lnTo>
                    <a:lnTo>
                      <a:pt x="357" y="378"/>
                    </a:lnTo>
                    <a:lnTo>
                      <a:pt x="357" y="378"/>
                    </a:lnTo>
                    <a:lnTo>
                      <a:pt x="357" y="377"/>
                    </a:lnTo>
                    <a:lnTo>
                      <a:pt x="357" y="376"/>
                    </a:lnTo>
                    <a:lnTo>
                      <a:pt x="360" y="374"/>
                    </a:lnTo>
                    <a:lnTo>
                      <a:pt x="360" y="374"/>
                    </a:lnTo>
                    <a:lnTo>
                      <a:pt x="362" y="373"/>
                    </a:lnTo>
                    <a:lnTo>
                      <a:pt x="363" y="370"/>
                    </a:lnTo>
                    <a:lnTo>
                      <a:pt x="365" y="367"/>
                    </a:lnTo>
                    <a:lnTo>
                      <a:pt x="366" y="365"/>
                    </a:lnTo>
                    <a:lnTo>
                      <a:pt x="366" y="365"/>
                    </a:lnTo>
                    <a:lnTo>
                      <a:pt x="370" y="364"/>
                    </a:lnTo>
                    <a:lnTo>
                      <a:pt x="373" y="361"/>
                    </a:lnTo>
                    <a:lnTo>
                      <a:pt x="373" y="361"/>
                    </a:lnTo>
                    <a:lnTo>
                      <a:pt x="375" y="363"/>
                    </a:lnTo>
                    <a:lnTo>
                      <a:pt x="376" y="364"/>
                    </a:lnTo>
                    <a:lnTo>
                      <a:pt x="378" y="371"/>
                    </a:lnTo>
                    <a:lnTo>
                      <a:pt x="378" y="371"/>
                    </a:lnTo>
                    <a:lnTo>
                      <a:pt x="381" y="376"/>
                    </a:lnTo>
                    <a:lnTo>
                      <a:pt x="383" y="381"/>
                    </a:lnTo>
                    <a:lnTo>
                      <a:pt x="383" y="381"/>
                    </a:lnTo>
                    <a:lnTo>
                      <a:pt x="386" y="381"/>
                    </a:lnTo>
                    <a:lnTo>
                      <a:pt x="388" y="380"/>
                    </a:lnTo>
                    <a:lnTo>
                      <a:pt x="391" y="377"/>
                    </a:lnTo>
                    <a:lnTo>
                      <a:pt x="391" y="377"/>
                    </a:lnTo>
                    <a:lnTo>
                      <a:pt x="392" y="377"/>
                    </a:lnTo>
                    <a:lnTo>
                      <a:pt x="392" y="378"/>
                    </a:lnTo>
                    <a:lnTo>
                      <a:pt x="391" y="383"/>
                    </a:lnTo>
                    <a:lnTo>
                      <a:pt x="391" y="383"/>
                    </a:lnTo>
                    <a:lnTo>
                      <a:pt x="392" y="384"/>
                    </a:lnTo>
                    <a:lnTo>
                      <a:pt x="394" y="384"/>
                    </a:lnTo>
                    <a:lnTo>
                      <a:pt x="398" y="384"/>
                    </a:lnTo>
                    <a:lnTo>
                      <a:pt x="398" y="384"/>
                    </a:lnTo>
                    <a:lnTo>
                      <a:pt x="401" y="384"/>
                    </a:lnTo>
                    <a:lnTo>
                      <a:pt x="399" y="386"/>
                    </a:lnTo>
                    <a:lnTo>
                      <a:pt x="395" y="390"/>
                    </a:lnTo>
                    <a:lnTo>
                      <a:pt x="395" y="390"/>
                    </a:lnTo>
                    <a:lnTo>
                      <a:pt x="395" y="391"/>
                    </a:lnTo>
                    <a:lnTo>
                      <a:pt x="398" y="393"/>
                    </a:lnTo>
                    <a:lnTo>
                      <a:pt x="404" y="396"/>
                    </a:lnTo>
                    <a:lnTo>
                      <a:pt x="404" y="396"/>
                    </a:lnTo>
                    <a:lnTo>
                      <a:pt x="405" y="397"/>
                    </a:lnTo>
                    <a:lnTo>
                      <a:pt x="405" y="397"/>
                    </a:lnTo>
                    <a:lnTo>
                      <a:pt x="402" y="402"/>
                    </a:lnTo>
                    <a:lnTo>
                      <a:pt x="402" y="402"/>
                    </a:lnTo>
                    <a:lnTo>
                      <a:pt x="401" y="403"/>
                    </a:lnTo>
                    <a:lnTo>
                      <a:pt x="402" y="403"/>
                    </a:lnTo>
                    <a:lnTo>
                      <a:pt x="408" y="403"/>
                    </a:lnTo>
                    <a:lnTo>
                      <a:pt x="408" y="403"/>
                    </a:lnTo>
                    <a:lnTo>
                      <a:pt x="409" y="403"/>
                    </a:lnTo>
                    <a:lnTo>
                      <a:pt x="409" y="405"/>
                    </a:lnTo>
                    <a:lnTo>
                      <a:pt x="408" y="407"/>
                    </a:lnTo>
                    <a:lnTo>
                      <a:pt x="405" y="412"/>
                    </a:lnTo>
                    <a:lnTo>
                      <a:pt x="405" y="412"/>
                    </a:lnTo>
                    <a:lnTo>
                      <a:pt x="409" y="412"/>
                    </a:lnTo>
                    <a:lnTo>
                      <a:pt x="417" y="409"/>
                    </a:lnTo>
                    <a:lnTo>
                      <a:pt x="417" y="409"/>
                    </a:lnTo>
                    <a:lnTo>
                      <a:pt x="418" y="409"/>
                    </a:lnTo>
                    <a:lnTo>
                      <a:pt x="420" y="410"/>
                    </a:lnTo>
                    <a:lnTo>
                      <a:pt x="423" y="413"/>
                    </a:lnTo>
                    <a:lnTo>
                      <a:pt x="427" y="416"/>
                    </a:lnTo>
                    <a:lnTo>
                      <a:pt x="430" y="418"/>
                    </a:lnTo>
                    <a:lnTo>
                      <a:pt x="430" y="418"/>
                    </a:lnTo>
                    <a:lnTo>
                      <a:pt x="431" y="418"/>
                    </a:lnTo>
                    <a:lnTo>
                      <a:pt x="431" y="418"/>
                    </a:lnTo>
                    <a:lnTo>
                      <a:pt x="428" y="413"/>
                    </a:lnTo>
                    <a:lnTo>
                      <a:pt x="425" y="409"/>
                    </a:lnTo>
                    <a:lnTo>
                      <a:pt x="424" y="407"/>
                    </a:lnTo>
                    <a:lnTo>
                      <a:pt x="424" y="407"/>
                    </a:lnTo>
                    <a:lnTo>
                      <a:pt x="425" y="406"/>
                    </a:lnTo>
                    <a:lnTo>
                      <a:pt x="425" y="403"/>
                    </a:lnTo>
                    <a:lnTo>
                      <a:pt x="425" y="400"/>
                    </a:lnTo>
                    <a:lnTo>
                      <a:pt x="427" y="399"/>
                    </a:lnTo>
                    <a:lnTo>
                      <a:pt x="427" y="399"/>
                    </a:lnTo>
                    <a:lnTo>
                      <a:pt x="428" y="397"/>
                    </a:lnTo>
                    <a:lnTo>
                      <a:pt x="428" y="396"/>
                    </a:lnTo>
                    <a:lnTo>
                      <a:pt x="428" y="389"/>
                    </a:lnTo>
                    <a:lnTo>
                      <a:pt x="428" y="389"/>
                    </a:lnTo>
                    <a:lnTo>
                      <a:pt x="428" y="389"/>
                    </a:lnTo>
                    <a:lnTo>
                      <a:pt x="430" y="389"/>
                    </a:lnTo>
                    <a:lnTo>
                      <a:pt x="431" y="391"/>
                    </a:lnTo>
                    <a:lnTo>
                      <a:pt x="438" y="399"/>
                    </a:lnTo>
                    <a:lnTo>
                      <a:pt x="438" y="399"/>
                    </a:lnTo>
                    <a:lnTo>
                      <a:pt x="440" y="400"/>
                    </a:lnTo>
                    <a:lnTo>
                      <a:pt x="441" y="399"/>
                    </a:lnTo>
                    <a:lnTo>
                      <a:pt x="441" y="396"/>
                    </a:lnTo>
                    <a:lnTo>
                      <a:pt x="444" y="393"/>
                    </a:lnTo>
                    <a:lnTo>
                      <a:pt x="444" y="393"/>
                    </a:lnTo>
                    <a:lnTo>
                      <a:pt x="447" y="393"/>
                    </a:lnTo>
                    <a:lnTo>
                      <a:pt x="450" y="393"/>
                    </a:lnTo>
                    <a:lnTo>
                      <a:pt x="457" y="393"/>
                    </a:lnTo>
                    <a:lnTo>
                      <a:pt x="457" y="393"/>
                    </a:lnTo>
                    <a:lnTo>
                      <a:pt x="459" y="391"/>
                    </a:lnTo>
                    <a:lnTo>
                      <a:pt x="459" y="389"/>
                    </a:lnTo>
                    <a:lnTo>
                      <a:pt x="457" y="386"/>
                    </a:lnTo>
                    <a:lnTo>
                      <a:pt x="454" y="381"/>
                    </a:lnTo>
                    <a:lnTo>
                      <a:pt x="454" y="381"/>
                    </a:lnTo>
                    <a:lnTo>
                      <a:pt x="447" y="374"/>
                    </a:lnTo>
                    <a:lnTo>
                      <a:pt x="443" y="364"/>
                    </a:lnTo>
                    <a:lnTo>
                      <a:pt x="443" y="364"/>
                    </a:lnTo>
                    <a:lnTo>
                      <a:pt x="443" y="361"/>
                    </a:lnTo>
                    <a:lnTo>
                      <a:pt x="444" y="360"/>
                    </a:lnTo>
                    <a:lnTo>
                      <a:pt x="451" y="36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28" name="Freeform 1183"/>
              <p:cNvSpPr>
                <a:spLocks/>
              </p:cNvSpPr>
              <p:nvPr/>
            </p:nvSpPr>
            <p:spPr bwMode="auto">
              <a:xfrm>
                <a:off x="3248370" y="1939100"/>
                <a:ext cx="30667" cy="41549"/>
              </a:xfrm>
              <a:custGeom>
                <a:avLst/>
                <a:gdLst>
                  <a:gd name="T0" fmla="*/ 29 w 31"/>
                  <a:gd name="T1" fmla="*/ 25 h 42"/>
                  <a:gd name="T2" fmla="*/ 29 w 31"/>
                  <a:gd name="T3" fmla="*/ 25 h 42"/>
                  <a:gd name="T4" fmla="*/ 28 w 31"/>
                  <a:gd name="T5" fmla="*/ 33 h 42"/>
                  <a:gd name="T6" fmla="*/ 27 w 31"/>
                  <a:gd name="T7" fmla="*/ 39 h 42"/>
                  <a:gd name="T8" fmla="*/ 24 w 31"/>
                  <a:gd name="T9" fmla="*/ 42 h 42"/>
                  <a:gd name="T10" fmla="*/ 24 w 31"/>
                  <a:gd name="T11" fmla="*/ 42 h 42"/>
                  <a:gd name="T12" fmla="*/ 18 w 31"/>
                  <a:gd name="T13" fmla="*/ 41 h 42"/>
                  <a:gd name="T14" fmla="*/ 14 w 31"/>
                  <a:gd name="T15" fmla="*/ 41 h 42"/>
                  <a:gd name="T16" fmla="*/ 9 w 31"/>
                  <a:gd name="T17" fmla="*/ 38 h 42"/>
                  <a:gd name="T18" fmla="*/ 9 w 31"/>
                  <a:gd name="T19" fmla="*/ 38 h 42"/>
                  <a:gd name="T20" fmla="*/ 5 w 31"/>
                  <a:gd name="T21" fmla="*/ 33 h 42"/>
                  <a:gd name="T22" fmla="*/ 3 w 31"/>
                  <a:gd name="T23" fmla="*/ 26 h 42"/>
                  <a:gd name="T24" fmla="*/ 3 w 31"/>
                  <a:gd name="T25" fmla="*/ 26 h 42"/>
                  <a:gd name="T26" fmla="*/ 2 w 31"/>
                  <a:gd name="T27" fmla="*/ 20 h 42"/>
                  <a:gd name="T28" fmla="*/ 0 w 31"/>
                  <a:gd name="T29" fmla="*/ 16 h 42"/>
                  <a:gd name="T30" fmla="*/ 0 w 31"/>
                  <a:gd name="T31" fmla="*/ 16 h 42"/>
                  <a:gd name="T32" fmla="*/ 3 w 31"/>
                  <a:gd name="T33" fmla="*/ 16 h 42"/>
                  <a:gd name="T34" fmla="*/ 5 w 31"/>
                  <a:gd name="T35" fmla="*/ 18 h 42"/>
                  <a:gd name="T36" fmla="*/ 8 w 31"/>
                  <a:gd name="T37" fmla="*/ 16 h 42"/>
                  <a:gd name="T38" fmla="*/ 8 w 31"/>
                  <a:gd name="T39" fmla="*/ 16 h 42"/>
                  <a:gd name="T40" fmla="*/ 8 w 31"/>
                  <a:gd name="T41" fmla="*/ 12 h 42"/>
                  <a:gd name="T42" fmla="*/ 6 w 31"/>
                  <a:gd name="T43" fmla="*/ 7 h 42"/>
                  <a:gd name="T44" fmla="*/ 5 w 31"/>
                  <a:gd name="T45" fmla="*/ 2 h 42"/>
                  <a:gd name="T46" fmla="*/ 5 w 31"/>
                  <a:gd name="T47" fmla="*/ 0 h 42"/>
                  <a:gd name="T48" fmla="*/ 6 w 31"/>
                  <a:gd name="T49" fmla="*/ 0 h 42"/>
                  <a:gd name="T50" fmla="*/ 6 w 31"/>
                  <a:gd name="T51" fmla="*/ 0 h 42"/>
                  <a:gd name="T52" fmla="*/ 8 w 31"/>
                  <a:gd name="T53" fmla="*/ 0 h 42"/>
                  <a:gd name="T54" fmla="*/ 9 w 31"/>
                  <a:gd name="T55" fmla="*/ 2 h 42"/>
                  <a:gd name="T56" fmla="*/ 12 w 31"/>
                  <a:gd name="T57" fmla="*/ 3 h 42"/>
                  <a:gd name="T58" fmla="*/ 15 w 31"/>
                  <a:gd name="T59" fmla="*/ 5 h 42"/>
                  <a:gd name="T60" fmla="*/ 15 w 31"/>
                  <a:gd name="T61" fmla="*/ 5 h 42"/>
                  <a:gd name="T62" fmla="*/ 19 w 31"/>
                  <a:gd name="T63" fmla="*/ 6 h 42"/>
                  <a:gd name="T64" fmla="*/ 25 w 31"/>
                  <a:gd name="T65" fmla="*/ 9 h 42"/>
                  <a:gd name="T66" fmla="*/ 29 w 31"/>
                  <a:gd name="T67" fmla="*/ 13 h 42"/>
                  <a:gd name="T68" fmla="*/ 31 w 31"/>
                  <a:gd name="T69" fmla="*/ 16 h 42"/>
                  <a:gd name="T70" fmla="*/ 31 w 31"/>
                  <a:gd name="T71" fmla="*/ 16 h 42"/>
                  <a:gd name="T72" fmla="*/ 29 w 31"/>
                  <a:gd name="T73" fmla="*/ 20 h 42"/>
                  <a:gd name="T74" fmla="*/ 29 w 31"/>
                  <a:gd name="T75" fmla="*/ 2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" h="42">
                    <a:moveTo>
                      <a:pt x="29" y="25"/>
                    </a:moveTo>
                    <a:lnTo>
                      <a:pt x="29" y="25"/>
                    </a:lnTo>
                    <a:lnTo>
                      <a:pt x="28" y="33"/>
                    </a:lnTo>
                    <a:lnTo>
                      <a:pt x="27" y="39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18" y="41"/>
                    </a:lnTo>
                    <a:lnTo>
                      <a:pt x="14" y="41"/>
                    </a:lnTo>
                    <a:lnTo>
                      <a:pt x="9" y="38"/>
                    </a:lnTo>
                    <a:lnTo>
                      <a:pt x="9" y="38"/>
                    </a:lnTo>
                    <a:lnTo>
                      <a:pt x="5" y="33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2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3" y="16"/>
                    </a:lnTo>
                    <a:lnTo>
                      <a:pt x="5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6" y="7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9" y="2"/>
                    </a:lnTo>
                    <a:lnTo>
                      <a:pt x="12" y="3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19" y="6"/>
                    </a:lnTo>
                    <a:lnTo>
                      <a:pt x="25" y="9"/>
                    </a:lnTo>
                    <a:lnTo>
                      <a:pt x="29" y="13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29" y="20"/>
                    </a:lnTo>
                    <a:lnTo>
                      <a:pt x="29" y="2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29" name="Freeform 1184"/>
              <p:cNvSpPr>
                <a:spLocks/>
              </p:cNvSpPr>
              <p:nvPr/>
            </p:nvSpPr>
            <p:spPr bwMode="auto">
              <a:xfrm>
                <a:off x="3259252" y="1871831"/>
                <a:ext cx="42538" cy="44517"/>
              </a:xfrm>
              <a:custGeom>
                <a:avLst/>
                <a:gdLst>
                  <a:gd name="T0" fmla="*/ 34 w 43"/>
                  <a:gd name="T1" fmla="*/ 35 h 45"/>
                  <a:gd name="T2" fmla="*/ 34 w 43"/>
                  <a:gd name="T3" fmla="*/ 35 h 45"/>
                  <a:gd name="T4" fmla="*/ 31 w 43"/>
                  <a:gd name="T5" fmla="*/ 36 h 45"/>
                  <a:gd name="T6" fmla="*/ 29 w 43"/>
                  <a:gd name="T7" fmla="*/ 38 h 45"/>
                  <a:gd name="T8" fmla="*/ 26 w 43"/>
                  <a:gd name="T9" fmla="*/ 39 h 45"/>
                  <a:gd name="T10" fmla="*/ 23 w 43"/>
                  <a:gd name="T11" fmla="*/ 39 h 45"/>
                  <a:gd name="T12" fmla="*/ 23 w 43"/>
                  <a:gd name="T13" fmla="*/ 39 h 45"/>
                  <a:gd name="T14" fmla="*/ 20 w 43"/>
                  <a:gd name="T15" fmla="*/ 36 h 45"/>
                  <a:gd name="T16" fmla="*/ 18 w 43"/>
                  <a:gd name="T17" fmla="*/ 36 h 45"/>
                  <a:gd name="T18" fmla="*/ 16 w 43"/>
                  <a:gd name="T19" fmla="*/ 36 h 45"/>
                  <a:gd name="T20" fmla="*/ 16 w 43"/>
                  <a:gd name="T21" fmla="*/ 36 h 45"/>
                  <a:gd name="T22" fmla="*/ 13 w 43"/>
                  <a:gd name="T23" fmla="*/ 36 h 45"/>
                  <a:gd name="T24" fmla="*/ 11 w 43"/>
                  <a:gd name="T25" fmla="*/ 38 h 45"/>
                  <a:gd name="T26" fmla="*/ 11 w 43"/>
                  <a:gd name="T27" fmla="*/ 39 h 45"/>
                  <a:gd name="T28" fmla="*/ 10 w 43"/>
                  <a:gd name="T29" fmla="*/ 41 h 45"/>
                  <a:gd name="T30" fmla="*/ 10 w 43"/>
                  <a:gd name="T31" fmla="*/ 41 h 45"/>
                  <a:gd name="T32" fmla="*/ 8 w 43"/>
                  <a:gd name="T33" fmla="*/ 42 h 45"/>
                  <a:gd name="T34" fmla="*/ 7 w 43"/>
                  <a:gd name="T35" fmla="*/ 44 h 45"/>
                  <a:gd name="T36" fmla="*/ 5 w 43"/>
                  <a:gd name="T37" fmla="*/ 45 h 45"/>
                  <a:gd name="T38" fmla="*/ 4 w 43"/>
                  <a:gd name="T39" fmla="*/ 45 h 45"/>
                  <a:gd name="T40" fmla="*/ 4 w 43"/>
                  <a:gd name="T41" fmla="*/ 45 h 45"/>
                  <a:gd name="T42" fmla="*/ 4 w 43"/>
                  <a:gd name="T43" fmla="*/ 45 h 45"/>
                  <a:gd name="T44" fmla="*/ 4 w 43"/>
                  <a:gd name="T45" fmla="*/ 42 h 45"/>
                  <a:gd name="T46" fmla="*/ 5 w 43"/>
                  <a:gd name="T47" fmla="*/ 36 h 45"/>
                  <a:gd name="T48" fmla="*/ 5 w 43"/>
                  <a:gd name="T49" fmla="*/ 36 h 45"/>
                  <a:gd name="T50" fmla="*/ 4 w 43"/>
                  <a:gd name="T51" fmla="*/ 32 h 45"/>
                  <a:gd name="T52" fmla="*/ 3 w 43"/>
                  <a:gd name="T53" fmla="*/ 28 h 45"/>
                  <a:gd name="T54" fmla="*/ 0 w 43"/>
                  <a:gd name="T55" fmla="*/ 23 h 45"/>
                  <a:gd name="T56" fmla="*/ 0 w 43"/>
                  <a:gd name="T57" fmla="*/ 20 h 45"/>
                  <a:gd name="T58" fmla="*/ 0 w 43"/>
                  <a:gd name="T59" fmla="*/ 20 h 45"/>
                  <a:gd name="T60" fmla="*/ 3 w 43"/>
                  <a:gd name="T61" fmla="*/ 12 h 45"/>
                  <a:gd name="T62" fmla="*/ 3 w 43"/>
                  <a:gd name="T63" fmla="*/ 7 h 45"/>
                  <a:gd name="T64" fmla="*/ 3 w 43"/>
                  <a:gd name="T65" fmla="*/ 3 h 45"/>
                  <a:gd name="T66" fmla="*/ 3 w 43"/>
                  <a:gd name="T67" fmla="*/ 3 h 45"/>
                  <a:gd name="T68" fmla="*/ 1 w 43"/>
                  <a:gd name="T69" fmla="*/ 0 h 45"/>
                  <a:gd name="T70" fmla="*/ 4 w 43"/>
                  <a:gd name="T71" fmla="*/ 0 h 45"/>
                  <a:gd name="T72" fmla="*/ 7 w 43"/>
                  <a:gd name="T73" fmla="*/ 2 h 45"/>
                  <a:gd name="T74" fmla="*/ 10 w 43"/>
                  <a:gd name="T75" fmla="*/ 4 h 45"/>
                  <a:gd name="T76" fmla="*/ 10 w 43"/>
                  <a:gd name="T77" fmla="*/ 4 h 45"/>
                  <a:gd name="T78" fmla="*/ 18 w 43"/>
                  <a:gd name="T79" fmla="*/ 12 h 45"/>
                  <a:gd name="T80" fmla="*/ 26 w 43"/>
                  <a:gd name="T81" fmla="*/ 17 h 45"/>
                  <a:gd name="T82" fmla="*/ 26 w 43"/>
                  <a:gd name="T83" fmla="*/ 17 h 45"/>
                  <a:gd name="T84" fmla="*/ 36 w 43"/>
                  <a:gd name="T85" fmla="*/ 22 h 45"/>
                  <a:gd name="T86" fmla="*/ 42 w 43"/>
                  <a:gd name="T87" fmla="*/ 25 h 45"/>
                  <a:gd name="T88" fmla="*/ 43 w 43"/>
                  <a:gd name="T89" fmla="*/ 29 h 45"/>
                  <a:gd name="T90" fmla="*/ 43 w 43"/>
                  <a:gd name="T91" fmla="*/ 29 h 45"/>
                  <a:gd name="T92" fmla="*/ 42 w 43"/>
                  <a:gd name="T93" fmla="*/ 31 h 45"/>
                  <a:gd name="T94" fmla="*/ 39 w 43"/>
                  <a:gd name="T95" fmla="*/ 33 h 45"/>
                  <a:gd name="T96" fmla="*/ 36 w 43"/>
                  <a:gd name="T97" fmla="*/ 35 h 45"/>
                  <a:gd name="T98" fmla="*/ 34 w 43"/>
                  <a:gd name="T99" fmla="*/ 3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3" h="45">
                    <a:moveTo>
                      <a:pt x="34" y="35"/>
                    </a:moveTo>
                    <a:lnTo>
                      <a:pt x="34" y="35"/>
                    </a:lnTo>
                    <a:lnTo>
                      <a:pt x="31" y="36"/>
                    </a:lnTo>
                    <a:lnTo>
                      <a:pt x="29" y="38"/>
                    </a:lnTo>
                    <a:lnTo>
                      <a:pt x="26" y="39"/>
                    </a:lnTo>
                    <a:lnTo>
                      <a:pt x="23" y="39"/>
                    </a:lnTo>
                    <a:lnTo>
                      <a:pt x="23" y="39"/>
                    </a:lnTo>
                    <a:lnTo>
                      <a:pt x="20" y="36"/>
                    </a:lnTo>
                    <a:lnTo>
                      <a:pt x="18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3" y="36"/>
                    </a:lnTo>
                    <a:lnTo>
                      <a:pt x="11" y="38"/>
                    </a:lnTo>
                    <a:lnTo>
                      <a:pt x="11" y="39"/>
                    </a:lnTo>
                    <a:lnTo>
                      <a:pt x="10" y="41"/>
                    </a:lnTo>
                    <a:lnTo>
                      <a:pt x="10" y="41"/>
                    </a:lnTo>
                    <a:lnTo>
                      <a:pt x="8" y="42"/>
                    </a:lnTo>
                    <a:lnTo>
                      <a:pt x="7" y="44"/>
                    </a:lnTo>
                    <a:lnTo>
                      <a:pt x="5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2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4" y="32"/>
                    </a:lnTo>
                    <a:lnTo>
                      <a:pt x="3" y="28"/>
                    </a:lnTo>
                    <a:lnTo>
                      <a:pt x="0" y="2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3" y="12"/>
                    </a:lnTo>
                    <a:lnTo>
                      <a:pt x="3" y="7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7" y="2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8" y="12"/>
                    </a:lnTo>
                    <a:lnTo>
                      <a:pt x="26" y="17"/>
                    </a:lnTo>
                    <a:lnTo>
                      <a:pt x="26" y="17"/>
                    </a:lnTo>
                    <a:lnTo>
                      <a:pt x="36" y="22"/>
                    </a:lnTo>
                    <a:lnTo>
                      <a:pt x="42" y="25"/>
                    </a:lnTo>
                    <a:lnTo>
                      <a:pt x="43" y="29"/>
                    </a:lnTo>
                    <a:lnTo>
                      <a:pt x="43" y="29"/>
                    </a:lnTo>
                    <a:lnTo>
                      <a:pt x="42" y="31"/>
                    </a:lnTo>
                    <a:lnTo>
                      <a:pt x="39" y="33"/>
                    </a:lnTo>
                    <a:lnTo>
                      <a:pt x="36" y="35"/>
                    </a:lnTo>
                    <a:lnTo>
                      <a:pt x="34" y="3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30" name="Freeform 1185"/>
              <p:cNvSpPr>
                <a:spLocks noEditPoints="1"/>
              </p:cNvSpPr>
              <p:nvPr/>
            </p:nvSpPr>
            <p:spPr bwMode="auto">
              <a:xfrm>
                <a:off x="2160185" y="1660129"/>
                <a:ext cx="1355286" cy="926936"/>
              </a:xfrm>
              <a:custGeom>
                <a:avLst/>
                <a:gdLst>
                  <a:gd name="T0" fmla="*/ 1309 w 1370"/>
                  <a:gd name="T1" fmla="*/ 654 h 937"/>
                  <a:gd name="T2" fmla="*/ 1270 w 1370"/>
                  <a:gd name="T3" fmla="*/ 556 h 937"/>
                  <a:gd name="T4" fmla="*/ 1222 w 1370"/>
                  <a:gd name="T5" fmla="*/ 463 h 937"/>
                  <a:gd name="T6" fmla="*/ 1141 w 1370"/>
                  <a:gd name="T7" fmla="*/ 498 h 937"/>
                  <a:gd name="T8" fmla="*/ 1079 w 1370"/>
                  <a:gd name="T9" fmla="*/ 398 h 937"/>
                  <a:gd name="T10" fmla="*/ 1011 w 1370"/>
                  <a:gd name="T11" fmla="*/ 475 h 937"/>
                  <a:gd name="T12" fmla="*/ 1008 w 1370"/>
                  <a:gd name="T13" fmla="*/ 612 h 937"/>
                  <a:gd name="T14" fmla="*/ 983 w 1370"/>
                  <a:gd name="T15" fmla="*/ 731 h 937"/>
                  <a:gd name="T16" fmla="*/ 863 w 1370"/>
                  <a:gd name="T17" fmla="*/ 602 h 937"/>
                  <a:gd name="T18" fmla="*/ 746 w 1370"/>
                  <a:gd name="T19" fmla="*/ 452 h 937"/>
                  <a:gd name="T20" fmla="*/ 777 w 1370"/>
                  <a:gd name="T21" fmla="*/ 376 h 937"/>
                  <a:gd name="T22" fmla="*/ 851 w 1370"/>
                  <a:gd name="T23" fmla="*/ 311 h 937"/>
                  <a:gd name="T24" fmla="*/ 867 w 1370"/>
                  <a:gd name="T25" fmla="*/ 246 h 937"/>
                  <a:gd name="T26" fmla="*/ 917 w 1370"/>
                  <a:gd name="T27" fmla="*/ 249 h 937"/>
                  <a:gd name="T28" fmla="*/ 956 w 1370"/>
                  <a:gd name="T29" fmla="*/ 139 h 937"/>
                  <a:gd name="T30" fmla="*/ 892 w 1370"/>
                  <a:gd name="T31" fmla="*/ 110 h 937"/>
                  <a:gd name="T32" fmla="*/ 877 w 1370"/>
                  <a:gd name="T33" fmla="*/ 204 h 937"/>
                  <a:gd name="T34" fmla="*/ 821 w 1370"/>
                  <a:gd name="T35" fmla="*/ 155 h 937"/>
                  <a:gd name="T36" fmla="*/ 780 w 1370"/>
                  <a:gd name="T37" fmla="*/ 88 h 937"/>
                  <a:gd name="T38" fmla="*/ 715 w 1370"/>
                  <a:gd name="T39" fmla="*/ 29 h 937"/>
                  <a:gd name="T40" fmla="*/ 753 w 1370"/>
                  <a:gd name="T41" fmla="*/ 140 h 937"/>
                  <a:gd name="T42" fmla="*/ 711 w 1370"/>
                  <a:gd name="T43" fmla="*/ 187 h 937"/>
                  <a:gd name="T44" fmla="*/ 604 w 1370"/>
                  <a:gd name="T45" fmla="*/ 179 h 937"/>
                  <a:gd name="T46" fmla="*/ 554 w 1370"/>
                  <a:gd name="T47" fmla="*/ 156 h 937"/>
                  <a:gd name="T48" fmla="*/ 514 w 1370"/>
                  <a:gd name="T49" fmla="*/ 214 h 937"/>
                  <a:gd name="T50" fmla="*/ 407 w 1370"/>
                  <a:gd name="T51" fmla="*/ 174 h 937"/>
                  <a:gd name="T52" fmla="*/ 311 w 1370"/>
                  <a:gd name="T53" fmla="*/ 104 h 937"/>
                  <a:gd name="T54" fmla="*/ 231 w 1370"/>
                  <a:gd name="T55" fmla="*/ 87 h 937"/>
                  <a:gd name="T56" fmla="*/ 178 w 1370"/>
                  <a:gd name="T57" fmla="*/ 81 h 937"/>
                  <a:gd name="T58" fmla="*/ 87 w 1370"/>
                  <a:gd name="T59" fmla="*/ 146 h 937"/>
                  <a:gd name="T60" fmla="*/ 66 w 1370"/>
                  <a:gd name="T61" fmla="*/ 501 h 937"/>
                  <a:gd name="T62" fmla="*/ 176 w 1370"/>
                  <a:gd name="T63" fmla="*/ 660 h 937"/>
                  <a:gd name="T64" fmla="*/ 230 w 1370"/>
                  <a:gd name="T65" fmla="*/ 734 h 937"/>
                  <a:gd name="T66" fmla="*/ 782 w 1370"/>
                  <a:gd name="T67" fmla="*/ 795 h 937"/>
                  <a:gd name="T68" fmla="*/ 908 w 1370"/>
                  <a:gd name="T69" fmla="*/ 828 h 937"/>
                  <a:gd name="T70" fmla="*/ 944 w 1370"/>
                  <a:gd name="T71" fmla="*/ 917 h 937"/>
                  <a:gd name="T72" fmla="*/ 1074 w 1370"/>
                  <a:gd name="T73" fmla="*/ 875 h 937"/>
                  <a:gd name="T74" fmla="*/ 1242 w 1370"/>
                  <a:gd name="T75" fmla="*/ 864 h 937"/>
                  <a:gd name="T76" fmla="*/ 1271 w 1370"/>
                  <a:gd name="T77" fmla="*/ 856 h 937"/>
                  <a:gd name="T78" fmla="*/ 1231 w 1370"/>
                  <a:gd name="T79" fmla="*/ 795 h 937"/>
                  <a:gd name="T80" fmla="*/ 1247 w 1370"/>
                  <a:gd name="T81" fmla="*/ 747 h 937"/>
                  <a:gd name="T82" fmla="*/ 289 w 1370"/>
                  <a:gd name="T83" fmla="*/ 208 h 937"/>
                  <a:gd name="T84" fmla="*/ 359 w 1370"/>
                  <a:gd name="T85" fmla="*/ 375 h 937"/>
                  <a:gd name="T86" fmla="*/ 313 w 1370"/>
                  <a:gd name="T87" fmla="*/ 307 h 937"/>
                  <a:gd name="T88" fmla="*/ 311 w 1370"/>
                  <a:gd name="T89" fmla="*/ 272 h 937"/>
                  <a:gd name="T90" fmla="*/ 324 w 1370"/>
                  <a:gd name="T91" fmla="*/ 230 h 937"/>
                  <a:gd name="T92" fmla="*/ 488 w 1370"/>
                  <a:gd name="T93" fmla="*/ 327 h 937"/>
                  <a:gd name="T94" fmla="*/ 410 w 1370"/>
                  <a:gd name="T95" fmla="*/ 452 h 937"/>
                  <a:gd name="T96" fmla="*/ 415 w 1370"/>
                  <a:gd name="T97" fmla="*/ 398 h 937"/>
                  <a:gd name="T98" fmla="*/ 463 w 1370"/>
                  <a:gd name="T99" fmla="*/ 404 h 937"/>
                  <a:gd name="T100" fmla="*/ 472 w 1370"/>
                  <a:gd name="T101" fmla="*/ 512 h 937"/>
                  <a:gd name="T102" fmla="*/ 533 w 1370"/>
                  <a:gd name="T103" fmla="*/ 366 h 937"/>
                  <a:gd name="T104" fmla="*/ 517 w 1370"/>
                  <a:gd name="T105" fmla="*/ 327 h 937"/>
                  <a:gd name="T106" fmla="*/ 702 w 1370"/>
                  <a:gd name="T107" fmla="*/ 415 h 937"/>
                  <a:gd name="T108" fmla="*/ 657 w 1370"/>
                  <a:gd name="T109" fmla="*/ 255 h 937"/>
                  <a:gd name="T110" fmla="*/ 667 w 1370"/>
                  <a:gd name="T111" fmla="*/ 273 h 937"/>
                  <a:gd name="T112" fmla="*/ 640 w 1370"/>
                  <a:gd name="T113" fmla="*/ 357 h 937"/>
                  <a:gd name="T114" fmla="*/ 654 w 1370"/>
                  <a:gd name="T115" fmla="*/ 585 h 937"/>
                  <a:gd name="T116" fmla="*/ 701 w 1370"/>
                  <a:gd name="T117" fmla="*/ 712 h 937"/>
                  <a:gd name="T118" fmla="*/ 714 w 1370"/>
                  <a:gd name="T119" fmla="*/ 724 h 937"/>
                  <a:gd name="T120" fmla="*/ 837 w 1370"/>
                  <a:gd name="T121" fmla="*/ 754 h 937"/>
                  <a:gd name="T122" fmla="*/ 1237 w 1370"/>
                  <a:gd name="T123" fmla="*/ 647 h 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370" h="937">
                    <a:moveTo>
                      <a:pt x="1366" y="696"/>
                    </a:moveTo>
                    <a:lnTo>
                      <a:pt x="1366" y="696"/>
                    </a:lnTo>
                    <a:lnTo>
                      <a:pt x="1361" y="695"/>
                    </a:lnTo>
                    <a:lnTo>
                      <a:pt x="1361" y="694"/>
                    </a:lnTo>
                    <a:lnTo>
                      <a:pt x="1361" y="691"/>
                    </a:lnTo>
                    <a:lnTo>
                      <a:pt x="1361" y="691"/>
                    </a:lnTo>
                    <a:lnTo>
                      <a:pt x="1364" y="685"/>
                    </a:lnTo>
                    <a:lnTo>
                      <a:pt x="1366" y="682"/>
                    </a:lnTo>
                    <a:lnTo>
                      <a:pt x="1366" y="679"/>
                    </a:lnTo>
                    <a:lnTo>
                      <a:pt x="1366" y="679"/>
                    </a:lnTo>
                    <a:lnTo>
                      <a:pt x="1364" y="676"/>
                    </a:lnTo>
                    <a:lnTo>
                      <a:pt x="1364" y="676"/>
                    </a:lnTo>
                    <a:lnTo>
                      <a:pt x="1364" y="675"/>
                    </a:lnTo>
                    <a:lnTo>
                      <a:pt x="1364" y="675"/>
                    </a:lnTo>
                    <a:lnTo>
                      <a:pt x="1368" y="670"/>
                    </a:lnTo>
                    <a:lnTo>
                      <a:pt x="1370" y="667"/>
                    </a:lnTo>
                    <a:lnTo>
                      <a:pt x="1368" y="666"/>
                    </a:lnTo>
                    <a:lnTo>
                      <a:pt x="1368" y="666"/>
                    </a:lnTo>
                    <a:lnTo>
                      <a:pt x="1363" y="662"/>
                    </a:lnTo>
                    <a:lnTo>
                      <a:pt x="1358" y="660"/>
                    </a:lnTo>
                    <a:lnTo>
                      <a:pt x="1355" y="660"/>
                    </a:lnTo>
                    <a:lnTo>
                      <a:pt x="1355" y="660"/>
                    </a:lnTo>
                    <a:lnTo>
                      <a:pt x="1352" y="660"/>
                    </a:lnTo>
                    <a:lnTo>
                      <a:pt x="1350" y="662"/>
                    </a:lnTo>
                    <a:lnTo>
                      <a:pt x="1348" y="663"/>
                    </a:lnTo>
                    <a:lnTo>
                      <a:pt x="1347" y="662"/>
                    </a:lnTo>
                    <a:lnTo>
                      <a:pt x="1347" y="662"/>
                    </a:lnTo>
                    <a:lnTo>
                      <a:pt x="1342" y="653"/>
                    </a:lnTo>
                    <a:lnTo>
                      <a:pt x="1339" y="649"/>
                    </a:lnTo>
                    <a:lnTo>
                      <a:pt x="1338" y="647"/>
                    </a:lnTo>
                    <a:lnTo>
                      <a:pt x="1338" y="647"/>
                    </a:lnTo>
                    <a:lnTo>
                      <a:pt x="1328" y="650"/>
                    </a:lnTo>
                    <a:lnTo>
                      <a:pt x="1322" y="653"/>
                    </a:lnTo>
                    <a:lnTo>
                      <a:pt x="1321" y="654"/>
                    </a:lnTo>
                    <a:lnTo>
                      <a:pt x="1321" y="656"/>
                    </a:lnTo>
                    <a:lnTo>
                      <a:pt x="1321" y="656"/>
                    </a:lnTo>
                    <a:lnTo>
                      <a:pt x="1319" y="657"/>
                    </a:lnTo>
                    <a:lnTo>
                      <a:pt x="1319" y="660"/>
                    </a:lnTo>
                    <a:lnTo>
                      <a:pt x="1315" y="662"/>
                    </a:lnTo>
                    <a:lnTo>
                      <a:pt x="1315" y="662"/>
                    </a:lnTo>
                    <a:lnTo>
                      <a:pt x="1303" y="667"/>
                    </a:lnTo>
                    <a:lnTo>
                      <a:pt x="1296" y="670"/>
                    </a:lnTo>
                    <a:lnTo>
                      <a:pt x="1295" y="670"/>
                    </a:lnTo>
                    <a:lnTo>
                      <a:pt x="1293" y="670"/>
                    </a:lnTo>
                    <a:lnTo>
                      <a:pt x="1293" y="670"/>
                    </a:lnTo>
                    <a:lnTo>
                      <a:pt x="1296" y="666"/>
                    </a:lnTo>
                    <a:lnTo>
                      <a:pt x="1300" y="662"/>
                    </a:lnTo>
                    <a:lnTo>
                      <a:pt x="1309" y="654"/>
                    </a:lnTo>
                    <a:lnTo>
                      <a:pt x="1309" y="654"/>
                    </a:lnTo>
                    <a:lnTo>
                      <a:pt x="1315" y="650"/>
                    </a:lnTo>
                    <a:lnTo>
                      <a:pt x="1326" y="646"/>
                    </a:lnTo>
                    <a:lnTo>
                      <a:pt x="1335" y="641"/>
                    </a:lnTo>
                    <a:lnTo>
                      <a:pt x="1339" y="638"/>
                    </a:lnTo>
                    <a:lnTo>
                      <a:pt x="1339" y="638"/>
                    </a:lnTo>
                    <a:lnTo>
                      <a:pt x="1338" y="636"/>
                    </a:lnTo>
                    <a:lnTo>
                      <a:pt x="1335" y="633"/>
                    </a:lnTo>
                    <a:lnTo>
                      <a:pt x="1335" y="633"/>
                    </a:lnTo>
                    <a:lnTo>
                      <a:pt x="1332" y="633"/>
                    </a:lnTo>
                    <a:lnTo>
                      <a:pt x="1328" y="633"/>
                    </a:lnTo>
                    <a:lnTo>
                      <a:pt x="1324" y="631"/>
                    </a:lnTo>
                    <a:lnTo>
                      <a:pt x="1321" y="630"/>
                    </a:lnTo>
                    <a:lnTo>
                      <a:pt x="1321" y="630"/>
                    </a:lnTo>
                    <a:lnTo>
                      <a:pt x="1318" y="625"/>
                    </a:lnTo>
                    <a:lnTo>
                      <a:pt x="1313" y="621"/>
                    </a:lnTo>
                    <a:lnTo>
                      <a:pt x="1313" y="621"/>
                    </a:lnTo>
                    <a:lnTo>
                      <a:pt x="1309" y="621"/>
                    </a:lnTo>
                    <a:lnTo>
                      <a:pt x="1306" y="621"/>
                    </a:lnTo>
                    <a:lnTo>
                      <a:pt x="1303" y="620"/>
                    </a:lnTo>
                    <a:lnTo>
                      <a:pt x="1303" y="620"/>
                    </a:lnTo>
                    <a:lnTo>
                      <a:pt x="1300" y="614"/>
                    </a:lnTo>
                    <a:lnTo>
                      <a:pt x="1297" y="608"/>
                    </a:lnTo>
                    <a:lnTo>
                      <a:pt x="1297" y="608"/>
                    </a:lnTo>
                    <a:lnTo>
                      <a:pt x="1290" y="602"/>
                    </a:lnTo>
                    <a:lnTo>
                      <a:pt x="1286" y="599"/>
                    </a:lnTo>
                    <a:lnTo>
                      <a:pt x="1283" y="598"/>
                    </a:lnTo>
                    <a:lnTo>
                      <a:pt x="1283" y="598"/>
                    </a:lnTo>
                    <a:lnTo>
                      <a:pt x="1280" y="598"/>
                    </a:lnTo>
                    <a:lnTo>
                      <a:pt x="1279" y="596"/>
                    </a:lnTo>
                    <a:lnTo>
                      <a:pt x="1274" y="592"/>
                    </a:lnTo>
                    <a:lnTo>
                      <a:pt x="1274" y="592"/>
                    </a:lnTo>
                    <a:lnTo>
                      <a:pt x="1271" y="591"/>
                    </a:lnTo>
                    <a:lnTo>
                      <a:pt x="1270" y="588"/>
                    </a:lnTo>
                    <a:lnTo>
                      <a:pt x="1268" y="585"/>
                    </a:lnTo>
                    <a:lnTo>
                      <a:pt x="1270" y="583"/>
                    </a:lnTo>
                    <a:lnTo>
                      <a:pt x="1270" y="583"/>
                    </a:lnTo>
                    <a:lnTo>
                      <a:pt x="1276" y="579"/>
                    </a:lnTo>
                    <a:lnTo>
                      <a:pt x="1279" y="578"/>
                    </a:lnTo>
                    <a:lnTo>
                      <a:pt x="1279" y="576"/>
                    </a:lnTo>
                    <a:lnTo>
                      <a:pt x="1279" y="575"/>
                    </a:lnTo>
                    <a:lnTo>
                      <a:pt x="1279" y="575"/>
                    </a:lnTo>
                    <a:lnTo>
                      <a:pt x="1274" y="569"/>
                    </a:lnTo>
                    <a:lnTo>
                      <a:pt x="1271" y="566"/>
                    </a:lnTo>
                    <a:lnTo>
                      <a:pt x="1271" y="563"/>
                    </a:lnTo>
                    <a:lnTo>
                      <a:pt x="1271" y="563"/>
                    </a:lnTo>
                    <a:lnTo>
                      <a:pt x="1271" y="560"/>
                    </a:lnTo>
                    <a:lnTo>
                      <a:pt x="1270" y="556"/>
                    </a:lnTo>
                    <a:lnTo>
                      <a:pt x="1266" y="549"/>
                    </a:lnTo>
                    <a:lnTo>
                      <a:pt x="1266" y="549"/>
                    </a:lnTo>
                    <a:lnTo>
                      <a:pt x="1263" y="544"/>
                    </a:lnTo>
                    <a:lnTo>
                      <a:pt x="1261" y="540"/>
                    </a:lnTo>
                    <a:lnTo>
                      <a:pt x="1260" y="536"/>
                    </a:lnTo>
                    <a:lnTo>
                      <a:pt x="1258" y="534"/>
                    </a:lnTo>
                    <a:lnTo>
                      <a:pt x="1258" y="534"/>
                    </a:lnTo>
                    <a:lnTo>
                      <a:pt x="1255" y="531"/>
                    </a:lnTo>
                    <a:lnTo>
                      <a:pt x="1253" y="528"/>
                    </a:lnTo>
                    <a:lnTo>
                      <a:pt x="1253" y="528"/>
                    </a:lnTo>
                    <a:lnTo>
                      <a:pt x="1247" y="528"/>
                    </a:lnTo>
                    <a:lnTo>
                      <a:pt x="1242" y="527"/>
                    </a:lnTo>
                    <a:lnTo>
                      <a:pt x="1242" y="527"/>
                    </a:lnTo>
                    <a:lnTo>
                      <a:pt x="1242" y="527"/>
                    </a:lnTo>
                    <a:lnTo>
                      <a:pt x="1242" y="527"/>
                    </a:lnTo>
                    <a:lnTo>
                      <a:pt x="1250" y="524"/>
                    </a:lnTo>
                    <a:lnTo>
                      <a:pt x="1253" y="521"/>
                    </a:lnTo>
                    <a:lnTo>
                      <a:pt x="1253" y="520"/>
                    </a:lnTo>
                    <a:lnTo>
                      <a:pt x="1253" y="520"/>
                    </a:lnTo>
                    <a:lnTo>
                      <a:pt x="1251" y="514"/>
                    </a:lnTo>
                    <a:lnTo>
                      <a:pt x="1250" y="512"/>
                    </a:lnTo>
                    <a:lnTo>
                      <a:pt x="1247" y="511"/>
                    </a:lnTo>
                    <a:lnTo>
                      <a:pt x="1247" y="511"/>
                    </a:lnTo>
                    <a:lnTo>
                      <a:pt x="1240" y="511"/>
                    </a:lnTo>
                    <a:lnTo>
                      <a:pt x="1238" y="510"/>
                    </a:lnTo>
                    <a:lnTo>
                      <a:pt x="1237" y="510"/>
                    </a:lnTo>
                    <a:lnTo>
                      <a:pt x="1238" y="508"/>
                    </a:lnTo>
                    <a:lnTo>
                      <a:pt x="1238" y="508"/>
                    </a:lnTo>
                    <a:lnTo>
                      <a:pt x="1241" y="507"/>
                    </a:lnTo>
                    <a:lnTo>
                      <a:pt x="1244" y="504"/>
                    </a:lnTo>
                    <a:lnTo>
                      <a:pt x="1245" y="501"/>
                    </a:lnTo>
                    <a:lnTo>
                      <a:pt x="1245" y="499"/>
                    </a:lnTo>
                    <a:lnTo>
                      <a:pt x="1245" y="499"/>
                    </a:lnTo>
                    <a:lnTo>
                      <a:pt x="1240" y="491"/>
                    </a:lnTo>
                    <a:lnTo>
                      <a:pt x="1237" y="485"/>
                    </a:lnTo>
                    <a:lnTo>
                      <a:pt x="1234" y="484"/>
                    </a:lnTo>
                    <a:lnTo>
                      <a:pt x="1234" y="484"/>
                    </a:lnTo>
                    <a:lnTo>
                      <a:pt x="1232" y="482"/>
                    </a:lnTo>
                    <a:lnTo>
                      <a:pt x="1231" y="481"/>
                    </a:lnTo>
                    <a:lnTo>
                      <a:pt x="1231" y="476"/>
                    </a:lnTo>
                    <a:lnTo>
                      <a:pt x="1231" y="476"/>
                    </a:lnTo>
                    <a:lnTo>
                      <a:pt x="1231" y="468"/>
                    </a:lnTo>
                    <a:lnTo>
                      <a:pt x="1231" y="463"/>
                    </a:lnTo>
                    <a:lnTo>
                      <a:pt x="1231" y="460"/>
                    </a:lnTo>
                    <a:lnTo>
                      <a:pt x="1231" y="460"/>
                    </a:lnTo>
                    <a:lnTo>
                      <a:pt x="1228" y="460"/>
                    </a:lnTo>
                    <a:lnTo>
                      <a:pt x="1225" y="462"/>
                    </a:lnTo>
                    <a:lnTo>
                      <a:pt x="1222" y="463"/>
                    </a:lnTo>
                    <a:lnTo>
                      <a:pt x="1221" y="468"/>
                    </a:lnTo>
                    <a:lnTo>
                      <a:pt x="1221" y="468"/>
                    </a:lnTo>
                    <a:lnTo>
                      <a:pt x="1219" y="478"/>
                    </a:lnTo>
                    <a:lnTo>
                      <a:pt x="1216" y="482"/>
                    </a:lnTo>
                    <a:lnTo>
                      <a:pt x="1215" y="484"/>
                    </a:lnTo>
                    <a:lnTo>
                      <a:pt x="1215" y="484"/>
                    </a:lnTo>
                    <a:lnTo>
                      <a:pt x="1212" y="485"/>
                    </a:lnTo>
                    <a:lnTo>
                      <a:pt x="1209" y="486"/>
                    </a:lnTo>
                    <a:lnTo>
                      <a:pt x="1208" y="491"/>
                    </a:lnTo>
                    <a:lnTo>
                      <a:pt x="1208" y="497"/>
                    </a:lnTo>
                    <a:lnTo>
                      <a:pt x="1208" y="497"/>
                    </a:lnTo>
                    <a:lnTo>
                      <a:pt x="1206" y="504"/>
                    </a:lnTo>
                    <a:lnTo>
                      <a:pt x="1205" y="510"/>
                    </a:lnTo>
                    <a:lnTo>
                      <a:pt x="1203" y="514"/>
                    </a:lnTo>
                    <a:lnTo>
                      <a:pt x="1203" y="514"/>
                    </a:lnTo>
                    <a:lnTo>
                      <a:pt x="1200" y="515"/>
                    </a:lnTo>
                    <a:lnTo>
                      <a:pt x="1198" y="515"/>
                    </a:lnTo>
                    <a:lnTo>
                      <a:pt x="1195" y="517"/>
                    </a:lnTo>
                    <a:lnTo>
                      <a:pt x="1195" y="517"/>
                    </a:lnTo>
                    <a:lnTo>
                      <a:pt x="1190" y="521"/>
                    </a:lnTo>
                    <a:lnTo>
                      <a:pt x="1187" y="524"/>
                    </a:lnTo>
                    <a:lnTo>
                      <a:pt x="1186" y="526"/>
                    </a:lnTo>
                    <a:lnTo>
                      <a:pt x="1186" y="526"/>
                    </a:lnTo>
                    <a:lnTo>
                      <a:pt x="1184" y="527"/>
                    </a:lnTo>
                    <a:lnTo>
                      <a:pt x="1183" y="528"/>
                    </a:lnTo>
                    <a:lnTo>
                      <a:pt x="1182" y="530"/>
                    </a:lnTo>
                    <a:lnTo>
                      <a:pt x="1180" y="530"/>
                    </a:lnTo>
                    <a:lnTo>
                      <a:pt x="1180" y="530"/>
                    </a:lnTo>
                    <a:lnTo>
                      <a:pt x="1173" y="526"/>
                    </a:lnTo>
                    <a:lnTo>
                      <a:pt x="1170" y="523"/>
                    </a:lnTo>
                    <a:lnTo>
                      <a:pt x="1169" y="520"/>
                    </a:lnTo>
                    <a:lnTo>
                      <a:pt x="1169" y="520"/>
                    </a:lnTo>
                    <a:lnTo>
                      <a:pt x="1169" y="518"/>
                    </a:lnTo>
                    <a:lnTo>
                      <a:pt x="1166" y="517"/>
                    </a:lnTo>
                    <a:lnTo>
                      <a:pt x="1163" y="515"/>
                    </a:lnTo>
                    <a:lnTo>
                      <a:pt x="1160" y="515"/>
                    </a:lnTo>
                    <a:lnTo>
                      <a:pt x="1160" y="515"/>
                    </a:lnTo>
                    <a:lnTo>
                      <a:pt x="1156" y="520"/>
                    </a:lnTo>
                    <a:lnTo>
                      <a:pt x="1153" y="520"/>
                    </a:lnTo>
                    <a:lnTo>
                      <a:pt x="1150" y="518"/>
                    </a:lnTo>
                    <a:lnTo>
                      <a:pt x="1150" y="518"/>
                    </a:lnTo>
                    <a:lnTo>
                      <a:pt x="1148" y="514"/>
                    </a:lnTo>
                    <a:lnTo>
                      <a:pt x="1147" y="508"/>
                    </a:lnTo>
                    <a:lnTo>
                      <a:pt x="1147" y="508"/>
                    </a:lnTo>
                    <a:lnTo>
                      <a:pt x="1141" y="502"/>
                    </a:lnTo>
                    <a:lnTo>
                      <a:pt x="1141" y="499"/>
                    </a:lnTo>
                    <a:lnTo>
                      <a:pt x="1141" y="498"/>
                    </a:lnTo>
                    <a:lnTo>
                      <a:pt x="1141" y="498"/>
                    </a:lnTo>
                    <a:lnTo>
                      <a:pt x="1144" y="494"/>
                    </a:lnTo>
                    <a:lnTo>
                      <a:pt x="1145" y="489"/>
                    </a:lnTo>
                    <a:lnTo>
                      <a:pt x="1145" y="486"/>
                    </a:lnTo>
                    <a:lnTo>
                      <a:pt x="1144" y="484"/>
                    </a:lnTo>
                    <a:lnTo>
                      <a:pt x="1144" y="484"/>
                    </a:lnTo>
                    <a:lnTo>
                      <a:pt x="1138" y="479"/>
                    </a:lnTo>
                    <a:lnTo>
                      <a:pt x="1137" y="478"/>
                    </a:lnTo>
                    <a:lnTo>
                      <a:pt x="1138" y="476"/>
                    </a:lnTo>
                    <a:lnTo>
                      <a:pt x="1138" y="476"/>
                    </a:lnTo>
                    <a:lnTo>
                      <a:pt x="1142" y="473"/>
                    </a:lnTo>
                    <a:lnTo>
                      <a:pt x="1144" y="469"/>
                    </a:lnTo>
                    <a:lnTo>
                      <a:pt x="1144" y="469"/>
                    </a:lnTo>
                    <a:lnTo>
                      <a:pt x="1148" y="457"/>
                    </a:lnTo>
                    <a:lnTo>
                      <a:pt x="1148" y="452"/>
                    </a:lnTo>
                    <a:lnTo>
                      <a:pt x="1148" y="450"/>
                    </a:lnTo>
                    <a:lnTo>
                      <a:pt x="1145" y="449"/>
                    </a:lnTo>
                    <a:lnTo>
                      <a:pt x="1145" y="449"/>
                    </a:lnTo>
                    <a:lnTo>
                      <a:pt x="1141" y="447"/>
                    </a:lnTo>
                    <a:lnTo>
                      <a:pt x="1137" y="447"/>
                    </a:lnTo>
                    <a:lnTo>
                      <a:pt x="1129" y="447"/>
                    </a:lnTo>
                    <a:lnTo>
                      <a:pt x="1129" y="447"/>
                    </a:lnTo>
                    <a:lnTo>
                      <a:pt x="1125" y="446"/>
                    </a:lnTo>
                    <a:lnTo>
                      <a:pt x="1122" y="442"/>
                    </a:lnTo>
                    <a:lnTo>
                      <a:pt x="1116" y="436"/>
                    </a:lnTo>
                    <a:lnTo>
                      <a:pt x="1116" y="436"/>
                    </a:lnTo>
                    <a:lnTo>
                      <a:pt x="1114" y="431"/>
                    </a:lnTo>
                    <a:lnTo>
                      <a:pt x="1112" y="430"/>
                    </a:lnTo>
                    <a:lnTo>
                      <a:pt x="1112" y="428"/>
                    </a:lnTo>
                    <a:lnTo>
                      <a:pt x="1112" y="428"/>
                    </a:lnTo>
                    <a:lnTo>
                      <a:pt x="1114" y="426"/>
                    </a:lnTo>
                    <a:lnTo>
                      <a:pt x="1114" y="424"/>
                    </a:lnTo>
                    <a:lnTo>
                      <a:pt x="1112" y="421"/>
                    </a:lnTo>
                    <a:lnTo>
                      <a:pt x="1109" y="421"/>
                    </a:lnTo>
                    <a:lnTo>
                      <a:pt x="1109" y="421"/>
                    </a:lnTo>
                    <a:lnTo>
                      <a:pt x="1103" y="421"/>
                    </a:lnTo>
                    <a:lnTo>
                      <a:pt x="1100" y="420"/>
                    </a:lnTo>
                    <a:lnTo>
                      <a:pt x="1098" y="418"/>
                    </a:lnTo>
                    <a:lnTo>
                      <a:pt x="1098" y="418"/>
                    </a:lnTo>
                    <a:lnTo>
                      <a:pt x="1093" y="413"/>
                    </a:lnTo>
                    <a:lnTo>
                      <a:pt x="1092" y="411"/>
                    </a:lnTo>
                    <a:lnTo>
                      <a:pt x="1090" y="411"/>
                    </a:lnTo>
                    <a:lnTo>
                      <a:pt x="1090" y="411"/>
                    </a:lnTo>
                    <a:lnTo>
                      <a:pt x="1089" y="411"/>
                    </a:lnTo>
                    <a:lnTo>
                      <a:pt x="1087" y="410"/>
                    </a:lnTo>
                    <a:lnTo>
                      <a:pt x="1085" y="405"/>
                    </a:lnTo>
                    <a:lnTo>
                      <a:pt x="1085" y="405"/>
                    </a:lnTo>
                    <a:lnTo>
                      <a:pt x="1082" y="401"/>
                    </a:lnTo>
                    <a:lnTo>
                      <a:pt x="1079" y="398"/>
                    </a:lnTo>
                    <a:lnTo>
                      <a:pt x="1076" y="397"/>
                    </a:lnTo>
                    <a:lnTo>
                      <a:pt x="1076" y="397"/>
                    </a:lnTo>
                    <a:lnTo>
                      <a:pt x="1064" y="397"/>
                    </a:lnTo>
                    <a:lnTo>
                      <a:pt x="1054" y="397"/>
                    </a:lnTo>
                    <a:lnTo>
                      <a:pt x="1054" y="397"/>
                    </a:lnTo>
                    <a:lnTo>
                      <a:pt x="1051" y="397"/>
                    </a:lnTo>
                    <a:lnTo>
                      <a:pt x="1048" y="395"/>
                    </a:lnTo>
                    <a:lnTo>
                      <a:pt x="1045" y="394"/>
                    </a:lnTo>
                    <a:lnTo>
                      <a:pt x="1043" y="394"/>
                    </a:lnTo>
                    <a:lnTo>
                      <a:pt x="1043" y="394"/>
                    </a:lnTo>
                    <a:lnTo>
                      <a:pt x="1031" y="392"/>
                    </a:lnTo>
                    <a:lnTo>
                      <a:pt x="1018" y="391"/>
                    </a:lnTo>
                    <a:lnTo>
                      <a:pt x="1018" y="391"/>
                    </a:lnTo>
                    <a:lnTo>
                      <a:pt x="1015" y="392"/>
                    </a:lnTo>
                    <a:lnTo>
                      <a:pt x="1012" y="394"/>
                    </a:lnTo>
                    <a:lnTo>
                      <a:pt x="1008" y="399"/>
                    </a:lnTo>
                    <a:lnTo>
                      <a:pt x="1008" y="399"/>
                    </a:lnTo>
                    <a:lnTo>
                      <a:pt x="1003" y="402"/>
                    </a:lnTo>
                    <a:lnTo>
                      <a:pt x="1002" y="405"/>
                    </a:lnTo>
                    <a:lnTo>
                      <a:pt x="1003" y="408"/>
                    </a:lnTo>
                    <a:lnTo>
                      <a:pt x="1003" y="408"/>
                    </a:lnTo>
                    <a:lnTo>
                      <a:pt x="1006" y="413"/>
                    </a:lnTo>
                    <a:lnTo>
                      <a:pt x="1006" y="417"/>
                    </a:lnTo>
                    <a:lnTo>
                      <a:pt x="1006" y="420"/>
                    </a:lnTo>
                    <a:lnTo>
                      <a:pt x="1008" y="421"/>
                    </a:lnTo>
                    <a:lnTo>
                      <a:pt x="1008" y="421"/>
                    </a:lnTo>
                    <a:lnTo>
                      <a:pt x="1011" y="423"/>
                    </a:lnTo>
                    <a:lnTo>
                      <a:pt x="1012" y="423"/>
                    </a:lnTo>
                    <a:lnTo>
                      <a:pt x="1011" y="427"/>
                    </a:lnTo>
                    <a:lnTo>
                      <a:pt x="1011" y="427"/>
                    </a:lnTo>
                    <a:lnTo>
                      <a:pt x="1006" y="434"/>
                    </a:lnTo>
                    <a:lnTo>
                      <a:pt x="1002" y="442"/>
                    </a:lnTo>
                    <a:lnTo>
                      <a:pt x="1002" y="442"/>
                    </a:lnTo>
                    <a:lnTo>
                      <a:pt x="999" y="447"/>
                    </a:lnTo>
                    <a:lnTo>
                      <a:pt x="999" y="450"/>
                    </a:lnTo>
                    <a:lnTo>
                      <a:pt x="1001" y="452"/>
                    </a:lnTo>
                    <a:lnTo>
                      <a:pt x="1002" y="452"/>
                    </a:lnTo>
                    <a:lnTo>
                      <a:pt x="1002" y="452"/>
                    </a:lnTo>
                    <a:lnTo>
                      <a:pt x="1006" y="452"/>
                    </a:lnTo>
                    <a:lnTo>
                      <a:pt x="1008" y="453"/>
                    </a:lnTo>
                    <a:lnTo>
                      <a:pt x="1008" y="455"/>
                    </a:lnTo>
                    <a:lnTo>
                      <a:pt x="1008" y="457"/>
                    </a:lnTo>
                    <a:lnTo>
                      <a:pt x="1008" y="457"/>
                    </a:lnTo>
                    <a:lnTo>
                      <a:pt x="1008" y="468"/>
                    </a:lnTo>
                    <a:lnTo>
                      <a:pt x="1008" y="473"/>
                    </a:lnTo>
                    <a:lnTo>
                      <a:pt x="1009" y="475"/>
                    </a:lnTo>
                    <a:lnTo>
                      <a:pt x="1011" y="475"/>
                    </a:lnTo>
                    <a:lnTo>
                      <a:pt x="1011" y="475"/>
                    </a:lnTo>
                    <a:lnTo>
                      <a:pt x="1014" y="476"/>
                    </a:lnTo>
                    <a:lnTo>
                      <a:pt x="1015" y="478"/>
                    </a:lnTo>
                    <a:lnTo>
                      <a:pt x="1014" y="481"/>
                    </a:lnTo>
                    <a:lnTo>
                      <a:pt x="1012" y="484"/>
                    </a:lnTo>
                    <a:lnTo>
                      <a:pt x="1012" y="484"/>
                    </a:lnTo>
                    <a:lnTo>
                      <a:pt x="1011" y="486"/>
                    </a:lnTo>
                    <a:lnTo>
                      <a:pt x="1009" y="491"/>
                    </a:lnTo>
                    <a:lnTo>
                      <a:pt x="1009" y="494"/>
                    </a:lnTo>
                    <a:lnTo>
                      <a:pt x="1011" y="495"/>
                    </a:lnTo>
                    <a:lnTo>
                      <a:pt x="1011" y="495"/>
                    </a:lnTo>
                    <a:lnTo>
                      <a:pt x="1012" y="495"/>
                    </a:lnTo>
                    <a:lnTo>
                      <a:pt x="1014" y="497"/>
                    </a:lnTo>
                    <a:lnTo>
                      <a:pt x="1012" y="498"/>
                    </a:lnTo>
                    <a:lnTo>
                      <a:pt x="1009" y="501"/>
                    </a:lnTo>
                    <a:lnTo>
                      <a:pt x="1009" y="501"/>
                    </a:lnTo>
                    <a:lnTo>
                      <a:pt x="1001" y="507"/>
                    </a:lnTo>
                    <a:lnTo>
                      <a:pt x="995" y="511"/>
                    </a:lnTo>
                    <a:lnTo>
                      <a:pt x="995" y="511"/>
                    </a:lnTo>
                    <a:lnTo>
                      <a:pt x="995" y="514"/>
                    </a:lnTo>
                    <a:lnTo>
                      <a:pt x="993" y="517"/>
                    </a:lnTo>
                    <a:lnTo>
                      <a:pt x="995" y="521"/>
                    </a:lnTo>
                    <a:lnTo>
                      <a:pt x="998" y="524"/>
                    </a:lnTo>
                    <a:lnTo>
                      <a:pt x="998" y="524"/>
                    </a:lnTo>
                    <a:lnTo>
                      <a:pt x="1001" y="527"/>
                    </a:lnTo>
                    <a:lnTo>
                      <a:pt x="1002" y="531"/>
                    </a:lnTo>
                    <a:lnTo>
                      <a:pt x="1005" y="540"/>
                    </a:lnTo>
                    <a:lnTo>
                      <a:pt x="1005" y="540"/>
                    </a:lnTo>
                    <a:lnTo>
                      <a:pt x="1006" y="543"/>
                    </a:lnTo>
                    <a:lnTo>
                      <a:pt x="1009" y="544"/>
                    </a:lnTo>
                    <a:lnTo>
                      <a:pt x="1012" y="546"/>
                    </a:lnTo>
                    <a:lnTo>
                      <a:pt x="1014" y="550"/>
                    </a:lnTo>
                    <a:lnTo>
                      <a:pt x="1014" y="550"/>
                    </a:lnTo>
                    <a:lnTo>
                      <a:pt x="1015" y="562"/>
                    </a:lnTo>
                    <a:lnTo>
                      <a:pt x="1019" y="572"/>
                    </a:lnTo>
                    <a:lnTo>
                      <a:pt x="1019" y="572"/>
                    </a:lnTo>
                    <a:lnTo>
                      <a:pt x="1019" y="581"/>
                    </a:lnTo>
                    <a:lnTo>
                      <a:pt x="1019" y="591"/>
                    </a:lnTo>
                    <a:lnTo>
                      <a:pt x="1018" y="599"/>
                    </a:lnTo>
                    <a:lnTo>
                      <a:pt x="1016" y="604"/>
                    </a:lnTo>
                    <a:lnTo>
                      <a:pt x="1016" y="604"/>
                    </a:lnTo>
                    <a:lnTo>
                      <a:pt x="1014" y="607"/>
                    </a:lnTo>
                    <a:lnTo>
                      <a:pt x="1012" y="611"/>
                    </a:lnTo>
                    <a:lnTo>
                      <a:pt x="1012" y="615"/>
                    </a:lnTo>
                    <a:lnTo>
                      <a:pt x="1011" y="615"/>
                    </a:lnTo>
                    <a:lnTo>
                      <a:pt x="1011" y="615"/>
                    </a:lnTo>
                    <a:lnTo>
                      <a:pt x="1011" y="615"/>
                    </a:lnTo>
                    <a:lnTo>
                      <a:pt x="1008" y="612"/>
                    </a:lnTo>
                    <a:lnTo>
                      <a:pt x="1008" y="612"/>
                    </a:lnTo>
                    <a:lnTo>
                      <a:pt x="1006" y="614"/>
                    </a:lnTo>
                    <a:lnTo>
                      <a:pt x="1006" y="614"/>
                    </a:lnTo>
                    <a:lnTo>
                      <a:pt x="1003" y="623"/>
                    </a:lnTo>
                    <a:lnTo>
                      <a:pt x="1002" y="627"/>
                    </a:lnTo>
                    <a:lnTo>
                      <a:pt x="999" y="630"/>
                    </a:lnTo>
                    <a:lnTo>
                      <a:pt x="999" y="630"/>
                    </a:lnTo>
                    <a:lnTo>
                      <a:pt x="993" y="633"/>
                    </a:lnTo>
                    <a:lnTo>
                      <a:pt x="990" y="634"/>
                    </a:lnTo>
                    <a:lnTo>
                      <a:pt x="990" y="637"/>
                    </a:lnTo>
                    <a:lnTo>
                      <a:pt x="990" y="637"/>
                    </a:lnTo>
                    <a:lnTo>
                      <a:pt x="995" y="641"/>
                    </a:lnTo>
                    <a:lnTo>
                      <a:pt x="998" y="644"/>
                    </a:lnTo>
                    <a:lnTo>
                      <a:pt x="998" y="647"/>
                    </a:lnTo>
                    <a:lnTo>
                      <a:pt x="998" y="647"/>
                    </a:lnTo>
                    <a:lnTo>
                      <a:pt x="996" y="656"/>
                    </a:lnTo>
                    <a:lnTo>
                      <a:pt x="995" y="660"/>
                    </a:lnTo>
                    <a:lnTo>
                      <a:pt x="995" y="663"/>
                    </a:lnTo>
                    <a:lnTo>
                      <a:pt x="995" y="663"/>
                    </a:lnTo>
                    <a:lnTo>
                      <a:pt x="996" y="672"/>
                    </a:lnTo>
                    <a:lnTo>
                      <a:pt x="998" y="678"/>
                    </a:lnTo>
                    <a:lnTo>
                      <a:pt x="1001" y="680"/>
                    </a:lnTo>
                    <a:lnTo>
                      <a:pt x="1001" y="680"/>
                    </a:lnTo>
                    <a:lnTo>
                      <a:pt x="1002" y="683"/>
                    </a:lnTo>
                    <a:lnTo>
                      <a:pt x="1005" y="686"/>
                    </a:lnTo>
                    <a:lnTo>
                      <a:pt x="1005" y="689"/>
                    </a:lnTo>
                    <a:lnTo>
                      <a:pt x="1005" y="694"/>
                    </a:lnTo>
                    <a:lnTo>
                      <a:pt x="1005" y="694"/>
                    </a:lnTo>
                    <a:lnTo>
                      <a:pt x="1005" y="704"/>
                    </a:lnTo>
                    <a:lnTo>
                      <a:pt x="1003" y="707"/>
                    </a:lnTo>
                    <a:lnTo>
                      <a:pt x="1001" y="708"/>
                    </a:lnTo>
                    <a:lnTo>
                      <a:pt x="1001" y="708"/>
                    </a:lnTo>
                    <a:lnTo>
                      <a:pt x="998" y="711"/>
                    </a:lnTo>
                    <a:lnTo>
                      <a:pt x="996" y="714"/>
                    </a:lnTo>
                    <a:lnTo>
                      <a:pt x="998" y="720"/>
                    </a:lnTo>
                    <a:lnTo>
                      <a:pt x="998" y="720"/>
                    </a:lnTo>
                    <a:lnTo>
                      <a:pt x="998" y="725"/>
                    </a:lnTo>
                    <a:lnTo>
                      <a:pt x="996" y="727"/>
                    </a:lnTo>
                    <a:lnTo>
                      <a:pt x="995" y="725"/>
                    </a:lnTo>
                    <a:lnTo>
                      <a:pt x="995" y="725"/>
                    </a:lnTo>
                    <a:lnTo>
                      <a:pt x="990" y="723"/>
                    </a:lnTo>
                    <a:lnTo>
                      <a:pt x="987" y="721"/>
                    </a:lnTo>
                    <a:lnTo>
                      <a:pt x="986" y="721"/>
                    </a:lnTo>
                    <a:lnTo>
                      <a:pt x="986" y="721"/>
                    </a:lnTo>
                    <a:lnTo>
                      <a:pt x="986" y="724"/>
                    </a:lnTo>
                    <a:lnTo>
                      <a:pt x="986" y="727"/>
                    </a:lnTo>
                    <a:lnTo>
                      <a:pt x="986" y="731"/>
                    </a:lnTo>
                    <a:lnTo>
                      <a:pt x="985" y="731"/>
                    </a:lnTo>
                    <a:lnTo>
                      <a:pt x="983" y="731"/>
                    </a:lnTo>
                    <a:lnTo>
                      <a:pt x="983" y="731"/>
                    </a:lnTo>
                    <a:lnTo>
                      <a:pt x="979" y="728"/>
                    </a:lnTo>
                    <a:lnTo>
                      <a:pt x="973" y="724"/>
                    </a:lnTo>
                    <a:lnTo>
                      <a:pt x="970" y="718"/>
                    </a:lnTo>
                    <a:lnTo>
                      <a:pt x="969" y="714"/>
                    </a:lnTo>
                    <a:lnTo>
                      <a:pt x="969" y="714"/>
                    </a:lnTo>
                    <a:lnTo>
                      <a:pt x="969" y="712"/>
                    </a:lnTo>
                    <a:lnTo>
                      <a:pt x="970" y="711"/>
                    </a:lnTo>
                    <a:lnTo>
                      <a:pt x="972" y="709"/>
                    </a:lnTo>
                    <a:lnTo>
                      <a:pt x="969" y="708"/>
                    </a:lnTo>
                    <a:lnTo>
                      <a:pt x="969" y="708"/>
                    </a:lnTo>
                    <a:lnTo>
                      <a:pt x="957" y="704"/>
                    </a:lnTo>
                    <a:lnTo>
                      <a:pt x="951" y="701"/>
                    </a:lnTo>
                    <a:lnTo>
                      <a:pt x="947" y="698"/>
                    </a:lnTo>
                    <a:lnTo>
                      <a:pt x="947" y="698"/>
                    </a:lnTo>
                    <a:lnTo>
                      <a:pt x="947" y="695"/>
                    </a:lnTo>
                    <a:lnTo>
                      <a:pt x="947" y="694"/>
                    </a:lnTo>
                    <a:lnTo>
                      <a:pt x="947" y="691"/>
                    </a:lnTo>
                    <a:lnTo>
                      <a:pt x="943" y="686"/>
                    </a:lnTo>
                    <a:lnTo>
                      <a:pt x="943" y="686"/>
                    </a:lnTo>
                    <a:lnTo>
                      <a:pt x="931" y="679"/>
                    </a:lnTo>
                    <a:lnTo>
                      <a:pt x="927" y="675"/>
                    </a:lnTo>
                    <a:lnTo>
                      <a:pt x="927" y="673"/>
                    </a:lnTo>
                    <a:lnTo>
                      <a:pt x="927" y="670"/>
                    </a:lnTo>
                    <a:lnTo>
                      <a:pt x="927" y="670"/>
                    </a:lnTo>
                    <a:lnTo>
                      <a:pt x="928" y="660"/>
                    </a:lnTo>
                    <a:lnTo>
                      <a:pt x="930" y="654"/>
                    </a:lnTo>
                    <a:lnTo>
                      <a:pt x="930" y="649"/>
                    </a:lnTo>
                    <a:lnTo>
                      <a:pt x="930" y="649"/>
                    </a:lnTo>
                    <a:lnTo>
                      <a:pt x="928" y="644"/>
                    </a:lnTo>
                    <a:lnTo>
                      <a:pt x="928" y="640"/>
                    </a:lnTo>
                    <a:lnTo>
                      <a:pt x="930" y="637"/>
                    </a:lnTo>
                    <a:lnTo>
                      <a:pt x="932" y="634"/>
                    </a:lnTo>
                    <a:lnTo>
                      <a:pt x="932" y="634"/>
                    </a:lnTo>
                    <a:lnTo>
                      <a:pt x="938" y="628"/>
                    </a:lnTo>
                    <a:lnTo>
                      <a:pt x="940" y="627"/>
                    </a:lnTo>
                    <a:lnTo>
                      <a:pt x="938" y="625"/>
                    </a:lnTo>
                    <a:lnTo>
                      <a:pt x="938" y="625"/>
                    </a:lnTo>
                    <a:lnTo>
                      <a:pt x="915" y="624"/>
                    </a:lnTo>
                    <a:lnTo>
                      <a:pt x="901" y="623"/>
                    </a:lnTo>
                    <a:lnTo>
                      <a:pt x="892" y="623"/>
                    </a:lnTo>
                    <a:lnTo>
                      <a:pt x="892" y="623"/>
                    </a:lnTo>
                    <a:lnTo>
                      <a:pt x="889" y="621"/>
                    </a:lnTo>
                    <a:lnTo>
                      <a:pt x="888" y="620"/>
                    </a:lnTo>
                    <a:lnTo>
                      <a:pt x="883" y="617"/>
                    </a:lnTo>
                    <a:lnTo>
                      <a:pt x="883" y="617"/>
                    </a:lnTo>
                    <a:lnTo>
                      <a:pt x="873" y="610"/>
                    </a:lnTo>
                    <a:lnTo>
                      <a:pt x="863" y="602"/>
                    </a:lnTo>
                    <a:lnTo>
                      <a:pt x="863" y="602"/>
                    </a:lnTo>
                    <a:lnTo>
                      <a:pt x="856" y="596"/>
                    </a:lnTo>
                    <a:lnTo>
                      <a:pt x="850" y="591"/>
                    </a:lnTo>
                    <a:lnTo>
                      <a:pt x="850" y="591"/>
                    </a:lnTo>
                    <a:lnTo>
                      <a:pt x="838" y="579"/>
                    </a:lnTo>
                    <a:lnTo>
                      <a:pt x="833" y="575"/>
                    </a:lnTo>
                    <a:lnTo>
                      <a:pt x="830" y="572"/>
                    </a:lnTo>
                    <a:lnTo>
                      <a:pt x="830" y="572"/>
                    </a:lnTo>
                    <a:lnTo>
                      <a:pt x="821" y="573"/>
                    </a:lnTo>
                    <a:lnTo>
                      <a:pt x="817" y="573"/>
                    </a:lnTo>
                    <a:lnTo>
                      <a:pt x="814" y="572"/>
                    </a:lnTo>
                    <a:lnTo>
                      <a:pt x="814" y="572"/>
                    </a:lnTo>
                    <a:lnTo>
                      <a:pt x="804" y="565"/>
                    </a:lnTo>
                    <a:lnTo>
                      <a:pt x="799" y="562"/>
                    </a:lnTo>
                    <a:lnTo>
                      <a:pt x="795" y="562"/>
                    </a:lnTo>
                    <a:lnTo>
                      <a:pt x="795" y="562"/>
                    </a:lnTo>
                    <a:lnTo>
                      <a:pt x="785" y="568"/>
                    </a:lnTo>
                    <a:lnTo>
                      <a:pt x="779" y="572"/>
                    </a:lnTo>
                    <a:lnTo>
                      <a:pt x="775" y="572"/>
                    </a:lnTo>
                    <a:lnTo>
                      <a:pt x="775" y="572"/>
                    </a:lnTo>
                    <a:lnTo>
                      <a:pt x="775" y="570"/>
                    </a:lnTo>
                    <a:lnTo>
                      <a:pt x="775" y="566"/>
                    </a:lnTo>
                    <a:lnTo>
                      <a:pt x="777" y="560"/>
                    </a:lnTo>
                    <a:lnTo>
                      <a:pt x="777" y="560"/>
                    </a:lnTo>
                    <a:lnTo>
                      <a:pt x="773" y="540"/>
                    </a:lnTo>
                    <a:lnTo>
                      <a:pt x="770" y="527"/>
                    </a:lnTo>
                    <a:lnTo>
                      <a:pt x="767" y="520"/>
                    </a:lnTo>
                    <a:lnTo>
                      <a:pt x="767" y="520"/>
                    </a:lnTo>
                    <a:lnTo>
                      <a:pt x="762" y="515"/>
                    </a:lnTo>
                    <a:lnTo>
                      <a:pt x="759" y="515"/>
                    </a:lnTo>
                    <a:lnTo>
                      <a:pt x="756" y="514"/>
                    </a:lnTo>
                    <a:lnTo>
                      <a:pt x="756" y="514"/>
                    </a:lnTo>
                    <a:lnTo>
                      <a:pt x="751" y="518"/>
                    </a:lnTo>
                    <a:lnTo>
                      <a:pt x="749" y="520"/>
                    </a:lnTo>
                    <a:lnTo>
                      <a:pt x="746" y="518"/>
                    </a:lnTo>
                    <a:lnTo>
                      <a:pt x="746" y="518"/>
                    </a:lnTo>
                    <a:lnTo>
                      <a:pt x="740" y="510"/>
                    </a:lnTo>
                    <a:lnTo>
                      <a:pt x="737" y="507"/>
                    </a:lnTo>
                    <a:lnTo>
                      <a:pt x="735" y="502"/>
                    </a:lnTo>
                    <a:lnTo>
                      <a:pt x="735" y="502"/>
                    </a:lnTo>
                    <a:lnTo>
                      <a:pt x="737" y="498"/>
                    </a:lnTo>
                    <a:lnTo>
                      <a:pt x="737" y="495"/>
                    </a:lnTo>
                    <a:lnTo>
                      <a:pt x="737" y="492"/>
                    </a:lnTo>
                    <a:lnTo>
                      <a:pt x="737" y="492"/>
                    </a:lnTo>
                    <a:lnTo>
                      <a:pt x="737" y="485"/>
                    </a:lnTo>
                    <a:lnTo>
                      <a:pt x="740" y="473"/>
                    </a:lnTo>
                    <a:lnTo>
                      <a:pt x="746" y="452"/>
                    </a:lnTo>
                    <a:lnTo>
                      <a:pt x="746" y="452"/>
                    </a:lnTo>
                    <a:lnTo>
                      <a:pt x="749" y="447"/>
                    </a:lnTo>
                    <a:lnTo>
                      <a:pt x="751" y="444"/>
                    </a:lnTo>
                    <a:lnTo>
                      <a:pt x="753" y="440"/>
                    </a:lnTo>
                    <a:lnTo>
                      <a:pt x="753" y="436"/>
                    </a:lnTo>
                    <a:lnTo>
                      <a:pt x="753" y="436"/>
                    </a:lnTo>
                    <a:lnTo>
                      <a:pt x="749" y="427"/>
                    </a:lnTo>
                    <a:lnTo>
                      <a:pt x="746" y="420"/>
                    </a:lnTo>
                    <a:lnTo>
                      <a:pt x="746" y="420"/>
                    </a:lnTo>
                    <a:lnTo>
                      <a:pt x="743" y="410"/>
                    </a:lnTo>
                    <a:lnTo>
                      <a:pt x="743" y="407"/>
                    </a:lnTo>
                    <a:lnTo>
                      <a:pt x="743" y="405"/>
                    </a:lnTo>
                    <a:lnTo>
                      <a:pt x="744" y="404"/>
                    </a:lnTo>
                    <a:lnTo>
                      <a:pt x="744" y="404"/>
                    </a:lnTo>
                    <a:lnTo>
                      <a:pt x="747" y="405"/>
                    </a:lnTo>
                    <a:lnTo>
                      <a:pt x="749" y="407"/>
                    </a:lnTo>
                    <a:lnTo>
                      <a:pt x="750" y="408"/>
                    </a:lnTo>
                    <a:lnTo>
                      <a:pt x="751" y="407"/>
                    </a:lnTo>
                    <a:lnTo>
                      <a:pt x="751" y="407"/>
                    </a:lnTo>
                    <a:lnTo>
                      <a:pt x="751" y="398"/>
                    </a:lnTo>
                    <a:lnTo>
                      <a:pt x="753" y="395"/>
                    </a:lnTo>
                    <a:lnTo>
                      <a:pt x="754" y="395"/>
                    </a:lnTo>
                    <a:lnTo>
                      <a:pt x="754" y="395"/>
                    </a:lnTo>
                    <a:lnTo>
                      <a:pt x="757" y="397"/>
                    </a:lnTo>
                    <a:lnTo>
                      <a:pt x="760" y="399"/>
                    </a:lnTo>
                    <a:lnTo>
                      <a:pt x="763" y="407"/>
                    </a:lnTo>
                    <a:lnTo>
                      <a:pt x="763" y="407"/>
                    </a:lnTo>
                    <a:lnTo>
                      <a:pt x="767" y="408"/>
                    </a:lnTo>
                    <a:lnTo>
                      <a:pt x="772" y="408"/>
                    </a:lnTo>
                    <a:lnTo>
                      <a:pt x="776" y="408"/>
                    </a:lnTo>
                    <a:lnTo>
                      <a:pt x="777" y="408"/>
                    </a:lnTo>
                    <a:lnTo>
                      <a:pt x="776" y="407"/>
                    </a:lnTo>
                    <a:lnTo>
                      <a:pt x="776" y="407"/>
                    </a:lnTo>
                    <a:lnTo>
                      <a:pt x="772" y="402"/>
                    </a:lnTo>
                    <a:lnTo>
                      <a:pt x="769" y="399"/>
                    </a:lnTo>
                    <a:lnTo>
                      <a:pt x="769" y="398"/>
                    </a:lnTo>
                    <a:lnTo>
                      <a:pt x="770" y="397"/>
                    </a:lnTo>
                    <a:lnTo>
                      <a:pt x="770" y="397"/>
                    </a:lnTo>
                    <a:lnTo>
                      <a:pt x="776" y="391"/>
                    </a:lnTo>
                    <a:lnTo>
                      <a:pt x="777" y="386"/>
                    </a:lnTo>
                    <a:lnTo>
                      <a:pt x="777" y="384"/>
                    </a:lnTo>
                    <a:lnTo>
                      <a:pt x="777" y="384"/>
                    </a:lnTo>
                    <a:lnTo>
                      <a:pt x="772" y="378"/>
                    </a:lnTo>
                    <a:lnTo>
                      <a:pt x="770" y="376"/>
                    </a:lnTo>
                    <a:lnTo>
                      <a:pt x="770" y="375"/>
                    </a:lnTo>
                    <a:lnTo>
                      <a:pt x="770" y="375"/>
                    </a:lnTo>
                    <a:lnTo>
                      <a:pt x="770" y="375"/>
                    </a:lnTo>
                    <a:lnTo>
                      <a:pt x="775" y="375"/>
                    </a:lnTo>
                    <a:lnTo>
                      <a:pt x="777" y="376"/>
                    </a:lnTo>
                    <a:lnTo>
                      <a:pt x="785" y="381"/>
                    </a:lnTo>
                    <a:lnTo>
                      <a:pt x="785" y="381"/>
                    </a:lnTo>
                    <a:lnTo>
                      <a:pt x="792" y="385"/>
                    </a:lnTo>
                    <a:lnTo>
                      <a:pt x="795" y="386"/>
                    </a:lnTo>
                    <a:lnTo>
                      <a:pt x="799" y="385"/>
                    </a:lnTo>
                    <a:lnTo>
                      <a:pt x="799" y="385"/>
                    </a:lnTo>
                    <a:lnTo>
                      <a:pt x="802" y="384"/>
                    </a:lnTo>
                    <a:lnTo>
                      <a:pt x="804" y="381"/>
                    </a:lnTo>
                    <a:lnTo>
                      <a:pt x="805" y="378"/>
                    </a:lnTo>
                    <a:lnTo>
                      <a:pt x="805" y="373"/>
                    </a:lnTo>
                    <a:lnTo>
                      <a:pt x="805" y="373"/>
                    </a:lnTo>
                    <a:lnTo>
                      <a:pt x="801" y="368"/>
                    </a:lnTo>
                    <a:lnTo>
                      <a:pt x="795" y="360"/>
                    </a:lnTo>
                    <a:lnTo>
                      <a:pt x="786" y="353"/>
                    </a:lnTo>
                    <a:lnTo>
                      <a:pt x="779" y="347"/>
                    </a:lnTo>
                    <a:lnTo>
                      <a:pt x="779" y="347"/>
                    </a:lnTo>
                    <a:lnTo>
                      <a:pt x="788" y="352"/>
                    </a:lnTo>
                    <a:lnTo>
                      <a:pt x="805" y="360"/>
                    </a:lnTo>
                    <a:lnTo>
                      <a:pt x="805" y="360"/>
                    </a:lnTo>
                    <a:lnTo>
                      <a:pt x="806" y="360"/>
                    </a:lnTo>
                    <a:lnTo>
                      <a:pt x="808" y="360"/>
                    </a:lnTo>
                    <a:lnTo>
                      <a:pt x="809" y="359"/>
                    </a:lnTo>
                    <a:lnTo>
                      <a:pt x="809" y="353"/>
                    </a:lnTo>
                    <a:lnTo>
                      <a:pt x="809" y="349"/>
                    </a:lnTo>
                    <a:lnTo>
                      <a:pt x="809" y="349"/>
                    </a:lnTo>
                    <a:lnTo>
                      <a:pt x="806" y="342"/>
                    </a:lnTo>
                    <a:lnTo>
                      <a:pt x="806" y="340"/>
                    </a:lnTo>
                    <a:lnTo>
                      <a:pt x="811" y="340"/>
                    </a:lnTo>
                    <a:lnTo>
                      <a:pt x="811" y="340"/>
                    </a:lnTo>
                    <a:lnTo>
                      <a:pt x="814" y="340"/>
                    </a:lnTo>
                    <a:lnTo>
                      <a:pt x="817" y="339"/>
                    </a:lnTo>
                    <a:lnTo>
                      <a:pt x="819" y="337"/>
                    </a:lnTo>
                    <a:lnTo>
                      <a:pt x="819" y="334"/>
                    </a:lnTo>
                    <a:lnTo>
                      <a:pt x="819" y="334"/>
                    </a:lnTo>
                    <a:lnTo>
                      <a:pt x="821" y="334"/>
                    </a:lnTo>
                    <a:lnTo>
                      <a:pt x="822" y="336"/>
                    </a:lnTo>
                    <a:lnTo>
                      <a:pt x="827" y="339"/>
                    </a:lnTo>
                    <a:lnTo>
                      <a:pt x="833" y="343"/>
                    </a:lnTo>
                    <a:lnTo>
                      <a:pt x="837" y="344"/>
                    </a:lnTo>
                    <a:lnTo>
                      <a:pt x="837" y="344"/>
                    </a:lnTo>
                    <a:lnTo>
                      <a:pt x="840" y="342"/>
                    </a:lnTo>
                    <a:lnTo>
                      <a:pt x="844" y="339"/>
                    </a:lnTo>
                    <a:lnTo>
                      <a:pt x="847" y="334"/>
                    </a:lnTo>
                    <a:lnTo>
                      <a:pt x="848" y="330"/>
                    </a:lnTo>
                    <a:lnTo>
                      <a:pt x="848" y="330"/>
                    </a:lnTo>
                    <a:lnTo>
                      <a:pt x="848" y="320"/>
                    </a:lnTo>
                    <a:lnTo>
                      <a:pt x="848" y="315"/>
                    </a:lnTo>
                    <a:lnTo>
                      <a:pt x="851" y="311"/>
                    </a:lnTo>
                    <a:lnTo>
                      <a:pt x="851" y="311"/>
                    </a:lnTo>
                    <a:lnTo>
                      <a:pt x="854" y="302"/>
                    </a:lnTo>
                    <a:lnTo>
                      <a:pt x="856" y="298"/>
                    </a:lnTo>
                    <a:lnTo>
                      <a:pt x="854" y="297"/>
                    </a:lnTo>
                    <a:lnTo>
                      <a:pt x="853" y="295"/>
                    </a:lnTo>
                    <a:lnTo>
                      <a:pt x="853" y="295"/>
                    </a:lnTo>
                    <a:lnTo>
                      <a:pt x="843" y="294"/>
                    </a:lnTo>
                    <a:lnTo>
                      <a:pt x="835" y="292"/>
                    </a:lnTo>
                    <a:lnTo>
                      <a:pt x="828" y="289"/>
                    </a:lnTo>
                    <a:lnTo>
                      <a:pt x="828" y="289"/>
                    </a:lnTo>
                    <a:lnTo>
                      <a:pt x="815" y="285"/>
                    </a:lnTo>
                    <a:lnTo>
                      <a:pt x="804" y="282"/>
                    </a:lnTo>
                    <a:lnTo>
                      <a:pt x="804" y="282"/>
                    </a:lnTo>
                    <a:lnTo>
                      <a:pt x="785" y="284"/>
                    </a:lnTo>
                    <a:lnTo>
                      <a:pt x="772" y="284"/>
                    </a:lnTo>
                    <a:lnTo>
                      <a:pt x="767" y="284"/>
                    </a:lnTo>
                    <a:lnTo>
                      <a:pt x="767" y="284"/>
                    </a:lnTo>
                    <a:lnTo>
                      <a:pt x="772" y="281"/>
                    </a:lnTo>
                    <a:lnTo>
                      <a:pt x="777" y="279"/>
                    </a:lnTo>
                    <a:lnTo>
                      <a:pt x="777" y="279"/>
                    </a:lnTo>
                    <a:lnTo>
                      <a:pt x="788" y="278"/>
                    </a:lnTo>
                    <a:lnTo>
                      <a:pt x="793" y="276"/>
                    </a:lnTo>
                    <a:lnTo>
                      <a:pt x="795" y="275"/>
                    </a:lnTo>
                    <a:lnTo>
                      <a:pt x="795" y="275"/>
                    </a:lnTo>
                    <a:lnTo>
                      <a:pt x="792" y="272"/>
                    </a:lnTo>
                    <a:lnTo>
                      <a:pt x="792" y="269"/>
                    </a:lnTo>
                    <a:lnTo>
                      <a:pt x="793" y="268"/>
                    </a:lnTo>
                    <a:lnTo>
                      <a:pt x="793" y="268"/>
                    </a:lnTo>
                    <a:lnTo>
                      <a:pt x="796" y="266"/>
                    </a:lnTo>
                    <a:lnTo>
                      <a:pt x="799" y="268"/>
                    </a:lnTo>
                    <a:lnTo>
                      <a:pt x="809" y="269"/>
                    </a:lnTo>
                    <a:lnTo>
                      <a:pt x="809" y="269"/>
                    </a:lnTo>
                    <a:lnTo>
                      <a:pt x="815" y="272"/>
                    </a:lnTo>
                    <a:lnTo>
                      <a:pt x="822" y="275"/>
                    </a:lnTo>
                    <a:lnTo>
                      <a:pt x="834" y="282"/>
                    </a:lnTo>
                    <a:lnTo>
                      <a:pt x="834" y="282"/>
                    </a:lnTo>
                    <a:lnTo>
                      <a:pt x="846" y="287"/>
                    </a:lnTo>
                    <a:lnTo>
                      <a:pt x="853" y="289"/>
                    </a:lnTo>
                    <a:lnTo>
                      <a:pt x="859" y="289"/>
                    </a:lnTo>
                    <a:lnTo>
                      <a:pt x="859" y="289"/>
                    </a:lnTo>
                    <a:lnTo>
                      <a:pt x="863" y="285"/>
                    </a:lnTo>
                    <a:lnTo>
                      <a:pt x="870" y="276"/>
                    </a:lnTo>
                    <a:lnTo>
                      <a:pt x="879" y="265"/>
                    </a:lnTo>
                    <a:lnTo>
                      <a:pt x="879" y="265"/>
                    </a:lnTo>
                    <a:lnTo>
                      <a:pt x="879" y="263"/>
                    </a:lnTo>
                    <a:lnTo>
                      <a:pt x="877" y="260"/>
                    </a:lnTo>
                    <a:lnTo>
                      <a:pt x="873" y="253"/>
                    </a:lnTo>
                    <a:lnTo>
                      <a:pt x="867" y="246"/>
                    </a:lnTo>
                    <a:lnTo>
                      <a:pt x="866" y="245"/>
                    </a:lnTo>
                    <a:lnTo>
                      <a:pt x="867" y="243"/>
                    </a:lnTo>
                    <a:lnTo>
                      <a:pt x="867" y="243"/>
                    </a:lnTo>
                    <a:lnTo>
                      <a:pt x="869" y="243"/>
                    </a:lnTo>
                    <a:lnTo>
                      <a:pt x="870" y="245"/>
                    </a:lnTo>
                    <a:lnTo>
                      <a:pt x="873" y="245"/>
                    </a:lnTo>
                    <a:lnTo>
                      <a:pt x="876" y="245"/>
                    </a:lnTo>
                    <a:lnTo>
                      <a:pt x="876" y="245"/>
                    </a:lnTo>
                    <a:lnTo>
                      <a:pt x="883" y="242"/>
                    </a:lnTo>
                    <a:lnTo>
                      <a:pt x="886" y="242"/>
                    </a:lnTo>
                    <a:lnTo>
                      <a:pt x="886" y="243"/>
                    </a:lnTo>
                    <a:lnTo>
                      <a:pt x="886" y="243"/>
                    </a:lnTo>
                    <a:lnTo>
                      <a:pt x="889" y="252"/>
                    </a:lnTo>
                    <a:lnTo>
                      <a:pt x="890" y="256"/>
                    </a:lnTo>
                    <a:lnTo>
                      <a:pt x="893" y="259"/>
                    </a:lnTo>
                    <a:lnTo>
                      <a:pt x="893" y="259"/>
                    </a:lnTo>
                    <a:lnTo>
                      <a:pt x="902" y="263"/>
                    </a:lnTo>
                    <a:lnTo>
                      <a:pt x="905" y="263"/>
                    </a:lnTo>
                    <a:lnTo>
                      <a:pt x="906" y="262"/>
                    </a:lnTo>
                    <a:lnTo>
                      <a:pt x="905" y="260"/>
                    </a:lnTo>
                    <a:lnTo>
                      <a:pt x="905" y="260"/>
                    </a:lnTo>
                    <a:lnTo>
                      <a:pt x="901" y="253"/>
                    </a:lnTo>
                    <a:lnTo>
                      <a:pt x="899" y="250"/>
                    </a:lnTo>
                    <a:lnTo>
                      <a:pt x="901" y="249"/>
                    </a:lnTo>
                    <a:lnTo>
                      <a:pt x="901" y="249"/>
                    </a:lnTo>
                    <a:lnTo>
                      <a:pt x="902" y="249"/>
                    </a:lnTo>
                    <a:lnTo>
                      <a:pt x="903" y="247"/>
                    </a:lnTo>
                    <a:lnTo>
                      <a:pt x="903" y="243"/>
                    </a:lnTo>
                    <a:lnTo>
                      <a:pt x="903" y="243"/>
                    </a:lnTo>
                    <a:lnTo>
                      <a:pt x="905" y="240"/>
                    </a:lnTo>
                    <a:lnTo>
                      <a:pt x="905" y="240"/>
                    </a:lnTo>
                    <a:lnTo>
                      <a:pt x="905" y="239"/>
                    </a:lnTo>
                    <a:lnTo>
                      <a:pt x="903" y="236"/>
                    </a:lnTo>
                    <a:lnTo>
                      <a:pt x="903" y="236"/>
                    </a:lnTo>
                    <a:lnTo>
                      <a:pt x="893" y="229"/>
                    </a:lnTo>
                    <a:lnTo>
                      <a:pt x="890" y="226"/>
                    </a:lnTo>
                    <a:lnTo>
                      <a:pt x="889" y="224"/>
                    </a:lnTo>
                    <a:lnTo>
                      <a:pt x="889" y="224"/>
                    </a:lnTo>
                    <a:lnTo>
                      <a:pt x="892" y="223"/>
                    </a:lnTo>
                    <a:lnTo>
                      <a:pt x="895" y="223"/>
                    </a:lnTo>
                    <a:lnTo>
                      <a:pt x="898" y="223"/>
                    </a:lnTo>
                    <a:lnTo>
                      <a:pt x="902" y="224"/>
                    </a:lnTo>
                    <a:lnTo>
                      <a:pt x="902" y="224"/>
                    </a:lnTo>
                    <a:lnTo>
                      <a:pt x="906" y="229"/>
                    </a:lnTo>
                    <a:lnTo>
                      <a:pt x="909" y="233"/>
                    </a:lnTo>
                    <a:lnTo>
                      <a:pt x="909" y="233"/>
                    </a:lnTo>
                    <a:lnTo>
                      <a:pt x="914" y="242"/>
                    </a:lnTo>
                    <a:lnTo>
                      <a:pt x="917" y="249"/>
                    </a:lnTo>
                    <a:lnTo>
                      <a:pt x="917" y="249"/>
                    </a:lnTo>
                    <a:lnTo>
                      <a:pt x="918" y="253"/>
                    </a:lnTo>
                    <a:lnTo>
                      <a:pt x="919" y="255"/>
                    </a:lnTo>
                    <a:lnTo>
                      <a:pt x="921" y="256"/>
                    </a:lnTo>
                    <a:lnTo>
                      <a:pt x="921" y="256"/>
                    </a:lnTo>
                    <a:lnTo>
                      <a:pt x="922" y="253"/>
                    </a:lnTo>
                    <a:lnTo>
                      <a:pt x="924" y="252"/>
                    </a:lnTo>
                    <a:lnTo>
                      <a:pt x="924" y="249"/>
                    </a:lnTo>
                    <a:lnTo>
                      <a:pt x="927" y="246"/>
                    </a:lnTo>
                    <a:lnTo>
                      <a:pt x="927" y="246"/>
                    </a:lnTo>
                    <a:lnTo>
                      <a:pt x="934" y="242"/>
                    </a:lnTo>
                    <a:lnTo>
                      <a:pt x="943" y="236"/>
                    </a:lnTo>
                    <a:lnTo>
                      <a:pt x="943" y="236"/>
                    </a:lnTo>
                    <a:lnTo>
                      <a:pt x="945" y="231"/>
                    </a:lnTo>
                    <a:lnTo>
                      <a:pt x="947" y="230"/>
                    </a:lnTo>
                    <a:lnTo>
                      <a:pt x="951" y="229"/>
                    </a:lnTo>
                    <a:lnTo>
                      <a:pt x="951" y="229"/>
                    </a:lnTo>
                    <a:lnTo>
                      <a:pt x="954" y="227"/>
                    </a:lnTo>
                    <a:lnTo>
                      <a:pt x="957" y="226"/>
                    </a:lnTo>
                    <a:lnTo>
                      <a:pt x="959" y="223"/>
                    </a:lnTo>
                    <a:lnTo>
                      <a:pt x="959" y="221"/>
                    </a:lnTo>
                    <a:lnTo>
                      <a:pt x="959" y="221"/>
                    </a:lnTo>
                    <a:lnTo>
                      <a:pt x="957" y="210"/>
                    </a:lnTo>
                    <a:lnTo>
                      <a:pt x="956" y="201"/>
                    </a:lnTo>
                    <a:lnTo>
                      <a:pt x="954" y="197"/>
                    </a:lnTo>
                    <a:lnTo>
                      <a:pt x="954" y="197"/>
                    </a:lnTo>
                    <a:lnTo>
                      <a:pt x="950" y="189"/>
                    </a:lnTo>
                    <a:lnTo>
                      <a:pt x="947" y="185"/>
                    </a:lnTo>
                    <a:lnTo>
                      <a:pt x="947" y="181"/>
                    </a:lnTo>
                    <a:lnTo>
                      <a:pt x="947" y="181"/>
                    </a:lnTo>
                    <a:lnTo>
                      <a:pt x="945" y="172"/>
                    </a:lnTo>
                    <a:lnTo>
                      <a:pt x="944" y="165"/>
                    </a:lnTo>
                    <a:lnTo>
                      <a:pt x="944" y="165"/>
                    </a:lnTo>
                    <a:lnTo>
                      <a:pt x="941" y="161"/>
                    </a:lnTo>
                    <a:lnTo>
                      <a:pt x="941" y="158"/>
                    </a:lnTo>
                    <a:lnTo>
                      <a:pt x="944" y="158"/>
                    </a:lnTo>
                    <a:lnTo>
                      <a:pt x="944" y="158"/>
                    </a:lnTo>
                    <a:lnTo>
                      <a:pt x="954" y="158"/>
                    </a:lnTo>
                    <a:lnTo>
                      <a:pt x="959" y="158"/>
                    </a:lnTo>
                    <a:lnTo>
                      <a:pt x="960" y="156"/>
                    </a:lnTo>
                    <a:lnTo>
                      <a:pt x="960" y="155"/>
                    </a:lnTo>
                    <a:lnTo>
                      <a:pt x="960" y="155"/>
                    </a:lnTo>
                    <a:lnTo>
                      <a:pt x="961" y="147"/>
                    </a:lnTo>
                    <a:lnTo>
                      <a:pt x="960" y="145"/>
                    </a:lnTo>
                    <a:lnTo>
                      <a:pt x="959" y="143"/>
                    </a:lnTo>
                    <a:lnTo>
                      <a:pt x="959" y="143"/>
                    </a:lnTo>
                    <a:lnTo>
                      <a:pt x="956" y="140"/>
                    </a:lnTo>
                    <a:lnTo>
                      <a:pt x="956" y="139"/>
                    </a:lnTo>
                    <a:lnTo>
                      <a:pt x="957" y="137"/>
                    </a:lnTo>
                    <a:lnTo>
                      <a:pt x="957" y="137"/>
                    </a:lnTo>
                    <a:lnTo>
                      <a:pt x="959" y="134"/>
                    </a:lnTo>
                    <a:lnTo>
                      <a:pt x="960" y="133"/>
                    </a:lnTo>
                    <a:lnTo>
                      <a:pt x="959" y="132"/>
                    </a:lnTo>
                    <a:lnTo>
                      <a:pt x="957" y="130"/>
                    </a:lnTo>
                    <a:lnTo>
                      <a:pt x="957" y="130"/>
                    </a:lnTo>
                    <a:lnTo>
                      <a:pt x="951" y="133"/>
                    </a:lnTo>
                    <a:lnTo>
                      <a:pt x="948" y="133"/>
                    </a:lnTo>
                    <a:lnTo>
                      <a:pt x="945" y="133"/>
                    </a:lnTo>
                    <a:lnTo>
                      <a:pt x="945" y="133"/>
                    </a:lnTo>
                    <a:lnTo>
                      <a:pt x="944" y="127"/>
                    </a:lnTo>
                    <a:lnTo>
                      <a:pt x="943" y="126"/>
                    </a:lnTo>
                    <a:lnTo>
                      <a:pt x="944" y="124"/>
                    </a:lnTo>
                    <a:lnTo>
                      <a:pt x="944" y="124"/>
                    </a:lnTo>
                    <a:lnTo>
                      <a:pt x="944" y="123"/>
                    </a:lnTo>
                    <a:lnTo>
                      <a:pt x="943" y="121"/>
                    </a:lnTo>
                    <a:lnTo>
                      <a:pt x="940" y="120"/>
                    </a:lnTo>
                    <a:lnTo>
                      <a:pt x="940" y="117"/>
                    </a:lnTo>
                    <a:lnTo>
                      <a:pt x="940" y="117"/>
                    </a:lnTo>
                    <a:lnTo>
                      <a:pt x="943" y="111"/>
                    </a:lnTo>
                    <a:lnTo>
                      <a:pt x="944" y="110"/>
                    </a:lnTo>
                    <a:lnTo>
                      <a:pt x="943" y="108"/>
                    </a:lnTo>
                    <a:lnTo>
                      <a:pt x="943" y="108"/>
                    </a:lnTo>
                    <a:lnTo>
                      <a:pt x="934" y="105"/>
                    </a:lnTo>
                    <a:lnTo>
                      <a:pt x="931" y="105"/>
                    </a:lnTo>
                    <a:lnTo>
                      <a:pt x="930" y="105"/>
                    </a:lnTo>
                    <a:lnTo>
                      <a:pt x="930" y="105"/>
                    </a:lnTo>
                    <a:lnTo>
                      <a:pt x="928" y="107"/>
                    </a:lnTo>
                    <a:lnTo>
                      <a:pt x="925" y="108"/>
                    </a:lnTo>
                    <a:lnTo>
                      <a:pt x="922" y="110"/>
                    </a:lnTo>
                    <a:lnTo>
                      <a:pt x="919" y="108"/>
                    </a:lnTo>
                    <a:lnTo>
                      <a:pt x="919" y="108"/>
                    </a:lnTo>
                    <a:lnTo>
                      <a:pt x="915" y="104"/>
                    </a:lnTo>
                    <a:lnTo>
                      <a:pt x="912" y="103"/>
                    </a:lnTo>
                    <a:lnTo>
                      <a:pt x="909" y="101"/>
                    </a:lnTo>
                    <a:lnTo>
                      <a:pt x="909" y="101"/>
                    </a:lnTo>
                    <a:lnTo>
                      <a:pt x="902" y="103"/>
                    </a:lnTo>
                    <a:lnTo>
                      <a:pt x="898" y="103"/>
                    </a:lnTo>
                    <a:lnTo>
                      <a:pt x="895" y="103"/>
                    </a:lnTo>
                    <a:lnTo>
                      <a:pt x="895" y="103"/>
                    </a:lnTo>
                    <a:lnTo>
                      <a:pt x="892" y="101"/>
                    </a:lnTo>
                    <a:lnTo>
                      <a:pt x="890" y="101"/>
                    </a:lnTo>
                    <a:lnTo>
                      <a:pt x="890" y="103"/>
                    </a:lnTo>
                    <a:lnTo>
                      <a:pt x="890" y="103"/>
                    </a:lnTo>
                    <a:lnTo>
                      <a:pt x="892" y="107"/>
                    </a:lnTo>
                    <a:lnTo>
                      <a:pt x="892" y="108"/>
                    </a:lnTo>
                    <a:lnTo>
                      <a:pt x="892" y="110"/>
                    </a:lnTo>
                    <a:lnTo>
                      <a:pt x="892" y="110"/>
                    </a:lnTo>
                    <a:lnTo>
                      <a:pt x="890" y="111"/>
                    </a:lnTo>
                    <a:lnTo>
                      <a:pt x="890" y="114"/>
                    </a:lnTo>
                    <a:lnTo>
                      <a:pt x="893" y="123"/>
                    </a:lnTo>
                    <a:lnTo>
                      <a:pt x="893" y="123"/>
                    </a:lnTo>
                    <a:lnTo>
                      <a:pt x="893" y="126"/>
                    </a:lnTo>
                    <a:lnTo>
                      <a:pt x="893" y="129"/>
                    </a:lnTo>
                    <a:lnTo>
                      <a:pt x="893" y="130"/>
                    </a:lnTo>
                    <a:lnTo>
                      <a:pt x="895" y="132"/>
                    </a:lnTo>
                    <a:lnTo>
                      <a:pt x="895" y="132"/>
                    </a:lnTo>
                    <a:lnTo>
                      <a:pt x="901" y="134"/>
                    </a:lnTo>
                    <a:lnTo>
                      <a:pt x="903" y="137"/>
                    </a:lnTo>
                    <a:lnTo>
                      <a:pt x="903" y="139"/>
                    </a:lnTo>
                    <a:lnTo>
                      <a:pt x="903" y="139"/>
                    </a:lnTo>
                    <a:lnTo>
                      <a:pt x="903" y="139"/>
                    </a:lnTo>
                    <a:lnTo>
                      <a:pt x="906" y="142"/>
                    </a:lnTo>
                    <a:lnTo>
                      <a:pt x="908" y="143"/>
                    </a:lnTo>
                    <a:lnTo>
                      <a:pt x="909" y="143"/>
                    </a:lnTo>
                    <a:lnTo>
                      <a:pt x="908" y="145"/>
                    </a:lnTo>
                    <a:lnTo>
                      <a:pt x="908" y="145"/>
                    </a:lnTo>
                    <a:lnTo>
                      <a:pt x="905" y="147"/>
                    </a:lnTo>
                    <a:lnTo>
                      <a:pt x="902" y="149"/>
                    </a:lnTo>
                    <a:lnTo>
                      <a:pt x="899" y="149"/>
                    </a:lnTo>
                    <a:lnTo>
                      <a:pt x="899" y="149"/>
                    </a:lnTo>
                    <a:lnTo>
                      <a:pt x="893" y="146"/>
                    </a:lnTo>
                    <a:lnTo>
                      <a:pt x="892" y="147"/>
                    </a:lnTo>
                    <a:lnTo>
                      <a:pt x="892" y="147"/>
                    </a:lnTo>
                    <a:lnTo>
                      <a:pt x="892" y="147"/>
                    </a:lnTo>
                    <a:lnTo>
                      <a:pt x="890" y="153"/>
                    </a:lnTo>
                    <a:lnTo>
                      <a:pt x="889" y="162"/>
                    </a:lnTo>
                    <a:lnTo>
                      <a:pt x="888" y="171"/>
                    </a:lnTo>
                    <a:lnTo>
                      <a:pt x="885" y="176"/>
                    </a:lnTo>
                    <a:lnTo>
                      <a:pt x="885" y="176"/>
                    </a:lnTo>
                    <a:lnTo>
                      <a:pt x="883" y="181"/>
                    </a:lnTo>
                    <a:lnTo>
                      <a:pt x="882" y="185"/>
                    </a:lnTo>
                    <a:lnTo>
                      <a:pt x="880" y="189"/>
                    </a:lnTo>
                    <a:lnTo>
                      <a:pt x="879" y="191"/>
                    </a:lnTo>
                    <a:lnTo>
                      <a:pt x="877" y="191"/>
                    </a:lnTo>
                    <a:lnTo>
                      <a:pt x="877" y="191"/>
                    </a:lnTo>
                    <a:lnTo>
                      <a:pt x="875" y="188"/>
                    </a:lnTo>
                    <a:lnTo>
                      <a:pt x="873" y="187"/>
                    </a:lnTo>
                    <a:lnTo>
                      <a:pt x="873" y="185"/>
                    </a:lnTo>
                    <a:lnTo>
                      <a:pt x="872" y="188"/>
                    </a:lnTo>
                    <a:lnTo>
                      <a:pt x="872" y="188"/>
                    </a:lnTo>
                    <a:lnTo>
                      <a:pt x="873" y="192"/>
                    </a:lnTo>
                    <a:lnTo>
                      <a:pt x="876" y="198"/>
                    </a:lnTo>
                    <a:lnTo>
                      <a:pt x="877" y="203"/>
                    </a:lnTo>
                    <a:lnTo>
                      <a:pt x="877" y="204"/>
                    </a:lnTo>
                    <a:lnTo>
                      <a:pt x="876" y="205"/>
                    </a:lnTo>
                    <a:lnTo>
                      <a:pt x="876" y="205"/>
                    </a:lnTo>
                    <a:lnTo>
                      <a:pt x="873" y="207"/>
                    </a:lnTo>
                    <a:lnTo>
                      <a:pt x="870" y="210"/>
                    </a:lnTo>
                    <a:lnTo>
                      <a:pt x="867" y="213"/>
                    </a:lnTo>
                    <a:lnTo>
                      <a:pt x="864" y="213"/>
                    </a:lnTo>
                    <a:lnTo>
                      <a:pt x="864" y="213"/>
                    </a:lnTo>
                    <a:lnTo>
                      <a:pt x="860" y="211"/>
                    </a:lnTo>
                    <a:lnTo>
                      <a:pt x="857" y="210"/>
                    </a:lnTo>
                    <a:lnTo>
                      <a:pt x="854" y="205"/>
                    </a:lnTo>
                    <a:lnTo>
                      <a:pt x="854" y="205"/>
                    </a:lnTo>
                    <a:lnTo>
                      <a:pt x="851" y="198"/>
                    </a:lnTo>
                    <a:lnTo>
                      <a:pt x="846" y="191"/>
                    </a:lnTo>
                    <a:lnTo>
                      <a:pt x="846" y="191"/>
                    </a:lnTo>
                    <a:lnTo>
                      <a:pt x="846" y="187"/>
                    </a:lnTo>
                    <a:lnTo>
                      <a:pt x="844" y="181"/>
                    </a:lnTo>
                    <a:lnTo>
                      <a:pt x="844" y="171"/>
                    </a:lnTo>
                    <a:lnTo>
                      <a:pt x="844" y="171"/>
                    </a:lnTo>
                    <a:lnTo>
                      <a:pt x="844" y="168"/>
                    </a:lnTo>
                    <a:lnTo>
                      <a:pt x="846" y="166"/>
                    </a:lnTo>
                    <a:lnTo>
                      <a:pt x="847" y="166"/>
                    </a:lnTo>
                    <a:lnTo>
                      <a:pt x="848" y="166"/>
                    </a:lnTo>
                    <a:lnTo>
                      <a:pt x="848" y="166"/>
                    </a:lnTo>
                    <a:lnTo>
                      <a:pt x="850" y="168"/>
                    </a:lnTo>
                    <a:lnTo>
                      <a:pt x="851" y="166"/>
                    </a:lnTo>
                    <a:lnTo>
                      <a:pt x="851" y="158"/>
                    </a:lnTo>
                    <a:lnTo>
                      <a:pt x="851" y="158"/>
                    </a:lnTo>
                    <a:lnTo>
                      <a:pt x="853" y="152"/>
                    </a:lnTo>
                    <a:lnTo>
                      <a:pt x="853" y="149"/>
                    </a:lnTo>
                    <a:lnTo>
                      <a:pt x="853" y="145"/>
                    </a:lnTo>
                    <a:lnTo>
                      <a:pt x="851" y="142"/>
                    </a:lnTo>
                    <a:lnTo>
                      <a:pt x="851" y="142"/>
                    </a:lnTo>
                    <a:lnTo>
                      <a:pt x="846" y="136"/>
                    </a:lnTo>
                    <a:lnTo>
                      <a:pt x="841" y="130"/>
                    </a:lnTo>
                    <a:lnTo>
                      <a:pt x="841" y="130"/>
                    </a:lnTo>
                    <a:lnTo>
                      <a:pt x="838" y="129"/>
                    </a:lnTo>
                    <a:lnTo>
                      <a:pt x="834" y="127"/>
                    </a:lnTo>
                    <a:lnTo>
                      <a:pt x="830" y="127"/>
                    </a:lnTo>
                    <a:lnTo>
                      <a:pt x="828" y="129"/>
                    </a:lnTo>
                    <a:lnTo>
                      <a:pt x="828" y="129"/>
                    </a:lnTo>
                    <a:lnTo>
                      <a:pt x="824" y="132"/>
                    </a:lnTo>
                    <a:lnTo>
                      <a:pt x="822" y="134"/>
                    </a:lnTo>
                    <a:lnTo>
                      <a:pt x="822" y="137"/>
                    </a:lnTo>
                    <a:lnTo>
                      <a:pt x="822" y="137"/>
                    </a:lnTo>
                    <a:lnTo>
                      <a:pt x="824" y="142"/>
                    </a:lnTo>
                    <a:lnTo>
                      <a:pt x="824" y="147"/>
                    </a:lnTo>
                    <a:lnTo>
                      <a:pt x="822" y="152"/>
                    </a:lnTo>
                    <a:lnTo>
                      <a:pt x="821" y="155"/>
                    </a:lnTo>
                    <a:lnTo>
                      <a:pt x="821" y="155"/>
                    </a:lnTo>
                    <a:lnTo>
                      <a:pt x="819" y="158"/>
                    </a:lnTo>
                    <a:lnTo>
                      <a:pt x="817" y="162"/>
                    </a:lnTo>
                    <a:lnTo>
                      <a:pt x="814" y="166"/>
                    </a:lnTo>
                    <a:lnTo>
                      <a:pt x="811" y="168"/>
                    </a:lnTo>
                    <a:lnTo>
                      <a:pt x="811" y="168"/>
                    </a:lnTo>
                    <a:lnTo>
                      <a:pt x="808" y="166"/>
                    </a:lnTo>
                    <a:lnTo>
                      <a:pt x="806" y="163"/>
                    </a:lnTo>
                    <a:lnTo>
                      <a:pt x="804" y="155"/>
                    </a:lnTo>
                    <a:lnTo>
                      <a:pt x="804" y="155"/>
                    </a:lnTo>
                    <a:lnTo>
                      <a:pt x="805" y="143"/>
                    </a:lnTo>
                    <a:lnTo>
                      <a:pt x="804" y="137"/>
                    </a:lnTo>
                    <a:lnTo>
                      <a:pt x="802" y="133"/>
                    </a:lnTo>
                    <a:lnTo>
                      <a:pt x="802" y="133"/>
                    </a:lnTo>
                    <a:lnTo>
                      <a:pt x="796" y="129"/>
                    </a:lnTo>
                    <a:lnTo>
                      <a:pt x="793" y="127"/>
                    </a:lnTo>
                    <a:lnTo>
                      <a:pt x="793" y="126"/>
                    </a:lnTo>
                    <a:lnTo>
                      <a:pt x="793" y="126"/>
                    </a:lnTo>
                    <a:lnTo>
                      <a:pt x="799" y="126"/>
                    </a:lnTo>
                    <a:lnTo>
                      <a:pt x="802" y="126"/>
                    </a:lnTo>
                    <a:lnTo>
                      <a:pt x="801" y="124"/>
                    </a:lnTo>
                    <a:lnTo>
                      <a:pt x="801" y="124"/>
                    </a:lnTo>
                    <a:lnTo>
                      <a:pt x="799" y="123"/>
                    </a:lnTo>
                    <a:lnTo>
                      <a:pt x="796" y="121"/>
                    </a:lnTo>
                    <a:lnTo>
                      <a:pt x="789" y="117"/>
                    </a:lnTo>
                    <a:lnTo>
                      <a:pt x="789" y="117"/>
                    </a:lnTo>
                    <a:lnTo>
                      <a:pt x="786" y="116"/>
                    </a:lnTo>
                    <a:lnTo>
                      <a:pt x="786" y="113"/>
                    </a:lnTo>
                    <a:lnTo>
                      <a:pt x="785" y="110"/>
                    </a:lnTo>
                    <a:lnTo>
                      <a:pt x="782" y="108"/>
                    </a:lnTo>
                    <a:lnTo>
                      <a:pt x="782" y="108"/>
                    </a:lnTo>
                    <a:lnTo>
                      <a:pt x="775" y="104"/>
                    </a:lnTo>
                    <a:lnTo>
                      <a:pt x="773" y="103"/>
                    </a:lnTo>
                    <a:lnTo>
                      <a:pt x="773" y="100"/>
                    </a:lnTo>
                    <a:lnTo>
                      <a:pt x="773" y="100"/>
                    </a:lnTo>
                    <a:lnTo>
                      <a:pt x="776" y="98"/>
                    </a:lnTo>
                    <a:lnTo>
                      <a:pt x="779" y="98"/>
                    </a:lnTo>
                    <a:lnTo>
                      <a:pt x="782" y="97"/>
                    </a:lnTo>
                    <a:lnTo>
                      <a:pt x="786" y="94"/>
                    </a:lnTo>
                    <a:lnTo>
                      <a:pt x="786" y="94"/>
                    </a:lnTo>
                    <a:lnTo>
                      <a:pt x="788" y="91"/>
                    </a:lnTo>
                    <a:lnTo>
                      <a:pt x="789" y="88"/>
                    </a:lnTo>
                    <a:lnTo>
                      <a:pt x="789" y="87"/>
                    </a:lnTo>
                    <a:lnTo>
                      <a:pt x="788" y="87"/>
                    </a:lnTo>
                    <a:lnTo>
                      <a:pt x="788" y="87"/>
                    </a:lnTo>
                    <a:lnTo>
                      <a:pt x="786" y="88"/>
                    </a:lnTo>
                    <a:lnTo>
                      <a:pt x="785" y="88"/>
                    </a:lnTo>
                    <a:lnTo>
                      <a:pt x="780" y="88"/>
                    </a:lnTo>
                    <a:lnTo>
                      <a:pt x="780" y="88"/>
                    </a:lnTo>
                    <a:lnTo>
                      <a:pt x="775" y="87"/>
                    </a:lnTo>
                    <a:lnTo>
                      <a:pt x="775" y="85"/>
                    </a:lnTo>
                    <a:lnTo>
                      <a:pt x="776" y="85"/>
                    </a:lnTo>
                    <a:lnTo>
                      <a:pt x="776" y="85"/>
                    </a:lnTo>
                    <a:lnTo>
                      <a:pt x="785" y="84"/>
                    </a:lnTo>
                    <a:lnTo>
                      <a:pt x="788" y="82"/>
                    </a:lnTo>
                    <a:lnTo>
                      <a:pt x="788" y="79"/>
                    </a:lnTo>
                    <a:lnTo>
                      <a:pt x="788" y="79"/>
                    </a:lnTo>
                    <a:lnTo>
                      <a:pt x="785" y="69"/>
                    </a:lnTo>
                    <a:lnTo>
                      <a:pt x="780" y="63"/>
                    </a:lnTo>
                    <a:lnTo>
                      <a:pt x="776" y="58"/>
                    </a:lnTo>
                    <a:lnTo>
                      <a:pt x="776" y="58"/>
                    </a:lnTo>
                    <a:lnTo>
                      <a:pt x="767" y="48"/>
                    </a:lnTo>
                    <a:lnTo>
                      <a:pt x="764" y="43"/>
                    </a:lnTo>
                    <a:lnTo>
                      <a:pt x="763" y="39"/>
                    </a:lnTo>
                    <a:lnTo>
                      <a:pt x="763" y="39"/>
                    </a:lnTo>
                    <a:lnTo>
                      <a:pt x="759" y="30"/>
                    </a:lnTo>
                    <a:lnTo>
                      <a:pt x="759" y="26"/>
                    </a:lnTo>
                    <a:lnTo>
                      <a:pt x="759" y="21"/>
                    </a:lnTo>
                    <a:lnTo>
                      <a:pt x="759" y="21"/>
                    </a:lnTo>
                    <a:lnTo>
                      <a:pt x="757" y="17"/>
                    </a:lnTo>
                    <a:lnTo>
                      <a:pt x="754" y="10"/>
                    </a:lnTo>
                    <a:lnTo>
                      <a:pt x="749" y="3"/>
                    </a:lnTo>
                    <a:lnTo>
                      <a:pt x="746" y="1"/>
                    </a:lnTo>
                    <a:lnTo>
                      <a:pt x="743" y="0"/>
                    </a:lnTo>
                    <a:lnTo>
                      <a:pt x="743" y="0"/>
                    </a:lnTo>
                    <a:lnTo>
                      <a:pt x="734" y="0"/>
                    </a:lnTo>
                    <a:lnTo>
                      <a:pt x="730" y="1"/>
                    </a:lnTo>
                    <a:lnTo>
                      <a:pt x="728" y="3"/>
                    </a:lnTo>
                    <a:lnTo>
                      <a:pt x="728" y="6"/>
                    </a:lnTo>
                    <a:lnTo>
                      <a:pt x="728" y="6"/>
                    </a:lnTo>
                    <a:lnTo>
                      <a:pt x="728" y="10"/>
                    </a:lnTo>
                    <a:lnTo>
                      <a:pt x="730" y="14"/>
                    </a:lnTo>
                    <a:lnTo>
                      <a:pt x="733" y="19"/>
                    </a:lnTo>
                    <a:lnTo>
                      <a:pt x="733" y="21"/>
                    </a:lnTo>
                    <a:lnTo>
                      <a:pt x="733" y="21"/>
                    </a:lnTo>
                    <a:lnTo>
                      <a:pt x="731" y="26"/>
                    </a:lnTo>
                    <a:lnTo>
                      <a:pt x="730" y="27"/>
                    </a:lnTo>
                    <a:lnTo>
                      <a:pt x="728" y="26"/>
                    </a:lnTo>
                    <a:lnTo>
                      <a:pt x="728" y="26"/>
                    </a:lnTo>
                    <a:lnTo>
                      <a:pt x="724" y="23"/>
                    </a:lnTo>
                    <a:lnTo>
                      <a:pt x="722" y="23"/>
                    </a:lnTo>
                    <a:lnTo>
                      <a:pt x="721" y="23"/>
                    </a:lnTo>
                    <a:lnTo>
                      <a:pt x="721" y="23"/>
                    </a:lnTo>
                    <a:lnTo>
                      <a:pt x="718" y="26"/>
                    </a:lnTo>
                    <a:lnTo>
                      <a:pt x="717" y="27"/>
                    </a:lnTo>
                    <a:lnTo>
                      <a:pt x="715" y="29"/>
                    </a:lnTo>
                    <a:lnTo>
                      <a:pt x="715" y="29"/>
                    </a:lnTo>
                    <a:lnTo>
                      <a:pt x="712" y="39"/>
                    </a:lnTo>
                    <a:lnTo>
                      <a:pt x="708" y="50"/>
                    </a:lnTo>
                    <a:lnTo>
                      <a:pt x="708" y="50"/>
                    </a:lnTo>
                    <a:lnTo>
                      <a:pt x="707" y="63"/>
                    </a:lnTo>
                    <a:lnTo>
                      <a:pt x="708" y="78"/>
                    </a:lnTo>
                    <a:lnTo>
                      <a:pt x="708" y="78"/>
                    </a:lnTo>
                    <a:lnTo>
                      <a:pt x="709" y="85"/>
                    </a:lnTo>
                    <a:lnTo>
                      <a:pt x="711" y="90"/>
                    </a:lnTo>
                    <a:lnTo>
                      <a:pt x="714" y="91"/>
                    </a:lnTo>
                    <a:lnTo>
                      <a:pt x="718" y="91"/>
                    </a:lnTo>
                    <a:lnTo>
                      <a:pt x="718" y="91"/>
                    </a:lnTo>
                    <a:lnTo>
                      <a:pt x="720" y="92"/>
                    </a:lnTo>
                    <a:lnTo>
                      <a:pt x="721" y="95"/>
                    </a:lnTo>
                    <a:lnTo>
                      <a:pt x="722" y="97"/>
                    </a:lnTo>
                    <a:lnTo>
                      <a:pt x="725" y="98"/>
                    </a:lnTo>
                    <a:lnTo>
                      <a:pt x="725" y="98"/>
                    </a:lnTo>
                    <a:lnTo>
                      <a:pt x="727" y="100"/>
                    </a:lnTo>
                    <a:lnTo>
                      <a:pt x="728" y="101"/>
                    </a:lnTo>
                    <a:lnTo>
                      <a:pt x="731" y="104"/>
                    </a:lnTo>
                    <a:lnTo>
                      <a:pt x="734" y="108"/>
                    </a:lnTo>
                    <a:lnTo>
                      <a:pt x="737" y="110"/>
                    </a:lnTo>
                    <a:lnTo>
                      <a:pt x="737" y="110"/>
                    </a:lnTo>
                    <a:lnTo>
                      <a:pt x="743" y="108"/>
                    </a:lnTo>
                    <a:lnTo>
                      <a:pt x="744" y="108"/>
                    </a:lnTo>
                    <a:lnTo>
                      <a:pt x="747" y="110"/>
                    </a:lnTo>
                    <a:lnTo>
                      <a:pt x="747" y="110"/>
                    </a:lnTo>
                    <a:lnTo>
                      <a:pt x="751" y="111"/>
                    </a:lnTo>
                    <a:lnTo>
                      <a:pt x="757" y="111"/>
                    </a:lnTo>
                    <a:lnTo>
                      <a:pt x="762" y="113"/>
                    </a:lnTo>
                    <a:lnTo>
                      <a:pt x="762" y="113"/>
                    </a:lnTo>
                    <a:lnTo>
                      <a:pt x="762" y="114"/>
                    </a:lnTo>
                    <a:lnTo>
                      <a:pt x="762" y="114"/>
                    </a:lnTo>
                    <a:lnTo>
                      <a:pt x="757" y="116"/>
                    </a:lnTo>
                    <a:lnTo>
                      <a:pt x="754" y="116"/>
                    </a:lnTo>
                    <a:lnTo>
                      <a:pt x="751" y="117"/>
                    </a:lnTo>
                    <a:lnTo>
                      <a:pt x="749" y="120"/>
                    </a:lnTo>
                    <a:lnTo>
                      <a:pt x="749" y="120"/>
                    </a:lnTo>
                    <a:lnTo>
                      <a:pt x="746" y="132"/>
                    </a:lnTo>
                    <a:lnTo>
                      <a:pt x="741" y="139"/>
                    </a:lnTo>
                    <a:lnTo>
                      <a:pt x="741" y="139"/>
                    </a:lnTo>
                    <a:lnTo>
                      <a:pt x="740" y="143"/>
                    </a:lnTo>
                    <a:lnTo>
                      <a:pt x="740" y="146"/>
                    </a:lnTo>
                    <a:lnTo>
                      <a:pt x="740" y="147"/>
                    </a:lnTo>
                    <a:lnTo>
                      <a:pt x="741" y="147"/>
                    </a:lnTo>
                    <a:lnTo>
                      <a:pt x="741" y="147"/>
                    </a:lnTo>
                    <a:lnTo>
                      <a:pt x="749" y="143"/>
                    </a:lnTo>
                    <a:lnTo>
                      <a:pt x="753" y="140"/>
                    </a:lnTo>
                    <a:lnTo>
                      <a:pt x="754" y="140"/>
                    </a:lnTo>
                    <a:lnTo>
                      <a:pt x="754" y="140"/>
                    </a:lnTo>
                    <a:lnTo>
                      <a:pt x="754" y="140"/>
                    </a:lnTo>
                    <a:lnTo>
                      <a:pt x="754" y="146"/>
                    </a:lnTo>
                    <a:lnTo>
                      <a:pt x="754" y="150"/>
                    </a:lnTo>
                    <a:lnTo>
                      <a:pt x="756" y="153"/>
                    </a:lnTo>
                    <a:lnTo>
                      <a:pt x="756" y="153"/>
                    </a:lnTo>
                    <a:lnTo>
                      <a:pt x="757" y="155"/>
                    </a:lnTo>
                    <a:lnTo>
                      <a:pt x="757" y="156"/>
                    </a:lnTo>
                    <a:lnTo>
                      <a:pt x="757" y="159"/>
                    </a:lnTo>
                    <a:lnTo>
                      <a:pt x="756" y="159"/>
                    </a:lnTo>
                    <a:lnTo>
                      <a:pt x="756" y="159"/>
                    </a:lnTo>
                    <a:lnTo>
                      <a:pt x="749" y="161"/>
                    </a:lnTo>
                    <a:lnTo>
                      <a:pt x="744" y="162"/>
                    </a:lnTo>
                    <a:lnTo>
                      <a:pt x="741" y="165"/>
                    </a:lnTo>
                    <a:lnTo>
                      <a:pt x="741" y="165"/>
                    </a:lnTo>
                    <a:lnTo>
                      <a:pt x="737" y="175"/>
                    </a:lnTo>
                    <a:lnTo>
                      <a:pt x="734" y="178"/>
                    </a:lnTo>
                    <a:lnTo>
                      <a:pt x="733" y="181"/>
                    </a:lnTo>
                    <a:lnTo>
                      <a:pt x="733" y="181"/>
                    </a:lnTo>
                    <a:lnTo>
                      <a:pt x="730" y="182"/>
                    </a:lnTo>
                    <a:lnTo>
                      <a:pt x="728" y="184"/>
                    </a:lnTo>
                    <a:lnTo>
                      <a:pt x="725" y="188"/>
                    </a:lnTo>
                    <a:lnTo>
                      <a:pt x="725" y="188"/>
                    </a:lnTo>
                    <a:lnTo>
                      <a:pt x="724" y="191"/>
                    </a:lnTo>
                    <a:lnTo>
                      <a:pt x="722" y="192"/>
                    </a:lnTo>
                    <a:lnTo>
                      <a:pt x="722" y="195"/>
                    </a:lnTo>
                    <a:lnTo>
                      <a:pt x="724" y="198"/>
                    </a:lnTo>
                    <a:lnTo>
                      <a:pt x="724" y="198"/>
                    </a:lnTo>
                    <a:lnTo>
                      <a:pt x="730" y="208"/>
                    </a:lnTo>
                    <a:lnTo>
                      <a:pt x="731" y="213"/>
                    </a:lnTo>
                    <a:lnTo>
                      <a:pt x="730" y="217"/>
                    </a:lnTo>
                    <a:lnTo>
                      <a:pt x="730" y="217"/>
                    </a:lnTo>
                    <a:lnTo>
                      <a:pt x="730" y="220"/>
                    </a:lnTo>
                    <a:lnTo>
                      <a:pt x="728" y="224"/>
                    </a:lnTo>
                    <a:lnTo>
                      <a:pt x="728" y="226"/>
                    </a:lnTo>
                    <a:lnTo>
                      <a:pt x="727" y="224"/>
                    </a:lnTo>
                    <a:lnTo>
                      <a:pt x="727" y="224"/>
                    </a:lnTo>
                    <a:lnTo>
                      <a:pt x="724" y="214"/>
                    </a:lnTo>
                    <a:lnTo>
                      <a:pt x="721" y="210"/>
                    </a:lnTo>
                    <a:lnTo>
                      <a:pt x="717" y="205"/>
                    </a:lnTo>
                    <a:lnTo>
                      <a:pt x="717" y="205"/>
                    </a:lnTo>
                    <a:lnTo>
                      <a:pt x="712" y="203"/>
                    </a:lnTo>
                    <a:lnTo>
                      <a:pt x="709" y="197"/>
                    </a:lnTo>
                    <a:lnTo>
                      <a:pt x="708" y="192"/>
                    </a:lnTo>
                    <a:lnTo>
                      <a:pt x="708" y="191"/>
                    </a:lnTo>
                    <a:lnTo>
                      <a:pt x="708" y="191"/>
                    </a:lnTo>
                    <a:lnTo>
                      <a:pt x="711" y="187"/>
                    </a:lnTo>
                    <a:lnTo>
                      <a:pt x="711" y="184"/>
                    </a:lnTo>
                    <a:lnTo>
                      <a:pt x="709" y="182"/>
                    </a:lnTo>
                    <a:lnTo>
                      <a:pt x="709" y="182"/>
                    </a:lnTo>
                    <a:lnTo>
                      <a:pt x="707" y="178"/>
                    </a:lnTo>
                    <a:lnTo>
                      <a:pt x="707" y="176"/>
                    </a:lnTo>
                    <a:lnTo>
                      <a:pt x="707" y="175"/>
                    </a:lnTo>
                    <a:lnTo>
                      <a:pt x="707" y="175"/>
                    </a:lnTo>
                    <a:lnTo>
                      <a:pt x="709" y="171"/>
                    </a:lnTo>
                    <a:lnTo>
                      <a:pt x="709" y="169"/>
                    </a:lnTo>
                    <a:lnTo>
                      <a:pt x="707" y="168"/>
                    </a:lnTo>
                    <a:lnTo>
                      <a:pt x="707" y="168"/>
                    </a:lnTo>
                    <a:lnTo>
                      <a:pt x="698" y="162"/>
                    </a:lnTo>
                    <a:lnTo>
                      <a:pt x="695" y="161"/>
                    </a:lnTo>
                    <a:lnTo>
                      <a:pt x="692" y="161"/>
                    </a:lnTo>
                    <a:lnTo>
                      <a:pt x="692" y="161"/>
                    </a:lnTo>
                    <a:lnTo>
                      <a:pt x="688" y="166"/>
                    </a:lnTo>
                    <a:lnTo>
                      <a:pt x="685" y="169"/>
                    </a:lnTo>
                    <a:lnTo>
                      <a:pt x="685" y="172"/>
                    </a:lnTo>
                    <a:lnTo>
                      <a:pt x="685" y="172"/>
                    </a:lnTo>
                    <a:lnTo>
                      <a:pt x="689" y="184"/>
                    </a:lnTo>
                    <a:lnTo>
                      <a:pt x="691" y="191"/>
                    </a:lnTo>
                    <a:lnTo>
                      <a:pt x="691" y="192"/>
                    </a:lnTo>
                    <a:lnTo>
                      <a:pt x="691" y="192"/>
                    </a:lnTo>
                    <a:lnTo>
                      <a:pt x="691" y="192"/>
                    </a:lnTo>
                    <a:lnTo>
                      <a:pt x="685" y="187"/>
                    </a:lnTo>
                    <a:lnTo>
                      <a:pt x="682" y="185"/>
                    </a:lnTo>
                    <a:lnTo>
                      <a:pt x="680" y="184"/>
                    </a:lnTo>
                    <a:lnTo>
                      <a:pt x="680" y="184"/>
                    </a:lnTo>
                    <a:lnTo>
                      <a:pt x="675" y="188"/>
                    </a:lnTo>
                    <a:lnTo>
                      <a:pt x="670" y="189"/>
                    </a:lnTo>
                    <a:lnTo>
                      <a:pt x="667" y="189"/>
                    </a:lnTo>
                    <a:lnTo>
                      <a:pt x="667" y="189"/>
                    </a:lnTo>
                    <a:lnTo>
                      <a:pt x="659" y="188"/>
                    </a:lnTo>
                    <a:lnTo>
                      <a:pt x="654" y="188"/>
                    </a:lnTo>
                    <a:lnTo>
                      <a:pt x="650" y="188"/>
                    </a:lnTo>
                    <a:lnTo>
                      <a:pt x="650" y="188"/>
                    </a:lnTo>
                    <a:lnTo>
                      <a:pt x="640" y="192"/>
                    </a:lnTo>
                    <a:lnTo>
                      <a:pt x="631" y="195"/>
                    </a:lnTo>
                    <a:lnTo>
                      <a:pt x="631" y="195"/>
                    </a:lnTo>
                    <a:lnTo>
                      <a:pt x="618" y="192"/>
                    </a:lnTo>
                    <a:lnTo>
                      <a:pt x="618" y="192"/>
                    </a:lnTo>
                    <a:lnTo>
                      <a:pt x="617" y="191"/>
                    </a:lnTo>
                    <a:lnTo>
                      <a:pt x="614" y="189"/>
                    </a:lnTo>
                    <a:lnTo>
                      <a:pt x="611" y="187"/>
                    </a:lnTo>
                    <a:lnTo>
                      <a:pt x="608" y="185"/>
                    </a:lnTo>
                    <a:lnTo>
                      <a:pt x="608" y="185"/>
                    </a:lnTo>
                    <a:lnTo>
                      <a:pt x="605" y="182"/>
                    </a:lnTo>
                    <a:lnTo>
                      <a:pt x="604" y="179"/>
                    </a:lnTo>
                    <a:lnTo>
                      <a:pt x="601" y="176"/>
                    </a:lnTo>
                    <a:lnTo>
                      <a:pt x="599" y="175"/>
                    </a:lnTo>
                    <a:lnTo>
                      <a:pt x="598" y="175"/>
                    </a:lnTo>
                    <a:lnTo>
                      <a:pt x="598" y="175"/>
                    </a:lnTo>
                    <a:lnTo>
                      <a:pt x="589" y="178"/>
                    </a:lnTo>
                    <a:lnTo>
                      <a:pt x="586" y="178"/>
                    </a:lnTo>
                    <a:lnTo>
                      <a:pt x="583" y="175"/>
                    </a:lnTo>
                    <a:lnTo>
                      <a:pt x="583" y="175"/>
                    </a:lnTo>
                    <a:lnTo>
                      <a:pt x="581" y="172"/>
                    </a:lnTo>
                    <a:lnTo>
                      <a:pt x="576" y="171"/>
                    </a:lnTo>
                    <a:lnTo>
                      <a:pt x="572" y="168"/>
                    </a:lnTo>
                    <a:lnTo>
                      <a:pt x="567" y="163"/>
                    </a:lnTo>
                    <a:lnTo>
                      <a:pt x="567" y="163"/>
                    </a:lnTo>
                    <a:lnTo>
                      <a:pt x="566" y="158"/>
                    </a:lnTo>
                    <a:lnTo>
                      <a:pt x="566" y="152"/>
                    </a:lnTo>
                    <a:lnTo>
                      <a:pt x="566" y="147"/>
                    </a:lnTo>
                    <a:lnTo>
                      <a:pt x="565" y="146"/>
                    </a:lnTo>
                    <a:lnTo>
                      <a:pt x="565" y="145"/>
                    </a:lnTo>
                    <a:lnTo>
                      <a:pt x="565" y="145"/>
                    </a:lnTo>
                    <a:lnTo>
                      <a:pt x="560" y="145"/>
                    </a:lnTo>
                    <a:lnTo>
                      <a:pt x="554" y="145"/>
                    </a:lnTo>
                    <a:lnTo>
                      <a:pt x="543" y="146"/>
                    </a:lnTo>
                    <a:lnTo>
                      <a:pt x="543" y="146"/>
                    </a:lnTo>
                    <a:lnTo>
                      <a:pt x="523" y="149"/>
                    </a:lnTo>
                    <a:lnTo>
                      <a:pt x="523" y="149"/>
                    </a:lnTo>
                    <a:lnTo>
                      <a:pt x="518" y="152"/>
                    </a:lnTo>
                    <a:lnTo>
                      <a:pt x="515" y="158"/>
                    </a:lnTo>
                    <a:lnTo>
                      <a:pt x="515" y="158"/>
                    </a:lnTo>
                    <a:lnTo>
                      <a:pt x="511" y="163"/>
                    </a:lnTo>
                    <a:lnTo>
                      <a:pt x="510" y="166"/>
                    </a:lnTo>
                    <a:lnTo>
                      <a:pt x="511" y="168"/>
                    </a:lnTo>
                    <a:lnTo>
                      <a:pt x="511" y="168"/>
                    </a:lnTo>
                    <a:lnTo>
                      <a:pt x="517" y="174"/>
                    </a:lnTo>
                    <a:lnTo>
                      <a:pt x="520" y="175"/>
                    </a:lnTo>
                    <a:lnTo>
                      <a:pt x="520" y="175"/>
                    </a:lnTo>
                    <a:lnTo>
                      <a:pt x="520" y="174"/>
                    </a:lnTo>
                    <a:lnTo>
                      <a:pt x="520" y="174"/>
                    </a:lnTo>
                    <a:lnTo>
                      <a:pt x="520" y="168"/>
                    </a:lnTo>
                    <a:lnTo>
                      <a:pt x="521" y="166"/>
                    </a:lnTo>
                    <a:lnTo>
                      <a:pt x="523" y="166"/>
                    </a:lnTo>
                    <a:lnTo>
                      <a:pt x="523" y="166"/>
                    </a:lnTo>
                    <a:lnTo>
                      <a:pt x="528" y="168"/>
                    </a:lnTo>
                    <a:lnTo>
                      <a:pt x="531" y="168"/>
                    </a:lnTo>
                    <a:lnTo>
                      <a:pt x="534" y="166"/>
                    </a:lnTo>
                    <a:lnTo>
                      <a:pt x="534" y="166"/>
                    </a:lnTo>
                    <a:lnTo>
                      <a:pt x="547" y="158"/>
                    </a:lnTo>
                    <a:lnTo>
                      <a:pt x="547" y="158"/>
                    </a:lnTo>
                    <a:lnTo>
                      <a:pt x="554" y="156"/>
                    </a:lnTo>
                    <a:lnTo>
                      <a:pt x="557" y="156"/>
                    </a:lnTo>
                    <a:lnTo>
                      <a:pt x="557" y="156"/>
                    </a:lnTo>
                    <a:lnTo>
                      <a:pt x="557" y="158"/>
                    </a:lnTo>
                    <a:lnTo>
                      <a:pt x="557" y="158"/>
                    </a:lnTo>
                    <a:lnTo>
                      <a:pt x="553" y="162"/>
                    </a:lnTo>
                    <a:lnTo>
                      <a:pt x="549" y="166"/>
                    </a:lnTo>
                    <a:lnTo>
                      <a:pt x="549" y="166"/>
                    </a:lnTo>
                    <a:lnTo>
                      <a:pt x="543" y="169"/>
                    </a:lnTo>
                    <a:lnTo>
                      <a:pt x="537" y="172"/>
                    </a:lnTo>
                    <a:lnTo>
                      <a:pt x="537" y="172"/>
                    </a:lnTo>
                    <a:lnTo>
                      <a:pt x="533" y="176"/>
                    </a:lnTo>
                    <a:lnTo>
                      <a:pt x="528" y="178"/>
                    </a:lnTo>
                    <a:lnTo>
                      <a:pt x="528" y="178"/>
                    </a:lnTo>
                    <a:lnTo>
                      <a:pt x="523" y="181"/>
                    </a:lnTo>
                    <a:lnTo>
                      <a:pt x="518" y="182"/>
                    </a:lnTo>
                    <a:lnTo>
                      <a:pt x="517" y="185"/>
                    </a:lnTo>
                    <a:lnTo>
                      <a:pt x="517" y="185"/>
                    </a:lnTo>
                    <a:lnTo>
                      <a:pt x="515" y="191"/>
                    </a:lnTo>
                    <a:lnTo>
                      <a:pt x="514" y="197"/>
                    </a:lnTo>
                    <a:lnTo>
                      <a:pt x="514" y="197"/>
                    </a:lnTo>
                    <a:lnTo>
                      <a:pt x="514" y="198"/>
                    </a:lnTo>
                    <a:lnTo>
                      <a:pt x="515" y="200"/>
                    </a:lnTo>
                    <a:lnTo>
                      <a:pt x="518" y="203"/>
                    </a:lnTo>
                    <a:lnTo>
                      <a:pt x="518" y="204"/>
                    </a:lnTo>
                    <a:lnTo>
                      <a:pt x="518" y="204"/>
                    </a:lnTo>
                    <a:lnTo>
                      <a:pt x="520" y="208"/>
                    </a:lnTo>
                    <a:lnTo>
                      <a:pt x="523" y="214"/>
                    </a:lnTo>
                    <a:lnTo>
                      <a:pt x="523" y="214"/>
                    </a:lnTo>
                    <a:lnTo>
                      <a:pt x="524" y="216"/>
                    </a:lnTo>
                    <a:lnTo>
                      <a:pt x="524" y="218"/>
                    </a:lnTo>
                    <a:lnTo>
                      <a:pt x="521" y="226"/>
                    </a:lnTo>
                    <a:lnTo>
                      <a:pt x="521" y="226"/>
                    </a:lnTo>
                    <a:lnTo>
                      <a:pt x="521" y="230"/>
                    </a:lnTo>
                    <a:lnTo>
                      <a:pt x="524" y="234"/>
                    </a:lnTo>
                    <a:lnTo>
                      <a:pt x="525" y="237"/>
                    </a:lnTo>
                    <a:lnTo>
                      <a:pt x="525" y="239"/>
                    </a:lnTo>
                    <a:lnTo>
                      <a:pt x="523" y="237"/>
                    </a:lnTo>
                    <a:lnTo>
                      <a:pt x="523" y="237"/>
                    </a:lnTo>
                    <a:lnTo>
                      <a:pt x="517" y="234"/>
                    </a:lnTo>
                    <a:lnTo>
                      <a:pt x="512" y="230"/>
                    </a:lnTo>
                    <a:lnTo>
                      <a:pt x="510" y="226"/>
                    </a:lnTo>
                    <a:lnTo>
                      <a:pt x="508" y="224"/>
                    </a:lnTo>
                    <a:lnTo>
                      <a:pt x="510" y="223"/>
                    </a:lnTo>
                    <a:lnTo>
                      <a:pt x="510" y="223"/>
                    </a:lnTo>
                    <a:lnTo>
                      <a:pt x="514" y="218"/>
                    </a:lnTo>
                    <a:lnTo>
                      <a:pt x="514" y="216"/>
                    </a:lnTo>
                    <a:lnTo>
                      <a:pt x="514" y="214"/>
                    </a:lnTo>
                    <a:lnTo>
                      <a:pt x="514" y="214"/>
                    </a:lnTo>
                    <a:lnTo>
                      <a:pt x="510" y="205"/>
                    </a:lnTo>
                    <a:lnTo>
                      <a:pt x="507" y="203"/>
                    </a:lnTo>
                    <a:lnTo>
                      <a:pt x="505" y="201"/>
                    </a:lnTo>
                    <a:lnTo>
                      <a:pt x="504" y="201"/>
                    </a:lnTo>
                    <a:lnTo>
                      <a:pt x="504" y="201"/>
                    </a:lnTo>
                    <a:lnTo>
                      <a:pt x="498" y="205"/>
                    </a:lnTo>
                    <a:lnTo>
                      <a:pt x="497" y="205"/>
                    </a:lnTo>
                    <a:lnTo>
                      <a:pt x="497" y="204"/>
                    </a:lnTo>
                    <a:lnTo>
                      <a:pt x="497" y="204"/>
                    </a:lnTo>
                    <a:lnTo>
                      <a:pt x="497" y="195"/>
                    </a:lnTo>
                    <a:lnTo>
                      <a:pt x="498" y="192"/>
                    </a:lnTo>
                    <a:lnTo>
                      <a:pt x="497" y="191"/>
                    </a:lnTo>
                    <a:lnTo>
                      <a:pt x="497" y="191"/>
                    </a:lnTo>
                    <a:lnTo>
                      <a:pt x="492" y="192"/>
                    </a:lnTo>
                    <a:lnTo>
                      <a:pt x="489" y="192"/>
                    </a:lnTo>
                    <a:lnTo>
                      <a:pt x="488" y="191"/>
                    </a:lnTo>
                    <a:lnTo>
                      <a:pt x="488" y="191"/>
                    </a:lnTo>
                    <a:lnTo>
                      <a:pt x="483" y="184"/>
                    </a:lnTo>
                    <a:lnTo>
                      <a:pt x="481" y="181"/>
                    </a:lnTo>
                    <a:lnTo>
                      <a:pt x="478" y="179"/>
                    </a:lnTo>
                    <a:lnTo>
                      <a:pt x="478" y="179"/>
                    </a:lnTo>
                    <a:lnTo>
                      <a:pt x="472" y="185"/>
                    </a:lnTo>
                    <a:lnTo>
                      <a:pt x="466" y="189"/>
                    </a:lnTo>
                    <a:lnTo>
                      <a:pt x="462" y="191"/>
                    </a:lnTo>
                    <a:lnTo>
                      <a:pt x="462" y="191"/>
                    </a:lnTo>
                    <a:lnTo>
                      <a:pt x="447" y="192"/>
                    </a:lnTo>
                    <a:lnTo>
                      <a:pt x="437" y="194"/>
                    </a:lnTo>
                    <a:lnTo>
                      <a:pt x="431" y="194"/>
                    </a:lnTo>
                    <a:lnTo>
                      <a:pt x="431" y="194"/>
                    </a:lnTo>
                    <a:lnTo>
                      <a:pt x="428" y="192"/>
                    </a:lnTo>
                    <a:lnTo>
                      <a:pt x="426" y="194"/>
                    </a:lnTo>
                    <a:lnTo>
                      <a:pt x="424" y="194"/>
                    </a:lnTo>
                    <a:lnTo>
                      <a:pt x="420" y="192"/>
                    </a:lnTo>
                    <a:lnTo>
                      <a:pt x="420" y="192"/>
                    </a:lnTo>
                    <a:lnTo>
                      <a:pt x="404" y="188"/>
                    </a:lnTo>
                    <a:lnTo>
                      <a:pt x="399" y="185"/>
                    </a:lnTo>
                    <a:lnTo>
                      <a:pt x="398" y="185"/>
                    </a:lnTo>
                    <a:lnTo>
                      <a:pt x="399" y="184"/>
                    </a:lnTo>
                    <a:lnTo>
                      <a:pt x="399" y="184"/>
                    </a:lnTo>
                    <a:lnTo>
                      <a:pt x="408" y="182"/>
                    </a:lnTo>
                    <a:lnTo>
                      <a:pt x="410" y="181"/>
                    </a:lnTo>
                    <a:lnTo>
                      <a:pt x="410" y="179"/>
                    </a:lnTo>
                    <a:lnTo>
                      <a:pt x="410" y="179"/>
                    </a:lnTo>
                    <a:lnTo>
                      <a:pt x="408" y="176"/>
                    </a:lnTo>
                    <a:lnTo>
                      <a:pt x="405" y="175"/>
                    </a:lnTo>
                    <a:lnTo>
                      <a:pt x="404" y="174"/>
                    </a:lnTo>
                    <a:lnTo>
                      <a:pt x="407" y="174"/>
                    </a:lnTo>
                    <a:lnTo>
                      <a:pt x="407" y="174"/>
                    </a:lnTo>
                    <a:lnTo>
                      <a:pt x="413" y="174"/>
                    </a:lnTo>
                    <a:lnTo>
                      <a:pt x="414" y="172"/>
                    </a:lnTo>
                    <a:lnTo>
                      <a:pt x="415" y="171"/>
                    </a:lnTo>
                    <a:lnTo>
                      <a:pt x="415" y="171"/>
                    </a:lnTo>
                    <a:lnTo>
                      <a:pt x="413" y="168"/>
                    </a:lnTo>
                    <a:lnTo>
                      <a:pt x="413" y="165"/>
                    </a:lnTo>
                    <a:lnTo>
                      <a:pt x="417" y="165"/>
                    </a:lnTo>
                    <a:lnTo>
                      <a:pt x="417" y="165"/>
                    </a:lnTo>
                    <a:lnTo>
                      <a:pt x="421" y="165"/>
                    </a:lnTo>
                    <a:lnTo>
                      <a:pt x="424" y="165"/>
                    </a:lnTo>
                    <a:lnTo>
                      <a:pt x="427" y="165"/>
                    </a:lnTo>
                    <a:lnTo>
                      <a:pt x="428" y="165"/>
                    </a:lnTo>
                    <a:lnTo>
                      <a:pt x="428" y="165"/>
                    </a:lnTo>
                    <a:lnTo>
                      <a:pt x="428" y="162"/>
                    </a:lnTo>
                    <a:lnTo>
                      <a:pt x="428" y="159"/>
                    </a:lnTo>
                    <a:lnTo>
                      <a:pt x="427" y="156"/>
                    </a:lnTo>
                    <a:lnTo>
                      <a:pt x="424" y="153"/>
                    </a:lnTo>
                    <a:lnTo>
                      <a:pt x="424" y="153"/>
                    </a:lnTo>
                    <a:lnTo>
                      <a:pt x="417" y="146"/>
                    </a:lnTo>
                    <a:lnTo>
                      <a:pt x="414" y="143"/>
                    </a:lnTo>
                    <a:lnTo>
                      <a:pt x="408" y="142"/>
                    </a:lnTo>
                    <a:lnTo>
                      <a:pt x="408" y="142"/>
                    </a:lnTo>
                    <a:lnTo>
                      <a:pt x="397" y="140"/>
                    </a:lnTo>
                    <a:lnTo>
                      <a:pt x="394" y="140"/>
                    </a:lnTo>
                    <a:lnTo>
                      <a:pt x="395" y="143"/>
                    </a:lnTo>
                    <a:lnTo>
                      <a:pt x="395" y="143"/>
                    </a:lnTo>
                    <a:lnTo>
                      <a:pt x="398" y="149"/>
                    </a:lnTo>
                    <a:lnTo>
                      <a:pt x="399" y="150"/>
                    </a:lnTo>
                    <a:lnTo>
                      <a:pt x="397" y="150"/>
                    </a:lnTo>
                    <a:lnTo>
                      <a:pt x="397" y="150"/>
                    </a:lnTo>
                    <a:lnTo>
                      <a:pt x="378" y="143"/>
                    </a:lnTo>
                    <a:lnTo>
                      <a:pt x="378" y="143"/>
                    </a:lnTo>
                    <a:lnTo>
                      <a:pt x="373" y="140"/>
                    </a:lnTo>
                    <a:lnTo>
                      <a:pt x="369" y="137"/>
                    </a:lnTo>
                    <a:lnTo>
                      <a:pt x="366" y="134"/>
                    </a:lnTo>
                    <a:lnTo>
                      <a:pt x="363" y="133"/>
                    </a:lnTo>
                    <a:lnTo>
                      <a:pt x="363" y="133"/>
                    </a:lnTo>
                    <a:lnTo>
                      <a:pt x="360" y="132"/>
                    </a:lnTo>
                    <a:lnTo>
                      <a:pt x="360" y="129"/>
                    </a:lnTo>
                    <a:lnTo>
                      <a:pt x="359" y="127"/>
                    </a:lnTo>
                    <a:lnTo>
                      <a:pt x="356" y="126"/>
                    </a:lnTo>
                    <a:lnTo>
                      <a:pt x="356" y="126"/>
                    </a:lnTo>
                    <a:lnTo>
                      <a:pt x="337" y="117"/>
                    </a:lnTo>
                    <a:lnTo>
                      <a:pt x="326" y="111"/>
                    </a:lnTo>
                    <a:lnTo>
                      <a:pt x="318" y="108"/>
                    </a:lnTo>
                    <a:lnTo>
                      <a:pt x="318" y="108"/>
                    </a:lnTo>
                    <a:lnTo>
                      <a:pt x="315" y="107"/>
                    </a:lnTo>
                    <a:lnTo>
                      <a:pt x="311" y="104"/>
                    </a:lnTo>
                    <a:lnTo>
                      <a:pt x="307" y="103"/>
                    </a:lnTo>
                    <a:lnTo>
                      <a:pt x="302" y="101"/>
                    </a:lnTo>
                    <a:lnTo>
                      <a:pt x="302" y="101"/>
                    </a:lnTo>
                    <a:lnTo>
                      <a:pt x="292" y="100"/>
                    </a:lnTo>
                    <a:lnTo>
                      <a:pt x="288" y="101"/>
                    </a:lnTo>
                    <a:lnTo>
                      <a:pt x="288" y="101"/>
                    </a:lnTo>
                    <a:lnTo>
                      <a:pt x="287" y="103"/>
                    </a:lnTo>
                    <a:lnTo>
                      <a:pt x="287" y="103"/>
                    </a:lnTo>
                    <a:lnTo>
                      <a:pt x="285" y="105"/>
                    </a:lnTo>
                    <a:lnTo>
                      <a:pt x="282" y="110"/>
                    </a:lnTo>
                    <a:lnTo>
                      <a:pt x="279" y="113"/>
                    </a:lnTo>
                    <a:lnTo>
                      <a:pt x="278" y="113"/>
                    </a:lnTo>
                    <a:lnTo>
                      <a:pt x="275" y="113"/>
                    </a:lnTo>
                    <a:lnTo>
                      <a:pt x="275" y="113"/>
                    </a:lnTo>
                    <a:lnTo>
                      <a:pt x="273" y="110"/>
                    </a:lnTo>
                    <a:lnTo>
                      <a:pt x="273" y="107"/>
                    </a:lnTo>
                    <a:lnTo>
                      <a:pt x="276" y="103"/>
                    </a:lnTo>
                    <a:lnTo>
                      <a:pt x="276" y="103"/>
                    </a:lnTo>
                    <a:lnTo>
                      <a:pt x="273" y="98"/>
                    </a:lnTo>
                    <a:lnTo>
                      <a:pt x="272" y="95"/>
                    </a:lnTo>
                    <a:lnTo>
                      <a:pt x="272" y="91"/>
                    </a:lnTo>
                    <a:lnTo>
                      <a:pt x="272" y="91"/>
                    </a:lnTo>
                    <a:lnTo>
                      <a:pt x="272" y="90"/>
                    </a:lnTo>
                    <a:lnTo>
                      <a:pt x="272" y="88"/>
                    </a:lnTo>
                    <a:lnTo>
                      <a:pt x="268" y="90"/>
                    </a:lnTo>
                    <a:lnTo>
                      <a:pt x="268" y="90"/>
                    </a:lnTo>
                    <a:lnTo>
                      <a:pt x="266" y="91"/>
                    </a:lnTo>
                    <a:lnTo>
                      <a:pt x="266" y="92"/>
                    </a:lnTo>
                    <a:lnTo>
                      <a:pt x="266" y="98"/>
                    </a:lnTo>
                    <a:lnTo>
                      <a:pt x="266" y="98"/>
                    </a:lnTo>
                    <a:lnTo>
                      <a:pt x="266" y="101"/>
                    </a:lnTo>
                    <a:lnTo>
                      <a:pt x="265" y="103"/>
                    </a:lnTo>
                    <a:lnTo>
                      <a:pt x="263" y="104"/>
                    </a:lnTo>
                    <a:lnTo>
                      <a:pt x="263" y="105"/>
                    </a:lnTo>
                    <a:lnTo>
                      <a:pt x="263" y="105"/>
                    </a:lnTo>
                    <a:lnTo>
                      <a:pt x="262" y="111"/>
                    </a:lnTo>
                    <a:lnTo>
                      <a:pt x="262" y="114"/>
                    </a:lnTo>
                    <a:lnTo>
                      <a:pt x="259" y="116"/>
                    </a:lnTo>
                    <a:lnTo>
                      <a:pt x="259" y="116"/>
                    </a:lnTo>
                    <a:lnTo>
                      <a:pt x="256" y="116"/>
                    </a:lnTo>
                    <a:lnTo>
                      <a:pt x="252" y="114"/>
                    </a:lnTo>
                    <a:lnTo>
                      <a:pt x="249" y="111"/>
                    </a:lnTo>
                    <a:lnTo>
                      <a:pt x="245" y="107"/>
                    </a:lnTo>
                    <a:lnTo>
                      <a:pt x="245" y="107"/>
                    </a:lnTo>
                    <a:lnTo>
                      <a:pt x="237" y="97"/>
                    </a:lnTo>
                    <a:lnTo>
                      <a:pt x="234" y="92"/>
                    </a:lnTo>
                    <a:lnTo>
                      <a:pt x="231" y="87"/>
                    </a:lnTo>
                    <a:lnTo>
                      <a:pt x="231" y="87"/>
                    </a:lnTo>
                    <a:lnTo>
                      <a:pt x="230" y="79"/>
                    </a:lnTo>
                    <a:lnTo>
                      <a:pt x="227" y="74"/>
                    </a:lnTo>
                    <a:lnTo>
                      <a:pt x="220" y="63"/>
                    </a:lnTo>
                    <a:lnTo>
                      <a:pt x="220" y="63"/>
                    </a:lnTo>
                    <a:lnTo>
                      <a:pt x="214" y="58"/>
                    </a:lnTo>
                    <a:lnTo>
                      <a:pt x="211" y="56"/>
                    </a:lnTo>
                    <a:lnTo>
                      <a:pt x="211" y="58"/>
                    </a:lnTo>
                    <a:lnTo>
                      <a:pt x="211" y="58"/>
                    </a:lnTo>
                    <a:lnTo>
                      <a:pt x="210" y="61"/>
                    </a:lnTo>
                    <a:lnTo>
                      <a:pt x="210" y="63"/>
                    </a:lnTo>
                    <a:lnTo>
                      <a:pt x="210" y="65"/>
                    </a:lnTo>
                    <a:lnTo>
                      <a:pt x="210" y="65"/>
                    </a:lnTo>
                    <a:lnTo>
                      <a:pt x="213" y="71"/>
                    </a:lnTo>
                    <a:lnTo>
                      <a:pt x="214" y="74"/>
                    </a:lnTo>
                    <a:lnTo>
                      <a:pt x="216" y="75"/>
                    </a:lnTo>
                    <a:lnTo>
                      <a:pt x="216" y="75"/>
                    </a:lnTo>
                    <a:lnTo>
                      <a:pt x="220" y="79"/>
                    </a:lnTo>
                    <a:lnTo>
                      <a:pt x="221" y="81"/>
                    </a:lnTo>
                    <a:lnTo>
                      <a:pt x="220" y="82"/>
                    </a:lnTo>
                    <a:lnTo>
                      <a:pt x="220" y="82"/>
                    </a:lnTo>
                    <a:lnTo>
                      <a:pt x="217" y="82"/>
                    </a:lnTo>
                    <a:lnTo>
                      <a:pt x="216" y="84"/>
                    </a:lnTo>
                    <a:lnTo>
                      <a:pt x="214" y="85"/>
                    </a:lnTo>
                    <a:lnTo>
                      <a:pt x="214" y="85"/>
                    </a:lnTo>
                    <a:lnTo>
                      <a:pt x="213" y="90"/>
                    </a:lnTo>
                    <a:lnTo>
                      <a:pt x="210" y="92"/>
                    </a:lnTo>
                    <a:lnTo>
                      <a:pt x="210" y="92"/>
                    </a:lnTo>
                    <a:lnTo>
                      <a:pt x="208" y="95"/>
                    </a:lnTo>
                    <a:lnTo>
                      <a:pt x="207" y="100"/>
                    </a:lnTo>
                    <a:lnTo>
                      <a:pt x="207" y="103"/>
                    </a:lnTo>
                    <a:lnTo>
                      <a:pt x="205" y="104"/>
                    </a:lnTo>
                    <a:lnTo>
                      <a:pt x="205" y="104"/>
                    </a:lnTo>
                    <a:lnTo>
                      <a:pt x="203" y="104"/>
                    </a:lnTo>
                    <a:lnTo>
                      <a:pt x="201" y="101"/>
                    </a:lnTo>
                    <a:lnTo>
                      <a:pt x="198" y="98"/>
                    </a:lnTo>
                    <a:lnTo>
                      <a:pt x="195" y="98"/>
                    </a:lnTo>
                    <a:lnTo>
                      <a:pt x="195" y="98"/>
                    </a:lnTo>
                    <a:lnTo>
                      <a:pt x="189" y="103"/>
                    </a:lnTo>
                    <a:lnTo>
                      <a:pt x="188" y="103"/>
                    </a:lnTo>
                    <a:lnTo>
                      <a:pt x="187" y="103"/>
                    </a:lnTo>
                    <a:lnTo>
                      <a:pt x="187" y="101"/>
                    </a:lnTo>
                    <a:lnTo>
                      <a:pt x="187" y="101"/>
                    </a:lnTo>
                    <a:lnTo>
                      <a:pt x="187" y="94"/>
                    </a:lnTo>
                    <a:lnTo>
                      <a:pt x="187" y="90"/>
                    </a:lnTo>
                    <a:lnTo>
                      <a:pt x="185" y="87"/>
                    </a:lnTo>
                    <a:lnTo>
                      <a:pt x="185" y="87"/>
                    </a:lnTo>
                    <a:lnTo>
                      <a:pt x="179" y="81"/>
                    </a:lnTo>
                    <a:lnTo>
                      <a:pt x="178" y="81"/>
                    </a:lnTo>
                    <a:lnTo>
                      <a:pt x="175" y="82"/>
                    </a:lnTo>
                    <a:lnTo>
                      <a:pt x="175" y="82"/>
                    </a:lnTo>
                    <a:lnTo>
                      <a:pt x="172" y="87"/>
                    </a:lnTo>
                    <a:lnTo>
                      <a:pt x="168" y="91"/>
                    </a:lnTo>
                    <a:lnTo>
                      <a:pt x="161" y="97"/>
                    </a:lnTo>
                    <a:lnTo>
                      <a:pt x="161" y="97"/>
                    </a:lnTo>
                    <a:lnTo>
                      <a:pt x="156" y="108"/>
                    </a:lnTo>
                    <a:lnTo>
                      <a:pt x="152" y="117"/>
                    </a:lnTo>
                    <a:lnTo>
                      <a:pt x="150" y="120"/>
                    </a:lnTo>
                    <a:lnTo>
                      <a:pt x="150" y="120"/>
                    </a:lnTo>
                    <a:lnTo>
                      <a:pt x="145" y="124"/>
                    </a:lnTo>
                    <a:lnTo>
                      <a:pt x="143" y="126"/>
                    </a:lnTo>
                    <a:lnTo>
                      <a:pt x="143" y="124"/>
                    </a:lnTo>
                    <a:lnTo>
                      <a:pt x="143" y="124"/>
                    </a:lnTo>
                    <a:lnTo>
                      <a:pt x="149" y="114"/>
                    </a:lnTo>
                    <a:lnTo>
                      <a:pt x="150" y="108"/>
                    </a:lnTo>
                    <a:lnTo>
                      <a:pt x="150" y="104"/>
                    </a:lnTo>
                    <a:lnTo>
                      <a:pt x="150" y="104"/>
                    </a:lnTo>
                    <a:lnTo>
                      <a:pt x="149" y="101"/>
                    </a:lnTo>
                    <a:lnTo>
                      <a:pt x="147" y="100"/>
                    </a:lnTo>
                    <a:lnTo>
                      <a:pt x="146" y="100"/>
                    </a:lnTo>
                    <a:lnTo>
                      <a:pt x="146" y="100"/>
                    </a:lnTo>
                    <a:lnTo>
                      <a:pt x="139" y="108"/>
                    </a:lnTo>
                    <a:lnTo>
                      <a:pt x="134" y="114"/>
                    </a:lnTo>
                    <a:lnTo>
                      <a:pt x="130" y="118"/>
                    </a:lnTo>
                    <a:lnTo>
                      <a:pt x="130" y="118"/>
                    </a:lnTo>
                    <a:lnTo>
                      <a:pt x="111" y="133"/>
                    </a:lnTo>
                    <a:lnTo>
                      <a:pt x="111" y="133"/>
                    </a:lnTo>
                    <a:lnTo>
                      <a:pt x="110" y="136"/>
                    </a:lnTo>
                    <a:lnTo>
                      <a:pt x="110" y="140"/>
                    </a:lnTo>
                    <a:lnTo>
                      <a:pt x="108" y="143"/>
                    </a:lnTo>
                    <a:lnTo>
                      <a:pt x="108" y="143"/>
                    </a:lnTo>
                    <a:lnTo>
                      <a:pt x="107" y="143"/>
                    </a:lnTo>
                    <a:lnTo>
                      <a:pt x="107" y="143"/>
                    </a:lnTo>
                    <a:lnTo>
                      <a:pt x="105" y="139"/>
                    </a:lnTo>
                    <a:lnTo>
                      <a:pt x="104" y="136"/>
                    </a:lnTo>
                    <a:lnTo>
                      <a:pt x="101" y="137"/>
                    </a:lnTo>
                    <a:lnTo>
                      <a:pt x="101" y="137"/>
                    </a:lnTo>
                    <a:lnTo>
                      <a:pt x="101" y="139"/>
                    </a:lnTo>
                    <a:lnTo>
                      <a:pt x="100" y="142"/>
                    </a:lnTo>
                    <a:lnTo>
                      <a:pt x="100" y="143"/>
                    </a:lnTo>
                    <a:lnTo>
                      <a:pt x="98" y="145"/>
                    </a:lnTo>
                    <a:lnTo>
                      <a:pt x="98" y="145"/>
                    </a:lnTo>
                    <a:lnTo>
                      <a:pt x="92" y="142"/>
                    </a:lnTo>
                    <a:lnTo>
                      <a:pt x="90" y="142"/>
                    </a:lnTo>
                    <a:lnTo>
                      <a:pt x="88" y="143"/>
                    </a:lnTo>
                    <a:lnTo>
                      <a:pt x="88" y="143"/>
                    </a:lnTo>
                    <a:lnTo>
                      <a:pt x="87" y="146"/>
                    </a:lnTo>
                    <a:lnTo>
                      <a:pt x="85" y="147"/>
                    </a:lnTo>
                    <a:lnTo>
                      <a:pt x="82" y="146"/>
                    </a:lnTo>
                    <a:lnTo>
                      <a:pt x="82" y="146"/>
                    </a:lnTo>
                    <a:lnTo>
                      <a:pt x="77" y="142"/>
                    </a:lnTo>
                    <a:lnTo>
                      <a:pt x="74" y="140"/>
                    </a:lnTo>
                    <a:lnTo>
                      <a:pt x="74" y="142"/>
                    </a:lnTo>
                    <a:lnTo>
                      <a:pt x="74" y="142"/>
                    </a:lnTo>
                    <a:lnTo>
                      <a:pt x="72" y="143"/>
                    </a:lnTo>
                    <a:lnTo>
                      <a:pt x="72" y="145"/>
                    </a:lnTo>
                    <a:lnTo>
                      <a:pt x="69" y="146"/>
                    </a:lnTo>
                    <a:lnTo>
                      <a:pt x="68" y="146"/>
                    </a:lnTo>
                    <a:lnTo>
                      <a:pt x="68" y="146"/>
                    </a:lnTo>
                    <a:lnTo>
                      <a:pt x="58" y="139"/>
                    </a:lnTo>
                    <a:lnTo>
                      <a:pt x="50" y="132"/>
                    </a:lnTo>
                    <a:lnTo>
                      <a:pt x="50" y="132"/>
                    </a:lnTo>
                    <a:lnTo>
                      <a:pt x="48" y="127"/>
                    </a:lnTo>
                    <a:lnTo>
                      <a:pt x="45" y="123"/>
                    </a:lnTo>
                    <a:lnTo>
                      <a:pt x="45" y="123"/>
                    </a:lnTo>
                    <a:lnTo>
                      <a:pt x="42" y="120"/>
                    </a:lnTo>
                    <a:lnTo>
                      <a:pt x="39" y="116"/>
                    </a:lnTo>
                    <a:lnTo>
                      <a:pt x="36" y="111"/>
                    </a:lnTo>
                    <a:lnTo>
                      <a:pt x="33" y="108"/>
                    </a:lnTo>
                    <a:lnTo>
                      <a:pt x="33" y="108"/>
                    </a:lnTo>
                    <a:lnTo>
                      <a:pt x="27" y="108"/>
                    </a:lnTo>
                    <a:lnTo>
                      <a:pt x="19" y="108"/>
                    </a:lnTo>
                    <a:lnTo>
                      <a:pt x="19" y="108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0" y="466"/>
                    </a:lnTo>
                    <a:lnTo>
                      <a:pt x="0" y="466"/>
                    </a:lnTo>
                    <a:lnTo>
                      <a:pt x="6" y="465"/>
                    </a:lnTo>
                    <a:lnTo>
                      <a:pt x="11" y="463"/>
                    </a:lnTo>
                    <a:lnTo>
                      <a:pt x="23" y="460"/>
                    </a:lnTo>
                    <a:lnTo>
                      <a:pt x="23" y="460"/>
                    </a:lnTo>
                    <a:lnTo>
                      <a:pt x="26" y="460"/>
                    </a:lnTo>
                    <a:lnTo>
                      <a:pt x="27" y="462"/>
                    </a:lnTo>
                    <a:lnTo>
                      <a:pt x="29" y="465"/>
                    </a:lnTo>
                    <a:lnTo>
                      <a:pt x="30" y="470"/>
                    </a:lnTo>
                    <a:lnTo>
                      <a:pt x="32" y="476"/>
                    </a:lnTo>
                    <a:lnTo>
                      <a:pt x="32" y="476"/>
                    </a:lnTo>
                    <a:lnTo>
                      <a:pt x="50" y="502"/>
                    </a:lnTo>
                    <a:lnTo>
                      <a:pt x="50" y="502"/>
                    </a:lnTo>
                    <a:lnTo>
                      <a:pt x="53" y="505"/>
                    </a:lnTo>
                    <a:lnTo>
                      <a:pt x="55" y="507"/>
                    </a:lnTo>
                    <a:lnTo>
                      <a:pt x="62" y="505"/>
                    </a:lnTo>
                    <a:lnTo>
                      <a:pt x="62" y="505"/>
                    </a:lnTo>
                    <a:lnTo>
                      <a:pt x="63" y="504"/>
                    </a:lnTo>
                    <a:lnTo>
                      <a:pt x="66" y="501"/>
                    </a:lnTo>
                    <a:lnTo>
                      <a:pt x="74" y="492"/>
                    </a:lnTo>
                    <a:lnTo>
                      <a:pt x="79" y="485"/>
                    </a:lnTo>
                    <a:lnTo>
                      <a:pt x="82" y="482"/>
                    </a:lnTo>
                    <a:lnTo>
                      <a:pt x="85" y="481"/>
                    </a:lnTo>
                    <a:lnTo>
                      <a:pt x="85" y="481"/>
                    </a:lnTo>
                    <a:lnTo>
                      <a:pt x="87" y="482"/>
                    </a:lnTo>
                    <a:lnTo>
                      <a:pt x="88" y="484"/>
                    </a:lnTo>
                    <a:lnTo>
                      <a:pt x="92" y="489"/>
                    </a:lnTo>
                    <a:lnTo>
                      <a:pt x="98" y="504"/>
                    </a:lnTo>
                    <a:lnTo>
                      <a:pt x="98" y="504"/>
                    </a:lnTo>
                    <a:lnTo>
                      <a:pt x="100" y="507"/>
                    </a:lnTo>
                    <a:lnTo>
                      <a:pt x="101" y="510"/>
                    </a:lnTo>
                    <a:lnTo>
                      <a:pt x="107" y="515"/>
                    </a:lnTo>
                    <a:lnTo>
                      <a:pt x="113" y="520"/>
                    </a:lnTo>
                    <a:lnTo>
                      <a:pt x="117" y="524"/>
                    </a:lnTo>
                    <a:lnTo>
                      <a:pt x="117" y="524"/>
                    </a:lnTo>
                    <a:lnTo>
                      <a:pt x="123" y="533"/>
                    </a:lnTo>
                    <a:lnTo>
                      <a:pt x="126" y="539"/>
                    </a:lnTo>
                    <a:lnTo>
                      <a:pt x="133" y="544"/>
                    </a:lnTo>
                    <a:lnTo>
                      <a:pt x="133" y="544"/>
                    </a:lnTo>
                    <a:lnTo>
                      <a:pt x="139" y="553"/>
                    </a:lnTo>
                    <a:lnTo>
                      <a:pt x="145" y="560"/>
                    </a:lnTo>
                    <a:lnTo>
                      <a:pt x="149" y="569"/>
                    </a:lnTo>
                    <a:lnTo>
                      <a:pt x="153" y="575"/>
                    </a:lnTo>
                    <a:lnTo>
                      <a:pt x="153" y="575"/>
                    </a:lnTo>
                    <a:lnTo>
                      <a:pt x="161" y="582"/>
                    </a:lnTo>
                    <a:lnTo>
                      <a:pt x="169" y="589"/>
                    </a:lnTo>
                    <a:lnTo>
                      <a:pt x="176" y="595"/>
                    </a:lnTo>
                    <a:lnTo>
                      <a:pt x="178" y="598"/>
                    </a:lnTo>
                    <a:lnTo>
                      <a:pt x="179" y="601"/>
                    </a:lnTo>
                    <a:lnTo>
                      <a:pt x="179" y="623"/>
                    </a:lnTo>
                    <a:lnTo>
                      <a:pt x="179" y="624"/>
                    </a:lnTo>
                    <a:lnTo>
                      <a:pt x="179" y="624"/>
                    </a:lnTo>
                    <a:lnTo>
                      <a:pt x="178" y="625"/>
                    </a:lnTo>
                    <a:lnTo>
                      <a:pt x="176" y="630"/>
                    </a:lnTo>
                    <a:lnTo>
                      <a:pt x="175" y="633"/>
                    </a:lnTo>
                    <a:lnTo>
                      <a:pt x="174" y="637"/>
                    </a:lnTo>
                    <a:lnTo>
                      <a:pt x="174" y="637"/>
                    </a:lnTo>
                    <a:lnTo>
                      <a:pt x="175" y="641"/>
                    </a:lnTo>
                    <a:lnTo>
                      <a:pt x="176" y="644"/>
                    </a:lnTo>
                    <a:lnTo>
                      <a:pt x="181" y="649"/>
                    </a:lnTo>
                    <a:lnTo>
                      <a:pt x="181" y="649"/>
                    </a:lnTo>
                    <a:lnTo>
                      <a:pt x="182" y="653"/>
                    </a:lnTo>
                    <a:lnTo>
                      <a:pt x="182" y="654"/>
                    </a:lnTo>
                    <a:lnTo>
                      <a:pt x="179" y="656"/>
                    </a:lnTo>
                    <a:lnTo>
                      <a:pt x="179" y="656"/>
                    </a:lnTo>
                    <a:lnTo>
                      <a:pt x="176" y="659"/>
                    </a:lnTo>
                    <a:lnTo>
                      <a:pt x="176" y="660"/>
                    </a:lnTo>
                    <a:lnTo>
                      <a:pt x="179" y="663"/>
                    </a:lnTo>
                    <a:lnTo>
                      <a:pt x="182" y="665"/>
                    </a:lnTo>
                    <a:lnTo>
                      <a:pt x="182" y="665"/>
                    </a:lnTo>
                    <a:lnTo>
                      <a:pt x="188" y="665"/>
                    </a:lnTo>
                    <a:lnTo>
                      <a:pt x="191" y="665"/>
                    </a:lnTo>
                    <a:lnTo>
                      <a:pt x="191" y="663"/>
                    </a:lnTo>
                    <a:lnTo>
                      <a:pt x="191" y="663"/>
                    </a:lnTo>
                    <a:lnTo>
                      <a:pt x="194" y="657"/>
                    </a:lnTo>
                    <a:lnTo>
                      <a:pt x="195" y="654"/>
                    </a:lnTo>
                    <a:lnTo>
                      <a:pt x="197" y="654"/>
                    </a:lnTo>
                    <a:lnTo>
                      <a:pt x="198" y="654"/>
                    </a:lnTo>
                    <a:lnTo>
                      <a:pt x="198" y="654"/>
                    </a:lnTo>
                    <a:lnTo>
                      <a:pt x="203" y="660"/>
                    </a:lnTo>
                    <a:lnTo>
                      <a:pt x="204" y="663"/>
                    </a:lnTo>
                    <a:lnTo>
                      <a:pt x="204" y="665"/>
                    </a:lnTo>
                    <a:lnTo>
                      <a:pt x="204" y="665"/>
                    </a:lnTo>
                    <a:lnTo>
                      <a:pt x="200" y="666"/>
                    </a:lnTo>
                    <a:lnTo>
                      <a:pt x="197" y="669"/>
                    </a:lnTo>
                    <a:lnTo>
                      <a:pt x="197" y="669"/>
                    </a:lnTo>
                    <a:lnTo>
                      <a:pt x="198" y="670"/>
                    </a:lnTo>
                    <a:lnTo>
                      <a:pt x="200" y="673"/>
                    </a:lnTo>
                    <a:lnTo>
                      <a:pt x="204" y="678"/>
                    </a:lnTo>
                    <a:lnTo>
                      <a:pt x="204" y="678"/>
                    </a:lnTo>
                    <a:lnTo>
                      <a:pt x="210" y="686"/>
                    </a:lnTo>
                    <a:lnTo>
                      <a:pt x="213" y="691"/>
                    </a:lnTo>
                    <a:lnTo>
                      <a:pt x="214" y="692"/>
                    </a:lnTo>
                    <a:lnTo>
                      <a:pt x="216" y="691"/>
                    </a:lnTo>
                    <a:lnTo>
                      <a:pt x="216" y="691"/>
                    </a:lnTo>
                    <a:lnTo>
                      <a:pt x="223" y="688"/>
                    </a:lnTo>
                    <a:lnTo>
                      <a:pt x="227" y="686"/>
                    </a:lnTo>
                    <a:lnTo>
                      <a:pt x="227" y="686"/>
                    </a:lnTo>
                    <a:lnTo>
                      <a:pt x="226" y="694"/>
                    </a:lnTo>
                    <a:lnTo>
                      <a:pt x="223" y="698"/>
                    </a:lnTo>
                    <a:lnTo>
                      <a:pt x="221" y="701"/>
                    </a:lnTo>
                    <a:lnTo>
                      <a:pt x="221" y="701"/>
                    </a:lnTo>
                    <a:lnTo>
                      <a:pt x="217" y="709"/>
                    </a:lnTo>
                    <a:lnTo>
                      <a:pt x="214" y="718"/>
                    </a:lnTo>
                    <a:lnTo>
                      <a:pt x="214" y="718"/>
                    </a:lnTo>
                    <a:lnTo>
                      <a:pt x="213" y="721"/>
                    </a:lnTo>
                    <a:lnTo>
                      <a:pt x="214" y="723"/>
                    </a:lnTo>
                    <a:lnTo>
                      <a:pt x="216" y="725"/>
                    </a:lnTo>
                    <a:lnTo>
                      <a:pt x="216" y="725"/>
                    </a:lnTo>
                    <a:lnTo>
                      <a:pt x="220" y="728"/>
                    </a:lnTo>
                    <a:lnTo>
                      <a:pt x="223" y="730"/>
                    </a:lnTo>
                    <a:lnTo>
                      <a:pt x="226" y="731"/>
                    </a:lnTo>
                    <a:lnTo>
                      <a:pt x="226" y="731"/>
                    </a:lnTo>
                    <a:lnTo>
                      <a:pt x="229" y="731"/>
                    </a:lnTo>
                    <a:lnTo>
                      <a:pt x="230" y="734"/>
                    </a:lnTo>
                    <a:lnTo>
                      <a:pt x="230" y="734"/>
                    </a:lnTo>
                    <a:lnTo>
                      <a:pt x="230" y="736"/>
                    </a:lnTo>
                    <a:lnTo>
                      <a:pt x="230" y="737"/>
                    </a:lnTo>
                    <a:lnTo>
                      <a:pt x="233" y="738"/>
                    </a:lnTo>
                    <a:lnTo>
                      <a:pt x="237" y="740"/>
                    </a:lnTo>
                    <a:lnTo>
                      <a:pt x="237" y="740"/>
                    </a:lnTo>
                    <a:lnTo>
                      <a:pt x="247" y="738"/>
                    </a:lnTo>
                    <a:lnTo>
                      <a:pt x="252" y="738"/>
                    </a:lnTo>
                    <a:lnTo>
                      <a:pt x="253" y="740"/>
                    </a:lnTo>
                    <a:lnTo>
                      <a:pt x="253" y="740"/>
                    </a:lnTo>
                    <a:lnTo>
                      <a:pt x="255" y="741"/>
                    </a:lnTo>
                    <a:lnTo>
                      <a:pt x="255" y="741"/>
                    </a:lnTo>
                    <a:lnTo>
                      <a:pt x="256" y="741"/>
                    </a:lnTo>
                    <a:lnTo>
                      <a:pt x="256" y="741"/>
                    </a:lnTo>
                    <a:lnTo>
                      <a:pt x="260" y="741"/>
                    </a:lnTo>
                    <a:lnTo>
                      <a:pt x="262" y="740"/>
                    </a:lnTo>
                    <a:lnTo>
                      <a:pt x="263" y="738"/>
                    </a:lnTo>
                    <a:lnTo>
                      <a:pt x="263" y="741"/>
                    </a:lnTo>
                    <a:lnTo>
                      <a:pt x="263" y="741"/>
                    </a:lnTo>
                    <a:lnTo>
                      <a:pt x="260" y="747"/>
                    </a:lnTo>
                    <a:lnTo>
                      <a:pt x="260" y="750"/>
                    </a:lnTo>
                    <a:lnTo>
                      <a:pt x="262" y="753"/>
                    </a:lnTo>
                    <a:lnTo>
                      <a:pt x="262" y="753"/>
                    </a:lnTo>
                    <a:lnTo>
                      <a:pt x="265" y="754"/>
                    </a:lnTo>
                    <a:lnTo>
                      <a:pt x="266" y="754"/>
                    </a:lnTo>
                    <a:lnTo>
                      <a:pt x="268" y="754"/>
                    </a:lnTo>
                    <a:lnTo>
                      <a:pt x="268" y="757"/>
                    </a:lnTo>
                    <a:lnTo>
                      <a:pt x="268" y="757"/>
                    </a:lnTo>
                    <a:lnTo>
                      <a:pt x="271" y="763"/>
                    </a:lnTo>
                    <a:lnTo>
                      <a:pt x="273" y="766"/>
                    </a:lnTo>
                    <a:lnTo>
                      <a:pt x="276" y="766"/>
                    </a:lnTo>
                    <a:lnTo>
                      <a:pt x="276" y="766"/>
                    </a:lnTo>
                    <a:lnTo>
                      <a:pt x="278" y="765"/>
                    </a:lnTo>
                    <a:lnTo>
                      <a:pt x="279" y="765"/>
                    </a:lnTo>
                    <a:lnTo>
                      <a:pt x="284" y="770"/>
                    </a:lnTo>
                    <a:lnTo>
                      <a:pt x="284" y="770"/>
                    </a:lnTo>
                    <a:lnTo>
                      <a:pt x="288" y="775"/>
                    </a:lnTo>
                    <a:lnTo>
                      <a:pt x="291" y="778"/>
                    </a:lnTo>
                    <a:lnTo>
                      <a:pt x="733" y="778"/>
                    </a:lnTo>
                    <a:lnTo>
                      <a:pt x="733" y="778"/>
                    </a:lnTo>
                    <a:lnTo>
                      <a:pt x="737" y="779"/>
                    </a:lnTo>
                    <a:lnTo>
                      <a:pt x="743" y="780"/>
                    </a:lnTo>
                    <a:lnTo>
                      <a:pt x="753" y="785"/>
                    </a:lnTo>
                    <a:lnTo>
                      <a:pt x="762" y="791"/>
                    </a:lnTo>
                    <a:lnTo>
                      <a:pt x="769" y="792"/>
                    </a:lnTo>
                    <a:lnTo>
                      <a:pt x="769" y="792"/>
                    </a:lnTo>
                    <a:lnTo>
                      <a:pt x="775" y="793"/>
                    </a:lnTo>
                    <a:lnTo>
                      <a:pt x="782" y="795"/>
                    </a:lnTo>
                    <a:lnTo>
                      <a:pt x="793" y="801"/>
                    </a:lnTo>
                    <a:lnTo>
                      <a:pt x="793" y="801"/>
                    </a:lnTo>
                    <a:lnTo>
                      <a:pt x="796" y="801"/>
                    </a:lnTo>
                    <a:lnTo>
                      <a:pt x="799" y="801"/>
                    </a:lnTo>
                    <a:lnTo>
                      <a:pt x="804" y="799"/>
                    </a:lnTo>
                    <a:lnTo>
                      <a:pt x="806" y="796"/>
                    </a:lnTo>
                    <a:lnTo>
                      <a:pt x="812" y="795"/>
                    </a:lnTo>
                    <a:lnTo>
                      <a:pt x="812" y="795"/>
                    </a:lnTo>
                    <a:lnTo>
                      <a:pt x="815" y="795"/>
                    </a:lnTo>
                    <a:lnTo>
                      <a:pt x="818" y="796"/>
                    </a:lnTo>
                    <a:lnTo>
                      <a:pt x="821" y="798"/>
                    </a:lnTo>
                    <a:lnTo>
                      <a:pt x="824" y="799"/>
                    </a:lnTo>
                    <a:lnTo>
                      <a:pt x="824" y="799"/>
                    </a:lnTo>
                    <a:lnTo>
                      <a:pt x="831" y="799"/>
                    </a:lnTo>
                    <a:lnTo>
                      <a:pt x="837" y="798"/>
                    </a:lnTo>
                    <a:lnTo>
                      <a:pt x="837" y="798"/>
                    </a:lnTo>
                    <a:lnTo>
                      <a:pt x="844" y="788"/>
                    </a:lnTo>
                    <a:lnTo>
                      <a:pt x="844" y="788"/>
                    </a:lnTo>
                    <a:lnTo>
                      <a:pt x="848" y="783"/>
                    </a:lnTo>
                    <a:lnTo>
                      <a:pt x="850" y="782"/>
                    </a:lnTo>
                    <a:lnTo>
                      <a:pt x="851" y="782"/>
                    </a:lnTo>
                    <a:lnTo>
                      <a:pt x="851" y="782"/>
                    </a:lnTo>
                    <a:lnTo>
                      <a:pt x="856" y="783"/>
                    </a:lnTo>
                    <a:lnTo>
                      <a:pt x="859" y="785"/>
                    </a:lnTo>
                    <a:lnTo>
                      <a:pt x="863" y="785"/>
                    </a:lnTo>
                    <a:lnTo>
                      <a:pt x="863" y="785"/>
                    </a:lnTo>
                    <a:lnTo>
                      <a:pt x="867" y="785"/>
                    </a:lnTo>
                    <a:lnTo>
                      <a:pt x="872" y="786"/>
                    </a:lnTo>
                    <a:lnTo>
                      <a:pt x="876" y="788"/>
                    </a:lnTo>
                    <a:lnTo>
                      <a:pt x="879" y="791"/>
                    </a:lnTo>
                    <a:lnTo>
                      <a:pt x="879" y="791"/>
                    </a:lnTo>
                    <a:lnTo>
                      <a:pt x="880" y="793"/>
                    </a:lnTo>
                    <a:lnTo>
                      <a:pt x="882" y="798"/>
                    </a:lnTo>
                    <a:lnTo>
                      <a:pt x="883" y="802"/>
                    </a:lnTo>
                    <a:lnTo>
                      <a:pt x="885" y="804"/>
                    </a:lnTo>
                    <a:lnTo>
                      <a:pt x="886" y="804"/>
                    </a:lnTo>
                    <a:lnTo>
                      <a:pt x="886" y="804"/>
                    </a:lnTo>
                    <a:lnTo>
                      <a:pt x="890" y="804"/>
                    </a:lnTo>
                    <a:lnTo>
                      <a:pt x="893" y="804"/>
                    </a:lnTo>
                    <a:lnTo>
                      <a:pt x="896" y="804"/>
                    </a:lnTo>
                    <a:lnTo>
                      <a:pt x="898" y="807"/>
                    </a:lnTo>
                    <a:lnTo>
                      <a:pt x="898" y="807"/>
                    </a:lnTo>
                    <a:lnTo>
                      <a:pt x="901" y="815"/>
                    </a:lnTo>
                    <a:lnTo>
                      <a:pt x="905" y="820"/>
                    </a:lnTo>
                    <a:lnTo>
                      <a:pt x="905" y="820"/>
                    </a:lnTo>
                    <a:lnTo>
                      <a:pt x="906" y="824"/>
                    </a:lnTo>
                    <a:lnTo>
                      <a:pt x="908" y="828"/>
                    </a:lnTo>
                    <a:lnTo>
                      <a:pt x="908" y="828"/>
                    </a:lnTo>
                    <a:lnTo>
                      <a:pt x="908" y="834"/>
                    </a:lnTo>
                    <a:lnTo>
                      <a:pt x="906" y="835"/>
                    </a:lnTo>
                    <a:lnTo>
                      <a:pt x="908" y="837"/>
                    </a:lnTo>
                    <a:lnTo>
                      <a:pt x="908" y="837"/>
                    </a:lnTo>
                    <a:lnTo>
                      <a:pt x="914" y="840"/>
                    </a:lnTo>
                    <a:lnTo>
                      <a:pt x="914" y="840"/>
                    </a:lnTo>
                    <a:lnTo>
                      <a:pt x="925" y="843"/>
                    </a:lnTo>
                    <a:lnTo>
                      <a:pt x="925" y="843"/>
                    </a:lnTo>
                    <a:lnTo>
                      <a:pt x="938" y="844"/>
                    </a:lnTo>
                    <a:lnTo>
                      <a:pt x="948" y="847"/>
                    </a:lnTo>
                    <a:lnTo>
                      <a:pt x="956" y="849"/>
                    </a:lnTo>
                    <a:lnTo>
                      <a:pt x="956" y="849"/>
                    </a:lnTo>
                    <a:lnTo>
                      <a:pt x="972" y="857"/>
                    </a:lnTo>
                    <a:lnTo>
                      <a:pt x="977" y="862"/>
                    </a:lnTo>
                    <a:lnTo>
                      <a:pt x="979" y="864"/>
                    </a:lnTo>
                    <a:lnTo>
                      <a:pt x="979" y="866"/>
                    </a:lnTo>
                    <a:lnTo>
                      <a:pt x="979" y="866"/>
                    </a:lnTo>
                    <a:lnTo>
                      <a:pt x="979" y="877"/>
                    </a:lnTo>
                    <a:lnTo>
                      <a:pt x="979" y="883"/>
                    </a:lnTo>
                    <a:lnTo>
                      <a:pt x="979" y="886"/>
                    </a:lnTo>
                    <a:lnTo>
                      <a:pt x="979" y="886"/>
                    </a:lnTo>
                    <a:lnTo>
                      <a:pt x="973" y="885"/>
                    </a:lnTo>
                    <a:lnTo>
                      <a:pt x="969" y="882"/>
                    </a:lnTo>
                    <a:lnTo>
                      <a:pt x="969" y="882"/>
                    </a:lnTo>
                    <a:lnTo>
                      <a:pt x="966" y="882"/>
                    </a:lnTo>
                    <a:lnTo>
                      <a:pt x="964" y="882"/>
                    </a:lnTo>
                    <a:lnTo>
                      <a:pt x="964" y="882"/>
                    </a:lnTo>
                    <a:lnTo>
                      <a:pt x="961" y="876"/>
                    </a:lnTo>
                    <a:lnTo>
                      <a:pt x="960" y="873"/>
                    </a:lnTo>
                    <a:lnTo>
                      <a:pt x="959" y="872"/>
                    </a:lnTo>
                    <a:lnTo>
                      <a:pt x="959" y="872"/>
                    </a:lnTo>
                    <a:lnTo>
                      <a:pt x="957" y="873"/>
                    </a:lnTo>
                    <a:lnTo>
                      <a:pt x="959" y="875"/>
                    </a:lnTo>
                    <a:lnTo>
                      <a:pt x="959" y="880"/>
                    </a:lnTo>
                    <a:lnTo>
                      <a:pt x="959" y="880"/>
                    </a:lnTo>
                    <a:lnTo>
                      <a:pt x="959" y="888"/>
                    </a:lnTo>
                    <a:lnTo>
                      <a:pt x="957" y="891"/>
                    </a:lnTo>
                    <a:lnTo>
                      <a:pt x="956" y="892"/>
                    </a:lnTo>
                    <a:lnTo>
                      <a:pt x="956" y="892"/>
                    </a:lnTo>
                    <a:lnTo>
                      <a:pt x="954" y="895"/>
                    </a:lnTo>
                    <a:lnTo>
                      <a:pt x="953" y="901"/>
                    </a:lnTo>
                    <a:lnTo>
                      <a:pt x="951" y="911"/>
                    </a:lnTo>
                    <a:lnTo>
                      <a:pt x="951" y="911"/>
                    </a:lnTo>
                    <a:lnTo>
                      <a:pt x="948" y="917"/>
                    </a:lnTo>
                    <a:lnTo>
                      <a:pt x="947" y="918"/>
                    </a:lnTo>
                    <a:lnTo>
                      <a:pt x="945" y="918"/>
                    </a:lnTo>
                    <a:lnTo>
                      <a:pt x="944" y="917"/>
                    </a:lnTo>
                    <a:lnTo>
                      <a:pt x="944" y="917"/>
                    </a:lnTo>
                    <a:lnTo>
                      <a:pt x="943" y="919"/>
                    </a:lnTo>
                    <a:lnTo>
                      <a:pt x="943" y="919"/>
                    </a:lnTo>
                    <a:lnTo>
                      <a:pt x="940" y="925"/>
                    </a:lnTo>
                    <a:lnTo>
                      <a:pt x="938" y="931"/>
                    </a:lnTo>
                    <a:lnTo>
                      <a:pt x="938" y="931"/>
                    </a:lnTo>
                    <a:lnTo>
                      <a:pt x="943" y="934"/>
                    </a:lnTo>
                    <a:lnTo>
                      <a:pt x="945" y="935"/>
                    </a:lnTo>
                    <a:lnTo>
                      <a:pt x="947" y="937"/>
                    </a:lnTo>
                    <a:lnTo>
                      <a:pt x="947" y="937"/>
                    </a:lnTo>
                    <a:lnTo>
                      <a:pt x="951" y="935"/>
                    </a:lnTo>
                    <a:lnTo>
                      <a:pt x="954" y="933"/>
                    </a:lnTo>
                    <a:lnTo>
                      <a:pt x="960" y="925"/>
                    </a:lnTo>
                    <a:lnTo>
                      <a:pt x="960" y="925"/>
                    </a:lnTo>
                    <a:lnTo>
                      <a:pt x="963" y="925"/>
                    </a:lnTo>
                    <a:lnTo>
                      <a:pt x="966" y="925"/>
                    </a:lnTo>
                    <a:lnTo>
                      <a:pt x="973" y="927"/>
                    </a:lnTo>
                    <a:lnTo>
                      <a:pt x="973" y="927"/>
                    </a:lnTo>
                    <a:lnTo>
                      <a:pt x="980" y="924"/>
                    </a:lnTo>
                    <a:lnTo>
                      <a:pt x="987" y="922"/>
                    </a:lnTo>
                    <a:lnTo>
                      <a:pt x="987" y="922"/>
                    </a:lnTo>
                    <a:lnTo>
                      <a:pt x="990" y="922"/>
                    </a:lnTo>
                    <a:lnTo>
                      <a:pt x="990" y="922"/>
                    </a:lnTo>
                    <a:lnTo>
                      <a:pt x="1011" y="912"/>
                    </a:lnTo>
                    <a:lnTo>
                      <a:pt x="1011" y="912"/>
                    </a:lnTo>
                    <a:lnTo>
                      <a:pt x="1002" y="914"/>
                    </a:lnTo>
                    <a:lnTo>
                      <a:pt x="1002" y="914"/>
                    </a:lnTo>
                    <a:lnTo>
                      <a:pt x="992" y="915"/>
                    </a:lnTo>
                    <a:lnTo>
                      <a:pt x="989" y="914"/>
                    </a:lnTo>
                    <a:lnTo>
                      <a:pt x="987" y="912"/>
                    </a:lnTo>
                    <a:lnTo>
                      <a:pt x="987" y="912"/>
                    </a:lnTo>
                    <a:lnTo>
                      <a:pt x="989" y="909"/>
                    </a:lnTo>
                    <a:lnTo>
                      <a:pt x="993" y="905"/>
                    </a:lnTo>
                    <a:lnTo>
                      <a:pt x="999" y="902"/>
                    </a:lnTo>
                    <a:lnTo>
                      <a:pt x="1002" y="899"/>
                    </a:lnTo>
                    <a:lnTo>
                      <a:pt x="1002" y="899"/>
                    </a:lnTo>
                    <a:lnTo>
                      <a:pt x="1014" y="899"/>
                    </a:lnTo>
                    <a:lnTo>
                      <a:pt x="1019" y="899"/>
                    </a:lnTo>
                    <a:lnTo>
                      <a:pt x="1025" y="899"/>
                    </a:lnTo>
                    <a:lnTo>
                      <a:pt x="1025" y="899"/>
                    </a:lnTo>
                    <a:lnTo>
                      <a:pt x="1032" y="895"/>
                    </a:lnTo>
                    <a:lnTo>
                      <a:pt x="1037" y="893"/>
                    </a:lnTo>
                    <a:lnTo>
                      <a:pt x="1040" y="893"/>
                    </a:lnTo>
                    <a:lnTo>
                      <a:pt x="1040" y="893"/>
                    </a:lnTo>
                    <a:lnTo>
                      <a:pt x="1040" y="893"/>
                    </a:lnTo>
                    <a:lnTo>
                      <a:pt x="1058" y="882"/>
                    </a:lnTo>
                    <a:lnTo>
                      <a:pt x="1067" y="876"/>
                    </a:lnTo>
                    <a:lnTo>
                      <a:pt x="1074" y="875"/>
                    </a:lnTo>
                    <a:lnTo>
                      <a:pt x="1074" y="875"/>
                    </a:lnTo>
                    <a:lnTo>
                      <a:pt x="1096" y="875"/>
                    </a:lnTo>
                    <a:lnTo>
                      <a:pt x="1116" y="873"/>
                    </a:lnTo>
                    <a:lnTo>
                      <a:pt x="1116" y="873"/>
                    </a:lnTo>
                    <a:lnTo>
                      <a:pt x="1121" y="869"/>
                    </a:lnTo>
                    <a:lnTo>
                      <a:pt x="1128" y="860"/>
                    </a:lnTo>
                    <a:lnTo>
                      <a:pt x="1135" y="851"/>
                    </a:lnTo>
                    <a:lnTo>
                      <a:pt x="1138" y="844"/>
                    </a:lnTo>
                    <a:lnTo>
                      <a:pt x="1138" y="844"/>
                    </a:lnTo>
                    <a:lnTo>
                      <a:pt x="1140" y="838"/>
                    </a:lnTo>
                    <a:lnTo>
                      <a:pt x="1144" y="831"/>
                    </a:lnTo>
                    <a:lnTo>
                      <a:pt x="1150" y="825"/>
                    </a:lnTo>
                    <a:lnTo>
                      <a:pt x="1154" y="822"/>
                    </a:lnTo>
                    <a:lnTo>
                      <a:pt x="1154" y="822"/>
                    </a:lnTo>
                    <a:lnTo>
                      <a:pt x="1158" y="821"/>
                    </a:lnTo>
                    <a:lnTo>
                      <a:pt x="1164" y="820"/>
                    </a:lnTo>
                    <a:lnTo>
                      <a:pt x="1177" y="822"/>
                    </a:lnTo>
                    <a:lnTo>
                      <a:pt x="1177" y="822"/>
                    </a:lnTo>
                    <a:lnTo>
                      <a:pt x="1179" y="822"/>
                    </a:lnTo>
                    <a:lnTo>
                      <a:pt x="1180" y="825"/>
                    </a:lnTo>
                    <a:lnTo>
                      <a:pt x="1180" y="834"/>
                    </a:lnTo>
                    <a:lnTo>
                      <a:pt x="1182" y="843"/>
                    </a:lnTo>
                    <a:lnTo>
                      <a:pt x="1182" y="846"/>
                    </a:lnTo>
                    <a:lnTo>
                      <a:pt x="1183" y="849"/>
                    </a:lnTo>
                    <a:lnTo>
                      <a:pt x="1183" y="849"/>
                    </a:lnTo>
                    <a:lnTo>
                      <a:pt x="1186" y="853"/>
                    </a:lnTo>
                    <a:lnTo>
                      <a:pt x="1186" y="857"/>
                    </a:lnTo>
                    <a:lnTo>
                      <a:pt x="1184" y="863"/>
                    </a:lnTo>
                    <a:lnTo>
                      <a:pt x="1184" y="863"/>
                    </a:lnTo>
                    <a:lnTo>
                      <a:pt x="1186" y="867"/>
                    </a:lnTo>
                    <a:lnTo>
                      <a:pt x="1192" y="872"/>
                    </a:lnTo>
                    <a:lnTo>
                      <a:pt x="1192" y="872"/>
                    </a:lnTo>
                    <a:lnTo>
                      <a:pt x="1193" y="872"/>
                    </a:lnTo>
                    <a:lnTo>
                      <a:pt x="1193" y="872"/>
                    </a:lnTo>
                    <a:lnTo>
                      <a:pt x="1200" y="872"/>
                    </a:lnTo>
                    <a:lnTo>
                      <a:pt x="1205" y="870"/>
                    </a:lnTo>
                    <a:lnTo>
                      <a:pt x="1213" y="866"/>
                    </a:lnTo>
                    <a:lnTo>
                      <a:pt x="1213" y="866"/>
                    </a:lnTo>
                    <a:lnTo>
                      <a:pt x="1221" y="863"/>
                    </a:lnTo>
                    <a:lnTo>
                      <a:pt x="1222" y="862"/>
                    </a:lnTo>
                    <a:lnTo>
                      <a:pt x="1222" y="863"/>
                    </a:lnTo>
                    <a:lnTo>
                      <a:pt x="1222" y="863"/>
                    </a:lnTo>
                    <a:lnTo>
                      <a:pt x="1222" y="866"/>
                    </a:lnTo>
                    <a:lnTo>
                      <a:pt x="1222" y="866"/>
                    </a:lnTo>
                    <a:lnTo>
                      <a:pt x="1225" y="866"/>
                    </a:lnTo>
                    <a:lnTo>
                      <a:pt x="1225" y="866"/>
                    </a:lnTo>
                    <a:lnTo>
                      <a:pt x="1237" y="864"/>
                    </a:lnTo>
                    <a:lnTo>
                      <a:pt x="1241" y="864"/>
                    </a:lnTo>
                    <a:lnTo>
                      <a:pt x="1242" y="864"/>
                    </a:lnTo>
                    <a:lnTo>
                      <a:pt x="1242" y="864"/>
                    </a:lnTo>
                    <a:lnTo>
                      <a:pt x="1238" y="869"/>
                    </a:lnTo>
                    <a:lnTo>
                      <a:pt x="1237" y="872"/>
                    </a:lnTo>
                    <a:lnTo>
                      <a:pt x="1234" y="872"/>
                    </a:lnTo>
                    <a:lnTo>
                      <a:pt x="1234" y="872"/>
                    </a:lnTo>
                    <a:lnTo>
                      <a:pt x="1229" y="872"/>
                    </a:lnTo>
                    <a:lnTo>
                      <a:pt x="1228" y="872"/>
                    </a:lnTo>
                    <a:lnTo>
                      <a:pt x="1224" y="875"/>
                    </a:lnTo>
                    <a:lnTo>
                      <a:pt x="1224" y="875"/>
                    </a:lnTo>
                    <a:lnTo>
                      <a:pt x="1212" y="882"/>
                    </a:lnTo>
                    <a:lnTo>
                      <a:pt x="1208" y="885"/>
                    </a:lnTo>
                    <a:lnTo>
                      <a:pt x="1205" y="888"/>
                    </a:lnTo>
                    <a:lnTo>
                      <a:pt x="1205" y="888"/>
                    </a:lnTo>
                    <a:lnTo>
                      <a:pt x="1205" y="892"/>
                    </a:lnTo>
                    <a:lnTo>
                      <a:pt x="1206" y="899"/>
                    </a:lnTo>
                    <a:lnTo>
                      <a:pt x="1209" y="904"/>
                    </a:lnTo>
                    <a:lnTo>
                      <a:pt x="1211" y="905"/>
                    </a:lnTo>
                    <a:lnTo>
                      <a:pt x="1212" y="906"/>
                    </a:lnTo>
                    <a:lnTo>
                      <a:pt x="1212" y="906"/>
                    </a:lnTo>
                    <a:lnTo>
                      <a:pt x="1216" y="905"/>
                    </a:lnTo>
                    <a:lnTo>
                      <a:pt x="1222" y="901"/>
                    </a:lnTo>
                    <a:lnTo>
                      <a:pt x="1226" y="898"/>
                    </a:lnTo>
                    <a:lnTo>
                      <a:pt x="1228" y="895"/>
                    </a:lnTo>
                    <a:lnTo>
                      <a:pt x="1228" y="895"/>
                    </a:lnTo>
                    <a:lnTo>
                      <a:pt x="1231" y="886"/>
                    </a:lnTo>
                    <a:lnTo>
                      <a:pt x="1235" y="883"/>
                    </a:lnTo>
                    <a:lnTo>
                      <a:pt x="1237" y="882"/>
                    </a:lnTo>
                    <a:lnTo>
                      <a:pt x="1240" y="882"/>
                    </a:lnTo>
                    <a:lnTo>
                      <a:pt x="1240" y="882"/>
                    </a:lnTo>
                    <a:lnTo>
                      <a:pt x="1248" y="885"/>
                    </a:lnTo>
                    <a:lnTo>
                      <a:pt x="1251" y="885"/>
                    </a:lnTo>
                    <a:lnTo>
                      <a:pt x="1255" y="883"/>
                    </a:lnTo>
                    <a:lnTo>
                      <a:pt x="1255" y="883"/>
                    </a:lnTo>
                    <a:lnTo>
                      <a:pt x="1261" y="880"/>
                    </a:lnTo>
                    <a:lnTo>
                      <a:pt x="1267" y="876"/>
                    </a:lnTo>
                    <a:lnTo>
                      <a:pt x="1274" y="872"/>
                    </a:lnTo>
                    <a:lnTo>
                      <a:pt x="1279" y="870"/>
                    </a:lnTo>
                    <a:lnTo>
                      <a:pt x="1279" y="870"/>
                    </a:lnTo>
                    <a:lnTo>
                      <a:pt x="1284" y="867"/>
                    </a:lnTo>
                    <a:lnTo>
                      <a:pt x="1286" y="867"/>
                    </a:lnTo>
                    <a:lnTo>
                      <a:pt x="1286" y="864"/>
                    </a:lnTo>
                    <a:lnTo>
                      <a:pt x="1286" y="864"/>
                    </a:lnTo>
                    <a:lnTo>
                      <a:pt x="1283" y="862"/>
                    </a:lnTo>
                    <a:lnTo>
                      <a:pt x="1282" y="860"/>
                    </a:lnTo>
                    <a:lnTo>
                      <a:pt x="1277" y="859"/>
                    </a:lnTo>
                    <a:lnTo>
                      <a:pt x="1277" y="859"/>
                    </a:lnTo>
                    <a:lnTo>
                      <a:pt x="1273" y="857"/>
                    </a:lnTo>
                    <a:lnTo>
                      <a:pt x="1271" y="856"/>
                    </a:lnTo>
                    <a:lnTo>
                      <a:pt x="1270" y="854"/>
                    </a:lnTo>
                    <a:lnTo>
                      <a:pt x="1268" y="854"/>
                    </a:lnTo>
                    <a:lnTo>
                      <a:pt x="1268" y="854"/>
                    </a:lnTo>
                    <a:lnTo>
                      <a:pt x="1264" y="856"/>
                    </a:lnTo>
                    <a:lnTo>
                      <a:pt x="1257" y="856"/>
                    </a:lnTo>
                    <a:lnTo>
                      <a:pt x="1257" y="856"/>
                    </a:lnTo>
                    <a:lnTo>
                      <a:pt x="1248" y="853"/>
                    </a:lnTo>
                    <a:lnTo>
                      <a:pt x="1245" y="851"/>
                    </a:lnTo>
                    <a:lnTo>
                      <a:pt x="1244" y="849"/>
                    </a:lnTo>
                    <a:lnTo>
                      <a:pt x="1244" y="849"/>
                    </a:lnTo>
                    <a:lnTo>
                      <a:pt x="1241" y="847"/>
                    </a:lnTo>
                    <a:lnTo>
                      <a:pt x="1238" y="847"/>
                    </a:lnTo>
                    <a:lnTo>
                      <a:pt x="1232" y="847"/>
                    </a:lnTo>
                    <a:lnTo>
                      <a:pt x="1229" y="847"/>
                    </a:lnTo>
                    <a:lnTo>
                      <a:pt x="1229" y="847"/>
                    </a:lnTo>
                    <a:lnTo>
                      <a:pt x="1228" y="846"/>
                    </a:lnTo>
                    <a:lnTo>
                      <a:pt x="1226" y="843"/>
                    </a:lnTo>
                    <a:lnTo>
                      <a:pt x="1226" y="840"/>
                    </a:lnTo>
                    <a:lnTo>
                      <a:pt x="1225" y="837"/>
                    </a:lnTo>
                    <a:lnTo>
                      <a:pt x="1225" y="837"/>
                    </a:lnTo>
                    <a:lnTo>
                      <a:pt x="1219" y="831"/>
                    </a:lnTo>
                    <a:lnTo>
                      <a:pt x="1218" y="828"/>
                    </a:lnTo>
                    <a:lnTo>
                      <a:pt x="1219" y="827"/>
                    </a:lnTo>
                    <a:lnTo>
                      <a:pt x="1219" y="827"/>
                    </a:lnTo>
                    <a:lnTo>
                      <a:pt x="1221" y="824"/>
                    </a:lnTo>
                    <a:lnTo>
                      <a:pt x="1224" y="820"/>
                    </a:lnTo>
                    <a:lnTo>
                      <a:pt x="1224" y="815"/>
                    </a:lnTo>
                    <a:lnTo>
                      <a:pt x="1224" y="812"/>
                    </a:lnTo>
                    <a:lnTo>
                      <a:pt x="1222" y="812"/>
                    </a:lnTo>
                    <a:lnTo>
                      <a:pt x="1222" y="812"/>
                    </a:lnTo>
                    <a:lnTo>
                      <a:pt x="1216" y="812"/>
                    </a:lnTo>
                    <a:lnTo>
                      <a:pt x="1213" y="812"/>
                    </a:lnTo>
                    <a:lnTo>
                      <a:pt x="1211" y="809"/>
                    </a:lnTo>
                    <a:lnTo>
                      <a:pt x="1211" y="809"/>
                    </a:lnTo>
                    <a:lnTo>
                      <a:pt x="1208" y="808"/>
                    </a:lnTo>
                    <a:lnTo>
                      <a:pt x="1203" y="807"/>
                    </a:lnTo>
                    <a:lnTo>
                      <a:pt x="1200" y="805"/>
                    </a:lnTo>
                    <a:lnTo>
                      <a:pt x="1200" y="804"/>
                    </a:lnTo>
                    <a:lnTo>
                      <a:pt x="1200" y="804"/>
                    </a:lnTo>
                    <a:lnTo>
                      <a:pt x="1200" y="804"/>
                    </a:lnTo>
                    <a:lnTo>
                      <a:pt x="1202" y="802"/>
                    </a:lnTo>
                    <a:lnTo>
                      <a:pt x="1205" y="802"/>
                    </a:lnTo>
                    <a:lnTo>
                      <a:pt x="1212" y="804"/>
                    </a:lnTo>
                    <a:lnTo>
                      <a:pt x="1212" y="804"/>
                    </a:lnTo>
                    <a:lnTo>
                      <a:pt x="1219" y="804"/>
                    </a:lnTo>
                    <a:lnTo>
                      <a:pt x="1224" y="802"/>
                    </a:lnTo>
                    <a:lnTo>
                      <a:pt x="1228" y="799"/>
                    </a:lnTo>
                    <a:lnTo>
                      <a:pt x="1231" y="795"/>
                    </a:lnTo>
                    <a:lnTo>
                      <a:pt x="1231" y="795"/>
                    </a:lnTo>
                    <a:lnTo>
                      <a:pt x="1232" y="791"/>
                    </a:lnTo>
                    <a:lnTo>
                      <a:pt x="1232" y="786"/>
                    </a:lnTo>
                    <a:lnTo>
                      <a:pt x="1232" y="786"/>
                    </a:lnTo>
                    <a:lnTo>
                      <a:pt x="1232" y="780"/>
                    </a:lnTo>
                    <a:lnTo>
                      <a:pt x="1231" y="779"/>
                    </a:lnTo>
                    <a:lnTo>
                      <a:pt x="1226" y="776"/>
                    </a:lnTo>
                    <a:lnTo>
                      <a:pt x="1226" y="776"/>
                    </a:lnTo>
                    <a:lnTo>
                      <a:pt x="1221" y="775"/>
                    </a:lnTo>
                    <a:lnTo>
                      <a:pt x="1215" y="773"/>
                    </a:lnTo>
                    <a:lnTo>
                      <a:pt x="1211" y="773"/>
                    </a:lnTo>
                    <a:lnTo>
                      <a:pt x="1206" y="773"/>
                    </a:lnTo>
                    <a:lnTo>
                      <a:pt x="1206" y="773"/>
                    </a:lnTo>
                    <a:lnTo>
                      <a:pt x="1192" y="779"/>
                    </a:lnTo>
                    <a:lnTo>
                      <a:pt x="1176" y="788"/>
                    </a:lnTo>
                    <a:lnTo>
                      <a:pt x="1176" y="788"/>
                    </a:lnTo>
                    <a:lnTo>
                      <a:pt x="1166" y="792"/>
                    </a:lnTo>
                    <a:lnTo>
                      <a:pt x="1163" y="795"/>
                    </a:lnTo>
                    <a:lnTo>
                      <a:pt x="1157" y="798"/>
                    </a:lnTo>
                    <a:lnTo>
                      <a:pt x="1157" y="798"/>
                    </a:lnTo>
                    <a:lnTo>
                      <a:pt x="1151" y="805"/>
                    </a:lnTo>
                    <a:lnTo>
                      <a:pt x="1144" y="815"/>
                    </a:lnTo>
                    <a:lnTo>
                      <a:pt x="1137" y="824"/>
                    </a:lnTo>
                    <a:lnTo>
                      <a:pt x="1134" y="827"/>
                    </a:lnTo>
                    <a:lnTo>
                      <a:pt x="1131" y="828"/>
                    </a:lnTo>
                    <a:lnTo>
                      <a:pt x="1131" y="828"/>
                    </a:lnTo>
                    <a:lnTo>
                      <a:pt x="1129" y="828"/>
                    </a:lnTo>
                    <a:lnTo>
                      <a:pt x="1129" y="827"/>
                    </a:lnTo>
                    <a:lnTo>
                      <a:pt x="1131" y="825"/>
                    </a:lnTo>
                    <a:lnTo>
                      <a:pt x="1137" y="817"/>
                    </a:lnTo>
                    <a:lnTo>
                      <a:pt x="1137" y="817"/>
                    </a:lnTo>
                    <a:lnTo>
                      <a:pt x="1145" y="802"/>
                    </a:lnTo>
                    <a:lnTo>
                      <a:pt x="1154" y="789"/>
                    </a:lnTo>
                    <a:lnTo>
                      <a:pt x="1154" y="789"/>
                    </a:lnTo>
                    <a:lnTo>
                      <a:pt x="1163" y="780"/>
                    </a:lnTo>
                    <a:lnTo>
                      <a:pt x="1167" y="776"/>
                    </a:lnTo>
                    <a:lnTo>
                      <a:pt x="1171" y="775"/>
                    </a:lnTo>
                    <a:lnTo>
                      <a:pt x="1171" y="775"/>
                    </a:lnTo>
                    <a:lnTo>
                      <a:pt x="1179" y="770"/>
                    </a:lnTo>
                    <a:lnTo>
                      <a:pt x="1184" y="767"/>
                    </a:lnTo>
                    <a:lnTo>
                      <a:pt x="1184" y="767"/>
                    </a:lnTo>
                    <a:lnTo>
                      <a:pt x="1192" y="756"/>
                    </a:lnTo>
                    <a:lnTo>
                      <a:pt x="1198" y="749"/>
                    </a:lnTo>
                    <a:lnTo>
                      <a:pt x="1202" y="746"/>
                    </a:lnTo>
                    <a:lnTo>
                      <a:pt x="1202" y="746"/>
                    </a:lnTo>
                    <a:lnTo>
                      <a:pt x="1211" y="746"/>
                    </a:lnTo>
                    <a:lnTo>
                      <a:pt x="1222" y="746"/>
                    </a:lnTo>
                    <a:lnTo>
                      <a:pt x="1247" y="747"/>
                    </a:lnTo>
                    <a:lnTo>
                      <a:pt x="1247" y="747"/>
                    </a:lnTo>
                    <a:lnTo>
                      <a:pt x="1279" y="746"/>
                    </a:lnTo>
                    <a:lnTo>
                      <a:pt x="1297" y="746"/>
                    </a:lnTo>
                    <a:lnTo>
                      <a:pt x="1308" y="743"/>
                    </a:lnTo>
                    <a:lnTo>
                      <a:pt x="1308" y="743"/>
                    </a:lnTo>
                    <a:lnTo>
                      <a:pt x="1312" y="740"/>
                    </a:lnTo>
                    <a:lnTo>
                      <a:pt x="1315" y="736"/>
                    </a:lnTo>
                    <a:lnTo>
                      <a:pt x="1319" y="728"/>
                    </a:lnTo>
                    <a:lnTo>
                      <a:pt x="1319" y="728"/>
                    </a:lnTo>
                    <a:lnTo>
                      <a:pt x="1322" y="725"/>
                    </a:lnTo>
                    <a:lnTo>
                      <a:pt x="1325" y="723"/>
                    </a:lnTo>
                    <a:lnTo>
                      <a:pt x="1328" y="720"/>
                    </a:lnTo>
                    <a:lnTo>
                      <a:pt x="1331" y="720"/>
                    </a:lnTo>
                    <a:lnTo>
                      <a:pt x="1331" y="720"/>
                    </a:lnTo>
                    <a:lnTo>
                      <a:pt x="1338" y="718"/>
                    </a:lnTo>
                    <a:lnTo>
                      <a:pt x="1347" y="715"/>
                    </a:lnTo>
                    <a:lnTo>
                      <a:pt x="1347" y="715"/>
                    </a:lnTo>
                    <a:lnTo>
                      <a:pt x="1357" y="712"/>
                    </a:lnTo>
                    <a:lnTo>
                      <a:pt x="1363" y="709"/>
                    </a:lnTo>
                    <a:lnTo>
                      <a:pt x="1366" y="705"/>
                    </a:lnTo>
                    <a:lnTo>
                      <a:pt x="1366" y="705"/>
                    </a:lnTo>
                    <a:lnTo>
                      <a:pt x="1367" y="699"/>
                    </a:lnTo>
                    <a:lnTo>
                      <a:pt x="1367" y="698"/>
                    </a:lnTo>
                    <a:lnTo>
                      <a:pt x="1366" y="696"/>
                    </a:lnTo>
                    <a:close/>
                    <a:moveTo>
                      <a:pt x="266" y="216"/>
                    </a:moveTo>
                    <a:lnTo>
                      <a:pt x="266" y="216"/>
                    </a:lnTo>
                    <a:lnTo>
                      <a:pt x="265" y="218"/>
                    </a:lnTo>
                    <a:lnTo>
                      <a:pt x="262" y="220"/>
                    </a:lnTo>
                    <a:lnTo>
                      <a:pt x="259" y="221"/>
                    </a:lnTo>
                    <a:lnTo>
                      <a:pt x="259" y="221"/>
                    </a:lnTo>
                    <a:lnTo>
                      <a:pt x="253" y="218"/>
                    </a:lnTo>
                    <a:lnTo>
                      <a:pt x="252" y="217"/>
                    </a:lnTo>
                    <a:lnTo>
                      <a:pt x="253" y="214"/>
                    </a:lnTo>
                    <a:lnTo>
                      <a:pt x="253" y="214"/>
                    </a:lnTo>
                    <a:lnTo>
                      <a:pt x="259" y="210"/>
                    </a:lnTo>
                    <a:lnTo>
                      <a:pt x="262" y="208"/>
                    </a:lnTo>
                    <a:lnTo>
                      <a:pt x="263" y="208"/>
                    </a:lnTo>
                    <a:lnTo>
                      <a:pt x="263" y="208"/>
                    </a:lnTo>
                    <a:lnTo>
                      <a:pt x="265" y="213"/>
                    </a:lnTo>
                    <a:lnTo>
                      <a:pt x="266" y="214"/>
                    </a:lnTo>
                    <a:lnTo>
                      <a:pt x="266" y="216"/>
                    </a:lnTo>
                    <a:close/>
                    <a:moveTo>
                      <a:pt x="281" y="211"/>
                    </a:moveTo>
                    <a:lnTo>
                      <a:pt x="281" y="211"/>
                    </a:lnTo>
                    <a:lnTo>
                      <a:pt x="282" y="204"/>
                    </a:lnTo>
                    <a:lnTo>
                      <a:pt x="284" y="204"/>
                    </a:lnTo>
                    <a:lnTo>
                      <a:pt x="287" y="205"/>
                    </a:lnTo>
                    <a:lnTo>
                      <a:pt x="287" y="205"/>
                    </a:lnTo>
                    <a:lnTo>
                      <a:pt x="289" y="208"/>
                    </a:lnTo>
                    <a:lnTo>
                      <a:pt x="291" y="213"/>
                    </a:lnTo>
                    <a:lnTo>
                      <a:pt x="292" y="217"/>
                    </a:lnTo>
                    <a:lnTo>
                      <a:pt x="292" y="220"/>
                    </a:lnTo>
                    <a:lnTo>
                      <a:pt x="292" y="220"/>
                    </a:lnTo>
                    <a:lnTo>
                      <a:pt x="291" y="224"/>
                    </a:lnTo>
                    <a:lnTo>
                      <a:pt x="291" y="226"/>
                    </a:lnTo>
                    <a:lnTo>
                      <a:pt x="288" y="227"/>
                    </a:lnTo>
                    <a:lnTo>
                      <a:pt x="288" y="227"/>
                    </a:lnTo>
                    <a:lnTo>
                      <a:pt x="285" y="226"/>
                    </a:lnTo>
                    <a:lnTo>
                      <a:pt x="282" y="221"/>
                    </a:lnTo>
                    <a:lnTo>
                      <a:pt x="281" y="216"/>
                    </a:lnTo>
                    <a:lnTo>
                      <a:pt x="281" y="211"/>
                    </a:lnTo>
                    <a:close/>
                    <a:moveTo>
                      <a:pt x="294" y="466"/>
                    </a:moveTo>
                    <a:lnTo>
                      <a:pt x="294" y="466"/>
                    </a:lnTo>
                    <a:lnTo>
                      <a:pt x="289" y="468"/>
                    </a:lnTo>
                    <a:lnTo>
                      <a:pt x="285" y="468"/>
                    </a:lnTo>
                    <a:lnTo>
                      <a:pt x="282" y="466"/>
                    </a:lnTo>
                    <a:lnTo>
                      <a:pt x="284" y="465"/>
                    </a:lnTo>
                    <a:lnTo>
                      <a:pt x="284" y="463"/>
                    </a:lnTo>
                    <a:lnTo>
                      <a:pt x="284" y="463"/>
                    </a:lnTo>
                    <a:lnTo>
                      <a:pt x="294" y="459"/>
                    </a:lnTo>
                    <a:lnTo>
                      <a:pt x="297" y="457"/>
                    </a:lnTo>
                    <a:lnTo>
                      <a:pt x="300" y="457"/>
                    </a:lnTo>
                    <a:lnTo>
                      <a:pt x="300" y="457"/>
                    </a:lnTo>
                    <a:lnTo>
                      <a:pt x="301" y="459"/>
                    </a:lnTo>
                    <a:lnTo>
                      <a:pt x="298" y="462"/>
                    </a:lnTo>
                    <a:lnTo>
                      <a:pt x="294" y="466"/>
                    </a:lnTo>
                    <a:close/>
                    <a:moveTo>
                      <a:pt x="353" y="384"/>
                    </a:moveTo>
                    <a:lnTo>
                      <a:pt x="353" y="384"/>
                    </a:lnTo>
                    <a:lnTo>
                      <a:pt x="349" y="385"/>
                    </a:lnTo>
                    <a:lnTo>
                      <a:pt x="344" y="385"/>
                    </a:lnTo>
                    <a:lnTo>
                      <a:pt x="336" y="384"/>
                    </a:lnTo>
                    <a:lnTo>
                      <a:pt x="327" y="381"/>
                    </a:lnTo>
                    <a:lnTo>
                      <a:pt x="326" y="379"/>
                    </a:lnTo>
                    <a:lnTo>
                      <a:pt x="326" y="376"/>
                    </a:lnTo>
                    <a:lnTo>
                      <a:pt x="326" y="376"/>
                    </a:lnTo>
                    <a:lnTo>
                      <a:pt x="327" y="373"/>
                    </a:lnTo>
                    <a:lnTo>
                      <a:pt x="330" y="371"/>
                    </a:lnTo>
                    <a:lnTo>
                      <a:pt x="333" y="371"/>
                    </a:lnTo>
                    <a:lnTo>
                      <a:pt x="337" y="372"/>
                    </a:lnTo>
                    <a:lnTo>
                      <a:pt x="337" y="372"/>
                    </a:lnTo>
                    <a:lnTo>
                      <a:pt x="343" y="375"/>
                    </a:lnTo>
                    <a:lnTo>
                      <a:pt x="349" y="375"/>
                    </a:lnTo>
                    <a:lnTo>
                      <a:pt x="349" y="375"/>
                    </a:lnTo>
                    <a:lnTo>
                      <a:pt x="355" y="373"/>
                    </a:lnTo>
                    <a:lnTo>
                      <a:pt x="357" y="373"/>
                    </a:lnTo>
                    <a:lnTo>
                      <a:pt x="359" y="375"/>
                    </a:lnTo>
                    <a:lnTo>
                      <a:pt x="359" y="375"/>
                    </a:lnTo>
                    <a:lnTo>
                      <a:pt x="359" y="378"/>
                    </a:lnTo>
                    <a:lnTo>
                      <a:pt x="357" y="379"/>
                    </a:lnTo>
                    <a:lnTo>
                      <a:pt x="353" y="384"/>
                    </a:lnTo>
                    <a:close/>
                    <a:moveTo>
                      <a:pt x="372" y="250"/>
                    </a:moveTo>
                    <a:lnTo>
                      <a:pt x="372" y="250"/>
                    </a:lnTo>
                    <a:lnTo>
                      <a:pt x="369" y="259"/>
                    </a:lnTo>
                    <a:lnTo>
                      <a:pt x="366" y="266"/>
                    </a:lnTo>
                    <a:lnTo>
                      <a:pt x="366" y="266"/>
                    </a:lnTo>
                    <a:lnTo>
                      <a:pt x="365" y="269"/>
                    </a:lnTo>
                    <a:lnTo>
                      <a:pt x="363" y="271"/>
                    </a:lnTo>
                    <a:lnTo>
                      <a:pt x="366" y="272"/>
                    </a:lnTo>
                    <a:lnTo>
                      <a:pt x="366" y="272"/>
                    </a:lnTo>
                    <a:lnTo>
                      <a:pt x="369" y="275"/>
                    </a:lnTo>
                    <a:lnTo>
                      <a:pt x="371" y="279"/>
                    </a:lnTo>
                    <a:lnTo>
                      <a:pt x="371" y="279"/>
                    </a:lnTo>
                    <a:lnTo>
                      <a:pt x="372" y="288"/>
                    </a:lnTo>
                    <a:lnTo>
                      <a:pt x="372" y="289"/>
                    </a:lnTo>
                    <a:lnTo>
                      <a:pt x="372" y="289"/>
                    </a:lnTo>
                    <a:lnTo>
                      <a:pt x="372" y="289"/>
                    </a:lnTo>
                    <a:lnTo>
                      <a:pt x="369" y="284"/>
                    </a:lnTo>
                    <a:lnTo>
                      <a:pt x="366" y="281"/>
                    </a:lnTo>
                    <a:lnTo>
                      <a:pt x="365" y="281"/>
                    </a:lnTo>
                    <a:lnTo>
                      <a:pt x="365" y="281"/>
                    </a:lnTo>
                    <a:lnTo>
                      <a:pt x="357" y="281"/>
                    </a:lnTo>
                    <a:lnTo>
                      <a:pt x="355" y="281"/>
                    </a:lnTo>
                    <a:lnTo>
                      <a:pt x="353" y="279"/>
                    </a:lnTo>
                    <a:lnTo>
                      <a:pt x="353" y="279"/>
                    </a:lnTo>
                    <a:lnTo>
                      <a:pt x="352" y="276"/>
                    </a:lnTo>
                    <a:lnTo>
                      <a:pt x="349" y="276"/>
                    </a:lnTo>
                    <a:lnTo>
                      <a:pt x="346" y="275"/>
                    </a:lnTo>
                    <a:lnTo>
                      <a:pt x="343" y="276"/>
                    </a:lnTo>
                    <a:lnTo>
                      <a:pt x="343" y="276"/>
                    </a:lnTo>
                    <a:lnTo>
                      <a:pt x="339" y="281"/>
                    </a:lnTo>
                    <a:lnTo>
                      <a:pt x="339" y="284"/>
                    </a:lnTo>
                    <a:lnTo>
                      <a:pt x="340" y="285"/>
                    </a:lnTo>
                    <a:lnTo>
                      <a:pt x="340" y="285"/>
                    </a:lnTo>
                    <a:lnTo>
                      <a:pt x="343" y="289"/>
                    </a:lnTo>
                    <a:lnTo>
                      <a:pt x="344" y="292"/>
                    </a:lnTo>
                    <a:lnTo>
                      <a:pt x="343" y="294"/>
                    </a:lnTo>
                    <a:lnTo>
                      <a:pt x="343" y="294"/>
                    </a:lnTo>
                    <a:lnTo>
                      <a:pt x="339" y="298"/>
                    </a:lnTo>
                    <a:lnTo>
                      <a:pt x="331" y="300"/>
                    </a:lnTo>
                    <a:lnTo>
                      <a:pt x="331" y="300"/>
                    </a:lnTo>
                    <a:lnTo>
                      <a:pt x="326" y="302"/>
                    </a:lnTo>
                    <a:lnTo>
                      <a:pt x="320" y="305"/>
                    </a:lnTo>
                    <a:lnTo>
                      <a:pt x="314" y="308"/>
                    </a:lnTo>
                    <a:lnTo>
                      <a:pt x="313" y="308"/>
                    </a:lnTo>
                    <a:lnTo>
                      <a:pt x="313" y="307"/>
                    </a:lnTo>
                    <a:lnTo>
                      <a:pt x="313" y="307"/>
                    </a:lnTo>
                    <a:lnTo>
                      <a:pt x="313" y="305"/>
                    </a:lnTo>
                    <a:lnTo>
                      <a:pt x="315" y="302"/>
                    </a:lnTo>
                    <a:lnTo>
                      <a:pt x="321" y="298"/>
                    </a:lnTo>
                    <a:lnTo>
                      <a:pt x="321" y="298"/>
                    </a:lnTo>
                    <a:lnTo>
                      <a:pt x="327" y="294"/>
                    </a:lnTo>
                    <a:lnTo>
                      <a:pt x="330" y="291"/>
                    </a:lnTo>
                    <a:lnTo>
                      <a:pt x="331" y="288"/>
                    </a:lnTo>
                    <a:lnTo>
                      <a:pt x="331" y="288"/>
                    </a:lnTo>
                    <a:lnTo>
                      <a:pt x="331" y="287"/>
                    </a:lnTo>
                    <a:lnTo>
                      <a:pt x="330" y="285"/>
                    </a:lnTo>
                    <a:lnTo>
                      <a:pt x="327" y="285"/>
                    </a:lnTo>
                    <a:lnTo>
                      <a:pt x="324" y="287"/>
                    </a:lnTo>
                    <a:lnTo>
                      <a:pt x="324" y="287"/>
                    </a:lnTo>
                    <a:lnTo>
                      <a:pt x="317" y="289"/>
                    </a:lnTo>
                    <a:lnTo>
                      <a:pt x="311" y="291"/>
                    </a:lnTo>
                    <a:lnTo>
                      <a:pt x="311" y="291"/>
                    </a:lnTo>
                    <a:lnTo>
                      <a:pt x="310" y="292"/>
                    </a:lnTo>
                    <a:lnTo>
                      <a:pt x="307" y="295"/>
                    </a:lnTo>
                    <a:lnTo>
                      <a:pt x="302" y="301"/>
                    </a:lnTo>
                    <a:lnTo>
                      <a:pt x="302" y="301"/>
                    </a:lnTo>
                    <a:lnTo>
                      <a:pt x="300" y="302"/>
                    </a:lnTo>
                    <a:lnTo>
                      <a:pt x="297" y="302"/>
                    </a:lnTo>
                    <a:lnTo>
                      <a:pt x="289" y="298"/>
                    </a:lnTo>
                    <a:lnTo>
                      <a:pt x="289" y="298"/>
                    </a:lnTo>
                    <a:lnTo>
                      <a:pt x="285" y="295"/>
                    </a:lnTo>
                    <a:lnTo>
                      <a:pt x="285" y="294"/>
                    </a:lnTo>
                    <a:lnTo>
                      <a:pt x="287" y="292"/>
                    </a:lnTo>
                    <a:lnTo>
                      <a:pt x="287" y="292"/>
                    </a:lnTo>
                    <a:lnTo>
                      <a:pt x="289" y="288"/>
                    </a:lnTo>
                    <a:lnTo>
                      <a:pt x="289" y="287"/>
                    </a:lnTo>
                    <a:lnTo>
                      <a:pt x="288" y="284"/>
                    </a:lnTo>
                    <a:lnTo>
                      <a:pt x="288" y="284"/>
                    </a:lnTo>
                    <a:lnTo>
                      <a:pt x="288" y="282"/>
                    </a:lnTo>
                    <a:lnTo>
                      <a:pt x="288" y="282"/>
                    </a:lnTo>
                    <a:lnTo>
                      <a:pt x="294" y="281"/>
                    </a:lnTo>
                    <a:lnTo>
                      <a:pt x="294" y="281"/>
                    </a:lnTo>
                    <a:lnTo>
                      <a:pt x="297" y="279"/>
                    </a:lnTo>
                    <a:lnTo>
                      <a:pt x="300" y="278"/>
                    </a:lnTo>
                    <a:lnTo>
                      <a:pt x="300" y="275"/>
                    </a:lnTo>
                    <a:lnTo>
                      <a:pt x="300" y="273"/>
                    </a:lnTo>
                    <a:lnTo>
                      <a:pt x="300" y="273"/>
                    </a:lnTo>
                    <a:lnTo>
                      <a:pt x="297" y="269"/>
                    </a:lnTo>
                    <a:lnTo>
                      <a:pt x="297" y="268"/>
                    </a:lnTo>
                    <a:lnTo>
                      <a:pt x="300" y="269"/>
                    </a:lnTo>
                    <a:lnTo>
                      <a:pt x="300" y="269"/>
                    </a:lnTo>
                    <a:lnTo>
                      <a:pt x="308" y="272"/>
                    </a:lnTo>
                    <a:lnTo>
                      <a:pt x="311" y="272"/>
                    </a:lnTo>
                    <a:lnTo>
                      <a:pt x="314" y="269"/>
                    </a:lnTo>
                    <a:lnTo>
                      <a:pt x="314" y="269"/>
                    </a:lnTo>
                    <a:lnTo>
                      <a:pt x="317" y="263"/>
                    </a:lnTo>
                    <a:lnTo>
                      <a:pt x="317" y="260"/>
                    </a:lnTo>
                    <a:lnTo>
                      <a:pt x="317" y="259"/>
                    </a:lnTo>
                    <a:lnTo>
                      <a:pt x="317" y="259"/>
                    </a:lnTo>
                    <a:lnTo>
                      <a:pt x="311" y="262"/>
                    </a:lnTo>
                    <a:lnTo>
                      <a:pt x="310" y="262"/>
                    </a:lnTo>
                    <a:lnTo>
                      <a:pt x="308" y="262"/>
                    </a:lnTo>
                    <a:lnTo>
                      <a:pt x="308" y="262"/>
                    </a:lnTo>
                    <a:lnTo>
                      <a:pt x="307" y="258"/>
                    </a:lnTo>
                    <a:lnTo>
                      <a:pt x="305" y="256"/>
                    </a:lnTo>
                    <a:lnTo>
                      <a:pt x="301" y="256"/>
                    </a:lnTo>
                    <a:lnTo>
                      <a:pt x="301" y="256"/>
                    </a:lnTo>
                    <a:lnTo>
                      <a:pt x="295" y="258"/>
                    </a:lnTo>
                    <a:lnTo>
                      <a:pt x="292" y="258"/>
                    </a:lnTo>
                    <a:lnTo>
                      <a:pt x="289" y="256"/>
                    </a:lnTo>
                    <a:lnTo>
                      <a:pt x="289" y="256"/>
                    </a:lnTo>
                    <a:lnTo>
                      <a:pt x="285" y="255"/>
                    </a:lnTo>
                    <a:lnTo>
                      <a:pt x="284" y="256"/>
                    </a:lnTo>
                    <a:lnTo>
                      <a:pt x="282" y="258"/>
                    </a:lnTo>
                    <a:lnTo>
                      <a:pt x="282" y="258"/>
                    </a:lnTo>
                    <a:lnTo>
                      <a:pt x="281" y="262"/>
                    </a:lnTo>
                    <a:lnTo>
                      <a:pt x="278" y="262"/>
                    </a:lnTo>
                    <a:lnTo>
                      <a:pt x="275" y="262"/>
                    </a:lnTo>
                    <a:lnTo>
                      <a:pt x="275" y="262"/>
                    </a:lnTo>
                    <a:lnTo>
                      <a:pt x="272" y="260"/>
                    </a:lnTo>
                    <a:lnTo>
                      <a:pt x="271" y="258"/>
                    </a:lnTo>
                    <a:lnTo>
                      <a:pt x="269" y="255"/>
                    </a:lnTo>
                    <a:lnTo>
                      <a:pt x="269" y="252"/>
                    </a:lnTo>
                    <a:lnTo>
                      <a:pt x="269" y="252"/>
                    </a:lnTo>
                    <a:lnTo>
                      <a:pt x="273" y="250"/>
                    </a:lnTo>
                    <a:lnTo>
                      <a:pt x="278" y="249"/>
                    </a:lnTo>
                    <a:lnTo>
                      <a:pt x="282" y="247"/>
                    </a:lnTo>
                    <a:lnTo>
                      <a:pt x="284" y="245"/>
                    </a:lnTo>
                    <a:lnTo>
                      <a:pt x="284" y="245"/>
                    </a:lnTo>
                    <a:lnTo>
                      <a:pt x="287" y="243"/>
                    </a:lnTo>
                    <a:lnTo>
                      <a:pt x="289" y="243"/>
                    </a:lnTo>
                    <a:lnTo>
                      <a:pt x="292" y="243"/>
                    </a:lnTo>
                    <a:lnTo>
                      <a:pt x="297" y="242"/>
                    </a:lnTo>
                    <a:lnTo>
                      <a:pt x="297" y="242"/>
                    </a:lnTo>
                    <a:lnTo>
                      <a:pt x="302" y="240"/>
                    </a:lnTo>
                    <a:lnTo>
                      <a:pt x="311" y="239"/>
                    </a:lnTo>
                    <a:lnTo>
                      <a:pt x="311" y="239"/>
                    </a:lnTo>
                    <a:lnTo>
                      <a:pt x="315" y="237"/>
                    </a:lnTo>
                    <a:lnTo>
                      <a:pt x="318" y="236"/>
                    </a:lnTo>
                    <a:lnTo>
                      <a:pt x="324" y="230"/>
                    </a:lnTo>
                    <a:lnTo>
                      <a:pt x="324" y="230"/>
                    </a:lnTo>
                    <a:lnTo>
                      <a:pt x="330" y="226"/>
                    </a:lnTo>
                    <a:lnTo>
                      <a:pt x="334" y="224"/>
                    </a:lnTo>
                    <a:lnTo>
                      <a:pt x="339" y="224"/>
                    </a:lnTo>
                    <a:lnTo>
                      <a:pt x="339" y="224"/>
                    </a:lnTo>
                    <a:lnTo>
                      <a:pt x="349" y="227"/>
                    </a:lnTo>
                    <a:lnTo>
                      <a:pt x="350" y="229"/>
                    </a:lnTo>
                    <a:lnTo>
                      <a:pt x="350" y="230"/>
                    </a:lnTo>
                    <a:lnTo>
                      <a:pt x="350" y="230"/>
                    </a:lnTo>
                    <a:lnTo>
                      <a:pt x="336" y="242"/>
                    </a:lnTo>
                    <a:lnTo>
                      <a:pt x="336" y="242"/>
                    </a:lnTo>
                    <a:lnTo>
                      <a:pt x="333" y="246"/>
                    </a:lnTo>
                    <a:lnTo>
                      <a:pt x="331" y="249"/>
                    </a:lnTo>
                    <a:lnTo>
                      <a:pt x="333" y="249"/>
                    </a:lnTo>
                    <a:lnTo>
                      <a:pt x="333" y="249"/>
                    </a:lnTo>
                    <a:lnTo>
                      <a:pt x="336" y="253"/>
                    </a:lnTo>
                    <a:lnTo>
                      <a:pt x="337" y="253"/>
                    </a:lnTo>
                    <a:lnTo>
                      <a:pt x="340" y="253"/>
                    </a:lnTo>
                    <a:lnTo>
                      <a:pt x="340" y="253"/>
                    </a:lnTo>
                    <a:lnTo>
                      <a:pt x="344" y="250"/>
                    </a:lnTo>
                    <a:lnTo>
                      <a:pt x="346" y="249"/>
                    </a:lnTo>
                    <a:lnTo>
                      <a:pt x="349" y="249"/>
                    </a:lnTo>
                    <a:lnTo>
                      <a:pt x="349" y="249"/>
                    </a:lnTo>
                    <a:lnTo>
                      <a:pt x="353" y="253"/>
                    </a:lnTo>
                    <a:lnTo>
                      <a:pt x="356" y="255"/>
                    </a:lnTo>
                    <a:lnTo>
                      <a:pt x="360" y="253"/>
                    </a:lnTo>
                    <a:lnTo>
                      <a:pt x="360" y="253"/>
                    </a:lnTo>
                    <a:lnTo>
                      <a:pt x="363" y="252"/>
                    </a:lnTo>
                    <a:lnTo>
                      <a:pt x="365" y="249"/>
                    </a:lnTo>
                    <a:lnTo>
                      <a:pt x="366" y="246"/>
                    </a:lnTo>
                    <a:lnTo>
                      <a:pt x="369" y="245"/>
                    </a:lnTo>
                    <a:lnTo>
                      <a:pt x="369" y="245"/>
                    </a:lnTo>
                    <a:lnTo>
                      <a:pt x="371" y="245"/>
                    </a:lnTo>
                    <a:lnTo>
                      <a:pt x="372" y="246"/>
                    </a:lnTo>
                    <a:lnTo>
                      <a:pt x="373" y="247"/>
                    </a:lnTo>
                    <a:lnTo>
                      <a:pt x="372" y="250"/>
                    </a:lnTo>
                    <a:close/>
                    <a:moveTo>
                      <a:pt x="453" y="344"/>
                    </a:moveTo>
                    <a:lnTo>
                      <a:pt x="453" y="344"/>
                    </a:lnTo>
                    <a:lnTo>
                      <a:pt x="459" y="343"/>
                    </a:lnTo>
                    <a:lnTo>
                      <a:pt x="460" y="340"/>
                    </a:lnTo>
                    <a:lnTo>
                      <a:pt x="462" y="337"/>
                    </a:lnTo>
                    <a:lnTo>
                      <a:pt x="465" y="336"/>
                    </a:lnTo>
                    <a:lnTo>
                      <a:pt x="465" y="336"/>
                    </a:lnTo>
                    <a:lnTo>
                      <a:pt x="473" y="333"/>
                    </a:lnTo>
                    <a:lnTo>
                      <a:pt x="479" y="329"/>
                    </a:lnTo>
                    <a:lnTo>
                      <a:pt x="479" y="329"/>
                    </a:lnTo>
                    <a:lnTo>
                      <a:pt x="481" y="329"/>
                    </a:lnTo>
                    <a:lnTo>
                      <a:pt x="485" y="327"/>
                    </a:lnTo>
                    <a:lnTo>
                      <a:pt x="488" y="327"/>
                    </a:lnTo>
                    <a:lnTo>
                      <a:pt x="488" y="329"/>
                    </a:lnTo>
                    <a:lnTo>
                      <a:pt x="488" y="329"/>
                    </a:lnTo>
                    <a:lnTo>
                      <a:pt x="488" y="330"/>
                    </a:lnTo>
                    <a:lnTo>
                      <a:pt x="491" y="330"/>
                    </a:lnTo>
                    <a:lnTo>
                      <a:pt x="494" y="329"/>
                    </a:lnTo>
                    <a:lnTo>
                      <a:pt x="494" y="329"/>
                    </a:lnTo>
                    <a:lnTo>
                      <a:pt x="497" y="334"/>
                    </a:lnTo>
                    <a:lnTo>
                      <a:pt x="497" y="337"/>
                    </a:lnTo>
                    <a:lnTo>
                      <a:pt x="495" y="340"/>
                    </a:lnTo>
                    <a:lnTo>
                      <a:pt x="495" y="340"/>
                    </a:lnTo>
                    <a:lnTo>
                      <a:pt x="491" y="344"/>
                    </a:lnTo>
                    <a:lnTo>
                      <a:pt x="488" y="346"/>
                    </a:lnTo>
                    <a:lnTo>
                      <a:pt x="488" y="344"/>
                    </a:lnTo>
                    <a:lnTo>
                      <a:pt x="488" y="344"/>
                    </a:lnTo>
                    <a:lnTo>
                      <a:pt x="489" y="337"/>
                    </a:lnTo>
                    <a:lnTo>
                      <a:pt x="489" y="334"/>
                    </a:lnTo>
                    <a:lnTo>
                      <a:pt x="489" y="333"/>
                    </a:lnTo>
                    <a:lnTo>
                      <a:pt x="488" y="333"/>
                    </a:lnTo>
                    <a:lnTo>
                      <a:pt x="488" y="333"/>
                    </a:lnTo>
                    <a:lnTo>
                      <a:pt x="483" y="334"/>
                    </a:lnTo>
                    <a:lnTo>
                      <a:pt x="479" y="339"/>
                    </a:lnTo>
                    <a:lnTo>
                      <a:pt x="479" y="339"/>
                    </a:lnTo>
                    <a:lnTo>
                      <a:pt x="473" y="342"/>
                    </a:lnTo>
                    <a:lnTo>
                      <a:pt x="465" y="346"/>
                    </a:lnTo>
                    <a:lnTo>
                      <a:pt x="465" y="346"/>
                    </a:lnTo>
                    <a:lnTo>
                      <a:pt x="459" y="347"/>
                    </a:lnTo>
                    <a:lnTo>
                      <a:pt x="456" y="349"/>
                    </a:lnTo>
                    <a:lnTo>
                      <a:pt x="456" y="349"/>
                    </a:lnTo>
                    <a:lnTo>
                      <a:pt x="453" y="353"/>
                    </a:lnTo>
                    <a:lnTo>
                      <a:pt x="452" y="355"/>
                    </a:lnTo>
                    <a:lnTo>
                      <a:pt x="450" y="355"/>
                    </a:lnTo>
                    <a:lnTo>
                      <a:pt x="450" y="355"/>
                    </a:lnTo>
                    <a:lnTo>
                      <a:pt x="447" y="352"/>
                    </a:lnTo>
                    <a:lnTo>
                      <a:pt x="446" y="350"/>
                    </a:lnTo>
                    <a:lnTo>
                      <a:pt x="447" y="347"/>
                    </a:lnTo>
                    <a:lnTo>
                      <a:pt x="453" y="344"/>
                    </a:lnTo>
                    <a:close/>
                    <a:moveTo>
                      <a:pt x="441" y="431"/>
                    </a:moveTo>
                    <a:lnTo>
                      <a:pt x="441" y="431"/>
                    </a:lnTo>
                    <a:lnTo>
                      <a:pt x="436" y="433"/>
                    </a:lnTo>
                    <a:lnTo>
                      <a:pt x="434" y="434"/>
                    </a:lnTo>
                    <a:lnTo>
                      <a:pt x="433" y="434"/>
                    </a:lnTo>
                    <a:lnTo>
                      <a:pt x="433" y="434"/>
                    </a:lnTo>
                    <a:lnTo>
                      <a:pt x="434" y="440"/>
                    </a:lnTo>
                    <a:lnTo>
                      <a:pt x="434" y="442"/>
                    </a:lnTo>
                    <a:lnTo>
                      <a:pt x="431" y="443"/>
                    </a:lnTo>
                    <a:lnTo>
                      <a:pt x="431" y="443"/>
                    </a:lnTo>
                    <a:lnTo>
                      <a:pt x="418" y="449"/>
                    </a:lnTo>
                    <a:lnTo>
                      <a:pt x="410" y="452"/>
                    </a:lnTo>
                    <a:lnTo>
                      <a:pt x="402" y="452"/>
                    </a:lnTo>
                    <a:lnTo>
                      <a:pt x="402" y="452"/>
                    </a:lnTo>
                    <a:lnTo>
                      <a:pt x="394" y="449"/>
                    </a:lnTo>
                    <a:lnTo>
                      <a:pt x="385" y="443"/>
                    </a:lnTo>
                    <a:lnTo>
                      <a:pt x="385" y="443"/>
                    </a:lnTo>
                    <a:lnTo>
                      <a:pt x="382" y="440"/>
                    </a:lnTo>
                    <a:lnTo>
                      <a:pt x="381" y="437"/>
                    </a:lnTo>
                    <a:lnTo>
                      <a:pt x="381" y="436"/>
                    </a:lnTo>
                    <a:lnTo>
                      <a:pt x="382" y="434"/>
                    </a:lnTo>
                    <a:lnTo>
                      <a:pt x="382" y="434"/>
                    </a:lnTo>
                    <a:lnTo>
                      <a:pt x="385" y="436"/>
                    </a:lnTo>
                    <a:lnTo>
                      <a:pt x="388" y="436"/>
                    </a:lnTo>
                    <a:lnTo>
                      <a:pt x="389" y="437"/>
                    </a:lnTo>
                    <a:lnTo>
                      <a:pt x="391" y="436"/>
                    </a:lnTo>
                    <a:lnTo>
                      <a:pt x="391" y="436"/>
                    </a:lnTo>
                    <a:lnTo>
                      <a:pt x="389" y="433"/>
                    </a:lnTo>
                    <a:lnTo>
                      <a:pt x="391" y="431"/>
                    </a:lnTo>
                    <a:lnTo>
                      <a:pt x="392" y="431"/>
                    </a:lnTo>
                    <a:lnTo>
                      <a:pt x="392" y="431"/>
                    </a:lnTo>
                    <a:lnTo>
                      <a:pt x="398" y="430"/>
                    </a:lnTo>
                    <a:lnTo>
                      <a:pt x="399" y="428"/>
                    </a:lnTo>
                    <a:lnTo>
                      <a:pt x="399" y="427"/>
                    </a:lnTo>
                    <a:lnTo>
                      <a:pt x="399" y="427"/>
                    </a:lnTo>
                    <a:lnTo>
                      <a:pt x="399" y="423"/>
                    </a:lnTo>
                    <a:lnTo>
                      <a:pt x="399" y="420"/>
                    </a:lnTo>
                    <a:lnTo>
                      <a:pt x="399" y="418"/>
                    </a:lnTo>
                    <a:lnTo>
                      <a:pt x="399" y="418"/>
                    </a:lnTo>
                    <a:lnTo>
                      <a:pt x="404" y="417"/>
                    </a:lnTo>
                    <a:lnTo>
                      <a:pt x="405" y="415"/>
                    </a:lnTo>
                    <a:lnTo>
                      <a:pt x="407" y="415"/>
                    </a:lnTo>
                    <a:lnTo>
                      <a:pt x="407" y="415"/>
                    </a:lnTo>
                    <a:lnTo>
                      <a:pt x="411" y="415"/>
                    </a:lnTo>
                    <a:lnTo>
                      <a:pt x="413" y="414"/>
                    </a:lnTo>
                    <a:lnTo>
                      <a:pt x="413" y="413"/>
                    </a:lnTo>
                    <a:lnTo>
                      <a:pt x="413" y="413"/>
                    </a:lnTo>
                    <a:lnTo>
                      <a:pt x="411" y="407"/>
                    </a:lnTo>
                    <a:lnTo>
                      <a:pt x="407" y="395"/>
                    </a:lnTo>
                    <a:lnTo>
                      <a:pt x="407" y="395"/>
                    </a:lnTo>
                    <a:lnTo>
                      <a:pt x="398" y="386"/>
                    </a:lnTo>
                    <a:lnTo>
                      <a:pt x="397" y="384"/>
                    </a:lnTo>
                    <a:lnTo>
                      <a:pt x="397" y="384"/>
                    </a:lnTo>
                    <a:lnTo>
                      <a:pt x="398" y="382"/>
                    </a:lnTo>
                    <a:lnTo>
                      <a:pt x="398" y="382"/>
                    </a:lnTo>
                    <a:lnTo>
                      <a:pt x="405" y="385"/>
                    </a:lnTo>
                    <a:lnTo>
                      <a:pt x="410" y="388"/>
                    </a:lnTo>
                    <a:lnTo>
                      <a:pt x="413" y="391"/>
                    </a:lnTo>
                    <a:lnTo>
                      <a:pt x="413" y="391"/>
                    </a:lnTo>
                    <a:lnTo>
                      <a:pt x="415" y="398"/>
                    </a:lnTo>
                    <a:lnTo>
                      <a:pt x="417" y="399"/>
                    </a:lnTo>
                    <a:lnTo>
                      <a:pt x="420" y="401"/>
                    </a:lnTo>
                    <a:lnTo>
                      <a:pt x="420" y="401"/>
                    </a:lnTo>
                    <a:lnTo>
                      <a:pt x="421" y="402"/>
                    </a:lnTo>
                    <a:lnTo>
                      <a:pt x="423" y="404"/>
                    </a:lnTo>
                    <a:lnTo>
                      <a:pt x="424" y="407"/>
                    </a:lnTo>
                    <a:lnTo>
                      <a:pt x="428" y="408"/>
                    </a:lnTo>
                    <a:lnTo>
                      <a:pt x="428" y="408"/>
                    </a:lnTo>
                    <a:lnTo>
                      <a:pt x="437" y="408"/>
                    </a:lnTo>
                    <a:lnTo>
                      <a:pt x="440" y="408"/>
                    </a:lnTo>
                    <a:lnTo>
                      <a:pt x="441" y="407"/>
                    </a:lnTo>
                    <a:lnTo>
                      <a:pt x="441" y="407"/>
                    </a:lnTo>
                    <a:lnTo>
                      <a:pt x="444" y="402"/>
                    </a:lnTo>
                    <a:lnTo>
                      <a:pt x="447" y="399"/>
                    </a:lnTo>
                    <a:lnTo>
                      <a:pt x="447" y="399"/>
                    </a:lnTo>
                    <a:lnTo>
                      <a:pt x="457" y="395"/>
                    </a:lnTo>
                    <a:lnTo>
                      <a:pt x="466" y="389"/>
                    </a:lnTo>
                    <a:lnTo>
                      <a:pt x="466" y="389"/>
                    </a:lnTo>
                    <a:lnTo>
                      <a:pt x="470" y="386"/>
                    </a:lnTo>
                    <a:lnTo>
                      <a:pt x="476" y="384"/>
                    </a:lnTo>
                    <a:lnTo>
                      <a:pt x="488" y="382"/>
                    </a:lnTo>
                    <a:lnTo>
                      <a:pt x="488" y="382"/>
                    </a:lnTo>
                    <a:lnTo>
                      <a:pt x="499" y="382"/>
                    </a:lnTo>
                    <a:lnTo>
                      <a:pt x="504" y="384"/>
                    </a:lnTo>
                    <a:lnTo>
                      <a:pt x="507" y="385"/>
                    </a:lnTo>
                    <a:lnTo>
                      <a:pt x="507" y="386"/>
                    </a:lnTo>
                    <a:lnTo>
                      <a:pt x="507" y="386"/>
                    </a:lnTo>
                    <a:lnTo>
                      <a:pt x="507" y="391"/>
                    </a:lnTo>
                    <a:lnTo>
                      <a:pt x="507" y="392"/>
                    </a:lnTo>
                    <a:lnTo>
                      <a:pt x="505" y="392"/>
                    </a:lnTo>
                    <a:lnTo>
                      <a:pt x="505" y="392"/>
                    </a:lnTo>
                    <a:lnTo>
                      <a:pt x="502" y="389"/>
                    </a:lnTo>
                    <a:lnTo>
                      <a:pt x="499" y="388"/>
                    </a:lnTo>
                    <a:lnTo>
                      <a:pt x="498" y="389"/>
                    </a:lnTo>
                    <a:lnTo>
                      <a:pt x="498" y="389"/>
                    </a:lnTo>
                    <a:lnTo>
                      <a:pt x="495" y="394"/>
                    </a:lnTo>
                    <a:lnTo>
                      <a:pt x="492" y="399"/>
                    </a:lnTo>
                    <a:lnTo>
                      <a:pt x="492" y="399"/>
                    </a:lnTo>
                    <a:lnTo>
                      <a:pt x="491" y="404"/>
                    </a:lnTo>
                    <a:lnTo>
                      <a:pt x="489" y="405"/>
                    </a:lnTo>
                    <a:lnTo>
                      <a:pt x="486" y="405"/>
                    </a:lnTo>
                    <a:lnTo>
                      <a:pt x="486" y="405"/>
                    </a:lnTo>
                    <a:lnTo>
                      <a:pt x="475" y="401"/>
                    </a:lnTo>
                    <a:lnTo>
                      <a:pt x="470" y="399"/>
                    </a:lnTo>
                    <a:lnTo>
                      <a:pt x="468" y="399"/>
                    </a:lnTo>
                    <a:lnTo>
                      <a:pt x="466" y="399"/>
                    </a:lnTo>
                    <a:lnTo>
                      <a:pt x="466" y="399"/>
                    </a:lnTo>
                    <a:lnTo>
                      <a:pt x="463" y="404"/>
                    </a:lnTo>
                    <a:lnTo>
                      <a:pt x="462" y="408"/>
                    </a:lnTo>
                    <a:lnTo>
                      <a:pt x="460" y="417"/>
                    </a:lnTo>
                    <a:lnTo>
                      <a:pt x="460" y="417"/>
                    </a:lnTo>
                    <a:lnTo>
                      <a:pt x="457" y="423"/>
                    </a:lnTo>
                    <a:lnTo>
                      <a:pt x="456" y="424"/>
                    </a:lnTo>
                    <a:lnTo>
                      <a:pt x="453" y="426"/>
                    </a:lnTo>
                    <a:lnTo>
                      <a:pt x="453" y="426"/>
                    </a:lnTo>
                    <a:lnTo>
                      <a:pt x="444" y="424"/>
                    </a:lnTo>
                    <a:lnTo>
                      <a:pt x="440" y="424"/>
                    </a:lnTo>
                    <a:lnTo>
                      <a:pt x="439" y="426"/>
                    </a:lnTo>
                    <a:lnTo>
                      <a:pt x="439" y="426"/>
                    </a:lnTo>
                    <a:lnTo>
                      <a:pt x="441" y="430"/>
                    </a:lnTo>
                    <a:lnTo>
                      <a:pt x="441" y="431"/>
                    </a:lnTo>
                    <a:lnTo>
                      <a:pt x="441" y="431"/>
                    </a:lnTo>
                    <a:close/>
                    <a:moveTo>
                      <a:pt x="521" y="502"/>
                    </a:moveTo>
                    <a:lnTo>
                      <a:pt x="521" y="502"/>
                    </a:lnTo>
                    <a:lnTo>
                      <a:pt x="515" y="504"/>
                    </a:lnTo>
                    <a:lnTo>
                      <a:pt x="511" y="505"/>
                    </a:lnTo>
                    <a:lnTo>
                      <a:pt x="508" y="507"/>
                    </a:lnTo>
                    <a:lnTo>
                      <a:pt x="508" y="507"/>
                    </a:lnTo>
                    <a:lnTo>
                      <a:pt x="498" y="505"/>
                    </a:lnTo>
                    <a:lnTo>
                      <a:pt x="494" y="505"/>
                    </a:lnTo>
                    <a:lnTo>
                      <a:pt x="489" y="508"/>
                    </a:lnTo>
                    <a:lnTo>
                      <a:pt x="489" y="508"/>
                    </a:lnTo>
                    <a:lnTo>
                      <a:pt x="485" y="514"/>
                    </a:lnTo>
                    <a:lnTo>
                      <a:pt x="483" y="517"/>
                    </a:lnTo>
                    <a:lnTo>
                      <a:pt x="481" y="518"/>
                    </a:lnTo>
                    <a:lnTo>
                      <a:pt x="481" y="518"/>
                    </a:lnTo>
                    <a:lnTo>
                      <a:pt x="473" y="518"/>
                    </a:lnTo>
                    <a:lnTo>
                      <a:pt x="470" y="518"/>
                    </a:lnTo>
                    <a:lnTo>
                      <a:pt x="469" y="518"/>
                    </a:lnTo>
                    <a:lnTo>
                      <a:pt x="469" y="518"/>
                    </a:lnTo>
                    <a:lnTo>
                      <a:pt x="465" y="523"/>
                    </a:lnTo>
                    <a:lnTo>
                      <a:pt x="462" y="524"/>
                    </a:lnTo>
                    <a:lnTo>
                      <a:pt x="459" y="524"/>
                    </a:lnTo>
                    <a:lnTo>
                      <a:pt x="459" y="524"/>
                    </a:lnTo>
                    <a:lnTo>
                      <a:pt x="455" y="521"/>
                    </a:lnTo>
                    <a:lnTo>
                      <a:pt x="453" y="518"/>
                    </a:lnTo>
                    <a:lnTo>
                      <a:pt x="455" y="518"/>
                    </a:lnTo>
                    <a:lnTo>
                      <a:pt x="455" y="518"/>
                    </a:lnTo>
                    <a:lnTo>
                      <a:pt x="460" y="517"/>
                    </a:lnTo>
                    <a:lnTo>
                      <a:pt x="463" y="517"/>
                    </a:lnTo>
                    <a:lnTo>
                      <a:pt x="465" y="514"/>
                    </a:lnTo>
                    <a:lnTo>
                      <a:pt x="465" y="514"/>
                    </a:lnTo>
                    <a:lnTo>
                      <a:pt x="466" y="512"/>
                    </a:lnTo>
                    <a:lnTo>
                      <a:pt x="468" y="512"/>
                    </a:lnTo>
                    <a:lnTo>
                      <a:pt x="469" y="512"/>
                    </a:lnTo>
                    <a:lnTo>
                      <a:pt x="472" y="512"/>
                    </a:lnTo>
                    <a:lnTo>
                      <a:pt x="472" y="512"/>
                    </a:lnTo>
                    <a:lnTo>
                      <a:pt x="485" y="501"/>
                    </a:lnTo>
                    <a:lnTo>
                      <a:pt x="492" y="495"/>
                    </a:lnTo>
                    <a:lnTo>
                      <a:pt x="495" y="492"/>
                    </a:lnTo>
                    <a:lnTo>
                      <a:pt x="498" y="492"/>
                    </a:lnTo>
                    <a:lnTo>
                      <a:pt x="498" y="492"/>
                    </a:lnTo>
                    <a:lnTo>
                      <a:pt x="501" y="494"/>
                    </a:lnTo>
                    <a:lnTo>
                      <a:pt x="504" y="495"/>
                    </a:lnTo>
                    <a:lnTo>
                      <a:pt x="507" y="497"/>
                    </a:lnTo>
                    <a:lnTo>
                      <a:pt x="510" y="498"/>
                    </a:lnTo>
                    <a:lnTo>
                      <a:pt x="510" y="498"/>
                    </a:lnTo>
                    <a:lnTo>
                      <a:pt x="520" y="497"/>
                    </a:lnTo>
                    <a:lnTo>
                      <a:pt x="525" y="497"/>
                    </a:lnTo>
                    <a:lnTo>
                      <a:pt x="528" y="498"/>
                    </a:lnTo>
                    <a:lnTo>
                      <a:pt x="528" y="498"/>
                    </a:lnTo>
                    <a:lnTo>
                      <a:pt x="530" y="501"/>
                    </a:lnTo>
                    <a:lnTo>
                      <a:pt x="528" y="501"/>
                    </a:lnTo>
                    <a:lnTo>
                      <a:pt x="521" y="502"/>
                    </a:lnTo>
                    <a:close/>
                    <a:moveTo>
                      <a:pt x="508" y="359"/>
                    </a:moveTo>
                    <a:lnTo>
                      <a:pt x="508" y="359"/>
                    </a:lnTo>
                    <a:lnTo>
                      <a:pt x="508" y="357"/>
                    </a:lnTo>
                    <a:lnTo>
                      <a:pt x="510" y="357"/>
                    </a:lnTo>
                    <a:lnTo>
                      <a:pt x="512" y="357"/>
                    </a:lnTo>
                    <a:lnTo>
                      <a:pt x="515" y="359"/>
                    </a:lnTo>
                    <a:lnTo>
                      <a:pt x="520" y="360"/>
                    </a:lnTo>
                    <a:lnTo>
                      <a:pt x="520" y="360"/>
                    </a:lnTo>
                    <a:lnTo>
                      <a:pt x="521" y="360"/>
                    </a:lnTo>
                    <a:lnTo>
                      <a:pt x="521" y="360"/>
                    </a:lnTo>
                    <a:lnTo>
                      <a:pt x="518" y="363"/>
                    </a:lnTo>
                    <a:lnTo>
                      <a:pt x="515" y="366"/>
                    </a:lnTo>
                    <a:lnTo>
                      <a:pt x="511" y="366"/>
                    </a:lnTo>
                    <a:lnTo>
                      <a:pt x="511" y="366"/>
                    </a:lnTo>
                    <a:lnTo>
                      <a:pt x="510" y="366"/>
                    </a:lnTo>
                    <a:lnTo>
                      <a:pt x="508" y="363"/>
                    </a:lnTo>
                    <a:lnTo>
                      <a:pt x="510" y="362"/>
                    </a:lnTo>
                    <a:lnTo>
                      <a:pt x="508" y="359"/>
                    </a:lnTo>
                    <a:close/>
                    <a:moveTo>
                      <a:pt x="521" y="381"/>
                    </a:moveTo>
                    <a:lnTo>
                      <a:pt x="521" y="381"/>
                    </a:lnTo>
                    <a:lnTo>
                      <a:pt x="520" y="381"/>
                    </a:lnTo>
                    <a:lnTo>
                      <a:pt x="520" y="381"/>
                    </a:lnTo>
                    <a:lnTo>
                      <a:pt x="523" y="378"/>
                    </a:lnTo>
                    <a:lnTo>
                      <a:pt x="525" y="373"/>
                    </a:lnTo>
                    <a:lnTo>
                      <a:pt x="527" y="371"/>
                    </a:lnTo>
                    <a:lnTo>
                      <a:pt x="527" y="371"/>
                    </a:lnTo>
                    <a:lnTo>
                      <a:pt x="528" y="366"/>
                    </a:lnTo>
                    <a:lnTo>
                      <a:pt x="531" y="365"/>
                    </a:lnTo>
                    <a:lnTo>
                      <a:pt x="531" y="365"/>
                    </a:lnTo>
                    <a:lnTo>
                      <a:pt x="533" y="366"/>
                    </a:lnTo>
                    <a:lnTo>
                      <a:pt x="533" y="368"/>
                    </a:lnTo>
                    <a:lnTo>
                      <a:pt x="530" y="372"/>
                    </a:lnTo>
                    <a:lnTo>
                      <a:pt x="525" y="378"/>
                    </a:lnTo>
                    <a:lnTo>
                      <a:pt x="521" y="381"/>
                    </a:lnTo>
                    <a:close/>
                    <a:moveTo>
                      <a:pt x="549" y="337"/>
                    </a:moveTo>
                    <a:lnTo>
                      <a:pt x="549" y="337"/>
                    </a:lnTo>
                    <a:lnTo>
                      <a:pt x="544" y="340"/>
                    </a:lnTo>
                    <a:lnTo>
                      <a:pt x="541" y="342"/>
                    </a:lnTo>
                    <a:lnTo>
                      <a:pt x="541" y="344"/>
                    </a:lnTo>
                    <a:lnTo>
                      <a:pt x="541" y="344"/>
                    </a:lnTo>
                    <a:lnTo>
                      <a:pt x="540" y="350"/>
                    </a:lnTo>
                    <a:lnTo>
                      <a:pt x="540" y="353"/>
                    </a:lnTo>
                    <a:lnTo>
                      <a:pt x="540" y="355"/>
                    </a:lnTo>
                    <a:lnTo>
                      <a:pt x="540" y="355"/>
                    </a:lnTo>
                    <a:lnTo>
                      <a:pt x="537" y="357"/>
                    </a:lnTo>
                    <a:lnTo>
                      <a:pt x="536" y="357"/>
                    </a:lnTo>
                    <a:lnTo>
                      <a:pt x="536" y="355"/>
                    </a:lnTo>
                    <a:lnTo>
                      <a:pt x="536" y="355"/>
                    </a:lnTo>
                    <a:lnTo>
                      <a:pt x="534" y="353"/>
                    </a:lnTo>
                    <a:lnTo>
                      <a:pt x="534" y="352"/>
                    </a:lnTo>
                    <a:lnTo>
                      <a:pt x="534" y="349"/>
                    </a:lnTo>
                    <a:lnTo>
                      <a:pt x="534" y="347"/>
                    </a:lnTo>
                    <a:lnTo>
                      <a:pt x="534" y="347"/>
                    </a:lnTo>
                    <a:lnTo>
                      <a:pt x="536" y="342"/>
                    </a:lnTo>
                    <a:lnTo>
                      <a:pt x="536" y="340"/>
                    </a:lnTo>
                    <a:lnTo>
                      <a:pt x="534" y="340"/>
                    </a:lnTo>
                    <a:lnTo>
                      <a:pt x="534" y="340"/>
                    </a:lnTo>
                    <a:lnTo>
                      <a:pt x="528" y="344"/>
                    </a:lnTo>
                    <a:lnTo>
                      <a:pt x="525" y="346"/>
                    </a:lnTo>
                    <a:lnTo>
                      <a:pt x="523" y="346"/>
                    </a:lnTo>
                    <a:lnTo>
                      <a:pt x="523" y="346"/>
                    </a:lnTo>
                    <a:lnTo>
                      <a:pt x="520" y="340"/>
                    </a:lnTo>
                    <a:lnTo>
                      <a:pt x="520" y="339"/>
                    </a:lnTo>
                    <a:lnTo>
                      <a:pt x="518" y="337"/>
                    </a:lnTo>
                    <a:lnTo>
                      <a:pt x="518" y="337"/>
                    </a:lnTo>
                    <a:lnTo>
                      <a:pt x="514" y="339"/>
                    </a:lnTo>
                    <a:lnTo>
                      <a:pt x="510" y="339"/>
                    </a:lnTo>
                    <a:lnTo>
                      <a:pt x="510" y="339"/>
                    </a:lnTo>
                    <a:lnTo>
                      <a:pt x="507" y="337"/>
                    </a:lnTo>
                    <a:lnTo>
                      <a:pt x="504" y="334"/>
                    </a:lnTo>
                    <a:lnTo>
                      <a:pt x="501" y="330"/>
                    </a:lnTo>
                    <a:lnTo>
                      <a:pt x="501" y="327"/>
                    </a:lnTo>
                    <a:lnTo>
                      <a:pt x="501" y="327"/>
                    </a:lnTo>
                    <a:lnTo>
                      <a:pt x="504" y="327"/>
                    </a:lnTo>
                    <a:lnTo>
                      <a:pt x="508" y="326"/>
                    </a:lnTo>
                    <a:lnTo>
                      <a:pt x="514" y="326"/>
                    </a:lnTo>
                    <a:lnTo>
                      <a:pt x="514" y="326"/>
                    </a:lnTo>
                    <a:lnTo>
                      <a:pt x="517" y="327"/>
                    </a:lnTo>
                    <a:lnTo>
                      <a:pt x="518" y="330"/>
                    </a:lnTo>
                    <a:lnTo>
                      <a:pt x="520" y="333"/>
                    </a:lnTo>
                    <a:lnTo>
                      <a:pt x="521" y="334"/>
                    </a:lnTo>
                    <a:lnTo>
                      <a:pt x="521" y="334"/>
                    </a:lnTo>
                    <a:lnTo>
                      <a:pt x="523" y="336"/>
                    </a:lnTo>
                    <a:lnTo>
                      <a:pt x="523" y="336"/>
                    </a:lnTo>
                    <a:lnTo>
                      <a:pt x="523" y="337"/>
                    </a:lnTo>
                    <a:lnTo>
                      <a:pt x="524" y="337"/>
                    </a:lnTo>
                    <a:lnTo>
                      <a:pt x="524" y="337"/>
                    </a:lnTo>
                    <a:lnTo>
                      <a:pt x="525" y="337"/>
                    </a:lnTo>
                    <a:lnTo>
                      <a:pt x="527" y="334"/>
                    </a:lnTo>
                    <a:lnTo>
                      <a:pt x="528" y="333"/>
                    </a:lnTo>
                    <a:lnTo>
                      <a:pt x="530" y="331"/>
                    </a:lnTo>
                    <a:lnTo>
                      <a:pt x="530" y="331"/>
                    </a:lnTo>
                    <a:lnTo>
                      <a:pt x="533" y="331"/>
                    </a:lnTo>
                    <a:lnTo>
                      <a:pt x="534" y="333"/>
                    </a:lnTo>
                    <a:lnTo>
                      <a:pt x="536" y="334"/>
                    </a:lnTo>
                    <a:lnTo>
                      <a:pt x="539" y="336"/>
                    </a:lnTo>
                    <a:lnTo>
                      <a:pt x="539" y="336"/>
                    </a:lnTo>
                    <a:lnTo>
                      <a:pt x="546" y="336"/>
                    </a:lnTo>
                    <a:lnTo>
                      <a:pt x="549" y="337"/>
                    </a:lnTo>
                    <a:lnTo>
                      <a:pt x="549" y="337"/>
                    </a:lnTo>
                    <a:lnTo>
                      <a:pt x="549" y="337"/>
                    </a:lnTo>
                    <a:close/>
                    <a:moveTo>
                      <a:pt x="711" y="534"/>
                    </a:moveTo>
                    <a:lnTo>
                      <a:pt x="711" y="534"/>
                    </a:lnTo>
                    <a:lnTo>
                      <a:pt x="712" y="534"/>
                    </a:lnTo>
                    <a:lnTo>
                      <a:pt x="712" y="536"/>
                    </a:lnTo>
                    <a:lnTo>
                      <a:pt x="708" y="539"/>
                    </a:lnTo>
                    <a:lnTo>
                      <a:pt x="708" y="539"/>
                    </a:lnTo>
                    <a:lnTo>
                      <a:pt x="708" y="540"/>
                    </a:lnTo>
                    <a:lnTo>
                      <a:pt x="708" y="541"/>
                    </a:lnTo>
                    <a:lnTo>
                      <a:pt x="707" y="541"/>
                    </a:lnTo>
                    <a:lnTo>
                      <a:pt x="705" y="541"/>
                    </a:lnTo>
                    <a:lnTo>
                      <a:pt x="705" y="541"/>
                    </a:lnTo>
                    <a:lnTo>
                      <a:pt x="702" y="541"/>
                    </a:lnTo>
                    <a:lnTo>
                      <a:pt x="701" y="540"/>
                    </a:lnTo>
                    <a:lnTo>
                      <a:pt x="702" y="539"/>
                    </a:lnTo>
                    <a:lnTo>
                      <a:pt x="702" y="539"/>
                    </a:lnTo>
                    <a:lnTo>
                      <a:pt x="704" y="539"/>
                    </a:lnTo>
                    <a:lnTo>
                      <a:pt x="702" y="537"/>
                    </a:lnTo>
                    <a:lnTo>
                      <a:pt x="701" y="534"/>
                    </a:lnTo>
                    <a:lnTo>
                      <a:pt x="701" y="534"/>
                    </a:lnTo>
                    <a:lnTo>
                      <a:pt x="701" y="533"/>
                    </a:lnTo>
                    <a:lnTo>
                      <a:pt x="704" y="534"/>
                    </a:lnTo>
                    <a:lnTo>
                      <a:pt x="707" y="534"/>
                    </a:lnTo>
                    <a:lnTo>
                      <a:pt x="711" y="534"/>
                    </a:lnTo>
                    <a:close/>
                    <a:moveTo>
                      <a:pt x="702" y="415"/>
                    </a:moveTo>
                    <a:lnTo>
                      <a:pt x="702" y="415"/>
                    </a:lnTo>
                    <a:lnTo>
                      <a:pt x="702" y="417"/>
                    </a:lnTo>
                    <a:lnTo>
                      <a:pt x="702" y="418"/>
                    </a:lnTo>
                    <a:lnTo>
                      <a:pt x="701" y="421"/>
                    </a:lnTo>
                    <a:lnTo>
                      <a:pt x="698" y="424"/>
                    </a:lnTo>
                    <a:lnTo>
                      <a:pt x="698" y="424"/>
                    </a:lnTo>
                    <a:lnTo>
                      <a:pt x="696" y="423"/>
                    </a:lnTo>
                    <a:lnTo>
                      <a:pt x="696" y="423"/>
                    </a:lnTo>
                    <a:lnTo>
                      <a:pt x="695" y="418"/>
                    </a:lnTo>
                    <a:lnTo>
                      <a:pt x="695" y="413"/>
                    </a:lnTo>
                    <a:lnTo>
                      <a:pt x="695" y="413"/>
                    </a:lnTo>
                    <a:lnTo>
                      <a:pt x="695" y="411"/>
                    </a:lnTo>
                    <a:lnTo>
                      <a:pt x="698" y="411"/>
                    </a:lnTo>
                    <a:lnTo>
                      <a:pt x="702" y="415"/>
                    </a:lnTo>
                    <a:close/>
                    <a:moveTo>
                      <a:pt x="693" y="384"/>
                    </a:moveTo>
                    <a:lnTo>
                      <a:pt x="693" y="384"/>
                    </a:lnTo>
                    <a:lnTo>
                      <a:pt x="696" y="386"/>
                    </a:lnTo>
                    <a:lnTo>
                      <a:pt x="699" y="386"/>
                    </a:lnTo>
                    <a:lnTo>
                      <a:pt x="701" y="388"/>
                    </a:lnTo>
                    <a:lnTo>
                      <a:pt x="701" y="389"/>
                    </a:lnTo>
                    <a:lnTo>
                      <a:pt x="701" y="389"/>
                    </a:lnTo>
                    <a:lnTo>
                      <a:pt x="699" y="395"/>
                    </a:lnTo>
                    <a:lnTo>
                      <a:pt x="698" y="398"/>
                    </a:lnTo>
                    <a:lnTo>
                      <a:pt x="695" y="398"/>
                    </a:lnTo>
                    <a:lnTo>
                      <a:pt x="695" y="398"/>
                    </a:lnTo>
                    <a:lnTo>
                      <a:pt x="691" y="397"/>
                    </a:lnTo>
                    <a:lnTo>
                      <a:pt x="686" y="394"/>
                    </a:lnTo>
                    <a:lnTo>
                      <a:pt x="683" y="391"/>
                    </a:lnTo>
                    <a:lnTo>
                      <a:pt x="683" y="389"/>
                    </a:lnTo>
                    <a:lnTo>
                      <a:pt x="683" y="388"/>
                    </a:lnTo>
                    <a:lnTo>
                      <a:pt x="683" y="388"/>
                    </a:lnTo>
                    <a:lnTo>
                      <a:pt x="688" y="384"/>
                    </a:lnTo>
                    <a:lnTo>
                      <a:pt x="691" y="382"/>
                    </a:lnTo>
                    <a:lnTo>
                      <a:pt x="693" y="384"/>
                    </a:lnTo>
                    <a:close/>
                    <a:moveTo>
                      <a:pt x="624" y="265"/>
                    </a:moveTo>
                    <a:lnTo>
                      <a:pt x="624" y="265"/>
                    </a:lnTo>
                    <a:lnTo>
                      <a:pt x="630" y="262"/>
                    </a:lnTo>
                    <a:lnTo>
                      <a:pt x="631" y="262"/>
                    </a:lnTo>
                    <a:lnTo>
                      <a:pt x="634" y="263"/>
                    </a:lnTo>
                    <a:lnTo>
                      <a:pt x="634" y="263"/>
                    </a:lnTo>
                    <a:lnTo>
                      <a:pt x="637" y="266"/>
                    </a:lnTo>
                    <a:lnTo>
                      <a:pt x="640" y="269"/>
                    </a:lnTo>
                    <a:lnTo>
                      <a:pt x="644" y="271"/>
                    </a:lnTo>
                    <a:lnTo>
                      <a:pt x="647" y="271"/>
                    </a:lnTo>
                    <a:lnTo>
                      <a:pt x="647" y="271"/>
                    </a:lnTo>
                    <a:lnTo>
                      <a:pt x="649" y="265"/>
                    </a:lnTo>
                    <a:lnTo>
                      <a:pt x="653" y="259"/>
                    </a:lnTo>
                    <a:lnTo>
                      <a:pt x="653" y="259"/>
                    </a:lnTo>
                    <a:lnTo>
                      <a:pt x="657" y="255"/>
                    </a:lnTo>
                    <a:lnTo>
                      <a:pt x="659" y="255"/>
                    </a:lnTo>
                    <a:lnTo>
                      <a:pt x="659" y="256"/>
                    </a:lnTo>
                    <a:lnTo>
                      <a:pt x="659" y="256"/>
                    </a:lnTo>
                    <a:lnTo>
                      <a:pt x="659" y="262"/>
                    </a:lnTo>
                    <a:lnTo>
                      <a:pt x="659" y="263"/>
                    </a:lnTo>
                    <a:lnTo>
                      <a:pt x="660" y="263"/>
                    </a:lnTo>
                    <a:lnTo>
                      <a:pt x="660" y="263"/>
                    </a:lnTo>
                    <a:lnTo>
                      <a:pt x="663" y="262"/>
                    </a:lnTo>
                    <a:lnTo>
                      <a:pt x="665" y="262"/>
                    </a:lnTo>
                    <a:lnTo>
                      <a:pt x="665" y="263"/>
                    </a:lnTo>
                    <a:lnTo>
                      <a:pt x="665" y="263"/>
                    </a:lnTo>
                    <a:lnTo>
                      <a:pt x="665" y="266"/>
                    </a:lnTo>
                    <a:lnTo>
                      <a:pt x="665" y="268"/>
                    </a:lnTo>
                    <a:lnTo>
                      <a:pt x="666" y="268"/>
                    </a:lnTo>
                    <a:lnTo>
                      <a:pt x="666" y="268"/>
                    </a:lnTo>
                    <a:lnTo>
                      <a:pt x="672" y="266"/>
                    </a:lnTo>
                    <a:lnTo>
                      <a:pt x="675" y="265"/>
                    </a:lnTo>
                    <a:lnTo>
                      <a:pt x="675" y="265"/>
                    </a:lnTo>
                    <a:lnTo>
                      <a:pt x="678" y="259"/>
                    </a:lnTo>
                    <a:lnTo>
                      <a:pt x="679" y="256"/>
                    </a:lnTo>
                    <a:lnTo>
                      <a:pt x="679" y="255"/>
                    </a:lnTo>
                    <a:lnTo>
                      <a:pt x="680" y="255"/>
                    </a:lnTo>
                    <a:lnTo>
                      <a:pt x="680" y="255"/>
                    </a:lnTo>
                    <a:lnTo>
                      <a:pt x="685" y="258"/>
                    </a:lnTo>
                    <a:lnTo>
                      <a:pt x="688" y="259"/>
                    </a:lnTo>
                    <a:lnTo>
                      <a:pt x="688" y="262"/>
                    </a:lnTo>
                    <a:lnTo>
                      <a:pt x="688" y="262"/>
                    </a:lnTo>
                    <a:lnTo>
                      <a:pt x="688" y="265"/>
                    </a:lnTo>
                    <a:lnTo>
                      <a:pt x="691" y="266"/>
                    </a:lnTo>
                    <a:lnTo>
                      <a:pt x="692" y="268"/>
                    </a:lnTo>
                    <a:lnTo>
                      <a:pt x="692" y="269"/>
                    </a:lnTo>
                    <a:lnTo>
                      <a:pt x="692" y="269"/>
                    </a:lnTo>
                    <a:lnTo>
                      <a:pt x="691" y="273"/>
                    </a:lnTo>
                    <a:lnTo>
                      <a:pt x="689" y="275"/>
                    </a:lnTo>
                    <a:lnTo>
                      <a:pt x="688" y="273"/>
                    </a:lnTo>
                    <a:lnTo>
                      <a:pt x="688" y="273"/>
                    </a:lnTo>
                    <a:lnTo>
                      <a:pt x="685" y="266"/>
                    </a:lnTo>
                    <a:lnTo>
                      <a:pt x="683" y="265"/>
                    </a:lnTo>
                    <a:lnTo>
                      <a:pt x="682" y="263"/>
                    </a:lnTo>
                    <a:lnTo>
                      <a:pt x="682" y="263"/>
                    </a:lnTo>
                    <a:lnTo>
                      <a:pt x="680" y="268"/>
                    </a:lnTo>
                    <a:lnTo>
                      <a:pt x="678" y="272"/>
                    </a:lnTo>
                    <a:lnTo>
                      <a:pt x="678" y="272"/>
                    </a:lnTo>
                    <a:lnTo>
                      <a:pt x="675" y="275"/>
                    </a:lnTo>
                    <a:lnTo>
                      <a:pt x="672" y="275"/>
                    </a:lnTo>
                    <a:lnTo>
                      <a:pt x="672" y="275"/>
                    </a:lnTo>
                    <a:lnTo>
                      <a:pt x="669" y="273"/>
                    </a:lnTo>
                    <a:lnTo>
                      <a:pt x="667" y="273"/>
                    </a:lnTo>
                    <a:lnTo>
                      <a:pt x="665" y="273"/>
                    </a:lnTo>
                    <a:lnTo>
                      <a:pt x="665" y="273"/>
                    </a:lnTo>
                    <a:lnTo>
                      <a:pt x="662" y="275"/>
                    </a:lnTo>
                    <a:lnTo>
                      <a:pt x="659" y="276"/>
                    </a:lnTo>
                    <a:lnTo>
                      <a:pt x="657" y="276"/>
                    </a:lnTo>
                    <a:lnTo>
                      <a:pt x="657" y="276"/>
                    </a:lnTo>
                    <a:lnTo>
                      <a:pt x="656" y="273"/>
                    </a:lnTo>
                    <a:lnTo>
                      <a:pt x="654" y="272"/>
                    </a:lnTo>
                    <a:lnTo>
                      <a:pt x="654" y="271"/>
                    </a:lnTo>
                    <a:lnTo>
                      <a:pt x="653" y="271"/>
                    </a:lnTo>
                    <a:lnTo>
                      <a:pt x="653" y="271"/>
                    </a:lnTo>
                    <a:lnTo>
                      <a:pt x="649" y="275"/>
                    </a:lnTo>
                    <a:lnTo>
                      <a:pt x="644" y="276"/>
                    </a:lnTo>
                    <a:lnTo>
                      <a:pt x="644" y="276"/>
                    </a:lnTo>
                    <a:lnTo>
                      <a:pt x="643" y="278"/>
                    </a:lnTo>
                    <a:lnTo>
                      <a:pt x="640" y="279"/>
                    </a:lnTo>
                    <a:lnTo>
                      <a:pt x="638" y="279"/>
                    </a:lnTo>
                    <a:lnTo>
                      <a:pt x="638" y="279"/>
                    </a:lnTo>
                    <a:lnTo>
                      <a:pt x="637" y="278"/>
                    </a:lnTo>
                    <a:lnTo>
                      <a:pt x="637" y="275"/>
                    </a:lnTo>
                    <a:lnTo>
                      <a:pt x="636" y="273"/>
                    </a:lnTo>
                    <a:lnTo>
                      <a:pt x="634" y="272"/>
                    </a:lnTo>
                    <a:lnTo>
                      <a:pt x="634" y="272"/>
                    </a:lnTo>
                    <a:lnTo>
                      <a:pt x="625" y="268"/>
                    </a:lnTo>
                    <a:lnTo>
                      <a:pt x="624" y="266"/>
                    </a:lnTo>
                    <a:lnTo>
                      <a:pt x="624" y="265"/>
                    </a:lnTo>
                    <a:close/>
                    <a:moveTo>
                      <a:pt x="631" y="388"/>
                    </a:moveTo>
                    <a:lnTo>
                      <a:pt x="631" y="388"/>
                    </a:lnTo>
                    <a:lnTo>
                      <a:pt x="628" y="389"/>
                    </a:lnTo>
                    <a:lnTo>
                      <a:pt x="625" y="391"/>
                    </a:lnTo>
                    <a:lnTo>
                      <a:pt x="624" y="389"/>
                    </a:lnTo>
                    <a:lnTo>
                      <a:pt x="624" y="389"/>
                    </a:lnTo>
                    <a:lnTo>
                      <a:pt x="624" y="388"/>
                    </a:lnTo>
                    <a:lnTo>
                      <a:pt x="624" y="386"/>
                    </a:lnTo>
                    <a:lnTo>
                      <a:pt x="624" y="384"/>
                    </a:lnTo>
                    <a:lnTo>
                      <a:pt x="623" y="381"/>
                    </a:lnTo>
                    <a:lnTo>
                      <a:pt x="623" y="381"/>
                    </a:lnTo>
                    <a:lnTo>
                      <a:pt x="618" y="373"/>
                    </a:lnTo>
                    <a:lnTo>
                      <a:pt x="618" y="371"/>
                    </a:lnTo>
                    <a:lnTo>
                      <a:pt x="618" y="369"/>
                    </a:lnTo>
                    <a:lnTo>
                      <a:pt x="618" y="369"/>
                    </a:lnTo>
                    <a:lnTo>
                      <a:pt x="623" y="366"/>
                    </a:lnTo>
                    <a:lnTo>
                      <a:pt x="627" y="363"/>
                    </a:lnTo>
                    <a:lnTo>
                      <a:pt x="627" y="363"/>
                    </a:lnTo>
                    <a:lnTo>
                      <a:pt x="634" y="359"/>
                    </a:lnTo>
                    <a:lnTo>
                      <a:pt x="638" y="357"/>
                    </a:lnTo>
                    <a:lnTo>
                      <a:pt x="640" y="357"/>
                    </a:lnTo>
                    <a:lnTo>
                      <a:pt x="640" y="357"/>
                    </a:lnTo>
                    <a:lnTo>
                      <a:pt x="636" y="363"/>
                    </a:lnTo>
                    <a:lnTo>
                      <a:pt x="636" y="368"/>
                    </a:lnTo>
                    <a:lnTo>
                      <a:pt x="636" y="369"/>
                    </a:lnTo>
                    <a:lnTo>
                      <a:pt x="636" y="369"/>
                    </a:lnTo>
                    <a:lnTo>
                      <a:pt x="640" y="371"/>
                    </a:lnTo>
                    <a:lnTo>
                      <a:pt x="640" y="371"/>
                    </a:lnTo>
                    <a:lnTo>
                      <a:pt x="640" y="373"/>
                    </a:lnTo>
                    <a:lnTo>
                      <a:pt x="640" y="373"/>
                    </a:lnTo>
                    <a:lnTo>
                      <a:pt x="636" y="381"/>
                    </a:lnTo>
                    <a:lnTo>
                      <a:pt x="631" y="388"/>
                    </a:lnTo>
                    <a:close/>
                    <a:moveTo>
                      <a:pt x="649" y="598"/>
                    </a:moveTo>
                    <a:lnTo>
                      <a:pt x="649" y="598"/>
                    </a:lnTo>
                    <a:lnTo>
                      <a:pt x="647" y="596"/>
                    </a:lnTo>
                    <a:lnTo>
                      <a:pt x="646" y="595"/>
                    </a:lnTo>
                    <a:lnTo>
                      <a:pt x="646" y="594"/>
                    </a:lnTo>
                    <a:lnTo>
                      <a:pt x="643" y="592"/>
                    </a:lnTo>
                    <a:lnTo>
                      <a:pt x="643" y="592"/>
                    </a:lnTo>
                    <a:lnTo>
                      <a:pt x="641" y="591"/>
                    </a:lnTo>
                    <a:lnTo>
                      <a:pt x="640" y="589"/>
                    </a:lnTo>
                    <a:lnTo>
                      <a:pt x="640" y="586"/>
                    </a:lnTo>
                    <a:lnTo>
                      <a:pt x="643" y="585"/>
                    </a:lnTo>
                    <a:lnTo>
                      <a:pt x="643" y="585"/>
                    </a:lnTo>
                    <a:lnTo>
                      <a:pt x="649" y="583"/>
                    </a:lnTo>
                    <a:lnTo>
                      <a:pt x="653" y="582"/>
                    </a:lnTo>
                    <a:lnTo>
                      <a:pt x="656" y="578"/>
                    </a:lnTo>
                    <a:lnTo>
                      <a:pt x="656" y="578"/>
                    </a:lnTo>
                    <a:lnTo>
                      <a:pt x="662" y="566"/>
                    </a:lnTo>
                    <a:lnTo>
                      <a:pt x="665" y="559"/>
                    </a:lnTo>
                    <a:lnTo>
                      <a:pt x="665" y="559"/>
                    </a:lnTo>
                    <a:lnTo>
                      <a:pt x="667" y="553"/>
                    </a:lnTo>
                    <a:lnTo>
                      <a:pt x="669" y="552"/>
                    </a:lnTo>
                    <a:lnTo>
                      <a:pt x="670" y="553"/>
                    </a:lnTo>
                    <a:lnTo>
                      <a:pt x="670" y="553"/>
                    </a:lnTo>
                    <a:lnTo>
                      <a:pt x="673" y="560"/>
                    </a:lnTo>
                    <a:lnTo>
                      <a:pt x="673" y="562"/>
                    </a:lnTo>
                    <a:lnTo>
                      <a:pt x="675" y="562"/>
                    </a:lnTo>
                    <a:lnTo>
                      <a:pt x="675" y="562"/>
                    </a:lnTo>
                    <a:lnTo>
                      <a:pt x="678" y="563"/>
                    </a:lnTo>
                    <a:lnTo>
                      <a:pt x="678" y="566"/>
                    </a:lnTo>
                    <a:lnTo>
                      <a:pt x="676" y="569"/>
                    </a:lnTo>
                    <a:lnTo>
                      <a:pt x="675" y="572"/>
                    </a:lnTo>
                    <a:lnTo>
                      <a:pt x="675" y="572"/>
                    </a:lnTo>
                    <a:lnTo>
                      <a:pt x="672" y="573"/>
                    </a:lnTo>
                    <a:lnTo>
                      <a:pt x="669" y="573"/>
                    </a:lnTo>
                    <a:lnTo>
                      <a:pt x="666" y="573"/>
                    </a:lnTo>
                    <a:lnTo>
                      <a:pt x="663" y="575"/>
                    </a:lnTo>
                    <a:lnTo>
                      <a:pt x="663" y="575"/>
                    </a:lnTo>
                    <a:lnTo>
                      <a:pt x="654" y="585"/>
                    </a:lnTo>
                    <a:lnTo>
                      <a:pt x="651" y="589"/>
                    </a:lnTo>
                    <a:lnTo>
                      <a:pt x="650" y="592"/>
                    </a:lnTo>
                    <a:lnTo>
                      <a:pt x="650" y="592"/>
                    </a:lnTo>
                    <a:lnTo>
                      <a:pt x="650" y="596"/>
                    </a:lnTo>
                    <a:lnTo>
                      <a:pt x="650" y="598"/>
                    </a:lnTo>
                    <a:lnTo>
                      <a:pt x="649" y="598"/>
                    </a:lnTo>
                    <a:close/>
                    <a:moveTo>
                      <a:pt x="680" y="749"/>
                    </a:moveTo>
                    <a:lnTo>
                      <a:pt x="680" y="749"/>
                    </a:lnTo>
                    <a:lnTo>
                      <a:pt x="679" y="747"/>
                    </a:lnTo>
                    <a:lnTo>
                      <a:pt x="678" y="743"/>
                    </a:lnTo>
                    <a:lnTo>
                      <a:pt x="676" y="737"/>
                    </a:lnTo>
                    <a:lnTo>
                      <a:pt x="676" y="736"/>
                    </a:lnTo>
                    <a:lnTo>
                      <a:pt x="676" y="736"/>
                    </a:lnTo>
                    <a:lnTo>
                      <a:pt x="679" y="736"/>
                    </a:lnTo>
                    <a:lnTo>
                      <a:pt x="682" y="736"/>
                    </a:lnTo>
                    <a:lnTo>
                      <a:pt x="685" y="738"/>
                    </a:lnTo>
                    <a:lnTo>
                      <a:pt x="686" y="740"/>
                    </a:lnTo>
                    <a:lnTo>
                      <a:pt x="686" y="740"/>
                    </a:lnTo>
                    <a:lnTo>
                      <a:pt x="686" y="746"/>
                    </a:lnTo>
                    <a:lnTo>
                      <a:pt x="685" y="747"/>
                    </a:lnTo>
                    <a:lnTo>
                      <a:pt x="680" y="749"/>
                    </a:lnTo>
                    <a:close/>
                    <a:moveTo>
                      <a:pt x="714" y="740"/>
                    </a:moveTo>
                    <a:lnTo>
                      <a:pt x="714" y="740"/>
                    </a:lnTo>
                    <a:lnTo>
                      <a:pt x="712" y="746"/>
                    </a:lnTo>
                    <a:lnTo>
                      <a:pt x="711" y="747"/>
                    </a:lnTo>
                    <a:lnTo>
                      <a:pt x="708" y="747"/>
                    </a:lnTo>
                    <a:lnTo>
                      <a:pt x="708" y="747"/>
                    </a:lnTo>
                    <a:lnTo>
                      <a:pt x="707" y="746"/>
                    </a:lnTo>
                    <a:lnTo>
                      <a:pt x="705" y="744"/>
                    </a:lnTo>
                    <a:lnTo>
                      <a:pt x="705" y="738"/>
                    </a:lnTo>
                    <a:lnTo>
                      <a:pt x="707" y="734"/>
                    </a:lnTo>
                    <a:lnTo>
                      <a:pt x="707" y="730"/>
                    </a:lnTo>
                    <a:lnTo>
                      <a:pt x="707" y="730"/>
                    </a:lnTo>
                    <a:lnTo>
                      <a:pt x="708" y="728"/>
                    </a:lnTo>
                    <a:lnTo>
                      <a:pt x="709" y="727"/>
                    </a:lnTo>
                    <a:lnTo>
                      <a:pt x="709" y="727"/>
                    </a:lnTo>
                    <a:lnTo>
                      <a:pt x="708" y="725"/>
                    </a:lnTo>
                    <a:lnTo>
                      <a:pt x="707" y="724"/>
                    </a:lnTo>
                    <a:lnTo>
                      <a:pt x="707" y="724"/>
                    </a:lnTo>
                    <a:lnTo>
                      <a:pt x="707" y="718"/>
                    </a:lnTo>
                    <a:lnTo>
                      <a:pt x="707" y="717"/>
                    </a:lnTo>
                    <a:lnTo>
                      <a:pt x="705" y="717"/>
                    </a:lnTo>
                    <a:lnTo>
                      <a:pt x="705" y="717"/>
                    </a:lnTo>
                    <a:lnTo>
                      <a:pt x="701" y="721"/>
                    </a:lnTo>
                    <a:lnTo>
                      <a:pt x="699" y="721"/>
                    </a:lnTo>
                    <a:lnTo>
                      <a:pt x="698" y="720"/>
                    </a:lnTo>
                    <a:lnTo>
                      <a:pt x="698" y="720"/>
                    </a:lnTo>
                    <a:lnTo>
                      <a:pt x="701" y="712"/>
                    </a:lnTo>
                    <a:lnTo>
                      <a:pt x="701" y="708"/>
                    </a:lnTo>
                    <a:lnTo>
                      <a:pt x="699" y="708"/>
                    </a:lnTo>
                    <a:lnTo>
                      <a:pt x="699" y="707"/>
                    </a:lnTo>
                    <a:lnTo>
                      <a:pt x="699" y="707"/>
                    </a:lnTo>
                    <a:lnTo>
                      <a:pt x="695" y="707"/>
                    </a:lnTo>
                    <a:lnTo>
                      <a:pt x="692" y="708"/>
                    </a:lnTo>
                    <a:lnTo>
                      <a:pt x="688" y="708"/>
                    </a:lnTo>
                    <a:lnTo>
                      <a:pt x="685" y="705"/>
                    </a:lnTo>
                    <a:lnTo>
                      <a:pt x="685" y="705"/>
                    </a:lnTo>
                    <a:lnTo>
                      <a:pt x="678" y="695"/>
                    </a:lnTo>
                    <a:lnTo>
                      <a:pt x="675" y="688"/>
                    </a:lnTo>
                    <a:lnTo>
                      <a:pt x="673" y="685"/>
                    </a:lnTo>
                    <a:lnTo>
                      <a:pt x="673" y="685"/>
                    </a:lnTo>
                    <a:lnTo>
                      <a:pt x="673" y="682"/>
                    </a:lnTo>
                    <a:lnTo>
                      <a:pt x="675" y="680"/>
                    </a:lnTo>
                    <a:lnTo>
                      <a:pt x="676" y="679"/>
                    </a:lnTo>
                    <a:lnTo>
                      <a:pt x="673" y="679"/>
                    </a:lnTo>
                    <a:lnTo>
                      <a:pt x="673" y="679"/>
                    </a:lnTo>
                    <a:lnTo>
                      <a:pt x="666" y="678"/>
                    </a:lnTo>
                    <a:lnTo>
                      <a:pt x="663" y="676"/>
                    </a:lnTo>
                    <a:lnTo>
                      <a:pt x="663" y="675"/>
                    </a:lnTo>
                    <a:lnTo>
                      <a:pt x="663" y="675"/>
                    </a:lnTo>
                    <a:lnTo>
                      <a:pt x="666" y="663"/>
                    </a:lnTo>
                    <a:lnTo>
                      <a:pt x="669" y="659"/>
                    </a:lnTo>
                    <a:lnTo>
                      <a:pt x="669" y="657"/>
                    </a:lnTo>
                    <a:lnTo>
                      <a:pt x="670" y="657"/>
                    </a:lnTo>
                    <a:lnTo>
                      <a:pt x="670" y="657"/>
                    </a:lnTo>
                    <a:lnTo>
                      <a:pt x="676" y="657"/>
                    </a:lnTo>
                    <a:lnTo>
                      <a:pt x="682" y="657"/>
                    </a:lnTo>
                    <a:lnTo>
                      <a:pt x="682" y="657"/>
                    </a:lnTo>
                    <a:lnTo>
                      <a:pt x="685" y="659"/>
                    </a:lnTo>
                    <a:lnTo>
                      <a:pt x="688" y="662"/>
                    </a:lnTo>
                    <a:lnTo>
                      <a:pt x="689" y="665"/>
                    </a:lnTo>
                    <a:lnTo>
                      <a:pt x="691" y="669"/>
                    </a:lnTo>
                    <a:lnTo>
                      <a:pt x="691" y="669"/>
                    </a:lnTo>
                    <a:lnTo>
                      <a:pt x="693" y="679"/>
                    </a:lnTo>
                    <a:lnTo>
                      <a:pt x="698" y="688"/>
                    </a:lnTo>
                    <a:lnTo>
                      <a:pt x="698" y="688"/>
                    </a:lnTo>
                    <a:lnTo>
                      <a:pt x="699" y="695"/>
                    </a:lnTo>
                    <a:lnTo>
                      <a:pt x="699" y="699"/>
                    </a:lnTo>
                    <a:lnTo>
                      <a:pt x="702" y="704"/>
                    </a:lnTo>
                    <a:lnTo>
                      <a:pt x="702" y="704"/>
                    </a:lnTo>
                    <a:lnTo>
                      <a:pt x="707" y="708"/>
                    </a:lnTo>
                    <a:lnTo>
                      <a:pt x="708" y="711"/>
                    </a:lnTo>
                    <a:lnTo>
                      <a:pt x="708" y="714"/>
                    </a:lnTo>
                    <a:lnTo>
                      <a:pt x="708" y="714"/>
                    </a:lnTo>
                    <a:lnTo>
                      <a:pt x="711" y="718"/>
                    </a:lnTo>
                    <a:lnTo>
                      <a:pt x="714" y="724"/>
                    </a:lnTo>
                    <a:lnTo>
                      <a:pt x="714" y="724"/>
                    </a:lnTo>
                    <a:lnTo>
                      <a:pt x="714" y="724"/>
                    </a:lnTo>
                    <a:lnTo>
                      <a:pt x="714" y="725"/>
                    </a:lnTo>
                    <a:lnTo>
                      <a:pt x="712" y="725"/>
                    </a:lnTo>
                    <a:lnTo>
                      <a:pt x="712" y="725"/>
                    </a:lnTo>
                    <a:lnTo>
                      <a:pt x="712" y="725"/>
                    </a:lnTo>
                    <a:lnTo>
                      <a:pt x="714" y="733"/>
                    </a:lnTo>
                    <a:lnTo>
                      <a:pt x="714" y="740"/>
                    </a:lnTo>
                    <a:close/>
                    <a:moveTo>
                      <a:pt x="725" y="336"/>
                    </a:moveTo>
                    <a:lnTo>
                      <a:pt x="725" y="336"/>
                    </a:lnTo>
                    <a:lnTo>
                      <a:pt x="722" y="336"/>
                    </a:lnTo>
                    <a:lnTo>
                      <a:pt x="720" y="333"/>
                    </a:lnTo>
                    <a:lnTo>
                      <a:pt x="718" y="330"/>
                    </a:lnTo>
                    <a:lnTo>
                      <a:pt x="718" y="329"/>
                    </a:lnTo>
                    <a:lnTo>
                      <a:pt x="718" y="329"/>
                    </a:lnTo>
                    <a:lnTo>
                      <a:pt x="724" y="326"/>
                    </a:lnTo>
                    <a:lnTo>
                      <a:pt x="731" y="326"/>
                    </a:lnTo>
                    <a:lnTo>
                      <a:pt x="731" y="326"/>
                    </a:lnTo>
                    <a:lnTo>
                      <a:pt x="737" y="329"/>
                    </a:lnTo>
                    <a:lnTo>
                      <a:pt x="744" y="331"/>
                    </a:lnTo>
                    <a:lnTo>
                      <a:pt x="749" y="336"/>
                    </a:lnTo>
                    <a:lnTo>
                      <a:pt x="750" y="336"/>
                    </a:lnTo>
                    <a:lnTo>
                      <a:pt x="750" y="337"/>
                    </a:lnTo>
                    <a:lnTo>
                      <a:pt x="750" y="337"/>
                    </a:lnTo>
                    <a:lnTo>
                      <a:pt x="737" y="334"/>
                    </a:lnTo>
                    <a:lnTo>
                      <a:pt x="737" y="334"/>
                    </a:lnTo>
                    <a:lnTo>
                      <a:pt x="725" y="336"/>
                    </a:lnTo>
                    <a:close/>
                    <a:moveTo>
                      <a:pt x="795" y="666"/>
                    </a:moveTo>
                    <a:lnTo>
                      <a:pt x="795" y="666"/>
                    </a:lnTo>
                    <a:lnTo>
                      <a:pt x="792" y="665"/>
                    </a:lnTo>
                    <a:lnTo>
                      <a:pt x="788" y="662"/>
                    </a:lnTo>
                    <a:lnTo>
                      <a:pt x="788" y="659"/>
                    </a:lnTo>
                    <a:lnTo>
                      <a:pt x="788" y="657"/>
                    </a:lnTo>
                    <a:lnTo>
                      <a:pt x="791" y="657"/>
                    </a:lnTo>
                    <a:lnTo>
                      <a:pt x="791" y="657"/>
                    </a:lnTo>
                    <a:lnTo>
                      <a:pt x="795" y="659"/>
                    </a:lnTo>
                    <a:lnTo>
                      <a:pt x="799" y="660"/>
                    </a:lnTo>
                    <a:lnTo>
                      <a:pt x="802" y="663"/>
                    </a:lnTo>
                    <a:lnTo>
                      <a:pt x="802" y="663"/>
                    </a:lnTo>
                    <a:lnTo>
                      <a:pt x="801" y="665"/>
                    </a:lnTo>
                    <a:lnTo>
                      <a:pt x="795" y="666"/>
                    </a:lnTo>
                    <a:close/>
                    <a:moveTo>
                      <a:pt x="846" y="770"/>
                    </a:moveTo>
                    <a:lnTo>
                      <a:pt x="846" y="770"/>
                    </a:lnTo>
                    <a:lnTo>
                      <a:pt x="843" y="770"/>
                    </a:lnTo>
                    <a:lnTo>
                      <a:pt x="841" y="767"/>
                    </a:lnTo>
                    <a:lnTo>
                      <a:pt x="838" y="763"/>
                    </a:lnTo>
                    <a:lnTo>
                      <a:pt x="837" y="756"/>
                    </a:lnTo>
                    <a:lnTo>
                      <a:pt x="837" y="754"/>
                    </a:lnTo>
                    <a:lnTo>
                      <a:pt x="838" y="753"/>
                    </a:lnTo>
                    <a:lnTo>
                      <a:pt x="838" y="753"/>
                    </a:lnTo>
                    <a:lnTo>
                      <a:pt x="840" y="753"/>
                    </a:lnTo>
                    <a:lnTo>
                      <a:pt x="843" y="754"/>
                    </a:lnTo>
                    <a:lnTo>
                      <a:pt x="846" y="757"/>
                    </a:lnTo>
                    <a:lnTo>
                      <a:pt x="848" y="760"/>
                    </a:lnTo>
                    <a:lnTo>
                      <a:pt x="848" y="760"/>
                    </a:lnTo>
                    <a:lnTo>
                      <a:pt x="850" y="763"/>
                    </a:lnTo>
                    <a:lnTo>
                      <a:pt x="850" y="766"/>
                    </a:lnTo>
                    <a:lnTo>
                      <a:pt x="848" y="769"/>
                    </a:lnTo>
                    <a:lnTo>
                      <a:pt x="846" y="770"/>
                    </a:lnTo>
                    <a:close/>
                    <a:moveTo>
                      <a:pt x="1219" y="659"/>
                    </a:moveTo>
                    <a:lnTo>
                      <a:pt x="1219" y="659"/>
                    </a:lnTo>
                    <a:lnTo>
                      <a:pt x="1218" y="656"/>
                    </a:lnTo>
                    <a:lnTo>
                      <a:pt x="1216" y="654"/>
                    </a:lnTo>
                    <a:lnTo>
                      <a:pt x="1216" y="653"/>
                    </a:lnTo>
                    <a:lnTo>
                      <a:pt x="1212" y="652"/>
                    </a:lnTo>
                    <a:lnTo>
                      <a:pt x="1212" y="652"/>
                    </a:lnTo>
                    <a:lnTo>
                      <a:pt x="1198" y="644"/>
                    </a:lnTo>
                    <a:lnTo>
                      <a:pt x="1192" y="640"/>
                    </a:lnTo>
                    <a:lnTo>
                      <a:pt x="1190" y="638"/>
                    </a:lnTo>
                    <a:lnTo>
                      <a:pt x="1190" y="637"/>
                    </a:lnTo>
                    <a:lnTo>
                      <a:pt x="1190" y="637"/>
                    </a:lnTo>
                    <a:lnTo>
                      <a:pt x="1195" y="636"/>
                    </a:lnTo>
                    <a:lnTo>
                      <a:pt x="1199" y="636"/>
                    </a:lnTo>
                    <a:lnTo>
                      <a:pt x="1208" y="638"/>
                    </a:lnTo>
                    <a:lnTo>
                      <a:pt x="1208" y="638"/>
                    </a:lnTo>
                    <a:lnTo>
                      <a:pt x="1218" y="643"/>
                    </a:lnTo>
                    <a:lnTo>
                      <a:pt x="1225" y="647"/>
                    </a:lnTo>
                    <a:lnTo>
                      <a:pt x="1228" y="650"/>
                    </a:lnTo>
                    <a:lnTo>
                      <a:pt x="1228" y="650"/>
                    </a:lnTo>
                    <a:lnTo>
                      <a:pt x="1228" y="653"/>
                    </a:lnTo>
                    <a:lnTo>
                      <a:pt x="1226" y="657"/>
                    </a:lnTo>
                    <a:lnTo>
                      <a:pt x="1222" y="659"/>
                    </a:lnTo>
                    <a:lnTo>
                      <a:pt x="1219" y="659"/>
                    </a:lnTo>
                    <a:close/>
                    <a:moveTo>
                      <a:pt x="1258" y="641"/>
                    </a:moveTo>
                    <a:lnTo>
                      <a:pt x="1258" y="641"/>
                    </a:lnTo>
                    <a:lnTo>
                      <a:pt x="1255" y="644"/>
                    </a:lnTo>
                    <a:lnTo>
                      <a:pt x="1253" y="644"/>
                    </a:lnTo>
                    <a:lnTo>
                      <a:pt x="1251" y="644"/>
                    </a:lnTo>
                    <a:lnTo>
                      <a:pt x="1251" y="644"/>
                    </a:lnTo>
                    <a:lnTo>
                      <a:pt x="1245" y="646"/>
                    </a:lnTo>
                    <a:lnTo>
                      <a:pt x="1242" y="647"/>
                    </a:lnTo>
                    <a:lnTo>
                      <a:pt x="1242" y="647"/>
                    </a:lnTo>
                    <a:lnTo>
                      <a:pt x="1240" y="649"/>
                    </a:lnTo>
                    <a:lnTo>
                      <a:pt x="1237" y="650"/>
                    </a:lnTo>
                    <a:lnTo>
                      <a:pt x="1237" y="647"/>
                    </a:lnTo>
                    <a:lnTo>
                      <a:pt x="1237" y="647"/>
                    </a:lnTo>
                    <a:lnTo>
                      <a:pt x="1237" y="643"/>
                    </a:lnTo>
                    <a:lnTo>
                      <a:pt x="1235" y="640"/>
                    </a:lnTo>
                    <a:lnTo>
                      <a:pt x="1235" y="640"/>
                    </a:lnTo>
                    <a:lnTo>
                      <a:pt x="1229" y="638"/>
                    </a:lnTo>
                    <a:lnTo>
                      <a:pt x="1224" y="638"/>
                    </a:lnTo>
                    <a:lnTo>
                      <a:pt x="1224" y="638"/>
                    </a:lnTo>
                    <a:lnTo>
                      <a:pt x="1218" y="637"/>
                    </a:lnTo>
                    <a:lnTo>
                      <a:pt x="1216" y="636"/>
                    </a:lnTo>
                    <a:lnTo>
                      <a:pt x="1215" y="633"/>
                    </a:lnTo>
                    <a:lnTo>
                      <a:pt x="1215" y="633"/>
                    </a:lnTo>
                    <a:lnTo>
                      <a:pt x="1215" y="630"/>
                    </a:lnTo>
                    <a:lnTo>
                      <a:pt x="1216" y="628"/>
                    </a:lnTo>
                    <a:lnTo>
                      <a:pt x="1218" y="630"/>
                    </a:lnTo>
                    <a:lnTo>
                      <a:pt x="1218" y="630"/>
                    </a:lnTo>
                    <a:lnTo>
                      <a:pt x="1225" y="631"/>
                    </a:lnTo>
                    <a:lnTo>
                      <a:pt x="1229" y="633"/>
                    </a:lnTo>
                    <a:lnTo>
                      <a:pt x="1231" y="631"/>
                    </a:lnTo>
                    <a:lnTo>
                      <a:pt x="1231" y="631"/>
                    </a:lnTo>
                    <a:lnTo>
                      <a:pt x="1231" y="630"/>
                    </a:lnTo>
                    <a:lnTo>
                      <a:pt x="1229" y="627"/>
                    </a:lnTo>
                    <a:lnTo>
                      <a:pt x="1229" y="624"/>
                    </a:lnTo>
                    <a:lnTo>
                      <a:pt x="1231" y="623"/>
                    </a:lnTo>
                    <a:lnTo>
                      <a:pt x="1231" y="623"/>
                    </a:lnTo>
                    <a:lnTo>
                      <a:pt x="1235" y="625"/>
                    </a:lnTo>
                    <a:lnTo>
                      <a:pt x="1240" y="628"/>
                    </a:lnTo>
                    <a:lnTo>
                      <a:pt x="1242" y="631"/>
                    </a:lnTo>
                    <a:lnTo>
                      <a:pt x="1245" y="634"/>
                    </a:lnTo>
                    <a:lnTo>
                      <a:pt x="1245" y="634"/>
                    </a:lnTo>
                    <a:lnTo>
                      <a:pt x="1250" y="634"/>
                    </a:lnTo>
                    <a:lnTo>
                      <a:pt x="1254" y="634"/>
                    </a:lnTo>
                    <a:lnTo>
                      <a:pt x="1257" y="634"/>
                    </a:lnTo>
                    <a:lnTo>
                      <a:pt x="1258" y="636"/>
                    </a:lnTo>
                    <a:lnTo>
                      <a:pt x="1258" y="637"/>
                    </a:lnTo>
                    <a:lnTo>
                      <a:pt x="1258" y="64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31" name="Freeform 1186"/>
              <p:cNvSpPr>
                <a:spLocks/>
              </p:cNvSpPr>
              <p:nvPr/>
            </p:nvSpPr>
            <p:spPr bwMode="auto">
              <a:xfrm>
                <a:off x="2160185" y="1660129"/>
                <a:ext cx="1355286" cy="926936"/>
              </a:xfrm>
              <a:custGeom>
                <a:avLst/>
                <a:gdLst>
                  <a:gd name="T0" fmla="*/ 1328 w 1370"/>
                  <a:gd name="T1" fmla="*/ 650 h 937"/>
                  <a:gd name="T2" fmla="*/ 1313 w 1370"/>
                  <a:gd name="T3" fmla="*/ 621 h 937"/>
                  <a:gd name="T4" fmla="*/ 1270 w 1370"/>
                  <a:gd name="T5" fmla="*/ 556 h 937"/>
                  <a:gd name="T6" fmla="*/ 1245 w 1370"/>
                  <a:gd name="T7" fmla="*/ 499 h 937"/>
                  <a:gd name="T8" fmla="*/ 1200 w 1370"/>
                  <a:gd name="T9" fmla="*/ 515 h 937"/>
                  <a:gd name="T10" fmla="*/ 1141 w 1370"/>
                  <a:gd name="T11" fmla="*/ 498 h 937"/>
                  <a:gd name="T12" fmla="*/ 1112 w 1370"/>
                  <a:gd name="T13" fmla="*/ 421 h 937"/>
                  <a:gd name="T14" fmla="*/ 1008 w 1370"/>
                  <a:gd name="T15" fmla="*/ 399 h 937"/>
                  <a:gd name="T16" fmla="*/ 1011 w 1370"/>
                  <a:gd name="T17" fmla="*/ 475 h 937"/>
                  <a:gd name="T18" fmla="*/ 1014 w 1370"/>
                  <a:gd name="T19" fmla="*/ 550 h 937"/>
                  <a:gd name="T20" fmla="*/ 995 w 1370"/>
                  <a:gd name="T21" fmla="*/ 660 h 937"/>
                  <a:gd name="T22" fmla="*/ 983 w 1370"/>
                  <a:gd name="T23" fmla="*/ 731 h 937"/>
                  <a:gd name="T24" fmla="*/ 930 w 1370"/>
                  <a:gd name="T25" fmla="*/ 637 h 937"/>
                  <a:gd name="T26" fmla="*/ 795 w 1370"/>
                  <a:gd name="T27" fmla="*/ 562 h 937"/>
                  <a:gd name="T28" fmla="*/ 746 w 1370"/>
                  <a:gd name="T29" fmla="*/ 452 h 937"/>
                  <a:gd name="T30" fmla="*/ 776 w 1370"/>
                  <a:gd name="T31" fmla="*/ 407 h 937"/>
                  <a:gd name="T32" fmla="*/ 779 w 1370"/>
                  <a:gd name="T33" fmla="*/ 347 h 937"/>
                  <a:gd name="T34" fmla="*/ 851 w 1370"/>
                  <a:gd name="T35" fmla="*/ 311 h 937"/>
                  <a:gd name="T36" fmla="*/ 809 w 1370"/>
                  <a:gd name="T37" fmla="*/ 269 h 937"/>
                  <a:gd name="T38" fmla="*/ 893 w 1370"/>
                  <a:gd name="T39" fmla="*/ 259 h 937"/>
                  <a:gd name="T40" fmla="*/ 917 w 1370"/>
                  <a:gd name="T41" fmla="*/ 249 h 937"/>
                  <a:gd name="T42" fmla="*/ 944 w 1370"/>
                  <a:gd name="T43" fmla="*/ 165 h 937"/>
                  <a:gd name="T44" fmla="*/ 944 w 1370"/>
                  <a:gd name="T45" fmla="*/ 123 h 937"/>
                  <a:gd name="T46" fmla="*/ 892 w 1370"/>
                  <a:gd name="T47" fmla="*/ 110 h 937"/>
                  <a:gd name="T48" fmla="*/ 885 w 1370"/>
                  <a:gd name="T49" fmla="*/ 176 h 937"/>
                  <a:gd name="T50" fmla="*/ 844 w 1370"/>
                  <a:gd name="T51" fmla="*/ 181 h 937"/>
                  <a:gd name="T52" fmla="*/ 821 w 1370"/>
                  <a:gd name="T53" fmla="*/ 155 h 937"/>
                  <a:gd name="T54" fmla="*/ 775 w 1370"/>
                  <a:gd name="T55" fmla="*/ 104 h 937"/>
                  <a:gd name="T56" fmla="*/ 763 w 1370"/>
                  <a:gd name="T57" fmla="*/ 39 h 937"/>
                  <a:gd name="T58" fmla="*/ 715 w 1370"/>
                  <a:gd name="T59" fmla="*/ 29 h 937"/>
                  <a:gd name="T60" fmla="*/ 762 w 1370"/>
                  <a:gd name="T61" fmla="*/ 114 h 937"/>
                  <a:gd name="T62" fmla="*/ 741 w 1370"/>
                  <a:gd name="T63" fmla="*/ 165 h 937"/>
                  <a:gd name="T64" fmla="*/ 711 w 1370"/>
                  <a:gd name="T65" fmla="*/ 187 h 937"/>
                  <a:gd name="T66" fmla="*/ 667 w 1370"/>
                  <a:gd name="T67" fmla="*/ 189 h 937"/>
                  <a:gd name="T68" fmla="*/ 566 w 1370"/>
                  <a:gd name="T69" fmla="*/ 147 h 937"/>
                  <a:gd name="T70" fmla="*/ 554 w 1370"/>
                  <a:gd name="T71" fmla="*/ 156 h 937"/>
                  <a:gd name="T72" fmla="*/ 521 w 1370"/>
                  <a:gd name="T73" fmla="*/ 226 h 937"/>
                  <a:gd name="T74" fmla="*/ 488 w 1370"/>
                  <a:gd name="T75" fmla="*/ 191 h 937"/>
                  <a:gd name="T76" fmla="*/ 407 w 1370"/>
                  <a:gd name="T77" fmla="*/ 174 h 937"/>
                  <a:gd name="T78" fmla="*/ 378 w 1370"/>
                  <a:gd name="T79" fmla="*/ 143 h 937"/>
                  <a:gd name="T80" fmla="*/ 273 w 1370"/>
                  <a:gd name="T81" fmla="*/ 107 h 937"/>
                  <a:gd name="T82" fmla="*/ 231 w 1370"/>
                  <a:gd name="T83" fmla="*/ 87 h 937"/>
                  <a:gd name="T84" fmla="*/ 205 w 1370"/>
                  <a:gd name="T85" fmla="*/ 104 h 937"/>
                  <a:gd name="T86" fmla="*/ 150 w 1370"/>
                  <a:gd name="T87" fmla="*/ 108 h 937"/>
                  <a:gd name="T88" fmla="*/ 87 w 1370"/>
                  <a:gd name="T89" fmla="*/ 146 h 937"/>
                  <a:gd name="T90" fmla="*/ 11 w 1370"/>
                  <a:gd name="T91" fmla="*/ 463 h 937"/>
                  <a:gd name="T92" fmla="*/ 117 w 1370"/>
                  <a:gd name="T93" fmla="*/ 524 h 937"/>
                  <a:gd name="T94" fmla="*/ 176 w 1370"/>
                  <a:gd name="T95" fmla="*/ 660 h 937"/>
                  <a:gd name="T96" fmla="*/ 226 w 1370"/>
                  <a:gd name="T97" fmla="*/ 694 h 937"/>
                  <a:gd name="T98" fmla="*/ 262 w 1370"/>
                  <a:gd name="T99" fmla="*/ 740 h 937"/>
                  <a:gd name="T100" fmla="*/ 782 w 1370"/>
                  <a:gd name="T101" fmla="*/ 795 h 937"/>
                  <a:gd name="T102" fmla="*/ 880 w 1370"/>
                  <a:gd name="T103" fmla="*/ 793 h 937"/>
                  <a:gd name="T104" fmla="*/ 979 w 1370"/>
                  <a:gd name="T105" fmla="*/ 866 h 937"/>
                  <a:gd name="T106" fmla="*/ 944 w 1370"/>
                  <a:gd name="T107" fmla="*/ 917 h 937"/>
                  <a:gd name="T108" fmla="*/ 993 w 1370"/>
                  <a:gd name="T109" fmla="*/ 905 h 937"/>
                  <a:gd name="T110" fmla="*/ 1177 w 1370"/>
                  <a:gd name="T111" fmla="*/ 822 h 937"/>
                  <a:gd name="T112" fmla="*/ 1242 w 1370"/>
                  <a:gd name="T113" fmla="*/ 864 h 937"/>
                  <a:gd name="T114" fmla="*/ 1255 w 1370"/>
                  <a:gd name="T115" fmla="*/ 883 h 937"/>
                  <a:gd name="T116" fmla="*/ 1228 w 1370"/>
                  <a:gd name="T117" fmla="*/ 846 h 937"/>
                  <a:gd name="T118" fmla="*/ 1231 w 1370"/>
                  <a:gd name="T119" fmla="*/ 795 h 937"/>
                  <a:gd name="T120" fmla="*/ 1145 w 1370"/>
                  <a:gd name="T121" fmla="*/ 802 h 937"/>
                  <a:gd name="T122" fmla="*/ 1347 w 1370"/>
                  <a:gd name="T123" fmla="*/ 715 h 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370" h="937">
                    <a:moveTo>
                      <a:pt x="1366" y="696"/>
                    </a:moveTo>
                    <a:lnTo>
                      <a:pt x="1366" y="696"/>
                    </a:lnTo>
                    <a:lnTo>
                      <a:pt x="1361" y="695"/>
                    </a:lnTo>
                    <a:lnTo>
                      <a:pt x="1361" y="694"/>
                    </a:lnTo>
                    <a:lnTo>
                      <a:pt x="1361" y="691"/>
                    </a:lnTo>
                    <a:lnTo>
                      <a:pt x="1361" y="691"/>
                    </a:lnTo>
                    <a:lnTo>
                      <a:pt x="1364" y="685"/>
                    </a:lnTo>
                    <a:lnTo>
                      <a:pt x="1366" y="682"/>
                    </a:lnTo>
                    <a:lnTo>
                      <a:pt x="1366" y="679"/>
                    </a:lnTo>
                    <a:lnTo>
                      <a:pt x="1366" y="679"/>
                    </a:lnTo>
                    <a:lnTo>
                      <a:pt x="1364" y="676"/>
                    </a:lnTo>
                    <a:lnTo>
                      <a:pt x="1364" y="676"/>
                    </a:lnTo>
                    <a:lnTo>
                      <a:pt x="1364" y="675"/>
                    </a:lnTo>
                    <a:lnTo>
                      <a:pt x="1364" y="675"/>
                    </a:lnTo>
                    <a:lnTo>
                      <a:pt x="1368" y="670"/>
                    </a:lnTo>
                    <a:lnTo>
                      <a:pt x="1370" y="667"/>
                    </a:lnTo>
                    <a:lnTo>
                      <a:pt x="1368" y="666"/>
                    </a:lnTo>
                    <a:lnTo>
                      <a:pt x="1368" y="666"/>
                    </a:lnTo>
                    <a:lnTo>
                      <a:pt x="1363" y="662"/>
                    </a:lnTo>
                    <a:lnTo>
                      <a:pt x="1358" y="660"/>
                    </a:lnTo>
                    <a:lnTo>
                      <a:pt x="1355" y="660"/>
                    </a:lnTo>
                    <a:lnTo>
                      <a:pt x="1355" y="660"/>
                    </a:lnTo>
                    <a:lnTo>
                      <a:pt x="1352" y="660"/>
                    </a:lnTo>
                    <a:lnTo>
                      <a:pt x="1350" y="662"/>
                    </a:lnTo>
                    <a:lnTo>
                      <a:pt x="1348" y="663"/>
                    </a:lnTo>
                    <a:lnTo>
                      <a:pt x="1347" y="662"/>
                    </a:lnTo>
                    <a:lnTo>
                      <a:pt x="1347" y="662"/>
                    </a:lnTo>
                    <a:lnTo>
                      <a:pt x="1342" y="653"/>
                    </a:lnTo>
                    <a:lnTo>
                      <a:pt x="1339" y="649"/>
                    </a:lnTo>
                    <a:lnTo>
                      <a:pt x="1338" y="647"/>
                    </a:lnTo>
                    <a:lnTo>
                      <a:pt x="1338" y="647"/>
                    </a:lnTo>
                    <a:lnTo>
                      <a:pt x="1328" y="650"/>
                    </a:lnTo>
                    <a:lnTo>
                      <a:pt x="1322" y="653"/>
                    </a:lnTo>
                    <a:lnTo>
                      <a:pt x="1321" y="654"/>
                    </a:lnTo>
                    <a:lnTo>
                      <a:pt x="1321" y="656"/>
                    </a:lnTo>
                    <a:lnTo>
                      <a:pt x="1321" y="656"/>
                    </a:lnTo>
                    <a:lnTo>
                      <a:pt x="1319" y="657"/>
                    </a:lnTo>
                    <a:lnTo>
                      <a:pt x="1319" y="660"/>
                    </a:lnTo>
                    <a:lnTo>
                      <a:pt x="1315" y="662"/>
                    </a:lnTo>
                    <a:lnTo>
                      <a:pt x="1315" y="662"/>
                    </a:lnTo>
                    <a:lnTo>
                      <a:pt x="1303" y="667"/>
                    </a:lnTo>
                    <a:lnTo>
                      <a:pt x="1296" y="670"/>
                    </a:lnTo>
                    <a:lnTo>
                      <a:pt x="1295" y="670"/>
                    </a:lnTo>
                    <a:lnTo>
                      <a:pt x="1293" y="670"/>
                    </a:lnTo>
                    <a:lnTo>
                      <a:pt x="1293" y="670"/>
                    </a:lnTo>
                    <a:lnTo>
                      <a:pt x="1296" y="666"/>
                    </a:lnTo>
                    <a:lnTo>
                      <a:pt x="1300" y="662"/>
                    </a:lnTo>
                    <a:lnTo>
                      <a:pt x="1309" y="654"/>
                    </a:lnTo>
                    <a:lnTo>
                      <a:pt x="1309" y="654"/>
                    </a:lnTo>
                    <a:lnTo>
                      <a:pt x="1315" y="650"/>
                    </a:lnTo>
                    <a:lnTo>
                      <a:pt x="1326" y="646"/>
                    </a:lnTo>
                    <a:lnTo>
                      <a:pt x="1335" y="641"/>
                    </a:lnTo>
                    <a:lnTo>
                      <a:pt x="1339" y="638"/>
                    </a:lnTo>
                    <a:lnTo>
                      <a:pt x="1339" y="638"/>
                    </a:lnTo>
                    <a:lnTo>
                      <a:pt x="1338" y="636"/>
                    </a:lnTo>
                    <a:lnTo>
                      <a:pt x="1335" y="633"/>
                    </a:lnTo>
                    <a:lnTo>
                      <a:pt x="1335" y="633"/>
                    </a:lnTo>
                    <a:lnTo>
                      <a:pt x="1332" y="633"/>
                    </a:lnTo>
                    <a:lnTo>
                      <a:pt x="1328" y="633"/>
                    </a:lnTo>
                    <a:lnTo>
                      <a:pt x="1324" y="631"/>
                    </a:lnTo>
                    <a:lnTo>
                      <a:pt x="1321" y="630"/>
                    </a:lnTo>
                    <a:lnTo>
                      <a:pt x="1321" y="630"/>
                    </a:lnTo>
                    <a:lnTo>
                      <a:pt x="1318" y="625"/>
                    </a:lnTo>
                    <a:lnTo>
                      <a:pt x="1313" y="621"/>
                    </a:lnTo>
                    <a:lnTo>
                      <a:pt x="1313" y="621"/>
                    </a:lnTo>
                    <a:lnTo>
                      <a:pt x="1309" y="621"/>
                    </a:lnTo>
                    <a:lnTo>
                      <a:pt x="1306" y="621"/>
                    </a:lnTo>
                    <a:lnTo>
                      <a:pt x="1303" y="620"/>
                    </a:lnTo>
                    <a:lnTo>
                      <a:pt x="1303" y="620"/>
                    </a:lnTo>
                    <a:lnTo>
                      <a:pt x="1300" y="614"/>
                    </a:lnTo>
                    <a:lnTo>
                      <a:pt x="1297" y="608"/>
                    </a:lnTo>
                    <a:lnTo>
                      <a:pt x="1297" y="608"/>
                    </a:lnTo>
                    <a:lnTo>
                      <a:pt x="1290" y="602"/>
                    </a:lnTo>
                    <a:lnTo>
                      <a:pt x="1286" y="599"/>
                    </a:lnTo>
                    <a:lnTo>
                      <a:pt x="1283" y="598"/>
                    </a:lnTo>
                    <a:lnTo>
                      <a:pt x="1283" y="598"/>
                    </a:lnTo>
                    <a:lnTo>
                      <a:pt x="1280" y="598"/>
                    </a:lnTo>
                    <a:lnTo>
                      <a:pt x="1279" y="596"/>
                    </a:lnTo>
                    <a:lnTo>
                      <a:pt x="1274" y="592"/>
                    </a:lnTo>
                    <a:lnTo>
                      <a:pt x="1274" y="592"/>
                    </a:lnTo>
                    <a:lnTo>
                      <a:pt x="1271" y="591"/>
                    </a:lnTo>
                    <a:lnTo>
                      <a:pt x="1270" y="588"/>
                    </a:lnTo>
                    <a:lnTo>
                      <a:pt x="1268" y="585"/>
                    </a:lnTo>
                    <a:lnTo>
                      <a:pt x="1270" y="583"/>
                    </a:lnTo>
                    <a:lnTo>
                      <a:pt x="1270" y="583"/>
                    </a:lnTo>
                    <a:lnTo>
                      <a:pt x="1276" y="579"/>
                    </a:lnTo>
                    <a:lnTo>
                      <a:pt x="1279" y="578"/>
                    </a:lnTo>
                    <a:lnTo>
                      <a:pt x="1279" y="576"/>
                    </a:lnTo>
                    <a:lnTo>
                      <a:pt x="1279" y="575"/>
                    </a:lnTo>
                    <a:lnTo>
                      <a:pt x="1279" y="575"/>
                    </a:lnTo>
                    <a:lnTo>
                      <a:pt x="1274" y="569"/>
                    </a:lnTo>
                    <a:lnTo>
                      <a:pt x="1271" y="566"/>
                    </a:lnTo>
                    <a:lnTo>
                      <a:pt x="1271" y="563"/>
                    </a:lnTo>
                    <a:lnTo>
                      <a:pt x="1271" y="563"/>
                    </a:lnTo>
                    <a:lnTo>
                      <a:pt x="1271" y="560"/>
                    </a:lnTo>
                    <a:lnTo>
                      <a:pt x="1270" y="556"/>
                    </a:lnTo>
                    <a:lnTo>
                      <a:pt x="1266" y="549"/>
                    </a:lnTo>
                    <a:lnTo>
                      <a:pt x="1266" y="549"/>
                    </a:lnTo>
                    <a:lnTo>
                      <a:pt x="1263" y="544"/>
                    </a:lnTo>
                    <a:lnTo>
                      <a:pt x="1261" y="540"/>
                    </a:lnTo>
                    <a:lnTo>
                      <a:pt x="1260" y="536"/>
                    </a:lnTo>
                    <a:lnTo>
                      <a:pt x="1258" y="534"/>
                    </a:lnTo>
                    <a:lnTo>
                      <a:pt x="1258" y="534"/>
                    </a:lnTo>
                    <a:lnTo>
                      <a:pt x="1255" y="531"/>
                    </a:lnTo>
                    <a:lnTo>
                      <a:pt x="1253" y="528"/>
                    </a:lnTo>
                    <a:lnTo>
                      <a:pt x="1253" y="528"/>
                    </a:lnTo>
                    <a:lnTo>
                      <a:pt x="1247" y="528"/>
                    </a:lnTo>
                    <a:lnTo>
                      <a:pt x="1242" y="527"/>
                    </a:lnTo>
                    <a:lnTo>
                      <a:pt x="1242" y="527"/>
                    </a:lnTo>
                    <a:lnTo>
                      <a:pt x="1242" y="527"/>
                    </a:lnTo>
                    <a:lnTo>
                      <a:pt x="1242" y="527"/>
                    </a:lnTo>
                    <a:lnTo>
                      <a:pt x="1250" y="524"/>
                    </a:lnTo>
                    <a:lnTo>
                      <a:pt x="1253" y="521"/>
                    </a:lnTo>
                    <a:lnTo>
                      <a:pt x="1253" y="520"/>
                    </a:lnTo>
                    <a:lnTo>
                      <a:pt x="1253" y="520"/>
                    </a:lnTo>
                    <a:lnTo>
                      <a:pt x="1251" y="514"/>
                    </a:lnTo>
                    <a:lnTo>
                      <a:pt x="1250" y="512"/>
                    </a:lnTo>
                    <a:lnTo>
                      <a:pt x="1247" y="511"/>
                    </a:lnTo>
                    <a:lnTo>
                      <a:pt x="1247" y="511"/>
                    </a:lnTo>
                    <a:lnTo>
                      <a:pt x="1240" y="511"/>
                    </a:lnTo>
                    <a:lnTo>
                      <a:pt x="1238" y="510"/>
                    </a:lnTo>
                    <a:lnTo>
                      <a:pt x="1237" y="510"/>
                    </a:lnTo>
                    <a:lnTo>
                      <a:pt x="1238" y="508"/>
                    </a:lnTo>
                    <a:lnTo>
                      <a:pt x="1238" y="508"/>
                    </a:lnTo>
                    <a:lnTo>
                      <a:pt x="1241" y="507"/>
                    </a:lnTo>
                    <a:lnTo>
                      <a:pt x="1244" y="504"/>
                    </a:lnTo>
                    <a:lnTo>
                      <a:pt x="1245" y="501"/>
                    </a:lnTo>
                    <a:lnTo>
                      <a:pt x="1245" y="499"/>
                    </a:lnTo>
                    <a:lnTo>
                      <a:pt x="1245" y="499"/>
                    </a:lnTo>
                    <a:lnTo>
                      <a:pt x="1240" y="491"/>
                    </a:lnTo>
                    <a:lnTo>
                      <a:pt x="1237" y="485"/>
                    </a:lnTo>
                    <a:lnTo>
                      <a:pt x="1234" y="484"/>
                    </a:lnTo>
                    <a:lnTo>
                      <a:pt x="1234" y="484"/>
                    </a:lnTo>
                    <a:lnTo>
                      <a:pt x="1232" y="482"/>
                    </a:lnTo>
                    <a:lnTo>
                      <a:pt x="1231" y="481"/>
                    </a:lnTo>
                    <a:lnTo>
                      <a:pt x="1231" y="476"/>
                    </a:lnTo>
                    <a:lnTo>
                      <a:pt x="1231" y="476"/>
                    </a:lnTo>
                    <a:lnTo>
                      <a:pt x="1231" y="468"/>
                    </a:lnTo>
                    <a:lnTo>
                      <a:pt x="1231" y="463"/>
                    </a:lnTo>
                    <a:lnTo>
                      <a:pt x="1231" y="460"/>
                    </a:lnTo>
                    <a:lnTo>
                      <a:pt x="1231" y="460"/>
                    </a:lnTo>
                    <a:lnTo>
                      <a:pt x="1228" y="460"/>
                    </a:lnTo>
                    <a:lnTo>
                      <a:pt x="1225" y="462"/>
                    </a:lnTo>
                    <a:lnTo>
                      <a:pt x="1222" y="463"/>
                    </a:lnTo>
                    <a:lnTo>
                      <a:pt x="1221" y="468"/>
                    </a:lnTo>
                    <a:lnTo>
                      <a:pt x="1221" y="468"/>
                    </a:lnTo>
                    <a:lnTo>
                      <a:pt x="1219" y="478"/>
                    </a:lnTo>
                    <a:lnTo>
                      <a:pt x="1216" y="482"/>
                    </a:lnTo>
                    <a:lnTo>
                      <a:pt x="1215" y="484"/>
                    </a:lnTo>
                    <a:lnTo>
                      <a:pt x="1215" y="484"/>
                    </a:lnTo>
                    <a:lnTo>
                      <a:pt x="1212" y="485"/>
                    </a:lnTo>
                    <a:lnTo>
                      <a:pt x="1209" y="486"/>
                    </a:lnTo>
                    <a:lnTo>
                      <a:pt x="1208" y="491"/>
                    </a:lnTo>
                    <a:lnTo>
                      <a:pt x="1208" y="497"/>
                    </a:lnTo>
                    <a:lnTo>
                      <a:pt x="1208" y="497"/>
                    </a:lnTo>
                    <a:lnTo>
                      <a:pt x="1206" y="504"/>
                    </a:lnTo>
                    <a:lnTo>
                      <a:pt x="1205" y="510"/>
                    </a:lnTo>
                    <a:lnTo>
                      <a:pt x="1203" y="514"/>
                    </a:lnTo>
                    <a:lnTo>
                      <a:pt x="1203" y="514"/>
                    </a:lnTo>
                    <a:lnTo>
                      <a:pt x="1200" y="515"/>
                    </a:lnTo>
                    <a:lnTo>
                      <a:pt x="1198" y="515"/>
                    </a:lnTo>
                    <a:lnTo>
                      <a:pt x="1195" y="517"/>
                    </a:lnTo>
                    <a:lnTo>
                      <a:pt x="1195" y="517"/>
                    </a:lnTo>
                    <a:lnTo>
                      <a:pt x="1190" y="521"/>
                    </a:lnTo>
                    <a:lnTo>
                      <a:pt x="1187" y="524"/>
                    </a:lnTo>
                    <a:lnTo>
                      <a:pt x="1186" y="526"/>
                    </a:lnTo>
                    <a:lnTo>
                      <a:pt x="1186" y="526"/>
                    </a:lnTo>
                    <a:lnTo>
                      <a:pt x="1184" y="527"/>
                    </a:lnTo>
                    <a:lnTo>
                      <a:pt x="1183" y="528"/>
                    </a:lnTo>
                    <a:lnTo>
                      <a:pt x="1182" y="530"/>
                    </a:lnTo>
                    <a:lnTo>
                      <a:pt x="1180" y="530"/>
                    </a:lnTo>
                    <a:lnTo>
                      <a:pt x="1180" y="530"/>
                    </a:lnTo>
                    <a:lnTo>
                      <a:pt x="1173" y="526"/>
                    </a:lnTo>
                    <a:lnTo>
                      <a:pt x="1170" y="523"/>
                    </a:lnTo>
                    <a:lnTo>
                      <a:pt x="1169" y="520"/>
                    </a:lnTo>
                    <a:lnTo>
                      <a:pt x="1169" y="520"/>
                    </a:lnTo>
                    <a:lnTo>
                      <a:pt x="1169" y="518"/>
                    </a:lnTo>
                    <a:lnTo>
                      <a:pt x="1166" y="517"/>
                    </a:lnTo>
                    <a:lnTo>
                      <a:pt x="1163" y="515"/>
                    </a:lnTo>
                    <a:lnTo>
                      <a:pt x="1160" y="515"/>
                    </a:lnTo>
                    <a:lnTo>
                      <a:pt x="1160" y="515"/>
                    </a:lnTo>
                    <a:lnTo>
                      <a:pt x="1156" y="520"/>
                    </a:lnTo>
                    <a:lnTo>
                      <a:pt x="1153" y="520"/>
                    </a:lnTo>
                    <a:lnTo>
                      <a:pt x="1150" y="518"/>
                    </a:lnTo>
                    <a:lnTo>
                      <a:pt x="1150" y="518"/>
                    </a:lnTo>
                    <a:lnTo>
                      <a:pt x="1148" y="514"/>
                    </a:lnTo>
                    <a:lnTo>
                      <a:pt x="1147" y="508"/>
                    </a:lnTo>
                    <a:lnTo>
                      <a:pt x="1147" y="508"/>
                    </a:lnTo>
                    <a:lnTo>
                      <a:pt x="1141" y="502"/>
                    </a:lnTo>
                    <a:lnTo>
                      <a:pt x="1141" y="499"/>
                    </a:lnTo>
                    <a:lnTo>
                      <a:pt x="1141" y="498"/>
                    </a:lnTo>
                    <a:lnTo>
                      <a:pt x="1141" y="498"/>
                    </a:lnTo>
                    <a:lnTo>
                      <a:pt x="1144" y="494"/>
                    </a:lnTo>
                    <a:lnTo>
                      <a:pt x="1145" y="489"/>
                    </a:lnTo>
                    <a:lnTo>
                      <a:pt x="1145" y="486"/>
                    </a:lnTo>
                    <a:lnTo>
                      <a:pt x="1144" y="484"/>
                    </a:lnTo>
                    <a:lnTo>
                      <a:pt x="1144" y="484"/>
                    </a:lnTo>
                    <a:lnTo>
                      <a:pt x="1138" y="479"/>
                    </a:lnTo>
                    <a:lnTo>
                      <a:pt x="1137" y="478"/>
                    </a:lnTo>
                    <a:lnTo>
                      <a:pt x="1138" y="476"/>
                    </a:lnTo>
                    <a:lnTo>
                      <a:pt x="1138" y="476"/>
                    </a:lnTo>
                    <a:lnTo>
                      <a:pt x="1142" y="473"/>
                    </a:lnTo>
                    <a:lnTo>
                      <a:pt x="1144" y="469"/>
                    </a:lnTo>
                    <a:lnTo>
                      <a:pt x="1144" y="469"/>
                    </a:lnTo>
                    <a:lnTo>
                      <a:pt x="1148" y="457"/>
                    </a:lnTo>
                    <a:lnTo>
                      <a:pt x="1148" y="452"/>
                    </a:lnTo>
                    <a:lnTo>
                      <a:pt x="1148" y="450"/>
                    </a:lnTo>
                    <a:lnTo>
                      <a:pt x="1145" y="449"/>
                    </a:lnTo>
                    <a:lnTo>
                      <a:pt x="1145" y="449"/>
                    </a:lnTo>
                    <a:lnTo>
                      <a:pt x="1141" y="447"/>
                    </a:lnTo>
                    <a:lnTo>
                      <a:pt x="1137" y="447"/>
                    </a:lnTo>
                    <a:lnTo>
                      <a:pt x="1129" y="447"/>
                    </a:lnTo>
                    <a:lnTo>
                      <a:pt x="1129" y="447"/>
                    </a:lnTo>
                    <a:lnTo>
                      <a:pt x="1125" y="446"/>
                    </a:lnTo>
                    <a:lnTo>
                      <a:pt x="1122" y="442"/>
                    </a:lnTo>
                    <a:lnTo>
                      <a:pt x="1116" y="436"/>
                    </a:lnTo>
                    <a:lnTo>
                      <a:pt x="1116" y="436"/>
                    </a:lnTo>
                    <a:lnTo>
                      <a:pt x="1114" y="431"/>
                    </a:lnTo>
                    <a:lnTo>
                      <a:pt x="1112" y="430"/>
                    </a:lnTo>
                    <a:lnTo>
                      <a:pt x="1112" y="428"/>
                    </a:lnTo>
                    <a:lnTo>
                      <a:pt x="1112" y="428"/>
                    </a:lnTo>
                    <a:lnTo>
                      <a:pt x="1114" y="426"/>
                    </a:lnTo>
                    <a:lnTo>
                      <a:pt x="1114" y="424"/>
                    </a:lnTo>
                    <a:lnTo>
                      <a:pt x="1112" y="421"/>
                    </a:lnTo>
                    <a:lnTo>
                      <a:pt x="1109" y="421"/>
                    </a:lnTo>
                    <a:lnTo>
                      <a:pt x="1109" y="421"/>
                    </a:lnTo>
                    <a:lnTo>
                      <a:pt x="1103" y="421"/>
                    </a:lnTo>
                    <a:lnTo>
                      <a:pt x="1100" y="420"/>
                    </a:lnTo>
                    <a:lnTo>
                      <a:pt x="1098" y="418"/>
                    </a:lnTo>
                    <a:lnTo>
                      <a:pt x="1098" y="418"/>
                    </a:lnTo>
                    <a:lnTo>
                      <a:pt x="1093" y="413"/>
                    </a:lnTo>
                    <a:lnTo>
                      <a:pt x="1092" y="411"/>
                    </a:lnTo>
                    <a:lnTo>
                      <a:pt x="1090" y="411"/>
                    </a:lnTo>
                    <a:lnTo>
                      <a:pt x="1090" y="411"/>
                    </a:lnTo>
                    <a:lnTo>
                      <a:pt x="1089" y="411"/>
                    </a:lnTo>
                    <a:lnTo>
                      <a:pt x="1087" y="410"/>
                    </a:lnTo>
                    <a:lnTo>
                      <a:pt x="1085" y="405"/>
                    </a:lnTo>
                    <a:lnTo>
                      <a:pt x="1085" y="405"/>
                    </a:lnTo>
                    <a:lnTo>
                      <a:pt x="1082" y="401"/>
                    </a:lnTo>
                    <a:lnTo>
                      <a:pt x="1079" y="398"/>
                    </a:lnTo>
                    <a:lnTo>
                      <a:pt x="1076" y="397"/>
                    </a:lnTo>
                    <a:lnTo>
                      <a:pt x="1076" y="397"/>
                    </a:lnTo>
                    <a:lnTo>
                      <a:pt x="1064" y="397"/>
                    </a:lnTo>
                    <a:lnTo>
                      <a:pt x="1054" y="397"/>
                    </a:lnTo>
                    <a:lnTo>
                      <a:pt x="1054" y="397"/>
                    </a:lnTo>
                    <a:lnTo>
                      <a:pt x="1051" y="397"/>
                    </a:lnTo>
                    <a:lnTo>
                      <a:pt x="1048" y="395"/>
                    </a:lnTo>
                    <a:lnTo>
                      <a:pt x="1045" y="394"/>
                    </a:lnTo>
                    <a:lnTo>
                      <a:pt x="1043" y="394"/>
                    </a:lnTo>
                    <a:lnTo>
                      <a:pt x="1043" y="394"/>
                    </a:lnTo>
                    <a:lnTo>
                      <a:pt x="1031" y="392"/>
                    </a:lnTo>
                    <a:lnTo>
                      <a:pt x="1018" y="391"/>
                    </a:lnTo>
                    <a:lnTo>
                      <a:pt x="1018" y="391"/>
                    </a:lnTo>
                    <a:lnTo>
                      <a:pt x="1015" y="392"/>
                    </a:lnTo>
                    <a:lnTo>
                      <a:pt x="1012" y="394"/>
                    </a:lnTo>
                    <a:lnTo>
                      <a:pt x="1008" y="399"/>
                    </a:lnTo>
                    <a:lnTo>
                      <a:pt x="1008" y="399"/>
                    </a:lnTo>
                    <a:lnTo>
                      <a:pt x="1003" y="402"/>
                    </a:lnTo>
                    <a:lnTo>
                      <a:pt x="1002" y="405"/>
                    </a:lnTo>
                    <a:lnTo>
                      <a:pt x="1003" y="408"/>
                    </a:lnTo>
                    <a:lnTo>
                      <a:pt x="1003" y="408"/>
                    </a:lnTo>
                    <a:lnTo>
                      <a:pt x="1006" y="413"/>
                    </a:lnTo>
                    <a:lnTo>
                      <a:pt x="1006" y="417"/>
                    </a:lnTo>
                    <a:lnTo>
                      <a:pt x="1006" y="420"/>
                    </a:lnTo>
                    <a:lnTo>
                      <a:pt x="1008" y="421"/>
                    </a:lnTo>
                    <a:lnTo>
                      <a:pt x="1008" y="421"/>
                    </a:lnTo>
                    <a:lnTo>
                      <a:pt x="1011" y="423"/>
                    </a:lnTo>
                    <a:lnTo>
                      <a:pt x="1012" y="423"/>
                    </a:lnTo>
                    <a:lnTo>
                      <a:pt x="1011" y="427"/>
                    </a:lnTo>
                    <a:lnTo>
                      <a:pt x="1011" y="427"/>
                    </a:lnTo>
                    <a:lnTo>
                      <a:pt x="1006" y="434"/>
                    </a:lnTo>
                    <a:lnTo>
                      <a:pt x="1002" y="442"/>
                    </a:lnTo>
                    <a:lnTo>
                      <a:pt x="1002" y="442"/>
                    </a:lnTo>
                    <a:lnTo>
                      <a:pt x="999" y="447"/>
                    </a:lnTo>
                    <a:lnTo>
                      <a:pt x="999" y="450"/>
                    </a:lnTo>
                    <a:lnTo>
                      <a:pt x="1001" y="452"/>
                    </a:lnTo>
                    <a:lnTo>
                      <a:pt x="1002" y="452"/>
                    </a:lnTo>
                    <a:lnTo>
                      <a:pt x="1002" y="452"/>
                    </a:lnTo>
                    <a:lnTo>
                      <a:pt x="1006" y="452"/>
                    </a:lnTo>
                    <a:lnTo>
                      <a:pt x="1008" y="453"/>
                    </a:lnTo>
                    <a:lnTo>
                      <a:pt x="1008" y="455"/>
                    </a:lnTo>
                    <a:lnTo>
                      <a:pt x="1008" y="457"/>
                    </a:lnTo>
                    <a:lnTo>
                      <a:pt x="1008" y="457"/>
                    </a:lnTo>
                    <a:lnTo>
                      <a:pt x="1008" y="468"/>
                    </a:lnTo>
                    <a:lnTo>
                      <a:pt x="1008" y="473"/>
                    </a:lnTo>
                    <a:lnTo>
                      <a:pt x="1009" y="475"/>
                    </a:lnTo>
                    <a:lnTo>
                      <a:pt x="1011" y="475"/>
                    </a:lnTo>
                    <a:lnTo>
                      <a:pt x="1011" y="475"/>
                    </a:lnTo>
                    <a:lnTo>
                      <a:pt x="1014" y="476"/>
                    </a:lnTo>
                    <a:lnTo>
                      <a:pt x="1015" y="478"/>
                    </a:lnTo>
                    <a:lnTo>
                      <a:pt x="1014" y="481"/>
                    </a:lnTo>
                    <a:lnTo>
                      <a:pt x="1012" y="484"/>
                    </a:lnTo>
                    <a:lnTo>
                      <a:pt x="1012" y="484"/>
                    </a:lnTo>
                    <a:lnTo>
                      <a:pt x="1011" y="486"/>
                    </a:lnTo>
                    <a:lnTo>
                      <a:pt x="1009" y="491"/>
                    </a:lnTo>
                    <a:lnTo>
                      <a:pt x="1009" y="494"/>
                    </a:lnTo>
                    <a:lnTo>
                      <a:pt x="1011" y="495"/>
                    </a:lnTo>
                    <a:lnTo>
                      <a:pt x="1011" y="495"/>
                    </a:lnTo>
                    <a:lnTo>
                      <a:pt x="1012" y="495"/>
                    </a:lnTo>
                    <a:lnTo>
                      <a:pt x="1014" y="497"/>
                    </a:lnTo>
                    <a:lnTo>
                      <a:pt x="1012" y="498"/>
                    </a:lnTo>
                    <a:lnTo>
                      <a:pt x="1009" y="501"/>
                    </a:lnTo>
                    <a:lnTo>
                      <a:pt x="1009" y="501"/>
                    </a:lnTo>
                    <a:lnTo>
                      <a:pt x="1001" y="507"/>
                    </a:lnTo>
                    <a:lnTo>
                      <a:pt x="995" y="511"/>
                    </a:lnTo>
                    <a:lnTo>
                      <a:pt x="995" y="511"/>
                    </a:lnTo>
                    <a:lnTo>
                      <a:pt x="995" y="514"/>
                    </a:lnTo>
                    <a:lnTo>
                      <a:pt x="993" y="517"/>
                    </a:lnTo>
                    <a:lnTo>
                      <a:pt x="995" y="521"/>
                    </a:lnTo>
                    <a:lnTo>
                      <a:pt x="998" y="524"/>
                    </a:lnTo>
                    <a:lnTo>
                      <a:pt x="998" y="524"/>
                    </a:lnTo>
                    <a:lnTo>
                      <a:pt x="1001" y="527"/>
                    </a:lnTo>
                    <a:lnTo>
                      <a:pt x="1002" y="531"/>
                    </a:lnTo>
                    <a:lnTo>
                      <a:pt x="1005" y="540"/>
                    </a:lnTo>
                    <a:lnTo>
                      <a:pt x="1005" y="540"/>
                    </a:lnTo>
                    <a:lnTo>
                      <a:pt x="1006" y="543"/>
                    </a:lnTo>
                    <a:lnTo>
                      <a:pt x="1009" y="544"/>
                    </a:lnTo>
                    <a:lnTo>
                      <a:pt x="1012" y="546"/>
                    </a:lnTo>
                    <a:lnTo>
                      <a:pt x="1014" y="550"/>
                    </a:lnTo>
                    <a:lnTo>
                      <a:pt x="1014" y="550"/>
                    </a:lnTo>
                    <a:lnTo>
                      <a:pt x="1015" y="562"/>
                    </a:lnTo>
                    <a:lnTo>
                      <a:pt x="1019" y="572"/>
                    </a:lnTo>
                    <a:lnTo>
                      <a:pt x="1019" y="572"/>
                    </a:lnTo>
                    <a:lnTo>
                      <a:pt x="1019" y="581"/>
                    </a:lnTo>
                    <a:lnTo>
                      <a:pt x="1019" y="591"/>
                    </a:lnTo>
                    <a:lnTo>
                      <a:pt x="1018" y="599"/>
                    </a:lnTo>
                    <a:lnTo>
                      <a:pt x="1016" y="604"/>
                    </a:lnTo>
                    <a:lnTo>
                      <a:pt x="1016" y="604"/>
                    </a:lnTo>
                    <a:lnTo>
                      <a:pt x="1014" y="607"/>
                    </a:lnTo>
                    <a:lnTo>
                      <a:pt x="1012" y="611"/>
                    </a:lnTo>
                    <a:lnTo>
                      <a:pt x="1012" y="615"/>
                    </a:lnTo>
                    <a:lnTo>
                      <a:pt x="1011" y="615"/>
                    </a:lnTo>
                    <a:lnTo>
                      <a:pt x="1011" y="615"/>
                    </a:lnTo>
                    <a:lnTo>
                      <a:pt x="1011" y="615"/>
                    </a:lnTo>
                    <a:lnTo>
                      <a:pt x="1008" y="612"/>
                    </a:lnTo>
                    <a:lnTo>
                      <a:pt x="1008" y="612"/>
                    </a:lnTo>
                    <a:lnTo>
                      <a:pt x="1006" y="614"/>
                    </a:lnTo>
                    <a:lnTo>
                      <a:pt x="1006" y="614"/>
                    </a:lnTo>
                    <a:lnTo>
                      <a:pt x="1003" y="623"/>
                    </a:lnTo>
                    <a:lnTo>
                      <a:pt x="1002" y="627"/>
                    </a:lnTo>
                    <a:lnTo>
                      <a:pt x="999" y="630"/>
                    </a:lnTo>
                    <a:lnTo>
                      <a:pt x="999" y="630"/>
                    </a:lnTo>
                    <a:lnTo>
                      <a:pt x="993" y="633"/>
                    </a:lnTo>
                    <a:lnTo>
                      <a:pt x="990" y="634"/>
                    </a:lnTo>
                    <a:lnTo>
                      <a:pt x="990" y="637"/>
                    </a:lnTo>
                    <a:lnTo>
                      <a:pt x="990" y="637"/>
                    </a:lnTo>
                    <a:lnTo>
                      <a:pt x="995" y="641"/>
                    </a:lnTo>
                    <a:lnTo>
                      <a:pt x="998" y="644"/>
                    </a:lnTo>
                    <a:lnTo>
                      <a:pt x="998" y="647"/>
                    </a:lnTo>
                    <a:lnTo>
                      <a:pt x="998" y="647"/>
                    </a:lnTo>
                    <a:lnTo>
                      <a:pt x="996" y="656"/>
                    </a:lnTo>
                    <a:lnTo>
                      <a:pt x="995" y="660"/>
                    </a:lnTo>
                    <a:lnTo>
                      <a:pt x="995" y="663"/>
                    </a:lnTo>
                    <a:lnTo>
                      <a:pt x="995" y="663"/>
                    </a:lnTo>
                    <a:lnTo>
                      <a:pt x="996" y="672"/>
                    </a:lnTo>
                    <a:lnTo>
                      <a:pt x="998" y="678"/>
                    </a:lnTo>
                    <a:lnTo>
                      <a:pt x="1001" y="680"/>
                    </a:lnTo>
                    <a:lnTo>
                      <a:pt x="1001" y="680"/>
                    </a:lnTo>
                    <a:lnTo>
                      <a:pt x="1002" y="683"/>
                    </a:lnTo>
                    <a:lnTo>
                      <a:pt x="1005" y="686"/>
                    </a:lnTo>
                    <a:lnTo>
                      <a:pt x="1005" y="689"/>
                    </a:lnTo>
                    <a:lnTo>
                      <a:pt x="1005" y="694"/>
                    </a:lnTo>
                    <a:lnTo>
                      <a:pt x="1005" y="694"/>
                    </a:lnTo>
                    <a:lnTo>
                      <a:pt x="1005" y="704"/>
                    </a:lnTo>
                    <a:lnTo>
                      <a:pt x="1003" y="707"/>
                    </a:lnTo>
                    <a:lnTo>
                      <a:pt x="1001" y="708"/>
                    </a:lnTo>
                    <a:lnTo>
                      <a:pt x="1001" y="708"/>
                    </a:lnTo>
                    <a:lnTo>
                      <a:pt x="998" y="711"/>
                    </a:lnTo>
                    <a:lnTo>
                      <a:pt x="996" y="714"/>
                    </a:lnTo>
                    <a:lnTo>
                      <a:pt x="998" y="720"/>
                    </a:lnTo>
                    <a:lnTo>
                      <a:pt x="998" y="720"/>
                    </a:lnTo>
                    <a:lnTo>
                      <a:pt x="998" y="725"/>
                    </a:lnTo>
                    <a:lnTo>
                      <a:pt x="996" y="727"/>
                    </a:lnTo>
                    <a:lnTo>
                      <a:pt x="995" y="725"/>
                    </a:lnTo>
                    <a:lnTo>
                      <a:pt x="995" y="725"/>
                    </a:lnTo>
                    <a:lnTo>
                      <a:pt x="990" y="723"/>
                    </a:lnTo>
                    <a:lnTo>
                      <a:pt x="987" y="721"/>
                    </a:lnTo>
                    <a:lnTo>
                      <a:pt x="986" y="721"/>
                    </a:lnTo>
                    <a:lnTo>
                      <a:pt x="986" y="721"/>
                    </a:lnTo>
                    <a:lnTo>
                      <a:pt x="986" y="724"/>
                    </a:lnTo>
                    <a:lnTo>
                      <a:pt x="986" y="727"/>
                    </a:lnTo>
                    <a:lnTo>
                      <a:pt x="986" y="731"/>
                    </a:lnTo>
                    <a:lnTo>
                      <a:pt x="985" y="731"/>
                    </a:lnTo>
                    <a:lnTo>
                      <a:pt x="983" y="731"/>
                    </a:lnTo>
                    <a:lnTo>
                      <a:pt x="983" y="731"/>
                    </a:lnTo>
                    <a:lnTo>
                      <a:pt x="979" y="728"/>
                    </a:lnTo>
                    <a:lnTo>
                      <a:pt x="973" y="724"/>
                    </a:lnTo>
                    <a:lnTo>
                      <a:pt x="970" y="718"/>
                    </a:lnTo>
                    <a:lnTo>
                      <a:pt x="969" y="714"/>
                    </a:lnTo>
                    <a:lnTo>
                      <a:pt x="969" y="714"/>
                    </a:lnTo>
                    <a:lnTo>
                      <a:pt x="969" y="712"/>
                    </a:lnTo>
                    <a:lnTo>
                      <a:pt x="970" y="711"/>
                    </a:lnTo>
                    <a:lnTo>
                      <a:pt x="972" y="709"/>
                    </a:lnTo>
                    <a:lnTo>
                      <a:pt x="969" y="708"/>
                    </a:lnTo>
                    <a:lnTo>
                      <a:pt x="969" y="708"/>
                    </a:lnTo>
                    <a:lnTo>
                      <a:pt x="957" y="704"/>
                    </a:lnTo>
                    <a:lnTo>
                      <a:pt x="951" y="701"/>
                    </a:lnTo>
                    <a:lnTo>
                      <a:pt x="947" y="698"/>
                    </a:lnTo>
                    <a:lnTo>
                      <a:pt x="947" y="698"/>
                    </a:lnTo>
                    <a:lnTo>
                      <a:pt x="947" y="695"/>
                    </a:lnTo>
                    <a:lnTo>
                      <a:pt x="947" y="694"/>
                    </a:lnTo>
                    <a:lnTo>
                      <a:pt x="947" y="691"/>
                    </a:lnTo>
                    <a:lnTo>
                      <a:pt x="943" y="686"/>
                    </a:lnTo>
                    <a:lnTo>
                      <a:pt x="943" y="686"/>
                    </a:lnTo>
                    <a:lnTo>
                      <a:pt x="931" y="679"/>
                    </a:lnTo>
                    <a:lnTo>
                      <a:pt x="927" y="675"/>
                    </a:lnTo>
                    <a:lnTo>
                      <a:pt x="927" y="673"/>
                    </a:lnTo>
                    <a:lnTo>
                      <a:pt x="927" y="670"/>
                    </a:lnTo>
                    <a:lnTo>
                      <a:pt x="927" y="670"/>
                    </a:lnTo>
                    <a:lnTo>
                      <a:pt x="928" y="660"/>
                    </a:lnTo>
                    <a:lnTo>
                      <a:pt x="930" y="654"/>
                    </a:lnTo>
                    <a:lnTo>
                      <a:pt x="930" y="649"/>
                    </a:lnTo>
                    <a:lnTo>
                      <a:pt x="930" y="649"/>
                    </a:lnTo>
                    <a:lnTo>
                      <a:pt x="928" y="644"/>
                    </a:lnTo>
                    <a:lnTo>
                      <a:pt x="928" y="640"/>
                    </a:lnTo>
                    <a:lnTo>
                      <a:pt x="930" y="637"/>
                    </a:lnTo>
                    <a:lnTo>
                      <a:pt x="932" y="634"/>
                    </a:lnTo>
                    <a:lnTo>
                      <a:pt x="932" y="634"/>
                    </a:lnTo>
                    <a:lnTo>
                      <a:pt x="938" y="628"/>
                    </a:lnTo>
                    <a:lnTo>
                      <a:pt x="940" y="627"/>
                    </a:lnTo>
                    <a:lnTo>
                      <a:pt x="938" y="625"/>
                    </a:lnTo>
                    <a:lnTo>
                      <a:pt x="938" y="625"/>
                    </a:lnTo>
                    <a:lnTo>
                      <a:pt x="915" y="624"/>
                    </a:lnTo>
                    <a:lnTo>
                      <a:pt x="901" y="623"/>
                    </a:lnTo>
                    <a:lnTo>
                      <a:pt x="892" y="623"/>
                    </a:lnTo>
                    <a:lnTo>
                      <a:pt x="892" y="623"/>
                    </a:lnTo>
                    <a:lnTo>
                      <a:pt x="889" y="621"/>
                    </a:lnTo>
                    <a:lnTo>
                      <a:pt x="888" y="620"/>
                    </a:lnTo>
                    <a:lnTo>
                      <a:pt x="883" y="617"/>
                    </a:lnTo>
                    <a:lnTo>
                      <a:pt x="883" y="617"/>
                    </a:lnTo>
                    <a:lnTo>
                      <a:pt x="873" y="610"/>
                    </a:lnTo>
                    <a:lnTo>
                      <a:pt x="863" y="602"/>
                    </a:lnTo>
                    <a:lnTo>
                      <a:pt x="863" y="602"/>
                    </a:lnTo>
                    <a:lnTo>
                      <a:pt x="856" y="596"/>
                    </a:lnTo>
                    <a:lnTo>
                      <a:pt x="850" y="591"/>
                    </a:lnTo>
                    <a:lnTo>
                      <a:pt x="850" y="591"/>
                    </a:lnTo>
                    <a:lnTo>
                      <a:pt x="838" y="579"/>
                    </a:lnTo>
                    <a:lnTo>
                      <a:pt x="833" y="575"/>
                    </a:lnTo>
                    <a:lnTo>
                      <a:pt x="830" y="572"/>
                    </a:lnTo>
                    <a:lnTo>
                      <a:pt x="830" y="572"/>
                    </a:lnTo>
                    <a:lnTo>
                      <a:pt x="821" y="573"/>
                    </a:lnTo>
                    <a:lnTo>
                      <a:pt x="817" y="573"/>
                    </a:lnTo>
                    <a:lnTo>
                      <a:pt x="814" y="572"/>
                    </a:lnTo>
                    <a:lnTo>
                      <a:pt x="814" y="572"/>
                    </a:lnTo>
                    <a:lnTo>
                      <a:pt x="804" y="565"/>
                    </a:lnTo>
                    <a:lnTo>
                      <a:pt x="799" y="562"/>
                    </a:lnTo>
                    <a:lnTo>
                      <a:pt x="795" y="562"/>
                    </a:lnTo>
                    <a:lnTo>
                      <a:pt x="795" y="562"/>
                    </a:lnTo>
                    <a:lnTo>
                      <a:pt x="785" y="568"/>
                    </a:lnTo>
                    <a:lnTo>
                      <a:pt x="779" y="572"/>
                    </a:lnTo>
                    <a:lnTo>
                      <a:pt x="775" y="572"/>
                    </a:lnTo>
                    <a:lnTo>
                      <a:pt x="775" y="572"/>
                    </a:lnTo>
                    <a:lnTo>
                      <a:pt x="775" y="570"/>
                    </a:lnTo>
                    <a:lnTo>
                      <a:pt x="775" y="566"/>
                    </a:lnTo>
                    <a:lnTo>
                      <a:pt x="777" y="560"/>
                    </a:lnTo>
                    <a:lnTo>
                      <a:pt x="777" y="560"/>
                    </a:lnTo>
                    <a:lnTo>
                      <a:pt x="773" y="540"/>
                    </a:lnTo>
                    <a:lnTo>
                      <a:pt x="770" y="527"/>
                    </a:lnTo>
                    <a:lnTo>
                      <a:pt x="767" y="520"/>
                    </a:lnTo>
                    <a:lnTo>
                      <a:pt x="767" y="520"/>
                    </a:lnTo>
                    <a:lnTo>
                      <a:pt x="762" y="515"/>
                    </a:lnTo>
                    <a:lnTo>
                      <a:pt x="759" y="515"/>
                    </a:lnTo>
                    <a:lnTo>
                      <a:pt x="756" y="514"/>
                    </a:lnTo>
                    <a:lnTo>
                      <a:pt x="756" y="514"/>
                    </a:lnTo>
                    <a:lnTo>
                      <a:pt x="751" y="518"/>
                    </a:lnTo>
                    <a:lnTo>
                      <a:pt x="749" y="520"/>
                    </a:lnTo>
                    <a:lnTo>
                      <a:pt x="746" y="518"/>
                    </a:lnTo>
                    <a:lnTo>
                      <a:pt x="746" y="518"/>
                    </a:lnTo>
                    <a:lnTo>
                      <a:pt x="740" y="510"/>
                    </a:lnTo>
                    <a:lnTo>
                      <a:pt x="737" y="507"/>
                    </a:lnTo>
                    <a:lnTo>
                      <a:pt x="735" y="502"/>
                    </a:lnTo>
                    <a:lnTo>
                      <a:pt x="735" y="502"/>
                    </a:lnTo>
                    <a:lnTo>
                      <a:pt x="737" y="498"/>
                    </a:lnTo>
                    <a:lnTo>
                      <a:pt x="737" y="495"/>
                    </a:lnTo>
                    <a:lnTo>
                      <a:pt x="737" y="492"/>
                    </a:lnTo>
                    <a:lnTo>
                      <a:pt x="737" y="492"/>
                    </a:lnTo>
                    <a:lnTo>
                      <a:pt x="737" y="485"/>
                    </a:lnTo>
                    <a:lnTo>
                      <a:pt x="740" y="473"/>
                    </a:lnTo>
                    <a:lnTo>
                      <a:pt x="746" y="452"/>
                    </a:lnTo>
                    <a:lnTo>
                      <a:pt x="746" y="452"/>
                    </a:lnTo>
                    <a:lnTo>
                      <a:pt x="749" y="447"/>
                    </a:lnTo>
                    <a:lnTo>
                      <a:pt x="751" y="444"/>
                    </a:lnTo>
                    <a:lnTo>
                      <a:pt x="753" y="440"/>
                    </a:lnTo>
                    <a:lnTo>
                      <a:pt x="753" y="436"/>
                    </a:lnTo>
                    <a:lnTo>
                      <a:pt x="753" y="436"/>
                    </a:lnTo>
                    <a:lnTo>
                      <a:pt x="749" y="427"/>
                    </a:lnTo>
                    <a:lnTo>
                      <a:pt x="746" y="420"/>
                    </a:lnTo>
                    <a:lnTo>
                      <a:pt x="746" y="420"/>
                    </a:lnTo>
                    <a:lnTo>
                      <a:pt x="743" y="410"/>
                    </a:lnTo>
                    <a:lnTo>
                      <a:pt x="743" y="407"/>
                    </a:lnTo>
                    <a:lnTo>
                      <a:pt x="743" y="405"/>
                    </a:lnTo>
                    <a:lnTo>
                      <a:pt x="744" y="404"/>
                    </a:lnTo>
                    <a:lnTo>
                      <a:pt x="744" y="404"/>
                    </a:lnTo>
                    <a:lnTo>
                      <a:pt x="747" y="405"/>
                    </a:lnTo>
                    <a:lnTo>
                      <a:pt x="749" y="407"/>
                    </a:lnTo>
                    <a:lnTo>
                      <a:pt x="750" y="408"/>
                    </a:lnTo>
                    <a:lnTo>
                      <a:pt x="751" y="407"/>
                    </a:lnTo>
                    <a:lnTo>
                      <a:pt x="751" y="407"/>
                    </a:lnTo>
                    <a:lnTo>
                      <a:pt x="751" y="398"/>
                    </a:lnTo>
                    <a:lnTo>
                      <a:pt x="753" y="395"/>
                    </a:lnTo>
                    <a:lnTo>
                      <a:pt x="754" y="395"/>
                    </a:lnTo>
                    <a:lnTo>
                      <a:pt x="754" y="395"/>
                    </a:lnTo>
                    <a:lnTo>
                      <a:pt x="757" y="397"/>
                    </a:lnTo>
                    <a:lnTo>
                      <a:pt x="760" y="399"/>
                    </a:lnTo>
                    <a:lnTo>
                      <a:pt x="763" y="407"/>
                    </a:lnTo>
                    <a:lnTo>
                      <a:pt x="763" y="407"/>
                    </a:lnTo>
                    <a:lnTo>
                      <a:pt x="767" y="408"/>
                    </a:lnTo>
                    <a:lnTo>
                      <a:pt x="772" y="408"/>
                    </a:lnTo>
                    <a:lnTo>
                      <a:pt x="776" y="408"/>
                    </a:lnTo>
                    <a:lnTo>
                      <a:pt x="777" y="408"/>
                    </a:lnTo>
                    <a:lnTo>
                      <a:pt x="776" y="407"/>
                    </a:lnTo>
                    <a:lnTo>
                      <a:pt x="776" y="407"/>
                    </a:lnTo>
                    <a:lnTo>
                      <a:pt x="772" y="402"/>
                    </a:lnTo>
                    <a:lnTo>
                      <a:pt x="769" y="399"/>
                    </a:lnTo>
                    <a:lnTo>
                      <a:pt x="769" y="398"/>
                    </a:lnTo>
                    <a:lnTo>
                      <a:pt x="770" y="397"/>
                    </a:lnTo>
                    <a:lnTo>
                      <a:pt x="770" y="397"/>
                    </a:lnTo>
                    <a:lnTo>
                      <a:pt x="776" y="391"/>
                    </a:lnTo>
                    <a:lnTo>
                      <a:pt x="777" y="386"/>
                    </a:lnTo>
                    <a:lnTo>
                      <a:pt x="777" y="384"/>
                    </a:lnTo>
                    <a:lnTo>
                      <a:pt x="777" y="384"/>
                    </a:lnTo>
                    <a:lnTo>
                      <a:pt x="772" y="378"/>
                    </a:lnTo>
                    <a:lnTo>
                      <a:pt x="770" y="376"/>
                    </a:lnTo>
                    <a:lnTo>
                      <a:pt x="770" y="375"/>
                    </a:lnTo>
                    <a:lnTo>
                      <a:pt x="770" y="375"/>
                    </a:lnTo>
                    <a:lnTo>
                      <a:pt x="770" y="375"/>
                    </a:lnTo>
                    <a:lnTo>
                      <a:pt x="775" y="375"/>
                    </a:lnTo>
                    <a:lnTo>
                      <a:pt x="777" y="376"/>
                    </a:lnTo>
                    <a:lnTo>
                      <a:pt x="785" y="381"/>
                    </a:lnTo>
                    <a:lnTo>
                      <a:pt x="785" y="381"/>
                    </a:lnTo>
                    <a:lnTo>
                      <a:pt x="792" y="385"/>
                    </a:lnTo>
                    <a:lnTo>
                      <a:pt x="795" y="386"/>
                    </a:lnTo>
                    <a:lnTo>
                      <a:pt x="799" y="385"/>
                    </a:lnTo>
                    <a:lnTo>
                      <a:pt x="799" y="385"/>
                    </a:lnTo>
                    <a:lnTo>
                      <a:pt x="802" y="384"/>
                    </a:lnTo>
                    <a:lnTo>
                      <a:pt x="804" y="381"/>
                    </a:lnTo>
                    <a:lnTo>
                      <a:pt x="805" y="378"/>
                    </a:lnTo>
                    <a:lnTo>
                      <a:pt x="805" y="373"/>
                    </a:lnTo>
                    <a:lnTo>
                      <a:pt x="805" y="373"/>
                    </a:lnTo>
                    <a:lnTo>
                      <a:pt x="801" y="368"/>
                    </a:lnTo>
                    <a:lnTo>
                      <a:pt x="795" y="360"/>
                    </a:lnTo>
                    <a:lnTo>
                      <a:pt x="786" y="353"/>
                    </a:lnTo>
                    <a:lnTo>
                      <a:pt x="779" y="347"/>
                    </a:lnTo>
                    <a:lnTo>
                      <a:pt x="779" y="347"/>
                    </a:lnTo>
                    <a:lnTo>
                      <a:pt x="788" y="352"/>
                    </a:lnTo>
                    <a:lnTo>
                      <a:pt x="805" y="360"/>
                    </a:lnTo>
                    <a:lnTo>
                      <a:pt x="805" y="360"/>
                    </a:lnTo>
                    <a:lnTo>
                      <a:pt x="806" y="360"/>
                    </a:lnTo>
                    <a:lnTo>
                      <a:pt x="808" y="360"/>
                    </a:lnTo>
                    <a:lnTo>
                      <a:pt x="809" y="359"/>
                    </a:lnTo>
                    <a:lnTo>
                      <a:pt x="809" y="353"/>
                    </a:lnTo>
                    <a:lnTo>
                      <a:pt x="809" y="349"/>
                    </a:lnTo>
                    <a:lnTo>
                      <a:pt x="809" y="349"/>
                    </a:lnTo>
                    <a:lnTo>
                      <a:pt x="806" y="342"/>
                    </a:lnTo>
                    <a:lnTo>
                      <a:pt x="806" y="340"/>
                    </a:lnTo>
                    <a:lnTo>
                      <a:pt x="811" y="340"/>
                    </a:lnTo>
                    <a:lnTo>
                      <a:pt x="811" y="340"/>
                    </a:lnTo>
                    <a:lnTo>
                      <a:pt x="814" y="340"/>
                    </a:lnTo>
                    <a:lnTo>
                      <a:pt x="817" y="339"/>
                    </a:lnTo>
                    <a:lnTo>
                      <a:pt x="819" y="337"/>
                    </a:lnTo>
                    <a:lnTo>
                      <a:pt x="819" y="334"/>
                    </a:lnTo>
                    <a:lnTo>
                      <a:pt x="819" y="334"/>
                    </a:lnTo>
                    <a:lnTo>
                      <a:pt x="821" y="334"/>
                    </a:lnTo>
                    <a:lnTo>
                      <a:pt x="822" y="336"/>
                    </a:lnTo>
                    <a:lnTo>
                      <a:pt x="827" y="339"/>
                    </a:lnTo>
                    <a:lnTo>
                      <a:pt x="833" y="343"/>
                    </a:lnTo>
                    <a:lnTo>
                      <a:pt x="837" y="344"/>
                    </a:lnTo>
                    <a:lnTo>
                      <a:pt x="837" y="344"/>
                    </a:lnTo>
                    <a:lnTo>
                      <a:pt x="840" y="342"/>
                    </a:lnTo>
                    <a:lnTo>
                      <a:pt x="844" y="339"/>
                    </a:lnTo>
                    <a:lnTo>
                      <a:pt x="847" y="334"/>
                    </a:lnTo>
                    <a:lnTo>
                      <a:pt x="848" y="330"/>
                    </a:lnTo>
                    <a:lnTo>
                      <a:pt x="848" y="330"/>
                    </a:lnTo>
                    <a:lnTo>
                      <a:pt x="848" y="320"/>
                    </a:lnTo>
                    <a:lnTo>
                      <a:pt x="848" y="315"/>
                    </a:lnTo>
                    <a:lnTo>
                      <a:pt x="851" y="311"/>
                    </a:lnTo>
                    <a:lnTo>
                      <a:pt x="851" y="311"/>
                    </a:lnTo>
                    <a:lnTo>
                      <a:pt x="854" y="302"/>
                    </a:lnTo>
                    <a:lnTo>
                      <a:pt x="856" y="298"/>
                    </a:lnTo>
                    <a:lnTo>
                      <a:pt x="854" y="297"/>
                    </a:lnTo>
                    <a:lnTo>
                      <a:pt x="853" y="295"/>
                    </a:lnTo>
                    <a:lnTo>
                      <a:pt x="853" y="295"/>
                    </a:lnTo>
                    <a:lnTo>
                      <a:pt x="843" y="294"/>
                    </a:lnTo>
                    <a:lnTo>
                      <a:pt x="835" y="292"/>
                    </a:lnTo>
                    <a:lnTo>
                      <a:pt x="828" y="289"/>
                    </a:lnTo>
                    <a:lnTo>
                      <a:pt x="828" y="289"/>
                    </a:lnTo>
                    <a:lnTo>
                      <a:pt x="815" y="285"/>
                    </a:lnTo>
                    <a:lnTo>
                      <a:pt x="804" y="282"/>
                    </a:lnTo>
                    <a:lnTo>
                      <a:pt x="804" y="282"/>
                    </a:lnTo>
                    <a:lnTo>
                      <a:pt x="785" y="284"/>
                    </a:lnTo>
                    <a:lnTo>
                      <a:pt x="772" y="284"/>
                    </a:lnTo>
                    <a:lnTo>
                      <a:pt x="767" y="284"/>
                    </a:lnTo>
                    <a:lnTo>
                      <a:pt x="767" y="284"/>
                    </a:lnTo>
                    <a:lnTo>
                      <a:pt x="772" y="281"/>
                    </a:lnTo>
                    <a:lnTo>
                      <a:pt x="777" y="279"/>
                    </a:lnTo>
                    <a:lnTo>
                      <a:pt x="777" y="279"/>
                    </a:lnTo>
                    <a:lnTo>
                      <a:pt x="788" y="278"/>
                    </a:lnTo>
                    <a:lnTo>
                      <a:pt x="793" y="276"/>
                    </a:lnTo>
                    <a:lnTo>
                      <a:pt x="795" y="275"/>
                    </a:lnTo>
                    <a:lnTo>
                      <a:pt x="795" y="275"/>
                    </a:lnTo>
                    <a:lnTo>
                      <a:pt x="792" y="272"/>
                    </a:lnTo>
                    <a:lnTo>
                      <a:pt x="792" y="269"/>
                    </a:lnTo>
                    <a:lnTo>
                      <a:pt x="793" y="268"/>
                    </a:lnTo>
                    <a:lnTo>
                      <a:pt x="793" y="268"/>
                    </a:lnTo>
                    <a:lnTo>
                      <a:pt x="796" y="266"/>
                    </a:lnTo>
                    <a:lnTo>
                      <a:pt x="799" y="268"/>
                    </a:lnTo>
                    <a:lnTo>
                      <a:pt x="809" y="269"/>
                    </a:lnTo>
                    <a:lnTo>
                      <a:pt x="809" y="269"/>
                    </a:lnTo>
                    <a:lnTo>
                      <a:pt x="815" y="272"/>
                    </a:lnTo>
                    <a:lnTo>
                      <a:pt x="822" y="275"/>
                    </a:lnTo>
                    <a:lnTo>
                      <a:pt x="834" y="282"/>
                    </a:lnTo>
                    <a:lnTo>
                      <a:pt x="834" y="282"/>
                    </a:lnTo>
                    <a:lnTo>
                      <a:pt x="846" y="287"/>
                    </a:lnTo>
                    <a:lnTo>
                      <a:pt x="853" y="289"/>
                    </a:lnTo>
                    <a:lnTo>
                      <a:pt x="859" y="289"/>
                    </a:lnTo>
                    <a:lnTo>
                      <a:pt x="859" y="289"/>
                    </a:lnTo>
                    <a:lnTo>
                      <a:pt x="863" y="285"/>
                    </a:lnTo>
                    <a:lnTo>
                      <a:pt x="870" y="276"/>
                    </a:lnTo>
                    <a:lnTo>
                      <a:pt x="879" y="265"/>
                    </a:lnTo>
                    <a:lnTo>
                      <a:pt x="879" y="265"/>
                    </a:lnTo>
                    <a:lnTo>
                      <a:pt x="879" y="263"/>
                    </a:lnTo>
                    <a:lnTo>
                      <a:pt x="877" y="260"/>
                    </a:lnTo>
                    <a:lnTo>
                      <a:pt x="873" y="253"/>
                    </a:lnTo>
                    <a:lnTo>
                      <a:pt x="867" y="246"/>
                    </a:lnTo>
                    <a:lnTo>
                      <a:pt x="866" y="245"/>
                    </a:lnTo>
                    <a:lnTo>
                      <a:pt x="867" y="243"/>
                    </a:lnTo>
                    <a:lnTo>
                      <a:pt x="867" y="243"/>
                    </a:lnTo>
                    <a:lnTo>
                      <a:pt x="869" y="243"/>
                    </a:lnTo>
                    <a:lnTo>
                      <a:pt x="870" y="245"/>
                    </a:lnTo>
                    <a:lnTo>
                      <a:pt x="873" y="245"/>
                    </a:lnTo>
                    <a:lnTo>
                      <a:pt x="876" y="245"/>
                    </a:lnTo>
                    <a:lnTo>
                      <a:pt x="876" y="245"/>
                    </a:lnTo>
                    <a:lnTo>
                      <a:pt x="883" y="242"/>
                    </a:lnTo>
                    <a:lnTo>
                      <a:pt x="886" y="242"/>
                    </a:lnTo>
                    <a:lnTo>
                      <a:pt x="886" y="243"/>
                    </a:lnTo>
                    <a:lnTo>
                      <a:pt x="886" y="243"/>
                    </a:lnTo>
                    <a:lnTo>
                      <a:pt x="889" y="252"/>
                    </a:lnTo>
                    <a:lnTo>
                      <a:pt x="890" y="256"/>
                    </a:lnTo>
                    <a:lnTo>
                      <a:pt x="893" y="259"/>
                    </a:lnTo>
                    <a:lnTo>
                      <a:pt x="893" y="259"/>
                    </a:lnTo>
                    <a:lnTo>
                      <a:pt x="902" y="263"/>
                    </a:lnTo>
                    <a:lnTo>
                      <a:pt x="905" y="263"/>
                    </a:lnTo>
                    <a:lnTo>
                      <a:pt x="906" y="262"/>
                    </a:lnTo>
                    <a:lnTo>
                      <a:pt x="905" y="260"/>
                    </a:lnTo>
                    <a:lnTo>
                      <a:pt x="905" y="260"/>
                    </a:lnTo>
                    <a:lnTo>
                      <a:pt x="901" y="253"/>
                    </a:lnTo>
                    <a:lnTo>
                      <a:pt x="899" y="250"/>
                    </a:lnTo>
                    <a:lnTo>
                      <a:pt x="901" y="249"/>
                    </a:lnTo>
                    <a:lnTo>
                      <a:pt x="901" y="249"/>
                    </a:lnTo>
                    <a:lnTo>
                      <a:pt x="902" y="249"/>
                    </a:lnTo>
                    <a:lnTo>
                      <a:pt x="903" y="247"/>
                    </a:lnTo>
                    <a:lnTo>
                      <a:pt x="903" y="243"/>
                    </a:lnTo>
                    <a:lnTo>
                      <a:pt x="903" y="243"/>
                    </a:lnTo>
                    <a:lnTo>
                      <a:pt x="905" y="240"/>
                    </a:lnTo>
                    <a:lnTo>
                      <a:pt x="905" y="240"/>
                    </a:lnTo>
                    <a:lnTo>
                      <a:pt x="905" y="239"/>
                    </a:lnTo>
                    <a:lnTo>
                      <a:pt x="903" y="236"/>
                    </a:lnTo>
                    <a:lnTo>
                      <a:pt x="903" y="236"/>
                    </a:lnTo>
                    <a:lnTo>
                      <a:pt x="893" y="229"/>
                    </a:lnTo>
                    <a:lnTo>
                      <a:pt x="890" y="226"/>
                    </a:lnTo>
                    <a:lnTo>
                      <a:pt x="889" y="224"/>
                    </a:lnTo>
                    <a:lnTo>
                      <a:pt x="889" y="224"/>
                    </a:lnTo>
                    <a:lnTo>
                      <a:pt x="892" y="223"/>
                    </a:lnTo>
                    <a:lnTo>
                      <a:pt x="895" y="223"/>
                    </a:lnTo>
                    <a:lnTo>
                      <a:pt x="898" y="223"/>
                    </a:lnTo>
                    <a:lnTo>
                      <a:pt x="902" y="224"/>
                    </a:lnTo>
                    <a:lnTo>
                      <a:pt x="902" y="224"/>
                    </a:lnTo>
                    <a:lnTo>
                      <a:pt x="906" y="229"/>
                    </a:lnTo>
                    <a:lnTo>
                      <a:pt x="909" y="233"/>
                    </a:lnTo>
                    <a:lnTo>
                      <a:pt x="909" y="233"/>
                    </a:lnTo>
                    <a:lnTo>
                      <a:pt x="914" y="242"/>
                    </a:lnTo>
                    <a:lnTo>
                      <a:pt x="917" y="249"/>
                    </a:lnTo>
                    <a:lnTo>
                      <a:pt x="917" y="249"/>
                    </a:lnTo>
                    <a:lnTo>
                      <a:pt x="918" y="253"/>
                    </a:lnTo>
                    <a:lnTo>
                      <a:pt x="919" y="255"/>
                    </a:lnTo>
                    <a:lnTo>
                      <a:pt x="921" y="256"/>
                    </a:lnTo>
                    <a:lnTo>
                      <a:pt x="921" y="256"/>
                    </a:lnTo>
                    <a:lnTo>
                      <a:pt x="922" y="253"/>
                    </a:lnTo>
                    <a:lnTo>
                      <a:pt x="924" y="252"/>
                    </a:lnTo>
                    <a:lnTo>
                      <a:pt x="924" y="249"/>
                    </a:lnTo>
                    <a:lnTo>
                      <a:pt x="927" y="246"/>
                    </a:lnTo>
                    <a:lnTo>
                      <a:pt x="927" y="246"/>
                    </a:lnTo>
                    <a:lnTo>
                      <a:pt x="934" y="242"/>
                    </a:lnTo>
                    <a:lnTo>
                      <a:pt x="943" y="236"/>
                    </a:lnTo>
                    <a:lnTo>
                      <a:pt x="943" y="236"/>
                    </a:lnTo>
                    <a:lnTo>
                      <a:pt x="945" y="231"/>
                    </a:lnTo>
                    <a:lnTo>
                      <a:pt x="947" y="230"/>
                    </a:lnTo>
                    <a:lnTo>
                      <a:pt x="951" y="229"/>
                    </a:lnTo>
                    <a:lnTo>
                      <a:pt x="951" y="229"/>
                    </a:lnTo>
                    <a:lnTo>
                      <a:pt x="954" y="227"/>
                    </a:lnTo>
                    <a:lnTo>
                      <a:pt x="957" y="226"/>
                    </a:lnTo>
                    <a:lnTo>
                      <a:pt x="959" y="223"/>
                    </a:lnTo>
                    <a:lnTo>
                      <a:pt x="959" y="221"/>
                    </a:lnTo>
                    <a:lnTo>
                      <a:pt x="959" y="221"/>
                    </a:lnTo>
                    <a:lnTo>
                      <a:pt x="957" y="210"/>
                    </a:lnTo>
                    <a:lnTo>
                      <a:pt x="956" y="201"/>
                    </a:lnTo>
                    <a:lnTo>
                      <a:pt x="954" y="197"/>
                    </a:lnTo>
                    <a:lnTo>
                      <a:pt x="954" y="197"/>
                    </a:lnTo>
                    <a:lnTo>
                      <a:pt x="950" y="189"/>
                    </a:lnTo>
                    <a:lnTo>
                      <a:pt x="947" y="185"/>
                    </a:lnTo>
                    <a:lnTo>
                      <a:pt x="947" y="181"/>
                    </a:lnTo>
                    <a:lnTo>
                      <a:pt x="947" y="181"/>
                    </a:lnTo>
                    <a:lnTo>
                      <a:pt x="945" y="172"/>
                    </a:lnTo>
                    <a:lnTo>
                      <a:pt x="944" y="165"/>
                    </a:lnTo>
                    <a:lnTo>
                      <a:pt x="944" y="165"/>
                    </a:lnTo>
                    <a:lnTo>
                      <a:pt x="941" y="161"/>
                    </a:lnTo>
                    <a:lnTo>
                      <a:pt x="941" y="158"/>
                    </a:lnTo>
                    <a:lnTo>
                      <a:pt x="944" y="158"/>
                    </a:lnTo>
                    <a:lnTo>
                      <a:pt x="944" y="158"/>
                    </a:lnTo>
                    <a:lnTo>
                      <a:pt x="954" y="158"/>
                    </a:lnTo>
                    <a:lnTo>
                      <a:pt x="959" y="158"/>
                    </a:lnTo>
                    <a:lnTo>
                      <a:pt x="960" y="156"/>
                    </a:lnTo>
                    <a:lnTo>
                      <a:pt x="960" y="155"/>
                    </a:lnTo>
                    <a:lnTo>
                      <a:pt x="960" y="155"/>
                    </a:lnTo>
                    <a:lnTo>
                      <a:pt x="961" y="147"/>
                    </a:lnTo>
                    <a:lnTo>
                      <a:pt x="960" y="145"/>
                    </a:lnTo>
                    <a:lnTo>
                      <a:pt x="959" y="143"/>
                    </a:lnTo>
                    <a:lnTo>
                      <a:pt x="959" y="143"/>
                    </a:lnTo>
                    <a:lnTo>
                      <a:pt x="956" y="140"/>
                    </a:lnTo>
                    <a:lnTo>
                      <a:pt x="956" y="139"/>
                    </a:lnTo>
                    <a:lnTo>
                      <a:pt x="957" y="137"/>
                    </a:lnTo>
                    <a:lnTo>
                      <a:pt x="957" y="137"/>
                    </a:lnTo>
                    <a:lnTo>
                      <a:pt x="959" y="134"/>
                    </a:lnTo>
                    <a:lnTo>
                      <a:pt x="960" y="133"/>
                    </a:lnTo>
                    <a:lnTo>
                      <a:pt x="959" y="132"/>
                    </a:lnTo>
                    <a:lnTo>
                      <a:pt x="957" y="130"/>
                    </a:lnTo>
                    <a:lnTo>
                      <a:pt x="957" y="130"/>
                    </a:lnTo>
                    <a:lnTo>
                      <a:pt x="951" y="133"/>
                    </a:lnTo>
                    <a:lnTo>
                      <a:pt x="948" y="133"/>
                    </a:lnTo>
                    <a:lnTo>
                      <a:pt x="945" y="133"/>
                    </a:lnTo>
                    <a:lnTo>
                      <a:pt x="945" y="133"/>
                    </a:lnTo>
                    <a:lnTo>
                      <a:pt x="944" y="127"/>
                    </a:lnTo>
                    <a:lnTo>
                      <a:pt x="943" y="126"/>
                    </a:lnTo>
                    <a:lnTo>
                      <a:pt x="944" y="124"/>
                    </a:lnTo>
                    <a:lnTo>
                      <a:pt x="944" y="124"/>
                    </a:lnTo>
                    <a:lnTo>
                      <a:pt x="944" y="123"/>
                    </a:lnTo>
                    <a:lnTo>
                      <a:pt x="943" y="121"/>
                    </a:lnTo>
                    <a:lnTo>
                      <a:pt x="940" y="120"/>
                    </a:lnTo>
                    <a:lnTo>
                      <a:pt x="940" y="117"/>
                    </a:lnTo>
                    <a:lnTo>
                      <a:pt x="940" y="117"/>
                    </a:lnTo>
                    <a:lnTo>
                      <a:pt x="943" y="111"/>
                    </a:lnTo>
                    <a:lnTo>
                      <a:pt x="944" y="110"/>
                    </a:lnTo>
                    <a:lnTo>
                      <a:pt x="943" y="108"/>
                    </a:lnTo>
                    <a:lnTo>
                      <a:pt x="943" y="108"/>
                    </a:lnTo>
                    <a:lnTo>
                      <a:pt x="934" y="105"/>
                    </a:lnTo>
                    <a:lnTo>
                      <a:pt x="931" y="105"/>
                    </a:lnTo>
                    <a:lnTo>
                      <a:pt x="930" y="105"/>
                    </a:lnTo>
                    <a:lnTo>
                      <a:pt x="930" y="105"/>
                    </a:lnTo>
                    <a:lnTo>
                      <a:pt x="928" y="107"/>
                    </a:lnTo>
                    <a:lnTo>
                      <a:pt x="925" y="108"/>
                    </a:lnTo>
                    <a:lnTo>
                      <a:pt x="922" y="110"/>
                    </a:lnTo>
                    <a:lnTo>
                      <a:pt x="919" y="108"/>
                    </a:lnTo>
                    <a:lnTo>
                      <a:pt x="919" y="108"/>
                    </a:lnTo>
                    <a:lnTo>
                      <a:pt x="915" y="104"/>
                    </a:lnTo>
                    <a:lnTo>
                      <a:pt x="912" y="103"/>
                    </a:lnTo>
                    <a:lnTo>
                      <a:pt x="909" y="101"/>
                    </a:lnTo>
                    <a:lnTo>
                      <a:pt x="909" y="101"/>
                    </a:lnTo>
                    <a:lnTo>
                      <a:pt x="902" y="103"/>
                    </a:lnTo>
                    <a:lnTo>
                      <a:pt x="898" y="103"/>
                    </a:lnTo>
                    <a:lnTo>
                      <a:pt x="895" y="103"/>
                    </a:lnTo>
                    <a:lnTo>
                      <a:pt x="895" y="103"/>
                    </a:lnTo>
                    <a:lnTo>
                      <a:pt x="892" y="101"/>
                    </a:lnTo>
                    <a:lnTo>
                      <a:pt x="890" y="101"/>
                    </a:lnTo>
                    <a:lnTo>
                      <a:pt x="890" y="103"/>
                    </a:lnTo>
                    <a:lnTo>
                      <a:pt x="890" y="103"/>
                    </a:lnTo>
                    <a:lnTo>
                      <a:pt x="892" y="107"/>
                    </a:lnTo>
                    <a:lnTo>
                      <a:pt x="892" y="108"/>
                    </a:lnTo>
                    <a:lnTo>
                      <a:pt x="892" y="110"/>
                    </a:lnTo>
                    <a:lnTo>
                      <a:pt x="892" y="110"/>
                    </a:lnTo>
                    <a:lnTo>
                      <a:pt x="890" y="111"/>
                    </a:lnTo>
                    <a:lnTo>
                      <a:pt x="890" y="114"/>
                    </a:lnTo>
                    <a:lnTo>
                      <a:pt x="893" y="123"/>
                    </a:lnTo>
                    <a:lnTo>
                      <a:pt x="893" y="123"/>
                    </a:lnTo>
                    <a:lnTo>
                      <a:pt x="893" y="126"/>
                    </a:lnTo>
                    <a:lnTo>
                      <a:pt x="893" y="129"/>
                    </a:lnTo>
                    <a:lnTo>
                      <a:pt x="893" y="130"/>
                    </a:lnTo>
                    <a:lnTo>
                      <a:pt x="895" y="132"/>
                    </a:lnTo>
                    <a:lnTo>
                      <a:pt x="895" y="132"/>
                    </a:lnTo>
                    <a:lnTo>
                      <a:pt x="901" y="134"/>
                    </a:lnTo>
                    <a:lnTo>
                      <a:pt x="903" y="137"/>
                    </a:lnTo>
                    <a:lnTo>
                      <a:pt x="903" y="139"/>
                    </a:lnTo>
                    <a:lnTo>
                      <a:pt x="903" y="139"/>
                    </a:lnTo>
                    <a:lnTo>
                      <a:pt x="903" y="139"/>
                    </a:lnTo>
                    <a:lnTo>
                      <a:pt x="906" y="142"/>
                    </a:lnTo>
                    <a:lnTo>
                      <a:pt x="908" y="143"/>
                    </a:lnTo>
                    <a:lnTo>
                      <a:pt x="909" y="143"/>
                    </a:lnTo>
                    <a:lnTo>
                      <a:pt x="908" y="145"/>
                    </a:lnTo>
                    <a:lnTo>
                      <a:pt x="908" y="145"/>
                    </a:lnTo>
                    <a:lnTo>
                      <a:pt x="905" y="147"/>
                    </a:lnTo>
                    <a:lnTo>
                      <a:pt x="902" y="149"/>
                    </a:lnTo>
                    <a:lnTo>
                      <a:pt x="899" y="149"/>
                    </a:lnTo>
                    <a:lnTo>
                      <a:pt x="899" y="149"/>
                    </a:lnTo>
                    <a:lnTo>
                      <a:pt x="893" y="146"/>
                    </a:lnTo>
                    <a:lnTo>
                      <a:pt x="892" y="147"/>
                    </a:lnTo>
                    <a:lnTo>
                      <a:pt x="892" y="147"/>
                    </a:lnTo>
                    <a:lnTo>
                      <a:pt x="892" y="147"/>
                    </a:lnTo>
                    <a:lnTo>
                      <a:pt x="890" y="153"/>
                    </a:lnTo>
                    <a:lnTo>
                      <a:pt x="889" y="162"/>
                    </a:lnTo>
                    <a:lnTo>
                      <a:pt x="888" y="171"/>
                    </a:lnTo>
                    <a:lnTo>
                      <a:pt x="885" y="176"/>
                    </a:lnTo>
                    <a:lnTo>
                      <a:pt x="885" y="176"/>
                    </a:lnTo>
                    <a:lnTo>
                      <a:pt x="883" y="181"/>
                    </a:lnTo>
                    <a:lnTo>
                      <a:pt x="882" y="185"/>
                    </a:lnTo>
                    <a:lnTo>
                      <a:pt x="880" y="189"/>
                    </a:lnTo>
                    <a:lnTo>
                      <a:pt x="879" y="191"/>
                    </a:lnTo>
                    <a:lnTo>
                      <a:pt x="877" y="191"/>
                    </a:lnTo>
                    <a:lnTo>
                      <a:pt x="877" y="191"/>
                    </a:lnTo>
                    <a:lnTo>
                      <a:pt x="875" y="188"/>
                    </a:lnTo>
                    <a:lnTo>
                      <a:pt x="873" y="187"/>
                    </a:lnTo>
                    <a:lnTo>
                      <a:pt x="873" y="185"/>
                    </a:lnTo>
                    <a:lnTo>
                      <a:pt x="872" y="188"/>
                    </a:lnTo>
                    <a:lnTo>
                      <a:pt x="872" y="188"/>
                    </a:lnTo>
                    <a:lnTo>
                      <a:pt x="873" y="192"/>
                    </a:lnTo>
                    <a:lnTo>
                      <a:pt x="876" y="198"/>
                    </a:lnTo>
                    <a:lnTo>
                      <a:pt x="877" y="203"/>
                    </a:lnTo>
                    <a:lnTo>
                      <a:pt x="877" y="204"/>
                    </a:lnTo>
                    <a:lnTo>
                      <a:pt x="876" y="205"/>
                    </a:lnTo>
                    <a:lnTo>
                      <a:pt x="876" y="205"/>
                    </a:lnTo>
                    <a:lnTo>
                      <a:pt x="873" y="207"/>
                    </a:lnTo>
                    <a:lnTo>
                      <a:pt x="870" y="210"/>
                    </a:lnTo>
                    <a:lnTo>
                      <a:pt x="867" y="213"/>
                    </a:lnTo>
                    <a:lnTo>
                      <a:pt x="864" y="213"/>
                    </a:lnTo>
                    <a:lnTo>
                      <a:pt x="864" y="213"/>
                    </a:lnTo>
                    <a:lnTo>
                      <a:pt x="860" y="211"/>
                    </a:lnTo>
                    <a:lnTo>
                      <a:pt x="857" y="210"/>
                    </a:lnTo>
                    <a:lnTo>
                      <a:pt x="854" y="205"/>
                    </a:lnTo>
                    <a:lnTo>
                      <a:pt x="854" y="205"/>
                    </a:lnTo>
                    <a:lnTo>
                      <a:pt x="851" y="198"/>
                    </a:lnTo>
                    <a:lnTo>
                      <a:pt x="846" y="191"/>
                    </a:lnTo>
                    <a:lnTo>
                      <a:pt x="846" y="191"/>
                    </a:lnTo>
                    <a:lnTo>
                      <a:pt x="846" y="187"/>
                    </a:lnTo>
                    <a:lnTo>
                      <a:pt x="844" y="181"/>
                    </a:lnTo>
                    <a:lnTo>
                      <a:pt x="844" y="171"/>
                    </a:lnTo>
                    <a:lnTo>
                      <a:pt x="844" y="171"/>
                    </a:lnTo>
                    <a:lnTo>
                      <a:pt x="844" y="168"/>
                    </a:lnTo>
                    <a:lnTo>
                      <a:pt x="846" y="166"/>
                    </a:lnTo>
                    <a:lnTo>
                      <a:pt x="847" y="166"/>
                    </a:lnTo>
                    <a:lnTo>
                      <a:pt x="848" y="166"/>
                    </a:lnTo>
                    <a:lnTo>
                      <a:pt x="848" y="166"/>
                    </a:lnTo>
                    <a:lnTo>
                      <a:pt x="850" y="168"/>
                    </a:lnTo>
                    <a:lnTo>
                      <a:pt x="851" y="166"/>
                    </a:lnTo>
                    <a:lnTo>
                      <a:pt x="851" y="158"/>
                    </a:lnTo>
                    <a:lnTo>
                      <a:pt x="851" y="158"/>
                    </a:lnTo>
                    <a:lnTo>
                      <a:pt x="853" y="152"/>
                    </a:lnTo>
                    <a:lnTo>
                      <a:pt x="853" y="149"/>
                    </a:lnTo>
                    <a:lnTo>
                      <a:pt x="853" y="145"/>
                    </a:lnTo>
                    <a:lnTo>
                      <a:pt x="851" y="142"/>
                    </a:lnTo>
                    <a:lnTo>
                      <a:pt x="851" y="142"/>
                    </a:lnTo>
                    <a:lnTo>
                      <a:pt x="846" y="136"/>
                    </a:lnTo>
                    <a:lnTo>
                      <a:pt x="841" y="130"/>
                    </a:lnTo>
                    <a:lnTo>
                      <a:pt x="841" y="130"/>
                    </a:lnTo>
                    <a:lnTo>
                      <a:pt x="838" y="129"/>
                    </a:lnTo>
                    <a:lnTo>
                      <a:pt x="834" y="127"/>
                    </a:lnTo>
                    <a:lnTo>
                      <a:pt x="830" y="127"/>
                    </a:lnTo>
                    <a:lnTo>
                      <a:pt x="828" y="129"/>
                    </a:lnTo>
                    <a:lnTo>
                      <a:pt x="828" y="129"/>
                    </a:lnTo>
                    <a:lnTo>
                      <a:pt x="824" y="132"/>
                    </a:lnTo>
                    <a:lnTo>
                      <a:pt x="822" y="134"/>
                    </a:lnTo>
                    <a:lnTo>
                      <a:pt x="822" y="137"/>
                    </a:lnTo>
                    <a:lnTo>
                      <a:pt x="822" y="137"/>
                    </a:lnTo>
                    <a:lnTo>
                      <a:pt x="824" y="142"/>
                    </a:lnTo>
                    <a:lnTo>
                      <a:pt x="824" y="147"/>
                    </a:lnTo>
                    <a:lnTo>
                      <a:pt x="822" y="152"/>
                    </a:lnTo>
                    <a:lnTo>
                      <a:pt x="821" y="155"/>
                    </a:lnTo>
                    <a:lnTo>
                      <a:pt x="821" y="155"/>
                    </a:lnTo>
                    <a:lnTo>
                      <a:pt x="819" y="158"/>
                    </a:lnTo>
                    <a:lnTo>
                      <a:pt x="817" y="162"/>
                    </a:lnTo>
                    <a:lnTo>
                      <a:pt x="814" y="166"/>
                    </a:lnTo>
                    <a:lnTo>
                      <a:pt x="811" y="168"/>
                    </a:lnTo>
                    <a:lnTo>
                      <a:pt x="811" y="168"/>
                    </a:lnTo>
                    <a:lnTo>
                      <a:pt x="808" y="166"/>
                    </a:lnTo>
                    <a:lnTo>
                      <a:pt x="806" y="163"/>
                    </a:lnTo>
                    <a:lnTo>
                      <a:pt x="804" y="155"/>
                    </a:lnTo>
                    <a:lnTo>
                      <a:pt x="804" y="155"/>
                    </a:lnTo>
                    <a:lnTo>
                      <a:pt x="805" y="143"/>
                    </a:lnTo>
                    <a:lnTo>
                      <a:pt x="804" y="137"/>
                    </a:lnTo>
                    <a:lnTo>
                      <a:pt x="802" y="133"/>
                    </a:lnTo>
                    <a:lnTo>
                      <a:pt x="802" y="133"/>
                    </a:lnTo>
                    <a:lnTo>
                      <a:pt x="796" y="129"/>
                    </a:lnTo>
                    <a:lnTo>
                      <a:pt x="793" y="127"/>
                    </a:lnTo>
                    <a:lnTo>
                      <a:pt x="793" y="126"/>
                    </a:lnTo>
                    <a:lnTo>
                      <a:pt x="793" y="126"/>
                    </a:lnTo>
                    <a:lnTo>
                      <a:pt x="799" y="126"/>
                    </a:lnTo>
                    <a:lnTo>
                      <a:pt x="802" y="126"/>
                    </a:lnTo>
                    <a:lnTo>
                      <a:pt x="801" y="124"/>
                    </a:lnTo>
                    <a:lnTo>
                      <a:pt x="801" y="124"/>
                    </a:lnTo>
                    <a:lnTo>
                      <a:pt x="799" y="123"/>
                    </a:lnTo>
                    <a:lnTo>
                      <a:pt x="796" y="121"/>
                    </a:lnTo>
                    <a:lnTo>
                      <a:pt x="789" y="117"/>
                    </a:lnTo>
                    <a:lnTo>
                      <a:pt x="789" y="117"/>
                    </a:lnTo>
                    <a:lnTo>
                      <a:pt x="786" y="116"/>
                    </a:lnTo>
                    <a:lnTo>
                      <a:pt x="786" y="113"/>
                    </a:lnTo>
                    <a:lnTo>
                      <a:pt x="785" y="110"/>
                    </a:lnTo>
                    <a:lnTo>
                      <a:pt x="782" y="108"/>
                    </a:lnTo>
                    <a:lnTo>
                      <a:pt x="782" y="108"/>
                    </a:lnTo>
                    <a:lnTo>
                      <a:pt x="775" y="104"/>
                    </a:lnTo>
                    <a:lnTo>
                      <a:pt x="773" y="103"/>
                    </a:lnTo>
                    <a:lnTo>
                      <a:pt x="773" y="100"/>
                    </a:lnTo>
                    <a:lnTo>
                      <a:pt x="773" y="100"/>
                    </a:lnTo>
                    <a:lnTo>
                      <a:pt x="776" y="98"/>
                    </a:lnTo>
                    <a:lnTo>
                      <a:pt x="779" y="98"/>
                    </a:lnTo>
                    <a:lnTo>
                      <a:pt x="782" y="97"/>
                    </a:lnTo>
                    <a:lnTo>
                      <a:pt x="786" y="94"/>
                    </a:lnTo>
                    <a:lnTo>
                      <a:pt x="786" y="94"/>
                    </a:lnTo>
                    <a:lnTo>
                      <a:pt x="788" y="91"/>
                    </a:lnTo>
                    <a:lnTo>
                      <a:pt x="789" y="88"/>
                    </a:lnTo>
                    <a:lnTo>
                      <a:pt x="789" y="87"/>
                    </a:lnTo>
                    <a:lnTo>
                      <a:pt x="788" y="87"/>
                    </a:lnTo>
                    <a:lnTo>
                      <a:pt x="788" y="87"/>
                    </a:lnTo>
                    <a:lnTo>
                      <a:pt x="786" y="88"/>
                    </a:lnTo>
                    <a:lnTo>
                      <a:pt x="785" y="88"/>
                    </a:lnTo>
                    <a:lnTo>
                      <a:pt x="780" y="88"/>
                    </a:lnTo>
                    <a:lnTo>
                      <a:pt x="780" y="88"/>
                    </a:lnTo>
                    <a:lnTo>
                      <a:pt x="775" y="87"/>
                    </a:lnTo>
                    <a:lnTo>
                      <a:pt x="775" y="85"/>
                    </a:lnTo>
                    <a:lnTo>
                      <a:pt x="776" y="85"/>
                    </a:lnTo>
                    <a:lnTo>
                      <a:pt x="776" y="85"/>
                    </a:lnTo>
                    <a:lnTo>
                      <a:pt x="785" y="84"/>
                    </a:lnTo>
                    <a:lnTo>
                      <a:pt x="788" y="82"/>
                    </a:lnTo>
                    <a:lnTo>
                      <a:pt x="788" y="79"/>
                    </a:lnTo>
                    <a:lnTo>
                      <a:pt x="788" y="79"/>
                    </a:lnTo>
                    <a:lnTo>
                      <a:pt x="785" y="69"/>
                    </a:lnTo>
                    <a:lnTo>
                      <a:pt x="780" y="63"/>
                    </a:lnTo>
                    <a:lnTo>
                      <a:pt x="776" y="58"/>
                    </a:lnTo>
                    <a:lnTo>
                      <a:pt x="776" y="58"/>
                    </a:lnTo>
                    <a:lnTo>
                      <a:pt x="767" y="48"/>
                    </a:lnTo>
                    <a:lnTo>
                      <a:pt x="764" y="43"/>
                    </a:lnTo>
                    <a:lnTo>
                      <a:pt x="763" y="39"/>
                    </a:lnTo>
                    <a:lnTo>
                      <a:pt x="763" y="39"/>
                    </a:lnTo>
                    <a:lnTo>
                      <a:pt x="759" y="30"/>
                    </a:lnTo>
                    <a:lnTo>
                      <a:pt x="759" y="26"/>
                    </a:lnTo>
                    <a:lnTo>
                      <a:pt x="759" y="21"/>
                    </a:lnTo>
                    <a:lnTo>
                      <a:pt x="759" y="21"/>
                    </a:lnTo>
                    <a:lnTo>
                      <a:pt x="757" y="17"/>
                    </a:lnTo>
                    <a:lnTo>
                      <a:pt x="754" y="10"/>
                    </a:lnTo>
                    <a:lnTo>
                      <a:pt x="749" y="3"/>
                    </a:lnTo>
                    <a:lnTo>
                      <a:pt x="746" y="1"/>
                    </a:lnTo>
                    <a:lnTo>
                      <a:pt x="743" y="0"/>
                    </a:lnTo>
                    <a:lnTo>
                      <a:pt x="743" y="0"/>
                    </a:lnTo>
                    <a:lnTo>
                      <a:pt x="734" y="0"/>
                    </a:lnTo>
                    <a:lnTo>
                      <a:pt x="730" y="1"/>
                    </a:lnTo>
                    <a:lnTo>
                      <a:pt x="728" y="3"/>
                    </a:lnTo>
                    <a:lnTo>
                      <a:pt x="728" y="6"/>
                    </a:lnTo>
                    <a:lnTo>
                      <a:pt x="728" y="6"/>
                    </a:lnTo>
                    <a:lnTo>
                      <a:pt x="728" y="10"/>
                    </a:lnTo>
                    <a:lnTo>
                      <a:pt x="730" y="14"/>
                    </a:lnTo>
                    <a:lnTo>
                      <a:pt x="733" y="19"/>
                    </a:lnTo>
                    <a:lnTo>
                      <a:pt x="733" y="21"/>
                    </a:lnTo>
                    <a:lnTo>
                      <a:pt x="733" y="21"/>
                    </a:lnTo>
                    <a:lnTo>
                      <a:pt x="731" y="26"/>
                    </a:lnTo>
                    <a:lnTo>
                      <a:pt x="730" y="27"/>
                    </a:lnTo>
                    <a:lnTo>
                      <a:pt x="728" y="26"/>
                    </a:lnTo>
                    <a:lnTo>
                      <a:pt x="728" y="26"/>
                    </a:lnTo>
                    <a:lnTo>
                      <a:pt x="724" y="23"/>
                    </a:lnTo>
                    <a:lnTo>
                      <a:pt x="722" y="23"/>
                    </a:lnTo>
                    <a:lnTo>
                      <a:pt x="721" y="23"/>
                    </a:lnTo>
                    <a:lnTo>
                      <a:pt x="721" y="23"/>
                    </a:lnTo>
                    <a:lnTo>
                      <a:pt x="718" y="26"/>
                    </a:lnTo>
                    <a:lnTo>
                      <a:pt x="717" y="27"/>
                    </a:lnTo>
                    <a:lnTo>
                      <a:pt x="715" y="29"/>
                    </a:lnTo>
                    <a:lnTo>
                      <a:pt x="715" y="29"/>
                    </a:lnTo>
                    <a:lnTo>
                      <a:pt x="712" y="39"/>
                    </a:lnTo>
                    <a:lnTo>
                      <a:pt x="708" y="50"/>
                    </a:lnTo>
                    <a:lnTo>
                      <a:pt x="708" y="50"/>
                    </a:lnTo>
                    <a:lnTo>
                      <a:pt x="707" y="63"/>
                    </a:lnTo>
                    <a:lnTo>
                      <a:pt x="708" y="78"/>
                    </a:lnTo>
                    <a:lnTo>
                      <a:pt x="708" y="78"/>
                    </a:lnTo>
                    <a:lnTo>
                      <a:pt x="709" y="85"/>
                    </a:lnTo>
                    <a:lnTo>
                      <a:pt x="711" y="90"/>
                    </a:lnTo>
                    <a:lnTo>
                      <a:pt x="714" y="91"/>
                    </a:lnTo>
                    <a:lnTo>
                      <a:pt x="718" y="91"/>
                    </a:lnTo>
                    <a:lnTo>
                      <a:pt x="718" y="91"/>
                    </a:lnTo>
                    <a:lnTo>
                      <a:pt x="720" y="92"/>
                    </a:lnTo>
                    <a:lnTo>
                      <a:pt x="721" y="95"/>
                    </a:lnTo>
                    <a:lnTo>
                      <a:pt x="722" y="97"/>
                    </a:lnTo>
                    <a:lnTo>
                      <a:pt x="725" y="98"/>
                    </a:lnTo>
                    <a:lnTo>
                      <a:pt x="725" y="98"/>
                    </a:lnTo>
                    <a:lnTo>
                      <a:pt x="727" y="100"/>
                    </a:lnTo>
                    <a:lnTo>
                      <a:pt x="728" y="101"/>
                    </a:lnTo>
                    <a:lnTo>
                      <a:pt x="731" y="104"/>
                    </a:lnTo>
                    <a:lnTo>
                      <a:pt x="734" y="108"/>
                    </a:lnTo>
                    <a:lnTo>
                      <a:pt x="737" y="110"/>
                    </a:lnTo>
                    <a:lnTo>
                      <a:pt x="737" y="110"/>
                    </a:lnTo>
                    <a:lnTo>
                      <a:pt x="743" y="108"/>
                    </a:lnTo>
                    <a:lnTo>
                      <a:pt x="744" y="108"/>
                    </a:lnTo>
                    <a:lnTo>
                      <a:pt x="747" y="110"/>
                    </a:lnTo>
                    <a:lnTo>
                      <a:pt x="747" y="110"/>
                    </a:lnTo>
                    <a:lnTo>
                      <a:pt x="751" y="111"/>
                    </a:lnTo>
                    <a:lnTo>
                      <a:pt x="757" y="111"/>
                    </a:lnTo>
                    <a:lnTo>
                      <a:pt x="762" y="113"/>
                    </a:lnTo>
                    <a:lnTo>
                      <a:pt x="762" y="113"/>
                    </a:lnTo>
                    <a:lnTo>
                      <a:pt x="762" y="114"/>
                    </a:lnTo>
                    <a:lnTo>
                      <a:pt x="762" y="114"/>
                    </a:lnTo>
                    <a:lnTo>
                      <a:pt x="757" y="116"/>
                    </a:lnTo>
                    <a:lnTo>
                      <a:pt x="754" y="116"/>
                    </a:lnTo>
                    <a:lnTo>
                      <a:pt x="751" y="117"/>
                    </a:lnTo>
                    <a:lnTo>
                      <a:pt x="749" y="120"/>
                    </a:lnTo>
                    <a:lnTo>
                      <a:pt x="749" y="120"/>
                    </a:lnTo>
                    <a:lnTo>
                      <a:pt x="746" y="132"/>
                    </a:lnTo>
                    <a:lnTo>
                      <a:pt x="741" y="139"/>
                    </a:lnTo>
                    <a:lnTo>
                      <a:pt x="741" y="139"/>
                    </a:lnTo>
                    <a:lnTo>
                      <a:pt x="740" y="143"/>
                    </a:lnTo>
                    <a:lnTo>
                      <a:pt x="740" y="146"/>
                    </a:lnTo>
                    <a:lnTo>
                      <a:pt x="740" y="147"/>
                    </a:lnTo>
                    <a:lnTo>
                      <a:pt x="741" y="147"/>
                    </a:lnTo>
                    <a:lnTo>
                      <a:pt x="741" y="147"/>
                    </a:lnTo>
                    <a:lnTo>
                      <a:pt x="749" y="143"/>
                    </a:lnTo>
                    <a:lnTo>
                      <a:pt x="753" y="140"/>
                    </a:lnTo>
                    <a:lnTo>
                      <a:pt x="754" y="140"/>
                    </a:lnTo>
                    <a:lnTo>
                      <a:pt x="754" y="140"/>
                    </a:lnTo>
                    <a:lnTo>
                      <a:pt x="754" y="140"/>
                    </a:lnTo>
                    <a:lnTo>
                      <a:pt x="754" y="146"/>
                    </a:lnTo>
                    <a:lnTo>
                      <a:pt x="754" y="150"/>
                    </a:lnTo>
                    <a:lnTo>
                      <a:pt x="756" y="153"/>
                    </a:lnTo>
                    <a:lnTo>
                      <a:pt x="756" y="153"/>
                    </a:lnTo>
                    <a:lnTo>
                      <a:pt x="757" y="155"/>
                    </a:lnTo>
                    <a:lnTo>
                      <a:pt x="757" y="156"/>
                    </a:lnTo>
                    <a:lnTo>
                      <a:pt x="757" y="159"/>
                    </a:lnTo>
                    <a:lnTo>
                      <a:pt x="756" y="159"/>
                    </a:lnTo>
                    <a:lnTo>
                      <a:pt x="756" y="159"/>
                    </a:lnTo>
                    <a:lnTo>
                      <a:pt x="749" y="161"/>
                    </a:lnTo>
                    <a:lnTo>
                      <a:pt x="744" y="162"/>
                    </a:lnTo>
                    <a:lnTo>
                      <a:pt x="741" y="165"/>
                    </a:lnTo>
                    <a:lnTo>
                      <a:pt x="741" y="165"/>
                    </a:lnTo>
                    <a:lnTo>
                      <a:pt x="737" y="175"/>
                    </a:lnTo>
                    <a:lnTo>
                      <a:pt x="734" y="178"/>
                    </a:lnTo>
                    <a:lnTo>
                      <a:pt x="733" y="181"/>
                    </a:lnTo>
                    <a:lnTo>
                      <a:pt x="733" y="181"/>
                    </a:lnTo>
                    <a:lnTo>
                      <a:pt x="730" y="182"/>
                    </a:lnTo>
                    <a:lnTo>
                      <a:pt x="728" y="184"/>
                    </a:lnTo>
                    <a:lnTo>
                      <a:pt x="725" y="188"/>
                    </a:lnTo>
                    <a:lnTo>
                      <a:pt x="725" y="188"/>
                    </a:lnTo>
                    <a:lnTo>
                      <a:pt x="724" y="191"/>
                    </a:lnTo>
                    <a:lnTo>
                      <a:pt x="722" y="192"/>
                    </a:lnTo>
                    <a:lnTo>
                      <a:pt x="722" y="195"/>
                    </a:lnTo>
                    <a:lnTo>
                      <a:pt x="724" y="198"/>
                    </a:lnTo>
                    <a:lnTo>
                      <a:pt x="724" y="198"/>
                    </a:lnTo>
                    <a:lnTo>
                      <a:pt x="730" y="208"/>
                    </a:lnTo>
                    <a:lnTo>
                      <a:pt x="731" y="213"/>
                    </a:lnTo>
                    <a:lnTo>
                      <a:pt x="730" y="217"/>
                    </a:lnTo>
                    <a:lnTo>
                      <a:pt x="730" y="217"/>
                    </a:lnTo>
                    <a:lnTo>
                      <a:pt x="730" y="220"/>
                    </a:lnTo>
                    <a:lnTo>
                      <a:pt x="728" y="224"/>
                    </a:lnTo>
                    <a:lnTo>
                      <a:pt x="728" y="226"/>
                    </a:lnTo>
                    <a:lnTo>
                      <a:pt x="727" y="224"/>
                    </a:lnTo>
                    <a:lnTo>
                      <a:pt x="727" y="224"/>
                    </a:lnTo>
                    <a:lnTo>
                      <a:pt x="724" y="214"/>
                    </a:lnTo>
                    <a:lnTo>
                      <a:pt x="721" y="210"/>
                    </a:lnTo>
                    <a:lnTo>
                      <a:pt x="717" y="205"/>
                    </a:lnTo>
                    <a:lnTo>
                      <a:pt x="717" y="205"/>
                    </a:lnTo>
                    <a:lnTo>
                      <a:pt x="712" y="203"/>
                    </a:lnTo>
                    <a:lnTo>
                      <a:pt x="709" y="197"/>
                    </a:lnTo>
                    <a:lnTo>
                      <a:pt x="708" y="192"/>
                    </a:lnTo>
                    <a:lnTo>
                      <a:pt x="708" y="191"/>
                    </a:lnTo>
                    <a:lnTo>
                      <a:pt x="708" y="191"/>
                    </a:lnTo>
                    <a:lnTo>
                      <a:pt x="711" y="187"/>
                    </a:lnTo>
                    <a:lnTo>
                      <a:pt x="711" y="184"/>
                    </a:lnTo>
                    <a:lnTo>
                      <a:pt x="709" y="182"/>
                    </a:lnTo>
                    <a:lnTo>
                      <a:pt x="709" y="182"/>
                    </a:lnTo>
                    <a:lnTo>
                      <a:pt x="707" y="178"/>
                    </a:lnTo>
                    <a:lnTo>
                      <a:pt x="707" y="176"/>
                    </a:lnTo>
                    <a:lnTo>
                      <a:pt x="707" y="175"/>
                    </a:lnTo>
                    <a:lnTo>
                      <a:pt x="707" y="175"/>
                    </a:lnTo>
                    <a:lnTo>
                      <a:pt x="709" y="171"/>
                    </a:lnTo>
                    <a:lnTo>
                      <a:pt x="709" y="169"/>
                    </a:lnTo>
                    <a:lnTo>
                      <a:pt x="707" y="168"/>
                    </a:lnTo>
                    <a:lnTo>
                      <a:pt x="707" y="168"/>
                    </a:lnTo>
                    <a:lnTo>
                      <a:pt x="698" y="162"/>
                    </a:lnTo>
                    <a:lnTo>
                      <a:pt x="695" y="161"/>
                    </a:lnTo>
                    <a:lnTo>
                      <a:pt x="692" y="161"/>
                    </a:lnTo>
                    <a:lnTo>
                      <a:pt x="692" y="161"/>
                    </a:lnTo>
                    <a:lnTo>
                      <a:pt x="688" y="166"/>
                    </a:lnTo>
                    <a:lnTo>
                      <a:pt x="685" y="169"/>
                    </a:lnTo>
                    <a:lnTo>
                      <a:pt x="685" y="172"/>
                    </a:lnTo>
                    <a:lnTo>
                      <a:pt x="685" y="172"/>
                    </a:lnTo>
                    <a:lnTo>
                      <a:pt x="689" y="184"/>
                    </a:lnTo>
                    <a:lnTo>
                      <a:pt x="691" y="191"/>
                    </a:lnTo>
                    <a:lnTo>
                      <a:pt x="691" y="192"/>
                    </a:lnTo>
                    <a:lnTo>
                      <a:pt x="691" y="192"/>
                    </a:lnTo>
                    <a:lnTo>
                      <a:pt x="691" y="192"/>
                    </a:lnTo>
                    <a:lnTo>
                      <a:pt x="685" y="187"/>
                    </a:lnTo>
                    <a:lnTo>
                      <a:pt x="682" y="185"/>
                    </a:lnTo>
                    <a:lnTo>
                      <a:pt x="680" y="184"/>
                    </a:lnTo>
                    <a:lnTo>
                      <a:pt x="680" y="184"/>
                    </a:lnTo>
                    <a:lnTo>
                      <a:pt x="675" y="188"/>
                    </a:lnTo>
                    <a:lnTo>
                      <a:pt x="670" y="189"/>
                    </a:lnTo>
                    <a:lnTo>
                      <a:pt x="667" y="189"/>
                    </a:lnTo>
                    <a:lnTo>
                      <a:pt x="667" y="189"/>
                    </a:lnTo>
                    <a:lnTo>
                      <a:pt x="659" y="188"/>
                    </a:lnTo>
                    <a:lnTo>
                      <a:pt x="654" y="188"/>
                    </a:lnTo>
                    <a:lnTo>
                      <a:pt x="650" y="188"/>
                    </a:lnTo>
                    <a:lnTo>
                      <a:pt x="650" y="188"/>
                    </a:lnTo>
                    <a:lnTo>
                      <a:pt x="640" y="192"/>
                    </a:lnTo>
                    <a:lnTo>
                      <a:pt x="631" y="195"/>
                    </a:lnTo>
                    <a:lnTo>
                      <a:pt x="631" y="195"/>
                    </a:lnTo>
                    <a:lnTo>
                      <a:pt x="618" y="192"/>
                    </a:lnTo>
                    <a:lnTo>
                      <a:pt x="618" y="192"/>
                    </a:lnTo>
                    <a:lnTo>
                      <a:pt x="617" y="191"/>
                    </a:lnTo>
                    <a:lnTo>
                      <a:pt x="614" y="189"/>
                    </a:lnTo>
                    <a:lnTo>
                      <a:pt x="611" y="187"/>
                    </a:lnTo>
                    <a:lnTo>
                      <a:pt x="608" y="185"/>
                    </a:lnTo>
                    <a:lnTo>
                      <a:pt x="608" y="185"/>
                    </a:lnTo>
                    <a:lnTo>
                      <a:pt x="605" y="182"/>
                    </a:lnTo>
                    <a:lnTo>
                      <a:pt x="604" y="179"/>
                    </a:lnTo>
                    <a:lnTo>
                      <a:pt x="601" y="176"/>
                    </a:lnTo>
                    <a:lnTo>
                      <a:pt x="599" y="175"/>
                    </a:lnTo>
                    <a:lnTo>
                      <a:pt x="598" y="175"/>
                    </a:lnTo>
                    <a:lnTo>
                      <a:pt x="598" y="175"/>
                    </a:lnTo>
                    <a:lnTo>
                      <a:pt x="589" y="178"/>
                    </a:lnTo>
                    <a:lnTo>
                      <a:pt x="586" y="178"/>
                    </a:lnTo>
                    <a:lnTo>
                      <a:pt x="583" y="175"/>
                    </a:lnTo>
                    <a:lnTo>
                      <a:pt x="583" y="175"/>
                    </a:lnTo>
                    <a:lnTo>
                      <a:pt x="581" y="172"/>
                    </a:lnTo>
                    <a:lnTo>
                      <a:pt x="576" y="171"/>
                    </a:lnTo>
                    <a:lnTo>
                      <a:pt x="572" y="168"/>
                    </a:lnTo>
                    <a:lnTo>
                      <a:pt x="567" y="163"/>
                    </a:lnTo>
                    <a:lnTo>
                      <a:pt x="567" y="163"/>
                    </a:lnTo>
                    <a:lnTo>
                      <a:pt x="566" y="158"/>
                    </a:lnTo>
                    <a:lnTo>
                      <a:pt x="566" y="152"/>
                    </a:lnTo>
                    <a:lnTo>
                      <a:pt x="566" y="147"/>
                    </a:lnTo>
                    <a:lnTo>
                      <a:pt x="565" y="146"/>
                    </a:lnTo>
                    <a:lnTo>
                      <a:pt x="565" y="145"/>
                    </a:lnTo>
                    <a:lnTo>
                      <a:pt x="565" y="145"/>
                    </a:lnTo>
                    <a:lnTo>
                      <a:pt x="560" y="145"/>
                    </a:lnTo>
                    <a:lnTo>
                      <a:pt x="554" y="145"/>
                    </a:lnTo>
                    <a:lnTo>
                      <a:pt x="543" y="146"/>
                    </a:lnTo>
                    <a:lnTo>
                      <a:pt x="543" y="146"/>
                    </a:lnTo>
                    <a:lnTo>
                      <a:pt x="523" y="149"/>
                    </a:lnTo>
                    <a:lnTo>
                      <a:pt x="523" y="149"/>
                    </a:lnTo>
                    <a:lnTo>
                      <a:pt x="518" y="152"/>
                    </a:lnTo>
                    <a:lnTo>
                      <a:pt x="515" y="158"/>
                    </a:lnTo>
                    <a:lnTo>
                      <a:pt x="515" y="158"/>
                    </a:lnTo>
                    <a:lnTo>
                      <a:pt x="511" y="163"/>
                    </a:lnTo>
                    <a:lnTo>
                      <a:pt x="510" y="166"/>
                    </a:lnTo>
                    <a:lnTo>
                      <a:pt x="511" y="168"/>
                    </a:lnTo>
                    <a:lnTo>
                      <a:pt x="511" y="168"/>
                    </a:lnTo>
                    <a:lnTo>
                      <a:pt x="517" y="174"/>
                    </a:lnTo>
                    <a:lnTo>
                      <a:pt x="520" y="175"/>
                    </a:lnTo>
                    <a:lnTo>
                      <a:pt x="520" y="175"/>
                    </a:lnTo>
                    <a:lnTo>
                      <a:pt x="520" y="174"/>
                    </a:lnTo>
                    <a:lnTo>
                      <a:pt x="520" y="174"/>
                    </a:lnTo>
                    <a:lnTo>
                      <a:pt x="520" y="168"/>
                    </a:lnTo>
                    <a:lnTo>
                      <a:pt x="521" y="166"/>
                    </a:lnTo>
                    <a:lnTo>
                      <a:pt x="523" y="166"/>
                    </a:lnTo>
                    <a:lnTo>
                      <a:pt x="523" y="166"/>
                    </a:lnTo>
                    <a:lnTo>
                      <a:pt x="528" y="168"/>
                    </a:lnTo>
                    <a:lnTo>
                      <a:pt x="531" y="168"/>
                    </a:lnTo>
                    <a:lnTo>
                      <a:pt x="534" y="166"/>
                    </a:lnTo>
                    <a:lnTo>
                      <a:pt x="534" y="166"/>
                    </a:lnTo>
                    <a:lnTo>
                      <a:pt x="547" y="158"/>
                    </a:lnTo>
                    <a:lnTo>
                      <a:pt x="547" y="158"/>
                    </a:lnTo>
                    <a:lnTo>
                      <a:pt x="554" y="156"/>
                    </a:lnTo>
                    <a:lnTo>
                      <a:pt x="557" y="156"/>
                    </a:lnTo>
                    <a:lnTo>
                      <a:pt x="557" y="156"/>
                    </a:lnTo>
                    <a:lnTo>
                      <a:pt x="557" y="158"/>
                    </a:lnTo>
                    <a:lnTo>
                      <a:pt x="557" y="158"/>
                    </a:lnTo>
                    <a:lnTo>
                      <a:pt x="553" y="162"/>
                    </a:lnTo>
                    <a:lnTo>
                      <a:pt x="549" y="166"/>
                    </a:lnTo>
                    <a:lnTo>
                      <a:pt x="549" y="166"/>
                    </a:lnTo>
                    <a:lnTo>
                      <a:pt x="543" y="169"/>
                    </a:lnTo>
                    <a:lnTo>
                      <a:pt x="537" y="172"/>
                    </a:lnTo>
                    <a:lnTo>
                      <a:pt x="537" y="172"/>
                    </a:lnTo>
                    <a:lnTo>
                      <a:pt x="533" y="176"/>
                    </a:lnTo>
                    <a:lnTo>
                      <a:pt x="528" y="178"/>
                    </a:lnTo>
                    <a:lnTo>
                      <a:pt x="528" y="178"/>
                    </a:lnTo>
                    <a:lnTo>
                      <a:pt x="523" y="181"/>
                    </a:lnTo>
                    <a:lnTo>
                      <a:pt x="518" y="182"/>
                    </a:lnTo>
                    <a:lnTo>
                      <a:pt x="517" y="185"/>
                    </a:lnTo>
                    <a:lnTo>
                      <a:pt x="517" y="185"/>
                    </a:lnTo>
                    <a:lnTo>
                      <a:pt x="515" y="191"/>
                    </a:lnTo>
                    <a:lnTo>
                      <a:pt x="514" y="197"/>
                    </a:lnTo>
                    <a:lnTo>
                      <a:pt x="514" y="197"/>
                    </a:lnTo>
                    <a:lnTo>
                      <a:pt x="514" y="198"/>
                    </a:lnTo>
                    <a:lnTo>
                      <a:pt x="515" y="200"/>
                    </a:lnTo>
                    <a:lnTo>
                      <a:pt x="518" y="203"/>
                    </a:lnTo>
                    <a:lnTo>
                      <a:pt x="518" y="204"/>
                    </a:lnTo>
                    <a:lnTo>
                      <a:pt x="518" y="204"/>
                    </a:lnTo>
                    <a:lnTo>
                      <a:pt x="520" y="208"/>
                    </a:lnTo>
                    <a:lnTo>
                      <a:pt x="523" y="214"/>
                    </a:lnTo>
                    <a:lnTo>
                      <a:pt x="523" y="214"/>
                    </a:lnTo>
                    <a:lnTo>
                      <a:pt x="524" y="216"/>
                    </a:lnTo>
                    <a:lnTo>
                      <a:pt x="524" y="218"/>
                    </a:lnTo>
                    <a:lnTo>
                      <a:pt x="521" y="226"/>
                    </a:lnTo>
                    <a:lnTo>
                      <a:pt x="521" y="226"/>
                    </a:lnTo>
                    <a:lnTo>
                      <a:pt x="521" y="230"/>
                    </a:lnTo>
                    <a:lnTo>
                      <a:pt x="524" y="234"/>
                    </a:lnTo>
                    <a:lnTo>
                      <a:pt x="525" y="237"/>
                    </a:lnTo>
                    <a:lnTo>
                      <a:pt x="525" y="239"/>
                    </a:lnTo>
                    <a:lnTo>
                      <a:pt x="523" y="237"/>
                    </a:lnTo>
                    <a:lnTo>
                      <a:pt x="523" y="237"/>
                    </a:lnTo>
                    <a:lnTo>
                      <a:pt x="517" y="234"/>
                    </a:lnTo>
                    <a:lnTo>
                      <a:pt x="512" y="230"/>
                    </a:lnTo>
                    <a:lnTo>
                      <a:pt x="510" y="226"/>
                    </a:lnTo>
                    <a:lnTo>
                      <a:pt x="508" y="224"/>
                    </a:lnTo>
                    <a:lnTo>
                      <a:pt x="510" y="223"/>
                    </a:lnTo>
                    <a:lnTo>
                      <a:pt x="510" y="223"/>
                    </a:lnTo>
                    <a:lnTo>
                      <a:pt x="514" y="218"/>
                    </a:lnTo>
                    <a:lnTo>
                      <a:pt x="514" y="216"/>
                    </a:lnTo>
                    <a:lnTo>
                      <a:pt x="514" y="214"/>
                    </a:lnTo>
                    <a:lnTo>
                      <a:pt x="514" y="214"/>
                    </a:lnTo>
                    <a:lnTo>
                      <a:pt x="510" y="205"/>
                    </a:lnTo>
                    <a:lnTo>
                      <a:pt x="507" y="203"/>
                    </a:lnTo>
                    <a:lnTo>
                      <a:pt x="505" y="201"/>
                    </a:lnTo>
                    <a:lnTo>
                      <a:pt x="504" y="201"/>
                    </a:lnTo>
                    <a:lnTo>
                      <a:pt x="504" y="201"/>
                    </a:lnTo>
                    <a:lnTo>
                      <a:pt x="498" y="205"/>
                    </a:lnTo>
                    <a:lnTo>
                      <a:pt x="497" y="205"/>
                    </a:lnTo>
                    <a:lnTo>
                      <a:pt x="497" y="204"/>
                    </a:lnTo>
                    <a:lnTo>
                      <a:pt x="497" y="204"/>
                    </a:lnTo>
                    <a:lnTo>
                      <a:pt x="497" y="195"/>
                    </a:lnTo>
                    <a:lnTo>
                      <a:pt x="498" y="192"/>
                    </a:lnTo>
                    <a:lnTo>
                      <a:pt x="497" y="191"/>
                    </a:lnTo>
                    <a:lnTo>
                      <a:pt x="497" y="191"/>
                    </a:lnTo>
                    <a:lnTo>
                      <a:pt x="492" y="192"/>
                    </a:lnTo>
                    <a:lnTo>
                      <a:pt x="489" y="192"/>
                    </a:lnTo>
                    <a:lnTo>
                      <a:pt x="488" y="191"/>
                    </a:lnTo>
                    <a:lnTo>
                      <a:pt x="488" y="191"/>
                    </a:lnTo>
                    <a:lnTo>
                      <a:pt x="483" y="184"/>
                    </a:lnTo>
                    <a:lnTo>
                      <a:pt x="481" y="181"/>
                    </a:lnTo>
                    <a:lnTo>
                      <a:pt x="478" y="179"/>
                    </a:lnTo>
                    <a:lnTo>
                      <a:pt x="478" y="179"/>
                    </a:lnTo>
                    <a:lnTo>
                      <a:pt x="472" y="185"/>
                    </a:lnTo>
                    <a:lnTo>
                      <a:pt x="466" y="189"/>
                    </a:lnTo>
                    <a:lnTo>
                      <a:pt x="462" y="191"/>
                    </a:lnTo>
                    <a:lnTo>
                      <a:pt x="462" y="191"/>
                    </a:lnTo>
                    <a:lnTo>
                      <a:pt x="447" y="192"/>
                    </a:lnTo>
                    <a:lnTo>
                      <a:pt x="437" y="194"/>
                    </a:lnTo>
                    <a:lnTo>
                      <a:pt x="431" y="194"/>
                    </a:lnTo>
                    <a:lnTo>
                      <a:pt x="431" y="194"/>
                    </a:lnTo>
                    <a:lnTo>
                      <a:pt x="428" y="192"/>
                    </a:lnTo>
                    <a:lnTo>
                      <a:pt x="426" y="194"/>
                    </a:lnTo>
                    <a:lnTo>
                      <a:pt x="424" y="194"/>
                    </a:lnTo>
                    <a:lnTo>
                      <a:pt x="420" y="192"/>
                    </a:lnTo>
                    <a:lnTo>
                      <a:pt x="420" y="192"/>
                    </a:lnTo>
                    <a:lnTo>
                      <a:pt x="404" y="188"/>
                    </a:lnTo>
                    <a:lnTo>
                      <a:pt x="399" y="185"/>
                    </a:lnTo>
                    <a:lnTo>
                      <a:pt x="398" y="185"/>
                    </a:lnTo>
                    <a:lnTo>
                      <a:pt x="399" y="184"/>
                    </a:lnTo>
                    <a:lnTo>
                      <a:pt x="399" y="184"/>
                    </a:lnTo>
                    <a:lnTo>
                      <a:pt x="408" y="182"/>
                    </a:lnTo>
                    <a:lnTo>
                      <a:pt x="410" y="181"/>
                    </a:lnTo>
                    <a:lnTo>
                      <a:pt x="410" y="179"/>
                    </a:lnTo>
                    <a:lnTo>
                      <a:pt x="410" y="179"/>
                    </a:lnTo>
                    <a:lnTo>
                      <a:pt x="408" y="176"/>
                    </a:lnTo>
                    <a:lnTo>
                      <a:pt x="405" y="175"/>
                    </a:lnTo>
                    <a:lnTo>
                      <a:pt x="404" y="174"/>
                    </a:lnTo>
                    <a:lnTo>
                      <a:pt x="407" y="174"/>
                    </a:lnTo>
                    <a:lnTo>
                      <a:pt x="407" y="174"/>
                    </a:lnTo>
                    <a:lnTo>
                      <a:pt x="413" y="174"/>
                    </a:lnTo>
                    <a:lnTo>
                      <a:pt x="414" y="172"/>
                    </a:lnTo>
                    <a:lnTo>
                      <a:pt x="415" y="171"/>
                    </a:lnTo>
                    <a:lnTo>
                      <a:pt x="415" y="171"/>
                    </a:lnTo>
                    <a:lnTo>
                      <a:pt x="413" y="168"/>
                    </a:lnTo>
                    <a:lnTo>
                      <a:pt x="413" y="165"/>
                    </a:lnTo>
                    <a:lnTo>
                      <a:pt x="417" y="165"/>
                    </a:lnTo>
                    <a:lnTo>
                      <a:pt x="417" y="165"/>
                    </a:lnTo>
                    <a:lnTo>
                      <a:pt x="421" y="165"/>
                    </a:lnTo>
                    <a:lnTo>
                      <a:pt x="424" y="165"/>
                    </a:lnTo>
                    <a:lnTo>
                      <a:pt x="427" y="165"/>
                    </a:lnTo>
                    <a:lnTo>
                      <a:pt x="428" y="165"/>
                    </a:lnTo>
                    <a:lnTo>
                      <a:pt x="428" y="165"/>
                    </a:lnTo>
                    <a:lnTo>
                      <a:pt x="428" y="162"/>
                    </a:lnTo>
                    <a:lnTo>
                      <a:pt x="428" y="159"/>
                    </a:lnTo>
                    <a:lnTo>
                      <a:pt x="427" y="156"/>
                    </a:lnTo>
                    <a:lnTo>
                      <a:pt x="424" y="153"/>
                    </a:lnTo>
                    <a:lnTo>
                      <a:pt x="424" y="153"/>
                    </a:lnTo>
                    <a:lnTo>
                      <a:pt x="417" y="146"/>
                    </a:lnTo>
                    <a:lnTo>
                      <a:pt x="414" y="143"/>
                    </a:lnTo>
                    <a:lnTo>
                      <a:pt x="408" y="142"/>
                    </a:lnTo>
                    <a:lnTo>
                      <a:pt x="408" y="142"/>
                    </a:lnTo>
                    <a:lnTo>
                      <a:pt x="397" y="140"/>
                    </a:lnTo>
                    <a:lnTo>
                      <a:pt x="394" y="140"/>
                    </a:lnTo>
                    <a:lnTo>
                      <a:pt x="395" y="143"/>
                    </a:lnTo>
                    <a:lnTo>
                      <a:pt x="395" y="143"/>
                    </a:lnTo>
                    <a:lnTo>
                      <a:pt x="398" y="149"/>
                    </a:lnTo>
                    <a:lnTo>
                      <a:pt x="399" y="150"/>
                    </a:lnTo>
                    <a:lnTo>
                      <a:pt x="397" y="150"/>
                    </a:lnTo>
                    <a:lnTo>
                      <a:pt x="397" y="150"/>
                    </a:lnTo>
                    <a:lnTo>
                      <a:pt x="378" y="143"/>
                    </a:lnTo>
                    <a:lnTo>
                      <a:pt x="378" y="143"/>
                    </a:lnTo>
                    <a:lnTo>
                      <a:pt x="373" y="140"/>
                    </a:lnTo>
                    <a:lnTo>
                      <a:pt x="369" y="137"/>
                    </a:lnTo>
                    <a:lnTo>
                      <a:pt x="366" y="134"/>
                    </a:lnTo>
                    <a:lnTo>
                      <a:pt x="363" y="133"/>
                    </a:lnTo>
                    <a:lnTo>
                      <a:pt x="363" y="133"/>
                    </a:lnTo>
                    <a:lnTo>
                      <a:pt x="360" y="132"/>
                    </a:lnTo>
                    <a:lnTo>
                      <a:pt x="360" y="129"/>
                    </a:lnTo>
                    <a:lnTo>
                      <a:pt x="359" y="127"/>
                    </a:lnTo>
                    <a:lnTo>
                      <a:pt x="356" y="126"/>
                    </a:lnTo>
                    <a:lnTo>
                      <a:pt x="356" y="126"/>
                    </a:lnTo>
                    <a:lnTo>
                      <a:pt x="337" y="117"/>
                    </a:lnTo>
                    <a:lnTo>
                      <a:pt x="326" y="111"/>
                    </a:lnTo>
                    <a:lnTo>
                      <a:pt x="318" y="108"/>
                    </a:lnTo>
                    <a:lnTo>
                      <a:pt x="318" y="108"/>
                    </a:lnTo>
                    <a:lnTo>
                      <a:pt x="315" y="107"/>
                    </a:lnTo>
                    <a:lnTo>
                      <a:pt x="311" y="104"/>
                    </a:lnTo>
                    <a:lnTo>
                      <a:pt x="307" y="103"/>
                    </a:lnTo>
                    <a:lnTo>
                      <a:pt x="302" y="101"/>
                    </a:lnTo>
                    <a:lnTo>
                      <a:pt x="302" y="101"/>
                    </a:lnTo>
                    <a:lnTo>
                      <a:pt x="292" y="100"/>
                    </a:lnTo>
                    <a:lnTo>
                      <a:pt x="288" y="101"/>
                    </a:lnTo>
                    <a:lnTo>
                      <a:pt x="288" y="101"/>
                    </a:lnTo>
                    <a:lnTo>
                      <a:pt x="287" y="103"/>
                    </a:lnTo>
                    <a:lnTo>
                      <a:pt x="287" y="103"/>
                    </a:lnTo>
                    <a:lnTo>
                      <a:pt x="285" y="105"/>
                    </a:lnTo>
                    <a:lnTo>
                      <a:pt x="282" y="110"/>
                    </a:lnTo>
                    <a:lnTo>
                      <a:pt x="279" y="113"/>
                    </a:lnTo>
                    <a:lnTo>
                      <a:pt x="278" y="113"/>
                    </a:lnTo>
                    <a:lnTo>
                      <a:pt x="275" y="113"/>
                    </a:lnTo>
                    <a:lnTo>
                      <a:pt x="275" y="113"/>
                    </a:lnTo>
                    <a:lnTo>
                      <a:pt x="273" y="110"/>
                    </a:lnTo>
                    <a:lnTo>
                      <a:pt x="273" y="107"/>
                    </a:lnTo>
                    <a:lnTo>
                      <a:pt x="276" y="103"/>
                    </a:lnTo>
                    <a:lnTo>
                      <a:pt x="276" y="103"/>
                    </a:lnTo>
                    <a:lnTo>
                      <a:pt x="273" y="98"/>
                    </a:lnTo>
                    <a:lnTo>
                      <a:pt x="272" y="95"/>
                    </a:lnTo>
                    <a:lnTo>
                      <a:pt x="272" y="91"/>
                    </a:lnTo>
                    <a:lnTo>
                      <a:pt x="272" y="91"/>
                    </a:lnTo>
                    <a:lnTo>
                      <a:pt x="272" y="90"/>
                    </a:lnTo>
                    <a:lnTo>
                      <a:pt x="272" y="88"/>
                    </a:lnTo>
                    <a:lnTo>
                      <a:pt x="268" y="90"/>
                    </a:lnTo>
                    <a:lnTo>
                      <a:pt x="268" y="90"/>
                    </a:lnTo>
                    <a:lnTo>
                      <a:pt x="266" y="91"/>
                    </a:lnTo>
                    <a:lnTo>
                      <a:pt x="266" y="92"/>
                    </a:lnTo>
                    <a:lnTo>
                      <a:pt x="266" y="98"/>
                    </a:lnTo>
                    <a:lnTo>
                      <a:pt x="266" y="98"/>
                    </a:lnTo>
                    <a:lnTo>
                      <a:pt x="266" y="101"/>
                    </a:lnTo>
                    <a:lnTo>
                      <a:pt x="265" y="103"/>
                    </a:lnTo>
                    <a:lnTo>
                      <a:pt x="263" y="104"/>
                    </a:lnTo>
                    <a:lnTo>
                      <a:pt x="263" y="105"/>
                    </a:lnTo>
                    <a:lnTo>
                      <a:pt x="263" y="105"/>
                    </a:lnTo>
                    <a:lnTo>
                      <a:pt x="262" y="111"/>
                    </a:lnTo>
                    <a:lnTo>
                      <a:pt x="262" y="114"/>
                    </a:lnTo>
                    <a:lnTo>
                      <a:pt x="259" y="116"/>
                    </a:lnTo>
                    <a:lnTo>
                      <a:pt x="259" y="116"/>
                    </a:lnTo>
                    <a:lnTo>
                      <a:pt x="256" y="116"/>
                    </a:lnTo>
                    <a:lnTo>
                      <a:pt x="252" y="114"/>
                    </a:lnTo>
                    <a:lnTo>
                      <a:pt x="249" y="111"/>
                    </a:lnTo>
                    <a:lnTo>
                      <a:pt x="245" y="107"/>
                    </a:lnTo>
                    <a:lnTo>
                      <a:pt x="245" y="107"/>
                    </a:lnTo>
                    <a:lnTo>
                      <a:pt x="237" y="97"/>
                    </a:lnTo>
                    <a:lnTo>
                      <a:pt x="234" y="92"/>
                    </a:lnTo>
                    <a:lnTo>
                      <a:pt x="231" y="87"/>
                    </a:lnTo>
                    <a:lnTo>
                      <a:pt x="231" y="87"/>
                    </a:lnTo>
                    <a:lnTo>
                      <a:pt x="230" y="79"/>
                    </a:lnTo>
                    <a:lnTo>
                      <a:pt x="227" y="74"/>
                    </a:lnTo>
                    <a:lnTo>
                      <a:pt x="220" y="63"/>
                    </a:lnTo>
                    <a:lnTo>
                      <a:pt x="220" y="63"/>
                    </a:lnTo>
                    <a:lnTo>
                      <a:pt x="214" y="58"/>
                    </a:lnTo>
                    <a:lnTo>
                      <a:pt x="211" y="56"/>
                    </a:lnTo>
                    <a:lnTo>
                      <a:pt x="211" y="58"/>
                    </a:lnTo>
                    <a:lnTo>
                      <a:pt x="211" y="58"/>
                    </a:lnTo>
                    <a:lnTo>
                      <a:pt x="210" y="61"/>
                    </a:lnTo>
                    <a:lnTo>
                      <a:pt x="210" y="63"/>
                    </a:lnTo>
                    <a:lnTo>
                      <a:pt x="210" y="65"/>
                    </a:lnTo>
                    <a:lnTo>
                      <a:pt x="210" y="65"/>
                    </a:lnTo>
                    <a:lnTo>
                      <a:pt x="213" y="71"/>
                    </a:lnTo>
                    <a:lnTo>
                      <a:pt x="214" y="74"/>
                    </a:lnTo>
                    <a:lnTo>
                      <a:pt x="216" y="75"/>
                    </a:lnTo>
                    <a:lnTo>
                      <a:pt x="216" y="75"/>
                    </a:lnTo>
                    <a:lnTo>
                      <a:pt x="220" y="79"/>
                    </a:lnTo>
                    <a:lnTo>
                      <a:pt x="221" y="81"/>
                    </a:lnTo>
                    <a:lnTo>
                      <a:pt x="220" y="82"/>
                    </a:lnTo>
                    <a:lnTo>
                      <a:pt x="220" y="82"/>
                    </a:lnTo>
                    <a:lnTo>
                      <a:pt x="217" y="82"/>
                    </a:lnTo>
                    <a:lnTo>
                      <a:pt x="216" y="84"/>
                    </a:lnTo>
                    <a:lnTo>
                      <a:pt x="214" y="85"/>
                    </a:lnTo>
                    <a:lnTo>
                      <a:pt x="214" y="85"/>
                    </a:lnTo>
                    <a:lnTo>
                      <a:pt x="213" y="90"/>
                    </a:lnTo>
                    <a:lnTo>
                      <a:pt x="210" y="92"/>
                    </a:lnTo>
                    <a:lnTo>
                      <a:pt x="210" y="92"/>
                    </a:lnTo>
                    <a:lnTo>
                      <a:pt x="208" y="95"/>
                    </a:lnTo>
                    <a:lnTo>
                      <a:pt x="207" y="100"/>
                    </a:lnTo>
                    <a:lnTo>
                      <a:pt x="207" y="103"/>
                    </a:lnTo>
                    <a:lnTo>
                      <a:pt x="205" y="104"/>
                    </a:lnTo>
                    <a:lnTo>
                      <a:pt x="205" y="104"/>
                    </a:lnTo>
                    <a:lnTo>
                      <a:pt x="203" y="104"/>
                    </a:lnTo>
                    <a:lnTo>
                      <a:pt x="201" y="101"/>
                    </a:lnTo>
                    <a:lnTo>
                      <a:pt x="198" y="98"/>
                    </a:lnTo>
                    <a:lnTo>
                      <a:pt x="195" y="98"/>
                    </a:lnTo>
                    <a:lnTo>
                      <a:pt x="195" y="98"/>
                    </a:lnTo>
                    <a:lnTo>
                      <a:pt x="189" y="103"/>
                    </a:lnTo>
                    <a:lnTo>
                      <a:pt x="188" y="103"/>
                    </a:lnTo>
                    <a:lnTo>
                      <a:pt x="187" y="103"/>
                    </a:lnTo>
                    <a:lnTo>
                      <a:pt x="187" y="101"/>
                    </a:lnTo>
                    <a:lnTo>
                      <a:pt x="187" y="101"/>
                    </a:lnTo>
                    <a:lnTo>
                      <a:pt x="187" y="94"/>
                    </a:lnTo>
                    <a:lnTo>
                      <a:pt x="187" y="90"/>
                    </a:lnTo>
                    <a:lnTo>
                      <a:pt x="185" y="87"/>
                    </a:lnTo>
                    <a:lnTo>
                      <a:pt x="185" y="87"/>
                    </a:lnTo>
                    <a:lnTo>
                      <a:pt x="179" y="81"/>
                    </a:lnTo>
                    <a:lnTo>
                      <a:pt x="178" y="81"/>
                    </a:lnTo>
                    <a:lnTo>
                      <a:pt x="175" y="82"/>
                    </a:lnTo>
                    <a:lnTo>
                      <a:pt x="175" y="82"/>
                    </a:lnTo>
                    <a:lnTo>
                      <a:pt x="172" y="87"/>
                    </a:lnTo>
                    <a:lnTo>
                      <a:pt x="168" y="91"/>
                    </a:lnTo>
                    <a:lnTo>
                      <a:pt x="161" y="97"/>
                    </a:lnTo>
                    <a:lnTo>
                      <a:pt x="161" y="97"/>
                    </a:lnTo>
                    <a:lnTo>
                      <a:pt x="156" y="108"/>
                    </a:lnTo>
                    <a:lnTo>
                      <a:pt x="152" y="117"/>
                    </a:lnTo>
                    <a:lnTo>
                      <a:pt x="150" y="120"/>
                    </a:lnTo>
                    <a:lnTo>
                      <a:pt x="150" y="120"/>
                    </a:lnTo>
                    <a:lnTo>
                      <a:pt x="145" y="124"/>
                    </a:lnTo>
                    <a:lnTo>
                      <a:pt x="143" y="126"/>
                    </a:lnTo>
                    <a:lnTo>
                      <a:pt x="143" y="124"/>
                    </a:lnTo>
                    <a:lnTo>
                      <a:pt x="143" y="124"/>
                    </a:lnTo>
                    <a:lnTo>
                      <a:pt x="149" y="114"/>
                    </a:lnTo>
                    <a:lnTo>
                      <a:pt x="150" y="108"/>
                    </a:lnTo>
                    <a:lnTo>
                      <a:pt x="150" y="104"/>
                    </a:lnTo>
                    <a:lnTo>
                      <a:pt x="150" y="104"/>
                    </a:lnTo>
                    <a:lnTo>
                      <a:pt x="149" y="101"/>
                    </a:lnTo>
                    <a:lnTo>
                      <a:pt x="147" y="100"/>
                    </a:lnTo>
                    <a:lnTo>
                      <a:pt x="146" y="100"/>
                    </a:lnTo>
                    <a:lnTo>
                      <a:pt x="146" y="100"/>
                    </a:lnTo>
                    <a:lnTo>
                      <a:pt x="139" y="108"/>
                    </a:lnTo>
                    <a:lnTo>
                      <a:pt x="134" y="114"/>
                    </a:lnTo>
                    <a:lnTo>
                      <a:pt x="130" y="118"/>
                    </a:lnTo>
                    <a:lnTo>
                      <a:pt x="130" y="118"/>
                    </a:lnTo>
                    <a:lnTo>
                      <a:pt x="111" y="133"/>
                    </a:lnTo>
                    <a:lnTo>
                      <a:pt x="111" y="133"/>
                    </a:lnTo>
                    <a:lnTo>
                      <a:pt x="110" y="136"/>
                    </a:lnTo>
                    <a:lnTo>
                      <a:pt x="110" y="140"/>
                    </a:lnTo>
                    <a:lnTo>
                      <a:pt x="108" y="143"/>
                    </a:lnTo>
                    <a:lnTo>
                      <a:pt x="108" y="143"/>
                    </a:lnTo>
                    <a:lnTo>
                      <a:pt x="107" y="143"/>
                    </a:lnTo>
                    <a:lnTo>
                      <a:pt x="107" y="143"/>
                    </a:lnTo>
                    <a:lnTo>
                      <a:pt x="105" y="139"/>
                    </a:lnTo>
                    <a:lnTo>
                      <a:pt x="104" y="136"/>
                    </a:lnTo>
                    <a:lnTo>
                      <a:pt x="101" y="137"/>
                    </a:lnTo>
                    <a:lnTo>
                      <a:pt x="101" y="137"/>
                    </a:lnTo>
                    <a:lnTo>
                      <a:pt x="101" y="139"/>
                    </a:lnTo>
                    <a:lnTo>
                      <a:pt x="100" y="142"/>
                    </a:lnTo>
                    <a:lnTo>
                      <a:pt x="100" y="143"/>
                    </a:lnTo>
                    <a:lnTo>
                      <a:pt x="98" y="145"/>
                    </a:lnTo>
                    <a:lnTo>
                      <a:pt x="98" y="145"/>
                    </a:lnTo>
                    <a:lnTo>
                      <a:pt x="92" y="142"/>
                    </a:lnTo>
                    <a:lnTo>
                      <a:pt x="90" y="142"/>
                    </a:lnTo>
                    <a:lnTo>
                      <a:pt x="88" y="143"/>
                    </a:lnTo>
                    <a:lnTo>
                      <a:pt x="88" y="143"/>
                    </a:lnTo>
                    <a:lnTo>
                      <a:pt x="87" y="146"/>
                    </a:lnTo>
                    <a:lnTo>
                      <a:pt x="85" y="147"/>
                    </a:lnTo>
                    <a:lnTo>
                      <a:pt x="82" y="146"/>
                    </a:lnTo>
                    <a:lnTo>
                      <a:pt x="82" y="146"/>
                    </a:lnTo>
                    <a:lnTo>
                      <a:pt x="77" y="142"/>
                    </a:lnTo>
                    <a:lnTo>
                      <a:pt x="74" y="140"/>
                    </a:lnTo>
                    <a:lnTo>
                      <a:pt x="74" y="142"/>
                    </a:lnTo>
                    <a:lnTo>
                      <a:pt x="74" y="142"/>
                    </a:lnTo>
                    <a:lnTo>
                      <a:pt x="72" y="143"/>
                    </a:lnTo>
                    <a:lnTo>
                      <a:pt x="72" y="145"/>
                    </a:lnTo>
                    <a:lnTo>
                      <a:pt x="69" y="146"/>
                    </a:lnTo>
                    <a:lnTo>
                      <a:pt x="68" y="146"/>
                    </a:lnTo>
                    <a:lnTo>
                      <a:pt x="68" y="146"/>
                    </a:lnTo>
                    <a:lnTo>
                      <a:pt x="58" y="139"/>
                    </a:lnTo>
                    <a:lnTo>
                      <a:pt x="50" y="132"/>
                    </a:lnTo>
                    <a:lnTo>
                      <a:pt x="50" y="132"/>
                    </a:lnTo>
                    <a:lnTo>
                      <a:pt x="48" y="127"/>
                    </a:lnTo>
                    <a:lnTo>
                      <a:pt x="45" y="123"/>
                    </a:lnTo>
                    <a:lnTo>
                      <a:pt x="45" y="123"/>
                    </a:lnTo>
                    <a:lnTo>
                      <a:pt x="42" y="120"/>
                    </a:lnTo>
                    <a:lnTo>
                      <a:pt x="39" y="116"/>
                    </a:lnTo>
                    <a:lnTo>
                      <a:pt x="36" y="111"/>
                    </a:lnTo>
                    <a:lnTo>
                      <a:pt x="33" y="108"/>
                    </a:lnTo>
                    <a:lnTo>
                      <a:pt x="33" y="108"/>
                    </a:lnTo>
                    <a:lnTo>
                      <a:pt x="27" y="108"/>
                    </a:lnTo>
                    <a:lnTo>
                      <a:pt x="19" y="108"/>
                    </a:lnTo>
                    <a:lnTo>
                      <a:pt x="19" y="108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0" y="466"/>
                    </a:lnTo>
                    <a:lnTo>
                      <a:pt x="0" y="466"/>
                    </a:lnTo>
                    <a:lnTo>
                      <a:pt x="6" y="465"/>
                    </a:lnTo>
                    <a:lnTo>
                      <a:pt x="11" y="463"/>
                    </a:lnTo>
                    <a:lnTo>
                      <a:pt x="23" y="460"/>
                    </a:lnTo>
                    <a:lnTo>
                      <a:pt x="23" y="460"/>
                    </a:lnTo>
                    <a:lnTo>
                      <a:pt x="26" y="460"/>
                    </a:lnTo>
                    <a:lnTo>
                      <a:pt x="27" y="462"/>
                    </a:lnTo>
                    <a:lnTo>
                      <a:pt x="29" y="465"/>
                    </a:lnTo>
                    <a:lnTo>
                      <a:pt x="30" y="470"/>
                    </a:lnTo>
                    <a:lnTo>
                      <a:pt x="32" y="476"/>
                    </a:lnTo>
                    <a:lnTo>
                      <a:pt x="32" y="476"/>
                    </a:lnTo>
                    <a:lnTo>
                      <a:pt x="50" y="502"/>
                    </a:lnTo>
                    <a:lnTo>
                      <a:pt x="50" y="502"/>
                    </a:lnTo>
                    <a:lnTo>
                      <a:pt x="53" y="505"/>
                    </a:lnTo>
                    <a:lnTo>
                      <a:pt x="55" y="507"/>
                    </a:lnTo>
                    <a:lnTo>
                      <a:pt x="62" y="505"/>
                    </a:lnTo>
                    <a:lnTo>
                      <a:pt x="62" y="505"/>
                    </a:lnTo>
                    <a:lnTo>
                      <a:pt x="63" y="504"/>
                    </a:lnTo>
                    <a:lnTo>
                      <a:pt x="66" y="501"/>
                    </a:lnTo>
                    <a:lnTo>
                      <a:pt x="74" y="492"/>
                    </a:lnTo>
                    <a:lnTo>
                      <a:pt x="79" y="485"/>
                    </a:lnTo>
                    <a:lnTo>
                      <a:pt x="82" y="482"/>
                    </a:lnTo>
                    <a:lnTo>
                      <a:pt x="85" y="481"/>
                    </a:lnTo>
                    <a:lnTo>
                      <a:pt x="85" y="481"/>
                    </a:lnTo>
                    <a:lnTo>
                      <a:pt x="87" y="482"/>
                    </a:lnTo>
                    <a:lnTo>
                      <a:pt x="88" y="484"/>
                    </a:lnTo>
                    <a:lnTo>
                      <a:pt x="92" y="489"/>
                    </a:lnTo>
                    <a:lnTo>
                      <a:pt x="98" y="504"/>
                    </a:lnTo>
                    <a:lnTo>
                      <a:pt x="98" y="504"/>
                    </a:lnTo>
                    <a:lnTo>
                      <a:pt x="100" y="507"/>
                    </a:lnTo>
                    <a:lnTo>
                      <a:pt x="101" y="510"/>
                    </a:lnTo>
                    <a:lnTo>
                      <a:pt x="107" y="515"/>
                    </a:lnTo>
                    <a:lnTo>
                      <a:pt x="113" y="520"/>
                    </a:lnTo>
                    <a:lnTo>
                      <a:pt x="117" y="524"/>
                    </a:lnTo>
                    <a:lnTo>
                      <a:pt x="117" y="524"/>
                    </a:lnTo>
                    <a:lnTo>
                      <a:pt x="123" y="533"/>
                    </a:lnTo>
                    <a:lnTo>
                      <a:pt x="126" y="539"/>
                    </a:lnTo>
                    <a:lnTo>
                      <a:pt x="133" y="544"/>
                    </a:lnTo>
                    <a:lnTo>
                      <a:pt x="133" y="544"/>
                    </a:lnTo>
                    <a:lnTo>
                      <a:pt x="139" y="553"/>
                    </a:lnTo>
                    <a:lnTo>
                      <a:pt x="145" y="560"/>
                    </a:lnTo>
                    <a:lnTo>
                      <a:pt x="149" y="569"/>
                    </a:lnTo>
                    <a:lnTo>
                      <a:pt x="153" y="575"/>
                    </a:lnTo>
                    <a:lnTo>
                      <a:pt x="153" y="575"/>
                    </a:lnTo>
                    <a:lnTo>
                      <a:pt x="161" y="582"/>
                    </a:lnTo>
                    <a:lnTo>
                      <a:pt x="169" y="589"/>
                    </a:lnTo>
                    <a:lnTo>
                      <a:pt x="176" y="595"/>
                    </a:lnTo>
                    <a:lnTo>
                      <a:pt x="178" y="598"/>
                    </a:lnTo>
                    <a:lnTo>
                      <a:pt x="179" y="601"/>
                    </a:lnTo>
                    <a:lnTo>
                      <a:pt x="179" y="623"/>
                    </a:lnTo>
                    <a:lnTo>
                      <a:pt x="179" y="624"/>
                    </a:lnTo>
                    <a:lnTo>
                      <a:pt x="179" y="624"/>
                    </a:lnTo>
                    <a:lnTo>
                      <a:pt x="178" y="625"/>
                    </a:lnTo>
                    <a:lnTo>
                      <a:pt x="176" y="630"/>
                    </a:lnTo>
                    <a:lnTo>
                      <a:pt x="175" y="633"/>
                    </a:lnTo>
                    <a:lnTo>
                      <a:pt x="174" y="637"/>
                    </a:lnTo>
                    <a:lnTo>
                      <a:pt x="174" y="637"/>
                    </a:lnTo>
                    <a:lnTo>
                      <a:pt x="175" y="641"/>
                    </a:lnTo>
                    <a:lnTo>
                      <a:pt x="176" y="644"/>
                    </a:lnTo>
                    <a:lnTo>
                      <a:pt x="181" y="649"/>
                    </a:lnTo>
                    <a:lnTo>
                      <a:pt x="181" y="649"/>
                    </a:lnTo>
                    <a:lnTo>
                      <a:pt x="182" y="653"/>
                    </a:lnTo>
                    <a:lnTo>
                      <a:pt x="182" y="654"/>
                    </a:lnTo>
                    <a:lnTo>
                      <a:pt x="179" y="656"/>
                    </a:lnTo>
                    <a:lnTo>
                      <a:pt x="179" y="656"/>
                    </a:lnTo>
                    <a:lnTo>
                      <a:pt x="176" y="659"/>
                    </a:lnTo>
                    <a:lnTo>
                      <a:pt x="176" y="660"/>
                    </a:lnTo>
                    <a:lnTo>
                      <a:pt x="179" y="663"/>
                    </a:lnTo>
                    <a:lnTo>
                      <a:pt x="182" y="665"/>
                    </a:lnTo>
                    <a:lnTo>
                      <a:pt x="182" y="665"/>
                    </a:lnTo>
                    <a:lnTo>
                      <a:pt x="188" y="665"/>
                    </a:lnTo>
                    <a:lnTo>
                      <a:pt x="191" y="665"/>
                    </a:lnTo>
                    <a:lnTo>
                      <a:pt x="191" y="663"/>
                    </a:lnTo>
                    <a:lnTo>
                      <a:pt x="191" y="663"/>
                    </a:lnTo>
                    <a:lnTo>
                      <a:pt x="194" y="657"/>
                    </a:lnTo>
                    <a:lnTo>
                      <a:pt x="195" y="654"/>
                    </a:lnTo>
                    <a:lnTo>
                      <a:pt x="197" y="654"/>
                    </a:lnTo>
                    <a:lnTo>
                      <a:pt x="198" y="654"/>
                    </a:lnTo>
                    <a:lnTo>
                      <a:pt x="198" y="654"/>
                    </a:lnTo>
                    <a:lnTo>
                      <a:pt x="203" y="660"/>
                    </a:lnTo>
                    <a:lnTo>
                      <a:pt x="204" y="663"/>
                    </a:lnTo>
                    <a:lnTo>
                      <a:pt x="204" y="665"/>
                    </a:lnTo>
                    <a:lnTo>
                      <a:pt x="204" y="665"/>
                    </a:lnTo>
                    <a:lnTo>
                      <a:pt x="200" y="666"/>
                    </a:lnTo>
                    <a:lnTo>
                      <a:pt x="197" y="669"/>
                    </a:lnTo>
                    <a:lnTo>
                      <a:pt x="197" y="669"/>
                    </a:lnTo>
                    <a:lnTo>
                      <a:pt x="198" y="670"/>
                    </a:lnTo>
                    <a:lnTo>
                      <a:pt x="200" y="673"/>
                    </a:lnTo>
                    <a:lnTo>
                      <a:pt x="204" y="678"/>
                    </a:lnTo>
                    <a:lnTo>
                      <a:pt x="204" y="678"/>
                    </a:lnTo>
                    <a:lnTo>
                      <a:pt x="210" y="686"/>
                    </a:lnTo>
                    <a:lnTo>
                      <a:pt x="213" y="691"/>
                    </a:lnTo>
                    <a:lnTo>
                      <a:pt x="214" y="692"/>
                    </a:lnTo>
                    <a:lnTo>
                      <a:pt x="216" y="691"/>
                    </a:lnTo>
                    <a:lnTo>
                      <a:pt x="216" y="691"/>
                    </a:lnTo>
                    <a:lnTo>
                      <a:pt x="223" y="688"/>
                    </a:lnTo>
                    <a:lnTo>
                      <a:pt x="227" y="686"/>
                    </a:lnTo>
                    <a:lnTo>
                      <a:pt x="227" y="686"/>
                    </a:lnTo>
                    <a:lnTo>
                      <a:pt x="226" y="694"/>
                    </a:lnTo>
                    <a:lnTo>
                      <a:pt x="223" y="698"/>
                    </a:lnTo>
                    <a:lnTo>
                      <a:pt x="221" y="701"/>
                    </a:lnTo>
                    <a:lnTo>
                      <a:pt x="221" y="701"/>
                    </a:lnTo>
                    <a:lnTo>
                      <a:pt x="217" y="709"/>
                    </a:lnTo>
                    <a:lnTo>
                      <a:pt x="214" y="718"/>
                    </a:lnTo>
                    <a:lnTo>
                      <a:pt x="214" y="718"/>
                    </a:lnTo>
                    <a:lnTo>
                      <a:pt x="213" y="721"/>
                    </a:lnTo>
                    <a:lnTo>
                      <a:pt x="214" y="723"/>
                    </a:lnTo>
                    <a:lnTo>
                      <a:pt x="216" y="725"/>
                    </a:lnTo>
                    <a:lnTo>
                      <a:pt x="216" y="725"/>
                    </a:lnTo>
                    <a:lnTo>
                      <a:pt x="220" y="728"/>
                    </a:lnTo>
                    <a:lnTo>
                      <a:pt x="223" y="730"/>
                    </a:lnTo>
                    <a:lnTo>
                      <a:pt x="226" y="731"/>
                    </a:lnTo>
                    <a:lnTo>
                      <a:pt x="226" y="731"/>
                    </a:lnTo>
                    <a:lnTo>
                      <a:pt x="229" y="731"/>
                    </a:lnTo>
                    <a:lnTo>
                      <a:pt x="230" y="734"/>
                    </a:lnTo>
                    <a:lnTo>
                      <a:pt x="230" y="734"/>
                    </a:lnTo>
                    <a:lnTo>
                      <a:pt x="230" y="736"/>
                    </a:lnTo>
                    <a:lnTo>
                      <a:pt x="230" y="737"/>
                    </a:lnTo>
                    <a:lnTo>
                      <a:pt x="233" y="738"/>
                    </a:lnTo>
                    <a:lnTo>
                      <a:pt x="237" y="740"/>
                    </a:lnTo>
                    <a:lnTo>
                      <a:pt x="237" y="740"/>
                    </a:lnTo>
                    <a:lnTo>
                      <a:pt x="247" y="738"/>
                    </a:lnTo>
                    <a:lnTo>
                      <a:pt x="252" y="738"/>
                    </a:lnTo>
                    <a:lnTo>
                      <a:pt x="253" y="740"/>
                    </a:lnTo>
                    <a:lnTo>
                      <a:pt x="253" y="740"/>
                    </a:lnTo>
                    <a:lnTo>
                      <a:pt x="255" y="741"/>
                    </a:lnTo>
                    <a:lnTo>
                      <a:pt x="255" y="741"/>
                    </a:lnTo>
                    <a:lnTo>
                      <a:pt x="256" y="741"/>
                    </a:lnTo>
                    <a:lnTo>
                      <a:pt x="256" y="741"/>
                    </a:lnTo>
                    <a:lnTo>
                      <a:pt x="260" y="741"/>
                    </a:lnTo>
                    <a:lnTo>
                      <a:pt x="262" y="740"/>
                    </a:lnTo>
                    <a:lnTo>
                      <a:pt x="263" y="738"/>
                    </a:lnTo>
                    <a:lnTo>
                      <a:pt x="263" y="741"/>
                    </a:lnTo>
                    <a:lnTo>
                      <a:pt x="263" y="741"/>
                    </a:lnTo>
                    <a:lnTo>
                      <a:pt x="260" y="747"/>
                    </a:lnTo>
                    <a:lnTo>
                      <a:pt x="260" y="750"/>
                    </a:lnTo>
                    <a:lnTo>
                      <a:pt x="262" y="753"/>
                    </a:lnTo>
                    <a:lnTo>
                      <a:pt x="262" y="753"/>
                    </a:lnTo>
                    <a:lnTo>
                      <a:pt x="265" y="754"/>
                    </a:lnTo>
                    <a:lnTo>
                      <a:pt x="266" y="754"/>
                    </a:lnTo>
                    <a:lnTo>
                      <a:pt x="268" y="754"/>
                    </a:lnTo>
                    <a:lnTo>
                      <a:pt x="268" y="757"/>
                    </a:lnTo>
                    <a:lnTo>
                      <a:pt x="268" y="757"/>
                    </a:lnTo>
                    <a:lnTo>
                      <a:pt x="271" y="763"/>
                    </a:lnTo>
                    <a:lnTo>
                      <a:pt x="273" y="766"/>
                    </a:lnTo>
                    <a:lnTo>
                      <a:pt x="276" y="766"/>
                    </a:lnTo>
                    <a:lnTo>
                      <a:pt x="276" y="766"/>
                    </a:lnTo>
                    <a:lnTo>
                      <a:pt x="278" y="765"/>
                    </a:lnTo>
                    <a:lnTo>
                      <a:pt x="279" y="765"/>
                    </a:lnTo>
                    <a:lnTo>
                      <a:pt x="284" y="770"/>
                    </a:lnTo>
                    <a:lnTo>
                      <a:pt x="284" y="770"/>
                    </a:lnTo>
                    <a:lnTo>
                      <a:pt x="288" y="775"/>
                    </a:lnTo>
                    <a:lnTo>
                      <a:pt x="291" y="778"/>
                    </a:lnTo>
                    <a:lnTo>
                      <a:pt x="733" y="778"/>
                    </a:lnTo>
                    <a:lnTo>
                      <a:pt x="733" y="778"/>
                    </a:lnTo>
                    <a:lnTo>
                      <a:pt x="737" y="779"/>
                    </a:lnTo>
                    <a:lnTo>
                      <a:pt x="743" y="780"/>
                    </a:lnTo>
                    <a:lnTo>
                      <a:pt x="753" y="785"/>
                    </a:lnTo>
                    <a:lnTo>
                      <a:pt x="762" y="791"/>
                    </a:lnTo>
                    <a:lnTo>
                      <a:pt x="769" y="792"/>
                    </a:lnTo>
                    <a:lnTo>
                      <a:pt x="769" y="792"/>
                    </a:lnTo>
                    <a:lnTo>
                      <a:pt x="775" y="793"/>
                    </a:lnTo>
                    <a:lnTo>
                      <a:pt x="782" y="795"/>
                    </a:lnTo>
                    <a:lnTo>
                      <a:pt x="793" y="801"/>
                    </a:lnTo>
                    <a:lnTo>
                      <a:pt x="793" y="801"/>
                    </a:lnTo>
                    <a:lnTo>
                      <a:pt x="796" y="801"/>
                    </a:lnTo>
                    <a:lnTo>
                      <a:pt x="799" y="801"/>
                    </a:lnTo>
                    <a:lnTo>
                      <a:pt x="804" y="799"/>
                    </a:lnTo>
                    <a:lnTo>
                      <a:pt x="806" y="796"/>
                    </a:lnTo>
                    <a:lnTo>
                      <a:pt x="812" y="795"/>
                    </a:lnTo>
                    <a:lnTo>
                      <a:pt x="812" y="795"/>
                    </a:lnTo>
                    <a:lnTo>
                      <a:pt x="815" y="795"/>
                    </a:lnTo>
                    <a:lnTo>
                      <a:pt x="818" y="796"/>
                    </a:lnTo>
                    <a:lnTo>
                      <a:pt x="821" y="798"/>
                    </a:lnTo>
                    <a:lnTo>
                      <a:pt x="824" y="799"/>
                    </a:lnTo>
                    <a:lnTo>
                      <a:pt x="824" y="799"/>
                    </a:lnTo>
                    <a:lnTo>
                      <a:pt x="831" y="799"/>
                    </a:lnTo>
                    <a:lnTo>
                      <a:pt x="837" y="798"/>
                    </a:lnTo>
                    <a:lnTo>
                      <a:pt x="837" y="798"/>
                    </a:lnTo>
                    <a:lnTo>
                      <a:pt x="844" y="788"/>
                    </a:lnTo>
                    <a:lnTo>
                      <a:pt x="844" y="788"/>
                    </a:lnTo>
                    <a:lnTo>
                      <a:pt x="848" y="783"/>
                    </a:lnTo>
                    <a:lnTo>
                      <a:pt x="850" y="782"/>
                    </a:lnTo>
                    <a:lnTo>
                      <a:pt x="851" y="782"/>
                    </a:lnTo>
                    <a:lnTo>
                      <a:pt x="851" y="782"/>
                    </a:lnTo>
                    <a:lnTo>
                      <a:pt x="856" y="783"/>
                    </a:lnTo>
                    <a:lnTo>
                      <a:pt x="859" y="785"/>
                    </a:lnTo>
                    <a:lnTo>
                      <a:pt x="863" y="785"/>
                    </a:lnTo>
                    <a:lnTo>
                      <a:pt x="863" y="785"/>
                    </a:lnTo>
                    <a:lnTo>
                      <a:pt x="867" y="785"/>
                    </a:lnTo>
                    <a:lnTo>
                      <a:pt x="872" y="786"/>
                    </a:lnTo>
                    <a:lnTo>
                      <a:pt x="876" y="788"/>
                    </a:lnTo>
                    <a:lnTo>
                      <a:pt x="879" y="791"/>
                    </a:lnTo>
                    <a:lnTo>
                      <a:pt x="879" y="791"/>
                    </a:lnTo>
                    <a:lnTo>
                      <a:pt x="880" y="793"/>
                    </a:lnTo>
                    <a:lnTo>
                      <a:pt x="882" y="798"/>
                    </a:lnTo>
                    <a:lnTo>
                      <a:pt x="883" y="802"/>
                    </a:lnTo>
                    <a:lnTo>
                      <a:pt x="885" y="804"/>
                    </a:lnTo>
                    <a:lnTo>
                      <a:pt x="886" y="804"/>
                    </a:lnTo>
                    <a:lnTo>
                      <a:pt x="886" y="804"/>
                    </a:lnTo>
                    <a:lnTo>
                      <a:pt x="890" y="804"/>
                    </a:lnTo>
                    <a:lnTo>
                      <a:pt x="893" y="804"/>
                    </a:lnTo>
                    <a:lnTo>
                      <a:pt x="896" y="804"/>
                    </a:lnTo>
                    <a:lnTo>
                      <a:pt x="898" y="807"/>
                    </a:lnTo>
                    <a:lnTo>
                      <a:pt x="898" y="807"/>
                    </a:lnTo>
                    <a:lnTo>
                      <a:pt x="901" y="815"/>
                    </a:lnTo>
                    <a:lnTo>
                      <a:pt x="905" y="820"/>
                    </a:lnTo>
                    <a:lnTo>
                      <a:pt x="905" y="820"/>
                    </a:lnTo>
                    <a:lnTo>
                      <a:pt x="906" y="824"/>
                    </a:lnTo>
                    <a:lnTo>
                      <a:pt x="908" y="828"/>
                    </a:lnTo>
                    <a:lnTo>
                      <a:pt x="908" y="828"/>
                    </a:lnTo>
                    <a:lnTo>
                      <a:pt x="908" y="834"/>
                    </a:lnTo>
                    <a:lnTo>
                      <a:pt x="906" y="835"/>
                    </a:lnTo>
                    <a:lnTo>
                      <a:pt x="908" y="837"/>
                    </a:lnTo>
                    <a:lnTo>
                      <a:pt x="908" y="837"/>
                    </a:lnTo>
                    <a:lnTo>
                      <a:pt x="914" y="840"/>
                    </a:lnTo>
                    <a:lnTo>
                      <a:pt x="914" y="840"/>
                    </a:lnTo>
                    <a:lnTo>
                      <a:pt x="925" y="843"/>
                    </a:lnTo>
                    <a:lnTo>
                      <a:pt x="925" y="843"/>
                    </a:lnTo>
                    <a:lnTo>
                      <a:pt x="938" y="844"/>
                    </a:lnTo>
                    <a:lnTo>
                      <a:pt x="948" y="847"/>
                    </a:lnTo>
                    <a:lnTo>
                      <a:pt x="956" y="849"/>
                    </a:lnTo>
                    <a:lnTo>
                      <a:pt x="956" y="849"/>
                    </a:lnTo>
                    <a:lnTo>
                      <a:pt x="972" y="857"/>
                    </a:lnTo>
                    <a:lnTo>
                      <a:pt x="977" y="862"/>
                    </a:lnTo>
                    <a:lnTo>
                      <a:pt x="979" y="864"/>
                    </a:lnTo>
                    <a:lnTo>
                      <a:pt x="979" y="866"/>
                    </a:lnTo>
                    <a:lnTo>
                      <a:pt x="979" y="866"/>
                    </a:lnTo>
                    <a:lnTo>
                      <a:pt x="979" y="877"/>
                    </a:lnTo>
                    <a:lnTo>
                      <a:pt x="979" y="883"/>
                    </a:lnTo>
                    <a:lnTo>
                      <a:pt x="979" y="886"/>
                    </a:lnTo>
                    <a:lnTo>
                      <a:pt x="979" y="886"/>
                    </a:lnTo>
                    <a:lnTo>
                      <a:pt x="973" y="885"/>
                    </a:lnTo>
                    <a:lnTo>
                      <a:pt x="969" y="882"/>
                    </a:lnTo>
                    <a:lnTo>
                      <a:pt x="969" y="882"/>
                    </a:lnTo>
                    <a:lnTo>
                      <a:pt x="966" y="882"/>
                    </a:lnTo>
                    <a:lnTo>
                      <a:pt x="964" y="882"/>
                    </a:lnTo>
                    <a:lnTo>
                      <a:pt x="964" y="882"/>
                    </a:lnTo>
                    <a:lnTo>
                      <a:pt x="961" y="876"/>
                    </a:lnTo>
                    <a:lnTo>
                      <a:pt x="960" y="873"/>
                    </a:lnTo>
                    <a:lnTo>
                      <a:pt x="959" y="872"/>
                    </a:lnTo>
                    <a:lnTo>
                      <a:pt x="959" y="872"/>
                    </a:lnTo>
                    <a:lnTo>
                      <a:pt x="957" y="873"/>
                    </a:lnTo>
                    <a:lnTo>
                      <a:pt x="959" y="875"/>
                    </a:lnTo>
                    <a:lnTo>
                      <a:pt x="959" y="880"/>
                    </a:lnTo>
                    <a:lnTo>
                      <a:pt x="959" y="880"/>
                    </a:lnTo>
                    <a:lnTo>
                      <a:pt x="959" y="888"/>
                    </a:lnTo>
                    <a:lnTo>
                      <a:pt x="957" y="891"/>
                    </a:lnTo>
                    <a:lnTo>
                      <a:pt x="956" y="892"/>
                    </a:lnTo>
                    <a:lnTo>
                      <a:pt x="956" y="892"/>
                    </a:lnTo>
                    <a:lnTo>
                      <a:pt x="954" y="895"/>
                    </a:lnTo>
                    <a:lnTo>
                      <a:pt x="953" y="901"/>
                    </a:lnTo>
                    <a:lnTo>
                      <a:pt x="951" y="911"/>
                    </a:lnTo>
                    <a:lnTo>
                      <a:pt x="951" y="911"/>
                    </a:lnTo>
                    <a:lnTo>
                      <a:pt x="948" y="917"/>
                    </a:lnTo>
                    <a:lnTo>
                      <a:pt x="947" y="918"/>
                    </a:lnTo>
                    <a:lnTo>
                      <a:pt x="945" y="918"/>
                    </a:lnTo>
                    <a:lnTo>
                      <a:pt x="944" y="917"/>
                    </a:lnTo>
                    <a:lnTo>
                      <a:pt x="944" y="917"/>
                    </a:lnTo>
                    <a:lnTo>
                      <a:pt x="943" y="919"/>
                    </a:lnTo>
                    <a:lnTo>
                      <a:pt x="943" y="919"/>
                    </a:lnTo>
                    <a:lnTo>
                      <a:pt x="940" y="925"/>
                    </a:lnTo>
                    <a:lnTo>
                      <a:pt x="938" y="931"/>
                    </a:lnTo>
                    <a:lnTo>
                      <a:pt x="938" y="931"/>
                    </a:lnTo>
                    <a:lnTo>
                      <a:pt x="943" y="934"/>
                    </a:lnTo>
                    <a:lnTo>
                      <a:pt x="945" y="935"/>
                    </a:lnTo>
                    <a:lnTo>
                      <a:pt x="947" y="937"/>
                    </a:lnTo>
                    <a:lnTo>
                      <a:pt x="947" y="937"/>
                    </a:lnTo>
                    <a:lnTo>
                      <a:pt x="951" y="935"/>
                    </a:lnTo>
                    <a:lnTo>
                      <a:pt x="954" y="933"/>
                    </a:lnTo>
                    <a:lnTo>
                      <a:pt x="960" y="925"/>
                    </a:lnTo>
                    <a:lnTo>
                      <a:pt x="960" y="925"/>
                    </a:lnTo>
                    <a:lnTo>
                      <a:pt x="963" y="925"/>
                    </a:lnTo>
                    <a:lnTo>
                      <a:pt x="966" y="925"/>
                    </a:lnTo>
                    <a:lnTo>
                      <a:pt x="973" y="927"/>
                    </a:lnTo>
                    <a:lnTo>
                      <a:pt x="973" y="927"/>
                    </a:lnTo>
                    <a:lnTo>
                      <a:pt x="980" y="924"/>
                    </a:lnTo>
                    <a:lnTo>
                      <a:pt x="987" y="922"/>
                    </a:lnTo>
                    <a:lnTo>
                      <a:pt x="987" y="922"/>
                    </a:lnTo>
                    <a:lnTo>
                      <a:pt x="990" y="922"/>
                    </a:lnTo>
                    <a:lnTo>
                      <a:pt x="990" y="922"/>
                    </a:lnTo>
                    <a:lnTo>
                      <a:pt x="1011" y="912"/>
                    </a:lnTo>
                    <a:lnTo>
                      <a:pt x="1011" y="912"/>
                    </a:lnTo>
                    <a:lnTo>
                      <a:pt x="1002" y="914"/>
                    </a:lnTo>
                    <a:lnTo>
                      <a:pt x="1002" y="914"/>
                    </a:lnTo>
                    <a:lnTo>
                      <a:pt x="992" y="915"/>
                    </a:lnTo>
                    <a:lnTo>
                      <a:pt x="989" y="914"/>
                    </a:lnTo>
                    <a:lnTo>
                      <a:pt x="987" y="912"/>
                    </a:lnTo>
                    <a:lnTo>
                      <a:pt x="987" y="912"/>
                    </a:lnTo>
                    <a:lnTo>
                      <a:pt x="989" y="909"/>
                    </a:lnTo>
                    <a:lnTo>
                      <a:pt x="993" y="905"/>
                    </a:lnTo>
                    <a:lnTo>
                      <a:pt x="999" y="902"/>
                    </a:lnTo>
                    <a:lnTo>
                      <a:pt x="1002" y="899"/>
                    </a:lnTo>
                    <a:lnTo>
                      <a:pt x="1002" y="899"/>
                    </a:lnTo>
                    <a:lnTo>
                      <a:pt x="1014" y="899"/>
                    </a:lnTo>
                    <a:lnTo>
                      <a:pt x="1019" y="899"/>
                    </a:lnTo>
                    <a:lnTo>
                      <a:pt x="1025" y="899"/>
                    </a:lnTo>
                    <a:lnTo>
                      <a:pt x="1025" y="899"/>
                    </a:lnTo>
                    <a:lnTo>
                      <a:pt x="1032" y="895"/>
                    </a:lnTo>
                    <a:lnTo>
                      <a:pt x="1037" y="893"/>
                    </a:lnTo>
                    <a:lnTo>
                      <a:pt x="1040" y="893"/>
                    </a:lnTo>
                    <a:lnTo>
                      <a:pt x="1040" y="893"/>
                    </a:lnTo>
                    <a:lnTo>
                      <a:pt x="1040" y="893"/>
                    </a:lnTo>
                    <a:lnTo>
                      <a:pt x="1058" y="882"/>
                    </a:lnTo>
                    <a:lnTo>
                      <a:pt x="1067" y="876"/>
                    </a:lnTo>
                    <a:lnTo>
                      <a:pt x="1074" y="875"/>
                    </a:lnTo>
                    <a:lnTo>
                      <a:pt x="1074" y="875"/>
                    </a:lnTo>
                    <a:lnTo>
                      <a:pt x="1096" y="875"/>
                    </a:lnTo>
                    <a:lnTo>
                      <a:pt x="1116" y="873"/>
                    </a:lnTo>
                    <a:lnTo>
                      <a:pt x="1116" y="873"/>
                    </a:lnTo>
                    <a:lnTo>
                      <a:pt x="1121" y="869"/>
                    </a:lnTo>
                    <a:lnTo>
                      <a:pt x="1128" y="860"/>
                    </a:lnTo>
                    <a:lnTo>
                      <a:pt x="1135" y="851"/>
                    </a:lnTo>
                    <a:lnTo>
                      <a:pt x="1138" y="844"/>
                    </a:lnTo>
                    <a:lnTo>
                      <a:pt x="1138" y="844"/>
                    </a:lnTo>
                    <a:lnTo>
                      <a:pt x="1140" y="838"/>
                    </a:lnTo>
                    <a:lnTo>
                      <a:pt x="1144" y="831"/>
                    </a:lnTo>
                    <a:lnTo>
                      <a:pt x="1150" y="825"/>
                    </a:lnTo>
                    <a:lnTo>
                      <a:pt x="1154" y="822"/>
                    </a:lnTo>
                    <a:lnTo>
                      <a:pt x="1154" y="822"/>
                    </a:lnTo>
                    <a:lnTo>
                      <a:pt x="1158" y="821"/>
                    </a:lnTo>
                    <a:lnTo>
                      <a:pt x="1164" y="820"/>
                    </a:lnTo>
                    <a:lnTo>
                      <a:pt x="1177" y="822"/>
                    </a:lnTo>
                    <a:lnTo>
                      <a:pt x="1177" y="822"/>
                    </a:lnTo>
                    <a:lnTo>
                      <a:pt x="1179" y="822"/>
                    </a:lnTo>
                    <a:lnTo>
                      <a:pt x="1180" y="825"/>
                    </a:lnTo>
                    <a:lnTo>
                      <a:pt x="1180" y="834"/>
                    </a:lnTo>
                    <a:lnTo>
                      <a:pt x="1182" y="843"/>
                    </a:lnTo>
                    <a:lnTo>
                      <a:pt x="1182" y="846"/>
                    </a:lnTo>
                    <a:lnTo>
                      <a:pt x="1183" y="849"/>
                    </a:lnTo>
                    <a:lnTo>
                      <a:pt x="1183" y="849"/>
                    </a:lnTo>
                    <a:lnTo>
                      <a:pt x="1186" y="853"/>
                    </a:lnTo>
                    <a:lnTo>
                      <a:pt x="1186" y="857"/>
                    </a:lnTo>
                    <a:lnTo>
                      <a:pt x="1184" y="863"/>
                    </a:lnTo>
                    <a:lnTo>
                      <a:pt x="1184" y="863"/>
                    </a:lnTo>
                    <a:lnTo>
                      <a:pt x="1186" y="867"/>
                    </a:lnTo>
                    <a:lnTo>
                      <a:pt x="1192" y="872"/>
                    </a:lnTo>
                    <a:lnTo>
                      <a:pt x="1192" y="872"/>
                    </a:lnTo>
                    <a:lnTo>
                      <a:pt x="1193" y="872"/>
                    </a:lnTo>
                    <a:lnTo>
                      <a:pt x="1193" y="872"/>
                    </a:lnTo>
                    <a:lnTo>
                      <a:pt x="1200" y="872"/>
                    </a:lnTo>
                    <a:lnTo>
                      <a:pt x="1205" y="870"/>
                    </a:lnTo>
                    <a:lnTo>
                      <a:pt x="1213" y="866"/>
                    </a:lnTo>
                    <a:lnTo>
                      <a:pt x="1213" y="866"/>
                    </a:lnTo>
                    <a:lnTo>
                      <a:pt x="1221" y="863"/>
                    </a:lnTo>
                    <a:lnTo>
                      <a:pt x="1222" y="862"/>
                    </a:lnTo>
                    <a:lnTo>
                      <a:pt x="1222" y="863"/>
                    </a:lnTo>
                    <a:lnTo>
                      <a:pt x="1222" y="863"/>
                    </a:lnTo>
                    <a:lnTo>
                      <a:pt x="1222" y="866"/>
                    </a:lnTo>
                    <a:lnTo>
                      <a:pt x="1222" y="866"/>
                    </a:lnTo>
                    <a:lnTo>
                      <a:pt x="1225" y="866"/>
                    </a:lnTo>
                    <a:lnTo>
                      <a:pt x="1225" y="866"/>
                    </a:lnTo>
                    <a:lnTo>
                      <a:pt x="1237" y="864"/>
                    </a:lnTo>
                    <a:lnTo>
                      <a:pt x="1241" y="864"/>
                    </a:lnTo>
                    <a:lnTo>
                      <a:pt x="1242" y="864"/>
                    </a:lnTo>
                    <a:lnTo>
                      <a:pt x="1242" y="864"/>
                    </a:lnTo>
                    <a:lnTo>
                      <a:pt x="1238" y="869"/>
                    </a:lnTo>
                    <a:lnTo>
                      <a:pt x="1237" y="872"/>
                    </a:lnTo>
                    <a:lnTo>
                      <a:pt x="1234" y="872"/>
                    </a:lnTo>
                    <a:lnTo>
                      <a:pt x="1234" y="872"/>
                    </a:lnTo>
                    <a:lnTo>
                      <a:pt x="1229" y="872"/>
                    </a:lnTo>
                    <a:lnTo>
                      <a:pt x="1228" y="872"/>
                    </a:lnTo>
                    <a:lnTo>
                      <a:pt x="1224" y="875"/>
                    </a:lnTo>
                    <a:lnTo>
                      <a:pt x="1224" y="875"/>
                    </a:lnTo>
                    <a:lnTo>
                      <a:pt x="1212" y="882"/>
                    </a:lnTo>
                    <a:lnTo>
                      <a:pt x="1208" y="885"/>
                    </a:lnTo>
                    <a:lnTo>
                      <a:pt x="1205" y="888"/>
                    </a:lnTo>
                    <a:lnTo>
                      <a:pt x="1205" y="888"/>
                    </a:lnTo>
                    <a:lnTo>
                      <a:pt x="1205" y="892"/>
                    </a:lnTo>
                    <a:lnTo>
                      <a:pt x="1206" y="899"/>
                    </a:lnTo>
                    <a:lnTo>
                      <a:pt x="1209" y="904"/>
                    </a:lnTo>
                    <a:lnTo>
                      <a:pt x="1211" y="905"/>
                    </a:lnTo>
                    <a:lnTo>
                      <a:pt x="1212" y="906"/>
                    </a:lnTo>
                    <a:lnTo>
                      <a:pt x="1212" y="906"/>
                    </a:lnTo>
                    <a:lnTo>
                      <a:pt x="1216" y="905"/>
                    </a:lnTo>
                    <a:lnTo>
                      <a:pt x="1222" y="901"/>
                    </a:lnTo>
                    <a:lnTo>
                      <a:pt x="1226" y="898"/>
                    </a:lnTo>
                    <a:lnTo>
                      <a:pt x="1228" y="895"/>
                    </a:lnTo>
                    <a:lnTo>
                      <a:pt x="1228" y="895"/>
                    </a:lnTo>
                    <a:lnTo>
                      <a:pt x="1231" y="886"/>
                    </a:lnTo>
                    <a:lnTo>
                      <a:pt x="1235" y="883"/>
                    </a:lnTo>
                    <a:lnTo>
                      <a:pt x="1237" y="882"/>
                    </a:lnTo>
                    <a:lnTo>
                      <a:pt x="1240" y="882"/>
                    </a:lnTo>
                    <a:lnTo>
                      <a:pt x="1240" y="882"/>
                    </a:lnTo>
                    <a:lnTo>
                      <a:pt x="1248" y="885"/>
                    </a:lnTo>
                    <a:lnTo>
                      <a:pt x="1251" y="885"/>
                    </a:lnTo>
                    <a:lnTo>
                      <a:pt x="1255" y="883"/>
                    </a:lnTo>
                    <a:lnTo>
                      <a:pt x="1255" y="883"/>
                    </a:lnTo>
                    <a:lnTo>
                      <a:pt x="1261" y="880"/>
                    </a:lnTo>
                    <a:lnTo>
                      <a:pt x="1267" y="876"/>
                    </a:lnTo>
                    <a:lnTo>
                      <a:pt x="1274" y="872"/>
                    </a:lnTo>
                    <a:lnTo>
                      <a:pt x="1279" y="870"/>
                    </a:lnTo>
                    <a:lnTo>
                      <a:pt x="1279" y="870"/>
                    </a:lnTo>
                    <a:lnTo>
                      <a:pt x="1284" y="867"/>
                    </a:lnTo>
                    <a:lnTo>
                      <a:pt x="1286" y="867"/>
                    </a:lnTo>
                    <a:lnTo>
                      <a:pt x="1286" y="864"/>
                    </a:lnTo>
                    <a:lnTo>
                      <a:pt x="1286" y="864"/>
                    </a:lnTo>
                    <a:lnTo>
                      <a:pt x="1283" y="862"/>
                    </a:lnTo>
                    <a:lnTo>
                      <a:pt x="1282" y="860"/>
                    </a:lnTo>
                    <a:lnTo>
                      <a:pt x="1277" y="859"/>
                    </a:lnTo>
                    <a:lnTo>
                      <a:pt x="1277" y="859"/>
                    </a:lnTo>
                    <a:lnTo>
                      <a:pt x="1273" y="857"/>
                    </a:lnTo>
                    <a:lnTo>
                      <a:pt x="1271" y="856"/>
                    </a:lnTo>
                    <a:lnTo>
                      <a:pt x="1270" y="854"/>
                    </a:lnTo>
                    <a:lnTo>
                      <a:pt x="1268" y="854"/>
                    </a:lnTo>
                    <a:lnTo>
                      <a:pt x="1268" y="854"/>
                    </a:lnTo>
                    <a:lnTo>
                      <a:pt x="1264" y="856"/>
                    </a:lnTo>
                    <a:lnTo>
                      <a:pt x="1257" y="856"/>
                    </a:lnTo>
                    <a:lnTo>
                      <a:pt x="1257" y="856"/>
                    </a:lnTo>
                    <a:lnTo>
                      <a:pt x="1248" y="853"/>
                    </a:lnTo>
                    <a:lnTo>
                      <a:pt x="1245" y="851"/>
                    </a:lnTo>
                    <a:lnTo>
                      <a:pt x="1244" y="849"/>
                    </a:lnTo>
                    <a:lnTo>
                      <a:pt x="1244" y="849"/>
                    </a:lnTo>
                    <a:lnTo>
                      <a:pt x="1241" y="847"/>
                    </a:lnTo>
                    <a:lnTo>
                      <a:pt x="1238" y="847"/>
                    </a:lnTo>
                    <a:lnTo>
                      <a:pt x="1232" y="847"/>
                    </a:lnTo>
                    <a:lnTo>
                      <a:pt x="1229" y="847"/>
                    </a:lnTo>
                    <a:lnTo>
                      <a:pt x="1229" y="847"/>
                    </a:lnTo>
                    <a:lnTo>
                      <a:pt x="1228" y="846"/>
                    </a:lnTo>
                    <a:lnTo>
                      <a:pt x="1226" y="843"/>
                    </a:lnTo>
                    <a:lnTo>
                      <a:pt x="1226" y="840"/>
                    </a:lnTo>
                    <a:lnTo>
                      <a:pt x="1225" y="837"/>
                    </a:lnTo>
                    <a:lnTo>
                      <a:pt x="1225" y="837"/>
                    </a:lnTo>
                    <a:lnTo>
                      <a:pt x="1219" y="831"/>
                    </a:lnTo>
                    <a:lnTo>
                      <a:pt x="1218" y="828"/>
                    </a:lnTo>
                    <a:lnTo>
                      <a:pt x="1219" y="827"/>
                    </a:lnTo>
                    <a:lnTo>
                      <a:pt x="1219" y="827"/>
                    </a:lnTo>
                    <a:lnTo>
                      <a:pt x="1221" y="824"/>
                    </a:lnTo>
                    <a:lnTo>
                      <a:pt x="1224" y="820"/>
                    </a:lnTo>
                    <a:lnTo>
                      <a:pt x="1224" y="815"/>
                    </a:lnTo>
                    <a:lnTo>
                      <a:pt x="1224" y="812"/>
                    </a:lnTo>
                    <a:lnTo>
                      <a:pt x="1222" y="812"/>
                    </a:lnTo>
                    <a:lnTo>
                      <a:pt x="1222" y="812"/>
                    </a:lnTo>
                    <a:lnTo>
                      <a:pt x="1216" y="812"/>
                    </a:lnTo>
                    <a:lnTo>
                      <a:pt x="1213" y="812"/>
                    </a:lnTo>
                    <a:lnTo>
                      <a:pt x="1211" y="809"/>
                    </a:lnTo>
                    <a:lnTo>
                      <a:pt x="1211" y="809"/>
                    </a:lnTo>
                    <a:lnTo>
                      <a:pt x="1208" y="808"/>
                    </a:lnTo>
                    <a:lnTo>
                      <a:pt x="1203" y="807"/>
                    </a:lnTo>
                    <a:lnTo>
                      <a:pt x="1200" y="805"/>
                    </a:lnTo>
                    <a:lnTo>
                      <a:pt x="1200" y="804"/>
                    </a:lnTo>
                    <a:lnTo>
                      <a:pt x="1200" y="804"/>
                    </a:lnTo>
                    <a:lnTo>
                      <a:pt x="1200" y="804"/>
                    </a:lnTo>
                    <a:lnTo>
                      <a:pt x="1202" y="802"/>
                    </a:lnTo>
                    <a:lnTo>
                      <a:pt x="1205" y="802"/>
                    </a:lnTo>
                    <a:lnTo>
                      <a:pt x="1212" y="804"/>
                    </a:lnTo>
                    <a:lnTo>
                      <a:pt x="1212" y="804"/>
                    </a:lnTo>
                    <a:lnTo>
                      <a:pt x="1219" y="804"/>
                    </a:lnTo>
                    <a:lnTo>
                      <a:pt x="1224" y="802"/>
                    </a:lnTo>
                    <a:lnTo>
                      <a:pt x="1228" y="799"/>
                    </a:lnTo>
                    <a:lnTo>
                      <a:pt x="1231" y="795"/>
                    </a:lnTo>
                    <a:lnTo>
                      <a:pt x="1231" y="795"/>
                    </a:lnTo>
                    <a:lnTo>
                      <a:pt x="1232" y="791"/>
                    </a:lnTo>
                    <a:lnTo>
                      <a:pt x="1232" y="786"/>
                    </a:lnTo>
                    <a:lnTo>
                      <a:pt x="1232" y="786"/>
                    </a:lnTo>
                    <a:lnTo>
                      <a:pt x="1232" y="780"/>
                    </a:lnTo>
                    <a:lnTo>
                      <a:pt x="1231" y="779"/>
                    </a:lnTo>
                    <a:lnTo>
                      <a:pt x="1226" y="776"/>
                    </a:lnTo>
                    <a:lnTo>
                      <a:pt x="1226" y="776"/>
                    </a:lnTo>
                    <a:lnTo>
                      <a:pt x="1221" y="775"/>
                    </a:lnTo>
                    <a:lnTo>
                      <a:pt x="1215" y="773"/>
                    </a:lnTo>
                    <a:lnTo>
                      <a:pt x="1211" y="773"/>
                    </a:lnTo>
                    <a:lnTo>
                      <a:pt x="1206" y="773"/>
                    </a:lnTo>
                    <a:lnTo>
                      <a:pt x="1206" y="773"/>
                    </a:lnTo>
                    <a:lnTo>
                      <a:pt x="1192" y="779"/>
                    </a:lnTo>
                    <a:lnTo>
                      <a:pt x="1176" y="788"/>
                    </a:lnTo>
                    <a:lnTo>
                      <a:pt x="1176" y="788"/>
                    </a:lnTo>
                    <a:lnTo>
                      <a:pt x="1166" y="792"/>
                    </a:lnTo>
                    <a:lnTo>
                      <a:pt x="1163" y="795"/>
                    </a:lnTo>
                    <a:lnTo>
                      <a:pt x="1157" y="798"/>
                    </a:lnTo>
                    <a:lnTo>
                      <a:pt x="1157" y="798"/>
                    </a:lnTo>
                    <a:lnTo>
                      <a:pt x="1151" y="805"/>
                    </a:lnTo>
                    <a:lnTo>
                      <a:pt x="1144" y="815"/>
                    </a:lnTo>
                    <a:lnTo>
                      <a:pt x="1137" y="824"/>
                    </a:lnTo>
                    <a:lnTo>
                      <a:pt x="1134" y="827"/>
                    </a:lnTo>
                    <a:lnTo>
                      <a:pt x="1131" y="828"/>
                    </a:lnTo>
                    <a:lnTo>
                      <a:pt x="1131" y="828"/>
                    </a:lnTo>
                    <a:lnTo>
                      <a:pt x="1129" y="828"/>
                    </a:lnTo>
                    <a:lnTo>
                      <a:pt x="1129" y="827"/>
                    </a:lnTo>
                    <a:lnTo>
                      <a:pt x="1131" y="825"/>
                    </a:lnTo>
                    <a:lnTo>
                      <a:pt x="1137" y="817"/>
                    </a:lnTo>
                    <a:lnTo>
                      <a:pt x="1137" y="817"/>
                    </a:lnTo>
                    <a:lnTo>
                      <a:pt x="1145" y="802"/>
                    </a:lnTo>
                    <a:lnTo>
                      <a:pt x="1154" y="789"/>
                    </a:lnTo>
                    <a:lnTo>
                      <a:pt x="1154" y="789"/>
                    </a:lnTo>
                    <a:lnTo>
                      <a:pt x="1163" y="780"/>
                    </a:lnTo>
                    <a:lnTo>
                      <a:pt x="1167" y="776"/>
                    </a:lnTo>
                    <a:lnTo>
                      <a:pt x="1171" y="775"/>
                    </a:lnTo>
                    <a:lnTo>
                      <a:pt x="1171" y="775"/>
                    </a:lnTo>
                    <a:lnTo>
                      <a:pt x="1179" y="770"/>
                    </a:lnTo>
                    <a:lnTo>
                      <a:pt x="1184" y="767"/>
                    </a:lnTo>
                    <a:lnTo>
                      <a:pt x="1184" y="767"/>
                    </a:lnTo>
                    <a:lnTo>
                      <a:pt x="1192" y="756"/>
                    </a:lnTo>
                    <a:lnTo>
                      <a:pt x="1198" y="749"/>
                    </a:lnTo>
                    <a:lnTo>
                      <a:pt x="1202" y="746"/>
                    </a:lnTo>
                    <a:lnTo>
                      <a:pt x="1202" y="746"/>
                    </a:lnTo>
                    <a:lnTo>
                      <a:pt x="1211" y="746"/>
                    </a:lnTo>
                    <a:lnTo>
                      <a:pt x="1222" y="746"/>
                    </a:lnTo>
                    <a:lnTo>
                      <a:pt x="1247" y="747"/>
                    </a:lnTo>
                    <a:lnTo>
                      <a:pt x="1247" y="747"/>
                    </a:lnTo>
                    <a:lnTo>
                      <a:pt x="1279" y="746"/>
                    </a:lnTo>
                    <a:lnTo>
                      <a:pt x="1297" y="746"/>
                    </a:lnTo>
                    <a:lnTo>
                      <a:pt x="1308" y="743"/>
                    </a:lnTo>
                    <a:lnTo>
                      <a:pt x="1308" y="743"/>
                    </a:lnTo>
                    <a:lnTo>
                      <a:pt x="1312" y="740"/>
                    </a:lnTo>
                    <a:lnTo>
                      <a:pt x="1315" y="736"/>
                    </a:lnTo>
                    <a:lnTo>
                      <a:pt x="1319" y="728"/>
                    </a:lnTo>
                    <a:lnTo>
                      <a:pt x="1319" y="728"/>
                    </a:lnTo>
                    <a:lnTo>
                      <a:pt x="1322" y="725"/>
                    </a:lnTo>
                    <a:lnTo>
                      <a:pt x="1325" y="723"/>
                    </a:lnTo>
                    <a:lnTo>
                      <a:pt x="1328" y="720"/>
                    </a:lnTo>
                    <a:lnTo>
                      <a:pt x="1331" y="720"/>
                    </a:lnTo>
                    <a:lnTo>
                      <a:pt x="1331" y="720"/>
                    </a:lnTo>
                    <a:lnTo>
                      <a:pt x="1338" y="718"/>
                    </a:lnTo>
                    <a:lnTo>
                      <a:pt x="1347" y="715"/>
                    </a:lnTo>
                    <a:lnTo>
                      <a:pt x="1347" y="715"/>
                    </a:lnTo>
                    <a:lnTo>
                      <a:pt x="1357" y="712"/>
                    </a:lnTo>
                    <a:lnTo>
                      <a:pt x="1363" y="709"/>
                    </a:lnTo>
                    <a:lnTo>
                      <a:pt x="1366" y="705"/>
                    </a:lnTo>
                    <a:lnTo>
                      <a:pt x="1366" y="705"/>
                    </a:lnTo>
                    <a:lnTo>
                      <a:pt x="1367" y="699"/>
                    </a:lnTo>
                    <a:lnTo>
                      <a:pt x="1367" y="698"/>
                    </a:lnTo>
                    <a:lnTo>
                      <a:pt x="1366" y="69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32" name="Freeform 1187"/>
              <p:cNvSpPr>
                <a:spLocks/>
              </p:cNvSpPr>
              <p:nvPr/>
            </p:nvSpPr>
            <p:spPr bwMode="auto">
              <a:xfrm>
                <a:off x="2409478" y="1865895"/>
                <a:ext cx="13850" cy="12860"/>
              </a:xfrm>
              <a:custGeom>
                <a:avLst/>
                <a:gdLst>
                  <a:gd name="T0" fmla="*/ 14 w 14"/>
                  <a:gd name="T1" fmla="*/ 8 h 13"/>
                  <a:gd name="T2" fmla="*/ 14 w 14"/>
                  <a:gd name="T3" fmla="*/ 8 h 13"/>
                  <a:gd name="T4" fmla="*/ 13 w 14"/>
                  <a:gd name="T5" fmla="*/ 10 h 13"/>
                  <a:gd name="T6" fmla="*/ 10 w 14"/>
                  <a:gd name="T7" fmla="*/ 12 h 13"/>
                  <a:gd name="T8" fmla="*/ 7 w 14"/>
                  <a:gd name="T9" fmla="*/ 13 h 13"/>
                  <a:gd name="T10" fmla="*/ 7 w 14"/>
                  <a:gd name="T11" fmla="*/ 13 h 13"/>
                  <a:gd name="T12" fmla="*/ 1 w 14"/>
                  <a:gd name="T13" fmla="*/ 10 h 13"/>
                  <a:gd name="T14" fmla="*/ 0 w 14"/>
                  <a:gd name="T15" fmla="*/ 9 h 13"/>
                  <a:gd name="T16" fmla="*/ 1 w 14"/>
                  <a:gd name="T17" fmla="*/ 6 h 13"/>
                  <a:gd name="T18" fmla="*/ 1 w 14"/>
                  <a:gd name="T19" fmla="*/ 6 h 13"/>
                  <a:gd name="T20" fmla="*/ 7 w 14"/>
                  <a:gd name="T21" fmla="*/ 2 h 13"/>
                  <a:gd name="T22" fmla="*/ 10 w 14"/>
                  <a:gd name="T23" fmla="*/ 0 h 13"/>
                  <a:gd name="T24" fmla="*/ 11 w 14"/>
                  <a:gd name="T25" fmla="*/ 0 h 13"/>
                  <a:gd name="T26" fmla="*/ 11 w 14"/>
                  <a:gd name="T27" fmla="*/ 0 h 13"/>
                  <a:gd name="T28" fmla="*/ 13 w 14"/>
                  <a:gd name="T29" fmla="*/ 5 h 13"/>
                  <a:gd name="T30" fmla="*/ 14 w 14"/>
                  <a:gd name="T31" fmla="*/ 6 h 13"/>
                  <a:gd name="T32" fmla="*/ 14 w 14"/>
                  <a:gd name="T3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13">
                    <a:moveTo>
                      <a:pt x="14" y="8"/>
                    </a:moveTo>
                    <a:lnTo>
                      <a:pt x="14" y="8"/>
                    </a:lnTo>
                    <a:lnTo>
                      <a:pt x="13" y="10"/>
                    </a:lnTo>
                    <a:lnTo>
                      <a:pt x="10" y="12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1" y="10"/>
                    </a:lnTo>
                    <a:lnTo>
                      <a:pt x="0" y="9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7" y="2"/>
                    </a:lnTo>
                    <a:lnTo>
                      <a:pt x="10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3" y="5"/>
                    </a:lnTo>
                    <a:lnTo>
                      <a:pt x="14" y="6"/>
                    </a:lnTo>
                    <a:lnTo>
                      <a:pt x="14" y="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33" name="Freeform 1188"/>
              <p:cNvSpPr>
                <a:spLocks/>
              </p:cNvSpPr>
              <p:nvPr/>
            </p:nvSpPr>
            <p:spPr bwMode="auto">
              <a:xfrm>
                <a:off x="2438167" y="1861938"/>
                <a:ext cx="10882" cy="22753"/>
              </a:xfrm>
              <a:custGeom>
                <a:avLst/>
                <a:gdLst>
                  <a:gd name="T0" fmla="*/ 0 w 11"/>
                  <a:gd name="T1" fmla="*/ 7 h 23"/>
                  <a:gd name="T2" fmla="*/ 0 w 11"/>
                  <a:gd name="T3" fmla="*/ 7 h 23"/>
                  <a:gd name="T4" fmla="*/ 1 w 11"/>
                  <a:gd name="T5" fmla="*/ 0 h 23"/>
                  <a:gd name="T6" fmla="*/ 3 w 11"/>
                  <a:gd name="T7" fmla="*/ 0 h 23"/>
                  <a:gd name="T8" fmla="*/ 6 w 11"/>
                  <a:gd name="T9" fmla="*/ 1 h 23"/>
                  <a:gd name="T10" fmla="*/ 6 w 11"/>
                  <a:gd name="T11" fmla="*/ 1 h 23"/>
                  <a:gd name="T12" fmla="*/ 8 w 11"/>
                  <a:gd name="T13" fmla="*/ 4 h 23"/>
                  <a:gd name="T14" fmla="*/ 10 w 11"/>
                  <a:gd name="T15" fmla="*/ 9 h 23"/>
                  <a:gd name="T16" fmla="*/ 11 w 11"/>
                  <a:gd name="T17" fmla="*/ 13 h 23"/>
                  <a:gd name="T18" fmla="*/ 11 w 11"/>
                  <a:gd name="T19" fmla="*/ 16 h 23"/>
                  <a:gd name="T20" fmla="*/ 11 w 11"/>
                  <a:gd name="T21" fmla="*/ 16 h 23"/>
                  <a:gd name="T22" fmla="*/ 10 w 11"/>
                  <a:gd name="T23" fmla="*/ 20 h 23"/>
                  <a:gd name="T24" fmla="*/ 10 w 11"/>
                  <a:gd name="T25" fmla="*/ 22 h 23"/>
                  <a:gd name="T26" fmla="*/ 7 w 11"/>
                  <a:gd name="T27" fmla="*/ 23 h 23"/>
                  <a:gd name="T28" fmla="*/ 7 w 11"/>
                  <a:gd name="T29" fmla="*/ 23 h 23"/>
                  <a:gd name="T30" fmla="*/ 4 w 11"/>
                  <a:gd name="T31" fmla="*/ 22 h 23"/>
                  <a:gd name="T32" fmla="*/ 1 w 11"/>
                  <a:gd name="T33" fmla="*/ 17 h 23"/>
                  <a:gd name="T34" fmla="*/ 0 w 11"/>
                  <a:gd name="T35" fmla="*/ 12 h 23"/>
                  <a:gd name="T36" fmla="*/ 0 w 11"/>
                  <a:gd name="T37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" h="23">
                    <a:moveTo>
                      <a:pt x="0" y="7"/>
                    </a:moveTo>
                    <a:lnTo>
                      <a:pt x="0" y="7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8" y="4"/>
                    </a:lnTo>
                    <a:lnTo>
                      <a:pt x="10" y="9"/>
                    </a:lnTo>
                    <a:lnTo>
                      <a:pt x="11" y="13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0" y="20"/>
                    </a:lnTo>
                    <a:lnTo>
                      <a:pt x="10" y="22"/>
                    </a:lnTo>
                    <a:lnTo>
                      <a:pt x="7" y="23"/>
                    </a:lnTo>
                    <a:lnTo>
                      <a:pt x="7" y="23"/>
                    </a:lnTo>
                    <a:lnTo>
                      <a:pt x="4" y="22"/>
                    </a:lnTo>
                    <a:lnTo>
                      <a:pt x="1" y="17"/>
                    </a:lnTo>
                    <a:lnTo>
                      <a:pt x="0" y="12"/>
                    </a:lnTo>
                    <a:lnTo>
                      <a:pt x="0" y="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34" name="Freeform 1189"/>
              <p:cNvSpPr>
                <a:spLocks/>
              </p:cNvSpPr>
              <p:nvPr/>
            </p:nvSpPr>
            <p:spPr bwMode="auto">
              <a:xfrm>
                <a:off x="2439156" y="2112221"/>
                <a:ext cx="18796" cy="10882"/>
              </a:xfrm>
              <a:custGeom>
                <a:avLst/>
                <a:gdLst>
                  <a:gd name="T0" fmla="*/ 12 w 19"/>
                  <a:gd name="T1" fmla="*/ 9 h 11"/>
                  <a:gd name="T2" fmla="*/ 12 w 19"/>
                  <a:gd name="T3" fmla="*/ 9 h 11"/>
                  <a:gd name="T4" fmla="*/ 7 w 19"/>
                  <a:gd name="T5" fmla="*/ 11 h 11"/>
                  <a:gd name="T6" fmla="*/ 3 w 19"/>
                  <a:gd name="T7" fmla="*/ 11 h 11"/>
                  <a:gd name="T8" fmla="*/ 0 w 19"/>
                  <a:gd name="T9" fmla="*/ 9 h 11"/>
                  <a:gd name="T10" fmla="*/ 2 w 19"/>
                  <a:gd name="T11" fmla="*/ 8 h 11"/>
                  <a:gd name="T12" fmla="*/ 2 w 19"/>
                  <a:gd name="T13" fmla="*/ 6 h 11"/>
                  <a:gd name="T14" fmla="*/ 2 w 19"/>
                  <a:gd name="T15" fmla="*/ 6 h 11"/>
                  <a:gd name="T16" fmla="*/ 12 w 19"/>
                  <a:gd name="T17" fmla="*/ 2 h 11"/>
                  <a:gd name="T18" fmla="*/ 15 w 19"/>
                  <a:gd name="T19" fmla="*/ 0 h 11"/>
                  <a:gd name="T20" fmla="*/ 18 w 19"/>
                  <a:gd name="T21" fmla="*/ 0 h 11"/>
                  <a:gd name="T22" fmla="*/ 18 w 19"/>
                  <a:gd name="T23" fmla="*/ 0 h 11"/>
                  <a:gd name="T24" fmla="*/ 19 w 19"/>
                  <a:gd name="T25" fmla="*/ 2 h 11"/>
                  <a:gd name="T26" fmla="*/ 16 w 19"/>
                  <a:gd name="T27" fmla="*/ 5 h 11"/>
                  <a:gd name="T28" fmla="*/ 12 w 19"/>
                  <a:gd name="T29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" h="11">
                    <a:moveTo>
                      <a:pt x="12" y="9"/>
                    </a:moveTo>
                    <a:lnTo>
                      <a:pt x="12" y="9"/>
                    </a:lnTo>
                    <a:lnTo>
                      <a:pt x="7" y="11"/>
                    </a:lnTo>
                    <a:lnTo>
                      <a:pt x="3" y="11"/>
                    </a:lnTo>
                    <a:lnTo>
                      <a:pt x="0" y="9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12" y="2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9" y="2"/>
                    </a:lnTo>
                    <a:lnTo>
                      <a:pt x="16" y="5"/>
                    </a:lnTo>
                    <a:lnTo>
                      <a:pt x="12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35" name="Freeform 1190"/>
              <p:cNvSpPr>
                <a:spLocks/>
              </p:cNvSpPr>
              <p:nvPr/>
            </p:nvSpPr>
            <p:spPr bwMode="auto">
              <a:xfrm>
                <a:off x="2482683" y="2027144"/>
                <a:ext cx="32646" cy="13850"/>
              </a:xfrm>
              <a:custGeom>
                <a:avLst/>
                <a:gdLst>
                  <a:gd name="T0" fmla="*/ 27 w 33"/>
                  <a:gd name="T1" fmla="*/ 13 h 14"/>
                  <a:gd name="T2" fmla="*/ 27 w 33"/>
                  <a:gd name="T3" fmla="*/ 13 h 14"/>
                  <a:gd name="T4" fmla="*/ 23 w 33"/>
                  <a:gd name="T5" fmla="*/ 14 h 14"/>
                  <a:gd name="T6" fmla="*/ 18 w 33"/>
                  <a:gd name="T7" fmla="*/ 14 h 14"/>
                  <a:gd name="T8" fmla="*/ 10 w 33"/>
                  <a:gd name="T9" fmla="*/ 13 h 14"/>
                  <a:gd name="T10" fmla="*/ 1 w 33"/>
                  <a:gd name="T11" fmla="*/ 10 h 14"/>
                  <a:gd name="T12" fmla="*/ 0 w 33"/>
                  <a:gd name="T13" fmla="*/ 8 h 14"/>
                  <a:gd name="T14" fmla="*/ 0 w 33"/>
                  <a:gd name="T15" fmla="*/ 5 h 14"/>
                  <a:gd name="T16" fmla="*/ 0 w 33"/>
                  <a:gd name="T17" fmla="*/ 5 h 14"/>
                  <a:gd name="T18" fmla="*/ 1 w 33"/>
                  <a:gd name="T19" fmla="*/ 2 h 14"/>
                  <a:gd name="T20" fmla="*/ 4 w 33"/>
                  <a:gd name="T21" fmla="*/ 0 h 14"/>
                  <a:gd name="T22" fmla="*/ 7 w 33"/>
                  <a:gd name="T23" fmla="*/ 0 h 14"/>
                  <a:gd name="T24" fmla="*/ 11 w 33"/>
                  <a:gd name="T25" fmla="*/ 1 h 14"/>
                  <a:gd name="T26" fmla="*/ 11 w 33"/>
                  <a:gd name="T27" fmla="*/ 1 h 14"/>
                  <a:gd name="T28" fmla="*/ 17 w 33"/>
                  <a:gd name="T29" fmla="*/ 4 h 14"/>
                  <a:gd name="T30" fmla="*/ 23 w 33"/>
                  <a:gd name="T31" fmla="*/ 4 h 14"/>
                  <a:gd name="T32" fmla="*/ 23 w 33"/>
                  <a:gd name="T33" fmla="*/ 4 h 14"/>
                  <a:gd name="T34" fmla="*/ 29 w 33"/>
                  <a:gd name="T35" fmla="*/ 2 h 14"/>
                  <a:gd name="T36" fmla="*/ 31 w 33"/>
                  <a:gd name="T37" fmla="*/ 2 h 14"/>
                  <a:gd name="T38" fmla="*/ 33 w 33"/>
                  <a:gd name="T39" fmla="*/ 4 h 14"/>
                  <a:gd name="T40" fmla="*/ 33 w 33"/>
                  <a:gd name="T41" fmla="*/ 4 h 14"/>
                  <a:gd name="T42" fmla="*/ 33 w 33"/>
                  <a:gd name="T43" fmla="*/ 7 h 14"/>
                  <a:gd name="T44" fmla="*/ 31 w 33"/>
                  <a:gd name="T45" fmla="*/ 8 h 14"/>
                  <a:gd name="T46" fmla="*/ 27 w 33"/>
                  <a:gd name="T47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" h="14">
                    <a:moveTo>
                      <a:pt x="27" y="13"/>
                    </a:moveTo>
                    <a:lnTo>
                      <a:pt x="27" y="13"/>
                    </a:lnTo>
                    <a:lnTo>
                      <a:pt x="23" y="14"/>
                    </a:lnTo>
                    <a:lnTo>
                      <a:pt x="18" y="14"/>
                    </a:lnTo>
                    <a:lnTo>
                      <a:pt x="10" y="13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1" y="2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1" y="1"/>
                    </a:lnTo>
                    <a:lnTo>
                      <a:pt x="17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9" y="2"/>
                    </a:lnTo>
                    <a:lnTo>
                      <a:pt x="31" y="2"/>
                    </a:lnTo>
                    <a:lnTo>
                      <a:pt x="33" y="4"/>
                    </a:lnTo>
                    <a:lnTo>
                      <a:pt x="33" y="4"/>
                    </a:lnTo>
                    <a:lnTo>
                      <a:pt x="33" y="7"/>
                    </a:lnTo>
                    <a:lnTo>
                      <a:pt x="31" y="8"/>
                    </a:lnTo>
                    <a:lnTo>
                      <a:pt x="27" y="1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36" name="Freeform 1191"/>
              <p:cNvSpPr>
                <a:spLocks/>
              </p:cNvSpPr>
              <p:nvPr/>
            </p:nvSpPr>
            <p:spPr bwMode="auto">
              <a:xfrm>
                <a:off x="2426296" y="1881723"/>
                <a:ext cx="102883" cy="83098"/>
              </a:xfrm>
              <a:custGeom>
                <a:avLst/>
                <a:gdLst>
                  <a:gd name="T0" fmla="*/ 100 w 104"/>
                  <a:gd name="T1" fmla="*/ 35 h 84"/>
                  <a:gd name="T2" fmla="*/ 96 w 104"/>
                  <a:gd name="T3" fmla="*/ 45 h 84"/>
                  <a:gd name="T4" fmla="*/ 97 w 104"/>
                  <a:gd name="T5" fmla="*/ 48 h 84"/>
                  <a:gd name="T6" fmla="*/ 102 w 104"/>
                  <a:gd name="T7" fmla="*/ 55 h 84"/>
                  <a:gd name="T8" fmla="*/ 103 w 104"/>
                  <a:gd name="T9" fmla="*/ 65 h 84"/>
                  <a:gd name="T10" fmla="*/ 97 w 104"/>
                  <a:gd name="T11" fmla="*/ 57 h 84"/>
                  <a:gd name="T12" fmla="*/ 88 w 104"/>
                  <a:gd name="T13" fmla="*/ 57 h 84"/>
                  <a:gd name="T14" fmla="*/ 84 w 104"/>
                  <a:gd name="T15" fmla="*/ 55 h 84"/>
                  <a:gd name="T16" fmla="*/ 77 w 104"/>
                  <a:gd name="T17" fmla="*/ 51 h 84"/>
                  <a:gd name="T18" fmla="*/ 70 w 104"/>
                  <a:gd name="T19" fmla="*/ 57 h 84"/>
                  <a:gd name="T20" fmla="*/ 71 w 104"/>
                  <a:gd name="T21" fmla="*/ 61 h 84"/>
                  <a:gd name="T22" fmla="*/ 74 w 104"/>
                  <a:gd name="T23" fmla="*/ 70 h 84"/>
                  <a:gd name="T24" fmla="*/ 62 w 104"/>
                  <a:gd name="T25" fmla="*/ 76 h 84"/>
                  <a:gd name="T26" fmla="*/ 51 w 104"/>
                  <a:gd name="T27" fmla="*/ 81 h 84"/>
                  <a:gd name="T28" fmla="*/ 44 w 104"/>
                  <a:gd name="T29" fmla="*/ 83 h 84"/>
                  <a:gd name="T30" fmla="*/ 46 w 104"/>
                  <a:gd name="T31" fmla="*/ 78 h 84"/>
                  <a:gd name="T32" fmla="*/ 58 w 104"/>
                  <a:gd name="T33" fmla="*/ 70 h 84"/>
                  <a:gd name="T34" fmla="*/ 62 w 104"/>
                  <a:gd name="T35" fmla="*/ 64 h 84"/>
                  <a:gd name="T36" fmla="*/ 58 w 104"/>
                  <a:gd name="T37" fmla="*/ 61 h 84"/>
                  <a:gd name="T38" fmla="*/ 48 w 104"/>
                  <a:gd name="T39" fmla="*/ 65 h 84"/>
                  <a:gd name="T40" fmla="*/ 41 w 104"/>
                  <a:gd name="T41" fmla="*/ 68 h 84"/>
                  <a:gd name="T42" fmla="*/ 33 w 104"/>
                  <a:gd name="T43" fmla="*/ 77 h 84"/>
                  <a:gd name="T44" fmla="*/ 20 w 104"/>
                  <a:gd name="T45" fmla="*/ 74 h 84"/>
                  <a:gd name="T46" fmla="*/ 16 w 104"/>
                  <a:gd name="T47" fmla="*/ 70 h 84"/>
                  <a:gd name="T48" fmla="*/ 20 w 104"/>
                  <a:gd name="T49" fmla="*/ 64 h 84"/>
                  <a:gd name="T50" fmla="*/ 19 w 104"/>
                  <a:gd name="T51" fmla="*/ 60 h 84"/>
                  <a:gd name="T52" fmla="*/ 25 w 104"/>
                  <a:gd name="T53" fmla="*/ 57 h 84"/>
                  <a:gd name="T54" fmla="*/ 31 w 104"/>
                  <a:gd name="T55" fmla="*/ 54 h 84"/>
                  <a:gd name="T56" fmla="*/ 31 w 104"/>
                  <a:gd name="T57" fmla="*/ 49 h 84"/>
                  <a:gd name="T58" fmla="*/ 31 w 104"/>
                  <a:gd name="T59" fmla="*/ 45 h 84"/>
                  <a:gd name="T60" fmla="*/ 42 w 104"/>
                  <a:gd name="T61" fmla="*/ 48 h 84"/>
                  <a:gd name="T62" fmla="*/ 48 w 104"/>
                  <a:gd name="T63" fmla="*/ 39 h 84"/>
                  <a:gd name="T64" fmla="*/ 48 w 104"/>
                  <a:gd name="T65" fmla="*/ 35 h 84"/>
                  <a:gd name="T66" fmla="*/ 39 w 104"/>
                  <a:gd name="T67" fmla="*/ 38 h 84"/>
                  <a:gd name="T68" fmla="*/ 36 w 104"/>
                  <a:gd name="T69" fmla="*/ 32 h 84"/>
                  <a:gd name="T70" fmla="*/ 26 w 104"/>
                  <a:gd name="T71" fmla="*/ 34 h 84"/>
                  <a:gd name="T72" fmla="*/ 20 w 104"/>
                  <a:gd name="T73" fmla="*/ 32 h 84"/>
                  <a:gd name="T74" fmla="*/ 13 w 104"/>
                  <a:gd name="T75" fmla="*/ 34 h 84"/>
                  <a:gd name="T76" fmla="*/ 9 w 104"/>
                  <a:gd name="T77" fmla="*/ 38 h 84"/>
                  <a:gd name="T78" fmla="*/ 3 w 104"/>
                  <a:gd name="T79" fmla="*/ 36 h 84"/>
                  <a:gd name="T80" fmla="*/ 0 w 104"/>
                  <a:gd name="T81" fmla="*/ 28 h 84"/>
                  <a:gd name="T82" fmla="*/ 9 w 104"/>
                  <a:gd name="T83" fmla="*/ 25 h 84"/>
                  <a:gd name="T84" fmla="*/ 15 w 104"/>
                  <a:gd name="T85" fmla="*/ 21 h 84"/>
                  <a:gd name="T86" fmla="*/ 23 w 104"/>
                  <a:gd name="T87" fmla="*/ 19 h 84"/>
                  <a:gd name="T88" fmla="*/ 33 w 104"/>
                  <a:gd name="T89" fmla="*/ 16 h 84"/>
                  <a:gd name="T90" fmla="*/ 46 w 104"/>
                  <a:gd name="T91" fmla="*/ 13 h 84"/>
                  <a:gd name="T92" fmla="*/ 55 w 104"/>
                  <a:gd name="T93" fmla="*/ 6 h 84"/>
                  <a:gd name="T94" fmla="*/ 70 w 104"/>
                  <a:gd name="T95" fmla="*/ 0 h 84"/>
                  <a:gd name="T96" fmla="*/ 81 w 104"/>
                  <a:gd name="T97" fmla="*/ 5 h 84"/>
                  <a:gd name="T98" fmla="*/ 67 w 104"/>
                  <a:gd name="T99" fmla="*/ 18 h 84"/>
                  <a:gd name="T100" fmla="*/ 62 w 104"/>
                  <a:gd name="T101" fmla="*/ 25 h 84"/>
                  <a:gd name="T102" fmla="*/ 67 w 104"/>
                  <a:gd name="T103" fmla="*/ 29 h 84"/>
                  <a:gd name="T104" fmla="*/ 71 w 104"/>
                  <a:gd name="T105" fmla="*/ 29 h 84"/>
                  <a:gd name="T106" fmla="*/ 80 w 104"/>
                  <a:gd name="T107" fmla="*/ 25 h 84"/>
                  <a:gd name="T108" fmla="*/ 87 w 104"/>
                  <a:gd name="T109" fmla="*/ 31 h 84"/>
                  <a:gd name="T110" fmla="*/ 94 w 104"/>
                  <a:gd name="T111" fmla="*/ 28 h 84"/>
                  <a:gd name="T112" fmla="*/ 100 w 104"/>
                  <a:gd name="T113" fmla="*/ 21 h 84"/>
                  <a:gd name="T114" fmla="*/ 103 w 104"/>
                  <a:gd name="T115" fmla="*/ 2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84">
                    <a:moveTo>
                      <a:pt x="103" y="26"/>
                    </a:moveTo>
                    <a:lnTo>
                      <a:pt x="103" y="26"/>
                    </a:lnTo>
                    <a:lnTo>
                      <a:pt x="100" y="35"/>
                    </a:lnTo>
                    <a:lnTo>
                      <a:pt x="97" y="42"/>
                    </a:lnTo>
                    <a:lnTo>
                      <a:pt x="97" y="42"/>
                    </a:lnTo>
                    <a:lnTo>
                      <a:pt x="96" y="45"/>
                    </a:lnTo>
                    <a:lnTo>
                      <a:pt x="94" y="47"/>
                    </a:lnTo>
                    <a:lnTo>
                      <a:pt x="97" y="48"/>
                    </a:lnTo>
                    <a:lnTo>
                      <a:pt x="97" y="48"/>
                    </a:lnTo>
                    <a:lnTo>
                      <a:pt x="100" y="51"/>
                    </a:lnTo>
                    <a:lnTo>
                      <a:pt x="102" y="55"/>
                    </a:lnTo>
                    <a:lnTo>
                      <a:pt x="102" y="55"/>
                    </a:lnTo>
                    <a:lnTo>
                      <a:pt x="103" y="64"/>
                    </a:lnTo>
                    <a:lnTo>
                      <a:pt x="103" y="65"/>
                    </a:lnTo>
                    <a:lnTo>
                      <a:pt x="103" y="65"/>
                    </a:lnTo>
                    <a:lnTo>
                      <a:pt x="103" y="65"/>
                    </a:lnTo>
                    <a:lnTo>
                      <a:pt x="100" y="60"/>
                    </a:lnTo>
                    <a:lnTo>
                      <a:pt x="97" y="57"/>
                    </a:lnTo>
                    <a:lnTo>
                      <a:pt x="96" y="57"/>
                    </a:lnTo>
                    <a:lnTo>
                      <a:pt x="96" y="57"/>
                    </a:lnTo>
                    <a:lnTo>
                      <a:pt x="88" y="57"/>
                    </a:lnTo>
                    <a:lnTo>
                      <a:pt x="86" y="57"/>
                    </a:lnTo>
                    <a:lnTo>
                      <a:pt x="84" y="55"/>
                    </a:lnTo>
                    <a:lnTo>
                      <a:pt x="84" y="55"/>
                    </a:lnTo>
                    <a:lnTo>
                      <a:pt x="83" y="52"/>
                    </a:lnTo>
                    <a:lnTo>
                      <a:pt x="80" y="52"/>
                    </a:lnTo>
                    <a:lnTo>
                      <a:pt x="77" y="51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0" y="57"/>
                    </a:lnTo>
                    <a:lnTo>
                      <a:pt x="70" y="60"/>
                    </a:lnTo>
                    <a:lnTo>
                      <a:pt x="71" y="61"/>
                    </a:lnTo>
                    <a:lnTo>
                      <a:pt x="71" y="61"/>
                    </a:lnTo>
                    <a:lnTo>
                      <a:pt x="74" y="65"/>
                    </a:lnTo>
                    <a:lnTo>
                      <a:pt x="75" y="68"/>
                    </a:lnTo>
                    <a:lnTo>
                      <a:pt x="74" y="70"/>
                    </a:lnTo>
                    <a:lnTo>
                      <a:pt x="74" y="70"/>
                    </a:lnTo>
                    <a:lnTo>
                      <a:pt x="70" y="74"/>
                    </a:lnTo>
                    <a:lnTo>
                      <a:pt x="62" y="76"/>
                    </a:lnTo>
                    <a:lnTo>
                      <a:pt x="62" y="76"/>
                    </a:lnTo>
                    <a:lnTo>
                      <a:pt x="57" y="78"/>
                    </a:lnTo>
                    <a:lnTo>
                      <a:pt x="51" y="81"/>
                    </a:lnTo>
                    <a:lnTo>
                      <a:pt x="45" y="84"/>
                    </a:lnTo>
                    <a:lnTo>
                      <a:pt x="44" y="84"/>
                    </a:lnTo>
                    <a:lnTo>
                      <a:pt x="44" y="83"/>
                    </a:lnTo>
                    <a:lnTo>
                      <a:pt x="44" y="83"/>
                    </a:lnTo>
                    <a:lnTo>
                      <a:pt x="44" y="81"/>
                    </a:lnTo>
                    <a:lnTo>
                      <a:pt x="46" y="78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8" y="70"/>
                    </a:lnTo>
                    <a:lnTo>
                      <a:pt x="61" y="67"/>
                    </a:lnTo>
                    <a:lnTo>
                      <a:pt x="62" y="64"/>
                    </a:lnTo>
                    <a:lnTo>
                      <a:pt x="62" y="64"/>
                    </a:lnTo>
                    <a:lnTo>
                      <a:pt x="62" y="63"/>
                    </a:lnTo>
                    <a:lnTo>
                      <a:pt x="61" y="61"/>
                    </a:lnTo>
                    <a:lnTo>
                      <a:pt x="58" y="61"/>
                    </a:lnTo>
                    <a:lnTo>
                      <a:pt x="55" y="63"/>
                    </a:lnTo>
                    <a:lnTo>
                      <a:pt x="55" y="63"/>
                    </a:lnTo>
                    <a:lnTo>
                      <a:pt x="48" y="65"/>
                    </a:lnTo>
                    <a:lnTo>
                      <a:pt x="42" y="67"/>
                    </a:lnTo>
                    <a:lnTo>
                      <a:pt x="42" y="67"/>
                    </a:lnTo>
                    <a:lnTo>
                      <a:pt x="41" y="68"/>
                    </a:lnTo>
                    <a:lnTo>
                      <a:pt x="38" y="71"/>
                    </a:lnTo>
                    <a:lnTo>
                      <a:pt x="33" y="77"/>
                    </a:lnTo>
                    <a:lnTo>
                      <a:pt x="33" y="77"/>
                    </a:lnTo>
                    <a:lnTo>
                      <a:pt x="31" y="78"/>
                    </a:lnTo>
                    <a:lnTo>
                      <a:pt x="28" y="78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16" y="71"/>
                    </a:lnTo>
                    <a:lnTo>
                      <a:pt x="16" y="70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0" y="64"/>
                    </a:lnTo>
                    <a:lnTo>
                      <a:pt x="20" y="63"/>
                    </a:lnTo>
                    <a:lnTo>
                      <a:pt x="19" y="60"/>
                    </a:lnTo>
                    <a:lnTo>
                      <a:pt x="19" y="60"/>
                    </a:lnTo>
                    <a:lnTo>
                      <a:pt x="19" y="58"/>
                    </a:lnTo>
                    <a:lnTo>
                      <a:pt x="19" y="58"/>
                    </a:lnTo>
                    <a:lnTo>
                      <a:pt x="25" y="57"/>
                    </a:lnTo>
                    <a:lnTo>
                      <a:pt x="25" y="57"/>
                    </a:lnTo>
                    <a:lnTo>
                      <a:pt x="28" y="55"/>
                    </a:lnTo>
                    <a:lnTo>
                      <a:pt x="31" y="54"/>
                    </a:lnTo>
                    <a:lnTo>
                      <a:pt x="31" y="51"/>
                    </a:lnTo>
                    <a:lnTo>
                      <a:pt x="31" y="49"/>
                    </a:lnTo>
                    <a:lnTo>
                      <a:pt x="31" y="49"/>
                    </a:lnTo>
                    <a:lnTo>
                      <a:pt x="28" y="45"/>
                    </a:lnTo>
                    <a:lnTo>
                      <a:pt x="28" y="44"/>
                    </a:lnTo>
                    <a:lnTo>
                      <a:pt x="31" y="45"/>
                    </a:lnTo>
                    <a:lnTo>
                      <a:pt x="31" y="45"/>
                    </a:lnTo>
                    <a:lnTo>
                      <a:pt x="39" y="48"/>
                    </a:lnTo>
                    <a:lnTo>
                      <a:pt x="42" y="48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8" y="39"/>
                    </a:lnTo>
                    <a:lnTo>
                      <a:pt x="48" y="36"/>
                    </a:lnTo>
                    <a:lnTo>
                      <a:pt x="48" y="35"/>
                    </a:lnTo>
                    <a:lnTo>
                      <a:pt x="48" y="35"/>
                    </a:lnTo>
                    <a:lnTo>
                      <a:pt x="42" y="38"/>
                    </a:lnTo>
                    <a:lnTo>
                      <a:pt x="41" y="38"/>
                    </a:lnTo>
                    <a:lnTo>
                      <a:pt x="39" y="38"/>
                    </a:lnTo>
                    <a:lnTo>
                      <a:pt x="39" y="38"/>
                    </a:lnTo>
                    <a:lnTo>
                      <a:pt x="38" y="34"/>
                    </a:lnTo>
                    <a:lnTo>
                      <a:pt x="36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26" y="34"/>
                    </a:lnTo>
                    <a:lnTo>
                      <a:pt x="23" y="34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16" y="31"/>
                    </a:lnTo>
                    <a:lnTo>
                      <a:pt x="15" y="32"/>
                    </a:lnTo>
                    <a:lnTo>
                      <a:pt x="13" y="34"/>
                    </a:lnTo>
                    <a:lnTo>
                      <a:pt x="13" y="34"/>
                    </a:lnTo>
                    <a:lnTo>
                      <a:pt x="12" y="38"/>
                    </a:lnTo>
                    <a:lnTo>
                      <a:pt x="9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3" y="36"/>
                    </a:lnTo>
                    <a:lnTo>
                      <a:pt x="2" y="34"/>
                    </a:lnTo>
                    <a:lnTo>
                      <a:pt x="0" y="31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26"/>
                    </a:lnTo>
                    <a:lnTo>
                      <a:pt x="9" y="25"/>
                    </a:lnTo>
                    <a:lnTo>
                      <a:pt x="13" y="23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8" y="19"/>
                    </a:lnTo>
                    <a:lnTo>
                      <a:pt x="20" y="19"/>
                    </a:lnTo>
                    <a:lnTo>
                      <a:pt x="23" y="19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33" y="16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6" y="13"/>
                    </a:lnTo>
                    <a:lnTo>
                      <a:pt x="49" y="12"/>
                    </a:lnTo>
                    <a:lnTo>
                      <a:pt x="55" y="6"/>
                    </a:lnTo>
                    <a:lnTo>
                      <a:pt x="55" y="6"/>
                    </a:lnTo>
                    <a:lnTo>
                      <a:pt x="61" y="2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80" y="3"/>
                    </a:lnTo>
                    <a:lnTo>
                      <a:pt x="81" y="5"/>
                    </a:lnTo>
                    <a:lnTo>
                      <a:pt x="81" y="6"/>
                    </a:lnTo>
                    <a:lnTo>
                      <a:pt x="81" y="6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64" y="22"/>
                    </a:lnTo>
                    <a:lnTo>
                      <a:pt x="62" y="25"/>
                    </a:lnTo>
                    <a:lnTo>
                      <a:pt x="64" y="25"/>
                    </a:lnTo>
                    <a:lnTo>
                      <a:pt x="64" y="25"/>
                    </a:lnTo>
                    <a:lnTo>
                      <a:pt x="67" y="29"/>
                    </a:lnTo>
                    <a:lnTo>
                      <a:pt x="68" y="29"/>
                    </a:lnTo>
                    <a:lnTo>
                      <a:pt x="71" y="29"/>
                    </a:lnTo>
                    <a:lnTo>
                      <a:pt x="71" y="29"/>
                    </a:lnTo>
                    <a:lnTo>
                      <a:pt x="75" y="26"/>
                    </a:lnTo>
                    <a:lnTo>
                      <a:pt x="77" y="25"/>
                    </a:lnTo>
                    <a:lnTo>
                      <a:pt x="80" y="25"/>
                    </a:lnTo>
                    <a:lnTo>
                      <a:pt x="80" y="25"/>
                    </a:lnTo>
                    <a:lnTo>
                      <a:pt x="84" y="29"/>
                    </a:lnTo>
                    <a:lnTo>
                      <a:pt x="87" y="31"/>
                    </a:lnTo>
                    <a:lnTo>
                      <a:pt x="91" y="29"/>
                    </a:lnTo>
                    <a:lnTo>
                      <a:pt x="91" y="29"/>
                    </a:lnTo>
                    <a:lnTo>
                      <a:pt x="94" y="28"/>
                    </a:lnTo>
                    <a:lnTo>
                      <a:pt x="96" y="25"/>
                    </a:lnTo>
                    <a:lnTo>
                      <a:pt x="97" y="22"/>
                    </a:lnTo>
                    <a:lnTo>
                      <a:pt x="100" y="21"/>
                    </a:lnTo>
                    <a:lnTo>
                      <a:pt x="100" y="21"/>
                    </a:lnTo>
                    <a:lnTo>
                      <a:pt x="102" y="21"/>
                    </a:lnTo>
                    <a:lnTo>
                      <a:pt x="103" y="22"/>
                    </a:lnTo>
                    <a:lnTo>
                      <a:pt x="104" y="23"/>
                    </a:lnTo>
                    <a:lnTo>
                      <a:pt x="103" y="2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37" name="Freeform 1192"/>
              <p:cNvSpPr>
                <a:spLocks/>
              </p:cNvSpPr>
              <p:nvPr/>
            </p:nvSpPr>
            <p:spPr bwMode="auto">
              <a:xfrm>
                <a:off x="2601395" y="1983617"/>
                <a:ext cx="50452" cy="27699"/>
              </a:xfrm>
              <a:custGeom>
                <a:avLst/>
                <a:gdLst>
                  <a:gd name="T0" fmla="*/ 7 w 51"/>
                  <a:gd name="T1" fmla="*/ 17 h 28"/>
                  <a:gd name="T2" fmla="*/ 7 w 51"/>
                  <a:gd name="T3" fmla="*/ 17 h 28"/>
                  <a:gd name="T4" fmla="*/ 13 w 51"/>
                  <a:gd name="T5" fmla="*/ 16 h 28"/>
                  <a:gd name="T6" fmla="*/ 14 w 51"/>
                  <a:gd name="T7" fmla="*/ 13 h 28"/>
                  <a:gd name="T8" fmla="*/ 16 w 51"/>
                  <a:gd name="T9" fmla="*/ 10 h 28"/>
                  <a:gd name="T10" fmla="*/ 19 w 51"/>
                  <a:gd name="T11" fmla="*/ 9 h 28"/>
                  <a:gd name="T12" fmla="*/ 19 w 51"/>
                  <a:gd name="T13" fmla="*/ 9 h 28"/>
                  <a:gd name="T14" fmla="*/ 27 w 51"/>
                  <a:gd name="T15" fmla="*/ 6 h 28"/>
                  <a:gd name="T16" fmla="*/ 33 w 51"/>
                  <a:gd name="T17" fmla="*/ 2 h 28"/>
                  <a:gd name="T18" fmla="*/ 33 w 51"/>
                  <a:gd name="T19" fmla="*/ 2 h 28"/>
                  <a:gd name="T20" fmla="*/ 35 w 51"/>
                  <a:gd name="T21" fmla="*/ 2 h 28"/>
                  <a:gd name="T22" fmla="*/ 39 w 51"/>
                  <a:gd name="T23" fmla="*/ 0 h 28"/>
                  <a:gd name="T24" fmla="*/ 42 w 51"/>
                  <a:gd name="T25" fmla="*/ 0 h 28"/>
                  <a:gd name="T26" fmla="*/ 42 w 51"/>
                  <a:gd name="T27" fmla="*/ 2 h 28"/>
                  <a:gd name="T28" fmla="*/ 42 w 51"/>
                  <a:gd name="T29" fmla="*/ 2 h 28"/>
                  <a:gd name="T30" fmla="*/ 42 w 51"/>
                  <a:gd name="T31" fmla="*/ 3 h 28"/>
                  <a:gd name="T32" fmla="*/ 45 w 51"/>
                  <a:gd name="T33" fmla="*/ 3 h 28"/>
                  <a:gd name="T34" fmla="*/ 48 w 51"/>
                  <a:gd name="T35" fmla="*/ 2 h 28"/>
                  <a:gd name="T36" fmla="*/ 48 w 51"/>
                  <a:gd name="T37" fmla="*/ 2 h 28"/>
                  <a:gd name="T38" fmla="*/ 51 w 51"/>
                  <a:gd name="T39" fmla="*/ 7 h 28"/>
                  <a:gd name="T40" fmla="*/ 51 w 51"/>
                  <a:gd name="T41" fmla="*/ 10 h 28"/>
                  <a:gd name="T42" fmla="*/ 49 w 51"/>
                  <a:gd name="T43" fmla="*/ 13 h 28"/>
                  <a:gd name="T44" fmla="*/ 49 w 51"/>
                  <a:gd name="T45" fmla="*/ 13 h 28"/>
                  <a:gd name="T46" fmla="*/ 45 w 51"/>
                  <a:gd name="T47" fmla="*/ 17 h 28"/>
                  <a:gd name="T48" fmla="*/ 42 w 51"/>
                  <a:gd name="T49" fmla="*/ 19 h 28"/>
                  <a:gd name="T50" fmla="*/ 42 w 51"/>
                  <a:gd name="T51" fmla="*/ 17 h 28"/>
                  <a:gd name="T52" fmla="*/ 42 w 51"/>
                  <a:gd name="T53" fmla="*/ 17 h 28"/>
                  <a:gd name="T54" fmla="*/ 43 w 51"/>
                  <a:gd name="T55" fmla="*/ 10 h 28"/>
                  <a:gd name="T56" fmla="*/ 43 w 51"/>
                  <a:gd name="T57" fmla="*/ 7 h 28"/>
                  <a:gd name="T58" fmla="*/ 43 w 51"/>
                  <a:gd name="T59" fmla="*/ 6 h 28"/>
                  <a:gd name="T60" fmla="*/ 42 w 51"/>
                  <a:gd name="T61" fmla="*/ 6 h 28"/>
                  <a:gd name="T62" fmla="*/ 42 w 51"/>
                  <a:gd name="T63" fmla="*/ 6 h 28"/>
                  <a:gd name="T64" fmla="*/ 37 w 51"/>
                  <a:gd name="T65" fmla="*/ 7 h 28"/>
                  <a:gd name="T66" fmla="*/ 33 w 51"/>
                  <a:gd name="T67" fmla="*/ 12 h 28"/>
                  <a:gd name="T68" fmla="*/ 33 w 51"/>
                  <a:gd name="T69" fmla="*/ 12 h 28"/>
                  <a:gd name="T70" fmla="*/ 27 w 51"/>
                  <a:gd name="T71" fmla="*/ 15 h 28"/>
                  <a:gd name="T72" fmla="*/ 19 w 51"/>
                  <a:gd name="T73" fmla="*/ 19 h 28"/>
                  <a:gd name="T74" fmla="*/ 19 w 51"/>
                  <a:gd name="T75" fmla="*/ 19 h 28"/>
                  <a:gd name="T76" fmla="*/ 13 w 51"/>
                  <a:gd name="T77" fmla="*/ 20 h 28"/>
                  <a:gd name="T78" fmla="*/ 10 w 51"/>
                  <a:gd name="T79" fmla="*/ 22 h 28"/>
                  <a:gd name="T80" fmla="*/ 10 w 51"/>
                  <a:gd name="T81" fmla="*/ 22 h 28"/>
                  <a:gd name="T82" fmla="*/ 7 w 51"/>
                  <a:gd name="T83" fmla="*/ 26 h 28"/>
                  <a:gd name="T84" fmla="*/ 6 w 51"/>
                  <a:gd name="T85" fmla="*/ 28 h 28"/>
                  <a:gd name="T86" fmla="*/ 4 w 51"/>
                  <a:gd name="T87" fmla="*/ 28 h 28"/>
                  <a:gd name="T88" fmla="*/ 4 w 51"/>
                  <a:gd name="T89" fmla="*/ 28 h 28"/>
                  <a:gd name="T90" fmla="*/ 1 w 51"/>
                  <a:gd name="T91" fmla="*/ 25 h 28"/>
                  <a:gd name="T92" fmla="*/ 0 w 51"/>
                  <a:gd name="T93" fmla="*/ 23 h 28"/>
                  <a:gd name="T94" fmla="*/ 1 w 51"/>
                  <a:gd name="T95" fmla="*/ 20 h 28"/>
                  <a:gd name="T96" fmla="*/ 7 w 51"/>
                  <a:gd name="T97" fmla="*/ 1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1" h="28">
                    <a:moveTo>
                      <a:pt x="7" y="17"/>
                    </a:moveTo>
                    <a:lnTo>
                      <a:pt x="7" y="17"/>
                    </a:lnTo>
                    <a:lnTo>
                      <a:pt x="13" y="16"/>
                    </a:lnTo>
                    <a:lnTo>
                      <a:pt x="14" y="13"/>
                    </a:lnTo>
                    <a:lnTo>
                      <a:pt x="16" y="10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27" y="6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35" y="2"/>
                    </a:lnTo>
                    <a:lnTo>
                      <a:pt x="39" y="0"/>
                    </a:lnTo>
                    <a:lnTo>
                      <a:pt x="42" y="0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3"/>
                    </a:lnTo>
                    <a:lnTo>
                      <a:pt x="45" y="3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51" y="7"/>
                    </a:lnTo>
                    <a:lnTo>
                      <a:pt x="51" y="10"/>
                    </a:lnTo>
                    <a:lnTo>
                      <a:pt x="49" y="13"/>
                    </a:lnTo>
                    <a:lnTo>
                      <a:pt x="49" y="13"/>
                    </a:lnTo>
                    <a:lnTo>
                      <a:pt x="45" y="17"/>
                    </a:lnTo>
                    <a:lnTo>
                      <a:pt x="42" y="19"/>
                    </a:lnTo>
                    <a:lnTo>
                      <a:pt x="42" y="17"/>
                    </a:lnTo>
                    <a:lnTo>
                      <a:pt x="42" y="17"/>
                    </a:lnTo>
                    <a:lnTo>
                      <a:pt x="43" y="10"/>
                    </a:lnTo>
                    <a:lnTo>
                      <a:pt x="43" y="7"/>
                    </a:lnTo>
                    <a:lnTo>
                      <a:pt x="43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7" y="7"/>
                    </a:lnTo>
                    <a:lnTo>
                      <a:pt x="33" y="12"/>
                    </a:lnTo>
                    <a:lnTo>
                      <a:pt x="33" y="12"/>
                    </a:lnTo>
                    <a:lnTo>
                      <a:pt x="27" y="15"/>
                    </a:lnTo>
                    <a:lnTo>
                      <a:pt x="19" y="19"/>
                    </a:lnTo>
                    <a:lnTo>
                      <a:pt x="19" y="19"/>
                    </a:lnTo>
                    <a:lnTo>
                      <a:pt x="13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7" y="26"/>
                    </a:lnTo>
                    <a:lnTo>
                      <a:pt x="6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" y="25"/>
                    </a:lnTo>
                    <a:lnTo>
                      <a:pt x="0" y="23"/>
                    </a:lnTo>
                    <a:lnTo>
                      <a:pt x="1" y="20"/>
                    </a:lnTo>
                    <a:lnTo>
                      <a:pt x="7" y="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38" name="Freeform 1193"/>
              <p:cNvSpPr>
                <a:spLocks/>
              </p:cNvSpPr>
              <p:nvPr/>
            </p:nvSpPr>
            <p:spPr bwMode="auto">
              <a:xfrm>
                <a:off x="2537093" y="2038026"/>
                <a:ext cx="124647" cy="69248"/>
              </a:xfrm>
              <a:custGeom>
                <a:avLst/>
                <a:gdLst>
                  <a:gd name="T0" fmla="*/ 60 w 126"/>
                  <a:gd name="T1" fmla="*/ 49 h 70"/>
                  <a:gd name="T2" fmla="*/ 53 w 126"/>
                  <a:gd name="T3" fmla="*/ 52 h 70"/>
                  <a:gd name="T4" fmla="*/ 52 w 126"/>
                  <a:gd name="T5" fmla="*/ 52 h 70"/>
                  <a:gd name="T6" fmla="*/ 53 w 126"/>
                  <a:gd name="T7" fmla="*/ 60 h 70"/>
                  <a:gd name="T8" fmla="*/ 50 w 126"/>
                  <a:gd name="T9" fmla="*/ 61 h 70"/>
                  <a:gd name="T10" fmla="*/ 29 w 126"/>
                  <a:gd name="T11" fmla="*/ 70 h 70"/>
                  <a:gd name="T12" fmla="*/ 21 w 126"/>
                  <a:gd name="T13" fmla="*/ 70 h 70"/>
                  <a:gd name="T14" fmla="*/ 4 w 126"/>
                  <a:gd name="T15" fmla="*/ 61 h 70"/>
                  <a:gd name="T16" fmla="*/ 1 w 126"/>
                  <a:gd name="T17" fmla="*/ 58 h 70"/>
                  <a:gd name="T18" fmla="*/ 0 w 126"/>
                  <a:gd name="T19" fmla="*/ 54 h 70"/>
                  <a:gd name="T20" fmla="*/ 1 w 126"/>
                  <a:gd name="T21" fmla="*/ 52 h 70"/>
                  <a:gd name="T22" fmla="*/ 7 w 126"/>
                  <a:gd name="T23" fmla="*/ 54 h 70"/>
                  <a:gd name="T24" fmla="*/ 10 w 126"/>
                  <a:gd name="T25" fmla="*/ 54 h 70"/>
                  <a:gd name="T26" fmla="*/ 8 w 126"/>
                  <a:gd name="T27" fmla="*/ 51 h 70"/>
                  <a:gd name="T28" fmla="*/ 11 w 126"/>
                  <a:gd name="T29" fmla="*/ 49 h 70"/>
                  <a:gd name="T30" fmla="*/ 17 w 126"/>
                  <a:gd name="T31" fmla="*/ 48 h 70"/>
                  <a:gd name="T32" fmla="*/ 18 w 126"/>
                  <a:gd name="T33" fmla="*/ 45 h 70"/>
                  <a:gd name="T34" fmla="*/ 18 w 126"/>
                  <a:gd name="T35" fmla="*/ 41 h 70"/>
                  <a:gd name="T36" fmla="*/ 18 w 126"/>
                  <a:gd name="T37" fmla="*/ 36 h 70"/>
                  <a:gd name="T38" fmla="*/ 23 w 126"/>
                  <a:gd name="T39" fmla="*/ 35 h 70"/>
                  <a:gd name="T40" fmla="*/ 26 w 126"/>
                  <a:gd name="T41" fmla="*/ 33 h 70"/>
                  <a:gd name="T42" fmla="*/ 30 w 126"/>
                  <a:gd name="T43" fmla="*/ 33 h 70"/>
                  <a:gd name="T44" fmla="*/ 32 w 126"/>
                  <a:gd name="T45" fmla="*/ 31 h 70"/>
                  <a:gd name="T46" fmla="*/ 30 w 126"/>
                  <a:gd name="T47" fmla="*/ 25 h 70"/>
                  <a:gd name="T48" fmla="*/ 26 w 126"/>
                  <a:gd name="T49" fmla="*/ 13 h 70"/>
                  <a:gd name="T50" fmla="*/ 16 w 126"/>
                  <a:gd name="T51" fmla="*/ 2 h 70"/>
                  <a:gd name="T52" fmla="*/ 17 w 126"/>
                  <a:gd name="T53" fmla="*/ 0 h 70"/>
                  <a:gd name="T54" fmla="*/ 24 w 126"/>
                  <a:gd name="T55" fmla="*/ 3 h 70"/>
                  <a:gd name="T56" fmla="*/ 32 w 126"/>
                  <a:gd name="T57" fmla="*/ 9 h 70"/>
                  <a:gd name="T58" fmla="*/ 34 w 126"/>
                  <a:gd name="T59" fmla="*/ 16 h 70"/>
                  <a:gd name="T60" fmla="*/ 39 w 126"/>
                  <a:gd name="T61" fmla="*/ 19 h 70"/>
                  <a:gd name="T62" fmla="*/ 40 w 126"/>
                  <a:gd name="T63" fmla="*/ 20 h 70"/>
                  <a:gd name="T64" fmla="*/ 43 w 126"/>
                  <a:gd name="T65" fmla="*/ 25 h 70"/>
                  <a:gd name="T66" fmla="*/ 47 w 126"/>
                  <a:gd name="T67" fmla="*/ 26 h 70"/>
                  <a:gd name="T68" fmla="*/ 59 w 126"/>
                  <a:gd name="T69" fmla="*/ 26 h 70"/>
                  <a:gd name="T70" fmla="*/ 60 w 126"/>
                  <a:gd name="T71" fmla="*/ 25 h 70"/>
                  <a:gd name="T72" fmla="*/ 66 w 126"/>
                  <a:gd name="T73" fmla="*/ 17 h 70"/>
                  <a:gd name="T74" fmla="*/ 76 w 126"/>
                  <a:gd name="T75" fmla="*/ 13 h 70"/>
                  <a:gd name="T76" fmla="*/ 85 w 126"/>
                  <a:gd name="T77" fmla="*/ 7 h 70"/>
                  <a:gd name="T78" fmla="*/ 95 w 126"/>
                  <a:gd name="T79" fmla="*/ 2 h 70"/>
                  <a:gd name="T80" fmla="*/ 107 w 126"/>
                  <a:gd name="T81" fmla="*/ 0 h 70"/>
                  <a:gd name="T82" fmla="*/ 123 w 126"/>
                  <a:gd name="T83" fmla="*/ 2 h 70"/>
                  <a:gd name="T84" fmla="*/ 126 w 126"/>
                  <a:gd name="T85" fmla="*/ 4 h 70"/>
                  <a:gd name="T86" fmla="*/ 126 w 126"/>
                  <a:gd name="T87" fmla="*/ 9 h 70"/>
                  <a:gd name="T88" fmla="*/ 124 w 126"/>
                  <a:gd name="T89" fmla="*/ 10 h 70"/>
                  <a:gd name="T90" fmla="*/ 121 w 126"/>
                  <a:gd name="T91" fmla="*/ 7 h 70"/>
                  <a:gd name="T92" fmla="*/ 117 w 126"/>
                  <a:gd name="T93" fmla="*/ 7 h 70"/>
                  <a:gd name="T94" fmla="*/ 114 w 126"/>
                  <a:gd name="T95" fmla="*/ 12 h 70"/>
                  <a:gd name="T96" fmla="*/ 111 w 126"/>
                  <a:gd name="T97" fmla="*/ 17 h 70"/>
                  <a:gd name="T98" fmla="*/ 108 w 126"/>
                  <a:gd name="T99" fmla="*/ 23 h 70"/>
                  <a:gd name="T100" fmla="*/ 105 w 126"/>
                  <a:gd name="T101" fmla="*/ 23 h 70"/>
                  <a:gd name="T102" fmla="*/ 89 w 126"/>
                  <a:gd name="T103" fmla="*/ 17 h 70"/>
                  <a:gd name="T104" fmla="*/ 85 w 126"/>
                  <a:gd name="T105" fmla="*/ 17 h 70"/>
                  <a:gd name="T106" fmla="*/ 82 w 126"/>
                  <a:gd name="T107" fmla="*/ 22 h 70"/>
                  <a:gd name="T108" fmla="*/ 79 w 126"/>
                  <a:gd name="T109" fmla="*/ 35 h 70"/>
                  <a:gd name="T110" fmla="*/ 76 w 126"/>
                  <a:gd name="T111" fmla="*/ 41 h 70"/>
                  <a:gd name="T112" fmla="*/ 72 w 126"/>
                  <a:gd name="T113" fmla="*/ 44 h 70"/>
                  <a:gd name="T114" fmla="*/ 63 w 126"/>
                  <a:gd name="T115" fmla="*/ 42 h 70"/>
                  <a:gd name="T116" fmla="*/ 58 w 126"/>
                  <a:gd name="T117" fmla="*/ 44 h 70"/>
                  <a:gd name="T118" fmla="*/ 60 w 126"/>
                  <a:gd name="T119" fmla="*/ 48 h 70"/>
                  <a:gd name="T120" fmla="*/ 60 w 126"/>
                  <a:gd name="T121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" h="70">
                    <a:moveTo>
                      <a:pt x="60" y="49"/>
                    </a:moveTo>
                    <a:lnTo>
                      <a:pt x="60" y="49"/>
                    </a:lnTo>
                    <a:lnTo>
                      <a:pt x="55" y="51"/>
                    </a:lnTo>
                    <a:lnTo>
                      <a:pt x="53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3" y="58"/>
                    </a:lnTo>
                    <a:lnTo>
                      <a:pt x="53" y="60"/>
                    </a:lnTo>
                    <a:lnTo>
                      <a:pt x="50" y="61"/>
                    </a:lnTo>
                    <a:lnTo>
                      <a:pt x="50" y="61"/>
                    </a:lnTo>
                    <a:lnTo>
                      <a:pt x="37" y="67"/>
                    </a:lnTo>
                    <a:lnTo>
                      <a:pt x="29" y="70"/>
                    </a:lnTo>
                    <a:lnTo>
                      <a:pt x="21" y="70"/>
                    </a:lnTo>
                    <a:lnTo>
                      <a:pt x="21" y="70"/>
                    </a:lnTo>
                    <a:lnTo>
                      <a:pt x="13" y="67"/>
                    </a:lnTo>
                    <a:lnTo>
                      <a:pt x="4" y="61"/>
                    </a:lnTo>
                    <a:lnTo>
                      <a:pt x="4" y="61"/>
                    </a:lnTo>
                    <a:lnTo>
                      <a:pt x="1" y="58"/>
                    </a:lnTo>
                    <a:lnTo>
                      <a:pt x="0" y="55"/>
                    </a:lnTo>
                    <a:lnTo>
                      <a:pt x="0" y="54"/>
                    </a:lnTo>
                    <a:lnTo>
                      <a:pt x="1" y="52"/>
                    </a:lnTo>
                    <a:lnTo>
                      <a:pt x="1" y="52"/>
                    </a:lnTo>
                    <a:lnTo>
                      <a:pt x="4" y="54"/>
                    </a:lnTo>
                    <a:lnTo>
                      <a:pt x="7" y="54"/>
                    </a:lnTo>
                    <a:lnTo>
                      <a:pt x="8" y="55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8" y="51"/>
                    </a:lnTo>
                    <a:lnTo>
                      <a:pt x="10" y="49"/>
                    </a:lnTo>
                    <a:lnTo>
                      <a:pt x="11" y="49"/>
                    </a:lnTo>
                    <a:lnTo>
                      <a:pt x="11" y="49"/>
                    </a:lnTo>
                    <a:lnTo>
                      <a:pt x="17" y="48"/>
                    </a:lnTo>
                    <a:lnTo>
                      <a:pt x="18" y="46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1"/>
                    </a:lnTo>
                    <a:lnTo>
                      <a:pt x="18" y="38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3" y="35"/>
                    </a:lnTo>
                    <a:lnTo>
                      <a:pt x="24" y="33"/>
                    </a:lnTo>
                    <a:lnTo>
                      <a:pt x="26" y="33"/>
                    </a:lnTo>
                    <a:lnTo>
                      <a:pt x="26" y="33"/>
                    </a:lnTo>
                    <a:lnTo>
                      <a:pt x="30" y="33"/>
                    </a:lnTo>
                    <a:lnTo>
                      <a:pt x="32" y="32"/>
                    </a:lnTo>
                    <a:lnTo>
                      <a:pt x="32" y="31"/>
                    </a:lnTo>
                    <a:lnTo>
                      <a:pt x="32" y="31"/>
                    </a:lnTo>
                    <a:lnTo>
                      <a:pt x="30" y="25"/>
                    </a:lnTo>
                    <a:lnTo>
                      <a:pt x="26" y="13"/>
                    </a:lnTo>
                    <a:lnTo>
                      <a:pt x="26" y="13"/>
                    </a:lnTo>
                    <a:lnTo>
                      <a:pt x="17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24" y="3"/>
                    </a:lnTo>
                    <a:lnTo>
                      <a:pt x="29" y="6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4" y="16"/>
                    </a:lnTo>
                    <a:lnTo>
                      <a:pt x="36" y="17"/>
                    </a:lnTo>
                    <a:lnTo>
                      <a:pt x="39" y="19"/>
                    </a:lnTo>
                    <a:lnTo>
                      <a:pt x="39" y="19"/>
                    </a:lnTo>
                    <a:lnTo>
                      <a:pt x="40" y="20"/>
                    </a:lnTo>
                    <a:lnTo>
                      <a:pt x="42" y="22"/>
                    </a:lnTo>
                    <a:lnTo>
                      <a:pt x="43" y="25"/>
                    </a:lnTo>
                    <a:lnTo>
                      <a:pt x="47" y="26"/>
                    </a:lnTo>
                    <a:lnTo>
                      <a:pt x="47" y="26"/>
                    </a:lnTo>
                    <a:lnTo>
                      <a:pt x="56" y="26"/>
                    </a:lnTo>
                    <a:lnTo>
                      <a:pt x="59" y="26"/>
                    </a:lnTo>
                    <a:lnTo>
                      <a:pt x="60" y="25"/>
                    </a:lnTo>
                    <a:lnTo>
                      <a:pt x="60" y="25"/>
                    </a:lnTo>
                    <a:lnTo>
                      <a:pt x="63" y="20"/>
                    </a:lnTo>
                    <a:lnTo>
                      <a:pt x="66" y="17"/>
                    </a:lnTo>
                    <a:lnTo>
                      <a:pt x="66" y="17"/>
                    </a:lnTo>
                    <a:lnTo>
                      <a:pt x="76" y="13"/>
                    </a:lnTo>
                    <a:lnTo>
                      <a:pt x="85" y="7"/>
                    </a:lnTo>
                    <a:lnTo>
                      <a:pt x="85" y="7"/>
                    </a:lnTo>
                    <a:lnTo>
                      <a:pt x="89" y="4"/>
                    </a:lnTo>
                    <a:lnTo>
                      <a:pt x="95" y="2"/>
                    </a:lnTo>
                    <a:lnTo>
                      <a:pt x="107" y="0"/>
                    </a:lnTo>
                    <a:lnTo>
                      <a:pt x="107" y="0"/>
                    </a:lnTo>
                    <a:lnTo>
                      <a:pt x="118" y="0"/>
                    </a:lnTo>
                    <a:lnTo>
                      <a:pt x="123" y="2"/>
                    </a:lnTo>
                    <a:lnTo>
                      <a:pt x="126" y="3"/>
                    </a:lnTo>
                    <a:lnTo>
                      <a:pt x="126" y="4"/>
                    </a:lnTo>
                    <a:lnTo>
                      <a:pt x="126" y="4"/>
                    </a:lnTo>
                    <a:lnTo>
                      <a:pt x="126" y="9"/>
                    </a:lnTo>
                    <a:lnTo>
                      <a:pt x="126" y="10"/>
                    </a:lnTo>
                    <a:lnTo>
                      <a:pt x="124" y="10"/>
                    </a:lnTo>
                    <a:lnTo>
                      <a:pt x="124" y="10"/>
                    </a:lnTo>
                    <a:lnTo>
                      <a:pt x="121" y="7"/>
                    </a:lnTo>
                    <a:lnTo>
                      <a:pt x="118" y="6"/>
                    </a:lnTo>
                    <a:lnTo>
                      <a:pt x="117" y="7"/>
                    </a:lnTo>
                    <a:lnTo>
                      <a:pt x="117" y="7"/>
                    </a:lnTo>
                    <a:lnTo>
                      <a:pt x="114" y="12"/>
                    </a:lnTo>
                    <a:lnTo>
                      <a:pt x="111" y="17"/>
                    </a:lnTo>
                    <a:lnTo>
                      <a:pt x="111" y="17"/>
                    </a:lnTo>
                    <a:lnTo>
                      <a:pt x="110" y="22"/>
                    </a:lnTo>
                    <a:lnTo>
                      <a:pt x="108" y="23"/>
                    </a:lnTo>
                    <a:lnTo>
                      <a:pt x="105" y="23"/>
                    </a:lnTo>
                    <a:lnTo>
                      <a:pt x="105" y="23"/>
                    </a:lnTo>
                    <a:lnTo>
                      <a:pt x="94" y="19"/>
                    </a:lnTo>
                    <a:lnTo>
                      <a:pt x="89" y="17"/>
                    </a:lnTo>
                    <a:lnTo>
                      <a:pt x="87" y="17"/>
                    </a:lnTo>
                    <a:lnTo>
                      <a:pt x="85" y="17"/>
                    </a:lnTo>
                    <a:lnTo>
                      <a:pt x="85" y="17"/>
                    </a:lnTo>
                    <a:lnTo>
                      <a:pt x="82" y="22"/>
                    </a:lnTo>
                    <a:lnTo>
                      <a:pt x="81" y="26"/>
                    </a:lnTo>
                    <a:lnTo>
                      <a:pt x="79" y="35"/>
                    </a:lnTo>
                    <a:lnTo>
                      <a:pt x="79" y="35"/>
                    </a:lnTo>
                    <a:lnTo>
                      <a:pt x="76" y="41"/>
                    </a:lnTo>
                    <a:lnTo>
                      <a:pt x="75" y="42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63" y="42"/>
                    </a:lnTo>
                    <a:lnTo>
                      <a:pt x="59" y="42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60" y="48"/>
                    </a:lnTo>
                    <a:lnTo>
                      <a:pt x="60" y="49"/>
                    </a:lnTo>
                    <a:lnTo>
                      <a:pt x="60" y="4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39" name="Freeform 1194"/>
              <p:cNvSpPr>
                <a:spLocks/>
              </p:cNvSpPr>
              <p:nvPr/>
            </p:nvSpPr>
            <p:spPr bwMode="auto">
              <a:xfrm>
                <a:off x="2608319" y="2146845"/>
                <a:ext cx="76173" cy="31656"/>
              </a:xfrm>
              <a:custGeom>
                <a:avLst/>
                <a:gdLst>
                  <a:gd name="T0" fmla="*/ 68 w 77"/>
                  <a:gd name="T1" fmla="*/ 10 h 32"/>
                  <a:gd name="T2" fmla="*/ 68 w 77"/>
                  <a:gd name="T3" fmla="*/ 10 h 32"/>
                  <a:gd name="T4" fmla="*/ 62 w 77"/>
                  <a:gd name="T5" fmla="*/ 12 h 32"/>
                  <a:gd name="T6" fmla="*/ 58 w 77"/>
                  <a:gd name="T7" fmla="*/ 13 h 32"/>
                  <a:gd name="T8" fmla="*/ 55 w 77"/>
                  <a:gd name="T9" fmla="*/ 15 h 32"/>
                  <a:gd name="T10" fmla="*/ 55 w 77"/>
                  <a:gd name="T11" fmla="*/ 15 h 32"/>
                  <a:gd name="T12" fmla="*/ 45 w 77"/>
                  <a:gd name="T13" fmla="*/ 13 h 32"/>
                  <a:gd name="T14" fmla="*/ 41 w 77"/>
                  <a:gd name="T15" fmla="*/ 13 h 32"/>
                  <a:gd name="T16" fmla="*/ 36 w 77"/>
                  <a:gd name="T17" fmla="*/ 16 h 32"/>
                  <a:gd name="T18" fmla="*/ 36 w 77"/>
                  <a:gd name="T19" fmla="*/ 16 h 32"/>
                  <a:gd name="T20" fmla="*/ 32 w 77"/>
                  <a:gd name="T21" fmla="*/ 22 h 32"/>
                  <a:gd name="T22" fmla="*/ 30 w 77"/>
                  <a:gd name="T23" fmla="*/ 25 h 32"/>
                  <a:gd name="T24" fmla="*/ 28 w 77"/>
                  <a:gd name="T25" fmla="*/ 26 h 32"/>
                  <a:gd name="T26" fmla="*/ 28 w 77"/>
                  <a:gd name="T27" fmla="*/ 26 h 32"/>
                  <a:gd name="T28" fmla="*/ 20 w 77"/>
                  <a:gd name="T29" fmla="*/ 26 h 32"/>
                  <a:gd name="T30" fmla="*/ 17 w 77"/>
                  <a:gd name="T31" fmla="*/ 26 h 32"/>
                  <a:gd name="T32" fmla="*/ 16 w 77"/>
                  <a:gd name="T33" fmla="*/ 26 h 32"/>
                  <a:gd name="T34" fmla="*/ 16 w 77"/>
                  <a:gd name="T35" fmla="*/ 26 h 32"/>
                  <a:gd name="T36" fmla="*/ 12 w 77"/>
                  <a:gd name="T37" fmla="*/ 31 h 32"/>
                  <a:gd name="T38" fmla="*/ 9 w 77"/>
                  <a:gd name="T39" fmla="*/ 32 h 32"/>
                  <a:gd name="T40" fmla="*/ 6 w 77"/>
                  <a:gd name="T41" fmla="*/ 32 h 32"/>
                  <a:gd name="T42" fmla="*/ 6 w 77"/>
                  <a:gd name="T43" fmla="*/ 32 h 32"/>
                  <a:gd name="T44" fmla="*/ 2 w 77"/>
                  <a:gd name="T45" fmla="*/ 29 h 32"/>
                  <a:gd name="T46" fmla="*/ 0 w 77"/>
                  <a:gd name="T47" fmla="*/ 26 h 32"/>
                  <a:gd name="T48" fmla="*/ 2 w 77"/>
                  <a:gd name="T49" fmla="*/ 26 h 32"/>
                  <a:gd name="T50" fmla="*/ 2 w 77"/>
                  <a:gd name="T51" fmla="*/ 26 h 32"/>
                  <a:gd name="T52" fmla="*/ 7 w 77"/>
                  <a:gd name="T53" fmla="*/ 25 h 32"/>
                  <a:gd name="T54" fmla="*/ 10 w 77"/>
                  <a:gd name="T55" fmla="*/ 25 h 32"/>
                  <a:gd name="T56" fmla="*/ 12 w 77"/>
                  <a:gd name="T57" fmla="*/ 22 h 32"/>
                  <a:gd name="T58" fmla="*/ 12 w 77"/>
                  <a:gd name="T59" fmla="*/ 22 h 32"/>
                  <a:gd name="T60" fmla="*/ 13 w 77"/>
                  <a:gd name="T61" fmla="*/ 20 h 32"/>
                  <a:gd name="T62" fmla="*/ 15 w 77"/>
                  <a:gd name="T63" fmla="*/ 20 h 32"/>
                  <a:gd name="T64" fmla="*/ 16 w 77"/>
                  <a:gd name="T65" fmla="*/ 20 h 32"/>
                  <a:gd name="T66" fmla="*/ 19 w 77"/>
                  <a:gd name="T67" fmla="*/ 20 h 32"/>
                  <a:gd name="T68" fmla="*/ 19 w 77"/>
                  <a:gd name="T69" fmla="*/ 20 h 32"/>
                  <a:gd name="T70" fmla="*/ 32 w 77"/>
                  <a:gd name="T71" fmla="*/ 9 h 32"/>
                  <a:gd name="T72" fmla="*/ 39 w 77"/>
                  <a:gd name="T73" fmla="*/ 3 h 32"/>
                  <a:gd name="T74" fmla="*/ 42 w 77"/>
                  <a:gd name="T75" fmla="*/ 0 h 32"/>
                  <a:gd name="T76" fmla="*/ 45 w 77"/>
                  <a:gd name="T77" fmla="*/ 0 h 32"/>
                  <a:gd name="T78" fmla="*/ 45 w 77"/>
                  <a:gd name="T79" fmla="*/ 0 h 32"/>
                  <a:gd name="T80" fmla="*/ 48 w 77"/>
                  <a:gd name="T81" fmla="*/ 2 h 32"/>
                  <a:gd name="T82" fmla="*/ 51 w 77"/>
                  <a:gd name="T83" fmla="*/ 3 h 32"/>
                  <a:gd name="T84" fmla="*/ 54 w 77"/>
                  <a:gd name="T85" fmla="*/ 5 h 32"/>
                  <a:gd name="T86" fmla="*/ 57 w 77"/>
                  <a:gd name="T87" fmla="*/ 6 h 32"/>
                  <a:gd name="T88" fmla="*/ 57 w 77"/>
                  <a:gd name="T89" fmla="*/ 6 h 32"/>
                  <a:gd name="T90" fmla="*/ 67 w 77"/>
                  <a:gd name="T91" fmla="*/ 5 h 32"/>
                  <a:gd name="T92" fmla="*/ 72 w 77"/>
                  <a:gd name="T93" fmla="*/ 5 h 32"/>
                  <a:gd name="T94" fmla="*/ 75 w 77"/>
                  <a:gd name="T95" fmla="*/ 6 h 32"/>
                  <a:gd name="T96" fmla="*/ 75 w 77"/>
                  <a:gd name="T97" fmla="*/ 6 h 32"/>
                  <a:gd name="T98" fmla="*/ 77 w 77"/>
                  <a:gd name="T99" fmla="*/ 9 h 32"/>
                  <a:gd name="T100" fmla="*/ 75 w 77"/>
                  <a:gd name="T101" fmla="*/ 9 h 32"/>
                  <a:gd name="T102" fmla="*/ 68 w 77"/>
                  <a:gd name="T103" fmla="*/ 1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7" h="32">
                    <a:moveTo>
                      <a:pt x="68" y="10"/>
                    </a:moveTo>
                    <a:lnTo>
                      <a:pt x="68" y="10"/>
                    </a:lnTo>
                    <a:lnTo>
                      <a:pt x="62" y="12"/>
                    </a:lnTo>
                    <a:lnTo>
                      <a:pt x="58" y="13"/>
                    </a:lnTo>
                    <a:lnTo>
                      <a:pt x="55" y="15"/>
                    </a:lnTo>
                    <a:lnTo>
                      <a:pt x="55" y="15"/>
                    </a:lnTo>
                    <a:lnTo>
                      <a:pt x="45" y="13"/>
                    </a:lnTo>
                    <a:lnTo>
                      <a:pt x="41" y="13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2" y="22"/>
                    </a:lnTo>
                    <a:lnTo>
                      <a:pt x="30" y="25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0" y="26"/>
                    </a:lnTo>
                    <a:lnTo>
                      <a:pt x="17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2" y="31"/>
                    </a:lnTo>
                    <a:lnTo>
                      <a:pt x="9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2" y="29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7" y="25"/>
                    </a:lnTo>
                    <a:lnTo>
                      <a:pt x="10" y="25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3" y="20"/>
                    </a:lnTo>
                    <a:lnTo>
                      <a:pt x="15" y="20"/>
                    </a:lnTo>
                    <a:lnTo>
                      <a:pt x="16" y="20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32" y="9"/>
                    </a:lnTo>
                    <a:lnTo>
                      <a:pt x="39" y="3"/>
                    </a:lnTo>
                    <a:lnTo>
                      <a:pt x="42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2"/>
                    </a:lnTo>
                    <a:lnTo>
                      <a:pt x="51" y="3"/>
                    </a:lnTo>
                    <a:lnTo>
                      <a:pt x="54" y="5"/>
                    </a:lnTo>
                    <a:lnTo>
                      <a:pt x="57" y="6"/>
                    </a:lnTo>
                    <a:lnTo>
                      <a:pt x="57" y="6"/>
                    </a:lnTo>
                    <a:lnTo>
                      <a:pt x="67" y="5"/>
                    </a:lnTo>
                    <a:lnTo>
                      <a:pt x="72" y="5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7" y="9"/>
                    </a:lnTo>
                    <a:lnTo>
                      <a:pt x="75" y="9"/>
                    </a:lnTo>
                    <a:lnTo>
                      <a:pt x="68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40" name="Freeform 1195"/>
              <p:cNvSpPr>
                <a:spLocks/>
              </p:cNvSpPr>
              <p:nvPr/>
            </p:nvSpPr>
            <p:spPr bwMode="auto">
              <a:xfrm>
                <a:off x="2662729" y="2013295"/>
                <a:ext cx="12860" cy="8903"/>
              </a:xfrm>
              <a:custGeom>
                <a:avLst/>
                <a:gdLst>
                  <a:gd name="T0" fmla="*/ 0 w 13"/>
                  <a:gd name="T1" fmla="*/ 2 h 9"/>
                  <a:gd name="T2" fmla="*/ 0 w 13"/>
                  <a:gd name="T3" fmla="*/ 2 h 9"/>
                  <a:gd name="T4" fmla="*/ 0 w 13"/>
                  <a:gd name="T5" fmla="*/ 0 h 9"/>
                  <a:gd name="T6" fmla="*/ 2 w 13"/>
                  <a:gd name="T7" fmla="*/ 0 h 9"/>
                  <a:gd name="T8" fmla="*/ 4 w 13"/>
                  <a:gd name="T9" fmla="*/ 0 h 9"/>
                  <a:gd name="T10" fmla="*/ 7 w 13"/>
                  <a:gd name="T11" fmla="*/ 2 h 9"/>
                  <a:gd name="T12" fmla="*/ 12 w 13"/>
                  <a:gd name="T13" fmla="*/ 3 h 9"/>
                  <a:gd name="T14" fmla="*/ 12 w 13"/>
                  <a:gd name="T15" fmla="*/ 3 h 9"/>
                  <a:gd name="T16" fmla="*/ 13 w 13"/>
                  <a:gd name="T17" fmla="*/ 3 h 9"/>
                  <a:gd name="T18" fmla="*/ 13 w 13"/>
                  <a:gd name="T19" fmla="*/ 3 h 9"/>
                  <a:gd name="T20" fmla="*/ 10 w 13"/>
                  <a:gd name="T21" fmla="*/ 6 h 9"/>
                  <a:gd name="T22" fmla="*/ 7 w 13"/>
                  <a:gd name="T23" fmla="*/ 9 h 9"/>
                  <a:gd name="T24" fmla="*/ 3 w 13"/>
                  <a:gd name="T25" fmla="*/ 9 h 9"/>
                  <a:gd name="T26" fmla="*/ 3 w 13"/>
                  <a:gd name="T27" fmla="*/ 9 h 9"/>
                  <a:gd name="T28" fmla="*/ 2 w 13"/>
                  <a:gd name="T29" fmla="*/ 9 h 9"/>
                  <a:gd name="T30" fmla="*/ 0 w 13"/>
                  <a:gd name="T31" fmla="*/ 6 h 9"/>
                  <a:gd name="T32" fmla="*/ 2 w 13"/>
                  <a:gd name="T33" fmla="*/ 5 h 9"/>
                  <a:gd name="T34" fmla="*/ 0 w 13"/>
                  <a:gd name="T35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" h="9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7" y="2"/>
                    </a:lnTo>
                    <a:lnTo>
                      <a:pt x="12" y="3"/>
                    </a:lnTo>
                    <a:lnTo>
                      <a:pt x="12" y="3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0" y="6"/>
                    </a:lnTo>
                    <a:lnTo>
                      <a:pt x="7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2" y="5"/>
                    </a:lnTo>
                    <a:lnTo>
                      <a:pt x="0" y="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41" name="Freeform 1196"/>
              <p:cNvSpPr>
                <a:spLocks/>
              </p:cNvSpPr>
              <p:nvPr/>
            </p:nvSpPr>
            <p:spPr bwMode="auto">
              <a:xfrm>
                <a:off x="2674600" y="2021209"/>
                <a:ext cx="12860" cy="15828"/>
              </a:xfrm>
              <a:custGeom>
                <a:avLst/>
                <a:gdLst>
                  <a:gd name="T0" fmla="*/ 1 w 13"/>
                  <a:gd name="T1" fmla="*/ 16 h 16"/>
                  <a:gd name="T2" fmla="*/ 1 w 13"/>
                  <a:gd name="T3" fmla="*/ 16 h 16"/>
                  <a:gd name="T4" fmla="*/ 0 w 13"/>
                  <a:gd name="T5" fmla="*/ 16 h 16"/>
                  <a:gd name="T6" fmla="*/ 0 w 13"/>
                  <a:gd name="T7" fmla="*/ 16 h 16"/>
                  <a:gd name="T8" fmla="*/ 3 w 13"/>
                  <a:gd name="T9" fmla="*/ 13 h 16"/>
                  <a:gd name="T10" fmla="*/ 5 w 13"/>
                  <a:gd name="T11" fmla="*/ 8 h 16"/>
                  <a:gd name="T12" fmla="*/ 7 w 13"/>
                  <a:gd name="T13" fmla="*/ 6 h 16"/>
                  <a:gd name="T14" fmla="*/ 7 w 13"/>
                  <a:gd name="T15" fmla="*/ 6 h 16"/>
                  <a:gd name="T16" fmla="*/ 8 w 13"/>
                  <a:gd name="T17" fmla="*/ 1 h 16"/>
                  <a:gd name="T18" fmla="*/ 11 w 13"/>
                  <a:gd name="T19" fmla="*/ 0 h 16"/>
                  <a:gd name="T20" fmla="*/ 11 w 13"/>
                  <a:gd name="T21" fmla="*/ 0 h 16"/>
                  <a:gd name="T22" fmla="*/ 13 w 13"/>
                  <a:gd name="T23" fmla="*/ 1 h 16"/>
                  <a:gd name="T24" fmla="*/ 13 w 13"/>
                  <a:gd name="T25" fmla="*/ 3 h 16"/>
                  <a:gd name="T26" fmla="*/ 10 w 13"/>
                  <a:gd name="T27" fmla="*/ 7 h 16"/>
                  <a:gd name="T28" fmla="*/ 5 w 13"/>
                  <a:gd name="T29" fmla="*/ 13 h 16"/>
                  <a:gd name="T30" fmla="*/ 1 w 13"/>
                  <a:gd name="T31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" h="16">
                    <a:moveTo>
                      <a:pt x="1" y="16"/>
                    </a:moveTo>
                    <a:lnTo>
                      <a:pt x="1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3" y="13"/>
                    </a:lnTo>
                    <a:lnTo>
                      <a:pt x="5" y="8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8" y="1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3" y="1"/>
                    </a:lnTo>
                    <a:lnTo>
                      <a:pt x="13" y="3"/>
                    </a:lnTo>
                    <a:lnTo>
                      <a:pt x="10" y="7"/>
                    </a:lnTo>
                    <a:lnTo>
                      <a:pt x="5" y="13"/>
                    </a:lnTo>
                    <a:lnTo>
                      <a:pt x="1" y="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42" name="Freeform 1197"/>
              <p:cNvSpPr>
                <a:spLocks/>
              </p:cNvSpPr>
              <p:nvPr/>
            </p:nvSpPr>
            <p:spPr bwMode="auto">
              <a:xfrm>
                <a:off x="2655804" y="1982628"/>
                <a:ext cx="47484" cy="30667"/>
              </a:xfrm>
              <a:custGeom>
                <a:avLst/>
                <a:gdLst>
                  <a:gd name="T0" fmla="*/ 48 w 48"/>
                  <a:gd name="T1" fmla="*/ 11 h 31"/>
                  <a:gd name="T2" fmla="*/ 40 w 48"/>
                  <a:gd name="T3" fmla="*/ 16 h 31"/>
                  <a:gd name="T4" fmla="*/ 40 w 48"/>
                  <a:gd name="T5" fmla="*/ 18 h 31"/>
                  <a:gd name="T6" fmla="*/ 39 w 48"/>
                  <a:gd name="T7" fmla="*/ 27 h 31"/>
                  <a:gd name="T8" fmla="*/ 39 w 48"/>
                  <a:gd name="T9" fmla="*/ 29 h 31"/>
                  <a:gd name="T10" fmla="*/ 35 w 48"/>
                  <a:gd name="T11" fmla="*/ 31 h 31"/>
                  <a:gd name="T12" fmla="*/ 35 w 48"/>
                  <a:gd name="T13" fmla="*/ 29 h 31"/>
                  <a:gd name="T14" fmla="*/ 33 w 48"/>
                  <a:gd name="T15" fmla="*/ 26 h 31"/>
                  <a:gd name="T16" fmla="*/ 33 w 48"/>
                  <a:gd name="T17" fmla="*/ 21 h 31"/>
                  <a:gd name="T18" fmla="*/ 35 w 48"/>
                  <a:gd name="T19" fmla="*/ 16 h 31"/>
                  <a:gd name="T20" fmla="*/ 33 w 48"/>
                  <a:gd name="T21" fmla="*/ 14 h 31"/>
                  <a:gd name="T22" fmla="*/ 27 w 48"/>
                  <a:gd name="T23" fmla="*/ 18 h 31"/>
                  <a:gd name="T24" fmla="*/ 22 w 48"/>
                  <a:gd name="T25" fmla="*/ 20 h 31"/>
                  <a:gd name="T26" fmla="*/ 19 w 48"/>
                  <a:gd name="T27" fmla="*/ 14 h 31"/>
                  <a:gd name="T28" fmla="*/ 17 w 48"/>
                  <a:gd name="T29" fmla="*/ 11 h 31"/>
                  <a:gd name="T30" fmla="*/ 13 w 48"/>
                  <a:gd name="T31" fmla="*/ 13 h 31"/>
                  <a:gd name="T32" fmla="*/ 9 w 48"/>
                  <a:gd name="T33" fmla="*/ 13 h 31"/>
                  <a:gd name="T34" fmla="*/ 3 w 48"/>
                  <a:gd name="T35" fmla="*/ 8 h 31"/>
                  <a:gd name="T36" fmla="*/ 0 w 48"/>
                  <a:gd name="T37" fmla="*/ 1 h 31"/>
                  <a:gd name="T38" fmla="*/ 3 w 48"/>
                  <a:gd name="T39" fmla="*/ 1 h 31"/>
                  <a:gd name="T40" fmla="*/ 13 w 48"/>
                  <a:gd name="T41" fmla="*/ 0 h 31"/>
                  <a:gd name="T42" fmla="*/ 16 w 48"/>
                  <a:gd name="T43" fmla="*/ 1 h 31"/>
                  <a:gd name="T44" fmla="*/ 19 w 48"/>
                  <a:gd name="T45" fmla="*/ 7 h 31"/>
                  <a:gd name="T46" fmla="*/ 20 w 48"/>
                  <a:gd name="T47" fmla="*/ 8 h 31"/>
                  <a:gd name="T48" fmla="*/ 22 w 48"/>
                  <a:gd name="T49" fmla="*/ 10 h 31"/>
                  <a:gd name="T50" fmla="*/ 23 w 48"/>
                  <a:gd name="T51" fmla="*/ 11 h 31"/>
                  <a:gd name="T52" fmla="*/ 24 w 48"/>
                  <a:gd name="T53" fmla="*/ 11 h 31"/>
                  <a:gd name="T54" fmla="*/ 27 w 48"/>
                  <a:gd name="T55" fmla="*/ 7 h 31"/>
                  <a:gd name="T56" fmla="*/ 29 w 48"/>
                  <a:gd name="T57" fmla="*/ 5 h 31"/>
                  <a:gd name="T58" fmla="*/ 33 w 48"/>
                  <a:gd name="T59" fmla="*/ 7 h 31"/>
                  <a:gd name="T60" fmla="*/ 38 w 48"/>
                  <a:gd name="T61" fmla="*/ 10 h 31"/>
                  <a:gd name="T62" fmla="*/ 45 w 48"/>
                  <a:gd name="T63" fmla="*/ 10 h 31"/>
                  <a:gd name="T64" fmla="*/ 48 w 48"/>
                  <a:gd name="T65" fmla="*/ 1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" h="31">
                    <a:moveTo>
                      <a:pt x="48" y="11"/>
                    </a:moveTo>
                    <a:lnTo>
                      <a:pt x="48" y="11"/>
                    </a:lnTo>
                    <a:lnTo>
                      <a:pt x="43" y="14"/>
                    </a:lnTo>
                    <a:lnTo>
                      <a:pt x="40" y="16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39" y="24"/>
                    </a:lnTo>
                    <a:lnTo>
                      <a:pt x="39" y="27"/>
                    </a:lnTo>
                    <a:lnTo>
                      <a:pt x="39" y="29"/>
                    </a:lnTo>
                    <a:lnTo>
                      <a:pt x="39" y="29"/>
                    </a:lnTo>
                    <a:lnTo>
                      <a:pt x="36" y="31"/>
                    </a:lnTo>
                    <a:lnTo>
                      <a:pt x="35" y="31"/>
                    </a:lnTo>
                    <a:lnTo>
                      <a:pt x="35" y="29"/>
                    </a:lnTo>
                    <a:lnTo>
                      <a:pt x="35" y="29"/>
                    </a:lnTo>
                    <a:lnTo>
                      <a:pt x="33" y="27"/>
                    </a:lnTo>
                    <a:lnTo>
                      <a:pt x="33" y="26"/>
                    </a:lnTo>
                    <a:lnTo>
                      <a:pt x="33" y="23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5" y="16"/>
                    </a:lnTo>
                    <a:lnTo>
                      <a:pt x="35" y="14"/>
                    </a:lnTo>
                    <a:lnTo>
                      <a:pt x="33" y="14"/>
                    </a:lnTo>
                    <a:lnTo>
                      <a:pt x="33" y="14"/>
                    </a:lnTo>
                    <a:lnTo>
                      <a:pt x="27" y="18"/>
                    </a:lnTo>
                    <a:lnTo>
                      <a:pt x="24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19" y="14"/>
                    </a:lnTo>
                    <a:lnTo>
                      <a:pt x="19" y="13"/>
                    </a:lnTo>
                    <a:lnTo>
                      <a:pt x="17" y="11"/>
                    </a:lnTo>
                    <a:lnTo>
                      <a:pt x="17" y="11"/>
                    </a:lnTo>
                    <a:lnTo>
                      <a:pt x="13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6" y="11"/>
                    </a:lnTo>
                    <a:lnTo>
                      <a:pt x="3" y="8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3" y="1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6" y="1"/>
                    </a:lnTo>
                    <a:lnTo>
                      <a:pt x="17" y="4"/>
                    </a:lnTo>
                    <a:lnTo>
                      <a:pt x="19" y="7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1"/>
                    </a:lnTo>
                    <a:lnTo>
                      <a:pt x="23" y="11"/>
                    </a:lnTo>
                    <a:lnTo>
                      <a:pt x="23" y="11"/>
                    </a:lnTo>
                    <a:lnTo>
                      <a:pt x="24" y="11"/>
                    </a:lnTo>
                    <a:lnTo>
                      <a:pt x="26" y="8"/>
                    </a:lnTo>
                    <a:lnTo>
                      <a:pt x="27" y="7"/>
                    </a:lnTo>
                    <a:lnTo>
                      <a:pt x="29" y="5"/>
                    </a:lnTo>
                    <a:lnTo>
                      <a:pt x="29" y="5"/>
                    </a:lnTo>
                    <a:lnTo>
                      <a:pt x="32" y="5"/>
                    </a:lnTo>
                    <a:lnTo>
                      <a:pt x="33" y="7"/>
                    </a:lnTo>
                    <a:lnTo>
                      <a:pt x="35" y="8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5" y="10"/>
                    </a:lnTo>
                    <a:lnTo>
                      <a:pt x="48" y="11"/>
                    </a:lnTo>
                    <a:lnTo>
                      <a:pt x="48" y="11"/>
                    </a:lnTo>
                    <a:lnTo>
                      <a:pt x="48" y="1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43" name="Freeform 1198"/>
              <p:cNvSpPr>
                <a:spLocks/>
              </p:cNvSpPr>
              <p:nvPr/>
            </p:nvSpPr>
            <p:spPr bwMode="auto">
              <a:xfrm>
                <a:off x="2853656" y="2187404"/>
                <a:ext cx="10882" cy="7914"/>
              </a:xfrm>
              <a:custGeom>
                <a:avLst/>
                <a:gdLst>
                  <a:gd name="T0" fmla="*/ 10 w 11"/>
                  <a:gd name="T1" fmla="*/ 1 h 8"/>
                  <a:gd name="T2" fmla="*/ 10 w 11"/>
                  <a:gd name="T3" fmla="*/ 1 h 8"/>
                  <a:gd name="T4" fmla="*/ 11 w 11"/>
                  <a:gd name="T5" fmla="*/ 1 h 8"/>
                  <a:gd name="T6" fmla="*/ 11 w 11"/>
                  <a:gd name="T7" fmla="*/ 3 h 8"/>
                  <a:gd name="T8" fmla="*/ 7 w 11"/>
                  <a:gd name="T9" fmla="*/ 6 h 8"/>
                  <a:gd name="T10" fmla="*/ 7 w 11"/>
                  <a:gd name="T11" fmla="*/ 6 h 8"/>
                  <a:gd name="T12" fmla="*/ 7 w 11"/>
                  <a:gd name="T13" fmla="*/ 7 h 8"/>
                  <a:gd name="T14" fmla="*/ 7 w 11"/>
                  <a:gd name="T15" fmla="*/ 8 h 8"/>
                  <a:gd name="T16" fmla="*/ 6 w 11"/>
                  <a:gd name="T17" fmla="*/ 8 h 8"/>
                  <a:gd name="T18" fmla="*/ 4 w 11"/>
                  <a:gd name="T19" fmla="*/ 8 h 8"/>
                  <a:gd name="T20" fmla="*/ 4 w 11"/>
                  <a:gd name="T21" fmla="*/ 8 h 8"/>
                  <a:gd name="T22" fmla="*/ 1 w 11"/>
                  <a:gd name="T23" fmla="*/ 8 h 8"/>
                  <a:gd name="T24" fmla="*/ 0 w 11"/>
                  <a:gd name="T25" fmla="*/ 7 h 8"/>
                  <a:gd name="T26" fmla="*/ 1 w 11"/>
                  <a:gd name="T27" fmla="*/ 6 h 8"/>
                  <a:gd name="T28" fmla="*/ 1 w 11"/>
                  <a:gd name="T29" fmla="*/ 6 h 8"/>
                  <a:gd name="T30" fmla="*/ 3 w 11"/>
                  <a:gd name="T31" fmla="*/ 6 h 8"/>
                  <a:gd name="T32" fmla="*/ 1 w 11"/>
                  <a:gd name="T33" fmla="*/ 4 h 8"/>
                  <a:gd name="T34" fmla="*/ 0 w 11"/>
                  <a:gd name="T35" fmla="*/ 1 h 8"/>
                  <a:gd name="T36" fmla="*/ 0 w 11"/>
                  <a:gd name="T37" fmla="*/ 1 h 8"/>
                  <a:gd name="T38" fmla="*/ 0 w 11"/>
                  <a:gd name="T39" fmla="*/ 0 h 8"/>
                  <a:gd name="T40" fmla="*/ 3 w 11"/>
                  <a:gd name="T41" fmla="*/ 1 h 8"/>
                  <a:gd name="T42" fmla="*/ 6 w 11"/>
                  <a:gd name="T43" fmla="*/ 1 h 8"/>
                  <a:gd name="T44" fmla="*/ 10 w 11"/>
                  <a:gd name="T45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" h="8">
                    <a:moveTo>
                      <a:pt x="10" y="1"/>
                    </a:moveTo>
                    <a:lnTo>
                      <a:pt x="10" y="1"/>
                    </a:lnTo>
                    <a:lnTo>
                      <a:pt x="11" y="1"/>
                    </a:lnTo>
                    <a:lnTo>
                      <a:pt x="11" y="3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7" y="7"/>
                    </a:lnTo>
                    <a:lnTo>
                      <a:pt x="7" y="8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1" y="8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3" y="6"/>
                    </a:lnTo>
                    <a:lnTo>
                      <a:pt x="1" y="4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3" y="1"/>
                    </a:lnTo>
                    <a:lnTo>
                      <a:pt x="6" y="1"/>
                    </a:lnTo>
                    <a:lnTo>
                      <a:pt x="10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44" name="Freeform 1199"/>
              <p:cNvSpPr>
                <a:spLocks/>
              </p:cNvSpPr>
              <p:nvPr/>
            </p:nvSpPr>
            <p:spPr bwMode="auto">
              <a:xfrm>
                <a:off x="2847720" y="2066715"/>
                <a:ext cx="6925" cy="12860"/>
              </a:xfrm>
              <a:custGeom>
                <a:avLst/>
                <a:gdLst>
                  <a:gd name="T0" fmla="*/ 7 w 7"/>
                  <a:gd name="T1" fmla="*/ 4 h 13"/>
                  <a:gd name="T2" fmla="*/ 7 w 7"/>
                  <a:gd name="T3" fmla="*/ 4 h 13"/>
                  <a:gd name="T4" fmla="*/ 7 w 7"/>
                  <a:gd name="T5" fmla="*/ 6 h 13"/>
                  <a:gd name="T6" fmla="*/ 7 w 7"/>
                  <a:gd name="T7" fmla="*/ 7 h 13"/>
                  <a:gd name="T8" fmla="*/ 6 w 7"/>
                  <a:gd name="T9" fmla="*/ 10 h 13"/>
                  <a:gd name="T10" fmla="*/ 3 w 7"/>
                  <a:gd name="T11" fmla="*/ 13 h 13"/>
                  <a:gd name="T12" fmla="*/ 3 w 7"/>
                  <a:gd name="T13" fmla="*/ 13 h 13"/>
                  <a:gd name="T14" fmla="*/ 1 w 7"/>
                  <a:gd name="T15" fmla="*/ 12 h 13"/>
                  <a:gd name="T16" fmla="*/ 1 w 7"/>
                  <a:gd name="T17" fmla="*/ 12 h 13"/>
                  <a:gd name="T18" fmla="*/ 0 w 7"/>
                  <a:gd name="T19" fmla="*/ 7 h 13"/>
                  <a:gd name="T20" fmla="*/ 0 w 7"/>
                  <a:gd name="T21" fmla="*/ 2 h 13"/>
                  <a:gd name="T22" fmla="*/ 0 w 7"/>
                  <a:gd name="T23" fmla="*/ 2 h 13"/>
                  <a:gd name="T24" fmla="*/ 0 w 7"/>
                  <a:gd name="T25" fmla="*/ 0 h 13"/>
                  <a:gd name="T26" fmla="*/ 3 w 7"/>
                  <a:gd name="T27" fmla="*/ 0 h 13"/>
                  <a:gd name="T28" fmla="*/ 7 w 7"/>
                  <a:gd name="T2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13">
                    <a:moveTo>
                      <a:pt x="7" y="4"/>
                    </a:moveTo>
                    <a:lnTo>
                      <a:pt x="7" y="4"/>
                    </a:lnTo>
                    <a:lnTo>
                      <a:pt x="7" y="6"/>
                    </a:lnTo>
                    <a:lnTo>
                      <a:pt x="7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0" y="7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7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45" name="Freeform 1200"/>
              <p:cNvSpPr>
                <a:spLocks/>
              </p:cNvSpPr>
              <p:nvPr/>
            </p:nvSpPr>
            <p:spPr bwMode="auto">
              <a:xfrm>
                <a:off x="2835849" y="2038026"/>
                <a:ext cx="17807" cy="15828"/>
              </a:xfrm>
              <a:custGeom>
                <a:avLst/>
                <a:gdLst>
                  <a:gd name="T0" fmla="*/ 10 w 18"/>
                  <a:gd name="T1" fmla="*/ 2 h 16"/>
                  <a:gd name="T2" fmla="*/ 10 w 18"/>
                  <a:gd name="T3" fmla="*/ 2 h 16"/>
                  <a:gd name="T4" fmla="*/ 13 w 18"/>
                  <a:gd name="T5" fmla="*/ 4 h 16"/>
                  <a:gd name="T6" fmla="*/ 16 w 18"/>
                  <a:gd name="T7" fmla="*/ 4 h 16"/>
                  <a:gd name="T8" fmla="*/ 18 w 18"/>
                  <a:gd name="T9" fmla="*/ 6 h 16"/>
                  <a:gd name="T10" fmla="*/ 18 w 18"/>
                  <a:gd name="T11" fmla="*/ 7 h 16"/>
                  <a:gd name="T12" fmla="*/ 18 w 18"/>
                  <a:gd name="T13" fmla="*/ 7 h 16"/>
                  <a:gd name="T14" fmla="*/ 16 w 18"/>
                  <a:gd name="T15" fmla="*/ 13 h 16"/>
                  <a:gd name="T16" fmla="*/ 15 w 18"/>
                  <a:gd name="T17" fmla="*/ 16 h 16"/>
                  <a:gd name="T18" fmla="*/ 12 w 18"/>
                  <a:gd name="T19" fmla="*/ 16 h 16"/>
                  <a:gd name="T20" fmla="*/ 12 w 18"/>
                  <a:gd name="T21" fmla="*/ 16 h 16"/>
                  <a:gd name="T22" fmla="*/ 8 w 18"/>
                  <a:gd name="T23" fmla="*/ 15 h 16"/>
                  <a:gd name="T24" fmla="*/ 3 w 18"/>
                  <a:gd name="T25" fmla="*/ 12 h 16"/>
                  <a:gd name="T26" fmla="*/ 0 w 18"/>
                  <a:gd name="T27" fmla="*/ 9 h 16"/>
                  <a:gd name="T28" fmla="*/ 0 w 18"/>
                  <a:gd name="T29" fmla="*/ 7 h 16"/>
                  <a:gd name="T30" fmla="*/ 0 w 18"/>
                  <a:gd name="T31" fmla="*/ 6 h 16"/>
                  <a:gd name="T32" fmla="*/ 0 w 18"/>
                  <a:gd name="T33" fmla="*/ 6 h 16"/>
                  <a:gd name="T34" fmla="*/ 5 w 18"/>
                  <a:gd name="T35" fmla="*/ 2 h 16"/>
                  <a:gd name="T36" fmla="*/ 8 w 18"/>
                  <a:gd name="T37" fmla="*/ 0 h 16"/>
                  <a:gd name="T38" fmla="*/ 10 w 18"/>
                  <a:gd name="T39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" h="16">
                    <a:moveTo>
                      <a:pt x="10" y="2"/>
                    </a:moveTo>
                    <a:lnTo>
                      <a:pt x="10" y="2"/>
                    </a:lnTo>
                    <a:lnTo>
                      <a:pt x="13" y="4"/>
                    </a:lnTo>
                    <a:lnTo>
                      <a:pt x="16" y="4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6" y="13"/>
                    </a:lnTo>
                    <a:lnTo>
                      <a:pt x="15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8" y="15"/>
                    </a:lnTo>
                    <a:lnTo>
                      <a:pt x="3" y="12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" y="2"/>
                    </a:lnTo>
                    <a:lnTo>
                      <a:pt x="8" y="0"/>
                    </a:lnTo>
                    <a:lnTo>
                      <a:pt x="10" y="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46" name="Freeform 1201"/>
              <p:cNvSpPr>
                <a:spLocks/>
              </p:cNvSpPr>
              <p:nvPr/>
            </p:nvSpPr>
            <p:spPr bwMode="auto">
              <a:xfrm>
                <a:off x="2777483" y="1912390"/>
                <a:ext cx="67270" cy="23742"/>
              </a:xfrm>
              <a:custGeom>
                <a:avLst/>
                <a:gdLst>
                  <a:gd name="T0" fmla="*/ 0 w 68"/>
                  <a:gd name="T1" fmla="*/ 10 h 24"/>
                  <a:gd name="T2" fmla="*/ 7 w 68"/>
                  <a:gd name="T3" fmla="*/ 7 h 24"/>
                  <a:gd name="T4" fmla="*/ 10 w 68"/>
                  <a:gd name="T5" fmla="*/ 8 h 24"/>
                  <a:gd name="T6" fmla="*/ 16 w 68"/>
                  <a:gd name="T7" fmla="*/ 14 h 24"/>
                  <a:gd name="T8" fmla="*/ 23 w 68"/>
                  <a:gd name="T9" fmla="*/ 16 h 24"/>
                  <a:gd name="T10" fmla="*/ 25 w 68"/>
                  <a:gd name="T11" fmla="*/ 10 h 24"/>
                  <a:gd name="T12" fmla="*/ 29 w 68"/>
                  <a:gd name="T13" fmla="*/ 4 h 24"/>
                  <a:gd name="T14" fmla="*/ 35 w 68"/>
                  <a:gd name="T15" fmla="*/ 0 h 24"/>
                  <a:gd name="T16" fmla="*/ 35 w 68"/>
                  <a:gd name="T17" fmla="*/ 1 h 24"/>
                  <a:gd name="T18" fmla="*/ 35 w 68"/>
                  <a:gd name="T19" fmla="*/ 8 h 24"/>
                  <a:gd name="T20" fmla="*/ 36 w 68"/>
                  <a:gd name="T21" fmla="*/ 8 h 24"/>
                  <a:gd name="T22" fmla="*/ 41 w 68"/>
                  <a:gd name="T23" fmla="*/ 7 h 24"/>
                  <a:gd name="T24" fmla="*/ 41 w 68"/>
                  <a:gd name="T25" fmla="*/ 8 h 24"/>
                  <a:gd name="T26" fmla="*/ 41 w 68"/>
                  <a:gd name="T27" fmla="*/ 13 h 24"/>
                  <a:gd name="T28" fmla="*/ 42 w 68"/>
                  <a:gd name="T29" fmla="*/ 13 h 24"/>
                  <a:gd name="T30" fmla="*/ 51 w 68"/>
                  <a:gd name="T31" fmla="*/ 10 h 24"/>
                  <a:gd name="T32" fmla="*/ 54 w 68"/>
                  <a:gd name="T33" fmla="*/ 4 h 24"/>
                  <a:gd name="T34" fmla="*/ 55 w 68"/>
                  <a:gd name="T35" fmla="*/ 0 h 24"/>
                  <a:gd name="T36" fmla="*/ 56 w 68"/>
                  <a:gd name="T37" fmla="*/ 0 h 24"/>
                  <a:gd name="T38" fmla="*/ 64 w 68"/>
                  <a:gd name="T39" fmla="*/ 4 h 24"/>
                  <a:gd name="T40" fmla="*/ 64 w 68"/>
                  <a:gd name="T41" fmla="*/ 7 h 24"/>
                  <a:gd name="T42" fmla="*/ 67 w 68"/>
                  <a:gd name="T43" fmla="*/ 11 h 24"/>
                  <a:gd name="T44" fmla="*/ 68 w 68"/>
                  <a:gd name="T45" fmla="*/ 14 h 24"/>
                  <a:gd name="T46" fmla="*/ 67 w 68"/>
                  <a:gd name="T47" fmla="*/ 18 h 24"/>
                  <a:gd name="T48" fmla="*/ 64 w 68"/>
                  <a:gd name="T49" fmla="*/ 18 h 24"/>
                  <a:gd name="T50" fmla="*/ 61 w 68"/>
                  <a:gd name="T51" fmla="*/ 11 h 24"/>
                  <a:gd name="T52" fmla="*/ 58 w 68"/>
                  <a:gd name="T53" fmla="*/ 8 h 24"/>
                  <a:gd name="T54" fmla="*/ 56 w 68"/>
                  <a:gd name="T55" fmla="*/ 13 h 24"/>
                  <a:gd name="T56" fmla="*/ 54 w 68"/>
                  <a:gd name="T57" fmla="*/ 17 h 24"/>
                  <a:gd name="T58" fmla="*/ 48 w 68"/>
                  <a:gd name="T59" fmla="*/ 20 h 24"/>
                  <a:gd name="T60" fmla="*/ 45 w 68"/>
                  <a:gd name="T61" fmla="*/ 18 h 24"/>
                  <a:gd name="T62" fmla="*/ 41 w 68"/>
                  <a:gd name="T63" fmla="*/ 18 h 24"/>
                  <a:gd name="T64" fmla="*/ 38 w 68"/>
                  <a:gd name="T65" fmla="*/ 20 h 24"/>
                  <a:gd name="T66" fmla="*/ 33 w 68"/>
                  <a:gd name="T67" fmla="*/ 21 h 24"/>
                  <a:gd name="T68" fmla="*/ 32 w 68"/>
                  <a:gd name="T69" fmla="*/ 18 h 24"/>
                  <a:gd name="T70" fmla="*/ 30 w 68"/>
                  <a:gd name="T71" fmla="*/ 16 h 24"/>
                  <a:gd name="T72" fmla="*/ 29 w 68"/>
                  <a:gd name="T73" fmla="*/ 16 h 24"/>
                  <a:gd name="T74" fmla="*/ 20 w 68"/>
                  <a:gd name="T75" fmla="*/ 21 h 24"/>
                  <a:gd name="T76" fmla="*/ 19 w 68"/>
                  <a:gd name="T77" fmla="*/ 23 h 24"/>
                  <a:gd name="T78" fmla="*/ 14 w 68"/>
                  <a:gd name="T79" fmla="*/ 24 h 24"/>
                  <a:gd name="T80" fmla="*/ 13 w 68"/>
                  <a:gd name="T81" fmla="*/ 23 h 24"/>
                  <a:gd name="T82" fmla="*/ 12 w 68"/>
                  <a:gd name="T83" fmla="*/ 18 h 24"/>
                  <a:gd name="T84" fmla="*/ 10 w 68"/>
                  <a:gd name="T85" fmla="*/ 17 h 24"/>
                  <a:gd name="T86" fmla="*/ 0 w 68"/>
                  <a:gd name="T8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8" h="24">
                    <a:moveTo>
                      <a:pt x="0" y="10"/>
                    </a:moveTo>
                    <a:lnTo>
                      <a:pt x="0" y="10"/>
                    </a:lnTo>
                    <a:lnTo>
                      <a:pt x="6" y="7"/>
                    </a:lnTo>
                    <a:lnTo>
                      <a:pt x="7" y="7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3" y="11"/>
                    </a:lnTo>
                    <a:lnTo>
                      <a:pt x="16" y="14"/>
                    </a:lnTo>
                    <a:lnTo>
                      <a:pt x="20" y="16"/>
                    </a:lnTo>
                    <a:lnTo>
                      <a:pt x="23" y="16"/>
                    </a:lnTo>
                    <a:lnTo>
                      <a:pt x="23" y="16"/>
                    </a:lnTo>
                    <a:lnTo>
                      <a:pt x="25" y="10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33" y="0"/>
                    </a:lnTo>
                    <a:lnTo>
                      <a:pt x="35" y="0"/>
                    </a:lnTo>
                    <a:lnTo>
                      <a:pt x="35" y="1"/>
                    </a:lnTo>
                    <a:lnTo>
                      <a:pt x="35" y="1"/>
                    </a:lnTo>
                    <a:lnTo>
                      <a:pt x="35" y="7"/>
                    </a:lnTo>
                    <a:lnTo>
                      <a:pt x="35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9" y="7"/>
                    </a:lnTo>
                    <a:lnTo>
                      <a:pt x="41" y="7"/>
                    </a:lnTo>
                    <a:lnTo>
                      <a:pt x="41" y="8"/>
                    </a:lnTo>
                    <a:lnTo>
                      <a:pt x="41" y="8"/>
                    </a:lnTo>
                    <a:lnTo>
                      <a:pt x="41" y="11"/>
                    </a:lnTo>
                    <a:lnTo>
                      <a:pt x="41" y="13"/>
                    </a:lnTo>
                    <a:lnTo>
                      <a:pt x="42" y="13"/>
                    </a:lnTo>
                    <a:lnTo>
                      <a:pt x="42" y="13"/>
                    </a:lnTo>
                    <a:lnTo>
                      <a:pt x="48" y="11"/>
                    </a:lnTo>
                    <a:lnTo>
                      <a:pt x="51" y="10"/>
                    </a:lnTo>
                    <a:lnTo>
                      <a:pt x="51" y="10"/>
                    </a:lnTo>
                    <a:lnTo>
                      <a:pt x="54" y="4"/>
                    </a:lnTo>
                    <a:lnTo>
                      <a:pt x="55" y="1"/>
                    </a:lnTo>
                    <a:lnTo>
                      <a:pt x="55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1" y="3"/>
                    </a:lnTo>
                    <a:lnTo>
                      <a:pt x="64" y="4"/>
                    </a:lnTo>
                    <a:lnTo>
                      <a:pt x="64" y="7"/>
                    </a:lnTo>
                    <a:lnTo>
                      <a:pt x="64" y="7"/>
                    </a:lnTo>
                    <a:lnTo>
                      <a:pt x="64" y="10"/>
                    </a:lnTo>
                    <a:lnTo>
                      <a:pt x="67" y="11"/>
                    </a:lnTo>
                    <a:lnTo>
                      <a:pt x="68" y="13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7" y="18"/>
                    </a:lnTo>
                    <a:lnTo>
                      <a:pt x="65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1" y="11"/>
                    </a:lnTo>
                    <a:lnTo>
                      <a:pt x="59" y="10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6" y="13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1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5" y="18"/>
                    </a:lnTo>
                    <a:lnTo>
                      <a:pt x="43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38" y="20"/>
                    </a:lnTo>
                    <a:lnTo>
                      <a:pt x="35" y="21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2" y="18"/>
                    </a:lnTo>
                    <a:lnTo>
                      <a:pt x="30" y="17"/>
                    </a:lnTo>
                    <a:lnTo>
                      <a:pt x="30" y="16"/>
                    </a:lnTo>
                    <a:lnTo>
                      <a:pt x="29" y="16"/>
                    </a:lnTo>
                    <a:lnTo>
                      <a:pt x="29" y="16"/>
                    </a:lnTo>
                    <a:lnTo>
                      <a:pt x="25" y="20"/>
                    </a:lnTo>
                    <a:lnTo>
                      <a:pt x="20" y="21"/>
                    </a:lnTo>
                    <a:lnTo>
                      <a:pt x="20" y="21"/>
                    </a:lnTo>
                    <a:lnTo>
                      <a:pt x="19" y="23"/>
                    </a:lnTo>
                    <a:lnTo>
                      <a:pt x="16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3" y="23"/>
                    </a:lnTo>
                    <a:lnTo>
                      <a:pt x="13" y="20"/>
                    </a:lnTo>
                    <a:lnTo>
                      <a:pt x="12" y="18"/>
                    </a:lnTo>
                    <a:lnTo>
                      <a:pt x="10" y="17"/>
                    </a:lnTo>
                    <a:lnTo>
                      <a:pt x="10" y="17"/>
                    </a:lnTo>
                    <a:lnTo>
                      <a:pt x="1" y="13"/>
                    </a:lnTo>
                    <a:lnTo>
                      <a:pt x="0" y="11"/>
                    </a:lnTo>
                    <a:lnTo>
                      <a:pt x="0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47" name="Freeform 1202"/>
              <p:cNvSpPr>
                <a:spLocks/>
              </p:cNvSpPr>
              <p:nvPr/>
            </p:nvSpPr>
            <p:spPr bwMode="auto">
              <a:xfrm>
                <a:off x="2771547" y="2013295"/>
                <a:ext cx="21764" cy="33635"/>
              </a:xfrm>
              <a:custGeom>
                <a:avLst/>
                <a:gdLst>
                  <a:gd name="T0" fmla="*/ 13 w 22"/>
                  <a:gd name="T1" fmla="*/ 31 h 34"/>
                  <a:gd name="T2" fmla="*/ 13 w 22"/>
                  <a:gd name="T3" fmla="*/ 31 h 34"/>
                  <a:gd name="T4" fmla="*/ 10 w 22"/>
                  <a:gd name="T5" fmla="*/ 32 h 34"/>
                  <a:gd name="T6" fmla="*/ 7 w 22"/>
                  <a:gd name="T7" fmla="*/ 34 h 34"/>
                  <a:gd name="T8" fmla="*/ 6 w 22"/>
                  <a:gd name="T9" fmla="*/ 32 h 34"/>
                  <a:gd name="T10" fmla="*/ 6 w 22"/>
                  <a:gd name="T11" fmla="*/ 32 h 34"/>
                  <a:gd name="T12" fmla="*/ 6 w 22"/>
                  <a:gd name="T13" fmla="*/ 31 h 34"/>
                  <a:gd name="T14" fmla="*/ 6 w 22"/>
                  <a:gd name="T15" fmla="*/ 29 h 34"/>
                  <a:gd name="T16" fmla="*/ 6 w 22"/>
                  <a:gd name="T17" fmla="*/ 27 h 34"/>
                  <a:gd name="T18" fmla="*/ 5 w 22"/>
                  <a:gd name="T19" fmla="*/ 24 h 34"/>
                  <a:gd name="T20" fmla="*/ 5 w 22"/>
                  <a:gd name="T21" fmla="*/ 24 h 34"/>
                  <a:gd name="T22" fmla="*/ 0 w 22"/>
                  <a:gd name="T23" fmla="*/ 16 h 34"/>
                  <a:gd name="T24" fmla="*/ 0 w 22"/>
                  <a:gd name="T25" fmla="*/ 14 h 34"/>
                  <a:gd name="T26" fmla="*/ 0 w 22"/>
                  <a:gd name="T27" fmla="*/ 12 h 34"/>
                  <a:gd name="T28" fmla="*/ 0 w 22"/>
                  <a:gd name="T29" fmla="*/ 12 h 34"/>
                  <a:gd name="T30" fmla="*/ 5 w 22"/>
                  <a:gd name="T31" fmla="*/ 9 h 34"/>
                  <a:gd name="T32" fmla="*/ 9 w 22"/>
                  <a:gd name="T33" fmla="*/ 6 h 34"/>
                  <a:gd name="T34" fmla="*/ 9 w 22"/>
                  <a:gd name="T35" fmla="*/ 6 h 34"/>
                  <a:gd name="T36" fmla="*/ 16 w 22"/>
                  <a:gd name="T37" fmla="*/ 2 h 34"/>
                  <a:gd name="T38" fmla="*/ 20 w 22"/>
                  <a:gd name="T39" fmla="*/ 0 h 34"/>
                  <a:gd name="T40" fmla="*/ 22 w 22"/>
                  <a:gd name="T41" fmla="*/ 0 h 34"/>
                  <a:gd name="T42" fmla="*/ 22 w 22"/>
                  <a:gd name="T43" fmla="*/ 0 h 34"/>
                  <a:gd name="T44" fmla="*/ 18 w 22"/>
                  <a:gd name="T45" fmla="*/ 6 h 34"/>
                  <a:gd name="T46" fmla="*/ 18 w 22"/>
                  <a:gd name="T47" fmla="*/ 11 h 34"/>
                  <a:gd name="T48" fmla="*/ 18 w 22"/>
                  <a:gd name="T49" fmla="*/ 12 h 34"/>
                  <a:gd name="T50" fmla="*/ 18 w 22"/>
                  <a:gd name="T51" fmla="*/ 12 h 34"/>
                  <a:gd name="T52" fmla="*/ 22 w 22"/>
                  <a:gd name="T53" fmla="*/ 14 h 34"/>
                  <a:gd name="T54" fmla="*/ 22 w 22"/>
                  <a:gd name="T55" fmla="*/ 14 h 34"/>
                  <a:gd name="T56" fmla="*/ 22 w 22"/>
                  <a:gd name="T57" fmla="*/ 16 h 34"/>
                  <a:gd name="T58" fmla="*/ 22 w 22"/>
                  <a:gd name="T59" fmla="*/ 16 h 34"/>
                  <a:gd name="T60" fmla="*/ 18 w 22"/>
                  <a:gd name="T61" fmla="*/ 24 h 34"/>
                  <a:gd name="T62" fmla="*/ 13 w 22"/>
                  <a:gd name="T63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" h="34">
                    <a:moveTo>
                      <a:pt x="13" y="31"/>
                    </a:moveTo>
                    <a:lnTo>
                      <a:pt x="13" y="31"/>
                    </a:lnTo>
                    <a:lnTo>
                      <a:pt x="10" y="32"/>
                    </a:lnTo>
                    <a:lnTo>
                      <a:pt x="7" y="34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1"/>
                    </a:lnTo>
                    <a:lnTo>
                      <a:pt x="6" y="29"/>
                    </a:lnTo>
                    <a:lnTo>
                      <a:pt x="6" y="27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5" y="9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6" y="2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6"/>
                    </a:lnTo>
                    <a:lnTo>
                      <a:pt x="18" y="11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18" y="24"/>
                    </a:lnTo>
                    <a:lnTo>
                      <a:pt x="13" y="3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48" name="Freeform 1203"/>
              <p:cNvSpPr>
                <a:spLocks/>
              </p:cNvSpPr>
              <p:nvPr/>
            </p:nvSpPr>
            <p:spPr bwMode="auto">
              <a:xfrm>
                <a:off x="2793311" y="2206200"/>
                <a:ext cx="37592" cy="45506"/>
              </a:xfrm>
              <a:custGeom>
                <a:avLst/>
                <a:gdLst>
                  <a:gd name="T0" fmla="*/ 9 w 38"/>
                  <a:gd name="T1" fmla="*/ 46 h 46"/>
                  <a:gd name="T2" fmla="*/ 9 w 38"/>
                  <a:gd name="T3" fmla="*/ 46 h 46"/>
                  <a:gd name="T4" fmla="*/ 7 w 38"/>
                  <a:gd name="T5" fmla="*/ 44 h 46"/>
                  <a:gd name="T6" fmla="*/ 6 w 38"/>
                  <a:gd name="T7" fmla="*/ 43 h 46"/>
                  <a:gd name="T8" fmla="*/ 6 w 38"/>
                  <a:gd name="T9" fmla="*/ 42 h 46"/>
                  <a:gd name="T10" fmla="*/ 3 w 38"/>
                  <a:gd name="T11" fmla="*/ 40 h 46"/>
                  <a:gd name="T12" fmla="*/ 3 w 38"/>
                  <a:gd name="T13" fmla="*/ 40 h 46"/>
                  <a:gd name="T14" fmla="*/ 1 w 38"/>
                  <a:gd name="T15" fmla="*/ 39 h 46"/>
                  <a:gd name="T16" fmla="*/ 0 w 38"/>
                  <a:gd name="T17" fmla="*/ 37 h 46"/>
                  <a:gd name="T18" fmla="*/ 0 w 38"/>
                  <a:gd name="T19" fmla="*/ 34 h 46"/>
                  <a:gd name="T20" fmla="*/ 3 w 38"/>
                  <a:gd name="T21" fmla="*/ 33 h 46"/>
                  <a:gd name="T22" fmla="*/ 3 w 38"/>
                  <a:gd name="T23" fmla="*/ 33 h 46"/>
                  <a:gd name="T24" fmla="*/ 9 w 38"/>
                  <a:gd name="T25" fmla="*/ 31 h 46"/>
                  <a:gd name="T26" fmla="*/ 13 w 38"/>
                  <a:gd name="T27" fmla="*/ 30 h 46"/>
                  <a:gd name="T28" fmla="*/ 16 w 38"/>
                  <a:gd name="T29" fmla="*/ 26 h 46"/>
                  <a:gd name="T30" fmla="*/ 16 w 38"/>
                  <a:gd name="T31" fmla="*/ 26 h 46"/>
                  <a:gd name="T32" fmla="*/ 22 w 38"/>
                  <a:gd name="T33" fmla="*/ 14 h 46"/>
                  <a:gd name="T34" fmla="*/ 25 w 38"/>
                  <a:gd name="T35" fmla="*/ 7 h 46"/>
                  <a:gd name="T36" fmla="*/ 25 w 38"/>
                  <a:gd name="T37" fmla="*/ 7 h 46"/>
                  <a:gd name="T38" fmla="*/ 27 w 38"/>
                  <a:gd name="T39" fmla="*/ 1 h 46"/>
                  <a:gd name="T40" fmla="*/ 29 w 38"/>
                  <a:gd name="T41" fmla="*/ 0 h 46"/>
                  <a:gd name="T42" fmla="*/ 30 w 38"/>
                  <a:gd name="T43" fmla="*/ 1 h 46"/>
                  <a:gd name="T44" fmla="*/ 30 w 38"/>
                  <a:gd name="T45" fmla="*/ 1 h 46"/>
                  <a:gd name="T46" fmla="*/ 33 w 38"/>
                  <a:gd name="T47" fmla="*/ 8 h 46"/>
                  <a:gd name="T48" fmla="*/ 33 w 38"/>
                  <a:gd name="T49" fmla="*/ 10 h 46"/>
                  <a:gd name="T50" fmla="*/ 35 w 38"/>
                  <a:gd name="T51" fmla="*/ 10 h 46"/>
                  <a:gd name="T52" fmla="*/ 35 w 38"/>
                  <a:gd name="T53" fmla="*/ 10 h 46"/>
                  <a:gd name="T54" fmla="*/ 38 w 38"/>
                  <a:gd name="T55" fmla="*/ 11 h 46"/>
                  <a:gd name="T56" fmla="*/ 38 w 38"/>
                  <a:gd name="T57" fmla="*/ 14 h 46"/>
                  <a:gd name="T58" fmla="*/ 36 w 38"/>
                  <a:gd name="T59" fmla="*/ 17 h 46"/>
                  <a:gd name="T60" fmla="*/ 35 w 38"/>
                  <a:gd name="T61" fmla="*/ 20 h 46"/>
                  <a:gd name="T62" fmla="*/ 35 w 38"/>
                  <a:gd name="T63" fmla="*/ 20 h 46"/>
                  <a:gd name="T64" fmla="*/ 32 w 38"/>
                  <a:gd name="T65" fmla="*/ 21 h 46"/>
                  <a:gd name="T66" fmla="*/ 29 w 38"/>
                  <a:gd name="T67" fmla="*/ 21 h 46"/>
                  <a:gd name="T68" fmla="*/ 26 w 38"/>
                  <a:gd name="T69" fmla="*/ 21 h 46"/>
                  <a:gd name="T70" fmla="*/ 23 w 38"/>
                  <a:gd name="T71" fmla="*/ 23 h 46"/>
                  <a:gd name="T72" fmla="*/ 23 w 38"/>
                  <a:gd name="T73" fmla="*/ 23 h 46"/>
                  <a:gd name="T74" fmla="*/ 14 w 38"/>
                  <a:gd name="T75" fmla="*/ 33 h 46"/>
                  <a:gd name="T76" fmla="*/ 11 w 38"/>
                  <a:gd name="T77" fmla="*/ 37 h 46"/>
                  <a:gd name="T78" fmla="*/ 10 w 38"/>
                  <a:gd name="T79" fmla="*/ 40 h 46"/>
                  <a:gd name="T80" fmla="*/ 10 w 38"/>
                  <a:gd name="T81" fmla="*/ 40 h 46"/>
                  <a:gd name="T82" fmla="*/ 10 w 38"/>
                  <a:gd name="T83" fmla="*/ 44 h 46"/>
                  <a:gd name="T84" fmla="*/ 10 w 38"/>
                  <a:gd name="T85" fmla="*/ 46 h 46"/>
                  <a:gd name="T86" fmla="*/ 9 w 38"/>
                  <a:gd name="T8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8" h="46">
                    <a:moveTo>
                      <a:pt x="9" y="46"/>
                    </a:moveTo>
                    <a:lnTo>
                      <a:pt x="9" y="46"/>
                    </a:lnTo>
                    <a:lnTo>
                      <a:pt x="7" y="44"/>
                    </a:lnTo>
                    <a:lnTo>
                      <a:pt x="6" y="43"/>
                    </a:lnTo>
                    <a:lnTo>
                      <a:pt x="6" y="42"/>
                    </a:lnTo>
                    <a:lnTo>
                      <a:pt x="3" y="40"/>
                    </a:lnTo>
                    <a:lnTo>
                      <a:pt x="3" y="40"/>
                    </a:lnTo>
                    <a:lnTo>
                      <a:pt x="1" y="39"/>
                    </a:lnTo>
                    <a:lnTo>
                      <a:pt x="0" y="37"/>
                    </a:lnTo>
                    <a:lnTo>
                      <a:pt x="0" y="34"/>
                    </a:lnTo>
                    <a:lnTo>
                      <a:pt x="3" y="33"/>
                    </a:lnTo>
                    <a:lnTo>
                      <a:pt x="3" y="33"/>
                    </a:lnTo>
                    <a:lnTo>
                      <a:pt x="9" y="31"/>
                    </a:lnTo>
                    <a:lnTo>
                      <a:pt x="13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2" y="14"/>
                    </a:lnTo>
                    <a:lnTo>
                      <a:pt x="25" y="7"/>
                    </a:lnTo>
                    <a:lnTo>
                      <a:pt x="25" y="7"/>
                    </a:lnTo>
                    <a:lnTo>
                      <a:pt x="27" y="1"/>
                    </a:lnTo>
                    <a:lnTo>
                      <a:pt x="29" y="0"/>
                    </a:lnTo>
                    <a:lnTo>
                      <a:pt x="30" y="1"/>
                    </a:lnTo>
                    <a:lnTo>
                      <a:pt x="30" y="1"/>
                    </a:lnTo>
                    <a:lnTo>
                      <a:pt x="33" y="8"/>
                    </a:lnTo>
                    <a:lnTo>
                      <a:pt x="33" y="10"/>
                    </a:lnTo>
                    <a:lnTo>
                      <a:pt x="35" y="10"/>
                    </a:lnTo>
                    <a:lnTo>
                      <a:pt x="35" y="10"/>
                    </a:lnTo>
                    <a:lnTo>
                      <a:pt x="38" y="11"/>
                    </a:lnTo>
                    <a:lnTo>
                      <a:pt x="38" y="14"/>
                    </a:lnTo>
                    <a:lnTo>
                      <a:pt x="36" y="17"/>
                    </a:lnTo>
                    <a:lnTo>
                      <a:pt x="35" y="20"/>
                    </a:lnTo>
                    <a:lnTo>
                      <a:pt x="35" y="20"/>
                    </a:lnTo>
                    <a:lnTo>
                      <a:pt x="32" y="21"/>
                    </a:lnTo>
                    <a:lnTo>
                      <a:pt x="29" y="21"/>
                    </a:lnTo>
                    <a:lnTo>
                      <a:pt x="26" y="21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14" y="33"/>
                    </a:lnTo>
                    <a:lnTo>
                      <a:pt x="11" y="37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4"/>
                    </a:lnTo>
                    <a:lnTo>
                      <a:pt x="10" y="46"/>
                    </a:lnTo>
                    <a:lnTo>
                      <a:pt x="9" y="4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49" name="Freeform 1204"/>
              <p:cNvSpPr>
                <a:spLocks/>
              </p:cNvSpPr>
              <p:nvPr/>
            </p:nvSpPr>
            <p:spPr bwMode="auto">
              <a:xfrm>
                <a:off x="2828924" y="2388224"/>
                <a:ext cx="9893" cy="12860"/>
              </a:xfrm>
              <a:custGeom>
                <a:avLst/>
                <a:gdLst>
                  <a:gd name="T0" fmla="*/ 4 w 10"/>
                  <a:gd name="T1" fmla="*/ 13 h 13"/>
                  <a:gd name="T2" fmla="*/ 4 w 10"/>
                  <a:gd name="T3" fmla="*/ 13 h 13"/>
                  <a:gd name="T4" fmla="*/ 3 w 10"/>
                  <a:gd name="T5" fmla="*/ 11 h 13"/>
                  <a:gd name="T6" fmla="*/ 2 w 10"/>
                  <a:gd name="T7" fmla="*/ 7 h 13"/>
                  <a:gd name="T8" fmla="*/ 0 w 10"/>
                  <a:gd name="T9" fmla="*/ 1 h 13"/>
                  <a:gd name="T10" fmla="*/ 0 w 10"/>
                  <a:gd name="T11" fmla="*/ 0 h 13"/>
                  <a:gd name="T12" fmla="*/ 0 w 10"/>
                  <a:gd name="T13" fmla="*/ 0 h 13"/>
                  <a:gd name="T14" fmla="*/ 3 w 10"/>
                  <a:gd name="T15" fmla="*/ 0 h 13"/>
                  <a:gd name="T16" fmla="*/ 6 w 10"/>
                  <a:gd name="T17" fmla="*/ 0 h 13"/>
                  <a:gd name="T18" fmla="*/ 9 w 10"/>
                  <a:gd name="T19" fmla="*/ 2 h 13"/>
                  <a:gd name="T20" fmla="*/ 10 w 10"/>
                  <a:gd name="T21" fmla="*/ 4 h 13"/>
                  <a:gd name="T22" fmla="*/ 10 w 10"/>
                  <a:gd name="T23" fmla="*/ 4 h 13"/>
                  <a:gd name="T24" fmla="*/ 10 w 10"/>
                  <a:gd name="T25" fmla="*/ 10 h 13"/>
                  <a:gd name="T26" fmla="*/ 9 w 10"/>
                  <a:gd name="T27" fmla="*/ 11 h 13"/>
                  <a:gd name="T28" fmla="*/ 4 w 10"/>
                  <a:gd name="T2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13">
                    <a:moveTo>
                      <a:pt x="4" y="13"/>
                    </a:moveTo>
                    <a:lnTo>
                      <a:pt x="4" y="13"/>
                    </a:lnTo>
                    <a:lnTo>
                      <a:pt x="3" y="11"/>
                    </a:lnTo>
                    <a:lnTo>
                      <a:pt x="2" y="7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10"/>
                    </a:lnTo>
                    <a:lnTo>
                      <a:pt x="9" y="11"/>
                    </a:lnTo>
                    <a:lnTo>
                      <a:pt x="4" y="1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50" name="Freeform 1205"/>
              <p:cNvSpPr>
                <a:spLocks/>
              </p:cNvSpPr>
              <p:nvPr/>
            </p:nvSpPr>
            <p:spPr bwMode="auto">
              <a:xfrm>
                <a:off x="2816064" y="2310073"/>
                <a:ext cx="50452" cy="89033"/>
              </a:xfrm>
              <a:custGeom>
                <a:avLst/>
                <a:gdLst>
                  <a:gd name="T0" fmla="*/ 51 w 51"/>
                  <a:gd name="T1" fmla="*/ 83 h 90"/>
                  <a:gd name="T2" fmla="*/ 48 w 51"/>
                  <a:gd name="T3" fmla="*/ 90 h 90"/>
                  <a:gd name="T4" fmla="*/ 45 w 51"/>
                  <a:gd name="T5" fmla="*/ 90 h 90"/>
                  <a:gd name="T6" fmla="*/ 42 w 51"/>
                  <a:gd name="T7" fmla="*/ 87 h 90"/>
                  <a:gd name="T8" fmla="*/ 44 w 51"/>
                  <a:gd name="T9" fmla="*/ 77 h 90"/>
                  <a:gd name="T10" fmla="*/ 44 w 51"/>
                  <a:gd name="T11" fmla="*/ 73 h 90"/>
                  <a:gd name="T12" fmla="*/ 46 w 51"/>
                  <a:gd name="T13" fmla="*/ 70 h 90"/>
                  <a:gd name="T14" fmla="*/ 45 w 51"/>
                  <a:gd name="T15" fmla="*/ 68 h 90"/>
                  <a:gd name="T16" fmla="*/ 44 w 51"/>
                  <a:gd name="T17" fmla="*/ 67 h 90"/>
                  <a:gd name="T18" fmla="*/ 44 w 51"/>
                  <a:gd name="T19" fmla="*/ 60 h 90"/>
                  <a:gd name="T20" fmla="*/ 42 w 51"/>
                  <a:gd name="T21" fmla="*/ 60 h 90"/>
                  <a:gd name="T22" fmla="*/ 36 w 51"/>
                  <a:gd name="T23" fmla="*/ 64 h 90"/>
                  <a:gd name="T24" fmla="*/ 35 w 51"/>
                  <a:gd name="T25" fmla="*/ 63 h 90"/>
                  <a:gd name="T26" fmla="*/ 38 w 51"/>
                  <a:gd name="T27" fmla="*/ 51 h 90"/>
                  <a:gd name="T28" fmla="*/ 36 w 51"/>
                  <a:gd name="T29" fmla="*/ 50 h 90"/>
                  <a:gd name="T30" fmla="*/ 32 w 51"/>
                  <a:gd name="T31" fmla="*/ 50 h 90"/>
                  <a:gd name="T32" fmla="*/ 25 w 51"/>
                  <a:gd name="T33" fmla="*/ 51 h 90"/>
                  <a:gd name="T34" fmla="*/ 22 w 51"/>
                  <a:gd name="T35" fmla="*/ 48 h 90"/>
                  <a:gd name="T36" fmla="*/ 12 w 51"/>
                  <a:gd name="T37" fmla="*/ 31 h 90"/>
                  <a:gd name="T38" fmla="*/ 10 w 51"/>
                  <a:gd name="T39" fmla="*/ 28 h 90"/>
                  <a:gd name="T40" fmla="*/ 12 w 51"/>
                  <a:gd name="T41" fmla="*/ 23 h 90"/>
                  <a:gd name="T42" fmla="*/ 10 w 51"/>
                  <a:gd name="T43" fmla="*/ 22 h 90"/>
                  <a:gd name="T44" fmla="*/ 3 w 51"/>
                  <a:gd name="T45" fmla="*/ 21 h 90"/>
                  <a:gd name="T46" fmla="*/ 0 w 51"/>
                  <a:gd name="T47" fmla="*/ 18 h 90"/>
                  <a:gd name="T48" fmla="*/ 3 w 51"/>
                  <a:gd name="T49" fmla="*/ 6 h 90"/>
                  <a:gd name="T50" fmla="*/ 6 w 51"/>
                  <a:gd name="T51" fmla="*/ 0 h 90"/>
                  <a:gd name="T52" fmla="*/ 7 w 51"/>
                  <a:gd name="T53" fmla="*/ 0 h 90"/>
                  <a:gd name="T54" fmla="*/ 19 w 51"/>
                  <a:gd name="T55" fmla="*/ 0 h 90"/>
                  <a:gd name="T56" fmla="*/ 22 w 51"/>
                  <a:gd name="T57" fmla="*/ 2 h 90"/>
                  <a:gd name="T58" fmla="*/ 26 w 51"/>
                  <a:gd name="T59" fmla="*/ 8 h 90"/>
                  <a:gd name="T60" fmla="*/ 28 w 51"/>
                  <a:gd name="T61" fmla="*/ 12 h 90"/>
                  <a:gd name="T62" fmla="*/ 35 w 51"/>
                  <a:gd name="T63" fmla="*/ 31 h 90"/>
                  <a:gd name="T64" fmla="*/ 36 w 51"/>
                  <a:gd name="T65" fmla="*/ 38 h 90"/>
                  <a:gd name="T66" fmla="*/ 39 w 51"/>
                  <a:gd name="T67" fmla="*/ 47 h 90"/>
                  <a:gd name="T68" fmla="*/ 44 w 51"/>
                  <a:gd name="T69" fmla="*/ 51 h 90"/>
                  <a:gd name="T70" fmla="*/ 45 w 51"/>
                  <a:gd name="T71" fmla="*/ 57 h 90"/>
                  <a:gd name="T72" fmla="*/ 48 w 51"/>
                  <a:gd name="T73" fmla="*/ 61 h 90"/>
                  <a:gd name="T74" fmla="*/ 51 w 51"/>
                  <a:gd name="T75" fmla="*/ 67 h 90"/>
                  <a:gd name="T76" fmla="*/ 51 w 51"/>
                  <a:gd name="T77" fmla="*/ 68 h 90"/>
                  <a:gd name="T78" fmla="*/ 49 w 51"/>
                  <a:gd name="T79" fmla="*/ 68 h 90"/>
                  <a:gd name="T80" fmla="*/ 51 w 51"/>
                  <a:gd name="T81" fmla="*/ 76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1" h="90">
                    <a:moveTo>
                      <a:pt x="51" y="83"/>
                    </a:moveTo>
                    <a:lnTo>
                      <a:pt x="51" y="83"/>
                    </a:lnTo>
                    <a:lnTo>
                      <a:pt x="49" y="89"/>
                    </a:lnTo>
                    <a:lnTo>
                      <a:pt x="48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44" y="89"/>
                    </a:lnTo>
                    <a:lnTo>
                      <a:pt x="42" y="87"/>
                    </a:lnTo>
                    <a:lnTo>
                      <a:pt x="42" y="81"/>
                    </a:lnTo>
                    <a:lnTo>
                      <a:pt x="44" y="77"/>
                    </a:lnTo>
                    <a:lnTo>
                      <a:pt x="44" y="73"/>
                    </a:lnTo>
                    <a:lnTo>
                      <a:pt x="44" y="73"/>
                    </a:lnTo>
                    <a:lnTo>
                      <a:pt x="45" y="71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5" y="68"/>
                    </a:lnTo>
                    <a:lnTo>
                      <a:pt x="44" y="67"/>
                    </a:lnTo>
                    <a:lnTo>
                      <a:pt x="44" y="67"/>
                    </a:lnTo>
                    <a:lnTo>
                      <a:pt x="44" y="61"/>
                    </a:lnTo>
                    <a:lnTo>
                      <a:pt x="44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4"/>
                    </a:lnTo>
                    <a:lnTo>
                      <a:pt x="36" y="64"/>
                    </a:lnTo>
                    <a:lnTo>
                      <a:pt x="35" y="63"/>
                    </a:lnTo>
                    <a:lnTo>
                      <a:pt x="35" y="63"/>
                    </a:lnTo>
                    <a:lnTo>
                      <a:pt x="38" y="55"/>
                    </a:lnTo>
                    <a:lnTo>
                      <a:pt x="38" y="51"/>
                    </a:lnTo>
                    <a:lnTo>
                      <a:pt x="36" y="51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29" y="51"/>
                    </a:lnTo>
                    <a:lnTo>
                      <a:pt x="25" y="51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15" y="38"/>
                    </a:lnTo>
                    <a:lnTo>
                      <a:pt x="12" y="31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0" y="25"/>
                    </a:lnTo>
                    <a:lnTo>
                      <a:pt x="12" y="23"/>
                    </a:lnTo>
                    <a:lnTo>
                      <a:pt x="13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3" y="21"/>
                    </a:lnTo>
                    <a:lnTo>
                      <a:pt x="0" y="19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3" y="6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22" y="2"/>
                    </a:lnTo>
                    <a:lnTo>
                      <a:pt x="25" y="5"/>
                    </a:lnTo>
                    <a:lnTo>
                      <a:pt x="26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0" y="22"/>
                    </a:lnTo>
                    <a:lnTo>
                      <a:pt x="35" y="31"/>
                    </a:lnTo>
                    <a:lnTo>
                      <a:pt x="35" y="31"/>
                    </a:lnTo>
                    <a:lnTo>
                      <a:pt x="36" y="38"/>
                    </a:lnTo>
                    <a:lnTo>
                      <a:pt x="36" y="42"/>
                    </a:lnTo>
                    <a:lnTo>
                      <a:pt x="39" y="47"/>
                    </a:lnTo>
                    <a:lnTo>
                      <a:pt x="39" y="47"/>
                    </a:lnTo>
                    <a:lnTo>
                      <a:pt x="44" y="51"/>
                    </a:lnTo>
                    <a:lnTo>
                      <a:pt x="45" y="54"/>
                    </a:lnTo>
                    <a:lnTo>
                      <a:pt x="45" y="57"/>
                    </a:lnTo>
                    <a:lnTo>
                      <a:pt x="45" y="57"/>
                    </a:lnTo>
                    <a:lnTo>
                      <a:pt x="48" y="61"/>
                    </a:lnTo>
                    <a:lnTo>
                      <a:pt x="51" y="67"/>
                    </a:lnTo>
                    <a:lnTo>
                      <a:pt x="51" y="67"/>
                    </a:lnTo>
                    <a:lnTo>
                      <a:pt x="51" y="67"/>
                    </a:lnTo>
                    <a:lnTo>
                      <a:pt x="51" y="68"/>
                    </a:lnTo>
                    <a:lnTo>
                      <a:pt x="49" y="68"/>
                    </a:lnTo>
                    <a:lnTo>
                      <a:pt x="49" y="68"/>
                    </a:lnTo>
                    <a:lnTo>
                      <a:pt x="49" y="68"/>
                    </a:lnTo>
                    <a:lnTo>
                      <a:pt x="51" y="76"/>
                    </a:lnTo>
                    <a:lnTo>
                      <a:pt x="51" y="8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51" name="Freeform 1206"/>
              <p:cNvSpPr>
                <a:spLocks/>
              </p:cNvSpPr>
              <p:nvPr/>
            </p:nvSpPr>
            <p:spPr bwMode="auto">
              <a:xfrm>
                <a:off x="2870473" y="1982628"/>
                <a:ext cx="31656" cy="10882"/>
              </a:xfrm>
              <a:custGeom>
                <a:avLst/>
                <a:gdLst>
                  <a:gd name="T0" fmla="*/ 7 w 32"/>
                  <a:gd name="T1" fmla="*/ 10 h 11"/>
                  <a:gd name="T2" fmla="*/ 7 w 32"/>
                  <a:gd name="T3" fmla="*/ 10 h 11"/>
                  <a:gd name="T4" fmla="*/ 4 w 32"/>
                  <a:gd name="T5" fmla="*/ 10 h 11"/>
                  <a:gd name="T6" fmla="*/ 2 w 32"/>
                  <a:gd name="T7" fmla="*/ 7 h 11"/>
                  <a:gd name="T8" fmla="*/ 0 w 32"/>
                  <a:gd name="T9" fmla="*/ 4 h 11"/>
                  <a:gd name="T10" fmla="*/ 0 w 32"/>
                  <a:gd name="T11" fmla="*/ 3 h 11"/>
                  <a:gd name="T12" fmla="*/ 0 w 32"/>
                  <a:gd name="T13" fmla="*/ 3 h 11"/>
                  <a:gd name="T14" fmla="*/ 6 w 32"/>
                  <a:gd name="T15" fmla="*/ 0 h 11"/>
                  <a:gd name="T16" fmla="*/ 13 w 32"/>
                  <a:gd name="T17" fmla="*/ 0 h 11"/>
                  <a:gd name="T18" fmla="*/ 13 w 32"/>
                  <a:gd name="T19" fmla="*/ 0 h 11"/>
                  <a:gd name="T20" fmla="*/ 19 w 32"/>
                  <a:gd name="T21" fmla="*/ 3 h 11"/>
                  <a:gd name="T22" fmla="*/ 26 w 32"/>
                  <a:gd name="T23" fmla="*/ 5 h 11"/>
                  <a:gd name="T24" fmla="*/ 31 w 32"/>
                  <a:gd name="T25" fmla="*/ 10 h 11"/>
                  <a:gd name="T26" fmla="*/ 32 w 32"/>
                  <a:gd name="T27" fmla="*/ 10 h 11"/>
                  <a:gd name="T28" fmla="*/ 32 w 32"/>
                  <a:gd name="T29" fmla="*/ 11 h 11"/>
                  <a:gd name="T30" fmla="*/ 32 w 32"/>
                  <a:gd name="T31" fmla="*/ 11 h 11"/>
                  <a:gd name="T32" fmla="*/ 19 w 32"/>
                  <a:gd name="T33" fmla="*/ 8 h 11"/>
                  <a:gd name="T34" fmla="*/ 19 w 32"/>
                  <a:gd name="T35" fmla="*/ 8 h 11"/>
                  <a:gd name="T36" fmla="*/ 7 w 32"/>
                  <a:gd name="T37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2" h="11">
                    <a:moveTo>
                      <a:pt x="7" y="10"/>
                    </a:moveTo>
                    <a:lnTo>
                      <a:pt x="7" y="10"/>
                    </a:lnTo>
                    <a:lnTo>
                      <a:pt x="4" y="10"/>
                    </a:lnTo>
                    <a:lnTo>
                      <a:pt x="2" y="7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6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9" y="3"/>
                    </a:lnTo>
                    <a:lnTo>
                      <a:pt x="26" y="5"/>
                    </a:lnTo>
                    <a:lnTo>
                      <a:pt x="31" y="10"/>
                    </a:lnTo>
                    <a:lnTo>
                      <a:pt x="32" y="10"/>
                    </a:lnTo>
                    <a:lnTo>
                      <a:pt x="32" y="11"/>
                    </a:lnTo>
                    <a:lnTo>
                      <a:pt x="32" y="11"/>
                    </a:lnTo>
                    <a:lnTo>
                      <a:pt x="19" y="8"/>
                    </a:lnTo>
                    <a:lnTo>
                      <a:pt x="19" y="8"/>
                    </a:lnTo>
                    <a:lnTo>
                      <a:pt x="7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52" name="Freeform 1207"/>
              <p:cNvSpPr>
                <a:spLocks/>
              </p:cNvSpPr>
              <p:nvPr/>
            </p:nvSpPr>
            <p:spPr bwMode="auto">
              <a:xfrm>
                <a:off x="2939721" y="2310073"/>
                <a:ext cx="13850" cy="8903"/>
              </a:xfrm>
              <a:custGeom>
                <a:avLst/>
                <a:gdLst>
                  <a:gd name="T0" fmla="*/ 7 w 14"/>
                  <a:gd name="T1" fmla="*/ 9 h 9"/>
                  <a:gd name="T2" fmla="*/ 7 w 14"/>
                  <a:gd name="T3" fmla="*/ 9 h 9"/>
                  <a:gd name="T4" fmla="*/ 4 w 14"/>
                  <a:gd name="T5" fmla="*/ 8 h 9"/>
                  <a:gd name="T6" fmla="*/ 0 w 14"/>
                  <a:gd name="T7" fmla="*/ 5 h 9"/>
                  <a:gd name="T8" fmla="*/ 0 w 14"/>
                  <a:gd name="T9" fmla="*/ 2 h 9"/>
                  <a:gd name="T10" fmla="*/ 0 w 14"/>
                  <a:gd name="T11" fmla="*/ 0 h 9"/>
                  <a:gd name="T12" fmla="*/ 3 w 14"/>
                  <a:gd name="T13" fmla="*/ 0 h 9"/>
                  <a:gd name="T14" fmla="*/ 3 w 14"/>
                  <a:gd name="T15" fmla="*/ 0 h 9"/>
                  <a:gd name="T16" fmla="*/ 7 w 14"/>
                  <a:gd name="T17" fmla="*/ 2 h 9"/>
                  <a:gd name="T18" fmla="*/ 11 w 14"/>
                  <a:gd name="T19" fmla="*/ 3 h 9"/>
                  <a:gd name="T20" fmla="*/ 14 w 14"/>
                  <a:gd name="T21" fmla="*/ 6 h 9"/>
                  <a:gd name="T22" fmla="*/ 14 w 14"/>
                  <a:gd name="T23" fmla="*/ 6 h 9"/>
                  <a:gd name="T24" fmla="*/ 13 w 14"/>
                  <a:gd name="T25" fmla="*/ 8 h 9"/>
                  <a:gd name="T26" fmla="*/ 7 w 14"/>
                  <a:gd name="T2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" h="9">
                    <a:moveTo>
                      <a:pt x="7" y="9"/>
                    </a:moveTo>
                    <a:lnTo>
                      <a:pt x="7" y="9"/>
                    </a:lnTo>
                    <a:lnTo>
                      <a:pt x="4" y="8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7" y="2"/>
                    </a:lnTo>
                    <a:lnTo>
                      <a:pt x="11" y="3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3" y="8"/>
                    </a:lnTo>
                    <a:lnTo>
                      <a:pt x="7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53" name="Freeform 1208"/>
              <p:cNvSpPr>
                <a:spLocks/>
              </p:cNvSpPr>
              <p:nvPr/>
            </p:nvSpPr>
            <p:spPr bwMode="auto">
              <a:xfrm>
                <a:off x="2988195" y="2405041"/>
                <a:ext cx="12860" cy="16817"/>
              </a:xfrm>
              <a:custGeom>
                <a:avLst/>
                <a:gdLst>
                  <a:gd name="T0" fmla="*/ 9 w 13"/>
                  <a:gd name="T1" fmla="*/ 17 h 17"/>
                  <a:gd name="T2" fmla="*/ 9 w 13"/>
                  <a:gd name="T3" fmla="*/ 17 h 17"/>
                  <a:gd name="T4" fmla="*/ 6 w 13"/>
                  <a:gd name="T5" fmla="*/ 17 h 17"/>
                  <a:gd name="T6" fmla="*/ 4 w 13"/>
                  <a:gd name="T7" fmla="*/ 14 h 17"/>
                  <a:gd name="T8" fmla="*/ 1 w 13"/>
                  <a:gd name="T9" fmla="*/ 10 h 17"/>
                  <a:gd name="T10" fmla="*/ 0 w 13"/>
                  <a:gd name="T11" fmla="*/ 3 h 17"/>
                  <a:gd name="T12" fmla="*/ 0 w 13"/>
                  <a:gd name="T13" fmla="*/ 1 h 17"/>
                  <a:gd name="T14" fmla="*/ 1 w 13"/>
                  <a:gd name="T15" fmla="*/ 0 h 17"/>
                  <a:gd name="T16" fmla="*/ 1 w 13"/>
                  <a:gd name="T17" fmla="*/ 0 h 17"/>
                  <a:gd name="T18" fmla="*/ 3 w 13"/>
                  <a:gd name="T19" fmla="*/ 0 h 17"/>
                  <a:gd name="T20" fmla="*/ 6 w 13"/>
                  <a:gd name="T21" fmla="*/ 1 h 17"/>
                  <a:gd name="T22" fmla="*/ 9 w 13"/>
                  <a:gd name="T23" fmla="*/ 4 h 17"/>
                  <a:gd name="T24" fmla="*/ 11 w 13"/>
                  <a:gd name="T25" fmla="*/ 7 h 17"/>
                  <a:gd name="T26" fmla="*/ 11 w 13"/>
                  <a:gd name="T27" fmla="*/ 7 h 17"/>
                  <a:gd name="T28" fmla="*/ 13 w 13"/>
                  <a:gd name="T29" fmla="*/ 10 h 17"/>
                  <a:gd name="T30" fmla="*/ 13 w 13"/>
                  <a:gd name="T31" fmla="*/ 13 h 17"/>
                  <a:gd name="T32" fmla="*/ 11 w 13"/>
                  <a:gd name="T33" fmla="*/ 16 h 17"/>
                  <a:gd name="T34" fmla="*/ 9 w 13"/>
                  <a:gd name="T3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" h="17">
                    <a:moveTo>
                      <a:pt x="9" y="17"/>
                    </a:moveTo>
                    <a:lnTo>
                      <a:pt x="9" y="17"/>
                    </a:lnTo>
                    <a:lnTo>
                      <a:pt x="6" y="17"/>
                    </a:lnTo>
                    <a:lnTo>
                      <a:pt x="4" y="14"/>
                    </a:lnTo>
                    <a:lnTo>
                      <a:pt x="1" y="10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6" y="1"/>
                    </a:lnTo>
                    <a:lnTo>
                      <a:pt x="9" y="4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3" y="10"/>
                    </a:lnTo>
                    <a:lnTo>
                      <a:pt x="13" y="13"/>
                    </a:lnTo>
                    <a:lnTo>
                      <a:pt x="11" y="16"/>
                    </a:lnTo>
                    <a:lnTo>
                      <a:pt x="9" y="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54" name="Freeform 1209"/>
              <p:cNvSpPr>
                <a:spLocks/>
              </p:cNvSpPr>
              <p:nvPr/>
            </p:nvSpPr>
            <p:spPr bwMode="auto">
              <a:xfrm>
                <a:off x="3337404" y="2289298"/>
                <a:ext cx="37592" cy="22753"/>
              </a:xfrm>
              <a:custGeom>
                <a:avLst/>
                <a:gdLst>
                  <a:gd name="T0" fmla="*/ 29 w 38"/>
                  <a:gd name="T1" fmla="*/ 23 h 23"/>
                  <a:gd name="T2" fmla="*/ 29 w 38"/>
                  <a:gd name="T3" fmla="*/ 23 h 23"/>
                  <a:gd name="T4" fmla="*/ 28 w 38"/>
                  <a:gd name="T5" fmla="*/ 20 h 23"/>
                  <a:gd name="T6" fmla="*/ 26 w 38"/>
                  <a:gd name="T7" fmla="*/ 18 h 23"/>
                  <a:gd name="T8" fmla="*/ 26 w 38"/>
                  <a:gd name="T9" fmla="*/ 17 h 23"/>
                  <a:gd name="T10" fmla="*/ 22 w 38"/>
                  <a:gd name="T11" fmla="*/ 16 h 23"/>
                  <a:gd name="T12" fmla="*/ 22 w 38"/>
                  <a:gd name="T13" fmla="*/ 16 h 23"/>
                  <a:gd name="T14" fmla="*/ 8 w 38"/>
                  <a:gd name="T15" fmla="*/ 8 h 23"/>
                  <a:gd name="T16" fmla="*/ 2 w 38"/>
                  <a:gd name="T17" fmla="*/ 4 h 23"/>
                  <a:gd name="T18" fmla="*/ 0 w 38"/>
                  <a:gd name="T19" fmla="*/ 2 h 23"/>
                  <a:gd name="T20" fmla="*/ 0 w 38"/>
                  <a:gd name="T21" fmla="*/ 1 h 23"/>
                  <a:gd name="T22" fmla="*/ 0 w 38"/>
                  <a:gd name="T23" fmla="*/ 1 h 23"/>
                  <a:gd name="T24" fmla="*/ 5 w 38"/>
                  <a:gd name="T25" fmla="*/ 0 h 23"/>
                  <a:gd name="T26" fmla="*/ 9 w 38"/>
                  <a:gd name="T27" fmla="*/ 0 h 23"/>
                  <a:gd name="T28" fmla="*/ 18 w 38"/>
                  <a:gd name="T29" fmla="*/ 2 h 23"/>
                  <a:gd name="T30" fmla="*/ 18 w 38"/>
                  <a:gd name="T31" fmla="*/ 2 h 23"/>
                  <a:gd name="T32" fmla="*/ 28 w 38"/>
                  <a:gd name="T33" fmla="*/ 7 h 23"/>
                  <a:gd name="T34" fmla="*/ 35 w 38"/>
                  <a:gd name="T35" fmla="*/ 11 h 23"/>
                  <a:gd name="T36" fmla="*/ 38 w 38"/>
                  <a:gd name="T37" fmla="*/ 14 h 23"/>
                  <a:gd name="T38" fmla="*/ 38 w 38"/>
                  <a:gd name="T39" fmla="*/ 14 h 23"/>
                  <a:gd name="T40" fmla="*/ 38 w 38"/>
                  <a:gd name="T41" fmla="*/ 17 h 23"/>
                  <a:gd name="T42" fmla="*/ 36 w 38"/>
                  <a:gd name="T43" fmla="*/ 21 h 23"/>
                  <a:gd name="T44" fmla="*/ 32 w 38"/>
                  <a:gd name="T45" fmla="*/ 23 h 23"/>
                  <a:gd name="T46" fmla="*/ 29 w 38"/>
                  <a:gd name="T47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8" h="23">
                    <a:moveTo>
                      <a:pt x="29" y="23"/>
                    </a:moveTo>
                    <a:lnTo>
                      <a:pt x="29" y="23"/>
                    </a:lnTo>
                    <a:lnTo>
                      <a:pt x="28" y="20"/>
                    </a:lnTo>
                    <a:lnTo>
                      <a:pt x="26" y="18"/>
                    </a:lnTo>
                    <a:lnTo>
                      <a:pt x="26" y="17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8" y="8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8" y="7"/>
                    </a:lnTo>
                    <a:lnTo>
                      <a:pt x="35" y="11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7"/>
                    </a:lnTo>
                    <a:lnTo>
                      <a:pt x="36" y="21"/>
                    </a:lnTo>
                    <a:lnTo>
                      <a:pt x="32" y="23"/>
                    </a:lnTo>
                    <a:lnTo>
                      <a:pt x="29" y="2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58" name="Freeform 1211"/>
              <p:cNvSpPr>
                <a:spLocks/>
              </p:cNvSpPr>
              <p:nvPr/>
            </p:nvSpPr>
            <p:spPr bwMode="auto">
              <a:xfrm>
                <a:off x="3362135" y="2276437"/>
                <a:ext cx="42538" cy="26710"/>
              </a:xfrm>
              <a:custGeom>
                <a:avLst/>
                <a:gdLst>
                  <a:gd name="T0" fmla="*/ 43 w 43"/>
                  <a:gd name="T1" fmla="*/ 18 h 27"/>
                  <a:gd name="T2" fmla="*/ 43 w 43"/>
                  <a:gd name="T3" fmla="*/ 18 h 27"/>
                  <a:gd name="T4" fmla="*/ 40 w 43"/>
                  <a:gd name="T5" fmla="*/ 21 h 27"/>
                  <a:gd name="T6" fmla="*/ 38 w 43"/>
                  <a:gd name="T7" fmla="*/ 21 h 27"/>
                  <a:gd name="T8" fmla="*/ 36 w 43"/>
                  <a:gd name="T9" fmla="*/ 21 h 27"/>
                  <a:gd name="T10" fmla="*/ 36 w 43"/>
                  <a:gd name="T11" fmla="*/ 21 h 27"/>
                  <a:gd name="T12" fmla="*/ 30 w 43"/>
                  <a:gd name="T13" fmla="*/ 23 h 27"/>
                  <a:gd name="T14" fmla="*/ 27 w 43"/>
                  <a:gd name="T15" fmla="*/ 24 h 27"/>
                  <a:gd name="T16" fmla="*/ 27 w 43"/>
                  <a:gd name="T17" fmla="*/ 24 h 27"/>
                  <a:gd name="T18" fmla="*/ 25 w 43"/>
                  <a:gd name="T19" fmla="*/ 26 h 27"/>
                  <a:gd name="T20" fmla="*/ 22 w 43"/>
                  <a:gd name="T21" fmla="*/ 27 h 27"/>
                  <a:gd name="T22" fmla="*/ 22 w 43"/>
                  <a:gd name="T23" fmla="*/ 24 h 27"/>
                  <a:gd name="T24" fmla="*/ 22 w 43"/>
                  <a:gd name="T25" fmla="*/ 24 h 27"/>
                  <a:gd name="T26" fmla="*/ 22 w 43"/>
                  <a:gd name="T27" fmla="*/ 20 h 27"/>
                  <a:gd name="T28" fmla="*/ 20 w 43"/>
                  <a:gd name="T29" fmla="*/ 17 h 27"/>
                  <a:gd name="T30" fmla="*/ 20 w 43"/>
                  <a:gd name="T31" fmla="*/ 17 h 27"/>
                  <a:gd name="T32" fmla="*/ 14 w 43"/>
                  <a:gd name="T33" fmla="*/ 15 h 27"/>
                  <a:gd name="T34" fmla="*/ 9 w 43"/>
                  <a:gd name="T35" fmla="*/ 15 h 27"/>
                  <a:gd name="T36" fmla="*/ 9 w 43"/>
                  <a:gd name="T37" fmla="*/ 15 h 27"/>
                  <a:gd name="T38" fmla="*/ 3 w 43"/>
                  <a:gd name="T39" fmla="*/ 14 h 27"/>
                  <a:gd name="T40" fmla="*/ 1 w 43"/>
                  <a:gd name="T41" fmla="*/ 13 h 27"/>
                  <a:gd name="T42" fmla="*/ 0 w 43"/>
                  <a:gd name="T43" fmla="*/ 10 h 27"/>
                  <a:gd name="T44" fmla="*/ 0 w 43"/>
                  <a:gd name="T45" fmla="*/ 10 h 27"/>
                  <a:gd name="T46" fmla="*/ 0 w 43"/>
                  <a:gd name="T47" fmla="*/ 7 h 27"/>
                  <a:gd name="T48" fmla="*/ 1 w 43"/>
                  <a:gd name="T49" fmla="*/ 5 h 27"/>
                  <a:gd name="T50" fmla="*/ 3 w 43"/>
                  <a:gd name="T51" fmla="*/ 7 h 27"/>
                  <a:gd name="T52" fmla="*/ 3 w 43"/>
                  <a:gd name="T53" fmla="*/ 7 h 27"/>
                  <a:gd name="T54" fmla="*/ 10 w 43"/>
                  <a:gd name="T55" fmla="*/ 8 h 27"/>
                  <a:gd name="T56" fmla="*/ 14 w 43"/>
                  <a:gd name="T57" fmla="*/ 10 h 27"/>
                  <a:gd name="T58" fmla="*/ 16 w 43"/>
                  <a:gd name="T59" fmla="*/ 8 h 27"/>
                  <a:gd name="T60" fmla="*/ 16 w 43"/>
                  <a:gd name="T61" fmla="*/ 8 h 27"/>
                  <a:gd name="T62" fmla="*/ 16 w 43"/>
                  <a:gd name="T63" fmla="*/ 7 h 27"/>
                  <a:gd name="T64" fmla="*/ 14 w 43"/>
                  <a:gd name="T65" fmla="*/ 4 h 27"/>
                  <a:gd name="T66" fmla="*/ 14 w 43"/>
                  <a:gd name="T67" fmla="*/ 1 h 27"/>
                  <a:gd name="T68" fmla="*/ 16 w 43"/>
                  <a:gd name="T69" fmla="*/ 0 h 27"/>
                  <a:gd name="T70" fmla="*/ 16 w 43"/>
                  <a:gd name="T71" fmla="*/ 0 h 27"/>
                  <a:gd name="T72" fmla="*/ 20 w 43"/>
                  <a:gd name="T73" fmla="*/ 2 h 27"/>
                  <a:gd name="T74" fmla="*/ 25 w 43"/>
                  <a:gd name="T75" fmla="*/ 5 h 27"/>
                  <a:gd name="T76" fmla="*/ 27 w 43"/>
                  <a:gd name="T77" fmla="*/ 8 h 27"/>
                  <a:gd name="T78" fmla="*/ 30 w 43"/>
                  <a:gd name="T79" fmla="*/ 11 h 27"/>
                  <a:gd name="T80" fmla="*/ 30 w 43"/>
                  <a:gd name="T81" fmla="*/ 11 h 27"/>
                  <a:gd name="T82" fmla="*/ 35 w 43"/>
                  <a:gd name="T83" fmla="*/ 11 h 27"/>
                  <a:gd name="T84" fmla="*/ 39 w 43"/>
                  <a:gd name="T85" fmla="*/ 11 h 27"/>
                  <a:gd name="T86" fmla="*/ 42 w 43"/>
                  <a:gd name="T87" fmla="*/ 11 h 27"/>
                  <a:gd name="T88" fmla="*/ 43 w 43"/>
                  <a:gd name="T89" fmla="*/ 13 h 27"/>
                  <a:gd name="T90" fmla="*/ 43 w 43"/>
                  <a:gd name="T91" fmla="*/ 14 h 27"/>
                  <a:gd name="T92" fmla="*/ 43 w 43"/>
                  <a:gd name="T93" fmla="*/ 18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27">
                    <a:moveTo>
                      <a:pt x="43" y="18"/>
                    </a:moveTo>
                    <a:lnTo>
                      <a:pt x="43" y="18"/>
                    </a:lnTo>
                    <a:lnTo>
                      <a:pt x="40" y="21"/>
                    </a:lnTo>
                    <a:lnTo>
                      <a:pt x="38" y="21"/>
                    </a:lnTo>
                    <a:lnTo>
                      <a:pt x="36" y="21"/>
                    </a:lnTo>
                    <a:lnTo>
                      <a:pt x="36" y="21"/>
                    </a:lnTo>
                    <a:lnTo>
                      <a:pt x="30" y="23"/>
                    </a:lnTo>
                    <a:lnTo>
                      <a:pt x="27" y="24"/>
                    </a:lnTo>
                    <a:lnTo>
                      <a:pt x="27" y="24"/>
                    </a:lnTo>
                    <a:lnTo>
                      <a:pt x="25" y="26"/>
                    </a:lnTo>
                    <a:lnTo>
                      <a:pt x="22" y="27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0"/>
                    </a:lnTo>
                    <a:lnTo>
                      <a:pt x="20" y="17"/>
                    </a:lnTo>
                    <a:lnTo>
                      <a:pt x="20" y="17"/>
                    </a:lnTo>
                    <a:lnTo>
                      <a:pt x="14" y="15"/>
                    </a:lnTo>
                    <a:lnTo>
                      <a:pt x="9" y="15"/>
                    </a:lnTo>
                    <a:lnTo>
                      <a:pt x="9" y="15"/>
                    </a:lnTo>
                    <a:lnTo>
                      <a:pt x="3" y="14"/>
                    </a:lnTo>
                    <a:lnTo>
                      <a:pt x="1" y="13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0" y="8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7"/>
                    </a:lnTo>
                    <a:lnTo>
                      <a:pt x="14" y="4"/>
                    </a:lnTo>
                    <a:lnTo>
                      <a:pt x="14" y="1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2"/>
                    </a:lnTo>
                    <a:lnTo>
                      <a:pt x="25" y="5"/>
                    </a:lnTo>
                    <a:lnTo>
                      <a:pt x="27" y="8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35" y="11"/>
                    </a:lnTo>
                    <a:lnTo>
                      <a:pt x="39" y="11"/>
                    </a:lnTo>
                    <a:lnTo>
                      <a:pt x="42" y="11"/>
                    </a:lnTo>
                    <a:lnTo>
                      <a:pt x="43" y="13"/>
                    </a:lnTo>
                    <a:lnTo>
                      <a:pt x="43" y="14"/>
                    </a:lnTo>
                    <a:lnTo>
                      <a:pt x="43" y="1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65" name="Freeform 1218"/>
              <p:cNvSpPr>
                <a:spLocks/>
              </p:cNvSpPr>
              <p:nvPr/>
            </p:nvSpPr>
            <p:spPr bwMode="auto">
              <a:xfrm>
                <a:off x="3445233" y="3159846"/>
                <a:ext cx="8903" cy="8903"/>
              </a:xfrm>
              <a:custGeom>
                <a:avLst/>
                <a:gdLst>
                  <a:gd name="T0" fmla="*/ 9 w 9"/>
                  <a:gd name="T1" fmla="*/ 6 h 9"/>
                  <a:gd name="T2" fmla="*/ 9 w 9"/>
                  <a:gd name="T3" fmla="*/ 6 h 9"/>
                  <a:gd name="T4" fmla="*/ 7 w 9"/>
                  <a:gd name="T5" fmla="*/ 9 h 9"/>
                  <a:gd name="T6" fmla="*/ 3 w 9"/>
                  <a:gd name="T7" fmla="*/ 9 h 9"/>
                  <a:gd name="T8" fmla="*/ 1 w 9"/>
                  <a:gd name="T9" fmla="*/ 8 h 9"/>
                  <a:gd name="T10" fmla="*/ 0 w 9"/>
                  <a:gd name="T11" fmla="*/ 5 h 9"/>
                  <a:gd name="T12" fmla="*/ 0 w 9"/>
                  <a:gd name="T13" fmla="*/ 5 h 9"/>
                  <a:gd name="T14" fmla="*/ 1 w 9"/>
                  <a:gd name="T15" fmla="*/ 2 h 9"/>
                  <a:gd name="T16" fmla="*/ 3 w 9"/>
                  <a:gd name="T17" fmla="*/ 0 h 9"/>
                  <a:gd name="T18" fmla="*/ 6 w 9"/>
                  <a:gd name="T19" fmla="*/ 0 h 9"/>
                  <a:gd name="T20" fmla="*/ 9 w 9"/>
                  <a:gd name="T21" fmla="*/ 2 h 9"/>
                  <a:gd name="T22" fmla="*/ 9 w 9"/>
                  <a:gd name="T23" fmla="*/ 3 h 9"/>
                  <a:gd name="T24" fmla="*/ 9 w 9"/>
                  <a:gd name="T25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9">
                    <a:moveTo>
                      <a:pt x="9" y="6"/>
                    </a:moveTo>
                    <a:lnTo>
                      <a:pt x="9" y="6"/>
                    </a:lnTo>
                    <a:lnTo>
                      <a:pt x="7" y="9"/>
                    </a:lnTo>
                    <a:lnTo>
                      <a:pt x="3" y="9"/>
                    </a:lnTo>
                    <a:lnTo>
                      <a:pt x="1" y="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1" y="2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9" y="3"/>
                    </a:lnTo>
                    <a:lnTo>
                      <a:pt x="9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66" name="Freeform 1219"/>
              <p:cNvSpPr>
                <a:spLocks/>
              </p:cNvSpPr>
              <p:nvPr/>
            </p:nvSpPr>
            <p:spPr bwMode="auto">
              <a:xfrm>
                <a:off x="3445233" y="3159846"/>
                <a:ext cx="8903" cy="8903"/>
              </a:xfrm>
              <a:custGeom>
                <a:avLst/>
                <a:gdLst>
                  <a:gd name="T0" fmla="*/ 9 w 9"/>
                  <a:gd name="T1" fmla="*/ 6 h 9"/>
                  <a:gd name="T2" fmla="*/ 9 w 9"/>
                  <a:gd name="T3" fmla="*/ 6 h 9"/>
                  <a:gd name="T4" fmla="*/ 7 w 9"/>
                  <a:gd name="T5" fmla="*/ 9 h 9"/>
                  <a:gd name="T6" fmla="*/ 3 w 9"/>
                  <a:gd name="T7" fmla="*/ 9 h 9"/>
                  <a:gd name="T8" fmla="*/ 1 w 9"/>
                  <a:gd name="T9" fmla="*/ 8 h 9"/>
                  <a:gd name="T10" fmla="*/ 0 w 9"/>
                  <a:gd name="T11" fmla="*/ 5 h 9"/>
                  <a:gd name="T12" fmla="*/ 0 w 9"/>
                  <a:gd name="T13" fmla="*/ 5 h 9"/>
                  <a:gd name="T14" fmla="*/ 1 w 9"/>
                  <a:gd name="T15" fmla="*/ 2 h 9"/>
                  <a:gd name="T16" fmla="*/ 3 w 9"/>
                  <a:gd name="T17" fmla="*/ 0 h 9"/>
                  <a:gd name="T18" fmla="*/ 6 w 9"/>
                  <a:gd name="T19" fmla="*/ 0 h 9"/>
                  <a:gd name="T20" fmla="*/ 9 w 9"/>
                  <a:gd name="T21" fmla="*/ 2 h 9"/>
                  <a:gd name="T22" fmla="*/ 9 w 9"/>
                  <a:gd name="T23" fmla="*/ 3 h 9"/>
                  <a:gd name="T24" fmla="*/ 9 w 9"/>
                  <a:gd name="T25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9">
                    <a:moveTo>
                      <a:pt x="9" y="6"/>
                    </a:moveTo>
                    <a:lnTo>
                      <a:pt x="9" y="6"/>
                    </a:lnTo>
                    <a:lnTo>
                      <a:pt x="7" y="9"/>
                    </a:lnTo>
                    <a:lnTo>
                      <a:pt x="3" y="9"/>
                    </a:lnTo>
                    <a:lnTo>
                      <a:pt x="1" y="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1" y="2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9" y="3"/>
                    </a:lnTo>
                    <a:lnTo>
                      <a:pt x="9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79" name="Freeform 1335"/>
              <p:cNvSpPr>
                <a:spLocks/>
              </p:cNvSpPr>
              <p:nvPr/>
            </p:nvSpPr>
            <p:spPr bwMode="auto">
              <a:xfrm>
                <a:off x="1949472" y="2995629"/>
                <a:ext cx="19785" cy="23742"/>
              </a:xfrm>
              <a:custGeom>
                <a:avLst/>
                <a:gdLst>
                  <a:gd name="T0" fmla="*/ 6 w 20"/>
                  <a:gd name="T1" fmla="*/ 20 h 24"/>
                  <a:gd name="T2" fmla="*/ 6 w 20"/>
                  <a:gd name="T3" fmla="*/ 19 h 24"/>
                  <a:gd name="T4" fmla="*/ 6 w 20"/>
                  <a:gd name="T5" fmla="*/ 19 h 24"/>
                  <a:gd name="T6" fmla="*/ 6 w 20"/>
                  <a:gd name="T7" fmla="*/ 13 h 24"/>
                  <a:gd name="T8" fmla="*/ 6 w 20"/>
                  <a:gd name="T9" fmla="*/ 10 h 24"/>
                  <a:gd name="T10" fmla="*/ 4 w 20"/>
                  <a:gd name="T11" fmla="*/ 5 h 24"/>
                  <a:gd name="T12" fmla="*/ 4 w 20"/>
                  <a:gd name="T13" fmla="*/ 4 h 24"/>
                  <a:gd name="T14" fmla="*/ 6 w 20"/>
                  <a:gd name="T15" fmla="*/ 5 h 24"/>
                  <a:gd name="T16" fmla="*/ 4 w 20"/>
                  <a:gd name="T17" fmla="*/ 5 h 24"/>
                  <a:gd name="T18" fmla="*/ 4 w 20"/>
                  <a:gd name="T19" fmla="*/ 5 h 24"/>
                  <a:gd name="T20" fmla="*/ 4 w 20"/>
                  <a:gd name="T21" fmla="*/ 4 h 24"/>
                  <a:gd name="T22" fmla="*/ 6 w 20"/>
                  <a:gd name="T23" fmla="*/ 5 h 24"/>
                  <a:gd name="T24" fmla="*/ 6 w 20"/>
                  <a:gd name="T25" fmla="*/ 5 h 24"/>
                  <a:gd name="T26" fmla="*/ 13 w 20"/>
                  <a:gd name="T27" fmla="*/ 8 h 24"/>
                  <a:gd name="T28" fmla="*/ 14 w 20"/>
                  <a:gd name="T29" fmla="*/ 11 h 24"/>
                  <a:gd name="T30" fmla="*/ 16 w 20"/>
                  <a:gd name="T31" fmla="*/ 11 h 24"/>
                  <a:gd name="T32" fmla="*/ 16 w 20"/>
                  <a:gd name="T33" fmla="*/ 11 h 24"/>
                  <a:gd name="T34" fmla="*/ 16 w 20"/>
                  <a:gd name="T35" fmla="*/ 11 h 24"/>
                  <a:gd name="T36" fmla="*/ 16 w 20"/>
                  <a:gd name="T37" fmla="*/ 11 h 24"/>
                  <a:gd name="T38" fmla="*/ 16 w 20"/>
                  <a:gd name="T39" fmla="*/ 11 h 24"/>
                  <a:gd name="T40" fmla="*/ 16 w 20"/>
                  <a:gd name="T41" fmla="*/ 11 h 24"/>
                  <a:gd name="T42" fmla="*/ 16 w 20"/>
                  <a:gd name="T43" fmla="*/ 11 h 24"/>
                  <a:gd name="T44" fmla="*/ 10 w 20"/>
                  <a:gd name="T45" fmla="*/ 17 h 24"/>
                  <a:gd name="T46" fmla="*/ 6 w 20"/>
                  <a:gd name="T47" fmla="*/ 20 h 24"/>
                  <a:gd name="T48" fmla="*/ 6 w 20"/>
                  <a:gd name="T49" fmla="*/ 20 h 24"/>
                  <a:gd name="T50" fmla="*/ 6 w 20"/>
                  <a:gd name="T51" fmla="*/ 20 h 24"/>
                  <a:gd name="T52" fmla="*/ 6 w 20"/>
                  <a:gd name="T53" fmla="*/ 20 h 24"/>
                  <a:gd name="T54" fmla="*/ 3 w 20"/>
                  <a:gd name="T55" fmla="*/ 24 h 24"/>
                  <a:gd name="T56" fmla="*/ 6 w 20"/>
                  <a:gd name="T57" fmla="*/ 24 h 24"/>
                  <a:gd name="T58" fmla="*/ 10 w 20"/>
                  <a:gd name="T59" fmla="*/ 23 h 24"/>
                  <a:gd name="T60" fmla="*/ 16 w 20"/>
                  <a:gd name="T61" fmla="*/ 19 h 24"/>
                  <a:gd name="T62" fmla="*/ 19 w 20"/>
                  <a:gd name="T63" fmla="*/ 16 h 24"/>
                  <a:gd name="T64" fmla="*/ 20 w 20"/>
                  <a:gd name="T65" fmla="*/ 11 h 24"/>
                  <a:gd name="T66" fmla="*/ 19 w 20"/>
                  <a:gd name="T67" fmla="*/ 8 h 24"/>
                  <a:gd name="T68" fmla="*/ 14 w 20"/>
                  <a:gd name="T69" fmla="*/ 3 h 24"/>
                  <a:gd name="T70" fmla="*/ 7 w 20"/>
                  <a:gd name="T71" fmla="*/ 0 h 24"/>
                  <a:gd name="T72" fmla="*/ 7 w 20"/>
                  <a:gd name="T73" fmla="*/ 0 h 24"/>
                  <a:gd name="T74" fmla="*/ 6 w 20"/>
                  <a:gd name="T75" fmla="*/ 0 h 24"/>
                  <a:gd name="T76" fmla="*/ 1 w 20"/>
                  <a:gd name="T77" fmla="*/ 3 h 24"/>
                  <a:gd name="T78" fmla="*/ 0 w 20"/>
                  <a:gd name="T79" fmla="*/ 5 h 24"/>
                  <a:gd name="T80" fmla="*/ 0 w 20"/>
                  <a:gd name="T81" fmla="*/ 11 h 24"/>
                  <a:gd name="T82" fmla="*/ 1 w 20"/>
                  <a:gd name="T83" fmla="*/ 13 h 24"/>
                  <a:gd name="T84" fmla="*/ 0 w 20"/>
                  <a:gd name="T85" fmla="*/ 19 h 24"/>
                  <a:gd name="T86" fmla="*/ 1 w 20"/>
                  <a:gd name="T87" fmla="*/ 21 h 24"/>
                  <a:gd name="T88" fmla="*/ 3 w 20"/>
                  <a:gd name="T89" fmla="*/ 24 h 24"/>
                  <a:gd name="T90" fmla="*/ 4 w 20"/>
                  <a:gd name="T91" fmla="*/ 2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0" h="24">
                    <a:moveTo>
                      <a:pt x="4" y="21"/>
                    </a:moveTo>
                    <a:lnTo>
                      <a:pt x="6" y="20"/>
                    </a:lnTo>
                    <a:lnTo>
                      <a:pt x="6" y="19"/>
                    </a:lnTo>
                    <a:lnTo>
                      <a:pt x="6" y="19"/>
                    </a:lnTo>
                    <a:lnTo>
                      <a:pt x="6" y="19"/>
                    </a:lnTo>
                    <a:lnTo>
                      <a:pt x="6" y="19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6" y="5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6" y="5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13" y="8"/>
                    </a:lnTo>
                    <a:lnTo>
                      <a:pt x="13" y="8"/>
                    </a:lnTo>
                    <a:lnTo>
                      <a:pt x="14" y="11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0" y="17"/>
                    </a:lnTo>
                    <a:lnTo>
                      <a:pt x="10" y="17"/>
                    </a:lnTo>
                    <a:lnTo>
                      <a:pt x="7" y="19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4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6" y="19"/>
                    </a:lnTo>
                    <a:lnTo>
                      <a:pt x="16" y="19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20" y="11"/>
                    </a:lnTo>
                    <a:lnTo>
                      <a:pt x="20" y="11"/>
                    </a:lnTo>
                    <a:lnTo>
                      <a:pt x="19" y="8"/>
                    </a:lnTo>
                    <a:lnTo>
                      <a:pt x="19" y="8"/>
                    </a:lnTo>
                    <a:lnTo>
                      <a:pt x="14" y="3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1" y="21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4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80" name="Freeform 1336"/>
              <p:cNvSpPr>
                <a:spLocks/>
              </p:cNvSpPr>
              <p:nvPr/>
            </p:nvSpPr>
            <p:spPr bwMode="auto">
              <a:xfrm>
                <a:off x="3277059" y="4297494"/>
                <a:ext cx="91012" cy="69248"/>
              </a:xfrm>
              <a:custGeom>
                <a:avLst/>
                <a:gdLst>
                  <a:gd name="T0" fmla="*/ 90 w 92"/>
                  <a:gd name="T1" fmla="*/ 63 h 70"/>
                  <a:gd name="T2" fmla="*/ 69 w 92"/>
                  <a:gd name="T3" fmla="*/ 51 h 70"/>
                  <a:gd name="T4" fmla="*/ 64 w 92"/>
                  <a:gd name="T5" fmla="*/ 48 h 70"/>
                  <a:gd name="T6" fmla="*/ 55 w 92"/>
                  <a:gd name="T7" fmla="*/ 38 h 70"/>
                  <a:gd name="T8" fmla="*/ 47 w 92"/>
                  <a:gd name="T9" fmla="*/ 28 h 70"/>
                  <a:gd name="T10" fmla="*/ 45 w 92"/>
                  <a:gd name="T11" fmla="*/ 25 h 70"/>
                  <a:gd name="T12" fmla="*/ 41 w 92"/>
                  <a:gd name="T13" fmla="*/ 22 h 70"/>
                  <a:gd name="T14" fmla="*/ 41 w 92"/>
                  <a:gd name="T15" fmla="*/ 19 h 70"/>
                  <a:gd name="T16" fmla="*/ 44 w 92"/>
                  <a:gd name="T17" fmla="*/ 15 h 70"/>
                  <a:gd name="T18" fmla="*/ 42 w 92"/>
                  <a:gd name="T19" fmla="*/ 8 h 70"/>
                  <a:gd name="T20" fmla="*/ 38 w 92"/>
                  <a:gd name="T21" fmla="*/ 3 h 70"/>
                  <a:gd name="T22" fmla="*/ 34 w 92"/>
                  <a:gd name="T23" fmla="*/ 0 h 70"/>
                  <a:gd name="T24" fmla="*/ 32 w 92"/>
                  <a:gd name="T25" fmla="*/ 2 h 70"/>
                  <a:gd name="T26" fmla="*/ 29 w 92"/>
                  <a:gd name="T27" fmla="*/ 8 h 70"/>
                  <a:gd name="T28" fmla="*/ 28 w 92"/>
                  <a:gd name="T29" fmla="*/ 8 h 70"/>
                  <a:gd name="T30" fmla="*/ 25 w 92"/>
                  <a:gd name="T31" fmla="*/ 3 h 70"/>
                  <a:gd name="T32" fmla="*/ 24 w 92"/>
                  <a:gd name="T33" fmla="*/ 2 h 70"/>
                  <a:gd name="T34" fmla="*/ 21 w 92"/>
                  <a:gd name="T35" fmla="*/ 6 h 70"/>
                  <a:gd name="T36" fmla="*/ 16 w 92"/>
                  <a:gd name="T37" fmla="*/ 9 h 70"/>
                  <a:gd name="T38" fmla="*/ 15 w 92"/>
                  <a:gd name="T39" fmla="*/ 10 h 70"/>
                  <a:gd name="T40" fmla="*/ 15 w 92"/>
                  <a:gd name="T41" fmla="*/ 15 h 70"/>
                  <a:gd name="T42" fmla="*/ 19 w 92"/>
                  <a:gd name="T43" fmla="*/ 16 h 70"/>
                  <a:gd name="T44" fmla="*/ 24 w 92"/>
                  <a:gd name="T45" fmla="*/ 19 h 70"/>
                  <a:gd name="T46" fmla="*/ 28 w 92"/>
                  <a:gd name="T47" fmla="*/ 25 h 70"/>
                  <a:gd name="T48" fmla="*/ 27 w 92"/>
                  <a:gd name="T49" fmla="*/ 26 h 70"/>
                  <a:gd name="T50" fmla="*/ 15 w 92"/>
                  <a:gd name="T51" fmla="*/ 35 h 70"/>
                  <a:gd name="T52" fmla="*/ 13 w 92"/>
                  <a:gd name="T53" fmla="*/ 35 h 70"/>
                  <a:gd name="T54" fmla="*/ 13 w 92"/>
                  <a:gd name="T55" fmla="*/ 39 h 70"/>
                  <a:gd name="T56" fmla="*/ 16 w 92"/>
                  <a:gd name="T57" fmla="*/ 42 h 70"/>
                  <a:gd name="T58" fmla="*/ 28 w 92"/>
                  <a:gd name="T59" fmla="*/ 51 h 70"/>
                  <a:gd name="T60" fmla="*/ 27 w 92"/>
                  <a:gd name="T61" fmla="*/ 52 h 70"/>
                  <a:gd name="T62" fmla="*/ 16 w 92"/>
                  <a:gd name="T63" fmla="*/ 50 h 70"/>
                  <a:gd name="T64" fmla="*/ 15 w 92"/>
                  <a:gd name="T65" fmla="*/ 51 h 70"/>
                  <a:gd name="T66" fmla="*/ 13 w 92"/>
                  <a:gd name="T67" fmla="*/ 54 h 70"/>
                  <a:gd name="T68" fmla="*/ 12 w 92"/>
                  <a:gd name="T69" fmla="*/ 54 h 70"/>
                  <a:gd name="T70" fmla="*/ 3 w 92"/>
                  <a:gd name="T71" fmla="*/ 51 h 70"/>
                  <a:gd name="T72" fmla="*/ 2 w 92"/>
                  <a:gd name="T73" fmla="*/ 52 h 70"/>
                  <a:gd name="T74" fmla="*/ 0 w 92"/>
                  <a:gd name="T75" fmla="*/ 58 h 70"/>
                  <a:gd name="T76" fmla="*/ 2 w 92"/>
                  <a:gd name="T77" fmla="*/ 63 h 70"/>
                  <a:gd name="T78" fmla="*/ 6 w 92"/>
                  <a:gd name="T79" fmla="*/ 63 h 70"/>
                  <a:gd name="T80" fmla="*/ 13 w 92"/>
                  <a:gd name="T81" fmla="*/ 63 h 70"/>
                  <a:gd name="T82" fmla="*/ 16 w 92"/>
                  <a:gd name="T83" fmla="*/ 64 h 70"/>
                  <a:gd name="T84" fmla="*/ 25 w 92"/>
                  <a:gd name="T85" fmla="*/ 66 h 70"/>
                  <a:gd name="T86" fmla="*/ 34 w 92"/>
                  <a:gd name="T87" fmla="*/ 66 h 70"/>
                  <a:gd name="T88" fmla="*/ 54 w 92"/>
                  <a:gd name="T89" fmla="*/ 66 h 70"/>
                  <a:gd name="T90" fmla="*/ 60 w 92"/>
                  <a:gd name="T91" fmla="*/ 66 h 70"/>
                  <a:gd name="T92" fmla="*/ 74 w 92"/>
                  <a:gd name="T93" fmla="*/ 70 h 70"/>
                  <a:gd name="T94" fmla="*/ 79 w 92"/>
                  <a:gd name="T95" fmla="*/ 67 h 70"/>
                  <a:gd name="T96" fmla="*/ 84 w 92"/>
                  <a:gd name="T97" fmla="*/ 66 h 70"/>
                  <a:gd name="T98" fmla="*/ 90 w 92"/>
                  <a:gd name="T99" fmla="*/ 66 h 70"/>
                  <a:gd name="T100" fmla="*/ 90 w 92"/>
                  <a:gd name="T101" fmla="*/ 63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2" h="70">
                    <a:moveTo>
                      <a:pt x="90" y="63"/>
                    </a:moveTo>
                    <a:lnTo>
                      <a:pt x="90" y="63"/>
                    </a:lnTo>
                    <a:lnTo>
                      <a:pt x="76" y="55"/>
                    </a:lnTo>
                    <a:lnTo>
                      <a:pt x="69" y="51"/>
                    </a:lnTo>
                    <a:lnTo>
                      <a:pt x="64" y="48"/>
                    </a:lnTo>
                    <a:lnTo>
                      <a:pt x="64" y="48"/>
                    </a:lnTo>
                    <a:lnTo>
                      <a:pt x="60" y="42"/>
                    </a:lnTo>
                    <a:lnTo>
                      <a:pt x="55" y="38"/>
                    </a:lnTo>
                    <a:lnTo>
                      <a:pt x="50" y="32"/>
                    </a:lnTo>
                    <a:lnTo>
                      <a:pt x="47" y="28"/>
                    </a:lnTo>
                    <a:lnTo>
                      <a:pt x="47" y="28"/>
                    </a:lnTo>
                    <a:lnTo>
                      <a:pt x="45" y="25"/>
                    </a:lnTo>
                    <a:lnTo>
                      <a:pt x="42" y="24"/>
                    </a:lnTo>
                    <a:lnTo>
                      <a:pt x="41" y="22"/>
                    </a:lnTo>
                    <a:lnTo>
                      <a:pt x="41" y="19"/>
                    </a:lnTo>
                    <a:lnTo>
                      <a:pt x="41" y="19"/>
                    </a:lnTo>
                    <a:lnTo>
                      <a:pt x="42" y="16"/>
                    </a:lnTo>
                    <a:lnTo>
                      <a:pt x="44" y="15"/>
                    </a:lnTo>
                    <a:lnTo>
                      <a:pt x="44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3"/>
                    </a:lnTo>
                    <a:lnTo>
                      <a:pt x="37" y="0"/>
                    </a:lnTo>
                    <a:lnTo>
                      <a:pt x="3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7" y="5"/>
                    </a:lnTo>
                    <a:lnTo>
                      <a:pt x="25" y="3"/>
                    </a:lnTo>
                    <a:lnTo>
                      <a:pt x="25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1" y="6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5" y="9"/>
                    </a:lnTo>
                    <a:lnTo>
                      <a:pt x="15" y="10"/>
                    </a:lnTo>
                    <a:lnTo>
                      <a:pt x="15" y="12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9" y="16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8" y="22"/>
                    </a:lnTo>
                    <a:lnTo>
                      <a:pt x="28" y="25"/>
                    </a:lnTo>
                    <a:lnTo>
                      <a:pt x="27" y="26"/>
                    </a:lnTo>
                    <a:lnTo>
                      <a:pt x="27" y="26"/>
                    </a:lnTo>
                    <a:lnTo>
                      <a:pt x="21" y="32"/>
                    </a:lnTo>
                    <a:lnTo>
                      <a:pt x="15" y="35"/>
                    </a:lnTo>
                    <a:lnTo>
                      <a:pt x="15" y="35"/>
                    </a:lnTo>
                    <a:lnTo>
                      <a:pt x="13" y="35"/>
                    </a:lnTo>
                    <a:lnTo>
                      <a:pt x="13" y="38"/>
                    </a:lnTo>
                    <a:lnTo>
                      <a:pt x="13" y="39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5" y="50"/>
                    </a:lnTo>
                    <a:lnTo>
                      <a:pt x="28" y="51"/>
                    </a:lnTo>
                    <a:lnTo>
                      <a:pt x="27" y="52"/>
                    </a:lnTo>
                    <a:lnTo>
                      <a:pt x="27" y="52"/>
                    </a:lnTo>
                    <a:lnTo>
                      <a:pt x="21" y="51"/>
                    </a:lnTo>
                    <a:lnTo>
                      <a:pt x="16" y="50"/>
                    </a:lnTo>
                    <a:lnTo>
                      <a:pt x="15" y="51"/>
                    </a:lnTo>
                    <a:lnTo>
                      <a:pt x="15" y="51"/>
                    </a:lnTo>
                    <a:lnTo>
                      <a:pt x="13" y="54"/>
                    </a:lnTo>
                    <a:lnTo>
                      <a:pt x="13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6" y="52"/>
                    </a:lnTo>
                    <a:lnTo>
                      <a:pt x="3" y="51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0" y="54"/>
                    </a:lnTo>
                    <a:lnTo>
                      <a:pt x="0" y="58"/>
                    </a:lnTo>
                    <a:lnTo>
                      <a:pt x="0" y="61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6" y="63"/>
                    </a:lnTo>
                    <a:lnTo>
                      <a:pt x="9" y="63"/>
                    </a:lnTo>
                    <a:lnTo>
                      <a:pt x="13" y="63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21" y="66"/>
                    </a:lnTo>
                    <a:lnTo>
                      <a:pt x="25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7" y="66"/>
                    </a:lnTo>
                    <a:lnTo>
                      <a:pt x="54" y="66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67" y="68"/>
                    </a:lnTo>
                    <a:lnTo>
                      <a:pt x="74" y="70"/>
                    </a:lnTo>
                    <a:lnTo>
                      <a:pt x="74" y="70"/>
                    </a:lnTo>
                    <a:lnTo>
                      <a:pt x="79" y="67"/>
                    </a:lnTo>
                    <a:lnTo>
                      <a:pt x="82" y="67"/>
                    </a:lnTo>
                    <a:lnTo>
                      <a:pt x="84" y="66"/>
                    </a:lnTo>
                    <a:lnTo>
                      <a:pt x="84" y="66"/>
                    </a:lnTo>
                    <a:lnTo>
                      <a:pt x="90" y="66"/>
                    </a:lnTo>
                    <a:lnTo>
                      <a:pt x="92" y="64"/>
                    </a:lnTo>
                    <a:lnTo>
                      <a:pt x="90" y="6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81" name="Freeform 1337"/>
              <p:cNvSpPr>
                <a:spLocks/>
              </p:cNvSpPr>
              <p:nvPr/>
            </p:nvSpPr>
            <p:spPr bwMode="auto">
              <a:xfrm>
                <a:off x="3277059" y="4297494"/>
                <a:ext cx="91012" cy="69248"/>
              </a:xfrm>
              <a:custGeom>
                <a:avLst/>
                <a:gdLst>
                  <a:gd name="T0" fmla="*/ 90 w 92"/>
                  <a:gd name="T1" fmla="*/ 63 h 70"/>
                  <a:gd name="T2" fmla="*/ 69 w 92"/>
                  <a:gd name="T3" fmla="*/ 51 h 70"/>
                  <a:gd name="T4" fmla="*/ 64 w 92"/>
                  <a:gd name="T5" fmla="*/ 48 h 70"/>
                  <a:gd name="T6" fmla="*/ 55 w 92"/>
                  <a:gd name="T7" fmla="*/ 38 h 70"/>
                  <a:gd name="T8" fmla="*/ 47 w 92"/>
                  <a:gd name="T9" fmla="*/ 28 h 70"/>
                  <a:gd name="T10" fmla="*/ 45 w 92"/>
                  <a:gd name="T11" fmla="*/ 25 h 70"/>
                  <a:gd name="T12" fmla="*/ 41 w 92"/>
                  <a:gd name="T13" fmla="*/ 22 h 70"/>
                  <a:gd name="T14" fmla="*/ 41 w 92"/>
                  <a:gd name="T15" fmla="*/ 19 h 70"/>
                  <a:gd name="T16" fmla="*/ 44 w 92"/>
                  <a:gd name="T17" fmla="*/ 15 h 70"/>
                  <a:gd name="T18" fmla="*/ 42 w 92"/>
                  <a:gd name="T19" fmla="*/ 8 h 70"/>
                  <a:gd name="T20" fmla="*/ 38 w 92"/>
                  <a:gd name="T21" fmla="*/ 3 h 70"/>
                  <a:gd name="T22" fmla="*/ 34 w 92"/>
                  <a:gd name="T23" fmla="*/ 0 h 70"/>
                  <a:gd name="T24" fmla="*/ 32 w 92"/>
                  <a:gd name="T25" fmla="*/ 2 h 70"/>
                  <a:gd name="T26" fmla="*/ 29 w 92"/>
                  <a:gd name="T27" fmla="*/ 8 h 70"/>
                  <a:gd name="T28" fmla="*/ 28 w 92"/>
                  <a:gd name="T29" fmla="*/ 8 h 70"/>
                  <a:gd name="T30" fmla="*/ 25 w 92"/>
                  <a:gd name="T31" fmla="*/ 3 h 70"/>
                  <a:gd name="T32" fmla="*/ 24 w 92"/>
                  <a:gd name="T33" fmla="*/ 2 h 70"/>
                  <a:gd name="T34" fmla="*/ 21 w 92"/>
                  <a:gd name="T35" fmla="*/ 6 h 70"/>
                  <a:gd name="T36" fmla="*/ 16 w 92"/>
                  <a:gd name="T37" fmla="*/ 9 h 70"/>
                  <a:gd name="T38" fmla="*/ 15 w 92"/>
                  <a:gd name="T39" fmla="*/ 10 h 70"/>
                  <a:gd name="T40" fmla="*/ 15 w 92"/>
                  <a:gd name="T41" fmla="*/ 15 h 70"/>
                  <a:gd name="T42" fmla="*/ 19 w 92"/>
                  <a:gd name="T43" fmla="*/ 16 h 70"/>
                  <a:gd name="T44" fmla="*/ 24 w 92"/>
                  <a:gd name="T45" fmla="*/ 19 h 70"/>
                  <a:gd name="T46" fmla="*/ 28 w 92"/>
                  <a:gd name="T47" fmla="*/ 25 h 70"/>
                  <a:gd name="T48" fmla="*/ 27 w 92"/>
                  <a:gd name="T49" fmla="*/ 26 h 70"/>
                  <a:gd name="T50" fmla="*/ 15 w 92"/>
                  <a:gd name="T51" fmla="*/ 35 h 70"/>
                  <a:gd name="T52" fmla="*/ 13 w 92"/>
                  <a:gd name="T53" fmla="*/ 35 h 70"/>
                  <a:gd name="T54" fmla="*/ 13 w 92"/>
                  <a:gd name="T55" fmla="*/ 39 h 70"/>
                  <a:gd name="T56" fmla="*/ 16 w 92"/>
                  <a:gd name="T57" fmla="*/ 42 h 70"/>
                  <a:gd name="T58" fmla="*/ 28 w 92"/>
                  <a:gd name="T59" fmla="*/ 51 h 70"/>
                  <a:gd name="T60" fmla="*/ 27 w 92"/>
                  <a:gd name="T61" fmla="*/ 52 h 70"/>
                  <a:gd name="T62" fmla="*/ 16 w 92"/>
                  <a:gd name="T63" fmla="*/ 50 h 70"/>
                  <a:gd name="T64" fmla="*/ 15 w 92"/>
                  <a:gd name="T65" fmla="*/ 51 h 70"/>
                  <a:gd name="T66" fmla="*/ 13 w 92"/>
                  <a:gd name="T67" fmla="*/ 54 h 70"/>
                  <a:gd name="T68" fmla="*/ 12 w 92"/>
                  <a:gd name="T69" fmla="*/ 54 h 70"/>
                  <a:gd name="T70" fmla="*/ 3 w 92"/>
                  <a:gd name="T71" fmla="*/ 51 h 70"/>
                  <a:gd name="T72" fmla="*/ 2 w 92"/>
                  <a:gd name="T73" fmla="*/ 52 h 70"/>
                  <a:gd name="T74" fmla="*/ 0 w 92"/>
                  <a:gd name="T75" fmla="*/ 58 h 70"/>
                  <a:gd name="T76" fmla="*/ 2 w 92"/>
                  <a:gd name="T77" fmla="*/ 63 h 70"/>
                  <a:gd name="T78" fmla="*/ 6 w 92"/>
                  <a:gd name="T79" fmla="*/ 63 h 70"/>
                  <a:gd name="T80" fmla="*/ 13 w 92"/>
                  <a:gd name="T81" fmla="*/ 63 h 70"/>
                  <a:gd name="T82" fmla="*/ 16 w 92"/>
                  <a:gd name="T83" fmla="*/ 64 h 70"/>
                  <a:gd name="T84" fmla="*/ 25 w 92"/>
                  <a:gd name="T85" fmla="*/ 66 h 70"/>
                  <a:gd name="T86" fmla="*/ 34 w 92"/>
                  <a:gd name="T87" fmla="*/ 66 h 70"/>
                  <a:gd name="T88" fmla="*/ 54 w 92"/>
                  <a:gd name="T89" fmla="*/ 66 h 70"/>
                  <a:gd name="T90" fmla="*/ 60 w 92"/>
                  <a:gd name="T91" fmla="*/ 66 h 70"/>
                  <a:gd name="T92" fmla="*/ 74 w 92"/>
                  <a:gd name="T93" fmla="*/ 70 h 70"/>
                  <a:gd name="T94" fmla="*/ 79 w 92"/>
                  <a:gd name="T95" fmla="*/ 67 h 70"/>
                  <a:gd name="T96" fmla="*/ 84 w 92"/>
                  <a:gd name="T97" fmla="*/ 66 h 70"/>
                  <a:gd name="T98" fmla="*/ 90 w 92"/>
                  <a:gd name="T99" fmla="*/ 66 h 70"/>
                  <a:gd name="T100" fmla="*/ 90 w 92"/>
                  <a:gd name="T101" fmla="*/ 63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2" h="70">
                    <a:moveTo>
                      <a:pt x="90" y="63"/>
                    </a:moveTo>
                    <a:lnTo>
                      <a:pt x="90" y="63"/>
                    </a:lnTo>
                    <a:lnTo>
                      <a:pt x="76" y="55"/>
                    </a:lnTo>
                    <a:lnTo>
                      <a:pt x="69" y="51"/>
                    </a:lnTo>
                    <a:lnTo>
                      <a:pt x="64" y="48"/>
                    </a:lnTo>
                    <a:lnTo>
                      <a:pt x="64" y="48"/>
                    </a:lnTo>
                    <a:lnTo>
                      <a:pt x="60" y="42"/>
                    </a:lnTo>
                    <a:lnTo>
                      <a:pt x="55" y="38"/>
                    </a:lnTo>
                    <a:lnTo>
                      <a:pt x="50" y="32"/>
                    </a:lnTo>
                    <a:lnTo>
                      <a:pt x="47" y="28"/>
                    </a:lnTo>
                    <a:lnTo>
                      <a:pt x="47" y="28"/>
                    </a:lnTo>
                    <a:lnTo>
                      <a:pt x="45" y="25"/>
                    </a:lnTo>
                    <a:lnTo>
                      <a:pt x="42" y="24"/>
                    </a:lnTo>
                    <a:lnTo>
                      <a:pt x="41" y="22"/>
                    </a:lnTo>
                    <a:lnTo>
                      <a:pt x="41" y="19"/>
                    </a:lnTo>
                    <a:lnTo>
                      <a:pt x="41" y="19"/>
                    </a:lnTo>
                    <a:lnTo>
                      <a:pt x="42" y="16"/>
                    </a:lnTo>
                    <a:lnTo>
                      <a:pt x="44" y="15"/>
                    </a:lnTo>
                    <a:lnTo>
                      <a:pt x="44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3"/>
                    </a:lnTo>
                    <a:lnTo>
                      <a:pt x="37" y="0"/>
                    </a:lnTo>
                    <a:lnTo>
                      <a:pt x="3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7" y="5"/>
                    </a:lnTo>
                    <a:lnTo>
                      <a:pt x="25" y="3"/>
                    </a:lnTo>
                    <a:lnTo>
                      <a:pt x="25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1" y="6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5" y="9"/>
                    </a:lnTo>
                    <a:lnTo>
                      <a:pt x="15" y="10"/>
                    </a:lnTo>
                    <a:lnTo>
                      <a:pt x="15" y="12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9" y="16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8" y="22"/>
                    </a:lnTo>
                    <a:lnTo>
                      <a:pt x="28" y="25"/>
                    </a:lnTo>
                    <a:lnTo>
                      <a:pt x="27" y="26"/>
                    </a:lnTo>
                    <a:lnTo>
                      <a:pt x="27" y="26"/>
                    </a:lnTo>
                    <a:lnTo>
                      <a:pt x="21" y="32"/>
                    </a:lnTo>
                    <a:lnTo>
                      <a:pt x="15" y="35"/>
                    </a:lnTo>
                    <a:lnTo>
                      <a:pt x="15" y="35"/>
                    </a:lnTo>
                    <a:lnTo>
                      <a:pt x="13" y="35"/>
                    </a:lnTo>
                    <a:lnTo>
                      <a:pt x="13" y="38"/>
                    </a:lnTo>
                    <a:lnTo>
                      <a:pt x="13" y="39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5" y="50"/>
                    </a:lnTo>
                    <a:lnTo>
                      <a:pt x="28" y="51"/>
                    </a:lnTo>
                    <a:lnTo>
                      <a:pt x="27" y="52"/>
                    </a:lnTo>
                    <a:lnTo>
                      <a:pt x="27" y="52"/>
                    </a:lnTo>
                    <a:lnTo>
                      <a:pt x="21" y="51"/>
                    </a:lnTo>
                    <a:lnTo>
                      <a:pt x="16" y="50"/>
                    </a:lnTo>
                    <a:lnTo>
                      <a:pt x="15" y="51"/>
                    </a:lnTo>
                    <a:lnTo>
                      <a:pt x="15" y="51"/>
                    </a:lnTo>
                    <a:lnTo>
                      <a:pt x="13" y="54"/>
                    </a:lnTo>
                    <a:lnTo>
                      <a:pt x="13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6" y="52"/>
                    </a:lnTo>
                    <a:lnTo>
                      <a:pt x="3" y="51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0" y="54"/>
                    </a:lnTo>
                    <a:lnTo>
                      <a:pt x="0" y="58"/>
                    </a:lnTo>
                    <a:lnTo>
                      <a:pt x="0" y="61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6" y="63"/>
                    </a:lnTo>
                    <a:lnTo>
                      <a:pt x="9" y="63"/>
                    </a:lnTo>
                    <a:lnTo>
                      <a:pt x="13" y="63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21" y="66"/>
                    </a:lnTo>
                    <a:lnTo>
                      <a:pt x="25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7" y="66"/>
                    </a:lnTo>
                    <a:lnTo>
                      <a:pt x="54" y="66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67" y="68"/>
                    </a:lnTo>
                    <a:lnTo>
                      <a:pt x="74" y="70"/>
                    </a:lnTo>
                    <a:lnTo>
                      <a:pt x="74" y="70"/>
                    </a:lnTo>
                    <a:lnTo>
                      <a:pt x="79" y="67"/>
                    </a:lnTo>
                    <a:lnTo>
                      <a:pt x="82" y="67"/>
                    </a:lnTo>
                    <a:lnTo>
                      <a:pt x="84" y="66"/>
                    </a:lnTo>
                    <a:lnTo>
                      <a:pt x="84" y="66"/>
                    </a:lnTo>
                    <a:lnTo>
                      <a:pt x="90" y="66"/>
                    </a:lnTo>
                    <a:lnTo>
                      <a:pt x="92" y="64"/>
                    </a:lnTo>
                    <a:lnTo>
                      <a:pt x="90" y="6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82" name="Freeform 1338"/>
              <p:cNvSpPr>
                <a:spLocks/>
              </p:cNvSpPr>
              <p:nvPr/>
            </p:nvSpPr>
            <p:spPr bwMode="auto">
              <a:xfrm>
                <a:off x="3324543" y="4367732"/>
                <a:ext cx="14839" cy="5936"/>
              </a:xfrm>
              <a:custGeom>
                <a:avLst/>
                <a:gdLst>
                  <a:gd name="T0" fmla="*/ 13 w 15"/>
                  <a:gd name="T1" fmla="*/ 6 h 6"/>
                  <a:gd name="T2" fmla="*/ 13 w 15"/>
                  <a:gd name="T3" fmla="*/ 6 h 6"/>
                  <a:gd name="T4" fmla="*/ 10 w 15"/>
                  <a:gd name="T5" fmla="*/ 6 h 6"/>
                  <a:gd name="T6" fmla="*/ 5 w 15"/>
                  <a:gd name="T7" fmla="*/ 5 h 6"/>
                  <a:gd name="T8" fmla="*/ 2 w 15"/>
                  <a:gd name="T9" fmla="*/ 3 h 6"/>
                  <a:gd name="T10" fmla="*/ 0 w 15"/>
                  <a:gd name="T11" fmla="*/ 2 h 6"/>
                  <a:gd name="T12" fmla="*/ 2 w 15"/>
                  <a:gd name="T13" fmla="*/ 0 h 6"/>
                  <a:gd name="T14" fmla="*/ 2 w 15"/>
                  <a:gd name="T15" fmla="*/ 0 h 6"/>
                  <a:gd name="T16" fmla="*/ 6 w 15"/>
                  <a:gd name="T17" fmla="*/ 0 h 6"/>
                  <a:gd name="T18" fmla="*/ 10 w 15"/>
                  <a:gd name="T19" fmla="*/ 0 h 6"/>
                  <a:gd name="T20" fmla="*/ 15 w 15"/>
                  <a:gd name="T21" fmla="*/ 3 h 6"/>
                  <a:gd name="T22" fmla="*/ 15 w 15"/>
                  <a:gd name="T23" fmla="*/ 5 h 6"/>
                  <a:gd name="T24" fmla="*/ 13 w 15"/>
                  <a:gd name="T2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6">
                    <a:moveTo>
                      <a:pt x="13" y="6"/>
                    </a:moveTo>
                    <a:lnTo>
                      <a:pt x="13" y="6"/>
                    </a:lnTo>
                    <a:lnTo>
                      <a:pt x="10" y="6"/>
                    </a:lnTo>
                    <a:lnTo>
                      <a:pt x="5" y="5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5" y="3"/>
                    </a:lnTo>
                    <a:lnTo>
                      <a:pt x="15" y="5"/>
                    </a:lnTo>
                    <a:lnTo>
                      <a:pt x="13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83" name="Freeform 1339"/>
              <p:cNvSpPr>
                <a:spLocks/>
              </p:cNvSpPr>
              <p:nvPr/>
            </p:nvSpPr>
            <p:spPr bwMode="auto">
              <a:xfrm>
                <a:off x="3324543" y="4367732"/>
                <a:ext cx="14839" cy="5936"/>
              </a:xfrm>
              <a:custGeom>
                <a:avLst/>
                <a:gdLst>
                  <a:gd name="T0" fmla="*/ 13 w 15"/>
                  <a:gd name="T1" fmla="*/ 6 h 6"/>
                  <a:gd name="T2" fmla="*/ 13 w 15"/>
                  <a:gd name="T3" fmla="*/ 6 h 6"/>
                  <a:gd name="T4" fmla="*/ 10 w 15"/>
                  <a:gd name="T5" fmla="*/ 6 h 6"/>
                  <a:gd name="T6" fmla="*/ 5 w 15"/>
                  <a:gd name="T7" fmla="*/ 5 h 6"/>
                  <a:gd name="T8" fmla="*/ 2 w 15"/>
                  <a:gd name="T9" fmla="*/ 3 h 6"/>
                  <a:gd name="T10" fmla="*/ 0 w 15"/>
                  <a:gd name="T11" fmla="*/ 2 h 6"/>
                  <a:gd name="T12" fmla="*/ 2 w 15"/>
                  <a:gd name="T13" fmla="*/ 0 h 6"/>
                  <a:gd name="T14" fmla="*/ 2 w 15"/>
                  <a:gd name="T15" fmla="*/ 0 h 6"/>
                  <a:gd name="T16" fmla="*/ 6 w 15"/>
                  <a:gd name="T17" fmla="*/ 0 h 6"/>
                  <a:gd name="T18" fmla="*/ 10 w 15"/>
                  <a:gd name="T19" fmla="*/ 0 h 6"/>
                  <a:gd name="T20" fmla="*/ 15 w 15"/>
                  <a:gd name="T21" fmla="*/ 3 h 6"/>
                  <a:gd name="T22" fmla="*/ 15 w 15"/>
                  <a:gd name="T23" fmla="*/ 5 h 6"/>
                  <a:gd name="T24" fmla="*/ 13 w 15"/>
                  <a:gd name="T2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6">
                    <a:moveTo>
                      <a:pt x="13" y="6"/>
                    </a:moveTo>
                    <a:lnTo>
                      <a:pt x="13" y="6"/>
                    </a:lnTo>
                    <a:lnTo>
                      <a:pt x="10" y="6"/>
                    </a:lnTo>
                    <a:lnTo>
                      <a:pt x="5" y="5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5" y="3"/>
                    </a:lnTo>
                    <a:lnTo>
                      <a:pt x="15" y="5"/>
                    </a:lnTo>
                    <a:lnTo>
                      <a:pt x="13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84" name="Freeform 1340"/>
              <p:cNvSpPr>
                <a:spLocks/>
              </p:cNvSpPr>
              <p:nvPr/>
            </p:nvSpPr>
            <p:spPr bwMode="auto">
              <a:xfrm>
                <a:off x="3292887" y="4369710"/>
                <a:ext cx="18796" cy="6925"/>
              </a:xfrm>
              <a:custGeom>
                <a:avLst/>
                <a:gdLst>
                  <a:gd name="T0" fmla="*/ 19 w 19"/>
                  <a:gd name="T1" fmla="*/ 1 h 7"/>
                  <a:gd name="T2" fmla="*/ 19 w 19"/>
                  <a:gd name="T3" fmla="*/ 1 h 7"/>
                  <a:gd name="T4" fmla="*/ 13 w 19"/>
                  <a:gd name="T5" fmla="*/ 6 h 7"/>
                  <a:gd name="T6" fmla="*/ 12 w 19"/>
                  <a:gd name="T7" fmla="*/ 7 h 7"/>
                  <a:gd name="T8" fmla="*/ 9 w 19"/>
                  <a:gd name="T9" fmla="*/ 7 h 7"/>
                  <a:gd name="T10" fmla="*/ 9 w 19"/>
                  <a:gd name="T11" fmla="*/ 7 h 7"/>
                  <a:gd name="T12" fmla="*/ 3 w 19"/>
                  <a:gd name="T13" fmla="*/ 4 h 7"/>
                  <a:gd name="T14" fmla="*/ 0 w 19"/>
                  <a:gd name="T15" fmla="*/ 3 h 7"/>
                  <a:gd name="T16" fmla="*/ 2 w 19"/>
                  <a:gd name="T17" fmla="*/ 1 h 7"/>
                  <a:gd name="T18" fmla="*/ 2 w 19"/>
                  <a:gd name="T19" fmla="*/ 1 h 7"/>
                  <a:gd name="T20" fmla="*/ 6 w 19"/>
                  <a:gd name="T21" fmla="*/ 0 h 7"/>
                  <a:gd name="T22" fmla="*/ 12 w 19"/>
                  <a:gd name="T23" fmla="*/ 0 h 7"/>
                  <a:gd name="T24" fmla="*/ 18 w 19"/>
                  <a:gd name="T25" fmla="*/ 0 h 7"/>
                  <a:gd name="T26" fmla="*/ 19 w 19"/>
                  <a:gd name="T27" fmla="*/ 0 h 7"/>
                  <a:gd name="T28" fmla="*/ 19 w 19"/>
                  <a:gd name="T2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" h="7">
                    <a:moveTo>
                      <a:pt x="19" y="1"/>
                    </a:moveTo>
                    <a:lnTo>
                      <a:pt x="19" y="1"/>
                    </a:lnTo>
                    <a:lnTo>
                      <a:pt x="13" y="6"/>
                    </a:lnTo>
                    <a:lnTo>
                      <a:pt x="12" y="7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3" y="4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19" y="0"/>
                    </a:lnTo>
                    <a:lnTo>
                      <a:pt x="19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85" name="Freeform 1341"/>
              <p:cNvSpPr>
                <a:spLocks/>
              </p:cNvSpPr>
              <p:nvPr/>
            </p:nvSpPr>
            <p:spPr bwMode="auto">
              <a:xfrm>
                <a:off x="3292887" y="4369710"/>
                <a:ext cx="18796" cy="6925"/>
              </a:xfrm>
              <a:custGeom>
                <a:avLst/>
                <a:gdLst>
                  <a:gd name="T0" fmla="*/ 19 w 19"/>
                  <a:gd name="T1" fmla="*/ 1 h 7"/>
                  <a:gd name="T2" fmla="*/ 19 w 19"/>
                  <a:gd name="T3" fmla="*/ 1 h 7"/>
                  <a:gd name="T4" fmla="*/ 13 w 19"/>
                  <a:gd name="T5" fmla="*/ 6 h 7"/>
                  <a:gd name="T6" fmla="*/ 12 w 19"/>
                  <a:gd name="T7" fmla="*/ 7 h 7"/>
                  <a:gd name="T8" fmla="*/ 9 w 19"/>
                  <a:gd name="T9" fmla="*/ 7 h 7"/>
                  <a:gd name="T10" fmla="*/ 9 w 19"/>
                  <a:gd name="T11" fmla="*/ 7 h 7"/>
                  <a:gd name="T12" fmla="*/ 3 w 19"/>
                  <a:gd name="T13" fmla="*/ 4 h 7"/>
                  <a:gd name="T14" fmla="*/ 0 w 19"/>
                  <a:gd name="T15" fmla="*/ 3 h 7"/>
                  <a:gd name="T16" fmla="*/ 2 w 19"/>
                  <a:gd name="T17" fmla="*/ 1 h 7"/>
                  <a:gd name="T18" fmla="*/ 2 w 19"/>
                  <a:gd name="T19" fmla="*/ 1 h 7"/>
                  <a:gd name="T20" fmla="*/ 6 w 19"/>
                  <a:gd name="T21" fmla="*/ 0 h 7"/>
                  <a:gd name="T22" fmla="*/ 12 w 19"/>
                  <a:gd name="T23" fmla="*/ 0 h 7"/>
                  <a:gd name="T24" fmla="*/ 18 w 19"/>
                  <a:gd name="T25" fmla="*/ 0 h 7"/>
                  <a:gd name="T26" fmla="*/ 19 w 19"/>
                  <a:gd name="T27" fmla="*/ 0 h 7"/>
                  <a:gd name="T28" fmla="*/ 19 w 19"/>
                  <a:gd name="T2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" h="7">
                    <a:moveTo>
                      <a:pt x="19" y="1"/>
                    </a:moveTo>
                    <a:lnTo>
                      <a:pt x="19" y="1"/>
                    </a:lnTo>
                    <a:lnTo>
                      <a:pt x="13" y="6"/>
                    </a:lnTo>
                    <a:lnTo>
                      <a:pt x="12" y="7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3" y="4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19" y="0"/>
                    </a:lnTo>
                    <a:lnTo>
                      <a:pt x="19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86" name="Freeform 1342"/>
              <p:cNvSpPr>
                <a:spLocks/>
              </p:cNvSpPr>
              <p:nvPr/>
            </p:nvSpPr>
            <p:spPr bwMode="auto">
              <a:xfrm>
                <a:off x="3214735" y="4307387"/>
                <a:ext cx="39570" cy="34624"/>
              </a:xfrm>
              <a:custGeom>
                <a:avLst/>
                <a:gdLst>
                  <a:gd name="T0" fmla="*/ 34 w 40"/>
                  <a:gd name="T1" fmla="*/ 35 h 35"/>
                  <a:gd name="T2" fmla="*/ 34 w 40"/>
                  <a:gd name="T3" fmla="*/ 35 h 35"/>
                  <a:gd name="T4" fmla="*/ 27 w 40"/>
                  <a:gd name="T5" fmla="*/ 31 h 35"/>
                  <a:gd name="T6" fmla="*/ 21 w 40"/>
                  <a:gd name="T7" fmla="*/ 27 h 35"/>
                  <a:gd name="T8" fmla="*/ 21 w 40"/>
                  <a:gd name="T9" fmla="*/ 27 h 35"/>
                  <a:gd name="T10" fmla="*/ 17 w 40"/>
                  <a:gd name="T11" fmla="*/ 21 h 35"/>
                  <a:gd name="T12" fmla="*/ 17 w 40"/>
                  <a:gd name="T13" fmla="*/ 18 h 35"/>
                  <a:gd name="T14" fmla="*/ 17 w 40"/>
                  <a:gd name="T15" fmla="*/ 18 h 35"/>
                  <a:gd name="T16" fmla="*/ 17 w 40"/>
                  <a:gd name="T17" fmla="*/ 16 h 35"/>
                  <a:gd name="T18" fmla="*/ 16 w 40"/>
                  <a:gd name="T19" fmla="*/ 15 h 35"/>
                  <a:gd name="T20" fmla="*/ 13 w 40"/>
                  <a:gd name="T21" fmla="*/ 12 h 35"/>
                  <a:gd name="T22" fmla="*/ 13 w 40"/>
                  <a:gd name="T23" fmla="*/ 12 h 35"/>
                  <a:gd name="T24" fmla="*/ 10 w 40"/>
                  <a:gd name="T25" fmla="*/ 12 h 35"/>
                  <a:gd name="T26" fmla="*/ 6 w 40"/>
                  <a:gd name="T27" fmla="*/ 8 h 35"/>
                  <a:gd name="T28" fmla="*/ 6 w 40"/>
                  <a:gd name="T29" fmla="*/ 8 h 35"/>
                  <a:gd name="T30" fmla="*/ 1 w 40"/>
                  <a:gd name="T31" fmla="*/ 3 h 35"/>
                  <a:gd name="T32" fmla="*/ 0 w 40"/>
                  <a:gd name="T33" fmla="*/ 0 h 35"/>
                  <a:gd name="T34" fmla="*/ 1 w 40"/>
                  <a:gd name="T35" fmla="*/ 0 h 35"/>
                  <a:gd name="T36" fmla="*/ 1 w 40"/>
                  <a:gd name="T37" fmla="*/ 0 h 35"/>
                  <a:gd name="T38" fmla="*/ 11 w 40"/>
                  <a:gd name="T39" fmla="*/ 5 h 35"/>
                  <a:gd name="T40" fmla="*/ 21 w 40"/>
                  <a:gd name="T41" fmla="*/ 12 h 35"/>
                  <a:gd name="T42" fmla="*/ 21 w 40"/>
                  <a:gd name="T43" fmla="*/ 12 h 35"/>
                  <a:gd name="T44" fmla="*/ 33 w 40"/>
                  <a:gd name="T45" fmla="*/ 21 h 35"/>
                  <a:gd name="T46" fmla="*/ 39 w 40"/>
                  <a:gd name="T47" fmla="*/ 24 h 35"/>
                  <a:gd name="T48" fmla="*/ 40 w 40"/>
                  <a:gd name="T49" fmla="*/ 27 h 35"/>
                  <a:gd name="T50" fmla="*/ 40 w 40"/>
                  <a:gd name="T51" fmla="*/ 27 h 35"/>
                  <a:gd name="T52" fmla="*/ 39 w 40"/>
                  <a:gd name="T53" fmla="*/ 32 h 35"/>
                  <a:gd name="T54" fmla="*/ 36 w 40"/>
                  <a:gd name="T55" fmla="*/ 34 h 35"/>
                  <a:gd name="T56" fmla="*/ 34 w 40"/>
                  <a:gd name="T57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0" h="35">
                    <a:moveTo>
                      <a:pt x="34" y="35"/>
                    </a:moveTo>
                    <a:lnTo>
                      <a:pt x="34" y="35"/>
                    </a:lnTo>
                    <a:lnTo>
                      <a:pt x="27" y="31"/>
                    </a:lnTo>
                    <a:lnTo>
                      <a:pt x="21" y="27"/>
                    </a:lnTo>
                    <a:lnTo>
                      <a:pt x="21" y="27"/>
                    </a:lnTo>
                    <a:lnTo>
                      <a:pt x="17" y="21"/>
                    </a:lnTo>
                    <a:lnTo>
                      <a:pt x="17" y="18"/>
                    </a:lnTo>
                    <a:lnTo>
                      <a:pt x="17" y="18"/>
                    </a:lnTo>
                    <a:lnTo>
                      <a:pt x="17" y="16"/>
                    </a:lnTo>
                    <a:lnTo>
                      <a:pt x="16" y="15"/>
                    </a:lnTo>
                    <a:lnTo>
                      <a:pt x="13" y="12"/>
                    </a:lnTo>
                    <a:lnTo>
                      <a:pt x="13" y="12"/>
                    </a:lnTo>
                    <a:lnTo>
                      <a:pt x="10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1" y="5"/>
                    </a:lnTo>
                    <a:lnTo>
                      <a:pt x="21" y="12"/>
                    </a:lnTo>
                    <a:lnTo>
                      <a:pt x="21" y="12"/>
                    </a:lnTo>
                    <a:lnTo>
                      <a:pt x="33" y="21"/>
                    </a:lnTo>
                    <a:lnTo>
                      <a:pt x="39" y="24"/>
                    </a:lnTo>
                    <a:lnTo>
                      <a:pt x="40" y="27"/>
                    </a:lnTo>
                    <a:lnTo>
                      <a:pt x="40" y="27"/>
                    </a:lnTo>
                    <a:lnTo>
                      <a:pt x="39" y="32"/>
                    </a:lnTo>
                    <a:lnTo>
                      <a:pt x="36" y="34"/>
                    </a:lnTo>
                    <a:lnTo>
                      <a:pt x="34" y="3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87" name="Freeform 1343"/>
              <p:cNvSpPr>
                <a:spLocks/>
              </p:cNvSpPr>
              <p:nvPr/>
            </p:nvSpPr>
            <p:spPr bwMode="auto">
              <a:xfrm>
                <a:off x="3214735" y="4307387"/>
                <a:ext cx="39570" cy="34624"/>
              </a:xfrm>
              <a:custGeom>
                <a:avLst/>
                <a:gdLst>
                  <a:gd name="T0" fmla="*/ 34 w 40"/>
                  <a:gd name="T1" fmla="*/ 35 h 35"/>
                  <a:gd name="T2" fmla="*/ 34 w 40"/>
                  <a:gd name="T3" fmla="*/ 35 h 35"/>
                  <a:gd name="T4" fmla="*/ 27 w 40"/>
                  <a:gd name="T5" fmla="*/ 31 h 35"/>
                  <a:gd name="T6" fmla="*/ 21 w 40"/>
                  <a:gd name="T7" fmla="*/ 27 h 35"/>
                  <a:gd name="T8" fmla="*/ 21 w 40"/>
                  <a:gd name="T9" fmla="*/ 27 h 35"/>
                  <a:gd name="T10" fmla="*/ 17 w 40"/>
                  <a:gd name="T11" fmla="*/ 21 h 35"/>
                  <a:gd name="T12" fmla="*/ 17 w 40"/>
                  <a:gd name="T13" fmla="*/ 18 h 35"/>
                  <a:gd name="T14" fmla="*/ 17 w 40"/>
                  <a:gd name="T15" fmla="*/ 18 h 35"/>
                  <a:gd name="T16" fmla="*/ 17 w 40"/>
                  <a:gd name="T17" fmla="*/ 16 h 35"/>
                  <a:gd name="T18" fmla="*/ 16 w 40"/>
                  <a:gd name="T19" fmla="*/ 15 h 35"/>
                  <a:gd name="T20" fmla="*/ 13 w 40"/>
                  <a:gd name="T21" fmla="*/ 12 h 35"/>
                  <a:gd name="T22" fmla="*/ 13 w 40"/>
                  <a:gd name="T23" fmla="*/ 12 h 35"/>
                  <a:gd name="T24" fmla="*/ 10 w 40"/>
                  <a:gd name="T25" fmla="*/ 12 h 35"/>
                  <a:gd name="T26" fmla="*/ 6 w 40"/>
                  <a:gd name="T27" fmla="*/ 8 h 35"/>
                  <a:gd name="T28" fmla="*/ 6 w 40"/>
                  <a:gd name="T29" fmla="*/ 8 h 35"/>
                  <a:gd name="T30" fmla="*/ 1 w 40"/>
                  <a:gd name="T31" fmla="*/ 3 h 35"/>
                  <a:gd name="T32" fmla="*/ 0 w 40"/>
                  <a:gd name="T33" fmla="*/ 0 h 35"/>
                  <a:gd name="T34" fmla="*/ 1 w 40"/>
                  <a:gd name="T35" fmla="*/ 0 h 35"/>
                  <a:gd name="T36" fmla="*/ 1 w 40"/>
                  <a:gd name="T37" fmla="*/ 0 h 35"/>
                  <a:gd name="T38" fmla="*/ 11 w 40"/>
                  <a:gd name="T39" fmla="*/ 5 h 35"/>
                  <a:gd name="T40" fmla="*/ 21 w 40"/>
                  <a:gd name="T41" fmla="*/ 12 h 35"/>
                  <a:gd name="T42" fmla="*/ 21 w 40"/>
                  <a:gd name="T43" fmla="*/ 12 h 35"/>
                  <a:gd name="T44" fmla="*/ 33 w 40"/>
                  <a:gd name="T45" fmla="*/ 21 h 35"/>
                  <a:gd name="T46" fmla="*/ 39 w 40"/>
                  <a:gd name="T47" fmla="*/ 24 h 35"/>
                  <a:gd name="T48" fmla="*/ 40 w 40"/>
                  <a:gd name="T49" fmla="*/ 27 h 35"/>
                  <a:gd name="T50" fmla="*/ 40 w 40"/>
                  <a:gd name="T51" fmla="*/ 27 h 35"/>
                  <a:gd name="T52" fmla="*/ 39 w 40"/>
                  <a:gd name="T53" fmla="*/ 32 h 35"/>
                  <a:gd name="T54" fmla="*/ 36 w 40"/>
                  <a:gd name="T55" fmla="*/ 34 h 35"/>
                  <a:gd name="T56" fmla="*/ 34 w 40"/>
                  <a:gd name="T57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0" h="35">
                    <a:moveTo>
                      <a:pt x="34" y="35"/>
                    </a:moveTo>
                    <a:lnTo>
                      <a:pt x="34" y="35"/>
                    </a:lnTo>
                    <a:lnTo>
                      <a:pt x="27" y="31"/>
                    </a:lnTo>
                    <a:lnTo>
                      <a:pt x="21" y="27"/>
                    </a:lnTo>
                    <a:lnTo>
                      <a:pt x="21" y="27"/>
                    </a:lnTo>
                    <a:lnTo>
                      <a:pt x="17" y="21"/>
                    </a:lnTo>
                    <a:lnTo>
                      <a:pt x="17" y="18"/>
                    </a:lnTo>
                    <a:lnTo>
                      <a:pt x="17" y="18"/>
                    </a:lnTo>
                    <a:lnTo>
                      <a:pt x="17" y="16"/>
                    </a:lnTo>
                    <a:lnTo>
                      <a:pt x="16" y="15"/>
                    </a:lnTo>
                    <a:lnTo>
                      <a:pt x="13" y="12"/>
                    </a:lnTo>
                    <a:lnTo>
                      <a:pt x="13" y="12"/>
                    </a:lnTo>
                    <a:lnTo>
                      <a:pt x="10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1" y="5"/>
                    </a:lnTo>
                    <a:lnTo>
                      <a:pt x="21" y="12"/>
                    </a:lnTo>
                    <a:lnTo>
                      <a:pt x="21" y="12"/>
                    </a:lnTo>
                    <a:lnTo>
                      <a:pt x="33" y="21"/>
                    </a:lnTo>
                    <a:lnTo>
                      <a:pt x="39" y="24"/>
                    </a:lnTo>
                    <a:lnTo>
                      <a:pt x="40" y="27"/>
                    </a:lnTo>
                    <a:lnTo>
                      <a:pt x="40" y="27"/>
                    </a:lnTo>
                    <a:lnTo>
                      <a:pt x="39" y="32"/>
                    </a:lnTo>
                    <a:lnTo>
                      <a:pt x="36" y="34"/>
                    </a:lnTo>
                    <a:lnTo>
                      <a:pt x="34" y="3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88" name="Freeform 1344"/>
              <p:cNvSpPr>
                <a:spLocks/>
              </p:cNvSpPr>
              <p:nvPr/>
            </p:nvSpPr>
            <p:spPr bwMode="auto">
              <a:xfrm>
                <a:off x="3442265" y="4265838"/>
                <a:ext cx="22753" cy="21764"/>
              </a:xfrm>
              <a:custGeom>
                <a:avLst/>
                <a:gdLst>
                  <a:gd name="T0" fmla="*/ 13 w 23"/>
                  <a:gd name="T1" fmla="*/ 19 h 22"/>
                  <a:gd name="T2" fmla="*/ 13 w 23"/>
                  <a:gd name="T3" fmla="*/ 19 h 22"/>
                  <a:gd name="T4" fmla="*/ 7 w 23"/>
                  <a:gd name="T5" fmla="*/ 21 h 22"/>
                  <a:gd name="T6" fmla="*/ 3 w 23"/>
                  <a:gd name="T7" fmla="*/ 22 h 22"/>
                  <a:gd name="T8" fmla="*/ 0 w 23"/>
                  <a:gd name="T9" fmla="*/ 22 h 22"/>
                  <a:gd name="T10" fmla="*/ 0 w 23"/>
                  <a:gd name="T11" fmla="*/ 22 h 22"/>
                  <a:gd name="T12" fmla="*/ 0 w 23"/>
                  <a:gd name="T13" fmla="*/ 19 h 22"/>
                  <a:gd name="T14" fmla="*/ 1 w 23"/>
                  <a:gd name="T15" fmla="*/ 18 h 22"/>
                  <a:gd name="T16" fmla="*/ 6 w 23"/>
                  <a:gd name="T17" fmla="*/ 12 h 22"/>
                  <a:gd name="T18" fmla="*/ 6 w 23"/>
                  <a:gd name="T19" fmla="*/ 12 h 22"/>
                  <a:gd name="T20" fmla="*/ 4 w 23"/>
                  <a:gd name="T21" fmla="*/ 11 h 22"/>
                  <a:gd name="T22" fmla="*/ 3 w 23"/>
                  <a:gd name="T23" fmla="*/ 8 h 22"/>
                  <a:gd name="T24" fmla="*/ 1 w 23"/>
                  <a:gd name="T25" fmla="*/ 5 h 22"/>
                  <a:gd name="T26" fmla="*/ 1 w 23"/>
                  <a:gd name="T27" fmla="*/ 3 h 22"/>
                  <a:gd name="T28" fmla="*/ 1 w 23"/>
                  <a:gd name="T29" fmla="*/ 3 h 22"/>
                  <a:gd name="T30" fmla="*/ 3 w 23"/>
                  <a:gd name="T31" fmla="*/ 2 h 22"/>
                  <a:gd name="T32" fmla="*/ 4 w 23"/>
                  <a:gd name="T33" fmla="*/ 0 h 22"/>
                  <a:gd name="T34" fmla="*/ 7 w 23"/>
                  <a:gd name="T35" fmla="*/ 0 h 22"/>
                  <a:gd name="T36" fmla="*/ 10 w 23"/>
                  <a:gd name="T37" fmla="*/ 2 h 22"/>
                  <a:gd name="T38" fmla="*/ 10 w 23"/>
                  <a:gd name="T39" fmla="*/ 2 h 22"/>
                  <a:gd name="T40" fmla="*/ 13 w 23"/>
                  <a:gd name="T41" fmla="*/ 3 h 22"/>
                  <a:gd name="T42" fmla="*/ 14 w 23"/>
                  <a:gd name="T43" fmla="*/ 5 h 22"/>
                  <a:gd name="T44" fmla="*/ 16 w 23"/>
                  <a:gd name="T45" fmla="*/ 3 h 22"/>
                  <a:gd name="T46" fmla="*/ 16 w 23"/>
                  <a:gd name="T47" fmla="*/ 3 h 22"/>
                  <a:gd name="T48" fmla="*/ 20 w 23"/>
                  <a:gd name="T49" fmla="*/ 0 h 22"/>
                  <a:gd name="T50" fmla="*/ 22 w 23"/>
                  <a:gd name="T51" fmla="*/ 0 h 22"/>
                  <a:gd name="T52" fmla="*/ 23 w 23"/>
                  <a:gd name="T53" fmla="*/ 2 h 22"/>
                  <a:gd name="T54" fmla="*/ 23 w 23"/>
                  <a:gd name="T55" fmla="*/ 2 h 22"/>
                  <a:gd name="T56" fmla="*/ 23 w 23"/>
                  <a:gd name="T57" fmla="*/ 3 h 22"/>
                  <a:gd name="T58" fmla="*/ 22 w 23"/>
                  <a:gd name="T59" fmla="*/ 6 h 22"/>
                  <a:gd name="T60" fmla="*/ 19 w 23"/>
                  <a:gd name="T61" fmla="*/ 11 h 22"/>
                  <a:gd name="T62" fmla="*/ 19 w 23"/>
                  <a:gd name="T63" fmla="*/ 11 h 22"/>
                  <a:gd name="T64" fmla="*/ 16 w 23"/>
                  <a:gd name="T65" fmla="*/ 15 h 22"/>
                  <a:gd name="T66" fmla="*/ 13 w 23"/>
                  <a:gd name="T67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" h="22">
                    <a:moveTo>
                      <a:pt x="13" y="19"/>
                    </a:moveTo>
                    <a:lnTo>
                      <a:pt x="13" y="19"/>
                    </a:lnTo>
                    <a:lnTo>
                      <a:pt x="7" y="21"/>
                    </a:lnTo>
                    <a:lnTo>
                      <a:pt x="3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1" y="1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4" y="11"/>
                    </a:lnTo>
                    <a:lnTo>
                      <a:pt x="3" y="8"/>
                    </a:lnTo>
                    <a:lnTo>
                      <a:pt x="1" y="5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3" y="2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3" y="3"/>
                    </a:lnTo>
                    <a:lnTo>
                      <a:pt x="14" y="5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3" y="3"/>
                    </a:lnTo>
                    <a:lnTo>
                      <a:pt x="22" y="6"/>
                    </a:lnTo>
                    <a:lnTo>
                      <a:pt x="19" y="11"/>
                    </a:lnTo>
                    <a:lnTo>
                      <a:pt x="19" y="11"/>
                    </a:lnTo>
                    <a:lnTo>
                      <a:pt x="16" y="15"/>
                    </a:lnTo>
                    <a:lnTo>
                      <a:pt x="13" y="1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89" name="Freeform 1345"/>
              <p:cNvSpPr>
                <a:spLocks/>
              </p:cNvSpPr>
              <p:nvPr/>
            </p:nvSpPr>
            <p:spPr bwMode="auto">
              <a:xfrm>
                <a:off x="3442265" y="4265838"/>
                <a:ext cx="22753" cy="21764"/>
              </a:xfrm>
              <a:custGeom>
                <a:avLst/>
                <a:gdLst>
                  <a:gd name="T0" fmla="*/ 13 w 23"/>
                  <a:gd name="T1" fmla="*/ 19 h 22"/>
                  <a:gd name="T2" fmla="*/ 13 w 23"/>
                  <a:gd name="T3" fmla="*/ 19 h 22"/>
                  <a:gd name="T4" fmla="*/ 7 w 23"/>
                  <a:gd name="T5" fmla="*/ 21 h 22"/>
                  <a:gd name="T6" fmla="*/ 3 w 23"/>
                  <a:gd name="T7" fmla="*/ 22 h 22"/>
                  <a:gd name="T8" fmla="*/ 0 w 23"/>
                  <a:gd name="T9" fmla="*/ 22 h 22"/>
                  <a:gd name="T10" fmla="*/ 0 w 23"/>
                  <a:gd name="T11" fmla="*/ 22 h 22"/>
                  <a:gd name="T12" fmla="*/ 0 w 23"/>
                  <a:gd name="T13" fmla="*/ 19 h 22"/>
                  <a:gd name="T14" fmla="*/ 1 w 23"/>
                  <a:gd name="T15" fmla="*/ 18 h 22"/>
                  <a:gd name="T16" fmla="*/ 6 w 23"/>
                  <a:gd name="T17" fmla="*/ 12 h 22"/>
                  <a:gd name="T18" fmla="*/ 6 w 23"/>
                  <a:gd name="T19" fmla="*/ 12 h 22"/>
                  <a:gd name="T20" fmla="*/ 4 w 23"/>
                  <a:gd name="T21" fmla="*/ 11 h 22"/>
                  <a:gd name="T22" fmla="*/ 3 w 23"/>
                  <a:gd name="T23" fmla="*/ 8 h 22"/>
                  <a:gd name="T24" fmla="*/ 1 w 23"/>
                  <a:gd name="T25" fmla="*/ 5 h 22"/>
                  <a:gd name="T26" fmla="*/ 1 w 23"/>
                  <a:gd name="T27" fmla="*/ 3 h 22"/>
                  <a:gd name="T28" fmla="*/ 1 w 23"/>
                  <a:gd name="T29" fmla="*/ 3 h 22"/>
                  <a:gd name="T30" fmla="*/ 3 w 23"/>
                  <a:gd name="T31" fmla="*/ 2 h 22"/>
                  <a:gd name="T32" fmla="*/ 4 w 23"/>
                  <a:gd name="T33" fmla="*/ 0 h 22"/>
                  <a:gd name="T34" fmla="*/ 7 w 23"/>
                  <a:gd name="T35" fmla="*/ 0 h 22"/>
                  <a:gd name="T36" fmla="*/ 10 w 23"/>
                  <a:gd name="T37" fmla="*/ 2 h 22"/>
                  <a:gd name="T38" fmla="*/ 10 w 23"/>
                  <a:gd name="T39" fmla="*/ 2 h 22"/>
                  <a:gd name="T40" fmla="*/ 13 w 23"/>
                  <a:gd name="T41" fmla="*/ 3 h 22"/>
                  <a:gd name="T42" fmla="*/ 14 w 23"/>
                  <a:gd name="T43" fmla="*/ 5 h 22"/>
                  <a:gd name="T44" fmla="*/ 16 w 23"/>
                  <a:gd name="T45" fmla="*/ 3 h 22"/>
                  <a:gd name="T46" fmla="*/ 16 w 23"/>
                  <a:gd name="T47" fmla="*/ 3 h 22"/>
                  <a:gd name="T48" fmla="*/ 20 w 23"/>
                  <a:gd name="T49" fmla="*/ 0 h 22"/>
                  <a:gd name="T50" fmla="*/ 22 w 23"/>
                  <a:gd name="T51" fmla="*/ 0 h 22"/>
                  <a:gd name="T52" fmla="*/ 23 w 23"/>
                  <a:gd name="T53" fmla="*/ 2 h 22"/>
                  <a:gd name="T54" fmla="*/ 23 w 23"/>
                  <a:gd name="T55" fmla="*/ 2 h 22"/>
                  <a:gd name="T56" fmla="*/ 23 w 23"/>
                  <a:gd name="T57" fmla="*/ 3 h 22"/>
                  <a:gd name="T58" fmla="*/ 22 w 23"/>
                  <a:gd name="T59" fmla="*/ 6 h 22"/>
                  <a:gd name="T60" fmla="*/ 19 w 23"/>
                  <a:gd name="T61" fmla="*/ 11 h 22"/>
                  <a:gd name="T62" fmla="*/ 19 w 23"/>
                  <a:gd name="T63" fmla="*/ 11 h 22"/>
                  <a:gd name="T64" fmla="*/ 16 w 23"/>
                  <a:gd name="T65" fmla="*/ 15 h 22"/>
                  <a:gd name="T66" fmla="*/ 13 w 23"/>
                  <a:gd name="T67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" h="22">
                    <a:moveTo>
                      <a:pt x="13" y="19"/>
                    </a:moveTo>
                    <a:lnTo>
                      <a:pt x="13" y="19"/>
                    </a:lnTo>
                    <a:lnTo>
                      <a:pt x="7" y="21"/>
                    </a:lnTo>
                    <a:lnTo>
                      <a:pt x="3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1" y="1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4" y="11"/>
                    </a:lnTo>
                    <a:lnTo>
                      <a:pt x="3" y="8"/>
                    </a:lnTo>
                    <a:lnTo>
                      <a:pt x="1" y="5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3" y="2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3" y="3"/>
                    </a:lnTo>
                    <a:lnTo>
                      <a:pt x="14" y="5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3" y="3"/>
                    </a:lnTo>
                    <a:lnTo>
                      <a:pt x="22" y="6"/>
                    </a:lnTo>
                    <a:lnTo>
                      <a:pt x="19" y="11"/>
                    </a:lnTo>
                    <a:lnTo>
                      <a:pt x="19" y="11"/>
                    </a:lnTo>
                    <a:lnTo>
                      <a:pt x="16" y="15"/>
                    </a:lnTo>
                    <a:lnTo>
                      <a:pt x="13" y="1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90" name="Freeform 1346"/>
              <p:cNvSpPr>
                <a:spLocks/>
              </p:cNvSpPr>
              <p:nvPr/>
            </p:nvSpPr>
            <p:spPr bwMode="auto">
              <a:xfrm>
                <a:off x="3461061" y="4268806"/>
                <a:ext cx="22753" cy="23742"/>
              </a:xfrm>
              <a:custGeom>
                <a:avLst/>
                <a:gdLst>
                  <a:gd name="T0" fmla="*/ 6 w 23"/>
                  <a:gd name="T1" fmla="*/ 24 h 24"/>
                  <a:gd name="T2" fmla="*/ 6 w 23"/>
                  <a:gd name="T3" fmla="*/ 24 h 24"/>
                  <a:gd name="T4" fmla="*/ 3 w 23"/>
                  <a:gd name="T5" fmla="*/ 24 h 24"/>
                  <a:gd name="T6" fmla="*/ 1 w 23"/>
                  <a:gd name="T7" fmla="*/ 22 h 24"/>
                  <a:gd name="T8" fmla="*/ 0 w 23"/>
                  <a:gd name="T9" fmla="*/ 19 h 24"/>
                  <a:gd name="T10" fmla="*/ 1 w 23"/>
                  <a:gd name="T11" fmla="*/ 16 h 24"/>
                  <a:gd name="T12" fmla="*/ 1 w 23"/>
                  <a:gd name="T13" fmla="*/ 16 h 24"/>
                  <a:gd name="T14" fmla="*/ 4 w 23"/>
                  <a:gd name="T15" fmla="*/ 15 h 24"/>
                  <a:gd name="T16" fmla="*/ 7 w 23"/>
                  <a:gd name="T17" fmla="*/ 13 h 24"/>
                  <a:gd name="T18" fmla="*/ 9 w 23"/>
                  <a:gd name="T19" fmla="*/ 12 h 24"/>
                  <a:gd name="T20" fmla="*/ 10 w 23"/>
                  <a:gd name="T21" fmla="*/ 9 h 24"/>
                  <a:gd name="T22" fmla="*/ 10 w 23"/>
                  <a:gd name="T23" fmla="*/ 9 h 24"/>
                  <a:gd name="T24" fmla="*/ 10 w 23"/>
                  <a:gd name="T25" fmla="*/ 3 h 24"/>
                  <a:gd name="T26" fmla="*/ 11 w 23"/>
                  <a:gd name="T27" fmla="*/ 2 h 24"/>
                  <a:gd name="T28" fmla="*/ 13 w 23"/>
                  <a:gd name="T29" fmla="*/ 0 h 24"/>
                  <a:gd name="T30" fmla="*/ 13 w 23"/>
                  <a:gd name="T31" fmla="*/ 0 h 24"/>
                  <a:gd name="T32" fmla="*/ 16 w 23"/>
                  <a:gd name="T33" fmla="*/ 0 h 24"/>
                  <a:gd name="T34" fmla="*/ 19 w 23"/>
                  <a:gd name="T35" fmla="*/ 2 h 24"/>
                  <a:gd name="T36" fmla="*/ 22 w 23"/>
                  <a:gd name="T37" fmla="*/ 3 h 24"/>
                  <a:gd name="T38" fmla="*/ 23 w 23"/>
                  <a:gd name="T39" fmla="*/ 6 h 24"/>
                  <a:gd name="T40" fmla="*/ 23 w 23"/>
                  <a:gd name="T41" fmla="*/ 6 h 24"/>
                  <a:gd name="T42" fmla="*/ 19 w 23"/>
                  <a:gd name="T43" fmla="*/ 11 h 24"/>
                  <a:gd name="T44" fmla="*/ 16 w 23"/>
                  <a:gd name="T45" fmla="*/ 13 h 24"/>
                  <a:gd name="T46" fmla="*/ 16 w 23"/>
                  <a:gd name="T47" fmla="*/ 13 h 24"/>
                  <a:gd name="T48" fmla="*/ 13 w 23"/>
                  <a:gd name="T49" fmla="*/ 19 h 24"/>
                  <a:gd name="T50" fmla="*/ 10 w 23"/>
                  <a:gd name="T51" fmla="*/ 22 h 24"/>
                  <a:gd name="T52" fmla="*/ 6 w 23"/>
                  <a:gd name="T5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" h="24">
                    <a:moveTo>
                      <a:pt x="6" y="24"/>
                    </a:moveTo>
                    <a:lnTo>
                      <a:pt x="6" y="24"/>
                    </a:lnTo>
                    <a:lnTo>
                      <a:pt x="3" y="24"/>
                    </a:lnTo>
                    <a:lnTo>
                      <a:pt x="1" y="22"/>
                    </a:lnTo>
                    <a:lnTo>
                      <a:pt x="0" y="19"/>
                    </a:lnTo>
                    <a:lnTo>
                      <a:pt x="1" y="16"/>
                    </a:lnTo>
                    <a:lnTo>
                      <a:pt x="1" y="16"/>
                    </a:lnTo>
                    <a:lnTo>
                      <a:pt x="4" y="15"/>
                    </a:lnTo>
                    <a:lnTo>
                      <a:pt x="7" y="13"/>
                    </a:lnTo>
                    <a:lnTo>
                      <a:pt x="9" y="12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3"/>
                    </a:lnTo>
                    <a:lnTo>
                      <a:pt x="11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9" y="2"/>
                    </a:lnTo>
                    <a:lnTo>
                      <a:pt x="22" y="3"/>
                    </a:lnTo>
                    <a:lnTo>
                      <a:pt x="23" y="6"/>
                    </a:lnTo>
                    <a:lnTo>
                      <a:pt x="23" y="6"/>
                    </a:lnTo>
                    <a:lnTo>
                      <a:pt x="19" y="11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3" y="19"/>
                    </a:lnTo>
                    <a:lnTo>
                      <a:pt x="10" y="22"/>
                    </a:lnTo>
                    <a:lnTo>
                      <a:pt x="6" y="2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91" name="Freeform 1347"/>
              <p:cNvSpPr>
                <a:spLocks/>
              </p:cNvSpPr>
              <p:nvPr/>
            </p:nvSpPr>
            <p:spPr bwMode="auto">
              <a:xfrm>
                <a:off x="3461061" y="4268806"/>
                <a:ext cx="22753" cy="23742"/>
              </a:xfrm>
              <a:custGeom>
                <a:avLst/>
                <a:gdLst>
                  <a:gd name="T0" fmla="*/ 6 w 23"/>
                  <a:gd name="T1" fmla="*/ 24 h 24"/>
                  <a:gd name="T2" fmla="*/ 6 w 23"/>
                  <a:gd name="T3" fmla="*/ 24 h 24"/>
                  <a:gd name="T4" fmla="*/ 3 w 23"/>
                  <a:gd name="T5" fmla="*/ 24 h 24"/>
                  <a:gd name="T6" fmla="*/ 1 w 23"/>
                  <a:gd name="T7" fmla="*/ 22 h 24"/>
                  <a:gd name="T8" fmla="*/ 0 w 23"/>
                  <a:gd name="T9" fmla="*/ 19 h 24"/>
                  <a:gd name="T10" fmla="*/ 1 w 23"/>
                  <a:gd name="T11" fmla="*/ 16 h 24"/>
                  <a:gd name="T12" fmla="*/ 1 w 23"/>
                  <a:gd name="T13" fmla="*/ 16 h 24"/>
                  <a:gd name="T14" fmla="*/ 4 w 23"/>
                  <a:gd name="T15" fmla="*/ 15 h 24"/>
                  <a:gd name="T16" fmla="*/ 7 w 23"/>
                  <a:gd name="T17" fmla="*/ 13 h 24"/>
                  <a:gd name="T18" fmla="*/ 9 w 23"/>
                  <a:gd name="T19" fmla="*/ 12 h 24"/>
                  <a:gd name="T20" fmla="*/ 10 w 23"/>
                  <a:gd name="T21" fmla="*/ 9 h 24"/>
                  <a:gd name="T22" fmla="*/ 10 w 23"/>
                  <a:gd name="T23" fmla="*/ 9 h 24"/>
                  <a:gd name="T24" fmla="*/ 10 w 23"/>
                  <a:gd name="T25" fmla="*/ 3 h 24"/>
                  <a:gd name="T26" fmla="*/ 11 w 23"/>
                  <a:gd name="T27" fmla="*/ 2 h 24"/>
                  <a:gd name="T28" fmla="*/ 13 w 23"/>
                  <a:gd name="T29" fmla="*/ 0 h 24"/>
                  <a:gd name="T30" fmla="*/ 13 w 23"/>
                  <a:gd name="T31" fmla="*/ 0 h 24"/>
                  <a:gd name="T32" fmla="*/ 16 w 23"/>
                  <a:gd name="T33" fmla="*/ 0 h 24"/>
                  <a:gd name="T34" fmla="*/ 19 w 23"/>
                  <a:gd name="T35" fmla="*/ 2 h 24"/>
                  <a:gd name="T36" fmla="*/ 22 w 23"/>
                  <a:gd name="T37" fmla="*/ 3 h 24"/>
                  <a:gd name="T38" fmla="*/ 23 w 23"/>
                  <a:gd name="T39" fmla="*/ 6 h 24"/>
                  <a:gd name="T40" fmla="*/ 23 w 23"/>
                  <a:gd name="T41" fmla="*/ 6 h 24"/>
                  <a:gd name="T42" fmla="*/ 19 w 23"/>
                  <a:gd name="T43" fmla="*/ 11 h 24"/>
                  <a:gd name="T44" fmla="*/ 16 w 23"/>
                  <a:gd name="T45" fmla="*/ 13 h 24"/>
                  <a:gd name="T46" fmla="*/ 16 w 23"/>
                  <a:gd name="T47" fmla="*/ 13 h 24"/>
                  <a:gd name="T48" fmla="*/ 13 w 23"/>
                  <a:gd name="T49" fmla="*/ 19 h 24"/>
                  <a:gd name="T50" fmla="*/ 10 w 23"/>
                  <a:gd name="T51" fmla="*/ 22 h 24"/>
                  <a:gd name="T52" fmla="*/ 6 w 23"/>
                  <a:gd name="T5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" h="24">
                    <a:moveTo>
                      <a:pt x="6" y="24"/>
                    </a:moveTo>
                    <a:lnTo>
                      <a:pt x="6" y="24"/>
                    </a:lnTo>
                    <a:lnTo>
                      <a:pt x="3" y="24"/>
                    </a:lnTo>
                    <a:lnTo>
                      <a:pt x="1" y="22"/>
                    </a:lnTo>
                    <a:lnTo>
                      <a:pt x="0" y="19"/>
                    </a:lnTo>
                    <a:lnTo>
                      <a:pt x="1" y="16"/>
                    </a:lnTo>
                    <a:lnTo>
                      <a:pt x="1" y="16"/>
                    </a:lnTo>
                    <a:lnTo>
                      <a:pt x="4" y="15"/>
                    </a:lnTo>
                    <a:lnTo>
                      <a:pt x="7" y="13"/>
                    </a:lnTo>
                    <a:lnTo>
                      <a:pt x="9" y="12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3"/>
                    </a:lnTo>
                    <a:lnTo>
                      <a:pt x="11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9" y="2"/>
                    </a:lnTo>
                    <a:lnTo>
                      <a:pt x="22" y="3"/>
                    </a:lnTo>
                    <a:lnTo>
                      <a:pt x="23" y="6"/>
                    </a:lnTo>
                    <a:lnTo>
                      <a:pt x="23" y="6"/>
                    </a:lnTo>
                    <a:lnTo>
                      <a:pt x="19" y="11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3" y="19"/>
                    </a:lnTo>
                    <a:lnTo>
                      <a:pt x="10" y="22"/>
                    </a:lnTo>
                    <a:lnTo>
                      <a:pt x="6" y="2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92" name="Freeform 1348"/>
              <p:cNvSpPr>
                <a:spLocks/>
              </p:cNvSpPr>
              <p:nvPr/>
            </p:nvSpPr>
            <p:spPr bwMode="auto">
              <a:xfrm>
                <a:off x="3228585" y="3028275"/>
                <a:ext cx="24731" cy="5936"/>
              </a:xfrm>
              <a:custGeom>
                <a:avLst/>
                <a:gdLst>
                  <a:gd name="T0" fmla="*/ 23 w 25"/>
                  <a:gd name="T1" fmla="*/ 6 h 6"/>
                  <a:gd name="T2" fmla="*/ 23 w 25"/>
                  <a:gd name="T3" fmla="*/ 6 h 6"/>
                  <a:gd name="T4" fmla="*/ 20 w 25"/>
                  <a:gd name="T5" fmla="*/ 6 h 6"/>
                  <a:gd name="T6" fmla="*/ 15 w 25"/>
                  <a:gd name="T7" fmla="*/ 6 h 6"/>
                  <a:gd name="T8" fmla="*/ 2 w 25"/>
                  <a:gd name="T9" fmla="*/ 3 h 6"/>
                  <a:gd name="T10" fmla="*/ 2 w 25"/>
                  <a:gd name="T11" fmla="*/ 3 h 6"/>
                  <a:gd name="T12" fmla="*/ 0 w 25"/>
                  <a:gd name="T13" fmla="*/ 1 h 6"/>
                  <a:gd name="T14" fmla="*/ 2 w 25"/>
                  <a:gd name="T15" fmla="*/ 0 h 6"/>
                  <a:gd name="T16" fmla="*/ 10 w 25"/>
                  <a:gd name="T17" fmla="*/ 0 h 6"/>
                  <a:gd name="T18" fmla="*/ 10 w 25"/>
                  <a:gd name="T19" fmla="*/ 0 h 6"/>
                  <a:gd name="T20" fmla="*/ 16 w 25"/>
                  <a:gd name="T21" fmla="*/ 0 h 6"/>
                  <a:gd name="T22" fmla="*/ 22 w 25"/>
                  <a:gd name="T23" fmla="*/ 1 h 6"/>
                  <a:gd name="T24" fmla="*/ 25 w 25"/>
                  <a:gd name="T25" fmla="*/ 3 h 6"/>
                  <a:gd name="T26" fmla="*/ 25 w 25"/>
                  <a:gd name="T27" fmla="*/ 4 h 6"/>
                  <a:gd name="T28" fmla="*/ 23 w 25"/>
                  <a:gd name="T2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" h="6">
                    <a:moveTo>
                      <a:pt x="23" y="6"/>
                    </a:moveTo>
                    <a:lnTo>
                      <a:pt x="23" y="6"/>
                    </a:lnTo>
                    <a:lnTo>
                      <a:pt x="20" y="6"/>
                    </a:lnTo>
                    <a:lnTo>
                      <a:pt x="15" y="6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22" y="1"/>
                    </a:lnTo>
                    <a:lnTo>
                      <a:pt x="25" y="3"/>
                    </a:lnTo>
                    <a:lnTo>
                      <a:pt x="25" y="4"/>
                    </a:lnTo>
                    <a:lnTo>
                      <a:pt x="23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93" name="Freeform 1349"/>
              <p:cNvSpPr>
                <a:spLocks/>
              </p:cNvSpPr>
              <p:nvPr/>
            </p:nvSpPr>
            <p:spPr bwMode="auto">
              <a:xfrm>
                <a:off x="3228585" y="3028275"/>
                <a:ext cx="24731" cy="5936"/>
              </a:xfrm>
              <a:custGeom>
                <a:avLst/>
                <a:gdLst>
                  <a:gd name="T0" fmla="*/ 23 w 25"/>
                  <a:gd name="T1" fmla="*/ 6 h 6"/>
                  <a:gd name="T2" fmla="*/ 23 w 25"/>
                  <a:gd name="T3" fmla="*/ 6 h 6"/>
                  <a:gd name="T4" fmla="*/ 20 w 25"/>
                  <a:gd name="T5" fmla="*/ 6 h 6"/>
                  <a:gd name="T6" fmla="*/ 15 w 25"/>
                  <a:gd name="T7" fmla="*/ 6 h 6"/>
                  <a:gd name="T8" fmla="*/ 2 w 25"/>
                  <a:gd name="T9" fmla="*/ 3 h 6"/>
                  <a:gd name="T10" fmla="*/ 2 w 25"/>
                  <a:gd name="T11" fmla="*/ 3 h 6"/>
                  <a:gd name="T12" fmla="*/ 0 w 25"/>
                  <a:gd name="T13" fmla="*/ 1 h 6"/>
                  <a:gd name="T14" fmla="*/ 2 w 25"/>
                  <a:gd name="T15" fmla="*/ 0 h 6"/>
                  <a:gd name="T16" fmla="*/ 10 w 25"/>
                  <a:gd name="T17" fmla="*/ 0 h 6"/>
                  <a:gd name="T18" fmla="*/ 10 w 25"/>
                  <a:gd name="T19" fmla="*/ 0 h 6"/>
                  <a:gd name="T20" fmla="*/ 16 w 25"/>
                  <a:gd name="T21" fmla="*/ 0 h 6"/>
                  <a:gd name="T22" fmla="*/ 22 w 25"/>
                  <a:gd name="T23" fmla="*/ 1 h 6"/>
                  <a:gd name="T24" fmla="*/ 25 w 25"/>
                  <a:gd name="T25" fmla="*/ 3 h 6"/>
                  <a:gd name="T26" fmla="*/ 25 w 25"/>
                  <a:gd name="T27" fmla="*/ 4 h 6"/>
                  <a:gd name="T28" fmla="*/ 23 w 25"/>
                  <a:gd name="T2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" h="6">
                    <a:moveTo>
                      <a:pt x="23" y="6"/>
                    </a:moveTo>
                    <a:lnTo>
                      <a:pt x="23" y="6"/>
                    </a:lnTo>
                    <a:lnTo>
                      <a:pt x="20" y="6"/>
                    </a:lnTo>
                    <a:lnTo>
                      <a:pt x="15" y="6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22" y="1"/>
                    </a:lnTo>
                    <a:lnTo>
                      <a:pt x="25" y="3"/>
                    </a:lnTo>
                    <a:lnTo>
                      <a:pt x="25" y="4"/>
                    </a:lnTo>
                    <a:lnTo>
                      <a:pt x="23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94" name="Freeform 1350"/>
              <p:cNvSpPr>
                <a:spLocks/>
              </p:cNvSpPr>
              <p:nvPr/>
            </p:nvSpPr>
            <p:spPr bwMode="auto">
              <a:xfrm>
                <a:off x="3339382" y="3029264"/>
                <a:ext cx="22753" cy="10882"/>
              </a:xfrm>
              <a:custGeom>
                <a:avLst/>
                <a:gdLst>
                  <a:gd name="T0" fmla="*/ 14 w 23"/>
                  <a:gd name="T1" fmla="*/ 9 h 11"/>
                  <a:gd name="T2" fmla="*/ 14 w 23"/>
                  <a:gd name="T3" fmla="*/ 9 h 11"/>
                  <a:gd name="T4" fmla="*/ 8 w 23"/>
                  <a:gd name="T5" fmla="*/ 11 h 11"/>
                  <a:gd name="T6" fmla="*/ 4 w 23"/>
                  <a:gd name="T7" fmla="*/ 11 h 11"/>
                  <a:gd name="T8" fmla="*/ 1 w 23"/>
                  <a:gd name="T9" fmla="*/ 9 h 11"/>
                  <a:gd name="T10" fmla="*/ 0 w 23"/>
                  <a:gd name="T11" fmla="*/ 6 h 11"/>
                  <a:gd name="T12" fmla="*/ 0 w 23"/>
                  <a:gd name="T13" fmla="*/ 6 h 11"/>
                  <a:gd name="T14" fmla="*/ 0 w 23"/>
                  <a:gd name="T15" fmla="*/ 3 h 11"/>
                  <a:gd name="T16" fmla="*/ 1 w 23"/>
                  <a:gd name="T17" fmla="*/ 2 h 11"/>
                  <a:gd name="T18" fmla="*/ 4 w 23"/>
                  <a:gd name="T19" fmla="*/ 2 h 11"/>
                  <a:gd name="T20" fmla="*/ 10 w 23"/>
                  <a:gd name="T21" fmla="*/ 0 h 11"/>
                  <a:gd name="T22" fmla="*/ 10 w 23"/>
                  <a:gd name="T23" fmla="*/ 0 h 11"/>
                  <a:gd name="T24" fmla="*/ 17 w 23"/>
                  <a:gd name="T25" fmla="*/ 0 h 11"/>
                  <a:gd name="T26" fmla="*/ 23 w 23"/>
                  <a:gd name="T27" fmla="*/ 2 h 11"/>
                  <a:gd name="T28" fmla="*/ 23 w 23"/>
                  <a:gd name="T29" fmla="*/ 2 h 11"/>
                  <a:gd name="T30" fmla="*/ 23 w 23"/>
                  <a:gd name="T31" fmla="*/ 3 h 11"/>
                  <a:gd name="T32" fmla="*/ 14 w 23"/>
                  <a:gd name="T33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11">
                    <a:moveTo>
                      <a:pt x="14" y="9"/>
                    </a:moveTo>
                    <a:lnTo>
                      <a:pt x="14" y="9"/>
                    </a:lnTo>
                    <a:lnTo>
                      <a:pt x="8" y="11"/>
                    </a:lnTo>
                    <a:lnTo>
                      <a:pt x="4" y="11"/>
                    </a:lnTo>
                    <a:lnTo>
                      <a:pt x="1" y="9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7" y="0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3" y="3"/>
                    </a:lnTo>
                    <a:lnTo>
                      <a:pt x="14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95" name="Freeform 1351"/>
              <p:cNvSpPr>
                <a:spLocks/>
              </p:cNvSpPr>
              <p:nvPr/>
            </p:nvSpPr>
            <p:spPr bwMode="auto">
              <a:xfrm>
                <a:off x="3339382" y="3029264"/>
                <a:ext cx="22753" cy="10882"/>
              </a:xfrm>
              <a:custGeom>
                <a:avLst/>
                <a:gdLst>
                  <a:gd name="T0" fmla="*/ 14 w 23"/>
                  <a:gd name="T1" fmla="*/ 9 h 11"/>
                  <a:gd name="T2" fmla="*/ 14 w 23"/>
                  <a:gd name="T3" fmla="*/ 9 h 11"/>
                  <a:gd name="T4" fmla="*/ 8 w 23"/>
                  <a:gd name="T5" fmla="*/ 11 h 11"/>
                  <a:gd name="T6" fmla="*/ 4 w 23"/>
                  <a:gd name="T7" fmla="*/ 11 h 11"/>
                  <a:gd name="T8" fmla="*/ 1 w 23"/>
                  <a:gd name="T9" fmla="*/ 9 h 11"/>
                  <a:gd name="T10" fmla="*/ 0 w 23"/>
                  <a:gd name="T11" fmla="*/ 6 h 11"/>
                  <a:gd name="T12" fmla="*/ 0 w 23"/>
                  <a:gd name="T13" fmla="*/ 6 h 11"/>
                  <a:gd name="T14" fmla="*/ 0 w 23"/>
                  <a:gd name="T15" fmla="*/ 3 h 11"/>
                  <a:gd name="T16" fmla="*/ 1 w 23"/>
                  <a:gd name="T17" fmla="*/ 2 h 11"/>
                  <a:gd name="T18" fmla="*/ 4 w 23"/>
                  <a:gd name="T19" fmla="*/ 2 h 11"/>
                  <a:gd name="T20" fmla="*/ 10 w 23"/>
                  <a:gd name="T21" fmla="*/ 0 h 11"/>
                  <a:gd name="T22" fmla="*/ 10 w 23"/>
                  <a:gd name="T23" fmla="*/ 0 h 11"/>
                  <a:gd name="T24" fmla="*/ 17 w 23"/>
                  <a:gd name="T25" fmla="*/ 0 h 11"/>
                  <a:gd name="T26" fmla="*/ 23 w 23"/>
                  <a:gd name="T27" fmla="*/ 2 h 11"/>
                  <a:gd name="T28" fmla="*/ 23 w 23"/>
                  <a:gd name="T29" fmla="*/ 2 h 11"/>
                  <a:gd name="T30" fmla="*/ 23 w 23"/>
                  <a:gd name="T31" fmla="*/ 3 h 11"/>
                  <a:gd name="T32" fmla="*/ 14 w 23"/>
                  <a:gd name="T33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11">
                    <a:moveTo>
                      <a:pt x="14" y="9"/>
                    </a:moveTo>
                    <a:lnTo>
                      <a:pt x="14" y="9"/>
                    </a:lnTo>
                    <a:lnTo>
                      <a:pt x="8" y="11"/>
                    </a:lnTo>
                    <a:lnTo>
                      <a:pt x="4" y="11"/>
                    </a:lnTo>
                    <a:lnTo>
                      <a:pt x="1" y="9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7" y="0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3" y="3"/>
                    </a:lnTo>
                    <a:lnTo>
                      <a:pt x="14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96" name="Freeform 1352"/>
              <p:cNvSpPr>
                <a:spLocks/>
              </p:cNvSpPr>
              <p:nvPr/>
            </p:nvSpPr>
            <p:spPr bwMode="auto">
              <a:xfrm>
                <a:off x="3403684" y="3041135"/>
                <a:ext cx="3957" cy="5936"/>
              </a:xfrm>
              <a:custGeom>
                <a:avLst/>
                <a:gdLst>
                  <a:gd name="T0" fmla="*/ 4 w 4"/>
                  <a:gd name="T1" fmla="*/ 4 h 6"/>
                  <a:gd name="T2" fmla="*/ 4 w 4"/>
                  <a:gd name="T3" fmla="*/ 4 h 6"/>
                  <a:gd name="T4" fmla="*/ 3 w 4"/>
                  <a:gd name="T5" fmla="*/ 6 h 6"/>
                  <a:gd name="T6" fmla="*/ 1 w 4"/>
                  <a:gd name="T7" fmla="*/ 4 h 6"/>
                  <a:gd name="T8" fmla="*/ 0 w 4"/>
                  <a:gd name="T9" fmla="*/ 3 h 6"/>
                  <a:gd name="T10" fmla="*/ 1 w 4"/>
                  <a:gd name="T11" fmla="*/ 0 h 6"/>
                  <a:gd name="T12" fmla="*/ 1 w 4"/>
                  <a:gd name="T13" fmla="*/ 0 h 6"/>
                  <a:gd name="T14" fmla="*/ 3 w 4"/>
                  <a:gd name="T15" fmla="*/ 0 h 6"/>
                  <a:gd name="T16" fmla="*/ 4 w 4"/>
                  <a:gd name="T17" fmla="*/ 1 h 6"/>
                  <a:gd name="T18" fmla="*/ 4 w 4"/>
                  <a:gd name="T19" fmla="*/ 3 h 6"/>
                  <a:gd name="T20" fmla="*/ 4 w 4"/>
                  <a:gd name="T2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6">
                    <a:moveTo>
                      <a:pt x="4" y="4"/>
                    </a:moveTo>
                    <a:lnTo>
                      <a:pt x="4" y="4"/>
                    </a:lnTo>
                    <a:lnTo>
                      <a:pt x="3" y="6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97" name="Freeform 1353"/>
              <p:cNvSpPr>
                <a:spLocks/>
              </p:cNvSpPr>
              <p:nvPr/>
            </p:nvSpPr>
            <p:spPr bwMode="auto">
              <a:xfrm>
                <a:off x="3403684" y="3041135"/>
                <a:ext cx="3957" cy="5936"/>
              </a:xfrm>
              <a:custGeom>
                <a:avLst/>
                <a:gdLst>
                  <a:gd name="T0" fmla="*/ 4 w 4"/>
                  <a:gd name="T1" fmla="*/ 4 h 6"/>
                  <a:gd name="T2" fmla="*/ 4 w 4"/>
                  <a:gd name="T3" fmla="*/ 4 h 6"/>
                  <a:gd name="T4" fmla="*/ 3 w 4"/>
                  <a:gd name="T5" fmla="*/ 6 h 6"/>
                  <a:gd name="T6" fmla="*/ 1 w 4"/>
                  <a:gd name="T7" fmla="*/ 4 h 6"/>
                  <a:gd name="T8" fmla="*/ 0 w 4"/>
                  <a:gd name="T9" fmla="*/ 3 h 6"/>
                  <a:gd name="T10" fmla="*/ 1 w 4"/>
                  <a:gd name="T11" fmla="*/ 0 h 6"/>
                  <a:gd name="T12" fmla="*/ 1 w 4"/>
                  <a:gd name="T13" fmla="*/ 0 h 6"/>
                  <a:gd name="T14" fmla="*/ 3 w 4"/>
                  <a:gd name="T15" fmla="*/ 0 h 6"/>
                  <a:gd name="T16" fmla="*/ 4 w 4"/>
                  <a:gd name="T17" fmla="*/ 1 h 6"/>
                  <a:gd name="T18" fmla="*/ 4 w 4"/>
                  <a:gd name="T19" fmla="*/ 3 h 6"/>
                  <a:gd name="T20" fmla="*/ 4 w 4"/>
                  <a:gd name="T2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6">
                    <a:moveTo>
                      <a:pt x="4" y="4"/>
                    </a:moveTo>
                    <a:lnTo>
                      <a:pt x="4" y="4"/>
                    </a:lnTo>
                    <a:lnTo>
                      <a:pt x="3" y="6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98" name="Freeform 1354"/>
              <p:cNvSpPr>
                <a:spLocks/>
              </p:cNvSpPr>
              <p:nvPr/>
            </p:nvSpPr>
            <p:spPr bwMode="auto">
              <a:xfrm>
                <a:off x="3420501" y="3050038"/>
                <a:ext cx="5936" cy="3957"/>
              </a:xfrm>
              <a:custGeom>
                <a:avLst/>
                <a:gdLst>
                  <a:gd name="T0" fmla="*/ 2 w 6"/>
                  <a:gd name="T1" fmla="*/ 4 h 4"/>
                  <a:gd name="T2" fmla="*/ 2 w 6"/>
                  <a:gd name="T3" fmla="*/ 4 h 4"/>
                  <a:gd name="T4" fmla="*/ 0 w 6"/>
                  <a:gd name="T5" fmla="*/ 3 h 4"/>
                  <a:gd name="T6" fmla="*/ 0 w 6"/>
                  <a:gd name="T7" fmla="*/ 1 h 4"/>
                  <a:gd name="T8" fmla="*/ 3 w 6"/>
                  <a:gd name="T9" fmla="*/ 0 h 4"/>
                  <a:gd name="T10" fmla="*/ 6 w 6"/>
                  <a:gd name="T11" fmla="*/ 0 h 4"/>
                  <a:gd name="T12" fmla="*/ 6 w 6"/>
                  <a:gd name="T13" fmla="*/ 0 h 4"/>
                  <a:gd name="T14" fmla="*/ 6 w 6"/>
                  <a:gd name="T15" fmla="*/ 1 h 4"/>
                  <a:gd name="T16" fmla="*/ 5 w 6"/>
                  <a:gd name="T17" fmla="*/ 3 h 4"/>
                  <a:gd name="T18" fmla="*/ 2 w 6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4">
                    <a:moveTo>
                      <a:pt x="2" y="4"/>
                    </a:moveTo>
                    <a:lnTo>
                      <a:pt x="2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1"/>
                    </a:lnTo>
                    <a:lnTo>
                      <a:pt x="5" y="3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99" name="Freeform 1355"/>
              <p:cNvSpPr>
                <a:spLocks/>
              </p:cNvSpPr>
              <p:nvPr/>
            </p:nvSpPr>
            <p:spPr bwMode="auto">
              <a:xfrm>
                <a:off x="3420501" y="3050038"/>
                <a:ext cx="5936" cy="3957"/>
              </a:xfrm>
              <a:custGeom>
                <a:avLst/>
                <a:gdLst>
                  <a:gd name="T0" fmla="*/ 2 w 6"/>
                  <a:gd name="T1" fmla="*/ 4 h 4"/>
                  <a:gd name="T2" fmla="*/ 2 w 6"/>
                  <a:gd name="T3" fmla="*/ 4 h 4"/>
                  <a:gd name="T4" fmla="*/ 0 w 6"/>
                  <a:gd name="T5" fmla="*/ 3 h 4"/>
                  <a:gd name="T6" fmla="*/ 0 w 6"/>
                  <a:gd name="T7" fmla="*/ 1 h 4"/>
                  <a:gd name="T8" fmla="*/ 3 w 6"/>
                  <a:gd name="T9" fmla="*/ 0 h 4"/>
                  <a:gd name="T10" fmla="*/ 6 w 6"/>
                  <a:gd name="T11" fmla="*/ 0 h 4"/>
                  <a:gd name="T12" fmla="*/ 6 w 6"/>
                  <a:gd name="T13" fmla="*/ 0 h 4"/>
                  <a:gd name="T14" fmla="*/ 6 w 6"/>
                  <a:gd name="T15" fmla="*/ 1 h 4"/>
                  <a:gd name="T16" fmla="*/ 5 w 6"/>
                  <a:gd name="T17" fmla="*/ 3 h 4"/>
                  <a:gd name="T18" fmla="*/ 2 w 6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4">
                    <a:moveTo>
                      <a:pt x="2" y="4"/>
                    </a:moveTo>
                    <a:lnTo>
                      <a:pt x="2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1"/>
                    </a:lnTo>
                    <a:lnTo>
                      <a:pt x="5" y="3"/>
                    </a:lnTo>
                    <a:lnTo>
                      <a:pt x="2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00" name="Freeform 1356"/>
              <p:cNvSpPr>
                <a:spLocks/>
              </p:cNvSpPr>
              <p:nvPr/>
            </p:nvSpPr>
            <p:spPr bwMode="auto">
              <a:xfrm>
                <a:off x="3429404" y="3078727"/>
                <a:ext cx="2968" cy="3957"/>
              </a:xfrm>
              <a:custGeom>
                <a:avLst/>
                <a:gdLst>
                  <a:gd name="T0" fmla="*/ 3 w 3"/>
                  <a:gd name="T1" fmla="*/ 4 h 4"/>
                  <a:gd name="T2" fmla="*/ 3 w 3"/>
                  <a:gd name="T3" fmla="*/ 4 h 4"/>
                  <a:gd name="T4" fmla="*/ 1 w 3"/>
                  <a:gd name="T5" fmla="*/ 4 h 4"/>
                  <a:gd name="T6" fmla="*/ 0 w 3"/>
                  <a:gd name="T7" fmla="*/ 3 h 4"/>
                  <a:gd name="T8" fmla="*/ 1 w 3"/>
                  <a:gd name="T9" fmla="*/ 1 h 4"/>
                  <a:gd name="T10" fmla="*/ 1 w 3"/>
                  <a:gd name="T11" fmla="*/ 0 h 4"/>
                  <a:gd name="T12" fmla="*/ 1 w 3"/>
                  <a:gd name="T13" fmla="*/ 0 h 4"/>
                  <a:gd name="T14" fmla="*/ 3 w 3"/>
                  <a:gd name="T15" fmla="*/ 0 h 4"/>
                  <a:gd name="T16" fmla="*/ 3 w 3"/>
                  <a:gd name="T17" fmla="*/ 0 h 4"/>
                  <a:gd name="T18" fmla="*/ 3 w 3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3" y="4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01" name="Freeform 1357"/>
              <p:cNvSpPr>
                <a:spLocks/>
              </p:cNvSpPr>
              <p:nvPr/>
            </p:nvSpPr>
            <p:spPr bwMode="auto">
              <a:xfrm>
                <a:off x="3429404" y="3078727"/>
                <a:ext cx="2968" cy="3957"/>
              </a:xfrm>
              <a:custGeom>
                <a:avLst/>
                <a:gdLst>
                  <a:gd name="T0" fmla="*/ 3 w 3"/>
                  <a:gd name="T1" fmla="*/ 4 h 4"/>
                  <a:gd name="T2" fmla="*/ 3 w 3"/>
                  <a:gd name="T3" fmla="*/ 4 h 4"/>
                  <a:gd name="T4" fmla="*/ 1 w 3"/>
                  <a:gd name="T5" fmla="*/ 4 h 4"/>
                  <a:gd name="T6" fmla="*/ 0 w 3"/>
                  <a:gd name="T7" fmla="*/ 3 h 4"/>
                  <a:gd name="T8" fmla="*/ 1 w 3"/>
                  <a:gd name="T9" fmla="*/ 1 h 4"/>
                  <a:gd name="T10" fmla="*/ 1 w 3"/>
                  <a:gd name="T11" fmla="*/ 0 h 4"/>
                  <a:gd name="T12" fmla="*/ 1 w 3"/>
                  <a:gd name="T13" fmla="*/ 0 h 4"/>
                  <a:gd name="T14" fmla="*/ 3 w 3"/>
                  <a:gd name="T15" fmla="*/ 0 h 4"/>
                  <a:gd name="T16" fmla="*/ 3 w 3"/>
                  <a:gd name="T17" fmla="*/ 0 h 4"/>
                  <a:gd name="T18" fmla="*/ 3 w 3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3" y="4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02" name="Freeform 1358"/>
              <p:cNvSpPr>
                <a:spLocks/>
              </p:cNvSpPr>
              <p:nvPr/>
            </p:nvSpPr>
            <p:spPr bwMode="auto">
              <a:xfrm>
                <a:off x="3430394" y="3112362"/>
                <a:ext cx="5936" cy="4946"/>
              </a:xfrm>
              <a:custGeom>
                <a:avLst/>
                <a:gdLst>
                  <a:gd name="T0" fmla="*/ 3 w 6"/>
                  <a:gd name="T1" fmla="*/ 5 h 5"/>
                  <a:gd name="T2" fmla="*/ 3 w 6"/>
                  <a:gd name="T3" fmla="*/ 5 h 5"/>
                  <a:gd name="T4" fmla="*/ 2 w 6"/>
                  <a:gd name="T5" fmla="*/ 5 h 5"/>
                  <a:gd name="T6" fmla="*/ 0 w 6"/>
                  <a:gd name="T7" fmla="*/ 3 h 5"/>
                  <a:gd name="T8" fmla="*/ 0 w 6"/>
                  <a:gd name="T9" fmla="*/ 2 h 5"/>
                  <a:gd name="T10" fmla="*/ 2 w 6"/>
                  <a:gd name="T11" fmla="*/ 0 h 5"/>
                  <a:gd name="T12" fmla="*/ 2 w 6"/>
                  <a:gd name="T13" fmla="*/ 0 h 5"/>
                  <a:gd name="T14" fmla="*/ 5 w 6"/>
                  <a:gd name="T15" fmla="*/ 0 h 5"/>
                  <a:gd name="T16" fmla="*/ 6 w 6"/>
                  <a:gd name="T17" fmla="*/ 2 h 5"/>
                  <a:gd name="T18" fmla="*/ 6 w 6"/>
                  <a:gd name="T19" fmla="*/ 3 h 5"/>
                  <a:gd name="T20" fmla="*/ 3 w 6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5">
                    <a:moveTo>
                      <a:pt x="3" y="5"/>
                    </a:moveTo>
                    <a:lnTo>
                      <a:pt x="3" y="5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6" y="2"/>
                    </a:lnTo>
                    <a:lnTo>
                      <a:pt x="6" y="3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03" name="Freeform 1359"/>
              <p:cNvSpPr>
                <a:spLocks/>
              </p:cNvSpPr>
              <p:nvPr/>
            </p:nvSpPr>
            <p:spPr bwMode="auto">
              <a:xfrm>
                <a:off x="3430394" y="3112362"/>
                <a:ext cx="5936" cy="4946"/>
              </a:xfrm>
              <a:custGeom>
                <a:avLst/>
                <a:gdLst>
                  <a:gd name="T0" fmla="*/ 3 w 6"/>
                  <a:gd name="T1" fmla="*/ 5 h 5"/>
                  <a:gd name="T2" fmla="*/ 3 w 6"/>
                  <a:gd name="T3" fmla="*/ 5 h 5"/>
                  <a:gd name="T4" fmla="*/ 2 w 6"/>
                  <a:gd name="T5" fmla="*/ 5 h 5"/>
                  <a:gd name="T6" fmla="*/ 0 w 6"/>
                  <a:gd name="T7" fmla="*/ 3 h 5"/>
                  <a:gd name="T8" fmla="*/ 0 w 6"/>
                  <a:gd name="T9" fmla="*/ 2 h 5"/>
                  <a:gd name="T10" fmla="*/ 2 w 6"/>
                  <a:gd name="T11" fmla="*/ 0 h 5"/>
                  <a:gd name="T12" fmla="*/ 2 w 6"/>
                  <a:gd name="T13" fmla="*/ 0 h 5"/>
                  <a:gd name="T14" fmla="*/ 5 w 6"/>
                  <a:gd name="T15" fmla="*/ 0 h 5"/>
                  <a:gd name="T16" fmla="*/ 6 w 6"/>
                  <a:gd name="T17" fmla="*/ 2 h 5"/>
                  <a:gd name="T18" fmla="*/ 6 w 6"/>
                  <a:gd name="T19" fmla="*/ 3 h 5"/>
                  <a:gd name="T20" fmla="*/ 3 w 6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5">
                    <a:moveTo>
                      <a:pt x="3" y="5"/>
                    </a:moveTo>
                    <a:lnTo>
                      <a:pt x="3" y="5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6" y="2"/>
                    </a:lnTo>
                    <a:lnTo>
                      <a:pt x="6" y="3"/>
                    </a:lnTo>
                    <a:lnTo>
                      <a:pt x="3" y="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04" name="Freeform 1360"/>
              <p:cNvSpPr>
                <a:spLocks/>
              </p:cNvSpPr>
              <p:nvPr/>
            </p:nvSpPr>
            <p:spPr bwMode="auto">
              <a:xfrm>
                <a:off x="3430394" y="3101480"/>
                <a:ext cx="4946" cy="3957"/>
              </a:xfrm>
              <a:custGeom>
                <a:avLst/>
                <a:gdLst>
                  <a:gd name="T0" fmla="*/ 2 w 5"/>
                  <a:gd name="T1" fmla="*/ 4 h 4"/>
                  <a:gd name="T2" fmla="*/ 2 w 5"/>
                  <a:gd name="T3" fmla="*/ 4 h 4"/>
                  <a:gd name="T4" fmla="*/ 0 w 5"/>
                  <a:gd name="T5" fmla="*/ 4 h 4"/>
                  <a:gd name="T6" fmla="*/ 0 w 5"/>
                  <a:gd name="T7" fmla="*/ 3 h 4"/>
                  <a:gd name="T8" fmla="*/ 0 w 5"/>
                  <a:gd name="T9" fmla="*/ 1 h 4"/>
                  <a:gd name="T10" fmla="*/ 2 w 5"/>
                  <a:gd name="T11" fmla="*/ 0 h 4"/>
                  <a:gd name="T12" fmla="*/ 2 w 5"/>
                  <a:gd name="T13" fmla="*/ 0 h 4"/>
                  <a:gd name="T14" fmla="*/ 5 w 5"/>
                  <a:gd name="T15" fmla="*/ 1 h 4"/>
                  <a:gd name="T16" fmla="*/ 5 w 5"/>
                  <a:gd name="T17" fmla="*/ 3 h 4"/>
                  <a:gd name="T18" fmla="*/ 5 w 5"/>
                  <a:gd name="T19" fmla="*/ 4 h 4"/>
                  <a:gd name="T20" fmla="*/ 2 w 5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2" y="4"/>
                    </a:moveTo>
                    <a:lnTo>
                      <a:pt x="2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5" y="1"/>
                    </a:lnTo>
                    <a:lnTo>
                      <a:pt x="5" y="3"/>
                    </a:lnTo>
                    <a:lnTo>
                      <a:pt x="5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05" name="Freeform 1361"/>
              <p:cNvSpPr>
                <a:spLocks/>
              </p:cNvSpPr>
              <p:nvPr/>
            </p:nvSpPr>
            <p:spPr bwMode="auto">
              <a:xfrm>
                <a:off x="3430394" y="3101480"/>
                <a:ext cx="4946" cy="3957"/>
              </a:xfrm>
              <a:custGeom>
                <a:avLst/>
                <a:gdLst>
                  <a:gd name="T0" fmla="*/ 2 w 5"/>
                  <a:gd name="T1" fmla="*/ 4 h 4"/>
                  <a:gd name="T2" fmla="*/ 2 w 5"/>
                  <a:gd name="T3" fmla="*/ 4 h 4"/>
                  <a:gd name="T4" fmla="*/ 0 w 5"/>
                  <a:gd name="T5" fmla="*/ 4 h 4"/>
                  <a:gd name="T6" fmla="*/ 0 w 5"/>
                  <a:gd name="T7" fmla="*/ 3 h 4"/>
                  <a:gd name="T8" fmla="*/ 0 w 5"/>
                  <a:gd name="T9" fmla="*/ 1 h 4"/>
                  <a:gd name="T10" fmla="*/ 2 w 5"/>
                  <a:gd name="T11" fmla="*/ 0 h 4"/>
                  <a:gd name="T12" fmla="*/ 2 w 5"/>
                  <a:gd name="T13" fmla="*/ 0 h 4"/>
                  <a:gd name="T14" fmla="*/ 5 w 5"/>
                  <a:gd name="T15" fmla="*/ 1 h 4"/>
                  <a:gd name="T16" fmla="*/ 5 w 5"/>
                  <a:gd name="T17" fmla="*/ 3 h 4"/>
                  <a:gd name="T18" fmla="*/ 5 w 5"/>
                  <a:gd name="T19" fmla="*/ 4 h 4"/>
                  <a:gd name="T20" fmla="*/ 2 w 5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2" y="4"/>
                    </a:moveTo>
                    <a:lnTo>
                      <a:pt x="2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5" y="1"/>
                    </a:lnTo>
                    <a:lnTo>
                      <a:pt x="5" y="3"/>
                    </a:lnTo>
                    <a:lnTo>
                      <a:pt x="5" y="4"/>
                    </a:lnTo>
                    <a:lnTo>
                      <a:pt x="2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06" name="Freeform 1362"/>
              <p:cNvSpPr>
                <a:spLocks/>
              </p:cNvSpPr>
              <p:nvPr/>
            </p:nvSpPr>
            <p:spPr bwMode="auto">
              <a:xfrm>
                <a:off x="3422480" y="3131157"/>
                <a:ext cx="5936" cy="5936"/>
              </a:xfrm>
              <a:custGeom>
                <a:avLst/>
                <a:gdLst>
                  <a:gd name="T0" fmla="*/ 4 w 6"/>
                  <a:gd name="T1" fmla="*/ 5 h 6"/>
                  <a:gd name="T2" fmla="*/ 4 w 6"/>
                  <a:gd name="T3" fmla="*/ 5 h 6"/>
                  <a:gd name="T4" fmla="*/ 3 w 6"/>
                  <a:gd name="T5" fmla="*/ 6 h 6"/>
                  <a:gd name="T6" fmla="*/ 1 w 6"/>
                  <a:gd name="T7" fmla="*/ 5 h 6"/>
                  <a:gd name="T8" fmla="*/ 0 w 6"/>
                  <a:gd name="T9" fmla="*/ 3 h 6"/>
                  <a:gd name="T10" fmla="*/ 0 w 6"/>
                  <a:gd name="T11" fmla="*/ 2 h 6"/>
                  <a:gd name="T12" fmla="*/ 0 w 6"/>
                  <a:gd name="T13" fmla="*/ 2 h 6"/>
                  <a:gd name="T14" fmla="*/ 3 w 6"/>
                  <a:gd name="T15" fmla="*/ 0 h 6"/>
                  <a:gd name="T16" fmla="*/ 4 w 6"/>
                  <a:gd name="T17" fmla="*/ 0 h 6"/>
                  <a:gd name="T18" fmla="*/ 6 w 6"/>
                  <a:gd name="T19" fmla="*/ 2 h 6"/>
                  <a:gd name="T20" fmla="*/ 4 w 6"/>
                  <a:gd name="T21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4" y="5"/>
                    </a:moveTo>
                    <a:lnTo>
                      <a:pt x="4" y="5"/>
                    </a:lnTo>
                    <a:lnTo>
                      <a:pt x="3" y="6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07" name="Freeform 1363"/>
              <p:cNvSpPr>
                <a:spLocks/>
              </p:cNvSpPr>
              <p:nvPr/>
            </p:nvSpPr>
            <p:spPr bwMode="auto">
              <a:xfrm>
                <a:off x="3422480" y="3131157"/>
                <a:ext cx="5936" cy="5936"/>
              </a:xfrm>
              <a:custGeom>
                <a:avLst/>
                <a:gdLst>
                  <a:gd name="T0" fmla="*/ 4 w 6"/>
                  <a:gd name="T1" fmla="*/ 5 h 6"/>
                  <a:gd name="T2" fmla="*/ 4 w 6"/>
                  <a:gd name="T3" fmla="*/ 5 h 6"/>
                  <a:gd name="T4" fmla="*/ 3 w 6"/>
                  <a:gd name="T5" fmla="*/ 6 h 6"/>
                  <a:gd name="T6" fmla="*/ 1 w 6"/>
                  <a:gd name="T7" fmla="*/ 5 h 6"/>
                  <a:gd name="T8" fmla="*/ 0 w 6"/>
                  <a:gd name="T9" fmla="*/ 3 h 6"/>
                  <a:gd name="T10" fmla="*/ 0 w 6"/>
                  <a:gd name="T11" fmla="*/ 2 h 6"/>
                  <a:gd name="T12" fmla="*/ 0 w 6"/>
                  <a:gd name="T13" fmla="*/ 2 h 6"/>
                  <a:gd name="T14" fmla="*/ 3 w 6"/>
                  <a:gd name="T15" fmla="*/ 0 h 6"/>
                  <a:gd name="T16" fmla="*/ 4 w 6"/>
                  <a:gd name="T17" fmla="*/ 0 h 6"/>
                  <a:gd name="T18" fmla="*/ 6 w 6"/>
                  <a:gd name="T19" fmla="*/ 2 h 6"/>
                  <a:gd name="T20" fmla="*/ 4 w 6"/>
                  <a:gd name="T21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4" y="5"/>
                    </a:moveTo>
                    <a:lnTo>
                      <a:pt x="4" y="5"/>
                    </a:lnTo>
                    <a:lnTo>
                      <a:pt x="3" y="6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08" name="Freeform 1364"/>
              <p:cNvSpPr>
                <a:spLocks/>
              </p:cNvSpPr>
              <p:nvPr/>
            </p:nvSpPr>
            <p:spPr bwMode="auto">
              <a:xfrm>
                <a:off x="3456115" y="3111372"/>
                <a:ext cx="7914" cy="6925"/>
              </a:xfrm>
              <a:custGeom>
                <a:avLst/>
                <a:gdLst>
                  <a:gd name="T0" fmla="*/ 6 w 8"/>
                  <a:gd name="T1" fmla="*/ 6 h 7"/>
                  <a:gd name="T2" fmla="*/ 6 w 8"/>
                  <a:gd name="T3" fmla="*/ 6 h 7"/>
                  <a:gd name="T4" fmla="*/ 5 w 8"/>
                  <a:gd name="T5" fmla="*/ 7 h 7"/>
                  <a:gd name="T6" fmla="*/ 2 w 8"/>
                  <a:gd name="T7" fmla="*/ 6 h 7"/>
                  <a:gd name="T8" fmla="*/ 0 w 8"/>
                  <a:gd name="T9" fmla="*/ 4 h 7"/>
                  <a:gd name="T10" fmla="*/ 2 w 8"/>
                  <a:gd name="T11" fmla="*/ 1 h 7"/>
                  <a:gd name="T12" fmla="*/ 2 w 8"/>
                  <a:gd name="T13" fmla="*/ 1 h 7"/>
                  <a:gd name="T14" fmla="*/ 5 w 8"/>
                  <a:gd name="T15" fmla="*/ 0 h 7"/>
                  <a:gd name="T16" fmla="*/ 8 w 8"/>
                  <a:gd name="T17" fmla="*/ 0 h 7"/>
                  <a:gd name="T18" fmla="*/ 8 w 8"/>
                  <a:gd name="T19" fmla="*/ 1 h 7"/>
                  <a:gd name="T20" fmla="*/ 6 w 8"/>
                  <a:gd name="T21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7">
                    <a:moveTo>
                      <a:pt x="6" y="6"/>
                    </a:moveTo>
                    <a:lnTo>
                      <a:pt x="6" y="6"/>
                    </a:lnTo>
                    <a:lnTo>
                      <a:pt x="5" y="7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8" y="1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09" name="Freeform 1365"/>
              <p:cNvSpPr>
                <a:spLocks/>
              </p:cNvSpPr>
              <p:nvPr/>
            </p:nvSpPr>
            <p:spPr bwMode="auto">
              <a:xfrm>
                <a:off x="3456115" y="3111372"/>
                <a:ext cx="7914" cy="6925"/>
              </a:xfrm>
              <a:custGeom>
                <a:avLst/>
                <a:gdLst>
                  <a:gd name="T0" fmla="*/ 6 w 8"/>
                  <a:gd name="T1" fmla="*/ 6 h 7"/>
                  <a:gd name="T2" fmla="*/ 6 w 8"/>
                  <a:gd name="T3" fmla="*/ 6 h 7"/>
                  <a:gd name="T4" fmla="*/ 5 w 8"/>
                  <a:gd name="T5" fmla="*/ 7 h 7"/>
                  <a:gd name="T6" fmla="*/ 2 w 8"/>
                  <a:gd name="T7" fmla="*/ 6 h 7"/>
                  <a:gd name="T8" fmla="*/ 0 w 8"/>
                  <a:gd name="T9" fmla="*/ 4 h 7"/>
                  <a:gd name="T10" fmla="*/ 2 w 8"/>
                  <a:gd name="T11" fmla="*/ 1 h 7"/>
                  <a:gd name="T12" fmla="*/ 2 w 8"/>
                  <a:gd name="T13" fmla="*/ 1 h 7"/>
                  <a:gd name="T14" fmla="*/ 5 w 8"/>
                  <a:gd name="T15" fmla="*/ 0 h 7"/>
                  <a:gd name="T16" fmla="*/ 8 w 8"/>
                  <a:gd name="T17" fmla="*/ 0 h 7"/>
                  <a:gd name="T18" fmla="*/ 8 w 8"/>
                  <a:gd name="T19" fmla="*/ 1 h 7"/>
                  <a:gd name="T20" fmla="*/ 6 w 8"/>
                  <a:gd name="T21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7">
                    <a:moveTo>
                      <a:pt x="6" y="6"/>
                    </a:moveTo>
                    <a:lnTo>
                      <a:pt x="6" y="6"/>
                    </a:lnTo>
                    <a:lnTo>
                      <a:pt x="5" y="7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8" y="1"/>
                    </a:lnTo>
                    <a:lnTo>
                      <a:pt x="6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10" name="Freeform 1366"/>
              <p:cNvSpPr>
                <a:spLocks/>
              </p:cNvSpPr>
              <p:nvPr/>
            </p:nvSpPr>
            <p:spPr bwMode="auto">
              <a:xfrm>
                <a:off x="3161315" y="2917477"/>
                <a:ext cx="6925" cy="10882"/>
              </a:xfrm>
              <a:custGeom>
                <a:avLst/>
                <a:gdLst>
                  <a:gd name="T0" fmla="*/ 7 w 7"/>
                  <a:gd name="T1" fmla="*/ 9 h 11"/>
                  <a:gd name="T2" fmla="*/ 7 w 7"/>
                  <a:gd name="T3" fmla="*/ 9 h 11"/>
                  <a:gd name="T4" fmla="*/ 4 w 7"/>
                  <a:gd name="T5" fmla="*/ 11 h 11"/>
                  <a:gd name="T6" fmla="*/ 3 w 7"/>
                  <a:gd name="T7" fmla="*/ 9 h 11"/>
                  <a:gd name="T8" fmla="*/ 2 w 7"/>
                  <a:gd name="T9" fmla="*/ 8 h 11"/>
                  <a:gd name="T10" fmla="*/ 0 w 7"/>
                  <a:gd name="T11" fmla="*/ 6 h 11"/>
                  <a:gd name="T12" fmla="*/ 0 w 7"/>
                  <a:gd name="T13" fmla="*/ 6 h 11"/>
                  <a:gd name="T14" fmla="*/ 0 w 7"/>
                  <a:gd name="T15" fmla="*/ 2 h 11"/>
                  <a:gd name="T16" fmla="*/ 0 w 7"/>
                  <a:gd name="T17" fmla="*/ 0 h 11"/>
                  <a:gd name="T18" fmla="*/ 3 w 7"/>
                  <a:gd name="T19" fmla="*/ 0 h 11"/>
                  <a:gd name="T20" fmla="*/ 3 w 7"/>
                  <a:gd name="T21" fmla="*/ 0 h 11"/>
                  <a:gd name="T22" fmla="*/ 6 w 7"/>
                  <a:gd name="T23" fmla="*/ 2 h 11"/>
                  <a:gd name="T24" fmla="*/ 7 w 7"/>
                  <a:gd name="T25" fmla="*/ 5 h 11"/>
                  <a:gd name="T26" fmla="*/ 7 w 7"/>
                  <a:gd name="T27" fmla="*/ 8 h 11"/>
                  <a:gd name="T28" fmla="*/ 7 w 7"/>
                  <a:gd name="T29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11">
                    <a:moveTo>
                      <a:pt x="7" y="9"/>
                    </a:moveTo>
                    <a:lnTo>
                      <a:pt x="7" y="9"/>
                    </a:lnTo>
                    <a:lnTo>
                      <a:pt x="4" y="11"/>
                    </a:lnTo>
                    <a:lnTo>
                      <a:pt x="3" y="9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7" y="5"/>
                    </a:lnTo>
                    <a:lnTo>
                      <a:pt x="7" y="8"/>
                    </a:lnTo>
                    <a:lnTo>
                      <a:pt x="7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11" name="Freeform 1367"/>
              <p:cNvSpPr>
                <a:spLocks/>
              </p:cNvSpPr>
              <p:nvPr/>
            </p:nvSpPr>
            <p:spPr bwMode="auto">
              <a:xfrm>
                <a:off x="3161315" y="2917477"/>
                <a:ext cx="6925" cy="10882"/>
              </a:xfrm>
              <a:custGeom>
                <a:avLst/>
                <a:gdLst>
                  <a:gd name="T0" fmla="*/ 7 w 7"/>
                  <a:gd name="T1" fmla="*/ 9 h 11"/>
                  <a:gd name="T2" fmla="*/ 7 w 7"/>
                  <a:gd name="T3" fmla="*/ 9 h 11"/>
                  <a:gd name="T4" fmla="*/ 4 w 7"/>
                  <a:gd name="T5" fmla="*/ 11 h 11"/>
                  <a:gd name="T6" fmla="*/ 3 w 7"/>
                  <a:gd name="T7" fmla="*/ 9 h 11"/>
                  <a:gd name="T8" fmla="*/ 2 w 7"/>
                  <a:gd name="T9" fmla="*/ 8 h 11"/>
                  <a:gd name="T10" fmla="*/ 0 w 7"/>
                  <a:gd name="T11" fmla="*/ 6 h 11"/>
                  <a:gd name="T12" fmla="*/ 0 w 7"/>
                  <a:gd name="T13" fmla="*/ 6 h 11"/>
                  <a:gd name="T14" fmla="*/ 0 w 7"/>
                  <a:gd name="T15" fmla="*/ 2 h 11"/>
                  <a:gd name="T16" fmla="*/ 0 w 7"/>
                  <a:gd name="T17" fmla="*/ 0 h 11"/>
                  <a:gd name="T18" fmla="*/ 3 w 7"/>
                  <a:gd name="T19" fmla="*/ 0 h 11"/>
                  <a:gd name="T20" fmla="*/ 3 w 7"/>
                  <a:gd name="T21" fmla="*/ 0 h 11"/>
                  <a:gd name="T22" fmla="*/ 6 w 7"/>
                  <a:gd name="T23" fmla="*/ 2 h 11"/>
                  <a:gd name="T24" fmla="*/ 7 w 7"/>
                  <a:gd name="T25" fmla="*/ 5 h 11"/>
                  <a:gd name="T26" fmla="*/ 7 w 7"/>
                  <a:gd name="T27" fmla="*/ 8 h 11"/>
                  <a:gd name="T28" fmla="*/ 7 w 7"/>
                  <a:gd name="T29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11">
                    <a:moveTo>
                      <a:pt x="7" y="9"/>
                    </a:moveTo>
                    <a:lnTo>
                      <a:pt x="7" y="9"/>
                    </a:lnTo>
                    <a:lnTo>
                      <a:pt x="4" y="11"/>
                    </a:lnTo>
                    <a:lnTo>
                      <a:pt x="3" y="9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7" y="5"/>
                    </a:lnTo>
                    <a:lnTo>
                      <a:pt x="7" y="8"/>
                    </a:lnTo>
                    <a:lnTo>
                      <a:pt x="7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12" name="Freeform 1368"/>
              <p:cNvSpPr>
                <a:spLocks/>
              </p:cNvSpPr>
              <p:nvPr/>
            </p:nvSpPr>
            <p:spPr bwMode="auto">
              <a:xfrm>
                <a:off x="3167251" y="2932316"/>
                <a:ext cx="3957" cy="3957"/>
              </a:xfrm>
              <a:custGeom>
                <a:avLst/>
                <a:gdLst>
                  <a:gd name="T0" fmla="*/ 1 w 4"/>
                  <a:gd name="T1" fmla="*/ 4 h 4"/>
                  <a:gd name="T2" fmla="*/ 1 w 4"/>
                  <a:gd name="T3" fmla="*/ 4 h 4"/>
                  <a:gd name="T4" fmla="*/ 0 w 4"/>
                  <a:gd name="T5" fmla="*/ 4 h 4"/>
                  <a:gd name="T6" fmla="*/ 0 w 4"/>
                  <a:gd name="T7" fmla="*/ 3 h 4"/>
                  <a:gd name="T8" fmla="*/ 0 w 4"/>
                  <a:gd name="T9" fmla="*/ 0 h 4"/>
                  <a:gd name="T10" fmla="*/ 3 w 4"/>
                  <a:gd name="T11" fmla="*/ 0 h 4"/>
                  <a:gd name="T12" fmla="*/ 3 w 4"/>
                  <a:gd name="T13" fmla="*/ 0 h 4"/>
                  <a:gd name="T14" fmla="*/ 3 w 4"/>
                  <a:gd name="T15" fmla="*/ 0 h 4"/>
                  <a:gd name="T16" fmla="*/ 4 w 4"/>
                  <a:gd name="T17" fmla="*/ 1 h 4"/>
                  <a:gd name="T18" fmla="*/ 3 w 4"/>
                  <a:gd name="T19" fmla="*/ 3 h 4"/>
                  <a:gd name="T20" fmla="*/ 1 w 4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1" y="4"/>
                    </a:moveTo>
                    <a:lnTo>
                      <a:pt x="1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13" name="Freeform 1369"/>
              <p:cNvSpPr>
                <a:spLocks/>
              </p:cNvSpPr>
              <p:nvPr/>
            </p:nvSpPr>
            <p:spPr bwMode="auto">
              <a:xfrm>
                <a:off x="3167251" y="2932316"/>
                <a:ext cx="3957" cy="3957"/>
              </a:xfrm>
              <a:custGeom>
                <a:avLst/>
                <a:gdLst>
                  <a:gd name="T0" fmla="*/ 1 w 4"/>
                  <a:gd name="T1" fmla="*/ 4 h 4"/>
                  <a:gd name="T2" fmla="*/ 1 w 4"/>
                  <a:gd name="T3" fmla="*/ 4 h 4"/>
                  <a:gd name="T4" fmla="*/ 0 w 4"/>
                  <a:gd name="T5" fmla="*/ 4 h 4"/>
                  <a:gd name="T6" fmla="*/ 0 w 4"/>
                  <a:gd name="T7" fmla="*/ 3 h 4"/>
                  <a:gd name="T8" fmla="*/ 0 w 4"/>
                  <a:gd name="T9" fmla="*/ 0 h 4"/>
                  <a:gd name="T10" fmla="*/ 3 w 4"/>
                  <a:gd name="T11" fmla="*/ 0 h 4"/>
                  <a:gd name="T12" fmla="*/ 3 w 4"/>
                  <a:gd name="T13" fmla="*/ 0 h 4"/>
                  <a:gd name="T14" fmla="*/ 3 w 4"/>
                  <a:gd name="T15" fmla="*/ 0 h 4"/>
                  <a:gd name="T16" fmla="*/ 4 w 4"/>
                  <a:gd name="T17" fmla="*/ 1 h 4"/>
                  <a:gd name="T18" fmla="*/ 3 w 4"/>
                  <a:gd name="T19" fmla="*/ 3 h 4"/>
                  <a:gd name="T20" fmla="*/ 1 w 4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1" y="4"/>
                    </a:moveTo>
                    <a:lnTo>
                      <a:pt x="1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1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14" name="Freeform 1370"/>
              <p:cNvSpPr>
                <a:spLocks/>
              </p:cNvSpPr>
              <p:nvPr/>
            </p:nvSpPr>
            <p:spPr bwMode="auto">
              <a:xfrm>
                <a:off x="3369060" y="2785906"/>
                <a:ext cx="5936" cy="6925"/>
              </a:xfrm>
              <a:custGeom>
                <a:avLst/>
                <a:gdLst>
                  <a:gd name="T0" fmla="*/ 2 w 6"/>
                  <a:gd name="T1" fmla="*/ 7 h 7"/>
                  <a:gd name="T2" fmla="*/ 2 w 6"/>
                  <a:gd name="T3" fmla="*/ 7 h 7"/>
                  <a:gd name="T4" fmla="*/ 0 w 6"/>
                  <a:gd name="T5" fmla="*/ 7 h 7"/>
                  <a:gd name="T6" fmla="*/ 0 w 6"/>
                  <a:gd name="T7" fmla="*/ 5 h 7"/>
                  <a:gd name="T8" fmla="*/ 2 w 6"/>
                  <a:gd name="T9" fmla="*/ 3 h 7"/>
                  <a:gd name="T10" fmla="*/ 3 w 6"/>
                  <a:gd name="T11" fmla="*/ 0 h 7"/>
                  <a:gd name="T12" fmla="*/ 3 w 6"/>
                  <a:gd name="T13" fmla="*/ 0 h 7"/>
                  <a:gd name="T14" fmla="*/ 6 w 6"/>
                  <a:gd name="T15" fmla="*/ 0 h 7"/>
                  <a:gd name="T16" fmla="*/ 6 w 6"/>
                  <a:gd name="T17" fmla="*/ 3 h 7"/>
                  <a:gd name="T18" fmla="*/ 4 w 6"/>
                  <a:gd name="T19" fmla="*/ 5 h 7"/>
                  <a:gd name="T20" fmla="*/ 2 w 6"/>
                  <a:gd name="T2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7">
                    <a:moveTo>
                      <a:pt x="2" y="7"/>
                    </a:moveTo>
                    <a:lnTo>
                      <a:pt x="2" y="7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15" name="Freeform 1371"/>
              <p:cNvSpPr>
                <a:spLocks/>
              </p:cNvSpPr>
              <p:nvPr/>
            </p:nvSpPr>
            <p:spPr bwMode="auto">
              <a:xfrm>
                <a:off x="3369060" y="2785906"/>
                <a:ext cx="5936" cy="6925"/>
              </a:xfrm>
              <a:custGeom>
                <a:avLst/>
                <a:gdLst>
                  <a:gd name="T0" fmla="*/ 2 w 6"/>
                  <a:gd name="T1" fmla="*/ 7 h 7"/>
                  <a:gd name="T2" fmla="*/ 2 w 6"/>
                  <a:gd name="T3" fmla="*/ 7 h 7"/>
                  <a:gd name="T4" fmla="*/ 0 w 6"/>
                  <a:gd name="T5" fmla="*/ 7 h 7"/>
                  <a:gd name="T6" fmla="*/ 0 w 6"/>
                  <a:gd name="T7" fmla="*/ 5 h 7"/>
                  <a:gd name="T8" fmla="*/ 2 w 6"/>
                  <a:gd name="T9" fmla="*/ 3 h 7"/>
                  <a:gd name="T10" fmla="*/ 3 w 6"/>
                  <a:gd name="T11" fmla="*/ 0 h 7"/>
                  <a:gd name="T12" fmla="*/ 3 w 6"/>
                  <a:gd name="T13" fmla="*/ 0 h 7"/>
                  <a:gd name="T14" fmla="*/ 6 w 6"/>
                  <a:gd name="T15" fmla="*/ 0 h 7"/>
                  <a:gd name="T16" fmla="*/ 6 w 6"/>
                  <a:gd name="T17" fmla="*/ 3 h 7"/>
                  <a:gd name="T18" fmla="*/ 4 w 6"/>
                  <a:gd name="T19" fmla="*/ 5 h 7"/>
                  <a:gd name="T20" fmla="*/ 2 w 6"/>
                  <a:gd name="T2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7">
                    <a:moveTo>
                      <a:pt x="2" y="7"/>
                    </a:moveTo>
                    <a:lnTo>
                      <a:pt x="2" y="7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16" name="Freeform 1372"/>
              <p:cNvSpPr>
                <a:spLocks/>
              </p:cNvSpPr>
              <p:nvPr/>
            </p:nvSpPr>
            <p:spPr bwMode="auto">
              <a:xfrm>
                <a:off x="3381920" y="2413944"/>
                <a:ext cx="38581" cy="16817"/>
              </a:xfrm>
              <a:custGeom>
                <a:avLst/>
                <a:gdLst>
                  <a:gd name="T0" fmla="*/ 39 w 39"/>
                  <a:gd name="T1" fmla="*/ 16 h 17"/>
                  <a:gd name="T2" fmla="*/ 39 w 39"/>
                  <a:gd name="T3" fmla="*/ 16 h 17"/>
                  <a:gd name="T4" fmla="*/ 35 w 39"/>
                  <a:gd name="T5" fmla="*/ 17 h 17"/>
                  <a:gd name="T6" fmla="*/ 29 w 39"/>
                  <a:gd name="T7" fmla="*/ 16 h 17"/>
                  <a:gd name="T8" fmla="*/ 19 w 39"/>
                  <a:gd name="T9" fmla="*/ 11 h 17"/>
                  <a:gd name="T10" fmla="*/ 2 w 39"/>
                  <a:gd name="T11" fmla="*/ 1 h 17"/>
                  <a:gd name="T12" fmla="*/ 2 w 39"/>
                  <a:gd name="T13" fmla="*/ 1 h 17"/>
                  <a:gd name="T14" fmla="*/ 0 w 39"/>
                  <a:gd name="T15" fmla="*/ 1 h 17"/>
                  <a:gd name="T16" fmla="*/ 0 w 39"/>
                  <a:gd name="T17" fmla="*/ 0 h 17"/>
                  <a:gd name="T18" fmla="*/ 5 w 39"/>
                  <a:gd name="T19" fmla="*/ 0 h 17"/>
                  <a:gd name="T20" fmla="*/ 13 w 39"/>
                  <a:gd name="T21" fmla="*/ 0 h 17"/>
                  <a:gd name="T22" fmla="*/ 23 w 39"/>
                  <a:gd name="T23" fmla="*/ 3 h 17"/>
                  <a:gd name="T24" fmla="*/ 23 w 39"/>
                  <a:gd name="T25" fmla="*/ 3 h 17"/>
                  <a:gd name="T26" fmla="*/ 31 w 39"/>
                  <a:gd name="T27" fmla="*/ 7 h 17"/>
                  <a:gd name="T28" fmla="*/ 36 w 39"/>
                  <a:gd name="T29" fmla="*/ 11 h 17"/>
                  <a:gd name="T30" fmla="*/ 39 w 39"/>
                  <a:gd name="T31" fmla="*/ 14 h 17"/>
                  <a:gd name="T32" fmla="*/ 39 w 39"/>
                  <a:gd name="T33" fmla="*/ 16 h 17"/>
                  <a:gd name="T34" fmla="*/ 39 w 39"/>
                  <a:gd name="T3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17">
                    <a:moveTo>
                      <a:pt x="39" y="16"/>
                    </a:moveTo>
                    <a:lnTo>
                      <a:pt x="39" y="16"/>
                    </a:lnTo>
                    <a:lnTo>
                      <a:pt x="35" y="17"/>
                    </a:lnTo>
                    <a:lnTo>
                      <a:pt x="29" y="16"/>
                    </a:lnTo>
                    <a:lnTo>
                      <a:pt x="19" y="1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13" y="0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31" y="7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39" y="16"/>
                    </a:lnTo>
                    <a:lnTo>
                      <a:pt x="39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17" name="Freeform 1373"/>
              <p:cNvSpPr>
                <a:spLocks/>
              </p:cNvSpPr>
              <p:nvPr/>
            </p:nvSpPr>
            <p:spPr bwMode="auto">
              <a:xfrm>
                <a:off x="3381920" y="2413944"/>
                <a:ext cx="38581" cy="16817"/>
              </a:xfrm>
              <a:custGeom>
                <a:avLst/>
                <a:gdLst>
                  <a:gd name="T0" fmla="*/ 39 w 39"/>
                  <a:gd name="T1" fmla="*/ 16 h 17"/>
                  <a:gd name="T2" fmla="*/ 39 w 39"/>
                  <a:gd name="T3" fmla="*/ 16 h 17"/>
                  <a:gd name="T4" fmla="*/ 35 w 39"/>
                  <a:gd name="T5" fmla="*/ 17 h 17"/>
                  <a:gd name="T6" fmla="*/ 29 w 39"/>
                  <a:gd name="T7" fmla="*/ 16 h 17"/>
                  <a:gd name="T8" fmla="*/ 19 w 39"/>
                  <a:gd name="T9" fmla="*/ 11 h 17"/>
                  <a:gd name="T10" fmla="*/ 2 w 39"/>
                  <a:gd name="T11" fmla="*/ 1 h 17"/>
                  <a:gd name="T12" fmla="*/ 2 w 39"/>
                  <a:gd name="T13" fmla="*/ 1 h 17"/>
                  <a:gd name="T14" fmla="*/ 0 w 39"/>
                  <a:gd name="T15" fmla="*/ 1 h 17"/>
                  <a:gd name="T16" fmla="*/ 0 w 39"/>
                  <a:gd name="T17" fmla="*/ 0 h 17"/>
                  <a:gd name="T18" fmla="*/ 5 w 39"/>
                  <a:gd name="T19" fmla="*/ 0 h 17"/>
                  <a:gd name="T20" fmla="*/ 13 w 39"/>
                  <a:gd name="T21" fmla="*/ 0 h 17"/>
                  <a:gd name="T22" fmla="*/ 23 w 39"/>
                  <a:gd name="T23" fmla="*/ 3 h 17"/>
                  <a:gd name="T24" fmla="*/ 23 w 39"/>
                  <a:gd name="T25" fmla="*/ 3 h 17"/>
                  <a:gd name="T26" fmla="*/ 31 w 39"/>
                  <a:gd name="T27" fmla="*/ 7 h 17"/>
                  <a:gd name="T28" fmla="*/ 36 w 39"/>
                  <a:gd name="T29" fmla="*/ 11 h 17"/>
                  <a:gd name="T30" fmla="*/ 39 w 39"/>
                  <a:gd name="T31" fmla="*/ 14 h 17"/>
                  <a:gd name="T32" fmla="*/ 39 w 39"/>
                  <a:gd name="T33" fmla="*/ 16 h 17"/>
                  <a:gd name="T34" fmla="*/ 39 w 39"/>
                  <a:gd name="T3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17">
                    <a:moveTo>
                      <a:pt x="39" y="16"/>
                    </a:moveTo>
                    <a:lnTo>
                      <a:pt x="39" y="16"/>
                    </a:lnTo>
                    <a:lnTo>
                      <a:pt x="35" y="17"/>
                    </a:lnTo>
                    <a:lnTo>
                      <a:pt x="29" y="16"/>
                    </a:lnTo>
                    <a:lnTo>
                      <a:pt x="19" y="1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13" y="0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31" y="7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39" y="16"/>
                    </a:lnTo>
                    <a:lnTo>
                      <a:pt x="39" y="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18" name="Freeform 1374"/>
              <p:cNvSpPr>
                <a:spLocks/>
              </p:cNvSpPr>
              <p:nvPr/>
            </p:nvSpPr>
            <p:spPr bwMode="auto">
              <a:xfrm>
                <a:off x="3428415" y="2482203"/>
                <a:ext cx="13850" cy="22753"/>
              </a:xfrm>
              <a:custGeom>
                <a:avLst/>
                <a:gdLst>
                  <a:gd name="T0" fmla="*/ 2 w 14"/>
                  <a:gd name="T1" fmla="*/ 23 h 23"/>
                  <a:gd name="T2" fmla="*/ 2 w 14"/>
                  <a:gd name="T3" fmla="*/ 23 h 23"/>
                  <a:gd name="T4" fmla="*/ 1 w 14"/>
                  <a:gd name="T5" fmla="*/ 23 h 23"/>
                  <a:gd name="T6" fmla="*/ 0 w 14"/>
                  <a:gd name="T7" fmla="*/ 20 h 23"/>
                  <a:gd name="T8" fmla="*/ 0 w 14"/>
                  <a:gd name="T9" fmla="*/ 18 h 23"/>
                  <a:gd name="T10" fmla="*/ 2 w 14"/>
                  <a:gd name="T11" fmla="*/ 13 h 23"/>
                  <a:gd name="T12" fmla="*/ 2 w 14"/>
                  <a:gd name="T13" fmla="*/ 13 h 23"/>
                  <a:gd name="T14" fmla="*/ 7 w 14"/>
                  <a:gd name="T15" fmla="*/ 3 h 23"/>
                  <a:gd name="T16" fmla="*/ 10 w 14"/>
                  <a:gd name="T17" fmla="*/ 0 h 23"/>
                  <a:gd name="T18" fmla="*/ 10 w 14"/>
                  <a:gd name="T19" fmla="*/ 0 h 23"/>
                  <a:gd name="T20" fmla="*/ 11 w 14"/>
                  <a:gd name="T21" fmla="*/ 2 h 23"/>
                  <a:gd name="T22" fmla="*/ 11 w 14"/>
                  <a:gd name="T23" fmla="*/ 2 h 23"/>
                  <a:gd name="T24" fmla="*/ 11 w 14"/>
                  <a:gd name="T25" fmla="*/ 9 h 23"/>
                  <a:gd name="T26" fmla="*/ 13 w 14"/>
                  <a:gd name="T27" fmla="*/ 12 h 23"/>
                  <a:gd name="T28" fmla="*/ 14 w 14"/>
                  <a:gd name="T29" fmla="*/ 13 h 23"/>
                  <a:gd name="T30" fmla="*/ 14 w 14"/>
                  <a:gd name="T31" fmla="*/ 13 h 23"/>
                  <a:gd name="T32" fmla="*/ 14 w 14"/>
                  <a:gd name="T33" fmla="*/ 15 h 23"/>
                  <a:gd name="T34" fmla="*/ 14 w 14"/>
                  <a:gd name="T35" fmla="*/ 16 h 23"/>
                  <a:gd name="T36" fmla="*/ 10 w 14"/>
                  <a:gd name="T37" fmla="*/ 19 h 23"/>
                  <a:gd name="T38" fmla="*/ 2 w 14"/>
                  <a:gd name="T3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" h="23">
                    <a:moveTo>
                      <a:pt x="2" y="23"/>
                    </a:moveTo>
                    <a:lnTo>
                      <a:pt x="2" y="23"/>
                    </a:lnTo>
                    <a:lnTo>
                      <a:pt x="1" y="23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7" y="3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9"/>
                    </a:lnTo>
                    <a:lnTo>
                      <a:pt x="13" y="12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14" y="15"/>
                    </a:lnTo>
                    <a:lnTo>
                      <a:pt x="14" y="16"/>
                    </a:lnTo>
                    <a:lnTo>
                      <a:pt x="10" y="19"/>
                    </a:lnTo>
                    <a:lnTo>
                      <a:pt x="2" y="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19" name="Freeform 1375"/>
              <p:cNvSpPr>
                <a:spLocks/>
              </p:cNvSpPr>
              <p:nvPr/>
            </p:nvSpPr>
            <p:spPr bwMode="auto">
              <a:xfrm>
                <a:off x="3428415" y="2482203"/>
                <a:ext cx="13850" cy="22753"/>
              </a:xfrm>
              <a:custGeom>
                <a:avLst/>
                <a:gdLst>
                  <a:gd name="T0" fmla="*/ 2 w 14"/>
                  <a:gd name="T1" fmla="*/ 23 h 23"/>
                  <a:gd name="T2" fmla="*/ 2 w 14"/>
                  <a:gd name="T3" fmla="*/ 23 h 23"/>
                  <a:gd name="T4" fmla="*/ 1 w 14"/>
                  <a:gd name="T5" fmla="*/ 23 h 23"/>
                  <a:gd name="T6" fmla="*/ 0 w 14"/>
                  <a:gd name="T7" fmla="*/ 20 h 23"/>
                  <a:gd name="T8" fmla="*/ 0 w 14"/>
                  <a:gd name="T9" fmla="*/ 18 h 23"/>
                  <a:gd name="T10" fmla="*/ 2 w 14"/>
                  <a:gd name="T11" fmla="*/ 13 h 23"/>
                  <a:gd name="T12" fmla="*/ 2 w 14"/>
                  <a:gd name="T13" fmla="*/ 13 h 23"/>
                  <a:gd name="T14" fmla="*/ 7 w 14"/>
                  <a:gd name="T15" fmla="*/ 3 h 23"/>
                  <a:gd name="T16" fmla="*/ 10 w 14"/>
                  <a:gd name="T17" fmla="*/ 0 h 23"/>
                  <a:gd name="T18" fmla="*/ 10 w 14"/>
                  <a:gd name="T19" fmla="*/ 0 h 23"/>
                  <a:gd name="T20" fmla="*/ 11 w 14"/>
                  <a:gd name="T21" fmla="*/ 2 h 23"/>
                  <a:gd name="T22" fmla="*/ 11 w 14"/>
                  <a:gd name="T23" fmla="*/ 2 h 23"/>
                  <a:gd name="T24" fmla="*/ 11 w 14"/>
                  <a:gd name="T25" fmla="*/ 9 h 23"/>
                  <a:gd name="T26" fmla="*/ 13 w 14"/>
                  <a:gd name="T27" fmla="*/ 12 h 23"/>
                  <a:gd name="T28" fmla="*/ 14 w 14"/>
                  <a:gd name="T29" fmla="*/ 13 h 23"/>
                  <a:gd name="T30" fmla="*/ 14 w 14"/>
                  <a:gd name="T31" fmla="*/ 13 h 23"/>
                  <a:gd name="T32" fmla="*/ 14 w 14"/>
                  <a:gd name="T33" fmla="*/ 15 h 23"/>
                  <a:gd name="T34" fmla="*/ 14 w 14"/>
                  <a:gd name="T35" fmla="*/ 16 h 23"/>
                  <a:gd name="T36" fmla="*/ 10 w 14"/>
                  <a:gd name="T37" fmla="*/ 19 h 23"/>
                  <a:gd name="T38" fmla="*/ 2 w 14"/>
                  <a:gd name="T3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" h="23">
                    <a:moveTo>
                      <a:pt x="2" y="23"/>
                    </a:moveTo>
                    <a:lnTo>
                      <a:pt x="2" y="23"/>
                    </a:lnTo>
                    <a:lnTo>
                      <a:pt x="1" y="23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7" y="3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9"/>
                    </a:lnTo>
                    <a:lnTo>
                      <a:pt x="13" y="12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14" y="15"/>
                    </a:lnTo>
                    <a:lnTo>
                      <a:pt x="14" y="16"/>
                    </a:lnTo>
                    <a:lnTo>
                      <a:pt x="10" y="19"/>
                    </a:lnTo>
                    <a:lnTo>
                      <a:pt x="2" y="2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20" name="Freeform 1376"/>
              <p:cNvSpPr>
                <a:spLocks/>
              </p:cNvSpPr>
              <p:nvPr/>
            </p:nvSpPr>
            <p:spPr bwMode="auto">
              <a:xfrm>
                <a:off x="3461061" y="2364481"/>
                <a:ext cx="102883" cy="123657"/>
              </a:xfrm>
              <a:custGeom>
                <a:avLst/>
                <a:gdLst>
                  <a:gd name="T0" fmla="*/ 46 w 104"/>
                  <a:gd name="T1" fmla="*/ 110 h 125"/>
                  <a:gd name="T2" fmla="*/ 49 w 104"/>
                  <a:gd name="T3" fmla="*/ 106 h 125"/>
                  <a:gd name="T4" fmla="*/ 46 w 104"/>
                  <a:gd name="T5" fmla="*/ 100 h 125"/>
                  <a:gd name="T6" fmla="*/ 11 w 104"/>
                  <a:gd name="T7" fmla="*/ 102 h 125"/>
                  <a:gd name="T8" fmla="*/ 0 w 104"/>
                  <a:gd name="T9" fmla="*/ 99 h 125"/>
                  <a:gd name="T10" fmla="*/ 0 w 104"/>
                  <a:gd name="T11" fmla="*/ 96 h 125"/>
                  <a:gd name="T12" fmla="*/ 7 w 104"/>
                  <a:gd name="T13" fmla="*/ 83 h 125"/>
                  <a:gd name="T14" fmla="*/ 1 w 104"/>
                  <a:gd name="T15" fmla="*/ 83 h 125"/>
                  <a:gd name="T16" fmla="*/ 0 w 104"/>
                  <a:gd name="T17" fmla="*/ 79 h 125"/>
                  <a:gd name="T18" fmla="*/ 11 w 104"/>
                  <a:gd name="T19" fmla="*/ 67 h 125"/>
                  <a:gd name="T20" fmla="*/ 19 w 104"/>
                  <a:gd name="T21" fmla="*/ 64 h 125"/>
                  <a:gd name="T22" fmla="*/ 16 w 104"/>
                  <a:gd name="T23" fmla="*/ 54 h 125"/>
                  <a:gd name="T24" fmla="*/ 23 w 104"/>
                  <a:gd name="T25" fmla="*/ 35 h 125"/>
                  <a:gd name="T26" fmla="*/ 39 w 104"/>
                  <a:gd name="T27" fmla="*/ 9 h 125"/>
                  <a:gd name="T28" fmla="*/ 48 w 104"/>
                  <a:gd name="T29" fmla="*/ 3 h 125"/>
                  <a:gd name="T30" fmla="*/ 56 w 104"/>
                  <a:gd name="T31" fmla="*/ 0 h 125"/>
                  <a:gd name="T32" fmla="*/ 51 w 104"/>
                  <a:gd name="T33" fmla="*/ 9 h 125"/>
                  <a:gd name="T34" fmla="*/ 51 w 104"/>
                  <a:gd name="T35" fmla="*/ 16 h 125"/>
                  <a:gd name="T36" fmla="*/ 42 w 104"/>
                  <a:gd name="T37" fmla="*/ 32 h 125"/>
                  <a:gd name="T38" fmla="*/ 39 w 104"/>
                  <a:gd name="T39" fmla="*/ 51 h 125"/>
                  <a:gd name="T40" fmla="*/ 48 w 104"/>
                  <a:gd name="T41" fmla="*/ 42 h 125"/>
                  <a:gd name="T42" fmla="*/ 52 w 104"/>
                  <a:gd name="T43" fmla="*/ 42 h 125"/>
                  <a:gd name="T44" fmla="*/ 55 w 104"/>
                  <a:gd name="T45" fmla="*/ 48 h 125"/>
                  <a:gd name="T46" fmla="*/ 61 w 104"/>
                  <a:gd name="T47" fmla="*/ 57 h 125"/>
                  <a:gd name="T48" fmla="*/ 68 w 104"/>
                  <a:gd name="T49" fmla="*/ 57 h 125"/>
                  <a:gd name="T50" fmla="*/ 84 w 104"/>
                  <a:gd name="T51" fmla="*/ 58 h 125"/>
                  <a:gd name="T52" fmla="*/ 91 w 104"/>
                  <a:gd name="T53" fmla="*/ 61 h 125"/>
                  <a:gd name="T54" fmla="*/ 90 w 104"/>
                  <a:gd name="T55" fmla="*/ 73 h 125"/>
                  <a:gd name="T56" fmla="*/ 91 w 104"/>
                  <a:gd name="T57" fmla="*/ 80 h 125"/>
                  <a:gd name="T58" fmla="*/ 93 w 104"/>
                  <a:gd name="T59" fmla="*/ 83 h 125"/>
                  <a:gd name="T60" fmla="*/ 95 w 104"/>
                  <a:gd name="T61" fmla="*/ 83 h 125"/>
                  <a:gd name="T62" fmla="*/ 90 w 104"/>
                  <a:gd name="T63" fmla="*/ 96 h 125"/>
                  <a:gd name="T64" fmla="*/ 98 w 104"/>
                  <a:gd name="T65" fmla="*/ 92 h 125"/>
                  <a:gd name="T66" fmla="*/ 100 w 104"/>
                  <a:gd name="T67" fmla="*/ 92 h 125"/>
                  <a:gd name="T68" fmla="*/ 97 w 104"/>
                  <a:gd name="T69" fmla="*/ 102 h 125"/>
                  <a:gd name="T70" fmla="*/ 103 w 104"/>
                  <a:gd name="T71" fmla="*/ 100 h 125"/>
                  <a:gd name="T72" fmla="*/ 103 w 104"/>
                  <a:gd name="T73" fmla="*/ 116 h 125"/>
                  <a:gd name="T74" fmla="*/ 97 w 104"/>
                  <a:gd name="T75" fmla="*/ 125 h 125"/>
                  <a:gd name="T76" fmla="*/ 93 w 104"/>
                  <a:gd name="T77" fmla="*/ 118 h 125"/>
                  <a:gd name="T78" fmla="*/ 90 w 104"/>
                  <a:gd name="T79" fmla="*/ 113 h 125"/>
                  <a:gd name="T80" fmla="*/ 82 w 104"/>
                  <a:gd name="T81" fmla="*/ 118 h 125"/>
                  <a:gd name="T82" fmla="*/ 81 w 104"/>
                  <a:gd name="T83" fmla="*/ 118 h 125"/>
                  <a:gd name="T84" fmla="*/ 84 w 104"/>
                  <a:gd name="T85" fmla="*/ 105 h 125"/>
                  <a:gd name="T86" fmla="*/ 81 w 104"/>
                  <a:gd name="T87" fmla="*/ 96 h 125"/>
                  <a:gd name="T88" fmla="*/ 77 w 104"/>
                  <a:gd name="T89" fmla="*/ 102 h 125"/>
                  <a:gd name="T90" fmla="*/ 72 w 104"/>
                  <a:gd name="T91" fmla="*/ 106 h 125"/>
                  <a:gd name="T92" fmla="*/ 68 w 104"/>
                  <a:gd name="T93" fmla="*/ 110 h 125"/>
                  <a:gd name="T94" fmla="*/ 61 w 104"/>
                  <a:gd name="T95" fmla="*/ 121 h 125"/>
                  <a:gd name="T96" fmla="*/ 52 w 104"/>
                  <a:gd name="T97" fmla="*/ 121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4" h="125">
                    <a:moveTo>
                      <a:pt x="49" y="118"/>
                    </a:moveTo>
                    <a:lnTo>
                      <a:pt x="49" y="118"/>
                    </a:lnTo>
                    <a:lnTo>
                      <a:pt x="46" y="110"/>
                    </a:lnTo>
                    <a:lnTo>
                      <a:pt x="46" y="109"/>
                    </a:lnTo>
                    <a:lnTo>
                      <a:pt x="49" y="106"/>
                    </a:lnTo>
                    <a:lnTo>
                      <a:pt x="49" y="106"/>
                    </a:lnTo>
                    <a:lnTo>
                      <a:pt x="51" y="105"/>
                    </a:lnTo>
                    <a:lnTo>
                      <a:pt x="49" y="102"/>
                    </a:lnTo>
                    <a:lnTo>
                      <a:pt x="46" y="100"/>
                    </a:lnTo>
                    <a:lnTo>
                      <a:pt x="43" y="99"/>
                    </a:lnTo>
                    <a:lnTo>
                      <a:pt x="43" y="99"/>
                    </a:lnTo>
                    <a:lnTo>
                      <a:pt x="11" y="102"/>
                    </a:lnTo>
                    <a:lnTo>
                      <a:pt x="11" y="102"/>
                    </a:lnTo>
                    <a:lnTo>
                      <a:pt x="3" y="100"/>
                    </a:lnTo>
                    <a:lnTo>
                      <a:pt x="0" y="99"/>
                    </a:lnTo>
                    <a:lnTo>
                      <a:pt x="0" y="97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6" y="87"/>
                    </a:lnTo>
                    <a:lnTo>
                      <a:pt x="7" y="84"/>
                    </a:lnTo>
                    <a:lnTo>
                      <a:pt x="7" y="83"/>
                    </a:lnTo>
                    <a:lnTo>
                      <a:pt x="7" y="83"/>
                    </a:lnTo>
                    <a:lnTo>
                      <a:pt x="7" y="83"/>
                    </a:lnTo>
                    <a:lnTo>
                      <a:pt x="1" y="83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0" y="79"/>
                    </a:lnTo>
                    <a:lnTo>
                      <a:pt x="7" y="71"/>
                    </a:lnTo>
                    <a:lnTo>
                      <a:pt x="11" y="67"/>
                    </a:lnTo>
                    <a:lnTo>
                      <a:pt x="11" y="67"/>
                    </a:lnTo>
                    <a:lnTo>
                      <a:pt x="17" y="67"/>
                    </a:lnTo>
                    <a:lnTo>
                      <a:pt x="19" y="66"/>
                    </a:lnTo>
                    <a:lnTo>
                      <a:pt x="19" y="64"/>
                    </a:lnTo>
                    <a:lnTo>
                      <a:pt x="19" y="64"/>
                    </a:lnTo>
                    <a:lnTo>
                      <a:pt x="16" y="5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20" y="42"/>
                    </a:lnTo>
                    <a:lnTo>
                      <a:pt x="23" y="35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42" y="6"/>
                    </a:lnTo>
                    <a:lnTo>
                      <a:pt x="48" y="3"/>
                    </a:lnTo>
                    <a:lnTo>
                      <a:pt x="53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3" y="5"/>
                    </a:lnTo>
                    <a:lnTo>
                      <a:pt x="51" y="9"/>
                    </a:lnTo>
                    <a:lnTo>
                      <a:pt x="51" y="9"/>
                    </a:lnTo>
                    <a:lnTo>
                      <a:pt x="51" y="12"/>
                    </a:lnTo>
                    <a:lnTo>
                      <a:pt x="52" y="15"/>
                    </a:lnTo>
                    <a:lnTo>
                      <a:pt x="51" y="16"/>
                    </a:lnTo>
                    <a:lnTo>
                      <a:pt x="51" y="16"/>
                    </a:lnTo>
                    <a:lnTo>
                      <a:pt x="46" y="24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0" y="42"/>
                    </a:lnTo>
                    <a:lnTo>
                      <a:pt x="39" y="51"/>
                    </a:lnTo>
                    <a:lnTo>
                      <a:pt x="39" y="51"/>
                    </a:lnTo>
                    <a:lnTo>
                      <a:pt x="43" y="44"/>
                    </a:lnTo>
                    <a:lnTo>
                      <a:pt x="48" y="42"/>
                    </a:lnTo>
                    <a:lnTo>
                      <a:pt x="51" y="41"/>
                    </a:lnTo>
                    <a:lnTo>
                      <a:pt x="51" y="41"/>
                    </a:lnTo>
                    <a:lnTo>
                      <a:pt x="52" y="42"/>
                    </a:lnTo>
                    <a:lnTo>
                      <a:pt x="53" y="44"/>
                    </a:lnTo>
                    <a:lnTo>
                      <a:pt x="55" y="48"/>
                    </a:lnTo>
                    <a:lnTo>
                      <a:pt x="55" y="48"/>
                    </a:lnTo>
                    <a:lnTo>
                      <a:pt x="55" y="51"/>
                    </a:lnTo>
                    <a:lnTo>
                      <a:pt x="58" y="55"/>
                    </a:lnTo>
                    <a:lnTo>
                      <a:pt x="61" y="57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8" y="57"/>
                    </a:lnTo>
                    <a:lnTo>
                      <a:pt x="72" y="57"/>
                    </a:lnTo>
                    <a:lnTo>
                      <a:pt x="72" y="57"/>
                    </a:lnTo>
                    <a:lnTo>
                      <a:pt x="84" y="58"/>
                    </a:lnTo>
                    <a:lnTo>
                      <a:pt x="90" y="60"/>
                    </a:lnTo>
                    <a:lnTo>
                      <a:pt x="91" y="61"/>
                    </a:lnTo>
                    <a:lnTo>
                      <a:pt x="91" y="61"/>
                    </a:lnTo>
                    <a:lnTo>
                      <a:pt x="88" y="66"/>
                    </a:lnTo>
                    <a:lnTo>
                      <a:pt x="88" y="68"/>
                    </a:lnTo>
                    <a:lnTo>
                      <a:pt x="90" y="73"/>
                    </a:lnTo>
                    <a:lnTo>
                      <a:pt x="90" y="73"/>
                    </a:lnTo>
                    <a:lnTo>
                      <a:pt x="91" y="77"/>
                    </a:lnTo>
                    <a:lnTo>
                      <a:pt x="91" y="80"/>
                    </a:lnTo>
                    <a:lnTo>
                      <a:pt x="93" y="83"/>
                    </a:lnTo>
                    <a:lnTo>
                      <a:pt x="93" y="83"/>
                    </a:lnTo>
                    <a:lnTo>
                      <a:pt x="93" y="83"/>
                    </a:lnTo>
                    <a:lnTo>
                      <a:pt x="95" y="81"/>
                    </a:lnTo>
                    <a:lnTo>
                      <a:pt x="95" y="81"/>
                    </a:lnTo>
                    <a:lnTo>
                      <a:pt x="95" y="83"/>
                    </a:lnTo>
                    <a:lnTo>
                      <a:pt x="95" y="83"/>
                    </a:lnTo>
                    <a:lnTo>
                      <a:pt x="90" y="96"/>
                    </a:lnTo>
                    <a:lnTo>
                      <a:pt x="90" y="96"/>
                    </a:lnTo>
                    <a:lnTo>
                      <a:pt x="91" y="96"/>
                    </a:lnTo>
                    <a:lnTo>
                      <a:pt x="94" y="93"/>
                    </a:lnTo>
                    <a:lnTo>
                      <a:pt x="98" y="92"/>
                    </a:lnTo>
                    <a:lnTo>
                      <a:pt x="98" y="92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97" y="99"/>
                    </a:lnTo>
                    <a:lnTo>
                      <a:pt x="97" y="102"/>
                    </a:lnTo>
                    <a:lnTo>
                      <a:pt x="97" y="102"/>
                    </a:lnTo>
                    <a:lnTo>
                      <a:pt x="97" y="102"/>
                    </a:lnTo>
                    <a:lnTo>
                      <a:pt x="101" y="100"/>
                    </a:lnTo>
                    <a:lnTo>
                      <a:pt x="103" y="100"/>
                    </a:lnTo>
                    <a:lnTo>
                      <a:pt x="104" y="102"/>
                    </a:lnTo>
                    <a:lnTo>
                      <a:pt x="104" y="102"/>
                    </a:lnTo>
                    <a:lnTo>
                      <a:pt x="103" y="116"/>
                    </a:lnTo>
                    <a:lnTo>
                      <a:pt x="100" y="122"/>
                    </a:lnTo>
                    <a:lnTo>
                      <a:pt x="98" y="125"/>
                    </a:lnTo>
                    <a:lnTo>
                      <a:pt x="97" y="125"/>
                    </a:lnTo>
                    <a:lnTo>
                      <a:pt x="97" y="125"/>
                    </a:lnTo>
                    <a:lnTo>
                      <a:pt x="94" y="121"/>
                    </a:lnTo>
                    <a:lnTo>
                      <a:pt x="93" y="118"/>
                    </a:lnTo>
                    <a:lnTo>
                      <a:pt x="93" y="115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88" y="115"/>
                    </a:lnTo>
                    <a:lnTo>
                      <a:pt x="85" y="116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1" y="118"/>
                    </a:lnTo>
                    <a:lnTo>
                      <a:pt x="81" y="118"/>
                    </a:lnTo>
                    <a:lnTo>
                      <a:pt x="84" y="110"/>
                    </a:lnTo>
                    <a:lnTo>
                      <a:pt x="84" y="108"/>
                    </a:lnTo>
                    <a:lnTo>
                      <a:pt x="84" y="105"/>
                    </a:lnTo>
                    <a:lnTo>
                      <a:pt x="84" y="105"/>
                    </a:lnTo>
                    <a:lnTo>
                      <a:pt x="81" y="99"/>
                    </a:lnTo>
                    <a:lnTo>
                      <a:pt x="81" y="96"/>
                    </a:lnTo>
                    <a:lnTo>
                      <a:pt x="79" y="96"/>
                    </a:lnTo>
                    <a:lnTo>
                      <a:pt x="79" y="96"/>
                    </a:lnTo>
                    <a:lnTo>
                      <a:pt x="77" y="102"/>
                    </a:lnTo>
                    <a:lnTo>
                      <a:pt x="75" y="105"/>
                    </a:lnTo>
                    <a:lnTo>
                      <a:pt x="72" y="106"/>
                    </a:lnTo>
                    <a:lnTo>
                      <a:pt x="72" y="106"/>
                    </a:lnTo>
                    <a:lnTo>
                      <a:pt x="69" y="106"/>
                    </a:lnTo>
                    <a:lnTo>
                      <a:pt x="68" y="110"/>
                    </a:lnTo>
                    <a:lnTo>
                      <a:pt x="68" y="110"/>
                    </a:lnTo>
                    <a:lnTo>
                      <a:pt x="65" y="116"/>
                    </a:lnTo>
                    <a:lnTo>
                      <a:pt x="62" y="119"/>
                    </a:lnTo>
                    <a:lnTo>
                      <a:pt x="61" y="121"/>
                    </a:lnTo>
                    <a:lnTo>
                      <a:pt x="61" y="121"/>
                    </a:lnTo>
                    <a:lnTo>
                      <a:pt x="55" y="122"/>
                    </a:lnTo>
                    <a:lnTo>
                      <a:pt x="52" y="121"/>
                    </a:lnTo>
                    <a:lnTo>
                      <a:pt x="49" y="11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21" name="Freeform 1377"/>
              <p:cNvSpPr>
                <a:spLocks/>
              </p:cNvSpPr>
              <p:nvPr/>
            </p:nvSpPr>
            <p:spPr bwMode="auto">
              <a:xfrm>
                <a:off x="3461061" y="2364481"/>
                <a:ext cx="102883" cy="123657"/>
              </a:xfrm>
              <a:custGeom>
                <a:avLst/>
                <a:gdLst>
                  <a:gd name="T0" fmla="*/ 46 w 104"/>
                  <a:gd name="T1" fmla="*/ 110 h 125"/>
                  <a:gd name="T2" fmla="*/ 49 w 104"/>
                  <a:gd name="T3" fmla="*/ 106 h 125"/>
                  <a:gd name="T4" fmla="*/ 46 w 104"/>
                  <a:gd name="T5" fmla="*/ 100 h 125"/>
                  <a:gd name="T6" fmla="*/ 11 w 104"/>
                  <a:gd name="T7" fmla="*/ 102 h 125"/>
                  <a:gd name="T8" fmla="*/ 0 w 104"/>
                  <a:gd name="T9" fmla="*/ 99 h 125"/>
                  <a:gd name="T10" fmla="*/ 0 w 104"/>
                  <a:gd name="T11" fmla="*/ 96 h 125"/>
                  <a:gd name="T12" fmla="*/ 7 w 104"/>
                  <a:gd name="T13" fmla="*/ 83 h 125"/>
                  <a:gd name="T14" fmla="*/ 1 w 104"/>
                  <a:gd name="T15" fmla="*/ 83 h 125"/>
                  <a:gd name="T16" fmla="*/ 0 w 104"/>
                  <a:gd name="T17" fmla="*/ 79 h 125"/>
                  <a:gd name="T18" fmla="*/ 11 w 104"/>
                  <a:gd name="T19" fmla="*/ 67 h 125"/>
                  <a:gd name="T20" fmla="*/ 19 w 104"/>
                  <a:gd name="T21" fmla="*/ 64 h 125"/>
                  <a:gd name="T22" fmla="*/ 16 w 104"/>
                  <a:gd name="T23" fmla="*/ 54 h 125"/>
                  <a:gd name="T24" fmla="*/ 23 w 104"/>
                  <a:gd name="T25" fmla="*/ 35 h 125"/>
                  <a:gd name="T26" fmla="*/ 39 w 104"/>
                  <a:gd name="T27" fmla="*/ 9 h 125"/>
                  <a:gd name="T28" fmla="*/ 48 w 104"/>
                  <a:gd name="T29" fmla="*/ 3 h 125"/>
                  <a:gd name="T30" fmla="*/ 56 w 104"/>
                  <a:gd name="T31" fmla="*/ 0 h 125"/>
                  <a:gd name="T32" fmla="*/ 51 w 104"/>
                  <a:gd name="T33" fmla="*/ 9 h 125"/>
                  <a:gd name="T34" fmla="*/ 51 w 104"/>
                  <a:gd name="T35" fmla="*/ 16 h 125"/>
                  <a:gd name="T36" fmla="*/ 42 w 104"/>
                  <a:gd name="T37" fmla="*/ 32 h 125"/>
                  <a:gd name="T38" fmla="*/ 39 w 104"/>
                  <a:gd name="T39" fmla="*/ 51 h 125"/>
                  <a:gd name="T40" fmla="*/ 48 w 104"/>
                  <a:gd name="T41" fmla="*/ 42 h 125"/>
                  <a:gd name="T42" fmla="*/ 52 w 104"/>
                  <a:gd name="T43" fmla="*/ 42 h 125"/>
                  <a:gd name="T44" fmla="*/ 55 w 104"/>
                  <a:gd name="T45" fmla="*/ 48 h 125"/>
                  <a:gd name="T46" fmla="*/ 61 w 104"/>
                  <a:gd name="T47" fmla="*/ 57 h 125"/>
                  <a:gd name="T48" fmla="*/ 68 w 104"/>
                  <a:gd name="T49" fmla="*/ 57 h 125"/>
                  <a:gd name="T50" fmla="*/ 84 w 104"/>
                  <a:gd name="T51" fmla="*/ 58 h 125"/>
                  <a:gd name="T52" fmla="*/ 91 w 104"/>
                  <a:gd name="T53" fmla="*/ 61 h 125"/>
                  <a:gd name="T54" fmla="*/ 90 w 104"/>
                  <a:gd name="T55" fmla="*/ 73 h 125"/>
                  <a:gd name="T56" fmla="*/ 91 w 104"/>
                  <a:gd name="T57" fmla="*/ 80 h 125"/>
                  <a:gd name="T58" fmla="*/ 93 w 104"/>
                  <a:gd name="T59" fmla="*/ 83 h 125"/>
                  <a:gd name="T60" fmla="*/ 95 w 104"/>
                  <a:gd name="T61" fmla="*/ 83 h 125"/>
                  <a:gd name="T62" fmla="*/ 90 w 104"/>
                  <a:gd name="T63" fmla="*/ 96 h 125"/>
                  <a:gd name="T64" fmla="*/ 98 w 104"/>
                  <a:gd name="T65" fmla="*/ 92 h 125"/>
                  <a:gd name="T66" fmla="*/ 100 w 104"/>
                  <a:gd name="T67" fmla="*/ 92 h 125"/>
                  <a:gd name="T68" fmla="*/ 97 w 104"/>
                  <a:gd name="T69" fmla="*/ 102 h 125"/>
                  <a:gd name="T70" fmla="*/ 103 w 104"/>
                  <a:gd name="T71" fmla="*/ 100 h 125"/>
                  <a:gd name="T72" fmla="*/ 103 w 104"/>
                  <a:gd name="T73" fmla="*/ 116 h 125"/>
                  <a:gd name="T74" fmla="*/ 97 w 104"/>
                  <a:gd name="T75" fmla="*/ 125 h 125"/>
                  <a:gd name="T76" fmla="*/ 93 w 104"/>
                  <a:gd name="T77" fmla="*/ 118 h 125"/>
                  <a:gd name="T78" fmla="*/ 90 w 104"/>
                  <a:gd name="T79" fmla="*/ 113 h 125"/>
                  <a:gd name="T80" fmla="*/ 82 w 104"/>
                  <a:gd name="T81" fmla="*/ 118 h 125"/>
                  <a:gd name="T82" fmla="*/ 81 w 104"/>
                  <a:gd name="T83" fmla="*/ 118 h 125"/>
                  <a:gd name="T84" fmla="*/ 84 w 104"/>
                  <a:gd name="T85" fmla="*/ 105 h 125"/>
                  <a:gd name="T86" fmla="*/ 81 w 104"/>
                  <a:gd name="T87" fmla="*/ 96 h 125"/>
                  <a:gd name="T88" fmla="*/ 77 w 104"/>
                  <a:gd name="T89" fmla="*/ 102 h 125"/>
                  <a:gd name="T90" fmla="*/ 72 w 104"/>
                  <a:gd name="T91" fmla="*/ 106 h 125"/>
                  <a:gd name="T92" fmla="*/ 68 w 104"/>
                  <a:gd name="T93" fmla="*/ 110 h 125"/>
                  <a:gd name="T94" fmla="*/ 61 w 104"/>
                  <a:gd name="T95" fmla="*/ 121 h 125"/>
                  <a:gd name="T96" fmla="*/ 52 w 104"/>
                  <a:gd name="T97" fmla="*/ 121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4" h="125">
                    <a:moveTo>
                      <a:pt x="49" y="118"/>
                    </a:moveTo>
                    <a:lnTo>
                      <a:pt x="49" y="118"/>
                    </a:lnTo>
                    <a:lnTo>
                      <a:pt x="46" y="110"/>
                    </a:lnTo>
                    <a:lnTo>
                      <a:pt x="46" y="109"/>
                    </a:lnTo>
                    <a:lnTo>
                      <a:pt x="49" y="106"/>
                    </a:lnTo>
                    <a:lnTo>
                      <a:pt x="49" y="106"/>
                    </a:lnTo>
                    <a:lnTo>
                      <a:pt x="51" y="105"/>
                    </a:lnTo>
                    <a:lnTo>
                      <a:pt x="49" y="102"/>
                    </a:lnTo>
                    <a:lnTo>
                      <a:pt x="46" y="100"/>
                    </a:lnTo>
                    <a:lnTo>
                      <a:pt x="43" y="99"/>
                    </a:lnTo>
                    <a:lnTo>
                      <a:pt x="43" y="99"/>
                    </a:lnTo>
                    <a:lnTo>
                      <a:pt x="11" y="102"/>
                    </a:lnTo>
                    <a:lnTo>
                      <a:pt x="11" y="102"/>
                    </a:lnTo>
                    <a:lnTo>
                      <a:pt x="3" y="100"/>
                    </a:lnTo>
                    <a:lnTo>
                      <a:pt x="0" y="99"/>
                    </a:lnTo>
                    <a:lnTo>
                      <a:pt x="0" y="97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6" y="87"/>
                    </a:lnTo>
                    <a:lnTo>
                      <a:pt x="7" y="84"/>
                    </a:lnTo>
                    <a:lnTo>
                      <a:pt x="7" y="83"/>
                    </a:lnTo>
                    <a:lnTo>
                      <a:pt x="7" y="83"/>
                    </a:lnTo>
                    <a:lnTo>
                      <a:pt x="7" y="83"/>
                    </a:lnTo>
                    <a:lnTo>
                      <a:pt x="1" y="83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0" y="79"/>
                    </a:lnTo>
                    <a:lnTo>
                      <a:pt x="7" y="71"/>
                    </a:lnTo>
                    <a:lnTo>
                      <a:pt x="11" y="67"/>
                    </a:lnTo>
                    <a:lnTo>
                      <a:pt x="11" y="67"/>
                    </a:lnTo>
                    <a:lnTo>
                      <a:pt x="17" y="67"/>
                    </a:lnTo>
                    <a:lnTo>
                      <a:pt x="19" y="66"/>
                    </a:lnTo>
                    <a:lnTo>
                      <a:pt x="19" y="64"/>
                    </a:lnTo>
                    <a:lnTo>
                      <a:pt x="19" y="64"/>
                    </a:lnTo>
                    <a:lnTo>
                      <a:pt x="16" y="5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20" y="42"/>
                    </a:lnTo>
                    <a:lnTo>
                      <a:pt x="23" y="35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42" y="6"/>
                    </a:lnTo>
                    <a:lnTo>
                      <a:pt x="48" y="3"/>
                    </a:lnTo>
                    <a:lnTo>
                      <a:pt x="53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3" y="5"/>
                    </a:lnTo>
                    <a:lnTo>
                      <a:pt x="51" y="9"/>
                    </a:lnTo>
                    <a:lnTo>
                      <a:pt x="51" y="9"/>
                    </a:lnTo>
                    <a:lnTo>
                      <a:pt x="51" y="12"/>
                    </a:lnTo>
                    <a:lnTo>
                      <a:pt x="52" y="15"/>
                    </a:lnTo>
                    <a:lnTo>
                      <a:pt x="51" y="16"/>
                    </a:lnTo>
                    <a:lnTo>
                      <a:pt x="51" y="16"/>
                    </a:lnTo>
                    <a:lnTo>
                      <a:pt x="46" y="24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0" y="42"/>
                    </a:lnTo>
                    <a:lnTo>
                      <a:pt x="39" y="51"/>
                    </a:lnTo>
                    <a:lnTo>
                      <a:pt x="39" y="51"/>
                    </a:lnTo>
                    <a:lnTo>
                      <a:pt x="43" y="44"/>
                    </a:lnTo>
                    <a:lnTo>
                      <a:pt x="48" y="42"/>
                    </a:lnTo>
                    <a:lnTo>
                      <a:pt x="51" y="41"/>
                    </a:lnTo>
                    <a:lnTo>
                      <a:pt x="51" y="41"/>
                    </a:lnTo>
                    <a:lnTo>
                      <a:pt x="52" y="42"/>
                    </a:lnTo>
                    <a:lnTo>
                      <a:pt x="53" y="44"/>
                    </a:lnTo>
                    <a:lnTo>
                      <a:pt x="55" y="48"/>
                    </a:lnTo>
                    <a:lnTo>
                      <a:pt x="55" y="48"/>
                    </a:lnTo>
                    <a:lnTo>
                      <a:pt x="55" y="51"/>
                    </a:lnTo>
                    <a:lnTo>
                      <a:pt x="58" y="55"/>
                    </a:lnTo>
                    <a:lnTo>
                      <a:pt x="61" y="57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8" y="57"/>
                    </a:lnTo>
                    <a:lnTo>
                      <a:pt x="72" y="57"/>
                    </a:lnTo>
                    <a:lnTo>
                      <a:pt x="72" y="57"/>
                    </a:lnTo>
                    <a:lnTo>
                      <a:pt x="84" y="58"/>
                    </a:lnTo>
                    <a:lnTo>
                      <a:pt x="90" y="60"/>
                    </a:lnTo>
                    <a:lnTo>
                      <a:pt x="91" y="61"/>
                    </a:lnTo>
                    <a:lnTo>
                      <a:pt x="91" y="61"/>
                    </a:lnTo>
                    <a:lnTo>
                      <a:pt x="88" y="66"/>
                    </a:lnTo>
                    <a:lnTo>
                      <a:pt x="88" y="68"/>
                    </a:lnTo>
                    <a:lnTo>
                      <a:pt x="90" y="73"/>
                    </a:lnTo>
                    <a:lnTo>
                      <a:pt x="90" y="73"/>
                    </a:lnTo>
                    <a:lnTo>
                      <a:pt x="91" y="77"/>
                    </a:lnTo>
                    <a:lnTo>
                      <a:pt x="91" y="80"/>
                    </a:lnTo>
                    <a:lnTo>
                      <a:pt x="93" y="83"/>
                    </a:lnTo>
                    <a:lnTo>
                      <a:pt x="93" y="83"/>
                    </a:lnTo>
                    <a:lnTo>
                      <a:pt x="93" y="83"/>
                    </a:lnTo>
                    <a:lnTo>
                      <a:pt x="95" y="81"/>
                    </a:lnTo>
                    <a:lnTo>
                      <a:pt x="95" y="81"/>
                    </a:lnTo>
                    <a:lnTo>
                      <a:pt x="95" y="83"/>
                    </a:lnTo>
                    <a:lnTo>
                      <a:pt x="95" y="83"/>
                    </a:lnTo>
                    <a:lnTo>
                      <a:pt x="90" y="96"/>
                    </a:lnTo>
                    <a:lnTo>
                      <a:pt x="90" y="96"/>
                    </a:lnTo>
                    <a:lnTo>
                      <a:pt x="91" y="96"/>
                    </a:lnTo>
                    <a:lnTo>
                      <a:pt x="94" y="93"/>
                    </a:lnTo>
                    <a:lnTo>
                      <a:pt x="98" y="92"/>
                    </a:lnTo>
                    <a:lnTo>
                      <a:pt x="98" y="92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97" y="99"/>
                    </a:lnTo>
                    <a:lnTo>
                      <a:pt x="97" y="102"/>
                    </a:lnTo>
                    <a:lnTo>
                      <a:pt x="97" y="102"/>
                    </a:lnTo>
                    <a:lnTo>
                      <a:pt x="97" y="102"/>
                    </a:lnTo>
                    <a:lnTo>
                      <a:pt x="101" y="100"/>
                    </a:lnTo>
                    <a:lnTo>
                      <a:pt x="103" y="100"/>
                    </a:lnTo>
                    <a:lnTo>
                      <a:pt x="104" y="102"/>
                    </a:lnTo>
                    <a:lnTo>
                      <a:pt x="104" y="102"/>
                    </a:lnTo>
                    <a:lnTo>
                      <a:pt x="103" y="116"/>
                    </a:lnTo>
                    <a:lnTo>
                      <a:pt x="100" y="122"/>
                    </a:lnTo>
                    <a:lnTo>
                      <a:pt x="98" y="125"/>
                    </a:lnTo>
                    <a:lnTo>
                      <a:pt x="97" y="125"/>
                    </a:lnTo>
                    <a:lnTo>
                      <a:pt x="97" y="125"/>
                    </a:lnTo>
                    <a:lnTo>
                      <a:pt x="94" y="121"/>
                    </a:lnTo>
                    <a:lnTo>
                      <a:pt x="93" y="118"/>
                    </a:lnTo>
                    <a:lnTo>
                      <a:pt x="93" y="115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88" y="115"/>
                    </a:lnTo>
                    <a:lnTo>
                      <a:pt x="85" y="116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1" y="118"/>
                    </a:lnTo>
                    <a:lnTo>
                      <a:pt x="81" y="118"/>
                    </a:lnTo>
                    <a:lnTo>
                      <a:pt x="84" y="110"/>
                    </a:lnTo>
                    <a:lnTo>
                      <a:pt x="84" y="108"/>
                    </a:lnTo>
                    <a:lnTo>
                      <a:pt x="84" y="105"/>
                    </a:lnTo>
                    <a:lnTo>
                      <a:pt x="84" y="105"/>
                    </a:lnTo>
                    <a:lnTo>
                      <a:pt x="81" y="99"/>
                    </a:lnTo>
                    <a:lnTo>
                      <a:pt x="81" y="96"/>
                    </a:lnTo>
                    <a:lnTo>
                      <a:pt x="79" y="96"/>
                    </a:lnTo>
                    <a:lnTo>
                      <a:pt x="79" y="96"/>
                    </a:lnTo>
                    <a:lnTo>
                      <a:pt x="77" y="102"/>
                    </a:lnTo>
                    <a:lnTo>
                      <a:pt x="75" y="105"/>
                    </a:lnTo>
                    <a:lnTo>
                      <a:pt x="72" y="106"/>
                    </a:lnTo>
                    <a:lnTo>
                      <a:pt x="72" y="106"/>
                    </a:lnTo>
                    <a:lnTo>
                      <a:pt x="69" y="106"/>
                    </a:lnTo>
                    <a:lnTo>
                      <a:pt x="68" y="110"/>
                    </a:lnTo>
                    <a:lnTo>
                      <a:pt x="68" y="110"/>
                    </a:lnTo>
                    <a:lnTo>
                      <a:pt x="65" y="116"/>
                    </a:lnTo>
                    <a:lnTo>
                      <a:pt x="62" y="119"/>
                    </a:lnTo>
                    <a:lnTo>
                      <a:pt x="61" y="121"/>
                    </a:lnTo>
                    <a:lnTo>
                      <a:pt x="61" y="121"/>
                    </a:lnTo>
                    <a:lnTo>
                      <a:pt x="55" y="122"/>
                    </a:lnTo>
                    <a:lnTo>
                      <a:pt x="52" y="121"/>
                    </a:lnTo>
                    <a:lnTo>
                      <a:pt x="49" y="11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22" name="Freeform 1378"/>
              <p:cNvSpPr>
                <a:spLocks/>
              </p:cNvSpPr>
              <p:nvPr/>
            </p:nvSpPr>
            <p:spPr bwMode="auto">
              <a:xfrm>
                <a:off x="3122734" y="2046929"/>
                <a:ext cx="12860" cy="28689"/>
              </a:xfrm>
              <a:custGeom>
                <a:avLst/>
                <a:gdLst>
                  <a:gd name="T0" fmla="*/ 4 w 13"/>
                  <a:gd name="T1" fmla="*/ 29 h 29"/>
                  <a:gd name="T2" fmla="*/ 4 w 13"/>
                  <a:gd name="T3" fmla="*/ 29 h 29"/>
                  <a:gd name="T4" fmla="*/ 1 w 13"/>
                  <a:gd name="T5" fmla="*/ 27 h 29"/>
                  <a:gd name="T6" fmla="*/ 0 w 13"/>
                  <a:gd name="T7" fmla="*/ 24 h 29"/>
                  <a:gd name="T8" fmla="*/ 0 w 13"/>
                  <a:gd name="T9" fmla="*/ 14 h 29"/>
                  <a:gd name="T10" fmla="*/ 1 w 13"/>
                  <a:gd name="T11" fmla="*/ 4 h 29"/>
                  <a:gd name="T12" fmla="*/ 3 w 13"/>
                  <a:gd name="T13" fmla="*/ 1 h 29"/>
                  <a:gd name="T14" fmla="*/ 4 w 13"/>
                  <a:gd name="T15" fmla="*/ 0 h 29"/>
                  <a:gd name="T16" fmla="*/ 4 w 13"/>
                  <a:gd name="T17" fmla="*/ 0 h 29"/>
                  <a:gd name="T18" fmla="*/ 9 w 13"/>
                  <a:gd name="T19" fmla="*/ 0 h 29"/>
                  <a:gd name="T20" fmla="*/ 12 w 13"/>
                  <a:gd name="T21" fmla="*/ 3 h 29"/>
                  <a:gd name="T22" fmla="*/ 13 w 13"/>
                  <a:gd name="T23" fmla="*/ 7 h 29"/>
                  <a:gd name="T24" fmla="*/ 13 w 13"/>
                  <a:gd name="T25" fmla="*/ 10 h 29"/>
                  <a:gd name="T26" fmla="*/ 13 w 13"/>
                  <a:gd name="T27" fmla="*/ 10 h 29"/>
                  <a:gd name="T28" fmla="*/ 13 w 13"/>
                  <a:gd name="T29" fmla="*/ 14 h 29"/>
                  <a:gd name="T30" fmla="*/ 10 w 13"/>
                  <a:gd name="T31" fmla="*/ 22 h 29"/>
                  <a:gd name="T32" fmla="*/ 7 w 13"/>
                  <a:gd name="T33" fmla="*/ 27 h 29"/>
                  <a:gd name="T34" fmla="*/ 6 w 13"/>
                  <a:gd name="T35" fmla="*/ 29 h 29"/>
                  <a:gd name="T36" fmla="*/ 4 w 13"/>
                  <a:gd name="T37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29">
                    <a:moveTo>
                      <a:pt x="4" y="29"/>
                    </a:moveTo>
                    <a:lnTo>
                      <a:pt x="4" y="29"/>
                    </a:lnTo>
                    <a:lnTo>
                      <a:pt x="1" y="27"/>
                    </a:lnTo>
                    <a:lnTo>
                      <a:pt x="0" y="24"/>
                    </a:lnTo>
                    <a:lnTo>
                      <a:pt x="0" y="14"/>
                    </a:lnTo>
                    <a:lnTo>
                      <a:pt x="1" y="4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12" y="3"/>
                    </a:lnTo>
                    <a:lnTo>
                      <a:pt x="13" y="7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3" y="14"/>
                    </a:lnTo>
                    <a:lnTo>
                      <a:pt x="10" y="22"/>
                    </a:lnTo>
                    <a:lnTo>
                      <a:pt x="7" y="27"/>
                    </a:lnTo>
                    <a:lnTo>
                      <a:pt x="6" y="29"/>
                    </a:lnTo>
                    <a:lnTo>
                      <a:pt x="4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23" name="Freeform 1379"/>
              <p:cNvSpPr>
                <a:spLocks/>
              </p:cNvSpPr>
              <p:nvPr/>
            </p:nvSpPr>
            <p:spPr bwMode="auto">
              <a:xfrm>
                <a:off x="3122734" y="2046929"/>
                <a:ext cx="12860" cy="28689"/>
              </a:xfrm>
              <a:custGeom>
                <a:avLst/>
                <a:gdLst>
                  <a:gd name="T0" fmla="*/ 4 w 13"/>
                  <a:gd name="T1" fmla="*/ 29 h 29"/>
                  <a:gd name="T2" fmla="*/ 4 w 13"/>
                  <a:gd name="T3" fmla="*/ 29 h 29"/>
                  <a:gd name="T4" fmla="*/ 1 w 13"/>
                  <a:gd name="T5" fmla="*/ 27 h 29"/>
                  <a:gd name="T6" fmla="*/ 0 w 13"/>
                  <a:gd name="T7" fmla="*/ 24 h 29"/>
                  <a:gd name="T8" fmla="*/ 0 w 13"/>
                  <a:gd name="T9" fmla="*/ 14 h 29"/>
                  <a:gd name="T10" fmla="*/ 1 w 13"/>
                  <a:gd name="T11" fmla="*/ 4 h 29"/>
                  <a:gd name="T12" fmla="*/ 3 w 13"/>
                  <a:gd name="T13" fmla="*/ 1 h 29"/>
                  <a:gd name="T14" fmla="*/ 4 w 13"/>
                  <a:gd name="T15" fmla="*/ 0 h 29"/>
                  <a:gd name="T16" fmla="*/ 4 w 13"/>
                  <a:gd name="T17" fmla="*/ 0 h 29"/>
                  <a:gd name="T18" fmla="*/ 9 w 13"/>
                  <a:gd name="T19" fmla="*/ 0 h 29"/>
                  <a:gd name="T20" fmla="*/ 12 w 13"/>
                  <a:gd name="T21" fmla="*/ 3 h 29"/>
                  <a:gd name="T22" fmla="*/ 13 w 13"/>
                  <a:gd name="T23" fmla="*/ 7 h 29"/>
                  <a:gd name="T24" fmla="*/ 13 w 13"/>
                  <a:gd name="T25" fmla="*/ 10 h 29"/>
                  <a:gd name="T26" fmla="*/ 13 w 13"/>
                  <a:gd name="T27" fmla="*/ 10 h 29"/>
                  <a:gd name="T28" fmla="*/ 13 w 13"/>
                  <a:gd name="T29" fmla="*/ 14 h 29"/>
                  <a:gd name="T30" fmla="*/ 10 w 13"/>
                  <a:gd name="T31" fmla="*/ 22 h 29"/>
                  <a:gd name="T32" fmla="*/ 7 w 13"/>
                  <a:gd name="T33" fmla="*/ 27 h 29"/>
                  <a:gd name="T34" fmla="*/ 6 w 13"/>
                  <a:gd name="T35" fmla="*/ 29 h 29"/>
                  <a:gd name="T36" fmla="*/ 4 w 13"/>
                  <a:gd name="T37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29">
                    <a:moveTo>
                      <a:pt x="4" y="29"/>
                    </a:moveTo>
                    <a:lnTo>
                      <a:pt x="4" y="29"/>
                    </a:lnTo>
                    <a:lnTo>
                      <a:pt x="1" y="27"/>
                    </a:lnTo>
                    <a:lnTo>
                      <a:pt x="0" y="24"/>
                    </a:lnTo>
                    <a:lnTo>
                      <a:pt x="0" y="14"/>
                    </a:lnTo>
                    <a:lnTo>
                      <a:pt x="1" y="4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12" y="3"/>
                    </a:lnTo>
                    <a:lnTo>
                      <a:pt x="13" y="7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3" y="14"/>
                    </a:lnTo>
                    <a:lnTo>
                      <a:pt x="10" y="22"/>
                    </a:lnTo>
                    <a:lnTo>
                      <a:pt x="7" y="27"/>
                    </a:lnTo>
                    <a:lnTo>
                      <a:pt x="6" y="29"/>
                    </a:lnTo>
                    <a:lnTo>
                      <a:pt x="4" y="2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24" name="Freeform 1380"/>
              <p:cNvSpPr>
                <a:spLocks/>
              </p:cNvSpPr>
              <p:nvPr/>
            </p:nvSpPr>
            <p:spPr bwMode="auto">
              <a:xfrm>
                <a:off x="3011937" y="1926240"/>
                <a:ext cx="106840" cy="105851"/>
              </a:xfrm>
              <a:custGeom>
                <a:avLst/>
                <a:gdLst>
                  <a:gd name="T0" fmla="*/ 24 w 108"/>
                  <a:gd name="T1" fmla="*/ 107 h 107"/>
                  <a:gd name="T2" fmla="*/ 21 w 108"/>
                  <a:gd name="T3" fmla="*/ 104 h 107"/>
                  <a:gd name="T4" fmla="*/ 22 w 108"/>
                  <a:gd name="T5" fmla="*/ 91 h 107"/>
                  <a:gd name="T6" fmla="*/ 21 w 108"/>
                  <a:gd name="T7" fmla="*/ 88 h 107"/>
                  <a:gd name="T8" fmla="*/ 11 w 108"/>
                  <a:gd name="T9" fmla="*/ 87 h 107"/>
                  <a:gd name="T10" fmla="*/ 2 w 108"/>
                  <a:gd name="T11" fmla="*/ 86 h 107"/>
                  <a:gd name="T12" fmla="*/ 0 w 108"/>
                  <a:gd name="T13" fmla="*/ 84 h 107"/>
                  <a:gd name="T14" fmla="*/ 0 w 108"/>
                  <a:gd name="T15" fmla="*/ 77 h 107"/>
                  <a:gd name="T16" fmla="*/ 8 w 108"/>
                  <a:gd name="T17" fmla="*/ 71 h 107"/>
                  <a:gd name="T18" fmla="*/ 18 w 108"/>
                  <a:gd name="T19" fmla="*/ 65 h 107"/>
                  <a:gd name="T20" fmla="*/ 22 w 108"/>
                  <a:gd name="T21" fmla="*/ 60 h 107"/>
                  <a:gd name="T22" fmla="*/ 22 w 108"/>
                  <a:gd name="T23" fmla="*/ 35 h 107"/>
                  <a:gd name="T24" fmla="*/ 24 w 108"/>
                  <a:gd name="T25" fmla="*/ 13 h 107"/>
                  <a:gd name="T26" fmla="*/ 27 w 108"/>
                  <a:gd name="T27" fmla="*/ 2 h 107"/>
                  <a:gd name="T28" fmla="*/ 29 w 108"/>
                  <a:gd name="T29" fmla="*/ 0 h 107"/>
                  <a:gd name="T30" fmla="*/ 35 w 108"/>
                  <a:gd name="T31" fmla="*/ 3 h 107"/>
                  <a:gd name="T32" fmla="*/ 38 w 108"/>
                  <a:gd name="T33" fmla="*/ 10 h 107"/>
                  <a:gd name="T34" fmla="*/ 37 w 108"/>
                  <a:gd name="T35" fmla="*/ 19 h 107"/>
                  <a:gd name="T36" fmla="*/ 38 w 108"/>
                  <a:gd name="T37" fmla="*/ 25 h 107"/>
                  <a:gd name="T38" fmla="*/ 38 w 108"/>
                  <a:gd name="T39" fmla="*/ 25 h 107"/>
                  <a:gd name="T40" fmla="*/ 41 w 108"/>
                  <a:gd name="T41" fmla="*/ 23 h 107"/>
                  <a:gd name="T42" fmla="*/ 42 w 108"/>
                  <a:gd name="T43" fmla="*/ 16 h 107"/>
                  <a:gd name="T44" fmla="*/ 44 w 108"/>
                  <a:gd name="T45" fmla="*/ 16 h 107"/>
                  <a:gd name="T46" fmla="*/ 47 w 108"/>
                  <a:gd name="T47" fmla="*/ 18 h 107"/>
                  <a:gd name="T48" fmla="*/ 53 w 108"/>
                  <a:gd name="T49" fmla="*/ 25 h 107"/>
                  <a:gd name="T50" fmla="*/ 56 w 108"/>
                  <a:gd name="T51" fmla="*/ 26 h 107"/>
                  <a:gd name="T52" fmla="*/ 61 w 108"/>
                  <a:gd name="T53" fmla="*/ 31 h 107"/>
                  <a:gd name="T54" fmla="*/ 63 w 108"/>
                  <a:gd name="T55" fmla="*/ 38 h 107"/>
                  <a:gd name="T56" fmla="*/ 70 w 108"/>
                  <a:gd name="T57" fmla="*/ 44 h 107"/>
                  <a:gd name="T58" fmla="*/ 80 w 108"/>
                  <a:gd name="T59" fmla="*/ 46 h 107"/>
                  <a:gd name="T60" fmla="*/ 83 w 108"/>
                  <a:gd name="T61" fmla="*/ 52 h 107"/>
                  <a:gd name="T62" fmla="*/ 86 w 108"/>
                  <a:gd name="T63" fmla="*/ 71 h 107"/>
                  <a:gd name="T64" fmla="*/ 87 w 108"/>
                  <a:gd name="T65" fmla="*/ 74 h 107"/>
                  <a:gd name="T66" fmla="*/ 89 w 108"/>
                  <a:gd name="T67" fmla="*/ 73 h 107"/>
                  <a:gd name="T68" fmla="*/ 92 w 108"/>
                  <a:gd name="T69" fmla="*/ 68 h 107"/>
                  <a:gd name="T70" fmla="*/ 95 w 108"/>
                  <a:gd name="T71" fmla="*/ 68 h 107"/>
                  <a:gd name="T72" fmla="*/ 106 w 108"/>
                  <a:gd name="T73" fmla="*/ 74 h 107"/>
                  <a:gd name="T74" fmla="*/ 108 w 108"/>
                  <a:gd name="T75" fmla="*/ 75 h 107"/>
                  <a:gd name="T76" fmla="*/ 105 w 108"/>
                  <a:gd name="T77" fmla="*/ 84 h 107"/>
                  <a:gd name="T78" fmla="*/ 96 w 108"/>
                  <a:gd name="T79" fmla="*/ 90 h 107"/>
                  <a:gd name="T80" fmla="*/ 90 w 108"/>
                  <a:gd name="T81" fmla="*/ 88 h 107"/>
                  <a:gd name="T82" fmla="*/ 82 w 108"/>
                  <a:gd name="T83" fmla="*/ 84 h 107"/>
                  <a:gd name="T84" fmla="*/ 76 w 108"/>
                  <a:gd name="T85" fmla="*/ 81 h 107"/>
                  <a:gd name="T86" fmla="*/ 69 w 108"/>
                  <a:gd name="T87" fmla="*/ 78 h 107"/>
                  <a:gd name="T88" fmla="*/ 69 w 108"/>
                  <a:gd name="T89" fmla="*/ 74 h 107"/>
                  <a:gd name="T90" fmla="*/ 69 w 108"/>
                  <a:gd name="T91" fmla="*/ 71 h 107"/>
                  <a:gd name="T92" fmla="*/ 67 w 108"/>
                  <a:gd name="T93" fmla="*/ 64 h 107"/>
                  <a:gd name="T94" fmla="*/ 66 w 108"/>
                  <a:gd name="T95" fmla="*/ 64 h 107"/>
                  <a:gd name="T96" fmla="*/ 58 w 108"/>
                  <a:gd name="T97" fmla="*/ 70 h 107"/>
                  <a:gd name="T98" fmla="*/ 54 w 108"/>
                  <a:gd name="T99" fmla="*/ 75 h 107"/>
                  <a:gd name="T100" fmla="*/ 56 w 108"/>
                  <a:gd name="T101" fmla="*/ 83 h 107"/>
                  <a:gd name="T102" fmla="*/ 54 w 108"/>
                  <a:gd name="T103" fmla="*/ 84 h 107"/>
                  <a:gd name="T104" fmla="*/ 48 w 108"/>
                  <a:gd name="T105" fmla="*/ 94 h 107"/>
                  <a:gd name="T106" fmla="*/ 45 w 108"/>
                  <a:gd name="T107" fmla="*/ 103 h 107"/>
                  <a:gd name="T108" fmla="*/ 29 w 108"/>
                  <a:gd name="T109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8" h="107">
                    <a:moveTo>
                      <a:pt x="24" y="107"/>
                    </a:moveTo>
                    <a:lnTo>
                      <a:pt x="24" y="107"/>
                    </a:lnTo>
                    <a:lnTo>
                      <a:pt x="22" y="107"/>
                    </a:lnTo>
                    <a:lnTo>
                      <a:pt x="21" y="104"/>
                    </a:lnTo>
                    <a:lnTo>
                      <a:pt x="21" y="99"/>
                    </a:lnTo>
                    <a:lnTo>
                      <a:pt x="22" y="91"/>
                    </a:lnTo>
                    <a:lnTo>
                      <a:pt x="22" y="88"/>
                    </a:lnTo>
                    <a:lnTo>
                      <a:pt x="21" y="88"/>
                    </a:lnTo>
                    <a:lnTo>
                      <a:pt x="21" y="88"/>
                    </a:lnTo>
                    <a:lnTo>
                      <a:pt x="11" y="87"/>
                    </a:lnTo>
                    <a:lnTo>
                      <a:pt x="5" y="87"/>
                    </a:lnTo>
                    <a:lnTo>
                      <a:pt x="2" y="86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77"/>
                    </a:lnTo>
                    <a:lnTo>
                      <a:pt x="2" y="74"/>
                    </a:lnTo>
                    <a:lnTo>
                      <a:pt x="8" y="71"/>
                    </a:lnTo>
                    <a:lnTo>
                      <a:pt x="8" y="71"/>
                    </a:lnTo>
                    <a:lnTo>
                      <a:pt x="18" y="65"/>
                    </a:lnTo>
                    <a:lnTo>
                      <a:pt x="21" y="64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35"/>
                    </a:lnTo>
                    <a:lnTo>
                      <a:pt x="24" y="13"/>
                    </a:lnTo>
                    <a:lnTo>
                      <a:pt x="24" y="13"/>
                    </a:lnTo>
                    <a:lnTo>
                      <a:pt x="27" y="4"/>
                    </a:lnTo>
                    <a:lnTo>
                      <a:pt x="27" y="2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2" y="2"/>
                    </a:lnTo>
                    <a:lnTo>
                      <a:pt x="35" y="3"/>
                    </a:lnTo>
                    <a:lnTo>
                      <a:pt x="37" y="7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7" y="19"/>
                    </a:lnTo>
                    <a:lnTo>
                      <a:pt x="37" y="23"/>
                    </a:lnTo>
                    <a:lnTo>
                      <a:pt x="38" y="25"/>
                    </a:lnTo>
                    <a:lnTo>
                      <a:pt x="38" y="25"/>
                    </a:lnTo>
                    <a:lnTo>
                      <a:pt x="38" y="25"/>
                    </a:lnTo>
                    <a:lnTo>
                      <a:pt x="40" y="25"/>
                    </a:lnTo>
                    <a:lnTo>
                      <a:pt x="41" y="23"/>
                    </a:lnTo>
                    <a:lnTo>
                      <a:pt x="41" y="19"/>
                    </a:lnTo>
                    <a:lnTo>
                      <a:pt x="42" y="16"/>
                    </a:lnTo>
                    <a:lnTo>
                      <a:pt x="44" y="15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7" y="18"/>
                    </a:lnTo>
                    <a:lnTo>
                      <a:pt x="50" y="20"/>
                    </a:lnTo>
                    <a:lnTo>
                      <a:pt x="53" y="25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8" y="28"/>
                    </a:lnTo>
                    <a:lnTo>
                      <a:pt x="61" y="31"/>
                    </a:lnTo>
                    <a:lnTo>
                      <a:pt x="63" y="38"/>
                    </a:lnTo>
                    <a:lnTo>
                      <a:pt x="63" y="38"/>
                    </a:lnTo>
                    <a:lnTo>
                      <a:pt x="66" y="42"/>
                    </a:lnTo>
                    <a:lnTo>
                      <a:pt x="70" y="44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2" y="48"/>
                    </a:lnTo>
                    <a:lnTo>
                      <a:pt x="83" y="52"/>
                    </a:lnTo>
                    <a:lnTo>
                      <a:pt x="84" y="62"/>
                    </a:lnTo>
                    <a:lnTo>
                      <a:pt x="86" y="71"/>
                    </a:lnTo>
                    <a:lnTo>
                      <a:pt x="86" y="74"/>
                    </a:lnTo>
                    <a:lnTo>
                      <a:pt x="87" y="74"/>
                    </a:lnTo>
                    <a:lnTo>
                      <a:pt x="87" y="74"/>
                    </a:lnTo>
                    <a:lnTo>
                      <a:pt x="89" y="73"/>
                    </a:lnTo>
                    <a:lnTo>
                      <a:pt x="90" y="70"/>
                    </a:lnTo>
                    <a:lnTo>
                      <a:pt x="92" y="68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103" y="73"/>
                    </a:lnTo>
                    <a:lnTo>
                      <a:pt x="106" y="74"/>
                    </a:lnTo>
                    <a:lnTo>
                      <a:pt x="108" y="75"/>
                    </a:lnTo>
                    <a:lnTo>
                      <a:pt x="108" y="75"/>
                    </a:lnTo>
                    <a:lnTo>
                      <a:pt x="108" y="80"/>
                    </a:lnTo>
                    <a:lnTo>
                      <a:pt x="105" y="84"/>
                    </a:lnTo>
                    <a:lnTo>
                      <a:pt x="100" y="88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0" y="88"/>
                    </a:lnTo>
                    <a:lnTo>
                      <a:pt x="86" y="86"/>
                    </a:lnTo>
                    <a:lnTo>
                      <a:pt x="82" y="84"/>
                    </a:lnTo>
                    <a:lnTo>
                      <a:pt x="76" y="81"/>
                    </a:lnTo>
                    <a:lnTo>
                      <a:pt x="76" y="81"/>
                    </a:lnTo>
                    <a:lnTo>
                      <a:pt x="71" y="80"/>
                    </a:lnTo>
                    <a:lnTo>
                      <a:pt x="69" y="78"/>
                    </a:lnTo>
                    <a:lnTo>
                      <a:pt x="67" y="75"/>
                    </a:lnTo>
                    <a:lnTo>
                      <a:pt x="69" y="74"/>
                    </a:lnTo>
                    <a:lnTo>
                      <a:pt x="69" y="74"/>
                    </a:lnTo>
                    <a:lnTo>
                      <a:pt x="69" y="71"/>
                    </a:lnTo>
                    <a:lnTo>
                      <a:pt x="69" y="67"/>
                    </a:lnTo>
                    <a:lnTo>
                      <a:pt x="67" y="64"/>
                    </a:lnTo>
                    <a:lnTo>
                      <a:pt x="66" y="64"/>
                    </a:lnTo>
                    <a:lnTo>
                      <a:pt x="66" y="64"/>
                    </a:lnTo>
                    <a:lnTo>
                      <a:pt x="63" y="65"/>
                    </a:lnTo>
                    <a:lnTo>
                      <a:pt x="58" y="70"/>
                    </a:lnTo>
                    <a:lnTo>
                      <a:pt x="54" y="75"/>
                    </a:lnTo>
                    <a:lnTo>
                      <a:pt x="54" y="75"/>
                    </a:lnTo>
                    <a:lnTo>
                      <a:pt x="56" y="80"/>
                    </a:lnTo>
                    <a:lnTo>
                      <a:pt x="56" y="83"/>
                    </a:lnTo>
                    <a:lnTo>
                      <a:pt x="54" y="84"/>
                    </a:lnTo>
                    <a:lnTo>
                      <a:pt x="54" y="84"/>
                    </a:lnTo>
                    <a:lnTo>
                      <a:pt x="51" y="88"/>
                    </a:lnTo>
                    <a:lnTo>
                      <a:pt x="48" y="94"/>
                    </a:lnTo>
                    <a:lnTo>
                      <a:pt x="45" y="103"/>
                    </a:lnTo>
                    <a:lnTo>
                      <a:pt x="45" y="103"/>
                    </a:lnTo>
                    <a:lnTo>
                      <a:pt x="37" y="106"/>
                    </a:lnTo>
                    <a:lnTo>
                      <a:pt x="29" y="107"/>
                    </a:lnTo>
                    <a:lnTo>
                      <a:pt x="24" y="10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25" name="Freeform 1381"/>
              <p:cNvSpPr>
                <a:spLocks/>
              </p:cNvSpPr>
              <p:nvPr/>
            </p:nvSpPr>
            <p:spPr bwMode="auto">
              <a:xfrm>
                <a:off x="3011937" y="1926240"/>
                <a:ext cx="106840" cy="105851"/>
              </a:xfrm>
              <a:custGeom>
                <a:avLst/>
                <a:gdLst>
                  <a:gd name="T0" fmla="*/ 24 w 108"/>
                  <a:gd name="T1" fmla="*/ 107 h 107"/>
                  <a:gd name="T2" fmla="*/ 21 w 108"/>
                  <a:gd name="T3" fmla="*/ 104 h 107"/>
                  <a:gd name="T4" fmla="*/ 22 w 108"/>
                  <a:gd name="T5" fmla="*/ 91 h 107"/>
                  <a:gd name="T6" fmla="*/ 21 w 108"/>
                  <a:gd name="T7" fmla="*/ 88 h 107"/>
                  <a:gd name="T8" fmla="*/ 11 w 108"/>
                  <a:gd name="T9" fmla="*/ 87 h 107"/>
                  <a:gd name="T10" fmla="*/ 2 w 108"/>
                  <a:gd name="T11" fmla="*/ 86 h 107"/>
                  <a:gd name="T12" fmla="*/ 0 w 108"/>
                  <a:gd name="T13" fmla="*/ 84 h 107"/>
                  <a:gd name="T14" fmla="*/ 0 w 108"/>
                  <a:gd name="T15" fmla="*/ 77 h 107"/>
                  <a:gd name="T16" fmla="*/ 8 w 108"/>
                  <a:gd name="T17" fmla="*/ 71 h 107"/>
                  <a:gd name="T18" fmla="*/ 18 w 108"/>
                  <a:gd name="T19" fmla="*/ 65 h 107"/>
                  <a:gd name="T20" fmla="*/ 22 w 108"/>
                  <a:gd name="T21" fmla="*/ 60 h 107"/>
                  <a:gd name="T22" fmla="*/ 22 w 108"/>
                  <a:gd name="T23" fmla="*/ 35 h 107"/>
                  <a:gd name="T24" fmla="*/ 24 w 108"/>
                  <a:gd name="T25" fmla="*/ 13 h 107"/>
                  <a:gd name="T26" fmla="*/ 27 w 108"/>
                  <a:gd name="T27" fmla="*/ 2 h 107"/>
                  <a:gd name="T28" fmla="*/ 29 w 108"/>
                  <a:gd name="T29" fmla="*/ 0 h 107"/>
                  <a:gd name="T30" fmla="*/ 35 w 108"/>
                  <a:gd name="T31" fmla="*/ 3 h 107"/>
                  <a:gd name="T32" fmla="*/ 38 w 108"/>
                  <a:gd name="T33" fmla="*/ 10 h 107"/>
                  <a:gd name="T34" fmla="*/ 37 w 108"/>
                  <a:gd name="T35" fmla="*/ 19 h 107"/>
                  <a:gd name="T36" fmla="*/ 38 w 108"/>
                  <a:gd name="T37" fmla="*/ 25 h 107"/>
                  <a:gd name="T38" fmla="*/ 38 w 108"/>
                  <a:gd name="T39" fmla="*/ 25 h 107"/>
                  <a:gd name="T40" fmla="*/ 41 w 108"/>
                  <a:gd name="T41" fmla="*/ 23 h 107"/>
                  <a:gd name="T42" fmla="*/ 42 w 108"/>
                  <a:gd name="T43" fmla="*/ 16 h 107"/>
                  <a:gd name="T44" fmla="*/ 44 w 108"/>
                  <a:gd name="T45" fmla="*/ 16 h 107"/>
                  <a:gd name="T46" fmla="*/ 47 w 108"/>
                  <a:gd name="T47" fmla="*/ 18 h 107"/>
                  <a:gd name="T48" fmla="*/ 53 w 108"/>
                  <a:gd name="T49" fmla="*/ 25 h 107"/>
                  <a:gd name="T50" fmla="*/ 56 w 108"/>
                  <a:gd name="T51" fmla="*/ 26 h 107"/>
                  <a:gd name="T52" fmla="*/ 61 w 108"/>
                  <a:gd name="T53" fmla="*/ 31 h 107"/>
                  <a:gd name="T54" fmla="*/ 63 w 108"/>
                  <a:gd name="T55" fmla="*/ 38 h 107"/>
                  <a:gd name="T56" fmla="*/ 70 w 108"/>
                  <a:gd name="T57" fmla="*/ 44 h 107"/>
                  <a:gd name="T58" fmla="*/ 80 w 108"/>
                  <a:gd name="T59" fmla="*/ 46 h 107"/>
                  <a:gd name="T60" fmla="*/ 83 w 108"/>
                  <a:gd name="T61" fmla="*/ 52 h 107"/>
                  <a:gd name="T62" fmla="*/ 86 w 108"/>
                  <a:gd name="T63" fmla="*/ 71 h 107"/>
                  <a:gd name="T64" fmla="*/ 87 w 108"/>
                  <a:gd name="T65" fmla="*/ 74 h 107"/>
                  <a:gd name="T66" fmla="*/ 89 w 108"/>
                  <a:gd name="T67" fmla="*/ 73 h 107"/>
                  <a:gd name="T68" fmla="*/ 92 w 108"/>
                  <a:gd name="T69" fmla="*/ 68 h 107"/>
                  <a:gd name="T70" fmla="*/ 95 w 108"/>
                  <a:gd name="T71" fmla="*/ 68 h 107"/>
                  <a:gd name="T72" fmla="*/ 106 w 108"/>
                  <a:gd name="T73" fmla="*/ 74 h 107"/>
                  <a:gd name="T74" fmla="*/ 108 w 108"/>
                  <a:gd name="T75" fmla="*/ 75 h 107"/>
                  <a:gd name="T76" fmla="*/ 105 w 108"/>
                  <a:gd name="T77" fmla="*/ 84 h 107"/>
                  <a:gd name="T78" fmla="*/ 96 w 108"/>
                  <a:gd name="T79" fmla="*/ 90 h 107"/>
                  <a:gd name="T80" fmla="*/ 90 w 108"/>
                  <a:gd name="T81" fmla="*/ 88 h 107"/>
                  <a:gd name="T82" fmla="*/ 82 w 108"/>
                  <a:gd name="T83" fmla="*/ 84 h 107"/>
                  <a:gd name="T84" fmla="*/ 76 w 108"/>
                  <a:gd name="T85" fmla="*/ 81 h 107"/>
                  <a:gd name="T86" fmla="*/ 69 w 108"/>
                  <a:gd name="T87" fmla="*/ 78 h 107"/>
                  <a:gd name="T88" fmla="*/ 69 w 108"/>
                  <a:gd name="T89" fmla="*/ 74 h 107"/>
                  <a:gd name="T90" fmla="*/ 69 w 108"/>
                  <a:gd name="T91" fmla="*/ 71 h 107"/>
                  <a:gd name="T92" fmla="*/ 67 w 108"/>
                  <a:gd name="T93" fmla="*/ 64 h 107"/>
                  <a:gd name="T94" fmla="*/ 66 w 108"/>
                  <a:gd name="T95" fmla="*/ 64 h 107"/>
                  <a:gd name="T96" fmla="*/ 58 w 108"/>
                  <a:gd name="T97" fmla="*/ 70 h 107"/>
                  <a:gd name="T98" fmla="*/ 54 w 108"/>
                  <a:gd name="T99" fmla="*/ 75 h 107"/>
                  <a:gd name="T100" fmla="*/ 56 w 108"/>
                  <a:gd name="T101" fmla="*/ 83 h 107"/>
                  <a:gd name="T102" fmla="*/ 54 w 108"/>
                  <a:gd name="T103" fmla="*/ 84 h 107"/>
                  <a:gd name="T104" fmla="*/ 48 w 108"/>
                  <a:gd name="T105" fmla="*/ 94 h 107"/>
                  <a:gd name="T106" fmla="*/ 45 w 108"/>
                  <a:gd name="T107" fmla="*/ 103 h 107"/>
                  <a:gd name="T108" fmla="*/ 29 w 108"/>
                  <a:gd name="T109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8" h="107">
                    <a:moveTo>
                      <a:pt x="24" y="107"/>
                    </a:moveTo>
                    <a:lnTo>
                      <a:pt x="24" y="107"/>
                    </a:lnTo>
                    <a:lnTo>
                      <a:pt x="22" y="107"/>
                    </a:lnTo>
                    <a:lnTo>
                      <a:pt x="21" y="104"/>
                    </a:lnTo>
                    <a:lnTo>
                      <a:pt x="21" y="99"/>
                    </a:lnTo>
                    <a:lnTo>
                      <a:pt x="22" y="91"/>
                    </a:lnTo>
                    <a:lnTo>
                      <a:pt x="22" y="88"/>
                    </a:lnTo>
                    <a:lnTo>
                      <a:pt x="21" y="88"/>
                    </a:lnTo>
                    <a:lnTo>
                      <a:pt x="21" y="88"/>
                    </a:lnTo>
                    <a:lnTo>
                      <a:pt x="11" y="87"/>
                    </a:lnTo>
                    <a:lnTo>
                      <a:pt x="5" y="87"/>
                    </a:lnTo>
                    <a:lnTo>
                      <a:pt x="2" y="86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77"/>
                    </a:lnTo>
                    <a:lnTo>
                      <a:pt x="2" y="74"/>
                    </a:lnTo>
                    <a:lnTo>
                      <a:pt x="8" y="71"/>
                    </a:lnTo>
                    <a:lnTo>
                      <a:pt x="8" y="71"/>
                    </a:lnTo>
                    <a:lnTo>
                      <a:pt x="18" y="65"/>
                    </a:lnTo>
                    <a:lnTo>
                      <a:pt x="21" y="64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35"/>
                    </a:lnTo>
                    <a:lnTo>
                      <a:pt x="24" y="13"/>
                    </a:lnTo>
                    <a:lnTo>
                      <a:pt x="24" y="13"/>
                    </a:lnTo>
                    <a:lnTo>
                      <a:pt x="27" y="4"/>
                    </a:lnTo>
                    <a:lnTo>
                      <a:pt x="27" y="2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2" y="2"/>
                    </a:lnTo>
                    <a:lnTo>
                      <a:pt x="35" y="3"/>
                    </a:lnTo>
                    <a:lnTo>
                      <a:pt x="37" y="7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7" y="19"/>
                    </a:lnTo>
                    <a:lnTo>
                      <a:pt x="37" y="23"/>
                    </a:lnTo>
                    <a:lnTo>
                      <a:pt x="38" y="25"/>
                    </a:lnTo>
                    <a:lnTo>
                      <a:pt x="38" y="25"/>
                    </a:lnTo>
                    <a:lnTo>
                      <a:pt x="38" y="25"/>
                    </a:lnTo>
                    <a:lnTo>
                      <a:pt x="40" y="25"/>
                    </a:lnTo>
                    <a:lnTo>
                      <a:pt x="41" y="23"/>
                    </a:lnTo>
                    <a:lnTo>
                      <a:pt x="41" y="19"/>
                    </a:lnTo>
                    <a:lnTo>
                      <a:pt x="42" y="16"/>
                    </a:lnTo>
                    <a:lnTo>
                      <a:pt x="44" y="15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7" y="18"/>
                    </a:lnTo>
                    <a:lnTo>
                      <a:pt x="50" y="20"/>
                    </a:lnTo>
                    <a:lnTo>
                      <a:pt x="53" y="25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8" y="28"/>
                    </a:lnTo>
                    <a:lnTo>
                      <a:pt x="61" y="31"/>
                    </a:lnTo>
                    <a:lnTo>
                      <a:pt x="63" y="38"/>
                    </a:lnTo>
                    <a:lnTo>
                      <a:pt x="63" y="38"/>
                    </a:lnTo>
                    <a:lnTo>
                      <a:pt x="66" y="42"/>
                    </a:lnTo>
                    <a:lnTo>
                      <a:pt x="70" y="44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2" y="48"/>
                    </a:lnTo>
                    <a:lnTo>
                      <a:pt x="83" y="52"/>
                    </a:lnTo>
                    <a:lnTo>
                      <a:pt x="84" y="62"/>
                    </a:lnTo>
                    <a:lnTo>
                      <a:pt x="86" y="71"/>
                    </a:lnTo>
                    <a:lnTo>
                      <a:pt x="86" y="74"/>
                    </a:lnTo>
                    <a:lnTo>
                      <a:pt x="87" y="74"/>
                    </a:lnTo>
                    <a:lnTo>
                      <a:pt x="87" y="74"/>
                    </a:lnTo>
                    <a:lnTo>
                      <a:pt x="89" y="73"/>
                    </a:lnTo>
                    <a:lnTo>
                      <a:pt x="90" y="70"/>
                    </a:lnTo>
                    <a:lnTo>
                      <a:pt x="92" y="68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103" y="73"/>
                    </a:lnTo>
                    <a:lnTo>
                      <a:pt x="106" y="74"/>
                    </a:lnTo>
                    <a:lnTo>
                      <a:pt x="108" y="75"/>
                    </a:lnTo>
                    <a:lnTo>
                      <a:pt x="108" y="75"/>
                    </a:lnTo>
                    <a:lnTo>
                      <a:pt x="108" y="80"/>
                    </a:lnTo>
                    <a:lnTo>
                      <a:pt x="105" y="84"/>
                    </a:lnTo>
                    <a:lnTo>
                      <a:pt x="100" y="88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0" y="88"/>
                    </a:lnTo>
                    <a:lnTo>
                      <a:pt x="86" y="86"/>
                    </a:lnTo>
                    <a:lnTo>
                      <a:pt x="82" y="84"/>
                    </a:lnTo>
                    <a:lnTo>
                      <a:pt x="76" y="81"/>
                    </a:lnTo>
                    <a:lnTo>
                      <a:pt x="76" y="81"/>
                    </a:lnTo>
                    <a:lnTo>
                      <a:pt x="71" y="80"/>
                    </a:lnTo>
                    <a:lnTo>
                      <a:pt x="69" y="78"/>
                    </a:lnTo>
                    <a:lnTo>
                      <a:pt x="67" y="75"/>
                    </a:lnTo>
                    <a:lnTo>
                      <a:pt x="69" y="74"/>
                    </a:lnTo>
                    <a:lnTo>
                      <a:pt x="69" y="74"/>
                    </a:lnTo>
                    <a:lnTo>
                      <a:pt x="69" y="71"/>
                    </a:lnTo>
                    <a:lnTo>
                      <a:pt x="69" y="67"/>
                    </a:lnTo>
                    <a:lnTo>
                      <a:pt x="67" y="64"/>
                    </a:lnTo>
                    <a:lnTo>
                      <a:pt x="66" y="64"/>
                    </a:lnTo>
                    <a:lnTo>
                      <a:pt x="66" y="64"/>
                    </a:lnTo>
                    <a:lnTo>
                      <a:pt x="63" y="65"/>
                    </a:lnTo>
                    <a:lnTo>
                      <a:pt x="58" y="70"/>
                    </a:lnTo>
                    <a:lnTo>
                      <a:pt x="54" y="75"/>
                    </a:lnTo>
                    <a:lnTo>
                      <a:pt x="54" y="75"/>
                    </a:lnTo>
                    <a:lnTo>
                      <a:pt x="56" y="80"/>
                    </a:lnTo>
                    <a:lnTo>
                      <a:pt x="56" y="83"/>
                    </a:lnTo>
                    <a:lnTo>
                      <a:pt x="54" y="84"/>
                    </a:lnTo>
                    <a:lnTo>
                      <a:pt x="54" y="84"/>
                    </a:lnTo>
                    <a:lnTo>
                      <a:pt x="51" y="88"/>
                    </a:lnTo>
                    <a:lnTo>
                      <a:pt x="48" y="94"/>
                    </a:lnTo>
                    <a:lnTo>
                      <a:pt x="45" y="103"/>
                    </a:lnTo>
                    <a:lnTo>
                      <a:pt x="45" y="103"/>
                    </a:lnTo>
                    <a:lnTo>
                      <a:pt x="37" y="106"/>
                    </a:lnTo>
                    <a:lnTo>
                      <a:pt x="29" y="107"/>
                    </a:lnTo>
                    <a:lnTo>
                      <a:pt x="24" y="10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26" name="Freeform 1382"/>
              <p:cNvSpPr>
                <a:spLocks/>
              </p:cNvSpPr>
              <p:nvPr/>
            </p:nvSpPr>
            <p:spPr bwMode="auto">
              <a:xfrm>
                <a:off x="3152412" y="2013294"/>
                <a:ext cx="17807" cy="15828"/>
              </a:xfrm>
              <a:custGeom>
                <a:avLst/>
                <a:gdLst>
                  <a:gd name="T0" fmla="*/ 6 w 18"/>
                  <a:gd name="T1" fmla="*/ 15 h 16"/>
                  <a:gd name="T2" fmla="*/ 6 w 18"/>
                  <a:gd name="T3" fmla="*/ 15 h 16"/>
                  <a:gd name="T4" fmla="*/ 3 w 18"/>
                  <a:gd name="T5" fmla="*/ 12 h 16"/>
                  <a:gd name="T6" fmla="*/ 0 w 18"/>
                  <a:gd name="T7" fmla="*/ 8 h 16"/>
                  <a:gd name="T8" fmla="*/ 0 w 18"/>
                  <a:gd name="T9" fmla="*/ 3 h 16"/>
                  <a:gd name="T10" fmla="*/ 2 w 18"/>
                  <a:gd name="T11" fmla="*/ 0 h 16"/>
                  <a:gd name="T12" fmla="*/ 2 w 18"/>
                  <a:gd name="T13" fmla="*/ 0 h 16"/>
                  <a:gd name="T14" fmla="*/ 5 w 18"/>
                  <a:gd name="T15" fmla="*/ 2 h 16"/>
                  <a:gd name="T16" fmla="*/ 8 w 18"/>
                  <a:gd name="T17" fmla="*/ 3 h 16"/>
                  <a:gd name="T18" fmla="*/ 11 w 18"/>
                  <a:gd name="T19" fmla="*/ 8 h 16"/>
                  <a:gd name="T20" fmla="*/ 11 w 18"/>
                  <a:gd name="T21" fmla="*/ 8 h 16"/>
                  <a:gd name="T22" fmla="*/ 15 w 18"/>
                  <a:gd name="T23" fmla="*/ 9 h 16"/>
                  <a:gd name="T24" fmla="*/ 18 w 18"/>
                  <a:gd name="T25" fmla="*/ 11 h 16"/>
                  <a:gd name="T26" fmla="*/ 18 w 18"/>
                  <a:gd name="T27" fmla="*/ 11 h 16"/>
                  <a:gd name="T28" fmla="*/ 18 w 18"/>
                  <a:gd name="T29" fmla="*/ 11 h 16"/>
                  <a:gd name="T30" fmla="*/ 18 w 18"/>
                  <a:gd name="T31" fmla="*/ 11 h 16"/>
                  <a:gd name="T32" fmla="*/ 11 w 18"/>
                  <a:gd name="T33" fmla="*/ 15 h 16"/>
                  <a:gd name="T34" fmla="*/ 8 w 18"/>
                  <a:gd name="T35" fmla="*/ 16 h 16"/>
                  <a:gd name="T36" fmla="*/ 6 w 18"/>
                  <a:gd name="T3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16">
                    <a:moveTo>
                      <a:pt x="6" y="15"/>
                    </a:moveTo>
                    <a:lnTo>
                      <a:pt x="6" y="15"/>
                    </a:lnTo>
                    <a:lnTo>
                      <a:pt x="3" y="12"/>
                    </a:lnTo>
                    <a:lnTo>
                      <a:pt x="0" y="8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5" y="2"/>
                    </a:lnTo>
                    <a:lnTo>
                      <a:pt x="8" y="3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15" y="9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1" y="15"/>
                    </a:lnTo>
                    <a:lnTo>
                      <a:pt x="8" y="16"/>
                    </a:lnTo>
                    <a:lnTo>
                      <a:pt x="6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27" name="Freeform 1383"/>
              <p:cNvSpPr>
                <a:spLocks/>
              </p:cNvSpPr>
              <p:nvPr/>
            </p:nvSpPr>
            <p:spPr bwMode="auto">
              <a:xfrm>
                <a:off x="3152412" y="2013294"/>
                <a:ext cx="17807" cy="15828"/>
              </a:xfrm>
              <a:custGeom>
                <a:avLst/>
                <a:gdLst>
                  <a:gd name="T0" fmla="*/ 6 w 18"/>
                  <a:gd name="T1" fmla="*/ 15 h 16"/>
                  <a:gd name="T2" fmla="*/ 6 w 18"/>
                  <a:gd name="T3" fmla="*/ 15 h 16"/>
                  <a:gd name="T4" fmla="*/ 3 w 18"/>
                  <a:gd name="T5" fmla="*/ 12 h 16"/>
                  <a:gd name="T6" fmla="*/ 0 w 18"/>
                  <a:gd name="T7" fmla="*/ 8 h 16"/>
                  <a:gd name="T8" fmla="*/ 0 w 18"/>
                  <a:gd name="T9" fmla="*/ 3 h 16"/>
                  <a:gd name="T10" fmla="*/ 2 w 18"/>
                  <a:gd name="T11" fmla="*/ 0 h 16"/>
                  <a:gd name="T12" fmla="*/ 2 w 18"/>
                  <a:gd name="T13" fmla="*/ 0 h 16"/>
                  <a:gd name="T14" fmla="*/ 5 w 18"/>
                  <a:gd name="T15" fmla="*/ 2 h 16"/>
                  <a:gd name="T16" fmla="*/ 8 w 18"/>
                  <a:gd name="T17" fmla="*/ 3 h 16"/>
                  <a:gd name="T18" fmla="*/ 11 w 18"/>
                  <a:gd name="T19" fmla="*/ 8 h 16"/>
                  <a:gd name="T20" fmla="*/ 11 w 18"/>
                  <a:gd name="T21" fmla="*/ 8 h 16"/>
                  <a:gd name="T22" fmla="*/ 15 w 18"/>
                  <a:gd name="T23" fmla="*/ 9 h 16"/>
                  <a:gd name="T24" fmla="*/ 18 w 18"/>
                  <a:gd name="T25" fmla="*/ 11 h 16"/>
                  <a:gd name="T26" fmla="*/ 18 w 18"/>
                  <a:gd name="T27" fmla="*/ 11 h 16"/>
                  <a:gd name="T28" fmla="*/ 18 w 18"/>
                  <a:gd name="T29" fmla="*/ 11 h 16"/>
                  <a:gd name="T30" fmla="*/ 18 w 18"/>
                  <a:gd name="T31" fmla="*/ 11 h 16"/>
                  <a:gd name="T32" fmla="*/ 11 w 18"/>
                  <a:gd name="T33" fmla="*/ 15 h 16"/>
                  <a:gd name="T34" fmla="*/ 8 w 18"/>
                  <a:gd name="T35" fmla="*/ 16 h 16"/>
                  <a:gd name="T36" fmla="*/ 6 w 18"/>
                  <a:gd name="T3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16">
                    <a:moveTo>
                      <a:pt x="6" y="15"/>
                    </a:moveTo>
                    <a:lnTo>
                      <a:pt x="6" y="15"/>
                    </a:lnTo>
                    <a:lnTo>
                      <a:pt x="3" y="12"/>
                    </a:lnTo>
                    <a:lnTo>
                      <a:pt x="0" y="8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5" y="2"/>
                    </a:lnTo>
                    <a:lnTo>
                      <a:pt x="8" y="3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15" y="9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1" y="15"/>
                    </a:lnTo>
                    <a:lnTo>
                      <a:pt x="8" y="16"/>
                    </a:lnTo>
                    <a:lnTo>
                      <a:pt x="6" y="1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28" name="Freeform 1384"/>
              <p:cNvSpPr>
                <a:spLocks/>
              </p:cNvSpPr>
              <p:nvPr/>
            </p:nvSpPr>
            <p:spPr bwMode="auto">
              <a:xfrm>
                <a:off x="3168240" y="2006370"/>
                <a:ext cx="14839" cy="11871"/>
              </a:xfrm>
              <a:custGeom>
                <a:avLst/>
                <a:gdLst>
                  <a:gd name="T0" fmla="*/ 13 w 15"/>
                  <a:gd name="T1" fmla="*/ 12 h 12"/>
                  <a:gd name="T2" fmla="*/ 13 w 15"/>
                  <a:gd name="T3" fmla="*/ 12 h 12"/>
                  <a:gd name="T4" fmla="*/ 8 w 15"/>
                  <a:gd name="T5" fmla="*/ 12 h 12"/>
                  <a:gd name="T6" fmla="*/ 3 w 15"/>
                  <a:gd name="T7" fmla="*/ 9 h 12"/>
                  <a:gd name="T8" fmla="*/ 0 w 15"/>
                  <a:gd name="T9" fmla="*/ 6 h 12"/>
                  <a:gd name="T10" fmla="*/ 0 w 15"/>
                  <a:gd name="T11" fmla="*/ 3 h 12"/>
                  <a:gd name="T12" fmla="*/ 0 w 15"/>
                  <a:gd name="T13" fmla="*/ 3 h 12"/>
                  <a:gd name="T14" fmla="*/ 2 w 15"/>
                  <a:gd name="T15" fmla="*/ 2 h 12"/>
                  <a:gd name="T16" fmla="*/ 3 w 15"/>
                  <a:gd name="T17" fmla="*/ 0 h 12"/>
                  <a:gd name="T18" fmla="*/ 6 w 15"/>
                  <a:gd name="T19" fmla="*/ 2 h 12"/>
                  <a:gd name="T20" fmla="*/ 8 w 15"/>
                  <a:gd name="T21" fmla="*/ 3 h 12"/>
                  <a:gd name="T22" fmla="*/ 8 w 15"/>
                  <a:gd name="T23" fmla="*/ 3 h 12"/>
                  <a:gd name="T24" fmla="*/ 13 w 15"/>
                  <a:gd name="T25" fmla="*/ 9 h 12"/>
                  <a:gd name="T26" fmla="*/ 15 w 15"/>
                  <a:gd name="T27" fmla="*/ 12 h 12"/>
                  <a:gd name="T28" fmla="*/ 13 w 15"/>
                  <a:gd name="T2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12">
                    <a:moveTo>
                      <a:pt x="13" y="12"/>
                    </a:moveTo>
                    <a:lnTo>
                      <a:pt x="13" y="12"/>
                    </a:lnTo>
                    <a:lnTo>
                      <a:pt x="8" y="12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13" y="9"/>
                    </a:lnTo>
                    <a:lnTo>
                      <a:pt x="15" y="12"/>
                    </a:lnTo>
                    <a:lnTo>
                      <a:pt x="13" y="1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29" name="Freeform 1385"/>
              <p:cNvSpPr>
                <a:spLocks/>
              </p:cNvSpPr>
              <p:nvPr/>
            </p:nvSpPr>
            <p:spPr bwMode="auto">
              <a:xfrm>
                <a:off x="3168240" y="2006370"/>
                <a:ext cx="14839" cy="11871"/>
              </a:xfrm>
              <a:custGeom>
                <a:avLst/>
                <a:gdLst>
                  <a:gd name="T0" fmla="*/ 13 w 15"/>
                  <a:gd name="T1" fmla="*/ 12 h 12"/>
                  <a:gd name="T2" fmla="*/ 13 w 15"/>
                  <a:gd name="T3" fmla="*/ 12 h 12"/>
                  <a:gd name="T4" fmla="*/ 8 w 15"/>
                  <a:gd name="T5" fmla="*/ 12 h 12"/>
                  <a:gd name="T6" fmla="*/ 3 w 15"/>
                  <a:gd name="T7" fmla="*/ 9 h 12"/>
                  <a:gd name="T8" fmla="*/ 0 w 15"/>
                  <a:gd name="T9" fmla="*/ 6 h 12"/>
                  <a:gd name="T10" fmla="*/ 0 w 15"/>
                  <a:gd name="T11" fmla="*/ 3 h 12"/>
                  <a:gd name="T12" fmla="*/ 0 w 15"/>
                  <a:gd name="T13" fmla="*/ 3 h 12"/>
                  <a:gd name="T14" fmla="*/ 2 w 15"/>
                  <a:gd name="T15" fmla="*/ 2 h 12"/>
                  <a:gd name="T16" fmla="*/ 3 w 15"/>
                  <a:gd name="T17" fmla="*/ 0 h 12"/>
                  <a:gd name="T18" fmla="*/ 6 w 15"/>
                  <a:gd name="T19" fmla="*/ 2 h 12"/>
                  <a:gd name="T20" fmla="*/ 8 w 15"/>
                  <a:gd name="T21" fmla="*/ 3 h 12"/>
                  <a:gd name="T22" fmla="*/ 8 w 15"/>
                  <a:gd name="T23" fmla="*/ 3 h 12"/>
                  <a:gd name="T24" fmla="*/ 13 w 15"/>
                  <a:gd name="T25" fmla="*/ 9 h 12"/>
                  <a:gd name="T26" fmla="*/ 15 w 15"/>
                  <a:gd name="T27" fmla="*/ 12 h 12"/>
                  <a:gd name="T28" fmla="*/ 13 w 15"/>
                  <a:gd name="T2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12">
                    <a:moveTo>
                      <a:pt x="13" y="12"/>
                    </a:moveTo>
                    <a:lnTo>
                      <a:pt x="13" y="12"/>
                    </a:lnTo>
                    <a:lnTo>
                      <a:pt x="8" y="12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13" y="9"/>
                    </a:lnTo>
                    <a:lnTo>
                      <a:pt x="15" y="12"/>
                    </a:lnTo>
                    <a:lnTo>
                      <a:pt x="13" y="1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30" name="Freeform 1386"/>
              <p:cNvSpPr>
                <a:spLocks/>
              </p:cNvSpPr>
              <p:nvPr/>
            </p:nvSpPr>
            <p:spPr bwMode="auto">
              <a:xfrm>
                <a:off x="3192971" y="1836217"/>
                <a:ext cx="19785" cy="25721"/>
              </a:xfrm>
              <a:custGeom>
                <a:avLst/>
                <a:gdLst>
                  <a:gd name="T0" fmla="*/ 10 w 20"/>
                  <a:gd name="T1" fmla="*/ 26 h 26"/>
                  <a:gd name="T2" fmla="*/ 10 w 20"/>
                  <a:gd name="T3" fmla="*/ 26 h 26"/>
                  <a:gd name="T4" fmla="*/ 7 w 20"/>
                  <a:gd name="T5" fmla="*/ 25 h 26"/>
                  <a:gd name="T6" fmla="*/ 6 w 20"/>
                  <a:gd name="T7" fmla="*/ 25 h 26"/>
                  <a:gd name="T8" fmla="*/ 1 w 20"/>
                  <a:gd name="T9" fmla="*/ 20 h 26"/>
                  <a:gd name="T10" fmla="*/ 0 w 20"/>
                  <a:gd name="T11" fmla="*/ 14 h 26"/>
                  <a:gd name="T12" fmla="*/ 0 w 20"/>
                  <a:gd name="T13" fmla="*/ 10 h 26"/>
                  <a:gd name="T14" fmla="*/ 0 w 20"/>
                  <a:gd name="T15" fmla="*/ 10 h 26"/>
                  <a:gd name="T16" fmla="*/ 0 w 20"/>
                  <a:gd name="T17" fmla="*/ 7 h 26"/>
                  <a:gd name="T18" fmla="*/ 3 w 20"/>
                  <a:gd name="T19" fmla="*/ 3 h 26"/>
                  <a:gd name="T20" fmla="*/ 7 w 20"/>
                  <a:gd name="T21" fmla="*/ 0 h 26"/>
                  <a:gd name="T22" fmla="*/ 13 w 20"/>
                  <a:gd name="T23" fmla="*/ 0 h 26"/>
                  <a:gd name="T24" fmla="*/ 13 w 20"/>
                  <a:gd name="T25" fmla="*/ 0 h 26"/>
                  <a:gd name="T26" fmla="*/ 16 w 20"/>
                  <a:gd name="T27" fmla="*/ 0 h 26"/>
                  <a:gd name="T28" fmla="*/ 17 w 20"/>
                  <a:gd name="T29" fmla="*/ 1 h 26"/>
                  <a:gd name="T30" fmla="*/ 20 w 20"/>
                  <a:gd name="T31" fmla="*/ 7 h 26"/>
                  <a:gd name="T32" fmla="*/ 20 w 20"/>
                  <a:gd name="T33" fmla="*/ 13 h 26"/>
                  <a:gd name="T34" fmla="*/ 20 w 20"/>
                  <a:gd name="T35" fmla="*/ 17 h 26"/>
                  <a:gd name="T36" fmla="*/ 20 w 20"/>
                  <a:gd name="T37" fmla="*/ 17 h 26"/>
                  <a:gd name="T38" fmla="*/ 19 w 20"/>
                  <a:gd name="T39" fmla="*/ 22 h 26"/>
                  <a:gd name="T40" fmla="*/ 17 w 20"/>
                  <a:gd name="T41" fmla="*/ 23 h 26"/>
                  <a:gd name="T42" fmla="*/ 14 w 20"/>
                  <a:gd name="T43" fmla="*/ 25 h 26"/>
                  <a:gd name="T44" fmla="*/ 10 w 20"/>
                  <a:gd name="T4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" h="26">
                    <a:moveTo>
                      <a:pt x="10" y="26"/>
                    </a:moveTo>
                    <a:lnTo>
                      <a:pt x="10" y="26"/>
                    </a:lnTo>
                    <a:lnTo>
                      <a:pt x="7" y="25"/>
                    </a:lnTo>
                    <a:lnTo>
                      <a:pt x="6" y="25"/>
                    </a:lnTo>
                    <a:lnTo>
                      <a:pt x="1" y="20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7" y="1"/>
                    </a:lnTo>
                    <a:lnTo>
                      <a:pt x="20" y="7"/>
                    </a:lnTo>
                    <a:lnTo>
                      <a:pt x="20" y="13"/>
                    </a:lnTo>
                    <a:lnTo>
                      <a:pt x="20" y="17"/>
                    </a:lnTo>
                    <a:lnTo>
                      <a:pt x="20" y="17"/>
                    </a:lnTo>
                    <a:lnTo>
                      <a:pt x="19" y="22"/>
                    </a:lnTo>
                    <a:lnTo>
                      <a:pt x="17" y="23"/>
                    </a:lnTo>
                    <a:lnTo>
                      <a:pt x="14" y="25"/>
                    </a:lnTo>
                    <a:lnTo>
                      <a:pt x="10" y="2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31" name="Freeform 1387"/>
              <p:cNvSpPr>
                <a:spLocks/>
              </p:cNvSpPr>
              <p:nvPr/>
            </p:nvSpPr>
            <p:spPr bwMode="auto">
              <a:xfrm>
                <a:off x="3192971" y="1836217"/>
                <a:ext cx="19785" cy="25721"/>
              </a:xfrm>
              <a:custGeom>
                <a:avLst/>
                <a:gdLst>
                  <a:gd name="T0" fmla="*/ 10 w 20"/>
                  <a:gd name="T1" fmla="*/ 26 h 26"/>
                  <a:gd name="T2" fmla="*/ 10 w 20"/>
                  <a:gd name="T3" fmla="*/ 26 h 26"/>
                  <a:gd name="T4" fmla="*/ 7 w 20"/>
                  <a:gd name="T5" fmla="*/ 25 h 26"/>
                  <a:gd name="T6" fmla="*/ 6 w 20"/>
                  <a:gd name="T7" fmla="*/ 25 h 26"/>
                  <a:gd name="T8" fmla="*/ 1 w 20"/>
                  <a:gd name="T9" fmla="*/ 20 h 26"/>
                  <a:gd name="T10" fmla="*/ 0 w 20"/>
                  <a:gd name="T11" fmla="*/ 14 h 26"/>
                  <a:gd name="T12" fmla="*/ 0 w 20"/>
                  <a:gd name="T13" fmla="*/ 10 h 26"/>
                  <a:gd name="T14" fmla="*/ 0 w 20"/>
                  <a:gd name="T15" fmla="*/ 10 h 26"/>
                  <a:gd name="T16" fmla="*/ 0 w 20"/>
                  <a:gd name="T17" fmla="*/ 7 h 26"/>
                  <a:gd name="T18" fmla="*/ 3 w 20"/>
                  <a:gd name="T19" fmla="*/ 3 h 26"/>
                  <a:gd name="T20" fmla="*/ 7 w 20"/>
                  <a:gd name="T21" fmla="*/ 0 h 26"/>
                  <a:gd name="T22" fmla="*/ 13 w 20"/>
                  <a:gd name="T23" fmla="*/ 0 h 26"/>
                  <a:gd name="T24" fmla="*/ 13 w 20"/>
                  <a:gd name="T25" fmla="*/ 0 h 26"/>
                  <a:gd name="T26" fmla="*/ 16 w 20"/>
                  <a:gd name="T27" fmla="*/ 0 h 26"/>
                  <a:gd name="T28" fmla="*/ 17 w 20"/>
                  <a:gd name="T29" fmla="*/ 1 h 26"/>
                  <a:gd name="T30" fmla="*/ 20 w 20"/>
                  <a:gd name="T31" fmla="*/ 7 h 26"/>
                  <a:gd name="T32" fmla="*/ 20 w 20"/>
                  <a:gd name="T33" fmla="*/ 13 h 26"/>
                  <a:gd name="T34" fmla="*/ 20 w 20"/>
                  <a:gd name="T35" fmla="*/ 17 h 26"/>
                  <a:gd name="T36" fmla="*/ 20 w 20"/>
                  <a:gd name="T37" fmla="*/ 17 h 26"/>
                  <a:gd name="T38" fmla="*/ 19 w 20"/>
                  <a:gd name="T39" fmla="*/ 22 h 26"/>
                  <a:gd name="T40" fmla="*/ 17 w 20"/>
                  <a:gd name="T41" fmla="*/ 23 h 26"/>
                  <a:gd name="T42" fmla="*/ 14 w 20"/>
                  <a:gd name="T43" fmla="*/ 25 h 26"/>
                  <a:gd name="T44" fmla="*/ 10 w 20"/>
                  <a:gd name="T4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" h="26">
                    <a:moveTo>
                      <a:pt x="10" y="26"/>
                    </a:moveTo>
                    <a:lnTo>
                      <a:pt x="10" y="26"/>
                    </a:lnTo>
                    <a:lnTo>
                      <a:pt x="7" y="25"/>
                    </a:lnTo>
                    <a:lnTo>
                      <a:pt x="6" y="25"/>
                    </a:lnTo>
                    <a:lnTo>
                      <a:pt x="1" y="20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7" y="1"/>
                    </a:lnTo>
                    <a:lnTo>
                      <a:pt x="20" y="7"/>
                    </a:lnTo>
                    <a:lnTo>
                      <a:pt x="20" y="13"/>
                    </a:lnTo>
                    <a:lnTo>
                      <a:pt x="20" y="17"/>
                    </a:lnTo>
                    <a:lnTo>
                      <a:pt x="20" y="17"/>
                    </a:lnTo>
                    <a:lnTo>
                      <a:pt x="19" y="22"/>
                    </a:lnTo>
                    <a:lnTo>
                      <a:pt x="17" y="23"/>
                    </a:lnTo>
                    <a:lnTo>
                      <a:pt x="14" y="25"/>
                    </a:lnTo>
                    <a:lnTo>
                      <a:pt x="10" y="2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32" name="Freeform 1388"/>
              <p:cNvSpPr>
                <a:spLocks/>
              </p:cNvSpPr>
              <p:nvPr/>
            </p:nvSpPr>
            <p:spPr bwMode="auto">
              <a:xfrm>
                <a:off x="3109874" y="1756087"/>
                <a:ext cx="26710" cy="15828"/>
              </a:xfrm>
              <a:custGeom>
                <a:avLst/>
                <a:gdLst>
                  <a:gd name="T0" fmla="*/ 26 w 27"/>
                  <a:gd name="T1" fmla="*/ 16 h 16"/>
                  <a:gd name="T2" fmla="*/ 26 w 27"/>
                  <a:gd name="T3" fmla="*/ 16 h 16"/>
                  <a:gd name="T4" fmla="*/ 20 w 27"/>
                  <a:gd name="T5" fmla="*/ 16 h 16"/>
                  <a:gd name="T6" fmla="*/ 16 w 27"/>
                  <a:gd name="T7" fmla="*/ 16 h 16"/>
                  <a:gd name="T8" fmla="*/ 12 w 27"/>
                  <a:gd name="T9" fmla="*/ 13 h 16"/>
                  <a:gd name="T10" fmla="*/ 12 w 27"/>
                  <a:gd name="T11" fmla="*/ 13 h 16"/>
                  <a:gd name="T12" fmla="*/ 1 w 27"/>
                  <a:gd name="T13" fmla="*/ 7 h 16"/>
                  <a:gd name="T14" fmla="*/ 0 w 27"/>
                  <a:gd name="T15" fmla="*/ 4 h 16"/>
                  <a:gd name="T16" fmla="*/ 0 w 27"/>
                  <a:gd name="T17" fmla="*/ 3 h 16"/>
                  <a:gd name="T18" fmla="*/ 1 w 27"/>
                  <a:gd name="T19" fmla="*/ 3 h 16"/>
                  <a:gd name="T20" fmla="*/ 1 w 27"/>
                  <a:gd name="T21" fmla="*/ 3 h 16"/>
                  <a:gd name="T22" fmla="*/ 16 w 27"/>
                  <a:gd name="T23" fmla="*/ 1 h 16"/>
                  <a:gd name="T24" fmla="*/ 22 w 27"/>
                  <a:gd name="T25" fmla="*/ 0 h 16"/>
                  <a:gd name="T26" fmla="*/ 25 w 27"/>
                  <a:gd name="T27" fmla="*/ 0 h 16"/>
                  <a:gd name="T28" fmla="*/ 26 w 27"/>
                  <a:gd name="T29" fmla="*/ 1 h 16"/>
                  <a:gd name="T30" fmla="*/ 26 w 27"/>
                  <a:gd name="T31" fmla="*/ 1 h 16"/>
                  <a:gd name="T32" fmla="*/ 27 w 27"/>
                  <a:gd name="T33" fmla="*/ 10 h 16"/>
                  <a:gd name="T34" fmla="*/ 27 w 27"/>
                  <a:gd name="T35" fmla="*/ 13 h 16"/>
                  <a:gd name="T36" fmla="*/ 26 w 27"/>
                  <a:gd name="T3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16">
                    <a:moveTo>
                      <a:pt x="26" y="16"/>
                    </a:moveTo>
                    <a:lnTo>
                      <a:pt x="26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2" y="13"/>
                    </a:lnTo>
                    <a:lnTo>
                      <a:pt x="12" y="13"/>
                    </a:lnTo>
                    <a:lnTo>
                      <a:pt x="1" y="7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6" y="1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6" y="1"/>
                    </a:lnTo>
                    <a:lnTo>
                      <a:pt x="26" y="1"/>
                    </a:lnTo>
                    <a:lnTo>
                      <a:pt x="27" y="10"/>
                    </a:lnTo>
                    <a:lnTo>
                      <a:pt x="27" y="13"/>
                    </a:lnTo>
                    <a:lnTo>
                      <a:pt x="26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33" name="Freeform 1389"/>
              <p:cNvSpPr>
                <a:spLocks/>
              </p:cNvSpPr>
              <p:nvPr/>
            </p:nvSpPr>
            <p:spPr bwMode="auto">
              <a:xfrm>
                <a:off x="3109874" y="1756087"/>
                <a:ext cx="26710" cy="15828"/>
              </a:xfrm>
              <a:custGeom>
                <a:avLst/>
                <a:gdLst>
                  <a:gd name="T0" fmla="*/ 26 w 27"/>
                  <a:gd name="T1" fmla="*/ 16 h 16"/>
                  <a:gd name="T2" fmla="*/ 26 w 27"/>
                  <a:gd name="T3" fmla="*/ 16 h 16"/>
                  <a:gd name="T4" fmla="*/ 20 w 27"/>
                  <a:gd name="T5" fmla="*/ 16 h 16"/>
                  <a:gd name="T6" fmla="*/ 16 w 27"/>
                  <a:gd name="T7" fmla="*/ 16 h 16"/>
                  <a:gd name="T8" fmla="*/ 12 w 27"/>
                  <a:gd name="T9" fmla="*/ 13 h 16"/>
                  <a:gd name="T10" fmla="*/ 12 w 27"/>
                  <a:gd name="T11" fmla="*/ 13 h 16"/>
                  <a:gd name="T12" fmla="*/ 1 w 27"/>
                  <a:gd name="T13" fmla="*/ 7 h 16"/>
                  <a:gd name="T14" fmla="*/ 0 w 27"/>
                  <a:gd name="T15" fmla="*/ 4 h 16"/>
                  <a:gd name="T16" fmla="*/ 0 w 27"/>
                  <a:gd name="T17" fmla="*/ 3 h 16"/>
                  <a:gd name="T18" fmla="*/ 1 w 27"/>
                  <a:gd name="T19" fmla="*/ 3 h 16"/>
                  <a:gd name="T20" fmla="*/ 1 w 27"/>
                  <a:gd name="T21" fmla="*/ 3 h 16"/>
                  <a:gd name="T22" fmla="*/ 16 w 27"/>
                  <a:gd name="T23" fmla="*/ 1 h 16"/>
                  <a:gd name="T24" fmla="*/ 22 w 27"/>
                  <a:gd name="T25" fmla="*/ 0 h 16"/>
                  <a:gd name="T26" fmla="*/ 25 w 27"/>
                  <a:gd name="T27" fmla="*/ 0 h 16"/>
                  <a:gd name="T28" fmla="*/ 26 w 27"/>
                  <a:gd name="T29" fmla="*/ 1 h 16"/>
                  <a:gd name="T30" fmla="*/ 26 w 27"/>
                  <a:gd name="T31" fmla="*/ 1 h 16"/>
                  <a:gd name="T32" fmla="*/ 27 w 27"/>
                  <a:gd name="T33" fmla="*/ 10 h 16"/>
                  <a:gd name="T34" fmla="*/ 27 w 27"/>
                  <a:gd name="T35" fmla="*/ 13 h 16"/>
                  <a:gd name="T36" fmla="*/ 26 w 27"/>
                  <a:gd name="T3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16">
                    <a:moveTo>
                      <a:pt x="26" y="16"/>
                    </a:moveTo>
                    <a:lnTo>
                      <a:pt x="26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2" y="13"/>
                    </a:lnTo>
                    <a:lnTo>
                      <a:pt x="12" y="13"/>
                    </a:lnTo>
                    <a:lnTo>
                      <a:pt x="1" y="7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6" y="1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6" y="1"/>
                    </a:lnTo>
                    <a:lnTo>
                      <a:pt x="26" y="1"/>
                    </a:lnTo>
                    <a:lnTo>
                      <a:pt x="27" y="10"/>
                    </a:lnTo>
                    <a:lnTo>
                      <a:pt x="27" y="13"/>
                    </a:lnTo>
                    <a:lnTo>
                      <a:pt x="26" y="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34" name="Freeform 1390"/>
              <p:cNvSpPr>
                <a:spLocks/>
              </p:cNvSpPr>
              <p:nvPr/>
            </p:nvSpPr>
            <p:spPr bwMode="auto">
              <a:xfrm>
                <a:off x="3356199" y="2068693"/>
                <a:ext cx="19785" cy="17807"/>
              </a:xfrm>
              <a:custGeom>
                <a:avLst/>
                <a:gdLst>
                  <a:gd name="T0" fmla="*/ 19 w 20"/>
                  <a:gd name="T1" fmla="*/ 10 h 18"/>
                  <a:gd name="T2" fmla="*/ 19 w 20"/>
                  <a:gd name="T3" fmla="*/ 10 h 18"/>
                  <a:gd name="T4" fmla="*/ 17 w 20"/>
                  <a:gd name="T5" fmla="*/ 13 h 18"/>
                  <a:gd name="T6" fmla="*/ 16 w 20"/>
                  <a:gd name="T7" fmla="*/ 15 h 18"/>
                  <a:gd name="T8" fmla="*/ 15 w 20"/>
                  <a:gd name="T9" fmla="*/ 18 h 18"/>
                  <a:gd name="T10" fmla="*/ 10 w 20"/>
                  <a:gd name="T11" fmla="*/ 18 h 18"/>
                  <a:gd name="T12" fmla="*/ 10 w 20"/>
                  <a:gd name="T13" fmla="*/ 18 h 18"/>
                  <a:gd name="T14" fmla="*/ 6 w 20"/>
                  <a:gd name="T15" fmla="*/ 15 h 18"/>
                  <a:gd name="T16" fmla="*/ 3 w 20"/>
                  <a:gd name="T17" fmla="*/ 13 h 18"/>
                  <a:gd name="T18" fmla="*/ 0 w 20"/>
                  <a:gd name="T19" fmla="*/ 8 h 18"/>
                  <a:gd name="T20" fmla="*/ 0 w 20"/>
                  <a:gd name="T21" fmla="*/ 7 h 18"/>
                  <a:gd name="T22" fmla="*/ 0 w 20"/>
                  <a:gd name="T23" fmla="*/ 5 h 18"/>
                  <a:gd name="T24" fmla="*/ 0 w 20"/>
                  <a:gd name="T25" fmla="*/ 5 h 18"/>
                  <a:gd name="T26" fmla="*/ 6 w 20"/>
                  <a:gd name="T27" fmla="*/ 1 h 18"/>
                  <a:gd name="T28" fmla="*/ 7 w 20"/>
                  <a:gd name="T29" fmla="*/ 0 h 18"/>
                  <a:gd name="T30" fmla="*/ 9 w 20"/>
                  <a:gd name="T31" fmla="*/ 1 h 18"/>
                  <a:gd name="T32" fmla="*/ 9 w 20"/>
                  <a:gd name="T33" fmla="*/ 1 h 18"/>
                  <a:gd name="T34" fmla="*/ 9 w 20"/>
                  <a:gd name="T35" fmla="*/ 4 h 18"/>
                  <a:gd name="T36" fmla="*/ 10 w 20"/>
                  <a:gd name="T37" fmla="*/ 5 h 18"/>
                  <a:gd name="T38" fmla="*/ 12 w 20"/>
                  <a:gd name="T39" fmla="*/ 7 h 18"/>
                  <a:gd name="T40" fmla="*/ 12 w 20"/>
                  <a:gd name="T41" fmla="*/ 7 h 18"/>
                  <a:gd name="T42" fmla="*/ 17 w 20"/>
                  <a:gd name="T43" fmla="*/ 7 h 18"/>
                  <a:gd name="T44" fmla="*/ 20 w 20"/>
                  <a:gd name="T45" fmla="*/ 8 h 18"/>
                  <a:gd name="T46" fmla="*/ 19 w 20"/>
                  <a:gd name="T47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0" h="18">
                    <a:moveTo>
                      <a:pt x="19" y="10"/>
                    </a:moveTo>
                    <a:lnTo>
                      <a:pt x="19" y="10"/>
                    </a:lnTo>
                    <a:lnTo>
                      <a:pt x="17" y="13"/>
                    </a:lnTo>
                    <a:lnTo>
                      <a:pt x="16" y="15"/>
                    </a:lnTo>
                    <a:lnTo>
                      <a:pt x="15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6" y="15"/>
                    </a:lnTo>
                    <a:lnTo>
                      <a:pt x="3" y="13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9" y="4"/>
                    </a:lnTo>
                    <a:lnTo>
                      <a:pt x="10" y="5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7" y="7"/>
                    </a:lnTo>
                    <a:lnTo>
                      <a:pt x="20" y="8"/>
                    </a:lnTo>
                    <a:lnTo>
                      <a:pt x="19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35" name="Freeform 1391"/>
              <p:cNvSpPr>
                <a:spLocks/>
              </p:cNvSpPr>
              <p:nvPr/>
            </p:nvSpPr>
            <p:spPr bwMode="auto">
              <a:xfrm>
                <a:off x="3356199" y="2068693"/>
                <a:ext cx="19785" cy="17807"/>
              </a:xfrm>
              <a:custGeom>
                <a:avLst/>
                <a:gdLst>
                  <a:gd name="T0" fmla="*/ 19 w 20"/>
                  <a:gd name="T1" fmla="*/ 10 h 18"/>
                  <a:gd name="T2" fmla="*/ 19 w 20"/>
                  <a:gd name="T3" fmla="*/ 10 h 18"/>
                  <a:gd name="T4" fmla="*/ 17 w 20"/>
                  <a:gd name="T5" fmla="*/ 13 h 18"/>
                  <a:gd name="T6" fmla="*/ 16 w 20"/>
                  <a:gd name="T7" fmla="*/ 15 h 18"/>
                  <a:gd name="T8" fmla="*/ 15 w 20"/>
                  <a:gd name="T9" fmla="*/ 18 h 18"/>
                  <a:gd name="T10" fmla="*/ 10 w 20"/>
                  <a:gd name="T11" fmla="*/ 18 h 18"/>
                  <a:gd name="T12" fmla="*/ 10 w 20"/>
                  <a:gd name="T13" fmla="*/ 18 h 18"/>
                  <a:gd name="T14" fmla="*/ 6 w 20"/>
                  <a:gd name="T15" fmla="*/ 15 h 18"/>
                  <a:gd name="T16" fmla="*/ 3 w 20"/>
                  <a:gd name="T17" fmla="*/ 13 h 18"/>
                  <a:gd name="T18" fmla="*/ 0 w 20"/>
                  <a:gd name="T19" fmla="*/ 8 h 18"/>
                  <a:gd name="T20" fmla="*/ 0 w 20"/>
                  <a:gd name="T21" fmla="*/ 7 h 18"/>
                  <a:gd name="T22" fmla="*/ 0 w 20"/>
                  <a:gd name="T23" fmla="*/ 5 h 18"/>
                  <a:gd name="T24" fmla="*/ 0 w 20"/>
                  <a:gd name="T25" fmla="*/ 5 h 18"/>
                  <a:gd name="T26" fmla="*/ 6 w 20"/>
                  <a:gd name="T27" fmla="*/ 1 h 18"/>
                  <a:gd name="T28" fmla="*/ 7 w 20"/>
                  <a:gd name="T29" fmla="*/ 0 h 18"/>
                  <a:gd name="T30" fmla="*/ 9 w 20"/>
                  <a:gd name="T31" fmla="*/ 1 h 18"/>
                  <a:gd name="T32" fmla="*/ 9 w 20"/>
                  <a:gd name="T33" fmla="*/ 1 h 18"/>
                  <a:gd name="T34" fmla="*/ 9 w 20"/>
                  <a:gd name="T35" fmla="*/ 4 h 18"/>
                  <a:gd name="T36" fmla="*/ 10 w 20"/>
                  <a:gd name="T37" fmla="*/ 5 h 18"/>
                  <a:gd name="T38" fmla="*/ 12 w 20"/>
                  <a:gd name="T39" fmla="*/ 7 h 18"/>
                  <a:gd name="T40" fmla="*/ 12 w 20"/>
                  <a:gd name="T41" fmla="*/ 7 h 18"/>
                  <a:gd name="T42" fmla="*/ 17 w 20"/>
                  <a:gd name="T43" fmla="*/ 7 h 18"/>
                  <a:gd name="T44" fmla="*/ 20 w 20"/>
                  <a:gd name="T45" fmla="*/ 8 h 18"/>
                  <a:gd name="T46" fmla="*/ 19 w 20"/>
                  <a:gd name="T47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0" h="18">
                    <a:moveTo>
                      <a:pt x="19" y="10"/>
                    </a:moveTo>
                    <a:lnTo>
                      <a:pt x="19" y="10"/>
                    </a:lnTo>
                    <a:lnTo>
                      <a:pt x="17" y="13"/>
                    </a:lnTo>
                    <a:lnTo>
                      <a:pt x="16" y="15"/>
                    </a:lnTo>
                    <a:lnTo>
                      <a:pt x="15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6" y="15"/>
                    </a:lnTo>
                    <a:lnTo>
                      <a:pt x="3" y="13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9" y="4"/>
                    </a:lnTo>
                    <a:lnTo>
                      <a:pt x="10" y="5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7" y="7"/>
                    </a:lnTo>
                    <a:lnTo>
                      <a:pt x="20" y="8"/>
                    </a:lnTo>
                    <a:lnTo>
                      <a:pt x="19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36" name="Freeform 1392"/>
              <p:cNvSpPr>
                <a:spLocks/>
              </p:cNvSpPr>
              <p:nvPr/>
            </p:nvSpPr>
            <p:spPr bwMode="auto">
              <a:xfrm>
                <a:off x="2812106" y="1751141"/>
                <a:ext cx="70237" cy="66280"/>
              </a:xfrm>
              <a:custGeom>
                <a:avLst/>
                <a:gdLst>
                  <a:gd name="T0" fmla="*/ 69 w 71"/>
                  <a:gd name="T1" fmla="*/ 55 h 67"/>
                  <a:gd name="T2" fmla="*/ 56 w 71"/>
                  <a:gd name="T3" fmla="*/ 66 h 67"/>
                  <a:gd name="T4" fmla="*/ 52 w 71"/>
                  <a:gd name="T5" fmla="*/ 67 h 67"/>
                  <a:gd name="T6" fmla="*/ 34 w 71"/>
                  <a:gd name="T7" fmla="*/ 63 h 67"/>
                  <a:gd name="T8" fmla="*/ 24 w 71"/>
                  <a:gd name="T9" fmla="*/ 58 h 67"/>
                  <a:gd name="T10" fmla="*/ 16 w 71"/>
                  <a:gd name="T11" fmla="*/ 55 h 67"/>
                  <a:gd name="T12" fmla="*/ 6 w 71"/>
                  <a:gd name="T13" fmla="*/ 51 h 67"/>
                  <a:gd name="T14" fmla="*/ 1 w 71"/>
                  <a:gd name="T15" fmla="*/ 45 h 67"/>
                  <a:gd name="T16" fmla="*/ 1 w 71"/>
                  <a:gd name="T17" fmla="*/ 40 h 67"/>
                  <a:gd name="T18" fmla="*/ 7 w 71"/>
                  <a:gd name="T19" fmla="*/ 40 h 67"/>
                  <a:gd name="T20" fmla="*/ 14 w 71"/>
                  <a:gd name="T21" fmla="*/ 38 h 67"/>
                  <a:gd name="T22" fmla="*/ 19 w 71"/>
                  <a:gd name="T23" fmla="*/ 32 h 67"/>
                  <a:gd name="T24" fmla="*/ 19 w 71"/>
                  <a:gd name="T25" fmla="*/ 25 h 67"/>
                  <a:gd name="T26" fmla="*/ 17 w 71"/>
                  <a:gd name="T27" fmla="*/ 24 h 67"/>
                  <a:gd name="T28" fmla="*/ 20 w 71"/>
                  <a:gd name="T29" fmla="*/ 19 h 67"/>
                  <a:gd name="T30" fmla="*/ 20 w 71"/>
                  <a:gd name="T31" fmla="*/ 18 h 67"/>
                  <a:gd name="T32" fmla="*/ 23 w 71"/>
                  <a:gd name="T33" fmla="*/ 8 h 67"/>
                  <a:gd name="T34" fmla="*/ 26 w 71"/>
                  <a:gd name="T35" fmla="*/ 3 h 67"/>
                  <a:gd name="T36" fmla="*/ 29 w 71"/>
                  <a:gd name="T37" fmla="*/ 0 h 67"/>
                  <a:gd name="T38" fmla="*/ 34 w 71"/>
                  <a:gd name="T39" fmla="*/ 5 h 67"/>
                  <a:gd name="T40" fmla="*/ 39 w 71"/>
                  <a:gd name="T41" fmla="*/ 9 h 67"/>
                  <a:gd name="T42" fmla="*/ 39 w 71"/>
                  <a:gd name="T43" fmla="*/ 12 h 67"/>
                  <a:gd name="T44" fmla="*/ 42 w 71"/>
                  <a:gd name="T45" fmla="*/ 16 h 67"/>
                  <a:gd name="T46" fmla="*/ 45 w 71"/>
                  <a:gd name="T47" fmla="*/ 16 h 67"/>
                  <a:gd name="T48" fmla="*/ 48 w 71"/>
                  <a:gd name="T49" fmla="*/ 15 h 67"/>
                  <a:gd name="T50" fmla="*/ 52 w 71"/>
                  <a:gd name="T51" fmla="*/ 19 h 67"/>
                  <a:gd name="T52" fmla="*/ 58 w 71"/>
                  <a:gd name="T53" fmla="*/ 28 h 67"/>
                  <a:gd name="T54" fmla="*/ 59 w 71"/>
                  <a:gd name="T55" fmla="*/ 32 h 67"/>
                  <a:gd name="T56" fmla="*/ 58 w 71"/>
                  <a:gd name="T57" fmla="*/ 34 h 67"/>
                  <a:gd name="T58" fmla="*/ 58 w 71"/>
                  <a:gd name="T59" fmla="*/ 38 h 67"/>
                  <a:gd name="T60" fmla="*/ 59 w 71"/>
                  <a:gd name="T61" fmla="*/ 40 h 67"/>
                  <a:gd name="T62" fmla="*/ 62 w 71"/>
                  <a:gd name="T63" fmla="*/ 44 h 67"/>
                  <a:gd name="T64" fmla="*/ 66 w 71"/>
                  <a:gd name="T65" fmla="*/ 51 h 67"/>
                  <a:gd name="T66" fmla="*/ 71 w 71"/>
                  <a:gd name="T67" fmla="*/ 54 h 67"/>
                  <a:gd name="T68" fmla="*/ 69 w 71"/>
                  <a:gd name="T69" fmla="*/ 5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1" h="67">
                    <a:moveTo>
                      <a:pt x="69" y="55"/>
                    </a:moveTo>
                    <a:lnTo>
                      <a:pt x="69" y="55"/>
                    </a:lnTo>
                    <a:lnTo>
                      <a:pt x="61" y="63"/>
                    </a:lnTo>
                    <a:lnTo>
                      <a:pt x="56" y="66"/>
                    </a:lnTo>
                    <a:lnTo>
                      <a:pt x="52" y="67"/>
                    </a:lnTo>
                    <a:lnTo>
                      <a:pt x="52" y="67"/>
                    </a:lnTo>
                    <a:lnTo>
                      <a:pt x="43" y="64"/>
                    </a:lnTo>
                    <a:lnTo>
                      <a:pt x="34" y="63"/>
                    </a:lnTo>
                    <a:lnTo>
                      <a:pt x="34" y="63"/>
                    </a:lnTo>
                    <a:lnTo>
                      <a:pt x="24" y="58"/>
                    </a:lnTo>
                    <a:lnTo>
                      <a:pt x="16" y="55"/>
                    </a:lnTo>
                    <a:lnTo>
                      <a:pt x="16" y="55"/>
                    </a:lnTo>
                    <a:lnTo>
                      <a:pt x="10" y="54"/>
                    </a:lnTo>
                    <a:lnTo>
                      <a:pt x="6" y="51"/>
                    </a:lnTo>
                    <a:lnTo>
                      <a:pt x="6" y="51"/>
                    </a:lnTo>
                    <a:lnTo>
                      <a:pt x="1" y="45"/>
                    </a:lnTo>
                    <a:lnTo>
                      <a:pt x="0" y="41"/>
                    </a:lnTo>
                    <a:lnTo>
                      <a:pt x="1" y="40"/>
                    </a:lnTo>
                    <a:lnTo>
                      <a:pt x="1" y="40"/>
                    </a:lnTo>
                    <a:lnTo>
                      <a:pt x="7" y="40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7" y="35"/>
                    </a:lnTo>
                    <a:lnTo>
                      <a:pt x="19" y="32"/>
                    </a:lnTo>
                    <a:lnTo>
                      <a:pt x="20" y="28"/>
                    </a:lnTo>
                    <a:lnTo>
                      <a:pt x="19" y="25"/>
                    </a:lnTo>
                    <a:lnTo>
                      <a:pt x="19" y="25"/>
                    </a:lnTo>
                    <a:lnTo>
                      <a:pt x="17" y="24"/>
                    </a:lnTo>
                    <a:lnTo>
                      <a:pt x="17" y="22"/>
                    </a:lnTo>
                    <a:lnTo>
                      <a:pt x="20" y="19"/>
                    </a:lnTo>
                    <a:lnTo>
                      <a:pt x="20" y="19"/>
                    </a:lnTo>
                    <a:lnTo>
                      <a:pt x="20" y="18"/>
                    </a:lnTo>
                    <a:lnTo>
                      <a:pt x="21" y="13"/>
                    </a:lnTo>
                    <a:lnTo>
                      <a:pt x="23" y="8"/>
                    </a:lnTo>
                    <a:lnTo>
                      <a:pt x="23" y="8"/>
                    </a:lnTo>
                    <a:lnTo>
                      <a:pt x="26" y="3"/>
                    </a:lnTo>
                    <a:lnTo>
                      <a:pt x="27" y="0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4" y="5"/>
                    </a:lnTo>
                    <a:lnTo>
                      <a:pt x="39" y="8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9" y="12"/>
                    </a:lnTo>
                    <a:lnTo>
                      <a:pt x="40" y="13"/>
                    </a:lnTo>
                    <a:lnTo>
                      <a:pt x="42" y="16"/>
                    </a:lnTo>
                    <a:lnTo>
                      <a:pt x="45" y="16"/>
                    </a:lnTo>
                    <a:lnTo>
                      <a:pt x="45" y="16"/>
                    </a:lnTo>
                    <a:lnTo>
                      <a:pt x="46" y="15"/>
                    </a:lnTo>
                    <a:lnTo>
                      <a:pt x="48" y="15"/>
                    </a:lnTo>
                    <a:lnTo>
                      <a:pt x="50" y="16"/>
                    </a:lnTo>
                    <a:lnTo>
                      <a:pt x="52" y="19"/>
                    </a:lnTo>
                    <a:lnTo>
                      <a:pt x="52" y="19"/>
                    </a:lnTo>
                    <a:lnTo>
                      <a:pt x="58" y="28"/>
                    </a:lnTo>
                    <a:lnTo>
                      <a:pt x="59" y="31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8" y="34"/>
                    </a:lnTo>
                    <a:lnTo>
                      <a:pt x="58" y="37"/>
                    </a:lnTo>
                    <a:lnTo>
                      <a:pt x="58" y="38"/>
                    </a:lnTo>
                    <a:lnTo>
                      <a:pt x="59" y="40"/>
                    </a:lnTo>
                    <a:lnTo>
                      <a:pt x="59" y="40"/>
                    </a:lnTo>
                    <a:lnTo>
                      <a:pt x="61" y="41"/>
                    </a:lnTo>
                    <a:lnTo>
                      <a:pt x="62" y="44"/>
                    </a:lnTo>
                    <a:lnTo>
                      <a:pt x="65" y="48"/>
                    </a:lnTo>
                    <a:lnTo>
                      <a:pt x="66" y="51"/>
                    </a:lnTo>
                    <a:lnTo>
                      <a:pt x="66" y="51"/>
                    </a:lnTo>
                    <a:lnTo>
                      <a:pt x="71" y="54"/>
                    </a:lnTo>
                    <a:lnTo>
                      <a:pt x="71" y="55"/>
                    </a:lnTo>
                    <a:lnTo>
                      <a:pt x="69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37" name="Freeform 1393"/>
              <p:cNvSpPr>
                <a:spLocks/>
              </p:cNvSpPr>
              <p:nvPr/>
            </p:nvSpPr>
            <p:spPr bwMode="auto">
              <a:xfrm>
                <a:off x="2812106" y="1751141"/>
                <a:ext cx="70237" cy="66280"/>
              </a:xfrm>
              <a:custGeom>
                <a:avLst/>
                <a:gdLst>
                  <a:gd name="T0" fmla="*/ 69 w 71"/>
                  <a:gd name="T1" fmla="*/ 55 h 67"/>
                  <a:gd name="T2" fmla="*/ 56 w 71"/>
                  <a:gd name="T3" fmla="*/ 66 h 67"/>
                  <a:gd name="T4" fmla="*/ 52 w 71"/>
                  <a:gd name="T5" fmla="*/ 67 h 67"/>
                  <a:gd name="T6" fmla="*/ 34 w 71"/>
                  <a:gd name="T7" fmla="*/ 63 h 67"/>
                  <a:gd name="T8" fmla="*/ 24 w 71"/>
                  <a:gd name="T9" fmla="*/ 58 h 67"/>
                  <a:gd name="T10" fmla="*/ 16 w 71"/>
                  <a:gd name="T11" fmla="*/ 55 h 67"/>
                  <a:gd name="T12" fmla="*/ 6 w 71"/>
                  <a:gd name="T13" fmla="*/ 51 h 67"/>
                  <a:gd name="T14" fmla="*/ 1 w 71"/>
                  <a:gd name="T15" fmla="*/ 45 h 67"/>
                  <a:gd name="T16" fmla="*/ 1 w 71"/>
                  <a:gd name="T17" fmla="*/ 40 h 67"/>
                  <a:gd name="T18" fmla="*/ 7 w 71"/>
                  <a:gd name="T19" fmla="*/ 40 h 67"/>
                  <a:gd name="T20" fmla="*/ 14 w 71"/>
                  <a:gd name="T21" fmla="*/ 38 h 67"/>
                  <a:gd name="T22" fmla="*/ 19 w 71"/>
                  <a:gd name="T23" fmla="*/ 32 h 67"/>
                  <a:gd name="T24" fmla="*/ 19 w 71"/>
                  <a:gd name="T25" fmla="*/ 25 h 67"/>
                  <a:gd name="T26" fmla="*/ 17 w 71"/>
                  <a:gd name="T27" fmla="*/ 24 h 67"/>
                  <a:gd name="T28" fmla="*/ 20 w 71"/>
                  <a:gd name="T29" fmla="*/ 19 h 67"/>
                  <a:gd name="T30" fmla="*/ 20 w 71"/>
                  <a:gd name="T31" fmla="*/ 18 h 67"/>
                  <a:gd name="T32" fmla="*/ 23 w 71"/>
                  <a:gd name="T33" fmla="*/ 8 h 67"/>
                  <a:gd name="T34" fmla="*/ 26 w 71"/>
                  <a:gd name="T35" fmla="*/ 3 h 67"/>
                  <a:gd name="T36" fmla="*/ 29 w 71"/>
                  <a:gd name="T37" fmla="*/ 0 h 67"/>
                  <a:gd name="T38" fmla="*/ 34 w 71"/>
                  <a:gd name="T39" fmla="*/ 5 h 67"/>
                  <a:gd name="T40" fmla="*/ 39 w 71"/>
                  <a:gd name="T41" fmla="*/ 9 h 67"/>
                  <a:gd name="T42" fmla="*/ 39 w 71"/>
                  <a:gd name="T43" fmla="*/ 12 h 67"/>
                  <a:gd name="T44" fmla="*/ 42 w 71"/>
                  <a:gd name="T45" fmla="*/ 16 h 67"/>
                  <a:gd name="T46" fmla="*/ 45 w 71"/>
                  <a:gd name="T47" fmla="*/ 16 h 67"/>
                  <a:gd name="T48" fmla="*/ 48 w 71"/>
                  <a:gd name="T49" fmla="*/ 15 h 67"/>
                  <a:gd name="T50" fmla="*/ 52 w 71"/>
                  <a:gd name="T51" fmla="*/ 19 h 67"/>
                  <a:gd name="T52" fmla="*/ 58 w 71"/>
                  <a:gd name="T53" fmla="*/ 28 h 67"/>
                  <a:gd name="T54" fmla="*/ 59 w 71"/>
                  <a:gd name="T55" fmla="*/ 32 h 67"/>
                  <a:gd name="T56" fmla="*/ 58 w 71"/>
                  <a:gd name="T57" fmla="*/ 34 h 67"/>
                  <a:gd name="T58" fmla="*/ 58 w 71"/>
                  <a:gd name="T59" fmla="*/ 38 h 67"/>
                  <a:gd name="T60" fmla="*/ 59 w 71"/>
                  <a:gd name="T61" fmla="*/ 40 h 67"/>
                  <a:gd name="T62" fmla="*/ 62 w 71"/>
                  <a:gd name="T63" fmla="*/ 44 h 67"/>
                  <a:gd name="T64" fmla="*/ 66 w 71"/>
                  <a:gd name="T65" fmla="*/ 51 h 67"/>
                  <a:gd name="T66" fmla="*/ 71 w 71"/>
                  <a:gd name="T67" fmla="*/ 54 h 67"/>
                  <a:gd name="T68" fmla="*/ 69 w 71"/>
                  <a:gd name="T69" fmla="*/ 5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1" h="67">
                    <a:moveTo>
                      <a:pt x="69" y="55"/>
                    </a:moveTo>
                    <a:lnTo>
                      <a:pt x="69" y="55"/>
                    </a:lnTo>
                    <a:lnTo>
                      <a:pt x="61" y="63"/>
                    </a:lnTo>
                    <a:lnTo>
                      <a:pt x="56" y="66"/>
                    </a:lnTo>
                    <a:lnTo>
                      <a:pt x="52" y="67"/>
                    </a:lnTo>
                    <a:lnTo>
                      <a:pt x="52" y="67"/>
                    </a:lnTo>
                    <a:lnTo>
                      <a:pt x="43" y="64"/>
                    </a:lnTo>
                    <a:lnTo>
                      <a:pt x="34" y="63"/>
                    </a:lnTo>
                    <a:lnTo>
                      <a:pt x="34" y="63"/>
                    </a:lnTo>
                    <a:lnTo>
                      <a:pt x="24" y="58"/>
                    </a:lnTo>
                    <a:lnTo>
                      <a:pt x="16" y="55"/>
                    </a:lnTo>
                    <a:lnTo>
                      <a:pt x="16" y="55"/>
                    </a:lnTo>
                    <a:lnTo>
                      <a:pt x="10" y="54"/>
                    </a:lnTo>
                    <a:lnTo>
                      <a:pt x="6" y="51"/>
                    </a:lnTo>
                    <a:lnTo>
                      <a:pt x="6" y="51"/>
                    </a:lnTo>
                    <a:lnTo>
                      <a:pt x="1" y="45"/>
                    </a:lnTo>
                    <a:lnTo>
                      <a:pt x="0" y="41"/>
                    </a:lnTo>
                    <a:lnTo>
                      <a:pt x="1" y="40"/>
                    </a:lnTo>
                    <a:lnTo>
                      <a:pt x="1" y="40"/>
                    </a:lnTo>
                    <a:lnTo>
                      <a:pt x="7" y="40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7" y="35"/>
                    </a:lnTo>
                    <a:lnTo>
                      <a:pt x="19" y="32"/>
                    </a:lnTo>
                    <a:lnTo>
                      <a:pt x="20" y="28"/>
                    </a:lnTo>
                    <a:lnTo>
                      <a:pt x="19" y="25"/>
                    </a:lnTo>
                    <a:lnTo>
                      <a:pt x="19" y="25"/>
                    </a:lnTo>
                    <a:lnTo>
                      <a:pt x="17" y="24"/>
                    </a:lnTo>
                    <a:lnTo>
                      <a:pt x="17" y="22"/>
                    </a:lnTo>
                    <a:lnTo>
                      <a:pt x="20" y="19"/>
                    </a:lnTo>
                    <a:lnTo>
                      <a:pt x="20" y="19"/>
                    </a:lnTo>
                    <a:lnTo>
                      <a:pt x="20" y="18"/>
                    </a:lnTo>
                    <a:lnTo>
                      <a:pt x="21" y="13"/>
                    </a:lnTo>
                    <a:lnTo>
                      <a:pt x="23" y="8"/>
                    </a:lnTo>
                    <a:lnTo>
                      <a:pt x="23" y="8"/>
                    </a:lnTo>
                    <a:lnTo>
                      <a:pt x="26" y="3"/>
                    </a:lnTo>
                    <a:lnTo>
                      <a:pt x="27" y="0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4" y="5"/>
                    </a:lnTo>
                    <a:lnTo>
                      <a:pt x="39" y="8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9" y="12"/>
                    </a:lnTo>
                    <a:lnTo>
                      <a:pt x="40" y="13"/>
                    </a:lnTo>
                    <a:lnTo>
                      <a:pt x="42" y="16"/>
                    </a:lnTo>
                    <a:lnTo>
                      <a:pt x="45" y="16"/>
                    </a:lnTo>
                    <a:lnTo>
                      <a:pt x="45" y="16"/>
                    </a:lnTo>
                    <a:lnTo>
                      <a:pt x="46" y="15"/>
                    </a:lnTo>
                    <a:lnTo>
                      <a:pt x="48" y="15"/>
                    </a:lnTo>
                    <a:lnTo>
                      <a:pt x="50" y="16"/>
                    </a:lnTo>
                    <a:lnTo>
                      <a:pt x="52" y="19"/>
                    </a:lnTo>
                    <a:lnTo>
                      <a:pt x="52" y="19"/>
                    </a:lnTo>
                    <a:lnTo>
                      <a:pt x="58" y="28"/>
                    </a:lnTo>
                    <a:lnTo>
                      <a:pt x="59" y="31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8" y="34"/>
                    </a:lnTo>
                    <a:lnTo>
                      <a:pt x="58" y="37"/>
                    </a:lnTo>
                    <a:lnTo>
                      <a:pt x="58" y="38"/>
                    </a:lnTo>
                    <a:lnTo>
                      <a:pt x="59" y="40"/>
                    </a:lnTo>
                    <a:lnTo>
                      <a:pt x="59" y="40"/>
                    </a:lnTo>
                    <a:lnTo>
                      <a:pt x="61" y="41"/>
                    </a:lnTo>
                    <a:lnTo>
                      <a:pt x="62" y="44"/>
                    </a:lnTo>
                    <a:lnTo>
                      <a:pt x="65" y="48"/>
                    </a:lnTo>
                    <a:lnTo>
                      <a:pt x="66" y="51"/>
                    </a:lnTo>
                    <a:lnTo>
                      <a:pt x="66" y="51"/>
                    </a:lnTo>
                    <a:lnTo>
                      <a:pt x="71" y="54"/>
                    </a:lnTo>
                    <a:lnTo>
                      <a:pt x="71" y="55"/>
                    </a:lnTo>
                    <a:lnTo>
                      <a:pt x="69" y="5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38" name="Freeform 1394"/>
              <p:cNvSpPr>
                <a:spLocks/>
              </p:cNvSpPr>
              <p:nvPr/>
            </p:nvSpPr>
            <p:spPr bwMode="auto">
              <a:xfrm>
                <a:off x="2505436" y="1575053"/>
                <a:ext cx="288864" cy="238412"/>
              </a:xfrm>
              <a:custGeom>
                <a:avLst/>
                <a:gdLst>
                  <a:gd name="T0" fmla="*/ 56 w 292"/>
                  <a:gd name="T1" fmla="*/ 15 h 241"/>
                  <a:gd name="T2" fmla="*/ 29 w 292"/>
                  <a:gd name="T3" fmla="*/ 35 h 241"/>
                  <a:gd name="T4" fmla="*/ 8 w 292"/>
                  <a:gd name="T5" fmla="*/ 47 h 241"/>
                  <a:gd name="T6" fmla="*/ 17 w 292"/>
                  <a:gd name="T7" fmla="*/ 61 h 241"/>
                  <a:gd name="T8" fmla="*/ 3 w 292"/>
                  <a:gd name="T9" fmla="*/ 73 h 241"/>
                  <a:gd name="T10" fmla="*/ 4 w 292"/>
                  <a:gd name="T11" fmla="*/ 94 h 241"/>
                  <a:gd name="T12" fmla="*/ 17 w 292"/>
                  <a:gd name="T13" fmla="*/ 100 h 241"/>
                  <a:gd name="T14" fmla="*/ 30 w 292"/>
                  <a:gd name="T15" fmla="*/ 107 h 241"/>
                  <a:gd name="T16" fmla="*/ 50 w 292"/>
                  <a:gd name="T17" fmla="*/ 105 h 241"/>
                  <a:gd name="T18" fmla="*/ 45 w 292"/>
                  <a:gd name="T19" fmla="*/ 110 h 241"/>
                  <a:gd name="T20" fmla="*/ 17 w 292"/>
                  <a:gd name="T21" fmla="*/ 122 h 241"/>
                  <a:gd name="T22" fmla="*/ 29 w 292"/>
                  <a:gd name="T23" fmla="*/ 147 h 241"/>
                  <a:gd name="T24" fmla="*/ 45 w 292"/>
                  <a:gd name="T25" fmla="*/ 148 h 241"/>
                  <a:gd name="T26" fmla="*/ 78 w 292"/>
                  <a:gd name="T27" fmla="*/ 142 h 241"/>
                  <a:gd name="T28" fmla="*/ 104 w 292"/>
                  <a:gd name="T29" fmla="*/ 147 h 241"/>
                  <a:gd name="T30" fmla="*/ 111 w 292"/>
                  <a:gd name="T31" fmla="*/ 157 h 241"/>
                  <a:gd name="T32" fmla="*/ 113 w 292"/>
                  <a:gd name="T33" fmla="*/ 165 h 241"/>
                  <a:gd name="T34" fmla="*/ 90 w 292"/>
                  <a:gd name="T35" fmla="*/ 168 h 241"/>
                  <a:gd name="T36" fmla="*/ 50 w 292"/>
                  <a:gd name="T37" fmla="*/ 170 h 241"/>
                  <a:gd name="T38" fmla="*/ 36 w 292"/>
                  <a:gd name="T39" fmla="*/ 178 h 241"/>
                  <a:gd name="T40" fmla="*/ 45 w 292"/>
                  <a:gd name="T41" fmla="*/ 200 h 241"/>
                  <a:gd name="T42" fmla="*/ 62 w 292"/>
                  <a:gd name="T43" fmla="*/ 213 h 241"/>
                  <a:gd name="T44" fmla="*/ 90 w 292"/>
                  <a:gd name="T45" fmla="*/ 223 h 241"/>
                  <a:gd name="T46" fmla="*/ 98 w 292"/>
                  <a:gd name="T47" fmla="*/ 239 h 241"/>
                  <a:gd name="T48" fmla="*/ 130 w 292"/>
                  <a:gd name="T49" fmla="*/ 235 h 241"/>
                  <a:gd name="T50" fmla="*/ 161 w 292"/>
                  <a:gd name="T51" fmla="*/ 228 h 241"/>
                  <a:gd name="T52" fmla="*/ 192 w 292"/>
                  <a:gd name="T53" fmla="*/ 218 h 241"/>
                  <a:gd name="T54" fmla="*/ 223 w 292"/>
                  <a:gd name="T55" fmla="*/ 220 h 241"/>
                  <a:gd name="T56" fmla="*/ 224 w 292"/>
                  <a:gd name="T57" fmla="*/ 229 h 241"/>
                  <a:gd name="T58" fmla="*/ 255 w 292"/>
                  <a:gd name="T59" fmla="*/ 232 h 241"/>
                  <a:gd name="T60" fmla="*/ 281 w 292"/>
                  <a:gd name="T61" fmla="*/ 215 h 241"/>
                  <a:gd name="T62" fmla="*/ 274 w 292"/>
                  <a:gd name="T63" fmla="*/ 204 h 241"/>
                  <a:gd name="T64" fmla="*/ 259 w 292"/>
                  <a:gd name="T65" fmla="*/ 206 h 241"/>
                  <a:gd name="T66" fmla="*/ 246 w 292"/>
                  <a:gd name="T67" fmla="*/ 207 h 241"/>
                  <a:gd name="T68" fmla="*/ 246 w 292"/>
                  <a:gd name="T69" fmla="*/ 197 h 241"/>
                  <a:gd name="T70" fmla="*/ 247 w 292"/>
                  <a:gd name="T71" fmla="*/ 186 h 241"/>
                  <a:gd name="T72" fmla="*/ 265 w 292"/>
                  <a:gd name="T73" fmla="*/ 193 h 241"/>
                  <a:gd name="T74" fmla="*/ 269 w 292"/>
                  <a:gd name="T75" fmla="*/ 186 h 241"/>
                  <a:gd name="T76" fmla="*/ 282 w 292"/>
                  <a:gd name="T77" fmla="*/ 187 h 241"/>
                  <a:gd name="T78" fmla="*/ 291 w 292"/>
                  <a:gd name="T79" fmla="*/ 183 h 241"/>
                  <a:gd name="T80" fmla="*/ 291 w 292"/>
                  <a:gd name="T81" fmla="*/ 174 h 241"/>
                  <a:gd name="T82" fmla="*/ 276 w 292"/>
                  <a:gd name="T83" fmla="*/ 171 h 241"/>
                  <a:gd name="T84" fmla="*/ 256 w 292"/>
                  <a:gd name="T85" fmla="*/ 149 h 241"/>
                  <a:gd name="T86" fmla="*/ 232 w 292"/>
                  <a:gd name="T87" fmla="*/ 120 h 241"/>
                  <a:gd name="T88" fmla="*/ 226 w 292"/>
                  <a:gd name="T89" fmla="*/ 41 h 241"/>
                  <a:gd name="T90" fmla="*/ 197 w 292"/>
                  <a:gd name="T91" fmla="*/ 5 h 241"/>
                  <a:gd name="T92" fmla="*/ 179 w 292"/>
                  <a:gd name="T93" fmla="*/ 6 h 241"/>
                  <a:gd name="T94" fmla="*/ 181 w 292"/>
                  <a:gd name="T95" fmla="*/ 15 h 241"/>
                  <a:gd name="T96" fmla="*/ 185 w 292"/>
                  <a:gd name="T97" fmla="*/ 41 h 241"/>
                  <a:gd name="T98" fmla="*/ 190 w 292"/>
                  <a:gd name="T99" fmla="*/ 94 h 241"/>
                  <a:gd name="T100" fmla="*/ 168 w 292"/>
                  <a:gd name="T101" fmla="*/ 45 h 241"/>
                  <a:gd name="T102" fmla="*/ 150 w 292"/>
                  <a:gd name="T103" fmla="*/ 21 h 241"/>
                  <a:gd name="T104" fmla="*/ 133 w 292"/>
                  <a:gd name="T105" fmla="*/ 16 h 241"/>
                  <a:gd name="T106" fmla="*/ 148 w 292"/>
                  <a:gd name="T107" fmla="*/ 32 h 241"/>
                  <a:gd name="T108" fmla="*/ 142 w 292"/>
                  <a:gd name="T109" fmla="*/ 44 h 241"/>
                  <a:gd name="T110" fmla="*/ 117 w 292"/>
                  <a:gd name="T111" fmla="*/ 51 h 241"/>
                  <a:gd name="T112" fmla="*/ 129 w 292"/>
                  <a:gd name="T113" fmla="*/ 34 h 241"/>
                  <a:gd name="T114" fmla="*/ 117 w 292"/>
                  <a:gd name="T115" fmla="*/ 19 h 241"/>
                  <a:gd name="T116" fmla="*/ 103 w 292"/>
                  <a:gd name="T117" fmla="*/ 18 h 241"/>
                  <a:gd name="T118" fmla="*/ 98 w 292"/>
                  <a:gd name="T119" fmla="*/ 44 h 241"/>
                  <a:gd name="T120" fmla="*/ 77 w 292"/>
                  <a:gd name="T121" fmla="*/ 42 h 241"/>
                  <a:gd name="T122" fmla="*/ 87 w 292"/>
                  <a:gd name="T123" fmla="*/ 22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92" h="241">
                    <a:moveTo>
                      <a:pt x="84" y="2"/>
                    </a:moveTo>
                    <a:lnTo>
                      <a:pt x="84" y="2"/>
                    </a:lnTo>
                    <a:lnTo>
                      <a:pt x="78" y="0"/>
                    </a:lnTo>
                    <a:lnTo>
                      <a:pt x="74" y="0"/>
                    </a:lnTo>
                    <a:lnTo>
                      <a:pt x="71" y="2"/>
                    </a:lnTo>
                    <a:lnTo>
                      <a:pt x="71" y="2"/>
                    </a:lnTo>
                    <a:lnTo>
                      <a:pt x="56" y="15"/>
                    </a:lnTo>
                    <a:lnTo>
                      <a:pt x="56" y="15"/>
                    </a:lnTo>
                    <a:lnTo>
                      <a:pt x="46" y="21"/>
                    </a:lnTo>
                    <a:lnTo>
                      <a:pt x="37" y="26"/>
                    </a:lnTo>
                    <a:lnTo>
                      <a:pt x="37" y="26"/>
                    </a:lnTo>
                    <a:lnTo>
                      <a:pt x="33" y="29"/>
                    </a:lnTo>
                    <a:lnTo>
                      <a:pt x="29" y="35"/>
                    </a:lnTo>
                    <a:lnTo>
                      <a:pt x="29" y="35"/>
                    </a:lnTo>
                    <a:lnTo>
                      <a:pt x="26" y="38"/>
                    </a:lnTo>
                    <a:lnTo>
                      <a:pt x="24" y="39"/>
                    </a:lnTo>
                    <a:lnTo>
                      <a:pt x="22" y="41"/>
                    </a:lnTo>
                    <a:lnTo>
                      <a:pt x="22" y="41"/>
                    </a:lnTo>
                    <a:lnTo>
                      <a:pt x="13" y="42"/>
                    </a:lnTo>
                    <a:lnTo>
                      <a:pt x="10" y="45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11" y="52"/>
                    </a:lnTo>
                    <a:lnTo>
                      <a:pt x="13" y="57"/>
                    </a:lnTo>
                    <a:lnTo>
                      <a:pt x="13" y="57"/>
                    </a:lnTo>
                    <a:lnTo>
                      <a:pt x="14" y="58"/>
                    </a:lnTo>
                    <a:lnTo>
                      <a:pt x="16" y="60"/>
                    </a:lnTo>
                    <a:lnTo>
                      <a:pt x="17" y="61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4" y="65"/>
                    </a:lnTo>
                    <a:lnTo>
                      <a:pt x="10" y="68"/>
                    </a:lnTo>
                    <a:lnTo>
                      <a:pt x="6" y="70"/>
                    </a:lnTo>
                    <a:lnTo>
                      <a:pt x="3" y="73"/>
                    </a:lnTo>
                    <a:lnTo>
                      <a:pt x="3" y="73"/>
                    </a:lnTo>
                    <a:lnTo>
                      <a:pt x="1" y="80"/>
                    </a:lnTo>
                    <a:lnTo>
                      <a:pt x="0" y="87"/>
                    </a:lnTo>
                    <a:lnTo>
                      <a:pt x="0" y="87"/>
                    </a:lnTo>
                    <a:lnTo>
                      <a:pt x="1" y="92"/>
                    </a:lnTo>
                    <a:lnTo>
                      <a:pt x="3" y="93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6" y="94"/>
                    </a:lnTo>
                    <a:lnTo>
                      <a:pt x="6" y="97"/>
                    </a:lnTo>
                    <a:lnTo>
                      <a:pt x="7" y="99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6" y="99"/>
                    </a:lnTo>
                    <a:lnTo>
                      <a:pt x="17" y="100"/>
                    </a:lnTo>
                    <a:lnTo>
                      <a:pt x="19" y="100"/>
                    </a:lnTo>
                    <a:lnTo>
                      <a:pt x="19" y="100"/>
                    </a:lnTo>
                    <a:lnTo>
                      <a:pt x="19" y="105"/>
                    </a:lnTo>
                    <a:lnTo>
                      <a:pt x="20" y="107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30" y="107"/>
                    </a:lnTo>
                    <a:lnTo>
                      <a:pt x="35" y="107"/>
                    </a:lnTo>
                    <a:lnTo>
                      <a:pt x="37" y="107"/>
                    </a:lnTo>
                    <a:lnTo>
                      <a:pt x="37" y="107"/>
                    </a:lnTo>
                    <a:lnTo>
                      <a:pt x="40" y="105"/>
                    </a:lnTo>
                    <a:lnTo>
                      <a:pt x="43" y="105"/>
                    </a:lnTo>
                    <a:lnTo>
                      <a:pt x="50" y="105"/>
                    </a:lnTo>
                    <a:lnTo>
                      <a:pt x="50" y="105"/>
                    </a:lnTo>
                    <a:lnTo>
                      <a:pt x="61" y="106"/>
                    </a:lnTo>
                    <a:lnTo>
                      <a:pt x="62" y="107"/>
                    </a:lnTo>
                    <a:lnTo>
                      <a:pt x="62" y="107"/>
                    </a:lnTo>
                    <a:lnTo>
                      <a:pt x="62" y="107"/>
                    </a:lnTo>
                    <a:lnTo>
                      <a:pt x="53" y="109"/>
                    </a:lnTo>
                    <a:lnTo>
                      <a:pt x="48" y="109"/>
                    </a:lnTo>
                    <a:lnTo>
                      <a:pt x="45" y="110"/>
                    </a:lnTo>
                    <a:lnTo>
                      <a:pt x="45" y="110"/>
                    </a:lnTo>
                    <a:lnTo>
                      <a:pt x="40" y="112"/>
                    </a:lnTo>
                    <a:lnTo>
                      <a:pt x="33" y="115"/>
                    </a:lnTo>
                    <a:lnTo>
                      <a:pt x="33" y="115"/>
                    </a:lnTo>
                    <a:lnTo>
                      <a:pt x="29" y="116"/>
                    </a:lnTo>
                    <a:lnTo>
                      <a:pt x="23" y="118"/>
                    </a:lnTo>
                    <a:lnTo>
                      <a:pt x="17" y="122"/>
                    </a:lnTo>
                    <a:lnTo>
                      <a:pt x="17" y="122"/>
                    </a:lnTo>
                    <a:lnTo>
                      <a:pt x="16" y="123"/>
                    </a:lnTo>
                    <a:lnTo>
                      <a:pt x="17" y="129"/>
                    </a:lnTo>
                    <a:lnTo>
                      <a:pt x="20" y="139"/>
                    </a:lnTo>
                    <a:lnTo>
                      <a:pt x="20" y="139"/>
                    </a:lnTo>
                    <a:lnTo>
                      <a:pt x="24" y="145"/>
                    </a:lnTo>
                    <a:lnTo>
                      <a:pt x="29" y="147"/>
                    </a:lnTo>
                    <a:lnTo>
                      <a:pt x="33" y="148"/>
                    </a:lnTo>
                    <a:lnTo>
                      <a:pt x="33" y="148"/>
                    </a:lnTo>
                    <a:lnTo>
                      <a:pt x="37" y="148"/>
                    </a:lnTo>
                    <a:lnTo>
                      <a:pt x="40" y="149"/>
                    </a:lnTo>
                    <a:lnTo>
                      <a:pt x="43" y="149"/>
                    </a:lnTo>
                    <a:lnTo>
                      <a:pt x="45" y="148"/>
                    </a:lnTo>
                    <a:lnTo>
                      <a:pt x="45" y="148"/>
                    </a:lnTo>
                    <a:lnTo>
                      <a:pt x="46" y="147"/>
                    </a:lnTo>
                    <a:lnTo>
                      <a:pt x="50" y="147"/>
                    </a:lnTo>
                    <a:lnTo>
                      <a:pt x="50" y="147"/>
                    </a:lnTo>
                    <a:lnTo>
                      <a:pt x="58" y="148"/>
                    </a:lnTo>
                    <a:lnTo>
                      <a:pt x="65" y="147"/>
                    </a:lnTo>
                    <a:lnTo>
                      <a:pt x="65" y="147"/>
                    </a:lnTo>
                    <a:lnTo>
                      <a:pt x="78" y="142"/>
                    </a:lnTo>
                    <a:lnTo>
                      <a:pt x="85" y="141"/>
                    </a:lnTo>
                    <a:lnTo>
                      <a:pt x="90" y="141"/>
                    </a:lnTo>
                    <a:lnTo>
                      <a:pt x="90" y="141"/>
                    </a:lnTo>
                    <a:lnTo>
                      <a:pt x="95" y="145"/>
                    </a:lnTo>
                    <a:lnTo>
                      <a:pt x="100" y="147"/>
                    </a:lnTo>
                    <a:lnTo>
                      <a:pt x="104" y="147"/>
                    </a:lnTo>
                    <a:lnTo>
                      <a:pt x="104" y="147"/>
                    </a:lnTo>
                    <a:lnTo>
                      <a:pt x="117" y="148"/>
                    </a:lnTo>
                    <a:lnTo>
                      <a:pt x="123" y="149"/>
                    </a:lnTo>
                    <a:lnTo>
                      <a:pt x="124" y="149"/>
                    </a:lnTo>
                    <a:lnTo>
                      <a:pt x="123" y="149"/>
                    </a:lnTo>
                    <a:lnTo>
                      <a:pt x="123" y="149"/>
                    </a:lnTo>
                    <a:lnTo>
                      <a:pt x="116" y="154"/>
                    </a:lnTo>
                    <a:lnTo>
                      <a:pt x="111" y="157"/>
                    </a:lnTo>
                    <a:lnTo>
                      <a:pt x="111" y="157"/>
                    </a:lnTo>
                    <a:lnTo>
                      <a:pt x="114" y="158"/>
                    </a:lnTo>
                    <a:lnTo>
                      <a:pt x="116" y="161"/>
                    </a:lnTo>
                    <a:lnTo>
                      <a:pt x="116" y="161"/>
                    </a:lnTo>
                    <a:lnTo>
                      <a:pt x="116" y="161"/>
                    </a:lnTo>
                    <a:lnTo>
                      <a:pt x="114" y="162"/>
                    </a:lnTo>
                    <a:lnTo>
                      <a:pt x="113" y="165"/>
                    </a:lnTo>
                    <a:lnTo>
                      <a:pt x="113" y="167"/>
                    </a:lnTo>
                    <a:lnTo>
                      <a:pt x="111" y="168"/>
                    </a:lnTo>
                    <a:lnTo>
                      <a:pt x="111" y="168"/>
                    </a:lnTo>
                    <a:lnTo>
                      <a:pt x="106" y="168"/>
                    </a:lnTo>
                    <a:lnTo>
                      <a:pt x="95" y="168"/>
                    </a:lnTo>
                    <a:lnTo>
                      <a:pt x="95" y="168"/>
                    </a:lnTo>
                    <a:lnTo>
                      <a:pt x="90" y="168"/>
                    </a:lnTo>
                    <a:lnTo>
                      <a:pt x="82" y="170"/>
                    </a:lnTo>
                    <a:lnTo>
                      <a:pt x="69" y="173"/>
                    </a:lnTo>
                    <a:lnTo>
                      <a:pt x="69" y="173"/>
                    </a:lnTo>
                    <a:lnTo>
                      <a:pt x="65" y="173"/>
                    </a:lnTo>
                    <a:lnTo>
                      <a:pt x="61" y="171"/>
                    </a:lnTo>
                    <a:lnTo>
                      <a:pt x="56" y="170"/>
                    </a:lnTo>
                    <a:lnTo>
                      <a:pt x="50" y="170"/>
                    </a:lnTo>
                    <a:lnTo>
                      <a:pt x="50" y="170"/>
                    </a:lnTo>
                    <a:lnTo>
                      <a:pt x="39" y="171"/>
                    </a:lnTo>
                    <a:lnTo>
                      <a:pt x="36" y="173"/>
                    </a:lnTo>
                    <a:lnTo>
                      <a:pt x="35" y="174"/>
                    </a:lnTo>
                    <a:lnTo>
                      <a:pt x="36" y="176"/>
                    </a:lnTo>
                    <a:lnTo>
                      <a:pt x="36" y="176"/>
                    </a:lnTo>
                    <a:lnTo>
                      <a:pt x="36" y="178"/>
                    </a:lnTo>
                    <a:lnTo>
                      <a:pt x="36" y="183"/>
                    </a:lnTo>
                    <a:lnTo>
                      <a:pt x="36" y="187"/>
                    </a:lnTo>
                    <a:lnTo>
                      <a:pt x="37" y="190"/>
                    </a:lnTo>
                    <a:lnTo>
                      <a:pt x="37" y="190"/>
                    </a:lnTo>
                    <a:lnTo>
                      <a:pt x="42" y="194"/>
                    </a:lnTo>
                    <a:lnTo>
                      <a:pt x="45" y="196"/>
                    </a:lnTo>
                    <a:lnTo>
                      <a:pt x="45" y="200"/>
                    </a:lnTo>
                    <a:lnTo>
                      <a:pt x="45" y="200"/>
                    </a:lnTo>
                    <a:lnTo>
                      <a:pt x="46" y="203"/>
                    </a:lnTo>
                    <a:lnTo>
                      <a:pt x="48" y="206"/>
                    </a:lnTo>
                    <a:lnTo>
                      <a:pt x="50" y="210"/>
                    </a:lnTo>
                    <a:lnTo>
                      <a:pt x="56" y="213"/>
                    </a:lnTo>
                    <a:lnTo>
                      <a:pt x="56" y="213"/>
                    </a:lnTo>
                    <a:lnTo>
                      <a:pt x="62" y="213"/>
                    </a:lnTo>
                    <a:lnTo>
                      <a:pt x="69" y="215"/>
                    </a:lnTo>
                    <a:lnTo>
                      <a:pt x="77" y="213"/>
                    </a:lnTo>
                    <a:lnTo>
                      <a:pt x="81" y="215"/>
                    </a:lnTo>
                    <a:lnTo>
                      <a:pt x="81" y="215"/>
                    </a:lnTo>
                    <a:lnTo>
                      <a:pt x="87" y="218"/>
                    </a:lnTo>
                    <a:lnTo>
                      <a:pt x="88" y="220"/>
                    </a:lnTo>
                    <a:lnTo>
                      <a:pt x="90" y="223"/>
                    </a:lnTo>
                    <a:lnTo>
                      <a:pt x="90" y="223"/>
                    </a:lnTo>
                    <a:lnTo>
                      <a:pt x="88" y="228"/>
                    </a:lnTo>
                    <a:lnTo>
                      <a:pt x="88" y="231"/>
                    </a:lnTo>
                    <a:lnTo>
                      <a:pt x="90" y="233"/>
                    </a:lnTo>
                    <a:lnTo>
                      <a:pt x="90" y="233"/>
                    </a:lnTo>
                    <a:lnTo>
                      <a:pt x="95" y="238"/>
                    </a:lnTo>
                    <a:lnTo>
                      <a:pt x="98" y="239"/>
                    </a:lnTo>
                    <a:lnTo>
                      <a:pt x="104" y="241"/>
                    </a:lnTo>
                    <a:lnTo>
                      <a:pt x="104" y="241"/>
                    </a:lnTo>
                    <a:lnTo>
                      <a:pt x="110" y="239"/>
                    </a:lnTo>
                    <a:lnTo>
                      <a:pt x="119" y="238"/>
                    </a:lnTo>
                    <a:lnTo>
                      <a:pt x="126" y="235"/>
                    </a:lnTo>
                    <a:lnTo>
                      <a:pt x="130" y="235"/>
                    </a:lnTo>
                    <a:lnTo>
                      <a:pt x="130" y="235"/>
                    </a:lnTo>
                    <a:lnTo>
                      <a:pt x="137" y="238"/>
                    </a:lnTo>
                    <a:lnTo>
                      <a:pt x="142" y="238"/>
                    </a:lnTo>
                    <a:lnTo>
                      <a:pt x="146" y="238"/>
                    </a:lnTo>
                    <a:lnTo>
                      <a:pt x="146" y="238"/>
                    </a:lnTo>
                    <a:lnTo>
                      <a:pt x="150" y="235"/>
                    </a:lnTo>
                    <a:lnTo>
                      <a:pt x="156" y="232"/>
                    </a:lnTo>
                    <a:lnTo>
                      <a:pt x="161" y="228"/>
                    </a:lnTo>
                    <a:lnTo>
                      <a:pt x="163" y="226"/>
                    </a:lnTo>
                    <a:lnTo>
                      <a:pt x="163" y="226"/>
                    </a:lnTo>
                    <a:lnTo>
                      <a:pt x="178" y="225"/>
                    </a:lnTo>
                    <a:lnTo>
                      <a:pt x="185" y="223"/>
                    </a:lnTo>
                    <a:lnTo>
                      <a:pt x="188" y="222"/>
                    </a:lnTo>
                    <a:lnTo>
                      <a:pt x="188" y="222"/>
                    </a:lnTo>
                    <a:lnTo>
                      <a:pt x="192" y="218"/>
                    </a:lnTo>
                    <a:lnTo>
                      <a:pt x="195" y="216"/>
                    </a:lnTo>
                    <a:lnTo>
                      <a:pt x="198" y="216"/>
                    </a:lnTo>
                    <a:lnTo>
                      <a:pt x="198" y="216"/>
                    </a:lnTo>
                    <a:lnTo>
                      <a:pt x="204" y="218"/>
                    </a:lnTo>
                    <a:lnTo>
                      <a:pt x="210" y="219"/>
                    </a:lnTo>
                    <a:lnTo>
                      <a:pt x="210" y="219"/>
                    </a:lnTo>
                    <a:lnTo>
                      <a:pt x="223" y="220"/>
                    </a:lnTo>
                    <a:lnTo>
                      <a:pt x="227" y="220"/>
                    </a:lnTo>
                    <a:lnTo>
                      <a:pt x="227" y="220"/>
                    </a:lnTo>
                    <a:lnTo>
                      <a:pt x="227" y="222"/>
                    </a:lnTo>
                    <a:lnTo>
                      <a:pt x="227" y="222"/>
                    </a:lnTo>
                    <a:lnTo>
                      <a:pt x="224" y="226"/>
                    </a:lnTo>
                    <a:lnTo>
                      <a:pt x="223" y="228"/>
                    </a:lnTo>
                    <a:lnTo>
                      <a:pt x="224" y="229"/>
                    </a:lnTo>
                    <a:lnTo>
                      <a:pt x="224" y="229"/>
                    </a:lnTo>
                    <a:lnTo>
                      <a:pt x="233" y="228"/>
                    </a:lnTo>
                    <a:lnTo>
                      <a:pt x="239" y="228"/>
                    </a:lnTo>
                    <a:lnTo>
                      <a:pt x="243" y="228"/>
                    </a:lnTo>
                    <a:lnTo>
                      <a:pt x="243" y="228"/>
                    </a:lnTo>
                    <a:lnTo>
                      <a:pt x="252" y="232"/>
                    </a:lnTo>
                    <a:lnTo>
                      <a:pt x="255" y="232"/>
                    </a:lnTo>
                    <a:lnTo>
                      <a:pt x="259" y="232"/>
                    </a:lnTo>
                    <a:lnTo>
                      <a:pt x="259" y="232"/>
                    </a:lnTo>
                    <a:lnTo>
                      <a:pt x="269" y="226"/>
                    </a:lnTo>
                    <a:lnTo>
                      <a:pt x="275" y="222"/>
                    </a:lnTo>
                    <a:lnTo>
                      <a:pt x="278" y="219"/>
                    </a:lnTo>
                    <a:lnTo>
                      <a:pt x="278" y="219"/>
                    </a:lnTo>
                    <a:lnTo>
                      <a:pt x="281" y="215"/>
                    </a:lnTo>
                    <a:lnTo>
                      <a:pt x="282" y="213"/>
                    </a:lnTo>
                    <a:lnTo>
                      <a:pt x="282" y="213"/>
                    </a:lnTo>
                    <a:lnTo>
                      <a:pt x="281" y="213"/>
                    </a:lnTo>
                    <a:lnTo>
                      <a:pt x="278" y="213"/>
                    </a:lnTo>
                    <a:lnTo>
                      <a:pt x="276" y="212"/>
                    </a:lnTo>
                    <a:lnTo>
                      <a:pt x="276" y="212"/>
                    </a:lnTo>
                    <a:lnTo>
                      <a:pt x="274" y="204"/>
                    </a:lnTo>
                    <a:lnTo>
                      <a:pt x="271" y="200"/>
                    </a:lnTo>
                    <a:lnTo>
                      <a:pt x="269" y="199"/>
                    </a:lnTo>
                    <a:lnTo>
                      <a:pt x="269" y="199"/>
                    </a:lnTo>
                    <a:lnTo>
                      <a:pt x="268" y="200"/>
                    </a:lnTo>
                    <a:lnTo>
                      <a:pt x="265" y="203"/>
                    </a:lnTo>
                    <a:lnTo>
                      <a:pt x="262" y="206"/>
                    </a:lnTo>
                    <a:lnTo>
                      <a:pt x="259" y="206"/>
                    </a:lnTo>
                    <a:lnTo>
                      <a:pt x="259" y="206"/>
                    </a:lnTo>
                    <a:lnTo>
                      <a:pt x="256" y="204"/>
                    </a:lnTo>
                    <a:lnTo>
                      <a:pt x="255" y="204"/>
                    </a:lnTo>
                    <a:lnTo>
                      <a:pt x="252" y="204"/>
                    </a:lnTo>
                    <a:lnTo>
                      <a:pt x="252" y="204"/>
                    </a:lnTo>
                    <a:lnTo>
                      <a:pt x="247" y="206"/>
                    </a:lnTo>
                    <a:lnTo>
                      <a:pt x="246" y="207"/>
                    </a:lnTo>
                    <a:lnTo>
                      <a:pt x="246" y="204"/>
                    </a:lnTo>
                    <a:lnTo>
                      <a:pt x="246" y="204"/>
                    </a:lnTo>
                    <a:lnTo>
                      <a:pt x="250" y="200"/>
                    </a:lnTo>
                    <a:lnTo>
                      <a:pt x="250" y="199"/>
                    </a:lnTo>
                    <a:lnTo>
                      <a:pt x="250" y="197"/>
                    </a:lnTo>
                    <a:lnTo>
                      <a:pt x="250" y="197"/>
                    </a:lnTo>
                    <a:lnTo>
                      <a:pt x="246" y="197"/>
                    </a:lnTo>
                    <a:lnTo>
                      <a:pt x="243" y="196"/>
                    </a:lnTo>
                    <a:lnTo>
                      <a:pt x="243" y="194"/>
                    </a:lnTo>
                    <a:lnTo>
                      <a:pt x="243" y="194"/>
                    </a:lnTo>
                    <a:lnTo>
                      <a:pt x="245" y="189"/>
                    </a:lnTo>
                    <a:lnTo>
                      <a:pt x="246" y="186"/>
                    </a:lnTo>
                    <a:lnTo>
                      <a:pt x="247" y="186"/>
                    </a:lnTo>
                    <a:lnTo>
                      <a:pt x="247" y="186"/>
                    </a:lnTo>
                    <a:lnTo>
                      <a:pt x="250" y="191"/>
                    </a:lnTo>
                    <a:lnTo>
                      <a:pt x="253" y="194"/>
                    </a:lnTo>
                    <a:lnTo>
                      <a:pt x="256" y="196"/>
                    </a:lnTo>
                    <a:lnTo>
                      <a:pt x="256" y="196"/>
                    </a:lnTo>
                    <a:lnTo>
                      <a:pt x="263" y="196"/>
                    </a:lnTo>
                    <a:lnTo>
                      <a:pt x="265" y="194"/>
                    </a:lnTo>
                    <a:lnTo>
                      <a:pt x="265" y="193"/>
                    </a:lnTo>
                    <a:lnTo>
                      <a:pt x="265" y="193"/>
                    </a:lnTo>
                    <a:lnTo>
                      <a:pt x="259" y="191"/>
                    </a:lnTo>
                    <a:lnTo>
                      <a:pt x="259" y="190"/>
                    </a:lnTo>
                    <a:lnTo>
                      <a:pt x="262" y="189"/>
                    </a:lnTo>
                    <a:lnTo>
                      <a:pt x="262" y="189"/>
                    </a:lnTo>
                    <a:lnTo>
                      <a:pt x="268" y="186"/>
                    </a:lnTo>
                    <a:lnTo>
                      <a:pt x="269" y="186"/>
                    </a:lnTo>
                    <a:lnTo>
                      <a:pt x="271" y="186"/>
                    </a:lnTo>
                    <a:lnTo>
                      <a:pt x="271" y="186"/>
                    </a:lnTo>
                    <a:lnTo>
                      <a:pt x="275" y="187"/>
                    </a:lnTo>
                    <a:lnTo>
                      <a:pt x="278" y="186"/>
                    </a:lnTo>
                    <a:lnTo>
                      <a:pt x="279" y="186"/>
                    </a:lnTo>
                    <a:lnTo>
                      <a:pt x="282" y="187"/>
                    </a:lnTo>
                    <a:lnTo>
                      <a:pt x="282" y="187"/>
                    </a:lnTo>
                    <a:lnTo>
                      <a:pt x="285" y="191"/>
                    </a:lnTo>
                    <a:lnTo>
                      <a:pt x="288" y="191"/>
                    </a:lnTo>
                    <a:lnTo>
                      <a:pt x="289" y="190"/>
                    </a:lnTo>
                    <a:lnTo>
                      <a:pt x="289" y="190"/>
                    </a:lnTo>
                    <a:lnTo>
                      <a:pt x="292" y="186"/>
                    </a:lnTo>
                    <a:lnTo>
                      <a:pt x="292" y="184"/>
                    </a:lnTo>
                    <a:lnTo>
                      <a:pt x="291" y="183"/>
                    </a:lnTo>
                    <a:lnTo>
                      <a:pt x="291" y="183"/>
                    </a:lnTo>
                    <a:lnTo>
                      <a:pt x="287" y="180"/>
                    </a:lnTo>
                    <a:lnTo>
                      <a:pt x="285" y="178"/>
                    </a:lnTo>
                    <a:lnTo>
                      <a:pt x="287" y="177"/>
                    </a:lnTo>
                    <a:lnTo>
                      <a:pt x="287" y="177"/>
                    </a:lnTo>
                    <a:lnTo>
                      <a:pt x="291" y="176"/>
                    </a:lnTo>
                    <a:lnTo>
                      <a:pt x="291" y="174"/>
                    </a:lnTo>
                    <a:lnTo>
                      <a:pt x="291" y="173"/>
                    </a:lnTo>
                    <a:lnTo>
                      <a:pt x="291" y="173"/>
                    </a:lnTo>
                    <a:lnTo>
                      <a:pt x="287" y="168"/>
                    </a:lnTo>
                    <a:lnTo>
                      <a:pt x="284" y="167"/>
                    </a:lnTo>
                    <a:lnTo>
                      <a:pt x="281" y="168"/>
                    </a:lnTo>
                    <a:lnTo>
                      <a:pt x="281" y="168"/>
                    </a:lnTo>
                    <a:lnTo>
                      <a:pt x="276" y="171"/>
                    </a:lnTo>
                    <a:lnTo>
                      <a:pt x="274" y="173"/>
                    </a:lnTo>
                    <a:lnTo>
                      <a:pt x="272" y="171"/>
                    </a:lnTo>
                    <a:lnTo>
                      <a:pt x="272" y="171"/>
                    </a:lnTo>
                    <a:lnTo>
                      <a:pt x="265" y="162"/>
                    </a:lnTo>
                    <a:lnTo>
                      <a:pt x="265" y="162"/>
                    </a:lnTo>
                    <a:lnTo>
                      <a:pt x="259" y="154"/>
                    </a:lnTo>
                    <a:lnTo>
                      <a:pt x="256" y="149"/>
                    </a:lnTo>
                    <a:lnTo>
                      <a:pt x="253" y="148"/>
                    </a:lnTo>
                    <a:lnTo>
                      <a:pt x="253" y="148"/>
                    </a:lnTo>
                    <a:lnTo>
                      <a:pt x="242" y="141"/>
                    </a:lnTo>
                    <a:lnTo>
                      <a:pt x="237" y="136"/>
                    </a:lnTo>
                    <a:lnTo>
                      <a:pt x="233" y="132"/>
                    </a:lnTo>
                    <a:lnTo>
                      <a:pt x="233" y="132"/>
                    </a:lnTo>
                    <a:lnTo>
                      <a:pt x="232" y="120"/>
                    </a:lnTo>
                    <a:lnTo>
                      <a:pt x="230" y="100"/>
                    </a:lnTo>
                    <a:lnTo>
                      <a:pt x="230" y="70"/>
                    </a:lnTo>
                    <a:lnTo>
                      <a:pt x="230" y="70"/>
                    </a:lnTo>
                    <a:lnTo>
                      <a:pt x="227" y="47"/>
                    </a:lnTo>
                    <a:lnTo>
                      <a:pt x="227" y="47"/>
                    </a:lnTo>
                    <a:lnTo>
                      <a:pt x="227" y="44"/>
                    </a:lnTo>
                    <a:lnTo>
                      <a:pt x="226" y="41"/>
                    </a:lnTo>
                    <a:lnTo>
                      <a:pt x="221" y="34"/>
                    </a:lnTo>
                    <a:lnTo>
                      <a:pt x="221" y="34"/>
                    </a:lnTo>
                    <a:lnTo>
                      <a:pt x="208" y="15"/>
                    </a:lnTo>
                    <a:lnTo>
                      <a:pt x="208" y="15"/>
                    </a:lnTo>
                    <a:lnTo>
                      <a:pt x="203" y="8"/>
                    </a:lnTo>
                    <a:lnTo>
                      <a:pt x="198" y="5"/>
                    </a:lnTo>
                    <a:lnTo>
                      <a:pt x="197" y="5"/>
                    </a:lnTo>
                    <a:lnTo>
                      <a:pt x="197" y="5"/>
                    </a:lnTo>
                    <a:lnTo>
                      <a:pt x="195" y="10"/>
                    </a:lnTo>
                    <a:lnTo>
                      <a:pt x="194" y="12"/>
                    </a:lnTo>
                    <a:lnTo>
                      <a:pt x="191" y="12"/>
                    </a:lnTo>
                    <a:lnTo>
                      <a:pt x="191" y="12"/>
                    </a:lnTo>
                    <a:lnTo>
                      <a:pt x="184" y="8"/>
                    </a:lnTo>
                    <a:lnTo>
                      <a:pt x="179" y="6"/>
                    </a:lnTo>
                    <a:lnTo>
                      <a:pt x="179" y="6"/>
                    </a:lnTo>
                    <a:lnTo>
                      <a:pt x="179" y="6"/>
                    </a:lnTo>
                    <a:lnTo>
                      <a:pt x="179" y="6"/>
                    </a:lnTo>
                    <a:lnTo>
                      <a:pt x="181" y="12"/>
                    </a:lnTo>
                    <a:lnTo>
                      <a:pt x="181" y="13"/>
                    </a:lnTo>
                    <a:lnTo>
                      <a:pt x="181" y="15"/>
                    </a:lnTo>
                    <a:lnTo>
                      <a:pt x="181" y="15"/>
                    </a:lnTo>
                    <a:lnTo>
                      <a:pt x="178" y="16"/>
                    </a:lnTo>
                    <a:lnTo>
                      <a:pt x="178" y="18"/>
                    </a:lnTo>
                    <a:lnTo>
                      <a:pt x="178" y="21"/>
                    </a:lnTo>
                    <a:lnTo>
                      <a:pt x="178" y="21"/>
                    </a:lnTo>
                    <a:lnTo>
                      <a:pt x="181" y="31"/>
                    </a:lnTo>
                    <a:lnTo>
                      <a:pt x="185" y="41"/>
                    </a:lnTo>
                    <a:lnTo>
                      <a:pt x="185" y="41"/>
                    </a:lnTo>
                    <a:lnTo>
                      <a:pt x="187" y="57"/>
                    </a:lnTo>
                    <a:lnTo>
                      <a:pt x="188" y="67"/>
                    </a:lnTo>
                    <a:lnTo>
                      <a:pt x="188" y="73"/>
                    </a:lnTo>
                    <a:lnTo>
                      <a:pt x="188" y="73"/>
                    </a:lnTo>
                    <a:lnTo>
                      <a:pt x="190" y="86"/>
                    </a:lnTo>
                    <a:lnTo>
                      <a:pt x="190" y="94"/>
                    </a:lnTo>
                    <a:lnTo>
                      <a:pt x="190" y="94"/>
                    </a:lnTo>
                    <a:lnTo>
                      <a:pt x="187" y="97"/>
                    </a:lnTo>
                    <a:lnTo>
                      <a:pt x="182" y="97"/>
                    </a:lnTo>
                    <a:lnTo>
                      <a:pt x="182" y="97"/>
                    </a:lnTo>
                    <a:lnTo>
                      <a:pt x="178" y="96"/>
                    </a:lnTo>
                    <a:lnTo>
                      <a:pt x="175" y="94"/>
                    </a:lnTo>
                    <a:lnTo>
                      <a:pt x="175" y="94"/>
                    </a:lnTo>
                    <a:lnTo>
                      <a:pt x="168" y="45"/>
                    </a:lnTo>
                    <a:lnTo>
                      <a:pt x="168" y="45"/>
                    </a:lnTo>
                    <a:lnTo>
                      <a:pt x="166" y="41"/>
                    </a:lnTo>
                    <a:lnTo>
                      <a:pt x="161" y="35"/>
                    </a:lnTo>
                    <a:lnTo>
                      <a:pt x="155" y="28"/>
                    </a:lnTo>
                    <a:lnTo>
                      <a:pt x="152" y="23"/>
                    </a:lnTo>
                    <a:lnTo>
                      <a:pt x="152" y="23"/>
                    </a:lnTo>
                    <a:lnTo>
                      <a:pt x="150" y="21"/>
                    </a:lnTo>
                    <a:lnTo>
                      <a:pt x="149" y="18"/>
                    </a:lnTo>
                    <a:lnTo>
                      <a:pt x="143" y="15"/>
                    </a:lnTo>
                    <a:lnTo>
                      <a:pt x="136" y="10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2" y="13"/>
                    </a:lnTo>
                    <a:lnTo>
                      <a:pt x="133" y="16"/>
                    </a:lnTo>
                    <a:lnTo>
                      <a:pt x="134" y="21"/>
                    </a:lnTo>
                    <a:lnTo>
                      <a:pt x="137" y="23"/>
                    </a:lnTo>
                    <a:lnTo>
                      <a:pt x="137" y="23"/>
                    </a:lnTo>
                    <a:lnTo>
                      <a:pt x="140" y="25"/>
                    </a:lnTo>
                    <a:lnTo>
                      <a:pt x="143" y="26"/>
                    </a:lnTo>
                    <a:lnTo>
                      <a:pt x="146" y="28"/>
                    </a:lnTo>
                    <a:lnTo>
                      <a:pt x="148" y="32"/>
                    </a:lnTo>
                    <a:lnTo>
                      <a:pt x="148" y="32"/>
                    </a:lnTo>
                    <a:lnTo>
                      <a:pt x="149" y="38"/>
                    </a:lnTo>
                    <a:lnTo>
                      <a:pt x="150" y="41"/>
                    </a:lnTo>
                    <a:lnTo>
                      <a:pt x="152" y="44"/>
                    </a:lnTo>
                    <a:lnTo>
                      <a:pt x="149" y="45"/>
                    </a:lnTo>
                    <a:lnTo>
                      <a:pt x="149" y="45"/>
                    </a:lnTo>
                    <a:lnTo>
                      <a:pt x="142" y="44"/>
                    </a:lnTo>
                    <a:lnTo>
                      <a:pt x="139" y="42"/>
                    </a:lnTo>
                    <a:lnTo>
                      <a:pt x="136" y="44"/>
                    </a:lnTo>
                    <a:lnTo>
                      <a:pt x="136" y="44"/>
                    </a:lnTo>
                    <a:lnTo>
                      <a:pt x="130" y="45"/>
                    </a:lnTo>
                    <a:lnTo>
                      <a:pt x="124" y="48"/>
                    </a:lnTo>
                    <a:lnTo>
                      <a:pt x="120" y="51"/>
                    </a:lnTo>
                    <a:lnTo>
                      <a:pt x="117" y="51"/>
                    </a:lnTo>
                    <a:lnTo>
                      <a:pt x="116" y="51"/>
                    </a:lnTo>
                    <a:lnTo>
                      <a:pt x="116" y="51"/>
                    </a:lnTo>
                    <a:lnTo>
                      <a:pt x="116" y="50"/>
                    </a:lnTo>
                    <a:lnTo>
                      <a:pt x="116" y="47"/>
                    </a:lnTo>
                    <a:lnTo>
                      <a:pt x="121" y="42"/>
                    </a:lnTo>
                    <a:lnTo>
                      <a:pt x="127" y="36"/>
                    </a:lnTo>
                    <a:lnTo>
                      <a:pt x="129" y="34"/>
                    </a:lnTo>
                    <a:lnTo>
                      <a:pt x="129" y="31"/>
                    </a:lnTo>
                    <a:lnTo>
                      <a:pt x="129" y="31"/>
                    </a:lnTo>
                    <a:lnTo>
                      <a:pt x="126" y="26"/>
                    </a:lnTo>
                    <a:lnTo>
                      <a:pt x="123" y="25"/>
                    </a:lnTo>
                    <a:lnTo>
                      <a:pt x="119" y="22"/>
                    </a:lnTo>
                    <a:lnTo>
                      <a:pt x="117" y="19"/>
                    </a:lnTo>
                    <a:lnTo>
                      <a:pt x="117" y="19"/>
                    </a:lnTo>
                    <a:lnTo>
                      <a:pt x="114" y="16"/>
                    </a:lnTo>
                    <a:lnTo>
                      <a:pt x="110" y="13"/>
                    </a:lnTo>
                    <a:lnTo>
                      <a:pt x="107" y="12"/>
                    </a:lnTo>
                    <a:lnTo>
                      <a:pt x="104" y="13"/>
                    </a:lnTo>
                    <a:lnTo>
                      <a:pt x="104" y="13"/>
                    </a:lnTo>
                    <a:lnTo>
                      <a:pt x="103" y="15"/>
                    </a:lnTo>
                    <a:lnTo>
                      <a:pt x="103" y="18"/>
                    </a:lnTo>
                    <a:lnTo>
                      <a:pt x="104" y="21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1" y="35"/>
                    </a:lnTo>
                    <a:lnTo>
                      <a:pt x="100" y="41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2" y="41"/>
                    </a:lnTo>
                    <a:lnTo>
                      <a:pt x="88" y="39"/>
                    </a:lnTo>
                    <a:lnTo>
                      <a:pt x="88" y="39"/>
                    </a:lnTo>
                    <a:lnTo>
                      <a:pt x="82" y="42"/>
                    </a:lnTo>
                    <a:lnTo>
                      <a:pt x="79" y="44"/>
                    </a:lnTo>
                    <a:lnTo>
                      <a:pt x="77" y="42"/>
                    </a:lnTo>
                    <a:lnTo>
                      <a:pt x="77" y="42"/>
                    </a:lnTo>
                    <a:lnTo>
                      <a:pt x="77" y="39"/>
                    </a:lnTo>
                    <a:lnTo>
                      <a:pt x="77" y="38"/>
                    </a:lnTo>
                    <a:lnTo>
                      <a:pt x="78" y="32"/>
                    </a:lnTo>
                    <a:lnTo>
                      <a:pt x="84" y="25"/>
                    </a:lnTo>
                    <a:lnTo>
                      <a:pt x="84" y="25"/>
                    </a:lnTo>
                    <a:lnTo>
                      <a:pt x="87" y="22"/>
                    </a:lnTo>
                    <a:lnTo>
                      <a:pt x="88" y="19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7" y="8"/>
                    </a:lnTo>
                    <a:lnTo>
                      <a:pt x="85" y="5"/>
                    </a:lnTo>
                    <a:lnTo>
                      <a:pt x="84" y="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39" name="Freeform 1395"/>
              <p:cNvSpPr>
                <a:spLocks/>
              </p:cNvSpPr>
              <p:nvPr/>
            </p:nvSpPr>
            <p:spPr bwMode="auto">
              <a:xfrm>
                <a:off x="2505436" y="1575053"/>
                <a:ext cx="288864" cy="238412"/>
              </a:xfrm>
              <a:custGeom>
                <a:avLst/>
                <a:gdLst>
                  <a:gd name="T0" fmla="*/ 56 w 292"/>
                  <a:gd name="T1" fmla="*/ 15 h 241"/>
                  <a:gd name="T2" fmla="*/ 29 w 292"/>
                  <a:gd name="T3" fmla="*/ 35 h 241"/>
                  <a:gd name="T4" fmla="*/ 8 w 292"/>
                  <a:gd name="T5" fmla="*/ 47 h 241"/>
                  <a:gd name="T6" fmla="*/ 17 w 292"/>
                  <a:gd name="T7" fmla="*/ 61 h 241"/>
                  <a:gd name="T8" fmla="*/ 3 w 292"/>
                  <a:gd name="T9" fmla="*/ 73 h 241"/>
                  <a:gd name="T10" fmla="*/ 4 w 292"/>
                  <a:gd name="T11" fmla="*/ 94 h 241"/>
                  <a:gd name="T12" fmla="*/ 17 w 292"/>
                  <a:gd name="T13" fmla="*/ 100 h 241"/>
                  <a:gd name="T14" fmla="*/ 30 w 292"/>
                  <a:gd name="T15" fmla="*/ 107 h 241"/>
                  <a:gd name="T16" fmla="*/ 50 w 292"/>
                  <a:gd name="T17" fmla="*/ 105 h 241"/>
                  <a:gd name="T18" fmla="*/ 45 w 292"/>
                  <a:gd name="T19" fmla="*/ 110 h 241"/>
                  <a:gd name="T20" fmla="*/ 17 w 292"/>
                  <a:gd name="T21" fmla="*/ 122 h 241"/>
                  <a:gd name="T22" fmla="*/ 29 w 292"/>
                  <a:gd name="T23" fmla="*/ 147 h 241"/>
                  <a:gd name="T24" fmla="*/ 45 w 292"/>
                  <a:gd name="T25" fmla="*/ 148 h 241"/>
                  <a:gd name="T26" fmla="*/ 78 w 292"/>
                  <a:gd name="T27" fmla="*/ 142 h 241"/>
                  <a:gd name="T28" fmla="*/ 104 w 292"/>
                  <a:gd name="T29" fmla="*/ 147 h 241"/>
                  <a:gd name="T30" fmla="*/ 111 w 292"/>
                  <a:gd name="T31" fmla="*/ 157 h 241"/>
                  <a:gd name="T32" fmla="*/ 113 w 292"/>
                  <a:gd name="T33" fmla="*/ 165 h 241"/>
                  <a:gd name="T34" fmla="*/ 90 w 292"/>
                  <a:gd name="T35" fmla="*/ 168 h 241"/>
                  <a:gd name="T36" fmla="*/ 50 w 292"/>
                  <a:gd name="T37" fmla="*/ 170 h 241"/>
                  <a:gd name="T38" fmla="*/ 36 w 292"/>
                  <a:gd name="T39" fmla="*/ 178 h 241"/>
                  <a:gd name="T40" fmla="*/ 45 w 292"/>
                  <a:gd name="T41" fmla="*/ 200 h 241"/>
                  <a:gd name="T42" fmla="*/ 62 w 292"/>
                  <a:gd name="T43" fmla="*/ 213 h 241"/>
                  <a:gd name="T44" fmla="*/ 90 w 292"/>
                  <a:gd name="T45" fmla="*/ 223 h 241"/>
                  <a:gd name="T46" fmla="*/ 98 w 292"/>
                  <a:gd name="T47" fmla="*/ 239 h 241"/>
                  <a:gd name="T48" fmla="*/ 130 w 292"/>
                  <a:gd name="T49" fmla="*/ 235 h 241"/>
                  <a:gd name="T50" fmla="*/ 161 w 292"/>
                  <a:gd name="T51" fmla="*/ 228 h 241"/>
                  <a:gd name="T52" fmla="*/ 192 w 292"/>
                  <a:gd name="T53" fmla="*/ 218 h 241"/>
                  <a:gd name="T54" fmla="*/ 223 w 292"/>
                  <a:gd name="T55" fmla="*/ 220 h 241"/>
                  <a:gd name="T56" fmla="*/ 224 w 292"/>
                  <a:gd name="T57" fmla="*/ 229 h 241"/>
                  <a:gd name="T58" fmla="*/ 255 w 292"/>
                  <a:gd name="T59" fmla="*/ 232 h 241"/>
                  <a:gd name="T60" fmla="*/ 281 w 292"/>
                  <a:gd name="T61" fmla="*/ 215 h 241"/>
                  <a:gd name="T62" fmla="*/ 274 w 292"/>
                  <a:gd name="T63" fmla="*/ 204 h 241"/>
                  <a:gd name="T64" fmla="*/ 259 w 292"/>
                  <a:gd name="T65" fmla="*/ 206 h 241"/>
                  <a:gd name="T66" fmla="*/ 246 w 292"/>
                  <a:gd name="T67" fmla="*/ 207 h 241"/>
                  <a:gd name="T68" fmla="*/ 246 w 292"/>
                  <a:gd name="T69" fmla="*/ 197 h 241"/>
                  <a:gd name="T70" fmla="*/ 247 w 292"/>
                  <a:gd name="T71" fmla="*/ 186 h 241"/>
                  <a:gd name="T72" fmla="*/ 265 w 292"/>
                  <a:gd name="T73" fmla="*/ 193 h 241"/>
                  <a:gd name="T74" fmla="*/ 269 w 292"/>
                  <a:gd name="T75" fmla="*/ 186 h 241"/>
                  <a:gd name="T76" fmla="*/ 282 w 292"/>
                  <a:gd name="T77" fmla="*/ 187 h 241"/>
                  <a:gd name="T78" fmla="*/ 291 w 292"/>
                  <a:gd name="T79" fmla="*/ 183 h 241"/>
                  <a:gd name="T80" fmla="*/ 291 w 292"/>
                  <a:gd name="T81" fmla="*/ 174 h 241"/>
                  <a:gd name="T82" fmla="*/ 276 w 292"/>
                  <a:gd name="T83" fmla="*/ 171 h 241"/>
                  <a:gd name="T84" fmla="*/ 256 w 292"/>
                  <a:gd name="T85" fmla="*/ 149 h 241"/>
                  <a:gd name="T86" fmla="*/ 232 w 292"/>
                  <a:gd name="T87" fmla="*/ 120 h 241"/>
                  <a:gd name="T88" fmla="*/ 226 w 292"/>
                  <a:gd name="T89" fmla="*/ 41 h 241"/>
                  <a:gd name="T90" fmla="*/ 197 w 292"/>
                  <a:gd name="T91" fmla="*/ 5 h 241"/>
                  <a:gd name="T92" fmla="*/ 179 w 292"/>
                  <a:gd name="T93" fmla="*/ 6 h 241"/>
                  <a:gd name="T94" fmla="*/ 181 w 292"/>
                  <a:gd name="T95" fmla="*/ 15 h 241"/>
                  <a:gd name="T96" fmla="*/ 185 w 292"/>
                  <a:gd name="T97" fmla="*/ 41 h 241"/>
                  <a:gd name="T98" fmla="*/ 190 w 292"/>
                  <a:gd name="T99" fmla="*/ 94 h 241"/>
                  <a:gd name="T100" fmla="*/ 168 w 292"/>
                  <a:gd name="T101" fmla="*/ 45 h 241"/>
                  <a:gd name="T102" fmla="*/ 150 w 292"/>
                  <a:gd name="T103" fmla="*/ 21 h 241"/>
                  <a:gd name="T104" fmla="*/ 133 w 292"/>
                  <a:gd name="T105" fmla="*/ 16 h 241"/>
                  <a:gd name="T106" fmla="*/ 148 w 292"/>
                  <a:gd name="T107" fmla="*/ 32 h 241"/>
                  <a:gd name="T108" fmla="*/ 142 w 292"/>
                  <a:gd name="T109" fmla="*/ 44 h 241"/>
                  <a:gd name="T110" fmla="*/ 117 w 292"/>
                  <a:gd name="T111" fmla="*/ 51 h 241"/>
                  <a:gd name="T112" fmla="*/ 129 w 292"/>
                  <a:gd name="T113" fmla="*/ 34 h 241"/>
                  <a:gd name="T114" fmla="*/ 117 w 292"/>
                  <a:gd name="T115" fmla="*/ 19 h 241"/>
                  <a:gd name="T116" fmla="*/ 103 w 292"/>
                  <a:gd name="T117" fmla="*/ 18 h 241"/>
                  <a:gd name="T118" fmla="*/ 98 w 292"/>
                  <a:gd name="T119" fmla="*/ 44 h 241"/>
                  <a:gd name="T120" fmla="*/ 77 w 292"/>
                  <a:gd name="T121" fmla="*/ 42 h 241"/>
                  <a:gd name="T122" fmla="*/ 87 w 292"/>
                  <a:gd name="T123" fmla="*/ 22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92" h="241">
                    <a:moveTo>
                      <a:pt x="84" y="2"/>
                    </a:moveTo>
                    <a:lnTo>
                      <a:pt x="84" y="2"/>
                    </a:lnTo>
                    <a:lnTo>
                      <a:pt x="78" y="0"/>
                    </a:lnTo>
                    <a:lnTo>
                      <a:pt x="74" y="0"/>
                    </a:lnTo>
                    <a:lnTo>
                      <a:pt x="71" y="2"/>
                    </a:lnTo>
                    <a:lnTo>
                      <a:pt x="71" y="2"/>
                    </a:lnTo>
                    <a:lnTo>
                      <a:pt x="56" y="15"/>
                    </a:lnTo>
                    <a:lnTo>
                      <a:pt x="56" y="15"/>
                    </a:lnTo>
                    <a:lnTo>
                      <a:pt x="46" y="21"/>
                    </a:lnTo>
                    <a:lnTo>
                      <a:pt x="37" y="26"/>
                    </a:lnTo>
                    <a:lnTo>
                      <a:pt x="37" y="26"/>
                    </a:lnTo>
                    <a:lnTo>
                      <a:pt x="33" y="29"/>
                    </a:lnTo>
                    <a:lnTo>
                      <a:pt x="29" y="35"/>
                    </a:lnTo>
                    <a:lnTo>
                      <a:pt x="29" y="35"/>
                    </a:lnTo>
                    <a:lnTo>
                      <a:pt x="26" y="38"/>
                    </a:lnTo>
                    <a:lnTo>
                      <a:pt x="24" y="39"/>
                    </a:lnTo>
                    <a:lnTo>
                      <a:pt x="22" y="41"/>
                    </a:lnTo>
                    <a:lnTo>
                      <a:pt x="22" y="41"/>
                    </a:lnTo>
                    <a:lnTo>
                      <a:pt x="13" y="42"/>
                    </a:lnTo>
                    <a:lnTo>
                      <a:pt x="10" y="45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11" y="52"/>
                    </a:lnTo>
                    <a:lnTo>
                      <a:pt x="13" y="57"/>
                    </a:lnTo>
                    <a:lnTo>
                      <a:pt x="13" y="57"/>
                    </a:lnTo>
                    <a:lnTo>
                      <a:pt x="14" y="58"/>
                    </a:lnTo>
                    <a:lnTo>
                      <a:pt x="16" y="60"/>
                    </a:lnTo>
                    <a:lnTo>
                      <a:pt x="17" y="61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4" y="65"/>
                    </a:lnTo>
                    <a:lnTo>
                      <a:pt x="10" y="68"/>
                    </a:lnTo>
                    <a:lnTo>
                      <a:pt x="6" y="70"/>
                    </a:lnTo>
                    <a:lnTo>
                      <a:pt x="3" y="73"/>
                    </a:lnTo>
                    <a:lnTo>
                      <a:pt x="3" y="73"/>
                    </a:lnTo>
                    <a:lnTo>
                      <a:pt x="1" y="80"/>
                    </a:lnTo>
                    <a:lnTo>
                      <a:pt x="0" y="87"/>
                    </a:lnTo>
                    <a:lnTo>
                      <a:pt x="0" y="87"/>
                    </a:lnTo>
                    <a:lnTo>
                      <a:pt x="1" y="92"/>
                    </a:lnTo>
                    <a:lnTo>
                      <a:pt x="3" y="93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6" y="94"/>
                    </a:lnTo>
                    <a:lnTo>
                      <a:pt x="6" y="97"/>
                    </a:lnTo>
                    <a:lnTo>
                      <a:pt x="7" y="99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6" y="99"/>
                    </a:lnTo>
                    <a:lnTo>
                      <a:pt x="17" y="100"/>
                    </a:lnTo>
                    <a:lnTo>
                      <a:pt x="19" y="100"/>
                    </a:lnTo>
                    <a:lnTo>
                      <a:pt x="19" y="100"/>
                    </a:lnTo>
                    <a:lnTo>
                      <a:pt x="19" y="105"/>
                    </a:lnTo>
                    <a:lnTo>
                      <a:pt x="20" y="107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30" y="107"/>
                    </a:lnTo>
                    <a:lnTo>
                      <a:pt x="35" y="107"/>
                    </a:lnTo>
                    <a:lnTo>
                      <a:pt x="37" y="107"/>
                    </a:lnTo>
                    <a:lnTo>
                      <a:pt x="37" y="107"/>
                    </a:lnTo>
                    <a:lnTo>
                      <a:pt x="40" y="105"/>
                    </a:lnTo>
                    <a:lnTo>
                      <a:pt x="43" y="105"/>
                    </a:lnTo>
                    <a:lnTo>
                      <a:pt x="50" y="105"/>
                    </a:lnTo>
                    <a:lnTo>
                      <a:pt x="50" y="105"/>
                    </a:lnTo>
                    <a:lnTo>
                      <a:pt x="61" y="106"/>
                    </a:lnTo>
                    <a:lnTo>
                      <a:pt x="62" y="107"/>
                    </a:lnTo>
                    <a:lnTo>
                      <a:pt x="62" y="107"/>
                    </a:lnTo>
                    <a:lnTo>
                      <a:pt x="62" y="107"/>
                    </a:lnTo>
                    <a:lnTo>
                      <a:pt x="53" y="109"/>
                    </a:lnTo>
                    <a:lnTo>
                      <a:pt x="48" y="109"/>
                    </a:lnTo>
                    <a:lnTo>
                      <a:pt x="45" y="110"/>
                    </a:lnTo>
                    <a:lnTo>
                      <a:pt x="45" y="110"/>
                    </a:lnTo>
                    <a:lnTo>
                      <a:pt x="40" y="112"/>
                    </a:lnTo>
                    <a:lnTo>
                      <a:pt x="33" y="115"/>
                    </a:lnTo>
                    <a:lnTo>
                      <a:pt x="33" y="115"/>
                    </a:lnTo>
                    <a:lnTo>
                      <a:pt x="29" y="116"/>
                    </a:lnTo>
                    <a:lnTo>
                      <a:pt x="23" y="118"/>
                    </a:lnTo>
                    <a:lnTo>
                      <a:pt x="17" y="122"/>
                    </a:lnTo>
                    <a:lnTo>
                      <a:pt x="17" y="122"/>
                    </a:lnTo>
                    <a:lnTo>
                      <a:pt x="16" y="123"/>
                    </a:lnTo>
                    <a:lnTo>
                      <a:pt x="17" y="129"/>
                    </a:lnTo>
                    <a:lnTo>
                      <a:pt x="20" y="139"/>
                    </a:lnTo>
                    <a:lnTo>
                      <a:pt x="20" y="139"/>
                    </a:lnTo>
                    <a:lnTo>
                      <a:pt x="24" y="145"/>
                    </a:lnTo>
                    <a:lnTo>
                      <a:pt x="29" y="147"/>
                    </a:lnTo>
                    <a:lnTo>
                      <a:pt x="33" y="148"/>
                    </a:lnTo>
                    <a:lnTo>
                      <a:pt x="33" y="148"/>
                    </a:lnTo>
                    <a:lnTo>
                      <a:pt x="37" y="148"/>
                    </a:lnTo>
                    <a:lnTo>
                      <a:pt x="40" y="149"/>
                    </a:lnTo>
                    <a:lnTo>
                      <a:pt x="43" y="149"/>
                    </a:lnTo>
                    <a:lnTo>
                      <a:pt x="45" y="148"/>
                    </a:lnTo>
                    <a:lnTo>
                      <a:pt x="45" y="148"/>
                    </a:lnTo>
                    <a:lnTo>
                      <a:pt x="46" y="147"/>
                    </a:lnTo>
                    <a:lnTo>
                      <a:pt x="50" y="147"/>
                    </a:lnTo>
                    <a:lnTo>
                      <a:pt x="50" y="147"/>
                    </a:lnTo>
                    <a:lnTo>
                      <a:pt x="58" y="148"/>
                    </a:lnTo>
                    <a:lnTo>
                      <a:pt x="65" y="147"/>
                    </a:lnTo>
                    <a:lnTo>
                      <a:pt x="65" y="147"/>
                    </a:lnTo>
                    <a:lnTo>
                      <a:pt x="78" y="142"/>
                    </a:lnTo>
                    <a:lnTo>
                      <a:pt x="85" y="141"/>
                    </a:lnTo>
                    <a:lnTo>
                      <a:pt x="90" y="141"/>
                    </a:lnTo>
                    <a:lnTo>
                      <a:pt x="90" y="141"/>
                    </a:lnTo>
                    <a:lnTo>
                      <a:pt x="95" y="145"/>
                    </a:lnTo>
                    <a:lnTo>
                      <a:pt x="100" y="147"/>
                    </a:lnTo>
                    <a:lnTo>
                      <a:pt x="104" y="147"/>
                    </a:lnTo>
                    <a:lnTo>
                      <a:pt x="104" y="147"/>
                    </a:lnTo>
                    <a:lnTo>
                      <a:pt x="117" y="148"/>
                    </a:lnTo>
                    <a:lnTo>
                      <a:pt x="123" y="149"/>
                    </a:lnTo>
                    <a:lnTo>
                      <a:pt x="124" y="149"/>
                    </a:lnTo>
                    <a:lnTo>
                      <a:pt x="123" y="149"/>
                    </a:lnTo>
                    <a:lnTo>
                      <a:pt x="123" y="149"/>
                    </a:lnTo>
                    <a:lnTo>
                      <a:pt x="116" y="154"/>
                    </a:lnTo>
                    <a:lnTo>
                      <a:pt x="111" y="157"/>
                    </a:lnTo>
                    <a:lnTo>
                      <a:pt x="111" y="157"/>
                    </a:lnTo>
                    <a:lnTo>
                      <a:pt x="114" y="158"/>
                    </a:lnTo>
                    <a:lnTo>
                      <a:pt x="116" y="161"/>
                    </a:lnTo>
                    <a:lnTo>
                      <a:pt x="116" y="161"/>
                    </a:lnTo>
                    <a:lnTo>
                      <a:pt x="116" y="161"/>
                    </a:lnTo>
                    <a:lnTo>
                      <a:pt x="114" y="162"/>
                    </a:lnTo>
                    <a:lnTo>
                      <a:pt x="113" y="165"/>
                    </a:lnTo>
                    <a:lnTo>
                      <a:pt x="113" y="167"/>
                    </a:lnTo>
                    <a:lnTo>
                      <a:pt x="111" y="168"/>
                    </a:lnTo>
                    <a:lnTo>
                      <a:pt x="111" y="168"/>
                    </a:lnTo>
                    <a:lnTo>
                      <a:pt x="106" y="168"/>
                    </a:lnTo>
                    <a:lnTo>
                      <a:pt x="95" y="168"/>
                    </a:lnTo>
                    <a:lnTo>
                      <a:pt x="95" y="168"/>
                    </a:lnTo>
                    <a:lnTo>
                      <a:pt x="90" y="168"/>
                    </a:lnTo>
                    <a:lnTo>
                      <a:pt x="82" y="170"/>
                    </a:lnTo>
                    <a:lnTo>
                      <a:pt x="69" y="173"/>
                    </a:lnTo>
                    <a:lnTo>
                      <a:pt x="69" y="173"/>
                    </a:lnTo>
                    <a:lnTo>
                      <a:pt x="65" y="173"/>
                    </a:lnTo>
                    <a:lnTo>
                      <a:pt x="61" y="171"/>
                    </a:lnTo>
                    <a:lnTo>
                      <a:pt x="56" y="170"/>
                    </a:lnTo>
                    <a:lnTo>
                      <a:pt x="50" y="170"/>
                    </a:lnTo>
                    <a:lnTo>
                      <a:pt x="50" y="170"/>
                    </a:lnTo>
                    <a:lnTo>
                      <a:pt x="39" y="171"/>
                    </a:lnTo>
                    <a:lnTo>
                      <a:pt x="36" y="173"/>
                    </a:lnTo>
                    <a:lnTo>
                      <a:pt x="35" y="174"/>
                    </a:lnTo>
                    <a:lnTo>
                      <a:pt x="36" y="176"/>
                    </a:lnTo>
                    <a:lnTo>
                      <a:pt x="36" y="176"/>
                    </a:lnTo>
                    <a:lnTo>
                      <a:pt x="36" y="178"/>
                    </a:lnTo>
                    <a:lnTo>
                      <a:pt x="36" y="183"/>
                    </a:lnTo>
                    <a:lnTo>
                      <a:pt x="36" y="187"/>
                    </a:lnTo>
                    <a:lnTo>
                      <a:pt x="37" y="190"/>
                    </a:lnTo>
                    <a:lnTo>
                      <a:pt x="37" y="190"/>
                    </a:lnTo>
                    <a:lnTo>
                      <a:pt x="42" y="194"/>
                    </a:lnTo>
                    <a:lnTo>
                      <a:pt x="45" y="196"/>
                    </a:lnTo>
                    <a:lnTo>
                      <a:pt x="45" y="200"/>
                    </a:lnTo>
                    <a:lnTo>
                      <a:pt x="45" y="200"/>
                    </a:lnTo>
                    <a:lnTo>
                      <a:pt x="46" y="203"/>
                    </a:lnTo>
                    <a:lnTo>
                      <a:pt x="48" y="206"/>
                    </a:lnTo>
                    <a:lnTo>
                      <a:pt x="50" y="210"/>
                    </a:lnTo>
                    <a:lnTo>
                      <a:pt x="56" y="213"/>
                    </a:lnTo>
                    <a:lnTo>
                      <a:pt x="56" y="213"/>
                    </a:lnTo>
                    <a:lnTo>
                      <a:pt x="62" y="213"/>
                    </a:lnTo>
                    <a:lnTo>
                      <a:pt x="69" y="215"/>
                    </a:lnTo>
                    <a:lnTo>
                      <a:pt x="77" y="213"/>
                    </a:lnTo>
                    <a:lnTo>
                      <a:pt x="81" y="215"/>
                    </a:lnTo>
                    <a:lnTo>
                      <a:pt x="81" y="215"/>
                    </a:lnTo>
                    <a:lnTo>
                      <a:pt x="87" y="218"/>
                    </a:lnTo>
                    <a:lnTo>
                      <a:pt x="88" y="220"/>
                    </a:lnTo>
                    <a:lnTo>
                      <a:pt x="90" y="223"/>
                    </a:lnTo>
                    <a:lnTo>
                      <a:pt x="90" y="223"/>
                    </a:lnTo>
                    <a:lnTo>
                      <a:pt x="88" y="228"/>
                    </a:lnTo>
                    <a:lnTo>
                      <a:pt x="88" y="231"/>
                    </a:lnTo>
                    <a:lnTo>
                      <a:pt x="90" y="233"/>
                    </a:lnTo>
                    <a:lnTo>
                      <a:pt x="90" y="233"/>
                    </a:lnTo>
                    <a:lnTo>
                      <a:pt x="95" y="238"/>
                    </a:lnTo>
                    <a:lnTo>
                      <a:pt x="98" y="239"/>
                    </a:lnTo>
                    <a:lnTo>
                      <a:pt x="104" y="241"/>
                    </a:lnTo>
                    <a:lnTo>
                      <a:pt x="104" y="241"/>
                    </a:lnTo>
                    <a:lnTo>
                      <a:pt x="110" y="239"/>
                    </a:lnTo>
                    <a:lnTo>
                      <a:pt x="119" y="238"/>
                    </a:lnTo>
                    <a:lnTo>
                      <a:pt x="126" y="235"/>
                    </a:lnTo>
                    <a:lnTo>
                      <a:pt x="130" y="235"/>
                    </a:lnTo>
                    <a:lnTo>
                      <a:pt x="130" y="235"/>
                    </a:lnTo>
                    <a:lnTo>
                      <a:pt x="137" y="238"/>
                    </a:lnTo>
                    <a:lnTo>
                      <a:pt x="142" y="238"/>
                    </a:lnTo>
                    <a:lnTo>
                      <a:pt x="146" y="238"/>
                    </a:lnTo>
                    <a:lnTo>
                      <a:pt x="146" y="238"/>
                    </a:lnTo>
                    <a:lnTo>
                      <a:pt x="150" y="235"/>
                    </a:lnTo>
                    <a:lnTo>
                      <a:pt x="156" y="232"/>
                    </a:lnTo>
                    <a:lnTo>
                      <a:pt x="161" y="228"/>
                    </a:lnTo>
                    <a:lnTo>
                      <a:pt x="163" y="226"/>
                    </a:lnTo>
                    <a:lnTo>
                      <a:pt x="163" y="226"/>
                    </a:lnTo>
                    <a:lnTo>
                      <a:pt x="178" y="225"/>
                    </a:lnTo>
                    <a:lnTo>
                      <a:pt x="185" y="223"/>
                    </a:lnTo>
                    <a:lnTo>
                      <a:pt x="188" y="222"/>
                    </a:lnTo>
                    <a:lnTo>
                      <a:pt x="188" y="222"/>
                    </a:lnTo>
                    <a:lnTo>
                      <a:pt x="192" y="218"/>
                    </a:lnTo>
                    <a:lnTo>
                      <a:pt x="195" y="216"/>
                    </a:lnTo>
                    <a:lnTo>
                      <a:pt x="198" y="216"/>
                    </a:lnTo>
                    <a:lnTo>
                      <a:pt x="198" y="216"/>
                    </a:lnTo>
                    <a:lnTo>
                      <a:pt x="204" y="218"/>
                    </a:lnTo>
                    <a:lnTo>
                      <a:pt x="210" y="219"/>
                    </a:lnTo>
                    <a:lnTo>
                      <a:pt x="210" y="219"/>
                    </a:lnTo>
                    <a:lnTo>
                      <a:pt x="223" y="220"/>
                    </a:lnTo>
                    <a:lnTo>
                      <a:pt x="227" y="220"/>
                    </a:lnTo>
                    <a:lnTo>
                      <a:pt x="227" y="220"/>
                    </a:lnTo>
                    <a:lnTo>
                      <a:pt x="227" y="222"/>
                    </a:lnTo>
                    <a:lnTo>
                      <a:pt x="227" y="222"/>
                    </a:lnTo>
                    <a:lnTo>
                      <a:pt x="224" y="226"/>
                    </a:lnTo>
                    <a:lnTo>
                      <a:pt x="223" y="228"/>
                    </a:lnTo>
                    <a:lnTo>
                      <a:pt x="224" y="229"/>
                    </a:lnTo>
                    <a:lnTo>
                      <a:pt x="224" y="229"/>
                    </a:lnTo>
                    <a:lnTo>
                      <a:pt x="233" y="228"/>
                    </a:lnTo>
                    <a:lnTo>
                      <a:pt x="239" y="228"/>
                    </a:lnTo>
                    <a:lnTo>
                      <a:pt x="243" y="228"/>
                    </a:lnTo>
                    <a:lnTo>
                      <a:pt x="243" y="228"/>
                    </a:lnTo>
                    <a:lnTo>
                      <a:pt x="252" y="232"/>
                    </a:lnTo>
                    <a:lnTo>
                      <a:pt x="255" y="232"/>
                    </a:lnTo>
                    <a:lnTo>
                      <a:pt x="259" y="232"/>
                    </a:lnTo>
                    <a:lnTo>
                      <a:pt x="259" y="232"/>
                    </a:lnTo>
                    <a:lnTo>
                      <a:pt x="269" y="226"/>
                    </a:lnTo>
                    <a:lnTo>
                      <a:pt x="275" y="222"/>
                    </a:lnTo>
                    <a:lnTo>
                      <a:pt x="278" y="219"/>
                    </a:lnTo>
                    <a:lnTo>
                      <a:pt x="278" y="219"/>
                    </a:lnTo>
                    <a:lnTo>
                      <a:pt x="281" y="215"/>
                    </a:lnTo>
                    <a:lnTo>
                      <a:pt x="282" y="213"/>
                    </a:lnTo>
                    <a:lnTo>
                      <a:pt x="282" y="213"/>
                    </a:lnTo>
                    <a:lnTo>
                      <a:pt x="281" y="213"/>
                    </a:lnTo>
                    <a:lnTo>
                      <a:pt x="278" y="213"/>
                    </a:lnTo>
                    <a:lnTo>
                      <a:pt x="276" y="212"/>
                    </a:lnTo>
                    <a:lnTo>
                      <a:pt x="276" y="212"/>
                    </a:lnTo>
                    <a:lnTo>
                      <a:pt x="274" y="204"/>
                    </a:lnTo>
                    <a:lnTo>
                      <a:pt x="271" y="200"/>
                    </a:lnTo>
                    <a:lnTo>
                      <a:pt x="269" y="199"/>
                    </a:lnTo>
                    <a:lnTo>
                      <a:pt x="269" y="199"/>
                    </a:lnTo>
                    <a:lnTo>
                      <a:pt x="268" y="200"/>
                    </a:lnTo>
                    <a:lnTo>
                      <a:pt x="265" y="203"/>
                    </a:lnTo>
                    <a:lnTo>
                      <a:pt x="262" y="206"/>
                    </a:lnTo>
                    <a:lnTo>
                      <a:pt x="259" y="206"/>
                    </a:lnTo>
                    <a:lnTo>
                      <a:pt x="259" y="206"/>
                    </a:lnTo>
                    <a:lnTo>
                      <a:pt x="256" y="204"/>
                    </a:lnTo>
                    <a:lnTo>
                      <a:pt x="255" y="204"/>
                    </a:lnTo>
                    <a:lnTo>
                      <a:pt x="252" y="204"/>
                    </a:lnTo>
                    <a:lnTo>
                      <a:pt x="252" y="204"/>
                    </a:lnTo>
                    <a:lnTo>
                      <a:pt x="247" y="206"/>
                    </a:lnTo>
                    <a:lnTo>
                      <a:pt x="246" y="207"/>
                    </a:lnTo>
                    <a:lnTo>
                      <a:pt x="246" y="204"/>
                    </a:lnTo>
                    <a:lnTo>
                      <a:pt x="246" y="204"/>
                    </a:lnTo>
                    <a:lnTo>
                      <a:pt x="250" y="200"/>
                    </a:lnTo>
                    <a:lnTo>
                      <a:pt x="250" y="199"/>
                    </a:lnTo>
                    <a:lnTo>
                      <a:pt x="250" y="197"/>
                    </a:lnTo>
                    <a:lnTo>
                      <a:pt x="250" y="197"/>
                    </a:lnTo>
                    <a:lnTo>
                      <a:pt x="246" y="197"/>
                    </a:lnTo>
                    <a:lnTo>
                      <a:pt x="243" y="196"/>
                    </a:lnTo>
                    <a:lnTo>
                      <a:pt x="243" y="194"/>
                    </a:lnTo>
                    <a:lnTo>
                      <a:pt x="243" y="194"/>
                    </a:lnTo>
                    <a:lnTo>
                      <a:pt x="245" y="189"/>
                    </a:lnTo>
                    <a:lnTo>
                      <a:pt x="246" y="186"/>
                    </a:lnTo>
                    <a:lnTo>
                      <a:pt x="247" y="186"/>
                    </a:lnTo>
                    <a:lnTo>
                      <a:pt x="247" y="186"/>
                    </a:lnTo>
                    <a:lnTo>
                      <a:pt x="250" y="191"/>
                    </a:lnTo>
                    <a:lnTo>
                      <a:pt x="253" y="194"/>
                    </a:lnTo>
                    <a:lnTo>
                      <a:pt x="256" y="196"/>
                    </a:lnTo>
                    <a:lnTo>
                      <a:pt x="256" y="196"/>
                    </a:lnTo>
                    <a:lnTo>
                      <a:pt x="263" y="196"/>
                    </a:lnTo>
                    <a:lnTo>
                      <a:pt x="265" y="194"/>
                    </a:lnTo>
                    <a:lnTo>
                      <a:pt x="265" y="193"/>
                    </a:lnTo>
                    <a:lnTo>
                      <a:pt x="265" y="193"/>
                    </a:lnTo>
                    <a:lnTo>
                      <a:pt x="259" y="191"/>
                    </a:lnTo>
                    <a:lnTo>
                      <a:pt x="259" y="190"/>
                    </a:lnTo>
                    <a:lnTo>
                      <a:pt x="262" y="189"/>
                    </a:lnTo>
                    <a:lnTo>
                      <a:pt x="262" y="189"/>
                    </a:lnTo>
                    <a:lnTo>
                      <a:pt x="268" y="186"/>
                    </a:lnTo>
                    <a:lnTo>
                      <a:pt x="269" y="186"/>
                    </a:lnTo>
                    <a:lnTo>
                      <a:pt x="271" y="186"/>
                    </a:lnTo>
                    <a:lnTo>
                      <a:pt x="271" y="186"/>
                    </a:lnTo>
                    <a:lnTo>
                      <a:pt x="275" y="187"/>
                    </a:lnTo>
                    <a:lnTo>
                      <a:pt x="278" y="186"/>
                    </a:lnTo>
                    <a:lnTo>
                      <a:pt x="279" y="186"/>
                    </a:lnTo>
                    <a:lnTo>
                      <a:pt x="282" y="187"/>
                    </a:lnTo>
                    <a:lnTo>
                      <a:pt x="282" y="187"/>
                    </a:lnTo>
                    <a:lnTo>
                      <a:pt x="285" y="191"/>
                    </a:lnTo>
                    <a:lnTo>
                      <a:pt x="288" y="191"/>
                    </a:lnTo>
                    <a:lnTo>
                      <a:pt x="289" y="190"/>
                    </a:lnTo>
                    <a:lnTo>
                      <a:pt x="289" y="190"/>
                    </a:lnTo>
                    <a:lnTo>
                      <a:pt x="292" y="186"/>
                    </a:lnTo>
                    <a:lnTo>
                      <a:pt x="292" y="184"/>
                    </a:lnTo>
                    <a:lnTo>
                      <a:pt x="291" y="183"/>
                    </a:lnTo>
                    <a:lnTo>
                      <a:pt x="291" y="183"/>
                    </a:lnTo>
                    <a:lnTo>
                      <a:pt x="287" y="180"/>
                    </a:lnTo>
                    <a:lnTo>
                      <a:pt x="285" y="178"/>
                    </a:lnTo>
                    <a:lnTo>
                      <a:pt x="287" y="177"/>
                    </a:lnTo>
                    <a:lnTo>
                      <a:pt x="287" y="177"/>
                    </a:lnTo>
                    <a:lnTo>
                      <a:pt x="291" y="176"/>
                    </a:lnTo>
                    <a:lnTo>
                      <a:pt x="291" y="174"/>
                    </a:lnTo>
                    <a:lnTo>
                      <a:pt x="291" y="173"/>
                    </a:lnTo>
                    <a:lnTo>
                      <a:pt x="291" y="173"/>
                    </a:lnTo>
                    <a:lnTo>
                      <a:pt x="287" y="168"/>
                    </a:lnTo>
                    <a:lnTo>
                      <a:pt x="284" y="167"/>
                    </a:lnTo>
                    <a:lnTo>
                      <a:pt x="281" y="168"/>
                    </a:lnTo>
                    <a:lnTo>
                      <a:pt x="281" y="168"/>
                    </a:lnTo>
                    <a:lnTo>
                      <a:pt x="276" y="171"/>
                    </a:lnTo>
                    <a:lnTo>
                      <a:pt x="274" y="173"/>
                    </a:lnTo>
                    <a:lnTo>
                      <a:pt x="272" y="171"/>
                    </a:lnTo>
                    <a:lnTo>
                      <a:pt x="272" y="171"/>
                    </a:lnTo>
                    <a:lnTo>
                      <a:pt x="265" y="162"/>
                    </a:lnTo>
                    <a:lnTo>
                      <a:pt x="265" y="162"/>
                    </a:lnTo>
                    <a:lnTo>
                      <a:pt x="259" y="154"/>
                    </a:lnTo>
                    <a:lnTo>
                      <a:pt x="256" y="149"/>
                    </a:lnTo>
                    <a:lnTo>
                      <a:pt x="253" y="148"/>
                    </a:lnTo>
                    <a:lnTo>
                      <a:pt x="253" y="148"/>
                    </a:lnTo>
                    <a:lnTo>
                      <a:pt x="242" y="141"/>
                    </a:lnTo>
                    <a:lnTo>
                      <a:pt x="237" y="136"/>
                    </a:lnTo>
                    <a:lnTo>
                      <a:pt x="233" y="132"/>
                    </a:lnTo>
                    <a:lnTo>
                      <a:pt x="233" y="132"/>
                    </a:lnTo>
                    <a:lnTo>
                      <a:pt x="232" y="120"/>
                    </a:lnTo>
                    <a:lnTo>
                      <a:pt x="230" y="100"/>
                    </a:lnTo>
                    <a:lnTo>
                      <a:pt x="230" y="70"/>
                    </a:lnTo>
                    <a:lnTo>
                      <a:pt x="230" y="70"/>
                    </a:lnTo>
                    <a:lnTo>
                      <a:pt x="227" y="47"/>
                    </a:lnTo>
                    <a:lnTo>
                      <a:pt x="227" y="47"/>
                    </a:lnTo>
                    <a:lnTo>
                      <a:pt x="227" y="44"/>
                    </a:lnTo>
                    <a:lnTo>
                      <a:pt x="226" y="41"/>
                    </a:lnTo>
                    <a:lnTo>
                      <a:pt x="221" y="34"/>
                    </a:lnTo>
                    <a:lnTo>
                      <a:pt x="221" y="34"/>
                    </a:lnTo>
                    <a:lnTo>
                      <a:pt x="208" y="15"/>
                    </a:lnTo>
                    <a:lnTo>
                      <a:pt x="208" y="15"/>
                    </a:lnTo>
                    <a:lnTo>
                      <a:pt x="203" y="8"/>
                    </a:lnTo>
                    <a:lnTo>
                      <a:pt x="198" y="5"/>
                    </a:lnTo>
                    <a:lnTo>
                      <a:pt x="197" y="5"/>
                    </a:lnTo>
                    <a:lnTo>
                      <a:pt x="197" y="5"/>
                    </a:lnTo>
                    <a:lnTo>
                      <a:pt x="195" y="10"/>
                    </a:lnTo>
                    <a:lnTo>
                      <a:pt x="194" y="12"/>
                    </a:lnTo>
                    <a:lnTo>
                      <a:pt x="191" y="12"/>
                    </a:lnTo>
                    <a:lnTo>
                      <a:pt x="191" y="12"/>
                    </a:lnTo>
                    <a:lnTo>
                      <a:pt x="184" y="8"/>
                    </a:lnTo>
                    <a:lnTo>
                      <a:pt x="179" y="6"/>
                    </a:lnTo>
                    <a:lnTo>
                      <a:pt x="179" y="6"/>
                    </a:lnTo>
                    <a:lnTo>
                      <a:pt x="179" y="6"/>
                    </a:lnTo>
                    <a:lnTo>
                      <a:pt x="179" y="6"/>
                    </a:lnTo>
                    <a:lnTo>
                      <a:pt x="181" y="12"/>
                    </a:lnTo>
                    <a:lnTo>
                      <a:pt x="181" y="13"/>
                    </a:lnTo>
                    <a:lnTo>
                      <a:pt x="181" y="15"/>
                    </a:lnTo>
                    <a:lnTo>
                      <a:pt x="181" y="15"/>
                    </a:lnTo>
                    <a:lnTo>
                      <a:pt x="178" y="16"/>
                    </a:lnTo>
                    <a:lnTo>
                      <a:pt x="178" y="18"/>
                    </a:lnTo>
                    <a:lnTo>
                      <a:pt x="178" y="21"/>
                    </a:lnTo>
                    <a:lnTo>
                      <a:pt x="178" y="21"/>
                    </a:lnTo>
                    <a:lnTo>
                      <a:pt x="181" y="31"/>
                    </a:lnTo>
                    <a:lnTo>
                      <a:pt x="185" y="41"/>
                    </a:lnTo>
                    <a:lnTo>
                      <a:pt x="185" y="41"/>
                    </a:lnTo>
                    <a:lnTo>
                      <a:pt x="187" y="57"/>
                    </a:lnTo>
                    <a:lnTo>
                      <a:pt x="188" y="67"/>
                    </a:lnTo>
                    <a:lnTo>
                      <a:pt x="188" y="73"/>
                    </a:lnTo>
                    <a:lnTo>
                      <a:pt x="188" y="73"/>
                    </a:lnTo>
                    <a:lnTo>
                      <a:pt x="190" y="86"/>
                    </a:lnTo>
                    <a:lnTo>
                      <a:pt x="190" y="94"/>
                    </a:lnTo>
                    <a:lnTo>
                      <a:pt x="190" y="94"/>
                    </a:lnTo>
                    <a:lnTo>
                      <a:pt x="187" y="97"/>
                    </a:lnTo>
                    <a:lnTo>
                      <a:pt x="182" y="97"/>
                    </a:lnTo>
                    <a:lnTo>
                      <a:pt x="182" y="97"/>
                    </a:lnTo>
                    <a:lnTo>
                      <a:pt x="178" y="96"/>
                    </a:lnTo>
                    <a:lnTo>
                      <a:pt x="175" y="94"/>
                    </a:lnTo>
                    <a:lnTo>
                      <a:pt x="175" y="94"/>
                    </a:lnTo>
                    <a:lnTo>
                      <a:pt x="168" y="45"/>
                    </a:lnTo>
                    <a:lnTo>
                      <a:pt x="168" y="45"/>
                    </a:lnTo>
                    <a:lnTo>
                      <a:pt x="166" y="41"/>
                    </a:lnTo>
                    <a:lnTo>
                      <a:pt x="161" y="35"/>
                    </a:lnTo>
                    <a:lnTo>
                      <a:pt x="155" y="28"/>
                    </a:lnTo>
                    <a:lnTo>
                      <a:pt x="152" y="23"/>
                    </a:lnTo>
                    <a:lnTo>
                      <a:pt x="152" y="23"/>
                    </a:lnTo>
                    <a:lnTo>
                      <a:pt x="150" y="21"/>
                    </a:lnTo>
                    <a:lnTo>
                      <a:pt x="149" y="18"/>
                    </a:lnTo>
                    <a:lnTo>
                      <a:pt x="143" y="15"/>
                    </a:lnTo>
                    <a:lnTo>
                      <a:pt x="136" y="10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2" y="13"/>
                    </a:lnTo>
                    <a:lnTo>
                      <a:pt x="133" y="16"/>
                    </a:lnTo>
                    <a:lnTo>
                      <a:pt x="134" y="21"/>
                    </a:lnTo>
                    <a:lnTo>
                      <a:pt x="137" y="23"/>
                    </a:lnTo>
                    <a:lnTo>
                      <a:pt x="137" y="23"/>
                    </a:lnTo>
                    <a:lnTo>
                      <a:pt x="140" y="25"/>
                    </a:lnTo>
                    <a:lnTo>
                      <a:pt x="143" y="26"/>
                    </a:lnTo>
                    <a:lnTo>
                      <a:pt x="146" y="28"/>
                    </a:lnTo>
                    <a:lnTo>
                      <a:pt x="148" y="32"/>
                    </a:lnTo>
                    <a:lnTo>
                      <a:pt x="148" y="32"/>
                    </a:lnTo>
                    <a:lnTo>
                      <a:pt x="149" y="38"/>
                    </a:lnTo>
                    <a:lnTo>
                      <a:pt x="150" y="41"/>
                    </a:lnTo>
                    <a:lnTo>
                      <a:pt x="152" y="44"/>
                    </a:lnTo>
                    <a:lnTo>
                      <a:pt x="149" y="45"/>
                    </a:lnTo>
                    <a:lnTo>
                      <a:pt x="149" y="45"/>
                    </a:lnTo>
                    <a:lnTo>
                      <a:pt x="142" y="44"/>
                    </a:lnTo>
                    <a:lnTo>
                      <a:pt x="139" y="42"/>
                    </a:lnTo>
                    <a:lnTo>
                      <a:pt x="136" y="44"/>
                    </a:lnTo>
                    <a:lnTo>
                      <a:pt x="136" y="44"/>
                    </a:lnTo>
                    <a:lnTo>
                      <a:pt x="130" y="45"/>
                    </a:lnTo>
                    <a:lnTo>
                      <a:pt x="124" y="48"/>
                    </a:lnTo>
                    <a:lnTo>
                      <a:pt x="120" y="51"/>
                    </a:lnTo>
                    <a:lnTo>
                      <a:pt x="117" y="51"/>
                    </a:lnTo>
                    <a:lnTo>
                      <a:pt x="116" y="51"/>
                    </a:lnTo>
                    <a:lnTo>
                      <a:pt x="116" y="51"/>
                    </a:lnTo>
                    <a:lnTo>
                      <a:pt x="116" y="50"/>
                    </a:lnTo>
                    <a:lnTo>
                      <a:pt x="116" y="47"/>
                    </a:lnTo>
                    <a:lnTo>
                      <a:pt x="121" y="42"/>
                    </a:lnTo>
                    <a:lnTo>
                      <a:pt x="127" y="36"/>
                    </a:lnTo>
                    <a:lnTo>
                      <a:pt x="129" y="34"/>
                    </a:lnTo>
                    <a:lnTo>
                      <a:pt x="129" y="31"/>
                    </a:lnTo>
                    <a:lnTo>
                      <a:pt x="129" y="31"/>
                    </a:lnTo>
                    <a:lnTo>
                      <a:pt x="126" y="26"/>
                    </a:lnTo>
                    <a:lnTo>
                      <a:pt x="123" y="25"/>
                    </a:lnTo>
                    <a:lnTo>
                      <a:pt x="119" y="22"/>
                    </a:lnTo>
                    <a:lnTo>
                      <a:pt x="117" y="19"/>
                    </a:lnTo>
                    <a:lnTo>
                      <a:pt x="117" y="19"/>
                    </a:lnTo>
                    <a:lnTo>
                      <a:pt x="114" y="16"/>
                    </a:lnTo>
                    <a:lnTo>
                      <a:pt x="110" y="13"/>
                    </a:lnTo>
                    <a:lnTo>
                      <a:pt x="107" y="12"/>
                    </a:lnTo>
                    <a:lnTo>
                      <a:pt x="104" y="13"/>
                    </a:lnTo>
                    <a:lnTo>
                      <a:pt x="104" y="13"/>
                    </a:lnTo>
                    <a:lnTo>
                      <a:pt x="103" y="15"/>
                    </a:lnTo>
                    <a:lnTo>
                      <a:pt x="103" y="18"/>
                    </a:lnTo>
                    <a:lnTo>
                      <a:pt x="104" y="21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1" y="35"/>
                    </a:lnTo>
                    <a:lnTo>
                      <a:pt x="100" y="41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2" y="41"/>
                    </a:lnTo>
                    <a:lnTo>
                      <a:pt x="88" y="39"/>
                    </a:lnTo>
                    <a:lnTo>
                      <a:pt x="88" y="39"/>
                    </a:lnTo>
                    <a:lnTo>
                      <a:pt x="82" y="42"/>
                    </a:lnTo>
                    <a:lnTo>
                      <a:pt x="79" y="44"/>
                    </a:lnTo>
                    <a:lnTo>
                      <a:pt x="77" y="42"/>
                    </a:lnTo>
                    <a:lnTo>
                      <a:pt x="77" y="42"/>
                    </a:lnTo>
                    <a:lnTo>
                      <a:pt x="77" y="39"/>
                    </a:lnTo>
                    <a:lnTo>
                      <a:pt x="77" y="38"/>
                    </a:lnTo>
                    <a:lnTo>
                      <a:pt x="78" y="32"/>
                    </a:lnTo>
                    <a:lnTo>
                      <a:pt x="84" y="25"/>
                    </a:lnTo>
                    <a:lnTo>
                      <a:pt x="84" y="25"/>
                    </a:lnTo>
                    <a:lnTo>
                      <a:pt x="87" y="22"/>
                    </a:lnTo>
                    <a:lnTo>
                      <a:pt x="88" y="19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7" y="8"/>
                    </a:lnTo>
                    <a:lnTo>
                      <a:pt x="85" y="5"/>
                    </a:lnTo>
                    <a:lnTo>
                      <a:pt x="84" y="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40" name="Freeform 1396"/>
              <p:cNvSpPr>
                <a:spLocks/>
              </p:cNvSpPr>
              <p:nvPr/>
            </p:nvSpPr>
            <p:spPr bwMode="auto">
              <a:xfrm>
                <a:off x="2264057" y="1766969"/>
                <a:ext cx="11871" cy="17807"/>
              </a:xfrm>
              <a:custGeom>
                <a:avLst/>
                <a:gdLst>
                  <a:gd name="T0" fmla="*/ 11 w 12"/>
                  <a:gd name="T1" fmla="*/ 16 h 18"/>
                  <a:gd name="T2" fmla="*/ 11 w 12"/>
                  <a:gd name="T3" fmla="*/ 16 h 18"/>
                  <a:gd name="T4" fmla="*/ 5 w 12"/>
                  <a:gd name="T5" fmla="*/ 18 h 18"/>
                  <a:gd name="T6" fmla="*/ 2 w 12"/>
                  <a:gd name="T7" fmla="*/ 16 h 18"/>
                  <a:gd name="T8" fmla="*/ 0 w 12"/>
                  <a:gd name="T9" fmla="*/ 15 h 18"/>
                  <a:gd name="T10" fmla="*/ 0 w 12"/>
                  <a:gd name="T11" fmla="*/ 15 h 18"/>
                  <a:gd name="T12" fmla="*/ 2 w 12"/>
                  <a:gd name="T13" fmla="*/ 6 h 18"/>
                  <a:gd name="T14" fmla="*/ 2 w 12"/>
                  <a:gd name="T15" fmla="*/ 2 h 18"/>
                  <a:gd name="T16" fmla="*/ 3 w 12"/>
                  <a:gd name="T17" fmla="*/ 0 h 18"/>
                  <a:gd name="T18" fmla="*/ 3 w 12"/>
                  <a:gd name="T19" fmla="*/ 0 h 18"/>
                  <a:gd name="T20" fmla="*/ 6 w 12"/>
                  <a:gd name="T21" fmla="*/ 3 h 18"/>
                  <a:gd name="T22" fmla="*/ 9 w 12"/>
                  <a:gd name="T23" fmla="*/ 8 h 18"/>
                  <a:gd name="T24" fmla="*/ 12 w 12"/>
                  <a:gd name="T25" fmla="*/ 13 h 18"/>
                  <a:gd name="T26" fmla="*/ 12 w 12"/>
                  <a:gd name="T27" fmla="*/ 15 h 18"/>
                  <a:gd name="T28" fmla="*/ 11 w 12"/>
                  <a:gd name="T29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18">
                    <a:moveTo>
                      <a:pt x="11" y="16"/>
                    </a:moveTo>
                    <a:lnTo>
                      <a:pt x="11" y="16"/>
                    </a:lnTo>
                    <a:lnTo>
                      <a:pt x="5" y="18"/>
                    </a:lnTo>
                    <a:lnTo>
                      <a:pt x="2" y="16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6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9" y="8"/>
                    </a:lnTo>
                    <a:lnTo>
                      <a:pt x="12" y="13"/>
                    </a:lnTo>
                    <a:lnTo>
                      <a:pt x="12" y="15"/>
                    </a:lnTo>
                    <a:lnTo>
                      <a:pt x="11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41" name="Freeform 1397"/>
              <p:cNvSpPr>
                <a:spLocks/>
              </p:cNvSpPr>
              <p:nvPr/>
            </p:nvSpPr>
            <p:spPr bwMode="auto">
              <a:xfrm>
                <a:off x="2264057" y="1766969"/>
                <a:ext cx="11871" cy="17807"/>
              </a:xfrm>
              <a:custGeom>
                <a:avLst/>
                <a:gdLst>
                  <a:gd name="T0" fmla="*/ 11 w 12"/>
                  <a:gd name="T1" fmla="*/ 16 h 18"/>
                  <a:gd name="T2" fmla="*/ 11 w 12"/>
                  <a:gd name="T3" fmla="*/ 16 h 18"/>
                  <a:gd name="T4" fmla="*/ 5 w 12"/>
                  <a:gd name="T5" fmla="*/ 18 h 18"/>
                  <a:gd name="T6" fmla="*/ 2 w 12"/>
                  <a:gd name="T7" fmla="*/ 16 h 18"/>
                  <a:gd name="T8" fmla="*/ 0 w 12"/>
                  <a:gd name="T9" fmla="*/ 15 h 18"/>
                  <a:gd name="T10" fmla="*/ 0 w 12"/>
                  <a:gd name="T11" fmla="*/ 15 h 18"/>
                  <a:gd name="T12" fmla="*/ 2 w 12"/>
                  <a:gd name="T13" fmla="*/ 6 h 18"/>
                  <a:gd name="T14" fmla="*/ 2 w 12"/>
                  <a:gd name="T15" fmla="*/ 2 h 18"/>
                  <a:gd name="T16" fmla="*/ 3 w 12"/>
                  <a:gd name="T17" fmla="*/ 0 h 18"/>
                  <a:gd name="T18" fmla="*/ 3 w 12"/>
                  <a:gd name="T19" fmla="*/ 0 h 18"/>
                  <a:gd name="T20" fmla="*/ 6 w 12"/>
                  <a:gd name="T21" fmla="*/ 3 h 18"/>
                  <a:gd name="T22" fmla="*/ 9 w 12"/>
                  <a:gd name="T23" fmla="*/ 8 h 18"/>
                  <a:gd name="T24" fmla="*/ 12 w 12"/>
                  <a:gd name="T25" fmla="*/ 13 h 18"/>
                  <a:gd name="T26" fmla="*/ 12 w 12"/>
                  <a:gd name="T27" fmla="*/ 15 h 18"/>
                  <a:gd name="T28" fmla="*/ 11 w 12"/>
                  <a:gd name="T29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18">
                    <a:moveTo>
                      <a:pt x="11" y="16"/>
                    </a:moveTo>
                    <a:lnTo>
                      <a:pt x="11" y="16"/>
                    </a:lnTo>
                    <a:lnTo>
                      <a:pt x="5" y="18"/>
                    </a:lnTo>
                    <a:lnTo>
                      <a:pt x="2" y="16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6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9" y="8"/>
                    </a:lnTo>
                    <a:lnTo>
                      <a:pt x="12" y="13"/>
                    </a:lnTo>
                    <a:lnTo>
                      <a:pt x="12" y="15"/>
                    </a:lnTo>
                    <a:lnTo>
                      <a:pt x="11" y="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42" name="Freeform 1398"/>
              <p:cNvSpPr>
                <a:spLocks/>
              </p:cNvSpPr>
              <p:nvPr/>
            </p:nvSpPr>
            <p:spPr bwMode="auto">
              <a:xfrm>
                <a:off x="2873441" y="1532514"/>
                <a:ext cx="89033" cy="121679"/>
              </a:xfrm>
              <a:custGeom>
                <a:avLst/>
                <a:gdLst>
                  <a:gd name="T0" fmla="*/ 23 w 90"/>
                  <a:gd name="T1" fmla="*/ 123 h 123"/>
                  <a:gd name="T2" fmla="*/ 17 w 90"/>
                  <a:gd name="T3" fmla="*/ 121 h 123"/>
                  <a:gd name="T4" fmla="*/ 22 w 90"/>
                  <a:gd name="T5" fmla="*/ 119 h 123"/>
                  <a:gd name="T6" fmla="*/ 14 w 90"/>
                  <a:gd name="T7" fmla="*/ 116 h 123"/>
                  <a:gd name="T8" fmla="*/ 13 w 90"/>
                  <a:gd name="T9" fmla="*/ 111 h 123"/>
                  <a:gd name="T10" fmla="*/ 14 w 90"/>
                  <a:gd name="T11" fmla="*/ 95 h 123"/>
                  <a:gd name="T12" fmla="*/ 9 w 90"/>
                  <a:gd name="T13" fmla="*/ 90 h 123"/>
                  <a:gd name="T14" fmla="*/ 1 w 90"/>
                  <a:gd name="T15" fmla="*/ 85 h 123"/>
                  <a:gd name="T16" fmla="*/ 1 w 90"/>
                  <a:gd name="T17" fmla="*/ 84 h 123"/>
                  <a:gd name="T18" fmla="*/ 6 w 90"/>
                  <a:gd name="T19" fmla="*/ 79 h 123"/>
                  <a:gd name="T20" fmla="*/ 1 w 90"/>
                  <a:gd name="T21" fmla="*/ 71 h 123"/>
                  <a:gd name="T22" fmla="*/ 0 w 90"/>
                  <a:gd name="T23" fmla="*/ 62 h 123"/>
                  <a:gd name="T24" fmla="*/ 4 w 90"/>
                  <a:gd name="T25" fmla="*/ 56 h 123"/>
                  <a:gd name="T26" fmla="*/ 3 w 90"/>
                  <a:gd name="T27" fmla="*/ 37 h 123"/>
                  <a:gd name="T28" fmla="*/ 3 w 90"/>
                  <a:gd name="T29" fmla="*/ 23 h 123"/>
                  <a:gd name="T30" fmla="*/ 4 w 90"/>
                  <a:gd name="T31" fmla="*/ 23 h 123"/>
                  <a:gd name="T32" fmla="*/ 7 w 90"/>
                  <a:gd name="T33" fmla="*/ 27 h 123"/>
                  <a:gd name="T34" fmla="*/ 12 w 90"/>
                  <a:gd name="T35" fmla="*/ 24 h 123"/>
                  <a:gd name="T36" fmla="*/ 13 w 90"/>
                  <a:gd name="T37" fmla="*/ 16 h 123"/>
                  <a:gd name="T38" fmla="*/ 10 w 90"/>
                  <a:gd name="T39" fmla="*/ 9 h 123"/>
                  <a:gd name="T40" fmla="*/ 13 w 90"/>
                  <a:gd name="T41" fmla="*/ 4 h 123"/>
                  <a:gd name="T42" fmla="*/ 29 w 90"/>
                  <a:gd name="T43" fmla="*/ 7 h 123"/>
                  <a:gd name="T44" fmla="*/ 30 w 90"/>
                  <a:gd name="T45" fmla="*/ 6 h 123"/>
                  <a:gd name="T46" fmla="*/ 33 w 90"/>
                  <a:gd name="T47" fmla="*/ 0 h 123"/>
                  <a:gd name="T48" fmla="*/ 49 w 90"/>
                  <a:gd name="T49" fmla="*/ 0 h 123"/>
                  <a:gd name="T50" fmla="*/ 56 w 90"/>
                  <a:gd name="T51" fmla="*/ 9 h 123"/>
                  <a:gd name="T52" fmla="*/ 61 w 90"/>
                  <a:gd name="T53" fmla="*/ 11 h 123"/>
                  <a:gd name="T54" fmla="*/ 61 w 90"/>
                  <a:gd name="T55" fmla="*/ 9 h 123"/>
                  <a:gd name="T56" fmla="*/ 65 w 90"/>
                  <a:gd name="T57" fmla="*/ 7 h 123"/>
                  <a:gd name="T58" fmla="*/ 72 w 90"/>
                  <a:gd name="T59" fmla="*/ 6 h 123"/>
                  <a:gd name="T60" fmla="*/ 78 w 90"/>
                  <a:gd name="T61" fmla="*/ 6 h 123"/>
                  <a:gd name="T62" fmla="*/ 88 w 90"/>
                  <a:gd name="T63" fmla="*/ 10 h 123"/>
                  <a:gd name="T64" fmla="*/ 90 w 90"/>
                  <a:gd name="T65" fmla="*/ 16 h 123"/>
                  <a:gd name="T66" fmla="*/ 83 w 90"/>
                  <a:gd name="T67" fmla="*/ 33 h 123"/>
                  <a:gd name="T68" fmla="*/ 77 w 90"/>
                  <a:gd name="T69" fmla="*/ 42 h 123"/>
                  <a:gd name="T70" fmla="*/ 72 w 90"/>
                  <a:gd name="T71" fmla="*/ 49 h 123"/>
                  <a:gd name="T72" fmla="*/ 72 w 90"/>
                  <a:gd name="T73" fmla="*/ 62 h 123"/>
                  <a:gd name="T74" fmla="*/ 61 w 90"/>
                  <a:gd name="T75" fmla="*/ 77 h 123"/>
                  <a:gd name="T76" fmla="*/ 46 w 90"/>
                  <a:gd name="T77" fmla="*/ 79 h 123"/>
                  <a:gd name="T78" fmla="*/ 42 w 90"/>
                  <a:gd name="T79" fmla="*/ 78 h 123"/>
                  <a:gd name="T80" fmla="*/ 35 w 90"/>
                  <a:gd name="T81" fmla="*/ 84 h 123"/>
                  <a:gd name="T82" fmla="*/ 28 w 90"/>
                  <a:gd name="T83" fmla="*/ 87 h 123"/>
                  <a:gd name="T84" fmla="*/ 30 w 90"/>
                  <a:gd name="T85" fmla="*/ 95 h 123"/>
                  <a:gd name="T86" fmla="*/ 38 w 90"/>
                  <a:gd name="T87" fmla="*/ 110 h 123"/>
                  <a:gd name="T88" fmla="*/ 32 w 90"/>
                  <a:gd name="T89" fmla="*/ 12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0" h="123">
                    <a:moveTo>
                      <a:pt x="32" y="123"/>
                    </a:moveTo>
                    <a:lnTo>
                      <a:pt x="32" y="123"/>
                    </a:lnTo>
                    <a:lnTo>
                      <a:pt x="23" y="123"/>
                    </a:lnTo>
                    <a:lnTo>
                      <a:pt x="19" y="123"/>
                    </a:lnTo>
                    <a:lnTo>
                      <a:pt x="17" y="121"/>
                    </a:lnTo>
                    <a:lnTo>
                      <a:pt x="17" y="121"/>
                    </a:lnTo>
                    <a:lnTo>
                      <a:pt x="17" y="121"/>
                    </a:lnTo>
                    <a:lnTo>
                      <a:pt x="20" y="119"/>
                    </a:lnTo>
                    <a:lnTo>
                      <a:pt x="22" y="119"/>
                    </a:lnTo>
                    <a:lnTo>
                      <a:pt x="20" y="117"/>
                    </a:lnTo>
                    <a:lnTo>
                      <a:pt x="20" y="117"/>
                    </a:lnTo>
                    <a:lnTo>
                      <a:pt x="14" y="116"/>
                    </a:lnTo>
                    <a:lnTo>
                      <a:pt x="14" y="113"/>
                    </a:lnTo>
                    <a:lnTo>
                      <a:pt x="13" y="111"/>
                    </a:lnTo>
                    <a:lnTo>
                      <a:pt x="13" y="111"/>
                    </a:lnTo>
                    <a:lnTo>
                      <a:pt x="14" y="104"/>
                    </a:lnTo>
                    <a:lnTo>
                      <a:pt x="16" y="100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0" y="91"/>
                    </a:lnTo>
                    <a:lnTo>
                      <a:pt x="9" y="90"/>
                    </a:lnTo>
                    <a:lnTo>
                      <a:pt x="7" y="88"/>
                    </a:lnTo>
                    <a:lnTo>
                      <a:pt x="7" y="88"/>
                    </a:lnTo>
                    <a:lnTo>
                      <a:pt x="1" y="85"/>
                    </a:lnTo>
                    <a:lnTo>
                      <a:pt x="0" y="84"/>
                    </a:lnTo>
                    <a:lnTo>
                      <a:pt x="1" y="84"/>
                    </a:lnTo>
                    <a:lnTo>
                      <a:pt x="1" y="84"/>
                    </a:lnTo>
                    <a:lnTo>
                      <a:pt x="4" y="82"/>
                    </a:lnTo>
                    <a:lnTo>
                      <a:pt x="4" y="81"/>
                    </a:lnTo>
                    <a:lnTo>
                      <a:pt x="6" y="79"/>
                    </a:lnTo>
                    <a:lnTo>
                      <a:pt x="6" y="79"/>
                    </a:lnTo>
                    <a:lnTo>
                      <a:pt x="4" y="75"/>
                    </a:lnTo>
                    <a:lnTo>
                      <a:pt x="1" y="71"/>
                    </a:lnTo>
                    <a:lnTo>
                      <a:pt x="0" y="65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3" y="59"/>
                    </a:lnTo>
                    <a:lnTo>
                      <a:pt x="4" y="59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3" y="46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3" y="27"/>
                    </a:lnTo>
                    <a:lnTo>
                      <a:pt x="3" y="23"/>
                    </a:lnTo>
                    <a:lnTo>
                      <a:pt x="3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6" y="24"/>
                    </a:lnTo>
                    <a:lnTo>
                      <a:pt x="7" y="26"/>
                    </a:lnTo>
                    <a:lnTo>
                      <a:pt x="7" y="27"/>
                    </a:lnTo>
                    <a:lnTo>
                      <a:pt x="9" y="26"/>
                    </a:lnTo>
                    <a:lnTo>
                      <a:pt x="9" y="26"/>
                    </a:lnTo>
                    <a:lnTo>
                      <a:pt x="12" y="24"/>
                    </a:lnTo>
                    <a:lnTo>
                      <a:pt x="13" y="22"/>
                    </a:lnTo>
                    <a:lnTo>
                      <a:pt x="14" y="19"/>
                    </a:lnTo>
                    <a:lnTo>
                      <a:pt x="13" y="16"/>
                    </a:lnTo>
                    <a:lnTo>
                      <a:pt x="13" y="16"/>
                    </a:lnTo>
                    <a:lnTo>
                      <a:pt x="10" y="13"/>
                    </a:lnTo>
                    <a:lnTo>
                      <a:pt x="10" y="9"/>
                    </a:lnTo>
                    <a:lnTo>
                      <a:pt x="10" y="6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7" y="6"/>
                    </a:lnTo>
                    <a:lnTo>
                      <a:pt x="23" y="7"/>
                    </a:lnTo>
                    <a:lnTo>
                      <a:pt x="29" y="7"/>
                    </a:lnTo>
                    <a:lnTo>
                      <a:pt x="30" y="7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9" y="1"/>
                    </a:lnTo>
                    <a:lnTo>
                      <a:pt x="30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45" y="0"/>
                    </a:lnTo>
                    <a:lnTo>
                      <a:pt x="49" y="0"/>
                    </a:lnTo>
                    <a:lnTo>
                      <a:pt x="52" y="3"/>
                    </a:lnTo>
                    <a:lnTo>
                      <a:pt x="52" y="3"/>
                    </a:lnTo>
                    <a:lnTo>
                      <a:pt x="56" y="9"/>
                    </a:lnTo>
                    <a:lnTo>
                      <a:pt x="58" y="11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61" y="9"/>
                    </a:lnTo>
                    <a:lnTo>
                      <a:pt x="61" y="7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70" y="7"/>
                    </a:lnTo>
                    <a:lnTo>
                      <a:pt x="72" y="7"/>
                    </a:lnTo>
                    <a:lnTo>
                      <a:pt x="72" y="6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6"/>
                    </a:lnTo>
                    <a:lnTo>
                      <a:pt x="84" y="9"/>
                    </a:lnTo>
                    <a:lnTo>
                      <a:pt x="84" y="9"/>
                    </a:lnTo>
                    <a:lnTo>
                      <a:pt x="88" y="10"/>
                    </a:lnTo>
                    <a:lnTo>
                      <a:pt x="90" y="11"/>
                    </a:lnTo>
                    <a:lnTo>
                      <a:pt x="90" y="14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5" y="23"/>
                    </a:lnTo>
                    <a:lnTo>
                      <a:pt x="83" y="33"/>
                    </a:lnTo>
                    <a:lnTo>
                      <a:pt x="83" y="33"/>
                    </a:lnTo>
                    <a:lnTo>
                      <a:pt x="80" y="37"/>
                    </a:lnTo>
                    <a:lnTo>
                      <a:pt x="77" y="42"/>
                    </a:lnTo>
                    <a:lnTo>
                      <a:pt x="74" y="46"/>
                    </a:lnTo>
                    <a:lnTo>
                      <a:pt x="72" y="49"/>
                    </a:lnTo>
                    <a:lnTo>
                      <a:pt x="72" y="49"/>
                    </a:lnTo>
                    <a:lnTo>
                      <a:pt x="72" y="56"/>
                    </a:lnTo>
                    <a:lnTo>
                      <a:pt x="72" y="62"/>
                    </a:lnTo>
                    <a:lnTo>
                      <a:pt x="72" y="62"/>
                    </a:lnTo>
                    <a:lnTo>
                      <a:pt x="67" y="71"/>
                    </a:lnTo>
                    <a:lnTo>
                      <a:pt x="64" y="75"/>
                    </a:lnTo>
                    <a:lnTo>
                      <a:pt x="61" y="77"/>
                    </a:lnTo>
                    <a:lnTo>
                      <a:pt x="61" y="77"/>
                    </a:lnTo>
                    <a:lnTo>
                      <a:pt x="54" y="79"/>
                    </a:lnTo>
                    <a:lnTo>
                      <a:pt x="46" y="79"/>
                    </a:lnTo>
                    <a:lnTo>
                      <a:pt x="46" y="79"/>
                    </a:lnTo>
                    <a:lnTo>
                      <a:pt x="43" y="79"/>
                    </a:lnTo>
                    <a:lnTo>
                      <a:pt x="42" y="78"/>
                    </a:lnTo>
                    <a:lnTo>
                      <a:pt x="41" y="79"/>
                    </a:lnTo>
                    <a:lnTo>
                      <a:pt x="41" y="79"/>
                    </a:lnTo>
                    <a:lnTo>
                      <a:pt x="35" y="84"/>
                    </a:lnTo>
                    <a:lnTo>
                      <a:pt x="29" y="87"/>
                    </a:lnTo>
                    <a:lnTo>
                      <a:pt x="29" y="87"/>
                    </a:lnTo>
                    <a:lnTo>
                      <a:pt x="28" y="87"/>
                    </a:lnTo>
                    <a:lnTo>
                      <a:pt x="28" y="90"/>
                    </a:lnTo>
                    <a:lnTo>
                      <a:pt x="30" y="95"/>
                    </a:lnTo>
                    <a:lnTo>
                      <a:pt x="30" y="95"/>
                    </a:lnTo>
                    <a:lnTo>
                      <a:pt x="35" y="104"/>
                    </a:lnTo>
                    <a:lnTo>
                      <a:pt x="38" y="110"/>
                    </a:lnTo>
                    <a:lnTo>
                      <a:pt x="38" y="110"/>
                    </a:lnTo>
                    <a:lnTo>
                      <a:pt x="38" y="117"/>
                    </a:lnTo>
                    <a:lnTo>
                      <a:pt x="35" y="120"/>
                    </a:lnTo>
                    <a:lnTo>
                      <a:pt x="32" y="1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43" name="Freeform 1399"/>
              <p:cNvSpPr>
                <a:spLocks/>
              </p:cNvSpPr>
              <p:nvPr/>
            </p:nvSpPr>
            <p:spPr bwMode="auto">
              <a:xfrm>
                <a:off x="2873441" y="1532514"/>
                <a:ext cx="89033" cy="121679"/>
              </a:xfrm>
              <a:custGeom>
                <a:avLst/>
                <a:gdLst>
                  <a:gd name="T0" fmla="*/ 23 w 90"/>
                  <a:gd name="T1" fmla="*/ 123 h 123"/>
                  <a:gd name="T2" fmla="*/ 17 w 90"/>
                  <a:gd name="T3" fmla="*/ 121 h 123"/>
                  <a:gd name="T4" fmla="*/ 22 w 90"/>
                  <a:gd name="T5" fmla="*/ 119 h 123"/>
                  <a:gd name="T6" fmla="*/ 14 w 90"/>
                  <a:gd name="T7" fmla="*/ 116 h 123"/>
                  <a:gd name="T8" fmla="*/ 13 w 90"/>
                  <a:gd name="T9" fmla="*/ 111 h 123"/>
                  <a:gd name="T10" fmla="*/ 14 w 90"/>
                  <a:gd name="T11" fmla="*/ 95 h 123"/>
                  <a:gd name="T12" fmla="*/ 9 w 90"/>
                  <a:gd name="T13" fmla="*/ 90 h 123"/>
                  <a:gd name="T14" fmla="*/ 1 w 90"/>
                  <a:gd name="T15" fmla="*/ 85 h 123"/>
                  <a:gd name="T16" fmla="*/ 1 w 90"/>
                  <a:gd name="T17" fmla="*/ 84 h 123"/>
                  <a:gd name="T18" fmla="*/ 6 w 90"/>
                  <a:gd name="T19" fmla="*/ 79 h 123"/>
                  <a:gd name="T20" fmla="*/ 1 w 90"/>
                  <a:gd name="T21" fmla="*/ 71 h 123"/>
                  <a:gd name="T22" fmla="*/ 0 w 90"/>
                  <a:gd name="T23" fmla="*/ 62 h 123"/>
                  <a:gd name="T24" fmla="*/ 4 w 90"/>
                  <a:gd name="T25" fmla="*/ 56 h 123"/>
                  <a:gd name="T26" fmla="*/ 3 w 90"/>
                  <a:gd name="T27" fmla="*/ 37 h 123"/>
                  <a:gd name="T28" fmla="*/ 3 w 90"/>
                  <a:gd name="T29" fmla="*/ 23 h 123"/>
                  <a:gd name="T30" fmla="*/ 4 w 90"/>
                  <a:gd name="T31" fmla="*/ 23 h 123"/>
                  <a:gd name="T32" fmla="*/ 7 w 90"/>
                  <a:gd name="T33" fmla="*/ 27 h 123"/>
                  <a:gd name="T34" fmla="*/ 12 w 90"/>
                  <a:gd name="T35" fmla="*/ 24 h 123"/>
                  <a:gd name="T36" fmla="*/ 13 w 90"/>
                  <a:gd name="T37" fmla="*/ 16 h 123"/>
                  <a:gd name="T38" fmla="*/ 10 w 90"/>
                  <a:gd name="T39" fmla="*/ 9 h 123"/>
                  <a:gd name="T40" fmla="*/ 13 w 90"/>
                  <a:gd name="T41" fmla="*/ 4 h 123"/>
                  <a:gd name="T42" fmla="*/ 29 w 90"/>
                  <a:gd name="T43" fmla="*/ 7 h 123"/>
                  <a:gd name="T44" fmla="*/ 30 w 90"/>
                  <a:gd name="T45" fmla="*/ 6 h 123"/>
                  <a:gd name="T46" fmla="*/ 33 w 90"/>
                  <a:gd name="T47" fmla="*/ 0 h 123"/>
                  <a:gd name="T48" fmla="*/ 49 w 90"/>
                  <a:gd name="T49" fmla="*/ 0 h 123"/>
                  <a:gd name="T50" fmla="*/ 56 w 90"/>
                  <a:gd name="T51" fmla="*/ 9 h 123"/>
                  <a:gd name="T52" fmla="*/ 61 w 90"/>
                  <a:gd name="T53" fmla="*/ 11 h 123"/>
                  <a:gd name="T54" fmla="*/ 61 w 90"/>
                  <a:gd name="T55" fmla="*/ 9 h 123"/>
                  <a:gd name="T56" fmla="*/ 65 w 90"/>
                  <a:gd name="T57" fmla="*/ 7 h 123"/>
                  <a:gd name="T58" fmla="*/ 72 w 90"/>
                  <a:gd name="T59" fmla="*/ 6 h 123"/>
                  <a:gd name="T60" fmla="*/ 78 w 90"/>
                  <a:gd name="T61" fmla="*/ 6 h 123"/>
                  <a:gd name="T62" fmla="*/ 88 w 90"/>
                  <a:gd name="T63" fmla="*/ 10 h 123"/>
                  <a:gd name="T64" fmla="*/ 90 w 90"/>
                  <a:gd name="T65" fmla="*/ 16 h 123"/>
                  <a:gd name="T66" fmla="*/ 83 w 90"/>
                  <a:gd name="T67" fmla="*/ 33 h 123"/>
                  <a:gd name="T68" fmla="*/ 77 w 90"/>
                  <a:gd name="T69" fmla="*/ 42 h 123"/>
                  <a:gd name="T70" fmla="*/ 72 w 90"/>
                  <a:gd name="T71" fmla="*/ 49 h 123"/>
                  <a:gd name="T72" fmla="*/ 72 w 90"/>
                  <a:gd name="T73" fmla="*/ 62 h 123"/>
                  <a:gd name="T74" fmla="*/ 61 w 90"/>
                  <a:gd name="T75" fmla="*/ 77 h 123"/>
                  <a:gd name="T76" fmla="*/ 46 w 90"/>
                  <a:gd name="T77" fmla="*/ 79 h 123"/>
                  <a:gd name="T78" fmla="*/ 42 w 90"/>
                  <a:gd name="T79" fmla="*/ 78 h 123"/>
                  <a:gd name="T80" fmla="*/ 35 w 90"/>
                  <a:gd name="T81" fmla="*/ 84 h 123"/>
                  <a:gd name="T82" fmla="*/ 28 w 90"/>
                  <a:gd name="T83" fmla="*/ 87 h 123"/>
                  <a:gd name="T84" fmla="*/ 30 w 90"/>
                  <a:gd name="T85" fmla="*/ 95 h 123"/>
                  <a:gd name="T86" fmla="*/ 38 w 90"/>
                  <a:gd name="T87" fmla="*/ 110 h 123"/>
                  <a:gd name="T88" fmla="*/ 32 w 90"/>
                  <a:gd name="T89" fmla="*/ 12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0" h="123">
                    <a:moveTo>
                      <a:pt x="32" y="123"/>
                    </a:moveTo>
                    <a:lnTo>
                      <a:pt x="32" y="123"/>
                    </a:lnTo>
                    <a:lnTo>
                      <a:pt x="23" y="123"/>
                    </a:lnTo>
                    <a:lnTo>
                      <a:pt x="19" y="123"/>
                    </a:lnTo>
                    <a:lnTo>
                      <a:pt x="17" y="121"/>
                    </a:lnTo>
                    <a:lnTo>
                      <a:pt x="17" y="121"/>
                    </a:lnTo>
                    <a:lnTo>
                      <a:pt x="17" y="121"/>
                    </a:lnTo>
                    <a:lnTo>
                      <a:pt x="20" y="119"/>
                    </a:lnTo>
                    <a:lnTo>
                      <a:pt x="22" y="119"/>
                    </a:lnTo>
                    <a:lnTo>
                      <a:pt x="20" y="117"/>
                    </a:lnTo>
                    <a:lnTo>
                      <a:pt x="20" y="117"/>
                    </a:lnTo>
                    <a:lnTo>
                      <a:pt x="14" y="116"/>
                    </a:lnTo>
                    <a:lnTo>
                      <a:pt x="14" y="113"/>
                    </a:lnTo>
                    <a:lnTo>
                      <a:pt x="13" y="111"/>
                    </a:lnTo>
                    <a:lnTo>
                      <a:pt x="13" y="111"/>
                    </a:lnTo>
                    <a:lnTo>
                      <a:pt x="14" y="104"/>
                    </a:lnTo>
                    <a:lnTo>
                      <a:pt x="16" y="100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0" y="91"/>
                    </a:lnTo>
                    <a:lnTo>
                      <a:pt x="9" y="90"/>
                    </a:lnTo>
                    <a:lnTo>
                      <a:pt x="7" y="88"/>
                    </a:lnTo>
                    <a:lnTo>
                      <a:pt x="7" y="88"/>
                    </a:lnTo>
                    <a:lnTo>
                      <a:pt x="1" y="85"/>
                    </a:lnTo>
                    <a:lnTo>
                      <a:pt x="0" y="84"/>
                    </a:lnTo>
                    <a:lnTo>
                      <a:pt x="1" y="84"/>
                    </a:lnTo>
                    <a:lnTo>
                      <a:pt x="1" y="84"/>
                    </a:lnTo>
                    <a:lnTo>
                      <a:pt x="4" y="82"/>
                    </a:lnTo>
                    <a:lnTo>
                      <a:pt x="4" y="81"/>
                    </a:lnTo>
                    <a:lnTo>
                      <a:pt x="6" y="79"/>
                    </a:lnTo>
                    <a:lnTo>
                      <a:pt x="6" y="79"/>
                    </a:lnTo>
                    <a:lnTo>
                      <a:pt x="4" y="75"/>
                    </a:lnTo>
                    <a:lnTo>
                      <a:pt x="1" y="71"/>
                    </a:lnTo>
                    <a:lnTo>
                      <a:pt x="0" y="65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3" y="59"/>
                    </a:lnTo>
                    <a:lnTo>
                      <a:pt x="4" y="59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3" y="46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3" y="27"/>
                    </a:lnTo>
                    <a:lnTo>
                      <a:pt x="3" y="23"/>
                    </a:lnTo>
                    <a:lnTo>
                      <a:pt x="3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6" y="24"/>
                    </a:lnTo>
                    <a:lnTo>
                      <a:pt x="7" y="26"/>
                    </a:lnTo>
                    <a:lnTo>
                      <a:pt x="7" y="27"/>
                    </a:lnTo>
                    <a:lnTo>
                      <a:pt x="9" y="26"/>
                    </a:lnTo>
                    <a:lnTo>
                      <a:pt x="9" y="26"/>
                    </a:lnTo>
                    <a:lnTo>
                      <a:pt x="12" y="24"/>
                    </a:lnTo>
                    <a:lnTo>
                      <a:pt x="13" y="22"/>
                    </a:lnTo>
                    <a:lnTo>
                      <a:pt x="14" y="19"/>
                    </a:lnTo>
                    <a:lnTo>
                      <a:pt x="13" y="16"/>
                    </a:lnTo>
                    <a:lnTo>
                      <a:pt x="13" y="16"/>
                    </a:lnTo>
                    <a:lnTo>
                      <a:pt x="10" y="13"/>
                    </a:lnTo>
                    <a:lnTo>
                      <a:pt x="10" y="9"/>
                    </a:lnTo>
                    <a:lnTo>
                      <a:pt x="10" y="6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7" y="6"/>
                    </a:lnTo>
                    <a:lnTo>
                      <a:pt x="23" y="7"/>
                    </a:lnTo>
                    <a:lnTo>
                      <a:pt x="29" y="7"/>
                    </a:lnTo>
                    <a:lnTo>
                      <a:pt x="30" y="7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9" y="1"/>
                    </a:lnTo>
                    <a:lnTo>
                      <a:pt x="30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45" y="0"/>
                    </a:lnTo>
                    <a:lnTo>
                      <a:pt x="49" y="0"/>
                    </a:lnTo>
                    <a:lnTo>
                      <a:pt x="52" y="3"/>
                    </a:lnTo>
                    <a:lnTo>
                      <a:pt x="52" y="3"/>
                    </a:lnTo>
                    <a:lnTo>
                      <a:pt x="56" y="9"/>
                    </a:lnTo>
                    <a:lnTo>
                      <a:pt x="58" y="11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61" y="9"/>
                    </a:lnTo>
                    <a:lnTo>
                      <a:pt x="61" y="7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70" y="7"/>
                    </a:lnTo>
                    <a:lnTo>
                      <a:pt x="72" y="7"/>
                    </a:lnTo>
                    <a:lnTo>
                      <a:pt x="72" y="6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6"/>
                    </a:lnTo>
                    <a:lnTo>
                      <a:pt x="84" y="9"/>
                    </a:lnTo>
                    <a:lnTo>
                      <a:pt x="84" y="9"/>
                    </a:lnTo>
                    <a:lnTo>
                      <a:pt x="88" y="10"/>
                    </a:lnTo>
                    <a:lnTo>
                      <a:pt x="90" y="11"/>
                    </a:lnTo>
                    <a:lnTo>
                      <a:pt x="90" y="14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5" y="23"/>
                    </a:lnTo>
                    <a:lnTo>
                      <a:pt x="83" y="33"/>
                    </a:lnTo>
                    <a:lnTo>
                      <a:pt x="83" y="33"/>
                    </a:lnTo>
                    <a:lnTo>
                      <a:pt x="80" y="37"/>
                    </a:lnTo>
                    <a:lnTo>
                      <a:pt x="77" y="42"/>
                    </a:lnTo>
                    <a:lnTo>
                      <a:pt x="74" y="46"/>
                    </a:lnTo>
                    <a:lnTo>
                      <a:pt x="72" y="49"/>
                    </a:lnTo>
                    <a:lnTo>
                      <a:pt x="72" y="49"/>
                    </a:lnTo>
                    <a:lnTo>
                      <a:pt x="72" y="56"/>
                    </a:lnTo>
                    <a:lnTo>
                      <a:pt x="72" y="62"/>
                    </a:lnTo>
                    <a:lnTo>
                      <a:pt x="72" y="62"/>
                    </a:lnTo>
                    <a:lnTo>
                      <a:pt x="67" y="71"/>
                    </a:lnTo>
                    <a:lnTo>
                      <a:pt x="64" y="75"/>
                    </a:lnTo>
                    <a:lnTo>
                      <a:pt x="61" y="77"/>
                    </a:lnTo>
                    <a:lnTo>
                      <a:pt x="61" y="77"/>
                    </a:lnTo>
                    <a:lnTo>
                      <a:pt x="54" y="79"/>
                    </a:lnTo>
                    <a:lnTo>
                      <a:pt x="46" y="79"/>
                    </a:lnTo>
                    <a:lnTo>
                      <a:pt x="46" y="79"/>
                    </a:lnTo>
                    <a:lnTo>
                      <a:pt x="43" y="79"/>
                    </a:lnTo>
                    <a:lnTo>
                      <a:pt x="42" y="78"/>
                    </a:lnTo>
                    <a:lnTo>
                      <a:pt x="41" y="79"/>
                    </a:lnTo>
                    <a:lnTo>
                      <a:pt x="41" y="79"/>
                    </a:lnTo>
                    <a:lnTo>
                      <a:pt x="35" y="84"/>
                    </a:lnTo>
                    <a:lnTo>
                      <a:pt x="29" y="87"/>
                    </a:lnTo>
                    <a:lnTo>
                      <a:pt x="29" y="87"/>
                    </a:lnTo>
                    <a:lnTo>
                      <a:pt x="28" y="87"/>
                    </a:lnTo>
                    <a:lnTo>
                      <a:pt x="28" y="90"/>
                    </a:lnTo>
                    <a:lnTo>
                      <a:pt x="30" y="95"/>
                    </a:lnTo>
                    <a:lnTo>
                      <a:pt x="30" y="95"/>
                    </a:lnTo>
                    <a:lnTo>
                      <a:pt x="35" y="104"/>
                    </a:lnTo>
                    <a:lnTo>
                      <a:pt x="38" y="110"/>
                    </a:lnTo>
                    <a:lnTo>
                      <a:pt x="38" y="110"/>
                    </a:lnTo>
                    <a:lnTo>
                      <a:pt x="38" y="117"/>
                    </a:lnTo>
                    <a:lnTo>
                      <a:pt x="35" y="120"/>
                    </a:lnTo>
                    <a:lnTo>
                      <a:pt x="32" y="12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44" name="Freeform 1400"/>
              <p:cNvSpPr>
                <a:spLocks/>
              </p:cNvSpPr>
              <p:nvPr/>
            </p:nvSpPr>
            <p:spPr bwMode="auto">
              <a:xfrm>
                <a:off x="2764622" y="1539439"/>
                <a:ext cx="104862" cy="149378"/>
              </a:xfrm>
              <a:custGeom>
                <a:avLst/>
                <a:gdLst>
                  <a:gd name="T0" fmla="*/ 91 w 106"/>
                  <a:gd name="T1" fmla="*/ 126 h 151"/>
                  <a:gd name="T2" fmla="*/ 88 w 106"/>
                  <a:gd name="T3" fmla="*/ 128 h 151"/>
                  <a:gd name="T4" fmla="*/ 82 w 106"/>
                  <a:gd name="T5" fmla="*/ 133 h 151"/>
                  <a:gd name="T6" fmla="*/ 74 w 106"/>
                  <a:gd name="T7" fmla="*/ 138 h 151"/>
                  <a:gd name="T8" fmla="*/ 68 w 106"/>
                  <a:gd name="T9" fmla="*/ 145 h 151"/>
                  <a:gd name="T10" fmla="*/ 59 w 106"/>
                  <a:gd name="T11" fmla="*/ 149 h 151"/>
                  <a:gd name="T12" fmla="*/ 55 w 106"/>
                  <a:gd name="T13" fmla="*/ 149 h 151"/>
                  <a:gd name="T14" fmla="*/ 49 w 106"/>
                  <a:gd name="T15" fmla="*/ 133 h 151"/>
                  <a:gd name="T16" fmla="*/ 39 w 106"/>
                  <a:gd name="T17" fmla="*/ 119 h 151"/>
                  <a:gd name="T18" fmla="*/ 35 w 106"/>
                  <a:gd name="T19" fmla="*/ 120 h 151"/>
                  <a:gd name="T20" fmla="*/ 30 w 106"/>
                  <a:gd name="T21" fmla="*/ 113 h 151"/>
                  <a:gd name="T22" fmla="*/ 26 w 106"/>
                  <a:gd name="T23" fmla="*/ 109 h 151"/>
                  <a:gd name="T24" fmla="*/ 19 w 106"/>
                  <a:gd name="T25" fmla="*/ 110 h 151"/>
                  <a:gd name="T26" fmla="*/ 7 w 106"/>
                  <a:gd name="T27" fmla="*/ 96 h 151"/>
                  <a:gd name="T28" fmla="*/ 6 w 106"/>
                  <a:gd name="T29" fmla="*/ 87 h 151"/>
                  <a:gd name="T30" fmla="*/ 4 w 106"/>
                  <a:gd name="T31" fmla="*/ 83 h 151"/>
                  <a:gd name="T32" fmla="*/ 0 w 106"/>
                  <a:gd name="T33" fmla="*/ 62 h 151"/>
                  <a:gd name="T34" fmla="*/ 1 w 106"/>
                  <a:gd name="T35" fmla="*/ 54 h 151"/>
                  <a:gd name="T36" fmla="*/ 4 w 106"/>
                  <a:gd name="T37" fmla="*/ 48 h 151"/>
                  <a:gd name="T38" fmla="*/ 10 w 106"/>
                  <a:gd name="T39" fmla="*/ 45 h 151"/>
                  <a:gd name="T40" fmla="*/ 17 w 106"/>
                  <a:gd name="T41" fmla="*/ 54 h 151"/>
                  <a:gd name="T42" fmla="*/ 14 w 106"/>
                  <a:gd name="T43" fmla="*/ 61 h 151"/>
                  <a:gd name="T44" fmla="*/ 19 w 106"/>
                  <a:gd name="T45" fmla="*/ 65 h 151"/>
                  <a:gd name="T46" fmla="*/ 29 w 106"/>
                  <a:gd name="T47" fmla="*/ 71 h 151"/>
                  <a:gd name="T48" fmla="*/ 33 w 106"/>
                  <a:gd name="T49" fmla="*/ 72 h 151"/>
                  <a:gd name="T50" fmla="*/ 40 w 106"/>
                  <a:gd name="T51" fmla="*/ 65 h 151"/>
                  <a:gd name="T52" fmla="*/ 36 w 106"/>
                  <a:gd name="T53" fmla="*/ 59 h 151"/>
                  <a:gd name="T54" fmla="*/ 36 w 106"/>
                  <a:gd name="T55" fmla="*/ 49 h 151"/>
                  <a:gd name="T56" fmla="*/ 33 w 106"/>
                  <a:gd name="T57" fmla="*/ 41 h 151"/>
                  <a:gd name="T58" fmla="*/ 22 w 106"/>
                  <a:gd name="T59" fmla="*/ 35 h 151"/>
                  <a:gd name="T60" fmla="*/ 17 w 106"/>
                  <a:gd name="T61" fmla="*/ 25 h 151"/>
                  <a:gd name="T62" fmla="*/ 17 w 106"/>
                  <a:gd name="T63" fmla="*/ 13 h 151"/>
                  <a:gd name="T64" fmla="*/ 23 w 106"/>
                  <a:gd name="T65" fmla="*/ 2 h 151"/>
                  <a:gd name="T66" fmla="*/ 29 w 106"/>
                  <a:gd name="T67" fmla="*/ 2 h 151"/>
                  <a:gd name="T68" fmla="*/ 33 w 106"/>
                  <a:gd name="T69" fmla="*/ 3 h 151"/>
                  <a:gd name="T70" fmla="*/ 46 w 106"/>
                  <a:gd name="T71" fmla="*/ 0 h 151"/>
                  <a:gd name="T72" fmla="*/ 43 w 106"/>
                  <a:gd name="T73" fmla="*/ 4 h 151"/>
                  <a:gd name="T74" fmla="*/ 43 w 106"/>
                  <a:gd name="T75" fmla="*/ 7 h 151"/>
                  <a:gd name="T76" fmla="*/ 56 w 106"/>
                  <a:gd name="T77" fmla="*/ 15 h 151"/>
                  <a:gd name="T78" fmla="*/ 71 w 106"/>
                  <a:gd name="T79" fmla="*/ 9 h 151"/>
                  <a:gd name="T80" fmla="*/ 77 w 106"/>
                  <a:gd name="T81" fmla="*/ 4 h 151"/>
                  <a:gd name="T82" fmla="*/ 84 w 106"/>
                  <a:gd name="T83" fmla="*/ 12 h 151"/>
                  <a:gd name="T84" fmla="*/ 87 w 106"/>
                  <a:gd name="T85" fmla="*/ 17 h 151"/>
                  <a:gd name="T86" fmla="*/ 80 w 106"/>
                  <a:gd name="T87" fmla="*/ 22 h 151"/>
                  <a:gd name="T88" fmla="*/ 82 w 106"/>
                  <a:gd name="T89" fmla="*/ 26 h 151"/>
                  <a:gd name="T90" fmla="*/ 87 w 106"/>
                  <a:gd name="T91" fmla="*/ 35 h 151"/>
                  <a:gd name="T92" fmla="*/ 82 w 106"/>
                  <a:gd name="T93" fmla="*/ 38 h 151"/>
                  <a:gd name="T94" fmla="*/ 77 w 106"/>
                  <a:gd name="T95" fmla="*/ 36 h 151"/>
                  <a:gd name="T96" fmla="*/ 74 w 106"/>
                  <a:gd name="T97" fmla="*/ 46 h 151"/>
                  <a:gd name="T98" fmla="*/ 72 w 106"/>
                  <a:gd name="T99" fmla="*/ 52 h 151"/>
                  <a:gd name="T100" fmla="*/ 71 w 106"/>
                  <a:gd name="T101" fmla="*/ 57 h 151"/>
                  <a:gd name="T102" fmla="*/ 80 w 106"/>
                  <a:gd name="T103" fmla="*/ 68 h 151"/>
                  <a:gd name="T104" fmla="*/ 81 w 106"/>
                  <a:gd name="T105" fmla="*/ 68 h 151"/>
                  <a:gd name="T106" fmla="*/ 81 w 106"/>
                  <a:gd name="T107" fmla="*/ 57 h 151"/>
                  <a:gd name="T108" fmla="*/ 84 w 106"/>
                  <a:gd name="T109" fmla="*/ 57 h 151"/>
                  <a:gd name="T110" fmla="*/ 88 w 106"/>
                  <a:gd name="T111" fmla="*/ 67 h 151"/>
                  <a:gd name="T112" fmla="*/ 94 w 106"/>
                  <a:gd name="T113" fmla="*/ 71 h 151"/>
                  <a:gd name="T114" fmla="*/ 100 w 106"/>
                  <a:gd name="T115" fmla="*/ 75 h 151"/>
                  <a:gd name="T116" fmla="*/ 106 w 106"/>
                  <a:gd name="T117" fmla="*/ 90 h 151"/>
                  <a:gd name="T118" fmla="*/ 100 w 106"/>
                  <a:gd name="T119" fmla="*/ 99 h 151"/>
                  <a:gd name="T120" fmla="*/ 97 w 106"/>
                  <a:gd name="T121" fmla="*/ 104 h 151"/>
                  <a:gd name="T122" fmla="*/ 103 w 106"/>
                  <a:gd name="T123" fmla="*/ 114 h 151"/>
                  <a:gd name="T124" fmla="*/ 101 w 106"/>
                  <a:gd name="T125" fmla="*/ 122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6" h="151">
                    <a:moveTo>
                      <a:pt x="97" y="125"/>
                    </a:moveTo>
                    <a:lnTo>
                      <a:pt x="97" y="125"/>
                    </a:lnTo>
                    <a:lnTo>
                      <a:pt x="91" y="126"/>
                    </a:lnTo>
                    <a:lnTo>
                      <a:pt x="90" y="126"/>
                    </a:lnTo>
                    <a:lnTo>
                      <a:pt x="88" y="128"/>
                    </a:lnTo>
                    <a:lnTo>
                      <a:pt x="88" y="128"/>
                    </a:lnTo>
                    <a:lnTo>
                      <a:pt x="85" y="130"/>
                    </a:lnTo>
                    <a:lnTo>
                      <a:pt x="82" y="133"/>
                    </a:lnTo>
                    <a:lnTo>
                      <a:pt x="82" y="133"/>
                    </a:lnTo>
                    <a:lnTo>
                      <a:pt x="80" y="136"/>
                    </a:lnTo>
                    <a:lnTo>
                      <a:pt x="77" y="138"/>
                    </a:lnTo>
                    <a:lnTo>
                      <a:pt x="74" y="138"/>
                    </a:lnTo>
                    <a:lnTo>
                      <a:pt x="72" y="141"/>
                    </a:lnTo>
                    <a:lnTo>
                      <a:pt x="72" y="141"/>
                    </a:lnTo>
                    <a:lnTo>
                      <a:pt x="68" y="145"/>
                    </a:lnTo>
                    <a:lnTo>
                      <a:pt x="64" y="148"/>
                    </a:lnTo>
                    <a:lnTo>
                      <a:pt x="64" y="148"/>
                    </a:lnTo>
                    <a:lnTo>
                      <a:pt x="59" y="149"/>
                    </a:lnTo>
                    <a:lnTo>
                      <a:pt x="56" y="151"/>
                    </a:lnTo>
                    <a:lnTo>
                      <a:pt x="55" y="149"/>
                    </a:lnTo>
                    <a:lnTo>
                      <a:pt x="55" y="149"/>
                    </a:lnTo>
                    <a:lnTo>
                      <a:pt x="52" y="142"/>
                    </a:lnTo>
                    <a:lnTo>
                      <a:pt x="49" y="133"/>
                    </a:lnTo>
                    <a:lnTo>
                      <a:pt x="49" y="133"/>
                    </a:lnTo>
                    <a:lnTo>
                      <a:pt x="43" y="125"/>
                    </a:lnTo>
                    <a:lnTo>
                      <a:pt x="40" y="120"/>
                    </a:lnTo>
                    <a:lnTo>
                      <a:pt x="39" y="119"/>
                    </a:lnTo>
                    <a:lnTo>
                      <a:pt x="39" y="119"/>
                    </a:lnTo>
                    <a:lnTo>
                      <a:pt x="36" y="120"/>
                    </a:lnTo>
                    <a:lnTo>
                      <a:pt x="35" y="120"/>
                    </a:lnTo>
                    <a:lnTo>
                      <a:pt x="33" y="119"/>
                    </a:lnTo>
                    <a:lnTo>
                      <a:pt x="33" y="119"/>
                    </a:lnTo>
                    <a:lnTo>
                      <a:pt x="30" y="113"/>
                    </a:lnTo>
                    <a:lnTo>
                      <a:pt x="29" y="110"/>
                    </a:lnTo>
                    <a:lnTo>
                      <a:pt x="26" y="109"/>
                    </a:lnTo>
                    <a:lnTo>
                      <a:pt x="26" y="109"/>
                    </a:lnTo>
                    <a:lnTo>
                      <a:pt x="23" y="110"/>
                    </a:lnTo>
                    <a:lnTo>
                      <a:pt x="20" y="110"/>
                    </a:lnTo>
                    <a:lnTo>
                      <a:pt x="19" y="110"/>
                    </a:lnTo>
                    <a:lnTo>
                      <a:pt x="19" y="110"/>
                    </a:lnTo>
                    <a:lnTo>
                      <a:pt x="12" y="101"/>
                    </a:lnTo>
                    <a:lnTo>
                      <a:pt x="7" y="96"/>
                    </a:lnTo>
                    <a:lnTo>
                      <a:pt x="6" y="91"/>
                    </a:lnTo>
                    <a:lnTo>
                      <a:pt x="6" y="91"/>
                    </a:lnTo>
                    <a:lnTo>
                      <a:pt x="6" y="87"/>
                    </a:lnTo>
                    <a:lnTo>
                      <a:pt x="6" y="86"/>
                    </a:lnTo>
                    <a:lnTo>
                      <a:pt x="4" y="83"/>
                    </a:lnTo>
                    <a:lnTo>
                      <a:pt x="4" y="83"/>
                    </a:lnTo>
                    <a:lnTo>
                      <a:pt x="3" y="78"/>
                    </a:lnTo>
                    <a:lnTo>
                      <a:pt x="1" y="7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1" y="54"/>
                    </a:lnTo>
                    <a:lnTo>
                      <a:pt x="1" y="54"/>
                    </a:lnTo>
                    <a:lnTo>
                      <a:pt x="1" y="51"/>
                    </a:lnTo>
                    <a:lnTo>
                      <a:pt x="4" y="48"/>
                    </a:lnTo>
                    <a:lnTo>
                      <a:pt x="7" y="45"/>
                    </a:lnTo>
                    <a:lnTo>
                      <a:pt x="10" y="45"/>
                    </a:lnTo>
                    <a:lnTo>
                      <a:pt x="10" y="45"/>
                    </a:lnTo>
                    <a:lnTo>
                      <a:pt x="16" y="49"/>
                    </a:lnTo>
                    <a:lnTo>
                      <a:pt x="17" y="52"/>
                    </a:lnTo>
                    <a:lnTo>
                      <a:pt x="17" y="54"/>
                    </a:lnTo>
                    <a:lnTo>
                      <a:pt x="17" y="54"/>
                    </a:lnTo>
                    <a:lnTo>
                      <a:pt x="16" y="57"/>
                    </a:lnTo>
                    <a:lnTo>
                      <a:pt x="14" y="61"/>
                    </a:lnTo>
                    <a:lnTo>
                      <a:pt x="14" y="61"/>
                    </a:lnTo>
                    <a:lnTo>
                      <a:pt x="16" y="64"/>
                    </a:lnTo>
                    <a:lnTo>
                      <a:pt x="19" y="65"/>
                    </a:lnTo>
                    <a:lnTo>
                      <a:pt x="25" y="70"/>
                    </a:lnTo>
                    <a:lnTo>
                      <a:pt x="25" y="70"/>
                    </a:lnTo>
                    <a:lnTo>
                      <a:pt x="29" y="71"/>
                    </a:lnTo>
                    <a:lnTo>
                      <a:pt x="32" y="72"/>
                    </a:lnTo>
                    <a:lnTo>
                      <a:pt x="33" y="72"/>
                    </a:lnTo>
                    <a:lnTo>
                      <a:pt x="33" y="72"/>
                    </a:lnTo>
                    <a:lnTo>
                      <a:pt x="38" y="68"/>
                    </a:lnTo>
                    <a:lnTo>
                      <a:pt x="40" y="65"/>
                    </a:lnTo>
                    <a:lnTo>
                      <a:pt x="40" y="65"/>
                    </a:lnTo>
                    <a:lnTo>
                      <a:pt x="40" y="64"/>
                    </a:lnTo>
                    <a:lnTo>
                      <a:pt x="39" y="61"/>
                    </a:lnTo>
                    <a:lnTo>
                      <a:pt x="36" y="59"/>
                    </a:lnTo>
                    <a:lnTo>
                      <a:pt x="36" y="57"/>
                    </a:lnTo>
                    <a:lnTo>
                      <a:pt x="36" y="57"/>
                    </a:lnTo>
                    <a:lnTo>
                      <a:pt x="36" y="49"/>
                    </a:lnTo>
                    <a:lnTo>
                      <a:pt x="35" y="44"/>
                    </a:lnTo>
                    <a:lnTo>
                      <a:pt x="33" y="41"/>
                    </a:lnTo>
                    <a:lnTo>
                      <a:pt x="33" y="41"/>
                    </a:lnTo>
                    <a:lnTo>
                      <a:pt x="26" y="39"/>
                    </a:lnTo>
                    <a:lnTo>
                      <a:pt x="23" y="38"/>
                    </a:lnTo>
                    <a:lnTo>
                      <a:pt x="22" y="35"/>
                    </a:lnTo>
                    <a:lnTo>
                      <a:pt x="22" y="35"/>
                    </a:lnTo>
                    <a:lnTo>
                      <a:pt x="20" y="29"/>
                    </a:lnTo>
                    <a:lnTo>
                      <a:pt x="17" y="25"/>
                    </a:lnTo>
                    <a:lnTo>
                      <a:pt x="17" y="25"/>
                    </a:lnTo>
                    <a:lnTo>
                      <a:pt x="17" y="20"/>
                    </a:lnTo>
                    <a:lnTo>
                      <a:pt x="17" y="13"/>
                    </a:lnTo>
                    <a:lnTo>
                      <a:pt x="20" y="6"/>
                    </a:lnTo>
                    <a:lnTo>
                      <a:pt x="22" y="3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6" y="2"/>
                    </a:lnTo>
                    <a:lnTo>
                      <a:pt x="29" y="2"/>
                    </a:lnTo>
                    <a:lnTo>
                      <a:pt x="30" y="3"/>
                    </a:lnTo>
                    <a:lnTo>
                      <a:pt x="33" y="3"/>
                    </a:lnTo>
                    <a:lnTo>
                      <a:pt x="33" y="3"/>
                    </a:lnTo>
                    <a:lnTo>
                      <a:pt x="42" y="0"/>
                    </a:lnTo>
                    <a:lnTo>
                      <a:pt x="45" y="0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46" y="2"/>
                    </a:lnTo>
                    <a:lnTo>
                      <a:pt x="43" y="4"/>
                    </a:lnTo>
                    <a:lnTo>
                      <a:pt x="42" y="6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51" y="13"/>
                    </a:lnTo>
                    <a:lnTo>
                      <a:pt x="54" y="15"/>
                    </a:lnTo>
                    <a:lnTo>
                      <a:pt x="56" y="15"/>
                    </a:lnTo>
                    <a:lnTo>
                      <a:pt x="56" y="15"/>
                    </a:lnTo>
                    <a:lnTo>
                      <a:pt x="65" y="12"/>
                    </a:lnTo>
                    <a:lnTo>
                      <a:pt x="71" y="9"/>
                    </a:lnTo>
                    <a:lnTo>
                      <a:pt x="71" y="9"/>
                    </a:lnTo>
                    <a:lnTo>
                      <a:pt x="74" y="4"/>
                    </a:lnTo>
                    <a:lnTo>
                      <a:pt x="77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84" y="12"/>
                    </a:lnTo>
                    <a:lnTo>
                      <a:pt x="87" y="16"/>
                    </a:lnTo>
                    <a:lnTo>
                      <a:pt x="87" y="17"/>
                    </a:lnTo>
                    <a:lnTo>
                      <a:pt x="87" y="17"/>
                    </a:lnTo>
                    <a:lnTo>
                      <a:pt x="82" y="19"/>
                    </a:lnTo>
                    <a:lnTo>
                      <a:pt x="81" y="19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1" y="23"/>
                    </a:lnTo>
                    <a:lnTo>
                      <a:pt x="82" y="26"/>
                    </a:lnTo>
                    <a:lnTo>
                      <a:pt x="87" y="32"/>
                    </a:lnTo>
                    <a:lnTo>
                      <a:pt x="87" y="32"/>
                    </a:lnTo>
                    <a:lnTo>
                      <a:pt x="87" y="35"/>
                    </a:lnTo>
                    <a:lnTo>
                      <a:pt x="87" y="36"/>
                    </a:lnTo>
                    <a:lnTo>
                      <a:pt x="85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78" y="36"/>
                    </a:lnTo>
                    <a:lnTo>
                      <a:pt x="77" y="36"/>
                    </a:lnTo>
                    <a:lnTo>
                      <a:pt x="75" y="38"/>
                    </a:lnTo>
                    <a:lnTo>
                      <a:pt x="75" y="38"/>
                    </a:lnTo>
                    <a:lnTo>
                      <a:pt x="74" y="46"/>
                    </a:lnTo>
                    <a:lnTo>
                      <a:pt x="74" y="49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69" y="54"/>
                    </a:lnTo>
                    <a:lnTo>
                      <a:pt x="69" y="55"/>
                    </a:lnTo>
                    <a:lnTo>
                      <a:pt x="71" y="57"/>
                    </a:lnTo>
                    <a:lnTo>
                      <a:pt x="71" y="57"/>
                    </a:lnTo>
                    <a:lnTo>
                      <a:pt x="77" y="65"/>
                    </a:lnTo>
                    <a:lnTo>
                      <a:pt x="80" y="68"/>
                    </a:lnTo>
                    <a:lnTo>
                      <a:pt x="81" y="70"/>
                    </a:lnTo>
                    <a:lnTo>
                      <a:pt x="81" y="68"/>
                    </a:lnTo>
                    <a:lnTo>
                      <a:pt x="81" y="68"/>
                    </a:lnTo>
                    <a:lnTo>
                      <a:pt x="81" y="64"/>
                    </a:lnTo>
                    <a:lnTo>
                      <a:pt x="81" y="59"/>
                    </a:lnTo>
                    <a:lnTo>
                      <a:pt x="81" y="57"/>
                    </a:lnTo>
                    <a:lnTo>
                      <a:pt x="82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7" y="59"/>
                    </a:lnTo>
                    <a:lnTo>
                      <a:pt x="87" y="64"/>
                    </a:lnTo>
                    <a:lnTo>
                      <a:pt x="88" y="67"/>
                    </a:lnTo>
                    <a:lnTo>
                      <a:pt x="90" y="70"/>
                    </a:lnTo>
                    <a:lnTo>
                      <a:pt x="90" y="70"/>
                    </a:lnTo>
                    <a:lnTo>
                      <a:pt x="94" y="71"/>
                    </a:lnTo>
                    <a:lnTo>
                      <a:pt x="97" y="72"/>
                    </a:lnTo>
                    <a:lnTo>
                      <a:pt x="100" y="75"/>
                    </a:lnTo>
                    <a:lnTo>
                      <a:pt x="100" y="75"/>
                    </a:lnTo>
                    <a:lnTo>
                      <a:pt x="103" y="80"/>
                    </a:lnTo>
                    <a:lnTo>
                      <a:pt x="106" y="86"/>
                    </a:lnTo>
                    <a:lnTo>
                      <a:pt x="106" y="90"/>
                    </a:lnTo>
                    <a:lnTo>
                      <a:pt x="106" y="94"/>
                    </a:lnTo>
                    <a:lnTo>
                      <a:pt x="106" y="94"/>
                    </a:lnTo>
                    <a:lnTo>
                      <a:pt x="100" y="99"/>
                    </a:lnTo>
                    <a:lnTo>
                      <a:pt x="98" y="100"/>
                    </a:lnTo>
                    <a:lnTo>
                      <a:pt x="97" y="104"/>
                    </a:lnTo>
                    <a:lnTo>
                      <a:pt x="97" y="104"/>
                    </a:lnTo>
                    <a:lnTo>
                      <a:pt x="98" y="107"/>
                    </a:lnTo>
                    <a:lnTo>
                      <a:pt x="101" y="112"/>
                    </a:lnTo>
                    <a:lnTo>
                      <a:pt x="103" y="114"/>
                    </a:lnTo>
                    <a:lnTo>
                      <a:pt x="103" y="117"/>
                    </a:lnTo>
                    <a:lnTo>
                      <a:pt x="103" y="117"/>
                    </a:lnTo>
                    <a:lnTo>
                      <a:pt x="101" y="122"/>
                    </a:lnTo>
                    <a:lnTo>
                      <a:pt x="98" y="125"/>
                    </a:lnTo>
                    <a:lnTo>
                      <a:pt x="97" y="12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45" name="Freeform 1401"/>
              <p:cNvSpPr>
                <a:spLocks/>
              </p:cNvSpPr>
              <p:nvPr/>
            </p:nvSpPr>
            <p:spPr bwMode="auto">
              <a:xfrm>
                <a:off x="2764622" y="1539439"/>
                <a:ext cx="104862" cy="149378"/>
              </a:xfrm>
              <a:custGeom>
                <a:avLst/>
                <a:gdLst>
                  <a:gd name="T0" fmla="*/ 91 w 106"/>
                  <a:gd name="T1" fmla="*/ 126 h 151"/>
                  <a:gd name="T2" fmla="*/ 88 w 106"/>
                  <a:gd name="T3" fmla="*/ 128 h 151"/>
                  <a:gd name="T4" fmla="*/ 82 w 106"/>
                  <a:gd name="T5" fmla="*/ 133 h 151"/>
                  <a:gd name="T6" fmla="*/ 74 w 106"/>
                  <a:gd name="T7" fmla="*/ 138 h 151"/>
                  <a:gd name="T8" fmla="*/ 68 w 106"/>
                  <a:gd name="T9" fmla="*/ 145 h 151"/>
                  <a:gd name="T10" fmla="*/ 59 w 106"/>
                  <a:gd name="T11" fmla="*/ 149 h 151"/>
                  <a:gd name="T12" fmla="*/ 55 w 106"/>
                  <a:gd name="T13" fmla="*/ 149 h 151"/>
                  <a:gd name="T14" fmla="*/ 49 w 106"/>
                  <a:gd name="T15" fmla="*/ 133 h 151"/>
                  <a:gd name="T16" fmla="*/ 39 w 106"/>
                  <a:gd name="T17" fmla="*/ 119 h 151"/>
                  <a:gd name="T18" fmla="*/ 35 w 106"/>
                  <a:gd name="T19" fmla="*/ 120 h 151"/>
                  <a:gd name="T20" fmla="*/ 30 w 106"/>
                  <a:gd name="T21" fmla="*/ 113 h 151"/>
                  <a:gd name="T22" fmla="*/ 26 w 106"/>
                  <a:gd name="T23" fmla="*/ 109 h 151"/>
                  <a:gd name="T24" fmla="*/ 19 w 106"/>
                  <a:gd name="T25" fmla="*/ 110 h 151"/>
                  <a:gd name="T26" fmla="*/ 7 w 106"/>
                  <a:gd name="T27" fmla="*/ 96 h 151"/>
                  <a:gd name="T28" fmla="*/ 6 w 106"/>
                  <a:gd name="T29" fmla="*/ 87 h 151"/>
                  <a:gd name="T30" fmla="*/ 4 w 106"/>
                  <a:gd name="T31" fmla="*/ 83 h 151"/>
                  <a:gd name="T32" fmla="*/ 0 w 106"/>
                  <a:gd name="T33" fmla="*/ 62 h 151"/>
                  <a:gd name="T34" fmla="*/ 1 w 106"/>
                  <a:gd name="T35" fmla="*/ 54 h 151"/>
                  <a:gd name="T36" fmla="*/ 4 w 106"/>
                  <a:gd name="T37" fmla="*/ 48 h 151"/>
                  <a:gd name="T38" fmla="*/ 10 w 106"/>
                  <a:gd name="T39" fmla="*/ 45 h 151"/>
                  <a:gd name="T40" fmla="*/ 17 w 106"/>
                  <a:gd name="T41" fmla="*/ 54 h 151"/>
                  <a:gd name="T42" fmla="*/ 14 w 106"/>
                  <a:gd name="T43" fmla="*/ 61 h 151"/>
                  <a:gd name="T44" fmla="*/ 19 w 106"/>
                  <a:gd name="T45" fmla="*/ 65 h 151"/>
                  <a:gd name="T46" fmla="*/ 29 w 106"/>
                  <a:gd name="T47" fmla="*/ 71 h 151"/>
                  <a:gd name="T48" fmla="*/ 33 w 106"/>
                  <a:gd name="T49" fmla="*/ 72 h 151"/>
                  <a:gd name="T50" fmla="*/ 40 w 106"/>
                  <a:gd name="T51" fmla="*/ 65 h 151"/>
                  <a:gd name="T52" fmla="*/ 36 w 106"/>
                  <a:gd name="T53" fmla="*/ 59 h 151"/>
                  <a:gd name="T54" fmla="*/ 36 w 106"/>
                  <a:gd name="T55" fmla="*/ 49 h 151"/>
                  <a:gd name="T56" fmla="*/ 33 w 106"/>
                  <a:gd name="T57" fmla="*/ 41 h 151"/>
                  <a:gd name="T58" fmla="*/ 22 w 106"/>
                  <a:gd name="T59" fmla="*/ 35 h 151"/>
                  <a:gd name="T60" fmla="*/ 17 w 106"/>
                  <a:gd name="T61" fmla="*/ 25 h 151"/>
                  <a:gd name="T62" fmla="*/ 17 w 106"/>
                  <a:gd name="T63" fmla="*/ 13 h 151"/>
                  <a:gd name="T64" fmla="*/ 23 w 106"/>
                  <a:gd name="T65" fmla="*/ 2 h 151"/>
                  <a:gd name="T66" fmla="*/ 29 w 106"/>
                  <a:gd name="T67" fmla="*/ 2 h 151"/>
                  <a:gd name="T68" fmla="*/ 33 w 106"/>
                  <a:gd name="T69" fmla="*/ 3 h 151"/>
                  <a:gd name="T70" fmla="*/ 46 w 106"/>
                  <a:gd name="T71" fmla="*/ 0 h 151"/>
                  <a:gd name="T72" fmla="*/ 43 w 106"/>
                  <a:gd name="T73" fmla="*/ 4 h 151"/>
                  <a:gd name="T74" fmla="*/ 43 w 106"/>
                  <a:gd name="T75" fmla="*/ 7 h 151"/>
                  <a:gd name="T76" fmla="*/ 56 w 106"/>
                  <a:gd name="T77" fmla="*/ 15 h 151"/>
                  <a:gd name="T78" fmla="*/ 71 w 106"/>
                  <a:gd name="T79" fmla="*/ 9 h 151"/>
                  <a:gd name="T80" fmla="*/ 77 w 106"/>
                  <a:gd name="T81" fmla="*/ 4 h 151"/>
                  <a:gd name="T82" fmla="*/ 84 w 106"/>
                  <a:gd name="T83" fmla="*/ 12 h 151"/>
                  <a:gd name="T84" fmla="*/ 87 w 106"/>
                  <a:gd name="T85" fmla="*/ 17 h 151"/>
                  <a:gd name="T86" fmla="*/ 80 w 106"/>
                  <a:gd name="T87" fmla="*/ 22 h 151"/>
                  <a:gd name="T88" fmla="*/ 82 w 106"/>
                  <a:gd name="T89" fmla="*/ 26 h 151"/>
                  <a:gd name="T90" fmla="*/ 87 w 106"/>
                  <a:gd name="T91" fmla="*/ 35 h 151"/>
                  <a:gd name="T92" fmla="*/ 82 w 106"/>
                  <a:gd name="T93" fmla="*/ 38 h 151"/>
                  <a:gd name="T94" fmla="*/ 77 w 106"/>
                  <a:gd name="T95" fmla="*/ 36 h 151"/>
                  <a:gd name="T96" fmla="*/ 74 w 106"/>
                  <a:gd name="T97" fmla="*/ 46 h 151"/>
                  <a:gd name="T98" fmla="*/ 72 w 106"/>
                  <a:gd name="T99" fmla="*/ 52 h 151"/>
                  <a:gd name="T100" fmla="*/ 71 w 106"/>
                  <a:gd name="T101" fmla="*/ 57 h 151"/>
                  <a:gd name="T102" fmla="*/ 80 w 106"/>
                  <a:gd name="T103" fmla="*/ 68 h 151"/>
                  <a:gd name="T104" fmla="*/ 81 w 106"/>
                  <a:gd name="T105" fmla="*/ 68 h 151"/>
                  <a:gd name="T106" fmla="*/ 81 w 106"/>
                  <a:gd name="T107" fmla="*/ 57 h 151"/>
                  <a:gd name="T108" fmla="*/ 84 w 106"/>
                  <a:gd name="T109" fmla="*/ 57 h 151"/>
                  <a:gd name="T110" fmla="*/ 88 w 106"/>
                  <a:gd name="T111" fmla="*/ 67 h 151"/>
                  <a:gd name="T112" fmla="*/ 94 w 106"/>
                  <a:gd name="T113" fmla="*/ 71 h 151"/>
                  <a:gd name="T114" fmla="*/ 100 w 106"/>
                  <a:gd name="T115" fmla="*/ 75 h 151"/>
                  <a:gd name="T116" fmla="*/ 106 w 106"/>
                  <a:gd name="T117" fmla="*/ 90 h 151"/>
                  <a:gd name="T118" fmla="*/ 100 w 106"/>
                  <a:gd name="T119" fmla="*/ 99 h 151"/>
                  <a:gd name="T120" fmla="*/ 97 w 106"/>
                  <a:gd name="T121" fmla="*/ 104 h 151"/>
                  <a:gd name="T122" fmla="*/ 103 w 106"/>
                  <a:gd name="T123" fmla="*/ 114 h 151"/>
                  <a:gd name="T124" fmla="*/ 101 w 106"/>
                  <a:gd name="T125" fmla="*/ 122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6" h="151">
                    <a:moveTo>
                      <a:pt x="97" y="125"/>
                    </a:moveTo>
                    <a:lnTo>
                      <a:pt x="97" y="125"/>
                    </a:lnTo>
                    <a:lnTo>
                      <a:pt x="91" y="126"/>
                    </a:lnTo>
                    <a:lnTo>
                      <a:pt x="90" y="126"/>
                    </a:lnTo>
                    <a:lnTo>
                      <a:pt x="88" y="128"/>
                    </a:lnTo>
                    <a:lnTo>
                      <a:pt x="88" y="128"/>
                    </a:lnTo>
                    <a:lnTo>
                      <a:pt x="85" y="130"/>
                    </a:lnTo>
                    <a:lnTo>
                      <a:pt x="82" y="133"/>
                    </a:lnTo>
                    <a:lnTo>
                      <a:pt x="82" y="133"/>
                    </a:lnTo>
                    <a:lnTo>
                      <a:pt x="80" y="136"/>
                    </a:lnTo>
                    <a:lnTo>
                      <a:pt x="77" y="138"/>
                    </a:lnTo>
                    <a:lnTo>
                      <a:pt x="74" y="138"/>
                    </a:lnTo>
                    <a:lnTo>
                      <a:pt x="72" y="141"/>
                    </a:lnTo>
                    <a:lnTo>
                      <a:pt x="72" y="141"/>
                    </a:lnTo>
                    <a:lnTo>
                      <a:pt x="68" y="145"/>
                    </a:lnTo>
                    <a:lnTo>
                      <a:pt x="64" y="148"/>
                    </a:lnTo>
                    <a:lnTo>
                      <a:pt x="64" y="148"/>
                    </a:lnTo>
                    <a:lnTo>
                      <a:pt x="59" y="149"/>
                    </a:lnTo>
                    <a:lnTo>
                      <a:pt x="56" y="151"/>
                    </a:lnTo>
                    <a:lnTo>
                      <a:pt x="55" y="149"/>
                    </a:lnTo>
                    <a:lnTo>
                      <a:pt x="55" y="149"/>
                    </a:lnTo>
                    <a:lnTo>
                      <a:pt x="52" y="142"/>
                    </a:lnTo>
                    <a:lnTo>
                      <a:pt x="49" y="133"/>
                    </a:lnTo>
                    <a:lnTo>
                      <a:pt x="49" y="133"/>
                    </a:lnTo>
                    <a:lnTo>
                      <a:pt x="43" y="125"/>
                    </a:lnTo>
                    <a:lnTo>
                      <a:pt x="40" y="120"/>
                    </a:lnTo>
                    <a:lnTo>
                      <a:pt x="39" y="119"/>
                    </a:lnTo>
                    <a:lnTo>
                      <a:pt x="39" y="119"/>
                    </a:lnTo>
                    <a:lnTo>
                      <a:pt x="36" y="120"/>
                    </a:lnTo>
                    <a:lnTo>
                      <a:pt x="35" y="120"/>
                    </a:lnTo>
                    <a:lnTo>
                      <a:pt x="33" y="119"/>
                    </a:lnTo>
                    <a:lnTo>
                      <a:pt x="33" y="119"/>
                    </a:lnTo>
                    <a:lnTo>
                      <a:pt x="30" y="113"/>
                    </a:lnTo>
                    <a:lnTo>
                      <a:pt x="29" y="110"/>
                    </a:lnTo>
                    <a:lnTo>
                      <a:pt x="26" y="109"/>
                    </a:lnTo>
                    <a:lnTo>
                      <a:pt x="26" y="109"/>
                    </a:lnTo>
                    <a:lnTo>
                      <a:pt x="23" y="110"/>
                    </a:lnTo>
                    <a:lnTo>
                      <a:pt x="20" y="110"/>
                    </a:lnTo>
                    <a:lnTo>
                      <a:pt x="19" y="110"/>
                    </a:lnTo>
                    <a:lnTo>
                      <a:pt x="19" y="110"/>
                    </a:lnTo>
                    <a:lnTo>
                      <a:pt x="12" y="101"/>
                    </a:lnTo>
                    <a:lnTo>
                      <a:pt x="7" y="96"/>
                    </a:lnTo>
                    <a:lnTo>
                      <a:pt x="6" y="91"/>
                    </a:lnTo>
                    <a:lnTo>
                      <a:pt x="6" y="91"/>
                    </a:lnTo>
                    <a:lnTo>
                      <a:pt x="6" y="87"/>
                    </a:lnTo>
                    <a:lnTo>
                      <a:pt x="6" y="86"/>
                    </a:lnTo>
                    <a:lnTo>
                      <a:pt x="4" y="83"/>
                    </a:lnTo>
                    <a:lnTo>
                      <a:pt x="4" y="83"/>
                    </a:lnTo>
                    <a:lnTo>
                      <a:pt x="3" y="78"/>
                    </a:lnTo>
                    <a:lnTo>
                      <a:pt x="1" y="7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1" y="54"/>
                    </a:lnTo>
                    <a:lnTo>
                      <a:pt x="1" y="54"/>
                    </a:lnTo>
                    <a:lnTo>
                      <a:pt x="1" y="51"/>
                    </a:lnTo>
                    <a:lnTo>
                      <a:pt x="4" y="48"/>
                    </a:lnTo>
                    <a:lnTo>
                      <a:pt x="7" y="45"/>
                    </a:lnTo>
                    <a:lnTo>
                      <a:pt x="10" y="45"/>
                    </a:lnTo>
                    <a:lnTo>
                      <a:pt x="10" y="45"/>
                    </a:lnTo>
                    <a:lnTo>
                      <a:pt x="16" y="49"/>
                    </a:lnTo>
                    <a:lnTo>
                      <a:pt x="17" y="52"/>
                    </a:lnTo>
                    <a:lnTo>
                      <a:pt x="17" y="54"/>
                    </a:lnTo>
                    <a:lnTo>
                      <a:pt x="17" y="54"/>
                    </a:lnTo>
                    <a:lnTo>
                      <a:pt x="16" y="57"/>
                    </a:lnTo>
                    <a:lnTo>
                      <a:pt x="14" y="61"/>
                    </a:lnTo>
                    <a:lnTo>
                      <a:pt x="14" y="61"/>
                    </a:lnTo>
                    <a:lnTo>
                      <a:pt x="16" y="64"/>
                    </a:lnTo>
                    <a:lnTo>
                      <a:pt x="19" y="65"/>
                    </a:lnTo>
                    <a:lnTo>
                      <a:pt x="25" y="70"/>
                    </a:lnTo>
                    <a:lnTo>
                      <a:pt x="25" y="70"/>
                    </a:lnTo>
                    <a:lnTo>
                      <a:pt x="29" y="71"/>
                    </a:lnTo>
                    <a:lnTo>
                      <a:pt x="32" y="72"/>
                    </a:lnTo>
                    <a:lnTo>
                      <a:pt x="33" y="72"/>
                    </a:lnTo>
                    <a:lnTo>
                      <a:pt x="33" y="72"/>
                    </a:lnTo>
                    <a:lnTo>
                      <a:pt x="38" y="68"/>
                    </a:lnTo>
                    <a:lnTo>
                      <a:pt x="40" y="65"/>
                    </a:lnTo>
                    <a:lnTo>
                      <a:pt x="40" y="65"/>
                    </a:lnTo>
                    <a:lnTo>
                      <a:pt x="40" y="64"/>
                    </a:lnTo>
                    <a:lnTo>
                      <a:pt x="39" y="61"/>
                    </a:lnTo>
                    <a:lnTo>
                      <a:pt x="36" y="59"/>
                    </a:lnTo>
                    <a:lnTo>
                      <a:pt x="36" y="57"/>
                    </a:lnTo>
                    <a:lnTo>
                      <a:pt x="36" y="57"/>
                    </a:lnTo>
                    <a:lnTo>
                      <a:pt x="36" y="49"/>
                    </a:lnTo>
                    <a:lnTo>
                      <a:pt x="35" y="44"/>
                    </a:lnTo>
                    <a:lnTo>
                      <a:pt x="33" y="41"/>
                    </a:lnTo>
                    <a:lnTo>
                      <a:pt x="33" y="41"/>
                    </a:lnTo>
                    <a:lnTo>
                      <a:pt x="26" y="39"/>
                    </a:lnTo>
                    <a:lnTo>
                      <a:pt x="23" y="38"/>
                    </a:lnTo>
                    <a:lnTo>
                      <a:pt x="22" y="35"/>
                    </a:lnTo>
                    <a:lnTo>
                      <a:pt x="22" y="35"/>
                    </a:lnTo>
                    <a:lnTo>
                      <a:pt x="20" y="29"/>
                    </a:lnTo>
                    <a:lnTo>
                      <a:pt x="17" y="25"/>
                    </a:lnTo>
                    <a:lnTo>
                      <a:pt x="17" y="25"/>
                    </a:lnTo>
                    <a:lnTo>
                      <a:pt x="17" y="20"/>
                    </a:lnTo>
                    <a:lnTo>
                      <a:pt x="17" y="13"/>
                    </a:lnTo>
                    <a:lnTo>
                      <a:pt x="20" y="6"/>
                    </a:lnTo>
                    <a:lnTo>
                      <a:pt x="22" y="3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6" y="2"/>
                    </a:lnTo>
                    <a:lnTo>
                      <a:pt x="29" y="2"/>
                    </a:lnTo>
                    <a:lnTo>
                      <a:pt x="30" y="3"/>
                    </a:lnTo>
                    <a:lnTo>
                      <a:pt x="33" y="3"/>
                    </a:lnTo>
                    <a:lnTo>
                      <a:pt x="33" y="3"/>
                    </a:lnTo>
                    <a:lnTo>
                      <a:pt x="42" y="0"/>
                    </a:lnTo>
                    <a:lnTo>
                      <a:pt x="45" y="0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46" y="2"/>
                    </a:lnTo>
                    <a:lnTo>
                      <a:pt x="43" y="4"/>
                    </a:lnTo>
                    <a:lnTo>
                      <a:pt x="42" y="6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51" y="13"/>
                    </a:lnTo>
                    <a:lnTo>
                      <a:pt x="54" y="15"/>
                    </a:lnTo>
                    <a:lnTo>
                      <a:pt x="56" y="15"/>
                    </a:lnTo>
                    <a:lnTo>
                      <a:pt x="56" y="15"/>
                    </a:lnTo>
                    <a:lnTo>
                      <a:pt x="65" y="12"/>
                    </a:lnTo>
                    <a:lnTo>
                      <a:pt x="71" y="9"/>
                    </a:lnTo>
                    <a:lnTo>
                      <a:pt x="71" y="9"/>
                    </a:lnTo>
                    <a:lnTo>
                      <a:pt x="74" y="4"/>
                    </a:lnTo>
                    <a:lnTo>
                      <a:pt x="77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84" y="12"/>
                    </a:lnTo>
                    <a:lnTo>
                      <a:pt x="87" y="16"/>
                    </a:lnTo>
                    <a:lnTo>
                      <a:pt x="87" y="17"/>
                    </a:lnTo>
                    <a:lnTo>
                      <a:pt x="87" y="17"/>
                    </a:lnTo>
                    <a:lnTo>
                      <a:pt x="82" y="19"/>
                    </a:lnTo>
                    <a:lnTo>
                      <a:pt x="81" y="19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1" y="23"/>
                    </a:lnTo>
                    <a:lnTo>
                      <a:pt x="82" y="26"/>
                    </a:lnTo>
                    <a:lnTo>
                      <a:pt x="87" y="32"/>
                    </a:lnTo>
                    <a:lnTo>
                      <a:pt x="87" y="32"/>
                    </a:lnTo>
                    <a:lnTo>
                      <a:pt x="87" y="35"/>
                    </a:lnTo>
                    <a:lnTo>
                      <a:pt x="87" y="36"/>
                    </a:lnTo>
                    <a:lnTo>
                      <a:pt x="85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78" y="36"/>
                    </a:lnTo>
                    <a:lnTo>
                      <a:pt x="77" y="36"/>
                    </a:lnTo>
                    <a:lnTo>
                      <a:pt x="75" y="38"/>
                    </a:lnTo>
                    <a:lnTo>
                      <a:pt x="75" y="38"/>
                    </a:lnTo>
                    <a:lnTo>
                      <a:pt x="74" y="46"/>
                    </a:lnTo>
                    <a:lnTo>
                      <a:pt x="74" y="49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69" y="54"/>
                    </a:lnTo>
                    <a:lnTo>
                      <a:pt x="69" y="55"/>
                    </a:lnTo>
                    <a:lnTo>
                      <a:pt x="71" y="57"/>
                    </a:lnTo>
                    <a:lnTo>
                      <a:pt x="71" y="57"/>
                    </a:lnTo>
                    <a:lnTo>
                      <a:pt x="77" y="65"/>
                    </a:lnTo>
                    <a:lnTo>
                      <a:pt x="80" y="68"/>
                    </a:lnTo>
                    <a:lnTo>
                      <a:pt x="81" y="70"/>
                    </a:lnTo>
                    <a:lnTo>
                      <a:pt x="81" y="68"/>
                    </a:lnTo>
                    <a:lnTo>
                      <a:pt x="81" y="68"/>
                    </a:lnTo>
                    <a:lnTo>
                      <a:pt x="81" y="64"/>
                    </a:lnTo>
                    <a:lnTo>
                      <a:pt x="81" y="59"/>
                    </a:lnTo>
                    <a:lnTo>
                      <a:pt x="81" y="57"/>
                    </a:lnTo>
                    <a:lnTo>
                      <a:pt x="82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7" y="59"/>
                    </a:lnTo>
                    <a:lnTo>
                      <a:pt x="87" y="64"/>
                    </a:lnTo>
                    <a:lnTo>
                      <a:pt x="88" y="67"/>
                    </a:lnTo>
                    <a:lnTo>
                      <a:pt x="90" y="70"/>
                    </a:lnTo>
                    <a:lnTo>
                      <a:pt x="90" y="70"/>
                    </a:lnTo>
                    <a:lnTo>
                      <a:pt x="94" y="71"/>
                    </a:lnTo>
                    <a:lnTo>
                      <a:pt x="97" y="72"/>
                    </a:lnTo>
                    <a:lnTo>
                      <a:pt x="100" y="75"/>
                    </a:lnTo>
                    <a:lnTo>
                      <a:pt x="100" y="75"/>
                    </a:lnTo>
                    <a:lnTo>
                      <a:pt x="103" y="80"/>
                    </a:lnTo>
                    <a:lnTo>
                      <a:pt x="106" y="86"/>
                    </a:lnTo>
                    <a:lnTo>
                      <a:pt x="106" y="90"/>
                    </a:lnTo>
                    <a:lnTo>
                      <a:pt x="106" y="94"/>
                    </a:lnTo>
                    <a:lnTo>
                      <a:pt x="106" y="94"/>
                    </a:lnTo>
                    <a:lnTo>
                      <a:pt x="100" y="99"/>
                    </a:lnTo>
                    <a:lnTo>
                      <a:pt x="98" y="100"/>
                    </a:lnTo>
                    <a:lnTo>
                      <a:pt x="97" y="104"/>
                    </a:lnTo>
                    <a:lnTo>
                      <a:pt x="97" y="104"/>
                    </a:lnTo>
                    <a:lnTo>
                      <a:pt x="98" y="107"/>
                    </a:lnTo>
                    <a:lnTo>
                      <a:pt x="101" y="112"/>
                    </a:lnTo>
                    <a:lnTo>
                      <a:pt x="103" y="114"/>
                    </a:lnTo>
                    <a:lnTo>
                      <a:pt x="103" y="117"/>
                    </a:lnTo>
                    <a:lnTo>
                      <a:pt x="103" y="117"/>
                    </a:lnTo>
                    <a:lnTo>
                      <a:pt x="101" y="122"/>
                    </a:lnTo>
                    <a:lnTo>
                      <a:pt x="98" y="125"/>
                    </a:lnTo>
                    <a:lnTo>
                      <a:pt x="97" y="12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46" name="Freeform 1402"/>
              <p:cNvSpPr>
                <a:spLocks/>
              </p:cNvSpPr>
              <p:nvPr/>
            </p:nvSpPr>
            <p:spPr bwMode="auto">
              <a:xfrm>
                <a:off x="2525221" y="1373244"/>
                <a:ext cx="187959" cy="144432"/>
              </a:xfrm>
              <a:custGeom>
                <a:avLst/>
                <a:gdLst>
                  <a:gd name="T0" fmla="*/ 162 w 190"/>
                  <a:gd name="T1" fmla="*/ 116 h 146"/>
                  <a:gd name="T2" fmla="*/ 156 w 190"/>
                  <a:gd name="T3" fmla="*/ 107 h 146"/>
                  <a:gd name="T4" fmla="*/ 152 w 190"/>
                  <a:gd name="T5" fmla="*/ 116 h 146"/>
                  <a:gd name="T6" fmla="*/ 142 w 190"/>
                  <a:gd name="T7" fmla="*/ 114 h 146"/>
                  <a:gd name="T8" fmla="*/ 139 w 190"/>
                  <a:gd name="T9" fmla="*/ 106 h 146"/>
                  <a:gd name="T10" fmla="*/ 128 w 190"/>
                  <a:gd name="T11" fmla="*/ 117 h 146"/>
                  <a:gd name="T12" fmla="*/ 112 w 190"/>
                  <a:gd name="T13" fmla="*/ 126 h 146"/>
                  <a:gd name="T14" fmla="*/ 100 w 190"/>
                  <a:gd name="T15" fmla="*/ 139 h 146"/>
                  <a:gd name="T16" fmla="*/ 81 w 190"/>
                  <a:gd name="T17" fmla="*/ 146 h 146"/>
                  <a:gd name="T18" fmla="*/ 59 w 190"/>
                  <a:gd name="T19" fmla="*/ 138 h 146"/>
                  <a:gd name="T20" fmla="*/ 54 w 190"/>
                  <a:gd name="T21" fmla="*/ 125 h 146"/>
                  <a:gd name="T22" fmla="*/ 68 w 190"/>
                  <a:gd name="T23" fmla="*/ 113 h 146"/>
                  <a:gd name="T24" fmla="*/ 86 w 190"/>
                  <a:gd name="T25" fmla="*/ 114 h 146"/>
                  <a:gd name="T26" fmla="*/ 100 w 190"/>
                  <a:gd name="T27" fmla="*/ 103 h 146"/>
                  <a:gd name="T28" fmla="*/ 99 w 190"/>
                  <a:gd name="T29" fmla="*/ 96 h 146"/>
                  <a:gd name="T30" fmla="*/ 86 w 190"/>
                  <a:gd name="T31" fmla="*/ 103 h 146"/>
                  <a:gd name="T32" fmla="*/ 77 w 190"/>
                  <a:gd name="T33" fmla="*/ 101 h 146"/>
                  <a:gd name="T34" fmla="*/ 61 w 190"/>
                  <a:gd name="T35" fmla="*/ 107 h 146"/>
                  <a:gd name="T36" fmla="*/ 64 w 190"/>
                  <a:gd name="T37" fmla="*/ 85 h 146"/>
                  <a:gd name="T38" fmla="*/ 54 w 190"/>
                  <a:gd name="T39" fmla="*/ 81 h 146"/>
                  <a:gd name="T40" fmla="*/ 54 w 190"/>
                  <a:gd name="T41" fmla="*/ 93 h 146"/>
                  <a:gd name="T42" fmla="*/ 51 w 190"/>
                  <a:gd name="T43" fmla="*/ 101 h 146"/>
                  <a:gd name="T44" fmla="*/ 46 w 190"/>
                  <a:gd name="T45" fmla="*/ 110 h 146"/>
                  <a:gd name="T46" fmla="*/ 36 w 190"/>
                  <a:gd name="T47" fmla="*/ 107 h 146"/>
                  <a:gd name="T48" fmla="*/ 25 w 190"/>
                  <a:gd name="T49" fmla="*/ 107 h 146"/>
                  <a:gd name="T50" fmla="*/ 6 w 190"/>
                  <a:gd name="T51" fmla="*/ 99 h 146"/>
                  <a:gd name="T52" fmla="*/ 0 w 190"/>
                  <a:gd name="T53" fmla="*/ 94 h 146"/>
                  <a:gd name="T54" fmla="*/ 7 w 190"/>
                  <a:gd name="T55" fmla="*/ 80 h 146"/>
                  <a:gd name="T56" fmla="*/ 16 w 190"/>
                  <a:gd name="T57" fmla="*/ 77 h 146"/>
                  <a:gd name="T58" fmla="*/ 10 w 190"/>
                  <a:gd name="T59" fmla="*/ 64 h 146"/>
                  <a:gd name="T60" fmla="*/ 16 w 190"/>
                  <a:gd name="T61" fmla="*/ 58 h 146"/>
                  <a:gd name="T62" fmla="*/ 17 w 190"/>
                  <a:gd name="T63" fmla="*/ 52 h 146"/>
                  <a:gd name="T64" fmla="*/ 15 w 190"/>
                  <a:gd name="T65" fmla="*/ 45 h 146"/>
                  <a:gd name="T66" fmla="*/ 23 w 190"/>
                  <a:gd name="T67" fmla="*/ 28 h 146"/>
                  <a:gd name="T68" fmla="*/ 30 w 190"/>
                  <a:gd name="T69" fmla="*/ 16 h 146"/>
                  <a:gd name="T70" fmla="*/ 57 w 190"/>
                  <a:gd name="T71" fmla="*/ 19 h 146"/>
                  <a:gd name="T72" fmla="*/ 58 w 190"/>
                  <a:gd name="T73" fmla="*/ 35 h 146"/>
                  <a:gd name="T74" fmla="*/ 71 w 190"/>
                  <a:gd name="T75" fmla="*/ 35 h 146"/>
                  <a:gd name="T76" fmla="*/ 78 w 190"/>
                  <a:gd name="T77" fmla="*/ 45 h 146"/>
                  <a:gd name="T78" fmla="*/ 90 w 190"/>
                  <a:gd name="T79" fmla="*/ 52 h 146"/>
                  <a:gd name="T80" fmla="*/ 84 w 190"/>
                  <a:gd name="T81" fmla="*/ 58 h 146"/>
                  <a:gd name="T82" fmla="*/ 94 w 190"/>
                  <a:gd name="T83" fmla="*/ 62 h 146"/>
                  <a:gd name="T84" fmla="*/ 97 w 190"/>
                  <a:gd name="T85" fmla="*/ 74 h 146"/>
                  <a:gd name="T86" fmla="*/ 116 w 190"/>
                  <a:gd name="T87" fmla="*/ 74 h 146"/>
                  <a:gd name="T88" fmla="*/ 132 w 190"/>
                  <a:gd name="T89" fmla="*/ 74 h 146"/>
                  <a:gd name="T90" fmla="*/ 120 w 190"/>
                  <a:gd name="T91" fmla="*/ 54 h 146"/>
                  <a:gd name="T92" fmla="*/ 132 w 190"/>
                  <a:gd name="T93" fmla="*/ 41 h 146"/>
                  <a:gd name="T94" fmla="*/ 114 w 190"/>
                  <a:gd name="T95" fmla="*/ 28 h 146"/>
                  <a:gd name="T96" fmla="*/ 116 w 190"/>
                  <a:gd name="T97" fmla="*/ 19 h 146"/>
                  <a:gd name="T98" fmla="*/ 119 w 190"/>
                  <a:gd name="T99" fmla="*/ 9 h 146"/>
                  <a:gd name="T100" fmla="*/ 133 w 190"/>
                  <a:gd name="T101" fmla="*/ 0 h 146"/>
                  <a:gd name="T102" fmla="*/ 146 w 190"/>
                  <a:gd name="T103" fmla="*/ 16 h 146"/>
                  <a:gd name="T104" fmla="*/ 152 w 190"/>
                  <a:gd name="T105" fmla="*/ 26 h 146"/>
                  <a:gd name="T106" fmla="*/ 151 w 190"/>
                  <a:gd name="T107" fmla="*/ 36 h 146"/>
                  <a:gd name="T108" fmla="*/ 161 w 190"/>
                  <a:gd name="T109" fmla="*/ 48 h 146"/>
                  <a:gd name="T110" fmla="*/ 180 w 190"/>
                  <a:gd name="T111" fmla="*/ 42 h 146"/>
                  <a:gd name="T112" fmla="*/ 190 w 190"/>
                  <a:gd name="T113" fmla="*/ 54 h 146"/>
                  <a:gd name="T114" fmla="*/ 190 w 190"/>
                  <a:gd name="T115" fmla="*/ 81 h 146"/>
                  <a:gd name="T116" fmla="*/ 184 w 190"/>
                  <a:gd name="T117" fmla="*/ 96 h 146"/>
                  <a:gd name="T118" fmla="*/ 183 w 190"/>
                  <a:gd name="T119" fmla="*/ 112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0" h="146">
                    <a:moveTo>
                      <a:pt x="180" y="113"/>
                    </a:moveTo>
                    <a:lnTo>
                      <a:pt x="180" y="113"/>
                    </a:lnTo>
                    <a:lnTo>
                      <a:pt x="171" y="116"/>
                    </a:lnTo>
                    <a:lnTo>
                      <a:pt x="165" y="116"/>
                    </a:lnTo>
                    <a:lnTo>
                      <a:pt x="162" y="116"/>
                    </a:lnTo>
                    <a:lnTo>
                      <a:pt x="162" y="116"/>
                    </a:lnTo>
                    <a:lnTo>
                      <a:pt x="159" y="110"/>
                    </a:lnTo>
                    <a:lnTo>
                      <a:pt x="158" y="107"/>
                    </a:lnTo>
                    <a:lnTo>
                      <a:pt x="156" y="107"/>
                    </a:lnTo>
                    <a:lnTo>
                      <a:pt x="156" y="107"/>
                    </a:lnTo>
                    <a:lnTo>
                      <a:pt x="156" y="107"/>
                    </a:lnTo>
                    <a:lnTo>
                      <a:pt x="155" y="110"/>
                    </a:lnTo>
                    <a:lnTo>
                      <a:pt x="154" y="113"/>
                    </a:lnTo>
                    <a:lnTo>
                      <a:pt x="154" y="116"/>
                    </a:lnTo>
                    <a:lnTo>
                      <a:pt x="152" y="116"/>
                    </a:lnTo>
                    <a:lnTo>
                      <a:pt x="152" y="116"/>
                    </a:lnTo>
                    <a:lnTo>
                      <a:pt x="146" y="117"/>
                    </a:lnTo>
                    <a:lnTo>
                      <a:pt x="143" y="117"/>
                    </a:lnTo>
                    <a:lnTo>
                      <a:pt x="142" y="114"/>
                    </a:lnTo>
                    <a:lnTo>
                      <a:pt x="142" y="114"/>
                    </a:lnTo>
                    <a:lnTo>
                      <a:pt x="141" y="112"/>
                    </a:lnTo>
                    <a:lnTo>
                      <a:pt x="141" y="109"/>
                    </a:lnTo>
                    <a:lnTo>
                      <a:pt x="139" y="106"/>
                    </a:lnTo>
                    <a:lnTo>
                      <a:pt x="139" y="106"/>
                    </a:lnTo>
                    <a:lnTo>
                      <a:pt x="139" y="106"/>
                    </a:lnTo>
                    <a:lnTo>
                      <a:pt x="136" y="110"/>
                    </a:lnTo>
                    <a:lnTo>
                      <a:pt x="136" y="113"/>
                    </a:lnTo>
                    <a:lnTo>
                      <a:pt x="133" y="114"/>
                    </a:lnTo>
                    <a:lnTo>
                      <a:pt x="133" y="114"/>
                    </a:lnTo>
                    <a:lnTo>
                      <a:pt x="128" y="117"/>
                    </a:lnTo>
                    <a:lnTo>
                      <a:pt x="122" y="122"/>
                    </a:lnTo>
                    <a:lnTo>
                      <a:pt x="122" y="122"/>
                    </a:lnTo>
                    <a:lnTo>
                      <a:pt x="116" y="122"/>
                    </a:lnTo>
                    <a:lnTo>
                      <a:pt x="113" y="123"/>
                    </a:lnTo>
                    <a:lnTo>
                      <a:pt x="112" y="126"/>
                    </a:lnTo>
                    <a:lnTo>
                      <a:pt x="112" y="126"/>
                    </a:lnTo>
                    <a:lnTo>
                      <a:pt x="109" y="132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0" y="139"/>
                    </a:lnTo>
                    <a:lnTo>
                      <a:pt x="96" y="141"/>
                    </a:lnTo>
                    <a:lnTo>
                      <a:pt x="88" y="143"/>
                    </a:lnTo>
                    <a:lnTo>
                      <a:pt x="88" y="143"/>
                    </a:lnTo>
                    <a:lnTo>
                      <a:pt x="84" y="145"/>
                    </a:lnTo>
                    <a:lnTo>
                      <a:pt x="81" y="146"/>
                    </a:lnTo>
                    <a:lnTo>
                      <a:pt x="77" y="145"/>
                    </a:lnTo>
                    <a:lnTo>
                      <a:pt x="77" y="145"/>
                    </a:lnTo>
                    <a:lnTo>
                      <a:pt x="67" y="142"/>
                    </a:lnTo>
                    <a:lnTo>
                      <a:pt x="59" y="138"/>
                    </a:lnTo>
                    <a:lnTo>
                      <a:pt x="59" y="138"/>
                    </a:lnTo>
                    <a:lnTo>
                      <a:pt x="57" y="133"/>
                    </a:lnTo>
                    <a:lnTo>
                      <a:pt x="54" y="130"/>
                    </a:lnTo>
                    <a:lnTo>
                      <a:pt x="54" y="127"/>
                    </a:lnTo>
                    <a:lnTo>
                      <a:pt x="54" y="125"/>
                    </a:lnTo>
                    <a:lnTo>
                      <a:pt x="54" y="125"/>
                    </a:lnTo>
                    <a:lnTo>
                      <a:pt x="64" y="122"/>
                    </a:lnTo>
                    <a:lnTo>
                      <a:pt x="67" y="119"/>
                    </a:lnTo>
                    <a:lnTo>
                      <a:pt x="68" y="117"/>
                    </a:lnTo>
                    <a:lnTo>
                      <a:pt x="68" y="117"/>
                    </a:lnTo>
                    <a:lnTo>
                      <a:pt x="68" y="113"/>
                    </a:lnTo>
                    <a:lnTo>
                      <a:pt x="68" y="112"/>
                    </a:lnTo>
                    <a:lnTo>
                      <a:pt x="71" y="112"/>
                    </a:lnTo>
                    <a:lnTo>
                      <a:pt x="71" y="112"/>
                    </a:lnTo>
                    <a:lnTo>
                      <a:pt x="80" y="114"/>
                    </a:lnTo>
                    <a:lnTo>
                      <a:pt x="86" y="114"/>
                    </a:lnTo>
                    <a:lnTo>
                      <a:pt x="91" y="114"/>
                    </a:lnTo>
                    <a:lnTo>
                      <a:pt x="91" y="114"/>
                    </a:lnTo>
                    <a:lnTo>
                      <a:pt x="96" y="112"/>
                    </a:lnTo>
                    <a:lnTo>
                      <a:pt x="97" y="109"/>
                    </a:lnTo>
                    <a:lnTo>
                      <a:pt x="100" y="103"/>
                    </a:lnTo>
                    <a:lnTo>
                      <a:pt x="100" y="103"/>
                    </a:lnTo>
                    <a:lnTo>
                      <a:pt x="101" y="101"/>
                    </a:lnTo>
                    <a:lnTo>
                      <a:pt x="101" y="99"/>
                    </a:lnTo>
                    <a:lnTo>
                      <a:pt x="100" y="96"/>
                    </a:lnTo>
                    <a:lnTo>
                      <a:pt x="99" y="96"/>
                    </a:lnTo>
                    <a:lnTo>
                      <a:pt x="99" y="96"/>
                    </a:lnTo>
                    <a:lnTo>
                      <a:pt x="96" y="96"/>
                    </a:lnTo>
                    <a:lnTo>
                      <a:pt x="93" y="99"/>
                    </a:lnTo>
                    <a:lnTo>
                      <a:pt x="86" y="103"/>
                    </a:lnTo>
                    <a:lnTo>
                      <a:pt x="86" y="103"/>
                    </a:lnTo>
                    <a:lnTo>
                      <a:pt x="83" y="103"/>
                    </a:lnTo>
                    <a:lnTo>
                      <a:pt x="81" y="103"/>
                    </a:lnTo>
                    <a:lnTo>
                      <a:pt x="80" y="101"/>
                    </a:lnTo>
                    <a:lnTo>
                      <a:pt x="77" y="101"/>
                    </a:lnTo>
                    <a:lnTo>
                      <a:pt x="77" y="101"/>
                    </a:lnTo>
                    <a:lnTo>
                      <a:pt x="67" y="107"/>
                    </a:lnTo>
                    <a:lnTo>
                      <a:pt x="64" y="109"/>
                    </a:lnTo>
                    <a:lnTo>
                      <a:pt x="62" y="109"/>
                    </a:lnTo>
                    <a:lnTo>
                      <a:pt x="61" y="107"/>
                    </a:lnTo>
                    <a:lnTo>
                      <a:pt x="61" y="107"/>
                    </a:lnTo>
                    <a:lnTo>
                      <a:pt x="61" y="99"/>
                    </a:lnTo>
                    <a:lnTo>
                      <a:pt x="61" y="93"/>
                    </a:lnTo>
                    <a:lnTo>
                      <a:pt x="61" y="90"/>
                    </a:lnTo>
                    <a:lnTo>
                      <a:pt x="61" y="90"/>
                    </a:lnTo>
                    <a:lnTo>
                      <a:pt x="64" y="85"/>
                    </a:lnTo>
                    <a:lnTo>
                      <a:pt x="62" y="83"/>
                    </a:lnTo>
                    <a:lnTo>
                      <a:pt x="61" y="83"/>
                    </a:lnTo>
                    <a:lnTo>
                      <a:pt x="61" y="83"/>
                    </a:lnTo>
                    <a:lnTo>
                      <a:pt x="55" y="81"/>
                    </a:lnTo>
                    <a:lnTo>
                      <a:pt x="54" y="81"/>
                    </a:lnTo>
                    <a:lnTo>
                      <a:pt x="54" y="83"/>
                    </a:lnTo>
                    <a:lnTo>
                      <a:pt x="54" y="83"/>
                    </a:lnTo>
                    <a:lnTo>
                      <a:pt x="55" y="87"/>
                    </a:lnTo>
                    <a:lnTo>
                      <a:pt x="55" y="90"/>
                    </a:lnTo>
                    <a:lnTo>
                      <a:pt x="54" y="93"/>
                    </a:lnTo>
                    <a:lnTo>
                      <a:pt x="54" y="93"/>
                    </a:lnTo>
                    <a:lnTo>
                      <a:pt x="51" y="96"/>
                    </a:lnTo>
                    <a:lnTo>
                      <a:pt x="49" y="97"/>
                    </a:lnTo>
                    <a:lnTo>
                      <a:pt x="49" y="97"/>
                    </a:lnTo>
                    <a:lnTo>
                      <a:pt x="51" y="101"/>
                    </a:lnTo>
                    <a:lnTo>
                      <a:pt x="51" y="103"/>
                    </a:lnTo>
                    <a:lnTo>
                      <a:pt x="51" y="106"/>
                    </a:lnTo>
                    <a:lnTo>
                      <a:pt x="51" y="106"/>
                    </a:lnTo>
                    <a:lnTo>
                      <a:pt x="49" y="109"/>
                    </a:lnTo>
                    <a:lnTo>
                      <a:pt x="46" y="110"/>
                    </a:lnTo>
                    <a:lnTo>
                      <a:pt x="44" y="110"/>
                    </a:lnTo>
                    <a:lnTo>
                      <a:pt x="44" y="110"/>
                    </a:lnTo>
                    <a:lnTo>
                      <a:pt x="38" y="107"/>
                    </a:lnTo>
                    <a:lnTo>
                      <a:pt x="36" y="107"/>
                    </a:lnTo>
                    <a:lnTo>
                      <a:pt x="36" y="107"/>
                    </a:lnTo>
                    <a:lnTo>
                      <a:pt x="35" y="109"/>
                    </a:lnTo>
                    <a:lnTo>
                      <a:pt x="33" y="109"/>
                    </a:lnTo>
                    <a:lnTo>
                      <a:pt x="30" y="109"/>
                    </a:lnTo>
                    <a:lnTo>
                      <a:pt x="30" y="109"/>
                    </a:lnTo>
                    <a:lnTo>
                      <a:pt x="25" y="107"/>
                    </a:lnTo>
                    <a:lnTo>
                      <a:pt x="19" y="104"/>
                    </a:lnTo>
                    <a:lnTo>
                      <a:pt x="19" y="104"/>
                    </a:lnTo>
                    <a:lnTo>
                      <a:pt x="12" y="100"/>
                    </a:lnTo>
                    <a:lnTo>
                      <a:pt x="7" y="99"/>
                    </a:lnTo>
                    <a:lnTo>
                      <a:pt x="6" y="99"/>
                    </a:lnTo>
                    <a:lnTo>
                      <a:pt x="6" y="99"/>
                    </a:lnTo>
                    <a:lnTo>
                      <a:pt x="3" y="99"/>
                    </a:lnTo>
                    <a:lnTo>
                      <a:pt x="2" y="99"/>
                    </a:lnTo>
                    <a:lnTo>
                      <a:pt x="0" y="97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2" y="85"/>
                    </a:lnTo>
                    <a:lnTo>
                      <a:pt x="4" y="81"/>
                    </a:lnTo>
                    <a:lnTo>
                      <a:pt x="7" y="80"/>
                    </a:lnTo>
                    <a:lnTo>
                      <a:pt x="7" y="80"/>
                    </a:lnTo>
                    <a:lnTo>
                      <a:pt x="13" y="80"/>
                    </a:lnTo>
                    <a:lnTo>
                      <a:pt x="16" y="78"/>
                    </a:lnTo>
                    <a:lnTo>
                      <a:pt x="17" y="77"/>
                    </a:lnTo>
                    <a:lnTo>
                      <a:pt x="17" y="77"/>
                    </a:lnTo>
                    <a:lnTo>
                      <a:pt x="16" y="77"/>
                    </a:lnTo>
                    <a:lnTo>
                      <a:pt x="13" y="75"/>
                    </a:lnTo>
                    <a:lnTo>
                      <a:pt x="10" y="74"/>
                    </a:lnTo>
                    <a:lnTo>
                      <a:pt x="10" y="72"/>
                    </a:lnTo>
                    <a:lnTo>
                      <a:pt x="10" y="72"/>
                    </a:lnTo>
                    <a:lnTo>
                      <a:pt x="10" y="64"/>
                    </a:lnTo>
                    <a:lnTo>
                      <a:pt x="12" y="59"/>
                    </a:lnTo>
                    <a:lnTo>
                      <a:pt x="12" y="58"/>
                    </a:lnTo>
                    <a:lnTo>
                      <a:pt x="13" y="58"/>
                    </a:lnTo>
                    <a:lnTo>
                      <a:pt x="13" y="58"/>
                    </a:lnTo>
                    <a:lnTo>
                      <a:pt x="16" y="58"/>
                    </a:lnTo>
                    <a:lnTo>
                      <a:pt x="19" y="57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17" y="52"/>
                    </a:lnTo>
                    <a:lnTo>
                      <a:pt x="16" y="51"/>
                    </a:lnTo>
                    <a:lnTo>
                      <a:pt x="17" y="49"/>
                    </a:lnTo>
                    <a:lnTo>
                      <a:pt x="17" y="49"/>
                    </a:lnTo>
                    <a:lnTo>
                      <a:pt x="16" y="48"/>
                    </a:lnTo>
                    <a:lnTo>
                      <a:pt x="15" y="45"/>
                    </a:lnTo>
                    <a:lnTo>
                      <a:pt x="13" y="43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19" y="35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6" y="20"/>
                    </a:lnTo>
                    <a:lnTo>
                      <a:pt x="29" y="17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52" y="17"/>
                    </a:lnTo>
                    <a:lnTo>
                      <a:pt x="57" y="19"/>
                    </a:lnTo>
                    <a:lnTo>
                      <a:pt x="57" y="19"/>
                    </a:lnTo>
                    <a:lnTo>
                      <a:pt x="57" y="20"/>
                    </a:lnTo>
                    <a:lnTo>
                      <a:pt x="57" y="20"/>
                    </a:lnTo>
                    <a:lnTo>
                      <a:pt x="57" y="23"/>
                    </a:lnTo>
                    <a:lnTo>
                      <a:pt x="57" y="29"/>
                    </a:lnTo>
                    <a:lnTo>
                      <a:pt x="58" y="35"/>
                    </a:lnTo>
                    <a:lnTo>
                      <a:pt x="58" y="38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67" y="36"/>
                    </a:lnTo>
                    <a:lnTo>
                      <a:pt x="71" y="35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8"/>
                    </a:lnTo>
                    <a:lnTo>
                      <a:pt x="75" y="39"/>
                    </a:lnTo>
                    <a:lnTo>
                      <a:pt x="78" y="45"/>
                    </a:lnTo>
                    <a:lnTo>
                      <a:pt x="78" y="45"/>
                    </a:lnTo>
                    <a:lnTo>
                      <a:pt x="80" y="48"/>
                    </a:lnTo>
                    <a:lnTo>
                      <a:pt x="84" y="49"/>
                    </a:lnTo>
                    <a:lnTo>
                      <a:pt x="88" y="51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90" y="54"/>
                    </a:lnTo>
                    <a:lnTo>
                      <a:pt x="86" y="55"/>
                    </a:lnTo>
                    <a:lnTo>
                      <a:pt x="84" y="57"/>
                    </a:lnTo>
                    <a:lnTo>
                      <a:pt x="84" y="58"/>
                    </a:lnTo>
                    <a:lnTo>
                      <a:pt x="84" y="58"/>
                    </a:lnTo>
                    <a:lnTo>
                      <a:pt x="84" y="58"/>
                    </a:lnTo>
                    <a:lnTo>
                      <a:pt x="90" y="61"/>
                    </a:lnTo>
                    <a:lnTo>
                      <a:pt x="94" y="62"/>
                    </a:lnTo>
                    <a:lnTo>
                      <a:pt x="94" y="62"/>
                    </a:lnTo>
                    <a:lnTo>
                      <a:pt x="97" y="67"/>
                    </a:lnTo>
                    <a:lnTo>
                      <a:pt x="97" y="71"/>
                    </a:lnTo>
                    <a:lnTo>
                      <a:pt x="97" y="71"/>
                    </a:lnTo>
                    <a:lnTo>
                      <a:pt x="97" y="74"/>
                    </a:lnTo>
                    <a:lnTo>
                      <a:pt x="97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9" y="74"/>
                    </a:lnTo>
                    <a:lnTo>
                      <a:pt x="116" y="74"/>
                    </a:lnTo>
                    <a:lnTo>
                      <a:pt x="116" y="74"/>
                    </a:lnTo>
                    <a:lnTo>
                      <a:pt x="125" y="75"/>
                    </a:lnTo>
                    <a:lnTo>
                      <a:pt x="129" y="75"/>
                    </a:lnTo>
                    <a:lnTo>
                      <a:pt x="130" y="75"/>
                    </a:lnTo>
                    <a:lnTo>
                      <a:pt x="132" y="74"/>
                    </a:lnTo>
                    <a:lnTo>
                      <a:pt x="132" y="74"/>
                    </a:lnTo>
                    <a:lnTo>
                      <a:pt x="129" y="70"/>
                    </a:lnTo>
                    <a:lnTo>
                      <a:pt x="125" y="64"/>
                    </a:lnTo>
                    <a:lnTo>
                      <a:pt x="120" y="58"/>
                    </a:lnTo>
                    <a:lnTo>
                      <a:pt x="120" y="55"/>
                    </a:lnTo>
                    <a:lnTo>
                      <a:pt x="120" y="54"/>
                    </a:lnTo>
                    <a:lnTo>
                      <a:pt x="120" y="54"/>
                    </a:lnTo>
                    <a:lnTo>
                      <a:pt x="130" y="48"/>
                    </a:lnTo>
                    <a:lnTo>
                      <a:pt x="133" y="45"/>
                    </a:lnTo>
                    <a:lnTo>
                      <a:pt x="133" y="42"/>
                    </a:lnTo>
                    <a:lnTo>
                      <a:pt x="132" y="41"/>
                    </a:lnTo>
                    <a:lnTo>
                      <a:pt x="132" y="41"/>
                    </a:lnTo>
                    <a:lnTo>
                      <a:pt x="122" y="35"/>
                    </a:lnTo>
                    <a:lnTo>
                      <a:pt x="117" y="30"/>
                    </a:lnTo>
                    <a:lnTo>
                      <a:pt x="114" y="28"/>
                    </a:lnTo>
                    <a:lnTo>
                      <a:pt x="114" y="28"/>
                    </a:lnTo>
                    <a:lnTo>
                      <a:pt x="113" y="25"/>
                    </a:lnTo>
                    <a:lnTo>
                      <a:pt x="113" y="23"/>
                    </a:lnTo>
                    <a:lnTo>
                      <a:pt x="114" y="20"/>
                    </a:lnTo>
                    <a:lnTo>
                      <a:pt x="116" y="19"/>
                    </a:lnTo>
                    <a:lnTo>
                      <a:pt x="116" y="19"/>
                    </a:lnTo>
                    <a:lnTo>
                      <a:pt x="117" y="16"/>
                    </a:lnTo>
                    <a:lnTo>
                      <a:pt x="117" y="13"/>
                    </a:lnTo>
                    <a:lnTo>
                      <a:pt x="117" y="12"/>
                    </a:lnTo>
                    <a:lnTo>
                      <a:pt x="119" y="9"/>
                    </a:lnTo>
                    <a:lnTo>
                      <a:pt x="119" y="9"/>
                    </a:lnTo>
                    <a:lnTo>
                      <a:pt x="125" y="4"/>
                    </a:lnTo>
                    <a:lnTo>
                      <a:pt x="128" y="3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3" y="0"/>
                    </a:lnTo>
                    <a:lnTo>
                      <a:pt x="135" y="3"/>
                    </a:lnTo>
                    <a:lnTo>
                      <a:pt x="136" y="6"/>
                    </a:lnTo>
                    <a:lnTo>
                      <a:pt x="139" y="9"/>
                    </a:lnTo>
                    <a:lnTo>
                      <a:pt x="139" y="9"/>
                    </a:lnTo>
                    <a:lnTo>
                      <a:pt x="146" y="16"/>
                    </a:lnTo>
                    <a:lnTo>
                      <a:pt x="149" y="19"/>
                    </a:lnTo>
                    <a:lnTo>
                      <a:pt x="151" y="20"/>
                    </a:lnTo>
                    <a:lnTo>
                      <a:pt x="151" y="20"/>
                    </a:lnTo>
                    <a:lnTo>
                      <a:pt x="152" y="22"/>
                    </a:lnTo>
                    <a:lnTo>
                      <a:pt x="152" y="26"/>
                    </a:lnTo>
                    <a:lnTo>
                      <a:pt x="152" y="29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49" y="35"/>
                    </a:lnTo>
                    <a:lnTo>
                      <a:pt x="151" y="36"/>
                    </a:lnTo>
                    <a:lnTo>
                      <a:pt x="154" y="41"/>
                    </a:lnTo>
                    <a:lnTo>
                      <a:pt x="154" y="41"/>
                    </a:lnTo>
                    <a:lnTo>
                      <a:pt x="156" y="45"/>
                    </a:lnTo>
                    <a:lnTo>
                      <a:pt x="159" y="46"/>
                    </a:lnTo>
                    <a:lnTo>
                      <a:pt x="161" y="48"/>
                    </a:lnTo>
                    <a:lnTo>
                      <a:pt x="161" y="48"/>
                    </a:lnTo>
                    <a:lnTo>
                      <a:pt x="170" y="43"/>
                    </a:lnTo>
                    <a:lnTo>
                      <a:pt x="175" y="42"/>
                    </a:lnTo>
                    <a:lnTo>
                      <a:pt x="180" y="42"/>
                    </a:lnTo>
                    <a:lnTo>
                      <a:pt x="180" y="42"/>
                    </a:lnTo>
                    <a:lnTo>
                      <a:pt x="184" y="43"/>
                    </a:lnTo>
                    <a:lnTo>
                      <a:pt x="188" y="45"/>
                    </a:lnTo>
                    <a:lnTo>
                      <a:pt x="190" y="48"/>
                    </a:lnTo>
                    <a:lnTo>
                      <a:pt x="190" y="54"/>
                    </a:lnTo>
                    <a:lnTo>
                      <a:pt x="190" y="54"/>
                    </a:lnTo>
                    <a:lnTo>
                      <a:pt x="188" y="59"/>
                    </a:lnTo>
                    <a:lnTo>
                      <a:pt x="188" y="67"/>
                    </a:lnTo>
                    <a:lnTo>
                      <a:pt x="190" y="74"/>
                    </a:lnTo>
                    <a:lnTo>
                      <a:pt x="190" y="81"/>
                    </a:lnTo>
                    <a:lnTo>
                      <a:pt x="190" y="81"/>
                    </a:lnTo>
                    <a:lnTo>
                      <a:pt x="187" y="87"/>
                    </a:lnTo>
                    <a:lnTo>
                      <a:pt x="185" y="91"/>
                    </a:lnTo>
                    <a:lnTo>
                      <a:pt x="184" y="93"/>
                    </a:lnTo>
                    <a:lnTo>
                      <a:pt x="184" y="96"/>
                    </a:lnTo>
                    <a:lnTo>
                      <a:pt x="184" y="96"/>
                    </a:lnTo>
                    <a:lnTo>
                      <a:pt x="187" y="100"/>
                    </a:lnTo>
                    <a:lnTo>
                      <a:pt x="188" y="103"/>
                    </a:lnTo>
                    <a:lnTo>
                      <a:pt x="188" y="103"/>
                    </a:lnTo>
                    <a:lnTo>
                      <a:pt x="185" y="109"/>
                    </a:lnTo>
                    <a:lnTo>
                      <a:pt x="183" y="112"/>
                    </a:lnTo>
                    <a:lnTo>
                      <a:pt x="180" y="11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47" name="Freeform 1403"/>
              <p:cNvSpPr>
                <a:spLocks/>
              </p:cNvSpPr>
              <p:nvPr/>
            </p:nvSpPr>
            <p:spPr bwMode="auto">
              <a:xfrm>
                <a:off x="2525221" y="1373244"/>
                <a:ext cx="187959" cy="144432"/>
              </a:xfrm>
              <a:custGeom>
                <a:avLst/>
                <a:gdLst>
                  <a:gd name="T0" fmla="*/ 162 w 190"/>
                  <a:gd name="T1" fmla="*/ 116 h 146"/>
                  <a:gd name="T2" fmla="*/ 156 w 190"/>
                  <a:gd name="T3" fmla="*/ 107 h 146"/>
                  <a:gd name="T4" fmla="*/ 152 w 190"/>
                  <a:gd name="T5" fmla="*/ 116 h 146"/>
                  <a:gd name="T6" fmla="*/ 142 w 190"/>
                  <a:gd name="T7" fmla="*/ 114 h 146"/>
                  <a:gd name="T8" fmla="*/ 139 w 190"/>
                  <a:gd name="T9" fmla="*/ 106 h 146"/>
                  <a:gd name="T10" fmla="*/ 128 w 190"/>
                  <a:gd name="T11" fmla="*/ 117 h 146"/>
                  <a:gd name="T12" fmla="*/ 112 w 190"/>
                  <a:gd name="T13" fmla="*/ 126 h 146"/>
                  <a:gd name="T14" fmla="*/ 100 w 190"/>
                  <a:gd name="T15" fmla="*/ 139 h 146"/>
                  <a:gd name="T16" fmla="*/ 81 w 190"/>
                  <a:gd name="T17" fmla="*/ 146 h 146"/>
                  <a:gd name="T18" fmla="*/ 59 w 190"/>
                  <a:gd name="T19" fmla="*/ 138 h 146"/>
                  <a:gd name="T20" fmla="*/ 54 w 190"/>
                  <a:gd name="T21" fmla="*/ 125 h 146"/>
                  <a:gd name="T22" fmla="*/ 68 w 190"/>
                  <a:gd name="T23" fmla="*/ 113 h 146"/>
                  <a:gd name="T24" fmla="*/ 86 w 190"/>
                  <a:gd name="T25" fmla="*/ 114 h 146"/>
                  <a:gd name="T26" fmla="*/ 100 w 190"/>
                  <a:gd name="T27" fmla="*/ 103 h 146"/>
                  <a:gd name="T28" fmla="*/ 99 w 190"/>
                  <a:gd name="T29" fmla="*/ 96 h 146"/>
                  <a:gd name="T30" fmla="*/ 86 w 190"/>
                  <a:gd name="T31" fmla="*/ 103 h 146"/>
                  <a:gd name="T32" fmla="*/ 77 w 190"/>
                  <a:gd name="T33" fmla="*/ 101 h 146"/>
                  <a:gd name="T34" fmla="*/ 61 w 190"/>
                  <a:gd name="T35" fmla="*/ 107 h 146"/>
                  <a:gd name="T36" fmla="*/ 64 w 190"/>
                  <a:gd name="T37" fmla="*/ 85 h 146"/>
                  <a:gd name="T38" fmla="*/ 54 w 190"/>
                  <a:gd name="T39" fmla="*/ 81 h 146"/>
                  <a:gd name="T40" fmla="*/ 54 w 190"/>
                  <a:gd name="T41" fmla="*/ 93 h 146"/>
                  <a:gd name="T42" fmla="*/ 51 w 190"/>
                  <a:gd name="T43" fmla="*/ 101 h 146"/>
                  <a:gd name="T44" fmla="*/ 46 w 190"/>
                  <a:gd name="T45" fmla="*/ 110 h 146"/>
                  <a:gd name="T46" fmla="*/ 36 w 190"/>
                  <a:gd name="T47" fmla="*/ 107 h 146"/>
                  <a:gd name="T48" fmla="*/ 25 w 190"/>
                  <a:gd name="T49" fmla="*/ 107 h 146"/>
                  <a:gd name="T50" fmla="*/ 6 w 190"/>
                  <a:gd name="T51" fmla="*/ 99 h 146"/>
                  <a:gd name="T52" fmla="*/ 0 w 190"/>
                  <a:gd name="T53" fmla="*/ 94 h 146"/>
                  <a:gd name="T54" fmla="*/ 7 w 190"/>
                  <a:gd name="T55" fmla="*/ 80 h 146"/>
                  <a:gd name="T56" fmla="*/ 16 w 190"/>
                  <a:gd name="T57" fmla="*/ 77 h 146"/>
                  <a:gd name="T58" fmla="*/ 10 w 190"/>
                  <a:gd name="T59" fmla="*/ 64 h 146"/>
                  <a:gd name="T60" fmla="*/ 16 w 190"/>
                  <a:gd name="T61" fmla="*/ 58 h 146"/>
                  <a:gd name="T62" fmla="*/ 17 w 190"/>
                  <a:gd name="T63" fmla="*/ 52 h 146"/>
                  <a:gd name="T64" fmla="*/ 15 w 190"/>
                  <a:gd name="T65" fmla="*/ 45 h 146"/>
                  <a:gd name="T66" fmla="*/ 23 w 190"/>
                  <a:gd name="T67" fmla="*/ 28 h 146"/>
                  <a:gd name="T68" fmla="*/ 30 w 190"/>
                  <a:gd name="T69" fmla="*/ 16 h 146"/>
                  <a:gd name="T70" fmla="*/ 57 w 190"/>
                  <a:gd name="T71" fmla="*/ 19 h 146"/>
                  <a:gd name="T72" fmla="*/ 58 w 190"/>
                  <a:gd name="T73" fmla="*/ 35 h 146"/>
                  <a:gd name="T74" fmla="*/ 71 w 190"/>
                  <a:gd name="T75" fmla="*/ 35 h 146"/>
                  <a:gd name="T76" fmla="*/ 78 w 190"/>
                  <a:gd name="T77" fmla="*/ 45 h 146"/>
                  <a:gd name="T78" fmla="*/ 90 w 190"/>
                  <a:gd name="T79" fmla="*/ 52 h 146"/>
                  <a:gd name="T80" fmla="*/ 84 w 190"/>
                  <a:gd name="T81" fmla="*/ 58 h 146"/>
                  <a:gd name="T82" fmla="*/ 94 w 190"/>
                  <a:gd name="T83" fmla="*/ 62 h 146"/>
                  <a:gd name="T84" fmla="*/ 97 w 190"/>
                  <a:gd name="T85" fmla="*/ 74 h 146"/>
                  <a:gd name="T86" fmla="*/ 116 w 190"/>
                  <a:gd name="T87" fmla="*/ 74 h 146"/>
                  <a:gd name="T88" fmla="*/ 132 w 190"/>
                  <a:gd name="T89" fmla="*/ 74 h 146"/>
                  <a:gd name="T90" fmla="*/ 120 w 190"/>
                  <a:gd name="T91" fmla="*/ 54 h 146"/>
                  <a:gd name="T92" fmla="*/ 132 w 190"/>
                  <a:gd name="T93" fmla="*/ 41 h 146"/>
                  <a:gd name="T94" fmla="*/ 114 w 190"/>
                  <a:gd name="T95" fmla="*/ 28 h 146"/>
                  <a:gd name="T96" fmla="*/ 116 w 190"/>
                  <a:gd name="T97" fmla="*/ 19 h 146"/>
                  <a:gd name="T98" fmla="*/ 119 w 190"/>
                  <a:gd name="T99" fmla="*/ 9 h 146"/>
                  <a:gd name="T100" fmla="*/ 133 w 190"/>
                  <a:gd name="T101" fmla="*/ 0 h 146"/>
                  <a:gd name="T102" fmla="*/ 146 w 190"/>
                  <a:gd name="T103" fmla="*/ 16 h 146"/>
                  <a:gd name="T104" fmla="*/ 152 w 190"/>
                  <a:gd name="T105" fmla="*/ 26 h 146"/>
                  <a:gd name="T106" fmla="*/ 151 w 190"/>
                  <a:gd name="T107" fmla="*/ 36 h 146"/>
                  <a:gd name="T108" fmla="*/ 161 w 190"/>
                  <a:gd name="T109" fmla="*/ 48 h 146"/>
                  <a:gd name="T110" fmla="*/ 180 w 190"/>
                  <a:gd name="T111" fmla="*/ 42 h 146"/>
                  <a:gd name="T112" fmla="*/ 190 w 190"/>
                  <a:gd name="T113" fmla="*/ 54 h 146"/>
                  <a:gd name="T114" fmla="*/ 190 w 190"/>
                  <a:gd name="T115" fmla="*/ 81 h 146"/>
                  <a:gd name="T116" fmla="*/ 184 w 190"/>
                  <a:gd name="T117" fmla="*/ 96 h 146"/>
                  <a:gd name="T118" fmla="*/ 183 w 190"/>
                  <a:gd name="T119" fmla="*/ 112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0" h="146">
                    <a:moveTo>
                      <a:pt x="180" y="113"/>
                    </a:moveTo>
                    <a:lnTo>
                      <a:pt x="180" y="113"/>
                    </a:lnTo>
                    <a:lnTo>
                      <a:pt x="171" y="116"/>
                    </a:lnTo>
                    <a:lnTo>
                      <a:pt x="165" y="116"/>
                    </a:lnTo>
                    <a:lnTo>
                      <a:pt x="162" y="116"/>
                    </a:lnTo>
                    <a:lnTo>
                      <a:pt x="162" y="116"/>
                    </a:lnTo>
                    <a:lnTo>
                      <a:pt x="159" y="110"/>
                    </a:lnTo>
                    <a:lnTo>
                      <a:pt x="158" y="107"/>
                    </a:lnTo>
                    <a:lnTo>
                      <a:pt x="156" y="107"/>
                    </a:lnTo>
                    <a:lnTo>
                      <a:pt x="156" y="107"/>
                    </a:lnTo>
                    <a:lnTo>
                      <a:pt x="156" y="107"/>
                    </a:lnTo>
                    <a:lnTo>
                      <a:pt x="155" y="110"/>
                    </a:lnTo>
                    <a:lnTo>
                      <a:pt x="154" y="113"/>
                    </a:lnTo>
                    <a:lnTo>
                      <a:pt x="154" y="116"/>
                    </a:lnTo>
                    <a:lnTo>
                      <a:pt x="152" y="116"/>
                    </a:lnTo>
                    <a:lnTo>
                      <a:pt x="152" y="116"/>
                    </a:lnTo>
                    <a:lnTo>
                      <a:pt x="146" y="117"/>
                    </a:lnTo>
                    <a:lnTo>
                      <a:pt x="143" y="117"/>
                    </a:lnTo>
                    <a:lnTo>
                      <a:pt x="142" y="114"/>
                    </a:lnTo>
                    <a:lnTo>
                      <a:pt x="142" y="114"/>
                    </a:lnTo>
                    <a:lnTo>
                      <a:pt x="141" y="112"/>
                    </a:lnTo>
                    <a:lnTo>
                      <a:pt x="141" y="109"/>
                    </a:lnTo>
                    <a:lnTo>
                      <a:pt x="139" y="106"/>
                    </a:lnTo>
                    <a:lnTo>
                      <a:pt x="139" y="106"/>
                    </a:lnTo>
                    <a:lnTo>
                      <a:pt x="139" y="106"/>
                    </a:lnTo>
                    <a:lnTo>
                      <a:pt x="136" y="110"/>
                    </a:lnTo>
                    <a:lnTo>
                      <a:pt x="136" y="113"/>
                    </a:lnTo>
                    <a:lnTo>
                      <a:pt x="133" y="114"/>
                    </a:lnTo>
                    <a:lnTo>
                      <a:pt x="133" y="114"/>
                    </a:lnTo>
                    <a:lnTo>
                      <a:pt x="128" y="117"/>
                    </a:lnTo>
                    <a:lnTo>
                      <a:pt x="122" y="122"/>
                    </a:lnTo>
                    <a:lnTo>
                      <a:pt x="122" y="122"/>
                    </a:lnTo>
                    <a:lnTo>
                      <a:pt x="116" y="122"/>
                    </a:lnTo>
                    <a:lnTo>
                      <a:pt x="113" y="123"/>
                    </a:lnTo>
                    <a:lnTo>
                      <a:pt x="112" y="126"/>
                    </a:lnTo>
                    <a:lnTo>
                      <a:pt x="112" y="126"/>
                    </a:lnTo>
                    <a:lnTo>
                      <a:pt x="109" y="132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0" y="139"/>
                    </a:lnTo>
                    <a:lnTo>
                      <a:pt x="96" y="141"/>
                    </a:lnTo>
                    <a:lnTo>
                      <a:pt x="88" y="143"/>
                    </a:lnTo>
                    <a:lnTo>
                      <a:pt x="88" y="143"/>
                    </a:lnTo>
                    <a:lnTo>
                      <a:pt x="84" y="145"/>
                    </a:lnTo>
                    <a:lnTo>
                      <a:pt x="81" y="146"/>
                    </a:lnTo>
                    <a:lnTo>
                      <a:pt x="77" y="145"/>
                    </a:lnTo>
                    <a:lnTo>
                      <a:pt x="77" y="145"/>
                    </a:lnTo>
                    <a:lnTo>
                      <a:pt x="67" y="142"/>
                    </a:lnTo>
                    <a:lnTo>
                      <a:pt x="59" y="138"/>
                    </a:lnTo>
                    <a:lnTo>
                      <a:pt x="59" y="138"/>
                    </a:lnTo>
                    <a:lnTo>
                      <a:pt x="57" y="133"/>
                    </a:lnTo>
                    <a:lnTo>
                      <a:pt x="54" y="130"/>
                    </a:lnTo>
                    <a:lnTo>
                      <a:pt x="54" y="127"/>
                    </a:lnTo>
                    <a:lnTo>
                      <a:pt x="54" y="125"/>
                    </a:lnTo>
                    <a:lnTo>
                      <a:pt x="54" y="125"/>
                    </a:lnTo>
                    <a:lnTo>
                      <a:pt x="64" y="122"/>
                    </a:lnTo>
                    <a:lnTo>
                      <a:pt x="67" y="119"/>
                    </a:lnTo>
                    <a:lnTo>
                      <a:pt x="68" y="117"/>
                    </a:lnTo>
                    <a:lnTo>
                      <a:pt x="68" y="117"/>
                    </a:lnTo>
                    <a:lnTo>
                      <a:pt x="68" y="113"/>
                    </a:lnTo>
                    <a:lnTo>
                      <a:pt x="68" y="112"/>
                    </a:lnTo>
                    <a:lnTo>
                      <a:pt x="71" y="112"/>
                    </a:lnTo>
                    <a:lnTo>
                      <a:pt x="71" y="112"/>
                    </a:lnTo>
                    <a:lnTo>
                      <a:pt x="80" y="114"/>
                    </a:lnTo>
                    <a:lnTo>
                      <a:pt x="86" y="114"/>
                    </a:lnTo>
                    <a:lnTo>
                      <a:pt x="91" y="114"/>
                    </a:lnTo>
                    <a:lnTo>
                      <a:pt x="91" y="114"/>
                    </a:lnTo>
                    <a:lnTo>
                      <a:pt x="96" y="112"/>
                    </a:lnTo>
                    <a:lnTo>
                      <a:pt x="97" y="109"/>
                    </a:lnTo>
                    <a:lnTo>
                      <a:pt x="100" y="103"/>
                    </a:lnTo>
                    <a:lnTo>
                      <a:pt x="100" y="103"/>
                    </a:lnTo>
                    <a:lnTo>
                      <a:pt x="101" y="101"/>
                    </a:lnTo>
                    <a:lnTo>
                      <a:pt x="101" y="99"/>
                    </a:lnTo>
                    <a:lnTo>
                      <a:pt x="100" y="96"/>
                    </a:lnTo>
                    <a:lnTo>
                      <a:pt x="99" y="96"/>
                    </a:lnTo>
                    <a:lnTo>
                      <a:pt x="99" y="96"/>
                    </a:lnTo>
                    <a:lnTo>
                      <a:pt x="96" y="96"/>
                    </a:lnTo>
                    <a:lnTo>
                      <a:pt x="93" y="99"/>
                    </a:lnTo>
                    <a:lnTo>
                      <a:pt x="86" y="103"/>
                    </a:lnTo>
                    <a:lnTo>
                      <a:pt x="86" y="103"/>
                    </a:lnTo>
                    <a:lnTo>
                      <a:pt x="83" y="103"/>
                    </a:lnTo>
                    <a:lnTo>
                      <a:pt x="81" y="103"/>
                    </a:lnTo>
                    <a:lnTo>
                      <a:pt x="80" y="101"/>
                    </a:lnTo>
                    <a:lnTo>
                      <a:pt x="77" y="101"/>
                    </a:lnTo>
                    <a:lnTo>
                      <a:pt x="77" y="101"/>
                    </a:lnTo>
                    <a:lnTo>
                      <a:pt x="67" y="107"/>
                    </a:lnTo>
                    <a:lnTo>
                      <a:pt x="64" y="109"/>
                    </a:lnTo>
                    <a:lnTo>
                      <a:pt x="62" y="109"/>
                    </a:lnTo>
                    <a:lnTo>
                      <a:pt x="61" y="107"/>
                    </a:lnTo>
                    <a:lnTo>
                      <a:pt x="61" y="107"/>
                    </a:lnTo>
                    <a:lnTo>
                      <a:pt x="61" y="99"/>
                    </a:lnTo>
                    <a:lnTo>
                      <a:pt x="61" y="93"/>
                    </a:lnTo>
                    <a:lnTo>
                      <a:pt x="61" y="90"/>
                    </a:lnTo>
                    <a:lnTo>
                      <a:pt x="61" y="90"/>
                    </a:lnTo>
                    <a:lnTo>
                      <a:pt x="64" y="85"/>
                    </a:lnTo>
                    <a:lnTo>
                      <a:pt x="62" y="83"/>
                    </a:lnTo>
                    <a:lnTo>
                      <a:pt x="61" y="83"/>
                    </a:lnTo>
                    <a:lnTo>
                      <a:pt x="61" y="83"/>
                    </a:lnTo>
                    <a:lnTo>
                      <a:pt x="55" y="81"/>
                    </a:lnTo>
                    <a:lnTo>
                      <a:pt x="54" y="81"/>
                    </a:lnTo>
                    <a:lnTo>
                      <a:pt x="54" y="83"/>
                    </a:lnTo>
                    <a:lnTo>
                      <a:pt x="54" y="83"/>
                    </a:lnTo>
                    <a:lnTo>
                      <a:pt x="55" y="87"/>
                    </a:lnTo>
                    <a:lnTo>
                      <a:pt x="55" y="90"/>
                    </a:lnTo>
                    <a:lnTo>
                      <a:pt x="54" y="93"/>
                    </a:lnTo>
                    <a:lnTo>
                      <a:pt x="54" y="93"/>
                    </a:lnTo>
                    <a:lnTo>
                      <a:pt x="51" y="96"/>
                    </a:lnTo>
                    <a:lnTo>
                      <a:pt x="49" y="97"/>
                    </a:lnTo>
                    <a:lnTo>
                      <a:pt x="49" y="97"/>
                    </a:lnTo>
                    <a:lnTo>
                      <a:pt x="51" y="101"/>
                    </a:lnTo>
                    <a:lnTo>
                      <a:pt x="51" y="103"/>
                    </a:lnTo>
                    <a:lnTo>
                      <a:pt x="51" y="106"/>
                    </a:lnTo>
                    <a:lnTo>
                      <a:pt x="51" y="106"/>
                    </a:lnTo>
                    <a:lnTo>
                      <a:pt x="49" y="109"/>
                    </a:lnTo>
                    <a:lnTo>
                      <a:pt x="46" y="110"/>
                    </a:lnTo>
                    <a:lnTo>
                      <a:pt x="44" y="110"/>
                    </a:lnTo>
                    <a:lnTo>
                      <a:pt x="44" y="110"/>
                    </a:lnTo>
                    <a:lnTo>
                      <a:pt x="38" y="107"/>
                    </a:lnTo>
                    <a:lnTo>
                      <a:pt x="36" y="107"/>
                    </a:lnTo>
                    <a:lnTo>
                      <a:pt x="36" y="107"/>
                    </a:lnTo>
                    <a:lnTo>
                      <a:pt x="35" y="109"/>
                    </a:lnTo>
                    <a:lnTo>
                      <a:pt x="33" y="109"/>
                    </a:lnTo>
                    <a:lnTo>
                      <a:pt x="30" y="109"/>
                    </a:lnTo>
                    <a:lnTo>
                      <a:pt x="30" y="109"/>
                    </a:lnTo>
                    <a:lnTo>
                      <a:pt x="25" y="107"/>
                    </a:lnTo>
                    <a:lnTo>
                      <a:pt x="19" y="104"/>
                    </a:lnTo>
                    <a:lnTo>
                      <a:pt x="19" y="104"/>
                    </a:lnTo>
                    <a:lnTo>
                      <a:pt x="12" y="100"/>
                    </a:lnTo>
                    <a:lnTo>
                      <a:pt x="7" y="99"/>
                    </a:lnTo>
                    <a:lnTo>
                      <a:pt x="6" y="99"/>
                    </a:lnTo>
                    <a:lnTo>
                      <a:pt x="6" y="99"/>
                    </a:lnTo>
                    <a:lnTo>
                      <a:pt x="3" y="99"/>
                    </a:lnTo>
                    <a:lnTo>
                      <a:pt x="2" y="99"/>
                    </a:lnTo>
                    <a:lnTo>
                      <a:pt x="0" y="97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2" y="85"/>
                    </a:lnTo>
                    <a:lnTo>
                      <a:pt x="4" y="81"/>
                    </a:lnTo>
                    <a:lnTo>
                      <a:pt x="7" y="80"/>
                    </a:lnTo>
                    <a:lnTo>
                      <a:pt x="7" y="80"/>
                    </a:lnTo>
                    <a:lnTo>
                      <a:pt x="13" y="80"/>
                    </a:lnTo>
                    <a:lnTo>
                      <a:pt x="16" y="78"/>
                    </a:lnTo>
                    <a:lnTo>
                      <a:pt x="17" y="77"/>
                    </a:lnTo>
                    <a:lnTo>
                      <a:pt x="17" y="77"/>
                    </a:lnTo>
                    <a:lnTo>
                      <a:pt x="16" y="77"/>
                    </a:lnTo>
                    <a:lnTo>
                      <a:pt x="13" y="75"/>
                    </a:lnTo>
                    <a:lnTo>
                      <a:pt x="10" y="74"/>
                    </a:lnTo>
                    <a:lnTo>
                      <a:pt x="10" y="72"/>
                    </a:lnTo>
                    <a:lnTo>
                      <a:pt x="10" y="72"/>
                    </a:lnTo>
                    <a:lnTo>
                      <a:pt x="10" y="64"/>
                    </a:lnTo>
                    <a:lnTo>
                      <a:pt x="12" y="59"/>
                    </a:lnTo>
                    <a:lnTo>
                      <a:pt x="12" y="58"/>
                    </a:lnTo>
                    <a:lnTo>
                      <a:pt x="13" y="58"/>
                    </a:lnTo>
                    <a:lnTo>
                      <a:pt x="13" y="58"/>
                    </a:lnTo>
                    <a:lnTo>
                      <a:pt x="16" y="58"/>
                    </a:lnTo>
                    <a:lnTo>
                      <a:pt x="19" y="57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17" y="52"/>
                    </a:lnTo>
                    <a:lnTo>
                      <a:pt x="16" y="51"/>
                    </a:lnTo>
                    <a:lnTo>
                      <a:pt x="17" y="49"/>
                    </a:lnTo>
                    <a:lnTo>
                      <a:pt x="17" y="49"/>
                    </a:lnTo>
                    <a:lnTo>
                      <a:pt x="16" y="48"/>
                    </a:lnTo>
                    <a:lnTo>
                      <a:pt x="15" y="45"/>
                    </a:lnTo>
                    <a:lnTo>
                      <a:pt x="13" y="43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19" y="35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6" y="20"/>
                    </a:lnTo>
                    <a:lnTo>
                      <a:pt x="29" y="17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52" y="17"/>
                    </a:lnTo>
                    <a:lnTo>
                      <a:pt x="57" y="19"/>
                    </a:lnTo>
                    <a:lnTo>
                      <a:pt x="57" y="19"/>
                    </a:lnTo>
                    <a:lnTo>
                      <a:pt x="57" y="20"/>
                    </a:lnTo>
                    <a:lnTo>
                      <a:pt x="57" y="20"/>
                    </a:lnTo>
                    <a:lnTo>
                      <a:pt x="57" y="23"/>
                    </a:lnTo>
                    <a:lnTo>
                      <a:pt x="57" y="29"/>
                    </a:lnTo>
                    <a:lnTo>
                      <a:pt x="58" y="35"/>
                    </a:lnTo>
                    <a:lnTo>
                      <a:pt x="58" y="38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67" y="36"/>
                    </a:lnTo>
                    <a:lnTo>
                      <a:pt x="71" y="35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8"/>
                    </a:lnTo>
                    <a:lnTo>
                      <a:pt x="75" y="39"/>
                    </a:lnTo>
                    <a:lnTo>
                      <a:pt x="78" y="45"/>
                    </a:lnTo>
                    <a:lnTo>
                      <a:pt x="78" y="45"/>
                    </a:lnTo>
                    <a:lnTo>
                      <a:pt x="80" y="48"/>
                    </a:lnTo>
                    <a:lnTo>
                      <a:pt x="84" y="49"/>
                    </a:lnTo>
                    <a:lnTo>
                      <a:pt x="88" y="51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90" y="54"/>
                    </a:lnTo>
                    <a:lnTo>
                      <a:pt x="86" y="55"/>
                    </a:lnTo>
                    <a:lnTo>
                      <a:pt x="84" y="57"/>
                    </a:lnTo>
                    <a:lnTo>
                      <a:pt x="84" y="58"/>
                    </a:lnTo>
                    <a:lnTo>
                      <a:pt x="84" y="58"/>
                    </a:lnTo>
                    <a:lnTo>
                      <a:pt x="84" y="58"/>
                    </a:lnTo>
                    <a:lnTo>
                      <a:pt x="90" y="61"/>
                    </a:lnTo>
                    <a:lnTo>
                      <a:pt x="94" y="62"/>
                    </a:lnTo>
                    <a:lnTo>
                      <a:pt x="94" y="62"/>
                    </a:lnTo>
                    <a:lnTo>
                      <a:pt x="97" y="67"/>
                    </a:lnTo>
                    <a:lnTo>
                      <a:pt x="97" y="71"/>
                    </a:lnTo>
                    <a:lnTo>
                      <a:pt x="97" y="71"/>
                    </a:lnTo>
                    <a:lnTo>
                      <a:pt x="97" y="74"/>
                    </a:lnTo>
                    <a:lnTo>
                      <a:pt x="97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9" y="74"/>
                    </a:lnTo>
                    <a:lnTo>
                      <a:pt x="116" y="74"/>
                    </a:lnTo>
                    <a:lnTo>
                      <a:pt x="116" y="74"/>
                    </a:lnTo>
                    <a:lnTo>
                      <a:pt x="125" y="75"/>
                    </a:lnTo>
                    <a:lnTo>
                      <a:pt x="129" y="75"/>
                    </a:lnTo>
                    <a:lnTo>
                      <a:pt x="130" y="75"/>
                    </a:lnTo>
                    <a:lnTo>
                      <a:pt x="132" y="74"/>
                    </a:lnTo>
                    <a:lnTo>
                      <a:pt x="132" y="74"/>
                    </a:lnTo>
                    <a:lnTo>
                      <a:pt x="129" y="70"/>
                    </a:lnTo>
                    <a:lnTo>
                      <a:pt x="125" y="64"/>
                    </a:lnTo>
                    <a:lnTo>
                      <a:pt x="120" y="58"/>
                    </a:lnTo>
                    <a:lnTo>
                      <a:pt x="120" y="55"/>
                    </a:lnTo>
                    <a:lnTo>
                      <a:pt x="120" y="54"/>
                    </a:lnTo>
                    <a:lnTo>
                      <a:pt x="120" y="54"/>
                    </a:lnTo>
                    <a:lnTo>
                      <a:pt x="130" y="48"/>
                    </a:lnTo>
                    <a:lnTo>
                      <a:pt x="133" y="45"/>
                    </a:lnTo>
                    <a:lnTo>
                      <a:pt x="133" y="42"/>
                    </a:lnTo>
                    <a:lnTo>
                      <a:pt x="132" y="41"/>
                    </a:lnTo>
                    <a:lnTo>
                      <a:pt x="132" y="41"/>
                    </a:lnTo>
                    <a:lnTo>
                      <a:pt x="122" y="35"/>
                    </a:lnTo>
                    <a:lnTo>
                      <a:pt x="117" y="30"/>
                    </a:lnTo>
                    <a:lnTo>
                      <a:pt x="114" y="28"/>
                    </a:lnTo>
                    <a:lnTo>
                      <a:pt x="114" y="28"/>
                    </a:lnTo>
                    <a:lnTo>
                      <a:pt x="113" y="25"/>
                    </a:lnTo>
                    <a:lnTo>
                      <a:pt x="113" y="23"/>
                    </a:lnTo>
                    <a:lnTo>
                      <a:pt x="114" y="20"/>
                    </a:lnTo>
                    <a:lnTo>
                      <a:pt x="116" y="19"/>
                    </a:lnTo>
                    <a:lnTo>
                      <a:pt x="116" y="19"/>
                    </a:lnTo>
                    <a:lnTo>
                      <a:pt x="117" y="16"/>
                    </a:lnTo>
                    <a:lnTo>
                      <a:pt x="117" y="13"/>
                    </a:lnTo>
                    <a:lnTo>
                      <a:pt x="117" y="12"/>
                    </a:lnTo>
                    <a:lnTo>
                      <a:pt x="119" y="9"/>
                    </a:lnTo>
                    <a:lnTo>
                      <a:pt x="119" y="9"/>
                    </a:lnTo>
                    <a:lnTo>
                      <a:pt x="125" y="4"/>
                    </a:lnTo>
                    <a:lnTo>
                      <a:pt x="128" y="3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3" y="0"/>
                    </a:lnTo>
                    <a:lnTo>
                      <a:pt x="135" y="3"/>
                    </a:lnTo>
                    <a:lnTo>
                      <a:pt x="136" y="6"/>
                    </a:lnTo>
                    <a:lnTo>
                      <a:pt x="139" y="9"/>
                    </a:lnTo>
                    <a:lnTo>
                      <a:pt x="139" y="9"/>
                    </a:lnTo>
                    <a:lnTo>
                      <a:pt x="146" y="16"/>
                    </a:lnTo>
                    <a:lnTo>
                      <a:pt x="149" y="19"/>
                    </a:lnTo>
                    <a:lnTo>
                      <a:pt x="151" y="20"/>
                    </a:lnTo>
                    <a:lnTo>
                      <a:pt x="151" y="20"/>
                    </a:lnTo>
                    <a:lnTo>
                      <a:pt x="152" y="22"/>
                    </a:lnTo>
                    <a:lnTo>
                      <a:pt x="152" y="26"/>
                    </a:lnTo>
                    <a:lnTo>
                      <a:pt x="152" y="29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49" y="35"/>
                    </a:lnTo>
                    <a:lnTo>
                      <a:pt x="151" y="36"/>
                    </a:lnTo>
                    <a:lnTo>
                      <a:pt x="154" y="41"/>
                    </a:lnTo>
                    <a:lnTo>
                      <a:pt x="154" y="41"/>
                    </a:lnTo>
                    <a:lnTo>
                      <a:pt x="156" y="45"/>
                    </a:lnTo>
                    <a:lnTo>
                      <a:pt x="159" y="46"/>
                    </a:lnTo>
                    <a:lnTo>
                      <a:pt x="161" y="48"/>
                    </a:lnTo>
                    <a:lnTo>
                      <a:pt x="161" y="48"/>
                    </a:lnTo>
                    <a:lnTo>
                      <a:pt x="170" y="43"/>
                    </a:lnTo>
                    <a:lnTo>
                      <a:pt x="175" y="42"/>
                    </a:lnTo>
                    <a:lnTo>
                      <a:pt x="180" y="42"/>
                    </a:lnTo>
                    <a:lnTo>
                      <a:pt x="180" y="42"/>
                    </a:lnTo>
                    <a:lnTo>
                      <a:pt x="184" y="43"/>
                    </a:lnTo>
                    <a:lnTo>
                      <a:pt x="188" y="45"/>
                    </a:lnTo>
                    <a:lnTo>
                      <a:pt x="190" y="48"/>
                    </a:lnTo>
                    <a:lnTo>
                      <a:pt x="190" y="54"/>
                    </a:lnTo>
                    <a:lnTo>
                      <a:pt x="190" y="54"/>
                    </a:lnTo>
                    <a:lnTo>
                      <a:pt x="188" y="59"/>
                    </a:lnTo>
                    <a:lnTo>
                      <a:pt x="188" y="67"/>
                    </a:lnTo>
                    <a:lnTo>
                      <a:pt x="190" y="74"/>
                    </a:lnTo>
                    <a:lnTo>
                      <a:pt x="190" y="81"/>
                    </a:lnTo>
                    <a:lnTo>
                      <a:pt x="190" y="81"/>
                    </a:lnTo>
                    <a:lnTo>
                      <a:pt x="187" y="87"/>
                    </a:lnTo>
                    <a:lnTo>
                      <a:pt x="185" y="91"/>
                    </a:lnTo>
                    <a:lnTo>
                      <a:pt x="184" y="93"/>
                    </a:lnTo>
                    <a:lnTo>
                      <a:pt x="184" y="96"/>
                    </a:lnTo>
                    <a:lnTo>
                      <a:pt x="184" y="96"/>
                    </a:lnTo>
                    <a:lnTo>
                      <a:pt x="187" y="100"/>
                    </a:lnTo>
                    <a:lnTo>
                      <a:pt x="188" y="103"/>
                    </a:lnTo>
                    <a:lnTo>
                      <a:pt x="188" y="103"/>
                    </a:lnTo>
                    <a:lnTo>
                      <a:pt x="185" y="109"/>
                    </a:lnTo>
                    <a:lnTo>
                      <a:pt x="183" y="112"/>
                    </a:lnTo>
                    <a:lnTo>
                      <a:pt x="180" y="11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48" name="Freeform 1404"/>
              <p:cNvSpPr>
                <a:spLocks/>
              </p:cNvSpPr>
              <p:nvPr/>
            </p:nvSpPr>
            <p:spPr bwMode="auto">
              <a:xfrm>
                <a:off x="2498511" y="1417760"/>
                <a:ext cx="23742" cy="35613"/>
              </a:xfrm>
              <a:custGeom>
                <a:avLst/>
                <a:gdLst>
                  <a:gd name="T0" fmla="*/ 13 w 24"/>
                  <a:gd name="T1" fmla="*/ 36 h 36"/>
                  <a:gd name="T2" fmla="*/ 13 w 24"/>
                  <a:gd name="T3" fmla="*/ 36 h 36"/>
                  <a:gd name="T4" fmla="*/ 4 w 24"/>
                  <a:gd name="T5" fmla="*/ 35 h 36"/>
                  <a:gd name="T6" fmla="*/ 0 w 24"/>
                  <a:gd name="T7" fmla="*/ 33 h 36"/>
                  <a:gd name="T8" fmla="*/ 0 w 24"/>
                  <a:gd name="T9" fmla="*/ 32 h 36"/>
                  <a:gd name="T10" fmla="*/ 0 w 24"/>
                  <a:gd name="T11" fmla="*/ 30 h 36"/>
                  <a:gd name="T12" fmla="*/ 0 w 24"/>
                  <a:gd name="T13" fmla="*/ 30 h 36"/>
                  <a:gd name="T14" fmla="*/ 2 w 24"/>
                  <a:gd name="T15" fmla="*/ 22 h 36"/>
                  <a:gd name="T16" fmla="*/ 5 w 24"/>
                  <a:gd name="T17" fmla="*/ 16 h 36"/>
                  <a:gd name="T18" fmla="*/ 8 w 24"/>
                  <a:gd name="T19" fmla="*/ 13 h 36"/>
                  <a:gd name="T20" fmla="*/ 8 w 24"/>
                  <a:gd name="T21" fmla="*/ 13 h 36"/>
                  <a:gd name="T22" fmla="*/ 15 w 24"/>
                  <a:gd name="T23" fmla="*/ 10 h 36"/>
                  <a:gd name="T24" fmla="*/ 18 w 24"/>
                  <a:gd name="T25" fmla="*/ 9 h 36"/>
                  <a:gd name="T26" fmla="*/ 20 w 24"/>
                  <a:gd name="T27" fmla="*/ 7 h 36"/>
                  <a:gd name="T28" fmla="*/ 20 w 24"/>
                  <a:gd name="T29" fmla="*/ 7 h 36"/>
                  <a:gd name="T30" fmla="*/ 23 w 24"/>
                  <a:gd name="T31" fmla="*/ 1 h 36"/>
                  <a:gd name="T32" fmla="*/ 24 w 24"/>
                  <a:gd name="T33" fmla="*/ 0 h 36"/>
                  <a:gd name="T34" fmla="*/ 24 w 24"/>
                  <a:gd name="T35" fmla="*/ 0 h 36"/>
                  <a:gd name="T36" fmla="*/ 24 w 24"/>
                  <a:gd name="T37" fmla="*/ 0 h 36"/>
                  <a:gd name="T38" fmla="*/ 24 w 24"/>
                  <a:gd name="T39" fmla="*/ 12 h 36"/>
                  <a:gd name="T40" fmla="*/ 24 w 24"/>
                  <a:gd name="T41" fmla="*/ 23 h 36"/>
                  <a:gd name="T42" fmla="*/ 24 w 24"/>
                  <a:gd name="T43" fmla="*/ 23 h 36"/>
                  <a:gd name="T44" fmla="*/ 20 w 24"/>
                  <a:gd name="T45" fmla="*/ 26 h 36"/>
                  <a:gd name="T46" fmla="*/ 18 w 24"/>
                  <a:gd name="T47" fmla="*/ 27 h 36"/>
                  <a:gd name="T48" fmla="*/ 17 w 24"/>
                  <a:gd name="T49" fmla="*/ 29 h 36"/>
                  <a:gd name="T50" fmla="*/ 17 w 24"/>
                  <a:gd name="T51" fmla="*/ 29 h 36"/>
                  <a:gd name="T52" fmla="*/ 15 w 24"/>
                  <a:gd name="T53" fmla="*/ 35 h 36"/>
                  <a:gd name="T54" fmla="*/ 14 w 24"/>
                  <a:gd name="T55" fmla="*/ 36 h 36"/>
                  <a:gd name="T56" fmla="*/ 13 w 24"/>
                  <a:gd name="T5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4" h="36">
                    <a:moveTo>
                      <a:pt x="13" y="36"/>
                    </a:moveTo>
                    <a:lnTo>
                      <a:pt x="13" y="36"/>
                    </a:lnTo>
                    <a:lnTo>
                      <a:pt x="4" y="35"/>
                    </a:lnTo>
                    <a:lnTo>
                      <a:pt x="0" y="33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22"/>
                    </a:lnTo>
                    <a:lnTo>
                      <a:pt x="5" y="16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15" y="10"/>
                    </a:lnTo>
                    <a:lnTo>
                      <a:pt x="18" y="9"/>
                    </a:lnTo>
                    <a:lnTo>
                      <a:pt x="20" y="7"/>
                    </a:lnTo>
                    <a:lnTo>
                      <a:pt x="20" y="7"/>
                    </a:lnTo>
                    <a:lnTo>
                      <a:pt x="23" y="1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12"/>
                    </a:lnTo>
                    <a:lnTo>
                      <a:pt x="24" y="23"/>
                    </a:lnTo>
                    <a:lnTo>
                      <a:pt x="24" y="23"/>
                    </a:lnTo>
                    <a:lnTo>
                      <a:pt x="20" y="26"/>
                    </a:lnTo>
                    <a:lnTo>
                      <a:pt x="18" y="27"/>
                    </a:lnTo>
                    <a:lnTo>
                      <a:pt x="17" y="29"/>
                    </a:lnTo>
                    <a:lnTo>
                      <a:pt x="17" y="29"/>
                    </a:lnTo>
                    <a:lnTo>
                      <a:pt x="15" y="35"/>
                    </a:lnTo>
                    <a:lnTo>
                      <a:pt x="14" y="36"/>
                    </a:lnTo>
                    <a:lnTo>
                      <a:pt x="13" y="3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49" name="Freeform 1405"/>
              <p:cNvSpPr>
                <a:spLocks/>
              </p:cNvSpPr>
              <p:nvPr/>
            </p:nvSpPr>
            <p:spPr bwMode="auto">
              <a:xfrm>
                <a:off x="2498511" y="1417760"/>
                <a:ext cx="23742" cy="35613"/>
              </a:xfrm>
              <a:custGeom>
                <a:avLst/>
                <a:gdLst>
                  <a:gd name="T0" fmla="*/ 13 w 24"/>
                  <a:gd name="T1" fmla="*/ 36 h 36"/>
                  <a:gd name="T2" fmla="*/ 13 w 24"/>
                  <a:gd name="T3" fmla="*/ 36 h 36"/>
                  <a:gd name="T4" fmla="*/ 4 w 24"/>
                  <a:gd name="T5" fmla="*/ 35 h 36"/>
                  <a:gd name="T6" fmla="*/ 0 w 24"/>
                  <a:gd name="T7" fmla="*/ 33 h 36"/>
                  <a:gd name="T8" fmla="*/ 0 w 24"/>
                  <a:gd name="T9" fmla="*/ 32 h 36"/>
                  <a:gd name="T10" fmla="*/ 0 w 24"/>
                  <a:gd name="T11" fmla="*/ 30 h 36"/>
                  <a:gd name="T12" fmla="*/ 0 w 24"/>
                  <a:gd name="T13" fmla="*/ 30 h 36"/>
                  <a:gd name="T14" fmla="*/ 2 w 24"/>
                  <a:gd name="T15" fmla="*/ 22 h 36"/>
                  <a:gd name="T16" fmla="*/ 5 w 24"/>
                  <a:gd name="T17" fmla="*/ 16 h 36"/>
                  <a:gd name="T18" fmla="*/ 8 w 24"/>
                  <a:gd name="T19" fmla="*/ 13 h 36"/>
                  <a:gd name="T20" fmla="*/ 8 w 24"/>
                  <a:gd name="T21" fmla="*/ 13 h 36"/>
                  <a:gd name="T22" fmla="*/ 15 w 24"/>
                  <a:gd name="T23" fmla="*/ 10 h 36"/>
                  <a:gd name="T24" fmla="*/ 18 w 24"/>
                  <a:gd name="T25" fmla="*/ 9 h 36"/>
                  <a:gd name="T26" fmla="*/ 20 w 24"/>
                  <a:gd name="T27" fmla="*/ 7 h 36"/>
                  <a:gd name="T28" fmla="*/ 20 w 24"/>
                  <a:gd name="T29" fmla="*/ 7 h 36"/>
                  <a:gd name="T30" fmla="*/ 23 w 24"/>
                  <a:gd name="T31" fmla="*/ 1 h 36"/>
                  <a:gd name="T32" fmla="*/ 24 w 24"/>
                  <a:gd name="T33" fmla="*/ 0 h 36"/>
                  <a:gd name="T34" fmla="*/ 24 w 24"/>
                  <a:gd name="T35" fmla="*/ 0 h 36"/>
                  <a:gd name="T36" fmla="*/ 24 w 24"/>
                  <a:gd name="T37" fmla="*/ 0 h 36"/>
                  <a:gd name="T38" fmla="*/ 24 w 24"/>
                  <a:gd name="T39" fmla="*/ 12 h 36"/>
                  <a:gd name="T40" fmla="*/ 24 w 24"/>
                  <a:gd name="T41" fmla="*/ 23 h 36"/>
                  <a:gd name="T42" fmla="*/ 24 w 24"/>
                  <a:gd name="T43" fmla="*/ 23 h 36"/>
                  <a:gd name="T44" fmla="*/ 20 w 24"/>
                  <a:gd name="T45" fmla="*/ 26 h 36"/>
                  <a:gd name="T46" fmla="*/ 18 w 24"/>
                  <a:gd name="T47" fmla="*/ 27 h 36"/>
                  <a:gd name="T48" fmla="*/ 17 w 24"/>
                  <a:gd name="T49" fmla="*/ 29 h 36"/>
                  <a:gd name="T50" fmla="*/ 17 w 24"/>
                  <a:gd name="T51" fmla="*/ 29 h 36"/>
                  <a:gd name="T52" fmla="*/ 15 w 24"/>
                  <a:gd name="T53" fmla="*/ 35 h 36"/>
                  <a:gd name="T54" fmla="*/ 14 w 24"/>
                  <a:gd name="T55" fmla="*/ 36 h 36"/>
                  <a:gd name="T56" fmla="*/ 13 w 24"/>
                  <a:gd name="T5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4" h="36">
                    <a:moveTo>
                      <a:pt x="13" y="36"/>
                    </a:moveTo>
                    <a:lnTo>
                      <a:pt x="13" y="36"/>
                    </a:lnTo>
                    <a:lnTo>
                      <a:pt x="4" y="35"/>
                    </a:lnTo>
                    <a:lnTo>
                      <a:pt x="0" y="33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22"/>
                    </a:lnTo>
                    <a:lnTo>
                      <a:pt x="5" y="16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15" y="10"/>
                    </a:lnTo>
                    <a:lnTo>
                      <a:pt x="18" y="9"/>
                    </a:lnTo>
                    <a:lnTo>
                      <a:pt x="20" y="7"/>
                    </a:lnTo>
                    <a:lnTo>
                      <a:pt x="20" y="7"/>
                    </a:lnTo>
                    <a:lnTo>
                      <a:pt x="23" y="1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12"/>
                    </a:lnTo>
                    <a:lnTo>
                      <a:pt x="24" y="23"/>
                    </a:lnTo>
                    <a:lnTo>
                      <a:pt x="24" y="23"/>
                    </a:lnTo>
                    <a:lnTo>
                      <a:pt x="20" y="26"/>
                    </a:lnTo>
                    <a:lnTo>
                      <a:pt x="18" y="27"/>
                    </a:lnTo>
                    <a:lnTo>
                      <a:pt x="17" y="29"/>
                    </a:lnTo>
                    <a:lnTo>
                      <a:pt x="17" y="29"/>
                    </a:lnTo>
                    <a:lnTo>
                      <a:pt x="15" y="35"/>
                    </a:lnTo>
                    <a:lnTo>
                      <a:pt x="14" y="36"/>
                    </a:lnTo>
                    <a:lnTo>
                      <a:pt x="13" y="3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50" name="Freeform 1406"/>
              <p:cNvSpPr>
                <a:spLocks/>
              </p:cNvSpPr>
              <p:nvPr/>
            </p:nvSpPr>
            <p:spPr bwMode="auto">
              <a:xfrm>
                <a:off x="2441134" y="1319824"/>
                <a:ext cx="118711" cy="111786"/>
              </a:xfrm>
              <a:custGeom>
                <a:avLst/>
                <a:gdLst>
                  <a:gd name="T0" fmla="*/ 43 w 120"/>
                  <a:gd name="T1" fmla="*/ 113 h 113"/>
                  <a:gd name="T2" fmla="*/ 40 w 120"/>
                  <a:gd name="T3" fmla="*/ 106 h 113"/>
                  <a:gd name="T4" fmla="*/ 34 w 120"/>
                  <a:gd name="T5" fmla="*/ 102 h 113"/>
                  <a:gd name="T6" fmla="*/ 36 w 120"/>
                  <a:gd name="T7" fmla="*/ 97 h 113"/>
                  <a:gd name="T8" fmla="*/ 34 w 120"/>
                  <a:gd name="T9" fmla="*/ 92 h 113"/>
                  <a:gd name="T10" fmla="*/ 30 w 120"/>
                  <a:gd name="T11" fmla="*/ 96 h 113"/>
                  <a:gd name="T12" fmla="*/ 29 w 120"/>
                  <a:gd name="T13" fmla="*/ 105 h 113"/>
                  <a:gd name="T14" fmla="*/ 26 w 120"/>
                  <a:gd name="T15" fmla="*/ 108 h 113"/>
                  <a:gd name="T16" fmla="*/ 20 w 120"/>
                  <a:gd name="T17" fmla="*/ 102 h 113"/>
                  <a:gd name="T18" fmla="*/ 13 w 120"/>
                  <a:gd name="T19" fmla="*/ 111 h 113"/>
                  <a:gd name="T20" fmla="*/ 10 w 120"/>
                  <a:gd name="T21" fmla="*/ 111 h 113"/>
                  <a:gd name="T22" fmla="*/ 7 w 120"/>
                  <a:gd name="T23" fmla="*/ 106 h 113"/>
                  <a:gd name="T24" fmla="*/ 4 w 120"/>
                  <a:gd name="T25" fmla="*/ 105 h 113"/>
                  <a:gd name="T26" fmla="*/ 7 w 120"/>
                  <a:gd name="T27" fmla="*/ 100 h 113"/>
                  <a:gd name="T28" fmla="*/ 11 w 120"/>
                  <a:gd name="T29" fmla="*/ 93 h 113"/>
                  <a:gd name="T30" fmla="*/ 4 w 120"/>
                  <a:gd name="T31" fmla="*/ 97 h 113"/>
                  <a:gd name="T32" fmla="*/ 0 w 120"/>
                  <a:gd name="T33" fmla="*/ 96 h 113"/>
                  <a:gd name="T34" fmla="*/ 5 w 120"/>
                  <a:gd name="T35" fmla="*/ 86 h 113"/>
                  <a:gd name="T36" fmla="*/ 13 w 120"/>
                  <a:gd name="T37" fmla="*/ 79 h 113"/>
                  <a:gd name="T38" fmla="*/ 21 w 120"/>
                  <a:gd name="T39" fmla="*/ 79 h 113"/>
                  <a:gd name="T40" fmla="*/ 30 w 120"/>
                  <a:gd name="T41" fmla="*/ 63 h 113"/>
                  <a:gd name="T42" fmla="*/ 37 w 120"/>
                  <a:gd name="T43" fmla="*/ 55 h 113"/>
                  <a:gd name="T44" fmla="*/ 40 w 120"/>
                  <a:gd name="T45" fmla="*/ 50 h 113"/>
                  <a:gd name="T46" fmla="*/ 56 w 120"/>
                  <a:gd name="T47" fmla="*/ 24 h 113"/>
                  <a:gd name="T48" fmla="*/ 66 w 120"/>
                  <a:gd name="T49" fmla="*/ 16 h 113"/>
                  <a:gd name="T50" fmla="*/ 76 w 120"/>
                  <a:gd name="T51" fmla="*/ 15 h 113"/>
                  <a:gd name="T52" fmla="*/ 88 w 120"/>
                  <a:gd name="T53" fmla="*/ 15 h 113"/>
                  <a:gd name="T54" fmla="*/ 98 w 120"/>
                  <a:gd name="T55" fmla="*/ 16 h 113"/>
                  <a:gd name="T56" fmla="*/ 92 w 120"/>
                  <a:gd name="T57" fmla="*/ 11 h 113"/>
                  <a:gd name="T58" fmla="*/ 98 w 120"/>
                  <a:gd name="T59" fmla="*/ 2 h 113"/>
                  <a:gd name="T60" fmla="*/ 104 w 120"/>
                  <a:gd name="T61" fmla="*/ 0 h 113"/>
                  <a:gd name="T62" fmla="*/ 120 w 120"/>
                  <a:gd name="T63" fmla="*/ 16 h 113"/>
                  <a:gd name="T64" fmla="*/ 110 w 120"/>
                  <a:gd name="T65" fmla="*/ 25 h 113"/>
                  <a:gd name="T66" fmla="*/ 102 w 120"/>
                  <a:gd name="T67" fmla="*/ 32 h 113"/>
                  <a:gd name="T68" fmla="*/ 111 w 120"/>
                  <a:gd name="T69" fmla="*/ 41 h 113"/>
                  <a:gd name="T70" fmla="*/ 108 w 120"/>
                  <a:gd name="T71" fmla="*/ 44 h 113"/>
                  <a:gd name="T72" fmla="*/ 107 w 120"/>
                  <a:gd name="T73" fmla="*/ 47 h 113"/>
                  <a:gd name="T74" fmla="*/ 105 w 120"/>
                  <a:gd name="T75" fmla="*/ 63 h 113"/>
                  <a:gd name="T76" fmla="*/ 100 w 120"/>
                  <a:gd name="T77" fmla="*/ 67 h 113"/>
                  <a:gd name="T78" fmla="*/ 94 w 120"/>
                  <a:gd name="T79" fmla="*/ 79 h 113"/>
                  <a:gd name="T80" fmla="*/ 92 w 120"/>
                  <a:gd name="T81" fmla="*/ 89 h 113"/>
                  <a:gd name="T82" fmla="*/ 87 w 120"/>
                  <a:gd name="T83" fmla="*/ 87 h 113"/>
                  <a:gd name="T84" fmla="*/ 79 w 120"/>
                  <a:gd name="T85" fmla="*/ 70 h 113"/>
                  <a:gd name="T86" fmla="*/ 84 w 120"/>
                  <a:gd name="T87" fmla="*/ 58 h 113"/>
                  <a:gd name="T88" fmla="*/ 85 w 120"/>
                  <a:gd name="T89" fmla="*/ 54 h 113"/>
                  <a:gd name="T90" fmla="*/ 73 w 120"/>
                  <a:gd name="T91" fmla="*/ 57 h 113"/>
                  <a:gd name="T92" fmla="*/ 73 w 120"/>
                  <a:gd name="T93" fmla="*/ 61 h 113"/>
                  <a:gd name="T94" fmla="*/ 72 w 120"/>
                  <a:gd name="T95" fmla="*/ 69 h 113"/>
                  <a:gd name="T96" fmla="*/ 66 w 120"/>
                  <a:gd name="T97" fmla="*/ 71 h 113"/>
                  <a:gd name="T98" fmla="*/ 68 w 120"/>
                  <a:gd name="T99" fmla="*/ 74 h 113"/>
                  <a:gd name="T100" fmla="*/ 71 w 120"/>
                  <a:gd name="T101" fmla="*/ 79 h 113"/>
                  <a:gd name="T102" fmla="*/ 65 w 120"/>
                  <a:gd name="T103" fmla="*/ 90 h 113"/>
                  <a:gd name="T104" fmla="*/ 62 w 120"/>
                  <a:gd name="T105" fmla="*/ 100 h 113"/>
                  <a:gd name="T106" fmla="*/ 60 w 120"/>
                  <a:gd name="T107" fmla="*/ 100 h 113"/>
                  <a:gd name="T108" fmla="*/ 55 w 120"/>
                  <a:gd name="T109" fmla="*/ 89 h 113"/>
                  <a:gd name="T110" fmla="*/ 53 w 120"/>
                  <a:gd name="T111" fmla="*/ 95 h 113"/>
                  <a:gd name="T112" fmla="*/ 52 w 120"/>
                  <a:gd name="T113" fmla="*/ 97 h 113"/>
                  <a:gd name="T114" fmla="*/ 55 w 120"/>
                  <a:gd name="T115" fmla="*/ 106 h 113"/>
                  <a:gd name="T116" fmla="*/ 49 w 120"/>
                  <a:gd name="T117" fmla="*/ 111 h 113"/>
                  <a:gd name="T118" fmla="*/ 45 w 120"/>
                  <a:gd name="T119" fmla="*/ 11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0" h="113">
                    <a:moveTo>
                      <a:pt x="43" y="113"/>
                    </a:moveTo>
                    <a:lnTo>
                      <a:pt x="43" y="113"/>
                    </a:lnTo>
                    <a:lnTo>
                      <a:pt x="43" y="113"/>
                    </a:lnTo>
                    <a:lnTo>
                      <a:pt x="43" y="111"/>
                    </a:lnTo>
                    <a:lnTo>
                      <a:pt x="42" y="109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34" y="103"/>
                    </a:lnTo>
                    <a:lnTo>
                      <a:pt x="34" y="102"/>
                    </a:lnTo>
                    <a:lnTo>
                      <a:pt x="34" y="99"/>
                    </a:lnTo>
                    <a:lnTo>
                      <a:pt x="34" y="99"/>
                    </a:lnTo>
                    <a:lnTo>
                      <a:pt x="36" y="97"/>
                    </a:lnTo>
                    <a:lnTo>
                      <a:pt x="36" y="95"/>
                    </a:lnTo>
                    <a:lnTo>
                      <a:pt x="36" y="93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0" y="95"/>
                    </a:lnTo>
                    <a:lnTo>
                      <a:pt x="30" y="96"/>
                    </a:lnTo>
                    <a:lnTo>
                      <a:pt x="29" y="97"/>
                    </a:lnTo>
                    <a:lnTo>
                      <a:pt x="29" y="97"/>
                    </a:lnTo>
                    <a:lnTo>
                      <a:pt x="29" y="105"/>
                    </a:lnTo>
                    <a:lnTo>
                      <a:pt x="27" y="10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3" y="103"/>
                    </a:lnTo>
                    <a:lnTo>
                      <a:pt x="21" y="102"/>
                    </a:lnTo>
                    <a:lnTo>
                      <a:pt x="20" y="102"/>
                    </a:lnTo>
                    <a:lnTo>
                      <a:pt x="20" y="102"/>
                    </a:lnTo>
                    <a:lnTo>
                      <a:pt x="16" y="109"/>
                    </a:lnTo>
                    <a:lnTo>
                      <a:pt x="13" y="111"/>
                    </a:lnTo>
                    <a:lnTo>
                      <a:pt x="11" y="112"/>
                    </a:lnTo>
                    <a:lnTo>
                      <a:pt x="10" y="111"/>
                    </a:lnTo>
                    <a:lnTo>
                      <a:pt x="10" y="111"/>
                    </a:lnTo>
                    <a:lnTo>
                      <a:pt x="8" y="109"/>
                    </a:lnTo>
                    <a:lnTo>
                      <a:pt x="7" y="106"/>
                    </a:lnTo>
                    <a:lnTo>
                      <a:pt x="7" y="106"/>
                    </a:lnTo>
                    <a:lnTo>
                      <a:pt x="5" y="105"/>
                    </a:lnTo>
                    <a:lnTo>
                      <a:pt x="5" y="105"/>
                    </a:lnTo>
                    <a:lnTo>
                      <a:pt x="4" y="105"/>
                    </a:lnTo>
                    <a:lnTo>
                      <a:pt x="4" y="103"/>
                    </a:lnTo>
                    <a:lnTo>
                      <a:pt x="7" y="100"/>
                    </a:lnTo>
                    <a:lnTo>
                      <a:pt x="7" y="100"/>
                    </a:lnTo>
                    <a:lnTo>
                      <a:pt x="10" y="97"/>
                    </a:lnTo>
                    <a:lnTo>
                      <a:pt x="11" y="95"/>
                    </a:lnTo>
                    <a:lnTo>
                      <a:pt x="11" y="93"/>
                    </a:lnTo>
                    <a:lnTo>
                      <a:pt x="10" y="93"/>
                    </a:lnTo>
                    <a:lnTo>
                      <a:pt x="10" y="93"/>
                    </a:lnTo>
                    <a:lnTo>
                      <a:pt x="4" y="97"/>
                    </a:lnTo>
                    <a:lnTo>
                      <a:pt x="1" y="97"/>
                    </a:lnTo>
                    <a:lnTo>
                      <a:pt x="0" y="97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3" y="92"/>
                    </a:lnTo>
                    <a:lnTo>
                      <a:pt x="5" y="86"/>
                    </a:lnTo>
                    <a:lnTo>
                      <a:pt x="10" y="80"/>
                    </a:lnTo>
                    <a:lnTo>
                      <a:pt x="10" y="80"/>
                    </a:lnTo>
                    <a:lnTo>
                      <a:pt x="13" y="79"/>
                    </a:lnTo>
                    <a:lnTo>
                      <a:pt x="16" y="79"/>
                    </a:lnTo>
                    <a:lnTo>
                      <a:pt x="18" y="80"/>
                    </a:lnTo>
                    <a:lnTo>
                      <a:pt x="21" y="79"/>
                    </a:lnTo>
                    <a:lnTo>
                      <a:pt x="21" y="79"/>
                    </a:lnTo>
                    <a:lnTo>
                      <a:pt x="27" y="69"/>
                    </a:lnTo>
                    <a:lnTo>
                      <a:pt x="30" y="63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7" y="55"/>
                    </a:lnTo>
                    <a:lnTo>
                      <a:pt x="40" y="53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43" y="44"/>
                    </a:lnTo>
                    <a:lnTo>
                      <a:pt x="50" y="34"/>
                    </a:lnTo>
                    <a:lnTo>
                      <a:pt x="56" y="24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6" y="16"/>
                    </a:lnTo>
                    <a:lnTo>
                      <a:pt x="69" y="16"/>
                    </a:lnTo>
                    <a:lnTo>
                      <a:pt x="73" y="16"/>
                    </a:lnTo>
                    <a:lnTo>
                      <a:pt x="76" y="15"/>
                    </a:lnTo>
                    <a:lnTo>
                      <a:pt x="76" y="15"/>
                    </a:lnTo>
                    <a:lnTo>
                      <a:pt x="81" y="15"/>
                    </a:lnTo>
                    <a:lnTo>
                      <a:pt x="88" y="15"/>
                    </a:lnTo>
                    <a:lnTo>
                      <a:pt x="94" y="16"/>
                    </a:lnTo>
                    <a:lnTo>
                      <a:pt x="98" y="16"/>
                    </a:lnTo>
                    <a:lnTo>
                      <a:pt x="98" y="16"/>
                    </a:lnTo>
                    <a:lnTo>
                      <a:pt x="97" y="15"/>
                    </a:lnTo>
                    <a:lnTo>
                      <a:pt x="95" y="13"/>
                    </a:lnTo>
                    <a:lnTo>
                      <a:pt x="92" y="11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8" y="2"/>
                    </a:lnTo>
                    <a:lnTo>
                      <a:pt x="101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14" y="9"/>
                    </a:lnTo>
                    <a:lnTo>
                      <a:pt x="118" y="13"/>
                    </a:lnTo>
                    <a:lnTo>
                      <a:pt x="120" y="16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10" y="25"/>
                    </a:lnTo>
                    <a:lnTo>
                      <a:pt x="104" y="29"/>
                    </a:lnTo>
                    <a:lnTo>
                      <a:pt x="102" y="31"/>
                    </a:lnTo>
                    <a:lnTo>
                      <a:pt x="102" y="32"/>
                    </a:lnTo>
                    <a:lnTo>
                      <a:pt x="102" y="32"/>
                    </a:lnTo>
                    <a:lnTo>
                      <a:pt x="108" y="38"/>
                    </a:lnTo>
                    <a:lnTo>
                      <a:pt x="111" y="41"/>
                    </a:lnTo>
                    <a:lnTo>
                      <a:pt x="111" y="42"/>
                    </a:lnTo>
                    <a:lnTo>
                      <a:pt x="111" y="42"/>
                    </a:lnTo>
                    <a:lnTo>
                      <a:pt x="108" y="44"/>
                    </a:lnTo>
                    <a:lnTo>
                      <a:pt x="107" y="45"/>
                    </a:lnTo>
                    <a:lnTo>
                      <a:pt x="107" y="47"/>
                    </a:lnTo>
                    <a:lnTo>
                      <a:pt x="107" y="47"/>
                    </a:lnTo>
                    <a:lnTo>
                      <a:pt x="108" y="57"/>
                    </a:lnTo>
                    <a:lnTo>
                      <a:pt x="108" y="57"/>
                    </a:lnTo>
                    <a:lnTo>
                      <a:pt x="105" y="63"/>
                    </a:lnTo>
                    <a:lnTo>
                      <a:pt x="104" y="64"/>
                    </a:lnTo>
                    <a:lnTo>
                      <a:pt x="100" y="67"/>
                    </a:lnTo>
                    <a:lnTo>
                      <a:pt x="100" y="67"/>
                    </a:lnTo>
                    <a:lnTo>
                      <a:pt x="97" y="69"/>
                    </a:lnTo>
                    <a:lnTo>
                      <a:pt x="95" y="71"/>
                    </a:lnTo>
                    <a:lnTo>
                      <a:pt x="94" y="79"/>
                    </a:lnTo>
                    <a:lnTo>
                      <a:pt x="94" y="79"/>
                    </a:lnTo>
                    <a:lnTo>
                      <a:pt x="94" y="86"/>
                    </a:lnTo>
                    <a:lnTo>
                      <a:pt x="92" y="89"/>
                    </a:lnTo>
                    <a:lnTo>
                      <a:pt x="88" y="89"/>
                    </a:lnTo>
                    <a:lnTo>
                      <a:pt x="88" y="89"/>
                    </a:lnTo>
                    <a:lnTo>
                      <a:pt x="87" y="87"/>
                    </a:lnTo>
                    <a:lnTo>
                      <a:pt x="85" y="84"/>
                    </a:lnTo>
                    <a:lnTo>
                      <a:pt x="81" y="77"/>
                    </a:lnTo>
                    <a:lnTo>
                      <a:pt x="79" y="70"/>
                    </a:lnTo>
                    <a:lnTo>
                      <a:pt x="79" y="66"/>
                    </a:lnTo>
                    <a:lnTo>
                      <a:pt x="79" y="66"/>
                    </a:lnTo>
                    <a:lnTo>
                      <a:pt x="84" y="58"/>
                    </a:lnTo>
                    <a:lnTo>
                      <a:pt x="85" y="55"/>
                    </a:lnTo>
                    <a:lnTo>
                      <a:pt x="85" y="54"/>
                    </a:lnTo>
                    <a:lnTo>
                      <a:pt x="85" y="54"/>
                    </a:lnTo>
                    <a:lnTo>
                      <a:pt x="79" y="54"/>
                    </a:lnTo>
                    <a:lnTo>
                      <a:pt x="75" y="55"/>
                    </a:lnTo>
                    <a:lnTo>
                      <a:pt x="73" y="57"/>
                    </a:lnTo>
                    <a:lnTo>
                      <a:pt x="73" y="57"/>
                    </a:lnTo>
                    <a:lnTo>
                      <a:pt x="73" y="58"/>
                    </a:lnTo>
                    <a:lnTo>
                      <a:pt x="73" y="61"/>
                    </a:lnTo>
                    <a:lnTo>
                      <a:pt x="73" y="67"/>
                    </a:lnTo>
                    <a:lnTo>
                      <a:pt x="73" y="67"/>
                    </a:lnTo>
                    <a:lnTo>
                      <a:pt x="72" y="69"/>
                    </a:lnTo>
                    <a:lnTo>
                      <a:pt x="69" y="70"/>
                    </a:lnTo>
                    <a:lnTo>
                      <a:pt x="68" y="70"/>
                    </a:lnTo>
                    <a:lnTo>
                      <a:pt x="66" y="71"/>
                    </a:lnTo>
                    <a:lnTo>
                      <a:pt x="66" y="71"/>
                    </a:lnTo>
                    <a:lnTo>
                      <a:pt x="66" y="73"/>
                    </a:lnTo>
                    <a:lnTo>
                      <a:pt x="68" y="74"/>
                    </a:lnTo>
                    <a:lnTo>
                      <a:pt x="69" y="77"/>
                    </a:lnTo>
                    <a:lnTo>
                      <a:pt x="71" y="79"/>
                    </a:lnTo>
                    <a:lnTo>
                      <a:pt x="71" y="79"/>
                    </a:lnTo>
                    <a:lnTo>
                      <a:pt x="69" y="82"/>
                    </a:lnTo>
                    <a:lnTo>
                      <a:pt x="68" y="86"/>
                    </a:lnTo>
                    <a:lnTo>
                      <a:pt x="65" y="90"/>
                    </a:lnTo>
                    <a:lnTo>
                      <a:pt x="65" y="90"/>
                    </a:lnTo>
                    <a:lnTo>
                      <a:pt x="63" y="97"/>
                    </a:lnTo>
                    <a:lnTo>
                      <a:pt x="62" y="100"/>
                    </a:lnTo>
                    <a:lnTo>
                      <a:pt x="62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92"/>
                    </a:lnTo>
                    <a:lnTo>
                      <a:pt x="55" y="89"/>
                    </a:lnTo>
                    <a:lnTo>
                      <a:pt x="55" y="89"/>
                    </a:lnTo>
                    <a:lnTo>
                      <a:pt x="55" y="89"/>
                    </a:lnTo>
                    <a:lnTo>
                      <a:pt x="55" y="89"/>
                    </a:lnTo>
                    <a:lnTo>
                      <a:pt x="53" y="95"/>
                    </a:lnTo>
                    <a:lnTo>
                      <a:pt x="52" y="96"/>
                    </a:lnTo>
                    <a:lnTo>
                      <a:pt x="52" y="97"/>
                    </a:lnTo>
                    <a:lnTo>
                      <a:pt x="52" y="97"/>
                    </a:lnTo>
                    <a:lnTo>
                      <a:pt x="55" y="102"/>
                    </a:lnTo>
                    <a:lnTo>
                      <a:pt x="55" y="103"/>
                    </a:lnTo>
                    <a:lnTo>
                      <a:pt x="55" y="106"/>
                    </a:lnTo>
                    <a:lnTo>
                      <a:pt x="55" y="106"/>
                    </a:lnTo>
                    <a:lnTo>
                      <a:pt x="52" y="109"/>
                    </a:lnTo>
                    <a:lnTo>
                      <a:pt x="49" y="111"/>
                    </a:lnTo>
                    <a:lnTo>
                      <a:pt x="49" y="111"/>
                    </a:lnTo>
                    <a:lnTo>
                      <a:pt x="46" y="111"/>
                    </a:lnTo>
                    <a:lnTo>
                      <a:pt x="45" y="111"/>
                    </a:lnTo>
                    <a:lnTo>
                      <a:pt x="43" y="11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51" name="Freeform 1407"/>
              <p:cNvSpPr>
                <a:spLocks/>
              </p:cNvSpPr>
              <p:nvPr/>
            </p:nvSpPr>
            <p:spPr bwMode="auto">
              <a:xfrm>
                <a:off x="2441134" y="1319824"/>
                <a:ext cx="118711" cy="111786"/>
              </a:xfrm>
              <a:custGeom>
                <a:avLst/>
                <a:gdLst>
                  <a:gd name="T0" fmla="*/ 43 w 120"/>
                  <a:gd name="T1" fmla="*/ 113 h 113"/>
                  <a:gd name="T2" fmla="*/ 40 w 120"/>
                  <a:gd name="T3" fmla="*/ 106 h 113"/>
                  <a:gd name="T4" fmla="*/ 34 w 120"/>
                  <a:gd name="T5" fmla="*/ 102 h 113"/>
                  <a:gd name="T6" fmla="*/ 36 w 120"/>
                  <a:gd name="T7" fmla="*/ 97 h 113"/>
                  <a:gd name="T8" fmla="*/ 34 w 120"/>
                  <a:gd name="T9" fmla="*/ 92 h 113"/>
                  <a:gd name="T10" fmla="*/ 30 w 120"/>
                  <a:gd name="T11" fmla="*/ 96 h 113"/>
                  <a:gd name="T12" fmla="*/ 29 w 120"/>
                  <a:gd name="T13" fmla="*/ 105 h 113"/>
                  <a:gd name="T14" fmla="*/ 26 w 120"/>
                  <a:gd name="T15" fmla="*/ 108 h 113"/>
                  <a:gd name="T16" fmla="*/ 20 w 120"/>
                  <a:gd name="T17" fmla="*/ 102 h 113"/>
                  <a:gd name="T18" fmla="*/ 13 w 120"/>
                  <a:gd name="T19" fmla="*/ 111 h 113"/>
                  <a:gd name="T20" fmla="*/ 10 w 120"/>
                  <a:gd name="T21" fmla="*/ 111 h 113"/>
                  <a:gd name="T22" fmla="*/ 7 w 120"/>
                  <a:gd name="T23" fmla="*/ 106 h 113"/>
                  <a:gd name="T24" fmla="*/ 4 w 120"/>
                  <a:gd name="T25" fmla="*/ 105 h 113"/>
                  <a:gd name="T26" fmla="*/ 7 w 120"/>
                  <a:gd name="T27" fmla="*/ 100 h 113"/>
                  <a:gd name="T28" fmla="*/ 11 w 120"/>
                  <a:gd name="T29" fmla="*/ 93 h 113"/>
                  <a:gd name="T30" fmla="*/ 4 w 120"/>
                  <a:gd name="T31" fmla="*/ 97 h 113"/>
                  <a:gd name="T32" fmla="*/ 0 w 120"/>
                  <a:gd name="T33" fmla="*/ 96 h 113"/>
                  <a:gd name="T34" fmla="*/ 5 w 120"/>
                  <a:gd name="T35" fmla="*/ 86 h 113"/>
                  <a:gd name="T36" fmla="*/ 13 w 120"/>
                  <a:gd name="T37" fmla="*/ 79 h 113"/>
                  <a:gd name="T38" fmla="*/ 21 w 120"/>
                  <a:gd name="T39" fmla="*/ 79 h 113"/>
                  <a:gd name="T40" fmla="*/ 30 w 120"/>
                  <a:gd name="T41" fmla="*/ 63 h 113"/>
                  <a:gd name="T42" fmla="*/ 37 w 120"/>
                  <a:gd name="T43" fmla="*/ 55 h 113"/>
                  <a:gd name="T44" fmla="*/ 40 w 120"/>
                  <a:gd name="T45" fmla="*/ 50 h 113"/>
                  <a:gd name="T46" fmla="*/ 56 w 120"/>
                  <a:gd name="T47" fmla="*/ 24 h 113"/>
                  <a:gd name="T48" fmla="*/ 66 w 120"/>
                  <a:gd name="T49" fmla="*/ 16 h 113"/>
                  <a:gd name="T50" fmla="*/ 76 w 120"/>
                  <a:gd name="T51" fmla="*/ 15 h 113"/>
                  <a:gd name="T52" fmla="*/ 88 w 120"/>
                  <a:gd name="T53" fmla="*/ 15 h 113"/>
                  <a:gd name="T54" fmla="*/ 98 w 120"/>
                  <a:gd name="T55" fmla="*/ 16 h 113"/>
                  <a:gd name="T56" fmla="*/ 92 w 120"/>
                  <a:gd name="T57" fmla="*/ 11 h 113"/>
                  <a:gd name="T58" fmla="*/ 98 w 120"/>
                  <a:gd name="T59" fmla="*/ 2 h 113"/>
                  <a:gd name="T60" fmla="*/ 104 w 120"/>
                  <a:gd name="T61" fmla="*/ 0 h 113"/>
                  <a:gd name="T62" fmla="*/ 120 w 120"/>
                  <a:gd name="T63" fmla="*/ 16 h 113"/>
                  <a:gd name="T64" fmla="*/ 110 w 120"/>
                  <a:gd name="T65" fmla="*/ 25 h 113"/>
                  <a:gd name="T66" fmla="*/ 102 w 120"/>
                  <a:gd name="T67" fmla="*/ 32 h 113"/>
                  <a:gd name="T68" fmla="*/ 111 w 120"/>
                  <a:gd name="T69" fmla="*/ 41 h 113"/>
                  <a:gd name="T70" fmla="*/ 108 w 120"/>
                  <a:gd name="T71" fmla="*/ 44 h 113"/>
                  <a:gd name="T72" fmla="*/ 107 w 120"/>
                  <a:gd name="T73" fmla="*/ 47 h 113"/>
                  <a:gd name="T74" fmla="*/ 105 w 120"/>
                  <a:gd name="T75" fmla="*/ 63 h 113"/>
                  <a:gd name="T76" fmla="*/ 100 w 120"/>
                  <a:gd name="T77" fmla="*/ 67 h 113"/>
                  <a:gd name="T78" fmla="*/ 94 w 120"/>
                  <a:gd name="T79" fmla="*/ 79 h 113"/>
                  <a:gd name="T80" fmla="*/ 92 w 120"/>
                  <a:gd name="T81" fmla="*/ 89 h 113"/>
                  <a:gd name="T82" fmla="*/ 87 w 120"/>
                  <a:gd name="T83" fmla="*/ 87 h 113"/>
                  <a:gd name="T84" fmla="*/ 79 w 120"/>
                  <a:gd name="T85" fmla="*/ 70 h 113"/>
                  <a:gd name="T86" fmla="*/ 84 w 120"/>
                  <a:gd name="T87" fmla="*/ 58 h 113"/>
                  <a:gd name="T88" fmla="*/ 85 w 120"/>
                  <a:gd name="T89" fmla="*/ 54 h 113"/>
                  <a:gd name="T90" fmla="*/ 73 w 120"/>
                  <a:gd name="T91" fmla="*/ 57 h 113"/>
                  <a:gd name="T92" fmla="*/ 73 w 120"/>
                  <a:gd name="T93" fmla="*/ 61 h 113"/>
                  <a:gd name="T94" fmla="*/ 72 w 120"/>
                  <a:gd name="T95" fmla="*/ 69 h 113"/>
                  <a:gd name="T96" fmla="*/ 66 w 120"/>
                  <a:gd name="T97" fmla="*/ 71 h 113"/>
                  <a:gd name="T98" fmla="*/ 68 w 120"/>
                  <a:gd name="T99" fmla="*/ 74 h 113"/>
                  <a:gd name="T100" fmla="*/ 71 w 120"/>
                  <a:gd name="T101" fmla="*/ 79 h 113"/>
                  <a:gd name="T102" fmla="*/ 65 w 120"/>
                  <a:gd name="T103" fmla="*/ 90 h 113"/>
                  <a:gd name="T104" fmla="*/ 62 w 120"/>
                  <a:gd name="T105" fmla="*/ 100 h 113"/>
                  <a:gd name="T106" fmla="*/ 60 w 120"/>
                  <a:gd name="T107" fmla="*/ 100 h 113"/>
                  <a:gd name="T108" fmla="*/ 55 w 120"/>
                  <a:gd name="T109" fmla="*/ 89 h 113"/>
                  <a:gd name="T110" fmla="*/ 53 w 120"/>
                  <a:gd name="T111" fmla="*/ 95 h 113"/>
                  <a:gd name="T112" fmla="*/ 52 w 120"/>
                  <a:gd name="T113" fmla="*/ 97 h 113"/>
                  <a:gd name="T114" fmla="*/ 55 w 120"/>
                  <a:gd name="T115" fmla="*/ 106 h 113"/>
                  <a:gd name="T116" fmla="*/ 49 w 120"/>
                  <a:gd name="T117" fmla="*/ 111 h 113"/>
                  <a:gd name="T118" fmla="*/ 45 w 120"/>
                  <a:gd name="T119" fmla="*/ 11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0" h="113">
                    <a:moveTo>
                      <a:pt x="43" y="113"/>
                    </a:moveTo>
                    <a:lnTo>
                      <a:pt x="43" y="113"/>
                    </a:lnTo>
                    <a:lnTo>
                      <a:pt x="43" y="113"/>
                    </a:lnTo>
                    <a:lnTo>
                      <a:pt x="43" y="111"/>
                    </a:lnTo>
                    <a:lnTo>
                      <a:pt x="42" y="109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34" y="103"/>
                    </a:lnTo>
                    <a:lnTo>
                      <a:pt x="34" y="102"/>
                    </a:lnTo>
                    <a:lnTo>
                      <a:pt x="34" y="99"/>
                    </a:lnTo>
                    <a:lnTo>
                      <a:pt x="34" y="99"/>
                    </a:lnTo>
                    <a:lnTo>
                      <a:pt x="36" y="97"/>
                    </a:lnTo>
                    <a:lnTo>
                      <a:pt x="36" y="95"/>
                    </a:lnTo>
                    <a:lnTo>
                      <a:pt x="36" y="93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0" y="95"/>
                    </a:lnTo>
                    <a:lnTo>
                      <a:pt x="30" y="96"/>
                    </a:lnTo>
                    <a:lnTo>
                      <a:pt x="29" y="97"/>
                    </a:lnTo>
                    <a:lnTo>
                      <a:pt x="29" y="97"/>
                    </a:lnTo>
                    <a:lnTo>
                      <a:pt x="29" y="105"/>
                    </a:lnTo>
                    <a:lnTo>
                      <a:pt x="27" y="10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3" y="103"/>
                    </a:lnTo>
                    <a:lnTo>
                      <a:pt x="21" y="102"/>
                    </a:lnTo>
                    <a:lnTo>
                      <a:pt x="20" y="102"/>
                    </a:lnTo>
                    <a:lnTo>
                      <a:pt x="20" y="102"/>
                    </a:lnTo>
                    <a:lnTo>
                      <a:pt x="16" y="109"/>
                    </a:lnTo>
                    <a:lnTo>
                      <a:pt x="13" y="111"/>
                    </a:lnTo>
                    <a:lnTo>
                      <a:pt x="11" y="112"/>
                    </a:lnTo>
                    <a:lnTo>
                      <a:pt x="10" y="111"/>
                    </a:lnTo>
                    <a:lnTo>
                      <a:pt x="10" y="111"/>
                    </a:lnTo>
                    <a:lnTo>
                      <a:pt x="8" y="109"/>
                    </a:lnTo>
                    <a:lnTo>
                      <a:pt x="7" y="106"/>
                    </a:lnTo>
                    <a:lnTo>
                      <a:pt x="7" y="106"/>
                    </a:lnTo>
                    <a:lnTo>
                      <a:pt x="5" y="105"/>
                    </a:lnTo>
                    <a:lnTo>
                      <a:pt x="5" y="105"/>
                    </a:lnTo>
                    <a:lnTo>
                      <a:pt x="4" y="105"/>
                    </a:lnTo>
                    <a:lnTo>
                      <a:pt x="4" y="103"/>
                    </a:lnTo>
                    <a:lnTo>
                      <a:pt x="7" y="100"/>
                    </a:lnTo>
                    <a:lnTo>
                      <a:pt x="7" y="100"/>
                    </a:lnTo>
                    <a:lnTo>
                      <a:pt x="10" y="97"/>
                    </a:lnTo>
                    <a:lnTo>
                      <a:pt x="11" y="95"/>
                    </a:lnTo>
                    <a:lnTo>
                      <a:pt x="11" y="93"/>
                    </a:lnTo>
                    <a:lnTo>
                      <a:pt x="10" y="93"/>
                    </a:lnTo>
                    <a:lnTo>
                      <a:pt x="10" y="93"/>
                    </a:lnTo>
                    <a:lnTo>
                      <a:pt x="4" y="97"/>
                    </a:lnTo>
                    <a:lnTo>
                      <a:pt x="1" y="97"/>
                    </a:lnTo>
                    <a:lnTo>
                      <a:pt x="0" y="97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3" y="92"/>
                    </a:lnTo>
                    <a:lnTo>
                      <a:pt x="5" y="86"/>
                    </a:lnTo>
                    <a:lnTo>
                      <a:pt x="10" y="80"/>
                    </a:lnTo>
                    <a:lnTo>
                      <a:pt x="10" y="80"/>
                    </a:lnTo>
                    <a:lnTo>
                      <a:pt x="13" y="79"/>
                    </a:lnTo>
                    <a:lnTo>
                      <a:pt x="16" y="79"/>
                    </a:lnTo>
                    <a:lnTo>
                      <a:pt x="18" y="80"/>
                    </a:lnTo>
                    <a:lnTo>
                      <a:pt x="21" y="79"/>
                    </a:lnTo>
                    <a:lnTo>
                      <a:pt x="21" y="79"/>
                    </a:lnTo>
                    <a:lnTo>
                      <a:pt x="27" y="69"/>
                    </a:lnTo>
                    <a:lnTo>
                      <a:pt x="30" y="63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7" y="55"/>
                    </a:lnTo>
                    <a:lnTo>
                      <a:pt x="40" y="53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43" y="44"/>
                    </a:lnTo>
                    <a:lnTo>
                      <a:pt x="50" y="34"/>
                    </a:lnTo>
                    <a:lnTo>
                      <a:pt x="56" y="24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6" y="16"/>
                    </a:lnTo>
                    <a:lnTo>
                      <a:pt x="69" y="16"/>
                    </a:lnTo>
                    <a:lnTo>
                      <a:pt x="73" y="16"/>
                    </a:lnTo>
                    <a:lnTo>
                      <a:pt x="76" y="15"/>
                    </a:lnTo>
                    <a:lnTo>
                      <a:pt x="76" y="15"/>
                    </a:lnTo>
                    <a:lnTo>
                      <a:pt x="81" y="15"/>
                    </a:lnTo>
                    <a:lnTo>
                      <a:pt x="88" y="15"/>
                    </a:lnTo>
                    <a:lnTo>
                      <a:pt x="94" y="16"/>
                    </a:lnTo>
                    <a:lnTo>
                      <a:pt x="98" y="16"/>
                    </a:lnTo>
                    <a:lnTo>
                      <a:pt x="98" y="16"/>
                    </a:lnTo>
                    <a:lnTo>
                      <a:pt x="97" y="15"/>
                    </a:lnTo>
                    <a:lnTo>
                      <a:pt x="95" y="13"/>
                    </a:lnTo>
                    <a:lnTo>
                      <a:pt x="92" y="11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8" y="2"/>
                    </a:lnTo>
                    <a:lnTo>
                      <a:pt x="101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14" y="9"/>
                    </a:lnTo>
                    <a:lnTo>
                      <a:pt x="118" y="13"/>
                    </a:lnTo>
                    <a:lnTo>
                      <a:pt x="120" y="16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10" y="25"/>
                    </a:lnTo>
                    <a:lnTo>
                      <a:pt x="104" y="29"/>
                    </a:lnTo>
                    <a:lnTo>
                      <a:pt x="102" y="31"/>
                    </a:lnTo>
                    <a:lnTo>
                      <a:pt x="102" y="32"/>
                    </a:lnTo>
                    <a:lnTo>
                      <a:pt x="102" y="32"/>
                    </a:lnTo>
                    <a:lnTo>
                      <a:pt x="108" y="38"/>
                    </a:lnTo>
                    <a:lnTo>
                      <a:pt x="111" y="41"/>
                    </a:lnTo>
                    <a:lnTo>
                      <a:pt x="111" y="42"/>
                    </a:lnTo>
                    <a:lnTo>
                      <a:pt x="111" y="42"/>
                    </a:lnTo>
                    <a:lnTo>
                      <a:pt x="108" y="44"/>
                    </a:lnTo>
                    <a:lnTo>
                      <a:pt x="107" y="45"/>
                    </a:lnTo>
                    <a:lnTo>
                      <a:pt x="107" y="47"/>
                    </a:lnTo>
                    <a:lnTo>
                      <a:pt x="107" y="47"/>
                    </a:lnTo>
                    <a:lnTo>
                      <a:pt x="108" y="57"/>
                    </a:lnTo>
                    <a:lnTo>
                      <a:pt x="108" y="57"/>
                    </a:lnTo>
                    <a:lnTo>
                      <a:pt x="105" y="63"/>
                    </a:lnTo>
                    <a:lnTo>
                      <a:pt x="104" y="64"/>
                    </a:lnTo>
                    <a:lnTo>
                      <a:pt x="100" y="67"/>
                    </a:lnTo>
                    <a:lnTo>
                      <a:pt x="100" y="67"/>
                    </a:lnTo>
                    <a:lnTo>
                      <a:pt x="97" y="69"/>
                    </a:lnTo>
                    <a:lnTo>
                      <a:pt x="95" y="71"/>
                    </a:lnTo>
                    <a:lnTo>
                      <a:pt x="94" y="79"/>
                    </a:lnTo>
                    <a:lnTo>
                      <a:pt x="94" y="79"/>
                    </a:lnTo>
                    <a:lnTo>
                      <a:pt x="94" y="86"/>
                    </a:lnTo>
                    <a:lnTo>
                      <a:pt x="92" y="89"/>
                    </a:lnTo>
                    <a:lnTo>
                      <a:pt x="88" y="89"/>
                    </a:lnTo>
                    <a:lnTo>
                      <a:pt x="88" y="89"/>
                    </a:lnTo>
                    <a:lnTo>
                      <a:pt x="87" y="87"/>
                    </a:lnTo>
                    <a:lnTo>
                      <a:pt x="85" y="84"/>
                    </a:lnTo>
                    <a:lnTo>
                      <a:pt x="81" y="77"/>
                    </a:lnTo>
                    <a:lnTo>
                      <a:pt x="79" y="70"/>
                    </a:lnTo>
                    <a:lnTo>
                      <a:pt x="79" y="66"/>
                    </a:lnTo>
                    <a:lnTo>
                      <a:pt x="79" y="66"/>
                    </a:lnTo>
                    <a:lnTo>
                      <a:pt x="84" y="58"/>
                    </a:lnTo>
                    <a:lnTo>
                      <a:pt x="85" y="55"/>
                    </a:lnTo>
                    <a:lnTo>
                      <a:pt x="85" y="54"/>
                    </a:lnTo>
                    <a:lnTo>
                      <a:pt x="85" y="54"/>
                    </a:lnTo>
                    <a:lnTo>
                      <a:pt x="79" y="54"/>
                    </a:lnTo>
                    <a:lnTo>
                      <a:pt x="75" y="55"/>
                    </a:lnTo>
                    <a:lnTo>
                      <a:pt x="73" y="57"/>
                    </a:lnTo>
                    <a:lnTo>
                      <a:pt x="73" y="57"/>
                    </a:lnTo>
                    <a:lnTo>
                      <a:pt x="73" y="58"/>
                    </a:lnTo>
                    <a:lnTo>
                      <a:pt x="73" y="61"/>
                    </a:lnTo>
                    <a:lnTo>
                      <a:pt x="73" y="67"/>
                    </a:lnTo>
                    <a:lnTo>
                      <a:pt x="73" y="67"/>
                    </a:lnTo>
                    <a:lnTo>
                      <a:pt x="72" y="69"/>
                    </a:lnTo>
                    <a:lnTo>
                      <a:pt x="69" y="70"/>
                    </a:lnTo>
                    <a:lnTo>
                      <a:pt x="68" y="70"/>
                    </a:lnTo>
                    <a:lnTo>
                      <a:pt x="66" y="71"/>
                    </a:lnTo>
                    <a:lnTo>
                      <a:pt x="66" y="71"/>
                    </a:lnTo>
                    <a:lnTo>
                      <a:pt x="66" y="73"/>
                    </a:lnTo>
                    <a:lnTo>
                      <a:pt x="68" y="74"/>
                    </a:lnTo>
                    <a:lnTo>
                      <a:pt x="69" y="77"/>
                    </a:lnTo>
                    <a:lnTo>
                      <a:pt x="71" y="79"/>
                    </a:lnTo>
                    <a:lnTo>
                      <a:pt x="71" y="79"/>
                    </a:lnTo>
                    <a:lnTo>
                      <a:pt x="69" y="82"/>
                    </a:lnTo>
                    <a:lnTo>
                      <a:pt x="68" y="86"/>
                    </a:lnTo>
                    <a:lnTo>
                      <a:pt x="65" y="90"/>
                    </a:lnTo>
                    <a:lnTo>
                      <a:pt x="65" y="90"/>
                    </a:lnTo>
                    <a:lnTo>
                      <a:pt x="63" y="97"/>
                    </a:lnTo>
                    <a:lnTo>
                      <a:pt x="62" y="100"/>
                    </a:lnTo>
                    <a:lnTo>
                      <a:pt x="62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92"/>
                    </a:lnTo>
                    <a:lnTo>
                      <a:pt x="55" y="89"/>
                    </a:lnTo>
                    <a:lnTo>
                      <a:pt x="55" y="89"/>
                    </a:lnTo>
                    <a:lnTo>
                      <a:pt x="55" y="89"/>
                    </a:lnTo>
                    <a:lnTo>
                      <a:pt x="55" y="89"/>
                    </a:lnTo>
                    <a:lnTo>
                      <a:pt x="53" y="95"/>
                    </a:lnTo>
                    <a:lnTo>
                      <a:pt x="52" y="96"/>
                    </a:lnTo>
                    <a:lnTo>
                      <a:pt x="52" y="97"/>
                    </a:lnTo>
                    <a:lnTo>
                      <a:pt x="52" y="97"/>
                    </a:lnTo>
                    <a:lnTo>
                      <a:pt x="55" y="102"/>
                    </a:lnTo>
                    <a:lnTo>
                      <a:pt x="55" y="103"/>
                    </a:lnTo>
                    <a:lnTo>
                      <a:pt x="55" y="106"/>
                    </a:lnTo>
                    <a:lnTo>
                      <a:pt x="55" y="106"/>
                    </a:lnTo>
                    <a:lnTo>
                      <a:pt x="52" y="109"/>
                    </a:lnTo>
                    <a:lnTo>
                      <a:pt x="49" y="111"/>
                    </a:lnTo>
                    <a:lnTo>
                      <a:pt x="49" y="111"/>
                    </a:lnTo>
                    <a:lnTo>
                      <a:pt x="46" y="111"/>
                    </a:lnTo>
                    <a:lnTo>
                      <a:pt x="45" y="111"/>
                    </a:lnTo>
                    <a:lnTo>
                      <a:pt x="43" y="11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52" name="Freeform 1408"/>
              <p:cNvSpPr>
                <a:spLocks/>
              </p:cNvSpPr>
              <p:nvPr/>
            </p:nvSpPr>
            <p:spPr bwMode="auto">
              <a:xfrm>
                <a:off x="2857612" y="1357415"/>
                <a:ext cx="281939" cy="160260"/>
              </a:xfrm>
              <a:custGeom>
                <a:avLst/>
                <a:gdLst>
                  <a:gd name="T0" fmla="*/ 272 w 285"/>
                  <a:gd name="T1" fmla="*/ 135 h 162"/>
                  <a:gd name="T2" fmla="*/ 255 w 285"/>
                  <a:gd name="T3" fmla="*/ 125 h 162"/>
                  <a:gd name="T4" fmla="*/ 264 w 285"/>
                  <a:gd name="T5" fmla="*/ 139 h 162"/>
                  <a:gd name="T6" fmla="*/ 240 w 285"/>
                  <a:gd name="T7" fmla="*/ 152 h 162"/>
                  <a:gd name="T8" fmla="*/ 226 w 285"/>
                  <a:gd name="T9" fmla="*/ 148 h 162"/>
                  <a:gd name="T10" fmla="*/ 216 w 285"/>
                  <a:gd name="T11" fmla="*/ 143 h 162"/>
                  <a:gd name="T12" fmla="*/ 200 w 285"/>
                  <a:gd name="T13" fmla="*/ 158 h 162"/>
                  <a:gd name="T14" fmla="*/ 158 w 285"/>
                  <a:gd name="T15" fmla="*/ 161 h 162"/>
                  <a:gd name="T16" fmla="*/ 136 w 285"/>
                  <a:gd name="T17" fmla="*/ 152 h 162"/>
                  <a:gd name="T18" fmla="*/ 128 w 285"/>
                  <a:gd name="T19" fmla="*/ 143 h 162"/>
                  <a:gd name="T20" fmla="*/ 122 w 285"/>
                  <a:gd name="T21" fmla="*/ 143 h 162"/>
                  <a:gd name="T22" fmla="*/ 107 w 285"/>
                  <a:gd name="T23" fmla="*/ 151 h 162"/>
                  <a:gd name="T24" fmla="*/ 94 w 285"/>
                  <a:gd name="T25" fmla="*/ 139 h 162"/>
                  <a:gd name="T26" fmla="*/ 87 w 285"/>
                  <a:gd name="T27" fmla="*/ 145 h 162"/>
                  <a:gd name="T28" fmla="*/ 75 w 285"/>
                  <a:gd name="T29" fmla="*/ 135 h 162"/>
                  <a:gd name="T30" fmla="*/ 74 w 285"/>
                  <a:gd name="T31" fmla="*/ 117 h 162"/>
                  <a:gd name="T32" fmla="*/ 78 w 285"/>
                  <a:gd name="T33" fmla="*/ 109 h 162"/>
                  <a:gd name="T34" fmla="*/ 77 w 285"/>
                  <a:gd name="T35" fmla="*/ 99 h 162"/>
                  <a:gd name="T36" fmla="*/ 78 w 285"/>
                  <a:gd name="T37" fmla="*/ 77 h 162"/>
                  <a:gd name="T38" fmla="*/ 80 w 285"/>
                  <a:gd name="T39" fmla="*/ 62 h 162"/>
                  <a:gd name="T40" fmla="*/ 68 w 285"/>
                  <a:gd name="T41" fmla="*/ 51 h 162"/>
                  <a:gd name="T42" fmla="*/ 64 w 285"/>
                  <a:gd name="T43" fmla="*/ 45 h 162"/>
                  <a:gd name="T44" fmla="*/ 46 w 285"/>
                  <a:gd name="T45" fmla="*/ 51 h 162"/>
                  <a:gd name="T46" fmla="*/ 33 w 285"/>
                  <a:gd name="T47" fmla="*/ 51 h 162"/>
                  <a:gd name="T48" fmla="*/ 13 w 285"/>
                  <a:gd name="T49" fmla="*/ 25 h 162"/>
                  <a:gd name="T50" fmla="*/ 2 w 285"/>
                  <a:gd name="T51" fmla="*/ 12 h 162"/>
                  <a:gd name="T52" fmla="*/ 3 w 285"/>
                  <a:gd name="T53" fmla="*/ 6 h 162"/>
                  <a:gd name="T54" fmla="*/ 9 w 285"/>
                  <a:gd name="T55" fmla="*/ 2 h 162"/>
                  <a:gd name="T56" fmla="*/ 30 w 285"/>
                  <a:gd name="T57" fmla="*/ 2 h 162"/>
                  <a:gd name="T58" fmla="*/ 41 w 285"/>
                  <a:gd name="T59" fmla="*/ 7 h 162"/>
                  <a:gd name="T60" fmla="*/ 49 w 285"/>
                  <a:gd name="T61" fmla="*/ 9 h 162"/>
                  <a:gd name="T62" fmla="*/ 57 w 285"/>
                  <a:gd name="T63" fmla="*/ 26 h 162"/>
                  <a:gd name="T64" fmla="*/ 61 w 285"/>
                  <a:gd name="T65" fmla="*/ 28 h 162"/>
                  <a:gd name="T66" fmla="*/ 86 w 285"/>
                  <a:gd name="T67" fmla="*/ 25 h 162"/>
                  <a:gd name="T68" fmla="*/ 97 w 285"/>
                  <a:gd name="T69" fmla="*/ 33 h 162"/>
                  <a:gd name="T70" fmla="*/ 86 w 285"/>
                  <a:gd name="T71" fmla="*/ 33 h 162"/>
                  <a:gd name="T72" fmla="*/ 99 w 285"/>
                  <a:gd name="T73" fmla="*/ 41 h 162"/>
                  <a:gd name="T74" fmla="*/ 123 w 285"/>
                  <a:gd name="T75" fmla="*/ 52 h 162"/>
                  <a:gd name="T76" fmla="*/ 104 w 285"/>
                  <a:gd name="T77" fmla="*/ 58 h 162"/>
                  <a:gd name="T78" fmla="*/ 96 w 285"/>
                  <a:gd name="T79" fmla="*/ 58 h 162"/>
                  <a:gd name="T80" fmla="*/ 103 w 285"/>
                  <a:gd name="T81" fmla="*/ 62 h 162"/>
                  <a:gd name="T82" fmla="*/ 97 w 285"/>
                  <a:gd name="T83" fmla="*/ 68 h 162"/>
                  <a:gd name="T84" fmla="*/ 100 w 285"/>
                  <a:gd name="T85" fmla="*/ 73 h 162"/>
                  <a:gd name="T86" fmla="*/ 114 w 285"/>
                  <a:gd name="T87" fmla="*/ 73 h 162"/>
                  <a:gd name="T88" fmla="*/ 125 w 285"/>
                  <a:gd name="T89" fmla="*/ 84 h 162"/>
                  <a:gd name="T90" fmla="*/ 133 w 285"/>
                  <a:gd name="T91" fmla="*/ 84 h 162"/>
                  <a:gd name="T92" fmla="*/ 148 w 285"/>
                  <a:gd name="T93" fmla="*/ 90 h 162"/>
                  <a:gd name="T94" fmla="*/ 161 w 285"/>
                  <a:gd name="T95" fmla="*/ 93 h 162"/>
                  <a:gd name="T96" fmla="*/ 196 w 285"/>
                  <a:gd name="T97" fmla="*/ 81 h 162"/>
                  <a:gd name="T98" fmla="*/ 204 w 285"/>
                  <a:gd name="T99" fmla="*/ 83 h 162"/>
                  <a:gd name="T100" fmla="*/ 227 w 285"/>
                  <a:gd name="T101" fmla="*/ 84 h 162"/>
                  <a:gd name="T102" fmla="*/ 243 w 285"/>
                  <a:gd name="T103" fmla="*/ 90 h 162"/>
                  <a:gd name="T104" fmla="*/ 259 w 285"/>
                  <a:gd name="T105" fmla="*/ 91 h 162"/>
                  <a:gd name="T106" fmla="*/ 274 w 285"/>
                  <a:gd name="T107" fmla="*/ 107 h 162"/>
                  <a:gd name="T108" fmla="*/ 272 w 285"/>
                  <a:gd name="T109" fmla="*/ 117 h 162"/>
                  <a:gd name="T110" fmla="*/ 275 w 285"/>
                  <a:gd name="T111" fmla="*/ 123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5" h="162">
                    <a:moveTo>
                      <a:pt x="285" y="125"/>
                    </a:moveTo>
                    <a:lnTo>
                      <a:pt x="285" y="125"/>
                    </a:lnTo>
                    <a:lnTo>
                      <a:pt x="278" y="133"/>
                    </a:lnTo>
                    <a:lnTo>
                      <a:pt x="275" y="135"/>
                    </a:lnTo>
                    <a:lnTo>
                      <a:pt x="272" y="135"/>
                    </a:lnTo>
                    <a:lnTo>
                      <a:pt x="272" y="135"/>
                    </a:lnTo>
                    <a:lnTo>
                      <a:pt x="261" y="128"/>
                    </a:lnTo>
                    <a:lnTo>
                      <a:pt x="256" y="125"/>
                    </a:lnTo>
                    <a:lnTo>
                      <a:pt x="255" y="125"/>
                    </a:lnTo>
                    <a:lnTo>
                      <a:pt x="255" y="125"/>
                    </a:lnTo>
                    <a:lnTo>
                      <a:pt x="255" y="125"/>
                    </a:lnTo>
                    <a:lnTo>
                      <a:pt x="256" y="129"/>
                    </a:lnTo>
                    <a:lnTo>
                      <a:pt x="261" y="133"/>
                    </a:lnTo>
                    <a:lnTo>
                      <a:pt x="264" y="136"/>
                    </a:lnTo>
                    <a:lnTo>
                      <a:pt x="264" y="139"/>
                    </a:lnTo>
                    <a:lnTo>
                      <a:pt x="262" y="141"/>
                    </a:lnTo>
                    <a:lnTo>
                      <a:pt x="262" y="141"/>
                    </a:lnTo>
                    <a:lnTo>
                      <a:pt x="252" y="146"/>
                    </a:lnTo>
                    <a:lnTo>
                      <a:pt x="245" y="151"/>
                    </a:lnTo>
                    <a:lnTo>
                      <a:pt x="240" y="152"/>
                    </a:lnTo>
                    <a:lnTo>
                      <a:pt x="240" y="152"/>
                    </a:lnTo>
                    <a:lnTo>
                      <a:pt x="236" y="151"/>
                    </a:lnTo>
                    <a:lnTo>
                      <a:pt x="233" y="149"/>
                    </a:lnTo>
                    <a:lnTo>
                      <a:pt x="230" y="148"/>
                    </a:lnTo>
                    <a:lnTo>
                      <a:pt x="226" y="148"/>
                    </a:lnTo>
                    <a:lnTo>
                      <a:pt x="226" y="148"/>
                    </a:lnTo>
                    <a:lnTo>
                      <a:pt x="223" y="146"/>
                    </a:lnTo>
                    <a:lnTo>
                      <a:pt x="222" y="143"/>
                    </a:lnTo>
                    <a:lnTo>
                      <a:pt x="220" y="143"/>
                    </a:lnTo>
                    <a:lnTo>
                      <a:pt x="216" y="143"/>
                    </a:lnTo>
                    <a:lnTo>
                      <a:pt x="216" y="143"/>
                    </a:lnTo>
                    <a:lnTo>
                      <a:pt x="212" y="146"/>
                    </a:lnTo>
                    <a:lnTo>
                      <a:pt x="209" y="152"/>
                    </a:lnTo>
                    <a:lnTo>
                      <a:pt x="204" y="157"/>
                    </a:lnTo>
                    <a:lnTo>
                      <a:pt x="200" y="158"/>
                    </a:lnTo>
                    <a:lnTo>
                      <a:pt x="200" y="158"/>
                    </a:lnTo>
                    <a:lnTo>
                      <a:pt x="170" y="162"/>
                    </a:lnTo>
                    <a:lnTo>
                      <a:pt x="170" y="162"/>
                    </a:lnTo>
                    <a:lnTo>
                      <a:pt x="164" y="162"/>
                    </a:lnTo>
                    <a:lnTo>
                      <a:pt x="158" y="161"/>
                    </a:lnTo>
                    <a:lnTo>
                      <a:pt x="146" y="158"/>
                    </a:lnTo>
                    <a:lnTo>
                      <a:pt x="146" y="158"/>
                    </a:lnTo>
                    <a:lnTo>
                      <a:pt x="142" y="155"/>
                    </a:lnTo>
                    <a:lnTo>
                      <a:pt x="136" y="152"/>
                    </a:lnTo>
                    <a:lnTo>
                      <a:pt x="136" y="152"/>
                    </a:lnTo>
                    <a:lnTo>
                      <a:pt x="130" y="152"/>
                    </a:lnTo>
                    <a:lnTo>
                      <a:pt x="129" y="151"/>
                    </a:lnTo>
                    <a:lnTo>
                      <a:pt x="129" y="148"/>
                    </a:lnTo>
                    <a:lnTo>
                      <a:pt x="129" y="148"/>
                    </a:lnTo>
                    <a:lnTo>
                      <a:pt x="128" y="143"/>
                    </a:lnTo>
                    <a:lnTo>
                      <a:pt x="126" y="142"/>
                    </a:lnTo>
                    <a:lnTo>
                      <a:pt x="125" y="141"/>
                    </a:lnTo>
                    <a:lnTo>
                      <a:pt x="125" y="141"/>
                    </a:lnTo>
                    <a:lnTo>
                      <a:pt x="123" y="142"/>
                    </a:lnTo>
                    <a:lnTo>
                      <a:pt x="122" y="143"/>
                    </a:lnTo>
                    <a:lnTo>
                      <a:pt x="120" y="148"/>
                    </a:lnTo>
                    <a:lnTo>
                      <a:pt x="120" y="148"/>
                    </a:lnTo>
                    <a:lnTo>
                      <a:pt x="114" y="151"/>
                    </a:lnTo>
                    <a:lnTo>
                      <a:pt x="107" y="151"/>
                    </a:lnTo>
                    <a:lnTo>
                      <a:pt x="107" y="151"/>
                    </a:lnTo>
                    <a:lnTo>
                      <a:pt x="103" y="149"/>
                    </a:lnTo>
                    <a:lnTo>
                      <a:pt x="99" y="146"/>
                    </a:lnTo>
                    <a:lnTo>
                      <a:pt x="99" y="146"/>
                    </a:lnTo>
                    <a:lnTo>
                      <a:pt x="94" y="141"/>
                    </a:lnTo>
                    <a:lnTo>
                      <a:pt x="94" y="139"/>
                    </a:lnTo>
                    <a:lnTo>
                      <a:pt x="93" y="141"/>
                    </a:lnTo>
                    <a:lnTo>
                      <a:pt x="93" y="141"/>
                    </a:lnTo>
                    <a:lnTo>
                      <a:pt x="91" y="143"/>
                    </a:lnTo>
                    <a:lnTo>
                      <a:pt x="90" y="143"/>
                    </a:lnTo>
                    <a:lnTo>
                      <a:pt x="87" y="145"/>
                    </a:lnTo>
                    <a:lnTo>
                      <a:pt x="87" y="145"/>
                    </a:lnTo>
                    <a:lnTo>
                      <a:pt x="83" y="143"/>
                    </a:lnTo>
                    <a:lnTo>
                      <a:pt x="80" y="141"/>
                    </a:lnTo>
                    <a:lnTo>
                      <a:pt x="77" y="139"/>
                    </a:lnTo>
                    <a:lnTo>
                      <a:pt x="75" y="135"/>
                    </a:lnTo>
                    <a:lnTo>
                      <a:pt x="75" y="135"/>
                    </a:lnTo>
                    <a:lnTo>
                      <a:pt x="77" y="129"/>
                    </a:lnTo>
                    <a:lnTo>
                      <a:pt x="75" y="125"/>
                    </a:lnTo>
                    <a:lnTo>
                      <a:pt x="75" y="125"/>
                    </a:lnTo>
                    <a:lnTo>
                      <a:pt x="74" y="117"/>
                    </a:lnTo>
                    <a:lnTo>
                      <a:pt x="77" y="113"/>
                    </a:lnTo>
                    <a:lnTo>
                      <a:pt x="77" y="113"/>
                    </a:lnTo>
                    <a:lnTo>
                      <a:pt x="78" y="112"/>
                    </a:lnTo>
                    <a:lnTo>
                      <a:pt x="80" y="110"/>
                    </a:lnTo>
                    <a:lnTo>
                      <a:pt x="78" y="109"/>
                    </a:lnTo>
                    <a:lnTo>
                      <a:pt x="78" y="109"/>
                    </a:lnTo>
                    <a:lnTo>
                      <a:pt x="77" y="104"/>
                    </a:lnTo>
                    <a:lnTo>
                      <a:pt x="77" y="101"/>
                    </a:lnTo>
                    <a:lnTo>
                      <a:pt x="77" y="99"/>
                    </a:lnTo>
                    <a:lnTo>
                      <a:pt x="77" y="99"/>
                    </a:lnTo>
                    <a:lnTo>
                      <a:pt x="80" y="88"/>
                    </a:lnTo>
                    <a:lnTo>
                      <a:pt x="81" y="84"/>
                    </a:lnTo>
                    <a:lnTo>
                      <a:pt x="81" y="81"/>
                    </a:lnTo>
                    <a:lnTo>
                      <a:pt x="81" y="81"/>
                    </a:lnTo>
                    <a:lnTo>
                      <a:pt x="78" y="77"/>
                    </a:lnTo>
                    <a:lnTo>
                      <a:pt x="77" y="74"/>
                    </a:lnTo>
                    <a:lnTo>
                      <a:pt x="78" y="71"/>
                    </a:lnTo>
                    <a:lnTo>
                      <a:pt x="78" y="71"/>
                    </a:lnTo>
                    <a:lnTo>
                      <a:pt x="80" y="65"/>
                    </a:lnTo>
                    <a:lnTo>
                      <a:pt x="80" y="62"/>
                    </a:lnTo>
                    <a:lnTo>
                      <a:pt x="80" y="59"/>
                    </a:lnTo>
                    <a:lnTo>
                      <a:pt x="80" y="59"/>
                    </a:lnTo>
                    <a:lnTo>
                      <a:pt x="74" y="55"/>
                    </a:lnTo>
                    <a:lnTo>
                      <a:pt x="68" y="51"/>
                    </a:lnTo>
                    <a:lnTo>
                      <a:pt x="68" y="51"/>
                    </a:lnTo>
                    <a:lnTo>
                      <a:pt x="67" y="49"/>
                    </a:lnTo>
                    <a:lnTo>
                      <a:pt x="65" y="46"/>
                    </a:lnTo>
                    <a:lnTo>
                      <a:pt x="65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57" y="48"/>
                    </a:lnTo>
                    <a:lnTo>
                      <a:pt x="52" y="51"/>
                    </a:lnTo>
                    <a:lnTo>
                      <a:pt x="49" y="51"/>
                    </a:lnTo>
                    <a:lnTo>
                      <a:pt x="49" y="51"/>
                    </a:lnTo>
                    <a:lnTo>
                      <a:pt x="46" y="51"/>
                    </a:lnTo>
                    <a:lnTo>
                      <a:pt x="42" y="49"/>
                    </a:lnTo>
                    <a:lnTo>
                      <a:pt x="39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3" y="51"/>
                    </a:lnTo>
                    <a:lnTo>
                      <a:pt x="32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2" y="41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2" y="22"/>
                    </a:lnTo>
                    <a:lnTo>
                      <a:pt x="9" y="19"/>
                    </a:lnTo>
                    <a:lnTo>
                      <a:pt x="4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5" y="2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9" y="7"/>
                    </a:lnTo>
                    <a:lnTo>
                      <a:pt x="41" y="7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6" y="6"/>
                    </a:lnTo>
                    <a:lnTo>
                      <a:pt x="49" y="9"/>
                    </a:lnTo>
                    <a:lnTo>
                      <a:pt x="49" y="9"/>
                    </a:lnTo>
                    <a:lnTo>
                      <a:pt x="55" y="13"/>
                    </a:lnTo>
                    <a:lnTo>
                      <a:pt x="57" y="16"/>
                    </a:lnTo>
                    <a:lnTo>
                      <a:pt x="58" y="19"/>
                    </a:lnTo>
                    <a:lnTo>
                      <a:pt x="58" y="19"/>
                    </a:lnTo>
                    <a:lnTo>
                      <a:pt x="57" y="26"/>
                    </a:lnTo>
                    <a:lnTo>
                      <a:pt x="57" y="29"/>
                    </a:lnTo>
                    <a:lnTo>
                      <a:pt x="57" y="31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61" y="28"/>
                    </a:lnTo>
                    <a:lnTo>
                      <a:pt x="64" y="28"/>
                    </a:lnTo>
                    <a:lnTo>
                      <a:pt x="71" y="25"/>
                    </a:lnTo>
                    <a:lnTo>
                      <a:pt x="71" y="25"/>
                    </a:lnTo>
                    <a:lnTo>
                      <a:pt x="80" y="25"/>
                    </a:lnTo>
                    <a:lnTo>
                      <a:pt x="86" y="25"/>
                    </a:lnTo>
                    <a:lnTo>
                      <a:pt x="90" y="26"/>
                    </a:lnTo>
                    <a:lnTo>
                      <a:pt x="90" y="26"/>
                    </a:lnTo>
                    <a:lnTo>
                      <a:pt x="93" y="29"/>
                    </a:lnTo>
                    <a:lnTo>
                      <a:pt x="96" y="32"/>
                    </a:lnTo>
                    <a:lnTo>
                      <a:pt x="97" y="33"/>
                    </a:lnTo>
                    <a:lnTo>
                      <a:pt x="97" y="35"/>
                    </a:lnTo>
                    <a:lnTo>
                      <a:pt x="96" y="35"/>
                    </a:lnTo>
                    <a:lnTo>
                      <a:pt x="96" y="35"/>
                    </a:lnTo>
                    <a:lnTo>
                      <a:pt x="88" y="33"/>
                    </a:lnTo>
                    <a:lnTo>
                      <a:pt x="86" y="33"/>
                    </a:lnTo>
                    <a:lnTo>
                      <a:pt x="86" y="33"/>
                    </a:lnTo>
                    <a:lnTo>
                      <a:pt x="90" y="38"/>
                    </a:lnTo>
                    <a:lnTo>
                      <a:pt x="94" y="39"/>
                    </a:lnTo>
                    <a:lnTo>
                      <a:pt x="99" y="41"/>
                    </a:lnTo>
                    <a:lnTo>
                      <a:pt x="99" y="41"/>
                    </a:lnTo>
                    <a:lnTo>
                      <a:pt x="110" y="44"/>
                    </a:lnTo>
                    <a:lnTo>
                      <a:pt x="119" y="48"/>
                    </a:lnTo>
                    <a:lnTo>
                      <a:pt x="119" y="48"/>
                    </a:lnTo>
                    <a:lnTo>
                      <a:pt x="122" y="49"/>
                    </a:lnTo>
                    <a:lnTo>
                      <a:pt x="123" y="52"/>
                    </a:lnTo>
                    <a:lnTo>
                      <a:pt x="122" y="52"/>
                    </a:lnTo>
                    <a:lnTo>
                      <a:pt x="119" y="54"/>
                    </a:lnTo>
                    <a:lnTo>
                      <a:pt x="119" y="54"/>
                    </a:lnTo>
                    <a:lnTo>
                      <a:pt x="112" y="57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99" y="58"/>
                    </a:lnTo>
                    <a:lnTo>
                      <a:pt x="96" y="58"/>
                    </a:lnTo>
                    <a:lnTo>
                      <a:pt x="96" y="58"/>
                    </a:lnTo>
                    <a:lnTo>
                      <a:pt x="96" y="58"/>
                    </a:lnTo>
                    <a:lnTo>
                      <a:pt x="94" y="61"/>
                    </a:lnTo>
                    <a:lnTo>
                      <a:pt x="94" y="62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103" y="62"/>
                    </a:lnTo>
                    <a:lnTo>
                      <a:pt x="104" y="64"/>
                    </a:lnTo>
                    <a:lnTo>
                      <a:pt x="104" y="65"/>
                    </a:lnTo>
                    <a:lnTo>
                      <a:pt x="104" y="65"/>
                    </a:lnTo>
                    <a:lnTo>
                      <a:pt x="100" y="67"/>
                    </a:lnTo>
                    <a:lnTo>
                      <a:pt x="97" y="68"/>
                    </a:lnTo>
                    <a:lnTo>
                      <a:pt x="96" y="70"/>
                    </a:lnTo>
                    <a:lnTo>
                      <a:pt x="96" y="70"/>
                    </a:lnTo>
                    <a:lnTo>
                      <a:pt x="96" y="74"/>
                    </a:lnTo>
                    <a:lnTo>
                      <a:pt x="97" y="74"/>
                    </a:lnTo>
                    <a:lnTo>
                      <a:pt x="100" y="73"/>
                    </a:lnTo>
                    <a:lnTo>
                      <a:pt x="100" y="73"/>
                    </a:lnTo>
                    <a:lnTo>
                      <a:pt x="104" y="71"/>
                    </a:lnTo>
                    <a:lnTo>
                      <a:pt x="109" y="71"/>
                    </a:lnTo>
                    <a:lnTo>
                      <a:pt x="114" y="73"/>
                    </a:lnTo>
                    <a:lnTo>
                      <a:pt x="114" y="73"/>
                    </a:lnTo>
                    <a:lnTo>
                      <a:pt x="117" y="75"/>
                    </a:lnTo>
                    <a:lnTo>
                      <a:pt x="119" y="78"/>
                    </a:lnTo>
                    <a:lnTo>
                      <a:pt x="119" y="78"/>
                    </a:lnTo>
                    <a:lnTo>
                      <a:pt x="123" y="83"/>
                    </a:lnTo>
                    <a:lnTo>
                      <a:pt x="125" y="84"/>
                    </a:lnTo>
                    <a:lnTo>
                      <a:pt x="126" y="86"/>
                    </a:lnTo>
                    <a:lnTo>
                      <a:pt x="126" y="86"/>
                    </a:lnTo>
                    <a:lnTo>
                      <a:pt x="129" y="84"/>
                    </a:lnTo>
                    <a:lnTo>
                      <a:pt x="132" y="84"/>
                    </a:lnTo>
                    <a:lnTo>
                      <a:pt x="133" y="84"/>
                    </a:lnTo>
                    <a:lnTo>
                      <a:pt x="133" y="84"/>
                    </a:lnTo>
                    <a:lnTo>
                      <a:pt x="139" y="90"/>
                    </a:lnTo>
                    <a:lnTo>
                      <a:pt x="143" y="91"/>
                    </a:lnTo>
                    <a:lnTo>
                      <a:pt x="148" y="90"/>
                    </a:lnTo>
                    <a:lnTo>
                      <a:pt x="148" y="90"/>
                    </a:lnTo>
                    <a:lnTo>
                      <a:pt x="151" y="90"/>
                    </a:lnTo>
                    <a:lnTo>
                      <a:pt x="154" y="90"/>
                    </a:lnTo>
                    <a:lnTo>
                      <a:pt x="156" y="91"/>
                    </a:lnTo>
                    <a:lnTo>
                      <a:pt x="161" y="93"/>
                    </a:lnTo>
                    <a:lnTo>
                      <a:pt x="161" y="93"/>
                    </a:lnTo>
                    <a:lnTo>
                      <a:pt x="170" y="93"/>
                    </a:lnTo>
                    <a:lnTo>
                      <a:pt x="175" y="91"/>
                    </a:lnTo>
                    <a:lnTo>
                      <a:pt x="175" y="91"/>
                    </a:lnTo>
                    <a:lnTo>
                      <a:pt x="196" y="81"/>
                    </a:lnTo>
                    <a:lnTo>
                      <a:pt x="196" y="81"/>
                    </a:lnTo>
                    <a:lnTo>
                      <a:pt x="201" y="78"/>
                    </a:lnTo>
                    <a:lnTo>
                      <a:pt x="204" y="78"/>
                    </a:lnTo>
                    <a:lnTo>
                      <a:pt x="206" y="78"/>
                    </a:lnTo>
                    <a:lnTo>
                      <a:pt x="206" y="78"/>
                    </a:lnTo>
                    <a:lnTo>
                      <a:pt x="204" y="83"/>
                    </a:lnTo>
                    <a:lnTo>
                      <a:pt x="204" y="84"/>
                    </a:lnTo>
                    <a:lnTo>
                      <a:pt x="207" y="84"/>
                    </a:lnTo>
                    <a:lnTo>
                      <a:pt x="207" y="84"/>
                    </a:lnTo>
                    <a:lnTo>
                      <a:pt x="216" y="84"/>
                    </a:lnTo>
                    <a:lnTo>
                      <a:pt x="227" y="84"/>
                    </a:lnTo>
                    <a:lnTo>
                      <a:pt x="227" y="84"/>
                    </a:lnTo>
                    <a:lnTo>
                      <a:pt x="235" y="86"/>
                    </a:lnTo>
                    <a:lnTo>
                      <a:pt x="239" y="87"/>
                    </a:lnTo>
                    <a:lnTo>
                      <a:pt x="239" y="87"/>
                    </a:lnTo>
                    <a:lnTo>
                      <a:pt x="243" y="90"/>
                    </a:lnTo>
                    <a:lnTo>
                      <a:pt x="246" y="91"/>
                    </a:lnTo>
                    <a:lnTo>
                      <a:pt x="251" y="91"/>
                    </a:lnTo>
                    <a:lnTo>
                      <a:pt x="251" y="91"/>
                    </a:lnTo>
                    <a:lnTo>
                      <a:pt x="256" y="91"/>
                    </a:lnTo>
                    <a:lnTo>
                      <a:pt x="259" y="91"/>
                    </a:lnTo>
                    <a:lnTo>
                      <a:pt x="262" y="93"/>
                    </a:lnTo>
                    <a:lnTo>
                      <a:pt x="262" y="93"/>
                    </a:lnTo>
                    <a:lnTo>
                      <a:pt x="269" y="99"/>
                    </a:lnTo>
                    <a:lnTo>
                      <a:pt x="272" y="103"/>
                    </a:lnTo>
                    <a:lnTo>
                      <a:pt x="274" y="107"/>
                    </a:lnTo>
                    <a:lnTo>
                      <a:pt x="274" y="107"/>
                    </a:lnTo>
                    <a:lnTo>
                      <a:pt x="274" y="113"/>
                    </a:lnTo>
                    <a:lnTo>
                      <a:pt x="272" y="116"/>
                    </a:lnTo>
                    <a:lnTo>
                      <a:pt x="272" y="117"/>
                    </a:lnTo>
                    <a:lnTo>
                      <a:pt x="272" y="117"/>
                    </a:lnTo>
                    <a:lnTo>
                      <a:pt x="271" y="119"/>
                    </a:lnTo>
                    <a:lnTo>
                      <a:pt x="271" y="120"/>
                    </a:lnTo>
                    <a:lnTo>
                      <a:pt x="272" y="122"/>
                    </a:lnTo>
                    <a:lnTo>
                      <a:pt x="275" y="123"/>
                    </a:lnTo>
                    <a:lnTo>
                      <a:pt x="275" y="123"/>
                    </a:lnTo>
                    <a:lnTo>
                      <a:pt x="282" y="123"/>
                    </a:lnTo>
                    <a:lnTo>
                      <a:pt x="285" y="125"/>
                    </a:lnTo>
                    <a:lnTo>
                      <a:pt x="285" y="12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53" name="Freeform 1409"/>
              <p:cNvSpPr>
                <a:spLocks/>
              </p:cNvSpPr>
              <p:nvPr/>
            </p:nvSpPr>
            <p:spPr bwMode="auto">
              <a:xfrm>
                <a:off x="2857612" y="1357415"/>
                <a:ext cx="281939" cy="160260"/>
              </a:xfrm>
              <a:custGeom>
                <a:avLst/>
                <a:gdLst>
                  <a:gd name="T0" fmla="*/ 272 w 285"/>
                  <a:gd name="T1" fmla="*/ 135 h 162"/>
                  <a:gd name="T2" fmla="*/ 255 w 285"/>
                  <a:gd name="T3" fmla="*/ 125 h 162"/>
                  <a:gd name="T4" fmla="*/ 264 w 285"/>
                  <a:gd name="T5" fmla="*/ 139 h 162"/>
                  <a:gd name="T6" fmla="*/ 240 w 285"/>
                  <a:gd name="T7" fmla="*/ 152 h 162"/>
                  <a:gd name="T8" fmla="*/ 226 w 285"/>
                  <a:gd name="T9" fmla="*/ 148 h 162"/>
                  <a:gd name="T10" fmla="*/ 216 w 285"/>
                  <a:gd name="T11" fmla="*/ 143 h 162"/>
                  <a:gd name="T12" fmla="*/ 200 w 285"/>
                  <a:gd name="T13" fmla="*/ 158 h 162"/>
                  <a:gd name="T14" fmla="*/ 158 w 285"/>
                  <a:gd name="T15" fmla="*/ 161 h 162"/>
                  <a:gd name="T16" fmla="*/ 136 w 285"/>
                  <a:gd name="T17" fmla="*/ 152 h 162"/>
                  <a:gd name="T18" fmla="*/ 128 w 285"/>
                  <a:gd name="T19" fmla="*/ 143 h 162"/>
                  <a:gd name="T20" fmla="*/ 122 w 285"/>
                  <a:gd name="T21" fmla="*/ 143 h 162"/>
                  <a:gd name="T22" fmla="*/ 107 w 285"/>
                  <a:gd name="T23" fmla="*/ 151 h 162"/>
                  <a:gd name="T24" fmla="*/ 94 w 285"/>
                  <a:gd name="T25" fmla="*/ 139 h 162"/>
                  <a:gd name="T26" fmla="*/ 87 w 285"/>
                  <a:gd name="T27" fmla="*/ 145 h 162"/>
                  <a:gd name="T28" fmla="*/ 75 w 285"/>
                  <a:gd name="T29" fmla="*/ 135 h 162"/>
                  <a:gd name="T30" fmla="*/ 74 w 285"/>
                  <a:gd name="T31" fmla="*/ 117 h 162"/>
                  <a:gd name="T32" fmla="*/ 78 w 285"/>
                  <a:gd name="T33" fmla="*/ 109 h 162"/>
                  <a:gd name="T34" fmla="*/ 77 w 285"/>
                  <a:gd name="T35" fmla="*/ 99 h 162"/>
                  <a:gd name="T36" fmla="*/ 78 w 285"/>
                  <a:gd name="T37" fmla="*/ 77 h 162"/>
                  <a:gd name="T38" fmla="*/ 80 w 285"/>
                  <a:gd name="T39" fmla="*/ 62 h 162"/>
                  <a:gd name="T40" fmla="*/ 68 w 285"/>
                  <a:gd name="T41" fmla="*/ 51 h 162"/>
                  <a:gd name="T42" fmla="*/ 64 w 285"/>
                  <a:gd name="T43" fmla="*/ 45 h 162"/>
                  <a:gd name="T44" fmla="*/ 46 w 285"/>
                  <a:gd name="T45" fmla="*/ 51 h 162"/>
                  <a:gd name="T46" fmla="*/ 33 w 285"/>
                  <a:gd name="T47" fmla="*/ 51 h 162"/>
                  <a:gd name="T48" fmla="*/ 13 w 285"/>
                  <a:gd name="T49" fmla="*/ 25 h 162"/>
                  <a:gd name="T50" fmla="*/ 2 w 285"/>
                  <a:gd name="T51" fmla="*/ 12 h 162"/>
                  <a:gd name="T52" fmla="*/ 3 w 285"/>
                  <a:gd name="T53" fmla="*/ 6 h 162"/>
                  <a:gd name="T54" fmla="*/ 9 w 285"/>
                  <a:gd name="T55" fmla="*/ 2 h 162"/>
                  <a:gd name="T56" fmla="*/ 30 w 285"/>
                  <a:gd name="T57" fmla="*/ 2 h 162"/>
                  <a:gd name="T58" fmla="*/ 41 w 285"/>
                  <a:gd name="T59" fmla="*/ 7 h 162"/>
                  <a:gd name="T60" fmla="*/ 49 w 285"/>
                  <a:gd name="T61" fmla="*/ 9 h 162"/>
                  <a:gd name="T62" fmla="*/ 57 w 285"/>
                  <a:gd name="T63" fmla="*/ 26 h 162"/>
                  <a:gd name="T64" fmla="*/ 61 w 285"/>
                  <a:gd name="T65" fmla="*/ 28 h 162"/>
                  <a:gd name="T66" fmla="*/ 86 w 285"/>
                  <a:gd name="T67" fmla="*/ 25 h 162"/>
                  <a:gd name="T68" fmla="*/ 97 w 285"/>
                  <a:gd name="T69" fmla="*/ 33 h 162"/>
                  <a:gd name="T70" fmla="*/ 86 w 285"/>
                  <a:gd name="T71" fmla="*/ 33 h 162"/>
                  <a:gd name="T72" fmla="*/ 99 w 285"/>
                  <a:gd name="T73" fmla="*/ 41 h 162"/>
                  <a:gd name="T74" fmla="*/ 123 w 285"/>
                  <a:gd name="T75" fmla="*/ 52 h 162"/>
                  <a:gd name="T76" fmla="*/ 104 w 285"/>
                  <a:gd name="T77" fmla="*/ 58 h 162"/>
                  <a:gd name="T78" fmla="*/ 96 w 285"/>
                  <a:gd name="T79" fmla="*/ 58 h 162"/>
                  <a:gd name="T80" fmla="*/ 103 w 285"/>
                  <a:gd name="T81" fmla="*/ 62 h 162"/>
                  <a:gd name="T82" fmla="*/ 97 w 285"/>
                  <a:gd name="T83" fmla="*/ 68 h 162"/>
                  <a:gd name="T84" fmla="*/ 100 w 285"/>
                  <a:gd name="T85" fmla="*/ 73 h 162"/>
                  <a:gd name="T86" fmla="*/ 114 w 285"/>
                  <a:gd name="T87" fmla="*/ 73 h 162"/>
                  <a:gd name="T88" fmla="*/ 125 w 285"/>
                  <a:gd name="T89" fmla="*/ 84 h 162"/>
                  <a:gd name="T90" fmla="*/ 133 w 285"/>
                  <a:gd name="T91" fmla="*/ 84 h 162"/>
                  <a:gd name="T92" fmla="*/ 148 w 285"/>
                  <a:gd name="T93" fmla="*/ 90 h 162"/>
                  <a:gd name="T94" fmla="*/ 161 w 285"/>
                  <a:gd name="T95" fmla="*/ 93 h 162"/>
                  <a:gd name="T96" fmla="*/ 196 w 285"/>
                  <a:gd name="T97" fmla="*/ 81 h 162"/>
                  <a:gd name="T98" fmla="*/ 204 w 285"/>
                  <a:gd name="T99" fmla="*/ 83 h 162"/>
                  <a:gd name="T100" fmla="*/ 227 w 285"/>
                  <a:gd name="T101" fmla="*/ 84 h 162"/>
                  <a:gd name="T102" fmla="*/ 243 w 285"/>
                  <a:gd name="T103" fmla="*/ 90 h 162"/>
                  <a:gd name="T104" fmla="*/ 259 w 285"/>
                  <a:gd name="T105" fmla="*/ 91 h 162"/>
                  <a:gd name="T106" fmla="*/ 274 w 285"/>
                  <a:gd name="T107" fmla="*/ 107 h 162"/>
                  <a:gd name="T108" fmla="*/ 272 w 285"/>
                  <a:gd name="T109" fmla="*/ 117 h 162"/>
                  <a:gd name="T110" fmla="*/ 275 w 285"/>
                  <a:gd name="T111" fmla="*/ 123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5" h="162">
                    <a:moveTo>
                      <a:pt x="285" y="125"/>
                    </a:moveTo>
                    <a:lnTo>
                      <a:pt x="285" y="125"/>
                    </a:lnTo>
                    <a:lnTo>
                      <a:pt x="278" y="133"/>
                    </a:lnTo>
                    <a:lnTo>
                      <a:pt x="275" y="135"/>
                    </a:lnTo>
                    <a:lnTo>
                      <a:pt x="272" y="135"/>
                    </a:lnTo>
                    <a:lnTo>
                      <a:pt x="272" y="135"/>
                    </a:lnTo>
                    <a:lnTo>
                      <a:pt x="261" y="128"/>
                    </a:lnTo>
                    <a:lnTo>
                      <a:pt x="256" y="125"/>
                    </a:lnTo>
                    <a:lnTo>
                      <a:pt x="255" y="125"/>
                    </a:lnTo>
                    <a:lnTo>
                      <a:pt x="255" y="125"/>
                    </a:lnTo>
                    <a:lnTo>
                      <a:pt x="255" y="125"/>
                    </a:lnTo>
                    <a:lnTo>
                      <a:pt x="256" y="129"/>
                    </a:lnTo>
                    <a:lnTo>
                      <a:pt x="261" y="133"/>
                    </a:lnTo>
                    <a:lnTo>
                      <a:pt x="264" y="136"/>
                    </a:lnTo>
                    <a:lnTo>
                      <a:pt x="264" y="139"/>
                    </a:lnTo>
                    <a:lnTo>
                      <a:pt x="262" y="141"/>
                    </a:lnTo>
                    <a:lnTo>
                      <a:pt x="262" y="141"/>
                    </a:lnTo>
                    <a:lnTo>
                      <a:pt x="252" y="146"/>
                    </a:lnTo>
                    <a:lnTo>
                      <a:pt x="245" y="151"/>
                    </a:lnTo>
                    <a:lnTo>
                      <a:pt x="240" y="152"/>
                    </a:lnTo>
                    <a:lnTo>
                      <a:pt x="240" y="152"/>
                    </a:lnTo>
                    <a:lnTo>
                      <a:pt x="236" y="151"/>
                    </a:lnTo>
                    <a:lnTo>
                      <a:pt x="233" y="149"/>
                    </a:lnTo>
                    <a:lnTo>
                      <a:pt x="230" y="148"/>
                    </a:lnTo>
                    <a:lnTo>
                      <a:pt x="226" y="148"/>
                    </a:lnTo>
                    <a:lnTo>
                      <a:pt x="226" y="148"/>
                    </a:lnTo>
                    <a:lnTo>
                      <a:pt x="223" y="146"/>
                    </a:lnTo>
                    <a:lnTo>
                      <a:pt x="222" y="143"/>
                    </a:lnTo>
                    <a:lnTo>
                      <a:pt x="220" y="143"/>
                    </a:lnTo>
                    <a:lnTo>
                      <a:pt x="216" y="143"/>
                    </a:lnTo>
                    <a:lnTo>
                      <a:pt x="216" y="143"/>
                    </a:lnTo>
                    <a:lnTo>
                      <a:pt x="212" y="146"/>
                    </a:lnTo>
                    <a:lnTo>
                      <a:pt x="209" y="152"/>
                    </a:lnTo>
                    <a:lnTo>
                      <a:pt x="204" y="157"/>
                    </a:lnTo>
                    <a:lnTo>
                      <a:pt x="200" y="158"/>
                    </a:lnTo>
                    <a:lnTo>
                      <a:pt x="200" y="158"/>
                    </a:lnTo>
                    <a:lnTo>
                      <a:pt x="170" y="162"/>
                    </a:lnTo>
                    <a:lnTo>
                      <a:pt x="170" y="162"/>
                    </a:lnTo>
                    <a:lnTo>
                      <a:pt x="164" y="162"/>
                    </a:lnTo>
                    <a:lnTo>
                      <a:pt x="158" y="161"/>
                    </a:lnTo>
                    <a:lnTo>
                      <a:pt x="146" y="158"/>
                    </a:lnTo>
                    <a:lnTo>
                      <a:pt x="146" y="158"/>
                    </a:lnTo>
                    <a:lnTo>
                      <a:pt x="142" y="155"/>
                    </a:lnTo>
                    <a:lnTo>
                      <a:pt x="136" y="152"/>
                    </a:lnTo>
                    <a:lnTo>
                      <a:pt x="136" y="152"/>
                    </a:lnTo>
                    <a:lnTo>
                      <a:pt x="130" y="152"/>
                    </a:lnTo>
                    <a:lnTo>
                      <a:pt x="129" y="151"/>
                    </a:lnTo>
                    <a:lnTo>
                      <a:pt x="129" y="148"/>
                    </a:lnTo>
                    <a:lnTo>
                      <a:pt x="129" y="148"/>
                    </a:lnTo>
                    <a:lnTo>
                      <a:pt x="128" y="143"/>
                    </a:lnTo>
                    <a:lnTo>
                      <a:pt x="126" y="142"/>
                    </a:lnTo>
                    <a:lnTo>
                      <a:pt x="125" y="141"/>
                    </a:lnTo>
                    <a:lnTo>
                      <a:pt x="125" y="141"/>
                    </a:lnTo>
                    <a:lnTo>
                      <a:pt x="123" y="142"/>
                    </a:lnTo>
                    <a:lnTo>
                      <a:pt x="122" y="143"/>
                    </a:lnTo>
                    <a:lnTo>
                      <a:pt x="120" y="148"/>
                    </a:lnTo>
                    <a:lnTo>
                      <a:pt x="120" y="148"/>
                    </a:lnTo>
                    <a:lnTo>
                      <a:pt x="114" y="151"/>
                    </a:lnTo>
                    <a:lnTo>
                      <a:pt x="107" y="151"/>
                    </a:lnTo>
                    <a:lnTo>
                      <a:pt x="107" y="151"/>
                    </a:lnTo>
                    <a:lnTo>
                      <a:pt x="103" y="149"/>
                    </a:lnTo>
                    <a:lnTo>
                      <a:pt x="99" y="146"/>
                    </a:lnTo>
                    <a:lnTo>
                      <a:pt x="99" y="146"/>
                    </a:lnTo>
                    <a:lnTo>
                      <a:pt x="94" y="141"/>
                    </a:lnTo>
                    <a:lnTo>
                      <a:pt x="94" y="139"/>
                    </a:lnTo>
                    <a:lnTo>
                      <a:pt x="93" y="141"/>
                    </a:lnTo>
                    <a:lnTo>
                      <a:pt x="93" y="141"/>
                    </a:lnTo>
                    <a:lnTo>
                      <a:pt x="91" y="143"/>
                    </a:lnTo>
                    <a:lnTo>
                      <a:pt x="90" y="143"/>
                    </a:lnTo>
                    <a:lnTo>
                      <a:pt x="87" y="145"/>
                    </a:lnTo>
                    <a:lnTo>
                      <a:pt x="87" y="145"/>
                    </a:lnTo>
                    <a:lnTo>
                      <a:pt x="83" y="143"/>
                    </a:lnTo>
                    <a:lnTo>
                      <a:pt x="80" y="141"/>
                    </a:lnTo>
                    <a:lnTo>
                      <a:pt x="77" y="139"/>
                    </a:lnTo>
                    <a:lnTo>
                      <a:pt x="75" y="135"/>
                    </a:lnTo>
                    <a:lnTo>
                      <a:pt x="75" y="135"/>
                    </a:lnTo>
                    <a:lnTo>
                      <a:pt x="77" y="129"/>
                    </a:lnTo>
                    <a:lnTo>
                      <a:pt x="75" y="125"/>
                    </a:lnTo>
                    <a:lnTo>
                      <a:pt x="75" y="125"/>
                    </a:lnTo>
                    <a:lnTo>
                      <a:pt x="74" y="117"/>
                    </a:lnTo>
                    <a:lnTo>
                      <a:pt x="77" y="113"/>
                    </a:lnTo>
                    <a:lnTo>
                      <a:pt x="77" y="113"/>
                    </a:lnTo>
                    <a:lnTo>
                      <a:pt x="78" y="112"/>
                    </a:lnTo>
                    <a:lnTo>
                      <a:pt x="80" y="110"/>
                    </a:lnTo>
                    <a:lnTo>
                      <a:pt x="78" y="109"/>
                    </a:lnTo>
                    <a:lnTo>
                      <a:pt x="78" y="109"/>
                    </a:lnTo>
                    <a:lnTo>
                      <a:pt x="77" y="104"/>
                    </a:lnTo>
                    <a:lnTo>
                      <a:pt x="77" y="101"/>
                    </a:lnTo>
                    <a:lnTo>
                      <a:pt x="77" y="99"/>
                    </a:lnTo>
                    <a:lnTo>
                      <a:pt x="77" y="99"/>
                    </a:lnTo>
                    <a:lnTo>
                      <a:pt x="80" y="88"/>
                    </a:lnTo>
                    <a:lnTo>
                      <a:pt x="81" y="84"/>
                    </a:lnTo>
                    <a:lnTo>
                      <a:pt x="81" y="81"/>
                    </a:lnTo>
                    <a:lnTo>
                      <a:pt x="81" y="81"/>
                    </a:lnTo>
                    <a:lnTo>
                      <a:pt x="78" y="77"/>
                    </a:lnTo>
                    <a:lnTo>
                      <a:pt x="77" y="74"/>
                    </a:lnTo>
                    <a:lnTo>
                      <a:pt x="78" y="71"/>
                    </a:lnTo>
                    <a:lnTo>
                      <a:pt x="78" y="71"/>
                    </a:lnTo>
                    <a:lnTo>
                      <a:pt x="80" y="65"/>
                    </a:lnTo>
                    <a:lnTo>
                      <a:pt x="80" y="62"/>
                    </a:lnTo>
                    <a:lnTo>
                      <a:pt x="80" y="59"/>
                    </a:lnTo>
                    <a:lnTo>
                      <a:pt x="80" y="59"/>
                    </a:lnTo>
                    <a:lnTo>
                      <a:pt x="74" y="55"/>
                    </a:lnTo>
                    <a:lnTo>
                      <a:pt x="68" y="51"/>
                    </a:lnTo>
                    <a:lnTo>
                      <a:pt x="68" y="51"/>
                    </a:lnTo>
                    <a:lnTo>
                      <a:pt x="67" y="49"/>
                    </a:lnTo>
                    <a:lnTo>
                      <a:pt x="65" y="46"/>
                    </a:lnTo>
                    <a:lnTo>
                      <a:pt x="65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57" y="48"/>
                    </a:lnTo>
                    <a:lnTo>
                      <a:pt x="52" y="51"/>
                    </a:lnTo>
                    <a:lnTo>
                      <a:pt x="49" y="51"/>
                    </a:lnTo>
                    <a:lnTo>
                      <a:pt x="49" y="51"/>
                    </a:lnTo>
                    <a:lnTo>
                      <a:pt x="46" y="51"/>
                    </a:lnTo>
                    <a:lnTo>
                      <a:pt x="42" y="49"/>
                    </a:lnTo>
                    <a:lnTo>
                      <a:pt x="39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3" y="51"/>
                    </a:lnTo>
                    <a:lnTo>
                      <a:pt x="32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2" y="41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2" y="22"/>
                    </a:lnTo>
                    <a:lnTo>
                      <a:pt x="9" y="19"/>
                    </a:lnTo>
                    <a:lnTo>
                      <a:pt x="4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5" y="2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9" y="7"/>
                    </a:lnTo>
                    <a:lnTo>
                      <a:pt x="41" y="7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6" y="6"/>
                    </a:lnTo>
                    <a:lnTo>
                      <a:pt x="49" y="9"/>
                    </a:lnTo>
                    <a:lnTo>
                      <a:pt x="49" y="9"/>
                    </a:lnTo>
                    <a:lnTo>
                      <a:pt x="55" y="13"/>
                    </a:lnTo>
                    <a:lnTo>
                      <a:pt x="57" y="16"/>
                    </a:lnTo>
                    <a:lnTo>
                      <a:pt x="58" y="19"/>
                    </a:lnTo>
                    <a:lnTo>
                      <a:pt x="58" y="19"/>
                    </a:lnTo>
                    <a:lnTo>
                      <a:pt x="57" y="26"/>
                    </a:lnTo>
                    <a:lnTo>
                      <a:pt x="57" y="29"/>
                    </a:lnTo>
                    <a:lnTo>
                      <a:pt x="57" y="31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61" y="28"/>
                    </a:lnTo>
                    <a:lnTo>
                      <a:pt x="64" y="28"/>
                    </a:lnTo>
                    <a:lnTo>
                      <a:pt x="71" y="25"/>
                    </a:lnTo>
                    <a:lnTo>
                      <a:pt x="71" y="25"/>
                    </a:lnTo>
                    <a:lnTo>
                      <a:pt x="80" y="25"/>
                    </a:lnTo>
                    <a:lnTo>
                      <a:pt x="86" y="25"/>
                    </a:lnTo>
                    <a:lnTo>
                      <a:pt x="90" y="26"/>
                    </a:lnTo>
                    <a:lnTo>
                      <a:pt x="90" y="26"/>
                    </a:lnTo>
                    <a:lnTo>
                      <a:pt x="93" y="29"/>
                    </a:lnTo>
                    <a:lnTo>
                      <a:pt x="96" y="32"/>
                    </a:lnTo>
                    <a:lnTo>
                      <a:pt x="97" y="33"/>
                    </a:lnTo>
                    <a:lnTo>
                      <a:pt x="97" y="35"/>
                    </a:lnTo>
                    <a:lnTo>
                      <a:pt x="96" y="35"/>
                    </a:lnTo>
                    <a:lnTo>
                      <a:pt x="96" y="35"/>
                    </a:lnTo>
                    <a:lnTo>
                      <a:pt x="88" y="33"/>
                    </a:lnTo>
                    <a:lnTo>
                      <a:pt x="86" y="33"/>
                    </a:lnTo>
                    <a:lnTo>
                      <a:pt x="86" y="33"/>
                    </a:lnTo>
                    <a:lnTo>
                      <a:pt x="90" y="38"/>
                    </a:lnTo>
                    <a:lnTo>
                      <a:pt x="94" y="39"/>
                    </a:lnTo>
                    <a:lnTo>
                      <a:pt x="99" y="41"/>
                    </a:lnTo>
                    <a:lnTo>
                      <a:pt x="99" y="41"/>
                    </a:lnTo>
                    <a:lnTo>
                      <a:pt x="110" y="44"/>
                    </a:lnTo>
                    <a:lnTo>
                      <a:pt x="119" y="48"/>
                    </a:lnTo>
                    <a:lnTo>
                      <a:pt x="119" y="48"/>
                    </a:lnTo>
                    <a:lnTo>
                      <a:pt x="122" y="49"/>
                    </a:lnTo>
                    <a:lnTo>
                      <a:pt x="123" y="52"/>
                    </a:lnTo>
                    <a:lnTo>
                      <a:pt x="122" y="52"/>
                    </a:lnTo>
                    <a:lnTo>
                      <a:pt x="119" y="54"/>
                    </a:lnTo>
                    <a:lnTo>
                      <a:pt x="119" y="54"/>
                    </a:lnTo>
                    <a:lnTo>
                      <a:pt x="112" y="57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99" y="58"/>
                    </a:lnTo>
                    <a:lnTo>
                      <a:pt x="96" y="58"/>
                    </a:lnTo>
                    <a:lnTo>
                      <a:pt x="96" y="58"/>
                    </a:lnTo>
                    <a:lnTo>
                      <a:pt x="96" y="58"/>
                    </a:lnTo>
                    <a:lnTo>
                      <a:pt x="94" y="61"/>
                    </a:lnTo>
                    <a:lnTo>
                      <a:pt x="94" y="62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103" y="62"/>
                    </a:lnTo>
                    <a:lnTo>
                      <a:pt x="104" y="64"/>
                    </a:lnTo>
                    <a:lnTo>
                      <a:pt x="104" y="65"/>
                    </a:lnTo>
                    <a:lnTo>
                      <a:pt x="104" y="65"/>
                    </a:lnTo>
                    <a:lnTo>
                      <a:pt x="100" y="67"/>
                    </a:lnTo>
                    <a:lnTo>
                      <a:pt x="97" y="68"/>
                    </a:lnTo>
                    <a:lnTo>
                      <a:pt x="96" y="70"/>
                    </a:lnTo>
                    <a:lnTo>
                      <a:pt x="96" y="70"/>
                    </a:lnTo>
                    <a:lnTo>
                      <a:pt x="96" y="74"/>
                    </a:lnTo>
                    <a:lnTo>
                      <a:pt x="97" y="74"/>
                    </a:lnTo>
                    <a:lnTo>
                      <a:pt x="100" y="73"/>
                    </a:lnTo>
                    <a:lnTo>
                      <a:pt x="100" y="73"/>
                    </a:lnTo>
                    <a:lnTo>
                      <a:pt x="104" y="71"/>
                    </a:lnTo>
                    <a:lnTo>
                      <a:pt x="109" y="71"/>
                    </a:lnTo>
                    <a:lnTo>
                      <a:pt x="114" y="73"/>
                    </a:lnTo>
                    <a:lnTo>
                      <a:pt x="114" y="73"/>
                    </a:lnTo>
                    <a:lnTo>
                      <a:pt x="117" y="75"/>
                    </a:lnTo>
                    <a:lnTo>
                      <a:pt x="119" y="78"/>
                    </a:lnTo>
                    <a:lnTo>
                      <a:pt x="119" y="78"/>
                    </a:lnTo>
                    <a:lnTo>
                      <a:pt x="123" y="83"/>
                    </a:lnTo>
                    <a:lnTo>
                      <a:pt x="125" y="84"/>
                    </a:lnTo>
                    <a:lnTo>
                      <a:pt x="126" y="86"/>
                    </a:lnTo>
                    <a:lnTo>
                      <a:pt x="126" y="86"/>
                    </a:lnTo>
                    <a:lnTo>
                      <a:pt x="129" y="84"/>
                    </a:lnTo>
                    <a:lnTo>
                      <a:pt x="132" y="84"/>
                    </a:lnTo>
                    <a:lnTo>
                      <a:pt x="133" y="84"/>
                    </a:lnTo>
                    <a:lnTo>
                      <a:pt x="133" y="84"/>
                    </a:lnTo>
                    <a:lnTo>
                      <a:pt x="139" y="90"/>
                    </a:lnTo>
                    <a:lnTo>
                      <a:pt x="143" y="91"/>
                    </a:lnTo>
                    <a:lnTo>
                      <a:pt x="148" y="90"/>
                    </a:lnTo>
                    <a:lnTo>
                      <a:pt x="148" y="90"/>
                    </a:lnTo>
                    <a:lnTo>
                      <a:pt x="151" y="90"/>
                    </a:lnTo>
                    <a:lnTo>
                      <a:pt x="154" y="90"/>
                    </a:lnTo>
                    <a:lnTo>
                      <a:pt x="156" y="91"/>
                    </a:lnTo>
                    <a:lnTo>
                      <a:pt x="161" y="93"/>
                    </a:lnTo>
                    <a:lnTo>
                      <a:pt x="161" y="93"/>
                    </a:lnTo>
                    <a:lnTo>
                      <a:pt x="170" y="93"/>
                    </a:lnTo>
                    <a:lnTo>
                      <a:pt x="175" y="91"/>
                    </a:lnTo>
                    <a:lnTo>
                      <a:pt x="175" y="91"/>
                    </a:lnTo>
                    <a:lnTo>
                      <a:pt x="196" y="81"/>
                    </a:lnTo>
                    <a:lnTo>
                      <a:pt x="196" y="81"/>
                    </a:lnTo>
                    <a:lnTo>
                      <a:pt x="201" y="78"/>
                    </a:lnTo>
                    <a:lnTo>
                      <a:pt x="204" y="78"/>
                    </a:lnTo>
                    <a:lnTo>
                      <a:pt x="206" y="78"/>
                    </a:lnTo>
                    <a:lnTo>
                      <a:pt x="206" y="78"/>
                    </a:lnTo>
                    <a:lnTo>
                      <a:pt x="204" y="83"/>
                    </a:lnTo>
                    <a:lnTo>
                      <a:pt x="204" y="84"/>
                    </a:lnTo>
                    <a:lnTo>
                      <a:pt x="207" y="84"/>
                    </a:lnTo>
                    <a:lnTo>
                      <a:pt x="207" y="84"/>
                    </a:lnTo>
                    <a:lnTo>
                      <a:pt x="216" y="84"/>
                    </a:lnTo>
                    <a:lnTo>
                      <a:pt x="227" y="84"/>
                    </a:lnTo>
                    <a:lnTo>
                      <a:pt x="227" y="84"/>
                    </a:lnTo>
                    <a:lnTo>
                      <a:pt x="235" y="86"/>
                    </a:lnTo>
                    <a:lnTo>
                      <a:pt x="239" y="87"/>
                    </a:lnTo>
                    <a:lnTo>
                      <a:pt x="239" y="87"/>
                    </a:lnTo>
                    <a:lnTo>
                      <a:pt x="243" y="90"/>
                    </a:lnTo>
                    <a:lnTo>
                      <a:pt x="246" y="91"/>
                    </a:lnTo>
                    <a:lnTo>
                      <a:pt x="251" y="91"/>
                    </a:lnTo>
                    <a:lnTo>
                      <a:pt x="251" y="91"/>
                    </a:lnTo>
                    <a:lnTo>
                      <a:pt x="256" y="91"/>
                    </a:lnTo>
                    <a:lnTo>
                      <a:pt x="259" y="91"/>
                    </a:lnTo>
                    <a:lnTo>
                      <a:pt x="262" y="93"/>
                    </a:lnTo>
                    <a:lnTo>
                      <a:pt x="262" y="93"/>
                    </a:lnTo>
                    <a:lnTo>
                      <a:pt x="269" y="99"/>
                    </a:lnTo>
                    <a:lnTo>
                      <a:pt x="272" y="103"/>
                    </a:lnTo>
                    <a:lnTo>
                      <a:pt x="274" y="107"/>
                    </a:lnTo>
                    <a:lnTo>
                      <a:pt x="274" y="107"/>
                    </a:lnTo>
                    <a:lnTo>
                      <a:pt x="274" y="113"/>
                    </a:lnTo>
                    <a:lnTo>
                      <a:pt x="272" y="116"/>
                    </a:lnTo>
                    <a:lnTo>
                      <a:pt x="272" y="117"/>
                    </a:lnTo>
                    <a:lnTo>
                      <a:pt x="272" y="117"/>
                    </a:lnTo>
                    <a:lnTo>
                      <a:pt x="271" y="119"/>
                    </a:lnTo>
                    <a:lnTo>
                      <a:pt x="271" y="120"/>
                    </a:lnTo>
                    <a:lnTo>
                      <a:pt x="272" y="122"/>
                    </a:lnTo>
                    <a:lnTo>
                      <a:pt x="275" y="123"/>
                    </a:lnTo>
                    <a:lnTo>
                      <a:pt x="275" y="123"/>
                    </a:lnTo>
                    <a:lnTo>
                      <a:pt x="282" y="123"/>
                    </a:lnTo>
                    <a:lnTo>
                      <a:pt x="285" y="125"/>
                    </a:lnTo>
                    <a:lnTo>
                      <a:pt x="285" y="12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54" name="Freeform 1410"/>
              <p:cNvSpPr>
                <a:spLocks/>
              </p:cNvSpPr>
              <p:nvPr/>
            </p:nvSpPr>
            <p:spPr bwMode="auto">
              <a:xfrm>
                <a:off x="3132627" y="1429631"/>
                <a:ext cx="6925" cy="10882"/>
              </a:xfrm>
              <a:custGeom>
                <a:avLst/>
                <a:gdLst>
                  <a:gd name="T0" fmla="*/ 6 w 7"/>
                  <a:gd name="T1" fmla="*/ 10 h 11"/>
                  <a:gd name="T2" fmla="*/ 6 w 7"/>
                  <a:gd name="T3" fmla="*/ 10 h 11"/>
                  <a:gd name="T4" fmla="*/ 4 w 7"/>
                  <a:gd name="T5" fmla="*/ 11 h 11"/>
                  <a:gd name="T6" fmla="*/ 3 w 7"/>
                  <a:gd name="T7" fmla="*/ 10 h 11"/>
                  <a:gd name="T8" fmla="*/ 0 w 7"/>
                  <a:gd name="T9" fmla="*/ 8 h 11"/>
                  <a:gd name="T10" fmla="*/ 0 w 7"/>
                  <a:gd name="T11" fmla="*/ 5 h 11"/>
                  <a:gd name="T12" fmla="*/ 0 w 7"/>
                  <a:gd name="T13" fmla="*/ 5 h 11"/>
                  <a:gd name="T14" fmla="*/ 0 w 7"/>
                  <a:gd name="T15" fmla="*/ 1 h 11"/>
                  <a:gd name="T16" fmla="*/ 2 w 7"/>
                  <a:gd name="T17" fmla="*/ 0 h 11"/>
                  <a:gd name="T18" fmla="*/ 4 w 7"/>
                  <a:gd name="T19" fmla="*/ 0 h 11"/>
                  <a:gd name="T20" fmla="*/ 4 w 7"/>
                  <a:gd name="T21" fmla="*/ 0 h 11"/>
                  <a:gd name="T22" fmla="*/ 6 w 7"/>
                  <a:gd name="T23" fmla="*/ 1 h 11"/>
                  <a:gd name="T24" fmla="*/ 7 w 7"/>
                  <a:gd name="T25" fmla="*/ 4 h 11"/>
                  <a:gd name="T26" fmla="*/ 6 w 7"/>
                  <a:gd name="T27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1">
                    <a:moveTo>
                      <a:pt x="6" y="10"/>
                    </a:moveTo>
                    <a:lnTo>
                      <a:pt x="6" y="10"/>
                    </a:lnTo>
                    <a:lnTo>
                      <a:pt x="4" y="11"/>
                    </a:lnTo>
                    <a:lnTo>
                      <a:pt x="3" y="1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1"/>
                    </a:lnTo>
                    <a:lnTo>
                      <a:pt x="7" y="4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1" name="Freeform 1412"/>
              <p:cNvSpPr>
                <a:spLocks/>
              </p:cNvSpPr>
              <p:nvPr/>
            </p:nvSpPr>
            <p:spPr bwMode="auto">
              <a:xfrm>
                <a:off x="3132627" y="1429631"/>
                <a:ext cx="6925" cy="10882"/>
              </a:xfrm>
              <a:custGeom>
                <a:avLst/>
                <a:gdLst>
                  <a:gd name="T0" fmla="*/ 6 w 7"/>
                  <a:gd name="T1" fmla="*/ 10 h 11"/>
                  <a:gd name="T2" fmla="*/ 6 w 7"/>
                  <a:gd name="T3" fmla="*/ 10 h 11"/>
                  <a:gd name="T4" fmla="*/ 4 w 7"/>
                  <a:gd name="T5" fmla="*/ 11 h 11"/>
                  <a:gd name="T6" fmla="*/ 3 w 7"/>
                  <a:gd name="T7" fmla="*/ 10 h 11"/>
                  <a:gd name="T8" fmla="*/ 0 w 7"/>
                  <a:gd name="T9" fmla="*/ 8 h 11"/>
                  <a:gd name="T10" fmla="*/ 0 w 7"/>
                  <a:gd name="T11" fmla="*/ 5 h 11"/>
                  <a:gd name="T12" fmla="*/ 0 w 7"/>
                  <a:gd name="T13" fmla="*/ 5 h 11"/>
                  <a:gd name="T14" fmla="*/ 0 w 7"/>
                  <a:gd name="T15" fmla="*/ 1 h 11"/>
                  <a:gd name="T16" fmla="*/ 2 w 7"/>
                  <a:gd name="T17" fmla="*/ 0 h 11"/>
                  <a:gd name="T18" fmla="*/ 4 w 7"/>
                  <a:gd name="T19" fmla="*/ 0 h 11"/>
                  <a:gd name="T20" fmla="*/ 4 w 7"/>
                  <a:gd name="T21" fmla="*/ 0 h 11"/>
                  <a:gd name="T22" fmla="*/ 6 w 7"/>
                  <a:gd name="T23" fmla="*/ 1 h 11"/>
                  <a:gd name="T24" fmla="*/ 7 w 7"/>
                  <a:gd name="T25" fmla="*/ 4 h 11"/>
                  <a:gd name="T26" fmla="*/ 6 w 7"/>
                  <a:gd name="T27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1">
                    <a:moveTo>
                      <a:pt x="6" y="10"/>
                    </a:moveTo>
                    <a:lnTo>
                      <a:pt x="6" y="10"/>
                    </a:lnTo>
                    <a:lnTo>
                      <a:pt x="4" y="11"/>
                    </a:lnTo>
                    <a:lnTo>
                      <a:pt x="3" y="1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1"/>
                    </a:lnTo>
                    <a:lnTo>
                      <a:pt x="7" y="4"/>
                    </a:lnTo>
                    <a:lnTo>
                      <a:pt x="6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2" name="Freeform 1413"/>
              <p:cNvSpPr>
                <a:spLocks/>
              </p:cNvSpPr>
              <p:nvPr/>
            </p:nvSpPr>
            <p:spPr bwMode="auto">
              <a:xfrm>
                <a:off x="2844753" y="1443480"/>
                <a:ext cx="63313" cy="61334"/>
              </a:xfrm>
              <a:custGeom>
                <a:avLst/>
                <a:gdLst>
                  <a:gd name="T0" fmla="*/ 62 w 64"/>
                  <a:gd name="T1" fmla="*/ 59 h 62"/>
                  <a:gd name="T2" fmla="*/ 51 w 64"/>
                  <a:gd name="T3" fmla="*/ 62 h 62"/>
                  <a:gd name="T4" fmla="*/ 46 w 64"/>
                  <a:gd name="T5" fmla="*/ 61 h 62"/>
                  <a:gd name="T6" fmla="*/ 32 w 64"/>
                  <a:gd name="T7" fmla="*/ 51 h 62"/>
                  <a:gd name="T8" fmla="*/ 29 w 64"/>
                  <a:gd name="T9" fmla="*/ 48 h 62"/>
                  <a:gd name="T10" fmla="*/ 25 w 64"/>
                  <a:gd name="T11" fmla="*/ 41 h 62"/>
                  <a:gd name="T12" fmla="*/ 23 w 64"/>
                  <a:gd name="T13" fmla="*/ 39 h 62"/>
                  <a:gd name="T14" fmla="*/ 19 w 64"/>
                  <a:gd name="T15" fmla="*/ 39 h 62"/>
                  <a:gd name="T16" fmla="*/ 17 w 64"/>
                  <a:gd name="T17" fmla="*/ 38 h 62"/>
                  <a:gd name="T18" fmla="*/ 17 w 64"/>
                  <a:gd name="T19" fmla="*/ 29 h 62"/>
                  <a:gd name="T20" fmla="*/ 20 w 64"/>
                  <a:gd name="T21" fmla="*/ 23 h 62"/>
                  <a:gd name="T22" fmla="*/ 28 w 64"/>
                  <a:gd name="T23" fmla="*/ 19 h 62"/>
                  <a:gd name="T24" fmla="*/ 30 w 64"/>
                  <a:gd name="T25" fmla="*/ 13 h 62"/>
                  <a:gd name="T26" fmla="*/ 29 w 64"/>
                  <a:gd name="T27" fmla="*/ 9 h 62"/>
                  <a:gd name="T28" fmla="*/ 28 w 64"/>
                  <a:gd name="T29" fmla="*/ 7 h 62"/>
                  <a:gd name="T30" fmla="*/ 25 w 64"/>
                  <a:gd name="T31" fmla="*/ 7 h 62"/>
                  <a:gd name="T32" fmla="*/ 20 w 64"/>
                  <a:gd name="T33" fmla="*/ 10 h 62"/>
                  <a:gd name="T34" fmla="*/ 16 w 64"/>
                  <a:gd name="T35" fmla="*/ 16 h 62"/>
                  <a:gd name="T36" fmla="*/ 10 w 64"/>
                  <a:gd name="T37" fmla="*/ 16 h 62"/>
                  <a:gd name="T38" fmla="*/ 1 w 64"/>
                  <a:gd name="T39" fmla="*/ 6 h 62"/>
                  <a:gd name="T40" fmla="*/ 0 w 64"/>
                  <a:gd name="T41" fmla="*/ 3 h 62"/>
                  <a:gd name="T42" fmla="*/ 3 w 64"/>
                  <a:gd name="T43" fmla="*/ 1 h 62"/>
                  <a:gd name="T44" fmla="*/ 7 w 64"/>
                  <a:gd name="T45" fmla="*/ 0 h 62"/>
                  <a:gd name="T46" fmla="*/ 32 w 64"/>
                  <a:gd name="T47" fmla="*/ 0 h 62"/>
                  <a:gd name="T48" fmla="*/ 42 w 64"/>
                  <a:gd name="T49" fmla="*/ 0 h 62"/>
                  <a:gd name="T50" fmla="*/ 51 w 64"/>
                  <a:gd name="T51" fmla="*/ 1 h 62"/>
                  <a:gd name="T52" fmla="*/ 52 w 64"/>
                  <a:gd name="T53" fmla="*/ 4 h 62"/>
                  <a:gd name="T54" fmla="*/ 57 w 64"/>
                  <a:gd name="T55" fmla="*/ 14 h 62"/>
                  <a:gd name="T56" fmla="*/ 59 w 64"/>
                  <a:gd name="T57" fmla="*/ 17 h 62"/>
                  <a:gd name="T58" fmla="*/ 62 w 64"/>
                  <a:gd name="T59" fmla="*/ 25 h 62"/>
                  <a:gd name="T60" fmla="*/ 62 w 64"/>
                  <a:gd name="T61" fmla="*/ 33 h 62"/>
                  <a:gd name="T62" fmla="*/ 61 w 64"/>
                  <a:gd name="T63" fmla="*/ 43 h 62"/>
                  <a:gd name="T64" fmla="*/ 61 w 64"/>
                  <a:gd name="T65" fmla="*/ 46 h 62"/>
                  <a:gd name="T66" fmla="*/ 64 w 64"/>
                  <a:gd name="T67" fmla="*/ 5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4" h="62">
                    <a:moveTo>
                      <a:pt x="62" y="59"/>
                    </a:moveTo>
                    <a:lnTo>
                      <a:pt x="62" y="59"/>
                    </a:lnTo>
                    <a:lnTo>
                      <a:pt x="55" y="62"/>
                    </a:lnTo>
                    <a:lnTo>
                      <a:pt x="51" y="62"/>
                    </a:lnTo>
                    <a:lnTo>
                      <a:pt x="46" y="61"/>
                    </a:lnTo>
                    <a:lnTo>
                      <a:pt x="46" y="61"/>
                    </a:lnTo>
                    <a:lnTo>
                      <a:pt x="39" y="56"/>
                    </a:lnTo>
                    <a:lnTo>
                      <a:pt x="32" y="51"/>
                    </a:lnTo>
                    <a:lnTo>
                      <a:pt x="32" y="51"/>
                    </a:lnTo>
                    <a:lnTo>
                      <a:pt x="29" y="48"/>
                    </a:lnTo>
                    <a:lnTo>
                      <a:pt x="26" y="45"/>
                    </a:lnTo>
                    <a:lnTo>
                      <a:pt x="25" y="41"/>
                    </a:lnTo>
                    <a:lnTo>
                      <a:pt x="23" y="39"/>
                    </a:lnTo>
                    <a:lnTo>
                      <a:pt x="23" y="39"/>
                    </a:lnTo>
                    <a:lnTo>
                      <a:pt x="20" y="41"/>
                    </a:lnTo>
                    <a:lnTo>
                      <a:pt x="19" y="39"/>
                    </a:lnTo>
                    <a:lnTo>
                      <a:pt x="17" y="38"/>
                    </a:lnTo>
                    <a:lnTo>
                      <a:pt x="17" y="38"/>
                    </a:lnTo>
                    <a:lnTo>
                      <a:pt x="17" y="33"/>
                    </a:lnTo>
                    <a:lnTo>
                      <a:pt x="17" y="29"/>
                    </a:lnTo>
                    <a:lnTo>
                      <a:pt x="19" y="25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28" y="19"/>
                    </a:lnTo>
                    <a:lnTo>
                      <a:pt x="29" y="16"/>
                    </a:lnTo>
                    <a:lnTo>
                      <a:pt x="30" y="13"/>
                    </a:lnTo>
                    <a:lnTo>
                      <a:pt x="30" y="13"/>
                    </a:lnTo>
                    <a:lnTo>
                      <a:pt x="29" y="9"/>
                    </a:lnTo>
                    <a:lnTo>
                      <a:pt x="29" y="7"/>
                    </a:lnTo>
                    <a:lnTo>
                      <a:pt x="28" y="7"/>
                    </a:lnTo>
                    <a:lnTo>
                      <a:pt x="28" y="7"/>
                    </a:lnTo>
                    <a:lnTo>
                      <a:pt x="25" y="7"/>
                    </a:lnTo>
                    <a:lnTo>
                      <a:pt x="22" y="9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6"/>
                    </a:lnTo>
                    <a:lnTo>
                      <a:pt x="13" y="17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3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0" y="1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51" y="1"/>
                    </a:lnTo>
                    <a:lnTo>
                      <a:pt x="51" y="1"/>
                    </a:lnTo>
                    <a:lnTo>
                      <a:pt x="52" y="4"/>
                    </a:lnTo>
                    <a:lnTo>
                      <a:pt x="55" y="10"/>
                    </a:lnTo>
                    <a:lnTo>
                      <a:pt x="57" y="14"/>
                    </a:lnTo>
                    <a:lnTo>
                      <a:pt x="59" y="17"/>
                    </a:lnTo>
                    <a:lnTo>
                      <a:pt x="59" y="17"/>
                    </a:lnTo>
                    <a:lnTo>
                      <a:pt x="61" y="20"/>
                    </a:lnTo>
                    <a:lnTo>
                      <a:pt x="62" y="25"/>
                    </a:lnTo>
                    <a:lnTo>
                      <a:pt x="62" y="33"/>
                    </a:lnTo>
                    <a:lnTo>
                      <a:pt x="62" y="33"/>
                    </a:lnTo>
                    <a:lnTo>
                      <a:pt x="61" y="41"/>
                    </a:lnTo>
                    <a:lnTo>
                      <a:pt x="61" y="43"/>
                    </a:lnTo>
                    <a:lnTo>
                      <a:pt x="61" y="46"/>
                    </a:lnTo>
                    <a:lnTo>
                      <a:pt x="61" y="46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2" y="5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3" name="Freeform 1414"/>
              <p:cNvSpPr>
                <a:spLocks/>
              </p:cNvSpPr>
              <p:nvPr/>
            </p:nvSpPr>
            <p:spPr bwMode="auto">
              <a:xfrm>
                <a:off x="2844753" y="1443480"/>
                <a:ext cx="63313" cy="61334"/>
              </a:xfrm>
              <a:custGeom>
                <a:avLst/>
                <a:gdLst>
                  <a:gd name="T0" fmla="*/ 62 w 64"/>
                  <a:gd name="T1" fmla="*/ 59 h 62"/>
                  <a:gd name="T2" fmla="*/ 51 w 64"/>
                  <a:gd name="T3" fmla="*/ 62 h 62"/>
                  <a:gd name="T4" fmla="*/ 46 w 64"/>
                  <a:gd name="T5" fmla="*/ 61 h 62"/>
                  <a:gd name="T6" fmla="*/ 32 w 64"/>
                  <a:gd name="T7" fmla="*/ 51 h 62"/>
                  <a:gd name="T8" fmla="*/ 29 w 64"/>
                  <a:gd name="T9" fmla="*/ 48 h 62"/>
                  <a:gd name="T10" fmla="*/ 25 w 64"/>
                  <a:gd name="T11" fmla="*/ 41 h 62"/>
                  <a:gd name="T12" fmla="*/ 23 w 64"/>
                  <a:gd name="T13" fmla="*/ 39 h 62"/>
                  <a:gd name="T14" fmla="*/ 19 w 64"/>
                  <a:gd name="T15" fmla="*/ 39 h 62"/>
                  <a:gd name="T16" fmla="*/ 17 w 64"/>
                  <a:gd name="T17" fmla="*/ 38 h 62"/>
                  <a:gd name="T18" fmla="*/ 17 w 64"/>
                  <a:gd name="T19" fmla="*/ 29 h 62"/>
                  <a:gd name="T20" fmla="*/ 20 w 64"/>
                  <a:gd name="T21" fmla="*/ 23 h 62"/>
                  <a:gd name="T22" fmla="*/ 28 w 64"/>
                  <a:gd name="T23" fmla="*/ 19 h 62"/>
                  <a:gd name="T24" fmla="*/ 30 w 64"/>
                  <a:gd name="T25" fmla="*/ 13 h 62"/>
                  <a:gd name="T26" fmla="*/ 29 w 64"/>
                  <a:gd name="T27" fmla="*/ 9 h 62"/>
                  <a:gd name="T28" fmla="*/ 28 w 64"/>
                  <a:gd name="T29" fmla="*/ 7 h 62"/>
                  <a:gd name="T30" fmla="*/ 25 w 64"/>
                  <a:gd name="T31" fmla="*/ 7 h 62"/>
                  <a:gd name="T32" fmla="*/ 20 w 64"/>
                  <a:gd name="T33" fmla="*/ 10 h 62"/>
                  <a:gd name="T34" fmla="*/ 16 w 64"/>
                  <a:gd name="T35" fmla="*/ 16 h 62"/>
                  <a:gd name="T36" fmla="*/ 10 w 64"/>
                  <a:gd name="T37" fmla="*/ 16 h 62"/>
                  <a:gd name="T38" fmla="*/ 1 w 64"/>
                  <a:gd name="T39" fmla="*/ 6 h 62"/>
                  <a:gd name="T40" fmla="*/ 0 w 64"/>
                  <a:gd name="T41" fmla="*/ 3 h 62"/>
                  <a:gd name="T42" fmla="*/ 3 w 64"/>
                  <a:gd name="T43" fmla="*/ 1 h 62"/>
                  <a:gd name="T44" fmla="*/ 7 w 64"/>
                  <a:gd name="T45" fmla="*/ 0 h 62"/>
                  <a:gd name="T46" fmla="*/ 32 w 64"/>
                  <a:gd name="T47" fmla="*/ 0 h 62"/>
                  <a:gd name="T48" fmla="*/ 42 w 64"/>
                  <a:gd name="T49" fmla="*/ 0 h 62"/>
                  <a:gd name="T50" fmla="*/ 51 w 64"/>
                  <a:gd name="T51" fmla="*/ 1 h 62"/>
                  <a:gd name="T52" fmla="*/ 52 w 64"/>
                  <a:gd name="T53" fmla="*/ 4 h 62"/>
                  <a:gd name="T54" fmla="*/ 57 w 64"/>
                  <a:gd name="T55" fmla="*/ 14 h 62"/>
                  <a:gd name="T56" fmla="*/ 59 w 64"/>
                  <a:gd name="T57" fmla="*/ 17 h 62"/>
                  <a:gd name="T58" fmla="*/ 62 w 64"/>
                  <a:gd name="T59" fmla="*/ 25 h 62"/>
                  <a:gd name="T60" fmla="*/ 62 w 64"/>
                  <a:gd name="T61" fmla="*/ 33 h 62"/>
                  <a:gd name="T62" fmla="*/ 61 w 64"/>
                  <a:gd name="T63" fmla="*/ 43 h 62"/>
                  <a:gd name="T64" fmla="*/ 61 w 64"/>
                  <a:gd name="T65" fmla="*/ 46 h 62"/>
                  <a:gd name="T66" fmla="*/ 64 w 64"/>
                  <a:gd name="T67" fmla="*/ 5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4" h="62">
                    <a:moveTo>
                      <a:pt x="62" y="59"/>
                    </a:moveTo>
                    <a:lnTo>
                      <a:pt x="62" y="59"/>
                    </a:lnTo>
                    <a:lnTo>
                      <a:pt x="55" y="62"/>
                    </a:lnTo>
                    <a:lnTo>
                      <a:pt x="51" y="62"/>
                    </a:lnTo>
                    <a:lnTo>
                      <a:pt x="46" y="61"/>
                    </a:lnTo>
                    <a:lnTo>
                      <a:pt x="46" y="61"/>
                    </a:lnTo>
                    <a:lnTo>
                      <a:pt x="39" y="56"/>
                    </a:lnTo>
                    <a:lnTo>
                      <a:pt x="32" y="51"/>
                    </a:lnTo>
                    <a:lnTo>
                      <a:pt x="32" y="51"/>
                    </a:lnTo>
                    <a:lnTo>
                      <a:pt x="29" y="48"/>
                    </a:lnTo>
                    <a:lnTo>
                      <a:pt x="26" y="45"/>
                    </a:lnTo>
                    <a:lnTo>
                      <a:pt x="25" y="41"/>
                    </a:lnTo>
                    <a:lnTo>
                      <a:pt x="23" y="39"/>
                    </a:lnTo>
                    <a:lnTo>
                      <a:pt x="23" y="39"/>
                    </a:lnTo>
                    <a:lnTo>
                      <a:pt x="20" y="41"/>
                    </a:lnTo>
                    <a:lnTo>
                      <a:pt x="19" y="39"/>
                    </a:lnTo>
                    <a:lnTo>
                      <a:pt x="17" y="38"/>
                    </a:lnTo>
                    <a:lnTo>
                      <a:pt x="17" y="38"/>
                    </a:lnTo>
                    <a:lnTo>
                      <a:pt x="17" y="33"/>
                    </a:lnTo>
                    <a:lnTo>
                      <a:pt x="17" y="29"/>
                    </a:lnTo>
                    <a:lnTo>
                      <a:pt x="19" y="25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28" y="19"/>
                    </a:lnTo>
                    <a:lnTo>
                      <a:pt x="29" y="16"/>
                    </a:lnTo>
                    <a:lnTo>
                      <a:pt x="30" y="13"/>
                    </a:lnTo>
                    <a:lnTo>
                      <a:pt x="30" y="13"/>
                    </a:lnTo>
                    <a:lnTo>
                      <a:pt x="29" y="9"/>
                    </a:lnTo>
                    <a:lnTo>
                      <a:pt x="29" y="7"/>
                    </a:lnTo>
                    <a:lnTo>
                      <a:pt x="28" y="7"/>
                    </a:lnTo>
                    <a:lnTo>
                      <a:pt x="28" y="7"/>
                    </a:lnTo>
                    <a:lnTo>
                      <a:pt x="25" y="7"/>
                    </a:lnTo>
                    <a:lnTo>
                      <a:pt x="22" y="9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6"/>
                    </a:lnTo>
                    <a:lnTo>
                      <a:pt x="13" y="17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3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0" y="1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51" y="1"/>
                    </a:lnTo>
                    <a:lnTo>
                      <a:pt x="51" y="1"/>
                    </a:lnTo>
                    <a:lnTo>
                      <a:pt x="52" y="4"/>
                    </a:lnTo>
                    <a:lnTo>
                      <a:pt x="55" y="10"/>
                    </a:lnTo>
                    <a:lnTo>
                      <a:pt x="57" y="14"/>
                    </a:lnTo>
                    <a:lnTo>
                      <a:pt x="59" y="17"/>
                    </a:lnTo>
                    <a:lnTo>
                      <a:pt x="59" y="17"/>
                    </a:lnTo>
                    <a:lnTo>
                      <a:pt x="61" y="20"/>
                    </a:lnTo>
                    <a:lnTo>
                      <a:pt x="62" y="25"/>
                    </a:lnTo>
                    <a:lnTo>
                      <a:pt x="62" y="33"/>
                    </a:lnTo>
                    <a:lnTo>
                      <a:pt x="62" y="33"/>
                    </a:lnTo>
                    <a:lnTo>
                      <a:pt x="61" y="41"/>
                    </a:lnTo>
                    <a:lnTo>
                      <a:pt x="61" y="43"/>
                    </a:lnTo>
                    <a:lnTo>
                      <a:pt x="61" y="46"/>
                    </a:lnTo>
                    <a:lnTo>
                      <a:pt x="61" y="46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2" y="5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4" name="Freeform 1415"/>
              <p:cNvSpPr>
                <a:spLocks/>
              </p:cNvSpPr>
              <p:nvPr/>
            </p:nvSpPr>
            <p:spPr bwMode="auto">
              <a:xfrm>
                <a:off x="2729998" y="1450405"/>
                <a:ext cx="15828" cy="21764"/>
              </a:xfrm>
              <a:custGeom>
                <a:avLst/>
                <a:gdLst>
                  <a:gd name="T0" fmla="*/ 7 w 16"/>
                  <a:gd name="T1" fmla="*/ 22 h 22"/>
                  <a:gd name="T2" fmla="*/ 7 w 16"/>
                  <a:gd name="T3" fmla="*/ 22 h 22"/>
                  <a:gd name="T4" fmla="*/ 6 w 16"/>
                  <a:gd name="T5" fmla="*/ 22 h 22"/>
                  <a:gd name="T6" fmla="*/ 5 w 16"/>
                  <a:gd name="T7" fmla="*/ 19 h 22"/>
                  <a:gd name="T8" fmla="*/ 5 w 16"/>
                  <a:gd name="T9" fmla="*/ 16 h 22"/>
                  <a:gd name="T10" fmla="*/ 3 w 16"/>
                  <a:gd name="T11" fmla="*/ 16 h 22"/>
                  <a:gd name="T12" fmla="*/ 3 w 16"/>
                  <a:gd name="T13" fmla="*/ 16 h 22"/>
                  <a:gd name="T14" fmla="*/ 3 w 16"/>
                  <a:gd name="T15" fmla="*/ 16 h 22"/>
                  <a:gd name="T16" fmla="*/ 2 w 16"/>
                  <a:gd name="T17" fmla="*/ 18 h 22"/>
                  <a:gd name="T18" fmla="*/ 0 w 16"/>
                  <a:gd name="T19" fmla="*/ 19 h 22"/>
                  <a:gd name="T20" fmla="*/ 0 w 16"/>
                  <a:gd name="T21" fmla="*/ 16 h 22"/>
                  <a:gd name="T22" fmla="*/ 0 w 16"/>
                  <a:gd name="T23" fmla="*/ 16 h 22"/>
                  <a:gd name="T24" fmla="*/ 0 w 16"/>
                  <a:gd name="T25" fmla="*/ 13 h 22"/>
                  <a:gd name="T26" fmla="*/ 0 w 16"/>
                  <a:gd name="T27" fmla="*/ 7 h 22"/>
                  <a:gd name="T28" fmla="*/ 3 w 16"/>
                  <a:gd name="T29" fmla="*/ 3 h 22"/>
                  <a:gd name="T30" fmla="*/ 5 w 16"/>
                  <a:gd name="T31" fmla="*/ 0 h 22"/>
                  <a:gd name="T32" fmla="*/ 5 w 16"/>
                  <a:gd name="T33" fmla="*/ 0 h 22"/>
                  <a:gd name="T34" fmla="*/ 6 w 16"/>
                  <a:gd name="T35" fmla="*/ 0 h 22"/>
                  <a:gd name="T36" fmla="*/ 7 w 16"/>
                  <a:gd name="T37" fmla="*/ 0 h 22"/>
                  <a:gd name="T38" fmla="*/ 10 w 16"/>
                  <a:gd name="T39" fmla="*/ 3 h 22"/>
                  <a:gd name="T40" fmla="*/ 10 w 16"/>
                  <a:gd name="T41" fmla="*/ 3 h 22"/>
                  <a:gd name="T42" fmla="*/ 13 w 16"/>
                  <a:gd name="T43" fmla="*/ 5 h 22"/>
                  <a:gd name="T44" fmla="*/ 15 w 16"/>
                  <a:gd name="T45" fmla="*/ 7 h 22"/>
                  <a:gd name="T46" fmla="*/ 16 w 16"/>
                  <a:gd name="T47" fmla="*/ 12 h 22"/>
                  <a:gd name="T48" fmla="*/ 16 w 16"/>
                  <a:gd name="T49" fmla="*/ 13 h 22"/>
                  <a:gd name="T50" fmla="*/ 16 w 16"/>
                  <a:gd name="T51" fmla="*/ 13 h 22"/>
                  <a:gd name="T52" fmla="*/ 12 w 16"/>
                  <a:gd name="T53" fmla="*/ 19 h 22"/>
                  <a:gd name="T54" fmla="*/ 7 w 16"/>
                  <a:gd name="T5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6" h="22">
                    <a:moveTo>
                      <a:pt x="7" y="22"/>
                    </a:moveTo>
                    <a:lnTo>
                      <a:pt x="7" y="22"/>
                    </a:lnTo>
                    <a:lnTo>
                      <a:pt x="6" y="22"/>
                    </a:lnTo>
                    <a:lnTo>
                      <a:pt x="5" y="19"/>
                    </a:lnTo>
                    <a:lnTo>
                      <a:pt x="5" y="16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2" y="18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10" y="3"/>
                    </a:lnTo>
                    <a:lnTo>
                      <a:pt x="10" y="3"/>
                    </a:lnTo>
                    <a:lnTo>
                      <a:pt x="13" y="5"/>
                    </a:lnTo>
                    <a:lnTo>
                      <a:pt x="15" y="7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2" y="19"/>
                    </a:lnTo>
                    <a:lnTo>
                      <a:pt x="7" y="2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5" name="Freeform 1416"/>
              <p:cNvSpPr>
                <a:spLocks/>
              </p:cNvSpPr>
              <p:nvPr/>
            </p:nvSpPr>
            <p:spPr bwMode="auto">
              <a:xfrm>
                <a:off x="2729998" y="1450405"/>
                <a:ext cx="15828" cy="21764"/>
              </a:xfrm>
              <a:custGeom>
                <a:avLst/>
                <a:gdLst>
                  <a:gd name="T0" fmla="*/ 7 w 16"/>
                  <a:gd name="T1" fmla="*/ 22 h 22"/>
                  <a:gd name="T2" fmla="*/ 7 w 16"/>
                  <a:gd name="T3" fmla="*/ 22 h 22"/>
                  <a:gd name="T4" fmla="*/ 6 w 16"/>
                  <a:gd name="T5" fmla="*/ 22 h 22"/>
                  <a:gd name="T6" fmla="*/ 5 w 16"/>
                  <a:gd name="T7" fmla="*/ 19 h 22"/>
                  <a:gd name="T8" fmla="*/ 5 w 16"/>
                  <a:gd name="T9" fmla="*/ 16 h 22"/>
                  <a:gd name="T10" fmla="*/ 3 w 16"/>
                  <a:gd name="T11" fmla="*/ 16 h 22"/>
                  <a:gd name="T12" fmla="*/ 3 w 16"/>
                  <a:gd name="T13" fmla="*/ 16 h 22"/>
                  <a:gd name="T14" fmla="*/ 3 w 16"/>
                  <a:gd name="T15" fmla="*/ 16 h 22"/>
                  <a:gd name="T16" fmla="*/ 2 w 16"/>
                  <a:gd name="T17" fmla="*/ 18 h 22"/>
                  <a:gd name="T18" fmla="*/ 0 w 16"/>
                  <a:gd name="T19" fmla="*/ 19 h 22"/>
                  <a:gd name="T20" fmla="*/ 0 w 16"/>
                  <a:gd name="T21" fmla="*/ 16 h 22"/>
                  <a:gd name="T22" fmla="*/ 0 w 16"/>
                  <a:gd name="T23" fmla="*/ 16 h 22"/>
                  <a:gd name="T24" fmla="*/ 0 w 16"/>
                  <a:gd name="T25" fmla="*/ 13 h 22"/>
                  <a:gd name="T26" fmla="*/ 0 w 16"/>
                  <a:gd name="T27" fmla="*/ 7 h 22"/>
                  <a:gd name="T28" fmla="*/ 3 w 16"/>
                  <a:gd name="T29" fmla="*/ 3 h 22"/>
                  <a:gd name="T30" fmla="*/ 5 w 16"/>
                  <a:gd name="T31" fmla="*/ 0 h 22"/>
                  <a:gd name="T32" fmla="*/ 5 w 16"/>
                  <a:gd name="T33" fmla="*/ 0 h 22"/>
                  <a:gd name="T34" fmla="*/ 6 w 16"/>
                  <a:gd name="T35" fmla="*/ 0 h 22"/>
                  <a:gd name="T36" fmla="*/ 7 w 16"/>
                  <a:gd name="T37" fmla="*/ 0 h 22"/>
                  <a:gd name="T38" fmla="*/ 10 w 16"/>
                  <a:gd name="T39" fmla="*/ 3 h 22"/>
                  <a:gd name="T40" fmla="*/ 10 w 16"/>
                  <a:gd name="T41" fmla="*/ 3 h 22"/>
                  <a:gd name="T42" fmla="*/ 13 w 16"/>
                  <a:gd name="T43" fmla="*/ 5 h 22"/>
                  <a:gd name="T44" fmla="*/ 15 w 16"/>
                  <a:gd name="T45" fmla="*/ 7 h 22"/>
                  <a:gd name="T46" fmla="*/ 16 w 16"/>
                  <a:gd name="T47" fmla="*/ 12 h 22"/>
                  <a:gd name="T48" fmla="*/ 16 w 16"/>
                  <a:gd name="T49" fmla="*/ 13 h 22"/>
                  <a:gd name="T50" fmla="*/ 16 w 16"/>
                  <a:gd name="T51" fmla="*/ 13 h 22"/>
                  <a:gd name="T52" fmla="*/ 12 w 16"/>
                  <a:gd name="T53" fmla="*/ 19 h 22"/>
                  <a:gd name="T54" fmla="*/ 7 w 16"/>
                  <a:gd name="T5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6" h="22">
                    <a:moveTo>
                      <a:pt x="7" y="22"/>
                    </a:moveTo>
                    <a:lnTo>
                      <a:pt x="7" y="22"/>
                    </a:lnTo>
                    <a:lnTo>
                      <a:pt x="6" y="22"/>
                    </a:lnTo>
                    <a:lnTo>
                      <a:pt x="5" y="19"/>
                    </a:lnTo>
                    <a:lnTo>
                      <a:pt x="5" y="16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2" y="18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10" y="3"/>
                    </a:lnTo>
                    <a:lnTo>
                      <a:pt x="10" y="3"/>
                    </a:lnTo>
                    <a:lnTo>
                      <a:pt x="13" y="5"/>
                    </a:lnTo>
                    <a:lnTo>
                      <a:pt x="15" y="7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2" y="19"/>
                    </a:lnTo>
                    <a:lnTo>
                      <a:pt x="7" y="2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6" name="Freeform 1417"/>
              <p:cNvSpPr>
                <a:spLocks/>
              </p:cNvSpPr>
              <p:nvPr/>
            </p:nvSpPr>
            <p:spPr bwMode="auto">
              <a:xfrm>
                <a:off x="2720106" y="1372254"/>
                <a:ext cx="121679" cy="108819"/>
              </a:xfrm>
              <a:custGeom>
                <a:avLst/>
                <a:gdLst>
                  <a:gd name="T0" fmla="*/ 78 w 123"/>
                  <a:gd name="T1" fmla="*/ 104 h 110"/>
                  <a:gd name="T2" fmla="*/ 72 w 123"/>
                  <a:gd name="T3" fmla="*/ 91 h 110"/>
                  <a:gd name="T4" fmla="*/ 68 w 123"/>
                  <a:gd name="T5" fmla="*/ 85 h 110"/>
                  <a:gd name="T6" fmla="*/ 74 w 123"/>
                  <a:gd name="T7" fmla="*/ 79 h 110"/>
                  <a:gd name="T8" fmla="*/ 68 w 123"/>
                  <a:gd name="T9" fmla="*/ 76 h 110"/>
                  <a:gd name="T10" fmla="*/ 61 w 123"/>
                  <a:gd name="T11" fmla="*/ 76 h 110"/>
                  <a:gd name="T12" fmla="*/ 52 w 123"/>
                  <a:gd name="T13" fmla="*/ 75 h 110"/>
                  <a:gd name="T14" fmla="*/ 39 w 123"/>
                  <a:gd name="T15" fmla="*/ 73 h 110"/>
                  <a:gd name="T16" fmla="*/ 42 w 123"/>
                  <a:gd name="T17" fmla="*/ 68 h 110"/>
                  <a:gd name="T18" fmla="*/ 42 w 123"/>
                  <a:gd name="T19" fmla="*/ 63 h 110"/>
                  <a:gd name="T20" fmla="*/ 25 w 123"/>
                  <a:gd name="T21" fmla="*/ 63 h 110"/>
                  <a:gd name="T22" fmla="*/ 30 w 123"/>
                  <a:gd name="T23" fmla="*/ 53 h 110"/>
                  <a:gd name="T24" fmla="*/ 29 w 123"/>
                  <a:gd name="T25" fmla="*/ 44 h 110"/>
                  <a:gd name="T26" fmla="*/ 20 w 123"/>
                  <a:gd name="T27" fmla="*/ 43 h 110"/>
                  <a:gd name="T28" fmla="*/ 19 w 123"/>
                  <a:gd name="T29" fmla="*/ 31 h 110"/>
                  <a:gd name="T30" fmla="*/ 3 w 123"/>
                  <a:gd name="T31" fmla="*/ 24 h 110"/>
                  <a:gd name="T32" fmla="*/ 3 w 123"/>
                  <a:gd name="T33" fmla="*/ 13 h 110"/>
                  <a:gd name="T34" fmla="*/ 1 w 123"/>
                  <a:gd name="T35" fmla="*/ 8 h 110"/>
                  <a:gd name="T36" fmla="*/ 15 w 123"/>
                  <a:gd name="T37" fmla="*/ 1 h 110"/>
                  <a:gd name="T38" fmla="*/ 28 w 123"/>
                  <a:gd name="T39" fmla="*/ 8 h 110"/>
                  <a:gd name="T40" fmla="*/ 41 w 123"/>
                  <a:gd name="T41" fmla="*/ 20 h 110"/>
                  <a:gd name="T42" fmla="*/ 43 w 123"/>
                  <a:gd name="T43" fmla="*/ 27 h 110"/>
                  <a:gd name="T44" fmla="*/ 46 w 123"/>
                  <a:gd name="T45" fmla="*/ 42 h 110"/>
                  <a:gd name="T46" fmla="*/ 54 w 123"/>
                  <a:gd name="T47" fmla="*/ 46 h 110"/>
                  <a:gd name="T48" fmla="*/ 62 w 123"/>
                  <a:gd name="T49" fmla="*/ 47 h 110"/>
                  <a:gd name="T50" fmla="*/ 57 w 123"/>
                  <a:gd name="T51" fmla="*/ 36 h 110"/>
                  <a:gd name="T52" fmla="*/ 51 w 123"/>
                  <a:gd name="T53" fmla="*/ 27 h 110"/>
                  <a:gd name="T54" fmla="*/ 54 w 123"/>
                  <a:gd name="T55" fmla="*/ 16 h 110"/>
                  <a:gd name="T56" fmla="*/ 67 w 123"/>
                  <a:gd name="T57" fmla="*/ 17 h 110"/>
                  <a:gd name="T58" fmla="*/ 67 w 123"/>
                  <a:gd name="T59" fmla="*/ 31 h 110"/>
                  <a:gd name="T60" fmla="*/ 77 w 123"/>
                  <a:gd name="T61" fmla="*/ 42 h 110"/>
                  <a:gd name="T62" fmla="*/ 87 w 123"/>
                  <a:gd name="T63" fmla="*/ 43 h 110"/>
                  <a:gd name="T64" fmla="*/ 90 w 123"/>
                  <a:gd name="T65" fmla="*/ 34 h 110"/>
                  <a:gd name="T66" fmla="*/ 85 w 123"/>
                  <a:gd name="T67" fmla="*/ 29 h 110"/>
                  <a:gd name="T68" fmla="*/ 74 w 123"/>
                  <a:gd name="T69" fmla="*/ 27 h 110"/>
                  <a:gd name="T70" fmla="*/ 74 w 123"/>
                  <a:gd name="T71" fmla="*/ 10 h 110"/>
                  <a:gd name="T72" fmla="*/ 84 w 123"/>
                  <a:gd name="T73" fmla="*/ 7 h 110"/>
                  <a:gd name="T74" fmla="*/ 88 w 123"/>
                  <a:gd name="T75" fmla="*/ 0 h 110"/>
                  <a:gd name="T76" fmla="*/ 93 w 123"/>
                  <a:gd name="T77" fmla="*/ 5 h 110"/>
                  <a:gd name="T78" fmla="*/ 101 w 123"/>
                  <a:gd name="T79" fmla="*/ 11 h 110"/>
                  <a:gd name="T80" fmla="*/ 103 w 123"/>
                  <a:gd name="T81" fmla="*/ 8 h 110"/>
                  <a:gd name="T82" fmla="*/ 107 w 123"/>
                  <a:gd name="T83" fmla="*/ 4 h 110"/>
                  <a:gd name="T84" fmla="*/ 116 w 123"/>
                  <a:gd name="T85" fmla="*/ 4 h 110"/>
                  <a:gd name="T86" fmla="*/ 114 w 123"/>
                  <a:gd name="T87" fmla="*/ 10 h 110"/>
                  <a:gd name="T88" fmla="*/ 122 w 123"/>
                  <a:gd name="T89" fmla="*/ 13 h 110"/>
                  <a:gd name="T90" fmla="*/ 122 w 123"/>
                  <a:gd name="T91" fmla="*/ 30 h 110"/>
                  <a:gd name="T92" fmla="*/ 122 w 123"/>
                  <a:gd name="T93" fmla="*/ 52 h 110"/>
                  <a:gd name="T94" fmla="*/ 119 w 123"/>
                  <a:gd name="T95" fmla="*/ 65 h 110"/>
                  <a:gd name="T96" fmla="*/ 122 w 123"/>
                  <a:gd name="T97" fmla="*/ 71 h 110"/>
                  <a:gd name="T98" fmla="*/ 117 w 123"/>
                  <a:gd name="T99" fmla="*/ 84 h 110"/>
                  <a:gd name="T100" fmla="*/ 120 w 123"/>
                  <a:gd name="T101" fmla="*/ 97 h 110"/>
                  <a:gd name="T102" fmla="*/ 120 w 123"/>
                  <a:gd name="T103" fmla="*/ 105 h 110"/>
                  <a:gd name="T104" fmla="*/ 113 w 123"/>
                  <a:gd name="T105" fmla="*/ 110 h 110"/>
                  <a:gd name="T106" fmla="*/ 99 w 123"/>
                  <a:gd name="T107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3" h="110">
                    <a:moveTo>
                      <a:pt x="91" y="108"/>
                    </a:moveTo>
                    <a:lnTo>
                      <a:pt x="91" y="108"/>
                    </a:lnTo>
                    <a:lnTo>
                      <a:pt x="81" y="105"/>
                    </a:lnTo>
                    <a:lnTo>
                      <a:pt x="78" y="104"/>
                    </a:lnTo>
                    <a:lnTo>
                      <a:pt x="77" y="100"/>
                    </a:lnTo>
                    <a:lnTo>
                      <a:pt x="77" y="100"/>
                    </a:lnTo>
                    <a:lnTo>
                      <a:pt x="75" y="94"/>
                    </a:lnTo>
                    <a:lnTo>
                      <a:pt x="72" y="91"/>
                    </a:lnTo>
                    <a:lnTo>
                      <a:pt x="72" y="91"/>
                    </a:lnTo>
                    <a:lnTo>
                      <a:pt x="68" y="86"/>
                    </a:lnTo>
                    <a:lnTo>
                      <a:pt x="67" y="85"/>
                    </a:lnTo>
                    <a:lnTo>
                      <a:pt x="68" y="85"/>
                    </a:lnTo>
                    <a:lnTo>
                      <a:pt x="68" y="85"/>
                    </a:lnTo>
                    <a:lnTo>
                      <a:pt x="71" y="84"/>
                    </a:lnTo>
                    <a:lnTo>
                      <a:pt x="72" y="82"/>
                    </a:lnTo>
                    <a:lnTo>
                      <a:pt x="74" y="79"/>
                    </a:lnTo>
                    <a:lnTo>
                      <a:pt x="72" y="79"/>
                    </a:lnTo>
                    <a:lnTo>
                      <a:pt x="72" y="79"/>
                    </a:lnTo>
                    <a:lnTo>
                      <a:pt x="71" y="78"/>
                    </a:lnTo>
                    <a:lnTo>
                      <a:pt x="68" y="76"/>
                    </a:lnTo>
                    <a:lnTo>
                      <a:pt x="67" y="75"/>
                    </a:lnTo>
                    <a:lnTo>
                      <a:pt x="64" y="75"/>
                    </a:lnTo>
                    <a:lnTo>
                      <a:pt x="64" y="75"/>
                    </a:lnTo>
                    <a:lnTo>
                      <a:pt x="61" y="76"/>
                    </a:lnTo>
                    <a:lnTo>
                      <a:pt x="58" y="78"/>
                    </a:lnTo>
                    <a:lnTo>
                      <a:pt x="57" y="78"/>
                    </a:lnTo>
                    <a:lnTo>
                      <a:pt x="57" y="78"/>
                    </a:lnTo>
                    <a:lnTo>
                      <a:pt x="52" y="75"/>
                    </a:lnTo>
                    <a:lnTo>
                      <a:pt x="48" y="73"/>
                    </a:lnTo>
                    <a:lnTo>
                      <a:pt x="48" y="73"/>
                    </a:lnTo>
                    <a:lnTo>
                      <a:pt x="42" y="73"/>
                    </a:lnTo>
                    <a:lnTo>
                      <a:pt x="39" y="73"/>
                    </a:lnTo>
                    <a:lnTo>
                      <a:pt x="39" y="73"/>
                    </a:lnTo>
                    <a:lnTo>
                      <a:pt x="39" y="73"/>
                    </a:lnTo>
                    <a:lnTo>
                      <a:pt x="41" y="71"/>
                    </a:lnTo>
                    <a:lnTo>
                      <a:pt x="42" y="68"/>
                    </a:lnTo>
                    <a:lnTo>
                      <a:pt x="43" y="65"/>
                    </a:lnTo>
                    <a:lnTo>
                      <a:pt x="43" y="63"/>
                    </a:lnTo>
                    <a:lnTo>
                      <a:pt x="42" y="63"/>
                    </a:lnTo>
                    <a:lnTo>
                      <a:pt x="42" y="63"/>
                    </a:lnTo>
                    <a:lnTo>
                      <a:pt x="32" y="65"/>
                    </a:lnTo>
                    <a:lnTo>
                      <a:pt x="26" y="65"/>
                    </a:lnTo>
                    <a:lnTo>
                      <a:pt x="25" y="63"/>
                    </a:lnTo>
                    <a:lnTo>
                      <a:pt x="25" y="63"/>
                    </a:lnTo>
                    <a:lnTo>
                      <a:pt x="25" y="63"/>
                    </a:lnTo>
                    <a:lnTo>
                      <a:pt x="26" y="58"/>
                    </a:lnTo>
                    <a:lnTo>
                      <a:pt x="28" y="55"/>
                    </a:lnTo>
                    <a:lnTo>
                      <a:pt x="30" y="53"/>
                    </a:lnTo>
                    <a:lnTo>
                      <a:pt x="30" y="53"/>
                    </a:lnTo>
                    <a:lnTo>
                      <a:pt x="30" y="50"/>
                    </a:lnTo>
                    <a:lnTo>
                      <a:pt x="30" y="47"/>
                    </a:lnTo>
                    <a:lnTo>
                      <a:pt x="29" y="44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3" y="43"/>
                    </a:lnTo>
                    <a:lnTo>
                      <a:pt x="20" y="43"/>
                    </a:lnTo>
                    <a:lnTo>
                      <a:pt x="17" y="42"/>
                    </a:lnTo>
                    <a:lnTo>
                      <a:pt x="17" y="42"/>
                    </a:lnTo>
                    <a:lnTo>
                      <a:pt x="19" y="34"/>
                    </a:lnTo>
                    <a:lnTo>
                      <a:pt x="19" y="31"/>
                    </a:lnTo>
                    <a:lnTo>
                      <a:pt x="16" y="29"/>
                    </a:lnTo>
                    <a:lnTo>
                      <a:pt x="16" y="29"/>
                    </a:lnTo>
                    <a:lnTo>
                      <a:pt x="7" y="27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3" y="18"/>
                    </a:lnTo>
                    <a:lnTo>
                      <a:pt x="3" y="14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1" y="13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0" y="2"/>
                    </a:lnTo>
                    <a:lnTo>
                      <a:pt x="15" y="1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23" y="7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10"/>
                    </a:lnTo>
                    <a:lnTo>
                      <a:pt x="35" y="13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2" y="24"/>
                    </a:lnTo>
                    <a:lnTo>
                      <a:pt x="43" y="27"/>
                    </a:lnTo>
                    <a:lnTo>
                      <a:pt x="43" y="27"/>
                    </a:lnTo>
                    <a:lnTo>
                      <a:pt x="45" y="30"/>
                    </a:lnTo>
                    <a:lnTo>
                      <a:pt x="45" y="34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8" y="44"/>
                    </a:lnTo>
                    <a:lnTo>
                      <a:pt x="49" y="44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8" y="47"/>
                    </a:lnTo>
                    <a:lnTo>
                      <a:pt x="61" y="50"/>
                    </a:lnTo>
                    <a:lnTo>
                      <a:pt x="64" y="50"/>
                    </a:lnTo>
                    <a:lnTo>
                      <a:pt x="62" y="47"/>
                    </a:lnTo>
                    <a:lnTo>
                      <a:pt x="62" y="47"/>
                    </a:lnTo>
                    <a:lnTo>
                      <a:pt x="59" y="40"/>
                    </a:lnTo>
                    <a:lnTo>
                      <a:pt x="57" y="36"/>
                    </a:lnTo>
                    <a:lnTo>
                      <a:pt x="57" y="36"/>
                    </a:lnTo>
                    <a:lnTo>
                      <a:pt x="55" y="33"/>
                    </a:lnTo>
                    <a:lnTo>
                      <a:pt x="54" y="30"/>
                    </a:lnTo>
                    <a:lnTo>
                      <a:pt x="52" y="29"/>
                    </a:lnTo>
                    <a:lnTo>
                      <a:pt x="51" y="27"/>
                    </a:lnTo>
                    <a:lnTo>
                      <a:pt x="51" y="27"/>
                    </a:lnTo>
                    <a:lnTo>
                      <a:pt x="52" y="20"/>
                    </a:lnTo>
                    <a:lnTo>
                      <a:pt x="52" y="17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61" y="14"/>
                    </a:lnTo>
                    <a:lnTo>
                      <a:pt x="64" y="16"/>
                    </a:lnTo>
                    <a:lnTo>
                      <a:pt x="67" y="17"/>
                    </a:lnTo>
                    <a:lnTo>
                      <a:pt x="67" y="17"/>
                    </a:lnTo>
                    <a:lnTo>
                      <a:pt x="65" y="24"/>
                    </a:lnTo>
                    <a:lnTo>
                      <a:pt x="65" y="29"/>
                    </a:lnTo>
                    <a:lnTo>
                      <a:pt x="67" y="31"/>
                    </a:lnTo>
                    <a:lnTo>
                      <a:pt x="67" y="31"/>
                    </a:lnTo>
                    <a:lnTo>
                      <a:pt x="71" y="37"/>
                    </a:lnTo>
                    <a:lnTo>
                      <a:pt x="74" y="40"/>
                    </a:lnTo>
                    <a:lnTo>
                      <a:pt x="77" y="42"/>
                    </a:lnTo>
                    <a:lnTo>
                      <a:pt x="77" y="42"/>
                    </a:lnTo>
                    <a:lnTo>
                      <a:pt x="81" y="42"/>
                    </a:lnTo>
                    <a:lnTo>
                      <a:pt x="84" y="42"/>
                    </a:lnTo>
                    <a:lnTo>
                      <a:pt x="87" y="43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8" y="39"/>
                    </a:lnTo>
                    <a:lnTo>
                      <a:pt x="90" y="34"/>
                    </a:lnTo>
                    <a:lnTo>
                      <a:pt x="88" y="30"/>
                    </a:lnTo>
                    <a:lnTo>
                      <a:pt x="87" y="29"/>
                    </a:lnTo>
                    <a:lnTo>
                      <a:pt x="85" y="29"/>
                    </a:lnTo>
                    <a:lnTo>
                      <a:pt x="85" y="29"/>
                    </a:lnTo>
                    <a:lnTo>
                      <a:pt x="80" y="30"/>
                    </a:lnTo>
                    <a:lnTo>
                      <a:pt x="77" y="29"/>
                    </a:lnTo>
                    <a:lnTo>
                      <a:pt x="74" y="27"/>
                    </a:lnTo>
                    <a:lnTo>
                      <a:pt x="74" y="27"/>
                    </a:lnTo>
                    <a:lnTo>
                      <a:pt x="72" y="23"/>
                    </a:lnTo>
                    <a:lnTo>
                      <a:pt x="71" y="17"/>
                    </a:lnTo>
                    <a:lnTo>
                      <a:pt x="72" y="13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7" y="8"/>
                    </a:lnTo>
                    <a:lnTo>
                      <a:pt x="81" y="8"/>
                    </a:lnTo>
                    <a:lnTo>
                      <a:pt x="84" y="7"/>
                    </a:lnTo>
                    <a:lnTo>
                      <a:pt x="85" y="5"/>
                    </a:lnTo>
                    <a:lnTo>
                      <a:pt x="85" y="5"/>
                    </a:lnTo>
                    <a:lnTo>
                      <a:pt x="87" y="1"/>
                    </a:lnTo>
                    <a:lnTo>
                      <a:pt x="88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3" y="1"/>
                    </a:lnTo>
                    <a:lnTo>
                      <a:pt x="93" y="5"/>
                    </a:lnTo>
                    <a:lnTo>
                      <a:pt x="94" y="8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101" y="11"/>
                    </a:lnTo>
                    <a:lnTo>
                      <a:pt x="104" y="13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3" y="8"/>
                    </a:lnTo>
                    <a:lnTo>
                      <a:pt x="103" y="5"/>
                    </a:lnTo>
                    <a:lnTo>
                      <a:pt x="104" y="4"/>
                    </a:lnTo>
                    <a:lnTo>
                      <a:pt x="107" y="4"/>
                    </a:lnTo>
                    <a:lnTo>
                      <a:pt x="107" y="4"/>
                    </a:lnTo>
                    <a:lnTo>
                      <a:pt x="113" y="4"/>
                    </a:lnTo>
                    <a:lnTo>
                      <a:pt x="116" y="4"/>
                    </a:lnTo>
                    <a:lnTo>
                      <a:pt x="116" y="4"/>
                    </a:lnTo>
                    <a:lnTo>
                      <a:pt x="116" y="4"/>
                    </a:lnTo>
                    <a:lnTo>
                      <a:pt x="113" y="7"/>
                    </a:lnTo>
                    <a:lnTo>
                      <a:pt x="112" y="8"/>
                    </a:lnTo>
                    <a:lnTo>
                      <a:pt x="114" y="10"/>
                    </a:lnTo>
                    <a:lnTo>
                      <a:pt x="114" y="10"/>
                    </a:lnTo>
                    <a:lnTo>
                      <a:pt x="119" y="10"/>
                    </a:lnTo>
                    <a:lnTo>
                      <a:pt x="120" y="10"/>
                    </a:lnTo>
                    <a:lnTo>
                      <a:pt x="122" y="13"/>
                    </a:lnTo>
                    <a:lnTo>
                      <a:pt x="122" y="13"/>
                    </a:lnTo>
                    <a:lnTo>
                      <a:pt x="122" y="16"/>
                    </a:lnTo>
                    <a:lnTo>
                      <a:pt x="122" y="20"/>
                    </a:lnTo>
                    <a:lnTo>
                      <a:pt x="120" y="24"/>
                    </a:lnTo>
                    <a:lnTo>
                      <a:pt x="122" y="30"/>
                    </a:lnTo>
                    <a:lnTo>
                      <a:pt x="122" y="30"/>
                    </a:lnTo>
                    <a:lnTo>
                      <a:pt x="123" y="36"/>
                    </a:lnTo>
                    <a:lnTo>
                      <a:pt x="123" y="4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19" y="59"/>
                    </a:lnTo>
                    <a:lnTo>
                      <a:pt x="119" y="65"/>
                    </a:lnTo>
                    <a:lnTo>
                      <a:pt x="119" y="65"/>
                    </a:lnTo>
                    <a:lnTo>
                      <a:pt x="119" y="66"/>
                    </a:lnTo>
                    <a:lnTo>
                      <a:pt x="120" y="68"/>
                    </a:lnTo>
                    <a:lnTo>
                      <a:pt x="122" y="69"/>
                    </a:lnTo>
                    <a:lnTo>
                      <a:pt x="122" y="71"/>
                    </a:lnTo>
                    <a:lnTo>
                      <a:pt x="122" y="71"/>
                    </a:lnTo>
                    <a:lnTo>
                      <a:pt x="119" y="76"/>
                    </a:lnTo>
                    <a:lnTo>
                      <a:pt x="117" y="81"/>
                    </a:lnTo>
                    <a:lnTo>
                      <a:pt x="117" y="84"/>
                    </a:lnTo>
                    <a:lnTo>
                      <a:pt x="117" y="84"/>
                    </a:lnTo>
                    <a:lnTo>
                      <a:pt x="117" y="91"/>
                    </a:lnTo>
                    <a:lnTo>
                      <a:pt x="119" y="95"/>
                    </a:lnTo>
                    <a:lnTo>
                      <a:pt x="120" y="97"/>
                    </a:lnTo>
                    <a:lnTo>
                      <a:pt x="120" y="97"/>
                    </a:lnTo>
                    <a:lnTo>
                      <a:pt x="122" y="98"/>
                    </a:lnTo>
                    <a:lnTo>
                      <a:pt x="122" y="101"/>
                    </a:lnTo>
                    <a:lnTo>
                      <a:pt x="120" y="105"/>
                    </a:lnTo>
                    <a:lnTo>
                      <a:pt x="120" y="105"/>
                    </a:lnTo>
                    <a:lnTo>
                      <a:pt x="117" y="108"/>
                    </a:lnTo>
                    <a:lnTo>
                      <a:pt x="113" y="110"/>
                    </a:lnTo>
                    <a:lnTo>
                      <a:pt x="113" y="110"/>
                    </a:lnTo>
                    <a:lnTo>
                      <a:pt x="109" y="108"/>
                    </a:lnTo>
                    <a:lnTo>
                      <a:pt x="104" y="108"/>
                    </a:lnTo>
                    <a:lnTo>
                      <a:pt x="104" y="108"/>
                    </a:lnTo>
                    <a:lnTo>
                      <a:pt x="99" y="110"/>
                    </a:lnTo>
                    <a:lnTo>
                      <a:pt x="91" y="10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7" name="Freeform 1418"/>
              <p:cNvSpPr>
                <a:spLocks/>
              </p:cNvSpPr>
              <p:nvPr/>
            </p:nvSpPr>
            <p:spPr bwMode="auto">
              <a:xfrm>
                <a:off x="2720106" y="1372254"/>
                <a:ext cx="121679" cy="108819"/>
              </a:xfrm>
              <a:custGeom>
                <a:avLst/>
                <a:gdLst>
                  <a:gd name="T0" fmla="*/ 78 w 123"/>
                  <a:gd name="T1" fmla="*/ 104 h 110"/>
                  <a:gd name="T2" fmla="*/ 72 w 123"/>
                  <a:gd name="T3" fmla="*/ 91 h 110"/>
                  <a:gd name="T4" fmla="*/ 68 w 123"/>
                  <a:gd name="T5" fmla="*/ 85 h 110"/>
                  <a:gd name="T6" fmla="*/ 74 w 123"/>
                  <a:gd name="T7" fmla="*/ 79 h 110"/>
                  <a:gd name="T8" fmla="*/ 68 w 123"/>
                  <a:gd name="T9" fmla="*/ 76 h 110"/>
                  <a:gd name="T10" fmla="*/ 61 w 123"/>
                  <a:gd name="T11" fmla="*/ 76 h 110"/>
                  <a:gd name="T12" fmla="*/ 52 w 123"/>
                  <a:gd name="T13" fmla="*/ 75 h 110"/>
                  <a:gd name="T14" fmla="*/ 39 w 123"/>
                  <a:gd name="T15" fmla="*/ 73 h 110"/>
                  <a:gd name="T16" fmla="*/ 42 w 123"/>
                  <a:gd name="T17" fmla="*/ 68 h 110"/>
                  <a:gd name="T18" fmla="*/ 42 w 123"/>
                  <a:gd name="T19" fmla="*/ 63 h 110"/>
                  <a:gd name="T20" fmla="*/ 25 w 123"/>
                  <a:gd name="T21" fmla="*/ 63 h 110"/>
                  <a:gd name="T22" fmla="*/ 30 w 123"/>
                  <a:gd name="T23" fmla="*/ 53 h 110"/>
                  <a:gd name="T24" fmla="*/ 29 w 123"/>
                  <a:gd name="T25" fmla="*/ 44 h 110"/>
                  <a:gd name="T26" fmla="*/ 20 w 123"/>
                  <a:gd name="T27" fmla="*/ 43 h 110"/>
                  <a:gd name="T28" fmla="*/ 19 w 123"/>
                  <a:gd name="T29" fmla="*/ 31 h 110"/>
                  <a:gd name="T30" fmla="*/ 3 w 123"/>
                  <a:gd name="T31" fmla="*/ 24 h 110"/>
                  <a:gd name="T32" fmla="*/ 3 w 123"/>
                  <a:gd name="T33" fmla="*/ 13 h 110"/>
                  <a:gd name="T34" fmla="*/ 1 w 123"/>
                  <a:gd name="T35" fmla="*/ 8 h 110"/>
                  <a:gd name="T36" fmla="*/ 15 w 123"/>
                  <a:gd name="T37" fmla="*/ 1 h 110"/>
                  <a:gd name="T38" fmla="*/ 28 w 123"/>
                  <a:gd name="T39" fmla="*/ 8 h 110"/>
                  <a:gd name="T40" fmla="*/ 41 w 123"/>
                  <a:gd name="T41" fmla="*/ 20 h 110"/>
                  <a:gd name="T42" fmla="*/ 43 w 123"/>
                  <a:gd name="T43" fmla="*/ 27 h 110"/>
                  <a:gd name="T44" fmla="*/ 46 w 123"/>
                  <a:gd name="T45" fmla="*/ 42 h 110"/>
                  <a:gd name="T46" fmla="*/ 54 w 123"/>
                  <a:gd name="T47" fmla="*/ 46 h 110"/>
                  <a:gd name="T48" fmla="*/ 62 w 123"/>
                  <a:gd name="T49" fmla="*/ 47 h 110"/>
                  <a:gd name="T50" fmla="*/ 57 w 123"/>
                  <a:gd name="T51" fmla="*/ 36 h 110"/>
                  <a:gd name="T52" fmla="*/ 51 w 123"/>
                  <a:gd name="T53" fmla="*/ 27 h 110"/>
                  <a:gd name="T54" fmla="*/ 54 w 123"/>
                  <a:gd name="T55" fmla="*/ 16 h 110"/>
                  <a:gd name="T56" fmla="*/ 67 w 123"/>
                  <a:gd name="T57" fmla="*/ 17 h 110"/>
                  <a:gd name="T58" fmla="*/ 67 w 123"/>
                  <a:gd name="T59" fmla="*/ 31 h 110"/>
                  <a:gd name="T60" fmla="*/ 77 w 123"/>
                  <a:gd name="T61" fmla="*/ 42 h 110"/>
                  <a:gd name="T62" fmla="*/ 87 w 123"/>
                  <a:gd name="T63" fmla="*/ 43 h 110"/>
                  <a:gd name="T64" fmla="*/ 90 w 123"/>
                  <a:gd name="T65" fmla="*/ 34 h 110"/>
                  <a:gd name="T66" fmla="*/ 85 w 123"/>
                  <a:gd name="T67" fmla="*/ 29 h 110"/>
                  <a:gd name="T68" fmla="*/ 74 w 123"/>
                  <a:gd name="T69" fmla="*/ 27 h 110"/>
                  <a:gd name="T70" fmla="*/ 74 w 123"/>
                  <a:gd name="T71" fmla="*/ 10 h 110"/>
                  <a:gd name="T72" fmla="*/ 84 w 123"/>
                  <a:gd name="T73" fmla="*/ 7 h 110"/>
                  <a:gd name="T74" fmla="*/ 88 w 123"/>
                  <a:gd name="T75" fmla="*/ 0 h 110"/>
                  <a:gd name="T76" fmla="*/ 93 w 123"/>
                  <a:gd name="T77" fmla="*/ 5 h 110"/>
                  <a:gd name="T78" fmla="*/ 101 w 123"/>
                  <a:gd name="T79" fmla="*/ 11 h 110"/>
                  <a:gd name="T80" fmla="*/ 103 w 123"/>
                  <a:gd name="T81" fmla="*/ 8 h 110"/>
                  <a:gd name="T82" fmla="*/ 107 w 123"/>
                  <a:gd name="T83" fmla="*/ 4 h 110"/>
                  <a:gd name="T84" fmla="*/ 116 w 123"/>
                  <a:gd name="T85" fmla="*/ 4 h 110"/>
                  <a:gd name="T86" fmla="*/ 114 w 123"/>
                  <a:gd name="T87" fmla="*/ 10 h 110"/>
                  <a:gd name="T88" fmla="*/ 122 w 123"/>
                  <a:gd name="T89" fmla="*/ 13 h 110"/>
                  <a:gd name="T90" fmla="*/ 122 w 123"/>
                  <a:gd name="T91" fmla="*/ 30 h 110"/>
                  <a:gd name="T92" fmla="*/ 122 w 123"/>
                  <a:gd name="T93" fmla="*/ 52 h 110"/>
                  <a:gd name="T94" fmla="*/ 119 w 123"/>
                  <a:gd name="T95" fmla="*/ 65 h 110"/>
                  <a:gd name="T96" fmla="*/ 122 w 123"/>
                  <a:gd name="T97" fmla="*/ 71 h 110"/>
                  <a:gd name="T98" fmla="*/ 117 w 123"/>
                  <a:gd name="T99" fmla="*/ 84 h 110"/>
                  <a:gd name="T100" fmla="*/ 120 w 123"/>
                  <a:gd name="T101" fmla="*/ 97 h 110"/>
                  <a:gd name="T102" fmla="*/ 120 w 123"/>
                  <a:gd name="T103" fmla="*/ 105 h 110"/>
                  <a:gd name="T104" fmla="*/ 113 w 123"/>
                  <a:gd name="T105" fmla="*/ 110 h 110"/>
                  <a:gd name="T106" fmla="*/ 99 w 123"/>
                  <a:gd name="T107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3" h="110">
                    <a:moveTo>
                      <a:pt x="91" y="108"/>
                    </a:moveTo>
                    <a:lnTo>
                      <a:pt x="91" y="108"/>
                    </a:lnTo>
                    <a:lnTo>
                      <a:pt x="81" y="105"/>
                    </a:lnTo>
                    <a:lnTo>
                      <a:pt x="78" y="104"/>
                    </a:lnTo>
                    <a:lnTo>
                      <a:pt x="77" y="100"/>
                    </a:lnTo>
                    <a:lnTo>
                      <a:pt x="77" y="100"/>
                    </a:lnTo>
                    <a:lnTo>
                      <a:pt x="75" y="94"/>
                    </a:lnTo>
                    <a:lnTo>
                      <a:pt x="72" y="91"/>
                    </a:lnTo>
                    <a:lnTo>
                      <a:pt x="72" y="91"/>
                    </a:lnTo>
                    <a:lnTo>
                      <a:pt x="68" y="86"/>
                    </a:lnTo>
                    <a:lnTo>
                      <a:pt x="67" y="85"/>
                    </a:lnTo>
                    <a:lnTo>
                      <a:pt x="68" y="85"/>
                    </a:lnTo>
                    <a:lnTo>
                      <a:pt x="68" y="85"/>
                    </a:lnTo>
                    <a:lnTo>
                      <a:pt x="71" y="84"/>
                    </a:lnTo>
                    <a:lnTo>
                      <a:pt x="72" y="82"/>
                    </a:lnTo>
                    <a:lnTo>
                      <a:pt x="74" y="79"/>
                    </a:lnTo>
                    <a:lnTo>
                      <a:pt x="72" y="79"/>
                    </a:lnTo>
                    <a:lnTo>
                      <a:pt x="72" y="79"/>
                    </a:lnTo>
                    <a:lnTo>
                      <a:pt x="71" y="78"/>
                    </a:lnTo>
                    <a:lnTo>
                      <a:pt x="68" y="76"/>
                    </a:lnTo>
                    <a:lnTo>
                      <a:pt x="67" y="75"/>
                    </a:lnTo>
                    <a:lnTo>
                      <a:pt x="64" y="75"/>
                    </a:lnTo>
                    <a:lnTo>
                      <a:pt x="64" y="75"/>
                    </a:lnTo>
                    <a:lnTo>
                      <a:pt x="61" y="76"/>
                    </a:lnTo>
                    <a:lnTo>
                      <a:pt x="58" y="78"/>
                    </a:lnTo>
                    <a:lnTo>
                      <a:pt x="57" y="78"/>
                    </a:lnTo>
                    <a:lnTo>
                      <a:pt x="57" y="78"/>
                    </a:lnTo>
                    <a:lnTo>
                      <a:pt x="52" y="75"/>
                    </a:lnTo>
                    <a:lnTo>
                      <a:pt x="48" y="73"/>
                    </a:lnTo>
                    <a:lnTo>
                      <a:pt x="48" y="73"/>
                    </a:lnTo>
                    <a:lnTo>
                      <a:pt x="42" y="73"/>
                    </a:lnTo>
                    <a:lnTo>
                      <a:pt x="39" y="73"/>
                    </a:lnTo>
                    <a:lnTo>
                      <a:pt x="39" y="73"/>
                    </a:lnTo>
                    <a:lnTo>
                      <a:pt x="39" y="73"/>
                    </a:lnTo>
                    <a:lnTo>
                      <a:pt x="41" y="71"/>
                    </a:lnTo>
                    <a:lnTo>
                      <a:pt x="42" y="68"/>
                    </a:lnTo>
                    <a:lnTo>
                      <a:pt x="43" y="65"/>
                    </a:lnTo>
                    <a:lnTo>
                      <a:pt x="43" y="63"/>
                    </a:lnTo>
                    <a:lnTo>
                      <a:pt x="42" y="63"/>
                    </a:lnTo>
                    <a:lnTo>
                      <a:pt x="42" y="63"/>
                    </a:lnTo>
                    <a:lnTo>
                      <a:pt x="32" y="65"/>
                    </a:lnTo>
                    <a:lnTo>
                      <a:pt x="26" y="65"/>
                    </a:lnTo>
                    <a:lnTo>
                      <a:pt x="25" y="63"/>
                    </a:lnTo>
                    <a:lnTo>
                      <a:pt x="25" y="63"/>
                    </a:lnTo>
                    <a:lnTo>
                      <a:pt x="25" y="63"/>
                    </a:lnTo>
                    <a:lnTo>
                      <a:pt x="26" y="58"/>
                    </a:lnTo>
                    <a:lnTo>
                      <a:pt x="28" y="55"/>
                    </a:lnTo>
                    <a:lnTo>
                      <a:pt x="30" y="53"/>
                    </a:lnTo>
                    <a:lnTo>
                      <a:pt x="30" y="53"/>
                    </a:lnTo>
                    <a:lnTo>
                      <a:pt x="30" y="50"/>
                    </a:lnTo>
                    <a:lnTo>
                      <a:pt x="30" y="47"/>
                    </a:lnTo>
                    <a:lnTo>
                      <a:pt x="29" y="44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3" y="43"/>
                    </a:lnTo>
                    <a:lnTo>
                      <a:pt x="20" y="43"/>
                    </a:lnTo>
                    <a:lnTo>
                      <a:pt x="17" y="42"/>
                    </a:lnTo>
                    <a:lnTo>
                      <a:pt x="17" y="42"/>
                    </a:lnTo>
                    <a:lnTo>
                      <a:pt x="19" y="34"/>
                    </a:lnTo>
                    <a:lnTo>
                      <a:pt x="19" y="31"/>
                    </a:lnTo>
                    <a:lnTo>
                      <a:pt x="16" y="29"/>
                    </a:lnTo>
                    <a:lnTo>
                      <a:pt x="16" y="29"/>
                    </a:lnTo>
                    <a:lnTo>
                      <a:pt x="7" y="27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3" y="18"/>
                    </a:lnTo>
                    <a:lnTo>
                      <a:pt x="3" y="14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1" y="13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0" y="2"/>
                    </a:lnTo>
                    <a:lnTo>
                      <a:pt x="15" y="1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23" y="7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10"/>
                    </a:lnTo>
                    <a:lnTo>
                      <a:pt x="35" y="13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2" y="24"/>
                    </a:lnTo>
                    <a:lnTo>
                      <a:pt x="43" y="27"/>
                    </a:lnTo>
                    <a:lnTo>
                      <a:pt x="43" y="27"/>
                    </a:lnTo>
                    <a:lnTo>
                      <a:pt x="45" y="30"/>
                    </a:lnTo>
                    <a:lnTo>
                      <a:pt x="45" y="34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8" y="44"/>
                    </a:lnTo>
                    <a:lnTo>
                      <a:pt x="49" y="44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8" y="47"/>
                    </a:lnTo>
                    <a:lnTo>
                      <a:pt x="61" y="50"/>
                    </a:lnTo>
                    <a:lnTo>
                      <a:pt x="64" y="50"/>
                    </a:lnTo>
                    <a:lnTo>
                      <a:pt x="62" y="47"/>
                    </a:lnTo>
                    <a:lnTo>
                      <a:pt x="62" y="47"/>
                    </a:lnTo>
                    <a:lnTo>
                      <a:pt x="59" y="40"/>
                    </a:lnTo>
                    <a:lnTo>
                      <a:pt x="57" y="36"/>
                    </a:lnTo>
                    <a:lnTo>
                      <a:pt x="57" y="36"/>
                    </a:lnTo>
                    <a:lnTo>
                      <a:pt x="55" y="33"/>
                    </a:lnTo>
                    <a:lnTo>
                      <a:pt x="54" y="30"/>
                    </a:lnTo>
                    <a:lnTo>
                      <a:pt x="52" y="29"/>
                    </a:lnTo>
                    <a:lnTo>
                      <a:pt x="51" y="27"/>
                    </a:lnTo>
                    <a:lnTo>
                      <a:pt x="51" y="27"/>
                    </a:lnTo>
                    <a:lnTo>
                      <a:pt x="52" y="20"/>
                    </a:lnTo>
                    <a:lnTo>
                      <a:pt x="52" y="17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61" y="14"/>
                    </a:lnTo>
                    <a:lnTo>
                      <a:pt x="64" y="16"/>
                    </a:lnTo>
                    <a:lnTo>
                      <a:pt x="67" y="17"/>
                    </a:lnTo>
                    <a:lnTo>
                      <a:pt x="67" y="17"/>
                    </a:lnTo>
                    <a:lnTo>
                      <a:pt x="65" y="24"/>
                    </a:lnTo>
                    <a:lnTo>
                      <a:pt x="65" y="29"/>
                    </a:lnTo>
                    <a:lnTo>
                      <a:pt x="67" y="31"/>
                    </a:lnTo>
                    <a:lnTo>
                      <a:pt x="67" y="31"/>
                    </a:lnTo>
                    <a:lnTo>
                      <a:pt x="71" y="37"/>
                    </a:lnTo>
                    <a:lnTo>
                      <a:pt x="74" y="40"/>
                    </a:lnTo>
                    <a:lnTo>
                      <a:pt x="77" y="42"/>
                    </a:lnTo>
                    <a:lnTo>
                      <a:pt x="77" y="42"/>
                    </a:lnTo>
                    <a:lnTo>
                      <a:pt x="81" y="42"/>
                    </a:lnTo>
                    <a:lnTo>
                      <a:pt x="84" y="42"/>
                    </a:lnTo>
                    <a:lnTo>
                      <a:pt x="87" y="43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8" y="39"/>
                    </a:lnTo>
                    <a:lnTo>
                      <a:pt x="90" y="34"/>
                    </a:lnTo>
                    <a:lnTo>
                      <a:pt x="88" y="30"/>
                    </a:lnTo>
                    <a:lnTo>
                      <a:pt x="87" y="29"/>
                    </a:lnTo>
                    <a:lnTo>
                      <a:pt x="85" y="29"/>
                    </a:lnTo>
                    <a:lnTo>
                      <a:pt x="85" y="29"/>
                    </a:lnTo>
                    <a:lnTo>
                      <a:pt x="80" y="30"/>
                    </a:lnTo>
                    <a:lnTo>
                      <a:pt x="77" y="29"/>
                    </a:lnTo>
                    <a:lnTo>
                      <a:pt x="74" y="27"/>
                    </a:lnTo>
                    <a:lnTo>
                      <a:pt x="74" y="27"/>
                    </a:lnTo>
                    <a:lnTo>
                      <a:pt x="72" y="23"/>
                    </a:lnTo>
                    <a:lnTo>
                      <a:pt x="71" y="17"/>
                    </a:lnTo>
                    <a:lnTo>
                      <a:pt x="72" y="13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7" y="8"/>
                    </a:lnTo>
                    <a:lnTo>
                      <a:pt x="81" y="8"/>
                    </a:lnTo>
                    <a:lnTo>
                      <a:pt x="84" y="7"/>
                    </a:lnTo>
                    <a:lnTo>
                      <a:pt x="85" y="5"/>
                    </a:lnTo>
                    <a:lnTo>
                      <a:pt x="85" y="5"/>
                    </a:lnTo>
                    <a:lnTo>
                      <a:pt x="87" y="1"/>
                    </a:lnTo>
                    <a:lnTo>
                      <a:pt x="88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3" y="1"/>
                    </a:lnTo>
                    <a:lnTo>
                      <a:pt x="93" y="5"/>
                    </a:lnTo>
                    <a:lnTo>
                      <a:pt x="94" y="8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101" y="11"/>
                    </a:lnTo>
                    <a:lnTo>
                      <a:pt x="104" y="13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3" y="8"/>
                    </a:lnTo>
                    <a:lnTo>
                      <a:pt x="103" y="5"/>
                    </a:lnTo>
                    <a:lnTo>
                      <a:pt x="104" y="4"/>
                    </a:lnTo>
                    <a:lnTo>
                      <a:pt x="107" y="4"/>
                    </a:lnTo>
                    <a:lnTo>
                      <a:pt x="107" y="4"/>
                    </a:lnTo>
                    <a:lnTo>
                      <a:pt x="113" y="4"/>
                    </a:lnTo>
                    <a:lnTo>
                      <a:pt x="116" y="4"/>
                    </a:lnTo>
                    <a:lnTo>
                      <a:pt x="116" y="4"/>
                    </a:lnTo>
                    <a:lnTo>
                      <a:pt x="116" y="4"/>
                    </a:lnTo>
                    <a:lnTo>
                      <a:pt x="113" y="7"/>
                    </a:lnTo>
                    <a:lnTo>
                      <a:pt x="112" y="8"/>
                    </a:lnTo>
                    <a:lnTo>
                      <a:pt x="114" y="10"/>
                    </a:lnTo>
                    <a:lnTo>
                      <a:pt x="114" y="10"/>
                    </a:lnTo>
                    <a:lnTo>
                      <a:pt x="119" y="10"/>
                    </a:lnTo>
                    <a:lnTo>
                      <a:pt x="120" y="10"/>
                    </a:lnTo>
                    <a:lnTo>
                      <a:pt x="122" y="13"/>
                    </a:lnTo>
                    <a:lnTo>
                      <a:pt x="122" y="13"/>
                    </a:lnTo>
                    <a:lnTo>
                      <a:pt x="122" y="16"/>
                    </a:lnTo>
                    <a:lnTo>
                      <a:pt x="122" y="20"/>
                    </a:lnTo>
                    <a:lnTo>
                      <a:pt x="120" y="24"/>
                    </a:lnTo>
                    <a:lnTo>
                      <a:pt x="122" y="30"/>
                    </a:lnTo>
                    <a:lnTo>
                      <a:pt x="122" y="30"/>
                    </a:lnTo>
                    <a:lnTo>
                      <a:pt x="123" y="36"/>
                    </a:lnTo>
                    <a:lnTo>
                      <a:pt x="123" y="4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19" y="59"/>
                    </a:lnTo>
                    <a:lnTo>
                      <a:pt x="119" y="65"/>
                    </a:lnTo>
                    <a:lnTo>
                      <a:pt x="119" y="65"/>
                    </a:lnTo>
                    <a:lnTo>
                      <a:pt x="119" y="66"/>
                    </a:lnTo>
                    <a:lnTo>
                      <a:pt x="120" y="68"/>
                    </a:lnTo>
                    <a:lnTo>
                      <a:pt x="122" y="69"/>
                    </a:lnTo>
                    <a:lnTo>
                      <a:pt x="122" y="71"/>
                    </a:lnTo>
                    <a:lnTo>
                      <a:pt x="122" y="71"/>
                    </a:lnTo>
                    <a:lnTo>
                      <a:pt x="119" y="76"/>
                    </a:lnTo>
                    <a:lnTo>
                      <a:pt x="117" y="81"/>
                    </a:lnTo>
                    <a:lnTo>
                      <a:pt x="117" y="84"/>
                    </a:lnTo>
                    <a:lnTo>
                      <a:pt x="117" y="84"/>
                    </a:lnTo>
                    <a:lnTo>
                      <a:pt x="117" y="91"/>
                    </a:lnTo>
                    <a:lnTo>
                      <a:pt x="119" y="95"/>
                    </a:lnTo>
                    <a:lnTo>
                      <a:pt x="120" y="97"/>
                    </a:lnTo>
                    <a:lnTo>
                      <a:pt x="120" y="97"/>
                    </a:lnTo>
                    <a:lnTo>
                      <a:pt x="122" y="98"/>
                    </a:lnTo>
                    <a:lnTo>
                      <a:pt x="122" y="101"/>
                    </a:lnTo>
                    <a:lnTo>
                      <a:pt x="120" y="105"/>
                    </a:lnTo>
                    <a:lnTo>
                      <a:pt x="120" y="105"/>
                    </a:lnTo>
                    <a:lnTo>
                      <a:pt x="117" y="108"/>
                    </a:lnTo>
                    <a:lnTo>
                      <a:pt x="113" y="110"/>
                    </a:lnTo>
                    <a:lnTo>
                      <a:pt x="113" y="110"/>
                    </a:lnTo>
                    <a:lnTo>
                      <a:pt x="109" y="108"/>
                    </a:lnTo>
                    <a:lnTo>
                      <a:pt x="104" y="108"/>
                    </a:lnTo>
                    <a:lnTo>
                      <a:pt x="104" y="108"/>
                    </a:lnTo>
                    <a:lnTo>
                      <a:pt x="99" y="110"/>
                    </a:lnTo>
                    <a:lnTo>
                      <a:pt x="91" y="10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8" name="Freeform 1419"/>
              <p:cNvSpPr>
                <a:spLocks/>
              </p:cNvSpPr>
              <p:nvPr/>
            </p:nvSpPr>
            <p:spPr bwMode="auto">
              <a:xfrm>
                <a:off x="2566771" y="1367308"/>
                <a:ext cx="19785" cy="8903"/>
              </a:xfrm>
              <a:custGeom>
                <a:avLst/>
                <a:gdLst>
                  <a:gd name="T0" fmla="*/ 17 w 20"/>
                  <a:gd name="T1" fmla="*/ 9 h 9"/>
                  <a:gd name="T2" fmla="*/ 17 w 20"/>
                  <a:gd name="T3" fmla="*/ 9 h 9"/>
                  <a:gd name="T4" fmla="*/ 7 w 20"/>
                  <a:gd name="T5" fmla="*/ 9 h 9"/>
                  <a:gd name="T6" fmla="*/ 2 w 20"/>
                  <a:gd name="T7" fmla="*/ 7 h 9"/>
                  <a:gd name="T8" fmla="*/ 0 w 20"/>
                  <a:gd name="T9" fmla="*/ 6 h 9"/>
                  <a:gd name="T10" fmla="*/ 0 w 20"/>
                  <a:gd name="T11" fmla="*/ 6 h 9"/>
                  <a:gd name="T12" fmla="*/ 0 w 20"/>
                  <a:gd name="T13" fmla="*/ 6 h 9"/>
                  <a:gd name="T14" fmla="*/ 2 w 20"/>
                  <a:gd name="T15" fmla="*/ 3 h 9"/>
                  <a:gd name="T16" fmla="*/ 2 w 20"/>
                  <a:gd name="T17" fmla="*/ 2 h 9"/>
                  <a:gd name="T18" fmla="*/ 4 w 20"/>
                  <a:gd name="T19" fmla="*/ 0 h 9"/>
                  <a:gd name="T20" fmla="*/ 9 w 20"/>
                  <a:gd name="T21" fmla="*/ 0 h 9"/>
                  <a:gd name="T22" fmla="*/ 9 w 20"/>
                  <a:gd name="T23" fmla="*/ 0 h 9"/>
                  <a:gd name="T24" fmla="*/ 15 w 20"/>
                  <a:gd name="T25" fmla="*/ 0 h 9"/>
                  <a:gd name="T26" fmla="*/ 19 w 20"/>
                  <a:gd name="T27" fmla="*/ 3 h 9"/>
                  <a:gd name="T28" fmla="*/ 20 w 20"/>
                  <a:gd name="T29" fmla="*/ 5 h 9"/>
                  <a:gd name="T30" fmla="*/ 20 w 20"/>
                  <a:gd name="T31" fmla="*/ 6 h 9"/>
                  <a:gd name="T32" fmla="*/ 20 w 20"/>
                  <a:gd name="T33" fmla="*/ 7 h 9"/>
                  <a:gd name="T34" fmla="*/ 17 w 20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" h="9">
                    <a:moveTo>
                      <a:pt x="17" y="9"/>
                    </a:moveTo>
                    <a:lnTo>
                      <a:pt x="1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5" y="0"/>
                    </a:lnTo>
                    <a:lnTo>
                      <a:pt x="19" y="3"/>
                    </a:lnTo>
                    <a:lnTo>
                      <a:pt x="20" y="5"/>
                    </a:lnTo>
                    <a:lnTo>
                      <a:pt x="20" y="6"/>
                    </a:lnTo>
                    <a:lnTo>
                      <a:pt x="20" y="7"/>
                    </a:lnTo>
                    <a:lnTo>
                      <a:pt x="17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9" name="Freeform 1420"/>
              <p:cNvSpPr>
                <a:spLocks/>
              </p:cNvSpPr>
              <p:nvPr/>
            </p:nvSpPr>
            <p:spPr bwMode="auto">
              <a:xfrm>
                <a:off x="2566771" y="1367308"/>
                <a:ext cx="19785" cy="8903"/>
              </a:xfrm>
              <a:custGeom>
                <a:avLst/>
                <a:gdLst>
                  <a:gd name="T0" fmla="*/ 17 w 20"/>
                  <a:gd name="T1" fmla="*/ 9 h 9"/>
                  <a:gd name="T2" fmla="*/ 17 w 20"/>
                  <a:gd name="T3" fmla="*/ 9 h 9"/>
                  <a:gd name="T4" fmla="*/ 7 w 20"/>
                  <a:gd name="T5" fmla="*/ 9 h 9"/>
                  <a:gd name="T6" fmla="*/ 2 w 20"/>
                  <a:gd name="T7" fmla="*/ 7 h 9"/>
                  <a:gd name="T8" fmla="*/ 0 w 20"/>
                  <a:gd name="T9" fmla="*/ 6 h 9"/>
                  <a:gd name="T10" fmla="*/ 0 w 20"/>
                  <a:gd name="T11" fmla="*/ 6 h 9"/>
                  <a:gd name="T12" fmla="*/ 0 w 20"/>
                  <a:gd name="T13" fmla="*/ 6 h 9"/>
                  <a:gd name="T14" fmla="*/ 2 w 20"/>
                  <a:gd name="T15" fmla="*/ 3 h 9"/>
                  <a:gd name="T16" fmla="*/ 2 w 20"/>
                  <a:gd name="T17" fmla="*/ 2 h 9"/>
                  <a:gd name="T18" fmla="*/ 4 w 20"/>
                  <a:gd name="T19" fmla="*/ 0 h 9"/>
                  <a:gd name="T20" fmla="*/ 9 w 20"/>
                  <a:gd name="T21" fmla="*/ 0 h 9"/>
                  <a:gd name="T22" fmla="*/ 9 w 20"/>
                  <a:gd name="T23" fmla="*/ 0 h 9"/>
                  <a:gd name="T24" fmla="*/ 15 w 20"/>
                  <a:gd name="T25" fmla="*/ 0 h 9"/>
                  <a:gd name="T26" fmla="*/ 19 w 20"/>
                  <a:gd name="T27" fmla="*/ 3 h 9"/>
                  <a:gd name="T28" fmla="*/ 20 w 20"/>
                  <a:gd name="T29" fmla="*/ 5 h 9"/>
                  <a:gd name="T30" fmla="*/ 20 w 20"/>
                  <a:gd name="T31" fmla="*/ 6 h 9"/>
                  <a:gd name="T32" fmla="*/ 20 w 20"/>
                  <a:gd name="T33" fmla="*/ 7 h 9"/>
                  <a:gd name="T34" fmla="*/ 17 w 20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" h="9">
                    <a:moveTo>
                      <a:pt x="17" y="9"/>
                    </a:moveTo>
                    <a:lnTo>
                      <a:pt x="1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5" y="0"/>
                    </a:lnTo>
                    <a:lnTo>
                      <a:pt x="19" y="3"/>
                    </a:lnTo>
                    <a:lnTo>
                      <a:pt x="20" y="5"/>
                    </a:lnTo>
                    <a:lnTo>
                      <a:pt x="20" y="6"/>
                    </a:lnTo>
                    <a:lnTo>
                      <a:pt x="20" y="7"/>
                    </a:lnTo>
                    <a:lnTo>
                      <a:pt x="17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70" name="Freeform 1421"/>
              <p:cNvSpPr>
                <a:spLocks/>
              </p:cNvSpPr>
              <p:nvPr/>
            </p:nvSpPr>
            <p:spPr bwMode="auto">
              <a:xfrm>
                <a:off x="2592491" y="1278274"/>
                <a:ext cx="57377" cy="57377"/>
              </a:xfrm>
              <a:custGeom>
                <a:avLst/>
                <a:gdLst>
                  <a:gd name="T0" fmla="*/ 20 w 58"/>
                  <a:gd name="T1" fmla="*/ 58 h 58"/>
                  <a:gd name="T2" fmla="*/ 13 w 58"/>
                  <a:gd name="T3" fmla="*/ 55 h 58"/>
                  <a:gd name="T4" fmla="*/ 10 w 58"/>
                  <a:gd name="T5" fmla="*/ 50 h 58"/>
                  <a:gd name="T6" fmla="*/ 9 w 58"/>
                  <a:gd name="T7" fmla="*/ 48 h 58"/>
                  <a:gd name="T8" fmla="*/ 3 w 58"/>
                  <a:gd name="T9" fmla="*/ 45 h 58"/>
                  <a:gd name="T10" fmla="*/ 2 w 58"/>
                  <a:gd name="T11" fmla="*/ 42 h 58"/>
                  <a:gd name="T12" fmla="*/ 0 w 58"/>
                  <a:gd name="T13" fmla="*/ 28 h 58"/>
                  <a:gd name="T14" fmla="*/ 2 w 58"/>
                  <a:gd name="T15" fmla="*/ 22 h 58"/>
                  <a:gd name="T16" fmla="*/ 6 w 58"/>
                  <a:gd name="T17" fmla="*/ 16 h 58"/>
                  <a:gd name="T18" fmla="*/ 13 w 58"/>
                  <a:gd name="T19" fmla="*/ 12 h 58"/>
                  <a:gd name="T20" fmla="*/ 26 w 58"/>
                  <a:gd name="T21" fmla="*/ 6 h 58"/>
                  <a:gd name="T22" fmla="*/ 54 w 58"/>
                  <a:gd name="T23" fmla="*/ 0 h 58"/>
                  <a:gd name="T24" fmla="*/ 58 w 58"/>
                  <a:gd name="T25" fmla="*/ 3 h 58"/>
                  <a:gd name="T26" fmla="*/ 57 w 58"/>
                  <a:gd name="T27" fmla="*/ 9 h 58"/>
                  <a:gd name="T28" fmla="*/ 54 w 58"/>
                  <a:gd name="T29" fmla="*/ 13 h 58"/>
                  <a:gd name="T30" fmla="*/ 46 w 58"/>
                  <a:gd name="T31" fmla="*/ 18 h 58"/>
                  <a:gd name="T32" fmla="*/ 39 w 58"/>
                  <a:gd name="T33" fmla="*/ 21 h 58"/>
                  <a:gd name="T34" fmla="*/ 32 w 58"/>
                  <a:gd name="T35" fmla="*/ 25 h 58"/>
                  <a:gd name="T36" fmla="*/ 35 w 58"/>
                  <a:gd name="T37" fmla="*/ 27 h 58"/>
                  <a:gd name="T38" fmla="*/ 49 w 58"/>
                  <a:gd name="T39" fmla="*/ 25 h 58"/>
                  <a:gd name="T40" fmla="*/ 51 w 58"/>
                  <a:gd name="T41" fmla="*/ 27 h 58"/>
                  <a:gd name="T42" fmla="*/ 49 w 58"/>
                  <a:gd name="T43" fmla="*/ 31 h 58"/>
                  <a:gd name="T44" fmla="*/ 46 w 58"/>
                  <a:gd name="T45" fmla="*/ 34 h 58"/>
                  <a:gd name="T46" fmla="*/ 46 w 58"/>
                  <a:gd name="T47" fmla="*/ 38 h 58"/>
                  <a:gd name="T48" fmla="*/ 49 w 58"/>
                  <a:gd name="T49" fmla="*/ 42 h 58"/>
                  <a:gd name="T50" fmla="*/ 45 w 58"/>
                  <a:gd name="T51" fmla="*/ 48 h 58"/>
                  <a:gd name="T52" fmla="*/ 41 w 58"/>
                  <a:gd name="T53" fmla="*/ 51 h 58"/>
                  <a:gd name="T54" fmla="*/ 36 w 58"/>
                  <a:gd name="T55" fmla="*/ 53 h 58"/>
                  <a:gd name="T56" fmla="*/ 35 w 58"/>
                  <a:gd name="T57" fmla="*/ 51 h 58"/>
                  <a:gd name="T58" fmla="*/ 33 w 58"/>
                  <a:gd name="T59" fmla="*/ 50 h 58"/>
                  <a:gd name="T60" fmla="*/ 31 w 58"/>
                  <a:gd name="T61" fmla="*/ 50 h 58"/>
                  <a:gd name="T62" fmla="*/ 23 w 58"/>
                  <a:gd name="T63" fmla="*/ 5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8" h="58">
                    <a:moveTo>
                      <a:pt x="20" y="58"/>
                    </a:moveTo>
                    <a:lnTo>
                      <a:pt x="20" y="58"/>
                    </a:lnTo>
                    <a:lnTo>
                      <a:pt x="16" y="57"/>
                    </a:lnTo>
                    <a:lnTo>
                      <a:pt x="13" y="55"/>
                    </a:lnTo>
                    <a:lnTo>
                      <a:pt x="12" y="53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9" y="48"/>
                    </a:lnTo>
                    <a:lnTo>
                      <a:pt x="7" y="47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2" y="42"/>
                    </a:lnTo>
                    <a:lnTo>
                      <a:pt x="2" y="3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22"/>
                    </a:lnTo>
                    <a:lnTo>
                      <a:pt x="3" y="19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3" y="12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45" y="2"/>
                    </a:lnTo>
                    <a:lnTo>
                      <a:pt x="54" y="0"/>
                    </a:lnTo>
                    <a:lnTo>
                      <a:pt x="57" y="2"/>
                    </a:lnTo>
                    <a:lnTo>
                      <a:pt x="58" y="3"/>
                    </a:lnTo>
                    <a:lnTo>
                      <a:pt x="58" y="3"/>
                    </a:lnTo>
                    <a:lnTo>
                      <a:pt x="57" y="9"/>
                    </a:lnTo>
                    <a:lnTo>
                      <a:pt x="55" y="12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46" y="18"/>
                    </a:lnTo>
                    <a:lnTo>
                      <a:pt x="39" y="21"/>
                    </a:lnTo>
                    <a:lnTo>
                      <a:pt x="39" y="21"/>
                    </a:lnTo>
                    <a:lnTo>
                      <a:pt x="33" y="24"/>
                    </a:lnTo>
                    <a:lnTo>
                      <a:pt x="32" y="25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45" y="25"/>
                    </a:lnTo>
                    <a:lnTo>
                      <a:pt x="49" y="25"/>
                    </a:lnTo>
                    <a:lnTo>
                      <a:pt x="51" y="25"/>
                    </a:lnTo>
                    <a:lnTo>
                      <a:pt x="51" y="27"/>
                    </a:lnTo>
                    <a:lnTo>
                      <a:pt x="51" y="27"/>
                    </a:lnTo>
                    <a:lnTo>
                      <a:pt x="49" y="31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7"/>
                    </a:lnTo>
                    <a:lnTo>
                      <a:pt x="46" y="38"/>
                    </a:lnTo>
                    <a:lnTo>
                      <a:pt x="48" y="41"/>
                    </a:lnTo>
                    <a:lnTo>
                      <a:pt x="49" y="42"/>
                    </a:lnTo>
                    <a:lnTo>
                      <a:pt x="49" y="42"/>
                    </a:lnTo>
                    <a:lnTo>
                      <a:pt x="45" y="48"/>
                    </a:lnTo>
                    <a:lnTo>
                      <a:pt x="44" y="50"/>
                    </a:lnTo>
                    <a:lnTo>
                      <a:pt x="41" y="51"/>
                    </a:lnTo>
                    <a:lnTo>
                      <a:pt x="41" y="51"/>
                    </a:lnTo>
                    <a:lnTo>
                      <a:pt x="36" y="53"/>
                    </a:lnTo>
                    <a:lnTo>
                      <a:pt x="36" y="53"/>
                    </a:lnTo>
                    <a:lnTo>
                      <a:pt x="35" y="51"/>
                    </a:lnTo>
                    <a:lnTo>
                      <a:pt x="35" y="51"/>
                    </a:lnTo>
                    <a:lnTo>
                      <a:pt x="33" y="50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26" y="54"/>
                    </a:lnTo>
                    <a:lnTo>
                      <a:pt x="23" y="57"/>
                    </a:lnTo>
                    <a:lnTo>
                      <a:pt x="20" y="5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71" name="Freeform 1422"/>
              <p:cNvSpPr>
                <a:spLocks/>
              </p:cNvSpPr>
              <p:nvPr/>
            </p:nvSpPr>
            <p:spPr bwMode="auto">
              <a:xfrm>
                <a:off x="2592491" y="1278274"/>
                <a:ext cx="57377" cy="57377"/>
              </a:xfrm>
              <a:custGeom>
                <a:avLst/>
                <a:gdLst>
                  <a:gd name="T0" fmla="*/ 20 w 58"/>
                  <a:gd name="T1" fmla="*/ 58 h 58"/>
                  <a:gd name="T2" fmla="*/ 13 w 58"/>
                  <a:gd name="T3" fmla="*/ 55 h 58"/>
                  <a:gd name="T4" fmla="*/ 10 w 58"/>
                  <a:gd name="T5" fmla="*/ 50 h 58"/>
                  <a:gd name="T6" fmla="*/ 9 w 58"/>
                  <a:gd name="T7" fmla="*/ 48 h 58"/>
                  <a:gd name="T8" fmla="*/ 3 w 58"/>
                  <a:gd name="T9" fmla="*/ 45 h 58"/>
                  <a:gd name="T10" fmla="*/ 2 w 58"/>
                  <a:gd name="T11" fmla="*/ 42 h 58"/>
                  <a:gd name="T12" fmla="*/ 0 w 58"/>
                  <a:gd name="T13" fmla="*/ 28 h 58"/>
                  <a:gd name="T14" fmla="*/ 2 w 58"/>
                  <a:gd name="T15" fmla="*/ 22 h 58"/>
                  <a:gd name="T16" fmla="*/ 6 w 58"/>
                  <a:gd name="T17" fmla="*/ 16 h 58"/>
                  <a:gd name="T18" fmla="*/ 13 w 58"/>
                  <a:gd name="T19" fmla="*/ 12 h 58"/>
                  <a:gd name="T20" fmla="*/ 26 w 58"/>
                  <a:gd name="T21" fmla="*/ 6 h 58"/>
                  <a:gd name="T22" fmla="*/ 54 w 58"/>
                  <a:gd name="T23" fmla="*/ 0 h 58"/>
                  <a:gd name="T24" fmla="*/ 58 w 58"/>
                  <a:gd name="T25" fmla="*/ 3 h 58"/>
                  <a:gd name="T26" fmla="*/ 57 w 58"/>
                  <a:gd name="T27" fmla="*/ 9 h 58"/>
                  <a:gd name="T28" fmla="*/ 54 w 58"/>
                  <a:gd name="T29" fmla="*/ 13 h 58"/>
                  <a:gd name="T30" fmla="*/ 46 w 58"/>
                  <a:gd name="T31" fmla="*/ 18 h 58"/>
                  <a:gd name="T32" fmla="*/ 39 w 58"/>
                  <a:gd name="T33" fmla="*/ 21 h 58"/>
                  <a:gd name="T34" fmla="*/ 32 w 58"/>
                  <a:gd name="T35" fmla="*/ 25 h 58"/>
                  <a:gd name="T36" fmla="*/ 35 w 58"/>
                  <a:gd name="T37" fmla="*/ 27 h 58"/>
                  <a:gd name="T38" fmla="*/ 49 w 58"/>
                  <a:gd name="T39" fmla="*/ 25 h 58"/>
                  <a:gd name="T40" fmla="*/ 51 w 58"/>
                  <a:gd name="T41" fmla="*/ 27 h 58"/>
                  <a:gd name="T42" fmla="*/ 49 w 58"/>
                  <a:gd name="T43" fmla="*/ 31 h 58"/>
                  <a:gd name="T44" fmla="*/ 46 w 58"/>
                  <a:gd name="T45" fmla="*/ 34 h 58"/>
                  <a:gd name="T46" fmla="*/ 46 w 58"/>
                  <a:gd name="T47" fmla="*/ 38 h 58"/>
                  <a:gd name="T48" fmla="*/ 49 w 58"/>
                  <a:gd name="T49" fmla="*/ 42 h 58"/>
                  <a:gd name="T50" fmla="*/ 45 w 58"/>
                  <a:gd name="T51" fmla="*/ 48 h 58"/>
                  <a:gd name="T52" fmla="*/ 41 w 58"/>
                  <a:gd name="T53" fmla="*/ 51 h 58"/>
                  <a:gd name="T54" fmla="*/ 36 w 58"/>
                  <a:gd name="T55" fmla="*/ 53 h 58"/>
                  <a:gd name="T56" fmla="*/ 35 w 58"/>
                  <a:gd name="T57" fmla="*/ 51 h 58"/>
                  <a:gd name="T58" fmla="*/ 33 w 58"/>
                  <a:gd name="T59" fmla="*/ 50 h 58"/>
                  <a:gd name="T60" fmla="*/ 31 w 58"/>
                  <a:gd name="T61" fmla="*/ 50 h 58"/>
                  <a:gd name="T62" fmla="*/ 23 w 58"/>
                  <a:gd name="T63" fmla="*/ 5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8" h="58">
                    <a:moveTo>
                      <a:pt x="20" y="58"/>
                    </a:moveTo>
                    <a:lnTo>
                      <a:pt x="20" y="58"/>
                    </a:lnTo>
                    <a:lnTo>
                      <a:pt x="16" y="57"/>
                    </a:lnTo>
                    <a:lnTo>
                      <a:pt x="13" y="55"/>
                    </a:lnTo>
                    <a:lnTo>
                      <a:pt x="12" y="53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9" y="48"/>
                    </a:lnTo>
                    <a:lnTo>
                      <a:pt x="7" y="47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2" y="42"/>
                    </a:lnTo>
                    <a:lnTo>
                      <a:pt x="2" y="3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22"/>
                    </a:lnTo>
                    <a:lnTo>
                      <a:pt x="3" y="19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3" y="12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45" y="2"/>
                    </a:lnTo>
                    <a:lnTo>
                      <a:pt x="54" y="0"/>
                    </a:lnTo>
                    <a:lnTo>
                      <a:pt x="57" y="2"/>
                    </a:lnTo>
                    <a:lnTo>
                      <a:pt x="58" y="3"/>
                    </a:lnTo>
                    <a:lnTo>
                      <a:pt x="58" y="3"/>
                    </a:lnTo>
                    <a:lnTo>
                      <a:pt x="57" y="9"/>
                    </a:lnTo>
                    <a:lnTo>
                      <a:pt x="55" y="12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46" y="18"/>
                    </a:lnTo>
                    <a:lnTo>
                      <a:pt x="39" y="21"/>
                    </a:lnTo>
                    <a:lnTo>
                      <a:pt x="39" y="21"/>
                    </a:lnTo>
                    <a:lnTo>
                      <a:pt x="33" y="24"/>
                    </a:lnTo>
                    <a:lnTo>
                      <a:pt x="32" y="25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45" y="25"/>
                    </a:lnTo>
                    <a:lnTo>
                      <a:pt x="49" y="25"/>
                    </a:lnTo>
                    <a:lnTo>
                      <a:pt x="51" y="25"/>
                    </a:lnTo>
                    <a:lnTo>
                      <a:pt x="51" y="27"/>
                    </a:lnTo>
                    <a:lnTo>
                      <a:pt x="51" y="27"/>
                    </a:lnTo>
                    <a:lnTo>
                      <a:pt x="49" y="31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7"/>
                    </a:lnTo>
                    <a:lnTo>
                      <a:pt x="46" y="38"/>
                    </a:lnTo>
                    <a:lnTo>
                      <a:pt x="48" y="41"/>
                    </a:lnTo>
                    <a:lnTo>
                      <a:pt x="49" y="42"/>
                    </a:lnTo>
                    <a:lnTo>
                      <a:pt x="49" y="42"/>
                    </a:lnTo>
                    <a:lnTo>
                      <a:pt x="45" y="48"/>
                    </a:lnTo>
                    <a:lnTo>
                      <a:pt x="44" y="50"/>
                    </a:lnTo>
                    <a:lnTo>
                      <a:pt x="41" y="51"/>
                    </a:lnTo>
                    <a:lnTo>
                      <a:pt x="41" y="51"/>
                    </a:lnTo>
                    <a:lnTo>
                      <a:pt x="36" y="53"/>
                    </a:lnTo>
                    <a:lnTo>
                      <a:pt x="36" y="53"/>
                    </a:lnTo>
                    <a:lnTo>
                      <a:pt x="35" y="51"/>
                    </a:lnTo>
                    <a:lnTo>
                      <a:pt x="35" y="51"/>
                    </a:lnTo>
                    <a:lnTo>
                      <a:pt x="33" y="50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26" y="54"/>
                    </a:lnTo>
                    <a:lnTo>
                      <a:pt x="23" y="57"/>
                    </a:lnTo>
                    <a:lnTo>
                      <a:pt x="20" y="5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72" name="Freeform 1423"/>
              <p:cNvSpPr>
                <a:spLocks/>
              </p:cNvSpPr>
              <p:nvPr/>
            </p:nvSpPr>
            <p:spPr bwMode="auto">
              <a:xfrm>
                <a:off x="2566771" y="1284210"/>
                <a:ext cx="18796" cy="22753"/>
              </a:xfrm>
              <a:custGeom>
                <a:avLst/>
                <a:gdLst>
                  <a:gd name="T0" fmla="*/ 12 w 19"/>
                  <a:gd name="T1" fmla="*/ 23 h 23"/>
                  <a:gd name="T2" fmla="*/ 12 w 19"/>
                  <a:gd name="T3" fmla="*/ 23 h 23"/>
                  <a:gd name="T4" fmla="*/ 9 w 19"/>
                  <a:gd name="T5" fmla="*/ 22 h 23"/>
                  <a:gd name="T6" fmla="*/ 9 w 19"/>
                  <a:gd name="T7" fmla="*/ 21 h 23"/>
                  <a:gd name="T8" fmla="*/ 7 w 19"/>
                  <a:gd name="T9" fmla="*/ 19 h 23"/>
                  <a:gd name="T10" fmla="*/ 7 w 19"/>
                  <a:gd name="T11" fmla="*/ 19 h 23"/>
                  <a:gd name="T12" fmla="*/ 7 w 19"/>
                  <a:gd name="T13" fmla="*/ 19 h 23"/>
                  <a:gd name="T14" fmla="*/ 4 w 19"/>
                  <a:gd name="T15" fmla="*/ 16 h 23"/>
                  <a:gd name="T16" fmla="*/ 2 w 19"/>
                  <a:gd name="T17" fmla="*/ 13 h 23"/>
                  <a:gd name="T18" fmla="*/ 2 w 19"/>
                  <a:gd name="T19" fmla="*/ 13 h 23"/>
                  <a:gd name="T20" fmla="*/ 0 w 19"/>
                  <a:gd name="T21" fmla="*/ 12 h 23"/>
                  <a:gd name="T22" fmla="*/ 0 w 19"/>
                  <a:gd name="T23" fmla="*/ 10 h 23"/>
                  <a:gd name="T24" fmla="*/ 3 w 19"/>
                  <a:gd name="T25" fmla="*/ 6 h 23"/>
                  <a:gd name="T26" fmla="*/ 3 w 19"/>
                  <a:gd name="T27" fmla="*/ 6 h 23"/>
                  <a:gd name="T28" fmla="*/ 6 w 19"/>
                  <a:gd name="T29" fmla="*/ 0 h 23"/>
                  <a:gd name="T30" fmla="*/ 7 w 19"/>
                  <a:gd name="T31" fmla="*/ 0 h 23"/>
                  <a:gd name="T32" fmla="*/ 7 w 19"/>
                  <a:gd name="T33" fmla="*/ 0 h 23"/>
                  <a:gd name="T34" fmla="*/ 7 w 19"/>
                  <a:gd name="T35" fmla="*/ 0 h 23"/>
                  <a:gd name="T36" fmla="*/ 9 w 19"/>
                  <a:gd name="T37" fmla="*/ 5 h 23"/>
                  <a:gd name="T38" fmla="*/ 12 w 19"/>
                  <a:gd name="T39" fmla="*/ 7 h 23"/>
                  <a:gd name="T40" fmla="*/ 12 w 19"/>
                  <a:gd name="T41" fmla="*/ 7 h 23"/>
                  <a:gd name="T42" fmla="*/ 17 w 19"/>
                  <a:gd name="T43" fmla="*/ 15 h 23"/>
                  <a:gd name="T44" fmla="*/ 19 w 19"/>
                  <a:gd name="T45" fmla="*/ 18 h 23"/>
                  <a:gd name="T46" fmla="*/ 19 w 19"/>
                  <a:gd name="T47" fmla="*/ 19 h 23"/>
                  <a:gd name="T48" fmla="*/ 19 w 19"/>
                  <a:gd name="T49" fmla="*/ 19 h 23"/>
                  <a:gd name="T50" fmla="*/ 16 w 19"/>
                  <a:gd name="T51" fmla="*/ 22 h 23"/>
                  <a:gd name="T52" fmla="*/ 13 w 19"/>
                  <a:gd name="T53" fmla="*/ 23 h 23"/>
                  <a:gd name="T54" fmla="*/ 12 w 19"/>
                  <a:gd name="T55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" h="23">
                    <a:moveTo>
                      <a:pt x="12" y="23"/>
                    </a:moveTo>
                    <a:lnTo>
                      <a:pt x="12" y="23"/>
                    </a:lnTo>
                    <a:lnTo>
                      <a:pt x="9" y="22"/>
                    </a:lnTo>
                    <a:lnTo>
                      <a:pt x="9" y="21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4" y="16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9" y="5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7" y="15"/>
                    </a:lnTo>
                    <a:lnTo>
                      <a:pt x="19" y="18"/>
                    </a:lnTo>
                    <a:lnTo>
                      <a:pt x="19" y="19"/>
                    </a:lnTo>
                    <a:lnTo>
                      <a:pt x="19" y="19"/>
                    </a:lnTo>
                    <a:lnTo>
                      <a:pt x="16" y="22"/>
                    </a:lnTo>
                    <a:lnTo>
                      <a:pt x="13" y="23"/>
                    </a:lnTo>
                    <a:lnTo>
                      <a:pt x="12" y="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73" name="Freeform 1424"/>
              <p:cNvSpPr>
                <a:spLocks/>
              </p:cNvSpPr>
              <p:nvPr/>
            </p:nvSpPr>
            <p:spPr bwMode="auto">
              <a:xfrm>
                <a:off x="2566771" y="1284210"/>
                <a:ext cx="18796" cy="22753"/>
              </a:xfrm>
              <a:custGeom>
                <a:avLst/>
                <a:gdLst>
                  <a:gd name="T0" fmla="*/ 12 w 19"/>
                  <a:gd name="T1" fmla="*/ 23 h 23"/>
                  <a:gd name="T2" fmla="*/ 12 w 19"/>
                  <a:gd name="T3" fmla="*/ 23 h 23"/>
                  <a:gd name="T4" fmla="*/ 9 w 19"/>
                  <a:gd name="T5" fmla="*/ 22 h 23"/>
                  <a:gd name="T6" fmla="*/ 9 w 19"/>
                  <a:gd name="T7" fmla="*/ 21 h 23"/>
                  <a:gd name="T8" fmla="*/ 7 w 19"/>
                  <a:gd name="T9" fmla="*/ 19 h 23"/>
                  <a:gd name="T10" fmla="*/ 7 w 19"/>
                  <a:gd name="T11" fmla="*/ 19 h 23"/>
                  <a:gd name="T12" fmla="*/ 7 w 19"/>
                  <a:gd name="T13" fmla="*/ 19 h 23"/>
                  <a:gd name="T14" fmla="*/ 4 w 19"/>
                  <a:gd name="T15" fmla="*/ 16 h 23"/>
                  <a:gd name="T16" fmla="*/ 2 w 19"/>
                  <a:gd name="T17" fmla="*/ 13 h 23"/>
                  <a:gd name="T18" fmla="*/ 2 w 19"/>
                  <a:gd name="T19" fmla="*/ 13 h 23"/>
                  <a:gd name="T20" fmla="*/ 0 w 19"/>
                  <a:gd name="T21" fmla="*/ 12 h 23"/>
                  <a:gd name="T22" fmla="*/ 0 w 19"/>
                  <a:gd name="T23" fmla="*/ 10 h 23"/>
                  <a:gd name="T24" fmla="*/ 3 w 19"/>
                  <a:gd name="T25" fmla="*/ 6 h 23"/>
                  <a:gd name="T26" fmla="*/ 3 w 19"/>
                  <a:gd name="T27" fmla="*/ 6 h 23"/>
                  <a:gd name="T28" fmla="*/ 6 w 19"/>
                  <a:gd name="T29" fmla="*/ 0 h 23"/>
                  <a:gd name="T30" fmla="*/ 7 w 19"/>
                  <a:gd name="T31" fmla="*/ 0 h 23"/>
                  <a:gd name="T32" fmla="*/ 7 w 19"/>
                  <a:gd name="T33" fmla="*/ 0 h 23"/>
                  <a:gd name="T34" fmla="*/ 7 w 19"/>
                  <a:gd name="T35" fmla="*/ 0 h 23"/>
                  <a:gd name="T36" fmla="*/ 9 w 19"/>
                  <a:gd name="T37" fmla="*/ 5 h 23"/>
                  <a:gd name="T38" fmla="*/ 12 w 19"/>
                  <a:gd name="T39" fmla="*/ 7 h 23"/>
                  <a:gd name="T40" fmla="*/ 12 w 19"/>
                  <a:gd name="T41" fmla="*/ 7 h 23"/>
                  <a:gd name="T42" fmla="*/ 17 w 19"/>
                  <a:gd name="T43" fmla="*/ 15 h 23"/>
                  <a:gd name="T44" fmla="*/ 19 w 19"/>
                  <a:gd name="T45" fmla="*/ 18 h 23"/>
                  <a:gd name="T46" fmla="*/ 19 w 19"/>
                  <a:gd name="T47" fmla="*/ 19 h 23"/>
                  <a:gd name="T48" fmla="*/ 19 w 19"/>
                  <a:gd name="T49" fmla="*/ 19 h 23"/>
                  <a:gd name="T50" fmla="*/ 16 w 19"/>
                  <a:gd name="T51" fmla="*/ 22 h 23"/>
                  <a:gd name="T52" fmla="*/ 13 w 19"/>
                  <a:gd name="T53" fmla="*/ 23 h 23"/>
                  <a:gd name="T54" fmla="*/ 12 w 19"/>
                  <a:gd name="T55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" h="23">
                    <a:moveTo>
                      <a:pt x="12" y="23"/>
                    </a:moveTo>
                    <a:lnTo>
                      <a:pt x="12" y="23"/>
                    </a:lnTo>
                    <a:lnTo>
                      <a:pt x="9" y="22"/>
                    </a:lnTo>
                    <a:lnTo>
                      <a:pt x="9" y="21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4" y="16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9" y="5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7" y="15"/>
                    </a:lnTo>
                    <a:lnTo>
                      <a:pt x="19" y="18"/>
                    </a:lnTo>
                    <a:lnTo>
                      <a:pt x="19" y="19"/>
                    </a:lnTo>
                    <a:lnTo>
                      <a:pt x="19" y="19"/>
                    </a:lnTo>
                    <a:lnTo>
                      <a:pt x="16" y="22"/>
                    </a:lnTo>
                    <a:lnTo>
                      <a:pt x="13" y="23"/>
                    </a:lnTo>
                    <a:lnTo>
                      <a:pt x="12" y="2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74" name="Freeform 1425"/>
              <p:cNvSpPr>
                <a:spLocks/>
              </p:cNvSpPr>
              <p:nvPr/>
            </p:nvSpPr>
            <p:spPr bwMode="auto">
              <a:xfrm>
                <a:off x="2591502" y="1229800"/>
                <a:ext cx="62323" cy="37592"/>
              </a:xfrm>
              <a:custGeom>
                <a:avLst/>
                <a:gdLst>
                  <a:gd name="T0" fmla="*/ 7 w 63"/>
                  <a:gd name="T1" fmla="*/ 35 h 38"/>
                  <a:gd name="T2" fmla="*/ 7 w 63"/>
                  <a:gd name="T3" fmla="*/ 35 h 38"/>
                  <a:gd name="T4" fmla="*/ 3 w 63"/>
                  <a:gd name="T5" fmla="*/ 35 h 38"/>
                  <a:gd name="T6" fmla="*/ 0 w 63"/>
                  <a:gd name="T7" fmla="*/ 34 h 38"/>
                  <a:gd name="T8" fmla="*/ 0 w 63"/>
                  <a:gd name="T9" fmla="*/ 32 h 38"/>
                  <a:gd name="T10" fmla="*/ 1 w 63"/>
                  <a:gd name="T11" fmla="*/ 29 h 38"/>
                  <a:gd name="T12" fmla="*/ 1 w 63"/>
                  <a:gd name="T13" fmla="*/ 29 h 38"/>
                  <a:gd name="T14" fmla="*/ 10 w 63"/>
                  <a:gd name="T15" fmla="*/ 20 h 38"/>
                  <a:gd name="T16" fmla="*/ 14 w 63"/>
                  <a:gd name="T17" fmla="*/ 18 h 38"/>
                  <a:gd name="T18" fmla="*/ 19 w 63"/>
                  <a:gd name="T19" fmla="*/ 16 h 38"/>
                  <a:gd name="T20" fmla="*/ 19 w 63"/>
                  <a:gd name="T21" fmla="*/ 16 h 38"/>
                  <a:gd name="T22" fmla="*/ 27 w 63"/>
                  <a:gd name="T23" fmla="*/ 15 h 38"/>
                  <a:gd name="T24" fmla="*/ 30 w 63"/>
                  <a:gd name="T25" fmla="*/ 13 h 38"/>
                  <a:gd name="T26" fmla="*/ 33 w 63"/>
                  <a:gd name="T27" fmla="*/ 10 h 38"/>
                  <a:gd name="T28" fmla="*/ 33 w 63"/>
                  <a:gd name="T29" fmla="*/ 10 h 38"/>
                  <a:gd name="T30" fmla="*/ 34 w 63"/>
                  <a:gd name="T31" fmla="*/ 6 h 38"/>
                  <a:gd name="T32" fmla="*/ 39 w 63"/>
                  <a:gd name="T33" fmla="*/ 3 h 38"/>
                  <a:gd name="T34" fmla="*/ 43 w 63"/>
                  <a:gd name="T35" fmla="*/ 0 h 38"/>
                  <a:gd name="T36" fmla="*/ 45 w 63"/>
                  <a:gd name="T37" fmla="*/ 0 h 38"/>
                  <a:gd name="T38" fmla="*/ 47 w 63"/>
                  <a:gd name="T39" fmla="*/ 0 h 38"/>
                  <a:gd name="T40" fmla="*/ 47 w 63"/>
                  <a:gd name="T41" fmla="*/ 0 h 38"/>
                  <a:gd name="T42" fmla="*/ 49 w 63"/>
                  <a:gd name="T43" fmla="*/ 3 h 38"/>
                  <a:gd name="T44" fmla="*/ 50 w 63"/>
                  <a:gd name="T45" fmla="*/ 6 h 38"/>
                  <a:gd name="T46" fmla="*/ 52 w 63"/>
                  <a:gd name="T47" fmla="*/ 9 h 38"/>
                  <a:gd name="T48" fmla="*/ 55 w 63"/>
                  <a:gd name="T49" fmla="*/ 10 h 38"/>
                  <a:gd name="T50" fmla="*/ 55 w 63"/>
                  <a:gd name="T51" fmla="*/ 10 h 38"/>
                  <a:gd name="T52" fmla="*/ 58 w 63"/>
                  <a:gd name="T53" fmla="*/ 12 h 38"/>
                  <a:gd name="T54" fmla="*/ 61 w 63"/>
                  <a:gd name="T55" fmla="*/ 16 h 38"/>
                  <a:gd name="T56" fmla="*/ 63 w 63"/>
                  <a:gd name="T57" fmla="*/ 22 h 38"/>
                  <a:gd name="T58" fmla="*/ 63 w 63"/>
                  <a:gd name="T59" fmla="*/ 22 h 38"/>
                  <a:gd name="T60" fmla="*/ 63 w 63"/>
                  <a:gd name="T61" fmla="*/ 28 h 38"/>
                  <a:gd name="T62" fmla="*/ 62 w 63"/>
                  <a:gd name="T63" fmla="*/ 32 h 38"/>
                  <a:gd name="T64" fmla="*/ 59 w 63"/>
                  <a:gd name="T65" fmla="*/ 35 h 38"/>
                  <a:gd name="T66" fmla="*/ 59 w 63"/>
                  <a:gd name="T67" fmla="*/ 35 h 38"/>
                  <a:gd name="T68" fmla="*/ 53 w 63"/>
                  <a:gd name="T69" fmla="*/ 36 h 38"/>
                  <a:gd name="T70" fmla="*/ 49 w 63"/>
                  <a:gd name="T71" fmla="*/ 38 h 38"/>
                  <a:gd name="T72" fmla="*/ 45 w 63"/>
                  <a:gd name="T73" fmla="*/ 36 h 38"/>
                  <a:gd name="T74" fmla="*/ 45 w 63"/>
                  <a:gd name="T75" fmla="*/ 36 h 38"/>
                  <a:gd name="T76" fmla="*/ 40 w 63"/>
                  <a:gd name="T77" fmla="*/ 34 h 38"/>
                  <a:gd name="T78" fmla="*/ 34 w 63"/>
                  <a:gd name="T79" fmla="*/ 31 h 38"/>
                  <a:gd name="T80" fmla="*/ 32 w 63"/>
                  <a:gd name="T81" fmla="*/ 28 h 38"/>
                  <a:gd name="T82" fmla="*/ 30 w 63"/>
                  <a:gd name="T83" fmla="*/ 28 h 38"/>
                  <a:gd name="T84" fmla="*/ 30 w 63"/>
                  <a:gd name="T85" fmla="*/ 28 h 38"/>
                  <a:gd name="T86" fmla="*/ 30 w 63"/>
                  <a:gd name="T87" fmla="*/ 28 h 38"/>
                  <a:gd name="T88" fmla="*/ 30 w 63"/>
                  <a:gd name="T89" fmla="*/ 34 h 38"/>
                  <a:gd name="T90" fmla="*/ 30 w 63"/>
                  <a:gd name="T91" fmla="*/ 35 h 38"/>
                  <a:gd name="T92" fmla="*/ 29 w 63"/>
                  <a:gd name="T93" fmla="*/ 35 h 38"/>
                  <a:gd name="T94" fmla="*/ 29 w 63"/>
                  <a:gd name="T95" fmla="*/ 35 h 38"/>
                  <a:gd name="T96" fmla="*/ 26 w 63"/>
                  <a:gd name="T97" fmla="*/ 34 h 38"/>
                  <a:gd name="T98" fmla="*/ 23 w 63"/>
                  <a:gd name="T99" fmla="*/ 32 h 38"/>
                  <a:gd name="T100" fmla="*/ 19 w 63"/>
                  <a:gd name="T101" fmla="*/ 29 h 38"/>
                  <a:gd name="T102" fmla="*/ 19 w 63"/>
                  <a:gd name="T103" fmla="*/ 29 h 38"/>
                  <a:gd name="T104" fmla="*/ 14 w 63"/>
                  <a:gd name="T105" fmla="*/ 32 h 38"/>
                  <a:gd name="T106" fmla="*/ 10 w 63"/>
                  <a:gd name="T107" fmla="*/ 34 h 38"/>
                  <a:gd name="T108" fmla="*/ 7 w 63"/>
                  <a:gd name="T109" fmla="*/ 3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" h="38">
                    <a:moveTo>
                      <a:pt x="7" y="35"/>
                    </a:moveTo>
                    <a:lnTo>
                      <a:pt x="7" y="35"/>
                    </a:lnTo>
                    <a:lnTo>
                      <a:pt x="3" y="35"/>
                    </a:lnTo>
                    <a:lnTo>
                      <a:pt x="0" y="34"/>
                    </a:lnTo>
                    <a:lnTo>
                      <a:pt x="0" y="32"/>
                    </a:lnTo>
                    <a:lnTo>
                      <a:pt x="1" y="29"/>
                    </a:lnTo>
                    <a:lnTo>
                      <a:pt x="1" y="29"/>
                    </a:lnTo>
                    <a:lnTo>
                      <a:pt x="10" y="20"/>
                    </a:lnTo>
                    <a:lnTo>
                      <a:pt x="14" y="18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27" y="15"/>
                    </a:lnTo>
                    <a:lnTo>
                      <a:pt x="30" y="13"/>
                    </a:lnTo>
                    <a:lnTo>
                      <a:pt x="33" y="10"/>
                    </a:lnTo>
                    <a:lnTo>
                      <a:pt x="33" y="10"/>
                    </a:lnTo>
                    <a:lnTo>
                      <a:pt x="34" y="6"/>
                    </a:lnTo>
                    <a:lnTo>
                      <a:pt x="39" y="3"/>
                    </a:lnTo>
                    <a:lnTo>
                      <a:pt x="43" y="0"/>
                    </a:lnTo>
                    <a:lnTo>
                      <a:pt x="45" y="0"/>
                    </a:lnTo>
                    <a:lnTo>
                      <a:pt x="47" y="0"/>
                    </a:lnTo>
                    <a:lnTo>
                      <a:pt x="47" y="0"/>
                    </a:lnTo>
                    <a:lnTo>
                      <a:pt x="49" y="3"/>
                    </a:lnTo>
                    <a:lnTo>
                      <a:pt x="50" y="6"/>
                    </a:lnTo>
                    <a:lnTo>
                      <a:pt x="52" y="9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8" y="12"/>
                    </a:lnTo>
                    <a:lnTo>
                      <a:pt x="61" y="16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3" y="28"/>
                    </a:lnTo>
                    <a:lnTo>
                      <a:pt x="62" y="32"/>
                    </a:lnTo>
                    <a:lnTo>
                      <a:pt x="59" y="35"/>
                    </a:lnTo>
                    <a:lnTo>
                      <a:pt x="59" y="35"/>
                    </a:lnTo>
                    <a:lnTo>
                      <a:pt x="53" y="36"/>
                    </a:lnTo>
                    <a:lnTo>
                      <a:pt x="49" y="38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0" y="34"/>
                    </a:lnTo>
                    <a:lnTo>
                      <a:pt x="34" y="31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34"/>
                    </a:lnTo>
                    <a:lnTo>
                      <a:pt x="30" y="35"/>
                    </a:lnTo>
                    <a:lnTo>
                      <a:pt x="29" y="35"/>
                    </a:lnTo>
                    <a:lnTo>
                      <a:pt x="29" y="35"/>
                    </a:lnTo>
                    <a:lnTo>
                      <a:pt x="26" y="34"/>
                    </a:lnTo>
                    <a:lnTo>
                      <a:pt x="23" y="32"/>
                    </a:lnTo>
                    <a:lnTo>
                      <a:pt x="19" y="29"/>
                    </a:lnTo>
                    <a:lnTo>
                      <a:pt x="19" y="29"/>
                    </a:lnTo>
                    <a:lnTo>
                      <a:pt x="14" y="32"/>
                    </a:lnTo>
                    <a:lnTo>
                      <a:pt x="10" y="34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75" name="Freeform 1426"/>
              <p:cNvSpPr>
                <a:spLocks/>
              </p:cNvSpPr>
              <p:nvPr/>
            </p:nvSpPr>
            <p:spPr bwMode="auto">
              <a:xfrm>
                <a:off x="2591502" y="1229800"/>
                <a:ext cx="62323" cy="37592"/>
              </a:xfrm>
              <a:custGeom>
                <a:avLst/>
                <a:gdLst>
                  <a:gd name="T0" fmla="*/ 7 w 63"/>
                  <a:gd name="T1" fmla="*/ 35 h 38"/>
                  <a:gd name="T2" fmla="*/ 7 w 63"/>
                  <a:gd name="T3" fmla="*/ 35 h 38"/>
                  <a:gd name="T4" fmla="*/ 3 w 63"/>
                  <a:gd name="T5" fmla="*/ 35 h 38"/>
                  <a:gd name="T6" fmla="*/ 0 w 63"/>
                  <a:gd name="T7" fmla="*/ 34 h 38"/>
                  <a:gd name="T8" fmla="*/ 0 w 63"/>
                  <a:gd name="T9" fmla="*/ 32 h 38"/>
                  <a:gd name="T10" fmla="*/ 1 w 63"/>
                  <a:gd name="T11" fmla="*/ 29 h 38"/>
                  <a:gd name="T12" fmla="*/ 1 w 63"/>
                  <a:gd name="T13" fmla="*/ 29 h 38"/>
                  <a:gd name="T14" fmla="*/ 10 w 63"/>
                  <a:gd name="T15" fmla="*/ 20 h 38"/>
                  <a:gd name="T16" fmla="*/ 14 w 63"/>
                  <a:gd name="T17" fmla="*/ 18 h 38"/>
                  <a:gd name="T18" fmla="*/ 19 w 63"/>
                  <a:gd name="T19" fmla="*/ 16 h 38"/>
                  <a:gd name="T20" fmla="*/ 19 w 63"/>
                  <a:gd name="T21" fmla="*/ 16 h 38"/>
                  <a:gd name="T22" fmla="*/ 27 w 63"/>
                  <a:gd name="T23" fmla="*/ 15 h 38"/>
                  <a:gd name="T24" fmla="*/ 30 w 63"/>
                  <a:gd name="T25" fmla="*/ 13 h 38"/>
                  <a:gd name="T26" fmla="*/ 33 w 63"/>
                  <a:gd name="T27" fmla="*/ 10 h 38"/>
                  <a:gd name="T28" fmla="*/ 33 w 63"/>
                  <a:gd name="T29" fmla="*/ 10 h 38"/>
                  <a:gd name="T30" fmla="*/ 34 w 63"/>
                  <a:gd name="T31" fmla="*/ 6 h 38"/>
                  <a:gd name="T32" fmla="*/ 39 w 63"/>
                  <a:gd name="T33" fmla="*/ 3 h 38"/>
                  <a:gd name="T34" fmla="*/ 43 w 63"/>
                  <a:gd name="T35" fmla="*/ 0 h 38"/>
                  <a:gd name="T36" fmla="*/ 45 w 63"/>
                  <a:gd name="T37" fmla="*/ 0 h 38"/>
                  <a:gd name="T38" fmla="*/ 47 w 63"/>
                  <a:gd name="T39" fmla="*/ 0 h 38"/>
                  <a:gd name="T40" fmla="*/ 47 w 63"/>
                  <a:gd name="T41" fmla="*/ 0 h 38"/>
                  <a:gd name="T42" fmla="*/ 49 w 63"/>
                  <a:gd name="T43" fmla="*/ 3 h 38"/>
                  <a:gd name="T44" fmla="*/ 50 w 63"/>
                  <a:gd name="T45" fmla="*/ 6 h 38"/>
                  <a:gd name="T46" fmla="*/ 52 w 63"/>
                  <a:gd name="T47" fmla="*/ 9 h 38"/>
                  <a:gd name="T48" fmla="*/ 55 w 63"/>
                  <a:gd name="T49" fmla="*/ 10 h 38"/>
                  <a:gd name="T50" fmla="*/ 55 w 63"/>
                  <a:gd name="T51" fmla="*/ 10 h 38"/>
                  <a:gd name="T52" fmla="*/ 58 w 63"/>
                  <a:gd name="T53" fmla="*/ 12 h 38"/>
                  <a:gd name="T54" fmla="*/ 61 w 63"/>
                  <a:gd name="T55" fmla="*/ 16 h 38"/>
                  <a:gd name="T56" fmla="*/ 63 w 63"/>
                  <a:gd name="T57" fmla="*/ 22 h 38"/>
                  <a:gd name="T58" fmla="*/ 63 w 63"/>
                  <a:gd name="T59" fmla="*/ 22 h 38"/>
                  <a:gd name="T60" fmla="*/ 63 w 63"/>
                  <a:gd name="T61" fmla="*/ 28 h 38"/>
                  <a:gd name="T62" fmla="*/ 62 w 63"/>
                  <a:gd name="T63" fmla="*/ 32 h 38"/>
                  <a:gd name="T64" fmla="*/ 59 w 63"/>
                  <a:gd name="T65" fmla="*/ 35 h 38"/>
                  <a:gd name="T66" fmla="*/ 59 w 63"/>
                  <a:gd name="T67" fmla="*/ 35 h 38"/>
                  <a:gd name="T68" fmla="*/ 53 w 63"/>
                  <a:gd name="T69" fmla="*/ 36 h 38"/>
                  <a:gd name="T70" fmla="*/ 49 w 63"/>
                  <a:gd name="T71" fmla="*/ 38 h 38"/>
                  <a:gd name="T72" fmla="*/ 45 w 63"/>
                  <a:gd name="T73" fmla="*/ 36 h 38"/>
                  <a:gd name="T74" fmla="*/ 45 w 63"/>
                  <a:gd name="T75" fmla="*/ 36 h 38"/>
                  <a:gd name="T76" fmla="*/ 40 w 63"/>
                  <a:gd name="T77" fmla="*/ 34 h 38"/>
                  <a:gd name="T78" fmla="*/ 34 w 63"/>
                  <a:gd name="T79" fmla="*/ 31 h 38"/>
                  <a:gd name="T80" fmla="*/ 32 w 63"/>
                  <a:gd name="T81" fmla="*/ 28 h 38"/>
                  <a:gd name="T82" fmla="*/ 30 w 63"/>
                  <a:gd name="T83" fmla="*/ 28 h 38"/>
                  <a:gd name="T84" fmla="*/ 30 w 63"/>
                  <a:gd name="T85" fmla="*/ 28 h 38"/>
                  <a:gd name="T86" fmla="*/ 30 w 63"/>
                  <a:gd name="T87" fmla="*/ 28 h 38"/>
                  <a:gd name="T88" fmla="*/ 30 w 63"/>
                  <a:gd name="T89" fmla="*/ 34 h 38"/>
                  <a:gd name="T90" fmla="*/ 30 w 63"/>
                  <a:gd name="T91" fmla="*/ 35 h 38"/>
                  <a:gd name="T92" fmla="*/ 29 w 63"/>
                  <a:gd name="T93" fmla="*/ 35 h 38"/>
                  <a:gd name="T94" fmla="*/ 29 w 63"/>
                  <a:gd name="T95" fmla="*/ 35 h 38"/>
                  <a:gd name="T96" fmla="*/ 26 w 63"/>
                  <a:gd name="T97" fmla="*/ 34 h 38"/>
                  <a:gd name="T98" fmla="*/ 23 w 63"/>
                  <a:gd name="T99" fmla="*/ 32 h 38"/>
                  <a:gd name="T100" fmla="*/ 19 w 63"/>
                  <a:gd name="T101" fmla="*/ 29 h 38"/>
                  <a:gd name="T102" fmla="*/ 19 w 63"/>
                  <a:gd name="T103" fmla="*/ 29 h 38"/>
                  <a:gd name="T104" fmla="*/ 14 w 63"/>
                  <a:gd name="T105" fmla="*/ 32 h 38"/>
                  <a:gd name="T106" fmla="*/ 10 w 63"/>
                  <a:gd name="T107" fmla="*/ 34 h 38"/>
                  <a:gd name="T108" fmla="*/ 7 w 63"/>
                  <a:gd name="T109" fmla="*/ 3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" h="38">
                    <a:moveTo>
                      <a:pt x="7" y="35"/>
                    </a:moveTo>
                    <a:lnTo>
                      <a:pt x="7" y="35"/>
                    </a:lnTo>
                    <a:lnTo>
                      <a:pt x="3" y="35"/>
                    </a:lnTo>
                    <a:lnTo>
                      <a:pt x="0" y="34"/>
                    </a:lnTo>
                    <a:lnTo>
                      <a:pt x="0" y="32"/>
                    </a:lnTo>
                    <a:lnTo>
                      <a:pt x="1" y="29"/>
                    </a:lnTo>
                    <a:lnTo>
                      <a:pt x="1" y="29"/>
                    </a:lnTo>
                    <a:lnTo>
                      <a:pt x="10" y="20"/>
                    </a:lnTo>
                    <a:lnTo>
                      <a:pt x="14" y="18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27" y="15"/>
                    </a:lnTo>
                    <a:lnTo>
                      <a:pt x="30" y="13"/>
                    </a:lnTo>
                    <a:lnTo>
                      <a:pt x="33" y="10"/>
                    </a:lnTo>
                    <a:lnTo>
                      <a:pt x="33" y="10"/>
                    </a:lnTo>
                    <a:lnTo>
                      <a:pt x="34" y="6"/>
                    </a:lnTo>
                    <a:lnTo>
                      <a:pt x="39" y="3"/>
                    </a:lnTo>
                    <a:lnTo>
                      <a:pt x="43" y="0"/>
                    </a:lnTo>
                    <a:lnTo>
                      <a:pt x="45" y="0"/>
                    </a:lnTo>
                    <a:lnTo>
                      <a:pt x="47" y="0"/>
                    </a:lnTo>
                    <a:lnTo>
                      <a:pt x="47" y="0"/>
                    </a:lnTo>
                    <a:lnTo>
                      <a:pt x="49" y="3"/>
                    </a:lnTo>
                    <a:lnTo>
                      <a:pt x="50" y="6"/>
                    </a:lnTo>
                    <a:lnTo>
                      <a:pt x="52" y="9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8" y="12"/>
                    </a:lnTo>
                    <a:lnTo>
                      <a:pt x="61" y="16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3" y="28"/>
                    </a:lnTo>
                    <a:lnTo>
                      <a:pt x="62" y="32"/>
                    </a:lnTo>
                    <a:lnTo>
                      <a:pt x="59" y="35"/>
                    </a:lnTo>
                    <a:lnTo>
                      <a:pt x="59" y="35"/>
                    </a:lnTo>
                    <a:lnTo>
                      <a:pt x="53" y="36"/>
                    </a:lnTo>
                    <a:lnTo>
                      <a:pt x="49" y="38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0" y="34"/>
                    </a:lnTo>
                    <a:lnTo>
                      <a:pt x="34" y="31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34"/>
                    </a:lnTo>
                    <a:lnTo>
                      <a:pt x="30" y="35"/>
                    </a:lnTo>
                    <a:lnTo>
                      <a:pt x="29" y="35"/>
                    </a:lnTo>
                    <a:lnTo>
                      <a:pt x="29" y="35"/>
                    </a:lnTo>
                    <a:lnTo>
                      <a:pt x="26" y="34"/>
                    </a:lnTo>
                    <a:lnTo>
                      <a:pt x="23" y="32"/>
                    </a:lnTo>
                    <a:lnTo>
                      <a:pt x="19" y="29"/>
                    </a:lnTo>
                    <a:lnTo>
                      <a:pt x="19" y="29"/>
                    </a:lnTo>
                    <a:lnTo>
                      <a:pt x="14" y="32"/>
                    </a:lnTo>
                    <a:lnTo>
                      <a:pt x="10" y="34"/>
                    </a:lnTo>
                    <a:lnTo>
                      <a:pt x="7" y="3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76" name="Freeform 1427"/>
              <p:cNvSpPr>
                <a:spLocks/>
              </p:cNvSpPr>
              <p:nvPr/>
            </p:nvSpPr>
            <p:spPr bwMode="auto">
              <a:xfrm>
                <a:off x="2713181" y="1308941"/>
                <a:ext cx="25721" cy="39570"/>
              </a:xfrm>
              <a:custGeom>
                <a:avLst/>
                <a:gdLst>
                  <a:gd name="T0" fmla="*/ 24 w 26"/>
                  <a:gd name="T1" fmla="*/ 39 h 40"/>
                  <a:gd name="T2" fmla="*/ 24 w 26"/>
                  <a:gd name="T3" fmla="*/ 39 h 40"/>
                  <a:gd name="T4" fmla="*/ 20 w 26"/>
                  <a:gd name="T5" fmla="*/ 40 h 40"/>
                  <a:gd name="T6" fmla="*/ 16 w 26"/>
                  <a:gd name="T7" fmla="*/ 40 h 40"/>
                  <a:gd name="T8" fmla="*/ 11 w 26"/>
                  <a:gd name="T9" fmla="*/ 39 h 40"/>
                  <a:gd name="T10" fmla="*/ 10 w 26"/>
                  <a:gd name="T11" fmla="*/ 38 h 40"/>
                  <a:gd name="T12" fmla="*/ 10 w 26"/>
                  <a:gd name="T13" fmla="*/ 38 h 40"/>
                  <a:gd name="T14" fmla="*/ 7 w 26"/>
                  <a:gd name="T15" fmla="*/ 26 h 40"/>
                  <a:gd name="T16" fmla="*/ 6 w 26"/>
                  <a:gd name="T17" fmla="*/ 20 h 40"/>
                  <a:gd name="T18" fmla="*/ 4 w 26"/>
                  <a:gd name="T19" fmla="*/ 14 h 40"/>
                  <a:gd name="T20" fmla="*/ 4 w 26"/>
                  <a:gd name="T21" fmla="*/ 14 h 40"/>
                  <a:gd name="T22" fmla="*/ 1 w 26"/>
                  <a:gd name="T23" fmla="*/ 10 h 40"/>
                  <a:gd name="T24" fmla="*/ 0 w 26"/>
                  <a:gd name="T25" fmla="*/ 6 h 40"/>
                  <a:gd name="T26" fmla="*/ 0 w 26"/>
                  <a:gd name="T27" fmla="*/ 1 h 40"/>
                  <a:gd name="T28" fmla="*/ 1 w 26"/>
                  <a:gd name="T29" fmla="*/ 0 h 40"/>
                  <a:gd name="T30" fmla="*/ 1 w 26"/>
                  <a:gd name="T31" fmla="*/ 0 h 40"/>
                  <a:gd name="T32" fmla="*/ 4 w 26"/>
                  <a:gd name="T33" fmla="*/ 0 h 40"/>
                  <a:gd name="T34" fmla="*/ 8 w 26"/>
                  <a:gd name="T35" fmla="*/ 3 h 40"/>
                  <a:gd name="T36" fmla="*/ 13 w 26"/>
                  <a:gd name="T37" fmla="*/ 7 h 40"/>
                  <a:gd name="T38" fmla="*/ 14 w 26"/>
                  <a:gd name="T39" fmla="*/ 11 h 40"/>
                  <a:gd name="T40" fmla="*/ 14 w 26"/>
                  <a:gd name="T41" fmla="*/ 11 h 40"/>
                  <a:gd name="T42" fmla="*/ 17 w 26"/>
                  <a:gd name="T43" fmla="*/ 20 h 40"/>
                  <a:gd name="T44" fmla="*/ 20 w 26"/>
                  <a:gd name="T45" fmla="*/ 27 h 40"/>
                  <a:gd name="T46" fmla="*/ 20 w 26"/>
                  <a:gd name="T47" fmla="*/ 27 h 40"/>
                  <a:gd name="T48" fmla="*/ 24 w 26"/>
                  <a:gd name="T49" fmla="*/ 33 h 40"/>
                  <a:gd name="T50" fmla="*/ 26 w 26"/>
                  <a:gd name="T51" fmla="*/ 38 h 40"/>
                  <a:gd name="T52" fmla="*/ 24 w 26"/>
                  <a:gd name="T53" fmla="*/ 38 h 40"/>
                  <a:gd name="T54" fmla="*/ 24 w 26"/>
                  <a:gd name="T55" fmla="*/ 3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6" h="40">
                    <a:moveTo>
                      <a:pt x="24" y="39"/>
                    </a:moveTo>
                    <a:lnTo>
                      <a:pt x="24" y="39"/>
                    </a:lnTo>
                    <a:lnTo>
                      <a:pt x="20" y="40"/>
                    </a:lnTo>
                    <a:lnTo>
                      <a:pt x="16" y="40"/>
                    </a:lnTo>
                    <a:lnTo>
                      <a:pt x="11" y="39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7" y="26"/>
                    </a:lnTo>
                    <a:lnTo>
                      <a:pt x="6" y="2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8" y="3"/>
                    </a:lnTo>
                    <a:lnTo>
                      <a:pt x="13" y="7"/>
                    </a:lnTo>
                    <a:lnTo>
                      <a:pt x="14" y="11"/>
                    </a:lnTo>
                    <a:lnTo>
                      <a:pt x="14" y="11"/>
                    </a:lnTo>
                    <a:lnTo>
                      <a:pt x="17" y="20"/>
                    </a:lnTo>
                    <a:lnTo>
                      <a:pt x="20" y="27"/>
                    </a:lnTo>
                    <a:lnTo>
                      <a:pt x="20" y="27"/>
                    </a:lnTo>
                    <a:lnTo>
                      <a:pt x="24" y="33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4" y="3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77" name="Freeform 1428"/>
              <p:cNvSpPr>
                <a:spLocks/>
              </p:cNvSpPr>
              <p:nvPr/>
            </p:nvSpPr>
            <p:spPr bwMode="auto">
              <a:xfrm>
                <a:off x="2713181" y="1308941"/>
                <a:ext cx="25721" cy="39570"/>
              </a:xfrm>
              <a:custGeom>
                <a:avLst/>
                <a:gdLst>
                  <a:gd name="T0" fmla="*/ 24 w 26"/>
                  <a:gd name="T1" fmla="*/ 39 h 40"/>
                  <a:gd name="T2" fmla="*/ 24 w 26"/>
                  <a:gd name="T3" fmla="*/ 39 h 40"/>
                  <a:gd name="T4" fmla="*/ 20 w 26"/>
                  <a:gd name="T5" fmla="*/ 40 h 40"/>
                  <a:gd name="T6" fmla="*/ 16 w 26"/>
                  <a:gd name="T7" fmla="*/ 40 h 40"/>
                  <a:gd name="T8" fmla="*/ 11 w 26"/>
                  <a:gd name="T9" fmla="*/ 39 h 40"/>
                  <a:gd name="T10" fmla="*/ 10 w 26"/>
                  <a:gd name="T11" fmla="*/ 38 h 40"/>
                  <a:gd name="T12" fmla="*/ 10 w 26"/>
                  <a:gd name="T13" fmla="*/ 38 h 40"/>
                  <a:gd name="T14" fmla="*/ 7 w 26"/>
                  <a:gd name="T15" fmla="*/ 26 h 40"/>
                  <a:gd name="T16" fmla="*/ 6 w 26"/>
                  <a:gd name="T17" fmla="*/ 20 h 40"/>
                  <a:gd name="T18" fmla="*/ 4 w 26"/>
                  <a:gd name="T19" fmla="*/ 14 h 40"/>
                  <a:gd name="T20" fmla="*/ 4 w 26"/>
                  <a:gd name="T21" fmla="*/ 14 h 40"/>
                  <a:gd name="T22" fmla="*/ 1 w 26"/>
                  <a:gd name="T23" fmla="*/ 10 h 40"/>
                  <a:gd name="T24" fmla="*/ 0 w 26"/>
                  <a:gd name="T25" fmla="*/ 6 h 40"/>
                  <a:gd name="T26" fmla="*/ 0 w 26"/>
                  <a:gd name="T27" fmla="*/ 1 h 40"/>
                  <a:gd name="T28" fmla="*/ 1 w 26"/>
                  <a:gd name="T29" fmla="*/ 0 h 40"/>
                  <a:gd name="T30" fmla="*/ 1 w 26"/>
                  <a:gd name="T31" fmla="*/ 0 h 40"/>
                  <a:gd name="T32" fmla="*/ 4 w 26"/>
                  <a:gd name="T33" fmla="*/ 0 h 40"/>
                  <a:gd name="T34" fmla="*/ 8 w 26"/>
                  <a:gd name="T35" fmla="*/ 3 h 40"/>
                  <a:gd name="T36" fmla="*/ 13 w 26"/>
                  <a:gd name="T37" fmla="*/ 7 h 40"/>
                  <a:gd name="T38" fmla="*/ 14 w 26"/>
                  <a:gd name="T39" fmla="*/ 11 h 40"/>
                  <a:gd name="T40" fmla="*/ 14 w 26"/>
                  <a:gd name="T41" fmla="*/ 11 h 40"/>
                  <a:gd name="T42" fmla="*/ 17 w 26"/>
                  <a:gd name="T43" fmla="*/ 20 h 40"/>
                  <a:gd name="T44" fmla="*/ 20 w 26"/>
                  <a:gd name="T45" fmla="*/ 27 h 40"/>
                  <a:gd name="T46" fmla="*/ 20 w 26"/>
                  <a:gd name="T47" fmla="*/ 27 h 40"/>
                  <a:gd name="T48" fmla="*/ 24 w 26"/>
                  <a:gd name="T49" fmla="*/ 33 h 40"/>
                  <a:gd name="T50" fmla="*/ 26 w 26"/>
                  <a:gd name="T51" fmla="*/ 38 h 40"/>
                  <a:gd name="T52" fmla="*/ 24 w 26"/>
                  <a:gd name="T53" fmla="*/ 38 h 40"/>
                  <a:gd name="T54" fmla="*/ 24 w 26"/>
                  <a:gd name="T55" fmla="*/ 3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6" h="40">
                    <a:moveTo>
                      <a:pt x="24" y="39"/>
                    </a:moveTo>
                    <a:lnTo>
                      <a:pt x="24" y="39"/>
                    </a:lnTo>
                    <a:lnTo>
                      <a:pt x="20" y="40"/>
                    </a:lnTo>
                    <a:lnTo>
                      <a:pt x="16" y="40"/>
                    </a:lnTo>
                    <a:lnTo>
                      <a:pt x="11" y="39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7" y="26"/>
                    </a:lnTo>
                    <a:lnTo>
                      <a:pt x="6" y="2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8" y="3"/>
                    </a:lnTo>
                    <a:lnTo>
                      <a:pt x="13" y="7"/>
                    </a:lnTo>
                    <a:lnTo>
                      <a:pt x="14" y="11"/>
                    </a:lnTo>
                    <a:lnTo>
                      <a:pt x="14" y="11"/>
                    </a:lnTo>
                    <a:lnTo>
                      <a:pt x="17" y="20"/>
                    </a:lnTo>
                    <a:lnTo>
                      <a:pt x="20" y="27"/>
                    </a:lnTo>
                    <a:lnTo>
                      <a:pt x="20" y="27"/>
                    </a:lnTo>
                    <a:lnTo>
                      <a:pt x="24" y="33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4" y="3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78" name="Freeform 1429"/>
              <p:cNvSpPr>
                <a:spLocks/>
              </p:cNvSpPr>
              <p:nvPr/>
            </p:nvSpPr>
            <p:spPr bwMode="auto">
              <a:xfrm>
                <a:off x="2765612" y="1291135"/>
                <a:ext cx="24731" cy="14839"/>
              </a:xfrm>
              <a:custGeom>
                <a:avLst/>
                <a:gdLst>
                  <a:gd name="T0" fmla="*/ 9 w 25"/>
                  <a:gd name="T1" fmla="*/ 15 h 15"/>
                  <a:gd name="T2" fmla="*/ 9 w 25"/>
                  <a:gd name="T3" fmla="*/ 15 h 15"/>
                  <a:gd name="T4" fmla="*/ 6 w 25"/>
                  <a:gd name="T5" fmla="*/ 14 h 15"/>
                  <a:gd name="T6" fmla="*/ 3 w 25"/>
                  <a:gd name="T7" fmla="*/ 11 h 15"/>
                  <a:gd name="T8" fmla="*/ 0 w 25"/>
                  <a:gd name="T9" fmla="*/ 8 h 15"/>
                  <a:gd name="T10" fmla="*/ 0 w 25"/>
                  <a:gd name="T11" fmla="*/ 5 h 15"/>
                  <a:gd name="T12" fmla="*/ 0 w 25"/>
                  <a:gd name="T13" fmla="*/ 5 h 15"/>
                  <a:gd name="T14" fmla="*/ 2 w 25"/>
                  <a:gd name="T15" fmla="*/ 3 h 15"/>
                  <a:gd name="T16" fmla="*/ 5 w 25"/>
                  <a:gd name="T17" fmla="*/ 2 h 15"/>
                  <a:gd name="T18" fmla="*/ 12 w 25"/>
                  <a:gd name="T19" fmla="*/ 0 h 15"/>
                  <a:gd name="T20" fmla="*/ 12 w 25"/>
                  <a:gd name="T21" fmla="*/ 0 h 15"/>
                  <a:gd name="T22" fmla="*/ 16 w 25"/>
                  <a:gd name="T23" fmla="*/ 2 h 15"/>
                  <a:gd name="T24" fmla="*/ 21 w 25"/>
                  <a:gd name="T25" fmla="*/ 5 h 15"/>
                  <a:gd name="T26" fmla="*/ 24 w 25"/>
                  <a:gd name="T27" fmla="*/ 8 h 15"/>
                  <a:gd name="T28" fmla="*/ 25 w 25"/>
                  <a:gd name="T29" fmla="*/ 9 h 15"/>
                  <a:gd name="T30" fmla="*/ 25 w 25"/>
                  <a:gd name="T31" fmla="*/ 9 h 15"/>
                  <a:gd name="T32" fmla="*/ 21 w 25"/>
                  <a:gd name="T33" fmla="*/ 11 h 15"/>
                  <a:gd name="T34" fmla="*/ 18 w 25"/>
                  <a:gd name="T35" fmla="*/ 12 h 15"/>
                  <a:gd name="T36" fmla="*/ 18 w 25"/>
                  <a:gd name="T37" fmla="*/ 12 h 15"/>
                  <a:gd name="T38" fmla="*/ 9 w 25"/>
                  <a:gd name="T3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15">
                    <a:moveTo>
                      <a:pt x="9" y="15"/>
                    </a:moveTo>
                    <a:lnTo>
                      <a:pt x="9" y="15"/>
                    </a:lnTo>
                    <a:lnTo>
                      <a:pt x="6" y="14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5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2"/>
                    </a:lnTo>
                    <a:lnTo>
                      <a:pt x="21" y="5"/>
                    </a:lnTo>
                    <a:lnTo>
                      <a:pt x="24" y="8"/>
                    </a:lnTo>
                    <a:lnTo>
                      <a:pt x="25" y="9"/>
                    </a:lnTo>
                    <a:lnTo>
                      <a:pt x="25" y="9"/>
                    </a:lnTo>
                    <a:lnTo>
                      <a:pt x="21" y="11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9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79" name="Freeform 1430"/>
              <p:cNvSpPr>
                <a:spLocks/>
              </p:cNvSpPr>
              <p:nvPr/>
            </p:nvSpPr>
            <p:spPr bwMode="auto">
              <a:xfrm>
                <a:off x="2765612" y="1291135"/>
                <a:ext cx="24731" cy="14839"/>
              </a:xfrm>
              <a:custGeom>
                <a:avLst/>
                <a:gdLst>
                  <a:gd name="T0" fmla="*/ 9 w 25"/>
                  <a:gd name="T1" fmla="*/ 15 h 15"/>
                  <a:gd name="T2" fmla="*/ 9 w 25"/>
                  <a:gd name="T3" fmla="*/ 15 h 15"/>
                  <a:gd name="T4" fmla="*/ 6 w 25"/>
                  <a:gd name="T5" fmla="*/ 14 h 15"/>
                  <a:gd name="T6" fmla="*/ 3 w 25"/>
                  <a:gd name="T7" fmla="*/ 11 h 15"/>
                  <a:gd name="T8" fmla="*/ 0 w 25"/>
                  <a:gd name="T9" fmla="*/ 8 h 15"/>
                  <a:gd name="T10" fmla="*/ 0 w 25"/>
                  <a:gd name="T11" fmla="*/ 5 h 15"/>
                  <a:gd name="T12" fmla="*/ 0 w 25"/>
                  <a:gd name="T13" fmla="*/ 5 h 15"/>
                  <a:gd name="T14" fmla="*/ 2 w 25"/>
                  <a:gd name="T15" fmla="*/ 3 h 15"/>
                  <a:gd name="T16" fmla="*/ 5 w 25"/>
                  <a:gd name="T17" fmla="*/ 2 h 15"/>
                  <a:gd name="T18" fmla="*/ 12 w 25"/>
                  <a:gd name="T19" fmla="*/ 0 h 15"/>
                  <a:gd name="T20" fmla="*/ 12 w 25"/>
                  <a:gd name="T21" fmla="*/ 0 h 15"/>
                  <a:gd name="T22" fmla="*/ 16 w 25"/>
                  <a:gd name="T23" fmla="*/ 2 h 15"/>
                  <a:gd name="T24" fmla="*/ 21 w 25"/>
                  <a:gd name="T25" fmla="*/ 5 h 15"/>
                  <a:gd name="T26" fmla="*/ 24 w 25"/>
                  <a:gd name="T27" fmla="*/ 8 h 15"/>
                  <a:gd name="T28" fmla="*/ 25 w 25"/>
                  <a:gd name="T29" fmla="*/ 9 h 15"/>
                  <a:gd name="T30" fmla="*/ 25 w 25"/>
                  <a:gd name="T31" fmla="*/ 9 h 15"/>
                  <a:gd name="T32" fmla="*/ 21 w 25"/>
                  <a:gd name="T33" fmla="*/ 11 h 15"/>
                  <a:gd name="T34" fmla="*/ 18 w 25"/>
                  <a:gd name="T35" fmla="*/ 12 h 15"/>
                  <a:gd name="T36" fmla="*/ 18 w 25"/>
                  <a:gd name="T37" fmla="*/ 12 h 15"/>
                  <a:gd name="T38" fmla="*/ 9 w 25"/>
                  <a:gd name="T3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15">
                    <a:moveTo>
                      <a:pt x="9" y="15"/>
                    </a:moveTo>
                    <a:lnTo>
                      <a:pt x="9" y="15"/>
                    </a:lnTo>
                    <a:lnTo>
                      <a:pt x="6" y="14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5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2"/>
                    </a:lnTo>
                    <a:lnTo>
                      <a:pt x="21" y="5"/>
                    </a:lnTo>
                    <a:lnTo>
                      <a:pt x="24" y="8"/>
                    </a:lnTo>
                    <a:lnTo>
                      <a:pt x="25" y="9"/>
                    </a:lnTo>
                    <a:lnTo>
                      <a:pt x="25" y="9"/>
                    </a:lnTo>
                    <a:lnTo>
                      <a:pt x="21" y="11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9" y="1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80" name="Freeform 1431"/>
              <p:cNvSpPr>
                <a:spLocks/>
              </p:cNvSpPr>
              <p:nvPr/>
            </p:nvSpPr>
            <p:spPr bwMode="auto">
              <a:xfrm>
                <a:off x="2717138" y="1179348"/>
                <a:ext cx="101894" cy="122668"/>
              </a:xfrm>
              <a:custGeom>
                <a:avLst/>
                <a:gdLst>
                  <a:gd name="T0" fmla="*/ 84 w 103"/>
                  <a:gd name="T1" fmla="*/ 121 h 124"/>
                  <a:gd name="T2" fmla="*/ 77 w 103"/>
                  <a:gd name="T3" fmla="*/ 103 h 124"/>
                  <a:gd name="T4" fmla="*/ 71 w 103"/>
                  <a:gd name="T5" fmla="*/ 92 h 124"/>
                  <a:gd name="T6" fmla="*/ 61 w 103"/>
                  <a:gd name="T7" fmla="*/ 87 h 124"/>
                  <a:gd name="T8" fmla="*/ 55 w 103"/>
                  <a:gd name="T9" fmla="*/ 85 h 124"/>
                  <a:gd name="T10" fmla="*/ 49 w 103"/>
                  <a:gd name="T11" fmla="*/ 87 h 124"/>
                  <a:gd name="T12" fmla="*/ 46 w 103"/>
                  <a:gd name="T13" fmla="*/ 85 h 124"/>
                  <a:gd name="T14" fmla="*/ 44 w 103"/>
                  <a:gd name="T15" fmla="*/ 83 h 124"/>
                  <a:gd name="T16" fmla="*/ 26 w 103"/>
                  <a:gd name="T17" fmla="*/ 89 h 124"/>
                  <a:gd name="T18" fmla="*/ 19 w 103"/>
                  <a:gd name="T19" fmla="*/ 83 h 124"/>
                  <a:gd name="T20" fmla="*/ 13 w 103"/>
                  <a:gd name="T21" fmla="*/ 70 h 124"/>
                  <a:gd name="T22" fmla="*/ 15 w 103"/>
                  <a:gd name="T23" fmla="*/ 67 h 124"/>
                  <a:gd name="T24" fmla="*/ 31 w 103"/>
                  <a:gd name="T25" fmla="*/ 70 h 124"/>
                  <a:gd name="T26" fmla="*/ 36 w 103"/>
                  <a:gd name="T27" fmla="*/ 67 h 124"/>
                  <a:gd name="T28" fmla="*/ 36 w 103"/>
                  <a:gd name="T29" fmla="*/ 63 h 124"/>
                  <a:gd name="T30" fmla="*/ 29 w 103"/>
                  <a:gd name="T31" fmla="*/ 58 h 124"/>
                  <a:gd name="T32" fmla="*/ 36 w 103"/>
                  <a:gd name="T33" fmla="*/ 54 h 124"/>
                  <a:gd name="T34" fmla="*/ 28 w 103"/>
                  <a:gd name="T35" fmla="*/ 51 h 124"/>
                  <a:gd name="T36" fmla="*/ 25 w 103"/>
                  <a:gd name="T37" fmla="*/ 47 h 124"/>
                  <a:gd name="T38" fmla="*/ 29 w 103"/>
                  <a:gd name="T39" fmla="*/ 41 h 124"/>
                  <a:gd name="T40" fmla="*/ 26 w 103"/>
                  <a:gd name="T41" fmla="*/ 34 h 124"/>
                  <a:gd name="T42" fmla="*/ 23 w 103"/>
                  <a:gd name="T43" fmla="*/ 32 h 124"/>
                  <a:gd name="T44" fmla="*/ 15 w 103"/>
                  <a:gd name="T45" fmla="*/ 48 h 124"/>
                  <a:gd name="T46" fmla="*/ 12 w 103"/>
                  <a:gd name="T47" fmla="*/ 41 h 124"/>
                  <a:gd name="T48" fmla="*/ 16 w 103"/>
                  <a:gd name="T49" fmla="*/ 34 h 124"/>
                  <a:gd name="T50" fmla="*/ 13 w 103"/>
                  <a:gd name="T51" fmla="*/ 29 h 124"/>
                  <a:gd name="T52" fmla="*/ 3 w 103"/>
                  <a:gd name="T53" fmla="*/ 31 h 124"/>
                  <a:gd name="T54" fmla="*/ 2 w 103"/>
                  <a:gd name="T55" fmla="*/ 14 h 124"/>
                  <a:gd name="T56" fmla="*/ 0 w 103"/>
                  <a:gd name="T57" fmla="*/ 8 h 124"/>
                  <a:gd name="T58" fmla="*/ 9 w 103"/>
                  <a:gd name="T59" fmla="*/ 8 h 124"/>
                  <a:gd name="T60" fmla="*/ 23 w 103"/>
                  <a:gd name="T61" fmla="*/ 2 h 124"/>
                  <a:gd name="T62" fmla="*/ 26 w 103"/>
                  <a:gd name="T63" fmla="*/ 2 h 124"/>
                  <a:gd name="T64" fmla="*/ 31 w 103"/>
                  <a:gd name="T65" fmla="*/ 8 h 124"/>
                  <a:gd name="T66" fmla="*/ 38 w 103"/>
                  <a:gd name="T67" fmla="*/ 8 h 124"/>
                  <a:gd name="T68" fmla="*/ 38 w 103"/>
                  <a:gd name="T69" fmla="*/ 19 h 124"/>
                  <a:gd name="T70" fmla="*/ 39 w 103"/>
                  <a:gd name="T71" fmla="*/ 29 h 124"/>
                  <a:gd name="T72" fmla="*/ 44 w 103"/>
                  <a:gd name="T73" fmla="*/ 32 h 124"/>
                  <a:gd name="T74" fmla="*/ 45 w 103"/>
                  <a:gd name="T75" fmla="*/ 18 h 124"/>
                  <a:gd name="T76" fmla="*/ 48 w 103"/>
                  <a:gd name="T77" fmla="*/ 16 h 124"/>
                  <a:gd name="T78" fmla="*/ 58 w 103"/>
                  <a:gd name="T79" fmla="*/ 22 h 124"/>
                  <a:gd name="T80" fmla="*/ 64 w 103"/>
                  <a:gd name="T81" fmla="*/ 28 h 124"/>
                  <a:gd name="T82" fmla="*/ 67 w 103"/>
                  <a:gd name="T83" fmla="*/ 34 h 124"/>
                  <a:gd name="T84" fmla="*/ 65 w 103"/>
                  <a:gd name="T85" fmla="*/ 41 h 124"/>
                  <a:gd name="T86" fmla="*/ 73 w 103"/>
                  <a:gd name="T87" fmla="*/ 40 h 124"/>
                  <a:gd name="T88" fmla="*/ 81 w 103"/>
                  <a:gd name="T89" fmla="*/ 38 h 124"/>
                  <a:gd name="T90" fmla="*/ 86 w 103"/>
                  <a:gd name="T91" fmla="*/ 44 h 124"/>
                  <a:gd name="T92" fmla="*/ 87 w 103"/>
                  <a:gd name="T93" fmla="*/ 48 h 124"/>
                  <a:gd name="T94" fmla="*/ 93 w 103"/>
                  <a:gd name="T95" fmla="*/ 53 h 124"/>
                  <a:gd name="T96" fmla="*/ 97 w 103"/>
                  <a:gd name="T97" fmla="*/ 56 h 124"/>
                  <a:gd name="T98" fmla="*/ 96 w 103"/>
                  <a:gd name="T99" fmla="*/ 61 h 124"/>
                  <a:gd name="T100" fmla="*/ 90 w 103"/>
                  <a:gd name="T101" fmla="*/ 74 h 124"/>
                  <a:gd name="T102" fmla="*/ 94 w 103"/>
                  <a:gd name="T103" fmla="*/ 82 h 124"/>
                  <a:gd name="T104" fmla="*/ 99 w 103"/>
                  <a:gd name="T105" fmla="*/ 89 h 124"/>
                  <a:gd name="T106" fmla="*/ 103 w 103"/>
                  <a:gd name="T107" fmla="*/ 111 h 124"/>
                  <a:gd name="T108" fmla="*/ 100 w 103"/>
                  <a:gd name="T109" fmla="*/ 121 h 124"/>
                  <a:gd name="T110" fmla="*/ 93 w 103"/>
                  <a:gd name="T111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3" h="124">
                    <a:moveTo>
                      <a:pt x="87" y="124"/>
                    </a:moveTo>
                    <a:lnTo>
                      <a:pt x="87" y="124"/>
                    </a:lnTo>
                    <a:lnTo>
                      <a:pt x="84" y="121"/>
                    </a:lnTo>
                    <a:lnTo>
                      <a:pt x="81" y="115"/>
                    </a:lnTo>
                    <a:lnTo>
                      <a:pt x="77" y="103"/>
                    </a:lnTo>
                    <a:lnTo>
                      <a:pt x="77" y="103"/>
                    </a:lnTo>
                    <a:lnTo>
                      <a:pt x="74" y="96"/>
                    </a:lnTo>
                    <a:lnTo>
                      <a:pt x="71" y="92"/>
                    </a:lnTo>
                    <a:lnTo>
                      <a:pt x="71" y="92"/>
                    </a:lnTo>
                    <a:lnTo>
                      <a:pt x="65" y="89"/>
                    </a:lnTo>
                    <a:lnTo>
                      <a:pt x="61" y="87"/>
                    </a:lnTo>
                    <a:lnTo>
                      <a:pt x="61" y="87"/>
                    </a:lnTo>
                    <a:lnTo>
                      <a:pt x="58" y="86"/>
                    </a:lnTo>
                    <a:lnTo>
                      <a:pt x="57" y="85"/>
                    </a:lnTo>
                    <a:lnTo>
                      <a:pt x="55" y="85"/>
                    </a:lnTo>
                    <a:lnTo>
                      <a:pt x="55" y="85"/>
                    </a:lnTo>
                    <a:lnTo>
                      <a:pt x="51" y="87"/>
                    </a:lnTo>
                    <a:lnTo>
                      <a:pt x="49" y="87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85"/>
                    </a:lnTo>
                    <a:lnTo>
                      <a:pt x="45" y="83"/>
                    </a:lnTo>
                    <a:lnTo>
                      <a:pt x="44" y="83"/>
                    </a:lnTo>
                    <a:lnTo>
                      <a:pt x="44" y="83"/>
                    </a:lnTo>
                    <a:lnTo>
                      <a:pt x="35" y="86"/>
                    </a:lnTo>
                    <a:lnTo>
                      <a:pt x="26" y="89"/>
                    </a:lnTo>
                    <a:lnTo>
                      <a:pt x="26" y="89"/>
                    </a:lnTo>
                    <a:lnTo>
                      <a:pt x="23" y="89"/>
                    </a:lnTo>
                    <a:lnTo>
                      <a:pt x="22" y="87"/>
                    </a:lnTo>
                    <a:lnTo>
                      <a:pt x="19" y="83"/>
                    </a:lnTo>
                    <a:lnTo>
                      <a:pt x="19" y="83"/>
                    </a:lnTo>
                    <a:lnTo>
                      <a:pt x="13" y="74"/>
                    </a:lnTo>
                    <a:lnTo>
                      <a:pt x="13" y="70"/>
                    </a:lnTo>
                    <a:lnTo>
                      <a:pt x="13" y="69"/>
                    </a:lnTo>
                    <a:lnTo>
                      <a:pt x="15" y="67"/>
                    </a:lnTo>
                    <a:lnTo>
                      <a:pt x="15" y="67"/>
                    </a:lnTo>
                    <a:lnTo>
                      <a:pt x="19" y="66"/>
                    </a:lnTo>
                    <a:lnTo>
                      <a:pt x="23" y="67"/>
                    </a:lnTo>
                    <a:lnTo>
                      <a:pt x="31" y="70"/>
                    </a:lnTo>
                    <a:lnTo>
                      <a:pt x="31" y="70"/>
                    </a:lnTo>
                    <a:lnTo>
                      <a:pt x="33" y="70"/>
                    </a:lnTo>
                    <a:lnTo>
                      <a:pt x="36" y="67"/>
                    </a:lnTo>
                    <a:lnTo>
                      <a:pt x="38" y="66"/>
                    </a:lnTo>
                    <a:lnTo>
                      <a:pt x="36" y="63"/>
                    </a:lnTo>
                    <a:lnTo>
                      <a:pt x="36" y="63"/>
                    </a:lnTo>
                    <a:lnTo>
                      <a:pt x="29" y="60"/>
                    </a:lnTo>
                    <a:lnTo>
                      <a:pt x="29" y="58"/>
                    </a:lnTo>
                    <a:lnTo>
                      <a:pt x="29" y="58"/>
                    </a:lnTo>
                    <a:lnTo>
                      <a:pt x="29" y="58"/>
                    </a:lnTo>
                    <a:lnTo>
                      <a:pt x="35" y="56"/>
                    </a:lnTo>
                    <a:lnTo>
                      <a:pt x="36" y="54"/>
                    </a:lnTo>
                    <a:lnTo>
                      <a:pt x="35" y="53"/>
                    </a:lnTo>
                    <a:lnTo>
                      <a:pt x="35" y="53"/>
                    </a:lnTo>
                    <a:lnTo>
                      <a:pt x="28" y="51"/>
                    </a:lnTo>
                    <a:lnTo>
                      <a:pt x="25" y="50"/>
                    </a:lnTo>
                    <a:lnTo>
                      <a:pt x="25" y="48"/>
                    </a:lnTo>
                    <a:lnTo>
                      <a:pt x="25" y="47"/>
                    </a:lnTo>
                    <a:lnTo>
                      <a:pt x="25" y="47"/>
                    </a:lnTo>
                    <a:lnTo>
                      <a:pt x="29" y="42"/>
                    </a:lnTo>
                    <a:lnTo>
                      <a:pt x="29" y="41"/>
                    </a:lnTo>
                    <a:lnTo>
                      <a:pt x="29" y="40"/>
                    </a:lnTo>
                    <a:lnTo>
                      <a:pt x="29" y="40"/>
                    </a:lnTo>
                    <a:lnTo>
                      <a:pt x="26" y="34"/>
                    </a:lnTo>
                    <a:lnTo>
                      <a:pt x="26" y="31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19" y="41"/>
                    </a:lnTo>
                    <a:lnTo>
                      <a:pt x="16" y="45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2" y="44"/>
                    </a:lnTo>
                    <a:lnTo>
                      <a:pt x="12" y="41"/>
                    </a:lnTo>
                    <a:lnTo>
                      <a:pt x="13" y="38"/>
                    </a:lnTo>
                    <a:lnTo>
                      <a:pt x="13" y="38"/>
                    </a:lnTo>
                    <a:lnTo>
                      <a:pt x="16" y="34"/>
                    </a:lnTo>
                    <a:lnTo>
                      <a:pt x="16" y="31"/>
                    </a:lnTo>
                    <a:lnTo>
                      <a:pt x="13" y="29"/>
                    </a:lnTo>
                    <a:lnTo>
                      <a:pt x="13" y="29"/>
                    </a:lnTo>
                    <a:lnTo>
                      <a:pt x="7" y="31"/>
                    </a:lnTo>
                    <a:lnTo>
                      <a:pt x="4" y="31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3" y="21"/>
                    </a:lnTo>
                    <a:lnTo>
                      <a:pt x="2" y="1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4" y="9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19" y="3"/>
                    </a:lnTo>
                    <a:lnTo>
                      <a:pt x="23" y="2"/>
                    </a:lnTo>
                    <a:lnTo>
                      <a:pt x="25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6"/>
                    </a:lnTo>
                    <a:lnTo>
                      <a:pt x="28" y="8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6" y="8"/>
                    </a:lnTo>
                    <a:lnTo>
                      <a:pt x="38" y="8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8" y="19"/>
                    </a:lnTo>
                    <a:lnTo>
                      <a:pt x="38" y="25"/>
                    </a:lnTo>
                    <a:lnTo>
                      <a:pt x="39" y="29"/>
                    </a:lnTo>
                    <a:lnTo>
                      <a:pt x="39" y="29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22"/>
                    </a:lnTo>
                    <a:lnTo>
                      <a:pt x="45" y="18"/>
                    </a:lnTo>
                    <a:lnTo>
                      <a:pt x="46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2" y="16"/>
                    </a:lnTo>
                    <a:lnTo>
                      <a:pt x="55" y="18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61" y="25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7" y="2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4" y="38"/>
                    </a:lnTo>
                    <a:lnTo>
                      <a:pt x="65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73" y="40"/>
                    </a:lnTo>
                    <a:lnTo>
                      <a:pt x="75" y="38"/>
                    </a:lnTo>
                    <a:lnTo>
                      <a:pt x="78" y="37"/>
                    </a:lnTo>
                    <a:lnTo>
                      <a:pt x="81" y="38"/>
                    </a:lnTo>
                    <a:lnTo>
                      <a:pt x="81" y="38"/>
                    </a:lnTo>
                    <a:lnTo>
                      <a:pt x="84" y="41"/>
                    </a:lnTo>
                    <a:lnTo>
                      <a:pt x="86" y="44"/>
                    </a:lnTo>
                    <a:lnTo>
                      <a:pt x="87" y="47"/>
                    </a:lnTo>
                    <a:lnTo>
                      <a:pt x="87" y="48"/>
                    </a:lnTo>
                    <a:lnTo>
                      <a:pt x="87" y="48"/>
                    </a:lnTo>
                    <a:lnTo>
                      <a:pt x="87" y="50"/>
                    </a:lnTo>
                    <a:lnTo>
                      <a:pt x="88" y="51"/>
                    </a:lnTo>
                    <a:lnTo>
                      <a:pt x="93" y="53"/>
                    </a:lnTo>
                    <a:lnTo>
                      <a:pt x="93" y="53"/>
                    </a:lnTo>
                    <a:lnTo>
                      <a:pt x="96" y="54"/>
                    </a:lnTo>
                    <a:lnTo>
                      <a:pt x="97" y="56"/>
                    </a:lnTo>
                    <a:lnTo>
                      <a:pt x="97" y="58"/>
                    </a:lnTo>
                    <a:lnTo>
                      <a:pt x="96" y="61"/>
                    </a:lnTo>
                    <a:lnTo>
                      <a:pt x="96" y="61"/>
                    </a:lnTo>
                    <a:lnTo>
                      <a:pt x="91" y="69"/>
                    </a:lnTo>
                    <a:lnTo>
                      <a:pt x="90" y="71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1" y="77"/>
                    </a:lnTo>
                    <a:lnTo>
                      <a:pt x="94" y="82"/>
                    </a:lnTo>
                    <a:lnTo>
                      <a:pt x="97" y="85"/>
                    </a:lnTo>
                    <a:lnTo>
                      <a:pt x="99" y="89"/>
                    </a:lnTo>
                    <a:lnTo>
                      <a:pt x="99" y="89"/>
                    </a:lnTo>
                    <a:lnTo>
                      <a:pt x="102" y="99"/>
                    </a:lnTo>
                    <a:lnTo>
                      <a:pt x="103" y="105"/>
                    </a:lnTo>
                    <a:lnTo>
                      <a:pt x="103" y="111"/>
                    </a:lnTo>
                    <a:lnTo>
                      <a:pt x="103" y="111"/>
                    </a:lnTo>
                    <a:lnTo>
                      <a:pt x="102" y="118"/>
                    </a:lnTo>
                    <a:lnTo>
                      <a:pt x="100" y="121"/>
                    </a:lnTo>
                    <a:lnTo>
                      <a:pt x="99" y="122"/>
                    </a:lnTo>
                    <a:lnTo>
                      <a:pt x="99" y="122"/>
                    </a:lnTo>
                    <a:lnTo>
                      <a:pt x="93" y="124"/>
                    </a:lnTo>
                    <a:lnTo>
                      <a:pt x="90" y="124"/>
                    </a:lnTo>
                    <a:lnTo>
                      <a:pt x="87" y="12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81" name="Freeform 1432"/>
              <p:cNvSpPr>
                <a:spLocks/>
              </p:cNvSpPr>
              <p:nvPr/>
            </p:nvSpPr>
            <p:spPr bwMode="auto">
              <a:xfrm>
                <a:off x="2717138" y="1179348"/>
                <a:ext cx="101894" cy="122668"/>
              </a:xfrm>
              <a:custGeom>
                <a:avLst/>
                <a:gdLst>
                  <a:gd name="T0" fmla="*/ 84 w 103"/>
                  <a:gd name="T1" fmla="*/ 121 h 124"/>
                  <a:gd name="T2" fmla="*/ 77 w 103"/>
                  <a:gd name="T3" fmla="*/ 103 h 124"/>
                  <a:gd name="T4" fmla="*/ 71 w 103"/>
                  <a:gd name="T5" fmla="*/ 92 h 124"/>
                  <a:gd name="T6" fmla="*/ 61 w 103"/>
                  <a:gd name="T7" fmla="*/ 87 h 124"/>
                  <a:gd name="T8" fmla="*/ 55 w 103"/>
                  <a:gd name="T9" fmla="*/ 85 h 124"/>
                  <a:gd name="T10" fmla="*/ 49 w 103"/>
                  <a:gd name="T11" fmla="*/ 87 h 124"/>
                  <a:gd name="T12" fmla="*/ 46 w 103"/>
                  <a:gd name="T13" fmla="*/ 85 h 124"/>
                  <a:gd name="T14" fmla="*/ 44 w 103"/>
                  <a:gd name="T15" fmla="*/ 83 h 124"/>
                  <a:gd name="T16" fmla="*/ 26 w 103"/>
                  <a:gd name="T17" fmla="*/ 89 h 124"/>
                  <a:gd name="T18" fmla="*/ 19 w 103"/>
                  <a:gd name="T19" fmla="*/ 83 h 124"/>
                  <a:gd name="T20" fmla="*/ 13 w 103"/>
                  <a:gd name="T21" fmla="*/ 70 h 124"/>
                  <a:gd name="T22" fmla="*/ 15 w 103"/>
                  <a:gd name="T23" fmla="*/ 67 h 124"/>
                  <a:gd name="T24" fmla="*/ 31 w 103"/>
                  <a:gd name="T25" fmla="*/ 70 h 124"/>
                  <a:gd name="T26" fmla="*/ 36 w 103"/>
                  <a:gd name="T27" fmla="*/ 67 h 124"/>
                  <a:gd name="T28" fmla="*/ 36 w 103"/>
                  <a:gd name="T29" fmla="*/ 63 h 124"/>
                  <a:gd name="T30" fmla="*/ 29 w 103"/>
                  <a:gd name="T31" fmla="*/ 58 h 124"/>
                  <a:gd name="T32" fmla="*/ 36 w 103"/>
                  <a:gd name="T33" fmla="*/ 54 h 124"/>
                  <a:gd name="T34" fmla="*/ 28 w 103"/>
                  <a:gd name="T35" fmla="*/ 51 h 124"/>
                  <a:gd name="T36" fmla="*/ 25 w 103"/>
                  <a:gd name="T37" fmla="*/ 47 h 124"/>
                  <a:gd name="T38" fmla="*/ 29 w 103"/>
                  <a:gd name="T39" fmla="*/ 41 h 124"/>
                  <a:gd name="T40" fmla="*/ 26 w 103"/>
                  <a:gd name="T41" fmla="*/ 34 h 124"/>
                  <a:gd name="T42" fmla="*/ 23 w 103"/>
                  <a:gd name="T43" fmla="*/ 32 h 124"/>
                  <a:gd name="T44" fmla="*/ 15 w 103"/>
                  <a:gd name="T45" fmla="*/ 48 h 124"/>
                  <a:gd name="T46" fmla="*/ 12 w 103"/>
                  <a:gd name="T47" fmla="*/ 41 h 124"/>
                  <a:gd name="T48" fmla="*/ 16 w 103"/>
                  <a:gd name="T49" fmla="*/ 34 h 124"/>
                  <a:gd name="T50" fmla="*/ 13 w 103"/>
                  <a:gd name="T51" fmla="*/ 29 h 124"/>
                  <a:gd name="T52" fmla="*/ 3 w 103"/>
                  <a:gd name="T53" fmla="*/ 31 h 124"/>
                  <a:gd name="T54" fmla="*/ 2 w 103"/>
                  <a:gd name="T55" fmla="*/ 14 h 124"/>
                  <a:gd name="T56" fmla="*/ 0 w 103"/>
                  <a:gd name="T57" fmla="*/ 8 h 124"/>
                  <a:gd name="T58" fmla="*/ 9 w 103"/>
                  <a:gd name="T59" fmla="*/ 8 h 124"/>
                  <a:gd name="T60" fmla="*/ 23 w 103"/>
                  <a:gd name="T61" fmla="*/ 2 h 124"/>
                  <a:gd name="T62" fmla="*/ 26 w 103"/>
                  <a:gd name="T63" fmla="*/ 2 h 124"/>
                  <a:gd name="T64" fmla="*/ 31 w 103"/>
                  <a:gd name="T65" fmla="*/ 8 h 124"/>
                  <a:gd name="T66" fmla="*/ 38 w 103"/>
                  <a:gd name="T67" fmla="*/ 8 h 124"/>
                  <a:gd name="T68" fmla="*/ 38 w 103"/>
                  <a:gd name="T69" fmla="*/ 19 h 124"/>
                  <a:gd name="T70" fmla="*/ 39 w 103"/>
                  <a:gd name="T71" fmla="*/ 29 h 124"/>
                  <a:gd name="T72" fmla="*/ 44 w 103"/>
                  <a:gd name="T73" fmla="*/ 32 h 124"/>
                  <a:gd name="T74" fmla="*/ 45 w 103"/>
                  <a:gd name="T75" fmla="*/ 18 h 124"/>
                  <a:gd name="T76" fmla="*/ 48 w 103"/>
                  <a:gd name="T77" fmla="*/ 16 h 124"/>
                  <a:gd name="T78" fmla="*/ 58 w 103"/>
                  <a:gd name="T79" fmla="*/ 22 h 124"/>
                  <a:gd name="T80" fmla="*/ 64 w 103"/>
                  <a:gd name="T81" fmla="*/ 28 h 124"/>
                  <a:gd name="T82" fmla="*/ 67 w 103"/>
                  <a:gd name="T83" fmla="*/ 34 h 124"/>
                  <a:gd name="T84" fmla="*/ 65 w 103"/>
                  <a:gd name="T85" fmla="*/ 41 h 124"/>
                  <a:gd name="T86" fmla="*/ 73 w 103"/>
                  <a:gd name="T87" fmla="*/ 40 h 124"/>
                  <a:gd name="T88" fmla="*/ 81 w 103"/>
                  <a:gd name="T89" fmla="*/ 38 h 124"/>
                  <a:gd name="T90" fmla="*/ 86 w 103"/>
                  <a:gd name="T91" fmla="*/ 44 h 124"/>
                  <a:gd name="T92" fmla="*/ 87 w 103"/>
                  <a:gd name="T93" fmla="*/ 48 h 124"/>
                  <a:gd name="T94" fmla="*/ 93 w 103"/>
                  <a:gd name="T95" fmla="*/ 53 h 124"/>
                  <a:gd name="T96" fmla="*/ 97 w 103"/>
                  <a:gd name="T97" fmla="*/ 56 h 124"/>
                  <a:gd name="T98" fmla="*/ 96 w 103"/>
                  <a:gd name="T99" fmla="*/ 61 h 124"/>
                  <a:gd name="T100" fmla="*/ 90 w 103"/>
                  <a:gd name="T101" fmla="*/ 74 h 124"/>
                  <a:gd name="T102" fmla="*/ 94 w 103"/>
                  <a:gd name="T103" fmla="*/ 82 h 124"/>
                  <a:gd name="T104" fmla="*/ 99 w 103"/>
                  <a:gd name="T105" fmla="*/ 89 h 124"/>
                  <a:gd name="T106" fmla="*/ 103 w 103"/>
                  <a:gd name="T107" fmla="*/ 111 h 124"/>
                  <a:gd name="T108" fmla="*/ 100 w 103"/>
                  <a:gd name="T109" fmla="*/ 121 h 124"/>
                  <a:gd name="T110" fmla="*/ 93 w 103"/>
                  <a:gd name="T111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3" h="124">
                    <a:moveTo>
                      <a:pt x="87" y="124"/>
                    </a:moveTo>
                    <a:lnTo>
                      <a:pt x="87" y="124"/>
                    </a:lnTo>
                    <a:lnTo>
                      <a:pt x="84" y="121"/>
                    </a:lnTo>
                    <a:lnTo>
                      <a:pt x="81" y="115"/>
                    </a:lnTo>
                    <a:lnTo>
                      <a:pt x="77" y="103"/>
                    </a:lnTo>
                    <a:lnTo>
                      <a:pt x="77" y="103"/>
                    </a:lnTo>
                    <a:lnTo>
                      <a:pt x="74" y="96"/>
                    </a:lnTo>
                    <a:lnTo>
                      <a:pt x="71" y="92"/>
                    </a:lnTo>
                    <a:lnTo>
                      <a:pt x="71" y="92"/>
                    </a:lnTo>
                    <a:lnTo>
                      <a:pt x="65" y="89"/>
                    </a:lnTo>
                    <a:lnTo>
                      <a:pt x="61" y="87"/>
                    </a:lnTo>
                    <a:lnTo>
                      <a:pt x="61" y="87"/>
                    </a:lnTo>
                    <a:lnTo>
                      <a:pt x="58" y="86"/>
                    </a:lnTo>
                    <a:lnTo>
                      <a:pt x="57" y="85"/>
                    </a:lnTo>
                    <a:lnTo>
                      <a:pt x="55" y="85"/>
                    </a:lnTo>
                    <a:lnTo>
                      <a:pt x="55" y="85"/>
                    </a:lnTo>
                    <a:lnTo>
                      <a:pt x="51" y="87"/>
                    </a:lnTo>
                    <a:lnTo>
                      <a:pt x="49" y="87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85"/>
                    </a:lnTo>
                    <a:lnTo>
                      <a:pt x="45" y="83"/>
                    </a:lnTo>
                    <a:lnTo>
                      <a:pt x="44" y="83"/>
                    </a:lnTo>
                    <a:lnTo>
                      <a:pt x="44" y="83"/>
                    </a:lnTo>
                    <a:lnTo>
                      <a:pt x="35" y="86"/>
                    </a:lnTo>
                    <a:lnTo>
                      <a:pt x="26" y="89"/>
                    </a:lnTo>
                    <a:lnTo>
                      <a:pt x="26" y="89"/>
                    </a:lnTo>
                    <a:lnTo>
                      <a:pt x="23" y="89"/>
                    </a:lnTo>
                    <a:lnTo>
                      <a:pt x="22" y="87"/>
                    </a:lnTo>
                    <a:lnTo>
                      <a:pt x="19" y="83"/>
                    </a:lnTo>
                    <a:lnTo>
                      <a:pt x="19" y="83"/>
                    </a:lnTo>
                    <a:lnTo>
                      <a:pt x="13" y="74"/>
                    </a:lnTo>
                    <a:lnTo>
                      <a:pt x="13" y="70"/>
                    </a:lnTo>
                    <a:lnTo>
                      <a:pt x="13" y="69"/>
                    </a:lnTo>
                    <a:lnTo>
                      <a:pt x="15" y="67"/>
                    </a:lnTo>
                    <a:lnTo>
                      <a:pt x="15" y="67"/>
                    </a:lnTo>
                    <a:lnTo>
                      <a:pt x="19" y="66"/>
                    </a:lnTo>
                    <a:lnTo>
                      <a:pt x="23" y="67"/>
                    </a:lnTo>
                    <a:lnTo>
                      <a:pt x="31" y="70"/>
                    </a:lnTo>
                    <a:lnTo>
                      <a:pt x="31" y="70"/>
                    </a:lnTo>
                    <a:lnTo>
                      <a:pt x="33" y="70"/>
                    </a:lnTo>
                    <a:lnTo>
                      <a:pt x="36" y="67"/>
                    </a:lnTo>
                    <a:lnTo>
                      <a:pt x="38" y="66"/>
                    </a:lnTo>
                    <a:lnTo>
                      <a:pt x="36" y="63"/>
                    </a:lnTo>
                    <a:lnTo>
                      <a:pt x="36" y="63"/>
                    </a:lnTo>
                    <a:lnTo>
                      <a:pt x="29" y="60"/>
                    </a:lnTo>
                    <a:lnTo>
                      <a:pt x="29" y="58"/>
                    </a:lnTo>
                    <a:lnTo>
                      <a:pt x="29" y="58"/>
                    </a:lnTo>
                    <a:lnTo>
                      <a:pt x="29" y="58"/>
                    </a:lnTo>
                    <a:lnTo>
                      <a:pt x="35" y="56"/>
                    </a:lnTo>
                    <a:lnTo>
                      <a:pt x="36" y="54"/>
                    </a:lnTo>
                    <a:lnTo>
                      <a:pt x="35" y="53"/>
                    </a:lnTo>
                    <a:lnTo>
                      <a:pt x="35" y="53"/>
                    </a:lnTo>
                    <a:lnTo>
                      <a:pt x="28" y="51"/>
                    </a:lnTo>
                    <a:lnTo>
                      <a:pt x="25" y="50"/>
                    </a:lnTo>
                    <a:lnTo>
                      <a:pt x="25" y="48"/>
                    </a:lnTo>
                    <a:lnTo>
                      <a:pt x="25" y="47"/>
                    </a:lnTo>
                    <a:lnTo>
                      <a:pt x="25" y="47"/>
                    </a:lnTo>
                    <a:lnTo>
                      <a:pt x="29" y="42"/>
                    </a:lnTo>
                    <a:lnTo>
                      <a:pt x="29" y="41"/>
                    </a:lnTo>
                    <a:lnTo>
                      <a:pt x="29" y="40"/>
                    </a:lnTo>
                    <a:lnTo>
                      <a:pt x="29" y="40"/>
                    </a:lnTo>
                    <a:lnTo>
                      <a:pt x="26" y="34"/>
                    </a:lnTo>
                    <a:lnTo>
                      <a:pt x="26" y="31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19" y="41"/>
                    </a:lnTo>
                    <a:lnTo>
                      <a:pt x="16" y="45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2" y="44"/>
                    </a:lnTo>
                    <a:lnTo>
                      <a:pt x="12" y="41"/>
                    </a:lnTo>
                    <a:lnTo>
                      <a:pt x="13" y="38"/>
                    </a:lnTo>
                    <a:lnTo>
                      <a:pt x="13" y="38"/>
                    </a:lnTo>
                    <a:lnTo>
                      <a:pt x="16" y="34"/>
                    </a:lnTo>
                    <a:lnTo>
                      <a:pt x="16" y="31"/>
                    </a:lnTo>
                    <a:lnTo>
                      <a:pt x="13" y="29"/>
                    </a:lnTo>
                    <a:lnTo>
                      <a:pt x="13" y="29"/>
                    </a:lnTo>
                    <a:lnTo>
                      <a:pt x="7" y="31"/>
                    </a:lnTo>
                    <a:lnTo>
                      <a:pt x="4" y="31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3" y="21"/>
                    </a:lnTo>
                    <a:lnTo>
                      <a:pt x="2" y="1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4" y="9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19" y="3"/>
                    </a:lnTo>
                    <a:lnTo>
                      <a:pt x="23" y="2"/>
                    </a:lnTo>
                    <a:lnTo>
                      <a:pt x="25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6"/>
                    </a:lnTo>
                    <a:lnTo>
                      <a:pt x="28" y="8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6" y="8"/>
                    </a:lnTo>
                    <a:lnTo>
                      <a:pt x="38" y="8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8" y="19"/>
                    </a:lnTo>
                    <a:lnTo>
                      <a:pt x="38" y="25"/>
                    </a:lnTo>
                    <a:lnTo>
                      <a:pt x="39" y="29"/>
                    </a:lnTo>
                    <a:lnTo>
                      <a:pt x="39" y="29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22"/>
                    </a:lnTo>
                    <a:lnTo>
                      <a:pt x="45" y="18"/>
                    </a:lnTo>
                    <a:lnTo>
                      <a:pt x="46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2" y="16"/>
                    </a:lnTo>
                    <a:lnTo>
                      <a:pt x="55" y="18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61" y="25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7" y="2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4" y="38"/>
                    </a:lnTo>
                    <a:lnTo>
                      <a:pt x="65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73" y="40"/>
                    </a:lnTo>
                    <a:lnTo>
                      <a:pt x="75" y="38"/>
                    </a:lnTo>
                    <a:lnTo>
                      <a:pt x="78" y="37"/>
                    </a:lnTo>
                    <a:lnTo>
                      <a:pt x="81" y="38"/>
                    </a:lnTo>
                    <a:lnTo>
                      <a:pt x="81" y="38"/>
                    </a:lnTo>
                    <a:lnTo>
                      <a:pt x="84" y="41"/>
                    </a:lnTo>
                    <a:lnTo>
                      <a:pt x="86" y="44"/>
                    </a:lnTo>
                    <a:lnTo>
                      <a:pt x="87" y="47"/>
                    </a:lnTo>
                    <a:lnTo>
                      <a:pt x="87" y="48"/>
                    </a:lnTo>
                    <a:lnTo>
                      <a:pt x="87" y="48"/>
                    </a:lnTo>
                    <a:lnTo>
                      <a:pt x="87" y="50"/>
                    </a:lnTo>
                    <a:lnTo>
                      <a:pt x="88" y="51"/>
                    </a:lnTo>
                    <a:lnTo>
                      <a:pt x="93" y="53"/>
                    </a:lnTo>
                    <a:lnTo>
                      <a:pt x="93" y="53"/>
                    </a:lnTo>
                    <a:lnTo>
                      <a:pt x="96" y="54"/>
                    </a:lnTo>
                    <a:lnTo>
                      <a:pt x="97" y="56"/>
                    </a:lnTo>
                    <a:lnTo>
                      <a:pt x="97" y="58"/>
                    </a:lnTo>
                    <a:lnTo>
                      <a:pt x="96" y="61"/>
                    </a:lnTo>
                    <a:lnTo>
                      <a:pt x="96" y="61"/>
                    </a:lnTo>
                    <a:lnTo>
                      <a:pt x="91" y="69"/>
                    </a:lnTo>
                    <a:lnTo>
                      <a:pt x="90" y="71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1" y="77"/>
                    </a:lnTo>
                    <a:lnTo>
                      <a:pt x="94" y="82"/>
                    </a:lnTo>
                    <a:lnTo>
                      <a:pt x="97" y="85"/>
                    </a:lnTo>
                    <a:lnTo>
                      <a:pt x="99" y="89"/>
                    </a:lnTo>
                    <a:lnTo>
                      <a:pt x="99" y="89"/>
                    </a:lnTo>
                    <a:lnTo>
                      <a:pt x="102" y="99"/>
                    </a:lnTo>
                    <a:lnTo>
                      <a:pt x="103" y="105"/>
                    </a:lnTo>
                    <a:lnTo>
                      <a:pt x="103" y="111"/>
                    </a:lnTo>
                    <a:lnTo>
                      <a:pt x="103" y="111"/>
                    </a:lnTo>
                    <a:lnTo>
                      <a:pt x="102" y="118"/>
                    </a:lnTo>
                    <a:lnTo>
                      <a:pt x="100" y="121"/>
                    </a:lnTo>
                    <a:lnTo>
                      <a:pt x="99" y="122"/>
                    </a:lnTo>
                    <a:lnTo>
                      <a:pt x="99" y="122"/>
                    </a:lnTo>
                    <a:lnTo>
                      <a:pt x="93" y="124"/>
                    </a:lnTo>
                    <a:lnTo>
                      <a:pt x="90" y="124"/>
                    </a:lnTo>
                    <a:lnTo>
                      <a:pt x="87" y="12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82" name="Freeform 1433"/>
              <p:cNvSpPr>
                <a:spLocks/>
              </p:cNvSpPr>
              <p:nvPr/>
            </p:nvSpPr>
            <p:spPr bwMode="auto">
              <a:xfrm>
                <a:off x="2752751" y="1270360"/>
                <a:ext cx="8903" cy="7914"/>
              </a:xfrm>
              <a:custGeom>
                <a:avLst/>
                <a:gdLst>
                  <a:gd name="T0" fmla="*/ 3 w 9"/>
                  <a:gd name="T1" fmla="*/ 8 h 8"/>
                  <a:gd name="T2" fmla="*/ 3 w 9"/>
                  <a:gd name="T3" fmla="*/ 8 h 8"/>
                  <a:gd name="T4" fmla="*/ 0 w 9"/>
                  <a:gd name="T5" fmla="*/ 7 h 8"/>
                  <a:gd name="T6" fmla="*/ 0 w 9"/>
                  <a:gd name="T7" fmla="*/ 7 h 8"/>
                  <a:gd name="T8" fmla="*/ 0 w 9"/>
                  <a:gd name="T9" fmla="*/ 4 h 8"/>
                  <a:gd name="T10" fmla="*/ 3 w 9"/>
                  <a:gd name="T11" fmla="*/ 1 h 8"/>
                  <a:gd name="T12" fmla="*/ 5 w 9"/>
                  <a:gd name="T13" fmla="*/ 0 h 8"/>
                  <a:gd name="T14" fmla="*/ 5 w 9"/>
                  <a:gd name="T15" fmla="*/ 0 h 8"/>
                  <a:gd name="T16" fmla="*/ 9 w 9"/>
                  <a:gd name="T17" fmla="*/ 0 h 8"/>
                  <a:gd name="T18" fmla="*/ 9 w 9"/>
                  <a:gd name="T19" fmla="*/ 1 h 8"/>
                  <a:gd name="T20" fmla="*/ 9 w 9"/>
                  <a:gd name="T21" fmla="*/ 4 h 8"/>
                  <a:gd name="T22" fmla="*/ 9 w 9"/>
                  <a:gd name="T23" fmla="*/ 4 h 8"/>
                  <a:gd name="T24" fmla="*/ 6 w 9"/>
                  <a:gd name="T25" fmla="*/ 8 h 8"/>
                  <a:gd name="T26" fmla="*/ 5 w 9"/>
                  <a:gd name="T27" fmla="*/ 8 h 8"/>
                  <a:gd name="T28" fmla="*/ 3 w 9"/>
                  <a:gd name="T2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8">
                    <a:moveTo>
                      <a:pt x="3" y="8"/>
                    </a:moveTo>
                    <a:lnTo>
                      <a:pt x="3" y="8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9" y="1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6" y="8"/>
                    </a:lnTo>
                    <a:lnTo>
                      <a:pt x="5" y="8"/>
                    </a:lnTo>
                    <a:lnTo>
                      <a:pt x="3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83" name="Freeform 1434"/>
              <p:cNvSpPr>
                <a:spLocks/>
              </p:cNvSpPr>
              <p:nvPr/>
            </p:nvSpPr>
            <p:spPr bwMode="auto">
              <a:xfrm>
                <a:off x="2752751" y="1270360"/>
                <a:ext cx="8903" cy="7914"/>
              </a:xfrm>
              <a:custGeom>
                <a:avLst/>
                <a:gdLst>
                  <a:gd name="T0" fmla="*/ 3 w 9"/>
                  <a:gd name="T1" fmla="*/ 8 h 8"/>
                  <a:gd name="T2" fmla="*/ 3 w 9"/>
                  <a:gd name="T3" fmla="*/ 8 h 8"/>
                  <a:gd name="T4" fmla="*/ 0 w 9"/>
                  <a:gd name="T5" fmla="*/ 7 h 8"/>
                  <a:gd name="T6" fmla="*/ 0 w 9"/>
                  <a:gd name="T7" fmla="*/ 7 h 8"/>
                  <a:gd name="T8" fmla="*/ 0 w 9"/>
                  <a:gd name="T9" fmla="*/ 4 h 8"/>
                  <a:gd name="T10" fmla="*/ 3 w 9"/>
                  <a:gd name="T11" fmla="*/ 1 h 8"/>
                  <a:gd name="T12" fmla="*/ 5 w 9"/>
                  <a:gd name="T13" fmla="*/ 0 h 8"/>
                  <a:gd name="T14" fmla="*/ 5 w 9"/>
                  <a:gd name="T15" fmla="*/ 0 h 8"/>
                  <a:gd name="T16" fmla="*/ 9 w 9"/>
                  <a:gd name="T17" fmla="*/ 0 h 8"/>
                  <a:gd name="T18" fmla="*/ 9 w 9"/>
                  <a:gd name="T19" fmla="*/ 1 h 8"/>
                  <a:gd name="T20" fmla="*/ 9 w 9"/>
                  <a:gd name="T21" fmla="*/ 4 h 8"/>
                  <a:gd name="T22" fmla="*/ 9 w 9"/>
                  <a:gd name="T23" fmla="*/ 4 h 8"/>
                  <a:gd name="T24" fmla="*/ 6 w 9"/>
                  <a:gd name="T25" fmla="*/ 8 h 8"/>
                  <a:gd name="T26" fmla="*/ 5 w 9"/>
                  <a:gd name="T27" fmla="*/ 8 h 8"/>
                  <a:gd name="T28" fmla="*/ 3 w 9"/>
                  <a:gd name="T2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8">
                    <a:moveTo>
                      <a:pt x="3" y="8"/>
                    </a:moveTo>
                    <a:lnTo>
                      <a:pt x="3" y="8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9" y="1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6" y="8"/>
                    </a:lnTo>
                    <a:lnTo>
                      <a:pt x="5" y="8"/>
                    </a:lnTo>
                    <a:lnTo>
                      <a:pt x="3" y="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84" name="Freeform 1435"/>
              <p:cNvSpPr>
                <a:spLocks/>
              </p:cNvSpPr>
              <p:nvPr/>
            </p:nvSpPr>
            <p:spPr bwMode="auto">
              <a:xfrm>
                <a:off x="2867505" y="1304984"/>
                <a:ext cx="47484" cy="26710"/>
              </a:xfrm>
              <a:custGeom>
                <a:avLst/>
                <a:gdLst>
                  <a:gd name="T0" fmla="*/ 39 w 48"/>
                  <a:gd name="T1" fmla="*/ 27 h 27"/>
                  <a:gd name="T2" fmla="*/ 39 w 48"/>
                  <a:gd name="T3" fmla="*/ 27 h 27"/>
                  <a:gd name="T4" fmla="*/ 35 w 48"/>
                  <a:gd name="T5" fmla="*/ 27 h 27"/>
                  <a:gd name="T6" fmla="*/ 31 w 48"/>
                  <a:gd name="T7" fmla="*/ 27 h 27"/>
                  <a:gd name="T8" fmla="*/ 28 w 48"/>
                  <a:gd name="T9" fmla="*/ 26 h 27"/>
                  <a:gd name="T10" fmla="*/ 25 w 48"/>
                  <a:gd name="T11" fmla="*/ 24 h 27"/>
                  <a:gd name="T12" fmla="*/ 25 w 48"/>
                  <a:gd name="T13" fmla="*/ 24 h 27"/>
                  <a:gd name="T14" fmla="*/ 19 w 48"/>
                  <a:gd name="T15" fmla="*/ 26 h 27"/>
                  <a:gd name="T16" fmla="*/ 18 w 48"/>
                  <a:gd name="T17" fmla="*/ 26 h 27"/>
                  <a:gd name="T18" fmla="*/ 15 w 48"/>
                  <a:gd name="T19" fmla="*/ 26 h 27"/>
                  <a:gd name="T20" fmla="*/ 15 w 48"/>
                  <a:gd name="T21" fmla="*/ 26 h 27"/>
                  <a:gd name="T22" fmla="*/ 13 w 48"/>
                  <a:gd name="T23" fmla="*/ 23 h 27"/>
                  <a:gd name="T24" fmla="*/ 10 w 48"/>
                  <a:gd name="T25" fmla="*/ 23 h 27"/>
                  <a:gd name="T26" fmla="*/ 10 w 48"/>
                  <a:gd name="T27" fmla="*/ 23 h 27"/>
                  <a:gd name="T28" fmla="*/ 7 w 48"/>
                  <a:gd name="T29" fmla="*/ 21 h 27"/>
                  <a:gd name="T30" fmla="*/ 3 w 48"/>
                  <a:gd name="T31" fmla="*/ 18 h 27"/>
                  <a:gd name="T32" fmla="*/ 0 w 48"/>
                  <a:gd name="T33" fmla="*/ 14 h 27"/>
                  <a:gd name="T34" fmla="*/ 0 w 48"/>
                  <a:gd name="T35" fmla="*/ 11 h 27"/>
                  <a:gd name="T36" fmla="*/ 0 w 48"/>
                  <a:gd name="T37" fmla="*/ 11 h 27"/>
                  <a:gd name="T38" fmla="*/ 2 w 48"/>
                  <a:gd name="T39" fmla="*/ 7 h 27"/>
                  <a:gd name="T40" fmla="*/ 5 w 48"/>
                  <a:gd name="T41" fmla="*/ 4 h 27"/>
                  <a:gd name="T42" fmla="*/ 12 w 48"/>
                  <a:gd name="T43" fmla="*/ 0 h 27"/>
                  <a:gd name="T44" fmla="*/ 12 w 48"/>
                  <a:gd name="T45" fmla="*/ 0 h 27"/>
                  <a:gd name="T46" fmla="*/ 13 w 48"/>
                  <a:gd name="T47" fmla="*/ 1 h 27"/>
                  <a:gd name="T48" fmla="*/ 15 w 48"/>
                  <a:gd name="T49" fmla="*/ 1 h 27"/>
                  <a:gd name="T50" fmla="*/ 15 w 48"/>
                  <a:gd name="T51" fmla="*/ 2 h 27"/>
                  <a:gd name="T52" fmla="*/ 18 w 48"/>
                  <a:gd name="T53" fmla="*/ 2 h 27"/>
                  <a:gd name="T54" fmla="*/ 18 w 48"/>
                  <a:gd name="T55" fmla="*/ 2 h 27"/>
                  <a:gd name="T56" fmla="*/ 19 w 48"/>
                  <a:gd name="T57" fmla="*/ 2 h 27"/>
                  <a:gd name="T58" fmla="*/ 20 w 48"/>
                  <a:gd name="T59" fmla="*/ 1 h 27"/>
                  <a:gd name="T60" fmla="*/ 22 w 48"/>
                  <a:gd name="T61" fmla="*/ 0 h 27"/>
                  <a:gd name="T62" fmla="*/ 25 w 48"/>
                  <a:gd name="T63" fmla="*/ 0 h 27"/>
                  <a:gd name="T64" fmla="*/ 25 w 48"/>
                  <a:gd name="T65" fmla="*/ 0 h 27"/>
                  <a:gd name="T66" fmla="*/ 28 w 48"/>
                  <a:gd name="T67" fmla="*/ 1 h 27"/>
                  <a:gd name="T68" fmla="*/ 29 w 48"/>
                  <a:gd name="T69" fmla="*/ 2 h 27"/>
                  <a:gd name="T70" fmla="*/ 32 w 48"/>
                  <a:gd name="T71" fmla="*/ 2 h 27"/>
                  <a:gd name="T72" fmla="*/ 32 w 48"/>
                  <a:gd name="T73" fmla="*/ 2 h 27"/>
                  <a:gd name="T74" fmla="*/ 41 w 48"/>
                  <a:gd name="T75" fmla="*/ 4 h 27"/>
                  <a:gd name="T76" fmla="*/ 47 w 48"/>
                  <a:gd name="T77" fmla="*/ 7 h 27"/>
                  <a:gd name="T78" fmla="*/ 47 w 48"/>
                  <a:gd name="T79" fmla="*/ 7 h 27"/>
                  <a:gd name="T80" fmla="*/ 48 w 48"/>
                  <a:gd name="T81" fmla="*/ 11 h 27"/>
                  <a:gd name="T82" fmla="*/ 48 w 48"/>
                  <a:gd name="T83" fmla="*/ 13 h 27"/>
                  <a:gd name="T84" fmla="*/ 47 w 48"/>
                  <a:gd name="T85" fmla="*/ 15 h 27"/>
                  <a:gd name="T86" fmla="*/ 47 w 48"/>
                  <a:gd name="T87" fmla="*/ 15 h 27"/>
                  <a:gd name="T88" fmla="*/ 45 w 48"/>
                  <a:gd name="T89" fmla="*/ 18 h 27"/>
                  <a:gd name="T90" fmla="*/ 44 w 48"/>
                  <a:gd name="T91" fmla="*/ 23 h 27"/>
                  <a:gd name="T92" fmla="*/ 42 w 48"/>
                  <a:gd name="T93" fmla="*/ 26 h 27"/>
                  <a:gd name="T94" fmla="*/ 39 w 48"/>
                  <a:gd name="T9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27">
                    <a:moveTo>
                      <a:pt x="39" y="27"/>
                    </a:moveTo>
                    <a:lnTo>
                      <a:pt x="39" y="27"/>
                    </a:lnTo>
                    <a:lnTo>
                      <a:pt x="35" y="27"/>
                    </a:lnTo>
                    <a:lnTo>
                      <a:pt x="31" y="27"/>
                    </a:lnTo>
                    <a:lnTo>
                      <a:pt x="28" y="26"/>
                    </a:lnTo>
                    <a:lnTo>
                      <a:pt x="25" y="24"/>
                    </a:lnTo>
                    <a:lnTo>
                      <a:pt x="25" y="24"/>
                    </a:lnTo>
                    <a:lnTo>
                      <a:pt x="19" y="26"/>
                    </a:lnTo>
                    <a:lnTo>
                      <a:pt x="18" y="26"/>
                    </a:lnTo>
                    <a:lnTo>
                      <a:pt x="15" y="26"/>
                    </a:lnTo>
                    <a:lnTo>
                      <a:pt x="15" y="26"/>
                    </a:lnTo>
                    <a:lnTo>
                      <a:pt x="13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7" y="21"/>
                    </a:lnTo>
                    <a:lnTo>
                      <a:pt x="3" y="18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5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3" y="1"/>
                    </a:lnTo>
                    <a:lnTo>
                      <a:pt x="15" y="1"/>
                    </a:lnTo>
                    <a:lnTo>
                      <a:pt x="15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9" y="2"/>
                    </a:lnTo>
                    <a:lnTo>
                      <a:pt x="20" y="1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8" y="1"/>
                    </a:lnTo>
                    <a:lnTo>
                      <a:pt x="29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41" y="4"/>
                    </a:lnTo>
                    <a:lnTo>
                      <a:pt x="47" y="7"/>
                    </a:lnTo>
                    <a:lnTo>
                      <a:pt x="47" y="7"/>
                    </a:lnTo>
                    <a:lnTo>
                      <a:pt x="48" y="11"/>
                    </a:lnTo>
                    <a:lnTo>
                      <a:pt x="48" y="13"/>
                    </a:lnTo>
                    <a:lnTo>
                      <a:pt x="47" y="15"/>
                    </a:lnTo>
                    <a:lnTo>
                      <a:pt x="47" y="15"/>
                    </a:lnTo>
                    <a:lnTo>
                      <a:pt x="45" y="18"/>
                    </a:lnTo>
                    <a:lnTo>
                      <a:pt x="44" y="23"/>
                    </a:lnTo>
                    <a:lnTo>
                      <a:pt x="42" y="26"/>
                    </a:lnTo>
                    <a:lnTo>
                      <a:pt x="39" y="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85" name="Freeform 1436"/>
              <p:cNvSpPr>
                <a:spLocks/>
              </p:cNvSpPr>
              <p:nvPr/>
            </p:nvSpPr>
            <p:spPr bwMode="auto">
              <a:xfrm>
                <a:off x="2867505" y="1304984"/>
                <a:ext cx="47484" cy="26710"/>
              </a:xfrm>
              <a:custGeom>
                <a:avLst/>
                <a:gdLst>
                  <a:gd name="T0" fmla="*/ 39 w 48"/>
                  <a:gd name="T1" fmla="*/ 27 h 27"/>
                  <a:gd name="T2" fmla="*/ 39 w 48"/>
                  <a:gd name="T3" fmla="*/ 27 h 27"/>
                  <a:gd name="T4" fmla="*/ 35 w 48"/>
                  <a:gd name="T5" fmla="*/ 27 h 27"/>
                  <a:gd name="T6" fmla="*/ 31 w 48"/>
                  <a:gd name="T7" fmla="*/ 27 h 27"/>
                  <a:gd name="T8" fmla="*/ 28 w 48"/>
                  <a:gd name="T9" fmla="*/ 26 h 27"/>
                  <a:gd name="T10" fmla="*/ 25 w 48"/>
                  <a:gd name="T11" fmla="*/ 24 h 27"/>
                  <a:gd name="T12" fmla="*/ 25 w 48"/>
                  <a:gd name="T13" fmla="*/ 24 h 27"/>
                  <a:gd name="T14" fmla="*/ 19 w 48"/>
                  <a:gd name="T15" fmla="*/ 26 h 27"/>
                  <a:gd name="T16" fmla="*/ 18 w 48"/>
                  <a:gd name="T17" fmla="*/ 26 h 27"/>
                  <a:gd name="T18" fmla="*/ 15 w 48"/>
                  <a:gd name="T19" fmla="*/ 26 h 27"/>
                  <a:gd name="T20" fmla="*/ 15 w 48"/>
                  <a:gd name="T21" fmla="*/ 26 h 27"/>
                  <a:gd name="T22" fmla="*/ 13 w 48"/>
                  <a:gd name="T23" fmla="*/ 23 h 27"/>
                  <a:gd name="T24" fmla="*/ 10 w 48"/>
                  <a:gd name="T25" fmla="*/ 23 h 27"/>
                  <a:gd name="T26" fmla="*/ 10 w 48"/>
                  <a:gd name="T27" fmla="*/ 23 h 27"/>
                  <a:gd name="T28" fmla="*/ 7 w 48"/>
                  <a:gd name="T29" fmla="*/ 21 h 27"/>
                  <a:gd name="T30" fmla="*/ 3 w 48"/>
                  <a:gd name="T31" fmla="*/ 18 h 27"/>
                  <a:gd name="T32" fmla="*/ 0 w 48"/>
                  <a:gd name="T33" fmla="*/ 14 h 27"/>
                  <a:gd name="T34" fmla="*/ 0 w 48"/>
                  <a:gd name="T35" fmla="*/ 11 h 27"/>
                  <a:gd name="T36" fmla="*/ 0 w 48"/>
                  <a:gd name="T37" fmla="*/ 11 h 27"/>
                  <a:gd name="T38" fmla="*/ 2 w 48"/>
                  <a:gd name="T39" fmla="*/ 7 h 27"/>
                  <a:gd name="T40" fmla="*/ 5 w 48"/>
                  <a:gd name="T41" fmla="*/ 4 h 27"/>
                  <a:gd name="T42" fmla="*/ 12 w 48"/>
                  <a:gd name="T43" fmla="*/ 0 h 27"/>
                  <a:gd name="T44" fmla="*/ 12 w 48"/>
                  <a:gd name="T45" fmla="*/ 0 h 27"/>
                  <a:gd name="T46" fmla="*/ 13 w 48"/>
                  <a:gd name="T47" fmla="*/ 1 h 27"/>
                  <a:gd name="T48" fmla="*/ 15 w 48"/>
                  <a:gd name="T49" fmla="*/ 1 h 27"/>
                  <a:gd name="T50" fmla="*/ 15 w 48"/>
                  <a:gd name="T51" fmla="*/ 2 h 27"/>
                  <a:gd name="T52" fmla="*/ 18 w 48"/>
                  <a:gd name="T53" fmla="*/ 2 h 27"/>
                  <a:gd name="T54" fmla="*/ 18 w 48"/>
                  <a:gd name="T55" fmla="*/ 2 h 27"/>
                  <a:gd name="T56" fmla="*/ 19 w 48"/>
                  <a:gd name="T57" fmla="*/ 2 h 27"/>
                  <a:gd name="T58" fmla="*/ 20 w 48"/>
                  <a:gd name="T59" fmla="*/ 1 h 27"/>
                  <a:gd name="T60" fmla="*/ 22 w 48"/>
                  <a:gd name="T61" fmla="*/ 0 h 27"/>
                  <a:gd name="T62" fmla="*/ 25 w 48"/>
                  <a:gd name="T63" fmla="*/ 0 h 27"/>
                  <a:gd name="T64" fmla="*/ 25 w 48"/>
                  <a:gd name="T65" fmla="*/ 0 h 27"/>
                  <a:gd name="T66" fmla="*/ 28 w 48"/>
                  <a:gd name="T67" fmla="*/ 1 h 27"/>
                  <a:gd name="T68" fmla="*/ 29 w 48"/>
                  <a:gd name="T69" fmla="*/ 2 h 27"/>
                  <a:gd name="T70" fmla="*/ 32 w 48"/>
                  <a:gd name="T71" fmla="*/ 2 h 27"/>
                  <a:gd name="T72" fmla="*/ 32 w 48"/>
                  <a:gd name="T73" fmla="*/ 2 h 27"/>
                  <a:gd name="T74" fmla="*/ 41 w 48"/>
                  <a:gd name="T75" fmla="*/ 4 h 27"/>
                  <a:gd name="T76" fmla="*/ 47 w 48"/>
                  <a:gd name="T77" fmla="*/ 7 h 27"/>
                  <a:gd name="T78" fmla="*/ 47 w 48"/>
                  <a:gd name="T79" fmla="*/ 7 h 27"/>
                  <a:gd name="T80" fmla="*/ 48 w 48"/>
                  <a:gd name="T81" fmla="*/ 11 h 27"/>
                  <a:gd name="T82" fmla="*/ 48 w 48"/>
                  <a:gd name="T83" fmla="*/ 13 h 27"/>
                  <a:gd name="T84" fmla="*/ 47 w 48"/>
                  <a:gd name="T85" fmla="*/ 15 h 27"/>
                  <a:gd name="T86" fmla="*/ 47 w 48"/>
                  <a:gd name="T87" fmla="*/ 15 h 27"/>
                  <a:gd name="T88" fmla="*/ 45 w 48"/>
                  <a:gd name="T89" fmla="*/ 18 h 27"/>
                  <a:gd name="T90" fmla="*/ 44 w 48"/>
                  <a:gd name="T91" fmla="*/ 23 h 27"/>
                  <a:gd name="T92" fmla="*/ 42 w 48"/>
                  <a:gd name="T93" fmla="*/ 26 h 27"/>
                  <a:gd name="T94" fmla="*/ 39 w 48"/>
                  <a:gd name="T9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27">
                    <a:moveTo>
                      <a:pt x="39" y="27"/>
                    </a:moveTo>
                    <a:lnTo>
                      <a:pt x="39" y="27"/>
                    </a:lnTo>
                    <a:lnTo>
                      <a:pt x="35" y="27"/>
                    </a:lnTo>
                    <a:lnTo>
                      <a:pt x="31" y="27"/>
                    </a:lnTo>
                    <a:lnTo>
                      <a:pt x="28" y="26"/>
                    </a:lnTo>
                    <a:lnTo>
                      <a:pt x="25" y="24"/>
                    </a:lnTo>
                    <a:lnTo>
                      <a:pt x="25" y="24"/>
                    </a:lnTo>
                    <a:lnTo>
                      <a:pt x="19" y="26"/>
                    </a:lnTo>
                    <a:lnTo>
                      <a:pt x="18" y="26"/>
                    </a:lnTo>
                    <a:lnTo>
                      <a:pt x="15" y="26"/>
                    </a:lnTo>
                    <a:lnTo>
                      <a:pt x="15" y="26"/>
                    </a:lnTo>
                    <a:lnTo>
                      <a:pt x="13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7" y="21"/>
                    </a:lnTo>
                    <a:lnTo>
                      <a:pt x="3" y="18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5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3" y="1"/>
                    </a:lnTo>
                    <a:lnTo>
                      <a:pt x="15" y="1"/>
                    </a:lnTo>
                    <a:lnTo>
                      <a:pt x="15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9" y="2"/>
                    </a:lnTo>
                    <a:lnTo>
                      <a:pt x="20" y="1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8" y="1"/>
                    </a:lnTo>
                    <a:lnTo>
                      <a:pt x="29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41" y="4"/>
                    </a:lnTo>
                    <a:lnTo>
                      <a:pt x="47" y="7"/>
                    </a:lnTo>
                    <a:lnTo>
                      <a:pt x="47" y="7"/>
                    </a:lnTo>
                    <a:lnTo>
                      <a:pt x="48" y="11"/>
                    </a:lnTo>
                    <a:lnTo>
                      <a:pt x="48" y="13"/>
                    </a:lnTo>
                    <a:lnTo>
                      <a:pt x="47" y="15"/>
                    </a:lnTo>
                    <a:lnTo>
                      <a:pt x="47" y="15"/>
                    </a:lnTo>
                    <a:lnTo>
                      <a:pt x="45" y="18"/>
                    </a:lnTo>
                    <a:lnTo>
                      <a:pt x="44" y="23"/>
                    </a:lnTo>
                    <a:lnTo>
                      <a:pt x="42" y="26"/>
                    </a:lnTo>
                    <a:lnTo>
                      <a:pt x="39" y="2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86" name="Freeform 1437"/>
              <p:cNvSpPr>
                <a:spLocks/>
              </p:cNvSpPr>
              <p:nvPr/>
            </p:nvSpPr>
            <p:spPr bwMode="auto">
              <a:xfrm>
                <a:off x="2947636" y="1318834"/>
                <a:ext cx="18796" cy="25721"/>
              </a:xfrm>
              <a:custGeom>
                <a:avLst/>
                <a:gdLst>
                  <a:gd name="T0" fmla="*/ 16 w 19"/>
                  <a:gd name="T1" fmla="*/ 26 h 26"/>
                  <a:gd name="T2" fmla="*/ 16 w 19"/>
                  <a:gd name="T3" fmla="*/ 26 h 26"/>
                  <a:gd name="T4" fmla="*/ 12 w 19"/>
                  <a:gd name="T5" fmla="*/ 25 h 26"/>
                  <a:gd name="T6" fmla="*/ 6 w 19"/>
                  <a:gd name="T7" fmla="*/ 23 h 26"/>
                  <a:gd name="T8" fmla="*/ 3 w 19"/>
                  <a:gd name="T9" fmla="*/ 20 h 26"/>
                  <a:gd name="T10" fmla="*/ 0 w 19"/>
                  <a:gd name="T11" fmla="*/ 16 h 26"/>
                  <a:gd name="T12" fmla="*/ 0 w 19"/>
                  <a:gd name="T13" fmla="*/ 16 h 26"/>
                  <a:gd name="T14" fmla="*/ 0 w 19"/>
                  <a:gd name="T15" fmla="*/ 10 h 26"/>
                  <a:gd name="T16" fmla="*/ 2 w 19"/>
                  <a:gd name="T17" fmla="*/ 6 h 26"/>
                  <a:gd name="T18" fmla="*/ 3 w 19"/>
                  <a:gd name="T19" fmla="*/ 1 h 26"/>
                  <a:gd name="T20" fmla="*/ 6 w 19"/>
                  <a:gd name="T21" fmla="*/ 0 h 26"/>
                  <a:gd name="T22" fmla="*/ 6 w 19"/>
                  <a:gd name="T23" fmla="*/ 0 h 26"/>
                  <a:gd name="T24" fmla="*/ 9 w 19"/>
                  <a:gd name="T25" fmla="*/ 0 h 26"/>
                  <a:gd name="T26" fmla="*/ 12 w 19"/>
                  <a:gd name="T27" fmla="*/ 3 h 26"/>
                  <a:gd name="T28" fmla="*/ 16 w 19"/>
                  <a:gd name="T29" fmla="*/ 9 h 26"/>
                  <a:gd name="T30" fmla="*/ 16 w 19"/>
                  <a:gd name="T31" fmla="*/ 9 h 26"/>
                  <a:gd name="T32" fmla="*/ 19 w 19"/>
                  <a:gd name="T33" fmla="*/ 12 h 26"/>
                  <a:gd name="T34" fmla="*/ 19 w 19"/>
                  <a:gd name="T35" fmla="*/ 17 h 26"/>
                  <a:gd name="T36" fmla="*/ 19 w 19"/>
                  <a:gd name="T37" fmla="*/ 23 h 26"/>
                  <a:gd name="T38" fmla="*/ 18 w 19"/>
                  <a:gd name="T39" fmla="*/ 25 h 26"/>
                  <a:gd name="T40" fmla="*/ 16 w 19"/>
                  <a:gd name="T41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" h="26">
                    <a:moveTo>
                      <a:pt x="16" y="26"/>
                    </a:moveTo>
                    <a:lnTo>
                      <a:pt x="16" y="26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3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9" y="12"/>
                    </a:lnTo>
                    <a:lnTo>
                      <a:pt x="19" y="17"/>
                    </a:lnTo>
                    <a:lnTo>
                      <a:pt x="19" y="23"/>
                    </a:lnTo>
                    <a:lnTo>
                      <a:pt x="18" y="25"/>
                    </a:lnTo>
                    <a:lnTo>
                      <a:pt x="16" y="2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87" name="Freeform 1438"/>
              <p:cNvSpPr>
                <a:spLocks/>
              </p:cNvSpPr>
              <p:nvPr/>
            </p:nvSpPr>
            <p:spPr bwMode="auto">
              <a:xfrm>
                <a:off x="2947636" y="1318834"/>
                <a:ext cx="18796" cy="25721"/>
              </a:xfrm>
              <a:custGeom>
                <a:avLst/>
                <a:gdLst>
                  <a:gd name="T0" fmla="*/ 16 w 19"/>
                  <a:gd name="T1" fmla="*/ 26 h 26"/>
                  <a:gd name="T2" fmla="*/ 16 w 19"/>
                  <a:gd name="T3" fmla="*/ 26 h 26"/>
                  <a:gd name="T4" fmla="*/ 12 w 19"/>
                  <a:gd name="T5" fmla="*/ 25 h 26"/>
                  <a:gd name="T6" fmla="*/ 6 w 19"/>
                  <a:gd name="T7" fmla="*/ 23 h 26"/>
                  <a:gd name="T8" fmla="*/ 3 w 19"/>
                  <a:gd name="T9" fmla="*/ 20 h 26"/>
                  <a:gd name="T10" fmla="*/ 0 w 19"/>
                  <a:gd name="T11" fmla="*/ 16 h 26"/>
                  <a:gd name="T12" fmla="*/ 0 w 19"/>
                  <a:gd name="T13" fmla="*/ 16 h 26"/>
                  <a:gd name="T14" fmla="*/ 0 w 19"/>
                  <a:gd name="T15" fmla="*/ 10 h 26"/>
                  <a:gd name="T16" fmla="*/ 2 w 19"/>
                  <a:gd name="T17" fmla="*/ 6 h 26"/>
                  <a:gd name="T18" fmla="*/ 3 w 19"/>
                  <a:gd name="T19" fmla="*/ 1 h 26"/>
                  <a:gd name="T20" fmla="*/ 6 w 19"/>
                  <a:gd name="T21" fmla="*/ 0 h 26"/>
                  <a:gd name="T22" fmla="*/ 6 w 19"/>
                  <a:gd name="T23" fmla="*/ 0 h 26"/>
                  <a:gd name="T24" fmla="*/ 9 w 19"/>
                  <a:gd name="T25" fmla="*/ 0 h 26"/>
                  <a:gd name="T26" fmla="*/ 12 w 19"/>
                  <a:gd name="T27" fmla="*/ 3 h 26"/>
                  <a:gd name="T28" fmla="*/ 16 w 19"/>
                  <a:gd name="T29" fmla="*/ 9 h 26"/>
                  <a:gd name="T30" fmla="*/ 16 w 19"/>
                  <a:gd name="T31" fmla="*/ 9 h 26"/>
                  <a:gd name="T32" fmla="*/ 19 w 19"/>
                  <a:gd name="T33" fmla="*/ 12 h 26"/>
                  <a:gd name="T34" fmla="*/ 19 w 19"/>
                  <a:gd name="T35" fmla="*/ 17 h 26"/>
                  <a:gd name="T36" fmla="*/ 19 w 19"/>
                  <a:gd name="T37" fmla="*/ 23 h 26"/>
                  <a:gd name="T38" fmla="*/ 18 w 19"/>
                  <a:gd name="T39" fmla="*/ 25 h 26"/>
                  <a:gd name="T40" fmla="*/ 16 w 19"/>
                  <a:gd name="T41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" h="26">
                    <a:moveTo>
                      <a:pt x="16" y="26"/>
                    </a:moveTo>
                    <a:lnTo>
                      <a:pt x="16" y="26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3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9" y="12"/>
                    </a:lnTo>
                    <a:lnTo>
                      <a:pt x="19" y="17"/>
                    </a:lnTo>
                    <a:lnTo>
                      <a:pt x="19" y="23"/>
                    </a:lnTo>
                    <a:lnTo>
                      <a:pt x="18" y="25"/>
                    </a:lnTo>
                    <a:lnTo>
                      <a:pt x="16" y="2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88" name="Freeform 1439"/>
              <p:cNvSpPr>
                <a:spLocks/>
              </p:cNvSpPr>
              <p:nvPr/>
            </p:nvSpPr>
            <p:spPr bwMode="auto">
              <a:xfrm>
                <a:off x="2832881" y="1218919"/>
                <a:ext cx="56388" cy="86066"/>
              </a:xfrm>
              <a:custGeom>
                <a:avLst/>
                <a:gdLst>
                  <a:gd name="T0" fmla="*/ 54 w 57"/>
                  <a:gd name="T1" fmla="*/ 73 h 87"/>
                  <a:gd name="T2" fmla="*/ 48 w 57"/>
                  <a:gd name="T3" fmla="*/ 76 h 87"/>
                  <a:gd name="T4" fmla="*/ 42 w 57"/>
                  <a:gd name="T5" fmla="*/ 79 h 87"/>
                  <a:gd name="T6" fmla="*/ 35 w 57"/>
                  <a:gd name="T7" fmla="*/ 85 h 87"/>
                  <a:gd name="T8" fmla="*/ 34 w 57"/>
                  <a:gd name="T9" fmla="*/ 84 h 87"/>
                  <a:gd name="T10" fmla="*/ 28 w 57"/>
                  <a:gd name="T11" fmla="*/ 81 h 87"/>
                  <a:gd name="T12" fmla="*/ 25 w 57"/>
                  <a:gd name="T13" fmla="*/ 84 h 87"/>
                  <a:gd name="T14" fmla="*/ 21 w 57"/>
                  <a:gd name="T15" fmla="*/ 85 h 87"/>
                  <a:gd name="T16" fmla="*/ 19 w 57"/>
                  <a:gd name="T17" fmla="*/ 84 h 87"/>
                  <a:gd name="T18" fmla="*/ 21 w 57"/>
                  <a:gd name="T19" fmla="*/ 78 h 87"/>
                  <a:gd name="T20" fmla="*/ 18 w 57"/>
                  <a:gd name="T21" fmla="*/ 73 h 87"/>
                  <a:gd name="T22" fmla="*/ 12 w 57"/>
                  <a:gd name="T23" fmla="*/ 66 h 87"/>
                  <a:gd name="T24" fmla="*/ 11 w 57"/>
                  <a:gd name="T25" fmla="*/ 62 h 87"/>
                  <a:gd name="T26" fmla="*/ 15 w 57"/>
                  <a:gd name="T27" fmla="*/ 62 h 87"/>
                  <a:gd name="T28" fmla="*/ 27 w 57"/>
                  <a:gd name="T29" fmla="*/ 60 h 87"/>
                  <a:gd name="T30" fmla="*/ 27 w 57"/>
                  <a:gd name="T31" fmla="*/ 58 h 87"/>
                  <a:gd name="T32" fmla="*/ 24 w 57"/>
                  <a:gd name="T33" fmla="*/ 55 h 87"/>
                  <a:gd name="T34" fmla="*/ 12 w 57"/>
                  <a:gd name="T35" fmla="*/ 52 h 87"/>
                  <a:gd name="T36" fmla="*/ 9 w 57"/>
                  <a:gd name="T37" fmla="*/ 49 h 87"/>
                  <a:gd name="T38" fmla="*/ 0 w 57"/>
                  <a:gd name="T39" fmla="*/ 30 h 87"/>
                  <a:gd name="T40" fmla="*/ 0 w 57"/>
                  <a:gd name="T41" fmla="*/ 27 h 87"/>
                  <a:gd name="T42" fmla="*/ 5 w 57"/>
                  <a:gd name="T43" fmla="*/ 24 h 87"/>
                  <a:gd name="T44" fmla="*/ 5 w 57"/>
                  <a:gd name="T45" fmla="*/ 21 h 87"/>
                  <a:gd name="T46" fmla="*/ 2 w 57"/>
                  <a:gd name="T47" fmla="*/ 13 h 87"/>
                  <a:gd name="T48" fmla="*/ 2 w 57"/>
                  <a:gd name="T49" fmla="*/ 10 h 87"/>
                  <a:gd name="T50" fmla="*/ 3 w 57"/>
                  <a:gd name="T51" fmla="*/ 4 h 87"/>
                  <a:gd name="T52" fmla="*/ 11 w 57"/>
                  <a:gd name="T53" fmla="*/ 0 h 87"/>
                  <a:gd name="T54" fmla="*/ 15 w 57"/>
                  <a:gd name="T55" fmla="*/ 1 h 87"/>
                  <a:gd name="T56" fmla="*/ 24 w 57"/>
                  <a:gd name="T57" fmla="*/ 7 h 87"/>
                  <a:gd name="T58" fmla="*/ 27 w 57"/>
                  <a:gd name="T59" fmla="*/ 10 h 87"/>
                  <a:gd name="T60" fmla="*/ 29 w 57"/>
                  <a:gd name="T61" fmla="*/ 13 h 87"/>
                  <a:gd name="T62" fmla="*/ 34 w 57"/>
                  <a:gd name="T63" fmla="*/ 16 h 87"/>
                  <a:gd name="T64" fmla="*/ 37 w 57"/>
                  <a:gd name="T65" fmla="*/ 20 h 87"/>
                  <a:gd name="T66" fmla="*/ 37 w 57"/>
                  <a:gd name="T67" fmla="*/ 24 h 87"/>
                  <a:gd name="T68" fmla="*/ 38 w 57"/>
                  <a:gd name="T69" fmla="*/ 30 h 87"/>
                  <a:gd name="T70" fmla="*/ 41 w 57"/>
                  <a:gd name="T71" fmla="*/ 30 h 87"/>
                  <a:gd name="T72" fmla="*/ 47 w 57"/>
                  <a:gd name="T73" fmla="*/ 30 h 87"/>
                  <a:gd name="T74" fmla="*/ 53 w 57"/>
                  <a:gd name="T75" fmla="*/ 34 h 87"/>
                  <a:gd name="T76" fmla="*/ 57 w 57"/>
                  <a:gd name="T77" fmla="*/ 40 h 87"/>
                  <a:gd name="T78" fmla="*/ 55 w 57"/>
                  <a:gd name="T79" fmla="*/ 43 h 87"/>
                  <a:gd name="T80" fmla="*/ 48 w 57"/>
                  <a:gd name="T81" fmla="*/ 47 h 87"/>
                  <a:gd name="T82" fmla="*/ 48 w 57"/>
                  <a:gd name="T83" fmla="*/ 50 h 87"/>
                  <a:gd name="T84" fmla="*/ 55 w 57"/>
                  <a:gd name="T85" fmla="*/ 62 h 87"/>
                  <a:gd name="T86" fmla="*/ 55 w 57"/>
                  <a:gd name="T87" fmla="*/ 65 h 87"/>
                  <a:gd name="T88" fmla="*/ 55 w 57"/>
                  <a:gd name="T89" fmla="*/ 7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7" h="87">
                    <a:moveTo>
                      <a:pt x="54" y="73"/>
                    </a:moveTo>
                    <a:lnTo>
                      <a:pt x="54" y="73"/>
                    </a:lnTo>
                    <a:lnTo>
                      <a:pt x="51" y="76"/>
                    </a:lnTo>
                    <a:lnTo>
                      <a:pt x="48" y="76"/>
                    </a:lnTo>
                    <a:lnTo>
                      <a:pt x="42" y="79"/>
                    </a:lnTo>
                    <a:lnTo>
                      <a:pt x="42" y="79"/>
                    </a:lnTo>
                    <a:lnTo>
                      <a:pt x="38" y="84"/>
                    </a:lnTo>
                    <a:lnTo>
                      <a:pt x="35" y="85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1" y="81"/>
                    </a:lnTo>
                    <a:lnTo>
                      <a:pt x="28" y="81"/>
                    </a:lnTo>
                    <a:lnTo>
                      <a:pt x="28" y="81"/>
                    </a:lnTo>
                    <a:lnTo>
                      <a:pt x="25" y="84"/>
                    </a:lnTo>
                    <a:lnTo>
                      <a:pt x="24" y="87"/>
                    </a:lnTo>
                    <a:lnTo>
                      <a:pt x="21" y="85"/>
                    </a:lnTo>
                    <a:lnTo>
                      <a:pt x="21" y="85"/>
                    </a:lnTo>
                    <a:lnTo>
                      <a:pt x="19" y="84"/>
                    </a:lnTo>
                    <a:lnTo>
                      <a:pt x="21" y="81"/>
                    </a:lnTo>
                    <a:lnTo>
                      <a:pt x="21" y="78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15" y="69"/>
                    </a:lnTo>
                    <a:lnTo>
                      <a:pt x="12" y="66"/>
                    </a:lnTo>
                    <a:lnTo>
                      <a:pt x="9" y="63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5" y="62"/>
                    </a:lnTo>
                    <a:lnTo>
                      <a:pt x="21" y="62"/>
                    </a:lnTo>
                    <a:lnTo>
                      <a:pt x="27" y="60"/>
                    </a:lnTo>
                    <a:lnTo>
                      <a:pt x="27" y="59"/>
                    </a:lnTo>
                    <a:lnTo>
                      <a:pt x="27" y="58"/>
                    </a:lnTo>
                    <a:lnTo>
                      <a:pt x="27" y="58"/>
                    </a:lnTo>
                    <a:lnTo>
                      <a:pt x="24" y="55"/>
                    </a:lnTo>
                    <a:lnTo>
                      <a:pt x="19" y="53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9" y="49"/>
                    </a:lnTo>
                    <a:lnTo>
                      <a:pt x="6" y="4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3" y="26"/>
                    </a:lnTo>
                    <a:lnTo>
                      <a:pt x="5" y="24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3" y="16"/>
                    </a:lnTo>
                    <a:lnTo>
                      <a:pt x="2" y="13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7"/>
                    </a:lnTo>
                    <a:lnTo>
                      <a:pt x="3" y="4"/>
                    </a:lnTo>
                    <a:lnTo>
                      <a:pt x="6" y="1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5" y="1"/>
                    </a:lnTo>
                    <a:lnTo>
                      <a:pt x="21" y="2"/>
                    </a:lnTo>
                    <a:lnTo>
                      <a:pt x="24" y="7"/>
                    </a:lnTo>
                    <a:lnTo>
                      <a:pt x="27" y="10"/>
                    </a:lnTo>
                    <a:lnTo>
                      <a:pt x="27" y="10"/>
                    </a:lnTo>
                    <a:lnTo>
                      <a:pt x="28" y="11"/>
                    </a:lnTo>
                    <a:lnTo>
                      <a:pt x="29" y="13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7" y="17"/>
                    </a:lnTo>
                    <a:lnTo>
                      <a:pt x="37" y="20"/>
                    </a:lnTo>
                    <a:lnTo>
                      <a:pt x="37" y="24"/>
                    </a:lnTo>
                    <a:lnTo>
                      <a:pt x="37" y="24"/>
                    </a:lnTo>
                    <a:lnTo>
                      <a:pt x="37" y="29"/>
                    </a:lnTo>
                    <a:lnTo>
                      <a:pt x="38" y="30"/>
                    </a:lnTo>
                    <a:lnTo>
                      <a:pt x="41" y="30"/>
                    </a:lnTo>
                    <a:lnTo>
                      <a:pt x="41" y="30"/>
                    </a:lnTo>
                    <a:lnTo>
                      <a:pt x="44" y="30"/>
                    </a:lnTo>
                    <a:lnTo>
                      <a:pt x="47" y="30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7" y="39"/>
                    </a:lnTo>
                    <a:lnTo>
                      <a:pt x="57" y="40"/>
                    </a:lnTo>
                    <a:lnTo>
                      <a:pt x="55" y="43"/>
                    </a:lnTo>
                    <a:lnTo>
                      <a:pt x="55" y="43"/>
                    </a:lnTo>
                    <a:lnTo>
                      <a:pt x="50" y="46"/>
                    </a:lnTo>
                    <a:lnTo>
                      <a:pt x="48" y="47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3" y="58"/>
                    </a:lnTo>
                    <a:lnTo>
                      <a:pt x="55" y="62"/>
                    </a:lnTo>
                    <a:lnTo>
                      <a:pt x="55" y="65"/>
                    </a:lnTo>
                    <a:lnTo>
                      <a:pt x="55" y="65"/>
                    </a:lnTo>
                    <a:lnTo>
                      <a:pt x="55" y="69"/>
                    </a:lnTo>
                    <a:lnTo>
                      <a:pt x="55" y="72"/>
                    </a:lnTo>
                    <a:lnTo>
                      <a:pt x="54" y="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89" name="Freeform 1440"/>
              <p:cNvSpPr>
                <a:spLocks/>
              </p:cNvSpPr>
              <p:nvPr/>
            </p:nvSpPr>
            <p:spPr bwMode="auto">
              <a:xfrm>
                <a:off x="2832881" y="1218919"/>
                <a:ext cx="56388" cy="86066"/>
              </a:xfrm>
              <a:custGeom>
                <a:avLst/>
                <a:gdLst>
                  <a:gd name="T0" fmla="*/ 54 w 57"/>
                  <a:gd name="T1" fmla="*/ 73 h 87"/>
                  <a:gd name="T2" fmla="*/ 48 w 57"/>
                  <a:gd name="T3" fmla="*/ 76 h 87"/>
                  <a:gd name="T4" fmla="*/ 42 w 57"/>
                  <a:gd name="T5" fmla="*/ 79 h 87"/>
                  <a:gd name="T6" fmla="*/ 35 w 57"/>
                  <a:gd name="T7" fmla="*/ 85 h 87"/>
                  <a:gd name="T8" fmla="*/ 34 w 57"/>
                  <a:gd name="T9" fmla="*/ 84 h 87"/>
                  <a:gd name="T10" fmla="*/ 28 w 57"/>
                  <a:gd name="T11" fmla="*/ 81 h 87"/>
                  <a:gd name="T12" fmla="*/ 25 w 57"/>
                  <a:gd name="T13" fmla="*/ 84 h 87"/>
                  <a:gd name="T14" fmla="*/ 21 w 57"/>
                  <a:gd name="T15" fmla="*/ 85 h 87"/>
                  <a:gd name="T16" fmla="*/ 19 w 57"/>
                  <a:gd name="T17" fmla="*/ 84 h 87"/>
                  <a:gd name="T18" fmla="*/ 21 w 57"/>
                  <a:gd name="T19" fmla="*/ 78 h 87"/>
                  <a:gd name="T20" fmla="*/ 18 w 57"/>
                  <a:gd name="T21" fmla="*/ 73 h 87"/>
                  <a:gd name="T22" fmla="*/ 12 w 57"/>
                  <a:gd name="T23" fmla="*/ 66 h 87"/>
                  <a:gd name="T24" fmla="*/ 11 w 57"/>
                  <a:gd name="T25" fmla="*/ 62 h 87"/>
                  <a:gd name="T26" fmla="*/ 15 w 57"/>
                  <a:gd name="T27" fmla="*/ 62 h 87"/>
                  <a:gd name="T28" fmla="*/ 27 w 57"/>
                  <a:gd name="T29" fmla="*/ 60 h 87"/>
                  <a:gd name="T30" fmla="*/ 27 w 57"/>
                  <a:gd name="T31" fmla="*/ 58 h 87"/>
                  <a:gd name="T32" fmla="*/ 24 w 57"/>
                  <a:gd name="T33" fmla="*/ 55 h 87"/>
                  <a:gd name="T34" fmla="*/ 12 w 57"/>
                  <a:gd name="T35" fmla="*/ 52 h 87"/>
                  <a:gd name="T36" fmla="*/ 9 w 57"/>
                  <a:gd name="T37" fmla="*/ 49 h 87"/>
                  <a:gd name="T38" fmla="*/ 0 w 57"/>
                  <a:gd name="T39" fmla="*/ 30 h 87"/>
                  <a:gd name="T40" fmla="*/ 0 w 57"/>
                  <a:gd name="T41" fmla="*/ 27 h 87"/>
                  <a:gd name="T42" fmla="*/ 5 w 57"/>
                  <a:gd name="T43" fmla="*/ 24 h 87"/>
                  <a:gd name="T44" fmla="*/ 5 w 57"/>
                  <a:gd name="T45" fmla="*/ 21 h 87"/>
                  <a:gd name="T46" fmla="*/ 2 w 57"/>
                  <a:gd name="T47" fmla="*/ 13 h 87"/>
                  <a:gd name="T48" fmla="*/ 2 w 57"/>
                  <a:gd name="T49" fmla="*/ 10 h 87"/>
                  <a:gd name="T50" fmla="*/ 3 w 57"/>
                  <a:gd name="T51" fmla="*/ 4 h 87"/>
                  <a:gd name="T52" fmla="*/ 11 w 57"/>
                  <a:gd name="T53" fmla="*/ 0 h 87"/>
                  <a:gd name="T54" fmla="*/ 15 w 57"/>
                  <a:gd name="T55" fmla="*/ 1 h 87"/>
                  <a:gd name="T56" fmla="*/ 24 w 57"/>
                  <a:gd name="T57" fmla="*/ 7 h 87"/>
                  <a:gd name="T58" fmla="*/ 27 w 57"/>
                  <a:gd name="T59" fmla="*/ 10 h 87"/>
                  <a:gd name="T60" fmla="*/ 29 w 57"/>
                  <a:gd name="T61" fmla="*/ 13 h 87"/>
                  <a:gd name="T62" fmla="*/ 34 w 57"/>
                  <a:gd name="T63" fmla="*/ 16 h 87"/>
                  <a:gd name="T64" fmla="*/ 37 w 57"/>
                  <a:gd name="T65" fmla="*/ 20 h 87"/>
                  <a:gd name="T66" fmla="*/ 37 w 57"/>
                  <a:gd name="T67" fmla="*/ 24 h 87"/>
                  <a:gd name="T68" fmla="*/ 38 w 57"/>
                  <a:gd name="T69" fmla="*/ 30 h 87"/>
                  <a:gd name="T70" fmla="*/ 41 w 57"/>
                  <a:gd name="T71" fmla="*/ 30 h 87"/>
                  <a:gd name="T72" fmla="*/ 47 w 57"/>
                  <a:gd name="T73" fmla="*/ 30 h 87"/>
                  <a:gd name="T74" fmla="*/ 53 w 57"/>
                  <a:gd name="T75" fmla="*/ 34 h 87"/>
                  <a:gd name="T76" fmla="*/ 57 w 57"/>
                  <a:gd name="T77" fmla="*/ 40 h 87"/>
                  <a:gd name="T78" fmla="*/ 55 w 57"/>
                  <a:gd name="T79" fmla="*/ 43 h 87"/>
                  <a:gd name="T80" fmla="*/ 48 w 57"/>
                  <a:gd name="T81" fmla="*/ 47 h 87"/>
                  <a:gd name="T82" fmla="*/ 48 w 57"/>
                  <a:gd name="T83" fmla="*/ 50 h 87"/>
                  <a:gd name="T84" fmla="*/ 55 w 57"/>
                  <a:gd name="T85" fmla="*/ 62 h 87"/>
                  <a:gd name="T86" fmla="*/ 55 w 57"/>
                  <a:gd name="T87" fmla="*/ 65 h 87"/>
                  <a:gd name="T88" fmla="*/ 55 w 57"/>
                  <a:gd name="T89" fmla="*/ 7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7" h="87">
                    <a:moveTo>
                      <a:pt x="54" y="73"/>
                    </a:moveTo>
                    <a:lnTo>
                      <a:pt x="54" y="73"/>
                    </a:lnTo>
                    <a:lnTo>
                      <a:pt x="51" y="76"/>
                    </a:lnTo>
                    <a:lnTo>
                      <a:pt x="48" y="76"/>
                    </a:lnTo>
                    <a:lnTo>
                      <a:pt x="42" y="79"/>
                    </a:lnTo>
                    <a:lnTo>
                      <a:pt x="42" y="79"/>
                    </a:lnTo>
                    <a:lnTo>
                      <a:pt x="38" y="84"/>
                    </a:lnTo>
                    <a:lnTo>
                      <a:pt x="35" y="85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1" y="81"/>
                    </a:lnTo>
                    <a:lnTo>
                      <a:pt x="28" y="81"/>
                    </a:lnTo>
                    <a:lnTo>
                      <a:pt x="28" y="81"/>
                    </a:lnTo>
                    <a:lnTo>
                      <a:pt x="25" y="84"/>
                    </a:lnTo>
                    <a:lnTo>
                      <a:pt x="24" y="87"/>
                    </a:lnTo>
                    <a:lnTo>
                      <a:pt x="21" y="85"/>
                    </a:lnTo>
                    <a:lnTo>
                      <a:pt x="21" y="85"/>
                    </a:lnTo>
                    <a:lnTo>
                      <a:pt x="19" y="84"/>
                    </a:lnTo>
                    <a:lnTo>
                      <a:pt x="21" y="81"/>
                    </a:lnTo>
                    <a:lnTo>
                      <a:pt x="21" y="78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15" y="69"/>
                    </a:lnTo>
                    <a:lnTo>
                      <a:pt x="12" y="66"/>
                    </a:lnTo>
                    <a:lnTo>
                      <a:pt x="9" y="63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5" y="62"/>
                    </a:lnTo>
                    <a:lnTo>
                      <a:pt x="21" y="62"/>
                    </a:lnTo>
                    <a:lnTo>
                      <a:pt x="27" y="60"/>
                    </a:lnTo>
                    <a:lnTo>
                      <a:pt x="27" y="59"/>
                    </a:lnTo>
                    <a:lnTo>
                      <a:pt x="27" y="58"/>
                    </a:lnTo>
                    <a:lnTo>
                      <a:pt x="27" y="58"/>
                    </a:lnTo>
                    <a:lnTo>
                      <a:pt x="24" y="55"/>
                    </a:lnTo>
                    <a:lnTo>
                      <a:pt x="19" y="53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9" y="49"/>
                    </a:lnTo>
                    <a:lnTo>
                      <a:pt x="6" y="4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3" y="26"/>
                    </a:lnTo>
                    <a:lnTo>
                      <a:pt x="5" y="24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3" y="16"/>
                    </a:lnTo>
                    <a:lnTo>
                      <a:pt x="2" y="13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7"/>
                    </a:lnTo>
                    <a:lnTo>
                      <a:pt x="3" y="4"/>
                    </a:lnTo>
                    <a:lnTo>
                      <a:pt x="6" y="1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5" y="1"/>
                    </a:lnTo>
                    <a:lnTo>
                      <a:pt x="21" y="2"/>
                    </a:lnTo>
                    <a:lnTo>
                      <a:pt x="24" y="7"/>
                    </a:lnTo>
                    <a:lnTo>
                      <a:pt x="27" y="10"/>
                    </a:lnTo>
                    <a:lnTo>
                      <a:pt x="27" y="10"/>
                    </a:lnTo>
                    <a:lnTo>
                      <a:pt x="28" y="11"/>
                    </a:lnTo>
                    <a:lnTo>
                      <a:pt x="29" y="13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7" y="17"/>
                    </a:lnTo>
                    <a:lnTo>
                      <a:pt x="37" y="20"/>
                    </a:lnTo>
                    <a:lnTo>
                      <a:pt x="37" y="24"/>
                    </a:lnTo>
                    <a:lnTo>
                      <a:pt x="37" y="24"/>
                    </a:lnTo>
                    <a:lnTo>
                      <a:pt x="37" y="29"/>
                    </a:lnTo>
                    <a:lnTo>
                      <a:pt x="38" y="30"/>
                    </a:lnTo>
                    <a:lnTo>
                      <a:pt x="41" y="30"/>
                    </a:lnTo>
                    <a:lnTo>
                      <a:pt x="41" y="30"/>
                    </a:lnTo>
                    <a:lnTo>
                      <a:pt x="44" y="30"/>
                    </a:lnTo>
                    <a:lnTo>
                      <a:pt x="47" y="30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7" y="39"/>
                    </a:lnTo>
                    <a:lnTo>
                      <a:pt x="57" y="40"/>
                    </a:lnTo>
                    <a:lnTo>
                      <a:pt x="55" y="43"/>
                    </a:lnTo>
                    <a:lnTo>
                      <a:pt x="55" y="43"/>
                    </a:lnTo>
                    <a:lnTo>
                      <a:pt x="50" y="46"/>
                    </a:lnTo>
                    <a:lnTo>
                      <a:pt x="48" y="47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3" y="58"/>
                    </a:lnTo>
                    <a:lnTo>
                      <a:pt x="55" y="62"/>
                    </a:lnTo>
                    <a:lnTo>
                      <a:pt x="55" y="65"/>
                    </a:lnTo>
                    <a:lnTo>
                      <a:pt x="55" y="65"/>
                    </a:lnTo>
                    <a:lnTo>
                      <a:pt x="55" y="69"/>
                    </a:lnTo>
                    <a:lnTo>
                      <a:pt x="55" y="72"/>
                    </a:lnTo>
                    <a:lnTo>
                      <a:pt x="54" y="7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90" name="Freeform 1441"/>
              <p:cNvSpPr>
                <a:spLocks/>
              </p:cNvSpPr>
              <p:nvPr/>
            </p:nvSpPr>
            <p:spPr bwMode="auto">
              <a:xfrm>
                <a:off x="2776494" y="1372254"/>
                <a:ext cx="13850" cy="7914"/>
              </a:xfrm>
              <a:custGeom>
                <a:avLst/>
                <a:gdLst>
                  <a:gd name="T0" fmla="*/ 14 w 14"/>
                  <a:gd name="T1" fmla="*/ 1 h 8"/>
                  <a:gd name="T2" fmla="*/ 14 w 14"/>
                  <a:gd name="T3" fmla="*/ 1 h 8"/>
                  <a:gd name="T4" fmla="*/ 10 w 14"/>
                  <a:gd name="T5" fmla="*/ 0 h 8"/>
                  <a:gd name="T6" fmla="*/ 5 w 14"/>
                  <a:gd name="T7" fmla="*/ 0 h 8"/>
                  <a:gd name="T8" fmla="*/ 5 w 14"/>
                  <a:gd name="T9" fmla="*/ 0 h 8"/>
                  <a:gd name="T10" fmla="*/ 1 w 14"/>
                  <a:gd name="T11" fmla="*/ 4 h 8"/>
                  <a:gd name="T12" fmla="*/ 0 w 14"/>
                  <a:gd name="T13" fmla="*/ 7 h 8"/>
                  <a:gd name="T14" fmla="*/ 0 w 14"/>
                  <a:gd name="T15" fmla="*/ 7 h 8"/>
                  <a:gd name="T16" fmla="*/ 1 w 14"/>
                  <a:gd name="T17" fmla="*/ 8 h 8"/>
                  <a:gd name="T18" fmla="*/ 1 w 14"/>
                  <a:gd name="T19" fmla="*/ 8 h 8"/>
                  <a:gd name="T20" fmla="*/ 4 w 14"/>
                  <a:gd name="T21" fmla="*/ 7 h 8"/>
                  <a:gd name="T22" fmla="*/ 10 w 14"/>
                  <a:gd name="T23" fmla="*/ 5 h 8"/>
                  <a:gd name="T24" fmla="*/ 14 w 14"/>
                  <a:gd name="T25" fmla="*/ 2 h 8"/>
                  <a:gd name="T26" fmla="*/ 14 w 14"/>
                  <a:gd name="T27" fmla="*/ 2 h 8"/>
                  <a:gd name="T28" fmla="*/ 14 w 14"/>
                  <a:gd name="T29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8">
                    <a:moveTo>
                      <a:pt x="14" y="1"/>
                    </a:moveTo>
                    <a:lnTo>
                      <a:pt x="14" y="1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4" y="7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91" name="Freeform 1442"/>
              <p:cNvSpPr>
                <a:spLocks/>
              </p:cNvSpPr>
              <p:nvPr/>
            </p:nvSpPr>
            <p:spPr bwMode="auto">
              <a:xfrm>
                <a:off x="2776494" y="1372254"/>
                <a:ext cx="13850" cy="7914"/>
              </a:xfrm>
              <a:custGeom>
                <a:avLst/>
                <a:gdLst>
                  <a:gd name="T0" fmla="*/ 14 w 14"/>
                  <a:gd name="T1" fmla="*/ 1 h 8"/>
                  <a:gd name="T2" fmla="*/ 14 w 14"/>
                  <a:gd name="T3" fmla="*/ 1 h 8"/>
                  <a:gd name="T4" fmla="*/ 10 w 14"/>
                  <a:gd name="T5" fmla="*/ 0 h 8"/>
                  <a:gd name="T6" fmla="*/ 5 w 14"/>
                  <a:gd name="T7" fmla="*/ 0 h 8"/>
                  <a:gd name="T8" fmla="*/ 5 w 14"/>
                  <a:gd name="T9" fmla="*/ 0 h 8"/>
                  <a:gd name="T10" fmla="*/ 1 w 14"/>
                  <a:gd name="T11" fmla="*/ 4 h 8"/>
                  <a:gd name="T12" fmla="*/ 0 w 14"/>
                  <a:gd name="T13" fmla="*/ 7 h 8"/>
                  <a:gd name="T14" fmla="*/ 0 w 14"/>
                  <a:gd name="T15" fmla="*/ 7 h 8"/>
                  <a:gd name="T16" fmla="*/ 1 w 14"/>
                  <a:gd name="T17" fmla="*/ 8 h 8"/>
                  <a:gd name="T18" fmla="*/ 1 w 14"/>
                  <a:gd name="T19" fmla="*/ 8 h 8"/>
                  <a:gd name="T20" fmla="*/ 4 w 14"/>
                  <a:gd name="T21" fmla="*/ 7 h 8"/>
                  <a:gd name="T22" fmla="*/ 10 w 14"/>
                  <a:gd name="T23" fmla="*/ 5 h 8"/>
                  <a:gd name="T24" fmla="*/ 14 w 14"/>
                  <a:gd name="T25" fmla="*/ 2 h 8"/>
                  <a:gd name="T26" fmla="*/ 14 w 14"/>
                  <a:gd name="T27" fmla="*/ 2 h 8"/>
                  <a:gd name="T28" fmla="*/ 14 w 14"/>
                  <a:gd name="T29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8">
                    <a:moveTo>
                      <a:pt x="14" y="1"/>
                    </a:moveTo>
                    <a:lnTo>
                      <a:pt x="14" y="1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4" y="7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92" name="Freeform 1443"/>
              <p:cNvSpPr>
                <a:spLocks/>
              </p:cNvSpPr>
              <p:nvPr/>
            </p:nvSpPr>
            <p:spPr bwMode="auto">
              <a:xfrm>
                <a:off x="2972367" y="1124939"/>
                <a:ext cx="283918" cy="292821"/>
              </a:xfrm>
              <a:custGeom>
                <a:avLst/>
                <a:gdLst>
                  <a:gd name="T0" fmla="*/ 284 w 287"/>
                  <a:gd name="T1" fmla="*/ 18 h 296"/>
                  <a:gd name="T2" fmla="*/ 248 w 287"/>
                  <a:gd name="T3" fmla="*/ 21 h 296"/>
                  <a:gd name="T4" fmla="*/ 239 w 287"/>
                  <a:gd name="T5" fmla="*/ 25 h 296"/>
                  <a:gd name="T6" fmla="*/ 236 w 287"/>
                  <a:gd name="T7" fmla="*/ 47 h 296"/>
                  <a:gd name="T8" fmla="*/ 211 w 287"/>
                  <a:gd name="T9" fmla="*/ 47 h 296"/>
                  <a:gd name="T10" fmla="*/ 210 w 287"/>
                  <a:gd name="T11" fmla="*/ 53 h 296"/>
                  <a:gd name="T12" fmla="*/ 191 w 287"/>
                  <a:gd name="T13" fmla="*/ 57 h 296"/>
                  <a:gd name="T14" fmla="*/ 198 w 287"/>
                  <a:gd name="T15" fmla="*/ 63 h 296"/>
                  <a:gd name="T16" fmla="*/ 229 w 287"/>
                  <a:gd name="T17" fmla="*/ 71 h 296"/>
                  <a:gd name="T18" fmla="*/ 214 w 287"/>
                  <a:gd name="T19" fmla="*/ 76 h 296"/>
                  <a:gd name="T20" fmla="*/ 200 w 287"/>
                  <a:gd name="T21" fmla="*/ 80 h 296"/>
                  <a:gd name="T22" fmla="*/ 181 w 287"/>
                  <a:gd name="T23" fmla="*/ 92 h 296"/>
                  <a:gd name="T24" fmla="*/ 209 w 287"/>
                  <a:gd name="T25" fmla="*/ 93 h 296"/>
                  <a:gd name="T26" fmla="*/ 229 w 287"/>
                  <a:gd name="T27" fmla="*/ 111 h 296"/>
                  <a:gd name="T28" fmla="*/ 203 w 287"/>
                  <a:gd name="T29" fmla="*/ 122 h 296"/>
                  <a:gd name="T30" fmla="*/ 217 w 287"/>
                  <a:gd name="T31" fmla="*/ 145 h 296"/>
                  <a:gd name="T32" fmla="*/ 213 w 287"/>
                  <a:gd name="T33" fmla="*/ 157 h 296"/>
                  <a:gd name="T34" fmla="*/ 201 w 287"/>
                  <a:gd name="T35" fmla="*/ 173 h 296"/>
                  <a:gd name="T36" fmla="*/ 178 w 287"/>
                  <a:gd name="T37" fmla="*/ 189 h 296"/>
                  <a:gd name="T38" fmla="*/ 175 w 287"/>
                  <a:gd name="T39" fmla="*/ 215 h 296"/>
                  <a:gd name="T40" fmla="*/ 122 w 287"/>
                  <a:gd name="T41" fmla="*/ 205 h 296"/>
                  <a:gd name="T42" fmla="*/ 119 w 287"/>
                  <a:gd name="T43" fmla="*/ 222 h 296"/>
                  <a:gd name="T44" fmla="*/ 140 w 287"/>
                  <a:gd name="T45" fmla="*/ 222 h 296"/>
                  <a:gd name="T46" fmla="*/ 159 w 287"/>
                  <a:gd name="T47" fmla="*/ 229 h 296"/>
                  <a:gd name="T48" fmla="*/ 172 w 287"/>
                  <a:gd name="T49" fmla="*/ 241 h 296"/>
                  <a:gd name="T50" fmla="*/ 180 w 287"/>
                  <a:gd name="T51" fmla="*/ 260 h 296"/>
                  <a:gd name="T52" fmla="*/ 142 w 287"/>
                  <a:gd name="T53" fmla="*/ 293 h 296"/>
                  <a:gd name="T54" fmla="*/ 119 w 287"/>
                  <a:gd name="T55" fmla="*/ 271 h 296"/>
                  <a:gd name="T56" fmla="*/ 114 w 287"/>
                  <a:gd name="T57" fmla="*/ 277 h 296"/>
                  <a:gd name="T58" fmla="*/ 98 w 287"/>
                  <a:gd name="T59" fmla="*/ 264 h 296"/>
                  <a:gd name="T60" fmla="*/ 81 w 287"/>
                  <a:gd name="T61" fmla="*/ 261 h 296"/>
                  <a:gd name="T62" fmla="*/ 68 w 287"/>
                  <a:gd name="T63" fmla="*/ 268 h 296"/>
                  <a:gd name="T64" fmla="*/ 64 w 287"/>
                  <a:gd name="T65" fmla="*/ 289 h 296"/>
                  <a:gd name="T66" fmla="*/ 49 w 287"/>
                  <a:gd name="T67" fmla="*/ 261 h 296"/>
                  <a:gd name="T68" fmla="*/ 36 w 287"/>
                  <a:gd name="T69" fmla="*/ 258 h 296"/>
                  <a:gd name="T70" fmla="*/ 20 w 287"/>
                  <a:gd name="T71" fmla="*/ 261 h 296"/>
                  <a:gd name="T72" fmla="*/ 10 w 287"/>
                  <a:gd name="T73" fmla="*/ 276 h 296"/>
                  <a:gd name="T74" fmla="*/ 1 w 287"/>
                  <a:gd name="T75" fmla="*/ 258 h 296"/>
                  <a:gd name="T76" fmla="*/ 29 w 287"/>
                  <a:gd name="T77" fmla="*/ 232 h 296"/>
                  <a:gd name="T78" fmla="*/ 33 w 287"/>
                  <a:gd name="T79" fmla="*/ 216 h 296"/>
                  <a:gd name="T80" fmla="*/ 16 w 287"/>
                  <a:gd name="T81" fmla="*/ 190 h 296"/>
                  <a:gd name="T82" fmla="*/ 46 w 287"/>
                  <a:gd name="T83" fmla="*/ 179 h 296"/>
                  <a:gd name="T84" fmla="*/ 81 w 287"/>
                  <a:gd name="T85" fmla="*/ 212 h 296"/>
                  <a:gd name="T86" fmla="*/ 103 w 287"/>
                  <a:gd name="T87" fmla="*/ 186 h 296"/>
                  <a:gd name="T88" fmla="*/ 88 w 287"/>
                  <a:gd name="T89" fmla="*/ 200 h 296"/>
                  <a:gd name="T90" fmla="*/ 64 w 287"/>
                  <a:gd name="T91" fmla="*/ 182 h 296"/>
                  <a:gd name="T92" fmla="*/ 71 w 287"/>
                  <a:gd name="T93" fmla="*/ 157 h 296"/>
                  <a:gd name="T94" fmla="*/ 72 w 287"/>
                  <a:gd name="T95" fmla="*/ 145 h 296"/>
                  <a:gd name="T96" fmla="*/ 51 w 287"/>
                  <a:gd name="T97" fmla="*/ 161 h 296"/>
                  <a:gd name="T98" fmla="*/ 45 w 287"/>
                  <a:gd name="T99" fmla="*/ 154 h 296"/>
                  <a:gd name="T100" fmla="*/ 33 w 287"/>
                  <a:gd name="T101" fmla="*/ 148 h 296"/>
                  <a:gd name="T102" fmla="*/ 38 w 287"/>
                  <a:gd name="T103" fmla="*/ 115 h 296"/>
                  <a:gd name="T104" fmla="*/ 67 w 287"/>
                  <a:gd name="T105" fmla="*/ 95 h 296"/>
                  <a:gd name="T106" fmla="*/ 110 w 287"/>
                  <a:gd name="T107" fmla="*/ 122 h 296"/>
                  <a:gd name="T108" fmla="*/ 98 w 287"/>
                  <a:gd name="T109" fmla="*/ 102 h 296"/>
                  <a:gd name="T110" fmla="*/ 113 w 287"/>
                  <a:gd name="T111" fmla="*/ 95 h 296"/>
                  <a:gd name="T112" fmla="*/ 72 w 287"/>
                  <a:gd name="T113" fmla="*/ 80 h 296"/>
                  <a:gd name="T114" fmla="*/ 88 w 287"/>
                  <a:gd name="T115" fmla="*/ 77 h 296"/>
                  <a:gd name="T116" fmla="*/ 69 w 287"/>
                  <a:gd name="T117" fmla="*/ 4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87" h="296">
                    <a:moveTo>
                      <a:pt x="45" y="0"/>
                    </a:moveTo>
                    <a:lnTo>
                      <a:pt x="287" y="0"/>
                    </a:lnTo>
                    <a:lnTo>
                      <a:pt x="287" y="0"/>
                    </a:lnTo>
                    <a:lnTo>
                      <a:pt x="279" y="8"/>
                    </a:lnTo>
                    <a:lnTo>
                      <a:pt x="277" y="12"/>
                    </a:lnTo>
                    <a:lnTo>
                      <a:pt x="275" y="13"/>
                    </a:lnTo>
                    <a:lnTo>
                      <a:pt x="277" y="13"/>
                    </a:lnTo>
                    <a:lnTo>
                      <a:pt x="277" y="13"/>
                    </a:lnTo>
                    <a:lnTo>
                      <a:pt x="281" y="15"/>
                    </a:lnTo>
                    <a:lnTo>
                      <a:pt x="282" y="16"/>
                    </a:lnTo>
                    <a:lnTo>
                      <a:pt x="284" y="18"/>
                    </a:lnTo>
                    <a:lnTo>
                      <a:pt x="284" y="18"/>
                    </a:lnTo>
                    <a:lnTo>
                      <a:pt x="282" y="21"/>
                    </a:lnTo>
                    <a:lnTo>
                      <a:pt x="281" y="25"/>
                    </a:lnTo>
                    <a:lnTo>
                      <a:pt x="278" y="28"/>
                    </a:lnTo>
                    <a:lnTo>
                      <a:pt x="274" y="29"/>
                    </a:lnTo>
                    <a:lnTo>
                      <a:pt x="274" y="29"/>
                    </a:lnTo>
                    <a:lnTo>
                      <a:pt x="265" y="29"/>
                    </a:lnTo>
                    <a:lnTo>
                      <a:pt x="261" y="29"/>
                    </a:lnTo>
                    <a:lnTo>
                      <a:pt x="256" y="29"/>
                    </a:lnTo>
                    <a:lnTo>
                      <a:pt x="256" y="29"/>
                    </a:lnTo>
                    <a:lnTo>
                      <a:pt x="252" y="25"/>
                    </a:lnTo>
                    <a:lnTo>
                      <a:pt x="248" y="21"/>
                    </a:lnTo>
                    <a:lnTo>
                      <a:pt x="248" y="21"/>
                    </a:lnTo>
                    <a:lnTo>
                      <a:pt x="242" y="16"/>
                    </a:lnTo>
                    <a:lnTo>
                      <a:pt x="237" y="13"/>
                    </a:lnTo>
                    <a:lnTo>
                      <a:pt x="237" y="13"/>
                    </a:lnTo>
                    <a:lnTo>
                      <a:pt x="230" y="16"/>
                    </a:lnTo>
                    <a:lnTo>
                      <a:pt x="230" y="16"/>
                    </a:lnTo>
                    <a:lnTo>
                      <a:pt x="229" y="18"/>
                    </a:lnTo>
                    <a:lnTo>
                      <a:pt x="229" y="19"/>
                    </a:lnTo>
                    <a:lnTo>
                      <a:pt x="232" y="21"/>
                    </a:lnTo>
                    <a:lnTo>
                      <a:pt x="232" y="21"/>
                    </a:lnTo>
                    <a:lnTo>
                      <a:pt x="236" y="21"/>
                    </a:lnTo>
                    <a:lnTo>
                      <a:pt x="239" y="25"/>
                    </a:lnTo>
                    <a:lnTo>
                      <a:pt x="239" y="25"/>
                    </a:lnTo>
                    <a:lnTo>
                      <a:pt x="246" y="35"/>
                    </a:lnTo>
                    <a:lnTo>
                      <a:pt x="249" y="40"/>
                    </a:lnTo>
                    <a:lnTo>
                      <a:pt x="251" y="41"/>
                    </a:lnTo>
                    <a:lnTo>
                      <a:pt x="249" y="42"/>
                    </a:lnTo>
                    <a:lnTo>
                      <a:pt x="249" y="42"/>
                    </a:lnTo>
                    <a:lnTo>
                      <a:pt x="248" y="41"/>
                    </a:lnTo>
                    <a:lnTo>
                      <a:pt x="245" y="40"/>
                    </a:lnTo>
                    <a:lnTo>
                      <a:pt x="242" y="40"/>
                    </a:lnTo>
                    <a:lnTo>
                      <a:pt x="239" y="40"/>
                    </a:lnTo>
                    <a:lnTo>
                      <a:pt x="239" y="40"/>
                    </a:lnTo>
                    <a:lnTo>
                      <a:pt x="237" y="44"/>
                    </a:lnTo>
                    <a:lnTo>
                      <a:pt x="236" y="47"/>
                    </a:lnTo>
                    <a:lnTo>
                      <a:pt x="235" y="48"/>
                    </a:lnTo>
                    <a:lnTo>
                      <a:pt x="235" y="48"/>
                    </a:lnTo>
                    <a:lnTo>
                      <a:pt x="230" y="47"/>
                    </a:lnTo>
                    <a:lnTo>
                      <a:pt x="227" y="47"/>
                    </a:lnTo>
                    <a:lnTo>
                      <a:pt x="226" y="47"/>
                    </a:lnTo>
                    <a:lnTo>
                      <a:pt x="226" y="47"/>
                    </a:lnTo>
                    <a:lnTo>
                      <a:pt x="223" y="51"/>
                    </a:lnTo>
                    <a:lnTo>
                      <a:pt x="219" y="54"/>
                    </a:lnTo>
                    <a:lnTo>
                      <a:pt x="219" y="54"/>
                    </a:lnTo>
                    <a:lnTo>
                      <a:pt x="217" y="53"/>
                    </a:lnTo>
                    <a:lnTo>
                      <a:pt x="214" y="50"/>
                    </a:lnTo>
                    <a:lnTo>
                      <a:pt x="211" y="47"/>
                    </a:lnTo>
                    <a:lnTo>
                      <a:pt x="209" y="44"/>
                    </a:lnTo>
                    <a:lnTo>
                      <a:pt x="209" y="44"/>
                    </a:lnTo>
                    <a:lnTo>
                      <a:pt x="198" y="42"/>
                    </a:lnTo>
                    <a:lnTo>
                      <a:pt x="194" y="42"/>
                    </a:lnTo>
                    <a:lnTo>
                      <a:pt x="194" y="44"/>
                    </a:lnTo>
                    <a:lnTo>
                      <a:pt x="194" y="44"/>
                    </a:lnTo>
                    <a:lnTo>
                      <a:pt x="194" y="44"/>
                    </a:lnTo>
                    <a:lnTo>
                      <a:pt x="197" y="47"/>
                    </a:lnTo>
                    <a:lnTo>
                      <a:pt x="203" y="50"/>
                    </a:lnTo>
                    <a:lnTo>
                      <a:pt x="207" y="51"/>
                    </a:lnTo>
                    <a:lnTo>
                      <a:pt x="210" y="53"/>
                    </a:lnTo>
                    <a:lnTo>
                      <a:pt x="210" y="53"/>
                    </a:lnTo>
                    <a:lnTo>
                      <a:pt x="207" y="55"/>
                    </a:lnTo>
                    <a:lnTo>
                      <a:pt x="201" y="57"/>
                    </a:lnTo>
                    <a:lnTo>
                      <a:pt x="201" y="57"/>
                    </a:lnTo>
                    <a:lnTo>
                      <a:pt x="198" y="55"/>
                    </a:lnTo>
                    <a:lnTo>
                      <a:pt x="195" y="53"/>
                    </a:lnTo>
                    <a:lnTo>
                      <a:pt x="194" y="50"/>
                    </a:lnTo>
                    <a:lnTo>
                      <a:pt x="191" y="50"/>
                    </a:lnTo>
                    <a:lnTo>
                      <a:pt x="191" y="50"/>
                    </a:lnTo>
                    <a:lnTo>
                      <a:pt x="191" y="51"/>
                    </a:lnTo>
                    <a:lnTo>
                      <a:pt x="191" y="53"/>
                    </a:lnTo>
                    <a:lnTo>
                      <a:pt x="191" y="55"/>
                    </a:lnTo>
                    <a:lnTo>
                      <a:pt x="191" y="57"/>
                    </a:lnTo>
                    <a:lnTo>
                      <a:pt x="191" y="57"/>
                    </a:lnTo>
                    <a:lnTo>
                      <a:pt x="190" y="57"/>
                    </a:lnTo>
                    <a:lnTo>
                      <a:pt x="188" y="57"/>
                    </a:lnTo>
                    <a:lnTo>
                      <a:pt x="185" y="55"/>
                    </a:lnTo>
                    <a:lnTo>
                      <a:pt x="184" y="57"/>
                    </a:lnTo>
                    <a:lnTo>
                      <a:pt x="184" y="57"/>
                    </a:lnTo>
                    <a:lnTo>
                      <a:pt x="182" y="58"/>
                    </a:lnTo>
                    <a:lnTo>
                      <a:pt x="184" y="60"/>
                    </a:lnTo>
                    <a:lnTo>
                      <a:pt x="185" y="63"/>
                    </a:lnTo>
                    <a:lnTo>
                      <a:pt x="188" y="63"/>
                    </a:lnTo>
                    <a:lnTo>
                      <a:pt x="188" y="63"/>
                    </a:lnTo>
                    <a:lnTo>
                      <a:pt x="198" y="63"/>
                    </a:lnTo>
                    <a:lnTo>
                      <a:pt x="210" y="63"/>
                    </a:lnTo>
                    <a:lnTo>
                      <a:pt x="210" y="63"/>
                    </a:lnTo>
                    <a:lnTo>
                      <a:pt x="214" y="66"/>
                    </a:lnTo>
                    <a:lnTo>
                      <a:pt x="220" y="67"/>
                    </a:lnTo>
                    <a:lnTo>
                      <a:pt x="220" y="67"/>
                    </a:lnTo>
                    <a:lnTo>
                      <a:pt x="230" y="66"/>
                    </a:lnTo>
                    <a:lnTo>
                      <a:pt x="233" y="66"/>
                    </a:lnTo>
                    <a:lnTo>
                      <a:pt x="233" y="66"/>
                    </a:lnTo>
                    <a:lnTo>
                      <a:pt x="233" y="67"/>
                    </a:lnTo>
                    <a:lnTo>
                      <a:pt x="233" y="67"/>
                    </a:lnTo>
                    <a:lnTo>
                      <a:pt x="229" y="70"/>
                    </a:lnTo>
                    <a:lnTo>
                      <a:pt x="229" y="71"/>
                    </a:lnTo>
                    <a:lnTo>
                      <a:pt x="230" y="74"/>
                    </a:lnTo>
                    <a:lnTo>
                      <a:pt x="230" y="74"/>
                    </a:lnTo>
                    <a:lnTo>
                      <a:pt x="235" y="79"/>
                    </a:lnTo>
                    <a:lnTo>
                      <a:pt x="235" y="80"/>
                    </a:lnTo>
                    <a:lnTo>
                      <a:pt x="233" y="82"/>
                    </a:lnTo>
                    <a:lnTo>
                      <a:pt x="233" y="82"/>
                    </a:lnTo>
                    <a:lnTo>
                      <a:pt x="223" y="82"/>
                    </a:lnTo>
                    <a:lnTo>
                      <a:pt x="220" y="82"/>
                    </a:lnTo>
                    <a:lnTo>
                      <a:pt x="217" y="80"/>
                    </a:lnTo>
                    <a:lnTo>
                      <a:pt x="217" y="80"/>
                    </a:lnTo>
                    <a:lnTo>
                      <a:pt x="216" y="79"/>
                    </a:lnTo>
                    <a:lnTo>
                      <a:pt x="214" y="76"/>
                    </a:lnTo>
                    <a:lnTo>
                      <a:pt x="213" y="73"/>
                    </a:lnTo>
                    <a:lnTo>
                      <a:pt x="211" y="70"/>
                    </a:lnTo>
                    <a:lnTo>
                      <a:pt x="211" y="70"/>
                    </a:lnTo>
                    <a:lnTo>
                      <a:pt x="203" y="70"/>
                    </a:lnTo>
                    <a:lnTo>
                      <a:pt x="197" y="70"/>
                    </a:lnTo>
                    <a:lnTo>
                      <a:pt x="197" y="70"/>
                    </a:lnTo>
                    <a:lnTo>
                      <a:pt x="203" y="73"/>
                    </a:lnTo>
                    <a:lnTo>
                      <a:pt x="206" y="76"/>
                    </a:lnTo>
                    <a:lnTo>
                      <a:pt x="207" y="77"/>
                    </a:lnTo>
                    <a:lnTo>
                      <a:pt x="207" y="77"/>
                    </a:lnTo>
                    <a:lnTo>
                      <a:pt x="204" y="79"/>
                    </a:lnTo>
                    <a:lnTo>
                      <a:pt x="200" y="80"/>
                    </a:lnTo>
                    <a:lnTo>
                      <a:pt x="191" y="82"/>
                    </a:lnTo>
                    <a:lnTo>
                      <a:pt x="191" y="82"/>
                    </a:lnTo>
                    <a:lnTo>
                      <a:pt x="184" y="82"/>
                    </a:lnTo>
                    <a:lnTo>
                      <a:pt x="181" y="82"/>
                    </a:lnTo>
                    <a:lnTo>
                      <a:pt x="181" y="82"/>
                    </a:lnTo>
                    <a:lnTo>
                      <a:pt x="181" y="83"/>
                    </a:lnTo>
                    <a:lnTo>
                      <a:pt x="181" y="83"/>
                    </a:lnTo>
                    <a:lnTo>
                      <a:pt x="182" y="84"/>
                    </a:lnTo>
                    <a:lnTo>
                      <a:pt x="182" y="87"/>
                    </a:lnTo>
                    <a:lnTo>
                      <a:pt x="182" y="87"/>
                    </a:lnTo>
                    <a:lnTo>
                      <a:pt x="181" y="90"/>
                    </a:lnTo>
                    <a:lnTo>
                      <a:pt x="181" y="92"/>
                    </a:lnTo>
                    <a:lnTo>
                      <a:pt x="182" y="92"/>
                    </a:lnTo>
                    <a:lnTo>
                      <a:pt x="182" y="92"/>
                    </a:lnTo>
                    <a:lnTo>
                      <a:pt x="188" y="89"/>
                    </a:lnTo>
                    <a:lnTo>
                      <a:pt x="191" y="87"/>
                    </a:lnTo>
                    <a:lnTo>
                      <a:pt x="195" y="87"/>
                    </a:lnTo>
                    <a:lnTo>
                      <a:pt x="195" y="87"/>
                    </a:lnTo>
                    <a:lnTo>
                      <a:pt x="207" y="86"/>
                    </a:lnTo>
                    <a:lnTo>
                      <a:pt x="211" y="86"/>
                    </a:lnTo>
                    <a:lnTo>
                      <a:pt x="213" y="87"/>
                    </a:lnTo>
                    <a:lnTo>
                      <a:pt x="213" y="87"/>
                    </a:lnTo>
                    <a:lnTo>
                      <a:pt x="213" y="87"/>
                    </a:lnTo>
                    <a:lnTo>
                      <a:pt x="209" y="93"/>
                    </a:lnTo>
                    <a:lnTo>
                      <a:pt x="207" y="95"/>
                    </a:lnTo>
                    <a:lnTo>
                      <a:pt x="207" y="96"/>
                    </a:lnTo>
                    <a:lnTo>
                      <a:pt x="207" y="96"/>
                    </a:lnTo>
                    <a:lnTo>
                      <a:pt x="217" y="96"/>
                    </a:lnTo>
                    <a:lnTo>
                      <a:pt x="223" y="96"/>
                    </a:lnTo>
                    <a:lnTo>
                      <a:pt x="226" y="97"/>
                    </a:lnTo>
                    <a:lnTo>
                      <a:pt x="226" y="97"/>
                    </a:lnTo>
                    <a:lnTo>
                      <a:pt x="230" y="103"/>
                    </a:lnTo>
                    <a:lnTo>
                      <a:pt x="232" y="106"/>
                    </a:lnTo>
                    <a:lnTo>
                      <a:pt x="232" y="108"/>
                    </a:lnTo>
                    <a:lnTo>
                      <a:pt x="232" y="108"/>
                    </a:lnTo>
                    <a:lnTo>
                      <a:pt x="229" y="111"/>
                    </a:lnTo>
                    <a:lnTo>
                      <a:pt x="227" y="113"/>
                    </a:lnTo>
                    <a:lnTo>
                      <a:pt x="227" y="115"/>
                    </a:lnTo>
                    <a:lnTo>
                      <a:pt x="227" y="115"/>
                    </a:lnTo>
                    <a:lnTo>
                      <a:pt x="230" y="119"/>
                    </a:lnTo>
                    <a:lnTo>
                      <a:pt x="230" y="121"/>
                    </a:lnTo>
                    <a:lnTo>
                      <a:pt x="229" y="122"/>
                    </a:lnTo>
                    <a:lnTo>
                      <a:pt x="229" y="122"/>
                    </a:lnTo>
                    <a:lnTo>
                      <a:pt x="223" y="124"/>
                    </a:lnTo>
                    <a:lnTo>
                      <a:pt x="217" y="124"/>
                    </a:lnTo>
                    <a:lnTo>
                      <a:pt x="217" y="124"/>
                    </a:lnTo>
                    <a:lnTo>
                      <a:pt x="207" y="122"/>
                    </a:lnTo>
                    <a:lnTo>
                      <a:pt x="203" y="122"/>
                    </a:lnTo>
                    <a:lnTo>
                      <a:pt x="203" y="124"/>
                    </a:lnTo>
                    <a:lnTo>
                      <a:pt x="203" y="125"/>
                    </a:lnTo>
                    <a:lnTo>
                      <a:pt x="203" y="125"/>
                    </a:lnTo>
                    <a:lnTo>
                      <a:pt x="209" y="128"/>
                    </a:lnTo>
                    <a:lnTo>
                      <a:pt x="216" y="131"/>
                    </a:lnTo>
                    <a:lnTo>
                      <a:pt x="216" y="131"/>
                    </a:lnTo>
                    <a:lnTo>
                      <a:pt x="219" y="134"/>
                    </a:lnTo>
                    <a:lnTo>
                      <a:pt x="222" y="135"/>
                    </a:lnTo>
                    <a:lnTo>
                      <a:pt x="223" y="138"/>
                    </a:lnTo>
                    <a:lnTo>
                      <a:pt x="222" y="140"/>
                    </a:lnTo>
                    <a:lnTo>
                      <a:pt x="222" y="140"/>
                    </a:lnTo>
                    <a:lnTo>
                      <a:pt x="217" y="145"/>
                    </a:lnTo>
                    <a:lnTo>
                      <a:pt x="216" y="148"/>
                    </a:lnTo>
                    <a:lnTo>
                      <a:pt x="214" y="150"/>
                    </a:lnTo>
                    <a:lnTo>
                      <a:pt x="214" y="150"/>
                    </a:lnTo>
                    <a:lnTo>
                      <a:pt x="206" y="148"/>
                    </a:lnTo>
                    <a:lnTo>
                      <a:pt x="201" y="148"/>
                    </a:lnTo>
                    <a:lnTo>
                      <a:pt x="200" y="150"/>
                    </a:lnTo>
                    <a:lnTo>
                      <a:pt x="200" y="150"/>
                    </a:lnTo>
                    <a:lnTo>
                      <a:pt x="203" y="154"/>
                    </a:lnTo>
                    <a:lnTo>
                      <a:pt x="206" y="157"/>
                    </a:lnTo>
                    <a:lnTo>
                      <a:pt x="209" y="158"/>
                    </a:lnTo>
                    <a:lnTo>
                      <a:pt x="209" y="158"/>
                    </a:lnTo>
                    <a:lnTo>
                      <a:pt x="213" y="157"/>
                    </a:lnTo>
                    <a:lnTo>
                      <a:pt x="214" y="158"/>
                    </a:lnTo>
                    <a:lnTo>
                      <a:pt x="214" y="160"/>
                    </a:lnTo>
                    <a:lnTo>
                      <a:pt x="214" y="160"/>
                    </a:lnTo>
                    <a:lnTo>
                      <a:pt x="213" y="166"/>
                    </a:lnTo>
                    <a:lnTo>
                      <a:pt x="213" y="168"/>
                    </a:lnTo>
                    <a:lnTo>
                      <a:pt x="211" y="168"/>
                    </a:lnTo>
                    <a:lnTo>
                      <a:pt x="211" y="168"/>
                    </a:lnTo>
                    <a:lnTo>
                      <a:pt x="209" y="167"/>
                    </a:lnTo>
                    <a:lnTo>
                      <a:pt x="207" y="167"/>
                    </a:lnTo>
                    <a:lnTo>
                      <a:pt x="206" y="167"/>
                    </a:lnTo>
                    <a:lnTo>
                      <a:pt x="206" y="167"/>
                    </a:lnTo>
                    <a:lnTo>
                      <a:pt x="201" y="173"/>
                    </a:lnTo>
                    <a:lnTo>
                      <a:pt x="200" y="174"/>
                    </a:lnTo>
                    <a:lnTo>
                      <a:pt x="197" y="176"/>
                    </a:lnTo>
                    <a:lnTo>
                      <a:pt x="197" y="176"/>
                    </a:lnTo>
                    <a:lnTo>
                      <a:pt x="185" y="171"/>
                    </a:lnTo>
                    <a:lnTo>
                      <a:pt x="178" y="170"/>
                    </a:lnTo>
                    <a:lnTo>
                      <a:pt x="175" y="168"/>
                    </a:lnTo>
                    <a:lnTo>
                      <a:pt x="175" y="168"/>
                    </a:lnTo>
                    <a:lnTo>
                      <a:pt x="175" y="174"/>
                    </a:lnTo>
                    <a:lnTo>
                      <a:pt x="177" y="182"/>
                    </a:lnTo>
                    <a:lnTo>
                      <a:pt x="177" y="182"/>
                    </a:lnTo>
                    <a:lnTo>
                      <a:pt x="178" y="184"/>
                    </a:lnTo>
                    <a:lnTo>
                      <a:pt x="178" y="189"/>
                    </a:lnTo>
                    <a:lnTo>
                      <a:pt x="180" y="192"/>
                    </a:lnTo>
                    <a:lnTo>
                      <a:pt x="180" y="193"/>
                    </a:lnTo>
                    <a:lnTo>
                      <a:pt x="180" y="193"/>
                    </a:lnTo>
                    <a:lnTo>
                      <a:pt x="181" y="195"/>
                    </a:lnTo>
                    <a:lnTo>
                      <a:pt x="181" y="196"/>
                    </a:lnTo>
                    <a:lnTo>
                      <a:pt x="181" y="197"/>
                    </a:lnTo>
                    <a:lnTo>
                      <a:pt x="181" y="197"/>
                    </a:lnTo>
                    <a:lnTo>
                      <a:pt x="180" y="200"/>
                    </a:lnTo>
                    <a:lnTo>
                      <a:pt x="180" y="203"/>
                    </a:lnTo>
                    <a:lnTo>
                      <a:pt x="180" y="203"/>
                    </a:lnTo>
                    <a:lnTo>
                      <a:pt x="178" y="210"/>
                    </a:lnTo>
                    <a:lnTo>
                      <a:pt x="175" y="215"/>
                    </a:lnTo>
                    <a:lnTo>
                      <a:pt x="172" y="216"/>
                    </a:lnTo>
                    <a:lnTo>
                      <a:pt x="172" y="216"/>
                    </a:lnTo>
                    <a:lnTo>
                      <a:pt x="161" y="219"/>
                    </a:lnTo>
                    <a:lnTo>
                      <a:pt x="161" y="219"/>
                    </a:lnTo>
                    <a:lnTo>
                      <a:pt x="149" y="219"/>
                    </a:lnTo>
                    <a:lnTo>
                      <a:pt x="140" y="219"/>
                    </a:lnTo>
                    <a:lnTo>
                      <a:pt x="136" y="218"/>
                    </a:lnTo>
                    <a:lnTo>
                      <a:pt x="136" y="218"/>
                    </a:lnTo>
                    <a:lnTo>
                      <a:pt x="127" y="209"/>
                    </a:lnTo>
                    <a:lnTo>
                      <a:pt x="123" y="206"/>
                    </a:lnTo>
                    <a:lnTo>
                      <a:pt x="122" y="205"/>
                    </a:lnTo>
                    <a:lnTo>
                      <a:pt x="122" y="205"/>
                    </a:lnTo>
                    <a:lnTo>
                      <a:pt x="122" y="205"/>
                    </a:lnTo>
                    <a:lnTo>
                      <a:pt x="119" y="208"/>
                    </a:lnTo>
                    <a:lnTo>
                      <a:pt x="119" y="208"/>
                    </a:lnTo>
                    <a:lnTo>
                      <a:pt x="122" y="209"/>
                    </a:lnTo>
                    <a:lnTo>
                      <a:pt x="122" y="209"/>
                    </a:lnTo>
                    <a:lnTo>
                      <a:pt x="123" y="212"/>
                    </a:lnTo>
                    <a:lnTo>
                      <a:pt x="126" y="215"/>
                    </a:lnTo>
                    <a:lnTo>
                      <a:pt x="126" y="218"/>
                    </a:lnTo>
                    <a:lnTo>
                      <a:pt x="126" y="218"/>
                    </a:lnTo>
                    <a:lnTo>
                      <a:pt x="123" y="221"/>
                    </a:lnTo>
                    <a:lnTo>
                      <a:pt x="119" y="222"/>
                    </a:lnTo>
                    <a:lnTo>
                      <a:pt x="119" y="222"/>
                    </a:lnTo>
                    <a:lnTo>
                      <a:pt x="117" y="224"/>
                    </a:lnTo>
                    <a:lnTo>
                      <a:pt x="117" y="228"/>
                    </a:lnTo>
                    <a:lnTo>
                      <a:pt x="117" y="232"/>
                    </a:lnTo>
                    <a:lnTo>
                      <a:pt x="117" y="234"/>
                    </a:lnTo>
                    <a:lnTo>
                      <a:pt x="119" y="234"/>
                    </a:lnTo>
                    <a:lnTo>
                      <a:pt x="119" y="234"/>
                    </a:lnTo>
                    <a:lnTo>
                      <a:pt x="126" y="226"/>
                    </a:lnTo>
                    <a:lnTo>
                      <a:pt x="130" y="222"/>
                    </a:lnTo>
                    <a:lnTo>
                      <a:pt x="133" y="221"/>
                    </a:lnTo>
                    <a:lnTo>
                      <a:pt x="133" y="221"/>
                    </a:lnTo>
                    <a:lnTo>
                      <a:pt x="139" y="222"/>
                    </a:lnTo>
                    <a:lnTo>
                      <a:pt x="140" y="222"/>
                    </a:lnTo>
                    <a:lnTo>
                      <a:pt x="140" y="225"/>
                    </a:lnTo>
                    <a:lnTo>
                      <a:pt x="140" y="225"/>
                    </a:lnTo>
                    <a:lnTo>
                      <a:pt x="140" y="228"/>
                    </a:lnTo>
                    <a:lnTo>
                      <a:pt x="139" y="231"/>
                    </a:lnTo>
                    <a:lnTo>
                      <a:pt x="139" y="232"/>
                    </a:lnTo>
                    <a:lnTo>
                      <a:pt x="142" y="231"/>
                    </a:lnTo>
                    <a:lnTo>
                      <a:pt x="142" y="231"/>
                    </a:lnTo>
                    <a:lnTo>
                      <a:pt x="149" y="228"/>
                    </a:lnTo>
                    <a:lnTo>
                      <a:pt x="155" y="226"/>
                    </a:lnTo>
                    <a:lnTo>
                      <a:pt x="155" y="226"/>
                    </a:lnTo>
                    <a:lnTo>
                      <a:pt x="158" y="226"/>
                    </a:lnTo>
                    <a:lnTo>
                      <a:pt x="159" y="229"/>
                    </a:lnTo>
                    <a:lnTo>
                      <a:pt x="161" y="232"/>
                    </a:lnTo>
                    <a:lnTo>
                      <a:pt x="161" y="234"/>
                    </a:lnTo>
                    <a:lnTo>
                      <a:pt x="161" y="234"/>
                    </a:lnTo>
                    <a:lnTo>
                      <a:pt x="156" y="237"/>
                    </a:lnTo>
                    <a:lnTo>
                      <a:pt x="156" y="239"/>
                    </a:lnTo>
                    <a:lnTo>
                      <a:pt x="158" y="241"/>
                    </a:lnTo>
                    <a:lnTo>
                      <a:pt x="158" y="241"/>
                    </a:lnTo>
                    <a:lnTo>
                      <a:pt x="162" y="244"/>
                    </a:lnTo>
                    <a:lnTo>
                      <a:pt x="164" y="245"/>
                    </a:lnTo>
                    <a:lnTo>
                      <a:pt x="166" y="245"/>
                    </a:lnTo>
                    <a:lnTo>
                      <a:pt x="166" y="245"/>
                    </a:lnTo>
                    <a:lnTo>
                      <a:pt x="172" y="241"/>
                    </a:lnTo>
                    <a:lnTo>
                      <a:pt x="177" y="239"/>
                    </a:lnTo>
                    <a:lnTo>
                      <a:pt x="180" y="241"/>
                    </a:lnTo>
                    <a:lnTo>
                      <a:pt x="180" y="241"/>
                    </a:lnTo>
                    <a:lnTo>
                      <a:pt x="181" y="245"/>
                    </a:lnTo>
                    <a:lnTo>
                      <a:pt x="181" y="250"/>
                    </a:lnTo>
                    <a:lnTo>
                      <a:pt x="181" y="250"/>
                    </a:lnTo>
                    <a:lnTo>
                      <a:pt x="182" y="252"/>
                    </a:lnTo>
                    <a:lnTo>
                      <a:pt x="184" y="254"/>
                    </a:lnTo>
                    <a:lnTo>
                      <a:pt x="185" y="257"/>
                    </a:lnTo>
                    <a:lnTo>
                      <a:pt x="182" y="258"/>
                    </a:lnTo>
                    <a:lnTo>
                      <a:pt x="182" y="258"/>
                    </a:lnTo>
                    <a:lnTo>
                      <a:pt x="180" y="260"/>
                    </a:lnTo>
                    <a:lnTo>
                      <a:pt x="177" y="264"/>
                    </a:lnTo>
                    <a:lnTo>
                      <a:pt x="175" y="270"/>
                    </a:lnTo>
                    <a:lnTo>
                      <a:pt x="175" y="270"/>
                    </a:lnTo>
                    <a:lnTo>
                      <a:pt x="174" y="276"/>
                    </a:lnTo>
                    <a:lnTo>
                      <a:pt x="174" y="279"/>
                    </a:lnTo>
                    <a:lnTo>
                      <a:pt x="171" y="281"/>
                    </a:lnTo>
                    <a:lnTo>
                      <a:pt x="171" y="281"/>
                    </a:lnTo>
                    <a:lnTo>
                      <a:pt x="161" y="290"/>
                    </a:lnTo>
                    <a:lnTo>
                      <a:pt x="153" y="294"/>
                    </a:lnTo>
                    <a:lnTo>
                      <a:pt x="149" y="296"/>
                    </a:lnTo>
                    <a:lnTo>
                      <a:pt x="149" y="296"/>
                    </a:lnTo>
                    <a:lnTo>
                      <a:pt x="142" y="293"/>
                    </a:lnTo>
                    <a:lnTo>
                      <a:pt x="133" y="290"/>
                    </a:lnTo>
                    <a:lnTo>
                      <a:pt x="133" y="290"/>
                    </a:lnTo>
                    <a:lnTo>
                      <a:pt x="132" y="287"/>
                    </a:lnTo>
                    <a:lnTo>
                      <a:pt x="133" y="283"/>
                    </a:lnTo>
                    <a:lnTo>
                      <a:pt x="133" y="279"/>
                    </a:lnTo>
                    <a:lnTo>
                      <a:pt x="133" y="276"/>
                    </a:lnTo>
                    <a:lnTo>
                      <a:pt x="133" y="276"/>
                    </a:lnTo>
                    <a:lnTo>
                      <a:pt x="130" y="271"/>
                    </a:lnTo>
                    <a:lnTo>
                      <a:pt x="126" y="270"/>
                    </a:lnTo>
                    <a:lnTo>
                      <a:pt x="126" y="270"/>
                    </a:lnTo>
                    <a:lnTo>
                      <a:pt x="122" y="271"/>
                    </a:lnTo>
                    <a:lnTo>
                      <a:pt x="119" y="271"/>
                    </a:lnTo>
                    <a:lnTo>
                      <a:pt x="117" y="268"/>
                    </a:lnTo>
                    <a:lnTo>
                      <a:pt x="117" y="268"/>
                    </a:lnTo>
                    <a:lnTo>
                      <a:pt x="116" y="266"/>
                    </a:lnTo>
                    <a:lnTo>
                      <a:pt x="114" y="261"/>
                    </a:lnTo>
                    <a:lnTo>
                      <a:pt x="113" y="258"/>
                    </a:lnTo>
                    <a:lnTo>
                      <a:pt x="110" y="258"/>
                    </a:lnTo>
                    <a:lnTo>
                      <a:pt x="110" y="258"/>
                    </a:lnTo>
                    <a:lnTo>
                      <a:pt x="110" y="260"/>
                    </a:lnTo>
                    <a:lnTo>
                      <a:pt x="110" y="261"/>
                    </a:lnTo>
                    <a:lnTo>
                      <a:pt x="111" y="268"/>
                    </a:lnTo>
                    <a:lnTo>
                      <a:pt x="114" y="274"/>
                    </a:lnTo>
                    <a:lnTo>
                      <a:pt x="114" y="277"/>
                    </a:lnTo>
                    <a:lnTo>
                      <a:pt x="114" y="277"/>
                    </a:lnTo>
                    <a:lnTo>
                      <a:pt x="114" y="277"/>
                    </a:lnTo>
                    <a:lnTo>
                      <a:pt x="109" y="279"/>
                    </a:lnTo>
                    <a:lnTo>
                      <a:pt x="106" y="279"/>
                    </a:lnTo>
                    <a:lnTo>
                      <a:pt x="103" y="277"/>
                    </a:lnTo>
                    <a:lnTo>
                      <a:pt x="103" y="277"/>
                    </a:lnTo>
                    <a:lnTo>
                      <a:pt x="101" y="274"/>
                    </a:lnTo>
                    <a:lnTo>
                      <a:pt x="101" y="268"/>
                    </a:lnTo>
                    <a:lnTo>
                      <a:pt x="100" y="264"/>
                    </a:lnTo>
                    <a:lnTo>
                      <a:pt x="100" y="264"/>
                    </a:lnTo>
                    <a:lnTo>
                      <a:pt x="98" y="264"/>
                    </a:lnTo>
                    <a:lnTo>
                      <a:pt x="98" y="264"/>
                    </a:lnTo>
                    <a:lnTo>
                      <a:pt x="97" y="266"/>
                    </a:lnTo>
                    <a:lnTo>
                      <a:pt x="97" y="268"/>
                    </a:lnTo>
                    <a:lnTo>
                      <a:pt x="96" y="273"/>
                    </a:lnTo>
                    <a:lnTo>
                      <a:pt x="94" y="274"/>
                    </a:lnTo>
                    <a:lnTo>
                      <a:pt x="94" y="274"/>
                    </a:lnTo>
                    <a:lnTo>
                      <a:pt x="88" y="274"/>
                    </a:lnTo>
                    <a:lnTo>
                      <a:pt x="87" y="273"/>
                    </a:lnTo>
                    <a:lnTo>
                      <a:pt x="85" y="271"/>
                    </a:lnTo>
                    <a:lnTo>
                      <a:pt x="85" y="271"/>
                    </a:lnTo>
                    <a:lnTo>
                      <a:pt x="84" y="264"/>
                    </a:lnTo>
                    <a:lnTo>
                      <a:pt x="81" y="261"/>
                    </a:lnTo>
                    <a:lnTo>
                      <a:pt x="81" y="261"/>
                    </a:lnTo>
                    <a:lnTo>
                      <a:pt x="80" y="261"/>
                    </a:lnTo>
                    <a:lnTo>
                      <a:pt x="80" y="261"/>
                    </a:lnTo>
                    <a:lnTo>
                      <a:pt x="80" y="264"/>
                    </a:lnTo>
                    <a:lnTo>
                      <a:pt x="78" y="268"/>
                    </a:lnTo>
                    <a:lnTo>
                      <a:pt x="78" y="271"/>
                    </a:lnTo>
                    <a:lnTo>
                      <a:pt x="77" y="273"/>
                    </a:lnTo>
                    <a:lnTo>
                      <a:pt x="77" y="273"/>
                    </a:lnTo>
                    <a:lnTo>
                      <a:pt x="75" y="271"/>
                    </a:lnTo>
                    <a:lnTo>
                      <a:pt x="72" y="270"/>
                    </a:lnTo>
                    <a:lnTo>
                      <a:pt x="71" y="268"/>
                    </a:lnTo>
                    <a:lnTo>
                      <a:pt x="68" y="268"/>
                    </a:lnTo>
                    <a:lnTo>
                      <a:pt x="68" y="268"/>
                    </a:lnTo>
                    <a:lnTo>
                      <a:pt x="67" y="271"/>
                    </a:lnTo>
                    <a:lnTo>
                      <a:pt x="67" y="274"/>
                    </a:lnTo>
                    <a:lnTo>
                      <a:pt x="67" y="277"/>
                    </a:lnTo>
                    <a:lnTo>
                      <a:pt x="68" y="279"/>
                    </a:lnTo>
                    <a:lnTo>
                      <a:pt x="68" y="279"/>
                    </a:lnTo>
                    <a:lnTo>
                      <a:pt x="72" y="280"/>
                    </a:lnTo>
                    <a:lnTo>
                      <a:pt x="74" y="281"/>
                    </a:lnTo>
                    <a:lnTo>
                      <a:pt x="74" y="284"/>
                    </a:lnTo>
                    <a:lnTo>
                      <a:pt x="74" y="284"/>
                    </a:lnTo>
                    <a:lnTo>
                      <a:pt x="69" y="289"/>
                    </a:lnTo>
                    <a:lnTo>
                      <a:pt x="68" y="289"/>
                    </a:lnTo>
                    <a:lnTo>
                      <a:pt x="64" y="289"/>
                    </a:lnTo>
                    <a:lnTo>
                      <a:pt x="64" y="289"/>
                    </a:lnTo>
                    <a:lnTo>
                      <a:pt x="59" y="286"/>
                    </a:lnTo>
                    <a:lnTo>
                      <a:pt x="54" y="283"/>
                    </a:lnTo>
                    <a:lnTo>
                      <a:pt x="54" y="283"/>
                    </a:lnTo>
                    <a:lnTo>
                      <a:pt x="52" y="281"/>
                    </a:lnTo>
                    <a:lnTo>
                      <a:pt x="51" y="279"/>
                    </a:lnTo>
                    <a:lnTo>
                      <a:pt x="51" y="273"/>
                    </a:lnTo>
                    <a:lnTo>
                      <a:pt x="51" y="273"/>
                    </a:lnTo>
                    <a:lnTo>
                      <a:pt x="51" y="266"/>
                    </a:lnTo>
                    <a:lnTo>
                      <a:pt x="49" y="263"/>
                    </a:lnTo>
                    <a:lnTo>
                      <a:pt x="49" y="261"/>
                    </a:lnTo>
                    <a:lnTo>
                      <a:pt x="49" y="261"/>
                    </a:lnTo>
                    <a:lnTo>
                      <a:pt x="46" y="270"/>
                    </a:lnTo>
                    <a:lnTo>
                      <a:pt x="45" y="276"/>
                    </a:lnTo>
                    <a:lnTo>
                      <a:pt x="43" y="279"/>
                    </a:lnTo>
                    <a:lnTo>
                      <a:pt x="43" y="279"/>
                    </a:lnTo>
                    <a:lnTo>
                      <a:pt x="39" y="276"/>
                    </a:lnTo>
                    <a:lnTo>
                      <a:pt x="38" y="274"/>
                    </a:lnTo>
                    <a:lnTo>
                      <a:pt x="36" y="271"/>
                    </a:lnTo>
                    <a:lnTo>
                      <a:pt x="36" y="271"/>
                    </a:lnTo>
                    <a:lnTo>
                      <a:pt x="38" y="263"/>
                    </a:lnTo>
                    <a:lnTo>
                      <a:pt x="38" y="260"/>
                    </a:lnTo>
                    <a:lnTo>
                      <a:pt x="36" y="258"/>
                    </a:lnTo>
                    <a:lnTo>
                      <a:pt x="36" y="258"/>
                    </a:lnTo>
                    <a:lnTo>
                      <a:pt x="35" y="263"/>
                    </a:lnTo>
                    <a:lnTo>
                      <a:pt x="33" y="268"/>
                    </a:lnTo>
                    <a:lnTo>
                      <a:pt x="32" y="276"/>
                    </a:lnTo>
                    <a:lnTo>
                      <a:pt x="30" y="277"/>
                    </a:lnTo>
                    <a:lnTo>
                      <a:pt x="29" y="279"/>
                    </a:lnTo>
                    <a:lnTo>
                      <a:pt x="29" y="279"/>
                    </a:lnTo>
                    <a:lnTo>
                      <a:pt x="26" y="279"/>
                    </a:lnTo>
                    <a:lnTo>
                      <a:pt x="23" y="276"/>
                    </a:lnTo>
                    <a:lnTo>
                      <a:pt x="20" y="274"/>
                    </a:lnTo>
                    <a:lnTo>
                      <a:pt x="20" y="270"/>
                    </a:lnTo>
                    <a:lnTo>
                      <a:pt x="20" y="270"/>
                    </a:lnTo>
                    <a:lnTo>
                      <a:pt x="20" y="261"/>
                    </a:lnTo>
                    <a:lnTo>
                      <a:pt x="19" y="257"/>
                    </a:lnTo>
                    <a:lnTo>
                      <a:pt x="17" y="257"/>
                    </a:lnTo>
                    <a:lnTo>
                      <a:pt x="16" y="257"/>
                    </a:lnTo>
                    <a:lnTo>
                      <a:pt x="16" y="257"/>
                    </a:lnTo>
                    <a:lnTo>
                      <a:pt x="13" y="258"/>
                    </a:lnTo>
                    <a:lnTo>
                      <a:pt x="13" y="261"/>
                    </a:lnTo>
                    <a:lnTo>
                      <a:pt x="13" y="263"/>
                    </a:lnTo>
                    <a:lnTo>
                      <a:pt x="13" y="266"/>
                    </a:lnTo>
                    <a:lnTo>
                      <a:pt x="13" y="266"/>
                    </a:lnTo>
                    <a:lnTo>
                      <a:pt x="12" y="267"/>
                    </a:lnTo>
                    <a:lnTo>
                      <a:pt x="12" y="271"/>
                    </a:lnTo>
                    <a:lnTo>
                      <a:pt x="10" y="276"/>
                    </a:lnTo>
                    <a:lnTo>
                      <a:pt x="10" y="276"/>
                    </a:lnTo>
                    <a:lnTo>
                      <a:pt x="9" y="276"/>
                    </a:lnTo>
                    <a:lnTo>
                      <a:pt x="9" y="276"/>
                    </a:lnTo>
                    <a:lnTo>
                      <a:pt x="7" y="276"/>
                    </a:lnTo>
                    <a:lnTo>
                      <a:pt x="6" y="274"/>
                    </a:lnTo>
                    <a:lnTo>
                      <a:pt x="3" y="270"/>
                    </a:lnTo>
                    <a:lnTo>
                      <a:pt x="3" y="270"/>
                    </a:lnTo>
                    <a:lnTo>
                      <a:pt x="1" y="267"/>
                    </a:lnTo>
                    <a:lnTo>
                      <a:pt x="1" y="264"/>
                    </a:lnTo>
                    <a:lnTo>
                      <a:pt x="1" y="261"/>
                    </a:lnTo>
                    <a:lnTo>
                      <a:pt x="1" y="258"/>
                    </a:lnTo>
                    <a:lnTo>
                      <a:pt x="1" y="258"/>
                    </a:lnTo>
                    <a:lnTo>
                      <a:pt x="0" y="251"/>
                    </a:lnTo>
                    <a:lnTo>
                      <a:pt x="1" y="248"/>
                    </a:lnTo>
                    <a:lnTo>
                      <a:pt x="1" y="247"/>
                    </a:lnTo>
                    <a:lnTo>
                      <a:pt x="1" y="247"/>
                    </a:lnTo>
                    <a:lnTo>
                      <a:pt x="10" y="239"/>
                    </a:lnTo>
                    <a:lnTo>
                      <a:pt x="16" y="235"/>
                    </a:lnTo>
                    <a:lnTo>
                      <a:pt x="20" y="232"/>
                    </a:lnTo>
                    <a:lnTo>
                      <a:pt x="20" y="232"/>
                    </a:lnTo>
                    <a:lnTo>
                      <a:pt x="23" y="232"/>
                    </a:lnTo>
                    <a:lnTo>
                      <a:pt x="25" y="234"/>
                    </a:lnTo>
                    <a:lnTo>
                      <a:pt x="27" y="234"/>
                    </a:lnTo>
                    <a:lnTo>
                      <a:pt x="29" y="232"/>
                    </a:lnTo>
                    <a:lnTo>
                      <a:pt x="29" y="232"/>
                    </a:lnTo>
                    <a:lnTo>
                      <a:pt x="35" y="228"/>
                    </a:lnTo>
                    <a:lnTo>
                      <a:pt x="36" y="225"/>
                    </a:lnTo>
                    <a:lnTo>
                      <a:pt x="35" y="222"/>
                    </a:lnTo>
                    <a:lnTo>
                      <a:pt x="35" y="222"/>
                    </a:lnTo>
                    <a:lnTo>
                      <a:pt x="35" y="219"/>
                    </a:lnTo>
                    <a:lnTo>
                      <a:pt x="36" y="218"/>
                    </a:lnTo>
                    <a:lnTo>
                      <a:pt x="38" y="216"/>
                    </a:lnTo>
                    <a:lnTo>
                      <a:pt x="38" y="215"/>
                    </a:lnTo>
                    <a:lnTo>
                      <a:pt x="38" y="215"/>
                    </a:lnTo>
                    <a:lnTo>
                      <a:pt x="35" y="215"/>
                    </a:lnTo>
                    <a:lnTo>
                      <a:pt x="33" y="216"/>
                    </a:lnTo>
                    <a:lnTo>
                      <a:pt x="30" y="218"/>
                    </a:lnTo>
                    <a:lnTo>
                      <a:pt x="29" y="216"/>
                    </a:lnTo>
                    <a:lnTo>
                      <a:pt x="29" y="216"/>
                    </a:lnTo>
                    <a:lnTo>
                      <a:pt x="27" y="213"/>
                    </a:lnTo>
                    <a:lnTo>
                      <a:pt x="27" y="210"/>
                    </a:lnTo>
                    <a:lnTo>
                      <a:pt x="27" y="208"/>
                    </a:lnTo>
                    <a:lnTo>
                      <a:pt x="26" y="205"/>
                    </a:lnTo>
                    <a:lnTo>
                      <a:pt x="26" y="205"/>
                    </a:lnTo>
                    <a:lnTo>
                      <a:pt x="20" y="197"/>
                    </a:lnTo>
                    <a:lnTo>
                      <a:pt x="17" y="195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84"/>
                    </a:lnTo>
                    <a:lnTo>
                      <a:pt x="17" y="182"/>
                    </a:lnTo>
                    <a:lnTo>
                      <a:pt x="19" y="180"/>
                    </a:lnTo>
                    <a:lnTo>
                      <a:pt x="19" y="180"/>
                    </a:lnTo>
                    <a:lnTo>
                      <a:pt x="23" y="179"/>
                    </a:lnTo>
                    <a:lnTo>
                      <a:pt x="25" y="177"/>
                    </a:lnTo>
                    <a:lnTo>
                      <a:pt x="27" y="176"/>
                    </a:lnTo>
                    <a:lnTo>
                      <a:pt x="27" y="176"/>
                    </a:lnTo>
                    <a:lnTo>
                      <a:pt x="38" y="176"/>
                    </a:lnTo>
                    <a:lnTo>
                      <a:pt x="43" y="176"/>
                    </a:lnTo>
                    <a:lnTo>
                      <a:pt x="46" y="179"/>
                    </a:lnTo>
                    <a:lnTo>
                      <a:pt x="46" y="179"/>
                    </a:lnTo>
                    <a:lnTo>
                      <a:pt x="52" y="190"/>
                    </a:lnTo>
                    <a:lnTo>
                      <a:pt x="55" y="196"/>
                    </a:lnTo>
                    <a:lnTo>
                      <a:pt x="56" y="200"/>
                    </a:lnTo>
                    <a:lnTo>
                      <a:pt x="56" y="200"/>
                    </a:lnTo>
                    <a:lnTo>
                      <a:pt x="56" y="203"/>
                    </a:lnTo>
                    <a:lnTo>
                      <a:pt x="62" y="208"/>
                    </a:lnTo>
                    <a:lnTo>
                      <a:pt x="62" y="208"/>
                    </a:lnTo>
                    <a:lnTo>
                      <a:pt x="74" y="213"/>
                    </a:lnTo>
                    <a:lnTo>
                      <a:pt x="78" y="215"/>
                    </a:lnTo>
                    <a:lnTo>
                      <a:pt x="80" y="215"/>
                    </a:lnTo>
                    <a:lnTo>
                      <a:pt x="80" y="215"/>
                    </a:lnTo>
                    <a:lnTo>
                      <a:pt x="81" y="212"/>
                    </a:lnTo>
                    <a:lnTo>
                      <a:pt x="82" y="210"/>
                    </a:lnTo>
                    <a:lnTo>
                      <a:pt x="85" y="210"/>
                    </a:lnTo>
                    <a:lnTo>
                      <a:pt x="85" y="210"/>
                    </a:lnTo>
                    <a:lnTo>
                      <a:pt x="90" y="212"/>
                    </a:lnTo>
                    <a:lnTo>
                      <a:pt x="91" y="212"/>
                    </a:lnTo>
                    <a:lnTo>
                      <a:pt x="93" y="210"/>
                    </a:lnTo>
                    <a:lnTo>
                      <a:pt x="93" y="210"/>
                    </a:lnTo>
                    <a:lnTo>
                      <a:pt x="96" y="202"/>
                    </a:lnTo>
                    <a:lnTo>
                      <a:pt x="97" y="196"/>
                    </a:lnTo>
                    <a:lnTo>
                      <a:pt x="100" y="192"/>
                    </a:lnTo>
                    <a:lnTo>
                      <a:pt x="100" y="192"/>
                    </a:lnTo>
                    <a:lnTo>
                      <a:pt x="103" y="186"/>
                    </a:lnTo>
                    <a:lnTo>
                      <a:pt x="106" y="176"/>
                    </a:lnTo>
                    <a:lnTo>
                      <a:pt x="106" y="168"/>
                    </a:lnTo>
                    <a:lnTo>
                      <a:pt x="106" y="166"/>
                    </a:lnTo>
                    <a:lnTo>
                      <a:pt x="106" y="166"/>
                    </a:lnTo>
                    <a:lnTo>
                      <a:pt x="104" y="167"/>
                    </a:lnTo>
                    <a:lnTo>
                      <a:pt x="103" y="170"/>
                    </a:lnTo>
                    <a:lnTo>
                      <a:pt x="103" y="174"/>
                    </a:lnTo>
                    <a:lnTo>
                      <a:pt x="101" y="177"/>
                    </a:lnTo>
                    <a:lnTo>
                      <a:pt x="101" y="177"/>
                    </a:lnTo>
                    <a:lnTo>
                      <a:pt x="94" y="190"/>
                    </a:lnTo>
                    <a:lnTo>
                      <a:pt x="90" y="197"/>
                    </a:lnTo>
                    <a:lnTo>
                      <a:pt x="88" y="200"/>
                    </a:lnTo>
                    <a:lnTo>
                      <a:pt x="85" y="202"/>
                    </a:lnTo>
                    <a:lnTo>
                      <a:pt x="85" y="202"/>
                    </a:lnTo>
                    <a:lnTo>
                      <a:pt x="80" y="200"/>
                    </a:lnTo>
                    <a:lnTo>
                      <a:pt x="77" y="199"/>
                    </a:lnTo>
                    <a:lnTo>
                      <a:pt x="74" y="197"/>
                    </a:lnTo>
                    <a:lnTo>
                      <a:pt x="74" y="197"/>
                    </a:lnTo>
                    <a:lnTo>
                      <a:pt x="71" y="193"/>
                    </a:lnTo>
                    <a:lnTo>
                      <a:pt x="69" y="192"/>
                    </a:lnTo>
                    <a:lnTo>
                      <a:pt x="69" y="192"/>
                    </a:lnTo>
                    <a:lnTo>
                      <a:pt x="67" y="190"/>
                    </a:lnTo>
                    <a:lnTo>
                      <a:pt x="65" y="187"/>
                    </a:lnTo>
                    <a:lnTo>
                      <a:pt x="64" y="182"/>
                    </a:lnTo>
                    <a:lnTo>
                      <a:pt x="64" y="182"/>
                    </a:lnTo>
                    <a:lnTo>
                      <a:pt x="62" y="177"/>
                    </a:lnTo>
                    <a:lnTo>
                      <a:pt x="61" y="173"/>
                    </a:lnTo>
                    <a:lnTo>
                      <a:pt x="58" y="170"/>
                    </a:lnTo>
                    <a:lnTo>
                      <a:pt x="58" y="170"/>
                    </a:lnTo>
                    <a:lnTo>
                      <a:pt x="58" y="168"/>
                    </a:lnTo>
                    <a:lnTo>
                      <a:pt x="59" y="167"/>
                    </a:lnTo>
                    <a:lnTo>
                      <a:pt x="64" y="167"/>
                    </a:lnTo>
                    <a:lnTo>
                      <a:pt x="65" y="166"/>
                    </a:lnTo>
                    <a:lnTo>
                      <a:pt x="65" y="166"/>
                    </a:lnTo>
                    <a:lnTo>
                      <a:pt x="68" y="160"/>
                    </a:lnTo>
                    <a:lnTo>
                      <a:pt x="71" y="157"/>
                    </a:lnTo>
                    <a:lnTo>
                      <a:pt x="71" y="157"/>
                    </a:lnTo>
                    <a:lnTo>
                      <a:pt x="74" y="157"/>
                    </a:lnTo>
                    <a:lnTo>
                      <a:pt x="77" y="157"/>
                    </a:lnTo>
                    <a:lnTo>
                      <a:pt x="80" y="157"/>
                    </a:lnTo>
                    <a:lnTo>
                      <a:pt x="80" y="155"/>
                    </a:lnTo>
                    <a:lnTo>
                      <a:pt x="80" y="155"/>
                    </a:lnTo>
                    <a:lnTo>
                      <a:pt x="78" y="153"/>
                    </a:lnTo>
                    <a:lnTo>
                      <a:pt x="77" y="153"/>
                    </a:lnTo>
                    <a:lnTo>
                      <a:pt x="72" y="150"/>
                    </a:lnTo>
                    <a:lnTo>
                      <a:pt x="72" y="150"/>
                    </a:lnTo>
                    <a:lnTo>
                      <a:pt x="72" y="148"/>
                    </a:lnTo>
                    <a:lnTo>
                      <a:pt x="72" y="145"/>
                    </a:lnTo>
                    <a:lnTo>
                      <a:pt x="72" y="141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69" y="141"/>
                    </a:lnTo>
                    <a:lnTo>
                      <a:pt x="68" y="144"/>
                    </a:lnTo>
                    <a:lnTo>
                      <a:pt x="64" y="151"/>
                    </a:lnTo>
                    <a:lnTo>
                      <a:pt x="64" y="151"/>
                    </a:lnTo>
                    <a:lnTo>
                      <a:pt x="61" y="155"/>
                    </a:lnTo>
                    <a:lnTo>
                      <a:pt x="58" y="160"/>
                    </a:lnTo>
                    <a:lnTo>
                      <a:pt x="54" y="161"/>
                    </a:lnTo>
                    <a:lnTo>
                      <a:pt x="51" y="161"/>
                    </a:lnTo>
                    <a:lnTo>
                      <a:pt x="51" y="161"/>
                    </a:lnTo>
                    <a:lnTo>
                      <a:pt x="49" y="161"/>
                    </a:lnTo>
                    <a:lnTo>
                      <a:pt x="49" y="158"/>
                    </a:lnTo>
                    <a:lnTo>
                      <a:pt x="51" y="154"/>
                    </a:lnTo>
                    <a:lnTo>
                      <a:pt x="51" y="154"/>
                    </a:lnTo>
                    <a:lnTo>
                      <a:pt x="52" y="151"/>
                    </a:lnTo>
                    <a:lnTo>
                      <a:pt x="54" y="147"/>
                    </a:lnTo>
                    <a:lnTo>
                      <a:pt x="54" y="144"/>
                    </a:lnTo>
                    <a:lnTo>
                      <a:pt x="52" y="144"/>
                    </a:lnTo>
                    <a:lnTo>
                      <a:pt x="52" y="144"/>
                    </a:lnTo>
                    <a:lnTo>
                      <a:pt x="52" y="144"/>
                    </a:lnTo>
                    <a:lnTo>
                      <a:pt x="48" y="151"/>
                    </a:lnTo>
                    <a:lnTo>
                      <a:pt x="45" y="154"/>
                    </a:lnTo>
                    <a:lnTo>
                      <a:pt x="42" y="155"/>
                    </a:lnTo>
                    <a:lnTo>
                      <a:pt x="42" y="155"/>
                    </a:lnTo>
                    <a:lnTo>
                      <a:pt x="33" y="157"/>
                    </a:lnTo>
                    <a:lnTo>
                      <a:pt x="29" y="157"/>
                    </a:lnTo>
                    <a:lnTo>
                      <a:pt x="29" y="155"/>
                    </a:lnTo>
                    <a:lnTo>
                      <a:pt x="29" y="155"/>
                    </a:lnTo>
                    <a:lnTo>
                      <a:pt x="29" y="155"/>
                    </a:lnTo>
                    <a:lnTo>
                      <a:pt x="30" y="153"/>
                    </a:lnTo>
                    <a:lnTo>
                      <a:pt x="32" y="153"/>
                    </a:lnTo>
                    <a:lnTo>
                      <a:pt x="33" y="151"/>
                    </a:lnTo>
                    <a:lnTo>
                      <a:pt x="33" y="148"/>
                    </a:lnTo>
                    <a:lnTo>
                      <a:pt x="33" y="148"/>
                    </a:lnTo>
                    <a:lnTo>
                      <a:pt x="32" y="142"/>
                    </a:lnTo>
                    <a:lnTo>
                      <a:pt x="30" y="138"/>
                    </a:lnTo>
                    <a:lnTo>
                      <a:pt x="30" y="138"/>
                    </a:lnTo>
                    <a:lnTo>
                      <a:pt x="29" y="135"/>
                    </a:lnTo>
                    <a:lnTo>
                      <a:pt x="29" y="132"/>
                    </a:lnTo>
                    <a:lnTo>
                      <a:pt x="30" y="129"/>
                    </a:lnTo>
                    <a:lnTo>
                      <a:pt x="33" y="128"/>
                    </a:lnTo>
                    <a:lnTo>
                      <a:pt x="33" y="128"/>
                    </a:lnTo>
                    <a:lnTo>
                      <a:pt x="36" y="125"/>
                    </a:lnTo>
                    <a:lnTo>
                      <a:pt x="36" y="121"/>
                    </a:lnTo>
                    <a:lnTo>
                      <a:pt x="38" y="115"/>
                    </a:lnTo>
                    <a:lnTo>
                      <a:pt x="38" y="115"/>
                    </a:lnTo>
                    <a:lnTo>
                      <a:pt x="39" y="108"/>
                    </a:lnTo>
                    <a:lnTo>
                      <a:pt x="40" y="105"/>
                    </a:lnTo>
                    <a:lnTo>
                      <a:pt x="43" y="103"/>
                    </a:lnTo>
                    <a:lnTo>
                      <a:pt x="43" y="103"/>
                    </a:lnTo>
                    <a:lnTo>
                      <a:pt x="52" y="102"/>
                    </a:lnTo>
                    <a:lnTo>
                      <a:pt x="58" y="102"/>
                    </a:lnTo>
                    <a:lnTo>
                      <a:pt x="61" y="100"/>
                    </a:lnTo>
                    <a:lnTo>
                      <a:pt x="61" y="100"/>
                    </a:lnTo>
                    <a:lnTo>
                      <a:pt x="64" y="95"/>
                    </a:lnTo>
                    <a:lnTo>
                      <a:pt x="65" y="93"/>
                    </a:lnTo>
                    <a:lnTo>
                      <a:pt x="67" y="95"/>
                    </a:lnTo>
                    <a:lnTo>
                      <a:pt x="67" y="95"/>
                    </a:lnTo>
                    <a:lnTo>
                      <a:pt x="72" y="99"/>
                    </a:lnTo>
                    <a:lnTo>
                      <a:pt x="75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84" y="102"/>
                    </a:lnTo>
                    <a:lnTo>
                      <a:pt x="88" y="103"/>
                    </a:lnTo>
                    <a:lnTo>
                      <a:pt x="91" y="105"/>
                    </a:lnTo>
                    <a:lnTo>
                      <a:pt x="91" y="105"/>
                    </a:lnTo>
                    <a:lnTo>
                      <a:pt x="101" y="116"/>
                    </a:lnTo>
                    <a:lnTo>
                      <a:pt x="107" y="121"/>
                    </a:lnTo>
                    <a:lnTo>
                      <a:pt x="109" y="122"/>
                    </a:lnTo>
                    <a:lnTo>
                      <a:pt x="110" y="122"/>
                    </a:lnTo>
                    <a:lnTo>
                      <a:pt x="110" y="122"/>
                    </a:lnTo>
                    <a:lnTo>
                      <a:pt x="109" y="118"/>
                    </a:lnTo>
                    <a:lnTo>
                      <a:pt x="109" y="116"/>
                    </a:lnTo>
                    <a:lnTo>
                      <a:pt x="110" y="115"/>
                    </a:lnTo>
                    <a:lnTo>
                      <a:pt x="110" y="115"/>
                    </a:lnTo>
                    <a:lnTo>
                      <a:pt x="111" y="113"/>
                    </a:lnTo>
                    <a:lnTo>
                      <a:pt x="109" y="111"/>
                    </a:lnTo>
                    <a:lnTo>
                      <a:pt x="109" y="111"/>
                    </a:lnTo>
                    <a:lnTo>
                      <a:pt x="100" y="105"/>
                    </a:lnTo>
                    <a:lnTo>
                      <a:pt x="98" y="103"/>
                    </a:lnTo>
                    <a:lnTo>
                      <a:pt x="98" y="102"/>
                    </a:lnTo>
                    <a:lnTo>
                      <a:pt x="98" y="102"/>
                    </a:lnTo>
                    <a:lnTo>
                      <a:pt x="98" y="102"/>
                    </a:lnTo>
                    <a:lnTo>
                      <a:pt x="110" y="103"/>
                    </a:lnTo>
                    <a:lnTo>
                      <a:pt x="116" y="103"/>
                    </a:lnTo>
                    <a:lnTo>
                      <a:pt x="119" y="102"/>
                    </a:lnTo>
                    <a:lnTo>
                      <a:pt x="119" y="102"/>
                    </a:lnTo>
                    <a:lnTo>
                      <a:pt x="122" y="95"/>
                    </a:lnTo>
                    <a:lnTo>
                      <a:pt x="122" y="90"/>
                    </a:lnTo>
                    <a:lnTo>
                      <a:pt x="122" y="89"/>
                    </a:lnTo>
                    <a:lnTo>
                      <a:pt x="122" y="89"/>
                    </a:lnTo>
                    <a:lnTo>
                      <a:pt x="119" y="90"/>
                    </a:lnTo>
                    <a:lnTo>
                      <a:pt x="117" y="93"/>
                    </a:lnTo>
                    <a:lnTo>
                      <a:pt x="113" y="95"/>
                    </a:lnTo>
                    <a:lnTo>
                      <a:pt x="109" y="96"/>
                    </a:lnTo>
                    <a:lnTo>
                      <a:pt x="109" y="96"/>
                    </a:lnTo>
                    <a:lnTo>
                      <a:pt x="101" y="96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82" y="92"/>
                    </a:lnTo>
                    <a:lnTo>
                      <a:pt x="78" y="90"/>
                    </a:lnTo>
                    <a:lnTo>
                      <a:pt x="75" y="87"/>
                    </a:lnTo>
                    <a:lnTo>
                      <a:pt x="75" y="87"/>
                    </a:lnTo>
                    <a:lnTo>
                      <a:pt x="72" y="83"/>
                    </a:lnTo>
                    <a:lnTo>
                      <a:pt x="71" y="82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4" y="79"/>
                    </a:lnTo>
                    <a:lnTo>
                      <a:pt x="77" y="79"/>
                    </a:lnTo>
                    <a:lnTo>
                      <a:pt x="80" y="80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87" y="87"/>
                    </a:lnTo>
                    <a:lnTo>
                      <a:pt x="90" y="87"/>
                    </a:lnTo>
                    <a:lnTo>
                      <a:pt x="90" y="87"/>
                    </a:lnTo>
                    <a:lnTo>
                      <a:pt x="90" y="87"/>
                    </a:lnTo>
                    <a:lnTo>
                      <a:pt x="90" y="83"/>
                    </a:lnTo>
                    <a:lnTo>
                      <a:pt x="88" y="77"/>
                    </a:lnTo>
                    <a:lnTo>
                      <a:pt x="82" y="70"/>
                    </a:lnTo>
                    <a:lnTo>
                      <a:pt x="82" y="70"/>
                    </a:lnTo>
                    <a:lnTo>
                      <a:pt x="80" y="69"/>
                    </a:lnTo>
                    <a:lnTo>
                      <a:pt x="78" y="67"/>
                    </a:lnTo>
                    <a:lnTo>
                      <a:pt x="77" y="63"/>
                    </a:lnTo>
                    <a:lnTo>
                      <a:pt x="77" y="63"/>
                    </a:lnTo>
                    <a:lnTo>
                      <a:pt x="77" y="55"/>
                    </a:lnTo>
                    <a:lnTo>
                      <a:pt x="77" y="53"/>
                    </a:lnTo>
                    <a:lnTo>
                      <a:pt x="74" y="50"/>
                    </a:lnTo>
                    <a:lnTo>
                      <a:pt x="74" y="50"/>
                    </a:lnTo>
                    <a:lnTo>
                      <a:pt x="72" y="45"/>
                    </a:lnTo>
                    <a:lnTo>
                      <a:pt x="69" y="40"/>
                    </a:lnTo>
                    <a:lnTo>
                      <a:pt x="68" y="35"/>
                    </a:lnTo>
                    <a:lnTo>
                      <a:pt x="65" y="32"/>
                    </a:lnTo>
                    <a:lnTo>
                      <a:pt x="65" y="32"/>
                    </a:lnTo>
                    <a:lnTo>
                      <a:pt x="56" y="27"/>
                    </a:lnTo>
                    <a:lnTo>
                      <a:pt x="51" y="24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5" y="9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93" name="Freeform 1444"/>
              <p:cNvSpPr>
                <a:spLocks/>
              </p:cNvSpPr>
              <p:nvPr/>
            </p:nvSpPr>
            <p:spPr bwMode="auto">
              <a:xfrm>
                <a:off x="2972367" y="1124939"/>
                <a:ext cx="283918" cy="292821"/>
              </a:xfrm>
              <a:custGeom>
                <a:avLst/>
                <a:gdLst>
                  <a:gd name="T0" fmla="*/ 284 w 287"/>
                  <a:gd name="T1" fmla="*/ 18 h 296"/>
                  <a:gd name="T2" fmla="*/ 248 w 287"/>
                  <a:gd name="T3" fmla="*/ 21 h 296"/>
                  <a:gd name="T4" fmla="*/ 239 w 287"/>
                  <a:gd name="T5" fmla="*/ 25 h 296"/>
                  <a:gd name="T6" fmla="*/ 236 w 287"/>
                  <a:gd name="T7" fmla="*/ 47 h 296"/>
                  <a:gd name="T8" fmla="*/ 211 w 287"/>
                  <a:gd name="T9" fmla="*/ 47 h 296"/>
                  <a:gd name="T10" fmla="*/ 210 w 287"/>
                  <a:gd name="T11" fmla="*/ 53 h 296"/>
                  <a:gd name="T12" fmla="*/ 191 w 287"/>
                  <a:gd name="T13" fmla="*/ 57 h 296"/>
                  <a:gd name="T14" fmla="*/ 198 w 287"/>
                  <a:gd name="T15" fmla="*/ 63 h 296"/>
                  <a:gd name="T16" fmla="*/ 229 w 287"/>
                  <a:gd name="T17" fmla="*/ 71 h 296"/>
                  <a:gd name="T18" fmla="*/ 214 w 287"/>
                  <a:gd name="T19" fmla="*/ 76 h 296"/>
                  <a:gd name="T20" fmla="*/ 200 w 287"/>
                  <a:gd name="T21" fmla="*/ 80 h 296"/>
                  <a:gd name="T22" fmla="*/ 181 w 287"/>
                  <a:gd name="T23" fmla="*/ 92 h 296"/>
                  <a:gd name="T24" fmla="*/ 209 w 287"/>
                  <a:gd name="T25" fmla="*/ 93 h 296"/>
                  <a:gd name="T26" fmla="*/ 229 w 287"/>
                  <a:gd name="T27" fmla="*/ 111 h 296"/>
                  <a:gd name="T28" fmla="*/ 203 w 287"/>
                  <a:gd name="T29" fmla="*/ 122 h 296"/>
                  <a:gd name="T30" fmla="*/ 217 w 287"/>
                  <a:gd name="T31" fmla="*/ 145 h 296"/>
                  <a:gd name="T32" fmla="*/ 213 w 287"/>
                  <a:gd name="T33" fmla="*/ 157 h 296"/>
                  <a:gd name="T34" fmla="*/ 201 w 287"/>
                  <a:gd name="T35" fmla="*/ 173 h 296"/>
                  <a:gd name="T36" fmla="*/ 178 w 287"/>
                  <a:gd name="T37" fmla="*/ 189 h 296"/>
                  <a:gd name="T38" fmla="*/ 175 w 287"/>
                  <a:gd name="T39" fmla="*/ 215 h 296"/>
                  <a:gd name="T40" fmla="*/ 122 w 287"/>
                  <a:gd name="T41" fmla="*/ 205 h 296"/>
                  <a:gd name="T42" fmla="*/ 119 w 287"/>
                  <a:gd name="T43" fmla="*/ 222 h 296"/>
                  <a:gd name="T44" fmla="*/ 140 w 287"/>
                  <a:gd name="T45" fmla="*/ 222 h 296"/>
                  <a:gd name="T46" fmla="*/ 159 w 287"/>
                  <a:gd name="T47" fmla="*/ 229 h 296"/>
                  <a:gd name="T48" fmla="*/ 172 w 287"/>
                  <a:gd name="T49" fmla="*/ 241 h 296"/>
                  <a:gd name="T50" fmla="*/ 180 w 287"/>
                  <a:gd name="T51" fmla="*/ 260 h 296"/>
                  <a:gd name="T52" fmla="*/ 142 w 287"/>
                  <a:gd name="T53" fmla="*/ 293 h 296"/>
                  <a:gd name="T54" fmla="*/ 119 w 287"/>
                  <a:gd name="T55" fmla="*/ 271 h 296"/>
                  <a:gd name="T56" fmla="*/ 114 w 287"/>
                  <a:gd name="T57" fmla="*/ 277 h 296"/>
                  <a:gd name="T58" fmla="*/ 98 w 287"/>
                  <a:gd name="T59" fmla="*/ 264 h 296"/>
                  <a:gd name="T60" fmla="*/ 81 w 287"/>
                  <a:gd name="T61" fmla="*/ 261 h 296"/>
                  <a:gd name="T62" fmla="*/ 68 w 287"/>
                  <a:gd name="T63" fmla="*/ 268 h 296"/>
                  <a:gd name="T64" fmla="*/ 64 w 287"/>
                  <a:gd name="T65" fmla="*/ 289 h 296"/>
                  <a:gd name="T66" fmla="*/ 49 w 287"/>
                  <a:gd name="T67" fmla="*/ 261 h 296"/>
                  <a:gd name="T68" fmla="*/ 36 w 287"/>
                  <a:gd name="T69" fmla="*/ 258 h 296"/>
                  <a:gd name="T70" fmla="*/ 20 w 287"/>
                  <a:gd name="T71" fmla="*/ 261 h 296"/>
                  <a:gd name="T72" fmla="*/ 10 w 287"/>
                  <a:gd name="T73" fmla="*/ 276 h 296"/>
                  <a:gd name="T74" fmla="*/ 1 w 287"/>
                  <a:gd name="T75" fmla="*/ 258 h 296"/>
                  <a:gd name="T76" fmla="*/ 29 w 287"/>
                  <a:gd name="T77" fmla="*/ 232 h 296"/>
                  <a:gd name="T78" fmla="*/ 33 w 287"/>
                  <a:gd name="T79" fmla="*/ 216 h 296"/>
                  <a:gd name="T80" fmla="*/ 16 w 287"/>
                  <a:gd name="T81" fmla="*/ 190 h 296"/>
                  <a:gd name="T82" fmla="*/ 46 w 287"/>
                  <a:gd name="T83" fmla="*/ 179 h 296"/>
                  <a:gd name="T84" fmla="*/ 81 w 287"/>
                  <a:gd name="T85" fmla="*/ 212 h 296"/>
                  <a:gd name="T86" fmla="*/ 103 w 287"/>
                  <a:gd name="T87" fmla="*/ 186 h 296"/>
                  <a:gd name="T88" fmla="*/ 88 w 287"/>
                  <a:gd name="T89" fmla="*/ 200 h 296"/>
                  <a:gd name="T90" fmla="*/ 64 w 287"/>
                  <a:gd name="T91" fmla="*/ 182 h 296"/>
                  <a:gd name="T92" fmla="*/ 71 w 287"/>
                  <a:gd name="T93" fmla="*/ 157 h 296"/>
                  <a:gd name="T94" fmla="*/ 72 w 287"/>
                  <a:gd name="T95" fmla="*/ 145 h 296"/>
                  <a:gd name="T96" fmla="*/ 51 w 287"/>
                  <a:gd name="T97" fmla="*/ 161 h 296"/>
                  <a:gd name="T98" fmla="*/ 45 w 287"/>
                  <a:gd name="T99" fmla="*/ 154 h 296"/>
                  <a:gd name="T100" fmla="*/ 33 w 287"/>
                  <a:gd name="T101" fmla="*/ 148 h 296"/>
                  <a:gd name="T102" fmla="*/ 38 w 287"/>
                  <a:gd name="T103" fmla="*/ 115 h 296"/>
                  <a:gd name="T104" fmla="*/ 67 w 287"/>
                  <a:gd name="T105" fmla="*/ 95 h 296"/>
                  <a:gd name="T106" fmla="*/ 110 w 287"/>
                  <a:gd name="T107" fmla="*/ 122 h 296"/>
                  <a:gd name="T108" fmla="*/ 98 w 287"/>
                  <a:gd name="T109" fmla="*/ 102 h 296"/>
                  <a:gd name="T110" fmla="*/ 113 w 287"/>
                  <a:gd name="T111" fmla="*/ 95 h 296"/>
                  <a:gd name="T112" fmla="*/ 72 w 287"/>
                  <a:gd name="T113" fmla="*/ 80 h 296"/>
                  <a:gd name="T114" fmla="*/ 88 w 287"/>
                  <a:gd name="T115" fmla="*/ 77 h 296"/>
                  <a:gd name="T116" fmla="*/ 69 w 287"/>
                  <a:gd name="T117" fmla="*/ 4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87" h="296">
                    <a:moveTo>
                      <a:pt x="45" y="0"/>
                    </a:moveTo>
                    <a:lnTo>
                      <a:pt x="287" y="0"/>
                    </a:lnTo>
                    <a:lnTo>
                      <a:pt x="287" y="0"/>
                    </a:lnTo>
                    <a:lnTo>
                      <a:pt x="279" y="8"/>
                    </a:lnTo>
                    <a:lnTo>
                      <a:pt x="277" y="12"/>
                    </a:lnTo>
                    <a:lnTo>
                      <a:pt x="275" y="13"/>
                    </a:lnTo>
                    <a:lnTo>
                      <a:pt x="277" y="13"/>
                    </a:lnTo>
                    <a:lnTo>
                      <a:pt x="277" y="13"/>
                    </a:lnTo>
                    <a:lnTo>
                      <a:pt x="281" y="15"/>
                    </a:lnTo>
                    <a:lnTo>
                      <a:pt x="282" y="16"/>
                    </a:lnTo>
                    <a:lnTo>
                      <a:pt x="284" y="18"/>
                    </a:lnTo>
                    <a:lnTo>
                      <a:pt x="284" y="18"/>
                    </a:lnTo>
                    <a:lnTo>
                      <a:pt x="282" y="21"/>
                    </a:lnTo>
                    <a:lnTo>
                      <a:pt x="281" y="25"/>
                    </a:lnTo>
                    <a:lnTo>
                      <a:pt x="278" y="28"/>
                    </a:lnTo>
                    <a:lnTo>
                      <a:pt x="274" y="29"/>
                    </a:lnTo>
                    <a:lnTo>
                      <a:pt x="274" y="29"/>
                    </a:lnTo>
                    <a:lnTo>
                      <a:pt x="265" y="29"/>
                    </a:lnTo>
                    <a:lnTo>
                      <a:pt x="261" y="29"/>
                    </a:lnTo>
                    <a:lnTo>
                      <a:pt x="256" y="29"/>
                    </a:lnTo>
                    <a:lnTo>
                      <a:pt x="256" y="29"/>
                    </a:lnTo>
                    <a:lnTo>
                      <a:pt x="252" y="25"/>
                    </a:lnTo>
                    <a:lnTo>
                      <a:pt x="248" y="21"/>
                    </a:lnTo>
                    <a:lnTo>
                      <a:pt x="248" y="21"/>
                    </a:lnTo>
                    <a:lnTo>
                      <a:pt x="242" y="16"/>
                    </a:lnTo>
                    <a:lnTo>
                      <a:pt x="237" y="13"/>
                    </a:lnTo>
                    <a:lnTo>
                      <a:pt x="237" y="13"/>
                    </a:lnTo>
                    <a:lnTo>
                      <a:pt x="230" y="16"/>
                    </a:lnTo>
                    <a:lnTo>
                      <a:pt x="230" y="16"/>
                    </a:lnTo>
                    <a:lnTo>
                      <a:pt x="229" y="18"/>
                    </a:lnTo>
                    <a:lnTo>
                      <a:pt x="229" y="19"/>
                    </a:lnTo>
                    <a:lnTo>
                      <a:pt x="232" y="21"/>
                    </a:lnTo>
                    <a:lnTo>
                      <a:pt x="232" y="21"/>
                    </a:lnTo>
                    <a:lnTo>
                      <a:pt x="236" y="21"/>
                    </a:lnTo>
                    <a:lnTo>
                      <a:pt x="239" y="25"/>
                    </a:lnTo>
                    <a:lnTo>
                      <a:pt x="239" y="25"/>
                    </a:lnTo>
                    <a:lnTo>
                      <a:pt x="246" y="35"/>
                    </a:lnTo>
                    <a:lnTo>
                      <a:pt x="249" y="40"/>
                    </a:lnTo>
                    <a:lnTo>
                      <a:pt x="251" y="41"/>
                    </a:lnTo>
                    <a:lnTo>
                      <a:pt x="249" y="42"/>
                    </a:lnTo>
                    <a:lnTo>
                      <a:pt x="249" y="42"/>
                    </a:lnTo>
                    <a:lnTo>
                      <a:pt x="248" y="41"/>
                    </a:lnTo>
                    <a:lnTo>
                      <a:pt x="245" y="40"/>
                    </a:lnTo>
                    <a:lnTo>
                      <a:pt x="242" y="40"/>
                    </a:lnTo>
                    <a:lnTo>
                      <a:pt x="239" y="40"/>
                    </a:lnTo>
                    <a:lnTo>
                      <a:pt x="239" y="40"/>
                    </a:lnTo>
                    <a:lnTo>
                      <a:pt x="237" y="44"/>
                    </a:lnTo>
                    <a:lnTo>
                      <a:pt x="236" y="47"/>
                    </a:lnTo>
                    <a:lnTo>
                      <a:pt x="235" y="48"/>
                    </a:lnTo>
                    <a:lnTo>
                      <a:pt x="235" y="48"/>
                    </a:lnTo>
                    <a:lnTo>
                      <a:pt x="230" y="47"/>
                    </a:lnTo>
                    <a:lnTo>
                      <a:pt x="227" y="47"/>
                    </a:lnTo>
                    <a:lnTo>
                      <a:pt x="226" y="47"/>
                    </a:lnTo>
                    <a:lnTo>
                      <a:pt x="226" y="47"/>
                    </a:lnTo>
                    <a:lnTo>
                      <a:pt x="223" y="51"/>
                    </a:lnTo>
                    <a:lnTo>
                      <a:pt x="219" y="54"/>
                    </a:lnTo>
                    <a:lnTo>
                      <a:pt x="219" y="54"/>
                    </a:lnTo>
                    <a:lnTo>
                      <a:pt x="217" y="53"/>
                    </a:lnTo>
                    <a:lnTo>
                      <a:pt x="214" y="50"/>
                    </a:lnTo>
                    <a:lnTo>
                      <a:pt x="211" y="47"/>
                    </a:lnTo>
                    <a:lnTo>
                      <a:pt x="209" y="44"/>
                    </a:lnTo>
                    <a:lnTo>
                      <a:pt x="209" y="44"/>
                    </a:lnTo>
                    <a:lnTo>
                      <a:pt x="198" y="42"/>
                    </a:lnTo>
                    <a:lnTo>
                      <a:pt x="194" y="42"/>
                    </a:lnTo>
                    <a:lnTo>
                      <a:pt x="194" y="44"/>
                    </a:lnTo>
                    <a:lnTo>
                      <a:pt x="194" y="44"/>
                    </a:lnTo>
                    <a:lnTo>
                      <a:pt x="194" y="44"/>
                    </a:lnTo>
                    <a:lnTo>
                      <a:pt x="197" y="47"/>
                    </a:lnTo>
                    <a:lnTo>
                      <a:pt x="203" y="50"/>
                    </a:lnTo>
                    <a:lnTo>
                      <a:pt x="207" y="51"/>
                    </a:lnTo>
                    <a:lnTo>
                      <a:pt x="210" y="53"/>
                    </a:lnTo>
                    <a:lnTo>
                      <a:pt x="210" y="53"/>
                    </a:lnTo>
                    <a:lnTo>
                      <a:pt x="207" y="55"/>
                    </a:lnTo>
                    <a:lnTo>
                      <a:pt x="201" y="57"/>
                    </a:lnTo>
                    <a:lnTo>
                      <a:pt x="201" y="57"/>
                    </a:lnTo>
                    <a:lnTo>
                      <a:pt x="198" y="55"/>
                    </a:lnTo>
                    <a:lnTo>
                      <a:pt x="195" y="53"/>
                    </a:lnTo>
                    <a:lnTo>
                      <a:pt x="194" y="50"/>
                    </a:lnTo>
                    <a:lnTo>
                      <a:pt x="191" y="50"/>
                    </a:lnTo>
                    <a:lnTo>
                      <a:pt x="191" y="50"/>
                    </a:lnTo>
                    <a:lnTo>
                      <a:pt x="191" y="51"/>
                    </a:lnTo>
                    <a:lnTo>
                      <a:pt x="191" y="53"/>
                    </a:lnTo>
                    <a:lnTo>
                      <a:pt x="191" y="55"/>
                    </a:lnTo>
                    <a:lnTo>
                      <a:pt x="191" y="57"/>
                    </a:lnTo>
                    <a:lnTo>
                      <a:pt x="191" y="57"/>
                    </a:lnTo>
                    <a:lnTo>
                      <a:pt x="190" y="57"/>
                    </a:lnTo>
                    <a:lnTo>
                      <a:pt x="188" y="57"/>
                    </a:lnTo>
                    <a:lnTo>
                      <a:pt x="185" y="55"/>
                    </a:lnTo>
                    <a:lnTo>
                      <a:pt x="184" y="57"/>
                    </a:lnTo>
                    <a:lnTo>
                      <a:pt x="184" y="57"/>
                    </a:lnTo>
                    <a:lnTo>
                      <a:pt x="182" y="58"/>
                    </a:lnTo>
                    <a:lnTo>
                      <a:pt x="184" y="60"/>
                    </a:lnTo>
                    <a:lnTo>
                      <a:pt x="185" y="63"/>
                    </a:lnTo>
                    <a:lnTo>
                      <a:pt x="188" y="63"/>
                    </a:lnTo>
                    <a:lnTo>
                      <a:pt x="188" y="63"/>
                    </a:lnTo>
                    <a:lnTo>
                      <a:pt x="198" y="63"/>
                    </a:lnTo>
                    <a:lnTo>
                      <a:pt x="210" y="63"/>
                    </a:lnTo>
                    <a:lnTo>
                      <a:pt x="210" y="63"/>
                    </a:lnTo>
                    <a:lnTo>
                      <a:pt x="214" y="66"/>
                    </a:lnTo>
                    <a:lnTo>
                      <a:pt x="220" y="67"/>
                    </a:lnTo>
                    <a:lnTo>
                      <a:pt x="220" y="67"/>
                    </a:lnTo>
                    <a:lnTo>
                      <a:pt x="230" y="66"/>
                    </a:lnTo>
                    <a:lnTo>
                      <a:pt x="233" y="66"/>
                    </a:lnTo>
                    <a:lnTo>
                      <a:pt x="233" y="66"/>
                    </a:lnTo>
                    <a:lnTo>
                      <a:pt x="233" y="67"/>
                    </a:lnTo>
                    <a:lnTo>
                      <a:pt x="233" y="67"/>
                    </a:lnTo>
                    <a:lnTo>
                      <a:pt x="229" y="70"/>
                    </a:lnTo>
                    <a:lnTo>
                      <a:pt x="229" y="71"/>
                    </a:lnTo>
                    <a:lnTo>
                      <a:pt x="230" y="74"/>
                    </a:lnTo>
                    <a:lnTo>
                      <a:pt x="230" y="74"/>
                    </a:lnTo>
                    <a:lnTo>
                      <a:pt x="235" y="79"/>
                    </a:lnTo>
                    <a:lnTo>
                      <a:pt x="235" y="80"/>
                    </a:lnTo>
                    <a:lnTo>
                      <a:pt x="233" y="82"/>
                    </a:lnTo>
                    <a:lnTo>
                      <a:pt x="233" y="82"/>
                    </a:lnTo>
                    <a:lnTo>
                      <a:pt x="223" y="82"/>
                    </a:lnTo>
                    <a:lnTo>
                      <a:pt x="220" y="82"/>
                    </a:lnTo>
                    <a:lnTo>
                      <a:pt x="217" y="80"/>
                    </a:lnTo>
                    <a:lnTo>
                      <a:pt x="217" y="80"/>
                    </a:lnTo>
                    <a:lnTo>
                      <a:pt x="216" y="79"/>
                    </a:lnTo>
                    <a:lnTo>
                      <a:pt x="214" y="76"/>
                    </a:lnTo>
                    <a:lnTo>
                      <a:pt x="213" y="73"/>
                    </a:lnTo>
                    <a:lnTo>
                      <a:pt x="211" y="70"/>
                    </a:lnTo>
                    <a:lnTo>
                      <a:pt x="211" y="70"/>
                    </a:lnTo>
                    <a:lnTo>
                      <a:pt x="203" y="70"/>
                    </a:lnTo>
                    <a:lnTo>
                      <a:pt x="197" y="70"/>
                    </a:lnTo>
                    <a:lnTo>
                      <a:pt x="197" y="70"/>
                    </a:lnTo>
                    <a:lnTo>
                      <a:pt x="203" y="73"/>
                    </a:lnTo>
                    <a:lnTo>
                      <a:pt x="206" y="76"/>
                    </a:lnTo>
                    <a:lnTo>
                      <a:pt x="207" y="77"/>
                    </a:lnTo>
                    <a:lnTo>
                      <a:pt x="207" y="77"/>
                    </a:lnTo>
                    <a:lnTo>
                      <a:pt x="204" y="79"/>
                    </a:lnTo>
                    <a:lnTo>
                      <a:pt x="200" y="80"/>
                    </a:lnTo>
                    <a:lnTo>
                      <a:pt x="191" y="82"/>
                    </a:lnTo>
                    <a:lnTo>
                      <a:pt x="191" y="82"/>
                    </a:lnTo>
                    <a:lnTo>
                      <a:pt x="184" y="82"/>
                    </a:lnTo>
                    <a:lnTo>
                      <a:pt x="181" y="82"/>
                    </a:lnTo>
                    <a:lnTo>
                      <a:pt x="181" y="82"/>
                    </a:lnTo>
                    <a:lnTo>
                      <a:pt x="181" y="83"/>
                    </a:lnTo>
                    <a:lnTo>
                      <a:pt x="181" y="83"/>
                    </a:lnTo>
                    <a:lnTo>
                      <a:pt x="182" y="84"/>
                    </a:lnTo>
                    <a:lnTo>
                      <a:pt x="182" y="87"/>
                    </a:lnTo>
                    <a:lnTo>
                      <a:pt x="182" y="87"/>
                    </a:lnTo>
                    <a:lnTo>
                      <a:pt x="181" y="90"/>
                    </a:lnTo>
                    <a:lnTo>
                      <a:pt x="181" y="92"/>
                    </a:lnTo>
                    <a:lnTo>
                      <a:pt x="182" y="92"/>
                    </a:lnTo>
                    <a:lnTo>
                      <a:pt x="182" y="92"/>
                    </a:lnTo>
                    <a:lnTo>
                      <a:pt x="188" y="89"/>
                    </a:lnTo>
                    <a:lnTo>
                      <a:pt x="191" y="87"/>
                    </a:lnTo>
                    <a:lnTo>
                      <a:pt x="195" y="87"/>
                    </a:lnTo>
                    <a:lnTo>
                      <a:pt x="195" y="87"/>
                    </a:lnTo>
                    <a:lnTo>
                      <a:pt x="207" y="86"/>
                    </a:lnTo>
                    <a:lnTo>
                      <a:pt x="211" y="86"/>
                    </a:lnTo>
                    <a:lnTo>
                      <a:pt x="213" y="87"/>
                    </a:lnTo>
                    <a:lnTo>
                      <a:pt x="213" y="87"/>
                    </a:lnTo>
                    <a:lnTo>
                      <a:pt x="213" y="87"/>
                    </a:lnTo>
                    <a:lnTo>
                      <a:pt x="209" y="93"/>
                    </a:lnTo>
                    <a:lnTo>
                      <a:pt x="207" y="95"/>
                    </a:lnTo>
                    <a:lnTo>
                      <a:pt x="207" y="96"/>
                    </a:lnTo>
                    <a:lnTo>
                      <a:pt x="207" y="96"/>
                    </a:lnTo>
                    <a:lnTo>
                      <a:pt x="217" y="96"/>
                    </a:lnTo>
                    <a:lnTo>
                      <a:pt x="223" y="96"/>
                    </a:lnTo>
                    <a:lnTo>
                      <a:pt x="226" y="97"/>
                    </a:lnTo>
                    <a:lnTo>
                      <a:pt x="226" y="97"/>
                    </a:lnTo>
                    <a:lnTo>
                      <a:pt x="230" y="103"/>
                    </a:lnTo>
                    <a:lnTo>
                      <a:pt x="232" y="106"/>
                    </a:lnTo>
                    <a:lnTo>
                      <a:pt x="232" y="108"/>
                    </a:lnTo>
                    <a:lnTo>
                      <a:pt x="232" y="108"/>
                    </a:lnTo>
                    <a:lnTo>
                      <a:pt x="229" y="111"/>
                    </a:lnTo>
                    <a:lnTo>
                      <a:pt x="227" y="113"/>
                    </a:lnTo>
                    <a:lnTo>
                      <a:pt x="227" y="115"/>
                    </a:lnTo>
                    <a:lnTo>
                      <a:pt x="227" y="115"/>
                    </a:lnTo>
                    <a:lnTo>
                      <a:pt x="230" y="119"/>
                    </a:lnTo>
                    <a:lnTo>
                      <a:pt x="230" y="121"/>
                    </a:lnTo>
                    <a:lnTo>
                      <a:pt x="229" y="122"/>
                    </a:lnTo>
                    <a:lnTo>
                      <a:pt x="229" y="122"/>
                    </a:lnTo>
                    <a:lnTo>
                      <a:pt x="223" y="124"/>
                    </a:lnTo>
                    <a:lnTo>
                      <a:pt x="217" y="124"/>
                    </a:lnTo>
                    <a:lnTo>
                      <a:pt x="217" y="124"/>
                    </a:lnTo>
                    <a:lnTo>
                      <a:pt x="207" y="122"/>
                    </a:lnTo>
                    <a:lnTo>
                      <a:pt x="203" y="122"/>
                    </a:lnTo>
                    <a:lnTo>
                      <a:pt x="203" y="124"/>
                    </a:lnTo>
                    <a:lnTo>
                      <a:pt x="203" y="125"/>
                    </a:lnTo>
                    <a:lnTo>
                      <a:pt x="203" y="125"/>
                    </a:lnTo>
                    <a:lnTo>
                      <a:pt x="209" y="128"/>
                    </a:lnTo>
                    <a:lnTo>
                      <a:pt x="216" y="131"/>
                    </a:lnTo>
                    <a:lnTo>
                      <a:pt x="216" y="131"/>
                    </a:lnTo>
                    <a:lnTo>
                      <a:pt x="219" y="134"/>
                    </a:lnTo>
                    <a:lnTo>
                      <a:pt x="222" y="135"/>
                    </a:lnTo>
                    <a:lnTo>
                      <a:pt x="223" y="138"/>
                    </a:lnTo>
                    <a:lnTo>
                      <a:pt x="222" y="140"/>
                    </a:lnTo>
                    <a:lnTo>
                      <a:pt x="222" y="140"/>
                    </a:lnTo>
                    <a:lnTo>
                      <a:pt x="217" y="145"/>
                    </a:lnTo>
                    <a:lnTo>
                      <a:pt x="216" y="148"/>
                    </a:lnTo>
                    <a:lnTo>
                      <a:pt x="214" y="150"/>
                    </a:lnTo>
                    <a:lnTo>
                      <a:pt x="214" y="150"/>
                    </a:lnTo>
                    <a:lnTo>
                      <a:pt x="206" y="148"/>
                    </a:lnTo>
                    <a:lnTo>
                      <a:pt x="201" y="148"/>
                    </a:lnTo>
                    <a:lnTo>
                      <a:pt x="200" y="150"/>
                    </a:lnTo>
                    <a:lnTo>
                      <a:pt x="200" y="150"/>
                    </a:lnTo>
                    <a:lnTo>
                      <a:pt x="203" y="154"/>
                    </a:lnTo>
                    <a:lnTo>
                      <a:pt x="206" y="157"/>
                    </a:lnTo>
                    <a:lnTo>
                      <a:pt x="209" y="158"/>
                    </a:lnTo>
                    <a:lnTo>
                      <a:pt x="209" y="158"/>
                    </a:lnTo>
                    <a:lnTo>
                      <a:pt x="213" y="157"/>
                    </a:lnTo>
                    <a:lnTo>
                      <a:pt x="214" y="158"/>
                    </a:lnTo>
                    <a:lnTo>
                      <a:pt x="214" y="160"/>
                    </a:lnTo>
                    <a:lnTo>
                      <a:pt x="214" y="160"/>
                    </a:lnTo>
                    <a:lnTo>
                      <a:pt x="213" y="166"/>
                    </a:lnTo>
                    <a:lnTo>
                      <a:pt x="213" y="168"/>
                    </a:lnTo>
                    <a:lnTo>
                      <a:pt x="211" y="168"/>
                    </a:lnTo>
                    <a:lnTo>
                      <a:pt x="211" y="168"/>
                    </a:lnTo>
                    <a:lnTo>
                      <a:pt x="209" y="167"/>
                    </a:lnTo>
                    <a:lnTo>
                      <a:pt x="207" y="167"/>
                    </a:lnTo>
                    <a:lnTo>
                      <a:pt x="206" y="167"/>
                    </a:lnTo>
                    <a:lnTo>
                      <a:pt x="206" y="167"/>
                    </a:lnTo>
                    <a:lnTo>
                      <a:pt x="201" y="173"/>
                    </a:lnTo>
                    <a:lnTo>
                      <a:pt x="200" y="174"/>
                    </a:lnTo>
                    <a:lnTo>
                      <a:pt x="197" y="176"/>
                    </a:lnTo>
                    <a:lnTo>
                      <a:pt x="197" y="176"/>
                    </a:lnTo>
                    <a:lnTo>
                      <a:pt x="185" y="171"/>
                    </a:lnTo>
                    <a:lnTo>
                      <a:pt x="178" y="170"/>
                    </a:lnTo>
                    <a:lnTo>
                      <a:pt x="175" y="168"/>
                    </a:lnTo>
                    <a:lnTo>
                      <a:pt x="175" y="168"/>
                    </a:lnTo>
                    <a:lnTo>
                      <a:pt x="175" y="174"/>
                    </a:lnTo>
                    <a:lnTo>
                      <a:pt x="177" y="182"/>
                    </a:lnTo>
                    <a:lnTo>
                      <a:pt x="177" y="182"/>
                    </a:lnTo>
                    <a:lnTo>
                      <a:pt x="178" y="184"/>
                    </a:lnTo>
                    <a:lnTo>
                      <a:pt x="178" y="189"/>
                    </a:lnTo>
                    <a:lnTo>
                      <a:pt x="180" y="192"/>
                    </a:lnTo>
                    <a:lnTo>
                      <a:pt x="180" y="193"/>
                    </a:lnTo>
                    <a:lnTo>
                      <a:pt x="180" y="193"/>
                    </a:lnTo>
                    <a:lnTo>
                      <a:pt x="181" y="195"/>
                    </a:lnTo>
                    <a:lnTo>
                      <a:pt x="181" y="196"/>
                    </a:lnTo>
                    <a:lnTo>
                      <a:pt x="181" y="197"/>
                    </a:lnTo>
                    <a:lnTo>
                      <a:pt x="181" y="197"/>
                    </a:lnTo>
                    <a:lnTo>
                      <a:pt x="180" y="200"/>
                    </a:lnTo>
                    <a:lnTo>
                      <a:pt x="180" y="203"/>
                    </a:lnTo>
                    <a:lnTo>
                      <a:pt x="180" y="203"/>
                    </a:lnTo>
                    <a:lnTo>
                      <a:pt x="178" y="210"/>
                    </a:lnTo>
                    <a:lnTo>
                      <a:pt x="175" y="215"/>
                    </a:lnTo>
                    <a:lnTo>
                      <a:pt x="172" y="216"/>
                    </a:lnTo>
                    <a:lnTo>
                      <a:pt x="172" y="216"/>
                    </a:lnTo>
                    <a:lnTo>
                      <a:pt x="161" y="219"/>
                    </a:lnTo>
                    <a:lnTo>
                      <a:pt x="161" y="219"/>
                    </a:lnTo>
                    <a:lnTo>
                      <a:pt x="149" y="219"/>
                    </a:lnTo>
                    <a:lnTo>
                      <a:pt x="140" y="219"/>
                    </a:lnTo>
                    <a:lnTo>
                      <a:pt x="136" y="218"/>
                    </a:lnTo>
                    <a:lnTo>
                      <a:pt x="136" y="218"/>
                    </a:lnTo>
                    <a:lnTo>
                      <a:pt x="127" y="209"/>
                    </a:lnTo>
                    <a:lnTo>
                      <a:pt x="123" y="206"/>
                    </a:lnTo>
                    <a:lnTo>
                      <a:pt x="122" y="205"/>
                    </a:lnTo>
                    <a:lnTo>
                      <a:pt x="122" y="205"/>
                    </a:lnTo>
                    <a:lnTo>
                      <a:pt x="122" y="205"/>
                    </a:lnTo>
                    <a:lnTo>
                      <a:pt x="119" y="208"/>
                    </a:lnTo>
                    <a:lnTo>
                      <a:pt x="119" y="208"/>
                    </a:lnTo>
                    <a:lnTo>
                      <a:pt x="122" y="209"/>
                    </a:lnTo>
                    <a:lnTo>
                      <a:pt x="122" y="209"/>
                    </a:lnTo>
                    <a:lnTo>
                      <a:pt x="123" y="212"/>
                    </a:lnTo>
                    <a:lnTo>
                      <a:pt x="126" y="215"/>
                    </a:lnTo>
                    <a:lnTo>
                      <a:pt x="126" y="218"/>
                    </a:lnTo>
                    <a:lnTo>
                      <a:pt x="126" y="218"/>
                    </a:lnTo>
                    <a:lnTo>
                      <a:pt x="123" y="221"/>
                    </a:lnTo>
                    <a:lnTo>
                      <a:pt x="119" y="222"/>
                    </a:lnTo>
                    <a:lnTo>
                      <a:pt x="119" y="222"/>
                    </a:lnTo>
                    <a:lnTo>
                      <a:pt x="117" y="224"/>
                    </a:lnTo>
                    <a:lnTo>
                      <a:pt x="117" y="228"/>
                    </a:lnTo>
                    <a:lnTo>
                      <a:pt x="117" y="232"/>
                    </a:lnTo>
                    <a:lnTo>
                      <a:pt x="117" y="234"/>
                    </a:lnTo>
                    <a:lnTo>
                      <a:pt x="119" y="234"/>
                    </a:lnTo>
                    <a:lnTo>
                      <a:pt x="119" y="234"/>
                    </a:lnTo>
                    <a:lnTo>
                      <a:pt x="126" y="226"/>
                    </a:lnTo>
                    <a:lnTo>
                      <a:pt x="130" y="222"/>
                    </a:lnTo>
                    <a:lnTo>
                      <a:pt x="133" y="221"/>
                    </a:lnTo>
                    <a:lnTo>
                      <a:pt x="133" y="221"/>
                    </a:lnTo>
                    <a:lnTo>
                      <a:pt x="139" y="222"/>
                    </a:lnTo>
                    <a:lnTo>
                      <a:pt x="140" y="222"/>
                    </a:lnTo>
                    <a:lnTo>
                      <a:pt x="140" y="225"/>
                    </a:lnTo>
                    <a:lnTo>
                      <a:pt x="140" y="225"/>
                    </a:lnTo>
                    <a:lnTo>
                      <a:pt x="140" y="228"/>
                    </a:lnTo>
                    <a:lnTo>
                      <a:pt x="139" y="231"/>
                    </a:lnTo>
                    <a:lnTo>
                      <a:pt x="139" y="232"/>
                    </a:lnTo>
                    <a:lnTo>
                      <a:pt x="142" y="231"/>
                    </a:lnTo>
                    <a:lnTo>
                      <a:pt x="142" y="231"/>
                    </a:lnTo>
                    <a:lnTo>
                      <a:pt x="149" y="228"/>
                    </a:lnTo>
                    <a:lnTo>
                      <a:pt x="155" y="226"/>
                    </a:lnTo>
                    <a:lnTo>
                      <a:pt x="155" y="226"/>
                    </a:lnTo>
                    <a:lnTo>
                      <a:pt x="158" y="226"/>
                    </a:lnTo>
                    <a:lnTo>
                      <a:pt x="159" y="229"/>
                    </a:lnTo>
                    <a:lnTo>
                      <a:pt x="161" y="232"/>
                    </a:lnTo>
                    <a:lnTo>
                      <a:pt x="161" y="234"/>
                    </a:lnTo>
                    <a:lnTo>
                      <a:pt x="161" y="234"/>
                    </a:lnTo>
                    <a:lnTo>
                      <a:pt x="156" y="237"/>
                    </a:lnTo>
                    <a:lnTo>
                      <a:pt x="156" y="239"/>
                    </a:lnTo>
                    <a:lnTo>
                      <a:pt x="158" y="241"/>
                    </a:lnTo>
                    <a:lnTo>
                      <a:pt x="158" y="241"/>
                    </a:lnTo>
                    <a:lnTo>
                      <a:pt x="162" y="244"/>
                    </a:lnTo>
                    <a:lnTo>
                      <a:pt x="164" y="245"/>
                    </a:lnTo>
                    <a:lnTo>
                      <a:pt x="166" y="245"/>
                    </a:lnTo>
                    <a:lnTo>
                      <a:pt x="166" y="245"/>
                    </a:lnTo>
                    <a:lnTo>
                      <a:pt x="172" y="241"/>
                    </a:lnTo>
                    <a:lnTo>
                      <a:pt x="177" y="239"/>
                    </a:lnTo>
                    <a:lnTo>
                      <a:pt x="180" y="241"/>
                    </a:lnTo>
                    <a:lnTo>
                      <a:pt x="180" y="241"/>
                    </a:lnTo>
                    <a:lnTo>
                      <a:pt x="181" y="245"/>
                    </a:lnTo>
                    <a:lnTo>
                      <a:pt x="181" y="250"/>
                    </a:lnTo>
                    <a:lnTo>
                      <a:pt x="181" y="250"/>
                    </a:lnTo>
                    <a:lnTo>
                      <a:pt x="182" y="252"/>
                    </a:lnTo>
                    <a:lnTo>
                      <a:pt x="184" y="254"/>
                    </a:lnTo>
                    <a:lnTo>
                      <a:pt x="185" y="257"/>
                    </a:lnTo>
                    <a:lnTo>
                      <a:pt x="182" y="258"/>
                    </a:lnTo>
                    <a:lnTo>
                      <a:pt x="182" y="258"/>
                    </a:lnTo>
                    <a:lnTo>
                      <a:pt x="180" y="260"/>
                    </a:lnTo>
                    <a:lnTo>
                      <a:pt x="177" y="264"/>
                    </a:lnTo>
                    <a:lnTo>
                      <a:pt x="175" y="270"/>
                    </a:lnTo>
                    <a:lnTo>
                      <a:pt x="175" y="270"/>
                    </a:lnTo>
                    <a:lnTo>
                      <a:pt x="174" y="276"/>
                    </a:lnTo>
                    <a:lnTo>
                      <a:pt x="174" y="279"/>
                    </a:lnTo>
                    <a:lnTo>
                      <a:pt x="171" y="281"/>
                    </a:lnTo>
                    <a:lnTo>
                      <a:pt x="171" y="281"/>
                    </a:lnTo>
                    <a:lnTo>
                      <a:pt x="161" y="290"/>
                    </a:lnTo>
                    <a:lnTo>
                      <a:pt x="153" y="294"/>
                    </a:lnTo>
                    <a:lnTo>
                      <a:pt x="149" y="296"/>
                    </a:lnTo>
                    <a:lnTo>
                      <a:pt x="149" y="296"/>
                    </a:lnTo>
                    <a:lnTo>
                      <a:pt x="142" y="293"/>
                    </a:lnTo>
                    <a:lnTo>
                      <a:pt x="133" y="290"/>
                    </a:lnTo>
                    <a:lnTo>
                      <a:pt x="133" y="290"/>
                    </a:lnTo>
                    <a:lnTo>
                      <a:pt x="132" y="287"/>
                    </a:lnTo>
                    <a:lnTo>
                      <a:pt x="133" y="283"/>
                    </a:lnTo>
                    <a:lnTo>
                      <a:pt x="133" y="279"/>
                    </a:lnTo>
                    <a:lnTo>
                      <a:pt x="133" y="276"/>
                    </a:lnTo>
                    <a:lnTo>
                      <a:pt x="133" y="276"/>
                    </a:lnTo>
                    <a:lnTo>
                      <a:pt x="130" y="271"/>
                    </a:lnTo>
                    <a:lnTo>
                      <a:pt x="126" y="270"/>
                    </a:lnTo>
                    <a:lnTo>
                      <a:pt x="126" y="270"/>
                    </a:lnTo>
                    <a:lnTo>
                      <a:pt x="122" y="271"/>
                    </a:lnTo>
                    <a:lnTo>
                      <a:pt x="119" y="271"/>
                    </a:lnTo>
                    <a:lnTo>
                      <a:pt x="117" y="268"/>
                    </a:lnTo>
                    <a:lnTo>
                      <a:pt x="117" y="268"/>
                    </a:lnTo>
                    <a:lnTo>
                      <a:pt x="116" y="266"/>
                    </a:lnTo>
                    <a:lnTo>
                      <a:pt x="114" y="261"/>
                    </a:lnTo>
                    <a:lnTo>
                      <a:pt x="113" y="258"/>
                    </a:lnTo>
                    <a:lnTo>
                      <a:pt x="110" y="258"/>
                    </a:lnTo>
                    <a:lnTo>
                      <a:pt x="110" y="258"/>
                    </a:lnTo>
                    <a:lnTo>
                      <a:pt x="110" y="260"/>
                    </a:lnTo>
                    <a:lnTo>
                      <a:pt x="110" y="261"/>
                    </a:lnTo>
                    <a:lnTo>
                      <a:pt x="111" y="268"/>
                    </a:lnTo>
                    <a:lnTo>
                      <a:pt x="114" y="274"/>
                    </a:lnTo>
                    <a:lnTo>
                      <a:pt x="114" y="277"/>
                    </a:lnTo>
                    <a:lnTo>
                      <a:pt x="114" y="277"/>
                    </a:lnTo>
                    <a:lnTo>
                      <a:pt x="114" y="277"/>
                    </a:lnTo>
                    <a:lnTo>
                      <a:pt x="109" y="279"/>
                    </a:lnTo>
                    <a:lnTo>
                      <a:pt x="106" y="279"/>
                    </a:lnTo>
                    <a:lnTo>
                      <a:pt x="103" y="277"/>
                    </a:lnTo>
                    <a:lnTo>
                      <a:pt x="103" y="277"/>
                    </a:lnTo>
                    <a:lnTo>
                      <a:pt x="101" y="274"/>
                    </a:lnTo>
                    <a:lnTo>
                      <a:pt x="101" y="268"/>
                    </a:lnTo>
                    <a:lnTo>
                      <a:pt x="100" y="264"/>
                    </a:lnTo>
                    <a:lnTo>
                      <a:pt x="100" y="264"/>
                    </a:lnTo>
                    <a:lnTo>
                      <a:pt x="98" y="264"/>
                    </a:lnTo>
                    <a:lnTo>
                      <a:pt x="98" y="264"/>
                    </a:lnTo>
                    <a:lnTo>
                      <a:pt x="97" y="266"/>
                    </a:lnTo>
                    <a:lnTo>
                      <a:pt x="97" y="268"/>
                    </a:lnTo>
                    <a:lnTo>
                      <a:pt x="96" y="273"/>
                    </a:lnTo>
                    <a:lnTo>
                      <a:pt x="94" y="274"/>
                    </a:lnTo>
                    <a:lnTo>
                      <a:pt x="94" y="274"/>
                    </a:lnTo>
                    <a:lnTo>
                      <a:pt x="88" y="274"/>
                    </a:lnTo>
                    <a:lnTo>
                      <a:pt x="87" y="273"/>
                    </a:lnTo>
                    <a:lnTo>
                      <a:pt x="85" y="271"/>
                    </a:lnTo>
                    <a:lnTo>
                      <a:pt x="85" y="271"/>
                    </a:lnTo>
                    <a:lnTo>
                      <a:pt x="84" y="264"/>
                    </a:lnTo>
                    <a:lnTo>
                      <a:pt x="81" y="261"/>
                    </a:lnTo>
                    <a:lnTo>
                      <a:pt x="81" y="261"/>
                    </a:lnTo>
                    <a:lnTo>
                      <a:pt x="80" y="261"/>
                    </a:lnTo>
                    <a:lnTo>
                      <a:pt x="80" y="261"/>
                    </a:lnTo>
                    <a:lnTo>
                      <a:pt x="80" y="264"/>
                    </a:lnTo>
                    <a:lnTo>
                      <a:pt x="78" y="268"/>
                    </a:lnTo>
                    <a:lnTo>
                      <a:pt x="78" y="271"/>
                    </a:lnTo>
                    <a:lnTo>
                      <a:pt x="77" y="273"/>
                    </a:lnTo>
                    <a:lnTo>
                      <a:pt x="77" y="273"/>
                    </a:lnTo>
                    <a:lnTo>
                      <a:pt x="75" y="271"/>
                    </a:lnTo>
                    <a:lnTo>
                      <a:pt x="72" y="270"/>
                    </a:lnTo>
                    <a:lnTo>
                      <a:pt x="71" y="268"/>
                    </a:lnTo>
                    <a:lnTo>
                      <a:pt x="68" y="268"/>
                    </a:lnTo>
                    <a:lnTo>
                      <a:pt x="68" y="268"/>
                    </a:lnTo>
                    <a:lnTo>
                      <a:pt x="67" y="271"/>
                    </a:lnTo>
                    <a:lnTo>
                      <a:pt x="67" y="274"/>
                    </a:lnTo>
                    <a:lnTo>
                      <a:pt x="67" y="277"/>
                    </a:lnTo>
                    <a:lnTo>
                      <a:pt x="68" y="279"/>
                    </a:lnTo>
                    <a:lnTo>
                      <a:pt x="68" y="279"/>
                    </a:lnTo>
                    <a:lnTo>
                      <a:pt x="72" y="280"/>
                    </a:lnTo>
                    <a:lnTo>
                      <a:pt x="74" y="281"/>
                    </a:lnTo>
                    <a:lnTo>
                      <a:pt x="74" y="284"/>
                    </a:lnTo>
                    <a:lnTo>
                      <a:pt x="74" y="284"/>
                    </a:lnTo>
                    <a:lnTo>
                      <a:pt x="69" y="289"/>
                    </a:lnTo>
                    <a:lnTo>
                      <a:pt x="68" y="289"/>
                    </a:lnTo>
                    <a:lnTo>
                      <a:pt x="64" y="289"/>
                    </a:lnTo>
                    <a:lnTo>
                      <a:pt x="64" y="289"/>
                    </a:lnTo>
                    <a:lnTo>
                      <a:pt x="59" y="286"/>
                    </a:lnTo>
                    <a:lnTo>
                      <a:pt x="54" y="283"/>
                    </a:lnTo>
                    <a:lnTo>
                      <a:pt x="54" y="283"/>
                    </a:lnTo>
                    <a:lnTo>
                      <a:pt x="52" y="281"/>
                    </a:lnTo>
                    <a:lnTo>
                      <a:pt x="51" y="279"/>
                    </a:lnTo>
                    <a:lnTo>
                      <a:pt x="51" y="273"/>
                    </a:lnTo>
                    <a:lnTo>
                      <a:pt x="51" y="273"/>
                    </a:lnTo>
                    <a:lnTo>
                      <a:pt x="51" y="266"/>
                    </a:lnTo>
                    <a:lnTo>
                      <a:pt x="49" y="263"/>
                    </a:lnTo>
                    <a:lnTo>
                      <a:pt x="49" y="261"/>
                    </a:lnTo>
                    <a:lnTo>
                      <a:pt x="49" y="261"/>
                    </a:lnTo>
                    <a:lnTo>
                      <a:pt x="46" y="270"/>
                    </a:lnTo>
                    <a:lnTo>
                      <a:pt x="45" y="276"/>
                    </a:lnTo>
                    <a:lnTo>
                      <a:pt x="43" y="279"/>
                    </a:lnTo>
                    <a:lnTo>
                      <a:pt x="43" y="279"/>
                    </a:lnTo>
                    <a:lnTo>
                      <a:pt x="39" y="276"/>
                    </a:lnTo>
                    <a:lnTo>
                      <a:pt x="38" y="274"/>
                    </a:lnTo>
                    <a:lnTo>
                      <a:pt x="36" y="271"/>
                    </a:lnTo>
                    <a:lnTo>
                      <a:pt x="36" y="271"/>
                    </a:lnTo>
                    <a:lnTo>
                      <a:pt x="38" y="263"/>
                    </a:lnTo>
                    <a:lnTo>
                      <a:pt x="38" y="260"/>
                    </a:lnTo>
                    <a:lnTo>
                      <a:pt x="36" y="258"/>
                    </a:lnTo>
                    <a:lnTo>
                      <a:pt x="36" y="258"/>
                    </a:lnTo>
                    <a:lnTo>
                      <a:pt x="35" y="263"/>
                    </a:lnTo>
                    <a:lnTo>
                      <a:pt x="33" y="268"/>
                    </a:lnTo>
                    <a:lnTo>
                      <a:pt x="32" y="276"/>
                    </a:lnTo>
                    <a:lnTo>
                      <a:pt x="30" y="277"/>
                    </a:lnTo>
                    <a:lnTo>
                      <a:pt x="29" y="279"/>
                    </a:lnTo>
                    <a:lnTo>
                      <a:pt x="29" y="279"/>
                    </a:lnTo>
                    <a:lnTo>
                      <a:pt x="26" y="279"/>
                    </a:lnTo>
                    <a:lnTo>
                      <a:pt x="23" y="276"/>
                    </a:lnTo>
                    <a:lnTo>
                      <a:pt x="20" y="274"/>
                    </a:lnTo>
                    <a:lnTo>
                      <a:pt x="20" y="270"/>
                    </a:lnTo>
                    <a:lnTo>
                      <a:pt x="20" y="270"/>
                    </a:lnTo>
                    <a:lnTo>
                      <a:pt x="20" y="261"/>
                    </a:lnTo>
                    <a:lnTo>
                      <a:pt x="19" y="257"/>
                    </a:lnTo>
                    <a:lnTo>
                      <a:pt x="17" y="257"/>
                    </a:lnTo>
                    <a:lnTo>
                      <a:pt x="16" y="257"/>
                    </a:lnTo>
                    <a:lnTo>
                      <a:pt x="16" y="257"/>
                    </a:lnTo>
                    <a:lnTo>
                      <a:pt x="13" y="258"/>
                    </a:lnTo>
                    <a:lnTo>
                      <a:pt x="13" y="261"/>
                    </a:lnTo>
                    <a:lnTo>
                      <a:pt x="13" y="263"/>
                    </a:lnTo>
                    <a:lnTo>
                      <a:pt x="13" y="266"/>
                    </a:lnTo>
                    <a:lnTo>
                      <a:pt x="13" y="266"/>
                    </a:lnTo>
                    <a:lnTo>
                      <a:pt x="12" y="267"/>
                    </a:lnTo>
                    <a:lnTo>
                      <a:pt x="12" y="271"/>
                    </a:lnTo>
                    <a:lnTo>
                      <a:pt x="10" y="276"/>
                    </a:lnTo>
                    <a:lnTo>
                      <a:pt x="10" y="276"/>
                    </a:lnTo>
                    <a:lnTo>
                      <a:pt x="9" y="276"/>
                    </a:lnTo>
                    <a:lnTo>
                      <a:pt x="9" y="276"/>
                    </a:lnTo>
                    <a:lnTo>
                      <a:pt x="7" y="276"/>
                    </a:lnTo>
                    <a:lnTo>
                      <a:pt x="6" y="274"/>
                    </a:lnTo>
                    <a:lnTo>
                      <a:pt x="3" y="270"/>
                    </a:lnTo>
                    <a:lnTo>
                      <a:pt x="3" y="270"/>
                    </a:lnTo>
                    <a:lnTo>
                      <a:pt x="1" y="267"/>
                    </a:lnTo>
                    <a:lnTo>
                      <a:pt x="1" y="264"/>
                    </a:lnTo>
                    <a:lnTo>
                      <a:pt x="1" y="261"/>
                    </a:lnTo>
                    <a:lnTo>
                      <a:pt x="1" y="258"/>
                    </a:lnTo>
                    <a:lnTo>
                      <a:pt x="1" y="258"/>
                    </a:lnTo>
                    <a:lnTo>
                      <a:pt x="0" y="251"/>
                    </a:lnTo>
                    <a:lnTo>
                      <a:pt x="1" y="248"/>
                    </a:lnTo>
                    <a:lnTo>
                      <a:pt x="1" y="247"/>
                    </a:lnTo>
                    <a:lnTo>
                      <a:pt x="1" y="247"/>
                    </a:lnTo>
                    <a:lnTo>
                      <a:pt x="10" y="239"/>
                    </a:lnTo>
                    <a:lnTo>
                      <a:pt x="16" y="235"/>
                    </a:lnTo>
                    <a:lnTo>
                      <a:pt x="20" y="232"/>
                    </a:lnTo>
                    <a:lnTo>
                      <a:pt x="20" y="232"/>
                    </a:lnTo>
                    <a:lnTo>
                      <a:pt x="23" y="232"/>
                    </a:lnTo>
                    <a:lnTo>
                      <a:pt x="25" y="234"/>
                    </a:lnTo>
                    <a:lnTo>
                      <a:pt x="27" y="234"/>
                    </a:lnTo>
                    <a:lnTo>
                      <a:pt x="29" y="232"/>
                    </a:lnTo>
                    <a:lnTo>
                      <a:pt x="29" y="232"/>
                    </a:lnTo>
                    <a:lnTo>
                      <a:pt x="35" y="228"/>
                    </a:lnTo>
                    <a:lnTo>
                      <a:pt x="36" y="225"/>
                    </a:lnTo>
                    <a:lnTo>
                      <a:pt x="35" y="222"/>
                    </a:lnTo>
                    <a:lnTo>
                      <a:pt x="35" y="222"/>
                    </a:lnTo>
                    <a:lnTo>
                      <a:pt x="35" y="219"/>
                    </a:lnTo>
                    <a:lnTo>
                      <a:pt x="36" y="218"/>
                    </a:lnTo>
                    <a:lnTo>
                      <a:pt x="38" y="216"/>
                    </a:lnTo>
                    <a:lnTo>
                      <a:pt x="38" y="215"/>
                    </a:lnTo>
                    <a:lnTo>
                      <a:pt x="38" y="215"/>
                    </a:lnTo>
                    <a:lnTo>
                      <a:pt x="35" y="215"/>
                    </a:lnTo>
                    <a:lnTo>
                      <a:pt x="33" y="216"/>
                    </a:lnTo>
                    <a:lnTo>
                      <a:pt x="30" y="218"/>
                    </a:lnTo>
                    <a:lnTo>
                      <a:pt x="29" y="216"/>
                    </a:lnTo>
                    <a:lnTo>
                      <a:pt x="29" y="216"/>
                    </a:lnTo>
                    <a:lnTo>
                      <a:pt x="27" y="213"/>
                    </a:lnTo>
                    <a:lnTo>
                      <a:pt x="27" y="210"/>
                    </a:lnTo>
                    <a:lnTo>
                      <a:pt x="27" y="208"/>
                    </a:lnTo>
                    <a:lnTo>
                      <a:pt x="26" y="205"/>
                    </a:lnTo>
                    <a:lnTo>
                      <a:pt x="26" y="205"/>
                    </a:lnTo>
                    <a:lnTo>
                      <a:pt x="20" y="197"/>
                    </a:lnTo>
                    <a:lnTo>
                      <a:pt x="17" y="195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84"/>
                    </a:lnTo>
                    <a:lnTo>
                      <a:pt x="17" y="182"/>
                    </a:lnTo>
                    <a:lnTo>
                      <a:pt x="19" y="180"/>
                    </a:lnTo>
                    <a:lnTo>
                      <a:pt x="19" y="180"/>
                    </a:lnTo>
                    <a:lnTo>
                      <a:pt x="23" y="179"/>
                    </a:lnTo>
                    <a:lnTo>
                      <a:pt x="25" y="177"/>
                    </a:lnTo>
                    <a:lnTo>
                      <a:pt x="27" y="176"/>
                    </a:lnTo>
                    <a:lnTo>
                      <a:pt x="27" y="176"/>
                    </a:lnTo>
                    <a:lnTo>
                      <a:pt x="38" y="176"/>
                    </a:lnTo>
                    <a:lnTo>
                      <a:pt x="43" y="176"/>
                    </a:lnTo>
                    <a:lnTo>
                      <a:pt x="46" y="179"/>
                    </a:lnTo>
                    <a:lnTo>
                      <a:pt x="46" y="179"/>
                    </a:lnTo>
                    <a:lnTo>
                      <a:pt x="52" y="190"/>
                    </a:lnTo>
                    <a:lnTo>
                      <a:pt x="55" y="196"/>
                    </a:lnTo>
                    <a:lnTo>
                      <a:pt x="56" y="200"/>
                    </a:lnTo>
                    <a:lnTo>
                      <a:pt x="56" y="200"/>
                    </a:lnTo>
                    <a:lnTo>
                      <a:pt x="56" y="203"/>
                    </a:lnTo>
                    <a:lnTo>
                      <a:pt x="62" y="208"/>
                    </a:lnTo>
                    <a:lnTo>
                      <a:pt x="62" y="208"/>
                    </a:lnTo>
                    <a:lnTo>
                      <a:pt x="74" y="213"/>
                    </a:lnTo>
                    <a:lnTo>
                      <a:pt x="78" y="215"/>
                    </a:lnTo>
                    <a:lnTo>
                      <a:pt x="80" y="215"/>
                    </a:lnTo>
                    <a:lnTo>
                      <a:pt x="80" y="215"/>
                    </a:lnTo>
                    <a:lnTo>
                      <a:pt x="81" y="212"/>
                    </a:lnTo>
                    <a:lnTo>
                      <a:pt x="82" y="210"/>
                    </a:lnTo>
                    <a:lnTo>
                      <a:pt x="85" y="210"/>
                    </a:lnTo>
                    <a:lnTo>
                      <a:pt x="85" y="210"/>
                    </a:lnTo>
                    <a:lnTo>
                      <a:pt x="90" y="212"/>
                    </a:lnTo>
                    <a:lnTo>
                      <a:pt x="91" y="212"/>
                    </a:lnTo>
                    <a:lnTo>
                      <a:pt x="93" y="210"/>
                    </a:lnTo>
                    <a:lnTo>
                      <a:pt x="93" y="210"/>
                    </a:lnTo>
                    <a:lnTo>
                      <a:pt x="96" y="202"/>
                    </a:lnTo>
                    <a:lnTo>
                      <a:pt x="97" y="196"/>
                    </a:lnTo>
                    <a:lnTo>
                      <a:pt x="100" y="192"/>
                    </a:lnTo>
                    <a:lnTo>
                      <a:pt x="100" y="192"/>
                    </a:lnTo>
                    <a:lnTo>
                      <a:pt x="103" y="186"/>
                    </a:lnTo>
                    <a:lnTo>
                      <a:pt x="106" y="176"/>
                    </a:lnTo>
                    <a:lnTo>
                      <a:pt x="106" y="168"/>
                    </a:lnTo>
                    <a:lnTo>
                      <a:pt x="106" y="166"/>
                    </a:lnTo>
                    <a:lnTo>
                      <a:pt x="106" y="166"/>
                    </a:lnTo>
                    <a:lnTo>
                      <a:pt x="104" y="167"/>
                    </a:lnTo>
                    <a:lnTo>
                      <a:pt x="103" y="170"/>
                    </a:lnTo>
                    <a:lnTo>
                      <a:pt x="103" y="174"/>
                    </a:lnTo>
                    <a:lnTo>
                      <a:pt x="101" y="177"/>
                    </a:lnTo>
                    <a:lnTo>
                      <a:pt x="101" y="177"/>
                    </a:lnTo>
                    <a:lnTo>
                      <a:pt x="94" y="190"/>
                    </a:lnTo>
                    <a:lnTo>
                      <a:pt x="90" y="197"/>
                    </a:lnTo>
                    <a:lnTo>
                      <a:pt x="88" y="200"/>
                    </a:lnTo>
                    <a:lnTo>
                      <a:pt x="85" y="202"/>
                    </a:lnTo>
                    <a:lnTo>
                      <a:pt x="85" y="202"/>
                    </a:lnTo>
                    <a:lnTo>
                      <a:pt x="80" y="200"/>
                    </a:lnTo>
                    <a:lnTo>
                      <a:pt x="77" y="199"/>
                    </a:lnTo>
                    <a:lnTo>
                      <a:pt x="74" y="197"/>
                    </a:lnTo>
                    <a:lnTo>
                      <a:pt x="74" y="197"/>
                    </a:lnTo>
                    <a:lnTo>
                      <a:pt x="71" y="193"/>
                    </a:lnTo>
                    <a:lnTo>
                      <a:pt x="69" y="192"/>
                    </a:lnTo>
                    <a:lnTo>
                      <a:pt x="69" y="192"/>
                    </a:lnTo>
                    <a:lnTo>
                      <a:pt x="67" y="190"/>
                    </a:lnTo>
                    <a:lnTo>
                      <a:pt x="65" y="187"/>
                    </a:lnTo>
                    <a:lnTo>
                      <a:pt x="64" y="182"/>
                    </a:lnTo>
                    <a:lnTo>
                      <a:pt x="64" y="182"/>
                    </a:lnTo>
                    <a:lnTo>
                      <a:pt x="62" y="177"/>
                    </a:lnTo>
                    <a:lnTo>
                      <a:pt x="61" y="173"/>
                    </a:lnTo>
                    <a:lnTo>
                      <a:pt x="58" y="170"/>
                    </a:lnTo>
                    <a:lnTo>
                      <a:pt x="58" y="170"/>
                    </a:lnTo>
                    <a:lnTo>
                      <a:pt x="58" y="168"/>
                    </a:lnTo>
                    <a:lnTo>
                      <a:pt x="59" y="167"/>
                    </a:lnTo>
                    <a:lnTo>
                      <a:pt x="64" y="167"/>
                    </a:lnTo>
                    <a:lnTo>
                      <a:pt x="65" y="166"/>
                    </a:lnTo>
                    <a:lnTo>
                      <a:pt x="65" y="166"/>
                    </a:lnTo>
                    <a:lnTo>
                      <a:pt x="68" y="160"/>
                    </a:lnTo>
                    <a:lnTo>
                      <a:pt x="71" y="157"/>
                    </a:lnTo>
                    <a:lnTo>
                      <a:pt x="71" y="157"/>
                    </a:lnTo>
                    <a:lnTo>
                      <a:pt x="74" y="157"/>
                    </a:lnTo>
                    <a:lnTo>
                      <a:pt x="77" y="157"/>
                    </a:lnTo>
                    <a:lnTo>
                      <a:pt x="80" y="157"/>
                    </a:lnTo>
                    <a:lnTo>
                      <a:pt x="80" y="155"/>
                    </a:lnTo>
                    <a:lnTo>
                      <a:pt x="80" y="155"/>
                    </a:lnTo>
                    <a:lnTo>
                      <a:pt x="78" y="153"/>
                    </a:lnTo>
                    <a:lnTo>
                      <a:pt x="77" y="153"/>
                    </a:lnTo>
                    <a:lnTo>
                      <a:pt x="72" y="150"/>
                    </a:lnTo>
                    <a:lnTo>
                      <a:pt x="72" y="150"/>
                    </a:lnTo>
                    <a:lnTo>
                      <a:pt x="72" y="148"/>
                    </a:lnTo>
                    <a:lnTo>
                      <a:pt x="72" y="145"/>
                    </a:lnTo>
                    <a:lnTo>
                      <a:pt x="72" y="141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69" y="141"/>
                    </a:lnTo>
                    <a:lnTo>
                      <a:pt x="68" y="144"/>
                    </a:lnTo>
                    <a:lnTo>
                      <a:pt x="64" y="151"/>
                    </a:lnTo>
                    <a:lnTo>
                      <a:pt x="64" y="151"/>
                    </a:lnTo>
                    <a:lnTo>
                      <a:pt x="61" y="155"/>
                    </a:lnTo>
                    <a:lnTo>
                      <a:pt x="58" y="160"/>
                    </a:lnTo>
                    <a:lnTo>
                      <a:pt x="54" y="161"/>
                    </a:lnTo>
                    <a:lnTo>
                      <a:pt x="51" y="161"/>
                    </a:lnTo>
                    <a:lnTo>
                      <a:pt x="51" y="161"/>
                    </a:lnTo>
                    <a:lnTo>
                      <a:pt x="49" y="161"/>
                    </a:lnTo>
                    <a:lnTo>
                      <a:pt x="49" y="158"/>
                    </a:lnTo>
                    <a:lnTo>
                      <a:pt x="51" y="154"/>
                    </a:lnTo>
                    <a:lnTo>
                      <a:pt x="51" y="154"/>
                    </a:lnTo>
                    <a:lnTo>
                      <a:pt x="52" y="151"/>
                    </a:lnTo>
                    <a:lnTo>
                      <a:pt x="54" y="147"/>
                    </a:lnTo>
                    <a:lnTo>
                      <a:pt x="54" y="144"/>
                    </a:lnTo>
                    <a:lnTo>
                      <a:pt x="52" y="144"/>
                    </a:lnTo>
                    <a:lnTo>
                      <a:pt x="52" y="144"/>
                    </a:lnTo>
                    <a:lnTo>
                      <a:pt x="52" y="144"/>
                    </a:lnTo>
                    <a:lnTo>
                      <a:pt x="48" y="151"/>
                    </a:lnTo>
                    <a:lnTo>
                      <a:pt x="45" y="154"/>
                    </a:lnTo>
                    <a:lnTo>
                      <a:pt x="42" y="155"/>
                    </a:lnTo>
                    <a:lnTo>
                      <a:pt x="42" y="155"/>
                    </a:lnTo>
                    <a:lnTo>
                      <a:pt x="33" y="157"/>
                    </a:lnTo>
                    <a:lnTo>
                      <a:pt x="29" y="157"/>
                    </a:lnTo>
                    <a:lnTo>
                      <a:pt x="29" y="155"/>
                    </a:lnTo>
                    <a:lnTo>
                      <a:pt x="29" y="155"/>
                    </a:lnTo>
                    <a:lnTo>
                      <a:pt x="29" y="155"/>
                    </a:lnTo>
                    <a:lnTo>
                      <a:pt x="30" y="153"/>
                    </a:lnTo>
                    <a:lnTo>
                      <a:pt x="32" y="153"/>
                    </a:lnTo>
                    <a:lnTo>
                      <a:pt x="33" y="151"/>
                    </a:lnTo>
                    <a:lnTo>
                      <a:pt x="33" y="148"/>
                    </a:lnTo>
                    <a:lnTo>
                      <a:pt x="33" y="148"/>
                    </a:lnTo>
                    <a:lnTo>
                      <a:pt x="32" y="142"/>
                    </a:lnTo>
                    <a:lnTo>
                      <a:pt x="30" y="138"/>
                    </a:lnTo>
                    <a:lnTo>
                      <a:pt x="30" y="138"/>
                    </a:lnTo>
                    <a:lnTo>
                      <a:pt x="29" y="135"/>
                    </a:lnTo>
                    <a:lnTo>
                      <a:pt x="29" y="132"/>
                    </a:lnTo>
                    <a:lnTo>
                      <a:pt x="30" y="129"/>
                    </a:lnTo>
                    <a:lnTo>
                      <a:pt x="33" y="128"/>
                    </a:lnTo>
                    <a:lnTo>
                      <a:pt x="33" y="128"/>
                    </a:lnTo>
                    <a:lnTo>
                      <a:pt x="36" y="125"/>
                    </a:lnTo>
                    <a:lnTo>
                      <a:pt x="36" y="121"/>
                    </a:lnTo>
                    <a:lnTo>
                      <a:pt x="38" y="115"/>
                    </a:lnTo>
                    <a:lnTo>
                      <a:pt x="38" y="115"/>
                    </a:lnTo>
                    <a:lnTo>
                      <a:pt x="39" y="108"/>
                    </a:lnTo>
                    <a:lnTo>
                      <a:pt x="40" y="105"/>
                    </a:lnTo>
                    <a:lnTo>
                      <a:pt x="43" y="103"/>
                    </a:lnTo>
                    <a:lnTo>
                      <a:pt x="43" y="103"/>
                    </a:lnTo>
                    <a:lnTo>
                      <a:pt x="52" y="102"/>
                    </a:lnTo>
                    <a:lnTo>
                      <a:pt x="58" y="102"/>
                    </a:lnTo>
                    <a:lnTo>
                      <a:pt x="61" y="100"/>
                    </a:lnTo>
                    <a:lnTo>
                      <a:pt x="61" y="100"/>
                    </a:lnTo>
                    <a:lnTo>
                      <a:pt x="64" y="95"/>
                    </a:lnTo>
                    <a:lnTo>
                      <a:pt x="65" y="93"/>
                    </a:lnTo>
                    <a:lnTo>
                      <a:pt x="67" y="95"/>
                    </a:lnTo>
                    <a:lnTo>
                      <a:pt x="67" y="95"/>
                    </a:lnTo>
                    <a:lnTo>
                      <a:pt x="72" y="99"/>
                    </a:lnTo>
                    <a:lnTo>
                      <a:pt x="75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84" y="102"/>
                    </a:lnTo>
                    <a:lnTo>
                      <a:pt x="88" y="103"/>
                    </a:lnTo>
                    <a:lnTo>
                      <a:pt x="91" y="105"/>
                    </a:lnTo>
                    <a:lnTo>
                      <a:pt x="91" y="105"/>
                    </a:lnTo>
                    <a:lnTo>
                      <a:pt x="101" y="116"/>
                    </a:lnTo>
                    <a:lnTo>
                      <a:pt x="107" y="121"/>
                    </a:lnTo>
                    <a:lnTo>
                      <a:pt x="109" y="122"/>
                    </a:lnTo>
                    <a:lnTo>
                      <a:pt x="110" y="122"/>
                    </a:lnTo>
                    <a:lnTo>
                      <a:pt x="110" y="122"/>
                    </a:lnTo>
                    <a:lnTo>
                      <a:pt x="109" y="118"/>
                    </a:lnTo>
                    <a:lnTo>
                      <a:pt x="109" y="116"/>
                    </a:lnTo>
                    <a:lnTo>
                      <a:pt x="110" y="115"/>
                    </a:lnTo>
                    <a:lnTo>
                      <a:pt x="110" y="115"/>
                    </a:lnTo>
                    <a:lnTo>
                      <a:pt x="111" y="113"/>
                    </a:lnTo>
                    <a:lnTo>
                      <a:pt x="109" y="111"/>
                    </a:lnTo>
                    <a:lnTo>
                      <a:pt x="109" y="111"/>
                    </a:lnTo>
                    <a:lnTo>
                      <a:pt x="100" y="105"/>
                    </a:lnTo>
                    <a:lnTo>
                      <a:pt x="98" y="103"/>
                    </a:lnTo>
                    <a:lnTo>
                      <a:pt x="98" y="102"/>
                    </a:lnTo>
                    <a:lnTo>
                      <a:pt x="98" y="102"/>
                    </a:lnTo>
                    <a:lnTo>
                      <a:pt x="98" y="102"/>
                    </a:lnTo>
                    <a:lnTo>
                      <a:pt x="110" y="103"/>
                    </a:lnTo>
                    <a:lnTo>
                      <a:pt x="116" y="103"/>
                    </a:lnTo>
                    <a:lnTo>
                      <a:pt x="119" y="102"/>
                    </a:lnTo>
                    <a:lnTo>
                      <a:pt x="119" y="102"/>
                    </a:lnTo>
                    <a:lnTo>
                      <a:pt x="122" y="95"/>
                    </a:lnTo>
                    <a:lnTo>
                      <a:pt x="122" y="90"/>
                    </a:lnTo>
                    <a:lnTo>
                      <a:pt x="122" y="89"/>
                    </a:lnTo>
                    <a:lnTo>
                      <a:pt x="122" y="89"/>
                    </a:lnTo>
                    <a:lnTo>
                      <a:pt x="119" y="90"/>
                    </a:lnTo>
                    <a:lnTo>
                      <a:pt x="117" y="93"/>
                    </a:lnTo>
                    <a:lnTo>
                      <a:pt x="113" y="95"/>
                    </a:lnTo>
                    <a:lnTo>
                      <a:pt x="109" y="96"/>
                    </a:lnTo>
                    <a:lnTo>
                      <a:pt x="109" y="96"/>
                    </a:lnTo>
                    <a:lnTo>
                      <a:pt x="101" y="96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82" y="92"/>
                    </a:lnTo>
                    <a:lnTo>
                      <a:pt x="78" y="90"/>
                    </a:lnTo>
                    <a:lnTo>
                      <a:pt x="75" y="87"/>
                    </a:lnTo>
                    <a:lnTo>
                      <a:pt x="75" y="87"/>
                    </a:lnTo>
                    <a:lnTo>
                      <a:pt x="72" y="83"/>
                    </a:lnTo>
                    <a:lnTo>
                      <a:pt x="71" y="82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4" y="79"/>
                    </a:lnTo>
                    <a:lnTo>
                      <a:pt x="77" y="79"/>
                    </a:lnTo>
                    <a:lnTo>
                      <a:pt x="80" y="80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87" y="87"/>
                    </a:lnTo>
                    <a:lnTo>
                      <a:pt x="90" y="87"/>
                    </a:lnTo>
                    <a:lnTo>
                      <a:pt x="90" y="87"/>
                    </a:lnTo>
                    <a:lnTo>
                      <a:pt x="90" y="87"/>
                    </a:lnTo>
                    <a:lnTo>
                      <a:pt x="90" y="83"/>
                    </a:lnTo>
                    <a:lnTo>
                      <a:pt x="88" y="77"/>
                    </a:lnTo>
                    <a:lnTo>
                      <a:pt x="82" y="70"/>
                    </a:lnTo>
                    <a:lnTo>
                      <a:pt x="82" y="70"/>
                    </a:lnTo>
                    <a:lnTo>
                      <a:pt x="80" y="69"/>
                    </a:lnTo>
                    <a:lnTo>
                      <a:pt x="78" y="67"/>
                    </a:lnTo>
                    <a:lnTo>
                      <a:pt x="77" y="63"/>
                    </a:lnTo>
                    <a:lnTo>
                      <a:pt x="77" y="63"/>
                    </a:lnTo>
                    <a:lnTo>
                      <a:pt x="77" y="55"/>
                    </a:lnTo>
                    <a:lnTo>
                      <a:pt x="77" y="53"/>
                    </a:lnTo>
                    <a:lnTo>
                      <a:pt x="74" y="50"/>
                    </a:lnTo>
                    <a:lnTo>
                      <a:pt x="74" y="50"/>
                    </a:lnTo>
                    <a:lnTo>
                      <a:pt x="72" y="45"/>
                    </a:lnTo>
                    <a:lnTo>
                      <a:pt x="69" y="40"/>
                    </a:lnTo>
                    <a:lnTo>
                      <a:pt x="68" y="35"/>
                    </a:lnTo>
                    <a:lnTo>
                      <a:pt x="65" y="32"/>
                    </a:lnTo>
                    <a:lnTo>
                      <a:pt x="65" y="32"/>
                    </a:lnTo>
                    <a:lnTo>
                      <a:pt x="56" y="27"/>
                    </a:lnTo>
                    <a:lnTo>
                      <a:pt x="51" y="24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5" y="9"/>
                    </a:lnTo>
                    <a:lnTo>
                      <a:pt x="45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94" name="Freeform 1445"/>
              <p:cNvSpPr>
                <a:spLocks/>
              </p:cNvSpPr>
              <p:nvPr/>
            </p:nvSpPr>
            <p:spPr bwMode="auto">
              <a:xfrm>
                <a:off x="2867505" y="1124939"/>
                <a:ext cx="172131" cy="158281"/>
              </a:xfrm>
              <a:custGeom>
                <a:avLst/>
                <a:gdLst>
                  <a:gd name="T0" fmla="*/ 142 w 174"/>
                  <a:gd name="T1" fmla="*/ 12 h 160"/>
                  <a:gd name="T2" fmla="*/ 133 w 174"/>
                  <a:gd name="T3" fmla="*/ 32 h 160"/>
                  <a:gd name="T4" fmla="*/ 145 w 174"/>
                  <a:gd name="T5" fmla="*/ 28 h 160"/>
                  <a:gd name="T6" fmla="*/ 155 w 174"/>
                  <a:gd name="T7" fmla="*/ 34 h 160"/>
                  <a:gd name="T8" fmla="*/ 155 w 174"/>
                  <a:gd name="T9" fmla="*/ 44 h 160"/>
                  <a:gd name="T10" fmla="*/ 164 w 174"/>
                  <a:gd name="T11" fmla="*/ 38 h 160"/>
                  <a:gd name="T12" fmla="*/ 174 w 174"/>
                  <a:gd name="T13" fmla="*/ 64 h 160"/>
                  <a:gd name="T14" fmla="*/ 151 w 174"/>
                  <a:gd name="T15" fmla="*/ 80 h 160"/>
                  <a:gd name="T16" fmla="*/ 145 w 174"/>
                  <a:gd name="T17" fmla="*/ 87 h 160"/>
                  <a:gd name="T18" fmla="*/ 141 w 174"/>
                  <a:gd name="T19" fmla="*/ 84 h 160"/>
                  <a:gd name="T20" fmla="*/ 136 w 174"/>
                  <a:gd name="T21" fmla="*/ 105 h 160"/>
                  <a:gd name="T22" fmla="*/ 132 w 174"/>
                  <a:gd name="T23" fmla="*/ 115 h 160"/>
                  <a:gd name="T24" fmla="*/ 126 w 174"/>
                  <a:gd name="T25" fmla="*/ 84 h 160"/>
                  <a:gd name="T26" fmla="*/ 122 w 174"/>
                  <a:gd name="T27" fmla="*/ 97 h 160"/>
                  <a:gd name="T28" fmla="*/ 128 w 174"/>
                  <a:gd name="T29" fmla="*/ 119 h 160"/>
                  <a:gd name="T30" fmla="*/ 123 w 174"/>
                  <a:gd name="T31" fmla="*/ 129 h 160"/>
                  <a:gd name="T32" fmla="*/ 113 w 174"/>
                  <a:gd name="T33" fmla="*/ 121 h 160"/>
                  <a:gd name="T34" fmla="*/ 118 w 174"/>
                  <a:gd name="T35" fmla="*/ 135 h 160"/>
                  <a:gd name="T36" fmla="*/ 116 w 174"/>
                  <a:gd name="T37" fmla="*/ 154 h 160"/>
                  <a:gd name="T38" fmla="*/ 110 w 174"/>
                  <a:gd name="T39" fmla="*/ 150 h 160"/>
                  <a:gd name="T40" fmla="*/ 97 w 174"/>
                  <a:gd name="T41" fmla="*/ 125 h 160"/>
                  <a:gd name="T42" fmla="*/ 96 w 174"/>
                  <a:gd name="T43" fmla="*/ 131 h 160"/>
                  <a:gd name="T44" fmla="*/ 102 w 174"/>
                  <a:gd name="T45" fmla="*/ 151 h 160"/>
                  <a:gd name="T46" fmla="*/ 89 w 174"/>
                  <a:gd name="T47" fmla="*/ 148 h 160"/>
                  <a:gd name="T48" fmla="*/ 90 w 174"/>
                  <a:gd name="T49" fmla="*/ 160 h 160"/>
                  <a:gd name="T50" fmla="*/ 65 w 174"/>
                  <a:gd name="T51" fmla="*/ 151 h 160"/>
                  <a:gd name="T52" fmla="*/ 60 w 174"/>
                  <a:gd name="T53" fmla="*/ 142 h 160"/>
                  <a:gd name="T54" fmla="*/ 52 w 174"/>
                  <a:gd name="T55" fmla="*/ 129 h 160"/>
                  <a:gd name="T56" fmla="*/ 70 w 174"/>
                  <a:gd name="T57" fmla="*/ 128 h 160"/>
                  <a:gd name="T58" fmla="*/ 61 w 174"/>
                  <a:gd name="T59" fmla="*/ 121 h 160"/>
                  <a:gd name="T60" fmla="*/ 48 w 174"/>
                  <a:gd name="T61" fmla="*/ 115 h 160"/>
                  <a:gd name="T62" fmla="*/ 52 w 174"/>
                  <a:gd name="T63" fmla="*/ 106 h 160"/>
                  <a:gd name="T64" fmla="*/ 42 w 174"/>
                  <a:gd name="T65" fmla="*/ 96 h 160"/>
                  <a:gd name="T66" fmla="*/ 44 w 174"/>
                  <a:gd name="T67" fmla="*/ 82 h 160"/>
                  <a:gd name="T68" fmla="*/ 55 w 174"/>
                  <a:gd name="T69" fmla="*/ 74 h 160"/>
                  <a:gd name="T70" fmla="*/ 89 w 174"/>
                  <a:gd name="T71" fmla="*/ 67 h 160"/>
                  <a:gd name="T72" fmla="*/ 67 w 174"/>
                  <a:gd name="T73" fmla="*/ 67 h 160"/>
                  <a:gd name="T74" fmla="*/ 64 w 174"/>
                  <a:gd name="T75" fmla="*/ 63 h 160"/>
                  <a:gd name="T76" fmla="*/ 76 w 174"/>
                  <a:gd name="T77" fmla="*/ 57 h 160"/>
                  <a:gd name="T78" fmla="*/ 57 w 174"/>
                  <a:gd name="T79" fmla="*/ 55 h 160"/>
                  <a:gd name="T80" fmla="*/ 51 w 174"/>
                  <a:gd name="T81" fmla="*/ 51 h 160"/>
                  <a:gd name="T82" fmla="*/ 39 w 174"/>
                  <a:gd name="T83" fmla="*/ 64 h 160"/>
                  <a:gd name="T84" fmla="*/ 38 w 174"/>
                  <a:gd name="T85" fmla="*/ 51 h 160"/>
                  <a:gd name="T86" fmla="*/ 29 w 174"/>
                  <a:gd name="T87" fmla="*/ 60 h 160"/>
                  <a:gd name="T88" fmla="*/ 18 w 174"/>
                  <a:gd name="T89" fmla="*/ 55 h 160"/>
                  <a:gd name="T90" fmla="*/ 15 w 174"/>
                  <a:gd name="T91" fmla="*/ 44 h 160"/>
                  <a:gd name="T92" fmla="*/ 31 w 174"/>
                  <a:gd name="T93" fmla="*/ 37 h 160"/>
                  <a:gd name="T94" fmla="*/ 34 w 174"/>
                  <a:gd name="T95" fmla="*/ 29 h 160"/>
                  <a:gd name="T96" fmla="*/ 16 w 174"/>
                  <a:gd name="T97" fmla="*/ 34 h 160"/>
                  <a:gd name="T98" fmla="*/ 5 w 174"/>
                  <a:gd name="T99" fmla="*/ 21 h 160"/>
                  <a:gd name="T100" fmla="*/ 7 w 174"/>
                  <a:gd name="T101" fmla="*/ 9 h 160"/>
                  <a:gd name="T102" fmla="*/ 2 w 174"/>
                  <a:gd name="T103" fmla="*/ 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4" h="160">
                    <a:moveTo>
                      <a:pt x="2" y="0"/>
                    </a:moveTo>
                    <a:lnTo>
                      <a:pt x="144" y="0"/>
                    </a:lnTo>
                    <a:lnTo>
                      <a:pt x="144" y="0"/>
                    </a:lnTo>
                    <a:lnTo>
                      <a:pt x="142" y="8"/>
                    </a:lnTo>
                    <a:lnTo>
                      <a:pt x="142" y="12"/>
                    </a:lnTo>
                    <a:lnTo>
                      <a:pt x="142" y="12"/>
                    </a:lnTo>
                    <a:lnTo>
                      <a:pt x="141" y="19"/>
                    </a:lnTo>
                    <a:lnTo>
                      <a:pt x="138" y="27"/>
                    </a:lnTo>
                    <a:lnTo>
                      <a:pt x="138" y="27"/>
                    </a:lnTo>
                    <a:lnTo>
                      <a:pt x="133" y="32"/>
                    </a:lnTo>
                    <a:lnTo>
                      <a:pt x="133" y="34"/>
                    </a:lnTo>
                    <a:lnTo>
                      <a:pt x="135" y="34"/>
                    </a:lnTo>
                    <a:lnTo>
                      <a:pt x="135" y="34"/>
                    </a:lnTo>
                    <a:lnTo>
                      <a:pt x="142" y="29"/>
                    </a:lnTo>
                    <a:lnTo>
                      <a:pt x="145" y="28"/>
                    </a:lnTo>
                    <a:lnTo>
                      <a:pt x="146" y="28"/>
                    </a:lnTo>
                    <a:lnTo>
                      <a:pt x="146" y="28"/>
                    </a:lnTo>
                    <a:lnTo>
                      <a:pt x="151" y="31"/>
                    </a:lnTo>
                    <a:lnTo>
                      <a:pt x="154" y="32"/>
                    </a:lnTo>
                    <a:lnTo>
                      <a:pt x="155" y="34"/>
                    </a:lnTo>
                    <a:lnTo>
                      <a:pt x="155" y="34"/>
                    </a:lnTo>
                    <a:lnTo>
                      <a:pt x="154" y="41"/>
                    </a:lnTo>
                    <a:lnTo>
                      <a:pt x="154" y="44"/>
                    </a:lnTo>
                    <a:lnTo>
                      <a:pt x="155" y="44"/>
                    </a:lnTo>
                    <a:lnTo>
                      <a:pt x="155" y="44"/>
                    </a:lnTo>
                    <a:lnTo>
                      <a:pt x="155" y="44"/>
                    </a:lnTo>
                    <a:lnTo>
                      <a:pt x="160" y="40"/>
                    </a:lnTo>
                    <a:lnTo>
                      <a:pt x="161" y="38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7" y="45"/>
                    </a:lnTo>
                    <a:lnTo>
                      <a:pt x="173" y="57"/>
                    </a:lnTo>
                    <a:lnTo>
                      <a:pt x="173" y="57"/>
                    </a:lnTo>
                    <a:lnTo>
                      <a:pt x="174" y="61"/>
                    </a:lnTo>
                    <a:lnTo>
                      <a:pt x="174" y="64"/>
                    </a:lnTo>
                    <a:lnTo>
                      <a:pt x="174" y="66"/>
                    </a:lnTo>
                    <a:lnTo>
                      <a:pt x="174" y="66"/>
                    </a:lnTo>
                    <a:lnTo>
                      <a:pt x="161" y="73"/>
                    </a:lnTo>
                    <a:lnTo>
                      <a:pt x="154" y="77"/>
                    </a:lnTo>
                    <a:lnTo>
                      <a:pt x="151" y="80"/>
                    </a:lnTo>
                    <a:lnTo>
                      <a:pt x="151" y="80"/>
                    </a:lnTo>
                    <a:lnTo>
                      <a:pt x="148" y="84"/>
                    </a:lnTo>
                    <a:lnTo>
                      <a:pt x="146" y="87"/>
                    </a:lnTo>
                    <a:lnTo>
                      <a:pt x="145" y="87"/>
                    </a:lnTo>
                    <a:lnTo>
                      <a:pt x="145" y="87"/>
                    </a:lnTo>
                    <a:lnTo>
                      <a:pt x="144" y="87"/>
                    </a:lnTo>
                    <a:lnTo>
                      <a:pt x="142" y="84"/>
                    </a:lnTo>
                    <a:lnTo>
                      <a:pt x="141" y="84"/>
                    </a:lnTo>
                    <a:lnTo>
                      <a:pt x="141" y="84"/>
                    </a:lnTo>
                    <a:lnTo>
                      <a:pt x="141" y="84"/>
                    </a:lnTo>
                    <a:lnTo>
                      <a:pt x="139" y="95"/>
                    </a:lnTo>
                    <a:lnTo>
                      <a:pt x="139" y="99"/>
                    </a:lnTo>
                    <a:lnTo>
                      <a:pt x="138" y="102"/>
                    </a:lnTo>
                    <a:lnTo>
                      <a:pt x="138" y="102"/>
                    </a:lnTo>
                    <a:lnTo>
                      <a:pt x="136" y="105"/>
                    </a:lnTo>
                    <a:lnTo>
                      <a:pt x="135" y="109"/>
                    </a:lnTo>
                    <a:lnTo>
                      <a:pt x="133" y="113"/>
                    </a:lnTo>
                    <a:lnTo>
                      <a:pt x="133" y="115"/>
                    </a:lnTo>
                    <a:lnTo>
                      <a:pt x="132" y="115"/>
                    </a:lnTo>
                    <a:lnTo>
                      <a:pt x="132" y="115"/>
                    </a:lnTo>
                    <a:lnTo>
                      <a:pt x="131" y="113"/>
                    </a:lnTo>
                    <a:lnTo>
                      <a:pt x="129" y="109"/>
                    </a:lnTo>
                    <a:lnTo>
                      <a:pt x="129" y="99"/>
                    </a:lnTo>
                    <a:lnTo>
                      <a:pt x="128" y="87"/>
                    </a:lnTo>
                    <a:lnTo>
                      <a:pt x="126" y="84"/>
                    </a:lnTo>
                    <a:lnTo>
                      <a:pt x="126" y="83"/>
                    </a:lnTo>
                    <a:lnTo>
                      <a:pt x="126" y="83"/>
                    </a:lnTo>
                    <a:lnTo>
                      <a:pt x="123" y="86"/>
                    </a:lnTo>
                    <a:lnTo>
                      <a:pt x="122" y="89"/>
                    </a:lnTo>
                    <a:lnTo>
                      <a:pt x="122" y="97"/>
                    </a:lnTo>
                    <a:lnTo>
                      <a:pt x="122" y="97"/>
                    </a:lnTo>
                    <a:lnTo>
                      <a:pt x="123" y="106"/>
                    </a:lnTo>
                    <a:lnTo>
                      <a:pt x="126" y="115"/>
                    </a:lnTo>
                    <a:lnTo>
                      <a:pt x="126" y="115"/>
                    </a:lnTo>
                    <a:lnTo>
                      <a:pt x="128" y="119"/>
                    </a:lnTo>
                    <a:lnTo>
                      <a:pt x="128" y="124"/>
                    </a:lnTo>
                    <a:lnTo>
                      <a:pt x="126" y="129"/>
                    </a:lnTo>
                    <a:lnTo>
                      <a:pt x="126" y="129"/>
                    </a:lnTo>
                    <a:lnTo>
                      <a:pt x="125" y="129"/>
                    </a:lnTo>
                    <a:lnTo>
                      <a:pt x="123" y="129"/>
                    </a:lnTo>
                    <a:lnTo>
                      <a:pt x="120" y="125"/>
                    </a:lnTo>
                    <a:lnTo>
                      <a:pt x="118" y="122"/>
                    </a:lnTo>
                    <a:lnTo>
                      <a:pt x="116" y="121"/>
                    </a:lnTo>
                    <a:lnTo>
                      <a:pt x="116" y="121"/>
                    </a:lnTo>
                    <a:lnTo>
                      <a:pt x="113" y="121"/>
                    </a:lnTo>
                    <a:lnTo>
                      <a:pt x="113" y="122"/>
                    </a:lnTo>
                    <a:lnTo>
                      <a:pt x="112" y="125"/>
                    </a:lnTo>
                    <a:lnTo>
                      <a:pt x="113" y="129"/>
                    </a:lnTo>
                    <a:lnTo>
                      <a:pt x="113" y="129"/>
                    </a:lnTo>
                    <a:lnTo>
                      <a:pt x="118" y="135"/>
                    </a:lnTo>
                    <a:lnTo>
                      <a:pt x="119" y="137"/>
                    </a:lnTo>
                    <a:lnTo>
                      <a:pt x="119" y="140"/>
                    </a:lnTo>
                    <a:lnTo>
                      <a:pt x="119" y="140"/>
                    </a:lnTo>
                    <a:lnTo>
                      <a:pt x="118" y="150"/>
                    </a:lnTo>
                    <a:lnTo>
                      <a:pt x="116" y="154"/>
                    </a:lnTo>
                    <a:lnTo>
                      <a:pt x="116" y="155"/>
                    </a:lnTo>
                    <a:lnTo>
                      <a:pt x="115" y="155"/>
                    </a:lnTo>
                    <a:lnTo>
                      <a:pt x="115" y="155"/>
                    </a:lnTo>
                    <a:lnTo>
                      <a:pt x="110" y="151"/>
                    </a:lnTo>
                    <a:lnTo>
                      <a:pt x="110" y="150"/>
                    </a:lnTo>
                    <a:lnTo>
                      <a:pt x="109" y="147"/>
                    </a:lnTo>
                    <a:lnTo>
                      <a:pt x="109" y="147"/>
                    </a:lnTo>
                    <a:lnTo>
                      <a:pt x="107" y="141"/>
                    </a:lnTo>
                    <a:lnTo>
                      <a:pt x="104" y="135"/>
                    </a:lnTo>
                    <a:lnTo>
                      <a:pt x="97" y="125"/>
                    </a:lnTo>
                    <a:lnTo>
                      <a:pt x="97" y="125"/>
                    </a:lnTo>
                    <a:lnTo>
                      <a:pt x="96" y="125"/>
                    </a:lnTo>
                    <a:lnTo>
                      <a:pt x="94" y="126"/>
                    </a:lnTo>
                    <a:lnTo>
                      <a:pt x="96" y="131"/>
                    </a:lnTo>
                    <a:lnTo>
                      <a:pt x="96" y="131"/>
                    </a:lnTo>
                    <a:lnTo>
                      <a:pt x="100" y="141"/>
                    </a:lnTo>
                    <a:lnTo>
                      <a:pt x="104" y="151"/>
                    </a:lnTo>
                    <a:lnTo>
                      <a:pt x="104" y="151"/>
                    </a:lnTo>
                    <a:lnTo>
                      <a:pt x="104" y="153"/>
                    </a:lnTo>
                    <a:lnTo>
                      <a:pt x="102" y="151"/>
                    </a:lnTo>
                    <a:lnTo>
                      <a:pt x="96" y="148"/>
                    </a:lnTo>
                    <a:lnTo>
                      <a:pt x="96" y="148"/>
                    </a:lnTo>
                    <a:lnTo>
                      <a:pt x="91" y="147"/>
                    </a:lnTo>
                    <a:lnTo>
                      <a:pt x="89" y="147"/>
                    </a:lnTo>
                    <a:lnTo>
                      <a:pt x="89" y="148"/>
                    </a:lnTo>
                    <a:lnTo>
                      <a:pt x="89" y="148"/>
                    </a:lnTo>
                    <a:lnTo>
                      <a:pt x="90" y="155"/>
                    </a:lnTo>
                    <a:lnTo>
                      <a:pt x="91" y="158"/>
                    </a:lnTo>
                    <a:lnTo>
                      <a:pt x="91" y="158"/>
                    </a:lnTo>
                    <a:lnTo>
                      <a:pt x="90" y="160"/>
                    </a:lnTo>
                    <a:lnTo>
                      <a:pt x="90" y="160"/>
                    </a:lnTo>
                    <a:lnTo>
                      <a:pt x="78" y="157"/>
                    </a:lnTo>
                    <a:lnTo>
                      <a:pt x="71" y="154"/>
                    </a:lnTo>
                    <a:lnTo>
                      <a:pt x="65" y="151"/>
                    </a:lnTo>
                    <a:lnTo>
                      <a:pt x="65" y="151"/>
                    </a:lnTo>
                    <a:lnTo>
                      <a:pt x="62" y="148"/>
                    </a:lnTo>
                    <a:lnTo>
                      <a:pt x="62" y="147"/>
                    </a:lnTo>
                    <a:lnTo>
                      <a:pt x="62" y="145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55" y="138"/>
                    </a:lnTo>
                    <a:lnTo>
                      <a:pt x="52" y="135"/>
                    </a:lnTo>
                    <a:lnTo>
                      <a:pt x="51" y="131"/>
                    </a:lnTo>
                    <a:lnTo>
                      <a:pt x="52" y="129"/>
                    </a:lnTo>
                    <a:lnTo>
                      <a:pt x="52" y="129"/>
                    </a:lnTo>
                    <a:lnTo>
                      <a:pt x="57" y="128"/>
                    </a:lnTo>
                    <a:lnTo>
                      <a:pt x="62" y="129"/>
                    </a:lnTo>
                    <a:lnTo>
                      <a:pt x="67" y="129"/>
                    </a:lnTo>
                    <a:lnTo>
                      <a:pt x="70" y="129"/>
                    </a:lnTo>
                    <a:lnTo>
                      <a:pt x="70" y="128"/>
                    </a:lnTo>
                    <a:lnTo>
                      <a:pt x="70" y="128"/>
                    </a:lnTo>
                    <a:lnTo>
                      <a:pt x="70" y="125"/>
                    </a:lnTo>
                    <a:lnTo>
                      <a:pt x="67" y="122"/>
                    </a:lnTo>
                    <a:lnTo>
                      <a:pt x="64" y="121"/>
                    </a:lnTo>
                    <a:lnTo>
                      <a:pt x="61" y="121"/>
                    </a:lnTo>
                    <a:lnTo>
                      <a:pt x="61" y="121"/>
                    </a:lnTo>
                    <a:lnTo>
                      <a:pt x="52" y="119"/>
                    </a:lnTo>
                    <a:lnTo>
                      <a:pt x="49" y="118"/>
                    </a:lnTo>
                    <a:lnTo>
                      <a:pt x="48" y="115"/>
                    </a:lnTo>
                    <a:lnTo>
                      <a:pt x="48" y="115"/>
                    </a:lnTo>
                    <a:lnTo>
                      <a:pt x="45" y="109"/>
                    </a:lnTo>
                    <a:lnTo>
                      <a:pt x="45" y="108"/>
                    </a:lnTo>
                    <a:lnTo>
                      <a:pt x="47" y="106"/>
                    </a:lnTo>
                    <a:lnTo>
                      <a:pt x="47" y="106"/>
                    </a:lnTo>
                    <a:lnTo>
                      <a:pt x="52" y="106"/>
                    </a:lnTo>
                    <a:lnTo>
                      <a:pt x="52" y="105"/>
                    </a:lnTo>
                    <a:lnTo>
                      <a:pt x="51" y="105"/>
                    </a:lnTo>
                    <a:lnTo>
                      <a:pt x="51" y="105"/>
                    </a:lnTo>
                    <a:lnTo>
                      <a:pt x="48" y="102"/>
                    </a:lnTo>
                    <a:lnTo>
                      <a:pt x="42" y="96"/>
                    </a:lnTo>
                    <a:lnTo>
                      <a:pt x="39" y="92"/>
                    </a:lnTo>
                    <a:lnTo>
                      <a:pt x="39" y="89"/>
                    </a:lnTo>
                    <a:lnTo>
                      <a:pt x="39" y="87"/>
                    </a:lnTo>
                    <a:lnTo>
                      <a:pt x="39" y="87"/>
                    </a:lnTo>
                    <a:lnTo>
                      <a:pt x="44" y="82"/>
                    </a:lnTo>
                    <a:lnTo>
                      <a:pt x="47" y="79"/>
                    </a:lnTo>
                    <a:lnTo>
                      <a:pt x="47" y="79"/>
                    </a:lnTo>
                    <a:lnTo>
                      <a:pt x="48" y="77"/>
                    </a:lnTo>
                    <a:lnTo>
                      <a:pt x="51" y="76"/>
                    </a:lnTo>
                    <a:lnTo>
                      <a:pt x="55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7" y="74"/>
                    </a:lnTo>
                    <a:lnTo>
                      <a:pt x="76" y="71"/>
                    </a:lnTo>
                    <a:lnTo>
                      <a:pt x="89" y="67"/>
                    </a:lnTo>
                    <a:lnTo>
                      <a:pt x="89" y="67"/>
                    </a:lnTo>
                    <a:lnTo>
                      <a:pt x="89" y="66"/>
                    </a:lnTo>
                    <a:lnTo>
                      <a:pt x="87" y="66"/>
                    </a:lnTo>
                    <a:lnTo>
                      <a:pt x="77" y="66"/>
                    </a:lnTo>
                    <a:lnTo>
                      <a:pt x="67" y="67"/>
                    </a:lnTo>
                    <a:lnTo>
                      <a:pt x="62" y="67"/>
                    </a:lnTo>
                    <a:lnTo>
                      <a:pt x="61" y="66"/>
                    </a:lnTo>
                    <a:lnTo>
                      <a:pt x="61" y="66"/>
                    </a:lnTo>
                    <a:lnTo>
                      <a:pt x="62" y="64"/>
                    </a:lnTo>
                    <a:lnTo>
                      <a:pt x="64" y="63"/>
                    </a:lnTo>
                    <a:lnTo>
                      <a:pt x="70" y="61"/>
                    </a:lnTo>
                    <a:lnTo>
                      <a:pt x="76" y="58"/>
                    </a:lnTo>
                    <a:lnTo>
                      <a:pt x="77" y="58"/>
                    </a:lnTo>
                    <a:lnTo>
                      <a:pt x="76" y="57"/>
                    </a:lnTo>
                    <a:lnTo>
                      <a:pt x="76" y="57"/>
                    </a:lnTo>
                    <a:lnTo>
                      <a:pt x="61" y="54"/>
                    </a:lnTo>
                    <a:lnTo>
                      <a:pt x="61" y="54"/>
                    </a:lnTo>
                    <a:lnTo>
                      <a:pt x="60" y="54"/>
                    </a:lnTo>
                    <a:lnTo>
                      <a:pt x="58" y="55"/>
                    </a:lnTo>
                    <a:lnTo>
                      <a:pt x="57" y="55"/>
                    </a:lnTo>
                    <a:lnTo>
                      <a:pt x="54" y="55"/>
                    </a:lnTo>
                    <a:lnTo>
                      <a:pt x="54" y="55"/>
                    </a:lnTo>
                    <a:lnTo>
                      <a:pt x="52" y="54"/>
                    </a:lnTo>
                    <a:lnTo>
                      <a:pt x="52" y="53"/>
                    </a:lnTo>
                    <a:lnTo>
                      <a:pt x="51" y="51"/>
                    </a:lnTo>
                    <a:lnTo>
                      <a:pt x="48" y="53"/>
                    </a:lnTo>
                    <a:lnTo>
                      <a:pt x="48" y="53"/>
                    </a:lnTo>
                    <a:lnTo>
                      <a:pt x="42" y="61"/>
                    </a:lnTo>
                    <a:lnTo>
                      <a:pt x="41" y="64"/>
                    </a:lnTo>
                    <a:lnTo>
                      <a:pt x="39" y="64"/>
                    </a:lnTo>
                    <a:lnTo>
                      <a:pt x="39" y="63"/>
                    </a:lnTo>
                    <a:lnTo>
                      <a:pt x="39" y="63"/>
                    </a:lnTo>
                    <a:lnTo>
                      <a:pt x="38" y="58"/>
                    </a:lnTo>
                    <a:lnTo>
                      <a:pt x="38" y="54"/>
                    </a:lnTo>
                    <a:lnTo>
                      <a:pt x="38" y="51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2" y="57"/>
                    </a:lnTo>
                    <a:lnTo>
                      <a:pt x="29" y="60"/>
                    </a:lnTo>
                    <a:lnTo>
                      <a:pt x="28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57"/>
                    </a:lnTo>
                    <a:lnTo>
                      <a:pt x="18" y="55"/>
                    </a:lnTo>
                    <a:lnTo>
                      <a:pt x="18" y="55"/>
                    </a:lnTo>
                    <a:lnTo>
                      <a:pt x="16" y="54"/>
                    </a:lnTo>
                    <a:lnTo>
                      <a:pt x="13" y="51"/>
                    </a:lnTo>
                    <a:lnTo>
                      <a:pt x="13" y="47"/>
                    </a:lnTo>
                    <a:lnTo>
                      <a:pt x="15" y="44"/>
                    </a:lnTo>
                    <a:lnTo>
                      <a:pt x="15" y="44"/>
                    </a:lnTo>
                    <a:lnTo>
                      <a:pt x="18" y="42"/>
                    </a:lnTo>
                    <a:lnTo>
                      <a:pt x="22" y="41"/>
                    </a:lnTo>
                    <a:lnTo>
                      <a:pt x="26" y="40"/>
                    </a:lnTo>
                    <a:lnTo>
                      <a:pt x="31" y="37"/>
                    </a:lnTo>
                    <a:lnTo>
                      <a:pt x="31" y="37"/>
                    </a:lnTo>
                    <a:lnTo>
                      <a:pt x="34" y="34"/>
                    </a:lnTo>
                    <a:lnTo>
                      <a:pt x="35" y="31"/>
                    </a:lnTo>
                    <a:lnTo>
                      <a:pt x="35" y="29"/>
                    </a:lnTo>
                    <a:lnTo>
                      <a:pt x="34" y="29"/>
                    </a:lnTo>
                    <a:lnTo>
                      <a:pt x="34" y="29"/>
                    </a:lnTo>
                    <a:lnTo>
                      <a:pt x="28" y="31"/>
                    </a:lnTo>
                    <a:lnTo>
                      <a:pt x="22" y="31"/>
                    </a:lnTo>
                    <a:lnTo>
                      <a:pt x="22" y="31"/>
                    </a:lnTo>
                    <a:lnTo>
                      <a:pt x="16" y="34"/>
                    </a:lnTo>
                    <a:lnTo>
                      <a:pt x="13" y="34"/>
                    </a:lnTo>
                    <a:lnTo>
                      <a:pt x="10" y="31"/>
                    </a:lnTo>
                    <a:lnTo>
                      <a:pt x="10" y="31"/>
                    </a:lnTo>
                    <a:lnTo>
                      <a:pt x="7" y="27"/>
                    </a:lnTo>
                    <a:lnTo>
                      <a:pt x="5" y="21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7" y="9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95" name="Freeform 1446"/>
              <p:cNvSpPr>
                <a:spLocks/>
              </p:cNvSpPr>
              <p:nvPr/>
            </p:nvSpPr>
            <p:spPr bwMode="auto">
              <a:xfrm>
                <a:off x="2867505" y="1124939"/>
                <a:ext cx="172131" cy="158281"/>
              </a:xfrm>
              <a:custGeom>
                <a:avLst/>
                <a:gdLst>
                  <a:gd name="T0" fmla="*/ 142 w 174"/>
                  <a:gd name="T1" fmla="*/ 12 h 160"/>
                  <a:gd name="T2" fmla="*/ 133 w 174"/>
                  <a:gd name="T3" fmla="*/ 32 h 160"/>
                  <a:gd name="T4" fmla="*/ 145 w 174"/>
                  <a:gd name="T5" fmla="*/ 28 h 160"/>
                  <a:gd name="T6" fmla="*/ 155 w 174"/>
                  <a:gd name="T7" fmla="*/ 34 h 160"/>
                  <a:gd name="T8" fmla="*/ 155 w 174"/>
                  <a:gd name="T9" fmla="*/ 44 h 160"/>
                  <a:gd name="T10" fmla="*/ 164 w 174"/>
                  <a:gd name="T11" fmla="*/ 38 h 160"/>
                  <a:gd name="T12" fmla="*/ 174 w 174"/>
                  <a:gd name="T13" fmla="*/ 64 h 160"/>
                  <a:gd name="T14" fmla="*/ 151 w 174"/>
                  <a:gd name="T15" fmla="*/ 80 h 160"/>
                  <a:gd name="T16" fmla="*/ 145 w 174"/>
                  <a:gd name="T17" fmla="*/ 87 h 160"/>
                  <a:gd name="T18" fmla="*/ 141 w 174"/>
                  <a:gd name="T19" fmla="*/ 84 h 160"/>
                  <a:gd name="T20" fmla="*/ 136 w 174"/>
                  <a:gd name="T21" fmla="*/ 105 h 160"/>
                  <a:gd name="T22" fmla="*/ 132 w 174"/>
                  <a:gd name="T23" fmla="*/ 115 h 160"/>
                  <a:gd name="T24" fmla="*/ 126 w 174"/>
                  <a:gd name="T25" fmla="*/ 84 h 160"/>
                  <a:gd name="T26" fmla="*/ 122 w 174"/>
                  <a:gd name="T27" fmla="*/ 97 h 160"/>
                  <a:gd name="T28" fmla="*/ 128 w 174"/>
                  <a:gd name="T29" fmla="*/ 119 h 160"/>
                  <a:gd name="T30" fmla="*/ 123 w 174"/>
                  <a:gd name="T31" fmla="*/ 129 h 160"/>
                  <a:gd name="T32" fmla="*/ 113 w 174"/>
                  <a:gd name="T33" fmla="*/ 121 h 160"/>
                  <a:gd name="T34" fmla="*/ 118 w 174"/>
                  <a:gd name="T35" fmla="*/ 135 h 160"/>
                  <a:gd name="T36" fmla="*/ 116 w 174"/>
                  <a:gd name="T37" fmla="*/ 154 h 160"/>
                  <a:gd name="T38" fmla="*/ 110 w 174"/>
                  <a:gd name="T39" fmla="*/ 150 h 160"/>
                  <a:gd name="T40" fmla="*/ 97 w 174"/>
                  <a:gd name="T41" fmla="*/ 125 h 160"/>
                  <a:gd name="T42" fmla="*/ 96 w 174"/>
                  <a:gd name="T43" fmla="*/ 131 h 160"/>
                  <a:gd name="T44" fmla="*/ 102 w 174"/>
                  <a:gd name="T45" fmla="*/ 151 h 160"/>
                  <a:gd name="T46" fmla="*/ 89 w 174"/>
                  <a:gd name="T47" fmla="*/ 148 h 160"/>
                  <a:gd name="T48" fmla="*/ 90 w 174"/>
                  <a:gd name="T49" fmla="*/ 160 h 160"/>
                  <a:gd name="T50" fmla="*/ 65 w 174"/>
                  <a:gd name="T51" fmla="*/ 151 h 160"/>
                  <a:gd name="T52" fmla="*/ 60 w 174"/>
                  <a:gd name="T53" fmla="*/ 142 h 160"/>
                  <a:gd name="T54" fmla="*/ 52 w 174"/>
                  <a:gd name="T55" fmla="*/ 129 h 160"/>
                  <a:gd name="T56" fmla="*/ 70 w 174"/>
                  <a:gd name="T57" fmla="*/ 128 h 160"/>
                  <a:gd name="T58" fmla="*/ 61 w 174"/>
                  <a:gd name="T59" fmla="*/ 121 h 160"/>
                  <a:gd name="T60" fmla="*/ 48 w 174"/>
                  <a:gd name="T61" fmla="*/ 115 h 160"/>
                  <a:gd name="T62" fmla="*/ 52 w 174"/>
                  <a:gd name="T63" fmla="*/ 106 h 160"/>
                  <a:gd name="T64" fmla="*/ 42 w 174"/>
                  <a:gd name="T65" fmla="*/ 96 h 160"/>
                  <a:gd name="T66" fmla="*/ 44 w 174"/>
                  <a:gd name="T67" fmla="*/ 82 h 160"/>
                  <a:gd name="T68" fmla="*/ 55 w 174"/>
                  <a:gd name="T69" fmla="*/ 74 h 160"/>
                  <a:gd name="T70" fmla="*/ 89 w 174"/>
                  <a:gd name="T71" fmla="*/ 67 h 160"/>
                  <a:gd name="T72" fmla="*/ 67 w 174"/>
                  <a:gd name="T73" fmla="*/ 67 h 160"/>
                  <a:gd name="T74" fmla="*/ 64 w 174"/>
                  <a:gd name="T75" fmla="*/ 63 h 160"/>
                  <a:gd name="T76" fmla="*/ 76 w 174"/>
                  <a:gd name="T77" fmla="*/ 57 h 160"/>
                  <a:gd name="T78" fmla="*/ 57 w 174"/>
                  <a:gd name="T79" fmla="*/ 55 h 160"/>
                  <a:gd name="T80" fmla="*/ 51 w 174"/>
                  <a:gd name="T81" fmla="*/ 51 h 160"/>
                  <a:gd name="T82" fmla="*/ 39 w 174"/>
                  <a:gd name="T83" fmla="*/ 64 h 160"/>
                  <a:gd name="T84" fmla="*/ 38 w 174"/>
                  <a:gd name="T85" fmla="*/ 51 h 160"/>
                  <a:gd name="T86" fmla="*/ 29 w 174"/>
                  <a:gd name="T87" fmla="*/ 60 h 160"/>
                  <a:gd name="T88" fmla="*/ 18 w 174"/>
                  <a:gd name="T89" fmla="*/ 55 h 160"/>
                  <a:gd name="T90" fmla="*/ 15 w 174"/>
                  <a:gd name="T91" fmla="*/ 44 h 160"/>
                  <a:gd name="T92" fmla="*/ 31 w 174"/>
                  <a:gd name="T93" fmla="*/ 37 h 160"/>
                  <a:gd name="T94" fmla="*/ 34 w 174"/>
                  <a:gd name="T95" fmla="*/ 29 h 160"/>
                  <a:gd name="T96" fmla="*/ 16 w 174"/>
                  <a:gd name="T97" fmla="*/ 34 h 160"/>
                  <a:gd name="T98" fmla="*/ 5 w 174"/>
                  <a:gd name="T99" fmla="*/ 21 h 160"/>
                  <a:gd name="T100" fmla="*/ 7 w 174"/>
                  <a:gd name="T101" fmla="*/ 9 h 160"/>
                  <a:gd name="T102" fmla="*/ 2 w 174"/>
                  <a:gd name="T103" fmla="*/ 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4" h="160">
                    <a:moveTo>
                      <a:pt x="2" y="0"/>
                    </a:moveTo>
                    <a:lnTo>
                      <a:pt x="144" y="0"/>
                    </a:lnTo>
                    <a:lnTo>
                      <a:pt x="144" y="0"/>
                    </a:lnTo>
                    <a:lnTo>
                      <a:pt x="142" y="8"/>
                    </a:lnTo>
                    <a:lnTo>
                      <a:pt x="142" y="12"/>
                    </a:lnTo>
                    <a:lnTo>
                      <a:pt x="142" y="12"/>
                    </a:lnTo>
                    <a:lnTo>
                      <a:pt x="141" y="19"/>
                    </a:lnTo>
                    <a:lnTo>
                      <a:pt x="138" y="27"/>
                    </a:lnTo>
                    <a:lnTo>
                      <a:pt x="138" y="27"/>
                    </a:lnTo>
                    <a:lnTo>
                      <a:pt x="133" y="32"/>
                    </a:lnTo>
                    <a:lnTo>
                      <a:pt x="133" y="34"/>
                    </a:lnTo>
                    <a:lnTo>
                      <a:pt x="135" y="34"/>
                    </a:lnTo>
                    <a:lnTo>
                      <a:pt x="135" y="34"/>
                    </a:lnTo>
                    <a:lnTo>
                      <a:pt x="142" y="29"/>
                    </a:lnTo>
                    <a:lnTo>
                      <a:pt x="145" y="28"/>
                    </a:lnTo>
                    <a:lnTo>
                      <a:pt x="146" y="28"/>
                    </a:lnTo>
                    <a:lnTo>
                      <a:pt x="146" y="28"/>
                    </a:lnTo>
                    <a:lnTo>
                      <a:pt x="151" y="31"/>
                    </a:lnTo>
                    <a:lnTo>
                      <a:pt x="154" y="32"/>
                    </a:lnTo>
                    <a:lnTo>
                      <a:pt x="155" y="34"/>
                    </a:lnTo>
                    <a:lnTo>
                      <a:pt x="155" y="34"/>
                    </a:lnTo>
                    <a:lnTo>
                      <a:pt x="154" y="41"/>
                    </a:lnTo>
                    <a:lnTo>
                      <a:pt x="154" y="44"/>
                    </a:lnTo>
                    <a:lnTo>
                      <a:pt x="155" y="44"/>
                    </a:lnTo>
                    <a:lnTo>
                      <a:pt x="155" y="44"/>
                    </a:lnTo>
                    <a:lnTo>
                      <a:pt x="155" y="44"/>
                    </a:lnTo>
                    <a:lnTo>
                      <a:pt x="160" y="40"/>
                    </a:lnTo>
                    <a:lnTo>
                      <a:pt x="161" y="38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7" y="45"/>
                    </a:lnTo>
                    <a:lnTo>
                      <a:pt x="173" y="57"/>
                    </a:lnTo>
                    <a:lnTo>
                      <a:pt x="173" y="57"/>
                    </a:lnTo>
                    <a:lnTo>
                      <a:pt x="174" y="61"/>
                    </a:lnTo>
                    <a:lnTo>
                      <a:pt x="174" y="64"/>
                    </a:lnTo>
                    <a:lnTo>
                      <a:pt x="174" y="66"/>
                    </a:lnTo>
                    <a:lnTo>
                      <a:pt x="174" y="66"/>
                    </a:lnTo>
                    <a:lnTo>
                      <a:pt x="161" y="73"/>
                    </a:lnTo>
                    <a:lnTo>
                      <a:pt x="154" y="77"/>
                    </a:lnTo>
                    <a:lnTo>
                      <a:pt x="151" y="80"/>
                    </a:lnTo>
                    <a:lnTo>
                      <a:pt x="151" y="80"/>
                    </a:lnTo>
                    <a:lnTo>
                      <a:pt x="148" y="84"/>
                    </a:lnTo>
                    <a:lnTo>
                      <a:pt x="146" y="87"/>
                    </a:lnTo>
                    <a:lnTo>
                      <a:pt x="145" y="87"/>
                    </a:lnTo>
                    <a:lnTo>
                      <a:pt x="145" y="87"/>
                    </a:lnTo>
                    <a:lnTo>
                      <a:pt x="144" y="87"/>
                    </a:lnTo>
                    <a:lnTo>
                      <a:pt x="142" y="84"/>
                    </a:lnTo>
                    <a:lnTo>
                      <a:pt x="141" y="84"/>
                    </a:lnTo>
                    <a:lnTo>
                      <a:pt x="141" y="84"/>
                    </a:lnTo>
                    <a:lnTo>
                      <a:pt x="141" y="84"/>
                    </a:lnTo>
                    <a:lnTo>
                      <a:pt x="139" y="95"/>
                    </a:lnTo>
                    <a:lnTo>
                      <a:pt x="139" y="99"/>
                    </a:lnTo>
                    <a:lnTo>
                      <a:pt x="138" y="102"/>
                    </a:lnTo>
                    <a:lnTo>
                      <a:pt x="138" y="102"/>
                    </a:lnTo>
                    <a:lnTo>
                      <a:pt x="136" y="105"/>
                    </a:lnTo>
                    <a:lnTo>
                      <a:pt x="135" y="109"/>
                    </a:lnTo>
                    <a:lnTo>
                      <a:pt x="133" y="113"/>
                    </a:lnTo>
                    <a:lnTo>
                      <a:pt x="133" y="115"/>
                    </a:lnTo>
                    <a:lnTo>
                      <a:pt x="132" y="115"/>
                    </a:lnTo>
                    <a:lnTo>
                      <a:pt x="132" y="115"/>
                    </a:lnTo>
                    <a:lnTo>
                      <a:pt x="131" y="113"/>
                    </a:lnTo>
                    <a:lnTo>
                      <a:pt x="129" y="109"/>
                    </a:lnTo>
                    <a:lnTo>
                      <a:pt x="129" y="99"/>
                    </a:lnTo>
                    <a:lnTo>
                      <a:pt x="128" y="87"/>
                    </a:lnTo>
                    <a:lnTo>
                      <a:pt x="126" y="84"/>
                    </a:lnTo>
                    <a:lnTo>
                      <a:pt x="126" y="83"/>
                    </a:lnTo>
                    <a:lnTo>
                      <a:pt x="126" y="83"/>
                    </a:lnTo>
                    <a:lnTo>
                      <a:pt x="123" y="86"/>
                    </a:lnTo>
                    <a:lnTo>
                      <a:pt x="122" y="89"/>
                    </a:lnTo>
                    <a:lnTo>
                      <a:pt x="122" y="97"/>
                    </a:lnTo>
                    <a:lnTo>
                      <a:pt x="122" y="97"/>
                    </a:lnTo>
                    <a:lnTo>
                      <a:pt x="123" y="106"/>
                    </a:lnTo>
                    <a:lnTo>
                      <a:pt x="126" y="115"/>
                    </a:lnTo>
                    <a:lnTo>
                      <a:pt x="126" y="115"/>
                    </a:lnTo>
                    <a:lnTo>
                      <a:pt x="128" y="119"/>
                    </a:lnTo>
                    <a:lnTo>
                      <a:pt x="128" y="124"/>
                    </a:lnTo>
                    <a:lnTo>
                      <a:pt x="126" y="129"/>
                    </a:lnTo>
                    <a:lnTo>
                      <a:pt x="126" y="129"/>
                    </a:lnTo>
                    <a:lnTo>
                      <a:pt x="125" y="129"/>
                    </a:lnTo>
                    <a:lnTo>
                      <a:pt x="123" y="129"/>
                    </a:lnTo>
                    <a:lnTo>
                      <a:pt x="120" y="125"/>
                    </a:lnTo>
                    <a:lnTo>
                      <a:pt x="118" y="122"/>
                    </a:lnTo>
                    <a:lnTo>
                      <a:pt x="116" y="121"/>
                    </a:lnTo>
                    <a:lnTo>
                      <a:pt x="116" y="121"/>
                    </a:lnTo>
                    <a:lnTo>
                      <a:pt x="113" y="121"/>
                    </a:lnTo>
                    <a:lnTo>
                      <a:pt x="113" y="122"/>
                    </a:lnTo>
                    <a:lnTo>
                      <a:pt x="112" y="125"/>
                    </a:lnTo>
                    <a:lnTo>
                      <a:pt x="113" y="129"/>
                    </a:lnTo>
                    <a:lnTo>
                      <a:pt x="113" y="129"/>
                    </a:lnTo>
                    <a:lnTo>
                      <a:pt x="118" y="135"/>
                    </a:lnTo>
                    <a:lnTo>
                      <a:pt x="119" y="137"/>
                    </a:lnTo>
                    <a:lnTo>
                      <a:pt x="119" y="140"/>
                    </a:lnTo>
                    <a:lnTo>
                      <a:pt x="119" y="140"/>
                    </a:lnTo>
                    <a:lnTo>
                      <a:pt x="118" y="150"/>
                    </a:lnTo>
                    <a:lnTo>
                      <a:pt x="116" y="154"/>
                    </a:lnTo>
                    <a:lnTo>
                      <a:pt x="116" y="155"/>
                    </a:lnTo>
                    <a:lnTo>
                      <a:pt x="115" y="155"/>
                    </a:lnTo>
                    <a:lnTo>
                      <a:pt x="115" y="155"/>
                    </a:lnTo>
                    <a:lnTo>
                      <a:pt x="110" y="151"/>
                    </a:lnTo>
                    <a:lnTo>
                      <a:pt x="110" y="150"/>
                    </a:lnTo>
                    <a:lnTo>
                      <a:pt x="109" y="147"/>
                    </a:lnTo>
                    <a:lnTo>
                      <a:pt x="109" y="147"/>
                    </a:lnTo>
                    <a:lnTo>
                      <a:pt x="107" y="141"/>
                    </a:lnTo>
                    <a:lnTo>
                      <a:pt x="104" y="135"/>
                    </a:lnTo>
                    <a:lnTo>
                      <a:pt x="97" y="125"/>
                    </a:lnTo>
                    <a:lnTo>
                      <a:pt x="97" y="125"/>
                    </a:lnTo>
                    <a:lnTo>
                      <a:pt x="96" y="125"/>
                    </a:lnTo>
                    <a:lnTo>
                      <a:pt x="94" y="126"/>
                    </a:lnTo>
                    <a:lnTo>
                      <a:pt x="96" y="131"/>
                    </a:lnTo>
                    <a:lnTo>
                      <a:pt x="96" y="131"/>
                    </a:lnTo>
                    <a:lnTo>
                      <a:pt x="100" y="141"/>
                    </a:lnTo>
                    <a:lnTo>
                      <a:pt x="104" y="151"/>
                    </a:lnTo>
                    <a:lnTo>
                      <a:pt x="104" y="151"/>
                    </a:lnTo>
                    <a:lnTo>
                      <a:pt x="104" y="153"/>
                    </a:lnTo>
                    <a:lnTo>
                      <a:pt x="102" y="151"/>
                    </a:lnTo>
                    <a:lnTo>
                      <a:pt x="96" y="148"/>
                    </a:lnTo>
                    <a:lnTo>
                      <a:pt x="96" y="148"/>
                    </a:lnTo>
                    <a:lnTo>
                      <a:pt x="91" y="147"/>
                    </a:lnTo>
                    <a:lnTo>
                      <a:pt x="89" y="147"/>
                    </a:lnTo>
                    <a:lnTo>
                      <a:pt x="89" y="148"/>
                    </a:lnTo>
                    <a:lnTo>
                      <a:pt x="89" y="148"/>
                    </a:lnTo>
                    <a:lnTo>
                      <a:pt x="90" y="155"/>
                    </a:lnTo>
                    <a:lnTo>
                      <a:pt x="91" y="158"/>
                    </a:lnTo>
                    <a:lnTo>
                      <a:pt x="91" y="158"/>
                    </a:lnTo>
                    <a:lnTo>
                      <a:pt x="90" y="160"/>
                    </a:lnTo>
                    <a:lnTo>
                      <a:pt x="90" y="160"/>
                    </a:lnTo>
                    <a:lnTo>
                      <a:pt x="78" y="157"/>
                    </a:lnTo>
                    <a:lnTo>
                      <a:pt x="71" y="154"/>
                    </a:lnTo>
                    <a:lnTo>
                      <a:pt x="65" y="151"/>
                    </a:lnTo>
                    <a:lnTo>
                      <a:pt x="65" y="151"/>
                    </a:lnTo>
                    <a:lnTo>
                      <a:pt x="62" y="148"/>
                    </a:lnTo>
                    <a:lnTo>
                      <a:pt x="62" y="147"/>
                    </a:lnTo>
                    <a:lnTo>
                      <a:pt x="62" y="145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55" y="138"/>
                    </a:lnTo>
                    <a:lnTo>
                      <a:pt x="52" y="135"/>
                    </a:lnTo>
                    <a:lnTo>
                      <a:pt x="51" y="131"/>
                    </a:lnTo>
                    <a:lnTo>
                      <a:pt x="52" y="129"/>
                    </a:lnTo>
                    <a:lnTo>
                      <a:pt x="52" y="129"/>
                    </a:lnTo>
                    <a:lnTo>
                      <a:pt x="57" y="128"/>
                    </a:lnTo>
                    <a:lnTo>
                      <a:pt x="62" y="129"/>
                    </a:lnTo>
                    <a:lnTo>
                      <a:pt x="67" y="129"/>
                    </a:lnTo>
                    <a:lnTo>
                      <a:pt x="70" y="129"/>
                    </a:lnTo>
                    <a:lnTo>
                      <a:pt x="70" y="128"/>
                    </a:lnTo>
                    <a:lnTo>
                      <a:pt x="70" y="128"/>
                    </a:lnTo>
                    <a:lnTo>
                      <a:pt x="70" y="125"/>
                    </a:lnTo>
                    <a:lnTo>
                      <a:pt x="67" y="122"/>
                    </a:lnTo>
                    <a:lnTo>
                      <a:pt x="64" y="121"/>
                    </a:lnTo>
                    <a:lnTo>
                      <a:pt x="61" y="121"/>
                    </a:lnTo>
                    <a:lnTo>
                      <a:pt x="61" y="121"/>
                    </a:lnTo>
                    <a:lnTo>
                      <a:pt x="52" y="119"/>
                    </a:lnTo>
                    <a:lnTo>
                      <a:pt x="49" y="118"/>
                    </a:lnTo>
                    <a:lnTo>
                      <a:pt x="48" y="115"/>
                    </a:lnTo>
                    <a:lnTo>
                      <a:pt x="48" y="115"/>
                    </a:lnTo>
                    <a:lnTo>
                      <a:pt x="45" y="109"/>
                    </a:lnTo>
                    <a:lnTo>
                      <a:pt x="45" y="108"/>
                    </a:lnTo>
                    <a:lnTo>
                      <a:pt x="47" y="106"/>
                    </a:lnTo>
                    <a:lnTo>
                      <a:pt x="47" y="106"/>
                    </a:lnTo>
                    <a:lnTo>
                      <a:pt x="52" y="106"/>
                    </a:lnTo>
                    <a:lnTo>
                      <a:pt x="52" y="105"/>
                    </a:lnTo>
                    <a:lnTo>
                      <a:pt x="51" y="105"/>
                    </a:lnTo>
                    <a:lnTo>
                      <a:pt x="51" y="105"/>
                    </a:lnTo>
                    <a:lnTo>
                      <a:pt x="48" y="102"/>
                    </a:lnTo>
                    <a:lnTo>
                      <a:pt x="42" y="96"/>
                    </a:lnTo>
                    <a:lnTo>
                      <a:pt x="39" y="92"/>
                    </a:lnTo>
                    <a:lnTo>
                      <a:pt x="39" y="89"/>
                    </a:lnTo>
                    <a:lnTo>
                      <a:pt x="39" y="87"/>
                    </a:lnTo>
                    <a:lnTo>
                      <a:pt x="39" y="87"/>
                    </a:lnTo>
                    <a:lnTo>
                      <a:pt x="44" y="82"/>
                    </a:lnTo>
                    <a:lnTo>
                      <a:pt x="47" y="79"/>
                    </a:lnTo>
                    <a:lnTo>
                      <a:pt x="47" y="79"/>
                    </a:lnTo>
                    <a:lnTo>
                      <a:pt x="48" y="77"/>
                    </a:lnTo>
                    <a:lnTo>
                      <a:pt x="51" y="76"/>
                    </a:lnTo>
                    <a:lnTo>
                      <a:pt x="55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7" y="74"/>
                    </a:lnTo>
                    <a:lnTo>
                      <a:pt x="76" y="71"/>
                    </a:lnTo>
                    <a:lnTo>
                      <a:pt x="89" y="67"/>
                    </a:lnTo>
                    <a:lnTo>
                      <a:pt x="89" y="67"/>
                    </a:lnTo>
                    <a:lnTo>
                      <a:pt x="89" y="66"/>
                    </a:lnTo>
                    <a:lnTo>
                      <a:pt x="87" y="66"/>
                    </a:lnTo>
                    <a:lnTo>
                      <a:pt x="77" y="66"/>
                    </a:lnTo>
                    <a:lnTo>
                      <a:pt x="67" y="67"/>
                    </a:lnTo>
                    <a:lnTo>
                      <a:pt x="62" y="67"/>
                    </a:lnTo>
                    <a:lnTo>
                      <a:pt x="61" y="66"/>
                    </a:lnTo>
                    <a:lnTo>
                      <a:pt x="61" y="66"/>
                    </a:lnTo>
                    <a:lnTo>
                      <a:pt x="62" y="64"/>
                    </a:lnTo>
                    <a:lnTo>
                      <a:pt x="64" y="63"/>
                    </a:lnTo>
                    <a:lnTo>
                      <a:pt x="70" y="61"/>
                    </a:lnTo>
                    <a:lnTo>
                      <a:pt x="76" y="58"/>
                    </a:lnTo>
                    <a:lnTo>
                      <a:pt x="77" y="58"/>
                    </a:lnTo>
                    <a:lnTo>
                      <a:pt x="76" y="57"/>
                    </a:lnTo>
                    <a:lnTo>
                      <a:pt x="76" y="57"/>
                    </a:lnTo>
                    <a:lnTo>
                      <a:pt x="61" y="54"/>
                    </a:lnTo>
                    <a:lnTo>
                      <a:pt x="61" y="54"/>
                    </a:lnTo>
                    <a:lnTo>
                      <a:pt x="60" y="54"/>
                    </a:lnTo>
                    <a:lnTo>
                      <a:pt x="58" y="55"/>
                    </a:lnTo>
                    <a:lnTo>
                      <a:pt x="57" y="55"/>
                    </a:lnTo>
                    <a:lnTo>
                      <a:pt x="54" y="55"/>
                    </a:lnTo>
                    <a:lnTo>
                      <a:pt x="54" y="55"/>
                    </a:lnTo>
                    <a:lnTo>
                      <a:pt x="52" y="54"/>
                    </a:lnTo>
                    <a:lnTo>
                      <a:pt x="52" y="53"/>
                    </a:lnTo>
                    <a:lnTo>
                      <a:pt x="51" y="51"/>
                    </a:lnTo>
                    <a:lnTo>
                      <a:pt x="48" y="53"/>
                    </a:lnTo>
                    <a:lnTo>
                      <a:pt x="48" y="53"/>
                    </a:lnTo>
                    <a:lnTo>
                      <a:pt x="42" y="61"/>
                    </a:lnTo>
                    <a:lnTo>
                      <a:pt x="41" y="64"/>
                    </a:lnTo>
                    <a:lnTo>
                      <a:pt x="39" y="64"/>
                    </a:lnTo>
                    <a:lnTo>
                      <a:pt x="39" y="63"/>
                    </a:lnTo>
                    <a:lnTo>
                      <a:pt x="39" y="63"/>
                    </a:lnTo>
                    <a:lnTo>
                      <a:pt x="38" y="58"/>
                    </a:lnTo>
                    <a:lnTo>
                      <a:pt x="38" y="54"/>
                    </a:lnTo>
                    <a:lnTo>
                      <a:pt x="38" y="51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2" y="57"/>
                    </a:lnTo>
                    <a:lnTo>
                      <a:pt x="29" y="60"/>
                    </a:lnTo>
                    <a:lnTo>
                      <a:pt x="28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57"/>
                    </a:lnTo>
                    <a:lnTo>
                      <a:pt x="18" y="55"/>
                    </a:lnTo>
                    <a:lnTo>
                      <a:pt x="18" y="55"/>
                    </a:lnTo>
                    <a:lnTo>
                      <a:pt x="16" y="54"/>
                    </a:lnTo>
                    <a:lnTo>
                      <a:pt x="13" y="51"/>
                    </a:lnTo>
                    <a:lnTo>
                      <a:pt x="13" y="47"/>
                    </a:lnTo>
                    <a:lnTo>
                      <a:pt x="15" y="44"/>
                    </a:lnTo>
                    <a:lnTo>
                      <a:pt x="15" y="44"/>
                    </a:lnTo>
                    <a:lnTo>
                      <a:pt x="18" y="42"/>
                    </a:lnTo>
                    <a:lnTo>
                      <a:pt x="22" y="41"/>
                    </a:lnTo>
                    <a:lnTo>
                      <a:pt x="26" y="40"/>
                    </a:lnTo>
                    <a:lnTo>
                      <a:pt x="31" y="37"/>
                    </a:lnTo>
                    <a:lnTo>
                      <a:pt x="31" y="37"/>
                    </a:lnTo>
                    <a:lnTo>
                      <a:pt x="34" y="34"/>
                    </a:lnTo>
                    <a:lnTo>
                      <a:pt x="35" y="31"/>
                    </a:lnTo>
                    <a:lnTo>
                      <a:pt x="35" y="29"/>
                    </a:lnTo>
                    <a:lnTo>
                      <a:pt x="34" y="29"/>
                    </a:lnTo>
                    <a:lnTo>
                      <a:pt x="34" y="29"/>
                    </a:lnTo>
                    <a:lnTo>
                      <a:pt x="28" y="31"/>
                    </a:lnTo>
                    <a:lnTo>
                      <a:pt x="22" y="31"/>
                    </a:lnTo>
                    <a:lnTo>
                      <a:pt x="22" y="31"/>
                    </a:lnTo>
                    <a:lnTo>
                      <a:pt x="16" y="34"/>
                    </a:lnTo>
                    <a:lnTo>
                      <a:pt x="13" y="34"/>
                    </a:lnTo>
                    <a:lnTo>
                      <a:pt x="10" y="31"/>
                    </a:lnTo>
                    <a:lnTo>
                      <a:pt x="10" y="31"/>
                    </a:lnTo>
                    <a:lnTo>
                      <a:pt x="7" y="27"/>
                    </a:lnTo>
                    <a:lnTo>
                      <a:pt x="5" y="21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7" y="9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2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96" name="Freeform 1447"/>
              <p:cNvSpPr>
                <a:spLocks/>
              </p:cNvSpPr>
              <p:nvPr/>
            </p:nvSpPr>
            <p:spPr bwMode="auto">
              <a:xfrm>
                <a:off x="2799247" y="1124939"/>
                <a:ext cx="23742" cy="26710"/>
              </a:xfrm>
              <a:custGeom>
                <a:avLst/>
                <a:gdLst>
                  <a:gd name="T0" fmla="*/ 23 w 24"/>
                  <a:gd name="T1" fmla="*/ 0 h 27"/>
                  <a:gd name="T2" fmla="*/ 0 w 24"/>
                  <a:gd name="T3" fmla="*/ 0 h 27"/>
                  <a:gd name="T4" fmla="*/ 0 w 24"/>
                  <a:gd name="T5" fmla="*/ 0 h 27"/>
                  <a:gd name="T6" fmla="*/ 0 w 24"/>
                  <a:gd name="T7" fmla="*/ 5 h 27"/>
                  <a:gd name="T8" fmla="*/ 0 w 24"/>
                  <a:gd name="T9" fmla="*/ 8 h 27"/>
                  <a:gd name="T10" fmla="*/ 1 w 24"/>
                  <a:gd name="T11" fmla="*/ 9 h 27"/>
                  <a:gd name="T12" fmla="*/ 1 w 24"/>
                  <a:gd name="T13" fmla="*/ 9 h 27"/>
                  <a:gd name="T14" fmla="*/ 7 w 24"/>
                  <a:gd name="T15" fmla="*/ 11 h 27"/>
                  <a:gd name="T16" fmla="*/ 8 w 24"/>
                  <a:gd name="T17" fmla="*/ 11 h 27"/>
                  <a:gd name="T18" fmla="*/ 10 w 24"/>
                  <a:gd name="T19" fmla="*/ 12 h 27"/>
                  <a:gd name="T20" fmla="*/ 10 w 24"/>
                  <a:gd name="T21" fmla="*/ 12 h 27"/>
                  <a:gd name="T22" fmla="*/ 14 w 24"/>
                  <a:gd name="T23" fmla="*/ 22 h 27"/>
                  <a:gd name="T24" fmla="*/ 17 w 24"/>
                  <a:gd name="T25" fmla="*/ 25 h 27"/>
                  <a:gd name="T26" fmla="*/ 17 w 24"/>
                  <a:gd name="T27" fmla="*/ 27 h 27"/>
                  <a:gd name="T28" fmla="*/ 19 w 24"/>
                  <a:gd name="T29" fmla="*/ 27 h 27"/>
                  <a:gd name="T30" fmla="*/ 19 w 24"/>
                  <a:gd name="T31" fmla="*/ 27 h 27"/>
                  <a:gd name="T32" fmla="*/ 23 w 24"/>
                  <a:gd name="T33" fmla="*/ 12 h 27"/>
                  <a:gd name="T34" fmla="*/ 24 w 24"/>
                  <a:gd name="T35" fmla="*/ 5 h 27"/>
                  <a:gd name="T36" fmla="*/ 24 w 24"/>
                  <a:gd name="T37" fmla="*/ 2 h 27"/>
                  <a:gd name="T38" fmla="*/ 23 w 24"/>
                  <a:gd name="T3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4" h="27">
                    <a:moveTo>
                      <a:pt x="2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7" y="11"/>
                    </a:lnTo>
                    <a:lnTo>
                      <a:pt x="8" y="11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22"/>
                    </a:lnTo>
                    <a:lnTo>
                      <a:pt x="17" y="25"/>
                    </a:lnTo>
                    <a:lnTo>
                      <a:pt x="17" y="27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23" y="12"/>
                    </a:lnTo>
                    <a:lnTo>
                      <a:pt x="24" y="5"/>
                    </a:lnTo>
                    <a:lnTo>
                      <a:pt x="24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97" name="Freeform 1448"/>
              <p:cNvSpPr>
                <a:spLocks/>
              </p:cNvSpPr>
              <p:nvPr/>
            </p:nvSpPr>
            <p:spPr bwMode="auto">
              <a:xfrm>
                <a:off x="2799247" y="1124939"/>
                <a:ext cx="23742" cy="26710"/>
              </a:xfrm>
              <a:custGeom>
                <a:avLst/>
                <a:gdLst>
                  <a:gd name="T0" fmla="*/ 23 w 24"/>
                  <a:gd name="T1" fmla="*/ 0 h 27"/>
                  <a:gd name="T2" fmla="*/ 0 w 24"/>
                  <a:gd name="T3" fmla="*/ 0 h 27"/>
                  <a:gd name="T4" fmla="*/ 0 w 24"/>
                  <a:gd name="T5" fmla="*/ 0 h 27"/>
                  <a:gd name="T6" fmla="*/ 0 w 24"/>
                  <a:gd name="T7" fmla="*/ 5 h 27"/>
                  <a:gd name="T8" fmla="*/ 0 w 24"/>
                  <a:gd name="T9" fmla="*/ 8 h 27"/>
                  <a:gd name="T10" fmla="*/ 1 w 24"/>
                  <a:gd name="T11" fmla="*/ 9 h 27"/>
                  <a:gd name="T12" fmla="*/ 1 w 24"/>
                  <a:gd name="T13" fmla="*/ 9 h 27"/>
                  <a:gd name="T14" fmla="*/ 7 w 24"/>
                  <a:gd name="T15" fmla="*/ 11 h 27"/>
                  <a:gd name="T16" fmla="*/ 8 w 24"/>
                  <a:gd name="T17" fmla="*/ 11 h 27"/>
                  <a:gd name="T18" fmla="*/ 10 w 24"/>
                  <a:gd name="T19" fmla="*/ 12 h 27"/>
                  <a:gd name="T20" fmla="*/ 10 w 24"/>
                  <a:gd name="T21" fmla="*/ 12 h 27"/>
                  <a:gd name="T22" fmla="*/ 14 w 24"/>
                  <a:gd name="T23" fmla="*/ 22 h 27"/>
                  <a:gd name="T24" fmla="*/ 17 w 24"/>
                  <a:gd name="T25" fmla="*/ 25 h 27"/>
                  <a:gd name="T26" fmla="*/ 17 w 24"/>
                  <a:gd name="T27" fmla="*/ 27 h 27"/>
                  <a:gd name="T28" fmla="*/ 19 w 24"/>
                  <a:gd name="T29" fmla="*/ 27 h 27"/>
                  <a:gd name="T30" fmla="*/ 19 w 24"/>
                  <a:gd name="T31" fmla="*/ 27 h 27"/>
                  <a:gd name="T32" fmla="*/ 23 w 24"/>
                  <a:gd name="T33" fmla="*/ 12 h 27"/>
                  <a:gd name="T34" fmla="*/ 24 w 24"/>
                  <a:gd name="T35" fmla="*/ 5 h 27"/>
                  <a:gd name="T36" fmla="*/ 24 w 24"/>
                  <a:gd name="T37" fmla="*/ 2 h 27"/>
                  <a:gd name="T38" fmla="*/ 23 w 24"/>
                  <a:gd name="T3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4" h="27">
                    <a:moveTo>
                      <a:pt x="2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7" y="11"/>
                    </a:lnTo>
                    <a:lnTo>
                      <a:pt x="8" y="11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22"/>
                    </a:lnTo>
                    <a:lnTo>
                      <a:pt x="17" y="25"/>
                    </a:lnTo>
                    <a:lnTo>
                      <a:pt x="17" y="27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23" y="12"/>
                    </a:lnTo>
                    <a:lnTo>
                      <a:pt x="24" y="5"/>
                    </a:lnTo>
                    <a:lnTo>
                      <a:pt x="24" y="2"/>
                    </a:lnTo>
                    <a:lnTo>
                      <a:pt x="23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40" name="Freeform 1491"/>
              <p:cNvSpPr>
                <a:spLocks/>
              </p:cNvSpPr>
              <p:nvPr/>
            </p:nvSpPr>
            <p:spPr bwMode="auto">
              <a:xfrm>
                <a:off x="2277907" y="2217081"/>
                <a:ext cx="7914" cy="15828"/>
              </a:xfrm>
              <a:custGeom>
                <a:avLst/>
                <a:gdLst>
                  <a:gd name="T0" fmla="*/ 0 w 8"/>
                  <a:gd name="T1" fmla="*/ 2 h 16"/>
                  <a:gd name="T2" fmla="*/ 0 w 8"/>
                  <a:gd name="T3" fmla="*/ 2 h 16"/>
                  <a:gd name="T4" fmla="*/ 0 w 8"/>
                  <a:gd name="T5" fmla="*/ 3 h 16"/>
                  <a:gd name="T6" fmla="*/ 1 w 8"/>
                  <a:gd name="T7" fmla="*/ 7 h 16"/>
                  <a:gd name="T8" fmla="*/ 2 w 8"/>
                  <a:gd name="T9" fmla="*/ 12 h 16"/>
                  <a:gd name="T10" fmla="*/ 2 w 8"/>
                  <a:gd name="T11" fmla="*/ 13 h 16"/>
                  <a:gd name="T12" fmla="*/ 2 w 8"/>
                  <a:gd name="T13" fmla="*/ 13 h 16"/>
                  <a:gd name="T14" fmla="*/ 2 w 8"/>
                  <a:gd name="T15" fmla="*/ 15 h 16"/>
                  <a:gd name="T16" fmla="*/ 4 w 8"/>
                  <a:gd name="T17" fmla="*/ 16 h 16"/>
                  <a:gd name="T18" fmla="*/ 7 w 8"/>
                  <a:gd name="T19" fmla="*/ 16 h 16"/>
                  <a:gd name="T20" fmla="*/ 8 w 8"/>
                  <a:gd name="T21" fmla="*/ 15 h 16"/>
                  <a:gd name="T22" fmla="*/ 8 w 8"/>
                  <a:gd name="T23" fmla="*/ 15 h 16"/>
                  <a:gd name="T24" fmla="*/ 8 w 8"/>
                  <a:gd name="T25" fmla="*/ 12 h 16"/>
                  <a:gd name="T26" fmla="*/ 7 w 8"/>
                  <a:gd name="T27" fmla="*/ 6 h 16"/>
                  <a:gd name="T28" fmla="*/ 4 w 8"/>
                  <a:gd name="T29" fmla="*/ 2 h 16"/>
                  <a:gd name="T30" fmla="*/ 2 w 8"/>
                  <a:gd name="T31" fmla="*/ 0 h 16"/>
                  <a:gd name="T32" fmla="*/ 0 w 8"/>
                  <a:gd name="T3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16">
                    <a:moveTo>
                      <a:pt x="0" y="2"/>
                    </a:moveTo>
                    <a:lnTo>
                      <a:pt x="0" y="2"/>
                    </a:lnTo>
                    <a:lnTo>
                      <a:pt x="0" y="3"/>
                    </a:lnTo>
                    <a:lnTo>
                      <a:pt x="1" y="7"/>
                    </a:lnTo>
                    <a:lnTo>
                      <a:pt x="2" y="12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4" y="16"/>
                    </a:lnTo>
                    <a:lnTo>
                      <a:pt x="7" y="16"/>
                    </a:lnTo>
                    <a:lnTo>
                      <a:pt x="8" y="15"/>
                    </a:lnTo>
                    <a:lnTo>
                      <a:pt x="8" y="15"/>
                    </a:lnTo>
                    <a:lnTo>
                      <a:pt x="8" y="12"/>
                    </a:lnTo>
                    <a:lnTo>
                      <a:pt x="7" y="6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41" name="Freeform 1492"/>
              <p:cNvSpPr>
                <a:spLocks/>
              </p:cNvSpPr>
              <p:nvPr/>
            </p:nvSpPr>
            <p:spPr bwMode="auto">
              <a:xfrm>
                <a:off x="2277907" y="2217081"/>
                <a:ext cx="7914" cy="15828"/>
              </a:xfrm>
              <a:custGeom>
                <a:avLst/>
                <a:gdLst>
                  <a:gd name="T0" fmla="*/ 0 w 8"/>
                  <a:gd name="T1" fmla="*/ 2 h 16"/>
                  <a:gd name="T2" fmla="*/ 0 w 8"/>
                  <a:gd name="T3" fmla="*/ 2 h 16"/>
                  <a:gd name="T4" fmla="*/ 0 w 8"/>
                  <a:gd name="T5" fmla="*/ 3 h 16"/>
                  <a:gd name="T6" fmla="*/ 1 w 8"/>
                  <a:gd name="T7" fmla="*/ 7 h 16"/>
                  <a:gd name="T8" fmla="*/ 2 w 8"/>
                  <a:gd name="T9" fmla="*/ 12 h 16"/>
                  <a:gd name="T10" fmla="*/ 2 w 8"/>
                  <a:gd name="T11" fmla="*/ 13 h 16"/>
                  <a:gd name="T12" fmla="*/ 2 w 8"/>
                  <a:gd name="T13" fmla="*/ 13 h 16"/>
                  <a:gd name="T14" fmla="*/ 2 w 8"/>
                  <a:gd name="T15" fmla="*/ 15 h 16"/>
                  <a:gd name="T16" fmla="*/ 4 w 8"/>
                  <a:gd name="T17" fmla="*/ 16 h 16"/>
                  <a:gd name="T18" fmla="*/ 7 w 8"/>
                  <a:gd name="T19" fmla="*/ 16 h 16"/>
                  <a:gd name="T20" fmla="*/ 8 w 8"/>
                  <a:gd name="T21" fmla="*/ 15 h 16"/>
                  <a:gd name="T22" fmla="*/ 8 w 8"/>
                  <a:gd name="T23" fmla="*/ 15 h 16"/>
                  <a:gd name="T24" fmla="*/ 8 w 8"/>
                  <a:gd name="T25" fmla="*/ 12 h 16"/>
                  <a:gd name="T26" fmla="*/ 7 w 8"/>
                  <a:gd name="T27" fmla="*/ 6 h 16"/>
                  <a:gd name="T28" fmla="*/ 4 w 8"/>
                  <a:gd name="T29" fmla="*/ 2 h 16"/>
                  <a:gd name="T30" fmla="*/ 2 w 8"/>
                  <a:gd name="T31" fmla="*/ 0 h 16"/>
                  <a:gd name="T32" fmla="*/ 0 w 8"/>
                  <a:gd name="T3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16">
                    <a:moveTo>
                      <a:pt x="0" y="2"/>
                    </a:moveTo>
                    <a:lnTo>
                      <a:pt x="0" y="2"/>
                    </a:lnTo>
                    <a:lnTo>
                      <a:pt x="0" y="3"/>
                    </a:lnTo>
                    <a:lnTo>
                      <a:pt x="1" y="7"/>
                    </a:lnTo>
                    <a:lnTo>
                      <a:pt x="2" y="12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4" y="16"/>
                    </a:lnTo>
                    <a:lnTo>
                      <a:pt x="7" y="16"/>
                    </a:lnTo>
                    <a:lnTo>
                      <a:pt x="8" y="15"/>
                    </a:lnTo>
                    <a:lnTo>
                      <a:pt x="8" y="15"/>
                    </a:lnTo>
                    <a:lnTo>
                      <a:pt x="8" y="12"/>
                    </a:lnTo>
                    <a:lnTo>
                      <a:pt x="7" y="6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42" name="Freeform 1493"/>
              <p:cNvSpPr>
                <a:spLocks/>
              </p:cNvSpPr>
              <p:nvPr/>
            </p:nvSpPr>
            <p:spPr bwMode="auto">
              <a:xfrm>
                <a:off x="1784266" y="2276437"/>
                <a:ext cx="21764" cy="13850"/>
              </a:xfrm>
              <a:custGeom>
                <a:avLst/>
                <a:gdLst>
                  <a:gd name="T0" fmla="*/ 19 w 22"/>
                  <a:gd name="T1" fmla="*/ 10 h 14"/>
                  <a:gd name="T2" fmla="*/ 19 w 22"/>
                  <a:gd name="T3" fmla="*/ 10 h 14"/>
                  <a:gd name="T4" fmla="*/ 15 w 22"/>
                  <a:gd name="T5" fmla="*/ 11 h 14"/>
                  <a:gd name="T6" fmla="*/ 9 w 22"/>
                  <a:gd name="T7" fmla="*/ 13 h 14"/>
                  <a:gd name="T8" fmla="*/ 3 w 22"/>
                  <a:gd name="T9" fmla="*/ 14 h 14"/>
                  <a:gd name="T10" fmla="*/ 2 w 22"/>
                  <a:gd name="T11" fmla="*/ 14 h 14"/>
                  <a:gd name="T12" fmla="*/ 0 w 22"/>
                  <a:gd name="T13" fmla="*/ 13 h 14"/>
                  <a:gd name="T14" fmla="*/ 0 w 22"/>
                  <a:gd name="T15" fmla="*/ 13 h 14"/>
                  <a:gd name="T16" fmla="*/ 0 w 22"/>
                  <a:gd name="T17" fmla="*/ 11 h 14"/>
                  <a:gd name="T18" fmla="*/ 2 w 22"/>
                  <a:gd name="T19" fmla="*/ 8 h 14"/>
                  <a:gd name="T20" fmla="*/ 8 w 22"/>
                  <a:gd name="T21" fmla="*/ 4 h 14"/>
                  <a:gd name="T22" fmla="*/ 8 w 22"/>
                  <a:gd name="T23" fmla="*/ 4 h 14"/>
                  <a:gd name="T24" fmla="*/ 13 w 22"/>
                  <a:gd name="T25" fmla="*/ 1 h 14"/>
                  <a:gd name="T26" fmla="*/ 16 w 22"/>
                  <a:gd name="T27" fmla="*/ 0 h 14"/>
                  <a:gd name="T28" fmla="*/ 18 w 22"/>
                  <a:gd name="T29" fmla="*/ 1 h 14"/>
                  <a:gd name="T30" fmla="*/ 18 w 22"/>
                  <a:gd name="T31" fmla="*/ 1 h 14"/>
                  <a:gd name="T32" fmla="*/ 21 w 22"/>
                  <a:gd name="T33" fmla="*/ 5 h 14"/>
                  <a:gd name="T34" fmla="*/ 22 w 22"/>
                  <a:gd name="T35" fmla="*/ 8 h 14"/>
                  <a:gd name="T36" fmla="*/ 21 w 22"/>
                  <a:gd name="T37" fmla="*/ 10 h 14"/>
                  <a:gd name="T38" fmla="*/ 19 w 22"/>
                  <a:gd name="T3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" h="14">
                    <a:moveTo>
                      <a:pt x="19" y="10"/>
                    </a:moveTo>
                    <a:lnTo>
                      <a:pt x="19" y="10"/>
                    </a:lnTo>
                    <a:lnTo>
                      <a:pt x="15" y="11"/>
                    </a:lnTo>
                    <a:lnTo>
                      <a:pt x="9" y="13"/>
                    </a:lnTo>
                    <a:lnTo>
                      <a:pt x="3" y="14"/>
                    </a:lnTo>
                    <a:lnTo>
                      <a:pt x="2" y="14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2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3" y="1"/>
                    </a:lnTo>
                    <a:lnTo>
                      <a:pt x="16" y="0"/>
                    </a:lnTo>
                    <a:lnTo>
                      <a:pt x="18" y="1"/>
                    </a:lnTo>
                    <a:lnTo>
                      <a:pt x="18" y="1"/>
                    </a:lnTo>
                    <a:lnTo>
                      <a:pt x="21" y="5"/>
                    </a:lnTo>
                    <a:lnTo>
                      <a:pt x="22" y="8"/>
                    </a:lnTo>
                    <a:lnTo>
                      <a:pt x="21" y="10"/>
                    </a:lnTo>
                    <a:lnTo>
                      <a:pt x="19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43" name="Freeform 1494"/>
              <p:cNvSpPr>
                <a:spLocks/>
              </p:cNvSpPr>
              <p:nvPr/>
            </p:nvSpPr>
            <p:spPr bwMode="auto">
              <a:xfrm>
                <a:off x="1784266" y="2276437"/>
                <a:ext cx="21764" cy="13850"/>
              </a:xfrm>
              <a:custGeom>
                <a:avLst/>
                <a:gdLst>
                  <a:gd name="T0" fmla="*/ 19 w 22"/>
                  <a:gd name="T1" fmla="*/ 10 h 14"/>
                  <a:gd name="T2" fmla="*/ 19 w 22"/>
                  <a:gd name="T3" fmla="*/ 10 h 14"/>
                  <a:gd name="T4" fmla="*/ 15 w 22"/>
                  <a:gd name="T5" fmla="*/ 11 h 14"/>
                  <a:gd name="T6" fmla="*/ 9 w 22"/>
                  <a:gd name="T7" fmla="*/ 13 h 14"/>
                  <a:gd name="T8" fmla="*/ 3 w 22"/>
                  <a:gd name="T9" fmla="*/ 14 h 14"/>
                  <a:gd name="T10" fmla="*/ 2 w 22"/>
                  <a:gd name="T11" fmla="*/ 14 h 14"/>
                  <a:gd name="T12" fmla="*/ 0 w 22"/>
                  <a:gd name="T13" fmla="*/ 13 h 14"/>
                  <a:gd name="T14" fmla="*/ 0 w 22"/>
                  <a:gd name="T15" fmla="*/ 13 h 14"/>
                  <a:gd name="T16" fmla="*/ 0 w 22"/>
                  <a:gd name="T17" fmla="*/ 11 h 14"/>
                  <a:gd name="T18" fmla="*/ 2 w 22"/>
                  <a:gd name="T19" fmla="*/ 8 h 14"/>
                  <a:gd name="T20" fmla="*/ 8 w 22"/>
                  <a:gd name="T21" fmla="*/ 4 h 14"/>
                  <a:gd name="T22" fmla="*/ 8 w 22"/>
                  <a:gd name="T23" fmla="*/ 4 h 14"/>
                  <a:gd name="T24" fmla="*/ 13 w 22"/>
                  <a:gd name="T25" fmla="*/ 1 h 14"/>
                  <a:gd name="T26" fmla="*/ 16 w 22"/>
                  <a:gd name="T27" fmla="*/ 0 h 14"/>
                  <a:gd name="T28" fmla="*/ 18 w 22"/>
                  <a:gd name="T29" fmla="*/ 1 h 14"/>
                  <a:gd name="T30" fmla="*/ 18 w 22"/>
                  <a:gd name="T31" fmla="*/ 1 h 14"/>
                  <a:gd name="T32" fmla="*/ 21 w 22"/>
                  <a:gd name="T33" fmla="*/ 5 h 14"/>
                  <a:gd name="T34" fmla="*/ 22 w 22"/>
                  <a:gd name="T35" fmla="*/ 8 h 14"/>
                  <a:gd name="T36" fmla="*/ 21 w 22"/>
                  <a:gd name="T37" fmla="*/ 10 h 14"/>
                  <a:gd name="T38" fmla="*/ 19 w 22"/>
                  <a:gd name="T3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" h="14">
                    <a:moveTo>
                      <a:pt x="19" y="10"/>
                    </a:moveTo>
                    <a:lnTo>
                      <a:pt x="19" y="10"/>
                    </a:lnTo>
                    <a:lnTo>
                      <a:pt x="15" y="11"/>
                    </a:lnTo>
                    <a:lnTo>
                      <a:pt x="9" y="13"/>
                    </a:lnTo>
                    <a:lnTo>
                      <a:pt x="3" y="14"/>
                    </a:lnTo>
                    <a:lnTo>
                      <a:pt x="2" y="14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2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3" y="1"/>
                    </a:lnTo>
                    <a:lnTo>
                      <a:pt x="16" y="0"/>
                    </a:lnTo>
                    <a:lnTo>
                      <a:pt x="18" y="1"/>
                    </a:lnTo>
                    <a:lnTo>
                      <a:pt x="18" y="1"/>
                    </a:lnTo>
                    <a:lnTo>
                      <a:pt x="21" y="5"/>
                    </a:lnTo>
                    <a:lnTo>
                      <a:pt x="22" y="8"/>
                    </a:lnTo>
                    <a:lnTo>
                      <a:pt x="21" y="10"/>
                    </a:lnTo>
                    <a:lnTo>
                      <a:pt x="19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44" name="Freeform 1495"/>
              <p:cNvSpPr>
                <a:spLocks/>
              </p:cNvSpPr>
              <p:nvPr/>
            </p:nvSpPr>
            <p:spPr bwMode="auto">
              <a:xfrm>
                <a:off x="1747663" y="2307104"/>
                <a:ext cx="10882" cy="12860"/>
              </a:xfrm>
              <a:custGeom>
                <a:avLst/>
                <a:gdLst>
                  <a:gd name="T0" fmla="*/ 11 w 11"/>
                  <a:gd name="T1" fmla="*/ 6 h 13"/>
                  <a:gd name="T2" fmla="*/ 11 w 11"/>
                  <a:gd name="T3" fmla="*/ 6 h 13"/>
                  <a:gd name="T4" fmla="*/ 5 w 11"/>
                  <a:gd name="T5" fmla="*/ 11 h 13"/>
                  <a:gd name="T6" fmla="*/ 1 w 11"/>
                  <a:gd name="T7" fmla="*/ 13 h 13"/>
                  <a:gd name="T8" fmla="*/ 0 w 11"/>
                  <a:gd name="T9" fmla="*/ 13 h 13"/>
                  <a:gd name="T10" fmla="*/ 0 w 11"/>
                  <a:gd name="T11" fmla="*/ 13 h 13"/>
                  <a:gd name="T12" fmla="*/ 0 w 11"/>
                  <a:gd name="T13" fmla="*/ 11 h 13"/>
                  <a:gd name="T14" fmla="*/ 1 w 11"/>
                  <a:gd name="T15" fmla="*/ 5 h 13"/>
                  <a:gd name="T16" fmla="*/ 4 w 11"/>
                  <a:gd name="T17" fmla="*/ 0 h 13"/>
                  <a:gd name="T18" fmla="*/ 5 w 11"/>
                  <a:gd name="T19" fmla="*/ 0 h 13"/>
                  <a:gd name="T20" fmla="*/ 7 w 11"/>
                  <a:gd name="T21" fmla="*/ 0 h 13"/>
                  <a:gd name="T22" fmla="*/ 7 w 11"/>
                  <a:gd name="T23" fmla="*/ 0 h 13"/>
                  <a:gd name="T24" fmla="*/ 10 w 11"/>
                  <a:gd name="T25" fmla="*/ 0 h 13"/>
                  <a:gd name="T26" fmla="*/ 11 w 11"/>
                  <a:gd name="T27" fmla="*/ 2 h 13"/>
                  <a:gd name="T28" fmla="*/ 11 w 11"/>
                  <a:gd name="T29" fmla="*/ 5 h 13"/>
                  <a:gd name="T30" fmla="*/ 11 w 11"/>
                  <a:gd name="T31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3">
                    <a:moveTo>
                      <a:pt x="11" y="6"/>
                    </a:moveTo>
                    <a:lnTo>
                      <a:pt x="11" y="6"/>
                    </a:lnTo>
                    <a:lnTo>
                      <a:pt x="5" y="11"/>
                    </a:lnTo>
                    <a:lnTo>
                      <a:pt x="1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1" y="5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11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45" name="Freeform 1496"/>
              <p:cNvSpPr>
                <a:spLocks/>
              </p:cNvSpPr>
              <p:nvPr/>
            </p:nvSpPr>
            <p:spPr bwMode="auto">
              <a:xfrm>
                <a:off x="1747663" y="2307104"/>
                <a:ext cx="10882" cy="12860"/>
              </a:xfrm>
              <a:custGeom>
                <a:avLst/>
                <a:gdLst>
                  <a:gd name="T0" fmla="*/ 11 w 11"/>
                  <a:gd name="T1" fmla="*/ 6 h 13"/>
                  <a:gd name="T2" fmla="*/ 11 w 11"/>
                  <a:gd name="T3" fmla="*/ 6 h 13"/>
                  <a:gd name="T4" fmla="*/ 5 w 11"/>
                  <a:gd name="T5" fmla="*/ 11 h 13"/>
                  <a:gd name="T6" fmla="*/ 1 w 11"/>
                  <a:gd name="T7" fmla="*/ 13 h 13"/>
                  <a:gd name="T8" fmla="*/ 0 w 11"/>
                  <a:gd name="T9" fmla="*/ 13 h 13"/>
                  <a:gd name="T10" fmla="*/ 0 w 11"/>
                  <a:gd name="T11" fmla="*/ 13 h 13"/>
                  <a:gd name="T12" fmla="*/ 0 w 11"/>
                  <a:gd name="T13" fmla="*/ 11 h 13"/>
                  <a:gd name="T14" fmla="*/ 1 w 11"/>
                  <a:gd name="T15" fmla="*/ 5 h 13"/>
                  <a:gd name="T16" fmla="*/ 4 w 11"/>
                  <a:gd name="T17" fmla="*/ 0 h 13"/>
                  <a:gd name="T18" fmla="*/ 5 w 11"/>
                  <a:gd name="T19" fmla="*/ 0 h 13"/>
                  <a:gd name="T20" fmla="*/ 7 w 11"/>
                  <a:gd name="T21" fmla="*/ 0 h 13"/>
                  <a:gd name="T22" fmla="*/ 7 w 11"/>
                  <a:gd name="T23" fmla="*/ 0 h 13"/>
                  <a:gd name="T24" fmla="*/ 10 w 11"/>
                  <a:gd name="T25" fmla="*/ 0 h 13"/>
                  <a:gd name="T26" fmla="*/ 11 w 11"/>
                  <a:gd name="T27" fmla="*/ 2 h 13"/>
                  <a:gd name="T28" fmla="*/ 11 w 11"/>
                  <a:gd name="T29" fmla="*/ 5 h 13"/>
                  <a:gd name="T30" fmla="*/ 11 w 11"/>
                  <a:gd name="T31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3">
                    <a:moveTo>
                      <a:pt x="11" y="6"/>
                    </a:moveTo>
                    <a:lnTo>
                      <a:pt x="11" y="6"/>
                    </a:lnTo>
                    <a:lnTo>
                      <a:pt x="5" y="11"/>
                    </a:lnTo>
                    <a:lnTo>
                      <a:pt x="1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1" y="5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11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46" name="Freeform 1497"/>
              <p:cNvSpPr>
                <a:spLocks/>
              </p:cNvSpPr>
              <p:nvPr/>
            </p:nvSpPr>
            <p:spPr bwMode="auto">
              <a:xfrm>
                <a:off x="1722932" y="2318975"/>
                <a:ext cx="12860" cy="12860"/>
              </a:xfrm>
              <a:custGeom>
                <a:avLst/>
                <a:gdLst>
                  <a:gd name="T0" fmla="*/ 12 w 13"/>
                  <a:gd name="T1" fmla="*/ 0 h 13"/>
                  <a:gd name="T2" fmla="*/ 12 w 13"/>
                  <a:gd name="T3" fmla="*/ 0 h 13"/>
                  <a:gd name="T4" fmla="*/ 9 w 13"/>
                  <a:gd name="T5" fmla="*/ 1 h 13"/>
                  <a:gd name="T6" fmla="*/ 3 w 13"/>
                  <a:gd name="T7" fmla="*/ 6 h 13"/>
                  <a:gd name="T8" fmla="*/ 0 w 13"/>
                  <a:gd name="T9" fmla="*/ 10 h 13"/>
                  <a:gd name="T10" fmla="*/ 0 w 13"/>
                  <a:gd name="T11" fmla="*/ 12 h 13"/>
                  <a:gd name="T12" fmla="*/ 0 w 13"/>
                  <a:gd name="T13" fmla="*/ 13 h 13"/>
                  <a:gd name="T14" fmla="*/ 0 w 13"/>
                  <a:gd name="T15" fmla="*/ 13 h 13"/>
                  <a:gd name="T16" fmla="*/ 3 w 13"/>
                  <a:gd name="T17" fmla="*/ 13 h 13"/>
                  <a:gd name="T18" fmla="*/ 4 w 13"/>
                  <a:gd name="T19" fmla="*/ 13 h 13"/>
                  <a:gd name="T20" fmla="*/ 10 w 13"/>
                  <a:gd name="T21" fmla="*/ 9 h 13"/>
                  <a:gd name="T22" fmla="*/ 13 w 13"/>
                  <a:gd name="T23" fmla="*/ 3 h 13"/>
                  <a:gd name="T24" fmla="*/ 13 w 13"/>
                  <a:gd name="T25" fmla="*/ 1 h 13"/>
                  <a:gd name="T26" fmla="*/ 12 w 13"/>
                  <a:gd name="T2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12" y="0"/>
                    </a:moveTo>
                    <a:lnTo>
                      <a:pt x="12" y="0"/>
                    </a:lnTo>
                    <a:lnTo>
                      <a:pt x="9" y="1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10" y="9"/>
                    </a:lnTo>
                    <a:lnTo>
                      <a:pt x="13" y="3"/>
                    </a:lnTo>
                    <a:lnTo>
                      <a:pt x="13" y="1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47" name="Freeform 1498"/>
              <p:cNvSpPr>
                <a:spLocks/>
              </p:cNvSpPr>
              <p:nvPr/>
            </p:nvSpPr>
            <p:spPr bwMode="auto">
              <a:xfrm>
                <a:off x="1722932" y="2318975"/>
                <a:ext cx="12860" cy="12860"/>
              </a:xfrm>
              <a:custGeom>
                <a:avLst/>
                <a:gdLst>
                  <a:gd name="T0" fmla="*/ 12 w 13"/>
                  <a:gd name="T1" fmla="*/ 0 h 13"/>
                  <a:gd name="T2" fmla="*/ 12 w 13"/>
                  <a:gd name="T3" fmla="*/ 0 h 13"/>
                  <a:gd name="T4" fmla="*/ 9 w 13"/>
                  <a:gd name="T5" fmla="*/ 1 h 13"/>
                  <a:gd name="T6" fmla="*/ 3 w 13"/>
                  <a:gd name="T7" fmla="*/ 6 h 13"/>
                  <a:gd name="T8" fmla="*/ 0 w 13"/>
                  <a:gd name="T9" fmla="*/ 10 h 13"/>
                  <a:gd name="T10" fmla="*/ 0 w 13"/>
                  <a:gd name="T11" fmla="*/ 12 h 13"/>
                  <a:gd name="T12" fmla="*/ 0 w 13"/>
                  <a:gd name="T13" fmla="*/ 13 h 13"/>
                  <a:gd name="T14" fmla="*/ 0 w 13"/>
                  <a:gd name="T15" fmla="*/ 13 h 13"/>
                  <a:gd name="T16" fmla="*/ 3 w 13"/>
                  <a:gd name="T17" fmla="*/ 13 h 13"/>
                  <a:gd name="T18" fmla="*/ 4 w 13"/>
                  <a:gd name="T19" fmla="*/ 13 h 13"/>
                  <a:gd name="T20" fmla="*/ 10 w 13"/>
                  <a:gd name="T21" fmla="*/ 9 h 13"/>
                  <a:gd name="T22" fmla="*/ 13 w 13"/>
                  <a:gd name="T23" fmla="*/ 3 h 13"/>
                  <a:gd name="T24" fmla="*/ 13 w 13"/>
                  <a:gd name="T25" fmla="*/ 1 h 13"/>
                  <a:gd name="T26" fmla="*/ 12 w 13"/>
                  <a:gd name="T2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12" y="0"/>
                    </a:moveTo>
                    <a:lnTo>
                      <a:pt x="12" y="0"/>
                    </a:lnTo>
                    <a:lnTo>
                      <a:pt x="9" y="1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10" y="9"/>
                    </a:lnTo>
                    <a:lnTo>
                      <a:pt x="13" y="3"/>
                    </a:lnTo>
                    <a:lnTo>
                      <a:pt x="13" y="1"/>
                    </a:lnTo>
                    <a:lnTo>
                      <a:pt x="12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50" name="Freeform 1501"/>
              <p:cNvSpPr>
                <a:spLocks/>
              </p:cNvSpPr>
              <p:nvPr/>
            </p:nvSpPr>
            <p:spPr bwMode="auto">
              <a:xfrm>
                <a:off x="3090089" y="2321943"/>
                <a:ext cx="28689" cy="16817"/>
              </a:xfrm>
              <a:custGeom>
                <a:avLst/>
                <a:gdLst>
                  <a:gd name="T0" fmla="*/ 26 w 29"/>
                  <a:gd name="T1" fmla="*/ 17 h 17"/>
                  <a:gd name="T2" fmla="*/ 26 w 29"/>
                  <a:gd name="T3" fmla="*/ 17 h 17"/>
                  <a:gd name="T4" fmla="*/ 20 w 29"/>
                  <a:gd name="T5" fmla="*/ 17 h 17"/>
                  <a:gd name="T6" fmla="*/ 14 w 29"/>
                  <a:gd name="T7" fmla="*/ 14 h 17"/>
                  <a:gd name="T8" fmla="*/ 4 w 29"/>
                  <a:gd name="T9" fmla="*/ 10 h 17"/>
                  <a:gd name="T10" fmla="*/ 4 w 29"/>
                  <a:gd name="T11" fmla="*/ 10 h 17"/>
                  <a:gd name="T12" fmla="*/ 1 w 29"/>
                  <a:gd name="T13" fmla="*/ 7 h 17"/>
                  <a:gd name="T14" fmla="*/ 0 w 29"/>
                  <a:gd name="T15" fmla="*/ 3 h 17"/>
                  <a:gd name="T16" fmla="*/ 0 w 29"/>
                  <a:gd name="T17" fmla="*/ 1 h 17"/>
                  <a:gd name="T18" fmla="*/ 1 w 29"/>
                  <a:gd name="T19" fmla="*/ 0 h 17"/>
                  <a:gd name="T20" fmla="*/ 1 w 29"/>
                  <a:gd name="T21" fmla="*/ 0 h 17"/>
                  <a:gd name="T22" fmla="*/ 7 w 29"/>
                  <a:gd name="T23" fmla="*/ 3 h 17"/>
                  <a:gd name="T24" fmla="*/ 19 w 29"/>
                  <a:gd name="T25" fmla="*/ 7 h 17"/>
                  <a:gd name="T26" fmla="*/ 19 w 29"/>
                  <a:gd name="T27" fmla="*/ 7 h 17"/>
                  <a:gd name="T28" fmla="*/ 24 w 29"/>
                  <a:gd name="T29" fmla="*/ 9 h 17"/>
                  <a:gd name="T30" fmla="*/ 27 w 29"/>
                  <a:gd name="T31" fmla="*/ 13 h 17"/>
                  <a:gd name="T32" fmla="*/ 29 w 29"/>
                  <a:gd name="T33" fmla="*/ 16 h 17"/>
                  <a:gd name="T34" fmla="*/ 27 w 29"/>
                  <a:gd name="T35" fmla="*/ 16 h 17"/>
                  <a:gd name="T36" fmla="*/ 26 w 29"/>
                  <a:gd name="T3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9" h="17">
                    <a:moveTo>
                      <a:pt x="26" y="17"/>
                    </a:moveTo>
                    <a:lnTo>
                      <a:pt x="26" y="17"/>
                    </a:lnTo>
                    <a:lnTo>
                      <a:pt x="20" y="17"/>
                    </a:lnTo>
                    <a:lnTo>
                      <a:pt x="1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1" y="7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7" y="3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24" y="9"/>
                    </a:lnTo>
                    <a:lnTo>
                      <a:pt x="27" y="13"/>
                    </a:lnTo>
                    <a:lnTo>
                      <a:pt x="29" y="16"/>
                    </a:lnTo>
                    <a:lnTo>
                      <a:pt x="27" y="16"/>
                    </a:lnTo>
                    <a:lnTo>
                      <a:pt x="26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51" name="Freeform 1502"/>
              <p:cNvSpPr>
                <a:spLocks/>
              </p:cNvSpPr>
              <p:nvPr/>
            </p:nvSpPr>
            <p:spPr bwMode="auto">
              <a:xfrm>
                <a:off x="3090089" y="2321943"/>
                <a:ext cx="28689" cy="16817"/>
              </a:xfrm>
              <a:custGeom>
                <a:avLst/>
                <a:gdLst>
                  <a:gd name="T0" fmla="*/ 26 w 29"/>
                  <a:gd name="T1" fmla="*/ 17 h 17"/>
                  <a:gd name="T2" fmla="*/ 26 w 29"/>
                  <a:gd name="T3" fmla="*/ 17 h 17"/>
                  <a:gd name="T4" fmla="*/ 20 w 29"/>
                  <a:gd name="T5" fmla="*/ 17 h 17"/>
                  <a:gd name="T6" fmla="*/ 14 w 29"/>
                  <a:gd name="T7" fmla="*/ 14 h 17"/>
                  <a:gd name="T8" fmla="*/ 4 w 29"/>
                  <a:gd name="T9" fmla="*/ 10 h 17"/>
                  <a:gd name="T10" fmla="*/ 4 w 29"/>
                  <a:gd name="T11" fmla="*/ 10 h 17"/>
                  <a:gd name="T12" fmla="*/ 1 w 29"/>
                  <a:gd name="T13" fmla="*/ 7 h 17"/>
                  <a:gd name="T14" fmla="*/ 0 w 29"/>
                  <a:gd name="T15" fmla="*/ 3 h 17"/>
                  <a:gd name="T16" fmla="*/ 0 w 29"/>
                  <a:gd name="T17" fmla="*/ 1 h 17"/>
                  <a:gd name="T18" fmla="*/ 1 w 29"/>
                  <a:gd name="T19" fmla="*/ 0 h 17"/>
                  <a:gd name="T20" fmla="*/ 1 w 29"/>
                  <a:gd name="T21" fmla="*/ 0 h 17"/>
                  <a:gd name="T22" fmla="*/ 7 w 29"/>
                  <a:gd name="T23" fmla="*/ 3 h 17"/>
                  <a:gd name="T24" fmla="*/ 19 w 29"/>
                  <a:gd name="T25" fmla="*/ 7 h 17"/>
                  <a:gd name="T26" fmla="*/ 19 w 29"/>
                  <a:gd name="T27" fmla="*/ 7 h 17"/>
                  <a:gd name="T28" fmla="*/ 24 w 29"/>
                  <a:gd name="T29" fmla="*/ 9 h 17"/>
                  <a:gd name="T30" fmla="*/ 27 w 29"/>
                  <a:gd name="T31" fmla="*/ 13 h 17"/>
                  <a:gd name="T32" fmla="*/ 29 w 29"/>
                  <a:gd name="T33" fmla="*/ 16 h 17"/>
                  <a:gd name="T34" fmla="*/ 27 w 29"/>
                  <a:gd name="T35" fmla="*/ 16 h 17"/>
                  <a:gd name="T36" fmla="*/ 26 w 29"/>
                  <a:gd name="T3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9" h="17">
                    <a:moveTo>
                      <a:pt x="26" y="17"/>
                    </a:moveTo>
                    <a:lnTo>
                      <a:pt x="26" y="17"/>
                    </a:lnTo>
                    <a:lnTo>
                      <a:pt x="20" y="17"/>
                    </a:lnTo>
                    <a:lnTo>
                      <a:pt x="1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1" y="7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7" y="3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24" y="9"/>
                    </a:lnTo>
                    <a:lnTo>
                      <a:pt x="27" y="13"/>
                    </a:lnTo>
                    <a:lnTo>
                      <a:pt x="29" y="16"/>
                    </a:lnTo>
                    <a:lnTo>
                      <a:pt x="27" y="16"/>
                    </a:lnTo>
                    <a:lnTo>
                      <a:pt x="26" y="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2" name="Freeform 1630"/>
              <p:cNvSpPr>
                <a:spLocks/>
              </p:cNvSpPr>
              <p:nvPr/>
            </p:nvSpPr>
            <p:spPr bwMode="auto">
              <a:xfrm>
                <a:off x="3234520" y="3604023"/>
                <a:ext cx="101894" cy="683578"/>
              </a:xfrm>
              <a:custGeom>
                <a:avLst/>
                <a:gdLst>
                  <a:gd name="T0" fmla="*/ 61 w 103"/>
                  <a:gd name="T1" fmla="*/ 690 h 691"/>
                  <a:gd name="T2" fmla="*/ 35 w 103"/>
                  <a:gd name="T3" fmla="*/ 688 h 691"/>
                  <a:gd name="T4" fmla="*/ 23 w 103"/>
                  <a:gd name="T5" fmla="*/ 684 h 691"/>
                  <a:gd name="T6" fmla="*/ 20 w 103"/>
                  <a:gd name="T7" fmla="*/ 669 h 691"/>
                  <a:gd name="T8" fmla="*/ 20 w 103"/>
                  <a:gd name="T9" fmla="*/ 652 h 691"/>
                  <a:gd name="T10" fmla="*/ 14 w 103"/>
                  <a:gd name="T11" fmla="*/ 652 h 691"/>
                  <a:gd name="T12" fmla="*/ 6 w 103"/>
                  <a:gd name="T13" fmla="*/ 656 h 691"/>
                  <a:gd name="T14" fmla="*/ 1 w 103"/>
                  <a:gd name="T15" fmla="*/ 651 h 691"/>
                  <a:gd name="T16" fmla="*/ 1 w 103"/>
                  <a:gd name="T17" fmla="*/ 629 h 691"/>
                  <a:gd name="T18" fmla="*/ 14 w 103"/>
                  <a:gd name="T19" fmla="*/ 610 h 691"/>
                  <a:gd name="T20" fmla="*/ 19 w 103"/>
                  <a:gd name="T21" fmla="*/ 598 h 691"/>
                  <a:gd name="T22" fmla="*/ 26 w 103"/>
                  <a:gd name="T23" fmla="*/ 571 h 691"/>
                  <a:gd name="T24" fmla="*/ 28 w 103"/>
                  <a:gd name="T25" fmla="*/ 564 h 691"/>
                  <a:gd name="T26" fmla="*/ 28 w 103"/>
                  <a:gd name="T27" fmla="*/ 535 h 691"/>
                  <a:gd name="T28" fmla="*/ 28 w 103"/>
                  <a:gd name="T29" fmla="*/ 529 h 691"/>
                  <a:gd name="T30" fmla="*/ 35 w 103"/>
                  <a:gd name="T31" fmla="*/ 520 h 691"/>
                  <a:gd name="T32" fmla="*/ 28 w 103"/>
                  <a:gd name="T33" fmla="*/ 513 h 691"/>
                  <a:gd name="T34" fmla="*/ 28 w 103"/>
                  <a:gd name="T35" fmla="*/ 512 h 691"/>
                  <a:gd name="T36" fmla="*/ 38 w 103"/>
                  <a:gd name="T37" fmla="*/ 509 h 691"/>
                  <a:gd name="T38" fmla="*/ 32 w 103"/>
                  <a:gd name="T39" fmla="*/ 503 h 691"/>
                  <a:gd name="T40" fmla="*/ 23 w 103"/>
                  <a:gd name="T41" fmla="*/ 494 h 691"/>
                  <a:gd name="T42" fmla="*/ 26 w 103"/>
                  <a:gd name="T43" fmla="*/ 487 h 691"/>
                  <a:gd name="T44" fmla="*/ 29 w 103"/>
                  <a:gd name="T45" fmla="*/ 478 h 691"/>
                  <a:gd name="T46" fmla="*/ 23 w 103"/>
                  <a:gd name="T47" fmla="*/ 461 h 691"/>
                  <a:gd name="T48" fmla="*/ 26 w 103"/>
                  <a:gd name="T49" fmla="*/ 441 h 691"/>
                  <a:gd name="T50" fmla="*/ 29 w 103"/>
                  <a:gd name="T51" fmla="*/ 415 h 691"/>
                  <a:gd name="T52" fmla="*/ 32 w 103"/>
                  <a:gd name="T53" fmla="*/ 403 h 691"/>
                  <a:gd name="T54" fmla="*/ 36 w 103"/>
                  <a:gd name="T55" fmla="*/ 390 h 691"/>
                  <a:gd name="T56" fmla="*/ 36 w 103"/>
                  <a:gd name="T57" fmla="*/ 357 h 691"/>
                  <a:gd name="T58" fmla="*/ 41 w 103"/>
                  <a:gd name="T59" fmla="*/ 341 h 691"/>
                  <a:gd name="T60" fmla="*/ 48 w 103"/>
                  <a:gd name="T61" fmla="*/ 331 h 691"/>
                  <a:gd name="T62" fmla="*/ 51 w 103"/>
                  <a:gd name="T63" fmla="*/ 315 h 691"/>
                  <a:gd name="T64" fmla="*/ 54 w 103"/>
                  <a:gd name="T65" fmla="*/ 300 h 691"/>
                  <a:gd name="T66" fmla="*/ 54 w 103"/>
                  <a:gd name="T67" fmla="*/ 280 h 691"/>
                  <a:gd name="T68" fmla="*/ 51 w 103"/>
                  <a:gd name="T69" fmla="*/ 242 h 691"/>
                  <a:gd name="T70" fmla="*/ 51 w 103"/>
                  <a:gd name="T71" fmla="*/ 225 h 691"/>
                  <a:gd name="T72" fmla="*/ 72 w 103"/>
                  <a:gd name="T73" fmla="*/ 152 h 691"/>
                  <a:gd name="T74" fmla="*/ 75 w 103"/>
                  <a:gd name="T75" fmla="*/ 128 h 691"/>
                  <a:gd name="T76" fmla="*/ 80 w 103"/>
                  <a:gd name="T77" fmla="*/ 121 h 691"/>
                  <a:gd name="T78" fmla="*/ 101 w 103"/>
                  <a:gd name="T79" fmla="*/ 96 h 691"/>
                  <a:gd name="T80" fmla="*/ 103 w 103"/>
                  <a:gd name="T81" fmla="*/ 90 h 691"/>
                  <a:gd name="T82" fmla="*/ 91 w 103"/>
                  <a:gd name="T83" fmla="*/ 87 h 691"/>
                  <a:gd name="T84" fmla="*/ 90 w 103"/>
                  <a:gd name="T85" fmla="*/ 81 h 691"/>
                  <a:gd name="T86" fmla="*/ 80 w 103"/>
                  <a:gd name="T87" fmla="*/ 47 h 691"/>
                  <a:gd name="T88" fmla="*/ 80 w 103"/>
                  <a:gd name="T89" fmla="*/ 35 h 691"/>
                  <a:gd name="T90" fmla="*/ 70 w 103"/>
                  <a:gd name="T91" fmla="*/ 21 h 691"/>
                  <a:gd name="T92" fmla="*/ 68 w 103"/>
                  <a:gd name="T93" fmla="*/ 10 h 691"/>
                  <a:gd name="T94" fmla="*/ 65 w 103"/>
                  <a:gd name="T95" fmla="*/ 0 h 691"/>
                  <a:gd name="T96" fmla="*/ 46 w 103"/>
                  <a:gd name="T97" fmla="*/ 12 h 6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3" h="691">
                    <a:moveTo>
                      <a:pt x="70" y="691"/>
                    </a:moveTo>
                    <a:lnTo>
                      <a:pt x="70" y="691"/>
                    </a:lnTo>
                    <a:lnTo>
                      <a:pt x="61" y="690"/>
                    </a:lnTo>
                    <a:lnTo>
                      <a:pt x="51" y="688"/>
                    </a:lnTo>
                    <a:lnTo>
                      <a:pt x="51" y="688"/>
                    </a:lnTo>
                    <a:lnTo>
                      <a:pt x="35" y="688"/>
                    </a:lnTo>
                    <a:lnTo>
                      <a:pt x="28" y="687"/>
                    </a:lnTo>
                    <a:lnTo>
                      <a:pt x="25" y="685"/>
                    </a:lnTo>
                    <a:lnTo>
                      <a:pt x="23" y="684"/>
                    </a:lnTo>
                    <a:lnTo>
                      <a:pt x="23" y="684"/>
                    </a:lnTo>
                    <a:lnTo>
                      <a:pt x="20" y="677"/>
                    </a:lnTo>
                    <a:lnTo>
                      <a:pt x="20" y="669"/>
                    </a:lnTo>
                    <a:lnTo>
                      <a:pt x="20" y="656"/>
                    </a:lnTo>
                    <a:lnTo>
                      <a:pt x="20" y="656"/>
                    </a:lnTo>
                    <a:lnTo>
                      <a:pt x="20" y="652"/>
                    </a:lnTo>
                    <a:lnTo>
                      <a:pt x="19" y="651"/>
                    </a:lnTo>
                    <a:lnTo>
                      <a:pt x="17" y="651"/>
                    </a:lnTo>
                    <a:lnTo>
                      <a:pt x="14" y="652"/>
                    </a:lnTo>
                    <a:lnTo>
                      <a:pt x="14" y="652"/>
                    </a:lnTo>
                    <a:lnTo>
                      <a:pt x="9" y="656"/>
                    </a:lnTo>
                    <a:lnTo>
                      <a:pt x="6" y="656"/>
                    </a:lnTo>
                    <a:lnTo>
                      <a:pt x="3" y="655"/>
                    </a:lnTo>
                    <a:lnTo>
                      <a:pt x="3" y="655"/>
                    </a:lnTo>
                    <a:lnTo>
                      <a:pt x="1" y="651"/>
                    </a:lnTo>
                    <a:lnTo>
                      <a:pt x="0" y="642"/>
                    </a:lnTo>
                    <a:lnTo>
                      <a:pt x="0" y="633"/>
                    </a:lnTo>
                    <a:lnTo>
                      <a:pt x="1" y="629"/>
                    </a:lnTo>
                    <a:lnTo>
                      <a:pt x="4" y="625"/>
                    </a:lnTo>
                    <a:lnTo>
                      <a:pt x="4" y="625"/>
                    </a:lnTo>
                    <a:lnTo>
                      <a:pt x="14" y="610"/>
                    </a:lnTo>
                    <a:lnTo>
                      <a:pt x="17" y="604"/>
                    </a:lnTo>
                    <a:lnTo>
                      <a:pt x="19" y="598"/>
                    </a:lnTo>
                    <a:lnTo>
                      <a:pt x="19" y="598"/>
                    </a:lnTo>
                    <a:lnTo>
                      <a:pt x="20" y="585"/>
                    </a:lnTo>
                    <a:lnTo>
                      <a:pt x="22" y="578"/>
                    </a:lnTo>
                    <a:lnTo>
                      <a:pt x="26" y="571"/>
                    </a:lnTo>
                    <a:lnTo>
                      <a:pt x="26" y="571"/>
                    </a:lnTo>
                    <a:lnTo>
                      <a:pt x="28" y="568"/>
                    </a:lnTo>
                    <a:lnTo>
                      <a:pt x="28" y="564"/>
                    </a:lnTo>
                    <a:lnTo>
                      <a:pt x="29" y="552"/>
                    </a:lnTo>
                    <a:lnTo>
                      <a:pt x="28" y="542"/>
                    </a:lnTo>
                    <a:lnTo>
                      <a:pt x="28" y="535"/>
                    </a:lnTo>
                    <a:lnTo>
                      <a:pt x="28" y="535"/>
                    </a:lnTo>
                    <a:lnTo>
                      <a:pt x="26" y="532"/>
                    </a:lnTo>
                    <a:lnTo>
                      <a:pt x="28" y="529"/>
                    </a:lnTo>
                    <a:lnTo>
                      <a:pt x="30" y="526"/>
                    </a:lnTo>
                    <a:lnTo>
                      <a:pt x="33" y="522"/>
                    </a:lnTo>
                    <a:lnTo>
                      <a:pt x="35" y="520"/>
                    </a:lnTo>
                    <a:lnTo>
                      <a:pt x="33" y="519"/>
                    </a:lnTo>
                    <a:lnTo>
                      <a:pt x="33" y="519"/>
                    </a:lnTo>
                    <a:lnTo>
                      <a:pt x="28" y="513"/>
                    </a:lnTo>
                    <a:lnTo>
                      <a:pt x="26" y="513"/>
                    </a:lnTo>
                    <a:lnTo>
                      <a:pt x="28" y="512"/>
                    </a:lnTo>
                    <a:lnTo>
                      <a:pt x="28" y="512"/>
                    </a:lnTo>
                    <a:lnTo>
                      <a:pt x="33" y="510"/>
                    </a:lnTo>
                    <a:lnTo>
                      <a:pt x="38" y="509"/>
                    </a:lnTo>
                    <a:lnTo>
                      <a:pt x="38" y="509"/>
                    </a:lnTo>
                    <a:lnTo>
                      <a:pt x="36" y="506"/>
                    </a:lnTo>
                    <a:lnTo>
                      <a:pt x="36" y="506"/>
                    </a:lnTo>
                    <a:lnTo>
                      <a:pt x="32" y="503"/>
                    </a:lnTo>
                    <a:lnTo>
                      <a:pt x="28" y="500"/>
                    </a:lnTo>
                    <a:lnTo>
                      <a:pt x="25" y="496"/>
                    </a:lnTo>
                    <a:lnTo>
                      <a:pt x="23" y="494"/>
                    </a:lnTo>
                    <a:lnTo>
                      <a:pt x="25" y="491"/>
                    </a:lnTo>
                    <a:lnTo>
                      <a:pt x="25" y="491"/>
                    </a:lnTo>
                    <a:lnTo>
                      <a:pt x="26" y="487"/>
                    </a:lnTo>
                    <a:lnTo>
                      <a:pt x="29" y="486"/>
                    </a:lnTo>
                    <a:lnTo>
                      <a:pt x="30" y="483"/>
                    </a:lnTo>
                    <a:lnTo>
                      <a:pt x="29" y="478"/>
                    </a:lnTo>
                    <a:lnTo>
                      <a:pt x="29" y="478"/>
                    </a:lnTo>
                    <a:lnTo>
                      <a:pt x="25" y="467"/>
                    </a:lnTo>
                    <a:lnTo>
                      <a:pt x="23" y="461"/>
                    </a:lnTo>
                    <a:lnTo>
                      <a:pt x="23" y="455"/>
                    </a:lnTo>
                    <a:lnTo>
                      <a:pt x="23" y="455"/>
                    </a:lnTo>
                    <a:lnTo>
                      <a:pt x="26" y="441"/>
                    </a:lnTo>
                    <a:lnTo>
                      <a:pt x="28" y="423"/>
                    </a:lnTo>
                    <a:lnTo>
                      <a:pt x="28" y="423"/>
                    </a:lnTo>
                    <a:lnTo>
                      <a:pt x="29" y="415"/>
                    </a:lnTo>
                    <a:lnTo>
                      <a:pt x="30" y="407"/>
                    </a:lnTo>
                    <a:lnTo>
                      <a:pt x="30" y="407"/>
                    </a:lnTo>
                    <a:lnTo>
                      <a:pt x="32" y="403"/>
                    </a:lnTo>
                    <a:lnTo>
                      <a:pt x="33" y="397"/>
                    </a:lnTo>
                    <a:lnTo>
                      <a:pt x="36" y="390"/>
                    </a:lnTo>
                    <a:lnTo>
                      <a:pt x="36" y="390"/>
                    </a:lnTo>
                    <a:lnTo>
                      <a:pt x="38" y="386"/>
                    </a:lnTo>
                    <a:lnTo>
                      <a:pt x="38" y="377"/>
                    </a:lnTo>
                    <a:lnTo>
                      <a:pt x="36" y="357"/>
                    </a:lnTo>
                    <a:lnTo>
                      <a:pt x="36" y="357"/>
                    </a:lnTo>
                    <a:lnTo>
                      <a:pt x="38" y="348"/>
                    </a:lnTo>
                    <a:lnTo>
                      <a:pt x="41" y="341"/>
                    </a:lnTo>
                    <a:lnTo>
                      <a:pt x="43" y="335"/>
                    </a:lnTo>
                    <a:lnTo>
                      <a:pt x="48" y="331"/>
                    </a:lnTo>
                    <a:lnTo>
                      <a:pt x="48" y="331"/>
                    </a:lnTo>
                    <a:lnTo>
                      <a:pt x="49" y="328"/>
                    </a:lnTo>
                    <a:lnTo>
                      <a:pt x="51" y="323"/>
                    </a:lnTo>
                    <a:lnTo>
                      <a:pt x="51" y="315"/>
                    </a:lnTo>
                    <a:lnTo>
                      <a:pt x="52" y="307"/>
                    </a:lnTo>
                    <a:lnTo>
                      <a:pt x="54" y="300"/>
                    </a:lnTo>
                    <a:lnTo>
                      <a:pt x="54" y="300"/>
                    </a:lnTo>
                    <a:lnTo>
                      <a:pt x="54" y="297"/>
                    </a:lnTo>
                    <a:lnTo>
                      <a:pt x="55" y="293"/>
                    </a:lnTo>
                    <a:lnTo>
                      <a:pt x="54" y="280"/>
                    </a:lnTo>
                    <a:lnTo>
                      <a:pt x="52" y="258"/>
                    </a:lnTo>
                    <a:lnTo>
                      <a:pt x="52" y="258"/>
                    </a:lnTo>
                    <a:lnTo>
                      <a:pt x="51" y="242"/>
                    </a:lnTo>
                    <a:lnTo>
                      <a:pt x="49" y="233"/>
                    </a:lnTo>
                    <a:lnTo>
                      <a:pt x="51" y="225"/>
                    </a:lnTo>
                    <a:lnTo>
                      <a:pt x="51" y="225"/>
                    </a:lnTo>
                    <a:lnTo>
                      <a:pt x="62" y="189"/>
                    </a:lnTo>
                    <a:lnTo>
                      <a:pt x="72" y="152"/>
                    </a:lnTo>
                    <a:lnTo>
                      <a:pt x="72" y="152"/>
                    </a:lnTo>
                    <a:lnTo>
                      <a:pt x="72" y="145"/>
                    </a:lnTo>
                    <a:lnTo>
                      <a:pt x="74" y="136"/>
                    </a:lnTo>
                    <a:lnTo>
                      <a:pt x="75" y="128"/>
                    </a:lnTo>
                    <a:lnTo>
                      <a:pt x="78" y="123"/>
                    </a:lnTo>
                    <a:lnTo>
                      <a:pt x="80" y="121"/>
                    </a:lnTo>
                    <a:lnTo>
                      <a:pt x="80" y="121"/>
                    </a:lnTo>
                    <a:lnTo>
                      <a:pt x="87" y="113"/>
                    </a:lnTo>
                    <a:lnTo>
                      <a:pt x="96" y="105"/>
                    </a:lnTo>
                    <a:lnTo>
                      <a:pt x="101" y="96"/>
                    </a:lnTo>
                    <a:lnTo>
                      <a:pt x="103" y="93"/>
                    </a:lnTo>
                    <a:lnTo>
                      <a:pt x="103" y="90"/>
                    </a:lnTo>
                    <a:lnTo>
                      <a:pt x="103" y="90"/>
                    </a:lnTo>
                    <a:lnTo>
                      <a:pt x="98" y="89"/>
                    </a:lnTo>
                    <a:lnTo>
                      <a:pt x="96" y="89"/>
                    </a:lnTo>
                    <a:lnTo>
                      <a:pt x="91" y="87"/>
                    </a:lnTo>
                    <a:lnTo>
                      <a:pt x="91" y="84"/>
                    </a:lnTo>
                    <a:lnTo>
                      <a:pt x="90" y="81"/>
                    </a:lnTo>
                    <a:lnTo>
                      <a:pt x="90" y="81"/>
                    </a:lnTo>
                    <a:lnTo>
                      <a:pt x="85" y="63"/>
                    </a:lnTo>
                    <a:lnTo>
                      <a:pt x="80" y="47"/>
                    </a:lnTo>
                    <a:lnTo>
                      <a:pt x="80" y="47"/>
                    </a:lnTo>
                    <a:lnTo>
                      <a:pt x="78" y="41"/>
                    </a:lnTo>
                    <a:lnTo>
                      <a:pt x="78" y="38"/>
                    </a:lnTo>
                    <a:lnTo>
                      <a:pt x="80" y="35"/>
                    </a:lnTo>
                    <a:lnTo>
                      <a:pt x="77" y="31"/>
                    </a:lnTo>
                    <a:lnTo>
                      <a:pt x="77" y="31"/>
                    </a:lnTo>
                    <a:lnTo>
                      <a:pt x="70" y="21"/>
                    </a:lnTo>
                    <a:lnTo>
                      <a:pt x="68" y="16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70" y="3"/>
                    </a:lnTo>
                    <a:lnTo>
                      <a:pt x="68" y="0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58" y="3"/>
                    </a:lnTo>
                    <a:lnTo>
                      <a:pt x="46" y="12"/>
                    </a:lnTo>
                    <a:lnTo>
                      <a:pt x="70" y="69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3" name="Freeform 1631"/>
              <p:cNvSpPr>
                <a:spLocks/>
              </p:cNvSpPr>
              <p:nvPr/>
            </p:nvSpPr>
            <p:spPr bwMode="auto">
              <a:xfrm>
                <a:off x="3234520" y="3604023"/>
                <a:ext cx="101894" cy="683578"/>
              </a:xfrm>
              <a:custGeom>
                <a:avLst/>
                <a:gdLst>
                  <a:gd name="T0" fmla="*/ 61 w 103"/>
                  <a:gd name="T1" fmla="*/ 690 h 691"/>
                  <a:gd name="T2" fmla="*/ 35 w 103"/>
                  <a:gd name="T3" fmla="*/ 688 h 691"/>
                  <a:gd name="T4" fmla="*/ 23 w 103"/>
                  <a:gd name="T5" fmla="*/ 684 h 691"/>
                  <a:gd name="T6" fmla="*/ 20 w 103"/>
                  <a:gd name="T7" fmla="*/ 669 h 691"/>
                  <a:gd name="T8" fmla="*/ 20 w 103"/>
                  <a:gd name="T9" fmla="*/ 652 h 691"/>
                  <a:gd name="T10" fmla="*/ 14 w 103"/>
                  <a:gd name="T11" fmla="*/ 652 h 691"/>
                  <a:gd name="T12" fmla="*/ 6 w 103"/>
                  <a:gd name="T13" fmla="*/ 656 h 691"/>
                  <a:gd name="T14" fmla="*/ 1 w 103"/>
                  <a:gd name="T15" fmla="*/ 651 h 691"/>
                  <a:gd name="T16" fmla="*/ 1 w 103"/>
                  <a:gd name="T17" fmla="*/ 629 h 691"/>
                  <a:gd name="T18" fmla="*/ 14 w 103"/>
                  <a:gd name="T19" fmla="*/ 610 h 691"/>
                  <a:gd name="T20" fmla="*/ 19 w 103"/>
                  <a:gd name="T21" fmla="*/ 598 h 691"/>
                  <a:gd name="T22" fmla="*/ 26 w 103"/>
                  <a:gd name="T23" fmla="*/ 571 h 691"/>
                  <a:gd name="T24" fmla="*/ 28 w 103"/>
                  <a:gd name="T25" fmla="*/ 564 h 691"/>
                  <a:gd name="T26" fmla="*/ 28 w 103"/>
                  <a:gd name="T27" fmla="*/ 535 h 691"/>
                  <a:gd name="T28" fmla="*/ 28 w 103"/>
                  <a:gd name="T29" fmla="*/ 529 h 691"/>
                  <a:gd name="T30" fmla="*/ 35 w 103"/>
                  <a:gd name="T31" fmla="*/ 520 h 691"/>
                  <a:gd name="T32" fmla="*/ 28 w 103"/>
                  <a:gd name="T33" fmla="*/ 513 h 691"/>
                  <a:gd name="T34" fmla="*/ 28 w 103"/>
                  <a:gd name="T35" fmla="*/ 512 h 691"/>
                  <a:gd name="T36" fmla="*/ 38 w 103"/>
                  <a:gd name="T37" fmla="*/ 509 h 691"/>
                  <a:gd name="T38" fmla="*/ 32 w 103"/>
                  <a:gd name="T39" fmla="*/ 503 h 691"/>
                  <a:gd name="T40" fmla="*/ 23 w 103"/>
                  <a:gd name="T41" fmla="*/ 494 h 691"/>
                  <a:gd name="T42" fmla="*/ 26 w 103"/>
                  <a:gd name="T43" fmla="*/ 487 h 691"/>
                  <a:gd name="T44" fmla="*/ 29 w 103"/>
                  <a:gd name="T45" fmla="*/ 478 h 691"/>
                  <a:gd name="T46" fmla="*/ 23 w 103"/>
                  <a:gd name="T47" fmla="*/ 461 h 691"/>
                  <a:gd name="T48" fmla="*/ 26 w 103"/>
                  <a:gd name="T49" fmla="*/ 441 h 691"/>
                  <a:gd name="T50" fmla="*/ 29 w 103"/>
                  <a:gd name="T51" fmla="*/ 415 h 691"/>
                  <a:gd name="T52" fmla="*/ 32 w 103"/>
                  <a:gd name="T53" fmla="*/ 403 h 691"/>
                  <a:gd name="T54" fmla="*/ 36 w 103"/>
                  <a:gd name="T55" fmla="*/ 390 h 691"/>
                  <a:gd name="T56" fmla="*/ 36 w 103"/>
                  <a:gd name="T57" fmla="*/ 357 h 691"/>
                  <a:gd name="T58" fmla="*/ 41 w 103"/>
                  <a:gd name="T59" fmla="*/ 341 h 691"/>
                  <a:gd name="T60" fmla="*/ 48 w 103"/>
                  <a:gd name="T61" fmla="*/ 331 h 691"/>
                  <a:gd name="T62" fmla="*/ 51 w 103"/>
                  <a:gd name="T63" fmla="*/ 315 h 691"/>
                  <a:gd name="T64" fmla="*/ 54 w 103"/>
                  <a:gd name="T65" fmla="*/ 300 h 691"/>
                  <a:gd name="T66" fmla="*/ 54 w 103"/>
                  <a:gd name="T67" fmla="*/ 280 h 691"/>
                  <a:gd name="T68" fmla="*/ 51 w 103"/>
                  <a:gd name="T69" fmla="*/ 242 h 691"/>
                  <a:gd name="T70" fmla="*/ 51 w 103"/>
                  <a:gd name="T71" fmla="*/ 225 h 691"/>
                  <a:gd name="T72" fmla="*/ 72 w 103"/>
                  <a:gd name="T73" fmla="*/ 152 h 691"/>
                  <a:gd name="T74" fmla="*/ 75 w 103"/>
                  <a:gd name="T75" fmla="*/ 128 h 691"/>
                  <a:gd name="T76" fmla="*/ 80 w 103"/>
                  <a:gd name="T77" fmla="*/ 121 h 691"/>
                  <a:gd name="T78" fmla="*/ 101 w 103"/>
                  <a:gd name="T79" fmla="*/ 96 h 691"/>
                  <a:gd name="T80" fmla="*/ 103 w 103"/>
                  <a:gd name="T81" fmla="*/ 90 h 691"/>
                  <a:gd name="T82" fmla="*/ 91 w 103"/>
                  <a:gd name="T83" fmla="*/ 87 h 691"/>
                  <a:gd name="T84" fmla="*/ 90 w 103"/>
                  <a:gd name="T85" fmla="*/ 81 h 691"/>
                  <a:gd name="T86" fmla="*/ 80 w 103"/>
                  <a:gd name="T87" fmla="*/ 47 h 691"/>
                  <a:gd name="T88" fmla="*/ 80 w 103"/>
                  <a:gd name="T89" fmla="*/ 35 h 691"/>
                  <a:gd name="T90" fmla="*/ 70 w 103"/>
                  <a:gd name="T91" fmla="*/ 21 h 691"/>
                  <a:gd name="T92" fmla="*/ 68 w 103"/>
                  <a:gd name="T93" fmla="*/ 10 h 691"/>
                  <a:gd name="T94" fmla="*/ 65 w 103"/>
                  <a:gd name="T95" fmla="*/ 0 h 691"/>
                  <a:gd name="T96" fmla="*/ 46 w 103"/>
                  <a:gd name="T97" fmla="*/ 12 h 6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3" h="691">
                    <a:moveTo>
                      <a:pt x="70" y="691"/>
                    </a:moveTo>
                    <a:lnTo>
                      <a:pt x="70" y="691"/>
                    </a:lnTo>
                    <a:lnTo>
                      <a:pt x="61" y="690"/>
                    </a:lnTo>
                    <a:lnTo>
                      <a:pt x="51" y="688"/>
                    </a:lnTo>
                    <a:lnTo>
                      <a:pt x="51" y="688"/>
                    </a:lnTo>
                    <a:lnTo>
                      <a:pt x="35" y="688"/>
                    </a:lnTo>
                    <a:lnTo>
                      <a:pt x="28" y="687"/>
                    </a:lnTo>
                    <a:lnTo>
                      <a:pt x="25" y="685"/>
                    </a:lnTo>
                    <a:lnTo>
                      <a:pt x="23" y="684"/>
                    </a:lnTo>
                    <a:lnTo>
                      <a:pt x="23" y="684"/>
                    </a:lnTo>
                    <a:lnTo>
                      <a:pt x="20" y="677"/>
                    </a:lnTo>
                    <a:lnTo>
                      <a:pt x="20" y="669"/>
                    </a:lnTo>
                    <a:lnTo>
                      <a:pt x="20" y="656"/>
                    </a:lnTo>
                    <a:lnTo>
                      <a:pt x="20" y="656"/>
                    </a:lnTo>
                    <a:lnTo>
                      <a:pt x="20" y="652"/>
                    </a:lnTo>
                    <a:lnTo>
                      <a:pt x="19" y="651"/>
                    </a:lnTo>
                    <a:lnTo>
                      <a:pt x="17" y="651"/>
                    </a:lnTo>
                    <a:lnTo>
                      <a:pt x="14" y="652"/>
                    </a:lnTo>
                    <a:lnTo>
                      <a:pt x="14" y="652"/>
                    </a:lnTo>
                    <a:lnTo>
                      <a:pt x="9" y="656"/>
                    </a:lnTo>
                    <a:lnTo>
                      <a:pt x="6" y="656"/>
                    </a:lnTo>
                    <a:lnTo>
                      <a:pt x="3" y="655"/>
                    </a:lnTo>
                    <a:lnTo>
                      <a:pt x="3" y="655"/>
                    </a:lnTo>
                    <a:lnTo>
                      <a:pt x="1" y="651"/>
                    </a:lnTo>
                    <a:lnTo>
                      <a:pt x="0" y="642"/>
                    </a:lnTo>
                    <a:lnTo>
                      <a:pt x="0" y="633"/>
                    </a:lnTo>
                    <a:lnTo>
                      <a:pt x="1" y="629"/>
                    </a:lnTo>
                    <a:lnTo>
                      <a:pt x="4" y="625"/>
                    </a:lnTo>
                    <a:lnTo>
                      <a:pt x="4" y="625"/>
                    </a:lnTo>
                    <a:lnTo>
                      <a:pt x="14" y="610"/>
                    </a:lnTo>
                    <a:lnTo>
                      <a:pt x="17" y="604"/>
                    </a:lnTo>
                    <a:lnTo>
                      <a:pt x="19" y="598"/>
                    </a:lnTo>
                    <a:lnTo>
                      <a:pt x="19" y="598"/>
                    </a:lnTo>
                    <a:lnTo>
                      <a:pt x="20" y="585"/>
                    </a:lnTo>
                    <a:lnTo>
                      <a:pt x="22" y="578"/>
                    </a:lnTo>
                    <a:lnTo>
                      <a:pt x="26" y="571"/>
                    </a:lnTo>
                    <a:lnTo>
                      <a:pt x="26" y="571"/>
                    </a:lnTo>
                    <a:lnTo>
                      <a:pt x="28" y="568"/>
                    </a:lnTo>
                    <a:lnTo>
                      <a:pt x="28" y="564"/>
                    </a:lnTo>
                    <a:lnTo>
                      <a:pt x="29" y="552"/>
                    </a:lnTo>
                    <a:lnTo>
                      <a:pt x="28" y="542"/>
                    </a:lnTo>
                    <a:lnTo>
                      <a:pt x="28" y="535"/>
                    </a:lnTo>
                    <a:lnTo>
                      <a:pt x="28" y="535"/>
                    </a:lnTo>
                    <a:lnTo>
                      <a:pt x="26" y="532"/>
                    </a:lnTo>
                    <a:lnTo>
                      <a:pt x="28" y="529"/>
                    </a:lnTo>
                    <a:lnTo>
                      <a:pt x="30" y="526"/>
                    </a:lnTo>
                    <a:lnTo>
                      <a:pt x="33" y="522"/>
                    </a:lnTo>
                    <a:lnTo>
                      <a:pt x="35" y="520"/>
                    </a:lnTo>
                    <a:lnTo>
                      <a:pt x="33" y="519"/>
                    </a:lnTo>
                    <a:lnTo>
                      <a:pt x="33" y="519"/>
                    </a:lnTo>
                    <a:lnTo>
                      <a:pt x="28" y="513"/>
                    </a:lnTo>
                    <a:lnTo>
                      <a:pt x="26" y="513"/>
                    </a:lnTo>
                    <a:lnTo>
                      <a:pt x="28" y="512"/>
                    </a:lnTo>
                    <a:lnTo>
                      <a:pt x="28" y="512"/>
                    </a:lnTo>
                    <a:lnTo>
                      <a:pt x="33" y="510"/>
                    </a:lnTo>
                    <a:lnTo>
                      <a:pt x="38" y="509"/>
                    </a:lnTo>
                    <a:lnTo>
                      <a:pt x="38" y="509"/>
                    </a:lnTo>
                    <a:lnTo>
                      <a:pt x="36" y="506"/>
                    </a:lnTo>
                    <a:lnTo>
                      <a:pt x="36" y="506"/>
                    </a:lnTo>
                    <a:lnTo>
                      <a:pt x="32" y="503"/>
                    </a:lnTo>
                    <a:lnTo>
                      <a:pt x="28" y="500"/>
                    </a:lnTo>
                    <a:lnTo>
                      <a:pt x="25" y="496"/>
                    </a:lnTo>
                    <a:lnTo>
                      <a:pt x="23" y="494"/>
                    </a:lnTo>
                    <a:lnTo>
                      <a:pt x="25" y="491"/>
                    </a:lnTo>
                    <a:lnTo>
                      <a:pt x="25" y="491"/>
                    </a:lnTo>
                    <a:lnTo>
                      <a:pt x="26" y="487"/>
                    </a:lnTo>
                    <a:lnTo>
                      <a:pt x="29" y="486"/>
                    </a:lnTo>
                    <a:lnTo>
                      <a:pt x="30" y="483"/>
                    </a:lnTo>
                    <a:lnTo>
                      <a:pt x="29" y="478"/>
                    </a:lnTo>
                    <a:lnTo>
                      <a:pt x="29" y="478"/>
                    </a:lnTo>
                    <a:lnTo>
                      <a:pt x="25" y="467"/>
                    </a:lnTo>
                    <a:lnTo>
                      <a:pt x="23" y="461"/>
                    </a:lnTo>
                    <a:lnTo>
                      <a:pt x="23" y="455"/>
                    </a:lnTo>
                    <a:lnTo>
                      <a:pt x="23" y="455"/>
                    </a:lnTo>
                    <a:lnTo>
                      <a:pt x="26" y="441"/>
                    </a:lnTo>
                    <a:lnTo>
                      <a:pt x="28" y="423"/>
                    </a:lnTo>
                    <a:lnTo>
                      <a:pt x="28" y="423"/>
                    </a:lnTo>
                    <a:lnTo>
                      <a:pt x="29" y="415"/>
                    </a:lnTo>
                    <a:lnTo>
                      <a:pt x="30" y="407"/>
                    </a:lnTo>
                    <a:lnTo>
                      <a:pt x="30" y="407"/>
                    </a:lnTo>
                    <a:lnTo>
                      <a:pt x="32" y="403"/>
                    </a:lnTo>
                    <a:lnTo>
                      <a:pt x="33" y="397"/>
                    </a:lnTo>
                    <a:lnTo>
                      <a:pt x="36" y="390"/>
                    </a:lnTo>
                    <a:lnTo>
                      <a:pt x="36" y="390"/>
                    </a:lnTo>
                    <a:lnTo>
                      <a:pt x="38" y="386"/>
                    </a:lnTo>
                    <a:lnTo>
                      <a:pt x="38" y="377"/>
                    </a:lnTo>
                    <a:lnTo>
                      <a:pt x="36" y="357"/>
                    </a:lnTo>
                    <a:lnTo>
                      <a:pt x="36" y="357"/>
                    </a:lnTo>
                    <a:lnTo>
                      <a:pt x="38" y="348"/>
                    </a:lnTo>
                    <a:lnTo>
                      <a:pt x="41" y="341"/>
                    </a:lnTo>
                    <a:lnTo>
                      <a:pt x="43" y="335"/>
                    </a:lnTo>
                    <a:lnTo>
                      <a:pt x="48" y="331"/>
                    </a:lnTo>
                    <a:lnTo>
                      <a:pt x="48" y="331"/>
                    </a:lnTo>
                    <a:lnTo>
                      <a:pt x="49" y="328"/>
                    </a:lnTo>
                    <a:lnTo>
                      <a:pt x="51" y="323"/>
                    </a:lnTo>
                    <a:lnTo>
                      <a:pt x="51" y="315"/>
                    </a:lnTo>
                    <a:lnTo>
                      <a:pt x="52" y="307"/>
                    </a:lnTo>
                    <a:lnTo>
                      <a:pt x="54" y="300"/>
                    </a:lnTo>
                    <a:lnTo>
                      <a:pt x="54" y="300"/>
                    </a:lnTo>
                    <a:lnTo>
                      <a:pt x="54" y="297"/>
                    </a:lnTo>
                    <a:lnTo>
                      <a:pt x="55" y="293"/>
                    </a:lnTo>
                    <a:lnTo>
                      <a:pt x="54" y="280"/>
                    </a:lnTo>
                    <a:lnTo>
                      <a:pt x="52" y="258"/>
                    </a:lnTo>
                    <a:lnTo>
                      <a:pt x="52" y="258"/>
                    </a:lnTo>
                    <a:lnTo>
                      <a:pt x="51" y="242"/>
                    </a:lnTo>
                    <a:lnTo>
                      <a:pt x="49" y="233"/>
                    </a:lnTo>
                    <a:lnTo>
                      <a:pt x="51" y="225"/>
                    </a:lnTo>
                    <a:lnTo>
                      <a:pt x="51" y="225"/>
                    </a:lnTo>
                    <a:lnTo>
                      <a:pt x="62" y="189"/>
                    </a:lnTo>
                    <a:lnTo>
                      <a:pt x="72" y="152"/>
                    </a:lnTo>
                    <a:lnTo>
                      <a:pt x="72" y="152"/>
                    </a:lnTo>
                    <a:lnTo>
                      <a:pt x="72" y="145"/>
                    </a:lnTo>
                    <a:lnTo>
                      <a:pt x="74" y="136"/>
                    </a:lnTo>
                    <a:lnTo>
                      <a:pt x="75" y="128"/>
                    </a:lnTo>
                    <a:lnTo>
                      <a:pt x="78" y="123"/>
                    </a:lnTo>
                    <a:lnTo>
                      <a:pt x="80" y="121"/>
                    </a:lnTo>
                    <a:lnTo>
                      <a:pt x="80" y="121"/>
                    </a:lnTo>
                    <a:lnTo>
                      <a:pt x="87" y="113"/>
                    </a:lnTo>
                    <a:lnTo>
                      <a:pt x="96" y="105"/>
                    </a:lnTo>
                    <a:lnTo>
                      <a:pt x="101" y="96"/>
                    </a:lnTo>
                    <a:lnTo>
                      <a:pt x="103" y="93"/>
                    </a:lnTo>
                    <a:lnTo>
                      <a:pt x="103" y="90"/>
                    </a:lnTo>
                    <a:lnTo>
                      <a:pt x="103" y="90"/>
                    </a:lnTo>
                    <a:lnTo>
                      <a:pt x="98" y="89"/>
                    </a:lnTo>
                    <a:lnTo>
                      <a:pt x="96" y="89"/>
                    </a:lnTo>
                    <a:lnTo>
                      <a:pt x="91" y="87"/>
                    </a:lnTo>
                    <a:lnTo>
                      <a:pt x="91" y="84"/>
                    </a:lnTo>
                    <a:lnTo>
                      <a:pt x="90" y="81"/>
                    </a:lnTo>
                    <a:lnTo>
                      <a:pt x="90" y="81"/>
                    </a:lnTo>
                    <a:lnTo>
                      <a:pt x="85" y="63"/>
                    </a:lnTo>
                    <a:lnTo>
                      <a:pt x="80" y="47"/>
                    </a:lnTo>
                    <a:lnTo>
                      <a:pt x="80" y="47"/>
                    </a:lnTo>
                    <a:lnTo>
                      <a:pt x="78" y="41"/>
                    </a:lnTo>
                    <a:lnTo>
                      <a:pt x="78" y="38"/>
                    </a:lnTo>
                    <a:lnTo>
                      <a:pt x="80" y="35"/>
                    </a:lnTo>
                    <a:lnTo>
                      <a:pt x="77" y="31"/>
                    </a:lnTo>
                    <a:lnTo>
                      <a:pt x="77" y="31"/>
                    </a:lnTo>
                    <a:lnTo>
                      <a:pt x="70" y="21"/>
                    </a:lnTo>
                    <a:lnTo>
                      <a:pt x="68" y="16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70" y="3"/>
                    </a:lnTo>
                    <a:lnTo>
                      <a:pt x="68" y="0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58" y="3"/>
                    </a:lnTo>
                    <a:lnTo>
                      <a:pt x="46" y="1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4" name="Freeform 1632"/>
              <p:cNvSpPr>
                <a:spLocks noEditPoints="1"/>
              </p:cNvSpPr>
              <p:nvPr/>
            </p:nvSpPr>
            <p:spPr bwMode="auto">
              <a:xfrm>
                <a:off x="3233531" y="3603034"/>
                <a:ext cx="103872" cy="686546"/>
              </a:xfrm>
              <a:custGeom>
                <a:avLst/>
                <a:gdLst>
                  <a:gd name="T0" fmla="*/ 68 w 105"/>
                  <a:gd name="T1" fmla="*/ 0 h 694"/>
                  <a:gd name="T2" fmla="*/ 68 w 105"/>
                  <a:gd name="T3" fmla="*/ 1 h 694"/>
                  <a:gd name="T4" fmla="*/ 69 w 105"/>
                  <a:gd name="T5" fmla="*/ 4 h 694"/>
                  <a:gd name="T6" fmla="*/ 69 w 105"/>
                  <a:gd name="T7" fmla="*/ 20 h 694"/>
                  <a:gd name="T8" fmla="*/ 81 w 105"/>
                  <a:gd name="T9" fmla="*/ 36 h 694"/>
                  <a:gd name="T10" fmla="*/ 78 w 105"/>
                  <a:gd name="T11" fmla="*/ 42 h 694"/>
                  <a:gd name="T12" fmla="*/ 82 w 105"/>
                  <a:gd name="T13" fmla="*/ 56 h 694"/>
                  <a:gd name="T14" fmla="*/ 92 w 105"/>
                  <a:gd name="T15" fmla="*/ 85 h 694"/>
                  <a:gd name="T16" fmla="*/ 91 w 105"/>
                  <a:gd name="T17" fmla="*/ 85 h 694"/>
                  <a:gd name="T18" fmla="*/ 94 w 105"/>
                  <a:gd name="T19" fmla="*/ 90 h 694"/>
                  <a:gd name="T20" fmla="*/ 104 w 105"/>
                  <a:gd name="T21" fmla="*/ 97 h 694"/>
                  <a:gd name="T22" fmla="*/ 92 w 105"/>
                  <a:gd name="T23" fmla="*/ 108 h 694"/>
                  <a:gd name="T24" fmla="*/ 82 w 105"/>
                  <a:gd name="T25" fmla="*/ 119 h 694"/>
                  <a:gd name="T26" fmla="*/ 76 w 105"/>
                  <a:gd name="T27" fmla="*/ 133 h 694"/>
                  <a:gd name="T28" fmla="*/ 75 w 105"/>
                  <a:gd name="T29" fmla="*/ 149 h 694"/>
                  <a:gd name="T30" fmla="*/ 72 w 105"/>
                  <a:gd name="T31" fmla="*/ 164 h 694"/>
                  <a:gd name="T32" fmla="*/ 65 w 105"/>
                  <a:gd name="T33" fmla="*/ 178 h 694"/>
                  <a:gd name="T34" fmla="*/ 60 w 105"/>
                  <a:gd name="T35" fmla="*/ 203 h 694"/>
                  <a:gd name="T36" fmla="*/ 52 w 105"/>
                  <a:gd name="T37" fmla="*/ 232 h 694"/>
                  <a:gd name="T38" fmla="*/ 52 w 105"/>
                  <a:gd name="T39" fmla="*/ 232 h 694"/>
                  <a:gd name="T40" fmla="*/ 55 w 105"/>
                  <a:gd name="T41" fmla="*/ 262 h 694"/>
                  <a:gd name="T42" fmla="*/ 55 w 105"/>
                  <a:gd name="T43" fmla="*/ 262 h 694"/>
                  <a:gd name="T44" fmla="*/ 56 w 105"/>
                  <a:gd name="T45" fmla="*/ 292 h 694"/>
                  <a:gd name="T46" fmla="*/ 56 w 105"/>
                  <a:gd name="T47" fmla="*/ 303 h 694"/>
                  <a:gd name="T48" fmla="*/ 53 w 105"/>
                  <a:gd name="T49" fmla="*/ 323 h 694"/>
                  <a:gd name="T50" fmla="*/ 50 w 105"/>
                  <a:gd name="T51" fmla="*/ 332 h 694"/>
                  <a:gd name="T52" fmla="*/ 40 w 105"/>
                  <a:gd name="T53" fmla="*/ 349 h 694"/>
                  <a:gd name="T54" fmla="*/ 39 w 105"/>
                  <a:gd name="T55" fmla="*/ 358 h 694"/>
                  <a:gd name="T56" fmla="*/ 39 w 105"/>
                  <a:gd name="T57" fmla="*/ 379 h 694"/>
                  <a:gd name="T58" fmla="*/ 39 w 105"/>
                  <a:gd name="T59" fmla="*/ 391 h 694"/>
                  <a:gd name="T60" fmla="*/ 36 w 105"/>
                  <a:gd name="T61" fmla="*/ 389 h 694"/>
                  <a:gd name="T62" fmla="*/ 36 w 105"/>
                  <a:gd name="T63" fmla="*/ 395 h 694"/>
                  <a:gd name="T64" fmla="*/ 30 w 105"/>
                  <a:gd name="T65" fmla="*/ 424 h 694"/>
                  <a:gd name="T66" fmla="*/ 27 w 105"/>
                  <a:gd name="T67" fmla="*/ 429 h 694"/>
                  <a:gd name="T68" fmla="*/ 23 w 105"/>
                  <a:gd name="T69" fmla="*/ 453 h 694"/>
                  <a:gd name="T70" fmla="*/ 23 w 105"/>
                  <a:gd name="T71" fmla="*/ 459 h 694"/>
                  <a:gd name="T72" fmla="*/ 29 w 105"/>
                  <a:gd name="T73" fmla="*/ 473 h 694"/>
                  <a:gd name="T74" fmla="*/ 26 w 105"/>
                  <a:gd name="T75" fmla="*/ 495 h 694"/>
                  <a:gd name="T76" fmla="*/ 24 w 105"/>
                  <a:gd name="T77" fmla="*/ 492 h 694"/>
                  <a:gd name="T78" fmla="*/ 27 w 105"/>
                  <a:gd name="T79" fmla="*/ 501 h 694"/>
                  <a:gd name="T80" fmla="*/ 34 w 105"/>
                  <a:gd name="T81" fmla="*/ 513 h 694"/>
                  <a:gd name="T82" fmla="*/ 27 w 105"/>
                  <a:gd name="T83" fmla="*/ 511 h 694"/>
                  <a:gd name="T84" fmla="*/ 29 w 105"/>
                  <a:gd name="T85" fmla="*/ 517 h 694"/>
                  <a:gd name="T86" fmla="*/ 29 w 105"/>
                  <a:gd name="T87" fmla="*/ 534 h 694"/>
                  <a:gd name="T88" fmla="*/ 26 w 105"/>
                  <a:gd name="T89" fmla="*/ 533 h 694"/>
                  <a:gd name="T90" fmla="*/ 27 w 105"/>
                  <a:gd name="T91" fmla="*/ 542 h 694"/>
                  <a:gd name="T92" fmla="*/ 30 w 105"/>
                  <a:gd name="T93" fmla="*/ 568 h 694"/>
                  <a:gd name="T94" fmla="*/ 24 w 105"/>
                  <a:gd name="T95" fmla="*/ 581 h 694"/>
                  <a:gd name="T96" fmla="*/ 17 w 105"/>
                  <a:gd name="T97" fmla="*/ 611 h 694"/>
                  <a:gd name="T98" fmla="*/ 8 w 105"/>
                  <a:gd name="T99" fmla="*/ 623 h 694"/>
                  <a:gd name="T100" fmla="*/ 5 w 105"/>
                  <a:gd name="T101" fmla="*/ 627 h 694"/>
                  <a:gd name="T102" fmla="*/ 2 w 105"/>
                  <a:gd name="T103" fmla="*/ 641 h 694"/>
                  <a:gd name="T104" fmla="*/ 8 w 105"/>
                  <a:gd name="T105" fmla="*/ 656 h 694"/>
                  <a:gd name="T106" fmla="*/ 7 w 105"/>
                  <a:gd name="T107" fmla="*/ 659 h 694"/>
                  <a:gd name="T108" fmla="*/ 21 w 105"/>
                  <a:gd name="T109" fmla="*/ 652 h 694"/>
                  <a:gd name="T110" fmla="*/ 20 w 105"/>
                  <a:gd name="T111" fmla="*/ 653 h 694"/>
                  <a:gd name="T112" fmla="*/ 20 w 105"/>
                  <a:gd name="T113" fmla="*/ 652 h 694"/>
                  <a:gd name="T114" fmla="*/ 20 w 105"/>
                  <a:gd name="T115" fmla="*/ 657 h 694"/>
                  <a:gd name="T116" fmla="*/ 20 w 105"/>
                  <a:gd name="T117" fmla="*/ 663 h 694"/>
                  <a:gd name="T118" fmla="*/ 23 w 105"/>
                  <a:gd name="T119" fmla="*/ 678 h 694"/>
                  <a:gd name="T120" fmla="*/ 31 w 105"/>
                  <a:gd name="T121" fmla="*/ 688 h 694"/>
                  <a:gd name="T122" fmla="*/ 46 w 105"/>
                  <a:gd name="T123" fmla="*/ 688 h 694"/>
                  <a:gd name="T124" fmla="*/ 62 w 105"/>
                  <a:gd name="T125" fmla="*/ 689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5" h="694">
                    <a:moveTo>
                      <a:pt x="53" y="7"/>
                    </a:moveTo>
                    <a:lnTo>
                      <a:pt x="53" y="7"/>
                    </a:lnTo>
                    <a:lnTo>
                      <a:pt x="47" y="11"/>
                    </a:lnTo>
                    <a:lnTo>
                      <a:pt x="49" y="14"/>
                    </a:lnTo>
                    <a:lnTo>
                      <a:pt x="49" y="14"/>
                    </a:lnTo>
                    <a:lnTo>
                      <a:pt x="55" y="9"/>
                    </a:lnTo>
                    <a:lnTo>
                      <a:pt x="53" y="7"/>
                    </a:lnTo>
                    <a:close/>
                    <a:moveTo>
                      <a:pt x="68" y="0"/>
                    </a:moveTo>
                    <a:lnTo>
                      <a:pt x="68" y="0"/>
                    </a:lnTo>
                    <a:lnTo>
                      <a:pt x="68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57" y="4"/>
                    </a:lnTo>
                    <a:lnTo>
                      <a:pt x="59" y="6"/>
                    </a:lnTo>
                    <a:lnTo>
                      <a:pt x="59" y="6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1"/>
                    </a:lnTo>
                    <a:lnTo>
                      <a:pt x="68" y="1"/>
                    </a:lnTo>
                    <a:lnTo>
                      <a:pt x="68" y="0"/>
                    </a:lnTo>
                    <a:close/>
                    <a:moveTo>
                      <a:pt x="71" y="14"/>
                    </a:moveTo>
                    <a:lnTo>
                      <a:pt x="71" y="13"/>
                    </a:lnTo>
                    <a:lnTo>
                      <a:pt x="71" y="13"/>
                    </a:lnTo>
                    <a:lnTo>
                      <a:pt x="71" y="13"/>
                    </a:lnTo>
                    <a:lnTo>
                      <a:pt x="72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8" y="11"/>
                    </a:lnTo>
                    <a:lnTo>
                      <a:pt x="68" y="11"/>
                    </a:lnTo>
                    <a:lnTo>
                      <a:pt x="68" y="13"/>
                    </a:lnTo>
                    <a:lnTo>
                      <a:pt x="68" y="14"/>
                    </a:lnTo>
                    <a:lnTo>
                      <a:pt x="71" y="14"/>
                    </a:lnTo>
                    <a:close/>
                    <a:moveTo>
                      <a:pt x="76" y="27"/>
                    </a:moveTo>
                    <a:lnTo>
                      <a:pt x="76" y="27"/>
                    </a:lnTo>
                    <a:lnTo>
                      <a:pt x="71" y="19"/>
                    </a:lnTo>
                    <a:lnTo>
                      <a:pt x="69" y="20"/>
                    </a:lnTo>
                    <a:lnTo>
                      <a:pt x="69" y="20"/>
                    </a:lnTo>
                    <a:lnTo>
                      <a:pt x="73" y="29"/>
                    </a:lnTo>
                    <a:lnTo>
                      <a:pt x="76" y="27"/>
                    </a:lnTo>
                    <a:close/>
                    <a:moveTo>
                      <a:pt x="81" y="42"/>
                    </a:moveTo>
                    <a:lnTo>
                      <a:pt x="81" y="42"/>
                    </a:lnTo>
                    <a:lnTo>
                      <a:pt x="81" y="39"/>
                    </a:lnTo>
                    <a:lnTo>
                      <a:pt x="81" y="39"/>
                    </a:lnTo>
                    <a:lnTo>
                      <a:pt x="81" y="36"/>
                    </a:lnTo>
                    <a:lnTo>
                      <a:pt x="81" y="36"/>
                    </a:lnTo>
                    <a:lnTo>
                      <a:pt x="81" y="35"/>
                    </a:lnTo>
                    <a:lnTo>
                      <a:pt x="79" y="32"/>
                    </a:lnTo>
                    <a:lnTo>
                      <a:pt x="76" y="33"/>
                    </a:lnTo>
                    <a:lnTo>
                      <a:pt x="76" y="33"/>
                    </a:lnTo>
                    <a:lnTo>
                      <a:pt x="79" y="36"/>
                    </a:lnTo>
                    <a:lnTo>
                      <a:pt x="79" y="36"/>
                    </a:lnTo>
                    <a:lnTo>
                      <a:pt x="78" y="39"/>
                    </a:lnTo>
                    <a:lnTo>
                      <a:pt x="78" y="39"/>
                    </a:lnTo>
                    <a:lnTo>
                      <a:pt x="78" y="42"/>
                    </a:lnTo>
                    <a:lnTo>
                      <a:pt x="81" y="42"/>
                    </a:lnTo>
                    <a:close/>
                    <a:moveTo>
                      <a:pt x="85" y="55"/>
                    </a:moveTo>
                    <a:lnTo>
                      <a:pt x="85" y="55"/>
                    </a:lnTo>
                    <a:lnTo>
                      <a:pt x="82" y="46"/>
                    </a:lnTo>
                    <a:lnTo>
                      <a:pt x="81" y="46"/>
                    </a:lnTo>
                    <a:lnTo>
                      <a:pt x="79" y="46"/>
                    </a:lnTo>
                    <a:lnTo>
                      <a:pt x="79" y="48"/>
                    </a:lnTo>
                    <a:lnTo>
                      <a:pt x="79" y="48"/>
                    </a:lnTo>
                    <a:lnTo>
                      <a:pt x="82" y="56"/>
                    </a:lnTo>
                    <a:lnTo>
                      <a:pt x="85" y="55"/>
                    </a:lnTo>
                    <a:close/>
                    <a:moveTo>
                      <a:pt x="89" y="69"/>
                    </a:moveTo>
                    <a:lnTo>
                      <a:pt x="89" y="69"/>
                    </a:lnTo>
                    <a:lnTo>
                      <a:pt x="86" y="61"/>
                    </a:lnTo>
                    <a:lnTo>
                      <a:pt x="84" y="61"/>
                    </a:lnTo>
                    <a:lnTo>
                      <a:pt x="84" y="61"/>
                    </a:lnTo>
                    <a:lnTo>
                      <a:pt x="86" y="71"/>
                    </a:lnTo>
                    <a:lnTo>
                      <a:pt x="89" y="69"/>
                    </a:lnTo>
                    <a:close/>
                    <a:moveTo>
                      <a:pt x="92" y="85"/>
                    </a:moveTo>
                    <a:lnTo>
                      <a:pt x="92" y="85"/>
                    </a:lnTo>
                    <a:lnTo>
                      <a:pt x="92" y="82"/>
                    </a:lnTo>
                    <a:lnTo>
                      <a:pt x="92" y="82"/>
                    </a:lnTo>
                    <a:lnTo>
                      <a:pt x="91" y="75"/>
                    </a:lnTo>
                    <a:lnTo>
                      <a:pt x="88" y="75"/>
                    </a:lnTo>
                    <a:lnTo>
                      <a:pt x="88" y="75"/>
                    </a:lnTo>
                    <a:lnTo>
                      <a:pt x="89" y="82"/>
                    </a:lnTo>
                    <a:lnTo>
                      <a:pt x="89" y="82"/>
                    </a:lnTo>
                    <a:lnTo>
                      <a:pt x="91" y="85"/>
                    </a:lnTo>
                    <a:lnTo>
                      <a:pt x="92" y="85"/>
                    </a:lnTo>
                    <a:close/>
                    <a:moveTo>
                      <a:pt x="105" y="91"/>
                    </a:moveTo>
                    <a:lnTo>
                      <a:pt x="104" y="91"/>
                    </a:lnTo>
                    <a:lnTo>
                      <a:pt x="104" y="91"/>
                    </a:lnTo>
                    <a:lnTo>
                      <a:pt x="102" y="88"/>
                    </a:lnTo>
                    <a:lnTo>
                      <a:pt x="99" y="88"/>
                    </a:lnTo>
                    <a:lnTo>
                      <a:pt x="99" y="88"/>
                    </a:lnTo>
                    <a:lnTo>
                      <a:pt x="95" y="88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9" y="91"/>
                    </a:lnTo>
                    <a:lnTo>
                      <a:pt x="99" y="91"/>
                    </a:lnTo>
                    <a:lnTo>
                      <a:pt x="102" y="93"/>
                    </a:lnTo>
                    <a:lnTo>
                      <a:pt x="102" y="93"/>
                    </a:lnTo>
                    <a:lnTo>
                      <a:pt x="105" y="91"/>
                    </a:lnTo>
                    <a:close/>
                    <a:moveTo>
                      <a:pt x="98" y="106"/>
                    </a:moveTo>
                    <a:lnTo>
                      <a:pt x="98" y="106"/>
                    </a:lnTo>
                    <a:lnTo>
                      <a:pt x="104" y="97"/>
                    </a:lnTo>
                    <a:lnTo>
                      <a:pt x="101" y="97"/>
                    </a:lnTo>
                    <a:lnTo>
                      <a:pt x="101" y="97"/>
                    </a:lnTo>
                    <a:lnTo>
                      <a:pt x="95" y="104"/>
                    </a:lnTo>
                    <a:lnTo>
                      <a:pt x="98" y="106"/>
                    </a:lnTo>
                    <a:close/>
                    <a:moveTo>
                      <a:pt x="88" y="117"/>
                    </a:moveTo>
                    <a:lnTo>
                      <a:pt x="88" y="117"/>
                    </a:lnTo>
                    <a:lnTo>
                      <a:pt x="94" y="110"/>
                    </a:lnTo>
                    <a:lnTo>
                      <a:pt x="92" y="108"/>
                    </a:lnTo>
                    <a:lnTo>
                      <a:pt x="92" y="108"/>
                    </a:lnTo>
                    <a:lnTo>
                      <a:pt x="85" y="116"/>
                    </a:lnTo>
                    <a:lnTo>
                      <a:pt x="88" y="117"/>
                    </a:lnTo>
                    <a:close/>
                    <a:moveTo>
                      <a:pt x="78" y="129"/>
                    </a:moveTo>
                    <a:lnTo>
                      <a:pt x="78" y="129"/>
                    </a:lnTo>
                    <a:lnTo>
                      <a:pt x="79" y="126"/>
                    </a:lnTo>
                    <a:lnTo>
                      <a:pt x="82" y="123"/>
                    </a:lnTo>
                    <a:lnTo>
                      <a:pt x="82" y="123"/>
                    </a:lnTo>
                    <a:lnTo>
                      <a:pt x="84" y="122"/>
                    </a:lnTo>
                    <a:lnTo>
                      <a:pt x="82" y="119"/>
                    </a:lnTo>
                    <a:lnTo>
                      <a:pt x="82" y="119"/>
                    </a:lnTo>
                    <a:lnTo>
                      <a:pt x="81" y="120"/>
                    </a:lnTo>
                    <a:lnTo>
                      <a:pt x="81" y="120"/>
                    </a:lnTo>
                    <a:lnTo>
                      <a:pt x="78" y="124"/>
                    </a:lnTo>
                    <a:lnTo>
                      <a:pt x="76" y="127"/>
                    </a:lnTo>
                    <a:lnTo>
                      <a:pt x="78" y="129"/>
                    </a:lnTo>
                    <a:close/>
                    <a:moveTo>
                      <a:pt x="76" y="143"/>
                    </a:moveTo>
                    <a:lnTo>
                      <a:pt x="76" y="143"/>
                    </a:lnTo>
                    <a:lnTo>
                      <a:pt x="76" y="133"/>
                    </a:lnTo>
                    <a:lnTo>
                      <a:pt x="75" y="133"/>
                    </a:lnTo>
                    <a:lnTo>
                      <a:pt x="75" y="133"/>
                    </a:lnTo>
                    <a:lnTo>
                      <a:pt x="73" y="143"/>
                    </a:lnTo>
                    <a:lnTo>
                      <a:pt x="76" y="143"/>
                    </a:lnTo>
                    <a:close/>
                    <a:moveTo>
                      <a:pt x="72" y="159"/>
                    </a:moveTo>
                    <a:lnTo>
                      <a:pt x="72" y="159"/>
                    </a:lnTo>
                    <a:lnTo>
                      <a:pt x="73" y="153"/>
                    </a:lnTo>
                    <a:lnTo>
                      <a:pt x="73" y="153"/>
                    </a:lnTo>
                    <a:lnTo>
                      <a:pt x="75" y="149"/>
                    </a:lnTo>
                    <a:lnTo>
                      <a:pt x="72" y="148"/>
                    </a:lnTo>
                    <a:lnTo>
                      <a:pt x="72" y="148"/>
                    </a:lnTo>
                    <a:lnTo>
                      <a:pt x="72" y="153"/>
                    </a:lnTo>
                    <a:lnTo>
                      <a:pt x="72" y="153"/>
                    </a:lnTo>
                    <a:lnTo>
                      <a:pt x="71" y="158"/>
                    </a:lnTo>
                    <a:lnTo>
                      <a:pt x="72" y="159"/>
                    </a:lnTo>
                    <a:close/>
                    <a:moveTo>
                      <a:pt x="69" y="174"/>
                    </a:moveTo>
                    <a:lnTo>
                      <a:pt x="69" y="174"/>
                    </a:lnTo>
                    <a:lnTo>
                      <a:pt x="72" y="164"/>
                    </a:lnTo>
                    <a:lnTo>
                      <a:pt x="69" y="162"/>
                    </a:lnTo>
                    <a:lnTo>
                      <a:pt x="69" y="162"/>
                    </a:lnTo>
                    <a:lnTo>
                      <a:pt x="66" y="172"/>
                    </a:lnTo>
                    <a:lnTo>
                      <a:pt x="69" y="174"/>
                    </a:lnTo>
                    <a:close/>
                    <a:moveTo>
                      <a:pt x="65" y="188"/>
                    </a:moveTo>
                    <a:lnTo>
                      <a:pt x="65" y="188"/>
                    </a:lnTo>
                    <a:lnTo>
                      <a:pt x="68" y="178"/>
                    </a:lnTo>
                    <a:lnTo>
                      <a:pt x="65" y="178"/>
                    </a:lnTo>
                    <a:lnTo>
                      <a:pt x="65" y="178"/>
                    </a:lnTo>
                    <a:lnTo>
                      <a:pt x="62" y="187"/>
                    </a:lnTo>
                    <a:lnTo>
                      <a:pt x="65" y="188"/>
                    </a:lnTo>
                    <a:close/>
                    <a:moveTo>
                      <a:pt x="60" y="203"/>
                    </a:moveTo>
                    <a:lnTo>
                      <a:pt x="60" y="203"/>
                    </a:lnTo>
                    <a:lnTo>
                      <a:pt x="63" y="192"/>
                    </a:lnTo>
                    <a:lnTo>
                      <a:pt x="60" y="192"/>
                    </a:lnTo>
                    <a:lnTo>
                      <a:pt x="60" y="192"/>
                    </a:lnTo>
                    <a:lnTo>
                      <a:pt x="57" y="201"/>
                    </a:lnTo>
                    <a:lnTo>
                      <a:pt x="60" y="203"/>
                    </a:lnTo>
                    <a:close/>
                    <a:moveTo>
                      <a:pt x="56" y="217"/>
                    </a:moveTo>
                    <a:lnTo>
                      <a:pt x="56" y="217"/>
                    </a:lnTo>
                    <a:lnTo>
                      <a:pt x="59" y="207"/>
                    </a:lnTo>
                    <a:lnTo>
                      <a:pt x="56" y="207"/>
                    </a:lnTo>
                    <a:lnTo>
                      <a:pt x="56" y="207"/>
                    </a:lnTo>
                    <a:lnTo>
                      <a:pt x="53" y="217"/>
                    </a:lnTo>
                    <a:lnTo>
                      <a:pt x="56" y="217"/>
                    </a:lnTo>
                    <a:close/>
                    <a:moveTo>
                      <a:pt x="52" y="232"/>
                    </a:moveTo>
                    <a:lnTo>
                      <a:pt x="52" y="232"/>
                    </a:lnTo>
                    <a:lnTo>
                      <a:pt x="53" y="227"/>
                    </a:lnTo>
                    <a:lnTo>
                      <a:pt x="53" y="227"/>
                    </a:lnTo>
                    <a:lnTo>
                      <a:pt x="55" y="221"/>
                    </a:lnTo>
                    <a:lnTo>
                      <a:pt x="52" y="221"/>
                    </a:lnTo>
                    <a:lnTo>
                      <a:pt x="52" y="221"/>
                    </a:lnTo>
                    <a:lnTo>
                      <a:pt x="50" y="226"/>
                    </a:lnTo>
                    <a:lnTo>
                      <a:pt x="50" y="226"/>
                    </a:lnTo>
                    <a:lnTo>
                      <a:pt x="50" y="232"/>
                    </a:lnTo>
                    <a:lnTo>
                      <a:pt x="52" y="232"/>
                    </a:lnTo>
                    <a:close/>
                    <a:moveTo>
                      <a:pt x="53" y="246"/>
                    </a:moveTo>
                    <a:lnTo>
                      <a:pt x="53" y="246"/>
                    </a:lnTo>
                    <a:lnTo>
                      <a:pt x="52" y="236"/>
                    </a:lnTo>
                    <a:lnTo>
                      <a:pt x="49" y="236"/>
                    </a:lnTo>
                    <a:lnTo>
                      <a:pt x="49" y="236"/>
                    </a:lnTo>
                    <a:lnTo>
                      <a:pt x="50" y="248"/>
                    </a:lnTo>
                    <a:lnTo>
                      <a:pt x="53" y="246"/>
                    </a:lnTo>
                    <a:close/>
                    <a:moveTo>
                      <a:pt x="55" y="262"/>
                    </a:moveTo>
                    <a:lnTo>
                      <a:pt x="55" y="262"/>
                    </a:lnTo>
                    <a:lnTo>
                      <a:pt x="53" y="259"/>
                    </a:lnTo>
                    <a:lnTo>
                      <a:pt x="53" y="259"/>
                    </a:lnTo>
                    <a:lnTo>
                      <a:pt x="53" y="252"/>
                    </a:lnTo>
                    <a:lnTo>
                      <a:pt x="50" y="252"/>
                    </a:lnTo>
                    <a:lnTo>
                      <a:pt x="50" y="252"/>
                    </a:lnTo>
                    <a:lnTo>
                      <a:pt x="52" y="259"/>
                    </a:lnTo>
                    <a:lnTo>
                      <a:pt x="52" y="259"/>
                    </a:lnTo>
                    <a:lnTo>
                      <a:pt x="52" y="262"/>
                    </a:lnTo>
                    <a:lnTo>
                      <a:pt x="55" y="262"/>
                    </a:lnTo>
                    <a:close/>
                    <a:moveTo>
                      <a:pt x="56" y="276"/>
                    </a:moveTo>
                    <a:lnTo>
                      <a:pt x="56" y="276"/>
                    </a:lnTo>
                    <a:lnTo>
                      <a:pt x="55" y="266"/>
                    </a:lnTo>
                    <a:lnTo>
                      <a:pt x="52" y="266"/>
                    </a:lnTo>
                    <a:lnTo>
                      <a:pt x="52" y="266"/>
                    </a:lnTo>
                    <a:lnTo>
                      <a:pt x="53" y="276"/>
                    </a:lnTo>
                    <a:lnTo>
                      <a:pt x="56" y="276"/>
                    </a:lnTo>
                    <a:close/>
                    <a:moveTo>
                      <a:pt x="56" y="292"/>
                    </a:moveTo>
                    <a:lnTo>
                      <a:pt x="56" y="292"/>
                    </a:lnTo>
                    <a:lnTo>
                      <a:pt x="56" y="282"/>
                    </a:lnTo>
                    <a:lnTo>
                      <a:pt x="53" y="282"/>
                    </a:lnTo>
                    <a:lnTo>
                      <a:pt x="53" y="282"/>
                    </a:lnTo>
                    <a:lnTo>
                      <a:pt x="55" y="292"/>
                    </a:lnTo>
                    <a:lnTo>
                      <a:pt x="56" y="292"/>
                    </a:lnTo>
                    <a:close/>
                    <a:moveTo>
                      <a:pt x="55" y="307"/>
                    </a:moveTo>
                    <a:lnTo>
                      <a:pt x="55" y="307"/>
                    </a:lnTo>
                    <a:lnTo>
                      <a:pt x="56" y="303"/>
                    </a:lnTo>
                    <a:lnTo>
                      <a:pt x="56" y="303"/>
                    </a:lnTo>
                    <a:lnTo>
                      <a:pt x="56" y="297"/>
                    </a:lnTo>
                    <a:lnTo>
                      <a:pt x="55" y="297"/>
                    </a:lnTo>
                    <a:lnTo>
                      <a:pt x="55" y="297"/>
                    </a:lnTo>
                    <a:lnTo>
                      <a:pt x="53" y="301"/>
                    </a:lnTo>
                    <a:lnTo>
                      <a:pt x="53" y="301"/>
                    </a:lnTo>
                    <a:lnTo>
                      <a:pt x="52" y="307"/>
                    </a:lnTo>
                    <a:lnTo>
                      <a:pt x="55" y="307"/>
                    </a:lnTo>
                    <a:close/>
                    <a:moveTo>
                      <a:pt x="53" y="323"/>
                    </a:moveTo>
                    <a:lnTo>
                      <a:pt x="53" y="323"/>
                    </a:lnTo>
                    <a:lnTo>
                      <a:pt x="53" y="313"/>
                    </a:lnTo>
                    <a:lnTo>
                      <a:pt x="52" y="313"/>
                    </a:lnTo>
                    <a:lnTo>
                      <a:pt x="52" y="313"/>
                    </a:lnTo>
                    <a:lnTo>
                      <a:pt x="50" y="321"/>
                    </a:lnTo>
                    <a:lnTo>
                      <a:pt x="53" y="323"/>
                    </a:lnTo>
                    <a:close/>
                    <a:moveTo>
                      <a:pt x="46" y="336"/>
                    </a:moveTo>
                    <a:lnTo>
                      <a:pt x="46" y="336"/>
                    </a:lnTo>
                    <a:lnTo>
                      <a:pt x="50" y="332"/>
                    </a:lnTo>
                    <a:lnTo>
                      <a:pt x="50" y="332"/>
                    </a:lnTo>
                    <a:lnTo>
                      <a:pt x="52" y="327"/>
                    </a:lnTo>
                    <a:lnTo>
                      <a:pt x="49" y="327"/>
                    </a:lnTo>
                    <a:lnTo>
                      <a:pt x="49" y="327"/>
                    </a:lnTo>
                    <a:lnTo>
                      <a:pt x="47" y="330"/>
                    </a:lnTo>
                    <a:lnTo>
                      <a:pt x="47" y="330"/>
                    </a:lnTo>
                    <a:lnTo>
                      <a:pt x="44" y="334"/>
                    </a:lnTo>
                    <a:lnTo>
                      <a:pt x="46" y="336"/>
                    </a:lnTo>
                    <a:close/>
                    <a:moveTo>
                      <a:pt x="40" y="349"/>
                    </a:moveTo>
                    <a:lnTo>
                      <a:pt x="40" y="349"/>
                    </a:lnTo>
                    <a:lnTo>
                      <a:pt x="43" y="340"/>
                    </a:lnTo>
                    <a:lnTo>
                      <a:pt x="42" y="339"/>
                    </a:lnTo>
                    <a:lnTo>
                      <a:pt x="42" y="339"/>
                    </a:lnTo>
                    <a:lnTo>
                      <a:pt x="37" y="349"/>
                    </a:lnTo>
                    <a:lnTo>
                      <a:pt x="40" y="349"/>
                    </a:lnTo>
                    <a:close/>
                    <a:moveTo>
                      <a:pt x="39" y="365"/>
                    </a:moveTo>
                    <a:lnTo>
                      <a:pt x="39" y="365"/>
                    </a:lnTo>
                    <a:lnTo>
                      <a:pt x="39" y="358"/>
                    </a:lnTo>
                    <a:lnTo>
                      <a:pt x="39" y="358"/>
                    </a:lnTo>
                    <a:lnTo>
                      <a:pt x="39" y="355"/>
                    </a:lnTo>
                    <a:lnTo>
                      <a:pt x="36" y="355"/>
                    </a:lnTo>
                    <a:lnTo>
                      <a:pt x="36" y="355"/>
                    </a:lnTo>
                    <a:lnTo>
                      <a:pt x="36" y="358"/>
                    </a:lnTo>
                    <a:lnTo>
                      <a:pt x="36" y="358"/>
                    </a:lnTo>
                    <a:lnTo>
                      <a:pt x="36" y="365"/>
                    </a:lnTo>
                    <a:lnTo>
                      <a:pt x="39" y="365"/>
                    </a:lnTo>
                    <a:close/>
                    <a:moveTo>
                      <a:pt x="39" y="379"/>
                    </a:moveTo>
                    <a:lnTo>
                      <a:pt x="39" y="379"/>
                    </a:lnTo>
                    <a:lnTo>
                      <a:pt x="39" y="369"/>
                    </a:lnTo>
                    <a:lnTo>
                      <a:pt x="36" y="369"/>
                    </a:lnTo>
                    <a:lnTo>
                      <a:pt x="36" y="369"/>
                    </a:lnTo>
                    <a:lnTo>
                      <a:pt x="37" y="379"/>
                    </a:lnTo>
                    <a:lnTo>
                      <a:pt x="39" y="379"/>
                    </a:lnTo>
                    <a:close/>
                    <a:moveTo>
                      <a:pt x="36" y="395"/>
                    </a:moveTo>
                    <a:lnTo>
                      <a:pt x="36" y="395"/>
                    </a:lnTo>
                    <a:lnTo>
                      <a:pt x="39" y="391"/>
                    </a:lnTo>
                    <a:lnTo>
                      <a:pt x="39" y="391"/>
                    </a:lnTo>
                    <a:lnTo>
                      <a:pt x="39" y="388"/>
                    </a:lnTo>
                    <a:lnTo>
                      <a:pt x="39" y="388"/>
                    </a:lnTo>
                    <a:lnTo>
                      <a:pt x="40" y="385"/>
                    </a:lnTo>
                    <a:lnTo>
                      <a:pt x="37" y="385"/>
                    </a:lnTo>
                    <a:lnTo>
                      <a:pt x="37" y="385"/>
                    </a:lnTo>
                    <a:lnTo>
                      <a:pt x="37" y="388"/>
                    </a:lnTo>
                    <a:lnTo>
                      <a:pt x="37" y="388"/>
                    </a:lnTo>
                    <a:lnTo>
                      <a:pt x="36" y="389"/>
                    </a:lnTo>
                    <a:lnTo>
                      <a:pt x="36" y="389"/>
                    </a:lnTo>
                    <a:lnTo>
                      <a:pt x="36" y="389"/>
                    </a:lnTo>
                    <a:lnTo>
                      <a:pt x="37" y="389"/>
                    </a:lnTo>
                    <a:lnTo>
                      <a:pt x="36" y="389"/>
                    </a:lnTo>
                    <a:lnTo>
                      <a:pt x="36" y="389"/>
                    </a:lnTo>
                    <a:lnTo>
                      <a:pt x="37" y="389"/>
                    </a:lnTo>
                    <a:lnTo>
                      <a:pt x="36" y="389"/>
                    </a:lnTo>
                    <a:lnTo>
                      <a:pt x="36" y="389"/>
                    </a:lnTo>
                    <a:lnTo>
                      <a:pt x="34" y="394"/>
                    </a:lnTo>
                    <a:lnTo>
                      <a:pt x="36" y="395"/>
                    </a:lnTo>
                    <a:close/>
                    <a:moveTo>
                      <a:pt x="33" y="408"/>
                    </a:moveTo>
                    <a:lnTo>
                      <a:pt x="33" y="408"/>
                    </a:lnTo>
                    <a:lnTo>
                      <a:pt x="34" y="400"/>
                    </a:lnTo>
                    <a:lnTo>
                      <a:pt x="33" y="398"/>
                    </a:lnTo>
                    <a:lnTo>
                      <a:pt x="33" y="398"/>
                    </a:lnTo>
                    <a:lnTo>
                      <a:pt x="30" y="408"/>
                    </a:lnTo>
                    <a:lnTo>
                      <a:pt x="33" y="408"/>
                    </a:lnTo>
                    <a:close/>
                    <a:moveTo>
                      <a:pt x="30" y="424"/>
                    </a:moveTo>
                    <a:lnTo>
                      <a:pt x="30" y="424"/>
                    </a:lnTo>
                    <a:lnTo>
                      <a:pt x="33" y="414"/>
                    </a:lnTo>
                    <a:lnTo>
                      <a:pt x="30" y="414"/>
                    </a:lnTo>
                    <a:lnTo>
                      <a:pt x="30" y="414"/>
                    </a:lnTo>
                    <a:lnTo>
                      <a:pt x="29" y="424"/>
                    </a:lnTo>
                    <a:lnTo>
                      <a:pt x="30" y="424"/>
                    </a:lnTo>
                    <a:close/>
                    <a:moveTo>
                      <a:pt x="29" y="439"/>
                    </a:moveTo>
                    <a:lnTo>
                      <a:pt x="29" y="439"/>
                    </a:lnTo>
                    <a:lnTo>
                      <a:pt x="30" y="429"/>
                    </a:lnTo>
                    <a:lnTo>
                      <a:pt x="27" y="429"/>
                    </a:lnTo>
                    <a:lnTo>
                      <a:pt x="27" y="429"/>
                    </a:lnTo>
                    <a:lnTo>
                      <a:pt x="26" y="439"/>
                    </a:lnTo>
                    <a:lnTo>
                      <a:pt x="29" y="439"/>
                    </a:lnTo>
                    <a:close/>
                    <a:moveTo>
                      <a:pt x="26" y="455"/>
                    </a:moveTo>
                    <a:lnTo>
                      <a:pt x="26" y="455"/>
                    </a:lnTo>
                    <a:lnTo>
                      <a:pt x="27" y="445"/>
                    </a:lnTo>
                    <a:lnTo>
                      <a:pt x="26" y="443"/>
                    </a:lnTo>
                    <a:lnTo>
                      <a:pt x="26" y="443"/>
                    </a:lnTo>
                    <a:lnTo>
                      <a:pt x="23" y="453"/>
                    </a:lnTo>
                    <a:lnTo>
                      <a:pt x="26" y="455"/>
                    </a:lnTo>
                    <a:close/>
                    <a:moveTo>
                      <a:pt x="27" y="468"/>
                    </a:moveTo>
                    <a:lnTo>
                      <a:pt x="27" y="468"/>
                    </a:lnTo>
                    <a:lnTo>
                      <a:pt x="26" y="463"/>
                    </a:lnTo>
                    <a:lnTo>
                      <a:pt x="26" y="459"/>
                    </a:lnTo>
                    <a:lnTo>
                      <a:pt x="26" y="459"/>
                    </a:lnTo>
                    <a:lnTo>
                      <a:pt x="23" y="459"/>
                    </a:lnTo>
                    <a:lnTo>
                      <a:pt x="23" y="459"/>
                    </a:lnTo>
                    <a:lnTo>
                      <a:pt x="23" y="459"/>
                    </a:lnTo>
                    <a:lnTo>
                      <a:pt x="23" y="463"/>
                    </a:lnTo>
                    <a:lnTo>
                      <a:pt x="24" y="469"/>
                    </a:lnTo>
                    <a:lnTo>
                      <a:pt x="27" y="468"/>
                    </a:lnTo>
                    <a:close/>
                    <a:moveTo>
                      <a:pt x="33" y="484"/>
                    </a:moveTo>
                    <a:lnTo>
                      <a:pt x="33" y="482"/>
                    </a:lnTo>
                    <a:lnTo>
                      <a:pt x="33" y="482"/>
                    </a:lnTo>
                    <a:lnTo>
                      <a:pt x="31" y="478"/>
                    </a:lnTo>
                    <a:lnTo>
                      <a:pt x="31" y="478"/>
                    </a:lnTo>
                    <a:lnTo>
                      <a:pt x="29" y="473"/>
                    </a:lnTo>
                    <a:lnTo>
                      <a:pt x="27" y="473"/>
                    </a:lnTo>
                    <a:lnTo>
                      <a:pt x="27" y="473"/>
                    </a:lnTo>
                    <a:lnTo>
                      <a:pt x="29" y="479"/>
                    </a:lnTo>
                    <a:lnTo>
                      <a:pt x="29" y="479"/>
                    </a:lnTo>
                    <a:lnTo>
                      <a:pt x="30" y="482"/>
                    </a:lnTo>
                    <a:lnTo>
                      <a:pt x="30" y="482"/>
                    </a:lnTo>
                    <a:lnTo>
                      <a:pt x="33" y="484"/>
                    </a:lnTo>
                    <a:close/>
                    <a:moveTo>
                      <a:pt x="26" y="495"/>
                    </a:moveTo>
                    <a:lnTo>
                      <a:pt x="26" y="495"/>
                    </a:lnTo>
                    <a:lnTo>
                      <a:pt x="26" y="495"/>
                    </a:lnTo>
                    <a:lnTo>
                      <a:pt x="27" y="494"/>
                    </a:lnTo>
                    <a:lnTo>
                      <a:pt x="27" y="494"/>
                    </a:lnTo>
                    <a:lnTo>
                      <a:pt x="29" y="491"/>
                    </a:lnTo>
                    <a:lnTo>
                      <a:pt x="30" y="488"/>
                    </a:lnTo>
                    <a:lnTo>
                      <a:pt x="29" y="487"/>
                    </a:lnTo>
                    <a:lnTo>
                      <a:pt x="29" y="487"/>
                    </a:lnTo>
                    <a:lnTo>
                      <a:pt x="26" y="489"/>
                    </a:lnTo>
                    <a:lnTo>
                      <a:pt x="24" y="492"/>
                    </a:lnTo>
                    <a:lnTo>
                      <a:pt x="24" y="492"/>
                    </a:lnTo>
                    <a:lnTo>
                      <a:pt x="24" y="495"/>
                    </a:lnTo>
                    <a:lnTo>
                      <a:pt x="24" y="495"/>
                    </a:lnTo>
                    <a:lnTo>
                      <a:pt x="24" y="497"/>
                    </a:lnTo>
                    <a:lnTo>
                      <a:pt x="26" y="495"/>
                    </a:lnTo>
                    <a:close/>
                    <a:moveTo>
                      <a:pt x="37" y="505"/>
                    </a:moveTo>
                    <a:lnTo>
                      <a:pt x="37" y="505"/>
                    </a:lnTo>
                    <a:lnTo>
                      <a:pt x="29" y="500"/>
                    </a:lnTo>
                    <a:lnTo>
                      <a:pt x="27" y="501"/>
                    </a:lnTo>
                    <a:lnTo>
                      <a:pt x="27" y="501"/>
                    </a:lnTo>
                    <a:lnTo>
                      <a:pt x="36" y="507"/>
                    </a:lnTo>
                    <a:lnTo>
                      <a:pt x="37" y="505"/>
                    </a:lnTo>
                    <a:close/>
                    <a:moveTo>
                      <a:pt x="29" y="514"/>
                    </a:moveTo>
                    <a:lnTo>
                      <a:pt x="29" y="514"/>
                    </a:lnTo>
                    <a:lnTo>
                      <a:pt x="30" y="513"/>
                    </a:lnTo>
                    <a:lnTo>
                      <a:pt x="30" y="513"/>
                    </a:lnTo>
                    <a:lnTo>
                      <a:pt x="34" y="513"/>
                    </a:lnTo>
                    <a:lnTo>
                      <a:pt x="34" y="513"/>
                    </a:lnTo>
                    <a:lnTo>
                      <a:pt x="37" y="513"/>
                    </a:lnTo>
                    <a:lnTo>
                      <a:pt x="39" y="511"/>
                    </a:lnTo>
                    <a:lnTo>
                      <a:pt x="37" y="510"/>
                    </a:lnTo>
                    <a:lnTo>
                      <a:pt x="37" y="510"/>
                    </a:lnTo>
                    <a:lnTo>
                      <a:pt x="36" y="510"/>
                    </a:lnTo>
                    <a:lnTo>
                      <a:pt x="36" y="510"/>
                    </a:lnTo>
                    <a:lnTo>
                      <a:pt x="31" y="511"/>
                    </a:lnTo>
                    <a:lnTo>
                      <a:pt x="31" y="511"/>
                    </a:lnTo>
                    <a:lnTo>
                      <a:pt x="27" y="511"/>
                    </a:lnTo>
                    <a:lnTo>
                      <a:pt x="29" y="514"/>
                    </a:lnTo>
                    <a:close/>
                    <a:moveTo>
                      <a:pt x="36" y="524"/>
                    </a:moveTo>
                    <a:lnTo>
                      <a:pt x="36" y="524"/>
                    </a:lnTo>
                    <a:lnTo>
                      <a:pt x="36" y="523"/>
                    </a:lnTo>
                    <a:lnTo>
                      <a:pt x="36" y="523"/>
                    </a:lnTo>
                    <a:lnTo>
                      <a:pt x="36" y="520"/>
                    </a:lnTo>
                    <a:lnTo>
                      <a:pt x="36" y="520"/>
                    </a:lnTo>
                    <a:lnTo>
                      <a:pt x="31" y="515"/>
                    </a:lnTo>
                    <a:lnTo>
                      <a:pt x="29" y="517"/>
                    </a:lnTo>
                    <a:lnTo>
                      <a:pt x="29" y="517"/>
                    </a:lnTo>
                    <a:lnTo>
                      <a:pt x="33" y="521"/>
                    </a:lnTo>
                    <a:lnTo>
                      <a:pt x="33" y="521"/>
                    </a:lnTo>
                    <a:lnTo>
                      <a:pt x="34" y="523"/>
                    </a:lnTo>
                    <a:lnTo>
                      <a:pt x="33" y="523"/>
                    </a:lnTo>
                    <a:lnTo>
                      <a:pt x="36" y="524"/>
                    </a:lnTo>
                    <a:close/>
                    <a:moveTo>
                      <a:pt x="30" y="536"/>
                    </a:moveTo>
                    <a:lnTo>
                      <a:pt x="30" y="536"/>
                    </a:lnTo>
                    <a:lnTo>
                      <a:pt x="29" y="534"/>
                    </a:lnTo>
                    <a:lnTo>
                      <a:pt x="29" y="534"/>
                    </a:lnTo>
                    <a:lnTo>
                      <a:pt x="29" y="533"/>
                    </a:lnTo>
                    <a:lnTo>
                      <a:pt x="29" y="533"/>
                    </a:lnTo>
                    <a:lnTo>
                      <a:pt x="30" y="531"/>
                    </a:lnTo>
                    <a:lnTo>
                      <a:pt x="31" y="529"/>
                    </a:lnTo>
                    <a:lnTo>
                      <a:pt x="30" y="527"/>
                    </a:lnTo>
                    <a:lnTo>
                      <a:pt x="30" y="527"/>
                    </a:lnTo>
                    <a:lnTo>
                      <a:pt x="27" y="530"/>
                    </a:lnTo>
                    <a:lnTo>
                      <a:pt x="26" y="533"/>
                    </a:lnTo>
                    <a:lnTo>
                      <a:pt x="26" y="533"/>
                    </a:lnTo>
                    <a:lnTo>
                      <a:pt x="27" y="536"/>
                    </a:lnTo>
                    <a:lnTo>
                      <a:pt x="27" y="537"/>
                    </a:lnTo>
                    <a:lnTo>
                      <a:pt x="30" y="536"/>
                    </a:lnTo>
                    <a:close/>
                    <a:moveTo>
                      <a:pt x="31" y="552"/>
                    </a:moveTo>
                    <a:lnTo>
                      <a:pt x="31" y="552"/>
                    </a:lnTo>
                    <a:lnTo>
                      <a:pt x="30" y="542"/>
                    </a:lnTo>
                    <a:lnTo>
                      <a:pt x="27" y="542"/>
                    </a:lnTo>
                    <a:lnTo>
                      <a:pt x="27" y="542"/>
                    </a:lnTo>
                    <a:lnTo>
                      <a:pt x="29" y="552"/>
                    </a:lnTo>
                    <a:lnTo>
                      <a:pt x="31" y="552"/>
                    </a:lnTo>
                    <a:close/>
                    <a:moveTo>
                      <a:pt x="30" y="568"/>
                    </a:moveTo>
                    <a:lnTo>
                      <a:pt x="30" y="568"/>
                    </a:lnTo>
                    <a:lnTo>
                      <a:pt x="31" y="556"/>
                    </a:lnTo>
                    <a:lnTo>
                      <a:pt x="29" y="556"/>
                    </a:lnTo>
                    <a:lnTo>
                      <a:pt x="29" y="556"/>
                    </a:lnTo>
                    <a:lnTo>
                      <a:pt x="27" y="566"/>
                    </a:lnTo>
                    <a:lnTo>
                      <a:pt x="30" y="568"/>
                    </a:lnTo>
                    <a:close/>
                    <a:moveTo>
                      <a:pt x="24" y="581"/>
                    </a:moveTo>
                    <a:lnTo>
                      <a:pt x="24" y="581"/>
                    </a:lnTo>
                    <a:lnTo>
                      <a:pt x="27" y="572"/>
                    </a:lnTo>
                    <a:lnTo>
                      <a:pt x="29" y="572"/>
                    </a:lnTo>
                    <a:lnTo>
                      <a:pt x="26" y="571"/>
                    </a:lnTo>
                    <a:lnTo>
                      <a:pt x="26" y="571"/>
                    </a:lnTo>
                    <a:lnTo>
                      <a:pt x="26" y="571"/>
                    </a:lnTo>
                    <a:lnTo>
                      <a:pt x="21" y="581"/>
                    </a:lnTo>
                    <a:lnTo>
                      <a:pt x="24" y="581"/>
                    </a:lnTo>
                    <a:close/>
                    <a:moveTo>
                      <a:pt x="21" y="595"/>
                    </a:moveTo>
                    <a:lnTo>
                      <a:pt x="21" y="595"/>
                    </a:lnTo>
                    <a:lnTo>
                      <a:pt x="23" y="586"/>
                    </a:lnTo>
                    <a:lnTo>
                      <a:pt x="20" y="585"/>
                    </a:lnTo>
                    <a:lnTo>
                      <a:pt x="20" y="585"/>
                    </a:lnTo>
                    <a:lnTo>
                      <a:pt x="18" y="595"/>
                    </a:lnTo>
                    <a:lnTo>
                      <a:pt x="21" y="595"/>
                    </a:lnTo>
                    <a:close/>
                    <a:moveTo>
                      <a:pt x="17" y="611"/>
                    </a:moveTo>
                    <a:lnTo>
                      <a:pt x="17" y="611"/>
                    </a:lnTo>
                    <a:lnTo>
                      <a:pt x="20" y="605"/>
                    </a:lnTo>
                    <a:lnTo>
                      <a:pt x="21" y="601"/>
                    </a:lnTo>
                    <a:lnTo>
                      <a:pt x="18" y="601"/>
                    </a:lnTo>
                    <a:lnTo>
                      <a:pt x="18" y="601"/>
                    </a:lnTo>
                    <a:lnTo>
                      <a:pt x="17" y="605"/>
                    </a:lnTo>
                    <a:lnTo>
                      <a:pt x="14" y="610"/>
                    </a:lnTo>
                    <a:lnTo>
                      <a:pt x="17" y="611"/>
                    </a:lnTo>
                    <a:close/>
                    <a:moveTo>
                      <a:pt x="8" y="623"/>
                    </a:moveTo>
                    <a:lnTo>
                      <a:pt x="8" y="623"/>
                    </a:lnTo>
                    <a:lnTo>
                      <a:pt x="14" y="615"/>
                    </a:lnTo>
                    <a:lnTo>
                      <a:pt x="13" y="614"/>
                    </a:lnTo>
                    <a:lnTo>
                      <a:pt x="13" y="614"/>
                    </a:lnTo>
                    <a:lnTo>
                      <a:pt x="5" y="621"/>
                    </a:lnTo>
                    <a:lnTo>
                      <a:pt x="8" y="623"/>
                    </a:lnTo>
                    <a:close/>
                    <a:moveTo>
                      <a:pt x="2" y="636"/>
                    </a:moveTo>
                    <a:lnTo>
                      <a:pt x="2" y="636"/>
                    </a:lnTo>
                    <a:lnTo>
                      <a:pt x="4" y="631"/>
                    </a:lnTo>
                    <a:lnTo>
                      <a:pt x="5" y="627"/>
                    </a:lnTo>
                    <a:lnTo>
                      <a:pt x="2" y="626"/>
                    </a:lnTo>
                    <a:lnTo>
                      <a:pt x="2" y="626"/>
                    </a:lnTo>
                    <a:lnTo>
                      <a:pt x="1" y="631"/>
                    </a:lnTo>
                    <a:lnTo>
                      <a:pt x="0" y="636"/>
                    </a:lnTo>
                    <a:lnTo>
                      <a:pt x="2" y="636"/>
                    </a:lnTo>
                    <a:close/>
                    <a:moveTo>
                      <a:pt x="2" y="650"/>
                    </a:moveTo>
                    <a:lnTo>
                      <a:pt x="2" y="650"/>
                    </a:lnTo>
                    <a:lnTo>
                      <a:pt x="2" y="641"/>
                    </a:lnTo>
                    <a:lnTo>
                      <a:pt x="2" y="641"/>
                    </a:lnTo>
                    <a:lnTo>
                      <a:pt x="0" y="641"/>
                    </a:lnTo>
                    <a:lnTo>
                      <a:pt x="0" y="641"/>
                    </a:lnTo>
                    <a:lnTo>
                      <a:pt x="0" y="641"/>
                    </a:lnTo>
                    <a:lnTo>
                      <a:pt x="1" y="652"/>
                    </a:lnTo>
                    <a:lnTo>
                      <a:pt x="2" y="650"/>
                    </a:lnTo>
                    <a:close/>
                    <a:moveTo>
                      <a:pt x="11" y="655"/>
                    </a:moveTo>
                    <a:lnTo>
                      <a:pt x="11" y="655"/>
                    </a:lnTo>
                    <a:lnTo>
                      <a:pt x="8" y="656"/>
                    </a:lnTo>
                    <a:lnTo>
                      <a:pt x="8" y="656"/>
                    </a:lnTo>
                    <a:lnTo>
                      <a:pt x="7" y="657"/>
                    </a:lnTo>
                    <a:lnTo>
                      <a:pt x="7" y="657"/>
                    </a:lnTo>
                    <a:lnTo>
                      <a:pt x="5" y="656"/>
                    </a:lnTo>
                    <a:lnTo>
                      <a:pt x="5" y="655"/>
                    </a:lnTo>
                    <a:lnTo>
                      <a:pt x="2" y="656"/>
                    </a:lnTo>
                    <a:lnTo>
                      <a:pt x="4" y="657"/>
                    </a:lnTo>
                    <a:lnTo>
                      <a:pt x="4" y="657"/>
                    </a:lnTo>
                    <a:lnTo>
                      <a:pt x="5" y="659"/>
                    </a:lnTo>
                    <a:lnTo>
                      <a:pt x="7" y="659"/>
                    </a:lnTo>
                    <a:lnTo>
                      <a:pt x="7" y="659"/>
                    </a:lnTo>
                    <a:lnTo>
                      <a:pt x="10" y="657"/>
                    </a:lnTo>
                    <a:lnTo>
                      <a:pt x="10" y="657"/>
                    </a:lnTo>
                    <a:lnTo>
                      <a:pt x="13" y="656"/>
                    </a:lnTo>
                    <a:lnTo>
                      <a:pt x="11" y="655"/>
                    </a:lnTo>
                    <a:close/>
                    <a:moveTo>
                      <a:pt x="23" y="657"/>
                    </a:moveTo>
                    <a:lnTo>
                      <a:pt x="23" y="657"/>
                    </a:lnTo>
                    <a:lnTo>
                      <a:pt x="23" y="657"/>
                    </a:lnTo>
                    <a:lnTo>
                      <a:pt x="21" y="652"/>
                    </a:lnTo>
                    <a:lnTo>
                      <a:pt x="21" y="652"/>
                    </a:lnTo>
                    <a:lnTo>
                      <a:pt x="21" y="650"/>
                    </a:lnTo>
                    <a:lnTo>
                      <a:pt x="21" y="650"/>
                    </a:lnTo>
                    <a:lnTo>
                      <a:pt x="20" y="650"/>
                    </a:lnTo>
                    <a:lnTo>
                      <a:pt x="20" y="650"/>
                    </a:lnTo>
                    <a:lnTo>
                      <a:pt x="15" y="652"/>
                    </a:lnTo>
                    <a:lnTo>
                      <a:pt x="17" y="653"/>
                    </a:lnTo>
                    <a:lnTo>
                      <a:pt x="17" y="653"/>
                    </a:lnTo>
                    <a:lnTo>
                      <a:pt x="20" y="653"/>
                    </a:lnTo>
                    <a:lnTo>
                      <a:pt x="20" y="653"/>
                    </a:lnTo>
                    <a:lnTo>
                      <a:pt x="20" y="653"/>
                    </a:lnTo>
                    <a:lnTo>
                      <a:pt x="20" y="653"/>
                    </a:lnTo>
                    <a:lnTo>
                      <a:pt x="20" y="653"/>
                    </a:lnTo>
                    <a:lnTo>
                      <a:pt x="20" y="653"/>
                    </a:lnTo>
                    <a:lnTo>
                      <a:pt x="20" y="652"/>
                    </a:lnTo>
                    <a:lnTo>
                      <a:pt x="20" y="653"/>
                    </a:lnTo>
                    <a:lnTo>
                      <a:pt x="20" y="653"/>
                    </a:lnTo>
                    <a:lnTo>
                      <a:pt x="20" y="652"/>
                    </a:lnTo>
                    <a:lnTo>
                      <a:pt x="20" y="653"/>
                    </a:lnTo>
                    <a:lnTo>
                      <a:pt x="20" y="653"/>
                    </a:lnTo>
                    <a:lnTo>
                      <a:pt x="20" y="653"/>
                    </a:lnTo>
                    <a:lnTo>
                      <a:pt x="20" y="653"/>
                    </a:lnTo>
                    <a:lnTo>
                      <a:pt x="20" y="653"/>
                    </a:lnTo>
                    <a:lnTo>
                      <a:pt x="20" y="653"/>
                    </a:lnTo>
                    <a:lnTo>
                      <a:pt x="20" y="653"/>
                    </a:lnTo>
                    <a:lnTo>
                      <a:pt x="20" y="653"/>
                    </a:lnTo>
                    <a:lnTo>
                      <a:pt x="20" y="657"/>
                    </a:lnTo>
                    <a:lnTo>
                      <a:pt x="20" y="657"/>
                    </a:lnTo>
                    <a:lnTo>
                      <a:pt x="23" y="657"/>
                    </a:lnTo>
                    <a:close/>
                    <a:moveTo>
                      <a:pt x="23" y="673"/>
                    </a:moveTo>
                    <a:lnTo>
                      <a:pt x="23" y="673"/>
                    </a:lnTo>
                    <a:lnTo>
                      <a:pt x="21" y="668"/>
                    </a:lnTo>
                    <a:lnTo>
                      <a:pt x="21" y="668"/>
                    </a:lnTo>
                    <a:lnTo>
                      <a:pt x="21" y="663"/>
                    </a:lnTo>
                    <a:lnTo>
                      <a:pt x="20" y="663"/>
                    </a:lnTo>
                    <a:lnTo>
                      <a:pt x="20" y="663"/>
                    </a:lnTo>
                    <a:lnTo>
                      <a:pt x="20" y="668"/>
                    </a:lnTo>
                    <a:lnTo>
                      <a:pt x="20" y="668"/>
                    </a:lnTo>
                    <a:lnTo>
                      <a:pt x="20" y="673"/>
                    </a:lnTo>
                    <a:lnTo>
                      <a:pt x="23" y="673"/>
                    </a:lnTo>
                    <a:close/>
                    <a:moveTo>
                      <a:pt x="27" y="686"/>
                    </a:moveTo>
                    <a:lnTo>
                      <a:pt x="27" y="686"/>
                    </a:lnTo>
                    <a:lnTo>
                      <a:pt x="24" y="684"/>
                    </a:lnTo>
                    <a:lnTo>
                      <a:pt x="24" y="684"/>
                    </a:lnTo>
                    <a:lnTo>
                      <a:pt x="23" y="678"/>
                    </a:lnTo>
                    <a:lnTo>
                      <a:pt x="20" y="678"/>
                    </a:lnTo>
                    <a:lnTo>
                      <a:pt x="20" y="678"/>
                    </a:lnTo>
                    <a:lnTo>
                      <a:pt x="23" y="685"/>
                    </a:lnTo>
                    <a:lnTo>
                      <a:pt x="23" y="685"/>
                    </a:lnTo>
                    <a:lnTo>
                      <a:pt x="26" y="688"/>
                    </a:lnTo>
                    <a:lnTo>
                      <a:pt x="27" y="686"/>
                    </a:lnTo>
                    <a:close/>
                    <a:moveTo>
                      <a:pt x="42" y="688"/>
                    </a:moveTo>
                    <a:lnTo>
                      <a:pt x="42" y="688"/>
                    </a:lnTo>
                    <a:lnTo>
                      <a:pt x="31" y="688"/>
                    </a:lnTo>
                    <a:lnTo>
                      <a:pt x="30" y="689"/>
                    </a:lnTo>
                    <a:lnTo>
                      <a:pt x="30" y="689"/>
                    </a:lnTo>
                    <a:lnTo>
                      <a:pt x="42" y="691"/>
                    </a:lnTo>
                    <a:lnTo>
                      <a:pt x="42" y="688"/>
                    </a:lnTo>
                    <a:close/>
                    <a:moveTo>
                      <a:pt x="56" y="689"/>
                    </a:moveTo>
                    <a:lnTo>
                      <a:pt x="56" y="689"/>
                    </a:lnTo>
                    <a:lnTo>
                      <a:pt x="52" y="688"/>
                    </a:lnTo>
                    <a:lnTo>
                      <a:pt x="52" y="688"/>
                    </a:lnTo>
                    <a:lnTo>
                      <a:pt x="46" y="688"/>
                    </a:lnTo>
                    <a:lnTo>
                      <a:pt x="46" y="691"/>
                    </a:lnTo>
                    <a:lnTo>
                      <a:pt x="46" y="691"/>
                    </a:lnTo>
                    <a:lnTo>
                      <a:pt x="52" y="691"/>
                    </a:lnTo>
                    <a:lnTo>
                      <a:pt x="52" y="691"/>
                    </a:lnTo>
                    <a:lnTo>
                      <a:pt x="56" y="691"/>
                    </a:lnTo>
                    <a:lnTo>
                      <a:pt x="56" y="689"/>
                    </a:lnTo>
                    <a:close/>
                    <a:moveTo>
                      <a:pt x="72" y="692"/>
                    </a:moveTo>
                    <a:lnTo>
                      <a:pt x="72" y="692"/>
                    </a:lnTo>
                    <a:lnTo>
                      <a:pt x="62" y="689"/>
                    </a:lnTo>
                    <a:lnTo>
                      <a:pt x="60" y="692"/>
                    </a:lnTo>
                    <a:lnTo>
                      <a:pt x="60" y="692"/>
                    </a:lnTo>
                    <a:lnTo>
                      <a:pt x="71" y="694"/>
                    </a:lnTo>
                    <a:lnTo>
                      <a:pt x="72" y="69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5" name="Freeform 1633"/>
              <p:cNvSpPr>
                <a:spLocks noEditPoints="1"/>
              </p:cNvSpPr>
              <p:nvPr/>
            </p:nvSpPr>
            <p:spPr bwMode="auto">
              <a:xfrm>
                <a:off x="3311683" y="4297494"/>
                <a:ext cx="2968" cy="65291"/>
              </a:xfrm>
              <a:custGeom>
                <a:avLst/>
                <a:gdLst>
                  <a:gd name="T0" fmla="*/ 3 w 3"/>
                  <a:gd name="T1" fmla="*/ 0 h 66"/>
                  <a:gd name="T2" fmla="*/ 0 w 3"/>
                  <a:gd name="T3" fmla="*/ 0 h 66"/>
                  <a:gd name="T4" fmla="*/ 0 w 3"/>
                  <a:gd name="T5" fmla="*/ 5 h 66"/>
                  <a:gd name="T6" fmla="*/ 3 w 3"/>
                  <a:gd name="T7" fmla="*/ 5 h 66"/>
                  <a:gd name="T8" fmla="*/ 3 w 3"/>
                  <a:gd name="T9" fmla="*/ 0 h 66"/>
                  <a:gd name="T10" fmla="*/ 3 w 3"/>
                  <a:gd name="T11" fmla="*/ 10 h 66"/>
                  <a:gd name="T12" fmla="*/ 0 w 3"/>
                  <a:gd name="T13" fmla="*/ 10 h 66"/>
                  <a:gd name="T14" fmla="*/ 0 w 3"/>
                  <a:gd name="T15" fmla="*/ 21 h 66"/>
                  <a:gd name="T16" fmla="*/ 3 w 3"/>
                  <a:gd name="T17" fmla="*/ 21 h 66"/>
                  <a:gd name="T18" fmla="*/ 3 w 3"/>
                  <a:gd name="T19" fmla="*/ 10 h 66"/>
                  <a:gd name="T20" fmla="*/ 3 w 3"/>
                  <a:gd name="T21" fmla="*/ 25 h 66"/>
                  <a:gd name="T22" fmla="*/ 0 w 3"/>
                  <a:gd name="T23" fmla="*/ 25 h 66"/>
                  <a:gd name="T24" fmla="*/ 0 w 3"/>
                  <a:gd name="T25" fmla="*/ 35 h 66"/>
                  <a:gd name="T26" fmla="*/ 3 w 3"/>
                  <a:gd name="T27" fmla="*/ 35 h 66"/>
                  <a:gd name="T28" fmla="*/ 3 w 3"/>
                  <a:gd name="T29" fmla="*/ 25 h 66"/>
                  <a:gd name="T30" fmla="*/ 3 w 3"/>
                  <a:gd name="T31" fmla="*/ 41 h 66"/>
                  <a:gd name="T32" fmla="*/ 0 w 3"/>
                  <a:gd name="T33" fmla="*/ 41 h 66"/>
                  <a:gd name="T34" fmla="*/ 0 w 3"/>
                  <a:gd name="T35" fmla="*/ 51 h 66"/>
                  <a:gd name="T36" fmla="*/ 3 w 3"/>
                  <a:gd name="T37" fmla="*/ 51 h 66"/>
                  <a:gd name="T38" fmla="*/ 3 w 3"/>
                  <a:gd name="T39" fmla="*/ 41 h 66"/>
                  <a:gd name="T40" fmla="*/ 3 w 3"/>
                  <a:gd name="T41" fmla="*/ 55 h 66"/>
                  <a:gd name="T42" fmla="*/ 0 w 3"/>
                  <a:gd name="T43" fmla="*/ 55 h 66"/>
                  <a:gd name="T44" fmla="*/ 0 w 3"/>
                  <a:gd name="T45" fmla="*/ 66 h 66"/>
                  <a:gd name="T46" fmla="*/ 3 w 3"/>
                  <a:gd name="T47" fmla="*/ 66 h 66"/>
                  <a:gd name="T48" fmla="*/ 3 w 3"/>
                  <a:gd name="T49" fmla="*/ 5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" h="66">
                    <a:moveTo>
                      <a:pt x="3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3" y="0"/>
                    </a:lnTo>
                    <a:close/>
                    <a:moveTo>
                      <a:pt x="3" y="10"/>
                    </a:moveTo>
                    <a:lnTo>
                      <a:pt x="0" y="10"/>
                    </a:lnTo>
                    <a:lnTo>
                      <a:pt x="0" y="21"/>
                    </a:lnTo>
                    <a:lnTo>
                      <a:pt x="3" y="21"/>
                    </a:lnTo>
                    <a:lnTo>
                      <a:pt x="3" y="10"/>
                    </a:lnTo>
                    <a:close/>
                    <a:moveTo>
                      <a:pt x="3" y="25"/>
                    </a:moveTo>
                    <a:lnTo>
                      <a:pt x="0" y="25"/>
                    </a:lnTo>
                    <a:lnTo>
                      <a:pt x="0" y="35"/>
                    </a:lnTo>
                    <a:lnTo>
                      <a:pt x="3" y="35"/>
                    </a:lnTo>
                    <a:lnTo>
                      <a:pt x="3" y="25"/>
                    </a:lnTo>
                    <a:close/>
                    <a:moveTo>
                      <a:pt x="3" y="41"/>
                    </a:moveTo>
                    <a:lnTo>
                      <a:pt x="0" y="41"/>
                    </a:lnTo>
                    <a:lnTo>
                      <a:pt x="0" y="51"/>
                    </a:lnTo>
                    <a:lnTo>
                      <a:pt x="3" y="51"/>
                    </a:lnTo>
                    <a:lnTo>
                      <a:pt x="3" y="41"/>
                    </a:lnTo>
                    <a:close/>
                    <a:moveTo>
                      <a:pt x="3" y="55"/>
                    </a:moveTo>
                    <a:lnTo>
                      <a:pt x="0" y="55"/>
                    </a:lnTo>
                    <a:lnTo>
                      <a:pt x="0" y="66"/>
                    </a:lnTo>
                    <a:lnTo>
                      <a:pt x="3" y="66"/>
                    </a:lnTo>
                    <a:lnTo>
                      <a:pt x="3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6" name="Freeform 1634"/>
              <p:cNvSpPr>
                <a:spLocks noEditPoints="1"/>
              </p:cNvSpPr>
              <p:nvPr/>
            </p:nvSpPr>
            <p:spPr bwMode="auto">
              <a:xfrm>
                <a:off x="3151423" y="3303288"/>
                <a:ext cx="398672" cy="587620"/>
              </a:xfrm>
              <a:custGeom>
                <a:avLst/>
                <a:gdLst>
                  <a:gd name="T0" fmla="*/ 7 w 403"/>
                  <a:gd name="T1" fmla="*/ 4 h 594"/>
                  <a:gd name="T2" fmla="*/ 38 w 403"/>
                  <a:gd name="T3" fmla="*/ 16 h 594"/>
                  <a:gd name="T4" fmla="*/ 49 w 403"/>
                  <a:gd name="T5" fmla="*/ 23 h 594"/>
                  <a:gd name="T6" fmla="*/ 74 w 403"/>
                  <a:gd name="T7" fmla="*/ 29 h 594"/>
                  <a:gd name="T8" fmla="*/ 87 w 403"/>
                  <a:gd name="T9" fmla="*/ 44 h 594"/>
                  <a:gd name="T10" fmla="*/ 123 w 403"/>
                  <a:gd name="T11" fmla="*/ 59 h 594"/>
                  <a:gd name="T12" fmla="*/ 136 w 403"/>
                  <a:gd name="T13" fmla="*/ 62 h 594"/>
                  <a:gd name="T14" fmla="*/ 133 w 403"/>
                  <a:gd name="T15" fmla="*/ 61 h 594"/>
                  <a:gd name="T16" fmla="*/ 132 w 403"/>
                  <a:gd name="T17" fmla="*/ 74 h 594"/>
                  <a:gd name="T18" fmla="*/ 138 w 403"/>
                  <a:gd name="T19" fmla="*/ 87 h 594"/>
                  <a:gd name="T20" fmla="*/ 120 w 403"/>
                  <a:gd name="T21" fmla="*/ 93 h 594"/>
                  <a:gd name="T22" fmla="*/ 120 w 403"/>
                  <a:gd name="T23" fmla="*/ 90 h 594"/>
                  <a:gd name="T24" fmla="*/ 107 w 403"/>
                  <a:gd name="T25" fmla="*/ 91 h 594"/>
                  <a:gd name="T26" fmla="*/ 94 w 403"/>
                  <a:gd name="T27" fmla="*/ 103 h 594"/>
                  <a:gd name="T28" fmla="*/ 90 w 403"/>
                  <a:gd name="T29" fmla="*/ 109 h 594"/>
                  <a:gd name="T30" fmla="*/ 75 w 403"/>
                  <a:gd name="T31" fmla="*/ 119 h 594"/>
                  <a:gd name="T32" fmla="*/ 81 w 403"/>
                  <a:gd name="T33" fmla="*/ 152 h 594"/>
                  <a:gd name="T34" fmla="*/ 84 w 403"/>
                  <a:gd name="T35" fmla="*/ 161 h 594"/>
                  <a:gd name="T36" fmla="*/ 112 w 403"/>
                  <a:gd name="T37" fmla="*/ 167 h 594"/>
                  <a:gd name="T38" fmla="*/ 132 w 403"/>
                  <a:gd name="T39" fmla="*/ 162 h 594"/>
                  <a:gd name="T40" fmla="*/ 129 w 403"/>
                  <a:gd name="T41" fmla="*/ 162 h 594"/>
                  <a:gd name="T42" fmla="*/ 130 w 403"/>
                  <a:gd name="T43" fmla="*/ 161 h 594"/>
                  <a:gd name="T44" fmla="*/ 130 w 403"/>
                  <a:gd name="T45" fmla="*/ 168 h 594"/>
                  <a:gd name="T46" fmla="*/ 132 w 403"/>
                  <a:gd name="T47" fmla="*/ 186 h 594"/>
                  <a:gd name="T48" fmla="*/ 155 w 403"/>
                  <a:gd name="T49" fmla="*/ 187 h 594"/>
                  <a:gd name="T50" fmla="*/ 182 w 403"/>
                  <a:gd name="T51" fmla="*/ 175 h 594"/>
                  <a:gd name="T52" fmla="*/ 198 w 403"/>
                  <a:gd name="T53" fmla="*/ 171 h 594"/>
                  <a:gd name="T54" fmla="*/ 210 w 403"/>
                  <a:gd name="T55" fmla="*/ 167 h 594"/>
                  <a:gd name="T56" fmla="*/ 213 w 403"/>
                  <a:gd name="T57" fmla="*/ 180 h 594"/>
                  <a:gd name="T58" fmla="*/ 211 w 403"/>
                  <a:gd name="T59" fmla="*/ 191 h 594"/>
                  <a:gd name="T60" fmla="*/ 239 w 403"/>
                  <a:gd name="T61" fmla="*/ 212 h 594"/>
                  <a:gd name="T62" fmla="*/ 243 w 403"/>
                  <a:gd name="T63" fmla="*/ 213 h 594"/>
                  <a:gd name="T64" fmla="*/ 266 w 403"/>
                  <a:gd name="T65" fmla="*/ 223 h 594"/>
                  <a:gd name="T66" fmla="*/ 294 w 403"/>
                  <a:gd name="T67" fmla="*/ 233 h 594"/>
                  <a:gd name="T68" fmla="*/ 297 w 403"/>
                  <a:gd name="T69" fmla="*/ 248 h 594"/>
                  <a:gd name="T70" fmla="*/ 298 w 403"/>
                  <a:gd name="T71" fmla="*/ 248 h 594"/>
                  <a:gd name="T72" fmla="*/ 310 w 403"/>
                  <a:gd name="T73" fmla="*/ 270 h 594"/>
                  <a:gd name="T74" fmla="*/ 327 w 403"/>
                  <a:gd name="T75" fmla="*/ 270 h 594"/>
                  <a:gd name="T76" fmla="*/ 332 w 403"/>
                  <a:gd name="T77" fmla="*/ 280 h 594"/>
                  <a:gd name="T78" fmla="*/ 333 w 403"/>
                  <a:gd name="T79" fmla="*/ 290 h 594"/>
                  <a:gd name="T80" fmla="*/ 342 w 403"/>
                  <a:gd name="T81" fmla="*/ 301 h 594"/>
                  <a:gd name="T82" fmla="*/ 342 w 403"/>
                  <a:gd name="T83" fmla="*/ 316 h 594"/>
                  <a:gd name="T84" fmla="*/ 335 w 403"/>
                  <a:gd name="T85" fmla="*/ 332 h 594"/>
                  <a:gd name="T86" fmla="*/ 343 w 403"/>
                  <a:gd name="T87" fmla="*/ 368 h 594"/>
                  <a:gd name="T88" fmla="*/ 348 w 403"/>
                  <a:gd name="T89" fmla="*/ 371 h 594"/>
                  <a:gd name="T90" fmla="*/ 381 w 403"/>
                  <a:gd name="T91" fmla="*/ 387 h 594"/>
                  <a:gd name="T92" fmla="*/ 379 w 403"/>
                  <a:gd name="T93" fmla="*/ 393 h 594"/>
                  <a:gd name="T94" fmla="*/ 388 w 403"/>
                  <a:gd name="T95" fmla="*/ 410 h 594"/>
                  <a:gd name="T96" fmla="*/ 387 w 403"/>
                  <a:gd name="T97" fmla="*/ 426 h 594"/>
                  <a:gd name="T98" fmla="*/ 395 w 403"/>
                  <a:gd name="T99" fmla="*/ 436 h 594"/>
                  <a:gd name="T100" fmla="*/ 398 w 403"/>
                  <a:gd name="T101" fmla="*/ 467 h 594"/>
                  <a:gd name="T102" fmla="*/ 395 w 403"/>
                  <a:gd name="T103" fmla="*/ 465 h 594"/>
                  <a:gd name="T104" fmla="*/ 379 w 403"/>
                  <a:gd name="T105" fmla="*/ 477 h 594"/>
                  <a:gd name="T106" fmla="*/ 365 w 403"/>
                  <a:gd name="T107" fmla="*/ 488 h 594"/>
                  <a:gd name="T108" fmla="*/ 349 w 403"/>
                  <a:gd name="T109" fmla="*/ 519 h 594"/>
                  <a:gd name="T110" fmla="*/ 340 w 403"/>
                  <a:gd name="T111" fmla="*/ 533 h 594"/>
                  <a:gd name="T112" fmla="*/ 340 w 403"/>
                  <a:gd name="T113" fmla="*/ 549 h 594"/>
                  <a:gd name="T114" fmla="*/ 339 w 403"/>
                  <a:gd name="T115" fmla="*/ 564 h 594"/>
                  <a:gd name="T116" fmla="*/ 335 w 403"/>
                  <a:gd name="T117" fmla="*/ 584 h 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03" h="594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  <a:moveTo>
                      <a:pt x="17" y="6"/>
                    </a:moveTo>
                    <a:lnTo>
                      <a:pt x="17" y="6"/>
                    </a:lnTo>
                    <a:lnTo>
                      <a:pt x="9" y="3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16" y="9"/>
                    </a:lnTo>
                    <a:lnTo>
                      <a:pt x="17" y="6"/>
                    </a:lnTo>
                    <a:close/>
                    <a:moveTo>
                      <a:pt x="32" y="13"/>
                    </a:moveTo>
                    <a:lnTo>
                      <a:pt x="32" y="13"/>
                    </a:lnTo>
                    <a:lnTo>
                      <a:pt x="22" y="9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30" y="15"/>
                    </a:lnTo>
                    <a:lnTo>
                      <a:pt x="32" y="13"/>
                    </a:lnTo>
                    <a:close/>
                    <a:moveTo>
                      <a:pt x="45" y="20"/>
                    </a:moveTo>
                    <a:lnTo>
                      <a:pt x="45" y="20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6" y="16"/>
                    </a:lnTo>
                    <a:lnTo>
                      <a:pt x="35" y="17"/>
                    </a:lnTo>
                    <a:lnTo>
                      <a:pt x="35" y="17"/>
                    </a:lnTo>
                    <a:lnTo>
                      <a:pt x="36" y="19"/>
                    </a:lnTo>
                    <a:lnTo>
                      <a:pt x="36" y="19"/>
                    </a:lnTo>
                    <a:lnTo>
                      <a:pt x="43" y="22"/>
                    </a:lnTo>
                    <a:lnTo>
                      <a:pt x="45" y="20"/>
                    </a:lnTo>
                    <a:close/>
                    <a:moveTo>
                      <a:pt x="59" y="23"/>
                    </a:moveTo>
                    <a:lnTo>
                      <a:pt x="59" y="23"/>
                    </a:lnTo>
                    <a:lnTo>
                      <a:pt x="49" y="22"/>
                    </a:lnTo>
                    <a:lnTo>
                      <a:pt x="49" y="23"/>
                    </a:lnTo>
                    <a:lnTo>
                      <a:pt x="49" y="23"/>
                    </a:lnTo>
                    <a:lnTo>
                      <a:pt x="59" y="26"/>
                    </a:lnTo>
                    <a:lnTo>
                      <a:pt x="59" y="23"/>
                    </a:lnTo>
                    <a:close/>
                    <a:moveTo>
                      <a:pt x="74" y="29"/>
                    </a:moveTo>
                    <a:lnTo>
                      <a:pt x="74" y="29"/>
                    </a:lnTo>
                    <a:lnTo>
                      <a:pt x="70" y="26"/>
                    </a:lnTo>
                    <a:lnTo>
                      <a:pt x="64" y="25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8" y="28"/>
                    </a:lnTo>
                    <a:lnTo>
                      <a:pt x="71" y="31"/>
                    </a:lnTo>
                    <a:lnTo>
                      <a:pt x="74" y="29"/>
                    </a:lnTo>
                    <a:close/>
                    <a:moveTo>
                      <a:pt x="83" y="41"/>
                    </a:moveTo>
                    <a:lnTo>
                      <a:pt x="83" y="41"/>
                    </a:lnTo>
                    <a:lnTo>
                      <a:pt x="83" y="41"/>
                    </a:lnTo>
                    <a:lnTo>
                      <a:pt x="77" y="33"/>
                    </a:lnTo>
                    <a:lnTo>
                      <a:pt x="75" y="35"/>
                    </a:lnTo>
                    <a:lnTo>
                      <a:pt x="75" y="35"/>
                    </a:lnTo>
                    <a:lnTo>
                      <a:pt x="81" y="42"/>
                    </a:lnTo>
                    <a:lnTo>
                      <a:pt x="81" y="42"/>
                    </a:lnTo>
                    <a:lnTo>
                      <a:pt x="83" y="41"/>
                    </a:lnTo>
                    <a:close/>
                    <a:moveTo>
                      <a:pt x="96" y="49"/>
                    </a:moveTo>
                    <a:lnTo>
                      <a:pt x="96" y="49"/>
                    </a:lnTo>
                    <a:lnTo>
                      <a:pt x="87" y="44"/>
                    </a:lnTo>
                    <a:lnTo>
                      <a:pt x="85" y="46"/>
                    </a:lnTo>
                    <a:lnTo>
                      <a:pt x="85" y="46"/>
                    </a:lnTo>
                    <a:lnTo>
                      <a:pt x="94" y="51"/>
                    </a:lnTo>
                    <a:lnTo>
                      <a:pt x="96" y="49"/>
                    </a:lnTo>
                    <a:close/>
                    <a:moveTo>
                      <a:pt x="110" y="55"/>
                    </a:moveTo>
                    <a:lnTo>
                      <a:pt x="110" y="55"/>
                    </a:lnTo>
                    <a:lnTo>
                      <a:pt x="100" y="51"/>
                    </a:lnTo>
                    <a:lnTo>
                      <a:pt x="98" y="54"/>
                    </a:lnTo>
                    <a:lnTo>
                      <a:pt x="98" y="54"/>
                    </a:lnTo>
                    <a:lnTo>
                      <a:pt x="109" y="57"/>
                    </a:lnTo>
                    <a:lnTo>
                      <a:pt x="110" y="55"/>
                    </a:lnTo>
                    <a:close/>
                    <a:moveTo>
                      <a:pt x="123" y="59"/>
                    </a:moveTo>
                    <a:lnTo>
                      <a:pt x="123" y="59"/>
                    </a:lnTo>
                    <a:lnTo>
                      <a:pt x="119" y="59"/>
                    </a:lnTo>
                    <a:lnTo>
                      <a:pt x="114" y="57"/>
                    </a:lnTo>
                    <a:lnTo>
                      <a:pt x="114" y="57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19" y="61"/>
                    </a:lnTo>
                    <a:lnTo>
                      <a:pt x="123" y="62"/>
                    </a:lnTo>
                    <a:lnTo>
                      <a:pt x="123" y="59"/>
                    </a:lnTo>
                    <a:close/>
                    <a:moveTo>
                      <a:pt x="136" y="62"/>
                    </a:moveTo>
                    <a:lnTo>
                      <a:pt x="136" y="62"/>
                    </a:lnTo>
                    <a:lnTo>
                      <a:pt x="136" y="59"/>
                    </a:lnTo>
                    <a:lnTo>
                      <a:pt x="136" y="59"/>
                    </a:lnTo>
                    <a:lnTo>
                      <a:pt x="135" y="58"/>
                    </a:lnTo>
                    <a:lnTo>
                      <a:pt x="133" y="58"/>
                    </a:lnTo>
                    <a:lnTo>
                      <a:pt x="133" y="58"/>
                    </a:lnTo>
                    <a:lnTo>
                      <a:pt x="133" y="58"/>
                    </a:lnTo>
                    <a:lnTo>
                      <a:pt x="127" y="59"/>
                    </a:lnTo>
                    <a:lnTo>
                      <a:pt x="129" y="61"/>
                    </a:lnTo>
                    <a:lnTo>
                      <a:pt x="129" y="61"/>
                    </a:lnTo>
                    <a:lnTo>
                      <a:pt x="133" y="59"/>
                    </a:lnTo>
                    <a:lnTo>
                      <a:pt x="133" y="59"/>
                    </a:lnTo>
                    <a:lnTo>
                      <a:pt x="133" y="61"/>
                    </a:lnTo>
                    <a:lnTo>
                      <a:pt x="133" y="61"/>
                    </a:lnTo>
                    <a:lnTo>
                      <a:pt x="135" y="62"/>
                    </a:lnTo>
                    <a:lnTo>
                      <a:pt x="136" y="62"/>
                    </a:lnTo>
                    <a:close/>
                    <a:moveTo>
                      <a:pt x="135" y="77"/>
                    </a:moveTo>
                    <a:lnTo>
                      <a:pt x="135" y="77"/>
                    </a:lnTo>
                    <a:lnTo>
                      <a:pt x="133" y="75"/>
                    </a:lnTo>
                    <a:lnTo>
                      <a:pt x="135" y="74"/>
                    </a:lnTo>
                    <a:lnTo>
                      <a:pt x="135" y="74"/>
                    </a:lnTo>
                    <a:lnTo>
                      <a:pt x="136" y="68"/>
                    </a:lnTo>
                    <a:lnTo>
                      <a:pt x="133" y="67"/>
                    </a:lnTo>
                    <a:lnTo>
                      <a:pt x="133" y="67"/>
                    </a:lnTo>
                    <a:lnTo>
                      <a:pt x="132" y="74"/>
                    </a:lnTo>
                    <a:lnTo>
                      <a:pt x="132" y="74"/>
                    </a:lnTo>
                    <a:lnTo>
                      <a:pt x="132" y="75"/>
                    </a:lnTo>
                    <a:lnTo>
                      <a:pt x="132" y="75"/>
                    </a:lnTo>
                    <a:lnTo>
                      <a:pt x="132" y="78"/>
                    </a:lnTo>
                    <a:lnTo>
                      <a:pt x="135" y="77"/>
                    </a:lnTo>
                    <a:close/>
                    <a:moveTo>
                      <a:pt x="135" y="91"/>
                    </a:moveTo>
                    <a:lnTo>
                      <a:pt x="135" y="91"/>
                    </a:lnTo>
                    <a:lnTo>
                      <a:pt x="136" y="90"/>
                    </a:lnTo>
                    <a:lnTo>
                      <a:pt x="136" y="90"/>
                    </a:lnTo>
                    <a:lnTo>
                      <a:pt x="138" y="88"/>
                    </a:lnTo>
                    <a:lnTo>
                      <a:pt x="138" y="88"/>
                    </a:lnTo>
                    <a:lnTo>
                      <a:pt x="138" y="87"/>
                    </a:lnTo>
                    <a:lnTo>
                      <a:pt x="138" y="87"/>
                    </a:lnTo>
                    <a:lnTo>
                      <a:pt x="138" y="84"/>
                    </a:lnTo>
                    <a:lnTo>
                      <a:pt x="136" y="81"/>
                    </a:lnTo>
                    <a:lnTo>
                      <a:pt x="135" y="83"/>
                    </a:lnTo>
                    <a:lnTo>
                      <a:pt x="135" y="83"/>
                    </a:lnTo>
                    <a:lnTo>
                      <a:pt x="136" y="87"/>
                    </a:lnTo>
                    <a:lnTo>
                      <a:pt x="136" y="87"/>
                    </a:lnTo>
                    <a:lnTo>
                      <a:pt x="135" y="88"/>
                    </a:lnTo>
                    <a:lnTo>
                      <a:pt x="135" y="88"/>
                    </a:lnTo>
                    <a:lnTo>
                      <a:pt x="133" y="88"/>
                    </a:lnTo>
                    <a:lnTo>
                      <a:pt x="135" y="91"/>
                    </a:lnTo>
                    <a:close/>
                    <a:moveTo>
                      <a:pt x="120" y="93"/>
                    </a:moveTo>
                    <a:lnTo>
                      <a:pt x="120" y="93"/>
                    </a:lnTo>
                    <a:lnTo>
                      <a:pt x="120" y="93"/>
                    </a:lnTo>
                    <a:lnTo>
                      <a:pt x="120" y="93"/>
                    </a:lnTo>
                    <a:lnTo>
                      <a:pt x="126" y="91"/>
                    </a:lnTo>
                    <a:lnTo>
                      <a:pt x="126" y="91"/>
                    </a:lnTo>
                    <a:lnTo>
                      <a:pt x="129" y="91"/>
                    </a:lnTo>
                    <a:lnTo>
                      <a:pt x="129" y="88"/>
                    </a:lnTo>
                    <a:lnTo>
                      <a:pt x="129" y="88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3" y="88"/>
                    </a:lnTo>
                    <a:lnTo>
                      <a:pt x="120" y="90"/>
                    </a:lnTo>
                    <a:lnTo>
                      <a:pt x="119" y="91"/>
                    </a:lnTo>
                    <a:lnTo>
                      <a:pt x="120" y="93"/>
                    </a:lnTo>
                    <a:close/>
                    <a:moveTo>
                      <a:pt x="104" y="94"/>
                    </a:moveTo>
                    <a:lnTo>
                      <a:pt x="104" y="94"/>
                    </a:lnTo>
                    <a:lnTo>
                      <a:pt x="107" y="94"/>
                    </a:lnTo>
                    <a:lnTo>
                      <a:pt x="107" y="94"/>
                    </a:lnTo>
                    <a:lnTo>
                      <a:pt x="114" y="94"/>
                    </a:lnTo>
                    <a:lnTo>
                      <a:pt x="114" y="94"/>
                    </a:lnTo>
                    <a:lnTo>
                      <a:pt x="114" y="91"/>
                    </a:lnTo>
                    <a:lnTo>
                      <a:pt x="114" y="91"/>
                    </a:lnTo>
                    <a:lnTo>
                      <a:pt x="114" y="91"/>
                    </a:lnTo>
                    <a:lnTo>
                      <a:pt x="107" y="91"/>
                    </a:lnTo>
                    <a:lnTo>
                      <a:pt x="107" y="91"/>
                    </a:lnTo>
                    <a:lnTo>
                      <a:pt x="104" y="91"/>
                    </a:lnTo>
                    <a:lnTo>
                      <a:pt x="104" y="94"/>
                    </a:lnTo>
                    <a:close/>
                    <a:moveTo>
                      <a:pt x="94" y="103"/>
                    </a:moveTo>
                    <a:lnTo>
                      <a:pt x="94" y="103"/>
                    </a:lnTo>
                    <a:lnTo>
                      <a:pt x="97" y="99"/>
                    </a:lnTo>
                    <a:lnTo>
                      <a:pt x="100" y="96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4" y="97"/>
                    </a:lnTo>
                    <a:lnTo>
                      <a:pt x="93" y="101"/>
                    </a:lnTo>
                    <a:lnTo>
                      <a:pt x="94" y="103"/>
                    </a:lnTo>
                    <a:close/>
                    <a:moveTo>
                      <a:pt x="85" y="116"/>
                    </a:moveTo>
                    <a:lnTo>
                      <a:pt x="85" y="116"/>
                    </a:lnTo>
                    <a:lnTo>
                      <a:pt x="91" y="112"/>
                    </a:lnTo>
                    <a:lnTo>
                      <a:pt x="91" y="112"/>
                    </a:lnTo>
                    <a:lnTo>
                      <a:pt x="93" y="110"/>
                    </a:lnTo>
                    <a:lnTo>
                      <a:pt x="93" y="110"/>
                    </a:lnTo>
                    <a:lnTo>
                      <a:pt x="93" y="109"/>
                    </a:lnTo>
                    <a:lnTo>
                      <a:pt x="93" y="107"/>
                    </a:lnTo>
                    <a:lnTo>
                      <a:pt x="91" y="107"/>
                    </a:lnTo>
                    <a:lnTo>
                      <a:pt x="90" y="109"/>
                    </a:lnTo>
                    <a:lnTo>
                      <a:pt x="90" y="109"/>
                    </a:lnTo>
                    <a:lnTo>
                      <a:pt x="90" y="109"/>
                    </a:lnTo>
                    <a:lnTo>
                      <a:pt x="88" y="110"/>
                    </a:lnTo>
                    <a:lnTo>
                      <a:pt x="88" y="110"/>
                    </a:lnTo>
                    <a:lnTo>
                      <a:pt x="84" y="113"/>
                    </a:lnTo>
                    <a:lnTo>
                      <a:pt x="85" y="116"/>
                    </a:lnTo>
                    <a:close/>
                    <a:moveTo>
                      <a:pt x="74" y="123"/>
                    </a:moveTo>
                    <a:lnTo>
                      <a:pt x="74" y="123"/>
                    </a:lnTo>
                    <a:lnTo>
                      <a:pt x="75" y="122"/>
                    </a:lnTo>
                    <a:lnTo>
                      <a:pt x="75" y="122"/>
                    </a:lnTo>
                    <a:lnTo>
                      <a:pt x="81" y="119"/>
                    </a:lnTo>
                    <a:lnTo>
                      <a:pt x="80" y="116"/>
                    </a:lnTo>
                    <a:lnTo>
                      <a:pt x="80" y="116"/>
                    </a:lnTo>
                    <a:lnTo>
                      <a:pt x="75" y="119"/>
                    </a:lnTo>
                    <a:lnTo>
                      <a:pt x="75" y="119"/>
                    </a:lnTo>
                    <a:lnTo>
                      <a:pt x="71" y="122"/>
                    </a:lnTo>
                    <a:lnTo>
                      <a:pt x="74" y="123"/>
                    </a:lnTo>
                    <a:close/>
                    <a:moveTo>
                      <a:pt x="77" y="138"/>
                    </a:moveTo>
                    <a:lnTo>
                      <a:pt x="77" y="138"/>
                    </a:lnTo>
                    <a:lnTo>
                      <a:pt x="74" y="128"/>
                    </a:lnTo>
                    <a:lnTo>
                      <a:pt x="71" y="128"/>
                    </a:lnTo>
                    <a:lnTo>
                      <a:pt x="71" y="128"/>
                    </a:lnTo>
                    <a:lnTo>
                      <a:pt x="74" y="138"/>
                    </a:lnTo>
                    <a:lnTo>
                      <a:pt x="77" y="138"/>
                    </a:lnTo>
                    <a:close/>
                    <a:moveTo>
                      <a:pt x="81" y="152"/>
                    </a:moveTo>
                    <a:lnTo>
                      <a:pt x="81" y="152"/>
                    </a:lnTo>
                    <a:lnTo>
                      <a:pt x="78" y="142"/>
                    </a:lnTo>
                    <a:lnTo>
                      <a:pt x="75" y="142"/>
                    </a:lnTo>
                    <a:lnTo>
                      <a:pt x="75" y="142"/>
                    </a:lnTo>
                    <a:lnTo>
                      <a:pt x="78" y="152"/>
                    </a:lnTo>
                    <a:lnTo>
                      <a:pt x="81" y="152"/>
                    </a:lnTo>
                    <a:close/>
                    <a:moveTo>
                      <a:pt x="90" y="161"/>
                    </a:moveTo>
                    <a:lnTo>
                      <a:pt x="90" y="161"/>
                    </a:lnTo>
                    <a:lnTo>
                      <a:pt x="85" y="159"/>
                    </a:lnTo>
                    <a:lnTo>
                      <a:pt x="83" y="157"/>
                    </a:lnTo>
                    <a:lnTo>
                      <a:pt x="81" y="158"/>
                    </a:lnTo>
                    <a:lnTo>
                      <a:pt x="81" y="158"/>
                    </a:lnTo>
                    <a:lnTo>
                      <a:pt x="84" y="161"/>
                    </a:lnTo>
                    <a:lnTo>
                      <a:pt x="90" y="164"/>
                    </a:lnTo>
                    <a:lnTo>
                      <a:pt x="90" y="161"/>
                    </a:lnTo>
                    <a:close/>
                    <a:moveTo>
                      <a:pt x="104" y="165"/>
                    </a:moveTo>
                    <a:lnTo>
                      <a:pt x="104" y="165"/>
                    </a:lnTo>
                    <a:lnTo>
                      <a:pt x="96" y="162"/>
                    </a:lnTo>
                    <a:lnTo>
                      <a:pt x="94" y="165"/>
                    </a:lnTo>
                    <a:lnTo>
                      <a:pt x="94" y="165"/>
                    </a:lnTo>
                    <a:lnTo>
                      <a:pt x="104" y="168"/>
                    </a:lnTo>
                    <a:lnTo>
                      <a:pt x="104" y="165"/>
                    </a:lnTo>
                    <a:close/>
                    <a:moveTo>
                      <a:pt x="119" y="165"/>
                    </a:moveTo>
                    <a:lnTo>
                      <a:pt x="119" y="165"/>
                    </a:lnTo>
                    <a:lnTo>
                      <a:pt x="112" y="167"/>
                    </a:lnTo>
                    <a:lnTo>
                      <a:pt x="110" y="167"/>
                    </a:lnTo>
                    <a:lnTo>
                      <a:pt x="110" y="167"/>
                    </a:lnTo>
                    <a:lnTo>
                      <a:pt x="109" y="170"/>
                    </a:lnTo>
                    <a:lnTo>
                      <a:pt x="110" y="170"/>
                    </a:lnTo>
                    <a:lnTo>
                      <a:pt x="110" y="170"/>
                    </a:lnTo>
                    <a:lnTo>
                      <a:pt x="112" y="170"/>
                    </a:lnTo>
                    <a:lnTo>
                      <a:pt x="112" y="170"/>
                    </a:lnTo>
                    <a:lnTo>
                      <a:pt x="116" y="168"/>
                    </a:lnTo>
                    <a:lnTo>
                      <a:pt x="120" y="167"/>
                    </a:lnTo>
                    <a:lnTo>
                      <a:pt x="119" y="165"/>
                    </a:lnTo>
                    <a:close/>
                    <a:moveTo>
                      <a:pt x="132" y="162"/>
                    </a:moveTo>
                    <a:lnTo>
                      <a:pt x="132" y="162"/>
                    </a:lnTo>
                    <a:lnTo>
                      <a:pt x="132" y="161"/>
                    </a:lnTo>
                    <a:lnTo>
                      <a:pt x="132" y="159"/>
                    </a:lnTo>
                    <a:lnTo>
                      <a:pt x="132" y="159"/>
                    </a:lnTo>
                    <a:lnTo>
                      <a:pt x="130" y="159"/>
                    </a:lnTo>
                    <a:lnTo>
                      <a:pt x="130" y="159"/>
                    </a:lnTo>
                    <a:lnTo>
                      <a:pt x="130" y="159"/>
                    </a:lnTo>
                    <a:lnTo>
                      <a:pt x="127" y="159"/>
                    </a:lnTo>
                    <a:lnTo>
                      <a:pt x="127" y="159"/>
                    </a:lnTo>
                    <a:lnTo>
                      <a:pt x="123" y="162"/>
                    </a:lnTo>
                    <a:lnTo>
                      <a:pt x="125" y="165"/>
                    </a:lnTo>
                    <a:lnTo>
                      <a:pt x="125" y="165"/>
                    </a:lnTo>
                    <a:lnTo>
                      <a:pt x="129" y="162"/>
                    </a:lnTo>
                    <a:lnTo>
                      <a:pt x="129" y="162"/>
                    </a:lnTo>
                    <a:lnTo>
                      <a:pt x="130" y="162"/>
                    </a:lnTo>
                    <a:lnTo>
                      <a:pt x="130" y="161"/>
                    </a:lnTo>
                    <a:lnTo>
                      <a:pt x="130" y="161"/>
                    </a:lnTo>
                    <a:lnTo>
                      <a:pt x="130" y="161"/>
                    </a:lnTo>
                    <a:lnTo>
                      <a:pt x="130" y="161"/>
                    </a:lnTo>
                    <a:lnTo>
                      <a:pt x="130" y="161"/>
                    </a:lnTo>
                    <a:lnTo>
                      <a:pt x="130" y="161"/>
                    </a:lnTo>
                    <a:lnTo>
                      <a:pt x="130" y="161"/>
                    </a:lnTo>
                    <a:lnTo>
                      <a:pt x="130" y="161"/>
                    </a:lnTo>
                    <a:lnTo>
                      <a:pt x="130" y="161"/>
                    </a:lnTo>
                    <a:lnTo>
                      <a:pt x="130" y="161"/>
                    </a:lnTo>
                    <a:lnTo>
                      <a:pt x="130" y="161"/>
                    </a:lnTo>
                    <a:lnTo>
                      <a:pt x="130" y="161"/>
                    </a:lnTo>
                    <a:lnTo>
                      <a:pt x="130" y="161"/>
                    </a:lnTo>
                    <a:lnTo>
                      <a:pt x="130" y="161"/>
                    </a:lnTo>
                    <a:lnTo>
                      <a:pt x="130" y="161"/>
                    </a:lnTo>
                    <a:lnTo>
                      <a:pt x="130" y="162"/>
                    </a:lnTo>
                    <a:lnTo>
                      <a:pt x="132" y="162"/>
                    </a:lnTo>
                    <a:close/>
                    <a:moveTo>
                      <a:pt x="133" y="178"/>
                    </a:moveTo>
                    <a:lnTo>
                      <a:pt x="133" y="178"/>
                    </a:lnTo>
                    <a:lnTo>
                      <a:pt x="133" y="168"/>
                    </a:lnTo>
                    <a:lnTo>
                      <a:pt x="130" y="168"/>
                    </a:lnTo>
                    <a:lnTo>
                      <a:pt x="130" y="168"/>
                    </a:lnTo>
                    <a:lnTo>
                      <a:pt x="130" y="178"/>
                    </a:lnTo>
                    <a:lnTo>
                      <a:pt x="133" y="178"/>
                    </a:lnTo>
                    <a:close/>
                    <a:moveTo>
                      <a:pt x="140" y="187"/>
                    </a:moveTo>
                    <a:lnTo>
                      <a:pt x="140" y="187"/>
                    </a:lnTo>
                    <a:lnTo>
                      <a:pt x="136" y="186"/>
                    </a:lnTo>
                    <a:lnTo>
                      <a:pt x="136" y="186"/>
                    </a:lnTo>
                    <a:lnTo>
                      <a:pt x="135" y="184"/>
                    </a:lnTo>
                    <a:lnTo>
                      <a:pt x="135" y="184"/>
                    </a:lnTo>
                    <a:lnTo>
                      <a:pt x="133" y="183"/>
                    </a:lnTo>
                    <a:lnTo>
                      <a:pt x="132" y="184"/>
                    </a:lnTo>
                    <a:lnTo>
                      <a:pt x="132" y="184"/>
                    </a:lnTo>
                    <a:lnTo>
                      <a:pt x="132" y="186"/>
                    </a:lnTo>
                    <a:lnTo>
                      <a:pt x="132" y="186"/>
                    </a:lnTo>
                    <a:lnTo>
                      <a:pt x="133" y="187"/>
                    </a:lnTo>
                    <a:lnTo>
                      <a:pt x="135" y="188"/>
                    </a:lnTo>
                    <a:lnTo>
                      <a:pt x="135" y="188"/>
                    </a:lnTo>
                    <a:lnTo>
                      <a:pt x="140" y="188"/>
                    </a:lnTo>
                    <a:lnTo>
                      <a:pt x="140" y="187"/>
                    </a:lnTo>
                    <a:close/>
                    <a:moveTo>
                      <a:pt x="155" y="186"/>
                    </a:moveTo>
                    <a:lnTo>
                      <a:pt x="155" y="186"/>
                    </a:lnTo>
                    <a:lnTo>
                      <a:pt x="145" y="186"/>
                    </a:lnTo>
                    <a:lnTo>
                      <a:pt x="145" y="188"/>
                    </a:lnTo>
                    <a:lnTo>
                      <a:pt x="145" y="188"/>
                    </a:lnTo>
                    <a:lnTo>
                      <a:pt x="155" y="187"/>
                    </a:lnTo>
                    <a:lnTo>
                      <a:pt x="155" y="186"/>
                    </a:lnTo>
                    <a:close/>
                    <a:moveTo>
                      <a:pt x="169" y="183"/>
                    </a:moveTo>
                    <a:lnTo>
                      <a:pt x="169" y="183"/>
                    </a:lnTo>
                    <a:lnTo>
                      <a:pt x="161" y="184"/>
                    </a:lnTo>
                    <a:lnTo>
                      <a:pt x="161" y="184"/>
                    </a:lnTo>
                    <a:lnTo>
                      <a:pt x="161" y="187"/>
                    </a:lnTo>
                    <a:lnTo>
                      <a:pt x="162" y="187"/>
                    </a:lnTo>
                    <a:lnTo>
                      <a:pt x="162" y="187"/>
                    </a:lnTo>
                    <a:lnTo>
                      <a:pt x="167" y="186"/>
                    </a:lnTo>
                    <a:lnTo>
                      <a:pt x="171" y="184"/>
                    </a:lnTo>
                    <a:lnTo>
                      <a:pt x="169" y="183"/>
                    </a:lnTo>
                    <a:close/>
                    <a:moveTo>
                      <a:pt x="182" y="175"/>
                    </a:moveTo>
                    <a:lnTo>
                      <a:pt x="182" y="175"/>
                    </a:lnTo>
                    <a:lnTo>
                      <a:pt x="174" y="180"/>
                    </a:lnTo>
                    <a:lnTo>
                      <a:pt x="175" y="183"/>
                    </a:lnTo>
                    <a:lnTo>
                      <a:pt x="175" y="183"/>
                    </a:lnTo>
                    <a:lnTo>
                      <a:pt x="184" y="177"/>
                    </a:lnTo>
                    <a:lnTo>
                      <a:pt x="182" y="175"/>
                    </a:lnTo>
                    <a:close/>
                    <a:moveTo>
                      <a:pt x="197" y="168"/>
                    </a:moveTo>
                    <a:lnTo>
                      <a:pt x="197" y="168"/>
                    </a:lnTo>
                    <a:lnTo>
                      <a:pt x="188" y="172"/>
                    </a:lnTo>
                    <a:lnTo>
                      <a:pt x="188" y="175"/>
                    </a:lnTo>
                    <a:lnTo>
                      <a:pt x="188" y="175"/>
                    </a:lnTo>
                    <a:lnTo>
                      <a:pt x="198" y="171"/>
                    </a:lnTo>
                    <a:lnTo>
                      <a:pt x="197" y="168"/>
                    </a:lnTo>
                    <a:close/>
                    <a:moveTo>
                      <a:pt x="213" y="165"/>
                    </a:moveTo>
                    <a:lnTo>
                      <a:pt x="213" y="165"/>
                    </a:lnTo>
                    <a:lnTo>
                      <a:pt x="210" y="164"/>
                    </a:lnTo>
                    <a:lnTo>
                      <a:pt x="210" y="164"/>
                    </a:lnTo>
                    <a:lnTo>
                      <a:pt x="206" y="165"/>
                    </a:lnTo>
                    <a:lnTo>
                      <a:pt x="201" y="167"/>
                    </a:lnTo>
                    <a:lnTo>
                      <a:pt x="203" y="168"/>
                    </a:lnTo>
                    <a:lnTo>
                      <a:pt x="203" y="168"/>
                    </a:lnTo>
                    <a:lnTo>
                      <a:pt x="206" y="167"/>
                    </a:lnTo>
                    <a:lnTo>
                      <a:pt x="210" y="167"/>
                    </a:lnTo>
                    <a:lnTo>
                      <a:pt x="210" y="167"/>
                    </a:lnTo>
                    <a:lnTo>
                      <a:pt x="211" y="167"/>
                    </a:lnTo>
                    <a:lnTo>
                      <a:pt x="213" y="165"/>
                    </a:lnTo>
                    <a:close/>
                    <a:moveTo>
                      <a:pt x="214" y="181"/>
                    </a:moveTo>
                    <a:lnTo>
                      <a:pt x="214" y="181"/>
                    </a:lnTo>
                    <a:lnTo>
                      <a:pt x="216" y="174"/>
                    </a:lnTo>
                    <a:lnTo>
                      <a:pt x="216" y="174"/>
                    </a:lnTo>
                    <a:lnTo>
                      <a:pt x="214" y="170"/>
                    </a:lnTo>
                    <a:lnTo>
                      <a:pt x="213" y="171"/>
                    </a:lnTo>
                    <a:lnTo>
                      <a:pt x="213" y="171"/>
                    </a:lnTo>
                    <a:lnTo>
                      <a:pt x="213" y="174"/>
                    </a:lnTo>
                    <a:lnTo>
                      <a:pt x="213" y="174"/>
                    </a:lnTo>
                    <a:lnTo>
                      <a:pt x="213" y="180"/>
                    </a:lnTo>
                    <a:lnTo>
                      <a:pt x="214" y="181"/>
                    </a:lnTo>
                    <a:close/>
                    <a:moveTo>
                      <a:pt x="214" y="194"/>
                    </a:moveTo>
                    <a:lnTo>
                      <a:pt x="214" y="194"/>
                    </a:lnTo>
                    <a:lnTo>
                      <a:pt x="214" y="193"/>
                    </a:lnTo>
                    <a:lnTo>
                      <a:pt x="214" y="193"/>
                    </a:lnTo>
                    <a:lnTo>
                      <a:pt x="214" y="191"/>
                    </a:lnTo>
                    <a:lnTo>
                      <a:pt x="214" y="191"/>
                    </a:lnTo>
                    <a:lnTo>
                      <a:pt x="214" y="186"/>
                    </a:lnTo>
                    <a:lnTo>
                      <a:pt x="211" y="186"/>
                    </a:lnTo>
                    <a:lnTo>
                      <a:pt x="211" y="186"/>
                    </a:lnTo>
                    <a:lnTo>
                      <a:pt x="211" y="191"/>
                    </a:lnTo>
                    <a:lnTo>
                      <a:pt x="211" y="191"/>
                    </a:lnTo>
                    <a:lnTo>
                      <a:pt x="211" y="194"/>
                    </a:lnTo>
                    <a:lnTo>
                      <a:pt x="211" y="194"/>
                    </a:lnTo>
                    <a:lnTo>
                      <a:pt x="213" y="196"/>
                    </a:lnTo>
                    <a:lnTo>
                      <a:pt x="214" y="194"/>
                    </a:lnTo>
                    <a:close/>
                    <a:moveTo>
                      <a:pt x="226" y="204"/>
                    </a:moveTo>
                    <a:lnTo>
                      <a:pt x="226" y="204"/>
                    </a:lnTo>
                    <a:lnTo>
                      <a:pt x="219" y="199"/>
                    </a:lnTo>
                    <a:lnTo>
                      <a:pt x="217" y="200"/>
                    </a:lnTo>
                    <a:lnTo>
                      <a:pt x="217" y="200"/>
                    </a:lnTo>
                    <a:lnTo>
                      <a:pt x="224" y="207"/>
                    </a:lnTo>
                    <a:lnTo>
                      <a:pt x="226" y="204"/>
                    </a:lnTo>
                    <a:close/>
                    <a:moveTo>
                      <a:pt x="239" y="212"/>
                    </a:moveTo>
                    <a:lnTo>
                      <a:pt x="239" y="212"/>
                    </a:lnTo>
                    <a:lnTo>
                      <a:pt x="233" y="210"/>
                    </a:lnTo>
                    <a:lnTo>
                      <a:pt x="230" y="207"/>
                    </a:lnTo>
                    <a:lnTo>
                      <a:pt x="229" y="210"/>
                    </a:lnTo>
                    <a:lnTo>
                      <a:pt x="229" y="210"/>
                    </a:lnTo>
                    <a:lnTo>
                      <a:pt x="233" y="213"/>
                    </a:lnTo>
                    <a:lnTo>
                      <a:pt x="238" y="214"/>
                    </a:lnTo>
                    <a:lnTo>
                      <a:pt x="239" y="212"/>
                    </a:lnTo>
                    <a:close/>
                    <a:moveTo>
                      <a:pt x="253" y="214"/>
                    </a:moveTo>
                    <a:lnTo>
                      <a:pt x="253" y="214"/>
                    </a:lnTo>
                    <a:lnTo>
                      <a:pt x="253" y="214"/>
                    </a:lnTo>
                    <a:lnTo>
                      <a:pt x="243" y="213"/>
                    </a:lnTo>
                    <a:lnTo>
                      <a:pt x="243" y="214"/>
                    </a:lnTo>
                    <a:lnTo>
                      <a:pt x="243" y="214"/>
                    </a:lnTo>
                    <a:lnTo>
                      <a:pt x="252" y="217"/>
                    </a:lnTo>
                    <a:lnTo>
                      <a:pt x="253" y="217"/>
                    </a:lnTo>
                    <a:lnTo>
                      <a:pt x="253" y="214"/>
                    </a:lnTo>
                    <a:close/>
                    <a:moveTo>
                      <a:pt x="266" y="223"/>
                    </a:moveTo>
                    <a:lnTo>
                      <a:pt x="266" y="223"/>
                    </a:lnTo>
                    <a:lnTo>
                      <a:pt x="258" y="217"/>
                    </a:lnTo>
                    <a:lnTo>
                      <a:pt x="258" y="219"/>
                    </a:lnTo>
                    <a:lnTo>
                      <a:pt x="258" y="219"/>
                    </a:lnTo>
                    <a:lnTo>
                      <a:pt x="265" y="225"/>
                    </a:lnTo>
                    <a:lnTo>
                      <a:pt x="266" y="223"/>
                    </a:lnTo>
                    <a:close/>
                    <a:moveTo>
                      <a:pt x="280" y="229"/>
                    </a:moveTo>
                    <a:lnTo>
                      <a:pt x="280" y="229"/>
                    </a:lnTo>
                    <a:lnTo>
                      <a:pt x="275" y="229"/>
                    </a:lnTo>
                    <a:lnTo>
                      <a:pt x="271" y="228"/>
                    </a:lnTo>
                    <a:lnTo>
                      <a:pt x="271" y="226"/>
                    </a:lnTo>
                    <a:lnTo>
                      <a:pt x="269" y="229"/>
                    </a:lnTo>
                    <a:lnTo>
                      <a:pt x="269" y="229"/>
                    </a:lnTo>
                    <a:lnTo>
                      <a:pt x="269" y="229"/>
                    </a:lnTo>
                    <a:lnTo>
                      <a:pt x="274" y="232"/>
                    </a:lnTo>
                    <a:lnTo>
                      <a:pt x="280" y="232"/>
                    </a:lnTo>
                    <a:lnTo>
                      <a:pt x="280" y="229"/>
                    </a:lnTo>
                    <a:close/>
                    <a:moveTo>
                      <a:pt x="294" y="233"/>
                    </a:moveTo>
                    <a:lnTo>
                      <a:pt x="294" y="233"/>
                    </a:lnTo>
                    <a:lnTo>
                      <a:pt x="290" y="230"/>
                    </a:lnTo>
                    <a:lnTo>
                      <a:pt x="290" y="230"/>
                    </a:lnTo>
                    <a:lnTo>
                      <a:pt x="284" y="230"/>
                    </a:lnTo>
                    <a:lnTo>
                      <a:pt x="284" y="232"/>
                    </a:lnTo>
                    <a:lnTo>
                      <a:pt x="284" y="232"/>
                    </a:lnTo>
                    <a:lnTo>
                      <a:pt x="290" y="233"/>
                    </a:lnTo>
                    <a:lnTo>
                      <a:pt x="290" y="233"/>
                    </a:lnTo>
                    <a:lnTo>
                      <a:pt x="293" y="235"/>
                    </a:lnTo>
                    <a:lnTo>
                      <a:pt x="294" y="233"/>
                    </a:lnTo>
                    <a:close/>
                    <a:moveTo>
                      <a:pt x="298" y="248"/>
                    </a:moveTo>
                    <a:lnTo>
                      <a:pt x="297" y="248"/>
                    </a:lnTo>
                    <a:lnTo>
                      <a:pt x="297" y="248"/>
                    </a:lnTo>
                    <a:lnTo>
                      <a:pt x="295" y="243"/>
                    </a:lnTo>
                    <a:lnTo>
                      <a:pt x="295" y="243"/>
                    </a:lnTo>
                    <a:lnTo>
                      <a:pt x="297" y="239"/>
                    </a:lnTo>
                    <a:lnTo>
                      <a:pt x="294" y="239"/>
                    </a:lnTo>
                    <a:lnTo>
                      <a:pt x="294" y="239"/>
                    </a:lnTo>
                    <a:lnTo>
                      <a:pt x="294" y="243"/>
                    </a:lnTo>
                    <a:lnTo>
                      <a:pt x="294" y="243"/>
                    </a:lnTo>
                    <a:lnTo>
                      <a:pt x="294" y="246"/>
                    </a:lnTo>
                    <a:lnTo>
                      <a:pt x="295" y="249"/>
                    </a:lnTo>
                    <a:lnTo>
                      <a:pt x="295" y="249"/>
                    </a:lnTo>
                    <a:lnTo>
                      <a:pt x="298" y="248"/>
                    </a:lnTo>
                    <a:close/>
                    <a:moveTo>
                      <a:pt x="304" y="261"/>
                    </a:moveTo>
                    <a:lnTo>
                      <a:pt x="304" y="261"/>
                    </a:lnTo>
                    <a:lnTo>
                      <a:pt x="300" y="252"/>
                    </a:lnTo>
                    <a:lnTo>
                      <a:pt x="298" y="254"/>
                    </a:lnTo>
                    <a:lnTo>
                      <a:pt x="298" y="254"/>
                    </a:lnTo>
                    <a:lnTo>
                      <a:pt x="303" y="262"/>
                    </a:lnTo>
                    <a:lnTo>
                      <a:pt x="304" y="261"/>
                    </a:lnTo>
                    <a:close/>
                    <a:moveTo>
                      <a:pt x="314" y="271"/>
                    </a:moveTo>
                    <a:lnTo>
                      <a:pt x="314" y="271"/>
                    </a:lnTo>
                    <a:lnTo>
                      <a:pt x="311" y="271"/>
                    </a:lnTo>
                    <a:lnTo>
                      <a:pt x="310" y="270"/>
                    </a:lnTo>
                    <a:lnTo>
                      <a:pt x="310" y="270"/>
                    </a:lnTo>
                    <a:lnTo>
                      <a:pt x="307" y="265"/>
                    </a:lnTo>
                    <a:lnTo>
                      <a:pt x="306" y="267"/>
                    </a:lnTo>
                    <a:lnTo>
                      <a:pt x="306" y="267"/>
                    </a:lnTo>
                    <a:lnTo>
                      <a:pt x="307" y="271"/>
                    </a:lnTo>
                    <a:lnTo>
                      <a:pt x="307" y="271"/>
                    </a:lnTo>
                    <a:lnTo>
                      <a:pt x="310" y="272"/>
                    </a:lnTo>
                    <a:lnTo>
                      <a:pt x="314" y="274"/>
                    </a:lnTo>
                    <a:lnTo>
                      <a:pt x="314" y="271"/>
                    </a:lnTo>
                    <a:close/>
                    <a:moveTo>
                      <a:pt x="330" y="271"/>
                    </a:moveTo>
                    <a:lnTo>
                      <a:pt x="330" y="271"/>
                    </a:lnTo>
                    <a:lnTo>
                      <a:pt x="327" y="270"/>
                    </a:lnTo>
                    <a:lnTo>
                      <a:pt x="327" y="270"/>
                    </a:lnTo>
                    <a:lnTo>
                      <a:pt x="326" y="270"/>
                    </a:lnTo>
                    <a:lnTo>
                      <a:pt x="326" y="270"/>
                    </a:lnTo>
                    <a:lnTo>
                      <a:pt x="319" y="271"/>
                    </a:lnTo>
                    <a:lnTo>
                      <a:pt x="319" y="274"/>
                    </a:lnTo>
                    <a:lnTo>
                      <a:pt x="319" y="274"/>
                    </a:lnTo>
                    <a:lnTo>
                      <a:pt x="326" y="272"/>
                    </a:lnTo>
                    <a:lnTo>
                      <a:pt x="327" y="272"/>
                    </a:lnTo>
                    <a:lnTo>
                      <a:pt x="329" y="272"/>
                    </a:lnTo>
                    <a:lnTo>
                      <a:pt x="330" y="271"/>
                    </a:lnTo>
                    <a:close/>
                    <a:moveTo>
                      <a:pt x="332" y="287"/>
                    </a:moveTo>
                    <a:lnTo>
                      <a:pt x="332" y="287"/>
                    </a:lnTo>
                    <a:lnTo>
                      <a:pt x="332" y="280"/>
                    </a:lnTo>
                    <a:lnTo>
                      <a:pt x="332" y="280"/>
                    </a:lnTo>
                    <a:lnTo>
                      <a:pt x="332" y="277"/>
                    </a:lnTo>
                    <a:lnTo>
                      <a:pt x="330" y="277"/>
                    </a:lnTo>
                    <a:lnTo>
                      <a:pt x="330" y="277"/>
                    </a:lnTo>
                    <a:lnTo>
                      <a:pt x="330" y="280"/>
                    </a:lnTo>
                    <a:lnTo>
                      <a:pt x="330" y="280"/>
                    </a:lnTo>
                    <a:lnTo>
                      <a:pt x="330" y="287"/>
                    </a:lnTo>
                    <a:lnTo>
                      <a:pt x="332" y="287"/>
                    </a:lnTo>
                    <a:close/>
                    <a:moveTo>
                      <a:pt x="342" y="296"/>
                    </a:moveTo>
                    <a:lnTo>
                      <a:pt x="342" y="296"/>
                    </a:lnTo>
                    <a:lnTo>
                      <a:pt x="337" y="293"/>
                    </a:lnTo>
                    <a:lnTo>
                      <a:pt x="333" y="290"/>
                    </a:lnTo>
                    <a:lnTo>
                      <a:pt x="332" y="293"/>
                    </a:lnTo>
                    <a:lnTo>
                      <a:pt x="332" y="293"/>
                    </a:lnTo>
                    <a:lnTo>
                      <a:pt x="336" y="294"/>
                    </a:lnTo>
                    <a:lnTo>
                      <a:pt x="340" y="297"/>
                    </a:lnTo>
                    <a:lnTo>
                      <a:pt x="342" y="296"/>
                    </a:lnTo>
                    <a:close/>
                    <a:moveTo>
                      <a:pt x="345" y="312"/>
                    </a:moveTo>
                    <a:lnTo>
                      <a:pt x="345" y="312"/>
                    </a:lnTo>
                    <a:lnTo>
                      <a:pt x="345" y="306"/>
                    </a:lnTo>
                    <a:lnTo>
                      <a:pt x="345" y="306"/>
                    </a:lnTo>
                    <a:lnTo>
                      <a:pt x="345" y="300"/>
                    </a:lnTo>
                    <a:lnTo>
                      <a:pt x="342" y="301"/>
                    </a:lnTo>
                    <a:lnTo>
                      <a:pt x="342" y="301"/>
                    </a:lnTo>
                    <a:lnTo>
                      <a:pt x="343" y="306"/>
                    </a:lnTo>
                    <a:lnTo>
                      <a:pt x="343" y="306"/>
                    </a:lnTo>
                    <a:lnTo>
                      <a:pt x="342" y="310"/>
                    </a:lnTo>
                    <a:lnTo>
                      <a:pt x="345" y="312"/>
                    </a:lnTo>
                    <a:close/>
                    <a:moveTo>
                      <a:pt x="339" y="326"/>
                    </a:moveTo>
                    <a:lnTo>
                      <a:pt x="339" y="326"/>
                    </a:lnTo>
                    <a:lnTo>
                      <a:pt x="340" y="325"/>
                    </a:lnTo>
                    <a:lnTo>
                      <a:pt x="340" y="325"/>
                    </a:lnTo>
                    <a:lnTo>
                      <a:pt x="342" y="320"/>
                    </a:lnTo>
                    <a:lnTo>
                      <a:pt x="343" y="316"/>
                    </a:lnTo>
                    <a:lnTo>
                      <a:pt x="342" y="316"/>
                    </a:lnTo>
                    <a:lnTo>
                      <a:pt x="342" y="316"/>
                    </a:lnTo>
                    <a:lnTo>
                      <a:pt x="337" y="323"/>
                    </a:lnTo>
                    <a:lnTo>
                      <a:pt x="337" y="323"/>
                    </a:lnTo>
                    <a:lnTo>
                      <a:pt x="337" y="325"/>
                    </a:lnTo>
                    <a:lnTo>
                      <a:pt x="339" y="326"/>
                    </a:lnTo>
                    <a:close/>
                    <a:moveTo>
                      <a:pt x="339" y="339"/>
                    </a:moveTo>
                    <a:lnTo>
                      <a:pt x="339" y="339"/>
                    </a:lnTo>
                    <a:lnTo>
                      <a:pt x="337" y="332"/>
                    </a:lnTo>
                    <a:lnTo>
                      <a:pt x="337" y="332"/>
                    </a:lnTo>
                    <a:lnTo>
                      <a:pt x="337" y="330"/>
                    </a:lnTo>
                    <a:lnTo>
                      <a:pt x="335" y="329"/>
                    </a:lnTo>
                    <a:lnTo>
                      <a:pt x="335" y="329"/>
                    </a:lnTo>
                    <a:lnTo>
                      <a:pt x="335" y="332"/>
                    </a:lnTo>
                    <a:lnTo>
                      <a:pt x="335" y="332"/>
                    </a:lnTo>
                    <a:lnTo>
                      <a:pt x="336" y="340"/>
                    </a:lnTo>
                    <a:lnTo>
                      <a:pt x="339" y="339"/>
                    </a:lnTo>
                    <a:close/>
                    <a:moveTo>
                      <a:pt x="342" y="354"/>
                    </a:moveTo>
                    <a:lnTo>
                      <a:pt x="342" y="354"/>
                    </a:lnTo>
                    <a:lnTo>
                      <a:pt x="340" y="343"/>
                    </a:lnTo>
                    <a:lnTo>
                      <a:pt x="337" y="345"/>
                    </a:lnTo>
                    <a:lnTo>
                      <a:pt x="337" y="345"/>
                    </a:lnTo>
                    <a:lnTo>
                      <a:pt x="339" y="355"/>
                    </a:lnTo>
                    <a:lnTo>
                      <a:pt x="342" y="354"/>
                    </a:lnTo>
                    <a:close/>
                    <a:moveTo>
                      <a:pt x="343" y="368"/>
                    </a:moveTo>
                    <a:lnTo>
                      <a:pt x="343" y="368"/>
                    </a:lnTo>
                    <a:lnTo>
                      <a:pt x="343" y="367"/>
                    </a:lnTo>
                    <a:lnTo>
                      <a:pt x="343" y="367"/>
                    </a:lnTo>
                    <a:lnTo>
                      <a:pt x="342" y="359"/>
                    </a:lnTo>
                    <a:lnTo>
                      <a:pt x="339" y="359"/>
                    </a:lnTo>
                    <a:lnTo>
                      <a:pt x="339" y="359"/>
                    </a:lnTo>
                    <a:lnTo>
                      <a:pt x="340" y="367"/>
                    </a:lnTo>
                    <a:lnTo>
                      <a:pt x="340" y="367"/>
                    </a:lnTo>
                    <a:lnTo>
                      <a:pt x="342" y="369"/>
                    </a:lnTo>
                    <a:lnTo>
                      <a:pt x="343" y="368"/>
                    </a:lnTo>
                    <a:close/>
                    <a:moveTo>
                      <a:pt x="358" y="372"/>
                    </a:moveTo>
                    <a:lnTo>
                      <a:pt x="358" y="372"/>
                    </a:lnTo>
                    <a:lnTo>
                      <a:pt x="348" y="371"/>
                    </a:lnTo>
                    <a:lnTo>
                      <a:pt x="346" y="372"/>
                    </a:lnTo>
                    <a:lnTo>
                      <a:pt x="346" y="372"/>
                    </a:lnTo>
                    <a:lnTo>
                      <a:pt x="358" y="375"/>
                    </a:lnTo>
                    <a:lnTo>
                      <a:pt x="358" y="372"/>
                    </a:lnTo>
                    <a:close/>
                    <a:moveTo>
                      <a:pt x="372" y="374"/>
                    </a:moveTo>
                    <a:lnTo>
                      <a:pt x="372" y="374"/>
                    </a:lnTo>
                    <a:lnTo>
                      <a:pt x="362" y="372"/>
                    </a:lnTo>
                    <a:lnTo>
                      <a:pt x="362" y="375"/>
                    </a:lnTo>
                    <a:lnTo>
                      <a:pt x="362" y="375"/>
                    </a:lnTo>
                    <a:lnTo>
                      <a:pt x="372" y="377"/>
                    </a:lnTo>
                    <a:lnTo>
                      <a:pt x="372" y="374"/>
                    </a:lnTo>
                    <a:close/>
                    <a:moveTo>
                      <a:pt x="381" y="387"/>
                    </a:moveTo>
                    <a:lnTo>
                      <a:pt x="381" y="387"/>
                    </a:lnTo>
                    <a:lnTo>
                      <a:pt x="377" y="377"/>
                    </a:lnTo>
                    <a:lnTo>
                      <a:pt x="375" y="378"/>
                    </a:lnTo>
                    <a:lnTo>
                      <a:pt x="375" y="378"/>
                    </a:lnTo>
                    <a:lnTo>
                      <a:pt x="379" y="387"/>
                    </a:lnTo>
                    <a:lnTo>
                      <a:pt x="381" y="387"/>
                    </a:lnTo>
                    <a:close/>
                    <a:moveTo>
                      <a:pt x="385" y="400"/>
                    </a:moveTo>
                    <a:lnTo>
                      <a:pt x="385" y="400"/>
                    </a:lnTo>
                    <a:lnTo>
                      <a:pt x="384" y="397"/>
                    </a:lnTo>
                    <a:lnTo>
                      <a:pt x="382" y="393"/>
                    </a:lnTo>
                    <a:lnTo>
                      <a:pt x="382" y="393"/>
                    </a:lnTo>
                    <a:lnTo>
                      <a:pt x="379" y="393"/>
                    </a:lnTo>
                    <a:lnTo>
                      <a:pt x="379" y="393"/>
                    </a:lnTo>
                    <a:lnTo>
                      <a:pt x="379" y="393"/>
                    </a:lnTo>
                    <a:lnTo>
                      <a:pt x="381" y="398"/>
                    </a:lnTo>
                    <a:lnTo>
                      <a:pt x="384" y="403"/>
                    </a:lnTo>
                    <a:lnTo>
                      <a:pt x="385" y="400"/>
                    </a:lnTo>
                    <a:close/>
                    <a:moveTo>
                      <a:pt x="391" y="414"/>
                    </a:moveTo>
                    <a:lnTo>
                      <a:pt x="391" y="414"/>
                    </a:lnTo>
                    <a:lnTo>
                      <a:pt x="391" y="409"/>
                    </a:lnTo>
                    <a:lnTo>
                      <a:pt x="390" y="404"/>
                    </a:lnTo>
                    <a:lnTo>
                      <a:pt x="387" y="406"/>
                    </a:lnTo>
                    <a:lnTo>
                      <a:pt x="387" y="406"/>
                    </a:lnTo>
                    <a:lnTo>
                      <a:pt x="388" y="410"/>
                    </a:lnTo>
                    <a:lnTo>
                      <a:pt x="390" y="414"/>
                    </a:lnTo>
                    <a:lnTo>
                      <a:pt x="391" y="414"/>
                    </a:lnTo>
                    <a:close/>
                    <a:moveTo>
                      <a:pt x="388" y="429"/>
                    </a:moveTo>
                    <a:lnTo>
                      <a:pt x="388" y="429"/>
                    </a:lnTo>
                    <a:lnTo>
                      <a:pt x="388" y="429"/>
                    </a:lnTo>
                    <a:lnTo>
                      <a:pt x="390" y="427"/>
                    </a:lnTo>
                    <a:lnTo>
                      <a:pt x="390" y="427"/>
                    </a:lnTo>
                    <a:lnTo>
                      <a:pt x="391" y="423"/>
                    </a:lnTo>
                    <a:lnTo>
                      <a:pt x="391" y="420"/>
                    </a:lnTo>
                    <a:lnTo>
                      <a:pt x="390" y="420"/>
                    </a:lnTo>
                    <a:lnTo>
                      <a:pt x="390" y="420"/>
                    </a:lnTo>
                    <a:lnTo>
                      <a:pt x="387" y="426"/>
                    </a:lnTo>
                    <a:lnTo>
                      <a:pt x="387" y="426"/>
                    </a:lnTo>
                    <a:lnTo>
                      <a:pt x="385" y="429"/>
                    </a:lnTo>
                    <a:lnTo>
                      <a:pt x="385" y="429"/>
                    </a:lnTo>
                    <a:lnTo>
                      <a:pt x="388" y="429"/>
                    </a:lnTo>
                    <a:close/>
                    <a:moveTo>
                      <a:pt x="400" y="438"/>
                    </a:moveTo>
                    <a:lnTo>
                      <a:pt x="400" y="438"/>
                    </a:lnTo>
                    <a:lnTo>
                      <a:pt x="395" y="435"/>
                    </a:lnTo>
                    <a:lnTo>
                      <a:pt x="395" y="435"/>
                    </a:lnTo>
                    <a:lnTo>
                      <a:pt x="391" y="432"/>
                    </a:lnTo>
                    <a:lnTo>
                      <a:pt x="390" y="435"/>
                    </a:lnTo>
                    <a:lnTo>
                      <a:pt x="390" y="435"/>
                    </a:lnTo>
                    <a:lnTo>
                      <a:pt x="395" y="436"/>
                    </a:lnTo>
                    <a:lnTo>
                      <a:pt x="395" y="436"/>
                    </a:lnTo>
                    <a:lnTo>
                      <a:pt x="397" y="439"/>
                    </a:lnTo>
                    <a:lnTo>
                      <a:pt x="400" y="438"/>
                    </a:lnTo>
                    <a:close/>
                    <a:moveTo>
                      <a:pt x="403" y="452"/>
                    </a:moveTo>
                    <a:lnTo>
                      <a:pt x="403" y="452"/>
                    </a:lnTo>
                    <a:lnTo>
                      <a:pt x="401" y="442"/>
                    </a:lnTo>
                    <a:lnTo>
                      <a:pt x="398" y="443"/>
                    </a:lnTo>
                    <a:lnTo>
                      <a:pt x="398" y="443"/>
                    </a:lnTo>
                    <a:lnTo>
                      <a:pt x="401" y="453"/>
                    </a:lnTo>
                    <a:lnTo>
                      <a:pt x="403" y="452"/>
                    </a:lnTo>
                    <a:close/>
                    <a:moveTo>
                      <a:pt x="398" y="467"/>
                    </a:moveTo>
                    <a:lnTo>
                      <a:pt x="398" y="467"/>
                    </a:lnTo>
                    <a:lnTo>
                      <a:pt x="401" y="464"/>
                    </a:lnTo>
                    <a:lnTo>
                      <a:pt x="401" y="464"/>
                    </a:lnTo>
                    <a:lnTo>
                      <a:pt x="403" y="461"/>
                    </a:lnTo>
                    <a:lnTo>
                      <a:pt x="403" y="461"/>
                    </a:lnTo>
                    <a:lnTo>
                      <a:pt x="403" y="458"/>
                    </a:lnTo>
                    <a:lnTo>
                      <a:pt x="401" y="458"/>
                    </a:lnTo>
                    <a:lnTo>
                      <a:pt x="401" y="458"/>
                    </a:lnTo>
                    <a:lnTo>
                      <a:pt x="401" y="461"/>
                    </a:lnTo>
                    <a:lnTo>
                      <a:pt x="401" y="461"/>
                    </a:lnTo>
                    <a:lnTo>
                      <a:pt x="400" y="462"/>
                    </a:lnTo>
                    <a:lnTo>
                      <a:pt x="400" y="462"/>
                    </a:lnTo>
                    <a:lnTo>
                      <a:pt x="395" y="465"/>
                    </a:lnTo>
                    <a:lnTo>
                      <a:pt x="398" y="467"/>
                    </a:lnTo>
                    <a:close/>
                    <a:moveTo>
                      <a:pt x="385" y="477"/>
                    </a:moveTo>
                    <a:lnTo>
                      <a:pt x="385" y="477"/>
                    </a:lnTo>
                    <a:lnTo>
                      <a:pt x="394" y="471"/>
                    </a:lnTo>
                    <a:lnTo>
                      <a:pt x="392" y="468"/>
                    </a:lnTo>
                    <a:lnTo>
                      <a:pt x="392" y="468"/>
                    </a:lnTo>
                    <a:lnTo>
                      <a:pt x="384" y="474"/>
                    </a:lnTo>
                    <a:lnTo>
                      <a:pt x="385" y="477"/>
                    </a:lnTo>
                    <a:close/>
                    <a:moveTo>
                      <a:pt x="374" y="485"/>
                    </a:moveTo>
                    <a:lnTo>
                      <a:pt x="374" y="485"/>
                    </a:lnTo>
                    <a:lnTo>
                      <a:pt x="381" y="480"/>
                    </a:lnTo>
                    <a:lnTo>
                      <a:pt x="379" y="477"/>
                    </a:lnTo>
                    <a:lnTo>
                      <a:pt x="379" y="477"/>
                    </a:lnTo>
                    <a:lnTo>
                      <a:pt x="372" y="484"/>
                    </a:lnTo>
                    <a:lnTo>
                      <a:pt x="374" y="485"/>
                    </a:lnTo>
                    <a:close/>
                    <a:moveTo>
                      <a:pt x="362" y="495"/>
                    </a:moveTo>
                    <a:lnTo>
                      <a:pt x="362" y="495"/>
                    </a:lnTo>
                    <a:lnTo>
                      <a:pt x="366" y="490"/>
                    </a:lnTo>
                    <a:lnTo>
                      <a:pt x="366" y="490"/>
                    </a:lnTo>
                    <a:lnTo>
                      <a:pt x="369" y="488"/>
                    </a:lnTo>
                    <a:lnTo>
                      <a:pt x="368" y="487"/>
                    </a:lnTo>
                    <a:lnTo>
                      <a:pt x="368" y="487"/>
                    </a:lnTo>
                    <a:lnTo>
                      <a:pt x="365" y="488"/>
                    </a:lnTo>
                    <a:lnTo>
                      <a:pt x="365" y="488"/>
                    </a:lnTo>
                    <a:lnTo>
                      <a:pt x="359" y="494"/>
                    </a:lnTo>
                    <a:lnTo>
                      <a:pt x="362" y="495"/>
                    </a:lnTo>
                    <a:close/>
                    <a:moveTo>
                      <a:pt x="353" y="507"/>
                    </a:moveTo>
                    <a:lnTo>
                      <a:pt x="353" y="507"/>
                    </a:lnTo>
                    <a:lnTo>
                      <a:pt x="359" y="498"/>
                    </a:lnTo>
                    <a:lnTo>
                      <a:pt x="356" y="497"/>
                    </a:lnTo>
                    <a:lnTo>
                      <a:pt x="356" y="497"/>
                    </a:lnTo>
                    <a:lnTo>
                      <a:pt x="350" y="506"/>
                    </a:lnTo>
                    <a:lnTo>
                      <a:pt x="353" y="507"/>
                    </a:lnTo>
                    <a:close/>
                    <a:moveTo>
                      <a:pt x="346" y="522"/>
                    </a:moveTo>
                    <a:lnTo>
                      <a:pt x="346" y="522"/>
                    </a:lnTo>
                    <a:lnTo>
                      <a:pt x="349" y="519"/>
                    </a:lnTo>
                    <a:lnTo>
                      <a:pt x="350" y="514"/>
                    </a:lnTo>
                    <a:lnTo>
                      <a:pt x="350" y="514"/>
                    </a:lnTo>
                    <a:lnTo>
                      <a:pt x="352" y="511"/>
                    </a:lnTo>
                    <a:lnTo>
                      <a:pt x="349" y="511"/>
                    </a:lnTo>
                    <a:lnTo>
                      <a:pt x="349" y="511"/>
                    </a:lnTo>
                    <a:lnTo>
                      <a:pt x="348" y="514"/>
                    </a:lnTo>
                    <a:lnTo>
                      <a:pt x="348" y="514"/>
                    </a:lnTo>
                    <a:lnTo>
                      <a:pt x="346" y="517"/>
                    </a:lnTo>
                    <a:lnTo>
                      <a:pt x="345" y="519"/>
                    </a:lnTo>
                    <a:lnTo>
                      <a:pt x="346" y="522"/>
                    </a:lnTo>
                    <a:close/>
                    <a:moveTo>
                      <a:pt x="340" y="533"/>
                    </a:moveTo>
                    <a:lnTo>
                      <a:pt x="340" y="533"/>
                    </a:lnTo>
                    <a:lnTo>
                      <a:pt x="340" y="527"/>
                    </a:lnTo>
                    <a:lnTo>
                      <a:pt x="340" y="527"/>
                    </a:lnTo>
                    <a:lnTo>
                      <a:pt x="343" y="524"/>
                    </a:lnTo>
                    <a:lnTo>
                      <a:pt x="340" y="523"/>
                    </a:lnTo>
                    <a:lnTo>
                      <a:pt x="340" y="523"/>
                    </a:lnTo>
                    <a:lnTo>
                      <a:pt x="339" y="524"/>
                    </a:lnTo>
                    <a:lnTo>
                      <a:pt x="339" y="527"/>
                    </a:lnTo>
                    <a:lnTo>
                      <a:pt x="339" y="527"/>
                    </a:lnTo>
                    <a:lnTo>
                      <a:pt x="339" y="533"/>
                    </a:lnTo>
                    <a:lnTo>
                      <a:pt x="340" y="533"/>
                    </a:lnTo>
                    <a:close/>
                    <a:moveTo>
                      <a:pt x="340" y="549"/>
                    </a:moveTo>
                    <a:lnTo>
                      <a:pt x="340" y="549"/>
                    </a:lnTo>
                    <a:lnTo>
                      <a:pt x="340" y="539"/>
                    </a:lnTo>
                    <a:lnTo>
                      <a:pt x="337" y="537"/>
                    </a:lnTo>
                    <a:lnTo>
                      <a:pt x="337" y="537"/>
                    </a:lnTo>
                    <a:lnTo>
                      <a:pt x="337" y="548"/>
                    </a:lnTo>
                    <a:lnTo>
                      <a:pt x="340" y="549"/>
                    </a:lnTo>
                    <a:close/>
                    <a:moveTo>
                      <a:pt x="339" y="564"/>
                    </a:moveTo>
                    <a:lnTo>
                      <a:pt x="339" y="564"/>
                    </a:lnTo>
                    <a:lnTo>
                      <a:pt x="340" y="553"/>
                    </a:lnTo>
                    <a:lnTo>
                      <a:pt x="337" y="553"/>
                    </a:lnTo>
                    <a:lnTo>
                      <a:pt x="337" y="553"/>
                    </a:lnTo>
                    <a:lnTo>
                      <a:pt x="336" y="564"/>
                    </a:lnTo>
                    <a:lnTo>
                      <a:pt x="339" y="564"/>
                    </a:lnTo>
                    <a:close/>
                    <a:moveTo>
                      <a:pt x="335" y="578"/>
                    </a:moveTo>
                    <a:lnTo>
                      <a:pt x="335" y="578"/>
                    </a:lnTo>
                    <a:lnTo>
                      <a:pt x="337" y="569"/>
                    </a:lnTo>
                    <a:lnTo>
                      <a:pt x="337" y="569"/>
                    </a:lnTo>
                    <a:lnTo>
                      <a:pt x="335" y="568"/>
                    </a:lnTo>
                    <a:lnTo>
                      <a:pt x="335" y="568"/>
                    </a:lnTo>
                    <a:lnTo>
                      <a:pt x="335" y="568"/>
                    </a:lnTo>
                    <a:lnTo>
                      <a:pt x="333" y="578"/>
                    </a:lnTo>
                    <a:lnTo>
                      <a:pt x="335" y="578"/>
                    </a:lnTo>
                    <a:close/>
                    <a:moveTo>
                      <a:pt x="333" y="594"/>
                    </a:moveTo>
                    <a:lnTo>
                      <a:pt x="333" y="594"/>
                    </a:lnTo>
                    <a:lnTo>
                      <a:pt x="335" y="584"/>
                    </a:lnTo>
                    <a:lnTo>
                      <a:pt x="332" y="584"/>
                    </a:lnTo>
                    <a:lnTo>
                      <a:pt x="332" y="584"/>
                    </a:lnTo>
                    <a:lnTo>
                      <a:pt x="330" y="594"/>
                    </a:lnTo>
                    <a:lnTo>
                      <a:pt x="333" y="59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7" name="Freeform 1635"/>
              <p:cNvSpPr>
                <a:spLocks noEditPoints="1"/>
              </p:cNvSpPr>
              <p:nvPr/>
            </p:nvSpPr>
            <p:spPr bwMode="auto">
              <a:xfrm>
                <a:off x="3118777" y="3328020"/>
                <a:ext cx="93980" cy="68259"/>
              </a:xfrm>
              <a:custGeom>
                <a:avLst/>
                <a:gdLst>
                  <a:gd name="T0" fmla="*/ 92 w 95"/>
                  <a:gd name="T1" fmla="*/ 0 h 69"/>
                  <a:gd name="T2" fmla="*/ 95 w 95"/>
                  <a:gd name="T3" fmla="*/ 16 h 69"/>
                  <a:gd name="T4" fmla="*/ 95 w 95"/>
                  <a:gd name="T5" fmla="*/ 11 h 69"/>
                  <a:gd name="T6" fmla="*/ 94 w 95"/>
                  <a:gd name="T7" fmla="*/ 6 h 69"/>
                  <a:gd name="T8" fmla="*/ 94 w 95"/>
                  <a:gd name="T9" fmla="*/ 16 h 69"/>
                  <a:gd name="T10" fmla="*/ 85 w 95"/>
                  <a:gd name="T11" fmla="*/ 27 h 69"/>
                  <a:gd name="T12" fmla="*/ 91 w 95"/>
                  <a:gd name="T13" fmla="*/ 19 h 69"/>
                  <a:gd name="T14" fmla="*/ 75 w 95"/>
                  <a:gd name="T15" fmla="*/ 39 h 69"/>
                  <a:gd name="T16" fmla="*/ 78 w 95"/>
                  <a:gd name="T17" fmla="*/ 34 h 69"/>
                  <a:gd name="T18" fmla="*/ 81 w 95"/>
                  <a:gd name="T19" fmla="*/ 29 h 69"/>
                  <a:gd name="T20" fmla="*/ 76 w 95"/>
                  <a:gd name="T21" fmla="*/ 34 h 69"/>
                  <a:gd name="T22" fmla="*/ 61 w 95"/>
                  <a:gd name="T23" fmla="*/ 43 h 69"/>
                  <a:gd name="T24" fmla="*/ 69 w 95"/>
                  <a:gd name="T25" fmla="*/ 37 h 69"/>
                  <a:gd name="T26" fmla="*/ 61 w 95"/>
                  <a:gd name="T27" fmla="*/ 43 h 69"/>
                  <a:gd name="T28" fmla="*/ 46 w 95"/>
                  <a:gd name="T29" fmla="*/ 48 h 69"/>
                  <a:gd name="T30" fmla="*/ 55 w 95"/>
                  <a:gd name="T31" fmla="*/ 43 h 69"/>
                  <a:gd name="T32" fmla="*/ 46 w 95"/>
                  <a:gd name="T33" fmla="*/ 48 h 69"/>
                  <a:gd name="T34" fmla="*/ 42 w 95"/>
                  <a:gd name="T35" fmla="*/ 50 h 69"/>
                  <a:gd name="T36" fmla="*/ 34 w 95"/>
                  <a:gd name="T37" fmla="*/ 58 h 69"/>
                  <a:gd name="T38" fmla="*/ 26 w 95"/>
                  <a:gd name="T39" fmla="*/ 69 h 69"/>
                  <a:gd name="T40" fmla="*/ 32 w 95"/>
                  <a:gd name="T41" fmla="*/ 69 h 69"/>
                  <a:gd name="T42" fmla="*/ 33 w 95"/>
                  <a:gd name="T43" fmla="*/ 68 h 69"/>
                  <a:gd name="T44" fmla="*/ 33 w 95"/>
                  <a:gd name="T45" fmla="*/ 63 h 69"/>
                  <a:gd name="T46" fmla="*/ 30 w 95"/>
                  <a:gd name="T47" fmla="*/ 66 h 69"/>
                  <a:gd name="T48" fmla="*/ 29 w 95"/>
                  <a:gd name="T49" fmla="*/ 68 h 69"/>
                  <a:gd name="T50" fmla="*/ 11 w 95"/>
                  <a:gd name="T51" fmla="*/ 63 h 69"/>
                  <a:gd name="T52" fmla="*/ 16 w 95"/>
                  <a:gd name="T53" fmla="*/ 66 h 69"/>
                  <a:gd name="T54" fmla="*/ 21 w 95"/>
                  <a:gd name="T55" fmla="*/ 66 h 69"/>
                  <a:gd name="T56" fmla="*/ 13 w 95"/>
                  <a:gd name="T57" fmla="*/ 62 h 69"/>
                  <a:gd name="T58" fmla="*/ 1 w 95"/>
                  <a:gd name="T59" fmla="*/ 59 h 69"/>
                  <a:gd name="T60" fmla="*/ 1 w 95"/>
                  <a:gd name="T61" fmla="*/ 63 h 69"/>
                  <a:gd name="T62" fmla="*/ 8 w 95"/>
                  <a:gd name="T63" fmla="*/ 62 h 69"/>
                  <a:gd name="T64" fmla="*/ 1 w 95"/>
                  <a:gd name="T65" fmla="*/ 61 h 69"/>
                  <a:gd name="T66" fmla="*/ 3 w 95"/>
                  <a:gd name="T67" fmla="*/ 63 h 69"/>
                  <a:gd name="T68" fmla="*/ 3 w 95"/>
                  <a:gd name="T69" fmla="*/ 48 h 69"/>
                  <a:gd name="T70" fmla="*/ 5 w 95"/>
                  <a:gd name="T71" fmla="*/ 50 h 69"/>
                  <a:gd name="T72" fmla="*/ 5 w 95"/>
                  <a:gd name="T73" fmla="*/ 50 h 69"/>
                  <a:gd name="T74" fmla="*/ 5 w 95"/>
                  <a:gd name="T75" fmla="*/ 50 h 69"/>
                  <a:gd name="T76" fmla="*/ 5 w 95"/>
                  <a:gd name="T77" fmla="*/ 50 h 69"/>
                  <a:gd name="T78" fmla="*/ 5 w 95"/>
                  <a:gd name="T79" fmla="*/ 50 h 69"/>
                  <a:gd name="T80" fmla="*/ 4 w 95"/>
                  <a:gd name="T81" fmla="*/ 52 h 69"/>
                  <a:gd name="T82" fmla="*/ 5 w 95"/>
                  <a:gd name="T83" fmla="*/ 55 h 69"/>
                  <a:gd name="T84" fmla="*/ 7 w 95"/>
                  <a:gd name="T85" fmla="*/ 52 h 69"/>
                  <a:gd name="T86" fmla="*/ 8 w 95"/>
                  <a:gd name="T87" fmla="*/ 50 h 69"/>
                  <a:gd name="T88" fmla="*/ 4 w 95"/>
                  <a:gd name="T89" fmla="*/ 4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5" h="69">
                    <a:moveTo>
                      <a:pt x="95" y="0"/>
                    </a:moveTo>
                    <a:lnTo>
                      <a:pt x="95" y="0"/>
                    </a:lnTo>
                    <a:lnTo>
                      <a:pt x="92" y="0"/>
                    </a:lnTo>
                    <a:lnTo>
                      <a:pt x="92" y="0"/>
                    </a:lnTo>
                    <a:lnTo>
                      <a:pt x="95" y="0"/>
                    </a:lnTo>
                    <a:close/>
                    <a:moveTo>
                      <a:pt x="95" y="16"/>
                    </a:moveTo>
                    <a:lnTo>
                      <a:pt x="95" y="16"/>
                    </a:lnTo>
                    <a:lnTo>
                      <a:pt x="95" y="11"/>
                    </a:lnTo>
                    <a:lnTo>
                      <a:pt x="95" y="11"/>
                    </a:lnTo>
                    <a:lnTo>
                      <a:pt x="95" y="6"/>
                    </a:lnTo>
                    <a:lnTo>
                      <a:pt x="94" y="6"/>
                    </a:lnTo>
                    <a:lnTo>
                      <a:pt x="94" y="6"/>
                    </a:lnTo>
                    <a:lnTo>
                      <a:pt x="94" y="11"/>
                    </a:lnTo>
                    <a:lnTo>
                      <a:pt x="94" y="11"/>
                    </a:lnTo>
                    <a:lnTo>
                      <a:pt x="94" y="16"/>
                    </a:lnTo>
                    <a:lnTo>
                      <a:pt x="95" y="16"/>
                    </a:lnTo>
                    <a:close/>
                    <a:moveTo>
                      <a:pt x="85" y="27"/>
                    </a:moveTo>
                    <a:lnTo>
                      <a:pt x="85" y="27"/>
                    </a:lnTo>
                    <a:lnTo>
                      <a:pt x="94" y="20"/>
                    </a:lnTo>
                    <a:lnTo>
                      <a:pt x="91" y="19"/>
                    </a:lnTo>
                    <a:lnTo>
                      <a:pt x="91" y="19"/>
                    </a:lnTo>
                    <a:lnTo>
                      <a:pt x="84" y="26"/>
                    </a:lnTo>
                    <a:lnTo>
                      <a:pt x="85" y="27"/>
                    </a:lnTo>
                    <a:close/>
                    <a:moveTo>
                      <a:pt x="75" y="39"/>
                    </a:moveTo>
                    <a:lnTo>
                      <a:pt x="75" y="39"/>
                    </a:lnTo>
                    <a:lnTo>
                      <a:pt x="76" y="37"/>
                    </a:lnTo>
                    <a:lnTo>
                      <a:pt x="78" y="34"/>
                    </a:lnTo>
                    <a:lnTo>
                      <a:pt x="78" y="34"/>
                    </a:lnTo>
                    <a:lnTo>
                      <a:pt x="82" y="32"/>
                    </a:lnTo>
                    <a:lnTo>
                      <a:pt x="81" y="29"/>
                    </a:lnTo>
                    <a:lnTo>
                      <a:pt x="81" y="29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74" y="36"/>
                    </a:lnTo>
                    <a:lnTo>
                      <a:pt x="75" y="39"/>
                    </a:lnTo>
                    <a:close/>
                    <a:moveTo>
                      <a:pt x="61" y="43"/>
                    </a:moveTo>
                    <a:lnTo>
                      <a:pt x="61" y="43"/>
                    </a:lnTo>
                    <a:lnTo>
                      <a:pt x="69" y="40"/>
                    </a:lnTo>
                    <a:lnTo>
                      <a:pt x="69" y="37"/>
                    </a:lnTo>
                    <a:lnTo>
                      <a:pt x="69" y="37"/>
                    </a:lnTo>
                    <a:lnTo>
                      <a:pt x="59" y="42"/>
                    </a:lnTo>
                    <a:lnTo>
                      <a:pt x="61" y="43"/>
                    </a:lnTo>
                    <a:close/>
                    <a:moveTo>
                      <a:pt x="46" y="48"/>
                    </a:moveTo>
                    <a:lnTo>
                      <a:pt x="46" y="48"/>
                    </a:lnTo>
                    <a:lnTo>
                      <a:pt x="46" y="48"/>
                    </a:lnTo>
                    <a:lnTo>
                      <a:pt x="55" y="45"/>
                    </a:lnTo>
                    <a:lnTo>
                      <a:pt x="55" y="43"/>
                    </a:lnTo>
                    <a:lnTo>
                      <a:pt x="55" y="43"/>
                    </a:lnTo>
                    <a:lnTo>
                      <a:pt x="45" y="45"/>
                    </a:lnTo>
                    <a:lnTo>
                      <a:pt x="45" y="46"/>
                    </a:lnTo>
                    <a:lnTo>
                      <a:pt x="46" y="48"/>
                    </a:lnTo>
                    <a:close/>
                    <a:moveTo>
                      <a:pt x="37" y="59"/>
                    </a:moveTo>
                    <a:lnTo>
                      <a:pt x="37" y="59"/>
                    </a:lnTo>
                    <a:lnTo>
                      <a:pt x="42" y="50"/>
                    </a:lnTo>
                    <a:lnTo>
                      <a:pt x="40" y="49"/>
                    </a:lnTo>
                    <a:lnTo>
                      <a:pt x="40" y="49"/>
                    </a:lnTo>
                    <a:lnTo>
                      <a:pt x="34" y="58"/>
                    </a:lnTo>
                    <a:lnTo>
                      <a:pt x="37" y="59"/>
                    </a:lnTo>
                    <a:close/>
                    <a:moveTo>
                      <a:pt x="26" y="69"/>
                    </a:moveTo>
                    <a:lnTo>
                      <a:pt x="26" y="69"/>
                    </a:lnTo>
                    <a:lnTo>
                      <a:pt x="29" y="69"/>
                    </a:lnTo>
                    <a:lnTo>
                      <a:pt x="29" y="69"/>
                    </a:lnTo>
                    <a:lnTo>
                      <a:pt x="32" y="69"/>
                    </a:lnTo>
                    <a:lnTo>
                      <a:pt x="32" y="69"/>
                    </a:lnTo>
                    <a:lnTo>
                      <a:pt x="33" y="68"/>
                    </a:lnTo>
                    <a:lnTo>
                      <a:pt x="33" y="68"/>
                    </a:lnTo>
                    <a:lnTo>
                      <a:pt x="36" y="63"/>
                    </a:lnTo>
                    <a:lnTo>
                      <a:pt x="33" y="63"/>
                    </a:lnTo>
                    <a:lnTo>
                      <a:pt x="33" y="63"/>
                    </a:lnTo>
                    <a:lnTo>
                      <a:pt x="32" y="66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29" y="68"/>
                    </a:lnTo>
                    <a:lnTo>
                      <a:pt x="29" y="68"/>
                    </a:lnTo>
                    <a:lnTo>
                      <a:pt x="27" y="66"/>
                    </a:lnTo>
                    <a:lnTo>
                      <a:pt x="26" y="69"/>
                    </a:lnTo>
                    <a:close/>
                    <a:moveTo>
                      <a:pt x="11" y="63"/>
                    </a:moveTo>
                    <a:lnTo>
                      <a:pt x="13" y="63"/>
                    </a:lnTo>
                    <a:lnTo>
                      <a:pt x="13" y="63"/>
                    </a:lnTo>
                    <a:lnTo>
                      <a:pt x="16" y="66"/>
                    </a:lnTo>
                    <a:lnTo>
                      <a:pt x="21" y="68"/>
                    </a:lnTo>
                    <a:lnTo>
                      <a:pt x="21" y="66"/>
                    </a:lnTo>
                    <a:lnTo>
                      <a:pt x="21" y="66"/>
                    </a:lnTo>
                    <a:lnTo>
                      <a:pt x="17" y="63"/>
                    </a:lnTo>
                    <a:lnTo>
                      <a:pt x="14" y="62"/>
                    </a:lnTo>
                    <a:lnTo>
                      <a:pt x="13" y="62"/>
                    </a:lnTo>
                    <a:lnTo>
                      <a:pt x="11" y="63"/>
                    </a:lnTo>
                    <a:close/>
                    <a:moveTo>
                      <a:pt x="1" y="59"/>
                    </a:moveTo>
                    <a:lnTo>
                      <a:pt x="1" y="59"/>
                    </a:lnTo>
                    <a:lnTo>
                      <a:pt x="0" y="62"/>
                    </a:lnTo>
                    <a:lnTo>
                      <a:pt x="0" y="65"/>
                    </a:lnTo>
                    <a:lnTo>
                      <a:pt x="1" y="63"/>
                    </a:lnTo>
                    <a:lnTo>
                      <a:pt x="3" y="63"/>
                    </a:lnTo>
                    <a:lnTo>
                      <a:pt x="3" y="63"/>
                    </a:lnTo>
                    <a:lnTo>
                      <a:pt x="8" y="62"/>
                    </a:lnTo>
                    <a:lnTo>
                      <a:pt x="8" y="61"/>
                    </a:lnTo>
                    <a:lnTo>
                      <a:pt x="8" y="61"/>
                    </a:lnTo>
                    <a:lnTo>
                      <a:pt x="1" y="61"/>
                    </a:lnTo>
                    <a:lnTo>
                      <a:pt x="1" y="62"/>
                    </a:lnTo>
                    <a:lnTo>
                      <a:pt x="3" y="63"/>
                    </a:lnTo>
                    <a:lnTo>
                      <a:pt x="3" y="63"/>
                    </a:lnTo>
                    <a:lnTo>
                      <a:pt x="4" y="59"/>
                    </a:lnTo>
                    <a:lnTo>
                      <a:pt x="1" y="59"/>
                    </a:lnTo>
                    <a:close/>
                    <a:moveTo>
                      <a:pt x="3" y="48"/>
                    </a:moveTo>
                    <a:lnTo>
                      <a:pt x="3" y="48"/>
                    </a:lnTo>
                    <a:lnTo>
                      <a:pt x="4" y="49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3" y="53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2"/>
                    </a:lnTo>
                    <a:lnTo>
                      <a:pt x="7" y="52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7" y="48"/>
                    </a:lnTo>
                    <a:lnTo>
                      <a:pt x="7" y="48"/>
                    </a:lnTo>
                    <a:lnTo>
                      <a:pt x="4" y="45"/>
                    </a:lnTo>
                    <a:lnTo>
                      <a:pt x="3" y="4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8" name="Freeform 1636"/>
              <p:cNvSpPr>
                <a:spLocks noEditPoints="1"/>
              </p:cNvSpPr>
              <p:nvPr/>
            </p:nvSpPr>
            <p:spPr bwMode="auto">
              <a:xfrm>
                <a:off x="3292887" y="3488280"/>
                <a:ext cx="8903" cy="77162"/>
              </a:xfrm>
              <a:custGeom>
                <a:avLst/>
                <a:gdLst>
                  <a:gd name="T0" fmla="*/ 6 w 9"/>
                  <a:gd name="T1" fmla="*/ 3 h 78"/>
                  <a:gd name="T2" fmla="*/ 6 w 9"/>
                  <a:gd name="T3" fmla="*/ 3 h 78"/>
                  <a:gd name="T4" fmla="*/ 6 w 9"/>
                  <a:gd name="T5" fmla="*/ 0 h 78"/>
                  <a:gd name="T6" fmla="*/ 3 w 9"/>
                  <a:gd name="T7" fmla="*/ 0 h 78"/>
                  <a:gd name="T8" fmla="*/ 3 w 9"/>
                  <a:gd name="T9" fmla="*/ 0 h 78"/>
                  <a:gd name="T10" fmla="*/ 3 w 9"/>
                  <a:gd name="T11" fmla="*/ 3 h 78"/>
                  <a:gd name="T12" fmla="*/ 6 w 9"/>
                  <a:gd name="T13" fmla="*/ 3 h 78"/>
                  <a:gd name="T14" fmla="*/ 8 w 9"/>
                  <a:gd name="T15" fmla="*/ 17 h 78"/>
                  <a:gd name="T16" fmla="*/ 8 w 9"/>
                  <a:gd name="T17" fmla="*/ 17 h 78"/>
                  <a:gd name="T18" fmla="*/ 6 w 9"/>
                  <a:gd name="T19" fmla="*/ 7 h 78"/>
                  <a:gd name="T20" fmla="*/ 5 w 9"/>
                  <a:gd name="T21" fmla="*/ 9 h 78"/>
                  <a:gd name="T22" fmla="*/ 5 w 9"/>
                  <a:gd name="T23" fmla="*/ 9 h 78"/>
                  <a:gd name="T24" fmla="*/ 6 w 9"/>
                  <a:gd name="T25" fmla="*/ 17 h 78"/>
                  <a:gd name="T26" fmla="*/ 8 w 9"/>
                  <a:gd name="T27" fmla="*/ 17 h 78"/>
                  <a:gd name="T28" fmla="*/ 8 w 9"/>
                  <a:gd name="T29" fmla="*/ 33 h 78"/>
                  <a:gd name="T30" fmla="*/ 8 w 9"/>
                  <a:gd name="T31" fmla="*/ 33 h 78"/>
                  <a:gd name="T32" fmla="*/ 8 w 9"/>
                  <a:gd name="T33" fmla="*/ 29 h 78"/>
                  <a:gd name="T34" fmla="*/ 8 w 9"/>
                  <a:gd name="T35" fmla="*/ 29 h 78"/>
                  <a:gd name="T36" fmla="*/ 9 w 9"/>
                  <a:gd name="T37" fmla="*/ 25 h 78"/>
                  <a:gd name="T38" fmla="*/ 9 w 9"/>
                  <a:gd name="T39" fmla="*/ 25 h 78"/>
                  <a:gd name="T40" fmla="*/ 9 w 9"/>
                  <a:gd name="T41" fmla="*/ 23 h 78"/>
                  <a:gd name="T42" fmla="*/ 6 w 9"/>
                  <a:gd name="T43" fmla="*/ 23 h 78"/>
                  <a:gd name="T44" fmla="*/ 6 w 9"/>
                  <a:gd name="T45" fmla="*/ 23 h 78"/>
                  <a:gd name="T46" fmla="*/ 6 w 9"/>
                  <a:gd name="T47" fmla="*/ 25 h 78"/>
                  <a:gd name="T48" fmla="*/ 6 w 9"/>
                  <a:gd name="T49" fmla="*/ 25 h 78"/>
                  <a:gd name="T50" fmla="*/ 6 w 9"/>
                  <a:gd name="T51" fmla="*/ 29 h 78"/>
                  <a:gd name="T52" fmla="*/ 6 w 9"/>
                  <a:gd name="T53" fmla="*/ 29 h 78"/>
                  <a:gd name="T54" fmla="*/ 5 w 9"/>
                  <a:gd name="T55" fmla="*/ 33 h 78"/>
                  <a:gd name="T56" fmla="*/ 8 w 9"/>
                  <a:gd name="T57" fmla="*/ 33 h 78"/>
                  <a:gd name="T58" fmla="*/ 6 w 9"/>
                  <a:gd name="T59" fmla="*/ 48 h 78"/>
                  <a:gd name="T60" fmla="*/ 6 w 9"/>
                  <a:gd name="T61" fmla="*/ 48 h 78"/>
                  <a:gd name="T62" fmla="*/ 6 w 9"/>
                  <a:gd name="T63" fmla="*/ 38 h 78"/>
                  <a:gd name="T64" fmla="*/ 5 w 9"/>
                  <a:gd name="T65" fmla="*/ 38 h 78"/>
                  <a:gd name="T66" fmla="*/ 5 w 9"/>
                  <a:gd name="T67" fmla="*/ 38 h 78"/>
                  <a:gd name="T68" fmla="*/ 3 w 9"/>
                  <a:gd name="T69" fmla="*/ 48 h 78"/>
                  <a:gd name="T70" fmla="*/ 6 w 9"/>
                  <a:gd name="T71" fmla="*/ 48 h 78"/>
                  <a:gd name="T72" fmla="*/ 5 w 9"/>
                  <a:gd name="T73" fmla="*/ 64 h 78"/>
                  <a:gd name="T74" fmla="*/ 5 w 9"/>
                  <a:gd name="T75" fmla="*/ 64 h 78"/>
                  <a:gd name="T76" fmla="*/ 6 w 9"/>
                  <a:gd name="T77" fmla="*/ 54 h 78"/>
                  <a:gd name="T78" fmla="*/ 3 w 9"/>
                  <a:gd name="T79" fmla="*/ 54 h 78"/>
                  <a:gd name="T80" fmla="*/ 3 w 9"/>
                  <a:gd name="T81" fmla="*/ 54 h 78"/>
                  <a:gd name="T82" fmla="*/ 2 w 9"/>
                  <a:gd name="T83" fmla="*/ 62 h 78"/>
                  <a:gd name="T84" fmla="*/ 5 w 9"/>
                  <a:gd name="T85" fmla="*/ 64 h 78"/>
                  <a:gd name="T86" fmla="*/ 5 w 9"/>
                  <a:gd name="T87" fmla="*/ 77 h 78"/>
                  <a:gd name="T88" fmla="*/ 5 w 9"/>
                  <a:gd name="T89" fmla="*/ 77 h 78"/>
                  <a:gd name="T90" fmla="*/ 3 w 9"/>
                  <a:gd name="T91" fmla="*/ 74 h 78"/>
                  <a:gd name="T92" fmla="*/ 2 w 9"/>
                  <a:gd name="T93" fmla="*/ 69 h 78"/>
                  <a:gd name="T94" fmla="*/ 2 w 9"/>
                  <a:gd name="T95" fmla="*/ 69 h 78"/>
                  <a:gd name="T96" fmla="*/ 2 w 9"/>
                  <a:gd name="T97" fmla="*/ 68 h 78"/>
                  <a:gd name="T98" fmla="*/ 0 w 9"/>
                  <a:gd name="T99" fmla="*/ 68 h 78"/>
                  <a:gd name="T100" fmla="*/ 0 w 9"/>
                  <a:gd name="T101" fmla="*/ 68 h 78"/>
                  <a:gd name="T102" fmla="*/ 0 w 9"/>
                  <a:gd name="T103" fmla="*/ 69 h 78"/>
                  <a:gd name="T104" fmla="*/ 0 w 9"/>
                  <a:gd name="T105" fmla="*/ 69 h 78"/>
                  <a:gd name="T106" fmla="*/ 0 w 9"/>
                  <a:gd name="T107" fmla="*/ 74 h 78"/>
                  <a:gd name="T108" fmla="*/ 2 w 9"/>
                  <a:gd name="T109" fmla="*/ 78 h 78"/>
                  <a:gd name="T110" fmla="*/ 5 w 9"/>
                  <a:gd name="T111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" h="78">
                    <a:moveTo>
                      <a:pt x="6" y="3"/>
                    </a:moveTo>
                    <a:lnTo>
                      <a:pt x="6" y="3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6" y="3"/>
                    </a:lnTo>
                    <a:close/>
                    <a:moveTo>
                      <a:pt x="8" y="17"/>
                    </a:moveTo>
                    <a:lnTo>
                      <a:pt x="8" y="17"/>
                    </a:lnTo>
                    <a:lnTo>
                      <a:pt x="6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6" y="17"/>
                    </a:lnTo>
                    <a:lnTo>
                      <a:pt x="8" y="17"/>
                    </a:lnTo>
                    <a:close/>
                    <a:moveTo>
                      <a:pt x="8" y="33"/>
                    </a:moveTo>
                    <a:lnTo>
                      <a:pt x="8" y="33"/>
                    </a:lnTo>
                    <a:lnTo>
                      <a:pt x="8" y="29"/>
                    </a:lnTo>
                    <a:lnTo>
                      <a:pt x="8" y="29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9" y="23"/>
                    </a:lnTo>
                    <a:lnTo>
                      <a:pt x="6" y="23"/>
                    </a:lnTo>
                    <a:lnTo>
                      <a:pt x="6" y="23"/>
                    </a:lnTo>
                    <a:lnTo>
                      <a:pt x="6" y="25"/>
                    </a:lnTo>
                    <a:lnTo>
                      <a:pt x="6" y="25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5" y="33"/>
                    </a:lnTo>
                    <a:lnTo>
                      <a:pt x="8" y="33"/>
                    </a:lnTo>
                    <a:close/>
                    <a:moveTo>
                      <a:pt x="6" y="48"/>
                    </a:moveTo>
                    <a:lnTo>
                      <a:pt x="6" y="48"/>
                    </a:lnTo>
                    <a:lnTo>
                      <a:pt x="6" y="38"/>
                    </a:lnTo>
                    <a:lnTo>
                      <a:pt x="5" y="38"/>
                    </a:lnTo>
                    <a:lnTo>
                      <a:pt x="5" y="38"/>
                    </a:lnTo>
                    <a:lnTo>
                      <a:pt x="3" y="48"/>
                    </a:lnTo>
                    <a:lnTo>
                      <a:pt x="6" y="48"/>
                    </a:lnTo>
                    <a:close/>
                    <a:moveTo>
                      <a:pt x="5" y="64"/>
                    </a:moveTo>
                    <a:lnTo>
                      <a:pt x="5" y="64"/>
                    </a:lnTo>
                    <a:lnTo>
                      <a:pt x="6" y="54"/>
                    </a:lnTo>
                    <a:lnTo>
                      <a:pt x="3" y="54"/>
                    </a:lnTo>
                    <a:lnTo>
                      <a:pt x="3" y="54"/>
                    </a:lnTo>
                    <a:lnTo>
                      <a:pt x="2" y="62"/>
                    </a:lnTo>
                    <a:lnTo>
                      <a:pt x="5" y="64"/>
                    </a:lnTo>
                    <a:close/>
                    <a:moveTo>
                      <a:pt x="5" y="77"/>
                    </a:moveTo>
                    <a:lnTo>
                      <a:pt x="5" y="77"/>
                    </a:lnTo>
                    <a:lnTo>
                      <a:pt x="3" y="74"/>
                    </a:lnTo>
                    <a:lnTo>
                      <a:pt x="2" y="69"/>
                    </a:lnTo>
                    <a:lnTo>
                      <a:pt x="2" y="69"/>
                    </a:lnTo>
                    <a:lnTo>
                      <a:pt x="2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9"/>
                    </a:lnTo>
                    <a:lnTo>
                      <a:pt x="0" y="69"/>
                    </a:lnTo>
                    <a:lnTo>
                      <a:pt x="0" y="74"/>
                    </a:lnTo>
                    <a:lnTo>
                      <a:pt x="2" y="78"/>
                    </a:lnTo>
                    <a:lnTo>
                      <a:pt x="5" y="7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9" name="Freeform 1637"/>
              <p:cNvSpPr>
                <a:spLocks noEditPoints="1"/>
              </p:cNvSpPr>
              <p:nvPr/>
            </p:nvSpPr>
            <p:spPr bwMode="auto">
              <a:xfrm>
                <a:off x="3297833" y="3584238"/>
                <a:ext cx="16817" cy="19785"/>
              </a:xfrm>
              <a:custGeom>
                <a:avLst/>
                <a:gdLst>
                  <a:gd name="T0" fmla="*/ 13 w 17"/>
                  <a:gd name="T1" fmla="*/ 10 h 20"/>
                  <a:gd name="T2" fmla="*/ 13 w 17"/>
                  <a:gd name="T3" fmla="*/ 10 h 20"/>
                  <a:gd name="T4" fmla="*/ 16 w 17"/>
                  <a:gd name="T5" fmla="*/ 6 h 20"/>
                  <a:gd name="T6" fmla="*/ 17 w 17"/>
                  <a:gd name="T7" fmla="*/ 1 h 20"/>
                  <a:gd name="T8" fmla="*/ 17 w 17"/>
                  <a:gd name="T9" fmla="*/ 1 h 20"/>
                  <a:gd name="T10" fmla="*/ 17 w 17"/>
                  <a:gd name="T11" fmla="*/ 0 h 20"/>
                  <a:gd name="T12" fmla="*/ 14 w 17"/>
                  <a:gd name="T13" fmla="*/ 0 h 20"/>
                  <a:gd name="T14" fmla="*/ 14 w 17"/>
                  <a:gd name="T15" fmla="*/ 1 h 20"/>
                  <a:gd name="T16" fmla="*/ 14 w 17"/>
                  <a:gd name="T17" fmla="*/ 1 h 20"/>
                  <a:gd name="T18" fmla="*/ 13 w 17"/>
                  <a:gd name="T19" fmla="*/ 4 h 20"/>
                  <a:gd name="T20" fmla="*/ 10 w 17"/>
                  <a:gd name="T21" fmla="*/ 9 h 20"/>
                  <a:gd name="T22" fmla="*/ 13 w 17"/>
                  <a:gd name="T23" fmla="*/ 10 h 20"/>
                  <a:gd name="T24" fmla="*/ 1 w 17"/>
                  <a:gd name="T25" fmla="*/ 20 h 20"/>
                  <a:gd name="T26" fmla="*/ 1 w 17"/>
                  <a:gd name="T27" fmla="*/ 20 h 20"/>
                  <a:gd name="T28" fmla="*/ 10 w 17"/>
                  <a:gd name="T29" fmla="*/ 13 h 20"/>
                  <a:gd name="T30" fmla="*/ 7 w 17"/>
                  <a:gd name="T31" fmla="*/ 12 h 20"/>
                  <a:gd name="T32" fmla="*/ 7 w 17"/>
                  <a:gd name="T33" fmla="*/ 12 h 20"/>
                  <a:gd name="T34" fmla="*/ 3 w 17"/>
                  <a:gd name="T35" fmla="*/ 17 h 20"/>
                  <a:gd name="T36" fmla="*/ 3 w 17"/>
                  <a:gd name="T37" fmla="*/ 17 h 20"/>
                  <a:gd name="T38" fmla="*/ 0 w 17"/>
                  <a:gd name="T39" fmla="*/ 19 h 20"/>
                  <a:gd name="T40" fmla="*/ 1 w 17"/>
                  <a:gd name="T41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" h="20">
                    <a:moveTo>
                      <a:pt x="13" y="10"/>
                    </a:moveTo>
                    <a:lnTo>
                      <a:pt x="13" y="10"/>
                    </a:lnTo>
                    <a:lnTo>
                      <a:pt x="16" y="6"/>
                    </a:lnTo>
                    <a:lnTo>
                      <a:pt x="17" y="1"/>
                    </a:lnTo>
                    <a:lnTo>
                      <a:pt x="17" y="1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4" y="1"/>
                    </a:lnTo>
                    <a:lnTo>
                      <a:pt x="14" y="1"/>
                    </a:lnTo>
                    <a:lnTo>
                      <a:pt x="13" y="4"/>
                    </a:lnTo>
                    <a:lnTo>
                      <a:pt x="10" y="9"/>
                    </a:lnTo>
                    <a:lnTo>
                      <a:pt x="13" y="10"/>
                    </a:lnTo>
                    <a:close/>
                    <a:moveTo>
                      <a:pt x="1" y="20"/>
                    </a:moveTo>
                    <a:lnTo>
                      <a:pt x="1" y="20"/>
                    </a:lnTo>
                    <a:lnTo>
                      <a:pt x="10" y="13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0" y="19"/>
                    </a:lnTo>
                    <a:lnTo>
                      <a:pt x="1" y="2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0" name="Freeform 1638"/>
              <p:cNvSpPr>
                <a:spLocks noEditPoints="1"/>
              </p:cNvSpPr>
              <p:nvPr/>
            </p:nvSpPr>
            <p:spPr bwMode="auto">
              <a:xfrm>
                <a:off x="3495685" y="3814735"/>
                <a:ext cx="74194" cy="53420"/>
              </a:xfrm>
              <a:custGeom>
                <a:avLst/>
                <a:gdLst>
                  <a:gd name="T0" fmla="*/ 1 w 75"/>
                  <a:gd name="T1" fmla="*/ 0 h 54"/>
                  <a:gd name="T2" fmla="*/ 0 w 75"/>
                  <a:gd name="T3" fmla="*/ 0 h 54"/>
                  <a:gd name="T4" fmla="*/ 0 w 75"/>
                  <a:gd name="T5" fmla="*/ 2 h 54"/>
                  <a:gd name="T6" fmla="*/ 0 w 75"/>
                  <a:gd name="T7" fmla="*/ 3 h 54"/>
                  <a:gd name="T8" fmla="*/ 1 w 75"/>
                  <a:gd name="T9" fmla="*/ 0 h 54"/>
                  <a:gd name="T10" fmla="*/ 16 w 75"/>
                  <a:gd name="T11" fmla="*/ 6 h 54"/>
                  <a:gd name="T12" fmla="*/ 16 w 75"/>
                  <a:gd name="T13" fmla="*/ 6 h 54"/>
                  <a:gd name="T14" fmla="*/ 14 w 75"/>
                  <a:gd name="T15" fmla="*/ 5 h 54"/>
                  <a:gd name="T16" fmla="*/ 14 w 75"/>
                  <a:gd name="T17" fmla="*/ 5 h 54"/>
                  <a:gd name="T18" fmla="*/ 5 w 75"/>
                  <a:gd name="T19" fmla="*/ 2 h 54"/>
                  <a:gd name="T20" fmla="*/ 5 w 75"/>
                  <a:gd name="T21" fmla="*/ 5 h 54"/>
                  <a:gd name="T22" fmla="*/ 5 w 75"/>
                  <a:gd name="T23" fmla="*/ 5 h 54"/>
                  <a:gd name="T24" fmla="*/ 11 w 75"/>
                  <a:gd name="T25" fmla="*/ 7 h 54"/>
                  <a:gd name="T26" fmla="*/ 11 w 75"/>
                  <a:gd name="T27" fmla="*/ 7 h 54"/>
                  <a:gd name="T28" fmla="*/ 14 w 75"/>
                  <a:gd name="T29" fmla="*/ 9 h 54"/>
                  <a:gd name="T30" fmla="*/ 16 w 75"/>
                  <a:gd name="T31" fmla="*/ 6 h 54"/>
                  <a:gd name="T32" fmla="*/ 27 w 75"/>
                  <a:gd name="T33" fmla="*/ 15 h 54"/>
                  <a:gd name="T34" fmla="*/ 27 w 75"/>
                  <a:gd name="T35" fmla="*/ 15 h 54"/>
                  <a:gd name="T36" fmla="*/ 20 w 75"/>
                  <a:gd name="T37" fmla="*/ 9 h 54"/>
                  <a:gd name="T38" fmla="*/ 18 w 75"/>
                  <a:gd name="T39" fmla="*/ 12 h 54"/>
                  <a:gd name="T40" fmla="*/ 18 w 75"/>
                  <a:gd name="T41" fmla="*/ 12 h 54"/>
                  <a:gd name="T42" fmla="*/ 27 w 75"/>
                  <a:gd name="T43" fmla="*/ 16 h 54"/>
                  <a:gd name="T44" fmla="*/ 27 w 75"/>
                  <a:gd name="T45" fmla="*/ 15 h 54"/>
                  <a:gd name="T46" fmla="*/ 42 w 75"/>
                  <a:gd name="T47" fmla="*/ 22 h 54"/>
                  <a:gd name="T48" fmla="*/ 42 w 75"/>
                  <a:gd name="T49" fmla="*/ 22 h 54"/>
                  <a:gd name="T50" fmla="*/ 31 w 75"/>
                  <a:gd name="T51" fmla="*/ 18 h 54"/>
                  <a:gd name="T52" fmla="*/ 31 w 75"/>
                  <a:gd name="T53" fmla="*/ 19 h 54"/>
                  <a:gd name="T54" fmla="*/ 31 w 75"/>
                  <a:gd name="T55" fmla="*/ 19 h 54"/>
                  <a:gd name="T56" fmla="*/ 40 w 75"/>
                  <a:gd name="T57" fmla="*/ 25 h 54"/>
                  <a:gd name="T58" fmla="*/ 42 w 75"/>
                  <a:gd name="T59" fmla="*/ 22 h 54"/>
                  <a:gd name="T60" fmla="*/ 53 w 75"/>
                  <a:gd name="T61" fmla="*/ 32 h 54"/>
                  <a:gd name="T62" fmla="*/ 53 w 75"/>
                  <a:gd name="T63" fmla="*/ 32 h 54"/>
                  <a:gd name="T64" fmla="*/ 50 w 75"/>
                  <a:gd name="T65" fmla="*/ 28 h 54"/>
                  <a:gd name="T66" fmla="*/ 46 w 75"/>
                  <a:gd name="T67" fmla="*/ 25 h 54"/>
                  <a:gd name="T68" fmla="*/ 44 w 75"/>
                  <a:gd name="T69" fmla="*/ 26 h 54"/>
                  <a:gd name="T70" fmla="*/ 44 w 75"/>
                  <a:gd name="T71" fmla="*/ 26 h 54"/>
                  <a:gd name="T72" fmla="*/ 49 w 75"/>
                  <a:gd name="T73" fmla="*/ 29 h 54"/>
                  <a:gd name="T74" fmla="*/ 52 w 75"/>
                  <a:gd name="T75" fmla="*/ 34 h 54"/>
                  <a:gd name="T76" fmla="*/ 53 w 75"/>
                  <a:gd name="T77" fmla="*/ 32 h 54"/>
                  <a:gd name="T78" fmla="*/ 63 w 75"/>
                  <a:gd name="T79" fmla="*/ 42 h 54"/>
                  <a:gd name="T80" fmla="*/ 63 w 75"/>
                  <a:gd name="T81" fmla="*/ 42 h 54"/>
                  <a:gd name="T82" fmla="*/ 59 w 75"/>
                  <a:gd name="T83" fmla="*/ 39 h 54"/>
                  <a:gd name="T84" fmla="*/ 59 w 75"/>
                  <a:gd name="T85" fmla="*/ 39 h 54"/>
                  <a:gd name="T86" fmla="*/ 56 w 75"/>
                  <a:gd name="T87" fmla="*/ 36 h 54"/>
                  <a:gd name="T88" fmla="*/ 55 w 75"/>
                  <a:gd name="T89" fmla="*/ 38 h 54"/>
                  <a:gd name="T90" fmla="*/ 55 w 75"/>
                  <a:gd name="T91" fmla="*/ 38 h 54"/>
                  <a:gd name="T92" fmla="*/ 58 w 75"/>
                  <a:gd name="T93" fmla="*/ 41 h 54"/>
                  <a:gd name="T94" fmla="*/ 58 w 75"/>
                  <a:gd name="T95" fmla="*/ 41 h 54"/>
                  <a:gd name="T96" fmla="*/ 60 w 75"/>
                  <a:gd name="T97" fmla="*/ 45 h 54"/>
                  <a:gd name="T98" fmla="*/ 63 w 75"/>
                  <a:gd name="T99" fmla="*/ 42 h 54"/>
                  <a:gd name="T100" fmla="*/ 75 w 75"/>
                  <a:gd name="T101" fmla="*/ 52 h 54"/>
                  <a:gd name="T102" fmla="*/ 75 w 75"/>
                  <a:gd name="T103" fmla="*/ 52 h 54"/>
                  <a:gd name="T104" fmla="*/ 66 w 75"/>
                  <a:gd name="T105" fmla="*/ 47 h 54"/>
                  <a:gd name="T106" fmla="*/ 65 w 75"/>
                  <a:gd name="T107" fmla="*/ 48 h 54"/>
                  <a:gd name="T108" fmla="*/ 65 w 75"/>
                  <a:gd name="T109" fmla="*/ 48 h 54"/>
                  <a:gd name="T110" fmla="*/ 73 w 75"/>
                  <a:gd name="T111" fmla="*/ 54 h 54"/>
                  <a:gd name="T112" fmla="*/ 75 w 75"/>
                  <a:gd name="T113" fmla="*/ 5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5" h="54">
                    <a:moveTo>
                      <a:pt x="1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0"/>
                    </a:lnTo>
                    <a:close/>
                    <a:moveTo>
                      <a:pt x="16" y="6"/>
                    </a:moveTo>
                    <a:lnTo>
                      <a:pt x="16" y="6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5" y="2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4" y="9"/>
                    </a:lnTo>
                    <a:lnTo>
                      <a:pt x="16" y="6"/>
                    </a:lnTo>
                    <a:close/>
                    <a:moveTo>
                      <a:pt x="27" y="15"/>
                    </a:moveTo>
                    <a:lnTo>
                      <a:pt x="27" y="15"/>
                    </a:lnTo>
                    <a:lnTo>
                      <a:pt x="20" y="9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7" y="16"/>
                    </a:lnTo>
                    <a:lnTo>
                      <a:pt x="27" y="15"/>
                    </a:lnTo>
                    <a:close/>
                    <a:moveTo>
                      <a:pt x="42" y="22"/>
                    </a:moveTo>
                    <a:lnTo>
                      <a:pt x="42" y="22"/>
                    </a:lnTo>
                    <a:lnTo>
                      <a:pt x="31" y="18"/>
                    </a:lnTo>
                    <a:lnTo>
                      <a:pt x="31" y="19"/>
                    </a:lnTo>
                    <a:lnTo>
                      <a:pt x="31" y="19"/>
                    </a:lnTo>
                    <a:lnTo>
                      <a:pt x="40" y="25"/>
                    </a:lnTo>
                    <a:lnTo>
                      <a:pt x="42" y="22"/>
                    </a:lnTo>
                    <a:close/>
                    <a:moveTo>
                      <a:pt x="53" y="32"/>
                    </a:moveTo>
                    <a:lnTo>
                      <a:pt x="53" y="32"/>
                    </a:lnTo>
                    <a:lnTo>
                      <a:pt x="50" y="28"/>
                    </a:lnTo>
                    <a:lnTo>
                      <a:pt x="46" y="25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9" y="29"/>
                    </a:lnTo>
                    <a:lnTo>
                      <a:pt x="52" y="34"/>
                    </a:lnTo>
                    <a:lnTo>
                      <a:pt x="53" y="32"/>
                    </a:lnTo>
                    <a:close/>
                    <a:moveTo>
                      <a:pt x="63" y="42"/>
                    </a:moveTo>
                    <a:lnTo>
                      <a:pt x="63" y="42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6" y="36"/>
                    </a:lnTo>
                    <a:lnTo>
                      <a:pt x="55" y="38"/>
                    </a:lnTo>
                    <a:lnTo>
                      <a:pt x="55" y="38"/>
                    </a:lnTo>
                    <a:lnTo>
                      <a:pt x="58" y="41"/>
                    </a:lnTo>
                    <a:lnTo>
                      <a:pt x="58" y="41"/>
                    </a:lnTo>
                    <a:lnTo>
                      <a:pt x="60" y="45"/>
                    </a:lnTo>
                    <a:lnTo>
                      <a:pt x="63" y="42"/>
                    </a:lnTo>
                    <a:close/>
                    <a:moveTo>
                      <a:pt x="75" y="52"/>
                    </a:moveTo>
                    <a:lnTo>
                      <a:pt x="75" y="52"/>
                    </a:lnTo>
                    <a:lnTo>
                      <a:pt x="66" y="47"/>
                    </a:lnTo>
                    <a:lnTo>
                      <a:pt x="65" y="48"/>
                    </a:lnTo>
                    <a:lnTo>
                      <a:pt x="65" y="48"/>
                    </a:lnTo>
                    <a:lnTo>
                      <a:pt x="73" y="54"/>
                    </a:lnTo>
                    <a:lnTo>
                      <a:pt x="75" y="5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1" name="Freeform 1639"/>
              <p:cNvSpPr>
                <a:spLocks noEditPoints="1"/>
              </p:cNvSpPr>
              <p:nvPr/>
            </p:nvSpPr>
            <p:spPr bwMode="auto">
              <a:xfrm>
                <a:off x="3329489" y="3668325"/>
                <a:ext cx="207745" cy="98926"/>
              </a:xfrm>
              <a:custGeom>
                <a:avLst/>
                <a:gdLst>
                  <a:gd name="T0" fmla="*/ 1 w 210"/>
                  <a:gd name="T1" fmla="*/ 25 h 100"/>
                  <a:gd name="T2" fmla="*/ 21 w 210"/>
                  <a:gd name="T3" fmla="*/ 9 h 100"/>
                  <a:gd name="T4" fmla="*/ 11 w 210"/>
                  <a:gd name="T5" fmla="*/ 13 h 100"/>
                  <a:gd name="T6" fmla="*/ 21 w 210"/>
                  <a:gd name="T7" fmla="*/ 11 h 100"/>
                  <a:gd name="T8" fmla="*/ 26 w 210"/>
                  <a:gd name="T9" fmla="*/ 9 h 100"/>
                  <a:gd name="T10" fmla="*/ 36 w 210"/>
                  <a:gd name="T11" fmla="*/ 11 h 100"/>
                  <a:gd name="T12" fmla="*/ 42 w 210"/>
                  <a:gd name="T13" fmla="*/ 12 h 100"/>
                  <a:gd name="T14" fmla="*/ 50 w 210"/>
                  <a:gd name="T15" fmla="*/ 16 h 100"/>
                  <a:gd name="T16" fmla="*/ 58 w 210"/>
                  <a:gd name="T17" fmla="*/ 3 h 100"/>
                  <a:gd name="T18" fmla="*/ 56 w 210"/>
                  <a:gd name="T19" fmla="*/ 12 h 100"/>
                  <a:gd name="T20" fmla="*/ 60 w 210"/>
                  <a:gd name="T21" fmla="*/ 5 h 100"/>
                  <a:gd name="T22" fmla="*/ 68 w 210"/>
                  <a:gd name="T23" fmla="*/ 0 h 100"/>
                  <a:gd name="T24" fmla="*/ 65 w 210"/>
                  <a:gd name="T25" fmla="*/ 3 h 100"/>
                  <a:gd name="T26" fmla="*/ 75 w 210"/>
                  <a:gd name="T27" fmla="*/ 0 h 100"/>
                  <a:gd name="T28" fmla="*/ 79 w 210"/>
                  <a:gd name="T29" fmla="*/ 5 h 100"/>
                  <a:gd name="T30" fmla="*/ 100 w 210"/>
                  <a:gd name="T31" fmla="*/ 18 h 100"/>
                  <a:gd name="T32" fmla="*/ 94 w 210"/>
                  <a:gd name="T33" fmla="*/ 11 h 100"/>
                  <a:gd name="T34" fmla="*/ 97 w 210"/>
                  <a:gd name="T35" fmla="*/ 18 h 100"/>
                  <a:gd name="T36" fmla="*/ 114 w 210"/>
                  <a:gd name="T37" fmla="*/ 19 h 100"/>
                  <a:gd name="T38" fmla="*/ 107 w 210"/>
                  <a:gd name="T39" fmla="*/ 15 h 100"/>
                  <a:gd name="T40" fmla="*/ 104 w 210"/>
                  <a:gd name="T41" fmla="*/ 18 h 100"/>
                  <a:gd name="T42" fmla="*/ 107 w 210"/>
                  <a:gd name="T43" fmla="*/ 18 h 100"/>
                  <a:gd name="T44" fmla="*/ 111 w 210"/>
                  <a:gd name="T45" fmla="*/ 21 h 100"/>
                  <a:gd name="T46" fmla="*/ 117 w 210"/>
                  <a:gd name="T47" fmla="*/ 24 h 100"/>
                  <a:gd name="T48" fmla="*/ 123 w 210"/>
                  <a:gd name="T49" fmla="*/ 32 h 100"/>
                  <a:gd name="T50" fmla="*/ 130 w 210"/>
                  <a:gd name="T51" fmla="*/ 40 h 100"/>
                  <a:gd name="T52" fmla="*/ 128 w 210"/>
                  <a:gd name="T53" fmla="*/ 41 h 100"/>
                  <a:gd name="T54" fmla="*/ 146 w 210"/>
                  <a:gd name="T55" fmla="*/ 50 h 100"/>
                  <a:gd name="T56" fmla="*/ 136 w 210"/>
                  <a:gd name="T57" fmla="*/ 47 h 100"/>
                  <a:gd name="T58" fmla="*/ 159 w 210"/>
                  <a:gd name="T59" fmla="*/ 58 h 100"/>
                  <a:gd name="T60" fmla="*/ 157 w 210"/>
                  <a:gd name="T61" fmla="*/ 60 h 100"/>
                  <a:gd name="T62" fmla="*/ 160 w 210"/>
                  <a:gd name="T63" fmla="*/ 64 h 100"/>
                  <a:gd name="T64" fmla="*/ 156 w 210"/>
                  <a:gd name="T65" fmla="*/ 74 h 100"/>
                  <a:gd name="T66" fmla="*/ 152 w 210"/>
                  <a:gd name="T67" fmla="*/ 77 h 100"/>
                  <a:gd name="T68" fmla="*/ 157 w 210"/>
                  <a:gd name="T69" fmla="*/ 95 h 100"/>
                  <a:gd name="T70" fmla="*/ 150 w 210"/>
                  <a:gd name="T71" fmla="*/ 92 h 100"/>
                  <a:gd name="T72" fmla="*/ 152 w 210"/>
                  <a:gd name="T73" fmla="*/ 96 h 100"/>
                  <a:gd name="T74" fmla="*/ 173 w 210"/>
                  <a:gd name="T75" fmla="*/ 95 h 100"/>
                  <a:gd name="T76" fmla="*/ 163 w 210"/>
                  <a:gd name="T77" fmla="*/ 95 h 100"/>
                  <a:gd name="T78" fmla="*/ 165 w 210"/>
                  <a:gd name="T79" fmla="*/ 98 h 100"/>
                  <a:gd name="T80" fmla="*/ 188 w 210"/>
                  <a:gd name="T81" fmla="*/ 96 h 100"/>
                  <a:gd name="T82" fmla="*/ 185 w 210"/>
                  <a:gd name="T83" fmla="*/ 93 h 100"/>
                  <a:gd name="T84" fmla="*/ 178 w 210"/>
                  <a:gd name="T85" fmla="*/ 95 h 100"/>
                  <a:gd name="T86" fmla="*/ 182 w 210"/>
                  <a:gd name="T87" fmla="*/ 95 h 100"/>
                  <a:gd name="T88" fmla="*/ 185 w 210"/>
                  <a:gd name="T89" fmla="*/ 98 h 100"/>
                  <a:gd name="T90" fmla="*/ 192 w 210"/>
                  <a:gd name="T91" fmla="*/ 95 h 100"/>
                  <a:gd name="T92" fmla="*/ 191 w 210"/>
                  <a:gd name="T93" fmla="*/ 100 h 100"/>
                  <a:gd name="T94" fmla="*/ 197 w 210"/>
                  <a:gd name="T95" fmla="*/ 90 h 100"/>
                  <a:gd name="T96" fmla="*/ 195 w 210"/>
                  <a:gd name="T97" fmla="*/ 84 h 100"/>
                  <a:gd name="T98" fmla="*/ 199 w 210"/>
                  <a:gd name="T99" fmla="*/ 76 h 100"/>
                  <a:gd name="T100" fmla="*/ 204 w 210"/>
                  <a:gd name="T101" fmla="*/ 73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0" h="100">
                    <a:moveTo>
                      <a:pt x="7" y="16"/>
                    </a:moveTo>
                    <a:lnTo>
                      <a:pt x="7" y="16"/>
                    </a:lnTo>
                    <a:lnTo>
                      <a:pt x="0" y="22"/>
                    </a:lnTo>
                    <a:lnTo>
                      <a:pt x="1" y="25"/>
                    </a:lnTo>
                    <a:lnTo>
                      <a:pt x="1" y="25"/>
                    </a:lnTo>
                    <a:lnTo>
                      <a:pt x="8" y="19"/>
                    </a:lnTo>
                    <a:lnTo>
                      <a:pt x="7" y="16"/>
                    </a:lnTo>
                    <a:close/>
                    <a:moveTo>
                      <a:pt x="21" y="9"/>
                    </a:moveTo>
                    <a:lnTo>
                      <a:pt x="21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1" y="13"/>
                    </a:lnTo>
                    <a:lnTo>
                      <a:pt x="13" y="16"/>
                    </a:lnTo>
                    <a:lnTo>
                      <a:pt x="13" y="16"/>
                    </a:lnTo>
                    <a:lnTo>
                      <a:pt x="20" y="11"/>
                    </a:lnTo>
                    <a:lnTo>
                      <a:pt x="21" y="11"/>
                    </a:lnTo>
                    <a:lnTo>
                      <a:pt x="21" y="9"/>
                    </a:lnTo>
                    <a:close/>
                    <a:moveTo>
                      <a:pt x="36" y="11"/>
                    </a:moveTo>
                    <a:lnTo>
                      <a:pt x="36" y="11"/>
                    </a:lnTo>
                    <a:lnTo>
                      <a:pt x="26" y="9"/>
                    </a:lnTo>
                    <a:lnTo>
                      <a:pt x="26" y="11"/>
                    </a:lnTo>
                    <a:lnTo>
                      <a:pt x="26" y="11"/>
                    </a:lnTo>
                    <a:lnTo>
                      <a:pt x="36" y="13"/>
                    </a:lnTo>
                    <a:lnTo>
                      <a:pt x="36" y="11"/>
                    </a:lnTo>
                    <a:close/>
                    <a:moveTo>
                      <a:pt x="50" y="13"/>
                    </a:moveTo>
                    <a:lnTo>
                      <a:pt x="50" y="13"/>
                    </a:lnTo>
                    <a:lnTo>
                      <a:pt x="50" y="13"/>
                    </a:lnTo>
                    <a:lnTo>
                      <a:pt x="42" y="12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50" y="16"/>
                    </a:lnTo>
                    <a:lnTo>
                      <a:pt x="50" y="16"/>
                    </a:lnTo>
                    <a:lnTo>
                      <a:pt x="50" y="13"/>
                    </a:lnTo>
                    <a:close/>
                    <a:moveTo>
                      <a:pt x="59" y="2"/>
                    </a:moveTo>
                    <a:lnTo>
                      <a:pt x="59" y="2"/>
                    </a:lnTo>
                    <a:lnTo>
                      <a:pt x="58" y="3"/>
                    </a:lnTo>
                    <a:lnTo>
                      <a:pt x="58" y="3"/>
                    </a:lnTo>
                    <a:lnTo>
                      <a:pt x="55" y="8"/>
                    </a:lnTo>
                    <a:lnTo>
                      <a:pt x="53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8" y="9"/>
                    </a:lnTo>
                    <a:lnTo>
                      <a:pt x="59" y="5"/>
                    </a:lnTo>
                    <a:lnTo>
                      <a:pt x="60" y="5"/>
                    </a:lnTo>
                    <a:lnTo>
                      <a:pt x="59" y="2"/>
                    </a:lnTo>
                    <a:close/>
                    <a:moveTo>
                      <a:pt x="75" y="0"/>
                    </a:moveTo>
                    <a:lnTo>
                      <a:pt x="75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5" y="0"/>
                    </a:lnTo>
                    <a:lnTo>
                      <a:pt x="65" y="3"/>
                    </a:lnTo>
                    <a:lnTo>
                      <a:pt x="65" y="3"/>
                    </a:lnTo>
                    <a:lnTo>
                      <a:pt x="68" y="3"/>
                    </a:lnTo>
                    <a:lnTo>
                      <a:pt x="68" y="3"/>
                    </a:lnTo>
                    <a:lnTo>
                      <a:pt x="75" y="3"/>
                    </a:lnTo>
                    <a:lnTo>
                      <a:pt x="75" y="0"/>
                    </a:lnTo>
                    <a:close/>
                    <a:moveTo>
                      <a:pt x="89" y="6"/>
                    </a:moveTo>
                    <a:lnTo>
                      <a:pt x="89" y="6"/>
                    </a:lnTo>
                    <a:lnTo>
                      <a:pt x="79" y="2"/>
                    </a:lnTo>
                    <a:lnTo>
                      <a:pt x="79" y="5"/>
                    </a:lnTo>
                    <a:lnTo>
                      <a:pt x="79" y="5"/>
                    </a:lnTo>
                    <a:lnTo>
                      <a:pt x="88" y="9"/>
                    </a:lnTo>
                    <a:lnTo>
                      <a:pt x="89" y="6"/>
                    </a:lnTo>
                    <a:close/>
                    <a:moveTo>
                      <a:pt x="100" y="18"/>
                    </a:moveTo>
                    <a:lnTo>
                      <a:pt x="100" y="18"/>
                    </a:lnTo>
                    <a:lnTo>
                      <a:pt x="98" y="15"/>
                    </a:lnTo>
                    <a:lnTo>
                      <a:pt x="98" y="15"/>
                    </a:lnTo>
                    <a:lnTo>
                      <a:pt x="94" y="11"/>
                    </a:lnTo>
                    <a:lnTo>
                      <a:pt x="92" y="12"/>
                    </a:lnTo>
                    <a:lnTo>
                      <a:pt x="92" y="12"/>
                    </a:lnTo>
                    <a:lnTo>
                      <a:pt x="97" y="18"/>
                    </a:lnTo>
                    <a:lnTo>
                      <a:pt x="97" y="18"/>
                    </a:lnTo>
                    <a:lnTo>
                      <a:pt x="98" y="19"/>
                    </a:lnTo>
                    <a:lnTo>
                      <a:pt x="100" y="18"/>
                    </a:lnTo>
                    <a:close/>
                    <a:moveTo>
                      <a:pt x="114" y="19"/>
                    </a:moveTo>
                    <a:lnTo>
                      <a:pt x="114" y="19"/>
                    </a:lnTo>
                    <a:lnTo>
                      <a:pt x="111" y="16"/>
                    </a:lnTo>
                    <a:lnTo>
                      <a:pt x="111" y="16"/>
                    </a:lnTo>
                    <a:lnTo>
                      <a:pt x="107" y="15"/>
                    </a:lnTo>
                    <a:lnTo>
                      <a:pt x="107" y="15"/>
                    </a:lnTo>
                    <a:lnTo>
                      <a:pt x="107" y="15"/>
                    </a:lnTo>
                    <a:lnTo>
                      <a:pt x="104" y="16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7" y="18"/>
                    </a:lnTo>
                    <a:lnTo>
                      <a:pt x="107" y="18"/>
                    </a:lnTo>
                    <a:lnTo>
                      <a:pt x="107" y="18"/>
                    </a:lnTo>
                    <a:lnTo>
                      <a:pt x="107" y="18"/>
                    </a:lnTo>
                    <a:lnTo>
                      <a:pt x="107" y="18"/>
                    </a:lnTo>
                    <a:lnTo>
                      <a:pt x="110" y="18"/>
                    </a:lnTo>
                    <a:lnTo>
                      <a:pt x="110" y="18"/>
                    </a:lnTo>
                    <a:lnTo>
                      <a:pt x="111" y="21"/>
                    </a:lnTo>
                    <a:lnTo>
                      <a:pt x="114" y="19"/>
                    </a:lnTo>
                    <a:close/>
                    <a:moveTo>
                      <a:pt x="123" y="32"/>
                    </a:moveTo>
                    <a:lnTo>
                      <a:pt x="123" y="32"/>
                    </a:lnTo>
                    <a:lnTo>
                      <a:pt x="117" y="24"/>
                    </a:lnTo>
                    <a:lnTo>
                      <a:pt x="114" y="25"/>
                    </a:lnTo>
                    <a:lnTo>
                      <a:pt x="114" y="25"/>
                    </a:lnTo>
                    <a:lnTo>
                      <a:pt x="121" y="34"/>
                    </a:lnTo>
                    <a:lnTo>
                      <a:pt x="123" y="32"/>
                    </a:lnTo>
                    <a:close/>
                    <a:moveTo>
                      <a:pt x="133" y="42"/>
                    </a:moveTo>
                    <a:lnTo>
                      <a:pt x="133" y="42"/>
                    </a:lnTo>
                    <a:lnTo>
                      <a:pt x="130" y="40"/>
                    </a:lnTo>
                    <a:lnTo>
                      <a:pt x="130" y="40"/>
                    </a:lnTo>
                    <a:lnTo>
                      <a:pt x="126" y="35"/>
                    </a:lnTo>
                    <a:lnTo>
                      <a:pt x="124" y="37"/>
                    </a:lnTo>
                    <a:lnTo>
                      <a:pt x="124" y="37"/>
                    </a:lnTo>
                    <a:lnTo>
                      <a:pt x="128" y="41"/>
                    </a:lnTo>
                    <a:lnTo>
                      <a:pt x="128" y="41"/>
                    </a:lnTo>
                    <a:lnTo>
                      <a:pt x="131" y="44"/>
                    </a:lnTo>
                    <a:lnTo>
                      <a:pt x="133" y="42"/>
                    </a:lnTo>
                    <a:close/>
                    <a:moveTo>
                      <a:pt x="146" y="50"/>
                    </a:moveTo>
                    <a:lnTo>
                      <a:pt x="146" y="50"/>
                    </a:lnTo>
                    <a:lnTo>
                      <a:pt x="137" y="45"/>
                    </a:lnTo>
                    <a:lnTo>
                      <a:pt x="136" y="47"/>
                    </a:lnTo>
                    <a:lnTo>
                      <a:pt x="136" y="47"/>
                    </a:lnTo>
                    <a:lnTo>
                      <a:pt x="144" y="53"/>
                    </a:lnTo>
                    <a:lnTo>
                      <a:pt x="146" y="50"/>
                    </a:lnTo>
                    <a:close/>
                    <a:moveTo>
                      <a:pt x="159" y="58"/>
                    </a:moveTo>
                    <a:lnTo>
                      <a:pt x="159" y="58"/>
                    </a:lnTo>
                    <a:lnTo>
                      <a:pt x="150" y="53"/>
                    </a:lnTo>
                    <a:lnTo>
                      <a:pt x="149" y="54"/>
                    </a:lnTo>
                    <a:lnTo>
                      <a:pt x="149" y="54"/>
                    </a:lnTo>
                    <a:lnTo>
                      <a:pt x="157" y="60"/>
                    </a:lnTo>
                    <a:lnTo>
                      <a:pt x="159" y="58"/>
                    </a:lnTo>
                    <a:close/>
                    <a:moveTo>
                      <a:pt x="156" y="74"/>
                    </a:moveTo>
                    <a:lnTo>
                      <a:pt x="156" y="74"/>
                    </a:lnTo>
                    <a:lnTo>
                      <a:pt x="160" y="64"/>
                    </a:lnTo>
                    <a:lnTo>
                      <a:pt x="157" y="64"/>
                    </a:lnTo>
                    <a:lnTo>
                      <a:pt x="157" y="64"/>
                    </a:lnTo>
                    <a:lnTo>
                      <a:pt x="155" y="73"/>
                    </a:lnTo>
                    <a:lnTo>
                      <a:pt x="156" y="74"/>
                    </a:lnTo>
                    <a:close/>
                    <a:moveTo>
                      <a:pt x="150" y="87"/>
                    </a:moveTo>
                    <a:lnTo>
                      <a:pt x="150" y="87"/>
                    </a:lnTo>
                    <a:lnTo>
                      <a:pt x="155" y="79"/>
                    </a:lnTo>
                    <a:lnTo>
                      <a:pt x="152" y="77"/>
                    </a:lnTo>
                    <a:lnTo>
                      <a:pt x="152" y="77"/>
                    </a:lnTo>
                    <a:lnTo>
                      <a:pt x="147" y="87"/>
                    </a:lnTo>
                    <a:lnTo>
                      <a:pt x="150" y="87"/>
                    </a:lnTo>
                    <a:close/>
                    <a:moveTo>
                      <a:pt x="157" y="95"/>
                    </a:moveTo>
                    <a:lnTo>
                      <a:pt x="157" y="95"/>
                    </a:lnTo>
                    <a:lnTo>
                      <a:pt x="153" y="93"/>
                    </a:lnTo>
                    <a:lnTo>
                      <a:pt x="153" y="93"/>
                    </a:lnTo>
                    <a:lnTo>
                      <a:pt x="150" y="92"/>
                    </a:lnTo>
                    <a:lnTo>
                      <a:pt x="147" y="93"/>
                    </a:lnTo>
                    <a:lnTo>
                      <a:pt x="147" y="93"/>
                    </a:lnTo>
                    <a:lnTo>
                      <a:pt x="149" y="95"/>
                    </a:lnTo>
                    <a:lnTo>
                      <a:pt x="152" y="96"/>
                    </a:lnTo>
                    <a:lnTo>
                      <a:pt x="152" y="96"/>
                    </a:lnTo>
                    <a:lnTo>
                      <a:pt x="157" y="98"/>
                    </a:lnTo>
                    <a:lnTo>
                      <a:pt x="157" y="95"/>
                    </a:lnTo>
                    <a:close/>
                    <a:moveTo>
                      <a:pt x="173" y="95"/>
                    </a:moveTo>
                    <a:lnTo>
                      <a:pt x="173" y="95"/>
                    </a:lnTo>
                    <a:lnTo>
                      <a:pt x="165" y="95"/>
                    </a:lnTo>
                    <a:lnTo>
                      <a:pt x="165" y="95"/>
                    </a:lnTo>
                    <a:lnTo>
                      <a:pt x="163" y="95"/>
                    </a:lnTo>
                    <a:lnTo>
                      <a:pt x="163" y="98"/>
                    </a:lnTo>
                    <a:lnTo>
                      <a:pt x="163" y="98"/>
                    </a:lnTo>
                    <a:lnTo>
                      <a:pt x="165" y="98"/>
                    </a:lnTo>
                    <a:lnTo>
                      <a:pt x="165" y="98"/>
                    </a:lnTo>
                    <a:lnTo>
                      <a:pt x="173" y="98"/>
                    </a:lnTo>
                    <a:lnTo>
                      <a:pt x="173" y="95"/>
                    </a:lnTo>
                    <a:lnTo>
                      <a:pt x="173" y="95"/>
                    </a:lnTo>
                    <a:close/>
                    <a:moveTo>
                      <a:pt x="188" y="96"/>
                    </a:moveTo>
                    <a:lnTo>
                      <a:pt x="188" y="96"/>
                    </a:lnTo>
                    <a:lnTo>
                      <a:pt x="188" y="96"/>
                    </a:lnTo>
                    <a:lnTo>
                      <a:pt x="185" y="93"/>
                    </a:lnTo>
                    <a:lnTo>
                      <a:pt x="185" y="93"/>
                    </a:lnTo>
                    <a:lnTo>
                      <a:pt x="182" y="92"/>
                    </a:lnTo>
                    <a:lnTo>
                      <a:pt x="182" y="92"/>
                    </a:lnTo>
                    <a:lnTo>
                      <a:pt x="179" y="93"/>
                    </a:lnTo>
                    <a:lnTo>
                      <a:pt x="178" y="95"/>
                    </a:lnTo>
                    <a:lnTo>
                      <a:pt x="178" y="96"/>
                    </a:lnTo>
                    <a:lnTo>
                      <a:pt x="178" y="96"/>
                    </a:lnTo>
                    <a:lnTo>
                      <a:pt x="182" y="95"/>
                    </a:lnTo>
                    <a:lnTo>
                      <a:pt x="182" y="95"/>
                    </a:lnTo>
                    <a:lnTo>
                      <a:pt x="184" y="96"/>
                    </a:lnTo>
                    <a:lnTo>
                      <a:pt x="184" y="96"/>
                    </a:lnTo>
                    <a:lnTo>
                      <a:pt x="185" y="98"/>
                    </a:lnTo>
                    <a:lnTo>
                      <a:pt x="185" y="98"/>
                    </a:lnTo>
                    <a:lnTo>
                      <a:pt x="188" y="96"/>
                    </a:lnTo>
                    <a:close/>
                    <a:moveTo>
                      <a:pt x="194" y="90"/>
                    </a:moveTo>
                    <a:lnTo>
                      <a:pt x="194" y="90"/>
                    </a:lnTo>
                    <a:lnTo>
                      <a:pt x="192" y="95"/>
                    </a:lnTo>
                    <a:lnTo>
                      <a:pt x="192" y="95"/>
                    </a:lnTo>
                    <a:lnTo>
                      <a:pt x="189" y="98"/>
                    </a:lnTo>
                    <a:lnTo>
                      <a:pt x="191" y="100"/>
                    </a:lnTo>
                    <a:lnTo>
                      <a:pt x="191" y="100"/>
                    </a:lnTo>
                    <a:lnTo>
                      <a:pt x="194" y="99"/>
                    </a:lnTo>
                    <a:lnTo>
                      <a:pt x="195" y="96"/>
                    </a:lnTo>
                    <a:lnTo>
                      <a:pt x="195" y="96"/>
                    </a:lnTo>
                    <a:lnTo>
                      <a:pt x="197" y="90"/>
                    </a:lnTo>
                    <a:lnTo>
                      <a:pt x="194" y="90"/>
                    </a:lnTo>
                    <a:close/>
                    <a:moveTo>
                      <a:pt x="199" y="76"/>
                    </a:moveTo>
                    <a:lnTo>
                      <a:pt x="199" y="76"/>
                    </a:lnTo>
                    <a:lnTo>
                      <a:pt x="195" y="84"/>
                    </a:lnTo>
                    <a:lnTo>
                      <a:pt x="198" y="86"/>
                    </a:lnTo>
                    <a:lnTo>
                      <a:pt x="198" y="86"/>
                    </a:lnTo>
                    <a:lnTo>
                      <a:pt x="202" y="77"/>
                    </a:lnTo>
                    <a:lnTo>
                      <a:pt x="199" y="76"/>
                    </a:lnTo>
                    <a:close/>
                    <a:moveTo>
                      <a:pt x="207" y="63"/>
                    </a:moveTo>
                    <a:lnTo>
                      <a:pt x="207" y="63"/>
                    </a:lnTo>
                    <a:lnTo>
                      <a:pt x="202" y="71"/>
                    </a:lnTo>
                    <a:lnTo>
                      <a:pt x="204" y="73"/>
                    </a:lnTo>
                    <a:lnTo>
                      <a:pt x="204" y="73"/>
                    </a:lnTo>
                    <a:lnTo>
                      <a:pt x="210" y="63"/>
                    </a:lnTo>
                    <a:lnTo>
                      <a:pt x="207" y="6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2" name="Freeform 1640"/>
              <p:cNvSpPr>
                <a:spLocks noEditPoints="1"/>
              </p:cNvSpPr>
              <p:nvPr/>
            </p:nvSpPr>
            <p:spPr bwMode="auto">
              <a:xfrm>
                <a:off x="3413576" y="3616883"/>
                <a:ext cx="70237" cy="57377"/>
              </a:xfrm>
              <a:custGeom>
                <a:avLst/>
                <a:gdLst>
                  <a:gd name="T0" fmla="*/ 68 w 71"/>
                  <a:gd name="T1" fmla="*/ 9 h 58"/>
                  <a:gd name="T2" fmla="*/ 71 w 71"/>
                  <a:gd name="T3" fmla="*/ 9 h 58"/>
                  <a:gd name="T4" fmla="*/ 70 w 71"/>
                  <a:gd name="T5" fmla="*/ 8 h 58"/>
                  <a:gd name="T6" fmla="*/ 55 w 71"/>
                  <a:gd name="T7" fmla="*/ 2 h 58"/>
                  <a:gd name="T8" fmla="*/ 57 w 71"/>
                  <a:gd name="T9" fmla="*/ 2 h 58"/>
                  <a:gd name="T10" fmla="*/ 59 w 71"/>
                  <a:gd name="T11" fmla="*/ 3 h 58"/>
                  <a:gd name="T12" fmla="*/ 64 w 71"/>
                  <a:gd name="T13" fmla="*/ 6 h 58"/>
                  <a:gd name="T14" fmla="*/ 65 w 71"/>
                  <a:gd name="T15" fmla="*/ 5 h 58"/>
                  <a:gd name="T16" fmla="*/ 61 w 71"/>
                  <a:gd name="T17" fmla="*/ 2 h 58"/>
                  <a:gd name="T18" fmla="*/ 58 w 71"/>
                  <a:gd name="T19" fmla="*/ 0 h 58"/>
                  <a:gd name="T20" fmla="*/ 55 w 71"/>
                  <a:gd name="T21" fmla="*/ 2 h 58"/>
                  <a:gd name="T22" fmla="*/ 41 w 71"/>
                  <a:gd name="T23" fmla="*/ 6 h 58"/>
                  <a:gd name="T24" fmla="*/ 51 w 71"/>
                  <a:gd name="T25" fmla="*/ 0 h 58"/>
                  <a:gd name="T26" fmla="*/ 41 w 71"/>
                  <a:gd name="T27" fmla="*/ 3 h 58"/>
                  <a:gd name="T28" fmla="*/ 26 w 71"/>
                  <a:gd name="T29" fmla="*/ 9 h 58"/>
                  <a:gd name="T30" fmla="*/ 30 w 71"/>
                  <a:gd name="T31" fmla="*/ 9 h 58"/>
                  <a:gd name="T32" fmla="*/ 35 w 71"/>
                  <a:gd name="T33" fmla="*/ 8 h 58"/>
                  <a:gd name="T34" fmla="*/ 35 w 71"/>
                  <a:gd name="T35" fmla="*/ 5 h 58"/>
                  <a:gd name="T36" fmla="*/ 35 w 71"/>
                  <a:gd name="T37" fmla="*/ 6 h 58"/>
                  <a:gd name="T38" fmla="*/ 30 w 71"/>
                  <a:gd name="T39" fmla="*/ 6 h 58"/>
                  <a:gd name="T40" fmla="*/ 26 w 71"/>
                  <a:gd name="T41" fmla="*/ 9 h 58"/>
                  <a:gd name="T42" fmla="*/ 12 w 71"/>
                  <a:gd name="T43" fmla="*/ 5 h 58"/>
                  <a:gd name="T44" fmla="*/ 20 w 71"/>
                  <a:gd name="T45" fmla="*/ 8 h 58"/>
                  <a:gd name="T46" fmla="*/ 22 w 71"/>
                  <a:gd name="T47" fmla="*/ 5 h 58"/>
                  <a:gd name="T48" fmla="*/ 12 w 71"/>
                  <a:gd name="T49" fmla="*/ 2 h 58"/>
                  <a:gd name="T50" fmla="*/ 3 w 71"/>
                  <a:gd name="T51" fmla="*/ 13 h 58"/>
                  <a:gd name="T52" fmla="*/ 4 w 71"/>
                  <a:gd name="T53" fmla="*/ 8 h 58"/>
                  <a:gd name="T54" fmla="*/ 6 w 71"/>
                  <a:gd name="T55" fmla="*/ 3 h 58"/>
                  <a:gd name="T56" fmla="*/ 3 w 71"/>
                  <a:gd name="T57" fmla="*/ 8 h 58"/>
                  <a:gd name="T58" fmla="*/ 3 w 71"/>
                  <a:gd name="T59" fmla="*/ 13 h 58"/>
                  <a:gd name="T60" fmla="*/ 3 w 71"/>
                  <a:gd name="T61" fmla="*/ 28 h 58"/>
                  <a:gd name="T62" fmla="*/ 3 w 71"/>
                  <a:gd name="T63" fmla="*/ 22 h 58"/>
                  <a:gd name="T64" fmla="*/ 0 w 71"/>
                  <a:gd name="T65" fmla="*/ 18 h 58"/>
                  <a:gd name="T66" fmla="*/ 0 w 71"/>
                  <a:gd name="T67" fmla="*/ 22 h 58"/>
                  <a:gd name="T68" fmla="*/ 0 w 71"/>
                  <a:gd name="T69" fmla="*/ 28 h 58"/>
                  <a:gd name="T70" fmla="*/ 3 w 71"/>
                  <a:gd name="T71" fmla="*/ 44 h 58"/>
                  <a:gd name="T72" fmla="*/ 3 w 71"/>
                  <a:gd name="T73" fmla="*/ 34 h 58"/>
                  <a:gd name="T74" fmla="*/ 0 w 71"/>
                  <a:gd name="T75" fmla="*/ 34 h 58"/>
                  <a:gd name="T76" fmla="*/ 3 w 71"/>
                  <a:gd name="T77" fmla="*/ 44 h 58"/>
                  <a:gd name="T78" fmla="*/ 3 w 71"/>
                  <a:gd name="T79" fmla="*/ 58 h 58"/>
                  <a:gd name="T80" fmla="*/ 0 w 71"/>
                  <a:gd name="T81" fmla="*/ 48 h 58"/>
                  <a:gd name="T82" fmla="*/ 0 w 71"/>
                  <a:gd name="T8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1" h="58">
                    <a:moveTo>
                      <a:pt x="68" y="9"/>
                    </a:moveTo>
                    <a:lnTo>
                      <a:pt x="68" y="9"/>
                    </a:lnTo>
                    <a:lnTo>
                      <a:pt x="70" y="10"/>
                    </a:lnTo>
                    <a:lnTo>
                      <a:pt x="71" y="9"/>
                    </a:lnTo>
                    <a:lnTo>
                      <a:pt x="71" y="9"/>
                    </a:lnTo>
                    <a:lnTo>
                      <a:pt x="70" y="8"/>
                    </a:lnTo>
                    <a:lnTo>
                      <a:pt x="68" y="9"/>
                    </a:lnTo>
                    <a:close/>
                    <a:moveTo>
                      <a:pt x="55" y="2"/>
                    </a:moveTo>
                    <a:lnTo>
                      <a:pt x="55" y="2"/>
                    </a:lnTo>
                    <a:lnTo>
                      <a:pt x="57" y="2"/>
                    </a:lnTo>
                    <a:lnTo>
                      <a:pt x="57" y="2"/>
                    </a:lnTo>
                    <a:lnTo>
                      <a:pt x="59" y="3"/>
                    </a:lnTo>
                    <a:lnTo>
                      <a:pt x="59" y="3"/>
                    </a:lnTo>
                    <a:lnTo>
                      <a:pt x="64" y="6"/>
                    </a:lnTo>
                    <a:lnTo>
                      <a:pt x="65" y="5"/>
                    </a:lnTo>
                    <a:lnTo>
                      <a:pt x="65" y="5"/>
                    </a:lnTo>
                    <a:lnTo>
                      <a:pt x="61" y="2"/>
                    </a:lnTo>
                    <a:lnTo>
                      <a:pt x="61" y="2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5" y="0"/>
                    </a:lnTo>
                    <a:lnTo>
                      <a:pt x="55" y="2"/>
                    </a:lnTo>
                    <a:close/>
                    <a:moveTo>
                      <a:pt x="41" y="6"/>
                    </a:moveTo>
                    <a:lnTo>
                      <a:pt x="41" y="6"/>
                    </a:lnTo>
                    <a:lnTo>
                      <a:pt x="51" y="3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41" y="3"/>
                    </a:lnTo>
                    <a:lnTo>
                      <a:pt x="41" y="6"/>
                    </a:lnTo>
                    <a:close/>
                    <a:moveTo>
                      <a:pt x="26" y="9"/>
                    </a:moveTo>
                    <a:lnTo>
                      <a:pt x="26" y="9"/>
                    </a:lnTo>
                    <a:lnTo>
                      <a:pt x="30" y="9"/>
                    </a:lnTo>
                    <a:lnTo>
                      <a:pt x="30" y="9"/>
                    </a:lnTo>
                    <a:lnTo>
                      <a:pt x="35" y="8"/>
                    </a:lnTo>
                    <a:lnTo>
                      <a:pt x="36" y="8"/>
                    </a:lnTo>
                    <a:lnTo>
                      <a:pt x="35" y="5"/>
                    </a:lnTo>
                    <a:lnTo>
                      <a:pt x="35" y="6"/>
                    </a:lnTo>
                    <a:lnTo>
                      <a:pt x="35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6" y="6"/>
                    </a:lnTo>
                    <a:lnTo>
                      <a:pt x="26" y="9"/>
                    </a:lnTo>
                    <a:close/>
                    <a:moveTo>
                      <a:pt x="12" y="5"/>
                    </a:moveTo>
                    <a:lnTo>
                      <a:pt x="12" y="5"/>
                    </a:lnTo>
                    <a:lnTo>
                      <a:pt x="12" y="5"/>
                    </a:lnTo>
                    <a:lnTo>
                      <a:pt x="20" y="8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5"/>
                    </a:lnTo>
                    <a:close/>
                    <a:moveTo>
                      <a:pt x="3" y="13"/>
                    </a:moveTo>
                    <a:lnTo>
                      <a:pt x="3" y="13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3" y="8"/>
                    </a:lnTo>
                    <a:lnTo>
                      <a:pt x="1" y="13"/>
                    </a:lnTo>
                    <a:lnTo>
                      <a:pt x="3" y="13"/>
                    </a:lnTo>
                    <a:close/>
                    <a:moveTo>
                      <a:pt x="3" y="28"/>
                    </a:moveTo>
                    <a:lnTo>
                      <a:pt x="3" y="28"/>
                    </a:lnTo>
                    <a:lnTo>
                      <a:pt x="3" y="22"/>
                    </a:lnTo>
                    <a:lnTo>
                      <a:pt x="3" y="22"/>
                    </a:lnTo>
                    <a:lnTo>
                      <a:pt x="3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3" y="28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3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44"/>
                    </a:lnTo>
                    <a:lnTo>
                      <a:pt x="3" y="44"/>
                    </a:lnTo>
                    <a:close/>
                    <a:moveTo>
                      <a:pt x="3" y="58"/>
                    </a:moveTo>
                    <a:lnTo>
                      <a:pt x="3" y="58"/>
                    </a:lnTo>
                    <a:lnTo>
                      <a:pt x="3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3" y="5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3" name="Freeform 1641"/>
              <p:cNvSpPr>
                <a:spLocks noEditPoints="1"/>
              </p:cNvSpPr>
              <p:nvPr/>
            </p:nvSpPr>
            <p:spPr bwMode="auto">
              <a:xfrm>
                <a:off x="3284973" y="3241954"/>
                <a:ext cx="303703" cy="150367"/>
              </a:xfrm>
              <a:custGeom>
                <a:avLst/>
                <a:gdLst>
                  <a:gd name="T0" fmla="*/ 299 w 307"/>
                  <a:gd name="T1" fmla="*/ 26 h 152"/>
                  <a:gd name="T2" fmla="*/ 297 w 307"/>
                  <a:gd name="T3" fmla="*/ 30 h 152"/>
                  <a:gd name="T4" fmla="*/ 281 w 307"/>
                  <a:gd name="T5" fmla="*/ 49 h 152"/>
                  <a:gd name="T6" fmla="*/ 265 w 307"/>
                  <a:gd name="T7" fmla="*/ 53 h 152"/>
                  <a:gd name="T8" fmla="*/ 275 w 307"/>
                  <a:gd name="T9" fmla="*/ 49 h 152"/>
                  <a:gd name="T10" fmla="*/ 265 w 307"/>
                  <a:gd name="T11" fmla="*/ 53 h 152"/>
                  <a:gd name="T12" fmla="*/ 250 w 307"/>
                  <a:gd name="T13" fmla="*/ 48 h 152"/>
                  <a:gd name="T14" fmla="*/ 237 w 307"/>
                  <a:gd name="T15" fmla="*/ 49 h 152"/>
                  <a:gd name="T16" fmla="*/ 242 w 307"/>
                  <a:gd name="T17" fmla="*/ 46 h 152"/>
                  <a:gd name="T18" fmla="*/ 221 w 307"/>
                  <a:gd name="T19" fmla="*/ 55 h 152"/>
                  <a:gd name="T20" fmla="*/ 221 w 307"/>
                  <a:gd name="T21" fmla="*/ 55 h 152"/>
                  <a:gd name="T22" fmla="*/ 207 w 307"/>
                  <a:gd name="T23" fmla="*/ 56 h 152"/>
                  <a:gd name="T24" fmla="*/ 201 w 307"/>
                  <a:gd name="T25" fmla="*/ 58 h 152"/>
                  <a:gd name="T26" fmla="*/ 179 w 307"/>
                  <a:gd name="T27" fmla="*/ 64 h 152"/>
                  <a:gd name="T28" fmla="*/ 189 w 307"/>
                  <a:gd name="T29" fmla="*/ 66 h 152"/>
                  <a:gd name="T30" fmla="*/ 179 w 307"/>
                  <a:gd name="T31" fmla="*/ 64 h 152"/>
                  <a:gd name="T32" fmla="*/ 175 w 307"/>
                  <a:gd name="T33" fmla="*/ 49 h 152"/>
                  <a:gd name="T34" fmla="*/ 172 w 307"/>
                  <a:gd name="T35" fmla="*/ 45 h 152"/>
                  <a:gd name="T36" fmla="*/ 172 w 307"/>
                  <a:gd name="T37" fmla="*/ 35 h 152"/>
                  <a:gd name="T38" fmla="*/ 175 w 307"/>
                  <a:gd name="T39" fmla="*/ 30 h 152"/>
                  <a:gd name="T40" fmla="*/ 168 w 307"/>
                  <a:gd name="T41" fmla="*/ 6 h 152"/>
                  <a:gd name="T42" fmla="*/ 169 w 307"/>
                  <a:gd name="T43" fmla="*/ 4 h 152"/>
                  <a:gd name="T44" fmla="*/ 162 w 307"/>
                  <a:gd name="T45" fmla="*/ 3 h 152"/>
                  <a:gd name="T46" fmla="*/ 163 w 307"/>
                  <a:gd name="T47" fmla="*/ 0 h 152"/>
                  <a:gd name="T48" fmla="*/ 156 w 307"/>
                  <a:gd name="T49" fmla="*/ 6 h 152"/>
                  <a:gd name="T50" fmla="*/ 156 w 307"/>
                  <a:gd name="T51" fmla="*/ 11 h 152"/>
                  <a:gd name="T52" fmla="*/ 149 w 307"/>
                  <a:gd name="T53" fmla="*/ 19 h 152"/>
                  <a:gd name="T54" fmla="*/ 133 w 307"/>
                  <a:gd name="T55" fmla="*/ 20 h 152"/>
                  <a:gd name="T56" fmla="*/ 127 w 307"/>
                  <a:gd name="T57" fmla="*/ 20 h 152"/>
                  <a:gd name="T58" fmla="*/ 107 w 307"/>
                  <a:gd name="T59" fmla="*/ 23 h 152"/>
                  <a:gd name="T60" fmla="*/ 104 w 307"/>
                  <a:gd name="T61" fmla="*/ 20 h 152"/>
                  <a:gd name="T62" fmla="*/ 95 w 307"/>
                  <a:gd name="T63" fmla="*/ 17 h 152"/>
                  <a:gd name="T64" fmla="*/ 95 w 307"/>
                  <a:gd name="T65" fmla="*/ 14 h 152"/>
                  <a:gd name="T66" fmla="*/ 95 w 307"/>
                  <a:gd name="T67" fmla="*/ 32 h 152"/>
                  <a:gd name="T68" fmla="*/ 95 w 307"/>
                  <a:gd name="T69" fmla="*/ 32 h 152"/>
                  <a:gd name="T70" fmla="*/ 101 w 307"/>
                  <a:gd name="T71" fmla="*/ 46 h 152"/>
                  <a:gd name="T72" fmla="*/ 105 w 307"/>
                  <a:gd name="T73" fmla="*/ 51 h 152"/>
                  <a:gd name="T74" fmla="*/ 100 w 307"/>
                  <a:gd name="T75" fmla="*/ 59 h 152"/>
                  <a:gd name="T76" fmla="*/ 95 w 307"/>
                  <a:gd name="T77" fmla="*/ 61 h 152"/>
                  <a:gd name="T78" fmla="*/ 72 w 307"/>
                  <a:gd name="T79" fmla="*/ 72 h 152"/>
                  <a:gd name="T80" fmla="*/ 74 w 307"/>
                  <a:gd name="T81" fmla="*/ 69 h 152"/>
                  <a:gd name="T82" fmla="*/ 68 w 307"/>
                  <a:gd name="T83" fmla="*/ 68 h 152"/>
                  <a:gd name="T84" fmla="*/ 52 w 307"/>
                  <a:gd name="T85" fmla="*/ 55 h 152"/>
                  <a:gd name="T86" fmla="*/ 55 w 307"/>
                  <a:gd name="T87" fmla="*/ 59 h 152"/>
                  <a:gd name="T88" fmla="*/ 55 w 307"/>
                  <a:gd name="T89" fmla="*/ 53 h 152"/>
                  <a:gd name="T90" fmla="*/ 40 w 307"/>
                  <a:gd name="T91" fmla="*/ 59 h 152"/>
                  <a:gd name="T92" fmla="*/ 45 w 307"/>
                  <a:gd name="T93" fmla="*/ 56 h 152"/>
                  <a:gd name="T94" fmla="*/ 39 w 307"/>
                  <a:gd name="T95" fmla="*/ 53 h 152"/>
                  <a:gd name="T96" fmla="*/ 32 w 307"/>
                  <a:gd name="T97" fmla="*/ 68 h 152"/>
                  <a:gd name="T98" fmla="*/ 40 w 307"/>
                  <a:gd name="T99" fmla="*/ 66 h 152"/>
                  <a:gd name="T100" fmla="*/ 33 w 307"/>
                  <a:gd name="T101" fmla="*/ 66 h 152"/>
                  <a:gd name="T102" fmla="*/ 23 w 307"/>
                  <a:gd name="T103" fmla="*/ 68 h 152"/>
                  <a:gd name="T104" fmla="*/ 23 w 307"/>
                  <a:gd name="T105" fmla="*/ 65 h 152"/>
                  <a:gd name="T106" fmla="*/ 11 w 307"/>
                  <a:gd name="T107" fmla="*/ 81 h 152"/>
                  <a:gd name="T108" fmla="*/ 13 w 307"/>
                  <a:gd name="T109" fmla="*/ 72 h 152"/>
                  <a:gd name="T110" fmla="*/ 8 w 307"/>
                  <a:gd name="T111" fmla="*/ 82 h 152"/>
                  <a:gd name="T112" fmla="*/ 11 w 307"/>
                  <a:gd name="T113" fmla="*/ 87 h 152"/>
                  <a:gd name="T114" fmla="*/ 20 w 307"/>
                  <a:gd name="T115" fmla="*/ 108 h 152"/>
                  <a:gd name="T116" fmla="*/ 17 w 307"/>
                  <a:gd name="T117" fmla="*/ 108 h 152"/>
                  <a:gd name="T118" fmla="*/ 16 w 307"/>
                  <a:gd name="T119" fmla="*/ 113 h 152"/>
                  <a:gd name="T120" fmla="*/ 10 w 307"/>
                  <a:gd name="T121" fmla="*/ 127 h 152"/>
                  <a:gd name="T122" fmla="*/ 5 w 307"/>
                  <a:gd name="T123" fmla="*/ 14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07" h="152">
                    <a:moveTo>
                      <a:pt x="302" y="27"/>
                    </a:moveTo>
                    <a:lnTo>
                      <a:pt x="302" y="27"/>
                    </a:lnTo>
                    <a:lnTo>
                      <a:pt x="307" y="19"/>
                    </a:lnTo>
                    <a:lnTo>
                      <a:pt x="304" y="17"/>
                    </a:lnTo>
                    <a:lnTo>
                      <a:pt x="304" y="17"/>
                    </a:lnTo>
                    <a:lnTo>
                      <a:pt x="299" y="26"/>
                    </a:lnTo>
                    <a:lnTo>
                      <a:pt x="302" y="27"/>
                    </a:lnTo>
                    <a:close/>
                    <a:moveTo>
                      <a:pt x="294" y="40"/>
                    </a:moveTo>
                    <a:lnTo>
                      <a:pt x="294" y="40"/>
                    </a:lnTo>
                    <a:lnTo>
                      <a:pt x="294" y="40"/>
                    </a:lnTo>
                    <a:lnTo>
                      <a:pt x="299" y="32"/>
                    </a:lnTo>
                    <a:lnTo>
                      <a:pt x="297" y="30"/>
                    </a:lnTo>
                    <a:lnTo>
                      <a:pt x="297" y="30"/>
                    </a:lnTo>
                    <a:lnTo>
                      <a:pt x="292" y="37"/>
                    </a:lnTo>
                    <a:lnTo>
                      <a:pt x="291" y="39"/>
                    </a:lnTo>
                    <a:lnTo>
                      <a:pt x="294" y="40"/>
                    </a:lnTo>
                    <a:close/>
                    <a:moveTo>
                      <a:pt x="281" y="49"/>
                    </a:moveTo>
                    <a:lnTo>
                      <a:pt x="281" y="49"/>
                    </a:lnTo>
                    <a:lnTo>
                      <a:pt x="289" y="45"/>
                    </a:lnTo>
                    <a:lnTo>
                      <a:pt x="288" y="42"/>
                    </a:lnTo>
                    <a:lnTo>
                      <a:pt x="288" y="42"/>
                    </a:lnTo>
                    <a:lnTo>
                      <a:pt x="279" y="48"/>
                    </a:lnTo>
                    <a:lnTo>
                      <a:pt x="281" y="49"/>
                    </a:lnTo>
                    <a:close/>
                    <a:moveTo>
                      <a:pt x="265" y="53"/>
                    </a:moveTo>
                    <a:lnTo>
                      <a:pt x="265" y="53"/>
                    </a:lnTo>
                    <a:lnTo>
                      <a:pt x="269" y="53"/>
                    </a:lnTo>
                    <a:lnTo>
                      <a:pt x="269" y="53"/>
                    </a:lnTo>
                    <a:lnTo>
                      <a:pt x="269" y="53"/>
                    </a:lnTo>
                    <a:lnTo>
                      <a:pt x="275" y="52"/>
                    </a:lnTo>
                    <a:lnTo>
                      <a:pt x="275" y="49"/>
                    </a:lnTo>
                    <a:lnTo>
                      <a:pt x="275" y="49"/>
                    </a:lnTo>
                    <a:lnTo>
                      <a:pt x="269" y="51"/>
                    </a:lnTo>
                    <a:lnTo>
                      <a:pt x="269" y="51"/>
                    </a:lnTo>
                    <a:lnTo>
                      <a:pt x="269" y="51"/>
                    </a:lnTo>
                    <a:lnTo>
                      <a:pt x="266" y="51"/>
                    </a:lnTo>
                    <a:lnTo>
                      <a:pt x="265" y="53"/>
                    </a:lnTo>
                    <a:close/>
                    <a:moveTo>
                      <a:pt x="250" y="49"/>
                    </a:moveTo>
                    <a:lnTo>
                      <a:pt x="250" y="49"/>
                    </a:lnTo>
                    <a:lnTo>
                      <a:pt x="260" y="52"/>
                    </a:lnTo>
                    <a:lnTo>
                      <a:pt x="260" y="49"/>
                    </a:lnTo>
                    <a:lnTo>
                      <a:pt x="260" y="49"/>
                    </a:lnTo>
                    <a:lnTo>
                      <a:pt x="250" y="48"/>
                    </a:lnTo>
                    <a:lnTo>
                      <a:pt x="250" y="49"/>
                    </a:lnTo>
                    <a:lnTo>
                      <a:pt x="250" y="49"/>
                    </a:lnTo>
                    <a:close/>
                    <a:moveTo>
                      <a:pt x="236" y="49"/>
                    </a:moveTo>
                    <a:lnTo>
                      <a:pt x="236" y="49"/>
                    </a:lnTo>
                    <a:lnTo>
                      <a:pt x="237" y="49"/>
                    </a:lnTo>
                    <a:lnTo>
                      <a:pt x="237" y="49"/>
                    </a:lnTo>
                    <a:lnTo>
                      <a:pt x="242" y="49"/>
                    </a:lnTo>
                    <a:lnTo>
                      <a:pt x="242" y="49"/>
                    </a:lnTo>
                    <a:lnTo>
                      <a:pt x="246" y="49"/>
                    </a:lnTo>
                    <a:lnTo>
                      <a:pt x="246" y="46"/>
                    </a:lnTo>
                    <a:lnTo>
                      <a:pt x="246" y="46"/>
                    </a:lnTo>
                    <a:lnTo>
                      <a:pt x="242" y="46"/>
                    </a:lnTo>
                    <a:lnTo>
                      <a:pt x="242" y="46"/>
                    </a:lnTo>
                    <a:lnTo>
                      <a:pt x="237" y="46"/>
                    </a:lnTo>
                    <a:lnTo>
                      <a:pt x="237" y="46"/>
                    </a:lnTo>
                    <a:lnTo>
                      <a:pt x="236" y="48"/>
                    </a:lnTo>
                    <a:lnTo>
                      <a:pt x="236" y="49"/>
                    </a:lnTo>
                    <a:close/>
                    <a:moveTo>
                      <a:pt x="221" y="55"/>
                    </a:moveTo>
                    <a:lnTo>
                      <a:pt x="221" y="55"/>
                    </a:lnTo>
                    <a:lnTo>
                      <a:pt x="231" y="51"/>
                    </a:lnTo>
                    <a:lnTo>
                      <a:pt x="230" y="49"/>
                    </a:lnTo>
                    <a:lnTo>
                      <a:pt x="230" y="49"/>
                    </a:lnTo>
                    <a:lnTo>
                      <a:pt x="220" y="52"/>
                    </a:lnTo>
                    <a:lnTo>
                      <a:pt x="221" y="55"/>
                    </a:lnTo>
                    <a:close/>
                    <a:moveTo>
                      <a:pt x="207" y="59"/>
                    </a:moveTo>
                    <a:lnTo>
                      <a:pt x="207" y="59"/>
                    </a:lnTo>
                    <a:lnTo>
                      <a:pt x="217" y="56"/>
                    </a:lnTo>
                    <a:lnTo>
                      <a:pt x="215" y="53"/>
                    </a:lnTo>
                    <a:lnTo>
                      <a:pt x="215" y="53"/>
                    </a:lnTo>
                    <a:lnTo>
                      <a:pt x="207" y="56"/>
                    </a:lnTo>
                    <a:lnTo>
                      <a:pt x="207" y="59"/>
                    </a:lnTo>
                    <a:close/>
                    <a:moveTo>
                      <a:pt x="195" y="66"/>
                    </a:moveTo>
                    <a:lnTo>
                      <a:pt x="195" y="66"/>
                    </a:lnTo>
                    <a:lnTo>
                      <a:pt x="198" y="62"/>
                    </a:lnTo>
                    <a:lnTo>
                      <a:pt x="202" y="61"/>
                    </a:lnTo>
                    <a:lnTo>
                      <a:pt x="201" y="58"/>
                    </a:lnTo>
                    <a:lnTo>
                      <a:pt x="201" y="58"/>
                    </a:lnTo>
                    <a:lnTo>
                      <a:pt x="198" y="59"/>
                    </a:lnTo>
                    <a:lnTo>
                      <a:pt x="197" y="61"/>
                    </a:lnTo>
                    <a:lnTo>
                      <a:pt x="192" y="64"/>
                    </a:lnTo>
                    <a:lnTo>
                      <a:pt x="195" y="66"/>
                    </a:lnTo>
                    <a:close/>
                    <a:moveTo>
                      <a:pt x="179" y="64"/>
                    </a:moveTo>
                    <a:lnTo>
                      <a:pt x="179" y="64"/>
                    </a:lnTo>
                    <a:lnTo>
                      <a:pt x="184" y="68"/>
                    </a:lnTo>
                    <a:lnTo>
                      <a:pt x="188" y="69"/>
                    </a:lnTo>
                    <a:lnTo>
                      <a:pt x="188" y="69"/>
                    </a:lnTo>
                    <a:lnTo>
                      <a:pt x="189" y="69"/>
                    </a:lnTo>
                    <a:lnTo>
                      <a:pt x="189" y="66"/>
                    </a:lnTo>
                    <a:lnTo>
                      <a:pt x="189" y="66"/>
                    </a:lnTo>
                    <a:lnTo>
                      <a:pt x="188" y="66"/>
                    </a:lnTo>
                    <a:lnTo>
                      <a:pt x="188" y="66"/>
                    </a:lnTo>
                    <a:lnTo>
                      <a:pt x="185" y="65"/>
                    </a:lnTo>
                    <a:lnTo>
                      <a:pt x="182" y="62"/>
                    </a:lnTo>
                    <a:lnTo>
                      <a:pt x="179" y="64"/>
                    </a:lnTo>
                    <a:close/>
                    <a:moveTo>
                      <a:pt x="173" y="51"/>
                    </a:moveTo>
                    <a:lnTo>
                      <a:pt x="173" y="51"/>
                    </a:lnTo>
                    <a:lnTo>
                      <a:pt x="176" y="59"/>
                    </a:lnTo>
                    <a:lnTo>
                      <a:pt x="179" y="59"/>
                    </a:lnTo>
                    <a:lnTo>
                      <a:pt x="179" y="59"/>
                    </a:lnTo>
                    <a:lnTo>
                      <a:pt x="175" y="49"/>
                    </a:lnTo>
                    <a:lnTo>
                      <a:pt x="173" y="51"/>
                    </a:lnTo>
                    <a:close/>
                    <a:moveTo>
                      <a:pt x="172" y="35"/>
                    </a:moveTo>
                    <a:lnTo>
                      <a:pt x="172" y="35"/>
                    </a:lnTo>
                    <a:lnTo>
                      <a:pt x="172" y="37"/>
                    </a:lnTo>
                    <a:lnTo>
                      <a:pt x="172" y="37"/>
                    </a:lnTo>
                    <a:lnTo>
                      <a:pt x="172" y="45"/>
                    </a:lnTo>
                    <a:lnTo>
                      <a:pt x="175" y="45"/>
                    </a:lnTo>
                    <a:lnTo>
                      <a:pt x="175" y="45"/>
                    </a:lnTo>
                    <a:lnTo>
                      <a:pt x="175" y="37"/>
                    </a:lnTo>
                    <a:lnTo>
                      <a:pt x="175" y="37"/>
                    </a:lnTo>
                    <a:lnTo>
                      <a:pt x="175" y="35"/>
                    </a:lnTo>
                    <a:lnTo>
                      <a:pt x="172" y="35"/>
                    </a:lnTo>
                    <a:close/>
                    <a:moveTo>
                      <a:pt x="172" y="20"/>
                    </a:moveTo>
                    <a:lnTo>
                      <a:pt x="172" y="20"/>
                    </a:lnTo>
                    <a:lnTo>
                      <a:pt x="172" y="22"/>
                    </a:lnTo>
                    <a:lnTo>
                      <a:pt x="172" y="22"/>
                    </a:lnTo>
                    <a:lnTo>
                      <a:pt x="172" y="29"/>
                    </a:lnTo>
                    <a:lnTo>
                      <a:pt x="175" y="30"/>
                    </a:lnTo>
                    <a:lnTo>
                      <a:pt x="175" y="30"/>
                    </a:lnTo>
                    <a:lnTo>
                      <a:pt x="175" y="22"/>
                    </a:lnTo>
                    <a:lnTo>
                      <a:pt x="175" y="22"/>
                    </a:lnTo>
                    <a:lnTo>
                      <a:pt x="175" y="19"/>
                    </a:lnTo>
                    <a:lnTo>
                      <a:pt x="172" y="20"/>
                    </a:lnTo>
                    <a:close/>
                    <a:moveTo>
                      <a:pt x="168" y="6"/>
                    </a:moveTo>
                    <a:lnTo>
                      <a:pt x="168" y="6"/>
                    </a:lnTo>
                    <a:lnTo>
                      <a:pt x="172" y="14"/>
                    </a:lnTo>
                    <a:lnTo>
                      <a:pt x="173" y="14"/>
                    </a:lnTo>
                    <a:lnTo>
                      <a:pt x="173" y="14"/>
                    </a:lnTo>
                    <a:lnTo>
                      <a:pt x="172" y="9"/>
                    </a:lnTo>
                    <a:lnTo>
                      <a:pt x="169" y="4"/>
                    </a:lnTo>
                    <a:lnTo>
                      <a:pt x="168" y="6"/>
                    </a:lnTo>
                    <a:close/>
                    <a:moveTo>
                      <a:pt x="158" y="7"/>
                    </a:moveTo>
                    <a:lnTo>
                      <a:pt x="158" y="7"/>
                    </a:lnTo>
                    <a:lnTo>
                      <a:pt x="160" y="3"/>
                    </a:lnTo>
                    <a:lnTo>
                      <a:pt x="160" y="3"/>
                    </a:lnTo>
                    <a:lnTo>
                      <a:pt x="162" y="3"/>
                    </a:lnTo>
                    <a:lnTo>
                      <a:pt x="162" y="3"/>
                    </a:lnTo>
                    <a:lnTo>
                      <a:pt x="162" y="3"/>
                    </a:lnTo>
                    <a:lnTo>
                      <a:pt x="163" y="3"/>
                    </a:lnTo>
                    <a:lnTo>
                      <a:pt x="165" y="1"/>
                    </a:lnTo>
                    <a:lnTo>
                      <a:pt x="165" y="1"/>
                    </a:lnTo>
                    <a:lnTo>
                      <a:pt x="163" y="0"/>
                    </a:lnTo>
                    <a:lnTo>
                      <a:pt x="162" y="0"/>
                    </a:lnTo>
                    <a:lnTo>
                      <a:pt x="162" y="0"/>
                    </a:lnTo>
                    <a:lnTo>
                      <a:pt x="159" y="0"/>
                    </a:lnTo>
                    <a:lnTo>
                      <a:pt x="158" y="1"/>
                    </a:lnTo>
                    <a:lnTo>
                      <a:pt x="158" y="1"/>
                    </a:lnTo>
                    <a:lnTo>
                      <a:pt x="156" y="6"/>
                    </a:lnTo>
                    <a:lnTo>
                      <a:pt x="158" y="7"/>
                    </a:lnTo>
                    <a:close/>
                    <a:moveTo>
                      <a:pt x="149" y="19"/>
                    </a:moveTo>
                    <a:lnTo>
                      <a:pt x="149" y="19"/>
                    </a:lnTo>
                    <a:lnTo>
                      <a:pt x="149" y="19"/>
                    </a:lnTo>
                    <a:lnTo>
                      <a:pt x="153" y="16"/>
                    </a:lnTo>
                    <a:lnTo>
                      <a:pt x="156" y="11"/>
                    </a:lnTo>
                    <a:lnTo>
                      <a:pt x="153" y="10"/>
                    </a:lnTo>
                    <a:lnTo>
                      <a:pt x="153" y="10"/>
                    </a:lnTo>
                    <a:lnTo>
                      <a:pt x="150" y="13"/>
                    </a:lnTo>
                    <a:lnTo>
                      <a:pt x="147" y="16"/>
                    </a:lnTo>
                    <a:lnTo>
                      <a:pt x="147" y="17"/>
                    </a:lnTo>
                    <a:lnTo>
                      <a:pt x="149" y="19"/>
                    </a:lnTo>
                    <a:close/>
                    <a:moveTo>
                      <a:pt x="133" y="22"/>
                    </a:moveTo>
                    <a:lnTo>
                      <a:pt x="133" y="22"/>
                    </a:lnTo>
                    <a:lnTo>
                      <a:pt x="143" y="20"/>
                    </a:lnTo>
                    <a:lnTo>
                      <a:pt x="143" y="19"/>
                    </a:lnTo>
                    <a:lnTo>
                      <a:pt x="143" y="19"/>
                    </a:lnTo>
                    <a:lnTo>
                      <a:pt x="133" y="20"/>
                    </a:lnTo>
                    <a:lnTo>
                      <a:pt x="133" y="22"/>
                    </a:lnTo>
                    <a:close/>
                    <a:moveTo>
                      <a:pt x="118" y="23"/>
                    </a:moveTo>
                    <a:lnTo>
                      <a:pt x="118" y="23"/>
                    </a:lnTo>
                    <a:lnTo>
                      <a:pt x="129" y="23"/>
                    </a:lnTo>
                    <a:lnTo>
                      <a:pt x="127" y="20"/>
                    </a:lnTo>
                    <a:lnTo>
                      <a:pt x="127" y="20"/>
                    </a:lnTo>
                    <a:lnTo>
                      <a:pt x="117" y="20"/>
                    </a:lnTo>
                    <a:lnTo>
                      <a:pt x="118" y="23"/>
                    </a:lnTo>
                    <a:close/>
                    <a:moveTo>
                      <a:pt x="103" y="22"/>
                    </a:moveTo>
                    <a:lnTo>
                      <a:pt x="103" y="22"/>
                    </a:lnTo>
                    <a:lnTo>
                      <a:pt x="107" y="23"/>
                    </a:lnTo>
                    <a:lnTo>
                      <a:pt x="107" y="23"/>
                    </a:lnTo>
                    <a:lnTo>
                      <a:pt x="113" y="23"/>
                    </a:lnTo>
                    <a:lnTo>
                      <a:pt x="113" y="20"/>
                    </a:lnTo>
                    <a:lnTo>
                      <a:pt x="113" y="20"/>
                    </a:lnTo>
                    <a:lnTo>
                      <a:pt x="107" y="20"/>
                    </a:lnTo>
                    <a:lnTo>
                      <a:pt x="107" y="20"/>
                    </a:lnTo>
                    <a:lnTo>
                      <a:pt x="104" y="20"/>
                    </a:lnTo>
                    <a:lnTo>
                      <a:pt x="103" y="22"/>
                    </a:lnTo>
                    <a:close/>
                    <a:moveTo>
                      <a:pt x="91" y="19"/>
                    </a:moveTo>
                    <a:lnTo>
                      <a:pt x="92" y="17"/>
                    </a:lnTo>
                    <a:lnTo>
                      <a:pt x="92" y="17"/>
                    </a:lnTo>
                    <a:lnTo>
                      <a:pt x="95" y="17"/>
                    </a:lnTo>
                    <a:lnTo>
                      <a:pt x="95" y="17"/>
                    </a:lnTo>
                    <a:lnTo>
                      <a:pt x="98" y="19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5" y="14"/>
                    </a:lnTo>
                    <a:lnTo>
                      <a:pt x="95" y="14"/>
                    </a:lnTo>
                    <a:lnTo>
                      <a:pt x="91" y="16"/>
                    </a:lnTo>
                    <a:lnTo>
                      <a:pt x="91" y="16"/>
                    </a:lnTo>
                    <a:lnTo>
                      <a:pt x="89" y="17"/>
                    </a:lnTo>
                    <a:lnTo>
                      <a:pt x="91" y="19"/>
                    </a:lnTo>
                    <a:close/>
                    <a:moveTo>
                      <a:pt x="95" y="32"/>
                    </a:moveTo>
                    <a:lnTo>
                      <a:pt x="95" y="32"/>
                    </a:lnTo>
                    <a:lnTo>
                      <a:pt x="91" y="23"/>
                    </a:lnTo>
                    <a:lnTo>
                      <a:pt x="89" y="23"/>
                    </a:lnTo>
                    <a:lnTo>
                      <a:pt x="89" y="23"/>
                    </a:lnTo>
                    <a:lnTo>
                      <a:pt x="91" y="27"/>
                    </a:lnTo>
                    <a:lnTo>
                      <a:pt x="92" y="33"/>
                    </a:lnTo>
                    <a:lnTo>
                      <a:pt x="95" y="32"/>
                    </a:lnTo>
                    <a:close/>
                    <a:moveTo>
                      <a:pt x="103" y="45"/>
                    </a:moveTo>
                    <a:lnTo>
                      <a:pt x="103" y="45"/>
                    </a:lnTo>
                    <a:lnTo>
                      <a:pt x="98" y="36"/>
                    </a:lnTo>
                    <a:lnTo>
                      <a:pt x="95" y="37"/>
                    </a:lnTo>
                    <a:lnTo>
                      <a:pt x="95" y="37"/>
                    </a:lnTo>
                    <a:lnTo>
                      <a:pt x="101" y="46"/>
                    </a:lnTo>
                    <a:lnTo>
                      <a:pt x="103" y="45"/>
                    </a:lnTo>
                    <a:close/>
                    <a:moveTo>
                      <a:pt x="100" y="59"/>
                    </a:moveTo>
                    <a:lnTo>
                      <a:pt x="100" y="59"/>
                    </a:lnTo>
                    <a:lnTo>
                      <a:pt x="104" y="56"/>
                    </a:lnTo>
                    <a:lnTo>
                      <a:pt x="105" y="52"/>
                    </a:lnTo>
                    <a:lnTo>
                      <a:pt x="105" y="51"/>
                    </a:lnTo>
                    <a:lnTo>
                      <a:pt x="103" y="51"/>
                    </a:lnTo>
                    <a:lnTo>
                      <a:pt x="103" y="52"/>
                    </a:lnTo>
                    <a:lnTo>
                      <a:pt x="103" y="52"/>
                    </a:lnTo>
                    <a:lnTo>
                      <a:pt x="101" y="55"/>
                    </a:lnTo>
                    <a:lnTo>
                      <a:pt x="98" y="58"/>
                    </a:lnTo>
                    <a:lnTo>
                      <a:pt x="100" y="59"/>
                    </a:lnTo>
                    <a:close/>
                    <a:moveTo>
                      <a:pt x="87" y="68"/>
                    </a:moveTo>
                    <a:lnTo>
                      <a:pt x="87" y="68"/>
                    </a:lnTo>
                    <a:lnTo>
                      <a:pt x="92" y="65"/>
                    </a:lnTo>
                    <a:lnTo>
                      <a:pt x="92" y="65"/>
                    </a:lnTo>
                    <a:lnTo>
                      <a:pt x="97" y="64"/>
                    </a:lnTo>
                    <a:lnTo>
                      <a:pt x="95" y="61"/>
                    </a:lnTo>
                    <a:lnTo>
                      <a:pt x="95" y="61"/>
                    </a:lnTo>
                    <a:lnTo>
                      <a:pt x="91" y="64"/>
                    </a:lnTo>
                    <a:lnTo>
                      <a:pt x="91" y="64"/>
                    </a:lnTo>
                    <a:lnTo>
                      <a:pt x="87" y="66"/>
                    </a:lnTo>
                    <a:lnTo>
                      <a:pt x="87" y="68"/>
                    </a:lnTo>
                    <a:close/>
                    <a:moveTo>
                      <a:pt x="72" y="72"/>
                    </a:moveTo>
                    <a:lnTo>
                      <a:pt x="74" y="72"/>
                    </a:lnTo>
                    <a:lnTo>
                      <a:pt x="74" y="72"/>
                    </a:lnTo>
                    <a:lnTo>
                      <a:pt x="82" y="71"/>
                    </a:lnTo>
                    <a:lnTo>
                      <a:pt x="82" y="68"/>
                    </a:lnTo>
                    <a:lnTo>
                      <a:pt x="82" y="68"/>
                    </a:lnTo>
                    <a:lnTo>
                      <a:pt x="74" y="69"/>
                    </a:lnTo>
                    <a:lnTo>
                      <a:pt x="72" y="69"/>
                    </a:lnTo>
                    <a:lnTo>
                      <a:pt x="72" y="72"/>
                    </a:lnTo>
                    <a:close/>
                    <a:moveTo>
                      <a:pt x="59" y="64"/>
                    </a:moveTo>
                    <a:lnTo>
                      <a:pt x="59" y="64"/>
                    </a:lnTo>
                    <a:lnTo>
                      <a:pt x="66" y="69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1" y="62"/>
                    </a:lnTo>
                    <a:lnTo>
                      <a:pt x="59" y="64"/>
                    </a:lnTo>
                    <a:close/>
                    <a:moveTo>
                      <a:pt x="49" y="55"/>
                    </a:moveTo>
                    <a:lnTo>
                      <a:pt x="49" y="55"/>
                    </a:lnTo>
                    <a:lnTo>
                      <a:pt x="52" y="55"/>
                    </a:lnTo>
                    <a:lnTo>
                      <a:pt x="52" y="55"/>
                    </a:lnTo>
                    <a:lnTo>
                      <a:pt x="53" y="55"/>
                    </a:lnTo>
                    <a:lnTo>
                      <a:pt x="53" y="55"/>
                    </a:lnTo>
                    <a:lnTo>
                      <a:pt x="53" y="56"/>
                    </a:lnTo>
                    <a:lnTo>
                      <a:pt x="53" y="56"/>
                    </a:lnTo>
                    <a:lnTo>
                      <a:pt x="55" y="59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5" y="53"/>
                    </a:lnTo>
                    <a:lnTo>
                      <a:pt x="55" y="53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49" y="52"/>
                    </a:lnTo>
                    <a:lnTo>
                      <a:pt x="49" y="55"/>
                    </a:lnTo>
                    <a:close/>
                    <a:moveTo>
                      <a:pt x="40" y="59"/>
                    </a:moveTo>
                    <a:lnTo>
                      <a:pt x="40" y="59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5" y="56"/>
                    </a:lnTo>
                    <a:lnTo>
                      <a:pt x="45" y="53"/>
                    </a:lnTo>
                    <a:lnTo>
                      <a:pt x="45" y="53"/>
                    </a:lnTo>
                    <a:lnTo>
                      <a:pt x="42" y="53"/>
                    </a:lnTo>
                    <a:lnTo>
                      <a:pt x="42" y="53"/>
                    </a:lnTo>
                    <a:lnTo>
                      <a:pt x="39" y="53"/>
                    </a:lnTo>
                    <a:lnTo>
                      <a:pt x="39" y="53"/>
                    </a:lnTo>
                    <a:lnTo>
                      <a:pt x="37" y="56"/>
                    </a:lnTo>
                    <a:lnTo>
                      <a:pt x="37" y="56"/>
                    </a:lnTo>
                    <a:lnTo>
                      <a:pt x="37" y="61"/>
                    </a:lnTo>
                    <a:lnTo>
                      <a:pt x="40" y="59"/>
                    </a:lnTo>
                    <a:close/>
                    <a:moveTo>
                      <a:pt x="32" y="68"/>
                    </a:moveTo>
                    <a:lnTo>
                      <a:pt x="32" y="68"/>
                    </a:lnTo>
                    <a:lnTo>
                      <a:pt x="33" y="68"/>
                    </a:lnTo>
                    <a:lnTo>
                      <a:pt x="33" y="68"/>
                    </a:lnTo>
                    <a:lnTo>
                      <a:pt x="39" y="68"/>
                    </a:lnTo>
                    <a:lnTo>
                      <a:pt x="39" y="68"/>
                    </a:lnTo>
                    <a:lnTo>
                      <a:pt x="40" y="66"/>
                    </a:lnTo>
                    <a:lnTo>
                      <a:pt x="40" y="66"/>
                    </a:lnTo>
                    <a:lnTo>
                      <a:pt x="42" y="65"/>
                    </a:lnTo>
                    <a:lnTo>
                      <a:pt x="39" y="65"/>
                    </a:lnTo>
                    <a:lnTo>
                      <a:pt x="39" y="65"/>
                    </a:lnTo>
                    <a:lnTo>
                      <a:pt x="39" y="65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2" y="66"/>
                    </a:lnTo>
                    <a:lnTo>
                      <a:pt x="32" y="68"/>
                    </a:lnTo>
                    <a:close/>
                    <a:moveTo>
                      <a:pt x="19" y="71"/>
                    </a:moveTo>
                    <a:lnTo>
                      <a:pt x="19" y="71"/>
                    </a:lnTo>
                    <a:lnTo>
                      <a:pt x="20" y="68"/>
                    </a:lnTo>
                    <a:lnTo>
                      <a:pt x="23" y="68"/>
                    </a:lnTo>
                    <a:lnTo>
                      <a:pt x="24" y="68"/>
                    </a:lnTo>
                    <a:lnTo>
                      <a:pt x="26" y="68"/>
                    </a:lnTo>
                    <a:lnTo>
                      <a:pt x="26" y="65"/>
                    </a:lnTo>
                    <a:lnTo>
                      <a:pt x="26" y="65"/>
                    </a:lnTo>
                    <a:lnTo>
                      <a:pt x="26" y="65"/>
                    </a:lnTo>
                    <a:lnTo>
                      <a:pt x="23" y="65"/>
                    </a:lnTo>
                    <a:lnTo>
                      <a:pt x="23" y="65"/>
                    </a:lnTo>
                    <a:lnTo>
                      <a:pt x="20" y="66"/>
                    </a:lnTo>
                    <a:lnTo>
                      <a:pt x="16" y="68"/>
                    </a:lnTo>
                    <a:lnTo>
                      <a:pt x="19" y="71"/>
                    </a:lnTo>
                    <a:close/>
                    <a:moveTo>
                      <a:pt x="11" y="81"/>
                    </a:moveTo>
                    <a:lnTo>
                      <a:pt x="11" y="81"/>
                    </a:lnTo>
                    <a:lnTo>
                      <a:pt x="10" y="79"/>
                    </a:lnTo>
                    <a:lnTo>
                      <a:pt x="10" y="79"/>
                    </a:lnTo>
                    <a:lnTo>
                      <a:pt x="11" y="78"/>
                    </a:lnTo>
                    <a:lnTo>
                      <a:pt x="11" y="78"/>
                    </a:lnTo>
                    <a:lnTo>
                      <a:pt x="14" y="74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8" y="77"/>
                    </a:lnTo>
                    <a:lnTo>
                      <a:pt x="8" y="77"/>
                    </a:lnTo>
                    <a:lnTo>
                      <a:pt x="8" y="79"/>
                    </a:lnTo>
                    <a:lnTo>
                      <a:pt x="8" y="79"/>
                    </a:lnTo>
                    <a:lnTo>
                      <a:pt x="8" y="82"/>
                    </a:lnTo>
                    <a:lnTo>
                      <a:pt x="11" y="81"/>
                    </a:lnTo>
                    <a:close/>
                    <a:moveTo>
                      <a:pt x="20" y="93"/>
                    </a:moveTo>
                    <a:lnTo>
                      <a:pt x="20" y="93"/>
                    </a:lnTo>
                    <a:lnTo>
                      <a:pt x="17" y="88"/>
                    </a:lnTo>
                    <a:lnTo>
                      <a:pt x="14" y="85"/>
                    </a:lnTo>
                    <a:lnTo>
                      <a:pt x="11" y="87"/>
                    </a:lnTo>
                    <a:lnTo>
                      <a:pt x="11" y="87"/>
                    </a:lnTo>
                    <a:lnTo>
                      <a:pt x="16" y="90"/>
                    </a:lnTo>
                    <a:lnTo>
                      <a:pt x="17" y="94"/>
                    </a:lnTo>
                    <a:lnTo>
                      <a:pt x="20" y="93"/>
                    </a:lnTo>
                    <a:close/>
                    <a:moveTo>
                      <a:pt x="20" y="108"/>
                    </a:moveTo>
                    <a:lnTo>
                      <a:pt x="20" y="108"/>
                    </a:lnTo>
                    <a:lnTo>
                      <a:pt x="21" y="98"/>
                    </a:lnTo>
                    <a:lnTo>
                      <a:pt x="21" y="98"/>
                    </a:lnTo>
                    <a:lnTo>
                      <a:pt x="19" y="98"/>
                    </a:lnTo>
                    <a:lnTo>
                      <a:pt x="19" y="98"/>
                    </a:lnTo>
                    <a:lnTo>
                      <a:pt x="19" y="98"/>
                    </a:lnTo>
                    <a:lnTo>
                      <a:pt x="17" y="108"/>
                    </a:lnTo>
                    <a:lnTo>
                      <a:pt x="20" y="108"/>
                    </a:lnTo>
                    <a:close/>
                    <a:moveTo>
                      <a:pt x="14" y="123"/>
                    </a:moveTo>
                    <a:lnTo>
                      <a:pt x="14" y="123"/>
                    </a:lnTo>
                    <a:lnTo>
                      <a:pt x="19" y="114"/>
                    </a:lnTo>
                    <a:lnTo>
                      <a:pt x="16" y="113"/>
                    </a:lnTo>
                    <a:lnTo>
                      <a:pt x="16" y="113"/>
                    </a:lnTo>
                    <a:lnTo>
                      <a:pt x="11" y="121"/>
                    </a:lnTo>
                    <a:lnTo>
                      <a:pt x="14" y="123"/>
                    </a:lnTo>
                    <a:close/>
                    <a:moveTo>
                      <a:pt x="7" y="137"/>
                    </a:moveTo>
                    <a:lnTo>
                      <a:pt x="7" y="137"/>
                    </a:lnTo>
                    <a:lnTo>
                      <a:pt x="11" y="127"/>
                    </a:lnTo>
                    <a:lnTo>
                      <a:pt x="10" y="127"/>
                    </a:lnTo>
                    <a:lnTo>
                      <a:pt x="10" y="127"/>
                    </a:lnTo>
                    <a:lnTo>
                      <a:pt x="5" y="136"/>
                    </a:lnTo>
                    <a:lnTo>
                      <a:pt x="7" y="137"/>
                    </a:lnTo>
                    <a:close/>
                    <a:moveTo>
                      <a:pt x="3" y="152"/>
                    </a:moveTo>
                    <a:lnTo>
                      <a:pt x="3" y="152"/>
                    </a:lnTo>
                    <a:lnTo>
                      <a:pt x="5" y="142"/>
                    </a:lnTo>
                    <a:lnTo>
                      <a:pt x="4" y="140"/>
                    </a:lnTo>
                    <a:lnTo>
                      <a:pt x="4" y="140"/>
                    </a:lnTo>
                    <a:lnTo>
                      <a:pt x="0" y="150"/>
                    </a:lnTo>
                    <a:lnTo>
                      <a:pt x="3" y="15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4" name="Freeform 1642"/>
              <p:cNvSpPr>
                <a:spLocks noEditPoints="1"/>
              </p:cNvSpPr>
              <p:nvPr/>
            </p:nvSpPr>
            <p:spPr bwMode="auto">
              <a:xfrm>
                <a:off x="3535255" y="3232061"/>
                <a:ext cx="14839" cy="60345"/>
              </a:xfrm>
              <a:custGeom>
                <a:avLst/>
                <a:gdLst>
                  <a:gd name="T0" fmla="*/ 7 w 15"/>
                  <a:gd name="T1" fmla="*/ 5 h 61"/>
                  <a:gd name="T2" fmla="*/ 7 w 15"/>
                  <a:gd name="T3" fmla="*/ 5 h 61"/>
                  <a:gd name="T4" fmla="*/ 10 w 15"/>
                  <a:gd name="T5" fmla="*/ 1 h 61"/>
                  <a:gd name="T6" fmla="*/ 7 w 15"/>
                  <a:gd name="T7" fmla="*/ 0 h 61"/>
                  <a:gd name="T8" fmla="*/ 7 w 15"/>
                  <a:gd name="T9" fmla="*/ 0 h 61"/>
                  <a:gd name="T10" fmla="*/ 6 w 15"/>
                  <a:gd name="T11" fmla="*/ 4 h 61"/>
                  <a:gd name="T12" fmla="*/ 7 w 15"/>
                  <a:gd name="T13" fmla="*/ 5 h 61"/>
                  <a:gd name="T14" fmla="*/ 4 w 15"/>
                  <a:gd name="T15" fmla="*/ 19 h 61"/>
                  <a:gd name="T16" fmla="*/ 4 w 15"/>
                  <a:gd name="T17" fmla="*/ 19 h 61"/>
                  <a:gd name="T18" fmla="*/ 4 w 15"/>
                  <a:gd name="T19" fmla="*/ 16 h 61"/>
                  <a:gd name="T20" fmla="*/ 4 w 15"/>
                  <a:gd name="T21" fmla="*/ 14 h 61"/>
                  <a:gd name="T22" fmla="*/ 4 w 15"/>
                  <a:gd name="T23" fmla="*/ 14 h 61"/>
                  <a:gd name="T24" fmla="*/ 6 w 15"/>
                  <a:gd name="T25" fmla="*/ 10 h 61"/>
                  <a:gd name="T26" fmla="*/ 3 w 15"/>
                  <a:gd name="T27" fmla="*/ 10 h 61"/>
                  <a:gd name="T28" fmla="*/ 3 w 15"/>
                  <a:gd name="T29" fmla="*/ 10 h 61"/>
                  <a:gd name="T30" fmla="*/ 2 w 15"/>
                  <a:gd name="T31" fmla="*/ 14 h 61"/>
                  <a:gd name="T32" fmla="*/ 2 w 15"/>
                  <a:gd name="T33" fmla="*/ 14 h 61"/>
                  <a:gd name="T34" fmla="*/ 2 w 15"/>
                  <a:gd name="T35" fmla="*/ 16 h 61"/>
                  <a:gd name="T36" fmla="*/ 2 w 15"/>
                  <a:gd name="T37" fmla="*/ 16 h 61"/>
                  <a:gd name="T38" fmla="*/ 3 w 15"/>
                  <a:gd name="T39" fmla="*/ 20 h 61"/>
                  <a:gd name="T40" fmla="*/ 4 w 15"/>
                  <a:gd name="T41" fmla="*/ 19 h 61"/>
                  <a:gd name="T42" fmla="*/ 13 w 15"/>
                  <a:gd name="T43" fmla="*/ 32 h 61"/>
                  <a:gd name="T44" fmla="*/ 13 w 15"/>
                  <a:gd name="T45" fmla="*/ 32 h 61"/>
                  <a:gd name="T46" fmla="*/ 7 w 15"/>
                  <a:gd name="T47" fmla="*/ 23 h 61"/>
                  <a:gd name="T48" fmla="*/ 6 w 15"/>
                  <a:gd name="T49" fmla="*/ 24 h 61"/>
                  <a:gd name="T50" fmla="*/ 6 w 15"/>
                  <a:gd name="T51" fmla="*/ 24 h 61"/>
                  <a:gd name="T52" fmla="*/ 10 w 15"/>
                  <a:gd name="T53" fmla="*/ 33 h 61"/>
                  <a:gd name="T54" fmla="*/ 13 w 15"/>
                  <a:gd name="T55" fmla="*/ 32 h 61"/>
                  <a:gd name="T56" fmla="*/ 12 w 15"/>
                  <a:gd name="T57" fmla="*/ 47 h 61"/>
                  <a:gd name="T58" fmla="*/ 12 w 15"/>
                  <a:gd name="T59" fmla="*/ 47 h 61"/>
                  <a:gd name="T60" fmla="*/ 13 w 15"/>
                  <a:gd name="T61" fmla="*/ 42 h 61"/>
                  <a:gd name="T62" fmla="*/ 15 w 15"/>
                  <a:gd name="T63" fmla="*/ 37 h 61"/>
                  <a:gd name="T64" fmla="*/ 15 w 15"/>
                  <a:gd name="T65" fmla="*/ 37 h 61"/>
                  <a:gd name="T66" fmla="*/ 12 w 15"/>
                  <a:gd name="T67" fmla="*/ 37 h 61"/>
                  <a:gd name="T68" fmla="*/ 12 w 15"/>
                  <a:gd name="T69" fmla="*/ 37 h 61"/>
                  <a:gd name="T70" fmla="*/ 12 w 15"/>
                  <a:gd name="T71" fmla="*/ 37 h 61"/>
                  <a:gd name="T72" fmla="*/ 12 w 15"/>
                  <a:gd name="T73" fmla="*/ 42 h 61"/>
                  <a:gd name="T74" fmla="*/ 9 w 15"/>
                  <a:gd name="T75" fmla="*/ 46 h 61"/>
                  <a:gd name="T76" fmla="*/ 12 w 15"/>
                  <a:gd name="T77" fmla="*/ 47 h 61"/>
                  <a:gd name="T78" fmla="*/ 3 w 15"/>
                  <a:gd name="T79" fmla="*/ 61 h 61"/>
                  <a:gd name="T80" fmla="*/ 3 w 15"/>
                  <a:gd name="T81" fmla="*/ 61 h 61"/>
                  <a:gd name="T82" fmla="*/ 9 w 15"/>
                  <a:gd name="T83" fmla="*/ 52 h 61"/>
                  <a:gd name="T84" fmla="*/ 6 w 15"/>
                  <a:gd name="T85" fmla="*/ 50 h 61"/>
                  <a:gd name="T86" fmla="*/ 6 w 15"/>
                  <a:gd name="T87" fmla="*/ 50 h 61"/>
                  <a:gd name="T88" fmla="*/ 0 w 15"/>
                  <a:gd name="T89" fmla="*/ 59 h 61"/>
                  <a:gd name="T90" fmla="*/ 3 w 15"/>
                  <a:gd name="T9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5" h="61">
                    <a:moveTo>
                      <a:pt x="7" y="5"/>
                    </a:moveTo>
                    <a:lnTo>
                      <a:pt x="7" y="5"/>
                    </a:lnTo>
                    <a:lnTo>
                      <a:pt x="10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6" y="4"/>
                    </a:lnTo>
                    <a:lnTo>
                      <a:pt x="7" y="5"/>
                    </a:lnTo>
                    <a:close/>
                    <a:moveTo>
                      <a:pt x="4" y="19"/>
                    </a:moveTo>
                    <a:lnTo>
                      <a:pt x="4" y="19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0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3" y="20"/>
                    </a:lnTo>
                    <a:lnTo>
                      <a:pt x="4" y="19"/>
                    </a:lnTo>
                    <a:close/>
                    <a:moveTo>
                      <a:pt x="13" y="32"/>
                    </a:moveTo>
                    <a:lnTo>
                      <a:pt x="13" y="32"/>
                    </a:lnTo>
                    <a:lnTo>
                      <a:pt x="7" y="23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10" y="33"/>
                    </a:lnTo>
                    <a:lnTo>
                      <a:pt x="13" y="32"/>
                    </a:lnTo>
                    <a:close/>
                    <a:moveTo>
                      <a:pt x="12" y="47"/>
                    </a:moveTo>
                    <a:lnTo>
                      <a:pt x="12" y="47"/>
                    </a:lnTo>
                    <a:lnTo>
                      <a:pt x="13" y="42"/>
                    </a:lnTo>
                    <a:lnTo>
                      <a:pt x="15" y="37"/>
                    </a:lnTo>
                    <a:lnTo>
                      <a:pt x="15" y="37"/>
                    </a:lnTo>
                    <a:lnTo>
                      <a:pt x="12" y="37"/>
                    </a:lnTo>
                    <a:lnTo>
                      <a:pt x="12" y="37"/>
                    </a:lnTo>
                    <a:lnTo>
                      <a:pt x="12" y="37"/>
                    </a:lnTo>
                    <a:lnTo>
                      <a:pt x="12" y="42"/>
                    </a:lnTo>
                    <a:lnTo>
                      <a:pt x="9" y="46"/>
                    </a:lnTo>
                    <a:lnTo>
                      <a:pt x="12" y="47"/>
                    </a:lnTo>
                    <a:close/>
                    <a:moveTo>
                      <a:pt x="3" y="61"/>
                    </a:moveTo>
                    <a:lnTo>
                      <a:pt x="3" y="61"/>
                    </a:lnTo>
                    <a:lnTo>
                      <a:pt x="9" y="52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0" y="59"/>
                    </a:lnTo>
                    <a:lnTo>
                      <a:pt x="3" y="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5" name="Freeform 1643"/>
              <p:cNvSpPr>
                <a:spLocks noEditPoints="1"/>
              </p:cNvSpPr>
              <p:nvPr/>
            </p:nvSpPr>
            <p:spPr bwMode="auto">
              <a:xfrm>
                <a:off x="3489749" y="3227115"/>
                <a:ext cx="29678" cy="63313"/>
              </a:xfrm>
              <a:custGeom>
                <a:avLst/>
                <a:gdLst>
                  <a:gd name="T0" fmla="*/ 11 w 30"/>
                  <a:gd name="T1" fmla="*/ 0 h 64"/>
                  <a:gd name="T2" fmla="*/ 8 w 30"/>
                  <a:gd name="T3" fmla="*/ 0 h 64"/>
                  <a:gd name="T4" fmla="*/ 8 w 30"/>
                  <a:gd name="T5" fmla="*/ 2 h 64"/>
                  <a:gd name="T6" fmla="*/ 11 w 30"/>
                  <a:gd name="T7" fmla="*/ 2 h 64"/>
                  <a:gd name="T8" fmla="*/ 11 w 30"/>
                  <a:gd name="T9" fmla="*/ 0 h 64"/>
                  <a:gd name="T10" fmla="*/ 10 w 30"/>
                  <a:gd name="T11" fmla="*/ 18 h 64"/>
                  <a:gd name="T12" fmla="*/ 10 w 30"/>
                  <a:gd name="T13" fmla="*/ 18 h 64"/>
                  <a:gd name="T14" fmla="*/ 11 w 30"/>
                  <a:gd name="T15" fmla="*/ 12 h 64"/>
                  <a:gd name="T16" fmla="*/ 11 w 30"/>
                  <a:gd name="T17" fmla="*/ 6 h 64"/>
                  <a:gd name="T18" fmla="*/ 8 w 30"/>
                  <a:gd name="T19" fmla="*/ 6 h 64"/>
                  <a:gd name="T20" fmla="*/ 8 w 30"/>
                  <a:gd name="T21" fmla="*/ 12 h 64"/>
                  <a:gd name="T22" fmla="*/ 8 w 30"/>
                  <a:gd name="T23" fmla="*/ 12 h 64"/>
                  <a:gd name="T24" fmla="*/ 8 w 30"/>
                  <a:gd name="T25" fmla="*/ 16 h 64"/>
                  <a:gd name="T26" fmla="*/ 10 w 30"/>
                  <a:gd name="T27" fmla="*/ 18 h 64"/>
                  <a:gd name="T28" fmla="*/ 3 w 30"/>
                  <a:gd name="T29" fmla="*/ 31 h 64"/>
                  <a:gd name="T30" fmla="*/ 3 w 30"/>
                  <a:gd name="T31" fmla="*/ 31 h 64"/>
                  <a:gd name="T32" fmla="*/ 8 w 30"/>
                  <a:gd name="T33" fmla="*/ 22 h 64"/>
                  <a:gd name="T34" fmla="*/ 6 w 30"/>
                  <a:gd name="T35" fmla="*/ 21 h 64"/>
                  <a:gd name="T36" fmla="*/ 6 w 30"/>
                  <a:gd name="T37" fmla="*/ 21 h 64"/>
                  <a:gd name="T38" fmla="*/ 1 w 30"/>
                  <a:gd name="T39" fmla="*/ 29 h 64"/>
                  <a:gd name="T40" fmla="*/ 3 w 30"/>
                  <a:gd name="T41" fmla="*/ 31 h 64"/>
                  <a:gd name="T42" fmla="*/ 7 w 30"/>
                  <a:gd name="T43" fmla="*/ 42 h 64"/>
                  <a:gd name="T44" fmla="*/ 7 w 30"/>
                  <a:gd name="T45" fmla="*/ 42 h 64"/>
                  <a:gd name="T46" fmla="*/ 4 w 30"/>
                  <a:gd name="T47" fmla="*/ 38 h 64"/>
                  <a:gd name="T48" fmla="*/ 3 w 30"/>
                  <a:gd name="T49" fmla="*/ 34 h 64"/>
                  <a:gd name="T50" fmla="*/ 0 w 30"/>
                  <a:gd name="T51" fmla="*/ 35 h 64"/>
                  <a:gd name="T52" fmla="*/ 0 w 30"/>
                  <a:gd name="T53" fmla="*/ 35 h 64"/>
                  <a:gd name="T54" fmla="*/ 1 w 30"/>
                  <a:gd name="T55" fmla="*/ 39 h 64"/>
                  <a:gd name="T56" fmla="*/ 6 w 30"/>
                  <a:gd name="T57" fmla="*/ 44 h 64"/>
                  <a:gd name="T58" fmla="*/ 7 w 30"/>
                  <a:gd name="T59" fmla="*/ 42 h 64"/>
                  <a:gd name="T60" fmla="*/ 19 w 30"/>
                  <a:gd name="T61" fmla="*/ 52 h 64"/>
                  <a:gd name="T62" fmla="*/ 19 w 30"/>
                  <a:gd name="T63" fmla="*/ 52 h 64"/>
                  <a:gd name="T64" fmla="*/ 11 w 30"/>
                  <a:gd name="T65" fmla="*/ 45 h 64"/>
                  <a:gd name="T66" fmla="*/ 8 w 30"/>
                  <a:gd name="T67" fmla="*/ 48 h 64"/>
                  <a:gd name="T68" fmla="*/ 8 w 30"/>
                  <a:gd name="T69" fmla="*/ 48 h 64"/>
                  <a:gd name="T70" fmla="*/ 17 w 30"/>
                  <a:gd name="T71" fmla="*/ 55 h 64"/>
                  <a:gd name="T72" fmla="*/ 19 w 30"/>
                  <a:gd name="T73" fmla="*/ 52 h 64"/>
                  <a:gd name="T74" fmla="*/ 30 w 30"/>
                  <a:gd name="T75" fmla="*/ 63 h 64"/>
                  <a:gd name="T76" fmla="*/ 30 w 30"/>
                  <a:gd name="T77" fmla="*/ 63 h 64"/>
                  <a:gd name="T78" fmla="*/ 22 w 30"/>
                  <a:gd name="T79" fmla="*/ 55 h 64"/>
                  <a:gd name="T80" fmla="*/ 20 w 30"/>
                  <a:gd name="T81" fmla="*/ 58 h 64"/>
                  <a:gd name="T82" fmla="*/ 20 w 30"/>
                  <a:gd name="T83" fmla="*/ 58 h 64"/>
                  <a:gd name="T84" fmla="*/ 29 w 30"/>
                  <a:gd name="T85" fmla="*/ 64 h 64"/>
                  <a:gd name="T86" fmla="*/ 30 w 30"/>
                  <a:gd name="T87" fmla="*/ 6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0" h="64">
                    <a:moveTo>
                      <a:pt x="11" y="0"/>
                    </a:moveTo>
                    <a:lnTo>
                      <a:pt x="8" y="0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1" y="0"/>
                    </a:lnTo>
                    <a:close/>
                    <a:moveTo>
                      <a:pt x="10" y="18"/>
                    </a:moveTo>
                    <a:lnTo>
                      <a:pt x="10" y="18"/>
                    </a:lnTo>
                    <a:lnTo>
                      <a:pt x="11" y="12"/>
                    </a:lnTo>
                    <a:lnTo>
                      <a:pt x="11" y="6"/>
                    </a:lnTo>
                    <a:lnTo>
                      <a:pt x="8" y="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6"/>
                    </a:lnTo>
                    <a:lnTo>
                      <a:pt x="10" y="18"/>
                    </a:lnTo>
                    <a:close/>
                    <a:moveTo>
                      <a:pt x="3" y="31"/>
                    </a:moveTo>
                    <a:lnTo>
                      <a:pt x="3" y="31"/>
                    </a:lnTo>
                    <a:lnTo>
                      <a:pt x="8" y="22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" y="29"/>
                    </a:lnTo>
                    <a:lnTo>
                      <a:pt x="3" y="31"/>
                    </a:lnTo>
                    <a:close/>
                    <a:moveTo>
                      <a:pt x="7" y="42"/>
                    </a:moveTo>
                    <a:lnTo>
                      <a:pt x="7" y="42"/>
                    </a:lnTo>
                    <a:lnTo>
                      <a:pt x="4" y="38"/>
                    </a:lnTo>
                    <a:lnTo>
                      <a:pt x="3" y="34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1" y="39"/>
                    </a:lnTo>
                    <a:lnTo>
                      <a:pt x="6" y="44"/>
                    </a:lnTo>
                    <a:lnTo>
                      <a:pt x="7" y="42"/>
                    </a:lnTo>
                    <a:close/>
                    <a:moveTo>
                      <a:pt x="19" y="52"/>
                    </a:moveTo>
                    <a:lnTo>
                      <a:pt x="19" y="52"/>
                    </a:lnTo>
                    <a:lnTo>
                      <a:pt x="11" y="45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7" y="55"/>
                    </a:lnTo>
                    <a:lnTo>
                      <a:pt x="19" y="52"/>
                    </a:lnTo>
                    <a:close/>
                    <a:moveTo>
                      <a:pt x="30" y="63"/>
                    </a:moveTo>
                    <a:lnTo>
                      <a:pt x="30" y="63"/>
                    </a:lnTo>
                    <a:lnTo>
                      <a:pt x="22" y="55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9" y="64"/>
                    </a:lnTo>
                    <a:lnTo>
                      <a:pt x="30" y="6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6" name="Freeform 1644"/>
              <p:cNvSpPr>
                <a:spLocks noEditPoints="1"/>
              </p:cNvSpPr>
              <p:nvPr/>
            </p:nvSpPr>
            <p:spPr bwMode="auto">
              <a:xfrm>
                <a:off x="3429405" y="3191502"/>
                <a:ext cx="24731" cy="51441"/>
              </a:xfrm>
              <a:custGeom>
                <a:avLst/>
                <a:gdLst>
                  <a:gd name="T0" fmla="*/ 22 w 25"/>
                  <a:gd name="T1" fmla="*/ 3 h 52"/>
                  <a:gd name="T2" fmla="*/ 23 w 25"/>
                  <a:gd name="T3" fmla="*/ 0 h 52"/>
                  <a:gd name="T4" fmla="*/ 20 w 25"/>
                  <a:gd name="T5" fmla="*/ 2 h 52"/>
                  <a:gd name="T6" fmla="*/ 10 w 25"/>
                  <a:gd name="T7" fmla="*/ 12 h 52"/>
                  <a:gd name="T8" fmla="*/ 10 w 25"/>
                  <a:gd name="T9" fmla="*/ 12 h 52"/>
                  <a:gd name="T10" fmla="*/ 12 w 25"/>
                  <a:gd name="T11" fmla="*/ 9 h 52"/>
                  <a:gd name="T12" fmla="*/ 16 w 25"/>
                  <a:gd name="T13" fmla="*/ 4 h 52"/>
                  <a:gd name="T14" fmla="*/ 10 w 25"/>
                  <a:gd name="T15" fmla="*/ 7 h 52"/>
                  <a:gd name="T16" fmla="*/ 9 w 25"/>
                  <a:gd name="T17" fmla="*/ 9 h 52"/>
                  <a:gd name="T18" fmla="*/ 10 w 25"/>
                  <a:gd name="T19" fmla="*/ 12 h 52"/>
                  <a:gd name="T20" fmla="*/ 22 w 25"/>
                  <a:gd name="T21" fmla="*/ 19 h 52"/>
                  <a:gd name="T22" fmla="*/ 20 w 25"/>
                  <a:gd name="T23" fmla="*/ 18 h 52"/>
                  <a:gd name="T24" fmla="*/ 17 w 25"/>
                  <a:gd name="T25" fmla="*/ 15 h 52"/>
                  <a:gd name="T26" fmla="*/ 12 w 25"/>
                  <a:gd name="T27" fmla="*/ 15 h 52"/>
                  <a:gd name="T28" fmla="*/ 16 w 25"/>
                  <a:gd name="T29" fmla="*/ 16 h 52"/>
                  <a:gd name="T30" fmla="*/ 19 w 25"/>
                  <a:gd name="T31" fmla="*/ 19 h 52"/>
                  <a:gd name="T32" fmla="*/ 22 w 25"/>
                  <a:gd name="T33" fmla="*/ 19 h 52"/>
                  <a:gd name="T34" fmla="*/ 12 w 25"/>
                  <a:gd name="T35" fmla="*/ 31 h 52"/>
                  <a:gd name="T36" fmla="*/ 17 w 25"/>
                  <a:gd name="T37" fmla="*/ 23 h 52"/>
                  <a:gd name="T38" fmla="*/ 10 w 25"/>
                  <a:gd name="T39" fmla="*/ 29 h 52"/>
                  <a:gd name="T40" fmla="*/ 3 w 25"/>
                  <a:gd name="T41" fmla="*/ 42 h 52"/>
                  <a:gd name="T42" fmla="*/ 3 w 25"/>
                  <a:gd name="T43" fmla="*/ 42 h 52"/>
                  <a:gd name="T44" fmla="*/ 4 w 25"/>
                  <a:gd name="T45" fmla="*/ 38 h 52"/>
                  <a:gd name="T46" fmla="*/ 7 w 25"/>
                  <a:gd name="T47" fmla="*/ 35 h 52"/>
                  <a:gd name="T48" fmla="*/ 6 w 25"/>
                  <a:gd name="T49" fmla="*/ 32 h 52"/>
                  <a:gd name="T50" fmla="*/ 3 w 25"/>
                  <a:gd name="T51" fmla="*/ 36 h 52"/>
                  <a:gd name="T52" fmla="*/ 0 w 25"/>
                  <a:gd name="T53" fmla="*/ 42 h 52"/>
                  <a:gd name="T54" fmla="*/ 3 w 25"/>
                  <a:gd name="T55" fmla="*/ 42 h 52"/>
                  <a:gd name="T56" fmla="*/ 13 w 25"/>
                  <a:gd name="T57" fmla="*/ 52 h 52"/>
                  <a:gd name="T58" fmla="*/ 13 w 25"/>
                  <a:gd name="T59" fmla="*/ 51 h 52"/>
                  <a:gd name="T60" fmla="*/ 12 w 25"/>
                  <a:gd name="T61" fmla="*/ 49 h 52"/>
                  <a:gd name="T62" fmla="*/ 3 w 25"/>
                  <a:gd name="T63" fmla="*/ 48 h 52"/>
                  <a:gd name="T64" fmla="*/ 9 w 25"/>
                  <a:gd name="T65" fmla="*/ 51 h 52"/>
                  <a:gd name="T66" fmla="*/ 10 w 25"/>
                  <a:gd name="T67" fmla="*/ 52 h 52"/>
                  <a:gd name="T68" fmla="*/ 12 w 25"/>
                  <a:gd name="T69" fmla="*/ 52 h 52"/>
                  <a:gd name="T70" fmla="*/ 12 w 25"/>
                  <a:gd name="T71" fmla="*/ 52 h 52"/>
                  <a:gd name="T72" fmla="*/ 12 w 25"/>
                  <a:gd name="T73" fmla="*/ 52 h 52"/>
                  <a:gd name="T74" fmla="*/ 13 w 25"/>
                  <a:gd name="T7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5" h="52">
                    <a:moveTo>
                      <a:pt x="22" y="3"/>
                    </a:moveTo>
                    <a:lnTo>
                      <a:pt x="22" y="3"/>
                    </a:lnTo>
                    <a:lnTo>
                      <a:pt x="25" y="2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0" y="2"/>
                    </a:lnTo>
                    <a:lnTo>
                      <a:pt x="22" y="3"/>
                    </a:lnTo>
                    <a:close/>
                    <a:moveTo>
                      <a:pt x="10" y="12"/>
                    </a:moveTo>
                    <a:lnTo>
                      <a:pt x="10" y="12"/>
                    </a:lnTo>
                    <a:lnTo>
                      <a:pt x="10" y="12"/>
                    </a:lnTo>
                    <a:lnTo>
                      <a:pt x="12" y="9"/>
                    </a:lnTo>
                    <a:lnTo>
                      <a:pt x="12" y="9"/>
                    </a:lnTo>
                    <a:lnTo>
                      <a:pt x="17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0" y="7"/>
                    </a:lnTo>
                    <a:lnTo>
                      <a:pt x="10" y="7"/>
                    </a:lnTo>
                    <a:lnTo>
                      <a:pt x="9" y="9"/>
                    </a:lnTo>
                    <a:lnTo>
                      <a:pt x="7" y="10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2" y="19"/>
                    </a:moveTo>
                    <a:lnTo>
                      <a:pt x="22" y="19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7" y="15"/>
                    </a:lnTo>
                    <a:lnTo>
                      <a:pt x="13" y="13"/>
                    </a:lnTo>
                    <a:lnTo>
                      <a:pt x="12" y="15"/>
                    </a:lnTo>
                    <a:lnTo>
                      <a:pt x="12" y="15"/>
                    </a:lnTo>
                    <a:lnTo>
                      <a:pt x="16" y="16"/>
                    </a:lnTo>
                    <a:lnTo>
                      <a:pt x="19" y="19"/>
                    </a:lnTo>
                    <a:lnTo>
                      <a:pt x="19" y="19"/>
                    </a:lnTo>
                    <a:lnTo>
                      <a:pt x="19" y="20"/>
                    </a:lnTo>
                    <a:lnTo>
                      <a:pt x="22" y="19"/>
                    </a:lnTo>
                    <a:close/>
                    <a:moveTo>
                      <a:pt x="12" y="31"/>
                    </a:moveTo>
                    <a:lnTo>
                      <a:pt x="12" y="31"/>
                    </a:lnTo>
                    <a:lnTo>
                      <a:pt x="20" y="25"/>
                    </a:lnTo>
                    <a:lnTo>
                      <a:pt x="17" y="23"/>
                    </a:lnTo>
                    <a:lnTo>
                      <a:pt x="17" y="23"/>
                    </a:lnTo>
                    <a:lnTo>
                      <a:pt x="10" y="29"/>
                    </a:lnTo>
                    <a:lnTo>
                      <a:pt x="12" y="31"/>
                    </a:lnTo>
                    <a:close/>
                    <a:moveTo>
                      <a:pt x="3" y="42"/>
                    </a:moveTo>
                    <a:lnTo>
                      <a:pt x="3" y="42"/>
                    </a:lnTo>
                    <a:lnTo>
                      <a:pt x="3" y="42"/>
                    </a:lnTo>
                    <a:lnTo>
                      <a:pt x="3" y="41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7" y="35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3" y="36"/>
                    </a:lnTo>
                    <a:lnTo>
                      <a:pt x="3" y="36"/>
                    </a:lnTo>
                    <a:lnTo>
                      <a:pt x="1" y="39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3" y="42"/>
                    </a:lnTo>
                    <a:close/>
                    <a:moveTo>
                      <a:pt x="13" y="52"/>
                    </a:moveTo>
                    <a:lnTo>
                      <a:pt x="13" y="52"/>
                    </a:lnTo>
                    <a:lnTo>
                      <a:pt x="13" y="51"/>
                    </a:lnTo>
                    <a:lnTo>
                      <a:pt x="13" y="51"/>
                    </a:lnTo>
                    <a:lnTo>
                      <a:pt x="12" y="49"/>
                    </a:lnTo>
                    <a:lnTo>
                      <a:pt x="12" y="49"/>
                    </a:lnTo>
                    <a:lnTo>
                      <a:pt x="4" y="45"/>
                    </a:lnTo>
                    <a:lnTo>
                      <a:pt x="3" y="48"/>
                    </a:lnTo>
                    <a:lnTo>
                      <a:pt x="3" y="48"/>
                    </a:lnTo>
                    <a:lnTo>
                      <a:pt x="9" y="51"/>
                    </a:lnTo>
                    <a:lnTo>
                      <a:pt x="9" y="51"/>
                    </a:lnTo>
                    <a:lnTo>
                      <a:pt x="10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3" y="5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7" name="Freeform 1645"/>
              <p:cNvSpPr>
                <a:spLocks noEditPoints="1"/>
              </p:cNvSpPr>
              <p:nvPr/>
            </p:nvSpPr>
            <p:spPr bwMode="auto">
              <a:xfrm>
                <a:off x="3241445" y="3143028"/>
                <a:ext cx="97937" cy="151357"/>
              </a:xfrm>
              <a:custGeom>
                <a:avLst/>
                <a:gdLst>
                  <a:gd name="T0" fmla="*/ 18 w 99"/>
                  <a:gd name="T1" fmla="*/ 4 h 153"/>
                  <a:gd name="T2" fmla="*/ 22 w 99"/>
                  <a:gd name="T3" fmla="*/ 0 h 153"/>
                  <a:gd name="T4" fmla="*/ 16 w 99"/>
                  <a:gd name="T5" fmla="*/ 1 h 153"/>
                  <a:gd name="T6" fmla="*/ 6 w 99"/>
                  <a:gd name="T7" fmla="*/ 19 h 153"/>
                  <a:gd name="T8" fmla="*/ 9 w 99"/>
                  <a:gd name="T9" fmla="*/ 9 h 153"/>
                  <a:gd name="T10" fmla="*/ 5 w 99"/>
                  <a:gd name="T11" fmla="*/ 17 h 153"/>
                  <a:gd name="T12" fmla="*/ 3 w 99"/>
                  <a:gd name="T13" fmla="*/ 33 h 153"/>
                  <a:gd name="T14" fmla="*/ 3 w 99"/>
                  <a:gd name="T15" fmla="*/ 23 h 153"/>
                  <a:gd name="T16" fmla="*/ 9 w 99"/>
                  <a:gd name="T17" fmla="*/ 46 h 153"/>
                  <a:gd name="T18" fmla="*/ 5 w 99"/>
                  <a:gd name="T19" fmla="*/ 38 h 153"/>
                  <a:gd name="T20" fmla="*/ 2 w 99"/>
                  <a:gd name="T21" fmla="*/ 39 h 153"/>
                  <a:gd name="T22" fmla="*/ 5 w 99"/>
                  <a:gd name="T23" fmla="*/ 42 h 153"/>
                  <a:gd name="T24" fmla="*/ 10 w 99"/>
                  <a:gd name="T25" fmla="*/ 61 h 153"/>
                  <a:gd name="T26" fmla="*/ 9 w 99"/>
                  <a:gd name="T27" fmla="*/ 58 h 153"/>
                  <a:gd name="T28" fmla="*/ 6 w 99"/>
                  <a:gd name="T29" fmla="*/ 51 h 153"/>
                  <a:gd name="T30" fmla="*/ 7 w 99"/>
                  <a:gd name="T31" fmla="*/ 62 h 153"/>
                  <a:gd name="T32" fmla="*/ 19 w 99"/>
                  <a:gd name="T33" fmla="*/ 71 h 153"/>
                  <a:gd name="T34" fmla="*/ 10 w 99"/>
                  <a:gd name="T35" fmla="*/ 67 h 153"/>
                  <a:gd name="T36" fmla="*/ 19 w 99"/>
                  <a:gd name="T37" fmla="*/ 74 h 153"/>
                  <a:gd name="T38" fmla="*/ 34 w 99"/>
                  <a:gd name="T39" fmla="*/ 74 h 153"/>
                  <a:gd name="T40" fmla="*/ 23 w 99"/>
                  <a:gd name="T41" fmla="*/ 75 h 153"/>
                  <a:gd name="T42" fmla="*/ 25 w 99"/>
                  <a:gd name="T43" fmla="*/ 75 h 153"/>
                  <a:gd name="T44" fmla="*/ 49 w 99"/>
                  <a:gd name="T45" fmla="*/ 77 h 153"/>
                  <a:gd name="T46" fmla="*/ 38 w 99"/>
                  <a:gd name="T47" fmla="*/ 77 h 153"/>
                  <a:gd name="T48" fmla="*/ 49 w 99"/>
                  <a:gd name="T49" fmla="*/ 77 h 153"/>
                  <a:gd name="T50" fmla="*/ 54 w 99"/>
                  <a:gd name="T51" fmla="*/ 78 h 153"/>
                  <a:gd name="T52" fmla="*/ 63 w 99"/>
                  <a:gd name="T53" fmla="*/ 84 h 153"/>
                  <a:gd name="T54" fmla="*/ 77 w 99"/>
                  <a:gd name="T55" fmla="*/ 84 h 153"/>
                  <a:gd name="T56" fmla="*/ 73 w 99"/>
                  <a:gd name="T57" fmla="*/ 84 h 153"/>
                  <a:gd name="T58" fmla="*/ 68 w 99"/>
                  <a:gd name="T59" fmla="*/ 85 h 153"/>
                  <a:gd name="T60" fmla="*/ 77 w 99"/>
                  <a:gd name="T61" fmla="*/ 87 h 153"/>
                  <a:gd name="T62" fmla="*/ 78 w 99"/>
                  <a:gd name="T63" fmla="*/ 84 h 153"/>
                  <a:gd name="T64" fmla="*/ 93 w 99"/>
                  <a:gd name="T65" fmla="*/ 84 h 153"/>
                  <a:gd name="T66" fmla="*/ 91 w 99"/>
                  <a:gd name="T67" fmla="*/ 82 h 153"/>
                  <a:gd name="T68" fmla="*/ 83 w 99"/>
                  <a:gd name="T69" fmla="*/ 84 h 153"/>
                  <a:gd name="T70" fmla="*/ 90 w 99"/>
                  <a:gd name="T71" fmla="*/ 84 h 153"/>
                  <a:gd name="T72" fmla="*/ 90 w 99"/>
                  <a:gd name="T73" fmla="*/ 84 h 153"/>
                  <a:gd name="T74" fmla="*/ 90 w 99"/>
                  <a:gd name="T75" fmla="*/ 84 h 153"/>
                  <a:gd name="T76" fmla="*/ 90 w 99"/>
                  <a:gd name="T77" fmla="*/ 84 h 153"/>
                  <a:gd name="T78" fmla="*/ 90 w 99"/>
                  <a:gd name="T79" fmla="*/ 84 h 153"/>
                  <a:gd name="T80" fmla="*/ 90 w 99"/>
                  <a:gd name="T81" fmla="*/ 84 h 153"/>
                  <a:gd name="T82" fmla="*/ 90 w 99"/>
                  <a:gd name="T83" fmla="*/ 84 h 153"/>
                  <a:gd name="T84" fmla="*/ 86 w 99"/>
                  <a:gd name="T85" fmla="*/ 98 h 153"/>
                  <a:gd name="T86" fmla="*/ 89 w 99"/>
                  <a:gd name="T87" fmla="*/ 88 h 153"/>
                  <a:gd name="T88" fmla="*/ 81 w 99"/>
                  <a:gd name="T89" fmla="*/ 111 h 153"/>
                  <a:gd name="T90" fmla="*/ 81 w 99"/>
                  <a:gd name="T91" fmla="*/ 107 h 153"/>
                  <a:gd name="T92" fmla="*/ 80 w 99"/>
                  <a:gd name="T93" fmla="*/ 101 h 153"/>
                  <a:gd name="T94" fmla="*/ 78 w 99"/>
                  <a:gd name="T95" fmla="*/ 107 h 153"/>
                  <a:gd name="T96" fmla="*/ 81 w 99"/>
                  <a:gd name="T97" fmla="*/ 111 h 153"/>
                  <a:gd name="T98" fmla="*/ 86 w 99"/>
                  <a:gd name="T99" fmla="*/ 122 h 153"/>
                  <a:gd name="T100" fmla="*/ 81 w 99"/>
                  <a:gd name="T101" fmla="*/ 117 h 153"/>
                  <a:gd name="T102" fmla="*/ 83 w 99"/>
                  <a:gd name="T103" fmla="*/ 123 h 153"/>
                  <a:gd name="T104" fmla="*/ 91 w 99"/>
                  <a:gd name="T105" fmla="*/ 140 h 153"/>
                  <a:gd name="T106" fmla="*/ 89 w 99"/>
                  <a:gd name="T107" fmla="*/ 130 h 153"/>
                  <a:gd name="T108" fmla="*/ 87 w 99"/>
                  <a:gd name="T109" fmla="*/ 136 h 153"/>
                  <a:gd name="T110" fmla="*/ 99 w 99"/>
                  <a:gd name="T111" fmla="*/ 153 h 153"/>
                  <a:gd name="T112" fmla="*/ 94 w 99"/>
                  <a:gd name="T113" fmla="*/ 143 h 153"/>
                  <a:gd name="T114" fmla="*/ 96 w 99"/>
                  <a:gd name="T115" fmla="*/ 151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99" h="153">
                    <a:moveTo>
                      <a:pt x="13" y="6"/>
                    </a:moveTo>
                    <a:lnTo>
                      <a:pt x="13" y="6"/>
                    </a:lnTo>
                    <a:lnTo>
                      <a:pt x="18" y="4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1"/>
                    </a:lnTo>
                    <a:lnTo>
                      <a:pt x="12" y="4"/>
                    </a:lnTo>
                    <a:lnTo>
                      <a:pt x="13" y="6"/>
                    </a:lnTo>
                    <a:close/>
                    <a:moveTo>
                      <a:pt x="6" y="19"/>
                    </a:moveTo>
                    <a:lnTo>
                      <a:pt x="6" y="19"/>
                    </a:lnTo>
                    <a:lnTo>
                      <a:pt x="10" y="10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6" y="13"/>
                    </a:lnTo>
                    <a:lnTo>
                      <a:pt x="5" y="17"/>
                    </a:lnTo>
                    <a:lnTo>
                      <a:pt x="6" y="19"/>
                    </a:lnTo>
                    <a:close/>
                    <a:moveTo>
                      <a:pt x="3" y="33"/>
                    </a:moveTo>
                    <a:lnTo>
                      <a:pt x="3" y="33"/>
                    </a:lnTo>
                    <a:lnTo>
                      <a:pt x="5" y="23"/>
                    </a:lnTo>
                    <a:lnTo>
                      <a:pt x="3" y="23"/>
                    </a:lnTo>
                    <a:lnTo>
                      <a:pt x="3" y="23"/>
                    </a:lnTo>
                    <a:lnTo>
                      <a:pt x="0" y="33"/>
                    </a:lnTo>
                    <a:lnTo>
                      <a:pt x="3" y="33"/>
                    </a:lnTo>
                    <a:close/>
                    <a:moveTo>
                      <a:pt x="9" y="46"/>
                    </a:moveTo>
                    <a:lnTo>
                      <a:pt x="9" y="46"/>
                    </a:lnTo>
                    <a:lnTo>
                      <a:pt x="7" y="40"/>
                    </a:lnTo>
                    <a:lnTo>
                      <a:pt x="5" y="38"/>
                    </a:lnTo>
                    <a:lnTo>
                      <a:pt x="3" y="38"/>
                    </a:lnTo>
                    <a:lnTo>
                      <a:pt x="2" y="39"/>
                    </a:lnTo>
                    <a:lnTo>
                      <a:pt x="2" y="39"/>
                    </a:lnTo>
                    <a:lnTo>
                      <a:pt x="3" y="40"/>
                    </a:lnTo>
                    <a:lnTo>
                      <a:pt x="3" y="40"/>
                    </a:lnTo>
                    <a:lnTo>
                      <a:pt x="5" y="42"/>
                    </a:lnTo>
                    <a:lnTo>
                      <a:pt x="6" y="46"/>
                    </a:lnTo>
                    <a:lnTo>
                      <a:pt x="9" y="46"/>
                    </a:lnTo>
                    <a:close/>
                    <a:moveTo>
                      <a:pt x="10" y="61"/>
                    </a:moveTo>
                    <a:lnTo>
                      <a:pt x="10" y="61"/>
                    </a:lnTo>
                    <a:lnTo>
                      <a:pt x="9" y="58"/>
                    </a:lnTo>
                    <a:lnTo>
                      <a:pt x="9" y="58"/>
                    </a:lnTo>
                    <a:lnTo>
                      <a:pt x="9" y="51"/>
                    </a:lnTo>
                    <a:lnTo>
                      <a:pt x="6" y="51"/>
                    </a:lnTo>
                    <a:lnTo>
                      <a:pt x="6" y="51"/>
                    </a:lnTo>
                    <a:lnTo>
                      <a:pt x="7" y="58"/>
                    </a:lnTo>
                    <a:lnTo>
                      <a:pt x="7" y="58"/>
                    </a:lnTo>
                    <a:lnTo>
                      <a:pt x="7" y="62"/>
                    </a:lnTo>
                    <a:lnTo>
                      <a:pt x="10" y="61"/>
                    </a:lnTo>
                    <a:close/>
                    <a:moveTo>
                      <a:pt x="19" y="71"/>
                    </a:moveTo>
                    <a:lnTo>
                      <a:pt x="19" y="71"/>
                    </a:lnTo>
                    <a:lnTo>
                      <a:pt x="16" y="68"/>
                    </a:lnTo>
                    <a:lnTo>
                      <a:pt x="12" y="65"/>
                    </a:lnTo>
                    <a:lnTo>
                      <a:pt x="10" y="67"/>
                    </a:lnTo>
                    <a:lnTo>
                      <a:pt x="10" y="67"/>
                    </a:lnTo>
                    <a:lnTo>
                      <a:pt x="15" y="69"/>
                    </a:lnTo>
                    <a:lnTo>
                      <a:pt x="19" y="74"/>
                    </a:lnTo>
                    <a:lnTo>
                      <a:pt x="19" y="71"/>
                    </a:lnTo>
                    <a:close/>
                    <a:moveTo>
                      <a:pt x="34" y="74"/>
                    </a:moveTo>
                    <a:lnTo>
                      <a:pt x="34" y="74"/>
                    </a:lnTo>
                    <a:lnTo>
                      <a:pt x="25" y="72"/>
                    </a:lnTo>
                    <a:lnTo>
                      <a:pt x="23" y="72"/>
                    </a:lnTo>
                    <a:lnTo>
                      <a:pt x="23" y="75"/>
                    </a:lnTo>
                    <a:lnTo>
                      <a:pt x="23" y="75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34" y="77"/>
                    </a:lnTo>
                    <a:lnTo>
                      <a:pt x="34" y="74"/>
                    </a:lnTo>
                    <a:close/>
                    <a:moveTo>
                      <a:pt x="49" y="77"/>
                    </a:moveTo>
                    <a:lnTo>
                      <a:pt x="49" y="77"/>
                    </a:lnTo>
                    <a:lnTo>
                      <a:pt x="39" y="75"/>
                    </a:lnTo>
                    <a:lnTo>
                      <a:pt x="38" y="77"/>
                    </a:lnTo>
                    <a:lnTo>
                      <a:pt x="38" y="77"/>
                    </a:lnTo>
                    <a:lnTo>
                      <a:pt x="48" y="80"/>
                    </a:lnTo>
                    <a:lnTo>
                      <a:pt x="49" y="77"/>
                    </a:lnTo>
                    <a:close/>
                    <a:moveTo>
                      <a:pt x="64" y="81"/>
                    </a:moveTo>
                    <a:lnTo>
                      <a:pt x="64" y="81"/>
                    </a:lnTo>
                    <a:lnTo>
                      <a:pt x="54" y="78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63" y="84"/>
                    </a:lnTo>
                    <a:lnTo>
                      <a:pt x="64" y="81"/>
                    </a:lnTo>
                    <a:close/>
                    <a:moveTo>
                      <a:pt x="78" y="84"/>
                    </a:moveTo>
                    <a:lnTo>
                      <a:pt x="77" y="84"/>
                    </a:lnTo>
                    <a:lnTo>
                      <a:pt x="77" y="84"/>
                    </a:lnTo>
                    <a:lnTo>
                      <a:pt x="73" y="84"/>
                    </a:lnTo>
                    <a:lnTo>
                      <a:pt x="73" y="84"/>
                    </a:lnTo>
                    <a:lnTo>
                      <a:pt x="68" y="82"/>
                    </a:lnTo>
                    <a:lnTo>
                      <a:pt x="68" y="85"/>
                    </a:lnTo>
                    <a:lnTo>
                      <a:pt x="68" y="85"/>
                    </a:lnTo>
                    <a:lnTo>
                      <a:pt x="73" y="87"/>
                    </a:lnTo>
                    <a:lnTo>
                      <a:pt x="73" y="87"/>
                    </a:lnTo>
                    <a:lnTo>
                      <a:pt x="77" y="87"/>
                    </a:lnTo>
                    <a:lnTo>
                      <a:pt x="77" y="87"/>
                    </a:lnTo>
                    <a:lnTo>
                      <a:pt x="78" y="87"/>
                    </a:lnTo>
                    <a:lnTo>
                      <a:pt x="78" y="84"/>
                    </a:lnTo>
                    <a:close/>
                    <a:moveTo>
                      <a:pt x="93" y="85"/>
                    </a:moveTo>
                    <a:lnTo>
                      <a:pt x="93" y="85"/>
                    </a:lnTo>
                    <a:lnTo>
                      <a:pt x="93" y="84"/>
                    </a:lnTo>
                    <a:lnTo>
                      <a:pt x="93" y="84"/>
                    </a:lnTo>
                    <a:lnTo>
                      <a:pt x="91" y="82"/>
                    </a:lnTo>
                    <a:lnTo>
                      <a:pt x="91" y="82"/>
                    </a:lnTo>
                    <a:lnTo>
                      <a:pt x="90" y="81"/>
                    </a:lnTo>
                    <a:lnTo>
                      <a:pt x="90" y="81"/>
                    </a:lnTo>
                    <a:lnTo>
                      <a:pt x="83" y="84"/>
                    </a:lnTo>
                    <a:lnTo>
                      <a:pt x="84" y="85"/>
                    </a:lnTo>
                    <a:lnTo>
                      <a:pt x="84" y="85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3" y="85"/>
                    </a:lnTo>
                    <a:close/>
                    <a:moveTo>
                      <a:pt x="86" y="98"/>
                    </a:moveTo>
                    <a:lnTo>
                      <a:pt x="86" y="98"/>
                    </a:lnTo>
                    <a:lnTo>
                      <a:pt x="90" y="90"/>
                    </a:lnTo>
                    <a:lnTo>
                      <a:pt x="89" y="88"/>
                    </a:lnTo>
                    <a:lnTo>
                      <a:pt x="89" y="88"/>
                    </a:lnTo>
                    <a:lnTo>
                      <a:pt x="83" y="97"/>
                    </a:lnTo>
                    <a:lnTo>
                      <a:pt x="86" y="98"/>
                    </a:lnTo>
                    <a:close/>
                    <a:moveTo>
                      <a:pt x="81" y="111"/>
                    </a:moveTo>
                    <a:lnTo>
                      <a:pt x="81" y="111"/>
                    </a:lnTo>
                    <a:lnTo>
                      <a:pt x="81" y="107"/>
                    </a:lnTo>
                    <a:lnTo>
                      <a:pt x="81" y="107"/>
                    </a:lnTo>
                    <a:lnTo>
                      <a:pt x="81" y="104"/>
                    </a:lnTo>
                    <a:lnTo>
                      <a:pt x="83" y="103"/>
                    </a:lnTo>
                    <a:lnTo>
                      <a:pt x="80" y="101"/>
                    </a:lnTo>
                    <a:lnTo>
                      <a:pt x="80" y="103"/>
                    </a:lnTo>
                    <a:lnTo>
                      <a:pt x="80" y="103"/>
                    </a:lnTo>
                    <a:lnTo>
                      <a:pt x="78" y="107"/>
                    </a:lnTo>
                    <a:lnTo>
                      <a:pt x="78" y="107"/>
                    </a:lnTo>
                    <a:lnTo>
                      <a:pt x="80" y="113"/>
                    </a:lnTo>
                    <a:lnTo>
                      <a:pt x="81" y="111"/>
                    </a:lnTo>
                    <a:close/>
                    <a:moveTo>
                      <a:pt x="87" y="126"/>
                    </a:moveTo>
                    <a:lnTo>
                      <a:pt x="87" y="126"/>
                    </a:lnTo>
                    <a:lnTo>
                      <a:pt x="86" y="122"/>
                    </a:lnTo>
                    <a:lnTo>
                      <a:pt x="86" y="122"/>
                    </a:lnTo>
                    <a:lnTo>
                      <a:pt x="83" y="116"/>
                    </a:lnTo>
                    <a:lnTo>
                      <a:pt x="81" y="117"/>
                    </a:lnTo>
                    <a:lnTo>
                      <a:pt x="81" y="117"/>
                    </a:lnTo>
                    <a:lnTo>
                      <a:pt x="83" y="123"/>
                    </a:lnTo>
                    <a:lnTo>
                      <a:pt x="83" y="123"/>
                    </a:lnTo>
                    <a:lnTo>
                      <a:pt x="84" y="127"/>
                    </a:lnTo>
                    <a:lnTo>
                      <a:pt x="87" y="126"/>
                    </a:lnTo>
                    <a:close/>
                    <a:moveTo>
                      <a:pt x="91" y="140"/>
                    </a:moveTo>
                    <a:lnTo>
                      <a:pt x="91" y="140"/>
                    </a:lnTo>
                    <a:lnTo>
                      <a:pt x="90" y="136"/>
                    </a:lnTo>
                    <a:lnTo>
                      <a:pt x="89" y="130"/>
                    </a:lnTo>
                    <a:lnTo>
                      <a:pt x="86" y="132"/>
                    </a:lnTo>
                    <a:lnTo>
                      <a:pt x="86" y="132"/>
                    </a:lnTo>
                    <a:lnTo>
                      <a:pt x="87" y="136"/>
                    </a:lnTo>
                    <a:lnTo>
                      <a:pt x="90" y="142"/>
                    </a:lnTo>
                    <a:lnTo>
                      <a:pt x="91" y="140"/>
                    </a:lnTo>
                    <a:close/>
                    <a:moveTo>
                      <a:pt x="99" y="153"/>
                    </a:moveTo>
                    <a:lnTo>
                      <a:pt x="99" y="153"/>
                    </a:lnTo>
                    <a:lnTo>
                      <a:pt x="97" y="149"/>
                    </a:lnTo>
                    <a:lnTo>
                      <a:pt x="94" y="143"/>
                    </a:lnTo>
                    <a:lnTo>
                      <a:pt x="93" y="146"/>
                    </a:lnTo>
                    <a:lnTo>
                      <a:pt x="93" y="146"/>
                    </a:lnTo>
                    <a:lnTo>
                      <a:pt x="96" y="151"/>
                    </a:lnTo>
                    <a:lnTo>
                      <a:pt x="96" y="153"/>
                    </a:lnTo>
                    <a:lnTo>
                      <a:pt x="99" y="15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8" name="Freeform 1646"/>
              <p:cNvSpPr>
                <a:spLocks noEditPoints="1"/>
              </p:cNvSpPr>
              <p:nvPr/>
            </p:nvSpPr>
            <p:spPr bwMode="auto">
              <a:xfrm>
                <a:off x="3174176" y="3185566"/>
                <a:ext cx="6925" cy="25721"/>
              </a:xfrm>
              <a:custGeom>
                <a:avLst/>
                <a:gdLst>
                  <a:gd name="T0" fmla="*/ 2 w 7"/>
                  <a:gd name="T1" fmla="*/ 15 h 26"/>
                  <a:gd name="T2" fmla="*/ 2 w 7"/>
                  <a:gd name="T3" fmla="*/ 15 h 26"/>
                  <a:gd name="T4" fmla="*/ 0 w 7"/>
                  <a:gd name="T5" fmla="*/ 25 h 26"/>
                  <a:gd name="T6" fmla="*/ 2 w 7"/>
                  <a:gd name="T7" fmla="*/ 26 h 26"/>
                  <a:gd name="T8" fmla="*/ 2 w 7"/>
                  <a:gd name="T9" fmla="*/ 26 h 26"/>
                  <a:gd name="T10" fmla="*/ 5 w 7"/>
                  <a:gd name="T11" fmla="*/ 16 h 26"/>
                  <a:gd name="T12" fmla="*/ 2 w 7"/>
                  <a:gd name="T13" fmla="*/ 15 h 26"/>
                  <a:gd name="T14" fmla="*/ 5 w 7"/>
                  <a:gd name="T15" fmla="*/ 0 h 26"/>
                  <a:gd name="T16" fmla="*/ 5 w 7"/>
                  <a:gd name="T17" fmla="*/ 0 h 26"/>
                  <a:gd name="T18" fmla="*/ 3 w 7"/>
                  <a:gd name="T19" fmla="*/ 10 h 26"/>
                  <a:gd name="T20" fmla="*/ 6 w 7"/>
                  <a:gd name="T21" fmla="*/ 10 h 26"/>
                  <a:gd name="T22" fmla="*/ 6 w 7"/>
                  <a:gd name="T23" fmla="*/ 10 h 26"/>
                  <a:gd name="T24" fmla="*/ 7 w 7"/>
                  <a:gd name="T25" fmla="*/ 0 h 26"/>
                  <a:gd name="T26" fmla="*/ 5 w 7"/>
                  <a:gd name="T27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26">
                    <a:moveTo>
                      <a:pt x="2" y="15"/>
                    </a:moveTo>
                    <a:lnTo>
                      <a:pt x="2" y="15"/>
                    </a:lnTo>
                    <a:lnTo>
                      <a:pt x="0" y="25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5" y="16"/>
                    </a:lnTo>
                    <a:lnTo>
                      <a:pt x="2" y="15"/>
                    </a:lnTo>
                    <a:close/>
                    <a:moveTo>
                      <a:pt x="5" y="0"/>
                    </a:moveTo>
                    <a:lnTo>
                      <a:pt x="5" y="0"/>
                    </a:lnTo>
                    <a:lnTo>
                      <a:pt x="3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7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9" name="Freeform 1647"/>
              <p:cNvSpPr>
                <a:spLocks noEditPoints="1"/>
              </p:cNvSpPr>
              <p:nvPr/>
            </p:nvSpPr>
            <p:spPr bwMode="auto">
              <a:xfrm>
                <a:off x="3082174" y="3165781"/>
                <a:ext cx="7914" cy="24731"/>
              </a:xfrm>
              <a:custGeom>
                <a:avLst/>
                <a:gdLst>
                  <a:gd name="T0" fmla="*/ 3 w 8"/>
                  <a:gd name="T1" fmla="*/ 10 h 25"/>
                  <a:gd name="T2" fmla="*/ 3 w 8"/>
                  <a:gd name="T3" fmla="*/ 10 h 25"/>
                  <a:gd name="T4" fmla="*/ 5 w 8"/>
                  <a:gd name="T5" fmla="*/ 6 h 25"/>
                  <a:gd name="T6" fmla="*/ 8 w 8"/>
                  <a:gd name="T7" fmla="*/ 2 h 25"/>
                  <a:gd name="T8" fmla="*/ 6 w 8"/>
                  <a:gd name="T9" fmla="*/ 0 h 25"/>
                  <a:gd name="T10" fmla="*/ 6 w 8"/>
                  <a:gd name="T11" fmla="*/ 0 h 25"/>
                  <a:gd name="T12" fmla="*/ 2 w 8"/>
                  <a:gd name="T13" fmla="*/ 4 h 25"/>
                  <a:gd name="T14" fmla="*/ 0 w 8"/>
                  <a:gd name="T15" fmla="*/ 10 h 25"/>
                  <a:gd name="T16" fmla="*/ 3 w 8"/>
                  <a:gd name="T17" fmla="*/ 10 h 25"/>
                  <a:gd name="T18" fmla="*/ 5 w 8"/>
                  <a:gd name="T19" fmla="*/ 25 h 25"/>
                  <a:gd name="T20" fmla="*/ 5 w 8"/>
                  <a:gd name="T21" fmla="*/ 25 h 25"/>
                  <a:gd name="T22" fmla="*/ 3 w 8"/>
                  <a:gd name="T23" fmla="*/ 15 h 25"/>
                  <a:gd name="T24" fmla="*/ 0 w 8"/>
                  <a:gd name="T25" fmla="*/ 15 h 25"/>
                  <a:gd name="T26" fmla="*/ 0 w 8"/>
                  <a:gd name="T27" fmla="*/ 15 h 25"/>
                  <a:gd name="T28" fmla="*/ 2 w 8"/>
                  <a:gd name="T29" fmla="*/ 25 h 25"/>
                  <a:gd name="T30" fmla="*/ 5 w 8"/>
                  <a:gd name="T31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" h="25">
                    <a:moveTo>
                      <a:pt x="3" y="10"/>
                    </a:moveTo>
                    <a:lnTo>
                      <a:pt x="3" y="10"/>
                    </a:lnTo>
                    <a:lnTo>
                      <a:pt x="5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10"/>
                    </a:lnTo>
                    <a:lnTo>
                      <a:pt x="3" y="10"/>
                    </a:lnTo>
                    <a:close/>
                    <a:moveTo>
                      <a:pt x="5" y="25"/>
                    </a:moveTo>
                    <a:lnTo>
                      <a:pt x="5" y="25"/>
                    </a:lnTo>
                    <a:lnTo>
                      <a:pt x="3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5"/>
                    </a:lnTo>
                    <a:lnTo>
                      <a:pt x="5" y="2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0" name="Freeform 1648"/>
              <p:cNvSpPr>
                <a:spLocks noEditPoints="1"/>
              </p:cNvSpPr>
              <p:nvPr/>
            </p:nvSpPr>
            <p:spPr bwMode="auto">
              <a:xfrm>
                <a:off x="3040626" y="3146985"/>
                <a:ext cx="33635" cy="4946"/>
              </a:xfrm>
              <a:custGeom>
                <a:avLst/>
                <a:gdLst>
                  <a:gd name="T0" fmla="*/ 3 w 34"/>
                  <a:gd name="T1" fmla="*/ 0 h 5"/>
                  <a:gd name="T2" fmla="*/ 3 w 34"/>
                  <a:gd name="T3" fmla="*/ 0 h 5"/>
                  <a:gd name="T4" fmla="*/ 0 w 34"/>
                  <a:gd name="T5" fmla="*/ 0 h 5"/>
                  <a:gd name="T6" fmla="*/ 0 w 34"/>
                  <a:gd name="T7" fmla="*/ 3 h 5"/>
                  <a:gd name="T8" fmla="*/ 0 w 34"/>
                  <a:gd name="T9" fmla="*/ 3 h 5"/>
                  <a:gd name="T10" fmla="*/ 3 w 34"/>
                  <a:gd name="T11" fmla="*/ 3 h 5"/>
                  <a:gd name="T12" fmla="*/ 3 w 34"/>
                  <a:gd name="T13" fmla="*/ 0 h 5"/>
                  <a:gd name="T14" fmla="*/ 19 w 34"/>
                  <a:gd name="T15" fmla="*/ 2 h 5"/>
                  <a:gd name="T16" fmla="*/ 19 w 34"/>
                  <a:gd name="T17" fmla="*/ 2 h 5"/>
                  <a:gd name="T18" fmla="*/ 9 w 34"/>
                  <a:gd name="T19" fmla="*/ 0 h 5"/>
                  <a:gd name="T20" fmla="*/ 8 w 34"/>
                  <a:gd name="T21" fmla="*/ 3 h 5"/>
                  <a:gd name="T22" fmla="*/ 8 w 34"/>
                  <a:gd name="T23" fmla="*/ 3 h 5"/>
                  <a:gd name="T24" fmla="*/ 18 w 34"/>
                  <a:gd name="T25" fmla="*/ 3 h 5"/>
                  <a:gd name="T26" fmla="*/ 19 w 34"/>
                  <a:gd name="T27" fmla="*/ 2 h 5"/>
                  <a:gd name="T28" fmla="*/ 34 w 34"/>
                  <a:gd name="T29" fmla="*/ 2 h 5"/>
                  <a:gd name="T30" fmla="*/ 34 w 34"/>
                  <a:gd name="T31" fmla="*/ 2 h 5"/>
                  <a:gd name="T32" fmla="*/ 24 w 34"/>
                  <a:gd name="T33" fmla="*/ 2 h 5"/>
                  <a:gd name="T34" fmla="*/ 24 w 34"/>
                  <a:gd name="T35" fmla="*/ 5 h 5"/>
                  <a:gd name="T36" fmla="*/ 24 w 34"/>
                  <a:gd name="T37" fmla="*/ 5 h 5"/>
                  <a:gd name="T38" fmla="*/ 34 w 34"/>
                  <a:gd name="T39" fmla="*/ 5 h 5"/>
                  <a:gd name="T40" fmla="*/ 34 w 34"/>
                  <a:gd name="T4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4" h="5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  <a:moveTo>
                      <a:pt x="19" y="2"/>
                    </a:moveTo>
                    <a:lnTo>
                      <a:pt x="19" y="2"/>
                    </a:lnTo>
                    <a:lnTo>
                      <a:pt x="9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18" y="3"/>
                    </a:lnTo>
                    <a:lnTo>
                      <a:pt x="19" y="2"/>
                    </a:lnTo>
                    <a:close/>
                    <a:moveTo>
                      <a:pt x="34" y="2"/>
                    </a:moveTo>
                    <a:lnTo>
                      <a:pt x="34" y="2"/>
                    </a:lnTo>
                    <a:lnTo>
                      <a:pt x="24" y="2"/>
                    </a:lnTo>
                    <a:lnTo>
                      <a:pt x="24" y="5"/>
                    </a:lnTo>
                    <a:lnTo>
                      <a:pt x="24" y="5"/>
                    </a:lnTo>
                    <a:lnTo>
                      <a:pt x="34" y="5"/>
                    </a:lnTo>
                    <a:lnTo>
                      <a:pt x="34" y="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1" name="Freeform 1649"/>
              <p:cNvSpPr>
                <a:spLocks noEditPoints="1"/>
              </p:cNvSpPr>
              <p:nvPr/>
            </p:nvSpPr>
            <p:spPr bwMode="auto">
              <a:xfrm>
                <a:off x="3009959" y="3082683"/>
                <a:ext cx="68259" cy="37592"/>
              </a:xfrm>
              <a:custGeom>
                <a:avLst/>
                <a:gdLst>
                  <a:gd name="T0" fmla="*/ 68 w 69"/>
                  <a:gd name="T1" fmla="*/ 3 h 38"/>
                  <a:gd name="T2" fmla="*/ 69 w 69"/>
                  <a:gd name="T3" fmla="*/ 3 h 38"/>
                  <a:gd name="T4" fmla="*/ 68 w 69"/>
                  <a:gd name="T5" fmla="*/ 0 h 38"/>
                  <a:gd name="T6" fmla="*/ 68 w 69"/>
                  <a:gd name="T7" fmla="*/ 1 h 38"/>
                  <a:gd name="T8" fmla="*/ 68 w 69"/>
                  <a:gd name="T9" fmla="*/ 3 h 38"/>
                  <a:gd name="T10" fmla="*/ 53 w 69"/>
                  <a:gd name="T11" fmla="*/ 9 h 38"/>
                  <a:gd name="T12" fmla="*/ 53 w 69"/>
                  <a:gd name="T13" fmla="*/ 9 h 38"/>
                  <a:gd name="T14" fmla="*/ 63 w 69"/>
                  <a:gd name="T15" fmla="*/ 4 h 38"/>
                  <a:gd name="T16" fmla="*/ 62 w 69"/>
                  <a:gd name="T17" fmla="*/ 3 h 38"/>
                  <a:gd name="T18" fmla="*/ 62 w 69"/>
                  <a:gd name="T19" fmla="*/ 3 h 38"/>
                  <a:gd name="T20" fmla="*/ 53 w 69"/>
                  <a:gd name="T21" fmla="*/ 6 h 38"/>
                  <a:gd name="T22" fmla="*/ 53 w 69"/>
                  <a:gd name="T23" fmla="*/ 9 h 38"/>
                  <a:gd name="T24" fmla="*/ 40 w 69"/>
                  <a:gd name="T25" fmla="*/ 15 h 38"/>
                  <a:gd name="T26" fmla="*/ 40 w 69"/>
                  <a:gd name="T27" fmla="*/ 15 h 38"/>
                  <a:gd name="T28" fmla="*/ 46 w 69"/>
                  <a:gd name="T29" fmla="*/ 12 h 38"/>
                  <a:gd name="T30" fmla="*/ 46 w 69"/>
                  <a:gd name="T31" fmla="*/ 12 h 38"/>
                  <a:gd name="T32" fmla="*/ 49 w 69"/>
                  <a:gd name="T33" fmla="*/ 10 h 38"/>
                  <a:gd name="T34" fmla="*/ 49 w 69"/>
                  <a:gd name="T35" fmla="*/ 9 h 38"/>
                  <a:gd name="T36" fmla="*/ 49 w 69"/>
                  <a:gd name="T37" fmla="*/ 9 h 38"/>
                  <a:gd name="T38" fmla="*/ 44 w 69"/>
                  <a:gd name="T39" fmla="*/ 10 h 38"/>
                  <a:gd name="T40" fmla="*/ 44 w 69"/>
                  <a:gd name="T41" fmla="*/ 10 h 38"/>
                  <a:gd name="T42" fmla="*/ 39 w 69"/>
                  <a:gd name="T43" fmla="*/ 13 h 38"/>
                  <a:gd name="T44" fmla="*/ 40 w 69"/>
                  <a:gd name="T45" fmla="*/ 15 h 38"/>
                  <a:gd name="T46" fmla="*/ 27 w 69"/>
                  <a:gd name="T47" fmla="*/ 22 h 38"/>
                  <a:gd name="T48" fmla="*/ 27 w 69"/>
                  <a:gd name="T49" fmla="*/ 22 h 38"/>
                  <a:gd name="T50" fmla="*/ 36 w 69"/>
                  <a:gd name="T51" fmla="*/ 17 h 38"/>
                  <a:gd name="T52" fmla="*/ 34 w 69"/>
                  <a:gd name="T53" fmla="*/ 15 h 38"/>
                  <a:gd name="T54" fmla="*/ 34 w 69"/>
                  <a:gd name="T55" fmla="*/ 15 h 38"/>
                  <a:gd name="T56" fmla="*/ 26 w 69"/>
                  <a:gd name="T57" fmla="*/ 20 h 38"/>
                  <a:gd name="T58" fmla="*/ 27 w 69"/>
                  <a:gd name="T59" fmla="*/ 22 h 38"/>
                  <a:gd name="T60" fmla="*/ 14 w 69"/>
                  <a:gd name="T61" fmla="*/ 30 h 38"/>
                  <a:gd name="T62" fmla="*/ 14 w 69"/>
                  <a:gd name="T63" fmla="*/ 30 h 38"/>
                  <a:gd name="T64" fmla="*/ 23 w 69"/>
                  <a:gd name="T65" fmla="*/ 25 h 38"/>
                  <a:gd name="T66" fmla="*/ 21 w 69"/>
                  <a:gd name="T67" fmla="*/ 23 h 38"/>
                  <a:gd name="T68" fmla="*/ 21 w 69"/>
                  <a:gd name="T69" fmla="*/ 23 h 38"/>
                  <a:gd name="T70" fmla="*/ 13 w 69"/>
                  <a:gd name="T71" fmla="*/ 28 h 38"/>
                  <a:gd name="T72" fmla="*/ 14 w 69"/>
                  <a:gd name="T73" fmla="*/ 30 h 38"/>
                  <a:gd name="T74" fmla="*/ 1 w 69"/>
                  <a:gd name="T75" fmla="*/ 38 h 38"/>
                  <a:gd name="T76" fmla="*/ 1 w 69"/>
                  <a:gd name="T77" fmla="*/ 38 h 38"/>
                  <a:gd name="T78" fmla="*/ 10 w 69"/>
                  <a:gd name="T79" fmla="*/ 33 h 38"/>
                  <a:gd name="T80" fmla="*/ 8 w 69"/>
                  <a:gd name="T81" fmla="*/ 30 h 38"/>
                  <a:gd name="T82" fmla="*/ 8 w 69"/>
                  <a:gd name="T83" fmla="*/ 30 h 38"/>
                  <a:gd name="T84" fmla="*/ 0 w 69"/>
                  <a:gd name="T85" fmla="*/ 36 h 38"/>
                  <a:gd name="T86" fmla="*/ 1 w 69"/>
                  <a:gd name="T87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9" h="38">
                    <a:moveTo>
                      <a:pt x="68" y="3"/>
                    </a:moveTo>
                    <a:lnTo>
                      <a:pt x="69" y="3"/>
                    </a:lnTo>
                    <a:lnTo>
                      <a:pt x="68" y="0"/>
                    </a:lnTo>
                    <a:lnTo>
                      <a:pt x="68" y="1"/>
                    </a:lnTo>
                    <a:lnTo>
                      <a:pt x="68" y="3"/>
                    </a:lnTo>
                    <a:close/>
                    <a:moveTo>
                      <a:pt x="53" y="9"/>
                    </a:moveTo>
                    <a:lnTo>
                      <a:pt x="53" y="9"/>
                    </a:lnTo>
                    <a:lnTo>
                      <a:pt x="63" y="4"/>
                    </a:lnTo>
                    <a:lnTo>
                      <a:pt x="62" y="3"/>
                    </a:lnTo>
                    <a:lnTo>
                      <a:pt x="62" y="3"/>
                    </a:lnTo>
                    <a:lnTo>
                      <a:pt x="53" y="6"/>
                    </a:lnTo>
                    <a:lnTo>
                      <a:pt x="53" y="9"/>
                    </a:lnTo>
                    <a:close/>
                    <a:moveTo>
                      <a:pt x="40" y="15"/>
                    </a:moveTo>
                    <a:lnTo>
                      <a:pt x="40" y="15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9" y="10"/>
                    </a:lnTo>
                    <a:lnTo>
                      <a:pt x="49" y="9"/>
                    </a:lnTo>
                    <a:lnTo>
                      <a:pt x="49" y="9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39" y="13"/>
                    </a:lnTo>
                    <a:lnTo>
                      <a:pt x="40" y="15"/>
                    </a:lnTo>
                    <a:close/>
                    <a:moveTo>
                      <a:pt x="27" y="22"/>
                    </a:moveTo>
                    <a:lnTo>
                      <a:pt x="27" y="22"/>
                    </a:lnTo>
                    <a:lnTo>
                      <a:pt x="36" y="17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26" y="20"/>
                    </a:lnTo>
                    <a:lnTo>
                      <a:pt x="27" y="22"/>
                    </a:lnTo>
                    <a:close/>
                    <a:moveTo>
                      <a:pt x="14" y="30"/>
                    </a:moveTo>
                    <a:lnTo>
                      <a:pt x="14" y="30"/>
                    </a:lnTo>
                    <a:lnTo>
                      <a:pt x="23" y="25"/>
                    </a:lnTo>
                    <a:lnTo>
                      <a:pt x="21" y="23"/>
                    </a:lnTo>
                    <a:lnTo>
                      <a:pt x="21" y="23"/>
                    </a:lnTo>
                    <a:lnTo>
                      <a:pt x="13" y="28"/>
                    </a:lnTo>
                    <a:lnTo>
                      <a:pt x="14" y="30"/>
                    </a:lnTo>
                    <a:close/>
                    <a:moveTo>
                      <a:pt x="1" y="38"/>
                    </a:moveTo>
                    <a:lnTo>
                      <a:pt x="1" y="38"/>
                    </a:lnTo>
                    <a:lnTo>
                      <a:pt x="10" y="33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0" y="36"/>
                    </a:lnTo>
                    <a:lnTo>
                      <a:pt x="1" y="3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2" name="Freeform 1650"/>
              <p:cNvSpPr>
                <a:spLocks noEditPoints="1"/>
              </p:cNvSpPr>
              <p:nvPr/>
            </p:nvSpPr>
            <p:spPr bwMode="auto">
              <a:xfrm>
                <a:off x="2982259" y="3086640"/>
                <a:ext cx="27699" cy="25721"/>
              </a:xfrm>
              <a:custGeom>
                <a:avLst/>
                <a:gdLst>
                  <a:gd name="T0" fmla="*/ 10 w 28"/>
                  <a:gd name="T1" fmla="*/ 5 h 26"/>
                  <a:gd name="T2" fmla="*/ 2 w 28"/>
                  <a:gd name="T3" fmla="*/ 0 h 26"/>
                  <a:gd name="T4" fmla="*/ 0 w 28"/>
                  <a:gd name="T5" fmla="*/ 3 h 26"/>
                  <a:gd name="T6" fmla="*/ 10 w 28"/>
                  <a:gd name="T7" fmla="*/ 8 h 26"/>
                  <a:gd name="T8" fmla="*/ 10 w 28"/>
                  <a:gd name="T9" fmla="*/ 5 h 26"/>
                  <a:gd name="T10" fmla="*/ 25 w 28"/>
                  <a:gd name="T11" fmla="*/ 12 h 26"/>
                  <a:gd name="T12" fmla="*/ 15 w 28"/>
                  <a:gd name="T13" fmla="*/ 8 h 26"/>
                  <a:gd name="T14" fmla="*/ 15 w 28"/>
                  <a:gd name="T15" fmla="*/ 9 h 26"/>
                  <a:gd name="T16" fmla="*/ 23 w 28"/>
                  <a:gd name="T17" fmla="*/ 13 h 26"/>
                  <a:gd name="T18" fmla="*/ 25 w 28"/>
                  <a:gd name="T19" fmla="*/ 12 h 26"/>
                  <a:gd name="T20" fmla="*/ 26 w 28"/>
                  <a:gd name="T21" fmla="*/ 26 h 26"/>
                  <a:gd name="T22" fmla="*/ 28 w 28"/>
                  <a:gd name="T23" fmla="*/ 16 h 26"/>
                  <a:gd name="T24" fmla="*/ 25 w 28"/>
                  <a:gd name="T25" fmla="*/ 16 h 26"/>
                  <a:gd name="T26" fmla="*/ 25 w 28"/>
                  <a:gd name="T27" fmla="*/ 26 h 26"/>
                  <a:gd name="T28" fmla="*/ 26 w 28"/>
                  <a:gd name="T2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8" h="26">
                    <a:moveTo>
                      <a:pt x="10" y="5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10" y="8"/>
                    </a:lnTo>
                    <a:lnTo>
                      <a:pt x="10" y="5"/>
                    </a:lnTo>
                    <a:close/>
                    <a:moveTo>
                      <a:pt x="25" y="12"/>
                    </a:moveTo>
                    <a:lnTo>
                      <a:pt x="15" y="8"/>
                    </a:lnTo>
                    <a:lnTo>
                      <a:pt x="15" y="9"/>
                    </a:lnTo>
                    <a:lnTo>
                      <a:pt x="23" y="13"/>
                    </a:lnTo>
                    <a:lnTo>
                      <a:pt x="25" y="12"/>
                    </a:lnTo>
                    <a:close/>
                    <a:moveTo>
                      <a:pt x="26" y="26"/>
                    </a:moveTo>
                    <a:lnTo>
                      <a:pt x="28" y="16"/>
                    </a:lnTo>
                    <a:lnTo>
                      <a:pt x="25" y="16"/>
                    </a:lnTo>
                    <a:lnTo>
                      <a:pt x="25" y="26"/>
                    </a:lnTo>
                    <a:lnTo>
                      <a:pt x="26" y="2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3" name="Freeform 1651"/>
              <p:cNvSpPr>
                <a:spLocks noEditPoints="1"/>
              </p:cNvSpPr>
              <p:nvPr/>
            </p:nvSpPr>
            <p:spPr bwMode="auto">
              <a:xfrm>
                <a:off x="2970388" y="3072791"/>
                <a:ext cx="28689" cy="28689"/>
              </a:xfrm>
              <a:custGeom>
                <a:avLst/>
                <a:gdLst>
                  <a:gd name="T0" fmla="*/ 22 w 29"/>
                  <a:gd name="T1" fmla="*/ 7 h 29"/>
                  <a:gd name="T2" fmla="*/ 22 w 29"/>
                  <a:gd name="T3" fmla="*/ 7 h 29"/>
                  <a:gd name="T4" fmla="*/ 29 w 29"/>
                  <a:gd name="T5" fmla="*/ 1 h 29"/>
                  <a:gd name="T6" fmla="*/ 28 w 29"/>
                  <a:gd name="T7" fmla="*/ 0 h 29"/>
                  <a:gd name="T8" fmla="*/ 28 w 29"/>
                  <a:gd name="T9" fmla="*/ 0 h 29"/>
                  <a:gd name="T10" fmla="*/ 21 w 29"/>
                  <a:gd name="T11" fmla="*/ 6 h 29"/>
                  <a:gd name="T12" fmla="*/ 22 w 29"/>
                  <a:gd name="T13" fmla="*/ 7 h 29"/>
                  <a:gd name="T14" fmla="*/ 12 w 29"/>
                  <a:gd name="T15" fmla="*/ 19 h 29"/>
                  <a:gd name="T16" fmla="*/ 12 w 29"/>
                  <a:gd name="T17" fmla="*/ 19 h 29"/>
                  <a:gd name="T18" fmla="*/ 19 w 29"/>
                  <a:gd name="T19" fmla="*/ 11 h 29"/>
                  <a:gd name="T20" fmla="*/ 18 w 29"/>
                  <a:gd name="T21" fmla="*/ 10 h 29"/>
                  <a:gd name="T22" fmla="*/ 18 w 29"/>
                  <a:gd name="T23" fmla="*/ 10 h 29"/>
                  <a:gd name="T24" fmla="*/ 11 w 29"/>
                  <a:gd name="T25" fmla="*/ 17 h 29"/>
                  <a:gd name="T26" fmla="*/ 12 w 29"/>
                  <a:gd name="T27" fmla="*/ 19 h 29"/>
                  <a:gd name="T28" fmla="*/ 2 w 29"/>
                  <a:gd name="T29" fmla="*/ 29 h 29"/>
                  <a:gd name="T30" fmla="*/ 2 w 29"/>
                  <a:gd name="T31" fmla="*/ 29 h 29"/>
                  <a:gd name="T32" fmla="*/ 9 w 29"/>
                  <a:gd name="T33" fmla="*/ 22 h 29"/>
                  <a:gd name="T34" fmla="*/ 6 w 29"/>
                  <a:gd name="T35" fmla="*/ 20 h 29"/>
                  <a:gd name="T36" fmla="*/ 6 w 29"/>
                  <a:gd name="T37" fmla="*/ 20 h 29"/>
                  <a:gd name="T38" fmla="*/ 0 w 29"/>
                  <a:gd name="T39" fmla="*/ 27 h 29"/>
                  <a:gd name="T40" fmla="*/ 2 w 29"/>
                  <a:gd name="T41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9" h="29">
                    <a:moveTo>
                      <a:pt x="22" y="7"/>
                    </a:moveTo>
                    <a:lnTo>
                      <a:pt x="22" y="7"/>
                    </a:lnTo>
                    <a:lnTo>
                      <a:pt x="29" y="1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1" y="6"/>
                    </a:lnTo>
                    <a:lnTo>
                      <a:pt x="22" y="7"/>
                    </a:lnTo>
                    <a:close/>
                    <a:moveTo>
                      <a:pt x="12" y="19"/>
                    </a:moveTo>
                    <a:lnTo>
                      <a:pt x="12" y="19"/>
                    </a:lnTo>
                    <a:lnTo>
                      <a:pt x="19" y="11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1" y="17"/>
                    </a:lnTo>
                    <a:lnTo>
                      <a:pt x="12" y="19"/>
                    </a:lnTo>
                    <a:close/>
                    <a:moveTo>
                      <a:pt x="2" y="29"/>
                    </a:moveTo>
                    <a:lnTo>
                      <a:pt x="2" y="29"/>
                    </a:lnTo>
                    <a:lnTo>
                      <a:pt x="9" y="22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0" y="27"/>
                    </a:lnTo>
                    <a:lnTo>
                      <a:pt x="2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4" name="Freeform 1652"/>
              <p:cNvSpPr>
                <a:spLocks noEditPoints="1"/>
              </p:cNvSpPr>
              <p:nvPr/>
            </p:nvSpPr>
            <p:spPr bwMode="auto">
              <a:xfrm>
                <a:off x="2933786" y="3027285"/>
                <a:ext cx="67270" cy="62323"/>
              </a:xfrm>
              <a:custGeom>
                <a:avLst/>
                <a:gdLst>
                  <a:gd name="T0" fmla="*/ 62 w 68"/>
                  <a:gd name="T1" fmla="*/ 5 h 63"/>
                  <a:gd name="T2" fmla="*/ 68 w 68"/>
                  <a:gd name="T3" fmla="*/ 0 h 63"/>
                  <a:gd name="T4" fmla="*/ 61 w 68"/>
                  <a:gd name="T5" fmla="*/ 2 h 63"/>
                  <a:gd name="T6" fmla="*/ 46 w 68"/>
                  <a:gd name="T7" fmla="*/ 10 h 63"/>
                  <a:gd name="T8" fmla="*/ 58 w 68"/>
                  <a:gd name="T9" fmla="*/ 8 h 63"/>
                  <a:gd name="T10" fmla="*/ 58 w 68"/>
                  <a:gd name="T11" fmla="*/ 8 h 63"/>
                  <a:gd name="T12" fmla="*/ 55 w 68"/>
                  <a:gd name="T13" fmla="*/ 7 h 63"/>
                  <a:gd name="T14" fmla="*/ 56 w 68"/>
                  <a:gd name="T15" fmla="*/ 7 h 63"/>
                  <a:gd name="T16" fmla="*/ 46 w 68"/>
                  <a:gd name="T17" fmla="*/ 10 h 63"/>
                  <a:gd name="T18" fmla="*/ 42 w 68"/>
                  <a:gd name="T19" fmla="*/ 10 h 63"/>
                  <a:gd name="T20" fmla="*/ 32 w 68"/>
                  <a:gd name="T21" fmla="*/ 7 h 63"/>
                  <a:gd name="T22" fmla="*/ 19 w 68"/>
                  <a:gd name="T23" fmla="*/ 10 h 63"/>
                  <a:gd name="T24" fmla="*/ 19 w 68"/>
                  <a:gd name="T25" fmla="*/ 8 h 63"/>
                  <a:gd name="T26" fmla="*/ 17 w 68"/>
                  <a:gd name="T27" fmla="*/ 10 h 63"/>
                  <a:gd name="T28" fmla="*/ 26 w 68"/>
                  <a:gd name="T29" fmla="*/ 7 h 63"/>
                  <a:gd name="T30" fmla="*/ 16 w 68"/>
                  <a:gd name="T31" fmla="*/ 8 h 63"/>
                  <a:gd name="T32" fmla="*/ 16 w 68"/>
                  <a:gd name="T33" fmla="*/ 8 h 63"/>
                  <a:gd name="T34" fmla="*/ 22 w 68"/>
                  <a:gd name="T35" fmla="*/ 23 h 63"/>
                  <a:gd name="T36" fmla="*/ 19 w 68"/>
                  <a:gd name="T37" fmla="*/ 17 h 63"/>
                  <a:gd name="T38" fmla="*/ 19 w 68"/>
                  <a:gd name="T39" fmla="*/ 14 h 63"/>
                  <a:gd name="T40" fmla="*/ 16 w 68"/>
                  <a:gd name="T41" fmla="*/ 14 h 63"/>
                  <a:gd name="T42" fmla="*/ 16 w 68"/>
                  <a:gd name="T43" fmla="*/ 17 h 63"/>
                  <a:gd name="T44" fmla="*/ 20 w 68"/>
                  <a:gd name="T45" fmla="*/ 24 h 63"/>
                  <a:gd name="T46" fmla="*/ 30 w 68"/>
                  <a:gd name="T47" fmla="*/ 36 h 63"/>
                  <a:gd name="T48" fmla="*/ 24 w 68"/>
                  <a:gd name="T49" fmla="*/ 27 h 63"/>
                  <a:gd name="T50" fmla="*/ 23 w 68"/>
                  <a:gd name="T51" fmla="*/ 29 h 63"/>
                  <a:gd name="T52" fmla="*/ 30 w 68"/>
                  <a:gd name="T53" fmla="*/ 36 h 63"/>
                  <a:gd name="T54" fmla="*/ 20 w 68"/>
                  <a:gd name="T55" fmla="*/ 46 h 63"/>
                  <a:gd name="T56" fmla="*/ 29 w 68"/>
                  <a:gd name="T57" fmla="*/ 42 h 63"/>
                  <a:gd name="T58" fmla="*/ 27 w 68"/>
                  <a:gd name="T59" fmla="*/ 40 h 63"/>
                  <a:gd name="T60" fmla="*/ 19 w 68"/>
                  <a:gd name="T61" fmla="*/ 43 h 63"/>
                  <a:gd name="T62" fmla="*/ 6 w 68"/>
                  <a:gd name="T63" fmla="*/ 49 h 63"/>
                  <a:gd name="T64" fmla="*/ 7 w 68"/>
                  <a:gd name="T65" fmla="*/ 49 h 63"/>
                  <a:gd name="T66" fmla="*/ 10 w 68"/>
                  <a:gd name="T67" fmla="*/ 47 h 63"/>
                  <a:gd name="T68" fmla="*/ 14 w 68"/>
                  <a:gd name="T69" fmla="*/ 44 h 63"/>
                  <a:gd name="T70" fmla="*/ 9 w 68"/>
                  <a:gd name="T71" fmla="*/ 44 h 63"/>
                  <a:gd name="T72" fmla="*/ 6 w 68"/>
                  <a:gd name="T73" fmla="*/ 47 h 63"/>
                  <a:gd name="T74" fmla="*/ 4 w 68"/>
                  <a:gd name="T75" fmla="*/ 49 h 63"/>
                  <a:gd name="T76" fmla="*/ 1 w 68"/>
                  <a:gd name="T77" fmla="*/ 63 h 63"/>
                  <a:gd name="T78" fmla="*/ 4 w 68"/>
                  <a:gd name="T79" fmla="*/ 55 h 63"/>
                  <a:gd name="T80" fmla="*/ 3 w 68"/>
                  <a:gd name="T81" fmla="*/ 53 h 63"/>
                  <a:gd name="T82" fmla="*/ 1 w 68"/>
                  <a:gd name="T83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8" h="63">
                    <a:moveTo>
                      <a:pt x="62" y="5"/>
                    </a:moveTo>
                    <a:lnTo>
                      <a:pt x="62" y="5"/>
                    </a:lnTo>
                    <a:lnTo>
                      <a:pt x="68" y="2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1" y="2"/>
                    </a:lnTo>
                    <a:lnTo>
                      <a:pt x="62" y="5"/>
                    </a:lnTo>
                    <a:close/>
                    <a:moveTo>
                      <a:pt x="46" y="10"/>
                    </a:moveTo>
                    <a:lnTo>
                      <a:pt x="56" y="10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6" y="7"/>
                    </a:lnTo>
                    <a:lnTo>
                      <a:pt x="55" y="7"/>
                    </a:lnTo>
                    <a:lnTo>
                      <a:pt x="56" y="8"/>
                    </a:lnTo>
                    <a:lnTo>
                      <a:pt x="56" y="7"/>
                    </a:lnTo>
                    <a:lnTo>
                      <a:pt x="46" y="7"/>
                    </a:lnTo>
                    <a:lnTo>
                      <a:pt x="46" y="10"/>
                    </a:lnTo>
                    <a:close/>
                    <a:moveTo>
                      <a:pt x="32" y="10"/>
                    </a:moveTo>
                    <a:lnTo>
                      <a:pt x="42" y="10"/>
                    </a:lnTo>
                    <a:lnTo>
                      <a:pt x="42" y="7"/>
                    </a:lnTo>
                    <a:lnTo>
                      <a:pt x="32" y="7"/>
                    </a:lnTo>
                    <a:lnTo>
                      <a:pt x="32" y="10"/>
                    </a:lnTo>
                    <a:close/>
                    <a:moveTo>
                      <a:pt x="19" y="10"/>
                    </a:moveTo>
                    <a:lnTo>
                      <a:pt x="19" y="8"/>
                    </a:lnTo>
                    <a:lnTo>
                      <a:pt x="19" y="8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26" y="10"/>
                    </a:lnTo>
                    <a:lnTo>
                      <a:pt x="26" y="7"/>
                    </a:lnTo>
                    <a:lnTo>
                      <a:pt x="17" y="7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9" y="10"/>
                    </a:lnTo>
                    <a:close/>
                    <a:moveTo>
                      <a:pt x="22" y="23"/>
                    </a:moveTo>
                    <a:lnTo>
                      <a:pt x="22" y="23"/>
                    </a:lnTo>
                    <a:lnTo>
                      <a:pt x="19" y="17"/>
                    </a:lnTo>
                    <a:lnTo>
                      <a:pt x="19" y="17"/>
                    </a:lnTo>
                    <a:lnTo>
                      <a:pt x="19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17" y="20"/>
                    </a:lnTo>
                    <a:lnTo>
                      <a:pt x="20" y="24"/>
                    </a:lnTo>
                    <a:lnTo>
                      <a:pt x="22" y="23"/>
                    </a:lnTo>
                    <a:close/>
                    <a:moveTo>
                      <a:pt x="30" y="36"/>
                    </a:moveTo>
                    <a:lnTo>
                      <a:pt x="30" y="36"/>
                    </a:lnTo>
                    <a:lnTo>
                      <a:pt x="24" y="27"/>
                    </a:lnTo>
                    <a:lnTo>
                      <a:pt x="23" y="29"/>
                    </a:lnTo>
                    <a:lnTo>
                      <a:pt x="23" y="29"/>
                    </a:lnTo>
                    <a:lnTo>
                      <a:pt x="29" y="37"/>
                    </a:lnTo>
                    <a:lnTo>
                      <a:pt x="30" y="36"/>
                    </a:lnTo>
                    <a:close/>
                    <a:moveTo>
                      <a:pt x="20" y="46"/>
                    </a:moveTo>
                    <a:lnTo>
                      <a:pt x="20" y="46"/>
                    </a:lnTo>
                    <a:lnTo>
                      <a:pt x="24" y="44"/>
                    </a:lnTo>
                    <a:lnTo>
                      <a:pt x="29" y="42"/>
                    </a:lnTo>
                    <a:lnTo>
                      <a:pt x="27" y="40"/>
                    </a:lnTo>
                    <a:lnTo>
                      <a:pt x="27" y="40"/>
                    </a:lnTo>
                    <a:lnTo>
                      <a:pt x="24" y="42"/>
                    </a:lnTo>
                    <a:lnTo>
                      <a:pt x="19" y="43"/>
                    </a:lnTo>
                    <a:lnTo>
                      <a:pt x="20" y="46"/>
                    </a:lnTo>
                    <a:close/>
                    <a:moveTo>
                      <a:pt x="6" y="49"/>
                    </a:moveTo>
                    <a:lnTo>
                      <a:pt x="7" y="49"/>
                    </a:lnTo>
                    <a:lnTo>
                      <a:pt x="7" y="49"/>
                    </a:lnTo>
                    <a:lnTo>
                      <a:pt x="10" y="47"/>
                    </a:lnTo>
                    <a:lnTo>
                      <a:pt x="10" y="47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9" y="44"/>
                    </a:lnTo>
                    <a:lnTo>
                      <a:pt x="9" y="44"/>
                    </a:lnTo>
                    <a:lnTo>
                      <a:pt x="6" y="47"/>
                    </a:lnTo>
                    <a:lnTo>
                      <a:pt x="6" y="47"/>
                    </a:lnTo>
                    <a:lnTo>
                      <a:pt x="4" y="49"/>
                    </a:lnTo>
                    <a:lnTo>
                      <a:pt x="6" y="49"/>
                    </a:lnTo>
                    <a:close/>
                    <a:moveTo>
                      <a:pt x="1" y="63"/>
                    </a:moveTo>
                    <a:lnTo>
                      <a:pt x="1" y="63"/>
                    </a:lnTo>
                    <a:lnTo>
                      <a:pt x="4" y="55"/>
                    </a:lnTo>
                    <a:lnTo>
                      <a:pt x="3" y="53"/>
                    </a:lnTo>
                    <a:lnTo>
                      <a:pt x="3" y="53"/>
                    </a:lnTo>
                    <a:lnTo>
                      <a:pt x="0" y="63"/>
                    </a:lnTo>
                    <a:lnTo>
                      <a:pt x="1" y="6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5" name="Freeform 1653"/>
              <p:cNvSpPr>
                <a:spLocks noEditPoints="1"/>
              </p:cNvSpPr>
              <p:nvPr/>
            </p:nvSpPr>
            <p:spPr bwMode="auto">
              <a:xfrm>
                <a:off x="2981270" y="3035199"/>
                <a:ext cx="10882" cy="33635"/>
              </a:xfrm>
              <a:custGeom>
                <a:avLst/>
                <a:gdLst>
                  <a:gd name="T0" fmla="*/ 3 w 11"/>
                  <a:gd name="T1" fmla="*/ 10 h 34"/>
                  <a:gd name="T2" fmla="*/ 3 w 11"/>
                  <a:gd name="T3" fmla="*/ 0 h 34"/>
                  <a:gd name="T4" fmla="*/ 0 w 11"/>
                  <a:gd name="T5" fmla="*/ 0 h 34"/>
                  <a:gd name="T6" fmla="*/ 0 w 11"/>
                  <a:gd name="T7" fmla="*/ 10 h 34"/>
                  <a:gd name="T8" fmla="*/ 3 w 11"/>
                  <a:gd name="T9" fmla="*/ 10 h 34"/>
                  <a:gd name="T10" fmla="*/ 3 w 11"/>
                  <a:gd name="T11" fmla="*/ 26 h 34"/>
                  <a:gd name="T12" fmla="*/ 3 w 11"/>
                  <a:gd name="T13" fmla="*/ 16 h 34"/>
                  <a:gd name="T14" fmla="*/ 0 w 11"/>
                  <a:gd name="T15" fmla="*/ 16 h 34"/>
                  <a:gd name="T16" fmla="*/ 0 w 11"/>
                  <a:gd name="T17" fmla="*/ 26 h 34"/>
                  <a:gd name="T18" fmla="*/ 3 w 11"/>
                  <a:gd name="T19" fmla="*/ 26 h 34"/>
                  <a:gd name="T20" fmla="*/ 11 w 11"/>
                  <a:gd name="T21" fmla="*/ 31 h 34"/>
                  <a:gd name="T22" fmla="*/ 1 w 11"/>
                  <a:gd name="T23" fmla="*/ 31 h 34"/>
                  <a:gd name="T24" fmla="*/ 1 w 11"/>
                  <a:gd name="T25" fmla="*/ 32 h 34"/>
                  <a:gd name="T26" fmla="*/ 3 w 11"/>
                  <a:gd name="T27" fmla="*/ 32 h 34"/>
                  <a:gd name="T28" fmla="*/ 3 w 11"/>
                  <a:gd name="T29" fmla="*/ 31 h 34"/>
                  <a:gd name="T30" fmla="*/ 0 w 11"/>
                  <a:gd name="T31" fmla="*/ 31 h 34"/>
                  <a:gd name="T32" fmla="*/ 0 w 11"/>
                  <a:gd name="T33" fmla="*/ 32 h 34"/>
                  <a:gd name="T34" fmla="*/ 0 w 11"/>
                  <a:gd name="T35" fmla="*/ 34 h 34"/>
                  <a:gd name="T36" fmla="*/ 11 w 11"/>
                  <a:gd name="T37" fmla="*/ 34 h 34"/>
                  <a:gd name="T38" fmla="*/ 11 w 11"/>
                  <a:gd name="T39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" h="34">
                    <a:moveTo>
                      <a:pt x="3" y="1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3" y="10"/>
                    </a:lnTo>
                    <a:close/>
                    <a:moveTo>
                      <a:pt x="3" y="26"/>
                    </a:moveTo>
                    <a:lnTo>
                      <a:pt x="3" y="16"/>
                    </a:lnTo>
                    <a:lnTo>
                      <a:pt x="0" y="16"/>
                    </a:lnTo>
                    <a:lnTo>
                      <a:pt x="0" y="26"/>
                    </a:lnTo>
                    <a:lnTo>
                      <a:pt x="3" y="26"/>
                    </a:lnTo>
                    <a:close/>
                    <a:moveTo>
                      <a:pt x="11" y="31"/>
                    </a:moveTo>
                    <a:lnTo>
                      <a:pt x="1" y="31"/>
                    </a:lnTo>
                    <a:lnTo>
                      <a:pt x="1" y="32"/>
                    </a:lnTo>
                    <a:lnTo>
                      <a:pt x="3" y="32"/>
                    </a:lnTo>
                    <a:lnTo>
                      <a:pt x="3" y="31"/>
                    </a:lnTo>
                    <a:lnTo>
                      <a:pt x="0" y="31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11" y="34"/>
                    </a:lnTo>
                    <a:lnTo>
                      <a:pt x="11" y="3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6" name="Freeform 1654"/>
              <p:cNvSpPr>
                <a:spLocks noEditPoints="1"/>
              </p:cNvSpPr>
              <p:nvPr/>
            </p:nvSpPr>
            <p:spPr bwMode="auto">
              <a:xfrm>
                <a:off x="3263209" y="3008489"/>
                <a:ext cx="2968" cy="22753"/>
              </a:xfrm>
              <a:custGeom>
                <a:avLst/>
                <a:gdLst>
                  <a:gd name="T0" fmla="*/ 3 w 3"/>
                  <a:gd name="T1" fmla="*/ 0 h 23"/>
                  <a:gd name="T2" fmla="*/ 0 w 3"/>
                  <a:gd name="T3" fmla="*/ 0 h 23"/>
                  <a:gd name="T4" fmla="*/ 0 w 3"/>
                  <a:gd name="T5" fmla="*/ 8 h 23"/>
                  <a:gd name="T6" fmla="*/ 3 w 3"/>
                  <a:gd name="T7" fmla="*/ 8 h 23"/>
                  <a:gd name="T8" fmla="*/ 3 w 3"/>
                  <a:gd name="T9" fmla="*/ 0 h 23"/>
                  <a:gd name="T10" fmla="*/ 3 w 3"/>
                  <a:gd name="T11" fmla="*/ 13 h 23"/>
                  <a:gd name="T12" fmla="*/ 0 w 3"/>
                  <a:gd name="T13" fmla="*/ 13 h 23"/>
                  <a:gd name="T14" fmla="*/ 0 w 3"/>
                  <a:gd name="T15" fmla="*/ 23 h 23"/>
                  <a:gd name="T16" fmla="*/ 3 w 3"/>
                  <a:gd name="T17" fmla="*/ 23 h 23"/>
                  <a:gd name="T18" fmla="*/ 3 w 3"/>
                  <a:gd name="T19" fmla="*/ 1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23">
                    <a:moveTo>
                      <a:pt x="3" y="0"/>
                    </a:moveTo>
                    <a:lnTo>
                      <a:pt x="0" y="0"/>
                    </a:lnTo>
                    <a:lnTo>
                      <a:pt x="0" y="8"/>
                    </a:lnTo>
                    <a:lnTo>
                      <a:pt x="3" y="8"/>
                    </a:lnTo>
                    <a:lnTo>
                      <a:pt x="3" y="0"/>
                    </a:lnTo>
                    <a:close/>
                    <a:moveTo>
                      <a:pt x="3" y="13"/>
                    </a:moveTo>
                    <a:lnTo>
                      <a:pt x="0" y="13"/>
                    </a:lnTo>
                    <a:lnTo>
                      <a:pt x="0" y="23"/>
                    </a:lnTo>
                    <a:lnTo>
                      <a:pt x="3" y="23"/>
                    </a:lnTo>
                    <a:lnTo>
                      <a:pt x="3" y="1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7" name="Freeform 1655"/>
              <p:cNvSpPr>
                <a:spLocks noEditPoints="1"/>
              </p:cNvSpPr>
              <p:nvPr/>
            </p:nvSpPr>
            <p:spPr bwMode="auto">
              <a:xfrm>
                <a:off x="2544017" y="2776013"/>
                <a:ext cx="315574" cy="124647"/>
              </a:xfrm>
              <a:custGeom>
                <a:avLst/>
                <a:gdLst>
                  <a:gd name="T0" fmla="*/ 10 w 319"/>
                  <a:gd name="T1" fmla="*/ 7 h 126"/>
                  <a:gd name="T2" fmla="*/ 16 w 319"/>
                  <a:gd name="T3" fmla="*/ 6 h 126"/>
                  <a:gd name="T4" fmla="*/ 35 w 319"/>
                  <a:gd name="T5" fmla="*/ 0 h 126"/>
                  <a:gd name="T6" fmla="*/ 39 w 319"/>
                  <a:gd name="T7" fmla="*/ 4 h 126"/>
                  <a:gd name="T8" fmla="*/ 43 w 319"/>
                  <a:gd name="T9" fmla="*/ 7 h 126"/>
                  <a:gd name="T10" fmla="*/ 58 w 319"/>
                  <a:gd name="T11" fmla="*/ 12 h 126"/>
                  <a:gd name="T12" fmla="*/ 81 w 319"/>
                  <a:gd name="T13" fmla="*/ 22 h 126"/>
                  <a:gd name="T14" fmla="*/ 81 w 319"/>
                  <a:gd name="T15" fmla="*/ 22 h 126"/>
                  <a:gd name="T16" fmla="*/ 94 w 319"/>
                  <a:gd name="T17" fmla="*/ 29 h 126"/>
                  <a:gd name="T18" fmla="*/ 94 w 319"/>
                  <a:gd name="T19" fmla="*/ 32 h 126"/>
                  <a:gd name="T20" fmla="*/ 100 w 319"/>
                  <a:gd name="T21" fmla="*/ 32 h 126"/>
                  <a:gd name="T22" fmla="*/ 114 w 319"/>
                  <a:gd name="T23" fmla="*/ 29 h 126"/>
                  <a:gd name="T24" fmla="*/ 136 w 319"/>
                  <a:gd name="T25" fmla="*/ 26 h 126"/>
                  <a:gd name="T26" fmla="*/ 136 w 319"/>
                  <a:gd name="T27" fmla="*/ 32 h 126"/>
                  <a:gd name="T28" fmla="*/ 149 w 319"/>
                  <a:gd name="T29" fmla="*/ 19 h 126"/>
                  <a:gd name="T30" fmla="*/ 140 w 319"/>
                  <a:gd name="T31" fmla="*/ 22 h 126"/>
                  <a:gd name="T32" fmla="*/ 153 w 319"/>
                  <a:gd name="T33" fmla="*/ 19 h 126"/>
                  <a:gd name="T34" fmla="*/ 177 w 319"/>
                  <a:gd name="T35" fmla="*/ 28 h 126"/>
                  <a:gd name="T36" fmla="*/ 166 w 319"/>
                  <a:gd name="T37" fmla="*/ 23 h 126"/>
                  <a:gd name="T38" fmla="*/ 187 w 319"/>
                  <a:gd name="T39" fmla="*/ 39 h 126"/>
                  <a:gd name="T40" fmla="*/ 185 w 319"/>
                  <a:gd name="T41" fmla="*/ 41 h 126"/>
                  <a:gd name="T42" fmla="*/ 190 w 319"/>
                  <a:gd name="T43" fmla="*/ 44 h 126"/>
                  <a:gd name="T44" fmla="*/ 195 w 319"/>
                  <a:gd name="T45" fmla="*/ 52 h 126"/>
                  <a:gd name="T46" fmla="*/ 198 w 319"/>
                  <a:gd name="T47" fmla="*/ 57 h 126"/>
                  <a:gd name="T48" fmla="*/ 220 w 319"/>
                  <a:gd name="T49" fmla="*/ 70 h 126"/>
                  <a:gd name="T50" fmla="*/ 210 w 319"/>
                  <a:gd name="T51" fmla="*/ 67 h 126"/>
                  <a:gd name="T52" fmla="*/ 227 w 319"/>
                  <a:gd name="T53" fmla="*/ 62 h 126"/>
                  <a:gd name="T54" fmla="*/ 224 w 319"/>
                  <a:gd name="T55" fmla="*/ 71 h 126"/>
                  <a:gd name="T56" fmla="*/ 224 w 319"/>
                  <a:gd name="T57" fmla="*/ 71 h 126"/>
                  <a:gd name="T58" fmla="*/ 224 w 319"/>
                  <a:gd name="T59" fmla="*/ 71 h 126"/>
                  <a:gd name="T60" fmla="*/ 224 w 319"/>
                  <a:gd name="T61" fmla="*/ 71 h 126"/>
                  <a:gd name="T62" fmla="*/ 224 w 319"/>
                  <a:gd name="T63" fmla="*/ 74 h 126"/>
                  <a:gd name="T64" fmla="*/ 226 w 319"/>
                  <a:gd name="T65" fmla="*/ 72 h 126"/>
                  <a:gd name="T66" fmla="*/ 227 w 319"/>
                  <a:gd name="T67" fmla="*/ 62 h 126"/>
                  <a:gd name="T68" fmla="*/ 230 w 319"/>
                  <a:gd name="T69" fmla="*/ 58 h 126"/>
                  <a:gd name="T70" fmla="*/ 232 w 319"/>
                  <a:gd name="T71" fmla="*/ 59 h 126"/>
                  <a:gd name="T72" fmla="*/ 232 w 319"/>
                  <a:gd name="T73" fmla="*/ 59 h 126"/>
                  <a:gd name="T74" fmla="*/ 232 w 319"/>
                  <a:gd name="T75" fmla="*/ 59 h 126"/>
                  <a:gd name="T76" fmla="*/ 242 w 319"/>
                  <a:gd name="T77" fmla="*/ 59 h 126"/>
                  <a:gd name="T78" fmla="*/ 245 w 319"/>
                  <a:gd name="T79" fmla="*/ 64 h 126"/>
                  <a:gd name="T80" fmla="*/ 265 w 319"/>
                  <a:gd name="T81" fmla="*/ 78 h 126"/>
                  <a:gd name="T82" fmla="*/ 258 w 319"/>
                  <a:gd name="T83" fmla="*/ 71 h 126"/>
                  <a:gd name="T84" fmla="*/ 274 w 319"/>
                  <a:gd name="T85" fmla="*/ 91 h 126"/>
                  <a:gd name="T86" fmla="*/ 271 w 319"/>
                  <a:gd name="T87" fmla="*/ 93 h 126"/>
                  <a:gd name="T88" fmla="*/ 277 w 319"/>
                  <a:gd name="T89" fmla="*/ 94 h 126"/>
                  <a:gd name="T90" fmla="*/ 282 w 319"/>
                  <a:gd name="T91" fmla="*/ 104 h 126"/>
                  <a:gd name="T92" fmla="*/ 287 w 319"/>
                  <a:gd name="T93" fmla="*/ 112 h 126"/>
                  <a:gd name="T94" fmla="*/ 284 w 319"/>
                  <a:gd name="T95" fmla="*/ 115 h 126"/>
                  <a:gd name="T96" fmla="*/ 304 w 319"/>
                  <a:gd name="T97" fmla="*/ 119 h 126"/>
                  <a:gd name="T98" fmla="*/ 294 w 319"/>
                  <a:gd name="T99" fmla="*/ 119 h 126"/>
                  <a:gd name="T100" fmla="*/ 319 w 319"/>
                  <a:gd name="T101" fmla="*/ 123 h 126"/>
                  <a:gd name="T102" fmla="*/ 319 w 319"/>
                  <a:gd name="T103" fmla="*/ 126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19" h="126">
                    <a:moveTo>
                      <a:pt x="10" y="4"/>
                    </a:moveTo>
                    <a:lnTo>
                      <a:pt x="0" y="7"/>
                    </a:lnTo>
                    <a:lnTo>
                      <a:pt x="0" y="9"/>
                    </a:lnTo>
                    <a:lnTo>
                      <a:pt x="10" y="7"/>
                    </a:lnTo>
                    <a:lnTo>
                      <a:pt x="10" y="4"/>
                    </a:lnTo>
                    <a:close/>
                    <a:moveTo>
                      <a:pt x="25" y="2"/>
                    </a:moveTo>
                    <a:lnTo>
                      <a:pt x="14" y="3"/>
                    </a:lnTo>
                    <a:lnTo>
                      <a:pt x="16" y="6"/>
                    </a:lnTo>
                    <a:lnTo>
                      <a:pt x="25" y="4"/>
                    </a:lnTo>
                    <a:lnTo>
                      <a:pt x="25" y="2"/>
                    </a:lnTo>
                    <a:close/>
                    <a:moveTo>
                      <a:pt x="40" y="3"/>
                    </a:moveTo>
                    <a:lnTo>
                      <a:pt x="35" y="0"/>
                    </a:lnTo>
                    <a:lnTo>
                      <a:pt x="30" y="0"/>
                    </a:lnTo>
                    <a:lnTo>
                      <a:pt x="30" y="3"/>
                    </a:lnTo>
                    <a:lnTo>
                      <a:pt x="33" y="3"/>
                    </a:lnTo>
                    <a:lnTo>
                      <a:pt x="39" y="4"/>
                    </a:lnTo>
                    <a:lnTo>
                      <a:pt x="40" y="3"/>
                    </a:lnTo>
                    <a:close/>
                    <a:moveTo>
                      <a:pt x="53" y="9"/>
                    </a:moveTo>
                    <a:lnTo>
                      <a:pt x="45" y="4"/>
                    </a:lnTo>
                    <a:lnTo>
                      <a:pt x="43" y="7"/>
                    </a:lnTo>
                    <a:lnTo>
                      <a:pt x="52" y="12"/>
                    </a:lnTo>
                    <a:lnTo>
                      <a:pt x="53" y="9"/>
                    </a:lnTo>
                    <a:close/>
                    <a:moveTo>
                      <a:pt x="68" y="16"/>
                    </a:moveTo>
                    <a:lnTo>
                      <a:pt x="58" y="12"/>
                    </a:lnTo>
                    <a:lnTo>
                      <a:pt x="56" y="13"/>
                    </a:lnTo>
                    <a:lnTo>
                      <a:pt x="67" y="17"/>
                    </a:lnTo>
                    <a:lnTo>
                      <a:pt x="68" y="16"/>
                    </a:lnTo>
                    <a:close/>
                    <a:moveTo>
                      <a:pt x="81" y="22"/>
                    </a:moveTo>
                    <a:lnTo>
                      <a:pt x="72" y="17"/>
                    </a:lnTo>
                    <a:lnTo>
                      <a:pt x="71" y="20"/>
                    </a:lnTo>
                    <a:lnTo>
                      <a:pt x="80" y="25"/>
                    </a:lnTo>
                    <a:lnTo>
                      <a:pt x="81" y="22"/>
                    </a:lnTo>
                    <a:close/>
                    <a:moveTo>
                      <a:pt x="94" y="29"/>
                    </a:moveTo>
                    <a:lnTo>
                      <a:pt x="94" y="29"/>
                    </a:lnTo>
                    <a:lnTo>
                      <a:pt x="94" y="30"/>
                    </a:lnTo>
                    <a:lnTo>
                      <a:pt x="94" y="29"/>
                    </a:lnTo>
                    <a:lnTo>
                      <a:pt x="85" y="25"/>
                    </a:lnTo>
                    <a:lnTo>
                      <a:pt x="84" y="26"/>
                    </a:lnTo>
                    <a:lnTo>
                      <a:pt x="94" y="32"/>
                    </a:lnTo>
                    <a:lnTo>
                      <a:pt x="94" y="32"/>
                    </a:lnTo>
                    <a:lnTo>
                      <a:pt x="94" y="29"/>
                    </a:lnTo>
                    <a:close/>
                    <a:moveTo>
                      <a:pt x="110" y="29"/>
                    </a:moveTo>
                    <a:lnTo>
                      <a:pt x="100" y="29"/>
                    </a:lnTo>
                    <a:lnTo>
                      <a:pt x="100" y="32"/>
                    </a:lnTo>
                    <a:lnTo>
                      <a:pt x="110" y="32"/>
                    </a:lnTo>
                    <a:lnTo>
                      <a:pt x="110" y="29"/>
                    </a:lnTo>
                    <a:close/>
                    <a:moveTo>
                      <a:pt x="124" y="29"/>
                    </a:moveTo>
                    <a:lnTo>
                      <a:pt x="114" y="29"/>
                    </a:lnTo>
                    <a:lnTo>
                      <a:pt x="114" y="32"/>
                    </a:lnTo>
                    <a:lnTo>
                      <a:pt x="124" y="32"/>
                    </a:lnTo>
                    <a:lnTo>
                      <a:pt x="124" y="29"/>
                    </a:lnTo>
                    <a:close/>
                    <a:moveTo>
                      <a:pt x="136" y="26"/>
                    </a:moveTo>
                    <a:lnTo>
                      <a:pt x="136" y="29"/>
                    </a:lnTo>
                    <a:lnTo>
                      <a:pt x="130" y="29"/>
                    </a:lnTo>
                    <a:lnTo>
                      <a:pt x="130" y="32"/>
                    </a:lnTo>
                    <a:lnTo>
                      <a:pt x="136" y="32"/>
                    </a:lnTo>
                    <a:lnTo>
                      <a:pt x="137" y="32"/>
                    </a:lnTo>
                    <a:lnTo>
                      <a:pt x="139" y="28"/>
                    </a:lnTo>
                    <a:lnTo>
                      <a:pt x="136" y="26"/>
                    </a:lnTo>
                    <a:close/>
                    <a:moveTo>
                      <a:pt x="149" y="19"/>
                    </a:moveTo>
                    <a:lnTo>
                      <a:pt x="139" y="19"/>
                    </a:lnTo>
                    <a:lnTo>
                      <a:pt x="137" y="22"/>
                    </a:lnTo>
                    <a:lnTo>
                      <a:pt x="140" y="22"/>
                    </a:lnTo>
                    <a:lnTo>
                      <a:pt x="140" y="22"/>
                    </a:lnTo>
                    <a:lnTo>
                      <a:pt x="149" y="22"/>
                    </a:lnTo>
                    <a:lnTo>
                      <a:pt x="149" y="19"/>
                    </a:lnTo>
                    <a:close/>
                    <a:moveTo>
                      <a:pt x="164" y="19"/>
                    </a:moveTo>
                    <a:lnTo>
                      <a:pt x="153" y="19"/>
                    </a:lnTo>
                    <a:lnTo>
                      <a:pt x="153" y="22"/>
                    </a:lnTo>
                    <a:lnTo>
                      <a:pt x="164" y="22"/>
                    </a:lnTo>
                    <a:lnTo>
                      <a:pt x="164" y="19"/>
                    </a:lnTo>
                    <a:close/>
                    <a:moveTo>
                      <a:pt x="177" y="28"/>
                    </a:moveTo>
                    <a:lnTo>
                      <a:pt x="177" y="28"/>
                    </a:lnTo>
                    <a:lnTo>
                      <a:pt x="169" y="22"/>
                    </a:lnTo>
                    <a:lnTo>
                      <a:pt x="166" y="23"/>
                    </a:lnTo>
                    <a:lnTo>
                      <a:pt x="166" y="23"/>
                    </a:lnTo>
                    <a:lnTo>
                      <a:pt x="175" y="30"/>
                    </a:lnTo>
                    <a:lnTo>
                      <a:pt x="177" y="28"/>
                    </a:lnTo>
                    <a:close/>
                    <a:moveTo>
                      <a:pt x="187" y="39"/>
                    </a:moveTo>
                    <a:lnTo>
                      <a:pt x="187" y="39"/>
                    </a:lnTo>
                    <a:lnTo>
                      <a:pt x="179" y="32"/>
                    </a:lnTo>
                    <a:lnTo>
                      <a:pt x="178" y="33"/>
                    </a:lnTo>
                    <a:lnTo>
                      <a:pt x="178" y="33"/>
                    </a:lnTo>
                    <a:lnTo>
                      <a:pt x="185" y="41"/>
                    </a:lnTo>
                    <a:lnTo>
                      <a:pt x="187" y="39"/>
                    </a:lnTo>
                    <a:close/>
                    <a:moveTo>
                      <a:pt x="195" y="52"/>
                    </a:moveTo>
                    <a:lnTo>
                      <a:pt x="195" y="52"/>
                    </a:lnTo>
                    <a:lnTo>
                      <a:pt x="190" y="44"/>
                    </a:lnTo>
                    <a:lnTo>
                      <a:pt x="188" y="45"/>
                    </a:lnTo>
                    <a:lnTo>
                      <a:pt x="188" y="45"/>
                    </a:lnTo>
                    <a:lnTo>
                      <a:pt x="194" y="54"/>
                    </a:lnTo>
                    <a:lnTo>
                      <a:pt x="195" y="52"/>
                    </a:lnTo>
                    <a:close/>
                    <a:moveTo>
                      <a:pt x="207" y="61"/>
                    </a:moveTo>
                    <a:lnTo>
                      <a:pt x="207" y="61"/>
                    </a:lnTo>
                    <a:lnTo>
                      <a:pt x="200" y="55"/>
                    </a:lnTo>
                    <a:lnTo>
                      <a:pt x="198" y="57"/>
                    </a:lnTo>
                    <a:lnTo>
                      <a:pt x="198" y="57"/>
                    </a:lnTo>
                    <a:lnTo>
                      <a:pt x="206" y="64"/>
                    </a:lnTo>
                    <a:lnTo>
                      <a:pt x="207" y="61"/>
                    </a:lnTo>
                    <a:close/>
                    <a:moveTo>
                      <a:pt x="220" y="70"/>
                    </a:moveTo>
                    <a:lnTo>
                      <a:pt x="220" y="70"/>
                    </a:lnTo>
                    <a:lnTo>
                      <a:pt x="211" y="64"/>
                    </a:lnTo>
                    <a:lnTo>
                      <a:pt x="210" y="67"/>
                    </a:lnTo>
                    <a:lnTo>
                      <a:pt x="210" y="67"/>
                    </a:lnTo>
                    <a:lnTo>
                      <a:pt x="219" y="71"/>
                    </a:lnTo>
                    <a:lnTo>
                      <a:pt x="220" y="70"/>
                    </a:lnTo>
                    <a:close/>
                    <a:moveTo>
                      <a:pt x="227" y="62"/>
                    </a:moveTo>
                    <a:lnTo>
                      <a:pt x="227" y="62"/>
                    </a:lnTo>
                    <a:lnTo>
                      <a:pt x="226" y="68"/>
                    </a:lnTo>
                    <a:lnTo>
                      <a:pt x="226" y="68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4" y="74"/>
                    </a:lnTo>
                    <a:lnTo>
                      <a:pt x="224" y="74"/>
                    </a:lnTo>
                    <a:lnTo>
                      <a:pt x="224" y="74"/>
                    </a:lnTo>
                    <a:lnTo>
                      <a:pt x="226" y="72"/>
                    </a:lnTo>
                    <a:lnTo>
                      <a:pt x="226" y="72"/>
                    </a:lnTo>
                    <a:lnTo>
                      <a:pt x="227" y="70"/>
                    </a:lnTo>
                    <a:lnTo>
                      <a:pt x="227" y="70"/>
                    </a:lnTo>
                    <a:lnTo>
                      <a:pt x="230" y="64"/>
                    </a:lnTo>
                    <a:lnTo>
                      <a:pt x="227" y="62"/>
                    </a:lnTo>
                    <a:close/>
                    <a:moveTo>
                      <a:pt x="242" y="59"/>
                    </a:moveTo>
                    <a:lnTo>
                      <a:pt x="242" y="59"/>
                    </a:lnTo>
                    <a:lnTo>
                      <a:pt x="232" y="58"/>
                    </a:lnTo>
                    <a:lnTo>
                      <a:pt x="230" y="58"/>
                    </a:lnTo>
                    <a:lnTo>
                      <a:pt x="230" y="58"/>
                    </a:lnTo>
                    <a:lnTo>
                      <a:pt x="232" y="59"/>
                    </a:lnTo>
                    <a:lnTo>
                      <a:pt x="232" y="59"/>
                    </a:lnTo>
                    <a:lnTo>
                      <a:pt x="232" y="59"/>
                    </a:lnTo>
                    <a:lnTo>
                      <a:pt x="232" y="59"/>
                    </a:lnTo>
                    <a:lnTo>
                      <a:pt x="232" y="59"/>
                    </a:lnTo>
                    <a:lnTo>
                      <a:pt x="232" y="59"/>
                    </a:lnTo>
                    <a:lnTo>
                      <a:pt x="232" y="59"/>
                    </a:lnTo>
                    <a:lnTo>
                      <a:pt x="232" y="59"/>
                    </a:lnTo>
                    <a:lnTo>
                      <a:pt x="232" y="59"/>
                    </a:lnTo>
                    <a:lnTo>
                      <a:pt x="232" y="59"/>
                    </a:lnTo>
                    <a:lnTo>
                      <a:pt x="232" y="59"/>
                    </a:lnTo>
                    <a:lnTo>
                      <a:pt x="232" y="59"/>
                    </a:lnTo>
                    <a:lnTo>
                      <a:pt x="232" y="59"/>
                    </a:lnTo>
                    <a:lnTo>
                      <a:pt x="240" y="62"/>
                    </a:lnTo>
                    <a:lnTo>
                      <a:pt x="242" y="59"/>
                    </a:lnTo>
                    <a:close/>
                    <a:moveTo>
                      <a:pt x="255" y="67"/>
                    </a:moveTo>
                    <a:lnTo>
                      <a:pt x="255" y="67"/>
                    </a:lnTo>
                    <a:lnTo>
                      <a:pt x="246" y="62"/>
                    </a:lnTo>
                    <a:lnTo>
                      <a:pt x="245" y="64"/>
                    </a:lnTo>
                    <a:lnTo>
                      <a:pt x="245" y="64"/>
                    </a:lnTo>
                    <a:lnTo>
                      <a:pt x="253" y="68"/>
                    </a:lnTo>
                    <a:lnTo>
                      <a:pt x="255" y="67"/>
                    </a:lnTo>
                    <a:close/>
                    <a:moveTo>
                      <a:pt x="265" y="78"/>
                    </a:moveTo>
                    <a:lnTo>
                      <a:pt x="265" y="78"/>
                    </a:lnTo>
                    <a:lnTo>
                      <a:pt x="259" y="70"/>
                    </a:lnTo>
                    <a:lnTo>
                      <a:pt x="258" y="71"/>
                    </a:lnTo>
                    <a:lnTo>
                      <a:pt x="258" y="71"/>
                    </a:lnTo>
                    <a:lnTo>
                      <a:pt x="263" y="80"/>
                    </a:lnTo>
                    <a:lnTo>
                      <a:pt x="265" y="78"/>
                    </a:lnTo>
                    <a:close/>
                    <a:moveTo>
                      <a:pt x="274" y="91"/>
                    </a:moveTo>
                    <a:lnTo>
                      <a:pt x="274" y="91"/>
                    </a:lnTo>
                    <a:lnTo>
                      <a:pt x="268" y="83"/>
                    </a:lnTo>
                    <a:lnTo>
                      <a:pt x="265" y="84"/>
                    </a:lnTo>
                    <a:lnTo>
                      <a:pt x="265" y="84"/>
                    </a:lnTo>
                    <a:lnTo>
                      <a:pt x="271" y="93"/>
                    </a:lnTo>
                    <a:lnTo>
                      <a:pt x="274" y="91"/>
                    </a:lnTo>
                    <a:close/>
                    <a:moveTo>
                      <a:pt x="282" y="104"/>
                    </a:moveTo>
                    <a:lnTo>
                      <a:pt x="282" y="104"/>
                    </a:lnTo>
                    <a:lnTo>
                      <a:pt x="277" y="94"/>
                    </a:lnTo>
                    <a:lnTo>
                      <a:pt x="275" y="96"/>
                    </a:lnTo>
                    <a:lnTo>
                      <a:pt x="275" y="96"/>
                    </a:lnTo>
                    <a:lnTo>
                      <a:pt x="279" y="104"/>
                    </a:lnTo>
                    <a:lnTo>
                      <a:pt x="282" y="104"/>
                    </a:lnTo>
                    <a:close/>
                    <a:moveTo>
                      <a:pt x="290" y="115"/>
                    </a:moveTo>
                    <a:lnTo>
                      <a:pt x="290" y="115"/>
                    </a:lnTo>
                    <a:lnTo>
                      <a:pt x="287" y="112"/>
                    </a:lnTo>
                    <a:lnTo>
                      <a:pt x="287" y="112"/>
                    </a:lnTo>
                    <a:lnTo>
                      <a:pt x="284" y="109"/>
                    </a:lnTo>
                    <a:lnTo>
                      <a:pt x="281" y="110"/>
                    </a:lnTo>
                    <a:lnTo>
                      <a:pt x="281" y="110"/>
                    </a:lnTo>
                    <a:lnTo>
                      <a:pt x="284" y="115"/>
                    </a:lnTo>
                    <a:lnTo>
                      <a:pt x="284" y="115"/>
                    </a:lnTo>
                    <a:lnTo>
                      <a:pt x="290" y="117"/>
                    </a:lnTo>
                    <a:lnTo>
                      <a:pt x="290" y="115"/>
                    </a:lnTo>
                    <a:close/>
                    <a:moveTo>
                      <a:pt x="304" y="119"/>
                    </a:moveTo>
                    <a:lnTo>
                      <a:pt x="304" y="119"/>
                    </a:lnTo>
                    <a:lnTo>
                      <a:pt x="295" y="116"/>
                    </a:lnTo>
                    <a:lnTo>
                      <a:pt x="294" y="119"/>
                    </a:lnTo>
                    <a:lnTo>
                      <a:pt x="294" y="119"/>
                    </a:lnTo>
                    <a:lnTo>
                      <a:pt x="304" y="122"/>
                    </a:lnTo>
                    <a:lnTo>
                      <a:pt x="304" y="119"/>
                    </a:lnTo>
                    <a:close/>
                    <a:moveTo>
                      <a:pt x="319" y="123"/>
                    </a:moveTo>
                    <a:lnTo>
                      <a:pt x="319" y="123"/>
                    </a:lnTo>
                    <a:lnTo>
                      <a:pt x="310" y="120"/>
                    </a:lnTo>
                    <a:lnTo>
                      <a:pt x="308" y="123"/>
                    </a:lnTo>
                    <a:lnTo>
                      <a:pt x="308" y="123"/>
                    </a:lnTo>
                    <a:lnTo>
                      <a:pt x="319" y="126"/>
                    </a:lnTo>
                    <a:lnTo>
                      <a:pt x="319" y="1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8" name="Freeform 1656"/>
              <p:cNvSpPr>
                <a:spLocks noEditPoints="1"/>
              </p:cNvSpPr>
              <p:nvPr/>
            </p:nvSpPr>
            <p:spPr bwMode="auto">
              <a:xfrm>
                <a:off x="2448059" y="2427793"/>
                <a:ext cx="541125" cy="25721"/>
              </a:xfrm>
              <a:custGeom>
                <a:avLst/>
                <a:gdLst>
                  <a:gd name="T0" fmla="*/ 6 w 547"/>
                  <a:gd name="T1" fmla="*/ 3 h 26"/>
                  <a:gd name="T2" fmla="*/ 11 w 547"/>
                  <a:gd name="T3" fmla="*/ 3 h 26"/>
                  <a:gd name="T4" fmla="*/ 26 w 547"/>
                  <a:gd name="T5" fmla="*/ 0 h 26"/>
                  <a:gd name="T6" fmla="*/ 52 w 547"/>
                  <a:gd name="T7" fmla="*/ 0 h 26"/>
                  <a:gd name="T8" fmla="*/ 52 w 547"/>
                  <a:gd name="T9" fmla="*/ 0 h 26"/>
                  <a:gd name="T10" fmla="*/ 66 w 547"/>
                  <a:gd name="T11" fmla="*/ 3 h 26"/>
                  <a:gd name="T12" fmla="*/ 72 w 547"/>
                  <a:gd name="T13" fmla="*/ 3 h 26"/>
                  <a:gd name="T14" fmla="*/ 87 w 547"/>
                  <a:gd name="T15" fmla="*/ 0 h 26"/>
                  <a:gd name="T16" fmla="*/ 113 w 547"/>
                  <a:gd name="T17" fmla="*/ 0 h 26"/>
                  <a:gd name="T18" fmla="*/ 113 w 547"/>
                  <a:gd name="T19" fmla="*/ 0 h 26"/>
                  <a:gd name="T20" fmla="*/ 127 w 547"/>
                  <a:gd name="T21" fmla="*/ 3 h 26"/>
                  <a:gd name="T22" fmla="*/ 133 w 547"/>
                  <a:gd name="T23" fmla="*/ 3 h 26"/>
                  <a:gd name="T24" fmla="*/ 148 w 547"/>
                  <a:gd name="T25" fmla="*/ 0 h 26"/>
                  <a:gd name="T26" fmla="*/ 174 w 547"/>
                  <a:gd name="T27" fmla="*/ 0 h 26"/>
                  <a:gd name="T28" fmla="*/ 174 w 547"/>
                  <a:gd name="T29" fmla="*/ 0 h 26"/>
                  <a:gd name="T30" fmla="*/ 188 w 547"/>
                  <a:gd name="T31" fmla="*/ 3 h 26"/>
                  <a:gd name="T32" fmla="*/ 194 w 547"/>
                  <a:gd name="T33" fmla="*/ 3 h 26"/>
                  <a:gd name="T34" fmla="*/ 208 w 547"/>
                  <a:gd name="T35" fmla="*/ 0 h 26"/>
                  <a:gd name="T36" fmla="*/ 234 w 547"/>
                  <a:gd name="T37" fmla="*/ 0 h 26"/>
                  <a:gd name="T38" fmla="*/ 234 w 547"/>
                  <a:gd name="T39" fmla="*/ 0 h 26"/>
                  <a:gd name="T40" fmla="*/ 250 w 547"/>
                  <a:gd name="T41" fmla="*/ 3 h 26"/>
                  <a:gd name="T42" fmla="*/ 255 w 547"/>
                  <a:gd name="T43" fmla="*/ 3 h 26"/>
                  <a:gd name="T44" fmla="*/ 271 w 547"/>
                  <a:gd name="T45" fmla="*/ 0 h 26"/>
                  <a:gd name="T46" fmla="*/ 295 w 547"/>
                  <a:gd name="T47" fmla="*/ 0 h 26"/>
                  <a:gd name="T48" fmla="*/ 295 w 547"/>
                  <a:gd name="T49" fmla="*/ 0 h 26"/>
                  <a:gd name="T50" fmla="*/ 311 w 547"/>
                  <a:gd name="T51" fmla="*/ 3 h 26"/>
                  <a:gd name="T52" fmla="*/ 316 w 547"/>
                  <a:gd name="T53" fmla="*/ 3 h 26"/>
                  <a:gd name="T54" fmla="*/ 332 w 547"/>
                  <a:gd name="T55" fmla="*/ 0 h 26"/>
                  <a:gd name="T56" fmla="*/ 356 w 547"/>
                  <a:gd name="T57" fmla="*/ 0 h 26"/>
                  <a:gd name="T58" fmla="*/ 356 w 547"/>
                  <a:gd name="T59" fmla="*/ 0 h 26"/>
                  <a:gd name="T60" fmla="*/ 372 w 547"/>
                  <a:gd name="T61" fmla="*/ 3 h 26"/>
                  <a:gd name="T62" fmla="*/ 376 w 547"/>
                  <a:gd name="T63" fmla="*/ 3 h 26"/>
                  <a:gd name="T64" fmla="*/ 392 w 547"/>
                  <a:gd name="T65" fmla="*/ 0 h 26"/>
                  <a:gd name="T66" fmla="*/ 417 w 547"/>
                  <a:gd name="T67" fmla="*/ 0 h 26"/>
                  <a:gd name="T68" fmla="*/ 417 w 547"/>
                  <a:gd name="T69" fmla="*/ 0 h 26"/>
                  <a:gd name="T70" fmla="*/ 433 w 547"/>
                  <a:gd name="T71" fmla="*/ 3 h 26"/>
                  <a:gd name="T72" fmla="*/ 442 w 547"/>
                  <a:gd name="T73" fmla="*/ 0 h 26"/>
                  <a:gd name="T74" fmla="*/ 442 w 547"/>
                  <a:gd name="T75" fmla="*/ 3 h 26"/>
                  <a:gd name="T76" fmla="*/ 462 w 547"/>
                  <a:gd name="T77" fmla="*/ 9 h 26"/>
                  <a:gd name="T78" fmla="*/ 462 w 547"/>
                  <a:gd name="T79" fmla="*/ 10 h 26"/>
                  <a:gd name="T80" fmla="*/ 466 w 547"/>
                  <a:gd name="T81" fmla="*/ 10 h 26"/>
                  <a:gd name="T82" fmla="*/ 476 w 547"/>
                  <a:gd name="T83" fmla="*/ 15 h 26"/>
                  <a:gd name="T84" fmla="*/ 481 w 547"/>
                  <a:gd name="T85" fmla="*/ 17 h 26"/>
                  <a:gd name="T86" fmla="*/ 505 w 547"/>
                  <a:gd name="T87" fmla="*/ 23 h 26"/>
                  <a:gd name="T88" fmla="*/ 495 w 547"/>
                  <a:gd name="T89" fmla="*/ 19 h 26"/>
                  <a:gd name="T90" fmla="*/ 502 w 547"/>
                  <a:gd name="T91" fmla="*/ 25 h 26"/>
                  <a:gd name="T92" fmla="*/ 517 w 547"/>
                  <a:gd name="T93" fmla="*/ 17 h 26"/>
                  <a:gd name="T94" fmla="*/ 518 w 547"/>
                  <a:gd name="T95" fmla="*/ 20 h 26"/>
                  <a:gd name="T96" fmla="*/ 528 w 547"/>
                  <a:gd name="T97" fmla="*/ 19 h 26"/>
                  <a:gd name="T98" fmla="*/ 523 w 547"/>
                  <a:gd name="T99" fmla="*/ 19 h 26"/>
                  <a:gd name="T100" fmla="*/ 528 w 547"/>
                  <a:gd name="T101" fmla="*/ 23 h 26"/>
                  <a:gd name="T102" fmla="*/ 546 w 547"/>
                  <a:gd name="T103" fmla="*/ 20 h 26"/>
                  <a:gd name="T104" fmla="*/ 547 w 547"/>
                  <a:gd name="T105" fmla="*/ 2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47" h="26">
                    <a:moveTo>
                      <a:pt x="6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6" y="3"/>
                    </a:lnTo>
                    <a:lnTo>
                      <a:pt x="6" y="0"/>
                    </a:lnTo>
                    <a:close/>
                    <a:moveTo>
                      <a:pt x="22" y="0"/>
                    </a:moveTo>
                    <a:lnTo>
                      <a:pt x="11" y="0"/>
                    </a:lnTo>
                    <a:lnTo>
                      <a:pt x="11" y="3"/>
                    </a:lnTo>
                    <a:lnTo>
                      <a:pt x="22" y="3"/>
                    </a:lnTo>
                    <a:lnTo>
                      <a:pt x="22" y="0"/>
                    </a:lnTo>
                    <a:close/>
                    <a:moveTo>
                      <a:pt x="36" y="0"/>
                    </a:moveTo>
                    <a:lnTo>
                      <a:pt x="26" y="0"/>
                    </a:lnTo>
                    <a:lnTo>
                      <a:pt x="26" y="3"/>
                    </a:lnTo>
                    <a:lnTo>
                      <a:pt x="36" y="3"/>
                    </a:lnTo>
                    <a:lnTo>
                      <a:pt x="36" y="0"/>
                    </a:lnTo>
                    <a:close/>
                    <a:moveTo>
                      <a:pt x="52" y="0"/>
                    </a:moveTo>
                    <a:lnTo>
                      <a:pt x="42" y="0"/>
                    </a:lnTo>
                    <a:lnTo>
                      <a:pt x="42" y="3"/>
                    </a:lnTo>
                    <a:lnTo>
                      <a:pt x="52" y="3"/>
                    </a:lnTo>
                    <a:lnTo>
                      <a:pt x="52" y="0"/>
                    </a:lnTo>
                    <a:close/>
                    <a:moveTo>
                      <a:pt x="66" y="0"/>
                    </a:moveTo>
                    <a:lnTo>
                      <a:pt x="56" y="0"/>
                    </a:lnTo>
                    <a:lnTo>
                      <a:pt x="56" y="3"/>
                    </a:lnTo>
                    <a:lnTo>
                      <a:pt x="66" y="3"/>
                    </a:lnTo>
                    <a:lnTo>
                      <a:pt x="66" y="0"/>
                    </a:lnTo>
                    <a:close/>
                    <a:moveTo>
                      <a:pt x="82" y="0"/>
                    </a:moveTo>
                    <a:lnTo>
                      <a:pt x="72" y="0"/>
                    </a:lnTo>
                    <a:lnTo>
                      <a:pt x="72" y="3"/>
                    </a:lnTo>
                    <a:lnTo>
                      <a:pt x="82" y="3"/>
                    </a:lnTo>
                    <a:lnTo>
                      <a:pt x="82" y="0"/>
                    </a:lnTo>
                    <a:close/>
                    <a:moveTo>
                      <a:pt x="97" y="0"/>
                    </a:moveTo>
                    <a:lnTo>
                      <a:pt x="87" y="0"/>
                    </a:lnTo>
                    <a:lnTo>
                      <a:pt x="87" y="3"/>
                    </a:lnTo>
                    <a:lnTo>
                      <a:pt x="97" y="3"/>
                    </a:lnTo>
                    <a:lnTo>
                      <a:pt x="97" y="0"/>
                    </a:lnTo>
                    <a:close/>
                    <a:moveTo>
                      <a:pt x="113" y="0"/>
                    </a:moveTo>
                    <a:lnTo>
                      <a:pt x="103" y="0"/>
                    </a:lnTo>
                    <a:lnTo>
                      <a:pt x="103" y="3"/>
                    </a:lnTo>
                    <a:lnTo>
                      <a:pt x="113" y="3"/>
                    </a:lnTo>
                    <a:lnTo>
                      <a:pt x="113" y="0"/>
                    </a:lnTo>
                    <a:close/>
                    <a:moveTo>
                      <a:pt x="127" y="0"/>
                    </a:moveTo>
                    <a:lnTo>
                      <a:pt x="117" y="0"/>
                    </a:lnTo>
                    <a:lnTo>
                      <a:pt x="117" y="3"/>
                    </a:lnTo>
                    <a:lnTo>
                      <a:pt x="127" y="3"/>
                    </a:lnTo>
                    <a:lnTo>
                      <a:pt x="127" y="0"/>
                    </a:lnTo>
                    <a:close/>
                    <a:moveTo>
                      <a:pt x="143" y="0"/>
                    </a:moveTo>
                    <a:lnTo>
                      <a:pt x="133" y="0"/>
                    </a:lnTo>
                    <a:lnTo>
                      <a:pt x="133" y="3"/>
                    </a:lnTo>
                    <a:lnTo>
                      <a:pt x="143" y="3"/>
                    </a:lnTo>
                    <a:lnTo>
                      <a:pt x="143" y="0"/>
                    </a:lnTo>
                    <a:close/>
                    <a:moveTo>
                      <a:pt x="158" y="0"/>
                    </a:moveTo>
                    <a:lnTo>
                      <a:pt x="148" y="0"/>
                    </a:lnTo>
                    <a:lnTo>
                      <a:pt x="148" y="3"/>
                    </a:lnTo>
                    <a:lnTo>
                      <a:pt x="158" y="3"/>
                    </a:lnTo>
                    <a:lnTo>
                      <a:pt x="158" y="0"/>
                    </a:lnTo>
                    <a:close/>
                    <a:moveTo>
                      <a:pt x="174" y="0"/>
                    </a:moveTo>
                    <a:lnTo>
                      <a:pt x="164" y="0"/>
                    </a:lnTo>
                    <a:lnTo>
                      <a:pt x="164" y="3"/>
                    </a:lnTo>
                    <a:lnTo>
                      <a:pt x="174" y="3"/>
                    </a:lnTo>
                    <a:lnTo>
                      <a:pt x="174" y="0"/>
                    </a:lnTo>
                    <a:close/>
                    <a:moveTo>
                      <a:pt x="188" y="0"/>
                    </a:moveTo>
                    <a:lnTo>
                      <a:pt x="178" y="0"/>
                    </a:lnTo>
                    <a:lnTo>
                      <a:pt x="178" y="3"/>
                    </a:lnTo>
                    <a:lnTo>
                      <a:pt x="188" y="3"/>
                    </a:lnTo>
                    <a:lnTo>
                      <a:pt x="188" y="0"/>
                    </a:lnTo>
                    <a:close/>
                    <a:moveTo>
                      <a:pt x="204" y="0"/>
                    </a:moveTo>
                    <a:lnTo>
                      <a:pt x="194" y="0"/>
                    </a:lnTo>
                    <a:lnTo>
                      <a:pt x="194" y="3"/>
                    </a:lnTo>
                    <a:lnTo>
                      <a:pt x="204" y="3"/>
                    </a:lnTo>
                    <a:lnTo>
                      <a:pt x="204" y="0"/>
                    </a:lnTo>
                    <a:close/>
                    <a:moveTo>
                      <a:pt x="219" y="0"/>
                    </a:moveTo>
                    <a:lnTo>
                      <a:pt x="208" y="0"/>
                    </a:lnTo>
                    <a:lnTo>
                      <a:pt x="208" y="3"/>
                    </a:lnTo>
                    <a:lnTo>
                      <a:pt x="219" y="3"/>
                    </a:lnTo>
                    <a:lnTo>
                      <a:pt x="219" y="0"/>
                    </a:lnTo>
                    <a:close/>
                    <a:moveTo>
                      <a:pt x="234" y="0"/>
                    </a:moveTo>
                    <a:lnTo>
                      <a:pt x="224" y="0"/>
                    </a:lnTo>
                    <a:lnTo>
                      <a:pt x="224" y="3"/>
                    </a:lnTo>
                    <a:lnTo>
                      <a:pt x="234" y="3"/>
                    </a:lnTo>
                    <a:lnTo>
                      <a:pt x="234" y="0"/>
                    </a:lnTo>
                    <a:close/>
                    <a:moveTo>
                      <a:pt x="250" y="0"/>
                    </a:moveTo>
                    <a:lnTo>
                      <a:pt x="239" y="0"/>
                    </a:lnTo>
                    <a:lnTo>
                      <a:pt x="239" y="3"/>
                    </a:lnTo>
                    <a:lnTo>
                      <a:pt x="250" y="3"/>
                    </a:lnTo>
                    <a:lnTo>
                      <a:pt x="250" y="0"/>
                    </a:lnTo>
                    <a:close/>
                    <a:moveTo>
                      <a:pt x="265" y="0"/>
                    </a:moveTo>
                    <a:lnTo>
                      <a:pt x="255" y="0"/>
                    </a:lnTo>
                    <a:lnTo>
                      <a:pt x="255" y="3"/>
                    </a:lnTo>
                    <a:lnTo>
                      <a:pt x="265" y="3"/>
                    </a:lnTo>
                    <a:lnTo>
                      <a:pt x="265" y="0"/>
                    </a:lnTo>
                    <a:close/>
                    <a:moveTo>
                      <a:pt x="281" y="0"/>
                    </a:moveTo>
                    <a:lnTo>
                      <a:pt x="271" y="0"/>
                    </a:lnTo>
                    <a:lnTo>
                      <a:pt x="271" y="3"/>
                    </a:lnTo>
                    <a:lnTo>
                      <a:pt x="281" y="3"/>
                    </a:lnTo>
                    <a:lnTo>
                      <a:pt x="281" y="0"/>
                    </a:lnTo>
                    <a:close/>
                    <a:moveTo>
                      <a:pt x="295" y="0"/>
                    </a:moveTo>
                    <a:lnTo>
                      <a:pt x="285" y="0"/>
                    </a:lnTo>
                    <a:lnTo>
                      <a:pt x="285" y="3"/>
                    </a:lnTo>
                    <a:lnTo>
                      <a:pt x="295" y="3"/>
                    </a:lnTo>
                    <a:lnTo>
                      <a:pt x="295" y="0"/>
                    </a:lnTo>
                    <a:close/>
                    <a:moveTo>
                      <a:pt x="311" y="0"/>
                    </a:moveTo>
                    <a:lnTo>
                      <a:pt x="301" y="0"/>
                    </a:lnTo>
                    <a:lnTo>
                      <a:pt x="301" y="3"/>
                    </a:lnTo>
                    <a:lnTo>
                      <a:pt x="311" y="3"/>
                    </a:lnTo>
                    <a:lnTo>
                      <a:pt x="311" y="0"/>
                    </a:lnTo>
                    <a:close/>
                    <a:moveTo>
                      <a:pt x="326" y="0"/>
                    </a:moveTo>
                    <a:lnTo>
                      <a:pt x="316" y="0"/>
                    </a:lnTo>
                    <a:lnTo>
                      <a:pt x="316" y="3"/>
                    </a:lnTo>
                    <a:lnTo>
                      <a:pt x="326" y="3"/>
                    </a:lnTo>
                    <a:lnTo>
                      <a:pt x="326" y="0"/>
                    </a:lnTo>
                    <a:close/>
                    <a:moveTo>
                      <a:pt x="342" y="0"/>
                    </a:moveTo>
                    <a:lnTo>
                      <a:pt x="332" y="0"/>
                    </a:lnTo>
                    <a:lnTo>
                      <a:pt x="332" y="3"/>
                    </a:lnTo>
                    <a:lnTo>
                      <a:pt x="342" y="3"/>
                    </a:lnTo>
                    <a:lnTo>
                      <a:pt x="342" y="0"/>
                    </a:lnTo>
                    <a:close/>
                    <a:moveTo>
                      <a:pt x="356" y="0"/>
                    </a:moveTo>
                    <a:lnTo>
                      <a:pt x="346" y="0"/>
                    </a:lnTo>
                    <a:lnTo>
                      <a:pt x="346" y="3"/>
                    </a:lnTo>
                    <a:lnTo>
                      <a:pt x="356" y="3"/>
                    </a:lnTo>
                    <a:lnTo>
                      <a:pt x="356" y="0"/>
                    </a:lnTo>
                    <a:close/>
                    <a:moveTo>
                      <a:pt x="372" y="0"/>
                    </a:moveTo>
                    <a:lnTo>
                      <a:pt x="362" y="0"/>
                    </a:lnTo>
                    <a:lnTo>
                      <a:pt x="362" y="3"/>
                    </a:lnTo>
                    <a:lnTo>
                      <a:pt x="372" y="3"/>
                    </a:lnTo>
                    <a:lnTo>
                      <a:pt x="372" y="0"/>
                    </a:lnTo>
                    <a:close/>
                    <a:moveTo>
                      <a:pt x="387" y="0"/>
                    </a:moveTo>
                    <a:lnTo>
                      <a:pt x="376" y="0"/>
                    </a:lnTo>
                    <a:lnTo>
                      <a:pt x="376" y="3"/>
                    </a:lnTo>
                    <a:lnTo>
                      <a:pt x="387" y="3"/>
                    </a:lnTo>
                    <a:lnTo>
                      <a:pt x="387" y="0"/>
                    </a:lnTo>
                    <a:close/>
                    <a:moveTo>
                      <a:pt x="402" y="0"/>
                    </a:moveTo>
                    <a:lnTo>
                      <a:pt x="392" y="0"/>
                    </a:lnTo>
                    <a:lnTo>
                      <a:pt x="392" y="3"/>
                    </a:lnTo>
                    <a:lnTo>
                      <a:pt x="402" y="3"/>
                    </a:lnTo>
                    <a:lnTo>
                      <a:pt x="402" y="0"/>
                    </a:lnTo>
                    <a:close/>
                    <a:moveTo>
                      <a:pt x="417" y="0"/>
                    </a:moveTo>
                    <a:lnTo>
                      <a:pt x="407" y="0"/>
                    </a:lnTo>
                    <a:lnTo>
                      <a:pt x="407" y="3"/>
                    </a:lnTo>
                    <a:lnTo>
                      <a:pt x="417" y="3"/>
                    </a:lnTo>
                    <a:lnTo>
                      <a:pt x="417" y="0"/>
                    </a:lnTo>
                    <a:close/>
                    <a:moveTo>
                      <a:pt x="433" y="0"/>
                    </a:moveTo>
                    <a:lnTo>
                      <a:pt x="423" y="0"/>
                    </a:lnTo>
                    <a:lnTo>
                      <a:pt x="423" y="3"/>
                    </a:lnTo>
                    <a:lnTo>
                      <a:pt x="433" y="3"/>
                    </a:lnTo>
                    <a:lnTo>
                      <a:pt x="433" y="0"/>
                    </a:lnTo>
                    <a:close/>
                    <a:moveTo>
                      <a:pt x="449" y="2"/>
                    </a:moveTo>
                    <a:lnTo>
                      <a:pt x="449" y="2"/>
                    </a:lnTo>
                    <a:lnTo>
                      <a:pt x="442" y="0"/>
                    </a:lnTo>
                    <a:lnTo>
                      <a:pt x="437" y="0"/>
                    </a:lnTo>
                    <a:lnTo>
                      <a:pt x="437" y="3"/>
                    </a:lnTo>
                    <a:lnTo>
                      <a:pt x="442" y="3"/>
                    </a:lnTo>
                    <a:lnTo>
                      <a:pt x="442" y="3"/>
                    </a:lnTo>
                    <a:lnTo>
                      <a:pt x="447" y="4"/>
                    </a:lnTo>
                    <a:lnTo>
                      <a:pt x="449" y="2"/>
                    </a:lnTo>
                    <a:close/>
                    <a:moveTo>
                      <a:pt x="462" y="9"/>
                    </a:moveTo>
                    <a:lnTo>
                      <a:pt x="462" y="9"/>
                    </a:lnTo>
                    <a:lnTo>
                      <a:pt x="453" y="3"/>
                    </a:lnTo>
                    <a:lnTo>
                      <a:pt x="452" y="6"/>
                    </a:lnTo>
                    <a:lnTo>
                      <a:pt x="452" y="6"/>
                    </a:lnTo>
                    <a:lnTo>
                      <a:pt x="462" y="10"/>
                    </a:lnTo>
                    <a:lnTo>
                      <a:pt x="462" y="9"/>
                    </a:lnTo>
                    <a:close/>
                    <a:moveTo>
                      <a:pt x="476" y="15"/>
                    </a:moveTo>
                    <a:lnTo>
                      <a:pt x="476" y="15"/>
                    </a:lnTo>
                    <a:lnTo>
                      <a:pt x="466" y="10"/>
                    </a:lnTo>
                    <a:lnTo>
                      <a:pt x="466" y="13"/>
                    </a:lnTo>
                    <a:lnTo>
                      <a:pt x="466" y="13"/>
                    </a:lnTo>
                    <a:lnTo>
                      <a:pt x="475" y="17"/>
                    </a:lnTo>
                    <a:lnTo>
                      <a:pt x="476" y="15"/>
                    </a:lnTo>
                    <a:close/>
                    <a:moveTo>
                      <a:pt x="491" y="17"/>
                    </a:moveTo>
                    <a:lnTo>
                      <a:pt x="491" y="17"/>
                    </a:lnTo>
                    <a:lnTo>
                      <a:pt x="481" y="15"/>
                    </a:lnTo>
                    <a:lnTo>
                      <a:pt x="481" y="17"/>
                    </a:lnTo>
                    <a:lnTo>
                      <a:pt x="481" y="17"/>
                    </a:lnTo>
                    <a:lnTo>
                      <a:pt x="489" y="20"/>
                    </a:lnTo>
                    <a:lnTo>
                      <a:pt x="491" y="17"/>
                    </a:lnTo>
                    <a:close/>
                    <a:moveTo>
                      <a:pt x="505" y="23"/>
                    </a:moveTo>
                    <a:lnTo>
                      <a:pt x="505" y="23"/>
                    </a:lnTo>
                    <a:lnTo>
                      <a:pt x="504" y="23"/>
                    </a:lnTo>
                    <a:lnTo>
                      <a:pt x="504" y="23"/>
                    </a:lnTo>
                    <a:lnTo>
                      <a:pt x="495" y="19"/>
                    </a:lnTo>
                    <a:lnTo>
                      <a:pt x="495" y="22"/>
                    </a:lnTo>
                    <a:lnTo>
                      <a:pt x="495" y="22"/>
                    </a:lnTo>
                    <a:lnTo>
                      <a:pt x="502" y="25"/>
                    </a:lnTo>
                    <a:lnTo>
                      <a:pt x="502" y="25"/>
                    </a:lnTo>
                    <a:lnTo>
                      <a:pt x="504" y="26"/>
                    </a:lnTo>
                    <a:lnTo>
                      <a:pt x="505" y="23"/>
                    </a:lnTo>
                    <a:close/>
                    <a:moveTo>
                      <a:pt x="517" y="17"/>
                    </a:moveTo>
                    <a:lnTo>
                      <a:pt x="517" y="17"/>
                    </a:lnTo>
                    <a:lnTo>
                      <a:pt x="508" y="23"/>
                    </a:lnTo>
                    <a:lnTo>
                      <a:pt x="510" y="26"/>
                    </a:lnTo>
                    <a:lnTo>
                      <a:pt x="510" y="26"/>
                    </a:lnTo>
                    <a:lnTo>
                      <a:pt x="518" y="20"/>
                    </a:lnTo>
                    <a:lnTo>
                      <a:pt x="517" y="17"/>
                    </a:lnTo>
                    <a:close/>
                    <a:moveTo>
                      <a:pt x="531" y="22"/>
                    </a:moveTo>
                    <a:lnTo>
                      <a:pt x="531" y="22"/>
                    </a:lnTo>
                    <a:lnTo>
                      <a:pt x="528" y="19"/>
                    </a:lnTo>
                    <a:lnTo>
                      <a:pt x="528" y="19"/>
                    </a:lnTo>
                    <a:lnTo>
                      <a:pt x="526" y="17"/>
                    </a:lnTo>
                    <a:lnTo>
                      <a:pt x="523" y="17"/>
                    </a:lnTo>
                    <a:lnTo>
                      <a:pt x="523" y="19"/>
                    </a:lnTo>
                    <a:lnTo>
                      <a:pt x="523" y="19"/>
                    </a:lnTo>
                    <a:lnTo>
                      <a:pt x="526" y="22"/>
                    </a:lnTo>
                    <a:lnTo>
                      <a:pt x="526" y="22"/>
                    </a:lnTo>
                    <a:lnTo>
                      <a:pt x="528" y="23"/>
                    </a:lnTo>
                    <a:lnTo>
                      <a:pt x="531" y="25"/>
                    </a:lnTo>
                    <a:lnTo>
                      <a:pt x="531" y="22"/>
                    </a:lnTo>
                    <a:close/>
                    <a:moveTo>
                      <a:pt x="546" y="20"/>
                    </a:moveTo>
                    <a:lnTo>
                      <a:pt x="546" y="20"/>
                    </a:lnTo>
                    <a:lnTo>
                      <a:pt x="536" y="22"/>
                    </a:lnTo>
                    <a:lnTo>
                      <a:pt x="537" y="25"/>
                    </a:lnTo>
                    <a:lnTo>
                      <a:pt x="537" y="25"/>
                    </a:lnTo>
                    <a:lnTo>
                      <a:pt x="547" y="23"/>
                    </a:lnTo>
                    <a:lnTo>
                      <a:pt x="546" y="2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9" name="Freeform 1657"/>
              <p:cNvSpPr>
                <a:spLocks noEditPoints="1"/>
              </p:cNvSpPr>
              <p:nvPr/>
            </p:nvSpPr>
            <p:spPr bwMode="auto">
              <a:xfrm>
                <a:off x="3084153" y="2567279"/>
                <a:ext cx="10882" cy="15828"/>
              </a:xfrm>
              <a:custGeom>
                <a:avLst/>
                <a:gdLst>
                  <a:gd name="T0" fmla="*/ 10 w 11"/>
                  <a:gd name="T1" fmla="*/ 2 h 16"/>
                  <a:gd name="T2" fmla="*/ 10 w 11"/>
                  <a:gd name="T3" fmla="*/ 2 h 16"/>
                  <a:gd name="T4" fmla="*/ 11 w 11"/>
                  <a:gd name="T5" fmla="*/ 0 h 16"/>
                  <a:gd name="T6" fmla="*/ 9 w 11"/>
                  <a:gd name="T7" fmla="*/ 0 h 16"/>
                  <a:gd name="T8" fmla="*/ 9 w 11"/>
                  <a:gd name="T9" fmla="*/ 0 h 16"/>
                  <a:gd name="T10" fmla="*/ 9 w 11"/>
                  <a:gd name="T11" fmla="*/ 1 h 16"/>
                  <a:gd name="T12" fmla="*/ 10 w 11"/>
                  <a:gd name="T13" fmla="*/ 2 h 16"/>
                  <a:gd name="T14" fmla="*/ 3 w 11"/>
                  <a:gd name="T15" fmla="*/ 16 h 16"/>
                  <a:gd name="T16" fmla="*/ 3 w 11"/>
                  <a:gd name="T17" fmla="*/ 16 h 16"/>
                  <a:gd name="T18" fmla="*/ 7 w 11"/>
                  <a:gd name="T19" fmla="*/ 7 h 16"/>
                  <a:gd name="T20" fmla="*/ 6 w 11"/>
                  <a:gd name="T21" fmla="*/ 5 h 16"/>
                  <a:gd name="T22" fmla="*/ 6 w 11"/>
                  <a:gd name="T23" fmla="*/ 5 h 16"/>
                  <a:gd name="T24" fmla="*/ 0 w 11"/>
                  <a:gd name="T25" fmla="*/ 14 h 16"/>
                  <a:gd name="T26" fmla="*/ 3 w 11"/>
                  <a:gd name="T2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6">
                    <a:moveTo>
                      <a:pt x="10" y="2"/>
                    </a:moveTo>
                    <a:lnTo>
                      <a:pt x="10" y="2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1"/>
                    </a:lnTo>
                    <a:lnTo>
                      <a:pt x="10" y="2"/>
                    </a:lnTo>
                    <a:close/>
                    <a:moveTo>
                      <a:pt x="3" y="16"/>
                    </a:moveTo>
                    <a:lnTo>
                      <a:pt x="3" y="16"/>
                    </a:lnTo>
                    <a:lnTo>
                      <a:pt x="7" y="7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0" y="14"/>
                    </a:lnTo>
                    <a:lnTo>
                      <a:pt x="3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0" name="Freeform 1658"/>
              <p:cNvSpPr>
                <a:spLocks noEditPoints="1"/>
              </p:cNvSpPr>
              <p:nvPr/>
            </p:nvSpPr>
            <p:spPr bwMode="auto">
              <a:xfrm>
                <a:off x="3139552" y="2561344"/>
                <a:ext cx="20774" cy="12860"/>
              </a:xfrm>
              <a:custGeom>
                <a:avLst/>
                <a:gdLst>
                  <a:gd name="T0" fmla="*/ 6 w 21"/>
                  <a:gd name="T1" fmla="*/ 7 h 13"/>
                  <a:gd name="T2" fmla="*/ 6 w 21"/>
                  <a:gd name="T3" fmla="*/ 7 h 13"/>
                  <a:gd name="T4" fmla="*/ 0 w 21"/>
                  <a:gd name="T5" fmla="*/ 10 h 13"/>
                  <a:gd name="T6" fmla="*/ 0 w 21"/>
                  <a:gd name="T7" fmla="*/ 13 h 13"/>
                  <a:gd name="T8" fmla="*/ 0 w 21"/>
                  <a:gd name="T9" fmla="*/ 13 h 13"/>
                  <a:gd name="T10" fmla="*/ 8 w 21"/>
                  <a:gd name="T11" fmla="*/ 10 h 13"/>
                  <a:gd name="T12" fmla="*/ 6 w 21"/>
                  <a:gd name="T13" fmla="*/ 7 h 13"/>
                  <a:gd name="T14" fmla="*/ 19 w 21"/>
                  <a:gd name="T15" fmla="*/ 0 h 13"/>
                  <a:gd name="T16" fmla="*/ 19 w 21"/>
                  <a:gd name="T17" fmla="*/ 0 h 13"/>
                  <a:gd name="T18" fmla="*/ 11 w 21"/>
                  <a:gd name="T19" fmla="*/ 6 h 13"/>
                  <a:gd name="T20" fmla="*/ 12 w 21"/>
                  <a:gd name="T21" fmla="*/ 7 h 13"/>
                  <a:gd name="T22" fmla="*/ 12 w 21"/>
                  <a:gd name="T23" fmla="*/ 7 h 13"/>
                  <a:gd name="T24" fmla="*/ 21 w 21"/>
                  <a:gd name="T25" fmla="*/ 3 h 13"/>
                  <a:gd name="T26" fmla="*/ 19 w 21"/>
                  <a:gd name="T2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13">
                    <a:moveTo>
                      <a:pt x="6" y="7"/>
                    </a:moveTo>
                    <a:lnTo>
                      <a:pt x="6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6" y="7"/>
                    </a:lnTo>
                    <a:close/>
                    <a:moveTo>
                      <a:pt x="19" y="0"/>
                    </a:moveTo>
                    <a:lnTo>
                      <a:pt x="19" y="0"/>
                    </a:lnTo>
                    <a:lnTo>
                      <a:pt x="11" y="6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21" y="3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" name="Freeform 1659"/>
              <p:cNvSpPr>
                <a:spLocks noEditPoints="1"/>
              </p:cNvSpPr>
              <p:nvPr/>
            </p:nvSpPr>
            <p:spPr bwMode="auto">
              <a:xfrm>
                <a:off x="3190004" y="2469342"/>
                <a:ext cx="150367" cy="74194"/>
              </a:xfrm>
              <a:custGeom>
                <a:avLst/>
                <a:gdLst>
                  <a:gd name="T0" fmla="*/ 0 w 152"/>
                  <a:gd name="T1" fmla="*/ 73 h 75"/>
                  <a:gd name="T2" fmla="*/ 10 w 152"/>
                  <a:gd name="T3" fmla="*/ 70 h 75"/>
                  <a:gd name="T4" fmla="*/ 22 w 152"/>
                  <a:gd name="T5" fmla="*/ 59 h 75"/>
                  <a:gd name="T6" fmla="*/ 15 w 152"/>
                  <a:gd name="T7" fmla="*/ 67 h 75"/>
                  <a:gd name="T8" fmla="*/ 38 w 152"/>
                  <a:gd name="T9" fmla="*/ 55 h 75"/>
                  <a:gd name="T10" fmla="*/ 26 w 152"/>
                  <a:gd name="T11" fmla="*/ 57 h 75"/>
                  <a:gd name="T12" fmla="*/ 33 w 152"/>
                  <a:gd name="T13" fmla="*/ 58 h 75"/>
                  <a:gd name="T14" fmla="*/ 52 w 152"/>
                  <a:gd name="T15" fmla="*/ 55 h 75"/>
                  <a:gd name="T16" fmla="*/ 42 w 152"/>
                  <a:gd name="T17" fmla="*/ 58 h 75"/>
                  <a:gd name="T18" fmla="*/ 52 w 152"/>
                  <a:gd name="T19" fmla="*/ 55 h 75"/>
                  <a:gd name="T20" fmla="*/ 58 w 152"/>
                  <a:gd name="T21" fmla="*/ 55 h 75"/>
                  <a:gd name="T22" fmla="*/ 68 w 152"/>
                  <a:gd name="T23" fmla="*/ 57 h 75"/>
                  <a:gd name="T24" fmla="*/ 80 w 152"/>
                  <a:gd name="T25" fmla="*/ 49 h 75"/>
                  <a:gd name="T26" fmla="*/ 75 w 152"/>
                  <a:gd name="T27" fmla="*/ 54 h 75"/>
                  <a:gd name="T28" fmla="*/ 73 w 152"/>
                  <a:gd name="T29" fmla="*/ 57 h 75"/>
                  <a:gd name="T30" fmla="*/ 75 w 152"/>
                  <a:gd name="T31" fmla="*/ 57 h 75"/>
                  <a:gd name="T32" fmla="*/ 83 w 152"/>
                  <a:gd name="T33" fmla="*/ 51 h 75"/>
                  <a:gd name="T34" fmla="*/ 90 w 152"/>
                  <a:gd name="T35" fmla="*/ 38 h 75"/>
                  <a:gd name="T36" fmla="*/ 86 w 152"/>
                  <a:gd name="T37" fmla="*/ 48 h 75"/>
                  <a:gd name="T38" fmla="*/ 96 w 152"/>
                  <a:gd name="T39" fmla="*/ 25 h 75"/>
                  <a:gd name="T40" fmla="*/ 96 w 152"/>
                  <a:gd name="T41" fmla="*/ 29 h 75"/>
                  <a:gd name="T42" fmla="*/ 94 w 152"/>
                  <a:gd name="T43" fmla="*/ 35 h 75"/>
                  <a:gd name="T44" fmla="*/ 97 w 152"/>
                  <a:gd name="T45" fmla="*/ 31 h 75"/>
                  <a:gd name="T46" fmla="*/ 96 w 152"/>
                  <a:gd name="T47" fmla="*/ 25 h 75"/>
                  <a:gd name="T48" fmla="*/ 97 w 152"/>
                  <a:gd name="T49" fmla="*/ 20 h 75"/>
                  <a:gd name="T50" fmla="*/ 106 w 152"/>
                  <a:gd name="T51" fmla="*/ 13 h 75"/>
                  <a:gd name="T52" fmla="*/ 116 w 152"/>
                  <a:gd name="T53" fmla="*/ 2 h 75"/>
                  <a:gd name="T54" fmla="*/ 107 w 152"/>
                  <a:gd name="T55" fmla="*/ 7 h 75"/>
                  <a:gd name="T56" fmla="*/ 113 w 152"/>
                  <a:gd name="T57" fmla="*/ 4 h 75"/>
                  <a:gd name="T58" fmla="*/ 116 w 152"/>
                  <a:gd name="T59" fmla="*/ 2 h 75"/>
                  <a:gd name="T60" fmla="*/ 122 w 152"/>
                  <a:gd name="T61" fmla="*/ 0 h 75"/>
                  <a:gd name="T62" fmla="*/ 122 w 152"/>
                  <a:gd name="T63" fmla="*/ 3 h 75"/>
                  <a:gd name="T64" fmla="*/ 132 w 152"/>
                  <a:gd name="T65" fmla="*/ 2 h 75"/>
                  <a:gd name="T66" fmla="*/ 139 w 152"/>
                  <a:gd name="T67" fmla="*/ 7 h 75"/>
                  <a:gd name="T68" fmla="*/ 136 w 152"/>
                  <a:gd name="T69" fmla="*/ 3 h 75"/>
                  <a:gd name="T70" fmla="*/ 138 w 152"/>
                  <a:gd name="T71" fmla="*/ 7 h 75"/>
                  <a:gd name="T72" fmla="*/ 141 w 152"/>
                  <a:gd name="T73" fmla="*/ 13 h 75"/>
                  <a:gd name="T74" fmla="*/ 141 w 152"/>
                  <a:gd name="T75" fmla="*/ 17 h 75"/>
                  <a:gd name="T76" fmla="*/ 139 w 152"/>
                  <a:gd name="T77" fmla="*/ 29 h 75"/>
                  <a:gd name="T78" fmla="*/ 145 w 152"/>
                  <a:gd name="T79" fmla="*/ 44 h 75"/>
                  <a:gd name="T80" fmla="*/ 145 w 152"/>
                  <a:gd name="T81" fmla="*/ 32 h 75"/>
                  <a:gd name="T82" fmla="*/ 143 w 152"/>
                  <a:gd name="T83" fmla="*/ 38 h 75"/>
                  <a:gd name="T84" fmla="*/ 145 w 152"/>
                  <a:gd name="T85" fmla="*/ 44 h 75"/>
                  <a:gd name="T86" fmla="*/ 145 w 152"/>
                  <a:gd name="T87" fmla="*/ 46 h 75"/>
                  <a:gd name="T88" fmla="*/ 151 w 152"/>
                  <a:gd name="T89" fmla="*/ 5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52" h="75">
                    <a:moveTo>
                      <a:pt x="9" y="67"/>
                    </a:moveTo>
                    <a:lnTo>
                      <a:pt x="9" y="67"/>
                    </a:lnTo>
                    <a:lnTo>
                      <a:pt x="0" y="73"/>
                    </a:lnTo>
                    <a:lnTo>
                      <a:pt x="2" y="75"/>
                    </a:lnTo>
                    <a:lnTo>
                      <a:pt x="2" y="75"/>
                    </a:lnTo>
                    <a:lnTo>
                      <a:pt x="10" y="70"/>
                    </a:lnTo>
                    <a:lnTo>
                      <a:pt x="9" y="67"/>
                    </a:lnTo>
                    <a:close/>
                    <a:moveTo>
                      <a:pt x="22" y="59"/>
                    </a:moveTo>
                    <a:lnTo>
                      <a:pt x="22" y="59"/>
                    </a:lnTo>
                    <a:lnTo>
                      <a:pt x="13" y="64"/>
                    </a:lnTo>
                    <a:lnTo>
                      <a:pt x="15" y="67"/>
                    </a:lnTo>
                    <a:lnTo>
                      <a:pt x="15" y="67"/>
                    </a:lnTo>
                    <a:lnTo>
                      <a:pt x="23" y="61"/>
                    </a:lnTo>
                    <a:lnTo>
                      <a:pt x="22" y="59"/>
                    </a:lnTo>
                    <a:close/>
                    <a:moveTo>
                      <a:pt x="38" y="55"/>
                    </a:moveTo>
                    <a:lnTo>
                      <a:pt x="33" y="55"/>
                    </a:lnTo>
                    <a:lnTo>
                      <a:pt x="33" y="55"/>
                    </a:lnTo>
                    <a:lnTo>
                      <a:pt x="26" y="57"/>
                    </a:lnTo>
                    <a:lnTo>
                      <a:pt x="28" y="59"/>
                    </a:lnTo>
                    <a:lnTo>
                      <a:pt x="28" y="59"/>
                    </a:lnTo>
                    <a:lnTo>
                      <a:pt x="33" y="58"/>
                    </a:lnTo>
                    <a:lnTo>
                      <a:pt x="38" y="58"/>
                    </a:lnTo>
                    <a:lnTo>
                      <a:pt x="38" y="55"/>
                    </a:lnTo>
                    <a:close/>
                    <a:moveTo>
                      <a:pt x="52" y="55"/>
                    </a:moveTo>
                    <a:lnTo>
                      <a:pt x="52" y="55"/>
                    </a:lnTo>
                    <a:lnTo>
                      <a:pt x="42" y="55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52" y="58"/>
                    </a:lnTo>
                    <a:lnTo>
                      <a:pt x="52" y="55"/>
                    </a:lnTo>
                    <a:close/>
                    <a:moveTo>
                      <a:pt x="68" y="55"/>
                    </a:moveTo>
                    <a:lnTo>
                      <a:pt x="68" y="55"/>
                    </a:lnTo>
                    <a:lnTo>
                      <a:pt x="58" y="55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68" y="57"/>
                    </a:lnTo>
                    <a:lnTo>
                      <a:pt x="68" y="55"/>
                    </a:lnTo>
                    <a:close/>
                    <a:moveTo>
                      <a:pt x="80" y="49"/>
                    </a:moveTo>
                    <a:lnTo>
                      <a:pt x="80" y="49"/>
                    </a:lnTo>
                    <a:lnTo>
                      <a:pt x="77" y="54"/>
                    </a:lnTo>
                    <a:lnTo>
                      <a:pt x="77" y="54"/>
                    </a:lnTo>
                    <a:lnTo>
                      <a:pt x="75" y="54"/>
                    </a:lnTo>
                    <a:lnTo>
                      <a:pt x="75" y="54"/>
                    </a:lnTo>
                    <a:lnTo>
                      <a:pt x="73" y="55"/>
                    </a:lnTo>
                    <a:lnTo>
                      <a:pt x="73" y="57"/>
                    </a:lnTo>
                    <a:lnTo>
                      <a:pt x="73" y="57"/>
                    </a:lnTo>
                    <a:lnTo>
                      <a:pt x="75" y="57"/>
                    </a:lnTo>
                    <a:lnTo>
                      <a:pt x="75" y="57"/>
                    </a:lnTo>
                    <a:lnTo>
                      <a:pt x="78" y="55"/>
                    </a:lnTo>
                    <a:lnTo>
                      <a:pt x="78" y="55"/>
                    </a:lnTo>
                    <a:lnTo>
                      <a:pt x="83" y="51"/>
                    </a:lnTo>
                    <a:lnTo>
                      <a:pt x="80" y="49"/>
                    </a:lnTo>
                    <a:close/>
                    <a:moveTo>
                      <a:pt x="90" y="38"/>
                    </a:moveTo>
                    <a:lnTo>
                      <a:pt x="90" y="38"/>
                    </a:lnTo>
                    <a:lnTo>
                      <a:pt x="84" y="46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91" y="39"/>
                    </a:lnTo>
                    <a:lnTo>
                      <a:pt x="90" y="38"/>
                    </a:lnTo>
                    <a:close/>
                    <a:moveTo>
                      <a:pt x="96" y="25"/>
                    </a:moveTo>
                    <a:lnTo>
                      <a:pt x="96" y="26"/>
                    </a:lnTo>
                    <a:lnTo>
                      <a:pt x="96" y="26"/>
                    </a:lnTo>
                    <a:lnTo>
                      <a:pt x="96" y="29"/>
                    </a:lnTo>
                    <a:lnTo>
                      <a:pt x="96" y="29"/>
                    </a:lnTo>
                    <a:lnTo>
                      <a:pt x="93" y="33"/>
                    </a:lnTo>
                    <a:lnTo>
                      <a:pt x="94" y="35"/>
                    </a:lnTo>
                    <a:lnTo>
                      <a:pt x="94" y="35"/>
                    </a:lnTo>
                    <a:lnTo>
                      <a:pt x="97" y="31"/>
                    </a:lnTo>
                    <a:lnTo>
                      <a:pt x="97" y="31"/>
                    </a:lnTo>
                    <a:lnTo>
                      <a:pt x="99" y="26"/>
                    </a:lnTo>
                    <a:lnTo>
                      <a:pt x="99" y="25"/>
                    </a:lnTo>
                    <a:lnTo>
                      <a:pt x="96" y="25"/>
                    </a:lnTo>
                    <a:close/>
                    <a:moveTo>
                      <a:pt x="103" y="12"/>
                    </a:moveTo>
                    <a:lnTo>
                      <a:pt x="103" y="12"/>
                    </a:lnTo>
                    <a:lnTo>
                      <a:pt x="97" y="20"/>
                    </a:lnTo>
                    <a:lnTo>
                      <a:pt x="100" y="20"/>
                    </a:lnTo>
                    <a:lnTo>
                      <a:pt x="100" y="20"/>
                    </a:lnTo>
                    <a:lnTo>
                      <a:pt x="106" y="13"/>
                    </a:lnTo>
                    <a:lnTo>
                      <a:pt x="103" y="12"/>
                    </a:lnTo>
                    <a:close/>
                    <a:moveTo>
                      <a:pt x="116" y="2"/>
                    </a:moveTo>
                    <a:lnTo>
                      <a:pt x="116" y="2"/>
                    </a:lnTo>
                    <a:lnTo>
                      <a:pt x="112" y="3"/>
                    </a:lnTo>
                    <a:lnTo>
                      <a:pt x="112" y="3"/>
                    </a:lnTo>
                    <a:lnTo>
                      <a:pt x="107" y="7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13" y="4"/>
                    </a:lnTo>
                    <a:lnTo>
                      <a:pt x="113" y="4"/>
                    </a:lnTo>
                    <a:lnTo>
                      <a:pt x="116" y="4"/>
                    </a:lnTo>
                    <a:lnTo>
                      <a:pt x="116" y="2"/>
                    </a:lnTo>
                    <a:close/>
                    <a:moveTo>
                      <a:pt x="132" y="2"/>
                    </a:moveTo>
                    <a:lnTo>
                      <a:pt x="132" y="2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3"/>
                    </a:lnTo>
                    <a:lnTo>
                      <a:pt x="122" y="3"/>
                    </a:lnTo>
                    <a:lnTo>
                      <a:pt x="122" y="3"/>
                    </a:lnTo>
                    <a:lnTo>
                      <a:pt x="130" y="4"/>
                    </a:lnTo>
                    <a:lnTo>
                      <a:pt x="132" y="2"/>
                    </a:lnTo>
                    <a:close/>
                    <a:moveTo>
                      <a:pt x="141" y="13"/>
                    </a:moveTo>
                    <a:lnTo>
                      <a:pt x="141" y="13"/>
                    </a:lnTo>
                    <a:lnTo>
                      <a:pt x="139" y="7"/>
                    </a:lnTo>
                    <a:lnTo>
                      <a:pt x="139" y="7"/>
                    </a:lnTo>
                    <a:lnTo>
                      <a:pt x="139" y="4"/>
                    </a:lnTo>
                    <a:lnTo>
                      <a:pt x="136" y="3"/>
                    </a:lnTo>
                    <a:lnTo>
                      <a:pt x="136" y="4"/>
                    </a:lnTo>
                    <a:lnTo>
                      <a:pt x="136" y="4"/>
                    </a:lnTo>
                    <a:lnTo>
                      <a:pt x="138" y="7"/>
                    </a:lnTo>
                    <a:lnTo>
                      <a:pt x="138" y="7"/>
                    </a:lnTo>
                    <a:lnTo>
                      <a:pt x="138" y="13"/>
                    </a:lnTo>
                    <a:lnTo>
                      <a:pt x="141" y="13"/>
                    </a:lnTo>
                    <a:close/>
                    <a:moveTo>
                      <a:pt x="142" y="28"/>
                    </a:moveTo>
                    <a:lnTo>
                      <a:pt x="142" y="28"/>
                    </a:lnTo>
                    <a:lnTo>
                      <a:pt x="141" y="17"/>
                    </a:lnTo>
                    <a:lnTo>
                      <a:pt x="139" y="19"/>
                    </a:lnTo>
                    <a:lnTo>
                      <a:pt x="139" y="19"/>
                    </a:lnTo>
                    <a:lnTo>
                      <a:pt x="139" y="29"/>
                    </a:lnTo>
                    <a:lnTo>
                      <a:pt x="142" y="28"/>
                    </a:lnTo>
                    <a:close/>
                    <a:moveTo>
                      <a:pt x="145" y="44"/>
                    </a:moveTo>
                    <a:lnTo>
                      <a:pt x="145" y="44"/>
                    </a:lnTo>
                    <a:lnTo>
                      <a:pt x="146" y="38"/>
                    </a:lnTo>
                    <a:lnTo>
                      <a:pt x="146" y="38"/>
                    </a:lnTo>
                    <a:lnTo>
                      <a:pt x="145" y="32"/>
                    </a:lnTo>
                    <a:lnTo>
                      <a:pt x="142" y="33"/>
                    </a:lnTo>
                    <a:lnTo>
                      <a:pt x="142" y="33"/>
                    </a:lnTo>
                    <a:lnTo>
                      <a:pt x="143" y="38"/>
                    </a:lnTo>
                    <a:lnTo>
                      <a:pt x="143" y="38"/>
                    </a:lnTo>
                    <a:lnTo>
                      <a:pt x="142" y="42"/>
                    </a:lnTo>
                    <a:lnTo>
                      <a:pt x="145" y="44"/>
                    </a:lnTo>
                    <a:close/>
                    <a:moveTo>
                      <a:pt x="152" y="54"/>
                    </a:moveTo>
                    <a:lnTo>
                      <a:pt x="152" y="54"/>
                    </a:lnTo>
                    <a:lnTo>
                      <a:pt x="145" y="46"/>
                    </a:lnTo>
                    <a:lnTo>
                      <a:pt x="142" y="48"/>
                    </a:lnTo>
                    <a:lnTo>
                      <a:pt x="142" y="48"/>
                    </a:lnTo>
                    <a:lnTo>
                      <a:pt x="151" y="55"/>
                    </a:lnTo>
                    <a:lnTo>
                      <a:pt x="152" y="5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" name="Freeform 1660"/>
              <p:cNvSpPr>
                <a:spLocks noEditPoints="1"/>
              </p:cNvSpPr>
              <p:nvPr/>
            </p:nvSpPr>
            <p:spPr bwMode="auto">
              <a:xfrm>
                <a:off x="2158206" y="1765979"/>
                <a:ext cx="181035" cy="510458"/>
              </a:xfrm>
              <a:custGeom>
                <a:avLst/>
                <a:gdLst>
                  <a:gd name="T0" fmla="*/ 3 w 183"/>
                  <a:gd name="T1" fmla="*/ 0 h 516"/>
                  <a:gd name="T2" fmla="*/ 3 w 183"/>
                  <a:gd name="T3" fmla="*/ 11 h 516"/>
                  <a:gd name="T4" fmla="*/ 3 w 183"/>
                  <a:gd name="T5" fmla="*/ 26 h 516"/>
                  <a:gd name="T6" fmla="*/ 3 w 183"/>
                  <a:gd name="T7" fmla="*/ 42 h 516"/>
                  <a:gd name="T8" fmla="*/ 3 w 183"/>
                  <a:gd name="T9" fmla="*/ 56 h 516"/>
                  <a:gd name="T10" fmla="*/ 3 w 183"/>
                  <a:gd name="T11" fmla="*/ 72 h 516"/>
                  <a:gd name="T12" fmla="*/ 3 w 183"/>
                  <a:gd name="T13" fmla="*/ 87 h 516"/>
                  <a:gd name="T14" fmla="*/ 3 w 183"/>
                  <a:gd name="T15" fmla="*/ 103 h 516"/>
                  <a:gd name="T16" fmla="*/ 3 w 183"/>
                  <a:gd name="T17" fmla="*/ 117 h 516"/>
                  <a:gd name="T18" fmla="*/ 3 w 183"/>
                  <a:gd name="T19" fmla="*/ 133 h 516"/>
                  <a:gd name="T20" fmla="*/ 3 w 183"/>
                  <a:gd name="T21" fmla="*/ 148 h 516"/>
                  <a:gd name="T22" fmla="*/ 3 w 183"/>
                  <a:gd name="T23" fmla="*/ 164 h 516"/>
                  <a:gd name="T24" fmla="*/ 3 w 183"/>
                  <a:gd name="T25" fmla="*/ 178 h 516"/>
                  <a:gd name="T26" fmla="*/ 3 w 183"/>
                  <a:gd name="T27" fmla="*/ 194 h 516"/>
                  <a:gd name="T28" fmla="*/ 3 w 183"/>
                  <a:gd name="T29" fmla="*/ 208 h 516"/>
                  <a:gd name="T30" fmla="*/ 3 w 183"/>
                  <a:gd name="T31" fmla="*/ 224 h 516"/>
                  <a:gd name="T32" fmla="*/ 3 w 183"/>
                  <a:gd name="T33" fmla="*/ 239 h 516"/>
                  <a:gd name="T34" fmla="*/ 3 w 183"/>
                  <a:gd name="T35" fmla="*/ 255 h 516"/>
                  <a:gd name="T36" fmla="*/ 3 w 183"/>
                  <a:gd name="T37" fmla="*/ 269 h 516"/>
                  <a:gd name="T38" fmla="*/ 3 w 183"/>
                  <a:gd name="T39" fmla="*/ 285 h 516"/>
                  <a:gd name="T40" fmla="*/ 3 w 183"/>
                  <a:gd name="T41" fmla="*/ 300 h 516"/>
                  <a:gd name="T42" fmla="*/ 3 w 183"/>
                  <a:gd name="T43" fmla="*/ 316 h 516"/>
                  <a:gd name="T44" fmla="*/ 3 w 183"/>
                  <a:gd name="T45" fmla="*/ 330 h 516"/>
                  <a:gd name="T46" fmla="*/ 3 w 183"/>
                  <a:gd name="T47" fmla="*/ 346 h 516"/>
                  <a:gd name="T48" fmla="*/ 5 w 183"/>
                  <a:gd name="T49" fmla="*/ 359 h 516"/>
                  <a:gd name="T50" fmla="*/ 26 w 183"/>
                  <a:gd name="T51" fmla="*/ 352 h 516"/>
                  <a:gd name="T52" fmla="*/ 19 w 183"/>
                  <a:gd name="T53" fmla="*/ 356 h 516"/>
                  <a:gd name="T54" fmla="*/ 26 w 183"/>
                  <a:gd name="T55" fmla="*/ 355 h 516"/>
                  <a:gd name="T56" fmla="*/ 32 w 183"/>
                  <a:gd name="T57" fmla="*/ 362 h 516"/>
                  <a:gd name="T58" fmla="*/ 31 w 183"/>
                  <a:gd name="T59" fmla="*/ 368 h 516"/>
                  <a:gd name="T60" fmla="*/ 34 w 183"/>
                  <a:gd name="T61" fmla="*/ 372 h 516"/>
                  <a:gd name="T62" fmla="*/ 51 w 183"/>
                  <a:gd name="T63" fmla="*/ 392 h 516"/>
                  <a:gd name="T64" fmla="*/ 51 w 183"/>
                  <a:gd name="T65" fmla="*/ 392 h 516"/>
                  <a:gd name="T66" fmla="*/ 55 w 183"/>
                  <a:gd name="T67" fmla="*/ 398 h 516"/>
                  <a:gd name="T68" fmla="*/ 57 w 183"/>
                  <a:gd name="T69" fmla="*/ 401 h 516"/>
                  <a:gd name="T70" fmla="*/ 73 w 183"/>
                  <a:gd name="T71" fmla="*/ 387 h 516"/>
                  <a:gd name="T72" fmla="*/ 73 w 183"/>
                  <a:gd name="T73" fmla="*/ 387 h 516"/>
                  <a:gd name="T74" fmla="*/ 77 w 183"/>
                  <a:gd name="T75" fmla="*/ 385 h 516"/>
                  <a:gd name="T76" fmla="*/ 92 w 183"/>
                  <a:gd name="T77" fmla="*/ 375 h 516"/>
                  <a:gd name="T78" fmla="*/ 87 w 183"/>
                  <a:gd name="T79" fmla="*/ 375 h 516"/>
                  <a:gd name="T80" fmla="*/ 100 w 183"/>
                  <a:gd name="T81" fmla="*/ 395 h 516"/>
                  <a:gd name="T82" fmla="*/ 97 w 183"/>
                  <a:gd name="T83" fmla="*/ 395 h 516"/>
                  <a:gd name="T84" fmla="*/ 102 w 183"/>
                  <a:gd name="T85" fmla="*/ 400 h 516"/>
                  <a:gd name="T86" fmla="*/ 109 w 183"/>
                  <a:gd name="T87" fmla="*/ 407 h 516"/>
                  <a:gd name="T88" fmla="*/ 113 w 183"/>
                  <a:gd name="T89" fmla="*/ 410 h 516"/>
                  <a:gd name="T90" fmla="*/ 118 w 183"/>
                  <a:gd name="T91" fmla="*/ 419 h 516"/>
                  <a:gd name="T92" fmla="*/ 121 w 183"/>
                  <a:gd name="T93" fmla="*/ 423 h 516"/>
                  <a:gd name="T94" fmla="*/ 139 w 183"/>
                  <a:gd name="T95" fmla="*/ 440 h 516"/>
                  <a:gd name="T96" fmla="*/ 129 w 183"/>
                  <a:gd name="T97" fmla="*/ 434 h 516"/>
                  <a:gd name="T98" fmla="*/ 148 w 183"/>
                  <a:gd name="T99" fmla="*/ 453 h 516"/>
                  <a:gd name="T100" fmla="*/ 145 w 183"/>
                  <a:gd name="T101" fmla="*/ 455 h 516"/>
                  <a:gd name="T102" fmla="*/ 148 w 183"/>
                  <a:gd name="T103" fmla="*/ 459 h 516"/>
                  <a:gd name="T104" fmla="*/ 167 w 183"/>
                  <a:gd name="T105" fmla="*/ 476 h 516"/>
                  <a:gd name="T106" fmla="*/ 167 w 183"/>
                  <a:gd name="T107" fmla="*/ 476 h 516"/>
                  <a:gd name="T108" fmla="*/ 168 w 183"/>
                  <a:gd name="T109" fmla="*/ 481 h 516"/>
                  <a:gd name="T110" fmla="*/ 183 w 183"/>
                  <a:gd name="T111" fmla="*/ 494 h 516"/>
                  <a:gd name="T112" fmla="*/ 180 w 183"/>
                  <a:gd name="T113" fmla="*/ 501 h 516"/>
                  <a:gd name="T114" fmla="*/ 183 w 183"/>
                  <a:gd name="T115" fmla="*/ 516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83" h="516">
                    <a:moveTo>
                      <a:pt x="3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0"/>
                    </a:lnTo>
                    <a:close/>
                    <a:moveTo>
                      <a:pt x="3" y="11"/>
                    </a:moveTo>
                    <a:lnTo>
                      <a:pt x="0" y="11"/>
                    </a:lnTo>
                    <a:lnTo>
                      <a:pt x="0" y="22"/>
                    </a:lnTo>
                    <a:lnTo>
                      <a:pt x="3" y="22"/>
                    </a:lnTo>
                    <a:lnTo>
                      <a:pt x="3" y="11"/>
                    </a:lnTo>
                    <a:close/>
                    <a:moveTo>
                      <a:pt x="3" y="26"/>
                    </a:moveTo>
                    <a:lnTo>
                      <a:pt x="0" y="26"/>
                    </a:lnTo>
                    <a:lnTo>
                      <a:pt x="0" y="36"/>
                    </a:lnTo>
                    <a:lnTo>
                      <a:pt x="3" y="36"/>
                    </a:lnTo>
                    <a:lnTo>
                      <a:pt x="3" y="26"/>
                    </a:lnTo>
                    <a:close/>
                    <a:moveTo>
                      <a:pt x="3" y="42"/>
                    </a:moveTo>
                    <a:lnTo>
                      <a:pt x="0" y="42"/>
                    </a:lnTo>
                    <a:lnTo>
                      <a:pt x="0" y="52"/>
                    </a:lnTo>
                    <a:lnTo>
                      <a:pt x="3" y="52"/>
                    </a:lnTo>
                    <a:lnTo>
                      <a:pt x="3" y="42"/>
                    </a:lnTo>
                    <a:close/>
                    <a:moveTo>
                      <a:pt x="3" y="56"/>
                    </a:moveTo>
                    <a:lnTo>
                      <a:pt x="0" y="56"/>
                    </a:lnTo>
                    <a:lnTo>
                      <a:pt x="0" y="67"/>
                    </a:lnTo>
                    <a:lnTo>
                      <a:pt x="3" y="67"/>
                    </a:lnTo>
                    <a:lnTo>
                      <a:pt x="3" y="56"/>
                    </a:lnTo>
                    <a:close/>
                    <a:moveTo>
                      <a:pt x="3" y="72"/>
                    </a:moveTo>
                    <a:lnTo>
                      <a:pt x="0" y="72"/>
                    </a:lnTo>
                    <a:lnTo>
                      <a:pt x="0" y="82"/>
                    </a:lnTo>
                    <a:lnTo>
                      <a:pt x="3" y="82"/>
                    </a:lnTo>
                    <a:lnTo>
                      <a:pt x="3" y="72"/>
                    </a:lnTo>
                    <a:close/>
                    <a:moveTo>
                      <a:pt x="3" y="87"/>
                    </a:moveTo>
                    <a:lnTo>
                      <a:pt x="0" y="87"/>
                    </a:lnTo>
                    <a:lnTo>
                      <a:pt x="0" y="97"/>
                    </a:lnTo>
                    <a:lnTo>
                      <a:pt x="3" y="97"/>
                    </a:lnTo>
                    <a:lnTo>
                      <a:pt x="3" y="87"/>
                    </a:lnTo>
                    <a:close/>
                    <a:moveTo>
                      <a:pt x="3" y="103"/>
                    </a:moveTo>
                    <a:lnTo>
                      <a:pt x="0" y="103"/>
                    </a:lnTo>
                    <a:lnTo>
                      <a:pt x="0" y="113"/>
                    </a:lnTo>
                    <a:lnTo>
                      <a:pt x="3" y="113"/>
                    </a:lnTo>
                    <a:lnTo>
                      <a:pt x="3" y="103"/>
                    </a:lnTo>
                    <a:close/>
                    <a:moveTo>
                      <a:pt x="3" y="117"/>
                    </a:moveTo>
                    <a:lnTo>
                      <a:pt x="0" y="117"/>
                    </a:lnTo>
                    <a:lnTo>
                      <a:pt x="0" y="127"/>
                    </a:lnTo>
                    <a:lnTo>
                      <a:pt x="3" y="127"/>
                    </a:lnTo>
                    <a:lnTo>
                      <a:pt x="3" y="117"/>
                    </a:lnTo>
                    <a:close/>
                    <a:moveTo>
                      <a:pt x="3" y="133"/>
                    </a:moveTo>
                    <a:lnTo>
                      <a:pt x="0" y="133"/>
                    </a:lnTo>
                    <a:lnTo>
                      <a:pt x="0" y="143"/>
                    </a:lnTo>
                    <a:lnTo>
                      <a:pt x="3" y="143"/>
                    </a:lnTo>
                    <a:lnTo>
                      <a:pt x="3" y="133"/>
                    </a:lnTo>
                    <a:close/>
                    <a:moveTo>
                      <a:pt x="3" y="148"/>
                    </a:moveTo>
                    <a:lnTo>
                      <a:pt x="0" y="148"/>
                    </a:lnTo>
                    <a:lnTo>
                      <a:pt x="0" y="158"/>
                    </a:lnTo>
                    <a:lnTo>
                      <a:pt x="3" y="158"/>
                    </a:lnTo>
                    <a:lnTo>
                      <a:pt x="3" y="148"/>
                    </a:lnTo>
                    <a:close/>
                    <a:moveTo>
                      <a:pt x="3" y="164"/>
                    </a:moveTo>
                    <a:lnTo>
                      <a:pt x="0" y="164"/>
                    </a:lnTo>
                    <a:lnTo>
                      <a:pt x="0" y="174"/>
                    </a:lnTo>
                    <a:lnTo>
                      <a:pt x="3" y="174"/>
                    </a:lnTo>
                    <a:lnTo>
                      <a:pt x="3" y="164"/>
                    </a:lnTo>
                    <a:close/>
                    <a:moveTo>
                      <a:pt x="3" y="178"/>
                    </a:moveTo>
                    <a:lnTo>
                      <a:pt x="0" y="178"/>
                    </a:lnTo>
                    <a:lnTo>
                      <a:pt x="0" y="188"/>
                    </a:lnTo>
                    <a:lnTo>
                      <a:pt x="3" y="188"/>
                    </a:lnTo>
                    <a:lnTo>
                      <a:pt x="3" y="178"/>
                    </a:lnTo>
                    <a:close/>
                    <a:moveTo>
                      <a:pt x="3" y="194"/>
                    </a:moveTo>
                    <a:lnTo>
                      <a:pt x="0" y="194"/>
                    </a:lnTo>
                    <a:lnTo>
                      <a:pt x="0" y="204"/>
                    </a:lnTo>
                    <a:lnTo>
                      <a:pt x="3" y="204"/>
                    </a:lnTo>
                    <a:lnTo>
                      <a:pt x="3" y="194"/>
                    </a:lnTo>
                    <a:close/>
                    <a:moveTo>
                      <a:pt x="3" y="208"/>
                    </a:moveTo>
                    <a:lnTo>
                      <a:pt x="0" y="208"/>
                    </a:lnTo>
                    <a:lnTo>
                      <a:pt x="0" y="219"/>
                    </a:lnTo>
                    <a:lnTo>
                      <a:pt x="3" y="219"/>
                    </a:lnTo>
                    <a:lnTo>
                      <a:pt x="3" y="208"/>
                    </a:lnTo>
                    <a:close/>
                    <a:moveTo>
                      <a:pt x="3" y="224"/>
                    </a:moveTo>
                    <a:lnTo>
                      <a:pt x="0" y="224"/>
                    </a:lnTo>
                    <a:lnTo>
                      <a:pt x="0" y="235"/>
                    </a:lnTo>
                    <a:lnTo>
                      <a:pt x="3" y="235"/>
                    </a:lnTo>
                    <a:lnTo>
                      <a:pt x="3" y="224"/>
                    </a:lnTo>
                    <a:close/>
                    <a:moveTo>
                      <a:pt x="3" y="239"/>
                    </a:moveTo>
                    <a:lnTo>
                      <a:pt x="0" y="239"/>
                    </a:lnTo>
                    <a:lnTo>
                      <a:pt x="0" y="249"/>
                    </a:lnTo>
                    <a:lnTo>
                      <a:pt x="3" y="249"/>
                    </a:lnTo>
                    <a:lnTo>
                      <a:pt x="3" y="239"/>
                    </a:lnTo>
                    <a:close/>
                    <a:moveTo>
                      <a:pt x="3" y="255"/>
                    </a:moveTo>
                    <a:lnTo>
                      <a:pt x="0" y="255"/>
                    </a:lnTo>
                    <a:lnTo>
                      <a:pt x="0" y="265"/>
                    </a:lnTo>
                    <a:lnTo>
                      <a:pt x="3" y="265"/>
                    </a:lnTo>
                    <a:lnTo>
                      <a:pt x="3" y="255"/>
                    </a:lnTo>
                    <a:close/>
                    <a:moveTo>
                      <a:pt x="3" y="269"/>
                    </a:moveTo>
                    <a:lnTo>
                      <a:pt x="0" y="269"/>
                    </a:lnTo>
                    <a:lnTo>
                      <a:pt x="0" y="279"/>
                    </a:lnTo>
                    <a:lnTo>
                      <a:pt x="3" y="279"/>
                    </a:lnTo>
                    <a:lnTo>
                      <a:pt x="3" y="269"/>
                    </a:lnTo>
                    <a:close/>
                    <a:moveTo>
                      <a:pt x="3" y="285"/>
                    </a:moveTo>
                    <a:lnTo>
                      <a:pt x="0" y="285"/>
                    </a:lnTo>
                    <a:lnTo>
                      <a:pt x="0" y="295"/>
                    </a:lnTo>
                    <a:lnTo>
                      <a:pt x="3" y="295"/>
                    </a:lnTo>
                    <a:lnTo>
                      <a:pt x="3" y="285"/>
                    </a:lnTo>
                    <a:close/>
                    <a:moveTo>
                      <a:pt x="3" y="300"/>
                    </a:moveTo>
                    <a:lnTo>
                      <a:pt x="0" y="300"/>
                    </a:lnTo>
                    <a:lnTo>
                      <a:pt x="0" y="310"/>
                    </a:lnTo>
                    <a:lnTo>
                      <a:pt x="3" y="310"/>
                    </a:lnTo>
                    <a:lnTo>
                      <a:pt x="3" y="300"/>
                    </a:lnTo>
                    <a:close/>
                    <a:moveTo>
                      <a:pt x="3" y="316"/>
                    </a:moveTo>
                    <a:lnTo>
                      <a:pt x="0" y="316"/>
                    </a:lnTo>
                    <a:lnTo>
                      <a:pt x="0" y="326"/>
                    </a:lnTo>
                    <a:lnTo>
                      <a:pt x="3" y="326"/>
                    </a:lnTo>
                    <a:lnTo>
                      <a:pt x="3" y="316"/>
                    </a:lnTo>
                    <a:close/>
                    <a:moveTo>
                      <a:pt x="3" y="330"/>
                    </a:moveTo>
                    <a:lnTo>
                      <a:pt x="0" y="330"/>
                    </a:lnTo>
                    <a:lnTo>
                      <a:pt x="0" y="340"/>
                    </a:lnTo>
                    <a:lnTo>
                      <a:pt x="3" y="340"/>
                    </a:lnTo>
                    <a:lnTo>
                      <a:pt x="3" y="330"/>
                    </a:lnTo>
                    <a:close/>
                    <a:moveTo>
                      <a:pt x="3" y="346"/>
                    </a:moveTo>
                    <a:lnTo>
                      <a:pt x="0" y="346"/>
                    </a:lnTo>
                    <a:lnTo>
                      <a:pt x="0" y="356"/>
                    </a:lnTo>
                    <a:lnTo>
                      <a:pt x="3" y="356"/>
                    </a:lnTo>
                    <a:lnTo>
                      <a:pt x="3" y="346"/>
                    </a:lnTo>
                    <a:close/>
                    <a:moveTo>
                      <a:pt x="13" y="355"/>
                    </a:moveTo>
                    <a:lnTo>
                      <a:pt x="13" y="355"/>
                    </a:lnTo>
                    <a:lnTo>
                      <a:pt x="5" y="358"/>
                    </a:lnTo>
                    <a:lnTo>
                      <a:pt x="5" y="359"/>
                    </a:lnTo>
                    <a:lnTo>
                      <a:pt x="5" y="359"/>
                    </a:lnTo>
                    <a:lnTo>
                      <a:pt x="15" y="358"/>
                    </a:lnTo>
                    <a:lnTo>
                      <a:pt x="13" y="355"/>
                    </a:lnTo>
                    <a:close/>
                    <a:moveTo>
                      <a:pt x="29" y="352"/>
                    </a:moveTo>
                    <a:lnTo>
                      <a:pt x="29" y="352"/>
                    </a:lnTo>
                    <a:lnTo>
                      <a:pt x="26" y="352"/>
                    </a:lnTo>
                    <a:lnTo>
                      <a:pt x="26" y="352"/>
                    </a:lnTo>
                    <a:lnTo>
                      <a:pt x="25" y="352"/>
                    </a:lnTo>
                    <a:lnTo>
                      <a:pt x="25" y="352"/>
                    </a:lnTo>
                    <a:lnTo>
                      <a:pt x="19" y="353"/>
                    </a:lnTo>
                    <a:lnTo>
                      <a:pt x="19" y="356"/>
                    </a:lnTo>
                    <a:lnTo>
                      <a:pt x="19" y="356"/>
                    </a:lnTo>
                    <a:lnTo>
                      <a:pt x="26" y="355"/>
                    </a:lnTo>
                    <a:lnTo>
                      <a:pt x="26" y="355"/>
                    </a:lnTo>
                    <a:lnTo>
                      <a:pt x="26" y="355"/>
                    </a:lnTo>
                    <a:lnTo>
                      <a:pt x="26" y="355"/>
                    </a:lnTo>
                    <a:lnTo>
                      <a:pt x="28" y="355"/>
                    </a:lnTo>
                    <a:lnTo>
                      <a:pt x="29" y="352"/>
                    </a:lnTo>
                    <a:close/>
                    <a:moveTo>
                      <a:pt x="34" y="368"/>
                    </a:moveTo>
                    <a:lnTo>
                      <a:pt x="34" y="368"/>
                    </a:lnTo>
                    <a:lnTo>
                      <a:pt x="32" y="362"/>
                    </a:lnTo>
                    <a:lnTo>
                      <a:pt x="32" y="358"/>
                    </a:lnTo>
                    <a:lnTo>
                      <a:pt x="29" y="358"/>
                    </a:lnTo>
                    <a:lnTo>
                      <a:pt x="29" y="358"/>
                    </a:lnTo>
                    <a:lnTo>
                      <a:pt x="31" y="363"/>
                    </a:lnTo>
                    <a:lnTo>
                      <a:pt x="31" y="368"/>
                    </a:lnTo>
                    <a:lnTo>
                      <a:pt x="34" y="368"/>
                    </a:lnTo>
                    <a:close/>
                    <a:moveTo>
                      <a:pt x="42" y="379"/>
                    </a:moveTo>
                    <a:lnTo>
                      <a:pt x="42" y="379"/>
                    </a:lnTo>
                    <a:lnTo>
                      <a:pt x="36" y="371"/>
                    </a:lnTo>
                    <a:lnTo>
                      <a:pt x="34" y="372"/>
                    </a:lnTo>
                    <a:lnTo>
                      <a:pt x="34" y="372"/>
                    </a:lnTo>
                    <a:lnTo>
                      <a:pt x="39" y="381"/>
                    </a:lnTo>
                    <a:lnTo>
                      <a:pt x="42" y="379"/>
                    </a:lnTo>
                    <a:close/>
                    <a:moveTo>
                      <a:pt x="51" y="392"/>
                    </a:moveTo>
                    <a:lnTo>
                      <a:pt x="51" y="392"/>
                    </a:lnTo>
                    <a:lnTo>
                      <a:pt x="45" y="384"/>
                    </a:lnTo>
                    <a:lnTo>
                      <a:pt x="42" y="385"/>
                    </a:lnTo>
                    <a:lnTo>
                      <a:pt x="42" y="385"/>
                    </a:lnTo>
                    <a:lnTo>
                      <a:pt x="50" y="394"/>
                    </a:lnTo>
                    <a:lnTo>
                      <a:pt x="51" y="392"/>
                    </a:lnTo>
                    <a:close/>
                    <a:moveTo>
                      <a:pt x="63" y="397"/>
                    </a:moveTo>
                    <a:lnTo>
                      <a:pt x="63" y="397"/>
                    </a:lnTo>
                    <a:lnTo>
                      <a:pt x="57" y="398"/>
                    </a:lnTo>
                    <a:lnTo>
                      <a:pt x="57" y="398"/>
                    </a:lnTo>
                    <a:lnTo>
                      <a:pt x="55" y="398"/>
                    </a:lnTo>
                    <a:lnTo>
                      <a:pt x="54" y="395"/>
                    </a:lnTo>
                    <a:lnTo>
                      <a:pt x="52" y="397"/>
                    </a:lnTo>
                    <a:lnTo>
                      <a:pt x="52" y="397"/>
                    </a:lnTo>
                    <a:lnTo>
                      <a:pt x="55" y="400"/>
                    </a:lnTo>
                    <a:lnTo>
                      <a:pt x="57" y="401"/>
                    </a:lnTo>
                    <a:lnTo>
                      <a:pt x="57" y="401"/>
                    </a:lnTo>
                    <a:lnTo>
                      <a:pt x="63" y="400"/>
                    </a:lnTo>
                    <a:lnTo>
                      <a:pt x="63" y="397"/>
                    </a:lnTo>
                    <a:close/>
                    <a:moveTo>
                      <a:pt x="73" y="387"/>
                    </a:moveTo>
                    <a:lnTo>
                      <a:pt x="73" y="387"/>
                    </a:lnTo>
                    <a:lnTo>
                      <a:pt x="65" y="395"/>
                    </a:lnTo>
                    <a:lnTo>
                      <a:pt x="67" y="397"/>
                    </a:lnTo>
                    <a:lnTo>
                      <a:pt x="67" y="397"/>
                    </a:lnTo>
                    <a:lnTo>
                      <a:pt x="74" y="390"/>
                    </a:lnTo>
                    <a:lnTo>
                      <a:pt x="73" y="387"/>
                    </a:lnTo>
                    <a:close/>
                    <a:moveTo>
                      <a:pt x="83" y="375"/>
                    </a:moveTo>
                    <a:lnTo>
                      <a:pt x="83" y="375"/>
                    </a:lnTo>
                    <a:lnTo>
                      <a:pt x="76" y="384"/>
                    </a:lnTo>
                    <a:lnTo>
                      <a:pt x="77" y="385"/>
                    </a:lnTo>
                    <a:lnTo>
                      <a:pt x="77" y="385"/>
                    </a:lnTo>
                    <a:lnTo>
                      <a:pt x="84" y="378"/>
                    </a:lnTo>
                    <a:lnTo>
                      <a:pt x="83" y="375"/>
                    </a:lnTo>
                    <a:close/>
                    <a:moveTo>
                      <a:pt x="96" y="381"/>
                    </a:moveTo>
                    <a:lnTo>
                      <a:pt x="96" y="381"/>
                    </a:lnTo>
                    <a:lnTo>
                      <a:pt x="92" y="375"/>
                    </a:lnTo>
                    <a:lnTo>
                      <a:pt x="92" y="375"/>
                    </a:lnTo>
                    <a:lnTo>
                      <a:pt x="90" y="374"/>
                    </a:lnTo>
                    <a:lnTo>
                      <a:pt x="87" y="372"/>
                    </a:lnTo>
                    <a:lnTo>
                      <a:pt x="87" y="375"/>
                    </a:lnTo>
                    <a:lnTo>
                      <a:pt x="87" y="375"/>
                    </a:lnTo>
                    <a:lnTo>
                      <a:pt x="90" y="377"/>
                    </a:lnTo>
                    <a:lnTo>
                      <a:pt x="90" y="377"/>
                    </a:lnTo>
                    <a:lnTo>
                      <a:pt x="93" y="382"/>
                    </a:lnTo>
                    <a:lnTo>
                      <a:pt x="96" y="381"/>
                    </a:lnTo>
                    <a:close/>
                    <a:moveTo>
                      <a:pt x="100" y="395"/>
                    </a:moveTo>
                    <a:lnTo>
                      <a:pt x="100" y="395"/>
                    </a:lnTo>
                    <a:lnTo>
                      <a:pt x="97" y="385"/>
                    </a:lnTo>
                    <a:lnTo>
                      <a:pt x="94" y="387"/>
                    </a:lnTo>
                    <a:lnTo>
                      <a:pt x="94" y="387"/>
                    </a:lnTo>
                    <a:lnTo>
                      <a:pt x="97" y="395"/>
                    </a:lnTo>
                    <a:lnTo>
                      <a:pt x="100" y="395"/>
                    </a:lnTo>
                    <a:close/>
                    <a:moveTo>
                      <a:pt x="109" y="407"/>
                    </a:moveTo>
                    <a:lnTo>
                      <a:pt x="109" y="407"/>
                    </a:lnTo>
                    <a:lnTo>
                      <a:pt x="105" y="403"/>
                    </a:lnTo>
                    <a:lnTo>
                      <a:pt x="102" y="400"/>
                    </a:lnTo>
                    <a:lnTo>
                      <a:pt x="100" y="401"/>
                    </a:lnTo>
                    <a:lnTo>
                      <a:pt x="100" y="401"/>
                    </a:lnTo>
                    <a:lnTo>
                      <a:pt x="103" y="405"/>
                    </a:lnTo>
                    <a:lnTo>
                      <a:pt x="107" y="408"/>
                    </a:lnTo>
                    <a:lnTo>
                      <a:pt x="109" y="407"/>
                    </a:lnTo>
                    <a:close/>
                    <a:moveTo>
                      <a:pt x="121" y="417"/>
                    </a:moveTo>
                    <a:lnTo>
                      <a:pt x="121" y="417"/>
                    </a:lnTo>
                    <a:lnTo>
                      <a:pt x="121" y="417"/>
                    </a:lnTo>
                    <a:lnTo>
                      <a:pt x="116" y="413"/>
                    </a:lnTo>
                    <a:lnTo>
                      <a:pt x="113" y="410"/>
                    </a:lnTo>
                    <a:lnTo>
                      <a:pt x="112" y="411"/>
                    </a:lnTo>
                    <a:lnTo>
                      <a:pt x="112" y="411"/>
                    </a:lnTo>
                    <a:lnTo>
                      <a:pt x="115" y="414"/>
                    </a:lnTo>
                    <a:lnTo>
                      <a:pt x="118" y="417"/>
                    </a:lnTo>
                    <a:lnTo>
                      <a:pt x="118" y="419"/>
                    </a:lnTo>
                    <a:lnTo>
                      <a:pt x="121" y="417"/>
                    </a:lnTo>
                    <a:close/>
                    <a:moveTo>
                      <a:pt x="128" y="430"/>
                    </a:moveTo>
                    <a:lnTo>
                      <a:pt x="128" y="430"/>
                    </a:lnTo>
                    <a:lnTo>
                      <a:pt x="123" y="421"/>
                    </a:lnTo>
                    <a:lnTo>
                      <a:pt x="121" y="423"/>
                    </a:lnTo>
                    <a:lnTo>
                      <a:pt x="121" y="423"/>
                    </a:lnTo>
                    <a:lnTo>
                      <a:pt x="126" y="432"/>
                    </a:lnTo>
                    <a:lnTo>
                      <a:pt x="128" y="430"/>
                    </a:lnTo>
                    <a:close/>
                    <a:moveTo>
                      <a:pt x="139" y="440"/>
                    </a:moveTo>
                    <a:lnTo>
                      <a:pt x="139" y="440"/>
                    </a:lnTo>
                    <a:lnTo>
                      <a:pt x="135" y="437"/>
                    </a:lnTo>
                    <a:lnTo>
                      <a:pt x="135" y="437"/>
                    </a:lnTo>
                    <a:lnTo>
                      <a:pt x="132" y="433"/>
                    </a:lnTo>
                    <a:lnTo>
                      <a:pt x="129" y="434"/>
                    </a:lnTo>
                    <a:lnTo>
                      <a:pt x="129" y="434"/>
                    </a:lnTo>
                    <a:lnTo>
                      <a:pt x="134" y="439"/>
                    </a:lnTo>
                    <a:lnTo>
                      <a:pt x="134" y="439"/>
                    </a:lnTo>
                    <a:lnTo>
                      <a:pt x="136" y="442"/>
                    </a:lnTo>
                    <a:lnTo>
                      <a:pt x="139" y="440"/>
                    </a:lnTo>
                    <a:close/>
                    <a:moveTo>
                      <a:pt x="148" y="453"/>
                    </a:moveTo>
                    <a:lnTo>
                      <a:pt x="148" y="453"/>
                    </a:lnTo>
                    <a:lnTo>
                      <a:pt x="142" y="445"/>
                    </a:lnTo>
                    <a:lnTo>
                      <a:pt x="139" y="446"/>
                    </a:lnTo>
                    <a:lnTo>
                      <a:pt x="139" y="446"/>
                    </a:lnTo>
                    <a:lnTo>
                      <a:pt x="145" y="455"/>
                    </a:lnTo>
                    <a:lnTo>
                      <a:pt x="148" y="453"/>
                    </a:lnTo>
                    <a:close/>
                    <a:moveTo>
                      <a:pt x="155" y="466"/>
                    </a:moveTo>
                    <a:lnTo>
                      <a:pt x="155" y="466"/>
                    </a:lnTo>
                    <a:lnTo>
                      <a:pt x="149" y="458"/>
                    </a:lnTo>
                    <a:lnTo>
                      <a:pt x="148" y="459"/>
                    </a:lnTo>
                    <a:lnTo>
                      <a:pt x="148" y="459"/>
                    </a:lnTo>
                    <a:lnTo>
                      <a:pt x="154" y="468"/>
                    </a:lnTo>
                    <a:lnTo>
                      <a:pt x="155" y="466"/>
                    </a:lnTo>
                    <a:close/>
                    <a:moveTo>
                      <a:pt x="167" y="476"/>
                    </a:moveTo>
                    <a:lnTo>
                      <a:pt x="167" y="476"/>
                    </a:lnTo>
                    <a:lnTo>
                      <a:pt x="158" y="469"/>
                    </a:lnTo>
                    <a:lnTo>
                      <a:pt x="157" y="472"/>
                    </a:lnTo>
                    <a:lnTo>
                      <a:pt x="157" y="472"/>
                    </a:lnTo>
                    <a:lnTo>
                      <a:pt x="165" y="478"/>
                    </a:lnTo>
                    <a:lnTo>
                      <a:pt x="167" y="476"/>
                    </a:lnTo>
                    <a:close/>
                    <a:moveTo>
                      <a:pt x="178" y="487"/>
                    </a:moveTo>
                    <a:lnTo>
                      <a:pt x="178" y="487"/>
                    </a:lnTo>
                    <a:lnTo>
                      <a:pt x="170" y="479"/>
                    </a:lnTo>
                    <a:lnTo>
                      <a:pt x="168" y="481"/>
                    </a:lnTo>
                    <a:lnTo>
                      <a:pt x="168" y="481"/>
                    </a:lnTo>
                    <a:lnTo>
                      <a:pt x="176" y="488"/>
                    </a:lnTo>
                    <a:lnTo>
                      <a:pt x="178" y="487"/>
                    </a:lnTo>
                    <a:close/>
                    <a:moveTo>
                      <a:pt x="183" y="501"/>
                    </a:moveTo>
                    <a:lnTo>
                      <a:pt x="183" y="494"/>
                    </a:lnTo>
                    <a:lnTo>
                      <a:pt x="183" y="494"/>
                    </a:lnTo>
                    <a:lnTo>
                      <a:pt x="181" y="491"/>
                    </a:lnTo>
                    <a:lnTo>
                      <a:pt x="180" y="491"/>
                    </a:lnTo>
                    <a:lnTo>
                      <a:pt x="180" y="491"/>
                    </a:lnTo>
                    <a:lnTo>
                      <a:pt x="180" y="494"/>
                    </a:lnTo>
                    <a:lnTo>
                      <a:pt x="180" y="501"/>
                    </a:lnTo>
                    <a:lnTo>
                      <a:pt x="183" y="501"/>
                    </a:lnTo>
                    <a:close/>
                    <a:moveTo>
                      <a:pt x="183" y="505"/>
                    </a:moveTo>
                    <a:lnTo>
                      <a:pt x="180" y="505"/>
                    </a:lnTo>
                    <a:lnTo>
                      <a:pt x="180" y="516"/>
                    </a:lnTo>
                    <a:lnTo>
                      <a:pt x="183" y="516"/>
                    </a:lnTo>
                    <a:lnTo>
                      <a:pt x="183" y="50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grpSp>
          <p:nvGrpSpPr>
            <p:cNvPr id="1865" name="Group 1864">
              <a:extLst>
                <a:ext uri="{FF2B5EF4-FFF2-40B4-BE49-F238E27FC236}">
                  <a16:creationId xmlns:a16="http://schemas.microsoft.com/office/drawing/2014/main" id="{CFA74895-9168-D84E-B2AD-8FC4E9BE8DE8}"/>
                </a:ext>
              </a:extLst>
            </p:cNvPr>
            <p:cNvGrpSpPr/>
            <p:nvPr/>
          </p:nvGrpSpPr>
          <p:grpSpPr>
            <a:xfrm>
              <a:off x="4570022" y="1124939"/>
              <a:ext cx="2851046" cy="3032080"/>
              <a:chOff x="4570022" y="1124939"/>
              <a:chExt cx="2851046" cy="3032080"/>
            </a:xfrm>
            <a:solidFill>
              <a:schemeClr val="tx1"/>
            </a:solidFill>
          </p:grpSpPr>
          <p:sp>
            <p:nvSpPr>
              <p:cNvPr id="424" name="Freeform 1578"/>
              <p:cNvSpPr>
                <a:spLocks noEditPoints="1"/>
              </p:cNvSpPr>
              <p:nvPr/>
            </p:nvSpPr>
            <p:spPr bwMode="auto">
              <a:xfrm>
                <a:off x="5585991" y="2316007"/>
                <a:ext cx="968485" cy="680610"/>
              </a:xfrm>
              <a:custGeom>
                <a:avLst/>
                <a:gdLst>
                  <a:gd name="T0" fmla="*/ 916 w 979"/>
                  <a:gd name="T1" fmla="*/ 141 h 688"/>
                  <a:gd name="T2" fmla="*/ 864 w 979"/>
                  <a:gd name="T3" fmla="*/ 88 h 688"/>
                  <a:gd name="T4" fmla="*/ 824 w 979"/>
                  <a:gd name="T5" fmla="*/ 6 h 688"/>
                  <a:gd name="T6" fmla="*/ 733 w 979"/>
                  <a:gd name="T7" fmla="*/ 20 h 688"/>
                  <a:gd name="T8" fmla="*/ 741 w 979"/>
                  <a:gd name="T9" fmla="*/ 52 h 688"/>
                  <a:gd name="T10" fmla="*/ 679 w 979"/>
                  <a:gd name="T11" fmla="*/ 116 h 688"/>
                  <a:gd name="T12" fmla="*/ 712 w 979"/>
                  <a:gd name="T13" fmla="*/ 145 h 688"/>
                  <a:gd name="T14" fmla="*/ 709 w 979"/>
                  <a:gd name="T15" fmla="*/ 181 h 688"/>
                  <a:gd name="T16" fmla="*/ 641 w 979"/>
                  <a:gd name="T17" fmla="*/ 188 h 688"/>
                  <a:gd name="T18" fmla="*/ 544 w 979"/>
                  <a:gd name="T19" fmla="*/ 264 h 688"/>
                  <a:gd name="T20" fmla="*/ 440 w 979"/>
                  <a:gd name="T21" fmla="*/ 267 h 688"/>
                  <a:gd name="T22" fmla="*/ 349 w 979"/>
                  <a:gd name="T23" fmla="*/ 264 h 688"/>
                  <a:gd name="T24" fmla="*/ 313 w 979"/>
                  <a:gd name="T25" fmla="*/ 220 h 688"/>
                  <a:gd name="T26" fmla="*/ 260 w 979"/>
                  <a:gd name="T27" fmla="*/ 146 h 688"/>
                  <a:gd name="T28" fmla="*/ 240 w 979"/>
                  <a:gd name="T29" fmla="*/ 110 h 688"/>
                  <a:gd name="T30" fmla="*/ 205 w 979"/>
                  <a:gd name="T31" fmla="*/ 129 h 688"/>
                  <a:gd name="T32" fmla="*/ 162 w 979"/>
                  <a:gd name="T33" fmla="*/ 171 h 688"/>
                  <a:gd name="T34" fmla="*/ 140 w 979"/>
                  <a:gd name="T35" fmla="*/ 196 h 688"/>
                  <a:gd name="T36" fmla="*/ 107 w 979"/>
                  <a:gd name="T37" fmla="*/ 217 h 688"/>
                  <a:gd name="T38" fmla="*/ 103 w 979"/>
                  <a:gd name="T39" fmla="*/ 281 h 688"/>
                  <a:gd name="T40" fmla="*/ 49 w 979"/>
                  <a:gd name="T41" fmla="*/ 314 h 688"/>
                  <a:gd name="T42" fmla="*/ 13 w 979"/>
                  <a:gd name="T43" fmla="*/ 323 h 688"/>
                  <a:gd name="T44" fmla="*/ 17 w 979"/>
                  <a:gd name="T45" fmla="*/ 352 h 688"/>
                  <a:gd name="T46" fmla="*/ 8 w 979"/>
                  <a:gd name="T47" fmla="*/ 384 h 688"/>
                  <a:gd name="T48" fmla="*/ 47 w 979"/>
                  <a:gd name="T49" fmla="*/ 409 h 688"/>
                  <a:gd name="T50" fmla="*/ 65 w 979"/>
                  <a:gd name="T51" fmla="*/ 440 h 688"/>
                  <a:gd name="T52" fmla="*/ 104 w 979"/>
                  <a:gd name="T53" fmla="*/ 501 h 688"/>
                  <a:gd name="T54" fmla="*/ 103 w 979"/>
                  <a:gd name="T55" fmla="*/ 540 h 688"/>
                  <a:gd name="T56" fmla="*/ 205 w 979"/>
                  <a:gd name="T57" fmla="*/ 556 h 688"/>
                  <a:gd name="T58" fmla="*/ 291 w 979"/>
                  <a:gd name="T59" fmla="*/ 548 h 688"/>
                  <a:gd name="T60" fmla="*/ 339 w 979"/>
                  <a:gd name="T61" fmla="*/ 552 h 688"/>
                  <a:gd name="T62" fmla="*/ 394 w 979"/>
                  <a:gd name="T63" fmla="*/ 543 h 688"/>
                  <a:gd name="T64" fmla="*/ 385 w 979"/>
                  <a:gd name="T65" fmla="*/ 613 h 688"/>
                  <a:gd name="T66" fmla="*/ 407 w 979"/>
                  <a:gd name="T67" fmla="*/ 661 h 688"/>
                  <a:gd name="T68" fmla="*/ 449 w 979"/>
                  <a:gd name="T69" fmla="*/ 679 h 688"/>
                  <a:gd name="T70" fmla="*/ 465 w 979"/>
                  <a:gd name="T71" fmla="*/ 652 h 688"/>
                  <a:gd name="T72" fmla="*/ 495 w 979"/>
                  <a:gd name="T73" fmla="*/ 652 h 688"/>
                  <a:gd name="T74" fmla="*/ 531 w 979"/>
                  <a:gd name="T75" fmla="*/ 664 h 688"/>
                  <a:gd name="T76" fmla="*/ 570 w 979"/>
                  <a:gd name="T77" fmla="*/ 675 h 688"/>
                  <a:gd name="T78" fmla="*/ 589 w 979"/>
                  <a:gd name="T79" fmla="*/ 685 h 688"/>
                  <a:gd name="T80" fmla="*/ 641 w 979"/>
                  <a:gd name="T81" fmla="*/ 661 h 688"/>
                  <a:gd name="T82" fmla="*/ 672 w 979"/>
                  <a:gd name="T83" fmla="*/ 649 h 688"/>
                  <a:gd name="T84" fmla="*/ 715 w 979"/>
                  <a:gd name="T85" fmla="*/ 620 h 688"/>
                  <a:gd name="T86" fmla="*/ 740 w 979"/>
                  <a:gd name="T87" fmla="*/ 593 h 688"/>
                  <a:gd name="T88" fmla="*/ 770 w 979"/>
                  <a:gd name="T89" fmla="*/ 552 h 688"/>
                  <a:gd name="T90" fmla="*/ 760 w 979"/>
                  <a:gd name="T91" fmla="*/ 517 h 688"/>
                  <a:gd name="T92" fmla="*/ 770 w 979"/>
                  <a:gd name="T93" fmla="*/ 487 h 688"/>
                  <a:gd name="T94" fmla="*/ 735 w 979"/>
                  <a:gd name="T95" fmla="*/ 430 h 688"/>
                  <a:gd name="T96" fmla="*/ 772 w 979"/>
                  <a:gd name="T97" fmla="*/ 391 h 688"/>
                  <a:gd name="T98" fmla="*/ 746 w 979"/>
                  <a:gd name="T99" fmla="*/ 378 h 688"/>
                  <a:gd name="T100" fmla="*/ 708 w 979"/>
                  <a:gd name="T101" fmla="*/ 343 h 688"/>
                  <a:gd name="T102" fmla="*/ 767 w 979"/>
                  <a:gd name="T103" fmla="*/ 307 h 688"/>
                  <a:gd name="T104" fmla="*/ 769 w 979"/>
                  <a:gd name="T105" fmla="*/ 338 h 688"/>
                  <a:gd name="T106" fmla="*/ 808 w 979"/>
                  <a:gd name="T107" fmla="*/ 332 h 688"/>
                  <a:gd name="T108" fmla="*/ 857 w 979"/>
                  <a:gd name="T109" fmla="*/ 290 h 688"/>
                  <a:gd name="T110" fmla="*/ 882 w 979"/>
                  <a:gd name="T111" fmla="*/ 280 h 688"/>
                  <a:gd name="T112" fmla="*/ 925 w 979"/>
                  <a:gd name="T113" fmla="*/ 235 h 688"/>
                  <a:gd name="T114" fmla="*/ 948 w 979"/>
                  <a:gd name="T115" fmla="*/ 214 h 688"/>
                  <a:gd name="T116" fmla="*/ 433 w 979"/>
                  <a:gd name="T117" fmla="*/ 390 h 688"/>
                  <a:gd name="T118" fmla="*/ 430 w 979"/>
                  <a:gd name="T119" fmla="*/ 384 h 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79" h="688">
                    <a:moveTo>
                      <a:pt x="977" y="136"/>
                    </a:moveTo>
                    <a:lnTo>
                      <a:pt x="977" y="136"/>
                    </a:lnTo>
                    <a:lnTo>
                      <a:pt x="969" y="139"/>
                    </a:lnTo>
                    <a:lnTo>
                      <a:pt x="958" y="141"/>
                    </a:lnTo>
                    <a:lnTo>
                      <a:pt x="958" y="141"/>
                    </a:lnTo>
                    <a:lnTo>
                      <a:pt x="954" y="142"/>
                    </a:lnTo>
                    <a:lnTo>
                      <a:pt x="945" y="145"/>
                    </a:lnTo>
                    <a:lnTo>
                      <a:pt x="938" y="148"/>
                    </a:lnTo>
                    <a:lnTo>
                      <a:pt x="932" y="149"/>
                    </a:lnTo>
                    <a:lnTo>
                      <a:pt x="932" y="149"/>
                    </a:lnTo>
                    <a:lnTo>
                      <a:pt x="928" y="149"/>
                    </a:lnTo>
                    <a:lnTo>
                      <a:pt x="924" y="146"/>
                    </a:lnTo>
                    <a:lnTo>
                      <a:pt x="919" y="144"/>
                    </a:lnTo>
                    <a:lnTo>
                      <a:pt x="916" y="141"/>
                    </a:lnTo>
                    <a:lnTo>
                      <a:pt x="916" y="141"/>
                    </a:lnTo>
                    <a:lnTo>
                      <a:pt x="916" y="132"/>
                    </a:lnTo>
                    <a:lnTo>
                      <a:pt x="915" y="128"/>
                    </a:lnTo>
                    <a:lnTo>
                      <a:pt x="914" y="125"/>
                    </a:lnTo>
                    <a:lnTo>
                      <a:pt x="914" y="125"/>
                    </a:lnTo>
                    <a:lnTo>
                      <a:pt x="895" y="110"/>
                    </a:lnTo>
                    <a:lnTo>
                      <a:pt x="895" y="110"/>
                    </a:lnTo>
                    <a:lnTo>
                      <a:pt x="886" y="103"/>
                    </a:lnTo>
                    <a:lnTo>
                      <a:pt x="874" y="99"/>
                    </a:lnTo>
                    <a:lnTo>
                      <a:pt x="874" y="99"/>
                    </a:lnTo>
                    <a:lnTo>
                      <a:pt x="867" y="96"/>
                    </a:lnTo>
                    <a:lnTo>
                      <a:pt x="864" y="93"/>
                    </a:lnTo>
                    <a:lnTo>
                      <a:pt x="864" y="88"/>
                    </a:lnTo>
                    <a:lnTo>
                      <a:pt x="864" y="88"/>
                    </a:lnTo>
                    <a:lnTo>
                      <a:pt x="863" y="83"/>
                    </a:lnTo>
                    <a:lnTo>
                      <a:pt x="860" y="75"/>
                    </a:lnTo>
                    <a:lnTo>
                      <a:pt x="857" y="68"/>
                    </a:lnTo>
                    <a:lnTo>
                      <a:pt x="856" y="64"/>
                    </a:lnTo>
                    <a:lnTo>
                      <a:pt x="856" y="64"/>
                    </a:lnTo>
                    <a:lnTo>
                      <a:pt x="856" y="58"/>
                    </a:lnTo>
                    <a:lnTo>
                      <a:pt x="856" y="55"/>
                    </a:lnTo>
                    <a:lnTo>
                      <a:pt x="854" y="52"/>
                    </a:lnTo>
                    <a:lnTo>
                      <a:pt x="854" y="52"/>
                    </a:lnTo>
                    <a:lnTo>
                      <a:pt x="840" y="28"/>
                    </a:lnTo>
                    <a:lnTo>
                      <a:pt x="831" y="15"/>
                    </a:lnTo>
                    <a:lnTo>
                      <a:pt x="828" y="9"/>
                    </a:lnTo>
                    <a:lnTo>
                      <a:pt x="824" y="6"/>
                    </a:lnTo>
                    <a:lnTo>
                      <a:pt x="824" y="6"/>
                    </a:lnTo>
                    <a:lnTo>
                      <a:pt x="819" y="4"/>
                    </a:lnTo>
                    <a:lnTo>
                      <a:pt x="817" y="6"/>
                    </a:lnTo>
                    <a:lnTo>
                      <a:pt x="814" y="6"/>
                    </a:lnTo>
                    <a:lnTo>
                      <a:pt x="811" y="6"/>
                    </a:lnTo>
                    <a:lnTo>
                      <a:pt x="811" y="6"/>
                    </a:lnTo>
                    <a:lnTo>
                      <a:pt x="802" y="2"/>
                    </a:lnTo>
                    <a:lnTo>
                      <a:pt x="793" y="0"/>
                    </a:lnTo>
                    <a:lnTo>
                      <a:pt x="793" y="0"/>
                    </a:lnTo>
                    <a:lnTo>
                      <a:pt x="772" y="2"/>
                    </a:lnTo>
                    <a:lnTo>
                      <a:pt x="747" y="4"/>
                    </a:lnTo>
                    <a:lnTo>
                      <a:pt x="747" y="4"/>
                    </a:lnTo>
                    <a:lnTo>
                      <a:pt x="743" y="9"/>
                    </a:lnTo>
                    <a:lnTo>
                      <a:pt x="737" y="15"/>
                    </a:lnTo>
                    <a:lnTo>
                      <a:pt x="733" y="20"/>
                    </a:lnTo>
                    <a:lnTo>
                      <a:pt x="733" y="23"/>
                    </a:lnTo>
                    <a:lnTo>
                      <a:pt x="733" y="25"/>
                    </a:lnTo>
                    <a:lnTo>
                      <a:pt x="733" y="25"/>
                    </a:lnTo>
                    <a:lnTo>
                      <a:pt x="738" y="28"/>
                    </a:lnTo>
                    <a:lnTo>
                      <a:pt x="741" y="29"/>
                    </a:lnTo>
                    <a:lnTo>
                      <a:pt x="741" y="32"/>
                    </a:lnTo>
                    <a:lnTo>
                      <a:pt x="741" y="32"/>
                    </a:lnTo>
                    <a:lnTo>
                      <a:pt x="741" y="36"/>
                    </a:lnTo>
                    <a:lnTo>
                      <a:pt x="740" y="41"/>
                    </a:lnTo>
                    <a:lnTo>
                      <a:pt x="738" y="44"/>
                    </a:lnTo>
                    <a:lnTo>
                      <a:pt x="740" y="46"/>
                    </a:lnTo>
                    <a:lnTo>
                      <a:pt x="740" y="46"/>
                    </a:lnTo>
                    <a:lnTo>
                      <a:pt x="743" y="49"/>
                    </a:lnTo>
                    <a:lnTo>
                      <a:pt x="741" y="52"/>
                    </a:lnTo>
                    <a:lnTo>
                      <a:pt x="741" y="52"/>
                    </a:lnTo>
                    <a:lnTo>
                      <a:pt x="734" y="62"/>
                    </a:lnTo>
                    <a:lnTo>
                      <a:pt x="728" y="73"/>
                    </a:lnTo>
                    <a:lnTo>
                      <a:pt x="728" y="73"/>
                    </a:lnTo>
                    <a:lnTo>
                      <a:pt x="727" y="83"/>
                    </a:lnTo>
                    <a:lnTo>
                      <a:pt x="724" y="90"/>
                    </a:lnTo>
                    <a:lnTo>
                      <a:pt x="724" y="90"/>
                    </a:lnTo>
                    <a:lnTo>
                      <a:pt x="717" y="97"/>
                    </a:lnTo>
                    <a:lnTo>
                      <a:pt x="708" y="103"/>
                    </a:lnTo>
                    <a:lnTo>
                      <a:pt x="708" y="103"/>
                    </a:lnTo>
                    <a:lnTo>
                      <a:pt x="698" y="103"/>
                    </a:lnTo>
                    <a:lnTo>
                      <a:pt x="686" y="100"/>
                    </a:lnTo>
                    <a:lnTo>
                      <a:pt x="686" y="100"/>
                    </a:lnTo>
                    <a:lnTo>
                      <a:pt x="679" y="116"/>
                    </a:lnTo>
                    <a:lnTo>
                      <a:pt x="678" y="125"/>
                    </a:lnTo>
                    <a:lnTo>
                      <a:pt x="678" y="130"/>
                    </a:lnTo>
                    <a:lnTo>
                      <a:pt x="678" y="130"/>
                    </a:lnTo>
                    <a:lnTo>
                      <a:pt x="680" y="139"/>
                    </a:lnTo>
                    <a:lnTo>
                      <a:pt x="683" y="146"/>
                    </a:lnTo>
                    <a:lnTo>
                      <a:pt x="686" y="152"/>
                    </a:lnTo>
                    <a:lnTo>
                      <a:pt x="688" y="154"/>
                    </a:lnTo>
                    <a:lnTo>
                      <a:pt x="689" y="154"/>
                    </a:lnTo>
                    <a:lnTo>
                      <a:pt x="689" y="154"/>
                    </a:lnTo>
                    <a:lnTo>
                      <a:pt x="693" y="152"/>
                    </a:lnTo>
                    <a:lnTo>
                      <a:pt x="699" y="149"/>
                    </a:lnTo>
                    <a:lnTo>
                      <a:pt x="705" y="146"/>
                    </a:lnTo>
                    <a:lnTo>
                      <a:pt x="708" y="145"/>
                    </a:lnTo>
                    <a:lnTo>
                      <a:pt x="712" y="145"/>
                    </a:lnTo>
                    <a:lnTo>
                      <a:pt x="712" y="145"/>
                    </a:lnTo>
                    <a:lnTo>
                      <a:pt x="725" y="149"/>
                    </a:lnTo>
                    <a:lnTo>
                      <a:pt x="733" y="152"/>
                    </a:lnTo>
                    <a:lnTo>
                      <a:pt x="735" y="154"/>
                    </a:lnTo>
                    <a:lnTo>
                      <a:pt x="735" y="154"/>
                    </a:lnTo>
                    <a:lnTo>
                      <a:pt x="735" y="159"/>
                    </a:lnTo>
                    <a:lnTo>
                      <a:pt x="735" y="167"/>
                    </a:lnTo>
                    <a:lnTo>
                      <a:pt x="734" y="174"/>
                    </a:lnTo>
                    <a:lnTo>
                      <a:pt x="733" y="177"/>
                    </a:lnTo>
                    <a:lnTo>
                      <a:pt x="730" y="178"/>
                    </a:lnTo>
                    <a:lnTo>
                      <a:pt x="730" y="178"/>
                    </a:lnTo>
                    <a:lnTo>
                      <a:pt x="724" y="180"/>
                    </a:lnTo>
                    <a:lnTo>
                      <a:pt x="717" y="180"/>
                    </a:lnTo>
                    <a:lnTo>
                      <a:pt x="709" y="181"/>
                    </a:lnTo>
                    <a:lnTo>
                      <a:pt x="704" y="183"/>
                    </a:lnTo>
                    <a:lnTo>
                      <a:pt x="704" y="183"/>
                    </a:lnTo>
                    <a:lnTo>
                      <a:pt x="682" y="199"/>
                    </a:lnTo>
                    <a:lnTo>
                      <a:pt x="667" y="207"/>
                    </a:lnTo>
                    <a:lnTo>
                      <a:pt x="662" y="209"/>
                    </a:lnTo>
                    <a:lnTo>
                      <a:pt x="659" y="209"/>
                    </a:lnTo>
                    <a:lnTo>
                      <a:pt x="659" y="209"/>
                    </a:lnTo>
                    <a:lnTo>
                      <a:pt x="654" y="207"/>
                    </a:lnTo>
                    <a:lnTo>
                      <a:pt x="653" y="204"/>
                    </a:lnTo>
                    <a:lnTo>
                      <a:pt x="649" y="199"/>
                    </a:lnTo>
                    <a:lnTo>
                      <a:pt x="644" y="191"/>
                    </a:lnTo>
                    <a:lnTo>
                      <a:pt x="643" y="188"/>
                    </a:lnTo>
                    <a:lnTo>
                      <a:pt x="641" y="188"/>
                    </a:lnTo>
                    <a:lnTo>
                      <a:pt x="641" y="188"/>
                    </a:lnTo>
                    <a:lnTo>
                      <a:pt x="637" y="187"/>
                    </a:lnTo>
                    <a:lnTo>
                      <a:pt x="634" y="190"/>
                    </a:lnTo>
                    <a:lnTo>
                      <a:pt x="631" y="193"/>
                    </a:lnTo>
                    <a:lnTo>
                      <a:pt x="628" y="197"/>
                    </a:lnTo>
                    <a:lnTo>
                      <a:pt x="628" y="197"/>
                    </a:lnTo>
                    <a:lnTo>
                      <a:pt x="620" y="210"/>
                    </a:lnTo>
                    <a:lnTo>
                      <a:pt x="605" y="229"/>
                    </a:lnTo>
                    <a:lnTo>
                      <a:pt x="588" y="248"/>
                    </a:lnTo>
                    <a:lnTo>
                      <a:pt x="580" y="254"/>
                    </a:lnTo>
                    <a:lnTo>
                      <a:pt x="575" y="256"/>
                    </a:lnTo>
                    <a:lnTo>
                      <a:pt x="575" y="256"/>
                    </a:lnTo>
                    <a:lnTo>
                      <a:pt x="557" y="259"/>
                    </a:lnTo>
                    <a:lnTo>
                      <a:pt x="552" y="261"/>
                    </a:lnTo>
                    <a:lnTo>
                      <a:pt x="544" y="264"/>
                    </a:lnTo>
                    <a:lnTo>
                      <a:pt x="544" y="264"/>
                    </a:lnTo>
                    <a:lnTo>
                      <a:pt x="530" y="270"/>
                    </a:lnTo>
                    <a:lnTo>
                      <a:pt x="507" y="277"/>
                    </a:lnTo>
                    <a:lnTo>
                      <a:pt x="485" y="281"/>
                    </a:lnTo>
                    <a:lnTo>
                      <a:pt x="476" y="283"/>
                    </a:lnTo>
                    <a:lnTo>
                      <a:pt x="469" y="283"/>
                    </a:lnTo>
                    <a:lnTo>
                      <a:pt x="469" y="283"/>
                    </a:lnTo>
                    <a:lnTo>
                      <a:pt x="466" y="281"/>
                    </a:lnTo>
                    <a:lnTo>
                      <a:pt x="462" y="278"/>
                    </a:lnTo>
                    <a:lnTo>
                      <a:pt x="456" y="274"/>
                    </a:lnTo>
                    <a:lnTo>
                      <a:pt x="449" y="270"/>
                    </a:lnTo>
                    <a:lnTo>
                      <a:pt x="446" y="268"/>
                    </a:lnTo>
                    <a:lnTo>
                      <a:pt x="440" y="267"/>
                    </a:lnTo>
                    <a:lnTo>
                      <a:pt x="440" y="267"/>
                    </a:lnTo>
                    <a:lnTo>
                      <a:pt x="426" y="267"/>
                    </a:lnTo>
                    <a:lnTo>
                      <a:pt x="418" y="262"/>
                    </a:lnTo>
                    <a:lnTo>
                      <a:pt x="418" y="262"/>
                    </a:lnTo>
                    <a:lnTo>
                      <a:pt x="412" y="261"/>
                    </a:lnTo>
                    <a:lnTo>
                      <a:pt x="407" y="259"/>
                    </a:lnTo>
                    <a:lnTo>
                      <a:pt x="399" y="259"/>
                    </a:lnTo>
                    <a:lnTo>
                      <a:pt x="394" y="261"/>
                    </a:lnTo>
                    <a:lnTo>
                      <a:pt x="394" y="261"/>
                    </a:lnTo>
                    <a:lnTo>
                      <a:pt x="385" y="262"/>
                    </a:lnTo>
                    <a:lnTo>
                      <a:pt x="370" y="265"/>
                    </a:lnTo>
                    <a:lnTo>
                      <a:pt x="357" y="265"/>
                    </a:lnTo>
                    <a:lnTo>
                      <a:pt x="352" y="265"/>
                    </a:lnTo>
                    <a:lnTo>
                      <a:pt x="349" y="264"/>
                    </a:lnTo>
                    <a:lnTo>
                      <a:pt x="349" y="264"/>
                    </a:lnTo>
                    <a:lnTo>
                      <a:pt x="339" y="254"/>
                    </a:lnTo>
                    <a:lnTo>
                      <a:pt x="334" y="248"/>
                    </a:lnTo>
                    <a:lnTo>
                      <a:pt x="334" y="245"/>
                    </a:lnTo>
                    <a:lnTo>
                      <a:pt x="334" y="243"/>
                    </a:lnTo>
                    <a:lnTo>
                      <a:pt x="334" y="243"/>
                    </a:lnTo>
                    <a:lnTo>
                      <a:pt x="339" y="236"/>
                    </a:lnTo>
                    <a:lnTo>
                      <a:pt x="341" y="233"/>
                    </a:lnTo>
                    <a:lnTo>
                      <a:pt x="341" y="232"/>
                    </a:lnTo>
                    <a:lnTo>
                      <a:pt x="341" y="232"/>
                    </a:lnTo>
                    <a:lnTo>
                      <a:pt x="336" y="228"/>
                    </a:lnTo>
                    <a:lnTo>
                      <a:pt x="328" y="223"/>
                    </a:lnTo>
                    <a:lnTo>
                      <a:pt x="328" y="223"/>
                    </a:lnTo>
                    <a:lnTo>
                      <a:pt x="323" y="222"/>
                    </a:lnTo>
                    <a:lnTo>
                      <a:pt x="313" y="220"/>
                    </a:lnTo>
                    <a:lnTo>
                      <a:pt x="304" y="217"/>
                    </a:lnTo>
                    <a:lnTo>
                      <a:pt x="302" y="217"/>
                    </a:lnTo>
                    <a:lnTo>
                      <a:pt x="301" y="214"/>
                    </a:lnTo>
                    <a:lnTo>
                      <a:pt x="301" y="214"/>
                    </a:lnTo>
                    <a:lnTo>
                      <a:pt x="299" y="194"/>
                    </a:lnTo>
                    <a:lnTo>
                      <a:pt x="298" y="180"/>
                    </a:lnTo>
                    <a:lnTo>
                      <a:pt x="297" y="175"/>
                    </a:lnTo>
                    <a:lnTo>
                      <a:pt x="294" y="171"/>
                    </a:lnTo>
                    <a:lnTo>
                      <a:pt x="294" y="171"/>
                    </a:lnTo>
                    <a:lnTo>
                      <a:pt x="285" y="165"/>
                    </a:lnTo>
                    <a:lnTo>
                      <a:pt x="272" y="158"/>
                    </a:lnTo>
                    <a:lnTo>
                      <a:pt x="266" y="154"/>
                    </a:lnTo>
                    <a:lnTo>
                      <a:pt x="262" y="151"/>
                    </a:lnTo>
                    <a:lnTo>
                      <a:pt x="260" y="146"/>
                    </a:lnTo>
                    <a:lnTo>
                      <a:pt x="260" y="144"/>
                    </a:lnTo>
                    <a:lnTo>
                      <a:pt x="260" y="144"/>
                    </a:lnTo>
                    <a:lnTo>
                      <a:pt x="266" y="135"/>
                    </a:lnTo>
                    <a:lnTo>
                      <a:pt x="266" y="132"/>
                    </a:lnTo>
                    <a:lnTo>
                      <a:pt x="265" y="129"/>
                    </a:lnTo>
                    <a:lnTo>
                      <a:pt x="265" y="129"/>
                    </a:lnTo>
                    <a:lnTo>
                      <a:pt x="260" y="126"/>
                    </a:lnTo>
                    <a:lnTo>
                      <a:pt x="255" y="123"/>
                    </a:lnTo>
                    <a:lnTo>
                      <a:pt x="249" y="119"/>
                    </a:lnTo>
                    <a:lnTo>
                      <a:pt x="246" y="116"/>
                    </a:lnTo>
                    <a:lnTo>
                      <a:pt x="246" y="116"/>
                    </a:lnTo>
                    <a:lnTo>
                      <a:pt x="244" y="109"/>
                    </a:lnTo>
                    <a:lnTo>
                      <a:pt x="244" y="109"/>
                    </a:lnTo>
                    <a:lnTo>
                      <a:pt x="240" y="110"/>
                    </a:lnTo>
                    <a:lnTo>
                      <a:pt x="237" y="110"/>
                    </a:lnTo>
                    <a:lnTo>
                      <a:pt x="237" y="110"/>
                    </a:lnTo>
                    <a:lnTo>
                      <a:pt x="234" y="110"/>
                    </a:lnTo>
                    <a:lnTo>
                      <a:pt x="231" y="112"/>
                    </a:lnTo>
                    <a:lnTo>
                      <a:pt x="229" y="113"/>
                    </a:lnTo>
                    <a:lnTo>
                      <a:pt x="224" y="115"/>
                    </a:lnTo>
                    <a:lnTo>
                      <a:pt x="224" y="115"/>
                    </a:lnTo>
                    <a:lnTo>
                      <a:pt x="223" y="119"/>
                    </a:lnTo>
                    <a:lnTo>
                      <a:pt x="220" y="120"/>
                    </a:lnTo>
                    <a:lnTo>
                      <a:pt x="220" y="120"/>
                    </a:lnTo>
                    <a:lnTo>
                      <a:pt x="213" y="123"/>
                    </a:lnTo>
                    <a:lnTo>
                      <a:pt x="208" y="126"/>
                    </a:lnTo>
                    <a:lnTo>
                      <a:pt x="205" y="129"/>
                    </a:lnTo>
                    <a:lnTo>
                      <a:pt x="205" y="129"/>
                    </a:lnTo>
                    <a:lnTo>
                      <a:pt x="197" y="136"/>
                    </a:lnTo>
                    <a:lnTo>
                      <a:pt x="192" y="139"/>
                    </a:lnTo>
                    <a:lnTo>
                      <a:pt x="191" y="144"/>
                    </a:lnTo>
                    <a:lnTo>
                      <a:pt x="191" y="144"/>
                    </a:lnTo>
                    <a:lnTo>
                      <a:pt x="191" y="154"/>
                    </a:lnTo>
                    <a:lnTo>
                      <a:pt x="192" y="161"/>
                    </a:lnTo>
                    <a:lnTo>
                      <a:pt x="191" y="164"/>
                    </a:lnTo>
                    <a:lnTo>
                      <a:pt x="191" y="164"/>
                    </a:lnTo>
                    <a:lnTo>
                      <a:pt x="189" y="167"/>
                    </a:lnTo>
                    <a:lnTo>
                      <a:pt x="187" y="167"/>
                    </a:lnTo>
                    <a:lnTo>
                      <a:pt x="179" y="168"/>
                    </a:lnTo>
                    <a:lnTo>
                      <a:pt x="179" y="168"/>
                    </a:lnTo>
                    <a:lnTo>
                      <a:pt x="168" y="170"/>
                    </a:lnTo>
                    <a:lnTo>
                      <a:pt x="162" y="171"/>
                    </a:lnTo>
                    <a:lnTo>
                      <a:pt x="158" y="170"/>
                    </a:lnTo>
                    <a:lnTo>
                      <a:pt x="158" y="170"/>
                    </a:lnTo>
                    <a:lnTo>
                      <a:pt x="152" y="167"/>
                    </a:lnTo>
                    <a:lnTo>
                      <a:pt x="150" y="167"/>
                    </a:lnTo>
                    <a:lnTo>
                      <a:pt x="147" y="170"/>
                    </a:lnTo>
                    <a:lnTo>
                      <a:pt x="147" y="170"/>
                    </a:lnTo>
                    <a:lnTo>
                      <a:pt x="146" y="175"/>
                    </a:lnTo>
                    <a:lnTo>
                      <a:pt x="145" y="180"/>
                    </a:lnTo>
                    <a:lnTo>
                      <a:pt x="143" y="183"/>
                    </a:lnTo>
                    <a:lnTo>
                      <a:pt x="143" y="186"/>
                    </a:lnTo>
                    <a:lnTo>
                      <a:pt x="143" y="186"/>
                    </a:lnTo>
                    <a:lnTo>
                      <a:pt x="140" y="190"/>
                    </a:lnTo>
                    <a:lnTo>
                      <a:pt x="139" y="193"/>
                    </a:lnTo>
                    <a:lnTo>
                      <a:pt x="140" y="196"/>
                    </a:lnTo>
                    <a:lnTo>
                      <a:pt x="140" y="196"/>
                    </a:lnTo>
                    <a:lnTo>
                      <a:pt x="143" y="201"/>
                    </a:lnTo>
                    <a:lnTo>
                      <a:pt x="143" y="203"/>
                    </a:lnTo>
                    <a:lnTo>
                      <a:pt x="140" y="206"/>
                    </a:lnTo>
                    <a:lnTo>
                      <a:pt x="140" y="206"/>
                    </a:lnTo>
                    <a:lnTo>
                      <a:pt x="134" y="206"/>
                    </a:lnTo>
                    <a:lnTo>
                      <a:pt x="129" y="207"/>
                    </a:lnTo>
                    <a:lnTo>
                      <a:pt x="123" y="207"/>
                    </a:lnTo>
                    <a:lnTo>
                      <a:pt x="118" y="207"/>
                    </a:lnTo>
                    <a:lnTo>
                      <a:pt x="118" y="207"/>
                    </a:lnTo>
                    <a:lnTo>
                      <a:pt x="113" y="212"/>
                    </a:lnTo>
                    <a:lnTo>
                      <a:pt x="110" y="214"/>
                    </a:lnTo>
                    <a:lnTo>
                      <a:pt x="107" y="217"/>
                    </a:lnTo>
                    <a:lnTo>
                      <a:pt x="107" y="217"/>
                    </a:lnTo>
                    <a:lnTo>
                      <a:pt x="107" y="220"/>
                    </a:lnTo>
                    <a:lnTo>
                      <a:pt x="107" y="225"/>
                    </a:lnTo>
                    <a:lnTo>
                      <a:pt x="108" y="232"/>
                    </a:lnTo>
                    <a:lnTo>
                      <a:pt x="108" y="232"/>
                    </a:lnTo>
                    <a:lnTo>
                      <a:pt x="110" y="246"/>
                    </a:lnTo>
                    <a:lnTo>
                      <a:pt x="110" y="255"/>
                    </a:lnTo>
                    <a:lnTo>
                      <a:pt x="108" y="259"/>
                    </a:lnTo>
                    <a:lnTo>
                      <a:pt x="108" y="261"/>
                    </a:lnTo>
                    <a:lnTo>
                      <a:pt x="108" y="261"/>
                    </a:lnTo>
                    <a:lnTo>
                      <a:pt x="105" y="262"/>
                    </a:lnTo>
                    <a:lnTo>
                      <a:pt x="104" y="267"/>
                    </a:lnTo>
                    <a:lnTo>
                      <a:pt x="103" y="277"/>
                    </a:lnTo>
                    <a:lnTo>
                      <a:pt x="103" y="277"/>
                    </a:lnTo>
                    <a:lnTo>
                      <a:pt x="103" y="281"/>
                    </a:lnTo>
                    <a:lnTo>
                      <a:pt x="100" y="283"/>
                    </a:lnTo>
                    <a:lnTo>
                      <a:pt x="92" y="285"/>
                    </a:lnTo>
                    <a:lnTo>
                      <a:pt x="92" y="285"/>
                    </a:lnTo>
                    <a:lnTo>
                      <a:pt x="87" y="288"/>
                    </a:lnTo>
                    <a:lnTo>
                      <a:pt x="82" y="293"/>
                    </a:lnTo>
                    <a:lnTo>
                      <a:pt x="76" y="297"/>
                    </a:lnTo>
                    <a:lnTo>
                      <a:pt x="74" y="298"/>
                    </a:lnTo>
                    <a:lnTo>
                      <a:pt x="74" y="298"/>
                    </a:lnTo>
                    <a:lnTo>
                      <a:pt x="63" y="301"/>
                    </a:lnTo>
                    <a:lnTo>
                      <a:pt x="58" y="304"/>
                    </a:lnTo>
                    <a:lnTo>
                      <a:pt x="53" y="307"/>
                    </a:lnTo>
                    <a:lnTo>
                      <a:pt x="53" y="307"/>
                    </a:lnTo>
                    <a:lnTo>
                      <a:pt x="50" y="312"/>
                    </a:lnTo>
                    <a:lnTo>
                      <a:pt x="49" y="314"/>
                    </a:lnTo>
                    <a:lnTo>
                      <a:pt x="46" y="319"/>
                    </a:lnTo>
                    <a:lnTo>
                      <a:pt x="43" y="320"/>
                    </a:lnTo>
                    <a:lnTo>
                      <a:pt x="43" y="320"/>
                    </a:lnTo>
                    <a:lnTo>
                      <a:pt x="34" y="319"/>
                    </a:lnTo>
                    <a:lnTo>
                      <a:pt x="30" y="316"/>
                    </a:lnTo>
                    <a:lnTo>
                      <a:pt x="30" y="316"/>
                    </a:lnTo>
                    <a:lnTo>
                      <a:pt x="29" y="314"/>
                    </a:lnTo>
                    <a:lnTo>
                      <a:pt x="26" y="314"/>
                    </a:lnTo>
                    <a:lnTo>
                      <a:pt x="24" y="316"/>
                    </a:lnTo>
                    <a:lnTo>
                      <a:pt x="21" y="319"/>
                    </a:lnTo>
                    <a:lnTo>
                      <a:pt x="21" y="319"/>
                    </a:lnTo>
                    <a:lnTo>
                      <a:pt x="20" y="322"/>
                    </a:lnTo>
                    <a:lnTo>
                      <a:pt x="17" y="322"/>
                    </a:lnTo>
                    <a:lnTo>
                      <a:pt x="13" y="323"/>
                    </a:lnTo>
                    <a:lnTo>
                      <a:pt x="13" y="323"/>
                    </a:lnTo>
                    <a:lnTo>
                      <a:pt x="8" y="325"/>
                    </a:lnTo>
                    <a:lnTo>
                      <a:pt x="7" y="327"/>
                    </a:lnTo>
                    <a:lnTo>
                      <a:pt x="4" y="332"/>
                    </a:lnTo>
                    <a:lnTo>
                      <a:pt x="3" y="333"/>
                    </a:lnTo>
                    <a:lnTo>
                      <a:pt x="3" y="333"/>
                    </a:lnTo>
                    <a:lnTo>
                      <a:pt x="1" y="335"/>
                    </a:lnTo>
                    <a:lnTo>
                      <a:pt x="0" y="338"/>
                    </a:lnTo>
                    <a:lnTo>
                      <a:pt x="1" y="339"/>
                    </a:lnTo>
                    <a:lnTo>
                      <a:pt x="4" y="342"/>
                    </a:lnTo>
                    <a:lnTo>
                      <a:pt x="4" y="342"/>
                    </a:lnTo>
                    <a:lnTo>
                      <a:pt x="10" y="345"/>
                    </a:lnTo>
                    <a:lnTo>
                      <a:pt x="14" y="348"/>
                    </a:lnTo>
                    <a:lnTo>
                      <a:pt x="17" y="352"/>
                    </a:lnTo>
                    <a:lnTo>
                      <a:pt x="20" y="356"/>
                    </a:lnTo>
                    <a:lnTo>
                      <a:pt x="20" y="356"/>
                    </a:lnTo>
                    <a:lnTo>
                      <a:pt x="20" y="361"/>
                    </a:lnTo>
                    <a:lnTo>
                      <a:pt x="21" y="365"/>
                    </a:lnTo>
                    <a:lnTo>
                      <a:pt x="20" y="369"/>
                    </a:lnTo>
                    <a:lnTo>
                      <a:pt x="19" y="374"/>
                    </a:lnTo>
                    <a:lnTo>
                      <a:pt x="19" y="374"/>
                    </a:lnTo>
                    <a:lnTo>
                      <a:pt x="17" y="375"/>
                    </a:lnTo>
                    <a:lnTo>
                      <a:pt x="14" y="375"/>
                    </a:lnTo>
                    <a:lnTo>
                      <a:pt x="13" y="377"/>
                    </a:lnTo>
                    <a:lnTo>
                      <a:pt x="11" y="378"/>
                    </a:lnTo>
                    <a:lnTo>
                      <a:pt x="11" y="378"/>
                    </a:lnTo>
                    <a:lnTo>
                      <a:pt x="8" y="383"/>
                    </a:lnTo>
                    <a:lnTo>
                      <a:pt x="8" y="384"/>
                    </a:lnTo>
                    <a:lnTo>
                      <a:pt x="10" y="387"/>
                    </a:lnTo>
                    <a:lnTo>
                      <a:pt x="10" y="387"/>
                    </a:lnTo>
                    <a:lnTo>
                      <a:pt x="14" y="390"/>
                    </a:lnTo>
                    <a:lnTo>
                      <a:pt x="19" y="394"/>
                    </a:lnTo>
                    <a:lnTo>
                      <a:pt x="20" y="398"/>
                    </a:lnTo>
                    <a:lnTo>
                      <a:pt x="23" y="403"/>
                    </a:lnTo>
                    <a:lnTo>
                      <a:pt x="23" y="403"/>
                    </a:lnTo>
                    <a:lnTo>
                      <a:pt x="23" y="406"/>
                    </a:lnTo>
                    <a:lnTo>
                      <a:pt x="24" y="407"/>
                    </a:lnTo>
                    <a:lnTo>
                      <a:pt x="29" y="407"/>
                    </a:lnTo>
                    <a:lnTo>
                      <a:pt x="39" y="406"/>
                    </a:lnTo>
                    <a:lnTo>
                      <a:pt x="39" y="406"/>
                    </a:lnTo>
                    <a:lnTo>
                      <a:pt x="43" y="407"/>
                    </a:lnTo>
                    <a:lnTo>
                      <a:pt x="47" y="409"/>
                    </a:lnTo>
                    <a:lnTo>
                      <a:pt x="53" y="413"/>
                    </a:lnTo>
                    <a:lnTo>
                      <a:pt x="61" y="422"/>
                    </a:lnTo>
                    <a:lnTo>
                      <a:pt x="61" y="422"/>
                    </a:lnTo>
                    <a:lnTo>
                      <a:pt x="66" y="427"/>
                    </a:lnTo>
                    <a:lnTo>
                      <a:pt x="71" y="429"/>
                    </a:lnTo>
                    <a:lnTo>
                      <a:pt x="74" y="429"/>
                    </a:lnTo>
                    <a:lnTo>
                      <a:pt x="78" y="429"/>
                    </a:lnTo>
                    <a:lnTo>
                      <a:pt x="78" y="429"/>
                    </a:lnTo>
                    <a:lnTo>
                      <a:pt x="87" y="433"/>
                    </a:lnTo>
                    <a:lnTo>
                      <a:pt x="84" y="432"/>
                    </a:lnTo>
                    <a:lnTo>
                      <a:pt x="81" y="432"/>
                    </a:lnTo>
                    <a:lnTo>
                      <a:pt x="76" y="433"/>
                    </a:lnTo>
                    <a:lnTo>
                      <a:pt x="71" y="435"/>
                    </a:lnTo>
                    <a:lnTo>
                      <a:pt x="65" y="440"/>
                    </a:lnTo>
                    <a:lnTo>
                      <a:pt x="65" y="440"/>
                    </a:lnTo>
                    <a:lnTo>
                      <a:pt x="62" y="443"/>
                    </a:lnTo>
                    <a:lnTo>
                      <a:pt x="61" y="446"/>
                    </a:lnTo>
                    <a:lnTo>
                      <a:pt x="61" y="455"/>
                    </a:lnTo>
                    <a:lnTo>
                      <a:pt x="62" y="464"/>
                    </a:lnTo>
                    <a:lnTo>
                      <a:pt x="63" y="474"/>
                    </a:lnTo>
                    <a:lnTo>
                      <a:pt x="71" y="490"/>
                    </a:lnTo>
                    <a:lnTo>
                      <a:pt x="78" y="500"/>
                    </a:lnTo>
                    <a:lnTo>
                      <a:pt x="78" y="500"/>
                    </a:lnTo>
                    <a:lnTo>
                      <a:pt x="82" y="504"/>
                    </a:lnTo>
                    <a:lnTo>
                      <a:pt x="87" y="506"/>
                    </a:lnTo>
                    <a:lnTo>
                      <a:pt x="92" y="504"/>
                    </a:lnTo>
                    <a:lnTo>
                      <a:pt x="97" y="504"/>
                    </a:lnTo>
                    <a:lnTo>
                      <a:pt x="104" y="501"/>
                    </a:lnTo>
                    <a:lnTo>
                      <a:pt x="108" y="503"/>
                    </a:lnTo>
                    <a:lnTo>
                      <a:pt x="110" y="504"/>
                    </a:lnTo>
                    <a:lnTo>
                      <a:pt x="110" y="504"/>
                    </a:lnTo>
                    <a:lnTo>
                      <a:pt x="111" y="507"/>
                    </a:lnTo>
                    <a:lnTo>
                      <a:pt x="108" y="510"/>
                    </a:lnTo>
                    <a:lnTo>
                      <a:pt x="105" y="513"/>
                    </a:lnTo>
                    <a:lnTo>
                      <a:pt x="104" y="517"/>
                    </a:lnTo>
                    <a:lnTo>
                      <a:pt x="104" y="517"/>
                    </a:lnTo>
                    <a:lnTo>
                      <a:pt x="101" y="524"/>
                    </a:lnTo>
                    <a:lnTo>
                      <a:pt x="100" y="527"/>
                    </a:lnTo>
                    <a:lnTo>
                      <a:pt x="100" y="530"/>
                    </a:lnTo>
                    <a:lnTo>
                      <a:pt x="100" y="533"/>
                    </a:lnTo>
                    <a:lnTo>
                      <a:pt x="100" y="533"/>
                    </a:lnTo>
                    <a:lnTo>
                      <a:pt x="103" y="540"/>
                    </a:lnTo>
                    <a:lnTo>
                      <a:pt x="107" y="545"/>
                    </a:lnTo>
                    <a:lnTo>
                      <a:pt x="114" y="549"/>
                    </a:lnTo>
                    <a:lnTo>
                      <a:pt x="120" y="552"/>
                    </a:lnTo>
                    <a:lnTo>
                      <a:pt x="133" y="558"/>
                    </a:lnTo>
                    <a:lnTo>
                      <a:pt x="137" y="559"/>
                    </a:lnTo>
                    <a:lnTo>
                      <a:pt x="140" y="562"/>
                    </a:lnTo>
                    <a:lnTo>
                      <a:pt x="140" y="562"/>
                    </a:lnTo>
                    <a:lnTo>
                      <a:pt x="143" y="564"/>
                    </a:lnTo>
                    <a:lnTo>
                      <a:pt x="149" y="562"/>
                    </a:lnTo>
                    <a:lnTo>
                      <a:pt x="165" y="559"/>
                    </a:lnTo>
                    <a:lnTo>
                      <a:pt x="181" y="553"/>
                    </a:lnTo>
                    <a:lnTo>
                      <a:pt x="189" y="551"/>
                    </a:lnTo>
                    <a:lnTo>
                      <a:pt x="189" y="551"/>
                    </a:lnTo>
                    <a:lnTo>
                      <a:pt x="205" y="556"/>
                    </a:lnTo>
                    <a:lnTo>
                      <a:pt x="214" y="559"/>
                    </a:lnTo>
                    <a:lnTo>
                      <a:pt x="221" y="561"/>
                    </a:lnTo>
                    <a:lnTo>
                      <a:pt x="221" y="561"/>
                    </a:lnTo>
                    <a:lnTo>
                      <a:pt x="234" y="556"/>
                    </a:lnTo>
                    <a:lnTo>
                      <a:pt x="244" y="552"/>
                    </a:lnTo>
                    <a:lnTo>
                      <a:pt x="244" y="552"/>
                    </a:lnTo>
                    <a:lnTo>
                      <a:pt x="250" y="551"/>
                    </a:lnTo>
                    <a:lnTo>
                      <a:pt x="257" y="551"/>
                    </a:lnTo>
                    <a:lnTo>
                      <a:pt x="266" y="551"/>
                    </a:lnTo>
                    <a:lnTo>
                      <a:pt x="273" y="552"/>
                    </a:lnTo>
                    <a:lnTo>
                      <a:pt x="273" y="552"/>
                    </a:lnTo>
                    <a:lnTo>
                      <a:pt x="279" y="552"/>
                    </a:lnTo>
                    <a:lnTo>
                      <a:pt x="284" y="552"/>
                    </a:lnTo>
                    <a:lnTo>
                      <a:pt x="291" y="548"/>
                    </a:lnTo>
                    <a:lnTo>
                      <a:pt x="291" y="548"/>
                    </a:lnTo>
                    <a:lnTo>
                      <a:pt x="301" y="542"/>
                    </a:lnTo>
                    <a:lnTo>
                      <a:pt x="307" y="539"/>
                    </a:lnTo>
                    <a:lnTo>
                      <a:pt x="310" y="539"/>
                    </a:lnTo>
                    <a:lnTo>
                      <a:pt x="311" y="540"/>
                    </a:lnTo>
                    <a:lnTo>
                      <a:pt x="311" y="540"/>
                    </a:lnTo>
                    <a:lnTo>
                      <a:pt x="314" y="546"/>
                    </a:lnTo>
                    <a:lnTo>
                      <a:pt x="315" y="548"/>
                    </a:lnTo>
                    <a:lnTo>
                      <a:pt x="317" y="551"/>
                    </a:lnTo>
                    <a:lnTo>
                      <a:pt x="317" y="551"/>
                    </a:lnTo>
                    <a:lnTo>
                      <a:pt x="321" y="552"/>
                    </a:lnTo>
                    <a:lnTo>
                      <a:pt x="326" y="552"/>
                    </a:lnTo>
                    <a:lnTo>
                      <a:pt x="339" y="552"/>
                    </a:lnTo>
                    <a:lnTo>
                      <a:pt x="339" y="552"/>
                    </a:lnTo>
                    <a:lnTo>
                      <a:pt x="350" y="551"/>
                    </a:lnTo>
                    <a:lnTo>
                      <a:pt x="356" y="549"/>
                    </a:lnTo>
                    <a:lnTo>
                      <a:pt x="359" y="551"/>
                    </a:lnTo>
                    <a:lnTo>
                      <a:pt x="359" y="551"/>
                    </a:lnTo>
                    <a:lnTo>
                      <a:pt x="362" y="551"/>
                    </a:lnTo>
                    <a:lnTo>
                      <a:pt x="366" y="551"/>
                    </a:lnTo>
                    <a:lnTo>
                      <a:pt x="372" y="548"/>
                    </a:lnTo>
                    <a:lnTo>
                      <a:pt x="378" y="545"/>
                    </a:lnTo>
                    <a:lnTo>
                      <a:pt x="378" y="545"/>
                    </a:lnTo>
                    <a:lnTo>
                      <a:pt x="386" y="539"/>
                    </a:lnTo>
                    <a:lnTo>
                      <a:pt x="391" y="537"/>
                    </a:lnTo>
                    <a:lnTo>
                      <a:pt x="392" y="537"/>
                    </a:lnTo>
                    <a:lnTo>
                      <a:pt x="392" y="537"/>
                    </a:lnTo>
                    <a:lnTo>
                      <a:pt x="394" y="543"/>
                    </a:lnTo>
                    <a:lnTo>
                      <a:pt x="395" y="553"/>
                    </a:lnTo>
                    <a:lnTo>
                      <a:pt x="397" y="564"/>
                    </a:lnTo>
                    <a:lnTo>
                      <a:pt x="398" y="568"/>
                    </a:lnTo>
                    <a:lnTo>
                      <a:pt x="398" y="568"/>
                    </a:lnTo>
                    <a:lnTo>
                      <a:pt x="401" y="575"/>
                    </a:lnTo>
                    <a:lnTo>
                      <a:pt x="401" y="580"/>
                    </a:lnTo>
                    <a:lnTo>
                      <a:pt x="401" y="584"/>
                    </a:lnTo>
                    <a:lnTo>
                      <a:pt x="401" y="584"/>
                    </a:lnTo>
                    <a:lnTo>
                      <a:pt x="398" y="588"/>
                    </a:lnTo>
                    <a:lnTo>
                      <a:pt x="394" y="594"/>
                    </a:lnTo>
                    <a:lnTo>
                      <a:pt x="388" y="601"/>
                    </a:lnTo>
                    <a:lnTo>
                      <a:pt x="386" y="606"/>
                    </a:lnTo>
                    <a:lnTo>
                      <a:pt x="386" y="606"/>
                    </a:lnTo>
                    <a:lnTo>
                      <a:pt x="385" y="613"/>
                    </a:lnTo>
                    <a:lnTo>
                      <a:pt x="386" y="616"/>
                    </a:lnTo>
                    <a:lnTo>
                      <a:pt x="388" y="619"/>
                    </a:lnTo>
                    <a:lnTo>
                      <a:pt x="388" y="619"/>
                    </a:lnTo>
                    <a:lnTo>
                      <a:pt x="395" y="623"/>
                    </a:lnTo>
                    <a:lnTo>
                      <a:pt x="399" y="626"/>
                    </a:lnTo>
                    <a:lnTo>
                      <a:pt x="402" y="630"/>
                    </a:lnTo>
                    <a:lnTo>
                      <a:pt x="402" y="630"/>
                    </a:lnTo>
                    <a:lnTo>
                      <a:pt x="405" y="636"/>
                    </a:lnTo>
                    <a:lnTo>
                      <a:pt x="410" y="642"/>
                    </a:lnTo>
                    <a:lnTo>
                      <a:pt x="412" y="646"/>
                    </a:lnTo>
                    <a:lnTo>
                      <a:pt x="412" y="649"/>
                    </a:lnTo>
                    <a:lnTo>
                      <a:pt x="412" y="649"/>
                    </a:lnTo>
                    <a:lnTo>
                      <a:pt x="408" y="656"/>
                    </a:lnTo>
                    <a:lnTo>
                      <a:pt x="407" y="661"/>
                    </a:lnTo>
                    <a:lnTo>
                      <a:pt x="408" y="662"/>
                    </a:lnTo>
                    <a:lnTo>
                      <a:pt x="408" y="664"/>
                    </a:lnTo>
                    <a:lnTo>
                      <a:pt x="408" y="664"/>
                    </a:lnTo>
                    <a:lnTo>
                      <a:pt x="418" y="668"/>
                    </a:lnTo>
                    <a:lnTo>
                      <a:pt x="423" y="668"/>
                    </a:lnTo>
                    <a:lnTo>
                      <a:pt x="427" y="668"/>
                    </a:lnTo>
                    <a:lnTo>
                      <a:pt x="427" y="668"/>
                    </a:lnTo>
                    <a:lnTo>
                      <a:pt x="434" y="664"/>
                    </a:lnTo>
                    <a:lnTo>
                      <a:pt x="437" y="664"/>
                    </a:lnTo>
                    <a:lnTo>
                      <a:pt x="439" y="666"/>
                    </a:lnTo>
                    <a:lnTo>
                      <a:pt x="439" y="666"/>
                    </a:lnTo>
                    <a:lnTo>
                      <a:pt x="440" y="671"/>
                    </a:lnTo>
                    <a:lnTo>
                      <a:pt x="444" y="677"/>
                    </a:lnTo>
                    <a:lnTo>
                      <a:pt x="449" y="679"/>
                    </a:lnTo>
                    <a:lnTo>
                      <a:pt x="452" y="679"/>
                    </a:lnTo>
                    <a:lnTo>
                      <a:pt x="452" y="678"/>
                    </a:lnTo>
                    <a:lnTo>
                      <a:pt x="452" y="678"/>
                    </a:lnTo>
                    <a:lnTo>
                      <a:pt x="452" y="671"/>
                    </a:lnTo>
                    <a:lnTo>
                      <a:pt x="452" y="661"/>
                    </a:lnTo>
                    <a:lnTo>
                      <a:pt x="452" y="653"/>
                    </a:lnTo>
                    <a:lnTo>
                      <a:pt x="453" y="652"/>
                    </a:lnTo>
                    <a:lnTo>
                      <a:pt x="454" y="652"/>
                    </a:lnTo>
                    <a:lnTo>
                      <a:pt x="454" y="652"/>
                    </a:lnTo>
                    <a:lnTo>
                      <a:pt x="460" y="658"/>
                    </a:lnTo>
                    <a:lnTo>
                      <a:pt x="462" y="658"/>
                    </a:lnTo>
                    <a:lnTo>
                      <a:pt x="462" y="656"/>
                    </a:lnTo>
                    <a:lnTo>
                      <a:pt x="462" y="656"/>
                    </a:lnTo>
                    <a:lnTo>
                      <a:pt x="465" y="652"/>
                    </a:lnTo>
                    <a:lnTo>
                      <a:pt x="466" y="650"/>
                    </a:lnTo>
                    <a:lnTo>
                      <a:pt x="469" y="652"/>
                    </a:lnTo>
                    <a:lnTo>
                      <a:pt x="469" y="652"/>
                    </a:lnTo>
                    <a:lnTo>
                      <a:pt x="472" y="652"/>
                    </a:lnTo>
                    <a:lnTo>
                      <a:pt x="473" y="652"/>
                    </a:lnTo>
                    <a:lnTo>
                      <a:pt x="479" y="652"/>
                    </a:lnTo>
                    <a:lnTo>
                      <a:pt x="479" y="652"/>
                    </a:lnTo>
                    <a:lnTo>
                      <a:pt x="482" y="653"/>
                    </a:lnTo>
                    <a:lnTo>
                      <a:pt x="485" y="655"/>
                    </a:lnTo>
                    <a:lnTo>
                      <a:pt x="488" y="656"/>
                    </a:lnTo>
                    <a:lnTo>
                      <a:pt x="492" y="655"/>
                    </a:lnTo>
                    <a:lnTo>
                      <a:pt x="492" y="655"/>
                    </a:lnTo>
                    <a:lnTo>
                      <a:pt x="494" y="655"/>
                    </a:lnTo>
                    <a:lnTo>
                      <a:pt x="495" y="652"/>
                    </a:lnTo>
                    <a:lnTo>
                      <a:pt x="498" y="648"/>
                    </a:lnTo>
                    <a:lnTo>
                      <a:pt x="498" y="643"/>
                    </a:lnTo>
                    <a:lnTo>
                      <a:pt x="499" y="642"/>
                    </a:lnTo>
                    <a:lnTo>
                      <a:pt x="501" y="642"/>
                    </a:lnTo>
                    <a:lnTo>
                      <a:pt x="501" y="642"/>
                    </a:lnTo>
                    <a:lnTo>
                      <a:pt x="507" y="642"/>
                    </a:lnTo>
                    <a:lnTo>
                      <a:pt x="515" y="645"/>
                    </a:lnTo>
                    <a:lnTo>
                      <a:pt x="523" y="649"/>
                    </a:lnTo>
                    <a:lnTo>
                      <a:pt x="525" y="650"/>
                    </a:lnTo>
                    <a:lnTo>
                      <a:pt x="525" y="652"/>
                    </a:lnTo>
                    <a:lnTo>
                      <a:pt x="525" y="652"/>
                    </a:lnTo>
                    <a:lnTo>
                      <a:pt x="527" y="658"/>
                    </a:lnTo>
                    <a:lnTo>
                      <a:pt x="528" y="661"/>
                    </a:lnTo>
                    <a:lnTo>
                      <a:pt x="531" y="664"/>
                    </a:lnTo>
                    <a:lnTo>
                      <a:pt x="531" y="664"/>
                    </a:lnTo>
                    <a:lnTo>
                      <a:pt x="543" y="668"/>
                    </a:lnTo>
                    <a:lnTo>
                      <a:pt x="549" y="671"/>
                    </a:lnTo>
                    <a:lnTo>
                      <a:pt x="554" y="674"/>
                    </a:lnTo>
                    <a:lnTo>
                      <a:pt x="554" y="674"/>
                    </a:lnTo>
                    <a:lnTo>
                      <a:pt x="557" y="672"/>
                    </a:lnTo>
                    <a:lnTo>
                      <a:pt x="557" y="672"/>
                    </a:lnTo>
                    <a:lnTo>
                      <a:pt x="559" y="672"/>
                    </a:lnTo>
                    <a:lnTo>
                      <a:pt x="560" y="674"/>
                    </a:lnTo>
                    <a:lnTo>
                      <a:pt x="562" y="675"/>
                    </a:lnTo>
                    <a:lnTo>
                      <a:pt x="565" y="677"/>
                    </a:lnTo>
                    <a:lnTo>
                      <a:pt x="565" y="677"/>
                    </a:lnTo>
                    <a:lnTo>
                      <a:pt x="567" y="677"/>
                    </a:lnTo>
                    <a:lnTo>
                      <a:pt x="570" y="675"/>
                    </a:lnTo>
                    <a:lnTo>
                      <a:pt x="573" y="674"/>
                    </a:lnTo>
                    <a:lnTo>
                      <a:pt x="576" y="672"/>
                    </a:lnTo>
                    <a:lnTo>
                      <a:pt x="576" y="672"/>
                    </a:lnTo>
                    <a:lnTo>
                      <a:pt x="578" y="672"/>
                    </a:lnTo>
                    <a:lnTo>
                      <a:pt x="579" y="674"/>
                    </a:lnTo>
                    <a:lnTo>
                      <a:pt x="579" y="682"/>
                    </a:lnTo>
                    <a:lnTo>
                      <a:pt x="579" y="682"/>
                    </a:lnTo>
                    <a:lnTo>
                      <a:pt x="579" y="684"/>
                    </a:lnTo>
                    <a:lnTo>
                      <a:pt x="580" y="685"/>
                    </a:lnTo>
                    <a:lnTo>
                      <a:pt x="585" y="688"/>
                    </a:lnTo>
                    <a:lnTo>
                      <a:pt x="588" y="687"/>
                    </a:lnTo>
                    <a:lnTo>
                      <a:pt x="589" y="687"/>
                    </a:lnTo>
                    <a:lnTo>
                      <a:pt x="589" y="685"/>
                    </a:lnTo>
                    <a:lnTo>
                      <a:pt x="589" y="685"/>
                    </a:lnTo>
                    <a:lnTo>
                      <a:pt x="589" y="682"/>
                    </a:lnTo>
                    <a:lnTo>
                      <a:pt x="591" y="681"/>
                    </a:lnTo>
                    <a:lnTo>
                      <a:pt x="594" y="677"/>
                    </a:lnTo>
                    <a:lnTo>
                      <a:pt x="594" y="677"/>
                    </a:lnTo>
                    <a:lnTo>
                      <a:pt x="598" y="674"/>
                    </a:lnTo>
                    <a:lnTo>
                      <a:pt x="604" y="672"/>
                    </a:lnTo>
                    <a:lnTo>
                      <a:pt x="614" y="672"/>
                    </a:lnTo>
                    <a:lnTo>
                      <a:pt x="614" y="672"/>
                    </a:lnTo>
                    <a:lnTo>
                      <a:pt x="620" y="671"/>
                    </a:lnTo>
                    <a:lnTo>
                      <a:pt x="627" y="669"/>
                    </a:lnTo>
                    <a:lnTo>
                      <a:pt x="638" y="665"/>
                    </a:lnTo>
                    <a:lnTo>
                      <a:pt x="638" y="665"/>
                    </a:lnTo>
                    <a:lnTo>
                      <a:pt x="640" y="664"/>
                    </a:lnTo>
                    <a:lnTo>
                      <a:pt x="641" y="661"/>
                    </a:lnTo>
                    <a:lnTo>
                      <a:pt x="641" y="655"/>
                    </a:lnTo>
                    <a:lnTo>
                      <a:pt x="641" y="655"/>
                    </a:lnTo>
                    <a:lnTo>
                      <a:pt x="643" y="653"/>
                    </a:lnTo>
                    <a:lnTo>
                      <a:pt x="644" y="655"/>
                    </a:lnTo>
                    <a:lnTo>
                      <a:pt x="649" y="656"/>
                    </a:lnTo>
                    <a:lnTo>
                      <a:pt x="651" y="656"/>
                    </a:lnTo>
                    <a:lnTo>
                      <a:pt x="651" y="656"/>
                    </a:lnTo>
                    <a:lnTo>
                      <a:pt x="654" y="656"/>
                    </a:lnTo>
                    <a:lnTo>
                      <a:pt x="657" y="653"/>
                    </a:lnTo>
                    <a:lnTo>
                      <a:pt x="662" y="648"/>
                    </a:lnTo>
                    <a:lnTo>
                      <a:pt x="662" y="648"/>
                    </a:lnTo>
                    <a:lnTo>
                      <a:pt x="664" y="646"/>
                    </a:lnTo>
                    <a:lnTo>
                      <a:pt x="667" y="648"/>
                    </a:lnTo>
                    <a:lnTo>
                      <a:pt x="672" y="649"/>
                    </a:lnTo>
                    <a:lnTo>
                      <a:pt x="675" y="649"/>
                    </a:lnTo>
                    <a:lnTo>
                      <a:pt x="675" y="649"/>
                    </a:lnTo>
                    <a:lnTo>
                      <a:pt x="679" y="649"/>
                    </a:lnTo>
                    <a:lnTo>
                      <a:pt x="682" y="648"/>
                    </a:lnTo>
                    <a:lnTo>
                      <a:pt x="686" y="643"/>
                    </a:lnTo>
                    <a:lnTo>
                      <a:pt x="686" y="643"/>
                    </a:lnTo>
                    <a:lnTo>
                      <a:pt x="691" y="640"/>
                    </a:lnTo>
                    <a:lnTo>
                      <a:pt x="695" y="639"/>
                    </a:lnTo>
                    <a:lnTo>
                      <a:pt x="695" y="639"/>
                    </a:lnTo>
                    <a:lnTo>
                      <a:pt x="699" y="637"/>
                    </a:lnTo>
                    <a:lnTo>
                      <a:pt x="704" y="635"/>
                    </a:lnTo>
                    <a:lnTo>
                      <a:pt x="711" y="626"/>
                    </a:lnTo>
                    <a:lnTo>
                      <a:pt x="711" y="626"/>
                    </a:lnTo>
                    <a:lnTo>
                      <a:pt x="715" y="620"/>
                    </a:lnTo>
                    <a:lnTo>
                      <a:pt x="717" y="617"/>
                    </a:lnTo>
                    <a:lnTo>
                      <a:pt x="720" y="616"/>
                    </a:lnTo>
                    <a:lnTo>
                      <a:pt x="720" y="616"/>
                    </a:lnTo>
                    <a:lnTo>
                      <a:pt x="722" y="614"/>
                    </a:lnTo>
                    <a:lnTo>
                      <a:pt x="724" y="611"/>
                    </a:lnTo>
                    <a:lnTo>
                      <a:pt x="724" y="607"/>
                    </a:lnTo>
                    <a:lnTo>
                      <a:pt x="724" y="607"/>
                    </a:lnTo>
                    <a:lnTo>
                      <a:pt x="725" y="606"/>
                    </a:lnTo>
                    <a:lnTo>
                      <a:pt x="730" y="604"/>
                    </a:lnTo>
                    <a:lnTo>
                      <a:pt x="734" y="601"/>
                    </a:lnTo>
                    <a:lnTo>
                      <a:pt x="737" y="598"/>
                    </a:lnTo>
                    <a:lnTo>
                      <a:pt x="737" y="598"/>
                    </a:lnTo>
                    <a:lnTo>
                      <a:pt x="740" y="595"/>
                    </a:lnTo>
                    <a:lnTo>
                      <a:pt x="740" y="593"/>
                    </a:lnTo>
                    <a:lnTo>
                      <a:pt x="738" y="591"/>
                    </a:lnTo>
                    <a:lnTo>
                      <a:pt x="740" y="588"/>
                    </a:lnTo>
                    <a:lnTo>
                      <a:pt x="740" y="588"/>
                    </a:lnTo>
                    <a:lnTo>
                      <a:pt x="744" y="578"/>
                    </a:lnTo>
                    <a:lnTo>
                      <a:pt x="747" y="566"/>
                    </a:lnTo>
                    <a:lnTo>
                      <a:pt x="747" y="566"/>
                    </a:lnTo>
                    <a:lnTo>
                      <a:pt x="750" y="564"/>
                    </a:lnTo>
                    <a:lnTo>
                      <a:pt x="753" y="559"/>
                    </a:lnTo>
                    <a:lnTo>
                      <a:pt x="757" y="558"/>
                    </a:lnTo>
                    <a:lnTo>
                      <a:pt x="763" y="556"/>
                    </a:lnTo>
                    <a:lnTo>
                      <a:pt x="763" y="556"/>
                    </a:lnTo>
                    <a:lnTo>
                      <a:pt x="766" y="555"/>
                    </a:lnTo>
                    <a:lnTo>
                      <a:pt x="769" y="553"/>
                    </a:lnTo>
                    <a:lnTo>
                      <a:pt x="770" y="552"/>
                    </a:lnTo>
                    <a:lnTo>
                      <a:pt x="770" y="548"/>
                    </a:lnTo>
                    <a:lnTo>
                      <a:pt x="770" y="548"/>
                    </a:lnTo>
                    <a:lnTo>
                      <a:pt x="772" y="543"/>
                    </a:lnTo>
                    <a:lnTo>
                      <a:pt x="773" y="539"/>
                    </a:lnTo>
                    <a:lnTo>
                      <a:pt x="776" y="536"/>
                    </a:lnTo>
                    <a:lnTo>
                      <a:pt x="776" y="536"/>
                    </a:lnTo>
                    <a:lnTo>
                      <a:pt x="776" y="533"/>
                    </a:lnTo>
                    <a:lnTo>
                      <a:pt x="776" y="530"/>
                    </a:lnTo>
                    <a:lnTo>
                      <a:pt x="776" y="524"/>
                    </a:lnTo>
                    <a:lnTo>
                      <a:pt x="776" y="524"/>
                    </a:lnTo>
                    <a:lnTo>
                      <a:pt x="773" y="522"/>
                    </a:lnTo>
                    <a:lnTo>
                      <a:pt x="769" y="520"/>
                    </a:lnTo>
                    <a:lnTo>
                      <a:pt x="764" y="519"/>
                    </a:lnTo>
                    <a:lnTo>
                      <a:pt x="760" y="517"/>
                    </a:lnTo>
                    <a:lnTo>
                      <a:pt x="760" y="517"/>
                    </a:lnTo>
                    <a:lnTo>
                      <a:pt x="760" y="516"/>
                    </a:lnTo>
                    <a:lnTo>
                      <a:pt x="760" y="514"/>
                    </a:lnTo>
                    <a:lnTo>
                      <a:pt x="764" y="509"/>
                    </a:lnTo>
                    <a:lnTo>
                      <a:pt x="773" y="500"/>
                    </a:lnTo>
                    <a:lnTo>
                      <a:pt x="773" y="500"/>
                    </a:lnTo>
                    <a:lnTo>
                      <a:pt x="773" y="498"/>
                    </a:lnTo>
                    <a:lnTo>
                      <a:pt x="772" y="495"/>
                    </a:lnTo>
                    <a:lnTo>
                      <a:pt x="767" y="491"/>
                    </a:lnTo>
                    <a:lnTo>
                      <a:pt x="767" y="491"/>
                    </a:lnTo>
                    <a:lnTo>
                      <a:pt x="767" y="490"/>
                    </a:lnTo>
                    <a:lnTo>
                      <a:pt x="767" y="490"/>
                    </a:lnTo>
                    <a:lnTo>
                      <a:pt x="770" y="487"/>
                    </a:lnTo>
                    <a:lnTo>
                      <a:pt x="770" y="487"/>
                    </a:lnTo>
                    <a:lnTo>
                      <a:pt x="770" y="484"/>
                    </a:lnTo>
                    <a:lnTo>
                      <a:pt x="769" y="480"/>
                    </a:lnTo>
                    <a:lnTo>
                      <a:pt x="766" y="475"/>
                    </a:lnTo>
                    <a:lnTo>
                      <a:pt x="763" y="472"/>
                    </a:lnTo>
                    <a:lnTo>
                      <a:pt x="763" y="472"/>
                    </a:lnTo>
                    <a:lnTo>
                      <a:pt x="759" y="469"/>
                    </a:lnTo>
                    <a:lnTo>
                      <a:pt x="754" y="465"/>
                    </a:lnTo>
                    <a:lnTo>
                      <a:pt x="751" y="461"/>
                    </a:lnTo>
                    <a:lnTo>
                      <a:pt x="748" y="455"/>
                    </a:lnTo>
                    <a:lnTo>
                      <a:pt x="748" y="455"/>
                    </a:lnTo>
                    <a:lnTo>
                      <a:pt x="743" y="442"/>
                    </a:lnTo>
                    <a:lnTo>
                      <a:pt x="740" y="435"/>
                    </a:lnTo>
                    <a:lnTo>
                      <a:pt x="735" y="430"/>
                    </a:lnTo>
                    <a:lnTo>
                      <a:pt x="735" y="430"/>
                    </a:lnTo>
                    <a:lnTo>
                      <a:pt x="733" y="429"/>
                    </a:lnTo>
                    <a:lnTo>
                      <a:pt x="733" y="426"/>
                    </a:lnTo>
                    <a:lnTo>
                      <a:pt x="733" y="423"/>
                    </a:lnTo>
                    <a:lnTo>
                      <a:pt x="735" y="420"/>
                    </a:lnTo>
                    <a:lnTo>
                      <a:pt x="735" y="420"/>
                    </a:lnTo>
                    <a:lnTo>
                      <a:pt x="743" y="413"/>
                    </a:lnTo>
                    <a:lnTo>
                      <a:pt x="747" y="404"/>
                    </a:lnTo>
                    <a:lnTo>
                      <a:pt x="747" y="404"/>
                    </a:lnTo>
                    <a:lnTo>
                      <a:pt x="750" y="401"/>
                    </a:lnTo>
                    <a:lnTo>
                      <a:pt x="753" y="397"/>
                    </a:lnTo>
                    <a:lnTo>
                      <a:pt x="756" y="396"/>
                    </a:lnTo>
                    <a:lnTo>
                      <a:pt x="760" y="394"/>
                    </a:lnTo>
                    <a:lnTo>
                      <a:pt x="760" y="394"/>
                    </a:lnTo>
                    <a:lnTo>
                      <a:pt x="772" y="391"/>
                    </a:lnTo>
                    <a:lnTo>
                      <a:pt x="785" y="388"/>
                    </a:lnTo>
                    <a:lnTo>
                      <a:pt x="785" y="388"/>
                    </a:lnTo>
                    <a:lnTo>
                      <a:pt x="789" y="387"/>
                    </a:lnTo>
                    <a:lnTo>
                      <a:pt x="790" y="384"/>
                    </a:lnTo>
                    <a:lnTo>
                      <a:pt x="788" y="383"/>
                    </a:lnTo>
                    <a:lnTo>
                      <a:pt x="782" y="381"/>
                    </a:lnTo>
                    <a:lnTo>
                      <a:pt x="782" y="381"/>
                    </a:lnTo>
                    <a:lnTo>
                      <a:pt x="776" y="381"/>
                    </a:lnTo>
                    <a:lnTo>
                      <a:pt x="769" y="378"/>
                    </a:lnTo>
                    <a:lnTo>
                      <a:pt x="759" y="375"/>
                    </a:lnTo>
                    <a:lnTo>
                      <a:pt x="759" y="375"/>
                    </a:lnTo>
                    <a:lnTo>
                      <a:pt x="757" y="374"/>
                    </a:lnTo>
                    <a:lnTo>
                      <a:pt x="753" y="375"/>
                    </a:lnTo>
                    <a:lnTo>
                      <a:pt x="746" y="378"/>
                    </a:lnTo>
                    <a:lnTo>
                      <a:pt x="734" y="384"/>
                    </a:lnTo>
                    <a:lnTo>
                      <a:pt x="734" y="384"/>
                    </a:lnTo>
                    <a:lnTo>
                      <a:pt x="731" y="384"/>
                    </a:lnTo>
                    <a:lnTo>
                      <a:pt x="728" y="383"/>
                    </a:lnTo>
                    <a:lnTo>
                      <a:pt x="722" y="374"/>
                    </a:lnTo>
                    <a:lnTo>
                      <a:pt x="722" y="374"/>
                    </a:lnTo>
                    <a:lnTo>
                      <a:pt x="718" y="368"/>
                    </a:lnTo>
                    <a:lnTo>
                      <a:pt x="714" y="364"/>
                    </a:lnTo>
                    <a:lnTo>
                      <a:pt x="705" y="354"/>
                    </a:lnTo>
                    <a:lnTo>
                      <a:pt x="705" y="354"/>
                    </a:lnTo>
                    <a:lnTo>
                      <a:pt x="704" y="351"/>
                    </a:lnTo>
                    <a:lnTo>
                      <a:pt x="704" y="348"/>
                    </a:lnTo>
                    <a:lnTo>
                      <a:pt x="705" y="346"/>
                    </a:lnTo>
                    <a:lnTo>
                      <a:pt x="708" y="343"/>
                    </a:lnTo>
                    <a:lnTo>
                      <a:pt x="708" y="343"/>
                    </a:lnTo>
                    <a:lnTo>
                      <a:pt x="718" y="342"/>
                    </a:lnTo>
                    <a:lnTo>
                      <a:pt x="730" y="342"/>
                    </a:lnTo>
                    <a:lnTo>
                      <a:pt x="730" y="342"/>
                    </a:lnTo>
                    <a:lnTo>
                      <a:pt x="733" y="341"/>
                    </a:lnTo>
                    <a:lnTo>
                      <a:pt x="733" y="336"/>
                    </a:lnTo>
                    <a:lnTo>
                      <a:pt x="734" y="333"/>
                    </a:lnTo>
                    <a:lnTo>
                      <a:pt x="735" y="329"/>
                    </a:lnTo>
                    <a:lnTo>
                      <a:pt x="735" y="329"/>
                    </a:lnTo>
                    <a:lnTo>
                      <a:pt x="741" y="323"/>
                    </a:lnTo>
                    <a:lnTo>
                      <a:pt x="750" y="317"/>
                    </a:lnTo>
                    <a:lnTo>
                      <a:pt x="763" y="309"/>
                    </a:lnTo>
                    <a:lnTo>
                      <a:pt x="763" y="309"/>
                    </a:lnTo>
                    <a:lnTo>
                      <a:pt x="767" y="307"/>
                    </a:lnTo>
                    <a:lnTo>
                      <a:pt x="770" y="307"/>
                    </a:lnTo>
                    <a:lnTo>
                      <a:pt x="770" y="307"/>
                    </a:lnTo>
                    <a:lnTo>
                      <a:pt x="772" y="307"/>
                    </a:lnTo>
                    <a:lnTo>
                      <a:pt x="775" y="309"/>
                    </a:lnTo>
                    <a:lnTo>
                      <a:pt x="776" y="310"/>
                    </a:lnTo>
                    <a:lnTo>
                      <a:pt x="777" y="314"/>
                    </a:lnTo>
                    <a:lnTo>
                      <a:pt x="777" y="314"/>
                    </a:lnTo>
                    <a:lnTo>
                      <a:pt x="776" y="319"/>
                    </a:lnTo>
                    <a:lnTo>
                      <a:pt x="775" y="322"/>
                    </a:lnTo>
                    <a:lnTo>
                      <a:pt x="769" y="327"/>
                    </a:lnTo>
                    <a:lnTo>
                      <a:pt x="769" y="327"/>
                    </a:lnTo>
                    <a:lnTo>
                      <a:pt x="767" y="330"/>
                    </a:lnTo>
                    <a:lnTo>
                      <a:pt x="766" y="332"/>
                    </a:lnTo>
                    <a:lnTo>
                      <a:pt x="769" y="338"/>
                    </a:lnTo>
                    <a:lnTo>
                      <a:pt x="769" y="338"/>
                    </a:lnTo>
                    <a:lnTo>
                      <a:pt x="769" y="341"/>
                    </a:lnTo>
                    <a:lnTo>
                      <a:pt x="769" y="343"/>
                    </a:lnTo>
                    <a:lnTo>
                      <a:pt x="769" y="346"/>
                    </a:lnTo>
                    <a:lnTo>
                      <a:pt x="769" y="348"/>
                    </a:lnTo>
                    <a:lnTo>
                      <a:pt x="769" y="348"/>
                    </a:lnTo>
                    <a:lnTo>
                      <a:pt x="770" y="348"/>
                    </a:lnTo>
                    <a:lnTo>
                      <a:pt x="773" y="346"/>
                    </a:lnTo>
                    <a:lnTo>
                      <a:pt x="782" y="342"/>
                    </a:lnTo>
                    <a:lnTo>
                      <a:pt x="792" y="336"/>
                    </a:lnTo>
                    <a:lnTo>
                      <a:pt x="795" y="333"/>
                    </a:lnTo>
                    <a:lnTo>
                      <a:pt x="799" y="333"/>
                    </a:lnTo>
                    <a:lnTo>
                      <a:pt x="799" y="333"/>
                    </a:lnTo>
                    <a:lnTo>
                      <a:pt x="808" y="332"/>
                    </a:lnTo>
                    <a:lnTo>
                      <a:pt x="808" y="332"/>
                    </a:lnTo>
                    <a:lnTo>
                      <a:pt x="812" y="323"/>
                    </a:lnTo>
                    <a:lnTo>
                      <a:pt x="817" y="317"/>
                    </a:lnTo>
                    <a:lnTo>
                      <a:pt x="817" y="317"/>
                    </a:lnTo>
                    <a:lnTo>
                      <a:pt x="822" y="313"/>
                    </a:lnTo>
                    <a:lnTo>
                      <a:pt x="830" y="310"/>
                    </a:lnTo>
                    <a:lnTo>
                      <a:pt x="830" y="310"/>
                    </a:lnTo>
                    <a:lnTo>
                      <a:pt x="841" y="304"/>
                    </a:lnTo>
                    <a:lnTo>
                      <a:pt x="847" y="300"/>
                    </a:lnTo>
                    <a:lnTo>
                      <a:pt x="850" y="296"/>
                    </a:lnTo>
                    <a:lnTo>
                      <a:pt x="850" y="296"/>
                    </a:lnTo>
                    <a:lnTo>
                      <a:pt x="853" y="291"/>
                    </a:lnTo>
                    <a:lnTo>
                      <a:pt x="854" y="290"/>
                    </a:lnTo>
                    <a:lnTo>
                      <a:pt x="857" y="290"/>
                    </a:lnTo>
                    <a:lnTo>
                      <a:pt x="857" y="290"/>
                    </a:lnTo>
                    <a:lnTo>
                      <a:pt x="860" y="291"/>
                    </a:lnTo>
                    <a:lnTo>
                      <a:pt x="863" y="293"/>
                    </a:lnTo>
                    <a:lnTo>
                      <a:pt x="867" y="293"/>
                    </a:lnTo>
                    <a:lnTo>
                      <a:pt x="872" y="291"/>
                    </a:lnTo>
                    <a:lnTo>
                      <a:pt x="872" y="291"/>
                    </a:lnTo>
                    <a:lnTo>
                      <a:pt x="873" y="290"/>
                    </a:lnTo>
                    <a:lnTo>
                      <a:pt x="874" y="287"/>
                    </a:lnTo>
                    <a:lnTo>
                      <a:pt x="874" y="283"/>
                    </a:lnTo>
                    <a:lnTo>
                      <a:pt x="874" y="280"/>
                    </a:lnTo>
                    <a:lnTo>
                      <a:pt x="874" y="278"/>
                    </a:lnTo>
                    <a:lnTo>
                      <a:pt x="876" y="278"/>
                    </a:lnTo>
                    <a:lnTo>
                      <a:pt x="876" y="278"/>
                    </a:lnTo>
                    <a:lnTo>
                      <a:pt x="882" y="280"/>
                    </a:lnTo>
                    <a:lnTo>
                      <a:pt x="885" y="278"/>
                    </a:lnTo>
                    <a:lnTo>
                      <a:pt x="886" y="277"/>
                    </a:lnTo>
                    <a:lnTo>
                      <a:pt x="886" y="277"/>
                    </a:lnTo>
                    <a:lnTo>
                      <a:pt x="893" y="270"/>
                    </a:lnTo>
                    <a:lnTo>
                      <a:pt x="898" y="265"/>
                    </a:lnTo>
                    <a:lnTo>
                      <a:pt x="902" y="262"/>
                    </a:lnTo>
                    <a:lnTo>
                      <a:pt x="902" y="262"/>
                    </a:lnTo>
                    <a:lnTo>
                      <a:pt x="912" y="262"/>
                    </a:lnTo>
                    <a:lnTo>
                      <a:pt x="916" y="261"/>
                    </a:lnTo>
                    <a:lnTo>
                      <a:pt x="919" y="258"/>
                    </a:lnTo>
                    <a:lnTo>
                      <a:pt x="919" y="258"/>
                    </a:lnTo>
                    <a:lnTo>
                      <a:pt x="924" y="246"/>
                    </a:lnTo>
                    <a:lnTo>
                      <a:pt x="927" y="239"/>
                    </a:lnTo>
                    <a:lnTo>
                      <a:pt x="925" y="235"/>
                    </a:lnTo>
                    <a:lnTo>
                      <a:pt x="925" y="235"/>
                    </a:lnTo>
                    <a:lnTo>
                      <a:pt x="922" y="226"/>
                    </a:lnTo>
                    <a:lnTo>
                      <a:pt x="922" y="223"/>
                    </a:lnTo>
                    <a:lnTo>
                      <a:pt x="922" y="220"/>
                    </a:lnTo>
                    <a:lnTo>
                      <a:pt x="922" y="220"/>
                    </a:lnTo>
                    <a:lnTo>
                      <a:pt x="924" y="219"/>
                    </a:lnTo>
                    <a:lnTo>
                      <a:pt x="927" y="217"/>
                    </a:lnTo>
                    <a:lnTo>
                      <a:pt x="934" y="213"/>
                    </a:lnTo>
                    <a:lnTo>
                      <a:pt x="934" y="213"/>
                    </a:lnTo>
                    <a:lnTo>
                      <a:pt x="937" y="213"/>
                    </a:lnTo>
                    <a:lnTo>
                      <a:pt x="941" y="214"/>
                    </a:lnTo>
                    <a:lnTo>
                      <a:pt x="945" y="216"/>
                    </a:lnTo>
                    <a:lnTo>
                      <a:pt x="948" y="214"/>
                    </a:lnTo>
                    <a:lnTo>
                      <a:pt x="948" y="214"/>
                    </a:lnTo>
                    <a:lnTo>
                      <a:pt x="953" y="210"/>
                    </a:lnTo>
                    <a:lnTo>
                      <a:pt x="958" y="204"/>
                    </a:lnTo>
                    <a:lnTo>
                      <a:pt x="963" y="196"/>
                    </a:lnTo>
                    <a:lnTo>
                      <a:pt x="967" y="188"/>
                    </a:lnTo>
                    <a:lnTo>
                      <a:pt x="967" y="188"/>
                    </a:lnTo>
                    <a:lnTo>
                      <a:pt x="970" y="180"/>
                    </a:lnTo>
                    <a:lnTo>
                      <a:pt x="972" y="171"/>
                    </a:lnTo>
                    <a:lnTo>
                      <a:pt x="973" y="158"/>
                    </a:lnTo>
                    <a:lnTo>
                      <a:pt x="973" y="158"/>
                    </a:lnTo>
                    <a:lnTo>
                      <a:pt x="977" y="144"/>
                    </a:lnTo>
                    <a:lnTo>
                      <a:pt x="979" y="138"/>
                    </a:lnTo>
                    <a:lnTo>
                      <a:pt x="979" y="136"/>
                    </a:lnTo>
                    <a:lnTo>
                      <a:pt x="977" y="136"/>
                    </a:lnTo>
                    <a:close/>
                    <a:moveTo>
                      <a:pt x="433" y="390"/>
                    </a:moveTo>
                    <a:lnTo>
                      <a:pt x="433" y="390"/>
                    </a:lnTo>
                    <a:lnTo>
                      <a:pt x="430" y="393"/>
                    </a:lnTo>
                    <a:lnTo>
                      <a:pt x="424" y="394"/>
                    </a:lnTo>
                    <a:lnTo>
                      <a:pt x="420" y="394"/>
                    </a:lnTo>
                    <a:lnTo>
                      <a:pt x="415" y="393"/>
                    </a:lnTo>
                    <a:lnTo>
                      <a:pt x="415" y="393"/>
                    </a:lnTo>
                    <a:lnTo>
                      <a:pt x="414" y="390"/>
                    </a:lnTo>
                    <a:lnTo>
                      <a:pt x="412" y="388"/>
                    </a:lnTo>
                    <a:lnTo>
                      <a:pt x="414" y="384"/>
                    </a:lnTo>
                    <a:lnTo>
                      <a:pt x="418" y="380"/>
                    </a:lnTo>
                    <a:lnTo>
                      <a:pt x="421" y="380"/>
                    </a:lnTo>
                    <a:lnTo>
                      <a:pt x="421" y="380"/>
                    </a:lnTo>
                    <a:lnTo>
                      <a:pt x="426" y="381"/>
                    </a:lnTo>
                    <a:lnTo>
                      <a:pt x="430" y="384"/>
                    </a:lnTo>
                    <a:lnTo>
                      <a:pt x="433" y="388"/>
                    </a:lnTo>
                    <a:lnTo>
                      <a:pt x="433" y="390"/>
                    </a:lnTo>
                    <a:lnTo>
                      <a:pt x="433" y="39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7" name="Freeform 1760"/>
              <p:cNvSpPr>
                <a:spLocks/>
              </p:cNvSpPr>
              <p:nvPr/>
            </p:nvSpPr>
            <p:spPr bwMode="auto">
              <a:xfrm>
                <a:off x="5493000" y="2714679"/>
                <a:ext cx="464952" cy="475834"/>
              </a:xfrm>
              <a:custGeom>
                <a:avLst/>
                <a:gdLst>
                  <a:gd name="T0" fmla="*/ 113 w 470"/>
                  <a:gd name="T1" fmla="*/ 413 h 481"/>
                  <a:gd name="T2" fmla="*/ 91 w 470"/>
                  <a:gd name="T3" fmla="*/ 362 h 481"/>
                  <a:gd name="T4" fmla="*/ 75 w 470"/>
                  <a:gd name="T5" fmla="*/ 311 h 481"/>
                  <a:gd name="T6" fmla="*/ 75 w 470"/>
                  <a:gd name="T7" fmla="*/ 276 h 481"/>
                  <a:gd name="T8" fmla="*/ 62 w 470"/>
                  <a:gd name="T9" fmla="*/ 265 h 481"/>
                  <a:gd name="T10" fmla="*/ 14 w 470"/>
                  <a:gd name="T11" fmla="*/ 249 h 481"/>
                  <a:gd name="T12" fmla="*/ 34 w 470"/>
                  <a:gd name="T13" fmla="*/ 237 h 481"/>
                  <a:gd name="T14" fmla="*/ 0 w 470"/>
                  <a:gd name="T15" fmla="*/ 220 h 481"/>
                  <a:gd name="T16" fmla="*/ 13 w 470"/>
                  <a:gd name="T17" fmla="*/ 208 h 481"/>
                  <a:gd name="T18" fmla="*/ 39 w 470"/>
                  <a:gd name="T19" fmla="*/ 207 h 481"/>
                  <a:gd name="T20" fmla="*/ 42 w 470"/>
                  <a:gd name="T21" fmla="*/ 188 h 481"/>
                  <a:gd name="T22" fmla="*/ 24 w 470"/>
                  <a:gd name="T23" fmla="*/ 171 h 481"/>
                  <a:gd name="T24" fmla="*/ 40 w 470"/>
                  <a:gd name="T25" fmla="*/ 143 h 481"/>
                  <a:gd name="T26" fmla="*/ 78 w 470"/>
                  <a:gd name="T27" fmla="*/ 126 h 481"/>
                  <a:gd name="T28" fmla="*/ 113 w 470"/>
                  <a:gd name="T29" fmla="*/ 95 h 481"/>
                  <a:gd name="T30" fmla="*/ 126 w 470"/>
                  <a:gd name="T31" fmla="*/ 75 h 481"/>
                  <a:gd name="T32" fmla="*/ 115 w 470"/>
                  <a:gd name="T33" fmla="*/ 64 h 481"/>
                  <a:gd name="T34" fmla="*/ 123 w 470"/>
                  <a:gd name="T35" fmla="*/ 45 h 481"/>
                  <a:gd name="T36" fmla="*/ 105 w 470"/>
                  <a:gd name="T37" fmla="*/ 22 h 481"/>
                  <a:gd name="T38" fmla="*/ 131 w 470"/>
                  <a:gd name="T39" fmla="*/ 3 h 481"/>
                  <a:gd name="T40" fmla="*/ 185 w 470"/>
                  <a:gd name="T41" fmla="*/ 19 h 481"/>
                  <a:gd name="T42" fmla="*/ 185 w 470"/>
                  <a:gd name="T43" fmla="*/ 33 h 481"/>
                  <a:gd name="T44" fmla="*/ 183 w 470"/>
                  <a:gd name="T45" fmla="*/ 50 h 481"/>
                  <a:gd name="T46" fmla="*/ 175 w 470"/>
                  <a:gd name="T47" fmla="*/ 66 h 481"/>
                  <a:gd name="T48" fmla="*/ 172 w 470"/>
                  <a:gd name="T49" fmla="*/ 82 h 481"/>
                  <a:gd name="T50" fmla="*/ 210 w 470"/>
                  <a:gd name="T51" fmla="*/ 106 h 481"/>
                  <a:gd name="T52" fmla="*/ 262 w 470"/>
                  <a:gd name="T53" fmla="*/ 156 h 481"/>
                  <a:gd name="T54" fmla="*/ 317 w 470"/>
                  <a:gd name="T55" fmla="*/ 165 h 481"/>
                  <a:gd name="T56" fmla="*/ 331 w 470"/>
                  <a:gd name="T57" fmla="*/ 143 h 481"/>
                  <a:gd name="T58" fmla="*/ 334 w 470"/>
                  <a:gd name="T59" fmla="*/ 156 h 481"/>
                  <a:gd name="T60" fmla="*/ 346 w 470"/>
                  <a:gd name="T61" fmla="*/ 168 h 481"/>
                  <a:gd name="T62" fmla="*/ 378 w 470"/>
                  <a:gd name="T63" fmla="*/ 149 h 481"/>
                  <a:gd name="T64" fmla="*/ 435 w 470"/>
                  <a:gd name="T65" fmla="*/ 123 h 481"/>
                  <a:gd name="T66" fmla="*/ 451 w 470"/>
                  <a:gd name="T67" fmla="*/ 126 h 481"/>
                  <a:gd name="T68" fmla="*/ 469 w 470"/>
                  <a:gd name="T69" fmla="*/ 142 h 481"/>
                  <a:gd name="T70" fmla="*/ 464 w 470"/>
                  <a:gd name="T71" fmla="*/ 159 h 481"/>
                  <a:gd name="T72" fmla="*/ 427 w 470"/>
                  <a:gd name="T73" fmla="*/ 195 h 481"/>
                  <a:gd name="T74" fmla="*/ 404 w 470"/>
                  <a:gd name="T75" fmla="*/ 236 h 481"/>
                  <a:gd name="T76" fmla="*/ 393 w 470"/>
                  <a:gd name="T77" fmla="*/ 253 h 481"/>
                  <a:gd name="T78" fmla="*/ 378 w 470"/>
                  <a:gd name="T79" fmla="*/ 233 h 481"/>
                  <a:gd name="T80" fmla="*/ 366 w 470"/>
                  <a:gd name="T81" fmla="*/ 217 h 481"/>
                  <a:gd name="T82" fmla="*/ 343 w 470"/>
                  <a:gd name="T83" fmla="*/ 179 h 481"/>
                  <a:gd name="T84" fmla="*/ 334 w 470"/>
                  <a:gd name="T85" fmla="*/ 175 h 481"/>
                  <a:gd name="T86" fmla="*/ 327 w 470"/>
                  <a:gd name="T87" fmla="*/ 174 h 481"/>
                  <a:gd name="T88" fmla="*/ 330 w 470"/>
                  <a:gd name="T89" fmla="*/ 194 h 481"/>
                  <a:gd name="T90" fmla="*/ 328 w 470"/>
                  <a:gd name="T91" fmla="*/ 210 h 481"/>
                  <a:gd name="T92" fmla="*/ 331 w 470"/>
                  <a:gd name="T93" fmla="*/ 259 h 481"/>
                  <a:gd name="T94" fmla="*/ 324 w 470"/>
                  <a:gd name="T95" fmla="*/ 261 h 481"/>
                  <a:gd name="T96" fmla="*/ 318 w 470"/>
                  <a:gd name="T97" fmla="*/ 255 h 481"/>
                  <a:gd name="T98" fmla="*/ 270 w 470"/>
                  <a:gd name="T99" fmla="*/ 297 h 481"/>
                  <a:gd name="T100" fmla="*/ 211 w 470"/>
                  <a:gd name="T101" fmla="*/ 347 h 481"/>
                  <a:gd name="T102" fmla="*/ 194 w 470"/>
                  <a:gd name="T103" fmla="*/ 391 h 481"/>
                  <a:gd name="T104" fmla="*/ 189 w 470"/>
                  <a:gd name="T105" fmla="*/ 444 h 481"/>
                  <a:gd name="T106" fmla="*/ 175 w 470"/>
                  <a:gd name="T107" fmla="*/ 460 h 481"/>
                  <a:gd name="T108" fmla="*/ 149 w 470"/>
                  <a:gd name="T109" fmla="*/ 481 h 481"/>
                  <a:gd name="connsiteX0" fmla="*/ 3170 w 10000"/>
                  <a:gd name="connsiteY0" fmla="*/ 10000 h 10000"/>
                  <a:gd name="connsiteX1" fmla="*/ 3170 w 10000"/>
                  <a:gd name="connsiteY1" fmla="*/ 9958 h 10000"/>
                  <a:gd name="connsiteX2" fmla="*/ 2915 w 10000"/>
                  <a:gd name="connsiteY2" fmla="*/ 9688 h 10000"/>
                  <a:gd name="connsiteX3" fmla="*/ 2617 w 10000"/>
                  <a:gd name="connsiteY3" fmla="*/ 8857 h 10000"/>
                  <a:gd name="connsiteX4" fmla="*/ 2404 w 10000"/>
                  <a:gd name="connsiteY4" fmla="*/ 8586 h 10000"/>
                  <a:gd name="connsiteX5" fmla="*/ 2277 w 10000"/>
                  <a:gd name="connsiteY5" fmla="*/ 8129 h 10000"/>
                  <a:gd name="connsiteX6" fmla="*/ 2021 w 10000"/>
                  <a:gd name="connsiteY6" fmla="*/ 7672 h 10000"/>
                  <a:gd name="connsiteX7" fmla="*/ 2000 w 10000"/>
                  <a:gd name="connsiteY7" fmla="*/ 7484 h 10000"/>
                  <a:gd name="connsiteX8" fmla="*/ 1957 w 10000"/>
                  <a:gd name="connsiteY8" fmla="*/ 7484 h 10000"/>
                  <a:gd name="connsiteX9" fmla="*/ 1936 w 10000"/>
                  <a:gd name="connsiteY9" fmla="*/ 7526 h 10000"/>
                  <a:gd name="connsiteX10" fmla="*/ 1936 w 10000"/>
                  <a:gd name="connsiteY10" fmla="*/ 7526 h 10000"/>
                  <a:gd name="connsiteX11" fmla="*/ 1936 w 10000"/>
                  <a:gd name="connsiteY11" fmla="*/ 7484 h 10000"/>
                  <a:gd name="connsiteX12" fmla="*/ 1872 w 10000"/>
                  <a:gd name="connsiteY12" fmla="*/ 7380 h 10000"/>
                  <a:gd name="connsiteX13" fmla="*/ 1745 w 10000"/>
                  <a:gd name="connsiteY13" fmla="*/ 7131 h 10000"/>
                  <a:gd name="connsiteX14" fmla="*/ 1596 w 10000"/>
                  <a:gd name="connsiteY14" fmla="*/ 6466 h 10000"/>
                  <a:gd name="connsiteX15" fmla="*/ 1617 w 10000"/>
                  <a:gd name="connsiteY15" fmla="*/ 6258 h 10000"/>
                  <a:gd name="connsiteX16" fmla="*/ 1596 w 10000"/>
                  <a:gd name="connsiteY16" fmla="*/ 6258 h 10000"/>
                  <a:gd name="connsiteX17" fmla="*/ 1596 w 10000"/>
                  <a:gd name="connsiteY17" fmla="*/ 6258 h 10000"/>
                  <a:gd name="connsiteX18" fmla="*/ 1532 w 10000"/>
                  <a:gd name="connsiteY18" fmla="*/ 6008 h 10000"/>
                  <a:gd name="connsiteX19" fmla="*/ 1596 w 10000"/>
                  <a:gd name="connsiteY19" fmla="*/ 5738 h 10000"/>
                  <a:gd name="connsiteX20" fmla="*/ 1468 w 10000"/>
                  <a:gd name="connsiteY20" fmla="*/ 5239 h 10000"/>
                  <a:gd name="connsiteX21" fmla="*/ 1468 w 10000"/>
                  <a:gd name="connsiteY21" fmla="*/ 5239 h 10000"/>
                  <a:gd name="connsiteX22" fmla="*/ 1596 w 10000"/>
                  <a:gd name="connsiteY22" fmla="*/ 5114 h 10000"/>
                  <a:gd name="connsiteX23" fmla="*/ 1447 w 10000"/>
                  <a:gd name="connsiteY23" fmla="*/ 5094 h 10000"/>
                  <a:gd name="connsiteX24" fmla="*/ 1319 w 10000"/>
                  <a:gd name="connsiteY24" fmla="*/ 5509 h 10000"/>
                  <a:gd name="connsiteX25" fmla="*/ 1319 w 10000"/>
                  <a:gd name="connsiteY25" fmla="*/ 5530 h 10000"/>
                  <a:gd name="connsiteX26" fmla="*/ 1064 w 10000"/>
                  <a:gd name="connsiteY26" fmla="*/ 5634 h 10000"/>
                  <a:gd name="connsiteX27" fmla="*/ 830 w 10000"/>
                  <a:gd name="connsiteY27" fmla="*/ 5634 h 10000"/>
                  <a:gd name="connsiteX28" fmla="*/ 787 w 10000"/>
                  <a:gd name="connsiteY28" fmla="*/ 5634 h 10000"/>
                  <a:gd name="connsiteX29" fmla="*/ 298 w 10000"/>
                  <a:gd name="connsiteY29" fmla="*/ 5177 h 10000"/>
                  <a:gd name="connsiteX30" fmla="*/ 298 w 10000"/>
                  <a:gd name="connsiteY30" fmla="*/ 5094 h 10000"/>
                  <a:gd name="connsiteX31" fmla="*/ 298 w 10000"/>
                  <a:gd name="connsiteY31" fmla="*/ 5094 h 10000"/>
                  <a:gd name="connsiteX32" fmla="*/ 298 w 10000"/>
                  <a:gd name="connsiteY32" fmla="*/ 5052 h 10000"/>
                  <a:gd name="connsiteX33" fmla="*/ 638 w 10000"/>
                  <a:gd name="connsiteY33" fmla="*/ 5031 h 10000"/>
                  <a:gd name="connsiteX34" fmla="*/ 723 w 10000"/>
                  <a:gd name="connsiteY34" fmla="*/ 4927 h 10000"/>
                  <a:gd name="connsiteX35" fmla="*/ 766 w 10000"/>
                  <a:gd name="connsiteY35" fmla="*/ 4823 h 10000"/>
                  <a:gd name="connsiteX36" fmla="*/ 574 w 10000"/>
                  <a:gd name="connsiteY36" fmla="*/ 4906 h 10000"/>
                  <a:gd name="connsiteX37" fmla="*/ 298 w 10000"/>
                  <a:gd name="connsiteY37" fmla="*/ 4906 h 10000"/>
                  <a:gd name="connsiteX38" fmla="*/ 298 w 10000"/>
                  <a:gd name="connsiteY38" fmla="*/ 4906 h 10000"/>
                  <a:gd name="connsiteX39" fmla="*/ 0 w 10000"/>
                  <a:gd name="connsiteY39" fmla="*/ 4574 h 10000"/>
                  <a:gd name="connsiteX40" fmla="*/ 0 w 10000"/>
                  <a:gd name="connsiteY40" fmla="*/ 4574 h 10000"/>
                  <a:gd name="connsiteX41" fmla="*/ 0 w 10000"/>
                  <a:gd name="connsiteY41" fmla="*/ 4553 h 10000"/>
                  <a:gd name="connsiteX42" fmla="*/ 85 w 10000"/>
                  <a:gd name="connsiteY42" fmla="*/ 4491 h 10000"/>
                  <a:gd name="connsiteX43" fmla="*/ 277 w 10000"/>
                  <a:gd name="connsiteY43" fmla="*/ 4491 h 10000"/>
                  <a:gd name="connsiteX44" fmla="*/ 277 w 10000"/>
                  <a:gd name="connsiteY44" fmla="*/ 4324 h 10000"/>
                  <a:gd name="connsiteX45" fmla="*/ 277 w 10000"/>
                  <a:gd name="connsiteY45" fmla="*/ 4324 h 10000"/>
                  <a:gd name="connsiteX46" fmla="*/ 298 w 10000"/>
                  <a:gd name="connsiteY46" fmla="*/ 4324 h 10000"/>
                  <a:gd name="connsiteX47" fmla="*/ 298 w 10000"/>
                  <a:gd name="connsiteY47" fmla="*/ 4324 h 10000"/>
                  <a:gd name="connsiteX48" fmla="*/ 702 w 10000"/>
                  <a:gd name="connsiteY48" fmla="*/ 4428 h 10000"/>
                  <a:gd name="connsiteX49" fmla="*/ 830 w 10000"/>
                  <a:gd name="connsiteY49" fmla="*/ 4304 h 10000"/>
                  <a:gd name="connsiteX50" fmla="*/ 851 w 10000"/>
                  <a:gd name="connsiteY50" fmla="*/ 4304 h 10000"/>
                  <a:gd name="connsiteX51" fmla="*/ 851 w 10000"/>
                  <a:gd name="connsiteY51" fmla="*/ 4304 h 10000"/>
                  <a:gd name="connsiteX52" fmla="*/ 936 w 10000"/>
                  <a:gd name="connsiteY52" fmla="*/ 4387 h 10000"/>
                  <a:gd name="connsiteX53" fmla="*/ 1043 w 10000"/>
                  <a:gd name="connsiteY53" fmla="*/ 4324 h 10000"/>
                  <a:gd name="connsiteX54" fmla="*/ 894 w 10000"/>
                  <a:gd name="connsiteY54" fmla="*/ 3909 h 10000"/>
                  <a:gd name="connsiteX55" fmla="*/ 702 w 10000"/>
                  <a:gd name="connsiteY55" fmla="*/ 3825 h 10000"/>
                  <a:gd name="connsiteX56" fmla="*/ 702 w 10000"/>
                  <a:gd name="connsiteY56" fmla="*/ 3784 h 10000"/>
                  <a:gd name="connsiteX57" fmla="*/ 723 w 10000"/>
                  <a:gd name="connsiteY57" fmla="*/ 3617 h 10000"/>
                  <a:gd name="connsiteX58" fmla="*/ 511 w 10000"/>
                  <a:gd name="connsiteY58" fmla="*/ 3555 h 10000"/>
                  <a:gd name="connsiteX59" fmla="*/ 511 w 10000"/>
                  <a:gd name="connsiteY59" fmla="*/ 3555 h 10000"/>
                  <a:gd name="connsiteX60" fmla="*/ 489 w 10000"/>
                  <a:gd name="connsiteY60" fmla="*/ 3514 h 10000"/>
                  <a:gd name="connsiteX61" fmla="*/ 553 w 10000"/>
                  <a:gd name="connsiteY61" fmla="*/ 3368 h 10000"/>
                  <a:gd name="connsiteX62" fmla="*/ 830 w 10000"/>
                  <a:gd name="connsiteY62" fmla="*/ 2973 h 10000"/>
                  <a:gd name="connsiteX63" fmla="*/ 851 w 10000"/>
                  <a:gd name="connsiteY63" fmla="*/ 2973 h 10000"/>
                  <a:gd name="connsiteX64" fmla="*/ 851 w 10000"/>
                  <a:gd name="connsiteY64" fmla="*/ 2973 h 10000"/>
                  <a:gd name="connsiteX65" fmla="*/ 851 w 10000"/>
                  <a:gd name="connsiteY65" fmla="*/ 2973 h 10000"/>
                  <a:gd name="connsiteX66" fmla="*/ 979 w 10000"/>
                  <a:gd name="connsiteY66" fmla="*/ 3098 h 10000"/>
                  <a:gd name="connsiteX67" fmla="*/ 1277 w 10000"/>
                  <a:gd name="connsiteY67" fmla="*/ 3035 h 10000"/>
                  <a:gd name="connsiteX68" fmla="*/ 1468 w 10000"/>
                  <a:gd name="connsiteY68" fmla="*/ 2765 h 10000"/>
                  <a:gd name="connsiteX69" fmla="*/ 1660 w 10000"/>
                  <a:gd name="connsiteY69" fmla="*/ 2620 h 10000"/>
                  <a:gd name="connsiteX70" fmla="*/ 1830 w 10000"/>
                  <a:gd name="connsiteY70" fmla="*/ 2287 h 10000"/>
                  <a:gd name="connsiteX71" fmla="*/ 1957 w 10000"/>
                  <a:gd name="connsiteY71" fmla="*/ 2245 h 10000"/>
                  <a:gd name="connsiteX72" fmla="*/ 2000 w 10000"/>
                  <a:gd name="connsiteY72" fmla="*/ 2204 h 10000"/>
                  <a:gd name="connsiteX73" fmla="*/ 2170 w 10000"/>
                  <a:gd name="connsiteY73" fmla="*/ 2079 h 10000"/>
                  <a:gd name="connsiteX74" fmla="*/ 2404 w 10000"/>
                  <a:gd name="connsiteY74" fmla="*/ 1975 h 10000"/>
                  <a:gd name="connsiteX75" fmla="*/ 2511 w 10000"/>
                  <a:gd name="connsiteY75" fmla="*/ 1954 h 10000"/>
                  <a:gd name="connsiteX76" fmla="*/ 2511 w 10000"/>
                  <a:gd name="connsiteY76" fmla="*/ 1892 h 10000"/>
                  <a:gd name="connsiteX77" fmla="*/ 2574 w 10000"/>
                  <a:gd name="connsiteY77" fmla="*/ 1892 h 10000"/>
                  <a:gd name="connsiteX78" fmla="*/ 2638 w 10000"/>
                  <a:gd name="connsiteY78" fmla="*/ 1809 h 10000"/>
                  <a:gd name="connsiteX79" fmla="*/ 2681 w 10000"/>
                  <a:gd name="connsiteY79" fmla="*/ 1559 h 10000"/>
                  <a:gd name="connsiteX80" fmla="*/ 2702 w 10000"/>
                  <a:gd name="connsiteY80" fmla="*/ 1372 h 10000"/>
                  <a:gd name="connsiteX81" fmla="*/ 2574 w 10000"/>
                  <a:gd name="connsiteY81" fmla="*/ 1435 h 10000"/>
                  <a:gd name="connsiteX82" fmla="*/ 2489 w 10000"/>
                  <a:gd name="connsiteY82" fmla="*/ 1414 h 10000"/>
                  <a:gd name="connsiteX83" fmla="*/ 2447 w 10000"/>
                  <a:gd name="connsiteY83" fmla="*/ 1331 h 10000"/>
                  <a:gd name="connsiteX84" fmla="*/ 2447 w 10000"/>
                  <a:gd name="connsiteY84" fmla="*/ 1331 h 10000"/>
                  <a:gd name="connsiteX85" fmla="*/ 2426 w 10000"/>
                  <a:gd name="connsiteY85" fmla="*/ 1268 h 10000"/>
                  <a:gd name="connsiteX86" fmla="*/ 2404 w 10000"/>
                  <a:gd name="connsiteY86" fmla="*/ 1206 h 10000"/>
                  <a:gd name="connsiteX87" fmla="*/ 2426 w 10000"/>
                  <a:gd name="connsiteY87" fmla="*/ 1102 h 10000"/>
                  <a:gd name="connsiteX88" fmla="*/ 2511 w 10000"/>
                  <a:gd name="connsiteY88" fmla="*/ 1019 h 10000"/>
                  <a:gd name="connsiteX89" fmla="*/ 2617 w 10000"/>
                  <a:gd name="connsiteY89" fmla="*/ 936 h 10000"/>
                  <a:gd name="connsiteX90" fmla="*/ 2553 w 10000"/>
                  <a:gd name="connsiteY90" fmla="*/ 811 h 10000"/>
                  <a:gd name="connsiteX91" fmla="*/ 2426 w 10000"/>
                  <a:gd name="connsiteY91" fmla="*/ 811 h 10000"/>
                  <a:gd name="connsiteX92" fmla="*/ 2426 w 10000"/>
                  <a:gd name="connsiteY92" fmla="*/ 686 h 10000"/>
                  <a:gd name="connsiteX93" fmla="*/ 2298 w 10000"/>
                  <a:gd name="connsiteY93" fmla="*/ 561 h 10000"/>
                  <a:gd name="connsiteX94" fmla="*/ 2234 w 10000"/>
                  <a:gd name="connsiteY94" fmla="*/ 457 h 10000"/>
                  <a:gd name="connsiteX95" fmla="*/ 2149 w 10000"/>
                  <a:gd name="connsiteY95" fmla="*/ 270 h 10000"/>
                  <a:gd name="connsiteX96" fmla="*/ 2149 w 10000"/>
                  <a:gd name="connsiteY96" fmla="*/ 166 h 10000"/>
                  <a:gd name="connsiteX97" fmla="*/ 2277 w 10000"/>
                  <a:gd name="connsiteY97" fmla="*/ 83 h 10000"/>
                  <a:gd name="connsiteX98" fmla="*/ 2553 w 10000"/>
                  <a:gd name="connsiteY98" fmla="*/ 0 h 10000"/>
                  <a:gd name="connsiteX99" fmla="*/ 2787 w 10000"/>
                  <a:gd name="connsiteY99" fmla="*/ 62 h 10000"/>
                  <a:gd name="connsiteX100" fmla="*/ 2894 w 10000"/>
                  <a:gd name="connsiteY100" fmla="*/ 146 h 10000"/>
                  <a:gd name="connsiteX101" fmla="*/ 3043 w 10000"/>
                  <a:gd name="connsiteY101" fmla="*/ 166 h 10000"/>
                  <a:gd name="connsiteX102" fmla="*/ 3574 w 10000"/>
                  <a:gd name="connsiteY102" fmla="*/ 499 h 10000"/>
                  <a:gd name="connsiteX103" fmla="*/ 3745 w 10000"/>
                  <a:gd name="connsiteY103" fmla="*/ 457 h 10000"/>
                  <a:gd name="connsiteX104" fmla="*/ 3936 w 10000"/>
                  <a:gd name="connsiteY104" fmla="*/ 395 h 10000"/>
                  <a:gd name="connsiteX105" fmla="*/ 4128 w 10000"/>
                  <a:gd name="connsiteY105" fmla="*/ 353 h 10000"/>
                  <a:gd name="connsiteX106" fmla="*/ 4128 w 10000"/>
                  <a:gd name="connsiteY106" fmla="*/ 353 h 10000"/>
                  <a:gd name="connsiteX107" fmla="*/ 4128 w 10000"/>
                  <a:gd name="connsiteY107" fmla="*/ 416 h 10000"/>
                  <a:gd name="connsiteX108" fmla="*/ 3957 w 10000"/>
                  <a:gd name="connsiteY108" fmla="*/ 541 h 10000"/>
                  <a:gd name="connsiteX109" fmla="*/ 3936 w 10000"/>
                  <a:gd name="connsiteY109" fmla="*/ 686 h 10000"/>
                  <a:gd name="connsiteX110" fmla="*/ 3936 w 10000"/>
                  <a:gd name="connsiteY110" fmla="*/ 686 h 10000"/>
                  <a:gd name="connsiteX111" fmla="*/ 3745 w 10000"/>
                  <a:gd name="connsiteY111" fmla="*/ 728 h 10000"/>
                  <a:gd name="connsiteX112" fmla="*/ 3745 w 10000"/>
                  <a:gd name="connsiteY112" fmla="*/ 956 h 10000"/>
                  <a:gd name="connsiteX113" fmla="*/ 3894 w 10000"/>
                  <a:gd name="connsiteY113" fmla="*/ 1019 h 10000"/>
                  <a:gd name="connsiteX114" fmla="*/ 3894 w 10000"/>
                  <a:gd name="connsiteY114" fmla="*/ 1040 h 10000"/>
                  <a:gd name="connsiteX115" fmla="*/ 3957 w 10000"/>
                  <a:gd name="connsiteY115" fmla="*/ 1206 h 10000"/>
                  <a:gd name="connsiteX116" fmla="*/ 3957 w 10000"/>
                  <a:gd name="connsiteY116" fmla="*/ 1227 h 10000"/>
                  <a:gd name="connsiteX117" fmla="*/ 3745 w 10000"/>
                  <a:gd name="connsiteY117" fmla="*/ 1372 h 10000"/>
                  <a:gd name="connsiteX118" fmla="*/ 3745 w 10000"/>
                  <a:gd name="connsiteY118" fmla="*/ 1372 h 10000"/>
                  <a:gd name="connsiteX119" fmla="*/ 3723 w 10000"/>
                  <a:gd name="connsiteY119" fmla="*/ 1372 h 10000"/>
                  <a:gd name="connsiteX120" fmla="*/ 3723 w 10000"/>
                  <a:gd name="connsiteY120" fmla="*/ 1372 h 10000"/>
                  <a:gd name="connsiteX121" fmla="*/ 3660 w 10000"/>
                  <a:gd name="connsiteY121" fmla="*/ 1268 h 10000"/>
                  <a:gd name="connsiteX122" fmla="*/ 3681 w 10000"/>
                  <a:gd name="connsiteY122" fmla="*/ 1497 h 10000"/>
                  <a:gd name="connsiteX123" fmla="*/ 3660 w 10000"/>
                  <a:gd name="connsiteY123" fmla="*/ 1705 h 10000"/>
                  <a:gd name="connsiteX124" fmla="*/ 3745 w 10000"/>
                  <a:gd name="connsiteY124" fmla="*/ 1871 h 10000"/>
                  <a:gd name="connsiteX125" fmla="*/ 3894 w 10000"/>
                  <a:gd name="connsiteY125" fmla="*/ 1871 h 10000"/>
                  <a:gd name="connsiteX126" fmla="*/ 4468 w 10000"/>
                  <a:gd name="connsiteY126" fmla="*/ 2162 h 10000"/>
                  <a:gd name="connsiteX127" fmla="*/ 4468 w 10000"/>
                  <a:gd name="connsiteY127" fmla="*/ 2204 h 10000"/>
                  <a:gd name="connsiteX128" fmla="*/ 4468 w 10000"/>
                  <a:gd name="connsiteY128" fmla="*/ 2204 h 10000"/>
                  <a:gd name="connsiteX129" fmla="*/ 4213 w 10000"/>
                  <a:gd name="connsiteY129" fmla="*/ 2370 h 10000"/>
                  <a:gd name="connsiteX130" fmla="*/ 4128 w 10000"/>
                  <a:gd name="connsiteY130" fmla="*/ 2703 h 10000"/>
                  <a:gd name="connsiteX131" fmla="*/ 5043 w 10000"/>
                  <a:gd name="connsiteY131" fmla="*/ 3243 h 10000"/>
                  <a:gd name="connsiteX132" fmla="*/ 5532 w 10000"/>
                  <a:gd name="connsiteY132" fmla="*/ 3243 h 10000"/>
                  <a:gd name="connsiteX133" fmla="*/ 5574 w 10000"/>
                  <a:gd name="connsiteY133" fmla="*/ 3243 h 10000"/>
                  <a:gd name="connsiteX134" fmla="*/ 5745 w 10000"/>
                  <a:gd name="connsiteY134" fmla="*/ 3451 h 10000"/>
                  <a:gd name="connsiteX135" fmla="*/ 6532 w 10000"/>
                  <a:gd name="connsiteY135" fmla="*/ 3617 h 10000"/>
                  <a:gd name="connsiteX136" fmla="*/ 6766 w 10000"/>
                  <a:gd name="connsiteY136" fmla="*/ 3576 h 10000"/>
                  <a:gd name="connsiteX137" fmla="*/ 6809 w 10000"/>
                  <a:gd name="connsiteY137" fmla="*/ 3493 h 10000"/>
                  <a:gd name="connsiteX138" fmla="*/ 6745 w 10000"/>
                  <a:gd name="connsiteY138" fmla="*/ 3430 h 10000"/>
                  <a:gd name="connsiteX139" fmla="*/ 6745 w 10000"/>
                  <a:gd name="connsiteY139" fmla="*/ 3389 h 10000"/>
                  <a:gd name="connsiteX140" fmla="*/ 6766 w 10000"/>
                  <a:gd name="connsiteY140" fmla="*/ 3347 h 10000"/>
                  <a:gd name="connsiteX141" fmla="*/ 6830 w 10000"/>
                  <a:gd name="connsiteY141" fmla="*/ 3077 h 10000"/>
                  <a:gd name="connsiteX142" fmla="*/ 6830 w 10000"/>
                  <a:gd name="connsiteY142" fmla="*/ 3035 h 10000"/>
                  <a:gd name="connsiteX143" fmla="*/ 7043 w 10000"/>
                  <a:gd name="connsiteY143" fmla="*/ 2973 h 10000"/>
                  <a:gd name="connsiteX144" fmla="*/ 7043 w 10000"/>
                  <a:gd name="connsiteY144" fmla="*/ 2973 h 10000"/>
                  <a:gd name="connsiteX145" fmla="*/ 7043 w 10000"/>
                  <a:gd name="connsiteY145" fmla="*/ 2973 h 10000"/>
                  <a:gd name="connsiteX146" fmla="*/ 7085 w 10000"/>
                  <a:gd name="connsiteY146" fmla="*/ 3015 h 10000"/>
                  <a:gd name="connsiteX147" fmla="*/ 7085 w 10000"/>
                  <a:gd name="connsiteY147" fmla="*/ 3222 h 10000"/>
                  <a:gd name="connsiteX148" fmla="*/ 7106 w 10000"/>
                  <a:gd name="connsiteY148" fmla="*/ 3243 h 10000"/>
                  <a:gd name="connsiteX149" fmla="*/ 7149 w 10000"/>
                  <a:gd name="connsiteY149" fmla="*/ 3285 h 10000"/>
                  <a:gd name="connsiteX150" fmla="*/ 7149 w 10000"/>
                  <a:gd name="connsiteY150" fmla="*/ 3285 h 10000"/>
                  <a:gd name="connsiteX151" fmla="*/ 7085 w 10000"/>
                  <a:gd name="connsiteY151" fmla="*/ 3347 h 10000"/>
                  <a:gd name="connsiteX152" fmla="*/ 7106 w 10000"/>
                  <a:gd name="connsiteY152" fmla="*/ 3430 h 10000"/>
                  <a:gd name="connsiteX153" fmla="*/ 7362 w 10000"/>
                  <a:gd name="connsiteY153" fmla="*/ 3493 h 10000"/>
                  <a:gd name="connsiteX154" fmla="*/ 8128 w 10000"/>
                  <a:gd name="connsiteY154" fmla="*/ 3389 h 10000"/>
                  <a:gd name="connsiteX155" fmla="*/ 8191 w 10000"/>
                  <a:gd name="connsiteY155" fmla="*/ 3285 h 10000"/>
                  <a:gd name="connsiteX156" fmla="*/ 8064 w 10000"/>
                  <a:gd name="connsiteY156" fmla="*/ 3222 h 10000"/>
                  <a:gd name="connsiteX157" fmla="*/ 8043 w 10000"/>
                  <a:gd name="connsiteY157" fmla="*/ 3181 h 10000"/>
                  <a:gd name="connsiteX158" fmla="*/ 8043 w 10000"/>
                  <a:gd name="connsiteY158" fmla="*/ 3098 h 10000"/>
                  <a:gd name="connsiteX159" fmla="*/ 8064 w 10000"/>
                  <a:gd name="connsiteY159" fmla="*/ 3077 h 10000"/>
                  <a:gd name="connsiteX160" fmla="*/ 8489 w 10000"/>
                  <a:gd name="connsiteY160" fmla="*/ 2911 h 10000"/>
                  <a:gd name="connsiteX161" fmla="*/ 9021 w 10000"/>
                  <a:gd name="connsiteY161" fmla="*/ 2516 h 10000"/>
                  <a:gd name="connsiteX162" fmla="*/ 9021 w 10000"/>
                  <a:gd name="connsiteY162" fmla="*/ 2516 h 10000"/>
                  <a:gd name="connsiteX163" fmla="*/ 9255 w 10000"/>
                  <a:gd name="connsiteY163" fmla="*/ 2557 h 10000"/>
                  <a:gd name="connsiteX164" fmla="*/ 9511 w 10000"/>
                  <a:gd name="connsiteY164" fmla="*/ 2432 h 10000"/>
                  <a:gd name="connsiteX165" fmla="*/ 9511 w 10000"/>
                  <a:gd name="connsiteY165" fmla="*/ 2432 h 10000"/>
                  <a:gd name="connsiteX166" fmla="*/ 9553 w 10000"/>
                  <a:gd name="connsiteY166" fmla="*/ 2432 h 10000"/>
                  <a:gd name="connsiteX167" fmla="*/ 9553 w 10000"/>
                  <a:gd name="connsiteY167" fmla="*/ 2474 h 10000"/>
                  <a:gd name="connsiteX168" fmla="*/ 9596 w 10000"/>
                  <a:gd name="connsiteY168" fmla="*/ 2620 h 10000"/>
                  <a:gd name="connsiteX169" fmla="*/ 9660 w 10000"/>
                  <a:gd name="connsiteY169" fmla="*/ 2640 h 10000"/>
                  <a:gd name="connsiteX170" fmla="*/ 9660 w 10000"/>
                  <a:gd name="connsiteY170" fmla="*/ 2682 h 10000"/>
                  <a:gd name="connsiteX171" fmla="*/ 9638 w 10000"/>
                  <a:gd name="connsiteY171" fmla="*/ 2827 h 10000"/>
                  <a:gd name="connsiteX172" fmla="*/ 9872 w 10000"/>
                  <a:gd name="connsiteY172" fmla="*/ 2848 h 10000"/>
                  <a:gd name="connsiteX173" fmla="*/ 9979 w 10000"/>
                  <a:gd name="connsiteY173" fmla="*/ 2952 h 10000"/>
                  <a:gd name="connsiteX174" fmla="*/ 10000 w 10000"/>
                  <a:gd name="connsiteY174" fmla="*/ 2973 h 10000"/>
                  <a:gd name="connsiteX175" fmla="*/ 10000 w 10000"/>
                  <a:gd name="connsiteY175" fmla="*/ 3035 h 10000"/>
                  <a:gd name="connsiteX176" fmla="*/ 9979 w 10000"/>
                  <a:gd name="connsiteY176" fmla="*/ 3077 h 10000"/>
                  <a:gd name="connsiteX177" fmla="*/ 9915 w 10000"/>
                  <a:gd name="connsiteY177" fmla="*/ 3098 h 10000"/>
                  <a:gd name="connsiteX178" fmla="*/ 9872 w 10000"/>
                  <a:gd name="connsiteY178" fmla="*/ 3306 h 10000"/>
                  <a:gd name="connsiteX179" fmla="*/ 9851 w 10000"/>
                  <a:gd name="connsiteY179" fmla="*/ 3347 h 10000"/>
                  <a:gd name="connsiteX180" fmla="*/ 9574 w 10000"/>
                  <a:gd name="connsiteY180" fmla="*/ 3347 h 10000"/>
                  <a:gd name="connsiteX181" fmla="*/ 9298 w 10000"/>
                  <a:gd name="connsiteY181" fmla="*/ 3617 h 10000"/>
                  <a:gd name="connsiteX182" fmla="*/ 9255 w 10000"/>
                  <a:gd name="connsiteY182" fmla="*/ 3846 h 10000"/>
                  <a:gd name="connsiteX183" fmla="*/ 9085 w 10000"/>
                  <a:gd name="connsiteY183" fmla="*/ 4054 h 10000"/>
                  <a:gd name="connsiteX184" fmla="*/ 8936 w 10000"/>
                  <a:gd name="connsiteY184" fmla="*/ 4511 h 10000"/>
                  <a:gd name="connsiteX185" fmla="*/ 8894 w 10000"/>
                  <a:gd name="connsiteY185" fmla="*/ 4511 h 10000"/>
                  <a:gd name="connsiteX186" fmla="*/ 8617 w 10000"/>
                  <a:gd name="connsiteY186" fmla="*/ 4595 h 10000"/>
                  <a:gd name="connsiteX187" fmla="*/ 8617 w 10000"/>
                  <a:gd name="connsiteY187" fmla="*/ 4865 h 10000"/>
                  <a:gd name="connsiteX188" fmla="*/ 8596 w 10000"/>
                  <a:gd name="connsiteY188" fmla="*/ 4906 h 10000"/>
                  <a:gd name="connsiteX189" fmla="*/ 8532 w 10000"/>
                  <a:gd name="connsiteY189" fmla="*/ 4906 h 10000"/>
                  <a:gd name="connsiteX190" fmla="*/ 8489 w 10000"/>
                  <a:gd name="connsiteY190" fmla="*/ 4969 h 10000"/>
                  <a:gd name="connsiteX191" fmla="*/ 8553 w 10000"/>
                  <a:gd name="connsiteY191" fmla="*/ 5135 h 10000"/>
                  <a:gd name="connsiteX192" fmla="*/ 8553 w 10000"/>
                  <a:gd name="connsiteY192" fmla="*/ 5177 h 10000"/>
                  <a:gd name="connsiteX193" fmla="*/ 8362 w 10000"/>
                  <a:gd name="connsiteY193" fmla="*/ 5260 h 10000"/>
                  <a:gd name="connsiteX194" fmla="*/ 8362 w 10000"/>
                  <a:gd name="connsiteY194" fmla="*/ 5260 h 10000"/>
                  <a:gd name="connsiteX195" fmla="*/ 8362 w 10000"/>
                  <a:gd name="connsiteY195" fmla="*/ 5260 h 10000"/>
                  <a:gd name="connsiteX196" fmla="*/ 8340 w 10000"/>
                  <a:gd name="connsiteY196" fmla="*/ 5239 h 10000"/>
                  <a:gd name="connsiteX197" fmla="*/ 8191 w 10000"/>
                  <a:gd name="connsiteY197" fmla="*/ 4636 h 10000"/>
                  <a:gd name="connsiteX198" fmla="*/ 8043 w 10000"/>
                  <a:gd name="connsiteY198" fmla="*/ 4844 h 10000"/>
                  <a:gd name="connsiteX199" fmla="*/ 8043 w 10000"/>
                  <a:gd name="connsiteY199" fmla="*/ 4844 h 10000"/>
                  <a:gd name="connsiteX200" fmla="*/ 8043 w 10000"/>
                  <a:gd name="connsiteY200" fmla="*/ 4844 h 10000"/>
                  <a:gd name="connsiteX201" fmla="*/ 8000 w 10000"/>
                  <a:gd name="connsiteY201" fmla="*/ 4844 h 10000"/>
                  <a:gd name="connsiteX202" fmla="*/ 7872 w 10000"/>
                  <a:gd name="connsiteY202" fmla="*/ 4761 h 10000"/>
                  <a:gd name="connsiteX203" fmla="*/ 7787 w 10000"/>
                  <a:gd name="connsiteY203" fmla="*/ 4511 h 10000"/>
                  <a:gd name="connsiteX204" fmla="*/ 7809 w 10000"/>
                  <a:gd name="connsiteY204" fmla="*/ 4511 h 10000"/>
                  <a:gd name="connsiteX205" fmla="*/ 8191 w 10000"/>
                  <a:gd name="connsiteY205" fmla="*/ 4096 h 10000"/>
                  <a:gd name="connsiteX206" fmla="*/ 7468 w 10000"/>
                  <a:gd name="connsiteY206" fmla="*/ 4033 h 10000"/>
                  <a:gd name="connsiteX207" fmla="*/ 7362 w 10000"/>
                  <a:gd name="connsiteY207" fmla="*/ 3950 h 10000"/>
                  <a:gd name="connsiteX208" fmla="*/ 7298 w 10000"/>
                  <a:gd name="connsiteY208" fmla="*/ 3721 h 10000"/>
                  <a:gd name="connsiteX209" fmla="*/ 7298 w 10000"/>
                  <a:gd name="connsiteY209" fmla="*/ 3763 h 10000"/>
                  <a:gd name="connsiteX210" fmla="*/ 7255 w 10000"/>
                  <a:gd name="connsiteY210" fmla="*/ 3763 h 10000"/>
                  <a:gd name="connsiteX211" fmla="*/ 7170 w 10000"/>
                  <a:gd name="connsiteY211" fmla="*/ 3763 h 10000"/>
                  <a:gd name="connsiteX212" fmla="*/ 7170 w 10000"/>
                  <a:gd name="connsiteY212" fmla="*/ 3763 h 10000"/>
                  <a:gd name="connsiteX213" fmla="*/ 7106 w 10000"/>
                  <a:gd name="connsiteY213" fmla="*/ 3638 h 10000"/>
                  <a:gd name="connsiteX214" fmla="*/ 7043 w 10000"/>
                  <a:gd name="connsiteY214" fmla="*/ 3721 h 10000"/>
                  <a:gd name="connsiteX215" fmla="*/ 7043 w 10000"/>
                  <a:gd name="connsiteY215" fmla="*/ 3721 h 10000"/>
                  <a:gd name="connsiteX216" fmla="*/ 7043 w 10000"/>
                  <a:gd name="connsiteY216" fmla="*/ 3721 h 10000"/>
                  <a:gd name="connsiteX217" fmla="*/ 7021 w 10000"/>
                  <a:gd name="connsiteY217" fmla="*/ 3721 h 10000"/>
                  <a:gd name="connsiteX218" fmla="*/ 6957 w 10000"/>
                  <a:gd name="connsiteY218" fmla="*/ 3617 h 10000"/>
                  <a:gd name="connsiteX219" fmla="*/ 6830 w 10000"/>
                  <a:gd name="connsiteY219" fmla="*/ 3825 h 10000"/>
                  <a:gd name="connsiteX220" fmla="*/ 6872 w 10000"/>
                  <a:gd name="connsiteY220" fmla="*/ 3888 h 10000"/>
                  <a:gd name="connsiteX221" fmla="*/ 6979 w 10000"/>
                  <a:gd name="connsiteY221" fmla="*/ 3909 h 10000"/>
                  <a:gd name="connsiteX222" fmla="*/ 7021 w 10000"/>
                  <a:gd name="connsiteY222" fmla="*/ 3909 h 10000"/>
                  <a:gd name="connsiteX223" fmla="*/ 7021 w 10000"/>
                  <a:gd name="connsiteY223" fmla="*/ 4033 h 10000"/>
                  <a:gd name="connsiteX224" fmla="*/ 7021 w 10000"/>
                  <a:gd name="connsiteY224" fmla="*/ 4054 h 10000"/>
                  <a:gd name="connsiteX225" fmla="*/ 7021 w 10000"/>
                  <a:gd name="connsiteY225" fmla="*/ 4054 h 10000"/>
                  <a:gd name="connsiteX226" fmla="*/ 6894 w 10000"/>
                  <a:gd name="connsiteY226" fmla="*/ 4054 h 10000"/>
                  <a:gd name="connsiteX227" fmla="*/ 6766 w 10000"/>
                  <a:gd name="connsiteY227" fmla="*/ 4220 h 10000"/>
                  <a:gd name="connsiteX228" fmla="*/ 6979 w 10000"/>
                  <a:gd name="connsiteY228" fmla="*/ 4366 h 10000"/>
                  <a:gd name="connsiteX229" fmla="*/ 6979 w 10000"/>
                  <a:gd name="connsiteY229" fmla="*/ 4387 h 10000"/>
                  <a:gd name="connsiteX230" fmla="*/ 6957 w 10000"/>
                  <a:gd name="connsiteY230" fmla="*/ 4595 h 10000"/>
                  <a:gd name="connsiteX231" fmla="*/ 7106 w 10000"/>
                  <a:gd name="connsiteY231" fmla="*/ 5322 h 10000"/>
                  <a:gd name="connsiteX232" fmla="*/ 7106 w 10000"/>
                  <a:gd name="connsiteY232" fmla="*/ 5364 h 10000"/>
                  <a:gd name="connsiteX233" fmla="*/ 7043 w 10000"/>
                  <a:gd name="connsiteY233" fmla="*/ 5385 h 10000"/>
                  <a:gd name="connsiteX234" fmla="*/ 7043 w 10000"/>
                  <a:gd name="connsiteY234" fmla="*/ 5385 h 10000"/>
                  <a:gd name="connsiteX235" fmla="*/ 7021 w 10000"/>
                  <a:gd name="connsiteY235" fmla="*/ 5364 h 10000"/>
                  <a:gd name="connsiteX236" fmla="*/ 7021 w 10000"/>
                  <a:gd name="connsiteY236" fmla="*/ 5364 h 10000"/>
                  <a:gd name="connsiteX237" fmla="*/ 7021 w 10000"/>
                  <a:gd name="connsiteY237" fmla="*/ 5364 h 10000"/>
                  <a:gd name="connsiteX238" fmla="*/ 6894 w 10000"/>
                  <a:gd name="connsiteY238" fmla="*/ 5426 h 10000"/>
                  <a:gd name="connsiteX239" fmla="*/ 6872 w 10000"/>
                  <a:gd name="connsiteY239" fmla="*/ 5426 h 10000"/>
                  <a:gd name="connsiteX240" fmla="*/ 6872 w 10000"/>
                  <a:gd name="connsiteY240" fmla="*/ 5426 h 10000"/>
                  <a:gd name="connsiteX241" fmla="*/ 6872 w 10000"/>
                  <a:gd name="connsiteY241" fmla="*/ 5385 h 10000"/>
                  <a:gd name="connsiteX242" fmla="*/ 6809 w 10000"/>
                  <a:gd name="connsiteY242" fmla="*/ 5198 h 10000"/>
                  <a:gd name="connsiteX243" fmla="*/ 6766 w 10000"/>
                  <a:gd name="connsiteY243" fmla="*/ 5301 h 10000"/>
                  <a:gd name="connsiteX244" fmla="*/ 6468 w 10000"/>
                  <a:gd name="connsiteY244" fmla="*/ 5447 h 10000"/>
                  <a:gd name="connsiteX245" fmla="*/ 6468 w 10000"/>
                  <a:gd name="connsiteY245" fmla="*/ 5696 h 10000"/>
                  <a:gd name="connsiteX246" fmla="*/ 6468 w 10000"/>
                  <a:gd name="connsiteY246" fmla="*/ 5696 h 10000"/>
                  <a:gd name="connsiteX247" fmla="*/ 6213 w 10000"/>
                  <a:gd name="connsiteY247" fmla="*/ 5925 h 10000"/>
                  <a:gd name="connsiteX248" fmla="*/ 5745 w 10000"/>
                  <a:gd name="connsiteY248" fmla="*/ 6175 h 10000"/>
                  <a:gd name="connsiteX249" fmla="*/ 5511 w 10000"/>
                  <a:gd name="connsiteY249" fmla="*/ 6507 h 10000"/>
                  <a:gd name="connsiteX250" fmla="*/ 4894 w 10000"/>
                  <a:gd name="connsiteY250" fmla="*/ 6985 h 10000"/>
                  <a:gd name="connsiteX251" fmla="*/ 4787 w 10000"/>
                  <a:gd name="connsiteY251" fmla="*/ 7131 h 10000"/>
                  <a:gd name="connsiteX252" fmla="*/ 4787 w 10000"/>
                  <a:gd name="connsiteY252" fmla="*/ 7131 h 10000"/>
                  <a:gd name="connsiteX253" fmla="*/ 4489 w 10000"/>
                  <a:gd name="connsiteY253" fmla="*/ 7214 h 10000"/>
                  <a:gd name="connsiteX254" fmla="*/ 4362 w 10000"/>
                  <a:gd name="connsiteY254" fmla="*/ 7401 h 10000"/>
                  <a:gd name="connsiteX255" fmla="*/ 4362 w 10000"/>
                  <a:gd name="connsiteY255" fmla="*/ 7443 h 10000"/>
                  <a:gd name="connsiteX256" fmla="*/ 4191 w 10000"/>
                  <a:gd name="connsiteY256" fmla="*/ 7443 h 10000"/>
                  <a:gd name="connsiteX257" fmla="*/ 4085 w 10000"/>
                  <a:gd name="connsiteY257" fmla="*/ 7547 h 10000"/>
                  <a:gd name="connsiteX258" fmla="*/ 4128 w 10000"/>
                  <a:gd name="connsiteY258" fmla="*/ 8129 h 10000"/>
                  <a:gd name="connsiteX259" fmla="*/ 4191 w 10000"/>
                  <a:gd name="connsiteY259" fmla="*/ 8254 h 10000"/>
                  <a:gd name="connsiteX260" fmla="*/ 4191 w 10000"/>
                  <a:gd name="connsiteY260" fmla="*/ 8274 h 10000"/>
                  <a:gd name="connsiteX261" fmla="*/ 4021 w 10000"/>
                  <a:gd name="connsiteY261" fmla="*/ 8794 h 10000"/>
                  <a:gd name="connsiteX262" fmla="*/ 4021 w 10000"/>
                  <a:gd name="connsiteY262" fmla="*/ 9210 h 10000"/>
                  <a:gd name="connsiteX263" fmla="*/ 4021 w 10000"/>
                  <a:gd name="connsiteY263" fmla="*/ 9231 h 10000"/>
                  <a:gd name="connsiteX264" fmla="*/ 4021 w 10000"/>
                  <a:gd name="connsiteY264" fmla="*/ 9231 h 10000"/>
                  <a:gd name="connsiteX265" fmla="*/ 3851 w 10000"/>
                  <a:gd name="connsiteY265" fmla="*/ 9231 h 10000"/>
                  <a:gd name="connsiteX266" fmla="*/ 3745 w 10000"/>
                  <a:gd name="connsiteY266" fmla="*/ 9480 h 10000"/>
                  <a:gd name="connsiteX267" fmla="*/ 3745 w 10000"/>
                  <a:gd name="connsiteY267" fmla="*/ 9563 h 10000"/>
                  <a:gd name="connsiteX268" fmla="*/ 3723 w 10000"/>
                  <a:gd name="connsiteY268" fmla="*/ 9563 h 10000"/>
                  <a:gd name="connsiteX269" fmla="*/ 3468 w 10000"/>
                  <a:gd name="connsiteY269" fmla="*/ 9667 h 10000"/>
                  <a:gd name="connsiteX270" fmla="*/ 3447 w 10000"/>
                  <a:gd name="connsiteY270" fmla="*/ 9834 h 10000"/>
                  <a:gd name="connsiteX271" fmla="*/ 3298 w 10000"/>
                  <a:gd name="connsiteY271" fmla="*/ 10000 h 10000"/>
                  <a:gd name="connsiteX272" fmla="*/ 3255 w 10000"/>
                  <a:gd name="connsiteY272" fmla="*/ 10000 h 10000"/>
                  <a:gd name="connsiteX273" fmla="*/ 3170 w 10000"/>
                  <a:gd name="connsiteY273" fmla="*/ 10000 h 10000"/>
                  <a:gd name="connsiteX0" fmla="*/ 3170 w 10000"/>
                  <a:gd name="connsiteY0" fmla="*/ 10000 h 10000"/>
                  <a:gd name="connsiteX1" fmla="*/ 3170 w 10000"/>
                  <a:gd name="connsiteY1" fmla="*/ 9958 h 10000"/>
                  <a:gd name="connsiteX2" fmla="*/ 2915 w 10000"/>
                  <a:gd name="connsiteY2" fmla="*/ 9688 h 10000"/>
                  <a:gd name="connsiteX3" fmla="*/ 2617 w 10000"/>
                  <a:gd name="connsiteY3" fmla="*/ 8857 h 10000"/>
                  <a:gd name="connsiteX4" fmla="*/ 2404 w 10000"/>
                  <a:gd name="connsiteY4" fmla="*/ 8586 h 10000"/>
                  <a:gd name="connsiteX5" fmla="*/ 2277 w 10000"/>
                  <a:gd name="connsiteY5" fmla="*/ 8129 h 10000"/>
                  <a:gd name="connsiteX6" fmla="*/ 2021 w 10000"/>
                  <a:gd name="connsiteY6" fmla="*/ 7672 h 10000"/>
                  <a:gd name="connsiteX7" fmla="*/ 2000 w 10000"/>
                  <a:gd name="connsiteY7" fmla="*/ 7484 h 10000"/>
                  <a:gd name="connsiteX8" fmla="*/ 1957 w 10000"/>
                  <a:gd name="connsiteY8" fmla="*/ 7484 h 10000"/>
                  <a:gd name="connsiteX9" fmla="*/ 1936 w 10000"/>
                  <a:gd name="connsiteY9" fmla="*/ 7526 h 10000"/>
                  <a:gd name="connsiteX10" fmla="*/ 1936 w 10000"/>
                  <a:gd name="connsiteY10" fmla="*/ 7526 h 10000"/>
                  <a:gd name="connsiteX11" fmla="*/ 1936 w 10000"/>
                  <a:gd name="connsiteY11" fmla="*/ 7484 h 10000"/>
                  <a:gd name="connsiteX12" fmla="*/ 1872 w 10000"/>
                  <a:gd name="connsiteY12" fmla="*/ 7380 h 10000"/>
                  <a:gd name="connsiteX13" fmla="*/ 1745 w 10000"/>
                  <a:gd name="connsiteY13" fmla="*/ 7131 h 10000"/>
                  <a:gd name="connsiteX14" fmla="*/ 1596 w 10000"/>
                  <a:gd name="connsiteY14" fmla="*/ 6466 h 10000"/>
                  <a:gd name="connsiteX15" fmla="*/ 1617 w 10000"/>
                  <a:gd name="connsiteY15" fmla="*/ 6258 h 10000"/>
                  <a:gd name="connsiteX16" fmla="*/ 1596 w 10000"/>
                  <a:gd name="connsiteY16" fmla="*/ 6258 h 10000"/>
                  <a:gd name="connsiteX17" fmla="*/ 1596 w 10000"/>
                  <a:gd name="connsiteY17" fmla="*/ 6258 h 10000"/>
                  <a:gd name="connsiteX18" fmla="*/ 1532 w 10000"/>
                  <a:gd name="connsiteY18" fmla="*/ 6008 h 10000"/>
                  <a:gd name="connsiteX19" fmla="*/ 1596 w 10000"/>
                  <a:gd name="connsiteY19" fmla="*/ 5738 h 10000"/>
                  <a:gd name="connsiteX20" fmla="*/ 1468 w 10000"/>
                  <a:gd name="connsiteY20" fmla="*/ 5239 h 10000"/>
                  <a:gd name="connsiteX21" fmla="*/ 1468 w 10000"/>
                  <a:gd name="connsiteY21" fmla="*/ 5239 h 10000"/>
                  <a:gd name="connsiteX22" fmla="*/ 1596 w 10000"/>
                  <a:gd name="connsiteY22" fmla="*/ 5114 h 10000"/>
                  <a:gd name="connsiteX23" fmla="*/ 1447 w 10000"/>
                  <a:gd name="connsiteY23" fmla="*/ 5094 h 10000"/>
                  <a:gd name="connsiteX24" fmla="*/ 1319 w 10000"/>
                  <a:gd name="connsiteY24" fmla="*/ 5509 h 10000"/>
                  <a:gd name="connsiteX25" fmla="*/ 1319 w 10000"/>
                  <a:gd name="connsiteY25" fmla="*/ 5530 h 10000"/>
                  <a:gd name="connsiteX26" fmla="*/ 1064 w 10000"/>
                  <a:gd name="connsiteY26" fmla="*/ 5634 h 10000"/>
                  <a:gd name="connsiteX27" fmla="*/ 830 w 10000"/>
                  <a:gd name="connsiteY27" fmla="*/ 5634 h 10000"/>
                  <a:gd name="connsiteX28" fmla="*/ 787 w 10000"/>
                  <a:gd name="connsiteY28" fmla="*/ 5634 h 10000"/>
                  <a:gd name="connsiteX29" fmla="*/ 298 w 10000"/>
                  <a:gd name="connsiteY29" fmla="*/ 5177 h 10000"/>
                  <a:gd name="connsiteX30" fmla="*/ 298 w 10000"/>
                  <a:gd name="connsiteY30" fmla="*/ 5094 h 10000"/>
                  <a:gd name="connsiteX31" fmla="*/ 298 w 10000"/>
                  <a:gd name="connsiteY31" fmla="*/ 5094 h 10000"/>
                  <a:gd name="connsiteX32" fmla="*/ 298 w 10000"/>
                  <a:gd name="connsiteY32" fmla="*/ 5052 h 10000"/>
                  <a:gd name="connsiteX33" fmla="*/ 638 w 10000"/>
                  <a:gd name="connsiteY33" fmla="*/ 5031 h 10000"/>
                  <a:gd name="connsiteX34" fmla="*/ 723 w 10000"/>
                  <a:gd name="connsiteY34" fmla="*/ 4927 h 10000"/>
                  <a:gd name="connsiteX35" fmla="*/ 766 w 10000"/>
                  <a:gd name="connsiteY35" fmla="*/ 4823 h 10000"/>
                  <a:gd name="connsiteX36" fmla="*/ 574 w 10000"/>
                  <a:gd name="connsiteY36" fmla="*/ 4906 h 10000"/>
                  <a:gd name="connsiteX37" fmla="*/ 298 w 10000"/>
                  <a:gd name="connsiteY37" fmla="*/ 4906 h 10000"/>
                  <a:gd name="connsiteX38" fmla="*/ 298 w 10000"/>
                  <a:gd name="connsiteY38" fmla="*/ 4906 h 10000"/>
                  <a:gd name="connsiteX39" fmla="*/ 0 w 10000"/>
                  <a:gd name="connsiteY39" fmla="*/ 4574 h 10000"/>
                  <a:gd name="connsiteX40" fmla="*/ 0 w 10000"/>
                  <a:gd name="connsiteY40" fmla="*/ 4574 h 10000"/>
                  <a:gd name="connsiteX41" fmla="*/ 0 w 10000"/>
                  <a:gd name="connsiteY41" fmla="*/ 4553 h 10000"/>
                  <a:gd name="connsiteX42" fmla="*/ 85 w 10000"/>
                  <a:gd name="connsiteY42" fmla="*/ 4491 h 10000"/>
                  <a:gd name="connsiteX43" fmla="*/ 277 w 10000"/>
                  <a:gd name="connsiteY43" fmla="*/ 4491 h 10000"/>
                  <a:gd name="connsiteX44" fmla="*/ 277 w 10000"/>
                  <a:gd name="connsiteY44" fmla="*/ 4324 h 10000"/>
                  <a:gd name="connsiteX45" fmla="*/ 277 w 10000"/>
                  <a:gd name="connsiteY45" fmla="*/ 4324 h 10000"/>
                  <a:gd name="connsiteX46" fmla="*/ 298 w 10000"/>
                  <a:gd name="connsiteY46" fmla="*/ 4324 h 10000"/>
                  <a:gd name="connsiteX47" fmla="*/ 298 w 10000"/>
                  <a:gd name="connsiteY47" fmla="*/ 4324 h 10000"/>
                  <a:gd name="connsiteX48" fmla="*/ 702 w 10000"/>
                  <a:gd name="connsiteY48" fmla="*/ 4428 h 10000"/>
                  <a:gd name="connsiteX49" fmla="*/ 830 w 10000"/>
                  <a:gd name="connsiteY49" fmla="*/ 4304 h 10000"/>
                  <a:gd name="connsiteX50" fmla="*/ 851 w 10000"/>
                  <a:gd name="connsiteY50" fmla="*/ 4304 h 10000"/>
                  <a:gd name="connsiteX51" fmla="*/ 851 w 10000"/>
                  <a:gd name="connsiteY51" fmla="*/ 4304 h 10000"/>
                  <a:gd name="connsiteX52" fmla="*/ 936 w 10000"/>
                  <a:gd name="connsiteY52" fmla="*/ 4387 h 10000"/>
                  <a:gd name="connsiteX53" fmla="*/ 1043 w 10000"/>
                  <a:gd name="connsiteY53" fmla="*/ 4324 h 10000"/>
                  <a:gd name="connsiteX54" fmla="*/ 894 w 10000"/>
                  <a:gd name="connsiteY54" fmla="*/ 3909 h 10000"/>
                  <a:gd name="connsiteX55" fmla="*/ 702 w 10000"/>
                  <a:gd name="connsiteY55" fmla="*/ 3825 h 10000"/>
                  <a:gd name="connsiteX56" fmla="*/ 702 w 10000"/>
                  <a:gd name="connsiteY56" fmla="*/ 3784 h 10000"/>
                  <a:gd name="connsiteX57" fmla="*/ 723 w 10000"/>
                  <a:gd name="connsiteY57" fmla="*/ 3617 h 10000"/>
                  <a:gd name="connsiteX58" fmla="*/ 511 w 10000"/>
                  <a:gd name="connsiteY58" fmla="*/ 3555 h 10000"/>
                  <a:gd name="connsiteX59" fmla="*/ 511 w 10000"/>
                  <a:gd name="connsiteY59" fmla="*/ 3555 h 10000"/>
                  <a:gd name="connsiteX60" fmla="*/ 489 w 10000"/>
                  <a:gd name="connsiteY60" fmla="*/ 3514 h 10000"/>
                  <a:gd name="connsiteX61" fmla="*/ 553 w 10000"/>
                  <a:gd name="connsiteY61" fmla="*/ 3368 h 10000"/>
                  <a:gd name="connsiteX62" fmla="*/ 830 w 10000"/>
                  <a:gd name="connsiteY62" fmla="*/ 2973 h 10000"/>
                  <a:gd name="connsiteX63" fmla="*/ 851 w 10000"/>
                  <a:gd name="connsiteY63" fmla="*/ 2973 h 10000"/>
                  <a:gd name="connsiteX64" fmla="*/ 851 w 10000"/>
                  <a:gd name="connsiteY64" fmla="*/ 2973 h 10000"/>
                  <a:gd name="connsiteX65" fmla="*/ 851 w 10000"/>
                  <a:gd name="connsiteY65" fmla="*/ 2973 h 10000"/>
                  <a:gd name="connsiteX66" fmla="*/ 979 w 10000"/>
                  <a:gd name="connsiteY66" fmla="*/ 3098 h 10000"/>
                  <a:gd name="connsiteX67" fmla="*/ 1277 w 10000"/>
                  <a:gd name="connsiteY67" fmla="*/ 3035 h 10000"/>
                  <a:gd name="connsiteX68" fmla="*/ 1468 w 10000"/>
                  <a:gd name="connsiteY68" fmla="*/ 2765 h 10000"/>
                  <a:gd name="connsiteX69" fmla="*/ 1660 w 10000"/>
                  <a:gd name="connsiteY69" fmla="*/ 2620 h 10000"/>
                  <a:gd name="connsiteX70" fmla="*/ 1830 w 10000"/>
                  <a:gd name="connsiteY70" fmla="*/ 2287 h 10000"/>
                  <a:gd name="connsiteX71" fmla="*/ 1957 w 10000"/>
                  <a:gd name="connsiteY71" fmla="*/ 2245 h 10000"/>
                  <a:gd name="connsiteX72" fmla="*/ 2000 w 10000"/>
                  <a:gd name="connsiteY72" fmla="*/ 2204 h 10000"/>
                  <a:gd name="connsiteX73" fmla="*/ 2170 w 10000"/>
                  <a:gd name="connsiteY73" fmla="*/ 2079 h 10000"/>
                  <a:gd name="connsiteX74" fmla="*/ 2404 w 10000"/>
                  <a:gd name="connsiteY74" fmla="*/ 1975 h 10000"/>
                  <a:gd name="connsiteX75" fmla="*/ 2511 w 10000"/>
                  <a:gd name="connsiteY75" fmla="*/ 1954 h 10000"/>
                  <a:gd name="connsiteX76" fmla="*/ 2511 w 10000"/>
                  <a:gd name="connsiteY76" fmla="*/ 1892 h 10000"/>
                  <a:gd name="connsiteX77" fmla="*/ 2574 w 10000"/>
                  <a:gd name="connsiteY77" fmla="*/ 1892 h 10000"/>
                  <a:gd name="connsiteX78" fmla="*/ 2638 w 10000"/>
                  <a:gd name="connsiteY78" fmla="*/ 1809 h 10000"/>
                  <a:gd name="connsiteX79" fmla="*/ 2681 w 10000"/>
                  <a:gd name="connsiteY79" fmla="*/ 1559 h 10000"/>
                  <a:gd name="connsiteX80" fmla="*/ 2702 w 10000"/>
                  <a:gd name="connsiteY80" fmla="*/ 1372 h 10000"/>
                  <a:gd name="connsiteX81" fmla="*/ 2574 w 10000"/>
                  <a:gd name="connsiteY81" fmla="*/ 1435 h 10000"/>
                  <a:gd name="connsiteX82" fmla="*/ 2489 w 10000"/>
                  <a:gd name="connsiteY82" fmla="*/ 1414 h 10000"/>
                  <a:gd name="connsiteX83" fmla="*/ 2447 w 10000"/>
                  <a:gd name="connsiteY83" fmla="*/ 1331 h 10000"/>
                  <a:gd name="connsiteX84" fmla="*/ 2447 w 10000"/>
                  <a:gd name="connsiteY84" fmla="*/ 1331 h 10000"/>
                  <a:gd name="connsiteX85" fmla="*/ 2426 w 10000"/>
                  <a:gd name="connsiteY85" fmla="*/ 1268 h 10000"/>
                  <a:gd name="connsiteX86" fmla="*/ 2404 w 10000"/>
                  <a:gd name="connsiteY86" fmla="*/ 1206 h 10000"/>
                  <a:gd name="connsiteX87" fmla="*/ 2426 w 10000"/>
                  <a:gd name="connsiteY87" fmla="*/ 1102 h 10000"/>
                  <a:gd name="connsiteX88" fmla="*/ 2511 w 10000"/>
                  <a:gd name="connsiteY88" fmla="*/ 1019 h 10000"/>
                  <a:gd name="connsiteX89" fmla="*/ 2617 w 10000"/>
                  <a:gd name="connsiteY89" fmla="*/ 936 h 10000"/>
                  <a:gd name="connsiteX90" fmla="*/ 2553 w 10000"/>
                  <a:gd name="connsiteY90" fmla="*/ 811 h 10000"/>
                  <a:gd name="connsiteX91" fmla="*/ 2426 w 10000"/>
                  <a:gd name="connsiteY91" fmla="*/ 811 h 10000"/>
                  <a:gd name="connsiteX92" fmla="*/ 2426 w 10000"/>
                  <a:gd name="connsiteY92" fmla="*/ 686 h 10000"/>
                  <a:gd name="connsiteX93" fmla="*/ 2298 w 10000"/>
                  <a:gd name="connsiteY93" fmla="*/ 561 h 10000"/>
                  <a:gd name="connsiteX94" fmla="*/ 2234 w 10000"/>
                  <a:gd name="connsiteY94" fmla="*/ 457 h 10000"/>
                  <a:gd name="connsiteX95" fmla="*/ 2149 w 10000"/>
                  <a:gd name="connsiteY95" fmla="*/ 270 h 10000"/>
                  <a:gd name="connsiteX96" fmla="*/ 2149 w 10000"/>
                  <a:gd name="connsiteY96" fmla="*/ 166 h 10000"/>
                  <a:gd name="connsiteX97" fmla="*/ 2277 w 10000"/>
                  <a:gd name="connsiteY97" fmla="*/ 83 h 10000"/>
                  <a:gd name="connsiteX98" fmla="*/ 2553 w 10000"/>
                  <a:gd name="connsiteY98" fmla="*/ 0 h 10000"/>
                  <a:gd name="connsiteX99" fmla="*/ 2787 w 10000"/>
                  <a:gd name="connsiteY99" fmla="*/ 62 h 10000"/>
                  <a:gd name="connsiteX100" fmla="*/ 2894 w 10000"/>
                  <a:gd name="connsiteY100" fmla="*/ 146 h 10000"/>
                  <a:gd name="connsiteX101" fmla="*/ 3043 w 10000"/>
                  <a:gd name="connsiteY101" fmla="*/ 166 h 10000"/>
                  <a:gd name="connsiteX102" fmla="*/ 3574 w 10000"/>
                  <a:gd name="connsiteY102" fmla="*/ 499 h 10000"/>
                  <a:gd name="connsiteX103" fmla="*/ 3745 w 10000"/>
                  <a:gd name="connsiteY103" fmla="*/ 457 h 10000"/>
                  <a:gd name="connsiteX104" fmla="*/ 3936 w 10000"/>
                  <a:gd name="connsiteY104" fmla="*/ 395 h 10000"/>
                  <a:gd name="connsiteX105" fmla="*/ 4128 w 10000"/>
                  <a:gd name="connsiteY105" fmla="*/ 353 h 10000"/>
                  <a:gd name="connsiteX106" fmla="*/ 4128 w 10000"/>
                  <a:gd name="connsiteY106" fmla="*/ 353 h 10000"/>
                  <a:gd name="connsiteX107" fmla="*/ 4128 w 10000"/>
                  <a:gd name="connsiteY107" fmla="*/ 416 h 10000"/>
                  <a:gd name="connsiteX108" fmla="*/ 3957 w 10000"/>
                  <a:gd name="connsiteY108" fmla="*/ 541 h 10000"/>
                  <a:gd name="connsiteX109" fmla="*/ 3936 w 10000"/>
                  <a:gd name="connsiteY109" fmla="*/ 686 h 10000"/>
                  <a:gd name="connsiteX110" fmla="*/ 3936 w 10000"/>
                  <a:gd name="connsiteY110" fmla="*/ 686 h 10000"/>
                  <a:gd name="connsiteX111" fmla="*/ 3745 w 10000"/>
                  <a:gd name="connsiteY111" fmla="*/ 728 h 10000"/>
                  <a:gd name="connsiteX112" fmla="*/ 3745 w 10000"/>
                  <a:gd name="connsiteY112" fmla="*/ 956 h 10000"/>
                  <a:gd name="connsiteX113" fmla="*/ 3894 w 10000"/>
                  <a:gd name="connsiteY113" fmla="*/ 1019 h 10000"/>
                  <a:gd name="connsiteX114" fmla="*/ 3894 w 10000"/>
                  <a:gd name="connsiteY114" fmla="*/ 1040 h 10000"/>
                  <a:gd name="connsiteX115" fmla="*/ 3957 w 10000"/>
                  <a:gd name="connsiteY115" fmla="*/ 1206 h 10000"/>
                  <a:gd name="connsiteX116" fmla="*/ 3957 w 10000"/>
                  <a:gd name="connsiteY116" fmla="*/ 1227 h 10000"/>
                  <a:gd name="connsiteX117" fmla="*/ 3745 w 10000"/>
                  <a:gd name="connsiteY117" fmla="*/ 1372 h 10000"/>
                  <a:gd name="connsiteX118" fmla="*/ 3745 w 10000"/>
                  <a:gd name="connsiteY118" fmla="*/ 1372 h 10000"/>
                  <a:gd name="connsiteX119" fmla="*/ 3723 w 10000"/>
                  <a:gd name="connsiteY119" fmla="*/ 1372 h 10000"/>
                  <a:gd name="connsiteX120" fmla="*/ 3723 w 10000"/>
                  <a:gd name="connsiteY120" fmla="*/ 1372 h 10000"/>
                  <a:gd name="connsiteX121" fmla="*/ 3681 w 10000"/>
                  <a:gd name="connsiteY121" fmla="*/ 1497 h 10000"/>
                  <a:gd name="connsiteX122" fmla="*/ 3660 w 10000"/>
                  <a:gd name="connsiteY122" fmla="*/ 1705 h 10000"/>
                  <a:gd name="connsiteX123" fmla="*/ 3745 w 10000"/>
                  <a:gd name="connsiteY123" fmla="*/ 1871 h 10000"/>
                  <a:gd name="connsiteX124" fmla="*/ 3894 w 10000"/>
                  <a:gd name="connsiteY124" fmla="*/ 1871 h 10000"/>
                  <a:gd name="connsiteX125" fmla="*/ 4468 w 10000"/>
                  <a:gd name="connsiteY125" fmla="*/ 2162 h 10000"/>
                  <a:gd name="connsiteX126" fmla="*/ 4468 w 10000"/>
                  <a:gd name="connsiteY126" fmla="*/ 2204 h 10000"/>
                  <a:gd name="connsiteX127" fmla="*/ 4468 w 10000"/>
                  <a:gd name="connsiteY127" fmla="*/ 2204 h 10000"/>
                  <a:gd name="connsiteX128" fmla="*/ 4213 w 10000"/>
                  <a:gd name="connsiteY128" fmla="*/ 2370 h 10000"/>
                  <a:gd name="connsiteX129" fmla="*/ 4128 w 10000"/>
                  <a:gd name="connsiteY129" fmla="*/ 2703 h 10000"/>
                  <a:gd name="connsiteX130" fmla="*/ 5043 w 10000"/>
                  <a:gd name="connsiteY130" fmla="*/ 3243 h 10000"/>
                  <a:gd name="connsiteX131" fmla="*/ 5532 w 10000"/>
                  <a:gd name="connsiteY131" fmla="*/ 3243 h 10000"/>
                  <a:gd name="connsiteX132" fmla="*/ 5574 w 10000"/>
                  <a:gd name="connsiteY132" fmla="*/ 3243 h 10000"/>
                  <a:gd name="connsiteX133" fmla="*/ 5745 w 10000"/>
                  <a:gd name="connsiteY133" fmla="*/ 3451 h 10000"/>
                  <a:gd name="connsiteX134" fmla="*/ 6532 w 10000"/>
                  <a:gd name="connsiteY134" fmla="*/ 3617 h 10000"/>
                  <a:gd name="connsiteX135" fmla="*/ 6766 w 10000"/>
                  <a:gd name="connsiteY135" fmla="*/ 3576 h 10000"/>
                  <a:gd name="connsiteX136" fmla="*/ 6809 w 10000"/>
                  <a:gd name="connsiteY136" fmla="*/ 3493 h 10000"/>
                  <a:gd name="connsiteX137" fmla="*/ 6745 w 10000"/>
                  <a:gd name="connsiteY137" fmla="*/ 3430 h 10000"/>
                  <a:gd name="connsiteX138" fmla="*/ 6745 w 10000"/>
                  <a:gd name="connsiteY138" fmla="*/ 3389 h 10000"/>
                  <a:gd name="connsiteX139" fmla="*/ 6766 w 10000"/>
                  <a:gd name="connsiteY139" fmla="*/ 3347 h 10000"/>
                  <a:gd name="connsiteX140" fmla="*/ 6830 w 10000"/>
                  <a:gd name="connsiteY140" fmla="*/ 3077 h 10000"/>
                  <a:gd name="connsiteX141" fmla="*/ 6830 w 10000"/>
                  <a:gd name="connsiteY141" fmla="*/ 3035 h 10000"/>
                  <a:gd name="connsiteX142" fmla="*/ 7043 w 10000"/>
                  <a:gd name="connsiteY142" fmla="*/ 2973 h 10000"/>
                  <a:gd name="connsiteX143" fmla="*/ 7043 w 10000"/>
                  <a:gd name="connsiteY143" fmla="*/ 2973 h 10000"/>
                  <a:gd name="connsiteX144" fmla="*/ 7043 w 10000"/>
                  <a:gd name="connsiteY144" fmla="*/ 2973 h 10000"/>
                  <a:gd name="connsiteX145" fmla="*/ 7085 w 10000"/>
                  <a:gd name="connsiteY145" fmla="*/ 3015 h 10000"/>
                  <a:gd name="connsiteX146" fmla="*/ 7085 w 10000"/>
                  <a:gd name="connsiteY146" fmla="*/ 3222 h 10000"/>
                  <a:gd name="connsiteX147" fmla="*/ 7106 w 10000"/>
                  <a:gd name="connsiteY147" fmla="*/ 3243 h 10000"/>
                  <a:gd name="connsiteX148" fmla="*/ 7149 w 10000"/>
                  <a:gd name="connsiteY148" fmla="*/ 3285 h 10000"/>
                  <a:gd name="connsiteX149" fmla="*/ 7149 w 10000"/>
                  <a:gd name="connsiteY149" fmla="*/ 3285 h 10000"/>
                  <a:gd name="connsiteX150" fmla="*/ 7085 w 10000"/>
                  <a:gd name="connsiteY150" fmla="*/ 3347 h 10000"/>
                  <a:gd name="connsiteX151" fmla="*/ 7106 w 10000"/>
                  <a:gd name="connsiteY151" fmla="*/ 3430 h 10000"/>
                  <a:gd name="connsiteX152" fmla="*/ 7362 w 10000"/>
                  <a:gd name="connsiteY152" fmla="*/ 3493 h 10000"/>
                  <a:gd name="connsiteX153" fmla="*/ 8128 w 10000"/>
                  <a:gd name="connsiteY153" fmla="*/ 3389 h 10000"/>
                  <a:gd name="connsiteX154" fmla="*/ 8191 w 10000"/>
                  <a:gd name="connsiteY154" fmla="*/ 3285 h 10000"/>
                  <a:gd name="connsiteX155" fmla="*/ 8064 w 10000"/>
                  <a:gd name="connsiteY155" fmla="*/ 3222 h 10000"/>
                  <a:gd name="connsiteX156" fmla="*/ 8043 w 10000"/>
                  <a:gd name="connsiteY156" fmla="*/ 3181 h 10000"/>
                  <a:gd name="connsiteX157" fmla="*/ 8043 w 10000"/>
                  <a:gd name="connsiteY157" fmla="*/ 3098 h 10000"/>
                  <a:gd name="connsiteX158" fmla="*/ 8064 w 10000"/>
                  <a:gd name="connsiteY158" fmla="*/ 3077 h 10000"/>
                  <a:gd name="connsiteX159" fmla="*/ 8489 w 10000"/>
                  <a:gd name="connsiteY159" fmla="*/ 2911 h 10000"/>
                  <a:gd name="connsiteX160" fmla="*/ 9021 w 10000"/>
                  <a:gd name="connsiteY160" fmla="*/ 2516 h 10000"/>
                  <a:gd name="connsiteX161" fmla="*/ 9021 w 10000"/>
                  <a:gd name="connsiteY161" fmla="*/ 2516 h 10000"/>
                  <a:gd name="connsiteX162" fmla="*/ 9255 w 10000"/>
                  <a:gd name="connsiteY162" fmla="*/ 2557 h 10000"/>
                  <a:gd name="connsiteX163" fmla="*/ 9511 w 10000"/>
                  <a:gd name="connsiteY163" fmla="*/ 2432 h 10000"/>
                  <a:gd name="connsiteX164" fmla="*/ 9511 w 10000"/>
                  <a:gd name="connsiteY164" fmla="*/ 2432 h 10000"/>
                  <a:gd name="connsiteX165" fmla="*/ 9553 w 10000"/>
                  <a:gd name="connsiteY165" fmla="*/ 2432 h 10000"/>
                  <a:gd name="connsiteX166" fmla="*/ 9553 w 10000"/>
                  <a:gd name="connsiteY166" fmla="*/ 2474 h 10000"/>
                  <a:gd name="connsiteX167" fmla="*/ 9596 w 10000"/>
                  <a:gd name="connsiteY167" fmla="*/ 2620 h 10000"/>
                  <a:gd name="connsiteX168" fmla="*/ 9660 w 10000"/>
                  <a:gd name="connsiteY168" fmla="*/ 2640 h 10000"/>
                  <a:gd name="connsiteX169" fmla="*/ 9660 w 10000"/>
                  <a:gd name="connsiteY169" fmla="*/ 2682 h 10000"/>
                  <a:gd name="connsiteX170" fmla="*/ 9638 w 10000"/>
                  <a:gd name="connsiteY170" fmla="*/ 2827 h 10000"/>
                  <a:gd name="connsiteX171" fmla="*/ 9872 w 10000"/>
                  <a:gd name="connsiteY171" fmla="*/ 2848 h 10000"/>
                  <a:gd name="connsiteX172" fmla="*/ 9979 w 10000"/>
                  <a:gd name="connsiteY172" fmla="*/ 2952 h 10000"/>
                  <a:gd name="connsiteX173" fmla="*/ 10000 w 10000"/>
                  <a:gd name="connsiteY173" fmla="*/ 2973 h 10000"/>
                  <a:gd name="connsiteX174" fmla="*/ 10000 w 10000"/>
                  <a:gd name="connsiteY174" fmla="*/ 3035 h 10000"/>
                  <a:gd name="connsiteX175" fmla="*/ 9979 w 10000"/>
                  <a:gd name="connsiteY175" fmla="*/ 3077 h 10000"/>
                  <a:gd name="connsiteX176" fmla="*/ 9915 w 10000"/>
                  <a:gd name="connsiteY176" fmla="*/ 3098 h 10000"/>
                  <a:gd name="connsiteX177" fmla="*/ 9872 w 10000"/>
                  <a:gd name="connsiteY177" fmla="*/ 3306 h 10000"/>
                  <a:gd name="connsiteX178" fmla="*/ 9851 w 10000"/>
                  <a:gd name="connsiteY178" fmla="*/ 3347 h 10000"/>
                  <a:gd name="connsiteX179" fmla="*/ 9574 w 10000"/>
                  <a:gd name="connsiteY179" fmla="*/ 3347 h 10000"/>
                  <a:gd name="connsiteX180" fmla="*/ 9298 w 10000"/>
                  <a:gd name="connsiteY180" fmla="*/ 3617 h 10000"/>
                  <a:gd name="connsiteX181" fmla="*/ 9255 w 10000"/>
                  <a:gd name="connsiteY181" fmla="*/ 3846 h 10000"/>
                  <a:gd name="connsiteX182" fmla="*/ 9085 w 10000"/>
                  <a:gd name="connsiteY182" fmla="*/ 4054 h 10000"/>
                  <a:gd name="connsiteX183" fmla="*/ 8936 w 10000"/>
                  <a:gd name="connsiteY183" fmla="*/ 4511 h 10000"/>
                  <a:gd name="connsiteX184" fmla="*/ 8894 w 10000"/>
                  <a:gd name="connsiteY184" fmla="*/ 4511 h 10000"/>
                  <a:gd name="connsiteX185" fmla="*/ 8617 w 10000"/>
                  <a:gd name="connsiteY185" fmla="*/ 4595 h 10000"/>
                  <a:gd name="connsiteX186" fmla="*/ 8617 w 10000"/>
                  <a:gd name="connsiteY186" fmla="*/ 4865 h 10000"/>
                  <a:gd name="connsiteX187" fmla="*/ 8596 w 10000"/>
                  <a:gd name="connsiteY187" fmla="*/ 4906 h 10000"/>
                  <a:gd name="connsiteX188" fmla="*/ 8532 w 10000"/>
                  <a:gd name="connsiteY188" fmla="*/ 4906 h 10000"/>
                  <a:gd name="connsiteX189" fmla="*/ 8489 w 10000"/>
                  <a:gd name="connsiteY189" fmla="*/ 4969 h 10000"/>
                  <a:gd name="connsiteX190" fmla="*/ 8553 w 10000"/>
                  <a:gd name="connsiteY190" fmla="*/ 5135 h 10000"/>
                  <a:gd name="connsiteX191" fmla="*/ 8553 w 10000"/>
                  <a:gd name="connsiteY191" fmla="*/ 5177 h 10000"/>
                  <a:gd name="connsiteX192" fmla="*/ 8362 w 10000"/>
                  <a:gd name="connsiteY192" fmla="*/ 5260 h 10000"/>
                  <a:gd name="connsiteX193" fmla="*/ 8362 w 10000"/>
                  <a:gd name="connsiteY193" fmla="*/ 5260 h 10000"/>
                  <a:gd name="connsiteX194" fmla="*/ 8362 w 10000"/>
                  <a:gd name="connsiteY194" fmla="*/ 5260 h 10000"/>
                  <a:gd name="connsiteX195" fmla="*/ 8340 w 10000"/>
                  <a:gd name="connsiteY195" fmla="*/ 5239 h 10000"/>
                  <a:gd name="connsiteX196" fmla="*/ 8191 w 10000"/>
                  <a:gd name="connsiteY196" fmla="*/ 4636 h 10000"/>
                  <a:gd name="connsiteX197" fmla="*/ 8043 w 10000"/>
                  <a:gd name="connsiteY197" fmla="*/ 4844 h 10000"/>
                  <a:gd name="connsiteX198" fmla="*/ 8043 w 10000"/>
                  <a:gd name="connsiteY198" fmla="*/ 4844 h 10000"/>
                  <a:gd name="connsiteX199" fmla="*/ 8043 w 10000"/>
                  <a:gd name="connsiteY199" fmla="*/ 4844 h 10000"/>
                  <a:gd name="connsiteX200" fmla="*/ 8000 w 10000"/>
                  <a:gd name="connsiteY200" fmla="*/ 4844 h 10000"/>
                  <a:gd name="connsiteX201" fmla="*/ 7872 w 10000"/>
                  <a:gd name="connsiteY201" fmla="*/ 4761 h 10000"/>
                  <a:gd name="connsiteX202" fmla="*/ 7787 w 10000"/>
                  <a:gd name="connsiteY202" fmla="*/ 4511 h 10000"/>
                  <a:gd name="connsiteX203" fmla="*/ 7809 w 10000"/>
                  <a:gd name="connsiteY203" fmla="*/ 4511 h 10000"/>
                  <a:gd name="connsiteX204" fmla="*/ 8191 w 10000"/>
                  <a:gd name="connsiteY204" fmla="*/ 4096 h 10000"/>
                  <a:gd name="connsiteX205" fmla="*/ 7468 w 10000"/>
                  <a:gd name="connsiteY205" fmla="*/ 4033 h 10000"/>
                  <a:gd name="connsiteX206" fmla="*/ 7362 w 10000"/>
                  <a:gd name="connsiteY206" fmla="*/ 3950 h 10000"/>
                  <a:gd name="connsiteX207" fmla="*/ 7298 w 10000"/>
                  <a:gd name="connsiteY207" fmla="*/ 3721 h 10000"/>
                  <a:gd name="connsiteX208" fmla="*/ 7298 w 10000"/>
                  <a:gd name="connsiteY208" fmla="*/ 3763 h 10000"/>
                  <a:gd name="connsiteX209" fmla="*/ 7255 w 10000"/>
                  <a:gd name="connsiteY209" fmla="*/ 3763 h 10000"/>
                  <a:gd name="connsiteX210" fmla="*/ 7170 w 10000"/>
                  <a:gd name="connsiteY210" fmla="*/ 3763 h 10000"/>
                  <a:gd name="connsiteX211" fmla="*/ 7170 w 10000"/>
                  <a:gd name="connsiteY211" fmla="*/ 3763 h 10000"/>
                  <a:gd name="connsiteX212" fmla="*/ 7106 w 10000"/>
                  <a:gd name="connsiteY212" fmla="*/ 3638 h 10000"/>
                  <a:gd name="connsiteX213" fmla="*/ 7043 w 10000"/>
                  <a:gd name="connsiteY213" fmla="*/ 3721 h 10000"/>
                  <a:gd name="connsiteX214" fmla="*/ 7043 w 10000"/>
                  <a:gd name="connsiteY214" fmla="*/ 3721 h 10000"/>
                  <a:gd name="connsiteX215" fmla="*/ 7043 w 10000"/>
                  <a:gd name="connsiteY215" fmla="*/ 3721 h 10000"/>
                  <a:gd name="connsiteX216" fmla="*/ 7021 w 10000"/>
                  <a:gd name="connsiteY216" fmla="*/ 3721 h 10000"/>
                  <a:gd name="connsiteX217" fmla="*/ 6957 w 10000"/>
                  <a:gd name="connsiteY217" fmla="*/ 3617 h 10000"/>
                  <a:gd name="connsiteX218" fmla="*/ 6830 w 10000"/>
                  <a:gd name="connsiteY218" fmla="*/ 3825 h 10000"/>
                  <a:gd name="connsiteX219" fmla="*/ 6872 w 10000"/>
                  <a:gd name="connsiteY219" fmla="*/ 3888 h 10000"/>
                  <a:gd name="connsiteX220" fmla="*/ 6979 w 10000"/>
                  <a:gd name="connsiteY220" fmla="*/ 3909 h 10000"/>
                  <a:gd name="connsiteX221" fmla="*/ 7021 w 10000"/>
                  <a:gd name="connsiteY221" fmla="*/ 3909 h 10000"/>
                  <a:gd name="connsiteX222" fmla="*/ 7021 w 10000"/>
                  <a:gd name="connsiteY222" fmla="*/ 4033 h 10000"/>
                  <a:gd name="connsiteX223" fmla="*/ 7021 w 10000"/>
                  <a:gd name="connsiteY223" fmla="*/ 4054 h 10000"/>
                  <a:gd name="connsiteX224" fmla="*/ 7021 w 10000"/>
                  <a:gd name="connsiteY224" fmla="*/ 4054 h 10000"/>
                  <a:gd name="connsiteX225" fmla="*/ 6894 w 10000"/>
                  <a:gd name="connsiteY225" fmla="*/ 4054 h 10000"/>
                  <a:gd name="connsiteX226" fmla="*/ 6766 w 10000"/>
                  <a:gd name="connsiteY226" fmla="*/ 4220 h 10000"/>
                  <a:gd name="connsiteX227" fmla="*/ 6979 w 10000"/>
                  <a:gd name="connsiteY227" fmla="*/ 4366 h 10000"/>
                  <a:gd name="connsiteX228" fmla="*/ 6979 w 10000"/>
                  <a:gd name="connsiteY228" fmla="*/ 4387 h 10000"/>
                  <a:gd name="connsiteX229" fmla="*/ 6957 w 10000"/>
                  <a:gd name="connsiteY229" fmla="*/ 4595 h 10000"/>
                  <a:gd name="connsiteX230" fmla="*/ 7106 w 10000"/>
                  <a:gd name="connsiteY230" fmla="*/ 5322 h 10000"/>
                  <a:gd name="connsiteX231" fmla="*/ 7106 w 10000"/>
                  <a:gd name="connsiteY231" fmla="*/ 5364 h 10000"/>
                  <a:gd name="connsiteX232" fmla="*/ 7043 w 10000"/>
                  <a:gd name="connsiteY232" fmla="*/ 5385 h 10000"/>
                  <a:gd name="connsiteX233" fmla="*/ 7043 w 10000"/>
                  <a:gd name="connsiteY233" fmla="*/ 5385 h 10000"/>
                  <a:gd name="connsiteX234" fmla="*/ 7021 w 10000"/>
                  <a:gd name="connsiteY234" fmla="*/ 5364 h 10000"/>
                  <a:gd name="connsiteX235" fmla="*/ 7021 w 10000"/>
                  <a:gd name="connsiteY235" fmla="*/ 5364 h 10000"/>
                  <a:gd name="connsiteX236" fmla="*/ 7021 w 10000"/>
                  <a:gd name="connsiteY236" fmla="*/ 5364 h 10000"/>
                  <a:gd name="connsiteX237" fmla="*/ 6894 w 10000"/>
                  <a:gd name="connsiteY237" fmla="*/ 5426 h 10000"/>
                  <a:gd name="connsiteX238" fmla="*/ 6872 w 10000"/>
                  <a:gd name="connsiteY238" fmla="*/ 5426 h 10000"/>
                  <a:gd name="connsiteX239" fmla="*/ 6872 w 10000"/>
                  <a:gd name="connsiteY239" fmla="*/ 5426 h 10000"/>
                  <a:gd name="connsiteX240" fmla="*/ 6872 w 10000"/>
                  <a:gd name="connsiteY240" fmla="*/ 5385 h 10000"/>
                  <a:gd name="connsiteX241" fmla="*/ 6809 w 10000"/>
                  <a:gd name="connsiteY241" fmla="*/ 5198 h 10000"/>
                  <a:gd name="connsiteX242" fmla="*/ 6766 w 10000"/>
                  <a:gd name="connsiteY242" fmla="*/ 5301 h 10000"/>
                  <a:gd name="connsiteX243" fmla="*/ 6468 w 10000"/>
                  <a:gd name="connsiteY243" fmla="*/ 5447 h 10000"/>
                  <a:gd name="connsiteX244" fmla="*/ 6468 w 10000"/>
                  <a:gd name="connsiteY244" fmla="*/ 5696 h 10000"/>
                  <a:gd name="connsiteX245" fmla="*/ 6468 w 10000"/>
                  <a:gd name="connsiteY245" fmla="*/ 5696 h 10000"/>
                  <a:gd name="connsiteX246" fmla="*/ 6213 w 10000"/>
                  <a:gd name="connsiteY246" fmla="*/ 5925 h 10000"/>
                  <a:gd name="connsiteX247" fmla="*/ 5745 w 10000"/>
                  <a:gd name="connsiteY247" fmla="*/ 6175 h 10000"/>
                  <a:gd name="connsiteX248" fmla="*/ 5511 w 10000"/>
                  <a:gd name="connsiteY248" fmla="*/ 6507 h 10000"/>
                  <a:gd name="connsiteX249" fmla="*/ 4894 w 10000"/>
                  <a:gd name="connsiteY249" fmla="*/ 6985 h 10000"/>
                  <a:gd name="connsiteX250" fmla="*/ 4787 w 10000"/>
                  <a:gd name="connsiteY250" fmla="*/ 7131 h 10000"/>
                  <a:gd name="connsiteX251" fmla="*/ 4787 w 10000"/>
                  <a:gd name="connsiteY251" fmla="*/ 7131 h 10000"/>
                  <a:gd name="connsiteX252" fmla="*/ 4489 w 10000"/>
                  <a:gd name="connsiteY252" fmla="*/ 7214 h 10000"/>
                  <a:gd name="connsiteX253" fmla="*/ 4362 w 10000"/>
                  <a:gd name="connsiteY253" fmla="*/ 7401 h 10000"/>
                  <a:gd name="connsiteX254" fmla="*/ 4362 w 10000"/>
                  <a:gd name="connsiteY254" fmla="*/ 7443 h 10000"/>
                  <a:gd name="connsiteX255" fmla="*/ 4191 w 10000"/>
                  <a:gd name="connsiteY255" fmla="*/ 7443 h 10000"/>
                  <a:gd name="connsiteX256" fmla="*/ 4085 w 10000"/>
                  <a:gd name="connsiteY256" fmla="*/ 7547 h 10000"/>
                  <a:gd name="connsiteX257" fmla="*/ 4128 w 10000"/>
                  <a:gd name="connsiteY257" fmla="*/ 8129 h 10000"/>
                  <a:gd name="connsiteX258" fmla="*/ 4191 w 10000"/>
                  <a:gd name="connsiteY258" fmla="*/ 8254 h 10000"/>
                  <a:gd name="connsiteX259" fmla="*/ 4191 w 10000"/>
                  <a:gd name="connsiteY259" fmla="*/ 8274 h 10000"/>
                  <a:gd name="connsiteX260" fmla="*/ 4021 w 10000"/>
                  <a:gd name="connsiteY260" fmla="*/ 8794 h 10000"/>
                  <a:gd name="connsiteX261" fmla="*/ 4021 w 10000"/>
                  <a:gd name="connsiteY261" fmla="*/ 9210 h 10000"/>
                  <a:gd name="connsiteX262" fmla="*/ 4021 w 10000"/>
                  <a:gd name="connsiteY262" fmla="*/ 9231 h 10000"/>
                  <a:gd name="connsiteX263" fmla="*/ 4021 w 10000"/>
                  <a:gd name="connsiteY263" fmla="*/ 9231 h 10000"/>
                  <a:gd name="connsiteX264" fmla="*/ 3851 w 10000"/>
                  <a:gd name="connsiteY264" fmla="*/ 9231 h 10000"/>
                  <a:gd name="connsiteX265" fmla="*/ 3745 w 10000"/>
                  <a:gd name="connsiteY265" fmla="*/ 9480 h 10000"/>
                  <a:gd name="connsiteX266" fmla="*/ 3745 w 10000"/>
                  <a:gd name="connsiteY266" fmla="*/ 9563 h 10000"/>
                  <a:gd name="connsiteX267" fmla="*/ 3723 w 10000"/>
                  <a:gd name="connsiteY267" fmla="*/ 9563 h 10000"/>
                  <a:gd name="connsiteX268" fmla="*/ 3468 w 10000"/>
                  <a:gd name="connsiteY268" fmla="*/ 9667 h 10000"/>
                  <a:gd name="connsiteX269" fmla="*/ 3447 w 10000"/>
                  <a:gd name="connsiteY269" fmla="*/ 9834 h 10000"/>
                  <a:gd name="connsiteX270" fmla="*/ 3298 w 10000"/>
                  <a:gd name="connsiteY270" fmla="*/ 10000 h 10000"/>
                  <a:gd name="connsiteX271" fmla="*/ 3255 w 10000"/>
                  <a:gd name="connsiteY271" fmla="*/ 10000 h 10000"/>
                  <a:gd name="connsiteX272" fmla="*/ 3170 w 10000"/>
                  <a:gd name="connsiteY272" fmla="*/ 10000 h 10000"/>
                  <a:gd name="connsiteX0" fmla="*/ 3170 w 10000"/>
                  <a:gd name="connsiteY0" fmla="*/ 10000 h 10000"/>
                  <a:gd name="connsiteX1" fmla="*/ 3170 w 10000"/>
                  <a:gd name="connsiteY1" fmla="*/ 9958 h 10000"/>
                  <a:gd name="connsiteX2" fmla="*/ 2915 w 10000"/>
                  <a:gd name="connsiteY2" fmla="*/ 9688 h 10000"/>
                  <a:gd name="connsiteX3" fmla="*/ 2617 w 10000"/>
                  <a:gd name="connsiteY3" fmla="*/ 8857 h 10000"/>
                  <a:gd name="connsiteX4" fmla="*/ 2404 w 10000"/>
                  <a:gd name="connsiteY4" fmla="*/ 8586 h 10000"/>
                  <a:gd name="connsiteX5" fmla="*/ 2277 w 10000"/>
                  <a:gd name="connsiteY5" fmla="*/ 8129 h 10000"/>
                  <a:gd name="connsiteX6" fmla="*/ 2021 w 10000"/>
                  <a:gd name="connsiteY6" fmla="*/ 7672 h 10000"/>
                  <a:gd name="connsiteX7" fmla="*/ 2000 w 10000"/>
                  <a:gd name="connsiteY7" fmla="*/ 7484 h 10000"/>
                  <a:gd name="connsiteX8" fmla="*/ 1957 w 10000"/>
                  <a:gd name="connsiteY8" fmla="*/ 7484 h 10000"/>
                  <a:gd name="connsiteX9" fmla="*/ 1936 w 10000"/>
                  <a:gd name="connsiteY9" fmla="*/ 7526 h 10000"/>
                  <a:gd name="connsiteX10" fmla="*/ 1936 w 10000"/>
                  <a:gd name="connsiteY10" fmla="*/ 7526 h 10000"/>
                  <a:gd name="connsiteX11" fmla="*/ 1936 w 10000"/>
                  <a:gd name="connsiteY11" fmla="*/ 7484 h 10000"/>
                  <a:gd name="connsiteX12" fmla="*/ 1872 w 10000"/>
                  <a:gd name="connsiteY12" fmla="*/ 7380 h 10000"/>
                  <a:gd name="connsiteX13" fmla="*/ 1745 w 10000"/>
                  <a:gd name="connsiteY13" fmla="*/ 7131 h 10000"/>
                  <a:gd name="connsiteX14" fmla="*/ 1596 w 10000"/>
                  <a:gd name="connsiteY14" fmla="*/ 6466 h 10000"/>
                  <a:gd name="connsiteX15" fmla="*/ 1617 w 10000"/>
                  <a:gd name="connsiteY15" fmla="*/ 6258 h 10000"/>
                  <a:gd name="connsiteX16" fmla="*/ 1596 w 10000"/>
                  <a:gd name="connsiteY16" fmla="*/ 6258 h 10000"/>
                  <a:gd name="connsiteX17" fmla="*/ 1596 w 10000"/>
                  <a:gd name="connsiteY17" fmla="*/ 6258 h 10000"/>
                  <a:gd name="connsiteX18" fmla="*/ 1532 w 10000"/>
                  <a:gd name="connsiteY18" fmla="*/ 6008 h 10000"/>
                  <a:gd name="connsiteX19" fmla="*/ 1596 w 10000"/>
                  <a:gd name="connsiteY19" fmla="*/ 5738 h 10000"/>
                  <a:gd name="connsiteX20" fmla="*/ 1468 w 10000"/>
                  <a:gd name="connsiteY20" fmla="*/ 5239 h 10000"/>
                  <a:gd name="connsiteX21" fmla="*/ 1468 w 10000"/>
                  <a:gd name="connsiteY21" fmla="*/ 5239 h 10000"/>
                  <a:gd name="connsiteX22" fmla="*/ 1596 w 10000"/>
                  <a:gd name="connsiteY22" fmla="*/ 5114 h 10000"/>
                  <a:gd name="connsiteX23" fmla="*/ 1447 w 10000"/>
                  <a:gd name="connsiteY23" fmla="*/ 5094 h 10000"/>
                  <a:gd name="connsiteX24" fmla="*/ 1319 w 10000"/>
                  <a:gd name="connsiteY24" fmla="*/ 5509 h 10000"/>
                  <a:gd name="connsiteX25" fmla="*/ 1319 w 10000"/>
                  <a:gd name="connsiteY25" fmla="*/ 5530 h 10000"/>
                  <a:gd name="connsiteX26" fmla="*/ 1064 w 10000"/>
                  <a:gd name="connsiteY26" fmla="*/ 5634 h 10000"/>
                  <a:gd name="connsiteX27" fmla="*/ 830 w 10000"/>
                  <a:gd name="connsiteY27" fmla="*/ 5634 h 10000"/>
                  <a:gd name="connsiteX28" fmla="*/ 787 w 10000"/>
                  <a:gd name="connsiteY28" fmla="*/ 5634 h 10000"/>
                  <a:gd name="connsiteX29" fmla="*/ 298 w 10000"/>
                  <a:gd name="connsiteY29" fmla="*/ 5177 h 10000"/>
                  <a:gd name="connsiteX30" fmla="*/ 298 w 10000"/>
                  <a:gd name="connsiteY30" fmla="*/ 5094 h 10000"/>
                  <a:gd name="connsiteX31" fmla="*/ 298 w 10000"/>
                  <a:gd name="connsiteY31" fmla="*/ 5094 h 10000"/>
                  <a:gd name="connsiteX32" fmla="*/ 298 w 10000"/>
                  <a:gd name="connsiteY32" fmla="*/ 5052 h 10000"/>
                  <a:gd name="connsiteX33" fmla="*/ 638 w 10000"/>
                  <a:gd name="connsiteY33" fmla="*/ 5031 h 10000"/>
                  <a:gd name="connsiteX34" fmla="*/ 723 w 10000"/>
                  <a:gd name="connsiteY34" fmla="*/ 4927 h 10000"/>
                  <a:gd name="connsiteX35" fmla="*/ 766 w 10000"/>
                  <a:gd name="connsiteY35" fmla="*/ 4823 h 10000"/>
                  <a:gd name="connsiteX36" fmla="*/ 574 w 10000"/>
                  <a:gd name="connsiteY36" fmla="*/ 4906 h 10000"/>
                  <a:gd name="connsiteX37" fmla="*/ 298 w 10000"/>
                  <a:gd name="connsiteY37" fmla="*/ 4906 h 10000"/>
                  <a:gd name="connsiteX38" fmla="*/ 298 w 10000"/>
                  <a:gd name="connsiteY38" fmla="*/ 4906 h 10000"/>
                  <a:gd name="connsiteX39" fmla="*/ 0 w 10000"/>
                  <a:gd name="connsiteY39" fmla="*/ 4574 h 10000"/>
                  <a:gd name="connsiteX40" fmla="*/ 0 w 10000"/>
                  <a:gd name="connsiteY40" fmla="*/ 4574 h 10000"/>
                  <a:gd name="connsiteX41" fmla="*/ 0 w 10000"/>
                  <a:gd name="connsiteY41" fmla="*/ 4553 h 10000"/>
                  <a:gd name="connsiteX42" fmla="*/ 85 w 10000"/>
                  <a:gd name="connsiteY42" fmla="*/ 4491 h 10000"/>
                  <a:gd name="connsiteX43" fmla="*/ 277 w 10000"/>
                  <a:gd name="connsiteY43" fmla="*/ 4491 h 10000"/>
                  <a:gd name="connsiteX44" fmla="*/ 277 w 10000"/>
                  <a:gd name="connsiteY44" fmla="*/ 4324 h 10000"/>
                  <a:gd name="connsiteX45" fmla="*/ 277 w 10000"/>
                  <a:gd name="connsiteY45" fmla="*/ 4324 h 10000"/>
                  <a:gd name="connsiteX46" fmla="*/ 298 w 10000"/>
                  <a:gd name="connsiteY46" fmla="*/ 4324 h 10000"/>
                  <a:gd name="connsiteX47" fmla="*/ 298 w 10000"/>
                  <a:gd name="connsiteY47" fmla="*/ 4324 h 10000"/>
                  <a:gd name="connsiteX48" fmla="*/ 702 w 10000"/>
                  <a:gd name="connsiteY48" fmla="*/ 4428 h 10000"/>
                  <a:gd name="connsiteX49" fmla="*/ 830 w 10000"/>
                  <a:gd name="connsiteY49" fmla="*/ 4304 h 10000"/>
                  <a:gd name="connsiteX50" fmla="*/ 851 w 10000"/>
                  <a:gd name="connsiteY50" fmla="*/ 4304 h 10000"/>
                  <a:gd name="connsiteX51" fmla="*/ 851 w 10000"/>
                  <a:gd name="connsiteY51" fmla="*/ 4304 h 10000"/>
                  <a:gd name="connsiteX52" fmla="*/ 936 w 10000"/>
                  <a:gd name="connsiteY52" fmla="*/ 4387 h 10000"/>
                  <a:gd name="connsiteX53" fmla="*/ 1043 w 10000"/>
                  <a:gd name="connsiteY53" fmla="*/ 4324 h 10000"/>
                  <a:gd name="connsiteX54" fmla="*/ 894 w 10000"/>
                  <a:gd name="connsiteY54" fmla="*/ 3909 h 10000"/>
                  <a:gd name="connsiteX55" fmla="*/ 702 w 10000"/>
                  <a:gd name="connsiteY55" fmla="*/ 3825 h 10000"/>
                  <a:gd name="connsiteX56" fmla="*/ 702 w 10000"/>
                  <a:gd name="connsiteY56" fmla="*/ 3784 h 10000"/>
                  <a:gd name="connsiteX57" fmla="*/ 723 w 10000"/>
                  <a:gd name="connsiteY57" fmla="*/ 3617 h 10000"/>
                  <a:gd name="connsiteX58" fmla="*/ 511 w 10000"/>
                  <a:gd name="connsiteY58" fmla="*/ 3555 h 10000"/>
                  <a:gd name="connsiteX59" fmla="*/ 511 w 10000"/>
                  <a:gd name="connsiteY59" fmla="*/ 3555 h 10000"/>
                  <a:gd name="connsiteX60" fmla="*/ 489 w 10000"/>
                  <a:gd name="connsiteY60" fmla="*/ 3514 h 10000"/>
                  <a:gd name="connsiteX61" fmla="*/ 553 w 10000"/>
                  <a:gd name="connsiteY61" fmla="*/ 3368 h 10000"/>
                  <a:gd name="connsiteX62" fmla="*/ 830 w 10000"/>
                  <a:gd name="connsiteY62" fmla="*/ 2973 h 10000"/>
                  <a:gd name="connsiteX63" fmla="*/ 851 w 10000"/>
                  <a:gd name="connsiteY63" fmla="*/ 2973 h 10000"/>
                  <a:gd name="connsiteX64" fmla="*/ 851 w 10000"/>
                  <a:gd name="connsiteY64" fmla="*/ 2973 h 10000"/>
                  <a:gd name="connsiteX65" fmla="*/ 851 w 10000"/>
                  <a:gd name="connsiteY65" fmla="*/ 2973 h 10000"/>
                  <a:gd name="connsiteX66" fmla="*/ 979 w 10000"/>
                  <a:gd name="connsiteY66" fmla="*/ 3098 h 10000"/>
                  <a:gd name="connsiteX67" fmla="*/ 1277 w 10000"/>
                  <a:gd name="connsiteY67" fmla="*/ 3035 h 10000"/>
                  <a:gd name="connsiteX68" fmla="*/ 1468 w 10000"/>
                  <a:gd name="connsiteY68" fmla="*/ 2765 h 10000"/>
                  <a:gd name="connsiteX69" fmla="*/ 1660 w 10000"/>
                  <a:gd name="connsiteY69" fmla="*/ 2620 h 10000"/>
                  <a:gd name="connsiteX70" fmla="*/ 1830 w 10000"/>
                  <a:gd name="connsiteY70" fmla="*/ 2287 h 10000"/>
                  <a:gd name="connsiteX71" fmla="*/ 1957 w 10000"/>
                  <a:gd name="connsiteY71" fmla="*/ 2245 h 10000"/>
                  <a:gd name="connsiteX72" fmla="*/ 2000 w 10000"/>
                  <a:gd name="connsiteY72" fmla="*/ 2204 h 10000"/>
                  <a:gd name="connsiteX73" fmla="*/ 2170 w 10000"/>
                  <a:gd name="connsiteY73" fmla="*/ 2079 h 10000"/>
                  <a:gd name="connsiteX74" fmla="*/ 2404 w 10000"/>
                  <a:gd name="connsiteY74" fmla="*/ 1975 h 10000"/>
                  <a:gd name="connsiteX75" fmla="*/ 2511 w 10000"/>
                  <a:gd name="connsiteY75" fmla="*/ 1954 h 10000"/>
                  <a:gd name="connsiteX76" fmla="*/ 2511 w 10000"/>
                  <a:gd name="connsiteY76" fmla="*/ 1892 h 10000"/>
                  <a:gd name="connsiteX77" fmla="*/ 2574 w 10000"/>
                  <a:gd name="connsiteY77" fmla="*/ 1892 h 10000"/>
                  <a:gd name="connsiteX78" fmla="*/ 2638 w 10000"/>
                  <a:gd name="connsiteY78" fmla="*/ 1809 h 10000"/>
                  <a:gd name="connsiteX79" fmla="*/ 2681 w 10000"/>
                  <a:gd name="connsiteY79" fmla="*/ 1559 h 10000"/>
                  <a:gd name="connsiteX80" fmla="*/ 2702 w 10000"/>
                  <a:gd name="connsiteY80" fmla="*/ 1372 h 10000"/>
                  <a:gd name="connsiteX81" fmla="*/ 2574 w 10000"/>
                  <a:gd name="connsiteY81" fmla="*/ 1435 h 10000"/>
                  <a:gd name="connsiteX82" fmla="*/ 2489 w 10000"/>
                  <a:gd name="connsiteY82" fmla="*/ 1414 h 10000"/>
                  <a:gd name="connsiteX83" fmla="*/ 2447 w 10000"/>
                  <a:gd name="connsiteY83" fmla="*/ 1331 h 10000"/>
                  <a:gd name="connsiteX84" fmla="*/ 2447 w 10000"/>
                  <a:gd name="connsiteY84" fmla="*/ 1331 h 10000"/>
                  <a:gd name="connsiteX85" fmla="*/ 2426 w 10000"/>
                  <a:gd name="connsiteY85" fmla="*/ 1268 h 10000"/>
                  <a:gd name="connsiteX86" fmla="*/ 2404 w 10000"/>
                  <a:gd name="connsiteY86" fmla="*/ 1206 h 10000"/>
                  <a:gd name="connsiteX87" fmla="*/ 2426 w 10000"/>
                  <a:gd name="connsiteY87" fmla="*/ 1102 h 10000"/>
                  <a:gd name="connsiteX88" fmla="*/ 2511 w 10000"/>
                  <a:gd name="connsiteY88" fmla="*/ 1019 h 10000"/>
                  <a:gd name="connsiteX89" fmla="*/ 2617 w 10000"/>
                  <a:gd name="connsiteY89" fmla="*/ 936 h 10000"/>
                  <a:gd name="connsiteX90" fmla="*/ 2553 w 10000"/>
                  <a:gd name="connsiteY90" fmla="*/ 811 h 10000"/>
                  <a:gd name="connsiteX91" fmla="*/ 2426 w 10000"/>
                  <a:gd name="connsiteY91" fmla="*/ 811 h 10000"/>
                  <a:gd name="connsiteX92" fmla="*/ 2426 w 10000"/>
                  <a:gd name="connsiteY92" fmla="*/ 686 h 10000"/>
                  <a:gd name="connsiteX93" fmla="*/ 2298 w 10000"/>
                  <a:gd name="connsiteY93" fmla="*/ 561 h 10000"/>
                  <a:gd name="connsiteX94" fmla="*/ 2234 w 10000"/>
                  <a:gd name="connsiteY94" fmla="*/ 457 h 10000"/>
                  <a:gd name="connsiteX95" fmla="*/ 2149 w 10000"/>
                  <a:gd name="connsiteY95" fmla="*/ 270 h 10000"/>
                  <a:gd name="connsiteX96" fmla="*/ 2149 w 10000"/>
                  <a:gd name="connsiteY96" fmla="*/ 166 h 10000"/>
                  <a:gd name="connsiteX97" fmla="*/ 2277 w 10000"/>
                  <a:gd name="connsiteY97" fmla="*/ 83 h 10000"/>
                  <a:gd name="connsiteX98" fmla="*/ 2553 w 10000"/>
                  <a:gd name="connsiteY98" fmla="*/ 0 h 10000"/>
                  <a:gd name="connsiteX99" fmla="*/ 2787 w 10000"/>
                  <a:gd name="connsiteY99" fmla="*/ 62 h 10000"/>
                  <a:gd name="connsiteX100" fmla="*/ 2894 w 10000"/>
                  <a:gd name="connsiteY100" fmla="*/ 146 h 10000"/>
                  <a:gd name="connsiteX101" fmla="*/ 3043 w 10000"/>
                  <a:gd name="connsiteY101" fmla="*/ 166 h 10000"/>
                  <a:gd name="connsiteX102" fmla="*/ 3574 w 10000"/>
                  <a:gd name="connsiteY102" fmla="*/ 499 h 10000"/>
                  <a:gd name="connsiteX103" fmla="*/ 3745 w 10000"/>
                  <a:gd name="connsiteY103" fmla="*/ 457 h 10000"/>
                  <a:gd name="connsiteX104" fmla="*/ 3936 w 10000"/>
                  <a:gd name="connsiteY104" fmla="*/ 395 h 10000"/>
                  <a:gd name="connsiteX105" fmla="*/ 4128 w 10000"/>
                  <a:gd name="connsiteY105" fmla="*/ 353 h 10000"/>
                  <a:gd name="connsiteX106" fmla="*/ 4128 w 10000"/>
                  <a:gd name="connsiteY106" fmla="*/ 353 h 10000"/>
                  <a:gd name="connsiteX107" fmla="*/ 4128 w 10000"/>
                  <a:gd name="connsiteY107" fmla="*/ 416 h 10000"/>
                  <a:gd name="connsiteX108" fmla="*/ 3957 w 10000"/>
                  <a:gd name="connsiteY108" fmla="*/ 541 h 10000"/>
                  <a:gd name="connsiteX109" fmla="*/ 3936 w 10000"/>
                  <a:gd name="connsiteY109" fmla="*/ 686 h 10000"/>
                  <a:gd name="connsiteX110" fmla="*/ 3936 w 10000"/>
                  <a:gd name="connsiteY110" fmla="*/ 686 h 10000"/>
                  <a:gd name="connsiteX111" fmla="*/ 3745 w 10000"/>
                  <a:gd name="connsiteY111" fmla="*/ 728 h 10000"/>
                  <a:gd name="connsiteX112" fmla="*/ 3745 w 10000"/>
                  <a:gd name="connsiteY112" fmla="*/ 956 h 10000"/>
                  <a:gd name="connsiteX113" fmla="*/ 3894 w 10000"/>
                  <a:gd name="connsiteY113" fmla="*/ 1019 h 10000"/>
                  <a:gd name="connsiteX114" fmla="*/ 3957 w 10000"/>
                  <a:gd name="connsiteY114" fmla="*/ 1206 h 10000"/>
                  <a:gd name="connsiteX115" fmla="*/ 3957 w 10000"/>
                  <a:gd name="connsiteY115" fmla="*/ 1227 h 10000"/>
                  <a:gd name="connsiteX116" fmla="*/ 3745 w 10000"/>
                  <a:gd name="connsiteY116" fmla="*/ 1372 h 10000"/>
                  <a:gd name="connsiteX117" fmla="*/ 3745 w 10000"/>
                  <a:gd name="connsiteY117" fmla="*/ 1372 h 10000"/>
                  <a:gd name="connsiteX118" fmla="*/ 3723 w 10000"/>
                  <a:gd name="connsiteY118" fmla="*/ 1372 h 10000"/>
                  <a:gd name="connsiteX119" fmla="*/ 3723 w 10000"/>
                  <a:gd name="connsiteY119" fmla="*/ 1372 h 10000"/>
                  <a:gd name="connsiteX120" fmla="*/ 3681 w 10000"/>
                  <a:gd name="connsiteY120" fmla="*/ 1497 h 10000"/>
                  <a:gd name="connsiteX121" fmla="*/ 3660 w 10000"/>
                  <a:gd name="connsiteY121" fmla="*/ 1705 h 10000"/>
                  <a:gd name="connsiteX122" fmla="*/ 3745 w 10000"/>
                  <a:gd name="connsiteY122" fmla="*/ 1871 h 10000"/>
                  <a:gd name="connsiteX123" fmla="*/ 3894 w 10000"/>
                  <a:gd name="connsiteY123" fmla="*/ 1871 h 10000"/>
                  <a:gd name="connsiteX124" fmla="*/ 4468 w 10000"/>
                  <a:gd name="connsiteY124" fmla="*/ 2162 h 10000"/>
                  <a:gd name="connsiteX125" fmla="*/ 4468 w 10000"/>
                  <a:gd name="connsiteY125" fmla="*/ 2204 h 10000"/>
                  <a:gd name="connsiteX126" fmla="*/ 4468 w 10000"/>
                  <a:gd name="connsiteY126" fmla="*/ 2204 h 10000"/>
                  <a:gd name="connsiteX127" fmla="*/ 4213 w 10000"/>
                  <a:gd name="connsiteY127" fmla="*/ 2370 h 10000"/>
                  <a:gd name="connsiteX128" fmla="*/ 4128 w 10000"/>
                  <a:gd name="connsiteY128" fmla="*/ 2703 h 10000"/>
                  <a:gd name="connsiteX129" fmla="*/ 5043 w 10000"/>
                  <a:gd name="connsiteY129" fmla="*/ 3243 h 10000"/>
                  <a:gd name="connsiteX130" fmla="*/ 5532 w 10000"/>
                  <a:gd name="connsiteY130" fmla="*/ 3243 h 10000"/>
                  <a:gd name="connsiteX131" fmla="*/ 5574 w 10000"/>
                  <a:gd name="connsiteY131" fmla="*/ 3243 h 10000"/>
                  <a:gd name="connsiteX132" fmla="*/ 5745 w 10000"/>
                  <a:gd name="connsiteY132" fmla="*/ 3451 h 10000"/>
                  <a:gd name="connsiteX133" fmla="*/ 6532 w 10000"/>
                  <a:gd name="connsiteY133" fmla="*/ 3617 h 10000"/>
                  <a:gd name="connsiteX134" fmla="*/ 6766 w 10000"/>
                  <a:gd name="connsiteY134" fmla="*/ 3576 h 10000"/>
                  <a:gd name="connsiteX135" fmla="*/ 6809 w 10000"/>
                  <a:gd name="connsiteY135" fmla="*/ 3493 h 10000"/>
                  <a:gd name="connsiteX136" fmla="*/ 6745 w 10000"/>
                  <a:gd name="connsiteY136" fmla="*/ 3430 h 10000"/>
                  <a:gd name="connsiteX137" fmla="*/ 6745 w 10000"/>
                  <a:gd name="connsiteY137" fmla="*/ 3389 h 10000"/>
                  <a:gd name="connsiteX138" fmla="*/ 6766 w 10000"/>
                  <a:gd name="connsiteY138" fmla="*/ 3347 h 10000"/>
                  <a:gd name="connsiteX139" fmla="*/ 6830 w 10000"/>
                  <a:gd name="connsiteY139" fmla="*/ 3077 h 10000"/>
                  <a:gd name="connsiteX140" fmla="*/ 6830 w 10000"/>
                  <a:gd name="connsiteY140" fmla="*/ 3035 h 10000"/>
                  <a:gd name="connsiteX141" fmla="*/ 7043 w 10000"/>
                  <a:gd name="connsiteY141" fmla="*/ 2973 h 10000"/>
                  <a:gd name="connsiteX142" fmla="*/ 7043 w 10000"/>
                  <a:gd name="connsiteY142" fmla="*/ 2973 h 10000"/>
                  <a:gd name="connsiteX143" fmla="*/ 7043 w 10000"/>
                  <a:gd name="connsiteY143" fmla="*/ 2973 h 10000"/>
                  <a:gd name="connsiteX144" fmla="*/ 7085 w 10000"/>
                  <a:gd name="connsiteY144" fmla="*/ 3015 h 10000"/>
                  <a:gd name="connsiteX145" fmla="*/ 7085 w 10000"/>
                  <a:gd name="connsiteY145" fmla="*/ 3222 h 10000"/>
                  <a:gd name="connsiteX146" fmla="*/ 7106 w 10000"/>
                  <a:gd name="connsiteY146" fmla="*/ 3243 h 10000"/>
                  <a:gd name="connsiteX147" fmla="*/ 7149 w 10000"/>
                  <a:gd name="connsiteY147" fmla="*/ 3285 h 10000"/>
                  <a:gd name="connsiteX148" fmla="*/ 7149 w 10000"/>
                  <a:gd name="connsiteY148" fmla="*/ 3285 h 10000"/>
                  <a:gd name="connsiteX149" fmla="*/ 7085 w 10000"/>
                  <a:gd name="connsiteY149" fmla="*/ 3347 h 10000"/>
                  <a:gd name="connsiteX150" fmla="*/ 7106 w 10000"/>
                  <a:gd name="connsiteY150" fmla="*/ 3430 h 10000"/>
                  <a:gd name="connsiteX151" fmla="*/ 7362 w 10000"/>
                  <a:gd name="connsiteY151" fmla="*/ 3493 h 10000"/>
                  <a:gd name="connsiteX152" fmla="*/ 8128 w 10000"/>
                  <a:gd name="connsiteY152" fmla="*/ 3389 h 10000"/>
                  <a:gd name="connsiteX153" fmla="*/ 8191 w 10000"/>
                  <a:gd name="connsiteY153" fmla="*/ 3285 h 10000"/>
                  <a:gd name="connsiteX154" fmla="*/ 8064 w 10000"/>
                  <a:gd name="connsiteY154" fmla="*/ 3222 h 10000"/>
                  <a:gd name="connsiteX155" fmla="*/ 8043 w 10000"/>
                  <a:gd name="connsiteY155" fmla="*/ 3181 h 10000"/>
                  <a:gd name="connsiteX156" fmla="*/ 8043 w 10000"/>
                  <a:gd name="connsiteY156" fmla="*/ 3098 h 10000"/>
                  <a:gd name="connsiteX157" fmla="*/ 8064 w 10000"/>
                  <a:gd name="connsiteY157" fmla="*/ 3077 h 10000"/>
                  <a:gd name="connsiteX158" fmla="*/ 8489 w 10000"/>
                  <a:gd name="connsiteY158" fmla="*/ 2911 h 10000"/>
                  <a:gd name="connsiteX159" fmla="*/ 9021 w 10000"/>
                  <a:gd name="connsiteY159" fmla="*/ 2516 h 10000"/>
                  <a:gd name="connsiteX160" fmla="*/ 9021 w 10000"/>
                  <a:gd name="connsiteY160" fmla="*/ 2516 h 10000"/>
                  <a:gd name="connsiteX161" fmla="*/ 9255 w 10000"/>
                  <a:gd name="connsiteY161" fmla="*/ 2557 h 10000"/>
                  <a:gd name="connsiteX162" fmla="*/ 9511 w 10000"/>
                  <a:gd name="connsiteY162" fmla="*/ 2432 h 10000"/>
                  <a:gd name="connsiteX163" fmla="*/ 9511 w 10000"/>
                  <a:gd name="connsiteY163" fmla="*/ 2432 h 10000"/>
                  <a:gd name="connsiteX164" fmla="*/ 9553 w 10000"/>
                  <a:gd name="connsiteY164" fmla="*/ 2432 h 10000"/>
                  <a:gd name="connsiteX165" fmla="*/ 9553 w 10000"/>
                  <a:gd name="connsiteY165" fmla="*/ 2474 h 10000"/>
                  <a:gd name="connsiteX166" fmla="*/ 9596 w 10000"/>
                  <a:gd name="connsiteY166" fmla="*/ 2620 h 10000"/>
                  <a:gd name="connsiteX167" fmla="*/ 9660 w 10000"/>
                  <a:gd name="connsiteY167" fmla="*/ 2640 h 10000"/>
                  <a:gd name="connsiteX168" fmla="*/ 9660 w 10000"/>
                  <a:gd name="connsiteY168" fmla="*/ 2682 h 10000"/>
                  <a:gd name="connsiteX169" fmla="*/ 9638 w 10000"/>
                  <a:gd name="connsiteY169" fmla="*/ 2827 h 10000"/>
                  <a:gd name="connsiteX170" fmla="*/ 9872 w 10000"/>
                  <a:gd name="connsiteY170" fmla="*/ 2848 h 10000"/>
                  <a:gd name="connsiteX171" fmla="*/ 9979 w 10000"/>
                  <a:gd name="connsiteY171" fmla="*/ 2952 h 10000"/>
                  <a:gd name="connsiteX172" fmla="*/ 10000 w 10000"/>
                  <a:gd name="connsiteY172" fmla="*/ 2973 h 10000"/>
                  <a:gd name="connsiteX173" fmla="*/ 10000 w 10000"/>
                  <a:gd name="connsiteY173" fmla="*/ 3035 h 10000"/>
                  <a:gd name="connsiteX174" fmla="*/ 9979 w 10000"/>
                  <a:gd name="connsiteY174" fmla="*/ 3077 h 10000"/>
                  <a:gd name="connsiteX175" fmla="*/ 9915 w 10000"/>
                  <a:gd name="connsiteY175" fmla="*/ 3098 h 10000"/>
                  <a:gd name="connsiteX176" fmla="*/ 9872 w 10000"/>
                  <a:gd name="connsiteY176" fmla="*/ 3306 h 10000"/>
                  <a:gd name="connsiteX177" fmla="*/ 9851 w 10000"/>
                  <a:gd name="connsiteY177" fmla="*/ 3347 h 10000"/>
                  <a:gd name="connsiteX178" fmla="*/ 9574 w 10000"/>
                  <a:gd name="connsiteY178" fmla="*/ 3347 h 10000"/>
                  <a:gd name="connsiteX179" fmla="*/ 9298 w 10000"/>
                  <a:gd name="connsiteY179" fmla="*/ 3617 h 10000"/>
                  <a:gd name="connsiteX180" fmla="*/ 9255 w 10000"/>
                  <a:gd name="connsiteY180" fmla="*/ 3846 h 10000"/>
                  <a:gd name="connsiteX181" fmla="*/ 9085 w 10000"/>
                  <a:gd name="connsiteY181" fmla="*/ 4054 h 10000"/>
                  <a:gd name="connsiteX182" fmla="*/ 8936 w 10000"/>
                  <a:gd name="connsiteY182" fmla="*/ 4511 h 10000"/>
                  <a:gd name="connsiteX183" fmla="*/ 8894 w 10000"/>
                  <a:gd name="connsiteY183" fmla="*/ 4511 h 10000"/>
                  <a:gd name="connsiteX184" fmla="*/ 8617 w 10000"/>
                  <a:gd name="connsiteY184" fmla="*/ 4595 h 10000"/>
                  <a:gd name="connsiteX185" fmla="*/ 8617 w 10000"/>
                  <a:gd name="connsiteY185" fmla="*/ 4865 h 10000"/>
                  <a:gd name="connsiteX186" fmla="*/ 8596 w 10000"/>
                  <a:gd name="connsiteY186" fmla="*/ 4906 h 10000"/>
                  <a:gd name="connsiteX187" fmla="*/ 8532 w 10000"/>
                  <a:gd name="connsiteY187" fmla="*/ 4906 h 10000"/>
                  <a:gd name="connsiteX188" fmla="*/ 8489 w 10000"/>
                  <a:gd name="connsiteY188" fmla="*/ 4969 h 10000"/>
                  <a:gd name="connsiteX189" fmla="*/ 8553 w 10000"/>
                  <a:gd name="connsiteY189" fmla="*/ 5135 h 10000"/>
                  <a:gd name="connsiteX190" fmla="*/ 8553 w 10000"/>
                  <a:gd name="connsiteY190" fmla="*/ 5177 h 10000"/>
                  <a:gd name="connsiteX191" fmla="*/ 8362 w 10000"/>
                  <a:gd name="connsiteY191" fmla="*/ 5260 h 10000"/>
                  <a:gd name="connsiteX192" fmla="*/ 8362 w 10000"/>
                  <a:gd name="connsiteY192" fmla="*/ 5260 h 10000"/>
                  <a:gd name="connsiteX193" fmla="*/ 8362 w 10000"/>
                  <a:gd name="connsiteY193" fmla="*/ 5260 h 10000"/>
                  <a:gd name="connsiteX194" fmla="*/ 8340 w 10000"/>
                  <a:gd name="connsiteY194" fmla="*/ 5239 h 10000"/>
                  <a:gd name="connsiteX195" fmla="*/ 8191 w 10000"/>
                  <a:gd name="connsiteY195" fmla="*/ 4636 h 10000"/>
                  <a:gd name="connsiteX196" fmla="*/ 8043 w 10000"/>
                  <a:gd name="connsiteY196" fmla="*/ 4844 h 10000"/>
                  <a:gd name="connsiteX197" fmla="*/ 8043 w 10000"/>
                  <a:gd name="connsiteY197" fmla="*/ 4844 h 10000"/>
                  <a:gd name="connsiteX198" fmla="*/ 8043 w 10000"/>
                  <a:gd name="connsiteY198" fmla="*/ 4844 h 10000"/>
                  <a:gd name="connsiteX199" fmla="*/ 8000 w 10000"/>
                  <a:gd name="connsiteY199" fmla="*/ 4844 h 10000"/>
                  <a:gd name="connsiteX200" fmla="*/ 7872 w 10000"/>
                  <a:gd name="connsiteY200" fmla="*/ 4761 h 10000"/>
                  <a:gd name="connsiteX201" fmla="*/ 7787 w 10000"/>
                  <a:gd name="connsiteY201" fmla="*/ 4511 h 10000"/>
                  <a:gd name="connsiteX202" fmla="*/ 7809 w 10000"/>
                  <a:gd name="connsiteY202" fmla="*/ 4511 h 10000"/>
                  <a:gd name="connsiteX203" fmla="*/ 8191 w 10000"/>
                  <a:gd name="connsiteY203" fmla="*/ 4096 h 10000"/>
                  <a:gd name="connsiteX204" fmla="*/ 7468 w 10000"/>
                  <a:gd name="connsiteY204" fmla="*/ 4033 h 10000"/>
                  <a:gd name="connsiteX205" fmla="*/ 7362 w 10000"/>
                  <a:gd name="connsiteY205" fmla="*/ 3950 h 10000"/>
                  <a:gd name="connsiteX206" fmla="*/ 7298 w 10000"/>
                  <a:gd name="connsiteY206" fmla="*/ 3721 h 10000"/>
                  <a:gd name="connsiteX207" fmla="*/ 7298 w 10000"/>
                  <a:gd name="connsiteY207" fmla="*/ 3763 h 10000"/>
                  <a:gd name="connsiteX208" fmla="*/ 7255 w 10000"/>
                  <a:gd name="connsiteY208" fmla="*/ 3763 h 10000"/>
                  <a:gd name="connsiteX209" fmla="*/ 7170 w 10000"/>
                  <a:gd name="connsiteY209" fmla="*/ 3763 h 10000"/>
                  <a:gd name="connsiteX210" fmla="*/ 7170 w 10000"/>
                  <a:gd name="connsiteY210" fmla="*/ 3763 h 10000"/>
                  <a:gd name="connsiteX211" fmla="*/ 7106 w 10000"/>
                  <a:gd name="connsiteY211" fmla="*/ 3638 h 10000"/>
                  <a:gd name="connsiteX212" fmla="*/ 7043 w 10000"/>
                  <a:gd name="connsiteY212" fmla="*/ 3721 h 10000"/>
                  <a:gd name="connsiteX213" fmla="*/ 7043 w 10000"/>
                  <a:gd name="connsiteY213" fmla="*/ 3721 h 10000"/>
                  <a:gd name="connsiteX214" fmla="*/ 7043 w 10000"/>
                  <a:gd name="connsiteY214" fmla="*/ 3721 h 10000"/>
                  <a:gd name="connsiteX215" fmla="*/ 7021 w 10000"/>
                  <a:gd name="connsiteY215" fmla="*/ 3721 h 10000"/>
                  <a:gd name="connsiteX216" fmla="*/ 6957 w 10000"/>
                  <a:gd name="connsiteY216" fmla="*/ 3617 h 10000"/>
                  <a:gd name="connsiteX217" fmla="*/ 6830 w 10000"/>
                  <a:gd name="connsiteY217" fmla="*/ 3825 h 10000"/>
                  <a:gd name="connsiteX218" fmla="*/ 6872 w 10000"/>
                  <a:gd name="connsiteY218" fmla="*/ 3888 h 10000"/>
                  <a:gd name="connsiteX219" fmla="*/ 6979 w 10000"/>
                  <a:gd name="connsiteY219" fmla="*/ 3909 h 10000"/>
                  <a:gd name="connsiteX220" fmla="*/ 7021 w 10000"/>
                  <a:gd name="connsiteY220" fmla="*/ 3909 h 10000"/>
                  <a:gd name="connsiteX221" fmla="*/ 7021 w 10000"/>
                  <a:gd name="connsiteY221" fmla="*/ 4033 h 10000"/>
                  <a:gd name="connsiteX222" fmla="*/ 7021 w 10000"/>
                  <a:gd name="connsiteY222" fmla="*/ 4054 h 10000"/>
                  <a:gd name="connsiteX223" fmla="*/ 7021 w 10000"/>
                  <a:gd name="connsiteY223" fmla="*/ 4054 h 10000"/>
                  <a:gd name="connsiteX224" fmla="*/ 6894 w 10000"/>
                  <a:gd name="connsiteY224" fmla="*/ 4054 h 10000"/>
                  <a:gd name="connsiteX225" fmla="*/ 6766 w 10000"/>
                  <a:gd name="connsiteY225" fmla="*/ 4220 h 10000"/>
                  <a:gd name="connsiteX226" fmla="*/ 6979 w 10000"/>
                  <a:gd name="connsiteY226" fmla="*/ 4366 h 10000"/>
                  <a:gd name="connsiteX227" fmla="*/ 6979 w 10000"/>
                  <a:gd name="connsiteY227" fmla="*/ 4387 h 10000"/>
                  <a:gd name="connsiteX228" fmla="*/ 6957 w 10000"/>
                  <a:gd name="connsiteY228" fmla="*/ 4595 h 10000"/>
                  <a:gd name="connsiteX229" fmla="*/ 7106 w 10000"/>
                  <a:gd name="connsiteY229" fmla="*/ 5322 h 10000"/>
                  <a:gd name="connsiteX230" fmla="*/ 7106 w 10000"/>
                  <a:gd name="connsiteY230" fmla="*/ 5364 h 10000"/>
                  <a:gd name="connsiteX231" fmla="*/ 7043 w 10000"/>
                  <a:gd name="connsiteY231" fmla="*/ 5385 h 10000"/>
                  <a:gd name="connsiteX232" fmla="*/ 7043 w 10000"/>
                  <a:gd name="connsiteY232" fmla="*/ 5385 h 10000"/>
                  <a:gd name="connsiteX233" fmla="*/ 7021 w 10000"/>
                  <a:gd name="connsiteY233" fmla="*/ 5364 h 10000"/>
                  <a:gd name="connsiteX234" fmla="*/ 7021 w 10000"/>
                  <a:gd name="connsiteY234" fmla="*/ 5364 h 10000"/>
                  <a:gd name="connsiteX235" fmla="*/ 7021 w 10000"/>
                  <a:gd name="connsiteY235" fmla="*/ 5364 h 10000"/>
                  <a:gd name="connsiteX236" fmla="*/ 6894 w 10000"/>
                  <a:gd name="connsiteY236" fmla="*/ 5426 h 10000"/>
                  <a:gd name="connsiteX237" fmla="*/ 6872 w 10000"/>
                  <a:gd name="connsiteY237" fmla="*/ 5426 h 10000"/>
                  <a:gd name="connsiteX238" fmla="*/ 6872 w 10000"/>
                  <a:gd name="connsiteY238" fmla="*/ 5426 h 10000"/>
                  <a:gd name="connsiteX239" fmla="*/ 6872 w 10000"/>
                  <a:gd name="connsiteY239" fmla="*/ 5385 h 10000"/>
                  <a:gd name="connsiteX240" fmla="*/ 6809 w 10000"/>
                  <a:gd name="connsiteY240" fmla="*/ 5198 h 10000"/>
                  <a:gd name="connsiteX241" fmla="*/ 6766 w 10000"/>
                  <a:gd name="connsiteY241" fmla="*/ 5301 h 10000"/>
                  <a:gd name="connsiteX242" fmla="*/ 6468 w 10000"/>
                  <a:gd name="connsiteY242" fmla="*/ 5447 h 10000"/>
                  <a:gd name="connsiteX243" fmla="*/ 6468 w 10000"/>
                  <a:gd name="connsiteY243" fmla="*/ 5696 h 10000"/>
                  <a:gd name="connsiteX244" fmla="*/ 6468 w 10000"/>
                  <a:gd name="connsiteY244" fmla="*/ 5696 h 10000"/>
                  <a:gd name="connsiteX245" fmla="*/ 6213 w 10000"/>
                  <a:gd name="connsiteY245" fmla="*/ 5925 h 10000"/>
                  <a:gd name="connsiteX246" fmla="*/ 5745 w 10000"/>
                  <a:gd name="connsiteY246" fmla="*/ 6175 h 10000"/>
                  <a:gd name="connsiteX247" fmla="*/ 5511 w 10000"/>
                  <a:gd name="connsiteY247" fmla="*/ 6507 h 10000"/>
                  <a:gd name="connsiteX248" fmla="*/ 4894 w 10000"/>
                  <a:gd name="connsiteY248" fmla="*/ 6985 h 10000"/>
                  <a:gd name="connsiteX249" fmla="*/ 4787 w 10000"/>
                  <a:gd name="connsiteY249" fmla="*/ 7131 h 10000"/>
                  <a:gd name="connsiteX250" fmla="*/ 4787 w 10000"/>
                  <a:gd name="connsiteY250" fmla="*/ 7131 h 10000"/>
                  <a:gd name="connsiteX251" fmla="*/ 4489 w 10000"/>
                  <a:gd name="connsiteY251" fmla="*/ 7214 h 10000"/>
                  <a:gd name="connsiteX252" fmla="*/ 4362 w 10000"/>
                  <a:gd name="connsiteY252" fmla="*/ 7401 h 10000"/>
                  <a:gd name="connsiteX253" fmla="*/ 4362 w 10000"/>
                  <a:gd name="connsiteY253" fmla="*/ 7443 h 10000"/>
                  <a:gd name="connsiteX254" fmla="*/ 4191 w 10000"/>
                  <a:gd name="connsiteY254" fmla="*/ 7443 h 10000"/>
                  <a:gd name="connsiteX255" fmla="*/ 4085 w 10000"/>
                  <a:gd name="connsiteY255" fmla="*/ 7547 h 10000"/>
                  <a:gd name="connsiteX256" fmla="*/ 4128 w 10000"/>
                  <a:gd name="connsiteY256" fmla="*/ 8129 h 10000"/>
                  <a:gd name="connsiteX257" fmla="*/ 4191 w 10000"/>
                  <a:gd name="connsiteY257" fmla="*/ 8254 h 10000"/>
                  <a:gd name="connsiteX258" fmla="*/ 4191 w 10000"/>
                  <a:gd name="connsiteY258" fmla="*/ 8274 h 10000"/>
                  <a:gd name="connsiteX259" fmla="*/ 4021 w 10000"/>
                  <a:gd name="connsiteY259" fmla="*/ 8794 h 10000"/>
                  <a:gd name="connsiteX260" fmla="*/ 4021 w 10000"/>
                  <a:gd name="connsiteY260" fmla="*/ 9210 h 10000"/>
                  <a:gd name="connsiteX261" fmla="*/ 4021 w 10000"/>
                  <a:gd name="connsiteY261" fmla="*/ 9231 h 10000"/>
                  <a:gd name="connsiteX262" fmla="*/ 4021 w 10000"/>
                  <a:gd name="connsiteY262" fmla="*/ 9231 h 10000"/>
                  <a:gd name="connsiteX263" fmla="*/ 3851 w 10000"/>
                  <a:gd name="connsiteY263" fmla="*/ 9231 h 10000"/>
                  <a:gd name="connsiteX264" fmla="*/ 3745 w 10000"/>
                  <a:gd name="connsiteY264" fmla="*/ 9480 h 10000"/>
                  <a:gd name="connsiteX265" fmla="*/ 3745 w 10000"/>
                  <a:gd name="connsiteY265" fmla="*/ 9563 h 10000"/>
                  <a:gd name="connsiteX266" fmla="*/ 3723 w 10000"/>
                  <a:gd name="connsiteY266" fmla="*/ 9563 h 10000"/>
                  <a:gd name="connsiteX267" fmla="*/ 3468 w 10000"/>
                  <a:gd name="connsiteY267" fmla="*/ 9667 h 10000"/>
                  <a:gd name="connsiteX268" fmla="*/ 3447 w 10000"/>
                  <a:gd name="connsiteY268" fmla="*/ 9834 h 10000"/>
                  <a:gd name="connsiteX269" fmla="*/ 3298 w 10000"/>
                  <a:gd name="connsiteY269" fmla="*/ 10000 h 10000"/>
                  <a:gd name="connsiteX270" fmla="*/ 3255 w 10000"/>
                  <a:gd name="connsiteY270" fmla="*/ 10000 h 10000"/>
                  <a:gd name="connsiteX271" fmla="*/ 3170 w 10000"/>
                  <a:gd name="connsiteY271" fmla="*/ 10000 h 10000"/>
                  <a:gd name="connsiteX0" fmla="*/ 3170 w 10000"/>
                  <a:gd name="connsiteY0" fmla="*/ 10000 h 10000"/>
                  <a:gd name="connsiteX1" fmla="*/ 3170 w 10000"/>
                  <a:gd name="connsiteY1" fmla="*/ 9958 h 10000"/>
                  <a:gd name="connsiteX2" fmla="*/ 2915 w 10000"/>
                  <a:gd name="connsiteY2" fmla="*/ 9688 h 10000"/>
                  <a:gd name="connsiteX3" fmla="*/ 2617 w 10000"/>
                  <a:gd name="connsiteY3" fmla="*/ 8857 h 10000"/>
                  <a:gd name="connsiteX4" fmla="*/ 2404 w 10000"/>
                  <a:gd name="connsiteY4" fmla="*/ 8586 h 10000"/>
                  <a:gd name="connsiteX5" fmla="*/ 2277 w 10000"/>
                  <a:gd name="connsiteY5" fmla="*/ 8129 h 10000"/>
                  <a:gd name="connsiteX6" fmla="*/ 2021 w 10000"/>
                  <a:gd name="connsiteY6" fmla="*/ 7672 h 10000"/>
                  <a:gd name="connsiteX7" fmla="*/ 2000 w 10000"/>
                  <a:gd name="connsiteY7" fmla="*/ 7484 h 10000"/>
                  <a:gd name="connsiteX8" fmla="*/ 1957 w 10000"/>
                  <a:gd name="connsiteY8" fmla="*/ 7484 h 10000"/>
                  <a:gd name="connsiteX9" fmla="*/ 1936 w 10000"/>
                  <a:gd name="connsiteY9" fmla="*/ 7526 h 10000"/>
                  <a:gd name="connsiteX10" fmla="*/ 1936 w 10000"/>
                  <a:gd name="connsiteY10" fmla="*/ 7526 h 10000"/>
                  <a:gd name="connsiteX11" fmla="*/ 1936 w 10000"/>
                  <a:gd name="connsiteY11" fmla="*/ 7484 h 10000"/>
                  <a:gd name="connsiteX12" fmla="*/ 1872 w 10000"/>
                  <a:gd name="connsiteY12" fmla="*/ 7380 h 10000"/>
                  <a:gd name="connsiteX13" fmla="*/ 1745 w 10000"/>
                  <a:gd name="connsiteY13" fmla="*/ 7131 h 10000"/>
                  <a:gd name="connsiteX14" fmla="*/ 1596 w 10000"/>
                  <a:gd name="connsiteY14" fmla="*/ 6466 h 10000"/>
                  <a:gd name="connsiteX15" fmla="*/ 1617 w 10000"/>
                  <a:gd name="connsiteY15" fmla="*/ 6258 h 10000"/>
                  <a:gd name="connsiteX16" fmla="*/ 1596 w 10000"/>
                  <a:gd name="connsiteY16" fmla="*/ 6258 h 10000"/>
                  <a:gd name="connsiteX17" fmla="*/ 1596 w 10000"/>
                  <a:gd name="connsiteY17" fmla="*/ 6258 h 10000"/>
                  <a:gd name="connsiteX18" fmla="*/ 1532 w 10000"/>
                  <a:gd name="connsiteY18" fmla="*/ 6008 h 10000"/>
                  <a:gd name="connsiteX19" fmla="*/ 1596 w 10000"/>
                  <a:gd name="connsiteY19" fmla="*/ 5738 h 10000"/>
                  <a:gd name="connsiteX20" fmla="*/ 1468 w 10000"/>
                  <a:gd name="connsiteY20" fmla="*/ 5239 h 10000"/>
                  <a:gd name="connsiteX21" fmla="*/ 1468 w 10000"/>
                  <a:gd name="connsiteY21" fmla="*/ 5239 h 10000"/>
                  <a:gd name="connsiteX22" fmla="*/ 1596 w 10000"/>
                  <a:gd name="connsiteY22" fmla="*/ 5114 h 10000"/>
                  <a:gd name="connsiteX23" fmla="*/ 1447 w 10000"/>
                  <a:gd name="connsiteY23" fmla="*/ 5094 h 10000"/>
                  <a:gd name="connsiteX24" fmla="*/ 1319 w 10000"/>
                  <a:gd name="connsiteY24" fmla="*/ 5509 h 10000"/>
                  <a:gd name="connsiteX25" fmla="*/ 1319 w 10000"/>
                  <a:gd name="connsiteY25" fmla="*/ 5530 h 10000"/>
                  <a:gd name="connsiteX26" fmla="*/ 1064 w 10000"/>
                  <a:gd name="connsiteY26" fmla="*/ 5634 h 10000"/>
                  <a:gd name="connsiteX27" fmla="*/ 830 w 10000"/>
                  <a:gd name="connsiteY27" fmla="*/ 5634 h 10000"/>
                  <a:gd name="connsiteX28" fmla="*/ 787 w 10000"/>
                  <a:gd name="connsiteY28" fmla="*/ 5634 h 10000"/>
                  <a:gd name="connsiteX29" fmla="*/ 298 w 10000"/>
                  <a:gd name="connsiteY29" fmla="*/ 5177 h 10000"/>
                  <a:gd name="connsiteX30" fmla="*/ 298 w 10000"/>
                  <a:gd name="connsiteY30" fmla="*/ 5094 h 10000"/>
                  <a:gd name="connsiteX31" fmla="*/ 298 w 10000"/>
                  <a:gd name="connsiteY31" fmla="*/ 5094 h 10000"/>
                  <a:gd name="connsiteX32" fmla="*/ 298 w 10000"/>
                  <a:gd name="connsiteY32" fmla="*/ 5052 h 10000"/>
                  <a:gd name="connsiteX33" fmla="*/ 638 w 10000"/>
                  <a:gd name="connsiteY33" fmla="*/ 5031 h 10000"/>
                  <a:gd name="connsiteX34" fmla="*/ 723 w 10000"/>
                  <a:gd name="connsiteY34" fmla="*/ 4927 h 10000"/>
                  <a:gd name="connsiteX35" fmla="*/ 766 w 10000"/>
                  <a:gd name="connsiteY35" fmla="*/ 4823 h 10000"/>
                  <a:gd name="connsiteX36" fmla="*/ 574 w 10000"/>
                  <a:gd name="connsiteY36" fmla="*/ 4906 h 10000"/>
                  <a:gd name="connsiteX37" fmla="*/ 298 w 10000"/>
                  <a:gd name="connsiteY37" fmla="*/ 4906 h 10000"/>
                  <a:gd name="connsiteX38" fmla="*/ 298 w 10000"/>
                  <a:gd name="connsiteY38" fmla="*/ 4906 h 10000"/>
                  <a:gd name="connsiteX39" fmla="*/ 0 w 10000"/>
                  <a:gd name="connsiteY39" fmla="*/ 4574 h 10000"/>
                  <a:gd name="connsiteX40" fmla="*/ 0 w 10000"/>
                  <a:gd name="connsiteY40" fmla="*/ 4574 h 10000"/>
                  <a:gd name="connsiteX41" fmla="*/ 0 w 10000"/>
                  <a:gd name="connsiteY41" fmla="*/ 4553 h 10000"/>
                  <a:gd name="connsiteX42" fmla="*/ 85 w 10000"/>
                  <a:gd name="connsiteY42" fmla="*/ 4491 h 10000"/>
                  <a:gd name="connsiteX43" fmla="*/ 277 w 10000"/>
                  <a:gd name="connsiteY43" fmla="*/ 4491 h 10000"/>
                  <a:gd name="connsiteX44" fmla="*/ 277 w 10000"/>
                  <a:gd name="connsiteY44" fmla="*/ 4324 h 10000"/>
                  <a:gd name="connsiteX45" fmla="*/ 277 w 10000"/>
                  <a:gd name="connsiteY45" fmla="*/ 4324 h 10000"/>
                  <a:gd name="connsiteX46" fmla="*/ 298 w 10000"/>
                  <a:gd name="connsiteY46" fmla="*/ 4324 h 10000"/>
                  <a:gd name="connsiteX47" fmla="*/ 298 w 10000"/>
                  <a:gd name="connsiteY47" fmla="*/ 4324 h 10000"/>
                  <a:gd name="connsiteX48" fmla="*/ 702 w 10000"/>
                  <a:gd name="connsiteY48" fmla="*/ 4428 h 10000"/>
                  <a:gd name="connsiteX49" fmla="*/ 830 w 10000"/>
                  <a:gd name="connsiteY49" fmla="*/ 4304 h 10000"/>
                  <a:gd name="connsiteX50" fmla="*/ 851 w 10000"/>
                  <a:gd name="connsiteY50" fmla="*/ 4304 h 10000"/>
                  <a:gd name="connsiteX51" fmla="*/ 851 w 10000"/>
                  <a:gd name="connsiteY51" fmla="*/ 4304 h 10000"/>
                  <a:gd name="connsiteX52" fmla="*/ 936 w 10000"/>
                  <a:gd name="connsiteY52" fmla="*/ 4387 h 10000"/>
                  <a:gd name="connsiteX53" fmla="*/ 1043 w 10000"/>
                  <a:gd name="connsiteY53" fmla="*/ 4324 h 10000"/>
                  <a:gd name="connsiteX54" fmla="*/ 894 w 10000"/>
                  <a:gd name="connsiteY54" fmla="*/ 3909 h 10000"/>
                  <a:gd name="connsiteX55" fmla="*/ 702 w 10000"/>
                  <a:gd name="connsiteY55" fmla="*/ 3825 h 10000"/>
                  <a:gd name="connsiteX56" fmla="*/ 702 w 10000"/>
                  <a:gd name="connsiteY56" fmla="*/ 3784 h 10000"/>
                  <a:gd name="connsiteX57" fmla="*/ 723 w 10000"/>
                  <a:gd name="connsiteY57" fmla="*/ 3617 h 10000"/>
                  <a:gd name="connsiteX58" fmla="*/ 511 w 10000"/>
                  <a:gd name="connsiteY58" fmla="*/ 3555 h 10000"/>
                  <a:gd name="connsiteX59" fmla="*/ 511 w 10000"/>
                  <a:gd name="connsiteY59" fmla="*/ 3555 h 10000"/>
                  <a:gd name="connsiteX60" fmla="*/ 489 w 10000"/>
                  <a:gd name="connsiteY60" fmla="*/ 3514 h 10000"/>
                  <a:gd name="connsiteX61" fmla="*/ 553 w 10000"/>
                  <a:gd name="connsiteY61" fmla="*/ 3368 h 10000"/>
                  <a:gd name="connsiteX62" fmla="*/ 830 w 10000"/>
                  <a:gd name="connsiteY62" fmla="*/ 2973 h 10000"/>
                  <a:gd name="connsiteX63" fmla="*/ 851 w 10000"/>
                  <a:gd name="connsiteY63" fmla="*/ 2973 h 10000"/>
                  <a:gd name="connsiteX64" fmla="*/ 851 w 10000"/>
                  <a:gd name="connsiteY64" fmla="*/ 2973 h 10000"/>
                  <a:gd name="connsiteX65" fmla="*/ 851 w 10000"/>
                  <a:gd name="connsiteY65" fmla="*/ 2973 h 10000"/>
                  <a:gd name="connsiteX66" fmla="*/ 979 w 10000"/>
                  <a:gd name="connsiteY66" fmla="*/ 3098 h 10000"/>
                  <a:gd name="connsiteX67" fmla="*/ 1277 w 10000"/>
                  <a:gd name="connsiteY67" fmla="*/ 3035 h 10000"/>
                  <a:gd name="connsiteX68" fmla="*/ 1468 w 10000"/>
                  <a:gd name="connsiteY68" fmla="*/ 2765 h 10000"/>
                  <a:gd name="connsiteX69" fmla="*/ 1660 w 10000"/>
                  <a:gd name="connsiteY69" fmla="*/ 2620 h 10000"/>
                  <a:gd name="connsiteX70" fmla="*/ 1830 w 10000"/>
                  <a:gd name="connsiteY70" fmla="*/ 2287 h 10000"/>
                  <a:gd name="connsiteX71" fmla="*/ 1957 w 10000"/>
                  <a:gd name="connsiteY71" fmla="*/ 2245 h 10000"/>
                  <a:gd name="connsiteX72" fmla="*/ 2000 w 10000"/>
                  <a:gd name="connsiteY72" fmla="*/ 2204 h 10000"/>
                  <a:gd name="connsiteX73" fmla="*/ 2170 w 10000"/>
                  <a:gd name="connsiteY73" fmla="*/ 2079 h 10000"/>
                  <a:gd name="connsiteX74" fmla="*/ 2404 w 10000"/>
                  <a:gd name="connsiteY74" fmla="*/ 1975 h 10000"/>
                  <a:gd name="connsiteX75" fmla="*/ 2511 w 10000"/>
                  <a:gd name="connsiteY75" fmla="*/ 1954 h 10000"/>
                  <a:gd name="connsiteX76" fmla="*/ 2511 w 10000"/>
                  <a:gd name="connsiteY76" fmla="*/ 1892 h 10000"/>
                  <a:gd name="connsiteX77" fmla="*/ 2574 w 10000"/>
                  <a:gd name="connsiteY77" fmla="*/ 1892 h 10000"/>
                  <a:gd name="connsiteX78" fmla="*/ 2638 w 10000"/>
                  <a:gd name="connsiteY78" fmla="*/ 1809 h 10000"/>
                  <a:gd name="connsiteX79" fmla="*/ 2681 w 10000"/>
                  <a:gd name="connsiteY79" fmla="*/ 1559 h 10000"/>
                  <a:gd name="connsiteX80" fmla="*/ 2702 w 10000"/>
                  <a:gd name="connsiteY80" fmla="*/ 1372 h 10000"/>
                  <a:gd name="connsiteX81" fmla="*/ 2574 w 10000"/>
                  <a:gd name="connsiteY81" fmla="*/ 1435 h 10000"/>
                  <a:gd name="connsiteX82" fmla="*/ 2489 w 10000"/>
                  <a:gd name="connsiteY82" fmla="*/ 1414 h 10000"/>
                  <a:gd name="connsiteX83" fmla="*/ 2447 w 10000"/>
                  <a:gd name="connsiteY83" fmla="*/ 1331 h 10000"/>
                  <a:gd name="connsiteX84" fmla="*/ 2447 w 10000"/>
                  <a:gd name="connsiteY84" fmla="*/ 1331 h 10000"/>
                  <a:gd name="connsiteX85" fmla="*/ 2426 w 10000"/>
                  <a:gd name="connsiteY85" fmla="*/ 1268 h 10000"/>
                  <a:gd name="connsiteX86" fmla="*/ 2404 w 10000"/>
                  <a:gd name="connsiteY86" fmla="*/ 1206 h 10000"/>
                  <a:gd name="connsiteX87" fmla="*/ 2426 w 10000"/>
                  <a:gd name="connsiteY87" fmla="*/ 1102 h 10000"/>
                  <a:gd name="connsiteX88" fmla="*/ 2511 w 10000"/>
                  <a:gd name="connsiteY88" fmla="*/ 1019 h 10000"/>
                  <a:gd name="connsiteX89" fmla="*/ 2617 w 10000"/>
                  <a:gd name="connsiteY89" fmla="*/ 936 h 10000"/>
                  <a:gd name="connsiteX90" fmla="*/ 2553 w 10000"/>
                  <a:gd name="connsiteY90" fmla="*/ 811 h 10000"/>
                  <a:gd name="connsiteX91" fmla="*/ 2426 w 10000"/>
                  <a:gd name="connsiteY91" fmla="*/ 811 h 10000"/>
                  <a:gd name="connsiteX92" fmla="*/ 2426 w 10000"/>
                  <a:gd name="connsiteY92" fmla="*/ 686 h 10000"/>
                  <a:gd name="connsiteX93" fmla="*/ 2298 w 10000"/>
                  <a:gd name="connsiteY93" fmla="*/ 561 h 10000"/>
                  <a:gd name="connsiteX94" fmla="*/ 2234 w 10000"/>
                  <a:gd name="connsiteY94" fmla="*/ 457 h 10000"/>
                  <a:gd name="connsiteX95" fmla="*/ 2149 w 10000"/>
                  <a:gd name="connsiteY95" fmla="*/ 270 h 10000"/>
                  <a:gd name="connsiteX96" fmla="*/ 2149 w 10000"/>
                  <a:gd name="connsiteY96" fmla="*/ 166 h 10000"/>
                  <a:gd name="connsiteX97" fmla="*/ 2277 w 10000"/>
                  <a:gd name="connsiteY97" fmla="*/ 83 h 10000"/>
                  <a:gd name="connsiteX98" fmla="*/ 2553 w 10000"/>
                  <a:gd name="connsiteY98" fmla="*/ 0 h 10000"/>
                  <a:gd name="connsiteX99" fmla="*/ 2787 w 10000"/>
                  <a:gd name="connsiteY99" fmla="*/ 62 h 10000"/>
                  <a:gd name="connsiteX100" fmla="*/ 2894 w 10000"/>
                  <a:gd name="connsiteY100" fmla="*/ 146 h 10000"/>
                  <a:gd name="connsiteX101" fmla="*/ 3043 w 10000"/>
                  <a:gd name="connsiteY101" fmla="*/ 166 h 10000"/>
                  <a:gd name="connsiteX102" fmla="*/ 3574 w 10000"/>
                  <a:gd name="connsiteY102" fmla="*/ 499 h 10000"/>
                  <a:gd name="connsiteX103" fmla="*/ 3745 w 10000"/>
                  <a:gd name="connsiteY103" fmla="*/ 457 h 10000"/>
                  <a:gd name="connsiteX104" fmla="*/ 3936 w 10000"/>
                  <a:gd name="connsiteY104" fmla="*/ 395 h 10000"/>
                  <a:gd name="connsiteX105" fmla="*/ 4128 w 10000"/>
                  <a:gd name="connsiteY105" fmla="*/ 353 h 10000"/>
                  <a:gd name="connsiteX106" fmla="*/ 4128 w 10000"/>
                  <a:gd name="connsiteY106" fmla="*/ 353 h 10000"/>
                  <a:gd name="connsiteX107" fmla="*/ 4128 w 10000"/>
                  <a:gd name="connsiteY107" fmla="*/ 416 h 10000"/>
                  <a:gd name="connsiteX108" fmla="*/ 3957 w 10000"/>
                  <a:gd name="connsiteY108" fmla="*/ 541 h 10000"/>
                  <a:gd name="connsiteX109" fmla="*/ 3936 w 10000"/>
                  <a:gd name="connsiteY109" fmla="*/ 686 h 10000"/>
                  <a:gd name="connsiteX110" fmla="*/ 3936 w 10000"/>
                  <a:gd name="connsiteY110" fmla="*/ 686 h 10000"/>
                  <a:gd name="connsiteX111" fmla="*/ 3745 w 10000"/>
                  <a:gd name="connsiteY111" fmla="*/ 728 h 10000"/>
                  <a:gd name="connsiteX112" fmla="*/ 3745 w 10000"/>
                  <a:gd name="connsiteY112" fmla="*/ 956 h 10000"/>
                  <a:gd name="connsiteX113" fmla="*/ 3957 w 10000"/>
                  <a:gd name="connsiteY113" fmla="*/ 1206 h 10000"/>
                  <a:gd name="connsiteX114" fmla="*/ 3957 w 10000"/>
                  <a:gd name="connsiteY114" fmla="*/ 1227 h 10000"/>
                  <a:gd name="connsiteX115" fmla="*/ 3745 w 10000"/>
                  <a:gd name="connsiteY115" fmla="*/ 1372 h 10000"/>
                  <a:gd name="connsiteX116" fmla="*/ 3745 w 10000"/>
                  <a:gd name="connsiteY116" fmla="*/ 1372 h 10000"/>
                  <a:gd name="connsiteX117" fmla="*/ 3723 w 10000"/>
                  <a:gd name="connsiteY117" fmla="*/ 1372 h 10000"/>
                  <a:gd name="connsiteX118" fmla="*/ 3723 w 10000"/>
                  <a:gd name="connsiteY118" fmla="*/ 1372 h 10000"/>
                  <a:gd name="connsiteX119" fmla="*/ 3681 w 10000"/>
                  <a:gd name="connsiteY119" fmla="*/ 1497 h 10000"/>
                  <a:gd name="connsiteX120" fmla="*/ 3660 w 10000"/>
                  <a:gd name="connsiteY120" fmla="*/ 1705 h 10000"/>
                  <a:gd name="connsiteX121" fmla="*/ 3745 w 10000"/>
                  <a:gd name="connsiteY121" fmla="*/ 1871 h 10000"/>
                  <a:gd name="connsiteX122" fmla="*/ 3894 w 10000"/>
                  <a:gd name="connsiteY122" fmla="*/ 1871 h 10000"/>
                  <a:gd name="connsiteX123" fmla="*/ 4468 w 10000"/>
                  <a:gd name="connsiteY123" fmla="*/ 2162 h 10000"/>
                  <a:gd name="connsiteX124" fmla="*/ 4468 w 10000"/>
                  <a:gd name="connsiteY124" fmla="*/ 2204 h 10000"/>
                  <a:gd name="connsiteX125" fmla="*/ 4468 w 10000"/>
                  <a:gd name="connsiteY125" fmla="*/ 2204 h 10000"/>
                  <a:gd name="connsiteX126" fmla="*/ 4213 w 10000"/>
                  <a:gd name="connsiteY126" fmla="*/ 2370 h 10000"/>
                  <a:gd name="connsiteX127" fmla="*/ 4128 w 10000"/>
                  <a:gd name="connsiteY127" fmla="*/ 2703 h 10000"/>
                  <a:gd name="connsiteX128" fmla="*/ 5043 w 10000"/>
                  <a:gd name="connsiteY128" fmla="*/ 3243 h 10000"/>
                  <a:gd name="connsiteX129" fmla="*/ 5532 w 10000"/>
                  <a:gd name="connsiteY129" fmla="*/ 3243 h 10000"/>
                  <a:gd name="connsiteX130" fmla="*/ 5574 w 10000"/>
                  <a:gd name="connsiteY130" fmla="*/ 3243 h 10000"/>
                  <a:gd name="connsiteX131" fmla="*/ 5745 w 10000"/>
                  <a:gd name="connsiteY131" fmla="*/ 3451 h 10000"/>
                  <a:gd name="connsiteX132" fmla="*/ 6532 w 10000"/>
                  <a:gd name="connsiteY132" fmla="*/ 3617 h 10000"/>
                  <a:gd name="connsiteX133" fmla="*/ 6766 w 10000"/>
                  <a:gd name="connsiteY133" fmla="*/ 3576 h 10000"/>
                  <a:gd name="connsiteX134" fmla="*/ 6809 w 10000"/>
                  <a:gd name="connsiteY134" fmla="*/ 3493 h 10000"/>
                  <a:gd name="connsiteX135" fmla="*/ 6745 w 10000"/>
                  <a:gd name="connsiteY135" fmla="*/ 3430 h 10000"/>
                  <a:gd name="connsiteX136" fmla="*/ 6745 w 10000"/>
                  <a:gd name="connsiteY136" fmla="*/ 3389 h 10000"/>
                  <a:gd name="connsiteX137" fmla="*/ 6766 w 10000"/>
                  <a:gd name="connsiteY137" fmla="*/ 3347 h 10000"/>
                  <a:gd name="connsiteX138" fmla="*/ 6830 w 10000"/>
                  <a:gd name="connsiteY138" fmla="*/ 3077 h 10000"/>
                  <a:gd name="connsiteX139" fmla="*/ 6830 w 10000"/>
                  <a:gd name="connsiteY139" fmla="*/ 3035 h 10000"/>
                  <a:gd name="connsiteX140" fmla="*/ 7043 w 10000"/>
                  <a:gd name="connsiteY140" fmla="*/ 2973 h 10000"/>
                  <a:gd name="connsiteX141" fmla="*/ 7043 w 10000"/>
                  <a:gd name="connsiteY141" fmla="*/ 2973 h 10000"/>
                  <a:gd name="connsiteX142" fmla="*/ 7043 w 10000"/>
                  <a:gd name="connsiteY142" fmla="*/ 2973 h 10000"/>
                  <a:gd name="connsiteX143" fmla="*/ 7085 w 10000"/>
                  <a:gd name="connsiteY143" fmla="*/ 3015 h 10000"/>
                  <a:gd name="connsiteX144" fmla="*/ 7085 w 10000"/>
                  <a:gd name="connsiteY144" fmla="*/ 3222 h 10000"/>
                  <a:gd name="connsiteX145" fmla="*/ 7106 w 10000"/>
                  <a:gd name="connsiteY145" fmla="*/ 3243 h 10000"/>
                  <a:gd name="connsiteX146" fmla="*/ 7149 w 10000"/>
                  <a:gd name="connsiteY146" fmla="*/ 3285 h 10000"/>
                  <a:gd name="connsiteX147" fmla="*/ 7149 w 10000"/>
                  <a:gd name="connsiteY147" fmla="*/ 3285 h 10000"/>
                  <a:gd name="connsiteX148" fmla="*/ 7085 w 10000"/>
                  <a:gd name="connsiteY148" fmla="*/ 3347 h 10000"/>
                  <a:gd name="connsiteX149" fmla="*/ 7106 w 10000"/>
                  <a:gd name="connsiteY149" fmla="*/ 3430 h 10000"/>
                  <a:gd name="connsiteX150" fmla="*/ 7362 w 10000"/>
                  <a:gd name="connsiteY150" fmla="*/ 3493 h 10000"/>
                  <a:gd name="connsiteX151" fmla="*/ 8128 w 10000"/>
                  <a:gd name="connsiteY151" fmla="*/ 3389 h 10000"/>
                  <a:gd name="connsiteX152" fmla="*/ 8191 w 10000"/>
                  <a:gd name="connsiteY152" fmla="*/ 3285 h 10000"/>
                  <a:gd name="connsiteX153" fmla="*/ 8064 w 10000"/>
                  <a:gd name="connsiteY153" fmla="*/ 3222 h 10000"/>
                  <a:gd name="connsiteX154" fmla="*/ 8043 w 10000"/>
                  <a:gd name="connsiteY154" fmla="*/ 3181 h 10000"/>
                  <a:gd name="connsiteX155" fmla="*/ 8043 w 10000"/>
                  <a:gd name="connsiteY155" fmla="*/ 3098 h 10000"/>
                  <a:gd name="connsiteX156" fmla="*/ 8064 w 10000"/>
                  <a:gd name="connsiteY156" fmla="*/ 3077 h 10000"/>
                  <a:gd name="connsiteX157" fmla="*/ 8489 w 10000"/>
                  <a:gd name="connsiteY157" fmla="*/ 2911 h 10000"/>
                  <a:gd name="connsiteX158" fmla="*/ 9021 w 10000"/>
                  <a:gd name="connsiteY158" fmla="*/ 2516 h 10000"/>
                  <a:gd name="connsiteX159" fmla="*/ 9021 w 10000"/>
                  <a:gd name="connsiteY159" fmla="*/ 2516 h 10000"/>
                  <a:gd name="connsiteX160" fmla="*/ 9255 w 10000"/>
                  <a:gd name="connsiteY160" fmla="*/ 2557 h 10000"/>
                  <a:gd name="connsiteX161" fmla="*/ 9511 w 10000"/>
                  <a:gd name="connsiteY161" fmla="*/ 2432 h 10000"/>
                  <a:gd name="connsiteX162" fmla="*/ 9511 w 10000"/>
                  <a:gd name="connsiteY162" fmla="*/ 2432 h 10000"/>
                  <a:gd name="connsiteX163" fmla="*/ 9553 w 10000"/>
                  <a:gd name="connsiteY163" fmla="*/ 2432 h 10000"/>
                  <a:gd name="connsiteX164" fmla="*/ 9553 w 10000"/>
                  <a:gd name="connsiteY164" fmla="*/ 2474 h 10000"/>
                  <a:gd name="connsiteX165" fmla="*/ 9596 w 10000"/>
                  <a:gd name="connsiteY165" fmla="*/ 2620 h 10000"/>
                  <a:gd name="connsiteX166" fmla="*/ 9660 w 10000"/>
                  <a:gd name="connsiteY166" fmla="*/ 2640 h 10000"/>
                  <a:gd name="connsiteX167" fmla="*/ 9660 w 10000"/>
                  <a:gd name="connsiteY167" fmla="*/ 2682 h 10000"/>
                  <a:gd name="connsiteX168" fmla="*/ 9638 w 10000"/>
                  <a:gd name="connsiteY168" fmla="*/ 2827 h 10000"/>
                  <a:gd name="connsiteX169" fmla="*/ 9872 w 10000"/>
                  <a:gd name="connsiteY169" fmla="*/ 2848 h 10000"/>
                  <a:gd name="connsiteX170" fmla="*/ 9979 w 10000"/>
                  <a:gd name="connsiteY170" fmla="*/ 2952 h 10000"/>
                  <a:gd name="connsiteX171" fmla="*/ 10000 w 10000"/>
                  <a:gd name="connsiteY171" fmla="*/ 2973 h 10000"/>
                  <a:gd name="connsiteX172" fmla="*/ 10000 w 10000"/>
                  <a:gd name="connsiteY172" fmla="*/ 3035 h 10000"/>
                  <a:gd name="connsiteX173" fmla="*/ 9979 w 10000"/>
                  <a:gd name="connsiteY173" fmla="*/ 3077 h 10000"/>
                  <a:gd name="connsiteX174" fmla="*/ 9915 w 10000"/>
                  <a:gd name="connsiteY174" fmla="*/ 3098 h 10000"/>
                  <a:gd name="connsiteX175" fmla="*/ 9872 w 10000"/>
                  <a:gd name="connsiteY175" fmla="*/ 3306 h 10000"/>
                  <a:gd name="connsiteX176" fmla="*/ 9851 w 10000"/>
                  <a:gd name="connsiteY176" fmla="*/ 3347 h 10000"/>
                  <a:gd name="connsiteX177" fmla="*/ 9574 w 10000"/>
                  <a:gd name="connsiteY177" fmla="*/ 3347 h 10000"/>
                  <a:gd name="connsiteX178" fmla="*/ 9298 w 10000"/>
                  <a:gd name="connsiteY178" fmla="*/ 3617 h 10000"/>
                  <a:gd name="connsiteX179" fmla="*/ 9255 w 10000"/>
                  <a:gd name="connsiteY179" fmla="*/ 3846 h 10000"/>
                  <a:gd name="connsiteX180" fmla="*/ 9085 w 10000"/>
                  <a:gd name="connsiteY180" fmla="*/ 4054 h 10000"/>
                  <a:gd name="connsiteX181" fmla="*/ 8936 w 10000"/>
                  <a:gd name="connsiteY181" fmla="*/ 4511 h 10000"/>
                  <a:gd name="connsiteX182" fmla="*/ 8894 w 10000"/>
                  <a:gd name="connsiteY182" fmla="*/ 4511 h 10000"/>
                  <a:gd name="connsiteX183" fmla="*/ 8617 w 10000"/>
                  <a:gd name="connsiteY183" fmla="*/ 4595 h 10000"/>
                  <a:gd name="connsiteX184" fmla="*/ 8617 w 10000"/>
                  <a:gd name="connsiteY184" fmla="*/ 4865 h 10000"/>
                  <a:gd name="connsiteX185" fmla="*/ 8596 w 10000"/>
                  <a:gd name="connsiteY185" fmla="*/ 4906 h 10000"/>
                  <a:gd name="connsiteX186" fmla="*/ 8532 w 10000"/>
                  <a:gd name="connsiteY186" fmla="*/ 4906 h 10000"/>
                  <a:gd name="connsiteX187" fmla="*/ 8489 w 10000"/>
                  <a:gd name="connsiteY187" fmla="*/ 4969 h 10000"/>
                  <a:gd name="connsiteX188" fmla="*/ 8553 w 10000"/>
                  <a:gd name="connsiteY188" fmla="*/ 5135 h 10000"/>
                  <a:gd name="connsiteX189" fmla="*/ 8553 w 10000"/>
                  <a:gd name="connsiteY189" fmla="*/ 5177 h 10000"/>
                  <a:gd name="connsiteX190" fmla="*/ 8362 w 10000"/>
                  <a:gd name="connsiteY190" fmla="*/ 5260 h 10000"/>
                  <a:gd name="connsiteX191" fmla="*/ 8362 w 10000"/>
                  <a:gd name="connsiteY191" fmla="*/ 5260 h 10000"/>
                  <a:gd name="connsiteX192" fmla="*/ 8362 w 10000"/>
                  <a:gd name="connsiteY192" fmla="*/ 5260 h 10000"/>
                  <a:gd name="connsiteX193" fmla="*/ 8340 w 10000"/>
                  <a:gd name="connsiteY193" fmla="*/ 5239 h 10000"/>
                  <a:gd name="connsiteX194" fmla="*/ 8191 w 10000"/>
                  <a:gd name="connsiteY194" fmla="*/ 4636 h 10000"/>
                  <a:gd name="connsiteX195" fmla="*/ 8043 w 10000"/>
                  <a:gd name="connsiteY195" fmla="*/ 4844 h 10000"/>
                  <a:gd name="connsiteX196" fmla="*/ 8043 w 10000"/>
                  <a:gd name="connsiteY196" fmla="*/ 4844 h 10000"/>
                  <a:gd name="connsiteX197" fmla="*/ 8043 w 10000"/>
                  <a:gd name="connsiteY197" fmla="*/ 4844 h 10000"/>
                  <a:gd name="connsiteX198" fmla="*/ 8000 w 10000"/>
                  <a:gd name="connsiteY198" fmla="*/ 4844 h 10000"/>
                  <a:gd name="connsiteX199" fmla="*/ 7872 w 10000"/>
                  <a:gd name="connsiteY199" fmla="*/ 4761 h 10000"/>
                  <a:gd name="connsiteX200" fmla="*/ 7787 w 10000"/>
                  <a:gd name="connsiteY200" fmla="*/ 4511 h 10000"/>
                  <a:gd name="connsiteX201" fmla="*/ 7809 w 10000"/>
                  <a:gd name="connsiteY201" fmla="*/ 4511 h 10000"/>
                  <a:gd name="connsiteX202" fmla="*/ 8191 w 10000"/>
                  <a:gd name="connsiteY202" fmla="*/ 4096 h 10000"/>
                  <a:gd name="connsiteX203" fmla="*/ 7468 w 10000"/>
                  <a:gd name="connsiteY203" fmla="*/ 4033 h 10000"/>
                  <a:gd name="connsiteX204" fmla="*/ 7362 w 10000"/>
                  <a:gd name="connsiteY204" fmla="*/ 3950 h 10000"/>
                  <a:gd name="connsiteX205" fmla="*/ 7298 w 10000"/>
                  <a:gd name="connsiteY205" fmla="*/ 3721 h 10000"/>
                  <a:gd name="connsiteX206" fmla="*/ 7298 w 10000"/>
                  <a:gd name="connsiteY206" fmla="*/ 3763 h 10000"/>
                  <a:gd name="connsiteX207" fmla="*/ 7255 w 10000"/>
                  <a:gd name="connsiteY207" fmla="*/ 3763 h 10000"/>
                  <a:gd name="connsiteX208" fmla="*/ 7170 w 10000"/>
                  <a:gd name="connsiteY208" fmla="*/ 3763 h 10000"/>
                  <a:gd name="connsiteX209" fmla="*/ 7170 w 10000"/>
                  <a:gd name="connsiteY209" fmla="*/ 3763 h 10000"/>
                  <a:gd name="connsiteX210" fmla="*/ 7106 w 10000"/>
                  <a:gd name="connsiteY210" fmla="*/ 3638 h 10000"/>
                  <a:gd name="connsiteX211" fmla="*/ 7043 w 10000"/>
                  <a:gd name="connsiteY211" fmla="*/ 3721 h 10000"/>
                  <a:gd name="connsiteX212" fmla="*/ 7043 w 10000"/>
                  <a:gd name="connsiteY212" fmla="*/ 3721 h 10000"/>
                  <a:gd name="connsiteX213" fmla="*/ 7043 w 10000"/>
                  <a:gd name="connsiteY213" fmla="*/ 3721 h 10000"/>
                  <a:gd name="connsiteX214" fmla="*/ 7021 w 10000"/>
                  <a:gd name="connsiteY214" fmla="*/ 3721 h 10000"/>
                  <a:gd name="connsiteX215" fmla="*/ 6957 w 10000"/>
                  <a:gd name="connsiteY215" fmla="*/ 3617 h 10000"/>
                  <a:gd name="connsiteX216" fmla="*/ 6830 w 10000"/>
                  <a:gd name="connsiteY216" fmla="*/ 3825 h 10000"/>
                  <a:gd name="connsiteX217" fmla="*/ 6872 w 10000"/>
                  <a:gd name="connsiteY217" fmla="*/ 3888 h 10000"/>
                  <a:gd name="connsiteX218" fmla="*/ 6979 w 10000"/>
                  <a:gd name="connsiteY218" fmla="*/ 3909 h 10000"/>
                  <a:gd name="connsiteX219" fmla="*/ 7021 w 10000"/>
                  <a:gd name="connsiteY219" fmla="*/ 3909 h 10000"/>
                  <a:gd name="connsiteX220" fmla="*/ 7021 w 10000"/>
                  <a:gd name="connsiteY220" fmla="*/ 4033 h 10000"/>
                  <a:gd name="connsiteX221" fmla="*/ 7021 w 10000"/>
                  <a:gd name="connsiteY221" fmla="*/ 4054 h 10000"/>
                  <a:gd name="connsiteX222" fmla="*/ 7021 w 10000"/>
                  <a:gd name="connsiteY222" fmla="*/ 4054 h 10000"/>
                  <a:gd name="connsiteX223" fmla="*/ 6894 w 10000"/>
                  <a:gd name="connsiteY223" fmla="*/ 4054 h 10000"/>
                  <a:gd name="connsiteX224" fmla="*/ 6766 w 10000"/>
                  <a:gd name="connsiteY224" fmla="*/ 4220 h 10000"/>
                  <a:gd name="connsiteX225" fmla="*/ 6979 w 10000"/>
                  <a:gd name="connsiteY225" fmla="*/ 4366 h 10000"/>
                  <a:gd name="connsiteX226" fmla="*/ 6979 w 10000"/>
                  <a:gd name="connsiteY226" fmla="*/ 4387 h 10000"/>
                  <a:gd name="connsiteX227" fmla="*/ 6957 w 10000"/>
                  <a:gd name="connsiteY227" fmla="*/ 4595 h 10000"/>
                  <a:gd name="connsiteX228" fmla="*/ 7106 w 10000"/>
                  <a:gd name="connsiteY228" fmla="*/ 5322 h 10000"/>
                  <a:gd name="connsiteX229" fmla="*/ 7106 w 10000"/>
                  <a:gd name="connsiteY229" fmla="*/ 5364 h 10000"/>
                  <a:gd name="connsiteX230" fmla="*/ 7043 w 10000"/>
                  <a:gd name="connsiteY230" fmla="*/ 5385 h 10000"/>
                  <a:gd name="connsiteX231" fmla="*/ 7043 w 10000"/>
                  <a:gd name="connsiteY231" fmla="*/ 5385 h 10000"/>
                  <a:gd name="connsiteX232" fmla="*/ 7021 w 10000"/>
                  <a:gd name="connsiteY232" fmla="*/ 5364 h 10000"/>
                  <a:gd name="connsiteX233" fmla="*/ 7021 w 10000"/>
                  <a:gd name="connsiteY233" fmla="*/ 5364 h 10000"/>
                  <a:gd name="connsiteX234" fmla="*/ 7021 w 10000"/>
                  <a:gd name="connsiteY234" fmla="*/ 5364 h 10000"/>
                  <a:gd name="connsiteX235" fmla="*/ 6894 w 10000"/>
                  <a:gd name="connsiteY235" fmla="*/ 5426 h 10000"/>
                  <a:gd name="connsiteX236" fmla="*/ 6872 w 10000"/>
                  <a:gd name="connsiteY236" fmla="*/ 5426 h 10000"/>
                  <a:gd name="connsiteX237" fmla="*/ 6872 w 10000"/>
                  <a:gd name="connsiteY237" fmla="*/ 5426 h 10000"/>
                  <a:gd name="connsiteX238" fmla="*/ 6872 w 10000"/>
                  <a:gd name="connsiteY238" fmla="*/ 5385 h 10000"/>
                  <a:gd name="connsiteX239" fmla="*/ 6809 w 10000"/>
                  <a:gd name="connsiteY239" fmla="*/ 5198 h 10000"/>
                  <a:gd name="connsiteX240" fmla="*/ 6766 w 10000"/>
                  <a:gd name="connsiteY240" fmla="*/ 5301 h 10000"/>
                  <a:gd name="connsiteX241" fmla="*/ 6468 w 10000"/>
                  <a:gd name="connsiteY241" fmla="*/ 5447 h 10000"/>
                  <a:gd name="connsiteX242" fmla="*/ 6468 w 10000"/>
                  <a:gd name="connsiteY242" fmla="*/ 5696 h 10000"/>
                  <a:gd name="connsiteX243" fmla="*/ 6468 w 10000"/>
                  <a:gd name="connsiteY243" fmla="*/ 5696 h 10000"/>
                  <a:gd name="connsiteX244" fmla="*/ 6213 w 10000"/>
                  <a:gd name="connsiteY244" fmla="*/ 5925 h 10000"/>
                  <a:gd name="connsiteX245" fmla="*/ 5745 w 10000"/>
                  <a:gd name="connsiteY245" fmla="*/ 6175 h 10000"/>
                  <a:gd name="connsiteX246" fmla="*/ 5511 w 10000"/>
                  <a:gd name="connsiteY246" fmla="*/ 6507 h 10000"/>
                  <a:gd name="connsiteX247" fmla="*/ 4894 w 10000"/>
                  <a:gd name="connsiteY247" fmla="*/ 6985 h 10000"/>
                  <a:gd name="connsiteX248" fmla="*/ 4787 w 10000"/>
                  <a:gd name="connsiteY248" fmla="*/ 7131 h 10000"/>
                  <a:gd name="connsiteX249" fmla="*/ 4787 w 10000"/>
                  <a:gd name="connsiteY249" fmla="*/ 7131 h 10000"/>
                  <a:gd name="connsiteX250" fmla="*/ 4489 w 10000"/>
                  <a:gd name="connsiteY250" fmla="*/ 7214 h 10000"/>
                  <a:gd name="connsiteX251" fmla="*/ 4362 w 10000"/>
                  <a:gd name="connsiteY251" fmla="*/ 7401 h 10000"/>
                  <a:gd name="connsiteX252" fmla="*/ 4362 w 10000"/>
                  <a:gd name="connsiteY252" fmla="*/ 7443 h 10000"/>
                  <a:gd name="connsiteX253" fmla="*/ 4191 w 10000"/>
                  <a:gd name="connsiteY253" fmla="*/ 7443 h 10000"/>
                  <a:gd name="connsiteX254" fmla="*/ 4085 w 10000"/>
                  <a:gd name="connsiteY254" fmla="*/ 7547 h 10000"/>
                  <a:gd name="connsiteX255" fmla="*/ 4128 w 10000"/>
                  <a:gd name="connsiteY255" fmla="*/ 8129 h 10000"/>
                  <a:gd name="connsiteX256" fmla="*/ 4191 w 10000"/>
                  <a:gd name="connsiteY256" fmla="*/ 8254 h 10000"/>
                  <a:gd name="connsiteX257" fmla="*/ 4191 w 10000"/>
                  <a:gd name="connsiteY257" fmla="*/ 8274 h 10000"/>
                  <a:gd name="connsiteX258" fmla="*/ 4021 w 10000"/>
                  <a:gd name="connsiteY258" fmla="*/ 8794 h 10000"/>
                  <a:gd name="connsiteX259" fmla="*/ 4021 w 10000"/>
                  <a:gd name="connsiteY259" fmla="*/ 9210 h 10000"/>
                  <a:gd name="connsiteX260" fmla="*/ 4021 w 10000"/>
                  <a:gd name="connsiteY260" fmla="*/ 9231 h 10000"/>
                  <a:gd name="connsiteX261" fmla="*/ 4021 w 10000"/>
                  <a:gd name="connsiteY261" fmla="*/ 9231 h 10000"/>
                  <a:gd name="connsiteX262" fmla="*/ 3851 w 10000"/>
                  <a:gd name="connsiteY262" fmla="*/ 9231 h 10000"/>
                  <a:gd name="connsiteX263" fmla="*/ 3745 w 10000"/>
                  <a:gd name="connsiteY263" fmla="*/ 9480 h 10000"/>
                  <a:gd name="connsiteX264" fmla="*/ 3745 w 10000"/>
                  <a:gd name="connsiteY264" fmla="*/ 9563 h 10000"/>
                  <a:gd name="connsiteX265" fmla="*/ 3723 w 10000"/>
                  <a:gd name="connsiteY265" fmla="*/ 9563 h 10000"/>
                  <a:gd name="connsiteX266" fmla="*/ 3468 w 10000"/>
                  <a:gd name="connsiteY266" fmla="*/ 9667 h 10000"/>
                  <a:gd name="connsiteX267" fmla="*/ 3447 w 10000"/>
                  <a:gd name="connsiteY267" fmla="*/ 9834 h 10000"/>
                  <a:gd name="connsiteX268" fmla="*/ 3298 w 10000"/>
                  <a:gd name="connsiteY268" fmla="*/ 10000 h 10000"/>
                  <a:gd name="connsiteX269" fmla="*/ 3255 w 10000"/>
                  <a:gd name="connsiteY269" fmla="*/ 10000 h 10000"/>
                  <a:gd name="connsiteX270" fmla="*/ 3170 w 10000"/>
                  <a:gd name="connsiteY270" fmla="*/ 10000 h 10000"/>
                  <a:gd name="connsiteX0" fmla="*/ 3170 w 10000"/>
                  <a:gd name="connsiteY0" fmla="*/ 10000 h 10000"/>
                  <a:gd name="connsiteX1" fmla="*/ 3170 w 10000"/>
                  <a:gd name="connsiteY1" fmla="*/ 9958 h 10000"/>
                  <a:gd name="connsiteX2" fmla="*/ 2915 w 10000"/>
                  <a:gd name="connsiteY2" fmla="*/ 9688 h 10000"/>
                  <a:gd name="connsiteX3" fmla="*/ 2617 w 10000"/>
                  <a:gd name="connsiteY3" fmla="*/ 8857 h 10000"/>
                  <a:gd name="connsiteX4" fmla="*/ 2404 w 10000"/>
                  <a:gd name="connsiteY4" fmla="*/ 8586 h 10000"/>
                  <a:gd name="connsiteX5" fmla="*/ 2277 w 10000"/>
                  <a:gd name="connsiteY5" fmla="*/ 8129 h 10000"/>
                  <a:gd name="connsiteX6" fmla="*/ 2021 w 10000"/>
                  <a:gd name="connsiteY6" fmla="*/ 7672 h 10000"/>
                  <a:gd name="connsiteX7" fmla="*/ 2000 w 10000"/>
                  <a:gd name="connsiteY7" fmla="*/ 7484 h 10000"/>
                  <a:gd name="connsiteX8" fmla="*/ 1957 w 10000"/>
                  <a:gd name="connsiteY8" fmla="*/ 7484 h 10000"/>
                  <a:gd name="connsiteX9" fmla="*/ 1936 w 10000"/>
                  <a:gd name="connsiteY9" fmla="*/ 7526 h 10000"/>
                  <a:gd name="connsiteX10" fmla="*/ 1936 w 10000"/>
                  <a:gd name="connsiteY10" fmla="*/ 7526 h 10000"/>
                  <a:gd name="connsiteX11" fmla="*/ 1936 w 10000"/>
                  <a:gd name="connsiteY11" fmla="*/ 7484 h 10000"/>
                  <a:gd name="connsiteX12" fmla="*/ 1872 w 10000"/>
                  <a:gd name="connsiteY12" fmla="*/ 7380 h 10000"/>
                  <a:gd name="connsiteX13" fmla="*/ 1745 w 10000"/>
                  <a:gd name="connsiteY13" fmla="*/ 7131 h 10000"/>
                  <a:gd name="connsiteX14" fmla="*/ 1596 w 10000"/>
                  <a:gd name="connsiteY14" fmla="*/ 6466 h 10000"/>
                  <a:gd name="connsiteX15" fmla="*/ 1617 w 10000"/>
                  <a:gd name="connsiteY15" fmla="*/ 6258 h 10000"/>
                  <a:gd name="connsiteX16" fmla="*/ 1596 w 10000"/>
                  <a:gd name="connsiteY16" fmla="*/ 6258 h 10000"/>
                  <a:gd name="connsiteX17" fmla="*/ 1596 w 10000"/>
                  <a:gd name="connsiteY17" fmla="*/ 6258 h 10000"/>
                  <a:gd name="connsiteX18" fmla="*/ 1532 w 10000"/>
                  <a:gd name="connsiteY18" fmla="*/ 6008 h 10000"/>
                  <a:gd name="connsiteX19" fmla="*/ 1596 w 10000"/>
                  <a:gd name="connsiteY19" fmla="*/ 5738 h 10000"/>
                  <a:gd name="connsiteX20" fmla="*/ 1468 w 10000"/>
                  <a:gd name="connsiteY20" fmla="*/ 5239 h 10000"/>
                  <a:gd name="connsiteX21" fmla="*/ 1468 w 10000"/>
                  <a:gd name="connsiteY21" fmla="*/ 5239 h 10000"/>
                  <a:gd name="connsiteX22" fmla="*/ 1596 w 10000"/>
                  <a:gd name="connsiteY22" fmla="*/ 5114 h 10000"/>
                  <a:gd name="connsiteX23" fmla="*/ 1447 w 10000"/>
                  <a:gd name="connsiteY23" fmla="*/ 5094 h 10000"/>
                  <a:gd name="connsiteX24" fmla="*/ 1319 w 10000"/>
                  <a:gd name="connsiteY24" fmla="*/ 5509 h 10000"/>
                  <a:gd name="connsiteX25" fmla="*/ 1319 w 10000"/>
                  <a:gd name="connsiteY25" fmla="*/ 5530 h 10000"/>
                  <a:gd name="connsiteX26" fmla="*/ 1064 w 10000"/>
                  <a:gd name="connsiteY26" fmla="*/ 5634 h 10000"/>
                  <a:gd name="connsiteX27" fmla="*/ 830 w 10000"/>
                  <a:gd name="connsiteY27" fmla="*/ 5634 h 10000"/>
                  <a:gd name="connsiteX28" fmla="*/ 787 w 10000"/>
                  <a:gd name="connsiteY28" fmla="*/ 5634 h 10000"/>
                  <a:gd name="connsiteX29" fmla="*/ 298 w 10000"/>
                  <a:gd name="connsiteY29" fmla="*/ 5177 h 10000"/>
                  <a:gd name="connsiteX30" fmla="*/ 298 w 10000"/>
                  <a:gd name="connsiteY30" fmla="*/ 5094 h 10000"/>
                  <a:gd name="connsiteX31" fmla="*/ 298 w 10000"/>
                  <a:gd name="connsiteY31" fmla="*/ 5094 h 10000"/>
                  <a:gd name="connsiteX32" fmla="*/ 298 w 10000"/>
                  <a:gd name="connsiteY32" fmla="*/ 5052 h 10000"/>
                  <a:gd name="connsiteX33" fmla="*/ 638 w 10000"/>
                  <a:gd name="connsiteY33" fmla="*/ 5031 h 10000"/>
                  <a:gd name="connsiteX34" fmla="*/ 723 w 10000"/>
                  <a:gd name="connsiteY34" fmla="*/ 4927 h 10000"/>
                  <a:gd name="connsiteX35" fmla="*/ 766 w 10000"/>
                  <a:gd name="connsiteY35" fmla="*/ 4823 h 10000"/>
                  <a:gd name="connsiteX36" fmla="*/ 574 w 10000"/>
                  <a:gd name="connsiteY36" fmla="*/ 4906 h 10000"/>
                  <a:gd name="connsiteX37" fmla="*/ 298 w 10000"/>
                  <a:gd name="connsiteY37" fmla="*/ 4906 h 10000"/>
                  <a:gd name="connsiteX38" fmla="*/ 298 w 10000"/>
                  <a:gd name="connsiteY38" fmla="*/ 4906 h 10000"/>
                  <a:gd name="connsiteX39" fmla="*/ 0 w 10000"/>
                  <a:gd name="connsiteY39" fmla="*/ 4574 h 10000"/>
                  <a:gd name="connsiteX40" fmla="*/ 0 w 10000"/>
                  <a:gd name="connsiteY40" fmla="*/ 4574 h 10000"/>
                  <a:gd name="connsiteX41" fmla="*/ 0 w 10000"/>
                  <a:gd name="connsiteY41" fmla="*/ 4553 h 10000"/>
                  <a:gd name="connsiteX42" fmla="*/ 85 w 10000"/>
                  <a:gd name="connsiteY42" fmla="*/ 4491 h 10000"/>
                  <a:gd name="connsiteX43" fmla="*/ 277 w 10000"/>
                  <a:gd name="connsiteY43" fmla="*/ 4491 h 10000"/>
                  <a:gd name="connsiteX44" fmla="*/ 277 w 10000"/>
                  <a:gd name="connsiteY44" fmla="*/ 4324 h 10000"/>
                  <a:gd name="connsiteX45" fmla="*/ 277 w 10000"/>
                  <a:gd name="connsiteY45" fmla="*/ 4324 h 10000"/>
                  <a:gd name="connsiteX46" fmla="*/ 298 w 10000"/>
                  <a:gd name="connsiteY46" fmla="*/ 4324 h 10000"/>
                  <a:gd name="connsiteX47" fmla="*/ 298 w 10000"/>
                  <a:gd name="connsiteY47" fmla="*/ 4324 h 10000"/>
                  <a:gd name="connsiteX48" fmla="*/ 702 w 10000"/>
                  <a:gd name="connsiteY48" fmla="*/ 4428 h 10000"/>
                  <a:gd name="connsiteX49" fmla="*/ 830 w 10000"/>
                  <a:gd name="connsiteY49" fmla="*/ 4304 h 10000"/>
                  <a:gd name="connsiteX50" fmla="*/ 851 w 10000"/>
                  <a:gd name="connsiteY50" fmla="*/ 4304 h 10000"/>
                  <a:gd name="connsiteX51" fmla="*/ 851 w 10000"/>
                  <a:gd name="connsiteY51" fmla="*/ 4304 h 10000"/>
                  <a:gd name="connsiteX52" fmla="*/ 936 w 10000"/>
                  <a:gd name="connsiteY52" fmla="*/ 4387 h 10000"/>
                  <a:gd name="connsiteX53" fmla="*/ 1043 w 10000"/>
                  <a:gd name="connsiteY53" fmla="*/ 4324 h 10000"/>
                  <a:gd name="connsiteX54" fmla="*/ 894 w 10000"/>
                  <a:gd name="connsiteY54" fmla="*/ 3909 h 10000"/>
                  <a:gd name="connsiteX55" fmla="*/ 702 w 10000"/>
                  <a:gd name="connsiteY55" fmla="*/ 3825 h 10000"/>
                  <a:gd name="connsiteX56" fmla="*/ 702 w 10000"/>
                  <a:gd name="connsiteY56" fmla="*/ 3784 h 10000"/>
                  <a:gd name="connsiteX57" fmla="*/ 723 w 10000"/>
                  <a:gd name="connsiteY57" fmla="*/ 3617 h 10000"/>
                  <a:gd name="connsiteX58" fmla="*/ 511 w 10000"/>
                  <a:gd name="connsiteY58" fmla="*/ 3555 h 10000"/>
                  <a:gd name="connsiteX59" fmla="*/ 511 w 10000"/>
                  <a:gd name="connsiteY59" fmla="*/ 3555 h 10000"/>
                  <a:gd name="connsiteX60" fmla="*/ 489 w 10000"/>
                  <a:gd name="connsiteY60" fmla="*/ 3514 h 10000"/>
                  <a:gd name="connsiteX61" fmla="*/ 553 w 10000"/>
                  <a:gd name="connsiteY61" fmla="*/ 3368 h 10000"/>
                  <a:gd name="connsiteX62" fmla="*/ 830 w 10000"/>
                  <a:gd name="connsiteY62" fmla="*/ 2973 h 10000"/>
                  <a:gd name="connsiteX63" fmla="*/ 851 w 10000"/>
                  <a:gd name="connsiteY63" fmla="*/ 2973 h 10000"/>
                  <a:gd name="connsiteX64" fmla="*/ 851 w 10000"/>
                  <a:gd name="connsiteY64" fmla="*/ 2973 h 10000"/>
                  <a:gd name="connsiteX65" fmla="*/ 851 w 10000"/>
                  <a:gd name="connsiteY65" fmla="*/ 2973 h 10000"/>
                  <a:gd name="connsiteX66" fmla="*/ 979 w 10000"/>
                  <a:gd name="connsiteY66" fmla="*/ 3098 h 10000"/>
                  <a:gd name="connsiteX67" fmla="*/ 1277 w 10000"/>
                  <a:gd name="connsiteY67" fmla="*/ 3035 h 10000"/>
                  <a:gd name="connsiteX68" fmla="*/ 1468 w 10000"/>
                  <a:gd name="connsiteY68" fmla="*/ 2765 h 10000"/>
                  <a:gd name="connsiteX69" fmla="*/ 1660 w 10000"/>
                  <a:gd name="connsiteY69" fmla="*/ 2620 h 10000"/>
                  <a:gd name="connsiteX70" fmla="*/ 1830 w 10000"/>
                  <a:gd name="connsiteY70" fmla="*/ 2287 h 10000"/>
                  <a:gd name="connsiteX71" fmla="*/ 1957 w 10000"/>
                  <a:gd name="connsiteY71" fmla="*/ 2245 h 10000"/>
                  <a:gd name="connsiteX72" fmla="*/ 2000 w 10000"/>
                  <a:gd name="connsiteY72" fmla="*/ 2204 h 10000"/>
                  <a:gd name="connsiteX73" fmla="*/ 2170 w 10000"/>
                  <a:gd name="connsiteY73" fmla="*/ 2079 h 10000"/>
                  <a:gd name="connsiteX74" fmla="*/ 2404 w 10000"/>
                  <a:gd name="connsiteY74" fmla="*/ 1975 h 10000"/>
                  <a:gd name="connsiteX75" fmla="*/ 2511 w 10000"/>
                  <a:gd name="connsiteY75" fmla="*/ 1954 h 10000"/>
                  <a:gd name="connsiteX76" fmla="*/ 2511 w 10000"/>
                  <a:gd name="connsiteY76" fmla="*/ 1892 h 10000"/>
                  <a:gd name="connsiteX77" fmla="*/ 2574 w 10000"/>
                  <a:gd name="connsiteY77" fmla="*/ 1892 h 10000"/>
                  <a:gd name="connsiteX78" fmla="*/ 2638 w 10000"/>
                  <a:gd name="connsiteY78" fmla="*/ 1809 h 10000"/>
                  <a:gd name="connsiteX79" fmla="*/ 2681 w 10000"/>
                  <a:gd name="connsiteY79" fmla="*/ 1559 h 10000"/>
                  <a:gd name="connsiteX80" fmla="*/ 2702 w 10000"/>
                  <a:gd name="connsiteY80" fmla="*/ 1372 h 10000"/>
                  <a:gd name="connsiteX81" fmla="*/ 2574 w 10000"/>
                  <a:gd name="connsiteY81" fmla="*/ 1435 h 10000"/>
                  <a:gd name="connsiteX82" fmla="*/ 2489 w 10000"/>
                  <a:gd name="connsiteY82" fmla="*/ 1414 h 10000"/>
                  <a:gd name="connsiteX83" fmla="*/ 2447 w 10000"/>
                  <a:gd name="connsiteY83" fmla="*/ 1331 h 10000"/>
                  <a:gd name="connsiteX84" fmla="*/ 2447 w 10000"/>
                  <a:gd name="connsiteY84" fmla="*/ 1331 h 10000"/>
                  <a:gd name="connsiteX85" fmla="*/ 2426 w 10000"/>
                  <a:gd name="connsiteY85" fmla="*/ 1268 h 10000"/>
                  <a:gd name="connsiteX86" fmla="*/ 2404 w 10000"/>
                  <a:gd name="connsiteY86" fmla="*/ 1206 h 10000"/>
                  <a:gd name="connsiteX87" fmla="*/ 2426 w 10000"/>
                  <a:gd name="connsiteY87" fmla="*/ 1102 h 10000"/>
                  <a:gd name="connsiteX88" fmla="*/ 2511 w 10000"/>
                  <a:gd name="connsiteY88" fmla="*/ 1019 h 10000"/>
                  <a:gd name="connsiteX89" fmla="*/ 2617 w 10000"/>
                  <a:gd name="connsiteY89" fmla="*/ 936 h 10000"/>
                  <a:gd name="connsiteX90" fmla="*/ 2553 w 10000"/>
                  <a:gd name="connsiteY90" fmla="*/ 811 h 10000"/>
                  <a:gd name="connsiteX91" fmla="*/ 2426 w 10000"/>
                  <a:gd name="connsiteY91" fmla="*/ 811 h 10000"/>
                  <a:gd name="connsiteX92" fmla="*/ 2426 w 10000"/>
                  <a:gd name="connsiteY92" fmla="*/ 686 h 10000"/>
                  <a:gd name="connsiteX93" fmla="*/ 2298 w 10000"/>
                  <a:gd name="connsiteY93" fmla="*/ 561 h 10000"/>
                  <a:gd name="connsiteX94" fmla="*/ 2234 w 10000"/>
                  <a:gd name="connsiteY94" fmla="*/ 457 h 10000"/>
                  <a:gd name="connsiteX95" fmla="*/ 2149 w 10000"/>
                  <a:gd name="connsiteY95" fmla="*/ 270 h 10000"/>
                  <a:gd name="connsiteX96" fmla="*/ 2149 w 10000"/>
                  <a:gd name="connsiteY96" fmla="*/ 166 h 10000"/>
                  <a:gd name="connsiteX97" fmla="*/ 2277 w 10000"/>
                  <a:gd name="connsiteY97" fmla="*/ 83 h 10000"/>
                  <a:gd name="connsiteX98" fmla="*/ 2553 w 10000"/>
                  <a:gd name="connsiteY98" fmla="*/ 0 h 10000"/>
                  <a:gd name="connsiteX99" fmla="*/ 2787 w 10000"/>
                  <a:gd name="connsiteY99" fmla="*/ 62 h 10000"/>
                  <a:gd name="connsiteX100" fmla="*/ 2894 w 10000"/>
                  <a:gd name="connsiteY100" fmla="*/ 146 h 10000"/>
                  <a:gd name="connsiteX101" fmla="*/ 3043 w 10000"/>
                  <a:gd name="connsiteY101" fmla="*/ 166 h 10000"/>
                  <a:gd name="connsiteX102" fmla="*/ 3574 w 10000"/>
                  <a:gd name="connsiteY102" fmla="*/ 499 h 10000"/>
                  <a:gd name="connsiteX103" fmla="*/ 3745 w 10000"/>
                  <a:gd name="connsiteY103" fmla="*/ 457 h 10000"/>
                  <a:gd name="connsiteX104" fmla="*/ 3936 w 10000"/>
                  <a:gd name="connsiteY104" fmla="*/ 395 h 10000"/>
                  <a:gd name="connsiteX105" fmla="*/ 4128 w 10000"/>
                  <a:gd name="connsiteY105" fmla="*/ 353 h 10000"/>
                  <a:gd name="connsiteX106" fmla="*/ 4128 w 10000"/>
                  <a:gd name="connsiteY106" fmla="*/ 353 h 10000"/>
                  <a:gd name="connsiteX107" fmla="*/ 4128 w 10000"/>
                  <a:gd name="connsiteY107" fmla="*/ 416 h 10000"/>
                  <a:gd name="connsiteX108" fmla="*/ 3957 w 10000"/>
                  <a:gd name="connsiteY108" fmla="*/ 541 h 10000"/>
                  <a:gd name="connsiteX109" fmla="*/ 3936 w 10000"/>
                  <a:gd name="connsiteY109" fmla="*/ 686 h 10000"/>
                  <a:gd name="connsiteX110" fmla="*/ 3936 w 10000"/>
                  <a:gd name="connsiteY110" fmla="*/ 686 h 10000"/>
                  <a:gd name="connsiteX111" fmla="*/ 3745 w 10000"/>
                  <a:gd name="connsiteY111" fmla="*/ 728 h 10000"/>
                  <a:gd name="connsiteX112" fmla="*/ 4288 w 10000"/>
                  <a:gd name="connsiteY112" fmla="*/ 1081 h 10000"/>
                  <a:gd name="connsiteX113" fmla="*/ 3957 w 10000"/>
                  <a:gd name="connsiteY113" fmla="*/ 1206 h 10000"/>
                  <a:gd name="connsiteX114" fmla="*/ 3957 w 10000"/>
                  <a:gd name="connsiteY114" fmla="*/ 1227 h 10000"/>
                  <a:gd name="connsiteX115" fmla="*/ 3745 w 10000"/>
                  <a:gd name="connsiteY115" fmla="*/ 1372 h 10000"/>
                  <a:gd name="connsiteX116" fmla="*/ 3745 w 10000"/>
                  <a:gd name="connsiteY116" fmla="*/ 1372 h 10000"/>
                  <a:gd name="connsiteX117" fmla="*/ 3723 w 10000"/>
                  <a:gd name="connsiteY117" fmla="*/ 1372 h 10000"/>
                  <a:gd name="connsiteX118" fmla="*/ 3723 w 10000"/>
                  <a:gd name="connsiteY118" fmla="*/ 1372 h 10000"/>
                  <a:gd name="connsiteX119" fmla="*/ 3681 w 10000"/>
                  <a:gd name="connsiteY119" fmla="*/ 1497 h 10000"/>
                  <a:gd name="connsiteX120" fmla="*/ 3660 w 10000"/>
                  <a:gd name="connsiteY120" fmla="*/ 1705 h 10000"/>
                  <a:gd name="connsiteX121" fmla="*/ 3745 w 10000"/>
                  <a:gd name="connsiteY121" fmla="*/ 1871 h 10000"/>
                  <a:gd name="connsiteX122" fmla="*/ 3894 w 10000"/>
                  <a:gd name="connsiteY122" fmla="*/ 1871 h 10000"/>
                  <a:gd name="connsiteX123" fmla="*/ 4468 w 10000"/>
                  <a:gd name="connsiteY123" fmla="*/ 2162 h 10000"/>
                  <a:gd name="connsiteX124" fmla="*/ 4468 w 10000"/>
                  <a:gd name="connsiteY124" fmla="*/ 2204 h 10000"/>
                  <a:gd name="connsiteX125" fmla="*/ 4468 w 10000"/>
                  <a:gd name="connsiteY125" fmla="*/ 2204 h 10000"/>
                  <a:gd name="connsiteX126" fmla="*/ 4213 w 10000"/>
                  <a:gd name="connsiteY126" fmla="*/ 2370 h 10000"/>
                  <a:gd name="connsiteX127" fmla="*/ 4128 w 10000"/>
                  <a:gd name="connsiteY127" fmla="*/ 2703 h 10000"/>
                  <a:gd name="connsiteX128" fmla="*/ 5043 w 10000"/>
                  <a:gd name="connsiteY128" fmla="*/ 3243 h 10000"/>
                  <a:gd name="connsiteX129" fmla="*/ 5532 w 10000"/>
                  <a:gd name="connsiteY129" fmla="*/ 3243 h 10000"/>
                  <a:gd name="connsiteX130" fmla="*/ 5574 w 10000"/>
                  <a:gd name="connsiteY130" fmla="*/ 3243 h 10000"/>
                  <a:gd name="connsiteX131" fmla="*/ 5745 w 10000"/>
                  <a:gd name="connsiteY131" fmla="*/ 3451 h 10000"/>
                  <a:gd name="connsiteX132" fmla="*/ 6532 w 10000"/>
                  <a:gd name="connsiteY132" fmla="*/ 3617 h 10000"/>
                  <a:gd name="connsiteX133" fmla="*/ 6766 w 10000"/>
                  <a:gd name="connsiteY133" fmla="*/ 3576 h 10000"/>
                  <a:gd name="connsiteX134" fmla="*/ 6809 w 10000"/>
                  <a:gd name="connsiteY134" fmla="*/ 3493 h 10000"/>
                  <a:gd name="connsiteX135" fmla="*/ 6745 w 10000"/>
                  <a:gd name="connsiteY135" fmla="*/ 3430 h 10000"/>
                  <a:gd name="connsiteX136" fmla="*/ 6745 w 10000"/>
                  <a:gd name="connsiteY136" fmla="*/ 3389 h 10000"/>
                  <a:gd name="connsiteX137" fmla="*/ 6766 w 10000"/>
                  <a:gd name="connsiteY137" fmla="*/ 3347 h 10000"/>
                  <a:gd name="connsiteX138" fmla="*/ 6830 w 10000"/>
                  <a:gd name="connsiteY138" fmla="*/ 3077 h 10000"/>
                  <a:gd name="connsiteX139" fmla="*/ 6830 w 10000"/>
                  <a:gd name="connsiteY139" fmla="*/ 3035 h 10000"/>
                  <a:gd name="connsiteX140" fmla="*/ 7043 w 10000"/>
                  <a:gd name="connsiteY140" fmla="*/ 2973 h 10000"/>
                  <a:gd name="connsiteX141" fmla="*/ 7043 w 10000"/>
                  <a:gd name="connsiteY141" fmla="*/ 2973 h 10000"/>
                  <a:gd name="connsiteX142" fmla="*/ 7043 w 10000"/>
                  <a:gd name="connsiteY142" fmla="*/ 2973 h 10000"/>
                  <a:gd name="connsiteX143" fmla="*/ 7085 w 10000"/>
                  <a:gd name="connsiteY143" fmla="*/ 3015 h 10000"/>
                  <a:gd name="connsiteX144" fmla="*/ 7085 w 10000"/>
                  <a:gd name="connsiteY144" fmla="*/ 3222 h 10000"/>
                  <a:gd name="connsiteX145" fmla="*/ 7106 w 10000"/>
                  <a:gd name="connsiteY145" fmla="*/ 3243 h 10000"/>
                  <a:gd name="connsiteX146" fmla="*/ 7149 w 10000"/>
                  <a:gd name="connsiteY146" fmla="*/ 3285 h 10000"/>
                  <a:gd name="connsiteX147" fmla="*/ 7149 w 10000"/>
                  <a:gd name="connsiteY147" fmla="*/ 3285 h 10000"/>
                  <a:gd name="connsiteX148" fmla="*/ 7085 w 10000"/>
                  <a:gd name="connsiteY148" fmla="*/ 3347 h 10000"/>
                  <a:gd name="connsiteX149" fmla="*/ 7106 w 10000"/>
                  <a:gd name="connsiteY149" fmla="*/ 3430 h 10000"/>
                  <a:gd name="connsiteX150" fmla="*/ 7362 w 10000"/>
                  <a:gd name="connsiteY150" fmla="*/ 3493 h 10000"/>
                  <a:gd name="connsiteX151" fmla="*/ 8128 w 10000"/>
                  <a:gd name="connsiteY151" fmla="*/ 3389 h 10000"/>
                  <a:gd name="connsiteX152" fmla="*/ 8191 w 10000"/>
                  <a:gd name="connsiteY152" fmla="*/ 3285 h 10000"/>
                  <a:gd name="connsiteX153" fmla="*/ 8064 w 10000"/>
                  <a:gd name="connsiteY153" fmla="*/ 3222 h 10000"/>
                  <a:gd name="connsiteX154" fmla="*/ 8043 w 10000"/>
                  <a:gd name="connsiteY154" fmla="*/ 3181 h 10000"/>
                  <a:gd name="connsiteX155" fmla="*/ 8043 w 10000"/>
                  <a:gd name="connsiteY155" fmla="*/ 3098 h 10000"/>
                  <a:gd name="connsiteX156" fmla="*/ 8064 w 10000"/>
                  <a:gd name="connsiteY156" fmla="*/ 3077 h 10000"/>
                  <a:gd name="connsiteX157" fmla="*/ 8489 w 10000"/>
                  <a:gd name="connsiteY157" fmla="*/ 2911 h 10000"/>
                  <a:gd name="connsiteX158" fmla="*/ 9021 w 10000"/>
                  <a:gd name="connsiteY158" fmla="*/ 2516 h 10000"/>
                  <a:gd name="connsiteX159" fmla="*/ 9021 w 10000"/>
                  <a:gd name="connsiteY159" fmla="*/ 2516 h 10000"/>
                  <a:gd name="connsiteX160" fmla="*/ 9255 w 10000"/>
                  <a:gd name="connsiteY160" fmla="*/ 2557 h 10000"/>
                  <a:gd name="connsiteX161" fmla="*/ 9511 w 10000"/>
                  <a:gd name="connsiteY161" fmla="*/ 2432 h 10000"/>
                  <a:gd name="connsiteX162" fmla="*/ 9511 w 10000"/>
                  <a:gd name="connsiteY162" fmla="*/ 2432 h 10000"/>
                  <a:gd name="connsiteX163" fmla="*/ 9553 w 10000"/>
                  <a:gd name="connsiteY163" fmla="*/ 2432 h 10000"/>
                  <a:gd name="connsiteX164" fmla="*/ 9553 w 10000"/>
                  <a:gd name="connsiteY164" fmla="*/ 2474 h 10000"/>
                  <a:gd name="connsiteX165" fmla="*/ 9596 w 10000"/>
                  <a:gd name="connsiteY165" fmla="*/ 2620 h 10000"/>
                  <a:gd name="connsiteX166" fmla="*/ 9660 w 10000"/>
                  <a:gd name="connsiteY166" fmla="*/ 2640 h 10000"/>
                  <a:gd name="connsiteX167" fmla="*/ 9660 w 10000"/>
                  <a:gd name="connsiteY167" fmla="*/ 2682 h 10000"/>
                  <a:gd name="connsiteX168" fmla="*/ 9638 w 10000"/>
                  <a:gd name="connsiteY168" fmla="*/ 2827 h 10000"/>
                  <a:gd name="connsiteX169" fmla="*/ 9872 w 10000"/>
                  <a:gd name="connsiteY169" fmla="*/ 2848 h 10000"/>
                  <a:gd name="connsiteX170" fmla="*/ 9979 w 10000"/>
                  <a:gd name="connsiteY170" fmla="*/ 2952 h 10000"/>
                  <a:gd name="connsiteX171" fmla="*/ 10000 w 10000"/>
                  <a:gd name="connsiteY171" fmla="*/ 2973 h 10000"/>
                  <a:gd name="connsiteX172" fmla="*/ 10000 w 10000"/>
                  <a:gd name="connsiteY172" fmla="*/ 3035 h 10000"/>
                  <a:gd name="connsiteX173" fmla="*/ 9979 w 10000"/>
                  <a:gd name="connsiteY173" fmla="*/ 3077 h 10000"/>
                  <a:gd name="connsiteX174" fmla="*/ 9915 w 10000"/>
                  <a:gd name="connsiteY174" fmla="*/ 3098 h 10000"/>
                  <a:gd name="connsiteX175" fmla="*/ 9872 w 10000"/>
                  <a:gd name="connsiteY175" fmla="*/ 3306 h 10000"/>
                  <a:gd name="connsiteX176" fmla="*/ 9851 w 10000"/>
                  <a:gd name="connsiteY176" fmla="*/ 3347 h 10000"/>
                  <a:gd name="connsiteX177" fmla="*/ 9574 w 10000"/>
                  <a:gd name="connsiteY177" fmla="*/ 3347 h 10000"/>
                  <a:gd name="connsiteX178" fmla="*/ 9298 w 10000"/>
                  <a:gd name="connsiteY178" fmla="*/ 3617 h 10000"/>
                  <a:gd name="connsiteX179" fmla="*/ 9255 w 10000"/>
                  <a:gd name="connsiteY179" fmla="*/ 3846 h 10000"/>
                  <a:gd name="connsiteX180" fmla="*/ 9085 w 10000"/>
                  <a:gd name="connsiteY180" fmla="*/ 4054 h 10000"/>
                  <a:gd name="connsiteX181" fmla="*/ 8936 w 10000"/>
                  <a:gd name="connsiteY181" fmla="*/ 4511 h 10000"/>
                  <a:gd name="connsiteX182" fmla="*/ 8894 w 10000"/>
                  <a:gd name="connsiteY182" fmla="*/ 4511 h 10000"/>
                  <a:gd name="connsiteX183" fmla="*/ 8617 w 10000"/>
                  <a:gd name="connsiteY183" fmla="*/ 4595 h 10000"/>
                  <a:gd name="connsiteX184" fmla="*/ 8617 w 10000"/>
                  <a:gd name="connsiteY184" fmla="*/ 4865 h 10000"/>
                  <a:gd name="connsiteX185" fmla="*/ 8596 w 10000"/>
                  <a:gd name="connsiteY185" fmla="*/ 4906 h 10000"/>
                  <a:gd name="connsiteX186" fmla="*/ 8532 w 10000"/>
                  <a:gd name="connsiteY186" fmla="*/ 4906 h 10000"/>
                  <a:gd name="connsiteX187" fmla="*/ 8489 w 10000"/>
                  <a:gd name="connsiteY187" fmla="*/ 4969 h 10000"/>
                  <a:gd name="connsiteX188" fmla="*/ 8553 w 10000"/>
                  <a:gd name="connsiteY188" fmla="*/ 5135 h 10000"/>
                  <a:gd name="connsiteX189" fmla="*/ 8553 w 10000"/>
                  <a:gd name="connsiteY189" fmla="*/ 5177 h 10000"/>
                  <a:gd name="connsiteX190" fmla="*/ 8362 w 10000"/>
                  <a:gd name="connsiteY190" fmla="*/ 5260 h 10000"/>
                  <a:gd name="connsiteX191" fmla="*/ 8362 w 10000"/>
                  <a:gd name="connsiteY191" fmla="*/ 5260 h 10000"/>
                  <a:gd name="connsiteX192" fmla="*/ 8362 w 10000"/>
                  <a:gd name="connsiteY192" fmla="*/ 5260 h 10000"/>
                  <a:gd name="connsiteX193" fmla="*/ 8340 w 10000"/>
                  <a:gd name="connsiteY193" fmla="*/ 5239 h 10000"/>
                  <a:gd name="connsiteX194" fmla="*/ 8191 w 10000"/>
                  <a:gd name="connsiteY194" fmla="*/ 4636 h 10000"/>
                  <a:gd name="connsiteX195" fmla="*/ 8043 w 10000"/>
                  <a:gd name="connsiteY195" fmla="*/ 4844 h 10000"/>
                  <a:gd name="connsiteX196" fmla="*/ 8043 w 10000"/>
                  <a:gd name="connsiteY196" fmla="*/ 4844 h 10000"/>
                  <a:gd name="connsiteX197" fmla="*/ 8043 w 10000"/>
                  <a:gd name="connsiteY197" fmla="*/ 4844 h 10000"/>
                  <a:gd name="connsiteX198" fmla="*/ 8000 w 10000"/>
                  <a:gd name="connsiteY198" fmla="*/ 4844 h 10000"/>
                  <a:gd name="connsiteX199" fmla="*/ 7872 w 10000"/>
                  <a:gd name="connsiteY199" fmla="*/ 4761 h 10000"/>
                  <a:gd name="connsiteX200" fmla="*/ 7787 w 10000"/>
                  <a:gd name="connsiteY200" fmla="*/ 4511 h 10000"/>
                  <a:gd name="connsiteX201" fmla="*/ 7809 w 10000"/>
                  <a:gd name="connsiteY201" fmla="*/ 4511 h 10000"/>
                  <a:gd name="connsiteX202" fmla="*/ 8191 w 10000"/>
                  <a:gd name="connsiteY202" fmla="*/ 4096 h 10000"/>
                  <a:gd name="connsiteX203" fmla="*/ 7468 w 10000"/>
                  <a:gd name="connsiteY203" fmla="*/ 4033 h 10000"/>
                  <a:gd name="connsiteX204" fmla="*/ 7362 w 10000"/>
                  <a:gd name="connsiteY204" fmla="*/ 3950 h 10000"/>
                  <a:gd name="connsiteX205" fmla="*/ 7298 w 10000"/>
                  <a:gd name="connsiteY205" fmla="*/ 3721 h 10000"/>
                  <a:gd name="connsiteX206" fmla="*/ 7298 w 10000"/>
                  <a:gd name="connsiteY206" fmla="*/ 3763 h 10000"/>
                  <a:gd name="connsiteX207" fmla="*/ 7255 w 10000"/>
                  <a:gd name="connsiteY207" fmla="*/ 3763 h 10000"/>
                  <a:gd name="connsiteX208" fmla="*/ 7170 w 10000"/>
                  <a:gd name="connsiteY208" fmla="*/ 3763 h 10000"/>
                  <a:gd name="connsiteX209" fmla="*/ 7170 w 10000"/>
                  <a:gd name="connsiteY209" fmla="*/ 3763 h 10000"/>
                  <a:gd name="connsiteX210" fmla="*/ 7106 w 10000"/>
                  <a:gd name="connsiteY210" fmla="*/ 3638 h 10000"/>
                  <a:gd name="connsiteX211" fmla="*/ 7043 w 10000"/>
                  <a:gd name="connsiteY211" fmla="*/ 3721 h 10000"/>
                  <a:gd name="connsiteX212" fmla="*/ 7043 w 10000"/>
                  <a:gd name="connsiteY212" fmla="*/ 3721 h 10000"/>
                  <a:gd name="connsiteX213" fmla="*/ 7043 w 10000"/>
                  <a:gd name="connsiteY213" fmla="*/ 3721 h 10000"/>
                  <a:gd name="connsiteX214" fmla="*/ 7021 w 10000"/>
                  <a:gd name="connsiteY214" fmla="*/ 3721 h 10000"/>
                  <a:gd name="connsiteX215" fmla="*/ 6957 w 10000"/>
                  <a:gd name="connsiteY215" fmla="*/ 3617 h 10000"/>
                  <a:gd name="connsiteX216" fmla="*/ 6830 w 10000"/>
                  <a:gd name="connsiteY216" fmla="*/ 3825 h 10000"/>
                  <a:gd name="connsiteX217" fmla="*/ 6872 w 10000"/>
                  <a:gd name="connsiteY217" fmla="*/ 3888 h 10000"/>
                  <a:gd name="connsiteX218" fmla="*/ 6979 w 10000"/>
                  <a:gd name="connsiteY218" fmla="*/ 3909 h 10000"/>
                  <a:gd name="connsiteX219" fmla="*/ 7021 w 10000"/>
                  <a:gd name="connsiteY219" fmla="*/ 3909 h 10000"/>
                  <a:gd name="connsiteX220" fmla="*/ 7021 w 10000"/>
                  <a:gd name="connsiteY220" fmla="*/ 4033 h 10000"/>
                  <a:gd name="connsiteX221" fmla="*/ 7021 w 10000"/>
                  <a:gd name="connsiteY221" fmla="*/ 4054 h 10000"/>
                  <a:gd name="connsiteX222" fmla="*/ 7021 w 10000"/>
                  <a:gd name="connsiteY222" fmla="*/ 4054 h 10000"/>
                  <a:gd name="connsiteX223" fmla="*/ 6894 w 10000"/>
                  <a:gd name="connsiteY223" fmla="*/ 4054 h 10000"/>
                  <a:gd name="connsiteX224" fmla="*/ 6766 w 10000"/>
                  <a:gd name="connsiteY224" fmla="*/ 4220 h 10000"/>
                  <a:gd name="connsiteX225" fmla="*/ 6979 w 10000"/>
                  <a:gd name="connsiteY225" fmla="*/ 4366 h 10000"/>
                  <a:gd name="connsiteX226" fmla="*/ 6979 w 10000"/>
                  <a:gd name="connsiteY226" fmla="*/ 4387 h 10000"/>
                  <a:gd name="connsiteX227" fmla="*/ 6957 w 10000"/>
                  <a:gd name="connsiteY227" fmla="*/ 4595 h 10000"/>
                  <a:gd name="connsiteX228" fmla="*/ 7106 w 10000"/>
                  <a:gd name="connsiteY228" fmla="*/ 5322 h 10000"/>
                  <a:gd name="connsiteX229" fmla="*/ 7106 w 10000"/>
                  <a:gd name="connsiteY229" fmla="*/ 5364 h 10000"/>
                  <a:gd name="connsiteX230" fmla="*/ 7043 w 10000"/>
                  <a:gd name="connsiteY230" fmla="*/ 5385 h 10000"/>
                  <a:gd name="connsiteX231" fmla="*/ 7043 w 10000"/>
                  <a:gd name="connsiteY231" fmla="*/ 5385 h 10000"/>
                  <a:gd name="connsiteX232" fmla="*/ 7021 w 10000"/>
                  <a:gd name="connsiteY232" fmla="*/ 5364 h 10000"/>
                  <a:gd name="connsiteX233" fmla="*/ 7021 w 10000"/>
                  <a:gd name="connsiteY233" fmla="*/ 5364 h 10000"/>
                  <a:gd name="connsiteX234" fmla="*/ 7021 w 10000"/>
                  <a:gd name="connsiteY234" fmla="*/ 5364 h 10000"/>
                  <a:gd name="connsiteX235" fmla="*/ 6894 w 10000"/>
                  <a:gd name="connsiteY235" fmla="*/ 5426 h 10000"/>
                  <a:gd name="connsiteX236" fmla="*/ 6872 w 10000"/>
                  <a:gd name="connsiteY236" fmla="*/ 5426 h 10000"/>
                  <a:gd name="connsiteX237" fmla="*/ 6872 w 10000"/>
                  <a:gd name="connsiteY237" fmla="*/ 5426 h 10000"/>
                  <a:gd name="connsiteX238" fmla="*/ 6872 w 10000"/>
                  <a:gd name="connsiteY238" fmla="*/ 5385 h 10000"/>
                  <a:gd name="connsiteX239" fmla="*/ 6809 w 10000"/>
                  <a:gd name="connsiteY239" fmla="*/ 5198 h 10000"/>
                  <a:gd name="connsiteX240" fmla="*/ 6766 w 10000"/>
                  <a:gd name="connsiteY240" fmla="*/ 5301 h 10000"/>
                  <a:gd name="connsiteX241" fmla="*/ 6468 w 10000"/>
                  <a:gd name="connsiteY241" fmla="*/ 5447 h 10000"/>
                  <a:gd name="connsiteX242" fmla="*/ 6468 w 10000"/>
                  <a:gd name="connsiteY242" fmla="*/ 5696 h 10000"/>
                  <a:gd name="connsiteX243" fmla="*/ 6468 w 10000"/>
                  <a:gd name="connsiteY243" fmla="*/ 5696 h 10000"/>
                  <a:gd name="connsiteX244" fmla="*/ 6213 w 10000"/>
                  <a:gd name="connsiteY244" fmla="*/ 5925 h 10000"/>
                  <a:gd name="connsiteX245" fmla="*/ 5745 w 10000"/>
                  <a:gd name="connsiteY245" fmla="*/ 6175 h 10000"/>
                  <a:gd name="connsiteX246" fmla="*/ 5511 w 10000"/>
                  <a:gd name="connsiteY246" fmla="*/ 6507 h 10000"/>
                  <a:gd name="connsiteX247" fmla="*/ 4894 w 10000"/>
                  <a:gd name="connsiteY247" fmla="*/ 6985 h 10000"/>
                  <a:gd name="connsiteX248" fmla="*/ 4787 w 10000"/>
                  <a:gd name="connsiteY248" fmla="*/ 7131 h 10000"/>
                  <a:gd name="connsiteX249" fmla="*/ 4787 w 10000"/>
                  <a:gd name="connsiteY249" fmla="*/ 7131 h 10000"/>
                  <a:gd name="connsiteX250" fmla="*/ 4489 w 10000"/>
                  <a:gd name="connsiteY250" fmla="*/ 7214 h 10000"/>
                  <a:gd name="connsiteX251" fmla="*/ 4362 w 10000"/>
                  <a:gd name="connsiteY251" fmla="*/ 7401 h 10000"/>
                  <a:gd name="connsiteX252" fmla="*/ 4362 w 10000"/>
                  <a:gd name="connsiteY252" fmla="*/ 7443 h 10000"/>
                  <a:gd name="connsiteX253" fmla="*/ 4191 w 10000"/>
                  <a:gd name="connsiteY253" fmla="*/ 7443 h 10000"/>
                  <a:gd name="connsiteX254" fmla="*/ 4085 w 10000"/>
                  <a:gd name="connsiteY254" fmla="*/ 7547 h 10000"/>
                  <a:gd name="connsiteX255" fmla="*/ 4128 w 10000"/>
                  <a:gd name="connsiteY255" fmla="*/ 8129 h 10000"/>
                  <a:gd name="connsiteX256" fmla="*/ 4191 w 10000"/>
                  <a:gd name="connsiteY256" fmla="*/ 8254 h 10000"/>
                  <a:gd name="connsiteX257" fmla="*/ 4191 w 10000"/>
                  <a:gd name="connsiteY257" fmla="*/ 8274 h 10000"/>
                  <a:gd name="connsiteX258" fmla="*/ 4021 w 10000"/>
                  <a:gd name="connsiteY258" fmla="*/ 8794 h 10000"/>
                  <a:gd name="connsiteX259" fmla="*/ 4021 w 10000"/>
                  <a:gd name="connsiteY259" fmla="*/ 9210 h 10000"/>
                  <a:gd name="connsiteX260" fmla="*/ 4021 w 10000"/>
                  <a:gd name="connsiteY260" fmla="*/ 9231 h 10000"/>
                  <a:gd name="connsiteX261" fmla="*/ 4021 w 10000"/>
                  <a:gd name="connsiteY261" fmla="*/ 9231 h 10000"/>
                  <a:gd name="connsiteX262" fmla="*/ 3851 w 10000"/>
                  <a:gd name="connsiteY262" fmla="*/ 9231 h 10000"/>
                  <a:gd name="connsiteX263" fmla="*/ 3745 w 10000"/>
                  <a:gd name="connsiteY263" fmla="*/ 9480 h 10000"/>
                  <a:gd name="connsiteX264" fmla="*/ 3745 w 10000"/>
                  <a:gd name="connsiteY264" fmla="*/ 9563 h 10000"/>
                  <a:gd name="connsiteX265" fmla="*/ 3723 w 10000"/>
                  <a:gd name="connsiteY265" fmla="*/ 9563 h 10000"/>
                  <a:gd name="connsiteX266" fmla="*/ 3468 w 10000"/>
                  <a:gd name="connsiteY266" fmla="*/ 9667 h 10000"/>
                  <a:gd name="connsiteX267" fmla="*/ 3447 w 10000"/>
                  <a:gd name="connsiteY267" fmla="*/ 9834 h 10000"/>
                  <a:gd name="connsiteX268" fmla="*/ 3298 w 10000"/>
                  <a:gd name="connsiteY268" fmla="*/ 10000 h 10000"/>
                  <a:gd name="connsiteX269" fmla="*/ 3255 w 10000"/>
                  <a:gd name="connsiteY269" fmla="*/ 10000 h 10000"/>
                  <a:gd name="connsiteX270" fmla="*/ 3170 w 10000"/>
                  <a:gd name="connsiteY270" fmla="*/ 10000 h 10000"/>
                  <a:gd name="connsiteX0" fmla="*/ 3170 w 10000"/>
                  <a:gd name="connsiteY0" fmla="*/ 10000 h 10000"/>
                  <a:gd name="connsiteX1" fmla="*/ 3170 w 10000"/>
                  <a:gd name="connsiteY1" fmla="*/ 9958 h 10000"/>
                  <a:gd name="connsiteX2" fmla="*/ 2915 w 10000"/>
                  <a:gd name="connsiteY2" fmla="*/ 9688 h 10000"/>
                  <a:gd name="connsiteX3" fmla="*/ 2617 w 10000"/>
                  <a:gd name="connsiteY3" fmla="*/ 8857 h 10000"/>
                  <a:gd name="connsiteX4" fmla="*/ 2404 w 10000"/>
                  <a:gd name="connsiteY4" fmla="*/ 8586 h 10000"/>
                  <a:gd name="connsiteX5" fmla="*/ 2277 w 10000"/>
                  <a:gd name="connsiteY5" fmla="*/ 8129 h 10000"/>
                  <a:gd name="connsiteX6" fmla="*/ 2021 w 10000"/>
                  <a:gd name="connsiteY6" fmla="*/ 7672 h 10000"/>
                  <a:gd name="connsiteX7" fmla="*/ 2000 w 10000"/>
                  <a:gd name="connsiteY7" fmla="*/ 7484 h 10000"/>
                  <a:gd name="connsiteX8" fmla="*/ 1957 w 10000"/>
                  <a:gd name="connsiteY8" fmla="*/ 7484 h 10000"/>
                  <a:gd name="connsiteX9" fmla="*/ 1936 w 10000"/>
                  <a:gd name="connsiteY9" fmla="*/ 7526 h 10000"/>
                  <a:gd name="connsiteX10" fmla="*/ 1936 w 10000"/>
                  <a:gd name="connsiteY10" fmla="*/ 7526 h 10000"/>
                  <a:gd name="connsiteX11" fmla="*/ 1936 w 10000"/>
                  <a:gd name="connsiteY11" fmla="*/ 7484 h 10000"/>
                  <a:gd name="connsiteX12" fmla="*/ 1872 w 10000"/>
                  <a:gd name="connsiteY12" fmla="*/ 7380 h 10000"/>
                  <a:gd name="connsiteX13" fmla="*/ 1745 w 10000"/>
                  <a:gd name="connsiteY13" fmla="*/ 7131 h 10000"/>
                  <a:gd name="connsiteX14" fmla="*/ 1596 w 10000"/>
                  <a:gd name="connsiteY14" fmla="*/ 6466 h 10000"/>
                  <a:gd name="connsiteX15" fmla="*/ 1617 w 10000"/>
                  <a:gd name="connsiteY15" fmla="*/ 6258 h 10000"/>
                  <a:gd name="connsiteX16" fmla="*/ 1596 w 10000"/>
                  <a:gd name="connsiteY16" fmla="*/ 6258 h 10000"/>
                  <a:gd name="connsiteX17" fmla="*/ 1596 w 10000"/>
                  <a:gd name="connsiteY17" fmla="*/ 6258 h 10000"/>
                  <a:gd name="connsiteX18" fmla="*/ 1532 w 10000"/>
                  <a:gd name="connsiteY18" fmla="*/ 6008 h 10000"/>
                  <a:gd name="connsiteX19" fmla="*/ 1596 w 10000"/>
                  <a:gd name="connsiteY19" fmla="*/ 5738 h 10000"/>
                  <a:gd name="connsiteX20" fmla="*/ 1468 w 10000"/>
                  <a:gd name="connsiteY20" fmla="*/ 5239 h 10000"/>
                  <a:gd name="connsiteX21" fmla="*/ 1468 w 10000"/>
                  <a:gd name="connsiteY21" fmla="*/ 5239 h 10000"/>
                  <a:gd name="connsiteX22" fmla="*/ 1596 w 10000"/>
                  <a:gd name="connsiteY22" fmla="*/ 5114 h 10000"/>
                  <a:gd name="connsiteX23" fmla="*/ 1447 w 10000"/>
                  <a:gd name="connsiteY23" fmla="*/ 5094 h 10000"/>
                  <a:gd name="connsiteX24" fmla="*/ 1319 w 10000"/>
                  <a:gd name="connsiteY24" fmla="*/ 5509 h 10000"/>
                  <a:gd name="connsiteX25" fmla="*/ 1319 w 10000"/>
                  <a:gd name="connsiteY25" fmla="*/ 5530 h 10000"/>
                  <a:gd name="connsiteX26" fmla="*/ 1064 w 10000"/>
                  <a:gd name="connsiteY26" fmla="*/ 5634 h 10000"/>
                  <a:gd name="connsiteX27" fmla="*/ 830 w 10000"/>
                  <a:gd name="connsiteY27" fmla="*/ 5634 h 10000"/>
                  <a:gd name="connsiteX28" fmla="*/ 787 w 10000"/>
                  <a:gd name="connsiteY28" fmla="*/ 5634 h 10000"/>
                  <a:gd name="connsiteX29" fmla="*/ 298 w 10000"/>
                  <a:gd name="connsiteY29" fmla="*/ 5177 h 10000"/>
                  <a:gd name="connsiteX30" fmla="*/ 298 w 10000"/>
                  <a:gd name="connsiteY30" fmla="*/ 5094 h 10000"/>
                  <a:gd name="connsiteX31" fmla="*/ 298 w 10000"/>
                  <a:gd name="connsiteY31" fmla="*/ 5094 h 10000"/>
                  <a:gd name="connsiteX32" fmla="*/ 298 w 10000"/>
                  <a:gd name="connsiteY32" fmla="*/ 5052 h 10000"/>
                  <a:gd name="connsiteX33" fmla="*/ 638 w 10000"/>
                  <a:gd name="connsiteY33" fmla="*/ 5031 h 10000"/>
                  <a:gd name="connsiteX34" fmla="*/ 723 w 10000"/>
                  <a:gd name="connsiteY34" fmla="*/ 4927 h 10000"/>
                  <a:gd name="connsiteX35" fmla="*/ 766 w 10000"/>
                  <a:gd name="connsiteY35" fmla="*/ 4823 h 10000"/>
                  <a:gd name="connsiteX36" fmla="*/ 574 w 10000"/>
                  <a:gd name="connsiteY36" fmla="*/ 4906 h 10000"/>
                  <a:gd name="connsiteX37" fmla="*/ 298 w 10000"/>
                  <a:gd name="connsiteY37" fmla="*/ 4906 h 10000"/>
                  <a:gd name="connsiteX38" fmla="*/ 298 w 10000"/>
                  <a:gd name="connsiteY38" fmla="*/ 4906 h 10000"/>
                  <a:gd name="connsiteX39" fmla="*/ 0 w 10000"/>
                  <a:gd name="connsiteY39" fmla="*/ 4574 h 10000"/>
                  <a:gd name="connsiteX40" fmla="*/ 0 w 10000"/>
                  <a:gd name="connsiteY40" fmla="*/ 4574 h 10000"/>
                  <a:gd name="connsiteX41" fmla="*/ 0 w 10000"/>
                  <a:gd name="connsiteY41" fmla="*/ 4553 h 10000"/>
                  <a:gd name="connsiteX42" fmla="*/ 85 w 10000"/>
                  <a:gd name="connsiteY42" fmla="*/ 4491 h 10000"/>
                  <a:gd name="connsiteX43" fmla="*/ 277 w 10000"/>
                  <a:gd name="connsiteY43" fmla="*/ 4491 h 10000"/>
                  <a:gd name="connsiteX44" fmla="*/ 277 w 10000"/>
                  <a:gd name="connsiteY44" fmla="*/ 4324 h 10000"/>
                  <a:gd name="connsiteX45" fmla="*/ 277 w 10000"/>
                  <a:gd name="connsiteY45" fmla="*/ 4324 h 10000"/>
                  <a:gd name="connsiteX46" fmla="*/ 298 w 10000"/>
                  <a:gd name="connsiteY46" fmla="*/ 4324 h 10000"/>
                  <a:gd name="connsiteX47" fmla="*/ 298 w 10000"/>
                  <a:gd name="connsiteY47" fmla="*/ 4324 h 10000"/>
                  <a:gd name="connsiteX48" fmla="*/ 702 w 10000"/>
                  <a:gd name="connsiteY48" fmla="*/ 4428 h 10000"/>
                  <a:gd name="connsiteX49" fmla="*/ 830 w 10000"/>
                  <a:gd name="connsiteY49" fmla="*/ 4304 h 10000"/>
                  <a:gd name="connsiteX50" fmla="*/ 851 w 10000"/>
                  <a:gd name="connsiteY50" fmla="*/ 4304 h 10000"/>
                  <a:gd name="connsiteX51" fmla="*/ 851 w 10000"/>
                  <a:gd name="connsiteY51" fmla="*/ 4304 h 10000"/>
                  <a:gd name="connsiteX52" fmla="*/ 936 w 10000"/>
                  <a:gd name="connsiteY52" fmla="*/ 4387 h 10000"/>
                  <a:gd name="connsiteX53" fmla="*/ 1043 w 10000"/>
                  <a:gd name="connsiteY53" fmla="*/ 4324 h 10000"/>
                  <a:gd name="connsiteX54" fmla="*/ 894 w 10000"/>
                  <a:gd name="connsiteY54" fmla="*/ 3909 h 10000"/>
                  <a:gd name="connsiteX55" fmla="*/ 702 w 10000"/>
                  <a:gd name="connsiteY55" fmla="*/ 3825 h 10000"/>
                  <a:gd name="connsiteX56" fmla="*/ 702 w 10000"/>
                  <a:gd name="connsiteY56" fmla="*/ 3784 h 10000"/>
                  <a:gd name="connsiteX57" fmla="*/ 723 w 10000"/>
                  <a:gd name="connsiteY57" fmla="*/ 3617 h 10000"/>
                  <a:gd name="connsiteX58" fmla="*/ 511 w 10000"/>
                  <a:gd name="connsiteY58" fmla="*/ 3555 h 10000"/>
                  <a:gd name="connsiteX59" fmla="*/ 511 w 10000"/>
                  <a:gd name="connsiteY59" fmla="*/ 3555 h 10000"/>
                  <a:gd name="connsiteX60" fmla="*/ 489 w 10000"/>
                  <a:gd name="connsiteY60" fmla="*/ 3514 h 10000"/>
                  <a:gd name="connsiteX61" fmla="*/ 553 w 10000"/>
                  <a:gd name="connsiteY61" fmla="*/ 3368 h 10000"/>
                  <a:gd name="connsiteX62" fmla="*/ 830 w 10000"/>
                  <a:gd name="connsiteY62" fmla="*/ 2973 h 10000"/>
                  <a:gd name="connsiteX63" fmla="*/ 851 w 10000"/>
                  <a:gd name="connsiteY63" fmla="*/ 2973 h 10000"/>
                  <a:gd name="connsiteX64" fmla="*/ 851 w 10000"/>
                  <a:gd name="connsiteY64" fmla="*/ 2973 h 10000"/>
                  <a:gd name="connsiteX65" fmla="*/ 851 w 10000"/>
                  <a:gd name="connsiteY65" fmla="*/ 2973 h 10000"/>
                  <a:gd name="connsiteX66" fmla="*/ 979 w 10000"/>
                  <a:gd name="connsiteY66" fmla="*/ 3098 h 10000"/>
                  <a:gd name="connsiteX67" fmla="*/ 1277 w 10000"/>
                  <a:gd name="connsiteY67" fmla="*/ 3035 h 10000"/>
                  <a:gd name="connsiteX68" fmla="*/ 1468 w 10000"/>
                  <a:gd name="connsiteY68" fmla="*/ 2765 h 10000"/>
                  <a:gd name="connsiteX69" fmla="*/ 1660 w 10000"/>
                  <a:gd name="connsiteY69" fmla="*/ 2620 h 10000"/>
                  <a:gd name="connsiteX70" fmla="*/ 1830 w 10000"/>
                  <a:gd name="connsiteY70" fmla="*/ 2287 h 10000"/>
                  <a:gd name="connsiteX71" fmla="*/ 1957 w 10000"/>
                  <a:gd name="connsiteY71" fmla="*/ 2245 h 10000"/>
                  <a:gd name="connsiteX72" fmla="*/ 2000 w 10000"/>
                  <a:gd name="connsiteY72" fmla="*/ 2204 h 10000"/>
                  <a:gd name="connsiteX73" fmla="*/ 2170 w 10000"/>
                  <a:gd name="connsiteY73" fmla="*/ 2079 h 10000"/>
                  <a:gd name="connsiteX74" fmla="*/ 2404 w 10000"/>
                  <a:gd name="connsiteY74" fmla="*/ 1975 h 10000"/>
                  <a:gd name="connsiteX75" fmla="*/ 2511 w 10000"/>
                  <a:gd name="connsiteY75" fmla="*/ 1954 h 10000"/>
                  <a:gd name="connsiteX76" fmla="*/ 2511 w 10000"/>
                  <a:gd name="connsiteY76" fmla="*/ 1892 h 10000"/>
                  <a:gd name="connsiteX77" fmla="*/ 2574 w 10000"/>
                  <a:gd name="connsiteY77" fmla="*/ 1892 h 10000"/>
                  <a:gd name="connsiteX78" fmla="*/ 2638 w 10000"/>
                  <a:gd name="connsiteY78" fmla="*/ 1809 h 10000"/>
                  <a:gd name="connsiteX79" fmla="*/ 2681 w 10000"/>
                  <a:gd name="connsiteY79" fmla="*/ 1559 h 10000"/>
                  <a:gd name="connsiteX80" fmla="*/ 2702 w 10000"/>
                  <a:gd name="connsiteY80" fmla="*/ 1372 h 10000"/>
                  <a:gd name="connsiteX81" fmla="*/ 2574 w 10000"/>
                  <a:gd name="connsiteY81" fmla="*/ 1435 h 10000"/>
                  <a:gd name="connsiteX82" fmla="*/ 2489 w 10000"/>
                  <a:gd name="connsiteY82" fmla="*/ 1414 h 10000"/>
                  <a:gd name="connsiteX83" fmla="*/ 2447 w 10000"/>
                  <a:gd name="connsiteY83" fmla="*/ 1331 h 10000"/>
                  <a:gd name="connsiteX84" fmla="*/ 2447 w 10000"/>
                  <a:gd name="connsiteY84" fmla="*/ 1331 h 10000"/>
                  <a:gd name="connsiteX85" fmla="*/ 2426 w 10000"/>
                  <a:gd name="connsiteY85" fmla="*/ 1268 h 10000"/>
                  <a:gd name="connsiteX86" fmla="*/ 2404 w 10000"/>
                  <a:gd name="connsiteY86" fmla="*/ 1206 h 10000"/>
                  <a:gd name="connsiteX87" fmla="*/ 2426 w 10000"/>
                  <a:gd name="connsiteY87" fmla="*/ 1102 h 10000"/>
                  <a:gd name="connsiteX88" fmla="*/ 2511 w 10000"/>
                  <a:gd name="connsiteY88" fmla="*/ 1019 h 10000"/>
                  <a:gd name="connsiteX89" fmla="*/ 2617 w 10000"/>
                  <a:gd name="connsiteY89" fmla="*/ 936 h 10000"/>
                  <a:gd name="connsiteX90" fmla="*/ 2553 w 10000"/>
                  <a:gd name="connsiteY90" fmla="*/ 811 h 10000"/>
                  <a:gd name="connsiteX91" fmla="*/ 2426 w 10000"/>
                  <a:gd name="connsiteY91" fmla="*/ 811 h 10000"/>
                  <a:gd name="connsiteX92" fmla="*/ 2426 w 10000"/>
                  <a:gd name="connsiteY92" fmla="*/ 686 h 10000"/>
                  <a:gd name="connsiteX93" fmla="*/ 2298 w 10000"/>
                  <a:gd name="connsiteY93" fmla="*/ 561 h 10000"/>
                  <a:gd name="connsiteX94" fmla="*/ 2234 w 10000"/>
                  <a:gd name="connsiteY94" fmla="*/ 457 h 10000"/>
                  <a:gd name="connsiteX95" fmla="*/ 2149 w 10000"/>
                  <a:gd name="connsiteY95" fmla="*/ 270 h 10000"/>
                  <a:gd name="connsiteX96" fmla="*/ 2149 w 10000"/>
                  <a:gd name="connsiteY96" fmla="*/ 166 h 10000"/>
                  <a:gd name="connsiteX97" fmla="*/ 2277 w 10000"/>
                  <a:gd name="connsiteY97" fmla="*/ 83 h 10000"/>
                  <a:gd name="connsiteX98" fmla="*/ 2553 w 10000"/>
                  <a:gd name="connsiteY98" fmla="*/ 0 h 10000"/>
                  <a:gd name="connsiteX99" fmla="*/ 2787 w 10000"/>
                  <a:gd name="connsiteY99" fmla="*/ 62 h 10000"/>
                  <a:gd name="connsiteX100" fmla="*/ 2894 w 10000"/>
                  <a:gd name="connsiteY100" fmla="*/ 146 h 10000"/>
                  <a:gd name="connsiteX101" fmla="*/ 3043 w 10000"/>
                  <a:gd name="connsiteY101" fmla="*/ 166 h 10000"/>
                  <a:gd name="connsiteX102" fmla="*/ 3574 w 10000"/>
                  <a:gd name="connsiteY102" fmla="*/ 499 h 10000"/>
                  <a:gd name="connsiteX103" fmla="*/ 3745 w 10000"/>
                  <a:gd name="connsiteY103" fmla="*/ 457 h 10000"/>
                  <a:gd name="connsiteX104" fmla="*/ 3936 w 10000"/>
                  <a:gd name="connsiteY104" fmla="*/ 395 h 10000"/>
                  <a:gd name="connsiteX105" fmla="*/ 4128 w 10000"/>
                  <a:gd name="connsiteY105" fmla="*/ 353 h 10000"/>
                  <a:gd name="connsiteX106" fmla="*/ 4128 w 10000"/>
                  <a:gd name="connsiteY106" fmla="*/ 353 h 10000"/>
                  <a:gd name="connsiteX107" fmla="*/ 4128 w 10000"/>
                  <a:gd name="connsiteY107" fmla="*/ 416 h 10000"/>
                  <a:gd name="connsiteX108" fmla="*/ 3957 w 10000"/>
                  <a:gd name="connsiteY108" fmla="*/ 541 h 10000"/>
                  <a:gd name="connsiteX109" fmla="*/ 3936 w 10000"/>
                  <a:gd name="connsiteY109" fmla="*/ 686 h 10000"/>
                  <a:gd name="connsiteX110" fmla="*/ 3936 w 10000"/>
                  <a:gd name="connsiteY110" fmla="*/ 686 h 10000"/>
                  <a:gd name="connsiteX111" fmla="*/ 4288 w 10000"/>
                  <a:gd name="connsiteY111" fmla="*/ 1081 h 10000"/>
                  <a:gd name="connsiteX112" fmla="*/ 3957 w 10000"/>
                  <a:gd name="connsiteY112" fmla="*/ 1206 h 10000"/>
                  <a:gd name="connsiteX113" fmla="*/ 3957 w 10000"/>
                  <a:gd name="connsiteY113" fmla="*/ 1227 h 10000"/>
                  <a:gd name="connsiteX114" fmla="*/ 3745 w 10000"/>
                  <a:gd name="connsiteY114" fmla="*/ 1372 h 10000"/>
                  <a:gd name="connsiteX115" fmla="*/ 3745 w 10000"/>
                  <a:gd name="connsiteY115" fmla="*/ 1372 h 10000"/>
                  <a:gd name="connsiteX116" fmla="*/ 3723 w 10000"/>
                  <a:gd name="connsiteY116" fmla="*/ 1372 h 10000"/>
                  <a:gd name="connsiteX117" fmla="*/ 3723 w 10000"/>
                  <a:gd name="connsiteY117" fmla="*/ 1372 h 10000"/>
                  <a:gd name="connsiteX118" fmla="*/ 3681 w 10000"/>
                  <a:gd name="connsiteY118" fmla="*/ 1497 h 10000"/>
                  <a:gd name="connsiteX119" fmla="*/ 3660 w 10000"/>
                  <a:gd name="connsiteY119" fmla="*/ 1705 h 10000"/>
                  <a:gd name="connsiteX120" fmla="*/ 3745 w 10000"/>
                  <a:gd name="connsiteY120" fmla="*/ 1871 h 10000"/>
                  <a:gd name="connsiteX121" fmla="*/ 3894 w 10000"/>
                  <a:gd name="connsiteY121" fmla="*/ 1871 h 10000"/>
                  <a:gd name="connsiteX122" fmla="*/ 4468 w 10000"/>
                  <a:gd name="connsiteY122" fmla="*/ 2162 h 10000"/>
                  <a:gd name="connsiteX123" fmla="*/ 4468 w 10000"/>
                  <a:gd name="connsiteY123" fmla="*/ 2204 h 10000"/>
                  <a:gd name="connsiteX124" fmla="*/ 4468 w 10000"/>
                  <a:gd name="connsiteY124" fmla="*/ 2204 h 10000"/>
                  <a:gd name="connsiteX125" fmla="*/ 4213 w 10000"/>
                  <a:gd name="connsiteY125" fmla="*/ 2370 h 10000"/>
                  <a:gd name="connsiteX126" fmla="*/ 4128 w 10000"/>
                  <a:gd name="connsiteY126" fmla="*/ 2703 h 10000"/>
                  <a:gd name="connsiteX127" fmla="*/ 5043 w 10000"/>
                  <a:gd name="connsiteY127" fmla="*/ 3243 h 10000"/>
                  <a:gd name="connsiteX128" fmla="*/ 5532 w 10000"/>
                  <a:gd name="connsiteY128" fmla="*/ 3243 h 10000"/>
                  <a:gd name="connsiteX129" fmla="*/ 5574 w 10000"/>
                  <a:gd name="connsiteY129" fmla="*/ 3243 h 10000"/>
                  <a:gd name="connsiteX130" fmla="*/ 5745 w 10000"/>
                  <a:gd name="connsiteY130" fmla="*/ 3451 h 10000"/>
                  <a:gd name="connsiteX131" fmla="*/ 6532 w 10000"/>
                  <a:gd name="connsiteY131" fmla="*/ 3617 h 10000"/>
                  <a:gd name="connsiteX132" fmla="*/ 6766 w 10000"/>
                  <a:gd name="connsiteY132" fmla="*/ 3576 h 10000"/>
                  <a:gd name="connsiteX133" fmla="*/ 6809 w 10000"/>
                  <a:gd name="connsiteY133" fmla="*/ 3493 h 10000"/>
                  <a:gd name="connsiteX134" fmla="*/ 6745 w 10000"/>
                  <a:gd name="connsiteY134" fmla="*/ 3430 h 10000"/>
                  <a:gd name="connsiteX135" fmla="*/ 6745 w 10000"/>
                  <a:gd name="connsiteY135" fmla="*/ 3389 h 10000"/>
                  <a:gd name="connsiteX136" fmla="*/ 6766 w 10000"/>
                  <a:gd name="connsiteY136" fmla="*/ 3347 h 10000"/>
                  <a:gd name="connsiteX137" fmla="*/ 6830 w 10000"/>
                  <a:gd name="connsiteY137" fmla="*/ 3077 h 10000"/>
                  <a:gd name="connsiteX138" fmla="*/ 6830 w 10000"/>
                  <a:gd name="connsiteY138" fmla="*/ 3035 h 10000"/>
                  <a:gd name="connsiteX139" fmla="*/ 7043 w 10000"/>
                  <a:gd name="connsiteY139" fmla="*/ 2973 h 10000"/>
                  <a:gd name="connsiteX140" fmla="*/ 7043 w 10000"/>
                  <a:gd name="connsiteY140" fmla="*/ 2973 h 10000"/>
                  <a:gd name="connsiteX141" fmla="*/ 7043 w 10000"/>
                  <a:gd name="connsiteY141" fmla="*/ 2973 h 10000"/>
                  <a:gd name="connsiteX142" fmla="*/ 7085 w 10000"/>
                  <a:gd name="connsiteY142" fmla="*/ 3015 h 10000"/>
                  <a:gd name="connsiteX143" fmla="*/ 7085 w 10000"/>
                  <a:gd name="connsiteY143" fmla="*/ 3222 h 10000"/>
                  <a:gd name="connsiteX144" fmla="*/ 7106 w 10000"/>
                  <a:gd name="connsiteY144" fmla="*/ 3243 h 10000"/>
                  <a:gd name="connsiteX145" fmla="*/ 7149 w 10000"/>
                  <a:gd name="connsiteY145" fmla="*/ 3285 h 10000"/>
                  <a:gd name="connsiteX146" fmla="*/ 7149 w 10000"/>
                  <a:gd name="connsiteY146" fmla="*/ 3285 h 10000"/>
                  <a:gd name="connsiteX147" fmla="*/ 7085 w 10000"/>
                  <a:gd name="connsiteY147" fmla="*/ 3347 h 10000"/>
                  <a:gd name="connsiteX148" fmla="*/ 7106 w 10000"/>
                  <a:gd name="connsiteY148" fmla="*/ 3430 h 10000"/>
                  <a:gd name="connsiteX149" fmla="*/ 7362 w 10000"/>
                  <a:gd name="connsiteY149" fmla="*/ 3493 h 10000"/>
                  <a:gd name="connsiteX150" fmla="*/ 8128 w 10000"/>
                  <a:gd name="connsiteY150" fmla="*/ 3389 h 10000"/>
                  <a:gd name="connsiteX151" fmla="*/ 8191 w 10000"/>
                  <a:gd name="connsiteY151" fmla="*/ 3285 h 10000"/>
                  <a:gd name="connsiteX152" fmla="*/ 8064 w 10000"/>
                  <a:gd name="connsiteY152" fmla="*/ 3222 h 10000"/>
                  <a:gd name="connsiteX153" fmla="*/ 8043 w 10000"/>
                  <a:gd name="connsiteY153" fmla="*/ 3181 h 10000"/>
                  <a:gd name="connsiteX154" fmla="*/ 8043 w 10000"/>
                  <a:gd name="connsiteY154" fmla="*/ 3098 h 10000"/>
                  <a:gd name="connsiteX155" fmla="*/ 8064 w 10000"/>
                  <a:gd name="connsiteY155" fmla="*/ 3077 h 10000"/>
                  <a:gd name="connsiteX156" fmla="*/ 8489 w 10000"/>
                  <a:gd name="connsiteY156" fmla="*/ 2911 h 10000"/>
                  <a:gd name="connsiteX157" fmla="*/ 9021 w 10000"/>
                  <a:gd name="connsiteY157" fmla="*/ 2516 h 10000"/>
                  <a:gd name="connsiteX158" fmla="*/ 9021 w 10000"/>
                  <a:gd name="connsiteY158" fmla="*/ 2516 h 10000"/>
                  <a:gd name="connsiteX159" fmla="*/ 9255 w 10000"/>
                  <a:gd name="connsiteY159" fmla="*/ 2557 h 10000"/>
                  <a:gd name="connsiteX160" fmla="*/ 9511 w 10000"/>
                  <a:gd name="connsiteY160" fmla="*/ 2432 h 10000"/>
                  <a:gd name="connsiteX161" fmla="*/ 9511 w 10000"/>
                  <a:gd name="connsiteY161" fmla="*/ 2432 h 10000"/>
                  <a:gd name="connsiteX162" fmla="*/ 9553 w 10000"/>
                  <a:gd name="connsiteY162" fmla="*/ 2432 h 10000"/>
                  <a:gd name="connsiteX163" fmla="*/ 9553 w 10000"/>
                  <a:gd name="connsiteY163" fmla="*/ 2474 h 10000"/>
                  <a:gd name="connsiteX164" fmla="*/ 9596 w 10000"/>
                  <a:gd name="connsiteY164" fmla="*/ 2620 h 10000"/>
                  <a:gd name="connsiteX165" fmla="*/ 9660 w 10000"/>
                  <a:gd name="connsiteY165" fmla="*/ 2640 h 10000"/>
                  <a:gd name="connsiteX166" fmla="*/ 9660 w 10000"/>
                  <a:gd name="connsiteY166" fmla="*/ 2682 h 10000"/>
                  <a:gd name="connsiteX167" fmla="*/ 9638 w 10000"/>
                  <a:gd name="connsiteY167" fmla="*/ 2827 h 10000"/>
                  <a:gd name="connsiteX168" fmla="*/ 9872 w 10000"/>
                  <a:gd name="connsiteY168" fmla="*/ 2848 h 10000"/>
                  <a:gd name="connsiteX169" fmla="*/ 9979 w 10000"/>
                  <a:gd name="connsiteY169" fmla="*/ 2952 h 10000"/>
                  <a:gd name="connsiteX170" fmla="*/ 10000 w 10000"/>
                  <a:gd name="connsiteY170" fmla="*/ 2973 h 10000"/>
                  <a:gd name="connsiteX171" fmla="*/ 10000 w 10000"/>
                  <a:gd name="connsiteY171" fmla="*/ 3035 h 10000"/>
                  <a:gd name="connsiteX172" fmla="*/ 9979 w 10000"/>
                  <a:gd name="connsiteY172" fmla="*/ 3077 h 10000"/>
                  <a:gd name="connsiteX173" fmla="*/ 9915 w 10000"/>
                  <a:gd name="connsiteY173" fmla="*/ 3098 h 10000"/>
                  <a:gd name="connsiteX174" fmla="*/ 9872 w 10000"/>
                  <a:gd name="connsiteY174" fmla="*/ 3306 h 10000"/>
                  <a:gd name="connsiteX175" fmla="*/ 9851 w 10000"/>
                  <a:gd name="connsiteY175" fmla="*/ 3347 h 10000"/>
                  <a:gd name="connsiteX176" fmla="*/ 9574 w 10000"/>
                  <a:gd name="connsiteY176" fmla="*/ 3347 h 10000"/>
                  <a:gd name="connsiteX177" fmla="*/ 9298 w 10000"/>
                  <a:gd name="connsiteY177" fmla="*/ 3617 h 10000"/>
                  <a:gd name="connsiteX178" fmla="*/ 9255 w 10000"/>
                  <a:gd name="connsiteY178" fmla="*/ 3846 h 10000"/>
                  <a:gd name="connsiteX179" fmla="*/ 9085 w 10000"/>
                  <a:gd name="connsiteY179" fmla="*/ 4054 h 10000"/>
                  <a:gd name="connsiteX180" fmla="*/ 8936 w 10000"/>
                  <a:gd name="connsiteY180" fmla="*/ 4511 h 10000"/>
                  <a:gd name="connsiteX181" fmla="*/ 8894 w 10000"/>
                  <a:gd name="connsiteY181" fmla="*/ 4511 h 10000"/>
                  <a:gd name="connsiteX182" fmla="*/ 8617 w 10000"/>
                  <a:gd name="connsiteY182" fmla="*/ 4595 h 10000"/>
                  <a:gd name="connsiteX183" fmla="*/ 8617 w 10000"/>
                  <a:gd name="connsiteY183" fmla="*/ 4865 h 10000"/>
                  <a:gd name="connsiteX184" fmla="*/ 8596 w 10000"/>
                  <a:gd name="connsiteY184" fmla="*/ 4906 h 10000"/>
                  <a:gd name="connsiteX185" fmla="*/ 8532 w 10000"/>
                  <a:gd name="connsiteY185" fmla="*/ 4906 h 10000"/>
                  <a:gd name="connsiteX186" fmla="*/ 8489 w 10000"/>
                  <a:gd name="connsiteY186" fmla="*/ 4969 h 10000"/>
                  <a:gd name="connsiteX187" fmla="*/ 8553 w 10000"/>
                  <a:gd name="connsiteY187" fmla="*/ 5135 h 10000"/>
                  <a:gd name="connsiteX188" fmla="*/ 8553 w 10000"/>
                  <a:gd name="connsiteY188" fmla="*/ 5177 h 10000"/>
                  <a:gd name="connsiteX189" fmla="*/ 8362 w 10000"/>
                  <a:gd name="connsiteY189" fmla="*/ 5260 h 10000"/>
                  <a:gd name="connsiteX190" fmla="*/ 8362 w 10000"/>
                  <a:gd name="connsiteY190" fmla="*/ 5260 h 10000"/>
                  <a:gd name="connsiteX191" fmla="*/ 8362 w 10000"/>
                  <a:gd name="connsiteY191" fmla="*/ 5260 h 10000"/>
                  <a:gd name="connsiteX192" fmla="*/ 8340 w 10000"/>
                  <a:gd name="connsiteY192" fmla="*/ 5239 h 10000"/>
                  <a:gd name="connsiteX193" fmla="*/ 8191 w 10000"/>
                  <a:gd name="connsiteY193" fmla="*/ 4636 h 10000"/>
                  <a:gd name="connsiteX194" fmla="*/ 8043 w 10000"/>
                  <a:gd name="connsiteY194" fmla="*/ 4844 h 10000"/>
                  <a:gd name="connsiteX195" fmla="*/ 8043 w 10000"/>
                  <a:gd name="connsiteY195" fmla="*/ 4844 h 10000"/>
                  <a:gd name="connsiteX196" fmla="*/ 8043 w 10000"/>
                  <a:gd name="connsiteY196" fmla="*/ 4844 h 10000"/>
                  <a:gd name="connsiteX197" fmla="*/ 8000 w 10000"/>
                  <a:gd name="connsiteY197" fmla="*/ 4844 h 10000"/>
                  <a:gd name="connsiteX198" fmla="*/ 7872 w 10000"/>
                  <a:gd name="connsiteY198" fmla="*/ 4761 h 10000"/>
                  <a:gd name="connsiteX199" fmla="*/ 7787 w 10000"/>
                  <a:gd name="connsiteY199" fmla="*/ 4511 h 10000"/>
                  <a:gd name="connsiteX200" fmla="*/ 7809 w 10000"/>
                  <a:gd name="connsiteY200" fmla="*/ 4511 h 10000"/>
                  <a:gd name="connsiteX201" fmla="*/ 8191 w 10000"/>
                  <a:gd name="connsiteY201" fmla="*/ 4096 h 10000"/>
                  <a:gd name="connsiteX202" fmla="*/ 7468 w 10000"/>
                  <a:gd name="connsiteY202" fmla="*/ 4033 h 10000"/>
                  <a:gd name="connsiteX203" fmla="*/ 7362 w 10000"/>
                  <a:gd name="connsiteY203" fmla="*/ 3950 h 10000"/>
                  <a:gd name="connsiteX204" fmla="*/ 7298 w 10000"/>
                  <a:gd name="connsiteY204" fmla="*/ 3721 h 10000"/>
                  <a:gd name="connsiteX205" fmla="*/ 7298 w 10000"/>
                  <a:gd name="connsiteY205" fmla="*/ 3763 h 10000"/>
                  <a:gd name="connsiteX206" fmla="*/ 7255 w 10000"/>
                  <a:gd name="connsiteY206" fmla="*/ 3763 h 10000"/>
                  <a:gd name="connsiteX207" fmla="*/ 7170 w 10000"/>
                  <a:gd name="connsiteY207" fmla="*/ 3763 h 10000"/>
                  <a:gd name="connsiteX208" fmla="*/ 7170 w 10000"/>
                  <a:gd name="connsiteY208" fmla="*/ 3763 h 10000"/>
                  <a:gd name="connsiteX209" fmla="*/ 7106 w 10000"/>
                  <a:gd name="connsiteY209" fmla="*/ 3638 h 10000"/>
                  <a:gd name="connsiteX210" fmla="*/ 7043 w 10000"/>
                  <a:gd name="connsiteY210" fmla="*/ 3721 h 10000"/>
                  <a:gd name="connsiteX211" fmla="*/ 7043 w 10000"/>
                  <a:gd name="connsiteY211" fmla="*/ 3721 h 10000"/>
                  <a:gd name="connsiteX212" fmla="*/ 7043 w 10000"/>
                  <a:gd name="connsiteY212" fmla="*/ 3721 h 10000"/>
                  <a:gd name="connsiteX213" fmla="*/ 7021 w 10000"/>
                  <a:gd name="connsiteY213" fmla="*/ 3721 h 10000"/>
                  <a:gd name="connsiteX214" fmla="*/ 6957 w 10000"/>
                  <a:gd name="connsiteY214" fmla="*/ 3617 h 10000"/>
                  <a:gd name="connsiteX215" fmla="*/ 6830 w 10000"/>
                  <a:gd name="connsiteY215" fmla="*/ 3825 h 10000"/>
                  <a:gd name="connsiteX216" fmla="*/ 6872 w 10000"/>
                  <a:gd name="connsiteY216" fmla="*/ 3888 h 10000"/>
                  <a:gd name="connsiteX217" fmla="*/ 6979 w 10000"/>
                  <a:gd name="connsiteY217" fmla="*/ 3909 h 10000"/>
                  <a:gd name="connsiteX218" fmla="*/ 7021 w 10000"/>
                  <a:gd name="connsiteY218" fmla="*/ 3909 h 10000"/>
                  <a:gd name="connsiteX219" fmla="*/ 7021 w 10000"/>
                  <a:gd name="connsiteY219" fmla="*/ 4033 h 10000"/>
                  <a:gd name="connsiteX220" fmla="*/ 7021 w 10000"/>
                  <a:gd name="connsiteY220" fmla="*/ 4054 h 10000"/>
                  <a:gd name="connsiteX221" fmla="*/ 7021 w 10000"/>
                  <a:gd name="connsiteY221" fmla="*/ 4054 h 10000"/>
                  <a:gd name="connsiteX222" fmla="*/ 6894 w 10000"/>
                  <a:gd name="connsiteY222" fmla="*/ 4054 h 10000"/>
                  <a:gd name="connsiteX223" fmla="*/ 6766 w 10000"/>
                  <a:gd name="connsiteY223" fmla="*/ 4220 h 10000"/>
                  <a:gd name="connsiteX224" fmla="*/ 6979 w 10000"/>
                  <a:gd name="connsiteY224" fmla="*/ 4366 h 10000"/>
                  <a:gd name="connsiteX225" fmla="*/ 6979 w 10000"/>
                  <a:gd name="connsiteY225" fmla="*/ 4387 h 10000"/>
                  <a:gd name="connsiteX226" fmla="*/ 6957 w 10000"/>
                  <a:gd name="connsiteY226" fmla="*/ 4595 h 10000"/>
                  <a:gd name="connsiteX227" fmla="*/ 7106 w 10000"/>
                  <a:gd name="connsiteY227" fmla="*/ 5322 h 10000"/>
                  <a:gd name="connsiteX228" fmla="*/ 7106 w 10000"/>
                  <a:gd name="connsiteY228" fmla="*/ 5364 h 10000"/>
                  <a:gd name="connsiteX229" fmla="*/ 7043 w 10000"/>
                  <a:gd name="connsiteY229" fmla="*/ 5385 h 10000"/>
                  <a:gd name="connsiteX230" fmla="*/ 7043 w 10000"/>
                  <a:gd name="connsiteY230" fmla="*/ 5385 h 10000"/>
                  <a:gd name="connsiteX231" fmla="*/ 7021 w 10000"/>
                  <a:gd name="connsiteY231" fmla="*/ 5364 h 10000"/>
                  <a:gd name="connsiteX232" fmla="*/ 7021 w 10000"/>
                  <a:gd name="connsiteY232" fmla="*/ 5364 h 10000"/>
                  <a:gd name="connsiteX233" fmla="*/ 7021 w 10000"/>
                  <a:gd name="connsiteY233" fmla="*/ 5364 h 10000"/>
                  <a:gd name="connsiteX234" fmla="*/ 6894 w 10000"/>
                  <a:gd name="connsiteY234" fmla="*/ 5426 h 10000"/>
                  <a:gd name="connsiteX235" fmla="*/ 6872 w 10000"/>
                  <a:gd name="connsiteY235" fmla="*/ 5426 h 10000"/>
                  <a:gd name="connsiteX236" fmla="*/ 6872 w 10000"/>
                  <a:gd name="connsiteY236" fmla="*/ 5426 h 10000"/>
                  <a:gd name="connsiteX237" fmla="*/ 6872 w 10000"/>
                  <a:gd name="connsiteY237" fmla="*/ 5385 h 10000"/>
                  <a:gd name="connsiteX238" fmla="*/ 6809 w 10000"/>
                  <a:gd name="connsiteY238" fmla="*/ 5198 h 10000"/>
                  <a:gd name="connsiteX239" fmla="*/ 6766 w 10000"/>
                  <a:gd name="connsiteY239" fmla="*/ 5301 h 10000"/>
                  <a:gd name="connsiteX240" fmla="*/ 6468 w 10000"/>
                  <a:gd name="connsiteY240" fmla="*/ 5447 h 10000"/>
                  <a:gd name="connsiteX241" fmla="*/ 6468 w 10000"/>
                  <a:gd name="connsiteY241" fmla="*/ 5696 h 10000"/>
                  <a:gd name="connsiteX242" fmla="*/ 6468 w 10000"/>
                  <a:gd name="connsiteY242" fmla="*/ 5696 h 10000"/>
                  <a:gd name="connsiteX243" fmla="*/ 6213 w 10000"/>
                  <a:gd name="connsiteY243" fmla="*/ 5925 h 10000"/>
                  <a:gd name="connsiteX244" fmla="*/ 5745 w 10000"/>
                  <a:gd name="connsiteY244" fmla="*/ 6175 h 10000"/>
                  <a:gd name="connsiteX245" fmla="*/ 5511 w 10000"/>
                  <a:gd name="connsiteY245" fmla="*/ 6507 h 10000"/>
                  <a:gd name="connsiteX246" fmla="*/ 4894 w 10000"/>
                  <a:gd name="connsiteY246" fmla="*/ 6985 h 10000"/>
                  <a:gd name="connsiteX247" fmla="*/ 4787 w 10000"/>
                  <a:gd name="connsiteY247" fmla="*/ 7131 h 10000"/>
                  <a:gd name="connsiteX248" fmla="*/ 4787 w 10000"/>
                  <a:gd name="connsiteY248" fmla="*/ 7131 h 10000"/>
                  <a:gd name="connsiteX249" fmla="*/ 4489 w 10000"/>
                  <a:gd name="connsiteY249" fmla="*/ 7214 h 10000"/>
                  <a:gd name="connsiteX250" fmla="*/ 4362 w 10000"/>
                  <a:gd name="connsiteY250" fmla="*/ 7401 h 10000"/>
                  <a:gd name="connsiteX251" fmla="*/ 4362 w 10000"/>
                  <a:gd name="connsiteY251" fmla="*/ 7443 h 10000"/>
                  <a:gd name="connsiteX252" fmla="*/ 4191 w 10000"/>
                  <a:gd name="connsiteY252" fmla="*/ 7443 h 10000"/>
                  <a:gd name="connsiteX253" fmla="*/ 4085 w 10000"/>
                  <a:gd name="connsiteY253" fmla="*/ 7547 h 10000"/>
                  <a:gd name="connsiteX254" fmla="*/ 4128 w 10000"/>
                  <a:gd name="connsiteY254" fmla="*/ 8129 h 10000"/>
                  <a:gd name="connsiteX255" fmla="*/ 4191 w 10000"/>
                  <a:gd name="connsiteY255" fmla="*/ 8254 h 10000"/>
                  <a:gd name="connsiteX256" fmla="*/ 4191 w 10000"/>
                  <a:gd name="connsiteY256" fmla="*/ 8274 h 10000"/>
                  <a:gd name="connsiteX257" fmla="*/ 4021 w 10000"/>
                  <a:gd name="connsiteY257" fmla="*/ 8794 h 10000"/>
                  <a:gd name="connsiteX258" fmla="*/ 4021 w 10000"/>
                  <a:gd name="connsiteY258" fmla="*/ 9210 h 10000"/>
                  <a:gd name="connsiteX259" fmla="*/ 4021 w 10000"/>
                  <a:gd name="connsiteY259" fmla="*/ 9231 h 10000"/>
                  <a:gd name="connsiteX260" fmla="*/ 4021 w 10000"/>
                  <a:gd name="connsiteY260" fmla="*/ 9231 h 10000"/>
                  <a:gd name="connsiteX261" fmla="*/ 3851 w 10000"/>
                  <a:gd name="connsiteY261" fmla="*/ 9231 h 10000"/>
                  <a:gd name="connsiteX262" fmla="*/ 3745 w 10000"/>
                  <a:gd name="connsiteY262" fmla="*/ 9480 h 10000"/>
                  <a:gd name="connsiteX263" fmla="*/ 3745 w 10000"/>
                  <a:gd name="connsiteY263" fmla="*/ 9563 h 10000"/>
                  <a:gd name="connsiteX264" fmla="*/ 3723 w 10000"/>
                  <a:gd name="connsiteY264" fmla="*/ 9563 h 10000"/>
                  <a:gd name="connsiteX265" fmla="*/ 3468 w 10000"/>
                  <a:gd name="connsiteY265" fmla="*/ 9667 h 10000"/>
                  <a:gd name="connsiteX266" fmla="*/ 3447 w 10000"/>
                  <a:gd name="connsiteY266" fmla="*/ 9834 h 10000"/>
                  <a:gd name="connsiteX267" fmla="*/ 3298 w 10000"/>
                  <a:gd name="connsiteY267" fmla="*/ 10000 h 10000"/>
                  <a:gd name="connsiteX268" fmla="*/ 3255 w 10000"/>
                  <a:gd name="connsiteY268" fmla="*/ 10000 h 10000"/>
                  <a:gd name="connsiteX269" fmla="*/ 3170 w 10000"/>
                  <a:gd name="connsiteY269" fmla="*/ 10000 h 10000"/>
                  <a:gd name="connsiteX0" fmla="*/ 3170 w 10000"/>
                  <a:gd name="connsiteY0" fmla="*/ 10000 h 10000"/>
                  <a:gd name="connsiteX1" fmla="*/ 3170 w 10000"/>
                  <a:gd name="connsiteY1" fmla="*/ 9958 h 10000"/>
                  <a:gd name="connsiteX2" fmla="*/ 2915 w 10000"/>
                  <a:gd name="connsiteY2" fmla="*/ 9688 h 10000"/>
                  <a:gd name="connsiteX3" fmla="*/ 2617 w 10000"/>
                  <a:gd name="connsiteY3" fmla="*/ 8857 h 10000"/>
                  <a:gd name="connsiteX4" fmla="*/ 2404 w 10000"/>
                  <a:gd name="connsiteY4" fmla="*/ 8586 h 10000"/>
                  <a:gd name="connsiteX5" fmla="*/ 2277 w 10000"/>
                  <a:gd name="connsiteY5" fmla="*/ 8129 h 10000"/>
                  <a:gd name="connsiteX6" fmla="*/ 2021 w 10000"/>
                  <a:gd name="connsiteY6" fmla="*/ 7672 h 10000"/>
                  <a:gd name="connsiteX7" fmla="*/ 2000 w 10000"/>
                  <a:gd name="connsiteY7" fmla="*/ 7484 h 10000"/>
                  <a:gd name="connsiteX8" fmla="*/ 1957 w 10000"/>
                  <a:gd name="connsiteY8" fmla="*/ 7484 h 10000"/>
                  <a:gd name="connsiteX9" fmla="*/ 1936 w 10000"/>
                  <a:gd name="connsiteY9" fmla="*/ 7526 h 10000"/>
                  <a:gd name="connsiteX10" fmla="*/ 1936 w 10000"/>
                  <a:gd name="connsiteY10" fmla="*/ 7526 h 10000"/>
                  <a:gd name="connsiteX11" fmla="*/ 1936 w 10000"/>
                  <a:gd name="connsiteY11" fmla="*/ 7484 h 10000"/>
                  <a:gd name="connsiteX12" fmla="*/ 1872 w 10000"/>
                  <a:gd name="connsiteY12" fmla="*/ 7380 h 10000"/>
                  <a:gd name="connsiteX13" fmla="*/ 1745 w 10000"/>
                  <a:gd name="connsiteY13" fmla="*/ 7131 h 10000"/>
                  <a:gd name="connsiteX14" fmla="*/ 1596 w 10000"/>
                  <a:gd name="connsiteY14" fmla="*/ 6466 h 10000"/>
                  <a:gd name="connsiteX15" fmla="*/ 1617 w 10000"/>
                  <a:gd name="connsiteY15" fmla="*/ 6258 h 10000"/>
                  <a:gd name="connsiteX16" fmla="*/ 1596 w 10000"/>
                  <a:gd name="connsiteY16" fmla="*/ 6258 h 10000"/>
                  <a:gd name="connsiteX17" fmla="*/ 1596 w 10000"/>
                  <a:gd name="connsiteY17" fmla="*/ 6258 h 10000"/>
                  <a:gd name="connsiteX18" fmla="*/ 1532 w 10000"/>
                  <a:gd name="connsiteY18" fmla="*/ 6008 h 10000"/>
                  <a:gd name="connsiteX19" fmla="*/ 1596 w 10000"/>
                  <a:gd name="connsiteY19" fmla="*/ 5738 h 10000"/>
                  <a:gd name="connsiteX20" fmla="*/ 1468 w 10000"/>
                  <a:gd name="connsiteY20" fmla="*/ 5239 h 10000"/>
                  <a:gd name="connsiteX21" fmla="*/ 1468 w 10000"/>
                  <a:gd name="connsiteY21" fmla="*/ 5239 h 10000"/>
                  <a:gd name="connsiteX22" fmla="*/ 1596 w 10000"/>
                  <a:gd name="connsiteY22" fmla="*/ 5114 h 10000"/>
                  <a:gd name="connsiteX23" fmla="*/ 1447 w 10000"/>
                  <a:gd name="connsiteY23" fmla="*/ 5094 h 10000"/>
                  <a:gd name="connsiteX24" fmla="*/ 1319 w 10000"/>
                  <a:gd name="connsiteY24" fmla="*/ 5509 h 10000"/>
                  <a:gd name="connsiteX25" fmla="*/ 1319 w 10000"/>
                  <a:gd name="connsiteY25" fmla="*/ 5530 h 10000"/>
                  <a:gd name="connsiteX26" fmla="*/ 1064 w 10000"/>
                  <a:gd name="connsiteY26" fmla="*/ 5634 h 10000"/>
                  <a:gd name="connsiteX27" fmla="*/ 830 w 10000"/>
                  <a:gd name="connsiteY27" fmla="*/ 5634 h 10000"/>
                  <a:gd name="connsiteX28" fmla="*/ 787 w 10000"/>
                  <a:gd name="connsiteY28" fmla="*/ 5634 h 10000"/>
                  <a:gd name="connsiteX29" fmla="*/ 298 w 10000"/>
                  <a:gd name="connsiteY29" fmla="*/ 5177 h 10000"/>
                  <a:gd name="connsiteX30" fmla="*/ 298 w 10000"/>
                  <a:gd name="connsiteY30" fmla="*/ 5094 h 10000"/>
                  <a:gd name="connsiteX31" fmla="*/ 298 w 10000"/>
                  <a:gd name="connsiteY31" fmla="*/ 5094 h 10000"/>
                  <a:gd name="connsiteX32" fmla="*/ 298 w 10000"/>
                  <a:gd name="connsiteY32" fmla="*/ 5052 h 10000"/>
                  <a:gd name="connsiteX33" fmla="*/ 638 w 10000"/>
                  <a:gd name="connsiteY33" fmla="*/ 5031 h 10000"/>
                  <a:gd name="connsiteX34" fmla="*/ 723 w 10000"/>
                  <a:gd name="connsiteY34" fmla="*/ 4927 h 10000"/>
                  <a:gd name="connsiteX35" fmla="*/ 766 w 10000"/>
                  <a:gd name="connsiteY35" fmla="*/ 4823 h 10000"/>
                  <a:gd name="connsiteX36" fmla="*/ 574 w 10000"/>
                  <a:gd name="connsiteY36" fmla="*/ 4906 h 10000"/>
                  <a:gd name="connsiteX37" fmla="*/ 298 w 10000"/>
                  <a:gd name="connsiteY37" fmla="*/ 4906 h 10000"/>
                  <a:gd name="connsiteX38" fmla="*/ 298 w 10000"/>
                  <a:gd name="connsiteY38" fmla="*/ 4906 h 10000"/>
                  <a:gd name="connsiteX39" fmla="*/ 0 w 10000"/>
                  <a:gd name="connsiteY39" fmla="*/ 4574 h 10000"/>
                  <a:gd name="connsiteX40" fmla="*/ 0 w 10000"/>
                  <a:gd name="connsiteY40" fmla="*/ 4574 h 10000"/>
                  <a:gd name="connsiteX41" fmla="*/ 0 w 10000"/>
                  <a:gd name="connsiteY41" fmla="*/ 4553 h 10000"/>
                  <a:gd name="connsiteX42" fmla="*/ 85 w 10000"/>
                  <a:gd name="connsiteY42" fmla="*/ 4491 h 10000"/>
                  <a:gd name="connsiteX43" fmla="*/ 277 w 10000"/>
                  <a:gd name="connsiteY43" fmla="*/ 4491 h 10000"/>
                  <a:gd name="connsiteX44" fmla="*/ 277 w 10000"/>
                  <a:gd name="connsiteY44" fmla="*/ 4324 h 10000"/>
                  <a:gd name="connsiteX45" fmla="*/ 277 w 10000"/>
                  <a:gd name="connsiteY45" fmla="*/ 4324 h 10000"/>
                  <a:gd name="connsiteX46" fmla="*/ 298 w 10000"/>
                  <a:gd name="connsiteY46" fmla="*/ 4324 h 10000"/>
                  <a:gd name="connsiteX47" fmla="*/ 298 w 10000"/>
                  <a:gd name="connsiteY47" fmla="*/ 4324 h 10000"/>
                  <a:gd name="connsiteX48" fmla="*/ 702 w 10000"/>
                  <a:gd name="connsiteY48" fmla="*/ 4428 h 10000"/>
                  <a:gd name="connsiteX49" fmla="*/ 830 w 10000"/>
                  <a:gd name="connsiteY49" fmla="*/ 4304 h 10000"/>
                  <a:gd name="connsiteX50" fmla="*/ 851 w 10000"/>
                  <a:gd name="connsiteY50" fmla="*/ 4304 h 10000"/>
                  <a:gd name="connsiteX51" fmla="*/ 851 w 10000"/>
                  <a:gd name="connsiteY51" fmla="*/ 4304 h 10000"/>
                  <a:gd name="connsiteX52" fmla="*/ 936 w 10000"/>
                  <a:gd name="connsiteY52" fmla="*/ 4387 h 10000"/>
                  <a:gd name="connsiteX53" fmla="*/ 1043 w 10000"/>
                  <a:gd name="connsiteY53" fmla="*/ 4324 h 10000"/>
                  <a:gd name="connsiteX54" fmla="*/ 894 w 10000"/>
                  <a:gd name="connsiteY54" fmla="*/ 3909 h 10000"/>
                  <a:gd name="connsiteX55" fmla="*/ 702 w 10000"/>
                  <a:gd name="connsiteY55" fmla="*/ 3825 h 10000"/>
                  <a:gd name="connsiteX56" fmla="*/ 702 w 10000"/>
                  <a:gd name="connsiteY56" fmla="*/ 3784 h 10000"/>
                  <a:gd name="connsiteX57" fmla="*/ 723 w 10000"/>
                  <a:gd name="connsiteY57" fmla="*/ 3617 h 10000"/>
                  <a:gd name="connsiteX58" fmla="*/ 511 w 10000"/>
                  <a:gd name="connsiteY58" fmla="*/ 3555 h 10000"/>
                  <a:gd name="connsiteX59" fmla="*/ 511 w 10000"/>
                  <a:gd name="connsiteY59" fmla="*/ 3555 h 10000"/>
                  <a:gd name="connsiteX60" fmla="*/ 489 w 10000"/>
                  <a:gd name="connsiteY60" fmla="*/ 3514 h 10000"/>
                  <a:gd name="connsiteX61" fmla="*/ 553 w 10000"/>
                  <a:gd name="connsiteY61" fmla="*/ 3368 h 10000"/>
                  <a:gd name="connsiteX62" fmla="*/ 830 w 10000"/>
                  <a:gd name="connsiteY62" fmla="*/ 2973 h 10000"/>
                  <a:gd name="connsiteX63" fmla="*/ 851 w 10000"/>
                  <a:gd name="connsiteY63" fmla="*/ 2973 h 10000"/>
                  <a:gd name="connsiteX64" fmla="*/ 851 w 10000"/>
                  <a:gd name="connsiteY64" fmla="*/ 2973 h 10000"/>
                  <a:gd name="connsiteX65" fmla="*/ 851 w 10000"/>
                  <a:gd name="connsiteY65" fmla="*/ 2973 h 10000"/>
                  <a:gd name="connsiteX66" fmla="*/ 979 w 10000"/>
                  <a:gd name="connsiteY66" fmla="*/ 3098 h 10000"/>
                  <a:gd name="connsiteX67" fmla="*/ 1277 w 10000"/>
                  <a:gd name="connsiteY67" fmla="*/ 3035 h 10000"/>
                  <a:gd name="connsiteX68" fmla="*/ 1468 w 10000"/>
                  <a:gd name="connsiteY68" fmla="*/ 2765 h 10000"/>
                  <a:gd name="connsiteX69" fmla="*/ 1660 w 10000"/>
                  <a:gd name="connsiteY69" fmla="*/ 2620 h 10000"/>
                  <a:gd name="connsiteX70" fmla="*/ 1830 w 10000"/>
                  <a:gd name="connsiteY70" fmla="*/ 2287 h 10000"/>
                  <a:gd name="connsiteX71" fmla="*/ 1957 w 10000"/>
                  <a:gd name="connsiteY71" fmla="*/ 2245 h 10000"/>
                  <a:gd name="connsiteX72" fmla="*/ 2000 w 10000"/>
                  <a:gd name="connsiteY72" fmla="*/ 2204 h 10000"/>
                  <a:gd name="connsiteX73" fmla="*/ 2170 w 10000"/>
                  <a:gd name="connsiteY73" fmla="*/ 2079 h 10000"/>
                  <a:gd name="connsiteX74" fmla="*/ 2404 w 10000"/>
                  <a:gd name="connsiteY74" fmla="*/ 1975 h 10000"/>
                  <a:gd name="connsiteX75" fmla="*/ 2511 w 10000"/>
                  <a:gd name="connsiteY75" fmla="*/ 1954 h 10000"/>
                  <a:gd name="connsiteX76" fmla="*/ 2511 w 10000"/>
                  <a:gd name="connsiteY76" fmla="*/ 1892 h 10000"/>
                  <a:gd name="connsiteX77" fmla="*/ 2574 w 10000"/>
                  <a:gd name="connsiteY77" fmla="*/ 1892 h 10000"/>
                  <a:gd name="connsiteX78" fmla="*/ 2638 w 10000"/>
                  <a:gd name="connsiteY78" fmla="*/ 1809 h 10000"/>
                  <a:gd name="connsiteX79" fmla="*/ 2681 w 10000"/>
                  <a:gd name="connsiteY79" fmla="*/ 1559 h 10000"/>
                  <a:gd name="connsiteX80" fmla="*/ 2702 w 10000"/>
                  <a:gd name="connsiteY80" fmla="*/ 1372 h 10000"/>
                  <a:gd name="connsiteX81" fmla="*/ 2574 w 10000"/>
                  <a:gd name="connsiteY81" fmla="*/ 1435 h 10000"/>
                  <a:gd name="connsiteX82" fmla="*/ 2489 w 10000"/>
                  <a:gd name="connsiteY82" fmla="*/ 1414 h 10000"/>
                  <a:gd name="connsiteX83" fmla="*/ 2447 w 10000"/>
                  <a:gd name="connsiteY83" fmla="*/ 1331 h 10000"/>
                  <a:gd name="connsiteX84" fmla="*/ 2447 w 10000"/>
                  <a:gd name="connsiteY84" fmla="*/ 1331 h 10000"/>
                  <a:gd name="connsiteX85" fmla="*/ 2426 w 10000"/>
                  <a:gd name="connsiteY85" fmla="*/ 1268 h 10000"/>
                  <a:gd name="connsiteX86" fmla="*/ 2404 w 10000"/>
                  <a:gd name="connsiteY86" fmla="*/ 1206 h 10000"/>
                  <a:gd name="connsiteX87" fmla="*/ 2426 w 10000"/>
                  <a:gd name="connsiteY87" fmla="*/ 1102 h 10000"/>
                  <a:gd name="connsiteX88" fmla="*/ 2511 w 10000"/>
                  <a:gd name="connsiteY88" fmla="*/ 1019 h 10000"/>
                  <a:gd name="connsiteX89" fmla="*/ 2617 w 10000"/>
                  <a:gd name="connsiteY89" fmla="*/ 936 h 10000"/>
                  <a:gd name="connsiteX90" fmla="*/ 2553 w 10000"/>
                  <a:gd name="connsiteY90" fmla="*/ 811 h 10000"/>
                  <a:gd name="connsiteX91" fmla="*/ 2426 w 10000"/>
                  <a:gd name="connsiteY91" fmla="*/ 811 h 10000"/>
                  <a:gd name="connsiteX92" fmla="*/ 2426 w 10000"/>
                  <a:gd name="connsiteY92" fmla="*/ 686 h 10000"/>
                  <a:gd name="connsiteX93" fmla="*/ 2298 w 10000"/>
                  <a:gd name="connsiteY93" fmla="*/ 561 h 10000"/>
                  <a:gd name="connsiteX94" fmla="*/ 2234 w 10000"/>
                  <a:gd name="connsiteY94" fmla="*/ 457 h 10000"/>
                  <a:gd name="connsiteX95" fmla="*/ 2149 w 10000"/>
                  <a:gd name="connsiteY95" fmla="*/ 270 h 10000"/>
                  <a:gd name="connsiteX96" fmla="*/ 2149 w 10000"/>
                  <a:gd name="connsiteY96" fmla="*/ 166 h 10000"/>
                  <a:gd name="connsiteX97" fmla="*/ 2277 w 10000"/>
                  <a:gd name="connsiteY97" fmla="*/ 83 h 10000"/>
                  <a:gd name="connsiteX98" fmla="*/ 2553 w 10000"/>
                  <a:gd name="connsiteY98" fmla="*/ 0 h 10000"/>
                  <a:gd name="connsiteX99" fmla="*/ 2787 w 10000"/>
                  <a:gd name="connsiteY99" fmla="*/ 62 h 10000"/>
                  <a:gd name="connsiteX100" fmla="*/ 2894 w 10000"/>
                  <a:gd name="connsiteY100" fmla="*/ 146 h 10000"/>
                  <a:gd name="connsiteX101" fmla="*/ 3043 w 10000"/>
                  <a:gd name="connsiteY101" fmla="*/ 166 h 10000"/>
                  <a:gd name="connsiteX102" fmla="*/ 3574 w 10000"/>
                  <a:gd name="connsiteY102" fmla="*/ 499 h 10000"/>
                  <a:gd name="connsiteX103" fmla="*/ 3745 w 10000"/>
                  <a:gd name="connsiteY103" fmla="*/ 457 h 10000"/>
                  <a:gd name="connsiteX104" fmla="*/ 3936 w 10000"/>
                  <a:gd name="connsiteY104" fmla="*/ 395 h 10000"/>
                  <a:gd name="connsiteX105" fmla="*/ 4128 w 10000"/>
                  <a:gd name="connsiteY105" fmla="*/ 353 h 10000"/>
                  <a:gd name="connsiteX106" fmla="*/ 4128 w 10000"/>
                  <a:gd name="connsiteY106" fmla="*/ 353 h 10000"/>
                  <a:gd name="connsiteX107" fmla="*/ 4128 w 10000"/>
                  <a:gd name="connsiteY107" fmla="*/ 416 h 10000"/>
                  <a:gd name="connsiteX108" fmla="*/ 3957 w 10000"/>
                  <a:gd name="connsiteY108" fmla="*/ 541 h 10000"/>
                  <a:gd name="connsiteX109" fmla="*/ 3936 w 10000"/>
                  <a:gd name="connsiteY109" fmla="*/ 686 h 10000"/>
                  <a:gd name="connsiteX110" fmla="*/ 4191 w 10000"/>
                  <a:gd name="connsiteY110" fmla="*/ 686 h 10000"/>
                  <a:gd name="connsiteX111" fmla="*/ 4288 w 10000"/>
                  <a:gd name="connsiteY111" fmla="*/ 1081 h 10000"/>
                  <a:gd name="connsiteX112" fmla="*/ 3957 w 10000"/>
                  <a:gd name="connsiteY112" fmla="*/ 1206 h 10000"/>
                  <a:gd name="connsiteX113" fmla="*/ 3957 w 10000"/>
                  <a:gd name="connsiteY113" fmla="*/ 1227 h 10000"/>
                  <a:gd name="connsiteX114" fmla="*/ 3745 w 10000"/>
                  <a:gd name="connsiteY114" fmla="*/ 1372 h 10000"/>
                  <a:gd name="connsiteX115" fmla="*/ 3745 w 10000"/>
                  <a:gd name="connsiteY115" fmla="*/ 1372 h 10000"/>
                  <a:gd name="connsiteX116" fmla="*/ 3723 w 10000"/>
                  <a:gd name="connsiteY116" fmla="*/ 1372 h 10000"/>
                  <a:gd name="connsiteX117" fmla="*/ 3723 w 10000"/>
                  <a:gd name="connsiteY117" fmla="*/ 1372 h 10000"/>
                  <a:gd name="connsiteX118" fmla="*/ 3681 w 10000"/>
                  <a:gd name="connsiteY118" fmla="*/ 1497 h 10000"/>
                  <a:gd name="connsiteX119" fmla="*/ 3660 w 10000"/>
                  <a:gd name="connsiteY119" fmla="*/ 1705 h 10000"/>
                  <a:gd name="connsiteX120" fmla="*/ 3745 w 10000"/>
                  <a:gd name="connsiteY120" fmla="*/ 1871 h 10000"/>
                  <a:gd name="connsiteX121" fmla="*/ 3894 w 10000"/>
                  <a:gd name="connsiteY121" fmla="*/ 1871 h 10000"/>
                  <a:gd name="connsiteX122" fmla="*/ 4468 w 10000"/>
                  <a:gd name="connsiteY122" fmla="*/ 2162 h 10000"/>
                  <a:gd name="connsiteX123" fmla="*/ 4468 w 10000"/>
                  <a:gd name="connsiteY123" fmla="*/ 2204 h 10000"/>
                  <a:gd name="connsiteX124" fmla="*/ 4468 w 10000"/>
                  <a:gd name="connsiteY124" fmla="*/ 2204 h 10000"/>
                  <a:gd name="connsiteX125" fmla="*/ 4213 w 10000"/>
                  <a:gd name="connsiteY125" fmla="*/ 2370 h 10000"/>
                  <a:gd name="connsiteX126" fmla="*/ 4128 w 10000"/>
                  <a:gd name="connsiteY126" fmla="*/ 2703 h 10000"/>
                  <a:gd name="connsiteX127" fmla="*/ 5043 w 10000"/>
                  <a:gd name="connsiteY127" fmla="*/ 3243 h 10000"/>
                  <a:gd name="connsiteX128" fmla="*/ 5532 w 10000"/>
                  <a:gd name="connsiteY128" fmla="*/ 3243 h 10000"/>
                  <a:gd name="connsiteX129" fmla="*/ 5574 w 10000"/>
                  <a:gd name="connsiteY129" fmla="*/ 3243 h 10000"/>
                  <a:gd name="connsiteX130" fmla="*/ 5745 w 10000"/>
                  <a:gd name="connsiteY130" fmla="*/ 3451 h 10000"/>
                  <a:gd name="connsiteX131" fmla="*/ 6532 w 10000"/>
                  <a:gd name="connsiteY131" fmla="*/ 3617 h 10000"/>
                  <a:gd name="connsiteX132" fmla="*/ 6766 w 10000"/>
                  <a:gd name="connsiteY132" fmla="*/ 3576 h 10000"/>
                  <a:gd name="connsiteX133" fmla="*/ 6809 w 10000"/>
                  <a:gd name="connsiteY133" fmla="*/ 3493 h 10000"/>
                  <a:gd name="connsiteX134" fmla="*/ 6745 w 10000"/>
                  <a:gd name="connsiteY134" fmla="*/ 3430 h 10000"/>
                  <a:gd name="connsiteX135" fmla="*/ 6745 w 10000"/>
                  <a:gd name="connsiteY135" fmla="*/ 3389 h 10000"/>
                  <a:gd name="connsiteX136" fmla="*/ 6766 w 10000"/>
                  <a:gd name="connsiteY136" fmla="*/ 3347 h 10000"/>
                  <a:gd name="connsiteX137" fmla="*/ 6830 w 10000"/>
                  <a:gd name="connsiteY137" fmla="*/ 3077 h 10000"/>
                  <a:gd name="connsiteX138" fmla="*/ 6830 w 10000"/>
                  <a:gd name="connsiteY138" fmla="*/ 3035 h 10000"/>
                  <a:gd name="connsiteX139" fmla="*/ 7043 w 10000"/>
                  <a:gd name="connsiteY139" fmla="*/ 2973 h 10000"/>
                  <a:gd name="connsiteX140" fmla="*/ 7043 w 10000"/>
                  <a:gd name="connsiteY140" fmla="*/ 2973 h 10000"/>
                  <a:gd name="connsiteX141" fmla="*/ 7043 w 10000"/>
                  <a:gd name="connsiteY141" fmla="*/ 2973 h 10000"/>
                  <a:gd name="connsiteX142" fmla="*/ 7085 w 10000"/>
                  <a:gd name="connsiteY142" fmla="*/ 3015 h 10000"/>
                  <a:gd name="connsiteX143" fmla="*/ 7085 w 10000"/>
                  <a:gd name="connsiteY143" fmla="*/ 3222 h 10000"/>
                  <a:gd name="connsiteX144" fmla="*/ 7106 w 10000"/>
                  <a:gd name="connsiteY144" fmla="*/ 3243 h 10000"/>
                  <a:gd name="connsiteX145" fmla="*/ 7149 w 10000"/>
                  <a:gd name="connsiteY145" fmla="*/ 3285 h 10000"/>
                  <a:gd name="connsiteX146" fmla="*/ 7149 w 10000"/>
                  <a:gd name="connsiteY146" fmla="*/ 3285 h 10000"/>
                  <a:gd name="connsiteX147" fmla="*/ 7085 w 10000"/>
                  <a:gd name="connsiteY147" fmla="*/ 3347 h 10000"/>
                  <a:gd name="connsiteX148" fmla="*/ 7106 w 10000"/>
                  <a:gd name="connsiteY148" fmla="*/ 3430 h 10000"/>
                  <a:gd name="connsiteX149" fmla="*/ 7362 w 10000"/>
                  <a:gd name="connsiteY149" fmla="*/ 3493 h 10000"/>
                  <a:gd name="connsiteX150" fmla="*/ 8128 w 10000"/>
                  <a:gd name="connsiteY150" fmla="*/ 3389 h 10000"/>
                  <a:gd name="connsiteX151" fmla="*/ 8191 w 10000"/>
                  <a:gd name="connsiteY151" fmla="*/ 3285 h 10000"/>
                  <a:gd name="connsiteX152" fmla="*/ 8064 w 10000"/>
                  <a:gd name="connsiteY152" fmla="*/ 3222 h 10000"/>
                  <a:gd name="connsiteX153" fmla="*/ 8043 w 10000"/>
                  <a:gd name="connsiteY153" fmla="*/ 3181 h 10000"/>
                  <a:gd name="connsiteX154" fmla="*/ 8043 w 10000"/>
                  <a:gd name="connsiteY154" fmla="*/ 3098 h 10000"/>
                  <a:gd name="connsiteX155" fmla="*/ 8064 w 10000"/>
                  <a:gd name="connsiteY155" fmla="*/ 3077 h 10000"/>
                  <a:gd name="connsiteX156" fmla="*/ 8489 w 10000"/>
                  <a:gd name="connsiteY156" fmla="*/ 2911 h 10000"/>
                  <a:gd name="connsiteX157" fmla="*/ 9021 w 10000"/>
                  <a:gd name="connsiteY157" fmla="*/ 2516 h 10000"/>
                  <a:gd name="connsiteX158" fmla="*/ 9021 w 10000"/>
                  <a:gd name="connsiteY158" fmla="*/ 2516 h 10000"/>
                  <a:gd name="connsiteX159" fmla="*/ 9255 w 10000"/>
                  <a:gd name="connsiteY159" fmla="*/ 2557 h 10000"/>
                  <a:gd name="connsiteX160" fmla="*/ 9511 w 10000"/>
                  <a:gd name="connsiteY160" fmla="*/ 2432 h 10000"/>
                  <a:gd name="connsiteX161" fmla="*/ 9511 w 10000"/>
                  <a:gd name="connsiteY161" fmla="*/ 2432 h 10000"/>
                  <a:gd name="connsiteX162" fmla="*/ 9553 w 10000"/>
                  <a:gd name="connsiteY162" fmla="*/ 2432 h 10000"/>
                  <a:gd name="connsiteX163" fmla="*/ 9553 w 10000"/>
                  <a:gd name="connsiteY163" fmla="*/ 2474 h 10000"/>
                  <a:gd name="connsiteX164" fmla="*/ 9596 w 10000"/>
                  <a:gd name="connsiteY164" fmla="*/ 2620 h 10000"/>
                  <a:gd name="connsiteX165" fmla="*/ 9660 w 10000"/>
                  <a:gd name="connsiteY165" fmla="*/ 2640 h 10000"/>
                  <a:gd name="connsiteX166" fmla="*/ 9660 w 10000"/>
                  <a:gd name="connsiteY166" fmla="*/ 2682 h 10000"/>
                  <a:gd name="connsiteX167" fmla="*/ 9638 w 10000"/>
                  <a:gd name="connsiteY167" fmla="*/ 2827 h 10000"/>
                  <a:gd name="connsiteX168" fmla="*/ 9872 w 10000"/>
                  <a:gd name="connsiteY168" fmla="*/ 2848 h 10000"/>
                  <a:gd name="connsiteX169" fmla="*/ 9979 w 10000"/>
                  <a:gd name="connsiteY169" fmla="*/ 2952 h 10000"/>
                  <a:gd name="connsiteX170" fmla="*/ 10000 w 10000"/>
                  <a:gd name="connsiteY170" fmla="*/ 2973 h 10000"/>
                  <a:gd name="connsiteX171" fmla="*/ 10000 w 10000"/>
                  <a:gd name="connsiteY171" fmla="*/ 3035 h 10000"/>
                  <a:gd name="connsiteX172" fmla="*/ 9979 w 10000"/>
                  <a:gd name="connsiteY172" fmla="*/ 3077 h 10000"/>
                  <a:gd name="connsiteX173" fmla="*/ 9915 w 10000"/>
                  <a:gd name="connsiteY173" fmla="*/ 3098 h 10000"/>
                  <a:gd name="connsiteX174" fmla="*/ 9872 w 10000"/>
                  <a:gd name="connsiteY174" fmla="*/ 3306 h 10000"/>
                  <a:gd name="connsiteX175" fmla="*/ 9851 w 10000"/>
                  <a:gd name="connsiteY175" fmla="*/ 3347 h 10000"/>
                  <a:gd name="connsiteX176" fmla="*/ 9574 w 10000"/>
                  <a:gd name="connsiteY176" fmla="*/ 3347 h 10000"/>
                  <a:gd name="connsiteX177" fmla="*/ 9298 w 10000"/>
                  <a:gd name="connsiteY177" fmla="*/ 3617 h 10000"/>
                  <a:gd name="connsiteX178" fmla="*/ 9255 w 10000"/>
                  <a:gd name="connsiteY178" fmla="*/ 3846 h 10000"/>
                  <a:gd name="connsiteX179" fmla="*/ 9085 w 10000"/>
                  <a:gd name="connsiteY179" fmla="*/ 4054 h 10000"/>
                  <a:gd name="connsiteX180" fmla="*/ 8936 w 10000"/>
                  <a:gd name="connsiteY180" fmla="*/ 4511 h 10000"/>
                  <a:gd name="connsiteX181" fmla="*/ 8894 w 10000"/>
                  <a:gd name="connsiteY181" fmla="*/ 4511 h 10000"/>
                  <a:gd name="connsiteX182" fmla="*/ 8617 w 10000"/>
                  <a:gd name="connsiteY182" fmla="*/ 4595 h 10000"/>
                  <a:gd name="connsiteX183" fmla="*/ 8617 w 10000"/>
                  <a:gd name="connsiteY183" fmla="*/ 4865 h 10000"/>
                  <a:gd name="connsiteX184" fmla="*/ 8596 w 10000"/>
                  <a:gd name="connsiteY184" fmla="*/ 4906 h 10000"/>
                  <a:gd name="connsiteX185" fmla="*/ 8532 w 10000"/>
                  <a:gd name="connsiteY185" fmla="*/ 4906 h 10000"/>
                  <a:gd name="connsiteX186" fmla="*/ 8489 w 10000"/>
                  <a:gd name="connsiteY186" fmla="*/ 4969 h 10000"/>
                  <a:gd name="connsiteX187" fmla="*/ 8553 w 10000"/>
                  <a:gd name="connsiteY187" fmla="*/ 5135 h 10000"/>
                  <a:gd name="connsiteX188" fmla="*/ 8553 w 10000"/>
                  <a:gd name="connsiteY188" fmla="*/ 5177 h 10000"/>
                  <a:gd name="connsiteX189" fmla="*/ 8362 w 10000"/>
                  <a:gd name="connsiteY189" fmla="*/ 5260 h 10000"/>
                  <a:gd name="connsiteX190" fmla="*/ 8362 w 10000"/>
                  <a:gd name="connsiteY190" fmla="*/ 5260 h 10000"/>
                  <a:gd name="connsiteX191" fmla="*/ 8362 w 10000"/>
                  <a:gd name="connsiteY191" fmla="*/ 5260 h 10000"/>
                  <a:gd name="connsiteX192" fmla="*/ 8340 w 10000"/>
                  <a:gd name="connsiteY192" fmla="*/ 5239 h 10000"/>
                  <a:gd name="connsiteX193" fmla="*/ 8191 w 10000"/>
                  <a:gd name="connsiteY193" fmla="*/ 4636 h 10000"/>
                  <a:gd name="connsiteX194" fmla="*/ 8043 w 10000"/>
                  <a:gd name="connsiteY194" fmla="*/ 4844 h 10000"/>
                  <a:gd name="connsiteX195" fmla="*/ 8043 w 10000"/>
                  <a:gd name="connsiteY195" fmla="*/ 4844 h 10000"/>
                  <a:gd name="connsiteX196" fmla="*/ 8043 w 10000"/>
                  <a:gd name="connsiteY196" fmla="*/ 4844 h 10000"/>
                  <a:gd name="connsiteX197" fmla="*/ 8000 w 10000"/>
                  <a:gd name="connsiteY197" fmla="*/ 4844 h 10000"/>
                  <a:gd name="connsiteX198" fmla="*/ 7872 w 10000"/>
                  <a:gd name="connsiteY198" fmla="*/ 4761 h 10000"/>
                  <a:gd name="connsiteX199" fmla="*/ 7787 w 10000"/>
                  <a:gd name="connsiteY199" fmla="*/ 4511 h 10000"/>
                  <a:gd name="connsiteX200" fmla="*/ 7809 w 10000"/>
                  <a:gd name="connsiteY200" fmla="*/ 4511 h 10000"/>
                  <a:gd name="connsiteX201" fmla="*/ 8191 w 10000"/>
                  <a:gd name="connsiteY201" fmla="*/ 4096 h 10000"/>
                  <a:gd name="connsiteX202" fmla="*/ 7468 w 10000"/>
                  <a:gd name="connsiteY202" fmla="*/ 4033 h 10000"/>
                  <a:gd name="connsiteX203" fmla="*/ 7362 w 10000"/>
                  <a:gd name="connsiteY203" fmla="*/ 3950 h 10000"/>
                  <a:gd name="connsiteX204" fmla="*/ 7298 w 10000"/>
                  <a:gd name="connsiteY204" fmla="*/ 3721 h 10000"/>
                  <a:gd name="connsiteX205" fmla="*/ 7298 w 10000"/>
                  <a:gd name="connsiteY205" fmla="*/ 3763 h 10000"/>
                  <a:gd name="connsiteX206" fmla="*/ 7255 w 10000"/>
                  <a:gd name="connsiteY206" fmla="*/ 3763 h 10000"/>
                  <a:gd name="connsiteX207" fmla="*/ 7170 w 10000"/>
                  <a:gd name="connsiteY207" fmla="*/ 3763 h 10000"/>
                  <a:gd name="connsiteX208" fmla="*/ 7170 w 10000"/>
                  <a:gd name="connsiteY208" fmla="*/ 3763 h 10000"/>
                  <a:gd name="connsiteX209" fmla="*/ 7106 w 10000"/>
                  <a:gd name="connsiteY209" fmla="*/ 3638 h 10000"/>
                  <a:gd name="connsiteX210" fmla="*/ 7043 w 10000"/>
                  <a:gd name="connsiteY210" fmla="*/ 3721 h 10000"/>
                  <a:gd name="connsiteX211" fmla="*/ 7043 w 10000"/>
                  <a:gd name="connsiteY211" fmla="*/ 3721 h 10000"/>
                  <a:gd name="connsiteX212" fmla="*/ 7043 w 10000"/>
                  <a:gd name="connsiteY212" fmla="*/ 3721 h 10000"/>
                  <a:gd name="connsiteX213" fmla="*/ 7021 w 10000"/>
                  <a:gd name="connsiteY213" fmla="*/ 3721 h 10000"/>
                  <a:gd name="connsiteX214" fmla="*/ 6957 w 10000"/>
                  <a:gd name="connsiteY214" fmla="*/ 3617 h 10000"/>
                  <a:gd name="connsiteX215" fmla="*/ 6830 w 10000"/>
                  <a:gd name="connsiteY215" fmla="*/ 3825 h 10000"/>
                  <a:gd name="connsiteX216" fmla="*/ 6872 w 10000"/>
                  <a:gd name="connsiteY216" fmla="*/ 3888 h 10000"/>
                  <a:gd name="connsiteX217" fmla="*/ 6979 w 10000"/>
                  <a:gd name="connsiteY217" fmla="*/ 3909 h 10000"/>
                  <a:gd name="connsiteX218" fmla="*/ 7021 w 10000"/>
                  <a:gd name="connsiteY218" fmla="*/ 3909 h 10000"/>
                  <a:gd name="connsiteX219" fmla="*/ 7021 w 10000"/>
                  <a:gd name="connsiteY219" fmla="*/ 4033 h 10000"/>
                  <a:gd name="connsiteX220" fmla="*/ 7021 w 10000"/>
                  <a:gd name="connsiteY220" fmla="*/ 4054 h 10000"/>
                  <a:gd name="connsiteX221" fmla="*/ 7021 w 10000"/>
                  <a:gd name="connsiteY221" fmla="*/ 4054 h 10000"/>
                  <a:gd name="connsiteX222" fmla="*/ 6894 w 10000"/>
                  <a:gd name="connsiteY222" fmla="*/ 4054 h 10000"/>
                  <a:gd name="connsiteX223" fmla="*/ 6766 w 10000"/>
                  <a:gd name="connsiteY223" fmla="*/ 4220 h 10000"/>
                  <a:gd name="connsiteX224" fmla="*/ 6979 w 10000"/>
                  <a:gd name="connsiteY224" fmla="*/ 4366 h 10000"/>
                  <a:gd name="connsiteX225" fmla="*/ 6979 w 10000"/>
                  <a:gd name="connsiteY225" fmla="*/ 4387 h 10000"/>
                  <a:gd name="connsiteX226" fmla="*/ 6957 w 10000"/>
                  <a:gd name="connsiteY226" fmla="*/ 4595 h 10000"/>
                  <a:gd name="connsiteX227" fmla="*/ 7106 w 10000"/>
                  <a:gd name="connsiteY227" fmla="*/ 5322 h 10000"/>
                  <a:gd name="connsiteX228" fmla="*/ 7106 w 10000"/>
                  <a:gd name="connsiteY228" fmla="*/ 5364 h 10000"/>
                  <a:gd name="connsiteX229" fmla="*/ 7043 w 10000"/>
                  <a:gd name="connsiteY229" fmla="*/ 5385 h 10000"/>
                  <a:gd name="connsiteX230" fmla="*/ 7043 w 10000"/>
                  <a:gd name="connsiteY230" fmla="*/ 5385 h 10000"/>
                  <a:gd name="connsiteX231" fmla="*/ 7021 w 10000"/>
                  <a:gd name="connsiteY231" fmla="*/ 5364 h 10000"/>
                  <a:gd name="connsiteX232" fmla="*/ 7021 w 10000"/>
                  <a:gd name="connsiteY232" fmla="*/ 5364 h 10000"/>
                  <a:gd name="connsiteX233" fmla="*/ 7021 w 10000"/>
                  <a:gd name="connsiteY233" fmla="*/ 5364 h 10000"/>
                  <a:gd name="connsiteX234" fmla="*/ 6894 w 10000"/>
                  <a:gd name="connsiteY234" fmla="*/ 5426 h 10000"/>
                  <a:gd name="connsiteX235" fmla="*/ 6872 w 10000"/>
                  <a:gd name="connsiteY235" fmla="*/ 5426 h 10000"/>
                  <a:gd name="connsiteX236" fmla="*/ 6872 w 10000"/>
                  <a:gd name="connsiteY236" fmla="*/ 5426 h 10000"/>
                  <a:gd name="connsiteX237" fmla="*/ 6872 w 10000"/>
                  <a:gd name="connsiteY237" fmla="*/ 5385 h 10000"/>
                  <a:gd name="connsiteX238" fmla="*/ 6809 w 10000"/>
                  <a:gd name="connsiteY238" fmla="*/ 5198 h 10000"/>
                  <a:gd name="connsiteX239" fmla="*/ 6766 w 10000"/>
                  <a:gd name="connsiteY239" fmla="*/ 5301 h 10000"/>
                  <a:gd name="connsiteX240" fmla="*/ 6468 w 10000"/>
                  <a:gd name="connsiteY240" fmla="*/ 5447 h 10000"/>
                  <a:gd name="connsiteX241" fmla="*/ 6468 w 10000"/>
                  <a:gd name="connsiteY241" fmla="*/ 5696 h 10000"/>
                  <a:gd name="connsiteX242" fmla="*/ 6468 w 10000"/>
                  <a:gd name="connsiteY242" fmla="*/ 5696 h 10000"/>
                  <a:gd name="connsiteX243" fmla="*/ 6213 w 10000"/>
                  <a:gd name="connsiteY243" fmla="*/ 5925 h 10000"/>
                  <a:gd name="connsiteX244" fmla="*/ 5745 w 10000"/>
                  <a:gd name="connsiteY244" fmla="*/ 6175 h 10000"/>
                  <a:gd name="connsiteX245" fmla="*/ 5511 w 10000"/>
                  <a:gd name="connsiteY245" fmla="*/ 6507 h 10000"/>
                  <a:gd name="connsiteX246" fmla="*/ 4894 w 10000"/>
                  <a:gd name="connsiteY246" fmla="*/ 6985 h 10000"/>
                  <a:gd name="connsiteX247" fmla="*/ 4787 w 10000"/>
                  <a:gd name="connsiteY247" fmla="*/ 7131 h 10000"/>
                  <a:gd name="connsiteX248" fmla="*/ 4787 w 10000"/>
                  <a:gd name="connsiteY248" fmla="*/ 7131 h 10000"/>
                  <a:gd name="connsiteX249" fmla="*/ 4489 w 10000"/>
                  <a:gd name="connsiteY249" fmla="*/ 7214 h 10000"/>
                  <a:gd name="connsiteX250" fmla="*/ 4362 w 10000"/>
                  <a:gd name="connsiteY250" fmla="*/ 7401 h 10000"/>
                  <a:gd name="connsiteX251" fmla="*/ 4362 w 10000"/>
                  <a:gd name="connsiteY251" fmla="*/ 7443 h 10000"/>
                  <a:gd name="connsiteX252" fmla="*/ 4191 w 10000"/>
                  <a:gd name="connsiteY252" fmla="*/ 7443 h 10000"/>
                  <a:gd name="connsiteX253" fmla="*/ 4085 w 10000"/>
                  <a:gd name="connsiteY253" fmla="*/ 7547 h 10000"/>
                  <a:gd name="connsiteX254" fmla="*/ 4128 w 10000"/>
                  <a:gd name="connsiteY254" fmla="*/ 8129 h 10000"/>
                  <a:gd name="connsiteX255" fmla="*/ 4191 w 10000"/>
                  <a:gd name="connsiteY255" fmla="*/ 8254 h 10000"/>
                  <a:gd name="connsiteX256" fmla="*/ 4191 w 10000"/>
                  <a:gd name="connsiteY256" fmla="*/ 8274 h 10000"/>
                  <a:gd name="connsiteX257" fmla="*/ 4021 w 10000"/>
                  <a:gd name="connsiteY257" fmla="*/ 8794 h 10000"/>
                  <a:gd name="connsiteX258" fmla="*/ 4021 w 10000"/>
                  <a:gd name="connsiteY258" fmla="*/ 9210 h 10000"/>
                  <a:gd name="connsiteX259" fmla="*/ 4021 w 10000"/>
                  <a:gd name="connsiteY259" fmla="*/ 9231 h 10000"/>
                  <a:gd name="connsiteX260" fmla="*/ 4021 w 10000"/>
                  <a:gd name="connsiteY260" fmla="*/ 9231 h 10000"/>
                  <a:gd name="connsiteX261" fmla="*/ 3851 w 10000"/>
                  <a:gd name="connsiteY261" fmla="*/ 9231 h 10000"/>
                  <a:gd name="connsiteX262" fmla="*/ 3745 w 10000"/>
                  <a:gd name="connsiteY262" fmla="*/ 9480 h 10000"/>
                  <a:gd name="connsiteX263" fmla="*/ 3745 w 10000"/>
                  <a:gd name="connsiteY263" fmla="*/ 9563 h 10000"/>
                  <a:gd name="connsiteX264" fmla="*/ 3723 w 10000"/>
                  <a:gd name="connsiteY264" fmla="*/ 9563 h 10000"/>
                  <a:gd name="connsiteX265" fmla="*/ 3468 w 10000"/>
                  <a:gd name="connsiteY265" fmla="*/ 9667 h 10000"/>
                  <a:gd name="connsiteX266" fmla="*/ 3447 w 10000"/>
                  <a:gd name="connsiteY266" fmla="*/ 9834 h 10000"/>
                  <a:gd name="connsiteX267" fmla="*/ 3298 w 10000"/>
                  <a:gd name="connsiteY267" fmla="*/ 10000 h 10000"/>
                  <a:gd name="connsiteX268" fmla="*/ 3255 w 10000"/>
                  <a:gd name="connsiteY268" fmla="*/ 10000 h 10000"/>
                  <a:gd name="connsiteX269" fmla="*/ 3170 w 10000"/>
                  <a:gd name="connsiteY269" fmla="*/ 10000 h 10000"/>
                  <a:gd name="connsiteX0" fmla="*/ 3170 w 10000"/>
                  <a:gd name="connsiteY0" fmla="*/ 10000 h 10000"/>
                  <a:gd name="connsiteX1" fmla="*/ 3170 w 10000"/>
                  <a:gd name="connsiteY1" fmla="*/ 9958 h 10000"/>
                  <a:gd name="connsiteX2" fmla="*/ 2915 w 10000"/>
                  <a:gd name="connsiteY2" fmla="*/ 9688 h 10000"/>
                  <a:gd name="connsiteX3" fmla="*/ 2617 w 10000"/>
                  <a:gd name="connsiteY3" fmla="*/ 8857 h 10000"/>
                  <a:gd name="connsiteX4" fmla="*/ 2404 w 10000"/>
                  <a:gd name="connsiteY4" fmla="*/ 8586 h 10000"/>
                  <a:gd name="connsiteX5" fmla="*/ 2277 w 10000"/>
                  <a:gd name="connsiteY5" fmla="*/ 8129 h 10000"/>
                  <a:gd name="connsiteX6" fmla="*/ 2021 w 10000"/>
                  <a:gd name="connsiteY6" fmla="*/ 7672 h 10000"/>
                  <a:gd name="connsiteX7" fmla="*/ 2000 w 10000"/>
                  <a:gd name="connsiteY7" fmla="*/ 7484 h 10000"/>
                  <a:gd name="connsiteX8" fmla="*/ 1957 w 10000"/>
                  <a:gd name="connsiteY8" fmla="*/ 7484 h 10000"/>
                  <a:gd name="connsiteX9" fmla="*/ 1936 w 10000"/>
                  <a:gd name="connsiteY9" fmla="*/ 7526 h 10000"/>
                  <a:gd name="connsiteX10" fmla="*/ 1936 w 10000"/>
                  <a:gd name="connsiteY10" fmla="*/ 7526 h 10000"/>
                  <a:gd name="connsiteX11" fmla="*/ 1936 w 10000"/>
                  <a:gd name="connsiteY11" fmla="*/ 7484 h 10000"/>
                  <a:gd name="connsiteX12" fmla="*/ 1872 w 10000"/>
                  <a:gd name="connsiteY12" fmla="*/ 7380 h 10000"/>
                  <a:gd name="connsiteX13" fmla="*/ 1745 w 10000"/>
                  <a:gd name="connsiteY13" fmla="*/ 7131 h 10000"/>
                  <a:gd name="connsiteX14" fmla="*/ 1596 w 10000"/>
                  <a:gd name="connsiteY14" fmla="*/ 6466 h 10000"/>
                  <a:gd name="connsiteX15" fmla="*/ 1617 w 10000"/>
                  <a:gd name="connsiteY15" fmla="*/ 6258 h 10000"/>
                  <a:gd name="connsiteX16" fmla="*/ 1596 w 10000"/>
                  <a:gd name="connsiteY16" fmla="*/ 6258 h 10000"/>
                  <a:gd name="connsiteX17" fmla="*/ 1596 w 10000"/>
                  <a:gd name="connsiteY17" fmla="*/ 6258 h 10000"/>
                  <a:gd name="connsiteX18" fmla="*/ 1532 w 10000"/>
                  <a:gd name="connsiteY18" fmla="*/ 6008 h 10000"/>
                  <a:gd name="connsiteX19" fmla="*/ 1596 w 10000"/>
                  <a:gd name="connsiteY19" fmla="*/ 5738 h 10000"/>
                  <a:gd name="connsiteX20" fmla="*/ 1468 w 10000"/>
                  <a:gd name="connsiteY20" fmla="*/ 5239 h 10000"/>
                  <a:gd name="connsiteX21" fmla="*/ 1468 w 10000"/>
                  <a:gd name="connsiteY21" fmla="*/ 5239 h 10000"/>
                  <a:gd name="connsiteX22" fmla="*/ 1596 w 10000"/>
                  <a:gd name="connsiteY22" fmla="*/ 5114 h 10000"/>
                  <a:gd name="connsiteX23" fmla="*/ 1447 w 10000"/>
                  <a:gd name="connsiteY23" fmla="*/ 5094 h 10000"/>
                  <a:gd name="connsiteX24" fmla="*/ 1319 w 10000"/>
                  <a:gd name="connsiteY24" fmla="*/ 5509 h 10000"/>
                  <a:gd name="connsiteX25" fmla="*/ 1319 w 10000"/>
                  <a:gd name="connsiteY25" fmla="*/ 5530 h 10000"/>
                  <a:gd name="connsiteX26" fmla="*/ 1064 w 10000"/>
                  <a:gd name="connsiteY26" fmla="*/ 5634 h 10000"/>
                  <a:gd name="connsiteX27" fmla="*/ 830 w 10000"/>
                  <a:gd name="connsiteY27" fmla="*/ 5634 h 10000"/>
                  <a:gd name="connsiteX28" fmla="*/ 787 w 10000"/>
                  <a:gd name="connsiteY28" fmla="*/ 5634 h 10000"/>
                  <a:gd name="connsiteX29" fmla="*/ 298 w 10000"/>
                  <a:gd name="connsiteY29" fmla="*/ 5177 h 10000"/>
                  <a:gd name="connsiteX30" fmla="*/ 298 w 10000"/>
                  <a:gd name="connsiteY30" fmla="*/ 5094 h 10000"/>
                  <a:gd name="connsiteX31" fmla="*/ 298 w 10000"/>
                  <a:gd name="connsiteY31" fmla="*/ 5094 h 10000"/>
                  <a:gd name="connsiteX32" fmla="*/ 298 w 10000"/>
                  <a:gd name="connsiteY32" fmla="*/ 5052 h 10000"/>
                  <a:gd name="connsiteX33" fmla="*/ 638 w 10000"/>
                  <a:gd name="connsiteY33" fmla="*/ 5031 h 10000"/>
                  <a:gd name="connsiteX34" fmla="*/ 723 w 10000"/>
                  <a:gd name="connsiteY34" fmla="*/ 4927 h 10000"/>
                  <a:gd name="connsiteX35" fmla="*/ 766 w 10000"/>
                  <a:gd name="connsiteY35" fmla="*/ 4823 h 10000"/>
                  <a:gd name="connsiteX36" fmla="*/ 574 w 10000"/>
                  <a:gd name="connsiteY36" fmla="*/ 4906 h 10000"/>
                  <a:gd name="connsiteX37" fmla="*/ 298 w 10000"/>
                  <a:gd name="connsiteY37" fmla="*/ 4906 h 10000"/>
                  <a:gd name="connsiteX38" fmla="*/ 298 w 10000"/>
                  <a:gd name="connsiteY38" fmla="*/ 4906 h 10000"/>
                  <a:gd name="connsiteX39" fmla="*/ 0 w 10000"/>
                  <a:gd name="connsiteY39" fmla="*/ 4574 h 10000"/>
                  <a:gd name="connsiteX40" fmla="*/ 0 w 10000"/>
                  <a:gd name="connsiteY40" fmla="*/ 4574 h 10000"/>
                  <a:gd name="connsiteX41" fmla="*/ 0 w 10000"/>
                  <a:gd name="connsiteY41" fmla="*/ 4553 h 10000"/>
                  <a:gd name="connsiteX42" fmla="*/ 85 w 10000"/>
                  <a:gd name="connsiteY42" fmla="*/ 4491 h 10000"/>
                  <a:gd name="connsiteX43" fmla="*/ 277 w 10000"/>
                  <a:gd name="connsiteY43" fmla="*/ 4491 h 10000"/>
                  <a:gd name="connsiteX44" fmla="*/ 277 w 10000"/>
                  <a:gd name="connsiteY44" fmla="*/ 4324 h 10000"/>
                  <a:gd name="connsiteX45" fmla="*/ 277 w 10000"/>
                  <a:gd name="connsiteY45" fmla="*/ 4324 h 10000"/>
                  <a:gd name="connsiteX46" fmla="*/ 298 w 10000"/>
                  <a:gd name="connsiteY46" fmla="*/ 4324 h 10000"/>
                  <a:gd name="connsiteX47" fmla="*/ 298 w 10000"/>
                  <a:gd name="connsiteY47" fmla="*/ 4324 h 10000"/>
                  <a:gd name="connsiteX48" fmla="*/ 702 w 10000"/>
                  <a:gd name="connsiteY48" fmla="*/ 4428 h 10000"/>
                  <a:gd name="connsiteX49" fmla="*/ 830 w 10000"/>
                  <a:gd name="connsiteY49" fmla="*/ 4304 h 10000"/>
                  <a:gd name="connsiteX50" fmla="*/ 851 w 10000"/>
                  <a:gd name="connsiteY50" fmla="*/ 4304 h 10000"/>
                  <a:gd name="connsiteX51" fmla="*/ 851 w 10000"/>
                  <a:gd name="connsiteY51" fmla="*/ 4304 h 10000"/>
                  <a:gd name="connsiteX52" fmla="*/ 936 w 10000"/>
                  <a:gd name="connsiteY52" fmla="*/ 4387 h 10000"/>
                  <a:gd name="connsiteX53" fmla="*/ 1043 w 10000"/>
                  <a:gd name="connsiteY53" fmla="*/ 4324 h 10000"/>
                  <a:gd name="connsiteX54" fmla="*/ 894 w 10000"/>
                  <a:gd name="connsiteY54" fmla="*/ 3909 h 10000"/>
                  <a:gd name="connsiteX55" fmla="*/ 702 w 10000"/>
                  <a:gd name="connsiteY55" fmla="*/ 3825 h 10000"/>
                  <a:gd name="connsiteX56" fmla="*/ 702 w 10000"/>
                  <a:gd name="connsiteY56" fmla="*/ 3784 h 10000"/>
                  <a:gd name="connsiteX57" fmla="*/ 723 w 10000"/>
                  <a:gd name="connsiteY57" fmla="*/ 3617 h 10000"/>
                  <a:gd name="connsiteX58" fmla="*/ 511 w 10000"/>
                  <a:gd name="connsiteY58" fmla="*/ 3555 h 10000"/>
                  <a:gd name="connsiteX59" fmla="*/ 511 w 10000"/>
                  <a:gd name="connsiteY59" fmla="*/ 3555 h 10000"/>
                  <a:gd name="connsiteX60" fmla="*/ 489 w 10000"/>
                  <a:gd name="connsiteY60" fmla="*/ 3514 h 10000"/>
                  <a:gd name="connsiteX61" fmla="*/ 553 w 10000"/>
                  <a:gd name="connsiteY61" fmla="*/ 3368 h 10000"/>
                  <a:gd name="connsiteX62" fmla="*/ 830 w 10000"/>
                  <a:gd name="connsiteY62" fmla="*/ 2973 h 10000"/>
                  <a:gd name="connsiteX63" fmla="*/ 851 w 10000"/>
                  <a:gd name="connsiteY63" fmla="*/ 2973 h 10000"/>
                  <a:gd name="connsiteX64" fmla="*/ 851 w 10000"/>
                  <a:gd name="connsiteY64" fmla="*/ 2973 h 10000"/>
                  <a:gd name="connsiteX65" fmla="*/ 851 w 10000"/>
                  <a:gd name="connsiteY65" fmla="*/ 2973 h 10000"/>
                  <a:gd name="connsiteX66" fmla="*/ 979 w 10000"/>
                  <a:gd name="connsiteY66" fmla="*/ 3098 h 10000"/>
                  <a:gd name="connsiteX67" fmla="*/ 1277 w 10000"/>
                  <a:gd name="connsiteY67" fmla="*/ 3035 h 10000"/>
                  <a:gd name="connsiteX68" fmla="*/ 1468 w 10000"/>
                  <a:gd name="connsiteY68" fmla="*/ 2765 h 10000"/>
                  <a:gd name="connsiteX69" fmla="*/ 1660 w 10000"/>
                  <a:gd name="connsiteY69" fmla="*/ 2620 h 10000"/>
                  <a:gd name="connsiteX70" fmla="*/ 1830 w 10000"/>
                  <a:gd name="connsiteY70" fmla="*/ 2287 h 10000"/>
                  <a:gd name="connsiteX71" fmla="*/ 1957 w 10000"/>
                  <a:gd name="connsiteY71" fmla="*/ 2245 h 10000"/>
                  <a:gd name="connsiteX72" fmla="*/ 2000 w 10000"/>
                  <a:gd name="connsiteY72" fmla="*/ 2204 h 10000"/>
                  <a:gd name="connsiteX73" fmla="*/ 2170 w 10000"/>
                  <a:gd name="connsiteY73" fmla="*/ 2079 h 10000"/>
                  <a:gd name="connsiteX74" fmla="*/ 2404 w 10000"/>
                  <a:gd name="connsiteY74" fmla="*/ 1975 h 10000"/>
                  <a:gd name="connsiteX75" fmla="*/ 2511 w 10000"/>
                  <a:gd name="connsiteY75" fmla="*/ 1954 h 10000"/>
                  <a:gd name="connsiteX76" fmla="*/ 2511 w 10000"/>
                  <a:gd name="connsiteY76" fmla="*/ 1892 h 10000"/>
                  <a:gd name="connsiteX77" fmla="*/ 2574 w 10000"/>
                  <a:gd name="connsiteY77" fmla="*/ 1892 h 10000"/>
                  <a:gd name="connsiteX78" fmla="*/ 2638 w 10000"/>
                  <a:gd name="connsiteY78" fmla="*/ 1809 h 10000"/>
                  <a:gd name="connsiteX79" fmla="*/ 2681 w 10000"/>
                  <a:gd name="connsiteY79" fmla="*/ 1559 h 10000"/>
                  <a:gd name="connsiteX80" fmla="*/ 2702 w 10000"/>
                  <a:gd name="connsiteY80" fmla="*/ 1372 h 10000"/>
                  <a:gd name="connsiteX81" fmla="*/ 2574 w 10000"/>
                  <a:gd name="connsiteY81" fmla="*/ 1435 h 10000"/>
                  <a:gd name="connsiteX82" fmla="*/ 2489 w 10000"/>
                  <a:gd name="connsiteY82" fmla="*/ 1414 h 10000"/>
                  <a:gd name="connsiteX83" fmla="*/ 2447 w 10000"/>
                  <a:gd name="connsiteY83" fmla="*/ 1331 h 10000"/>
                  <a:gd name="connsiteX84" fmla="*/ 2447 w 10000"/>
                  <a:gd name="connsiteY84" fmla="*/ 1331 h 10000"/>
                  <a:gd name="connsiteX85" fmla="*/ 2426 w 10000"/>
                  <a:gd name="connsiteY85" fmla="*/ 1268 h 10000"/>
                  <a:gd name="connsiteX86" fmla="*/ 2404 w 10000"/>
                  <a:gd name="connsiteY86" fmla="*/ 1206 h 10000"/>
                  <a:gd name="connsiteX87" fmla="*/ 2426 w 10000"/>
                  <a:gd name="connsiteY87" fmla="*/ 1102 h 10000"/>
                  <a:gd name="connsiteX88" fmla="*/ 2511 w 10000"/>
                  <a:gd name="connsiteY88" fmla="*/ 1019 h 10000"/>
                  <a:gd name="connsiteX89" fmla="*/ 2617 w 10000"/>
                  <a:gd name="connsiteY89" fmla="*/ 936 h 10000"/>
                  <a:gd name="connsiteX90" fmla="*/ 2553 w 10000"/>
                  <a:gd name="connsiteY90" fmla="*/ 811 h 10000"/>
                  <a:gd name="connsiteX91" fmla="*/ 2426 w 10000"/>
                  <a:gd name="connsiteY91" fmla="*/ 811 h 10000"/>
                  <a:gd name="connsiteX92" fmla="*/ 2426 w 10000"/>
                  <a:gd name="connsiteY92" fmla="*/ 686 h 10000"/>
                  <a:gd name="connsiteX93" fmla="*/ 2298 w 10000"/>
                  <a:gd name="connsiteY93" fmla="*/ 561 h 10000"/>
                  <a:gd name="connsiteX94" fmla="*/ 2234 w 10000"/>
                  <a:gd name="connsiteY94" fmla="*/ 457 h 10000"/>
                  <a:gd name="connsiteX95" fmla="*/ 2149 w 10000"/>
                  <a:gd name="connsiteY95" fmla="*/ 270 h 10000"/>
                  <a:gd name="connsiteX96" fmla="*/ 2149 w 10000"/>
                  <a:gd name="connsiteY96" fmla="*/ 166 h 10000"/>
                  <a:gd name="connsiteX97" fmla="*/ 2277 w 10000"/>
                  <a:gd name="connsiteY97" fmla="*/ 83 h 10000"/>
                  <a:gd name="connsiteX98" fmla="*/ 2553 w 10000"/>
                  <a:gd name="connsiteY98" fmla="*/ 0 h 10000"/>
                  <a:gd name="connsiteX99" fmla="*/ 2787 w 10000"/>
                  <a:gd name="connsiteY99" fmla="*/ 62 h 10000"/>
                  <a:gd name="connsiteX100" fmla="*/ 2894 w 10000"/>
                  <a:gd name="connsiteY100" fmla="*/ 146 h 10000"/>
                  <a:gd name="connsiteX101" fmla="*/ 3043 w 10000"/>
                  <a:gd name="connsiteY101" fmla="*/ 166 h 10000"/>
                  <a:gd name="connsiteX102" fmla="*/ 3574 w 10000"/>
                  <a:gd name="connsiteY102" fmla="*/ 499 h 10000"/>
                  <a:gd name="connsiteX103" fmla="*/ 3745 w 10000"/>
                  <a:gd name="connsiteY103" fmla="*/ 457 h 10000"/>
                  <a:gd name="connsiteX104" fmla="*/ 3936 w 10000"/>
                  <a:gd name="connsiteY104" fmla="*/ 395 h 10000"/>
                  <a:gd name="connsiteX105" fmla="*/ 4128 w 10000"/>
                  <a:gd name="connsiteY105" fmla="*/ 353 h 10000"/>
                  <a:gd name="connsiteX106" fmla="*/ 4128 w 10000"/>
                  <a:gd name="connsiteY106" fmla="*/ 353 h 10000"/>
                  <a:gd name="connsiteX107" fmla="*/ 4128 w 10000"/>
                  <a:gd name="connsiteY107" fmla="*/ 416 h 10000"/>
                  <a:gd name="connsiteX108" fmla="*/ 3957 w 10000"/>
                  <a:gd name="connsiteY108" fmla="*/ 541 h 10000"/>
                  <a:gd name="connsiteX109" fmla="*/ 4191 w 10000"/>
                  <a:gd name="connsiteY109" fmla="*/ 686 h 10000"/>
                  <a:gd name="connsiteX110" fmla="*/ 4288 w 10000"/>
                  <a:gd name="connsiteY110" fmla="*/ 1081 h 10000"/>
                  <a:gd name="connsiteX111" fmla="*/ 3957 w 10000"/>
                  <a:gd name="connsiteY111" fmla="*/ 1206 h 10000"/>
                  <a:gd name="connsiteX112" fmla="*/ 3957 w 10000"/>
                  <a:gd name="connsiteY112" fmla="*/ 1227 h 10000"/>
                  <a:gd name="connsiteX113" fmla="*/ 3745 w 10000"/>
                  <a:gd name="connsiteY113" fmla="*/ 1372 h 10000"/>
                  <a:gd name="connsiteX114" fmla="*/ 3745 w 10000"/>
                  <a:gd name="connsiteY114" fmla="*/ 1372 h 10000"/>
                  <a:gd name="connsiteX115" fmla="*/ 3723 w 10000"/>
                  <a:gd name="connsiteY115" fmla="*/ 1372 h 10000"/>
                  <a:gd name="connsiteX116" fmla="*/ 3723 w 10000"/>
                  <a:gd name="connsiteY116" fmla="*/ 1372 h 10000"/>
                  <a:gd name="connsiteX117" fmla="*/ 3681 w 10000"/>
                  <a:gd name="connsiteY117" fmla="*/ 1497 h 10000"/>
                  <a:gd name="connsiteX118" fmla="*/ 3660 w 10000"/>
                  <a:gd name="connsiteY118" fmla="*/ 1705 h 10000"/>
                  <a:gd name="connsiteX119" fmla="*/ 3745 w 10000"/>
                  <a:gd name="connsiteY119" fmla="*/ 1871 h 10000"/>
                  <a:gd name="connsiteX120" fmla="*/ 3894 w 10000"/>
                  <a:gd name="connsiteY120" fmla="*/ 1871 h 10000"/>
                  <a:gd name="connsiteX121" fmla="*/ 4468 w 10000"/>
                  <a:gd name="connsiteY121" fmla="*/ 2162 h 10000"/>
                  <a:gd name="connsiteX122" fmla="*/ 4468 w 10000"/>
                  <a:gd name="connsiteY122" fmla="*/ 2204 h 10000"/>
                  <a:gd name="connsiteX123" fmla="*/ 4468 w 10000"/>
                  <a:gd name="connsiteY123" fmla="*/ 2204 h 10000"/>
                  <a:gd name="connsiteX124" fmla="*/ 4213 w 10000"/>
                  <a:gd name="connsiteY124" fmla="*/ 2370 h 10000"/>
                  <a:gd name="connsiteX125" fmla="*/ 4128 w 10000"/>
                  <a:gd name="connsiteY125" fmla="*/ 2703 h 10000"/>
                  <a:gd name="connsiteX126" fmla="*/ 5043 w 10000"/>
                  <a:gd name="connsiteY126" fmla="*/ 3243 h 10000"/>
                  <a:gd name="connsiteX127" fmla="*/ 5532 w 10000"/>
                  <a:gd name="connsiteY127" fmla="*/ 3243 h 10000"/>
                  <a:gd name="connsiteX128" fmla="*/ 5574 w 10000"/>
                  <a:gd name="connsiteY128" fmla="*/ 3243 h 10000"/>
                  <a:gd name="connsiteX129" fmla="*/ 5745 w 10000"/>
                  <a:gd name="connsiteY129" fmla="*/ 3451 h 10000"/>
                  <a:gd name="connsiteX130" fmla="*/ 6532 w 10000"/>
                  <a:gd name="connsiteY130" fmla="*/ 3617 h 10000"/>
                  <a:gd name="connsiteX131" fmla="*/ 6766 w 10000"/>
                  <a:gd name="connsiteY131" fmla="*/ 3576 h 10000"/>
                  <a:gd name="connsiteX132" fmla="*/ 6809 w 10000"/>
                  <a:gd name="connsiteY132" fmla="*/ 3493 h 10000"/>
                  <a:gd name="connsiteX133" fmla="*/ 6745 w 10000"/>
                  <a:gd name="connsiteY133" fmla="*/ 3430 h 10000"/>
                  <a:gd name="connsiteX134" fmla="*/ 6745 w 10000"/>
                  <a:gd name="connsiteY134" fmla="*/ 3389 h 10000"/>
                  <a:gd name="connsiteX135" fmla="*/ 6766 w 10000"/>
                  <a:gd name="connsiteY135" fmla="*/ 3347 h 10000"/>
                  <a:gd name="connsiteX136" fmla="*/ 6830 w 10000"/>
                  <a:gd name="connsiteY136" fmla="*/ 3077 h 10000"/>
                  <a:gd name="connsiteX137" fmla="*/ 6830 w 10000"/>
                  <a:gd name="connsiteY137" fmla="*/ 3035 h 10000"/>
                  <a:gd name="connsiteX138" fmla="*/ 7043 w 10000"/>
                  <a:gd name="connsiteY138" fmla="*/ 2973 h 10000"/>
                  <a:gd name="connsiteX139" fmla="*/ 7043 w 10000"/>
                  <a:gd name="connsiteY139" fmla="*/ 2973 h 10000"/>
                  <a:gd name="connsiteX140" fmla="*/ 7043 w 10000"/>
                  <a:gd name="connsiteY140" fmla="*/ 2973 h 10000"/>
                  <a:gd name="connsiteX141" fmla="*/ 7085 w 10000"/>
                  <a:gd name="connsiteY141" fmla="*/ 3015 h 10000"/>
                  <a:gd name="connsiteX142" fmla="*/ 7085 w 10000"/>
                  <a:gd name="connsiteY142" fmla="*/ 3222 h 10000"/>
                  <a:gd name="connsiteX143" fmla="*/ 7106 w 10000"/>
                  <a:gd name="connsiteY143" fmla="*/ 3243 h 10000"/>
                  <a:gd name="connsiteX144" fmla="*/ 7149 w 10000"/>
                  <a:gd name="connsiteY144" fmla="*/ 3285 h 10000"/>
                  <a:gd name="connsiteX145" fmla="*/ 7149 w 10000"/>
                  <a:gd name="connsiteY145" fmla="*/ 3285 h 10000"/>
                  <a:gd name="connsiteX146" fmla="*/ 7085 w 10000"/>
                  <a:gd name="connsiteY146" fmla="*/ 3347 h 10000"/>
                  <a:gd name="connsiteX147" fmla="*/ 7106 w 10000"/>
                  <a:gd name="connsiteY147" fmla="*/ 3430 h 10000"/>
                  <a:gd name="connsiteX148" fmla="*/ 7362 w 10000"/>
                  <a:gd name="connsiteY148" fmla="*/ 3493 h 10000"/>
                  <a:gd name="connsiteX149" fmla="*/ 8128 w 10000"/>
                  <a:gd name="connsiteY149" fmla="*/ 3389 h 10000"/>
                  <a:gd name="connsiteX150" fmla="*/ 8191 w 10000"/>
                  <a:gd name="connsiteY150" fmla="*/ 3285 h 10000"/>
                  <a:gd name="connsiteX151" fmla="*/ 8064 w 10000"/>
                  <a:gd name="connsiteY151" fmla="*/ 3222 h 10000"/>
                  <a:gd name="connsiteX152" fmla="*/ 8043 w 10000"/>
                  <a:gd name="connsiteY152" fmla="*/ 3181 h 10000"/>
                  <a:gd name="connsiteX153" fmla="*/ 8043 w 10000"/>
                  <a:gd name="connsiteY153" fmla="*/ 3098 h 10000"/>
                  <a:gd name="connsiteX154" fmla="*/ 8064 w 10000"/>
                  <a:gd name="connsiteY154" fmla="*/ 3077 h 10000"/>
                  <a:gd name="connsiteX155" fmla="*/ 8489 w 10000"/>
                  <a:gd name="connsiteY155" fmla="*/ 2911 h 10000"/>
                  <a:gd name="connsiteX156" fmla="*/ 9021 w 10000"/>
                  <a:gd name="connsiteY156" fmla="*/ 2516 h 10000"/>
                  <a:gd name="connsiteX157" fmla="*/ 9021 w 10000"/>
                  <a:gd name="connsiteY157" fmla="*/ 2516 h 10000"/>
                  <a:gd name="connsiteX158" fmla="*/ 9255 w 10000"/>
                  <a:gd name="connsiteY158" fmla="*/ 2557 h 10000"/>
                  <a:gd name="connsiteX159" fmla="*/ 9511 w 10000"/>
                  <a:gd name="connsiteY159" fmla="*/ 2432 h 10000"/>
                  <a:gd name="connsiteX160" fmla="*/ 9511 w 10000"/>
                  <a:gd name="connsiteY160" fmla="*/ 2432 h 10000"/>
                  <a:gd name="connsiteX161" fmla="*/ 9553 w 10000"/>
                  <a:gd name="connsiteY161" fmla="*/ 2432 h 10000"/>
                  <a:gd name="connsiteX162" fmla="*/ 9553 w 10000"/>
                  <a:gd name="connsiteY162" fmla="*/ 2474 h 10000"/>
                  <a:gd name="connsiteX163" fmla="*/ 9596 w 10000"/>
                  <a:gd name="connsiteY163" fmla="*/ 2620 h 10000"/>
                  <a:gd name="connsiteX164" fmla="*/ 9660 w 10000"/>
                  <a:gd name="connsiteY164" fmla="*/ 2640 h 10000"/>
                  <a:gd name="connsiteX165" fmla="*/ 9660 w 10000"/>
                  <a:gd name="connsiteY165" fmla="*/ 2682 h 10000"/>
                  <a:gd name="connsiteX166" fmla="*/ 9638 w 10000"/>
                  <a:gd name="connsiteY166" fmla="*/ 2827 h 10000"/>
                  <a:gd name="connsiteX167" fmla="*/ 9872 w 10000"/>
                  <a:gd name="connsiteY167" fmla="*/ 2848 h 10000"/>
                  <a:gd name="connsiteX168" fmla="*/ 9979 w 10000"/>
                  <a:gd name="connsiteY168" fmla="*/ 2952 h 10000"/>
                  <a:gd name="connsiteX169" fmla="*/ 10000 w 10000"/>
                  <a:gd name="connsiteY169" fmla="*/ 2973 h 10000"/>
                  <a:gd name="connsiteX170" fmla="*/ 10000 w 10000"/>
                  <a:gd name="connsiteY170" fmla="*/ 3035 h 10000"/>
                  <a:gd name="connsiteX171" fmla="*/ 9979 w 10000"/>
                  <a:gd name="connsiteY171" fmla="*/ 3077 h 10000"/>
                  <a:gd name="connsiteX172" fmla="*/ 9915 w 10000"/>
                  <a:gd name="connsiteY172" fmla="*/ 3098 h 10000"/>
                  <a:gd name="connsiteX173" fmla="*/ 9872 w 10000"/>
                  <a:gd name="connsiteY173" fmla="*/ 3306 h 10000"/>
                  <a:gd name="connsiteX174" fmla="*/ 9851 w 10000"/>
                  <a:gd name="connsiteY174" fmla="*/ 3347 h 10000"/>
                  <a:gd name="connsiteX175" fmla="*/ 9574 w 10000"/>
                  <a:gd name="connsiteY175" fmla="*/ 3347 h 10000"/>
                  <a:gd name="connsiteX176" fmla="*/ 9298 w 10000"/>
                  <a:gd name="connsiteY176" fmla="*/ 3617 h 10000"/>
                  <a:gd name="connsiteX177" fmla="*/ 9255 w 10000"/>
                  <a:gd name="connsiteY177" fmla="*/ 3846 h 10000"/>
                  <a:gd name="connsiteX178" fmla="*/ 9085 w 10000"/>
                  <a:gd name="connsiteY178" fmla="*/ 4054 h 10000"/>
                  <a:gd name="connsiteX179" fmla="*/ 8936 w 10000"/>
                  <a:gd name="connsiteY179" fmla="*/ 4511 h 10000"/>
                  <a:gd name="connsiteX180" fmla="*/ 8894 w 10000"/>
                  <a:gd name="connsiteY180" fmla="*/ 4511 h 10000"/>
                  <a:gd name="connsiteX181" fmla="*/ 8617 w 10000"/>
                  <a:gd name="connsiteY181" fmla="*/ 4595 h 10000"/>
                  <a:gd name="connsiteX182" fmla="*/ 8617 w 10000"/>
                  <a:gd name="connsiteY182" fmla="*/ 4865 h 10000"/>
                  <a:gd name="connsiteX183" fmla="*/ 8596 w 10000"/>
                  <a:gd name="connsiteY183" fmla="*/ 4906 h 10000"/>
                  <a:gd name="connsiteX184" fmla="*/ 8532 w 10000"/>
                  <a:gd name="connsiteY184" fmla="*/ 4906 h 10000"/>
                  <a:gd name="connsiteX185" fmla="*/ 8489 w 10000"/>
                  <a:gd name="connsiteY185" fmla="*/ 4969 h 10000"/>
                  <a:gd name="connsiteX186" fmla="*/ 8553 w 10000"/>
                  <a:gd name="connsiteY186" fmla="*/ 5135 h 10000"/>
                  <a:gd name="connsiteX187" fmla="*/ 8553 w 10000"/>
                  <a:gd name="connsiteY187" fmla="*/ 5177 h 10000"/>
                  <a:gd name="connsiteX188" fmla="*/ 8362 w 10000"/>
                  <a:gd name="connsiteY188" fmla="*/ 5260 h 10000"/>
                  <a:gd name="connsiteX189" fmla="*/ 8362 w 10000"/>
                  <a:gd name="connsiteY189" fmla="*/ 5260 h 10000"/>
                  <a:gd name="connsiteX190" fmla="*/ 8362 w 10000"/>
                  <a:gd name="connsiteY190" fmla="*/ 5260 h 10000"/>
                  <a:gd name="connsiteX191" fmla="*/ 8340 w 10000"/>
                  <a:gd name="connsiteY191" fmla="*/ 5239 h 10000"/>
                  <a:gd name="connsiteX192" fmla="*/ 8191 w 10000"/>
                  <a:gd name="connsiteY192" fmla="*/ 4636 h 10000"/>
                  <a:gd name="connsiteX193" fmla="*/ 8043 w 10000"/>
                  <a:gd name="connsiteY193" fmla="*/ 4844 h 10000"/>
                  <a:gd name="connsiteX194" fmla="*/ 8043 w 10000"/>
                  <a:gd name="connsiteY194" fmla="*/ 4844 h 10000"/>
                  <a:gd name="connsiteX195" fmla="*/ 8043 w 10000"/>
                  <a:gd name="connsiteY195" fmla="*/ 4844 h 10000"/>
                  <a:gd name="connsiteX196" fmla="*/ 8000 w 10000"/>
                  <a:gd name="connsiteY196" fmla="*/ 4844 h 10000"/>
                  <a:gd name="connsiteX197" fmla="*/ 7872 w 10000"/>
                  <a:gd name="connsiteY197" fmla="*/ 4761 h 10000"/>
                  <a:gd name="connsiteX198" fmla="*/ 7787 w 10000"/>
                  <a:gd name="connsiteY198" fmla="*/ 4511 h 10000"/>
                  <a:gd name="connsiteX199" fmla="*/ 7809 w 10000"/>
                  <a:gd name="connsiteY199" fmla="*/ 4511 h 10000"/>
                  <a:gd name="connsiteX200" fmla="*/ 8191 w 10000"/>
                  <a:gd name="connsiteY200" fmla="*/ 4096 h 10000"/>
                  <a:gd name="connsiteX201" fmla="*/ 7468 w 10000"/>
                  <a:gd name="connsiteY201" fmla="*/ 4033 h 10000"/>
                  <a:gd name="connsiteX202" fmla="*/ 7362 w 10000"/>
                  <a:gd name="connsiteY202" fmla="*/ 3950 h 10000"/>
                  <a:gd name="connsiteX203" fmla="*/ 7298 w 10000"/>
                  <a:gd name="connsiteY203" fmla="*/ 3721 h 10000"/>
                  <a:gd name="connsiteX204" fmla="*/ 7298 w 10000"/>
                  <a:gd name="connsiteY204" fmla="*/ 3763 h 10000"/>
                  <a:gd name="connsiteX205" fmla="*/ 7255 w 10000"/>
                  <a:gd name="connsiteY205" fmla="*/ 3763 h 10000"/>
                  <a:gd name="connsiteX206" fmla="*/ 7170 w 10000"/>
                  <a:gd name="connsiteY206" fmla="*/ 3763 h 10000"/>
                  <a:gd name="connsiteX207" fmla="*/ 7170 w 10000"/>
                  <a:gd name="connsiteY207" fmla="*/ 3763 h 10000"/>
                  <a:gd name="connsiteX208" fmla="*/ 7106 w 10000"/>
                  <a:gd name="connsiteY208" fmla="*/ 3638 h 10000"/>
                  <a:gd name="connsiteX209" fmla="*/ 7043 w 10000"/>
                  <a:gd name="connsiteY209" fmla="*/ 3721 h 10000"/>
                  <a:gd name="connsiteX210" fmla="*/ 7043 w 10000"/>
                  <a:gd name="connsiteY210" fmla="*/ 3721 h 10000"/>
                  <a:gd name="connsiteX211" fmla="*/ 7043 w 10000"/>
                  <a:gd name="connsiteY211" fmla="*/ 3721 h 10000"/>
                  <a:gd name="connsiteX212" fmla="*/ 7021 w 10000"/>
                  <a:gd name="connsiteY212" fmla="*/ 3721 h 10000"/>
                  <a:gd name="connsiteX213" fmla="*/ 6957 w 10000"/>
                  <a:gd name="connsiteY213" fmla="*/ 3617 h 10000"/>
                  <a:gd name="connsiteX214" fmla="*/ 6830 w 10000"/>
                  <a:gd name="connsiteY214" fmla="*/ 3825 h 10000"/>
                  <a:gd name="connsiteX215" fmla="*/ 6872 w 10000"/>
                  <a:gd name="connsiteY215" fmla="*/ 3888 h 10000"/>
                  <a:gd name="connsiteX216" fmla="*/ 6979 w 10000"/>
                  <a:gd name="connsiteY216" fmla="*/ 3909 h 10000"/>
                  <a:gd name="connsiteX217" fmla="*/ 7021 w 10000"/>
                  <a:gd name="connsiteY217" fmla="*/ 3909 h 10000"/>
                  <a:gd name="connsiteX218" fmla="*/ 7021 w 10000"/>
                  <a:gd name="connsiteY218" fmla="*/ 4033 h 10000"/>
                  <a:gd name="connsiteX219" fmla="*/ 7021 w 10000"/>
                  <a:gd name="connsiteY219" fmla="*/ 4054 h 10000"/>
                  <a:gd name="connsiteX220" fmla="*/ 7021 w 10000"/>
                  <a:gd name="connsiteY220" fmla="*/ 4054 h 10000"/>
                  <a:gd name="connsiteX221" fmla="*/ 6894 w 10000"/>
                  <a:gd name="connsiteY221" fmla="*/ 4054 h 10000"/>
                  <a:gd name="connsiteX222" fmla="*/ 6766 w 10000"/>
                  <a:gd name="connsiteY222" fmla="*/ 4220 h 10000"/>
                  <a:gd name="connsiteX223" fmla="*/ 6979 w 10000"/>
                  <a:gd name="connsiteY223" fmla="*/ 4366 h 10000"/>
                  <a:gd name="connsiteX224" fmla="*/ 6979 w 10000"/>
                  <a:gd name="connsiteY224" fmla="*/ 4387 h 10000"/>
                  <a:gd name="connsiteX225" fmla="*/ 6957 w 10000"/>
                  <a:gd name="connsiteY225" fmla="*/ 4595 h 10000"/>
                  <a:gd name="connsiteX226" fmla="*/ 7106 w 10000"/>
                  <a:gd name="connsiteY226" fmla="*/ 5322 h 10000"/>
                  <a:gd name="connsiteX227" fmla="*/ 7106 w 10000"/>
                  <a:gd name="connsiteY227" fmla="*/ 5364 h 10000"/>
                  <a:gd name="connsiteX228" fmla="*/ 7043 w 10000"/>
                  <a:gd name="connsiteY228" fmla="*/ 5385 h 10000"/>
                  <a:gd name="connsiteX229" fmla="*/ 7043 w 10000"/>
                  <a:gd name="connsiteY229" fmla="*/ 5385 h 10000"/>
                  <a:gd name="connsiteX230" fmla="*/ 7021 w 10000"/>
                  <a:gd name="connsiteY230" fmla="*/ 5364 h 10000"/>
                  <a:gd name="connsiteX231" fmla="*/ 7021 w 10000"/>
                  <a:gd name="connsiteY231" fmla="*/ 5364 h 10000"/>
                  <a:gd name="connsiteX232" fmla="*/ 7021 w 10000"/>
                  <a:gd name="connsiteY232" fmla="*/ 5364 h 10000"/>
                  <a:gd name="connsiteX233" fmla="*/ 6894 w 10000"/>
                  <a:gd name="connsiteY233" fmla="*/ 5426 h 10000"/>
                  <a:gd name="connsiteX234" fmla="*/ 6872 w 10000"/>
                  <a:gd name="connsiteY234" fmla="*/ 5426 h 10000"/>
                  <a:gd name="connsiteX235" fmla="*/ 6872 w 10000"/>
                  <a:gd name="connsiteY235" fmla="*/ 5426 h 10000"/>
                  <a:gd name="connsiteX236" fmla="*/ 6872 w 10000"/>
                  <a:gd name="connsiteY236" fmla="*/ 5385 h 10000"/>
                  <a:gd name="connsiteX237" fmla="*/ 6809 w 10000"/>
                  <a:gd name="connsiteY237" fmla="*/ 5198 h 10000"/>
                  <a:gd name="connsiteX238" fmla="*/ 6766 w 10000"/>
                  <a:gd name="connsiteY238" fmla="*/ 5301 h 10000"/>
                  <a:gd name="connsiteX239" fmla="*/ 6468 w 10000"/>
                  <a:gd name="connsiteY239" fmla="*/ 5447 h 10000"/>
                  <a:gd name="connsiteX240" fmla="*/ 6468 w 10000"/>
                  <a:gd name="connsiteY240" fmla="*/ 5696 h 10000"/>
                  <a:gd name="connsiteX241" fmla="*/ 6468 w 10000"/>
                  <a:gd name="connsiteY241" fmla="*/ 5696 h 10000"/>
                  <a:gd name="connsiteX242" fmla="*/ 6213 w 10000"/>
                  <a:gd name="connsiteY242" fmla="*/ 5925 h 10000"/>
                  <a:gd name="connsiteX243" fmla="*/ 5745 w 10000"/>
                  <a:gd name="connsiteY243" fmla="*/ 6175 h 10000"/>
                  <a:gd name="connsiteX244" fmla="*/ 5511 w 10000"/>
                  <a:gd name="connsiteY244" fmla="*/ 6507 h 10000"/>
                  <a:gd name="connsiteX245" fmla="*/ 4894 w 10000"/>
                  <a:gd name="connsiteY245" fmla="*/ 6985 h 10000"/>
                  <a:gd name="connsiteX246" fmla="*/ 4787 w 10000"/>
                  <a:gd name="connsiteY246" fmla="*/ 7131 h 10000"/>
                  <a:gd name="connsiteX247" fmla="*/ 4787 w 10000"/>
                  <a:gd name="connsiteY247" fmla="*/ 7131 h 10000"/>
                  <a:gd name="connsiteX248" fmla="*/ 4489 w 10000"/>
                  <a:gd name="connsiteY248" fmla="*/ 7214 h 10000"/>
                  <a:gd name="connsiteX249" fmla="*/ 4362 w 10000"/>
                  <a:gd name="connsiteY249" fmla="*/ 7401 h 10000"/>
                  <a:gd name="connsiteX250" fmla="*/ 4362 w 10000"/>
                  <a:gd name="connsiteY250" fmla="*/ 7443 h 10000"/>
                  <a:gd name="connsiteX251" fmla="*/ 4191 w 10000"/>
                  <a:gd name="connsiteY251" fmla="*/ 7443 h 10000"/>
                  <a:gd name="connsiteX252" fmla="*/ 4085 w 10000"/>
                  <a:gd name="connsiteY252" fmla="*/ 7547 h 10000"/>
                  <a:gd name="connsiteX253" fmla="*/ 4128 w 10000"/>
                  <a:gd name="connsiteY253" fmla="*/ 8129 h 10000"/>
                  <a:gd name="connsiteX254" fmla="*/ 4191 w 10000"/>
                  <a:gd name="connsiteY254" fmla="*/ 8254 h 10000"/>
                  <a:gd name="connsiteX255" fmla="*/ 4191 w 10000"/>
                  <a:gd name="connsiteY255" fmla="*/ 8274 h 10000"/>
                  <a:gd name="connsiteX256" fmla="*/ 4021 w 10000"/>
                  <a:gd name="connsiteY256" fmla="*/ 8794 h 10000"/>
                  <a:gd name="connsiteX257" fmla="*/ 4021 w 10000"/>
                  <a:gd name="connsiteY257" fmla="*/ 9210 h 10000"/>
                  <a:gd name="connsiteX258" fmla="*/ 4021 w 10000"/>
                  <a:gd name="connsiteY258" fmla="*/ 9231 h 10000"/>
                  <a:gd name="connsiteX259" fmla="*/ 4021 w 10000"/>
                  <a:gd name="connsiteY259" fmla="*/ 9231 h 10000"/>
                  <a:gd name="connsiteX260" fmla="*/ 3851 w 10000"/>
                  <a:gd name="connsiteY260" fmla="*/ 9231 h 10000"/>
                  <a:gd name="connsiteX261" fmla="*/ 3745 w 10000"/>
                  <a:gd name="connsiteY261" fmla="*/ 9480 h 10000"/>
                  <a:gd name="connsiteX262" fmla="*/ 3745 w 10000"/>
                  <a:gd name="connsiteY262" fmla="*/ 9563 h 10000"/>
                  <a:gd name="connsiteX263" fmla="*/ 3723 w 10000"/>
                  <a:gd name="connsiteY263" fmla="*/ 9563 h 10000"/>
                  <a:gd name="connsiteX264" fmla="*/ 3468 w 10000"/>
                  <a:gd name="connsiteY264" fmla="*/ 9667 h 10000"/>
                  <a:gd name="connsiteX265" fmla="*/ 3447 w 10000"/>
                  <a:gd name="connsiteY265" fmla="*/ 9834 h 10000"/>
                  <a:gd name="connsiteX266" fmla="*/ 3298 w 10000"/>
                  <a:gd name="connsiteY266" fmla="*/ 10000 h 10000"/>
                  <a:gd name="connsiteX267" fmla="*/ 3255 w 10000"/>
                  <a:gd name="connsiteY267" fmla="*/ 10000 h 10000"/>
                  <a:gd name="connsiteX268" fmla="*/ 3170 w 10000"/>
                  <a:gd name="connsiteY268" fmla="*/ 10000 h 10000"/>
                  <a:gd name="connsiteX0" fmla="*/ 3170 w 10000"/>
                  <a:gd name="connsiteY0" fmla="*/ 10000 h 10000"/>
                  <a:gd name="connsiteX1" fmla="*/ 3170 w 10000"/>
                  <a:gd name="connsiteY1" fmla="*/ 9958 h 10000"/>
                  <a:gd name="connsiteX2" fmla="*/ 2915 w 10000"/>
                  <a:gd name="connsiteY2" fmla="*/ 9688 h 10000"/>
                  <a:gd name="connsiteX3" fmla="*/ 2617 w 10000"/>
                  <a:gd name="connsiteY3" fmla="*/ 8857 h 10000"/>
                  <a:gd name="connsiteX4" fmla="*/ 2404 w 10000"/>
                  <a:gd name="connsiteY4" fmla="*/ 8586 h 10000"/>
                  <a:gd name="connsiteX5" fmla="*/ 2277 w 10000"/>
                  <a:gd name="connsiteY5" fmla="*/ 8129 h 10000"/>
                  <a:gd name="connsiteX6" fmla="*/ 2021 w 10000"/>
                  <a:gd name="connsiteY6" fmla="*/ 7672 h 10000"/>
                  <a:gd name="connsiteX7" fmla="*/ 2000 w 10000"/>
                  <a:gd name="connsiteY7" fmla="*/ 7484 h 10000"/>
                  <a:gd name="connsiteX8" fmla="*/ 1957 w 10000"/>
                  <a:gd name="connsiteY8" fmla="*/ 7484 h 10000"/>
                  <a:gd name="connsiteX9" fmla="*/ 1936 w 10000"/>
                  <a:gd name="connsiteY9" fmla="*/ 7526 h 10000"/>
                  <a:gd name="connsiteX10" fmla="*/ 1936 w 10000"/>
                  <a:gd name="connsiteY10" fmla="*/ 7526 h 10000"/>
                  <a:gd name="connsiteX11" fmla="*/ 1936 w 10000"/>
                  <a:gd name="connsiteY11" fmla="*/ 7484 h 10000"/>
                  <a:gd name="connsiteX12" fmla="*/ 1872 w 10000"/>
                  <a:gd name="connsiteY12" fmla="*/ 7380 h 10000"/>
                  <a:gd name="connsiteX13" fmla="*/ 1745 w 10000"/>
                  <a:gd name="connsiteY13" fmla="*/ 7131 h 10000"/>
                  <a:gd name="connsiteX14" fmla="*/ 1596 w 10000"/>
                  <a:gd name="connsiteY14" fmla="*/ 6466 h 10000"/>
                  <a:gd name="connsiteX15" fmla="*/ 1617 w 10000"/>
                  <a:gd name="connsiteY15" fmla="*/ 6258 h 10000"/>
                  <a:gd name="connsiteX16" fmla="*/ 1596 w 10000"/>
                  <a:gd name="connsiteY16" fmla="*/ 6258 h 10000"/>
                  <a:gd name="connsiteX17" fmla="*/ 1596 w 10000"/>
                  <a:gd name="connsiteY17" fmla="*/ 6258 h 10000"/>
                  <a:gd name="connsiteX18" fmla="*/ 1532 w 10000"/>
                  <a:gd name="connsiteY18" fmla="*/ 6008 h 10000"/>
                  <a:gd name="connsiteX19" fmla="*/ 1596 w 10000"/>
                  <a:gd name="connsiteY19" fmla="*/ 5738 h 10000"/>
                  <a:gd name="connsiteX20" fmla="*/ 1468 w 10000"/>
                  <a:gd name="connsiteY20" fmla="*/ 5239 h 10000"/>
                  <a:gd name="connsiteX21" fmla="*/ 1468 w 10000"/>
                  <a:gd name="connsiteY21" fmla="*/ 5239 h 10000"/>
                  <a:gd name="connsiteX22" fmla="*/ 1596 w 10000"/>
                  <a:gd name="connsiteY22" fmla="*/ 5114 h 10000"/>
                  <a:gd name="connsiteX23" fmla="*/ 1447 w 10000"/>
                  <a:gd name="connsiteY23" fmla="*/ 5094 h 10000"/>
                  <a:gd name="connsiteX24" fmla="*/ 1319 w 10000"/>
                  <a:gd name="connsiteY24" fmla="*/ 5509 h 10000"/>
                  <a:gd name="connsiteX25" fmla="*/ 1319 w 10000"/>
                  <a:gd name="connsiteY25" fmla="*/ 5530 h 10000"/>
                  <a:gd name="connsiteX26" fmla="*/ 1064 w 10000"/>
                  <a:gd name="connsiteY26" fmla="*/ 5634 h 10000"/>
                  <a:gd name="connsiteX27" fmla="*/ 830 w 10000"/>
                  <a:gd name="connsiteY27" fmla="*/ 5634 h 10000"/>
                  <a:gd name="connsiteX28" fmla="*/ 787 w 10000"/>
                  <a:gd name="connsiteY28" fmla="*/ 5634 h 10000"/>
                  <a:gd name="connsiteX29" fmla="*/ 298 w 10000"/>
                  <a:gd name="connsiteY29" fmla="*/ 5177 h 10000"/>
                  <a:gd name="connsiteX30" fmla="*/ 298 w 10000"/>
                  <a:gd name="connsiteY30" fmla="*/ 5094 h 10000"/>
                  <a:gd name="connsiteX31" fmla="*/ 298 w 10000"/>
                  <a:gd name="connsiteY31" fmla="*/ 5094 h 10000"/>
                  <a:gd name="connsiteX32" fmla="*/ 298 w 10000"/>
                  <a:gd name="connsiteY32" fmla="*/ 5052 h 10000"/>
                  <a:gd name="connsiteX33" fmla="*/ 638 w 10000"/>
                  <a:gd name="connsiteY33" fmla="*/ 5031 h 10000"/>
                  <a:gd name="connsiteX34" fmla="*/ 723 w 10000"/>
                  <a:gd name="connsiteY34" fmla="*/ 4927 h 10000"/>
                  <a:gd name="connsiteX35" fmla="*/ 766 w 10000"/>
                  <a:gd name="connsiteY35" fmla="*/ 4823 h 10000"/>
                  <a:gd name="connsiteX36" fmla="*/ 574 w 10000"/>
                  <a:gd name="connsiteY36" fmla="*/ 4906 h 10000"/>
                  <a:gd name="connsiteX37" fmla="*/ 298 w 10000"/>
                  <a:gd name="connsiteY37" fmla="*/ 4906 h 10000"/>
                  <a:gd name="connsiteX38" fmla="*/ 298 w 10000"/>
                  <a:gd name="connsiteY38" fmla="*/ 4906 h 10000"/>
                  <a:gd name="connsiteX39" fmla="*/ 0 w 10000"/>
                  <a:gd name="connsiteY39" fmla="*/ 4574 h 10000"/>
                  <a:gd name="connsiteX40" fmla="*/ 0 w 10000"/>
                  <a:gd name="connsiteY40" fmla="*/ 4574 h 10000"/>
                  <a:gd name="connsiteX41" fmla="*/ 0 w 10000"/>
                  <a:gd name="connsiteY41" fmla="*/ 4553 h 10000"/>
                  <a:gd name="connsiteX42" fmla="*/ 85 w 10000"/>
                  <a:gd name="connsiteY42" fmla="*/ 4491 h 10000"/>
                  <a:gd name="connsiteX43" fmla="*/ 277 w 10000"/>
                  <a:gd name="connsiteY43" fmla="*/ 4491 h 10000"/>
                  <a:gd name="connsiteX44" fmla="*/ 277 w 10000"/>
                  <a:gd name="connsiteY44" fmla="*/ 4324 h 10000"/>
                  <a:gd name="connsiteX45" fmla="*/ 277 w 10000"/>
                  <a:gd name="connsiteY45" fmla="*/ 4324 h 10000"/>
                  <a:gd name="connsiteX46" fmla="*/ 298 w 10000"/>
                  <a:gd name="connsiteY46" fmla="*/ 4324 h 10000"/>
                  <a:gd name="connsiteX47" fmla="*/ 298 w 10000"/>
                  <a:gd name="connsiteY47" fmla="*/ 4324 h 10000"/>
                  <a:gd name="connsiteX48" fmla="*/ 702 w 10000"/>
                  <a:gd name="connsiteY48" fmla="*/ 4428 h 10000"/>
                  <a:gd name="connsiteX49" fmla="*/ 830 w 10000"/>
                  <a:gd name="connsiteY49" fmla="*/ 4304 h 10000"/>
                  <a:gd name="connsiteX50" fmla="*/ 851 w 10000"/>
                  <a:gd name="connsiteY50" fmla="*/ 4304 h 10000"/>
                  <a:gd name="connsiteX51" fmla="*/ 851 w 10000"/>
                  <a:gd name="connsiteY51" fmla="*/ 4304 h 10000"/>
                  <a:gd name="connsiteX52" fmla="*/ 936 w 10000"/>
                  <a:gd name="connsiteY52" fmla="*/ 4387 h 10000"/>
                  <a:gd name="connsiteX53" fmla="*/ 1043 w 10000"/>
                  <a:gd name="connsiteY53" fmla="*/ 4324 h 10000"/>
                  <a:gd name="connsiteX54" fmla="*/ 894 w 10000"/>
                  <a:gd name="connsiteY54" fmla="*/ 3909 h 10000"/>
                  <a:gd name="connsiteX55" fmla="*/ 702 w 10000"/>
                  <a:gd name="connsiteY55" fmla="*/ 3825 h 10000"/>
                  <a:gd name="connsiteX56" fmla="*/ 702 w 10000"/>
                  <a:gd name="connsiteY56" fmla="*/ 3784 h 10000"/>
                  <a:gd name="connsiteX57" fmla="*/ 723 w 10000"/>
                  <a:gd name="connsiteY57" fmla="*/ 3617 h 10000"/>
                  <a:gd name="connsiteX58" fmla="*/ 511 w 10000"/>
                  <a:gd name="connsiteY58" fmla="*/ 3555 h 10000"/>
                  <a:gd name="connsiteX59" fmla="*/ 511 w 10000"/>
                  <a:gd name="connsiteY59" fmla="*/ 3555 h 10000"/>
                  <a:gd name="connsiteX60" fmla="*/ 489 w 10000"/>
                  <a:gd name="connsiteY60" fmla="*/ 3514 h 10000"/>
                  <a:gd name="connsiteX61" fmla="*/ 553 w 10000"/>
                  <a:gd name="connsiteY61" fmla="*/ 3368 h 10000"/>
                  <a:gd name="connsiteX62" fmla="*/ 830 w 10000"/>
                  <a:gd name="connsiteY62" fmla="*/ 2973 h 10000"/>
                  <a:gd name="connsiteX63" fmla="*/ 851 w 10000"/>
                  <a:gd name="connsiteY63" fmla="*/ 2973 h 10000"/>
                  <a:gd name="connsiteX64" fmla="*/ 851 w 10000"/>
                  <a:gd name="connsiteY64" fmla="*/ 2973 h 10000"/>
                  <a:gd name="connsiteX65" fmla="*/ 851 w 10000"/>
                  <a:gd name="connsiteY65" fmla="*/ 2973 h 10000"/>
                  <a:gd name="connsiteX66" fmla="*/ 979 w 10000"/>
                  <a:gd name="connsiteY66" fmla="*/ 3098 h 10000"/>
                  <a:gd name="connsiteX67" fmla="*/ 1277 w 10000"/>
                  <a:gd name="connsiteY67" fmla="*/ 3035 h 10000"/>
                  <a:gd name="connsiteX68" fmla="*/ 1468 w 10000"/>
                  <a:gd name="connsiteY68" fmla="*/ 2765 h 10000"/>
                  <a:gd name="connsiteX69" fmla="*/ 1660 w 10000"/>
                  <a:gd name="connsiteY69" fmla="*/ 2620 h 10000"/>
                  <a:gd name="connsiteX70" fmla="*/ 1830 w 10000"/>
                  <a:gd name="connsiteY70" fmla="*/ 2287 h 10000"/>
                  <a:gd name="connsiteX71" fmla="*/ 1957 w 10000"/>
                  <a:gd name="connsiteY71" fmla="*/ 2245 h 10000"/>
                  <a:gd name="connsiteX72" fmla="*/ 2000 w 10000"/>
                  <a:gd name="connsiteY72" fmla="*/ 2204 h 10000"/>
                  <a:gd name="connsiteX73" fmla="*/ 2170 w 10000"/>
                  <a:gd name="connsiteY73" fmla="*/ 2079 h 10000"/>
                  <a:gd name="connsiteX74" fmla="*/ 2404 w 10000"/>
                  <a:gd name="connsiteY74" fmla="*/ 1975 h 10000"/>
                  <a:gd name="connsiteX75" fmla="*/ 2511 w 10000"/>
                  <a:gd name="connsiteY75" fmla="*/ 1954 h 10000"/>
                  <a:gd name="connsiteX76" fmla="*/ 2511 w 10000"/>
                  <a:gd name="connsiteY76" fmla="*/ 1892 h 10000"/>
                  <a:gd name="connsiteX77" fmla="*/ 2574 w 10000"/>
                  <a:gd name="connsiteY77" fmla="*/ 1892 h 10000"/>
                  <a:gd name="connsiteX78" fmla="*/ 2638 w 10000"/>
                  <a:gd name="connsiteY78" fmla="*/ 1809 h 10000"/>
                  <a:gd name="connsiteX79" fmla="*/ 2681 w 10000"/>
                  <a:gd name="connsiteY79" fmla="*/ 1559 h 10000"/>
                  <a:gd name="connsiteX80" fmla="*/ 2702 w 10000"/>
                  <a:gd name="connsiteY80" fmla="*/ 1372 h 10000"/>
                  <a:gd name="connsiteX81" fmla="*/ 2574 w 10000"/>
                  <a:gd name="connsiteY81" fmla="*/ 1435 h 10000"/>
                  <a:gd name="connsiteX82" fmla="*/ 2489 w 10000"/>
                  <a:gd name="connsiteY82" fmla="*/ 1414 h 10000"/>
                  <a:gd name="connsiteX83" fmla="*/ 2447 w 10000"/>
                  <a:gd name="connsiteY83" fmla="*/ 1331 h 10000"/>
                  <a:gd name="connsiteX84" fmla="*/ 2447 w 10000"/>
                  <a:gd name="connsiteY84" fmla="*/ 1331 h 10000"/>
                  <a:gd name="connsiteX85" fmla="*/ 2426 w 10000"/>
                  <a:gd name="connsiteY85" fmla="*/ 1268 h 10000"/>
                  <a:gd name="connsiteX86" fmla="*/ 2404 w 10000"/>
                  <a:gd name="connsiteY86" fmla="*/ 1206 h 10000"/>
                  <a:gd name="connsiteX87" fmla="*/ 2426 w 10000"/>
                  <a:gd name="connsiteY87" fmla="*/ 1102 h 10000"/>
                  <a:gd name="connsiteX88" fmla="*/ 2511 w 10000"/>
                  <a:gd name="connsiteY88" fmla="*/ 1019 h 10000"/>
                  <a:gd name="connsiteX89" fmla="*/ 2617 w 10000"/>
                  <a:gd name="connsiteY89" fmla="*/ 936 h 10000"/>
                  <a:gd name="connsiteX90" fmla="*/ 2553 w 10000"/>
                  <a:gd name="connsiteY90" fmla="*/ 811 h 10000"/>
                  <a:gd name="connsiteX91" fmla="*/ 2426 w 10000"/>
                  <a:gd name="connsiteY91" fmla="*/ 811 h 10000"/>
                  <a:gd name="connsiteX92" fmla="*/ 2426 w 10000"/>
                  <a:gd name="connsiteY92" fmla="*/ 686 h 10000"/>
                  <a:gd name="connsiteX93" fmla="*/ 2298 w 10000"/>
                  <a:gd name="connsiteY93" fmla="*/ 561 h 10000"/>
                  <a:gd name="connsiteX94" fmla="*/ 2234 w 10000"/>
                  <a:gd name="connsiteY94" fmla="*/ 457 h 10000"/>
                  <a:gd name="connsiteX95" fmla="*/ 2149 w 10000"/>
                  <a:gd name="connsiteY95" fmla="*/ 270 h 10000"/>
                  <a:gd name="connsiteX96" fmla="*/ 2149 w 10000"/>
                  <a:gd name="connsiteY96" fmla="*/ 166 h 10000"/>
                  <a:gd name="connsiteX97" fmla="*/ 2277 w 10000"/>
                  <a:gd name="connsiteY97" fmla="*/ 83 h 10000"/>
                  <a:gd name="connsiteX98" fmla="*/ 2553 w 10000"/>
                  <a:gd name="connsiteY98" fmla="*/ 0 h 10000"/>
                  <a:gd name="connsiteX99" fmla="*/ 2787 w 10000"/>
                  <a:gd name="connsiteY99" fmla="*/ 62 h 10000"/>
                  <a:gd name="connsiteX100" fmla="*/ 2894 w 10000"/>
                  <a:gd name="connsiteY100" fmla="*/ 146 h 10000"/>
                  <a:gd name="connsiteX101" fmla="*/ 3043 w 10000"/>
                  <a:gd name="connsiteY101" fmla="*/ 166 h 10000"/>
                  <a:gd name="connsiteX102" fmla="*/ 3574 w 10000"/>
                  <a:gd name="connsiteY102" fmla="*/ 499 h 10000"/>
                  <a:gd name="connsiteX103" fmla="*/ 3745 w 10000"/>
                  <a:gd name="connsiteY103" fmla="*/ 457 h 10000"/>
                  <a:gd name="connsiteX104" fmla="*/ 3936 w 10000"/>
                  <a:gd name="connsiteY104" fmla="*/ 395 h 10000"/>
                  <a:gd name="connsiteX105" fmla="*/ 4128 w 10000"/>
                  <a:gd name="connsiteY105" fmla="*/ 353 h 10000"/>
                  <a:gd name="connsiteX106" fmla="*/ 4128 w 10000"/>
                  <a:gd name="connsiteY106" fmla="*/ 353 h 10000"/>
                  <a:gd name="connsiteX107" fmla="*/ 4128 w 10000"/>
                  <a:gd name="connsiteY107" fmla="*/ 416 h 10000"/>
                  <a:gd name="connsiteX108" fmla="*/ 3957 w 10000"/>
                  <a:gd name="connsiteY108" fmla="*/ 541 h 10000"/>
                  <a:gd name="connsiteX109" fmla="*/ 4191 w 10000"/>
                  <a:gd name="connsiteY109" fmla="*/ 686 h 10000"/>
                  <a:gd name="connsiteX110" fmla="*/ 4128 w 10000"/>
                  <a:gd name="connsiteY110" fmla="*/ 1019 h 10000"/>
                  <a:gd name="connsiteX111" fmla="*/ 3957 w 10000"/>
                  <a:gd name="connsiteY111" fmla="*/ 1206 h 10000"/>
                  <a:gd name="connsiteX112" fmla="*/ 3957 w 10000"/>
                  <a:gd name="connsiteY112" fmla="*/ 1227 h 10000"/>
                  <a:gd name="connsiteX113" fmla="*/ 3745 w 10000"/>
                  <a:gd name="connsiteY113" fmla="*/ 1372 h 10000"/>
                  <a:gd name="connsiteX114" fmla="*/ 3745 w 10000"/>
                  <a:gd name="connsiteY114" fmla="*/ 1372 h 10000"/>
                  <a:gd name="connsiteX115" fmla="*/ 3723 w 10000"/>
                  <a:gd name="connsiteY115" fmla="*/ 1372 h 10000"/>
                  <a:gd name="connsiteX116" fmla="*/ 3723 w 10000"/>
                  <a:gd name="connsiteY116" fmla="*/ 1372 h 10000"/>
                  <a:gd name="connsiteX117" fmla="*/ 3681 w 10000"/>
                  <a:gd name="connsiteY117" fmla="*/ 1497 h 10000"/>
                  <a:gd name="connsiteX118" fmla="*/ 3660 w 10000"/>
                  <a:gd name="connsiteY118" fmla="*/ 1705 h 10000"/>
                  <a:gd name="connsiteX119" fmla="*/ 3745 w 10000"/>
                  <a:gd name="connsiteY119" fmla="*/ 1871 h 10000"/>
                  <a:gd name="connsiteX120" fmla="*/ 3894 w 10000"/>
                  <a:gd name="connsiteY120" fmla="*/ 1871 h 10000"/>
                  <a:gd name="connsiteX121" fmla="*/ 4468 w 10000"/>
                  <a:gd name="connsiteY121" fmla="*/ 2162 h 10000"/>
                  <a:gd name="connsiteX122" fmla="*/ 4468 w 10000"/>
                  <a:gd name="connsiteY122" fmla="*/ 2204 h 10000"/>
                  <a:gd name="connsiteX123" fmla="*/ 4468 w 10000"/>
                  <a:gd name="connsiteY123" fmla="*/ 2204 h 10000"/>
                  <a:gd name="connsiteX124" fmla="*/ 4213 w 10000"/>
                  <a:gd name="connsiteY124" fmla="*/ 2370 h 10000"/>
                  <a:gd name="connsiteX125" fmla="*/ 4128 w 10000"/>
                  <a:gd name="connsiteY125" fmla="*/ 2703 h 10000"/>
                  <a:gd name="connsiteX126" fmla="*/ 5043 w 10000"/>
                  <a:gd name="connsiteY126" fmla="*/ 3243 h 10000"/>
                  <a:gd name="connsiteX127" fmla="*/ 5532 w 10000"/>
                  <a:gd name="connsiteY127" fmla="*/ 3243 h 10000"/>
                  <a:gd name="connsiteX128" fmla="*/ 5574 w 10000"/>
                  <a:gd name="connsiteY128" fmla="*/ 3243 h 10000"/>
                  <a:gd name="connsiteX129" fmla="*/ 5745 w 10000"/>
                  <a:gd name="connsiteY129" fmla="*/ 3451 h 10000"/>
                  <a:gd name="connsiteX130" fmla="*/ 6532 w 10000"/>
                  <a:gd name="connsiteY130" fmla="*/ 3617 h 10000"/>
                  <a:gd name="connsiteX131" fmla="*/ 6766 w 10000"/>
                  <a:gd name="connsiteY131" fmla="*/ 3576 h 10000"/>
                  <a:gd name="connsiteX132" fmla="*/ 6809 w 10000"/>
                  <a:gd name="connsiteY132" fmla="*/ 3493 h 10000"/>
                  <a:gd name="connsiteX133" fmla="*/ 6745 w 10000"/>
                  <a:gd name="connsiteY133" fmla="*/ 3430 h 10000"/>
                  <a:gd name="connsiteX134" fmla="*/ 6745 w 10000"/>
                  <a:gd name="connsiteY134" fmla="*/ 3389 h 10000"/>
                  <a:gd name="connsiteX135" fmla="*/ 6766 w 10000"/>
                  <a:gd name="connsiteY135" fmla="*/ 3347 h 10000"/>
                  <a:gd name="connsiteX136" fmla="*/ 6830 w 10000"/>
                  <a:gd name="connsiteY136" fmla="*/ 3077 h 10000"/>
                  <a:gd name="connsiteX137" fmla="*/ 6830 w 10000"/>
                  <a:gd name="connsiteY137" fmla="*/ 3035 h 10000"/>
                  <a:gd name="connsiteX138" fmla="*/ 7043 w 10000"/>
                  <a:gd name="connsiteY138" fmla="*/ 2973 h 10000"/>
                  <a:gd name="connsiteX139" fmla="*/ 7043 w 10000"/>
                  <a:gd name="connsiteY139" fmla="*/ 2973 h 10000"/>
                  <a:gd name="connsiteX140" fmla="*/ 7043 w 10000"/>
                  <a:gd name="connsiteY140" fmla="*/ 2973 h 10000"/>
                  <a:gd name="connsiteX141" fmla="*/ 7085 w 10000"/>
                  <a:gd name="connsiteY141" fmla="*/ 3015 h 10000"/>
                  <a:gd name="connsiteX142" fmla="*/ 7085 w 10000"/>
                  <a:gd name="connsiteY142" fmla="*/ 3222 h 10000"/>
                  <a:gd name="connsiteX143" fmla="*/ 7106 w 10000"/>
                  <a:gd name="connsiteY143" fmla="*/ 3243 h 10000"/>
                  <a:gd name="connsiteX144" fmla="*/ 7149 w 10000"/>
                  <a:gd name="connsiteY144" fmla="*/ 3285 h 10000"/>
                  <a:gd name="connsiteX145" fmla="*/ 7149 w 10000"/>
                  <a:gd name="connsiteY145" fmla="*/ 3285 h 10000"/>
                  <a:gd name="connsiteX146" fmla="*/ 7085 w 10000"/>
                  <a:gd name="connsiteY146" fmla="*/ 3347 h 10000"/>
                  <a:gd name="connsiteX147" fmla="*/ 7106 w 10000"/>
                  <a:gd name="connsiteY147" fmla="*/ 3430 h 10000"/>
                  <a:gd name="connsiteX148" fmla="*/ 7362 w 10000"/>
                  <a:gd name="connsiteY148" fmla="*/ 3493 h 10000"/>
                  <a:gd name="connsiteX149" fmla="*/ 8128 w 10000"/>
                  <a:gd name="connsiteY149" fmla="*/ 3389 h 10000"/>
                  <a:gd name="connsiteX150" fmla="*/ 8191 w 10000"/>
                  <a:gd name="connsiteY150" fmla="*/ 3285 h 10000"/>
                  <a:gd name="connsiteX151" fmla="*/ 8064 w 10000"/>
                  <a:gd name="connsiteY151" fmla="*/ 3222 h 10000"/>
                  <a:gd name="connsiteX152" fmla="*/ 8043 w 10000"/>
                  <a:gd name="connsiteY152" fmla="*/ 3181 h 10000"/>
                  <a:gd name="connsiteX153" fmla="*/ 8043 w 10000"/>
                  <a:gd name="connsiteY153" fmla="*/ 3098 h 10000"/>
                  <a:gd name="connsiteX154" fmla="*/ 8064 w 10000"/>
                  <a:gd name="connsiteY154" fmla="*/ 3077 h 10000"/>
                  <a:gd name="connsiteX155" fmla="*/ 8489 w 10000"/>
                  <a:gd name="connsiteY155" fmla="*/ 2911 h 10000"/>
                  <a:gd name="connsiteX156" fmla="*/ 9021 w 10000"/>
                  <a:gd name="connsiteY156" fmla="*/ 2516 h 10000"/>
                  <a:gd name="connsiteX157" fmla="*/ 9021 w 10000"/>
                  <a:gd name="connsiteY157" fmla="*/ 2516 h 10000"/>
                  <a:gd name="connsiteX158" fmla="*/ 9255 w 10000"/>
                  <a:gd name="connsiteY158" fmla="*/ 2557 h 10000"/>
                  <a:gd name="connsiteX159" fmla="*/ 9511 w 10000"/>
                  <a:gd name="connsiteY159" fmla="*/ 2432 h 10000"/>
                  <a:gd name="connsiteX160" fmla="*/ 9511 w 10000"/>
                  <a:gd name="connsiteY160" fmla="*/ 2432 h 10000"/>
                  <a:gd name="connsiteX161" fmla="*/ 9553 w 10000"/>
                  <a:gd name="connsiteY161" fmla="*/ 2432 h 10000"/>
                  <a:gd name="connsiteX162" fmla="*/ 9553 w 10000"/>
                  <a:gd name="connsiteY162" fmla="*/ 2474 h 10000"/>
                  <a:gd name="connsiteX163" fmla="*/ 9596 w 10000"/>
                  <a:gd name="connsiteY163" fmla="*/ 2620 h 10000"/>
                  <a:gd name="connsiteX164" fmla="*/ 9660 w 10000"/>
                  <a:gd name="connsiteY164" fmla="*/ 2640 h 10000"/>
                  <a:gd name="connsiteX165" fmla="*/ 9660 w 10000"/>
                  <a:gd name="connsiteY165" fmla="*/ 2682 h 10000"/>
                  <a:gd name="connsiteX166" fmla="*/ 9638 w 10000"/>
                  <a:gd name="connsiteY166" fmla="*/ 2827 h 10000"/>
                  <a:gd name="connsiteX167" fmla="*/ 9872 w 10000"/>
                  <a:gd name="connsiteY167" fmla="*/ 2848 h 10000"/>
                  <a:gd name="connsiteX168" fmla="*/ 9979 w 10000"/>
                  <a:gd name="connsiteY168" fmla="*/ 2952 h 10000"/>
                  <a:gd name="connsiteX169" fmla="*/ 10000 w 10000"/>
                  <a:gd name="connsiteY169" fmla="*/ 2973 h 10000"/>
                  <a:gd name="connsiteX170" fmla="*/ 10000 w 10000"/>
                  <a:gd name="connsiteY170" fmla="*/ 3035 h 10000"/>
                  <a:gd name="connsiteX171" fmla="*/ 9979 w 10000"/>
                  <a:gd name="connsiteY171" fmla="*/ 3077 h 10000"/>
                  <a:gd name="connsiteX172" fmla="*/ 9915 w 10000"/>
                  <a:gd name="connsiteY172" fmla="*/ 3098 h 10000"/>
                  <a:gd name="connsiteX173" fmla="*/ 9872 w 10000"/>
                  <a:gd name="connsiteY173" fmla="*/ 3306 h 10000"/>
                  <a:gd name="connsiteX174" fmla="*/ 9851 w 10000"/>
                  <a:gd name="connsiteY174" fmla="*/ 3347 h 10000"/>
                  <a:gd name="connsiteX175" fmla="*/ 9574 w 10000"/>
                  <a:gd name="connsiteY175" fmla="*/ 3347 h 10000"/>
                  <a:gd name="connsiteX176" fmla="*/ 9298 w 10000"/>
                  <a:gd name="connsiteY176" fmla="*/ 3617 h 10000"/>
                  <a:gd name="connsiteX177" fmla="*/ 9255 w 10000"/>
                  <a:gd name="connsiteY177" fmla="*/ 3846 h 10000"/>
                  <a:gd name="connsiteX178" fmla="*/ 9085 w 10000"/>
                  <a:gd name="connsiteY178" fmla="*/ 4054 h 10000"/>
                  <a:gd name="connsiteX179" fmla="*/ 8936 w 10000"/>
                  <a:gd name="connsiteY179" fmla="*/ 4511 h 10000"/>
                  <a:gd name="connsiteX180" fmla="*/ 8894 w 10000"/>
                  <a:gd name="connsiteY180" fmla="*/ 4511 h 10000"/>
                  <a:gd name="connsiteX181" fmla="*/ 8617 w 10000"/>
                  <a:gd name="connsiteY181" fmla="*/ 4595 h 10000"/>
                  <a:gd name="connsiteX182" fmla="*/ 8617 w 10000"/>
                  <a:gd name="connsiteY182" fmla="*/ 4865 h 10000"/>
                  <a:gd name="connsiteX183" fmla="*/ 8596 w 10000"/>
                  <a:gd name="connsiteY183" fmla="*/ 4906 h 10000"/>
                  <a:gd name="connsiteX184" fmla="*/ 8532 w 10000"/>
                  <a:gd name="connsiteY184" fmla="*/ 4906 h 10000"/>
                  <a:gd name="connsiteX185" fmla="*/ 8489 w 10000"/>
                  <a:gd name="connsiteY185" fmla="*/ 4969 h 10000"/>
                  <a:gd name="connsiteX186" fmla="*/ 8553 w 10000"/>
                  <a:gd name="connsiteY186" fmla="*/ 5135 h 10000"/>
                  <a:gd name="connsiteX187" fmla="*/ 8553 w 10000"/>
                  <a:gd name="connsiteY187" fmla="*/ 5177 h 10000"/>
                  <a:gd name="connsiteX188" fmla="*/ 8362 w 10000"/>
                  <a:gd name="connsiteY188" fmla="*/ 5260 h 10000"/>
                  <a:gd name="connsiteX189" fmla="*/ 8362 w 10000"/>
                  <a:gd name="connsiteY189" fmla="*/ 5260 h 10000"/>
                  <a:gd name="connsiteX190" fmla="*/ 8362 w 10000"/>
                  <a:gd name="connsiteY190" fmla="*/ 5260 h 10000"/>
                  <a:gd name="connsiteX191" fmla="*/ 8340 w 10000"/>
                  <a:gd name="connsiteY191" fmla="*/ 5239 h 10000"/>
                  <a:gd name="connsiteX192" fmla="*/ 8191 w 10000"/>
                  <a:gd name="connsiteY192" fmla="*/ 4636 h 10000"/>
                  <a:gd name="connsiteX193" fmla="*/ 8043 w 10000"/>
                  <a:gd name="connsiteY193" fmla="*/ 4844 h 10000"/>
                  <a:gd name="connsiteX194" fmla="*/ 8043 w 10000"/>
                  <a:gd name="connsiteY194" fmla="*/ 4844 h 10000"/>
                  <a:gd name="connsiteX195" fmla="*/ 8043 w 10000"/>
                  <a:gd name="connsiteY195" fmla="*/ 4844 h 10000"/>
                  <a:gd name="connsiteX196" fmla="*/ 8000 w 10000"/>
                  <a:gd name="connsiteY196" fmla="*/ 4844 h 10000"/>
                  <a:gd name="connsiteX197" fmla="*/ 7872 w 10000"/>
                  <a:gd name="connsiteY197" fmla="*/ 4761 h 10000"/>
                  <a:gd name="connsiteX198" fmla="*/ 7787 w 10000"/>
                  <a:gd name="connsiteY198" fmla="*/ 4511 h 10000"/>
                  <a:gd name="connsiteX199" fmla="*/ 7809 w 10000"/>
                  <a:gd name="connsiteY199" fmla="*/ 4511 h 10000"/>
                  <a:gd name="connsiteX200" fmla="*/ 8191 w 10000"/>
                  <a:gd name="connsiteY200" fmla="*/ 4096 h 10000"/>
                  <a:gd name="connsiteX201" fmla="*/ 7468 w 10000"/>
                  <a:gd name="connsiteY201" fmla="*/ 4033 h 10000"/>
                  <a:gd name="connsiteX202" fmla="*/ 7362 w 10000"/>
                  <a:gd name="connsiteY202" fmla="*/ 3950 h 10000"/>
                  <a:gd name="connsiteX203" fmla="*/ 7298 w 10000"/>
                  <a:gd name="connsiteY203" fmla="*/ 3721 h 10000"/>
                  <a:gd name="connsiteX204" fmla="*/ 7298 w 10000"/>
                  <a:gd name="connsiteY204" fmla="*/ 3763 h 10000"/>
                  <a:gd name="connsiteX205" fmla="*/ 7255 w 10000"/>
                  <a:gd name="connsiteY205" fmla="*/ 3763 h 10000"/>
                  <a:gd name="connsiteX206" fmla="*/ 7170 w 10000"/>
                  <a:gd name="connsiteY206" fmla="*/ 3763 h 10000"/>
                  <a:gd name="connsiteX207" fmla="*/ 7170 w 10000"/>
                  <a:gd name="connsiteY207" fmla="*/ 3763 h 10000"/>
                  <a:gd name="connsiteX208" fmla="*/ 7106 w 10000"/>
                  <a:gd name="connsiteY208" fmla="*/ 3638 h 10000"/>
                  <a:gd name="connsiteX209" fmla="*/ 7043 w 10000"/>
                  <a:gd name="connsiteY209" fmla="*/ 3721 h 10000"/>
                  <a:gd name="connsiteX210" fmla="*/ 7043 w 10000"/>
                  <a:gd name="connsiteY210" fmla="*/ 3721 h 10000"/>
                  <a:gd name="connsiteX211" fmla="*/ 7043 w 10000"/>
                  <a:gd name="connsiteY211" fmla="*/ 3721 h 10000"/>
                  <a:gd name="connsiteX212" fmla="*/ 7021 w 10000"/>
                  <a:gd name="connsiteY212" fmla="*/ 3721 h 10000"/>
                  <a:gd name="connsiteX213" fmla="*/ 6957 w 10000"/>
                  <a:gd name="connsiteY213" fmla="*/ 3617 h 10000"/>
                  <a:gd name="connsiteX214" fmla="*/ 6830 w 10000"/>
                  <a:gd name="connsiteY214" fmla="*/ 3825 h 10000"/>
                  <a:gd name="connsiteX215" fmla="*/ 6872 w 10000"/>
                  <a:gd name="connsiteY215" fmla="*/ 3888 h 10000"/>
                  <a:gd name="connsiteX216" fmla="*/ 6979 w 10000"/>
                  <a:gd name="connsiteY216" fmla="*/ 3909 h 10000"/>
                  <a:gd name="connsiteX217" fmla="*/ 7021 w 10000"/>
                  <a:gd name="connsiteY217" fmla="*/ 3909 h 10000"/>
                  <a:gd name="connsiteX218" fmla="*/ 7021 w 10000"/>
                  <a:gd name="connsiteY218" fmla="*/ 4033 h 10000"/>
                  <a:gd name="connsiteX219" fmla="*/ 7021 w 10000"/>
                  <a:gd name="connsiteY219" fmla="*/ 4054 h 10000"/>
                  <a:gd name="connsiteX220" fmla="*/ 7021 w 10000"/>
                  <a:gd name="connsiteY220" fmla="*/ 4054 h 10000"/>
                  <a:gd name="connsiteX221" fmla="*/ 6894 w 10000"/>
                  <a:gd name="connsiteY221" fmla="*/ 4054 h 10000"/>
                  <a:gd name="connsiteX222" fmla="*/ 6766 w 10000"/>
                  <a:gd name="connsiteY222" fmla="*/ 4220 h 10000"/>
                  <a:gd name="connsiteX223" fmla="*/ 6979 w 10000"/>
                  <a:gd name="connsiteY223" fmla="*/ 4366 h 10000"/>
                  <a:gd name="connsiteX224" fmla="*/ 6979 w 10000"/>
                  <a:gd name="connsiteY224" fmla="*/ 4387 h 10000"/>
                  <a:gd name="connsiteX225" fmla="*/ 6957 w 10000"/>
                  <a:gd name="connsiteY225" fmla="*/ 4595 h 10000"/>
                  <a:gd name="connsiteX226" fmla="*/ 7106 w 10000"/>
                  <a:gd name="connsiteY226" fmla="*/ 5322 h 10000"/>
                  <a:gd name="connsiteX227" fmla="*/ 7106 w 10000"/>
                  <a:gd name="connsiteY227" fmla="*/ 5364 h 10000"/>
                  <a:gd name="connsiteX228" fmla="*/ 7043 w 10000"/>
                  <a:gd name="connsiteY228" fmla="*/ 5385 h 10000"/>
                  <a:gd name="connsiteX229" fmla="*/ 7043 w 10000"/>
                  <a:gd name="connsiteY229" fmla="*/ 5385 h 10000"/>
                  <a:gd name="connsiteX230" fmla="*/ 7021 w 10000"/>
                  <a:gd name="connsiteY230" fmla="*/ 5364 h 10000"/>
                  <a:gd name="connsiteX231" fmla="*/ 7021 w 10000"/>
                  <a:gd name="connsiteY231" fmla="*/ 5364 h 10000"/>
                  <a:gd name="connsiteX232" fmla="*/ 7021 w 10000"/>
                  <a:gd name="connsiteY232" fmla="*/ 5364 h 10000"/>
                  <a:gd name="connsiteX233" fmla="*/ 6894 w 10000"/>
                  <a:gd name="connsiteY233" fmla="*/ 5426 h 10000"/>
                  <a:gd name="connsiteX234" fmla="*/ 6872 w 10000"/>
                  <a:gd name="connsiteY234" fmla="*/ 5426 h 10000"/>
                  <a:gd name="connsiteX235" fmla="*/ 6872 w 10000"/>
                  <a:gd name="connsiteY235" fmla="*/ 5426 h 10000"/>
                  <a:gd name="connsiteX236" fmla="*/ 6872 w 10000"/>
                  <a:gd name="connsiteY236" fmla="*/ 5385 h 10000"/>
                  <a:gd name="connsiteX237" fmla="*/ 6809 w 10000"/>
                  <a:gd name="connsiteY237" fmla="*/ 5198 h 10000"/>
                  <a:gd name="connsiteX238" fmla="*/ 6766 w 10000"/>
                  <a:gd name="connsiteY238" fmla="*/ 5301 h 10000"/>
                  <a:gd name="connsiteX239" fmla="*/ 6468 w 10000"/>
                  <a:gd name="connsiteY239" fmla="*/ 5447 h 10000"/>
                  <a:gd name="connsiteX240" fmla="*/ 6468 w 10000"/>
                  <a:gd name="connsiteY240" fmla="*/ 5696 h 10000"/>
                  <a:gd name="connsiteX241" fmla="*/ 6468 w 10000"/>
                  <a:gd name="connsiteY241" fmla="*/ 5696 h 10000"/>
                  <a:gd name="connsiteX242" fmla="*/ 6213 w 10000"/>
                  <a:gd name="connsiteY242" fmla="*/ 5925 h 10000"/>
                  <a:gd name="connsiteX243" fmla="*/ 5745 w 10000"/>
                  <a:gd name="connsiteY243" fmla="*/ 6175 h 10000"/>
                  <a:gd name="connsiteX244" fmla="*/ 5511 w 10000"/>
                  <a:gd name="connsiteY244" fmla="*/ 6507 h 10000"/>
                  <a:gd name="connsiteX245" fmla="*/ 4894 w 10000"/>
                  <a:gd name="connsiteY245" fmla="*/ 6985 h 10000"/>
                  <a:gd name="connsiteX246" fmla="*/ 4787 w 10000"/>
                  <a:gd name="connsiteY246" fmla="*/ 7131 h 10000"/>
                  <a:gd name="connsiteX247" fmla="*/ 4787 w 10000"/>
                  <a:gd name="connsiteY247" fmla="*/ 7131 h 10000"/>
                  <a:gd name="connsiteX248" fmla="*/ 4489 w 10000"/>
                  <a:gd name="connsiteY248" fmla="*/ 7214 h 10000"/>
                  <a:gd name="connsiteX249" fmla="*/ 4362 w 10000"/>
                  <a:gd name="connsiteY249" fmla="*/ 7401 h 10000"/>
                  <a:gd name="connsiteX250" fmla="*/ 4362 w 10000"/>
                  <a:gd name="connsiteY250" fmla="*/ 7443 h 10000"/>
                  <a:gd name="connsiteX251" fmla="*/ 4191 w 10000"/>
                  <a:gd name="connsiteY251" fmla="*/ 7443 h 10000"/>
                  <a:gd name="connsiteX252" fmla="*/ 4085 w 10000"/>
                  <a:gd name="connsiteY252" fmla="*/ 7547 h 10000"/>
                  <a:gd name="connsiteX253" fmla="*/ 4128 w 10000"/>
                  <a:gd name="connsiteY253" fmla="*/ 8129 h 10000"/>
                  <a:gd name="connsiteX254" fmla="*/ 4191 w 10000"/>
                  <a:gd name="connsiteY254" fmla="*/ 8254 h 10000"/>
                  <a:gd name="connsiteX255" fmla="*/ 4191 w 10000"/>
                  <a:gd name="connsiteY255" fmla="*/ 8274 h 10000"/>
                  <a:gd name="connsiteX256" fmla="*/ 4021 w 10000"/>
                  <a:gd name="connsiteY256" fmla="*/ 8794 h 10000"/>
                  <a:gd name="connsiteX257" fmla="*/ 4021 w 10000"/>
                  <a:gd name="connsiteY257" fmla="*/ 9210 h 10000"/>
                  <a:gd name="connsiteX258" fmla="*/ 4021 w 10000"/>
                  <a:gd name="connsiteY258" fmla="*/ 9231 h 10000"/>
                  <a:gd name="connsiteX259" fmla="*/ 4021 w 10000"/>
                  <a:gd name="connsiteY259" fmla="*/ 9231 h 10000"/>
                  <a:gd name="connsiteX260" fmla="*/ 3851 w 10000"/>
                  <a:gd name="connsiteY260" fmla="*/ 9231 h 10000"/>
                  <a:gd name="connsiteX261" fmla="*/ 3745 w 10000"/>
                  <a:gd name="connsiteY261" fmla="*/ 9480 h 10000"/>
                  <a:gd name="connsiteX262" fmla="*/ 3745 w 10000"/>
                  <a:gd name="connsiteY262" fmla="*/ 9563 h 10000"/>
                  <a:gd name="connsiteX263" fmla="*/ 3723 w 10000"/>
                  <a:gd name="connsiteY263" fmla="*/ 9563 h 10000"/>
                  <a:gd name="connsiteX264" fmla="*/ 3468 w 10000"/>
                  <a:gd name="connsiteY264" fmla="*/ 9667 h 10000"/>
                  <a:gd name="connsiteX265" fmla="*/ 3447 w 10000"/>
                  <a:gd name="connsiteY265" fmla="*/ 9834 h 10000"/>
                  <a:gd name="connsiteX266" fmla="*/ 3298 w 10000"/>
                  <a:gd name="connsiteY266" fmla="*/ 10000 h 10000"/>
                  <a:gd name="connsiteX267" fmla="*/ 3255 w 10000"/>
                  <a:gd name="connsiteY267" fmla="*/ 10000 h 10000"/>
                  <a:gd name="connsiteX268" fmla="*/ 3170 w 10000"/>
                  <a:gd name="connsiteY268" fmla="*/ 10000 h 10000"/>
                  <a:gd name="connsiteX0" fmla="*/ 3170 w 10000"/>
                  <a:gd name="connsiteY0" fmla="*/ 10000 h 10000"/>
                  <a:gd name="connsiteX1" fmla="*/ 3170 w 10000"/>
                  <a:gd name="connsiteY1" fmla="*/ 9958 h 10000"/>
                  <a:gd name="connsiteX2" fmla="*/ 2915 w 10000"/>
                  <a:gd name="connsiteY2" fmla="*/ 9688 h 10000"/>
                  <a:gd name="connsiteX3" fmla="*/ 2617 w 10000"/>
                  <a:gd name="connsiteY3" fmla="*/ 8857 h 10000"/>
                  <a:gd name="connsiteX4" fmla="*/ 2404 w 10000"/>
                  <a:gd name="connsiteY4" fmla="*/ 8586 h 10000"/>
                  <a:gd name="connsiteX5" fmla="*/ 2277 w 10000"/>
                  <a:gd name="connsiteY5" fmla="*/ 8129 h 10000"/>
                  <a:gd name="connsiteX6" fmla="*/ 2021 w 10000"/>
                  <a:gd name="connsiteY6" fmla="*/ 7672 h 10000"/>
                  <a:gd name="connsiteX7" fmla="*/ 2000 w 10000"/>
                  <a:gd name="connsiteY7" fmla="*/ 7484 h 10000"/>
                  <a:gd name="connsiteX8" fmla="*/ 1957 w 10000"/>
                  <a:gd name="connsiteY8" fmla="*/ 7484 h 10000"/>
                  <a:gd name="connsiteX9" fmla="*/ 1936 w 10000"/>
                  <a:gd name="connsiteY9" fmla="*/ 7526 h 10000"/>
                  <a:gd name="connsiteX10" fmla="*/ 1936 w 10000"/>
                  <a:gd name="connsiteY10" fmla="*/ 7526 h 10000"/>
                  <a:gd name="connsiteX11" fmla="*/ 1936 w 10000"/>
                  <a:gd name="connsiteY11" fmla="*/ 7484 h 10000"/>
                  <a:gd name="connsiteX12" fmla="*/ 1872 w 10000"/>
                  <a:gd name="connsiteY12" fmla="*/ 7380 h 10000"/>
                  <a:gd name="connsiteX13" fmla="*/ 1745 w 10000"/>
                  <a:gd name="connsiteY13" fmla="*/ 7131 h 10000"/>
                  <a:gd name="connsiteX14" fmla="*/ 1596 w 10000"/>
                  <a:gd name="connsiteY14" fmla="*/ 6466 h 10000"/>
                  <a:gd name="connsiteX15" fmla="*/ 1617 w 10000"/>
                  <a:gd name="connsiteY15" fmla="*/ 6258 h 10000"/>
                  <a:gd name="connsiteX16" fmla="*/ 1596 w 10000"/>
                  <a:gd name="connsiteY16" fmla="*/ 6258 h 10000"/>
                  <a:gd name="connsiteX17" fmla="*/ 1596 w 10000"/>
                  <a:gd name="connsiteY17" fmla="*/ 6258 h 10000"/>
                  <a:gd name="connsiteX18" fmla="*/ 1532 w 10000"/>
                  <a:gd name="connsiteY18" fmla="*/ 6008 h 10000"/>
                  <a:gd name="connsiteX19" fmla="*/ 1596 w 10000"/>
                  <a:gd name="connsiteY19" fmla="*/ 5738 h 10000"/>
                  <a:gd name="connsiteX20" fmla="*/ 1468 w 10000"/>
                  <a:gd name="connsiteY20" fmla="*/ 5239 h 10000"/>
                  <a:gd name="connsiteX21" fmla="*/ 1468 w 10000"/>
                  <a:gd name="connsiteY21" fmla="*/ 5239 h 10000"/>
                  <a:gd name="connsiteX22" fmla="*/ 1596 w 10000"/>
                  <a:gd name="connsiteY22" fmla="*/ 5114 h 10000"/>
                  <a:gd name="connsiteX23" fmla="*/ 1447 w 10000"/>
                  <a:gd name="connsiteY23" fmla="*/ 5094 h 10000"/>
                  <a:gd name="connsiteX24" fmla="*/ 1319 w 10000"/>
                  <a:gd name="connsiteY24" fmla="*/ 5509 h 10000"/>
                  <a:gd name="connsiteX25" fmla="*/ 1319 w 10000"/>
                  <a:gd name="connsiteY25" fmla="*/ 5530 h 10000"/>
                  <a:gd name="connsiteX26" fmla="*/ 1064 w 10000"/>
                  <a:gd name="connsiteY26" fmla="*/ 5634 h 10000"/>
                  <a:gd name="connsiteX27" fmla="*/ 830 w 10000"/>
                  <a:gd name="connsiteY27" fmla="*/ 5634 h 10000"/>
                  <a:gd name="connsiteX28" fmla="*/ 787 w 10000"/>
                  <a:gd name="connsiteY28" fmla="*/ 5634 h 10000"/>
                  <a:gd name="connsiteX29" fmla="*/ 298 w 10000"/>
                  <a:gd name="connsiteY29" fmla="*/ 5177 h 10000"/>
                  <a:gd name="connsiteX30" fmla="*/ 298 w 10000"/>
                  <a:gd name="connsiteY30" fmla="*/ 5094 h 10000"/>
                  <a:gd name="connsiteX31" fmla="*/ 298 w 10000"/>
                  <a:gd name="connsiteY31" fmla="*/ 5094 h 10000"/>
                  <a:gd name="connsiteX32" fmla="*/ 298 w 10000"/>
                  <a:gd name="connsiteY32" fmla="*/ 5052 h 10000"/>
                  <a:gd name="connsiteX33" fmla="*/ 638 w 10000"/>
                  <a:gd name="connsiteY33" fmla="*/ 5031 h 10000"/>
                  <a:gd name="connsiteX34" fmla="*/ 723 w 10000"/>
                  <a:gd name="connsiteY34" fmla="*/ 4927 h 10000"/>
                  <a:gd name="connsiteX35" fmla="*/ 766 w 10000"/>
                  <a:gd name="connsiteY35" fmla="*/ 4823 h 10000"/>
                  <a:gd name="connsiteX36" fmla="*/ 574 w 10000"/>
                  <a:gd name="connsiteY36" fmla="*/ 4906 h 10000"/>
                  <a:gd name="connsiteX37" fmla="*/ 298 w 10000"/>
                  <a:gd name="connsiteY37" fmla="*/ 4906 h 10000"/>
                  <a:gd name="connsiteX38" fmla="*/ 298 w 10000"/>
                  <a:gd name="connsiteY38" fmla="*/ 4906 h 10000"/>
                  <a:gd name="connsiteX39" fmla="*/ 0 w 10000"/>
                  <a:gd name="connsiteY39" fmla="*/ 4574 h 10000"/>
                  <a:gd name="connsiteX40" fmla="*/ 0 w 10000"/>
                  <a:gd name="connsiteY40" fmla="*/ 4574 h 10000"/>
                  <a:gd name="connsiteX41" fmla="*/ 0 w 10000"/>
                  <a:gd name="connsiteY41" fmla="*/ 4553 h 10000"/>
                  <a:gd name="connsiteX42" fmla="*/ 85 w 10000"/>
                  <a:gd name="connsiteY42" fmla="*/ 4491 h 10000"/>
                  <a:gd name="connsiteX43" fmla="*/ 277 w 10000"/>
                  <a:gd name="connsiteY43" fmla="*/ 4491 h 10000"/>
                  <a:gd name="connsiteX44" fmla="*/ 277 w 10000"/>
                  <a:gd name="connsiteY44" fmla="*/ 4324 h 10000"/>
                  <a:gd name="connsiteX45" fmla="*/ 277 w 10000"/>
                  <a:gd name="connsiteY45" fmla="*/ 4324 h 10000"/>
                  <a:gd name="connsiteX46" fmla="*/ 298 w 10000"/>
                  <a:gd name="connsiteY46" fmla="*/ 4324 h 10000"/>
                  <a:gd name="connsiteX47" fmla="*/ 298 w 10000"/>
                  <a:gd name="connsiteY47" fmla="*/ 4324 h 10000"/>
                  <a:gd name="connsiteX48" fmla="*/ 702 w 10000"/>
                  <a:gd name="connsiteY48" fmla="*/ 4428 h 10000"/>
                  <a:gd name="connsiteX49" fmla="*/ 830 w 10000"/>
                  <a:gd name="connsiteY49" fmla="*/ 4304 h 10000"/>
                  <a:gd name="connsiteX50" fmla="*/ 851 w 10000"/>
                  <a:gd name="connsiteY50" fmla="*/ 4304 h 10000"/>
                  <a:gd name="connsiteX51" fmla="*/ 851 w 10000"/>
                  <a:gd name="connsiteY51" fmla="*/ 4304 h 10000"/>
                  <a:gd name="connsiteX52" fmla="*/ 936 w 10000"/>
                  <a:gd name="connsiteY52" fmla="*/ 4387 h 10000"/>
                  <a:gd name="connsiteX53" fmla="*/ 1043 w 10000"/>
                  <a:gd name="connsiteY53" fmla="*/ 4324 h 10000"/>
                  <a:gd name="connsiteX54" fmla="*/ 894 w 10000"/>
                  <a:gd name="connsiteY54" fmla="*/ 3909 h 10000"/>
                  <a:gd name="connsiteX55" fmla="*/ 702 w 10000"/>
                  <a:gd name="connsiteY55" fmla="*/ 3825 h 10000"/>
                  <a:gd name="connsiteX56" fmla="*/ 702 w 10000"/>
                  <a:gd name="connsiteY56" fmla="*/ 3784 h 10000"/>
                  <a:gd name="connsiteX57" fmla="*/ 723 w 10000"/>
                  <a:gd name="connsiteY57" fmla="*/ 3617 h 10000"/>
                  <a:gd name="connsiteX58" fmla="*/ 511 w 10000"/>
                  <a:gd name="connsiteY58" fmla="*/ 3555 h 10000"/>
                  <a:gd name="connsiteX59" fmla="*/ 511 w 10000"/>
                  <a:gd name="connsiteY59" fmla="*/ 3555 h 10000"/>
                  <a:gd name="connsiteX60" fmla="*/ 489 w 10000"/>
                  <a:gd name="connsiteY60" fmla="*/ 3514 h 10000"/>
                  <a:gd name="connsiteX61" fmla="*/ 553 w 10000"/>
                  <a:gd name="connsiteY61" fmla="*/ 3368 h 10000"/>
                  <a:gd name="connsiteX62" fmla="*/ 830 w 10000"/>
                  <a:gd name="connsiteY62" fmla="*/ 2973 h 10000"/>
                  <a:gd name="connsiteX63" fmla="*/ 851 w 10000"/>
                  <a:gd name="connsiteY63" fmla="*/ 2973 h 10000"/>
                  <a:gd name="connsiteX64" fmla="*/ 851 w 10000"/>
                  <a:gd name="connsiteY64" fmla="*/ 2973 h 10000"/>
                  <a:gd name="connsiteX65" fmla="*/ 851 w 10000"/>
                  <a:gd name="connsiteY65" fmla="*/ 2973 h 10000"/>
                  <a:gd name="connsiteX66" fmla="*/ 979 w 10000"/>
                  <a:gd name="connsiteY66" fmla="*/ 3098 h 10000"/>
                  <a:gd name="connsiteX67" fmla="*/ 1277 w 10000"/>
                  <a:gd name="connsiteY67" fmla="*/ 3035 h 10000"/>
                  <a:gd name="connsiteX68" fmla="*/ 1468 w 10000"/>
                  <a:gd name="connsiteY68" fmla="*/ 2765 h 10000"/>
                  <a:gd name="connsiteX69" fmla="*/ 1660 w 10000"/>
                  <a:gd name="connsiteY69" fmla="*/ 2620 h 10000"/>
                  <a:gd name="connsiteX70" fmla="*/ 1830 w 10000"/>
                  <a:gd name="connsiteY70" fmla="*/ 2287 h 10000"/>
                  <a:gd name="connsiteX71" fmla="*/ 1957 w 10000"/>
                  <a:gd name="connsiteY71" fmla="*/ 2245 h 10000"/>
                  <a:gd name="connsiteX72" fmla="*/ 2000 w 10000"/>
                  <a:gd name="connsiteY72" fmla="*/ 2204 h 10000"/>
                  <a:gd name="connsiteX73" fmla="*/ 2170 w 10000"/>
                  <a:gd name="connsiteY73" fmla="*/ 2079 h 10000"/>
                  <a:gd name="connsiteX74" fmla="*/ 2404 w 10000"/>
                  <a:gd name="connsiteY74" fmla="*/ 1975 h 10000"/>
                  <a:gd name="connsiteX75" fmla="*/ 2511 w 10000"/>
                  <a:gd name="connsiteY75" fmla="*/ 1954 h 10000"/>
                  <a:gd name="connsiteX76" fmla="*/ 2511 w 10000"/>
                  <a:gd name="connsiteY76" fmla="*/ 1892 h 10000"/>
                  <a:gd name="connsiteX77" fmla="*/ 2574 w 10000"/>
                  <a:gd name="connsiteY77" fmla="*/ 1892 h 10000"/>
                  <a:gd name="connsiteX78" fmla="*/ 2638 w 10000"/>
                  <a:gd name="connsiteY78" fmla="*/ 1809 h 10000"/>
                  <a:gd name="connsiteX79" fmla="*/ 2681 w 10000"/>
                  <a:gd name="connsiteY79" fmla="*/ 1559 h 10000"/>
                  <a:gd name="connsiteX80" fmla="*/ 2702 w 10000"/>
                  <a:gd name="connsiteY80" fmla="*/ 1372 h 10000"/>
                  <a:gd name="connsiteX81" fmla="*/ 2574 w 10000"/>
                  <a:gd name="connsiteY81" fmla="*/ 1435 h 10000"/>
                  <a:gd name="connsiteX82" fmla="*/ 2489 w 10000"/>
                  <a:gd name="connsiteY82" fmla="*/ 1414 h 10000"/>
                  <a:gd name="connsiteX83" fmla="*/ 2447 w 10000"/>
                  <a:gd name="connsiteY83" fmla="*/ 1331 h 10000"/>
                  <a:gd name="connsiteX84" fmla="*/ 2447 w 10000"/>
                  <a:gd name="connsiteY84" fmla="*/ 1331 h 10000"/>
                  <a:gd name="connsiteX85" fmla="*/ 2426 w 10000"/>
                  <a:gd name="connsiteY85" fmla="*/ 1268 h 10000"/>
                  <a:gd name="connsiteX86" fmla="*/ 2404 w 10000"/>
                  <a:gd name="connsiteY86" fmla="*/ 1206 h 10000"/>
                  <a:gd name="connsiteX87" fmla="*/ 2426 w 10000"/>
                  <a:gd name="connsiteY87" fmla="*/ 1102 h 10000"/>
                  <a:gd name="connsiteX88" fmla="*/ 2511 w 10000"/>
                  <a:gd name="connsiteY88" fmla="*/ 1019 h 10000"/>
                  <a:gd name="connsiteX89" fmla="*/ 2617 w 10000"/>
                  <a:gd name="connsiteY89" fmla="*/ 936 h 10000"/>
                  <a:gd name="connsiteX90" fmla="*/ 2553 w 10000"/>
                  <a:gd name="connsiteY90" fmla="*/ 811 h 10000"/>
                  <a:gd name="connsiteX91" fmla="*/ 2426 w 10000"/>
                  <a:gd name="connsiteY91" fmla="*/ 811 h 10000"/>
                  <a:gd name="connsiteX92" fmla="*/ 2426 w 10000"/>
                  <a:gd name="connsiteY92" fmla="*/ 686 h 10000"/>
                  <a:gd name="connsiteX93" fmla="*/ 2298 w 10000"/>
                  <a:gd name="connsiteY93" fmla="*/ 561 h 10000"/>
                  <a:gd name="connsiteX94" fmla="*/ 2234 w 10000"/>
                  <a:gd name="connsiteY94" fmla="*/ 457 h 10000"/>
                  <a:gd name="connsiteX95" fmla="*/ 2149 w 10000"/>
                  <a:gd name="connsiteY95" fmla="*/ 270 h 10000"/>
                  <a:gd name="connsiteX96" fmla="*/ 2149 w 10000"/>
                  <a:gd name="connsiteY96" fmla="*/ 166 h 10000"/>
                  <a:gd name="connsiteX97" fmla="*/ 2277 w 10000"/>
                  <a:gd name="connsiteY97" fmla="*/ 83 h 10000"/>
                  <a:gd name="connsiteX98" fmla="*/ 2553 w 10000"/>
                  <a:gd name="connsiteY98" fmla="*/ 0 h 10000"/>
                  <a:gd name="connsiteX99" fmla="*/ 2787 w 10000"/>
                  <a:gd name="connsiteY99" fmla="*/ 62 h 10000"/>
                  <a:gd name="connsiteX100" fmla="*/ 2894 w 10000"/>
                  <a:gd name="connsiteY100" fmla="*/ 146 h 10000"/>
                  <a:gd name="connsiteX101" fmla="*/ 3043 w 10000"/>
                  <a:gd name="connsiteY101" fmla="*/ 166 h 10000"/>
                  <a:gd name="connsiteX102" fmla="*/ 3574 w 10000"/>
                  <a:gd name="connsiteY102" fmla="*/ 499 h 10000"/>
                  <a:gd name="connsiteX103" fmla="*/ 3745 w 10000"/>
                  <a:gd name="connsiteY103" fmla="*/ 457 h 10000"/>
                  <a:gd name="connsiteX104" fmla="*/ 3936 w 10000"/>
                  <a:gd name="connsiteY104" fmla="*/ 395 h 10000"/>
                  <a:gd name="connsiteX105" fmla="*/ 4128 w 10000"/>
                  <a:gd name="connsiteY105" fmla="*/ 353 h 10000"/>
                  <a:gd name="connsiteX106" fmla="*/ 4128 w 10000"/>
                  <a:gd name="connsiteY106" fmla="*/ 353 h 10000"/>
                  <a:gd name="connsiteX107" fmla="*/ 4128 w 10000"/>
                  <a:gd name="connsiteY107" fmla="*/ 416 h 10000"/>
                  <a:gd name="connsiteX108" fmla="*/ 4191 w 10000"/>
                  <a:gd name="connsiteY108" fmla="*/ 686 h 10000"/>
                  <a:gd name="connsiteX109" fmla="*/ 4128 w 10000"/>
                  <a:gd name="connsiteY109" fmla="*/ 1019 h 10000"/>
                  <a:gd name="connsiteX110" fmla="*/ 3957 w 10000"/>
                  <a:gd name="connsiteY110" fmla="*/ 1206 h 10000"/>
                  <a:gd name="connsiteX111" fmla="*/ 3957 w 10000"/>
                  <a:gd name="connsiteY111" fmla="*/ 1227 h 10000"/>
                  <a:gd name="connsiteX112" fmla="*/ 3745 w 10000"/>
                  <a:gd name="connsiteY112" fmla="*/ 1372 h 10000"/>
                  <a:gd name="connsiteX113" fmla="*/ 3745 w 10000"/>
                  <a:gd name="connsiteY113" fmla="*/ 1372 h 10000"/>
                  <a:gd name="connsiteX114" fmla="*/ 3723 w 10000"/>
                  <a:gd name="connsiteY114" fmla="*/ 1372 h 10000"/>
                  <a:gd name="connsiteX115" fmla="*/ 3723 w 10000"/>
                  <a:gd name="connsiteY115" fmla="*/ 1372 h 10000"/>
                  <a:gd name="connsiteX116" fmla="*/ 3681 w 10000"/>
                  <a:gd name="connsiteY116" fmla="*/ 1497 h 10000"/>
                  <a:gd name="connsiteX117" fmla="*/ 3660 w 10000"/>
                  <a:gd name="connsiteY117" fmla="*/ 1705 h 10000"/>
                  <a:gd name="connsiteX118" fmla="*/ 3745 w 10000"/>
                  <a:gd name="connsiteY118" fmla="*/ 1871 h 10000"/>
                  <a:gd name="connsiteX119" fmla="*/ 3894 w 10000"/>
                  <a:gd name="connsiteY119" fmla="*/ 1871 h 10000"/>
                  <a:gd name="connsiteX120" fmla="*/ 4468 w 10000"/>
                  <a:gd name="connsiteY120" fmla="*/ 2162 h 10000"/>
                  <a:gd name="connsiteX121" fmla="*/ 4468 w 10000"/>
                  <a:gd name="connsiteY121" fmla="*/ 2204 h 10000"/>
                  <a:gd name="connsiteX122" fmla="*/ 4468 w 10000"/>
                  <a:gd name="connsiteY122" fmla="*/ 2204 h 10000"/>
                  <a:gd name="connsiteX123" fmla="*/ 4213 w 10000"/>
                  <a:gd name="connsiteY123" fmla="*/ 2370 h 10000"/>
                  <a:gd name="connsiteX124" fmla="*/ 4128 w 10000"/>
                  <a:gd name="connsiteY124" fmla="*/ 2703 h 10000"/>
                  <a:gd name="connsiteX125" fmla="*/ 5043 w 10000"/>
                  <a:gd name="connsiteY125" fmla="*/ 3243 h 10000"/>
                  <a:gd name="connsiteX126" fmla="*/ 5532 w 10000"/>
                  <a:gd name="connsiteY126" fmla="*/ 3243 h 10000"/>
                  <a:gd name="connsiteX127" fmla="*/ 5574 w 10000"/>
                  <a:gd name="connsiteY127" fmla="*/ 3243 h 10000"/>
                  <a:gd name="connsiteX128" fmla="*/ 5745 w 10000"/>
                  <a:gd name="connsiteY128" fmla="*/ 3451 h 10000"/>
                  <a:gd name="connsiteX129" fmla="*/ 6532 w 10000"/>
                  <a:gd name="connsiteY129" fmla="*/ 3617 h 10000"/>
                  <a:gd name="connsiteX130" fmla="*/ 6766 w 10000"/>
                  <a:gd name="connsiteY130" fmla="*/ 3576 h 10000"/>
                  <a:gd name="connsiteX131" fmla="*/ 6809 w 10000"/>
                  <a:gd name="connsiteY131" fmla="*/ 3493 h 10000"/>
                  <a:gd name="connsiteX132" fmla="*/ 6745 w 10000"/>
                  <a:gd name="connsiteY132" fmla="*/ 3430 h 10000"/>
                  <a:gd name="connsiteX133" fmla="*/ 6745 w 10000"/>
                  <a:gd name="connsiteY133" fmla="*/ 3389 h 10000"/>
                  <a:gd name="connsiteX134" fmla="*/ 6766 w 10000"/>
                  <a:gd name="connsiteY134" fmla="*/ 3347 h 10000"/>
                  <a:gd name="connsiteX135" fmla="*/ 6830 w 10000"/>
                  <a:gd name="connsiteY135" fmla="*/ 3077 h 10000"/>
                  <a:gd name="connsiteX136" fmla="*/ 6830 w 10000"/>
                  <a:gd name="connsiteY136" fmla="*/ 3035 h 10000"/>
                  <a:gd name="connsiteX137" fmla="*/ 7043 w 10000"/>
                  <a:gd name="connsiteY137" fmla="*/ 2973 h 10000"/>
                  <a:gd name="connsiteX138" fmla="*/ 7043 w 10000"/>
                  <a:gd name="connsiteY138" fmla="*/ 2973 h 10000"/>
                  <a:gd name="connsiteX139" fmla="*/ 7043 w 10000"/>
                  <a:gd name="connsiteY139" fmla="*/ 2973 h 10000"/>
                  <a:gd name="connsiteX140" fmla="*/ 7085 w 10000"/>
                  <a:gd name="connsiteY140" fmla="*/ 3015 h 10000"/>
                  <a:gd name="connsiteX141" fmla="*/ 7085 w 10000"/>
                  <a:gd name="connsiteY141" fmla="*/ 3222 h 10000"/>
                  <a:gd name="connsiteX142" fmla="*/ 7106 w 10000"/>
                  <a:gd name="connsiteY142" fmla="*/ 3243 h 10000"/>
                  <a:gd name="connsiteX143" fmla="*/ 7149 w 10000"/>
                  <a:gd name="connsiteY143" fmla="*/ 3285 h 10000"/>
                  <a:gd name="connsiteX144" fmla="*/ 7149 w 10000"/>
                  <a:gd name="connsiteY144" fmla="*/ 3285 h 10000"/>
                  <a:gd name="connsiteX145" fmla="*/ 7085 w 10000"/>
                  <a:gd name="connsiteY145" fmla="*/ 3347 h 10000"/>
                  <a:gd name="connsiteX146" fmla="*/ 7106 w 10000"/>
                  <a:gd name="connsiteY146" fmla="*/ 3430 h 10000"/>
                  <a:gd name="connsiteX147" fmla="*/ 7362 w 10000"/>
                  <a:gd name="connsiteY147" fmla="*/ 3493 h 10000"/>
                  <a:gd name="connsiteX148" fmla="*/ 8128 w 10000"/>
                  <a:gd name="connsiteY148" fmla="*/ 3389 h 10000"/>
                  <a:gd name="connsiteX149" fmla="*/ 8191 w 10000"/>
                  <a:gd name="connsiteY149" fmla="*/ 3285 h 10000"/>
                  <a:gd name="connsiteX150" fmla="*/ 8064 w 10000"/>
                  <a:gd name="connsiteY150" fmla="*/ 3222 h 10000"/>
                  <a:gd name="connsiteX151" fmla="*/ 8043 w 10000"/>
                  <a:gd name="connsiteY151" fmla="*/ 3181 h 10000"/>
                  <a:gd name="connsiteX152" fmla="*/ 8043 w 10000"/>
                  <a:gd name="connsiteY152" fmla="*/ 3098 h 10000"/>
                  <a:gd name="connsiteX153" fmla="*/ 8064 w 10000"/>
                  <a:gd name="connsiteY153" fmla="*/ 3077 h 10000"/>
                  <a:gd name="connsiteX154" fmla="*/ 8489 w 10000"/>
                  <a:gd name="connsiteY154" fmla="*/ 2911 h 10000"/>
                  <a:gd name="connsiteX155" fmla="*/ 9021 w 10000"/>
                  <a:gd name="connsiteY155" fmla="*/ 2516 h 10000"/>
                  <a:gd name="connsiteX156" fmla="*/ 9021 w 10000"/>
                  <a:gd name="connsiteY156" fmla="*/ 2516 h 10000"/>
                  <a:gd name="connsiteX157" fmla="*/ 9255 w 10000"/>
                  <a:gd name="connsiteY157" fmla="*/ 2557 h 10000"/>
                  <a:gd name="connsiteX158" fmla="*/ 9511 w 10000"/>
                  <a:gd name="connsiteY158" fmla="*/ 2432 h 10000"/>
                  <a:gd name="connsiteX159" fmla="*/ 9511 w 10000"/>
                  <a:gd name="connsiteY159" fmla="*/ 2432 h 10000"/>
                  <a:gd name="connsiteX160" fmla="*/ 9553 w 10000"/>
                  <a:gd name="connsiteY160" fmla="*/ 2432 h 10000"/>
                  <a:gd name="connsiteX161" fmla="*/ 9553 w 10000"/>
                  <a:gd name="connsiteY161" fmla="*/ 2474 h 10000"/>
                  <a:gd name="connsiteX162" fmla="*/ 9596 w 10000"/>
                  <a:gd name="connsiteY162" fmla="*/ 2620 h 10000"/>
                  <a:gd name="connsiteX163" fmla="*/ 9660 w 10000"/>
                  <a:gd name="connsiteY163" fmla="*/ 2640 h 10000"/>
                  <a:gd name="connsiteX164" fmla="*/ 9660 w 10000"/>
                  <a:gd name="connsiteY164" fmla="*/ 2682 h 10000"/>
                  <a:gd name="connsiteX165" fmla="*/ 9638 w 10000"/>
                  <a:gd name="connsiteY165" fmla="*/ 2827 h 10000"/>
                  <a:gd name="connsiteX166" fmla="*/ 9872 w 10000"/>
                  <a:gd name="connsiteY166" fmla="*/ 2848 h 10000"/>
                  <a:gd name="connsiteX167" fmla="*/ 9979 w 10000"/>
                  <a:gd name="connsiteY167" fmla="*/ 2952 h 10000"/>
                  <a:gd name="connsiteX168" fmla="*/ 10000 w 10000"/>
                  <a:gd name="connsiteY168" fmla="*/ 2973 h 10000"/>
                  <a:gd name="connsiteX169" fmla="*/ 10000 w 10000"/>
                  <a:gd name="connsiteY169" fmla="*/ 3035 h 10000"/>
                  <a:gd name="connsiteX170" fmla="*/ 9979 w 10000"/>
                  <a:gd name="connsiteY170" fmla="*/ 3077 h 10000"/>
                  <a:gd name="connsiteX171" fmla="*/ 9915 w 10000"/>
                  <a:gd name="connsiteY171" fmla="*/ 3098 h 10000"/>
                  <a:gd name="connsiteX172" fmla="*/ 9872 w 10000"/>
                  <a:gd name="connsiteY172" fmla="*/ 3306 h 10000"/>
                  <a:gd name="connsiteX173" fmla="*/ 9851 w 10000"/>
                  <a:gd name="connsiteY173" fmla="*/ 3347 h 10000"/>
                  <a:gd name="connsiteX174" fmla="*/ 9574 w 10000"/>
                  <a:gd name="connsiteY174" fmla="*/ 3347 h 10000"/>
                  <a:gd name="connsiteX175" fmla="*/ 9298 w 10000"/>
                  <a:gd name="connsiteY175" fmla="*/ 3617 h 10000"/>
                  <a:gd name="connsiteX176" fmla="*/ 9255 w 10000"/>
                  <a:gd name="connsiteY176" fmla="*/ 3846 h 10000"/>
                  <a:gd name="connsiteX177" fmla="*/ 9085 w 10000"/>
                  <a:gd name="connsiteY177" fmla="*/ 4054 h 10000"/>
                  <a:gd name="connsiteX178" fmla="*/ 8936 w 10000"/>
                  <a:gd name="connsiteY178" fmla="*/ 4511 h 10000"/>
                  <a:gd name="connsiteX179" fmla="*/ 8894 w 10000"/>
                  <a:gd name="connsiteY179" fmla="*/ 4511 h 10000"/>
                  <a:gd name="connsiteX180" fmla="*/ 8617 w 10000"/>
                  <a:gd name="connsiteY180" fmla="*/ 4595 h 10000"/>
                  <a:gd name="connsiteX181" fmla="*/ 8617 w 10000"/>
                  <a:gd name="connsiteY181" fmla="*/ 4865 h 10000"/>
                  <a:gd name="connsiteX182" fmla="*/ 8596 w 10000"/>
                  <a:gd name="connsiteY182" fmla="*/ 4906 h 10000"/>
                  <a:gd name="connsiteX183" fmla="*/ 8532 w 10000"/>
                  <a:gd name="connsiteY183" fmla="*/ 4906 h 10000"/>
                  <a:gd name="connsiteX184" fmla="*/ 8489 w 10000"/>
                  <a:gd name="connsiteY184" fmla="*/ 4969 h 10000"/>
                  <a:gd name="connsiteX185" fmla="*/ 8553 w 10000"/>
                  <a:gd name="connsiteY185" fmla="*/ 5135 h 10000"/>
                  <a:gd name="connsiteX186" fmla="*/ 8553 w 10000"/>
                  <a:gd name="connsiteY186" fmla="*/ 5177 h 10000"/>
                  <a:gd name="connsiteX187" fmla="*/ 8362 w 10000"/>
                  <a:gd name="connsiteY187" fmla="*/ 5260 h 10000"/>
                  <a:gd name="connsiteX188" fmla="*/ 8362 w 10000"/>
                  <a:gd name="connsiteY188" fmla="*/ 5260 h 10000"/>
                  <a:gd name="connsiteX189" fmla="*/ 8362 w 10000"/>
                  <a:gd name="connsiteY189" fmla="*/ 5260 h 10000"/>
                  <a:gd name="connsiteX190" fmla="*/ 8340 w 10000"/>
                  <a:gd name="connsiteY190" fmla="*/ 5239 h 10000"/>
                  <a:gd name="connsiteX191" fmla="*/ 8191 w 10000"/>
                  <a:gd name="connsiteY191" fmla="*/ 4636 h 10000"/>
                  <a:gd name="connsiteX192" fmla="*/ 8043 w 10000"/>
                  <a:gd name="connsiteY192" fmla="*/ 4844 h 10000"/>
                  <a:gd name="connsiteX193" fmla="*/ 8043 w 10000"/>
                  <a:gd name="connsiteY193" fmla="*/ 4844 h 10000"/>
                  <a:gd name="connsiteX194" fmla="*/ 8043 w 10000"/>
                  <a:gd name="connsiteY194" fmla="*/ 4844 h 10000"/>
                  <a:gd name="connsiteX195" fmla="*/ 8000 w 10000"/>
                  <a:gd name="connsiteY195" fmla="*/ 4844 h 10000"/>
                  <a:gd name="connsiteX196" fmla="*/ 7872 w 10000"/>
                  <a:gd name="connsiteY196" fmla="*/ 4761 h 10000"/>
                  <a:gd name="connsiteX197" fmla="*/ 7787 w 10000"/>
                  <a:gd name="connsiteY197" fmla="*/ 4511 h 10000"/>
                  <a:gd name="connsiteX198" fmla="*/ 7809 w 10000"/>
                  <a:gd name="connsiteY198" fmla="*/ 4511 h 10000"/>
                  <a:gd name="connsiteX199" fmla="*/ 8191 w 10000"/>
                  <a:gd name="connsiteY199" fmla="*/ 4096 h 10000"/>
                  <a:gd name="connsiteX200" fmla="*/ 7468 w 10000"/>
                  <a:gd name="connsiteY200" fmla="*/ 4033 h 10000"/>
                  <a:gd name="connsiteX201" fmla="*/ 7362 w 10000"/>
                  <a:gd name="connsiteY201" fmla="*/ 3950 h 10000"/>
                  <a:gd name="connsiteX202" fmla="*/ 7298 w 10000"/>
                  <a:gd name="connsiteY202" fmla="*/ 3721 h 10000"/>
                  <a:gd name="connsiteX203" fmla="*/ 7298 w 10000"/>
                  <a:gd name="connsiteY203" fmla="*/ 3763 h 10000"/>
                  <a:gd name="connsiteX204" fmla="*/ 7255 w 10000"/>
                  <a:gd name="connsiteY204" fmla="*/ 3763 h 10000"/>
                  <a:gd name="connsiteX205" fmla="*/ 7170 w 10000"/>
                  <a:gd name="connsiteY205" fmla="*/ 3763 h 10000"/>
                  <a:gd name="connsiteX206" fmla="*/ 7170 w 10000"/>
                  <a:gd name="connsiteY206" fmla="*/ 3763 h 10000"/>
                  <a:gd name="connsiteX207" fmla="*/ 7106 w 10000"/>
                  <a:gd name="connsiteY207" fmla="*/ 3638 h 10000"/>
                  <a:gd name="connsiteX208" fmla="*/ 7043 w 10000"/>
                  <a:gd name="connsiteY208" fmla="*/ 3721 h 10000"/>
                  <a:gd name="connsiteX209" fmla="*/ 7043 w 10000"/>
                  <a:gd name="connsiteY209" fmla="*/ 3721 h 10000"/>
                  <a:gd name="connsiteX210" fmla="*/ 7043 w 10000"/>
                  <a:gd name="connsiteY210" fmla="*/ 3721 h 10000"/>
                  <a:gd name="connsiteX211" fmla="*/ 7021 w 10000"/>
                  <a:gd name="connsiteY211" fmla="*/ 3721 h 10000"/>
                  <a:gd name="connsiteX212" fmla="*/ 6957 w 10000"/>
                  <a:gd name="connsiteY212" fmla="*/ 3617 h 10000"/>
                  <a:gd name="connsiteX213" fmla="*/ 6830 w 10000"/>
                  <a:gd name="connsiteY213" fmla="*/ 3825 h 10000"/>
                  <a:gd name="connsiteX214" fmla="*/ 6872 w 10000"/>
                  <a:gd name="connsiteY214" fmla="*/ 3888 h 10000"/>
                  <a:gd name="connsiteX215" fmla="*/ 6979 w 10000"/>
                  <a:gd name="connsiteY215" fmla="*/ 3909 h 10000"/>
                  <a:gd name="connsiteX216" fmla="*/ 7021 w 10000"/>
                  <a:gd name="connsiteY216" fmla="*/ 3909 h 10000"/>
                  <a:gd name="connsiteX217" fmla="*/ 7021 w 10000"/>
                  <a:gd name="connsiteY217" fmla="*/ 4033 h 10000"/>
                  <a:gd name="connsiteX218" fmla="*/ 7021 w 10000"/>
                  <a:gd name="connsiteY218" fmla="*/ 4054 h 10000"/>
                  <a:gd name="connsiteX219" fmla="*/ 7021 w 10000"/>
                  <a:gd name="connsiteY219" fmla="*/ 4054 h 10000"/>
                  <a:gd name="connsiteX220" fmla="*/ 6894 w 10000"/>
                  <a:gd name="connsiteY220" fmla="*/ 4054 h 10000"/>
                  <a:gd name="connsiteX221" fmla="*/ 6766 w 10000"/>
                  <a:gd name="connsiteY221" fmla="*/ 4220 h 10000"/>
                  <a:gd name="connsiteX222" fmla="*/ 6979 w 10000"/>
                  <a:gd name="connsiteY222" fmla="*/ 4366 h 10000"/>
                  <a:gd name="connsiteX223" fmla="*/ 6979 w 10000"/>
                  <a:gd name="connsiteY223" fmla="*/ 4387 h 10000"/>
                  <a:gd name="connsiteX224" fmla="*/ 6957 w 10000"/>
                  <a:gd name="connsiteY224" fmla="*/ 4595 h 10000"/>
                  <a:gd name="connsiteX225" fmla="*/ 7106 w 10000"/>
                  <a:gd name="connsiteY225" fmla="*/ 5322 h 10000"/>
                  <a:gd name="connsiteX226" fmla="*/ 7106 w 10000"/>
                  <a:gd name="connsiteY226" fmla="*/ 5364 h 10000"/>
                  <a:gd name="connsiteX227" fmla="*/ 7043 w 10000"/>
                  <a:gd name="connsiteY227" fmla="*/ 5385 h 10000"/>
                  <a:gd name="connsiteX228" fmla="*/ 7043 w 10000"/>
                  <a:gd name="connsiteY228" fmla="*/ 5385 h 10000"/>
                  <a:gd name="connsiteX229" fmla="*/ 7021 w 10000"/>
                  <a:gd name="connsiteY229" fmla="*/ 5364 h 10000"/>
                  <a:gd name="connsiteX230" fmla="*/ 7021 w 10000"/>
                  <a:gd name="connsiteY230" fmla="*/ 5364 h 10000"/>
                  <a:gd name="connsiteX231" fmla="*/ 7021 w 10000"/>
                  <a:gd name="connsiteY231" fmla="*/ 5364 h 10000"/>
                  <a:gd name="connsiteX232" fmla="*/ 6894 w 10000"/>
                  <a:gd name="connsiteY232" fmla="*/ 5426 h 10000"/>
                  <a:gd name="connsiteX233" fmla="*/ 6872 w 10000"/>
                  <a:gd name="connsiteY233" fmla="*/ 5426 h 10000"/>
                  <a:gd name="connsiteX234" fmla="*/ 6872 w 10000"/>
                  <a:gd name="connsiteY234" fmla="*/ 5426 h 10000"/>
                  <a:gd name="connsiteX235" fmla="*/ 6872 w 10000"/>
                  <a:gd name="connsiteY235" fmla="*/ 5385 h 10000"/>
                  <a:gd name="connsiteX236" fmla="*/ 6809 w 10000"/>
                  <a:gd name="connsiteY236" fmla="*/ 5198 h 10000"/>
                  <a:gd name="connsiteX237" fmla="*/ 6766 w 10000"/>
                  <a:gd name="connsiteY237" fmla="*/ 5301 h 10000"/>
                  <a:gd name="connsiteX238" fmla="*/ 6468 w 10000"/>
                  <a:gd name="connsiteY238" fmla="*/ 5447 h 10000"/>
                  <a:gd name="connsiteX239" fmla="*/ 6468 w 10000"/>
                  <a:gd name="connsiteY239" fmla="*/ 5696 h 10000"/>
                  <a:gd name="connsiteX240" fmla="*/ 6468 w 10000"/>
                  <a:gd name="connsiteY240" fmla="*/ 5696 h 10000"/>
                  <a:gd name="connsiteX241" fmla="*/ 6213 w 10000"/>
                  <a:gd name="connsiteY241" fmla="*/ 5925 h 10000"/>
                  <a:gd name="connsiteX242" fmla="*/ 5745 w 10000"/>
                  <a:gd name="connsiteY242" fmla="*/ 6175 h 10000"/>
                  <a:gd name="connsiteX243" fmla="*/ 5511 w 10000"/>
                  <a:gd name="connsiteY243" fmla="*/ 6507 h 10000"/>
                  <a:gd name="connsiteX244" fmla="*/ 4894 w 10000"/>
                  <a:gd name="connsiteY244" fmla="*/ 6985 h 10000"/>
                  <a:gd name="connsiteX245" fmla="*/ 4787 w 10000"/>
                  <a:gd name="connsiteY245" fmla="*/ 7131 h 10000"/>
                  <a:gd name="connsiteX246" fmla="*/ 4787 w 10000"/>
                  <a:gd name="connsiteY246" fmla="*/ 7131 h 10000"/>
                  <a:gd name="connsiteX247" fmla="*/ 4489 w 10000"/>
                  <a:gd name="connsiteY247" fmla="*/ 7214 h 10000"/>
                  <a:gd name="connsiteX248" fmla="*/ 4362 w 10000"/>
                  <a:gd name="connsiteY248" fmla="*/ 7401 h 10000"/>
                  <a:gd name="connsiteX249" fmla="*/ 4362 w 10000"/>
                  <a:gd name="connsiteY249" fmla="*/ 7443 h 10000"/>
                  <a:gd name="connsiteX250" fmla="*/ 4191 w 10000"/>
                  <a:gd name="connsiteY250" fmla="*/ 7443 h 10000"/>
                  <a:gd name="connsiteX251" fmla="*/ 4085 w 10000"/>
                  <a:gd name="connsiteY251" fmla="*/ 7547 h 10000"/>
                  <a:gd name="connsiteX252" fmla="*/ 4128 w 10000"/>
                  <a:gd name="connsiteY252" fmla="*/ 8129 h 10000"/>
                  <a:gd name="connsiteX253" fmla="*/ 4191 w 10000"/>
                  <a:gd name="connsiteY253" fmla="*/ 8254 h 10000"/>
                  <a:gd name="connsiteX254" fmla="*/ 4191 w 10000"/>
                  <a:gd name="connsiteY254" fmla="*/ 8274 h 10000"/>
                  <a:gd name="connsiteX255" fmla="*/ 4021 w 10000"/>
                  <a:gd name="connsiteY255" fmla="*/ 8794 h 10000"/>
                  <a:gd name="connsiteX256" fmla="*/ 4021 w 10000"/>
                  <a:gd name="connsiteY256" fmla="*/ 9210 h 10000"/>
                  <a:gd name="connsiteX257" fmla="*/ 4021 w 10000"/>
                  <a:gd name="connsiteY257" fmla="*/ 9231 h 10000"/>
                  <a:gd name="connsiteX258" fmla="*/ 4021 w 10000"/>
                  <a:gd name="connsiteY258" fmla="*/ 9231 h 10000"/>
                  <a:gd name="connsiteX259" fmla="*/ 3851 w 10000"/>
                  <a:gd name="connsiteY259" fmla="*/ 9231 h 10000"/>
                  <a:gd name="connsiteX260" fmla="*/ 3745 w 10000"/>
                  <a:gd name="connsiteY260" fmla="*/ 9480 h 10000"/>
                  <a:gd name="connsiteX261" fmla="*/ 3745 w 10000"/>
                  <a:gd name="connsiteY261" fmla="*/ 9563 h 10000"/>
                  <a:gd name="connsiteX262" fmla="*/ 3723 w 10000"/>
                  <a:gd name="connsiteY262" fmla="*/ 9563 h 10000"/>
                  <a:gd name="connsiteX263" fmla="*/ 3468 w 10000"/>
                  <a:gd name="connsiteY263" fmla="*/ 9667 h 10000"/>
                  <a:gd name="connsiteX264" fmla="*/ 3447 w 10000"/>
                  <a:gd name="connsiteY264" fmla="*/ 9834 h 10000"/>
                  <a:gd name="connsiteX265" fmla="*/ 3298 w 10000"/>
                  <a:gd name="connsiteY265" fmla="*/ 10000 h 10000"/>
                  <a:gd name="connsiteX266" fmla="*/ 3255 w 10000"/>
                  <a:gd name="connsiteY266" fmla="*/ 10000 h 10000"/>
                  <a:gd name="connsiteX267" fmla="*/ 3170 w 10000"/>
                  <a:gd name="connsiteY267" fmla="*/ 10000 h 10000"/>
                  <a:gd name="connsiteX0" fmla="*/ 3170 w 10000"/>
                  <a:gd name="connsiteY0" fmla="*/ 10000 h 10000"/>
                  <a:gd name="connsiteX1" fmla="*/ 3170 w 10000"/>
                  <a:gd name="connsiteY1" fmla="*/ 9958 h 10000"/>
                  <a:gd name="connsiteX2" fmla="*/ 2915 w 10000"/>
                  <a:gd name="connsiteY2" fmla="*/ 9688 h 10000"/>
                  <a:gd name="connsiteX3" fmla="*/ 2617 w 10000"/>
                  <a:gd name="connsiteY3" fmla="*/ 8857 h 10000"/>
                  <a:gd name="connsiteX4" fmla="*/ 2404 w 10000"/>
                  <a:gd name="connsiteY4" fmla="*/ 8586 h 10000"/>
                  <a:gd name="connsiteX5" fmla="*/ 2277 w 10000"/>
                  <a:gd name="connsiteY5" fmla="*/ 8129 h 10000"/>
                  <a:gd name="connsiteX6" fmla="*/ 2021 w 10000"/>
                  <a:gd name="connsiteY6" fmla="*/ 7672 h 10000"/>
                  <a:gd name="connsiteX7" fmla="*/ 2000 w 10000"/>
                  <a:gd name="connsiteY7" fmla="*/ 7484 h 10000"/>
                  <a:gd name="connsiteX8" fmla="*/ 1957 w 10000"/>
                  <a:gd name="connsiteY8" fmla="*/ 7484 h 10000"/>
                  <a:gd name="connsiteX9" fmla="*/ 1936 w 10000"/>
                  <a:gd name="connsiteY9" fmla="*/ 7526 h 10000"/>
                  <a:gd name="connsiteX10" fmla="*/ 1936 w 10000"/>
                  <a:gd name="connsiteY10" fmla="*/ 7526 h 10000"/>
                  <a:gd name="connsiteX11" fmla="*/ 1936 w 10000"/>
                  <a:gd name="connsiteY11" fmla="*/ 7484 h 10000"/>
                  <a:gd name="connsiteX12" fmla="*/ 1872 w 10000"/>
                  <a:gd name="connsiteY12" fmla="*/ 7380 h 10000"/>
                  <a:gd name="connsiteX13" fmla="*/ 1745 w 10000"/>
                  <a:gd name="connsiteY13" fmla="*/ 7131 h 10000"/>
                  <a:gd name="connsiteX14" fmla="*/ 1596 w 10000"/>
                  <a:gd name="connsiteY14" fmla="*/ 6466 h 10000"/>
                  <a:gd name="connsiteX15" fmla="*/ 1617 w 10000"/>
                  <a:gd name="connsiteY15" fmla="*/ 6258 h 10000"/>
                  <a:gd name="connsiteX16" fmla="*/ 1596 w 10000"/>
                  <a:gd name="connsiteY16" fmla="*/ 6258 h 10000"/>
                  <a:gd name="connsiteX17" fmla="*/ 1596 w 10000"/>
                  <a:gd name="connsiteY17" fmla="*/ 6258 h 10000"/>
                  <a:gd name="connsiteX18" fmla="*/ 1532 w 10000"/>
                  <a:gd name="connsiteY18" fmla="*/ 6008 h 10000"/>
                  <a:gd name="connsiteX19" fmla="*/ 1596 w 10000"/>
                  <a:gd name="connsiteY19" fmla="*/ 5738 h 10000"/>
                  <a:gd name="connsiteX20" fmla="*/ 1468 w 10000"/>
                  <a:gd name="connsiteY20" fmla="*/ 5239 h 10000"/>
                  <a:gd name="connsiteX21" fmla="*/ 1468 w 10000"/>
                  <a:gd name="connsiteY21" fmla="*/ 5239 h 10000"/>
                  <a:gd name="connsiteX22" fmla="*/ 1596 w 10000"/>
                  <a:gd name="connsiteY22" fmla="*/ 5114 h 10000"/>
                  <a:gd name="connsiteX23" fmla="*/ 1447 w 10000"/>
                  <a:gd name="connsiteY23" fmla="*/ 5094 h 10000"/>
                  <a:gd name="connsiteX24" fmla="*/ 1319 w 10000"/>
                  <a:gd name="connsiteY24" fmla="*/ 5509 h 10000"/>
                  <a:gd name="connsiteX25" fmla="*/ 1319 w 10000"/>
                  <a:gd name="connsiteY25" fmla="*/ 5530 h 10000"/>
                  <a:gd name="connsiteX26" fmla="*/ 1064 w 10000"/>
                  <a:gd name="connsiteY26" fmla="*/ 5634 h 10000"/>
                  <a:gd name="connsiteX27" fmla="*/ 830 w 10000"/>
                  <a:gd name="connsiteY27" fmla="*/ 5634 h 10000"/>
                  <a:gd name="connsiteX28" fmla="*/ 787 w 10000"/>
                  <a:gd name="connsiteY28" fmla="*/ 5634 h 10000"/>
                  <a:gd name="connsiteX29" fmla="*/ 298 w 10000"/>
                  <a:gd name="connsiteY29" fmla="*/ 5177 h 10000"/>
                  <a:gd name="connsiteX30" fmla="*/ 298 w 10000"/>
                  <a:gd name="connsiteY30" fmla="*/ 5094 h 10000"/>
                  <a:gd name="connsiteX31" fmla="*/ 298 w 10000"/>
                  <a:gd name="connsiteY31" fmla="*/ 5094 h 10000"/>
                  <a:gd name="connsiteX32" fmla="*/ 298 w 10000"/>
                  <a:gd name="connsiteY32" fmla="*/ 5052 h 10000"/>
                  <a:gd name="connsiteX33" fmla="*/ 638 w 10000"/>
                  <a:gd name="connsiteY33" fmla="*/ 5031 h 10000"/>
                  <a:gd name="connsiteX34" fmla="*/ 723 w 10000"/>
                  <a:gd name="connsiteY34" fmla="*/ 4927 h 10000"/>
                  <a:gd name="connsiteX35" fmla="*/ 766 w 10000"/>
                  <a:gd name="connsiteY35" fmla="*/ 4823 h 10000"/>
                  <a:gd name="connsiteX36" fmla="*/ 574 w 10000"/>
                  <a:gd name="connsiteY36" fmla="*/ 4906 h 10000"/>
                  <a:gd name="connsiteX37" fmla="*/ 298 w 10000"/>
                  <a:gd name="connsiteY37" fmla="*/ 4906 h 10000"/>
                  <a:gd name="connsiteX38" fmla="*/ 298 w 10000"/>
                  <a:gd name="connsiteY38" fmla="*/ 4906 h 10000"/>
                  <a:gd name="connsiteX39" fmla="*/ 0 w 10000"/>
                  <a:gd name="connsiteY39" fmla="*/ 4574 h 10000"/>
                  <a:gd name="connsiteX40" fmla="*/ 0 w 10000"/>
                  <a:gd name="connsiteY40" fmla="*/ 4574 h 10000"/>
                  <a:gd name="connsiteX41" fmla="*/ 0 w 10000"/>
                  <a:gd name="connsiteY41" fmla="*/ 4553 h 10000"/>
                  <a:gd name="connsiteX42" fmla="*/ 85 w 10000"/>
                  <a:gd name="connsiteY42" fmla="*/ 4491 h 10000"/>
                  <a:gd name="connsiteX43" fmla="*/ 277 w 10000"/>
                  <a:gd name="connsiteY43" fmla="*/ 4491 h 10000"/>
                  <a:gd name="connsiteX44" fmla="*/ 277 w 10000"/>
                  <a:gd name="connsiteY44" fmla="*/ 4324 h 10000"/>
                  <a:gd name="connsiteX45" fmla="*/ 277 w 10000"/>
                  <a:gd name="connsiteY45" fmla="*/ 4324 h 10000"/>
                  <a:gd name="connsiteX46" fmla="*/ 298 w 10000"/>
                  <a:gd name="connsiteY46" fmla="*/ 4324 h 10000"/>
                  <a:gd name="connsiteX47" fmla="*/ 298 w 10000"/>
                  <a:gd name="connsiteY47" fmla="*/ 4324 h 10000"/>
                  <a:gd name="connsiteX48" fmla="*/ 702 w 10000"/>
                  <a:gd name="connsiteY48" fmla="*/ 4428 h 10000"/>
                  <a:gd name="connsiteX49" fmla="*/ 830 w 10000"/>
                  <a:gd name="connsiteY49" fmla="*/ 4304 h 10000"/>
                  <a:gd name="connsiteX50" fmla="*/ 851 w 10000"/>
                  <a:gd name="connsiteY50" fmla="*/ 4304 h 10000"/>
                  <a:gd name="connsiteX51" fmla="*/ 851 w 10000"/>
                  <a:gd name="connsiteY51" fmla="*/ 4304 h 10000"/>
                  <a:gd name="connsiteX52" fmla="*/ 936 w 10000"/>
                  <a:gd name="connsiteY52" fmla="*/ 4387 h 10000"/>
                  <a:gd name="connsiteX53" fmla="*/ 1043 w 10000"/>
                  <a:gd name="connsiteY53" fmla="*/ 4324 h 10000"/>
                  <a:gd name="connsiteX54" fmla="*/ 894 w 10000"/>
                  <a:gd name="connsiteY54" fmla="*/ 3909 h 10000"/>
                  <a:gd name="connsiteX55" fmla="*/ 702 w 10000"/>
                  <a:gd name="connsiteY55" fmla="*/ 3825 h 10000"/>
                  <a:gd name="connsiteX56" fmla="*/ 702 w 10000"/>
                  <a:gd name="connsiteY56" fmla="*/ 3784 h 10000"/>
                  <a:gd name="connsiteX57" fmla="*/ 723 w 10000"/>
                  <a:gd name="connsiteY57" fmla="*/ 3617 h 10000"/>
                  <a:gd name="connsiteX58" fmla="*/ 511 w 10000"/>
                  <a:gd name="connsiteY58" fmla="*/ 3555 h 10000"/>
                  <a:gd name="connsiteX59" fmla="*/ 511 w 10000"/>
                  <a:gd name="connsiteY59" fmla="*/ 3555 h 10000"/>
                  <a:gd name="connsiteX60" fmla="*/ 489 w 10000"/>
                  <a:gd name="connsiteY60" fmla="*/ 3514 h 10000"/>
                  <a:gd name="connsiteX61" fmla="*/ 553 w 10000"/>
                  <a:gd name="connsiteY61" fmla="*/ 3368 h 10000"/>
                  <a:gd name="connsiteX62" fmla="*/ 830 w 10000"/>
                  <a:gd name="connsiteY62" fmla="*/ 2973 h 10000"/>
                  <a:gd name="connsiteX63" fmla="*/ 851 w 10000"/>
                  <a:gd name="connsiteY63" fmla="*/ 2973 h 10000"/>
                  <a:gd name="connsiteX64" fmla="*/ 851 w 10000"/>
                  <a:gd name="connsiteY64" fmla="*/ 2973 h 10000"/>
                  <a:gd name="connsiteX65" fmla="*/ 851 w 10000"/>
                  <a:gd name="connsiteY65" fmla="*/ 2973 h 10000"/>
                  <a:gd name="connsiteX66" fmla="*/ 979 w 10000"/>
                  <a:gd name="connsiteY66" fmla="*/ 3098 h 10000"/>
                  <a:gd name="connsiteX67" fmla="*/ 1277 w 10000"/>
                  <a:gd name="connsiteY67" fmla="*/ 3035 h 10000"/>
                  <a:gd name="connsiteX68" fmla="*/ 1468 w 10000"/>
                  <a:gd name="connsiteY68" fmla="*/ 2765 h 10000"/>
                  <a:gd name="connsiteX69" fmla="*/ 1660 w 10000"/>
                  <a:gd name="connsiteY69" fmla="*/ 2620 h 10000"/>
                  <a:gd name="connsiteX70" fmla="*/ 1830 w 10000"/>
                  <a:gd name="connsiteY70" fmla="*/ 2287 h 10000"/>
                  <a:gd name="connsiteX71" fmla="*/ 1957 w 10000"/>
                  <a:gd name="connsiteY71" fmla="*/ 2245 h 10000"/>
                  <a:gd name="connsiteX72" fmla="*/ 2000 w 10000"/>
                  <a:gd name="connsiteY72" fmla="*/ 2204 h 10000"/>
                  <a:gd name="connsiteX73" fmla="*/ 2170 w 10000"/>
                  <a:gd name="connsiteY73" fmla="*/ 2079 h 10000"/>
                  <a:gd name="connsiteX74" fmla="*/ 2404 w 10000"/>
                  <a:gd name="connsiteY74" fmla="*/ 1975 h 10000"/>
                  <a:gd name="connsiteX75" fmla="*/ 2511 w 10000"/>
                  <a:gd name="connsiteY75" fmla="*/ 1954 h 10000"/>
                  <a:gd name="connsiteX76" fmla="*/ 2511 w 10000"/>
                  <a:gd name="connsiteY76" fmla="*/ 1892 h 10000"/>
                  <a:gd name="connsiteX77" fmla="*/ 2574 w 10000"/>
                  <a:gd name="connsiteY77" fmla="*/ 1892 h 10000"/>
                  <a:gd name="connsiteX78" fmla="*/ 2638 w 10000"/>
                  <a:gd name="connsiteY78" fmla="*/ 1809 h 10000"/>
                  <a:gd name="connsiteX79" fmla="*/ 2681 w 10000"/>
                  <a:gd name="connsiteY79" fmla="*/ 1559 h 10000"/>
                  <a:gd name="connsiteX80" fmla="*/ 2702 w 10000"/>
                  <a:gd name="connsiteY80" fmla="*/ 1372 h 10000"/>
                  <a:gd name="connsiteX81" fmla="*/ 2574 w 10000"/>
                  <a:gd name="connsiteY81" fmla="*/ 1435 h 10000"/>
                  <a:gd name="connsiteX82" fmla="*/ 2489 w 10000"/>
                  <a:gd name="connsiteY82" fmla="*/ 1414 h 10000"/>
                  <a:gd name="connsiteX83" fmla="*/ 2447 w 10000"/>
                  <a:gd name="connsiteY83" fmla="*/ 1331 h 10000"/>
                  <a:gd name="connsiteX84" fmla="*/ 2447 w 10000"/>
                  <a:gd name="connsiteY84" fmla="*/ 1331 h 10000"/>
                  <a:gd name="connsiteX85" fmla="*/ 2426 w 10000"/>
                  <a:gd name="connsiteY85" fmla="*/ 1268 h 10000"/>
                  <a:gd name="connsiteX86" fmla="*/ 2404 w 10000"/>
                  <a:gd name="connsiteY86" fmla="*/ 1206 h 10000"/>
                  <a:gd name="connsiteX87" fmla="*/ 2426 w 10000"/>
                  <a:gd name="connsiteY87" fmla="*/ 1102 h 10000"/>
                  <a:gd name="connsiteX88" fmla="*/ 2511 w 10000"/>
                  <a:gd name="connsiteY88" fmla="*/ 1019 h 10000"/>
                  <a:gd name="connsiteX89" fmla="*/ 2617 w 10000"/>
                  <a:gd name="connsiteY89" fmla="*/ 936 h 10000"/>
                  <a:gd name="connsiteX90" fmla="*/ 2553 w 10000"/>
                  <a:gd name="connsiteY90" fmla="*/ 811 h 10000"/>
                  <a:gd name="connsiteX91" fmla="*/ 2426 w 10000"/>
                  <a:gd name="connsiteY91" fmla="*/ 811 h 10000"/>
                  <a:gd name="connsiteX92" fmla="*/ 2426 w 10000"/>
                  <a:gd name="connsiteY92" fmla="*/ 686 h 10000"/>
                  <a:gd name="connsiteX93" fmla="*/ 2298 w 10000"/>
                  <a:gd name="connsiteY93" fmla="*/ 561 h 10000"/>
                  <a:gd name="connsiteX94" fmla="*/ 2234 w 10000"/>
                  <a:gd name="connsiteY94" fmla="*/ 457 h 10000"/>
                  <a:gd name="connsiteX95" fmla="*/ 2149 w 10000"/>
                  <a:gd name="connsiteY95" fmla="*/ 270 h 10000"/>
                  <a:gd name="connsiteX96" fmla="*/ 2149 w 10000"/>
                  <a:gd name="connsiteY96" fmla="*/ 166 h 10000"/>
                  <a:gd name="connsiteX97" fmla="*/ 2277 w 10000"/>
                  <a:gd name="connsiteY97" fmla="*/ 83 h 10000"/>
                  <a:gd name="connsiteX98" fmla="*/ 2553 w 10000"/>
                  <a:gd name="connsiteY98" fmla="*/ 0 h 10000"/>
                  <a:gd name="connsiteX99" fmla="*/ 2787 w 10000"/>
                  <a:gd name="connsiteY99" fmla="*/ 62 h 10000"/>
                  <a:gd name="connsiteX100" fmla="*/ 2894 w 10000"/>
                  <a:gd name="connsiteY100" fmla="*/ 146 h 10000"/>
                  <a:gd name="connsiteX101" fmla="*/ 3043 w 10000"/>
                  <a:gd name="connsiteY101" fmla="*/ 166 h 10000"/>
                  <a:gd name="connsiteX102" fmla="*/ 3574 w 10000"/>
                  <a:gd name="connsiteY102" fmla="*/ 499 h 10000"/>
                  <a:gd name="connsiteX103" fmla="*/ 3745 w 10000"/>
                  <a:gd name="connsiteY103" fmla="*/ 457 h 10000"/>
                  <a:gd name="connsiteX104" fmla="*/ 3936 w 10000"/>
                  <a:gd name="connsiteY104" fmla="*/ 395 h 10000"/>
                  <a:gd name="connsiteX105" fmla="*/ 4128 w 10000"/>
                  <a:gd name="connsiteY105" fmla="*/ 353 h 10000"/>
                  <a:gd name="connsiteX106" fmla="*/ 4128 w 10000"/>
                  <a:gd name="connsiteY106" fmla="*/ 353 h 10000"/>
                  <a:gd name="connsiteX107" fmla="*/ 4128 w 10000"/>
                  <a:gd name="connsiteY107" fmla="*/ 416 h 10000"/>
                  <a:gd name="connsiteX108" fmla="*/ 4191 w 10000"/>
                  <a:gd name="connsiteY108" fmla="*/ 686 h 10000"/>
                  <a:gd name="connsiteX109" fmla="*/ 4128 w 10000"/>
                  <a:gd name="connsiteY109" fmla="*/ 1019 h 10000"/>
                  <a:gd name="connsiteX110" fmla="*/ 3957 w 10000"/>
                  <a:gd name="connsiteY110" fmla="*/ 1206 h 10000"/>
                  <a:gd name="connsiteX111" fmla="*/ 3957 w 10000"/>
                  <a:gd name="connsiteY111" fmla="*/ 1227 h 10000"/>
                  <a:gd name="connsiteX112" fmla="*/ 3745 w 10000"/>
                  <a:gd name="connsiteY112" fmla="*/ 1372 h 10000"/>
                  <a:gd name="connsiteX113" fmla="*/ 3745 w 10000"/>
                  <a:gd name="connsiteY113" fmla="*/ 1372 h 10000"/>
                  <a:gd name="connsiteX114" fmla="*/ 3723 w 10000"/>
                  <a:gd name="connsiteY114" fmla="*/ 1372 h 10000"/>
                  <a:gd name="connsiteX115" fmla="*/ 3723 w 10000"/>
                  <a:gd name="connsiteY115" fmla="*/ 1372 h 10000"/>
                  <a:gd name="connsiteX116" fmla="*/ 3681 w 10000"/>
                  <a:gd name="connsiteY116" fmla="*/ 1497 h 10000"/>
                  <a:gd name="connsiteX117" fmla="*/ 3745 w 10000"/>
                  <a:gd name="connsiteY117" fmla="*/ 1871 h 10000"/>
                  <a:gd name="connsiteX118" fmla="*/ 3894 w 10000"/>
                  <a:gd name="connsiteY118" fmla="*/ 1871 h 10000"/>
                  <a:gd name="connsiteX119" fmla="*/ 4468 w 10000"/>
                  <a:gd name="connsiteY119" fmla="*/ 2162 h 10000"/>
                  <a:gd name="connsiteX120" fmla="*/ 4468 w 10000"/>
                  <a:gd name="connsiteY120" fmla="*/ 2204 h 10000"/>
                  <a:gd name="connsiteX121" fmla="*/ 4468 w 10000"/>
                  <a:gd name="connsiteY121" fmla="*/ 2204 h 10000"/>
                  <a:gd name="connsiteX122" fmla="*/ 4213 w 10000"/>
                  <a:gd name="connsiteY122" fmla="*/ 2370 h 10000"/>
                  <a:gd name="connsiteX123" fmla="*/ 4128 w 10000"/>
                  <a:gd name="connsiteY123" fmla="*/ 2703 h 10000"/>
                  <a:gd name="connsiteX124" fmla="*/ 5043 w 10000"/>
                  <a:gd name="connsiteY124" fmla="*/ 3243 h 10000"/>
                  <a:gd name="connsiteX125" fmla="*/ 5532 w 10000"/>
                  <a:gd name="connsiteY125" fmla="*/ 3243 h 10000"/>
                  <a:gd name="connsiteX126" fmla="*/ 5574 w 10000"/>
                  <a:gd name="connsiteY126" fmla="*/ 3243 h 10000"/>
                  <a:gd name="connsiteX127" fmla="*/ 5745 w 10000"/>
                  <a:gd name="connsiteY127" fmla="*/ 3451 h 10000"/>
                  <a:gd name="connsiteX128" fmla="*/ 6532 w 10000"/>
                  <a:gd name="connsiteY128" fmla="*/ 3617 h 10000"/>
                  <a:gd name="connsiteX129" fmla="*/ 6766 w 10000"/>
                  <a:gd name="connsiteY129" fmla="*/ 3576 h 10000"/>
                  <a:gd name="connsiteX130" fmla="*/ 6809 w 10000"/>
                  <a:gd name="connsiteY130" fmla="*/ 3493 h 10000"/>
                  <a:gd name="connsiteX131" fmla="*/ 6745 w 10000"/>
                  <a:gd name="connsiteY131" fmla="*/ 3430 h 10000"/>
                  <a:gd name="connsiteX132" fmla="*/ 6745 w 10000"/>
                  <a:gd name="connsiteY132" fmla="*/ 3389 h 10000"/>
                  <a:gd name="connsiteX133" fmla="*/ 6766 w 10000"/>
                  <a:gd name="connsiteY133" fmla="*/ 3347 h 10000"/>
                  <a:gd name="connsiteX134" fmla="*/ 6830 w 10000"/>
                  <a:gd name="connsiteY134" fmla="*/ 3077 h 10000"/>
                  <a:gd name="connsiteX135" fmla="*/ 6830 w 10000"/>
                  <a:gd name="connsiteY135" fmla="*/ 3035 h 10000"/>
                  <a:gd name="connsiteX136" fmla="*/ 7043 w 10000"/>
                  <a:gd name="connsiteY136" fmla="*/ 2973 h 10000"/>
                  <a:gd name="connsiteX137" fmla="*/ 7043 w 10000"/>
                  <a:gd name="connsiteY137" fmla="*/ 2973 h 10000"/>
                  <a:gd name="connsiteX138" fmla="*/ 7043 w 10000"/>
                  <a:gd name="connsiteY138" fmla="*/ 2973 h 10000"/>
                  <a:gd name="connsiteX139" fmla="*/ 7085 w 10000"/>
                  <a:gd name="connsiteY139" fmla="*/ 3015 h 10000"/>
                  <a:gd name="connsiteX140" fmla="*/ 7085 w 10000"/>
                  <a:gd name="connsiteY140" fmla="*/ 3222 h 10000"/>
                  <a:gd name="connsiteX141" fmla="*/ 7106 w 10000"/>
                  <a:gd name="connsiteY141" fmla="*/ 3243 h 10000"/>
                  <a:gd name="connsiteX142" fmla="*/ 7149 w 10000"/>
                  <a:gd name="connsiteY142" fmla="*/ 3285 h 10000"/>
                  <a:gd name="connsiteX143" fmla="*/ 7149 w 10000"/>
                  <a:gd name="connsiteY143" fmla="*/ 3285 h 10000"/>
                  <a:gd name="connsiteX144" fmla="*/ 7085 w 10000"/>
                  <a:gd name="connsiteY144" fmla="*/ 3347 h 10000"/>
                  <a:gd name="connsiteX145" fmla="*/ 7106 w 10000"/>
                  <a:gd name="connsiteY145" fmla="*/ 3430 h 10000"/>
                  <a:gd name="connsiteX146" fmla="*/ 7362 w 10000"/>
                  <a:gd name="connsiteY146" fmla="*/ 3493 h 10000"/>
                  <a:gd name="connsiteX147" fmla="*/ 8128 w 10000"/>
                  <a:gd name="connsiteY147" fmla="*/ 3389 h 10000"/>
                  <a:gd name="connsiteX148" fmla="*/ 8191 w 10000"/>
                  <a:gd name="connsiteY148" fmla="*/ 3285 h 10000"/>
                  <a:gd name="connsiteX149" fmla="*/ 8064 w 10000"/>
                  <a:gd name="connsiteY149" fmla="*/ 3222 h 10000"/>
                  <a:gd name="connsiteX150" fmla="*/ 8043 w 10000"/>
                  <a:gd name="connsiteY150" fmla="*/ 3181 h 10000"/>
                  <a:gd name="connsiteX151" fmla="*/ 8043 w 10000"/>
                  <a:gd name="connsiteY151" fmla="*/ 3098 h 10000"/>
                  <a:gd name="connsiteX152" fmla="*/ 8064 w 10000"/>
                  <a:gd name="connsiteY152" fmla="*/ 3077 h 10000"/>
                  <a:gd name="connsiteX153" fmla="*/ 8489 w 10000"/>
                  <a:gd name="connsiteY153" fmla="*/ 2911 h 10000"/>
                  <a:gd name="connsiteX154" fmla="*/ 9021 w 10000"/>
                  <a:gd name="connsiteY154" fmla="*/ 2516 h 10000"/>
                  <a:gd name="connsiteX155" fmla="*/ 9021 w 10000"/>
                  <a:gd name="connsiteY155" fmla="*/ 2516 h 10000"/>
                  <a:gd name="connsiteX156" fmla="*/ 9255 w 10000"/>
                  <a:gd name="connsiteY156" fmla="*/ 2557 h 10000"/>
                  <a:gd name="connsiteX157" fmla="*/ 9511 w 10000"/>
                  <a:gd name="connsiteY157" fmla="*/ 2432 h 10000"/>
                  <a:gd name="connsiteX158" fmla="*/ 9511 w 10000"/>
                  <a:gd name="connsiteY158" fmla="*/ 2432 h 10000"/>
                  <a:gd name="connsiteX159" fmla="*/ 9553 w 10000"/>
                  <a:gd name="connsiteY159" fmla="*/ 2432 h 10000"/>
                  <a:gd name="connsiteX160" fmla="*/ 9553 w 10000"/>
                  <a:gd name="connsiteY160" fmla="*/ 2474 h 10000"/>
                  <a:gd name="connsiteX161" fmla="*/ 9596 w 10000"/>
                  <a:gd name="connsiteY161" fmla="*/ 2620 h 10000"/>
                  <a:gd name="connsiteX162" fmla="*/ 9660 w 10000"/>
                  <a:gd name="connsiteY162" fmla="*/ 2640 h 10000"/>
                  <a:gd name="connsiteX163" fmla="*/ 9660 w 10000"/>
                  <a:gd name="connsiteY163" fmla="*/ 2682 h 10000"/>
                  <a:gd name="connsiteX164" fmla="*/ 9638 w 10000"/>
                  <a:gd name="connsiteY164" fmla="*/ 2827 h 10000"/>
                  <a:gd name="connsiteX165" fmla="*/ 9872 w 10000"/>
                  <a:gd name="connsiteY165" fmla="*/ 2848 h 10000"/>
                  <a:gd name="connsiteX166" fmla="*/ 9979 w 10000"/>
                  <a:gd name="connsiteY166" fmla="*/ 2952 h 10000"/>
                  <a:gd name="connsiteX167" fmla="*/ 10000 w 10000"/>
                  <a:gd name="connsiteY167" fmla="*/ 2973 h 10000"/>
                  <a:gd name="connsiteX168" fmla="*/ 10000 w 10000"/>
                  <a:gd name="connsiteY168" fmla="*/ 3035 h 10000"/>
                  <a:gd name="connsiteX169" fmla="*/ 9979 w 10000"/>
                  <a:gd name="connsiteY169" fmla="*/ 3077 h 10000"/>
                  <a:gd name="connsiteX170" fmla="*/ 9915 w 10000"/>
                  <a:gd name="connsiteY170" fmla="*/ 3098 h 10000"/>
                  <a:gd name="connsiteX171" fmla="*/ 9872 w 10000"/>
                  <a:gd name="connsiteY171" fmla="*/ 3306 h 10000"/>
                  <a:gd name="connsiteX172" fmla="*/ 9851 w 10000"/>
                  <a:gd name="connsiteY172" fmla="*/ 3347 h 10000"/>
                  <a:gd name="connsiteX173" fmla="*/ 9574 w 10000"/>
                  <a:gd name="connsiteY173" fmla="*/ 3347 h 10000"/>
                  <a:gd name="connsiteX174" fmla="*/ 9298 w 10000"/>
                  <a:gd name="connsiteY174" fmla="*/ 3617 h 10000"/>
                  <a:gd name="connsiteX175" fmla="*/ 9255 w 10000"/>
                  <a:gd name="connsiteY175" fmla="*/ 3846 h 10000"/>
                  <a:gd name="connsiteX176" fmla="*/ 9085 w 10000"/>
                  <a:gd name="connsiteY176" fmla="*/ 4054 h 10000"/>
                  <a:gd name="connsiteX177" fmla="*/ 8936 w 10000"/>
                  <a:gd name="connsiteY177" fmla="*/ 4511 h 10000"/>
                  <a:gd name="connsiteX178" fmla="*/ 8894 w 10000"/>
                  <a:gd name="connsiteY178" fmla="*/ 4511 h 10000"/>
                  <a:gd name="connsiteX179" fmla="*/ 8617 w 10000"/>
                  <a:gd name="connsiteY179" fmla="*/ 4595 h 10000"/>
                  <a:gd name="connsiteX180" fmla="*/ 8617 w 10000"/>
                  <a:gd name="connsiteY180" fmla="*/ 4865 h 10000"/>
                  <a:gd name="connsiteX181" fmla="*/ 8596 w 10000"/>
                  <a:gd name="connsiteY181" fmla="*/ 4906 h 10000"/>
                  <a:gd name="connsiteX182" fmla="*/ 8532 w 10000"/>
                  <a:gd name="connsiteY182" fmla="*/ 4906 h 10000"/>
                  <a:gd name="connsiteX183" fmla="*/ 8489 w 10000"/>
                  <a:gd name="connsiteY183" fmla="*/ 4969 h 10000"/>
                  <a:gd name="connsiteX184" fmla="*/ 8553 w 10000"/>
                  <a:gd name="connsiteY184" fmla="*/ 5135 h 10000"/>
                  <a:gd name="connsiteX185" fmla="*/ 8553 w 10000"/>
                  <a:gd name="connsiteY185" fmla="*/ 5177 h 10000"/>
                  <a:gd name="connsiteX186" fmla="*/ 8362 w 10000"/>
                  <a:gd name="connsiteY186" fmla="*/ 5260 h 10000"/>
                  <a:gd name="connsiteX187" fmla="*/ 8362 w 10000"/>
                  <a:gd name="connsiteY187" fmla="*/ 5260 h 10000"/>
                  <a:gd name="connsiteX188" fmla="*/ 8362 w 10000"/>
                  <a:gd name="connsiteY188" fmla="*/ 5260 h 10000"/>
                  <a:gd name="connsiteX189" fmla="*/ 8340 w 10000"/>
                  <a:gd name="connsiteY189" fmla="*/ 5239 h 10000"/>
                  <a:gd name="connsiteX190" fmla="*/ 8191 w 10000"/>
                  <a:gd name="connsiteY190" fmla="*/ 4636 h 10000"/>
                  <a:gd name="connsiteX191" fmla="*/ 8043 w 10000"/>
                  <a:gd name="connsiteY191" fmla="*/ 4844 h 10000"/>
                  <a:gd name="connsiteX192" fmla="*/ 8043 w 10000"/>
                  <a:gd name="connsiteY192" fmla="*/ 4844 h 10000"/>
                  <a:gd name="connsiteX193" fmla="*/ 8043 w 10000"/>
                  <a:gd name="connsiteY193" fmla="*/ 4844 h 10000"/>
                  <a:gd name="connsiteX194" fmla="*/ 8000 w 10000"/>
                  <a:gd name="connsiteY194" fmla="*/ 4844 h 10000"/>
                  <a:gd name="connsiteX195" fmla="*/ 7872 w 10000"/>
                  <a:gd name="connsiteY195" fmla="*/ 4761 h 10000"/>
                  <a:gd name="connsiteX196" fmla="*/ 7787 w 10000"/>
                  <a:gd name="connsiteY196" fmla="*/ 4511 h 10000"/>
                  <a:gd name="connsiteX197" fmla="*/ 7809 w 10000"/>
                  <a:gd name="connsiteY197" fmla="*/ 4511 h 10000"/>
                  <a:gd name="connsiteX198" fmla="*/ 8191 w 10000"/>
                  <a:gd name="connsiteY198" fmla="*/ 4096 h 10000"/>
                  <a:gd name="connsiteX199" fmla="*/ 7468 w 10000"/>
                  <a:gd name="connsiteY199" fmla="*/ 4033 h 10000"/>
                  <a:gd name="connsiteX200" fmla="*/ 7362 w 10000"/>
                  <a:gd name="connsiteY200" fmla="*/ 3950 h 10000"/>
                  <a:gd name="connsiteX201" fmla="*/ 7298 w 10000"/>
                  <a:gd name="connsiteY201" fmla="*/ 3721 h 10000"/>
                  <a:gd name="connsiteX202" fmla="*/ 7298 w 10000"/>
                  <a:gd name="connsiteY202" fmla="*/ 3763 h 10000"/>
                  <a:gd name="connsiteX203" fmla="*/ 7255 w 10000"/>
                  <a:gd name="connsiteY203" fmla="*/ 3763 h 10000"/>
                  <a:gd name="connsiteX204" fmla="*/ 7170 w 10000"/>
                  <a:gd name="connsiteY204" fmla="*/ 3763 h 10000"/>
                  <a:gd name="connsiteX205" fmla="*/ 7170 w 10000"/>
                  <a:gd name="connsiteY205" fmla="*/ 3763 h 10000"/>
                  <a:gd name="connsiteX206" fmla="*/ 7106 w 10000"/>
                  <a:gd name="connsiteY206" fmla="*/ 3638 h 10000"/>
                  <a:gd name="connsiteX207" fmla="*/ 7043 w 10000"/>
                  <a:gd name="connsiteY207" fmla="*/ 3721 h 10000"/>
                  <a:gd name="connsiteX208" fmla="*/ 7043 w 10000"/>
                  <a:gd name="connsiteY208" fmla="*/ 3721 h 10000"/>
                  <a:gd name="connsiteX209" fmla="*/ 7043 w 10000"/>
                  <a:gd name="connsiteY209" fmla="*/ 3721 h 10000"/>
                  <a:gd name="connsiteX210" fmla="*/ 7021 w 10000"/>
                  <a:gd name="connsiteY210" fmla="*/ 3721 h 10000"/>
                  <a:gd name="connsiteX211" fmla="*/ 6957 w 10000"/>
                  <a:gd name="connsiteY211" fmla="*/ 3617 h 10000"/>
                  <a:gd name="connsiteX212" fmla="*/ 6830 w 10000"/>
                  <a:gd name="connsiteY212" fmla="*/ 3825 h 10000"/>
                  <a:gd name="connsiteX213" fmla="*/ 6872 w 10000"/>
                  <a:gd name="connsiteY213" fmla="*/ 3888 h 10000"/>
                  <a:gd name="connsiteX214" fmla="*/ 6979 w 10000"/>
                  <a:gd name="connsiteY214" fmla="*/ 3909 h 10000"/>
                  <a:gd name="connsiteX215" fmla="*/ 7021 w 10000"/>
                  <a:gd name="connsiteY215" fmla="*/ 3909 h 10000"/>
                  <a:gd name="connsiteX216" fmla="*/ 7021 w 10000"/>
                  <a:gd name="connsiteY216" fmla="*/ 4033 h 10000"/>
                  <a:gd name="connsiteX217" fmla="*/ 7021 w 10000"/>
                  <a:gd name="connsiteY217" fmla="*/ 4054 h 10000"/>
                  <a:gd name="connsiteX218" fmla="*/ 7021 w 10000"/>
                  <a:gd name="connsiteY218" fmla="*/ 4054 h 10000"/>
                  <a:gd name="connsiteX219" fmla="*/ 6894 w 10000"/>
                  <a:gd name="connsiteY219" fmla="*/ 4054 h 10000"/>
                  <a:gd name="connsiteX220" fmla="*/ 6766 w 10000"/>
                  <a:gd name="connsiteY220" fmla="*/ 4220 h 10000"/>
                  <a:gd name="connsiteX221" fmla="*/ 6979 w 10000"/>
                  <a:gd name="connsiteY221" fmla="*/ 4366 h 10000"/>
                  <a:gd name="connsiteX222" fmla="*/ 6979 w 10000"/>
                  <a:gd name="connsiteY222" fmla="*/ 4387 h 10000"/>
                  <a:gd name="connsiteX223" fmla="*/ 6957 w 10000"/>
                  <a:gd name="connsiteY223" fmla="*/ 4595 h 10000"/>
                  <a:gd name="connsiteX224" fmla="*/ 7106 w 10000"/>
                  <a:gd name="connsiteY224" fmla="*/ 5322 h 10000"/>
                  <a:gd name="connsiteX225" fmla="*/ 7106 w 10000"/>
                  <a:gd name="connsiteY225" fmla="*/ 5364 h 10000"/>
                  <a:gd name="connsiteX226" fmla="*/ 7043 w 10000"/>
                  <a:gd name="connsiteY226" fmla="*/ 5385 h 10000"/>
                  <a:gd name="connsiteX227" fmla="*/ 7043 w 10000"/>
                  <a:gd name="connsiteY227" fmla="*/ 5385 h 10000"/>
                  <a:gd name="connsiteX228" fmla="*/ 7021 w 10000"/>
                  <a:gd name="connsiteY228" fmla="*/ 5364 h 10000"/>
                  <a:gd name="connsiteX229" fmla="*/ 7021 w 10000"/>
                  <a:gd name="connsiteY229" fmla="*/ 5364 h 10000"/>
                  <a:gd name="connsiteX230" fmla="*/ 7021 w 10000"/>
                  <a:gd name="connsiteY230" fmla="*/ 5364 h 10000"/>
                  <a:gd name="connsiteX231" fmla="*/ 6894 w 10000"/>
                  <a:gd name="connsiteY231" fmla="*/ 5426 h 10000"/>
                  <a:gd name="connsiteX232" fmla="*/ 6872 w 10000"/>
                  <a:gd name="connsiteY232" fmla="*/ 5426 h 10000"/>
                  <a:gd name="connsiteX233" fmla="*/ 6872 w 10000"/>
                  <a:gd name="connsiteY233" fmla="*/ 5426 h 10000"/>
                  <a:gd name="connsiteX234" fmla="*/ 6872 w 10000"/>
                  <a:gd name="connsiteY234" fmla="*/ 5385 h 10000"/>
                  <a:gd name="connsiteX235" fmla="*/ 6809 w 10000"/>
                  <a:gd name="connsiteY235" fmla="*/ 5198 h 10000"/>
                  <a:gd name="connsiteX236" fmla="*/ 6766 w 10000"/>
                  <a:gd name="connsiteY236" fmla="*/ 5301 h 10000"/>
                  <a:gd name="connsiteX237" fmla="*/ 6468 w 10000"/>
                  <a:gd name="connsiteY237" fmla="*/ 5447 h 10000"/>
                  <a:gd name="connsiteX238" fmla="*/ 6468 w 10000"/>
                  <a:gd name="connsiteY238" fmla="*/ 5696 h 10000"/>
                  <a:gd name="connsiteX239" fmla="*/ 6468 w 10000"/>
                  <a:gd name="connsiteY239" fmla="*/ 5696 h 10000"/>
                  <a:gd name="connsiteX240" fmla="*/ 6213 w 10000"/>
                  <a:gd name="connsiteY240" fmla="*/ 5925 h 10000"/>
                  <a:gd name="connsiteX241" fmla="*/ 5745 w 10000"/>
                  <a:gd name="connsiteY241" fmla="*/ 6175 h 10000"/>
                  <a:gd name="connsiteX242" fmla="*/ 5511 w 10000"/>
                  <a:gd name="connsiteY242" fmla="*/ 6507 h 10000"/>
                  <a:gd name="connsiteX243" fmla="*/ 4894 w 10000"/>
                  <a:gd name="connsiteY243" fmla="*/ 6985 h 10000"/>
                  <a:gd name="connsiteX244" fmla="*/ 4787 w 10000"/>
                  <a:gd name="connsiteY244" fmla="*/ 7131 h 10000"/>
                  <a:gd name="connsiteX245" fmla="*/ 4787 w 10000"/>
                  <a:gd name="connsiteY245" fmla="*/ 7131 h 10000"/>
                  <a:gd name="connsiteX246" fmla="*/ 4489 w 10000"/>
                  <a:gd name="connsiteY246" fmla="*/ 7214 h 10000"/>
                  <a:gd name="connsiteX247" fmla="*/ 4362 w 10000"/>
                  <a:gd name="connsiteY247" fmla="*/ 7401 h 10000"/>
                  <a:gd name="connsiteX248" fmla="*/ 4362 w 10000"/>
                  <a:gd name="connsiteY248" fmla="*/ 7443 h 10000"/>
                  <a:gd name="connsiteX249" fmla="*/ 4191 w 10000"/>
                  <a:gd name="connsiteY249" fmla="*/ 7443 h 10000"/>
                  <a:gd name="connsiteX250" fmla="*/ 4085 w 10000"/>
                  <a:gd name="connsiteY250" fmla="*/ 7547 h 10000"/>
                  <a:gd name="connsiteX251" fmla="*/ 4128 w 10000"/>
                  <a:gd name="connsiteY251" fmla="*/ 8129 h 10000"/>
                  <a:gd name="connsiteX252" fmla="*/ 4191 w 10000"/>
                  <a:gd name="connsiteY252" fmla="*/ 8254 h 10000"/>
                  <a:gd name="connsiteX253" fmla="*/ 4191 w 10000"/>
                  <a:gd name="connsiteY253" fmla="*/ 8274 h 10000"/>
                  <a:gd name="connsiteX254" fmla="*/ 4021 w 10000"/>
                  <a:gd name="connsiteY254" fmla="*/ 8794 h 10000"/>
                  <a:gd name="connsiteX255" fmla="*/ 4021 w 10000"/>
                  <a:gd name="connsiteY255" fmla="*/ 9210 h 10000"/>
                  <a:gd name="connsiteX256" fmla="*/ 4021 w 10000"/>
                  <a:gd name="connsiteY256" fmla="*/ 9231 h 10000"/>
                  <a:gd name="connsiteX257" fmla="*/ 4021 w 10000"/>
                  <a:gd name="connsiteY257" fmla="*/ 9231 h 10000"/>
                  <a:gd name="connsiteX258" fmla="*/ 3851 w 10000"/>
                  <a:gd name="connsiteY258" fmla="*/ 9231 h 10000"/>
                  <a:gd name="connsiteX259" fmla="*/ 3745 w 10000"/>
                  <a:gd name="connsiteY259" fmla="*/ 9480 h 10000"/>
                  <a:gd name="connsiteX260" fmla="*/ 3745 w 10000"/>
                  <a:gd name="connsiteY260" fmla="*/ 9563 h 10000"/>
                  <a:gd name="connsiteX261" fmla="*/ 3723 w 10000"/>
                  <a:gd name="connsiteY261" fmla="*/ 9563 h 10000"/>
                  <a:gd name="connsiteX262" fmla="*/ 3468 w 10000"/>
                  <a:gd name="connsiteY262" fmla="*/ 9667 h 10000"/>
                  <a:gd name="connsiteX263" fmla="*/ 3447 w 10000"/>
                  <a:gd name="connsiteY263" fmla="*/ 9834 h 10000"/>
                  <a:gd name="connsiteX264" fmla="*/ 3298 w 10000"/>
                  <a:gd name="connsiteY264" fmla="*/ 10000 h 10000"/>
                  <a:gd name="connsiteX265" fmla="*/ 3255 w 10000"/>
                  <a:gd name="connsiteY265" fmla="*/ 10000 h 10000"/>
                  <a:gd name="connsiteX266" fmla="*/ 3170 w 10000"/>
                  <a:gd name="connsiteY266" fmla="*/ 10000 h 10000"/>
                  <a:gd name="connsiteX0" fmla="*/ 3170 w 10000"/>
                  <a:gd name="connsiteY0" fmla="*/ 10000 h 10000"/>
                  <a:gd name="connsiteX1" fmla="*/ 3170 w 10000"/>
                  <a:gd name="connsiteY1" fmla="*/ 9958 h 10000"/>
                  <a:gd name="connsiteX2" fmla="*/ 2915 w 10000"/>
                  <a:gd name="connsiteY2" fmla="*/ 9688 h 10000"/>
                  <a:gd name="connsiteX3" fmla="*/ 2617 w 10000"/>
                  <a:gd name="connsiteY3" fmla="*/ 8857 h 10000"/>
                  <a:gd name="connsiteX4" fmla="*/ 2404 w 10000"/>
                  <a:gd name="connsiteY4" fmla="*/ 8586 h 10000"/>
                  <a:gd name="connsiteX5" fmla="*/ 2277 w 10000"/>
                  <a:gd name="connsiteY5" fmla="*/ 8129 h 10000"/>
                  <a:gd name="connsiteX6" fmla="*/ 2021 w 10000"/>
                  <a:gd name="connsiteY6" fmla="*/ 7672 h 10000"/>
                  <a:gd name="connsiteX7" fmla="*/ 2000 w 10000"/>
                  <a:gd name="connsiteY7" fmla="*/ 7484 h 10000"/>
                  <a:gd name="connsiteX8" fmla="*/ 1957 w 10000"/>
                  <a:gd name="connsiteY8" fmla="*/ 7484 h 10000"/>
                  <a:gd name="connsiteX9" fmla="*/ 1936 w 10000"/>
                  <a:gd name="connsiteY9" fmla="*/ 7526 h 10000"/>
                  <a:gd name="connsiteX10" fmla="*/ 1936 w 10000"/>
                  <a:gd name="connsiteY10" fmla="*/ 7526 h 10000"/>
                  <a:gd name="connsiteX11" fmla="*/ 1936 w 10000"/>
                  <a:gd name="connsiteY11" fmla="*/ 7484 h 10000"/>
                  <a:gd name="connsiteX12" fmla="*/ 1872 w 10000"/>
                  <a:gd name="connsiteY12" fmla="*/ 7380 h 10000"/>
                  <a:gd name="connsiteX13" fmla="*/ 1745 w 10000"/>
                  <a:gd name="connsiteY13" fmla="*/ 7131 h 10000"/>
                  <a:gd name="connsiteX14" fmla="*/ 1596 w 10000"/>
                  <a:gd name="connsiteY14" fmla="*/ 6466 h 10000"/>
                  <a:gd name="connsiteX15" fmla="*/ 1617 w 10000"/>
                  <a:gd name="connsiteY15" fmla="*/ 6258 h 10000"/>
                  <a:gd name="connsiteX16" fmla="*/ 1596 w 10000"/>
                  <a:gd name="connsiteY16" fmla="*/ 6258 h 10000"/>
                  <a:gd name="connsiteX17" fmla="*/ 1596 w 10000"/>
                  <a:gd name="connsiteY17" fmla="*/ 6258 h 10000"/>
                  <a:gd name="connsiteX18" fmla="*/ 1532 w 10000"/>
                  <a:gd name="connsiteY18" fmla="*/ 6008 h 10000"/>
                  <a:gd name="connsiteX19" fmla="*/ 1596 w 10000"/>
                  <a:gd name="connsiteY19" fmla="*/ 5738 h 10000"/>
                  <a:gd name="connsiteX20" fmla="*/ 1468 w 10000"/>
                  <a:gd name="connsiteY20" fmla="*/ 5239 h 10000"/>
                  <a:gd name="connsiteX21" fmla="*/ 1468 w 10000"/>
                  <a:gd name="connsiteY21" fmla="*/ 5239 h 10000"/>
                  <a:gd name="connsiteX22" fmla="*/ 1596 w 10000"/>
                  <a:gd name="connsiteY22" fmla="*/ 5114 h 10000"/>
                  <a:gd name="connsiteX23" fmla="*/ 1447 w 10000"/>
                  <a:gd name="connsiteY23" fmla="*/ 5094 h 10000"/>
                  <a:gd name="connsiteX24" fmla="*/ 1319 w 10000"/>
                  <a:gd name="connsiteY24" fmla="*/ 5509 h 10000"/>
                  <a:gd name="connsiteX25" fmla="*/ 1319 w 10000"/>
                  <a:gd name="connsiteY25" fmla="*/ 5530 h 10000"/>
                  <a:gd name="connsiteX26" fmla="*/ 1064 w 10000"/>
                  <a:gd name="connsiteY26" fmla="*/ 5634 h 10000"/>
                  <a:gd name="connsiteX27" fmla="*/ 830 w 10000"/>
                  <a:gd name="connsiteY27" fmla="*/ 5634 h 10000"/>
                  <a:gd name="connsiteX28" fmla="*/ 787 w 10000"/>
                  <a:gd name="connsiteY28" fmla="*/ 5634 h 10000"/>
                  <a:gd name="connsiteX29" fmla="*/ 298 w 10000"/>
                  <a:gd name="connsiteY29" fmla="*/ 5177 h 10000"/>
                  <a:gd name="connsiteX30" fmla="*/ 298 w 10000"/>
                  <a:gd name="connsiteY30" fmla="*/ 5094 h 10000"/>
                  <a:gd name="connsiteX31" fmla="*/ 298 w 10000"/>
                  <a:gd name="connsiteY31" fmla="*/ 5094 h 10000"/>
                  <a:gd name="connsiteX32" fmla="*/ 298 w 10000"/>
                  <a:gd name="connsiteY32" fmla="*/ 5052 h 10000"/>
                  <a:gd name="connsiteX33" fmla="*/ 638 w 10000"/>
                  <a:gd name="connsiteY33" fmla="*/ 5031 h 10000"/>
                  <a:gd name="connsiteX34" fmla="*/ 723 w 10000"/>
                  <a:gd name="connsiteY34" fmla="*/ 4927 h 10000"/>
                  <a:gd name="connsiteX35" fmla="*/ 766 w 10000"/>
                  <a:gd name="connsiteY35" fmla="*/ 4823 h 10000"/>
                  <a:gd name="connsiteX36" fmla="*/ 574 w 10000"/>
                  <a:gd name="connsiteY36" fmla="*/ 4906 h 10000"/>
                  <a:gd name="connsiteX37" fmla="*/ 298 w 10000"/>
                  <a:gd name="connsiteY37" fmla="*/ 4906 h 10000"/>
                  <a:gd name="connsiteX38" fmla="*/ 298 w 10000"/>
                  <a:gd name="connsiteY38" fmla="*/ 4906 h 10000"/>
                  <a:gd name="connsiteX39" fmla="*/ 0 w 10000"/>
                  <a:gd name="connsiteY39" fmla="*/ 4574 h 10000"/>
                  <a:gd name="connsiteX40" fmla="*/ 0 w 10000"/>
                  <a:gd name="connsiteY40" fmla="*/ 4574 h 10000"/>
                  <a:gd name="connsiteX41" fmla="*/ 0 w 10000"/>
                  <a:gd name="connsiteY41" fmla="*/ 4553 h 10000"/>
                  <a:gd name="connsiteX42" fmla="*/ 85 w 10000"/>
                  <a:gd name="connsiteY42" fmla="*/ 4491 h 10000"/>
                  <a:gd name="connsiteX43" fmla="*/ 277 w 10000"/>
                  <a:gd name="connsiteY43" fmla="*/ 4491 h 10000"/>
                  <a:gd name="connsiteX44" fmla="*/ 277 w 10000"/>
                  <a:gd name="connsiteY44" fmla="*/ 4324 h 10000"/>
                  <a:gd name="connsiteX45" fmla="*/ 277 w 10000"/>
                  <a:gd name="connsiteY45" fmla="*/ 4324 h 10000"/>
                  <a:gd name="connsiteX46" fmla="*/ 298 w 10000"/>
                  <a:gd name="connsiteY46" fmla="*/ 4324 h 10000"/>
                  <a:gd name="connsiteX47" fmla="*/ 298 w 10000"/>
                  <a:gd name="connsiteY47" fmla="*/ 4324 h 10000"/>
                  <a:gd name="connsiteX48" fmla="*/ 702 w 10000"/>
                  <a:gd name="connsiteY48" fmla="*/ 4428 h 10000"/>
                  <a:gd name="connsiteX49" fmla="*/ 830 w 10000"/>
                  <a:gd name="connsiteY49" fmla="*/ 4304 h 10000"/>
                  <a:gd name="connsiteX50" fmla="*/ 851 w 10000"/>
                  <a:gd name="connsiteY50" fmla="*/ 4304 h 10000"/>
                  <a:gd name="connsiteX51" fmla="*/ 851 w 10000"/>
                  <a:gd name="connsiteY51" fmla="*/ 4304 h 10000"/>
                  <a:gd name="connsiteX52" fmla="*/ 936 w 10000"/>
                  <a:gd name="connsiteY52" fmla="*/ 4387 h 10000"/>
                  <a:gd name="connsiteX53" fmla="*/ 1043 w 10000"/>
                  <a:gd name="connsiteY53" fmla="*/ 4324 h 10000"/>
                  <a:gd name="connsiteX54" fmla="*/ 894 w 10000"/>
                  <a:gd name="connsiteY54" fmla="*/ 3909 h 10000"/>
                  <a:gd name="connsiteX55" fmla="*/ 702 w 10000"/>
                  <a:gd name="connsiteY55" fmla="*/ 3825 h 10000"/>
                  <a:gd name="connsiteX56" fmla="*/ 702 w 10000"/>
                  <a:gd name="connsiteY56" fmla="*/ 3784 h 10000"/>
                  <a:gd name="connsiteX57" fmla="*/ 723 w 10000"/>
                  <a:gd name="connsiteY57" fmla="*/ 3617 h 10000"/>
                  <a:gd name="connsiteX58" fmla="*/ 511 w 10000"/>
                  <a:gd name="connsiteY58" fmla="*/ 3555 h 10000"/>
                  <a:gd name="connsiteX59" fmla="*/ 511 w 10000"/>
                  <a:gd name="connsiteY59" fmla="*/ 3555 h 10000"/>
                  <a:gd name="connsiteX60" fmla="*/ 489 w 10000"/>
                  <a:gd name="connsiteY60" fmla="*/ 3514 h 10000"/>
                  <a:gd name="connsiteX61" fmla="*/ 553 w 10000"/>
                  <a:gd name="connsiteY61" fmla="*/ 3368 h 10000"/>
                  <a:gd name="connsiteX62" fmla="*/ 830 w 10000"/>
                  <a:gd name="connsiteY62" fmla="*/ 2973 h 10000"/>
                  <a:gd name="connsiteX63" fmla="*/ 851 w 10000"/>
                  <a:gd name="connsiteY63" fmla="*/ 2973 h 10000"/>
                  <a:gd name="connsiteX64" fmla="*/ 851 w 10000"/>
                  <a:gd name="connsiteY64" fmla="*/ 2973 h 10000"/>
                  <a:gd name="connsiteX65" fmla="*/ 851 w 10000"/>
                  <a:gd name="connsiteY65" fmla="*/ 2973 h 10000"/>
                  <a:gd name="connsiteX66" fmla="*/ 979 w 10000"/>
                  <a:gd name="connsiteY66" fmla="*/ 3098 h 10000"/>
                  <a:gd name="connsiteX67" fmla="*/ 1277 w 10000"/>
                  <a:gd name="connsiteY67" fmla="*/ 3035 h 10000"/>
                  <a:gd name="connsiteX68" fmla="*/ 1468 w 10000"/>
                  <a:gd name="connsiteY68" fmla="*/ 2765 h 10000"/>
                  <a:gd name="connsiteX69" fmla="*/ 1660 w 10000"/>
                  <a:gd name="connsiteY69" fmla="*/ 2620 h 10000"/>
                  <a:gd name="connsiteX70" fmla="*/ 1830 w 10000"/>
                  <a:gd name="connsiteY70" fmla="*/ 2287 h 10000"/>
                  <a:gd name="connsiteX71" fmla="*/ 1957 w 10000"/>
                  <a:gd name="connsiteY71" fmla="*/ 2245 h 10000"/>
                  <a:gd name="connsiteX72" fmla="*/ 2000 w 10000"/>
                  <a:gd name="connsiteY72" fmla="*/ 2204 h 10000"/>
                  <a:gd name="connsiteX73" fmla="*/ 2170 w 10000"/>
                  <a:gd name="connsiteY73" fmla="*/ 2079 h 10000"/>
                  <a:gd name="connsiteX74" fmla="*/ 2404 w 10000"/>
                  <a:gd name="connsiteY74" fmla="*/ 1975 h 10000"/>
                  <a:gd name="connsiteX75" fmla="*/ 2511 w 10000"/>
                  <a:gd name="connsiteY75" fmla="*/ 1954 h 10000"/>
                  <a:gd name="connsiteX76" fmla="*/ 2511 w 10000"/>
                  <a:gd name="connsiteY76" fmla="*/ 1892 h 10000"/>
                  <a:gd name="connsiteX77" fmla="*/ 2574 w 10000"/>
                  <a:gd name="connsiteY77" fmla="*/ 1892 h 10000"/>
                  <a:gd name="connsiteX78" fmla="*/ 2638 w 10000"/>
                  <a:gd name="connsiteY78" fmla="*/ 1809 h 10000"/>
                  <a:gd name="connsiteX79" fmla="*/ 2681 w 10000"/>
                  <a:gd name="connsiteY79" fmla="*/ 1559 h 10000"/>
                  <a:gd name="connsiteX80" fmla="*/ 2702 w 10000"/>
                  <a:gd name="connsiteY80" fmla="*/ 1372 h 10000"/>
                  <a:gd name="connsiteX81" fmla="*/ 2574 w 10000"/>
                  <a:gd name="connsiteY81" fmla="*/ 1435 h 10000"/>
                  <a:gd name="connsiteX82" fmla="*/ 2489 w 10000"/>
                  <a:gd name="connsiteY82" fmla="*/ 1414 h 10000"/>
                  <a:gd name="connsiteX83" fmla="*/ 2447 w 10000"/>
                  <a:gd name="connsiteY83" fmla="*/ 1331 h 10000"/>
                  <a:gd name="connsiteX84" fmla="*/ 2447 w 10000"/>
                  <a:gd name="connsiteY84" fmla="*/ 1331 h 10000"/>
                  <a:gd name="connsiteX85" fmla="*/ 2426 w 10000"/>
                  <a:gd name="connsiteY85" fmla="*/ 1268 h 10000"/>
                  <a:gd name="connsiteX86" fmla="*/ 2404 w 10000"/>
                  <a:gd name="connsiteY86" fmla="*/ 1206 h 10000"/>
                  <a:gd name="connsiteX87" fmla="*/ 2426 w 10000"/>
                  <a:gd name="connsiteY87" fmla="*/ 1102 h 10000"/>
                  <a:gd name="connsiteX88" fmla="*/ 2511 w 10000"/>
                  <a:gd name="connsiteY88" fmla="*/ 1019 h 10000"/>
                  <a:gd name="connsiteX89" fmla="*/ 2617 w 10000"/>
                  <a:gd name="connsiteY89" fmla="*/ 936 h 10000"/>
                  <a:gd name="connsiteX90" fmla="*/ 2553 w 10000"/>
                  <a:gd name="connsiteY90" fmla="*/ 811 h 10000"/>
                  <a:gd name="connsiteX91" fmla="*/ 2426 w 10000"/>
                  <a:gd name="connsiteY91" fmla="*/ 811 h 10000"/>
                  <a:gd name="connsiteX92" fmla="*/ 2426 w 10000"/>
                  <a:gd name="connsiteY92" fmla="*/ 686 h 10000"/>
                  <a:gd name="connsiteX93" fmla="*/ 2298 w 10000"/>
                  <a:gd name="connsiteY93" fmla="*/ 561 h 10000"/>
                  <a:gd name="connsiteX94" fmla="*/ 2234 w 10000"/>
                  <a:gd name="connsiteY94" fmla="*/ 457 h 10000"/>
                  <a:gd name="connsiteX95" fmla="*/ 2149 w 10000"/>
                  <a:gd name="connsiteY95" fmla="*/ 270 h 10000"/>
                  <a:gd name="connsiteX96" fmla="*/ 2149 w 10000"/>
                  <a:gd name="connsiteY96" fmla="*/ 166 h 10000"/>
                  <a:gd name="connsiteX97" fmla="*/ 2277 w 10000"/>
                  <a:gd name="connsiteY97" fmla="*/ 83 h 10000"/>
                  <a:gd name="connsiteX98" fmla="*/ 2553 w 10000"/>
                  <a:gd name="connsiteY98" fmla="*/ 0 h 10000"/>
                  <a:gd name="connsiteX99" fmla="*/ 2787 w 10000"/>
                  <a:gd name="connsiteY99" fmla="*/ 62 h 10000"/>
                  <a:gd name="connsiteX100" fmla="*/ 2894 w 10000"/>
                  <a:gd name="connsiteY100" fmla="*/ 146 h 10000"/>
                  <a:gd name="connsiteX101" fmla="*/ 3043 w 10000"/>
                  <a:gd name="connsiteY101" fmla="*/ 166 h 10000"/>
                  <a:gd name="connsiteX102" fmla="*/ 3574 w 10000"/>
                  <a:gd name="connsiteY102" fmla="*/ 499 h 10000"/>
                  <a:gd name="connsiteX103" fmla="*/ 3745 w 10000"/>
                  <a:gd name="connsiteY103" fmla="*/ 457 h 10000"/>
                  <a:gd name="connsiteX104" fmla="*/ 3936 w 10000"/>
                  <a:gd name="connsiteY104" fmla="*/ 395 h 10000"/>
                  <a:gd name="connsiteX105" fmla="*/ 4128 w 10000"/>
                  <a:gd name="connsiteY105" fmla="*/ 353 h 10000"/>
                  <a:gd name="connsiteX106" fmla="*/ 4128 w 10000"/>
                  <a:gd name="connsiteY106" fmla="*/ 353 h 10000"/>
                  <a:gd name="connsiteX107" fmla="*/ 4128 w 10000"/>
                  <a:gd name="connsiteY107" fmla="*/ 416 h 10000"/>
                  <a:gd name="connsiteX108" fmla="*/ 4191 w 10000"/>
                  <a:gd name="connsiteY108" fmla="*/ 686 h 10000"/>
                  <a:gd name="connsiteX109" fmla="*/ 4128 w 10000"/>
                  <a:gd name="connsiteY109" fmla="*/ 1019 h 10000"/>
                  <a:gd name="connsiteX110" fmla="*/ 3957 w 10000"/>
                  <a:gd name="connsiteY110" fmla="*/ 1206 h 10000"/>
                  <a:gd name="connsiteX111" fmla="*/ 3957 w 10000"/>
                  <a:gd name="connsiteY111" fmla="*/ 1227 h 10000"/>
                  <a:gd name="connsiteX112" fmla="*/ 3745 w 10000"/>
                  <a:gd name="connsiteY112" fmla="*/ 1372 h 10000"/>
                  <a:gd name="connsiteX113" fmla="*/ 3745 w 10000"/>
                  <a:gd name="connsiteY113" fmla="*/ 1372 h 10000"/>
                  <a:gd name="connsiteX114" fmla="*/ 3723 w 10000"/>
                  <a:gd name="connsiteY114" fmla="*/ 1372 h 10000"/>
                  <a:gd name="connsiteX115" fmla="*/ 3723 w 10000"/>
                  <a:gd name="connsiteY115" fmla="*/ 1372 h 10000"/>
                  <a:gd name="connsiteX116" fmla="*/ 3936 w 10000"/>
                  <a:gd name="connsiteY116" fmla="*/ 1684 h 10000"/>
                  <a:gd name="connsiteX117" fmla="*/ 3745 w 10000"/>
                  <a:gd name="connsiteY117" fmla="*/ 1871 h 10000"/>
                  <a:gd name="connsiteX118" fmla="*/ 3894 w 10000"/>
                  <a:gd name="connsiteY118" fmla="*/ 1871 h 10000"/>
                  <a:gd name="connsiteX119" fmla="*/ 4468 w 10000"/>
                  <a:gd name="connsiteY119" fmla="*/ 2162 h 10000"/>
                  <a:gd name="connsiteX120" fmla="*/ 4468 w 10000"/>
                  <a:gd name="connsiteY120" fmla="*/ 2204 h 10000"/>
                  <a:gd name="connsiteX121" fmla="*/ 4468 w 10000"/>
                  <a:gd name="connsiteY121" fmla="*/ 2204 h 10000"/>
                  <a:gd name="connsiteX122" fmla="*/ 4213 w 10000"/>
                  <a:gd name="connsiteY122" fmla="*/ 2370 h 10000"/>
                  <a:gd name="connsiteX123" fmla="*/ 4128 w 10000"/>
                  <a:gd name="connsiteY123" fmla="*/ 2703 h 10000"/>
                  <a:gd name="connsiteX124" fmla="*/ 5043 w 10000"/>
                  <a:gd name="connsiteY124" fmla="*/ 3243 h 10000"/>
                  <a:gd name="connsiteX125" fmla="*/ 5532 w 10000"/>
                  <a:gd name="connsiteY125" fmla="*/ 3243 h 10000"/>
                  <a:gd name="connsiteX126" fmla="*/ 5574 w 10000"/>
                  <a:gd name="connsiteY126" fmla="*/ 3243 h 10000"/>
                  <a:gd name="connsiteX127" fmla="*/ 5745 w 10000"/>
                  <a:gd name="connsiteY127" fmla="*/ 3451 h 10000"/>
                  <a:gd name="connsiteX128" fmla="*/ 6532 w 10000"/>
                  <a:gd name="connsiteY128" fmla="*/ 3617 h 10000"/>
                  <a:gd name="connsiteX129" fmla="*/ 6766 w 10000"/>
                  <a:gd name="connsiteY129" fmla="*/ 3576 h 10000"/>
                  <a:gd name="connsiteX130" fmla="*/ 6809 w 10000"/>
                  <a:gd name="connsiteY130" fmla="*/ 3493 h 10000"/>
                  <a:gd name="connsiteX131" fmla="*/ 6745 w 10000"/>
                  <a:gd name="connsiteY131" fmla="*/ 3430 h 10000"/>
                  <a:gd name="connsiteX132" fmla="*/ 6745 w 10000"/>
                  <a:gd name="connsiteY132" fmla="*/ 3389 h 10000"/>
                  <a:gd name="connsiteX133" fmla="*/ 6766 w 10000"/>
                  <a:gd name="connsiteY133" fmla="*/ 3347 h 10000"/>
                  <a:gd name="connsiteX134" fmla="*/ 6830 w 10000"/>
                  <a:gd name="connsiteY134" fmla="*/ 3077 h 10000"/>
                  <a:gd name="connsiteX135" fmla="*/ 6830 w 10000"/>
                  <a:gd name="connsiteY135" fmla="*/ 3035 h 10000"/>
                  <a:gd name="connsiteX136" fmla="*/ 7043 w 10000"/>
                  <a:gd name="connsiteY136" fmla="*/ 2973 h 10000"/>
                  <a:gd name="connsiteX137" fmla="*/ 7043 w 10000"/>
                  <a:gd name="connsiteY137" fmla="*/ 2973 h 10000"/>
                  <a:gd name="connsiteX138" fmla="*/ 7043 w 10000"/>
                  <a:gd name="connsiteY138" fmla="*/ 2973 h 10000"/>
                  <a:gd name="connsiteX139" fmla="*/ 7085 w 10000"/>
                  <a:gd name="connsiteY139" fmla="*/ 3015 h 10000"/>
                  <a:gd name="connsiteX140" fmla="*/ 7085 w 10000"/>
                  <a:gd name="connsiteY140" fmla="*/ 3222 h 10000"/>
                  <a:gd name="connsiteX141" fmla="*/ 7106 w 10000"/>
                  <a:gd name="connsiteY141" fmla="*/ 3243 h 10000"/>
                  <a:gd name="connsiteX142" fmla="*/ 7149 w 10000"/>
                  <a:gd name="connsiteY142" fmla="*/ 3285 h 10000"/>
                  <a:gd name="connsiteX143" fmla="*/ 7149 w 10000"/>
                  <a:gd name="connsiteY143" fmla="*/ 3285 h 10000"/>
                  <a:gd name="connsiteX144" fmla="*/ 7085 w 10000"/>
                  <a:gd name="connsiteY144" fmla="*/ 3347 h 10000"/>
                  <a:gd name="connsiteX145" fmla="*/ 7106 w 10000"/>
                  <a:gd name="connsiteY145" fmla="*/ 3430 h 10000"/>
                  <a:gd name="connsiteX146" fmla="*/ 7362 w 10000"/>
                  <a:gd name="connsiteY146" fmla="*/ 3493 h 10000"/>
                  <a:gd name="connsiteX147" fmla="*/ 8128 w 10000"/>
                  <a:gd name="connsiteY147" fmla="*/ 3389 h 10000"/>
                  <a:gd name="connsiteX148" fmla="*/ 8191 w 10000"/>
                  <a:gd name="connsiteY148" fmla="*/ 3285 h 10000"/>
                  <a:gd name="connsiteX149" fmla="*/ 8064 w 10000"/>
                  <a:gd name="connsiteY149" fmla="*/ 3222 h 10000"/>
                  <a:gd name="connsiteX150" fmla="*/ 8043 w 10000"/>
                  <a:gd name="connsiteY150" fmla="*/ 3181 h 10000"/>
                  <a:gd name="connsiteX151" fmla="*/ 8043 w 10000"/>
                  <a:gd name="connsiteY151" fmla="*/ 3098 h 10000"/>
                  <a:gd name="connsiteX152" fmla="*/ 8064 w 10000"/>
                  <a:gd name="connsiteY152" fmla="*/ 3077 h 10000"/>
                  <a:gd name="connsiteX153" fmla="*/ 8489 w 10000"/>
                  <a:gd name="connsiteY153" fmla="*/ 2911 h 10000"/>
                  <a:gd name="connsiteX154" fmla="*/ 9021 w 10000"/>
                  <a:gd name="connsiteY154" fmla="*/ 2516 h 10000"/>
                  <a:gd name="connsiteX155" fmla="*/ 9021 w 10000"/>
                  <a:gd name="connsiteY155" fmla="*/ 2516 h 10000"/>
                  <a:gd name="connsiteX156" fmla="*/ 9255 w 10000"/>
                  <a:gd name="connsiteY156" fmla="*/ 2557 h 10000"/>
                  <a:gd name="connsiteX157" fmla="*/ 9511 w 10000"/>
                  <a:gd name="connsiteY157" fmla="*/ 2432 h 10000"/>
                  <a:gd name="connsiteX158" fmla="*/ 9511 w 10000"/>
                  <a:gd name="connsiteY158" fmla="*/ 2432 h 10000"/>
                  <a:gd name="connsiteX159" fmla="*/ 9553 w 10000"/>
                  <a:gd name="connsiteY159" fmla="*/ 2432 h 10000"/>
                  <a:gd name="connsiteX160" fmla="*/ 9553 w 10000"/>
                  <a:gd name="connsiteY160" fmla="*/ 2474 h 10000"/>
                  <a:gd name="connsiteX161" fmla="*/ 9596 w 10000"/>
                  <a:gd name="connsiteY161" fmla="*/ 2620 h 10000"/>
                  <a:gd name="connsiteX162" fmla="*/ 9660 w 10000"/>
                  <a:gd name="connsiteY162" fmla="*/ 2640 h 10000"/>
                  <a:gd name="connsiteX163" fmla="*/ 9660 w 10000"/>
                  <a:gd name="connsiteY163" fmla="*/ 2682 h 10000"/>
                  <a:gd name="connsiteX164" fmla="*/ 9638 w 10000"/>
                  <a:gd name="connsiteY164" fmla="*/ 2827 h 10000"/>
                  <a:gd name="connsiteX165" fmla="*/ 9872 w 10000"/>
                  <a:gd name="connsiteY165" fmla="*/ 2848 h 10000"/>
                  <a:gd name="connsiteX166" fmla="*/ 9979 w 10000"/>
                  <a:gd name="connsiteY166" fmla="*/ 2952 h 10000"/>
                  <a:gd name="connsiteX167" fmla="*/ 10000 w 10000"/>
                  <a:gd name="connsiteY167" fmla="*/ 2973 h 10000"/>
                  <a:gd name="connsiteX168" fmla="*/ 10000 w 10000"/>
                  <a:gd name="connsiteY168" fmla="*/ 3035 h 10000"/>
                  <a:gd name="connsiteX169" fmla="*/ 9979 w 10000"/>
                  <a:gd name="connsiteY169" fmla="*/ 3077 h 10000"/>
                  <a:gd name="connsiteX170" fmla="*/ 9915 w 10000"/>
                  <a:gd name="connsiteY170" fmla="*/ 3098 h 10000"/>
                  <a:gd name="connsiteX171" fmla="*/ 9872 w 10000"/>
                  <a:gd name="connsiteY171" fmla="*/ 3306 h 10000"/>
                  <a:gd name="connsiteX172" fmla="*/ 9851 w 10000"/>
                  <a:gd name="connsiteY172" fmla="*/ 3347 h 10000"/>
                  <a:gd name="connsiteX173" fmla="*/ 9574 w 10000"/>
                  <a:gd name="connsiteY173" fmla="*/ 3347 h 10000"/>
                  <a:gd name="connsiteX174" fmla="*/ 9298 w 10000"/>
                  <a:gd name="connsiteY174" fmla="*/ 3617 h 10000"/>
                  <a:gd name="connsiteX175" fmla="*/ 9255 w 10000"/>
                  <a:gd name="connsiteY175" fmla="*/ 3846 h 10000"/>
                  <a:gd name="connsiteX176" fmla="*/ 9085 w 10000"/>
                  <a:gd name="connsiteY176" fmla="*/ 4054 h 10000"/>
                  <a:gd name="connsiteX177" fmla="*/ 8936 w 10000"/>
                  <a:gd name="connsiteY177" fmla="*/ 4511 h 10000"/>
                  <a:gd name="connsiteX178" fmla="*/ 8894 w 10000"/>
                  <a:gd name="connsiteY178" fmla="*/ 4511 h 10000"/>
                  <a:gd name="connsiteX179" fmla="*/ 8617 w 10000"/>
                  <a:gd name="connsiteY179" fmla="*/ 4595 h 10000"/>
                  <a:gd name="connsiteX180" fmla="*/ 8617 w 10000"/>
                  <a:gd name="connsiteY180" fmla="*/ 4865 h 10000"/>
                  <a:gd name="connsiteX181" fmla="*/ 8596 w 10000"/>
                  <a:gd name="connsiteY181" fmla="*/ 4906 h 10000"/>
                  <a:gd name="connsiteX182" fmla="*/ 8532 w 10000"/>
                  <a:gd name="connsiteY182" fmla="*/ 4906 h 10000"/>
                  <a:gd name="connsiteX183" fmla="*/ 8489 w 10000"/>
                  <a:gd name="connsiteY183" fmla="*/ 4969 h 10000"/>
                  <a:gd name="connsiteX184" fmla="*/ 8553 w 10000"/>
                  <a:gd name="connsiteY184" fmla="*/ 5135 h 10000"/>
                  <a:gd name="connsiteX185" fmla="*/ 8553 w 10000"/>
                  <a:gd name="connsiteY185" fmla="*/ 5177 h 10000"/>
                  <a:gd name="connsiteX186" fmla="*/ 8362 w 10000"/>
                  <a:gd name="connsiteY186" fmla="*/ 5260 h 10000"/>
                  <a:gd name="connsiteX187" fmla="*/ 8362 w 10000"/>
                  <a:gd name="connsiteY187" fmla="*/ 5260 h 10000"/>
                  <a:gd name="connsiteX188" fmla="*/ 8362 w 10000"/>
                  <a:gd name="connsiteY188" fmla="*/ 5260 h 10000"/>
                  <a:gd name="connsiteX189" fmla="*/ 8340 w 10000"/>
                  <a:gd name="connsiteY189" fmla="*/ 5239 h 10000"/>
                  <a:gd name="connsiteX190" fmla="*/ 8191 w 10000"/>
                  <a:gd name="connsiteY190" fmla="*/ 4636 h 10000"/>
                  <a:gd name="connsiteX191" fmla="*/ 8043 w 10000"/>
                  <a:gd name="connsiteY191" fmla="*/ 4844 h 10000"/>
                  <a:gd name="connsiteX192" fmla="*/ 8043 w 10000"/>
                  <a:gd name="connsiteY192" fmla="*/ 4844 h 10000"/>
                  <a:gd name="connsiteX193" fmla="*/ 8043 w 10000"/>
                  <a:gd name="connsiteY193" fmla="*/ 4844 h 10000"/>
                  <a:gd name="connsiteX194" fmla="*/ 8000 w 10000"/>
                  <a:gd name="connsiteY194" fmla="*/ 4844 h 10000"/>
                  <a:gd name="connsiteX195" fmla="*/ 7872 w 10000"/>
                  <a:gd name="connsiteY195" fmla="*/ 4761 h 10000"/>
                  <a:gd name="connsiteX196" fmla="*/ 7787 w 10000"/>
                  <a:gd name="connsiteY196" fmla="*/ 4511 h 10000"/>
                  <a:gd name="connsiteX197" fmla="*/ 7809 w 10000"/>
                  <a:gd name="connsiteY197" fmla="*/ 4511 h 10000"/>
                  <a:gd name="connsiteX198" fmla="*/ 8191 w 10000"/>
                  <a:gd name="connsiteY198" fmla="*/ 4096 h 10000"/>
                  <a:gd name="connsiteX199" fmla="*/ 7468 w 10000"/>
                  <a:gd name="connsiteY199" fmla="*/ 4033 h 10000"/>
                  <a:gd name="connsiteX200" fmla="*/ 7362 w 10000"/>
                  <a:gd name="connsiteY200" fmla="*/ 3950 h 10000"/>
                  <a:gd name="connsiteX201" fmla="*/ 7298 w 10000"/>
                  <a:gd name="connsiteY201" fmla="*/ 3721 h 10000"/>
                  <a:gd name="connsiteX202" fmla="*/ 7298 w 10000"/>
                  <a:gd name="connsiteY202" fmla="*/ 3763 h 10000"/>
                  <a:gd name="connsiteX203" fmla="*/ 7255 w 10000"/>
                  <a:gd name="connsiteY203" fmla="*/ 3763 h 10000"/>
                  <a:gd name="connsiteX204" fmla="*/ 7170 w 10000"/>
                  <a:gd name="connsiteY204" fmla="*/ 3763 h 10000"/>
                  <a:gd name="connsiteX205" fmla="*/ 7170 w 10000"/>
                  <a:gd name="connsiteY205" fmla="*/ 3763 h 10000"/>
                  <a:gd name="connsiteX206" fmla="*/ 7106 w 10000"/>
                  <a:gd name="connsiteY206" fmla="*/ 3638 h 10000"/>
                  <a:gd name="connsiteX207" fmla="*/ 7043 w 10000"/>
                  <a:gd name="connsiteY207" fmla="*/ 3721 h 10000"/>
                  <a:gd name="connsiteX208" fmla="*/ 7043 w 10000"/>
                  <a:gd name="connsiteY208" fmla="*/ 3721 h 10000"/>
                  <a:gd name="connsiteX209" fmla="*/ 7043 w 10000"/>
                  <a:gd name="connsiteY209" fmla="*/ 3721 h 10000"/>
                  <a:gd name="connsiteX210" fmla="*/ 7021 w 10000"/>
                  <a:gd name="connsiteY210" fmla="*/ 3721 h 10000"/>
                  <a:gd name="connsiteX211" fmla="*/ 6957 w 10000"/>
                  <a:gd name="connsiteY211" fmla="*/ 3617 h 10000"/>
                  <a:gd name="connsiteX212" fmla="*/ 6830 w 10000"/>
                  <a:gd name="connsiteY212" fmla="*/ 3825 h 10000"/>
                  <a:gd name="connsiteX213" fmla="*/ 6872 w 10000"/>
                  <a:gd name="connsiteY213" fmla="*/ 3888 h 10000"/>
                  <a:gd name="connsiteX214" fmla="*/ 6979 w 10000"/>
                  <a:gd name="connsiteY214" fmla="*/ 3909 h 10000"/>
                  <a:gd name="connsiteX215" fmla="*/ 7021 w 10000"/>
                  <a:gd name="connsiteY215" fmla="*/ 3909 h 10000"/>
                  <a:gd name="connsiteX216" fmla="*/ 7021 w 10000"/>
                  <a:gd name="connsiteY216" fmla="*/ 4033 h 10000"/>
                  <a:gd name="connsiteX217" fmla="*/ 7021 w 10000"/>
                  <a:gd name="connsiteY217" fmla="*/ 4054 h 10000"/>
                  <a:gd name="connsiteX218" fmla="*/ 7021 w 10000"/>
                  <a:gd name="connsiteY218" fmla="*/ 4054 h 10000"/>
                  <a:gd name="connsiteX219" fmla="*/ 6894 w 10000"/>
                  <a:gd name="connsiteY219" fmla="*/ 4054 h 10000"/>
                  <a:gd name="connsiteX220" fmla="*/ 6766 w 10000"/>
                  <a:gd name="connsiteY220" fmla="*/ 4220 h 10000"/>
                  <a:gd name="connsiteX221" fmla="*/ 6979 w 10000"/>
                  <a:gd name="connsiteY221" fmla="*/ 4366 h 10000"/>
                  <a:gd name="connsiteX222" fmla="*/ 6979 w 10000"/>
                  <a:gd name="connsiteY222" fmla="*/ 4387 h 10000"/>
                  <a:gd name="connsiteX223" fmla="*/ 6957 w 10000"/>
                  <a:gd name="connsiteY223" fmla="*/ 4595 h 10000"/>
                  <a:gd name="connsiteX224" fmla="*/ 7106 w 10000"/>
                  <a:gd name="connsiteY224" fmla="*/ 5322 h 10000"/>
                  <a:gd name="connsiteX225" fmla="*/ 7106 w 10000"/>
                  <a:gd name="connsiteY225" fmla="*/ 5364 h 10000"/>
                  <a:gd name="connsiteX226" fmla="*/ 7043 w 10000"/>
                  <a:gd name="connsiteY226" fmla="*/ 5385 h 10000"/>
                  <a:gd name="connsiteX227" fmla="*/ 7043 w 10000"/>
                  <a:gd name="connsiteY227" fmla="*/ 5385 h 10000"/>
                  <a:gd name="connsiteX228" fmla="*/ 7021 w 10000"/>
                  <a:gd name="connsiteY228" fmla="*/ 5364 h 10000"/>
                  <a:gd name="connsiteX229" fmla="*/ 7021 w 10000"/>
                  <a:gd name="connsiteY229" fmla="*/ 5364 h 10000"/>
                  <a:gd name="connsiteX230" fmla="*/ 7021 w 10000"/>
                  <a:gd name="connsiteY230" fmla="*/ 5364 h 10000"/>
                  <a:gd name="connsiteX231" fmla="*/ 6894 w 10000"/>
                  <a:gd name="connsiteY231" fmla="*/ 5426 h 10000"/>
                  <a:gd name="connsiteX232" fmla="*/ 6872 w 10000"/>
                  <a:gd name="connsiteY232" fmla="*/ 5426 h 10000"/>
                  <a:gd name="connsiteX233" fmla="*/ 6872 w 10000"/>
                  <a:gd name="connsiteY233" fmla="*/ 5426 h 10000"/>
                  <a:gd name="connsiteX234" fmla="*/ 6872 w 10000"/>
                  <a:gd name="connsiteY234" fmla="*/ 5385 h 10000"/>
                  <a:gd name="connsiteX235" fmla="*/ 6809 w 10000"/>
                  <a:gd name="connsiteY235" fmla="*/ 5198 h 10000"/>
                  <a:gd name="connsiteX236" fmla="*/ 6766 w 10000"/>
                  <a:gd name="connsiteY236" fmla="*/ 5301 h 10000"/>
                  <a:gd name="connsiteX237" fmla="*/ 6468 w 10000"/>
                  <a:gd name="connsiteY237" fmla="*/ 5447 h 10000"/>
                  <a:gd name="connsiteX238" fmla="*/ 6468 w 10000"/>
                  <a:gd name="connsiteY238" fmla="*/ 5696 h 10000"/>
                  <a:gd name="connsiteX239" fmla="*/ 6468 w 10000"/>
                  <a:gd name="connsiteY239" fmla="*/ 5696 h 10000"/>
                  <a:gd name="connsiteX240" fmla="*/ 6213 w 10000"/>
                  <a:gd name="connsiteY240" fmla="*/ 5925 h 10000"/>
                  <a:gd name="connsiteX241" fmla="*/ 5745 w 10000"/>
                  <a:gd name="connsiteY241" fmla="*/ 6175 h 10000"/>
                  <a:gd name="connsiteX242" fmla="*/ 5511 w 10000"/>
                  <a:gd name="connsiteY242" fmla="*/ 6507 h 10000"/>
                  <a:gd name="connsiteX243" fmla="*/ 4894 w 10000"/>
                  <a:gd name="connsiteY243" fmla="*/ 6985 h 10000"/>
                  <a:gd name="connsiteX244" fmla="*/ 4787 w 10000"/>
                  <a:gd name="connsiteY244" fmla="*/ 7131 h 10000"/>
                  <a:gd name="connsiteX245" fmla="*/ 4787 w 10000"/>
                  <a:gd name="connsiteY245" fmla="*/ 7131 h 10000"/>
                  <a:gd name="connsiteX246" fmla="*/ 4489 w 10000"/>
                  <a:gd name="connsiteY246" fmla="*/ 7214 h 10000"/>
                  <a:gd name="connsiteX247" fmla="*/ 4362 w 10000"/>
                  <a:gd name="connsiteY247" fmla="*/ 7401 h 10000"/>
                  <a:gd name="connsiteX248" fmla="*/ 4362 w 10000"/>
                  <a:gd name="connsiteY248" fmla="*/ 7443 h 10000"/>
                  <a:gd name="connsiteX249" fmla="*/ 4191 w 10000"/>
                  <a:gd name="connsiteY249" fmla="*/ 7443 h 10000"/>
                  <a:gd name="connsiteX250" fmla="*/ 4085 w 10000"/>
                  <a:gd name="connsiteY250" fmla="*/ 7547 h 10000"/>
                  <a:gd name="connsiteX251" fmla="*/ 4128 w 10000"/>
                  <a:gd name="connsiteY251" fmla="*/ 8129 h 10000"/>
                  <a:gd name="connsiteX252" fmla="*/ 4191 w 10000"/>
                  <a:gd name="connsiteY252" fmla="*/ 8254 h 10000"/>
                  <a:gd name="connsiteX253" fmla="*/ 4191 w 10000"/>
                  <a:gd name="connsiteY253" fmla="*/ 8274 h 10000"/>
                  <a:gd name="connsiteX254" fmla="*/ 4021 w 10000"/>
                  <a:gd name="connsiteY254" fmla="*/ 8794 h 10000"/>
                  <a:gd name="connsiteX255" fmla="*/ 4021 w 10000"/>
                  <a:gd name="connsiteY255" fmla="*/ 9210 h 10000"/>
                  <a:gd name="connsiteX256" fmla="*/ 4021 w 10000"/>
                  <a:gd name="connsiteY256" fmla="*/ 9231 h 10000"/>
                  <a:gd name="connsiteX257" fmla="*/ 4021 w 10000"/>
                  <a:gd name="connsiteY257" fmla="*/ 9231 h 10000"/>
                  <a:gd name="connsiteX258" fmla="*/ 3851 w 10000"/>
                  <a:gd name="connsiteY258" fmla="*/ 9231 h 10000"/>
                  <a:gd name="connsiteX259" fmla="*/ 3745 w 10000"/>
                  <a:gd name="connsiteY259" fmla="*/ 9480 h 10000"/>
                  <a:gd name="connsiteX260" fmla="*/ 3745 w 10000"/>
                  <a:gd name="connsiteY260" fmla="*/ 9563 h 10000"/>
                  <a:gd name="connsiteX261" fmla="*/ 3723 w 10000"/>
                  <a:gd name="connsiteY261" fmla="*/ 9563 h 10000"/>
                  <a:gd name="connsiteX262" fmla="*/ 3468 w 10000"/>
                  <a:gd name="connsiteY262" fmla="*/ 9667 h 10000"/>
                  <a:gd name="connsiteX263" fmla="*/ 3447 w 10000"/>
                  <a:gd name="connsiteY263" fmla="*/ 9834 h 10000"/>
                  <a:gd name="connsiteX264" fmla="*/ 3298 w 10000"/>
                  <a:gd name="connsiteY264" fmla="*/ 10000 h 10000"/>
                  <a:gd name="connsiteX265" fmla="*/ 3255 w 10000"/>
                  <a:gd name="connsiteY265" fmla="*/ 10000 h 10000"/>
                  <a:gd name="connsiteX266" fmla="*/ 3170 w 10000"/>
                  <a:gd name="connsiteY266" fmla="*/ 10000 h 10000"/>
                  <a:gd name="connsiteX0" fmla="*/ 3170 w 10000"/>
                  <a:gd name="connsiteY0" fmla="*/ 10000 h 10000"/>
                  <a:gd name="connsiteX1" fmla="*/ 3170 w 10000"/>
                  <a:gd name="connsiteY1" fmla="*/ 9958 h 10000"/>
                  <a:gd name="connsiteX2" fmla="*/ 2915 w 10000"/>
                  <a:gd name="connsiteY2" fmla="*/ 9688 h 10000"/>
                  <a:gd name="connsiteX3" fmla="*/ 2617 w 10000"/>
                  <a:gd name="connsiteY3" fmla="*/ 8857 h 10000"/>
                  <a:gd name="connsiteX4" fmla="*/ 2404 w 10000"/>
                  <a:gd name="connsiteY4" fmla="*/ 8586 h 10000"/>
                  <a:gd name="connsiteX5" fmla="*/ 2277 w 10000"/>
                  <a:gd name="connsiteY5" fmla="*/ 8129 h 10000"/>
                  <a:gd name="connsiteX6" fmla="*/ 2021 w 10000"/>
                  <a:gd name="connsiteY6" fmla="*/ 7672 h 10000"/>
                  <a:gd name="connsiteX7" fmla="*/ 2000 w 10000"/>
                  <a:gd name="connsiteY7" fmla="*/ 7484 h 10000"/>
                  <a:gd name="connsiteX8" fmla="*/ 1957 w 10000"/>
                  <a:gd name="connsiteY8" fmla="*/ 7484 h 10000"/>
                  <a:gd name="connsiteX9" fmla="*/ 1936 w 10000"/>
                  <a:gd name="connsiteY9" fmla="*/ 7526 h 10000"/>
                  <a:gd name="connsiteX10" fmla="*/ 1936 w 10000"/>
                  <a:gd name="connsiteY10" fmla="*/ 7526 h 10000"/>
                  <a:gd name="connsiteX11" fmla="*/ 1936 w 10000"/>
                  <a:gd name="connsiteY11" fmla="*/ 7484 h 10000"/>
                  <a:gd name="connsiteX12" fmla="*/ 1872 w 10000"/>
                  <a:gd name="connsiteY12" fmla="*/ 7380 h 10000"/>
                  <a:gd name="connsiteX13" fmla="*/ 1745 w 10000"/>
                  <a:gd name="connsiteY13" fmla="*/ 7131 h 10000"/>
                  <a:gd name="connsiteX14" fmla="*/ 1596 w 10000"/>
                  <a:gd name="connsiteY14" fmla="*/ 6466 h 10000"/>
                  <a:gd name="connsiteX15" fmla="*/ 1617 w 10000"/>
                  <a:gd name="connsiteY15" fmla="*/ 6258 h 10000"/>
                  <a:gd name="connsiteX16" fmla="*/ 1596 w 10000"/>
                  <a:gd name="connsiteY16" fmla="*/ 6258 h 10000"/>
                  <a:gd name="connsiteX17" fmla="*/ 1596 w 10000"/>
                  <a:gd name="connsiteY17" fmla="*/ 6258 h 10000"/>
                  <a:gd name="connsiteX18" fmla="*/ 1532 w 10000"/>
                  <a:gd name="connsiteY18" fmla="*/ 6008 h 10000"/>
                  <a:gd name="connsiteX19" fmla="*/ 1596 w 10000"/>
                  <a:gd name="connsiteY19" fmla="*/ 5738 h 10000"/>
                  <a:gd name="connsiteX20" fmla="*/ 1468 w 10000"/>
                  <a:gd name="connsiteY20" fmla="*/ 5239 h 10000"/>
                  <a:gd name="connsiteX21" fmla="*/ 1468 w 10000"/>
                  <a:gd name="connsiteY21" fmla="*/ 5239 h 10000"/>
                  <a:gd name="connsiteX22" fmla="*/ 1596 w 10000"/>
                  <a:gd name="connsiteY22" fmla="*/ 5114 h 10000"/>
                  <a:gd name="connsiteX23" fmla="*/ 1447 w 10000"/>
                  <a:gd name="connsiteY23" fmla="*/ 5094 h 10000"/>
                  <a:gd name="connsiteX24" fmla="*/ 1319 w 10000"/>
                  <a:gd name="connsiteY24" fmla="*/ 5509 h 10000"/>
                  <a:gd name="connsiteX25" fmla="*/ 1319 w 10000"/>
                  <a:gd name="connsiteY25" fmla="*/ 5530 h 10000"/>
                  <a:gd name="connsiteX26" fmla="*/ 1064 w 10000"/>
                  <a:gd name="connsiteY26" fmla="*/ 5634 h 10000"/>
                  <a:gd name="connsiteX27" fmla="*/ 830 w 10000"/>
                  <a:gd name="connsiteY27" fmla="*/ 5634 h 10000"/>
                  <a:gd name="connsiteX28" fmla="*/ 787 w 10000"/>
                  <a:gd name="connsiteY28" fmla="*/ 5634 h 10000"/>
                  <a:gd name="connsiteX29" fmla="*/ 298 w 10000"/>
                  <a:gd name="connsiteY29" fmla="*/ 5177 h 10000"/>
                  <a:gd name="connsiteX30" fmla="*/ 298 w 10000"/>
                  <a:gd name="connsiteY30" fmla="*/ 5094 h 10000"/>
                  <a:gd name="connsiteX31" fmla="*/ 298 w 10000"/>
                  <a:gd name="connsiteY31" fmla="*/ 5094 h 10000"/>
                  <a:gd name="connsiteX32" fmla="*/ 298 w 10000"/>
                  <a:gd name="connsiteY32" fmla="*/ 5052 h 10000"/>
                  <a:gd name="connsiteX33" fmla="*/ 638 w 10000"/>
                  <a:gd name="connsiteY33" fmla="*/ 5031 h 10000"/>
                  <a:gd name="connsiteX34" fmla="*/ 723 w 10000"/>
                  <a:gd name="connsiteY34" fmla="*/ 4927 h 10000"/>
                  <a:gd name="connsiteX35" fmla="*/ 766 w 10000"/>
                  <a:gd name="connsiteY35" fmla="*/ 4823 h 10000"/>
                  <a:gd name="connsiteX36" fmla="*/ 574 w 10000"/>
                  <a:gd name="connsiteY36" fmla="*/ 4906 h 10000"/>
                  <a:gd name="connsiteX37" fmla="*/ 298 w 10000"/>
                  <a:gd name="connsiteY37" fmla="*/ 4906 h 10000"/>
                  <a:gd name="connsiteX38" fmla="*/ 298 w 10000"/>
                  <a:gd name="connsiteY38" fmla="*/ 4906 h 10000"/>
                  <a:gd name="connsiteX39" fmla="*/ 0 w 10000"/>
                  <a:gd name="connsiteY39" fmla="*/ 4574 h 10000"/>
                  <a:gd name="connsiteX40" fmla="*/ 0 w 10000"/>
                  <a:gd name="connsiteY40" fmla="*/ 4574 h 10000"/>
                  <a:gd name="connsiteX41" fmla="*/ 0 w 10000"/>
                  <a:gd name="connsiteY41" fmla="*/ 4553 h 10000"/>
                  <a:gd name="connsiteX42" fmla="*/ 85 w 10000"/>
                  <a:gd name="connsiteY42" fmla="*/ 4491 h 10000"/>
                  <a:gd name="connsiteX43" fmla="*/ 277 w 10000"/>
                  <a:gd name="connsiteY43" fmla="*/ 4491 h 10000"/>
                  <a:gd name="connsiteX44" fmla="*/ 277 w 10000"/>
                  <a:gd name="connsiteY44" fmla="*/ 4324 h 10000"/>
                  <a:gd name="connsiteX45" fmla="*/ 277 w 10000"/>
                  <a:gd name="connsiteY45" fmla="*/ 4324 h 10000"/>
                  <a:gd name="connsiteX46" fmla="*/ 298 w 10000"/>
                  <a:gd name="connsiteY46" fmla="*/ 4324 h 10000"/>
                  <a:gd name="connsiteX47" fmla="*/ 298 w 10000"/>
                  <a:gd name="connsiteY47" fmla="*/ 4324 h 10000"/>
                  <a:gd name="connsiteX48" fmla="*/ 702 w 10000"/>
                  <a:gd name="connsiteY48" fmla="*/ 4428 h 10000"/>
                  <a:gd name="connsiteX49" fmla="*/ 830 w 10000"/>
                  <a:gd name="connsiteY49" fmla="*/ 4304 h 10000"/>
                  <a:gd name="connsiteX50" fmla="*/ 851 w 10000"/>
                  <a:gd name="connsiteY50" fmla="*/ 4304 h 10000"/>
                  <a:gd name="connsiteX51" fmla="*/ 851 w 10000"/>
                  <a:gd name="connsiteY51" fmla="*/ 4304 h 10000"/>
                  <a:gd name="connsiteX52" fmla="*/ 936 w 10000"/>
                  <a:gd name="connsiteY52" fmla="*/ 4387 h 10000"/>
                  <a:gd name="connsiteX53" fmla="*/ 1043 w 10000"/>
                  <a:gd name="connsiteY53" fmla="*/ 4324 h 10000"/>
                  <a:gd name="connsiteX54" fmla="*/ 894 w 10000"/>
                  <a:gd name="connsiteY54" fmla="*/ 3909 h 10000"/>
                  <a:gd name="connsiteX55" fmla="*/ 702 w 10000"/>
                  <a:gd name="connsiteY55" fmla="*/ 3825 h 10000"/>
                  <a:gd name="connsiteX56" fmla="*/ 702 w 10000"/>
                  <a:gd name="connsiteY56" fmla="*/ 3784 h 10000"/>
                  <a:gd name="connsiteX57" fmla="*/ 723 w 10000"/>
                  <a:gd name="connsiteY57" fmla="*/ 3617 h 10000"/>
                  <a:gd name="connsiteX58" fmla="*/ 511 w 10000"/>
                  <a:gd name="connsiteY58" fmla="*/ 3555 h 10000"/>
                  <a:gd name="connsiteX59" fmla="*/ 511 w 10000"/>
                  <a:gd name="connsiteY59" fmla="*/ 3555 h 10000"/>
                  <a:gd name="connsiteX60" fmla="*/ 489 w 10000"/>
                  <a:gd name="connsiteY60" fmla="*/ 3514 h 10000"/>
                  <a:gd name="connsiteX61" fmla="*/ 553 w 10000"/>
                  <a:gd name="connsiteY61" fmla="*/ 3368 h 10000"/>
                  <a:gd name="connsiteX62" fmla="*/ 830 w 10000"/>
                  <a:gd name="connsiteY62" fmla="*/ 2973 h 10000"/>
                  <a:gd name="connsiteX63" fmla="*/ 851 w 10000"/>
                  <a:gd name="connsiteY63" fmla="*/ 2973 h 10000"/>
                  <a:gd name="connsiteX64" fmla="*/ 851 w 10000"/>
                  <a:gd name="connsiteY64" fmla="*/ 2973 h 10000"/>
                  <a:gd name="connsiteX65" fmla="*/ 851 w 10000"/>
                  <a:gd name="connsiteY65" fmla="*/ 2973 h 10000"/>
                  <a:gd name="connsiteX66" fmla="*/ 979 w 10000"/>
                  <a:gd name="connsiteY66" fmla="*/ 3098 h 10000"/>
                  <a:gd name="connsiteX67" fmla="*/ 1277 w 10000"/>
                  <a:gd name="connsiteY67" fmla="*/ 3035 h 10000"/>
                  <a:gd name="connsiteX68" fmla="*/ 1468 w 10000"/>
                  <a:gd name="connsiteY68" fmla="*/ 2765 h 10000"/>
                  <a:gd name="connsiteX69" fmla="*/ 1660 w 10000"/>
                  <a:gd name="connsiteY69" fmla="*/ 2620 h 10000"/>
                  <a:gd name="connsiteX70" fmla="*/ 1830 w 10000"/>
                  <a:gd name="connsiteY70" fmla="*/ 2287 h 10000"/>
                  <a:gd name="connsiteX71" fmla="*/ 1957 w 10000"/>
                  <a:gd name="connsiteY71" fmla="*/ 2245 h 10000"/>
                  <a:gd name="connsiteX72" fmla="*/ 2000 w 10000"/>
                  <a:gd name="connsiteY72" fmla="*/ 2204 h 10000"/>
                  <a:gd name="connsiteX73" fmla="*/ 2170 w 10000"/>
                  <a:gd name="connsiteY73" fmla="*/ 2079 h 10000"/>
                  <a:gd name="connsiteX74" fmla="*/ 2404 w 10000"/>
                  <a:gd name="connsiteY74" fmla="*/ 1975 h 10000"/>
                  <a:gd name="connsiteX75" fmla="*/ 2511 w 10000"/>
                  <a:gd name="connsiteY75" fmla="*/ 1954 h 10000"/>
                  <a:gd name="connsiteX76" fmla="*/ 2511 w 10000"/>
                  <a:gd name="connsiteY76" fmla="*/ 1892 h 10000"/>
                  <a:gd name="connsiteX77" fmla="*/ 2574 w 10000"/>
                  <a:gd name="connsiteY77" fmla="*/ 1892 h 10000"/>
                  <a:gd name="connsiteX78" fmla="*/ 2638 w 10000"/>
                  <a:gd name="connsiteY78" fmla="*/ 1809 h 10000"/>
                  <a:gd name="connsiteX79" fmla="*/ 2681 w 10000"/>
                  <a:gd name="connsiteY79" fmla="*/ 1559 h 10000"/>
                  <a:gd name="connsiteX80" fmla="*/ 2702 w 10000"/>
                  <a:gd name="connsiteY80" fmla="*/ 1372 h 10000"/>
                  <a:gd name="connsiteX81" fmla="*/ 2574 w 10000"/>
                  <a:gd name="connsiteY81" fmla="*/ 1435 h 10000"/>
                  <a:gd name="connsiteX82" fmla="*/ 2489 w 10000"/>
                  <a:gd name="connsiteY82" fmla="*/ 1414 h 10000"/>
                  <a:gd name="connsiteX83" fmla="*/ 2447 w 10000"/>
                  <a:gd name="connsiteY83" fmla="*/ 1331 h 10000"/>
                  <a:gd name="connsiteX84" fmla="*/ 2447 w 10000"/>
                  <a:gd name="connsiteY84" fmla="*/ 1331 h 10000"/>
                  <a:gd name="connsiteX85" fmla="*/ 2426 w 10000"/>
                  <a:gd name="connsiteY85" fmla="*/ 1268 h 10000"/>
                  <a:gd name="connsiteX86" fmla="*/ 2404 w 10000"/>
                  <a:gd name="connsiteY86" fmla="*/ 1206 h 10000"/>
                  <a:gd name="connsiteX87" fmla="*/ 2426 w 10000"/>
                  <a:gd name="connsiteY87" fmla="*/ 1102 h 10000"/>
                  <a:gd name="connsiteX88" fmla="*/ 2511 w 10000"/>
                  <a:gd name="connsiteY88" fmla="*/ 1019 h 10000"/>
                  <a:gd name="connsiteX89" fmla="*/ 2617 w 10000"/>
                  <a:gd name="connsiteY89" fmla="*/ 936 h 10000"/>
                  <a:gd name="connsiteX90" fmla="*/ 2553 w 10000"/>
                  <a:gd name="connsiteY90" fmla="*/ 811 h 10000"/>
                  <a:gd name="connsiteX91" fmla="*/ 2426 w 10000"/>
                  <a:gd name="connsiteY91" fmla="*/ 811 h 10000"/>
                  <a:gd name="connsiteX92" fmla="*/ 2426 w 10000"/>
                  <a:gd name="connsiteY92" fmla="*/ 686 h 10000"/>
                  <a:gd name="connsiteX93" fmla="*/ 2298 w 10000"/>
                  <a:gd name="connsiteY93" fmla="*/ 561 h 10000"/>
                  <a:gd name="connsiteX94" fmla="*/ 2234 w 10000"/>
                  <a:gd name="connsiteY94" fmla="*/ 457 h 10000"/>
                  <a:gd name="connsiteX95" fmla="*/ 2149 w 10000"/>
                  <a:gd name="connsiteY95" fmla="*/ 270 h 10000"/>
                  <a:gd name="connsiteX96" fmla="*/ 2149 w 10000"/>
                  <a:gd name="connsiteY96" fmla="*/ 166 h 10000"/>
                  <a:gd name="connsiteX97" fmla="*/ 2277 w 10000"/>
                  <a:gd name="connsiteY97" fmla="*/ 83 h 10000"/>
                  <a:gd name="connsiteX98" fmla="*/ 2553 w 10000"/>
                  <a:gd name="connsiteY98" fmla="*/ 0 h 10000"/>
                  <a:gd name="connsiteX99" fmla="*/ 2787 w 10000"/>
                  <a:gd name="connsiteY99" fmla="*/ 62 h 10000"/>
                  <a:gd name="connsiteX100" fmla="*/ 2894 w 10000"/>
                  <a:gd name="connsiteY100" fmla="*/ 146 h 10000"/>
                  <a:gd name="connsiteX101" fmla="*/ 3043 w 10000"/>
                  <a:gd name="connsiteY101" fmla="*/ 166 h 10000"/>
                  <a:gd name="connsiteX102" fmla="*/ 3574 w 10000"/>
                  <a:gd name="connsiteY102" fmla="*/ 499 h 10000"/>
                  <a:gd name="connsiteX103" fmla="*/ 3745 w 10000"/>
                  <a:gd name="connsiteY103" fmla="*/ 457 h 10000"/>
                  <a:gd name="connsiteX104" fmla="*/ 3936 w 10000"/>
                  <a:gd name="connsiteY104" fmla="*/ 395 h 10000"/>
                  <a:gd name="connsiteX105" fmla="*/ 4128 w 10000"/>
                  <a:gd name="connsiteY105" fmla="*/ 353 h 10000"/>
                  <a:gd name="connsiteX106" fmla="*/ 4128 w 10000"/>
                  <a:gd name="connsiteY106" fmla="*/ 353 h 10000"/>
                  <a:gd name="connsiteX107" fmla="*/ 4128 w 10000"/>
                  <a:gd name="connsiteY107" fmla="*/ 416 h 10000"/>
                  <a:gd name="connsiteX108" fmla="*/ 4191 w 10000"/>
                  <a:gd name="connsiteY108" fmla="*/ 686 h 10000"/>
                  <a:gd name="connsiteX109" fmla="*/ 4128 w 10000"/>
                  <a:gd name="connsiteY109" fmla="*/ 1019 h 10000"/>
                  <a:gd name="connsiteX110" fmla="*/ 3957 w 10000"/>
                  <a:gd name="connsiteY110" fmla="*/ 1206 h 10000"/>
                  <a:gd name="connsiteX111" fmla="*/ 3957 w 10000"/>
                  <a:gd name="connsiteY111" fmla="*/ 1227 h 10000"/>
                  <a:gd name="connsiteX112" fmla="*/ 3745 w 10000"/>
                  <a:gd name="connsiteY112" fmla="*/ 1372 h 10000"/>
                  <a:gd name="connsiteX113" fmla="*/ 3745 w 10000"/>
                  <a:gd name="connsiteY113" fmla="*/ 1372 h 10000"/>
                  <a:gd name="connsiteX114" fmla="*/ 3723 w 10000"/>
                  <a:gd name="connsiteY114" fmla="*/ 1372 h 10000"/>
                  <a:gd name="connsiteX115" fmla="*/ 3723 w 10000"/>
                  <a:gd name="connsiteY115" fmla="*/ 1372 h 10000"/>
                  <a:gd name="connsiteX116" fmla="*/ 3936 w 10000"/>
                  <a:gd name="connsiteY116" fmla="*/ 1684 h 10000"/>
                  <a:gd name="connsiteX117" fmla="*/ 3894 w 10000"/>
                  <a:gd name="connsiteY117" fmla="*/ 1871 h 10000"/>
                  <a:gd name="connsiteX118" fmla="*/ 4468 w 10000"/>
                  <a:gd name="connsiteY118" fmla="*/ 2162 h 10000"/>
                  <a:gd name="connsiteX119" fmla="*/ 4468 w 10000"/>
                  <a:gd name="connsiteY119" fmla="*/ 2204 h 10000"/>
                  <a:gd name="connsiteX120" fmla="*/ 4468 w 10000"/>
                  <a:gd name="connsiteY120" fmla="*/ 2204 h 10000"/>
                  <a:gd name="connsiteX121" fmla="*/ 4213 w 10000"/>
                  <a:gd name="connsiteY121" fmla="*/ 2370 h 10000"/>
                  <a:gd name="connsiteX122" fmla="*/ 4128 w 10000"/>
                  <a:gd name="connsiteY122" fmla="*/ 2703 h 10000"/>
                  <a:gd name="connsiteX123" fmla="*/ 5043 w 10000"/>
                  <a:gd name="connsiteY123" fmla="*/ 3243 h 10000"/>
                  <a:gd name="connsiteX124" fmla="*/ 5532 w 10000"/>
                  <a:gd name="connsiteY124" fmla="*/ 3243 h 10000"/>
                  <a:gd name="connsiteX125" fmla="*/ 5574 w 10000"/>
                  <a:gd name="connsiteY125" fmla="*/ 3243 h 10000"/>
                  <a:gd name="connsiteX126" fmla="*/ 5745 w 10000"/>
                  <a:gd name="connsiteY126" fmla="*/ 3451 h 10000"/>
                  <a:gd name="connsiteX127" fmla="*/ 6532 w 10000"/>
                  <a:gd name="connsiteY127" fmla="*/ 3617 h 10000"/>
                  <a:gd name="connsiteX128" fmla="*/ 6766 w 10000"/>
                  <a:gd name="connsiteY128" fmla="*/ 3576 h 10000"/>
                  <a:gd name="connsiteX129" fmla="*/ 6809 w 10000"/>
                  <a:gd name="connsiteY129" fmla="*/ 3493 h 10000"/>
                  <a:gd name="connsiteX130" fmla="*/ 6745 w 10000"/>
                  <a:gd name="connsiteY130" fmla="*/ 3430 h 10000"/>
                  <a:gd name="connsiteX131" fmla="*/ 6745 w 10000"/>
                  <a:gd name="connsiteY131" fmla="*/ 3389 h 10000"/>
                  <a:gd name="connsiteX132" fmla="*/ 6766 w 10000"/>
                  <a:gd name="connsiteY132" fmla="*/ 3347 h 10000"/>
                  <a:gd name="connsiteX133" fmla="*/ 6830 w 10000"/>
                  <a:gd name="connsiteY133" fmla="*/ 3077 h 10000"/>
                  <a:gd name="connsiteX134" fmla="*/ 6830 w 10000"/>
                  <a:gd name="connsiteY134" fmla="*/ 3035 h 10000"/>
                  <a:gd name="connsiteX135" fmla="*/ 7043 w 10000"/>
                  <a:gd name="connsiteY135" fmla="*/ 2973 h 10000"/>
                  <a:gd name="connsiteX136" fmla="*/ 7043 w 10000"/>
                  <a:gd name="connsiteY136" fmla="*/ 2973 h 10000"/>
                  <a:gd name="connsiteX137" fmla="*/ 7043 w 10000"/>
                  <a:gd name="connsiteY137" fmla="*/ 2973 h 10000"/>
                  <a:gd name="connsiteX138" fmla="*/ 7085 w 10000"/>
                  <a:gd name="connsiteY138" fmla="*/ 3015 h 10000"/>
                  <a:gd name="connsiteX139" fmla="*/ 7085 w 10000"/>
                  <a:gd name="connsiteY139" fmla="*/ 3222 h 10000"/>
                  <a:gd name="connsiteX140" fmla="*/ 7106 w 10000"/>
                  <a:gd name="connsiteY140" fmla="*/ 3243 h 10000"/>
                  <a:gd name="connsiteX141" fmla="*/ 7149 w 10000"/>
                  <a:gd name="connsiteY141" fmla="*/ 3285 h 10000"/>
                  <a:gd name="connsiteX142" fmla="*/ 7149 w 10000"/>
                  <a:gd name="connsiteY142" fmla="*/ 3285 h 10000"/>
                  <a:gd name="connsiteX143" fmla="*/ 7085 w 10000"/>
                  <a:gd name="connsiteY143" fmla="*/ 3347 h 10000"/>
                  <a:gd name="connsiteX144" fmla="*/ 7106 w 10000"/>
                  <a:gd name="connsiteY144" fmla="*/ 3430 h 10000"/>
                  <a:gd name="connsiteX145" fmla="*/ 7362 w 10000"/>
                  <a:gd name="connsiteY145" fmla="*/ 3493 h 10000"/>
                  <a:gd name="connsiteX146" fmla="*/ 8128 w 10000"/>
                  <a:gd name="connsiteY146" fmla="*/ 3389 h 10000"/>
                  <a:gd name="connsiteX147" fmla="*/ 8191 w 10000"/>
                  <a:gd name="connsiteY147" fmla="*/ 3285 h 10000"/>
                  <a:gd name="connsiteX148" fmla="*/ 8064 w 10000"/>
                  <a:gd name="connsiteY148" fmla="*/ 3222 h 10000"/>
                  <a:gd name="connsiteX149" fmla="*/ 8043 w 10000"/>
                  <a:gd name="connsiteY149" fmla="*/ 3181 h 10000"/>
                  <a:gd name="connsiteX150" fmla="*/ 8043 w 10000"/>
                  <a:gd name="connsiteY150" fmla="*/ 3098 h 10000"/>
                  <a:gd name="connsiteX151" fmla="*/ 8064 w 10000"/>
                  <a:gd name="connsiteY151" fmla="*/ 3077 h 10000"/>
                  <a:gd name="connsiteX152" fmla="*/ 8489 w 10000"/>
                  <a:gd name="connsiteY152" fmla="*/ 2911 h 10000"/>
                  <a:gd name="connsiteX153" fmla="*/ 9021 w 10000"/>
                  <a:gd name="connsiteY153" fmla="*/ 2516 h 10000"/>
                  <a:gd name="connsiteX154" fmla="*/ 9021 w 10000"/>
                  <a:gd name="connsiteY154" fmla="*/ 2516 h 10000"/>
                  <a:gd name="connsiteX155" fmla="*/ 9255 w 10000"/>
                  <a:gd name="connsiteY155" fmla="*/ 2557 h 10000"/>
                  <a:gd name="connsiteX156" fmla="*/ 9511 w 10000"/>
                  <a:gd name="connsiteY156" fmla="*/ 2432 h 10000"/>
                  <a:gd name="connsiteX157" fmla="*/ 9511 w 10000"/>
                  <a:gd name="connsiteY157" fmla="*/ 2432 h 10000"/>
                  <a:gd name="connsiteX158" fmla="*/ 9553 w 10000"/>
                  <a:gd name="connsiteY158" fmla="*/ 2432 h 10000"/>
                  <a:gd name="connsiteX159" fmla="*/ 9553 w 10000"/>
                  <a:gd name="connsiteY159" fmla="*/ 2474 h 10000"/>
                  <a:gd name="connsiteX160" fmla="*/ 9596 w 10000"/>
                  <a:gd name="connsiteY160" fmla="*/ 2620 h 10000"/>
                  <a:gd name="connsiteX161" fmla="*/ 9660 w 10000"/>
                  <a:gd name="connsiteY161" fmla="*/ 2640 h 10000"/>
                  <a:gd name="connsiteX162" fmla="*/ 9660 w 10000"/>
                  <a:gd name="connsiteY162" fmla="*/ 2682 h 10000"/>
                  <a:gd name="connsiteX163" fmla="*/ 9638 w 10000"/>
                  <a:gd name="connsiteY163" fmla="*/ 2827 h 10000"/>
                  <a:gd name="connsiteX164" fmla="*/ 9872 w 10000"/>
                  <a:gd name="connsiteY164" fmla="*/ 2848 h 10000"/>
                  <a:gd name="connsiteX165" fmla="*/ 9979 w 10000"/>
                  <a:gd name="connsiteY165" fmla="*/ 2952 h 10000"/>
                  <a:gd name="connsiteX166" fmla="*/ 10000 w 10000"/>
                  <a:gd name="connsiteY166" fmla="*/ 2973 h 10000"/>
                  <a:gd name="connsiteX167" fmla="*/ 10000 w 10000"/>
                  <a:gd name="connsiteY167" fmla="*/ 3035 h 10000"/>
                  <a:gd name="connsiteX168" fmla="*/ 9979 w 10000"/>
                  <a:gd name="connsiteY168" fmla="*/ 3077 h 10000"/>
                  <a:gd name="connsiteX169" fmla="*/ 9915 w 10000"/>
                  <a:gd name="connsiteY169" fmla="*/ 3098 h 10000"/>
                  <a:gd name="connsiteX170" fmla="*/ 9872 w 10000"/>
                  <a:gd name="connsiteY170" fmla="*/ 3306 h 10000"/>
                  <a:gd name="connsiteX171" fmla="*/ 9851 w 10000"/>
                  <a:gd name="connsiteY171" fmla="*/ 3347 h 10000"/>
                  <a:gd name="connsiteX172" fmla="*/ 9574 w 10000"/>
                  <a:gd name="connsiteY172" fmla="*/ 3347 h 10000"/>
                  <a:gd name="connsiteX173" fmla="*/ 9298 w 10000"/>
                  <a:gd name="connsiteY173" fmla="*/ 3617 h 10000"/>
                  <a:gd name="connsiteX174" fmla="*/ 9255 w 10000"/>
                  <a:gd name="connsiteY174" fmla="*/ 3846 h 10000"/>
                  <a:gd name="connsiteX175" fmla="*/ 9085 w 10000"/>
                  <a:gd name="connsiteY175" fmla="*/ 4054 h 10000"/>
                  <a:gd name="connsiteX176" fmla="*/ 8936 w 10000"/>
                  <a:gd name="connsiteY176" fmla="*/ 4511 h 10000"/>
                  <a:gd name="connsiteX177" fmla="*/ 8894 w 10000"/>
                  <a:gd name="connsiteY177" fmla="*/ 4511 h 10000"/>
                  <a:gd name="connsiteX178" fmla="*/ 8617 w 10000"/>
                  <a:gd name="connsiteY178" fmla="*/ 4595 h 10000"/>
                  <a:gd name="connsiteX179" fmla="*/ 8617 w 10000"/>
                  <a:gd name="connsiteY179" fmla="*/ 4865 h 10000"/>
                  <a:gd name="connsiteX180" fmla="*/ 8596 w 10000"/>
                  <a:gd name="connsiteY180" fmla="*/ 4906 h 10000"/>
                  <a:gd name="connsiteX181" fmla="*/ 8532 w 10000"/>
                  <a:gd name="connsiteY181" fmla="*/ 4906 h 10000"/>
                  <a:gd name="connsiteX182" fmla="*/ 8489 w 10000"/>
                  <a:gd name="connsiteY182" fmla="*/ 4969 h 10000"/>
                  <a:gd name="connsiteX183" fmla="*/ 8553 w 10000"/>
                  <a:gd name="connsiteY183" fmla="*/ 5135 h 10000"/>
                  <a:gd name="connsiteX184" fmla="*/ 8553 w 10000"/>
                  <a:gd name="connsiteY184" fmla="*/ 5177 h 10000"/>
                  <a:gd name="connsiteX185" fmla="*/ 8362 w 10000"/>
                  <a:gd name="connsiteY185" fmla="*/ 5260 h 10000"/>
                  <a:gd name="connsiteX186" fmla="*/ 8362 w 10000"/>
                  <a:gd name="connsiteY186" fmla="*/ 5260 h 10000"/>
                  <a:gd name="connsiteX187" fmla="*/ 8362 w 10000"/>
                  <a:gd name="connsiteY187" fmla="*/ 5260 h 10000"/>
                  <a:gd name="connsiteX188" fmla="*/ 8340 w 10000"/>
                  <a:gd name="connsiteY188" fmla="*/ 5239 h 10000"/>
                  <a:gd name="connsiteX189" fmla="*/ 8191 w 10000"/>
                  <a:gd name="connsiteY189" fmla="*/ 4636 h 10000"/>
                  <a:gd name="connsiteX190" fmla="*/ 8043 w 10000"/>
                  <a:gd name="connsiteY190" fmla="*/ 4844 h 10000"/>
                  <a:gd name="connsiteX191" fmla="*/ 8043 w 10000"/>
                  <a:gd name="connsiteY191" fmla="*/ 4844 h 10000"/>
                  <a:gd name="connsiteX192" fmla="*/ 8043 w 10000"/>
                  <a:gd name="connsiteY192" fmla="*/ 4844 h 10000"/>
                  <a:gd name="connsiteX193" fmla="*/ 8000 w 10000"/>
                  <a:gd name="connsiteY193" fmla="*/ 4844 h 10000"/>
                  <a:gd name="connsiteX194" fmla="*/ 7872 w 10000"/>
                  <a:gd name="connsiteY194" fmla="*/ 4761 h 10000"/>
                  <a:gd name="connsiteX195" fmla="*/ 7787 w 10000"/>
                  <a:gd name="connsiteY195" fmla="*/ 4511 h 10000"/>
                  <a:gd name="connsiteX196" fmla="*/ 7809 w 10000"/>
                  <a:gd name="connsiteY196" fmla="*/ 4511 h 10000"/>
                  <a:gd name="connsiteX197" fmla="*/ 8191 w 10000"/>
                  <a:gd name="connsiteY197" fmla="*/ 4096 h 10000"/>
                  <a:gd name="connsiteX198" fmla="*/ 7468 w 10000"/>
                  <a:gd name="connsiteY198" fmla="*/ 4033 h 10000"/>
                  <a:gd name="connsiteX199" fmla="*/ 7362 w 10000"/>
                  <a:gd name="connsiteY199" fmla="*/ 3950 h 10000"/>
                  <a:gd name="connsiteX200" fmla="*/ 7298 w 10000"/>
                  <a:gd name="connsiteY200" fmla="*/ 3721 h 10000"/>
                  <a:gd name="connsiteX201" fmla="*/ 7298 w 10000"/>
                  <a:gd name="connsiteY201" fmla="*/ 3763 h 10000"/>
                  <a:gd name="connsiteX202" fmla="*/ 7255 w 10000"/>
                  <a:gd name="connsiteY202" fmla="*/ 3763 h 10000"/>
                  <a:gd name="connsiteX203" fmla="*/ 7170 w 10000"/>
                  <a:gd name="connsiteY203" fmla="*/ 3763 h 10000"/>
                  <a:gd name="connsiteX204" fmla="*/ 7170 w 10000"/>
                  <a:gd name="connsiteY204" fmla="*/ 3763 h 10000"/>
                  <a:gd name="connsiteX205" fmla="*/ 7106 w 10000"/>
                  <a:gd name="connsiteY205" fmla="*/ 3638 h 10000"/>
                  <a:gd name="connsiteX206" fmla="*/ 7043 w 10000"/>
                  <a:gd name="connsiteY206" fmla="*/ 3721 h 10000"/>
                  <a:gd name="connsiteX207" fmla="*/ 7043 w 10000"/>
                  <a:gd name="connsiteY207" fmla="*/ 3721 h 10000"/>
                  <a:gd name="connsiteX208" fmla="*/ 7043 w 10000"/>
                  <a:gd name="connsiteY208" fmla="*/ 3721 h 10000"/>
                  <a:gd name="connsiteX209" fmla="*/ 7021 w 10000"/>
                  <a:gd name="connsiteY209" fmla="*/ 3721 h 10000"/>
                  <a:gd name="connsiteX210" fmla="*/ 6957 w 10000"/>
                  <a:gd name="connsiteY210" fmla="*/ 3617 h 10000"/>
                  <a:gd name="connsiteX211" fmla="*/ 6830 w 10000"/>
                  <a:gd name="connsiteY211" fmla="*/ 3825 h 10000"/>
                  <a:gd name="connsiteX212" fmla="*/ 6872 w 10000"/>
                  <a:gd name="connsiteY212" fmla="*/ 3888 h 10000"/>
                  <a:gd name="connsiteX213" fmla="*/ 6979 w 10000"/>
                  <a:gd name="connsiteY213" fmla="*/ 3909 h 10000"/>
                  <a:gd name="connsiteX214" fmla="*/ 7021 w 10000"/>
                  <a:gd name="connsiteY214" fmla="*/ 3909 h 10000"/>
                  <a:gd name="connsiteX215" fmla="*/ 7021 w 10000"/>
                  <a:gd name="connsiteY215" fmla="*/ 4033 h 10000"/>
                  <a:gd name="connsiteX216" fmla="*/ 7021 w 10000"/>
                  <a:gd name="connsiteY216" fmla="*/ 4054 h 10000"/>
                  <a:gd name="connsiteX217" fmla="*/ 7021 w 10000"/>
                  <a:gd name="connsiteY217" fmla="*/ 4054 h 10000"/>
                  <a:gd name="connsiteX218" fmla="*/ 6894 w 10000"/>
                  <a:gd name="connsiteY218" fmla="*/ 4054 h 10000"/>
                  <a:gd name="connsiteX219" fmla="*/ 6766 w 10000"/>
                  <a:gd name="connsiteY219" fmla="*/ 4220 h 10000"/>
                  <a:gd name="connsiteX220" fmla="*/ 6979 w 10000"/>
                  <a:gd name="connsiteY220" fmla="*/ 4366 h 10000"/>
                  <a:gd name="connsiteX221" fmla="*/ 6979 w 10000"/>
                  <a:gd name="connsiteY221" fmla="*/ 4387 h 10000"/>
                  <a:gd name="connsiteX222" fmla="*/ 6957 w 10000"/>
                  <a:gd name="connsiteY222" fmla="*/ 4595 h 10000"/>
                  <a:gd name="connsiteX223" fmla="*/ 7106 w 10000"/>
                  <a:gd name="connsiteY223" fmla="*/ 5322 h 10000"/>
                  <a:gd name="connsiteX224" fmla="*/ 7106 w 10000"/>
                  <a:gd name="connsiteY224" fmla="*/ 5364 h 10000"/>
                  <a:gd name="connsiteX225" fmla="*/ 7043 w 10000"/>
                  <a:gd name="connsiteY225" fmla="*/ 5385 h 10000"/>
                  <a:gd name="connsiteX226" fmla="*/ 7043 w 10000"/>
                  <a:gd name="connsiteY226" fmla="*/ 5385 h 10000"/>
                  <a:gd name="connsiteX227" fmla="*/ 7021 w 10000"/>
                  <a:gd name="connsiteY227" fmla="*/ 5364 h 10000"/>
                  <a:gd name="connsiteX228" fmla="*/ 7021 w 10000"/>
                  <a:gd name="connsiteY228" fmla="*/ 5364 h 10000"/>
                  <a:gd name="connsiteX229" fmla="*/ 7021 w 10000"/>
                  <a:gd name="connsiteY229" fmla="*/ 5364 h 10000"/>
                  <a:gd name="connsiteX230" fmla="*/ 6894 w 10000"/>
                  <a:gd name="connsiteY230" fmla="*/ 5426 h 10000"/>
                  <a:gd name="connsiteX231" fmla="*/ 6872 w 10000"/>
                  <a:gd name="connsiteY231" fmla="*/ 5426 h 10000"/>
                  <a:gd name="connsiteX232" fmla="*/ 6872 w 10000"/>
                  <a:gd name="connsiteY232" fmla="*/ 5426 h 10000"/>
                  <a:gd name="connsiteX233" fmla="*/ 6872 w 10000"/>
                  <a:gd name="connsiteY233" fmla="*/ 5385 h 10000"/>
                  <a:gd name="connsiteX234" fmla="*/ 6809 w 10000"/>
                  <a:gd name="connsiteY234" fmla="*/ 5198 h 10000"/>
                  <a:gd name="connsiteX235" fmla="*/ 6766 w 10000"/>
                  <a:gd name="connsiteY235" fmla="*/ 5301 h 10000"/>
                  <a:gd name="connsiteX236" fmla="*/ 6468 w 10000"/>
                  <a:gd name="connsiteY236" fmla="*/ 5447 h 10000"/>
                  <a:gd name="connsiteX237" fmla="*/ 6468 w 10000"/>
                  <a:gd name="connsiteY237" fmla="*/ 5696 h 10000"/>
                  <a:gd name="connsiteX238" fmla="*/ 6468 w 10000"/>
                  <a:gd name="connsiteY238" fmla="*/ 5696 h 10000"/>
                  <a:gd name="connsiteX239" fmla="*/ 6213 w 10000"/>
                  <a:gd name="connsiteY239" fmla="*/ 5925 h 10000"/>
                  <a:gd name="connsiteX240" fmla="*/ 5745 w 10000"/>
                  <a:gd name="connsiteY240" fmla="*/ 6175 h 10000"/>
                  <a:gd name="connsiteX241" fmla="*/ 5511 w 10000"/>
                  <a:gd name="connsiteY241" fmla="*/ 6507 h 10000"/>
                  <a:gd name="connsiteX242" fmla="*/ 4894 w 10000"/>
                  <a:gd name="connsiteY242" fmla="*/ 6985 h 10000"/>
                  <a:gd name="connsiteX243" fmla="*/ 4787 w 10000"/>
                  <a:gd name="connsiteY243" fmla="*/ 7131 h 10000"/>
                  <a:gd name="connsiteX244" fmla="*/ 4787 w 10000"/>
                  <a:gd name="connsiteY244" fmla="*/ 7131 h 10000"/>
                  <a:gd name="connsiteX245" fmla="*/ 4489 w 10000"/>
                  <a:gd name="connsiteY245" fmla="*/ 7214 h 10000"/>
                  <a:gd name="connsiteX246" fmla="*/ 4362 w 10000"/>
                  <a:gd name="connsiteY246" fmla="*/ 7401 h 10000"/>
                  <a:gd name="connsiteX247" fmla="*/ 4362 w 10000"/>
                  <a:gd name="connsiteY247" fmla="*/ 7443 h 10000"/>
                  <a:gd name="connsiteX248" fmla="*/ 4191 w 10000"/>
                  <a:gd name="connsiteY248" fmla="*/ 7443 h 10000"/>
                  <a:gd name="connsiteX249" fmla="*/ 4085 w 10000"/>
                  <a:gd name="connsiteY249" fmla="*/ 7547 h 10000"/>
                  <a:gd name="connsiteX250" fmla="*/ 4128 w 10000"/>
                  <a:gd name="connsiteY250" fmla="*/ 8129 h 10000"/>
                  <a:gd name="connsiteX251" fmla="*/ 4191 w 10000"/>
                  <a:gd name="connsiteY251" fmla="*/ 8254 h 10000"/>
                  <a:gd name="connsiteX252" fmla="*/ 4191 w 10000"/>
                  <a:gd name="connsiteY252" fmla="*/ 8274 h 10000"/>
                  <a:gd name="connsiteX253" fmla="*/ 4021 w 10000"/>
                  <a:gd name="connsiteY253" fmla="*/ 8794 h 10000"/>
                  <a:gd name="connsiteX254" fmla="*/ 4021 w 10000"/>
                  <a:gd name="connsiteY254" fmla="*/ 9210 h 10000"/>
                  <a:gd name="connsiteX255" fmla="*/ 4021 w 10000"/>
                  <a:gd name="connsiteY255" fmla="*/ 9231 h 10000"/>
                  <a:gd name="connsiteX256" fmla="*/ 4021 w 10000"/>
                  <a:gd name="connsiteY256" fmla="*/ 9231 h 10000"/>
                  <a:gd name="connsiteX257" fmla="*/ 3851 w 10000"/>
                  <a:gd name="connsiteY257" fmla="*/ 9231 h 10000"/>
                  <a:gd name="connsiteX258" fmla="*/ 3745 w 10000"/>
                  <a:gd name="connsiteY258" fmla="*/ 9480 h 10000"/>
                  <a:gd name="connsiteX259" fmla="*/ 3745 w 10000"/>
                  <a:gd name="connsiteY259" fmla="*/ 9563 h 10000"/>
                  <a:gd name="connsiteX260" fmla="*/ 3723 w 10000"/>
                  <a:gd name="connsiteY260" fmla="*/ 9563 h 10000"/>
                  <a:gd name="connsiteX261" fmla="*/ 3468 w 10000"/>
                  <a:gd name="connsiteY261" fmla="*/ 9667 h 10000"/>
                  <a:gd name="connsiteX262" fmla="*/ 3447 w 10000"/>
                  <a:gd name="connsiteY262" fmla="*/ 9834 h 10000"/>
                  <a:gd name="connsiteX263" fmla="*/ 3298 w 10000"/>
                  <a:gd name="connsiteY263" fmla="*/ 10000 h 10000"/>
                  <a:gd name="connsiteX264" fmla="*/ 3255 w 10000"/>
                  <a:gd name="connsiteY264" fmla="*/ 10000 h 10000"/>
                  <a:gd name="connsiteX265" fmla="*/ 3170 w 10000"/>
                  <a:gd name="connsiteY265" fmla="*/ 10000 h 10000"/>
                  <a:gd name="connsiteX0" fmla="*/ 3170 w 10000"/>
                  <a:gd name="connsiteY0" fmla="*/ 10000 h 10000"/>
                  <a:gd name="connsiteX1" fmla="*/ 3170 w 10000"/>
                  <a:gd name="connsiteY1" fmla="*/ 9958 h 10000"/>
                  <a:gd name="connsiteX2" fmla="*/ 2915 w 10000"/>
                  <a:gd name="connsiteY2" fmla="*/ 9688 h 10000"/>
                  <a:gd name="connsiteX3" fmla="*/ 2617 w 10000"/>
                  <a:gd name="connsiteY3" fmla="*/ 8857 h 10000"/>
                  <a:gd name="connsiteX4" fmla="*/ 2404 w 10000"/>
                  <a:gd name="connsiteY4" fmla="*/ 8586 h 10000"/>
                  <a:gd name="connsiteX5" fmla="*/ 2277 w 10000"/>
                  <a:gd name="connsiteY5" fmla="*/ 8129 h 10000"/>
                  <a:gd name="connsiteX6" fmla="*/ 2021 w 10000"/>
                  <a:gd name="connsiteY6" fmla="*/ 7672 h 10000"/>
                  <a:gd name="connsiteX7" fmla="*/ 2000 w 10000"/>
                  <a:gd name="connsiteY7" fmla="*/ 7484 h 10000"/>
                  <a:gd name="connsiteX8" fmla="*/ 1957 w 10000"/>
                  <a:gd name="connsiteY8" fmla="*/ 7484 h 10000"/>
                  <a:gd name="connsiteX9" fmla="*/ 1936 w 10000"/>
                  <a:gd name="connsiteY9" fmla="*/ 7526 h 10000"/>
                  <a:gd name="connsiteX10" fmla="*/ 1936 w 10000"/>
                  <a:gd name="connsiteY10" fmla="*/ 7526 h 10000"/>
                  <a:gd name="connsiteX11" fmla="*/ 1936 w 10000"/>
                  <a:gd name="connsiteY11" fmla="*/ 7484 h 10000"/>
                  <a:gd name="connsiteX12" fmla="*/ 1872 w 10000"/>
                  <a:gd name="connsiteY12" fmla="*/ 7380 h 10000"/>
                  <a:gd name="connsiteX13" fmla="*/ 1745 w 10000"/>
                  <a:gd name="connsiteY13" fmla="*/ 7131 h 10000"/>
                  <a:gd name="connsiteX14" fmla="*/ 1596 w 10000"/>
                  <a:gd name="connsiteY14" fmla="*/ 6466 h 10000"/>
                  <a:gd name="connsiteX15" fmla="*/ 1617 w 10000"/>
                  <a:gd name="connsiteY15" fmla="*/ 6258 h 10000"/>
                  <a:gd name="connsiteX16" fmla="*/ 1596 w 10000"/>
                  <a:gd name="connsiteY16" fmla="*/ 6258 h 10000"/>
                  <a:gd name="connsiteX17" fmla="*/ 1596 w 10000"/>
                  <a:gd name="connsiteY17" fmla="*/ 6258 h 10000"/>
                  <a:gd name="connsiteX18" fmla="*/ 1532 w 10000"/>
                  <a:gd name="connsiteY18" fmla="*/ 6008 h 10000"/>
                  <a:gd name="connsiteX19" fmla="*/ 1596 w 10000"/>
                  <a:gd name="connsiteY19" fmla="*/ 5738 h 10000"/>
                  <a:gd name="connsiteX20" fmla="*/ 1468 w 10000"/>
                  <a:gd name="connsiteY20" fmla="*/ 5239 h 10000"/>
                  <a:gd name="connsiteX21" fmla="*/ 1468 w 10000"/>
                  <a:gd name="connsiteY21" fmla="*/ 5239 h 10000"/>
                  <a:gd name="connsiteX22" fmla="*/ 1596 w 10000"/>
                  <a:gd name="connsiteY22" fmla="*/ 5114 h 10000"/>
                  <a:gd name="connsiteX23" fmla="*/ 1447 w 10000"/>
                  <a:gd name="connsiteY23" fmla="*/ 5094 h 10000"/>
                  <a:gd name="connsiteX24" fmla="*/ 1319 w 10000"/>
                  <a:gd name="connsiteY24" fmla="*/ 5509 h 10000"/>
                  <a:gd name="connsiteX25" fmla="*/ 1319 w 10000"/>
                  <a:gd name="connsiteY25" fmla="*/ 5530 h 10000"/>
                  <a:gd name="connsiteX26" fmla="*/ 1064 w 10000"/>
                  <a:gd name="connsiteY26" fmla="*/ 5634 h 10000"/>
                  <a:gd name="connsiteX27" fmla="*/ 830 w 10000"/>
                  <a:gd name="connsiteY27" fmla="*/ 5634 h 10000"/>
                  <a:gd name="connsiteX28" fmla="*/ 787 w 10000"/>
                  <a:gd name="connsiteY28" fmla="*/ 5634 h 10000"/>
                  <a:gd name="connsiteX29" fmla="*/ 298 w 10000"/>
                  <a:gd name="connsiteY29" fmla="*/ 5177 h 10000"/>
                  <a:gd name="connsiteX30" fmla="*/ 298 w 10000"/>
                  <a:gd name="connsiteY30" fmla="*/ 5094 h 10000"/>
                  <a:gd name="connsiteX31" fmla="*/ 298 w 10000"/>
                  <a:gd name="connsiteY31" fmla="*/ 5094 h 10000"/>
                  <a:gd name="connsiteX32" fmla="*/ 298 w 10000"/>
                  <a:gd name="connsiteY32" fmla="*/ 5052 h 10000"/>
                  <a:gd name="connsiteX33" fmla="*/ 638 w 10000"/>
                  <a:gd name="connsiteY33" fmla="*/ 5031 h 10000"/>
                  <a:gd name="connsiteX34" fmla="*/ 723 w 10000"/>
                  <a:gd name="connsiteY34" fmla="*/ 4927 h 10000"/>
                  <a:gd name="connsiteX35" fmla="*/ 766 w 10000"/>
                  <a:gd name="connsiteY35" fmla="*/ 4823 h 10000"/>
                  <a:gd name="connsiteX36" fmla="*/ 574 w 10000"/>
                  <a:gd name="connsiteY36" fmla="*/ 4906 h 10000"/>
                  <a:gd name="connsiteX37" fmla="*/ 298 w 10000"/>
                  <a:gd name="connsiteY37" fmla="*/ 4906 h 10000"/>
                  <a:gd name="connsiteX38" fmla="*/ 298 w 10000"/>
                  <a:gd name="connsiteY38" fmla="*/ 4906 h 10000"/>
                  <a:gd name="connsiteX39" fmla="*/ 0 w 10000"/>
                  <a:gd name="connsiteY39" fmla="*/ 4574 h 10000"/>
                  <a:gd name="connsiteX40" fmla="*/ 0 w 10000"/>
                  <a:gd name="connsiteY40" fmla="*/ 4574 h 10000"/>
                  <a:gd name="connsiteX41" fmla="*/ 0 w 10000"/>
                  <a:gd name="connsiteY41" fmla="*/ 4553 h 10000"/>
                  <a:gd name="connsiteX42" fmla="*/ 85 w 10000"/>
                  <a:gd name="connsiteY42" fmla="*/ 4491 h 10000"/>
                  <a:gd name="connsiteX43" fmla="*/ 277 w 10000"/>
                  <a:gd name="connsiteY43" fmla="*/ 4491 h 10000"/>
                  <a:gd name="connsiteX44" fmla="*/ 277 w 10000"/>
                  <a:gd name="connsiteY44" fmla="*/ 4324 h 10000"/>
                  <a:gd name="connsiteX45" fmla="*/ 277 w 10000"/>
                  <a:gd name="connsiteY45" fmla="*/ 4324 h 10000"/>
                  <a:gd name="connsiteX46" fmla="*/ 298 w 10000"/>
                  <a:gd name="connsiteY46" fmla="*/ 4324 h 10000"/>
                  <a:gd name="connsiteX47" fmla="*/ 298 w 10000"/>
                  <a:gd name="connsiteY47" fmla="*/ 4324 h 10000"/>
                  <a:gd name="connsiteX48" fmla="*/ 702 w 10000"/>
                  <a:gd name="connsiteY48" fmla="*/ 4428 h 10000"/>
                  <a:gd name="connsiteX49" fmla="*/ 830 w 10000"/>
                  <a:gd name="connsiteY49" fmla="*/ 4304 h 10000"/>
                  <a:gd name="connsiteX50" fmla="*/ 851 w 10000"/>
                  <a:gd name="connsiteY50" fmla="*/ 4304 h 10000"/>
                  <a:gd name="connsiteX51" fmla="*/ 851 w 10000"/>
                  <a:gd name="connsiteY51" fmla="*/ 4304 h 10000"/>
                  <a:gd name="connsiteX52" fmla="*/ 936 w 10000"/>
                  <a:gd name="connsiteY52" fmla="*/ 4387 h 10000"/>
                  <a:gd name="connsiteX53" fmla="*/ 1043 w 10000"/>
                  <a:gd name="connsiteY53" fmla="*/ 4324 h 10000"/>
                  <a:gd name="connsiteX54" fmla="*/ 894 w 10000"/>
                  <a:gd name="connsiteY54" fmla="*/ 3909 h 10000"/>
                  <a:gd name="connsiteX55" fmla="*/ 702 w 10000"/>
                  <a:gd name="connsiteY55" fmla="*/ 3825 h 10000"/>
                  <a:gd name="connsiteX56" fmla="*/ 702 w 10000"/>
                  <a:gd name="connsiteY56" fmla="*/ 3784 h 10000"/>
                  <a:gd name="connsiteX57" fmla="*/ 723 w 10000"/>
                  <a:gd name="connsiteY57" fmla="*/ 3617 h 10000"/>
                  <a:gd name="connsiteX58" fmla="*/ 511 w 10000"/>
                  <a:gd name="connsiteY58" fmla="*/ 3555 h 10000"/>
                  <a:gd name="connsiteX59" fmla="*/ 511 w 10000"/>
                  <a:gd name="connsiteY59" fmla="*/ 3555 h 10000"/>
                  <a:gd name="connsiteX60" fmla="*/ 489 w 10000"/>
                  <a:gd name="connsiteY60" fmla="*/ 3514 h 10000"/>
                  <a:gd name="connsiteX61" fmla="*/ 553 w 10000"/>
                  <a:gd name="connsiteY61" fmla="*/ 3368 h 10000"/>
                  <a:gd name="connsiteX62" fmla="*/ 830 w 10000"/>
                  <a:gd name="connsiteY62" fmla="*/ 2973 h 10000"/>
                  <a:gd name="connsiteX63" fmla="*/ 851 w 10000"/>
                  <a:gd name="connsiteY63" fmla="*/ 2973 h 10000"/>
                  <a:gd name="connsiteX64" fmla="*/ 851 w 10000"/>
                  <a:gd name="connsiteY64" fmla="*/ 2973 h 10000"/>
                  <a:gd name="connsiteX65" fmla="*/ 851 w 10000"/>
                  <a:gd name="connsiteY65" fmla="*/ 2973 h 10000"/>
                  <a:gd name="connsiteX66" fmla="*/ 979 w 10000"/>
                  <a:gd name="connsiteY66" fmla="*/ 3098 h 10000"/>
                  <a:gd name="connsiteX67" fmla="*/ 1277 w 10000"/>
                  <a:gd name="connsiteY67" fmla="*/ 3035 h 10000"/>
                  <a:gd name="connsiteX68" fmla="*/ 1468 w 10000"/>
                  <a:gd name="connsiteY68" fmla="*/ 2765 h 10000"/>
                  <a:gd name="connsiteX69" fmla="*/ 1660 w 10000"/>
                  <a:gd name="connsiteY69" fmla="*/ 2620 h 10000"/>
                  <a:gd name="connsiteX70" fmla="*/ 1830 w 10000"/>
                  <a:gd name="connsiteY70" fmla="*/ 2287 h 10000"/>
                  <a:gd name="connsiteX71" fmla="*/ 1957 w 10000"/>
                  <a:gd name="connsiteY71" fmla="*/ 2245 h 10000"/>
                  <a:gd name="connsiteX72" fmla="*/ 2000 w 10000"/>
                  <a:gd name="connsiteY72" fmla="*/ 2204 h 10000"/>
                  <a:gd name="connsiteX73" fmla="*/ 2170 w 10000"/>
                  <a:gd name="connsiteY73" fmla="*/ 2079 h 10000"/>
                  <a:gd name="connsiteX74" fmla="*/ 2404 w 10000"/>
                  <a:gd name="connsiteY74" fmla="*/ 1975 h 10000"/>
                  <a:gd name="connsiteX75" fmla="*/ 2511 w 10000"/>
                  <a:gd name="connsiteY75" fmla="*/ 1954 h 10000"/>
                  <a:gd name="connsiteX76" fmla="*/ 2511 w 10000"/>
                  <a:gd name="connsiteY76" fmla="*/ 1892 h 10000"/>
                  <a:gd name="connsiteX77" fmla="*/ 2574 w 10000"/>
                  <a:gd name="connsiteY77" fmla="*/ 1892 h 10000"/>
                  <a:gd name="connsiteX78" fmla="*/ 2638 w 10000"/>
                  <a:gd name="connsiteY78" fmla="*/ 1809 h 10000"/>
                  <a:gd name="connsiteX79" fmla="*/ 2681 w 10000"/>
                  <a:gd name="connsiteY79" fmla="*/ 1559 h 10000"/>
                  <a:gd name="connsiteX80" fmla="*/ 2702 w 10000"/>
                  <a:gd name="connsiteY80" fmla="*/ 1372 h 10000"/>
                  <a:gd name="connsiteX81" fmla="*/ 2574 w 10000"/>
                  <a:gd name="connsiteY81" fmla="*/ 1435 h 10000"/>
                  <a:gd name="connsiteX82" fmla="*/ 2489 w 10000"/>
                  <a:gd name="connsiteY82" fmla="*/ 1414 h 10000"/>
                  <a:gd name="connsiteX83" fmla="*/ 2447 w 10000"/>
                  <a:gd name="connsiteY83" fmla="*/ 1331 h 10000"/>
                  <a:gd name="connsiteX84" fmla="*/ 2447 w 10000"/>
                  <a:gd name="connsiteY84" fmla="*/ 1331 h 10000"/>
                  <a:gd name="connsiteX85" fmla="*/ 2426 w 10000"/>
                  <a:gd name="connsiteY85" fmla="*/ 1268 h 10000"/>
                  <a:gd name="connsiteX86" fmla="*/ 2404 w 10000"/>
                  <a:gd name="connsiteY86" fmla="*/ 1206 h 10000"/>
                  <a:gd name="connsiteX87" fmla="*/ 2426 w 10000"/>
                  <a:gd name="connsiteY87" fmla="*/ 1102 h 10000"/>
                  <a:gd name="connsiteX88" fmla="*/ 2511 w 10000"/>
                  <a:gd name="connsiteY88" fmla="*/ 1019 h 10000"/>
                  <a:gd name="connsiteX89" fmla="*/ 2617 w 10000"/>
                  <a:gd name="connsiteY89" fmla="*/ 936 h 10000"/>
                  <a:gd name="connsiteX90" fmla="*/ 2553 w 10000"/>
                  <a:gd name="connsiteY90" fmla="*/ 811 h 10000"/>
                  <a:gd name="connsiteX91" fmla="*/ 2426 w 10000"/>
                  <a:gd name="connsiteY91" fmla="*/ 811 h 10000"/>
                  <a:gd name="connsiteX92" fmla="*/ 2426 w 10000"/>
                  <a:gd name="connsiteY92" fmla="*/ 686 h 10000"/>
                  <a:gd name="connsiteX93" fmla="*/ 2298 w 10000"/>
                  <a:gd name="connsiteY93" fmla="*/ 561 h 10000"/>
                  <a:gd name="connsiteX94" fmla="*/ 2234 w 10000"/>
                  <a:gd name="connsiteY94" fmla="*/ 457 h 10000"/>
                  <a:gd name="connsiteX95" fmla="*/ 2149 w 10000"/>
                  <a:gd name="connsiteY95" fmla="*/ 270 h 10000"/>
                  <a:gd name="connsiteX96" fmla="*/ 2149 w 10000"/>
                  <a:gd name="connsiteY96" fmla="*/ 166 h 10000"/>
                  <a:gd name="connsiteX97" fmla="*/ 2277 w 10000"/>
                  <a:gd name="connsiteY97" fmla="*/ 83 h 10000"/>
                  <a:gd name="connsiteX98" fmla="*/ 2553 w 10000"/>
                  <a:gd name="connsiteY98" fmla="*/ 0 h 10000"/>
                  <a:gd name="connsiteX99" fmla="*/ 2787 w 10000"/>
                  <a:gd name="connsiteY99" fmla="*/ 62 h 10000"/>
                  <a:gd name="connsiteX100" fmla="*/ 2894 w 10000"/>
                  <a:gd name="connsiteY100" fmla="*/ 146 h 10000"/>
                  <a:gd name="connsiteX101" fmla="*/ 3171 w 10000"/>
                  <a:gd name="connsiteY101" fmla="*/ 384 h 10000"/>
                  <a:gd name="connsiteX102" fmla="*/ 3574 w 10000"/>
                  <a:gd name="connsiteY102" fmla="*/ 499 h 10000"/>
                  <a:gd name="connsiteX103" fmla="*/ 3745 w 10000"/>
                  <a:gd name="connsiteY103" fmla="*/ 457 h 10000"/>
                  <a:gd name="connsiteX104" fmla="*/ 3936 w 10000"/>
                  <a:gd name="connsiteY104" fmla="*/ 395 h 10000"/>
                  <a:gd name="connsiteX105" fmla="*/ 4128 w 10000"/>
                  <a:gd name="connsiteY105" fmla="*/ 353 h 10000"/>
                  <a:gd name="connsiteX106" fmla="*/ 4128 w 10000"/>
                  <a:gd name="connsiteY106" fmla="*/ 353 h 10000"/>
                  <a:gd name="connsiteX107" fmla="*/ 4128 w 10000"/>
                  <a:gd name="connsiteY107" fmla="*/ 416 h 10000"/>
                  <a:gd name="connsiteX108" fmla="*/ 4191 w 10000"/>
                  <a:gd name="connsiteY108" fmla="*/ 686 h 10000"/>
                  <a:gd name="connsiteX109" fmla="*/ 4128 w 10000"/>
                  <a:gd name="connsiteY109" fmla="*/ 1019 h 10000"/>
                  <a:gd name="connsiteX110" fmla="*/ 3957 w 10000"/>
                  <a:gd name="connsiteY110" fmla="*/ 1206 h 10000"/>
                  <a:gd name="connsiteX111" fmla="*/ 3957 w 10000"/>
                  <a:gd name="connsiteY111" fmla="*/ 1227 h 10000"/>
                  <a:gd name="connsiteX112" fmla="*/ 3745 w 10000"/>
                  <a:gd name="connsiteY112" fmla="*/ 1372 h 10000"/>
                  <a:gd name="connsiteX113" fmla="*/ 3745 w 10000"/>
                  <a:gd name="connsiteY113" fmla="*/ 1372 h 10000"/>
                  <a:gd name="connsiteX114" fmla="*/ 3723 w 10000"/>
                  <a:gd name="connsiteY114" fmla="*/ 1372 h 10000"/>
                  <a:gd name="connsiteX115" fmla="*/ 3723 w 10000"/>
                  <a:gd name="connsiteY115" fmla="*/ 1372 h 10000"/>
                  <a:gd name="connsiteX116" fmla="*/ 3936 w 10000"/>
                  <a:gd name="connsiteY116" fmla="*/ 1684 h 10000"/>
                  <a:gd name="connsiteX117" fmla="*/ 3894 w 10000"/>
                  <a:gd name="connsiteY117" fmla="*/ 1871 h 10000"/>
                  <a:gd name="connsiteX118" fmla="*/ 4468 w 10000"/>
                  <a:gd name="connsiteY118" fmla="*/ 2162 h 10000"/>
                  <a:gd name="connsiteX119" fmla="*/ 4468 w 10000"/>
                  <a:gd name="connsiteY119" fmla="*/ 2204 h 10000"/>
                  <a:gd name="connsiteX120" fmla="*/ 4468 w 10000"/>
                  <a:gd name="connsiteY120" fmla="*/ 2204 h 10000"/>
                  <a:gd name="connsiteX121" fmla="*/ 4213 w 10000"/>
                  <a:gd name="connsiteY121" fmla="*/ 2370 h 10000"/>
                  <a:gd name="connsiteX122" fmla="*/ 4128 w 10000"/>
                  <a:gd name="connsiteY122" fmla="*/ 2703 h 10000"/>
                  <a:gd name="connsiteX123" fmla="*/ 5043 w 10000"/>
                  <a:gd name="connsiteY123" fmla="*/ 3243 h 10000"/>
                  <a:gd name="connsiteX124" fmla="*/ 5532 w 10000"/>
                  <a:gd name="connsiteY124" fmla="*/ 3243 h 10000"/>
                  <a:gd name="connsiteX125" fmla="*/ 5574 w 10000"/>
                  <a:gd name="connsiteY125" fmla="*/ 3243 h 10000"/>
                  <a:gd name="connsiteX126" fmla="*/ 5745 w 10000"/>
                  <a:gd name="connsiteY126" fmla="*/ 3451 h 10000"/>
                  <a:gd name="connsiteX127" fmla="*/ 6532 w 10000"/>
                  <a:gd name="connsiteY127" fmla="*/ 3617 h 10000"/>
                  <a:gd name="connsiteX128" fmla="*/ 6766 w 10000"/>
                  <a:gd name="connsiteY128" fmla="*/ 3576 h 10000"/>
                  <a:gd name="connsiteX129" fmla="*/ 6809 w 10000"/>
                  <a:gd name="connsiteY129" fmla="*/ 3493 h 10000"/>
                  <a:gd name="connsiteX130" fmla="*/ 6745 w 10000"/>
                  <a:gd name="connsiteY130" fmla="*/ 3430 h 10000"/>
                  <a:gd name="connsiteX131" fmla="*/ 6745 w 10000"/>
                  <a:gd name="connsiteY131" fmla="*/ 3389 h 10000"/>
                  <a:gd name="connsiteX132" fmla="*/ 6766 w 10000"/>
                  <a:gd name="connsiteY132" fmla="*/ 3347 h 10000"/>
                  <a:gd name="connsiteX133" fmla="*/ 6830 w 10000"/>
                  <a:gd name="connsiteY133" fmla="*/ 3077 h 10000"/>
                  <a:gd name="connsiteX134" fmla="*/ 6830 w 10000"/>
                  <a:gd name="connsiteY134" fmla="*/ 3035 h 10000"/>
                  <a:gd name="connsiteX135" fmla="*/ 7043 w 10000"/>
                  <a:gd name="connsiteY135" fmla="*/ 2973 h 10000"/>
                  <a:gd name="connsiteX136" fmla="*/ 7043 w 10000"/>
                  <a:gd name="connsiteY136" fmla="*/ 2973 h 10000"/>
                  <a:gd name="connsiteX137" fmla="*/ 7043 w 10000"/>
                  <a:gd name="connsiteY137" fmla="*/ 2973 h 10000"/>
                  <a:gd name="connsiteX138" fmla="*/ 7085 w 10000"/>
                  <a:gd name="connsiteY138" fmla="*/ 3015 h 10000"/>
                  <a:gd name="connsiteX139" fmla="*/ 7085 w 10000"/>
                  <a:gd name="connsiteY139" fmla="*/ 3222 h 10000"/>
                  <a:gd name="connsiteX140" fmla="*/ 7106 w 10000"/>
                  <a:gd name="connsiteY140" fmla="*/ 3243 h 10000"/>
                  <a:gd name="connsiteX141" fmla="*/ 7149 w 10000"/>
                  <a:gd name="connsiteY141" fmla="*/ 3285 h 10000"/>
                  <a:gd name="connsiteX142" fmla="*/ 7149 w 10000"/>
                  <a:gd name="connsiteY142" fmla="*/ 3285 h 10000"/>
                  <a:gd name="connsiteX143" fmla="*/ 7085 w 10000"/>
                  <a:gd name="connsiteY143" fmla="*/ 3347 h 10000"/>
                  <a:gd name="connsiteX144" fmla="*/ 7106 w 10000"/>
                  <a:gd name="connsiteY144" fmla="*/ 3430 h 10000"/>
                  <a:gd name="connsiteX145" fmla="*/ 7362 w 10000"/>
                  <a:gd name="connsiteY145" fmla="*/ 3493 h 10000"/>
                  <a:gd name="connsiteX146" fmla="*/ 8128 w 10000"/>
                  <a:gd name="connsiteY146" fmla="*/ 3389 h 10000"/>
                  <a:gd name="connsiteX147" fmla="*/ 8191 w 10000"/>
                  <a:gd name="connsiteY147" fmla="*/ 3285 h 10000"/>
                  <a:gd name="connsiteX148" fmla="*/ 8064 w 10000"/>
                  <a:gd name="connsiteY148" fmla="*/ 3222 h 10000"/>
                  <a:gd name="connsiteX149" fmla="*/ 8043 w 10000"/>
                  <a:gd name="connsiteY149" fmla="*/ 3181 h 10000"/>
                  <a:gd name="connsiteX150" fmla="*/ 8043 w 10000"/>
                  <a:gd name="connsiteY150" fmla="*/ 3098 h 10000"/>
                  <a:gd name="connsiteX151" fmla="*/ 8064 w 10000"/>
                  <a:gd name="connsiteY151" fmla="*/ 3077 h 10000"/>
                  <a:gd name="connsiteX152" fmla="*/ 8489 w 10000"/>
                  <a:gd name="connsiteY152" fmla="*/ 2911 h 10000"/>
                  <a:gd name="connsiteX153" fmla="*/ 9021 w 10000"/>
                  <a:gd name="connsiteY153" fmla="*/ 2516 h 10000"/>
                  <a:gd name="connsiteX154" fmla="*/ 9021 w 10000"/>
                  <a:gd name="connsiteY154" fmla="*/ 2516 h 10000"/>
                  <a:gd name="connsiteX155" fmla="*/ 9255 w 10000"/>
                  <a:gd name="connsiteY155" fmla="*/ 2557 h 10000"/>
                  <a:gd name="connsiteX156" fmla="*/ 9511 w 10000"/>
                  <a:gd name="connsiteY156" fmla="*/ 2432 h 10000"/>
                  <a:gd name="connsiteX157" fmla="*/ 9511 w 10000"/>
                  <a:gd name="connsiteY157" fmla="*/ 2432 h 10000"/>
                  <a:gd name="connsiteX158" fmla="*/ 9553 w 10000"/>
                  <a:gd name="connsiteY158" fmla="*/ 2432 h 10000"/>
                  <a:gd name="connsiteX159" fmla="*/ 9553 w 10000"/>
                  <a:gd name="connsiteY159" fmla="*/ 2474 h 10000"/>
                  <a:gd name="connsiteX160" fmla="*/ 9596 w 10000"/>
                  <a:gd name="connsiteY160" fmla="*/ 2620 h 10000"/>
                  <a:gd name="connsiteX161" fmla="*/ 9660 w 10000"/>
                  <a:gd name="connsiteY161" fmla="*/ 2640 h 10000"/>
                  <a:gd name="connsiteX162" fmla="*/ 9660 w 10000"/>
                  <a:gd name="connsiteY162" fmla="*/ 2682 h 10000"/>
                  <a:gd name="connsiteX163" fmla="*/ 9638 w 10000"/>
                  <a:gd name="connsiteY163" fmla="*/ 2827 h 10000"/>
                  <a:gd name="connsiteX164" fmla="*/ 9872 w 10000"/>
                  <a:gd name="connsiteY164" fmla="*/ 2848 h 10000"/>
                  <a:gd name="connsiteX165" fmla="*/ 9979 w 10000"/>
                  <a:gd name="connsiteY165" fmla="*/ 2952 h 10000"/>
                  <a:gd name="connsiteX166" fmla="*/ 10000 w 10000"/>
                  <a:gd name="connsiteY166" fmla="*/ 2973 h 10000"/>
                  <a:gd name="connsiteX167" fmla="*/ 10000 w 10000"/>
                  <a:gd name="connsiteY167" fmla="*/ 3035 h 10000"/>
                  <a:gd name="connsiteX168" fmla="*/ 9979 w 10000"/>
                  <a:gd name="connsiteY168" fmla="*/ 3077 h 10000"/>
                  <a:gd name="connsiteX169" fmla="*/ 9915 w 10000"/>
                  <a:gd name="connsiteY169" fmla="*/ 3098 h 10000"/>
                  <a:gd name="connsiteX170" fmla="*/ 9872 w 10000"/>
                  <a:gd name="connsiteY170" fmla="*/ 3306 h 10000"/>
                  <a:gd name="connsiteX171" fmla="*/ 9851 w 10000"/>
                  <a:gd name="connsiteY171" fmla="*/ 3347 h 10000"/>
                  <a:gd name="connsiteX172" fmla="*/ 9574 w 10000"/>
                  <a:gd name="connsiteY172" fmla="*/ 3347 h 10000"/>
                  <a:gd name="connsiteX173" fmla="*/ 9298 w 10000"/>
                  <a:gd name="connsiteY173" fmla="*/ 3617 h 10000"/>
                  <a:gd name="connsiteX174" fmla="*/ 9255 w 10000"/>
                  <a:gd name="connsiteY174" fmla="*/ 3846 h 10000"/>
                  <a:gd name="connsiteX175" fmla="*/ 9085 w 10000"/>
                  <a:gd name="connsiteY175" fmla="*/ 4054 h 10000"/>
                  <a:gd name="connsiteX176" fmla="*/ 8936 w 10000"/>
                  <a:gd name="connsiteY176" fmla="*/ 4511 h 10000"/>
                  <a:gd name="connsiteX177" fmla="*/ 8894 w 10000"/>
                  <a:gd name="connsiteY177" fmla="*/ 4511 h 10000"/>
                  <a:gd name="connsiteX178" fmla="*/ 8617 w 10000"/>
                  <a:gd name="connsiteY178" fmla="*/ 4595 h 10000"/>
                  <a:gd name="connsiteX179" fmla="*/ 8617 w 10000"/>
                  <a:gd name="connsiteY179" fmla="*/ 4865 h 10000"/>
                  <a:gd name="connsiteX180" fmla="*/ 8596 w 10000"/>
                  <a:gd name="connsiteY180" fmla="*/ 4906 h 10000"/>
                  <a:gd name="connsiteX181" fmla="*/ 8532 w 10000"/>
                  <a:gd name="connsiteY181" fmla="*/ 4906 h 10000"/>
                  <a:gd name="connsiteX182" fmla="*/ 8489 w 10000"/>
                  <a:gd name="connsiteY182" fmla="*/ 4969 h 10000"/>
                  <a:gd name="connsiteX183" fmla="*/ 8553 w 10000"/>
                  <a:gd name="connsiteY183" fmla="*/ 5135 h 10000"/>
                  <a:gd name="connsiteX184" fmla="*/ 8553 w 10000"/>
                  <a:gd name="connsiteY184" fmla="*/ 5177 h 10000"/>
                  <a:gd name="connsiteX185" fmla="*/ 8362 w 10000"/>
                  <a:gd name="connsiteY185" fmla="*/ 5260 h 10000"/>
                  <a:gd name="connsiteX186" fmla="*/ 8362 w 10000"/>
                  <a:gd name="connsiteY186" fmla="*/ 5260 h 10000"/>
                  <a:gd name="connsiteX187" fmla="*/ 8362 w 10000"/>
                  <a:gd name="connsiteY187" fmla="*/ 5260 h 10000"/>
                  <a:gd name="connsiteX188" fmla="*/ 8340 w 10000"/>
                  <a:gd name="connsiteY188" fmla="*/ 5239 h 10000"/>
                  <a:gd name="connsiteX189" fmla="*/ 8191 w 10000"/>
                  <a:gd name="connsiteY189" fmla="*/ 4636 h 10000"/>
                  <a:gd name="connsiteX190" fmla="*/ 8043 w 10000"/>
                  <a:gd name="connsiteY190" fmla="*/ 4844 h 10000"/>
                  <a:gd name="connsiteX191" fmla="*/ 8043 w 10000"/>
                  <a:gd name="connsiteY191" fmla="*/ 4844 h 10000"/>
                  <a:gd name="connsiteX192" fmla="*/ 8043 w 10000"/>
                  <a:gd name="connsiteY192" fmla="*/ 4844 h 10000"/>
                  <a:gd name="connsiteX193" fmla="*/ 8000 w 10000"/>
                  <a:gd name="connsiteY193" fmla="*/ 4844 h 10000"/>
                  <a:gd name="connsiteX194" fmla="*/ 7872 w 10000"/>
                  <a:gd name="connsiteY194" fmla="*/ 4761 h 10000"/>
                  <a:gd name="connsiteX195" fmla="*/ 7787 w 10000"/>
                  <a:gd name="connsiteY195" fmla="*/ 4511 h 10000"/>
                  <a:gd name="connsiteX196" fmla="*/ 7809 w 10000"/>
                  <a:gd name="connsiteY196" fmla="*/ 4511 h 10000"/>
                  <a:gd name="connsiteX197" fmla="*/ 8191 w 10000"/>
                  <a:gd name="connsiteY197" fmla="*/ 4096 h 10000"/>
                  <a:gd name="connsiteX198" fmla="*/ 7468 w 10000"/>
                  <a:gd name="connsiteY198" fmla="*/ 4033 h 10000"/>
                  <a:gd name="connsiteX199" fmla="*/ 7362 w 10000"/>
                  <a:gd name="connsiteY199" fmla="*/ 3950 h 10000"/>
                  <a:gd name="connsiteX200" fmla="*/ 7298 w 10000"/>
                  <a:gd name="connsiteY200" fmla="*/ 3721 h 10000"/>
                  <a:gd name="connsiteX201" fmla="*/ 7298 w 10000"/>
                  <a:gd name="connsiteY201" fmla="*/ 3763 h 10000"/>
                  <a:gd name="connsiteX202" fmla="*/ 7255 w 10000"/>
                  <a:gd name="connsiteY202" fmla="*/ 3763 h 10000"/>
                  <a:gd name="connsiteX203" fmla="*/ 7170 w 10000"/>
                  <a:gd name="connsiteY203" fmla="*/ 3763 h 10000"/>
                  <a:gd name="connsiteX204" fmla="*/ 7170 w 10000"/>
                  <a:gd name="connsiteY204" fmla="*/ 3763 h 10000"/>
                  <a:gd name="connsiteX205" fmla="*/ 7106 w 10000"/>
                  <a:gd name="connsiteY205" fmla="*/ 3638 h 10000"/>
                  <a:gd name="connsiteX206" fmla="*/ 7043 w 10000"/>
                  <a:gd name="connsiteY206" fmla="*/ 3721 h 10000"/>
                  <a:gd name="connsiteX207" fmla="*/ 7043 w 10000"/>
                  <a:gd name="connsiteY207" fmla="*/ 3721 h 10000"/>
                  <a:gd name="connsiteX208" fmla="*/ 7043 w 10000"/>
                  <a:gd name="connsiteY208" fmla="*/ 3721 h 10000"/>
                  <a:gd name="connsiteX209" fmla="*/ 7021 w 10000"/>
                  <a:gd name="connsiteY209" fmla="*/ 3721 h 10000"/>
                  <a:gd name="connsiteX210" fmla="*/ 6957 w 10000"/>
                  <a:gd name="connsiteY210" fmla="*/ 3617 h 10000"/>
                  <a:gd name="connsiteX211" fmla="*/ 6830 w 10000"/>
                  <a:gd name="connsiteY211" fmla="*/ 3825 h 10000"/>
                  <a:gd name="connsiteX212" fmla="*/ 6872 w 10000"/>
                  <a:gd name="connsiteY212" fmla="*/ 3888 h 10000"/>
                  <a:gd name="connsiteX213" fmla="*/ 6979 w 10000"/>
                  <a:gd name="connsiteY213" fmla="*/ 3909 h 10000"/>
                  <a:gd name="connsiteX214" fmla="*/ 7021 w 10000"/>
                  <a:gd name="connsiteY214" fmla="*/ 3909 h 10000"/>
                  <a:gd name="connsiteX215" fmla="*/ 7021 w 10000"/>
                  <a:gd name="connsiteY215" fmla="*/ 4033 h 10000"/>
                  <a:gd name="connsiteX216" fmla="*/ 7021 w 10000"/>
                  <a:gd name="connsiteY216" fmla="*/ 4054 h 10000"/>
                  <a:gd name="connsiteX217" fmla="*/ 7021 w 10000"/>
                  <a:gd name="connsiteY217" fmla="*/ 4054 h 10000"/>
                  <a:gd name="connsiteX218" fmla="*/ 6894 w 10000"/>
                  <a:gd name="connsiteY218" fmla="*/ 4054 h 10000"/>
                  <a:gd name="connsiteX219" fmla="*/ 6766 w 10000"/>
                  <a:gd name="connsiteY219" fmla="*/ 4220 h 10000"/>
                  <a:gd name="connsiteX220" fmla="*/ 6979 w 10000"/>
                  <a:gd name="connsiteY220" fmla="*/ 4366 h 10000"/>
                  <a:gd name="connsiteX221" fmla="*/ 6979 w 10000"/>
                  <a:gd name="connsiteY221" fmla="*/ 4387 h 10000"/>
                  <a:gd name="connsiteX222" fmla="*/ 6957 w 10000"/>
                  <a:gd name="connsiteY222" fmla="*/ 4595 h 10000"/>
                  <a:gd name="connsiteX223" fmla="*/ 7106 w 10000"/>
                  <a:gd name="connsiteY223" fmla="*/ 5322 h 10000"/>
                  <a:gd name="connsiteX224" fmla="*/ 7106 w 10000"/>
                  <a:gd name="connsiteY224" fmla="*/ 5364 h 10000"/>
                  <a:gd name="connsiteX225" fmla="*/ 7043 w 10000"/>
                  <a:gd name="connsiteY225" fmla="*/ 5385 h 10000"/>
                  <a:gd name="connsiteX226" fmla="*/ 7043 w 10000"/>
                  <a:gd name="connsiteY226" fmla="*/ 5385 h 10000"/>
                  <a:gd name="connsiteX227" fmla="*/ 7021 w 10000"/>
                  <a:gd name="connsiteY227" fmla="*/ 5364 h 10000"/>
                  <a:gd name="connsiteX228" fmla="*/ 7021 w 10000"/>
                  <a:gd name="connsiteY228" fmla="*/ 5364 h 10000"/>
                  <a:gd name="connsiteX229" fmla="*/ 7021 w 10000"/>
                  <a:gd name="connsiteY229" fmla="*/ 5364 h 10000"/>
                  <a:gd name="connsiteX230" fmla="*/ 6894 w 10000"/>
                  <a:gd name="connsiteY230" fmla="*/ 5426 h 10000"/>
                  <a:gd name="connsiteX231" fmla="*/ 6872 w 10000"/>
                  <a:gd name="connsiteY231" fmla="*/ 5426 h 10000"/>
                  <a:gd name="connsiteX232" fmla="*/ 6872 w 10000"/>
                  <a:gd name="connsiteY232" fmla="*/ 5426 h 10000"/>
                  <a:gd name="connsiteX233" fmla="*/ 6872 w 10000"/>
                  <a:gd name="connsiteY233" fmla="*/ 5385 h 10000"/>
                  <a:gd name="connsiteX234" fmla="*/ 6809 w 10000"/>
                  <a:gd name="connsiteY234" fmla="*/ 5198 h 10000"/>
                  <a:gd name="connsiteX235" fmla="*/ 6766 w 10000"/>
                  <a:gd name="connsiteY235" fmla="*/ 5301 h 10000"/>
                  <a:gd name="connsiteX236" fmla="*/ 6468 w 10000"/>
                  <a:gd name="connsiteY236" fmla="*/ 5447 h 10000"/>
                  <a:gd name="connsiteX237" fmla="*/ 6468 w 10000"/>
                  <a:gd name="connsiteY237" fmla="*/ 5696 h 10000"/>
                  <a:gd name="connsiteX238" fmla="*/ 6468 w 10000"/>
                  <a:gd name="connsiteY238" fmla="*/ 5696 h 10000"/>
                  <a:gd name="connsiteX239" fmla="*/ 6213 w 10000"/>
                  <a:gd name="connsiteY239" fmla="*/ 5925 h 10000"/>
                  <a:gd name="connsiteX240" fmla="*/ 5745 w 10000"/>
                  <a:gd name="connsiteY240" fmla="*/ 6175 h 10000"/>
                  <a:gd name="connsiteX241" fmla="*/ 5511 w 10000"/>
                  <a:gd name="connsiteY241" fmla="*/ 6507 h 10000"/>
                  <a:gd name="connsiteX242" fmla="*/ 4894 w 10000"/>
                  <a:gd name="connsiteY242" fmla="*/ 6985 h 10000"/>
                  <a:gd name="connsiteX243" fmla="*/ 4787 w 10000"/>
                  <a:gd name="connsiteY243" fmla="*/ 7131 h 10000"/>
                  <a:gd name="connsiteX244" fmla="*/ 4787 w 10000"/>
                  <a:gd name="connsiteY244" fmla="*/ 7131 h 10000"/>
                  <a:gd name="connsiteX245" fmla="*/ 4489 w 10000"/>
                  <a:gd name="connsiteY245" fmla="*/ 7214 h 10000"/>
                  <a:gd name="connsiteX246" fmla="*/ 4362 w 10000"/>
                  <a:gd name="connsiteY246" fmla="*/ 7401 h 10000"/>
                  <a:gd name="connsiteX247" fmla="*/ 4362 w 10000"/>
                  <a:gd name="connsiteY247" fmla="*/ 7443 h 10000"/>
                  <a:gd name="connsiteX248" fmla="*/ 4191 w 10000"/>
                  <a:gd name="connsiteY248" fmla="*/ 7443 h 10000"/>
                  <a:gd name="connsiteX249" fmla="*/ 4085 w 10000"/>
                  <a:gd name="connsiteY249" fmla="*/ 7547 h 10000"/>
                  <a:gd name="connsiteX250" fmla="*/ 4128 w 10000"/>
                  <a:gd name="connsiteY250" fmla="*/ 8129 h 10000"/>
                  <a:gd name="connsiteX251" fmla="*/ 4191 w 10000"/>
                  <a:gd name="connsiteY251" fmla="*/ 8254 h 10000"/>
                  <a:gd name="connsiteX252" fmla="*/ 4191 w 10000"/>
                  <a:gd name="connsiteY252" fmla="*/ 8274 h 10000"/>
                  <a:gd name="connsiteX253" fmla="*/ 4021 w 10000"/>
                  <a:gd name="connsiteY253" fmla="*/ 8794 h 10000"/>
                  <a:gd name="connsiteX254" fmla="*/ 4021 w 10000"/>
                  <a:gd name="connsiteY254" fmla="*/ 9210 h 10000"/>
                  <a:gd name="connsiteX255" fmla="*/ 4021 w 10000"/>
                  <a:gd name="connsiteY255" fmla="*/ 9231 h 10000"/>
                  <a:gd name="connsiteX256" fmla="*/ 4021 w 10000"/>
                  <a:gd name="connsiteY256" fmla="*/ 9231 h 10000"/>
                  <a:gd name="connsiteX257" fmla="*/ 3851 w 10000"/>
                  <a:gd name="connsiteY257" fmla="*/ 9231 h 10000"/>
                  <a:gd name="connsiteX258" fmla="*/ 3745 w 10000"/>
                  <a:gd name="connsiteY258" fmla="*/ 9480 h 10000"/>
                  <a:gd name="connsiteX259" fmla="*/ 3745 w 10000"/>
                  <a:gd name="connsiteY259" fmla="*/ 9563 h 10000"/>
                  <a:gd name="connsiteX260" fmla="*/ 3723 w 10000"/>
                  <a:gd name="connsiteY260" fmla="*/ 9563 h 10000"/>
                  <a:gd name="connsiteX261" fmla="*/ 3468 w 10000"/>
                  <a:gd name="connsiteY261" fmla="*/ 9667 h 10000"/>
                  <a:gd name="connsiteX262" fmla="*/ 3447 w 10000"/>
                  <a:gd name="connsiteY262" fmla="*/ 9834 h 10000"/>
                  <a:gd name="connsiteX263" fmla="*/ 3298 w 10000"/>
                  <a:gd name="connsiteY263" fmla="*/ 10000 h 10000"/>
                  <a:gd name="connsiteX264" fmla="*/ 3255 w 10000"/>
                  <a:gd name="connsiteY264" fmla="*/ 10000 h 10000"/>
                  <a:gd name="connsiteX265" fmla="*/ 3170 w 10000"/>
                  <a:gd name="connsiteY265" fmla="*/ 1000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</a:cxnLst>
                <a:rect l="l" t="t" r="r" b="b"/>
                <a:pathLst>
                  <a:path w="10000" h="10000">
                    <a:moveTo>
                      <a:pt x="3170" y="10000"/>
                    </a:moveTo>
                    <a:lnTo>
                      <a:pt x="3170" y="9958"/>
                    </a:lnTo>
                    <a:lnTo>
                      <a:pt x="2915" y="9688"/>
                    </a:lnTo>
                    <a:lnTo>
                      <a:pt x="2617" y="8857"/>
                    </a:lnTo>
                    <a:lnTo>
                      <a:pt x="2404" y="8586"/>
                    </a:lnTo>
                    <a:cubicBezTo>
                      <a:pt x="2362" y="8434"/>
                      <a:pt x="2319" y="8281"/>
                      <a:pt x="2277" y="8129"/>
                    </a:cubicBezTo>
                    <a:lnTo>
                      <a:pt x="2021" y="7672"/>
                    </a:lnTo>
                    <a:cubicBezTo>
                      <a:pt x="2014" y="7609"/>
                      <a:pt x="2007" y="7547"/>
                      <a:pt x="2000" y="7484"/>
                    </a:cubicBezTo>
                    <a:lnTo>
                      <a:pt x="1957" y="7484"/>
                    </a:lnTo>
                    <a:lnTo>
                      <a:pt x="1936" y="7526"/>
                    </a:lnTo>
                    <a:lnTo>
                      <a:pt x="1936" y="7526"/>
                    </a:lnTo>
                    <a:lnTo>
                      <a:pt x="1936" y="7484"/>
                    </a:lnTo>
                    <a:cubicBezTo>
                      <a:pt x="1915" y="7449"/>
                      <a:pt x="1893" y="7415"/>
                      <a:pt x="1872" y="7380"/>
                    </a:cubicBezTo>
                    <a:cubicBezTo>
                      <a:pt x="1830" y="7297"/>
                      <a:pt x="1787" y="7214"/>
                      <a:pt x="1745" y="7131"/>
                    </a:cubicBezTo>
                    <a:cubicBezTo>
                      <a:pt x="1695" y="6909"/>
                      <a:pt x="1646" y="6688"/>
                      <a:pt x="1596" y="6466"/>
                    </a:cubicBezTo>
                    <a:cubicBezTo>
                      <a:pt x="1603" y="6397"/>
                      <a:pt x="1610" y="6327"/>
                      <a:pt x="1617" y="6258"/>
                    </a:cubicBezTo>
                    <a:lnTo>
                      <a:pt x="1596" y="6258"/>
                    </a:lnTo>
                    <a:lnTo>
                      <a:pt x="1596" y="6258"/>
                    </a:lnTo>
                    <a:cubicBezTo>
                      <a:pt x="1575" y="6175"/>
                      <a:pt x="1553" y="6091"/>
                      <a:pt x="1532" y="6008"/>
                    </a:cubicBezTo>
                    <a:cubicBezTo>
                      <a:pt x="1553" y="5918"/>
                      <a:pt x="1575" y="5828"/>
                      <a:pt x="1596" y="5738"/>
                    </a:cubicBezTo>
                    <a:cubicBezTo>
                      <a:pt x="1553" y="5572"/>
                      <a:pt x="1511" y="5405"/>
                      <a:pt x="1468" y="5239"/>
                    </a:cubicBezTo>
                    <a:lnTo>
                      <a:pt x="1468" y="5239"/>
                    </a:lnTo>
                    <a:lnTo>
                      <a:pt x="1596" y="5114"/>
                    </a:lnTo>
                    <a:lnTo>
                      <a:pt x="1447" y="5094"/>
                    </a:lnTo>
                    <a:cubicBezTo>
                      <a:pt x="1404" y="5232"/>
                      <a:pt x="1362" y="5371"/>
                      <a:pt x="1319" y="5509"/>
                    </a:cubicBezTo>
                    <a:lnTo>
                      <a:pt x="1319" y="5530"/>
                    </a:lnTo>
                    <a:lnTo>
                      <a:pt x="1064" y="5634"/>
                    </a:lnTo>
                    <a:lnTo>
                      <a:pt x="830" y="5634"/>
                    </a:lnTo>
                    <a:lnTo>
                      <a:pt x="787" y="5634"/>
                    </a:lnTo>
                    <a:lnTo>
                      <a:pt x="298" y="5177"/>
                    </a:lnTo>
                    <a:lnTo>
                      <a:pt x="298" y="5094"/>
                    </a:lnTo>
                    <a:lnTo>
                      <a:pt x="298" y="5094"/>
                    </a:lnTo>
                    <a:lnTo>
                      <a:pt x="298" y="5052"/>
                    </a:lnTo>
                    <a:lnTo>
                      <a:pt x="638" y="5031"/>
                    </a:lnTo>
                    <a:cubicBezTo>
                      <a:pt x="666" y="4996"/>
                      <a:pt x="695" y="4962"/>
                      <a:pt x="723" y="4927"/>
                    </a:cubicBezTo>
                    <a:cubicBezTo>
                      <a:pt x="737" y="4892"/>
                      <a:pt x="752" y="4858"/>
                      <a:pt x="766" y="4823"/>
                    </a:cubicBezTo>
                    <a:lnTo>
                      <a:pt x="574" y="4906"/>
                    </a:lnTo>
                    <a:lnTo>
                      <a:pt x="298" y="4906"/>
                    </a:lnTo>
                    <a:lnTo>
                      <a:pt x="298" y="4906"/>
                    </a:lnTo>
                    <a:lnTo>
                      <a:pt x="0" y="4574"/>
                    </a:lnTo>
                    <a:lnTo>
                      <a:pt x="0" y="4574"/>
                    </a:lnTo>
                    <a:lnTo>
                      <a:pt x="0" y="4553"/>
                    </a:lnTo>
                    <a:cubicBezTo>
                      <a:pt x="28" y="4532"/>
                      <a:pt x="57" y="4512"/>
                      <a:pt x="85" y="4491"/>
                    </a:cubicBezTo>
                    <a:lnTo>
                      <a:pt x="277" y="4491"/>
                    </a:lnTo>
                    <a:lnTo>
                      <a:pt x="277" y="4324"/>
                    </a:lnTo>
                    <a:lnTo>
                      <a:pt x="277" y="4324"/>
                    </a:lnTo>
                    <a:lnTo>
                      <a:pt x="298" y="4324"/>
                    </a:lnTo>
                    <a:lnTo>
                      <a:pt x="298" y="4324"/>
                    </a:lnTo>
                    <a:lnTo>
                      <a:pt x="702" y="4428"/>
                    </a:lnTo>
                    <a:cubicBezTo>
                      <a:pt x="745" y="4387"/>
                      <a:pt x="787" y="4345"/>
                      <a:pt x="830" y="4304"/>
                    </a:cubicBezTo>
                    <a:lnTo>
                      <a:pt x="851" y="4304"/>
                    </a:lnTo>
                    <a:lnTo>
                      <a:pt x="851" y="4304"/>
                    </a:lnTo>
                    <a:cubicBezTo>
                      <a:pt x="879" y="4332"/>
                      <a:pt x="908" y="4359"/>
                      <a:pt x="936" y="4387"/>
                    </a:cubicBezTo>
                    <a:lnTo>
                      <a:pt x="1043" y="4324"/>
                    </a:lnTo>
                    <a:cubicBezTo>
                      <a:pt x="993" y="4186"/>
                      <a:pt x="944" y="4047"/>
                      <a:pt x="894" y="3909"/>
                    </a:cubicBezTo>
                    <a:lnTo>
                      <a:pt x="702" y="3825"/>
                    </a:lnTo>
                    <a:lnTo>
                      <a:pt x="702" y="3784"/>
                    </a:lnTo>
                    <a:cubicBezTo>
                      <a:pt x="709" y="3728"/>
                      <a:pt x="716" y="3673"/>
                      <a:pt x="723" y="3617"/>
                    </a:cubicBezTo>
                    <a:lnTo>
                      <a:pt x="511" y="3555"/>
                    </a:lnTo>
                    <a:lnTo>
                      <a:pt x="511" y="3555"/>
                    </a:lnTo>
                    <a:cubicBezTo>
                      <a:pt x="504" y="3541"/>
                      <a:pt x="496" y="3528"/>
                      <a:pt x="489" y="3514"/>
                    </a:cubicBezTo>
                    <a:cubicBezTo>
                      <a:pt x="510" y="3465"/>
                      <a:pt x="532" y="3417"/>
                      <a:pt x="553" y="3368"/>
                    </a:cubicBezTo>
                    <a:lnTo>
                      <a:pt x="830" y="2973"/>
                    </a:lnTo>
                    <a:lnTo>
                      <a:pt x="851" y="2973"/>
                    </a:lnTo>
                    <a:lnTo>
                      <a:pt x="851" y="2973"/>
                    </a:lnTo>
                    <a:lnTo>
                      <a:pt x="851" y="2973"/>
                    </a:lnTo>
                    <a:lnTo>
                      <a:pt x="979" y="3098"/>
                    </a:lnTo>
                    <a:lnTo>
                      <a:pt x="1277" y="3035"/>
                    </a:lnTo>
                    <a:lnTo>
                      <a:pt x="1468" y="2765"/>
                    </a:lnTo>
                    <a:lnTo>
                      <a:pt x="1660" y="2620"/>
                    </a:lnTo>
                    <a:cubicBezTo>
                      <a:pt x="1717" y="2509"/>
                      <a:pt x="1773" y="2398"/>
                      <a:pt x="1830" y="2287"/>
                    </a:cubicBezTo>
                    <a:lnTo>
                      <a:pt x="1957" y="2245"/>
                    </a:lnTo>
                    <a:cubicBezTo>
                      <a:pt x="1971" y="2231"/>
                      <a:pt x="1986" y="2218"/>
                      <a:pt x="2000" y="2204"/>
                    </a:cubicBezTo>
                    <a:lnTo>
                      <a:pt x="2170" y="2079"/>
                    </a:lnTo>
                    <a:lnTo>
                      <a:pt x="2404" y="1975"/>
                    </a:lnTo>
                    <a:lnTo>
                      <a:pt x="2511" y="1954"/>
                    </a:lnTo>
                    <a:lnTo>
                      <a:pt x="2511" y="1892"/>
                    </a:lnTo>
                    <a:lnTo>
                      <a:pt x="2574" y="1892"/>
                    </a:lnTo>
                    <a:cubicBezTo>
                      <a:pt x="2595" y="1864"/>
                      <a:pt x="2617" y="1837"/>
                      <a:pt x="2638" y="1809"/>
                    </a:cubicBezTo>
                    <a:cubicBezTo>
                      <a:pt x="2652" y="1726"/>
                      <a:pt x="2667" y="1642"/>
                      <a:pt x="2681" y="1559"/>
                    </a:cubicBezTo>
                    <a:cubicBezTo>
                      <a:pt x="2688" y="1497"/>
                      <a:pt x="2695" y="1434"/>
                      <a:pt x="2702" y="1372"/>
                    </a:cubicBezTo>
                    <a:lnTo>
                      <a:pt x="2574" y="1435"/>
                    </a:lnTo>
                    <a:lnTo>
                      <a:pt x="2489" y="1414"/>
                    </a:lnTo>
                    <a:cubicBezTo>
                      <a:pt x="2475" y="1386"/>
                      <a:pt x="2461" y="1359"/>
                      <a:pt x="2447" y="1331"/>
                    </a:cubicBezTo>
                    <a:lnTo>
                      <a:pt x="2447" y="1331"/>
                    </a:lnTo>
                    <a:lnTo>
                      <a:pt x="2426" y="1268"/>
                    </a:lnTo>
                    <a:cubicBezTo>
                      <a:pt x="2419" y="1247"/>
                      <a:pt x="2411" y="1227"/>
                      <a:pt x="2404" y="1206"/>
                    </a:cubicBezTo>
                    <a:cubicBezTo>
                      <a:pt x="2411" y="1171"/>
                      <a:pt x="2419" y="1137"/>
                      <a:pt x="2426" y="1102"/>
                    </a:cubicBezTo>
                    <a:cubicBezTo>
                      <a:pt x="2454" y="1074"/>
                      <a:pt x="2483" y="1047"/>
                      <a:pt x="2511" y="1019"/>
                    </a:cubicBezTo>
                    <a:cubicBezTo>
                      <a:pt x="2546" y="991"/>
                      <a:pt x="2582" y="964"/>
                      <a:pt x="2617" y="936"/>
                    </a:cubicBezTo>
                    <a:cubicBezTo>
                      <a:pt x="2596" y="894"/>
                      <a:pt x="2574" y="853"/>
                      <a:pt x="2553" y="811"/>
                    </a:cubicBezTo>
                    <a:lnTo>
                      <a:pt x="2426" y="811"/>
                    </a:lnTo>
                    <a:lnTo>
                      <a:pt x="2426" y="686"/>
                    </a:lnTo>
                    <a:lnTo>
                      <a:pt x="2298" y="561"/>
                    </a:lnTo>
                    <a:cubicBezTo>
                      <a:pt x="2277" y="526"/>
                      <a:pt x="2255" y="492"/>
                      <a:pt x="2234" y="457"/>
                    </a:cubicBezTo>
                    <a:cubicBezTo>
                      <a:pt x="2206" y="395"/>
                      <a:pt x="2177" y="332"/>
                      <a:pt x="2149" y="270"/>
                    </a:cubicBezTo>
                    <a:lnTo>
                      <a:pt x="2149" y="166"/>
                    </a:lnTo>
                    <a:lnTo>
                      <a:pt x="2277" y="83"/>
                    </a:lnTo>
                    <a:lnTo>
                      <a:pt x="2553" y="0"/>
                    </a:lnTo>
                    <a:lnTo>
                      <a:pt x="2787" y="62"/>
                    </a:lnTo>
                    <a:lnTo>
                      <a:pt x="2894" y="146"/>
                    </a:lnTo>
                    <a:lnTo>
                      <a:pt x="3171" y="384"/>
                    </a:lnTo>
                    <a:lnTo>
                      <a:pt x="3574" y="499"/>
                    </a:lnTo>
                    <a:lnTo>
                      <a:pt x="3745" y="457"/>
                    </a:lnTo>
                    <a:lnTo>
                      <a:pt x="3936" y="395"/>
                    </a:lnTo>
                    <a:lnTo>
                      <a:pt x="4128" y="353"/>
                    </a:lnTo>
                    <a:lnTo>
                      <a:pt x="4128" y="353"/>
                    </a:lnTo>
                    <a:lnTo>
                      <a:pt x="4128" y="416"/>
                    </a:lnTo>
                    <a:lnTo>
                      <a:pt x="4191" y="686"/>
                    </a:lnTo>
                    <a:cubicBezTo>
                      <a:pt x="4223" y="818"/>
                      <a:pt x="4096" y="887"/>
                      <a:pt x="4128" y="1019"/>
                    </a:cubicBezTo>
                    <a:cubicBezTo>
                      <a:pt x="4199" y="1102"/>
                      <a:pt x="3886" y="1123"/>
                      <a:pt x="3957" y="1206"/>
                    </a:cubicBezTo>
                    <a:lnTo>
                      <a:pt x="3957" y="1227"/>
                    </a:lnTo>
                    <a:lnTo>
                      <a:pt x="3745" y="1372"/>
                    </a:lnTo>
                    <a:lnTo>
                      <a:pt x="3745" y="1372"/>
                    </a:lnTo>
                    <a:lnTo>
                      <a:pt x="3723" y="1372"/>
                    </a:lnTo>
                    <a:lnTo>
                      <a:pt x="3723" y="1372"/>
                    </a:lnTo>
                    <a:cubicBezTo>
                      <a:pt x="3716" y="1393"/>
                      <a:pt x="3946" y="1629"/>
                      <a:pt x="3936" y="1684"/>
                    </a:cubicBezTo>
                    <a:cubicBezTo>
                      <a:pt x="3964" y="1767"/>
                      <a:pt x="3805" y="1791"/>
                      <a:pt x="3894" y="1871"/>
                    </a:cubicBezTo>
                    <a:lnTo>
                      <a:pt x="4468" y="2162"/>
                    </a:lnTo>
                    <a:lnTo>
                      <a:pt x="4468" y="2204"/>
                    </a:lnTo>
                    <a:lnTo>
                      <a:pt x="4468" y="2204"/>
                    </a:lnTo>
                    <a:lnTo>
                      <a:pt x="4213" y="2370"/>
                    </a:lnTo>
                    <a:cubicBezTo>
                      <a:pt x="4185" y="2481"/>
                      <a:pt x="4156" y="2592"/>
                      <a:pt x="4128" y="2703"/>
                    </a:cubicBezTo>
                    <a:lnTo>
                      <a:pt x="5043" y="3243"/>
                    </a:lnTo>
                    <a:lnTo>
                      <a:pt x="5532" y="3243"/>
                    </a:lnTo>
                    <a:lnTo>
                      <a:pt x="5574" y="3243"/>
                    </a:lnTo>
                    <a:lnTo>
                      <a:pt x="5745" y="3451"/>
                    </a:lnTo>
                    <a:lnTo>
                      <a:pt x="6532" y="3617"/>
                    </a:lnTo>
                    <a:lnTo>
                      <a:pt x="6766" y="3576"/>
                    </a:lnTo>
                    <a:cubicBezTo>
                      <a:pt x="6780" y="3548"/>
                      <a:pt x="6795" y="3521"/>
                      <a:pt x="6809" y="3493"/>
                    </a:cubicBezTo>
                    <a:cubicBezTo>
                      <a:pt x="6788" y="3472"/>
                      <a:pt x="6766" y="3451"/>
                      <a:pt x="6745" y="3430"/>
                    </a:cubicBezTo>
                    <a:lnTo>
                      <a:pt x="6745" y="3389"/>
                    </a:lnTo>
                    <a:lnTo>
                      <a:pt x="6766" y="3347"/>
                    </a:lnTo>
                    <a:cubicBezTo>
                      <a:pt x="6787" y="3257"/>
                      <a:pt x="6809" y="3167"/>
                      <a:pt x="6830" y="3077"/>
                    </a:cubicBezTo>
                    <a:lnTo>
                      <a:pt x="6830" y="3035"/>
                    </a:lnTo>
                    <a:lnTo>
                      <a:pt x="7043" y="2973"/>
                    </a:lnTo>
                    <a:lnTo>
                      <a:pt x="7043" y="2973"/>
                    </a:lnTo>
                    <a:lnTo>
                      <a:pt x="7043" y="2973"/>
                    </a:lnTo>
                    <a:lnTo>
                      <a:pt x="7085" y="3015"/>
                    </a:lnTo>
                    <a:lnTo>
                      <a:pt x="7085" y="3222"/>
                    </a:lnTo>
                    <a:lnTo>
                      <a:pt x="7106" y="3243"/>
                    </a:lnTo>
                    <a:cubicBezTo>
                      <a:pt x="7120" y="3257"/>
                      <a:pt x="7135" y="3271"/>
                      <a:pt x="7149" y="3285"/>
                    </a:cubicBezTo>
                    <a:lnTo>
                      <a:pt x="7149" y="3285"/>
                    </a:lnTo>
                    <a:cubicBezTo>
                      <a:pt x="7128" y="3306"/>
                      <a:pt x="7106" y="3326"/>
                      <a:pt x="7085" y="3347"/>
                    </a:cubicBezTo>
                    <a:cubicBezTo>
                      <a:pt x="7092" y="3375"/>
                      <a:pt x="7099" y="3402"/>
                      <a:pt x="7106" y="3430"/>
                    </a:cubicBezTo>
                    <a:lnTo>
                      <a:pt x="7362" y="3493"/>
                    </a:lnTo>
                    <a:lnTo>
                      <a:pt x="8128" y="3389"/>
                    </a:lnTo>
                    <a:cubicBezTo>
                      <a:pt x="8149" y="3354"/>
                      <a:pt x="8170" y="3320"/>
                      <a:pt x="8191" y="3285"/>
                    </a:cubicBezTo>
                    <a:lnTo>
                      <a:pt x="8064" y="3222"/>
                    </a:lnTo>
                    <a:cubicBezTo>
                      <a:pt x="8057" y="3208"/>
                      <a:pt x="8050" y="3195"/>
                      <a:pt x="8043" y="3181"/>
                    </a:cubicBezTo>
                    <a:lnTo>
                      <a:pt x="8043" y="3098"/>
                    </a:lnTo>
                    <a:lnTo>
                      <a:pt x="8064" y="3077"/>
                    </a:lnTo>
                    <a:lnTo>
                      <a:pt x="8489" y="2911"/>
                    </a:lnTo>
                    <a:lnTo>
                      <a:pt x="9021" y="2516"/>
                    </a:lnTo>
                    <a:lnTo>
                      <a:pt x="9021" y="2516"/>
                    </a:lnTo>
                    <a:lnTo>
                      <a:pt x="9255" y="2557"/>
                    </a:lnTo>
                    <a:lnTo>
                      <a:pt x="9511" y="2432"/>
                    </a:lnTo>
                    <a:lnTo>
                      <a:pt x="9511" y="2432"/>
                    </a:lnTo>
                    <a:lnTo>
                      <a:pt x="9553" y="2432"/>
                    </a:lnTo>
                    <a:lnTo>
                      <a:pt x="9553" y="2474"/>
                    </a:lnTo>
                    <a:cubicBezTo>
                      <a:pt x="9567" y="2523"/>
                      <a:pt x="9582" y="2571"/>
                      <a:pt x="9596" y="2620"/>
                    </a:cubicBezTo>
                    <a:cubicBezTo>
                      <a:pt x="9617" y="2627"/>
                      <a:pt x="9639" y="2633"/>
                      <a:pt x="9660" y="2640"/>
                    </a:cubicBezTo>
                    <a:lnTo>
                      <a:pt x="9660" y="2682"/>
                    </a:lnTo>
                    <a:cubicBezTo>
                      <a:pt x="9653" y="2730"/>
                      <a:pt x="9645" y="2779"/>
                      <a:pt x="9638" y="2827"/>
                    </a:cubicBezTo>
                    <a:lnTo>
                      <a:pt x="9872" y="2848"/>
                    </a:lnTo>
                    <a:lnTo>
                      <a:pt x="9979" y="2952"/>
                    </a:lnTo>
                    <a:lnTo>
                      <a:pt x="10000" y="2973"/>
                    </a:lnTo>
                    <a:lnTo>
                      <a:pt x="10000" y="3035"/>
                    </a:lnTo>
                    <a:lnTo>
                      <a:pt x="9979" y="3077"/>
                    </a:lnTo>
                    <a:lnTo>
                      <a:pt x="9915" y="3098"/>
                    </a:lnTo>
                    <a:cubicBezTo>
                      <a:pt x="9901" y="3167"/>
                      <a:pt x="9886" y="3237"/>
                      <a:pt x="9872" y="3306"/>
                    </a:cubicBezTo>
                    <a:cubicBezTo>
                      <a:pt x="9865" y="3320"/>
                      <a:pt x="9858" y="3333"/>
                      <a:pt x="9851" y="3347"/>
                    </a:cubicBezTo>
                    <a:lnTo>
                      <a:pt x="9574" y="3347"/>
                    </a:lnTo>
                    <a:lnTo>
                      <a:pt x="9298" y="3617"/>
                    </a:lnTo>
                    <a:cubicBezTo>
                      <a:pt x="9284" y="3693"/>
                      <a:pt x="9269" y="3770"/>
                      <a:pt x="9255" y="3846"/>
                    </a:cubicBezTo>
                    <a:cubicBezTo>
                      <a:pt x="9198" y="3915"/>
                      <a:pt x="9142" y="3985"/>
                      <a:pt x="9085" y="4054"/>
                    </a:cubicBezTo>
                    <a:cubicBezTo>
                      <a:pt x="9035" y="4206"/>
                      <a:pt x="8986" y="4359"/>
                      <a:pt x="8936" y="4511"/>
                    </a:cubicBezTo>
                    <a:lnTo>
                      <a:pt x="8894" y="4511"/>
                    </a:lnTo>
                    <a:lnTo>
                      <a:pt x="8617" y="4595"/>
                    </a:lnTo>
                    <a:lnTo>
                      <a:pt x="8617" y="4865"/>
                    </a:lnTo>
                    <a:cubicBezTo>
                      <a:pt x="8610" y="4879"/>
                      <a:pt x="8603" y="4892"/>
                      <a:pt x="8596" y="4906"/>
                    </a:cubicBezTo>
                    <a:lnTo>
                      <a:pt x="8532" y="4906"/>
                    </a:lnTo>
                    <a:cubicBezTo>
                      <a:pt x="8518" y="4927"/>
                      <a:pt x="8503" y="4948"/>
                      <a:pt x="8489" y="4969"/>
                    </a:cubicBezTo>
                    <a:cubicBezTo>
                      <a:pt x="8510" y="5024"/>
                      <a:pt x="8532" y="5080"/>
                      <a:pt x="8553" y="5135"/>
                    </a:cubicBezTo>
                    <a:lnTo>
                      <a:pt x="8553" y="5177"/>
                    </a:lnTo>
                    <a:lnTo>
                      <a:pt x="8362" y="5260"/>
                    </a:lnTo>
                    <a:lnTo>
                      <a:pt x="8362" y="5260"/>
                    </a:lnTo>
                    <a:lnTo>
                      <a:pt x="8362" y="5260"/>
                    </a:lnTo>
                    <a:cubicBezTo>
                      <a:pt x="8355" y="5253"/>
                      <a:pt x="8347" y="5246"/>
                      <a:pt x="8340" y="5239"/>
                    </a:cubicBezTo>
                    <a:cubicBezTo>
                      <a:pt x="8290" y="5038"/>
                      <a:pt x="8241" y="4837"/>
                      <a:pt x="8191" y="4636"/>
                    </a:cubicBezTo>
                    <a:lnTo>
                      <a:pt x="8043" y="4844"/>
                    </a:lnTo>
                    <a:lnTo>
                      <a:pt x="8043" y="4844"/>
                    </a:lnTo>
                    <a:lnTo>
                      <a:pt x="8043" y="4844"/>
                    </a:lnTo>
                    <a:lnTo>
                      <a:pt x="8000" y="4844"/>
                    </a:lnTo>
                    <a:lnTo>
                      <a:pt x="7872" y="4761"/>
                    </a:lnTo>
                    <a:cubicBezTo>
                      <a:pt x="7844" y="4678"/>
                      <a:pt x="7815" y="4594"/>
                      <a:pt x="7787" y="4511"/>
                    </a:cubicBezTo>
                    <a:lnTo>
                      <a:pt x="7809" y="4511"/>
                    </a:lnTo>
                    <a:lnTo>
                      <a:pt x="8191" y="4096"/>
                    </a:lnTo>
                    <a:lnTo>
                      <a:pt x="7468" y="4033"/>
                    </a:lnTo>
                    <a:cubicBezTo>
                      <a:pt x="7433" y="4005"/>
                      <a:pt x="7397" y="3978"/>
                      <a:pt x="7362" y="3950"/>
                    </a:cubicBezTo>
                    <a:cubicBezTo>
                      <a:pt x="7341" y="3874"/>
                      <a:pt x="7319" y="3797"/>
                      <a:pt x="7298" y="3721"/>
                    </a:cubicBezTo>
                    <a:lnTo>
                      <a:pt x="7298" y="3763"/>
                    </a:lnTo>
                    <a:lnTo>
                      <a:pt x="7255" y="3763"/>
                    </a:lnTo>
                    <a:lnTo>
                      <a:pt x="7170" y="3763"/>
                    </a:lnTo>
                    <a:lnTo>
                      <a:pt x="7170" y="3763"/>
                    </a:lnTo>
                    <a:cubicBezTo>
                      <a:pt x="7149" y="3721"/>
                      <a:pt x="7127" y="3680"/>
                      <a:pt x="7106" y="3638"/>
                    </a:cubicBezTo>
                    <a:cubicBezTo>
                      <a:pt x="7085" y="3666"/>
                      <a:pt x="7064" y="3693"/>
                      <a:pt x="7043" y="3721"/>
                    </a:cubicBezTo>
                    <a:lnTo>
                      <a:pt x="7043" y="3721"/>
                    </a:lnTo>
                    <a:lnTo>
                      <a:pt x="7043" y="3721"/>
                    </a:lnTo>
                    <a:lnTo>
                      <a:pt x="7021" y="3721"/>
                    </a:lnTo>
                    <a:cubicBezTo>
                      <a:pt x="7000" y="3686"/>
                      <a:pt x="6978" y="3652"/>
                      <a:pt x="6957" y="3617"/>
                    </a:cubicBezTo>
                    <a:lnTo>
                      <a:pt x="6830" y="3825"/>
                    </a:lnTo>
                    <a:lnTo>
                      <a:pt x="6872" y="3888"/>
                    </a:lnTo>
                    <a:lnTo>
                      <a:pt x="6979" y="3909"/>
                    </a:lnTo>
                    <a:lnTo>
                      <a:pt x="7021" y="3909"/>
                    </a:lnTo>
                    <a:lnTo>
                      <a:pt x="7021" y="4033"/>
                    </a:lnTo>
                    <a:lnTo>
                      <a:pt x="7021" y="4054"/>
                    </a:lnTo>
                    <a:lnTo>
                      <a:pt x="7021" y="4054"/>
                    </a:lnTo>
                    <a:lnTo>
                      <a:pt x="6894" y="4054"/>
                    </a:lnTo>
                    <a:cubicBezTo>
                      <a:pt x="6851" y="4109"/>
                      <a:pt x="6809" y="4165"/>
                      <a:pt x="6766" y="4220"/>
                    </a:cubicBezTo>
                    <a:lnTo>
                      <a:pt x="6979" y="4366"/>
                    </a:lnTo>
                    <a:lnTo>
                      <a:pt x="6979" y="4387"/>
                    </a:lnTo>
                    <a:cubicBezTo>
                      <a:pt x="6972" y="4456"/>
                      <a:pt x="6964" y="4526"/>
                      <a:pt x="6957" y="4595"/>
                    </a:cubicBezTo>
                    <a:cubicBezTo>
                      <a:pt x="7007" y="4837"/>
                      <a:pt x="7056" y="5080"/>
                      <a:pt x="7106" y="5322"/>
                    </a:cubicBezTo>
                    <a:lnTo>
                      <a:pt x="7106" y="5364"/>
                    </a:lnTo>
                    <a:lnTo>
                      <a:pt x="7043" y="5385"/>
                    </a:lnTo>
                    <a:lnTo>
                      <a:pt x="7043" y="5385"/>
                    </a:lnTo>
                    <a:cubicBezTo>
                      <a:pt x="7036" y="5378"/>
                      <a:pt x="7028" y="5371"/>
                      <a:pt x="7021" y="5364"/>
                    </a:cubicBezTo>
                    <a:lnTo>
                      <a:pt x="7021" y="5364"/>
                    </a:lnTo>
                    <a:lnTo>
                      <a:pt x="7021" y="5364"/>
                    </a:lnTo>
                    <a:cubicBezTo>
                      <a:pt x="6979" y="5385"/>
                      <a:pt x="6936" y="5405"/>
                      <a:pt x="6894" y="5426"/>
                    </a:cubicBezTo>
                    <a:lnTo>
                      <a:pt x="6872" y="5426"/>
                    </a:lnTo>
                    <a:lnTo>
                      <a:pt x="6872" y="5426"/>
                    </a:lnTo>
                    <a:lnTo>
                      <a:pt x="6872" y="5385"/>
                    </a:lnTo>
                    <a:cubicBezTo>
                      <a:pt x="6851" y="5323"/>
                      <a:pt x="6830" y="5260"/>
                      <a:pt x="6809" y="5198"/>
                    </a:cubicBezTo>
                    <a:cubicBezTo>
                      <a:pt x="6795" y="5232"/>
                      <a:pt x="6780" y="5267"/>
                      <a:pt x="6766" y="5301"/>
                    </a:cubicBezTo>
                    <a:lnTo>
                      <a:pt x="6468" y="5447"/>
                    </a:lnTo>
                    <a:lnTo>
                      <a:pt x="6468" y="5696"/>
                    </a:lnTo>
                    <a:lnTo>
                      <a:pt x="6468" y="5696"/>
                    </a:lnTo>
                    <a:lnTo>
                      <a:pt x="6213" y="5925"/>
                    </a:lnTo>
                    <a:lnTo>
                      <a:pt x="5745" y="6175"/>
                    </a:lnTo>
                    <a:lnTo>
                      <a:pt x="5511" y="6507"/>
                    </a:lnTo>
                    <a:lnTo>
                      <a:pt x="4894" y="6985"/>
                    </a:lnTo>
                    <a:lnTo>
                      <a:pt x="4787" y="7131"/>
                    </a:lnTo>
                    <a:lnTo>
                      <a:pt x="4787" y="7131"/>
                    </a:lnTo>
                    <a:lnTo>
                      <a:pt x="4489" y="7214"/>
                    </a:lnTo>
                    <a:lnTo>
                      <a:pt x="4362" y="7401"/>
                    </a:lnTo>
                    <a:lnTo>
                      <a:pt x="4362" y="7443"/>
                    </a:lnTo>
                    <a:lnTo>
                      <a:pt x="4191" y="7443"/>
                    </a:lnTo>
                    <a:cubicBezTo>
                      <a:pt x="4156" y="7478"/>
                      <a:pt x="4120" y="7512"/>
                      <a:pt x="4085" y="7547"/>
                    </a:cubicBezTo>
                    <a:cubicBezTo>
                      <a:pt x="4099" y="7741"/>
                      <a:pt x="4114" y="7935"/>
                      <a:pt x="4128" y="8129"/>
                    </a:cubicBezTo>
                    <a:cubicBezTo>
                      <a:pt x="4149" y="8171"/>
                      <a:pt x="4170" y="8212"/>
                      <a:pt x="4191" y="8254"/>
                    </a:cubicBezTo>
                    <a:lnTo>
                      <a:pt x="4191" y="8274"/>
                    </a:lnTo>
                    <a:cubicBezTo>
                      <a:pt x="4134" y="8447"/>
                      <a:pt x="4078" y="8621"/>
                      <a:pt x="4021" y="8794"/>
                    </a:cubicBezTo>
                    <a:lnTo>
                      <a:pt x="4021" y="9210"/>
                    </a:lnTo>
                    <a:lnTo>
                      <a:pt x="4021" y="9231"/>
                    </a:lnTo>
                    <a:lnTo>
                      <a:pt x="4021" y="9231"/>
                    </a:lnTo>
                    <a:lnTo>
                      <a:pt x="3851" y="9231"/>
                    </a:lnTo>
                    <a:cubicBezTo>
                      <a:pt x="3816" y="9314"/>
                      <a:pt x="3780" y="9397"/>
                      <a:pt x="3745" y="9480"/>
                    </a:cubicBezTo>
                    <a:lnTo>
                      <a:pt x="3745" y="9563"/>
                    </a:lnTo>
                    <a:lnTo>
                      <a:pt x="3723" y="9563"/>
                    </a:lnTo>
                    <a:lnTo>
                      <a:pt x="3468" y="9667"/>
                    </a:lnTo>
                    <a:cubicBezTo>
                      <a:pt x="3461" y="9723"/>
                      <a:pt x="3454" y="9778"/>
                      <a:pt x="3447" y="9834"/>
                    </a:cubicBezTo>
                    <a:cubicBezTo>
                      <a:pt x="3397" y="9889"/>
                      <a:pt x="3348" y="9945"/>
                      <a:pt x="3298" y="10000"/>
                    </a:cubicBezTo>
                    <a:lnTo>
                      <a:pt x="3255" y="10000"/>
                    </a:lnTo>
                    <a:lnTo>
                      <a:pt x="3170" y="1000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24" name="Freeform 74"/>
              <p:cNvSpPr>
                <a:spLocks/>
              </p:cNvSpPr>
              <p:nvPr/>
            </p:nvSpPr>
            <p:spPr bwMode="auto">
              <a:xfrm>
                <a:off x="4573979" y="1124939"/>
                <a:ext cx="166196" cy="257207"/>
              </a:xfrm>
              <a:custGeom>
                <a:avLst/>
                <a:gdLst>
                  <a:gd name="T0" fmla="*/ 89 w 168"/>
                  <a:gd name="T1" fmla="*/ 254 h 260"/>
                  <a:gd name="T2" fmla="*/ 80 w 168"/>
                  <a:gd name="T3" fmla="*/ 231 h 260"/>
                  <a:gd name="T4" fmla="*/ 75 w 168"/>
                  <a:gd name="T5" fmla="*/ 228 h 260"/>
                  <a:gd name="T6" fmla="*/ 60 w 168"/>
                  <a:gd name="T7" fmla="*/ 216 h 260"/>
                  <a:gd name="T8" fmla="*/ 55 w 168"/>
                  <a:gd name="T9" fmla="*/ 186 h 260"/>
                  <a:gd name="T10" fmla="*/ 61 w 168"/>
                  <a:gd name="T11" fmla="*/ 193 h 260"/>
                  <a:gd name="T12" fmla="*/ 81 w 168"/>
                  <a:gd name="T13" fmla="*/ 190 h 260"/>
                  <a:gd name="T14" fmla="*/ 77 w 168"/>
                  <a:gd name="T15" fmla="*/ 177 h 260"/>
                  <a:gd name="T16" fmla="*/ 93 w 168"/>
                  <a:gd name="T17" fmla="*/ 166 h 260"/>
                  <a:gd name="T18" fmla="*/ 61 w 168"/>
                  <a:gd name="T19" fmla="*/ 174 h 260"/>
                  <a:gd name="T20" fmla="*/ 48 w 168"/>
                  <a:gd name="T21" fmla="*/ 161 h 260"/>
                  <a:gd name="T22" fmla="*/ 55 w 168"/>
                  <a:gd name="T23" fmla="*/ 157 h 260"/>
                  <a:gd name="T24" fmla="*/ 71 w 168"/>
                  <a:gd name="T25" fmla="*/ 141 h 260"/>
                  <a:gd name="T26" fmla="*/ 84 w 168"/>
                  <a:gd name="T27" fmla="*/ 128 h 260"/>
                  <a:gd name="T28" fmla="*/ 96 w 168"/>
                  <a:gd name="T29" fmla="*/ 129 h 260"/>
                  <a:gd name="T30" fmla="*/ 91 w 168"/>
                  <a:gd name="T31" fmla="*/ 119 h 260"/>
                  <a:gd name="T32" fmla="*/ 91 w 168"/>
                  <a:gd name="T33" fmla="*/ 102 h 260"/>
                  <a:gd name="T34" fmla="*/ 78 w 168"/>
                  <a:gd name="T35" fmla="*/ 119 h 260"/>
                  <a:gd name="T36" fmla="*/ 77 w 168"/>
                  <a:gd name="T37" fmla="*/ 99 h 260"/>
                  <a:gd name="T38" fmla="*/ 70 w 168"/>
                  <a:gd name="T39" fmla="*/ 96 h 260"/>
                  <a:gd name="T40" fmla="*/ 60 w 168"/>
                  <a:gd name="T41" fmla="*/ 100 h 260"/>
                  <a:gd name="T42" fmla="*/ 57 w 168"/>
                  <a:gd name="T43" fmla="*/ 126 h 260"/>
                  <a:gd name="T44" fmla="*/ 39 w 168"/>
                  <a:gd name="T45" fmla="*/ 137 h 260"/>
                  <a:gd name="T46" fmla="*/ 28 w 168"/>
                  <a:gd name="T47" fmla="*/ 121 h 260"/>
                  <a:gd name="T48" fmla="*/ 31 w 168"/>
                  <a:gd name="T49" fmla="*/ 113 h 260"/>
                  <a:gd name="T50" fmla="*/ 13 w 168"/>
                  <a:gd name="T51" fmla="*/ 95 h 260"/>
                  <a:gd name="T52" fmla="*/ 13 w 168"/>
                  <a:gd name="T53" fmla="*/ 80 h 260"/>
                  <a:gd name="T54" fmla="*/ 25 w 168"/>
                  <a:gd name="T55" fmla="*/ 84 h 260"/>
                  <a:gd name="T56" fmla="*/ 19 w 168"/>
                  <a:gd name="T57" fmla="*/ 64 h 260"/>
                  <a:gd name="T58" fmla="*/ 13 w 168"/>
                  <a:gd name="T59" fmla="*/ 58 h 260"/>
                  <a:gd name="T60" fmla="*/ 6 w 168"/>
                  <a:gd name="T61" fmla="*/ 61 h 260"/>
                  <a:gd name="T62" fmla="*/ 2 w 168"/>
                  <a:gd name="T63" fmla="*/ 37 h 260"/>
                  <a:gd name="T64" fmla="*/ 6 w 168"/>
                  <a:gd name="T65" fmla="*/ 25 h 260"/>
                  <a:gd name="T66" fmla="*/ 9 w 168"/>
                  <a:gd name="T67" fmla="*/ 19 h 260"/>
                  <a:gd name="T68" fmla="*/ 48 w 168"/>
                  <a:gd name="T69" fmla="*/ 13 h 260"/>
                  <a:gd name="T70" fmla="*/ 29 w 168"/>
                  <a:gd name="T71" fmla="*/ 28 h 260"/>
                  <a:gd name="T72" fmla="*/ 41 w 168"/>
                  <a:gd name="T73" fmla="*/ 28 h 260"/>
                  <a:gd name="T74" fmla="*/ 44 w 168"/>
                  <a:gd name="T75" fmla="*/ 38 h 260"/>
                  <a:gd name="T76" fmla="*/ 51 w 168"/>
                  <a:gd name="T77" fmla="*/ 51 h 260"/>
                  <a:gd name="T78" fmla="*/ 70 w 168"/>
                  <a:gd name="T79" fmla="*/ 15 h 260"/>
                  <a:gd name="T80" fmla="*/ 74 w 168"/>
                  <a:gd name="T81" fmla="*/ 57 h 260"/>
                  <a:gd name="T82" fmla="*/ 74 w 168"/>
                  <a:gd name="T83" fmla="*/ 64 h 260"/>
                  <a:gd name="T84" fmla="*/ 86 w 168"/>
                  <a:gd name="T85" fmla="*/ 80 h 260"/>
                  <a:gd name="T86" fmla="*/ 78 w 168"/>
                  <a:gd name="T87" fmla="*/ 29 h 260"/>
                  <a:gd name="T88" fmla="*/ 112 w 168"/>
                  <a:gd name="T89" fmla="*/ 16 h 260"/>
                  <a:gd name="T90" fmla="*/ 109 w 168"/>
                  <a:gd name="T91" fmla="*/ 28 h 260"/>
                  <a:gd name="T92" fmla="*/ 113 w 168"/>
                  <a:gd name="T93" fmla="*/ 35 h 260"/>
                  <a:gd name="T94" fmla="*/ 120 w 168"/>
                  <a:gd name="T95" fmla="*/ 28 h 260"/>
                  <a:gd name="T96" fmla="*/ 125 w 168"/>
                  <a:gd name="T97" fmla="*/ 54 h 260"/>
                  <a:gd name="T98" fmla="*/ 141 w 168"/>
                  <a:gd name="T99" fmla="*/ 67 h 260"/>
                  <a:gd name="T100" fmla="*/ 155 w 168"/>
                  <a:gd name="T101" fmla="*/ 87 h 260"/>
                  <a:gd name="T102" fmla="*/ 168 w 168"/>
                  <a:gd name="T103" fmla="*/ 90 h 260"/>
                  <a:gd name="T104" fmla="*/ 149 w 168"/>
                  <a:gd name="T105" fmla="*/ 106 h 260"/>
                  <a:gd name="T106" fmla="*/ 135 w 168"/>
                  <a:gd name="T107" fmla="*/ 118 h 260"/>
                  <a:gd name="T108" fmla="*/ 128 w 168"/>
                  <a:gd name="T109" fmla="*/ 151 h 260"/>
                  <a:gd name="T110" fmla="*/ 120 w 168"/>
                  <a:gd name="T111" fmla="*/ 176 h 260"/>
                  <a:gd name="T112" fmla="*/ 103 w 168"/>
                  <a:gd name="T113" fmla="*/ 224 h 260"/>
                  <a:gd name="T114" fmla="*/ 103 w 168"/>
                  <a:gd name="T115" fmla="*/ 258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68" h="260">
                    <a:moveTo>
                      <a:pt x="102" y="260"/>
                    </a:moveTo>
                    <a:lnTo>
                      <a:pt x="102" y="260"/>
                    </a:lnTo>
                    <a:lnTo>
                      <a:pt x="100" y="260"/>
                    </a:lnTo>
                    <a:lnTo>
                      <a:pt x="100" y="260"/>
                    </a:lnTo>
                    <a:lnTo>
                      <a:pt x="96" y="258"/>
                    </a:lnTo>
                    <a:lnTo>
                      <a:pt x="91" y="257"/>
                    </a:lnTo>
                    <a:lnTo>
                      <a:pt x="91" y="257"/>
                    </a:lnTo>
                    <a:lnTo>
                      <a:pt x="89" y="254"/>
                    </a:lnTo>
                    <a:lnTo>
                      <a:pt x="86" y="251"/>
                    </a:lnTo>
                    <a:lnTo>
                      <a:pt x="84" y="247"/>
                    </a:lnTo>
                    <a:lnTo>
                      <a:pt x="81" y="244"/>
                    </a:lnTo>
                    <a:lnTo>
                      <a:pt x="81" y="244"/>
                    </a:lnTo>
                    <a:lnTo>
                      <a:pt x="80" y="241"/>
                    </a:lnTo>
                    <a:lnTo>
                      <a:pt x="78" y="237"/>
                    </a:lnTo>
                    <a:lnTo>
                      <a:pt x="80" y="234"/>
                    </a:lnTo>
                    <a:lnTo>
                      <a:pt x="80" y="231"/>
                    </a:lnTo>
                    <a:lnTo>
                      <a:pt x="80" y="231"/>
                    </a:lnTo>
                    <a:lnTo>
                      <a:pt x="81" y="226"/>
                    </a:lnTo>
                    <a:lnTo>
                      <a:pt x="80" y="225"/>
                    </a:lnTo>
                    <a:lnTo>
                      <a:pt x="78" y="225"/>
                    </a:lnTo>
                    <a:lnTo>
                      <a:pt x="78" y="225"/>
                    </a:lnTo>
                    <a:lnTo>
                      <a:pt x="77" y="225"/>
                    </a:lnTo>
                    <a:lnTo>
                      <a:pt x="77" y="225"/>
                    </a:lnTo>
                    <a:lnTo>
                      <a:pt x="75" y="228"/>
                    </a:lnTo>
                    <a:lnTo>
                      <a:pt x="74" y="228"/>
                    </a:lnTo>
                    <a:lnTo>
                      <a:pt x="74" y="228"/>
                    </a:lnTo>
                    <a:lnTo>
                      <a:pt x="71" y="226"/>
                    </a:lnTo>
                    <a:lnTo>
                      <a:pt x="71" y="226"/>
                    </a:lnTo>
                    <a:lnTo>
                      <a:pt x="70" y="225"/>
                    </a:lnTo>
                    <a:lnTo>
                      <a:pt x="67" y="222"/>
                    </a:lnTo>
                    <a:lnTo>
                      <a:pt x="60" y="216"/>
                    </a:lnTo>
                    <a:lnTo>
                      <a:pt x="60" y="216"/>
                    </a:lnTo>
                    <a:lnTo>
                      <a:pt x="57" y="212"/>
                    </a:lnTo>
                    <a:lnTo>
                      <a:pt x="54" y="205"/>
                    </a:lnTo>
                    <a:lnTo>
                      <a:pt x="52" y="199"/>
                    </a:lnTo>
                    <a:lnTo>
                      <a:pt x="52" y="193"/>
                    </a:lnTo>
                    <a:lnTo>
                      <a:pt x="52" y="193"/>
                    </a:lnTo>
                    <a:lnTo>
                      <a:pt x="54" y="189"/>
                    </a:lnTo>
                    <a:lnTo>
                      <a:pt x="55" y="187"/>
                    </a:lnTo>
                    <a:lnTo>
                      <a:pt x="55" y="186"/>
                    </a:lnTo>
                    <a:lnTo>
                      <a:pt x="55" y="186"/>
                    </a:lnTo>
                    <a:lnTo>
                      <a:pt x="57" y="187"/>
                    </a:lnTo>
                    <a:lnTo>
                      <a:pt x="57" y="187"/>
                    </a:lnTo>
                    <a:lnTo>
                      <a:pt x="60" y="192"/>
                    </a:lnTo>
                    <a:lnTo>
                      <a:pt x="61" y="193"/>
                    </a:lnTo>
                    <a:lnTo>
                      <a:pt x="61" y="193"/>
                    </a:lnTo>
                    <a:lnTo>
                      <a:pt x="61" y="193"/>
                    </a:lnTo>
                    <a:lnTo>
                      <a:pt x="61" y="193"/>
                    </a:lnTo>
                    <a:lnTo>
                      <a:pt x="65" y="190"/>
                    </a:lnTo>
                    <a:lnTo>
                      <a:pt x="70" y="189"/>
                    </a:lnTo>
                    <a:lnTo>
                      <a:pt x="70" y="189"/>
                    </a:lnTo>
                    <a:lnTo>
                      <a:pt x="71" y="189"/>
                    </a:lnTo>
                    <a:lnTo>
                      <a:pt x="71" y="189"/>
                    </a:lnTo>
                    <a:lnTo>
                      <a:pt x="80" y="192"/>
                    </a:lnTo>
                    <a:lnTo>
                      <a:pt x="80" y="192"/>
                    </a:lnTo>
                    <a:lnTo>
                      <a:pt x="81" y="190"/>
                    </a:lnTo>
                    <a:lnTo>
                      <a:pt x="81" y="190"/>
                    </a:lnTo>
                    <a:lnTo>
                      <a:pt x="78" y="189"/>
                    </a:lnTo>
                    <a:lnTo>
                      <a:pt x="74" y="186"/>
                    </a:lnTo>
                    <a:lnTo>
                      <a:pt x="70" y="184"/>
                    </a:lnTo>
                    <a:lnTo>
                      <a:pt x="68" y="183"/>
                    </a:lnTo>
                    <a:lnTo>
                      <a:pt x="68" y="182"/>
                    </a:lnTo>
                    <a:lnTo>
                      <a:pt x="68" y="182"/>
                    </a:lnTo>
                    <a:lnTo>
                      <a:pt x="77" y="177"/>
                    </a:lnTo>
                    <a:lnTo>
                      <a:pt x="86" y="173"/>
                    </a:lnTo>
                    <a:lnTo>
                      <a:pt x="86" y="173"/>
                    </a:lnTo>
                    <a:lnTo>
                      <a:pt x="93" y="170"/>
                    </a:lnTo>
                    <a:lnTo>
                      <a:pt x="94" y="168"/>
                    </a:lnTo>
                    <a:lnTo>
                      <a:pt x="94" y="166"/>
                    </a:lnTo>
                    <a:lnTo>
                      <a:pt x="94" y="166"/>
                    </a:lnTo>
                    <a:lnTo>
                      <a:pt x="94" y="166"/>
                    </a:lnTo>
                    <a:lnTo>
                      <a:pt x="93" y="166"/>
                    </a:lnTo>
                    <a:lnTo>
                      <a:pt x="93" y="166"/>
                    </a:lnTo>
                    <a:lnTo>
                      <a:pt x="84" y="166"/>
                    </a:lnTo>
                    <a:lnTo>
                      <a:pt x="77" y="167"/>
                    </a:lnTo>
                    <a:lnTo>
                      <a:pt x="77" y="167"/>
                    </a:lnTo>
                    <a:lnTo>
                      <a:pt x="74" y="168"/>
                    </a:lnTo>
                    <a:lnTo>
                      <a:pt x="70" y="171"/>
                    </a:lnTo>
                    <a:lnTo>
                      <a:pt x="64" y="173"/>
                    </a:lnTo>
                    <a:lnTo>
                      <a:pt x="61" y="174"/>
                    </a:lnTo>
                    <a:lnTo>
                      <a:pt x="61" y="174"/>
                    </a:lnTo>
                    <a:lnTo>
                      <a:pt x="57" y="176"/>
                    </a:lnTo>
                    <a:lnTo>
                      <a:pt x="52" y="177"/>
                    </a:lnTo>
                    <a:lnTo>
                      <a:pt x="52" y="177"/>
                    </a:lnTo>
                    <a:lnTo>
                      <a:pt x="49" y="177"/>
                    </a:lnTo>
                    <a:lnTo>
                      <a:pt x="49" y="174"/>
                    </a:lnTo>
                    <a:lnTo>
                      <a:pt x="49" y="174"/>
                    </a:lnTo>
                    <a:lnTo>
                      <a:pt x="48" y="161"/>
                    </a:lnTo>
                    <a:lnTo>
                      <a:pt x="48" y="155"/>
                    </a:lnTo>
                    <a:lnTo>
                      <a:pt x="48" y="154"/>
                    </a:lnTo>
                    <a:lnTo>
                      <a:pt x="48" y="154"/>
                    </a:lnTo>
                    <a:lnTo>
                      <a:pt x="52" y="155"/>
                    </a:lnTo>
                    <a:lnTo>
                      <a:pt x="55" y="157"/>
                    </a:lnTo>
                    <a:lnTo>
                      <a:pt x="55" y="157"/>
                    </a:lnTo>
                    <a:lnTo>
                      <a:pt x="55" y="157"/>
                    </a:lnTo>
                    <a:lnTo>
                      <a:pt x="55" y="157"/>
                    </a:lnTo>
                    <a:lnTo>
                      <a:pt x="58" y="153"/>
                    </a:lnTo>
                    <a:lnTo>
                      <a:pt x="60" y="151"/>
                    </a:lnTo>
                    <a:lnTo>
                      <a:pt x="62" y="150"/>
                    </a:lnTo>
                    <a:lnTo>
                      <a:pt x="62" y="150"/>
                    </a:lnTo>
                    <a:lnTo>
                      <a:pt x="64" y="148"/>
                    </a:lnTo>
                    <a:lnTo>
                      <a:pt x="67" y="147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74" y="138"/>
                    </a:lnTo>
                    <a:lnTo>
                      <a:pt x="75" y="137"/>
                    </a:lnTo>
                    <a:lnTo>
                      <a:pt x="78" y="135"/>
                    </a:lnTo>
                    <a:lnTo>
                      <a:pt x="80" y="135"/>
                    </a:lnTo>
                    <a:lnTo>
                      <a:pt x="80" y="135"/>
                    </a:lnTo>
                    <a:lnTo>
                      <a:pt x="81" y="131"/>
                    </a:lnTo>
                    <a:lnTo>
                      <a:pt x="83" y="128"/>
                    </a:lnTo>
                    <a:lnTo>
                      <a:pt x="84" y="128"/>
                    </a:lnTo>
                    <a:lnTo>
                      <a:pt x="84" y="128"/>
                    </a:lnTo>
                    <a:lnTo>
                      <a:pt x="86" y="128"/>
                    </a:lnTo>
                    <a:lnTo>
                      <a:pt x="86" y="128"/>
                    </a:lnTo>
                    <a:lnTo>
                      <a:pt x="90" y="129"/>
                    </a:lnTo>
                    <a:lnTo>
                      <a:pt x="93" y="129"/>
                    </a:lnTo>
                    <a:lnTo>
                      <a:pt x="93" y="129"/>
                    </a:lnTo>
                    <a:lnTo>
                      <a:pt x="96" y="129"/>
                    </a:lnTo>
                    <a:lnTo>
                      <a:pt x="96" y="129"/>
                    </a:lnTo>
                    <a:lnTo>
                      <a:pt x="103" y="125"/>
                    </a:lnTo>
                    <a:lnTo>
                      <a:pt x="104" y="124"/>
                    </a:lnTo>
                    <a:lnTo>
                      <a:pt x="104" y="122"/>
                    </a:lnTo>
                    <a:lnTo>
                      <a:pt x="104" y="122"/>
                    </a:lnTo>
                    <a:lnTo>
                      <a:pt x="96" y="124"/>
                    </a:lnTo>
                    <a:lnTo>
                      <a:pt x="96" y="124"/>
                    </a:lnTo>
                    <a:lnTo>
                      <a:pt x="93" y="122"/>
                    </a:lnTo>
                    <a:lnTo>
                      <a:pt x="91" y="119"/>
                    </a:lnTo>
                    <a:lnTo>
                      <a:pt x="91" y="119"/>
                    </a:lnTo>
                    <a:lnTo>
                      <a:pt x="94" y="112"/>
                    </a:lnTo>
                    <a:lnTo>
                      <a:pt x="94" y="109"/>
                    </a:lnTo>
                    <a:lnTo>
                      <a:pt x="94" y="108"/>
                    </a:lnTo>
                    <a:lnTo>
                      <a:pt x="94" y="108"/>
                    </a:lnTo>
                    <a:lnTo>
                      <a:pt x="93" y="103"/>
                    </a:lnTo>
                    <a:lnTo>
                      <a:pt x="91" y="102"/>
                    </a:lnTo>
                    <a:lnTo>
                      <a:pt x="91" y="102"/>
                    </a:lnTo>
                    <a:lnTo>
                      <a:pt x="90" y="103"/>
                    </a:lnTo>
                    <a:lnTo>
                      <a:pt x="90" y="103"/>
                    </a:lnTo>
                    <a:lnTo>
                      <a:pt x="86" y="112"/>
                    </a:lnTo>
                    <a:lnTo>
                      <a:pt x="83" y="118"/>
                    </a:lnTo>
                    <a:lnTo>
                      <a:pt x="81" y="119"/>
                    </a:lnTo>
                    <a:lnTo>
                      <a:pt x="78" y="119"/>
                    </a:lnTo>
                    <a:lnTo>
                      <a:pt x="78" y="119"/>
                    </a:lnTo>
                    <a:lnTo>
                      <a:pt x="78" y="119"/>
                    </a:lnTo>
                    <a:lnTo>
                      <a:pt x="78" y="119"/>
                    </a:lnTo>
                    <a:lnTo>
                      <a:pt x="74" y="118"/>
                    </a:lnTo>
                    <a:lnTo>
                      <a:pt x="71" y="116"/>
                    </a:lnTo>
                    <a:lnTo>
                      <a:pt x="70" y="115"/>
                    </a:lnTo>
                    <a:lnTo>
                      <a:pt x="71" y="111"/>
                    </a:lnTo>
                    <a:lnTo>
                      <a:pt x="71" y="111"/>
                    </a:lnTo>
                    <a:lnTo>
                      <a:pt x="77" y="103"/>
                    </a:lnTo>
                    <a:lnTo>
                      <a:pt x="77" y="99"/>
                    </a:lnTo>
                    <a:lnTo>
                      <a:pt x="75" y="97"/>
                    </a:lnTo>
                    <a:lnTo>
                      <a:pt x="75" y="97"/>
                    </a:lnTo>
                    <a:lnTo>
                      <a:pt x="74" y="95"/>
                    </a:lnTo>
                    <a:lnTo>
                      <a:pt x="71" y="95"/>
                    </a:lnTo>
                    <a:lnTo>
                      <a:pt x="71" y="95"/>
                    </a:lnTo>
                    <a:lnTo>
                      <a:pt x="70" y="95"/>
                    </a:lnTo>
                    <a:lnTo>
                      <a:pt x="70" y="96"/>
                    </a:lnTo>
                    <a:lnTo>
                      <a:pt x="70" y="96"/>
                    </a:lnTo>
                    <a:lnTo>
                      <a:pt x="68" y="102"/>
                    </a:lnTo>
                    <a:lnTo>
                      <a:pt x="68" y="105"/>
                    </a:lnTo>
                    <a:lnTo>
                      <a:pt x="67" y="106"/>
                    </a:lnTo>
                    <a:lnTo>
                      <a:pt x="67" y="106"/>
                    </a:lnTo>
                    <a:lnTo>
                      <a:pt x="65" y="106"/>
                    </a:lnTo>
                    <a:lnTo>
                      <a:pt x="65" y="106"/>
                    </a:lnTo>
                    <a:lnTo>
                      <a:pt x="61" y="102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8" y="111"/>
                    </a:lnTo>
                    <a:lnTo>
                      <a:pt x="58" y="122"/>
                    </a:lnTo>
                    <a:lnTo>
                      <a:pt x="58" y="122"/>
                    </a:lnTo>
                    <a:lnTo>
                      <a:pt x="58" y="125"/>
                    </a:lnTo>
                    <a:lnTo>
                      <a:pt x="57" y="126"/>
                    </a:lnTo>
                    <a:lnTo>
                      <a:pt x="55" y="126"/>
                    </a:lnTo>
                    <a:lnTo>
                      <a:pt x="54" y="128"/>
                    </a:lnTo>
                    <a:lnTo>
                      <a:pt x="54" y="128"/>
                    </a:lnTo>
                    <a:lnTo>
                      <a:pt x="49" y="134"/>
                    </a:lnTo>
                    <a:lnTo>
                      <a:pt x="44" y="137"/>
                    </a:lnTo>
                    <a:lnTo>
                      <a:pt x="44" y="137"/>
                    </a:lnTo>
                    <a:lnTo>
                      <a:pt x="39" y="137"/>
                    </a:lnTo>
                    <a:lnTo>
                      <a:pt x="39" y="137"/>
                    </a:lnTo>
                    <a:lnTo>
                      <a:pt x="38" y="137"/>
                    </a:lnTo>
                    <a:lnTo>
                      <a:pt x="36" y="134"/>
                    </a:lnTo>
                    <a:lnTo>
                      <a:pt x="36" y="134"/>
                    </a:lnTo>
                    <a:lnTo>
                      <a:pt x="35" y="128"/>
                    </a:lnTo>
                    <a:lnTo>
                      <a:pt x="32" y="125"/>
                    </a:lnTo>
                    <a:lnTo>
                      <a:pt x="32" y="125"/>
                    </a:lnTo>
                    <a:lnTo>
                      <a:pt x="28" y="122"/>
                    </a:lnTo>
                    <a:lnTo>
                      <a:pt x="28" y="121"/>
                    </a:lnTo>
                    <a:lnTo>
                      <a:pt x="29" y="119"/>
                    </a:lnTo>
                    <a:lnTo>
                      <a:pt x="29" y="119"/>
                    </a:lnTo>
                    <a:lnTo>
                      <a:pt x="35" y="115"/>
                    </a:lnTo>
                    <a:lnTo>
                      <a:pt x="36" y="113"/>
                    </a:lnTo>
                    <a:lnTo>
                      <a:pt x="36" y="112"/>
                    </a:lnTo>
                    <a:lnTo>
                      <a:pt x="36" y="112"/>
                    </a:lnTo>
                    <a:lnTo>
                      <a:pt x="31" y="113"/>
                    </a:lnTo>
                    <a:lnTo>
                      <a:pt x="31" y="113"/>
                    </a:lnTo>
                    <a:lnTo>
                      <a:pt x="28" y="112"/>
                    </a:lnTo>
                    <a:lnTo>
                      <a:pt x="26" y="111"/>
                    </a:lnTo>
                    <a:lnTo>
                      <a:pt x="26" y="111"/>
                    </a:lnTo>
                    <a:lnTo>
                      <a:pt x="18" y="102"/>
                    </a:lnTo>
                    <a:lnTo>
                      <a:pt x="15" y="97"/>
                    </a:lnTo>
                    <a:lnTo>
                      <a:pt x="13" y="96"/>
                    </a:lnTo>
                    <a:lnTo>
                      <a:pt x="13" y="95"/>
                    </a:lnTo>
                    <a:lnTo>
                      <a:pt x="13" y="95"/>
                    </a:lnTo>
                    <a:lnTo>
                      <a:pt x="16" y="93"/>
                    </a:lnTo>
                    <a:lnTo>
                      <a:pt x="18" y="93"/>
                    </a:lnTo>
                    <a:lnTo>
                      <a:pt x="19" y="92"/>
                    </a:lnTo>
                    <a:lnTo>
                      <a:pt x="18" y="89"/>
                    </a:lnTo>
                    <a:lnTo>
                      <a:pt x="18" y="89"/>
                    </a:lnTo>
                    <a:lnTo>
                      <a:pt x="13" y="83"/>
                    </a:lnTo>
                    <a:lnTo>
                      <a:pt x="12" y="82"/>
                    </a:lnTo>
                    <a:lnTo>
                      <a:pt x="13" y="80"/>
                    </a:lnTo>
                    <a:lnTo>
                      <a:pt x="13" y="80"/>
                    </a:lnTo>
                    <a:lnTo>
                      <a:pt x="13" y="80"/>
                    </a:lnTo>
                    <a:lnTo>
                      <a:pt x="13" y="80"/>
                    </a:lnTo>
                    <a:lnTo>
                      <a:pt x="18" y="83"/>
                    </a:lnTo>
                    <a:lnTo>
                      <a:pt x="18" y="83"/>
                    </a:lnTo>
                    <a:lnTo>
                      <a:pt x="23" y="84"/>
                    </a:lnTo>
                    <a:lnTo>
                      <a:pt x="23" y="84"/>
                    </a:lnTo>
                    <a:lnTo>
                      <a:pt x="25" y="84"/>
                    </a:lnTo>
                    <a:lnTo>
                      <a:pt x="25" y="83"/>
                    </a:lnTo>
                    <a:lnTo>
                      <a:pt x="25" y="83"/>
                    </a:lnTo>
                    <a:lnTo>
                      <a:pt x="23" y="80"/>
                    </a:lnTo>
                    <a:lnTo>
                      <a:pt x="20" y="77"/>
                    </a:lnTo>
                    <a:lnTo>
                      <a:pt x="18" y="74"/>
                    </a:lnTo>
                    <a:lnTo>
                      <a:pt x="16" y="73"/>
                    </a:lnTo>
                    <a:lnTo>
                      <a:pt x="16" y="73"/>
                    </a:lnTo>
                    <a:lnTo>
                      <a:pt x="19" y="64"/>
                    </a:lnTo>
                    <a:lnTo>
                      <a:pt x="20" y="60"/>
                    </a:lnTo>
                    <a:lnTo>
                      <a:pt x="20" y="57"/>
                    </a:lnTo>
                    <a:lnTo>
                      <a:pt x="20" y="57"/>
                    </a:lnTo>
                    <a:lnTo>
                      <a:pt x="19" y="55"/>
                    </a:lnTo>
                    <a:lnTo>
                      <a:pt x="19" y="55"/>
                    </a:lnTo>
                    <a:lnTo>
                      <a:pt x="16" y="57"/>
                    </a:lnTo>
                    <a:lnTo>
                      <a:pt x="13" y="58"/>
                    </a:lnTo>
                    <a:lnTo>
                      <a:pt x="13" y="58"/>
                    </a:lnTo>
                    <a:lnTo>
                      <a:pt x="10" y="64"/>
                    </a:lnTo>
                    <a:lnTo>
                      <a:pt x="9" y="67"/>
                    </a:lnTo>
                    <a:lnTo>
                      <a:pt x="7" y="69"/>
                    </a:lnTo>
                    <a:lnTo>
                      <a:pt x="7" y="69"/>
                    </a:lnTo>
                    <a:lnTo>
                      <a:pt x="6" y="69"/>
                    </a:lnTo>
                    <a:lnTo>
                      <a:pt x="6" y="69"/>
                    </a:lnTo>
                    <a:lnTo>
                      <a:pt x="6" y="66"/>
                    </a:lnTo>
                    <a:lnTo>
                      <a:pt x="6" y="61"/>
                    </a:lnTo>
                    <a:lnTo>
                      <a:pt x="6" y="57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3" y="50"/>
                    </a:lnTo>
                    <a:lnTo>
                      <a:pt x="3" y="45"/>
                    </a:lnTo>
                    <a:lnTo>
                      <a:pt x="3" y="41"/>
                    </a:lnTo>
                    <a:lnTo>
                      <a:pt x="2" y="37"/>
                    </a:lnTo>
                    <a:lnTo>
                      <a:pt x="2" y="37"/>
                    </a:lnTo>
                    <a:lnTo>
                      <a:pt x="0" y="32"/>
                    </a:lnTo>
                    <a:lnTo>
                      <a:pt x="2" y="29"/>
                    </a:lnTo>
                    <a:lnTo>
                      <a:pt x="3" y="22"/>
                    </a:lnTo>
                    <a:lnTo>
                      <a:pt x="3" y="22"/>
                    </a:lnTo>
                    <a:lnTo>
                      <a:pt x="3" y="22"/>
                    </a:lnTo>
                    <a:lnTo>
                      <a:pt x="3" y="22"/>
                    </a:lnTo>
                    <a:lnTo>
                      <a:pt x="6" y="25"/>
                    </a:lnTo>
                    <a:lnTo>
                      <a:pt x="6" y="25"/>
                    </a:lnTo>
                    <a:lnTo>
                      <a:pt x="10" y="27"/>
                    </a:lnTo>
                    <a:lnTo>
                      <a:pt x="10" y="27"/>
                    </a:lnTo>
                    <a:lnTo>
                      <a:pt x="12" y="27"/>
                    </a:lnTo>
                    <a:lnTo>
                      <a:pt x="12" y="27"/>
                    </a:lnTo>
                    <a:lnTo>
                      <a:pt x="12" y="24"/>
                    </a:lnTo>
                    <a:lnTo>
                      <a:pt x="10" y="22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0" y="18"/>
                    </a:lnTo>
                    <a:lnTo>
                      <a:pt x="10" y="13"/>
                    </a:lnTo>
                    <a:lnTo>
                      <a:pt x="9" y="0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8"/>
                    </a:lnTo>
                    <a:lnTo>
                      <a:pt x="48" y="13"/>
                    </a:lnTo>
                    <a:lnTo>
                      <a:pt x="47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1" y="18"/>
                    </a:lnTo>
                    <a:lnTo>
                      <a:pt x="38" y="19"/>
                    </a:lnTo>
                    <a:lnTo>
                      <a:pt x="33" y="22"/>
                    </a:lnTo>
                    <a:lnTo>
                      <a:pt x="33" y="22"/>
                    </a:lnTo>
                    <a:lnTo>
                      <a:pt x="29" y="28"/>
                    </a:lnTo>
                    <a:lnTo>
                      <a:pt x="28" y="31"/>
                    </a:lnTo>
                    <a:lnTo>
                      <a:pt x="28" y="31"/>
                    </a:lnTo>
                    <a:lnTo>
                      <a:pt x="29" y="32"/>
                    </a:lnTo>
                    <a:lnTo>
                      <a:pt x="29" y="32"/>
                    </a:lnTo>
                    <a:lnTo>
                      <a:pt x="35" y="29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1" y="35"/>
                    </a:lnTo>
                    <a:lnTo>
                      <a:pt x="42" y="41"/>
                    </a:lnTo>
                    <a:lnTo>
                      <a:pt x="42" y="41"/>
                    </a:lnTo>
                    <a:lnTo>
                      <a:pt x="42" y="41"/>
                    </a:lnTo>
                    <a:lnTo>
                      <a:pt x="42" y="41"/>
                    </a:lnTo>
                    <a:lnTo>
                      <a:pt x="42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5" y="40"/>
                    </a:lnTo>
                    <a:lnTo>
                      <a:pt x="45" y="40"/>
                    </a:lnTo>
                    <a:lnTo>
                      <a:pt x="48" y="47"/>
                    </a:lnTo>
                    <a:lnTo>
                      <a:pt x="49" y="51"/>
                    </a:lnTo>
                    <a:lnTo>
                      <a:pt x="49" y="51"/>
                    </a:lnTo>
                    <a:lnTo>
                      <a:pt x="51" y="51"/>
                    </a:lnTo>
                    <a:lnTo>
                      <a:pt x="51" y="51"/>
                    </a:lnTo>
                    <a:lnTo>
                      <a:pt x="49" y="41"/>
                    </a:lnTo>
                    <a:lnTo>
                      <a:pt x="49" y="35"/>
                    </a:lnTo>
                    <a:lnTo>
                      <a:pt x="49" y="31"/>
                    </a:lnTo>
                    <a:lnTo>
                      <a:pt x="49" y="31"/>
                    </a:lnTo>
                    <a:lnTo>
                      <a:pt x="58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0" y="15"/>
                    </a:lnTo>
                    <a:lnTo>
                      <a:pt x="71" y="22"/>
                    </a:lnTo>
                    <a:lnTo>
                      <a:pt x="71" y="22"/>
                    </a:lnTo>
                    <a:lnTo>
                      <a:pt x="73" y="34"/>
                    </a:lnTo>
                    <a:lnTo>
                      <a:pt x="74" y="41"/>
                    </a:lnTo>
                    <a:lnTo>
                      <a:pt x="74" y="41"/>
                    </a:lnTo>
                    <a:lnTo>
                      <a:pt x="74" y="48"/>
                    </a:lnTo>
                    <a:lnTo>
                      <a:pt x="75" y="53"/>
                    </a:lnTo>
                    <a:lnTo>
                      <a:pt x="74" y="57"/>
                    </a:lnTo>
                    <a:lnTo>
                      <a:pt x="74" y="57"/>
                    </a:lnTo>
                    <a:lnTo>
                      <a:pt x="73" y="60"/>
                    </a:lnTo>
                    <a:lnTo>
                      <a:pt x="73" y="63"/>
                    </a:lnTo>
                    <a:lnTo>
                      <a:pt x="73" y="64"/>
                    </a:lnTo>
                    <a:lnTo>
                      <a:pt x="74" y="64"/>
                    </a:lnTo>
                    <a:lnTo>
                      <a:pt x="74" y="64"/>
                    </a:lnTo>
                    <a:lnTo>
                      <a:pt x="74" y="64"/>
                    </a:lnTo>
                    <a:lnTo>
                      <a:pt x="74" y="64"/>
                    </a:lnTo>
                    <a:lnTo>
                      <a:pt x="78" y="63"/>
                    </a:lnTo>
                    <a:lnTo>
                      <a:pt x="78" y="63"/>
                    </a:lnTo>
                    <a:lnTo>
                      <a:pt x="78" y="63"/>
                    </a:lnTo>
                    <a:lnTo>
                      <a:pt x="80" y="64"/>
                    </a:lnTo>
                    <a:lnTo>
                      <a:pt x="80" y="64"/>
                    </a:lnTo>
                    <a:lnTo>
                      <a:pt x="83" y="73"/>
                    </a:lnTo>
                    <a:lnTo>
                      <a:pt x="84" y="77"/>
                    </a:lnTo>
                    <a:lnTo>
                      <a:pt x="86" y="80"/>
                    </a:lnTo>
                    <a:lnTo>
                      <a:pt x="86" y="80"/>
                    </a:lnTo>
                    <a:lnTo>
                      <a:pt x="87" y="79"/>
                    </a:lnTo>
                    <a:lnTo>
                      <a:pt x="87" y="79"/>
                    </a:lnTo>
                    <a:lnTo>
                      <a:pt x="86" y="67"/>
                    </a:lnTo>
                    <a:lnTo>
                      <a:pt x="83" y="54"/>
                    </a:lnTo>
                    <a:lnTo>
                      <a:pt x="83" y="54"/>
                    </a:lnTo>
                    <a:lnTo>
                      <a:pt x="80" y="42"/>
                    </a:lnTo>
                    <a:lnTo>
                      <a:pt x="78" y="29"/>
                    </a:lnTo>
                    <a:lnTo>
                      <a:pt x="78" y="29"/>
                    </a:lnTo>
                    <a:lnTo>
                      <a:pt x="78" y="16"/>
                    </a:lnTo>
                    <a:lnTo>
                      <a:pt x="77" y="9"/>
                    </a:lnTo>
                    <a:lnTo>
                      <a:pt x="77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13"/>
                    </a:lnTo>
                    <a:lnTo>
                      <a:pt x="112" y="16"/>
                    </a:lnTo>
                    <a:lnTo>
                      <a:pt x="110" y="19"/>
                    </a:lnTo>
                    <a:lnTo>
                      <a:pt x="110" y="19"/>
                    </a:lnTo>
                    <a:lnTo>
                      <a:pt x="109" y="21"/>
                    </a:lnTo>
                    <a:lnTo>
                      <a:pt x="109" y="22"/>
                    </a:lnTo>
                    <a:lnTo>
                      <a:pt x="110" y="24"/>
                    </a:lnTo>
                    <a:lnTo>
                      <a:pt x="109" y="25"/>
                    </a:lnTo>
                    <a:lnTo>
                      <a:pt x="109" y="25"/>
                    </a:lnTo>
                    <a:lnTo>
                      <a:pt x="109" y="28"/>
                    </a:lnTo>
                    <a:lnTo>
                      <a:pt x="107" y="35"/>
                    </a:lnTo>
                    <a:lnTo>
                      <a:pt x="107" y="41"/>
                    </a:lnTo>
                    <a:lnTo>
                      <a:pt x="109" y="44"/>
                    </a:lnTo>
                    <a:lnTo>
                      <a:pt x="109" y="44"/>
                    </a:lnTo>
                    <a:lnTo>
                      <a:pt x="109" y="44"/>
                    </a:lnTo>
                    <a:lnTo>
                      <a:pt x="109" y="44"/>
                    </a:lnTo>
                    <a:lnTo>
                      <a:pt x="112" y="40"/>
                    </a:lnTo>
                    <a:lnTo>
                      <a:pt x="113" y="35"/>
                    </a:lnTo>
                    <a:lnTo>
                      <a:pt x="113" y="35"/>
                    </a:lnTo>
                    <a:lnTo>
                      <a:pt x="115" y="29"/>
                    </a:lnTo>
                    <a:lnTo>
                      <a:pt x="116" y="27"/>
                    </a:lnTo>
                    <a:lnTo>
                      <a:pt x="117" y="25"/>
                    </a:lnTo>
                    <a:lnTo>
                      <a:pt x="117" y="25"/>
                    </a:lnTo>
                    <a:lnTo>
                      <a:pt x="119" y="25"/>
                    </a:lnTo>
                    <a:lnTo>
                      <a:pt x="119" y="25"/>
                    </a:lnTo>
                    <a:lnTo>
                      <a:pt x="120" y="28"/>
                    </a:lnTo>
                    <a:lnTo>
                      <a:pt x="122" y="32"/>
                    </a:lnTo>
                    <a:lnTo>
                      <a:pt x="122" y="37"/>
                    </a:lnTo>
                    <a:lnTo>
                      <a:pt x="125" y="40"/>
                    </a:lnTo>
                    <a:lnTo>
                      <a:pt x="125" y="40"/>
                    </a:lnTo>
                    <a:lnTo>
                      <a:pt x="128" y="44"/>
                    </a:lnTo>
                    <a:lnTo>
                      <a:pt x="126" y="48"/>
                    </a:lnTo>
                    <a:lnTo>
                      <a:pt x="126" y="48"/>
                    </a:lnTo>
                    <a:lnTo>
                      <a:pt x="125" y="54"/>
                    </a:lnTo>
                    <a:lnTo>
                      <a:pt x="125" y="57"/>
                    </a:lnTo>
                    <a:lnTo>
                      <a:pt x="126" y="60"/>
                    </a:lnTo>
                    <a:lnTo>
                      <a:pt x="126" y="60"/>
                    </a:lnTo>
                    <a:lnTo>
                      <a:pt x="131" y="61"/>
                    </a:lnTo>
                    <a:lnTo>
                      <a:pt x="135" y="63"/>
                    </a:lnTo>
                    <a:lnTo>
                      <a:pt x="138" y="64"/>
                    </a:lnTo>
                    <a:lnTo>
                      <a:pt x="139" y="66"/>
                    </a:lnTo>
                    <a:lnTo>
                      <a:pt x="141" y="67"/>
                    </a:lnTo>
                    <a:lnTo>
                      <a:pt x="141" y="67"/>
                    </a:lnTo>
                    <a:lnTo>
                      <a:pt x="141" y="73"/>
                    </a:lnTo>
                    <a:lnTo>
                      <a:pt x="144" y="79"/>
                    </a:lnTo>
                    <a:lnTo>
                      <a:pt x="146" y="83"/>
                    </a:lnTo>
                    <a:lnTo>
                      <a:pt x="151" y="86"/>
                    </a:lnTo>
                    <a:lnTo>
                      <a:pt x="151" y="86"/>
                    </a:lnTo>
                    <a:lnTo>
                      <a:pt x="155" y="87"/>
                    </a:lnTo>
                    <a:lnTo>
                      <a:pt x="155" y="87"/>
                    </a:lnTo>
                    <a:lnTo>
                      <a:pt x="158" y="87"/>
                    </a:lnTo>
                    <a:lnTo>
                      <a:pt x="158" y="87"/>
                    </a:lnTo>
                    <a:lnTo>
                      <a:pt x="162" y="86"/>
                    </a:lnTo>
                    <a:lnTo>
                      <a:pt x="162" y="86"/>
                    </a:lnTo>
                    <a:lnTo>
                      <a:pt x="165" y="87"/>
                    </a:lnTo>
                    <a:lnTo>
                      <a:pt x="167" y="89"/>
                    </a:lnTo>
                    <a:lnTo>
                      <a:pt x="168" y="90"/>
                    </a:lnTo>
                    <a:lnTo>
                      <a:pt x="168" y="90"/>
                    </a:lnTo>
                    <a:lnTo>
                      <a:pt x="168" y="95"/>
                    </a:lnTo>
                    <a:lnTo>
                      <a:pt x="168" y="97"/>
                    </a:lnTo>
                    <a:lnTo>
                      <a:pt x="165" y="100"/>
                    </a:lnTo>
                    <a:lnTo>
                      <a:pt x="162" y="103"/>
                    </a:lnTo>
                    <a:lnTo>
                      <a:pt x="162" y="103"/>
                    </a:lnTo>
                    <a:lnTo>
                      <a:pt x="155" y="103"/>
                    </a:lnTo>
                    <a:lnTo>
                      <a:pt x="152" y="105"/>
                    </a:lnTo>
                    <a:lnTo>
                      <a:pt x="149" y="106"/>
                    </a:lnTo>
                    <a:lnTo>
                      <a:pt x="149" y="106"/>
                    </a:lnTo>
                    <a:lnTo>
                      <a:pt x="148" y="108"/>
                    </a:lnTo>
                    <a:lnTo>
                      <a:pt x="145" y="109"/>
                    </a:lnTo>
                    <a:lnTo>
                      <a:pt x="142" y="109"/>
                    </a:lnTo>
                    <a:lnTo>
                      <a:pt x="141" y="112"/>
                    </a:lnTo>
                    <a:lnTo>
                      <a:pt x="141" y="112"/>
                    </a:lnTo>
                    <a:lnTo>
                      <a:pt x="139" y="115"/>
                    </a:lnTo>
                    <a:lnTo>
                      <a:pt x="135" y="118"/>
                    </a:lnTo>
                    <a:lnTo>
                      <a:pt x="131" y="121"/>
                    </a:lnTo>
                    <a:lnTo>
                      <a:pt x="131" y="121"/>
                    </a:lnTo>
                    <a:lnTo>
                      <a:pt x="129" y="124"/>
                    </a:lnTo>
                    <a:lnTo>
                      <a:pt x="129" y="126"/>
                    </a:lnTo>
                    <a:lnTo>
                      <a:pt x="129" y="134"/>
                    </a:lnTo>
                    <a:lnTo>
                      <a:pt x="129" y="134"/>
                    </a:lnTo>
                    <a:lnTo>
                      <a:pt x="129" y="145"/>
                    </a:lnTo>
                    <a:lnTo>
                      <a:pt x="128" y="151"/>
                    </a:lnTo>
                    <a:lnTo>
                      <a:pt x="126" y="153"/>
                    </a:lnTo>
                    <a:lnTo>
                      <a:pt x="126" y="153"/>
                    </a:lnTo>
                    <a:lnTo>
                      <a:pt x="125" y="153"/>
                    </a:lnTo>
                    <a:lnTo>
                      <a:pt x="125" y="153"/>
                    </a:lnTo>
                    <a:lnTo>
                      <a:pt x="125" y="153"/>
                    </a:lnTo>
                    <a:lnTo>
                      <a:pt x="123" y="155"/>
                    </a:lnTo>
                    <a:lnTo>
                      <a:pt x="123" y="155"/>
                    </a:lnTo>
                    <a:lnTo>
                      <a:pt x="120" y="176"/>
                    </a:lnTo>
                    <a:lnTo>
                      <a:pt x="117" y="189"/>
                    </a:lnTo>
                    <a:lnTo>
                      <a:pt x="115" y="195"/>
                    </a:lnTo>
                    <a:lnTo>
                      <a:pt x="115" y="195"/>
                    </a:lnTo>
                    <a:lnTo>
                      <a:pt x="112" y="196"/>
                    </a:lnTo>
                    <a:lnTo>
                      <a:pt x="109" y="199"/>
                    </a:lnTo>
                    <a:lnTo>
                      <a:pt x="109" y="199"/>
                    </a:lnTo>
                    <a:lnTo>
                      <a:pt x="106" y="208"/>
                    </a:lnTo>
                    <a:lnTo>
                      <a:pt x="103" y="224"/>
                    </a:lnTo>
                    <a:lnTo>
                      <a:pt x="103" y="224"/>
                    </a:lnTo>
                    <a:lnTo>
                      <a:pt x="103" y="237"/>
                    </a:lnTo>
                    <a:lnTo>
                      <a:pt x="102" y="241"/>
                    </a:lnTo>
                    <a:lnTo>
                      <a:pt x="102" y="244"/>
                    </a:lnTo>
                    <a:lnTo>
                      <a:pt x="102" y="244"/>
                    </a:lnTo>
                    <a:lnTo>
                      <a:pt x="100" y="248"/>
                    </a:lnTo>
                    <a:lnTo>
                      <a:pt x="102" y="252"/>
                    </a:lnTo>
                    <a:lnTo>
                      <a:pt x="103" y="258"/>
                    </a:lnTo>
                    <a:lnTo>
                      <a:pt x="102" y="260"/>
                    </a:lnTo>
                    <a:lnTo>
                      <a:pt x="102" y="26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25" name="Freeform 75"/>
              <p:cNvSpPr>
                <a:spLocks/>
              </p:cNvSpPr>
              <p:nvPr/>
            </p:nvSpPr>
            <p:spPr bwMode="auto">
              <a:xfrm>
                <a:off x="4573979" y="1124939"/>
                <a:ext cx="166196" cy="257207"/>
              </a:xfrm>
              <a:custGeom>
                <a:avLst/>
                <a:gdLst>
                  <a:gd name="T0" fmla="*/ 89 w 168"/>
                  <a:gd name="T1" fmla="*/ 254 h 260"/>
                  <a:gd name="T2" fmla="*/ 80 w 168"/>
                  <a:gd name="T3" fmla="*/ 231 h 260"/>
                  <a:gd name="T4" fmla="*/ 75 w 168"/>
                  <a:gd name="T5" fmla="*/ 228 h 260"/>
                  <a:gd name="T6" fmla="*/ 60 w 168"/>
                  <a:gd name="T7" fmla="*/ 216 h 260"/>
                  <a:gd name="T8" fmla="*/ 55 w 168"/>
                  <a:gd name="T9" fmla="*/ 186 h 260"/>
                  <a:gd name="T10" fmla="*/ 61 w 168"/>
                  <a:gd name="T11" fmla="*/ 193 h 260"/>
                  <a:gd name="T12" fmla="*/ 81 w 168"/>
                  <a:gd name="T13" fmla="*/ 190 h 260"/>
                  <a:gd name="T14" fmla="*/ 77 w 168"/>
                  <a:gd name="T15" fmla="*/ 177 h 260"/>
                  <a:gd name="T16" fmla="*/ 93 w 168"/>
                  <a:gd name="T17" fmla="*/ 166 h 260"/>
                  <a:gd name="T18" fmla="*/ 61 w 168"/>
                  <a:gd name="T19" fmla="*/ 174 h 260"/>
                  <a:gd name="T20" fmla="*/ 48 w 168"/>
                  <a:gd name="T21" fmla="*/ 161 h 260"/>
                  <a:gd name="T22" fmla="*/ 55 w 168"/>
                  <a:gd name="T23" fmla="*/ 157 h 260"/>
                  <a:gd name="T24" fmla="*/ 71 w 168"/>
                  <a:gd name="T25" fmla="*/ 141 h 260"/>
                  <a:gd name="T26" fmla="*/ 84 w 168"/>
                  <a:gd name="T27" fmla="*/ 128 h 260"/>
                  <a:gd name="T28" fmla="*/ 96 w 168"/>
                  <a:gd name="T29" fmla="*/ 129 h 260"/>
                  <a:gd name="T30" fmla="*/ 91 w 168"/>
                  <a:gd name="T31" fmla="*/ 119 h 260"/>
                  <a:gd name="T32" fmla="*/ 91 w 168"/>
                  <a:gd name="T33" fmla="*/ 102 h 260"/>
                  <a:gd name="T34" fmla="*/ 78 w 168"/>
                  <a:gd name="T35" fmla="*/ 119 h 260"/>
                  <a:gd name="T36" fmla="*/ 77 w 168"/>
                  <a:gd name="T37" fmla="*/ 99 h 260"/>
                  <a:gd name="T38" fmla="*/ 70 w 168"/>
                  <a:gd name="T39" fmla="*/ 96 h 260"/>
                  <a:gd name="T40" fmla="*/ 60 w 168"/>
                  <a:gd name="T41" fmla="*/ 100 h 260"/>
                  <a:gd name="T42" fmla="*/ 57 w 168"/>
                  <a:gd name="T43" fmla="*/ 126 h 260"/>
                  <a:gd name="T44" fmla="*/ 39 w 168"/>
                  <a:gd name="T45" fmla="*/ 137 h 260"/>
                  <a:gd name="T46" fmla="*/ 28 w 168"/>
                  <a:gd name="T47" fmla="*/ 121 h 260"/>
                  <a:gd name="T48" fmla="*/ 31 w 168"/>
                  <a:gd name="T49" fmla="*/ 113 h 260"/>
                  <a:gd name="T50" fmla="*/ 13 w 168"/>
                  <a:gd name="T51" fmla="*/ 95 h 260"/>
                  <a:gd name="T52" fmla="*/ 13 w 168"/>
                  <a:gd name="T53" fmla="*/ 80 h 260"/>
                  <a:gd name="T54" fmla="*/ 25 w 168"/>
                  <a:gd name="T55" fmla="*/ 84 h 260"/>
                  <a:gd name="T56" fmla="*/ 19 w 168"/>
                  <a:gd name="T57" fmla="*/ 64 h 260"/>
                  <a:gd name="T58" fmla="*/ 13 w 168"/>
                  <a:gd name="T59" fmla="*/ 58 h 260"/>
                  <a:gd name="T60" fmla="*/ 6 w 168"/>
                  <a:gd name="T61" fmla="*/ 61 h 260"/>
                  <a:gd name="T62" fmla="*/ 2 w 168"/>
                  <a:gd name="T63" fmla="*/ 37 h 260"/>
                  <a:gd name="T64" fmla="*/ 6 w 168"/>
                  <a:gd name="T65" fmla="*/ 25 h 260"/>
                  <a:gd name="T66" fmla="*/ 9 w 168"/>
                  <a:gd name="T67" fmla="*/ 19 h 260"/>
                  <a:gd name="T68" fmla="*/ 48 w 168"/>
                  <a:gd name="T69" fmla="*/ 13 h 260"/>
                  <a:gd name="T70" fmla="*/ 29 w 168"/>
                  <a:gd name="T71" fmla="*/ 28 h 260"/>
                  <a:gd name="T72" fmla="*/ 41 w 168"/>
                  <a:gd name="T73" fmla="*/ 28 h 260"/>
                  <a:gd name="T74" fmla="*/ 44 w 168"/>
                  <a:gd name="T75" fmla="*/ 38 h 260"/>
                  <a:gd name="T76" fmla="*/ 51 w 168"/>
                  <a:gd name="T77" fmla="*/ 51 h 260"/>
                  <a:gd name="T78" fmla="*/ 70 w 168"/>
                  <a:gd name="T79" fmla="*/ 15 h 260"/>
                  <a:gd name="T80" fmla="*/ 74 w 168"/>
                  <a:gd name="T81" fmla="*/ 57 h 260"/>
                  <a:gd name="T82" fmla="*/ 74 w 168"/>
                  <a:gd name="T83" fmla="*/ 64 h 260"/>
                  <a:gd name="T84" fmla="*/ 86 w 168"/>
                  <a:gd name="T85" fmla="*/ 80 h 260"/>
                  <a:gd name="T86" fmla="*/ 78 w 168"/>
                  <a:gd name="T87" fmla="*/ 29 h 260"/>
                  <a:gd name="T88" fmla="*/ 112 w 168"/>
                  <a:gd name="T89" fmla="*/ 16 h 260"/>
                  <a:gd name="T90" fmla="*/ 109 w 168"/>
                  <a:gd name="T91" fmla="*/ 28 h 260"/>
                  <a:gd name="T92" fmla="*/ 113 w 168"/>
                  <a:gd name="T93" fmla="*/ 35 h 260"/>
                  <a:gd name="T94" fmla="*/ 120 w 168"/>
                  <a:gd name="T95" fmla="*/ 28 h 260"/>
                  <a:gd name="T96" fmla="*/ 125 w 168"/>
                  <a:gd name="T97" fmla="*/ 54 h 260"/>
                  <a:gd name="T98" fmla="*/ 141 w 168"/>
                  <a:gd name="T99" fmla="*/ 67 h 260"/>
                  <a:gd name="T100" fmla="*/ 155 w 168"/>
                  <a:gd name="T101" fmla="*/ 87 h 260"/>
                  <a:gd name="T102" fmla="*/ 168 w 168"/>
                  <a:gd name="T103" fmla="*/ 90 h 260"/>
                  <a:gd name="T104" fmla="*/ 149 w 168"/>
                  <a:gd name="T105" fmla="*/ 106 h 260"/>
                  <a:gd name="T106" fmla="*/ 135 w 168"/>
                  <a:gd name="T107" fmla="*/ 118 h 260"/>
                  <a:gd name="T108" fmla="*/ 128 w 168"/>
                  <a:gd name="T109" fmla="*/ 151 h 260"/>
                  <a:gd name="T110" fmla="*/ 120 w 168"/>
                  <a:gd name="T111" fmla="*/ 176 h 260"/>
                  <a:gd name="T112" fmla="*/ 103 w 168"/>
                  <a:gd name="T113" fmla="*/ 224 h 260"/>
                  <a:gd name="T114" fmla="*/ 103 w 168"/>
                  <a:gd name="T115" fmla="*/ 258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68" h="260">
                    <a:moveTo>
                      <a:pt x="102" y="260"/>
                    </a:moveTo>
                    <a:lnTo>
                      <a:pt x="102" y="260"/>
                    </a:lnTo>
                    <a:lnTo>
                      <a:pt x="100" y="260"/>
                    </a:lnTo>
                    <a:lnTo>
                      <a:pt x="100" y="260"/>
                    </a:lnTo>
                    <a:lnTo>
                      <a:pt x="96" y="258"/>
                    </a:lnTo>
                    <a:lnTo>
                      <a:pt x="91" y="257"/>
                    </a:lnTo>
                    <a:lnTo>
                      <a:pt x="91" y="257"/>
                    </a:lnTo>
                    <a:lnTo>
                      <a:pt x="89" y="254"/>
                    </a:lnTo>
                    <a:lnTo>
                      <a:pt x="86" y="251"/>
                    </a:lnTo>
                    <a:lnTo>
                      <a:pt x="84" y="247"/>
                    </a:lnTo>
                    <a:lnTo>
                      <a:pt x="81" y="244"/>
                    </a:lnTo>
                    <a:lnTo>
                      <a:pt x="81" y="244"/>
                    </a:lnTo>
                    <a:lnTo>
                      <a:pt x="80" y="241"/>
                    </a:lnTo>
                    <a:lnTo>
                      <a:pt x="78" y="237"/>
                    </a:lnTo>
                    <a:lnTo>
                      <a:pt x="80" y="234"/>
                    </a:lnTo>
                    <a:lnTo>
                      <a:pt x="80" y="231"/>
                    </a:lnTo>
                    <a:lnTo>
                      <a:pt x="80" y="231"/>
                    </a:lnTo>
                    <a:lnTo>
                      <a:pt x="81" y="226"/>
                    </a:lnTo>
                    <a:lnTo>
                      <a:pt x="80" y="225"/>
                    </a:lnTo>
                    <a:lnTo>
                      <a:pt x="78" y="225"/>
                    </a:lnTo>
                    <a:lnTo>
                      <a:pt x="78" y="225"/>
                    </a:lnTo>
                    <a:lnTo>
                      <a:pt x="77" y="225"/>
                    </a:lnTo>
                    <a:lnTo>
                      <a:pt x="77" y="225"/>
                    </a:lnTo>
                    <a:lnTo>
                      <a:pt x="75" y="228"/>
                    </a:lnTo>
                    <a:lnTo>
                      <a:pt x="74" y="228"/>
                    </a:lnTo>
                    <a:lnTo>
                      <a:pt x="74" y="228"/>
                    </a:lnTo>
                    <a:lnTo>
                      <a:pt x="71" y="226"/>
                    </a:lnTo>
                    <a:lnTo>
                      <a:pt x="71" y="226"/>
                    </a:lnTo>
                    <a:lnTo>
                      <a:pt x="70" y="225"/>
                    </a:lnTo>
                    <a:lnTo>
                      <a:pt x="67" y="222"/>
                    </a:lnTo>
                    <a:lnTo>
                      <a:pt x="60" y="216"/>
                    </a:lnTo>
                    <a:lnTo>
                      <a:pt x="60" y="216"/>
                    </a:lnTo>
                    <a:lnTo>
                      <a:pt x="57" y="212"/>
                    </a:lnTo>
                    <a:lnTo>
                      <a:pt x="54" y="205"/>
                    </a:lnTo>
                    <a:lnTo>
                      <a:pt x="52" y="199"/>
                    </a:lnTo>
                    <a:lnTo>
                      <a:pt x="52" y="193"/>
                    </a:lnTo>
                    <a:lnTo>
                      <a:pt x="52" y="193"/>
                    </a:lnTo>
                    <a:lnTo>
                      <a:pt x="54" y="189"/>
                    </a:lnTo>
                    <a:lnTo>
                      <a:pt x="55" y="187"/>
                    </a:lnTo>
                    <a:lnTo>
                      <a:pt x="55" y="186"/>
                    </a:lnTo>
                    <a:lnTo>
                      <a:pt x="55" y="186"/>
                    </a:lnTo>
                    <a:lnTo>
                      <a:pt x="57" y="187"/>
                    </a:lnTo>
                    <a:lnTo>
                      <a:pt x="57" y="187"/>
                    </a:lnTo>
                    <a:lnTo>
                      <a:pt x="60" y="192"/>
                    </a:lnTo>
                    <a:lnTo>
                      <a:pt x="61" y="193"/>
                    </a:lnTo>
                    <a:lnTo>
                      <a:pt x="61" y="193"/>
                    </a:lnTo>
                    <a:lnTo>
                      <a:pt x="61" y="193"/>
                    </a:lnTo>
                    <a:lnTo>
                      <a:pt x="61" y="193"/>
                    </a:lnTo>
                    <a:lnTo>
                      <a:pt x="65" y="190"/>
                    </a:lnTo>
                    <a:lnTo>
                      <a:pt x="70" y="189"/>
                    </a:lnTo>
                    <a:lnTo>
                      <a:pt x="70" y="189"/>
                    </a:lnTo>
                    <a:lnTo>
                      <a:pt x="71" y="189"/>
                    </a:lnTo>
                    <a:lnTo>
                      <a:pt x="71" y="189"/>
                    </a:lnTo>
                    <a:lnTo>
                      <a:pt x="80" y="192"/>
                    </a:lnTo>
                    <a:lnTo>
                      <a:pt x="80" y="192"/>
                    </a:lnTo>
                    <a:lnTo>
                      <a:pt x="81" y="190"/>
                    </a:lnTo>
                    <a:lnTo>
                      <a:pt x="81" y="190"/>
                    </a:lnTo>
                    <a:lnTo>
                      <a:pt x="78" y="189"/>
                    </a:lnTo>
                    <a:lnTo>
                      <a:pt x="74" y="186"/>
                    </a:lnTo>
                    <a:lnTo>
                      <a:pt x="70" y="184"/>
                    </a:lnTo>
                    <a:lnTo>
                      <a:pt x="68" y="183"/>
                    </a:lnTo>
                    <a:lnTo>
                      <a:pt x="68" y="182"/>
                    </a:lnTo>
                    <a:lnTo>
                      <a:pt x="68" y="182"/>
                    </a:lnTo>
                    <a:lnTo>
                      <a:pt x="77" y="177"/>
                    </a:lnTo>
                    <a:lnTo>
                      <a:pt x="86" y="173"/>
                    </a:lnTo>
                    <a:lnTo>
                      <a:pt x="86" y="173"/>
                    </a:lnTo>
                    <a:lnTo>
                      <a:pt x="93" y="170"/>
                    </a:lnTo>
                    <a:lnTo>
                      <a:pt x="94" y="168"/>
                    </a:lnTo>
                    <a:lnTo>
                      <a:pt x="94" y="166"/>
                    </a:lnTo>
                    <a:lnTo>
                      <a:pt x="94" y="166"/>
                    </a:lnTo>
                    <a:lnTo>
                      <a:pt x="94" y="166"/>
                    </a:lnTo>
                    <a:lnTo>
                      <a:pt x="93" y="166"/>
                    </a:lnTo>
                    <a:lnTo>
                      <a:pt x="93" y="166"/>
                    </a:lnTo>
                    <a:lnTo>
                      <a:pt x="84" y="166"/>
                    </a:lnTo>
                    <a:lnTo>
                      <a:pt x="77" y="167"/>
                    </a:lnTo>
                    <a:lnTo>
                      <a:pt x="77" y="167"/>
                    </a:lnTo>
                    <a:lnTo>
                      <a:pt x="74" y="168"/>
                    </a:lnTo>
                    <a:lnTo>
                      <a:pt x="70" y="171"/>
                    </a:lnTo>
                    <a:lnTo>
                      <a:pt x="64" y="173"/>
                    </a:lnTo>
                    <a:lnTo>
                      <a:pt x="61" y="174"/>
                    </a:lnTo>
                    <a:lnTo>
                      <a:pt x="61" y="174"/>
                    </a:lnTo>
                    <a:lnTo>
                      <a:pt x="57" y="176"/>
                    </a:lnTo>
                    <a:lnTo>
                      <a:pt x="52" y="177"/>
                    </a:lnTo>
                    <a:lnTo>
                      <a:pt x="52" y="177"/>
                    </a:lnTo>
                    <a:lnTo>
                      <a:pt x="49" y="177"/>
                    </a:lnTo>
                    <a:lnTo>
                      <a:pt x="49" y="174"/>
                    </a:lnTo>
                    <a:lnTo>
                      <a:pt x="49" y="174"/>
                    </a:lnTo>
                    <a:lnTo>
                      <a:pt x="48" y="161"/>
                    </a:lnTo>
                    <a:lnTo>
                      <a:pt x="48" y="155"/>
                    </a:lnTo>
                    <a:lnTo>
                      <a:pt x="48" y="154"/>
                    </a:lnTo>
                    <a:lnTo>
                      <a:pt x="48" y="154"/>
                    </a:lnTo>
                    <a:lnTo>
                      <a:pt x="52" y="155"/>
                    </a:lnTo>
                    <a:lnTo>
                      <a:pt x="55" y="157"/>
                    </a:lnTo>
                    <a:lnTo>
                      <a:pt x="55" y="157"/>
                    </a:lnTo>
                    <a:lnTo>
                      <a:pt x="55" y="157"/>
                    </a:lnTo>
                    <a:lnTo>
                      <a:pt x="55" y="157"/>
                    </a:lnTo>
                    <a:lnTo>
                      <a:pt x="58" y="153"/>
                    </a:lnTo>
                    <a:lnTo>
                      <a:pt x="60" y="151"/>
                    </a:lnTo>
                    <a:lnTo>
                      <a:pt x="62" y="150"/>
                    </a:lnTo>
                    <a:lnTo>
                      <a:pt x="62" y="150"/>
                    </a:lnTo>
                    <a:lnTo>
                      <a:pt x="64" y="148"/>
                    </a:lnTo>
                    <a:lnTo>
                      <a:pt x="67" y="147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74" y="138"/>
                    </a:lnTo>
                    <a:lnTo>
                      <a:pt x="75" y="137"/>
                    </a:lnTo>
                    <a:lnTo>
                      <a:pt x="78" y="135"/>
                    </a:lnTo>
                    <a:lnTo>
                      <a:pt x="80" y="135"/>
                    </a:lnTo>
                    <a:lnTo>
                      <a:pt x="80" y="135"/>
                    </a:lnTo>
                    <a:lnTo>
                      <a:pt x="81" y="131"/>
                    </a:lnTo>
                    <a:lnTo>
                      <a:pt x="83" y="128"/>
                    </a:lnTo>
                    <a:lnTo>
                      <a:pt x="84" y="128"/>
                    </a:lnTo>
                    <a:lnTo>
                      <a:pt x="84" y="128"/>
                    </a:lnTo>
                    <a:lnTo>
                      <a:pt x="86" y="128"/>
                    </a:lnTo>
                    <a:lnTo>
                      <a:pt x="86" y="128"/>
                    </a:lnTo>
                    <a:lnTo>
                      <a:pt x="90" y="129"/>
                    </a:lnTo>
                    <a:lnTo>
                      <a:pt x="93" y="129"/>
                    </a:lnTo>
                    <a:lnTo>
                      <a:pt x="93" y="129"/>
                    </a:lnTo>
                    <a:lnTo>
                      <a:pt x="96" y="129"/>
                    </a:lnTo>
                    <a:lnTo>
                      <a:pt x="96" y="129"/>
                    </a:lnTo>
                    <a:lnTo>
                      <a:pt x="103" y="125"/>
                    </a:lnTo>
                    <a:lnTo>
                      <a:pt x="104" y="124"/>
                    </a:lnTo>
                    <a:lnTo>
                      <a:pt x="104" y="122"/>
                    </a:lnTo>
                    <a:lnTo>
                      <a:pt x="104" y="122"/>
                    </a:lnTo>
                    <a:lnTo>
                      <a:pt x="96" y="124"/>
                    </a:lnTo>
                    <a:lnTo>
                      <a:pt x="96" y="124"/>
                    </a:lnTo>
                    <a:lnTo>
                      <a:pt x="93" y="122"/>
                    </a:lnTo>
                    <a:lnTo>
                      <a:pt x="91" y="119"/>
                    </a:lnTo>
                    <a:lnTo>
                      <a:pt x="91" y="119"/>
                    </a:lnTo>
                    <a:lnTo>
                      <a:pt x="94" y="112"/>
                    </a:lnTo>
                    <a:lnTo>
                      <a:pt x="94" y="109"/>
                    </a:lnTo>
                    <a:lnTo>
                      <a:pt x="94" y="108"/>
                    </a:lnTo>
                    <a:lnTo>
                      <a:pt x="94" y="108"/>
                    </a:lnTo>
                    <a:lnTo>
                      <a:pt x="93" y="103"/>
                    </a:lnTo>
                    <a:lnTo>
                      <a:pt x="91" y="102"/>
                    </a:lnTo>
                    <a:lnTo>
                      <a:pt x="91" y="102"/>
                    </a:lnTo>
                    <a:lnTo>
                      <a:pt x="90" y="103"/>
                    </a:lnTo>
                    <a:lnTo>
                      <a:pt x="90" y="103"/>
                    </a:lnTo>
                    <a:lnTo>
                      <a:pt x="86" y="112"/>
                    </a:lnTo>
                    <a:lnTo>
                      <a:pt x="83" y="118"/>
                    </a:lnTo>
                    <a:lnTo>
                      <a:pt x="81" y="119"/>
                    </a:lnTo>
                    <a:lnTo>
                      <a:pt x="78" y="119"/>
                    </a:lnTo>
                    <a:lnTo>
                      <a:pt x="78" y="119"/>
                    </a:lnTo>
                    <a:lnTo>
                      <a:pt x="78" y="119"/>
                    </a:lnTo>
                    <a:lnTo>
                      <a:pt x="78" y="119"/>
                    </a:lnTo>
                    <a:lnTo>
                      <a:pt x="74" y="118"/>
                    </a:lnTo>
                    <a:lnTo>
                      <a:pt x="71" y="116"/>
                    </a:lnTo>
                    <a:lnTo>
                      <a:pt x="70" y="115"/>
                    </a:lnTo>
                    <a:lnTo>
                      <a:pt x="71" y="111"/>
                    </a:lnTo>
                    <a:lnTo>
                      <a:pt x="71" y="111"/>
                    </a:lnTo>
                    <a:lnTo>
                      <a:pt x="77" y="103"/>
                    </a:lnTo>
                    <a:lnTo>
                      <a:pt x="77" y="99"/>
                    </a:lnTo>
                    <a:lnTo>
                      <a:pt x="75" y="97"/>
                    </a:lnTo>
                    <a:lnTo>
                      <a:pt x="75" y="97"/>
                    </a:lnTo>
                    <a:lnTo>
                      <a:pt x="74" y="95"/>
                    </a:lnTo>
                    <a:lnTo>
                      <a:pt x="71" y="95"/>
                    </a:lnTo>
                    <a:lnTo>
                      <a:pt x="71" y="95"/>
                    </a:lnTo>
                    <a:lnTo>
                      <a:pt x="70" y="95"/>
                    </a:lnTo>
                    <a:lnTo>
                      <a:pt x="70" y="96"/>
                    </a:lnTo>
                    <a:lnTo>
                      <a:pt x="70" y="96"/>
                    </a:lnTo>
                    <a:lnTo>
                      <a:pt x="68" y="102"/>
                    </a:lnTo>
                    <a:lnTo>
                      <a:pt x="68" y="105"/>
                    </a:lnTo>
                    <a:lnTo>
                      <a:pt x="67" y="106"/>
                    </a:lnTo>
                    <a:lnTo>
                      <a:pt x="67" y="106"/>
                    </a:lnTo>
                    <a:lnTo>
                      <a:pt x="65" y="106"/>
                    </a:lnTo>
                    <a:lnTo>
                      <a:pt x="65" y="106"/>
                    </a:lnTo>
                    <a:lnTo>
                      <a:pt x="61" y="102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8" y="111"/>
                    </a:lnTo>
                    <a:lnTo>
                      <a:pt x="58" y="122"/>
                    </a:lnTo>
                    <a:lnTo>
                      <a:pt x="58" y="122"/>
                    </a:lnTo>
                    <a:lnTo>
                      <a:pt x="58" y="125"/>
                    </a:lnTo>
                    <a:lnTo>
                      <a:pt x="57" y="126"/>
                    </a:lnTo>
                    <a:lnTo>
                      <a:pt x="55" y="126"/>
                    </a:lnTo>
                    <a:lnTo>
                      <a:pt x="54" y="128"/>
                    </a:lnTo>
                    <a:lnTo>
                      <a:pt x="54" y="128"/>
                    </a:lnTo>
                    <a:lnTo>
                      <a:pt x="49" y="134"/>
                    </a:lnTo>
                    <a:lnTo>
                      <a:pt x="44" y="137"/>
                    </a:lnTo>
                    <a:lnTo>
                      <a:pt x="44" y="137"/>
                    </a:lnTo>
                    <a:lnTo>
                      <a:pt x="39" y="137"/>
                    </a:lnTo>
                    <a:lnTo>
                      <a:pt x="39" y="137"/>
                    </a:lnTo>
                    <a:lnTo>
                      <a:pt x="38" y="137"/>
                    </a:lnTo>
                    <a:lnTo>
                      <a:pt x="36" y="134"/>
                    </a:lnTo>
                    <a:lnTo>
                      <a:pt x="36" y="134"/>
                    </a:lnTo>
                    <a:lnTo>
                      <a:pt x="35" y="128"/>
                    </a:lnTo>
                    <a:lnTo>
                      <a:pt x="32" y="125"/>
                    </a:lnTo>
                    <a:lnTo>
                      <a:pt x="32" y="125"/>
                    </a:lnTo>
                    <a:lnTo>
                      <a:pt x="28" y="122"/>
                    </a:lnTo>
                    <a:lnTo>
                      <a:pt x="28" y="121"/>
                    </a:lnTo>
                    <a:lnTo>
                      <a:pt x="29" y="119"/>
                    </a:lnTo>
                    <a:lnTo>
                      <a:pt x="29" y="119"/>
                    </a:lnTo>
                    <a:lnTo>
                      <a:pt x="35" y="115"/>
                    </a:lnTo>
                    <a:lnTo>
                      <a:pt x="36" y="113"/>
                    </a:lnTo>
                    <a:lnTo>
                      <a:pt x="36" y="112"/>
                    </a:lnTo>
                    <a:lnTo>
                      <a:pt x="36" y="112"/>
                    </a:lnTo>
                    <a:lnTo>
                      <a:pt x="31" y="113"/>
                    </a:lnTo>
                    <a:lnTo>
                      <a:pt x="31" y="113"/>
                    </a:lnTo>
                    <a:lnTo>
                      <a:pt x="28" y="112"/>
                    </a:lnTo>
                    <a:lnTo>
                      <a:pt x="26" y="111"/>
                    </a:lnTo>
                    <a:lnTo>
                      <a:pt x="26" y="111"/>
                    </a:lnTo>
                    <a:lnTo>
                      <a:pt x="18" y="102"/>
                    </a:lnTo>
                    <a:lnTo>
                      <a:pt x="15" y="97"/>
                    </a:lnTo>
                    <a:lnTo>
                      <a:pt x="13" y="96"/>
                    </a:lnTo>
                    <a:lnTo>
                      <a:pt x="13" y="95"/>
                    </a:lnTo>
                    <a:lnTo>
                      <a:pt x="13" y="95"/>
                    </a:lnTo>
                    <a:lnTo>
                      <a:pt x="16" y="93"/>
                    </a:lnTo>
                    <a:lnTo>
                      <a:pt x="18" y="93"/>
                    </a:lnTo>
                    <a:lnTo>
                      <a:pt x="19" y="92"/>
                    </a:lnTo>
                    <a:lnTo>
                      <a:pt x="18" y="89"/>
                    </a:lnTo>
                    <a:lnTo>
                      <a:pt x="18" y="89"/>
                    </a:lnTo>
                    <a:lnTo>
                      <a:pt x="13" y="83"/>
                    </a:lnTo>
                    <a:lnTo>
                      <a:pt x="12" y="82"/>
                    </a:lnTo>
                    <a:lnTo>
                      <a:pt x="13" y="80"/>
                    </a:lnTo>
                    <a:lnTo>
                      <a:pt x="13" y="80"/>
                    </a:lnTo>
                    <a:lnTo>
                      <a:pt x="13" y="80"/>
                    </a:lnTo>
                    <a:lnTo>
                      <a:pt x="13" y="80"/>
                    </a:lnTo>
                    <a:lnTo>
                      <a:pt x="18" y="83"/>
                    </a:lnTo>
                    <a:lnTo>
                      <a:pt x="18" y="83"/>
                    </a:lnTo>
                    <a:lnTo>
                      <a:pt x="23" y="84"/>
                    </a:lnTo>
                    <a:lnTo>
                      <a:pt x="23" y="84"/>
                    </a:lnTo>
                    <a:lnTo>
                      <a:pt x="25" y="84"/>
                    </a:lnTo>
                    <a:lnTo>
                      <a:pt x="25" y="83"/>
                    </a:lnTo>
                    <a:lnTo>
                      <a:pt x="25" y="83"/>
                    </a:lnTo>
                    <a:lnTo>
                      <a:pt x="23" y="80"/>
                    </a:lnTo>
                    <a:lnTo>
                      <a:pt x="20" y="77"/>
                    </a:lnTo>
                    <a:lnTo>
                      <a:pt x="18" y="74"/>
                    </a:lnTo>
                    <a:lnTo>
                      <a:pt x="16" y="73"/>
                    </a:lnTo>
                    <a:lnTo>
                      <a:pt x="16" y="73"/>
                    </a:lnTo>
                    <a:lnTo>
                      <a:pt x="19" y="64"/>
                    </a:lnTo>
                    <a:lnTo>
                      <a:pt x="20" y="60"/>
                    </a:lnTo>
                    <a:lnTo>
                      <a:pt x="20" y="57"/>
                    </a:lnTo>
                    <a:lnTo>
                      <a:pt x="20" y="57"/>
                    </a:lnTo>
                    <a:lnTo>
                      <a:pt x="19" y="55"/>
                    </a:lnTo>
                    <a:lnTo>
                      <a:pt x="19" y="55"/>
                    </a:lnTo>
                    <a:lnTo>
                      <a:pt x="16" y="57"/>
                    </a:lnTo>
                    <a:lnTo>
                      <a:pt x="13" y="58"/>
                    </a:lnTo>
                    <a:lnTo>
                      <a:pt x="13" y="58"/>
                    </a:lnTo>
                    <a:lnTo>
                      <a:pt x="10" y="64"/>
                    </a:lnTo>
                    <a:lnTo>
                      <a:pt x="9" y="67"/>
                    </a:lnTo>
                    <a:lnTo>
                      <a:pt x="7" y="69"/>
                    </a:lnTo>
                    <a:lnTo>
                      <a:pt x="7" y="69"/>
                    </a:lnTo>
                    <a:lnTo>
                      <a:pt x="6" y="69"/>
                    </a:lnTo>
                    <a:lnTo>
                      <a:pt x="6" y="69"/>
                    </a:lnTo>
                    <a:lnTo>
                      <a:pt x="6" y="66"/>
                    </a:lnTo>
                    <a:lnTo>
                      <a:pt x="6" y="61"/>
                    </a:lnTo>
                    <a:lnTo>
                      <a:pt x="6" y="57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3" y="50"/>
                    </a:lnTo>
                    <a:lnTo>
                      <a:pt x="3" y="45"/>
                    </a:lnTo>
                    <a:lnTo>
                      <a:pt x="3" y="41"/>
                    </a:lnTo>
                    <a:lnTo>
                      <a:pt x="2" y="37"/>
                    </a:lnTo>
                    <a:lnTo>
                      <a:pt x="2" y="37"/>
                    </a:lnTo>
                    <a:lnTo>
                      <a:pt x="0" y="32"/>
                    </a:lnTo>
                    <a:lnTo>
                      <a:pt x="2" y="29"/>
                    </a:lnTo>
                    <a:lnTo>
                      <a:pt x="3" y="22"/>
                    </a:lnTo>
                    <a:lnTo>
                      <a:pt x="3" y="22"/>
                    </a:lnTo>
                    <a:lnTo>
                      <a:pt x="3" y="22"/>
                    </a:lnTo>
                    <a:lnTo>
                      <a:pt x="3" y="22"/>
                    </a:lnTo>
                    <a:lnTo>
                      <a:pt x="6" y="25"/>
                    </a:lnTo>
                    <a:lnTo>
                      <a:pt x="6" y="25"/>
                    </a:lnTo>
                    <a:lnTo>
                      <a:pt x="10" y="27"/>
                    </a:lnTo>
                    <a:lnTo>
                      <a:pt x="10" y="27"/>
                    </a:lnTo>
                    <a:lnTo>
                      <a:pt x="12" y="27"/>
                    </a:lnTo>
                    <a:lnTo>
                      <a:pt x="12" y="27"/>
                    </a:lnTo>
                    <a:lnTo>
                      <a:pt x="12" y="24"/>
                    </a:lnTo>
                    <a:lnTo>
                      <a:pt x="10" y="22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0" y="18"/>
                    </a:lnTo>
                    <a:lnTo>
                      <a:pt x="10" y="13"/>
                    </a:lnTo>
                    <a:lnTo>
                      <a:pt x="9" y="0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8"/>
                    </a:lnTo>
                    <a:lnTo>
                      <a:pt x="48" y="13"/>
                    </a:lnTo>
                    <a:lnTo>
                      <a:pt x="47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1" y="18"/>
                    </a:lnTo>
                    <a:lnTo>
                      <a:pt x="38" y="19"/>
                    </a:lnTo>
                    <a:lnTo>
                      <a:pt x="33" y="22"/>
                    </a:lnTo>
                    <a:lnTo>
                      <a:pt x="33" y="22"/>
                    </a:lnTo>
                    <a:lnTo>
                      <a:pt x="29" y="28"/>
                    </a:lnTo>
                    <a:lnTo>
                      <a:pt x="28" y="31"/>
                    </a:lnTo>
                    <a:lnTo>
                      <a:pt x="28" y="31"/>
                    </a:lnTo>
                    <a:lnTo>
                      <a:pt x="29" y="32"/>
                    </a:lnTo>
                    <a:lnTo>
                      <a:pt x="29" y="32"/>
                    </a:lnTo>
                    <a:lnTo>
                      <a:pt x="35" y="29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1" y="35"/>
                    </a:lnTo>
                    <a:lnTo>
                      <a:pt x="42" y="41"/>
                    </a:lnTo>
                    <a:lnTo>
                      <a:pt x="42" y="41"/>
                    </a:lnTo>
                    <a:lnTo>
                      <a:pt x="42" y="41"/>
                    </a:lnTo>
                    <a:lnTo>
                      <a:pt x="42" y="41"/>
                    </a:lnTo>
                    <a:lnTo>
                      <a:pt x="42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5" y="40"/>
                    </a:lnTo>
                    <a:lnTo>
                      <a:pt x="45" y="40"/>
                    </a:lnTo>
                    <a:lnTo>
                      <a:pt x="48" y="47"/>
                    </a:lnTo>
                    <a:lnTo>
                      <a:pt x="49" y="51"/>
                    </a:lnTo>
                    <a:lnTo>
                      <a:pt x="49" y="51"/>
                    </a:lnTo>
                    <a:lnTo>
                      <a:pt x="51" y="51"/>
                    </a:lnTo>
                    <a:lnTo>
                      <a:pt x="51" y="51"/>
                    </a:lnTo>
                    <a:lnTo>
                      <a:pt x="49" y="41"/>
                    </a:lnTo>
                    <a:lnTo>
                      <a:pt x="49" y="35"/>
                    </a:lnTo>
                    <a:lnTo>
                      <a:pt x="49" y="31"/>
                    </a:lnTo>
                    <a:lnTo>
                      <a:pt x="49" y="31"/>
                    </a:lnTo>
                    <a:lnTo>
                      <a:pt x="58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0" y="15"/>
                    </a:lnTo>
                    <a:lnTo>
                      <a:pt x="71" y="22"/>
                    </a:lnTo>
                    <a:lnTo>
                      <a:pt x="71" y="22"/>
                    </a:lnTo>
                    <a:lnTo>
                      <a:pt x="73" y="34"/>
                    </a:lnTo>
                    <a:lnTo>
                      <a:pt x="74" y="41"/>
                    </a:lnTo>
                    <a:lnTo>
                      <a:pt x="74" y="41"/>
                    </a:lnTo>
                    <a:lnTo>
                      <a:pt x="74" y="48"/>
                    </a:lnTo>
                    <a:lnTo>
                      <a:pt x="75" y="53"/>
                    </a:lnTo>
                    <a:lnTo>
                      <a:pt x="74" y="57"/>
                    </a:lnTo>
                    <a:lnTo>
                      <a:pt x="74" y="57"/>
                    </a:lnTo>
                    <a:lnTo>
                      <a:pt x="73" y="60"/>
                    </a:lnTo>
                    <a:lnTo>
                      <a:pt x="73" y="63"/>
                    </a:lnTo>
                    <a:lnTo>
                      <a:pt x="73" y="64"/>
                    </a:lnTo>
                    <a:lnTo>
                      <a:pt x="74" y="64"/>
                    </a:lnTo>
                    <a:lnTo>
                      <a:pt x="74" y="64"/>
                    </a:lnTo>
                    <a:lnTo>
                      <a:pt x="74" y="64"/>
                    </a:lnTo>
                    <a:lnTo>
                      <a:pt x="74" y="64"/>
                    </a:lnTo>
                    <a:lnTo>
                      <a:pt x="78" y="63"/>
                    </a:lnTo>
                    <a:lnTo>
                      <a:pt x="78" y="63"/>
                    </a:lnTo>
                    <a:lnTo>
                      <a:pt x="78" y="63"/>
                    </a:lnTo>
                    <a:lnTo>
                      <a:pt x="80" y="64"/>
                    </a:lnTo>
                    <a:lnTo>
                      <a:pt x="80" y="64"/>
                    </a:lnTo>
                    <a:lnTo>
                      <a:pt x="83" y="73"/>
                    </a:lnTo>
                    <a:lnTo>
                      <a:pt x="84" y="77"/>
                    </a:lnTo>
                    <a:lnTo>
                      <a:pt x="86" y="80"/>
                    </a:lnTo>
                    <a:lnTo>
                      <a:pt x="86" y="80"/>
                    </a:lnTo>
                    <a:lnTo>
                      <a:pt x="87" y="79"/>
                    </a:lnTo>
                    <a:lnTo>
                      <a:pt x="87" y="79"/>
                    </a:lnTo>
                    <a:lnTo>
                      <a:pt x="86" y="67"/>
                    </a:lnTo>
                    <a:lnTo>
                      <a:pt x="83" y="54"/>
                    </a:lnTo>
                    <a:lnTo>
                      <a:pt x="83" y="54"/>
                    </a:lnTo>
                    <a:lnTo>
                      <a:pt x="80" y="42"/>
                    </a:lnTo>
                    <a:lnTo>
                      <a:pt x="78" y="29"/>
                    </a:lnTo>
                    <a:lnTo>
                      <a:pt x="78" y="29"/>
                    </a:lnTo>
                    <a:lnTo>
                      <a:pt x="78" y="16"/>
                    </a:lnTo>
                    <a:lnTo>
                      <a:pt x="77" y="9"/>
                    </a:lnTo>
                    <a:lnTo>
                      <a:pt x="77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13"/>
                    </a:lnTo>
                    <a:lnTo>
                      <a:pt x="112" y="16"/>
                    </a:lnTo>
                    <a:lnTo>
                      <a:pt x="110" y="19"/>
                    </a:lnTo>
                    <a:lnTo>
                      <a:pt x="110" y="19"/>
                    </a:lnTo>
                    <a:lnTo>
                      <a:pt x="109" y="21"/>
                    </a:lnTo>
                    <a:lnTo>
                      <a:pt x="109" y="22"/>
                    </a:lnTo>
                    <a:lnTo>
                      <a:pt x="110" y="24"/>
                    </a:lnTo>
                    <a:lnTo>
                      <a:pt x="109" y="25"/>
                    </a:lnTo>
                    <a:lnTo>
                      <a:pt x="109" y="25"/>
                    </a:lnTo>
                    <a:lnTo>
                      <a:pt x="109" y="28"/>
                    </a:lnTo>
                    <a:lnTo>
                      <a:pt x="107" y="35"/>
                    </a:lnTo>
                    <a:lnTo>
                      <a:pt x="107" y="41"/>
                    </a:lnTo>
                    <a:lnTo>
                      <a:pt x="109" y="44"/>
                    </a:lnTo>
                    <a:lnTo>
                      <a:pt x="109" y="44"/>
                    </a:lnTo>
                    <a:lnTo>
                      <a:pt x="109" y="44"/>
                    </a:lnTo>
                    <a:lnTo>
                      <a:pt x="109" y="44"/>
                    </a:lnTo>
                    <a:lnTo>
                      <a:pt x="112" y="40"/>
                    </a:lnTo>
                    <a:lnTo>
                      <a:pt x="113" y="35"/>
                    </a:lnTo>
                    <a:lnTo>
                      <a:pt x="113" y="35"/>
                    </a:lnTo>
                    <a:lnTo>
                      <a:pt x="115" y="29"/>
                    </a:lnTo>
                    <a:lnTo>
                      <a:pt x="116" y="27"/>
                    </a:lnTo>
                    <a:lnTo>
                      <a:pt x="117" y="25"/>
                    </a:lnTo>
                    <a:lnTo>
                      <a:pt x="117" y="25"/>
                    </a:lnTo>
                    <a:lnTo>
                      <a:pt x="119" y="25"/>
                    </a:lnTo>
                    <a:lnTo>
                      <a:pt x="119" y="25"/>
                    </a:lnTo>
                    <a:lnTo>
                      <a:pt x="120" y="28"/>
                    </a:lnTo>
                    <a:lnTo>
                      <a:pt x="122" y="32"/>
                    </a:lnTo>
                    <a:lnTo>
                      <a:pt x="122" y="37"/>
                    </a:lnTo>
                    <a:lnTo>
                      <a:pt x="125" y="40"/>
                    </a:lnTo>
                    <a:lnTo>
                      <a:pt x="125" y="40"/>
                    </a:lnTo>
                    <a:lnTo>
                      <a:pt x="128" y="44"/>
                    </a:lnTo>
                    <a:lnTo>
                      <a:pt x="126" y="48"/>
                    </a:lnTo>
                    <a:lnTo>
                      <a:pt x="126" y="48"/>
                    </a:lnTo>
                    <a:lnTo>
                      <a:pt x="125" y="54"/>
                    </a:lnTo>
                    <a:lnTo>
                      <a:pt x="125" y="57"/>
                    </a:lnTo>
                    <a:lnTo>
                      <a:pt x="126" y="60"/>
                    </a:lnTo>
                    <a:lnTo>
                      <a:pt x="126" y="60"/>
                    </a:lnTo>
                    <a:lnTo>
                      <a:pt x="131" y="61"/>
                    </a:lnTo>
                    <a:lnTo>
                      <a:pt x="135" y="63"/>
                    </a:lnTo>
                    <a:lnTo>
                      <a:pt x="138" y="64"/>
                    </a:lnTo>
                    <a:lnTo>
                      <a:pt x="139" y="66"/>
                    </a:lnTo>
                    <a:lnTo>
                      <a:pt x="141" y="67"/>
                    </a:lnTo>
                    <a:lnTo>
                      <a:pt x="141" y="67"/>
                    </a:lnTo>
                    <a:lnTo>
                      <a:pt x="141" y="73"/>
                    </a:lnTo>
                    <a:lnTo>
                      <a:pt x="144" y="79"/>
                    </a:lnTo>
                    <a:lnTo>
                      <a:pt x="146" y="83"/>
                    </a:lnTo>
                    <a:lnTo>
                      <a:pt x="151" y="86"/>
                    </a:lnTo>
                    <a:lnTo>
                      <a:pt x="151" y="86"/>
                    </a:lnTo>
                    <a:lnTo>
                      <a:pt x="155" y="87"/>
                    </a:lnTo>
                    <a:lnTo>
                      <a:pt x="155" y="87"/>
                    </a:lnTo>
                    <a:lnTo>
                      <a:pt x="158" y="87"/>
                    </a:lnTo>
                    <a:lnTo>
                      <a:pt x="158" y="87"/>
                    </a:lnTo>
                    <a:lnTo>
                      <a:pt x="162" y="86"/>
                    </a:lnTo>
                    <a:lnTo>
                      <a:pt x="162" y="86"/>
                    </a:lnTo>
                    <a:lnTo>
                      <a:pt x="165" y="87"/>
                    </a:lnTo>
                    <a:lnTo>
                      <a:pt x="167" y="89"/>
                    </a:lnTo>
                    <a:lnTo>
                      <a:pt x="168" y="90"/>
                    </a:lnTo>
                    <a:lnTo>
                      <a:pt x="168" y="90"/>
                    </a:lnTo>
                    <a:lnTo>
                      <a:pt x="168" y="95"/>
                    </a:lnTo>
                    <a:lnTo>
                      <a:pt x="168" y="97"/>
                    </a:lnTo>
                    <a:lnTo>
                      <a:pt x="165" y="100"/>
                    </a:lnTo>
                    <a:lnTo>
                      <a:pt x="162" y="103"/>
                    </a:lnTo>
                    <a:lnTo>
                      <a:pt x="162" y="103"/>
                    </a:lnTo>
                    <a:lnTo>
                      <a:pt x="155" y="103"/>
                    </a:lnTo>
                    <a:lnTo>
                      <a:pt x="152" y="105"/>
                    </a:lnTo>
                    <a:lnTo>
                      <a:pt x="149" y="106"/>
                    </a:lnTo>
                    <a:lnTo>
                      <a:pt x="149" y="106"/>
                    </a:lnTo>
                    <a:lnTo>
                      <a:pt x="148" y="108"/>
                    </a:lnTo>
                    <a:lnTo>
                      <a:pt x="145" y="109"/>
                    </a:lnTo>
                    <a:lnTo>
                      <a:pt x="142" y="109"/>
                    </a:lnTo>
                    <a:lnTo>
                      <a:pt x="141" y="112"/>
                    </a:lnTo>
                    <a:lnTo>
                      <a:pt x="141" y="112"/>
                    </a:lnTo>
                    <a:lnTo>
                      <a:pt x="139" y="115"/>
                    </a:lnTo>
                    <a:lnTo>
                      <a:pt x="135" y="118"/>
                    </a:lnTo>
                    <a:lnTo>
                      <a:pt x="131" y="121"/>
                    </a:lnTo>
                    <a:lnTo>
                      <a:pt x="131" y="121"/>
                    </a:lnTo>
                    <a:lnTo>
                      <a:pt x="129" y="124"/>
                    </a:lnTo>
                    <a:lnTo>
                      <a:pt x="129" y="126"/>
                    </a:lnTo>
                    <a:lnTo>
                      <a:pt x="129" y="134"/>
                    </a:lnTo>
                    <a:lnTo>
                      <a:pt x="129" y="134"/>
                    </a:lnTo>
                    <a:lnTo>
                      <a:pt x="129" y="145"/>
                    </a:lnTo>
                    <a:lnTo>
                      <a:pt x="128" y="151"/>
                    </a:lnTo>
                    <a:lnTo>
                      <a:pt x="126" y="153"/>
                    </a:lnTo>
                    <a:lnTo>
                      <a:pt x="126" y="153"/>
                    </a:lnTo>
                    <a:lnTo>
                      <a:pt x="125" y="153"/>
                    </a:lnTo>
                    <a:lnTo>
                      <a:pt x="125" y="153"/>
                    </a:lnTo>
                    <a:lnTo>
                      <a:pt x="125" y="153"/>
                    </a:lnTo>
                    <a:lnTo>
                      <a:pt x="123" y="155"/>
                    </a:lnTo>
                    <a:lnTo>
                      <a:pt x="123" y="155"/>
                    </a:lnTo>
                    <a:lnTo>
                      <a:pt x="120" y="176"/>
                    </a:lnTo>
                    <a:lnTo>
                      <a:pt x="117" y="189"/>
                    </a:lnTo>
                    <a:lnTo>
                      <a:pt x="115" y="195"/>
                    </a:lnTo>
                    <a:lnTo>
                      <a:pt x="115" y="195"/>
                    </a:lnTo>
                    <a:lnTo>
                      <a:pt x="112" y="196"/>
                    </a:lnTo>
                    <a:lnTo>
                      <a:pt x="109" y="199"/>
                    </a:lnTo>
                    <a:lnTo>
                      <a:pt x="109" y="199"/>
                    </a:lnTo>
                    <a:lnTo>
                      <a:pt x="106" y="208"/>
                    </a:lnTo>
                    <a:lnTo>
                      <a:pt x="103" y="224"/>
                    </a:lnTo>
                    <a:lnTo>
                      <a:pt x="103" y="224"/>
                    </a:lnTo>
                    <a:lnTo>
                      <a:pt x="103" y="237"/>
                    </a:lnTo>
                    <a:lnTo>
                      <a:pt x="102" y="241"/>
                    </a:lnTo>
                    <a:lnTo>
                      <a:pt x="102" y="244"/>
                    </a:lnTo>
                    <a:lnTo>
                      <a:pt x="102" y="244"/>
                    </a:lnTo>
                    <a:lnTo>
                      <a:pt x="100" y="248"/>
                    </a:lnTo>
                    <a:lnTo>
                      <a:pt x="102" y="252"/>
                    </a:lnTo>
                    <a:lnTo>
                      <a:pt x="103" y="258"/>
                    </a:lnTo>
                    <a:lnTo>
                      <a:pt x="102" y="260"/>
                    </a:lnTo>
                    <a:lnTo>
                      <a:pt x="102" y="26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26" name="Freeform 76"/>
              <p:cNvSpPr>
                <a:spLocks/>
              </p:cNvSpPr>
              <p:nvPr/>
            </p:nvSpPr>
            <p:spPr bwMode="auto">
              <a:xfrm>
                <a:off x="4710497" y="1124939"/>
                <a:ext cx="111786" cy="62323"/>
              </a:xfrm>
              <a:custGeom>
                <a:avLst/>
                <a:gdLst>
                  <a:gd name="T0" fmla="*/ 63 w 113"/>
                  <a:gd name="T1" fmla="*/ 63 h 63"/>
                  <a:gd name="T2" fmla="*/ 53 w 113"/>
                  <a:gd name="T3" fmla="*/ 60 h 63"/>
                  <a:gd name="T4" fmla="*/ 49 w 113"/>
                  <a:gd name="T5" fmla="*/ 54 h 63"/>
                  <a:gd name="T6" fmla="*/ 49 w 113"/>
                  <a:gd name="T7" fmla="*/ 48 h 63"/>
                  <a:gd name="T8" fmla="*/ 46 w 113"/>
                  <a:gd name="T9" fmla="*/ 45 h 63"/>
                  <a:gd name="T10" fmla="*/ 45 w 113"/>
                  <a:gd name="T11" fmla="*/ 45 h 63"/>
                  <a:gd name="T12" fmla="*/ 36 w 113"/>
                  <a:gd name="T13" fmla="*/ 45 h 63"/>
                  <a:gd name="T14" fmla="*/ 27 w 113"/>
                  <a:gd name="T15" fmla="*/ 47 h 63"/>
                  <a:gd name="T16" fmla="*/ 21 w 113"/>
                  <a:gd name="T17" fmla="*/ 48 h 63"/>
                  <a:gd name="T18" fmla="*/ 19 w 113"/>
                  <a:gd name="T19" fmla="*/ 47 h 63"/>
                  <a:gd name="T20" fmla="*/ 17 w 113"/>
                  <a:gd name="T21" fmla="*/ 42 h 63"/>
                  <a:gd name="T22" fmla="*/ 13 w 113"/>
                  <a:gd name="T23" fmla="*/ 40 h 63"/>
                  <a:gd name="T24" fmla="*/ 8 w 113"/>
                  <a:gd name="T25" fmla="*/ 38 h 63"/>
                  <a:gd name="T26" fmla="*/ 0 w 113"/>
                  <a:gd name="T27" fmla="*/ 29 h 63"/>
                  <a:gd name="T28" fmla="*/ 3 w 113"/>
                  <a:gd name="T29" fmla="*/ 27 h 63"/>
                  <a:gd name="T30" fmla="*/ 6 w 113"/>
                  <a:gd name="T31" fmla="*/ 27 h 63"/>
                  <a:gd name="T32" fmla="*/ 8 w 113"/>
                  <a:gd name="T33" fmla="*/ 27 h 63"/>
                  <a:gd name="T34" fmla="*/ 17 w 113"/>
                  <a:gd name="T35" fmla="*/ 29 h 63"/>
                  <a:gd name="T36" fmla="*/ 19 w 113"/>
                  <a:gd name="T37" fmla="*/ 28 h 63"/>
                  <a:gd name="T38" fmla="*/ 19 w 113"/>
                  <a:gd name="T39" fmla="*/ 24 h 63"/>
                  <a:gd name="T40" fmla="*/ 21 w 113"/>
                  <a:gd name="T41" fmla="*/ 19 h 63"/>
                  <a:gd name="T42" fmla="*/ 26 w 113"/>
                  <a:gd name="T43" fmla="*/ 19 h 63"/>
                  <a:gd name="T44" fmla="*/ 35 w 113"/>
                  <a:gd name="T45" fmla="*/ 11 h 63"/>
                  <a:gd name="T46" fmla="*/ 113 w 113"/>
                  <a:gd name="T47" fmla="*/ 0 h 63"/>
                  <a:gd name="T48" fmla="*/ 108 w 113"/>
                  <a:gd name="T49" fmla="*/ 11 h 63"/>
                  <a:gd name="T50" fmla="*/ 101 w 113"/>
                  <a:gd name="T51" fmla="*/ 22 h 63"/>
                  <a:gd name="T52" fmla="*/ 100 w 113"/>
                  <a:gd name="T53" fmla="*/ 24 h 63"/>
                  <a:gd name="T54" fmla="*/ 101 w 113"/>
                  <a:gd name="T55" fmla="*/ 29 h 63"/>
                  <a:gd name="T56" fmla="*/ 100 w 113"/>
                  <a:gd name="T57" fmla="*/ 34 h 63"/>
                  <a:gd name="T58" fmla="*/ 92 w 113"/>
                  <a:gd name="T59" fmla="*/ 48 h 63"/>
                  <a:gd name="T60" fmla="*/ 90 w 113"/>
                  <a:gd name="T61" fmla="*/ 50 h 63"/>
                  <a:gd name="T62" fmla="*/ 90 w 113"/>
                  <a:gd name="T63" fmla="*/ 50 h 63"/>
                  <a:gd name="T64" fmla="*/ 82 w 113"/>
                  <a:gd name="T65" fmla="*/ 48 h 63"/>
                  <a:gd name="T66" fmla="*/ 79 w 113"/>
                  <a:gd name="T67" fmla="*/ 50 h 63"/>
                  <a:gd name="T68" fmla="*/ 77 w 113"/>
                  <a:gd name="T69" fmla="*/ 53 h 63"/>
                  <a:gd name="T70" fmla="*/ 69 w 113"/>
                  <a:gd name="T71" fmla="*/ 61 h 63"/>
                  <a:gd name="T72" fmla="*/ 65 w 113"/>
                  <a:gd name="T73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13" h="63">
                    <a:moveTo>
                      <a:pt x="63" y="63"/>
                    </a:moveTo>
                    <a:lnTo>
                      <a:pt x="63" y="63"/>
                    </a:lnTo>
                    <a:lnTo>
                      <a:pt x="59" y="63"/>
                    </a:lnTo>
                    <a:lnTo>
                      <a:pt x="53" y="60"/>
                    </a:lnTo>
                    <a:lnTo>
                      <a:pt x="50" y="57"/>
                    </a:lnTo>
                    <a:lnTo>
                      <a:pt x="49" y="54"/>
                    </a:lnTo>
                    <a:lnTo>
                      <a:pt x="49" y="54"/>
                    </a:lnTo>
                    <a:lnTo>
                      <a:pt x="49" y="48"/>
                    </a:lnTo>
                    <a:lnTo>
                      <a:pt x="48" y="45"/>
                    </a:lnTo>
                    <a:lnTo>
                      <a:pt x="46" y="45"/>
                    </a:lnTo>
                    <a:lnTo>
                      <a:pt x="46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36" y="45"/>
                    </a:lnTo>
                    <a:lnTo>
                      <a:pt x="27" y="47"/>
                    </a:lnTo>
                    <a:lnTo>
                      <a:pt x="27" y="47"/>
                    </a:lnTo>
                    <a:lnTo>
                      <a:pt x="21" y="48"/>
                    </a:lnTo>
                    <a:lnTo>
                      <a:pt x="21" y="48"/>
                    </a:lnTo>
                    <a:lnTo>
                      <a:pt x="20" y="48"/>
                    </a:lnTo>
                    <a:lnTo>
                      <a:pt x="19" y="47"/>
                    </a:lnTo>
                    <a:lnTo>
                      <a:pt x="19" y="47"/>
                    </a:lnTo>
                    <a:lnTo>
                      <a:pt x="17" y="42"/>
                    </a:lnTo>
                    <a:lnTo>
                      <a:pt x="16" y="41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8" y="38"/>
                    </a:lnTo>
                    <a:lnTo>
                      <a:pt x="3" y="34"/>
                    </a:lnTo>
                    <a:lnTo>
                      <a:pt x="0" y="29"/>
                    </a:lnTo>
                    <a:lnTo>
                      <a:pt x="1" y="28"/>
                    </a:lnTo>
                    <a:lnTo>
                      <a:pt x="3" y="27"/>
                    </a:lnTo>
                    <a:lnTo>
                      <a:pt x="3" y="27"/>
                    </a:lnTo>
                    <a:lnTo>
                      <a:pt x="6" y="27"/>
                    </a:lnTo>
                    <a:lnTo>
                      <a:pt x="6" y="27"/>
                    </a:lnTo>
                    <a:lnTo>
                      <a:pt x="8" y="27"/>
                    </a:lnTo>
                    <a:lnTo>
                      <a:pt x="13" y="28"/>
                    </a:lnTo>
                    <a:lnTo>
                      <a:pt x="17" y="29"/>
                    </a:lnTo>
                    <a:lnTo>
                      <a:pt x="17" y="29"/>
                    </a:lnTo>
                    <a:lnTo>
                      <a:pt x="19" y="28"/>
                    </a:lnTo>
                    <a:lnTo>
                      <a:pt x="19" y="25"/>
                    </a:lnTo>
                    <a:lnTo>
                      <a:pt x="19" y="24"/>
                    </a:lnTo>
                    <a:lnTo>
                      <a:pt x="21" y="21"/>
                    </a:lnTo>
                    <a:lnTo>
                      <a:pt x="21" y="19"/>
                    </a:lnTo>
                    <a:lnTo>
                      <a:pt x="21" y="19"/>
                    </a:lnTo>
                    <a:lnTo>
                      <a:pt x="26" y="19"/>
                    </a:lnTo>
                    <a:lnTo>
                      <a:pt x="32" y="16"/>
                    </a:lnTo>
                    <a:lnTo>
                      <a:pt x="35" y="11"/>
                    </a:lnTo>
                    <a:lnTo>
                      <a:pt x="37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08" y="11"/>
                    </a:lnTo>
                    <a:lnTo>
                      <a:pt x="104" y="18"/>
                    </a:lnTo>
                    <a:lnTo>
                      <a:pt x="101" y="22"/>
                    </a:lnTo>
                    <a:lnTo>
                      <a:pt x="101" y="22"/>
                    </a:lnTo>
                    <a:lnTo>
                      <a:pt x="100" y="24"/>
                    </a:lnTo>
                    <a:lnTo>
                      <a:pt x="100" y="25"/>
                    </a:lnTo>
                    <a:lnTo>
                      <a:pt x="101" y="29"/>
                    </a:lnTo>
                    <a:lnTo>
                      <a:pt x="101" y="29"/>
                    </a:lnTo>
                    <a:lnTo>
                      <a:pt x="100" y="34"/>
                    </a:lnTo>
                    <a:lnTo>
                      <a:pt x="97" y="41"/>
                    </a:lnTo>
                    <a:lnTo>
                      <a:pt x="92" y="48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85" y="50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79" y="50"/>
                    </a:lnTo>
                    <a:lnTo>
                      <a:pt x="79" y="50"/>
                    </a:lnTo>
                    <a:lnTo>
                      <a:pt x="77" y="53"/>
                    </a:lnTo>
                    <a:lnTo>
                      <a:pt x="74" y="57"/>
                    </a:lnTo>
                    <a:lnTo>
                      <a:pt x="69" y="61"/>
                    </a:lnTo>
                    <a:lnTo>
                      <a:pt x="65" y="63"/>
                    </a:lnTo>
                    <a:lnTo>
                      <a:pt x="65" y="63"/>
                    </a:lnTo>
                    <a:lnTo>
                      <a:pt x="63" y="6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27" name="Freeform 77"/>
              <p:cNvSpPr>
                <a:spLocks/>
              </p:cNvSpPr>
              <p:nvPr/>
            </p:nvSpPr>
            <p:spPr bwMode="auto">
              <a:xfrm>
                <a:off x="4710497" y="1124939"/>
                <a:ext cx="111786" cy="62323"/>
              </a:xfrm>
              <a:custGeom>
                <a:avLst/>
                <a:gdLst>
                  <a:gd name="T0" fmla="*/ 63 w 113"/>
                  <a:gd name="T1" fmla="*/ 63 h 63"/>
                  <a:gd name="T2" fmla="*/ 53 w 113"/>
                  <a:gd name="T3" fmla="*/ 60 h 63"/>
                  <a:gd name="T4" fmla="*/ 49 w 113"/>
                  <a:gd name="T5" fmla="*/ 54 h 63"/>
                  <a:gd name="T6" fmla="*/ 49 w 113"/>
                  <a:gd name="T7" fmla="*/ 48 h 63"/>
                  <a:gd name="T8" fmla="*/ 46 w 113"/>
                  <a:gd name="T9" fmla="*/ 45 h 63"/>
                  <a:gd name="T10" fmla="*/ 45 w 113"/>
                  <a:gd name="T11" fmla="*/ 45 h 63"/>
                  <a:gd name="T12" fmla="*/ 36 w 113"/>
                  <a:gd name="T13" fmla="*/ 45 h 63"/>
                  <a:gd name="T14" fmla="*/ 27 w 113"/>
                  <a:gd name="T15" fmla="*/ 47 h 63"/>
                  <a:gd name="T16" fmla="*/ 21 w 113"/>
                  <a:gd name="T17" fmla="*/ 48 h 63"/>
                  <a:gd name="T18" fmla="*/ 19 w 113"/>
                  <a:gd name="T19" fmla="*/ 47 h 63"/>
                  <a:gd name="T20" fmla="*/ 17 w 113"/>
                  <a:gd name="T21" fmla="*/ 42 h 63"/>
                  <a:gd name="T22" fmla="*/ 13 w 113"/>
                  <a:gd name="T23" fmla="*/ 40 h 63"/>
                  <a:gd name="T24" fmla="*/ 8 w 113"/>
                  <a:gd name="T25" fmla="*/ 38 h 63"/>
                  <a:gd name="T26" fmla="*/ 0 w 113"/>
                  <a:gd name="T27" fmla="*/ 29 h 63"/>
                  <a:gd name="T28" fmla="*/ 3 w 113"/>
                  <a:gd name="T29" fmla="*/ 27 h 63"/>
                  <a:gd name="T30" fmla="*/ 6 w 113"/>
                  <a:gd name="T31" fmla="*/ 27 h 63"/>
                  <a:gd name="T32" fmla="*/ 8 w 113"/>
                  <a:gd name="T33" fmla="*/ 27 h 63"/>
                  <a:gd name="T34" fmla="*/ 17 w 113"/>
                  <a:gd name="T35" fmla="*/ 29 h 63"/>
                  <a:gd name="T36" fmla="*/ 19 w 113"/>
                  <a:gd name="T37" fmla="*/ 28 h 63"/>
                  <a:gd name="T38" fmla="*/ 19 w 113"/>
                  <a:gd name="T39" fmla="*/ 24 h 63"/>
                  <a:gd name="T40" fmla="*/ 21 w 113"/>
                  <a:gd name="T41" fmla="*/ 19 h 63"/>
                  <a:gd name="T42" fmla="*/ 26 w 113"/>
                  <a:gd name="T43" fmla="*/ 19 h 63"/>
                  <a:gd name="T44" fmla="*/ 35 w 113"/>
                  <a:gd name="T45" fmla="*/ 11 h 63"/>
                  <a:gd name="T46" fmla="*/ 113 w 113"/>
                  <a:gd name="T47" fmla="*/ 0 h 63"/>
                  <a:gd name="T48" fmla="*/ 108 w 113"/>
                  <a:gd name="T49" fmla="*/ 11 h 63"/>
                  <a:gd name="T50" fmla="*/ 101 w 113"/>
                  <a:gd name="T51" fmla="*/ 22 h 63"/>
                  <a:gd name="T52" fmla="*/ 100 w 113"/>
                  <a:gd name="T53" fmla="*/ 24 h 63"/>
                  <a:gd name="T54" fmla="*/ 101 w 113"/>
                  <a:gd name="T55" fmla="*/ 29 h 63"/>
                  <a:gd name="T56" fmla="*/ 100 w 113"/>
                  <a:gd name="T57" fmla="*/ 34 h 63"/>
                  <a:gd name="T58" fmla="*/ 92 w 113"/>
                  <a:gd name="T59" fmla="*/ 48 h 63"/>
                  <a:gd name="T60" fmla="*/ 90 w 113"/>
                  <a:gd name="T61" fmla="*/ 50 h 63"/>
                  <a:gd name="T62" fmla="*/ 90 w 113"/>
                  <a:gd name="T63" fmla="*/ 50 h 63"/>
                  <a:gd name="T64" fmla="*/ 82 w 113"/>
                  <a:gd name="T65" fmla="*/ 48 h 63"/>
                  <a:gd name="T66" fmla="*/ 79 w 113"/>
                  <a:gd name="T67" fmla="*/ 50 h 63"/>
                  <a:gd name="T68" fmla="*/ 77 w 113"/>
                  <a:gd name="T69" fmla="*/ 53 h 63"/>
                  <a:gd name="T70" fmla="*/ 69 w 113"/>
                  <a:gd name="T71" fmla="*/ 61 h 63"/>
                  <a:gd name="T72" fmla="*/ 65 w 113"/>
                  <a:gd name="T73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13" h="63">
                    <a:moveTo>
                      <a:pt x="63" y="63"/>
                    </a:moveTo>
                    <a:lnTo>
                      <a:pt x="63" y="63"/>
                    </a:lnTo>
                    <a:lnTo>
                      <a:pt x="59" y="63"/>
                    </a:lnTo>
                    <a:lnTo>
                      <a:pt x="53" y="60"/>
                    </a:lnTo>
                    <a:lnTo>
                      <a:pt x="50" y="57"/>
                    </a:lnTo>
                    <a:lnTo>
                      <a:pt x="49" y="54"/>
                    </a:lnTo>
                    <a:lnTo>
                      <a:pt x="49" y="54"/>
                    </a:lnTo>
                    <a:lnTo>
                      <a:pt x="49" y="48"/>
                    </a:lnTo>
                    <a:lnTo>
                      <a:pt x="48" y="45"/>
                    </a:lnTo>
                    <a:lnTo>
                      <a:pt x="46" y="45"/>
                    </a:lnTo>
                    <a:lnTo>
                      <a:pt x="46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36" y="45"/>
                    </a:lnTo>
                    <a:lnTo>
                      <a:pt x="27" y="47"/>
                    </a:lnTo>
                    <a:lnTo>
                      <a:pt x="27" y="47"/>
                    </a:lnTo>
                    <a:lnTo>
                      <a:pt x="21" y="48"/>
                    </a:lnTo>
                    <a:lnTo>
                      <a:pt x="21" y="48"/>
                    </a:lnTo>
                    <a:lnTo>
                      <a:pt x="20" y="48"/>
                    </a:lnTo>
                    <a:lnTo>
                      <a:pt x="19" y="47"/>
                    </a:lnTo>
                    <a:lnTo>
                      <a:pt x="19" y="47"/>
                    </a:lnTo>
                    <a:lnTo>
                      <a:pt x="17" y="42"/>
                    </a:lnTo>
                    <a:lnTo>
                      <a:pt x="16" y="41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8" y="38"/>
                    </a:lnTo>
                    <a:lnTo>
                      <a:pt x="3" y="34"/>
                    </a:lnTo>
                    <a:lnTo>
                      <a:pt x="0" y="29"/>
                    </a:lnTo>
                    <a:lnTo>
                      <a:pt x="1" y="28"/>
                    </a:lnTo>
                    <a:lnTo>
                      <a:pt x="3" y="27"/>
                    </a:lnTo>
                    <a:lnTo>
                      <a:pt x="3" y="27"/>
                    </a:lnTo>
                    <a:lnTo>
                      <a:pt x="6" y="27"/>
                    </a:lnTo>
                    <a:lnTo>
                      <a:pt x="6" y="27"/>
                    </a:lnTo>
                    <a:lnTo>
                      <a:pt x="8" y="27"/>
                    </a:lnTo>
                    <a:lnTo>
                      <a:pt x="13" y="28"/>
                    </a:lnTo>
                    <a:lnTo>
                      <a:pt x="17" y="29"/>
                    </a:lnTo>
                    <a:lnTo>
                      <a:pt x="17" y="29"/>
                    </a:lnTo>
                    <a:lnTo>
                      <a:pt x="19" y="28"/>
                    </a:lnTo>
                    <a:lnTo>
                      <a:pt x="19" y="25"/>
                    </a:lnTo>
                    <a:lnTo>
                      <a:pt x="19" y="24"/>
                    </a:lnTo>
                    <a:lnTo>
                      <a:pt x="21" y="21"/>
                    </a:lnTo>
                    <a:lnTo>
                      <a:pt x="21" y="19"/>
                    </a:lnTo>
                    <a:lnTo>
                      <a:pt x="21" y="19"/>
                    </a:lnTo>
                    <a:lnTo>
                      <a:pt x="26" y="19"/>
                    </a:lnTo>
                    <a:lnTo>
                      <a:pt x="32" y="16"/>
                    </a:lnTo>
                    <a:lnTo>
                      <a:pt x="35" y="11"/>
                    </a:lnTo>
                    <a:lnTo>
                      <a:pt x="37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08" y="11"/>
                    </a:lnTo>
                    <a:lnTo>
                      <a:pt x="104" y="18"/>
                    </a:lnTo>
                    <a:lnTo>
                      <a:pt x="101" y="22"/>
                    </a:lnTo>
                    <a:lnTo>
                      <a:pt x="101" y="22"/>
                    </a:lnTo>
                    <a:lnTo>
                      <a:pt x="100" y="24"/>
                    </a:lnTo>
                    <a:lnTo>
                      <a:pt x="100" y="25"/>
                    </a:lnTo>
                    <a:lnTo>
                      <a:pt x="101" y="29"/>
                    </a:lnTo>
                    <a:lnTo>
                      <a:pt x="101" y="29"/>
                    </a:lnTo>
                    <a:lnTo>
                      <a:pt x="100" y="34"/>
                    </a:lnTo>
                    <a:lnTo>
                      <a:pt x="97" y="41"/>
                    </a:lnTo>
                    <a:lnTo>
                      <a:pt x="92" y="48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85" y="50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79" y="50"/>
                    </a:lnTo>
                    <a:lnTo>
                      <a:pt x="79" y="50"/>
                    </a:lnTo>
                    <a:lnTo>
                      <a:pt x="77" y="53"/>
                    </a:lnTo>
                    <a:lnTo>
                      <a:pt x="74" y="57"/>
                    </a:lnTo>
                    <a:lnTo>
                      <a:pt x="69" y="61"/>
                    </a:lnTo>
                    <a:lnTo>
                      <a:pt x="65" y="63"/>
                    </a:lnTo>
                    <a:lnTo>
                      <a:pt x="65" y="63"/>
                    </a:lnTo>
                    <a:lnTo>
                      <a:pt x="63" y="6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28" name="Freeform 78"/>
              <p:cNvSpPr>
                <a:spLocks/>
              </p:cNvSpPr>
              <p:nvPr/>
            </p:nvSpPr>
            <p:spPr bwMode="auto">
              <a:xfrm>
                <a:off x="4720390" y="1232769"/>
                <a:ext cx="32646" cy="30667"/>
              </a:xfrm>
              <a:custGeom>
                <a:avLst/>
                <a:gdLst>
                  <a:gd name="T0" fmla="*/ 14 w 33"/>
                  <a:gd name="T1" fmla="*/ 31 h 31"/>
                  <a:gd name="T2" fmla="*/ 14 w 33"/>
                  <a:gd name="T3" fmla="*/ 31 h 31"/>
                  <a:gd name="T4" fmla="*/ 11 w 33"/>
                  <a:gd name="T5" fmla="*/ 31 h 31"/>
                  <a:gd name="T6" fmla="*/ 10 w 33"/>
                  <a:gd name="T7" fmla="*/ 28 h 31"/>
                  <a:gd name="T8" fmla="*/ 9 w 33"/>
                  <a:gd name="T9" fmla="*/ 22 h 31"/>
                  <a:gd name="T10" fmla="*/ 9 w 33"/>
                  <a:gd name="T11" fmla="*/ 22 h 31"/>
                  <a:gd name="T12" fmla="*/ 9 w 33"/>
                  <a:gd name="T13" fmla="*/ 17 h 31"/>
                  <a:gd name="T14" fmla="*/ 6 w 33"/>
                  <a:gd name="T15" fmla="*/ 15 h 31"/>
                  <a:gd name="T16" fmla="*/ 1 w 33"/>
                  <a:gd name="T17" fmla="*/ 9 h 31"/>
                  <a:gd name="T18" fmla="*/ 1 w 33"/>
                  <a:gd name="T19" fmla="*/ 9 h 31"/>
                  <a:gd name="T20" fmla="*/ 0 w 33"/>
                  <a:gd name="T21" fmla="*/ 9 h 31"/>
                  <a:gd name="T22" fmla="*/ 1 w 33"/>
                  <a:gd name="T23" fmla="*/ 7 h 31"/>
                  <a:gd name="T24" fmla="*/ 6 w 33"/>
                  <a:gd name="T25" fmla="*/ 6 h 31"/>
                  <a:gd name="T26" fmla="*/ 11 w 33"/>
                  <a:gd name="T27" fmla="*/ 3 h 31"/>
                  <a:gd name="T28" fmla="*/ 16 w 33"/>
                  <a:gd name="T29" fmla="*/ 2 h 31"/>
                  <a:gd name="T30" fmla="*/ 16 w 33"/>
                  <a:gd name="T31" fmla="*/ 2 h 31"/>
                  <a:gd name="T32" fmla="*/ 19 w 33"/>
                  <a:gd name="T33" fmla="*/ 0 h 31"/>
                  <a:gd name="T34" fmla="*/ 19 w 33"/>
                  <a:gd name="T35" fmla="*/ 0 h 31"/>
                  <a:gd name="T36" fmla="*/ 26 w 33"/>
                  <a:gd name="T37" fmla="*/ 2 h 31"/>
                  <a:gd name="T38" fmla="*/ 32 w 33"/>
                  <a:gd name="T39" fmla="*/ 3 h 31"/>
                  <a:gd name="T40" fmla="*/ 32 w 33"/>
                  <a:gd name="T41" fmla="*/ 3 h 31"/>
                  <a:gd name="T42" fmla="*/ 33 w 33"/>
                  <a:gd name="T43" fmla="*/ 4 h 31"/>
                  <a:gd name="T44" fmla="*/ 33 w 33"/>
                  <a:gd name="T45" fmla="*/ 9 h 31"/>
                  <a:gd name="T46" fmla="*/ 32 w 33"/>
                  <a:gd name="T47" fmla="*/ 19 h 31"/>
                  <a:gd name="T48" fmla="*/ 32 w 33"/>
                  <a:gd name="T49" fmla="*/ 19 h 31"/>
                  <a:gd name="T50" fmla="*/ 29 w 33"/>
                  <a:gd name="T51" fmla="*/ 23 h 31"/>
                  <a:gd name="T52" fmla="*/ 25 w 33"/>
                  <a:gd name="T53" fmla="*/ 26 h 31"/>
                  <a:gd name="T54" fmla="*/ 14 w 33"/>
                  <a:gd name="T55" fmla="*/ 31 h 31"/>
                  <a:gd name="T56" fmla="*/ 14 w 33"/>
                  <a:gd name="T57" fmla="*/ 31 h 31"/>
                  <a:gd name="T58" fmla="*/ 14 w 33"/>
                  <a:gd name="T5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3" h="31">
                    <a:moveTo>
                      <a:pt x="14" y="31"/>
                    </a:moveTo>
                    <a:lnTo>
                      <a:pt x="14" y="31"/>
                    </a:lnTo>
                    <a:lnTo>
                      <a:pt x="11" y="31"/>
                    </a:lnTo>
                    <a:lnTo>
                      <a:pt x="10" y="28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17"/>
                    </a:lnTo>
                    <a:lnTo>
                      <a:pt x="6" y="15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0" y="9"/>
                    </a:lnTo>
                    <a:lnTo>
                      <a:pt x="1" y="7"/>
                    </a:lnTo>
                    <a:lnTo>
                      <a:pt x="6" y="6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26" y="2"/>
                    </a:lnTo>
                    <a:lnTo>
                      <a:pt x="32" y="3"/>
                    </a:lnTo>
                    <a:lnTo>
                      <a:pt x="32" y="3"/>
                    </a:lnTo>
                    <a:lnTo>
                      <a:pt x="33" y="4"/>
                    </a:lnTo>
                    <a:lnTo>
                      <a:pt x="33" y="9"/>
                    </a:lnTo>
                    <a:lnTo>
                      <a:pt x="32" y="19"/>
                    </a:lnTo>
                    <a:lnTo>
                      <a:pt x="32" y="19"/>
                    </a:lnTo>
                    <a:lnTo>
                      <a:pt x="29" y="23"/>
                    </a:lnTo>
                    <a:lnTo>
                      <a:pt x="25" y="26"/>
                    </a:lnTo>
                    <a:lnTo>
                      <a:pt x="14" y="31"/>
                    </a:lnTo>
                    <a:lnTo>
                      <a:pt x="14" y="31"/>
                    </a:lnTo>
                    <a:lnTo>
                      <a:pt x="14" y="3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29" name="Freeform 79"/>
              <p:cNvSpPr>
                <a:spLocks/>
              </p:cNvSpPr>
              <p:nvPr/>
            </p:nvSpPr>
            <p:spPr bwMode="auto">
              <a:xfrm>
                <a:off x="4720390" y="1232769"/>
                <a:ext cx="32646" cy="30667"/>
              </a:xfrm>
              <a:custGeom>
                <a:avLst/>
                <a:gdLst>
                  <a:gd name="T0" fmla="*/ 14 w 33"/>
                  <a:gd name="T1" fmla="*/ 31 h 31"/>
                  <a:gd name="T2" fmla="*/ 14 w 33"/>
                  <a:gd name="T3" fmla="*/ 31 h 31"/>
                  <a:gd name="T4" fmla="*/ 11 w 33"/>
                  <a:gd name="T5" fmla="*/ 31 h 31"/>
                  <a:gd name="T6" fmla="*/ 10 w 33"/>
                  <a:gd name="T7" fmla="*/ 28 h 31"/>
                  <a:gd name="T8" fmla="*/ 9 w 33"/>
                  <a:gd name="T9" fmla="*/ 22 h 31"/>
                  <a:gd name="T10" fmla="*/ 9 w 33"/>
                  <a:gd name="T11" fmla="*/ 22 h 31"/>
                  <a:gd name="T12" fmla="*/ 9 w 33"/>
                  <a:gd name="T13" fmla="*/ 17 h 31"/>
                  <a:gd name="T14" fmla="*/ 6 w 33"/>
                  <a:gd name="T15" fmla="*/ 15 h 31"/>
                  <a:gd name="T16" fmla="*/ 1 w 33"/>
                  <a:gd name="T17" fmla="*/ 9 h 31"/>
                  <a:gd name="T18" fmla="*/ 1 w 33"/>
                  <a:gd name="T19" fmla="*/ 9 h 31"/>
                  <a:gd name="T20" fmla="*/ 0 w 33"/>
                  <a:gd name="T21" fmla="*/ 9 h 31"/>
                  <a:gd name="T22" fmla="*/ 1 w 33"/>
                  <a:gd name="T23" fmla="*/ 7 h 31"/>
                  <a:gd name="T24" fmla="*/ 6 w 33"/>
                  <a:gd name="T25" fmla="*/ 6 h 31"/>
                  <a:gd name="T26" fmla="*/ 11 w 33"/>
                  <a:gd name="T27" fmla="*/ 3 h 31"/>
                  <a:gd name="T28" fmla="*/ 16 w 33"/>
                  <a:gd name="T29" fmla="*/ 2 h 31"/>
                  <a:gd name="T30" fmla="*/ 16 w 33"/>
                  <a:gd name="T31" fmla="*/ 2 h 31"/>
                  <a:gd name="T32" fmla="*/ 19 w 33"/>
                  <a:gd name="T33" fmla="*/ 0 h 31"/>
                  <a:gd name="T34" fmla="*/ 19 w 33"/>
                  <a:gd name="T35" fmla="*/ 0 h 31"/>
                  <a:gd name="T36" fmla="*/ 26 w 33"/>
                  <a:gd name="T37" fmla="*/ 2 h 31"/>
                  <a:gd name="T38" fmla="*/ 32 w 33"/>
                  <a:gd name="T39" fmla="*/ 3 h 31"/>
                  <a:gd name="T40" fmla="*/ 32 w 33"/>
                  <a:gd name="T41" fmla="*/ 3 h 31"/>
                  <a:gd name="T42" fmla="*/ 33 w 33"/>
                  <a:gd name="T43" fmla="*/ 4 h 31"/>
                  <a:gd name="T44" fmla="*/ 33 w 33"/>
                  <a:gd name="T45" fmla="*/ 9 h 31"/>
                  <a:gd name="T46" fmla="*/ 32 w 33"/>
                  <a:gd name="T47" fmla="*/ 19 h 31"/>
                  <a:gd name="T48" fmla="*/ 32 w 33"/>
                  <a:gd name="T49" fmla="*/ 19 h 31"/>
                  <a:gd name="T50" fmla="*/ 29 w 33"/>
                  <a:gd name="T51" fmla="*/ 23 h 31"/>
                  <a:gd name="T52" fmla="*/ 25 w 33"/>
                  <a:gd name="T53" fmla="*/ 26 h 31"/>
                  <a:gd name="T54" fmla="*/ 14 w 33"/>
                  <a:gd name="T55" fmla="*/ 31 h 31"/>
                  <a:gd name="T56" fmla="*/ 14 w 33"/>
                  <a:gd name="T57" fmla="*/ 31 h 31"/>
                  <a:gd name="T58" fmla="*/ 14 w 33"/>
                  <a:gd name="T5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3" h="31">
                    <a:moveTo>
                      <a:pt x="14" y="31"/>
                    </a:moveTo>
                    <a:lnTo>
                      <a:pt x="14" y="31"/>
                    </a:lnTo>
                    <a:lnTo>
                      <a:pt x="11" y="31"/>
                    </a:lnTo>
                    <a:lnTo>
                      <a:pt x="10" y="28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17"/>
                    </a:lnTo>
                    <a:lnTo>
                      <a:pt x="6" y="15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0" y="9"/>
                    </a:lnTo>
                    <a:lnTo>
                      <a:pt x="1" y="7"/>
                    </a:lnTo>
                    <a:lnTo>
                      <a:pt x="6" y="6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26" y="2"/>
                    </a:lnTo>
                    <a:lnTo>
                      <a:pt x="32" y="3"/>
                    </a:lnTo>
                    <a:lnTo>
                      <a:pt x="32" y="3"/>
                    </a:lnTo>
                    <a:lnTo>
                      <a:pt x="33" y="4"/>
                    </a:lnTo>
                    <a:lnTo>
                      <a:pt x="33" y="9"/>
                    </a:lnTo>
                    <a:lnTo>
                      <a:pt x="32" y="19"/>
                    </a:lnTo>
                    <a:lnTo>
                      <a:pt x="32" y="19"/>
                    </a:lnTo>
                    <a:lnTo>
                      <a:pt x="29" y="23"/>
                    </a:lnTo>
                    <a:lnTo>
                      <a:pt x="25" y="26"/>
                    </a:lnTo>
                    <a:lnTo>
                      <a:pt x="14" y="31"/>
                    </a:lnTo>
                    <a:lnTo>
                      <a:pt x="14" y="31"/>
                    </a:lnTo>
                    <a:lnTo>
                      <a:pt x="14" y="3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30" name="Freeform 80"/>
              <p:cNvSpPr>
                <a:spLocks/>
              </p:cNvSpPr>
              <p:nvPr/>
            </p:nvSpPr>
            <p:spPr bwMode="auto">
              <a:xfrm>
                <a:off x="4730282" y="1260468"/>
                <a:ext cx="63313" cy="70237"/>
              </a:xfrm>
              <a:custGeom>
                <a:avLst/>
                <a:gdLst>
                  <a:gd name="T0" fmla="*/ 28 w 64"/>
                  <a:gd name="T1" fmla="*/ 71 h 71"/>
                  <a:gd name="T2" fmla="*/ 25 w 64"/>
                  <a:gd name="T3" fmla="*/ 71 h 71"/>
                  <a:gd name="T4" fmla="*/ 23 w 64"/>
                  <a:gd name="T5" fmla="*/ 68 h 71"/>
                  <a:gd name="T6" fmla="*/ 32 w 64"/>
                  <a:gd name="T7" fmla="*/ 55 h 71"/>
                  <a:gd name="T8" fmla="*/ 32 w 64"/>
                  <a:gd name="T9" fmla="*/ 53 h 71"/>
                  <a:gd name="T10" fmla="*/ 30 w 64"/>
                  <a:gd name="T11" fmla="*/ 52 h 71"/>
                  <a:gd name="T12" fmla="*/ 23 w 64"/>
                  <a:gd name="T13" fmla="*/ 56 h 71"/>
                  <a:gd name="T14" fmla="*/ 19 w 64"/>
                  <a:gd name="T15" fmla="*/ 58 h 71"/>
                  <a:gd name="T16" fmla="*/ 6 w 64"/>
                  <a:gd name="T17" fmla="*/ 59 h 71"/>
                  <a:gd name="T18" fmla="*/ 3 w 64"/>
                  <a:gd name="T19" fmla="*/ 58 h 71"/>
                  <a:gd name="T20" fmla="*/ 3 w 64"/>
                  <a:gd name="T21" fmla="*/ 52 h 71"/>
                  <a:gd name="T22" fmla="*/ 4 w 64"/>
                  <a:gd name="T23" fmla="*/ 49 h 71"/>
                  <a:gd name="T24" fmla="*/ 12 w 64"/>
                  <a:gd name="T25" fmla="*/ 29 h 71"/>
                  <a:gd name="T26" fmla="*/ 10 w 64"/>
                  <a:gd name="T27" fmla="*/ 24 h 71"/>
                  <a:gd name="T28" fmla="*/ 1 w 64"/>
                  <a:gd name="T29" fmla="*/ 17 h 71"/>
                  <a:gd name="T30" fmla="*/ 0 w 64"/>
                  <a:gd name="T31" fmla="*/ 16 h 71"/>
                  <a:gd name="T32" fmla="*/ 3 w 64"/>
                  <a:gd name="T33" fmla="*/ 13 h 71"/>
                  <a:gd name="T34" fmla="*/ 9 w 64"/>
                  <a:gd name="T35" fmla="*/ 7 h 71"/>
                  <a:gd name="T36" fmla="*/ 16 w 64"/>
                  <a:gd name="T37" fmla="*/ 5 h 71"/>
                  <a:gd name="T38" fmla="*/ 22 w 64"/>
                  <a:gd name="T39" fmla="*/ 4 h 71"/>
                  <a:gd name="T40" fmla="*/ 30 w 64"/>
                  <a:gd name="T41" fmla="*/ 1 h 71"/>
                  <a:gd name="T42" fmla="*/ 36 w 64"/>
                  <a:gd name="T43" fmla="*/ 0 h 71"/>
                  <a:gd name="T44" fmla="*/ 38 w 64"/>
                  <a:gd name="T45" fmla="*/ 1 h 71"/>
                  <a:gd name="T46" fmla="*/ 39 w 64"/>
                  <a:gd name="T47" fmla="*/ 4 h 71"/>
                  <a:gd name="T48" fmla="*/ 36 w 64"/>
                  <a:gd name="T49" fmla="*/ 14 h 71"/>
                  <a:gd name="T50" fmla="*/ 36 w 64"/>
                  <a:gd name="T51" fmla="*/ 16 h 71"/>
                  <a:gd name="T52" fmla="*/ 39 w 64"/>
                  <a:gd name="T53" fmla="*/ 21 h 71"/>
                  <a:gd name="T54" fmla="*/ 45 w 64"/>
                  <a:gd name="T55" fmla="*/ 30 h 71"/>
                  <a:gd name="T56" fmla="*/ 49 w 64"/>
                  <a:gd name="T57" fmla="*/ 31 h 71"/>
                  <a:gd name="T58" fmla="*/ 57 w 64"/>
                  <a:gd name="T59" fmla="*/ 30 h 71"/>
                  <a:gd name="T60" fmla="*/ 57 w 64"/>
                  <a:gd name="T61" fmla="*/ 30 h 71"/>
                  <a:gd name="T62" fmla="*/ 59 w 64"/>
                  <a:gd name="T63" fmla="*/ 31 h 71"/>
                  <a:gd name="T64" fmla="*/ 64 w 64"/>
                  <a:gd name="T65" fmla="*/ 39 h 71"/>
                  <a:gd name="T66" fmla="*/ 64 w 64"/>
                  <a:gd name="T67" fmla="*/ 42 h 71"/>
                  <a:gd name="T68" fmla="*/ 55 w 64"/>
                  <a:gd name="T69" fmla="*/ 45 h 71"/>
                  <a:gd name="T70" fmla="*/ 52 w 64"/>
                  <a:gd name="T71" fmla="*/ 45 h 71"/>
                  <a:gd name="T72" fmla="*/ 48 w 64"/>
                  <a:gd name="T73" fmla="*/ 53 h 71"/>
                  <a:gd name="T74" fmla="*/ 42 w 64"/>
                  <a:gd name="T75" fmla="*/ 66 h 71"/>
                  <a:gd name="T76" fmla="*/ 39 w 64"/>
                  <a:gd name="T77" fmla="*/ 68 h 71"/>
                  <a:gd name="T78" fmla="*/ 28 w 64"/>
                  <a:gd name="T7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4" h="71">
                    <a:moveTo>
                      <a:pt x="28" y="71"/>
                    </a:moveTo>
                    <a:lnTo>
                      <a:pt x="28" y="71"/>
                    </a:lnTo>
                    <a:lnTo>
                      <a:pt x="25" y="71"/>
                    </a:lnTo>
                    <a:lnTo>
                      <a:pt x="25" y="71"/>
                    </a:lnTo>
                    <a:lnTo>
                      <a:pt x="23" y="69"/>
                    </a:lnTo>
                    <a:lnTo>
                      <a:pt x="23" y="68"/>
                    </a:lnTo>
                    <a:lnTo>
                      <a:pt x="26" y="63"/>
                    </a:lnTo>
                    <a:lnTo>
                      <a:pt x="32" y="55"/>
                    </a:lnTo>
                    <a:lnTo>
                      <a:pt x="32" y="55"/>
                    </a:lnTo>
                    <a:lnTo>
                      <a:pt x="32" y="53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8" y="53"/>
                    </a:lnTo>
                    <a:lnTo>
                      <a:pt x="23" y="56"/>
                    </a:lnTo>
                    <a:lnTo>
                      <a:pt x="23" y="56"/>
                    </a:lnTo>
                    <a:lnTo>
                      <a:pt x="19" y="58"/>
                    </a:lnTo>
                    <a:lnTo>
                      <a:pt x="15" y="59"/>
                    </a:lnTo>
                    <a:lnTo>
                      <a:pt x="6" y="59"/>
                    </a:lnTo>
                    <a:lnTo>
                      <a:pt x="6" y="59"/>
                    </a:lnTo>
                    <a:lnTo>
                      <a:pt x="3" y="58"/>
                    </a:lnTo>
                    <a:lnTo>
                      <a:pt x="3" y="55"/>
                    </a:lnTo>
                    <a:lnTo>
                      <a:pt x="3" y="52"/>
                    </a:lnTo>
                    <a:lnTo>
                      <a:pt x="4" y="49"/>
                    </a:lnTo>
                    <a:lnTo>
                      <a:pt x="4" y="49"/>
                    </a:lnTo>
                    <a:lnTo>
                      <a:pt x="9" y="39"/>
                    </a:lnTo>
                    <a:lnTo>
                      <a:pt x="12" y="29"/>
                    </a:lnTo>
                    <a:lnTo>
                      <a:pt x="12" y="29"/>
                    </a:lnTo>
                    <a:lnTo>
                      <a:pt x="10" y="24"/>
                    </a:lnTo>
                    <a:lnTo>
                      <a:pt x="9" y="21"/>
                    </a:lnTo>
                    <a:lnTo>
                      <a:pt x="1" y="17"/>
                    </a:lnTo>
                    <a:lnTo>
                      <a:pt x="1" y="17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3" y="13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2" y="5"/>
                    </a:lnTo>
                    <a:lnTo>
                      <a:pt x="16" y="5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3"/>
                    </a:lnTo>
                    <a:lnTo>
                      <a:pt x="30" y="1"/>
                    </a:lnTo>
                    <a:lnTo>
                      <a:pt x="30" y="1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8" y="1"/>
                    </a:lnTo>
                    <a:lnTo>
                      <a:pt x="39" y="4"/>
                    </a:lnTo>
                    <a:lnTo>
                      <a:pt x="39" y="4"/>
                    </a:lnTo>
                    <a:lnTo>
                      <a:pt x="39" y="10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6"/>
                    </a:lnTo>
                    <a:lnTo>
                      <a:pt x="36" y="17"/>
                    </a:lnTo>
                    <a:lnTo>
                      <a:pt x="39" y="21"/>
                    </a:lnTo>
                    <a:lnTo>
                      <a:pt x="45" y="30"/>
                    </a:lnTo>
                    <a:lnTo>
                      <a:pt x="45" y="30"/>
                    </a:lnTo>
                    <a:lnTo>
                      <a:pt x="48" y="31"/>
                    </a:lnTo>
                    <a:lnTo>
                      <a:pt x="49" y="31"/>
                    </a:lnTo>
                    <a:lnTo>
                      <a:pt x="49" y="31"/>
                    </a:lnTo>
                    <a:lnTo>
                      <a:pt x="57" y="30"/>
                    </a:lnTo>
                    <a:lnTo>
                      <a:pt x="57" y="30"/>
                    </a:lnTo>
                    <a:lnTo>
                      <a:pt x="57" y="30"/>
                    </a:lnTo>
                    <a:lnTo>
                      <a:pt x="57" y="30"/>
                    </a:lnTo>
                    <a:lnTo>
                      <a:pt x="59" y="31"/>
                    </a:lnTo>
                    <a:lnTo>
                      <a:pt x="61" y="33"/>
                    </a:lnTo>
                    <a:lnTo>
                      <a:pt x="64" y="39"/>
                    </a:lnTo>
                    <a:lnTo>
                      <a:pt x="64" y="39"/>
                    </a:lnTo>
                    <a:lnTo>
                      <a:pt x="64" y="42"/>
                    </a:lnTo>
                    <a:lnTo>
                      <a:pt x="62" y="43"/>
                    </a:lnTo>
                    <a:lnTo>
                      <a:pt x="55" y="45"/>
                    </a:lnTo>
                    <a:lnTo>
                      <a:pt x="55" y="45"/>
                    </a:lnTo>
                    <a:lnTo>
                      <a:pt x="52" y="45"/>
                    </a:lnTo>
                    <a:lnTo>
                      <a:pt x="51" y="47"/>
                    </a:lnTo>
                    <a:lnTo>
                      <a:pt x="48" y="53"/>
                    </a:lnTo>
                    <a:lnTo>
                      <a:pt x="45" y="60"/>
                    </a:lnTo>
                    <a:lnTo>
                      <a:pt x="42" y="66"/>
                    </a:lnTo>
                    <a:lnTo>
                      <a:pt x="42" y="66"/>
                    </a:lnTo>
                    <a:lnTo>
                      <a:pt x="39" y="68"/>
                    </a:lnTo>
                    <a:lnTo>
                      <a:pt x="35" y="69"/>
                    </a:lnTo>
                    <a:lnTo>
                      <a:pt x="28" y="7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31" name="Freeform 81"/>
              <p:cNvSpPr>
                <a:spLocks/>
              </p:cNvSpPr>
              <p:nvPr/>
            </p:nvSpPr>
            <p:spPr bwMode="auto">
              <a:xfrm>
                <a:off x="4730282" y="1260468"/>
                <a:ext cx="63313" cy="70237"/>
              </a:xfrm>
              <a:custGeom>
                <a:avLst/>
                <a:gdLst>
                  <a:gd name="T0" fmla="*/ 28 w 64"/>
                  <a:gd name="T1" fmla="*/ 71 h 71"/>
                  <a:gd name="T2" fmla="*/ 25 w 64"/>
                  <a:gd name="T3" fmla="*/ 71 h 71"/>
                  <a:gd name="T4" fmla="*/ 23 w 64"/>
                  <a:gd name="T5" fmla="*/ 68 h 71"/>
                  <a:gd name="T6" fmla="*/ 32 w 64"/>
                  <a:gd name="T7" fmla="*/ 55 h 71"/>
                  <a:gd name="T8" fmla="*/ 32 w 64"/>
                  <a:gd name="T9" fmla="*/ 53 h 71"/>
                  <a:gd name="T10" fmla="*/ 30 w 64"/>
                  <a:gd name="T11" fmla="*/ 52 h 71"/>
                  <a:gd name="T12" fmla="*/ 23 w 64"/>
                  <a:gd name="T13" fmla="*/ 56 h 71"/>
                  <a:gd name="T14" fmla="*/ 19 w 64"/>
                  <a:gd name="T15" fmla="*/ 58 h 71"/>
                  <a:gd name="T16" fmla="*/ 6 w 64"/>
                  <a:gd name="T17" fmla="*/ 59 h 71"/>
                  <a:gd name="T18" fmla="*/ 3 w 64"/>
                  <a:gd name="T19" fmla="*/ 58 h 71"/>
                  <a:gd name="T20" fmla="*/ 3 w 64"/>
                  <a:gd name="T21" fmla="*/ 52 h 71"/>
                  <a:gd name="T22" fmla="*/ 4 w 64"/>
                  <a:gd name="T23" fmla="*/ 49 h 71"/>
                  <a:gd name="T24" fmla="*/ 12 w 64"/>
                  <a:gd name="T25" fmla="*/ 29 h 71"/>
                  <a:gd name="T26" fmla="*/ 10 w 64"/>
                  <a:gd name="T27" fmla="*/ 24 h 71"/>
                  <a:gd name="T28" fmla="*/ 1 w 64"/>
                  <a:gd name="T29" fmla="*/ 17 h 71"/>
                  <a:gd name="T30" fmla="*/ 0 w 64"/>
                  <a:gd name="T31" fmla="*/ 16 h 71"/>
                  <a:gd name="T32" fmla="*/ 3 w 64"/>
                  <a:gd name="T33" fmla="*/ 13 h 71"/>
                  <a:gd name="T34" fmla="*/ 9 w 64"/>
                  <a:gd name="T35" fmla="*/ 7 h 71"/>
                  <a:gd name="T36" fmla="*/ 16 w 64"/>
                  <a:gd name="T37" fmla="*/ 5 h 71"/>
                  <a:gd name="T38" fmla="*/ 22 w 64"/>
                  <a:gd name="T39" fmla="*/ 4 h 71"/>
                  <a:gd name="T40" fmla="*/ 30 w 64"/>
                  <a:gd name="T41" fmla="*/ 1 h 71"/>
                  <a:gd name="T42" fmla="*/ 36 w 64"/>
                  <a:gd name="T43" fmla="*/ 0 h 71"/>
                  <a:gd name="T44" fmla="*/ 38 w 64"/>
                  <a:gd name="T45" fmla="*/ 1 h 71"/>
                  <a:gd name="T46" fmla="*/ 39 w 64"/>
                  <a:gd name="T47" fmla="*/ 4 h 71"/>
                  <a:gd name="T48" fmla="*/ 36 w 64"/>
                  <a:gd name="T49" fmla="*/ 14 h 71"/>
                  <a:gd name="T50" fmla="*/ 36 w 64"/>
                  <a:gd name="T51" fmla="*/ 16 h 71"/>
                  <a:gd name="T52" fmla="*/ 39 w 64"/>
                  <a:gd name="T53" fmla="*/ 21 h 71"/>
                  <a:gd name="T54" fmla="*/ 45 w 64"/>
                  <a:gd name="T55" fmla="*/ 30 h 71"/>
                  <a:gd name="T56" fmla="*/ 49 w 64"/>
                  <a:gd name="T57" fmla="*/ 31 h 71"/>
                  <a:gd name="T58" fmla="*/ 57 w 64"/>
                  <a:gd name="T59" fmla="*/ 30 h 71"/>
                  <a:gd name="T60" fmla="*/ 57 w 64"/>
                  <a:gd name="T61" fmla="*/ 30 h 71"/>
                  <a:gd name="T62" fmla="*/ 59 w 64"/>
                  <a:gd name="T63" fmla="*/ 31 h 71"/>
                  <a:gd name="T64" fmla="*/ 64 w 64"/>
                  <a:gd name="T65" fmla="*/ 39 h 71"/>
                  <a:gd name="T66" fmla="*/ 64 w 64"/>
                  <a:gd name="T67" fmla="*/ 42 h 71"/>
                  <a:gd name="T68" fmla="*/ 55 w 64"/>
                  <a:gd name="T69" fmla="*/ 45 h 71"/>
                  <a:gd name="T70" fmla="*/ 52 w 64"/>
                  <a:gd name="T71" fmla="*/ 45 h 71"/>
                  <a:gd name="T72" fmla="*/ 48 w 64"/>
                  <a:gd name="T73" fmla="*/ 53 h 71"/>
                  <a:gd name="T74" fmla="*/ 42 w 64"/>
                  <a:gd name="T75" fmla="*/ 66 h 71"/>
                  <a:gd name="T76" fmla="*/ 39 w 64"/>
                  <a:gd name="T77" fmla="*/ 68 h 71"/>
                  <a:gd name="T78" fmla="*/ 28 w 64"/>
                  <a:gd name="T7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4" h="71">
                    <a:moveTo>
                      <a:pt x="28" y="71"/>
                    </a:moveTo>
                    <a:lnTo>
                      <a:pt x="28" y="71"/>
                    </a:lnTo>
                    <a:lnTo>
                      <a:pt x="25" y="71"/>
                    </a:lnTo>
                    <a:lnTo>
                      <a:pt x="25" y="71"/>
                    </a:lnTo>
                    <a:lnTo>
                      <a:pt x="23" y="69"/>
                    </a:lnTo>
                    <a:lnTo>
                      <a:pt x="23" y="68"/>
                    </a:lnTo>
                    <a:lnTo>
                      <a:pt x="26" y="63"/>
                    </a:lnTo>
                    <a:lnTo>
                      <a:pt x="32" y="55"/>
                    </a:lnTo>
                    <a:lnTo>
                      <a:pt x="32" y="55"/>
                    </a:lnTo>
                    <a:lnTo>
                      <a:pt x="32" y="53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8" y="53"/>
                    </a:lnTo>
                    <a:lnTo>
                      <a:pt x="23" y="56"/>
                    </a:lnTo>
                    <a:lnTo>
                      <a:pt x="23" y="56"/>
                    </a:lnTo>
                    <a:lnTo>
                      <a:pt x="19" y="58"/>
                    </a:lnTo>
                    <a:lnTo>
                      <a:pt x="15" y="59"/>
                    </a:lnTo>
                    <a:lnTo>
                      <a:pt x="6" y="59"/>
                    </a:lnTo>
                    <a:lnTo>
                      <a:pt x="6" y="59"/>
                    </a:lnTo>
                    <a:lnTo>
                      <a:pt x="3" y="58"/>
                    </a:lnTo>
                    <a:lnTo>
                      <a:pt x="3" y="55"/>
                    </a:lnTo>
                    <a:lnTo>
                      <a:pt x="3" y="52"/>
                    </a:lnTo>
                    <a:lnTo>
                      <a:pt x="4" y="49"/>
                    </a:lnTo>
                    <a:lnTo>
                      <a:pt x="4" y="49"/>
                    </a:lnTo>
                    <a:lnTo>
                      <a:pt x="9" y="39"/>
                    </a:lnTo>
                    <a:lnTo>
                      <a:pt x="12" y="29"/>
                    </a:lnTo>
                    <a:lnTo>
                      <a:pt x="12" y="29"/>
                    </a:lnTo>
                    <a:lnTo>
                      <a:pt x="10" y="24"/>
                    </a:lnTo>
                    <a:lnTo>
                      <a:pt x="9" y="21"/>
                    </a:lnTo>
                    <a:lnTo>
                      <a:pt x="1" y="17"/>
                    </a:lnTo>
                    <a:lnTo>
                      <a:pt x="1" y="17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3" y="13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2" y="5"/>
                    </a:lnTo>
                    <a:lnTo>
                      <a:pt x="16" y="5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3"/>
                    </a:lnTo>
                    <a:lnTo>
                      <a:pt x="30" y="1"/>
                    </a:lnTo>
                    <a:lnTo>
                      <a:pt x="30" y="1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8" y="1"/>
                    </a:lnTo>
                    <a:lnTo>
                      <a:pt x="39" y="4"/>
                    </a:lnTo>
                    <a:lnTo>
                      <a:pt x="39" y="4"/>
                    </a:lnTo>
                    <a:lnTo>
                      <a:pt x="39" y="10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6"/>
                    </a:lnTo>
                    <a:lnTo>
                      <a:pt x="36" y="17"/>
                    </a:lnTo>
                    <a:lnTo>
                      <a:pt x="39" y="21"/>
                    </a:lnTo>
                    <a:lnTo>
                      <a:pt x="45" y="30"/>
                    </a:lnTo>
                    <a:lnTo>
                      <a:pt x="45" y="30"/>
                    </a:lnTo>
                    <a:lnTo>
                      <a:pt x="48" y="31"/>
                    </a:lnTo>
                    <a:lnTo>
                      <a:pt x="49" y="31"/>
                    </a:lnTo>
                    <a:lnTo>
                      <a:pt x="49" y="31"/>
                    </a:lnTo>
                    <a:lnTo>
                      <a:pt x="57" y="30"/>
                    </a:lnTo>
                    <a:lnTo>
                      <a:pt x="57" y="30"/>
                    </a:lnTo>
                    <a:lnTo>
                      <a:pt x="57" y="30"/>
                    </a:lnTo>
                    <a:lnTo>
                      <a:pt x="57" y="30"/>
                    </a:lnTo>
                    <a:lnTo>
                      <a:pt x="59" y="31"/>
                    </a:lnTo>
                    <a:lnTo>
                      <a:pt x="61" y="33"/>
                    </a:lnTo>
                    <a:lnTo>
                      <a:pt x="64" y="39"/>
                    </a:lnTo>
                    <a:lnTo>
                      <a:pt x="64" y="39"/>
                    </a:lnTo>
                    <a:lnTo>
                      <a:pt x="64" y="42"/>
                    </a:lnTo>
                    <a:lnTo>
                      <a:pt x="62" y="43"/>
                    </a:lnTo>
                    <a:lnTo>
                      <a:pt x="55" y="45"/>
                    </a:lnTo>
                    <a:lnTo>
                      <a:pt x="55" y="45"/>
                    </a:lnTo>
                    <a:lnTo>
                      <a:pt x="52" y="45"/>
                    </a:lnTo>
                    <a:lnTo>
                      <a:pt x="51" y="47"/>
                    </a:lnTo>
                    <a:lnTo>
                      <a:pt x="48" y="53"/>
                    </a:lnTo>
                    <a:lnTo>
                      <a:pt x="45" y="60"/>
                    </a:lnTo>
                    <a:lnTo>
                      <a:pt x="42" y="66"/>
                    </a:lnTo>
                    <a:lnTo>
                      <a:pt x="42" y="66"/>
                    </a:lnTo>
                    <a:lnTo>
                      <a:pt x="39" y="68"/>
                    </a:lnTo>
                    <a:lnTo>
                      <a:pt x="35" y="69"/>
                    </a:lnTo>
                    <a:lnTo>
                      <a:pt x="28" y="7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32" name="Freeform 82"/>
              <p:cNvSpPr>
                <a:spLocks/>
              </p:cNvSpPr>
              <p:nvPr/>
            </p:nvSpPr>
            <p:spPr bwMode="auto">
              <a:xfrm>
                <a:off x="4570022" y="1208037"/>
                <a:ext cx="25721" cy="53420"/>
              </a:xfrm>
              <a:custGeom>
                <a:avLst/>
                <a:gdLst>
                  <a:gd name="T0" fmla="*/ 24 w 26"/>
                  <a:gd name="T1" fmla="*/ 54 h 54"/>
                  <a:gd name="T2" fmla="*/ 24 w 26"/>
                  <a:gd name="T3" fmla="*/ 54 h 54"/>
                  <a:gd name="T4" fmla="*/ 23 w 26"/>
                  <a:gd name="T5" fmla="*/ 54 h 54"/>
                  <a:gd name="T6" fmla="*/ 23 w 26"/>
                  <a:gd name="T7" fmla="*/ 54 h 54"/>
                  <a:gd name="T8" fmla="*/ 22 w 26"/>
                  <a:gd name="T9" fmla="*/ 53 h 54"/>
                  <a:gd name="T10" fmla="*/ 20 w 26"/>
                  <a:gd name="T11" fmla="*/ 51 h 54"/>
                  <a:gd name="T12" fmla="*/ 17 w 26"/>
                  <a:gd name="T13" fmla="*/ 47 h 54"/>
                  <a:gd name="T14" fmla="*/ 16 w 26"/>
                  <a:gd name="T15" fmla="*/ 41 h 54"/>
                  <a:gd name="T16" fmla="*/ 13 w 26"/>
                  <a:gd name="T17" fmla="*/ 37 h 54"/>
                  <a:gd name="T18" fmla="*/ 13 w 26"/>
                  <a:gd name="T19" fmla="*/ 37 h 54"/>
                  <a:gd name="T20" fmla="*/ 6 w 26"/>
                  <a:gd name="T21" fmla="*/ 34 h 54"/>
                  <a:gd name="T22" fmla="*/ 6 w 26"/>
                  <a:gd name="T23" fmla="*/ 31 h 54"/>
                  <a:gd name="T24" fmla="*/ 6 w 26"/>
                  <a:gd name="T25" fmla="*/ 29 h 54"/>
                  <a:gd name="T26" fmla="*/ 6 w 26"/>
                  <a:gd name="T27" fmla="*/ 29 h 54"/>
                  <a:gd name="T28" fmla="*/ 3 w 26"/>
                  <a:gd name="T29" fmla="*/ 16 h 54"/>
                  <a:gd name="T30" fmla="*/ 0 w 26"/>
                  <a:gd name="T31" fmla="*/ 6 h 54"/>
                  <a:gd name="T32" fmla="*/ 0 w 26"/>
                  <a:gd name="T33" fmla="*/ 6 h 54"/>
                  <a:gd name="T34" fmla="*/ 0 w 26"/>
                  <a:gd name="T35" fmla="*/ 2 h 54"/>
                  <a:gd name="T36" fmla="*/ 0 w 26"/>
                  <a:gd name="T37" fmla="*/ 0 h 54"/>
                  <a:gd name="T38" fmla="*/ 1 w 26"/>
                  <a:gd name="T39" fmla="*/ 0 h 54"/>
                  <a:gd name="T40" fmla="*/ 1 w 26"/>
                  <a:gd name="T41" fmla="*/ 0 h 54"/>
                  <a:gd name="T42" fmla="*/ 3 w 26"/>
                  <a:gd name="T43" fmla="*/ 0 h 54"/>
                  <a:gd name="T44" fmla="*/ 4 w 26"/>
                  <a:gd name="T45" fmla="*/ 3 h 54"/>
                  <a:gd name="T46" fmla="*/ 4 w 26"/>
                  <a:gd name="T47" fmla="*/ 3 h 54"/>
                  <a:gd name="T48" fmla="*/ 9 w 26"/>
                  <a:gd name="T49" fmla="*/ 13 h 54"/>
                  <a:gd name="T50" fmla="*/ 11 w 26"/>
                  <a:gd name="T51" fmla="*/ 22 h 54"/>
                  <a:gd name="T52" fmla="*/ 11 w 26"/>
                  <a:gd name="T53" fmla="*/ 22 h 54"/>
                  <a:gd name="T54" fmla="*/ 23 w 26"/>
                  <a:gd name="T55" fmla="*/ 45 h 54"/>
                  <a:gd name="T56" fmla="*/ 23 w 26"/>
                  <a:gd name="T57" fmla="*/ 45 h 54"/>
                  <a:gd name="T58" fmla="*/ 26 w 26"/>
                  <a:gd name="T59" fmla="*/ 51 h 54"/>
                  <a:gd name="T60" fmla="*/ 26 w 26"/>
                  <a:gd name="T61" fmla="*/ 53 h 54"/>
                  <a:gd name="T62" fmla="*/ 24 w 26"/>
                  <a:gd name="T63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6" h="54">
                    <a:moveTo>
                      <a:pt x="24" y="54"/>
                    </a:moveTo>
                    <a:lnTo>
                      <a:pt x="24" y="54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2" y="53"/>
                    </a:lnTo>
                    <a:lnTo>
                      <a:pt x="20" y="51"/>
                    </a:lnTo>
                    <a:lnTo>
                      <a:pt x="17" y="47"/>
                    </a:lnTo>
                    <a:lnTo>
                      <a:pt x="16" y="41"/>
                    </a:lnTo>
                    <a:lnTo>
                      <a:pt x="13" y="37"/>
                    </a:lnTo>
                    <a:lnTo>
                      <a:pt x="13" y="37"/>
                    </a:lnTo>
                    <a:lnTo>
                      <a:pt x="6" y="34"/>
                    </a:lnTo>
                    <a:lnTo>
                      <a:pt x="6" y="31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3" y="1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9" y="13"/>
                    </a:lnTo>
                    <a:lnTo>
                      <a:pt x="11" y="22"/>
                    </a:lnTo>
                    <a:lnTo>
                      <a:pt x="11" y="22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6" y="51"/>
                    </a:lnTo>
                    <a:lnTo>
                      <a:pt x="26" y="53"/>
                    </a:lnTo>
                    <a:lnTo>
                      <a:pt x="24" y="5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33" name="Freeform 83"/>
              <p:cNvSpPr>
                <a:spLocks/>
              </p:cNvSpPr>
              <p:nvPr/>
            </p:nvSpPr>
            <p:spPr bwMode="auto">
              <a:xfrm>
                <a:off x="4570022" y="1208037"/>
                <a:ext cx="25721" cy="53420"/>
              </a:xfrm>
              <a:custGeom>
                <a:avLst/>
                <a:gdLst>
                  <a:gd name="T0" fmla="*/ 24 w 26"/>
                  <a:gd name="T1" fmla="*/ 54 h 54"/>
                  <a:gd name="T2" fmla="*/ 24 w 26"/>
                  <a:gd name="T3" fmla="*/ 54 h 54"/>
                  <a:gd name="T4" fmla="*/ 23 w 26"/>
                  <a:gd name="T5" fmla="*/ 54 h 54"/>
                  <a:gd name="T6" fmla="*/ 23 w 26"/>
                  <a:gd name="T7" fmla="*/ 54 h 54"/>
                  <a:gd name="T8" fmla="*/ 22 w 26"/>
                  <a:gd name="T9" fmla="*/ 53 h 54"/>
                  <a:gd name="T10" fmla="*/ 20 w 26"/>
                  <a:gd name="T11" fmla="*/ 51 h 54"/>
                  <a:gd name="T12" fmla="*/ 17 w 26"/>
                  <a:gd name="T13" fmla="*/ 47 h 54"/>
                  <a:gd name="T14" fmla="*/ 16 w 26"/>
                  <a:gd name="T15" fmla="*/ 41 h 54"/>
                  <a:gd name="T16" fmla="*/ 13 w 26"/>
                  <a:gd name="T17" fmla="*/ 37 h 54"/>
                  <a:gd name="T18" fmla="*/ 13 w 26"/>
                  <a:gd name="T19" fmla="*/ 37 h 54"/>
                  <a:gd name="T20" fmla="*/ 6 w 26"/>
                  <a:gd name="T21" fmla="*/ 34 h 54"/>
                  <a:gd name="T22" fmla="*/ 6 w 26"/>
                  <a:gd name="T23" fmla="*/ 31 h 54"/>
                  <a:gd name="T24" fmla="*/ 6 w 26"/>
                  <a:gd name="T25" fmla="*/ 29 h 54"/>
                  <a:gd name="T26" fmla="*/ 6 w 26"/>
                  <a:gd name="T27" fmla="*/ 29 h 54"/>
                  <a:gd name="T28" fmla="*/ 3 w 26"/>
                  <a:gd name="T29" fmla="*/ 16 h 54"/>
                  <a:gd name="T30" fmla="*/ 0 w 26"/>
                  <a:gd name="T31" fmla="*/ 6 h 54"/>
                  <a:gd name="T32" fmla="*/ 0 w 26"/>
                  <a:gd name="T33" fmla="*/ 6 h 54"/>
                  <a:gd name="T34" fmla="*/ 0 w 26"/>
                  <a:gd name="T35" fmla="*/ 2 h 54"/>
                  <a:gd name="T36" fmla="*/ 0 w 26"/>
                  <a:gd name="T37" fmla="*/ 0 h 54"/>
                  <a:gd name="T38" fmla="*/ 1 w 26"/>
                  <a:gd name="T39" fmla="*/ 0 h 54"/>
                  <a:gd name="T40" fmla="*/ 1 w 26"/>
                  <a:gd name="T41" fmla="*/ 0 h 54"/>
                  <a:gd name="T42" fmla="*/ 3 w 26"/>
                  <a:gd name="T43" fmla="*/ 0 h 54"/>
                  <a:gd name="T44" fmla="*/ 4 w 26"/>
                  <a:gd name="T45" fmla="*/ 3 h 54"/>
                  <a:gd name="T46" fmla="*/ 4 w 26"/>
                  <a:gd name="T47" fmla="*/ 3 h 54"/>
                  <a:gd name="T48" fmla="*/ 9 w 26"/>
                  <a:gd name="T49" fmla="*/ 13 h 54"/>
                  <a:gd name="T50" fmla="*/ 11 w 26"/>
                  <a:gd name="T51" fmla="*/ 22 h 54"/>
                  <a:gd name="T52" fmla="*/ 11 w 26"/>
                  <a:gd name="T53" fmla="*/ 22 h 54"/>
                  <a:gd name="T54" fmla="*/ 23 w 26"/>
                  <a:gd name="T55" fmla="*/ 45 h 54"/>
                  <a:gd name="T56" fmla="*/ 23 w 26"/>
                  <a:gd name="T57" fmla="*/ 45 h 54"/>
                  <a:gd name="T58" fmla="*/ 26 w 26"/>
                  <a:gd name="T59" fmla="*/ 51 h 54"/>
                  <a:gd name="T60" fmla="*/ 26 w 26"/>
                  <a:gd name="T61" fmla="*/ 53 h 54"/>
                  <a:gd name="T62" fmla="*/ 24 w 26"/>
                  <a:gd name="T63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6" h="54">
                    <a:moveTo>
                      <a:pt x="24" y="54"/>
                    </a:moveTo>
                    <a:lnTo>
                      <a:pt x="24" y="54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2" y="53"/>
                    </a:lnTo>
                    <a:lnTo>
                      <a:pt x="20" y="51"/>
                    </a:lnTo>
                    <a:lnTo>
                      <a:pt x="17" y="47"/>
                    </a:lnTo>
                    <a:lnTo>
                      <a:pt x="16" y="41"/>
                    </a:lnTo>
                    <a:lnTo>
                      <a:pt x="13" y="37"/>
                    </a:lnTo>
                    <a:lnTo>
                      <a:pt x="13" y="37"/>
                    </a:lnTo>
                    <a:lnTo>
                      <a:pt x="6" y="34"/>
                    </a:lnTo>
                    <a:lnTo>
                      <a:pt x="6" y="31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3" y="1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9" y="13"/>
                    </a:lnTo>
                    <a:lnTo>
                      <a:pt x="11" y="22"/>
                    </a:lnTo>
                    <a:lnTo>
                      <a:pt x="11" y="22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6" y="51"/>
                    </a:lnTo>
                    <a:lnTo>
                      <a:pt x="26" y="53"/>
                    </a:lnTo>
                    <a:lnTo>
                      <a:pt x="24" y="5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34" name="Freeform 84"/>
              <p:cNvSpPr>
                <a:spLocks/>
              </p:cNvSpPr>
              <p:nvPr/>
            </p:nvSpPr>
            <p:spPr bwMode="auto">
              <a:xfrm>
                <a:off x="5855070" y="1124939"/>
                <a:ext cx="38581" cy="27699"/>
              </a:xfrm>
              <a:custGeom>
                <a:avLst/>
                <a:gdLst>
                  <a:gd name="T0" fmla="*/ 9 w 39"/>
                  <a:gd name="T1" fmla="*/ 28 h 28"/>
                  <a:gd name="T2" fmla="*/ 9 w 39"/>
                  <a:gd name="T3" fmla="*/ 28 h 28"/>
                  <a:gd name="T4" fmla="*/ 7 w 39"/>
                  <a:gd name="T5" fmla="*/ 28 h 28"/>
                  <a:gd name="T6" fmla="*/ 6 w 39"/>
                  <a:gd name="T7" fmla="*/ 27 h 28"/>
                  <a:gd name="T8" fmla="*/ 6 w 39"/>
                  <a:gd name="T9" fmla="*/ 27 h 28"/>
                  <a:gd name="T10" fmla="*/ 1 w 39"/>
                  <a:gd name="T11" fmla="*/ 22 h 28"/>
                  <a:gd name="T12" fmla="*/ 1 w 39"/>
                  <a:gd name="T13" fmla="*/ 21 h 28"/>
                  <a:gd name="T14" fmla="*/ 4 w 39"/>
                  <a:gd name="T15" fmla="*/ 19 h 28"/>
                  <a:gd name="T16" fmla="*/ 4 w 39"/>
                  <a:gd name="T17" fmla="*/ 19 h 28"/>
                  <a:gd name="T18" fmla="*/ 12 w 39"/>
                  <a:gd name="T19" fmla="*/ 19 h 28"/>
                  <a:gd name="T20" fmla="*/ 14 w 39"/>
                  <a:gd name="T21" fmla="*/ 19 h 28"/>
                  <a:gd name="T22" fmla="*/ 13 w 39"/>
                  <a:gd name="T23" fmla="*/ 18 h 28"/>
                  <a:gd name="T24" fmla="*/ 13 w 39"/>
                  <a:gd name="T25" fmla="*/ 18 h 28"/>
                  <a:gd name="T26" fmla="*/ 10 w 39"/>
                  <a:gd name="T27" fmla="*/ 15 h 28"/>
                  <a:gd name="T28" fmla="*/ 4 w 39"/>
                  <a:gd name="T29" fmla="*/ 11 h 28"/>
                  <a:gd name="T30" fmla="*/ 1 w 39"/>
                  <a:gd name="T31" fmla="*/ 5 h 28"/>
                  <a:gd name="T32" fmla="*/ 0 w 39"/>
                  <a:gd name="T33" fmla="*/ 0 h 28"/>
                  <a:gd name="T34" fmla="*/ 39 w 39"/>
                  <a:gd name="T35" fmla="*/ 0 h 28"/>
                  <a:gd name="T36" fmla="*/ 39 w 39"/>
                  <a:gd name="T37" fmla="*/ 0 h 28"/>
                  <a:gd name="T38" fmla="*/ 39 w 39"/>
                  <a:gd name="T39" fmla="*/ 5 h 28"/>
                  <a:gd name="T40" fmla="*/ 39 w 39"/>
                  <a:gd name="T41" fmla="*/ 9 h 28"/>
                  <a:gd name="T42" fmla="*/ 38 w 39"/>
                  <a:gd name="T43" fmla="*/ 12 h 28"/>
                  <a:gd name="T44" fmla="*/ 38 w 39"/>
                  <a:gd name="T45" fmla="*/ 12 h 28"/>
                  <a:gd name="T46" fmla="*/ 29 w 39"/>
                  <a:gd name="T47" fmla="*/ 18 h 28"/>
                  <a:gd name="T48" fmla="*/ 23 w 39"/>
                  <a:gd name="T49" fmla="*/ 22 h 28"/>
                  <a:gd name="T50" fmla="*/ 19 w 39"/>
                  <a:gd name="T51" fmla="*/ 25 h 28"/>
                  <a:gd name="T52" fmla="*/ 19 w 39"/>
                  <a:gd name="T53" fmla="*/ 25 h 28"/>
                  <a:gd name="T54" fmla="*/ 13 w 39"/>
                  <a:gd name="T55" fmla="*/ 27 h 28"/>
                  <a:gd name="T56" fmla="*/ 9 w 39"/>
                  <a:gd name="T5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9" h="28">
                    <a:moveTo>
                      <a:pt x="9" y="28"/>
                    </a:moveTo>
                    <a:lnTo>
                      <a:pt x="9" y="28"/>
                    </a:lnTo>
                    <a:lnTo>
                      <a:pt x="7" y="28"/>
                    </a:lnTo>
                    <a:lnTo>
                      <a:pt x="6" y="27"/>
                    </a:lnTo>
                    <a:lnTo>
                      <a:pt x="6" y="27"/>
                    </a:lnTo>
                    <a:lnTo>
                      <a:pt x="1" y="22"/>
                    </a:lnTo>
                    <a:lnTo>
                      <a:pt x="1" y="21"/>
                    </a:lnTo>
                    <a:lnTo>
                      <a:pt x="4" y="19"/>
                    </a:lnTo>
                    <a:lnTo>
                      <a:pt x="4" y="19"/>
                    </a:lnTo>
                    <a:lnTo>
                      <a:pt x="12" y="19"/>
                    </a:lnTo>
                    <a:lnTo>
                      <a:pt x="14" y="19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0" y="15"/>
                    </a:lnTo>
                    <a:lnTo>
                      <a:pt x="4" y="11"/>
                    </a:lnTo>
                    <a:lnTo>
                      <a:pt x="1" y="5"/>
                    </a:lnTo>
                    <a:lnTo>
                      <a:pt x="0" y="0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9" y="5"/>
                    </a:lnTo>
                    <a:lnTo>
                      <a:pt x="39" y="9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29" y="18"/>
                    </a:lnTo>
                    <a:lnTo>
                      <a:pt x="23" y="22"/>
                    </a:lnTo>
                    <a:lnTo>
                      <a:pt x="19" y="25"/>
                    </a:lnTo>
                    <a:lnTo>
                      <a:pt x="19" y="25"/>
                    </a:lnTo>
                    <a:lnTo>
                      <a:pt x="13" y="27"/>
                    </a:lnTo>
                    <a:lnTo>
                      <a:pt x="9" y="2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35" name="Freeform 85"/>
              <p:cNvSpPr>
                <a:spLocks/>
              </p:cNvSpPr>
              <p:nvPr/>
            </p:nvSpPr>
            <p:spPr bwMode="auto">
              <a:xfrm>
                <a:off x="5855070" y="1124939"/>
                <a:ext cx="38581" cy="27699"/>
              </a:xfrm>
              <a:custGeom>
                <a:avLst/>
                <a:gdLst>
                  <a:gd name="T0" fmla="*/ 9 w 39"/>
                  <a:gd name="T1" fmla="*/ 28 h 28"/>
                  <a:gd name="T2" fmla="*/ 9 w 39"/>
                  <a:gd name="T3" fmla="*/ 28 h 28"/>
                  <a:gd name="T4" fmla="*/ 7 w 39"/>
                  <a:gd name="T5" fmla="*/ 28 h 28"/>
                  <a:gd name="T6" fmla="*/ 6 w 39"/>
                  <a:gd name="T7" fmla="*/ 27 h 28"/>
                  <a:gd name="T8" fmla="*/ 6 w 39"/>
                  <a:gd name="T9" fmla="*/ 27 h 28"/>
                  <a:gd name="T10" fmla="*/ 1 w 39"/>
                  <a:gd name="T11" fmla="*/ 22 h 28"/>
                  <a:gd name="T12" fmla="*/ 1 w 39"/>
                  <a:gd name="T13" fmla="*/ 21 h 28"/>
                  <a:gd name="T14" fmla="*/ 4 w 39"/>
                  <a:gd name="T15" fmla="*/ 19 h 28"/>
                  <a:gd name="T16" fmla="*/ 4 w 39"/>
                  <a:gd name="T17" fmla="*/ 19 h 28"/>
                  <a:gd name="T18" fmla="*/ 12 w 39"/>
                  <a:gd name="T19" fmla="*/ 19 h 28"/>
                  <a:gd name="T20" fmla="*/ 14 w 39"/>
                  <a:gd name="T21" fmla="*/ 19 h 28"/>
                  <a:gd name="T22" fmla="*/ 13 w 39"/>
                  <a:gd name="T23" fmla="*/ 18 h 28"/>
                  <a:gd name="T24" fmla="*/ 13 w 39"/>
                  <a:gd name="T25" fmla="*/ 18 h 28"/>
                  <a:gd name="T26" fmla="*/ 10 w 39"/>
                  <a:gd name="T27" fmla="*/ 15 h 28"/>
                  <a:gd name="T28" fmla="*/ 4 w 39"/>
                  <a:gd name="T29" fmla="*/ 11 h 28"/>
                  <a:gd name="T30" fmla="*/ 1 w 39"/>
                  <a:gd name="T31" fmla="*/ 5 h 28"/>
                  <a:gd name="T32" fmla="*/ 0 w 39"/>
                  <a:gd name="T33" fmla="*/ 0 h 28"/>
                  <a:gd name="T34" fmla="*/ 39 w 39"/>
                  <a:gd name="T35" fmla="*/ 0 h 28"/>
                  <a:gd name="T36" fmla="*/ 39 w 39"/>
                  <a:gd name="T37" fmla="*/ 0 h 28"/>
                  <a:gd name="T38" fmla="*/ 39 w 39"/>
                  <a:gd name="T39" fmla="*/ 5 h 28"/>
                  <a:gd name="T40" fmla="*/ 39 w 39"/>
                  <a:gd name="T41" fmla="*/ 9 h 28"/>
                  <a:gd name="T42" fmla="*/ 38 w 39"/>
                  <a:gd name="T43" fmla="*/ 12 h 28"/>
                  <a:gd name="T44" fmla="*/ 38 w 39"/>
                  <a:gd name="T45" fmla="*/ 12 h 28"/>
                  <a:gd name="T46" fmla="*/ 29 w 39"/>
                  <a:gd name="T47" fmla="*/ 18 h 28"/>
                  <a:gd name="T48" fmla="*/ 23 w 39"/>
                  <a:gd name="T49" fmla="*/ 22 h 28"/>
                  <a:gd name="T50" fmla="*/ 19 w 39"/>
                  <a:gd name="T51" fmla="*/ 25 h 28"/>
                  <a:gd name="T52" fmla="*/ 19 w 39"/>
                  <a:gd name="T53" fmla="*/ 25 h 28"/>
                  <a:gd name="T54" fmla="*/ 13 w 39"/>
                  <a:gd name="T55" fmla="*/ 27 h 28"/>
                  <a:gd name="T56" fmla="*/ 9 w 39"/>
                  <a:gd name="T5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9" h="28">
                    <a:moveTo>
                      <a:pt x="9" y="28"/>
                    </a:moveTo>
                    <a:lnTo>
                      <a:pt x="9" y="28"/>
                    </a:lnTo>
                    <a:lnTo>
                      <a:pt x="7" y="28"/>
                    </a:lnTo>
                    <a:lnTo>
                      <a:pt x="6" y="27"/>
                    </a:lnTo>
                    <a:lnTo>
                      <a:pt x="6" y="27"/>
                    </a:lnTo>
                    <a:lnTo>
                      <a:pt x="1" y="22"/>
                    </a:lnTo>
                    <a:lnTo>
                      <a:pt x="1" y="21"/>
                    </a:lnTo>
                    <a:lnTo>
                      <a:pt x="4" y="19"/>
                    </a:lnTo>
                    <a:lnTo>
                      <a:pt x="4" y="19"/>
                    </a:lnTo>
                    <a:lnTo>
                      <a:pt x="12" y="19"/>
                    </a:lnTo>
                    <a:lnTo>
                      <a:pt x="14" y="19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0" y="15"/>
                    </a:lnTo>
                    <a:lnTo>
                      <a:pt x="4" y="11"/>
                    </a:lnTo>
                    <a:lnTo>
                      <a:pt x="1" y="5"/>
                    </a:lnTo>
                    <a:lnTo>
                      <a:pt x="0" y="0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9" y="5"/>
                    </a:lnTo>
                    <a:lnTo>
                      <a:pt x="39" y="9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29" y="18"/>
                    </a:lnTo>
                    <a:lnTo>
                      <a:pt x="23" y="22"/>
                    </a:lnTo>
                    <a:lnTo>
                      <a:pt x="19" y="25"/>
                    </a:lnTo>
                    <a:lnTo>
                      <a:pt x="19" y="25"/>
                    </a:lnTo>
                    <a:lnTo>
                      <a:pt x="13" y="27"/>
                    </a:lnTo>
                    <a:lnTo>
                      <a:pt x="9" y="2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36" name="Freeform 86"/>
              <p:cNvSpPr>
                <a:spLocks/>
              </p:cNvSpPr>
              <p:nvPr/>
            </p:nvSpPr>
            <p:spPr bwMode="auto">
              <a:xfrm>
                <a:off x="5883759" y="1124939"/>
                <a:ext cx="105851" cy="101894"/>
              </a:xfrm>
              <a:custGeom>
                <a:avLst/>
                <a:gdLst>
                  <a:gd name="T0" fmla="*/ 85 w 107"/>
                  <a:gd name="T1" fmla="*/ 103 h 103"/>
                  <a:gd name="T2" fmla="*/ 71 w 107"/>
                  <a:gd name="T3" fmla="*/ 100 h 103"/>
                  <a:gd name="T4" fmla="*/ 62 w 107"/>
                  <a:gd name="T5" fmla="*/ 95 h 103"/>
                  <a:gd name="T6" fmla="*/ 54 w 107"/>
                  <a:gd name="T7" fmla="*/ 89 h 103"/>
                  <a:gd name="T8" fmla="*/ 43 w 107"/>
                  <a:gd name="T9" fmla="*/ 83 h 103"/>
                  <a:gd name="T10" fmla="*/ 42 w 107"/>
                  <a:gd name="T11" fmla="*/ 80 h 103"/>
                  <a:gd name="T12" fmla="*/ 42 w 107"/>
                  <a:gd name="T13" fmla="*/ 76 h 103"/>
                  <a:gd name="T14" fmla="*/ 40 w 107"/>
                  <a:gd name="T15" fmla="*/ 74 h 103"/>
                  <a:gd name="T16" fmla="*/ 40 w 107"/>
                  <a:gd name="T17" fmla="*/ 76 h 103"/>
                  <a:gd name="T18" fmla="*/ 36 w 107"/>
                  <a:gd name="T19" fmla="*/ 82 h 103"/>
                  <a:gd name="T20" fmla="*/ 33 w 107"/>
                  <a:gd name="T21" fmla="*/ 82 h 103"/>
                  <a:gd name="T22" fmla="*/ 30 w 107"/>
                  <a:gd name="T23" fmla="*/ 82 h 103"/>
                  <a:gd name="T24" fmla="*/ 23 w 107"/>
                  <a:gd name="T25" fmla="*/ 73 h 103"/>
                  <a:gd name="T26" fmla="*/ 20 w 107"/>
                  <a:gd name="T27" fmla="*/ 66 h 103"/>
                  <a:gd name="T28" fmla="*/ 20 w 107"/>
                  <a:gd name="T29" fmla="*/ 48 h 103"/>
                  <a:gd name="T30" fmla="*/ 19 w 107"/>
                  <a:gd name="T31" fmla="*/ 45 h 103"/>
                  <a:gd name="T32" fmla="*/ 16 w 107"/>
                  <a:gd name="T33" fmla="*/ 45 h 103"/>
                  <a:gd name="T34" fmla="*/ 14 w 107"/>
                  <a:gd name="T35" fmla="*/ 45 h 103"/>
                  <a:gd name="T36" fmla="*/ 12 w 107"/>
                  <a:gd name="T37" fmla="*/ 47 h 103"/>
                  <a:gd name="T38" fmla="*/ 7 w 107"/>
                  <a:gd name="T39" fmla="*/ 48 h 103"/>
                  <a:gd name="T40" fmla="*/ 7 w 107"/>
                  <a:gd name="T41" fmla="*/ 48 h 103"/>
                  <a:gd name="T42" fmla="*/ 3 w 107"/>
                  <a:gd name="T43" fmla="*/ 47 h 103"/>
                  <a:gd name="T44" fmla="*/ 0 w 107"/>
                  <a:gd name="T45" fmla="*/ 40 h 103"/>
                  <a:gd name="T46" fmla="*/ 1 w 107"/>
                  <a:gd name="T47" fmla="*/ 37 h 103"/>
                  <a:gd name="T48" fmla="*/ 9 w 107"/>
                  <a:gd name="T49" fmla="*/ 29 h 103"/>
                  <a:gd name="T50" fmla="*/ 12 w 107"/>
                  <a:gd name="T51" fmla="*/ 24 h 103"/>
                  <a:gd name="T52" fmla="*/ 17 w 107"/>
                  <a:gd name="T53" fmla="*/ 19 h 103"/>
                  <a:gd name="T54" fmla="*/ 22 w 107"/>
                  <a:gd name="T55" fmla="*/ 15 h 103"/>
                  <a:gd name="T56" fmla="*/ 19 w 107"/>
                  <a:gd name="T57" fmla="*/ 8 h 103"/>
                  <a:gd name="T58" fmla="*/ 17 w 107"/>
                  <a:gd name="T59" fmla="*/ 0 h 103"/>
                  <a:gd name="T60" fmla="*/ 104 w 107"/>
                  <a:gd name="T61" fmla="*/ 0 h 103"/>
                  <a:gd name="T62" fmla="*/ 106 w 107"/>
                  <a:gd name="T63" fmla="*/ 15 h 103"/>
                  <a:gd name="T64" fmla="*/ 104 w 107"/>
                  <a:gd name="T65" fmla="*/ 22 h 103"/>
                  <a:gd name="T66" fmla="*/ 106 w 107"/>
                  <a:gd name="T67" fmla="*/ 24 h 103"/>
                  <a:gd name="T68" fmla="*/ 107 w 107"/>
                  <a:gd name="T69" fmla="*/ 28 h 103"/>
                  <a:gd name="T70" fmla="*/ 104 w 107"/>
                  <a:gd name="T71" fmla="*/ 32 h 103"/>
                  <a:gd name="T72" fmla="*/ 104 w 107"/>
                  <a:gd name="T73" fmla="*/ 50 h 103"/>
                  <a:gd name="T74" fmla="*/ 103 w 107"/>
                  <a:gd name="T75" fmla="*/ 61 h 103"/>
                  <a:gd name="T76" fmla="*/ 101 w 107"/>
                  <a:gd name="T77" fmla="*/ 63 h 103"/>
                  <a:gd name="T78" fmla="*/ 94 w 107"/>
                  <a:gd name="T79" fmla="*/ 58 h 103"/>
                  <a:gd name="T80" fmla="*/ 93 w 107"/>
                  <a:gd name="T81" fmla="*/ 60 h 103"/>
                  <a:gd name="T82" fmla="*/ 93 w 107"/>
                  <a:gd name="T83" fmla="*/ 63 h 103"/>
                  <a:gd name="T84" fmla="*/ 98 w 107"/>
                  <a:gd name="T85" fmla="*/ 74 h 103"/>
                  <a:gd name="T86" fmla="*/ 101 w 107"/>
                  <a:gd name="T87" fmla="*/ 80 h 103"/>
                  <a:gd name="T88" fmla="*/ 107 w 107"/>
                  <a:gd name="T89" fmla="*/ 92 h 103"/>
                  <a:gd name="T90" fmla="*/ 106 w 107"/>
                  <a:gd name="T91" fmla="*/ 95 h 103"/>
                  <a:gd name="T92" fmla="*/ 100 w 107"/>
                  <a:gd name="T93" fmla="*/ 99 h 103"/>
                  <a:gd name="T94" fmla="*/ 94 w 107"/>
                  <a:gd name="T95" fmla="*/ 102 h 103"/>
                  <a:gd name="T96" fmla="*/ 85 w 107"/>
                  <a:gd name="T97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7" h="103">
                    <a:moveTo>
                      <a:pt x="85" y="103"/>
                    </a:moveTo>
                    <a:lnTo>
                      <a:pt x="85" y="103"/>
                    </a:lnTo>
                    <a:lnTo>
                      <a:pt x="78" y="103"/>
                    </a:lnTo>
                    <a:lnTo>
                      <a:pt x="71" y="100"/>
                    </a:lnTo>
                    <a:lnTo>
                      <a:pt x="71" y="100"/>
                    </a:lnTo>
                    <a:lnTo>
                      <a:pt x="62" y="95"/>
                    </a:lnTo>
                    <a:lnTo>
                      <a:pt x="54" y="89"/>
                    </a:lnTo>
                    <a:lnTo>
                      <a:pt x="54" y="89"/>
                    </a:lnTo>
                    <a:lnTo>
                      <a:pt x="46" y="84"/>
                    </a:lnTo>
                    <a:lnTo>
                      <a:pt x="43" y="83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42" y="77"/>
                    </a:lnTo>
                    <a:lnTo>
                      <a:pt x="42" y="76"/>
                    </a:lnTo>
                    <a:lnTo>
                      <a:pt x="40" y="74"/>
                    </a:lnTo>
                    <a:lnTo>
                      <a:pt x="40" y="74"/>
                    </a:lnTo>
                    <a:lnTo>
                      <a:pt x="40" y="76"/>
                    </a:lnTo>
                    <a:lnTo>
                      <a:pt x="40" y="76"/>
                    </a:lnTo>
                    <a:lnTo>
                      <a:pt x="38" y="79"/>
                    </a:lnTo>
                    <a:lnTo>
                      <a:pt x="36" y="82"/>
                    </a:lnTo>
                    <a:lnTo>
                      <a:pt x="33" y="82"/>
                    </a:lnTo>
                    <a:lnTo>
                      <a:pt x="33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26" y="77"/>
                    </a:lnTo>
                    <a:lnTo>
                      <a:pt x="23" y="73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0" y="54"/>
                    </a:lnTo>
                    <a:lnTo>
                      <a:pt x="20" y="48"/>
                    </a:lnTo>
                    <a:lnTo>
                      <a:pt x="19" y="47"/>
                    </a:lnTo>
                    <a:lnTo>
                      <a:pt x="19" y="45"/>
                    </a:lnTo>
                    <a:lnTo>
                      <a:pt x="19" y="45"/>
                    </a:lnTo>
                    <a:lnTo>
                      <a:pt x="16" y="45"/>
                    </a:lnTo>
                    <a:lnTo>
                      <a:pt x="16" y="45"/>
                    </a:lnTo>
                    <a:lnTo>
                      <a:pt x="14" y="45"/>
                    </a:lnTo>
                    <a:lnTo>
                      <a:pt x="12" y="47"/>
                    </a:lnTo>
                    <a:lnTo>
                      <a:pt x="12" y="47"/>
                    </a:lnTo>
                    <a:lnTo>
                      <a:pt x="10" y="48"/>
                    </a:lnTo>
                    <a:lnTo>
                      <a:pt x="7" y="48"/>
                    </a:lnTo>
                    <a:lnTo>
                      <a:pt x="7" y="48"/>
                    </a:lnTo>
                    <a:lnTo>
                      <a:pt x="7" y="48"/>
                    </a:lnTo>
                    <a:lnTo>
                      <a:pt x="7" y="48"/>
                    </a:lnTo>
                    <a:lnTo>
                      <a:pt x="3" y="47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1" y="37"/>
                    </a:lnTo>
                    <a:lnTo>
                      <a:pt x="1" y="37"/>
                    </a:lnTo>
                    <a:lnTo>
                      <a:pt x="9" y="29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3" y="22"/>
                    </a:lnTo>
                    <a:lnTo>
                      <a:pt x="17" y="19"/>
                    </a:lnTo>
                    <a:lnTo>
                      <a:pt x="20" y="16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19" y="8"/>
                    </a:lnTo>
                    <a:lnTo>
                      <a:pt x="17" y="3"/>
                    </a:lnTo>
                    <a:lnTo>
                      <a:pt x="17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6" y="15"/>
                    </a:lnTo>
                    <a:lnTo>
                      <a:pt x="106" y="15"/>
                    </a:lnTo>
                    <a:lnTo>
                      <a:pt x="106" y="19"/>
                    </a:lnTo>
                    <a:lnTo>
                      <a:pt x="104" y="22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7" y="27"/>
                    </a:lnTo>
                    <a:lnTo>
                      <a:pt x="107" y="28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40"/>
                    </a:lnTo>
                    <a:lnTo>
                      <a:pt x="104" y="50"/>
                    </a:lnTo>
                    <a:lnTo>
                      <a:pt x="103" y="58"/>
                    </a:lnTo>
                    <a:lnTo>
                      <a:pt x="103" y="61"/>
                    </a:lnTo>
                    <a:lnTo>
                      <a:pt x="101" y="63"/>
                    </a:lnTo>
                    <a:lnTo>
                      <a:pt x="101" y="63"/>
                    </a:lnTo>
                    <a:lnTo>
                      <a:pt x="97" y="61"/>
                    </a:lnTo>
                    <a:lnTo>
                      <a:pt x="94" y="58"/>
                    </a:lnTo>
                    <a:lnTo>
                      <a:pt x="94" y="58"/>
                    </a:lnTo>
                    <a:lnTo>
                      <a:pt x="93" y="60"/>
                    </a:lnTo>
                    <a:lnTo>
                      <a:pt x="93" y="60"/>
                    </a:lnTo>
                    <a:lnTo>
                      <a:pt x="93" y="63"/>
                    </a:lnTo>
                    <a:lnTo>
                      <a:pt x="94" y="67"/>
                    </a:lnTo>
                    <a:lnTo>
                      <a:pt x="98" y="74"/>
                    </a:lnTo>
                    <a:lnTo>
                      <a:pt x="98" y="74"/>
                    </a:lnTo>
                    <a:lnTo>
                      <a:pt x="101" y="80"/>
                    </a:lnTo>
                    <a:lnTo>
                      <a:pt x="104" y="86"/>
                    </a:lnTo>
                    <a:lnTo>
                      <a:pt x="107" y="92"/>
                    </a:lnTo>
                    <a:lnTo>
                      <a:pt x="106" y="93"/>
                    </a:lnTo>
                    <a:lnTo>
                      <a:pt x="106" y="95"/>
                    </a:lnTo>
                    <a:lnTo>
                      <a:pt x="106" y="95"/>
                    </a:lnTo>
                    <a:lnTo>
                      <a:pt x="100" y="99"/>
                    </a:lnTo>
                    <a:lnTo>
                      <a:pt x="94" y="102"/>
                    </a:lnTo>
                    <a:lnTo>
                      <a:pt x="94" y="102"/>
                    </a:lnTo>
                    <a:lnTo>
                      <a:pt x="91" y="103"/>
                    </a:lnTo>
                    <a:lnTo>
                      <a:pt x="85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37" name="Freeform 87"/>
              <p:cNvSpPr>
                <a:spLocks/>
              </p:cNvSpPr>
              <p:nvPr/>
            </p:nvSpPr>
            <p:spPr bwMode="auto">
              <a:xfrm>
                <a:off x="5883759" y="1124939"/>
                <a:ext cx="105851" cy="101894"/>
              </a:xfrm>
              <a:custGeom>
                <a:avLst/>
                <a:gdLst>
                  <a:gd name="T0" fmla="*/ 85 w 107"/>
                  <a:gd name="T1" fmla="*/ 103 h 103"/>
                  <a:gd name="T2" fmla="*/ 71 w 107"/>
                  <a:gd name="T3" fmla="*/ 100 h 103"/>
                  <a:gd name="T4" fmla="*/ 62 w 107"/>
                  <a:gd name="T5" fmla="*/ 95 h 103"/>
                  <a:gd name="T6" fmla="*/ 54 w 107"/>
                  <a:gd name="T7" fmla="*/ 89 h 103"/>
                  <a:gd name="T8" fmla="*/ 43 w 107"/>
                  <a:gd name="T9" fmla="*/ 83 h 103"/>
                  <a:gd name="T10" fmla="*/ 42 w 107"/>
                  <a:gd name="T11" fmla="*/ 80 h 103"/>
                  <a:gd name="T12" fmla="*/ 42 w 107"/>
                  <a:gd name="T13" fmla="*/ 76 h 103"/>
                  <a:gd name="T14" fmla="*/ 40 w 107"/>
                  <a:gd name="T15" fmla="*/ 74 h 103"/>
                  <a:gd name="T16" fmla="*/ 40 w 107"/>
                  <a:gd name="T17" fmla="*/ 76 h 103"/>
                  <a:gd name="T18" fmla="*/ 36 w 107"/>
                  <a:gd name="T19" fmla="*/ 82 h 103"/>
                  <a:gd name="T20" fmla="*/ 33 w 107"/>
                  <a:gd name="T21" fmla="*/ 82 h 103"/>
                  <a:gd name="T22" fmla="*/ 30 w 107"/>
                  <a:gd name="T23" fmla="*/ 82 h 103"/>
                  <a:gd name="T24" fmla="*/ 23 w 107"/>
                  <a:gd name="T25" fmla="*/ 73 h 103"/>
                  <a:gd name="T26" fmla="*/ 20 w 107"/>
                  <a:gd name="T27" fmla="*/ 66 h 103"/>
                  <a:gd name="T28" fmla="*/ 20 w 107"/>
                  <a:gd name="T29" fmla="*/ 48 h 103"/>
                  <a:gd name="T30" fmla="*/ 19 w 107"/>
                  <a:gd name="T31" fmla="*/ 45 h 103"/>
                  <a:gd name="T32" fmla="*/ 16 w 107"/>
                  <a:gd name="T33" fmla="*/ 45 h 103"/>
                  <a:gd name="T34" fmla="*/ 14 w 107"/>
                  <a:gd name="T35" fmla="*/ 45 h 103"/>
                  <a:gd name="T36" fmla="*/ 12 w 107"/>
                  <a:gd name="T37" fmla="*/ 47 h 103"/>
                  <a:gd name="T38" fmla="*/ 7 w 107"/>
                  <a:gd name="T39" fmla="*/ 48 h 103"/>
                  <a:gd name="T40" fmla="*/ 7 w 107"/>
                  <a:gd name="T41" fmla="*/ 48 h 103"/>
                  <a:gd name="T42" fmla="*/ 3 w 107"/>
                  <a:gd name="T43" fmla="*/ 47 h 103"/>
                  <a:gd name="T44" fmla="*/ 0 w 107"/>
                  <a:gd name="T45" fmla="*/ 40 h 103"/>
                  <a:gd name="T46" fmla="*/ 1 w 107"/>
                  <a:gd name="T47" fmla="*/ 37 h 103"/>
                  <a:gd name="T48" fmla="*/ 9 w 107"/>
                  <a:gd name="T49" fmla="*/ 29 h 103"/>
                  <a:gd name="T50" fmla="*/ 12 w 107"/>
                  <a:gd name="T51" fmla="*/ 24 h 103"/>
                  <a:gd name="T52" fmla="*/ 17 w 107"/>
                  <a:gd name="T53" fmla="*/ 19 h 103"/>
                  <a:gd name="T54" fmla="*/ 22 w 107"/>
                  <a:gd name="T55" fmla="*/ 15 h 103"/>
                  <a:gd name="T56" fmla="*/ 19 w 107"/>
                  <a:gd name="T57" fmla="*/ 8 h 103"/>
                  <a:gd name="T58" fmla="*/ 17 w 107"/>
                  <a:gd name="T59" fmla="*/ 0 h 103"/>
                  <a:gd name="T60" fmla="*/ 104 w 107"/>
                  <a:gd name="T61" fmla="*/ 0 h 103"/>
                  <a:gd name="T62" fmla="*/ 106 w 107"/>
                  <a:gd name="T63" fmla="*/ 15 h 103"/>
                  <a:gd name="T64" fmla="*/ 104 w 107"/>
                  <a:gd name="T65" fmla="*/ 22 h 103"/>
                  <a:gd name="T66" fmla="*/ 106 w 107"/>
                  <a:gd name="T67" fmla="*/ 24 h 103"/>
                  <a:gd name="T68" fmla="*/ 107 w 107"/>
                  <a:gd name="T69" fmla="*/ 28 h 103"/>
                  <a:gd name="T70" fmla="*/ 104 w 107"/>
                  <a:gd name="T71" fmla="*/ 32 h 103"/>
                  <a:gd name="T72" fmla="*/ 104 w 107"/>
                  <a:gd name="T73" fmla="*/ 50 h 103"/>
                  <a:gd name="T74" fmla="*/ 103 w 107"/>
                  <a:gd name="T75" fmla="*/ 61 h 103"/>
                  <a:gd name="T76" fmla="*/ 101 w 107"/>
                  <a:gd name="T77" fmla="*/ 63 h 103"/>
                  <a:gd name="T78" fmla="*/ 94 w 107"/>
                  <a:gd name="T79" fmla="*/ 58 h 103"/>
                  <a:gd name="T80" fmla="*/ 93 w 107"/>
                  <a:gd name="T81" fmla="*/ 60 h 103"/>
                  <a:gd name="T82" fmla="*/ 93 w 107"/>
                  <a:gd name="T83" fmla="*/ 63 h 103"/>
                  <a:gd name="T84" fmla="*/ 98 w 107"/>
                  <a:gd name="T85" fmla="*/ 74 h 103"/>
                  <a:gd name="T86" fmla="*/ 101 w 107"/>
                  <a:gd name="T87" fmla="*/ 80 h 103"/>
                  <a:gd name="T88" fmla="*/ 107 w 107"/>
                  <a:gd name="T89" fmla="*/ 92 h 103"/>
                  <a:gd name="T90" fmla="*/ 106 w 107"/>
                  <a:gd name="T91" fmla="*/ 95 h 103"/>
                  <a:gd name="T92" fmla="*/ 100 w 107"/>
                  <a:gd name="T93" fmla="*/ 99 h 103"/>
                  <a:gd name="T94" fmla="*/ 94 w 107"/>
                  <a:gd name="T95" fmla="*/ 102 h 103"/>
                  <a:gd name="T96" fmla="*/ 85 w 107"/>
                  <a:gd name="T97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7" h="103">
                    <a:moveTo>
                      <a:pt x="85" y="103"/>
                    </a:moveTo>
                    <a:lnTo>
                      <a:pt x="85" y="103"/>
                    </a:lnTo>
                    <a:lnTo>
                      <a:pt x="78" y="103"/>
                    </a:lnTo>
                    <a:lnTo>
                      <a:pt x="71" y="100"/>
                    </a:lnTo>
                    <a:lnTo>
                      <a:pt x="71" y="100"/>
                    </a:lnTo>
                    <a:lnTo>
                      <a:pt x="62" y="95"/>
                    </a:lnTo>
                    <a:lnTo>
                      <a:pt x="54" y="89"/>
                    </a:lnTo>
                    <a:lnTo>
                      <a:pt x="54" y="89"/>
                    </a:lnTo>
                    <a:lnTo>
                      <a:pt x="46" y="84"/>
                    </a:lnTo>
                    <a:lnTo>
                      <a:pt x="43" y="83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42" y="77"/>
                    </a:lnTo>
                    <a:lnTo>
                      <a:pt x="42" y="76"/>
                    </a:lnTo>
                    <a:lnTo>
                      <a:pt x="40" y="74"/>
                    </a:lnTo>
                    <a:lnTo>
                      <a:pt x="40" y="74"/>
                    </a:lnTo>
                    <a:lnTo>
                      <a:pt x="40" y="76"/>
                    </a:lnTo>
                    <a:lnTo>
                      <a:pt x="40" y="76"/>
                    </a:lnTo>
                    <a:lnTo>
                      <a:pt x="38" y="79"/>
                    </a:lnTo>
                    <a:lnTo>
                      <a:pt x="36" y="82"/>
                    </a:lnTo>
                    <a:lnTo>
                      <a:pt x="33" y="82"/>
                    </a:lnTo>
                    <a:lnTo>
                      <a:pt x="33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26" y="77"/>
                    </a:lnTo>
                    <a:lnTo>
                      <a:pt x="23" y="73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0" y="54"/>
                    </a:lnTo>
                    <a:lnTo>
                      <a:pt x="20" y="48"/>
                    </a:lnTo>
                    <a:lnTo>
                      <a:pt x="19" y="47"/>
                    </a:lnTo>
                    <a:lnTo>
                      <a:pt x="19" y="45"/>
                    </a:lnTo>
                    <a:lnTo>
                      <a:pt x="19" y="45"/>
                    </a:lnTo>
                    <a:lnTo>
                      <a:pt x="16" y="45"/>
                    </a:lnTo>
                    <a:lnTo>
                      <a:pt x="16" y="45"/>
                    </a:lnTo>
                    <a:lnTo>
                      <a:pt x="14" y="45"/>
                    </a:lnTo>
                    <a:lnTo>
                      <a:pt x="12" y="47"/>
                    </a:lnTo>
                    <a:lnTo>
                      <a:pt x="12" y="47"/>
                    </a:lnTo>
                    <a:lnTo>
                      <a:pt x="10" y="48"/>
                    </a:lnTo>
                    <a:lnTo>
                      <a:pt x="7" y="48"/>
                    </a:lnTo>
                    <a:lnTo>
                      <a:pt x="7" y="48"/>
                    </a:lnTo>
                    <a:lnTo>
                      <a:pt x="7" y="48"/>
                    </a:lnTo>
                    <a:lnTo>
                      <a:pt x="7" y="48"/>
                    </a:lnTo>
                    <a:lnTo>
                      <a:pt x="3" y="47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1" y="37"/>
                    </a:lnTo>
                    <a:lnTo>
                      <a:pt x="1" y="37"/>
                    </a:lnTo>
                    <a:lnTo>
                      <a:pt x="9" y="29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3" y="22"/>
                    </a:lnTo>
                    <a:lnTo>
                      <a:pt x="17" y="19"/>
                    </a:lnTo>
                    <a:lnTo>
                      <a:pt x="20" y="16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19" y="8"/>
                    </a:lnTo>
                    <a:lnTo>
                      <a:pt x="17" y="3"/>
                    </a:lnTo>
                    <a:lnTo>
                      <a:pt x="17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6" y="15"/>
                    </a:lnTo>
                    <a:lnTo>
                      <a:pt x="106" y="15"/>
                    </a:lnTo>
                    <a:lnTo>
                      <a:pt x="106" y="19"/>
                    </a:lnTo>
                    <a:lnTo>
                      <a:pt x="104" y="22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7" y="27"/>
                    </a:lnTo>
                    <a:lnTo>
                      <a:pt x="107" y="28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40"/>
                    </a:lnTo>
                    <a:lnTo>
                      <a:pt x="104" y="50"/>
                    </a:lnTo>
                    <a:lnTo>
                      <a:pt x="103" y="58"/>
                    </a:lnTo>
                    <a:lnTo>
                      <a:pt x="103" y="61"/>
                    </a:lnTo>
                    <a:lnTo>
                      <a:pt x="101" y="63"/>
                    </a:lnTo>
                    <a:lnTo>
                      <a:pt x="101" y="63"/>
                    </a:lnTo>
                    <a:lnTo>
                      <a:pt x="97" y="61"/>
                    </a:lnTo>
                    <a:lnTo>
                      <a:pt x="94" y="58"/>
                    </a:lnTo>
                    <a:lnTo>
                      <a:pt x="94" y="58"/>
                    </a:lnTo>
                    <a:lnTo>
                      <a:pt x="93" y="60"/>
                    </a:lnTo>
                    <a:lnTo>
                      <a:pt x="93" y="60"/>
                    </a:lnTo>
                    <a:lnTo>
                      <a:pt x="93" y="63"/>
                    </a:lnTo>
                    <a:lnTo>
                      <a:pt x="94" y="67"/>
                    </a:lnTo>
                    <a:lnTo>
                      <a:pt x="98" y="74"/>
                    </a:lnTo>
                    <a:lnTo>
                      <a:pt x="98" y="74"/>
                    </a:lnTo>
                    <a:lnTo>
                      <a:pt x="101" y="80"/>
                    </a:lnTo>
                    <a:lnTo>
                      <a:pt x="104" y="86"/>
                    </a:lnTo>
                    <a:lnTo>
                      <a:pt x="107" y="92"/>
                    </a:lnTo>
                    <a:lnTo>
                      <a:pt x="106" y="93"/>
                    </a:lnTo>
                    <a:lnTo>
                      <a:pt x="106" y="95"/>
                    </a:lnTo>
                    <a:lnTo>
                      <a:pt x="106" y="95"/>
                    </a:lnTo>
                    <a:lnTo>
                      <a:pt x="100" y="99"/>
                    </a:lnTo>
                    <a:lnTo>
                      <a:pt x="94" y="102"/>
                    </a:lnTo>
                    <a:lnTo>
                      <a:pt x="94" y="102"/>
                    </a:lnTo>
                    <a:lnTo>
                      <a:pt x="91" y="103"/>
                    </a:lnTo>
                    <a:lnTo>
                      <a:pt x="85" y="10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38" name="Freeform 88"/>
              <p:cNvSpPr>
                <a:spLocks/>
              </p:cNvSpPr>
              <p:nvPr/>
            </p:nvSpPr>
            <p:spPr bwMode="auto">
              <a:xfrm>
                <a:off x="5980706" y="1175391"/>
                <a:ext cx="94969" cy="114754"/>
              </a:xfrm>
              <a:custGeom>
                <a:avLst/>
                <a:gdLst>
                  <a:gd name="T0" fmla="*/ 3 w 96"/>
                  <a:gd name="T1" fmla="*/ 116 h 116"/>
                  <a:gd name="T2" fmla="*/ 0 w 96"/>
                  <a:gd name="T3" fmla="*/ 110 h 116"/>
                  <a:gd name="T4" fmla="*/ 2 w 96"/>
                  <a:gd name="T5" fmla="*/ 100 h 116"/>
                  <a:gd name="T6" fmla="*/ 9 w 96"/>
                  <a:gd name="T7" fmla="*/ 81 h 116"/>
                  <a:gd name="T8" fmla="*/ 11 w 96"/>
                  <a:gd name="T9" fmla="*/ 68 h 116"/>
                  <a:gd name="T10" fmla="*/ 18 w 96"/>
                  <a:gd name="T11" fmla="*/ 58 h 116"/>
                  <a:gd name="T12" fmla="*/ 24 w 96"/>
                  <a:gd name="T13" fmla="*/ 54 h 116"/>
                  <a:gd name="T14" fmla="*/ 21 w 96"/>
                  <a:gd name="T15" fmla="*/ 44 h 116"/>
                  <a:gd name="T16" fmla="*/ 21 w 96"/>
                  <a:gd name="T17" fmla="*/ 35 h 116"/>
                  <a:gd name="T18" fmla="*/ 28 w 96"/>
                  <a:gd name="T19" fmla="*/ 32 h 116"/>
                  <a:gd name="T20" fmla="*/ 29 w 96"/>
                  <a:gd name="T21" fmla="*/ 22 h 116"/>
                  <a:gd name="T22" fmla="*/ 34 w 96"/>
                  <a:gd name="T23" fmla="*/ 15 h 116"/>
                  <a:gd name="T24" fmla="*/ 38 w 96"/>
                  <a:gd name="T25" fmla="*/ 4 h 116"/>
                  <a:gd name="T26" fmla="*/ 40 w 96"/>
                  <a:gd name="T27" fmla="*/ 10 h 116"/>
                  <a:gd name="T28" fmla="*/ 41 w 96"/>
                  <a:gd name="T29" fmla="*/ 12 h 116"/>
                  <a:gd name="T30" fmla="*/ 48 w 96"/>
                  <a:gd name="T31" fmla="*/ 2 h 116"/>
                  <a:gd name="T32" fmla="*/ 51 w 96"/>
                  <a:gd name="T33" fmla="*/ 0 h 116"/>
                  <a:gd name="T34" fmla="*/ 57 w 96"/>
                  <a:gd name="T35" fmla="*/ 4 h 116"/>
                  <a:gd name="T36" fmla="*/ 54 w 96"/>
                  <a:gd name="T37" fmla="*/ 19 h 116"/>
                  <a:gd name="T38" fmla="*/ 54 w 96"/>
                  <a:gd name="T39" fmla="*/ 28 h 116"/>
                  <a:gd name="T40" fmla="*/ 55 w 96"/>
                  <a:gd name="T41" fmla="*/ 28 h 116"/>
                  <a:gd name="T42" fmla="*/ 61 w 96"/>
                  <a:gd name="T43" fmla="*/ 18 h 116"/>
                  <a:gd name="T44" fmla="*/ 63 w 96"/>
                  <a:gd name="T45" fmla="*/ 16 h 116"/>
                  <a:gd name="T46" fmla="*/ 66 w 96"/>
                  <a:gd name="T47" fmla="*/ 19 h 116"/>
                  <a:gd name="T48" fmla="*/ 67 w 96"/>
                  <a:gd name="T49" fmla="*/ 22 h 116"/>
                  <a:gd name="T50" fmla="*/ 70 w 96"/>
                  <a:gd name="T51" fmla="*/ 19 h 116"/>
                  <a:gd name="T52" fmla="*/ 73 w 96"/>
                  <a:gd name="T53" fmla="*/ 18 h 116"/>
                  <a:gd name="T54" fmla="*/ 74 w 96"/>
                  <a:gd name="T55" fmla="*/ 26 h 116"/>
                  <a:gd name="T56" fmla="*/ 77 w 96"/>
                  <a:gd name="T57" fmla="*/ 32 h 116"/>
                  <a:gd name="T58" fmla="*/ 80 w 96"/>
                  <a:gd name="T59" fmla="*/ 32 h 116"/>
                  <a:gd name="T60" fmla="*/ 82 w 96"/>
                  <a:gd name="T61" fmla="*/ 33 h 116"/>
                  <a:gd name="T62" fmla="*/ 83 w 96"/>
                  <a:gd name="T63" fmla="*/ 39 h 116"/>
                  <a:gd name="T64" fmla="*/ 87 w 96"/>
                  <a:gd name="T65" fmla="*/ 45 h 116"/>
                  <a:gd name="T66" fmla="*/ 96 w 96"/>
                  <a:gd name="T67" fmla="*/ 55 h 116"/>
                  <a:gd name="T68" fmla="*/ 95 w 96"/>
                  <a:gd name="T69" fmla="*/ 64 h 116"/>
                  <a:gd name="T70" fmla="*/ 90 w 96"/>
                  <a:gd name="T71" fmla="*/ 84 h 116"/>
                  <a:gd name="T72" fmla="*/ 83 w 96"/>
                  <a:gd name="T73" fmla="*/ 91 h 116"/>
                  <a:gd name="T74" fmla="*/ 69 w 96"/>
                  <a:gd name="T75" fmla="*/ 94 h 116"/>
                  <a:gd name="T76" fmla="*/ 60 w 96"/>
                  <a:gd name="T77" fmla="*/ 96 h 116"/>
                  <a:gd name="T78" fmla="*/ 53 w 96"/>
                  <a:gd name="T79" fmla="*/ 103 h 116"/>
                  <a:gd name="T80" fmla="*/ 50 w 96"/>
                  <a:gd name="T81" fmla="*/ 100 h 116"/>
                  <a:gd name="T82" fmla="*/ 50 w 96"/>
                  <a:gd name="T83" fmla="*/ 97 h 116"/>
                  <a:gd name="T84" fmla="*/ 42 w 96"/>
                  <a:gd name="T85" fmla="*/ 99 h 116"/>
                  <a:gd name="T86" fmla="*/ 40 w 96"/>
                  <a:gd name="T87" fmla="*/ 99 h 116"/>
                  <a:gd name="T88" fmla="*/ 32 w 96"/>
                  <a:gd name="T89" fmla="*/ 99 h 116"/>
                  <a:gd name="T90" fmla="*/ 18 w 96"/>
                  <a:gd name="T91" fmla="*/ 109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6" h="116">
                    <a:moveTo>
                      <a:pt x="5" y="116"/>
                    </a:moveTo>
                    <a:lnTo>
                      <a:pt x="5" y="116"/>
                    </a:lnTo>
                    <a:lnTo>
                      <a:pt x="3" y="116"/>
                    </a:lnTo>
                    <a:lnTo>
                      <a:pt x="3" y="116"/>
                    </a:lnTo>
                    <a:lnTo>
                      <a:pt x="0" y="113"/>
                    </a:lnTo>
                    <a:lnTo>
                      <a:pt x="0" y="110"/>
                    </a:lnTo>
                    <a:lnTo>
                      <a:pt x="0" y="106"/>
                    </a:lnTo>
                    <a:lnTo>
                      <a:pt x="2" y="100"/>
                    </a:lnTo>
                    <a:lnTo>
                      <a:pt x="2" y="100"/>
                    </a:lnTo>
                    <a:lnTo>
                      <a:pt x="8" y="93"/>
                    </a:lnTo>
                    <a:lnTo>
                      <a:pt x="9" y="89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9" y="74"/>
                    </a:lnTo>
                    <a:lnTo>
                      <a:pt x="11" y="68"/>
                    </a:lnTo>
                    <a:lnTo>
                      <a:pt x="15" y="61"/>
                    </a:lnTo>
                    <a:lnTo>
                      <a:pt x="15" y="61"/>
                    </a:lnTo>
                    <a:lnTo>
                      <a:pt x="18" y="58"/>
                    </a:lnTo>
                    <a:lnTo>
                      <a:pt x="21" y="57"/>
                    </a:lnTo>
                    <a:lnTo>
                      <a:pt x="24" y="55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49"/>
                    </a:lnTo>
                    <a:lnTo>
                      <a:pt x="21" y="44"/>
                    </a:lnTo>
                    <a:lnTo>
                      <a:pt x="19" y="38"/>
                    </a:lnTo>
                    <a:lnTo>
                      <a:pt x="19" y="36"/>
                    </a:lnTo>
                    <a:lnTo>
                      <a:pt x="21" y="35"/>
                    </a:lnTo>
                    <a:lnTo>
                      <a:pt x="21" y="35"/>
                    </a:lnTo>
                    <a:lnTo>
                      <a:pt x="25" y="33"/>
                    </a:lnTo>
                    <a:lnTo>
                      <a:pt x="28" y="32"/>
                    </a:lnTo>
                    <a:lnTo>
                      <a:pt x="28" y="31"/>
                    </a:lnTo>
                    <a:lnTo>
                      <a:pt x="28" y="31"/>
                    </a:lnTo>
                    <a:lnTo>
                      <a:pt x="29" y="22"/>
                    </a:lnTo>
                    <a:lnTo>
                      <a:pt x="32" y="18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7" y="9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10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45" y="4"/>
                    </a:lnTo>
                    <a:lnTo>
                      <a:pt x="48" y="2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55" y="3"/>
                    </a:lnTo>
                    <a:lnTo>
                      <a:pt x="57" y="4"/>
                    </a:lnTo>
                    <a:lnTo>
                      <a:pt x="57" y="7"/>
                    </a:lnTo>
                    <a:lnTo>
                      <a:pt x="57" y="7"/>
                    </a:lnTo>
                    <a:lnTo>
                      <a:pt x="54" y="19"/>
                    </a:lnTo>
                    <a:lnTo>
                      <a:pt x="53" y="25"/>
                    </a:lnTo>
                    <a:lnTo>
                      <a:pt x="54" y="28"/>
                    </a:lnTo>
                    <a:lnTo>
                      <a:pt x="54" y="28"/>
                    </a:lnTo>
                    <a:lnTo>
                      <a:pt x="54" y="28"/>
                    </a:lnTo>
                    <a:lnTo>
                      <a:pt x="55" y="28"/>
                    </a:lnTo>
                    <a:lnTo>
                      <a:pt x="55" y="28"/>
                    </a:lnTo>
                    <a:lnTo>
                      <a:pt x="58" y="25"/>
                    </a:lnTo>
                    <a:lnTo>
                      <a:pt x="60" y="20"/>
                    </a:lnTo>
                    <a:lnTo>
                      <a:pt x="61" y="18"/>
                    </a:lnTo>
                    <a:lnTo>
                      <a:pt x="63" y="16"/>
                    </a:lnTo>
                    <a:lnTo>
                      <a:pt x="63" y="16"/>
                    </a:lnTo>
                    <a:lnTo>
                      <a:pt x="63" y="16"/>
                    </a:lnTo>
                    <a:lnTo>
                      <a:pt x="63" y="16"/>
                    </a:lnTo>
                    <a:lnTo>
                      <a:pt x="64" y="16"/>
                    </a:lnTo>
                    <a:lnTo>
                      <a:pt x="66" y="19"/>
                    </a:lnTo>
                    <a:lnTo>
                      <a:pt x="67" y="22"/>
                    </a:lnTo>
                    <a:lnTo>
                      <a:pt x="67" y="22"/>
                    </a:lnTo>
                    <a:lnTo>
                      <a:pt x="67" y="22"/>
                    </a:lnTo>
                    <a:lnTo>
                      <a:pt x="69" y="22"/>
                    </a:lnTo>
                    <a:lnTo>
                      <a:pt x="69" y="22"/>
                    </a:lnTo>
                    <a:lnTo>
                      <a:pt x="70" y="19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6" y="31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80" y="32"/>
                    </a:lnTo>
                    <a:lnTo>
                      <a:pt x="80" y="32"/>
                    </a:lnTo>
                    <a:lnTo>
                      <a:pt x="82" y="32"/>
                    </a:lnTo>
                    <a:lnTo>
                      <a:pt x="82" y="33"/>
                    </a:lnTo>
                    <a:lnTo>
                      <a:pt x="83" y="36"/>
                    </a:lnTo>
                    <a:lnTo>
                      <a:pt x="83" y="36"/>
                    </a:lnTo>
                    <a:lnTo>
                      <a:pt x="83" y="39"/>
                    </a:lnTo>
                    <a:lnTo>
                      <a:pt x="82" y="39"/>
                    </a:lnTo>
                    <a:lnTo>
                      <a:pt x="82" y="41"/>
                    </a:lnTo>
                    <a:lnTo>
                      <a:pt x="87" y="45"/>
                    </a:lnTo>
                    <a:lnTo>
                      <a:pt x="87" y="45"/>
                    </a:lnTo>
                    <a:lnTo>
                      <a:pt x="93" y="51"/>
                    </a:lnTo>
                    <a:lnTo>
                      <a:pt x="96" y="55"/>
                    </a:lnTo>
                    <a:lnTo>
                      <a:pt x="96" y="60"/>
                    </a:lnTo>
                    <a:lnTo>
                      <a:pt x="95" y="64"/>
                    </a:lnTo>
                    <a:lnTo>
                      <a:pt x="95" y="64"/>
                    </a:lnTo>
                    <a:lnTo>
                      <a:pt x="95" y="75"/>
                    </a:lnTo>
                    <a:lnTo>
                      <a:pt x="92" y="81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84" y="89"/>
                    </a:lnTo>
                    <a:lnTo>
                      <a:pt x="83" y="91"/>
                    </a:lnTo>
                    <a:lnTo>
                      <a:pt x="79" y="93"/>
                    </a:lnTo>
                    <a:lnTo>
                      <a:pt x="79" y="93"/>
                    </a:lnTo>
                    <a:lnTo>
                      <a:pt x="69" y="94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55" y="100"/>
                    </a:lnTo>
                    <a:lnTo>
                      <a:pt x="53" y="103"/>
                    </a:lnTo>
                    <a:lnTo>
                      <a:pt x="53" y="103"/>
                    </a:lnTo>
                    <a:lnTo>
                      <a:pt x="51" y="102"/>
                    </a:lnTo>
                    <a:lnTo>
                      <a:pt x="51" y="102"/>
                    </a:lnTo>
                    <a:lnTo>
                      <a:pt x="50" y="100"/>
                    </a:lnTo>
                    <a:lnTo>
                      <a:pt x="50" y="99"/>
                    </a:lnTo>
                    <a:lnTo>
                      <a:pt x="50" y="97"/>
                    </a:lnTo>
                    <a:lnTo>
                      <a:pt x="50" y="97"/>
                    </a:lnTo>
                    <a:lnTo>
                      <a:pt x="48" y="99"/>
                    </a:lnTo>
                    <a:lnTo>
                      <a:pt x="48" y="99"/>
                    </a:lnTo>
                    <a:lnTo>
                      <a:pt x="42" y="99"/>
                    </a:lnTo>
                    <a:lnTo>
                      <a:pt x="42" y="99"/>
                    </a:lnTo>
                    <a:lnTo>
                      <a:pt x="40" y="99"/>
                    </a:lnTo>
                    <a:lnTo>
                      <a:pt x="40" y="99"/>
                    </a:lnTo>
                    <a:lnTo>
                      <a:pt x="37" y="99"/>
                    </a:lnTo>
                    <a:lnTo>
                      <a:pt x="37" y="99"/>
                    </a:lnTo>
                    <a:lnTo>
                      <a:pt x="32" y="99"/>
                    </a:lnTo>
                    <a:lnTo>
                      <a:pt x="29" y="100"/>
                    </a:lnTo>
                    <a:lnTo>
                      <a:pt x="29" y="100"/>
                    </a:lnTo>
                    <a:lnTo>
                      <a:pt x="18" y="109"/>
                    </a:lnTo>
                    <a:lnTo>
                      <a:pt x="11" y="115"/>
                    </a:lnTo>
                    <a:lnTo>
                      <a:pt x="5" y="1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39" name="Freeform 89"/>
              <p:cNvSpPr>
                <a:spLocks/>
              </p:cNvSpPr>
              <p:nvPr/>
            </p:nvSpPr>
            <p:spPr bwMode="auto">
              <a:xfrm>
                <a:off x="5980706" y="1175391"/>
                <a:ext cx="94969" cy="114754"/>
              </a:xfrm>
              <a:custGeom>
                <a:avLst/>
                <a:gdLst>
                  <a:gd name="T0" fmla="*/ 3 w 96"/>
                  <a:gd name="T1" fmla="*/ 116 h 116"/>
                  <a:gd name="T2" fmla="*/ 0 w 96"/>
                  <a:gd name="T3" fmla="*/ 110 h 116"/>
                  <a:gd name="T4" fmla="*/ 2 w 96"/>
                  <a:gd name="T5" fmla="*/ 100 h 116"/>
                  <a:gd name="T6" fmla="*/ 9 w 96"/>
                  <a:gd name="T7" fmla="*/ 81 h 116"/>
                  <a:gd name="T8" fmla="*/ 11 w 96"/>
                  <a:gd name="T9" fmla="*/ 68 h 116"/>
                  <a:gd name="T10" fmla="*/ 18 w 96"/>
                  <a:gd name="T11" fmla="*/ 58 h 116"/>
                  <a:gd name="T12" fmla="*/ 24 w 96"/>
                  <a:gd name="T13" fmla="*/ 54 h 116"/>
                  <a:gd name="T14" fmla="*/ 21 w 96"/>
                  <a:gd name="T15" fmla="*/ 44 h 116"/>
                  <a:gd name="T16" fmla="*/ 21 w 96"/>
                  <a:gd name="T17" fmla="*/ 35 h 116"/>
                  <a:gd name="T18" fmla="*/ 28 w 96"/>
                  <a:gd name="T19" fmla="*/ 32 h 116"/>
                  <a:gd name="T20" fmla="*/ 29 w 96"/>
                  <a:gd name="T21" fmla="*/ 22 h 116"/>
                  <a:gd name="T22" fmla="*/ 34 w 96"/>
                  <a:gd name="T23" fmla="*/ 15 h 116"/>
                  <a:gd name="T24" fmla="*/ 38 w 96"/>
                  <a:gd name="T25" fmla="*/ 4 h 116"/>
                  <a:gd name="T26" fmla="*/ 40 w 96"/>
                  <a:gd name="T27" fmla="*/ 10 h 116"/>
                  <a:gd name="T28" fmla="*/ 41 w 96"/>
                  <a:gd name="T29" fmla="*/ 12 h 116"/>
                  <a:gd name="T30" fmla="*/ 48 w 96"/>
                  <a:gd name="T31" fmla="*/ 2 h 116"/>
                  <a:gd name="T32" fmla="*/ 51 w 96"/>
                  <a:gd name="T33" fmla="*/ 0 h 116"/>
                  <a:gd name="T34" fmla="*/ 57 w 96"/>
                  <a:gd name="T35" fmla="*/ 4 h 116"/>
                  <a:gd name="T36" fmla="*/ 54 w 96"/>
                  <a:gd name="T37" fmla="*/ 19 h 116"/>
                  <a:gd name="T38" fmla="*/ 54 w 96"/>
                  <a:gd name="T39" fmla="*/ 28 h 116"/>
                  <a:gd name="T40" fmla="*/ 55 w 96"/>
                  <a:gd name="T41" fmla="*/ 28 h 116"/>
                  <a:gd name="T42" fmla="*/ 61 w 96"/>
                  <a:gd name="T43" fmla="*/ 18 h 116"/>
                  <a:gd name="T44" fmla="*/ 63 w 96"/>
                  <a:gd name="T45" fmla="*/ 16 h 116"/>
                  <a:gd name="T46" fmla="*/ 66 w 96"/>
                  <a:gd name="T47" fmla="*/ 19 h 116"/>
                  <a:gd name="T48" fmla="*/ 67 w 96"/>
                  <a:gd name="T49" fmla="*/ 22 h 116"/>
                  <a:gd name="T50" fmla="*/ 70 w 96"/>
                  <a:gd name="T51" fmla="*/ 19 h 116"/>
                  <a:gd name="T52" fmla="*/ 73 w 96"/>
                  <a:gd name="T53" fmla="*/ 18 h 116"/>
                  <a:gd name="T54" fmla="*/ 74 w 96"/>
                  <a:gd name="T55" fmla="*/ 26 h 116"/>
                  <a:gd name="T56" fmla="*/ 77 w 96"/>
                  <a:gd name="T57" fmla="*/ 32 h 116"/>
                  <a:gd name="T58" fmla="*/ 80 w 96"/>
                  <a:gd name="T59" fmla="*/ 32 h 116"/>
                  <a:gd name="T60" fmla="*/ 82 w 96"/>
                  <a:gd name="T61" fmla="*/ 33 h 116"/>
                  <a:gd name="T62" fmla="*/ 83 w 96"/>
                  <a:gd name="T63" fmla="*/ 39 h 116"/>
                  <a:gd name="T64" fmla="*/ 87 w 96"/>
                  <a:gd name="T65" fmla="*/ 45 h 116"/>
                  <a:gd name="T66" fmla="*/ 96 w 96"/>
                  <a:gd name="T67" fmla="*/ 55 h 116"/>
                  <a:gd name="T68" fmla="*/ 95 w 96"/>
                  <a:gd name="T69" fmla="*/ 64 h 116"/>
                  <a:gd name="T70" fmla="*/ 90 w 96"/>
                  <a:gd name="T71" fmla="*/ 84 h 116"/>
                  <a:gd name="T72" fmla="*/ 83 w 96"/>
                  <a:gd name="T73" fmla="*/ 91 h 116"/>
                  <a:gd name="T74" fmla="*/ 69 w 96"/>
                  <a:gd name="T75" fmla="*/ 94 h 116"/>
                  <a:gd name="T76" fmla="*/ 60 w 96"/>
                  <a:gd name="T77" fmla="*/ 96 h 116"/>
                  <a:gd name="T78" fmla="*/ 53 w 96"/>
                  <a:gd name="T79" fmla="*/ 103 h 116"/>
                  <a:gd name="T80" fmla="*/ 50 w 96"/>
                  <a:gd name="T81" fmla="*/ 100 h 116"/>
                  <a:gd name="T82" fmla="*/ 50 w 96"/>
                  <a:gd name="T83" fmla="*/ 97 h 116"/>
                  <a:gd name="T84" fmla="*/ 42 w 96"/>
                  <a:gd name="T85" fmla="*/ 99 h 116"/>
                  <a:gd name="T86" fmla="*/ 40 w 96"/>
                  <a:gd name="T87" fmla="*/ 99 h 116"/>
                  <a:gd name="T88" fmla="*/ 32 w 96"/>
                  <a:gd name="T89" fmla="*/ 99 h 116"/>
                  <a:gd name="T90" fmla="*/ 18 w 96"/>
                  <a:gd name="T91" fmla="*/ 109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6" h="116">
                    <a:moveTo>
                      <a:pt x="5" y="116"/>
                    </a:moveTo>
                    <a:lnTo>
                      <a:pt x="5" y="116"/>
                    </a:lnTo>
                    <a:lnTo>
                      <a:pt x="3" y="116"/>
                    </a:lnTo>
                    <a:lnTo>
                      <a:pt x="3" y="116"/>
                    </a:lnTo>
                    <a:lnTo>
                      <a:pt x="0" y="113"/>
                    </a:lnTo>
                    <a:lnTo>
                      <a:pt x="0" y="110"/>
                    </a:lnTo>
                    <a:lnTo>
                      <a:pt x="0" y="106"/>
                    </a:lnTo>
                    <a:lnTo>
                      <a:pt x="2" y="100"/>
                    </a:lnTo>
                    <a:lnTo>
                      <a:pt x="2" y="100"/>
                    </a:lnTo>
                    <a:lnTo>
                      <a:pt x="8" y="93"/>
                    </a:lnTo>
                    <a:lnTo>
                      <a:pt x="9" y="89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9" y="74"/>
                    </a:lnTo>
                    <a:lnTo>
                      <a:pt x="11" y="68"/>
                    </a:lnTo>
                    <a:lnTo>
                      <a:pt x="15" y="61"/>
                    </a:lnTo>
                    <a:lnTo>
                      <a:pt x="15" y="61"/>
                    </a:lnTo>
                    <a:lnTo>
                      <a:pt x="18" y="58"/>
                    </a:lnTo>
                    <a:lnTo>
                      <a:pt x="21" y="57"/>
                    </a:lnTo>
                    <a:lnTo>
                      <a:pt x="24" y="55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49"/>
                    </a:lnTo>
                    <a:lnTo>
                      <a:pt x="21" y="44"/>
                    </a:lnTo>
                    <a:lnTo>
                      <a:pt x="19" y="38"/>
                    </a:lnTo>
                    <a:lnTo>
                      <a:pt x="19" y="36"/>
                    </a:lnTo>
                    <a:lnTo>
                      <a:pt x="21" y="35"/>
                    </a:lnTo>
                    <a:lnTo>
                      <a:pt x="21" y="35"/>
                    </a:lnTo>
                    <a:lnTo>
                      <a:pt x="25" y="33"/>
                    </a:lnTo>
                    <a:lnTo>
                      <a:pt x="28" y="32"/>
                    </a:lnTo>
                    <a:lnTo>
                      <a:pt x="28" y="31"/>
                    </a:lnTo>
                    <a:lnTo>
                      <a:pt x="28" y="31"/>
                    </a:lnTo>
                    <a:lnTo>
                      <a:pt x="29" y="22"/>
                    </a:lnTo>
                    <a:lnTo>
                      <a:pt x="32" y="18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7" y="9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10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45" y="4"/>
                    </a:lnTo>
                    <a:lnTo>
                      <a:pt x="48" y="2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55" y="3"/>
                    </a:lnTo>
                    <a:lnTo>
                      <a:pt x="57" y="4"/>
                    </a:lnTo>
                    <a:lnTo>
                      <a:pt x="57" y="7"/>
                    </a:lnTo>
                    <a:lnTo>
                      <a:pt x="57" y="7"/>
                    </a:lnTo>
                    <a:lnTo>
                      <a:pt x="54" y="19"/>
                    </a:lnTo>
                    <a:lnTo>
                      <a:pt x="53" y="25"/>
                    </a:lnTo>
                    <a:lnTo>
                      <a:pt x="54" y="28"/>
                    </a:lnTo>
                    <a:lnTo>
                      <a:pt x="54" y="28"/>
                    </a:lnTo>
                    <a:lnTo>
                      <a:pt x="54" y="28"/>
                    </a:lnTo>
                    <a:lnTo>
                      <a:pt x="55" y="28"/>
                    </a:lnTo>
                    <a:lnTo>
                      <a:pt x="55" y="28"/>
                    </a:lnTo>
                    <a:lnTo>
                      <a:pt x="58" y="25"/>
                    </a:lnTo>
                    <a:lnTo>
                      <a:pt x="60" y="20"/>
                    </a:lnTo>
                    <a:lnTo>
                      <a:pt x="61" y="18"/>
                    </a:lnTo>
                    <a:lnTo>
                      <a:pt x="63" y="16"/>
                    </a:lnTo>
                    <a:lnTo>
                      <a:pt x="63" y="16"/>
                    </a:lnTo>
                    <a:lnTo>
                      <a:pt x="63" y="16"/>
                    </a:lnTo>
                    <a:lnTo>
                      <a:pt x="63" y="16"/>
                    </a:lnTo>
                    <a:lnTo>
                      <a:pt x="64" y="16"/>
                    </a:lnTo>
                    <a:lnTo>
                      <a:pt x="66" y="19"/>
                    </a:lnTo>
                    <a:lnTo>
                      <a:pt x="67" y="22"/>
                    </a:lnTo>
                    <a:lnTo>
                      <a:pt x="67" y="22"/>
                    </a:lnTo>
                    <a:lnTo>
                      <a:pt x="67" y="22"/>
                    </a:lnTo>
                    <a:lnTo>
                      <a:pt x="69" y="22"/>
                    </a:lnTo>
                    <a:lnTo>
                      <a:pt x="69" y="22"/>
                    </a:lnTo>
                    <a:lnTo>
                      <a:pt x="70" y="19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6" y="31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80" y="32"/>
                    </a:lnTo>
                    <a:lnTo>
                      <a:pt x="80" y="32"/>
                    </a:lnTo>
                    <a:lnTo>
                      <a:pt x="82" y="32"/>
                    </a:lnTo>
                    <a:lnTo>
                      <a:pt x="82" y="33"/>
                    </a:lnTo>
                    <a:lnTo>
                      <a:pt x="83" y="36"/>
                    </a:lnTo>
                    <a:lnTo>
                      <a:pt x="83" y="36"/>
                    </a:lnTo>
                    <a:lnTo>
                      <a:pt x="83" y="39"/>
                    </a:lnTo>
                    <a:lnTo>
                      <a:pt x="82" y="39"/>
                    </a:lnTo>
                    <a:lnTo>
                      <a:pt x="82" y="41"/>
                    </a:lnTo>
                    <a:lnTo>
                      <a:pt x="87" y="45"/>
                    </a:lnTo>
                    <a:lnTo>
                      <a:pt x="87" y="45"/>
                    </a:lnTo>
                    <a:lnTo>
                      <a:pt x="93" y="51"/>
                    </a:lnTo>
                    <a:lnTo>
                      <a:pt x="96" y="55"/>
                    </a:lnTo>
                    <a:lnTo>
                      <a:pt x="96" y="60"/>
                    </a:lnTo>
                    <a:lnTo>
                      <a:pt x="95" y="64"/>
                    </a:lnTo>
                    <a:lnTo>
                      <a:pt x="95" y="64"/>
                    </a:lnTo>
                    <a:lnTo>
                      <a:pt x="95" y="75"/>
                    </a:lnTo>
                    <a:lnTo>
                      <a:pt x="92" y="81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84" y="89"/>
                    </a:lnTo>
                    <a:lnTo>
                      <a:pt x="83" y="91"/>
                    </a:lnTo>
                    <a:lnTo>
                      <a:pt x="79" y="93"/>
                    </a:lnTo>
                    <a:lnTo>
                      <a:pt x="79" y="93"/>
                    </a:lnTo>
                    <a:lnTo>
                      <a:pt x="69" y="94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55" y="100"/>
                    </a:lnTo>
                    <a:lnTo>
                      <a:pt x="53" y="103"/>
                    </a:lnTo>
                    <a:lnTo>
                      <a:pt x="53" y="103"/>
                    </a:lnTo>
                    <a:lnTo>
                      <a:pt x="51" y="102"/>
                    </a:lnTo>
                    <a:lnTo>
                      <a:pt x="51" y="102"/>
                    </a:lnTo>
                    <a:lnTo>
                      <a:pt x="50" y="100"/>
                    </a:lnTo>
                    <a:lnTo>
                      <a:pt x="50" y="99"/>
                    </a:lnTo>
                    <a:lnTo>
                      <a:pt x="50" y="97"/>
                    </a:lnTo>
                    <a:lnTo>
                      <a:pt x="50" y="97"/>
                    </a:lnTo>
                    <a:lnTo>
                      <a:pt x="48" y="99"/>
                    </a:lnTo>
                    <a:lnTo>
                      <a:pt x="48" y="99"/>
                    </a:lnTo>
                    <a:lnTo>
                      <a:pt x="42" y="99"/>
                    </a:lnTo>
                    <a:lnTo>
                      <a:pt x="42" y="99"/>
                    </a:lnTo>
                    <a:lnTo>
                      <a:pt x="40" y="99"/>
                    </a:lnTo>
                    <a:lnTo>
                      <a:pt x="40" y="99"/>
                    </a:lnTo>
                    <a:lnTo>
                      <a:pt x="37" y="99"/>
                    </a:lnTo>
                    <a:lnTo>
                      <a:pt x="37" y="99"/>
                    </a:lnTo>
                    <a:lnTo>
                      <a:pt x="32" y="99"/>
                    </a:lnTo>
                    <a:lnTo>
                      <a:pt x="29" y="100"/>
                    </a:lnTo>
                    <a:lnTo>
                      <a:pt x="29" y="100"/>
                    </a:lnTo>
                    <a:lnTo>
                      <a:pt x="18" y="109"/>
                    </a:lnTo>
                    <a:lnTo>
                      <a:pt x="11" y="115"/>
                    </a:lnTo>
                    <a:lnTo>
                      <a:pt x="5" y="1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40" name="Freeform 90"/>
              <p:cNvSpPr>
                <a:spLocks/>
              </p:cNvSpPr>
              <p:nvPr/>
            </p:nvSpPr>
            <p:spPr bwMode="auto">
              <a:xfrm>
                <a:off x="6092493" y="1274317"/>
                <a:ext cx="15828" cy="6925"/>
              </a:xfrm>
              <a:custGeom>
                <a:avLst/>
                <a:gdLst>
                  <a:gd name="T0" fmla="*/ 15 w 16"/>
                  <a:gd name="T1" fmla="*/ 6 h 7"/>
                  <a:gd name="T2" fmla="*/ 15 w 16"/>
                  <a:gd name="T3" fmla="*/ 6 h 7"/>
                  <a:gd name="T4" fmla="*/ 13 w 16"/>
                  <a:gd name="T5" fmla="*/ 7 h 7"/>
                  <a:gd name="T6" fmla="*/ 11 w 16"/>
                  <a:gd name="T7" fmla="*/ 7 h 7"/>
                  <a:gd name="T8" fmla="*/ 5 w 16"/>
                  <a:gd name="T9" fmla="*/ 6 h 7"/>
                  <a:gd name="T10" fmla="*/ 2 w 16"/>
                  <a:gd name="T11" fmla="*/ 4 h 7"/>
                  <a:gd name="T12" fmla="*/ 0 w 16"/>
                  <a:gd name="T13" fmla="*/ 3 h 7"/>
                  <a:gd name="T14" fmla="*/ 0 w 16"/>
                  <a:gd name="T15" fmla="*/ 2 h 7"/>
                  <a:gd name="T16" fmla="*/ 0 w 16"/>
                  <a:gd name="T17" fmla="*/ 2 h 7"/>
                  <a:gd name="T18" fmla="*/ 3 w 16"/>
                  <a:gd name="T19" fmla="*/ 0 h 7"/>
                  <a:gd name="T20" fmla="*/ 5 w 16"/>
                  <a:gd name="T21" fmla="*/ 0 h 7"/>
                  <a:gd name="T22" fmla="*/ 11 w 16"/>
                  <a:gd name="T23" fmla="*/ 0 h 7"/>
                  <a:gd name="T24" fmla="*/ 11 w 16"/>
                  <a:gd name="T25" fmla="*/ 0 h 7"/>
                  <a:gd name="T26" fmla="*/ 12 w 16"/>
                  <a:gd name="T27" fmla="*/ 0 h 7"/>
                  <a:gd name="T28" fmla="*/ 15 w 16"/>
                  <a:gd name="T29" fmla="*/ 2 h 7"/>
                  <a:gd name="T30" fmla="*/ 16 w 16"/>
                  <a:gd name="T31" fmla="*/ 3 h 7"/>
                  <a:gd name="T32" fmla="*/ 15 w 16"/>
                  <a:gd name="T3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7">
                    <a:moveTo>
                      <a:pt x="15" y="6"/>
                    </a:moveTo>
                    <a:lnTo>
                      <a:pt x="15" y="6"/>
                    </a:lnTo>
                    <a:lnTo>
                      <a:pt x="13" y="7"/>
                    </a:lnTo>
                    <a:lnTo>
                      <a:pt x="11" y="7"/>
                    </a:lnTo>
                    <a:lnTo>
                      <a:pt x="5" y="6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3"/>
                    </a:lnTo>
                    <a:lnTo>
                      <a:pt x="15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41" name="Freeform 91"/>
              <p:cNvSpPr>
                <a:spLocks/>
              </p:cNvSpPr>
              <p:nvPr/>
            </p:nvSpPr>
            <p:spPr bwMode="auto">
              <a:xfrm>
                <a:off x="6092493" y="1274317"/>
                <a:ext cx="15828" cy="6925"/>
              </a:xfrm>
              <a:custGeom>
                <a:avLst/>
                <a:gdLst>
                  <a:gd name="T0" fmla="*/ 15 w 16"/>
                  <a:gd name="T1" fmla="*/ 6 h 7"/>
                  <a:gd name="T2" fmla="*/ 15 w 16"/>
                  <a:gd name="T3" fmla="*/ 6 h 7"/>
                  <a:gd name="T4" fmla="*/ 13 w 16"/>
                  <a:gd name="T5" fmla="*/ 7 h 7"/>
                  <a:gd name="T6" fmla="*/ 11 w 16"/>
                  <a:gd name="T7" fmla="*/ 7 h 7"/>
                  <a:gd name="T8" fmla="*/ 5 w 16"/>
                  <a:gd name="T9" fmla="*/ 6 h 7"/>
                  <a:gd name="T10" fmla="*/ 2 w 16"/>
                  <a:gd name="T11" fmla="*/ 4 h 7"/>
                  <a:gd name="T12" fmla="*/ 0 w 16"/>
                  <a:gd name="T13" fmla="*/ 3 h 7"/>
                  <a:gd name="T14" fmla="*/ 0 w 16"/>
                  <a:gd name="T15" fmla="*/ 2 h 7"/>
                  <a:gd name="T16" fmla="*/ 0 w 16"/>
                  <a:gd name="T17" fmla="*/ 2 h 7"/>
                  <a:gd name="T18" fmla="*/ 3 w 16"/>
                  <a:gd name="T19" fmla="*/ 0 h 7"/>
                  <a:gd name="T20" fmla="*/ 5 w 16"/>
                  <a:gd name="T21" fmla="*/ 0 h 7"/>
                  <a:gd name="T22" fmla="*/ 11 w 16"/>
                  <a:gd name="T23" fmla="*/ 0 h 7"/>
                  <a:gd name="T24" fmla="*/ 11 w 16"/>
                  <a:gd name="T25" fmla="*/ 0 h 7"/>
                  <a:gd name="T26" fmla="*/ 12 w 16"/>
                  <a:gd name="T27" fmla="*/ 0 h 7"/>
                  <a:gd name="T28" fmla="*/ 15 w 16"/>
                  <a:gd name="T29" fmla="*/ 2 h 7"/>
                  <a:gd name="T30" fmla="*/ 16 w 16"/>
                  <a:gd name="T31" fmla="*/ 3 h 7"/>
                  <a:gd name="T32" fmla="*/ 15 w 16"/>
                  <a:gd name="T3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7">
                    <a:moveTo>
                      <a:pt x="15" y="6"/>
                    </a:moveTo>
                    <a:lnTo>
                      <a:pt x="15" y="6"/>
                    </a:lnTo>
                    <a:lnTo>
                      <a:pt x="13" y="7"/>
                    </a:lnTo>
                    <a:lnTo>
                      <a:pt x="11" y="7"/>
                    </a:lnTo>
                    <a:lnTo>
                      <a:pt x="5" y="6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3"/>
                    </a:lnTo>
                    <a:lnTo>
                      <a:pt x="15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32" name="Freeform 283"/>
              <p:cNvSpPr>
                <a:spLocks/>
              </p:cNvSpPr>
              <p:nvPr/>
            </p:nvSpPr>
            <p:spPr bwMode="auto">
              <a:xfrm>
                <a:off x="5819456" y="2861089"/>
                <a:ext cx="54409" cy="28689"/>
              </a:xfrm>
              <a:custGeom>
                <a:avLst/>
                <a:gdLst>
                  <a:gd name="T0" fmla="*/ 23 w 55"/>
                  <a:gd name="T1" fmla="*/ 29 h 29"/>
                  <a:gd name="T2" fmla="*/ 23 w 55"/>
                  <a:gd name="T3" fmla="*/ 29 h 29"/>
                  <a:gd name="T4" fmla="*/ 17 w 55"/>
                  <a:gd name="T5" fmla="*/ 27 h 29"/>
                  <a:gd name="T6" fmla="*/ 7 w 55"/>
                  <a:gd name="T7" fmla="*/ 24 h 29"/>
                  <a:gd name="T8" fmla="*/ 7 w 55"/>
                  <a:gd name="T9" fmla="*/ 24 h 29"/>
                  <a:gd name="T10" fmla="*/ 4 w 55"/>
                  <a:gd name="T11" fmla="*/ 21 h 29"/>
                  <a:gd name="T12" fmla="*/ 1 w 55"/>
                  <a:gd name="T13" fmla="*/ 18 h 29"/>
                  <a:gd name="T14" fmla="*/ 1 w 55"/>
                  <a:gd name="T15" fmla="*/ 18 h 29"/>
                  <a:gd name="T16" fmla="*/ 0 w 55"/>
                  <a:gd name="T17" fmla="*/ 20 h 29"/>
                  <a:gd name="T18" fmla="*/ 0 w 55"/>
                  <a:gd name="T19" fmla="*/ 20 h 29"/>
                  <a:gd name="T20" fmla="*/ 0 w 55"/>
                  <a:gd name="T21" fmla="*/ 13 h 29"/>
                  <a:gd name="T22" fmla="*/ 3 w 55"/>
                  <a:gd name="T23" fmla="*/ 1 h 29"/>
                  <a:gd name="T24" fmla="*/ 3 w 55"/>
                  <a:gd name="T25" fmla="*/ 1 h 29"/>
                  <a:gd name="T26" fmla="*/ 20 w 55"/>
                  <a:gd name="T27" fmla="*/ 0 h 29"/>
                  <a:gd name="T28" fmla="*/ 20 w 55"/>
                  <a:gd name="T29" fmla="*/ 0 h 29"/>
                  <a:gd name="T30" fmla="*/ 30 w 55"/>
                  <a:gd name="T31" fmla="*/ 0 h 29"/>
                  <a:gd name="T32" fmla="*/ 37 w 55"/>
                  <a:gd name="T33" fmla="*/ 1 h 29"/>
                  <a:gd name="T34" fmla="*/ 37 w 55"/>
                  <a:gd name="T35" fmla="*/ 1 h 29"/>
                  <a:gd name="T36" fmla="*/ 43 w 55"/>
                  <a:gd name="T37" fmla="*/ 1 h 29"/>
                  <a:gd name="T38" fmla="*/ 43 w 55"/>
                  <a:gd name="T39" fmla="*/ 1 h 29"/>
                  <a:gd name="T40" fmla="*/ 48 w 55"/>
                  <a:gd name="T41" fmla="*/ 1 h 29"/>
                  <a:gd name="T42" fmla="*/ 48 w 55"/>
                  <a:gd name="T43" fmla="*/ 1 h 29"/>
                  <a:gd name="T44" fmla="*/ 53 w 55"/>
                  <a:gd name="T45" fmla="*/ 8 h 29"/>
                  <a:gd name="T46" fmla="*/ 55 w 55"/>
                  <a:gd name="T47" fmla="*/ 14 h 29"/>
                  <a:gd name="T48" fmla="*/ 55 w 55"/>
                  <a:gd name="T49" fmla="*/ 14 h 29"/>
                  <a:gd name="T50" fmla="*/ 53 w 55"/>
                  <a:gd name="T51" fmla="*/ 21 h 29"/>
                  <a:gd name="T52" fmla="*/ 50 w 55"/>
                  <a:gd name="T53" fmla="*/ 24 h 29"/>
                  <a:gd name="T54" fmla="*/ 48 w 55"/>
                  <a:gd name="T55" fmla="*/ 26 h 29"/>
                  <a:gd name="T56" fmla="*/ 48 w 55"/>
                  <a:gd name="T57" fmla="*/ 26 h 29"/>
                  <a:gd name="T58" fmla="*/ 23 w 55"/>
                  <a:gd name="T5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5" h="29">
                    <a:moveTo>
                      <a:pt x="23" y="29"/>
                    </a:moveTo>
                    <a:lnTo>
                      <a:pt x="23" y="29"/>
                    </a:lnTo>
                    <a:lnTo>
                      <a:pt x="17" y="27"/>
                    </a:lnTo>
                    <a:lnTo>
                      <a:pt x="7" y="24"/>
                    </a:lnTo>
                    <a:lnTo>
                      <a:pt x="7" y="24"/>
                    </a:lnTo>
                    <a:lnTo>
                      <a:pt x="4" y="21"/>
                    </a:lnTo>
                    <a:lnTo>
                      <a:pt x="1" y="18"/>
                    </a:lnTo>
                    <a:lnTo>
                      <a:pt x="1" y="1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3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43" y="1"/>
                    </a:lnTo>
                    <a:lnTo>
                      <a:pt x="43" y="1"/>
                    </a:lnTo>
                    <a:lnTo>
                      <a:pt x="48" y="1"/>
                    </a:lnTo>
                    <a:lnTo>
                      <a:pt x="48" y="1"/>
                    </a:lnTo>
                    <a:lnTo>
                      <a:pt x="53" y="8"/>
                    </a:lnTo>
                    <a:lnTo>
                      <a:pt x="55" y="14"/>
                    </a:lnTo>
                    <a:lnTo>
                      <a:pt x="55" y="14"/>
                    </a:lnTo>
                    <a:lnTo>
                      <a:pt x="53" y="21"/>
                    </a:lnTo>
                    <a:lnTo>
                      <a:pt x="50" y="24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23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33" name="Freeform 284"/>
              <p:cNvSpPr>
                <a:spLocks/>
              </p:cNvSpPr>
              <p:nvPr/>
            </p:nvSpPr>
            <p:spPr bwMode="auto">
              <a:xfrm>
                <a:off x="5819456" y="2861089"/>
                <a:ext cx="54409" cy="28689"/>
              </a:xfrm>
              <a:custGeom>
                <a:avLst/>
                <a:gdLst>
                  <a:gd name="T0" fmla="*/ 23 w 55"/>
                  <a:gd name="T1" fmla="*/ 29 h 29"/>
                  <a:gd name="T2" fmla="*/ 23 w 55"/>
                  <a:gd name="T3" fmla="*/ 29 h 29"/>
                  <a:gd name="T4" fmla="*/ 17 w 55"/>
                  <a:gd name="T5" fmla="*/ 27 h 29"/>
                  <a:gd name="T6" fmla="*/ 7 w 55"/>
                  <a:gd name="T7" fmla="*/ 24 h 29"/>
                  <a:gd name="T8" fmla="*/ 7 w 55"/>
                  <a:gd name="T9" fmla="*/ 24 h 29"/>
                  <a:gd name="T10" fmla="*/ 4 w 55"/>
                  <a:gd name="T11" fmla="*/ 21 h 29"/>
                  <a:gd name="T12" fmla="*/ 1 w 55"/>
                  <a:gd name="T13" fmla="*/ 18 h 29"/>
                  <a:gd name="T14" fmla="*/ 1 w 55"/>
                  <a:gd name="T15" fmla="*/ 18 h 29"/>
                  <a:gd name="T16" fmla="*/ 0 w 55"/>
                  <a:gd name="T17" fmla="*/ 20 h 29"/>
                  <a:gd name="T18" fmla="*/ 0 w 55"/>
                  <a:gd name="T19" fmla="*/ 20 h 29"/>
                  <a:gd name="T20" fmla="*/ 0 w 55"/>
                  <a:gd name="T21" fmla="*/ 13 h 29"/>
                  <a:gd name="T22" fmla="*/ 3 w 55"/>
                  <a:gd name="T23" fmla="*/ 1 h 29"/>
                  <a:gd name="T24" fmla="*/ 3 w 55"/>
                  <a:gd name="T25" fmla="*/ 1 h 29"/>
                  <a:gd name="T26" fmla="*/ 20 w 55"/>
                  <a:gd name="T27" fmla="*/ 0 h 29"/>
                  <a:gd name="T28" fmla="*/ 20 w 55"/>
                  <a:gd name="T29" fmla="*/ 0 h 29"/>
                  <a:gd name="T30" fmla="*/ 30 w 55"/>
                  <a:gd name="T31" fmla="*/ 0 h 29"/>
                  <a:gd name="T32" fmla="*/ 37 w 55"/>
                  <a:gd name="T33" fmla="*/ 1 h 29"/>
                  <a:gd name="T34" fmla="*/ 37 w 55"/>
                  <a:gd name="T35" fmla="*/ 1 h 29"/>
                  <a:gd name="T36" fmla="*/ 43 w 55"/>
                  <a:gd name="T37" fmla="*/ 1 h 29"/>
                  <a:gd name="T38" fmla="*/ 43 w 55"/>
                  <a:gd name="T39" fmla="*/ 1 h 29"/>
                  <a:gd name="T40" fmla="*/ 48 w 55"/>
                  <a:gd name="T41" fmla="*/ 1 h 29"/>
                  <a:gd name="T42" fmla="*/ 48 w 55"/>
                  <a:gd name="T43" fmla="*/ 1 h 29"/>
                  <a:gd name="T44" fmla="*/ 53 w 55"/>
                  <a:gd name="T45" fmla="*/ 8 h 29"/>
                  <a:gd name="T46" fmla="*/ 55 w 55"/>
                  <a:gd name="T47" fmla="*/ 14 h 29"/>
                  <a:gd name="T48" fmla="*/ 55 w 55"/>
                  <a:gd name="T49" fmla="*/ 14 h 29"/>
                  <a:gd name="T50" fmla="*/ 53 w 55"/>
                  <a:gd name="T51" fmla="*/ 21 h 29"/>
                  <a:gd name="T52" fmla="*/ 50 w 55"/>
                  <a:gd name="T53" fmla="*/ 24 h 29"/>
                  <a:gd name="T54" fmla="*/ 48 w 55"/>
                  <a:gd name="T55" fmla="*/ 26 h 29"/>
                  <a:gd name="T56" fmla="*/ 48 w 55"/>
                  <a:gd name="T57" fmla="*/ 26 h 29"/>
                  <a:gd name="T58" fmla="*/ 23 w 55"/>
                  <a:gd name="T5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5" h="29">
                    <a:moveTo>
                      <a:pt x="23" y="29"/>
                    </a:moveTo>
                    <a:lnTo>
                      <a:pt x="23" y="29"/>
                    </a:lnTo>
                    <a:lnTo>
                      <a:pt x="17" y="27"/>
                    </a:lnTo>
                    <a:lnTo>
                      <a:pt x="7" y="24"/>
                    </a:lnTo>
                    <a:lnTo>
                      <a:pt x="7" y="24"/>
                    </a:lnTo>
                    <a:lnTo>
                      <a:pt x="4" y="21"/>
                    </a:lnTo>
                    <a:lnTo>
                      <a:pt x="1" y="18"/>
                    </a:lnTo>
                    <a:lnTo>
                      <a:pt x="1" y="1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3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43" y="1"/>
                    </a:lnTo>
                    <a:lnTo>
                      <a:pt x="43" y="1"/>
                    </a:lnTo>
                    <a:lnTo>
                      <a:pt x="48" y="1"/>
                    </a:lnTo>
                    <a:lnTo>
                      <a:pt x="48" y="1"/>
                    </a:lnTo>
                    <a:lnTo>
                      <a:pt x="53" y="8"/>
                    </a:lnTo>
                    <a:lnTo>
                      <a:pt x="55" y="14"/>
                    </a:lnTo>
                    <a:lnTo>
                      <a:pt x="55" y="14"/>
                    </a:lnTo>
                    <a:lnTo>
                      <a:pt x="53" y="21"/>
                    </a:lnTo>
                    <a:lnTo>
                      <a:pt x="50" y="24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23" y="2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34" name="Freeform 285"/>
              <p:cNvSpPr>
                <a:spLocks/>
              </p:cNvSpPr>
              <p:nvPr/>
            </p:nvSpPr>
            <p:spPr bwMode="auto">
              <a:xfrm>
                <a:off x="5694810" y="2824487"/>
                <a:ext cx="124647" cy="65291"/>
              </a:xfrm>
              <a:custGeom>
                <a:avLst/>
                <a:gdLst>
                  <a:gd name="T0" fmla="*/ 27 w 126"/>
                  <a:gd name="T1" fmla="*/ 45 h 66"/>
                  <a:gd name="T2" fmla="*/ 27 w 126"/>
                  <a:gd name="T3" fmla="*/ 45 h 66"/>
                  <a:gd name="T4" fmla="*/ 45 w 126"/>
                  <a:gd name="T5" fmla="*/ 50 h 66"/>
                  <a:gd name="T6" fmla="*/ 45 w 126"/>
                  <a:gd name="T7" fmla="*/ 50 h 66"/>
                  <a:gd name="T8" fmla="*/ 49 w 126"/>
                  <a:gd name="T9" fmla="*/ 50 h 66"/>
                  <a:gd name="T10" fmla="*/ 55 w 126"/>
                  <a:gd name="T11" fmla="*/ 50 h 66"/>
                  <a:gd name="T12" fmla="*/ 55 w 126"/>
                  <a:gd name="T13" fmla="*/ 50 h 66"/>
                  <a:gd name="T14" fmla="*/ 61 w 126"/>
                  <a:gd name="T15" fmla="*/ 51 h 66"/>
                  <a:gd name="T16" fmla="*/ 68 w 126"/>
                  <a:gd name="T17" fmla="*/ 57 h 66"/>
                  <a:gd name="T18" fmla="*/ 68 w 126"/>
                  <a:gd name="T19" fmla="*/ 57 h 66"/>
                  <a:gd name="T20" fmla="*/ 74 w 126"/>
                  <a:gd name="T21" fmla="*/ 60 h 66"/>
                  <a:gd name="T22" fmla="*/ 78 w 126"/>
                  <a:gd name="T23" fmla="*/ 61 h 66"/>
                  <a:gd name="T24" fmla="*/ 90 w 126"/>
                  <a:gd name="T25" fmla="*/ 64 h 66"/>
                  <a:gd name="T26" fmla="*/ 90 w 126"/>
                  <a:gd name="T27" fmla="*/ 64 h 66"/>
                  <a:gd name="T28" fmla="*/ 119 w 126"/>
                  <a:gd name="T29" fmla="*/ 66 h 66"/>
                  <a:gd name="T30" fmla="*/ 119 w 126"/>
                  <a:gd name="T31" fmla="*/ 66 h 66"/>
                  <a:gd name="T32" fmla="*/ 120 w 126"/>
                  <a:gd name="T33" fmla="*/ 63 h 66"/>
                  <a:gd name="T34" fmla="*/ 121 w 126"/>
                  <a:gd name="T35" fmla="*/ 58 h 66"/>
                  <a:gd name="T36" fmla="*/ 126 w 126"/>
                  <a:gd name="T37" fmla="*/ 42 h 66"/>
                  <a:gd name="T38" fmla="*/ 126 w 126"/>
                  <a:gd name="T39" fmla="*/ 42 h 66"/>
                  <a:gd name="T40" fmla="*/ 111 w 126"/>
                  <a:gd name="T41" fmla="*/ 47 h 66"/>
                  <a:gd name="T42" fmla="*/ 111 w 126"/>
                  <a:gd name="T43" fmla="*/ 47 h 66"/>
                  <a:gd name="T44" fmla="*/ 104 w 126"/>
                  <a:gd name="T45" fmla="*/ 45 h 66"/>
                  <a:gd name="T46" fmla="*/ 95 w 126"/>
                  <a:gd name="T47" fmla="*/ 42 h 66"/>
                  <a:gd name="T48" fmla="*/ 79 w 126"/>
                  <a:gd name="T49" fmla="*/ 37 h 66"/>
                  <a:gd name="T50" fmla="*/ 79 w 126"/>
                  <a:gd name="T51" fmla="*/ 37 h 66"/>
                  <a:gd name="T52" fmla="*/ 75 w 126"/>
                  <a:gd name="T53" fmla="*/ 35 h 66"/>
                  <a:gd name="T54" fmla="*/ 69 w 126"/>
                  <a:gd name="T55" fmla="*/ 31 h 66"/>
                  <a:gd name="T56" fmla="*/ 59 w 126"/>
                  <a:gd name="T57" fmla="*/ 19 h 66"/>
                  <a:gd name="T58" fmla="*/ 59 w 126"/>
                  <a:gd name="T59" fmla="*/ 19 h 66"/>
                  <a:gd name="T60" fmla="*/ 55 w 126"/>
                  <a:gd name="T61" fmla="*/ 16 h 66"/>
                  <a:gd name="T62" fmla="*/ 52 w 126"/>
                  <a:gd name="T63" fmla="*/ 15 h 66"/>
                  <a:gd name="T64" fmla="*/ 43 w 126"/>
                  <a:gd name="T65" fmla="*/ 12 h 66"/>
                  <a:gd name="T66" fmla="*/ 43 w 126"/>
                  <a:gd name="T67" fmla="*/ 12 h 66"/>
                  <a:gd name="T68" fmla="*/ 29 w 126"/>
                  <a:gd name="T69" fmla="*/ 6 h 66"/>
                  <a:gd name="T70" fmla="*/ 20 w 126"/>
                  <a:gd name="T71" fmla="*/ 3 h 66"/>
                  <a:gd name="T72" fmla="*/ 14 w 126"/>
                  <a:gd name="T73" fmla="*/ 2 h 66"/>
                  <a:gd name="T74" fmla="*/ 14 w 126"/>
                  <a:gd name="T75" fmla="*/ 2 h 66"/>
                  <a:gd name="T76" fmla="*/ 6 w 126"/>
                  <a:gd name="T77" fmla="*/ 0 h 66"/>
                  <a:gd name="T78" fmla="*/ 6 w 126"/>
                  <a:gd name="T79" fmla="*/ 0 h 66"/>
                  <a:gd name="T80" fmla="*/ 1 w 126"/>
                  <a:gd name="T81" fmla="*/ 15 h 66"/>
                  <a:gd name="T82" fmla="*/ 0 w 126"/>
                  <a:gd name="T83" fmla="*/ 25 h 66"/>
                  <a:gd name="T84" fmla="*/ 0 w 126"/>
                  <a:gd name="T85" fmla="*/ 25 h 66"/>
                  <a:gd name="T86" fmla="*/ 4 w 126"/>
                  <a:gd name="T87" fmla="*/ 29 h 66"/>
                  <a:gd name="T88" fmla="*/ 13 w 126"/>
                  <a:gd name="T89" fmla="*/ 35 h 66"/>
                  <a:gd name="T90" fmla="*/ 27 w 126"/>
                  <a:gd name="T91" fmla="*/ 4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26" h="66">
                    <a:moveTo>
                      <a:pt x="27" y="45"/>
                    </a:moveTo>
                    <a:lnTo>
                      <a:pt x="27" y="45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9" y="50"/>
                    </a:lnTo>
                    <a:lnTo>
                      <a:pt x="55" y="50"/>
                    </a:lnTo>
                    <a:lnTo>
                      <a:pt x="55" y="50"/>
                    </a:lnTo>
                    <a:lnTo>
                      <a:pt x="61" y="51"/>
                    </a:lnTo>
                    <a:lnTo>
                      <a:pt x="68" y="57"/>
                    </a:lnTo>
                    <a:lnTo>
                      <a:pt x="68" y="57"/>
                    </a:lnTo>
                    <a:lnTo>
                      <a:pt x="74" y="60"/>
                    </a:lnTo>
                    <a:lnTo>
                      <a:pt x="78" y="61"/>
                    </a:lnTo>
                    <a:lnTo>
                      <a:pt x="90" y="64"/>
                    </a:lnTo>
                    <a:lnTo>
                      <a:pt x="90" y="64"/>
                    </a:lnTo>
                    <a:lnTo>
                      <a:pt x="119" y="66"/>
                    </a:lnTo>
                    <a:lnTo>
                      <a:pt x="119" y="66"/>
                    </a:lnTo>
                    <a:lnTo>
                      <a:pt x="120" y="63"/>
                    </a:lnTo>
                    <a:lnTo>
                      <a:pt x="121" y="58"/>
                    </a:lnTo>
                    <a:lnTo>
                      <a:pt x="126" y="42"/>
                    </a:lnTo>
                    <a:lnTo>
                      <a:pt x="126" y="42"/>
                    </a:lnTo>
                    <a:lnTo>
                      <a:pt x="111" y="47"/>
                    </a:lnTo>
                    <a:lnTo>
                      <a:pt x="111" y="47"/>
                    </a:lnTo>
                    <a:lnTo>
                      <a:pt x="104" y="45"/>
                    </a:lnTo>
                    <a:lnTo>
                      <a:pt x="95" y="42"/>
                    </a:lnTo>
                    <a:lnTo>
                      <a:pt x="79" y="37"/>
                    </a:lnTo>
                    <a:lnTo>
                      <a:pt x="79" y="37"/>
                    </a:lnTo>
                    <a:lnTo>
                      <a:pt x="75" y="35"/>
                    </a:lnTo>
                    <a:lnTo>
                      <a:pt x="69" y="31"/>
                    </a:lnTo>
                    <a:lnTo>
                      <a:pt x="59" y="19"/>
                    </a:lnTo>
                    <a:lnTo>
                      <a:pt x="59" y="19"/>
                    </a:lnTo>
                    <a:lnTo>
                      <a:pt x="55" y="16"/>
                    </a:lnTo>
                    <a:lnTo>
                      <a:pt x="52" y="15"/>
                    </a:lnTo>
                    <a:lnTo>
                      <a:pt x="43" y="12"/>
                    </a:lnTo>
                    <a:lnTo>
                      <a:pt x="43" y="12"/>
                    </a:lnTo>
                    <a:lnTo>
                      <a:pt x="29" y="6"/>
                    </a:lnTo>
                    <a:lnTo>
                      <a:pt x="20" y="3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4" y="29"/>
                    </a:lnTo>
                    <a:lnTo>
                      <a:pt x="13" y="35"/>
                    </a:lnTo>
                    <a:lnTo>
                      <a:pt x="27" y="4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35" name="Freeform 286"/>
              <p:cNvSpPr>
                <a:spLocks/>
              </p:cNvSpPr>
              <p:nvPr/>
            </p:nvSpPr>
            <p:spPr bwMode="auto">
              <a:xfrm>
                <a:off x="5694810" y="2824487"/>
                <a:ext cx="124647" cy="65291"/>
              </a:xfrm>
              <a:custGeom>
                <a:avLst/>
                <a:gdLst>
                  <a:gd name="T0" fmla="*/ 27 w 126"/>
                  <a:gd name="T1" fmla="*/ 45 h 66"/>
                  <a:gd name="T2" fmla="*/ 27 w 126"/>
                  <a:gd name="T3" fmla="*/ 45 h 66"/>
                  <a:gd name="T4" fmla="*/ 45 w 126"/>
                  <a:gd name="T5" fmla="*/ 50 h 66"/>
                  <a:gd name="T6" fmla="*/ 45 w 126"/>
                  <a:gd name="T7" fmla="*/ 50 h 66"/>
                  <a:gd name="T8" fmla="*/ 49 w 126"/>
                  <a:gd name="T9" fmla="*/ 50 h 66"/>
                  <a:gd name="T10" fmla="*/ 55 w 126"/>
                  <a:gd name="T11" fmla="*/ 50 h 66"/>
                  <a:gd name="T12" fmla="*/ 55 w 126"/>
                  <a:gd name="T13" fmla="*/ 50 h 66"/>
                  <a:gd name="T14" fmla="*/ 61 w 126"/>
                  <a:gd name="T15" fmla="*/ 51 h 66"/>
                  <a:gd name="T16" fmla="*/ 68 w 126"/>
                  <a:gd name="T17" fmla="*/ 57 h 66"/>
                  <a:gd name="T18" fmla="*/ 68 w 126"/>
                  <a:gd name="T19" fmla="*/ 57 h 66"/>
                  <a:gd name="T20" fmla="*/ 74 w 126"/>
                  <a:gd name="T21" fmla="*/ 60 h 66"/>
                  <a:gd name="T22" fmla="*/ 78 w 126"/>
                  <a:gd name="T23" fmla="*/ 61 h 66"/>
                  <a:gd name="T24" fmla="*/ 90 w 126"/>
                  <a:gd name="T25" fmla="*/ 64 h 66"/>
                  <a:gd name="T26" fmla="*/ 90 w 126"/>
                  <a:gd name="T27" fmla="*/ 64 h 66"/>
                  <a:gd name="T28" fmla="*/ 119 w 126"/>
                  <a:gd name="T29" fmla="*/ 66 h 66"/>
                  <a:gd name="T30" fmla="*/ 119 w 126"/>
                  <a:gd name="T31" fmla="*/ 66 h 66"/>
                  <a:gd name="T32" fmla="*/ 120 w 126"/>
                  <a:gd name="T33" fmla="*/ 63 h 66"/>
                  <a:gd name="T34" fmla="*/ 121 w 126"/>
                  <a:gd name="T35" fmla="*/ 58 h 66"/>
                  <a:gd name="T36" fmla="*/ 126 w 126"/>
                  <a:gd name="T37" fmla="*/ 42 h 66"/>
                  <a:gd name="T38" fmla="*/ 126 w 126"/>
                  <a:gd name="T39" fmla="*/ 42 h 66"/>
                  <a:gd name="T40" fmla="*/ 111 w 126"/>
                  <a:gd name="T41" fmla="*/ 47 h 66"/>
                  <a:gd name="T42" fmla="*/ 111 w 126"/>
                  <a:gd name="T43" fmla="*/ 47 h 66"/>
                  <a:gd name="T44" fmla="*/ 104 w 126"/>
                  <a:gd name="T45" fmla="*/ 45 h 66"/>
                  <a:gd name="T46" fmla="*/ 95 w 126"/>
                  <a:gd name="T47" fmla="*/ 42 h 66"/>
                  <a:gd name="T48" fmla="*/ 79 w 126"/>
                  <a:gd name="T49" fmla="*/ 37 h 66"/>
                  <a:gd name="T50" fmla="*/ 79 w 126"/>
                  <a:gd name="T51" fmla="*/ 37 h 66"/>
                  <a:gd name="T52" fmla="*/ 75 w 126"/>
                  <a:gd name="T53" fmla="*/ 35 h 66"/>
                  <a:gd name="T54" fmla="*/ 69 w 126"/>
                  <a:gd name="T55" fmla="*/ 31 h 66"/>
                  <a:gd name="T56" fmla="*/ 59 w 126"/>
                  <a:gd name="T57" fmla="*/ 19 h 66"/>
                  <a:gd name="T58" fmla="*/ 59 w 126"/>
                  <a:gd name="T59" fmla="*/ 19 h 66"/>
                  <a:gd name="T60" fmla="*/ 55 w 126"/>
                  <a:gd name="T61" fmla="*/ 16 h 66"/>
                  <a:gd name="T62" fmla="*/ 52 w 126"/>
                  <a:gd name="T63" fmla="*/ 15 h 66"/>
                  <a:gd name="T64" fmla="*/ 43 w 126"/>
                  <a:gd name="T65" fmla="*/ 12 h 66"/>
                  <a:gd name="T66" fmla="*/ 43 w 126"/>
                  <a:gd name="T67" fmla="*/ 12 h 66"/>
                  <a:gd name="T68" fmla="*/ 29 w 126"/>
                  <a:gd name="T69" fmla="*/ 6 h 66"/>
                  <a:gd name="T70" fmla="*/ 20 w 126"/>
                  <a:gd name="T71" fmla="*/ 3 h 66"/>
                  <a:gd name="T72" fmla="*/ 14 w 126"/>
                  <a:gd name="T73" fmla="*/ 2 h 66"/>
                  <a:gd name="T74" fmla="*/ 14 w 126"/>
                  <a:gd name="T75" fmla="*/ 2 h 66"/>
                  <a:gd name="T76" fmla="*/ 6 w 126"/>
                  <a:gd name="T77" fmla="*/ 0 h 66"/>
                  <a:gd name="T78" fmla="*/ 6 w 126"/>
                  <a:gd name="T79" fmla="*/ 0 h 66"/>
                  <a:gd name="T80" fmla="*/ 1 w 126"/>
                  <a:gd name="T81" fmla="*/ 15 h 66"/>
                  <a:gd name="T82" fmla="*/ 0 w 126"/>
                  <a:gd name="T83" fmla="*/ 25 h 66"/>
                  <a:gd name="T84" fmla="*/ 0 w 126"/>
                  <a:gd name="T85" fmla="*/ 25 h 66"/>
                  <a:gd name="T86" fmla="*/ 4 w 126"/>
                  <a:gd name="T87" fmla="*/ 29 h 66"/>
                  <a:gd name="T88" fmla="*/ 13 w 126"/>
                  <a:gd name="T89" fmla="*/ 35 h 66"/>
                  <a:gd name="T90" fmla="*/ 27 w 126"/>
                  <a:gd name="T91" fmla="*/ 4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26" h="66">
                    <a:moveTo>
                      <a:pt x="27" y="45"/>
                    </a:moveTo>
                    <a:lnTo>
                      <a:pt x="27" y="45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9" y="50"/>
                    </a:lnTo>
                    <a:lnTo>
                      <a:pt x="55" y="50"/>
                    </a:lnTo>
                    <a:lnTo>
                      <a:pt x="55" y="50"/>
                    </a:lnTo>
                    <a:lnTo>
                      <a:pt x="61" y="51"/>
                    </a:lnTo>
                    <a:lnTo>
                      <a:pt x="68" y="57"/>
                    </a:lnTo>
                    <a:lnTo>
                      <a:pt x="68" y="57"/>
                    </a:lnTo>
                    <a:lnTo>
                      <a:pt x="74" y="60"/>
                    </a:lnTo>
                    <a:lnTo>
                      <a:pt x="78" y="61"/>
                    </a:lnTo>
                    <a:lnTo>
                      <a:pt x="90" y="64"/>
                    </a:lnTo>
                    <a:lnTo>
                      <a:pt x="90" y="64"/>
                    </a:lnTo>
                    <a:lnTo>
                      <a:pt x="119" y="66"/>
                    </a:lnTo>
                    <a:lnTo>
                      <a:pt x="119" y="66"/>
                    </a:lnTo>
                    <a:lnTo>
                      <a:pt x="120" y="63"/>
                    </a:lnTo>
                    <a:lnTo>
                      <a:pt x="121" y="58"/>
                    </a:lnTo>
                    <a:lnTo>
                      <a:pt x="126" y="42"/>
                    </a:lnTo>
                    <a:lnTo>
                      <a:pt x="126" y="42"/>
                    </a:lnTo>
                    <a:lnTo>
                      <a:pt x="111" y="47"/>
                    </a:lnTo>
                    <a:lnTo>
                      <a:pt x="111" y="47"/>
                    </a:lnTo>
                    <a:lnTo>
                      <a:pt x="104" y="45"/>
                    </a:lnTo>
                    <a:lnTo>
                      <a:pt x="95" y="42"/>
                    </a:lnTo>
                    <a:lnTo>
                      <a:pt x="79" y="37"/>
                    </a:lnTo>
                    <a:lnTo>
                      <a:pt x="79" y="37"/>
                    </a:lnTo>
                    <a:lnTo>
                      <a:pt x="75" y="35"/>
                    </a:lnTo>
                    <a:lnTo>
                      <a:pt x="69" y="31"/>
                    </a:lnTo>
                    <a:lnTo>
                      <a:pt x="59" y="19"/>
                    </a:lnTo>
                    <a:lnTo>
                      <a:pt x="59" y="19"/>
                    </a:lnTo>
                    <a:lnTo>
                      <a:pt x="55" y="16"/>
                    </a:lnTo>
                    <a:lnTo>
                      <a:pt x="52" y="15"/>
                    </a:lnTo>
                    <a:lnTo>
                      <a:pt x="43" y="12"/>
                    </a:lnTo>
                    <a:lnTo>
                      <a:pt x="43" y="12"/>
                    </a:lnTo>
                    <a:lnTo>
                      <a:pt x="29" y="6"/>
                    </a:lnTo>
                    <a:lnTo>
                      <a:pt x="20" y="3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4" y="29"/>
                    </a:lnTo>
                    <a:lnTo>
                      <a:pt x="13" y="35"/>
                    </a:lnTo>
                    <a:lnTo>
                      <a:pt x="27" y="4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36" name="Freeform 287"/>
              <p:cNvSpPr>
                <a:spLocks/>
              </p:cNvSpPr>
              <p:nvPr/>
            </p:nvSpPr>
            <p:spPr bwMode="auto">
              <a:xfrm>
                <a:off x="6043029" y="2951112"/>
                <a:ext cx="108819" cy="244347"/>
              </a:xfrm>
              <a:custGeom>
                <a:avLst/>
                <a:gdLst>
                  <a:gd name="T0" fmla="*/ 107 w 110"/>
                  <a:gd name="T1" fmla="*/ 149 h 247"/>
                  <a:gd name="T2" fmla="*/ 100 w 110"/>
                  <a:gd name="T3" fmla="*/ 127 h 247"/>
                  <a:gd name="T4" fmla="*/ 84 w 110"/>
                  <a:gd name="T5" fmla="*/ 113 h 247"/>
                  <a:gd name="T6" fmla="*/ 69 w 110"/>
                  <a:gd name="T7" fmla="*/ 94 h 247"/>
                  <a:gd name="T8" fmla="*/ 58 w 110"/>
                  <a:gd name="T9" fmla="*/ 79 h 247"/>
                  <a:gd name="T10" fmla="*/ 55 w 110"/>
                  <a:gd name="T11" fmla="*/ 74 h 247"/>
                  <a:gd name="T12" fmla="*/ 56 w 110"/>
                  <a:gd name="T13" fmla="*/ 61 h 247"/>
                  <a:gd name="T14" fmla="*/ 59 w 110"/>
                  <a:gd name="T15" fmla="*/ 56 h 247"/>
                  <a:gd name="T16" fmla="*/ 68 w 110"/>
                  <a:gd name="T17" fmla="*/ 45 h 247"/>
                  <a:gd name="T18" fmla="*/ 92 w 110"/>
                  <a:gd name="T19" fmla="*/ 32 h 247"/>
                  <a:gd name="T20" fmla="*/ 81 w 110"/>
                  <a:gd name="T21" fmla="*/ 26 h 247"/>
                  <a:gd name="T22" fmla="*/ 66 w 110"/>
                  <a:gd name="T23" fmla="*/ 19 h 247"/>
                  <a:gd name="T24" fmla="*/ 63 w 110"/>
                  <a:gd name="T25" fmla="*/ 10 h 247"/>
                  <a:gd name="T26" fmla="*/ 53 w 110"/>
                  <a:gd name="T27" fmla="*/ 3 h 247"/>
                  <a:gd name="T28" fmla="*/ 39 w 110"/>
                  <a:gd name="T29" fmla="*/ 0 h 247"/>
                  <a:gd name="T30" fmla="*/ 36 w 110"/>
                  <a:gd name="T31" fmla="*/ 6 h 247"/>
                  <a:gd name="T32" fmla="*/ 30 w 110"/>
                  <a:gd name="T33" fmla="*/ 13 h 247"/>
                  <a:gd name="T34" fmla="*/ 23 w 110"/>
                  <a:gd name="T35" fmla="*/ 13 h 247"/>
                  <a:gd name="T36" fmla="*/ 17 w 110"/>
                  <a:gd name="T37" fmla="*/ 10 h 247"/>
                  <a:gd name="T38" fmla="*/ 10 w 110"/>
                  <a:gd name="T39" fmla="*/ 10 h 247"/>
                  <a:gd name="T40" fmla="*/ 4 w 110"/>
                  <a:gd name="T41" fmla="*/ 8 h 247"/>
                  <a:gd name="T42" fmla="*/ 0 w 110"/>
                  <a:gd name="T43" fmla="*/ 16 h 247"/>
                  <a:gd name="T44" fmla="*/ 7 w 110"/>
                  <a:gd name="T45" fmla="*/ 29 h 247"/>
                  <a:gd name="T46" fmla="*/ 19 w 110"/>
                  <a:gd name="T47" fmla="*/ 36 h 247"/>
                  <a:gd name="T48" fmla="*/ 37 w 110"/>
                  <a:gd name="T49" fmla="*/ 62 h 247"/>
                  <a:gd name="T50" fmla="*/ 59 w 110"/>
                  <a:gd name="T51" fmla="*/ 101 h 247"/>
                  <a:gd name="T52" fmla="*/ 78 w 110"/>
                  <a:gd name="T53" fmla="*/ 124 h 247"/>
                  <a:gd name="T54" fmla="*/ 78 w 110"/>
                  <a:gd name="T55" fmla="*/ 137 h 247"/>
                  <a:gd name="T56" fmla="*/ 71 w 110"/>
                  <a:gd name="T57" fmla="*/ 150 h 247"/>
                  <a:gd name="T58" fmla="*/ 78 w 110"/>
                  <a:gd name="T59" fmla="*/ 163 h 247"/>
                  <a:gd name="T60" fmla="*/ 82 w 110"/>
                  <a:gd name="T61" fmla="*/ 185 h 247"/>
                  <a:gd name="T62" fmla="*/ 68 w 110"/>
                  <a:gd name="T63" fmla="*/ 191 h 247"/>
                  <a:gd name="T64" fmla="*/ 56 w 110"/>
                  <a:gd name="T65" fmla="*/ 197 h 247"/>
                  <a:gd name="T66" fmla="*/ 52 w 110"/>
                  <a:gd name="T67" fmla="*/ 204 h 247"/>
                  <a:gd name="T68" fmla="*/ 33 w 110"/>
                  <a:gd name="T69" fmla="*/ 216 h 247"/>
                  <a:gd name="T70" fmla="*/ 42 w 110"/>
                  <a:gd name="T71" fmla="*/ 224 h 247"/>
                  <a:gd name="T72" fmla="*/ 37 w 110"/>
                  <a:gd name="T73" fmla="*/ 242 h 247"/>
                  <a:gd name="T74" fmla="*/ 37 w 110"/>
                  <a:gd name="T75" fmla="*/ 247 h 247"/>
                  <a:gd name="T76" fmla="*/ 49 w 110"/>
                  <a:gd name="T77" fmla="*/ 236 h 247"/>
                  <a:gd name="T78" fmla="*/ 56 w 110"/>
                  <a:gd name="T79" fmla="*/ 233 h 247"/>
                  <a:gd name="T80" fmla="*/ 62 w 110"/>
                  <a:gd name="T81" fmla="*/ 230 h 247"/>
                  <a:gd name="T82" fmla="*/ 68 w 110"/>
                  <a:gd name="T83" fmla="*/ 216 h 247"/>
                  <a:gd name="T84" fmla="*/ 81 w 110"/>
                  <a:gd name="T85" fmla="*/ 216 h 247"/>
                  <a:gd name="T86" fmla="*/ 92 w 110"/>
                  <a:gd name="T87" fmla="*/ 208 h 247"/>
                  <a:gd name="T88" fmla="*/ 105 w 110"/>
                  <a:gd name="T89" fmla="*/ 195 h 247"/>
                  <a:gd name="T90" fmla="*/ 110 w 110"/>
                  <a:gd name="T91" fmla="*/ 171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10" h="247">
                    <a:moveTo>
                      <a:pt x="110" y="163"/>
                    </a:moveTo>
                    <a:lnTo>
                      <a:pt x="110" y="163"/>
                    </a:lnTo>
                    <a:lnTo>
                      <a:pt x="107" y="149"/>
                    </a:lnTo>
                    <a:lnTo>
                      <a:pt x="104" y="133"/>
                    </a:lnTo>
                    <a:lnTo>
                      <a:pt x="104" y="133"/>
                    </a:lnTo>
                    <a:lnTo>
                      <a:pt x="100" y="127"/>
                    </a:lnTo>
                    <a:lnTo>
                      <a:pt x="94" y="121"/>
                    </a:lnTo>
                    <a:lnTo>
                      <a:pt x="84" y="113"/>
                    </a:lnTo>
                    <a:lnTo>
                      <a:pt x="84" y="113"/>
                    </a:lnTo>
                    <a:lnTo>
                      <a:pt x="79" y="111"/>
                    </a:lnTo>
                    <a:lnTo>
                      <a:pt x="76" y="107"/>
                    </a:lnTo>
                    <a:lnTo>
                      <a:pt x="69" y="94"/>
                    </a:lnTo>
                    <a:lnTo>
                      <a:pt x="69" y="94"/>
                    </a:lnTo>
                    <a:lnTo>
                      <a:pt x="63" y="85"/>
                    </a:lnTo>
                    <a:lnTo>
                      <a:pt x="58" y="79"/>
                    </a:lnTo>
                    <a:lnTo>
                      <a:pt x="58" y="79"/>
                    </a:lnTo>
                    <a:lnTo>
                      <a:pt x="55" y="75"/>
                    </a:lnTo>
                    <a:lnTo>
                      <a:pt x="55" y="74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61"/>
                    </a:lnTo>
                    <a:lnTo>
                      <a:pt x="58" y="58"/>
                    </a:lnTo>
                    <a:lnTo>
                      <a:pt x="59" y="56"/>
                    </a:lnTo>
                    <a:lnTo>
                      <a:pt x="59" y="56"/>
                    </a:lnTo>
                    <a:lnTo>
                      <a:pt x="63" y="52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72" y="42"/>
                    </a:lnTo>
                    <a:lnTo>
                      <a:pt x="78" y="37"/>
                    </a:lnTo>
                    <a:lnTo>
                      <a:pt x="92" y="32"/>
                    </a:lnTo>
                    <a:lnTo>
                      <a:pt x="92" y="32"/>
                    </a:lnTo>
                    <a:lnTo>
                      <a:pt x="87" y="29"/>
                    </a:lnTo>
                    <a:lnTo>
                      <a:pt x="81" y="26"/>
                    </a:lnTo>
                    <a:lnTo>
                      <a:pt x="69" y="22"/>
                    </a:lnTo>
                    <a:lnTo>
                      <a:pt x="69" y="22"/>
                    </a:lnTo>
                    <a:lnTo>
                      <a:pt x="66" y="19"/>
                    </a:lnTo>
                    <a:lnTo>
                      <a:pt x="65" y="16"/>
                    </a:lnTo>
                    <a:lnTo>
                      <a:pt x="63" y="10"/>
                    </a:lnTo>
                    <a:lnTo>
                      <a:pt x="63" y="10"/>
                    </a:lnTo>
                    <a:lnTo>
                      <a:pt x="63" y="8"/>
                    </a:lnTo>
                    <a:lnTo>
                      <a:pt x="61" y="7"/>
                    </a:lnTo>
                    <a:lnTo>
                      <a:pt x="53" y="3"/>
                    </a:lnTo>
                    <a:lnTo>
                      <a:pt x="45" y="0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7" y="0"/>
                    </a:lnTo>
                    <a:lnTo>
                      <a:pt x="36" y="1"/>
                    </a:lnTo>
                    <a:lnTo>
                      <a:pt x="36" y="6"/>
                    </a:lnTo>
                    <a:lnTo>
                      <a:pt x="33" y="10"/>
                    </a:lnTo>
                    <a:lnTo>
                      <a:pt x="32" y="13"/>
                    </a:lnTo>
                    <a:lnTo>
                      <a:pt x="30" y="13"/>
                    </a:lnTo>
                    <a:lnTo>
                      <a:pt x="30" y="13"/>
                    </a:lnTo>
                    <a:lnTo>
                      <a:pt x="26" y="14"/>
                    </a:lnTo>
                    <a:lnTo>
                      <a:pt x="23" y="13"/>
                    </a:lnTo>
                    <a:lnTo>
                      <a:pt x="20" y="11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0" y="10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4" y="8"/>
                    </a:lnTo>
                    <a:lnTo>
                      <a:pt x="3" y="10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3" y="24"/>
                    </a:lnTo>
                    <a:lnTo>
                      <a:pt x="7" y="29"/>
                    </a:lnTo>
                    <a:lnTo>
                      <a:pt x="7" y="29"/>
                    </a:lnTo>
                    <a:lnTo>
                      <a:pt x="11" y="33"/>
                    </a:lnTo>
                    <a:lnTo>
                      <a:pt x="19" y="36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7" y="62"/>
                    </a:lnTo>
                    <a:lnTo>
                      <a:pt x="53" y="94"/>
                    </a:lnTo>
                    <a:lnTo>
                      <a:pt x="53" y="94"/>
                    </a:lnTo>
                    <a:lnTo>
                      <a:pt x="59" y="101"/>
                    </a:lnTo>
                    <a:lnTo>
                      <a:pt x="65" y="108"/>
                    </a:lnTo>
                    <a:lnTo>
                      <a:pt x="72" y="117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30"/>
                    </a:lnTo>
                    <a:lnTo>
                      <a:pt x="78" y="137"/>
                    </a:lnTo>
                    <a:lnTo>
                      <a:pt x="75" y="145"/>
                    </a:lnTo>
                    <a:lnTo>
                      <a:pt x="71" y="150"/>
                    </a:lnTo>
                    <a:lnTo>
                      <a:pt x="71" y="150"/>
                    </a:lnTo>
                    <a:lnTo>
                      <a:pt x="75" y="156"/>
                    </a:lnTo>
                    <a:lnTo>
                      <a:pt x="78" y="163"/>
                    </a:lnTo>
                    <a:lnTo>
                      <a:pt x="78" y="163"/>
                    </a:lnTo>
                    <a:lnTo>
                      <a:pt x="84" y="178"/>
                    </a:lnTo>
                    <a:lnTo>
                      <a:pt x="84" y="184"/>
                    </a:lnTo>
                    <a:lnTo>
                      <a:pt x="82" y="185"/>
                    </a:lnTo>
                    <a:lnTo>
                      <a:pt x="81" y="187"/>
                    </a:lnTo>
                    <a:lnTo>
                      <a:pt x="81" y="187"/>
                    </a:lnTo>
                    <a:lnTo>
                      <a:pt x="68" y="191"/>
                    </a:lnTo>
                    <a:lnTo>
                      <a:pt x="58" y="194"/>
                    </a:lnTo>
                    <a:lnTo>
                      <a:pt x="58" y="194"/>
                    </a:lnTo>
                    <a:lnTo>
                      <a:pt x="56" y="197"/>
                    </a:lnTo>
                    <a:lnTo>
                      <a:pt x="55" y="200"/>
                    </a:lnTo>
                    <a:lnTo>
                      <a:pt x="55" y="201"/>
                    </a:lnTo>
                    <a:lnTo>
                      <a:pt x="52" y="204"/>
                    </a:lnTo>
                    <a:lnTo>
                      <a:pt x="52" y="204"/>
                    </a:lnTo>
                    <a:lnTo>
                      <a:pt x="33" y="216"/>
                    </a:lnTo>
                    <a:lnTo>
                      <a:pt x="33" y="216"/>
                    </a:lnTo>
                    <a:lnTo>
                      <a:pt x="40" y="223"/>
                    </a:lnTo>
                    <a:lnTo>
                      <a:pt x="40" y="223"/>
                    </a:lnTo>
                    <a:lnTo>
                      <a:pt x="42" y="224"/>
                    </a:lnTo>
                    <a:lnTo>
                      <a:pt x="42" y="227"/>
                    </a:lnTo>
                    <a:lnTo>
                      <a:pt x="39" y="234"/>
                    </a:lnTo>
                    <a:lnTo>
                      <a:pt x="37" y="242"/>
                    </a:lnTo>
                    <a:lnTo>
                      <a:pt x="36" y="247"/>
                    </a:lnTo>
                    <a:lnTo>
                      <a:pt x="36" y="247"/>
                    </a:lnTo>
                    <a:lnTo>
                      <a:pt x="37" y="247"/>
                    </a:lnTo>
                    <a:lnTo>
                      <a:pt x="39" y="247"/>
                    </a:lnTo>
                    <a:lnTo>
                      <a:pt x="43" y="243"/>
                    </a:lnTo>
                    <a:lnTo>
                      <a:pt x="49" y="236"/>
                    </a:lnTo>
                    <a:lnTo>
                      <a:pt x="49" y="236"/>
                    </a:lnTo>
                    <a:lnTo>
                      <a:pt x="52" y="233"/>
                    </a:lnTo>
                    <a:lnTo>
                      <a:pt x="56" y="233"/>
                    </a:lnTo>
                    <a:lnTo>
                      <a:pt x="59" y="232"/>
                    </a:lnTo>
                    <a:lnTo>
                      <a:pt x="62" y="230"/>
                    </a:lnTo>
                    <a:lnTo>
                      <a:pt x="62" y="230"/>
                    </a:lnTo>
                    <a:lnTo>
                      <a:pt x="65" y="224"/>
                    </a:lnTo>
                    <a:lnTo>
                      <a:pt x="68" y="216"/>
                    </a:lnTo>
                    <a:lnTo>
                      <a:pt x="68" y="216"/>
                    </a:lnTo>
                    <a:lnTo>
                      <a:pt x="71" y="214"/>
                    </a:lnTo>
                    <a:lnTo>
                      <a:pt x="74" y="214"/>
                    </a:lnTo>
                    <a:lnTo>
                      <a:pt x="81" y="216"/>
                    </a:lnTo>
                    <a:lnTo>
                      <a:pt x="81" y="216"/>
                    </a:lnTo>
                    <a:lnTo>
                      <a:pt x="85" y="213"/>
                    </a:lnTo>
                    <a:lnTo>
                      <a:pt x="92" y="208"/>
                    </a:lnTo>
                    <a:lnTo>
                      <a:pt x="104" y="197"/>
                    </a:lnTo>
                    <a:lnTo>
                      <a:pt x="104" y="197"/>
                    </a:lnTo>
                    <a:lnTo>
                      <a:pt x="105" y="195"/>
                    </a:lnTo>
                    <a:lnTo>
                      <a:pt x="107" y="191"/>
                    </a:lnTo>
                    <a:lnTo>
                      <a:pt x="110" y="181"/>
                    </a:lnTo>
                    <a:lnTo>
                      <a:pt x="110" y="171"/>
                    </a:lnTo>
                    <a:lnTo>
                      <a:pt x="110" y="16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37" name="Freeform 288"/>
              <p:cNvSpPr>
                <a:spLocks/>
              </p:cNvSpPr>
              <p:nvPr/>
            </p:nvSpPr>
            <p:spPr bwMode="auto">
              <a:xfrm>
                <a:off x="6043029" y="2951112"/>
                <a:ext cx="108819" cy="244347"/>
              </a:xfrm>
              <a:custGeom>
                <a:avLst/>
                <a:gdLst>
                  <a:gd name="T0" fmla="*/ 107 w 110"/>
                  <a:gd name="T1" fmla="*/ 149 h 247"/>
                  <a:gd name="T2" fmla="*/ 100 w 110"/>
                  <a:gd name="T3" fmla="*/ 127 h 247"/>
                  <a:gd name="T4" fmla="*/ 84 w 110"/>
                  <a:gd name="T5" fmla="*/ 113 h 247"/>
                  <a:gd name="T6" fmla="*/ 69 w 110"/>
                  <a:gd name="T7" fmla="*/ 94 h 247"/>
                  <a:gd name="T8" fmla="*/ 58 w 110"/>
                  <a:gd name="T9" fmla="*/ 79 h 247"/>
                  <a:gd name="T10" fmla="*/ 55 w 110"/>
                  <a:gd name="T11" fmla="*/ 74 h 247"/>
                  <a:gd name="T12" fmla="*/ 56 w 110"/>
                  <a:gd name="T13" fmla="*/ 61 h 247"/>
                  <a:gd name="T14" fmla="*/ 59 w 110"/>
                  <a:gd name="T15" fmla="*/ 56 h 247"/>
                  <a:gd name="T16" fmla="*/ 68 w 110"/>
                  <a:gd name="T17" fmla="*/ 45 h 247"/>
                  <a:gd name="T18" fmla="*/ 92 w 110"/>
                  <a:gd name="T19" fmla="*/ 32 h 247"/>
                  <a:gd name="T20" fmla="*/ 81 w 110"/>
                  <a:gd name="T21" fmla="*/ 26 h 247"/>
                  <a:gd name="T22" fmla="*/ 66 w 110"/>
                  <a:gd name="T23" fmla="*/ 19 h 247"/>
                  <a:gd name="T24" fmla="*/ 63 w 110"/>
                  <a:gd name="T25" fmla="*/ 10 h 247"/>
                  <a:gd name="T26" fmla="*/ 53 w 110"/>
                  <a:gd name="T27" fmla="*/ 3 h 247"/>
                  <a:gd name="T28" fmla="*/ 39 w 110"/>
                  <a:gd name="T29" fmla="*/ 0 h 247"/>
                  <a:gd name="T30" fmla="*/ 36 w 110"/>
                  <a:gd name="T31" fmla="*/ 6 h 247"/>
                  <a:gd name="T32" fmla="*/ 30 w 110"/>
                  <a:gd name="T33" fmla="*/ 13 h 247"/>
                  <a:gd name="T34" fmla="*/ 23 w 110"/>
                  <a:gd name="T35" fmla="*/ 13 h 247"/>
                  <a:gd name="T36" fmla="*/ 17 w 110"/>
                  <a:gd name="T37" fmla="*/ 10 h 247"/>
                  <a:gd name="T38" fmla="*/ 10 w 110"/>
                  <a:gd name="T39" fmla="*/ 10 h 247"/>
                  <a:gd name="T40" fmla="*/ 4 w 110"/>
                  <a:gd name="T41" fmla="*/ 8 h 247"/>
                  <a:gd name="T42" fmla="*/ 0 w 110"/>
                  <a:gd name="T43" fmla="*/ 16 h 247"/>
                  <a:gd name="T44" fmla="*/ 7 w 110"/>
                  <a:gd name="T45" fmla="*/ 29 h 247"/>
                  <a:gd name="T46" fmla="*/ 19 w 110"/>
                  <a:gd name="T47" fmla="*/ 36 h 247"/>
                  <a:gd name="T48" fmla="*/ 37 w 110"/>
                  <a:gd name="T49" fmla="*/ 62 h 247"/>
                  <a:gd name="T50" fmla="*/ 59 w 110"/>
                  <a:gd name="T51" fmla="*/ 101 h 247"/>
                  <a:gd name="T52" fmla="*/ 78 w 110"/>
                  <a:gd name="T53" fmla="*/ 124 h 247"/>
                  <a:gd name="T54" fmla="*/ 78 w 110"/>
                  <a:gd name="T55" fmla="*/ 137 h 247"/>
                  <a:gd name="T56" fmla="*/ 71 w 110"/>
                  <a:gd name="T57" fmla="*/ 150 h 247"/>
                  <a:gd name="T58" fmla="*/ 78 w 110"/>
                  <a:gd name="T59" fmla="*/ 163 h 247"/>
                  <a:gd name="T60" fmla="*/ 82 w 110"/>
                  <a:gd name="T61" fmla="*/ 185 h 247"/>
                  <a:gd name="T62" fmla="*/ 68 w 110"/>
                  <a:gd name="T63" fmla="*/ 191 h 247"/>
                  <a:gd name="T64" fmla="*/ 56 w 110"/>
                  <a:gd name="T65" fmla="*/ 197 h 247"/>
                  <a:gd name="T66" fmla="*/ 52 w 110"/>
                  <a:gd name="T67" fmla="*/ 204 h 247"/>
                  <a:gd name="T68" fmla="*/ 33 w 110"/>
                  <a:gd name="T69" fmla="*/ 216 h 247"/>
                  <a:gd name="T70" fmla="*/ 42 w 110"/>
                  <a:gd name="T71" fmla="*/ 224 h 247"/>
                  <a:gd name="T72" fmla="*/ 37 w 110"/>
                  <a:gd name="T73" fmla="*/ 242 h 247"/>
                  <a:gd name="T74" fmla="*/ 37 w 110"/>
                  <a:gd name="T75" fmla="*/ 247 h 247"/>
                  <a:gd name="T76" fmla="*/ 49 w 110"/>
                  <a:gd name="T77" fmla="*/ 236 h 247"/>
                  <a:gd name="T78" fmla="*/ 56 w 110"/>
                  <a:gd name="T79" fmla="*/ 233 h 247"/>
                  <a:gd name="T80" fmla="*/ 62 w 110"/>
                  <a:gd name="T81" fmla="*/ 230 h 247"/>
                  <a:gd name="T82" fmla="*/ 68 w 110"/>
                  <a:gd name="T83" fmla="*/ 216 h 247"/>
                  <a:gd name="T84" fmla="*/ 81 w 110"/>
                  <a:gd name="T85" fmla="*/ 216 h 247"/>
                  <a:gd name="T86" fmla="*/ 92 w 110"/>
                  <a:gd name="T87" fmla="*/ 208 h 247"/>
                  <a:gd name="T88" fmla="*/ 105 w 110"/>
                  <a:gd name="T89" fmla="*/ 195 h 247"/>
                  <a:gd name="T90" fmla="*/ 110 w 110"/>
                  <a:gd name="T91" fmla="*/ 171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10" h="247">
                    <a:moveTo>
                      <a:pt x="110" y="163"/>
                    </a:moveTo>
                    <a:lnTo>
                      <a:pt x="110" y="163"/>
                    </a:lnTo>
                    <a:lnTo>
                      <a:pt x="107" y="149"/>
                    </a:lnTo>
                    <a:lnTo>
                      <a:pt x="104" y="133"/>
                    </a:lnTo>
                    <a:lnTo>
                      <a:pt x="104" y="133"/>
                    </a:lnTo>
                    <a:lnTo>
                      <a:pt x="100" y="127"/>
                    </a:lnTo>
                    <a:lnTo>
                      <a:pt x="94" y="121"/>
                    </a:lnTo>
                    <a:lnTo>
                      <a:pt x="84" y="113"/>
                    </a:lnTo>
                    <a:lnTo>
                      <a:pt x="84" y="113"/>
                    </a:lnTo>
                    <a:lnTo>
                      <a:pt x="79" y="111"/>
                    </a:lnTo>
                    <a:lnTo>
                      <a:pt x="76" y="107"/>
                    </a:lnTo>
                    <a:lnTo>
                      <a:pt x="69" y="94"/>
                    </a:lnTo>
                    <a:lnTo>
                      <a:pt x="69" y="94"/>
                    </a:lnTo>
                    <a:lnTo>
                      <a:pt x="63" y="85"/>
                    </a:lnTo>
                    <a:lnTo>
                      <a:pt x="58" y="79"/>
                    </a:lnTo>
                    <a:lnTo>
                      <a:pt x="58" y="79"/>
                    </a:lnTo>
                    <a:lnTo>
                      <a:pt x="55" y="75"/>
                    </a:lnTo>
                    <a:lnTo>
                      <a:pt x="55" y="74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61"/>
                    </a:lnTo>
                    <a:lnTo>
                      <a:pt x="58" y="58"/>
                    </a:lnTo>
                    <a:lnTo>
                      <a:pt x="59" y="56"/>
                    </a:lnTo>
                    <a:lnTo>
                      <a:pt x="59" y="56"/>
                    </a:lnTo>
                    <a:lnTo>
                      <a:pt x="63" y="52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72" y="42"/>
                    </a:lnTo>
                    <a:lnTo>
                      <a:pt x="78" y="37"/>
                    </a:lnTo>
                    <a:lnTo>
                      <a:pt x="92" y="32"/>
                    </a:lnTo>
                    <a:lnTo>
                      <a:pt x="92" y="32"/>
                    </a:lnTo>
                    <a:lnTo>
                      <a:pt x="87" y="29"/>
                    </a:lnTo>
                    <a:lnTo>
                      <a:pt x="81" y="26"/>
                    </a:lnTo>
                    <a:lnTo>
                      <a:pt x="69" y="22"/>
                    </a:lnTo>
                    <a:lnTo>
                      <a:pt x="69" y="22"/>
                    </a:lnTo>
                    <a:lnTo>
                      <a:pt x="66" y="19"/>
                    </a:lnTo>
                    <a:lnTo>
                      <a:pt x="65" y="16"/>
                    </a:lnTo>
                    <a:lnTo>
                      <a:pt x="63" y="10"/>
                    </a:lnTo>
                    <a:lnTo>
                      <a:pt x="63" y="10"/>
                    </a:lnTo>
                    <a:lnTo>
                      <a:pt x="63" y="8"/>
                    </a:lnTo>
                    <a:lnTo>
                      <a:pt x="61" y="7"/>
                    </a:lnTo>
                    <a:lnTo>
                      <a:pt x="53" y="3"/>
                    </a:lnTo>
                    <a:lnTo>
                      <a:pt x="45" y="0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7" y="0"/>
                    </a:lnTo>
                    <a:lnTo>
                      <a:pt x="36" y="1"/>
                    </a:lnTo>
                    <a:lnTo>
                      <a:pt x="36" y="6"/>
                    </a:lnTo>
                    <a:lnTo>
                      <a:pt x="33" y="10"/>
                    </a:lnTo>
                    <a:lnTo>
                      <a:pt x="32" y="13"/>
                    </a:lnTo>
                    <a:lnTo>
                      <a:pt x="30" y="13"/>
                    </a:lnTo>
                    <a:lnTo>
                      <a:pt x="30" y="13"/>
                    </a:lnTo>
                    <a:lnTo>
                      <a:pt x="26" y="14"/>
                    </a:lnTo>
                    <a:lnTo>
                      <a:pt x="23" y="13"/>
                    </a:lnTo>
                    <a:lnTo>
                      <a:pt x="20" y="11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0" y="10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4" y="8"/>
                    </a:lnTo>
                    <a:lnTo>
                      <a:pt x="3" y="10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3" y="24"/>
                    </a:lnTo>
                    <a:lnTo>
                      <a:pt x="7" y="29"/>
                    </a:lnTo>
                    <a:lnTo>
                      <a:pt x="7" y="29"/>
                    </a:lnTo>
                    <a:lnTo>
                      <a:pt x="11" y="33"/>
                    </a:lnTo>
                    <a:lnTo>
                      <a:pt x="19" y="36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37" y="62"/>
                    </a:lnTo>
                    <a:lnTo>
                      <a:pt x="53" y="94"/>
                    </a:lnTo>
                    <a:lnTo>
                      <a:pt x="53" y="94"/>
                    </a:lnTo>
                    <a:lnTo>
                      <a:pt x="59" y="101"/>
                    </a:lnTo>
                    <a:lnTo>
                      <a:pt x="65" y="108"/>
                    </a:lnTo>
                    <a:lnTo>
                      <a:pt x="72" y="117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30"/>
                    </a:lnTo>
                    <a:lnTo>
                      <a:pt x="78" y="137"/>
                    </a:lnTo>
                    <a:lnTo>
                      <a:pt x="75" y="145"/>
                    </a:lnTo>
                    <a:lnTo>
                      <a:pt x="71" y="150"/>
                    </a:lnTo>
                    <a:lnTo>
                      <a:pt x="71" y="150"/>
                    </a:lnTo>
                    <a:lnTo>
                      <a:pt x="75" y="156"/>
                    </a:lnTo>
                    <a:lnTo>
                      <a:pt x="78" y="163"/>
                    </a:lnTo>
                    <a:lnTo>
                      <a:pt x="78" y="163"/>
                    </a:lnTo>
                    <a:lnTo>
                      <a:pt x="84" y="178"/>
                    </a:lnTo>
                    <a:lnTo>
                      <a:pt x="84" y="184"/>
                    </a:lnTo>
                    <a:lnTo>
                      <a:pt x="82" y="185"/>
                    </a:lnTo>
                    <a:lnTo>
                      <a:pt x="81" y="187"/>
                    </a:lnTo>
                    <a:lnTo>
                      <a:pt x="81" y="187"/>
                    </a:lnTo>
                    <a:lnTo>
                      <a:pt x="68" y="191"/>
                    </a:lnTo>
                    <a:lnTo>
                      <a:pt x="58" y="194"/>
                    </a:lnTo>
                    <a:lnTo>
                      <a:pt x="58" y="194"/>
                    </a:lnTo>
                    <a:lnTo>
                      <a:pt x="56" y="197"/>
                    </a:lnTo>
                    <a:lnTo>
                      <a:pt x="55" y="200"/>
                    </a:lnTo>
                    <a:lnTo>
                      <a:pt x="55" y="201"/>
                    </a:lnTo>
                    <a:lnTo>
                      <a:pt x="52" y="204"/>
                    </a:lnTo>
                    <a:lnTo>
                      <a:pt x="52" y="204"/>
                    </a:lnTo>
                    <a:lnTo>
                      <a:pt x="33" y="216"/>
                    </a:lnTo>
                    <a:lnTo>
                      <a:pt x="33" y="216"/>
                    </a:lnTo>
                    <a:lnTo>
                      <a:pt x="40" y="223"/>
                    </a:lnTo>
                    <a:lnTo>
                      <a:pt x="40" y="223"/>
                    </a:lnTo>
                    <a:lnTo>
                      <a:pt x="42" y="224"/>
                    </a:lnTo>
                    <a:lnTo>
                      <a:pt x="42" y="227"/>
                    </a:lnTo>
                    <a:lnTo>
                      <a:pt x="39" y="234"/>
                    </a:lnTo>
                    <a:lnTo>
                      <a:pt x="37" y="242"/>
                    </a:lnTo>
                    <a:lnTo>
                      <a:pt x="36" y="247"/>
                    </a:lnTo>
                    <a:lnTo>
                      <a:pt x="36" y="247"/>
                    </a:lnTo>
                    <a:lnTo>
                      <a:pt x="37" y="247"/>
                    </a:lnTo>
                    <a:lnTo>
                      <a:pt x="39" y="247"/>
                    </a:lnTo>
                    <a:lnTo>
                      <a:pt x="43" y="243"/>
                    </a:lnTo>
                    <a:lnTo>
                      <a:pt x="49" y="236"/>
                    </a:lnTo>
                    <a:lnTo>
                      <a:pt x="49" y="236"/>
                    </a:lnTo>
                    <a:lnTo>
                      <a:pt x="52" y="233"/>
                    </a:lnTo>
                    <a:lnTo>
                      <a:pt x="56" y="233"/>
                    </a:lnTo>
                    <a:lnTo>
                      <a:pt x="59" y="232"/>
                    </a:lnTo>
                    <a:lnTo>
                      <a:pt x="62" y="230"/>
                    </a:lnTo>
                    <a:lnTo>
                      <a:pt x="62" y="230"/>
                    </a:lnTo>
                    <a:lnTo>
                      <a:pt x="65" y="224"/>
                    </a:lnTo>
                    <a:lnTo>
                      <a:pt x="68" y="216"/>
                    </a:lnTo>
                    <a:lnTo>
                      <a:pt x="68" y="216"/>
                    </a:lnTo>
                    <a:lnTo>
                      <a:pt x="71" y="214"/>
                    </a:lnTo>
                    <a:lnTo>
                      <a:pt x="74" y="214"/>
                    </a:lnTo>
                    <a:lnTo>
                      <a:pt x="81" y="216"/>
                    </a:lnTo>
                    <a:lnTo>
                      <a:pt x="81" y="216"/>
                    </a:lnTo>
                    <a:lnTo>
                      <a:pt x="85" y="213"/>
                    </a:lnTo>
                    <a:lnTo>
                      <a:pt x="92" y="208"/>
                    </a:lnTo>
                    <a:lnTo>
                      <a:pt x="104" y="197"/>
                    </a:lnTo>
                    <a:lnTo>
                      <a:pt x="104" y="197"/>
                    </a:lnTo>
                    <a:lnTo>
                      <a:pt x="105" y="195"/>
                    </a:lnTo>
                    <a:lnTo>
                      <a:pt x="107" y="191"/>
                    </a:lnTo>
                    <a:lnTo>
                      <a:pt x="110" y="181"/>
                    </a:lnTo>
                    <a:lnTo>
                      <a:pt x="110" y="171"/>
                    </a:lnTo>
                    <a:lnTo>
                      <a:pt x="110" y="16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38" name="Freeform 289"/>
              <p:cNvSpPr>
                <a:spLocks/>
              </p:cNvSpPr>
              <p:nvPr/>
            </p:nvSpPr>
            <p:spPr bwMode="auto">
              <a:xfrm>
                <a:off x="5999502" y="2961005"/>
                <a:ext cx="120690" cy="144432"/>
              </a:xfrm>
              <a:custGeom>
                <a:avLst/>
                <a:gdLst>
                  <a:gd name="T0" fmla="*/ 90 w 122"/>
                  <a:gd name="T1" fmla="*/ 145 h 146"/>
                  <a:gd name="T2" fmla="*/ 87 w 122"/>
                  <a:gd name="T3" fmla="*/ 143 h 146"/>
                  <a:gd name="T4" fmla="*/ 92 w 122"/>
                  <a:gd name="T5" fmla="*/ 126 h 146"/>
                  <a:gd name="T6" fmla="*/ 83 w 122"/>
                  <a:gd name="T7" fmla="*/ 113 h 146"/>
                  <a:gd name="T8" fmla="*/ 76 w 122"/>
                  <a:gd name="T9" fmla="*/ 101 h 146"/>
                  <a:gd name="T10" fmla="*/ 61 w 122"/>
                  <a:gd name="T11" fmla="*/ 74 h 146"/>
                  <a:gd name="T12" fmla="*/ 60 w 122"/>
                  <a:gd name="T13" fmla="*/ 72 h 146"/>
                  <a:gd name="T14" fmla="*/ 60 w 122"/>
                  <a:gd name="T15" fmla="*/ 72 h 146"/>
                  <a:gd name="T16" fmla="*/ 57 w 122"/>
                  <a:gd name="T17" fmla="*/ 74 h 146"/>
                  <a:gd name="T18" fmla="*/ 55 w 122"/>
                  <a:gd name="T19" fmla="*/ 75 h 146"/>
                  <a:gd name="T20" fmla="*/ 55 w 122"/>
                  <a:gd name="T21" fmla="*/ 75 h 146"/>
                  <a:gd name="T22" fmla="*/ 55 w 122"/>
                  <a:gd name="T23" fmla="*/ 75 h 146"/>
                  <a:gd name="T24" fmla="*/ 52 w 122"/>
                  <a:gd name="T25" fmla="*/ 78 h 146"/>
                  <a:gd name="T26" fmla="*/ 51 w 122"/>
                  <a:gd name="T27" fmla="*/ 77 h 146"/>
                  <a:gd name="T28" fmla="*/ 51 w 122"/>
                  <a:gd name="T29" fmla="*/ 77 h 146"/>
                  <a:gd name="T30" fmla="*/ 50 w 122"/>
                  <a:gd name="T31" fmla="*/ 77 h 146"/>
                  <a:gd name="T32" fmla="*/ 50 w 122"/>
                  <a:gd name="T33" fmla="*/ 77 h 146"/>
                  <a:gd name="T34" fmla="*/ 50 w 122"/>
                  <a:gd name="T35" fmla="*/ 77 h 146"/>
                  <a:gd name="T36" fmla="*/ 50 w 122"/>
                  <a:gd name="T37" fmla="*/ 77 h 146"/>
                  <a:gd name="T38" fmla="*/ 48 w 122"/>
                  <a:gd name="T39" fmla="*/ 75 h 146"/>
                  <a:gd name="T40" fmla="*/ 41 w 122"/>
                  <a:gd name="T41" fmla="*/ 71 h 146"/>
                  <a:gd name="T42" fmla="*/ 41 w 122"/>
                  <a:gd name="T43" fmla="*/ 71 h 146"/>
                  <a:gd name="T44" fmla="*/ 25 w 122"/>
                  <a:gd name="T45" fmla="*/ 81 h 146"/>
                  <a:gd name="T46" fmla="*/ 23 w 122"/>
                  <a:gd name="T47" fmla="*/ 82 h 146"/>
                  <a:gd name="T48" fmla="*/ 23 w 122"/>
                  <a:gd name="T49" fmla="*/ 82 h 146"/>
                  <a:gd name="T50" fmla="*/ 18 w 122"/>
                  <a:gd name="T51" fmla="*/ 85 h 146"/>
                  <a:gd name="T52" fmla="*/ 16 w 122"/>
                  <a:gd name="T53" fmla="*/ 84 h 146"/>
                  <a:gd name="T54" fmla="*/ 16 w 122"/>
                  <a:gd name="T55" fmla="*/ 84 h 146"/>
                  <a:gd name="T56" fmla="*/ 16 w 122"/>
                  <a:gd name="T57" fmla="*/ 78 h 146"/>
                  <a:gd name="T58" fmla="*/ 21 w 122"/>
                  <a:gd name="T59" fmla="*/ 62 h 146"/>
                  <a:gd name="T60" fmla="*/ 21 w 122"/>
                  <a:gd name="T61" fmla="*/ 59 h 146"/>
                  <a:gd name="T62" fmla="*/ 10 w 122"/>
                  <a:gd name="T63" fmla="*/ 45 h 146"/>
                  <a:gd name="T64" fmla="*/ 6 w 122"/>
                  <a:gd name="T65" fmla="*/ 39 h 146"/>
                  <a:gd name="T66" fmla="*/ 12 w 122"/>
                  <a:gd name="T67" fmla="*/ 25 h 146"/>
                  <a:gd name="T68" fmla="*/ 19 w 122"/>
                  <a:gd name="T69" fmla="*/ 13 h 146"/>
                  <a:gd name="T70" fmla="*/ 22 w 122"/>
                  <a:gd name="T71" fmla="*/ 17 h 146"/>
                  <a:gd name="T72" fmla="*/ 32 w 122"/>
                  <a:gd name="T73" fmla="*/ 27 h 146"/>
                  <a:gd name="T74" fmla="*/ 34 w 122"/>
                  <a:gd name="T75" fmla="*/ 26 h 146"/>
                  <a:gd name="T76" fmla="*/ 34 w 122"/>
                  <a:gd name="T77" fmla="*/ 3 h 146"/>
                  <a:gd name="T78" fmla="*/ 35 w 122"/>
                  <a:gd name="T79" fmla="*/ 0 h 146"/>
                  <a:gd name="T80" fmla="*/ 41 w 122"/>
                  <a:gd name="T81" fmla="*/ 4 h 146"/>
                  <a:gd name="T82" fmla="*/ 44 w 122"/>
                  <a:gd name="T83" fmla="*/ 6 h 146"/>
                  <a:gd name="T84" fmla="*/ 51 w 122"/>
                  <a:gd name="T85" fmla="*/ 19 h 146"/>
                  <a:gd name="T86" fmla="*/ 63 w 122"/>
                  <a:gd name="T87" fmla="*/ 26 h 146"/>
                  <a:gd name="T88" fmla="*/ 81 w 122"/>
                  <a:gd name="T89" fmla="*/ 52 h 146"/>
                  <a:gd name="T90" fmla="*/ 102 w 122"/>
                  <a:gd name="T91" fmla="*/ 91 h 146"/>
                  <a:gd name="T92" fmla="*/ 122 w 122"/>
                  <a:gd name="T93" fmla="*/ 114 h 146"/>
                  <a:gd name="T94" fmla="*/ 122 w 122"/>
                  <a:gd name="T95" fmla="*/ 119 h 146"/>
                  <a:gd name="T96" fmla="*/ 115 w 122"/>
                  <a:gd name="T97" fmla="*/ 140 h 146"/>
                  <a:gd name="T98" fmla="*/ 109 w 122"/>
                  <a:gd name="T99" fmla="*/ 138 h 146"/>
                  <a:gd name="T100" fmla="*/ 109 w 122"/>
                  <a:gd name="T101" fmla="*/ 138 h 146"/>
                  <a:gd name="T102" fmla="*/ 106 w 122"/>
                  <a:gd name="T103" fmla="*/ 136 h 146"/>
                  <a:gd name="T104" fmla="*/ 103 w 122"/>
                  <a:gd name="T105" fmla="*/ 143 h 146"/>
                  <a:gd name="T106" fmla="*/ 102 w 122"/>
                  <a:gd name="T107" fmla="*/ 145 h 146"/>
                  <a:gd name="T108" fmla="*/ 102 w 122"/>
                  <a:gd name="T109" fmla="*/ 145 h 146"/>
                  <a:gd name="T110" fmla="*/ 100 w 122"/>
                  <a:gd name="T111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2" h="146">
                    <a:moveTo>
                      <a:pt x="99" y="146"/>
                    </a:moveTo>
                    <a:lnTo>
                      <a:pt x="99" y="146"/>
                    </a:lnTo>
                    <a:lnTo>
                      <a:pt x="90" y="145"/>
                    </a:lnTo>
                    <a:lnTo>
                      <a:pt x="90" y="145"/>
                    </a:lnTo>
                    <a:lnTo>
                      <a:pt x="87" y="143"/>
                    </a:lnTo>
                    <a:lnTo>
                      <a:pt x="87" y="143"/>
                    </a:lnTo>
                    <a:lnTo>
                      <a:pt x="90" y="135"/>
                    </a:lnTo>
                    <a:lnTo>
                      <a:pt x="92" y="126"/>
                    </a:lnTo>
                    <a:lnTo>
                      <a:pt x="92" y="126"/>
                    </a:lnTo>
                    <a:lnTo>
                      <a:pt x="92" y="123"/>
                    </a:lnTo>
                    <a:lnTo>
                      <a:pt x="92" y="123"/>
                    </a:lnTo>
                    <a:lnTo>
                      <a:pt x="83" y="113"/>
                    </a:lnTo>
                    <a:lnTo>
                      <a:pt x="77" y="107"/>
                    </a:lnTo>
                    <a:lnTo>
                      <a:pt x="76" y="101"/>
                    </a:lnTo>
                    <a:lnTo>
                      <a:pt x="76" y="101"/>
                    </a:lnTo>
                    <a:lnTo>
                      <a:pt x="68" y="85"/>
                    </a:lnTo>
                    <a:lnTo>
                      <a:pt x="64" y="77"/>
                    </a:lnTo>
                    <a:lnTo>
                      <a:pt x="61" y="74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57" y="74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4" y="77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1" y="77"/>
                    </a:lnTo>
                    <a:lnTo>
                      <a:pt x="51" y="77"/>
                    </a:lnTo>
                    <a:lnTo>
                      <a:pt x="51" y="77"/>
                    </a:lnTo>
                    <a:lnTo>
                      <a:pt x="51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48" y="75"/>
                    </a:lnTo>
                    <a:lnTo>
                      <a:pt x="48" y="75"/>
                    </a:lnTo>
                    <a:lnTo>
                      <a:pt x="45" y="72"/>
                    </a:lnTo>
                    <a:lnTo>
                      <a:pt x="41" y="71"/>
                    </a:lnTo>
                    <a:lnTo>
                      <a:pt x="41" y="71"/>
                    </a:lnTo>
                    <a:lnTo>
                      <a:pt x="41" y="71"/>
                    </a:lnTo>
                    <a:lnTo>
                      <a:pt x="41" y="71"/>
                    </a:lnTo>
                    <a:lnTo>
                      <a:pt x="41" y="71"/>
                    </a:lnTo>
                    <a:lnTo>
                      <a:pt x="38" y="72"/>
                    </a:lnTo>
                    <a:lnTo>
                      <a:pt x="34" y="75"/>
                    </a:lnTo>
                    <a:lnTo>
                      <a:pt x="25" y="81"/>
                    </a:lnTo>
                    <a:lnTo>
                      <a:pt x="25" y="81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1" y="85"/>
                    </a:lnTo>
                    <a:lnTo>
                      <a:pt x="18" y="85"/>
                    </a:lnTo>
                    <a:lnTo>
                      <a:pt x="18" y="85"/>
                    </a:lnTo>
                    <a:lnTo>
                      <a:pt x="18" y="85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5" y="82"/>
                    </a:lnTo>
                    <a:lnTo>
                      <a:pt x="15" y="82"/>
                    </a:lnTo>
                    <a:lnTo>
                      <a:pt x="16" y="78"/>
                    </a:lnTo>
                    <a:lnTo>
                      <a:pt x="18" y="74"/>
                    </a:lnTo>
                    <a:lnTo>
                      <a:pt x="21" y="68"/>
                    </a:lnTo>
                    <a:lnTo>
                      <a:pt x="21" y="62"/>
                    </a:lnTo>
                    <a:lnTo>
                      <a:pt x="21" y="62"/>
                    </a:lnTo>
                    <a:lnTo>
                      <a:pt x="21" y="59"/>
                    </a:lnTo>
                    <a:lnTo>
                      <a:pt x="21" y="59"/>
                    </a:lnTo>
                    <a:lnTo>
                      <a:pt x="16" y="54"/>
                    </a:lnTo>
                    <a:lnTo>
                      <a:pt x="13" y="49"/>
                    </a:lnTo>
                    <a:lnTo>
                      <a:pt x="10" y="45"/>
                    </a:lnTo>
                    <a:lnTo>
                      <a:pt x="9" y="42"/>
                    </a:lnTo>
                    <a:lnTo>
                      <a:pt x="9" y="42"/>
                    </a:lnTo>
                    <a:lnTo>
                      <a:pt x="6" y="39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19" y="13"/>
                    </a:lnTo>
                    <a:lnTo>
                      <a:pt x="19" y="13"/>
                    </a:lnTo>
                    <a:lnTo>
                      <a:pt x="21" y="14"/>
                    </a:lnTo>
                    <a:lnTo>
                      <a:pt x="21" y="14"/>
                    </a:lnTo>
                    <a:lnTo>
                      <a:pt x="22" y="17"/>
                    </a:lnTo>
                    <a:lnTo>
                      <a:pt x="25" y="23"/>
                    </a:lnTo>
                    <a:lnTo>
                      <a:pt x="29" y="26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4" y="27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12"/>
                    </a:lnTo>
                    <a:lnTo>
                      <a:pt x="34" y="3"/>
                    </a:lnTo>
                    <a:lnTo>
                      <a:pt x="34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1" y="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7" y="14"/>
                    </a:lnTo>
                    <a:lnTo>
                      <a:pt x="51" y="19"/>
                    </a:lnTo>
                    <a:lnTo>
                      <a:pt x="51" y="19"/>
                    </a:lnTo>
                    <a:lnTo>
                      <a:pt x="55" y="23"/>
                    </a:lnTo>
                    <a:lnTo>
                      <a:pt x="63" y="26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81" y="52"/>
                    </a:lnTo>
                    <a:lnTo>
                      <a:pt x="97" y="84"/>
                    </a:lnTo>
                    <a:lnTo>
                      <a:pt x="97" y="84"/>
                    </a:lnTo>
                    <a:lnTo>
                      <a:pt x="102" y="91"/>
                    </a:lnTo>
                    <a:lnTo>
                      <a:pt x="109" y="98"/>
                    </a:lnTo>
                    <a:lnTo>
                      <a:pt x="116" y="107"/>
                    </a:lnTo>
                    <a:lnTo>
                      <a:pt x="122" y="114"/>
                    </a:lnTo>
                    <a:lnTo>
                      <a:pt x="122" y="114"/>
                    </a:lnTo>
                    <a:lnTo>
                      <a:pt x="122" y="119"/>
                    </a:lnTo>
                    <a:lnTo>
                      <a:pt x="122" y="119"/>
                    </a:lnTo>
                    <a:lnTo>
                      <a:pt x="122" y="124"/>
                    </a:lnTo>
                    <a:lnTo>
                      <a:pt x="120" y="130"/>
                    </a:lnTo>
                    <a:lnTo>
                      <a:pt x="115" y="140"/>
                    </a:lnTo>
                    <a:lnTo>
                      <a:pt x="115" y="140"/>
                    </a:lnTo>
                    <a:lnTo>
                      <a:pt x="112" y="139"/>
                    </a:lnTo>
                    <a:lnTo>
                      <a:pt x="109" y="138"/>
                    </a:lnTo>
                    <a:lnTo>
                      <a:pt x="109" y="138"/>
                    </a:lnTo>
                    <a:lnTo>
                      <a:pt x="109" y="138"/>
                    </a:lnTo>
                    <a:lnTo>
                      <a:pt x="109" y="138"/>
                    </a:lnTo>
                    <a:lnTo>
                      <a:pt x="106" y="136"/>
                    </a:lnTo>
                    <a:lnTo>
                      <a:pt x="106" y="136"/>
                    </a:lnTo>
                    <a:lnTo>
                      <a:pt x="106" y="136"/>
                    </a:lnTo>
                    <a:lnTo>
                      <a:pt x="105" y="138"/>
                    </a:lnTo>
                    <a:lnTo>
                      <a:pt x="103" y="140"/>
                    </a:lnTo>
                    <a:lnTo>
                      <a:pt x="103" y="143"/>
                    </a:lnTo>
                    <a:lnTo>
                      <a:pt x="102" y="145"/>
                    </a:lnTo>
                    <a:lnTo>
                      <a:pt x="102" y="145"/>
                    </a:lnTo>
                    <a:lnTo>
                      <a:pt x="102" y="145"/>
                    </a:lnTo>
                    <a:lnTo>
                      <a:pt x="102" y="145"/>
                    </a:lnTo>
                    <a:lnTo>
                      <a:pt x="102" y="145"/>
                    </a:lnTo>
                    <a:lnTo>
                      <a:pt x="102" y="145"/>
                    </a:lnTo>
                    <a:lnTo>
                      <a:pt x="102" y="146"/>
                    </a:lnTo>
                    <a:lnTo>
                      <a:pt x="100" y="146"/>
                    </a:lnTo>
                    <a:lnTo>
                      <a:pt x="100" y="146"/>
                    </a:lnTo>
                    <a:lnTo>
                      <a:pt x="99" y="14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39" name="Freeform 290"/>
              <p:cNvSpPr>
                <a:spLocks/>
              </p:cNvSpPr>
              <p:nvPr/>
            </p:nvSpPr>
            <p:spPr bwMode="auto">
              <a:xfrm>
                <a:off x="5999502" y="2961005"/>
                <a:ext cx="120690" cy="144432"/>
              </a:xfrm>
              <a:custGeom>
                <a:avLst/>
                <a:gdLst>
                  <a:gd name="T0" fmla="*/ 90 w 122"/>
                  <a:gd name="T1" fmla="*/ 145 h 146"/>
                  <a:gd name="T2" fmla="*/ 87 w 122"/>
                  <a:gd name="T3" fmla="*/ 143 h 146"/>
                  <a:gd name="T4" fmla="*/ 92 w 122"/>
                  <a:gd name="T5" fmla="*/ 126 h 146"/>
                  <a:gd name="T6" fmla="*/ 83 w 122"/>
                  <a:gd name="T7" fmla="*/ 113 h 146"/>
                  <a:gd name="T8" fmla="*/ 76 w 122"/>
                  <a:gd name="T9" fmla="*/ 101 h 146"/>
                  <a:gd name="T10" fmla="*/ 61 w 122"/>
                  <a:gd name="T11" fmla="*/ 74 h 146"/>
                  <a:gd name="T12" fmla="*/ 60 w 122"/>
                  <a:gd name="T13" fmla="*/ 72 h 146"/>
                  <a:gd name="T14" fmla="*/ 60 w 122"/>
                  <a:gd name="T15" fmla="*/ 72 h 146"/>
                  <a:gd name="T16" fmla="*/ 57 w 122"/>
                  <a:gd name="T17" fmla="*/ 74 h 146"/>
                  <a:gd name="T18" fmla="*/ 55 w 122"/>
                  <a:gd name="T19" fmla="*/ 75 h 146"/>
                  <a:gd name="T20" fmla="*/ 55 w 122"/>
                  <a:gd name="T21" fmla="*/ 75 h 146"/>
                  <a:gd name="T22" fmla="*/ 55 w 122"/>
                  <a:gd name="T23" fmla="*/ 75 h 146"/>
                  <a:gd name="T24" fmla="*/ 52 w 122"/>
                  <a:gd name="T25" fmla="*/ 78 h 146"/>
                  <a:gd name="T26" fmla="*/ 51 w 122"/>
                  <a:gd name="T27" fmla="*/ 77 h 146"/>
                  <a:gd name="T28" fmla="*/ 51 w 122"/>
                  <a:gd name="T29" fmla="*/ 77 h 146"/>
                  <a:gd name="T30" fmla="*/ 50 w 122"/>
                  <a:gd name="T31" fmla="*/ 77 h 146"/>
                  <a:gd name="T32" fmla="*/ 50 w 122"/>
                  <a:gd name="T33" fmla="*/ 77 h 146"/>
                  <a:gd name="T34" fmla="*/ 50 w 122"/>
                  <a:gd name="T35" fmla="*/ 77 h 146"/>
                  <a:gd name="T36" fmla="*/ 50 w 122"/>
                  <a:gd name="T37" fmla="*/ 77 h 146"/>
                  <a:gd name="T38" fmla="*/ 48 w 122"/>
                  <a:gd name="T39" fmla="*/ 75 h 146"/>
                  <a:gd name="T40" fmla="*/ 41 w 122"/>
                  <a:gd name="T41" fmla="*/ 71 h 146"/>
                  <a:gd name="T42" fmla="*/ 41 w 122"/>
                  <a:gd name="T43" fmla="*/ 71 h 146"/>
                  <a:gd name="T44" fmla="*/ 25 w 122"/>
                  <a:gd name="T45" fmla="*/ 81 h 146"/>
                  <a:gd name="T46" fmla="*/ 23 w 122"/>
                  <a:gd name="T47" fmla="*/ 82 h 146"/>
                  <a:gd name="T48" fmla="*/ 23 w 122"/>
                  <a:gd name="T49" fmla="*/ 82 h 146"/>
                  <a:gd name="T50" fmla="*/ 18 w 122"/>
                  <a:gd name="T51" fmla="*/ 85 h 146"/>
                  <a:gd name="T52" fmla="*/ 16 w 122"/>
                  <a:gd name="T53" fmla="*/ 84 h 146"/>
                  <a:gd name="T54" fmla="*/ 16 w 122"/>
                  <a:gd name="T55" fmla="*/ 84 h 146"/>
                  <a:gd name="T56" fmla="*/ 16 w 122"/>
                  <a:gd name="T57" fmla="*/ 78 h 146"/>
                  <a:gd name="T58" fmla="*/ 21 w 122"/>
                  <a:gd name="T59" fmla="*/ 62 h 146"/>
                  <a:gd name="T60" fmla="*/ 21 w 122"/>
                  <a:gd name="T61" fmla="*/ 59 h 146"/>
                  <a:gd name="T62" fmla="*/ 10 w 122"/>
                  <a:gd name="T63" fmla="*/ 45 h 146"/>
                  <a:gd name="T64" fmla="*/ 6 w 122"/>
                  <a:gd name="T65" fmla="*/ 39 h 146"/>
                  <a:gd name="T66" fmla="*/ 12 w 122"/>
                  <a:gd name="T67" fmla="*/ 25 h 146"/>
                  <a:gd name="T68" fmla="*/ 19 w 122"/>
                  <a:gd name="T69" fmla="*/ 13 h 146"/>
                  <a:gd name="T70" fmla="*/ 22 w 122"/>
                  <a:gd name="T71" fmla="*/ 17 h 146"/>
                  <a:gd name="T72" fmla="*/ 32 w 122"/>
                  <a:gd name="T73" fmla="*/ 27 h 146"/>
                  <a:gd name="T74" fmla="*/ 34 w 122"/>
                  <a:gd name="T75" fmla="*/ 26 h 146"/>
                  <a:gd name="T76" fmla="*/ 34 w 122"/>
                  <a:gd name="T77" fmla="*/ 3 h 146"/>
                  <a:gd name="T78" fmla="*/ 35 w 122"/>
                  <a:gd name="T79" fmla="*/ 0 h 146"/>
                  <a:gd name="T80" fmla="*/ 41 w 122"/>
                  <a:gd name="T81" fmla="*/ 4 h 146"/>
                  <a:gd name="T82" fmla="*/ 44 w 122"/>
                  <a:gd name="T83" fmla="*/ 6 h 146"/>
                  <a:gd name="T84" fmla="*/ 51 w 122"/>
                  <a:gd name="T85" fmla="*/ 19 h 146"/>
                  <a:gd name="T86" fmla="*/ 63 w 122"/>
                  <a:gd name="T87" fmla="*/ 26 h 146"/>
                  <a:gd name="T88" fmla="*/ 81 w 122"/>
                  <a:gd name="T89" fmla="*/ 52 h 146"/>
                  <a:gd name="T90" fmla="*/ 102 w 122"/>
                  <a:gd name="T91" fmla="*/ 91 h 146"/>
                  <a:gd name="T92" fmla="*/ 122 w 122"/>
                  <a:gd name="T93" fmla="*/ 114 h 146"/>
                  <a:gd name="T94" fmla="*/ 122 w 122"/>
                  <a:gd name="T95" fmla="*/ 119 h 146"/>
                  <a:gd name="T96" fmla="*/ 115 w 122"/>
                  <a:gd name="T97" fmla="*/ 140 h 146"/>
                  <a:gd name="T98" fmla="*/ 109 w 122"/>
                  <a:gd name="T99" fmla="*/ 138 h 146"/>
                  <a:gd name="T100" fmla="*/ 109 w 122"/>
                  <a:gd name="T101" fmla="*/ 138 h 146"/>
                  <a:gd name="T102" fmla="*/ 106 w 122"/>
                  <a:gd name="T103" fmla="*/ 136 h 146"/>
                  <a:gd name="T104" fmla="*/ 103 w 122"/>
                  <a:gd name="T105" fmla="*/ 143 h 146"/>
                  <a:gd name="T106" fmla="*/ 102 w 122"/>
                  <a:gd name="T107" fmla="*/ 145 h 146"/>
                  <a:gd name="T108" fmla="*/ 102 w 122"/>
                  <a:gd name="T109" fmla="*/ 145 h 146"/>
                  <a:gd name="T110" fmla="*/ 100 w 122"/>
                  <a:gd name="T111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2" h="146">
                    <a:moveTo>
                      <a:pt x="99" y="146"/>
                    </a:moveTo>
                    <a:lnTo>
                      <a:pt x="99" y="146"/>
                    </a:lnTo>
                    <a:lnTo>
                      <a:pt x="90" y="145"/>
                    </a:lnTo>
                    <a:lnTo>
                      <a:pt x="90" y="145"/>
                    </a:lnTo>
                    <a:lnTo>
                      <a:pt x="87" y="143"/>
                    </a:lnTo>
                    <a:lnTo>
                      <a:pt x="87" y="143"/>
                    </a:lnTo>
                    <a:lnTo>
                      <a:pt x="90" y="135"/>
                    </a:lnTo>
                    <a:lnTo>
                      <a:pt x="92" y="126"/>
                    </a:lnTo>
                    <a:lnTo>
                      <a:pt x="92" y="126"/>
                    </a:lnTo>
                    <a:lnTo>
                      <a:pt x="92" y="123"/>
                    </a:lnTo>
                    <a:lnTo>
                      <a:pt x="92" y="123"/>
                    </a:lnTo>
                    <a:lnTo>
                      <a:pt x="83" y="113"/>
                    </a:lnTo>
                    <a:lnTo>
                      <a:pt x="77" y="107"/>
                    </a:lnTo>
                    <a:lnTo>
                      <a:pt x="76" y="101"/>
                    </a:lnTo>
                    <a:lnTo>
                      <a:pt x="76" y="101"/>
                    </a:lnTo>
                    <a:lnTo>
                      <a:pt x="68" y="85"/>
                    </a:lnTo>
                    <a:lnTo>
                      <a:pt x="64" y="77"/>
                    </a:lnTo>
                    <a:lnTo>
                      <a:pt x="61" y="74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57" y="74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5" y="75"/>
                    </a:lnTo>
                    <a:lnTo>
                      <a:pt x="54" y="77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1" y="77"/>
                    </a:lnTo>
                    <a:lnTo>
                      <a:pt x="51" y="77"/>
                    </a:lnTo>
                    <a:lnTo>
                      <a:pt x="51" y="77"/>
                    </a:lnTo>
                    <a:lnTo>
                      <a:pt x="51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48" y="75"/>
                    </a:lnTo>
                    <a:lnTo>
                      <a:pt x="48" y="75"/>
                    </a:lnTo>
                    <a:lnTo>
                      <a:pt x="45" y="72"/>
                    </a:lnTo>
                    <a:lnTo>
                      <a:pt x="41" y="71"/>
                    </a:lnTo>
                    <a:lnTo>
                      <a:pt x="41" y="71"/>
                    </a:lnTo>
                    <a:lnTo>
                      <a:pt x="41" y="71"/>
                    </a:lnTo>
                    <a:lnTo>
                      <a:pt x="41" y="71"/>
                    </a:lnTo>
                    <a:lnTo>
                      <a:pt x="41" y="71"/>
                    </a:lnTo>
                    <a:lnTo>
                      <a:pt x="38" y="72"/>
                    </a:lnTo>
                    <a:lnTo>
                      <a:pt x="34" y="75"/>
                    </a:lnTo>
                    <a:lnTo>
                      <a:pt x="25" y="81"/>
                    </a:lnTo>
                    <a:lnTo>
                      <a:pt x="25" y="81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1" y="85"/>
                    </a:lnTo>
                    <a:lnTo>
                      <a:pt x="18" y="85"/>
                    </a:lnTo>
                    <a:lnTo>
                      <a:pt x="18" y="85"/>
                    </a:lnTo>
                    <a:lnTo>
                      <a:pt x="18" y="85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5" y="82"/>
                    </a:lnTo>
                    <a:lnTo>
                      <a:pt x="15" y="82"/>
                    </a:lnTo>
                    <a:lnTo>
                      <a:pt x="16" y="78"/>
                    </a:lnTo>
                    <a:lnTo>
                      <a:pt x="18" y="74"/>
                    </a:lnTo>
                    <a:lnTo>
                      <a:pt x="21" y="68"/>
                    </a:lnTo>
                    <a:lnTo>
                      <a:pt x="21" y="62"/>
                    </a:lnTo>
                    <a:lnTo>
                      <a:pt x="21" y="62"/>
                    </a:lnTo>
                    <a:lnTo>
                      <a:pt x="21" y="59"/>
                    </a:lnTo>
                    <a:lnTo>
                      <a:pt x="21" y="59"/>
                    </a:lnTo>
                    <a:lnTo>
                      <a:pt x="16" y="54"/>
                    </a:lnTo>
                    <a:lnTo>
                      <a:pt x="13" y="49"/>
                    </a:lnTo>
                    <a:lnTo>
                      <a:pt x="10" y="45"/>
                    </a:lnTo>
                    <a:lnTo>
                      <a:pt x="9" y="42"/>
                    </a:lnTo>
                    <a:lnTo>
                      <a:pt x="9" y="42"/>
                    </a:lnTo>
                    <a:lnTo>
                      <a:pt x="6" y="39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19" y="13"/>
                    </a:lnTo>
                    <a:lnTo>
                      <a:pt x="19" y="13"/>
                    </a:lnTo>
                    <a:lnTo>
                      <a:pt x="21" y="14"/>
                    </a:lnTo>
                    <a:lnTo>
                      <a:pt x="21" y="14"/>
                    </a:lnTo>
                    <a:lnTo>
                      <a:pt x="22" y="17"/>
                    </a:lnTo>
                    <a:lnTo>
                      <a:pt x="25" y="23"/>
                    </a:lnTo>
                    <a:lnTo>
                      <a:pt x="29" y="26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4" y="27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12"/>
                    </a:lnTo>
                    <a:lnTo>
                      <a:pt x="34" y="3"/>
                    </a:lnTo>
                    <a:lnTo>
                      <a:pt x="34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1" y="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7" y="14"/>
                    </a:lnTo>
                    <a:lnTo>
                      <a:pt x="51" y="19"/>
                    </a:lnTo>
                    <a:lnTo>
                      <a:pt x="51" y="19"/>
                    </a:lnTo>
                    <a:lnTo>
                      <a:pt x="55" y="23"/>
                    </a:lnTo>
                    <a:lnTo>
                      <a:pt x="63" y="26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81" y="52"/>
                    </a:lnTo>
                    <a:lnTo>
                      <a:pt x="97" y="84"/>
                    </a:lnTo>
                    <a:lnTo>
                      <a:pt x="97" y="84"/>
                    </a:lnTo>
                    <a:lnTo>
                      <a:pt x="102" y="91"/>
                    </a:lnTo>
                    <a:lnTo>
                      <a:pt x="109" y="98"/>
                    </a:lnTo>
                    <a:lnTo>
                      <a:pt x="116" y="107"/>
                    </a:lnTo>
                    <a:lnTo>
                      <a:pt x="122" y="114"/>
                    </a:lnTo>
                    <a:lnTo>
                      <a:pt x="122" y="114"/>
                    </a:lnTo>
                    <a:lnTo>
                      <a:pt x="122" y="119"/>
                    </a:lnTo>
                    <a:lnTo>
                      <a:pt x="122" y="119"/>
                    </a:lnTo>
                    <a:lnTo>
                      <a:pt x="122" y="124"/>
                    </a:lnTo>
                    <a:lnTo>
                      <a:pt x="120" y="130"/>
                    </a:lnTo>
                    <a:lnTo>
                      <a:pt x="115" y="140"/>
                    </a:lnTo>
                    <a:lnTo>
                      <a:pt x="115" y="140"/>
                    </a:lnTo>
                    <a:lnTo>
                      <a:pt x="112" y="139"/>
                    </a:lnTo>
                    <a:lnTo>
                      <a:pt x="109" y="138"/>
                    </a:lnTo>
                    <a:lnTo>
                      <a:pt x="109" y="138"/>
                    </a:lnTo>
                    <a:lnTo>
                      <a:pt x="109" y="138"/>
                    </a:lnTo>
                    <a:lnTo>
                      <a:pt x="109" y="138"/>
                    </a:lnTo>
                    <a:lnTo>
                      <a:pt x="106" y="136"/>
                    </a:lnTo>
                    <a:lnTo>
                      <a:pt x="106" y="136"/>
                    </a:lnTo>
                    <a:lnTo>
                      <a:pt x="106" y="136"/>
                    </a:lnTo>
                    <a:lnTo>
                      <a:pt x="105" y="138"/>
                    </a:lnTo>
                    <a:lnTo>
                      <a:pt x="103" y="140"/>
                    </a:lnTo>
                    <a:lnTo>
                      <a:pt x="103" y="143"/>
                    </a:lnTo>
                    <a:lnTo>
                      <a:pt x="102" y="145"/>
                    </a:lnTo>
                    <a:lnTo>
                      <a:pt x="102" y="145"/>
                    </a:lnTo>
                    <a:lnTo>
                      <a:pt x="102" y="145"/>
                    </a:lnTo>
                    <a:lnTo>
                      <a:pt x="102" y="145"/>
                    </a:lnTo>
                    <a:lnTo>
                      <a:pt x="102" y="145"/>
                    </a:lnTo>
                    <a:lnTo>
                      <a:pt x="102" y="145"/>
                    </a:lnTo>
                    <a:lnTo>
                      <a:pt x="102" y="146"/>
                    </a:lnTo>
                    <a:lnTo>
                      <a:pt x="100" y="146"/>
                    </a:lnTo>
                    <a:lnTo>
                      <a:pt x="100" y="146"/>
                    </a:lnTo>
                    <a:lnTo>
                      <a:pt x="99" y="14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40" name="Freeform 291"/>
              <p:cNvSpPr>
                <a:spLocks/>
              </p:cNvSpPr>
              <p:nvPr/>
            </p:nvSpPr>
            <p:spPr bwMode="auto">
              <a:xfrm>
                <a:off x="5879801" y="2847240"/>
                <a:ext cx="138496" cy="321509"/>
              </a:xfrm>
              <a:custGeom>
                <a:avLst/>
                <a:gdLst>
                  <a:gd name="T0" fmla="*/ 95 w 140"/>
                  <a:gd name="T1" fmla="*/ 324 h 325"/>
                  <a:gd name="T2" fmla="*/ 102 w 140"/>
                  <a:gd name="T3" fmla="*/ 303 h 325"/>
                  <a:gd name="T4" fmla="*/ 102 w 140"/>
                  <a:gd name="T5" fmla="*/ 302 h 325"/>
                  <a:gd name="T6" fmla="*/ 104 w 140"/>
                  <a:gd name="T7" fmla="*/ 293 h 325"/>
                  <a:gd name="T8" fmla="*/ 104 w 140"/>
                  <a:gd name="T9" fmla="*/ 279 h 325"/>
                  <a:gd name="T10" fmla="*/ 101 w 140"/>
                  <a:gd name="T11" fmla="*/ 270 h 325"/>
                  <a:gd name="T12" fmla="*/ 89 w 140"/>
                  <a:gd name="T13" fmla="*/ 232 h 325"/>
                  <a:gd name="T14" fmla="*/ 85 w 140"/>
                  <a:gd name="T15" fmla="*/ 218 h 325"/>
                  <a:gd name="T16" fmla="*/ 82 w 140"/>
                  <a:gd name="T17" fmla="*/ 215 h 325"/>
                  <a:gd name="T18" fmla="*/ 78 w 140"/>
                  <a:gd name="T19" fmla="*/ 212 h 325"/>
                  <a:gd name="T20" fmla="*/ 75 w 140"/>
                  <a:gd name="T21" fmla="*/ 209 h 325"/>
                  <a:gd name="T22" fmla="*/ 73 w 140"/>
                  <a:gd name="T23" fmla="*/ 211 h 325"/>
                  <a:gd name="T24" fmla="*/ 65 w 140"/>
                  <a:gd name="T25" fmla="*/ 218 h 325"/>
                  <a:gd name="T26" fmla="*/ 50 w 140"/>
                  <a:gd name="T27" fmla="*/ 226 h 325"/>
                  <a:gd name="T28" fmla="*/ 42 w 140"/>
                  <a:gd name="T29" fmla="*/ 228 h 325"/>
                  <a:gd name="T30" fmla="*/ 33 w 140"/>
                  <a:gd name="T31" fmla="*/ 222 h 325"/>
                  <a:gd name="T32" fmla="*/ 37 w 140"/>
                  <a:gd name="T33" fmla="*/ 212 h 325"/>
                  <a:gd name="T34" fmla="*/ 40 w 140"/>
                  <a:gd name="T35" fmla="*/ 200 h 325"/>
                  <a:gd name="T36" fmla="*/ 34 w 140"/>
                  <a:gd name="T37" fmla="*/ 180 h 325"/>
                  <a:gd name="T38" fmla="*/ 8 w 140"/>
                  <a:gd name="T39" fmla="*/ 154 h 325"/>
                  <a:gd name="T40" fmla="*/ 0 w 140"/>
                  <a:gd name="T41" fmla="*/ 140 h 325"/>
                  <a:gd name="T42" fmla="*/ 7 w 140"/>
                  <a:gd name="T43" fmla="*/ 128 h 325"/>
                  <a:gd name="T44" fmla="*/ 7 w 140"/>
                  <a:gd name="T45" fmla="*/ 112 h 325"/>
                  <a:gd name="T46" fmla="*/ 10 w 140"/>
                  <a:gd name="T47" fmla="*/ 102 h 325"/>
                  <a:gd name="T48" fmla="*/ 18 w 140"/>
                  <a:gd name="T49" fmla="*/ 86 h 325"/>
                  <a:gd name="T50" fmla="*/ 31 w 140"/>
                  <a:gd name="T51" fmla="*/ 71 h 325"/>
                  <a:gd name="T52" fmla="*/ 53 w 140"/>
                  <a:gd name="T53" fmla="*/ 28 h 325"/>
                  <a:gd name="T54" fmla="*/ 63 w 140"/>
                  <a:gd name="T55" fmla="*/ 27 h 325"/>
                  <a:gd name="T56" fmla="*/ 68 w 140"/>
                  <a:gd name="T57" fmla="*/ 27 h 325"/>
                  <a:gd name="T58" fmla="*/ 73 w 140"/>
                  <a:gd name="T59" fmla="*/ 24 h 325"/>
                  <a:gd name="T60" fmla="*/ 78 w 140"/>
                  <a:gd name="T61" fmla="*/ 8 h 325"/>
                  <a:gd name="T62" fmla="*/ 91 w 140"/>
                  <a:gd name="T63" fmla="*/ 0 h 325"/>
                  <a:gd name="T64" fmla="*/ 95 w 140"/>
                  <a:gd name="T65" fmla="*/ 0 h 325"/>
                  <a:gd name="T66" fmla="*/ 101 w 140"/>
                  <a:gd name="T67" fmla="*/ 31 h 325"/>
                  <a:gd name="T68" fmla="*/ 104 w 140"/>
                  <a:gd name="T69" fmla="*/ 47 h 325"/>
                  <a:gd name="T70" fmla="*/ 91 w 140"/>
                  <a:gd name="T71" fmla="*/ 64 h 325"/>
                  <a:gd name="T72" fmla="*/ 89 w 140"/>
                  <a:gd name="T73" fmla="*/ 79 h 325"/>
                  <a:gd name="T74" fmla="*/ 102 w 140"/>
                  <a:gd name="T75" fmla="*/ 89 h 325"/>
                  <a:gd name="T76" fmla="*/ 113 w 140"/>
                  <a:gd name="T77" fmla="*/ 105 h 325"/>
                  <a:gd name="T78" fmla="*/ 111 w 140"/>
                  <a:gd name="T79" fmla="*/ 119 h 325"/>
                  <a:gd name="T80" fmla="*/ 111 w 140"/>
                  <a:gd name="T81" fmla="*/ 127 h 325"/>
                  <a:gd name="T82" fmla="*/ 130 w 140"/>
                  <a:gd name="T83" fmla="*/ 131 h 325"/>
                  <a:gd name="T84" fmla="*/ 139 w 140"/>
                  <a:gd name="T85" fmla="*/ 127 h 325"/>
                  <a:gd name="T86" fmla="*/ 133 w 140"/>
                  <a:gd name="T87" fmla="*/ 140 h 325"/>
                  <a:gd name="T88" fmla="*/ 117 w 140"/>
                  <a:gd name="T89" fmla="*/ 150 h 325"/>
                  <a:gd name="T90" fmla="*/ 111 w 140"/>
                  <a:gd name="T91" fmla="*/ 153 h 325"/>
                  <a:gd name="T92" fmla="*/ 98 w 140"/>
                  <a:gd name="T93" fmla="*/ 167 h 325"/>
                  <a:gd name="T94" fmla="*/ 89 w 140"/>
                  <a:gd name="T95" fmla="*/ 176 h 325"/>
                  <a:gd name="T96" fmla="*/ 88 w 140"/>
                  <a:gd name="T97" fmla="*/ 184 h 325"/>
                  <a:gd name="T98" fmla="*/ 98 w 140"/>
                  <a:gd name="T99" fmla="*/ 211 h 325"/>
                  <a:gd name="T100" fmla="*/ 104 w 140"/>
                  <a:gd name="T101" fmla="*/ 228 h 325"/>
                  <a:gd name="T102" fmla="*/ 102 w 140"/>
                  <a:gd name="T103" fmla="*/ 238 h 325"/>
                  <a:gd name="T104" fmla="*/ 108 w 140"/>
                  <a:gd name="T105" fmla="*/ 257 h 325"/>
                  <a:gd name="T106" fmla="*/ 114 w 140"/>
                  <a:gd name="T107" fmla="*/ 283 h 325"/>
                  <a:gd name="T108" fmla="*/ 108 w 140"/>
                  <a:gd name="T109" fmla="*/ 306 h 325"/>
                  <a:gd name="T110" fmla="*/ 95 w 140"/>
                  <a:gd name="T111" fmla="*/ 32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0" h="325">
                    <a:moveTo>
                      <a:pt x="95" y="325"/>
                    </a:moveTo>
                    <a:lnTo>
                      <a:pt x="95" y="325"/>
                    </a:lnTo>
                    <a:lnTo>
                      <a:pt x="95" y="324"/>
                    </a:lnTo>
                    <a:lnTo>
                      <a:pt x="95" y="324"/>
                    </a:lnTo>
                    <a:lnTo>
                      <a:pt x="98" y="318"/>
                    </a:lnTo>
                    <a:lnTo>
                      <a:pt x="98" y="318"/>
                    </a:lnTo>
                    <a:lnTo>
                      <a:pt x="101" y="310"/>
                    </a:lnTo>
                    <a:lnTo>
                      <a:pt x="102" y="303"/>
                    </a:lnTo>
                    <a:lnTo>
                      <a:pt x="102" y="302"/>
                    </a:lnTo>
                    <a:lnTo>
                      <a:pt x="102" y="302"/>
                    </a:lnTo>
                    <a:lnTo>
                      <a:pt x="102" y="302"/>
                    </a:lnTo>
                    <a:lnTo>
                      <a:pt x="102" y="302"/>
                    </a:lnTo>
                    <a:lnTo>
                      <a:pt x="102" y="302"/>
                    </a:lnTo>
                    <a:lnTo>
                      <a:pt x="102" y="299"/>
                    </a:lnTo>
                    <a:lnTo>
                      <a:pt x="102" y="299"/>
                    </a:lnTo>
                    <a:lnTo>
                      <a:pt x="104" y="293"/>
                    </a:lnTo>
                    <a:lnTo>
                      <a:pt x="105" y="284"/>
                    </a:lnTo>
                    <a:lnTo>
                      <a:pt x="105" y="284"/>
                    </a:lnTo>
                    <a:lnTo>
                      <a:pt x="105" y="281"/>
                    </a:lnTo>
                    <a:lnTo>
                      <a:pt x="104" y="279"/>
                    </a:lnTo>
                    <a:lnTo>
                      <a:pt x="104" y="279"/>
                    </a:lnTo>
                    <a:lnTo>
                      <a:pt x="102" y="274"/>
                    </a:lnTo>
                    <a:lnTo>
                      <a:pt x="101" y="270"/>
                    </a:lnTo>
                    <a:lnTo>
                      <a:pt x="101" y="270"/>
                    </a:lnTo>
                    <a:lnTo>
                      <a:pt x="97" y="255"/>
                    </a:lnTo>
                    <a:lnTo>
                      <a:pt x="97" y="255"/>
                    </a:lnTo>
                    <a:lnTo>
                      <a:pt x="89" y="232"/>
                    </a:lnTo>
                    <a:lnTo>
                      <a:pt x="89" y="232"/>
                    </a:lnTo>
                    <a:lnTo>
                      <a:pt x="86" y="221"/>
                    </a:lnTo>
                    <a:lnTo>
                      <a:pt x="86" y="221"/>
                    </a:lnTo>
                    <a:lnTo>
                      <a:pt x="85" y="218"/>
                    </a:lnTo>
                    <a:lnTo>
                      <a:pt x="85" y="218"/>
                    </a:lnTo>
                    <a:lnTo>
                      <a:pt x="84" y="216"/>
                    </a:lnTo>
                    <a:lnTo>
                      <a:pt x="84" y="216"/>
                    </a:lnTo>
                    <a:lnTo>
                      <a:pt x="82" y="215"/>
                    </a:lnTo>
                    <a:lnTo>
                      <a:pt x="82" y="215"/>
                    </a:lnTo>
                    <a:lnTo>
                      <a:pt x="79" y="212"/>
                    </a:lnTo>
                    <a:lnTo>
                      <a:pt x="79" y="212"/>
                    </a:lnTo>
                    <a:lnTo>
                      <a:pt x="79" y="212"/>
                    </a:lnTo>
                    <a:lnTo>
                      <a:pt x="78" y="212"/>
                    </a:lnTo>
                    <a:lnTo>
                      <a:pt x="78" y="212"/>
                    </a:lnTo>
                    <a:lnTo>
                      <a:pt x="78" y="211"/>
                    </a:lnTo>
                    <a:lnTo>
                      <a:pt x="78" y="211"/>
                    </a:lnTo>
                    <a:lnTo>
                      <a:pt x="75" y="209"/>
                    </a:lnTo>
                    <a:lnTo>
                      <a:pt x="75" y="209"/>
                    </a:lnTo>
                    <a:lnTo>
                      <a:pt x="75" y="209"/>
                    </a:lnTo>
                    <a:lnTo>
                      <a:pt x="73" y="211"/>
                    </a:lnTo>
                    <a:lnTo>
                      <a:pt x="73" y="211"/>
                    </a:lnTo>
                    <a:lnTo>
                      <a:pt x="69" y="212"/>
                    </a:lnTo>
                    <a:lnTo>
                      <a:pt x="69" y="212"/>
                    </a:lnTo>
                    <a:lnTo>
                      <a:pt x="65" y="218"/>
                    </a:lnTo>
                    <a:lnTo>
                      <a:pt x="65" y="218"/>
                    </a:lnTo>
                    <a:lnTo>
                      <a:pt x="59" y="222"/>
                    </a:lnTo>
                    <a:lnTo>
                      <a:pt x="59" y="222"/>
                    </a:lnTo>
                    <a:lnTo>
                      <a:pt x="50" y="226"/>
                    </a:lnTo>
                    <a:lnTo>
                      <a:pt x="50" y="226"/>
                    </a:lnTo>
                    <a:lnTo>
                      <a:pt x="44" y="229"/>
                    </a:lnTo>
                    <a:lnTo>
                      <a:pt x="44" y="229"/>
                    </a:lnTo>
                    <a:lnTo>
                      <a:pt x="44" y="229"/>
                    </a:lnTo>
                    <a:lnTo>
                      <a:pt x="42" y="228"/>
                    </a:lnTo>
                    <a:lnTo>
                      <a:pt x="42" y="228"/>
                    </a:lnTo>
                    <a:lnTo>
                      <a:pt x="36" y="225"/>
                    </a:lnTo>
                    <a:lnTo>
                      <a:pt x="36" y="225"/>
                    </a:lnTo>
                    <a:lnTo>
                      <a:pt x="33" y="222"/>
                    </a:lnTo>
                    <a:lnTo>
                      <a:pt x="33" y="222"/>
                    </a:lnTo>
                    <a:lnTo>
                      <a:pt x="33" y="222"/>
                    </a:lnTo>
                    <a:lnTo>
                      <a:pt x="33" y="222"/>
                    </a:lnTo>
                    <a:lnTo>
                      <a:pt x="37" y="212"/>
                    </a:lnTo>
                    <a:lnTo>
                      <a:pt x="37" y="212"/>
                    </a:lnTo>
                    <a:lnTo>
                      <a:pt x="39" y="206"/>
                    </a:lnTo>
                    <a:lnTo>
                      <a:pt x="40" y="200"/>
                    </a:lnTo>
                    <a:lnTo>
                      <a:pt x="40" y="200"/>
                    </a:lnTo>
                    <a:lnTo>
                      <a:pt x="40" y="197"/>
                    </a:lnTo>
                    <a:lnTo>
                      <a:pt x="40" y="197"/>
                    </a:lnTo>
                    <a:lnTo>
                      <a:pt x="37" y="187"/>
                    </a:lnTo>
                    <a:lnTo>
                      <a:pt x="34" y="180"/>
                    </a:lnTo>
                    <a:lnTo>
                      <a:pt x="29" y="174"/>
                    </a:lnTo>
                    <a:lnTo>
                      <a:pt x="29" y="174"/>
                    </a:lnTo>
                    <a:lnTo>
                      <a:pt x="18" y="163"/>
                    </a:lnTo>
                    <a:lnTo>
                      <a:pt x="8" y="154"/>
                    </a:lnTo>
                    <a:lnTo>
                      <a:pt x="8" y="154"/>
                    </a:lnTo>
                    <a:lnTo>
                      <a:pt x="4" y="147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4" y="135"/>
                    </a:lnTo>
                    <a:lnTo>
                      <a:pt x="7" y="131"/>
                    </a:lnTo>
                    <a:lnTo>
                      <a:pt x="7" y="131"/>
                    </a:lnTo>
                    <a:lnTo>
                      <a:pt x="7" y="128"/>
                    </a:lnTo>
                    <a:lnTo>
                      <a:pt x="7" y="128"/>
                    </a:lnTo>
                    <a:lnTo>
                      <a:pt x="5" y="118"/>
                    </a:lnTo>
                    <a:lnTo>
                      <a:pt x="5" y="118"/>
                    </a:lnTo>
                    <a:lnTo>
                      <a:pt x="7" y="112"/>
                    </a:lnTo>
                    <a:lnTo>
                      <a:pt x="7" y="112"/>
                    </a:lnTo>
                    <a:lnTo>
                      <a:pt x="8" y="108"/>
                    </a:lnTo>
                    <a:lnTo>
                      <a:pt x="10" y="102"/>
                    </a:lnTo>
                    <a:lnTo>
                      <a:pt x="10" y="102"/>
                    </a:lnTo>
                    <a:lnTo>
                      <a:pt x="13" y="95"/>
                    </a:lnTo>
                    <a:lnTo>
                      <a:pt x="14" y="89"/>
                    </a:lnTo>
                    <a:lnTo>
                      <a:pt x="18" y="86"/>
                    </a:lnTo>
                    <a:lnTo>
                      <a:pt x="18" y="86"/>
                    </a:lnTo>
                    <a:lnTo>
                      <a:pt x="21" y="83"/>
                    </a:lnTo>
                    <a:lnTo>
                      <a:pt x="26" y="79"/>
                    </a:lnTo>
                    <a:lnTo>
                      <a:pt x="31" y="71"/>
                    </a:lnTo>
                    <a:lnTo>
                      <a:pt x="31" y="71"/>
                    </a:lnTo>
                    <a:lnTo>
                      <a:pt x="39" y="50"/>
                    </a:lnTo>
                    <a:lnTo>
                      <a:pt x="46" y="37"/>
                    </a:lnTo>
                    <a:lnTo>
                      <a:pt x="49" y="31"/>
                    </a:lnTo>
                    <a:lnTo>
                      <a:pt x="53" y="28"/>
                    </a:lnTo>
                    <a:lnTo>
                      <a:pt x="53" y="28"/>
                    </a:lnTo>
                    <a:lnTo>
                      <a:pt x="58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5" y="27"/>
                    </a:lnTo>
                    <a:lnTo>
                      <a:pt x="65" y="27"/>
                    </a:lnTo>
                    <a:lnTo>
                      <a:pt x="68" y="27"/>
                    </a:lnTo>
                    <a:lnTo>
                      <a:pt x="68" y="27"/>
                    </a:lnTo>
                    <a:lnTo>
                      <a:pt x="72" y="27"/>
                    </a:lnTo>
                    <a:lnTo>
                      <a:pt x="73" y="25"/>
                    </a:lnTo>
                    <a:lnTo>
                      <a:pt x="73" y="24"/>
                    </a:lnTo>
                    <a:lnTo>
                      <a:pt x="73" y="24"/>
                    </a:lnTo>
                    <a:lnTo>
                      <a:pt x="73" y="21"/>
                    </a:lnTo>
                    <a:lnTo>
                      <a:pt x="75" y="16"/>
                    </a:lnTo>
                    <a:lnTo>
                      <a:pt x="78" y="14"/>
                    </a:lnTo>
                    <a:lnTo>
                      <a:pt x="78" y="8"/>
                    </a:lnTo>
                    <a:lnTo>
                      <a:pt x="81" y="8"/>
                    </a:lnTo>
                    <a:lnTo>
                      <a:pt x="81" y="8"/>
                    </a:lnTo>
                    <a:lnTo>
                      <a:pt x="88" y="3"/>
                    </a:lnTo>
                    <a:lnTo>
                      <a:pt x="91" y="0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7" y="6"/>
                    </a:lnTo>
                    <a:lnTo>
                      <a:pt x="98" y="16"/>
                    </a:lnTo>
                    <a:lnTo>
                      <a:pt x="100" y="27"/>
                    </a:lnTo>
                    <a:lnTo>
                      <a:pt x="101" y="31"/>
                    </a:lnTo>
                    <a:lnTo>
                      <a:pt x="101" y="31"/>
                    </a:lnTo>
                    <a:lnTo>
                      <a:pt x="104" y="38"/>
                    </a:lnTo>
                    <a:lnTo>
                      <a:pt x="104" y="43"/>
                    </a:lnTo>
                    <a:lnTo>
                      <a:pt x="104" y="47"/>
                    </a:lnTo>
                    <a:lnTo>
                      <a:pt x="104" y="47"/>
                    </a:lnTo>
                    <a:lnTo>
                      <a:pt x="101" y="51"/>
                    </a:lnTo>
                    <a:lnTo>
                      <a:pt x="97" y="57"/>
                    </a:lnTo>
                    <a:lnTo>
                      <a:pt x="91" y="64"/>
                    </a:lnTo>
                    <a:lnTo>
                      <a:pt x="89" y="69"/>
                    </a:lnTo>
                    <a:lnTo>
                      <a:pt x="89" y="69"/>
                    </a:lnTo>
                    <a:lnTo>
                      <a:pt x="88" y="76"/>
                    </a:lnTo>
                    <a:lnTo>
                      <a:pt x="89" y="79"/>
                    </a:lnTo>
                    <a:lnTo>
                      <a:pt x="91" y="82"/>
                    </a:lnTo>
                    <a:lnTo>
                      <a:pt x="91" y="82"/>
                    </a:lnTo>
                    <a:lnTo>
                      <a:pt x="98" y="86"/>
                    </a:lnTo>
                    <a:lnTo>
                      <a:pt x="102" y="89"/>
                    </a:lnTo>
                    <a:lnTo>
                      <a:pt x="105" y="93"/>
                    </a:lnTo>
                    <a:lnTo>
                      <a:pt x="105" y="93"/>
                    </a:lnTo>
                    <a:lnTo>
                      <a:pt x="108" y="99"/>
                    </a:lnTo>
                    <a:lnTo>
                      <a:pt x="113" y="105"/>
                    </a:lnTo>
                    <a:lnTo>
                      <a:pt x="115" y="109"/>
                    </a:lnTo>
                    <a:lnTo>
                      <a:pt x="115" y="112"/>
                    </a:lnTo>
                    <a:lnTo>
                      <a:pt x="115" y="112"/>
                    </a:lnTo>
                    <a:lnTo>
                      <a:pt x="111" y="119"/>
                    </a:lnTo>
                    <a:lnTo>
                      <a:pt x="110" y="124"/>
                    </a:lnTo>
                    <a:lnTo>
                      <a:pt x="111" y="125"/>
                    </a:lnTo>
                    <a:lnTo>
                      <a:pt x="111" y="127"/>
                    </a:lnTo>
                    <a:lnTo>
                      <a:pt x="111" y="127"/>
                    </a:lnTo>
                    <a:lnTo>
                      <a:pt x="118" y="129"/>
                    </a:lnTo>
                    <a:lnTo>
                      <a:pt x="127" y="131"/>
                    </a:lnTo>
                    <a:lnTo>
                      <a:pt x="127" y="131"/>
                    </a:lnTo>
                    <a:lnTo>
                      <a:pt x="130" y="131"/>
                    </a:lnTo>
                    <a:lnTo>
                      <a:pt x="130" y="131"/>
                    </a:lnTo>
                    <a:lnTo>
                      <a:pt x="134" y="128"/>
                    </a:lnTo>
                    <a:lnTo>
                      <a:pt x="139" y="127"/>
                    </a:lnTo>
                    <a:lnTo>
                      <a:pt x="139" y="127"/>
                    </a:lnTo>
                    <a:lnTo>
                      <a:pt x="140" y="127"/>
                    </a:lnTo>
                    <a:lnTo>
                      <a:pt x="140" y="128"/>
                    </a:lnTo>
                    <a:lnTo>
                      <a:pt x="140" y="128"/>
                    </a:lnTo>
                    <a:lnTo>
                      <a:pt x="133" y="140"/>
                    </a:lnTo>
                    <a:lnTo>
                      <a:pt x="133" y="140"/>
                    </a:lnTo>
                    <a:lnTo>
                      <a:pt x="121" y="151"/>
                    </a:lnTo>
                    <a:lnTo>
                      <a:pt x="121" y="151"/>
                    </a:lnTo>
                    <a:lnTo>
                      <a:pt x="117" y="150"/>
                    </a:lnTo>
                    <a:lnTo>
                      <a:pt x="117" y="150"/>
                    </a:lnTo>
                    <a:lnTo>
                      <a:pt x="114" y="151"/>
                    </a:lnTo>
                    <a:lnTo>
                      <a:pt x="111" y="153"/>
                    </a:lnTo>
                    <a:lnTo>
                      <a:pt x="111" y="153"/>
                    </a:lnTo>
                    <a:lnTo>
                      <a:pt x="108" y="157"/>
                    </a:lnTo>
                    <a:lnTo>
                      <a:pt x="105" y="161"/>
                    </a:lnTo>
                    <a:lnTo>
                      <a:pt x="102" y="164"/>
                    </a:lnTo>
                    <a:lnTo>
                      <a:pt x="98" y="167"/>
                    </a:lnTo>
                    <a:lnTo>
                      <a:pt x="98" y="167"/>
                    </a:lnTo>
                    <a:lnTo>
                      <a:pt x="95" y="169"/>
                    </a:lnTo>
                    <a:lnTo>
                      <a:pt x="92" y="171"/>
                    </a:lnTo>
                    <a:lnTo>
                      <a:pt x="89" y="176"/>
                    </a:lnTo>
                    <a:lnTo>
                      <a:pt x="88" y="180"/>
                    </a:lnTo>
                    <a:lnTo>
                      <a:pt x="88" y="180"/>
                    </a:lnTo>
                    <a:lnTo>
                      <a:pt x="88" y="184"/>
                    </a:lnTo>
                    <a:lnTo>
                      <a:pt x="88" y="184"/>
                    </a:lnTo>
                    <a:lnTo>
                      <a:pt x="89" y="196"/>
                    </a:lnTo>
                    <a:lnTo>
                      <a:pt x="91" y="203"/>
                    </a:lnTo>
                    <a:lnTo>
                      <a:pt x="91" y="203"/>
                    </a:lnTo>
                    <a:lnTo>
                      <a:pt x="98" y="211"/>
                    </a:lnTo>
                    <a:lnTo>
                      <a:pt x="102" y="216"/>
                    </a:lnTo>
                    <a:lnTo>
                      <a:pt x="104" y="222"/>
                    </a:lnTo>
                    <a:lnTo>
                      <a:pt x="104" y="222"/>
                    </a:lnTo>
                    <a:lnTo>
                      <a:pt x="104" y="228"/>
                    </a:lnTo>
                    <a:lnTo>
                      <a:pt x="104" y="228"/>
                    </a:lnTo>
                    <a:lnTo>
                      <a:pt x="104" y="234"/>
                    </a:lnTo>
                    <a:lnTo>
                      <a:pt x="102" y="238"/>
                    </a:lnTo>
                    <a:lnTo>
                      <a:pt x="102" y="238"/>
                    </a:lnTo>
                    <a:lnTo>
                      <a:pt x="101" y="239"/>
                    </a:lnTo>
                    <a:lnTo>
                      <a:pt x="101" y="239"/>
                    </a:lnTo>
                    <a:lnTo>
                      <a:pt x="104" y="247"/>
                    </a:lnTo>
                    <a:lnTo>
                      <a:pt x="108" y="257"/>
                    </a:lnTo>
                    <a:lnTo>
                      <a:pt x="108" y="257"/>
                    </a:lnTo>
                    <a:lnTo>
                      <a:pt x="113" y="268"/>
                    </a:lnTo>
                    <a:lnTo>
                      <a:pt x="114" y="276"/>
                    </a:lnTo>
                    <a:lnTo>
                      <a:pt x="114" y="283"/>
                    </a:lnTo>
                    <a:lnTo>
                      <a:pt x="114" y="283"/>
                    </a:lnTo>
                    <a:lnTo>
                      <a:pt x="114" y="287"/>
                    </a:lnTo>
                    <a:lnTo>
                      <a:pt x="114" y="287"/>
                    </a:lnTo>
                    <a:lnTo>
                      <a:pt x="108" y="306"/>
                    </a:lnTo>
                    <a:lnTo>
                      <a:pt x="105" y="316"/>
                    </a:lnTo>
                    <a:lnTo>
                      <a:pt x="102" y="322"/>
                    </a:lnTo>
                    <a:lnTo>
                      <a:pt x="102" y="322"/>
                    </a:lnTo>
                    <a:lnTo>
                      <a:pt x="95" y="32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41" name="Freeform 292"/>
              <p:cNvSpPr>
                <a:spLocks/>
              </p:cNvSpPr>
              <p:nvPr/>
            </p:nvSpPr>
            <p:spPr bwMode="auto">
              <a:xfrm>
                <a:off x="5879801" y="2847240"/>
                <a:ext cx="138496" cy="321509"/>
              </a:xfrm>
              <a:custGeom>
                <a:avLst/>
                <a:gdLst>
                  <a:gd name="T0" fmla="*/ 95 w 140"/>
                  <a:gd name="T1" fmla="*/ 324 h 325"/>
                  <a:gd name="T2" fmla="*/ 102 w 140"/>
                  <a:gd name="T3" fmla="*/ 303 h 325"/>
                  <a:gd name="T4" fmla="*/ 102 w 140"/>
                  <a:gd name="T5" fmla="*/ 302 h 325"/>
                  <a:gd name="T6" fmla="*/ 104 w 140"/>
                  <a:gd name="T7" fmla="*/ 293 h 325"/>
                  <a:gd name="T8" fmla="*/ 104 w 140"/>
                  <a:gd name="T9" fmla="*/ 279 h 325"/>
                  <a:gd name="T10" fmla="*/ 101 w 140"/>
                  <a:gd name="T11" fmla="*/ 270 h 325"/>
                  <a:gd name="T12" fmla="*/ 89 w 140"/>
                  <a:gd name="T13" fmla="*/ 232 h 325"/>
                  <a:gd name="T14" fmla="*/ 85 w 140"/>
                  <a:gd name="T15" fmla="*/ 218 h 325"/>
                  <a:gd name="T16" fmla="*/ 82 w 140"/>
                  <a:gd name="T17" fmla="*/ 215 h 325"/>
                  <a:gd name="T18" fmla="*/ 78 w 140"/>
                  <a:gd name="T19" fmla="*/ 212 h 325"/>
                  <a:gd name="T20" fmla="*/ 75 w 140"/>
                  <a:gd name="T21" fmla="*/ 209 h 325"/>
                  <a:gd name="T22" fmla="*/ 73 w 140"/>
                  <a:gd name="T23" fmla="*/ 211 h 325"/>
                  <a:gd name="T24" fmla="*/ 65 w 140"/>
                  <a:gd name="T25" fmla="*/ 218 h 325"/>
                  <a:gd name="T26" fmla="*/ 50 w 140"/>
                  <a:gd name="T27" fmla="*/ 226 h 325"/>
                  <a:gd name="T28" fmla="*/ 42 w 140"/>
                  <a:gd name="T29" fmla="*/ 228 h 325"/>
                  <a:gd name="T30" fmla="*/ 33 w 140"/>
                  <a:gd name="T31" fmla="*/ 222 h 325"/>
                  <a:gd name="T32" fmla="*/ 37 w 140"/>
                  <a:gd name="T33" fmla="*/ 212 h 325"/>
                  <a:gd name="T34" fmla="*/ 40 w 140"/>
                  <a:gd name="T35" fmla="*/ 200 h 325"/>
                  <a:gd name="T36" fmla="*/ 34 w 140"/>
                  <a:gd name="T37" fmla="*/ 180 h 325"/>
                  <a:gd name="T38" fmla="*/ 8 w 140"/>
                  <a:gd name="T39" fmla="*/ 154 h 325"/>
                  <a:gd name="T40" fmla="*/ 0 w 140"/>
                  <a:gd name="T41" fmla="*/ 140 h 325"/>
                  <a:gd name="T42" fmla="*/ 7 w 140"/>
                  <a:gd name="T43" fmla="*/ 128 h 325"/>
                  <a:gd name="T44" fmla="*/ 7 w 140"/>
                  <a:gd name="T45" fmla="*/ 112 h 325"/>
                  <a:gd name="T46" fmla="*/ 10 w 140"/>
                  <a:gd name="T47" fmla="*/ 102 h 325"/>
                  <a:gd name="T48" fmla="*/ 18 w 140"/>
                  <a:gd name="T49" fmla="*/ 86 h 325"/>
                  <a:gd name="T50" fmla="*/ 31 w 140"/>
                  <a:gd name="T51" fmla="*/ 71 h 325"/>
                  <a:gd name="T52" fmla="*/ 53 w 140"/>
                  <a:gd name="T53" fmla="*/ 28 h 325"/>
                  <a:gd name="T54" fmla="*/ 63 w 140"/>
                  <a:gd name="T55" fmla="*/ 27 h 325"/>
                  <a:gd name="T56" fmla="*/ 68 w 140"/>
                  <a:gd name="T57" fmla="*/ 27 h 325"/>
                  <a:gd name="T58" fmla="*/ 73 w 140"/>
                  <a:gd name="T59" fmla="*/ 24 h 325"/>
                  <a:gd name="T60" fmla="*/ 78 w 140"/>
                  <a:gd name="T61" fmla="*/ 8 h 325"/>
                  <a:gd name="T62" fmla="*/ 91 w 140"/>
                  <a:gd name="T63" fmla="*/ 0 h 325"/>
                  <a:gd name="T64" fmla="*/ 95 w 140"/>
                  <a:gd name="T65" fmla="*/ 0 h 325"/>
                  <a:gd name="T66" fmla="*/ 101 w 140"/>
                  <a:gd name="T67" fmla="*/ 31 h 325"/>
                  <a:gd name="T68" fmla="*/ 104 w 140"/>
                  <a:gd name="T69" fmla="*/ 47 h 325"/>
                  <a:gd name="T70" fmla="*/ 91 w 140"/>
                  <a:gd name="T71" fmla="*/ 64 h 325"/>
                  <a:gd name="T72" fmla="*/ 89 w 140"/>
                  <a:gd name="T73" fmla="*/ 79 h 325"/>
                  <a:gd name="T74" fmla="*/ 102 w 140"/>
                  <a:gd name="T75" fmla="*/ 89 h 325"/>
                  <a:gd name="T76" fmla="*/ 113 w 140"/>
                  <a:gd name="T77" fmla="*/ 105 h 325"/>
                  <a:gd name="T78" fmla="*/ 111 w 140"/>
                  <a:gd name="T79" fmla="*/ 119 h 325"/>
                  <a:gd name="T80" fmla="*/ 111 w 140"/>
                  <a:gd name="T81" fmla="*/ 127 h 325"/>
                  <a:gd name="T82" fmla="*/ 130 w 140"/>
                  <a:gd name="T83" fmla="*/ 131 h 325"/>
                  <a:gd name="T84" fmla="*/ 139 w 140"/>
                  <a:gd name="T85" fmla="*/ 127 h 325"/>
                  <a:gd name="T86" fmla="*/ 133 w 140"/>
                  <a:gd name="T87" fmla="*/ 140 h 325"/>
                  <a:gd name="T88" fmla="*/ 117 w 140"/>
                  <a:gd name="T89" fmla="*/ 150 h 325"/>
                  <a:gd name="T90" fmla="*/ 111 w 140"/>
                  <a:gd name="T91" fmla="*/ 153 h 325"/>
                  <a:gd name="T92" fmla="*/ 98 w 140"/>
                  <a:gd name="T93" fmla="*/ 167 h 325"/>
                  <a:gd name="T94" fmla="*/ 89 w 140"/>
                  <a:gd name="T95" fmla="*/ 176 h 325"/>
                  <a:gd name="T96" fmla="*/ 88 w 140"/>
                  <a:gd name="T97" fmla="*/ 184 h 325"/>
                  <a:gd name="T98" fmla="*/ 98 w 140"/>
                  <a:gd name="T99" fmla="*/ 211 h 325"/>
                  <a:gd name="T100" fmla="*/ 104 w 140"/>
                  <a:gd name="T101" fmla="*/ 228 h 325"/>
                  <a:gd name="T102" fmla="*/ 102 w 140"/>
                  <a:gd name="T103" fmla="*/ 238 h 325"/>
                  <a:gd name="T104" fmla="*/ 108 w 140"/>
                  <a:gd name="T105" fmla="*/ 257 h 325"/>
                  <a:gd name="T106" fmla="*/ 114 w 140"/>
                  <a:gd name="T107" fmla="*/ 283 h 325"/>
                  <a:gd name="T108" fmla="*/ 108 w 140"/>
                  <a:gd name="T109" fmla="*/ 306 h 325"/>
                  <a:gd name="T110" fmla="*/ 95 w 140"/>
                  <a:gd name="T111" fmla="*/ 32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0" h="325">
                    <a:moveTo>
                      <a:pt x="95" y="325"/>
                    </a:moveTo>
                    <a:lnTo>
                      <a:pt x="95" y="325"/>
                    </a:lnTo>
                    <a:lnTo>
                      <a:pt x="95" y="324"/>
                    </a:lnTo>
                    <a:lnTo>
                      <a:pt x="95" y="324"/>
                    </a:lnTo>
                    <a:lnTo>
                      <a:pt x="98" y="318"/>
                    </a:lnTo>
                    <a:lnTo>
                      <a:pt x="98" y="318"/>
                    </a:lnTo>
                    <a:lnTo>
                      <a:pt x="101" y="310"/>
                    </a:lnTo>
                    <a:lnTo>
                      <a:pt x="102" y="303"/>
                    </a:lnTo>
                    <a:lnTo>
                      <a:pt x="102" y="302"/>
                    </a:lnTo>
                    <a:lnTo>
                      <a:pt x="102" y="302"/>
                    </a:lnTo>
                    <a:lnTo>
                      <a:pt x="102" y="302"/>
                    </a:lnTo>
                    <a:lnTo>
                      <a:pt x="102" y="302"/>
                    </a:lnTo>
                    <a:lnTo>
                      <a:pt x="102" y="302"/>
                    </a:lnTo>
                    <a:lnTo>
                      <a:pt x="102" y="299"/>
                    </a:lnTo>
                    <a:lnTo>
                      <a:pt x="102" y="299"/>
                    </a:lnTo>
                    <a:lnTo>
                      <a:pt x="104" y="293"/>
                    </a:lnTo>
                    <a:lnTo>
                      <a:pt x="105" y="284"/>
                    </a:lnTo>
                    <a:lnTo>
                      <a:pt x="105" y="284"/>
                    </a:lnTo>
                    <a:lnTo>
                      <a:pt x="105" y="281"/>
                    </a:lnTo>
                    <a:lnTo>
                      <a:pt x="104" y="279"/>
                    </a:lnTo>
                    <a:lnTo>
                      <a:pt x="104" y="279"/>
                    </a:lnTo>
                    <a:lnTo>
                      <a:pt x="102" y="274"/>
                    </a:lnTo>
                    <a:lnTo>
                      <a:pt x="101" y="270"/>
                    </a:lnTo>
                    <a:lnTo>
                      <a:pt x="101" y="270"/>
                    </a:lnTo>
                    <a:lnTo>
                      <a:pt x="97" y="255"/>
                    </a:lnTo>
                    <a:lnTo>
                      <a:pt x="97" y="255"/>
                    </a:lnTo>
                    <a:lnTo>
                      <a:pt x="89" y="232"/>
                    </a:lnTo>
                    <a:lnTo>
                      <a:pt x="89" y="232"/>
                    </a:lnTo>
                    <a:lnTo>
                      <a:pt x="86" y="221"/>
                    </a:lnTo>
                    <a:lnTo>
                      <a:pt x="86" y="221"/>
                    </a:lnTo>
                    <a:lnTo>
                      <a:pt x="85" y="218"/>
                    </a:lnTo>
                    <a:lnTo>
                      <a:pt x="85" y="218"/>
                    </a:lnTo>
                    <a:lnTo>
                      <a:pt x="84" y="216"/>
                    </a:lnTo>
                    <a:lnTo>
                      <a:pt x="84" y="216"/>
                    </a:lnTo>
                    <a:lnTo>
                      <a:pt x="82" y="215"/>
                    </a:lnTo>
                    <a:lnTo>
                      <a:pt x="82" y="215"/>
                    </a:lnTo>
                    <a:lnTo>
                      <a:pt x="79" y="212"/>
                    </a:lnTo>
                    <a:lnTo>
                      <a:pt x="79" y="212"/>
                    </a:lnTo>
                    <a:lnTo>
                      <a:pt x="79" y="212"/>
                    </a:lnTo>
                    <a:lnTo>
                      <a:pt x="78" y="212"/>
                    </a:lnTo>
                    <a:lnTo>
                      <a:pt x="78" y="212"/>
                    </a:lnTo>
                    <a:lnTo>
                      <a:pt x="78" y="211"/>
                    </a:lnTo>
                    <a:lnTo>
                      <a:pt x="78" y="211"/>
                    </a:lnTo>
                    <a:lnTo>
                      <a:pt x="75" y="209"/>
                    </a:lnTo>
                    <a:lnTo>
                      <a:pt x="75" y="209"/>
                    </a:lnTo>
                    <a:lnTo>
                      <a:pt x="75" y="209"/>
                    </a:lnTo>
                    <a:lnTo>
                      <a:pt x="73" y="211"/>
                    </a:lnTo>
                    <a:lnTo>
                      <a:pt x="73" y="211"/>
                    </a:lnTo>
                    <a:lnTo>
                      <a:pt x="69" y="212"/>
                    </a:lnTo>
                    <a:lnTo>
                      <a:pt x="69" y="212"/>
                    </a:lnTo>
                    <a:lnTo>
                      <a:pt x="65" y="218"/>
                    </a:lnTo>
                    <a:lnTo>
                      <a:pt x="65" y="218"/>
                    </a:lnTo>
                    <a:lnTo>
                      <a:pt x="59" y="222"/>
                    </a:lnTo>
                    <a:lnTo>
                      <a:pt x="59" y="222"/>
                    </a:lnTo>
                    <a:lnTo>
                      <a:pt x="50" y="226"/>
                    </a:lnTo>
                    <a:lnTo>
                      <a:pt x="50" y="226"/>
                    </a:lnTo>
                    <a:lnTo>
                      <a:pt x="44" y="229"/>
                    </a:lnTo>
                    <a:lnTo>
                      <a:pt x="44" y="229"/>
                    </a:lnTo>
                    <a:lnTo>
                      <a:pt x="44" y="229"/>
                    </a:lnTo>
                    <a:lnTo>
                      <a:pt x="42" y="228"/>
                    </a:lnTo>
                    <a:lnTo>
                      <a:pt x="42" y="228"/>
                    </a:lnTo>
                    <a:lnTo>
                      <a:pt x="36" y="225"/>
                    </a:lnTo>
                    <a:lnTo>
                      <a:pt x="36" y="225"/>
                    </a:lnTo>
                    <a:lnTo>
                      <a:pt x="33" y="222"/>
                    </a:lnTo>
                    <a:lnTo>
                      <a:pt x="33" y="222"/>
                    </a:lnTo>
                    <a:lnTo>
                      <a:pt x="33" y="222"/>
                    </a:lnTo>
                    <a:lnTo>
                      <a:pt x="33" y="222"/>
                    </a:lnTo>
                    <a:lnTo>
                      <a:pt x="37" y="212"/>
                    </a:lnTo>
                    <a:lnTo>
                      <a:pt x="37" y="212"/>
                    </a:lnTo>
                    <a:lnTo>
                      <a:pt x="39" y="206"/>
                    </a:lnTo>
                    <a:lnTo>
                      <a:pt x="40" y="200"/>
                    </a:lnTo>
                    <a:lnTo>
                      <a:pt x="40" y="200"/>
                    </a:lnTo>
                    <a:lnTo>
                      <a:pt x="40" y="197"/>
                    </a:lnTo>
                    <a:lnTo>
                      <a:pt x="40" y="197"/>
                    </a:lnTo>
                    <a:lnTo>
                      <a:pt x="37" y="187"/>
                    </a:lnTo>
                    <a:lnTo>
                      <a:pt x="34" y="180"/>
                    </a:lnTo>
                    <a:lnTo>
                      <a:pt x="29" y="174"/>
                    </a:lnTo>
                    <a:lnTo>
                      <a:pt x="29" y="174"/>
                    </a:lnTo>
                    <a:lnTo>
                      <a:pt x="18" y="163"/>
                    </a:lnTo>
                    <a:lnTo>
                      <a:pt x="8" y="154"/>
                    </a:lnTo>
                    <a:lnTo>
                      <a:pt x="8" y="154"/>
                    </a:lnTo>
                    <a:lnTo>
                      <a:pt x="4" y="147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4" y="135"/>
                    </a:lnTo>
                    <a:lnTo>
                      <a:pt x="7" y="131"/>
                    </a:lnTo>
                    <a:lnTo>
                      <a:pt x="7" y="131"/>
                    </a:lnTo>
                    <a:lnTo>
                      <a:pt x="7" y="128"/>
                    </a:lnTo>
                    <a:lnTo>
                      <a:pt x="7" y="128"/>
                    </a:lnTo>
                    <a:lnTo>
                      <a:pt x="5" y="118"/>
                    </a:lnTo>
                    <a:lnTo>
                      <a:pt x="5" y="118"/>
                    </a:lnTo>
                    <a:lnTo>
                      <a:pt x="7" y="112"/>
                    </a:lnTo>
                    <a:lnTo>
                      <a:pt x="7" y="112"/>
                    </a:lnTo>
                    <a:lnTo>
                      <a:pt x="8" y="108"/>
                    </a:lnTo>
                    <a:lnTo>
                      <a:pt x="10" y="102"/>
                    </a:lnTo>
                    <a:lnTo>
                      <a:pt x="10" y="102"/>
                    </a:lnTo>
                    <a:lnTo>
                      <a:pt x="13" y="95"/>
                    </a:lnTo>
                    <a:lnTo>
                      <a:pt x="14" y="89"/>
                    </a:lnTo>
                    <a:lnTo>
                      <a:pt x="18" y="86"/>
                    </a:lnTo>
                    <a:lnTo>
                      <a:pt x="18" y="86"/>
                    </a:lnTo>
                    <a:lnTo>
                      <a:pt x="21" y="83"/>
                    </a:lnTo>
                    <a:lnTo>
                      <a:pt x="26" y="79"/>
                    </a:lnTo>
                    <a:lnTo>
                      <a:pt x="31" y="71"/>
                    </a:lnTo>
                    <a:lnTo>
                      <a:pt x="31" y="71"/>
                    </a:lnTo>
                    <a:lnTo>
                      <a:pt x="39" y="50"/>
                    </a:lnTo>
                    <a:lnTo>
                      <a:pt x="46" y="37"/>
                    </a:lnTo>
                    <a:lnTo>
                      <a:pt x="49" y="31"/>
                    </a:lnTo>
                    <a:lnTo>
                      <a:pt x="53" y="28"/>
                    </a:lnTo>
                    <a:lnTo>
                      <a:pt x="53" y="28"/>
                    </a:lnTo>
                    <a:lnTo>
                      <a:pt x="58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5" y="27"/>
                    </a:lnTo>
                    <a:lnTo>
                      <a:pt x="65" y="27"/>
                    </a:lnTo>
                    <a:lnTo>
                      <a:pt x="68" y="27"/>
                    </a:lnTo>
                    <a:lnTo>
                      <a:pt x="68" y="27"/>
                    </a:lnTo>
                    <a:lnTo>
                      <a:pt x="72" y="27"/>
                    </a:lnTo>
                    <a:lnTo>
                      <a:pt x="73" y="25"/>
                    </a:lnTo>
                    <a:lnTo>
                      <a:pt x="73" y="24"/>
                    </a:lnTo>
                    <a:lnTo>
                      <a:pt x="73" y="24"/>
                    </a:lnTo>
                    <a:lnTo>
                      <a:pt x="73" y="21"/>
                    </a:lnTo>
                    <a:lnTo>
                      <a:pt x="75" y="16"/>
                    </a:lnTo>
                    <a:lnTo>
                      <a:pt x="78" y="14"/>
                    </a:lnTo>
                    <a:lnTo>
                      <a:pt x="78" y="8"/>
                    </a:lnTo>
                    <a:lnTo>
                      <a:pt x="81" y="8"/>
                    </a:lnTo>
                    <a:lnTo>
                      <a:pt x="81" y="8"/>
                    </a:lnTo>
                    <a:lnTo>
                      <a:pt x="88" y="3"/>
                    </a:lnTo>
                    <a:lnTo>
                      <a:pt x="91" y="0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7" y="6"/>
                    </a:lnTo>
                    <a:lnTo>
                      <a:pt x="98" y="16"/>
                    </a:lnTo>
                    <a:lnTo>
                      <a:pt x="100" y="27"/>
                    </a:lnTo>
                    <a:lnTo>
                      <a:pt x="101" y="31"/>
                    </a:lnTo>
                    <a:lnTo>
                      <a:pt x="101" y="31"/>
                    </a:lnTo>
                    <a:lnTo>
                      <a:pt x="104" y="38"/>
                    </a:lnTo>
                    <a:lnTo>
                      <a:pt x="104" y="43"/>
                    </a:lnTo>
                    <a:lnTo>
                      <a:pt x="104" y="47"/>
                    </a:lnTo>
                    <a:lnTo>
                      <a:pt x="104" y="47"/>
                    </a:lnTo>
                    <a:lnTo>
                      <a:pt x="101" y="51"/>
                    </a:lnTo>
                    <a:lnTo>
                      <a:pt x="97" y="57"/>
                    </a:lnTo>
                    <a:lnTo>
                      <a:pt x="91" y="64"/>
                    </a:lnTo>
                    <a:lnTo>
                      <a:pt x="89" y="69"/>
                    </a:lnTo>
                    <a:lnTo>
                      <a:pt x="89" y="69"/>
                    </a:lnTo>
                    <a:lnTo>
                      <a:pt x="88" y="76"/>
                    </a:lnTo>
                    <a:lnTo>
                      <a:pt x="89" y="79"/>
                    </a:lnTo>
                    <a:lnTo>
                      <a:pt x="91" y="82"/>
                    </a:lnTo>
                    <a:lnTo>
                      <a:pt x="91" y="82"/>
                    </a:lnTo>
                    <a:lnTo>
                      <a:pt x="98" y="86"/>
                    </a:lnTo>
                    <a:lnTo>
                      <a:pt x="102" y="89"/>
                    </a:lnTo>
                    <a:lnTo>
                      <a:pt x="105" y="93"/>
                    </a:lnTo>
                    <a:lnTo>
                      <a:pt x="105" y="93"/>
                    </a:lnTo>
                    <a:lnTo>
                      <a:pt x="108" y="99"/>
                    </a:lnTo>
                    <a:lnTo>
                      <a:pt x="113" y="105"/>
                    </a:lnTo>
                    <a:lnTo>
                      <a:pt x="115" y="109"/>
                    </a:lnTo>
                    <a:lnTo>
                      <a:pt x="115" y="112"/>
                    </a:lnTo>
                    <a:lnTo>
                      <a:pt x="115" y="112"/>
                    </a:lnTo>
                    <a:lnTo>
                      <a:pt x="111" y="119"/>
                    </a:lnTo>
                    <a:lnTo>
                      <a:pt x="110" y="124"/>
                    </a:lnTo>
                    <a:lnTo>
                      <a:pt x="111" y="125"/>
                    </a:lnTo>
                    <a:lnTo>
                      <a:pt x="111" y="127"/>
                    </a:lnTo>
                    <a:lnTo>
                      <a:pt x="111" y="127"/>
                    </a:lnTo>
                    <a:lnTo>
                      <a:pt x="118" y="129"/>
                    </a:lnTo>
                    <a:lnTo>
                      <a:pt x="127" y="131"/>
                    </a:lnTo>
                    <a:lnTo>
                      <a:pt x="127" y="131"/>
                    </a:lnTo>
                    <a:lnTo>
                      <a:pt x="130" y="131"/>
                    </a:lnTo>
                    <a:lnTo>
                      <a:pt x="130" y="131"/>
                    </a:lnTo>
                    <a:lnTo>
                      <a:pt x="134" y="128"/>
                    </a:lnTo>
                    <a:lnTo>
                      <a:pt x="139" y="127"/>
                    </a:lnTo>
                    <a:lnTo>
                      <a:pt x="139" y="127"/>
                    </a:lnTo>
                    <a:lnTo>
                      <a:pt x="140" y="127"/>
                    </a:lnTo>
                    <a:lnTo>
                      <a:pt x="140" y="128"/>
                    </a:lnTo>
                    <a:lnTo>
                      <a:pt x="140" y="128"/>
                    </a:lnTo>
                    <a:lnTo>
                      <a:pt x="133" y="140"/>
                    </a:lnTo>
                    <a:lnTo>
                      <a:pt x="133" y="140"/>
                    </a:lnTo>
                    <a:lnTo>
                      <a:pt x="121" y="151"/>
                    </a:lnTo>
                    <a:lnTo>
                      <a:pt x="121" y="151"/>
                    </a:lnTo>
                    <a:lnTo>
                      <a:pt x="117" y="150"/>
                    </a:lnTo>
                    <a:lnTo>
                      <a:pt x="117" y="150"/>
                    </a:lnTo>
                    <a:lnTo>
                      <a:pt x="114" y="151"/>
                    </a:lnTo>
                    <a:lnTo>
                      <a:pt x="111" y="153"/>
                    </a:lnTo>
                    <a:lnTo>
                      <a:pt x="111" y="153"/>
                    </a:lnTo>
                    <a:lnTo>
                      <a:pt x="108" y="157"/>
                    </a:lnTo>
                    <a:lnTo>
                      <a:pt x="105" y="161"/>
                    </a:lnTo>
                    <a:lnTo>
                      <a:pt x="102" y="164"/>
                    </a:lnTo>
                    <a:lnTo>
                      <a:pt x="98" y="167"/>
                    </a:lnTo>
                    <a:lnTo>
                      <a:pt x="98" y="167"/>
                    </a:lnTo>
                    <a:lnTo>
                      <a:pt x="95" y="169"/>
                    </a:lnTo>
                    <a:lnTo>
                      <a:pt x="92" y="171"/>
                    </a:lnTo>
                    <a:lnTo>
                      <a:pt x="89" y="176"/>
                    </a:lnTo>
                    <a:lnTo>
                      <a:pt x="88" y="180"/>
                    </a:lnTo>
                    <a:lnTo>
                      <a:pt x="88" y="180"/>
                    </a:lnTo>
                    <a:lnTo>
                      <a:pt x="88" y="184"/>
                    </a:lnTo>
                    <a:lnTo>
                      <a:pt x="88" y="184"/>
                    </a:lnTo>
                    <a:lnTo>
                      <a:pt x="89" y="196"/>
                    </a:lnTo>
                    <a:lnTo>
                      <a:pt x="91" y="203"/>
                    </a:lnTo>
                    <a:lnTo>
                      <a:pt x="91" y="203"/>
                    </a:lnTo>
                    <a:lnTo>
                      <a:pt x="98" y="211"/>
                    </a:lnTo>
                    <a:lnTo>
                      <a:pt x="102" y="216"/>
                    </a:lnTo>
                    <a:lnTo>
                      <a:pt x="104" y="222"/>
                    </a:lnTo>
                    <a:lnTo>
                      <a:pt x="104" y="222"/>
                    </a:lnTo>
                    <a:lnTo>
                      <a:pt x="104" y="228"/>
                    </a:lnTo>
                    <a:lnTo>
                      <a:pt x="104" y="228"/>
                    </a:lnTo>
                    <a:lnTo>
                      <a:pt x="104" y="234"/>
                    </a:lnTo>
                    <a:lnTo>
                      <a:pt x="102" y="238"/>
                    </a:lnTo>
                    <a:lnTo>
                      <a:pt x="102" y="238"/>
                    </a:lnTo>
                    <a:lnTo>
                      <a:pt x="101" y="239"/>
                    </a:lnTo>
                    <a:lnTo>
                      <a:pt x="101" y="239"/>
                    </a:lnTo>
                    <a:lnTo>
                      <a:pt x="104" y="247"/>
                    </a:lnTo>
                    <a:lnTo>
                      <a:pt x="108" y="257"/>
                    </a:lnTo>
                    <a:lnTo>
                      <a:pt x="108" y="257"/>
                    </a:lnTo>
                    <a:lnTo>
                      <a:pt x="113" y="268"/>
                    </a:lnTo>
                    <a:lnTo>
                      <a:pt x="114" y="276"/>
                    </a:lnTo>
                    <a:lnTo>
                      <a:pt x="114" y="283"/>
                    </a:lnTo>
                    <a:lnTo>
                      <a:pt x="114" y="283"/>
                    </a:lnTo>
                    <a:lnTo>
                      <a:pt x="114" y="287"/>
                    </a:lnTo>
                    <a:lnTo>
                      <a:pt x="114" y="287"/>
                    </a:lnTo>
                    <a:lnTo>
                      <a:pt x="108" y="306"/>
                    </a:lnTo>
                    <a:lnTo>
                      <a:pt x="105" y="316"/>
                    </a:lnTo>
                    <a:lnTo>
                      <a:pt x="102" y="322"/>
                    </a:lnTo>
                    <a:lnTo>
                      <a:pt x="102" y="322"/>
                    </a:lnTo>
                    <a:lnTo>
                      <a:pt x="95" y="32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42" name="Freeform 293"/>
              <p:cNvSpPr>
                <a:spLocks/>
              </p:cNvSpPr>
              <p:nvPr/>
            </p:nvSpPr>
            <p:spPr bwMode="auto">
              <a:xfrm>
                <a:off x="5966856" y="2995629"/>
                <a:ext cx="123657" cy="237422"/>
              </a:xfrm>
              <a:custGeom>
                <a:avLst/>
                <a:gdLst>
                  <a:gd name="T0" fmla="*/ 116 w 125"/>
                  <a:gd name="T1" fmla="*/ 78 h 240"/>
                  <a:gd name="T2" fmla="*/ 109 w 125"/>
                  <a:gd name="T3" fmla="*/ 66 h 240"/>
                  <a:gd name="T4" fmla="*/ 94 w 125"/>
                  <a:gd name="T5" fmla="*/ 39 h 240"/>
                  <a:gd name="T6" fmla="*/ 90 w 125"/>
                  <a:gd name="T7" fmla="*/ 39 h 240"/>
                  <a:gd name="T8" fmla="*/ 85 w 125"/>
                  <a:gd name="T9" fmla="*/ 42 h 240"/>
                  <a:gd name="T10" fmla="*/ 84 w 125"/>
                  <a:gd name="T11" fmla="*/ 42 h 240"/>
                  <a:gd name="T12" fmla="*/ 74 w 125"/>
                  <a:gd name="T13" fmla="*/ 36 h 240"/>
                  <a:gd name="T14" fmla="*/ 67 w 125"/>
                  <a:gd name="T15" fmla="*/ 40 h 240"/>
                  <a:gd name="T16" fmla="*/ 52 w 125"/>
                  <a:gd name="T17" fmla="*/ 50 h 240"/>
                  <a:gd name="T18" fmla="*/ 49 w 125"/>
                  <a:gd name="T19" fmla="*/ 49 h 240"/>
                  <a:gd name="T20" fmla="*/ 51 w 125"/>
                  <a:gd name="T21" fmla="*/ 37 h 240"/>
                  <a:gd name="T22" fmla="*/ 54 w 125"/>
                  <a:gd name="T23" fmla="*/ 24 h 240"/>
                  <a:gd name="T24" fmla="*/ 46 w 125"/>
                  <a:gd name="T25" fmla="*/ 14 h 240"/>
                  <a:gd name="T26" fmla="*/ 42 w 125"/>
                  <a:gd name="T27" fmla="*/ 7 h 240"/>
                  <a:gd name="T28" fmla="*/ 29 w 125"/>
                  <a:gd name="T29" fmla="*/ 0 h 240"/>
                  <a:gd name="T30" fmla="*/ 23 w 125"/>
                  <a:gd name="T31" fmla="*/ 3 h 240"/>
                  <a:gd name="T32" fmla="*/ 14 w 125"/>
                  <a:gd name="T33" fmla="*/ 14 h 240"/>
                  <a:gd name="T34" fmla="*/ 7 w 125"/>
                  <a:gd name="T35" fmla="*/ 19 h 240"/>
                  <a:gd name="T36" fmla="*/ 0 w 125"/>
                  <a:gd name="T37" fmla="*/ 30 h 240"/>
                  <a:gd name="T38" fmla="*/ 1 w 125"/>
                  <a:gd name="T39" fmla="*/ 43 h 240"/>
                  <a:gd name="T40" fmla="*/ 10 w 125"/>
                  <a:gd name="T41" fmla="*/ 61 h 240"/>
                  <a:gd name="T42" fmla="*/ 16 w 125"/>
                  <a:gd name="T43" fmla="*/ 72 h 240"/>
                  <a:gd name="T44" fmla="*/ 14 w 125"/>
                  <a:gd name="T45" fmla="*/ 88 h 240"/>
                  <a:gd name="T46" fmla="*/ 14 w 125"/>
                  <a:gd name="T47" fmla="*/ 95 h 240"/>
                  <a:gd name="T48" fmla="*/ 25 w 125"/>
                  <a:gd name="T49" fmla="*/ 121 h 240"/>
                  <a:gd name="T50" fmla="*/ 26 w 125"/>
                  <a:gd name="T51" fmla="*/ 137 h 240"/>
                  <a:gd name="T52" fmla="*/ 14 w 125"/>
                  <a:gd name="T53" fmla="*/ 172 h 240"/>
                  <a:gd name="T54" fmla="*/ 4 w 125"/>
                  <a:gd name="T55" fmla="*/ 176 h 240"/>
                  <a:gd name="T56" fmla="*/ 6 w 125"/>
                  <a:gd name="T57" fmla="*/ 191 h 240"/>
                  <a:gd name="T58" fmla="*/ 9 w 125"/>
                  <a:gd name="T59" fmla="*/ 202 h 240"/>
                  <a:gd name="T60" fmla="*/ 17 w 125"/>
                  <a:gd name="T61" fmla="*/ 208 h 240"/>
                  <a:gd name="T62" fmla="*/ 35 w 125"/>
                  <a:gd name="T63" fmla="*/ 229 h 240"/>
                  <a:gd name="T64" fmla="*/ 48 w 125"/>
                  <a:gd name="T65" fmla="*/ 237 h 240"/>
                  <a:gd name="T66" fmla="*/ 55 w 125"/>
                  <a:gd name="T67" fmla="*/ 240 h 240"/>
                  <a:gd name="T68" fmla="*/ 67 w 125"/>
                  <a:gd name="T69" fmla="*/ 234 h 240"/>
                  <a:gd name="T70" fmla="*/ 52 w 125"/>
                  <a:gd name="T71" fmla="*/ 227 h 240"/>
                  <a:gd name="T72" fmla="*/ 42 w 125"/>
                  <a:gd name="T73" fmla="*/ 210 h 240"/>
                  <a:gd name="T74" fmla="*/ 33 w 125"/>
                  <a:gd name="T75" fmla="*/ 188 h 240"/>
                  <a:gd name="T76" fmla="*/ 27 w 125"/>
                  <a:gd name="T77" fmla="*/ 189 h 240"/>
                  <a:gd name="T78" fmla="*/ 25 w 125"/>
                  <a:gd name="T79" fmla="*/ 184 h 240"/>
                  <a:gd name="T80" fmla="*/ 25 w 125"/>
                  <a:gd name="T81" fmla="*/ 174 h 240"/>
                  <a:gd name="T82" fmla="*/ 32 w 125"/>
                  <a:gd name="T83" fmla="*/ 156 h 240"/>
                  <a:gd name="T84" fmla="*/ 43 w 125"/>
                  <a:gd name="T85" fmla="*/ 121 h 240"/>
                  <a:gd name="T86" fmla="*/ 48 w 125"/>
                  <a:gd name="T87" fmla="*/ 123 h 240"/>
                  <a:gd name="T88" fmla="*/ 54 w 125"/>
                  <a:gd name="T89" fmla="*/ 130 h 240"/>
                  <a:gd name="T90" fmla="*/ 62 w 125"/>
                  <a:gd name="T91" fmla="*/ 129 h 240"/>
                  <a:gd name="T92" fmla="*/ 69 w 125"/>
                  <a:gd name="T93" fmla="*/ 140 h 240"/>
                  <a:gd name="T94" fmla="*/ 72 w 125"/>
                  <a:gd name="T95" fmla="*/ 143 h 240"/>
                  <a:gd name="T96" fmla="*/ 80 w 125"/>
                  <a:gd name="T97" fmla="*/ 145 h 240"/>
                  <a:gd name="T98" fmla="*/ 78 w 125"/>
                  <a:gd name="T99" fmla="*/ 131 h 240"/>
                  <a:gd name="T100" fmla="*/ 77 w 125"/>
                  <a:gd name="T101" fmla="*/ 126 h 240"/>
                  <a:gd name="T102" fmla="*/ 84 w 125"/>
                  <a:gd name="T103" fmla="*/ 110 h 240"/>
                  <a:gd name="T104" fmla="*/ 90 w 125"/>
                  <a:gd name="T105" fmla="*/ 108 h 240"/>
                  <a:gd name="T106" fmla="*/ 104 w 125"/>
                  <a:gd name="T107" fmla="*/ 108 h 240"/>
                  <a:gd name="T108" fmla="*/ 116 w 125"/>
                  <a:gd name="T109" fmla="*/ 107 h 240"/>
                  <a:gd name="T110" fmla="*/ 125 w 125"/>
                  <a:gd name="T111" fmla="*/ 95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5" h="240">
                    <a:moveTo>
                      <a:pt x="125" y="88"/>
                    </a:moveTo>
                    <a:lnTo>
                      <a:pt x="125" y="88"/>
                    </a:lnTo>
                    <a:lnTo>
                      <a:pt x="116" y="78"/>
                    </a:lnTo>
                    <a:lnTo>
                      <a:pt x="110" y="72"/>
                    </a:lnTo>
                    <a:lnTo>
                      <a:pt x="109" y="66"/>
                    </a:lnTo>
                    <a:lnTo>
                      <a:pt x="109" y="66"/>
                    </a:lnTo>
                    <a:lnTo>
                      <a:pt x="101" y="50"/>
                    </a:lnTo>
                    <a:lnTo>
                      <a:pt x="97" y="42"/>
                    </a:lnTo>
                    <a:lnTo>
                      <a:pt x="94" y="39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0" y="39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5" y="42"/>
                    </a:lnTo>
                    <a:lnTo>
                      <a:pt x="85" y="43"/>
                    </a:lnTo>
                    <a:lnTo>
                      <a:pt x="84" y="42"/>
                    </a:lnTo>
                    <a:lnTo>
                      <a:pt x="84" y="42"/>
                    </a:lnTo>
                    <a:lnTo>
                      <a:pt x="78" y="37"/>
                    </a:lnTo>
                    <a:lnTo>
                      <a:pt x="77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1" y="37"/>
                    </a:lnTo>
                    <a:lnTo>
                      <a:pt x="67" y="40"/>
                    </a:lnTo>
                    <a:lnTo>
                      <a:pt x="58" y="46"/>
                    </a:lnTo>
                    <a:lnTo>
                      <a:pt x="58" y="46"/>
                    </a:lnTo>
                    <a:lnTo>
                      <a:pt x="52" y="50"/>
                    </a:lnTo>
                    <a:lnTo>
                      <a:pt x="51" y="50"/>
                    </a:lnTo>
                    <a:lnTo>
                      <a:pt x="49" y="49"/>
                    </a:lnTo>
                    <a:lnTo>
                      <a:pt x="49" y="49"/>
                    </a:lnTo>
                    <a:lnTo>
                      <a:pt x="48" y="47"/>
                    </a:lnTo>
                    <a:lnTo>
                      <a:pt x="49" y="45"/>
                    </a:lnTo>
                    <a:lnTo>
                      <a:pt x="51" y="37"/>
                    </a:lnTo>
                    <a:lnTo>
                      <a:pt x="54" y="30"/>
                    </a:lnTo>
                    <a:lnTo>
                      <a:pt x="54" y="27"/>
                    </a:lnTo>
                    <a:lnTo>
                      <a:pt x="54" y="24"/>
                    </a:lnTo>
                    <a:lnTo>
                      <a:pt x="54" y="24"/>
                    </a:lnTo>
                    <a:lnTo>
                      <a:pt x="49" y="19"/>
                    </a:lnTo>
                    <a:lnTo>
                      <a:pt x="46" y="14"/>
                    </a:lnTo>
                    <a:lnTo>
                      <a:pt x="43" y="10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39" y="4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6" y="1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20" y="7"/>
                    </a:lnTo>
                    <a:lnTo>
                      <a:pt x="17" y="11"/>
                    </a:lnTo>
                    <a:lnTo>
                      <a:pt x="14" y="14"/>
                    </a:lnTo>
                    <a:lnTo>
                      <a:pt x="10" y="17"/>
                    </a:lnTo>
                    <a:lnTo>
                      <a:pt x="10" y="17"/>
                    </a:lnTo>
                    <a:lnTo>
                      <a:pt x="7" y="19"/>
                    </a:lnTo>
                    <a:lnTo>
                      <a:pt x="4" y="21"/>
                    </a:lnTo>
                    <a:lnTo>
                      <a:pt x="1" y="2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3"/>
                    </a:lnTo>
                    <a:lnTo>
                      <a:pt x="3" y="53"/>
                    </a:lnTo>
                    <a:lnTo>
                      <a:pt x="10" y="61"/>
                    </a:lnTo>
                    <a:lnTo>
                      <a:pt x="14" y="66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81"/>
                    </a:lnTo>
                    <a:lnTo>
                      <a:pt x="16" y="85"/>
                    </a:lnTo>
                    <a:lnTo>
                      <a:pt x="14" y="88"/>
                    </a:lnTo>
                    <a:lnTo>
                      <a:pt x="14" y="88"/>
                    </a:lnTo>
                    <a:lnTo>
                      <a:pt x="13" y="91"/>
                    </a:lnTo>
                    <a:lnTo>
                      <a:pt x="14" y="95"/>
                    </a:lnTo>
                    <a:lnTo>
                      <a:pt x="20" y="107"/>
                    </a:lnTo>
                    <a:lnTo>
                      <a:pt x="20" y="107"/>
                    </a:lnTo>
                    <a:lnTo>
                      <a:pt x="25" y="121"/>
                    </a:lnTo>
                    <a:lnTo>
                      <a:pt x="26" y="130"/>
                    </a:lnTo>
                    <a:lnTo>
                      <a:pt x="26" y="137"/>
                    </a:lnTo>
                    <a:lnTo>
                      <a:pt x="26" y="137"/>
                    </a:lnTo>
                    <a:lnTo>
                      <a:pt x="20" y="156"/>
                    </a:lnTo>
                    <a:lnTo>
                      <a:pt x="17" y="166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4" y="176"/>
                    </a:lnTo>
                    <a:lnTo>
                      <a:pt x="4" y="176"/>
                    </a:lnTo>
                    <a:lnTo>
                      <a:pt x="4" y="179"/>
                    </a:lnTo>
                    <a:lnTo>
                      <a:pt x="4" y="179"/>
                    </a:lnTo>
                    <a:lnTo>
                      <a:pt x="6" y="191"/>
                    </a:lnTo>
                    <a:lnTo>
                      <a:pt x="7" y="198"/>
                    </a:lnTo>
                    <a:lnTo>
                      <a:pt x="9" y="202"/>
                    </a:lnTo>
                    <a:lnTo>
                      <a:pt x="9" y="202"/>
                    </a:lnTo>
                    <a:lnTo>
                      <a:pt x="12" y="205"/>
                    </a:lnTo>
                    <a:lnTo>
                      <a:pt x="13" y="205"/>
                    </a:lnTo>
                    <a:lnTo>
                      <a:pt x="17" y="208"/>
                    </a:lnTo>
                    <a:lnTo>
                      <a:pt x="17" y="208"/>
                    </a:lnTo>
                    <a:lnTo>
                      <a:pt x="27" y="220"/>
                    </a:lnTo>
                    <a:lnTo>
                      <a:pt x="35" y="229"/>
                    </a:lnTo>
                    <a:lnTo>
                      <a:pt x="41" y="236"/>
                    </a:lnTo>
                    <a:lnTo>
                      <a:pt x="41" y="236"/>
                    </a:lnTo>
                    <a:lnTo>
                      <a:pt x="48" y="237"/>
                    </a:lnTo>
                    <a:lnTo>
                      <a:pt x="54" y="240"/>
                    </a:lnTo>
                    <a:lnTo>
                      <a:pt x="54" y="240"/>
                    </a:lnTo>
                    <a:lnTo>
                      <a:pt x="55" y="240"/>
                    </a:lnTo>
                    <a:lnTo>
                      <a:pt x="58" y="239"/>
                    </a:lnTo>
                    <a:lnTo>
                      <a:pt x="67" y="234"/>
                    </a:lnTo>
                    <a:lnTo>
                      <a:pt x="67" y="234"/>
                    </a:lnTo>
                    <a:lnTo>
                      <a:pt x="59" y="230"/>
                    </a:lnTo>
                    <a:lnTo>
                      <a:pt x="52" y="227"/>
                    </a:lnTo>
                    <a:lnTo>
                      <a:pt x="52" y="227"/>
                    </a:lnTo>
                    <a:lnTo>
                      <a:pt x="49" y="224"/>
                    </a:lnTo>
                    <a:lnTo>
                      <a:pt x="46" y="220"/>
                    </a:lnTo>
                    <a:lnTo>
                      <a:pt x="42" y="210"/>
                    </a:lnTo>
                    <a:lnTo>
                      <a:pt x="35" y="191"/>
                    </a:lnTo>
                    <a:lnTo>
                      <a:pt x="35" y="191"/>
                    </a:lnTo>
                    <a:lnTo>
                      <a:pt x="33" y="188"/>
                    </a:lnTo>
                    <a:lnTo>
                      <a:pt x="32" y="188"/>
                    </a:lnTo>
                    <a:lnTo>
                      <a:pt x="27" y="189"/>
                    </a:lnTo>
                    <a:lnTo>
                      <a:pt x="27" y="189"/>
                    </a:lnTo>
                    <a:lnTo>
                      <a:pt x="27" y="189"/>
                    </a:lnTo>
                    <a:lnTo>
                      <a:pt x="26" y="188"/>
                    </a:lnTo>
                    <a:lnTo>
                      <a:pt x="25" y="184"/>
                    </a:lnTo>
                    <a:lnTo>
                      <a:pt x="25" y="178"/>
                    </a:lnTo>
                    <a:lnTo>
                      <a:pt x="25" y="174"/>
                    </a:lnTo>
                    <a:lnTo>
                      <a:pt x="25" y="174"/>
                    </a:lnTo>
                    <a:lnTo>
                      <a:pt x="29" y="166"/>
                    </a:lnTo>
                    <a:lnTo>
                      <a:pt x="32" y="156"/>
                    </a:lnTo>
                    <a:lnTo>
                      <a:pt x="32" y="156"/>
                    </a:lnTo>
                    <a:lnTo>
                      <a:pt x="39" y="137"/>
                    </a:lnTo>
                    <a:lnTo>
                      <a:pt x="42" y="127"/>
                    </a:lnTo>
                    <a:lnTo>
                      <a:pt x="43" y="121"/>
                    </a:lnTo>
                    <a:lnTo>
                      <a:pt x="43" y="121"/>
                    </a:lnTo>
                    <a:lnTo>
                      <a:pt x="46" y="120"/>
                    </a:lnTo>
                    <a:lnTo>
                      <a:pt x="48" y="123"/>
                    </a:lnTo>
                    <a:lnTo>
                      <a:pt x="52" y="129"/>
                    </a:lnTo>
                    <a:lnTo>
                      <a:pt x="52" y="129"/>
                    </a:lnTo>
                    <a:lnTo>
                      <a:pt x="54" y="130"/>
                    </a:lnTo>
                    <a:lnTo>
                      <a:pt x="56" y="130"/>
                    </a:lnTo>
                    <a:lnTo>
                      <a:pt x="62" y="129"/>
                    </a:lnTo>
                    <a:lnTo>
                      <a:pt x="62" y="129"/>
                    </a:lnTo>
                    <a:lnTo>
                      <a:pt x="64" y="130"/>
                    </a:lnTo>
                    <a:lnTo>
                      <a:pt x="67" y="133"/>
                    </a:lnTo>
                    <a:lnTo>
                      <a:pt x="69" y="140"/>
                    </a:lnTo>
                    <a:lnTo>
                      <a:pt x="69" y="140"/>
                    </a:lnTo>
                    <a:lnTo>
                      <a:pt x="71" y="143"/>
                    </a:lnTo>
                    <a:lnTo>
                      <a:pt x="72" y="143"/>
                    </a:lnTo>
                    <a:lnTo>
                      <a:pt x="77" y="143"/>
                    </a:lnTo>
                    <a:lnTo>
                      <a:pt x="77" y="143"/>
                    </a:lnTo>
                    <a:lnTo>
                      <a:pt x="80" y="145"/>
                    </a:lnTo>
                    <a:lnTo>
                      <a:pt x="80" y="145"/>
                    </a:lnTo>
                    <a:lnTo>
                      <a:pt x="80" y="139"/>
                    </a:lnTo>
                    <a:lnTo>
                      <a:pt x="78" y="131"/>
                    </a:lnTo>
                    <a:lnTo>
                      <a:pt x="78" y="131"/>
                    </a:lnTo>
                    <a:lnTo>
                      <a:pt x="77" y="129"/>
                    </a:lnTo>
                    <a:lnTo>
                      <a:pt x="77" y="126"/>
                    </a:lnTo>
                    <a:lnTo>
                      <a:pt x="78" y="120"/>
                    </a:lnTo>
                    <a:lnTo>
                      <a:pt x="81" y="114"/>
                    </a:lnTo>
                    <a:lnTo>
                      <a:pt x="84" y="110"/>
                    </a:lnTo>
                    <a:lnTo>
                      <a:pt x="84" y="110"/>
                    </a:lnTo>
                    <a:lnTo>
                      <a:pt x="87" y="108"/>
                    </a:lnTo>
                    <a:lnTo>
                      <a:pt x="90" y="108"/>
                    </a:lnTo>
                    <a:lnTo>
                      <a:pt x="98" y="108"/>
                    </a:lnTo>
                    <a:lnTo>
                      <a:pt x="98" y="108"/>
                    </a:lnTo>
                    <a:lnTo>
                      <a:pt x="104" y="108"/>
                    </a:lnTo>
                    <a:lnTo>
                      <a:pt x="110" y="107"/>
                    </a:lnTo>
                    <a:lnTo>
                      <a:pt x="110" y="107"/>
                    </a:lnTo>
                    <a:lnTo>
                      <a:pt x="116" y="107"/>
                    </a:lnTo>
                    <a:lnTo>
                      <a:pt x="120" y="108"/>
                    </a:lnTo>
                    <a:lnTo>
                      <a:pt x="120" y="108"/>
                    </a:lnTo>
                    <a:lnTo>
                      <a:pt x="125" y="95"/>
                    </a:lnTo>
                    <a:lnTo>
                      <a:pt x="125" y="91"/>
                    </a:lnTo>
                    <a:lnTo>
                      <a:pt x="125" y="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43" name="Freeform 294"/>
              <p:cNvSpPr>
                <a:spLocks/>
              </p:cNvSpPr>
              <p:nvPr/>
            </p:nvSpPr>
            <p:spPr bwMode="auto">
              <a:xfrm>
                <a:off x="5966856" y="2995629"/>
                <a:ext cx="123657" cy="237422"/>
              </a:xfrm>
              <a:custGeom>
                <a:avLst/>
                <a:gdLst>
                  <a:gd name="T0" fmla="*/ 116 w 125"/>
                  <a:gd name="T1" fmla="*/ 78 h 240"/>
                  <a:gd name="T2" fmla="*/ 109 w 125"/>
                  <a:gd name="T3" fmla="*/ 66 h 240"/>
                  <a:gd name="T4" fmla="*/ 94 w 125"/>
                  <a:gd name="T5" fmla="*/ 39 h 240"/>
                  <a:gd name="T6" fmla="*/ 90 w 125"/>
                  <a:gd name="T7" fmla="*/ 39 h 240"/>
                  <a:gd name="T8" fmla="*/ 85 w 125"/>
                  <a:gd name="T9" fmla="*/ 42 h 240"/>
                  <a:gd name="T10" fmla="*/ 84 w 125"/>
                  <a:gd name="T11" fmla="*/ 42 h 240"/>
                  <a:gd name="T12" fmla="*/ 74 w 125"/>
                  <a:gd name="T13" fmla="*/ 36 h 240"/>
                  <a:gd name="T14" fmla="*/ 67 w 125"/>
                  <a:gd name="T15" fmla="*/ 40 h 240"/>
                  <a:gd name="T16" fmla="*/ 52 w 125"/>
                  <a:gd name="T17" fmla="*/ 50 h 240"/>
                  <a:gd name="T18" fmla="*/ 49 w 125"/>
                  <a:gd name="T19" fmla="*/ 49 h 240"/>
                  <a:gd name="T20" fmla="*/ 51 w 125"/>
                  <a:gd name="T21" fmla="*/ 37 h 240"/>
                  <a:gd name="T22" fmla="*/ 54 w 125"/>
                  <a:gd name="T23" fmla="*/ 24 h 240"/>
                  <a:gd name="T24" fmla="*/ 46 w 125"/>
                  <a:gd name="T25" fmla="*/ 14 h 240"/>
                  <a:gd name="T26" fmla="*/ 42 w 125"/>
                  <a:gd name="T27" fmla="*/ 7 h 240"/>
                  <a:gd name="T28" fmla="*/ 29 w 125"/>
                  <a:gd name="T29" fmla="*/ 0 h 240"/>
                  <a:gd name="T30" fmla="*/ 23 w 125"/>
                  <a:gd name="T31" fmla="*/ 3 h 240"/>
                  <a:gd name="T32" fmla="*/ 14 w 125"/>
                  <a:gd name="T33" fmla="*/ 14 h 240"/>
                  <a:gd name="T34" fmla="*/ 7 w 125"/>
                  <a:gd name="T35" fmla="*/ 19 h 240"/>
                  <a:gd name="T36" fmla="*/ 0 w 125"/>
                  <a:gd name="T37" fmla="*/ 30 h 240"/>
                  <a:gd name="T38" fmla="*/ 1 w 125"/>
                  <a:gd name="T39" fmla="*/ 43 h 240"/>
                  <a:gd name="T40" fmla="*/ 10 w 125"/>
                  <a:gd name="T41" fmla="*/ 61 h 240"/>
                  <a:gd name="T42" fmla="*/ 16 w 125"/>
                  <a:gd name="T43" fmla="*/ 72 h 240"/>
                  <a:gd name="T44" fmla="*/ 14 w 125"/>
                  <a:gd name="T45" fmla="*/ 88 h 240"/>
                  <a:gd name="T46" fmla="*/ 14 w 125"/>
                  <a:gd name="T47" fmla="*/ 95 h 240"/>
                  <a:gd name="T48" fmla="*/ 25 w 125"/>
                  <a:gd name="T49" fmla="*/ 121 h 240"/>
                  <a:gd name="T50" fmla="*/ 26 w 125"/>
                  <a:gd name="T51" fmla="*/ 137 h 240"/>
                  <a:gd name="T52" fmla="*/ 14 w 125"/>
                  <a:gd name="T53" fmla="*/ 172 h 240"/>
                  <a:gd name="T54" fmla="*/ 4 w 125"/>
                  <a:gd name="T55" fmla="*/ 176 h 240"/>
                  <a:gd name="T56" fmla="*/ 6 w 125"/>
                  <a:gd name="T57" fmla="*/ 191 h 240"/>
                  <a:gd name="T58" fmla="*/ 9 w 125"/>
                  <a:gd name="T59" fmla="*/ 202 h 240"/>
                  <a:gd name="T60" fmla="*/ 17 w 125"/>
                  <a:gd name="T61" fmla="*/ 208 h 240"/>
                  <a:gd name="T62" fmla="*/ 35 w 125"/>
                  <a:gd name="T63" fmla="*/ 229 h 240"/>
                  <a:gd name="T64" fmla="*/ 48 w 125"/>
                  <a:gd name="T65" fmla="*/ 237 h 240"/>
                  <a:gd name="T66" fmla="*/ 55 w 125"/>
                  <a:gd name="T67" fmla="*/ 240 h 240"/>
                  <a:gd name="T68" fmla="*/ 67 w 125"/>
                  <a:gd name="T69" fmla="*/ 234 h 240"/>
                  <a:gd name="T70" fmla="*/ 52 w 125"/>
                  <a:gd name="T71" fmla="*/ 227 h 240"/>
                  <a:gd name="T72" fmla="*/ 42 w 125"/>
                  <a:gd name="T73" fmla="*/ 210 h 240"/>
                  <a:gd name="T74" fmla="*/ 33 w 125"/>
                  <a:gd name="T75" fmla="*/ 188 h 240"/>
                  <a:gd name="T76" fmla="*/ 27 w 125"/>
                  <a:gd name="T77" fmla="*/ 189 h 240"/>
                  <a:gd name="T78" fmla="*/ 25 w 125"/>
                  <a:gd name="T79" fmla="*/ 184 h 240"/>
                  <a:gd name="T80" fmla="*/ 25 w 125"/>
                  <a:gd name="T81" fmla="*/ 174 h 240"/>
                  <a:gd name="T82" fmla="*/ 32 w 125"/>
                  <a:gd name="T83" fmla="*/ 156 h 240"/>
                  <a:gd name="T84" fmla="*/ 43 w 125"/>
                  <a:gd name="T85" fmla="*/ 121 h 240"/>
                  <a:gd name="T86" fmla="*/ 48 w 125"/>
                  <a:gd name="T87" fmla="*/ 123 h 240"/>
                  <a:gd name="T88" fmla="*/ 54 w 125"/>
                  <a:gd name="T89" fmla="*/ 130 h 240"/>
                  <a:gd name="T90" fmla="*/ 62 w 125"/>
                  <a:gd name="T91" fmla="*/ 129 h 240"/>
                  <a:gd name="T92" fmla="*/ 69 w 125"/>
                  <a:gd name="T93" fmla="*/ 140 h 240"/>
                  <a:gd name="T94" fmla="*/ 72 w 125"/>
                  <a:gd name="T95" fmla="*/ 143 h 240"/>
                  <a:gd name="T96" fmla="*/ 80 w 125"/>
                  <a:gd name="T97" fmla="*/ 145 h 240"/>
                  <a:gd name="T98" fmla="*/ 78 w 125"/>
                  <a:gd name="T99" fmla="*/ 131 h 240"/>
                  <a:gd name="T100" fmla="*/ 77 w 125"/>
                  <a:gd name="T101" fmla="*/ 126 h 240"/>
                  <a:gd name="T102" fmla="*/ 84 w 125"/>
                  <a:gd name="T103" fmla="*/ 110 h 240"/>
                  <a:gd name="T104" fmla="*/ 90 w 125"/>
                  <a:gd name="T105" fmla="*/ 108 h 240"/>
                  <a:gd name="T106" fmla="*/ 104 w 125"/>
                  <a:gd name="T107" fmla="*/ 108 h 240"/>
                  <a:gd name="T108" fmla="*/ 116 w 125"/>
                  <a:gd name="T109" fmla="*/ 107 h 240"/>
                  <a:gd name="T110" fmla="*/ 125 w 125"/>
                  <a:gd name="T111" fmla="*/ 95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5" h="240">
                    <a:moveTo>
                      <a:pt x="125" y="88"/>
                    </a:moveTo>
                    <a:lnTo>
                      <a:pt x="125" y="88"/>
                    </a:lnTo>
                    <a:lnTo>
                      <a:pt x="116" y="78"/>
                    </a:lnTo>
                    <a:lnTo>
                      <a:pt x="110" y="72"/>
                    </a:lnTo>
                    <a:lnTo>
                      <a:pt x="109" y="66"/>
                    </a:lnTo>
                    <a:lnTo>
                      <a:pt x="109" y="66"/>
                    </a:lnTo>
                    <a:lnTo>
                      <a:pt x="101" y="50"/>
                    </a:lnTo>
                    <a:lnTo>
                      <a:pt x="97" y="42"/>
                    </a:lnTo>
                    <a:lnTo>
                      <a:pt x="94" y="39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0" y="39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5" y="42"/>
                    </a:lnTo>
                    <a:lnTo>
                      <a:pt x="85" y="43"/>
                    </a:lnTo>
                    <a:lnTo>
                      <a:pt x="84" y="42"/>
                    </a:lnTo>
                    <a:lnTo>
                      <a:pt x="84" y="42"/>
                    </a:lnTo>
                    <a:lnTo>
                      <a:pt x="78" y="37"/>
                    </a:lnTo>
                    <a:lnTo>
                      <a:pt x="77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1" y="37"/>
                    </a:lnTo>
                    <a:lnTo>
                      <a:pt x="67" y="40"/>
                    </a:lnTo>
                    <a:lnTo>
                      <a:pt x="58" y="46"/>
                    </a:lnTo>
                    <a:lnTo>
                      <a:pt x="58" y="46"/>
                    </a:lnTo>
                    <a:lnTo>
                      <a:pt x="52" y="50"/>
                    </a:lnTo>
                    <a:lnTo>
                      <a:pt x="51" y="50"/>
                    </a:lnTo>
                    <a:lnTo>
                      <a:pt x="49" y="49"/>
                    </a:lnTo>
                    <a:lnTo>
                      <a:pt x="49" y="49"/>
                    </a:lnTo>
                    <a:lnTo>
                      <a:pt x="48" y="47"/>
                    </a:lnTo>
                    <a:lnTo>
                      <a:pt x="49" y="45"/>
                    </a:lnTo>
                    <a:lnTo>
                      <a:pt x="51" y="37"/>
                    </a:lnTo>
                    <a:lnTo>
                      <a:pt x="54" y="30"/>
                    </a:lnTo>
                    <a:lnTo>
                      <a:pt x="54" y="27"/>
                    </a:lnTo>
                    <a:lnTo>
                      <a:pt x="54" y="24"/>
                    </a:lnTo>
                    <a:lnTo>
                      <a:pt x="54" y="24"/>
                    </a:lnTo>
                    <a:lnTo>
                      <a:pt x="49" y="19"/>
                    </a:lnTo>
                    <a:lnTo>
                      <a:pt x="46" y="14"/>
                    </a:lnTo>
                    <a:lnTo>
                      <a:pt x="43" y="10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39" y="4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6" y="1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20" y="7"/>
                    </a:lnTo>
                    <a:lnTo>
                      <a:pt x="17" y="11"/>
                    </a:lnTo>
                    <a:lnTo>
                      <a:pt x="14" y="14"/>
                    </a:lnTo>
                    <a:lnTo>
                      <a:pt x="10" y="17"/>
                    </a:lnTo>
                    <a:lnTo>
                      <a:pt x="10" y="17"/>
                    </a:lnTo>
                    <a:lnTo>
                      <a:pt x="7" y="19"/>
                    </a:lnTo>
                    <a:lnTo>
                      <a:pt x="4" y="21"/>
                    </a:lnTo>
                    <a:lnTo>
                      <a:pt x="1" y="2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53"/>
                    </a:lnTo>
                    <a:lnTo>
                      <a:pt x="3" y="53"/>
                    </a:lnTo>
                    <a:lnTo>
                      <a:pt x="10" y="61"/>
                    </a:lnTo>
                    <a:lnTo>
                      <a:pt x="14" y="66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81"/>
                    </a:lnTo>
                    <a:lnTo>
                      <a:pt x="16" y="85"/>
                    </a:lnTo>
                    <a:lnTo>
                      <a:pt x="14" y="88"/>
                    </a:lnTo>
                    <a:lnTo>
                      <a:pt x="14" y="88"/>
                    </a:lnTo>
                    <a:lnTo>
                      <a:pt x="13" y="91"/>
                    </a:lnTo>
                    <a:lnTo>
                      <a:pt x="14" y="95"/>
                    </a:lnTo>
                    <a:lnTo>
                      <a:pt x="20" y="107"/>
                    </a:lnTo>
                    <a:lnTo>
                      <a:pt x="20" y="107"/>
                    </a:lnTo>
                    <a:lnTo>
                      <a:pt x="25" y="121"/>
                    </a:lnTo>
                    <a:lnTo>
                      <a:pt x="26" y="130"/>
                    </a:lnTo>
                    <a:lnTo>
                      <a:pt x="26" y="137"/>
                    </a:lnTo>
                    <a:lnTo>
                      <a:pt x="26" y="137"/>
                    </a:lnTo>
                    <a:lnTo>
                      <a:pt x="20" y="156"/>
                    </a:lnTo>
                    <a:lnTo>
                      <a:pt x="17" y="166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4" y="176"/>
                    </a:lnTo>
                    <a:lnTo>
                      <a:pt x="4" y="176"/>
                    </a:lnTo>
                    <a:lnTo>
                      <a:pt x="4" y="179"/>
                    </a:lnTo>
                    <a:lnTo>
                      <a:pt x="4" y="179"/>
                    </a:lnTo>
                    <a:lnTo>
                      <a:pt x="6" y="191"/>
                    </a:lnTo>
                    <a:lnTo>
                      <a:pt x="7" y="198"/>
                    </a:lnTo>
                    <a:lnTo>
                      <a:pt x="9" y="202"/>
                    </a:lnTo>
                    <a:lnTo>
                      <a:pt x="9" y="202"/>
                    </a:lnTo>
                    <a:lnTo>
                      <a:pt x="12" y="205"/>
                    </a:lnTo>
                    <a:lnTo>
                      <a:pt x="13" y="205"/>
                    </a:lnTo>
                    <a:lnTo>
                      <a:pt x="17" y="208"/>
                    </a:lnTo>
                    <a:lnTo>
                      <a:pt x="17" y="208"/>
                    </a:lnTo>
                    <a:lnTo>
                      <a:pt x="27" y="220"/>
                    </a:lnTo>
                    <a:lnTo>
                      <a:pt x="35" y="229"/>
                    </a:lnTo>
                    <a:lnTo>
                      <a:pt x="41" y="236"/>
                    </a:lnTo>
                    <a:lnTo>
                      <a:pt x="41" y="236"/>
                    </a:lnTo>
                    <a:lnTo>
                      <a:pt x="48" y="237"/>
                    </a:lnTo>
                    <a:lnTo>
                      <a:pt x="54" y="240"/>
                    </a:lnTo>
                    <a:lnTo>
                      <a:pt x="54" y="240"/>
                    </a:lnTo>
                    <a:lnTo>
                      <a:pt x="55" y="240"/>
                    </a:lnTo>
                    <a:lnTo>
                      <a:pt x="58" y="239"/>
                    </a:lnTo>
                    <a:lnTo>
                      <a:pt x="67" y="234"/>
                    </a:lnTo>
                    <a:lnTo>
                      <a:pt x="67" y="234"/>
                    </a:lnTo>
                    <a:lnTo>
                      <a:pt x="59" y="230"/>
                    </a:lnTo>
                    <a:lnTo>
                      <a:pt x="52" y="227"/>
                    </a:lnTo>
                    <a:lnTo>
                      <a:pt x="52" y="227"/>
                    </a:lnTo>
                    <a:lnTo>
                      <a:pt x="49" y="224"/>
                    </a:lnTo>
                    <a:lnTo>
                      <a:pt x="46" y="220"/>
                    </a:lnTo>
                    <a:lnTo>
                      <a:pt x="42" y="210"/>
                    </a:lnTo>
                    <a:lnTo>
                      <a:pt x="35" y="191"/>
                    </a:lnTo>
                    <a:lnTo>
                      <a:pt x="35" y="191"/>
                    </a:lnTo>
                    <a:lnTo>
                      <a:pt x="33" y="188"/>
                    </a:lnTo>
                    <a:lnTo>
                      <a:pt x="32" y="188"/>
                    </a:lnTo>
                    <a:lnTo>
                      <a:pt x="27" y="189"/>
                    </a:lnTo>
                    <a:lnTo>
                      <a:pt x="27" y="189"/>
                    </a:lnTo>
                    <a:lnTo>
                      <a:pt x="27" y="189"/>
                    </a:lnTo>
                    <a:lnTo>
                      <a:pt x="26" y="188"/>
                    </a:lnTo>
                    <a:lnTo>
                      <a:pt x="25" y="184"/>
                    </a:lnTo>
                    <a:lnTo>
                      <a:pt x="25" y="178"/>
                    </a:lnTo>
                    <a:lnTo>
                      <a:pt x="25" y="174"/>
                    </a:lnTo>
                    <a:lnTo>
                      <a:pt x="25" y="174"/>
                    </a:lnTo>
                    <a:lnTo>
                      <a:pt x="29" y="166"/>
                    </a:lnTo>
                    <a:lnTo>
                      <a:pt x="32" y="156"/>
                    </a:lnTo>
                    <a:lnTo>
                      <a:pt x="32" y="156"/>
                    </a:lnTo>
                    <a:lnTo>
                      <a:pt x="39" y="137"/>
                    </a:lnTo>
                    <a:lnTo>
                      <a:pt x="42" y="127"/>
                    </a:lnTo>
                    <a:lnTo>
                      <a:pt x="43" y="121"/>
                    </a:lnTo>
                    <a:lnTo>
                      <a:pt x="43" y="121"/>
                    </a:lnTo>
                    <a:lnTo>
                      <a:pt x="46" y="120"/>
                    </a:lnTo>
                    <a:lnTo>
                      <a:pt x="48" y="123"/>
                    </a:lnTo>
                    <a:lnTo>
                      <a:pt x="52" y="129"/>
                    </a:lnTo>
                    <a:lnTo>
                      <a:pt x="52" y="129"/>
                    </a:lnTo>
                    <a:lnTo>
                      <a:pt x="54" y="130"/>
                    </a:lnTo>
                    <a:lnTo>
                      <a:pt x="56" y="130"/>
                    </a:lnTo>
                    <a:lnTo>
                      <a:pt x="62" y="129"/>
                    </a:lnTo>
                    <a:lnTo>
                      <a:pt x="62" y="129"/>
                    </a:lnTo>
                    <a:lnTo>
                      <a:pt x="64" y="130"/>
                    </a:lnTo>
                    <a:lnTo>
                      <a:pt x="67" y="133"/>
                    </a:lnTo>
                    <a:lnTo>
                      <a:pt x="69" y="140"/>
                    </a:lnTo>
                    <a:lnTo>
                      <a:pt x="69" y="140"/>
                    </a:lnTo>
                    <a:lnTo>
                      <a:pt x="71" y="143"/>
                    </a:lnTo>
                    <a:lnTo>
                      <a:pt x="72" y="143"/>
                    </a:lnTo>
                    <a:lnTo>
                      <a:pt x="77" y="143"/>
                    </a:lnTo>
                    <a:lnTo>
                      <a:pt x="77" y="143"/>
                    </a:lnTo>
                    <a:lnTo>
                      <a:pt x="80" y="145"/>
                    </a:lnTo>
                    <a:lnTo>
                      <a:pt x="80" y="145"/>
                    </a:lnTo>
                    <a:lnTo>
                      <a:pt x="80" y="139"/>
                    </a:lnTo>
                    <a:lnTo>
                      <a:pt x="78" y="131"/>
                    </a:lnTo>
                    <a:lnTo>
                      <a:pt x="78" y="131"/>
                    </a:lnTo>
                    <a:lnTo>
                      <a:pt x="77" y="129"/>
                    </a:lnTo>
                    <a:lnTo>
                      <a:pt x="77" y="126"/>
                    </a:lnTo>
                    <a:lnTo>
                      <a:pt x="78" y="120"/>
                    </a:lnTo>
                    <a:lnTo>
                      <a:pt x="81" y="114"/>
                    </a:lnTo>
                    <a:lnTo>
                      <a:pt x="84" y="110"/>
                    </a:lnTo>
                    <a:lnTo>
                      <a:pt x="84" y="110"/>
                    </a:lnTo>
                    <a:lnTo>
                      <a:pt x="87" y="108"/>
                    </a:lnTo>
                    <a:lnTo>
                      <a:pt x="90" y="108"/>
                    </a:lnTo>
                    <a:lnTo>
                      <a:pt x="98" y="108"/>
                    </a:lnTo>
                    <a:lnTo>
                      <a:pt x="98" y="108"/>
                    </a:lnTo>
                    <a:lnTo>
                      <a:pt x="104" y="108"/>
                    </a:lnTo>
                    <a:lnTo>
                      <a:pt x="110" y="107"/>
                    </a:lnTo>
                    <a:lnTo>
                      <a:pt x="110" y="107"/>
                    </a:lnTo>
                    <a:lnTo>
                      <a:pt x="116" y="107"/>
                    </a:lnTo>
                    <a:lnTo>
                      <a:pt x="120" y="108"/>
                    </a:lnTo>
                    <a:lnTo>
                      <a:pt x="120" y="108"/>
                    </a:lnTo>
                    <a:lnTo>
                      <a:pt x="125" y="95"/>
                    </a:lnTo>
                    <a:lnTo>
                      <a:pt x="125" y="91"/>
                    </a:lnTo>
                    <a:lnTo>
                      <a:pt x="125" y="8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44" name="Freeform 295"/>
              <p:cNvSpPr>
                <a:spLocks/>
              </p:cNvSpPr>
              <p:nvPr/>
            </p:nvSpPr>
            <p:spPr bwMode="auto">
              <a:xfrm>
                <a:off x="6007416" y="3227115"/>
                <a:ext cx="61334" cy="79141"/>
              </a:xfrm>
              <a:custGeom>
                <a:avLst/>
                <a:gdLst>
                  <a:gd name="T0" fmla="*/ 13 w 62"/>
                  <a:gd name="T1" fmla="*/ 6 h 80"/>
                  <a:gd name="T2" fmla="*/ 13 w 62"/>
                  <a:gd name="T3" fmla="*/ 6 h 80"/>
                  <a:gd name="T4" fmla="*/ 7 w 62"/>
                  <a:gd name="T5" fmla="*/ 3 h 80"/>
                  <a:gd name="T6" fmla="*/ 0 w 62"/>
                  <a:gd name="T7" fmla="*/ 2 h 80"/>
                  <a:gd name="T8" fmla="*/ 0 w 62"/>
                  <a:gd name="T9" fmla="*/ 2 h 80"/>
                  <a:gd name="T10" fmla="*/ 2 w 62"/>
                  <a:gd name="T11" fmla="*/ 6 h 80"/>
                  <a:gd name="T12" fmla="*/ 2 w 62"/>
                  <a:gd name="T13" fmla="*/ 6 h 80"/>
                  <a:gd name="T14" fmla="*/ 2 w 62"/>
                  <a:gd name="T15" fmla="*/ 10 h 80"/>
                  <a:gd name="T16" fmla="*/ 2 w 62"/>
                  <a:gd name="T17" fmla="*/ 13 h 80"/>
                  <a:gd name="T18" fmla="*/ 1 w 62"/>
                  <a:gd name="T19" fmla="*/ 18 h 80"/>
                  <a:gd name="T20" fmla="*/ 2 w 62"/>
                  <a:gd name="T21" fmla="*/ 21 h 80"/>
                  <a:gd name="T22" fmla="*/ 2 w 62"/>
                  <a:gd name="T23" fmla="*/ 21 h 80"/>
                  <a:gd name="T24" fmla="*/ 5 w 62"/>
                  <a:gd name="T25" fmla="*/ 32 h 80"/>
                  <a:gd name="T26" fmla="*/ 7 w 62"/>
                  <a:gd name="T27" fmla="*/ 38 h 80"/>
                  <a:gd name="T28" fmla="*/ 10 w 62"/>
                  <a:gd name="T29" fmla="*/ 44 h 80"/>
                  <a:gd name="T30" fmla="*/ 10 w 62"/>
                  <a:gd name="T31" fmla="*/ 44 h 80"/>
                  <a:gd name="T32" fmla="*/ 14 w 62"/>
                  <a:gd name="T33" fmla="*/ 52 h 80"/>
                  <a:gd name="T34" fmla="*/ 17 w 62"/>
                  <a:gd name="T35" fmla="*/ 57 h 80"/>
                  <a:gd name="T36" fmla="*/ 21 w 62"/>
                  <a:gd name="T37" fmla="*/ 61 h 80"/>
                  <a:gd name="T38" fmla="*/ 21 w 62"/>
                  <a:gd name="T39" fmla="*/ 61 h 80"/>
                  <a:gd name="T40" fmla="*/ 34 w 62"/>
                  <a:gd name="T41" fmla="*/ 71 h 80"/>
                  <a:gd name="T42" fmla="*/ 42 w 62"/>
                  <a:gd name="T43" fmla="*/ 76 h 80"/>
                  <a:gd name="T44" fmla="*/ 47 w 62"/>
                  <a:gd name="T45" fmla="*/ 79 h 80"/>
                  <a:gd name="T46" fmla="*/ 47 w 62"/>
                  <a:gd name="T47" fmla="*/ 79 h 80"/>
                  <a:gd name="T48" fmla="*/ 50 w 62"/>
                  <a:gd name="T49" fmla="*/ 80 h 80"/>
                  <a:gd name="T50" fmla="*/ 50 w 62"/>
                  <a:gd name="T51" fmla="*/ 80 h 80"/>
                  <a:gd name="T52" fmla="*/ 53 w 62"/>
                  <a:gd name="T53" fmla="*/ 77 h 80"/>
                  <a:gd name="T54" fmla="*/ 56 w 62"/>
                  <a:gd name="T55" fmla="*/ 74 h 80"/>
                  <a:gd name="T56" fmla="*/ 62 w 62"/>
                  <a:gd name="T57" fmla="*/ 70 h 80"/>
                  <a:gd name="T58" fmla="*/ 62 w 62"/>
                  <a:gd name="T59" fmla="*/ 70 h 80"/>
                  <a:gd name="T60" fmla="*/ 59 w 62"/>
                  <a:gd name="T61" fmla="*/ 63 h 80"/>
                  <a:gd name="T62" fmla="*/ 56 w 62"/>
                  <a:gd name="T63" fmla="*/ 57 h 80"/>
                  <a:gd name="T64" fmla="*/ 56 w 62"/>
                  <a:gd name="T65" fmla="*/ 57 h 80"/>
                  <a:gd name="T66" fmla="*/ 55 w 62"/>
                  <a:gd name="T67" fmla="*/ 51 h 80"/>
                  <a:gd name="T68" fmla="*/ 53 w 62"/>
                  <a:gd name="T69" fmla="*/ 41 h 80"/>
                  <a:gd name="T70" fmla="*/ 53 w 62"/>
                  <a:gd name="T71" fmla="*/ 28 h 80"/>
                  <a:gd name="T72" fmla="*/ 53 w 62"/>
                  <a:gd name="T73" fmla="*/ 28 h 80"/>
                  <a:gd name="T74" fmla="*/ 50 w 62"/>
                  <a:gd name="T75" fmla="*/ 24 h 80"/>
                  <a:gd name="T76" fmla="*/ 44 w 62"/>
                  <a:gd name="T77" fmla="*/ 18 h 80"/>
                  <a:gd name="T78" fmla="*/ 30 w 62"/>
                  <a:gd name="T79" fmla="*/ 5 h 80"/>
                  <a:gd name="T80" fmla="*/ 30 w 62"/>
                  <a:gd name="T81" fmla="*/ 5 h 80"/>
                  <a:gd name="T82" fmla="*/ 26 w 62"/>
                  <a:gd name="T83" fmla="*/ 0 h 80"/>
                  <a:gd name="T84" fmla="*/ 26 w 62"/>
                  <a:gd name="T85" fmla="*/ 0 h 80"/>
                  <a:gd name="T86" fmla="*/ 17 w 62"/>
                  <a:gd name="T87" fmla="*/ 5 h 80"/>
                  <a:gd name="T88" fmla="*/ 14 w 62"/>
                  <a:gd name="T89" fmla="*/ 6 h 80"/>
                  <a:gd name="T90" fmla="*/ 13 w 62"/>
                  <a:gd name="T91" fmla="*/ 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2" h="80">
                    <a:moveTo>
                      <a:pt x="13" y="6"/>
                    </a:moveTo>
                    <a:lnTo>
                      <a:pt x="13" y="6"/>
                    </a:lnTo>
                    <a:lnTo>
                      <a:pt x="7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3"/>
                    </a:lnTo>
                    <a:lnTo>
                      <a:pt x="1" y="18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5" y="32"/>
                    </a:lnTo>
                    <a:lnTo>
                      <a:pt x="7" y="38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4" y="52"/>
                    </a:lnTo>
                    <a:lnTo>
                      <a:pt x="17" y="57"/>
                    </a:lnTo>
                    <a:lnTo>
                      <a:pt x="21" y="61"/>
                    </a:lnTo>
                    <a:lnTo>
                      <a:pt x="21" y="61"/>
                    </a:lnTo>
                    <a:lnTo>
                      <a:pt x="34" y="71"/>
                    </a:lnTo>
                    <a:lnTo>
                      <a:pt x="42" y="76"/>
                    </a:lnTo>
                    <a:lnTo>
                      <a:pt x="47" y="79"/>
                    </a:lnTo>
                    <a:lnTo>
                      <a:pt x="47" y="79"/>
                    </a:lnTo>
                    <a:lnTo>
                      <a:pt x="50" y="80"/>
                    </a:lnTo>
                    <a:lnTo>
                      <a:pt x="50" y="80"/>
                    </a:lnTo>
                    <a:lnTo>
                      <a:pt x="53" y="77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59" y="63"/>
                    </a:lnTo>
                    <a:lnTo>
                      <a:pt x="56" y="57"/>
                    </a:lnTo>
                    <a:lnTo>
                      <a:pt x="56" y="57"/>
                    </a:lnTo>
                    <a:lnTo>
                      <a:pt x="55" y="51"/>
                    </a:lnTo>
                    <a:lnTo>
                      <a:pt x="53" y="41"/>
                    </a:lnTo>
                    <a:lnTo>
                      <a:pt x="53" y="28"/>
                    </a:lnTo>
                    <a:lnTo>
                      <a:pt x="53" y="28"/>
                    </a:lnTo>
                    <a:lnTo>
                      <a:pt x="50" y="24"/>
                    </a:lnTo>
                    <a:lnTo>
                      <a:pt x="44" y="18"/>
                    </a:lnTo>
                    <a:lnTo>
                      <a:pt x="30" y="5"/>
                    </a:lnTo>
                    <a:lnTo>
                      <a:pt x="30" y="5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7" y="5"/>
                    </a:lnTo>
                    <a:lnTo>
                      <a:pt x="14" y="6"/>
                    </a:lnTo>
                    <a:lnTo>
                      <a:pt x="13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45" name="Freeform 296"/>
              <p:cNvSpPr>
                <a:spLocks/>
              </p:cNvSpPr>
              <p:nvPr/>
            </p:nvSpPr>
            <p:spPr bwMode="auto">
              <a:xfrm>
                <a:off x="6007416" y="3227115"/>
                <a:ext cx="61334" cy="79141"/>
              </a:xfrm>
              <a:custGeom>
                <a:avLst/>
                <a:gdLst>
                  <a:gd name="T0" fmla="*/ 13 w 62"/>
                  <a:gd name="T1" fmla="*/ 6 h 80"/>
                  <a:gd name="T2" fmla="*/ 13 w 62"/>
                  <a:gd name="T3" fmla="*/ 6 h 80"/>
                  <a:gd name="T4" fmla="*/ 7 w 62"/>
                  <a:gd name="T5" fmla="*/ 3 h 80"/>
                  <a:gd name="T6" fmla="*/ 0 w 62"/>
                  <a:gd name="T7" fmla="*/ 2 h 80"/>
                  <a:gd name="T8" fmla="*/ 0 w 62"/>
                  <a:gd name="T9" fmla="*/ 2 h 80"/>
                  <a:gd name="T10" fmla="*/ 2 w 62"/>
                  <a:gd name="T11" fmla="*/ 6 h 80"/>
                  <a:gd name="T12" fmla="*/ 2 w 62"/>
                  <a:gd name="T13" fmla="*/ 6 h 80"/>
                  <a:gd name="T14" fmla="*/ 2 w 62"/>
                  <a:gd name="T15" fmla="*/ 10 h 80"/>
                  <a:gd name="T16" fmla="*/ 2 w 62"/>
                  <a:gd name="T17" fmla="*/ 13 h 80"/>
                  <a:gd name="T18" fmla="*/ 1 w 62"/>
                  <a:gd name="T19" fmla="*/ 18 h 80"/>
                  <a:gd name="T20" fmla="*/ 2 w 62"/>
                  <a:gd name="T21" fmla="*/ 21 h 80"/>
                  <a:gd name="T22" fmla="*/ 2 w 62"/>
                  <a:gd name="T23" fmla="*/ 21 h 80"/>
                  <a:gd name="T24" fmla="*/ 5 w 62"/>
                  <a:gd name="T25" fmla="*/ 32 h 80"/>
                  <a:gd name="T26" fmla="*/ 7 w 62"/>
                  <a:gd name="T27" fmla="*/ 38 h 80"/>
                  <a:gd name="T28" fmla="*/ 10 w 62"/>
                  <a:gd name="T29" fmla="*/ 44 h 80"/>
                  <a:gd name="T30" fmla="*/ 10 w 62"/>
                  <a:gd name="T31" fmla="*/ 44 h 80"/>
                  <a:gd name="T32" fmla="*/ 14 w 62"/>
                  <a:gd name="T33" fmla="*/ 52 h 80"/>
                  <a:gd name="T34" fmla="*/ 17 w 62"/>
                  <a:gd name="T35" fmla="*/ 57 h 80"/>
                  <a:gd name="T36" fmla="*/ 21 w 62"/>
                  <a:gd name="T37" fmla="*/ 61 h 80"/>
                  <a:gd name="T38" fmla="*/ 21 w 62"/>
                  <a:gd name="T39" fmla="*/ 61 h 80"/>
                  <a:gd name="T40" fmla="*/ 34 w 62"/>
                  <a:gd name="T41" fmla="*/ 71 h 80"/>
                  <a:gd name="T42" fmla="*/ 42 w 62"/>
                  <a:gd name="T43" fmla="*/ 76 h 80"/>
                  <a:gd name="T44" fmla="*/ 47 w 62"/>
                  <a:gd name="T45" fmla="*/ 79 h 80"/>
                  <a:gd name="T46" fmla="*/ 47 w 62"/>
                  <a:gd name="T47" fmla="*/ 79 h 80"/>
                  <a:gd name="T48" fmla="*/ 50 w 62"/>
                  <a:gd name="T49" fmla="*/ 80 h 80"/>
                  <a:gd name="T50" fmla="*/ 50 w 62"/>
                  <a:gd name="T51" fmla="*/ 80 h 80"/>
                  <a:gd name="T52" fmla="*/ 53 w 62"/>
                  <a:gd name="T53" fmla="*/ 77 h 80"/>
                  <a:gd name="T54" fmla="*/ 56 w 62"/>
                  <a:gd name="T55" fmla="*/ 74 h 80"/>
                  <a:gd name="T56" fmla="*/ 62 w 62"/>
                  <a:gd name="T57" fmla="*/ 70 h 80"/>
                  <a:gd name="T58" fmla="*/ 62 w 62"/>
                  <a:gd name="T59" fmla="*/ 70 h 80"/>
                  <a:gd name="T60" fmla="*/ 59 w 62"/>
                  <a:gd name="T61" fmla="*/ 63 h 80"/>
                  <a:gd name="T62" fmla="*/ 56 w 62"/>
                  <a:gd name="T63" fmla="*/ 57 h 80"/>
                  <a:gd name="T64" fmla="*/ 56 w 62"/>
                  <a:gd name="T65" fmla="*/ 57 h 80"/>
                  <a:gd name="T66" fmla="*/ 55 w 62"/>
                  <a:gd name="T67" fmla="*/ 51 h 80"/>
                  <a:gd name="T68" fmla="*/ 53 w 62"/>
                  <a:gd name="T69" fmla="*/ 41 h 80"/>
                  <a:gd name="T70" fmla="*/ 53 w 62"/>
                  <a:gd name="T71" fmla="*/ 28 h 80"/>
                  <a:gd name="T72" fmla="*/ 53 w 62"/>
                  <a:gd name="T73" fmla="*/ 28 h 80"/>
                  <a:gd name="T74" fmla="*/ 50 w 62"/>
                  <a:gd name="T75" fmla="*/ 24 h 80"/>
                  <a:gd name="T76" fmla="*/ 44 w 62"/>
                  <a:gd name="T77" fmla="*/ 18 h 80"/>
                  <a:gd name="T78" fmla="*/ 30 w 62"/>
                  <a:gd name="T79" fmla="*/ 5 h 80"/>
                  <a:gd name="T80" fmla="*/ 30 w 62"/>
                  <a:gd name="T81" fmla="*/ 5 h 80"/>
                  <a:gd name="T82" fmla="*/ 26 w 62"/>
                  <a:gd name="T83" fmla="*/ 0 h 80"/>
                  <a:gd name="T84" fmla="*/ 26 w 62"/>
                  <a:gd name="T85" fmla="*/ 0 h 80"/>
                  <a:gd name="T86" fmla="*/ 17 w 62"/>
                  <a:gd name="T87" fmla="*/ 5 h 80"/>
                  <a:gd name="T88" fmla="*/ 14 w 62"/>
                  <a:gd name="T89" fmla="*/ 6 h 80"/>
                  <a:gd name="T90" fmla="*/ 13 w 62"/>
                  <a:gd name="T91" fmla="*/ 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2" h="80">
                    <a:moveTo>
                      <a:pt x="13" y="6"/>
                    </a:moveTo>
                    <a:lnTo>
                      <a:pt x="13" y="6"/>
                    </a:lnTo>
                    <a:lnTo>
                      <a:pt x="7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3"/>
                    </a:lnTo>
                    <a:lnTo>
                      <a:pt x="1" y="18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5" y="32"/>
                    </a:lnTo>
                    <a:lnTo>
                      <a:pt x="7" y="38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4" y="52"/>
                    </a:lnTo>
                    <a:lnTo>
                      <a:pt x="17" y="57"/>
                    </a:lnTo>
                    <a:lnTo>
                      <a:pt x="21" y="61"/>
                    </a:lnTo>
                    <a:lnTo>
                      <a:pt x="21" y="61"/>
                    </a:lnTo>
                    <a:lnTo>
                      <a:pt x="34" y="71"/>
                    </a:lnTo>
                    <a:lnTo>
                      <a:pt x="42" y="76"/>
                    </a:lnTo>
                    <a:lnTo>
                      <a:pt x="47" y="79"/>
                    </a:lnTo>
                    <a:lnTo>
                      <a:pt x="47" y="79"/>
                    </a:lnTo>
                    <a:lnTo>
                      <a:pt x="50" y="80"/>
                    </a:lnTo>
                    <a:lnTo>
                      <a:pt x="50" y="80"/>
                    </a:lnTo>
                    <a:lnTo>
                      <a:pt x="53" y="77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59" y="63"/>
                    </a:lnTo>
                    <a:lnTo>
                      <a:pt x="56" y="57"/>
                    </a:lnTo>
                    <a:lnTo>
                      <a:pt x="56" y="57"/>
                    </a:lnTo>
                    <a:lnTo>
                      <a:pt x="55" y="51"/>
                    </a:lnTo>
                    <a:lnTo>
                      <a:pt x="53" y="41"/>
                    </a:lnTo>
                    <a:lnTo>
                      <a:pt x="53" y="28"/>
                    </a:lnTo>
                    <a:lnTo>
                      <a:pt x="53" y="28"/>
                    </a:lnTo>
                    <a:lnTo>
                      <a:pt x="50" y="24"/>
                    </a:lnTo>
                    <a:lnTo>
                      <a:pt x="44" y="18"/>
                    </a:lnTo>
                    <a:lnTo>
                      <a:pt x="30" y="5"/>
                    </a:lnTo>
                    <a:lnTo>
                      <a:pt x="30" y="5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7" y="5"/>
                    </a:lnTo>
                    <a:lnTo>
                      <a:pt x="14" y="6"/>
                    </a:lnTo>
                    <a:lnTo>
                      <a:pt x="13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46" name="Freeform 297"/>
              <p:cNvSpPr>
                <a:spLocks/>
              </p:cNvSpPr>
              <p:nvPr/>
            </p:nvSpPr>
            <p:spPr bwMode="auto">
              <a:xfrm>
                <a:off x="6043029" y="3095544"/>
                <a:ext cx="83098" cy="67270"/>
              </a:xfrm>
              <a:custGeom>
                <a:avLst/>
                <a:gdLst>
                  <a:gd name="T0" fmla="*/ 34 w 84"/>
                  <a:gd name="T1" fmla="*/ 68 h 68"/>
                  <a:gd name="T2" fmla="*/ 29 w 84"/>
                  <a:gd name="T3" fmla="*/ 61 h 68"/>
                  <a:gd name="T4" fmla="*/ 27 w 84"/>
                  <a:gd name="T5" fmla="*/ 58 h 68"/>
                  <a:gd name="T6" fmla="*/ 23 w 84"/>
                  <a:gd name="T7" fmla="*/ 58 h 68"/>
                  <a:gd name="T8" fmla="*/ 17 w 84"/>
                  <a:gd name="T9" fmla="*/ 59 h 68"/>
                  <a:gd name="T10" fmla="*/ 13 w 84"/>
                  <a:gd name="T11" fmla="*/ 59 h 68"/>
                  <a:gd name="T12" fmla="*/ 13 w 84"/>
                  <a:gd name="T13" fmla="*/ 59 h 68"/>
                  <a:gd name="T14" fmla="*/ 8 w 84"/>
                  <a:gd name="T15" fmla="*/ 49 h 68"/>
                  <a:gd name="T16" fmla="*/ 6 w 84"/>
                  <a:gd name="T17" fmla="*/ 42 h 68"/>
                  <a:gd name="T18" fmla="*/ 4 w 84"/>
                  <a:gd name="T19" fmla="*/ 41 h 68"/>
                  <a:gd name="T20" fmla="*/ 3 w 84"/>
                  <a:gd name="T21" fmla="*/ 41 h 68"/>
                  <a:gd name="T22" fmla="*/ 3 w 84"/>
                  <a:gd name="T23" fmla="*/ 41 h 68"/>
                  <a:gd name="T24" fmla="*/ 1 w 84"/>
                  <a:gd name="T25" fmla="*/ 30 h 68"/>
                  <a:gd name="T26" fmla="*/ 0 w 84"/>
                  <a:gd name="T27" fmla="*/ 28 h 68"/>
                  <a:gd name="T28" fmla="*/ 0 w 84"/>
                  <a:gd name="T29" fmla="*/ 25 h 68"/>
                  <a:gd name="T30" fmla="*/ 3 w 84"/>
                  <a:gd name="T31" fmla="*/ 16 h 68"/>
                  <a:gd name="T32" fmla="*/ 7 w 84"/>
                  <a:gd name="T33" fmla="*/ 9 h 68"/>
                  <a:gd name="T34" fmla="*/ 8 w 84"/>
                  <a:gd name="T35" fmla="*/ 9 h 68"/>
                  <a:gd name="T36" fmla="*/ 8 w 84"/>
                  <a:gd name="T37" fmla="*/ 7 h 68"/>
                  <a:gd name="T38" fmla="*/ 8 w 84"/>
                  <a:gd name="T39" fmla="*/ 7 h 68"/>
                  <a:gd name="T40" fmla="*/ 8 w 84"/>
                  <a:gd name="T41" fmla="*/ 7 h 68"/>
                  <a:gd name="T42" fmla="*/ 10 w 84"/>
                  <a:gd name="T43" fmla="*/ 7 h 68"/>
                  <a:gd name="T44" fmla="*/ 11 w 84"/>
                  <a:gd name="T45" fmla="*/ 7 h 68"/>
                  <a:gd name="T46" fmla="*/ 11 w 84"/>
                  <a:gd name="T47" fmla="*/ 7 h 68"/>
                  <a:gd name="T48" fmla="*/ 11 w 84"/>
                  <a:gd name="T49" fmla="*/ 7 h 68"/>
                  <a:gd name="T50" fmla="*/ 11 w 84"/>
                  <a:gd name="T51" fmla="*/ 7 h 68"/>
                  <a:gd name="T52" fmla="*/ 16 w 84"/>
                  <a:gd name="T53" fmla="*/ 6 h 68"/>
                  <a:gd name="T54" fmla="*/ 21 w 84"/>
                  <a:gd name="T55" fmla="*/ 7 h 68"/>
                  <a:gd name="T56" fmla="*/ 21 w 84"/>
                  <a:gd name="T57" fmla="*/ 7 h 68"/>
                  <a:gd name="T58" fmla="*/ 27 w 84"/>
                  <a:gd name="T59" fmla="*/ 7 h 68"/>
                  <a:gd name="T60" fmla="*/ 27 w 84"/>
                  <a:gd name="T61" fmla="*/ 7 h 68"/>
                  <a:gd name="T62" fmla="*/ 32 w 84"/>
                  <a:gd name="T63" fmla="*/ 7 h 68"/>
                  <a:gd name="T64" fmla="*/ 33 w 84"/>
                  <a:gd name="T65" fmla="*/ 6 h 68"/>
                  <a:gd name="T66" fmla="*/ 33 w 84"/>
                  <a:gd name="T67" fmla="*/ 6 h 68"/>
                  <a:gd name="T68" fmla="*/ 33 w 84"/>
                  <a:gd name="T69" fmla="*/ 6 h 68"/>
                  <a:gd name="T70" fmla="*/ 33 w 84"/>
                  <a:gd name="T71" fmla="*/ 6 h 68"/>
                  <a:gd name="T72" fmla="*/ 36 w 84"/>
                  <a:gd name="T73" fmla="*/ 6 h 68"/>
                  <a:gd name="T74" fmla="*/ 43 w 84"/>
                  <a:gd name="T75" fmla="*/ 7 h 68"/>
                  <a:gd name="T76" fmla="*/ 55 w 84"/>
                  <a:gd name="T77" fmla="*/ 10 h 68"/>
                  <a:gd name="T78" fmla="*/ 56 w 84"/>
                  <a:gd name="T79" fmla="*/ 10 h 68"/>
                  <a:gd name="T80" fmla="*/ 58 w 84"/>
                  <a:gd name="T81" fmla="*/ 10 h 68"/>
                  <a:gd name="T82" fmla="*/ 58 w 84"/>
                  <a:gd name="T83" fmla="*/ 9 h 68"/>
                  <a:gd name="T84" fmla="*/ 58 w 84"/>
                  <a:gd name="T85" fmla="*/ 9 h 68"/>
                  <a:gd name="T86" fmla="*/ 58 w 84"/>
                  <a:gd name="T87" fmla="*/ 9 h 68"/>
                  <a:gd name="T88" fmla="*/ 59 w 84"/>
                  <a:gd name="T89" fmla="*/ 4 h 68"/>
                  <a:gd name="T90" fmla="*/ 62 w 84"/>
                  <a:gd name="T91" fmla="*/ 0 h 68"/>
                  <a:gd name="T92" fmla="*/ 62 w 84"/>
                  <a:gd name="T93" fmla="*/ 0 h 68"/>
                  <a:gd name="T94" fmla="*/ 65 w 84"/>
                  <a:gd name="T95" fmla="*/ 2 h 68"/>
                  <a:gd name="T96" fmla="*/ 65 w 84"/>
                  <a:gd name="T97" fmla="*/ 2 h 68"/>
                  <a:gd name="T98" fmla="*/ 71 w 84"/>
                  <a:gd name="T99" fmla="*/ 4 h 68"/>
                  <a:gd name="T100" fmla="*/ 75 w 84"/>
                  <a:gd name="T101" fmla="*/ 9 h 68"/>
                  <a:gd name="T102" fmla="*/ 78 w 84"/>
                  <a:gd name="T103" fmla="*/ 16 h 68"/>
                  <a:gd name="T104" fmla="*/ 78 w 84"/>
                  <a:gd name="T105" fmla="*/ 17 h 68"/>
                  <a:gd name="T106" fmla="*/ 84 w 84"/>
                  <a:gd name="T107" fmla="*/ 35 h 68"/>
                  <a:gd name="T108" fmla="*/ 84 w 84"/>
                  <a:gd name="T109" fmla="*/ 38 h 68"/>
                  <a:gd name="T110" fmla="*/ 81 w 84"/>
                  <a:gd name="T111" fmla="*/ 41 h 68"/>
                  <a:gd name="T112" fmla="*/ 58 w 84"/>
                  <a:gd name="T113" fmla="*/ 48 h 68"/>
                  <a:gd name="T114" fmla="*/ 56 w 84"/>
                  <a:gd name="T115" fmla="*/ 51 h 68"/>
                  <a:gd name="T116" fmla="*/ 55 w 84"/>
                  <a:gd name="T117" fmla="*/ 55 h 68"/>
                  <a:gd name="T118" fmla="*/ 52 w 84"/>
                  <a:gd name="T119" fmla="*/ 5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4" h="68">
                    <a:moveTo>
                      <a:pt x="34" y="68"/>
                    </a:moveTo>
                    <a:lnTo>
                      <a:pt x="34" y="68"/>
                    </a:lnTo>
                    <a:lnTo>
                      <a:pt x="32" y="65"/>
                    </a:lnTo>
                    <a:lnTo>
                      <a:pt x="29" y="61"/>
                    </a:lnTo>
                    <a:lnTo>
                      <a:pt x="29" y="61"/>
                    </a:lnTo>
                    <a:lnTo>
                      <a:pt x="27" y="58"/>
                    </a:lnTo>
                    <a:lnTo>
                      <a:pt x="27" y="58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17" y="59"/>
                    </a:lnTo>
                    <a:lnTo>
                      <a:pt x="17" y="59"/>
                    </a:lnTo>
                    <a:lnTo>
                      <a:pt x="13" y="59"/>
                    </a:lnTo>
                    <a:lnTo>
                      <a:pt x="13" y="59"/>
                    </a:lnTo>
                    <a:lnTo>
                      <a:pt x="13" y="59"/>
                    </a:lnTo>
                    <a:lnTo>
                      <a:pt x="13" y="59"/>
                    </a:lnTo>
                    <a:lnTo>
                      <a:pt x="8" y="49"/>
                    </a:lnTo>
                    <a:lnTo>
                      <a:pt x="8" y="49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3" y="41"/>
                    </a:lnTo>
                    <a:lnTo>
                      <a:pt x="3" y="41"/>
                    </a:lnTo>
                    <a:lnTo>
                      <a:pt x="3" y="41"/>
                    </a:lnTo>
                    <a:lnTo>
                      <a:pt x="3" y="35"/>
                    </a:lnTo>
                    <a:lnTo>
                      <a:pt x="1" y="30"/>
                    </a:lnTo>
                    <a:lnTo>
                      <a:pt x="1" y="30"/>
                    </a:lnTo>
                    <a:lnTo>
                      <a:pt x="0" y="28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0"/>
                    </a:lnTo>
                    <a:lnTo>
                      <a:pt x="3" y="16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10" y="7"/>
                    </a:lnTo>
                    <a:lnTo>
                      <a:pt x="10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7" y="7"/>
                    </a:lnTo>
                    <a:lnTo>
                      <a:pt x="27" y="7"/>
                    </a:lnTo>
                    <a:lnTo>
                      <a:pt x="27" y="7"/>
                    </a:lnTo>
                    <a:lnTo>
                      <a:pt x="27" y="7"/>
                    </a:lnTo>
                    <a:lnTo>
                      <a:pt x="32" y="7"/>
                    </a:lnTo>
                    <a:lnTo>
                      <a:pt x="32" y="7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50" y="9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6" y="10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9" y="7"/>
                    </a:lnTo>
                    <a:lnTo>
                      <a:pt x="59" y="4"/>
                    </a:lnTo>
                    <a:lnTo>
                      <a:pt x="61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5" y="2"/>
                    </a:lnTo>
                    <a:lnTo>
                      <a:pt x="65" y="2"/>
                    </a:lnTo>
                    <a:lnTo>
                      <a:pt x="65" y="2"/>
                    </a:lnTo>
                    <a:lnTo>
                      <a:pt x="65" y="2"/>
                    </a:lnTo>
                    <a:lnTo>
                      <a:pt x="68" y="3"/>
                    </a:lnTo>
                    <a:lnTo>
                      <a:pt x="71" y="4"/>
                    </a:lnTo>
                    <a:lnTo>
                      <a:pt x="71" y="4"/>
                    </a:lnTo>
                    <a:lnTo>
                      <a:pt x="75" y="9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7"/>
                    </a:lnTo>
                    <a:lnTo>
                      <a:pt x="78" y="17"/>
                    </a:lnTo>
                    <a:lnTo>
                      <a:pt x="82" y="28"/>
                    </a:lnTo>
                    <a:lnTo>
                      <a:pt x="84" y="35"/>
                    </a:lnTo>
                    <a:lnTo>
                      <a:pt x="84" y="35"/>
                    </a:lnTo>
                    <a:lnTo>
                      <a:pt x="84" y="38"/>
                    </a:lnTo>
                    <a:lnTo>
                      <a:pt x="81" y="41"/>
                    </a:lnTo>
                    <a:lnTo>
                      <a:pt x="81" y="41"/>
                    </a:lnTo>
                    <a:lnTo>
                      <a:pt x="68" y="45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6" y="51"/>
                    </a:lnTo>
                    <a:lnTo>
                      <a:pt x="55" y="54"/>
                    </a:lnTo>
                    <a:lnTo>
                      <a:pt x="55" y="55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34" y="6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47" name="Freeform 298"/>
              <p:cNvSpPr>
                <a:spLocks/>
              </p:cNvSpPr>
              <p:nvPr/>
            </p:nvSpPr>
            <p:spPr bwMode="auto">
              <a:xfrm>
                <a:off x="6043029" y="3095544"/>
                <a:ext cx="83098" cy="67270"/>
              </a:xfrm>
              <a:custGeom>
                <a:avLst/>
                <a:gdLst>
                  <a:gd name="T0" fmla="*/ 34 w 84"/>
                  <a:gd name="T1" fmla="*/ 68 h 68"/>
                  <a:gd name="T2" fmla="*/ 29 w 84"/>
                  <a:gd name="T3" fmla="*/ 61 h 68"/>
                  <a:gd name="T4" fmla="*/ 27 w 84"/>
                  <a:gd name="T5" fmla="*/ 58 h 68"/>
                  <a:gd name="T6" fmla="*/ 23 w 84"/>
                  <a:gd name="T7" fmla="*/ 58 h 68"/>
                  <a:gd name="T8" fmla="*/ 17 w 84"/>
                  <a:gd name="T9" fmla="*/ 59 h 68"/>
                  <a:gd name="T10" fmla="*/ 13 w 84"/>
                  <a:gd name="T11" fmla="*/ 59 h 68"/>
                  <a:gd name="T12" fmla="*/ 13 w 84"/>
                  <a:gd name="T13" fmla="*/ 59 h 68"/>
                  <a:gd name="T14" fmla="*/ 8 w 84"/>
                  <a:gd name="T15" fmla="*/ 49 h 68"/>
                  <a:gd name="T16" fmla="*/ 6 w 84"/>
                  <a:gd name="T17" fmla="*/ 42 h 68"/>
                  <a:gd name="T18" fmla="*/ 4 w 84"/>
                  <a:gd name="T19" fmla="*/ 41 h 68"/>
                  <a:gd name="T20" fmla="*/ 3 w 84"/>
                  <a:gd name="T21" fmla="*/ 41 h 68"/>
                  <a:gd name="T22" fmla="*/ 3 w 84"/>
                  <a:gd name="T23" fmla="*/ 41 h 68"/>
                  <a:gd name="T24" fmla="*/ 1 w 84"/>
                  <a:gd name="T25" fmla="*/ 30 h 68"/>
                  <a:gd name="T26" fmla="*/ 0 w 84"/>
                  <a:gd name="T27" fmla="*/ 28 h 68"/>
                  <a:gd name="T28" fmla="*/ 0 w 84"/>
                  <a:gd name="T29" fmla="*/ 25 h 68"/>
                  <a:gd name="T30" fmla="*/ 3 w 84"/>
                  <a:gd name="T31" fmla="*/ 16 h 68"/>
                  <a:gd name="T32" fmla="*/ 7 w 84"/>
                  <a:gd name="T33" fmla="*/ 9 h 68"/>
                  <a:gd name="T34" fmla="*/ 8 w 84"/>
                  <a:gd name="T35" fmla="*/ 9 h 68"/>
                  <a:gd name="T36" fmla="*/ 8 w 84"/>
                  <a:gd name="T37" fmla="*/ 7 h 68"/>
                  <a:gd name="T38" fmla="*/ 8 w 84"/>
                  <a:gd name="T39" fmla="*/ 7 h 68"/>
                  <a:gd name="T40" fmla="*/ 8 w 84"/>
                  <a:gd name="T41" fmla="*/ 7 h 68"/>
                  <a:gd name="T42" fmla="*/ 10 w 84"/>
                  <a:gd name="T43" fmla="*/ 7 h 68"/>
                  <a:gd name="T44" fmla="*/ 11 w 84"/>
                  <a:gd name="T45" fmla="*/ 7 h 68"/>
                  <a:gd name="T46" fmla="*/ 11 w 84"/>
                  <a:gd name="T47" fmla="*/ 7 h 68"/>
                  <a:gd name="T48" fmla="*/ 11 w 84"/>
                  <a:gd name="T49" fmla="*/ 7 h 68"/>
                  <a:gd name="T50" fmla="*/ 11 w 84"/>
                  <a:gd name="T51" fmla="*/ 7 h 68"/>
                  <a:gd name="T52" fmla="*/ 16 w 84"/>
                  <a:gd name="T53" fmla="*/ 6 h 68"/>
                  <a:gd name="T54" fmla="*/ 21 w 84"/>
                  <a:gd name="T55" fmla="*/ 7 h 68"/>
                  <a:gd name="T56" fmla="*/ 21 w 84"/>
                  <a:gd name="T57" fmla="*/ 7 h 68"/>
                  <a:gd name="T58" fmla="*/ 27 w 84"/>
                  <a:gd name="T59" fmla="*/ 7 h 68"/>
                  <a:gd name="T60" fmla="*/ 27 w 84"/>
                  <a:gd name="T61" fmla="*/ 7 h 68"/>
                  <a:gd name="T62" fmla="*/ 32 w 84"/>
                  <a:gd name="T63" fmla="*/ 7 h 68"/>
                  <a:gd name="T64" fmla="*/ 33 w 84"/>
                  <a:gd name="T65" fmla="*/ 6 h 68"/>
                  <a:gd name="T66" fmla="*/ 33 w 84"/>
                  <a:gd name="T67" fmla="*/ 6 h 68"/>
                  <a:gd name="T68" fmla="*/ 33 w 84"/>
                  <a:gd name="T69" fmla="*/ 6 h 68"/>
                  <a:gd name="T70" fmla="*/ 33 w 84"/>
                  <a:gd name="T71" fmla="*/ 6 h 68"/>
                  <a:gd name="T72" fmla="*/ 36 w 84"/>
                  <a:gd name="T73" fmla="*/ 6 h 68"/>
                  <a:gd name="T74" fmla="*/ 43 w 84"/>
                  <a:gd name="T75" fmla="*/ 7 h 68"/>
                  <a:gd name="T76" fmla="*/ 55 w 84"/>
                  <a:gd name="T77" fmla="*/ 10 h 68"/>
                  <a:gd name="T78" fmla="*/ 56 w 84"/>
                  <a:gd name="T79" fmla="*/ 10 h 68"/>
                  <a:gd name="T80" fmla="*/ 58 w 84"/>
                  <a:gd name="T81" fmla="*/ 10 h 68"/>
                  <a:gd name="T82" fmla="*/ 58 w 84"/>
                  <a:gd name="T83" fmla="*/ 9 h 68"/>
                  <a:gd name="T84" fmla="*/ 58 w 84"/>
                  <a:gd name="T85" fmla="*/ 9 h 68"/>
                  <a:gd name="T86" fmla="*/ 58 w 84"/>
                  <a:gd name="T87" fmla="*/ 9 h 68"/>
                  <a:gd name="T88" fmla="*/ 59 w 84"/>
                  <a:gd name="T89" fmla="*/ 4 h 68"/>
                  <a:gd name="T90" fmla="*/ 62 w 84"/>
                  <a:gd name="T91" fmla="*/ 0 h 68"/>
                  <a:gd name="T92" fmla="*/ 62 w 84"/>
                  <a:gd name="T93" fmla="*/ 0 h 68"/>
                  <a:gd name="T94" fmla="*/ 65 w 84"/>
                  <a:gd name="T95" fmla="*/ 2 h 68"/>
                  <a:gd name="T96" fmla="*/ 65 w 84"/>
                  <a:gd name="T97" fmla="*/ 2 h 68"/>
                  <a:gd name="T98" fmla="*/ 71 w 84"/>
                  <a:gd name="T99" fmla="*/ 4 h 68"/>
                  <a:gd name="T100" fmla="*/ 75 w 84"/>
                  <a:gd name="T101" fmla="*/ 9 h 68"/>
                  <a:gd name="T102" fmla="*/ 78 w 84"/>
                  <a:gd name="T103" fmla="*/ 16 h 68"/>
                  <a:gd name="T104" fmla="*/ 78 w 84"/>
                  <a:gd name="T105" fmla="*/ 17 h 68"/>
                  <a:gd name="T106" fmla="*/ 84 w 84"/>
                  <a:gd name="T107" fmla="*/ 35 h 68"/>
                  <a:gd name="T108" fmla="*/ 84 w 84"/>
                  <a:gd name="T109" fmla="*/ 38 h 68"/>
                  <a:gd name="T110" fmla="*/ 81 w 84"/>
                  <a:gd name="T111" fmla="*/ 41 h 68"/>
                  <a:gd name="T112" fmla="*/ 58 w 84"/>
                  <a:gd name="T113" fmla="*/ 48 h 68"/>
                  <a:gd name="T114" fmla="*/ 56 w 84"/>
                  <a:gd name="T115" fmla="*/ 51 h 68"/>
                  <a:gd name="T116" fmla="*/ 55 w 84"/>
                  <a:gd name="T117" fmla="*/ 55 h 68"/>
                  <a:gd name="T118" fmla="*/ 52 w 84"/>
                  <a:gd name="T119" fmla="*/ 5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4" h="68">
                    <a:moveTo>
                      <a:pt x="34" y="68"/>
                    </a:moveTo>
                    <a:lnTo>
                      <a:pt x="34" y="68"/>
                    </a:lnTo>
                    <a:lnTo>
                      <a:pt x="32" y="65"/>
                    </a:lnTo>
                    <a:lnTo>
                      <a:pt x="29" y="61"/>
                    </a:lnTo>
                    <a:lnTo>
                      <a:pt x="29" y="61"/>
                    </a:lnTo>
                    <a:lnTo>
                      <a:pt x="27" y="58"/>
                    </a:lnTo>
                    <a:lnTo>
                      <a:pt x="27" y="58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17" y="59"/>
                    </a:lnTo>
                    <a:lnTo>
                      <a:pt x="17" y="59"/>
                    </a:lnTo>
                    <a:lnTo>
                      <a:pt x="13" y="59"/>
                    </a:lnTo>
                    <a:lnTo>
                      <a:pt x="13" y="59"/>
                    </a:lnTo>
                    <a:lnTo>
                      <a:pt x="13" y="59"/>
                    </a:lnTo>
                    <a:lnTo>
                      <a:pt x="13" y="59"/>
                    </a:lnTo>
                    <a:lnTo>
                      <a:pt x="8" y="49"/>
                    </a:lnTo>
                    <a:lnTo>
                      <a:pt x="8" y="49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3" y="41"/>
                    </a:lnTo>
                    <a:lnTo>
                      <a:pt x="3" y="41"/>
                    </a:lnTo>
                    <a:lnTo>
                      <a:pt x="3" y="41"/>
                    </a:lnTo>
                    <a:lnTo>
                      <a:pt x="3" y="35"/>
                    </a:lnTo>
                    <a:lnTo>
                      <a:pt x="1" y="30"/>
                    </a:lnTo>
                    <a:lnTo>
                      <a:pt x="1" y="30"/>
                    </a:lnTo>
                    <a:lnTo>
                      <a:pt x="0" y="28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0"/>
                    </a:lnTo>
                    <a:lnTo>
                      <a:pt x="3" y="16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10" y="7"/>
                    </a:lnTo>
                    <a:lnTo>
                      <a:pt x="10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7" y="7"/>
                    </a:lnTo>
                    <a:lnTo>
                      <a:pt x="27" y="7"/>
                    </a:lnTo>
                    <a:lnTo>
                      <a:pt x="27" y="7"/>
                    </a:lnTo>
                    <a:lnTo>
                      <a:pt x="27" y="7"/>
                    </a:lnTo>
                    <a:lnTo>
                      <a:pt x="32" y="7"/>
                    </a:lnTo>
                    <a:lnTo>
                      <a:pt x="32" y="7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50" y="9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6" y="10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9" y="7"/>
                    </a:lnTo>
                    <a:lnTo>
                      <a:pt x="59" y="4"/>
                    </a:lnTo>
                    <a:lnTo>
                      <a:pt x="61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5" y="2"/>
                    </a:lnTo>
                    <a:lnTo>
                      <a:pt x="65" y="2"/>
                    </a:lnTo>
                    <a:lnTo>
                      <a:pt x="65" y="2"/>
                    </a:lnTo>
                    <a:lnTo>
                      <a:pt x="65" y="2"/>
                    </a:lnTo>
                    <a:lnTo>
                      <a:pt x="68" y="3"/>
                    </a:lnTo>
                    <a:lnTo>
                      <a:pt x="71" y="4"/>
                    </a:lnTo>
                    <a:lnTo>
                      <a:pt x="71" y="4"/>
                    </a:lnTo>
                    <a:lnTo>
                      <a:pt x="75" y="9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7"/>
                    </a:lnTo>
                    <a:lnTo>
                      <a:pt x="78" y="17"/>
                    </a:lnTo>
                    <a:lnTo>
                      <a:pt x="82" y="28"/>
                    </a:lnTo>
                    <a:lnTo>
                      <a:pt x="84" y="35"/>
                    </a:lnTo>
                    <a:lnTo>
                      <a:pt x="84" y="35"/>
                    </a:lnTo>
                    <a:lnTo>
                      <a:pt x="84" y="38"/>
                    </a:lnTo>
                    <a:lnTo>
                      <a:pt x="81" y="41"/>
                    </a:lnTo>
                    <a:lnTo>
                      <a:pt x="81" y="41"/>
                    </a:lnTo>
                    <a:lnTo>
                      <a:pt x="68" y="45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6" y="51"/>
                    </a:lnTo>
                    <a:lnTo>
                      <a:pt x="55" y="54"/>
                    </a:lnTo>
                    <a:lnTo>
                      <a:pt x="55" y="55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34" y="6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48" name="Freeform 299"/>
              <p:cNvSpPr>
                <a:spLocks noEditPoints="1"/>
              </p:cNvSpPr>
              <p:nvPr/>
            </p:nvSpPr>
            <p:spPr bwMode="auto">
              <a:xfrm>
                <a:off x="6076664" y="3099501"/>
                <a:ext cx="49463" cy="63313"/>
              </a:xfrm>
              <a:custGeom>
                <a:avLst/>
                <a:gdLst>
                  <a:gd name="T0" fmla="*/ 44 w 50"/>
                  <a:gd name="T1" fmla="*/ 12 h 64"/>
                  <a:gd name="T2" fmla="*/ 44 w 50"/>
                  <a:gd name="T3" fmla="*/ 12 h 64"/>
                  <a:gd name="T4" fmla="*/ 41 w 50"/>
                  <a:gd name="T5" fmla="*/ 5 h 64"/>
                  <a:gd name="T6" fmla="*/ 37 w 50"/>
                  <a:gd name="T7" fmla="*/ 0 h 64"/>
                  <a:gd name="T8" fmla="*/ 37 w 50"/>
                  <a:gd name="T9" fmla="*/ 0 h 64"/>
                  <a:gd name="T10" fmla="*/ 37 w 50"/>
                  <a:gd name="T11" fmla="*/ 0 h 64"/>
                  <a:gd name="T12" fmla="*/ 41 w 50"/>
                  <a:gd name="T13" fmla="*/ 5 h 64"/>
                  <a:gd name="T14" fmla="*/ 44 w 50"/>
                  <a:gd name="T15" fmla="*/ 12 h 64"/>
                  <a:gd name="T16" fmla="*/ 0 w 50"/>
                  <a:gd name="T17" fmla="*/ 64 h 64"/>
                  <a:gd name="T18" fmla="*/ 0 w 50"/>
                  <a:gd name="T19" fmla="*/ 64 h 64"/>
                  <a:gd name="T20" fmla="*/ 0 w 50"/>
                  <a:gd name="T21" fmla="*/ 64 h 64"/>
                  <a:gd name="T22" fmla="*/ 18 w 50"/>
                  <a:gd name="T23" fmla="*/ 54 h 64"/>
                  <a:gd name="T24" fmla="*/ 18 w 50"/>
                  <a:gd name="T25" fmla="*/ 54 h 64"/>
                  <a:gd name="T26" fmla="*/ 21 w 50"/>
                  <a:gd name="T27" fmla="*/ 51 h 64"/>
                  <a:gd name="T28" fmla="*/ 21 w 50"/>
                  <a:gd name="T29" fmla="*/ 50 h 64"/>
                  <a:gd name="T30" fmla="*/ 22 w 50"/>
                  <a:gd name="T31" fmla="*/ 47 h 64"/>
                  <a:gd name="T32" fmla="*/ 24 w 50"/>
                  <a:gd name="T33" fmla="*/ 44 h 64"/>
                  <a:gd name="T34" fmla="*/ 24 w 50"/>
                  <a:gd name="T35" fmla="*/ 44 h 64"/>
                  <a:gd name="T36" fmla="*/ 34 w 50"/>
                  <a:gd name="T37" fmla="*/ 41 h 64"/>
                  <a:gd name="T38" fmla="*/ 47 w 50"/>
                  <a:gd name="T39" fmla="*/ 37 h 64"/>
                  <a:gd name="T40" fmla="*/ 47 w 50"/>
                  <a:gd name="T41" fmla="*/ 37 h 64"/>
                  <a:gd name="T42" fmla="*/ 50 w 50"/>
                  <a:gd name="T43" fmla="*/ 34 h 64"/>
                  <a:gd name="T44" fmla="*/ 50 w 50"/>
                  <a:gd name="T45" fmla="*/ 31 h 64"/>
                  <a:gd name="T46" fmla="*/ 50 w 50"/>
                  <a:gd name="T47" fmla="*/ 31 h 64"/>
                  <a:gd name="T48" fmla="*/ 50 w 50"/>
                  <a:gd name="T49" fmla="*/ 34 h 64"/>
                  <a:gd name="T50" fmla="*/ 47 w 50"/>
                  <a:gd name="T51" fmla="*/ 37 h 64"/>
                  <a:gd name="T52" fmla="*/ 47 w 50"/>
                  <a:gd name="T53" fmla="*/ 37 h 64"/>
                  <a:gd name="T54" fmla="*/ 34 w 50"/>
                  <a:gd name="T55" fmla="*/ 41 h 64"/>
                  <a:gd name="T56" fmla="*/ 24 w 50"/>
                  <a:gd name="T57" fmla="*/ 44 h 64"/>
                  <a:gd name="T58" fmla="*/ 24 w 50"/>
                  <a:gd name="T59" fmla="*/ 44 h 64"/>
                  <a:gd name="T60" fmla="*/ 22 w 50"/>
                  <a:gd name="T61" fmla="*/ 47 h 64"/>
                  <a:gd name="T62" fmla="*/ 21 w 50"/>
                  <a:gd name="T63" fmla="*/ 50 h 64"/>
                  <a:gd name="T64" fmla="*/ 21 w 50"/>
                  <a:gd name="T65" fmla="*/ 51 h 64"/>
                  <a:gd name="T66" fmla="*/ 18 w 50"/>
                  <a:gd name="T67" fmla="*/ 54 h 64"/>
                  <a:gd name="T68" fmla="*/ 18 w 50"/>
                  <a:gd name="T69" fmla="*/ 54 h 64"/>
                  <a:gd name="T70" fmla="*/ 0 w 50"/>
                  <a:gd name="T7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0" h="64">
                    <a:moveTo>
                      <a:pt x="44" y="12"/>
                    </a:moveTo>
                    <a:lnTo>
                      <a:pt x="44" y="12"/>
                    </a:lnTo>
                    <a:lnTo>
                      <a:pt x="41" y="5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41" y="5"/>
                    </a:lnTo>
                    <a:lnTo>
                      <a:pt x="44" y="12"/>
                    </a:lnTo>
                    <a:close/>
                    <a:moveTo>
                      <a:pt x="0" y="64"/>
                    </a:moveTo>
                    <a:lnTo>
                      <a:pt x="0" y="64"/>
                    </a:lnTo>
                    <a:lnTo>
                      <a:pt x="0" y="6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1" y="51"/>
                    </a:lnTo>
                    <a:lnTo>
                      <a:pt x="21" y="50"/>
                    </a:lnTo>
                    <a:lnTo>
                      <a:pt x="22" y="47"/>
                    </a:lnTo>
                    <a:lnTo>
                      <a:pt x="24" y="44"/>
                    </a:lnTo>
                    <a:lnTo>
                      <a:pt x="24" y="44"/>
                    </a:lnTo>
                    <a:lnTo>
                      <a:pt x="34" y="41"/>
                    </a:lnTo>
                    <a:lnTo>
                      <a:pt x="47" y="37"/>
                    </a:lnTo>
                    <a:lnTo>
                      <a:pt x="47" y="37"/>
                    </a:lnTo>
                    <a:lnTo>
                      <a:pt x="50" y="34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50" y="34"/>
                    </a:lnTo>
                    <a:lnTo>
                      <a:pt x="47" y="37"/>
                    </a:lnTo>
                    <a:lnTo>
                      <a:pt x="47" y="37"/>
                    </a:lnTo>
                    <a:lnTo>
                      <a:pt x="34" y="41"/>
                    </a:lnTo>
                    <a:lnTo>
                      <a:pt x="24" y="44"/>
                    </a:lnTo>
                    <a:lnTo>
                      <a:pt x="24" y="44"/>
                    </a:lnTo>
                    <a:lnTo>
                      <a:pt x="22" y="47"/>
                    </a:lnTo>
                    <a:lnTo>
                      <a:pt x="21" y="50"/>
                    </a:lnTo>
                    <a:lnTo>
                      <a:pt x="21" y="51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0" y="6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49" name="Freeform 300"/>
              <p:cNvSpPr>
                <a:spLocks/>
              </p:cNvSpPr>
              <p:nvPr/>
            </p:nvSpPr>
            <p:spPr bwMode="auto">
              <a:xfrm>
                <a:off x="6113267" y="3099501"/>
                <a:ext cx="6925" cy="11871"/>
              </a:xfrm>
              <a:custGeom>
                <a:avLst/>
                <a:gdLst>
                  <a:gd name="T0" fmla="*/ 7 w 7"/>
                  <a:gd name="T1" fmla="*/ 12 h 12"/>
                  <a:gd name="T2" fmla="*/ 7 w 7"/>
                  <a:gd name="T3" fmla="*/ 12 h 12"/>
                  <a:gd name="T4" fmla="*/ 4 w 7"/>
                  <a:gd name="T5" fmla="*/ 5 h 12"/>
                  <a:gd name="T6" fmla="*/ 0 w 7"/>
                  <a:gd name="T7" fmla="*/ 0 h 12"/>
                  <a:gd name="T8" fmla="*/ 0 w 7"/>
                  <a:gd name="T9" fmla="*/ 0 h 12"/>
                  <a:gd name="T10" fmla="*/ 0 w 7"/>
                  <a:gd name="T11" fmla="*/ 0 h 12"/>
                  <a:gd name="T12" fmla="*/ 4 w 7"/>
                  <a:gd name="T13" fmla="*/ 5 h 12"/>
                  <a:gd name="T14" fmla="*/ 7 w 7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7" y="12"/>
                    </a:lnTo>
                    <a:lnTo>
                      <a:pt x="4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5"/>
                    </a:lnTo>
                    <a:lnTo>
                      <a:pt x="7" y="1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50" name="Freeform 301"/>
              <p:cNvSpPr>
                <a:spLocks/>
              </p:cNvSpPr>
              <p:nvPr/>
            </p:nvSpPr>
            <p:spPr bwMode="auto">
              <a:xfrm>
                <a:off x="6076664" y="3130168"/>
                <a:ext cx="49463" cy="32646"/>
              </a:xfrm>
              <a:custGeom>
                <a:avLst/>
                <a:gdLst>
                  <a:gd name="T0" fmla="*/ 0 w 50"/>
                  <a:gd name="T1" fmla="*/ 33 h 33"/>
                  <a:gd name="T2" fmla="*/ 0 w 50"/>
                  <a:gd name="T3" fmla="*/ 33 h 33"/>
                  <a:gd name="T4" fmla="*/ 0 w 50"/>
                  <a:gd name="T5" fmla="*/ 33 h 33"/>
                  <a:gd name="T6" fmla="*/ 18 w 50"/>
                  <a:gd name="T7" fmla="*/ 23 h 33"/>
                  <a:gd name="T8" fmla="*/ 18 w 50"/>
                  <a:gd name="T9" fmla="*/ 23 h 33"/>
                  <a:gd name="T10" fmla="*/ 21 w 50"/>
                  <a:gd name="T11" fmla="*/ 20 h 33"/>
                  <a:gd name="T12" fmla="*/ 21 w 50"/>
                  <a:gd name="T13" fmla="*/ 19 h 33"/>
                  <a:gd name="T14" fmla="*/ 22 w 50"/>
                  <a:gd name="T15" fmla="*/ 16 h 33"/>
                  <a:gd name="T16" fmla="*/ 24 w 50"/>
                  <a:gd name="T17" fmla="*/ 13 h 33"/>
                  <a:gd name="T18" fmla="*/ 24 w 50"/>
                  <a:gd name="T19" fmla="*/ 13 h 33"/>
                  <a:gd name="T20" fmla="*/ 34 w 50"/>
                  <a:gd name="T21" fmla="*/ 10 h 33"/>
                  <a:gd name="T22" fmla="*/ 47 w 50"/>
                  <a:gd name="T23" fmla="*/ 6 h 33"/>
                  <a:gd name="T24" fmla="*/ 47 w 50"/>
                  <a:gd name="T25" fmla="*/ 6 h 33"/>
                  <a:gd name="T26" fmla="*/ 50 w 50"/>
                  <a:gd name="T27" fmla="*/ 3 h 33"/>
                  <a:gd name="T28" fmla="*/ 50 w 50"/>
                  <a:gd name="T29" fmla="*/ 0 h 33"/>
                  <a:gd name="T30" fmla="*/ 50 w 50"/>
                  <a:gd name="T31" fmla="*/ 0 h 33"/>
                  <a:gd name="T32" fmla="*/ 50 w 50"/>
                  <a:gd name="T33" fmla="*/ 3 h 33"/>
                  <a:gd name="T34" fmla="*/ 47 w 50"/>
                  <a:gd name="T35" fmla="*/ 6 h 33"/>
                  <a:gd name="T36" fmla="*/ 47 w 50"/>
                  <a:gd name="T37" fmla="*/ 6 h 33"/>
                  <a:gd name="T38" fmla="*/ 34 w 50"/>
                  <a:gd name="T39" fmla="*/ 10 h 33"/>
                  <a:gd name="T40" fmla="*/ 24 w 50"/>
                  <a:gd name="T41" fmla="*/ 13 h 33"/>
                  <a:gd name="T42" fmla="*/ 24 w 50"/>
                  <a:gd name="T43" fmla="*/ 13 h 33"/>
                  <a:gd name="T44" fmla="*/ 22 w 50"/>
                  <a:gd name="T45" fmla="*/ 16 h 33"/>
                  <a:gd name="T46" fmla="*/ 21 w 50"/>
                  <a:gd name="T47" fmla="*/ 19 h 33"/>
                  <a:gd name="T48" fmla="*/ 21 w 50"/>
                  <a:gd name="T49" fmla="*/ 20 h 33"/>
                  <a:gd name="T50" fmla="*/ 18 w 50"/>
                  <a:gd name="T51" fmla="*/ 23 h 33"/>
                  <a:gd name="T52" fmla="*/ 18 w 50"/>
                  <a:gd name="T53" fmla="*/ 23 h 33"/>
                  <a:gd name="T54" fmla="*/ 0 w 50"/>
                  <a:gd name="T5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0" h="33">
                    <a:moveTo>
                      <a:pt x="0" y="33"/>
                    </a:moveTo>
                    <a:lnTo>
                      <a:pt x="0" y="33"/>
                    </a:lnTo>
                    <a:lnTo>
                      <a:pt x="0" y="3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1" y="20"/>
                    </a:lnTo>
                    <a:lnTo>
                      <a:pt x="21" y="19"/>
                    </a:lnTo>
                    <a:lnTo>
                      <a:pt x="22" y="16"/>
                    </a:lnTo>
                    <a:lnTo>
                      <a:pt x="24" y="13"/>
                    </a:lnTo>
                    <a:lnTo>
                      <a:pt x="24" y="13"/>
                    </a:lnTo>
                    <a:lnTo>
                      <a:pt x="34" y="10"/>
                    </a:lnTo>
                    <a:lnTo>
                      <a:pt x="47" y="6"/>
                    </a:lnTo>
                    <a:lnTo>
                      <a:pt x="47" y="6"/>
                    </a:lnTo>
                    <a:lnTo>
                      <a:pt x="50" y="3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3"/>
                    </a:lnTo>
                    <a:lnTo>
                      <a:pt x="47" y="6"/>
                    </a:lnTo>
                    <a:lnTo>
                      <a:pt x="47" y="6"/>
                    </a:lnTo>
                    <a:lnTo>
                      <a:pt x="34" y="10"/>
                    </a:lnTo>
                    <a:lnTo>
                      <a:pt x="24" y="13"/>
                    </a:lnTo>
                    <a:lnTo>
                      <a:pt x="24" y="13"/>
                    </a:lnTo>
                    <a:lnTo>
                      <a:pt x="22" y="16"/>
                    </a:lnTo>
                    <a:lnTo>
                      <a:pt x="21" y="19"/>
                    </a:lnTo>
                    <a:lnTo>
                      <a:pt x="21" y="20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0" y="3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51" name="Freeform 302"/>
              <p:cNvSpPr>
                <a:spLocks noEditPoints="1"/>
              </p:cNvSpPr>
              <p:nvPr/>
            </p:nvSpPr>
            <p:spPr bwMode="auto">
              <a:xfrm>
                <a:off x="6085567" y="3095544"/>
                <a:ext cx="27699" cy="9893"/>
              </a:xfrm>
              <a:custGeom>
                <a:avLst/>
                <a:gdLst>
                  <a:gd name="T0" fmla="*/ 19 w 28"/>
                  <a:gd name="T1" fmla="*/ 0 h 10"/>
                  <a:gd name="T2" fmla="*/ 19 w 28"/>
                  <a:gd name="T3" fmla="*/ 0 h 10"/>
                  <a:gd name="T4" fmla="*/ 22 w 28"/>
                  <a:gd name="T5" fmla="*/ 2 h 10"/>
                  <a:gd name="T6" fmla="*/ 22 w 28"/>
                  <a:gd name="T7" fmla="*/ 2 h 10"/>
                  <a:gd name="T8" fmla="*/ 22 w 28"/>
                  <a:gd name="T9" fmla="*/ 2 h 10"/>
                  <a:gd name="T10" fmla="*/ 22 w 28"/>
                  <a:gd name="T11" fmla="*/ 2 h 10"/>
                  <a:gd name="T12" fmla="*/ 22 w 28"/>
                  <a:gd name="T13" fmla="*/ 2 h 10"/>
                  <a:gd name="T14" fmla="*/ 28 w 28"/>
                  <a:gd name="T15" fmla="*/ 4 h 10"/>
                  <a:gd name="T16" fmla="*/ 28 w 28"/>
                  <a:gd name="T17" fmla="*/ 4 h 10"/>
                  <a:gd name="T18" fmla="*/ 25 w 28"/>
                  <a:gd name="T19" fmla="*/ 3 h 10"/>
                  <a:gd name="T20" fmla="*/ 22 w 28"/>
                  <a:gd name="T21" fmla="*/ 2 h 10"/>
                  <a:gd name="T22" fmla="*/ 22 w 28"/>
                  <a:gd name="T23" fmla="*/ 2 h 10"/>
                  <a:gd name="T24" fmla="*/ 25 w 28"/>
                  <a:gd name="T25" fmla="*/ 3 h 10"/>
                  <a:gd name="T26" fmla="*/ 28 w 28"/>
                  <a:gd name="T27" fmla="*/ 4 h 10"/>
                  <a:gd name="T28" fmla="*/ 28 w 28"/>
                  <a:gd name="T29" fmla="*/ 4 h 10"/>
                  <a:gd name="T30" fmla="*/ 15 w 28"/>
                  <a:gd name="T31" fmla="*/ 9 h 10"/>
                  <a:gd name="T32" fmla="*/ 15 w 28"/>
                  <a:gd name="T33" fmla="*/ 9 h 10"/>
                  <a:gd name="T34" fmla="*/ 16 w 28"/>
                  <a:gd name="T35" fmla="*/ 7 h 10"/>
                  <a:gd name="T36" fmla="*/ 16 w 28"/>
                  <a:gd name="T37" fmla="*/ 4 h 10"/>
                  <a:gd name="T38" fmla="*/ 18 w 28"/>
                  <a:gd name="T39" fmla="*/ 2 h 10"/>
                  <a:gd name="T40" fmla="*/ 19 w 28"/>
                  <a:gd name="T41" fmla="*/ 0 h 10"/>
                  <a:gd name="T42" fmla="*/ 19 w 28"/>
                  <a:gd name="T43" fmla="*/ 0 h 10"/>
                  <a:gd name="T44" fmla="*/ 18 w 28"/>
                  <a:gd name="T45" fmla="*/ 2 h 10"/>
                  <a:gd name="T46" fmla="*/ 16 w 28"/>
                  <a:gd name="T47" fmla="*/ 4 h 10"/>
                  <a:gd name="T48" fmla="*/ 16 w 28"/>
                  <a:gd name="T49" fmla="*/ 7 h 10"/>
                  <a:gd name="T50" fmla="*/ 15 w 28"/>
                  <a:gd name="T51" fmla="*/ 9 h 10"/>
                  <a:gd name="T52" fmla="*/ 15 w 28"/>
                  <a:gd name="T53" fmla="*/ 9 h 10"/>
                  <a:gd name="T54" fmla="*/ 15 w 28"/>
                  <a:gd name="T55" fmla="*/ 9 h 10"/>
                  <a:gd name="T56" fmla="*/ 15 w 28"/>
                  <a:gd name="T57" fmla="*/ 9 h 10"/>
                  <a:gd name="T58" fmla="*/ 15 w 28"/>
                  <a:gd name="T59" fmla="*/ 9 h 10"/>
                  <a:gd name="T60" fmla="*/ 15 w 28"/>
                  <a:gd name="T61" fmla="*/ 9 h 10"/>
                  <a:gd name="T62" fmla="*/ 15 w 28"/>
                  <a:gd name="T63" fmla="*/ 10 h 10"/>
                  <a:gd name="T64" fmla="*/ 15 w 28"/>
                  <a:gd name="T65" fmla="*/ 10 h 10"/>
                  <a:gd name="T66" fmla="*/ 15 w 28"/>
                  <a:gd name="T67" fmla="*/ 9 h 10"/>
                  <a:gd name="T68" fmla="*/ 15 w 28"/>
                  <a:gd name="T69" fmla="*/ 9 h 10"/>
                  <a:gd name="T70" fmla="*/ 15 w 28"/>
                  <a:gd name="T71" fmla="*/ 10 h 10"/>
                  <a:gd name="T72" fmla="*/ 12 w 28"/>
                  <a:gd name="T73" fmla="*/ 10 h 10"/>
                  <a:gd name="T74" fmla="*/ 12 w 28"/>
                  <a:gd name="T75" fmla="*/ 10 h 10"/>
                  <a:gd name="T76" fmla="*/ 7 w 28"/>
                  <a:gd name="T77" fmla="*/ 9 h 10"/>
                  <a:gd name="T78" fmla="*/ 0 w 28"/>
                  <a:gd name="T79" fmla="*/ 7 h 10"/>
                  <a:gd name="T80" fmla="*/ 0 w 28"/>
                  <a:gd name="T81" fmla="*/ 7 h 10"/>
                  <a:gd name="T82" fmla="*/ 3 w 28"/>
                  <a:gd name="T83" fmla="*/ 9 h 10"/>
                  <a:gd name="T84" fmla="*/ 3 w 28"/>
                  <a:gd name="T85" fmla="*/ 9 h 10"/>
                  <a:gd name="T86" fmla="*/ 12 w 28"/>
                  <a:gd name="T87" fmla="*/ 10 h 10"/>
                  <a:gd name="T88" fmla="*/ 12 w 28"/>
                  <a:gd name="T89" fmla="*/ 10 h 10"/>
                  <a:gd name="T90" fmla="*/ 13 w 28"/>
                  <a:gd name="T91" fmla="*/ 10 h 10"/>
                  <a:gd name="T92" fmla="*/ 13 w 28"/>
                  <a:gd name="T93" fmla="*/ 10 h 10"/>
                  <a:gd name="T94" fmla="*/ 12 w 28"/>
                  <a:gd name="T9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8" h="10">
                    <a:moveTo>
                      <a:pt x="19" y="0"/>
                    </a:moveTo>
                    <a:lnTo>
                      <a:pt x="19" y="0"/>
                    </a:lnTo>
                    <a:close/>
                    <a:moveTo>
                      <a:pt x="22" y="2"/>
                    </a:move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close/>
                    <a:moveTo>
                      <a:pt x="28" y="4"/>
                    </a:moveTo>
                    <a:lnTo>
                      <a:pt x="28" y="4"/>
                    </a:lnTo>
                    <a:lnTo>
                      <a:pt x="25" y="3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5" y="3"/>
                    </a:lnTo>
                    <a:lnTo>
                      <a:pt x="28" y="4"/>
                    </a:lnTo>
                    <a:lnTo>
                      <a:pt x="28" y="4"/>
                    </a:lnTo>
                    <a:close/>
                    <a:moveTo>
                      <a:pt x="15" y="9"/>
                    </a:moveTo>
                    <a:lnTo>
                      <a:pt x="15" y="9"/>
                    </a:lnTo>
                    <a:lnTo>
                      <a:pt x="16" y="7"/>
                    </a:lnTo>
                    <a:lnTo>
                      <a:pt x="16" y="4"/>
                    </a:lnTo>
                    <a:lnTo>
                      <a:pt x="18" y="2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8" y="2"/>
                    </a:lnTo>
                    <a:lnTo>
                      <a:pt x="16" y="4"/>
                    </a:lnTo>
                    <a:lnTo>
                      <a:pt x="16" y="7"/>
                    </a:lnTo>
                    <a:lnTo>
                      <a:pt x="15" y="9"/>
                    </a:lnTo>
                    <a:close/>
                    <a:moveTo>
                      <a:pt x="15" y="9"/>
                    </a:moveTo>
                    <a:lnTo>
                      <a:pt x="15" y="9"/>
                    </a:lnTo>
                    <a:lnTo>
                      <a:pt x="15" y="9"/>
                    </a:lnTo>
                    <a:lnTo>
                      <a:pt x="15" y="9"/>
                    </a:lnTo>
                    <a:lnTo>
                      <a:pt x="15" y="9"/>
                    </a:lnTo>
                    <a:close/>
                    <a:moveTo>
                      <a:pt x="15" y="10"/>
                    </a:moveTo>
                    <a:lnTo>
                      <a:pt x="15" y="10"/>
                    </a:lnTo>
                    <a:lnTo>
                      <a:pt x="15" y="9"/>
                    </a:lnTo>
                    <a:lnTo>
                      <a:pt x="15" y="9"/>
                    </a:lnTo>
                    <a:lnTo>
                      <a:pt x="15" y="10"/>
                    </a:lnTo>
                    <a:close/>
                    <a:moveTo>
                      <a:pt x="12" y="10"/>
                    </a:moveTo>
                    <a:lnTo>
                      <a:pt x="12" y="10"/>
                    </a:lnTo>
                    <a:lnTo>
                      <a:pt x="7" y="9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2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52" name="Line 303"/>
              <p:cNvSpPr>
                <a:spLocks noChangeShapeType="1"/>
              </p:cNvSpPr>
              <p:nvPr/>
            </p:nvSpPr>
            <p:spPr bwMode="auto">
              <a:xfrm>
                <a:off x="6104363" y="3095544"/>
                <a:ext cx="0" cy="0"/>
              </a:xfrm>
              <a:prstGeom prst="lin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53" name="Rectangle 304"/>
              <p:cNvSpPr>
                <a:spLocks noChangeArrowheads="1"/>
              </p:cNvSpPr>
              <p:nvPr/>
            </p:nvSpPr>
            <p:spPr bwMode="auto">
              <a:xfrm>
                <a:off x="6107331" y="3097522"/>
                <a:ext cx="989" cy="98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54" name="Freeform 305"/>
              <p:cNvSpPr>
                <a:spLocks/>
              </p:cNvSpPr>
              <p:nvPr/>
            </p:nvSpPr>
            <p:spPr bwMode="auto">
              <a:xfrm>
                <a:off x="6107331" y="3097522"/>
                <a:ext cx="5936" cy="1979"/>
              </a:xfrm>
              <a:custGeom>
                <a:avLst/>
                <a:gdLst>
                  <a:gd name="T0" fmla="*/ 6 w 6"/>
                  <a:gd name="T1" fmla="*/ 2 h 2"/>
                  <a:gd name="T2" fmla="*/ 6 w 6"/>
                  <a:gd name="T3" fmla="*/ 2 h 2"/>
                  <a:gd name="T4" fmla="*/ 3 w 6"/>
                  <a:gd name="T5" fmla="*/ 1 h 2"/>
                  <a:gd name="T6" fmla="*/ 0 w 6"/>
                  <a:gd name="T7" fmla="*/ 0 h 2"/>
                  <a:gd name="T8" fmla="*/ 0 w 6"/>
                  <a:gd name="T9" fmla="*/ 0 h 2"/>
                  <a:gd name="T10" fmla="*/ 3 w 6"/>
                  <a:gd name="T11" fmla="*/ 1 h 2"/>
                  <a:gd name="T12" fmla="*/ 6 w 6"/>
                  <a:gd name="T13" fmla="*/ 2 h 2"/>
                  <a:gd name="T14" fmla="*/ 6 w 6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lnTo>
                      <a:pt x="6" y="2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1"/>
                    </a:lnTo>
                    <a:lnTo>
                      <a:pt x="6" y="2"/>
                    </a:lnTo>
                    <a:lnTo>
                      <a:pt x="6" y="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55" name="Freeform 306"/>
              <p:cNvSpPr>
                <a:spLocks/>
              </p:cNvSpPr>
              <p:nvPr/>
            </p:nvSpPr>
            <p:spPr bwMode="auto">
              <a:xfrm>
                <a:off x="6100406" y="3095544"/>
                <a:ext cx="3957" cy="8903"/>
              </a:xfrm>
              <a:custGeom>
                <a:avLst/>
                <a:gdLst>
                  <a:gd name="T0" fmla="*/ 0 w 4"/>
                  <a:gd name="T1" fmla="*/ 9 h 9"/>
                  <a:gd name="T2" fmla="*/ 0 w 4"/>
                  <a:gd name="T3" fmla="*/ 9 h 9"/>
                  <a:gd name="T4" fmla="*/ 1 w 4"/>
                  <a:gd name="T5" fmla="*/ 7 h 9"/>
                  <a:gd name="T6" fmla="*/ 1 w 4"/>
                  <a:gd name="T7" fmla="*/ 4 h 9"/>
                  <a:gd name="T8" fmla="*/ 3 w 4"/>
                  <a:gd name="T9" fmla="*/ 2 h 9"/>
                  <a:gd name="T10" fmla="*/ 4 w 4"/>
                  <a:gd name="T11" fmla="*/ 0 h 9"/>
                  <a:gd name="T12" fmla="*/ 4 w 4"/>
                  <a:gd name="T13" fmla="*/ 0 h 9"/>
                  <a:gd name="T14" fmla="*/ 3 w 4"/>
                  <a:gd name="T15" fmla="*/ 2 h 9"/>
                  <a:gd name="T16" fmla="*/ 1 w 4"/>
                  <a:gd name="T17" fmla="*/ 4 h 9"/>
                  <a:gd name="T18" fmla="*/ 1 w 4"/>
                  <a:gd name="T19" fmla="*/ 7 h 9"/>
                  <a:gd name="T20" fmla="*/ 0 w 4"/>
                  <a:gd name="T2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9">
                    <a:moveTo>
                      <a:pt x="0" y="9"/>
                    </a:moveTo>
                    <a:lnTo>
                      <a:pt x="0" y="9"/>
                    </a:lnTo>
                    <a:lnTo>
                      <a:pt x="1" y="7"/>
                    </a:lnTo>
                    <a:lnTo>
                      <a:pt x="1" y="4"/>
                    </a:lnTo>
                    <a:lnTo>
                      <a:pt x="3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1" y="4"/>
                    </a:lnTo>
                    <a:lnTo>
                      <a:pt x="1" y="7"/>
                    </a:lnTo>
                    <a:lnTo>
                      <a:pt x="0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56" name="Rectangle 307"/>
              <p:cNvSpPr>
                <a:spLocks noChangeArrowheads="1"/>
              </p:cNvSpPr>
              <p:nvPr/>
            </p:nvSpPr>
            <p:spPr bwMode="auto">
              <a:xfrm>
                <a:off x="6100406" y="3104447"/>
                <a:ext cx="989" cy="98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57" name="Rectangle 308"/>
              <p:cNvSpPr>
                <a:spLocks noChangeArrowheads="1"/>
              </p:cNvSpPr>
              <p:nvPr/>
            </p:nvSpPr>
            <p:spPr bwMode="auto">
              <a:xfrm>
                <a:off x="6100406" y="3104447"/>
                <a:ext cx="989" cy="98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58" name="Freeform 309"/>
              <p:cNvSpPr>
                <a:spLocks/>
              </p:cNvSpPr>
              <p:nvPr/>
            </p:nvSpPr>
            <p:spPr bwMode="auto">
              <a:xfrm>
                <a:off x="6085567" y="3102469"/>
                <a:ext cx="12860" cy="2968"/>
              </a:xfrm>
              <a:custGeom>
                <a:avLst/>
                <a:gdLst>
                  <a:gd name="T0" fmla="*/ 12 w 13"/>
                  <a:gd name="T1" fmla="*/ 3 h 3"/>
                  <a:gd name="T2" fmla="*/ 12 w 13"/>
                  <a:gd name="T3" fmla="*/ 3 h 3"/>
                  <a:gd name="T4" fmla="*/ 7 w 13"/>
                  <a:gd name="T5" fmla="*/ 2 h 3"/>
                  <a:gd name="T6" fmla="*/ 0 w 13"/>
                  <a:gd name="T7" fmla="*/ 0 h 3"/>
                  <a:gd name="T8" fmla="*/ 0 w 13"/>
                  <a:gd name="T9" fmla="*/ 0 h 3"/>
                  <a:gd name="T10" fmla="*/ 3 w 13"/>
                  <a:gd name="T11" fmla="*/ 2 h 3"/>
                  <a:gd name="T12" fmla="*/ 3 w 13"/>
                  <a:gd name="T13" fmla="*/ 2 h 3"/>
                  <a:gd name="T14" fmla="*/ 12 w 13"/>
                  <a:gd name="T15" fmla="*/ 3 h 3"/>
                  <a:gd name="T16" fmla="*/ 12 w 13"/>
                  <a:gd name="T17" fmla="*/ 3 h 3"/>
                  <a:gd name="T18" fmla="*/ 13 w 13"/>
                  <a:gd name="T19" fmla="*/ 3 h 3"/>
                  <a:gd name="T20" fmla="*/ 13 w 13"/>
                  <a:gd name="T21" fmla="*/ 3 h 3"/>
                  <a:gd name="T22" fmla="*/ 12 w 13"/>
                  <a:gd name="T2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3">
                    <a:moveTo>
                      <a:pt x="12" y="3"/>
                    </a:moveTo>
                    <a:lnTo>
                      <a:pt x="12" y="3"/>
                    </a:lnTo>
                    <a:lnTo>
                      <a:pt x="7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12" y="3"/>
                    </a:lnTo>
                    <a:lnTo>
                      <a:pt x="12" y="3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2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59" name="Freeform 310"/>
              <p:cNvSpPr>
                <a:spLocks noEditPoints="1"/>
              </p:cNvSpPr>
              <p:nvPr/>
            </p:nvSpPr>
            <p:spPr bwMode="auto">
              <a:xfrm>
                <a:off x="6043029" y="3101479"/>
                <a:ext cx="42538" cy="34624"/>
              </a:xfrm>
              <a:custGeom>
                <a:avLst/>
                <a:gdLst>
                  <a:gd name="T0" fmla="*/ 33 w 43"/>
                  <a:gd name="T1" fmla="*/ 0 h 35"/>
                  <a:gd name="T2" fmla="*/ 33 w 43"/>
                  <a:gd name="T3" fmla="*/ 0 h 35"/>
                  <a:gd name="T4" fmla="*/ 33 w 43"/>
                  <a:gd name="T5" fmla="*/ 0 h 35"/>
                  <a:gd name="T6" fmla="*/ 11 w 43"/>
                  <a:gd name="T7" fmla="*/ 1 h 35"/>
                  <a:gd name="T8" fmla="*/ 11 w 43"/>
                  <a:gd name="T9" fmla="*/ 1 h 35"/>
                  <a:gd name="T10" fmla="*/ 11 w 43"/>
                  <a:gd name="T11" fmla="*/ 1 h 35"/>
                  <a:gd name="T12" fmla="*/ 11 w 43"/>
                  <a:gd name="T13" fmla="*/ 1 h 35"/>
                  <a:gd name="T14" fmla="*/ 21 w 43"/>
                  <a:gd name="T15" fmla="*/ 1 h 35"/>
                  <a:gd name="T16" fmla="*/ 16 w 43"/>
                  <a:gd name="T17" fmla="*/ 0 h 35"/>
                  <a:gd name="T18" fmla="*/ 21 w 43"/>
                  <a:gd name="T19" fmla="*/ 1 h 35"/>
                  <a:gd name="T20" fmla="*/ 21 w 43"/>
                  <a:gd name="T21" fmla="*/ 1 h 35"/>
                  <a:gd name="T22" fmla="*/ 11 w 43"/>
                  <a:gd name="T23" fmla="*/ 1 h 35"/>
                  <a:gd name="T24" fmla="*/ 11 w 43"/>
                  <a:gd name="T25" fmla="*/ 1 h 35"/>
                  <a:gd name="T26" fmla="*/ 11 w 43"/>
                  <a:gd name="T27" fmla="*/ 1 h 35"/>
                  <a:gd name="T28" fmla="*/ 27 w 43"/>
                  <a:gd name="T29" fmla="*/ 1 h 35"/>
                  <a:gd name="T30" fmla="*/ 32 w 43"/>
                  <a:gd name="T31" fmla="*/ 1 h 35"/>
                  <a:gd name="T32" fmla="*/ 27 w 43"/>
                  <a:gd name="T33" fmla="*/ 1 h 35"/>
                  <a:gd name="T34" fmla="*/ 27 w 43"/>
                  <a:gd name="T35" fmla="*/ 1 h 35"/>
                  <a:gd name="T36" fmla="*/ 43 w 43"/>
                  <a:gd name="T37" fmla="*/ 1 h 35"/>
                  <a:gd name="T38" fmla="*/ 36 w 43"/>
                  <a:gd name="T39" fmla="*/ 0 h 35"/>
                  <a:gd name="T40" fmla="*/ 33 w 43"/>
                  <a:gd name="T41" fmla="*/ 0 h 35"/>
                  <a:gd name="T42" fmla="*/ 36 w 43"/>
                  <a:gd name="T43" fmla="*/ 0 h 35"/>
                  <a:gd name="T44" fmla="*/ 43 w 43"/>
                  <a:gd name="T45" fmla="*/ 1 h 35"/>
                  <a:gd name="T46" fmla="*/ 8 w 43"/>
                  <a:gd name="T47" fmla="*/ 1 h 35"/>
                  <a:gd name="T48" fmla="*/ 10 w 43"/>
                  <a:gd name="T49" fmla="*/ 1 h 35"/>
                  <a:gd name="T50" fmla="*/ 8 w 43"/>
                  <a:gd name="T51" fmla="*/ 1 h 35"/>
                  <a:gd name="T52" fmla="*/ 8 w 43"/>
                  <a:gd name="T53" fmla="*/ 1 h 35"/>
                  <a:gd name="T54" fmla="*/ 8 w 43"/>
                  <a:gd name="T55" fmla="*/ 1 h 35"/>
                  <a:gd name="T56" fmla="*/ 7 w 43"/>
                  <a:gd name="T57" fmla="*/ 3 h 35"/>
                  <a:gd name="T58" fmla="*/ 8 w 43"/>
                  <a:gd name="T59" fmla="*/ 3 h 35"/>
                  <a:gd name="T60" fmla="*/ 7 w 43"/>
                  <a:gd name="T61" fmla="*/ 3 h 35"/>
                  <a:gd name="T62" fmla="*/ 3 w 43"/>
                  <a:gd name="T63" fmla="*/ 35 h 35"/>
                  <a:gd name="T64" fmla="*/ 1 w 43"/>
                  <a:gd name="T65" fmla="*/ 24 h 35"/>
                  <a:gd name="T66" fmla="*/ 0 w 43"/>
                  <a:gd name="T67" fmla="*/ 22 h 35"/>
                  <a:gd name="T68" fmla="*/ 0 w 43"/>
                  <a:gd name="T69" fmla="*/ 19 h 35"/>
                  <a:gd name="T70" fmla="*/ 1 w 43"/>
                  <a:gd name="T71" fmla="*/ 24 h 35"/>
                  <a:gd name="T72" fmla="*/ 3 w 43"/>
                  <a:gd name="T73" fmla="*/ 29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3" h="35">
                    <a:moveTo>
                      <a:pt x="33" y="0"/>
                    </a:moveTo>
                    <a:lnTo>
                      <a:pt x="33" y="0"/>
                    </a:lnTo>
                    <a:close/>
                    <a:moveTo>
                      <a:pt x="33" y="0"/>
                    </a:moveTo>
                    <a:lnTo>
                      <a:pt x="33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3" y="0"/>
                    </a:lnTo>
                    <a:close/>
                    <a:moveTo>
                      <a:pt x="11" y="1"/>
                    </a:moveTo>
                    <a:lnTo>
                      <a:pt x="11" y="1"/>
                    </a:lnTo>
                    <a:close/>
                    <a:moveTo>
                      <a:pt x="11" y="1"/>
                    </a:moveTo>
                    <a:lnTo>
                      <a:pt x="11" y="1"/>
                    </a:lnTo>
                    <a:lnTo>
                      <a:pt x="11" y="1"/>
                    </a:lnTo>
                    <a:lnTo>
                      <a:pt x="11" y="1"/>
                    </a:lnTo>
                    <a:lnTo>
                      <a:pt x="11" y="1"/>
                    </a:lnTo>
                    <a:close/>
                    <a:moveTo>
                      <a:pt x="21" y="1"/>
                    </a:moveTo>
                    <a:lnTo>
                      <a:pt x="21" y="1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1" y="1"/>
                    </a:lnTo>
                    <a:close/>
                    <a:moveTo>
                      <a:pt x="21" y="1"/>
                    </a:moveTo>
                    <a:lnTo>
                      <a:pt x="21" y="1"/>
                    </a:lnTo>
                    <a:lnTo>
                      <a:pt x="21" y="1"/>
                    </a:lnTo>
                    <a:close/>
                    <a:moveTo>
                      <a:pt x="11" y="1"/>
                    </a:moveTo>
                    <a:lnTo>
                      <a:pt x="11" y="1"/>
                    </a:lnTo>
                    <a:close/>
                    <a:moveTo>
                      <a:pt x="11" y="1"/>
                    </a:moveTo>
                    <a:lnTo>
                      <a:pt x="11" y="1"/>
                    </a:lnTo>
                    <a:lnTo>
                      <a:pt x="11" y="1"/>
                    </a:lnTo>
                    <a:lnTo>
                      <a:pt x="11" y="1"/>
                    </a:lnTo>
                    <a:lnTo>
                      <a:pt x="11" y="1"/>
                    </a:lnTo>
                    <a:close/>
                    <a:moveTo>
                      <a:pt x="27" y="1"/>
                    </a:moveTo>
                    <a:lnTo>
                      <a:pt x="27" y="1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27" y="1"/>
                    </a:lnTo>
                    <a:close/>
                    <a:moveTo>
                      <a:pt x="27" y="1"/>
                    </a:moveTo>
                    <a:lnTo>
                      <a:pt x="27" y="1"/>
                    </a:lnTo>
                    <a:lnTo>
                      <a:pt x="27" y="1"/>
                    </a:lnTo>
                    <a:close/>
                    <a:moveTo>
                      <a:pt x="43" y="1"/>
                    </a:moveTo>
                    <a:lnTo>
                      <a:pt x="43" y="1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3" y="1"/>
                    </a:lnTo>
                    <a:lnTo>
                      <a:pt x="43" y="1"/>
                    </a:lnTo>
                    <a:close/>
                    <a:moveTo>
                      <a:pt x="8" y="1"/>
                    </a:moveTo>
                    <a:lnTo>
                      <a:pt x="8" y="1"/>
                    </a:lnTo>
                    <a:lnTo>
                      <a:pt x="10" y="1"/>
                    </a:lnTo>
                    <a:lnTo>
                      <a:pt x="10" y="1"/>
                    </a:lnTo>
                    <a:lnTo>
                      <a:pt x="8" y="1"/>
                    </a:lnTo>
                    <a:close/>
                    <a:moveTo>
                      <a:pt x="8" y="1"/>
                    </a:move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close/>
                    <a:moveTo>
                      <a:pt x="7" y="3"/>
                    </a:moveTo>
                    <a:lnTo>
                      <a:pt x="7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7" y="3"/>
                    </a:lnTo>
                    <a:close/>
                    <a:moveTo>
                      <a:pt x="3" y="35"/>
                    </a:moveTo>
                    <a:lnTo>
                      <a:pt x="3" y="35"/>
                    </a:lnTo>
                    <a:lnTo>
                      <a:pt x="3" y="29"/>
                    </a:lnTo>
                    <a:lnTo>
                      <a:pt x="1" y="24"/>
                    </a:lnTo>
                    <a:lnTo>
                      <a:pt x="1" y="24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22"/>
                    </a:lnTo>
                    <a:lnTo>
                      <a:pt x="1" y="24"/>
                    </a:lnTo>
                    <a:lnTo>
                      <a:pt x="1" y="24"/>
                    </a:lnTo>
                    <a:lnTo>
                      <a:pt x="3" y="29"/>
                    </a:lnTo>
                    <a:lnTo>
                      <a:pt x="3" y="3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60" name="Line 311"/>
              <p:cNvSpPr>
                <a:spLocks noChangeShapeType="1"/>
              </p:cNvSpPr>
              <p:nvPr/>
            </p:nvSpPr>
            <p:spPr bwMode="auto">
              <a:xfrm>
                <a:off x="6075675" y="3101479"/>
                <a:ext cx="0" cy="0"/>
              </a:xfrm>
              <a:prstGeom prst="lin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61" name="Rectangle 312"/>
              <p:cNvSpPr>
                <a:spLocks noChangeArrowheads="1"/>
              </p:cNvSpPr>
              <p:nvPr/>
            </p:nvSpPr>
            <p:spPr bwMode="auto">
              <a:xfrm>
                <a:off x="6075675" y="3101479"/>
                <a:ext cx="989" cy="98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62" name="Line 313"/>
              <p:cNvSpPr>
                <a:spLocks noChangeShapeType="1"/>
              </p:cNvSpPr>
              <p:nvPr/>
            </p:nvSpPr>
            <p:spPr bwMode="auto">
              <a:xfrm>
                <a:off x="6053911" y="3102469"/>
                <a:ext cx="0" cy="0"/>
              </a:xfrm>
              <a:prstGeom prst="lin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63" name="Rectangle 314"/>
              <p:cNvSpPr>
                <a:spLocks noChangeArrowheads="1"/>
              </p:cNvSpPr>
              <p:nvPr/>
            </p:nvSpPr>
            <p:spPr bwMode="auto">
              <a:xfrm>
                <a:off x="6053911" y="3102469"/>
                <a:ext cx="989" cy="98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64" name="Freeform 315"/>
              <p:cNvSpPr>
                <a:spLocks/>
              </p:cNvSpPr>
              <p:nvPr/>
            </p:nvSpPr>
            <p:spPr bwMode="auto">
              <a:xfrm>
                <a:off x="6058857" y="3101479"/>
                <a:ext cx="4946" cy="989"/>
              </a:xfrm>
              <a:custGeom>
                <a:avLst/>
                <a:gdLst>
                  <a:gd name="T0" fmla="*/ 5 w 5"/>
                  <a:gd name="T1" fmla="*/ 1 h 1"/>
                  <a:gd name="T2" fmla="*/ 5 w 5"/>
                  <a:gd name="T3" fmla="*/ 1 h 1"/>
                  <a:gd name="T4" fmla="*/ 0 w 5"/>
                  <a:gd name="T5" fmla="*/ 0 h 1"/>
                  <a:gd name="T6" fmla="*/ 0 w 5"/>
                  <a:gd name="T7" fmla="*/ 0 h 1"/>
                  <a:gd name="T8" fmla="*/ 5 w 5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">
                    <a:moveTo>
                      <a:pt x="5" y="1"/>
                    </a:moveTo>
                    <a:lnTo>
                      <a:pt x="5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65" name="Freeform 316"/>
              <p:cNvSpPr>
                <a:spLocks/>
              </p:cNvSpPr>
              <p:nvPr/>
            </p:nvSpPr>
            <p:spPr bwMode="auto">
              <a:xfrm>
                <a:off x="6063804" y="310246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66" name="Line 317"/>
              <p:cNvSpPr>
                <a:spLocks noChangeShapeType="1"/>
              </p:cNvSpPr>
              <p:nvPr/>
            </p:nvSpPr>
            <p:spPr bwMode="auto">
              <a:xfrm>
                <a:off x="6053911" y="3102469"/>
                <a:ext cx="0" cy="0"/>
              </a:xfrm>
              <a:prstGeom prst="lin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67" name="Rectangle 318"/>
              <p:cNvSpPr>
                <a:spLocks noChangeArrowheads="1"/>
              </p:cNvSpPr>
              <p:nvPr/>
            </p:nvSpPr>
            <p:spPr bwMode="auto">
              <a:xfrm>
                <a:off x="6053911" y="3102469"/>
                <a:ext cx="989" cy="98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68" name="Rectangle 319"/>
              <p:cNvSpPr>
                <a:spLocks noChangeArrowheads="1"/>
              </p:cNvSpPr>
              <p:nvPr/>
            </p:nvSpPr>
            <p:spPr bwMode="auto">
              <a:xfrm>
                <a:off x="6069739" y="3102469"/>
                <a:ext cx="4946" cy="98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69" name="Freeform 320"/>
              <p:cNvSpPr>
                <a:spLocks/>
              </p:cNvSpPr>
              <p:nvPr/>
            </p:nvSpPr>
            <p:spPr bwMode="auto">
              <a:xfrm>
                <a:off x="6069739" y="310246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70" name="Freeform 321"/>
              <p:cNvSpPr>
                <a:spLocks/>
              </p:cNvSpPr>
              <p:nvPr/>
            </p:nvSpPr>
            <p:spPr bwMode="auto">
              <a:xfrm>
                <a:off x="6075675" y="3101479"/>
                <a:ext cx="9893" cy="989"/>
              </a:xfrm>
              <a:custGeom>
                <a:avLst/>
                <a:gdLst>
                  <a:gd name="T0" fmla="*/ 10 w 10"/>
                  <a:gd name="T1" fmla="*/ 1 h 1"/>
                  <a:gd name="T2" fmla="*/ 10 w 10"/>
                  <a:gd name="T3" fmla="*/ 1 h 1"/>
                  <a:gd name="T4" fmla="*/ 3 w 10"/>
                  <a:gd name="T5" fmla="*/ 0 h 1"/>
                  <a:gd name="T6" fmla="*/ 3 w 10"/>
                  <a:gd name="T7" fmla="*/ 0 h 1"/>
                  <a:gd name="T8" fmla="*/ 0 w 10"/>
                  <a:gd name="T9" fmla="*/ 0 h 1"/>
                  <a:gd name="T10" fmla="*/ 0 w 10"/>
                  <a:gd name="T11" fmla="*/ 0 h 1"/>
                  <a:gd name="T12" fmla="*/ 3 w 10"/>
                  <a:gd name="T13" fmla="*/ 0 h 1"/>
                  <a:gd name="T14" fmla="*/ 3 w 10"/>
                  <a:gd name="T15" fmla="*/ 0 h 1"/>
                  <a:gd name="T16" fmla="*/ 10 w 10"/>
                  <a:gd name="T17" fmla="*/ 1 h 1"/>
                  <a:gd name="T18" fmla="*/ 10 w 10"/>
                  <a:gd name="T1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1">
                    <a:moveTo>
                      <a:pt x="10" y="1"/>
                    </a:moveTo>
                    <a:lnTo>
                      <a:pt x="10" y="1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0" y="1"/>
                    </a:lnTo>
                    <a:lnTo>
                      <a:pt x="10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71" name="Rectangle 322"/>
              <p:cNvSpPr>
                <a:spLocks noChangeArrowheads="1"/>
              </p:cNvSpPr>
              <p:nvPr/>
            </p:nvSpPr>
            <p:spPr bwMode="auto">
              <a:xfrm>
                <a:off x="6050943" y="3102469"/>
                <a:ext cx="1979" cy="98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72" name="Rectangle 323"/>
              <p:cNvSpPr>
                <a:spLocks noChangeArrowheads="1"/>
              </p:cNvSpPr>
              <p:nvPr/>
            </p:nvSpPr>
            <p:spPr bwMode="auto">
              <a:xfrm>
                <a:off x="6050943" y="3102469"/>
                <a:ext cx="989" cy="98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73" name="Rectangle 324"/>
              <p:cNvSpPr>
                <a:spLocks noChangeArrowheads="1"/>
              </p:cNvSpPr>
              <p:nvPr/>
            </p:nvSpPr>
            <p:spPr bwMode="auto">
              <a:xfrm>
                <a:off x="6049954" y="3104447"/>
                <a:ext cx="989" cy="98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74" name="Freeform 325"/>
              <p:cNvSpPr>
                <a:spLocks/>
              </p:cNvSpPr>
              <p:nvPr/>
            </p:nvSpPr>
            <p:spPr bwMode="auto">
              <a:xfrm>
                <a:off x="6043029" y="3120275"/>
                <a:ext cx="2968" cy="15828"/>
              </a:xfrm>
              <a:custGeom>
                <a:avLst/>
                <a:gdLst>
                  <a:gd name="T0" fmla="*/ 3 w 3"/>
                  <a:gd name="T1" fmla="*/ 16 h 16"/>
                  <a:gd name="T2" fmla="*/ 3 w 3"/>
                  <a:gd name="T3" fmla="*/ 16 h 16"/>
                  <a:gd name="T4" fmla="*/ 3 w 3"/>
                  <a:gd name="T5" fmla="*/ 10 h 16"/>
                  <a:gd name="T6" fmla="*/ 1 w 3"/>
                  <a:gd name="T7" fmla="*/ 5 h 16"/>
                  <a:gd name="T8" fmla="*/ 1 w 3"/>
                  <a:gd name="T9" fmla="*/ 5 h 16"/>
                  <a:gd name="T10" fmla="*/ 0 w 3"/>
                  <a:gd name="T11" fmla="*/ 3 h 16"/>
                  <a:gd name="T12" fmla="*/ 0 w 3"/>
                  <a:gd name="T13" fmla="*/ 0 h 16"/>
                  <a:gd name="T14" fmla="*/ 0 w 3"/>
                  <a:gd name="T15" fmla="*/ 0 h 16"/>
                  <a:gd name="T16" fmla="*/ 0 w 3"/>
                  <a:gd name="T17" fmla="*/ 3 h 16"/>
                  <a:gd name="T18" fmla="*/ 1 w 3"/>
                  <a:gd name="T19" fmla="*/ 5 h 16"/>
                  <a:gd name="T20" fmla="*/ 1 w 3"/>
                  <a:gd name="T21" fmla="*/ 5 h 16"/>
                  <a:gd name="T22" fmla="*/ 3 w 3"/>
                  <a:gd name="T23" fmla="*/ 10 h 16"/>
                  <a:gd name="T24" fmla="*/ 3 w 3"/>
                  <a:gd name="T2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" h="16">
                    <a:moveTo>
                      <a:pt x="3" y="16"/>
                    </a:moveTo>
                    <a:lnTo>
                      <a:pt x="3" y="16"/>
                    </a:lnTo>
                    <a:lnTo>
                      <a:pt x="3" y="10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3" y="10"/>
                    </a:lnTo>
                    <a:lnTo>
                      <a:pt x="3" y="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75" name="Freeform 326"/>
              <p:cNvSpPr>
                <a:spLocks/>
              </p:cNvSpPr>
              <p:nvPr/>
            </p:nvSpPr>
            <p:spPr bwMode="auto">
              <a:xfrm>
                <a:off x="6056879" y="3296364"/>
                <a:ext cx="14839" cy="10882"/>
              </a:xfrm>
              <a:custGeom>
                <a:avLst/>
                <a:gdLst>
                  <a:gd name="T0" fmla="*/ 0 w 15"/>
                  <a:gd name="T1" fmla="*/ 10 h 11"/>
                  <a:gd name="T2" fmla="*/ 0 w 15"/>
                  <a:gd name="T3" fmla="*/ 10 h 11"/>
                  <a:gd name="T4" fmla="*/ 13 w 15"/>
                  <a:gd name="T5" fmla="*/ 11 h 11"/>
                  <a:gd name="T6" fmla="*/ 13 w 15"/>
                  <a:gd name="T7" fmla="*/ 11 h 11"/>
                  <a:gd name="T8" fmla="*/ 15 w 15"/>
                  <a:gd name="T9" fmla="*/ 10 h 11"/>
                  <a:gd name="T10" fmla="*/ 15 w 15"/>
                  <a:gd name="T11" fmla="*/ 9 h 11"/>
                  <a:gd name="T12" fmla="*/ 12 w 15"/>
                  <a:gd name="T13" fmla="*/ 0 h 11"/>
                  <a:gd name="T14" fmla="*/ 12 w 15"/>
                  <a:gd name="T15" fmla="*/ 0 h 11"/>
                  <a:gd name="T16" fmla="*/ 6 w 15"/>
                  <a:gd name="T17" fmla="*/ 4 h 11"/>
                  <a:gd name="T18" fmla="*/ 3 w 15"/>
                  <a:gd name="T19" fmla="*/ 7 h 11"/>
                  <a:gd name="T20" fmla="*/ 0 w 15"/>
                  <a:gd name="T21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11">
                    <a:moveTo>
                      <a:pt x="0" y="10"/>
                    </a:moveTo>
                    <a:lnTo>
                      <a:pt x="0" y="10"/>
                    </a:lnTo>
                    <a:lnTo>
                      <a:pt x="13" y="11"/>
                    </a:lnTo>
                    <a:lnTo>
                      <a:pt x="13" y="11"/>
                    </a:lnTo>
                    <a:lnTo>
                      <a:pt x="15" y="10"/>
                    </a:lnTo>
                    <a:lnTo>
                      <a:pt x="15" y="9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3" y="7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76" name="Freeform 327"/>
              <p:cNvSpPr>
                <a:spLocks/>
              </p:cNvSpPr>
              <p:nvPr/>
            </p:nvSpPr>
            <p:spPr bwMode="auto">
              <a:xfrm>
                <a:off x="6056879" y="3296364"/>
                <a:ext cx="14839" cy="10882"/>
              </a:xfrm>
              <a:custGeom>
                <a:avLst/>
                <a:gdLst>
                  <a:gd name="T0" fmla="*/ 0 w 15"/>
                  <a:gd name="T1" fmla="*/ 10 h 11"/>
                  <a:gd name="T2" fmla="*/ 0 w 15"/>
                  <a:gd name="T3" fmla="*/ 10 h 11"/>
                  <a:gd name="T4" fmla="*/ 13 w 15"/>
                  <a:gd name="T5" fmla="*/ 11 h 11"/>
                  <a:gd name="T6" fmla="*/ 13 w 15"/>
                  <a:gd name="T7" fmla="*/ 11 h 11"/>
                  <a:gd name="T8" fmla="*/ 15 w 15"/>
                  <a:gd name="T9" fmla="*/ 10 h 11"/>
                  <a:gd name="T10" fmla="*/ 15 w 15"/>
                  <a:gd name="T11" fmla="*/ 9 h 11"/>
                  <a:gd name="T12" fmla="*/ 12 w 15"/>
                  <a:gd name="T13" fmla="*/ 0 h 11"/>
                  <a:gd name="T14" fmla="*/ 12 w 15"/>
                  <a:gd name="T15" fmla="*/ 0 h 11"/>
                  <a:gd name="T16" fmla="*/ 6 w 15"/>
                  <a:gd name="T17" fmla="*/ 4 h 11"/>
                  <a:gd name="T18" fmla="*/ 3 w 15"/>
                  <a:gd name="T19" fmla="*/ 7 h 11"/>
                  <a:gd name="T20" fmla="*/ 0 w 15"/>
                  <a:gd name="T21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11">
                    <a:moveTo>
                      <a:pt x="0" y="10"/>
                    </a:moveTo>
                    <a:lnTo>
                      <a:pt x="0" y="10"/>
                    </a:lnTo>
                    <a:lnTo>
                      <a:pt x="13" y="11"/>
                    </a:lnTo>
                    <a:lnTo>
                      <a:pt x="13" y="11"/>
                    </a:lnTo>
                    <a:lnTo>
                      <a:pt x="15" y="10"/>
                    </a:lnTo>
                    <a:lnTo>
                      <a:pt x="15" y="9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3" y="7"/>
                    </a:lnTo>
                    <a:lnTo>
                      <a:pt x="0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77" name="Freeform 328"/>
              <p:cNvSpPr>
                <a:spLocks/>
              </p:cNvSpPr>
              <p:nvPr/>
            </p:nvSpPr>
            <p:spPr bwMode="auto">
              <a:xfrm>
                <a:off x="6149869" y="3264707"/>
                <a:ext cx="155314" cy="125636"/>
              </a:xfrm>
              <a:custGeom>
                <a:avLst/>
                <a:gdLst>
                  <a:gd name="T0" fmla="*/ 0 w 157"/>
                  <a:gd name="T1" fmla="*/ 55 h 127"/>
                  <a:gd name="T2" fmla="*/ 3 w 157"/>
                  <a:gd name="T3" fmla="*/ 77 h 127"/>
                  <a:gd name="T4" fmla="*/ 6 w 157"/>
                  <a:gd name="T5" fmla="*/ 80 h 127"/>
                  <a:gd name="T6" fmla="*/ 10 w 157"/>
                  <a:gd name="T7" fmla="*/ 80 h 127"/>
                  <a:gd name="T8" fmla="*/ 10 w 157"/>
                  <a:gd name="T9" fmla="*/ 83 h 127"/>
                  <a:gd name="T10" fmla="*/ 12 w 157"/>
                  <a:gd name="T11" fmla="*/ 97 h 127"/>
                  <a:gd name="T12" fmla="*/ 16 w 157"/>
                  <a:gd name="T13" fmla="*/ 107 h 127"/>
                  <a:gd name="T14" fmla="*/ 26 w 157"/>
                  <a:gd name="T15" fmla="*/ 110 h 127"/>
                  <a:gd name="T16" fmla="*/ 37 w 157"/>
                  <a:gd name="T17" fmla="*/ 112 h 127"/>
                  <a:gd name="T18" fmla="*/ 38 w 157"/>
                  <a:gd name="T19" fmla="*/ 114 h 127"/>
                  <a:gd name="T20" fmla="*/ 39 w 157"/>
                  <a:gd name="T21" fmla="*/ 116 h 127"/>
                  <a:gd name="T22" fmla="*/ 55 w 157"/>
                  <a:gd name="T23" fmla="*/ 116 h 127"/>
                  <a:gd name="T24" fmla="*/ 58 w 157"/>
                  <a:gd name="T25" fmla="*/ 114 h 127"/>
                  <a:gd name="T26" fmla="*/ 60 w 157"/>
                  <a:gd name="T27" fmla="*/ 113 h 127"/>
                  <a:gd name="T28" fmla="*/ 64 w 157"/>
                  <a:gd name="T29" fmla="*/ 116 h 127"/>
                  <a:gd name="T30" fmla="*/ 81 w 157"/>
                  <a:gd name="T31" fmla="*/ 122 h 127"/>
                  <a:gd name="T32" fmla="*/ 84 w 157"/>
                  <a:gd name="T33" fmla="*/ 125 h 127"/>
                  <a:gd name="T34" fmla="*/ 86 w 157"/>
                  <a:gd name="T35" fmla="*/ 127 h 127"/>
                  <a:gd name="T36" fmla="*/ 93 w 157"/>
                  <a:gd name="T37" fmla="*/ 125 h 127"/>
                  <a:gd name="T38" fmla="*/ 105 w 157"/>
                  <a:gd name="T39" fmla="*/ 119 h 127"/>
                  <a:gd name="T40" fmla="*/ 112 w 157"/>
                  <a:gd name="T41" fmla="*/ 109 h 127"/>
                  <a:gd name="T42" fmla="*/ 113 w 157"/>
                  <a:gd name="T43" fmla="*/ 98 h 127"/>
                  <a:gd name="T44" fmla="*/ 118 w 157"/>
                  <a:gd name="T45" fmla="*/ 90 h 127"/>
                  <a:gd name="T46" fmla="*/ 128 w 157"/>
                  <a:gd name="T47" fmla="*/ 80 h 127"/>
                  <a:gd name="T48" fmla="*/ 136 w 157"/>
                  <a:gd name="T49" fmla="*/ 65 h 127"/>
                  <a:gd name="T50" fmla="*/ 141 w 157"/>
                  <a:gd name="T51" fmla="*/ 55 h 127"/>
                  <a:gd name="T52" fmla="*/ 147 w 157"/>
                  <a:gd name="T53" fmla="*/ 52 h 127"/>
                  <a:gd name="T54" fmla="*/ 152 w 157"/>
                  <a:gd name="T55" fmla="*/ 52 h 127"/>
                  <a:gd name="T56" fmla="*/ 157 w 157"/>
                  <a:gd name="T57" fmla="*/ 49 h 127"/>
                  <a:gd name="T58" fmla="*/ 154 w 157"/>
                  <a:gd name="T59" fmla="*/ 46 h 127"/>
                  <a:gd name="T60" fmla="*/ 139 w 157"/>
                  <a:gd name="T61" fmla="*/ 36 h 127"/>
                  <a:gd name="T62" fmla="*/ 139 w 157"/>
                  <a:gd name="T63" fmla="*/ 33 h 127"/>
                  <a:gd name="T64" fmla="*/ 144 w 157"/>
                  <a:gd name="T65" fmla="*/ 30 h 127"/>
                  <a:gd name="T66" fmla="*/ 142 w 157"/>
                  <a:gd name="T67" fmla="*/ 28 h 127"/>
                  <a:gd name="T68" fmla="*/ 135 w 157"/>
                  <a:gd name="T69" fmla="*/ 17 h 127"/>
                  <a:gd name="T70" fmla="*/ 129 w 157"/>
                  <a:gd name="T71" fmla="*/ 9 h 127"/>
                  <a:gd name="T72" fmla="*/ 135 w 157"/>
                  <a:gd name="T73" fmla="*/ 9 h 127"/>
                  <a:gd name="T74" fmla="*/ 138 w 157"/>
                  <a:gd name="T75" fmla="*/ 7 h 127"/>
                  <a:gd name="T76" fmla="*/ 135 w 157"/>
                  <a:gd name="T77" fmla="*/ 4 h 127"/>
                  <a:gd name="T78" fmla="*/ 135 w 157"/>
                  <a:gd name="T79" fmla="*/ 1 h 127"/>
                  <a:gd name="T80" fmla="*/ 123 w 157"/>
                  <a:gd name="T81" fmla="*/ 0 h 127"/>
                  <a:gd name="T82" fmla="*/ 116 w 157"/>
                  <a:gd name="T83" fmla="*/ 0 h 127"/>
                  <a:gd name="T84" fmla="*/ 108 w 157"/>
                  <a:gd name="T85" fmla="*/ 6 h 127"/>
                  <a:gd name="T86" fmla="*/ 100 w 157"/>
                  <a:gd name="T87" fmla="*/ 16 h 127"/>
                  <a:gd name="T88" fmla="*/ 96 w 157"/>
                  <a:gd name="T89" fmla="*/ 25 h 127"/>
                  <a:gd name="T90" fmla="*/ 80 w 157"/>
                  <a:gd name="T91" fmla="*/ 43 h 127"/>
                  <a:gd name="T92" fmla="*/ 74 w 157"/>
                  <a:gd name="T93" fmla="*/ 46 h 127"/>
                  <a:gd name="T94" fmla="*/ 70 w 157"/>
                  <a:gd name="T95" fmla="*/ 46 h 127"/>
                  <a:gd name="T96" fmla="*/ 60 w 157"/>
                  <a:gd name="T97" fmla="*/ 41 h 127"/>
                  <a:gd name="T98" fmla="*/ 55 w 157"/>
                  <a:gd name="T99" fmla="*/ 41 h 127"/>
                  <a:gd name="T100" fmla="*/ 47 w 157"/>
                  <a:gd name="T101" fmla="*/ 48 h 127"/>
                  <a:gd name="T102" fmla="*/ 31 w 157"/>
                  <a:gd name="T103" fmla="*/ 51 h 127"/>
                  <a:gd name="T104" fmla="*/ 26 w 157"/>
                  <a:gd name="T105" fmla="*/ 51 h 127"/>
                  <a:gd name="T106" fmla="*/ 16 w 157"/>
                  <a:gd name="T107" fmla="*/ 42 h 127"/>
                  <a:gd name="T108" fmla="*/ 10 w 157"/>
                  <a:gd name="T109" fmla="*/ 38 h 127"/>
                  <a:gd name="T110" fmla="*/ 6 w 157"/>
                  <a:gd name="T111" fmla="*/ 35 h 127"/>
                  <a:gd name="T112" fmla="*/ 5 w 157"/>
                  <a:gd name="T113" fmla="*/ 36 h 127"/>
                  <a:gd name="T114" fmla="*/ 2 w 157"/>
                  <a:gd name="T115" fmla="*/ 43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7" h="127">
                    <a:moveTo>
                      <a:pt x="0" y="55"/>
                    </a:moveTo>
                    <a:lnTo>
                      <a:pt x="0" y="55"/>
                    </a:lnTo>
                    <a:lnTo>
                      <a:pt x="2" y="70"/>
                    </a:lnTo>
                    <a:lnTo>
                      <a:pt x="3" y="77"/>
                    </a:lnTo>
                    <a:lnTo>
                      <a:pt x="5" y="78"/>
                    </a:lnTo>
                    <a:lnTo>
                      <a:pt x="6" y="80"/>
                    </a:lnTo>
                    <a:lnTo>
                      <a:pt x="6" y="80"/>
                    </a:lnTo>
                    <a:lnTo>
                      <a:pt x="10" y="80"/>
                    </a:lnTo>
                    <a:lnTo>
                      <a:pt x="10" y="80"/>
                    </a:lnTo>
                    <a:lnTo>
                      <a:pt x="10" y="83"/>
                    </a:lnTo>
                    <a:lnTo>
                      <a:pt x="10" y="83"/>
                    </a:lnTo>
                    <a:lnTo>
                      <a:pt x="12" y="97"/>
                    </a:lnTo>
                    <a:lnTo>
                      <a:pt x="15" y="104"/>
                    </a:lnTo>
                    <a:lnTo>
                      <a:pt x="16" y="107"/>
                    </a:lnTo>
                    <a:lnTo>
                      <a:pt x="16" y="107"/>
                    </a:lnTo>
                    <a:lnTo>
                      <a:pt x="26" y="110"/>
                    </a:lnTo>
                    <a:lnTo>
                      <a:pt x="37" y="112"/>
                    </a:lnTo>
                    <a:lnTo>
                      <a:pt x="37" y="112"/>
                    </a:lnTo>
                    <a:lnTo>
                      <a:pt x="37" y="114"/>
                    </a:lnTo>
                    <a:lnTo>
                      <a:pt x="38" y="114"/>
                    </a:lnTo>
                    <a:lnTo>
                      <a:pt x="39" y="116"/>
                    </a:lnTo>
                    <a:lnTo>
                      <a:pt x="39" y="116"/>
                    </a:lnTo>
                    <a:lnTo>
                      <a:pt x="50" y="116"/>
                    </a:lnTo>
                    <a:lnTo>
                      <a:pt x="55" y="116"/>
                    </a:lnTo>
                    <a:lnTo>
                      <a:pt x="58" y="114"/>
                    </a:lnTo>
                    <a:lnTo>
                      <a:pt x="58" y="114"/>
                    </a:lnTo>
                    <a:lnTo>
                      <a:pt x="58" y="113"/>
                    </a:lnTo>
                    <a:lnTo>
                      <a:pt x="60" y="113"/>
                    </a:lnTo>
                    <a:lnTo>
                      <a:pt x="64" y="116"/>
                    </a:lnTo>
                    <a:lnTo>
                      <a:pt x="64" y="116"/>
                    </a:lnTo>
                    <a:lnTo>
                      <a:pt x="77" y="120"/>
                    </a:lnTo>
                    <a:lnTo>
                      <a:pt x="81" y="122"/>
                    </a:lnTo>
                    <a:lnTo>
                      <a:pt x="84" y="125"/>
                    </a:lnTo>
                    <a:lnTo>
                      <a:pt x="84" y="125"/>
                    </a:lnTo>
                    <a:lnTo>
                      <a:pt x="84" y="126"/>
                    </a:lnTo>
                    <a:lnTo>
                      <a:pt x="86" y="127"/>
                    </a:lnTo>
                    <a:lnTo>
                      <a:pt x="89" y="127"/>
                    </a:lnTo>
                    <a:lnTo>
                      <a:pt x="93" y="125"/>
                    </a:lnTo>
                    <a:lnTo>
                      <a:pt x="93" y="125"/>
                    </a:lnTo>
                    <a:lnTo>
                      <a:pt x="105" y="119"/>
                    </a:lnTo>
                    <a:lnTo>
                      <a:pt x="109" y="114"/>
                    </a:lnTo>
                    <a:lnTo>
                      <a:pt x="112" y="109"/>
                    </a:lnTo>
                    <a:lnTo>
                      <a:pt x="112" y="109"/>
                    </a:lnTo>
                    <a:lnTo>
                      <a:pt x="113" y="98"/>
                    </a:lnTo>
                    <a:lnTo>
                      <a:pt x="115" y="94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28" y="80"/>
                    </a:lnTo>
                    <a:lnTo>
                      <a:pt x="134" y="72"/>
                    </a:lnTo>
                    <a:lnTo>
                      <a:pt x="136" y="65"/>
                    </a:lnTo>
                    <a:lnTo>
                      <a:pt x="136" y="65"/>
                    </a:lnTo>
                    <a:lnTo>
                      <a:pt x="141" y="55"/>
                    </a:lnTo>
                    <a:lnTo>
                      <a:pt x="142" y="52"/>
                    </a:lnTo>
                    <a:lnTo>
                      <a:pt x="147" y="52"/>
                    </a:lnTo>
                    <a:lnTo>
                      <a:pt x="147" y="52"/>
                    </a:lnTo>
                    <a:lnTo>
                      <a:pt x="152" y="52"/>
                    </a:lnTo>
                    <a:lnTo>
                      <a:pt x="155" y="51"/>
                    </a:lnTo>
                    <a:lnTo>
                      <a:pt x="157" y="49"/>
                    </a:lnTo>
                    <a:lnTo>
                      <a:pt x="154" y="46"/>
                    </a:lnTo>
                    <a:lnTo>
                      <a:pt x="154" y="46"/>
                    </a:lnTo>
                    <a:lnTo>
                      <a:pt x="144" y="41"/>
                    </a:lnTo>
                    <a:lnTo>
                      <a:pt x="139" y="36"/>
                    </a:lnTo>
                    <a:lnTo>
                      <a:pt x="139" y="35"/>
                    </a:lnTo>
                    <a:lnTo>
                      <a:pt x="139" y="33"/>
                    </a:lnTo>
                    <a:lnTo>
                      <a:pt x="139" y="33"/>
                    </a:lnTo>
                    <a:lnTo>
                      <a:pt x="144" y="30"/>
                    </a:lnTo>
                    <a:lnTo>
                      <a:pt x="144" y="29"/>
                    </a:lnTo>
                    <a:lnTo>
                      <a:pt x="142" y="28"/>
                    </a:lnTo>
                    <a:lnTo>
                      <a:pt x="142" y="28"/>
                    </a:lnTo>
                    <a:lnTo>
                      <a:pt x="135" y="17"/>
                    </a:lnTo>
                    <a:lnTo>
                      <a:pt x="131" y="10"/>
                    </a:lnTo>
                    <a:lnTo>
                      <a:pt x="129" y="9"/>
                    </a:lnTo>
                    <a:lnTo>
                      <a:pt x="129" y="9"/>
                    </a:lnTo>
                    <a:lnTo>
                      <a:pt x="135" y="9"/>
                    </a:lnTo>
                    <a:lnTo>
                      <a:pt x="138" y="7"/>
                    </a:lnTo>
                    <a:lnTo>
                      <a:pt x="138" y="7"/>
                    </a:lnTo>
                    <a:lnTo>
                      <a:pt x="138" y="7"/>
                    </a:lnTo>
                    <a:lnTo>
                      <a:pt x="135" y="4"/>
                    </a:lnTo>
                    <a:lnTo>
                      <a:pt x="134" y="3"/>
                    </a:lnTo>
                    <a:lnTo>
                      <a:pt x="135" y="1"/>
                    </a:lnTo>
                    <a:lnTo>
                      <a:pt x="135" y="1"/>
                    </a:lnTo>
                    <a:lnTo>
                      <a:pt x="123" y="0"/>
                    </a:lnTo>
                    <a:lnTo>
                      <a:pt x="116" y="0"/>
                    </a:lnTo>
                    <a:lnTo>
                      <a:pt x="116" y="0"/>
                    </a:lnTo>
                    <a:lnTo>
                      <a:pt x="112" y="1"/>
                    </a:lnTo>
                    <a:lnTo>
                      <a:pt x="108" y="6"/>
                    </a:lnTo>
                    <a:lnTo>
                      <a:pt x="103" y="10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96" y="25"/>
                    </a:lnTo>
                    <a:lnTo>
                      <a:pt x="89" y="35"/>
                    </a:lnTo>
                    <a:lnTo>
                      <a:pt x="80" y="43"/>
                    </a:lnTo>
                    <a:lnTo>
                      <a:pt x="77" y="46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0" y="46"/>
                    </a:lnTo>
                    <a:lnTo>
                      <a:pt x="64" y="43"/>
                    </a:lnTo>
                    <a:lnTo>
                      <a:pt x="60" y="41"/>
                    </a:lnTo>
                    <a:lnTo>
                      <a:pt x="55" y="41"/>
                    </a:lnTo>
                    <a:lnTo>
                      <a:pt x="55" y="41"/>
                    </a:lnTo>
                    <a:lnTo>
                      <a:pt x="51" y="43"/>
                    </a:lnTo>
                    <a:lnTo>
                      <a:pt x="47" y="48"/>
                    </a:lnTo>
                    <a:lnTo>
                      <a:pt x="41" y="51"/>
                    </a:lnTo>
                    <a:lnTo>
                      <a:pt x="31" y="51"/>
                    </a:lnTo>
                    <a:lnTo>
                      <a:pt x="31" y="51"/>
                    </a:lnTo>
                    <a:lnTo>
                      <a:pt x="26" y="51"/>
                    </a:lnTo>
                    <a:lnTo>
                      <a:pt x="24" y="4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0" y="38"/>
                    </a:lnTo>
                    <a:lnTo>
                      <a:pt x="9" y="36"/>
                    </a:lnTo>
                    <a:lnTo>
                      <a:pt x="6" y="35"/>
                    </a:lnTo>
                    <a:lnTo>
                      <a:pt x="6" y="35"/>
                    </a:lnTo>
                    <a:lnTo>
                      <a:pt x="5" y="36"/>
                    </a:lnTo>
                    <a:lnTo>
                      <a:pt x="3" y="38"/>
                    </a:lnTo>
                    <a:lnTo>
                      <a:pt x="2" y="43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78" name="Freeform 329"/>
              <p:cNvSpPr>
                <a:spLocks/>
              </p:cNvSpPr>
              <p:nvPr/>
            </p:nvSpPr>
            <p:spPr bwMode="auto">
              <a:xfrm>
                <a:off x="6149869" y="3264707"/>
                <a:ext cx="155314" cy="125636"/>
              </a:xfrm>
              <a:custGeom>
                <a:avLst/>
                <a:gdLst>
                  <a:gd name="T0" fmla="*/ 0 w 157"/>
                  <a:gd name="T1" fmla="*/ 55 h 127"/>
                  <a:gd name="T2" fmla="*/ 3 w 157"/>
                  <a:gd name="T3" fmla="*/ 77 h 127"/>
                  <a:gd name="T4" fmla="*/ 6 w 157"/>
                  <a:gd name="T5" fmla="*/ 80 h 127"/>
                  <a:gd name="T6" fmla="*/ 10 w 157"/>
                  <a:gd name="T7" fmla="*/ 80 h 127"/>
                  <a:gd name="T8" fmla="*/ 10 w 157"/>
                  <a:gd name="T9" fmla="*/ 83 h 127"/>
                  <a:gd name="T10" fmla="*/ 12 w 157"/>
                  <a:gd name="T11" fmla="*/ 97 h 127"/>
                  <a:gd name="T12" fmla="*/ 16 w 157"/>
                  <a:gd name="T13" fmla="*/ 107 h 127"/>
                  <a:gd name="T14" fmla="*/ 26 w 157"/>
                  <a:gd name="T15" fmla="*/ 110 h 127"/>
                  <a:gd name="T16" fmla="*/ 37 w 157"/>
                  <a:gd name="T17" fmla="*/ 112 h 127"/>
                  <a:gd name="T18" fmla="*/ 38 w 157"/>
                  <a:gd name="T19" fmla="*/ 114 h 127"/>
                  <a:gd name="T20" fmla="*/ 39 w 157"/>
                  <a:gd name="T21" fmla="*/ 116 h 127"/>
                  <a:gd name="T22" fmla="*/ 55 w 157"/>
                  <a:gd name="T23" fmla="*/ 116 h 127"/>
                  <a:gd name="T24" fmla="*/ 58 w 157"/>
                  <a:gd name="T25" fmla="*/ 114 h 127"/>
                  <a:gd name="T26" fmla="*/ 60 w 157"/>
                  <a:gd name="T27" fmla="*/ 113 h 127"/>
                  <a:gd name="T28" fmla="*/ 64 w 157"/>
                  <a:gd name="T29" fmla="*/ 116 h 127"/>
                  <a:gd name="T30" fmla="*/ 81 w 157"/>
                  <a:gd name="T31" fmla="*/ 122 h 127"/>
                  <a:gd name="T32" fmla="*/ 84 w 157"/>
                  <a:gd name="T33" fmla="*/ 125 h 127"/>
                  <a:gd name="T34" fmla="*/ 86 w 157"/>
                  <a:gd name="T35" fmla="*/ 127 h 127"/>
                  <a:gd name="T36" fmla="*/ 93 w 157"/>
                  <a:gd name="T37" fmla="*/ 125 h 127"/>
                  <a:gd name="T38" fmla="*/ 105 w 157"/>
                  <a:gd name="T39" fmla="*/ 119 h 127"/>
                  <a:gd name="T40" fmla="*/ 112 w 157"/>
                  <a:gd name="T41" fmla="*/ 109 h 127"/>
                  <a:gd name="T42" fmla="*/ 113 w 157"/>
                  <a:gd name="T43" fmla="*/ 98 h 127"/>
                  <a:gd name="T44" fmla="*/ 118 w 157"/>
                  <a:gd name="T45" fmla="*/ 90 h 127"/>
                  <a:gd name="T46" fmla="*/ 128 w 157"/>
                  <a:gd name="T47" fmla="*/ 80 h 127"/>
                  <a:gd name="T48" fmla="*/ 136 w 157"/>
                  <a:gd name="T49" fmla="*/ 65 h 127"/>
                  <a:gd name="T50" fmla="*/ 141 w 157"/>
                  <a:gd name="T51" fmla="*/ 55 h 127"/>
                  <a:gd name="T52" fmla="*/ 147 w 157"/>
                  <a:gd name="T53" fmla="*/ 52 h 127"/>
                  <a:gd name="T54" fmla="*/ 152 w 157"/>
                  <a:gd name="T55" fmla="*/ 52 h 127"/>
                  <a:gd name="T56" fmla="*/ 157 w 157"/>
                  <a:gd name="T57" fmla="*/ 49 h 127"/>
                  <a:gd name="T58" fmla="*/ 154 w 157"/>
                  <a:gd name="T59" fmla="*/ 46 h 127"/>
                  <a:gd name="T60" fmla="*/ 139 w 157"/>
                  <a:gd name="T61" fmla="*/ 36 h 127"/>
                  <a:gd name="T62" fmla="*/ 139 w 157"/>
                  <a:gd name="T63" fmla="*/ 33 h 127"/>
                  <a:gd name="T64" fmla="*/ 144 w 157"/>
                  <a:gd name="T65" fmla="*/ 30 h 127"/>
                  <a:gd name="T66" fmla="*/ 142 w 157"/>
                  <a:gd name="T67" fmla="*/ 28 h 127"/>
                  <a:gd name="T68" fmla="*/ 135 w 157"/>
                  <a:gd name="T69" fmla="*/ 17 h 127"/>
                  <a:gd name="T70" fmla="*/ 129 w 157"/>
                  <a:gd name="T71" fmla="*/ 9 h 127"/>
                  <a:gd name="T72" fmla="*/ 135 w 157"/>
                  <a:gd name="T73" fmla="*/ 9 h 127"/>
                  <a:gd name="T74" fmla="*/ 138 w 157"/>
                  <a:gd name="T75" fmla="*/ 7 h 127"/>
                  <a:gd name="T76" fmla="*/ 135 w 157"/>
                  <a:gd name="T77" fmla="*/ 4 h 127"/>
                  <a:gd name="T78" fmla="*/ 135 w 157"/>
                  <a:gd name="T79" fmla="*/ 1 h 127"/>
                  <a:gd name="T80" fmla="*/ 123 w 157"/>
                  <a:gd name="T81" fmla="*/ 0 h 127"/>
                  <a:gd name="T82" fmla="*/ 116 w 157"/>
                  <a:gd name="T83" fmla="*/ 0 h 127"/>
                  <a:gd name="T84" fmla="*/ 108 w 157"/>
                  <a:gd name="T85" fmla="*/ 6 h 127"/>
                  <a:gd name="T86" fmla="*/ 100 w 157"/>
                  <a:gd name="T87" fmla="*/ 16 h 127"/>
                  <a:gd name="T88" fmla="*/ 96 w 157"/>
                  <a:gd name="T89" fmla="*/ 25 h 127"/>
                  <a:gd name="T90" fmla="*/ 80 w 157"/>
                  <a:gd name="T91" fmla="*/ 43 h 127"/>
                  <a:gd name="T92" fmla="*/ 74 w 157"/>
                  <a:gd name="T93" fmla="*/ 46 h 127"/>
                  <a:gd name="T94" fmla="*/ 70 w 157"/>
                  <a:gd name="T95" fmla="*/ 46 h 127"/>
                  <a:gd name="T96" fmla="*/ 60 w 157"/>
                  <a:gd name="T97" fmla="*/ 41 h 127"/>
                  <a:gd name="T98" fmla="*/ 55 w 157"/>
                  <a:gd name="T99" fmla="*/ 41 h 127"/>
                  <a:gd name="T100" fmla="*/ 47 w 157"/>
                  <a:gd name="T101" fmla="*/ 48 h 127"/>
                  <a:gd name="T102" fmla="*/ 31 w 157"/>
                  <a:gd name="T103" fmla="*/ 51 h 127"/>
                  <a:gd name="T104" fmla="*/ 26 w 157"/>
                  <a:gd name="T105" fmla="*/ 51 h 127"/>
                  <a:gd name="T106" fmla="*/ 16 w 157"/>
                  <a:gd name="T107" fmla="*/ 42 h 127"/>
                  <a:gd name="T108" fmla="*/ 10 w 157"/>
                  <a:gd name="T109" fmla="*/ 38 h 127"/>
                  <a:gd name="T110" fmla="*/ 6 w 157"/>
                  <a:gd name="T111" fmla="*/ 35 h 127"/>
                  <a:gd name="T112" fmla="*/ 5 w 157"/>
                  <a:gd name="T113" fmla="*/ 36 h 127"/>
                  <a:gd name="T114" fmla="*/ 2 w 157"/>
                  <a:gd name="T115" fmla="*/ 43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7" h="127">
                    <a:moveTo>
                      <a:pt x="0" y="55"/>
                    </a:moveTo>
                    <a:lnTo>
                      <a:pt x="0" y="55"/>
                    </a:lnTo>
                    <a:lnTo>
                      <a:pt x="2" y="70"/>
                    </a:lnTo>
                    <a:lnTo>
                      <a:pt x="3" y="77"/>
                    </a:lnTo>
                    <a:lnTo>
                      <a:pt x="5" y="78"/>
                    </a:lnTo>
                    <a:lnTo>
                      <a:pt x="6" y="80"/>
                    </a:lnTo>
                    <a:lnTo>
                      <a:pt x="6" y="80"/>
                    </a:lnTo>
                    <a:lnTo>
                      <a:pt x="10" y="80"/>
                    </a:lnTo>
                    <a:lnTo>
                      <a:pt x="10" y="80"/>
                    </a:lnTo>
                    <a:lnTo>
                      <a:pt x="10" y="83"/>
                    </a:lnTo>
                    <a:lnTo>
                      <a:pt x="10" y="83"/>
                    </a:lnTo>
                    <a:lnTo>
                      <a:pt x="12" y="97"/>
                    </a:lnTo>
                    <a:lnTo>
                      <a:pt x="15" y="104"/>
                    </a:lnTo>
                    <a:lnTo>
                      <a:pt x="16" y="107"/>
                    </a:lnTo>
                    <a:lnTo>
                      <a:pt x="16" y="107"/>
                    </a:lnTo>
                    <a:lnTo>
                      <a:pt x="26" y="110"/>
                    </a:lnTo>
                    <a:lnTo>
                      <a:pt x="37" y="112"/>
                    </a:lnTo>
                    <a:lnTo>
                      <a:pt x="37" y="112"/>
                    </a:lnTo>
                    <a:lnTo>
                      <a:pt x="37" y="114"/>
                    </a:lnTo>
                    <a:lnTo>
                      <a:pt x="38" y="114"/>
                    </a:lnTo>
                    <a:lnTo>
                      <a:pt x="39" y="116"/>
                    </a:lnTo>
                    <a:lnTo>
                      <a:pt x="39" y="116"/>
                    </a:lnTo>
                    <a:lnTo>
                      <a:pt x="50" y="116"/>
                    </a:lnTo>
                    <a:lnTo>
                      <a:pt x="55" y="116"/>
                    </a:lnTo>
                    <a:lnTo>
                      <a:pt x="58" y="114"/>
                    </a:lnTo>
                    <a:lnTo>
                      <a:pt x="58" y="114"/>
                    </a:lnTo>
                    <a:lnTo>
                      <a:pt x="58" y="113"/>
                    </a:lnTo>
                    <a:lnTo>
                      <a:pt x="60" y="113"/>
                    </a:lnTo>
                    <a:lnTo>
                      <a:pt x="64" y="116"/>
                    </a:lnTo>
                    <a:lnTo>
                      <a:pt x="64" y="116"/>
                    </a:lnTo>
                    <a:lnTo>
                      <a:pt x="77" y="120"/>
                    </a:lnTo>
                    <a:lnTo>
                      <a:pt x="81" y="122"/>
                    </a:lnTo>
                    <a:lnTo>
                      <a:pt x="84" y="125"/>
                    </a:lnTo>
                    <a:lnTo>
                      <a:pt x="84" y="125"/>
                    </a:lnTo>
                    <a:lnTo>
                      <a:pt x="84" y="126"/>
                    </a:lnTo>
                    <a:lnTo>
                      <a:pt x="86" y="127"/>
                    </a:lnTo>
                    <a:lnTo>
                      <a:pt x="89" y="127"/>
                    </a:lnTo>
                    <a:lnTo>
                      <a:pt x="93" y="125"/>
                    </a:lnTo>
                    <a:lnTo>
                      <a:pt x="93" y="125"/>
                    </a:lnTo>
                    <a:lnTo>
                      <a:pt x="105" y="119"/>
                    </a:lnTo>
                    <a:lnTo>
                      <a:pt x="109" y="114"/>
                    </a:lnTo>
                    <a:lnTo>
                      <a:pt x="112" y="109"/>
                    </a:lnTo>
                    <a:lnTo>
                      <a:pt x="112" y="109"/>
                    </a:lnTo>
                    <a:lnTo>
                      <a:pt x="113" y="98"/>
                    </a:lnTo>
                    <a:lnTo>
                      <a:pt x="115" y="94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28" y="80"/>
                    </a:lnTo>
                    <a:lnTo>
                      <a:pt x="134" y="72"/>
                    </a:lnTo>
                    <a:lnTo>
                      <a:pt x="136" y="65"/>
                    </a:lnTo>
                    <a:lnTo>
                      <a:pt x="136" y="65"/>
                    </a:lnTo>
                    <a:lnTo>
                      <a:pt x="141" y="55"/>
                    </a:lnTo>
                    <a:lnTo>
                      <a:pt x="142" y="52"/>
                    </a:lnTo>
                    <a:lnTo>
                      <a:pt x="147" y="52"/>
                    </a:lnTo>
                    <a:lnTo>
                      <a:pt x="147" y="52"/>
                    </a:lnTo>
                    <a:lnTo>
                      <a:pt x="152" y="52"/>
                    </a:lnTo>
                    <a:lnTo>
                      <a:pt x="155" y="51"/>
                    </a:lnTo>
                    <a:lnTo>
                      <a:pt x="157" y="49"/>
                    </a:lnTo>
                    <a:lnTo>
                      <a:pt x="154" y="46"/>
                    </a:lnTo>
                    <a:lnTo>
                      <a:pt x="154" y="46"/>
                    </a:lnTo>
                    <a:lnTo>
                      <a:pt x="144" y="41"/>
                    </a:lnTo>
                    <a:lnTo>
                      <a:pt x="139" y="36"/>
                    </a:lnTo>
                    <a:lnTo>
                      <a:pt x="139" y="35"/>
                    </a:lnTo>
                    <a:lnTo>
                      <a:pt x="139" y="33"/>
                    </a:lnTo>
                    <a:lnTo>
                      <a:pt x="139" y="33"/>
                    </a:lnTo>
                    <a:lnTo>
                      <a:pt x="144" y="30"/>
                    </a:lnTo>
                    <a:lnTo>
                      <a:pt x="144" y="29"/>
                    </a:lnTo>
                    <a:lnTo>
                      <a:pt x="142" y="28"/>
                    </a:lnTo>
                    <a:lnTo>
                      <a:pt x="142" y="28"/>
                    </a:lnTo>
                    <a:lnTo>
                      <a:pt x="135" y="17"/>
                    </a:lnTo>
                    <a:lnTo>
                      <a:pt x="131" y="10"/>
                    </a:lnTo>
                    <a:lnTo>
                      <a:pt x="129" y="9"/>
                    </a:lnTo>
                    <a:lnTo>
                      <a:pt x="129" y="9"/>
                    </a:lnTo>
                    <a:lnTo>
                      <a:pt x="135" y="9"/>
                    </a:lnTo>
                    <a:lnTo>
                      <a:pt x="138" y="7"/>
                    </a:lnTo>
                    <a:lnTo>
                      <a:pt x="138" y="7"/>
                    </a:lnTo>
                    <a:lnTo>
                      <a:pt x="138" y="7"/>
                    </a:lnTo>
                    <a:lnTo>
                      <a:pt x="135" y="4"/>
                    </a:lnTo>
                    <a:lnTo>
                      <a:pt x="134" y="3"/>
                    </a:lnTo>
                    <a:lnTo>
                      <a:pt x="135" y="1"/>
                    </a:lnTo>
                    <a:lnTo>
                      <a:pt x="135" y="1"/>
                    </a:lnTo>
                    <a:lnTo>
                      <a:pt x="123" y="0"/>
                    </a:lnTo>
                    <a:lnTo>
                      <a:pt x="116" y="0"/>
                    </a:lnTo>
                    <a:lnTo>
                      <a:pt x="116" y="0"/>
                    </a:lnTo>
                    <a:lnTo>
                      <a:pt x="112" y="1"/>
                    </a:lnTo>
                    <a:lnTo>
                      <a:pt x="108" y="6"/>
                    </a:lnTo>
                    <a:lnTo>
                      <a:pt x="103" y="10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96" y="25"/>
                    </a:lnTo>
                    <a:lnTo>
                      <a:pt x="89" y="35"/>
                    </a:lnTo>
                    <a:lnTo>
                      <a:pt x="80" y="43"/>
                    </a:lnTo>
                    <a:lnTo>
                      <a:pt x="77" y="46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0" y="46"/>
                    </a:lnTo>
                    <a:lnTo>
                      <a:pt x="64" y="43"/>
                    </a:lnTo>
                    <a:lnTo>
                      <a:pt x="60" y="41"/>
                    </a:lnTo>
                    <a:lnTo>
                      <a:pt x="55" y="41"/>
                    </a:lnTo>
                    <a:lnTo>
                      <a:pt x="55" y="41"/>
                    </a:lnTo>
                    <a:lnTo>
                      <a:pt x="51" y="43"/>
                    </a:lnTo>
                    <a:lnTo>
                      <a:pt x="47" y="48"/>
                    </a:lnTo>
                    <a:lnTo>
                      <a:pt x="41" y="51"/>
                    </a:lnTo>
                    <a:lnTo>
                      <a:pt x="31" y="51"/>
                    </a:lnTo>
                    <a:lnTo>
                      <a:pt x="31" y="51"/>
                    </a:lnTo>
                    <a:lnTo>
                      <a:pt x="26" y="51"/>
                    </a:lnTo>
                    <a:lnTo>
                      <a:pt x="24" y="4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0" y="38"/>
                    </a:lnTo>
                    <a:lnTo>
                      <a:pt x="9" y="36"/>
                    </a:lnTo>
                    <a:lnTo>
                      <a:pt x="6" y="35"/>
                    </a:lnTo>
                    <a:lnTo>
                      <a:pt x="6" y="35"/>
                    </a:lnTo>
                    <a:lnTo>
                      <a:pt x="5" y="36"/>
                    </a:lnTo>
                    <a:lnTo>
                      <a:pt x="3" y="38"/>
                    </a:lnTo>
                    <a:lnTo>
                      <a:pt x="2" y="43"/>
                    </a:lnTo>
                    <a:lnTo>
                      <a:pt x="0" y="5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79" name="Freeform 330"/>
              <p:cNvSpPr>
                <a:spLocks/>
              </p:cNvSpPr>
              <p:nvPr/>
            </p:nvSpPr>
            <p:spPr bwMode="auto">
              <a:xfrm>
                <a:off x="6226042" y="3250858"/>
                <a:ext cx="19785" cy="17807"/>
              </a:xfrm>
              <a:custGeom>
                <a:avLst/>
                <a:gdLst>
                  <a:gd name="T0" fmla="*/ 7 w 20"/>
                  <a:gd name="T1" fmla="*/ 18 h 18"/>
                  <a:gd name="T2" fmla="*/ 7 w 20"/>
                  <a:gd name="T3" fmla="*/ 18 h 18"/>
                  <a:gd name="T4" fmla="*/ 10 w 20"/>
                  <a:gd name="T5" fmla="*/ 14 h 18"/>
                  <a:gd name="T6" fmla="*/ 12 w 20"/>
                  <a:gd name="T7" fmla="*/ 11 h 18"/>
                  <a:gd name="T8" fmla="*/ 13 w 20"/>
                  <a:gd name="T9" fmla="*/ 11 h 18"/>
                  <a:gd name="T10" fmla="*/ 13 w 20"/>
                  <a:gd name="T11" fmla="*/ 11 h 18"/>
                  <a:gd name="T12" fmla="*/ 15 w 20"/>
                  <a:gd name="T13" fmla="*/ 13 h 18"/>
                  <a:gd name="T14" fmla="*/ 16 w 20"/>
                  <a:gd name="T15" fmla="*/ 15 h 18"/>
                  <a:gd name="T16" fmla="*/ 19 w 20"/>
                  <a:gd name="T17" fmla="*/ 17 h 18"/>
                  <a:gd name="T18" fmla="*/ 19 w 20"/>
                  <a:gd name="T19" fmla="*/ 17 h 18"/>
                  <a:gd name="T20" fmla="*/ 20 w 20"/>
                  <a:gd name="T21" fmla="*/ 15 h 18"/>
                  <a:gd name="T22" fmla="*/ 20 w 20"/>
                  <a:gd name="T23" fmla="*/ 15 h 18"/>
                  <a:gd name="T24" fmla="*/ 20 w 20"/>
                  <a:gd name="T25" fmla="*/ 10 h 18"/>
                  <a:gd name="T26" fmla="*/ 17 w 20"/>
                  <a:gd name="T27" fmla="*/ 1 h 18"/>
                  <a:gd name="T28" fmla="*/ 17 w 20"/>
                  <a:gd name="T29" fmla="*/ 1 h 18"/>
                  <a:gd name="T30" fmla="*/ 15 w 20"/>
                  <a:gd name="T31" fmla="*/ 1 h 18"/>
                  <a:gd name="T32" fmla="*/ 13 w 20"/>
                  <a:gd name="T33" fmla="*/ 0 h 18"/>
                  <a:gd name="T34" fmla="*/ 12 w 20"/>
                  <a:gd name="T35" fmla="*/ 1 h 18"/>
                  <a:gd name="T36" fmla="*/ 12 w 20"/>
                  <a:gd name="T37" fmla="*/ 1 h 18"/>
                  <a:gd name="T38" fmla="*/ 7 w 20"/>
                  <a:gd name="T39" fmla="*/ 5 h 18"/>
                  <a:gd name="T40" fmla="*/ 4 w 20"/>
                  <a:gd name="T41" fmla="*/ 8 h 18"/>
                  <a:gd name="T42" fmla="*/ 2 w 20"/>
                  <a:gd name="T43" fmla="*/ 8 h 18"/>
                  <a:gd name="T44" fmla="*/ 2 w 20"/>
                  <a:gd name="T45" fmla="*/ 8 h 18"/>
                  <a:gd name="T46" fmla="*/ 0 w 20"/>
                  <a:gd name="T47" fmla="*/ 10 h 18"/>
                  <a:gd name="T48" fmla="*/ 0 w 20"/>
                  <a:gd name="T49" fmla="*/ 11 h 18"/>
                  <a:gd name="T50" fmla="*/ 2 w 20"/>
                  <a:gd name="T51" fmla="*/ 13 h 18"/>
                  <a:gd name="T52" fmla="*/ 0 w 20"/>
                  <a:gd name="T53" fmla="*/ 14 h 18"/>
                  <a:gd name="T54" fmla="*/ 0 w 20"/>
                  <a:gd name="T55" fmla="*/ 15 h 18"/>
                  <a:gd name="T56" fmla="*/ 0 w 20"/>
                  <a:gd name="T57" fmla="*/ 15 h 18"/>
                  <a:gd name="T58" fmla="*/ 4 w 20"/>
                  <a:gd name="T59" fmla="*/ 18 h 18"/>
                  <a:gd name="T60" fmla="*/ 7 w 20"/>
                  <a:gd name="T61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0" h="18">
                    <a:moveTo>
                      <a:pt x="7" y="18"/>
                    </a:moveTo>
                    <a:lnTo>
                      <a:pt x="7" y="18"/>
                    </a:lnTo>
                    <a:lnTo>
                      <a:pt x="10" y="14"/>
                    </a:lnTo>
                    <a:lnTo>
                      <a:pt x="12" y="11"/>
                    </a:lnTo>
                    <a:lnTo>
                      <a:pt x="13" y="11"/>
                    </a:lnTo>
                    <a:lnTo>
                      <a:pt x="13" y="11"/>
                    </a:lnTo>
                    <a:lnTo>
                      <a:pt x="15" y="13"/>
                    </a:lnTo>
                    <a:lnTo>
                      <a:pt x="16" y="15"/>
                    </a:lnTo>
                    <a:lnTo>
                      <a:pt x="19" y="17"/>
                    </a:lnTo>
                    <a:lnTo>
                      <a:pt x="19" y="17"/>
                    </a:lnTo>
                    <a:lnTo>
                      <a:pt x="20" y="15"/>
                    </a:lnTo>
                    <a:lnTo>
                      <a:pt x="20" y="15"/>
                    </a:lnTo>
                    <a:lnTo>
                      <a:pt x="20" y="10"/>
                    </a:lnTo>
                    <a:lnTo>
                      <a:pt x="17" y="1"/>
                    </a:lnTo>
                    <a:lnTo>
                      <a:pt x="17" y="1"/>
                    </a:lnTo>
                    <a:lnTo>
                      <a:pt x="15" y="1"/>
                    </a:lnTo>
                    <a:lnTo>
                      <a:pt x="13" y="0"/>
                    </a:lnTo>
                    <a:lnTo>
                      <a:pt x="12" y="1"/>
                    </a:lnTo>
                    <a:lnTo>
                      <a:pt x="12" y="1"/>
                    </a:lnTo>
                    <a:lnTo>
                      <a:pt x="7" y="5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0" y="14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18"/>
                    </a:lnTo>
                    <a:lnTo>
                      <a:pt x="7" y="1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80" name="Freeform 331"/>
              <p:cNvSpPr>
                <a:spLocks/>
              </p:cNvSpPr>
              <p:nvPr/>
            </p:nvSpPr>
            <p:spPr bwMode="auto">
              <a:xfrm>
                <a:off x="6226042" y="3250858"/>
                <a:ext cx="19785" cy="17807"/>
              </a:xfrm>
              <a:custGeom>
                <a:avLst/>
                <a:gdLst>
                  <a:gd name="T0" fmla="*/ 7 w 20"/>
                  <a:gd name="T1" fmla="*/ 18 h 18"/>
                  <a:gd name="T2" fmla="*/ 7 w 20"/>
                  <a:gd name="T3" fmla="*/ 18 h 18"/>
                  <a:gd name="T4" fmla="*/ 10 w 20"/>
                  <a:gd name="T5" fmla="*/ 14 h 18"/>
                  <a:gd name="T6" fmla="*/ 12 w 20"/>
                  <a:gd name="T7" fmla="*/ 11 h 18"/>
                  <a:gd name="T8" fmla="*/ 13 w 20"/>
                  <a:gd name="T9" fmla="*/ 11 h 18"/>
                  <a:gd name="T10" fmla="*/ 13 w 20"/>
                  <a:gd name="T11" fmla="*/ 11 h 18"/>
                  <a:gd name="T12" fmla="*/ 15 w 20"/>
                  <a:gd name="T13" fmla="*/ 13 h 18"/>
                  <a:gd name="T14" fmla="*/ 16 w 20"/>
                  <a:gd name="T15" fmla="*/ 15 h 18"/>
                  <a:gd name="T16" fmla="*/ 19 w 20"/>
                  <a:gd name="T17" fmla="*/ 17 h 18"/>
                  <a:gd name="T18" fmla="*/ 19 w 20"/>
                  <a:gd name="T19" fmla="*/ 17 h 18"/>
                  <a:gd name="T20" fmla="*/ 20 w 20"/>
                  <a:gd name="T21" fmla="*/ 15 h 18"/>
                  <a:gd name="T22" fmla="*/ 20 w 20"/>
                  <a:gd name="T23" fmla="*/ 15 h 18"/>
                  <a:gd name="T24" fmla="*/ 20 w 20"/>
                  <a:gd name="T25" fmla="*/ 10 h 18"/>
                  <a:gd name="T26" fmla="*/ 17 w 20"/>
                  <a:gd name="T27" fmla="*/ 1 h 18"/>
                  <a:gd name="T28" fmla="*/ 17 w 20"/>
                  <a:gd name="T29" fmla="*/ 1 h 18"/>
                  <a:gd name="T30" fmla="*/ 15 w 20"/>
                  <a:gd name="T31" fmla="*/ 1 h 18"/>
                  <a:gd name="T32" fmla="*/ 13 w 20"/>
                  <a:gd name="T33" fmla="*/ 0 h 18"/>
                  <a:gd name="T34" fmla="*/ 12 w 20"/>
                  <a:gd name="T35" fmla="*/ 1 h 18"/>
                  <a:gd name="T36" fmla="*/ 12 w 20"/>
                  <a:gd name="T37" fmla="*/ 1 h 18"/>
                  <a:gd name="T38" fmla="*/ 7 w 20"/>
                  <a:gd name="T39" fmla="*/ 5 h 18"/>
                  <a:gd name="T40" fmla="*/ 4 w 20"/>
                  <a:gd name="T41" fmla="*/ 8 h 18"/>
                  <a:gd name="T42" fmla="*/ 2 w 20"/>
                  <a:gd name="T43" fmla="*/ 8 h 18"/>
                  <a:gd name="T44" fmla="*/ 2 w 20"/>
                  <a:gd name="T45" fmla="*/ 8 h 18"/>
                  <a:gd name="T46" fmla="*/ 0 w 20"/>
                  <a:gd name="T47" fmla="*/ 10 h 18"/>
                  <a:gd name="T48" fmla="*/ 0 w 20"/>
                  <a:gd name="T49" fmla="*/ 11 h 18"/>
                  <a:gd name="T50" fmla="*/ 2 w 20"/>
                  <a:gd name="T51" fmla="*/ 13 h 18"/>
                  <a:gd name="T52" fmla="*/ 0 w 20"/>
                  <a:gd name="T53" fmla="*/ 14 h 18"/>
                  <a:gd name="T54" fmla="*/ 0 w 20"/>
                  <a:gd name="T55" fmla="*/ 15 h 18"/>
                  <a:gd name="T56" fmla="*/ 0 w 20"/>
                  <a:gd name="T57" fmla="*/ 15 h 18"/>
                  <a:gd name="T58" fmla="*/ 4 w 20"/>
                  <a:gd name="T59" fmla="*/ 18 h 18"/>
                  <a:gd name="T60" fmla="*/ 7 w 20"/>
                  <a:gd name="T61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0" h="18">
                    <a:moveTo>
                      <a:pt x="7" y="18"/>
                    </a:moveTo>
                    <a:lnTo>
                      <a:pt x="7" y="18"/>
                    </a:lnTo>
                    <a:lnTo>
                      <a:pt x="10" y="14"/>
                    </a:lnTo>
                    <a:lnTo>
                      <a:pt x="12" y="11"/>
                    </a:lnTo>
                    <a:lnTo>
                      <a:pt x="13" y="11"/>
                    </a:lnTo>
                    <a:lnTo>
                      <a:pt x="13" y="11"/>
                    </a:lnTo>
                    <a:lnTo>
                      <a:pt x="15" y="13"/>
                    </a:lnTo>
                    <a:lnTo>
                      <a:pt x="16" y="15"/>
                    </a:lnTo>
                    <a:lnTo>
                      <a:pt x="19" y="17"/>
                    </a:lnTo>
                    <a:lnTo>
                      <a:pt x="19" y="17"/>
                    </a:lnTo>
                    <a:lnTo>
                      <a:pt x="20" y="15"/>
                    </a:lnTo>
                    <a:lnTo>
                      <a:pt x="20" y="15"/>
                    </a:lnTo>
                    <a:lnTo>
                      <a:pt x="20" y="10"/>
                    </a:lnTo>
                    <a:lnTo>
                      <a:pt x="17" y="1"/>
                    </a:lnTo>
                    <a:lnTo>
                      <a:pt x="17" y="1"/>
                    </a:lnTo>
                    <a:lnTo>
                      <a:pt x="15" y="1"/>
                    </a:lnTo>
                    <a:lnTo>
                      <a:pt x="13" y="0"/>
                    </a:lnTo>
                    <a:lnTo>
                      <a:pt x="12" y="1"/>
                    </a:lnTo>
                    <a:lnTo>
                      <a:pt x="12" y="1"/>
                    </a:lnTo>
                    <a:lnTo>
                      <a:pt x="7" y="5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0" y="14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18"/>
                    </a:lnTo>
                    <a:lnTo>
                      <a:pt x="7" y="1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81" name="Freeform 332"/>
              <p:cNvSpPr>
                <a:spLocks/>
              </p:cNvSpPr>
              <p:nvPr/>
            </p:nvSpPr>
            <p:spPr bwMode="auto">
              <a:xfrm>
                <a:off x="6165697" y="3219201"/>
                <a:ext cx="143443" cy="95958"/>
              </a:xfrm>
              <a:custGeom>
                <a:avLst/>
                <a:gdLst>
                  <a:gd name="T0" fmla="*/ 15 w 145"/>
                  <a:gd name="T1" fmla="*/ 97 h 97"/>
                  <a:gd name="T2" fmla="*/ 31 w 145"/>
                  <a:gd name="T3" fmla="*/ 94 h 97"/>
                  <a:gd name="T4" fmla="*/ 39 w 145"/>
                  <a:gd name="T5" fmla="*/ 87 h 97"/>
                  <a:gd name="T6" fmla="*/ 44 w 145"/>
                  <a:gd name="T7" fmla="*/ 87 h 97"/>
                  <a:gd name="T8" fmla="*/ 54 w 145"/>
                  <a:gd name="T9" fmla="*/ 92 h 97"/>
                  <a:gd name="T10" fmla="*/ 58 w 145"/>
                  <a:gd name="T11" fmla="*/ 92 h 97"/>
                  <a:gd name="T12" fmla="*/ 64 w 145"/>
                  <a:gd name="T13" fmla="*/ 89 h 97"/>
                  <a:gd name="T14" fmla="*/ 80 w 145"/>
                  <a:gd name="T15" fmla="*/ 71 h 97"/>
                  <a:gd name="T16" fmla="*/ 84 w 145"/>
                  <a:gd name="T17" fmla="*/ 62 h 97"/>
                  <a:gd name="T18" fmla="*/ 92 w 145"/>
                  <a:gd name="T19" fmla="*/ 52 h 97"/>
                  <a:gd name="T20" fmla="*/ 100 w 145"/>
                  <a:gd name="T21" fmla="*/ 46 h 97"/>
                  <a:gd name="T22" fmla="*/ 107 w 145"/>
                  <a:gd name="T23" fmla="*/ 46 h 97"/>
                  <a:gd name="T24" fmla="*/ 120 w 145"/>
                  <a:gd name="T25" fmla="*/ 47 h 97"/>
                  <a:gd name="T26" fmla="*/ 129 w 145"/>
                  <a:gd name="T27" fmla="*/ 45 h 97"/>
                  <a:gd name="T28" fmla="*/ 135 w 145"/>
                  <a:gd name="T29" fmla="*/ 43 h 97"/>
                  <a:gd name="T30" fmla="*/ 135 w 145"/>
                  <a:gd name="T31" fmla="*/ 42 h 97"/>
                  <a:gd name="T32" fmla="*/ 135 w 145"/>
                  <a:gd name="T33" fmla="*/ 37 h 97"/>
                  <a:gd name="T34" fmla="*/ 144 w 145"/>
                  <a:gd name="T35" fmla="*/ 30 h 97"/>
                  <a:gd name="T36" fmla="*/ 144 w 145"/>
                  <a:gd name="T37" fmla="*/ 27 h 97"/>
                  <a:gd name="T38" fmla="*/ 135 w 145"/>
                  <a:gd name="T39" fmla="*/ 23 h 97"/>
                  <a:gd name="T40" fmla="*/ 126 w 145"/>
                  <a:gd name="T41" fmla="*/ 18 h 97"/>
                  <a:gd name="T42" fmla="*/ 116 w 145"/>
                  <a:gd name="T43" fmla="*/ 16 h 97"/>
                  <a:gd name="T44" fmla="*/ 116 w 145"/>
                  <a:gd name="T45" fmla="*/ 14 h 97"/>
                  <a:gd name="T46" fmla="*/ 116 w 145"/>
                  <a:gd name="T47" fmla="*/ 7 h 97"/>
                  <a:gd name="T48" fmla="*/ 115 w 145"/>
                  <a:gd name="T49" fmla="*/ 4 h 97"/>
                  <a:gd name="T50" fmla="*/ 106 w 145"/>
                  <a:gd name="T51" fmla="*/ 0 h 97"/>
                  <a:gd name="T52" fmla="*/ 103 w 145"/>
                  <a:gd name="T53" fmla="*/ 0 h 97"/>
                  <a:gd name="T54" fmla="*/ 96 w 145"/>
                  <a:gd name="T55" fmla="*/ 11 h 97"/>
                  <a:gd name="T56" fmla="*/ 89 w 145"/>
                  <a:gd name="T57" fmla="*/ 21 h 97"/>
                  <a:gd name="T58" fmla="*/ 83 w 145"/>
                  <a:gd name="T59" fmla="*/ 29 h 97"/>
                  <a:gd name="T60" fmla="*/ 81 w 145"/>
                  <a:gd name="T61" fmla="*/ 32 h 97"/>
                  <a:gd name="T62" fmla="*/ 78 w 145"/>
                  <a:gd name="T63" fmla="*/ 33 h 97"/>
                  <a:gd name="T64" fmla="*/ 81 w 145"/>
                  <a:gd name="T65" fmla="*/ 42 h 97"/>
                  <a:gd name="T66" fmla="*/ 81 w 145"/>
                  <a:gd name="T67" fmla="*/ 47 h 97"/>
                  <a:gd name="T68" fmla="*/ 80 w 145"/>
                  <a:gd name="T69" fmla="*/ 49 h 97"/>
                  <a:gd name="T70" fmla="*/ 76 w 145"/>
                  <a:gd name="T71" fmla="*/ 45 h 97"/>
                  <a:gd name="T72" fmla="*/ 74 w 145"/>
                  <a:gd name="T73" fmla="*/ 43 h 97"/>
                  <a:gd name="T74" fmla="*/ 71 w 145"/>
                  <a:gd name="T75" fmla="*/ 46 h 97"/>
                  <a:gd name="T76" fmla="*/ 68 w 145"/>
                  <a:gd name="T77" fmla="*/ 50 h 97"/>
                  <a:gd name="T78" fmla="*/ 61 w 145"/>
                  <a:gd name="T79" fmla="*/ 47 h 97"/>
                  <a:gd name="T80" fmla="*/ 54 w 145"/>
                  <a:gd name="T81" fmla="*/ 53 h 97"/>
                  <a:gd name="T82" fmla="*/ 47 w 145"/>
                  <a:gd name="T83" fmla="*/ 59 h 97"/>
                  <a:gd name="T84" fmla="*/ 45 w 145"/>
                  <a:gd name="T85" fmla="*/ 59 h 97"/>
                  <a:gd name="T86" fmla="*/ 45 w 145"/>
                  <a:gd name="T87" fmla="*/ 63 h 97"/>
                  <a:gd name="T88" fmla="*/ 44 w 145"/>
                  <a:gd name="T89" fmla="*/ 65 h 97"/>
                  <a:gd name="T90" fmla="*/ 22 w 145"/>
                  <a:gd name="T91" fmla="*/ 66 h 97"/>
                  <a:gd name="T92" fmla="*/ 18 w 145"/>
                  <a:gd name="T93" fmla="*/ 78 h 97"/>
                  <a:gd name="T94" fmla="*/ 13 w 145"/>
                  <a:gd name="T95" fmla="*/ 88 h 97"/>
                  <a:gd name="T96" fmla="*/ 6 w 145"/>
                  <a:gd name="T97" fmla="*/ 88 h 97"/>
                  <a:gd name="T98" fmla="*/ 0 w 145"/>
                  <a:gd name="T99" fmla="*/ 88 h 97"/>
                  <a:gd name="T100" fmla="*/ 0 w 145"/>
                  <a:gd name="T101" fmla="*/ 88 h 97"/>
                  <a:gd name="T102" fmla="*/ 10 w 145"/>
                  <a:gd name="T10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5" h="97">
                    <a:moveTo>
                      <a:pt x="15" y="97"/>
                    </a:moveTo>
                    <a:lnTo>
                      <a:pt x="15" y="97"/>
                    </a:lnTo>
                    <a:lnTo>
                      <a:pt x="25" y="97"/>
                    </a:lnTo>
                    <a:lnTo>
                      <a:pt x="31" y="94"/>
                    </a:lnTo>
                    <a:lnTo>
                      <a:pt x="35" y="89"/>
                    </a:lnTo>
                    <a:lnTo>
                      <a:pt x="39" y="87"/>
                    </a:lnTo>
                    <a:lnTo>
                      <a:pt x="39" y="87"/>
                    </a:lnTo>
                    <a:lnTo>
                      <a:pt x="44" y="87"/>
                    </a:lnTo>
                    <a:lnTo>
                      <a:pt x="48" y="89"/>
                    </a:lnTo>
                    <a:lnTo>
                      <a:pt x="54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1" y="92"/>
                    </a:lnTo>
                    <a:lnTo>
                      <a:pt x="64" y="89"/>
                    </a:lnTo>
                    <a:lnTo>
                      <a:pt x="73" y="81"/>
                    </a:lnTo>
                    <a:lnTo>
                      <a:pt x="80" y="71"/>
                    </a:lnTo>
                    <a:lnTo>
                      <a:pt x="84" y="62"/>
                    </a:lnTo>
                    <a:lnTo>
                      <a:pt x="84" y="62"/>
                    </a:lnTo>
                    <a:lnTo>
                      <a:pt x="87" y="56"/>
                    </a:lnTo>
                    <a:lnTo>
                      <a:pt x="92" y="52"/>
                    </a:lnTo>
                    <a:lnTo>
                      <a:pt x="96" y="47"/>
                    </a:lnTo>
                    <a:lnTo>
                      <a:pt x="100" y="46"/>
                    </a:lnTo>
                    <a:lnTo>
                      <a:pt x="100" y="46"/>
                    </a:lnTo>
                    <a:lnTo>
                      <a:pt x="107" y="46"/>
                    </a:lnTo>
                    <a:lnTo>
                      <a:pt x="119" y="47"/>
                    </a:lnTo>
                    <a:lnTo>
                      <a:pt x="120" y="47"/>
                    </a:lnTo>
                    <a:lnTo>
                      <a:pt x="120" y="47"/>
                    </a:lnTo>
                    <a:lnTo>
                      <a:pt x="129" y="45"/>
                    </a:lnTo>
                    <a:lnTo>
                      <a:pt x="134" y="43"/>
                    </a:lnTo>
                    <a:lnTo>
                      <a:pt x="135" y="43"/>
                    </a:lnTo>
                    <a:lnTo>
                      <a:pt x="135" y="42"/>
                    </a:lnTo>
                    <a:lnTo>
                      <a:pt x="135" y="42"/>
                    </a:lnTo>
                    <a:lnTo>
                      <a:pt x="135" y="40"/>
                    </a:lnTo>
                    <a:lnTo>
                      <a:pt x="135" y="37"/>
                    </a:lnTo>
                    <a:lnTo>
                      <a:pt x="139" y="33"/>
                    </a:lnTo>
                    <a:lnTo>
                      <a:pt x="144" y="30"/>
                    </a:lnTo>
                    <a:lnTo>
                      <a:pt x="145" y="29"/>
                    </a:lnTo>
                    <a:lnTo>
                      <a:pt x="144" y="27"/>
                    </a:lnTo>
                    <a:lnTo>
                      <a:pt x="144" y="27"/>
                    </a:lnTo>
                    <a:lnTo>
                      <a:pt x="135" y="23"/>
                    </a:lnTo>
                    <a:lnTo>
                      <a:pt x="126" y="18"/>
                    </a:lnTo>
                    <a:lnTo>
                      <a:pt x="126" y="18"/>
                    </a:lnTo>
                    <a:lnTo>
                      <a:pt x="118" y="17"/>
                    </a:lnTo>
                    <a:lnTo>
                      <a:pt x="116" y="16"/>
                    </a:lnTo>
                    <a:lnTo>
                      <a:pt x="116" y="14"/>
                    </a:lnTo>
                    <a:lnTo>
                      <a:pt x="116" y="14"/>
                    </a:lnTo>
                    <a:lnTo>
                      <a:pt x="116" y="10"/>
                    </a:lnTo>
                    <a:lnTo>
                      <a:pt x="116" y="7"/>
                    </a:lnTo>
                    <a:lnTo>
                      <a:pt x="115" y="4"/>
                    </a:lnTo>
                    <a:lnTo>
                      <a:pt x="115" y="4"/>
                    </a:lnTo>
                    <a:lnTo>
                      <a:pt x="109" y="1"/>
                    </a:lnTo>
                    <a:lnTo>
                      <a:pt x="106" y="0"/>
                    </a:lnTo>
                    <a:lnTo>
                      <a:pt x="103" y="0"/>
                    </a:lnTo>
                    <a:lnTo>
                      <a:pt x="103" y="0"/>
                    </a:lnTo>
                    <a:lnTo>
                      <a:pt x="100" y="4"/>
                    </a:lnTo>
                    <a:lnTo>
                      <a:pt x="96" y="11"/>
                    </a:lnTo>
                    <a:lnTo>
                      <a:pt x="89" y="21"/>
                    </a:lnTo>
                    <a:lnTo>
                      <a:pt x="89" y="21"/>
                    </a:lnTo>
                    <a:lnTo>
                      <a:pt x="86" y="24"/>
                    </a:lnTo>
                    <a:lnTo>
                      <a:pt x="83" y="29"/>
                    </a:lnTo>
                    <a:lnTo>
                      <a:pt x="83" y="29"/>
                    </a:lnTo>
                    <a:lnTo>
                      <a:pt x="81" y="32"/>
                    </a:lnTo>
                    <a:lnTo>
                      <a:pt x="78" y="33"/>
                    </a:lnTo>
                    <a:lnTo>
                      <a:pt x="78" y="33"/>
                    </a:lnTo>
                    <a:lnTo>
                      <a:pt x="78" y="33"/>
                    </a:lnTo>
                    <a:lnTo>
                      <a:pt x="81" y="42"/>
                    </a:lnTo>
                    <a:lnTo>
                      <a:pt x="81" y="47"/>
                    </a:lnTo>
                    <a:lnTo>
                      <a:pt x="81" y="47"/>
                    </a:lnTo>
                    <a:lnTo>
                      <a:pt x="80" y="49"/>
                    </a:lnTo>
                    <a:lnTo>
                      <a:pt x="80" y="49"/>
                    </a:lnTo>
                    <a:lnTo>
                      <a:pt x="77" y="47"/>
                    </a:lnTo>
                    <a:lnTo>
                      <a:pt x="76" y="45"/>
                    </a:lnTo>
                    <a:lnTo>
                      <a:pt x="74" y="43"/>
                    </a:lnTo>
                    <a:lnTo>
                      <a:pt x="74" y="43"/>
                    </a:lnTo>
                    <a:lnTo>
                      <a:pt x="73" y="43"/>
                    </a:lnTo>
                    <a:lnTo>
                      <a:pt x="71" y="46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5" y="50"/>
                    </a:lnTo>
                    <a:lnTo>
                      <a:pt x="61" y="47"/>
                    </a:lnTo>
                    <a:lnTo>
                      <a:pt x="61" y="47"/>
                    </a:lnTo>
                    <a:lnTo>
                      <a:pt x="54" y="53"/>
                    </a:lnTo>
                    <a:lnTo>
                      <a:pt x="50" y="58"/>
                    </a:lnTo>
                    <a:lnTo>
                      <a:pt x="47" y="59"/>
                    </a:lnTo>
                    <a:lnTo>
                      <a:pt x="47" y="59"/>
                    </a:lnTo>
                    <a:lnTo>
                      <a:pt x="45" y="59"/>
                    </a:lnTo>
                    <a:lnTo>
                      <a:pt x="45" y="62"/>
                    </a:lnTo>
                    <a:lnTo>
                      <a:pt x="45" y="63"/>
                    </a:lnTo>
                    <a:lnTo>
                      <a:pt x="44" y="65"/>
                    </a:lnTo>
                    <a:lnTo>
                      <a:pt x="44" y="65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1" y="71"/>
                    </a:lnTo>
                    <a:lnTo>
                      <a:pt x="18" y="78"/>
                    </a:lnTo>
                    <a:lnTo>
                      <a:pt x="15" y="85"/>
                    </a:lnTo>
                    <a:lnTo>
                      <a:pt x="13" y="88"/>
                    </a:lnTo>
                    <a:lnTo>
                      <a:pt x="13" y="88"/>
                    </a:lnTo>
                    <a:lnTo>
                      <a:pt x="6" y="88"/>
                    </a:lnTo>
                    <a:lnTo>
                      <a:pt x="3" y="88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8" y="94"/>
                    </a:lnTo>
                    <a:lnTo>
                      <a:pt x="10" y="97"/>
                    </a:lnTo>
                    <a:lnTo>
                      <a:pt x="15" y="9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82" name="Freeform 333"/>
              <p:cNvSpPr>
                <a:spLocks/>
              </p:cNvSpPr>
              <p:nvPr/>
            </p:nvSpPr>
            <p:spPr bwMode="auto">
              <a:xfrm>
                <a:off x="6165697" y="3219201"/>
                <a:ext cx="143443" cy="95958"/>
              </a:xfrm>
              <a:custGeom>
                <a:avLst/>
                <a:gdLst>
                  <a:gd name="T0" fmla="*/ 15 w 145"/>
                  <a:gd name="T1" fmla="*/ 97 h 97"/>
                  <a:gd name="T2" fmla="*/ 31 w 145"/>
                  <a:gd name="T3" fmla="*/ 94 h 97"/>
                  <a:gd name="T4" fmla="*/ 39 w 145"/>
                  <a:gd name="T5" fmla="*/ 87 h 97"/>
                  <a:gd name="T6" fmla="*/ 44 w 145"/>
                  <a:gd name="T7" fmla="*/ 87 h 97"/>
                  <a:gd name="T8" fmla="*/ 54 w 145"/>
                  <a:gd name="T9" fmla="*/ 92 h 97"/>
                  <a:gd name="T10" fmla="*/ 58 w 145"/>
                  <a:gd name="T11" fmla="*/ 92 h 97"/>
                  <a:gd name="T12" fmla="*/ 64 w 145"/>
                  <a:gd name="T13" fmla="*/ 89 h 97"/>
                  <a:gd name="T14" fmla="*/ 80 w 145"/>
                  <a:gd name="T15" fmla="*/ 71 h 97"/>
                  <a:gd name="T16" fmla="*/ 84 w 145"/>
                  <a:gd name="T17" fmla="*/ 62 h 97"/>
                  <a:gd name="T18" fmla="*/ 92 w 145"/>
                  <a:gd name="T19" fmla="*/ 52 h 97"/>
                  <a:gd name="T20" fmla="*/ 100 w 145"/>
                  <a:gd name="T21" fmla="*/ 46 h 97"/>
                  <a:gd name="T22" fmla="*/ 107 w 145"/>
                  <a:gd name="T23" fmla="*/ 46 h 97"/>
                  <a:gd name="T24" fmla="*/ 120 w 145"/>
                  <a:gd name="T25" fmla="*/ 47 h 97"/>
                  <a:gd name="T26" fmla="*/ 129 w 145"/>
                  <a:gd name="T27" fmla="*/ 45 h 97"/>
                  <a:gd name="T28" fmla="*/ 135 w 145"/>
                  <a:gd name="T29" fmla="*/ 43 h 97"/>
                  <a:gd name="T30" fmla="*/ 135 w 145"/>
                  <a:gd name="T31" fmla="*/ 42 h 97"/>
                  <a:gd name="T32" fmla="*/ 135 w 145"/>
                  <a:gd name="T33" fmla="*/ 37 h 97"/>
                  <a:gd name="T34" fmla="*/ 144 w 145"/>
                  <a:gd name="T35" fmla="*/ 30 h 97"/>
                  <a:gd name="T36" fmla="*/ 144 w 145"/>
                  <a:gd name="T37" fmla="*/ 27 h 97"/>
                  <a:gd name="T38" fmla="*/ 135 w 145"/>
                  <a:gd name="T39" fmla="*/ 23 h 97"/>
                  <a:gd name="T40" fmla="*/ 126 w 145"/>
                  <a:gd name="T41" fmla="*/ 18 h 97"/>
                  <a:gd name="T42" fmla="*/ 116 w 145"/>
                  <a:gd name="T43" fmla="*/ 16 h 97"/>
                  <a:gd name="T44" fmla="*/ 116 w 145"/>
                  <a:gd name="T45" fmla="*/ 14 h 97"/>
                  <a:gd name="T46" fmla="*/ 116 w 145"/>
                  <a:gd name="T47" fmla="*/ 7 h 97"/>
                  <a:gd name="T48" fmla="*/ 115 w 145"/>
                  <a:gd name="T49" fmla="*/ 4 h 97"/>
                  <a:gd name="T50" fmla="*/ 106 w 145"/>
                  <a:gd name="T51" fmla="*/ 0 h 97"/>
                  <a:gd name="T52" fmla="*/ 103 w 145"/>
                  <a:gd name="T53" fmla="*/ 0 h 97"/>
                  <a:gd name="T54" fmla="*/ 96 w 145"/>
                  <a:gd name="T55" fmla="*/ 11 h 97"/>
                  <a:gd name="T56" fmla="*/ 89 w 145"/>
                  <a:gd name="T57" fmla="*/ 21 h 97"/>
                  <a:gd name="T58" fmla="*/ 83 w 145"/>
                  <a:gd name="T59" fmla="*/ 29 h 97"/>
                  <a:gd name="T60" fmla="*/ 81 w 145"/>
                  <a:gd name="T61" fmla="*/ 32 h 97"/>
                  <a:gd name="T62" fmla="*/ 78 w 145"/>
                  <a:gd name="T63" fmla="*/ 33 h 97"/>
                  <a:gd name="T64" fmla="*/ 81 w 145"/>
                  <a:gd name="T65" fmla="*/ 42 h 97"/>
                  <a:gd name="T66" fmla="*/ 81 w 145"/>
                  <a:gd name="T67" fmla="*/ 47 h 97"/>
                  <a:gd name="T68" fmla="*/ 80 w 145"/>
                  <a:gd name="T69" fmla="*/ 49 h 97"/>
                  <a:gd name="T70" fmla="*/ 76 w 145"/>
                  <a:gd name="T71" fmla="*/ 45 h 97"/>
                  <a:gd name="T72" fmla="*/ 74 w 145"/>
                  <a:gd name="T73" fmla="*/ 43 h 97"/>
                  <a:gd name="T74" fmla="*/ 71 w 145"/>
                  <a:gd name="T75" fmla="*/ 46 h 97"/>
                  <a:gd name="T76" fmla="*/ 68 w 145"/>
                  <a:gd name="T77" fmla="*/ 50 h 97"/>
                  <a:gd name="T78" fmla="*/ 61 w 145"/>
                  <a:gd name="T79" fmla="*/ 47 h 97"/>
                  <a:gd name="T80" fmla="*/ 54 w 145"/>
                  <a:gd name="T81" fmla="*/ 53 h 97"/>
                  <a:gd name="T82" fmla="*/ 47 w 145"/>
                  <a:gd name="T83" fmla="*/ 59 h 97"/>
                  <a:gd name="T84" fmla="*/ 45 w 145"/>
                  <a:gd name="T85" fmla="*/ 59 h 97"/>
                  <a:gd name="T86" fmla="*/ 45 w 145"/>
                  <a:gd name="T87" fmla="*/ 63 h 97"/>
                  <a:gd name="T88" fmla="*/ 44 w 145"/>
                  <a:gd name="T89" fmla="*/ 65 h 97"/>
                  <a:gd name="T90" fmla="*/ 22 w 145"/>
                  <a:gd name="T91" fmla="*/ 66 h 97"/>
                  <a:gd name="T92" fmla="*/ 18 w 145"/>
                  <a:gd name="T93" fmla="*/ 78 h 97"/>
                  <a:gd name="T94" fmla="*/ 13 w 145"/>
                  <a:gd name="T95" fmla="*/ 88 h 97"/>
                  <a:gd name="T96" fmla="*/ 6 w 145"/>
                  <a:gd name="T97" fmla="*/ 88 h 97"/>
                  <a:gd name="T98" fmla="*/ 0 w 145"/>
                  <a:gd name="T99" fmla="*/ 88 h 97"/>
                  <a:gd name="T100" fmla="*/ 0 w 145"/>
                  <a:gd name="T101" fmla="*/ 88 h 97"/>
                  <a:gd name="T102" fmla="*/ 10 w 145"/>
                  <a:gd name="T10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5" h="97">
                    <a:moveTo>
                      <a:pt x="15" y="97"/>
                    </a:moveTo>
                    <a:lnTo>
                      <a:pt x="15" y="97"/>
                    </a:lnTo>
                    <a:lnTo>
                      <a:pt x="25" y="97"/>
                    </a:lnTo>
                    <a:lnTo>
                      <a:pt x="31" y="94"/>
                    </a:lnTo>
                    <a:lnTo>
                      <a:pt x="35" y="89"/>
                    </a:lnTo>
                    <a:lnTo>
                      <a:pt x="39" y="87"/>
                    </a:lnTo>
                    <a:lnTo>
                      <a:pt x="39" y="87"/>
                    </a:lnTo>
                    <a:lnTo>
                      <a:pt x="44" y="87"/>
                    </a:lnTo>
                    <a:lnTo>
                      <a:pt x="48" y="89"/>
                    </a:lnTo>
                    <a:lnTo>
                      <a:pt x="54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1" y="92"/>
                    </a:lnTo>
                    <a:lnTo>
                      <a:pt x="64" y="89"/>
                    </a:lnTo>
                    <a:lnTo>
                      <a:pt x="73" y="81"/>
                    </a:lnTo>
                    <a:lnTo>
                      <a:pt x="80" y="71"/>
                    </a:lnTo>
                    <a:lnTo>
                      <a:pt x="84" y="62"/>
                    </a:lnTo>
                    <a:lnTo>
                      <a:pt x="84" y="62"/>
                    </a:lnTo>
                    <a:lnTo>
                      <a:pt x="87" y="56"/>
                    </a:lnTo>
                    <a:lnTo>
                      <a:pt x="92" y="52"/>
                    </a:lnTo>
                    <a:lnTo>
                      <a:pt x="96" y="47"/>
                    </a:lnTo>
                    <a:lnTo>
                      <a:pt x="100" y="46"/>
                    </a:lnTo>
                    <a:lnTo>
                      <a:pt x="100" y="46"/>
                    </a:lnTo>
                    <a:lnTo>
                      <a:pt x="107" y="46"/>
                    </a:lnTo>
                    <a:lnTo>
                      <a:pt x="119" y="47"/>
                    </a:lnTo>
                    <a:lnTo>
                      <a:pt x="120" y="47"/>
                    </a:lnTo>
                    <a:lnTo>
                      <a:pt x="120" y="47"/>
                    </a:lnTo>
                    <a:lnTo>
                      <a:pt x="129" y="45"/>
                    </a:lnTo>
                    <a:lnTo>
                      <a:pt x="134" y="43"/>
                    </a:lnTo>
                    <a:lnTo>
                      <a:pt x="135" y="43"/>
                    </a:lnTo>
                    <a:lnTo>
                      <a:pt x="135" y="42"/>
                    </a:lnTo>
                    <a:lnTo>
                      <a:pt x="135" y="42"/>
                    </a:lnTo>
                    <a:lnTo>
                      <a:pt x="135" y="40"/>
                    </a:lnTo>
                    <a:lnTo>
                      <a:pt x="135" y="37"/>
                    </a:lnTo>
                    <a:lnTo>
                      <a:pt x="139" y="33"/>
                    </a:lnTo>
                    <a:lnTo>
                      <a:pt x="144" y="30"/>
                    </a:lnTo>
                    <a:lnTo>
                      <a:pt x="145" y="29"/>
                    </a:lnTo>
                    <a:lnTo>
                      <a:pt x="144" y="27"/>
                    </a:lnTo>
                    <a:lnTo>
                      <a:pt x="144" y="27"/>
                    </a:lnTo>
                    <a:lnTo>
                      <a:pt x="135" y="23"/>
                    </a:lnTo>
                    <a:lnTo>
                      <a:pt x="126" y="18"/>
                    </a:lnTo>
                    <a:lnTo>
                      <a:pt x="126" y="18"/>
                    </a:lnTo>
                    <a:lnTo>
                      <a:pt x="118" y="17"/>
                    </a:lnTo>
                    <a:lnTo>
                      <a:pt x="116" y="16"/>
                    </a:lnTo>
                    <a:lnTo>
                      <a:pt x="116" y="14"/>
                    </a:lnTo>
                    <a:lnTo>
                      <a:pt x="116" y="14"/>
                    </a:lnTo>
                    <a:lnTo>
                      <a:pt x="116" y="10"/>
                    </a:lnTo>
                    <a:lnTo>
                      <a:pt x="116" y="7"/>
                    </a:lnTo>
                    <a:lnTo>
                      <a:pt x="115" y="4"/>
                    </a:lnTo>
                    <a:lnTo>
                      <a:pt x="115" y="4"/>
                    </a:lnTo>
                    <a:lnTo>
                      <a:pt x="109" y="1"/>
                    </a:lnTo>
                    <a:lnTo>
                      <a:pt x="106" y="0"/>
                    </a:lnTo>
                    <a:lnTo>
                      <a:pt x="103" y="0"/>
                    </a:lnTo>
                    <a:lnTo>
                      <a:pt x="103" y="0"/>
                    </a:lnTo>
                    <a:lnTo>
                      <a:pt x="100" y="4"/>
                    </a:lnTo>
                    <a:lnTo>
                      <a:pt x="96" y="11"/>
                    </a:lnTo>
                    <a:lnTo>
                      <a:pt x="89" y="21"/>
                    </a:lnTo>
                    <a:lnTo>
                      <a:pt x="89" y="21"/>
                    </a:lnTo>
                    <a:lnTo>
                      <a:pt x="86" y="24"/>
                    </a:lnTo>
                    <a:lnTo>
                      <a:pt x="83" y="29"/>
                    </a:lnTo>
                    <a:lnTo>
                      <a:pt x="83" y="29"/>
                    </a:lnTo>
                    <a:lnTo>
                      <a:pt x="81" y="32"/>
                    </a:lnTo>
                    <a:lnTo>
                      <a:pt x="78" y="33"/>
                    </a:lnTo>
                    <a:lnTo>
                      <a:pt x="78" y="33"/>
                    </a:lnTo>
                    <a:lnTo>
                      <a:pt x="78" y="33"/>
                    </a:lnTo>
                    <a:lnTo>
                      <a:pt x="81" y="42"/>
                    </a:lnTo>
                    <a:lnTo>
                      <a:pt x="81" y="47"/>
                    </a:lnTo>
                    <a:lnTo>
                      <a:pt x="81" y="47"/>
                    </a:lnTo>
                    <a:lnTo>
                      <a:pt x="80" y="49"/>
                    </a:lnTo>
                    <a:lnTo>
                      <a:pt x="80" y="49"/>
                    </a:lnTo>
                    <a:lnTo>
                      <a:pt x="77" y="47"/>
                    </a:lnTo>
                    <a:lnTo>
                      <a:pt x="76" y="45"/>
                    </a:lnTo>
                    <a:lnTo>
                      <a:pt x="74" y="43"/>
                    </a:lnTo>
                    <a:lnTo>
                      <a:pt x="74" y="43"/>
                    </a:lnTo>
                    <a:lnTo>
                      <a:pt x="73" y="43"/>
                    </a:lnTo>
                    <a:lnTo>
                      <a:pt x="71" y="46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5" y="50"/>
                    </a:lnTo>
                    <a:lnTo>
                      <a:pt x="61" y="47"/>
                    </a:lnTo>
                    <a:lnTo>
                      <a:pt x="61" y="47"/>
                    </a:lnTo>
                    <a:lnTo>
                      <a:pt x="54" y="53"/>
                    </a:lnTo>
                    <a:lnTo>
                      <a:pt x="50" y="58"/>
                    </a:lnTo>
                    <a:lnTo>
                      <a:pt x="47" y="59"/>
                    </a:lnTo>
                    <a:lnTo>
                      <a:pt x="47" y="59"/>
                    </a:lnTo>
                    <a:lnTo>
                      <a:pt x="45" y="59"/>
                    </a:lnTo>
                    <a:lnTo>
                      <a:pt x="45" y="62"/>
                    </a:lnTo>
                    <a:lnTo>
                      <a:pt x="45" y="63"/>
                    </a:lnTo>
                    <a:lnTo>
                      <a:pt x="44" y="65"/>
                    </a:lnTo>
                    <a:lnTo>
                      <a:pt x="44" y="65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1" y="71"/>
                    </a:lnTo>
                    <a:lnTo>
                      <a:pt x="18" y="78"/>
                    </a:lnTo>
                    <a:lnTo>
                      <a:pt x="15" y="85"/>
                    </a:lnTo>
                    <a:lnTo>
                      <a:pt x="13" y="88"/>
                    </a:lnTo>
                    <a:lnTo>
                      <a:pt x="13" y="88"/>
                    </a:lnTo>
                    <a:lnTo>
                      <a:pt x="6" y="88"/>
                    </a:lnTo>
                    <a:lnTo>
                      <a:pt x="3" y="88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8" y="94"/>
                    </a:lnTo>
                    <a:lnTo>
                      <a:pt x="10" y="97"/>
                    </a:lnTo>
                    <a:lnTo>
                      <a:pt x="15" y="9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7" name="Freeform 700"/>
              <p:cNvSpPr>
                <a:spLocks/>
              </p:cNvSpPr>
              <p:nvPr/>
            </p:nvSpPr>
            <p:spPr bwMode="auto">
              <a:xfrm>
                <a:off x="6491163" y="3333956"/>
                <a:ext cx="163228" cy="135529"/>
              </a:xfrm>
              <a:custGeom>
                <a:avLst/>
                <a:gdLst>
                  <a:gd name="T0" fmla="*/ 164 w 165"/>
                  <a:gd name="T1" fmla="*/ 31 h 137"/>
                  <a:gd name="T2" fmla="*/ 158 w 165"/>
                  <a:gd name="T3" fmla="*/ 28 h 137"/>
                  <a:gd name="T4" fmla="*/ 159 w 165"/>
                  <a:gd name="T5" fmla="*/ 26 h 137"/>
                  <a:gd name="T6" fmla="*/ 155 w 165"/>
                  <a:gd name="T7" fmla="*/ 21 h 137"/>
                  <a:gd name="T8" fmla="*/ 151 w 165"/>
                  <a:gd name="T9" fmla="*/ 27 h 137"/>
                  <a:gd name="T10" fmla="*/ 142 w 165"/>
                  <a:gd name="T11" fmla="*/ 26 h 137"/>
                  <a:gd name="T12" fmla="*/ 133 w 165"/>
                  <a:gd name="T13" fmla="*/ 24 h 137"/>
                  <a:gd name="T14" fmla="*/ 112 w 165"/>
                  <a:gd name="T15" fmla="*/ 14 h 137"/>
                  <a:gd name="T16" fmla="*/ 104 w 165"/>
                  <a:gd name="T17" fmla="*/ 23 h 137"/>
                  <a:gd name="T18" fmla="*/ 97 w 165"/>
                  <a:gd name="T19" fmla="*/ 24 h 137"/>
                  <a:gd name="T20" fmla="*/ 84 w 165"/>
                  <a:gd name="T21" fmla="*/ 23 h 137"/>
                  <a:gd name="T22" fmla="*/ 81 w 165"/>
                  <a:gd name="T23" fmla="*/ 24 h 137"/>
                  <a:gd name="T24" fmla="*/ 88 w 165"/>
                  <a:gd name="T25" fmla="*/ 30 h 137"/>
                  <a:gd name="T26" fmla="*/ 87 w 165"/>
                  <a:gd name="T27" fmla="*/ 34 h 137"/>
                  <a:gd name="T28" fmla="*/ 85 w 165"/>
                  <a:gd name="T29" fmla="*/ 39 h 137"/>
                  <a:gd name="T30" fmla="*/ 74 w 165"/>
                  <a:gd name="T31" fmla="*/ 44 h 137"/>
                  <a:gd name="T32" fmla="*/ 71 w 165"/>
                  <a:gd name="T33" fmla="*/ 40 h 137"/>
                  <a:gd name="T34" fmla="*/ 72 w 165"/>
                  <a:gd name="T35" fmla="*/ 37 h 137"/>
                  <a:gd name="T36" fmla="*/ 58 w 165"/>
                  <a:gd name="T37" fmla="*/ 28 h 137"/>
                  <a:gd name="T38" fmla="*/ 57 w 165"/>
                  <a:gd name="T39" fmla="*/ 26 h 137"/>
                  <a:gd name="T40" fmla="*/ 58 w 165"/>
                  <a:gd name="T41" fmla="*/ 17 h 137"/>
                  <a:gd name="T42" fmla="*/ 52 w 165"/>
                  <a:gd name="T43" fmla="*/ 10 h 137"/>
                  <a:gd name="T44" fmla="*/ 23 w 165"/>
                  <a:gd name="T45" fmla="*/ 1 h 137"/>
                  <a:gd name="T46" fmla="*/ 17 w 165"/>
                  <a:gd name="T47" fmla="*/ 2 h 137"/>
                  <a:gd name="T48" fmla="*/ 12 w 165"/>
                  <a:gd name="T49" fmla="*/ 4 h 137"/>
                  <a:gd name="T50" fmla="*/ 0 w 165"/>
                  <a:gd name="T51" fmla="*/ 0 h 137"/>
                  <a:gd name="T52" fmla="*/ 0 w 165"/>
                  <a:gd name="T53" fmla="*/ 7 h 137"/>
                  <a:gd name="T54" fmla="*/ 6 w 165"/>
                  <a:gd name="T55" fmla="*/ 7 h 137"/>
                  <a:gd name="T56" fmla="*/ 9 w 165"/>
                  <a:gd name="T57" fmla="*/ 8 h 137"/>
                  <a:gd name="T58" fmla="*/ 16 w 165"/>
                  <a:gd name="T59" fmla="*/ 18 h 137"/>
                  <a:gd name="T60" fmla="*/ 32 w 165"/>
                  <a:gd name="T61" fmla="*/ 26 h 137"/>
                  <a:gd name="T62" fmla="*/ 45 w 165"/>
                  <a:gd name="T63" fmla="*/ 27 h 137"/>
                  <a:gd name="T64" fmla="*/ 36 w 165"/>
                  <a:gd name="T65" fmla="*/ 36 h 137"/>
                  <a:gd name="T66" fmla="*/ 25 w 165"/>
                  <a:gd name="T67" fmla="*/ 37 h 137"/>
                  <a:gd name="T68" fmla="*/ 26 w 165"/>
                  <a:gd name="T69" fmla="*/ 39 h 137"/>
                  <a:gd name="T70" fmla="*/ 41 w 165"/>
                  <a:gd name="T71" fmla="*/ 49 h 137"/>
                  <a:gd name="T72" fmla="*/ 36 w 165"/>
                  <a:gd name="T73" fmla="*/ 50 h 137"/>
                  <a:gd name="T74" fmla="*/ 36 w 165"/>
                  <a:gd name="T75" fmla="*/ 57 h 137"/>
                  <a:gd name="T76" fmla="*/ 43 w 165"/>
                  <a:gd name="T77" fmla="*/ 56 h 137"/>
                  <a:gd name="T78" fmla="*/ 48 w 165"/>
                  <a:gd name="T79" fmla="*/ 52 h 137"/>
                  <a:gd name="T80" fmla="*/ 49 w 165"/>
                  <a:gd name="T81" fmla="*/ 46 h 137"/>
                  <a:gd name="T82" fmla="*/ 55 w 165"/>
                  <a:gd name="T83" fmla="*/ 52 h 137"/>
                  <a:gd name="T84" fmla="*/ 75 w 165"/>
                  <a:gd name="T85" fmla="*/ 60 h 137"/>
                  <a:gd name="T86" fmla="*/ 90 w 165"/>
                  <a:gd name="T87" fmla="*/ 66 h 137"/>
                  <a:gd name="T88" fmla="*/ 107 w 165"/>
                  <a:gd name="T89" fmla="*/ 76 h 137"/>
                  <a:gd name="T90" fmla="*/ 120 w 165"/>
                  <a:gd name="T91" fmla="*/ 84 h 137"/>
                  <a:gd name="T92" fmla="*/ 135 w 165"/>
                  <a:gd name="T93" fmla="*/ 104 h 137"/>
                  <a:gd name="T94" fmla="*/ 139 w 165"/>
                  <a:gd name="T95" fmla="*/ 114 h 137"/>
                  <a:gd name="T96" fmla="*/ 127 w 165"/>
                  <a:gd name="T97" fmla="*/ 111 h 137"/>
                  <a:gd name="T98" fmla="*/ 117 w 165"/>
                  <a:gd name="T99" fmla="*/ 121 h 137"/>
                  <a:gd name="T100" fmla="*/ 116 w 165"/>
                  <a:gd name="T101" fmla="*/ 127 h 137"/>
                  <a:gd name="T102" fmla="*/ 125 w 165"/>
                  <a:gd name="T103" fmla="*/ 124 h 137"/>
                  <a:gd name="T104" fmla="*/ 133 w 165"/>
                  <a:gd name="T105" fmla="*/ 121 h 137"/>
                  <a:gd name="T106" fmla="*/ 139 w 165"/>
                  <a:gd name="T107" fmla="*/ 126 h 137"/>
                  <a:gd name="T108" fmla="*/ 146 w 165"/>
                  <a:gd name="T109" fmla="*/ 120 h 137"/>
                  <a:gd name="T110" fmla="*/ 152 w 165"/>
                  <a:gd name="T111" fmla="*/ 121 h 137"/>
                  <a:gd name="T112" fmla="*/ 155 w 165"/>
                  <a:gd name="T113" fmla="*/ 126 h 137"/>
                  <a:gd name="T114" fmla="*/ 165 w 165"/>
                  <a:gd name="T115" fmla="*/ 11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65" h="137">
                    <a:moveTo>
                      <a:pt x="162" y="99"/>
                    </a:moveTo>
                    <a:lnTo>
                      <a:pt x="164" y="88"/>
                    </a:lnTo>
                    <a:lnTo>
                      <a:pt x="164" y="31"/>
                    </a:lnTo>
                    <a:lnTo>
                      <a:pt x="164" y="31"/>
                    </a:lnTo>
                    <a:lnTo>
                      <a:pt x="159" y="30"/>
                    </a:lnTo>
                    <a:lnTo>
                      <a:pt x="158" y="28"/>
                    </a:lnTo>
                    <a:lnTo>
                      <a:pt x="158" y="28"/>
                    </a:lnTo>
                    <a:lnTo>
                      <a:pt x="158" y="28"/>
                    </a:lnTo>
                    <a:lnTo>
                      <a:pt x="159" y="26"/>
                    </a:lnTo>
                    <a:lnTo>
                      <a:pt x="158" y="24"/>
                    </a:lnTo>
                    <a:lnTo>
                      <a:pt x="156" y="21"/>
                    </a:lnTo>
                    <a:lnTo>
                      <a:pt x="155" y="21"/>
                    </a:lnTo>
                    <a:lnTo>
                      <a:pt x="155" y="21"/>
                    </a:lnTo>
                    <a:lnTo>
                      <a:pt x="152" y="26"/>
                    </a:lnTo>
                    <a:lnTo>
                      <a:pt x="151" y="27"/>
                    </a:lnTo>
                    <a:lnTo>
                      <a:pt x="148" y="28"/>
                    </a:lnTo>
                    <a:lnTo>
                      <a:pt x="148" y="28"/>
                    </a:lnTo>
                    <a:lnTo>
                      <a:pt x="142" y="26"/>
                    </a:lnTo>
                    <a:lnTo>
                      <a:pt x="138" y="24"/>
                    </a:lnTo>
                    <a:lnTo>
                      <a:pt x="133" y="24"/>
                    </a:lnTo>
                    <a:lnTo>
                      <a:pt x="133" y="24"/>
                    </a:lnTo>
                    <a:lnTo>
                      <a:pt x="127" y="21"/>
                    </a:lnTo>
                    <a:lnTo>
                      <a:pt x="120" y="18"/>
                    </a:lnTo>
                    <a:lnTo>
                      <a:pt x="112" y="14"/>
                    </a:lnTo>
                    <a:lnTo>
                      <a:pt x="112" y="14"/>
                    </a:lnTo>
                    <a:lnTo>
                      <a:pt x="107" y="20"/>
                    </a:lnTo>
                    <a:lnTo>
                      <a:pt x="104" y="23"/>
                    </a:lnTo>
                    <a:lnTo>
                      <a:pt x="101" y="24"/>
                    </a:lnTo>
                    <a:lnTo>
                      <a:pt x="101" y="24"/>
                    </a:lnTo>
                    <a:lnTo>
                      <a:pt x="97" y="24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84" y="23"/>
                    </a:lnTo>
                    <a:lnTo>
                      <a:pt x="81" y="24"/>
                    </a:lnTo>
                    <a:lnTo>
                      <a:pt x="81" y="24"/>
                    </a:lnTo>
                    <a:lnTo>
                      <a:pt x="81" y="24"/>
                    </a:lnTo>
                    <a:lnTo>
                      <a:pt x="87" y="27"/>
                    </a:lnTo>
                    <a:lnTo>
                      <a:pt x="88" y="28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87" y="31"/>
                    </a:lnTo>
                    <a:lnTo>
                      <a:pt x="87" y="34"/>
                    </a:lnTo>
                    <a:lnTo>
                      <a:pt x="87" y="37"/>
                    </a:lnTo>
                    <a:lnTo>
                      <a:pt x="85" y="39"/>
                    </a:lnTo>
                    <a:lnTo>
                      <a:pt x="85" y="39"/>
                    </a:lnTo>
                    <a:lnTo>
                      <a:pt x="80" y="43"/>
                    </a:lnTo>
                    <a:lnTo>
                      <a:pt x="77" y="44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1" y="43"/>
                    </a:lnTo>
                    <a:lnTo>
                      <a:pt x="71" y="40"/>
                    </a:lnTo>
                    <a:lnTo>
                      <a:pt x="72" y="37"/>
                    </a:lnTo>
                    <a:lnTo>
                      <a:pt x="72" y="37"/>
                    </a:lnTo>
                    <a:lnTo>
                      <a:pt x="72" y="37"/>
                    </a:lnTo>
                    <a:lnTo>
                      <a:pt x="65" y="33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57" y="28"/>
                    </a:lnTo>
                    <a:lnTo>
                      <a:pt x="55" y="27"/>
                    </a:lnTo>
                    <a:lnTo>
                      <a:pt x="57" y="26"/>
                    </a:lnTo>
                    <a:lnTo>
                      <a:pt x="58" y="21"/>
                    </a:lnTo>
                    <a:lnTo>
                      <a:pt x="58" y="20"/>
                    </a:lnTo>
                    <a:lnTo>
                      <a:pt x="58" y="17"/>
                    </a:lnTo>
                    <a:lnTo>
                      <a:pt x="58" y="17"/>
                    </a:lnTo>
                    <a:lnTo>
                      <a:pt x="55" y="13"/>
                    </a:lnTo>
                    <a:lnTo>
                      <a:pt x="52" y="10"/>
                    </a:lnTo>
                    <a:lnTo>
                      <a:pt x="46" y="5"/>
                    </a:lnTo>
                    <a:lnTo>
                      <a:pt x="46" y="5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0" y="2"/>
                    </a:lnTo>
                    <a:lnTo>
                      <a:pt x="17" y="2"/>
                    </a:lnTo>
                    <a:lnTo>
                      <a:pt x="15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4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7" y="7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13" y="15"/>
                    </a:lnTo>
                    <a:lnTo>
                      <a:pt x="16" y="18"/>
                    </a:lnTo>
                    <a:lnTo>
                      <a:pt x="23" y="21"/>
                    </a:lnTo>
                    <a:lnTo>
                      <a:pt x="23" y="21"/>
                    </a:lnTo>
                    <a:lnTo>
                      <a:pt x="32" y="26"/>
                    </a:lnTo>
                    <a:lnTo>
                      <a:pt x="39" y="26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2" y="31"/>
                    </a:lnTo>
                    <a:lnTo>
                      <a:pt x="39" y="34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28" y="36"/>
                    </a:lnTo>
                    <a:lnTo>
                      <a:pt x="25" y="37"/>
                    </a:lnTo>
                    <a:lnTo>
                      <a:pt x="25" y="39"/>
                    </a:lnTo>
                    <a:lnTo>
                      <a:pt x="26" y="39"/>
                    </a:lnTo>
                    <a:lnTo>
                      <a:pt x="26" y="39"/>
                    </a:lnTo>
                    <a:lnTo>
                      <a:pt x="36" y="44"/>
                    </a:lnTo>
                    <a:lnTo>
                      <a:pt x="39" y="47"/>
                    </a:lnTo>
                    <a:lnTo>
                      <a:pt x="41" y="49"/>
                    </a:lnTo>
                    <a:lnTo>
                      <a:pt x="39" y="49"/>
                    </a:lnTo>
                    <a:lnTo>
                      <a:pt x="39" y="49"/>
                    </a:lnTo>
                    <a:lnTo>
                      <a:pt x="36" y="50"/>
                    </a:lnTo>
                    <a:lnTo>
                      <a:pt x="35" y="52"/>
                    </a:lnTo>
                    <a:lnTo>
                      <a:pt x="35" y="55"/>
                    </a:lnTo>
                    <a:lnTo>
                      <a:pt x="36" y="57"/>
                    </a:lnTo>
                    <a:lnTo>
                      <a:pt x="36" y="57"/>
                    </a:lnTo>
                    <a:lnTo>
                      <a:pt x="41" y="57"/>
                    </a:lnTo>
                    <a:lnTo>
                      <a:pt x="43" y="56"/>
                    </a:lnTo>
                    <a:lnTo>
                      <a:pt x="46" y="55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6" y="46"/>
                    </a:lnTo>
                    <a:lnTo>
                      <a:pt x="46" y="44"/>
                    </a:lnTo>
                    <a:lnTo>
                      <a:pt x="49" y="46"/>
                    </a:lnTo>
                    <a:lnTo>
                      <a:pt x="49" y="46"/>
                    </a:lnTo>
                    <a:lnTo>
                      <a:pt x="52" y="50"/>
                    </a:lnTo>
                    <a:lnTo>
                      <a:pt x="55" y="52"/>
                    </a:lnTo>
                    <a:lnTo>
                      <a:pt x="59" y="55"/>
                    </a:lnTo>
                    <a:lnTo>
                      <a:pt x="59" y="55"/>
                    </a:lnTo>
                    <a:lnTo>
                      <a:pt x="75" y="60"/>
                    </a:lnTo>
                    <a:lnTo>
                      <a:pt x="83" y="63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9" y="72"/>
                    </a:lnTo>
                    <a:lnTo>
                      <a:pt x="107" y="76"/>
                    </a:lnTo>
                    <a:lnTo>
                      <a:pt x="107" y="76"/>
                    </a:lnTo>
                    <a:lnTo>
                      <a:pt x="110" y="76"/>
                    </a:lnTo>
                    <a:lnTo>
                      <a:pt x="116" y="79"/>
                    </a:lnTo>
                    <a:lnTo>
                      <a:pt x="120" y="84"/>
                    </a:lnTo>
                    <a:lnTo>
                      <a:pt x="125" y="89"/>
                    </a:lnTo>
                    <a:lnTo>
                      <a:pt x="125" y="89"/>
                    </a:lnTo>
                    <a:lnTo>
                      <a:pt x="135" y="104"/>
                    </a:lnTo>
                    <a:lnTo>
                      <a:pt x="139" y="111"/>
                    </a:lnTo>
                    <a:lnTo>
                      <a:pt x="139" y="113"/>
                    </a:lnTo>
                    <a:lnTo>
                      <a:pt x="139" y="114"/>
                    </a:lnTo>
                    <a:lnTo>
                      <a:pt x="139" y="114"/>
                    </a:lnTo>
                    <a:lnTo>
                      <a:pt x="132" y="113"/>
                    </a:lnTo>
                    <a:lnTo>
                      <a:pt x="127" y="111"/>
                    </a:lnTo>
                    <a:lnTo>
                      <a:pt x="125" y="114"/>
                    </a:lnTo>
                    <a:lnTo>
                      <a:pt x="125" y="114"/>
                    </a:lnTo>
                    <a:lnTo>
                      <a:pt x="117" y="121"/>
                    </a:lnTo>
                    <a:lnTo>
                      <a:pt x="114" y="126"/>
                    </a:lnTo>
                    <a:lnTo>
                      <a:pt x="114" y="127"/>
                    </a:lnTo>
                    <a:lnTo>
                      <a:pt x="116" y="127"/>
                    </a:lnTo>
                    <a:lnTo>
                      <a:pt x="116" y="127"/>
                    </a:lnTo>
                    <a:lnTo>
                      <a:pt x="119" y="126"/>
                    </a:lnTo>
                    <a:lnTo>
                      <a:pt x="125" y="124"/>
                    </a:lnTo>
                    <a:lnTo>
                      <a:pt x="130" y="121"/>
                    </a:lnTo>
                    <a:lnTo>
                      <a:pt x="133" y="121"/>
                    </a:lnTo>
                    <a:lnTo>
                      <a:pt x="133" y="121"/>
                    </a:lnTo>
                    <a:lnTo>
                      <a:pt x="135" y="124"/>
                    </a:lnTo>
                    <a:lnTo>
                      <a:pt x="136" y="126"/>
                    </a:lnTo>
                    <a:lnTo>
                      <a:pt x="139" y="126"/>
                    </a:lnTo>
                    <a:lnTo>
                      <a:pt x="139" y="126"/>
                    </a:lnTo>
                    <a:lnTo>
                      <a:pt x="143" y="121"/>
                    </a:lnTo>
                    <a:lnTo>
                      <a:pt x="146" y="120"/>
                    </a:lnTo>
                    <a:lnTo>
                      <a:pt x="148" y="120"/>
                    </a:lnTo>
                    <a:lnTo>
                      <a:pt x="148" y="120"/>
                    </a:lnTo>
                    <a:lnTo>
                      <a:pt x="152" y="121"/>
                    </a:lnTo>
                    <a:lnTo>
                      <a:pt x="154" y="123"/>
                    </a:lnTo>
                    <a:lnTo>
                      <a:pt x="155" y="126"/>
                    </a:lnTo>
                    <a:lnTo>
                      <a:pt x="155" y="126"/>
                    </a:lnTo>
                    <a:lnTo>
                      <a:pt x="158" y="131"/>
                    </a:lnTo>
                    <a:lnTo>
                      <a:pt x="165" y="137"/>
                    </a:lnTo>
                    <a:lnTo>
                      <a:pt x="165" y="111"/>
                    </a:lnTo>
                    <a:lnTo>
                      <a:pt x="162" y="9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8" name="Freeform 701"/>
              <p:cNvSpPr>
                <a:spLocks/>
              </p:cNvSpPr>
              <p:nvPr/>
            </p:nvSpPr>
            <p:spPr bwMode="auto">
              <a:xfrm>
                <a:off x="6651423" y="3364623"/>
                <a:ext cx="162239" cy="132561"/>
              </a:xfrm>
              <a:custGeom>
                <a:avLst/>
                <a:gdLst>
                  <a:gd name="T0" fmla="*/ 162 w 164"/>
                  <a:gd name="T1" fmla="*/ 129 h 134"/>
                  <a:gd name="T2" fmla="*/ 148 w 164"/>
                  <a:gd name="T3" fmla="*/ 119 h 134"/>
                  <a:gd name="T4" fmla="*/ 138 w 164"/>
                  <a:gd name="T5" fmla="*/ 110 h 134"/>
                  <a:gd name="T6" fmla="*/ 129 w 164"/>
                  <a:gd name="T7" fmla="*/ 105 h 134"/>
                  <a:gd name="T8" fmla="*/ 123 w 164"/>
                  <a:gd name="T9" fmla="*/ 100 h 134"/>
                  <a:gd name="T10" fmla="*/ 118 w 164"/>
                  <a:gd name="T11" fmla="*/ 90 h 134"/>
                  <a:gd name="T12" fmla="*/ 102 w 164"/>
                  <a:gd name="T13" fmla="*/ 70 h 134"/>
                  <a:gd name="T14" fmla="*/ 102 w 164"/>
                  <a:gd name="T15" fmla="*/ 68 h 134"/>
                  <a:gd name="T16" fmla="*/ 112 w 164"/>
                  <a:gd name="T17" fmla="*/ 68 h 134"/>
                  <a:gd name="T18" fmla="*/ 118 w 164"/>
                  <a:gd name="T19" fmla="*/ 67 h 134"/>
                  <a:gd name="T20" fmla="*/ 118 w 164"/>
                  <a:gd name="T21" fmla="*/ 67 h 134"/>
                  <a:gd name="T22" fmla="*/ 107 w 164"/>
                  <a:gd name="T23" fmla="*/ 55 h 134"/>
                  <a:gd name="T24" fmla="*/ 102 w 164"/>
                  <a:gd name="T25" fmla="*/ 53 h 134"/>
                  <a:gd name="T26" fmla="*/ 84 w 164"/>
                  <a:gd name="T27" fmla="*/ 48 h 134"/>
                  <a:gd name="T28" fmla="*/ 81 w 164"/>
                  <a:gd name="T29" fmla="*/ 47 h 134"/>
                  <a:gd name="T30" fmla="*/ 81 w 164"/>
                  <a:gd name="T31" fmla="*/ 41 h 134"/>
                  <a:gd name="T32" fmla="*/ 77 w 164"/>
                  <a:gd name="T33" fmla="*/ 37 h 134"/>
                  <a:gd name="T34" fmla="*/ 67 w 164"/>
                  <a:gd name="T35" fmla="*/ 29 h 134"/>
                  <a:gd name="T36" fmla="*/ 63 w 164"/>
                  <a:gd name="T37" fmla="*/ 24 h 134"/>
                  <a:gd name="T38" fmla="*/ 54 w 164"/>
                  <a:gd name="T39" fmla="*/ 19 h 134"/>
                  <a:gd name="T40" fmla="*/ 48 w 164"/>
                  <a:gd name="T41" fmla="*/ 18 h 134"/>
                  <a:gd name="T42" fmla="*/ 35 w 164"/>
                  <a:gd name="T43" fmla="*/ 11 h 134"/>
                  <a:gd name="T44" fmla="*/ 21 w 164"/>
                  <a:gd name="T45" fmla="*/ 8 h 134"/>
                  <a:gd name="T46" fmla="*/ 7 w 164"/>
                  <a:gd name="T47" fmla="*/ 3 h 134"/>
                  <a:gd name="T48" fmla="*/ 2 w 164"/>
                  <a:gd name="T49" fmla="*/ 0 h 134"/>
                  <a:gd name="T50" fmla="*/ 0 w 164"/>
                  <a:gd name="T51" fmla="*/ 68 h 134"/>
                  <a:gd name="T52" fmla="*/ 3 w 164"/>
                  <a:gd name="T53" fmla="*/ 106 h 134"/>
                  <a:gd name="T54" fmla="*/ 7 w 164"/>
                  <a:gd name="T55" fmla="*/ 110 h 134"/>
                  <a:gd name="T56" fmla="*/ 10 w 164"/>
                  <a:gd name="T57" fmla="*/ 110 h 134"/>
                  <a:gd name="T58" fmla="*/ 31 w 164"/>
                  <a:gd name="T59" fmla="*/ 109 h 134"/>
                  <a:gd name="T60" fmla="*/ 39 w 164"/>
                  <a:gd name="T61" fmla="*/ 108 h 134"/>
                  <a:gd name="T62" fmla="*/ 42 w 164"/>
                  <a:gd name="T63" fmla="*/ 105 h 134"/>
                  <a:gd name="T64" fmla="*/ 41 w 164"/>
                  <a:gd name="T65" fmla="*/ 103 h 134"/>
                  <a:gd name="T66" fmla="*/ 35 w 164"/>
                  <a:gd name="T67" fmla="*/ 95 h 134"/>
                  <a:gd name="T68" fmla="*/ 36 w 164"/>
                  <a:gd name="T69" fmla="*/ 93 h 134"/>
                  <a:gd name="T70" fmla="*/ 47 w 164"/>
                  <a:gd name="T71" fmla="*/ 92 h 134"/>
                  <a:gd name="T72" fmla="*/ 48 w 164"/>
                  <a:gd name="T73" fmla="*/ 92 h 134"/>
                  <a:gd name="T74" fmla="*/ 49 w 164"/>
                  <a:gd name="T75" fmla="*/ 89 h 134"/>
                  <a:gd name="T76" fmla="*/ 54 w 164"/>
                  <a:gd name="T77" fmla="*/ 86 h 134"/>
                  <a:gd name="T78" fmla="*/ 61 w 164"/>
                  <a:gd name="T79" fmla="*/ 87 h 134"/>
                  <a:gd name="T80" fmla="*/ 67 w 164"/>
                  <a:gd name="T81" fmla="*/ 87 h 134"/>
                  <a:gd name="T82" fmla="*/ 67 w 164"/>
                  <a:gd name="T83" fmla="*/ 87 h 134"/>
                  <a:gd name="T84" fmla="*/ 68 w 164"/>
                  <a:gd name="T85" fmla="*/ 86 h 134"/>
                  <a:gd name="T86" fmla="*/ 73 w 164"/>
                  <a:gd name="T87" fmla="*/ 86 h 134"/>
                  <a:gd name="T88" fmla="*/ 86 w 164"/>
                  <a:gd name="T89" fmla="*/ 89 h 134"/>
                  <a:gd name="T90" fmla="*/ 87 w 164"/>
                  <a:gd name="T91" fmla="*/ 92 h 134"/>
                  <a:gd name="T92" fmla="*/ 93 w 164"/>
                  <a:gd name="T93" fmla="*/ 100 h 134"/>
                  <a:gd name="T94" fmla="*/ 97 w 164"/>
                  <a:gd name="T95" fmla="*/ 108 h 134"/>
                  <a:gd name="T96" fmla="*/ 105 w 164"/>
                  <a:gd name="T97" fmla="*/ 116 h 134"/>
                  <a:gd name="T98" fmla="*/ 120 w 164"/>
                  <a:gd name="T99" fmla="*/ 122 h 134"/>
                  <a:gd name="T100" fmla="*/ 126 w 164"/>
                  <a:gd name="T101" fmla="*/ 122 h 134"/>
                  <a:gd name="T102" fmla="*/ 144 w 164"/>
                  <a:gd name="T103" fmla="*/ 129 h 134"/>
                  <a:gd name="T104" fmla="*/ 147 w 164"/>
                  <a:gd name="T105" fmla="*/ 131 h 134"/>
                  <a:gd name="T106" fmla="*/ 149 w 164"/>
                  <a:gd name="T107" fmla="*/ 134 h 134"/>
                  <a:gd name="T108" fmla="*/ 154 w 164"/>
                  <a:gd name="T109" fmla="*/ 134 h 134"/>
                  <a:gd name="T110" fmla="*/ 164 w 164"/>
                  <a:gd name="T111" fmla="*/ 132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4" h="134">
                    <a:moveTo>
                      <a:pt x="162" y="129"/>
                    </a:moveTo>
                    <a:lnTo>
                      <a:pt x="162" y="129"/>
                    </a:lnTo>
                    <a:lnTo>
                      <a:pt x="157" y="125"/>
                    </a:lnTo>
                    <a:lnTo>
                      <a:pt x="148" y="119"/>
                    </a:lnTo>
                    <a:lnTo>
                      <a:pt x="148" y="119"/>
                    </a:lnTo>
                    <a:lnTo>
                      <a:pt x="138" y="110"/>
                    </a:lnTo>
                    <a:lnTo>
                      <a:pt x="129" y="105"/>
                    </a:lnTo>
                    <a:lnTo>
                      <a:pt x="129" y="105"/>
                    </a:lnTo>
                    <a:lnTo>
                      <a:pt x="126" y="103"/>
                    </a:lnTo>
                    <a:lnTo>
                      <a:pt x="123" y="10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06" y="77"/>
                    </a:lnTo>
                    <a:lnTo>
                      <a:pt x="102" y="70"/>
                    </a:lnTo>
                    <a:lnTo>
                      <a:pt x="100" y="68"/>
                    </a:lnTo>
                    <a:lnTo>
                      <a:pt x="102" y="68"/>
                    </a:lnTo>
                    <a:lnTo>
                      <a:pt x="102" y="68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18" y="67"/>
                    </a:lnTo>
                    <a:lnTo>
                      <a:pt x="118" y="67"/>
                    </a:lnTo>
                    <a:lnTo>
                      <a:pt x="118" y="67"/>
                    </a:lnTo>
                    <a:lnTo>
                      <a:pt x="112" y="60"/>
                    </a:lnTo>
                    <a:lnTo>
                      <a:pt x="107" y="55"/>
                    </a:lnTo>
                    <a:lnTo>
                      <a:pt x="102" y="53"/>
                    </a:lnTo>
                    <a:lnTo>
                      <a:pt x="102" y="53"/>
                    </a:lnTo>
                    <a:lnTo>
                      <a:pt x="90" y="51"/>
                    </a:lnTo>
                    <a:lnTo>
                      <a:pt x="84" y="48"/>
                    </a:lnTo>
                    <a:lnTo>
                      <a:pt x="83" y="48"/>
                    </a:lnTo>
                    <a:lnTo>
                      <a:pt x="81" y="47"/>
                    </a:lnTo>
                    <a:lnTo>
                      <a:pt x="81" y="47"/>
                    </a:lnTo>
                    <a:lnTo>
                      <a:pt x="81" y="41"/>
                    </a:lnTo>
                    <a:lnTo>
                      <a:pt x="80" y="39"/>
                    </a:lnTo>
                    <a:lnTo>
                      <a:pt x="77" y="37"/>
                    </a:lnTo>
                    <a:lnTo>
                      <a:pt x="77" y="37"/>
                    </a:lnTo>
                    <a:lnTo>
                      <a:pt x="67" y="29"/>
                    </a:lnTo>
                    <a:lnTo>
                      <a:pt x="63" y="24"/>
                    </a:lnTo>
                    <a:lnTo>
                      <a:pt x="63" y="24"/>
                    </a:lnTo>
                    <a:lnTo>
                      <a:pt x="61" y="21"/>
                    </a:lnTo>
                    <a:lnTo>
                      <a:pt x="54" y="19"/>
                    </a:lnTo>
                    <a:lnTo>
                      <a:pt x="54" y="19"/>
                    </a:lnTo>
                    <a:lnTo>
                      <a:pt x="48" y="18"/>
                    </a:lnTo>
                    <a:lnTo>
                      <a:pt x="44" y="15"/>
                    </a:lnTo>
                    <a:lnTo>
                      <a:pt x="35" y="11"/>
                    </a:lnTo>
                    <a:lnTo>
                      <a:pt x="35" y="11"/>
                    </a:lnTo>
                    <a:lnTo>
                      <a:pt x="21" y="8"/>
                    </a:lnTo>
                    <a:lnTo>
                      <a:pt x="13" y="6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2" y="0"/>
                    </a:lnTo>
                    <a:lnTo>
                      <a:pt x="2" y="57"/>
                    </a:lnTo>
                    <a:lnTo>
                      <a:pt x="0" y="68"/>
                    </a:lnTo>
                    <a:lnTo>
                      <a:pt x="3" y="80"/>
                    </a:lnTo>
                    <a:lnTo>
                      <a:pt x="3" y="106"/>
                    </a:lnTo>
                    <a:lnTo>
                      <a:pt x="3" y="106"/>
                    </a:lnTo>
                    <a:lnTo>
                      <a:pt x="7" y="110"/>
                    </a:lnTo>
                    <a:lnTo>
                      <a:pt x="10" y="110"/>
                    </a:lnTo>
                    <a:lnTo>
                      <a:pt x="10" y="110"/>
                    </a:lnTo>
                    <a:lnTo>
                      <a:pt x="21" y="109"/>
                    </a:lnTo>
                    <a:lnTo>
                      <a:pt x="31" y="109"/>
                    </a:lnTo>
                    <a:lnTo>
                      <a:pt x="31" y="109"/>
                    </a:lnTo>
                    <a:lnTo>
                      <a:pt x="39" y="108"/>
                    </a:lnTo>
                    <a:lnTo>
                      <a:pt x="42" y="106"/>
                    </a:lnTo>
                    <a:lnTo>
                      <a:pt x="42" y="105"/>
                    </a:lnTo>
                    <a:lnTo>
                      <a:pt x="41" y="103"/>
                    </a:lnTo>
                    <a:lnTo>
                      <a:pt x="41" y="103"/>
                    </a:lnTo>
                    <a:lnTo>
                      <a:pt x="36" y="97"/>
                    </a:lnTo>
                    <a:lnTo>
                      <a:pt x="35" y="95"/>
                    </a:lnTo>
                    <a:lnTo>
                      <a:pt x="36" y="93"/>
                    </a:lnTo>
                    <a:lnTo>
                      <a:pt x="36" y="93"/>
                    </a:lnTo>
                    <a:lnTo>
                      <a:pt x="44" y="92"/>
                    </a:lnTo>
                    <a:lnTo>
                      <a:pt x="47" y="92"/>
                    </a:lnTo>
                    <a:lnTo>
                      <a:pt x="48" y="92"/>
                    </a:lnTo>
                    <a:lnTo>
                      <a:pt x="48" y="92"/>
                    </a:lnTo>
                    <a:lnTo>
                      <a:pt x="48" y="90"/>
                    </a:lnTo>
                    <a:lnTo>
                      <a:pt x="49" y="89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57" y="86"/>
                    </a:lnTo>
                    <a:lnTo>
                      <a:pt x="61" y="87"/>
                    </a:lnTo>
                    <a:lnTo>
                      <a:pt x="64" y="87"/>
                    </a:lnTo>
                    <a:lnTo>
                      <a:pt x="67" y="87"/>
                    </a:lnTo>
                    <a:lnTo>
                      <a:pt x="67" y="87"/>
                    </a:lnTo>
                    <a:lnTo>
                      <a:pt x="67" y="87"/>
                    </a:lnTo>
                    <a:lnTo>
                      <a:pt x="67" y="86"/>
                    </a:lnTo>
                    <a:lnTo>
                      <a:pt x="68" y="86"/>
                    </a:lnTo>
                    <a:lnTo>
                      <a:pt x="73" y="86"/>
                    </a:lnTo>
                    <a:lnTo>
                      <a:pt x="73" y="86"/>
                    </a:lnTo>
                    <a:lnTo>
                      <a:pt x="81" y="89"/>
                    </a:lnTo>
                    <a:lnTo>
                      <a:pt x="86" y="89"/>
                    </a:lnTo>
                    <a:lnTo>
                      <a:pt x="86" y="89"/>
                    </a:lnTo>
                    <a:lnTo>
                      <a:pt x="87" y="92"/>
                    </a:lnTo>
                    <a:lnTo>
                      <a:pt x="90" y="96"/>
                    </a:lnTo>
                    <a:lnTo>
                      <a:pt x="93" y="100"/>
                    </a:lnTo>
                    <a:lnTo>
                      <a:pt x="93" y="100"/>
                    </a:lnTo>
                    <a:lnTo>
                      <a:pt x="97" y="108"/>
                    </a:lnTo>
                    <a:lnTo>
                      <a:pt x="105" y="116"/>
                    </a:lnTo>
                    <a:lnTo>
                      <a:pt x="105" y="116"/>
                    </a:lnTo>
                    <a:lnTo>
                      <a:pt x="112" y="121"/>
                    </a:lnTo>
                    <a:lnTo>
                      <a:pt x="120" y="122"/>
                    </a:lnTo>
                    <a:lnTo>
                      <a:pt x="120" y="122"/>
                    </a:lnTo>
                    <a:lnTo>
                      <a:pt x="126" y="122"/>
                    </a:lnTo>
                    <a:lnTo>
                      <a:pt x="133" y="125"/>
                    </a:lnTo>
                    <a:lnTo>
                      <a:pt x="144" y="129"/>
                    </a:lnTo>
                    <a:lnTo>
                      <a:pt x="144" y="129"/>
                    </a:lnTo>
                    <a:lnTo>
                      <a:pt x="147" y="131"/>
                    </a:lnTo>
                    <a:lnTo>
                      <a:pt x="148" y="132"/>
                    </a:lnTo>
                    <a:lnTo>
                      <a:pt x="149" y="134"/>
                    </a:lnTo>
                    <a:lnTo>
                      <a:pt x="154" y="134"/>
                    </a:lnTo>
                    <a:lnTo>
                      <a:pt x="154" y="134"/>
                    </a:lnTo>
                    <a:lnTo>
                      <a:pt x="161" y="134"/>
                    </a:lnTo>
                    <a:lnTo>
                      <a:pt x="164" y="132"/>
                    </a:lnTo>
                    <a:lnTo>
                      <a:pt x="162" y="1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9" name="Freeform 702"/>
              <p:cNvSpPr>
                <a:spLocks/>
              </p:cNvSpPr>
              <p:nvPr/>
            </p:nvSpPr>
            <p:spPr bwMode="auto">
              <a:xfrm>
                <a:off x="6651423" y="3364623"/>
                <a:ext cx="162239" cy="132561"/>
              </a:xfrm>
              <a:custGeom>
                <a:avLst/>
                <a:gdLst>
                  <a:gd name="T0" fmla="*/ 162 w 164"/>
                  <a:gd name="T1" fmla="*/ 129 h 134"/>
                  <a:gd name="T2" fmla="*/ 148 w 164"/>
                  <a:gd name="T3" fmla="*/ 119 h 134"/>
                  <a:gd name="T4" fmla="*/ 138 w 164"/>
                  <a:gd name="T5" fmla="*/ 110 h 134"/>
                  <a:gd name="T6" fmla="*/ 129 w 164"/>
                  <a:gd name="T7" fmla="*/ 105 h 134"/>
                  <a:gd name="T8" fmla="*/ 123 w 164"/>
                  <a:gd name="T9" fmla="*/ 100 h 134"/>
                  <a:gd name="T10" fmla="*/ 118 w 164"/>
                  <a:gd name="T11" fmla="*/ 90 h 134"/>
                  <a:gd name="T12" fmla="*/ 102 w 164"/>
                  <a:gd name="T13" fmla="*/ 70 h 134"/>
                  <a:gd name="T14" fmla="*/ 102 w 164"/>
                  <a:gd name="T15" fmla="*/ 68 h 134"/>
                  <a:gd name="T16" fmla="*/ 112 w 164"/>
                  <a:gd name="T17" fmla="*/ 68 h 134"/>
                  <a:gd name="T18" fmla="*/ 118 w 164"/>
                  <a:gd name="T19" fmla="*/ 67 h 134"/>
                  <a:gd name="T20" fmla="*/ 118 w 164"/>
                  <a:gd name="T21" fmla="*/ 67 h 134"/>
                  <a:gd name="T22" fmla="*/ 107 w 164"/>
                  <a:gd name="T23" fmla="*/ 55 h 134"/>
                  <a:gd name="T24" fmla="*/ 102 w 164"/>
                  <a:gd name="T25" fmla="*/ 53 h 134"/>
                  <a:gd name="T26" fmla="*/ 84 w 164"/>
                  <a:gd name="T27" fmla="*/ 48 h 134"/>
                  <a:gd name="T28" fmla="*/ 81 w 164"/>
                  <a:gd name="T29" fmla="*/ 47 h 134"/>
                  <a:gd name="T30" fmla="*/ 81 w 164"/>
                  <a:gd name="T31" fmla="*/ 41 h 134"/>
                  <a:gd name="T32" fmla="*/ 77 w 164"/>
                  <a:gd name="T33" fmla="*/ 37 h 134"/>
                  <a:gd name="T34" fmla="*/ 67 w 164"/>
                  <a:gd name="T35" fmla="*/ 29 h 134"/>
                  <a:gd name="T36" fmla="*/ 63 w 164"/>
                  <a:gd name="T37" fmla="*/ 24 h 134"/>
                  <a:gd name="T38" fmla="*/ 54 w 164"/>
                  <a:gd name="T39" fmla="*/ 19 h 134"/>
                  <a:gd name="T40" fmla="*/ 48 w 164"/>
                  <a:gd name="T41" fmla="*/ 18 h 134"/>
                  <a:gd name="T42" fmla="*/ 35 w 164"/>
                  <a:gd name="T43" fmla="*/ 11 h 134"/>
                  <a:gd name="T44" fmla="*/ 21 w 164"/>
                  <a:gd name="T45" fmla="*/ 8 h 134"/>
                  <a:gd name="T46" fmla="*/ 7 w 164"/>
                  <a:gd name="T47" fmla="*/ 3 h 134"/>
                  <a:gd name="T48" fmla="*/ 2 w 164"/>
                  <a:gd name="T49" fmla="*/ 0 h 134"/>
                  <a:gd name="T50" fmla="*/ 0 w 164"/>
                  <a:gd name="T51" fmla="*/ 68 h 134"/>
                  <a:gd name="T52" fmla="*/ 3 w 164"/>
                  <a:gd name="T53" fmla="*/ 106 h 134"/>
                  <a:gd name="T54" fmla="*/ 7 w 164"/>
                  <a:gd name="T55" fmla="*/ 110 h 134"/>
                  <a:gd name="T56" fmla="*/ 10 w 164"/>
                  <a:gd name="T57" fmla="*/ 110 h 134"/>
                  <a:gd name="T58" fmla="*/ 31 w 164"/>
                  <a:gd name="T59" fmla="*/ 109 h 134"/>
                  <a:gd name="T60" fmla="*/ 39 w 164"/>
                  <a:gd name="T61" fmla="*/ 108 h 134"/>
                  <a:gd name="T62" fmla="*/ 42 w 164"/>
                  <a:gd name="T63" fmla="*/ 105 h 134"/>
                  <a:gd name="T64" fmla="*/ 41 w 164"/>
                  <a:gd name="T65" fmla="*/ 103 h 134"/>
                  <a:gd name="T66" fmla="*/ 35 w 164"/>
                  <a:gd name="T67" fmla="*/ 95 h 134"/>
                  <a:gd name="T68" fmla="*/ 36 w 164"/>
                  <a:gd name="T69" fmla="*/ 93 h 134"/>
                  <a:gd name="T70" fmla="*/ 47 w 164"/>
                  <a:gd name="T71" fmla="*/ 92 h 134"/>
                  <a:gd name="T72" fmla="*/ 48 w 164"/>
                  <a:gd name="T73" fmla="*/ 92 h 134"/>
                  <a:gd name="T74" fmla="*/ 49 w 164"/>
                  <a:gd name="T75" fmla="*/ 89 h 134"/>
                  <a:gd name="T76" fmla="*/ 54 w 164"/>
                  <a:gd name="T77" fmla="*/ 86 h 134"/>
                  <a:gd name="T78" fmla="*/ 61 w 164"/>
                  <a:gd name="T79" fmla="*/ 87 h 134"/>
                  <a:gd name="T80" fmla="*/ 67 w 164"/>
                  <a:gd name="T81" fmla="*/ 87 h 134"/>
                  <a:gd name="T82" fmla="*/ 67 w 164"/>
                  <a:gd name="T83" fmla="*/ 87 h 134"/>
                  <a:gd name="T84" fmla="*/ 68 w 164"/>
                  <a:gd name="T85" fmla="*/ 86 h 134"/>
                  <a:gd name="T86" fmla="*/ 73 w 164"/>
                  <a:gd name="T87" fmla="*/ 86 h 134"/>
                  <a:gd name="T88" fmla="*/ 86 w 164"/>
                  <a:gd name="T89" fmla="*/ 89 h 134"/>
                  <a:gd name="T90" fmla="*/ 87 w 164"/>
                  <a:gd name="T91" fmla="*/ 92 h 134"/>
                  <a:gd name="T92" fmla="*/ 93 w 164"/>
                  <a:gd name="T93" fmla="*/ 100 h 134"/>
                  <a:gd name="T94" fmla="*/ 97 w 164"/>
                  <a:gd name="T95" fmla="*/ 108 h 134"/>
                  <a:gd name="T96" fmla="*/ 105 w 164"/>
                  <a:gd name="T97" fmla="*/ 116 h 134"/>
                  <a:gd name="T98" fmla="*/ 120 w 164"/>
                  <a:gd name="T99" fmla="*/ 122 h 134"/>
                  <a:gd name="T100" fmla="*/ 126 w 164"/>
                  <a:gd name="T101" fmla="*/ 122 h 134"/>
                  <a:gd name="T102" fmla="*/ 144 w 164"/>
                  <a:gd name="T103" fmla="*/ 129 h 134"/>
                  <a:gd name="T104" fmla="*/ 147 w 164"/>
                  <a:gd name="T105" fmla="*/ 131 h 134"/>
                  <a:gd name="T106" fmla="*/ 149 w 164"/>
                  <a:gd name="T107" fmla="*/ 134 h 134"/>
                  <a:gd name="T108" fmla="*/ 154 w 164"/>
                  <a:gd name="T109" fmla="*/ 134 h 134"/>
                  <a:gd name="T110" fmla="*/ 164 w 164"/>
                  <a:gd name="T111" fmla="*/ 132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4" h="134">
                    <a:moveTo>
                      <a:pt x="162" y="129"/>
                    </a:moveTo>
                    <a:lnTo>
                      <a:pt x="162" y="129"/>
                    </a:lnTo>
                    <a:lnTo>
                      <a:pt x="157" y="125"/>
                    </a:lnTo>
                    <a:lnTo>
                      <a:pt x="148" y="119"/>
                    </a:lnTo>
                    <a:lnTo>
                      <a:pt x="148" y="119"/>
                    </a:lnTo>
                    <a:lnTo>
                      <a:pt x="138" y="110"/>
                    </a:lnTo>
                    <a:lnTo>
                      <a:pt x="129" y="105"/>
                    </a:lnTo>
                    <a:lnTo>
                      <a:pt x="129" y="105"/>
                    </a:lnTo>
                    <a:lnTo>
                      <a:pt x="126" y="103"/>
                    </a:lnTo>
                    <a:lnTo>
                      <a:pt x="123" y="10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06" y="77"/>
                    </a:lnTo>
                    <a:lnTo>
                      <a:pt x="102" y="70"/>
                    </a:lnTo>
                    <a:lnTo>
                      <a:pt x="100" y="68"/>
                    </a:lnTo>
                    <a:lnTo>
                      <a:pt x="102" y="68"/>
                    </a:lnTo>
                    <a:lnTo>
                      <a:pt x="102" y="68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18" y="67"/>
                    </a:lnTo>
                    <a:lnTo>
                      <a:pt x="118" y="67"/>
                    </a:lnTo>
                    <a:lnTo>
                      <a:pt x="118" y="67"/>
                    </a:lnTo>
                    <a:lnTo>
                      <a:pt x="112" y="60"/>
                    </a:lnTo>
                    <a:lnTo>
                      <a:pt x="107" y="55"/>
                    </a:lnTo>
                    <a:lnTo>
                      <a:pt x="102" y="53"/>
                    </a:lnTo>
                    <a:lnTo>
                      <a:pt x="102" y="53"/>
                    </a:lnTo>
                    <a:lnTo>
                      <a:pt x="90" y="51"/>
                    </a:lnTo>
                    <a:lnTo>
                      <a:pt x="84" y="48"/>
                    </a:lnTo>
                    <a:lnTo>
                      <a:pt x="83" y="48"/>
                    </a:lnTo>
                    <a:lnTo>
                      <a:pt x="81" y="47"/>
                    </a:lnTo>
                    <a:lnTo>
                      <a:pt x="81" y="47"/>
                    </a:lnTo>
                    <a:lnTo>
                      <a:pt x="81" y="41"/>
                    </a:lnTo>
                    <a:lnTo>
                      <a:pt x="80" y="39"/>
                    </a:lnTo>
                    <a:lnTo>
                      <a:pt x="77" y="37"/>
                    </a:lnTo>
                    <a:lnTo>
                      <a:pt x="77" y="37"/>
                    </a:lnTo>
                    <a:lnTo>
                      <a:pt x="67" y="29"/>
                    </a:lnTo>
                    <a:lnTo>
                      <a:pt x="63" y="24"/>
                    </a:lnTo>
                    <a:lnTo>
                      <a:pt x="63" y="24"/>
                    </a:lnTo>
                    <a:lnTo>
                      <a:pt x="61" y="21"/>
                    </a:lnTo>
                    <a:lnTo>
                      <a:pt x="54" y="19"/>
                    </a:lnTo>
                    <a:lnTo>
                      <a:pt x="54" y="19"/>
                    </a:lnTo>
                    <a:lnTo>
                      <a:pt x="48" y="18"/>
                    </a:lnTo>
                    <a:lnTo>
                      <a:pt x="44" y="15"/>
                    </a:lnTo>
                    <a:lnTo>
                      <a:pt x="35" y="11"/>
                    </a:lnTo>
                    <a:lnTo>
                      <a:pt x="35" y="11"/>
                    </a:lnTo>
                    <a:lnTo>
                      <a:pt x="21" y="8"/>
                    </a:lnTo>
                    <a:lnTo>
                      <a:pt x="13" y="6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2" y="0"/>
                    </a:lnTo>
                    <a:lnTo>
                      <a:pt x="2" y="57"/>
                    </a:lnTo>
                    <a:lnTo>
                      <a:pt x="0" y="68"/>
                    </a:lnTo>
                    <a:lnTo>
                      <a:pt x="3" y="80"/>
                    </a:lnTo>
                    <a:lnTo>
                      <a:pt x="3" y="106"/>
                    </a:lnTo>
                    <a:lnTo>
                      <a:pt x="3" y="106"/>
                    </a:lnTo>
                    <a:lnTo>
                      <a:pt x="7" y="110"/>
                    </a:lnTo>
                    <a:lnTo>
                      <a:pt x="10" y="110"/>
                    </a:lnTo>
                    <a:lnTo>
                      <a:pt x="10" y="110"/>
                    </a:lnTo>
                    <a:lnTo>
                      <a:pt x="21" y="109"/>
                    </a:lnTo>
                    <a:lnTo>
                      <a:pt x="31" y="109"/>
                    </a:lnTo>
                    <a:lnTo>
                      <a:pt x="31" y="109"/>
                    </a:lnTo>
                    <a:lnTo>
                      <a:pt x="39" y="108"/>
                    </a:lnTo>
                    <a:lnTo>
                      <a:pt x="42" y="106"/>
                    </a:lnTo>
                    <a:lnTo>
                      <a:pt x="42" y="105"/>
                    </a:lnTo>
                    <a:lnTo>
                      <a:pt x="41" y="103"/>
                    </a:lnTo>
                    <a:lnTo>
                      <a:pt x="41" y="103"/>
                    </a:lnTo>
                    <a:lnTo>
                      <a:pt x="36" y="97"/>
                    </a:lnTo>
                    <a:lnTo>
                      <a:pt x="35" y="95"/>
                    </a:lnTo>
                    <a:lnTo>
                      <a:pt x="36" y="93"/>
                    </a:lnTo>
                    <a:lnTo>
                      <a:pt x="36" y="93"/>
                    </a:lnTo>
                    <a:lnTo>
                      <a:pt x="44" y="92"/>
                    </a:lnTo>
                    <a:lnTo>
                      <a:pt x="47" y="92"/>
                    </a:lnTo>
                    <a:lnTo>
                      <a:pt x="48" y="92"/>
                    </a:lnTo>
                    <a:lnTo>
                      <a:pt x="48" y="92"/>
                    </a:lnTo>
                    <a:lnTo>
                      <a:pt x="48" y="90"/>
                    </a:lnTo>
                    <a:lnTo>
                      <a:pt x="49" y="89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57" y="86"/>
                    </a:lnTo>
                    <a:lnTo>
                      <a:pt x="61" y="87"/>
                    </a:lnTo>
                    <a:lnTo>
                      <a:pt x="64" y="87"/>
                    </a:lnTo>
                    <a:lnTo>
                      <a:pt x="67" y="87"/>
                    </a:lnTo>
                    <a:lnTo>
                      <a:pt x="67" y="87"/>
                    </a:lnTo>
                    <a:lnTo>
                      <a:pt x="67" y="87"/>
                    </a:lnTo>
                    <a:lnTo>
                      <a:pt x="67" y="86"/>
                    </a:lnTo>
                    <a:lnTo>
                      <a:pt x="68" y="86"/>
                    </a:lnTo>
                    <a:lnTo>
                      <a:pt x="73" y="86"/>
                    </a:lnTo>
                    <a:lnTo>
                      <a:pt x="73" y="86"/>
                    </a:lnTo>
                    <a:lnTo>
                      <a:pt x="81" y="89"/>
                    </a:lnTo>
                    <a:lnTo>
                      <a:pt x="86" y="89"/>
                    </a:lnTo>
                    <a:lnTo>
                      <a:pt x="86" y="89"/>
                    </a:lnTo>
                    <a:lnTo>
                      <a:pt x="87" y="92"/>
                    </a:lnTo>
                    <a:lnTo>
                      <a:pt x="90" y="96"/>
                    </a:lnTo>
                    <a:lnTo>
                      <a:pt x="93" y="100"/>
                    </a:lnTo>
                    <a:lnTo>
                      <a:pt x="93" y="100"/>
                    </a:lnTo>
                    <a:lnTo>
                      <a:pt x="97" y="108"/>
                    </a:lnTo>
                    <a:lnTo>
                      <a:pt x="105" y="116"/>
                    </a:lnTo>
                    <a:lnTo>
                      <a:pt x="105" y="116"/>
                    </a:lnTo>
                    <a:lnTo>
                      <a:pt x="112" y="121"/>
                    </a:lnTo>
                    <a:lnTo>
                      <a:pt x="120" y="122"/>
                    </a:lnTo>
                    <a:lnTo>
                      <a:pt x="120" y="122"/>
                    </a:lnTo>
                    <a:lnTo>
                      <a:pt x="126" y="122"/>
                    </a:lnTo>
                    <a:lnTo>
                      <a:pt x="133" y="125"/>
                    </a:lnTo>
                    <a:lnTo>
                      <a:pt x="144" y="129"/>
                    </a:lnTo>
                    <a:lnTo>
                      <a:pt x="144" y="129"/>
                    </a:lnTo>
                    <a:lnTo>
                      <a:pt x="147" y="131"/>
                    </a:lnTo>
                    <a:lnTo>
                      <a:pt x="148" y="132"/>
                    </a:lnTo>
                    <a:lnTo>
                      <a:pt x="149" y="134"/>
                    </a:lnTo>
                    <a:lnTo>
                      <a:pt x="154" y="134"/>
                    </a:lnTo>
                    <a:lnTo>
                      <a:pt x="154" y="134"/>
                    </a:lnTo>
                    <a:lnTo>
                      <a:pt x="161" y="134"/>
                    </a:lnTo>
                    <a:lnTo>
                      <a:pt x="164" y="132"/>
                    </a:lnTo>
                    <a:lnTo>
                      <a:pt x="162" y="12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09" name="Freeform 762"/>
              <p:cNvSpPr>
                <a:spLocks noEditPoints="1"/>
              </p:cNvSpPr>
              <p:nvPr/>
            </p:nvSpPr>
            <p:spPr bwMode="auto">
              <a:xfrm>
                <a:off x="5157641" y="2276437"/>
                <a:ext cx="649944" cy="345252"/>
              </a:xfrm>
              <a:custGeom>
                <a:avLst/>
                <a:gdLst>
                  <a:gd name="T0" fmla="*/ 576 w 657"/>
                  <a:gd name="T1" fmla="*/ 124 h 349"/>
                  <a:gd name="T2" fmla="*/ 531 w 657"/>
                  <a:gd name="T3" fmla="*/ 108 h 349"/>
                  <a:gd name="T4" fmla="*/ 476 w 657"/>
                  <a:gd name="T5" fmla="*/ 42 h 349"/>
                  <a:gd name="T6" fmla="*/ 433 w 657"/>
                  <a:gd name="T7" fmla="*/ 59 h 349"/>
                  <a:gd name="T8" fmla="*/ 423 w 657"/>
                  <a:gd name="T9" fmla="*/ 30 h 349"/>
                  <a:gd name="T10" fmla="*/ 385 w 657"/>
                  <a:gd name="T11" fmla="*/ 11 h 349"/>
                  <a:gd name="T12" fmla="*/ 357 w 657"/>
                  <a:gd name="T13" fmla="*/ 1 h 349"/>
                  <a:gd name="T14" fmla="*/ 291 w 657"/>
                  <a:gd name="T15" fmla="*/ 15 h 349"/>
                  <a:gd name="T16" fmla="*/ 253 w 657"/>
                  <a:gd name="T17" fmla="*/ 29 h 349"/>
                  <a:gd name="T18" fmla="*/ 223 w 657"/>
                  <a:gd name="T19" fmla="*/ 75 h 349"/>
                  <a:gd name="T20" fmla="*/ 215 w 657"/>
                  <a:gd name="T21" fmla="*/ 97 h 349"/>
                  <a:gd name="T22" fmla="*/ 181 w 657"/>
                  <a:gd name="T23" fmla="*/ 104 h 349"/>
                  <a:gd name="T24" fmla="*/ 136 w 657"/>
                  <a:gd name="T25" fmla="*/ 94 h 349"/>
                  <a:gd name="T26" fmla="*/ 118 w 657"/>
                  <a:gd name="T27" fmla="*/ 102 h 349"/>
                  <a:gd name="T28" fmla="*/ 75 w 657"/>
                  <a:gd name="T29" fmla="*/ 82 h 349"/>
                  <a:gd name="T30" fmla="*/ 52 w 657"/>
                  <a:gd name="T31" fmla="*/ 105 h 349"/>
                  <a:gd name="T32" fmla="*/ 11 w 657"/>
                  <a:gd name="T33" fmla="*/ 134 h 349"/>
                  <a:gd name="T34" fmla="*/ 8 w 657"/>
                  <a:gd name="T35" fmla="*/ 185 h 349"/>
                  <a:gd name="T36" fmla="*/ 26 w 657"/>
                  <a:gd name="T37" fmla="*/ 211 h 349"/>
                  <a:gd name="T38" fmla="*/ 58 w 657"/>
                  <a:gd name="T39" fmla="*/ 208 h 349"/>
                  <a:gd name="T40" fmla="*/ 102 w 657"/>
                  <a:gd name="T41" fmla="*/ 211 h 349"/>
                  <a:gd name="T42" fmla="*/ 91 w 657"/>
                  <a:gd name="T43" fmla="*/ 243 h 349"/>
                  <a:gd name="T44" fmla="*/ 72 w 657"/>
                  <a:gd name="T45" fmla="*/ 257 h 349"/>
                  <a:gd name="T46" fmla="*/ 63 w 657"/>
                  <a:gd name="T47" fmla="*/ 265 h 349"/>
                  <a:gd name="T48" fmla="*/ 69 w 657"/>
                  <a:gd name="T49" fmla="*/ 278 h 349"/>
                  <a:gd name="T50" fmla="*/ 85 w 657"/>
                  <a:gd name="T51" fmla="*/ 304 h 349"/>
                  <a:gd name="T52" fmla="*/ 91 w 657"/>
                  <a:gd name="T53" fmla="*/ 325 h 349"/>
                  <a:gd name="T54" fmla="*/ 101 w 657"/>
                  <a:gd name="T55" fmla="*/ 323 h 349"/>
                  <a:gd name="T56" fmla="*/ 116 w 657"/>
                  <a:gd name="T57" fmla="*/ 315 h 349"/>
                  <a:gd name="T58" fmla="*/ 137 w 657"/>
                  <a:gd name="T59" fmla="*/ 333 h 349"/>
                  <a:gd name="T60" fmla="*/ 195 w 657"/>
                  <a:gd name="T61" fmla="*/ 228 h 349"/>
                  <a:gd name="T62" fmla="*/ 205 w 657"/>
                  <a:gd name="T63" fmla="*/ 221 h 349"/>
                  <a:gd name="T64" fmla="*/ 217 w 657"/>
                  <a:gd name="T65" fmla="*/ 218 h 349"/>
                  <a:gd name="T66" fmla="*/ 226 w 657"/>
                  <a:gd name="T67" fmla="*/ 228 h 349"/>
                  <a:gd name="T68" fmla="*/ 228 w 657"/>
                  <a:gd name="T69" fmla="*/ 275 h 349"/>
                  <a:gd name="T70" fmla="*/ 269 w 657"/>
                  <a:gd name="T71" fmla="*/ 288 h 349"/>
                  <a:gd name="T72" fmla="*/ 291 w 657"/>
                  <a:gd name="T73" fmla="*/ 310 h 349"/>
                  <a:gd name="T74" fmla="*/ 294 w 657"/>
                  <a:gd name="T75" fmla="*/ 331 h 349"/>
                  <a:gd name="T76" fmla="*/ 324 w 657"/>
                  <a:gd name="T77" fmla="*/ 349 h 349"/>
                  <a:gd name="T78" fmla="*/ 346 w 657"/>
                  <a:gd name="T79" fmla="*/ 330 h 349"/>
                  <a:gd name="T80" fmla="*/ 389 w 657"/>
                  <a:gd name="T81" fmla="*/ 311 h 349"/>
                  <a:gd name="T82" fmla="*/ 444 w 657"/>
                  <a:gd name="T83" fmla="*/ 292 h 349"/>
                  <a:gd name="T84" fmla="*/ 537 w 657"/>
                  <a:gd name="T85" fmla="*/ 311 h 349"/>
                  <a:gd name="T86" fmla="*/ 541 w 657"/>
                  <a:gd name="T87" fmla="*/ 272 h 349"/>
                  <a:gd name="T88" fmla="*/ 551 w 657"/>
                  <a:gd name="T89" fmla="*/ 247 h 349"/>
                  <a:gd name="T90" fmla="*/ 573 w 657"/>
                  <a:gd name="T91" fmla="*/ 236 h 349"/>
                  <a:gd name="T92" fmla="*/ 580 w 657"/>
                  <a:gd name="T93" fmla="*/ 210 h 349"/>
                  <a:gd name="T94" fmla="*/ 620 w 657"/>
                  <a:gd name="T95" fmla="*/ 207 h 349"/>
                  <a:gd name="T96" fmla="*/ 630 w 657"/>
                  <a:gd name="T97" fmla="*/ 176 h 349"/>
                  <a:gd name="T98" fmla="*/ 657 w 657"/>
                  <a:gd name="T99" fmla="*/ 155 h 349"/>
                  <a:gd name="T100" fmla="*/ 494 w 657"/>
                  <a:gd name="T101" fmla="*/ 227 h 349"/>
                  <a:gd name="T102" fmla="*/ 452 w 657"/>
                  <a:gd name="T103" fmla="*/ 237 h 349"/>
                  <a:gd name="T104" fmla="*/ 441 w 657"/>
                  <a:gd name="T105" fmla="*/ 256 h 349"/>
                  <a:gd name="T106" fmla="*/ 433 w 657"/>
                  <a:gd name="T107" fmla="*/ 234 h 349"/>
                  <a:gd name="T108" fmla="*/ 454 w 657"/>
                  <a:gd name="T109" fmla="*/ 217 h 349"/>
                  <a:gd name="T110" fmla="*/ 512 w 657"/>
                  <a:gd name="T111" fmla="*/ 218 h 349"/>
                  <a:gd name="T112" fmla="*/ 598 w 657"/>
                  <a:gd name="T113" fmla="*/ 195 h 349"/>
                  <a:gd name="T114" fmla="*/ 585 w 657"/>
                  <a:gd name="T115" fmla="*/ 170 h 349"/>
                  <a:gd name="T116" fmla="*/ 602 w 657"/>
                  <a:gd name="T117" fmla="*/ 184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57" h="349">
                    <a:moveTo>
                      <a:pt x="656" y="153"/>
                    </a:moveTo>
                    <a:lnTo>
                      <a:pt x="656" y="153"/>
                    </a:lnTo>
                    <a:lnTo>
                      <a:pt x="643" y="146"/>
                    </a:lnTo>
                    <a:lnTo>
                      <a:pt x="622" y="136"/>
                    </a:lnTo>
                    <a:lnTo>
                      <a:pt x="601" y="127"/>
                    </a:lnTo>
                    <a:lnTo>
                      <a:pt x="593" y="124"/>
                    </a:lnTo>
                    <a:lnTo>
                      <a:pt x="588" y="123"/>
                    </a:lnTo>
                    <a:lnTo>
                      <a:pt x="588" y="123"/>
                    </a:lnTo>
                    <a:lnTo>
                      <a:pt x="576" y="124"/>
                    </a:lnTo>
                    <a:lnTo>
                      <a:pt x="570" y="124"/>
                    </a:lnTo>
                    <a:lnTo>
                      <a:pt x="564" y="121"/>
                    </a:lnTo>
                    <a:lnTo>
                      <a:pt x="564" y="121"/>
                    </a:lnTo>
                    <a:lnTo>
                      <a:pt x="554" y="114"/>
                    </a:lnTo>
                    <a:lnTo>
                      <a:pt x="550" y="111"/>
                    </a:lnTo>
                    <a:lnTo>
                      <a:pt x="546" y="110"/>
                    </a:lnTo>
                    <a:lnTo>
                      <a:pt x="546" y="110"/>
                    </a:lnTo>
                    <a:lnTo>
                      <a:pt x="538" y="110"/>
                    </a:lnTo>
                    <a:lnTo>
                      <a:pt x="531" y="108"/>
                    </a:lnTo>
                    <a:lnTo>
                      <a:pt x="525" y="104"/>
                    </a:lnTo>
                    <a:lnTo>
                      <a:pt x="522" y="102"/>
                    </a:lnTo>
                    <a:lnTo>
                      <a:pt x="520" y="98"/>
                    </a:lnTo>
                    <a:lnTo>
                      <a:pt x="520" y="98"/>
                    </a:lnTo>
                    <a:lnTo>
                      <a:pt x="512" y="85"/>
                    </a:lnTo>
                    <a:lnTo>
                      <a:pt x="501" y="66"/>
                    </a:lnTo>
                    <a:lnTo>
                      <a:pt x="486" y="49"/>
                    </a:lnTo>
                    <a:lnTo>
                      <a:pt x="480" y="43"/>
                    </a:lnTo>
                    <a:lnTo>
                      <a:pt x="476" y="42"/>
                    </a:lnTo>
                    <a:lnTo>
                      <a:pt x="476" y="42"/>
                    </a:lnTo>
                    <a:lnTo>
                      <a:pt x="472" y="43"/>
                    </a:lnTo>
                    <a:lnTo>
                      <a:pt x="466" y="44"/>
                    </a:lnTo>
                    <a:lnTo>
                      <a:pt x="456" y="53"/>
                    </a:lnTo>
                    <a:lnTo>
                      <a:pt x="447" y="60"/>
                    </a:lnTo>
                    <a:lnTo>
                      <a:pt x="443" y="62"/>
                    </a:lnTo>
                    <a:lnTo>
                      <a:pt x="438" y="62"/>
                    </a:lnTo>
                    <a:lnTo>
                      <a:pt x="438" y="62"/>
                    </a:lnTo>
                    <a:lnTo>
                      <a:pt x="433" y="59"/>
                    </a:lnTo>
                    <a:lnTo>
                      <a:pt x="427" y="53"/>
                    </a:lnTo>
                    <a:lnTo>
                      <a:pt x="424" y="49"/>
                    </a:lnTo>
                    <a:lnTo>
                      <a:pt x="423" y="46"/>
                    </a:lnTo>
                    <a:lnTo>
                      <a:pt x="423" y="43"/>
                    </a:lnTo>
                    <a:lnTo>
                      <a:pt x="423" y="43"/>
                    </a:lnTo>
                    <a:lnTo>
                      <a:pt x="424" y="36"/>
                    </a:lnTo>
                    <a:lnTo>
                      <a:pt x="424" y="33"/>
                    </a:lnTo>
                    <a:lnTo>
                      <a:pt x="423" y="30"/>
                    </a:lnTo>
                    <a:lnTo>
                      <a:pt x="423" y="30"/>
                    </a:lnTo>
                    <a:lnTo>
                      <a:pt x="420" y="29"/>
                    </a:lnTo>
                    <a:lnTo>
                      <a:pt x="415" y="27"/>
                    </a:lnTo>
                    <a:lnTo>
                      <a:pt x="402" y="27"/>
                    </a:lnTo>
                    <a:lnTo>
                      <a:pt x="391" y="26"/>
                    </a:lnTo>
                    <a:lnTo>
                      <a:pt x="386" y="26"/>
                    </a:lnTo>
                    <a:lnTo>
                      <a:pt x="383" y="24"/>
                    </a:lnTo>
                    <a:lnTo>
                      <a:pt x="383" y="24"/>
                    </a:lnTo>
                    <a:lnTo>
                      <a:pt x="383" y="18"/>
                    </a:lnTo>
                    <a:lnTo>
                      <a:pt x="385" y="11"/>
                    </a:lnTo>
                    <a:lnTo>
                      <a:pt x="385" y="5"/>
                    </a:lnTo>
                    <a:lnTo>
                      <a:pt x="385" y="2"/>
                    </a:lnTo>
                    <a:lnTo>
                      <a:pt x="383" y="2"/>
                    </a:lnTo>
                    <a:lnTo>
                      <a:pt x="383" y="2"/>
                    </a:lnTo>
                    <a:lnTo>
                      <a:pt x="376" y="4"/>
                    </a:lnTo>
                    <a:lnTo>
                      <a:pt x="373" y="4"/>
                    </a:lnTo>
                    <a:lnTo>
                      <a:pt x="368" y="4"/>
                    </a:lnTo>
                    <a:lnTo>
                      <a:pt x="368" y="4"/>
                    </a:lnTo>
                    <a:lnTo>
                      <a:pt x="357" y="1"/>
                    </a:lnTo>
                    <a:lnTo>
                      <a:pt x="354" y="1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31" y="8"/>
                    </a:lnTo>
                    <a:lnTo>
                      <a:pt x="318" y="13"/>
                    </a:lnTo>
                    <a:lnTo>
                      <a:pt x="310" y="15"/>
                    </a:lnTo>
                    <a:lnTo>
                      <a:pt x="310" y="15"/>
                    </a:lnTo>
                    <a:lnTo>
                      <a:pt x="297" y="15"/>
                    </a:lnTo>
                    <a:lnTo>
                      <a:pt x="291" y="15"/>
                    </a:lnTo>
                    <a:lnTo>
                      <a:pt x="286" y="17"/>
                    </a:lnTo>
                    <a:lnTo>
                      <a:pt x="286" y="17"/>
                    </a:lnTo>
                    <a:lnTo>
                      <a:pt x="285" y="20"/>
                    </a:lnTo>
                    <a:lnTo>
                      <a:pt x="284" y="21"/>
                    </a:lnTo>
                    <a:lnTo>
                      <a:pt x="281" y="21"/>
                    </a:lnTo>
                    <a:lnTo>
                      <a:pt x="281" y="21"/>
                    </a:lnTo>
                    <a:lnTo>
                      <a:pt x="273" y="23"/>
                    </a:lnTo>
                    <a:lnTo>
                      <a:pt x="263" y="26"/>
                    </a:lnTo>
                    <a:lnTo>
                      <a:pt x="253" y="29"/>
                    </a:lnTo>
                    <a:lnTo>
                      <a:pt x="247" y="33"/>
                    </a:lnTo>
                    <a:lnTo>
                      <a:pt x="247" y="33"/>
                    </a:lnTo>
                    <a:lnTo>
                      <a:pt x="243" y="40"/>
                    </a:lnTo>
                    <a:lnTo>
                      <a:pt x="240" y="47"/>
                    </a:lnTo>
                    <a:lnTo>
                      <a:pt x="237" y="56"/>
                    </a:lnTo>
                    <a:lnTo>
                      <a:pt x="234" y="62"/>
                    </a:lnTo>
                    <a:lnTo>
                      <a:pt x="234" y="62"/>
                    </a:lnTo>
                    <a:lnTo>
                      <a:pt x="227" y="71"/>
                    </a:lnTo>
                    <a:lnTo>
                      <a:pt x="223" y="75"/>
                    </a:lnTo>
                    <a:lnTo>
                      <a:pt x="217" y="78"/>
                    </a:lnTo>
                    <a:lnTo>
                      <a:pt x="217" y="78"/>
                    </a:lnTo>
                    <a:lnTo>
                      <a:pt x="211" y="81"/>
                    </a:lnTo>
                    <a:lnTo>
                      <a:pt x="210" y="85"/>
                    </a:lnTo>
                    <a:lnTo>
                      <a:pt x="210" y="88"/>
                    </a:lnTo>
                    <a:lnTo>
                      <a:pt x="211" y="91"/>
                    </a:lnTo>
                    <a:lnTo>
                      <a:pt x="211" y="91"/>
                    </a:lnTo>
                    <a:lnTo>
                      <a:pt x="214" y="94"/>
                    </a:lnTo>
                    <a:lnTo>
                      <a:pt x="215" y="97"/>
                    </a:lnTo>
                    <a:lnTo>
                      <a:pt x="214" y="101"/>
                    </a:lnTo>
                    <a:lnTo>
                      <a:pt x="213" y="102"/>
                    </a:lnTo>
                    <a:lnTo>
                      <a:pt x="213" y="102"/>
                    </a:lnTo>
                    <a:lnTo>
                      <a:pt x="207" y="102"/>
                    </a:lnTo>
                    <a:lnTo>
                      <a:pt x="201" y="101"/>
                    </a:lnTo>
                    <a:lnTo>
                      <a:pt x="191" y="98"/>
                    </a:lnTo>
                    <a:lnTo>
                      <a:pt x="191" y="98"/>
                    </a:lnTo>
                    <a:lnTo>
                      <a:pt x="185" y="102"/>
                    </a:lnTo>
                    <a:lnTo>
                      <a:pt x="181" y="104"/>
                    </a:lnTo>
                    <a:lnTo>
                      <a:pt x="178" y="104"/>
                    </a:lnTo>
                    <a:lnTo>
                      <a:pt x="178" y="104"/>
                    </a:lnTo>
                    <a:lnTo>
                      <a:pt x="163" y="98"/>
                    </a:lnTo>
                    <a:lnTo>
                      <a:pt x="147" y="89"/>
                    </a:lnTo>
                    <a:lnTo>
                      <a:pt x="147" y="89"/>
                    </a:lnTo>
                    <a:lnTo>
                      <a:pt x="143" y="88"/>
                    </a:lnTo>
                    <a:lnTo>
                      <a:pt x="140" y="88"/>
                    </a:lnTo>
                    <a:lnTo>
                      <a:pt x="137" y="91"/>
                    </a:lnTo>
                    <a:lnTo>
                      <a:pt x="136" y="94"/>
                    </a:lnTo>
                    <a:lnTo>
                      <a:pt x="136" y="94"/>
                    </a:lnTo>
                    <a:lnTo>
                      <a:pt x="136" y="98"/>
                    </a:lnTo>
                    <a:lnTo>
                      <a:pt x="134" y="102"/>
                    </a:lnTo>
                    <a:lnTo>
                      <a:pt x="131" y="105"/>
                    </a:lnTo>
                    <a:lnTo>
                      <a:pt x="130" y="107"/>
                    </a:lnTo>
                    <a:lnTo>
                      <a:pt x="126" y="107"/>
                    </a:lnTo>
                    <a:lnTo>
                      <a:pt x="126" y="107"/>
                    </a:lnTo>
                    <a:lnTo>
                      <a:pt x="123" y="107"/>
                    </a:lnTo>
                    <a:lnTo>
                      <a:pt x="118" y="102"/>
                    </a:lnTo>
                    <a:lnTo>
                      <a:pt x="111" y="94"/>
                    </a:lnTo>
                    <a:lnTo>
                      <a:pt x="100" y="78"/>
                    </a:lnTo>
                    <a:lnTo>
                      <a:pt x="100" y="78"/>
                    </a:lnTo>
                    <a:lnTo>
                      <a:pt x="98" y="78"/>
                    </a:lnTo>
                    <a:lnTo>
                      <a:pt x="95" y="81"/>
                    </a:lnTo>
                    <a:lnTo>
                      <a:pt x="91" y="82"/>
                    </a:lnTo>
                    <a:lnTo>
                      <a:pt x="87" y="84"/>
                    </a:lnTo>
                    <a:lnTo>
                      <a:pt x="87" y="84"/>
                    </a:lnTo>
                    <a:lnTo>
                      <a:pt x="75" y="82"/>
                    </a:lnTo>
                    <a:lnTo>
                      <a:pt x="69" y="82"/>
                    </a:lnTo>
                    <a:lnTo>
                      <a:pt x="65" y="84"/>
                    </a:lnTo>
                    <a:lnTo>
                      <a:pt x="65" y="84"/>
                    </a:lnTo>
                    <a:lnTo>
                      <a:pt x="63" y="88"/>
                    </a:lnTo>
                    <a:lnTo>
                      <a:pt x="60" y="95"/>
                    </a:lnTo>
                    <a:lnTo>
                      <a:pt x="56" y="102"/>
                    </a:lnTo>
                    <a:lnTo>
                      <a:pt x="55" y="104"/>
                    </a:lnTo>
                    <a:lnTo>
                      <a:pt x="52" y="105"/>
                    </a:lnTo>
                    <a:lnTo>
                      <a:pt x="52" y="105"/>
                    </a:lnTo>
                    <a:lnTo>
                      <a:pt x="36" y="107"/>
                    </a:lnTo>
                    <a:lnTo>
                      <a:pt x="27" y="107"/>
                    </a:lnTo>
                    <a:lnTo>
                      <a:pt x="23" y="108"/>
                    </a:lnTo>
                    <a:lnTo>
                      <a:pt x="23" y="108"/>
                    </a:lnTo>
                    <a:lnTo>
                      <a:pt x="20" y="113"/>
                    </a:lnTo>
                    <a:lnTo>
                      <a:pt x="18" y="118"/>
                    </a:lnTo>
                    <a:lnTo>
                      <a:pt x="17" y="126"/>
                    </a:lnTo>
                    <a:lnTo>
                      <a:pt x="17" y="126"/>
                    </a:lnTo>
                    <a:lnTo>
                      <a:pt x="11" y="134"/>
                    </a:lnTo>
                    <a:lnTo>
                      <a:pt x="7" y="142"/>
                    </a:lnTo>
                    <a:lnTo>
                      <a:pt x="3" y="149"/>
                    </a:lnTo>
                    <a:lnTo>
                      <a:pt x="3" y="149"/>
                    </a:lnTo>
                    <a:lnTo>
                      <a:pt x="1" y="156"/>
                    </a:lnTo>
                    <a:lnTo>
                      <a:pt x="0" y="163"/>
                    </a:lnTo>
                    <a:lnTo>
                      <a:pt x="0" y="169"/>
                    </a:lnTo>
                    <a:lnTo>
                      <a:pt x="1" y="175"/>
                    </a:lnTo>
                    <a:lnTo>
                      <a:pt x="1" y="175"/>
                    </a:lnTo>
                    <a:lnTo>
                      <a:pt x="8" y="185"/>
                    </a:lnTo>
                    <a:lnTo>
                      <a:pt x="13" y="189"/>
                    </a:lnTo>
                    <a:lnTo>
                      <a:pt x="18" y="191"/>
                    </a:lnTo>
                    <a:lnTo>
                      <a:pt x="18" y="191"/>
                    </a:lnTo>
                    <a:lnTo>
                      <a:pt x="27" y="194"/>
                    </a:lnTo>
                    <a:lnTo>
                      <a:pt x="29" y="194"/>
                    </a:lnTo>
                    <a:lnTo>
                      <a:pt x="29" y="197"/>
                    </a:lnTo>
                    <a:lnTo>
                      <a:pt x="29" y="197"/>
                    </a:lnTo>
                    <a:lnTo>
                      <a:pt x="27" y="207"/>
                    </a:lnTo>
                    <a:lnTo>
                      <a:pt x="26" y="211"/>
                    </a:lnTo>
                    <a:lnTo>
                      <a:pt x="27" y="214"/>
                    </a:lnTo>
                    <a:lnTo>
                      <a:pt x="27" y="214"/>
                    </a:lnTo>
                    <a:lnTo>
                      <a:pt x="33" y="221"/>
                    </a:lnTo>
                    <a:lnTo>
                      <a:pt x="33" y="221"/>
                    </a:lnTo>
                    <a:lnTo>
                      <a:pt x="40" y="218"/>
                    </a:lnTo>
                    <a:lnTo>
                      <a:pt x="40" y="218"/>
                    </a:lnTo>
                    <a:lnTo>
                      <a:pt x="47" y="214"/>
                    </a:lnTo>
                    <a:lnTo>
                      <a:pt x="53" y="210"/>
                    </a:lnTo>
                    <a:lnTo>
                      <a:pt x="58" y="208"/>
                    </a:lnTo>
                    <a:lnTo>
                      <a:pt x="58" y="208"/>
                    </a:lnTo>
                    <a:lnTo>
                      <a:pt x="68" y="205"/>
                    </a:lnTo>
                    <a:lnTo>
                      <a:pt x="78" y="205"/>
                    </a:lnTo>
                    <a:lnTo>
                      <a:pt x="78" y="205"/>
                    </a:lnTo>
                    <a:lnTo>
                      <a:pt x="89" y="205"/>
                    </a:lnTo>
                    <a:lnTo>
                      <a:pt x="94" y="205"/>
                    </a:lnTo>
                    <a:lnTo>
                      <a:pt x="98" y="207"/>
                    </a:lnTo>
                    <a:lnTo>
                      <a:pt x="98" y="207"/>
                    </a:lnTo>
                    <a:lnTo>
                      <a:pt x="102" y="211"/>
                    </a:lnTo>
                    <a:lnTo>
                      <a:pt x="104" y="215"/>
                    </a:lnTo>
                    <a:lnTo>
                      <a:pt x="105" y="220"/>
                    </a:lnTo>
                    <a:lnTo>
                      <a:pt x="104" y="224"/>
                    </a:lnTo>
                    <a:lnTo>
                      <a:pt x="104" y="224"/>
                    </a:lnTo>
                    <a:lnTo>
                      <a:pt x="100" y="233"/>
                    </a:lnTo>
                    <a:lnTo>
                      <a:pt x="95" y="240"/>
                    </a:lnTo>
                    <a:lnTo>
                      <a:pt x="95" y="240"/>
                    </a:lnTo>
                    <a:lnTo>
                      <a:pt x="94" y="241"/>
                    </a:lnTo>
                    <a:lnTo>
                      <a:pt x="91" y="243"/>
                    </a:lnTo>
                    <a:lnTo>
                      <a:pt x="84" y="244"/>
                    </a:lnTo>
                    <a:lnTo>
                      <a:pt x="84" y="244"/>
                    </a:lnTo>
                    <a:lnTo>
                      <a:pt x="76" y="243"/>
                    </a:lnTo>
                    <a:lnTo>
                      <a:pt x="74" y="243"/>
                    </a:lnTo>
                    <a:lnTo>
                      <a:pt x="72" y="246"/>
                    </a:lnTo>
                    <a:lnTo>
                      <a:pt x="72" y="246"/>
                    </a:lnTo>
                    <a:lnTo>
                      <a:pt x="71" y="249"/>
                    </a:lnTo>
                    <a:lnTo>
                      <a:pt x="72" y="253"/>
                    </a:lnTo>
                    <a:lnTo>
                      <a:pt x="72" y="257"/>
                    </a:lnTo>
                    <a:lnTo>
                      <a:pt x="71" y="259"/>
                    </a:lnTo>
                    <a:lnTo>
                      <a:pt x="71" y="259"/>
                    </a:lnTo>
                    <a:lnTo>
                      <a:pt x="69" y="259"/>
                    </a:lnTo>
                    <a:lnTo>
                      <a:pt x="69" y="262"/>
                    </a:lnTo>
                    <a:lnTo>
                      <a:pt x="71" y="265"/>
                    </a:lnTo>
                    <a:lnTo>
                      <a:pt x="69" y="266"/>
                    </a:lnTo>
                    <a:lnTo>
                      <a:pt x="69" y="266"/>
                    </a:lnTo>
                    <a:lnTo>
                      <a:pt x="66" y="265"/>
                    </a:lnTo>
                    <a:lnTo>
                      <a:pt x="63" y="265"/>
                    </a:lnTo>
                    <a:lnTo>
                      <a:pt x="60" y="263"/>
                    </a:lnTo>
                    <a:lnTo>
                      <a:pt x="59" y="266"/>
                    </a:lnTo>
                    <a:lnTo>
                      <a:pt x="59" y="266"/>
                    </a:lnTo>
                    <a:lnTo>
                      <a:pt x="58" y="269"/>
                    </a:lnTo>
                    <a:lnTo>
                      <a:pt x="62" y="272"/>
                    </a:lnTo>
                    <a:lnTo>
                      <a:pt x="62" y="272"/>
                    </a:lnTo>
                    <a:lnTo>
                      <a:pt x="65" y="273"/>
                    </a:lnTo>
                    <a:lnTo>
                      <a:pt x="66" y="275"/>
                    </a:lnTo>
                    <a:lnTo>
                      <a:pt x="69" y="278"/>
                    </a:lnTo>
                    <a:lnTo>
                      <a:pt x="69" y="283"/>
                    </a:lnTo>
                    <a:lnTo>
                      <a:pt x="69" y="283"/>
                    </a:lnTo>
                    <a:lnTo>
                      <a:pt x="72" y="291"/>
                    </a:lnTo>
                    <a:lnTo>
                      <a:pt x="74" y="294"/>
                    </a:lnTo>
                    <a:lnTo>
                      <a:pt x="76" y="294"/>
                    </a:lnTo>
                    <a:lnTo>
                      <a:pt x="76" y="294"/>
                    </a:lnTo>
                    <a:lnTo>
                      <a:pt x="81" y="298"/>
                    </a:lnTo>
                    <a:lnTo>
                      <a:pt x="85" y="304"/>
                    </a:lnTo>
                    <a:lnTo>
                      <a:pt x="85" y="304"/>
                    </a:lnTo>
                    <a:lnTo>
                      <a:pt x="87" y="305"/>
                    </a:lnTo>
                    <a:lnTo>
                      <a:pt x="88" y="305"/>
                    </a:lnTo>
                    <a:lnTo>
                      <a:pt x="89" y="305"/>
                    </a:lnTo>
                    <a:lnTo>
                      <a:pt x="89" y="307"/>
                    </a:lnTo>
                    <a:lnTo>
                      <a:pt x="89" y="307"/>
                    </a:lnTo>
                    <a:lnTo>
                      <a:pt x="89" y="317"/>
                    </a:lnTo>
                    <a:lnTo>
                      <a:pt x="89" y="323"/>
                    </a:lnTo>
                    <a:lnTo>
                      <a:pt x="91" y="325"/>
                    </a:lnTo>
                    <a:lnTo>
                      <a:pt x="91" y="325"/>
                    </a:lnTo>
                    <a:lnTo>
                      <a:pt x="95" y="333"/>
                    </a:lnTo>
                    <a:lnTo>
                      <a:pt x="97" y="334"/>
                    </a:lnTo>
                    <a:lnTo>
                      <a:pt x="98" y="336"/>
                    </a:lnTo>
                    <a:lnTo>
                      <a:pt x="98" y="334"/>
                    </a:lnTo>
                    <a:lnTo>
                      <a:pt x="98" y="334"/>
                    </a:lnTo>
                    <a:lnTo>
                      <a:pt x="100" y="330"/>
                    </a:lnTo>
                    <a:lnTo>
                      <a:pt x="100" y="327"/>
                    </a:lnTo>
                    <a:lnTo>
                      <a:pt x="101" y="323"/>
                    </a:lnTo>
                    <a:lnTo>
                      <a:pt x="101" y="323"/>
                    </a:lnTo>
                    <a:lnTo>
                      <a:pt x="105" y="318"/>
                    </a:lnTo>
                    <a:lnTo>
                      <a:pt x="107" y="317"/>
                    </a:lnTo>
                    <a:lnTo>
                      <a:pt x="110" y="318"/>
                    </a:lnTo>
                    <a:lnTo>
                      <a:pt x="110" y="318"/>
                    </a:lnTo>
                    <a:lnTo>
                      <a:pt x="111" y="318"/>
                    </a:lnTo>
                    <a:lnTo>
                      <a:pt x="114" y="317"/>
                    </a:lnTo>
                    <a:lnTo>
                      <a:pt x="116" y="315"/>
                    </a:lnTo>
                    <a:lnTo>
                      <a:pt x="116" y="315"/>
                    </a:lnTo>
                    <a:lnTo>
                      <a:pt x="116" y="315"/>
                    </a:lnTo>
                    <a:lnTo>
                      <a:pt x="116" y="317"/>
                    </a:lnTo>
                    <a:lnTo>
                      <a:pt x="116" y="317"/>
                    </a:lnTo>
                    <a:lnTo>
                      <a:pt x="118" y="315"/>
                    </a:lnTo>
                    <a:lnTo>
                      <a:pt x="120" y="314"/>
                    </a:lnTo>
                    <a:lnTo>
                      <a:pt x="120" y="314"/>
                    </a:lnTo>
                    <a:lnTo>
                      <a:pt x="124" y="317"/>
                    </a:lnTo>
                    <a:lnTo>
                      <a:pt x="129" y="323"/>
                    </a:lnTo>
                    <a:lnTo>
                      <a:pt x="137" y="333"/>
                    </a:lnTo>
                    <a:lnTo>
                      <a:pt x="137" y="333"/>
                    </a:lnTo>
                    <a:lnTo>
                      <a:pt x="142" y="337"/>
                    </a:lnTo>
                    <a:lnTo>
                      <a:pt x="150" y="341"/>
                    </a:lnTo>
                    <a:lnTo>
                      <a:pt x="149" y="253"/>
                    </a:lnTo>
                    <a:lnTo>
                      <a:pt x="188" y="240"/>
                    </a:lnTo>
                    <a:lnTo>
                      <a:pt x="188" y="240"/>
                    </a:lnTo>
                    <a:lnTo>
                      <a:pt x="191" y="233"/>
                    </a:lnTo>
                    <a:lnTo>
                      <a:pt x="192" y="230"/>
                    </a:lnTo>
                    <a:lnTo>
                      <a:pt x="195" y="228"/>
                    </a:lnTo>
                    <a:lnTo>
                      <a:pt x="195" y="228"/>
                    </a:lnTo>
                    <a:lnTo>
                      <a:pt x="197" y="230"/>
                    </a:lnTo>
                    <a:lnTo>
                      <a:pt x="198" y="231"/>
                    </a:lnTo>
                    <a:lnTo>
                      <a:pt x="200" y="231"/>
                    </a:lnTo>
                    <a:lnTo>
                      <a:pt x="201" y="231"/>
                    </a:lnTo>
                    <a:lnTo>
                      <a:pt x="201" y="231"/>
                    </a:lnTo>
                    <a:lnTo>
                      <a:pt x="202" y="227"/>
                    </a:lnTo>
                    <a:lnTo>
                      <a:pt x="202" y="224"/>
                    </a:lnTo>
                    <a:lnTo>
                      <a:pt x="204" y="223"/>
                    </a:lnTo>
                    <a:lnTo>
                      <a:pt x="205" y="221"/>
                    </a:lnTo>
                    <a:lnTo>
                      <a:pt x="205" y="221"/>
                    </a:lnTo>
                    <a:lnTo>
                      <a:pt x="213" y="224"/>
                    </a:lnTo>
                    <a:lnTo>
                      <a:pt x="215" y="224"/>
                    </a:lnTo>
                    <a:lnTo>
                      <a:pt x="215" y="223"/>
                    </a:lnTo>
                    <a:lnTo>
                      <a:pt x="215" y="223"/>
                    </a:lnTo>
                    <a:lnTo>
                      <a:pt x="213" y="220"/>
                    </a:lnTo>
                    <a:lnTo>
                      <a:pt x="214" y="218"/>
                    </a:lnTo>
                    <a:lnTo>
                      <a:pt x="217" y="218"/>
                    </a:lnTo>
                    <a:lnTo>
                      <a:pt x="217" y="218"/>
                    </a:lnTo>
                    <a:lnTo>
                      <a:pt x="223" y="217"/>
                    </a:lnTo>
                    <a:lnTo>
                      <a:pt x="226" y="217"/>
                    </a:lnTo>
                    <a:lnTo>
                      <a:pt x="227" y="218"/>
                    </a:lnTo>
                    <a:lnTo>
                      <a:pt x="227" y="218"/>
                    </a:lnTo>
                    <a:lnTo>
                      <a:pt x="227" y="220"/>
                    </a:lnTo>
                    <a:lnTo>
                      <a:pt x="226" y="221"/>
                    </a:lnTo>
                    <a:lnTo>
                      <a:pt x="224" y="224"/>
                    </a:lnTo>
                    <a:lnTo>
                      <a:pt x="226" y="228"/>
                    </a:lnTo>
                    <a:lnTo>
                      <a:pt x="226" y="228"/>
                    </a:lnTo>
                    <a:lnTo>
                      <a:pt x="228" y="239"/>
                    </a:lnTo>
                    <a:lnTo>
                      <a:pt x="230" y="246"/>
                    </a:lnTo>
                    <a:lnTo>
                      <a:pt x="230" y="246"/>
                    </a:lnTo>
                    <a:lnTo>
                      <a:pt x="228" y="259"/>
                    </a:lnTo>
                    <a:lnTo>
                      <a:pt x="227" y="266"/>
                    </a:lnTo>
                    <a:lnTo>
                      <a:pt x="224" y="270"/>
                    </a:lnTo>
                    <a:lnTo>
                      <a:pt x="224" y="270"/>
                    </a:lnTo>
                    <a:lnTo>
                      <a:pt x="224" y="270"/>
                    </a:lnTo>
                    <a:lnTo>
                      <a:pt x="228" y="275"/>
                    </a:lnTo>
                    <a:lnTo>
                      <a:pt x="233" y="279"/>
                    </a:lnTo>
                    <a:lnTo>
                      <a:pt x="243" y="285"/>
                    </a:lnTo>
                    <a:lnTo>
                      <a:pt x="257" y="291"/>
                    </a:lnTo>
                    <a:lnTo>
                      <a:pt x="257" y="291"/>
                    </a:lnTo>
                    <a:lnTo>
                      <a:pt x="262" y="292"/>
                    </a:lnTo>
                    <a:lnTo>
                      <a:pt x="265" y="292"/>
                    </a:lnTo>
                    <a:lnTo>
                      <a:pt x="268" y="291"/>
                    </a:lnTo>
                    <a:lnTo>
                      <a:pt x="269" y="288"/>
                    </a:lnTo>
                    <a:lnTo>
                      <a:pt x="269" y="288"/>
                    </a:lnTo>
                    <a:lnTo>
                      <a:pt x="278" y="281"/>
                    </a:lnTo>
                    <a:lnTo>
                      <a:pt x="282" y="278"/>
                    </a:lnTo>
                    <a:lnTo>
                      <a:pt x="286" y="275"/>
                    </a:lnTo>
                    <a:lnTo>
                      <a:pt x="286" y="275"/>
                    </a:lnTo>
                    <a:lnTo>
                      <a:pt x="286" y="276"/>
                    </a:lnTo>
                    <a:lnTo>
                      <a:pt x="288" y="281"/>
                    </a:lnTo>
                    <a:lnTo>
                      <a:pt x="289" y="291"/>
                    </a:lnTo>
                    <a:lnTo>
                      <a:pt x="291" y="310"/>
                    </a:lnTo>
                    <a:lnTo>
                      <a:pt x="291" y="310"/>
                    </a:lnTo>
                    <a:lnTo>
                      <a:pt x="292" y="312"/>
                    </a:lnTo>
                    <a:lnTo>
                      <a:pt x="295" y="317"/>
                    </a:lnTo>
                    <a:lnTo>
                      <a:pt x="301" y="324"/>
                    </a:lnTo>
                    <a:lnTo>
                      <a:pt x="301" y="324"/>
                    </a:lnTo>
                    <a:lnTo>
                      <a:pt x="301" y="327"/>
                    </a:lnTo>
                    <a:lnTo>
                      <a:pt x="299" y="328"/>
                    </a:lnTo>
                    <a:lnTo>
                      <a:pt x="295" y="330"/>
                    </a:lnTo>
                    <a:lnTo>
                      <a:pt x="294" y="331"/>
                    </a:lnTo>
                    <a:lnTo>
                      <a:pt x="294" y="331"/>
                    </a:lnTo>
                    <a:lnTo>
                      <a:pt x="294" y="331"/>
                    </a:lnTo>
                    <a:lnTo>
                      <a:pt x="294" y="333"/>
                    </a:lnTo>
                    <a:lnTo>
                      <a:pt x="298" y="334"/>
                    </a:lnTo>
                    <a:lnTo>
                      <a:pt x="308" y="336"/>
                    </a:lnTo>
                    <a:lnTo>
                      <a:pt x="308" y="336"/>
                    </a:lnTo>
                    <a:lnTo>
                      <a:pt x="311" y="338"/>
                    </a:lnTo>
                    <a:lnTo>
                      <a:pt x="315" y="341"/>
                    </a:lnTo>
                    <a:lnTo>
                      <a:pt x="320" y="346"/>
                    </a:lnTo>
                    <a:lnTo>
                      <a:pt x="324" y="349"/>
                    </a:lnTo>
                    <a:lnTo>
                      <a:pt x="324" y="349"/>
                    </a:lnTo>
                    <a:lnTo>
                      <a:pt x="328" y="349"/>
                    </a:lnTo>
                    <a:lnTo>
                      <a:pt x="333" y="347"/>
                    </a:lnTo>
                    <a:lnTo>
                      <a:pt x="337" y="344"/>
                    </a:lnTo>
                    <a:lnTo>
                      <a:pt x="339" y="338"/>
                    </a:lnTo>
                    <a:lnTo>
                      <a:pt x="339" y="338"/>
                    </a:lnTo>
                    <a:lnTo>
                      <a:pt x="341" y="333"/>
                    </a:lnTo>
                    <a:lnTo>
                      <a:pt x="346" y="330"/>
                    </a:lnTo>
                    <a:lnTo>
                      <a:pt x="346" y="330"/>
                    </a:lnTo>
                    <a:lnTo>
                      <a:pt x="353" y="330"/>
                    </a:lnTo>
                    <a:lnTo>
                      <a:pt x="363" y="330"/>
                    </a:lnTo>
                    <a:lnTo>
                      <a:pt x="363" y="330"/>
                    </a:lnTo>
                    <a:lnTo>
                      <a:pt x="373" y="328"/>
                    </a:lnTo>
                    <a:lnTo>
                      <a:pt x="383" y="325"/>
                    </a:lnTo>
                    <a:lnTo>
                      <a:pt x="383" y="325"/>
                    </a:lnTo>
                    <a:lnTo>
                      <a:pt x="385" y="323"/>
                    </a:lnTo>
                    <a:lnTo>
                      <a:pt x="386" y="318"/>
                    </a:lnTo>
                    <a:lnTo>
                      <a:pt x="389" y="311"/>
                    </a:lnTo>
                    <a:lnTo>
                      <a:pt x="389" y="311"/>
                    </a:lnTo>
                    <a:lnTo>
                      <a:pt x="392" y="308"/>
                    </a:lnTo>
                    <a:lnTo>
                      <a:pt x="398" y="307"/>
                    </a:lnTo>
                    <a:lnTo>
                      <a:pt x="410" y="304"/>
                    </a:lnTo>
                    <a:lnTo>
                      <a:pt x="410" y="304"/>
                    </a:lnTo>
                    <a:lnTo>
                      <a:pt x="425" y="298"/>
                    </a:lnTo>
                    <a:lnTo>
                      <a:pt x="440" y="292"/>
                    </a:lnTo>
                    <a:lnTo>
                      <a:pt x="440" y="292"/>
                    </a:lnTo>
                    <a:lnTo>
                      <a:pt x="444" y="292"/>
                    </a:lnTo>
                    <a:lnTo>
                      <a:pt x="454" y="292"/>
                    </a:lnTo>
                    <a:lnTo>
                      <a:pt x="473" y="295"/>
                    </a:lnTo>
                    <a:lnTo>
                      <a:pt x="473" y="295"/>
                    </a:lnTo>
                    <a:lnTo>
                      <a:pt x="501" y="301"/>
                    </a:lnTo>
                    <a:lnTo>
                      <a:pt x="515" y="304"/>
                    </a:lnTo>
                    <a:lnTo>
                      <a:pt x="524" y="307"/>
                    </a:lnTo>
                    <a:lnTo>
                      <a:pt x="524" y="307"/>
                    </a:lnTo>
                    <a:lnTo>
                      <a:pt x="530" y="310"/>
                    </a:lnTo>
                    <a:lnTo>
                      <a:pt x="537" y="311"/>
                    </a:lnTo>
                    <a:lnTo>
                      <a:pt x="537" y="311"/>
                    </a:lnTo>
                    <a:lnTo>
                      <a:pt x="538" y="304"/>
                    </a:lnTo>
                    <a:lnTo>
                      <a:pt x="540" y="301"/>
                    </a:lnTo>
                    <a:lnTo>
                      <a:pt x="541" y="301"/>
                    </a:lnTo>
                    <a:lnTo>
                      <a:pt x="541" y="301"/>
                    </a:lnTo>
                    <a:lnTo>
                      <a:pt x="541" y="299"/>
                    </a:lnTo>
                    <a:lnTo>
                      <a:pt x="543" y="295"/>
                    </a:lnTo>
                    <a:lnTo>
                      <a:pt x="543" y="286"/>
                    </a:lnTo>
                    <a:lnTo>
                      <a:pt x="541" y="272"/>
                    </a:lnTo>
                    <a:lnTo>
                      <a:pt x="541" y="272"/>
                    </a:lnTo>
                    <a:lnTo>
                      <a:pt x="540" y="265"/>
                    </a:lnTo>
                    <a:lnTo>
                      <a:pt x="540" y="260"/>
                    </a:lnTo>
                    <a:lnTo>
                      <a:pt x="540" y="257"/>
                    </a:lnTo>
                    <a:lnTo>
                      <a:pt x="540" y="257"/>
                    </a:lnTo>
                    <a:lnTo>
                      <a:pt x="543" y="254"/>
                    </a:lnTo>
                    <a:lnTo>
                      <a:pt x="546" y="252"/>
                    </a:lnTo>
                    <a:lnTo>
                      <a:pt x="551" y="247"/>
                    </a:lnTo>
                    <a:lnTo>
                      <a:pt x="551" y="247"/>
                    </a:lnTo>
                    <a:lnTo>
                      <a:pt x="556" y="247"/>
                    </a:lnTo>
                    <a:lnTo>
                      <a:pt x="562" y="247"/>
                    </a:lnTo>
                    <a:lnTo>
                      <a:pt x="567" y="246"/>
                    </a:lnTo>
                    <a:lnTo>
                      <a:pt x="573" y="246"/>
                    </a:lnTo>
                    <a:lnTo>
                      <a:pt x="573" y="246"/>
                    </a:lnTo>
                    <a:lnTo>
                      <a:pt x="576" y="243"/>
                    </a:lnTo>
                    <a:lnTo>
                      <a:pt x="576" y="241"/>
                    </a:lnTo>
                    <a:lnTo>
                      <a:pt x="573" y="236"/>
                    </a:lnTo>
                    <a:lnTo>
                      <a:pt x="573" y="236"/>
                    </a:lnTo>
                    <a:lnTo>
                      <a:pt x="572" y="233"/>
                    </a:lnTo>
                    <a:lnTo>
                      <a:pt x="573" y="230"/>
                    </a:lnTo>
                    <a:lnTo>
                      <a:pt x="576" y="226"/>
                    </a:lnTo>
                    <a:lnTo>
                      <a:pt x="576" y="226"/>
                    </a:lnTo>
                    <a:lnTo>
                      <a:pt x="576" y="223"/>
                    </a:lnTo>
                    <a:lnTo>
                      <a:pt x="578" y="220"/>
                    </a:lnTo>
                    <a:lnTo>
                      <a:pt x="579" y="215"/>
                    </a:lnTo>
                    <a:lnTo>
                      <a:pt x="580" y="210"/>
                    </a:lnTo>
                    <a:lnTo>
                      <a:pt x="580" y="210"/>
                    </a:lnTo>
                    <a:lnTo>
                      <a:pt x="583" y="207"/>
                    </a:lnTo>
                    <a:lnTo>
                      <a:pt x="585" y="207"/>
                    </a:lnTo>
                    <a:lnTo>
                      <a:pt x="591" y="210"/>
                    </a:lnTo>
                    <a:lnTo>
                      <a:pt x="591" y="210"/>
                    </a:lnTo>
                    <a:lnTo>
                      <a:pt x="595" y="211"/>
                    </a:lnTo>
                    <a:lnTo>
                      <a:pt x="601" y="210"/>
                    </a:lnTo>
                    <a:lnTo>
                      <a:pt x="612" y="208"/>
                    </a:lnTo>
                    <a:lnTo>
                      <a:pt x="612" y="208"/>
                    </a:lnTo>
                    <a:lnTo>
                      <a:pt x="620" y="207"/>
                    </a:lnTo>
                    <a:lnTo>
                      <a:pt x="622" y="207"/>
                    </a:lnTo>
                    <a:lnTo>
                      <a:pt x="624" y="204"/>
                    </a:lnTo>
                    <a:lnTo>
                      <a:pt x="624" y="204"/>
                    </a:lnTo>
                    <a:lnTo>
                      <a:pt x="625" y="201"/>
                    </a:lnTo>
                    <a:lnTo>
                      <a:pt x="624" y="194"/>
                    </a:lnTo>
                    <a:lnTo>
                      <a:pt x="624" y="184"/>
                    </a:lnTo>
                    <a:lnTo>
                      <a:pt x="624" y="184"/>
                    </a:lnTo>
                    <a:lnTo>
                      <a:pt x="625" y="179"/>
                    </a:lnTo>
                    <a:lnTo>
                      <a:pt x="630" y="176"/>
                    </a:lnTo>
                    <a:lnTo>
                      <a:pt x="638" y="169"/>
                    </a:lnTo>
                    <a:lnTo>
                      <a:pt x="638" y="169"/>
                    </a:lnTo>
                    <a:lnTo>
                      <a:pt x="641" y="166"/>
                    </a:lnTo>
                    <a:lnTo>
                      <a:pt x="646" y="163"/>
                    </a:lnTo>
                    <a:lnTo>
                      <a:pt x="653" y="160"/>
                    </a:lnTo>
                    <a:lnTo>
                      <a:pt x="653" y="160"/>
                    </a:lnTo>
                    <a:lnTo>
                      <a:pt x="656" y="159"/>
                    </a:lnTo>
                    <a:lnTo>
                      <a:pt x="657" y="155"/>
                    </a:lnTo>
                    <a:lnTo>
                      <a:pt x="657" y="155"/>
                    </a:lnTo>
                    <a:lnTo>
                      <a:pt x="656" y="153"/>
                    </a:lnTo>
                    <a:close/>
                    <a:moveTo>
                      <a:pt x="518" y="218"/>
                    </a:moveTo>
                    <a:lnTo>
                      <a:pt x="518" y="218"/>
                    </a:lnTo>
                    <a:lnTo>
                      <a:pt x="515" y="223"/>
                    </a:lnTo>
                    <a:lnTo>
                      <a:pt x="514" y="224"/>
                    </a:lnTo>
                    <a:lnTo>
                      <a:pt x="512" y="224"/>
                    </a:lnTo>
                    <a:lnTo>
                      <a:pt x="512" y="224"/>
                    </a:lnTo>
                    <a:lnTo>
                      <a:pt x="494" y="227"/>
                    </a:lnTo>
                    <a:lnTo>
                      <a:pt x="494" y="227"/>
                    </a:lnTo>
                    <a:lnTo>
                      <a:pt x="479" y="224"/>
                    </a:lnTo>
                    <a:lnTo>
                      <a:pt x="469" y="224"/>
                    </a:lnTo>
                    <a:lnTo>
                      <a:pt x="463" y="224"/>
                    </a:lnTo>
                    <a:lnTo>
                      <a:pt x="463" y="224"/>
                    </a:lnTo>
                    <a:lnTo>
                      <a:pt x="459" y="227"/>
                    </a:lnTo>
                    <a:lnTo>
                      <a:pt x="456" y="228"/>
                    </a:lnTo>
                    <a:lnTo>
                      <a:pt x="454" y="231"/>
                    </a:lnTo>
                    <a:lnTo>
                      <a:pt x="454" y="231"/>
                    </a:lnTo>
                    <a:lnTo>
                      <a:pt x="452" y="237"/>
                    </a:lnTo>
                    <a:lnTo>
                      <a:pt x="450" y="240"/>
                    </a:lnTo>
                    <a:lnTo>
                      <a:pt x="447" y="241"/>
                    </a:lnTo>
                    <a:lnTo>
                      <a:pt x="447" y="241"/>
                    </a:lnTo>
                    <a:lnTo>
                      <a:pt x="447" y="243"/>
                    </a:lnTo>
                    <a:lnTo>
                      <a:pt x="447" y="244"/>
                    </a:lnTo>
                    <a:lnTo>
                      <a:pt x="446" y="252"/>
                    </a:lnTo>
                    <a:lnTo>
                      <a:pt x="446" y="253"/>
                    </a:lnTo>
                    <a:lnTo>
                      <a:pt x="444" y="256"/>
                    </a:lnTo>
                    <a:lnTo>
                      <a:pt x="441" y="256"/>
                    </a:lnTo>
                    <a:lnTo>
                      <a:pt x="438" y="253"/>
                    </a:lnTo>
                    <a:lnTo>
                      <a:pt x="438" y="253"/>
                    </a:lnTo>
                    <a:lnTo>
                      <a:pt x="434" y="252"/>
                    </a:lnTo>
                    <a:lnTo>
                      <a:pt x="431" y="250"/>
                    </a:lnTo>
                    <a:lnTo>
                      <a:pt x="430" y="247"/>
                    </a:lnTo>
                    <a:lnTo>
                      <a:pt x="430" y="247"/>
                    </a:lnTo>
                    <a:lnTo>
                      <a:pt x="430" y="243"/>
                    </a:lnTo>
                    <a:lnTo>
                      <a:pt x="431" y="239"/>
                    </a:lnTo>
                    <a:lnTo>
                      <a:pt x="433" y="234"/>
                    </a:lnTo>
                    <a:lnTo>
                      <a:pt x="433" y="230"/>
                    </a:lnTo>
                    <a:lnTo>
                      <a:pt x="433" y="230"/>
                    </a:lnTo>
                    <a:lnTo>
                      <a:pt x="433" y="227"/>
                    </a:lnTo>
                    <a:lnTo>
                      <a:pt x="436" y="224"/>
                    </a:lnTo>
                    <a:lnTo>
                      <a:pt x="443" y="221"/>
                    </a:lnTo>
                    <a:lnTo>
                      <a:pt x="443" y="221"/>
                    </a:lnTo>
                    <a:lnTo>
                      <a:pt x="449" y="218"/>
                    </a:lnTo>
                    <a:lnTo>
                      <a:pt x="452" y="217"/>
                    </a:lnTo>
                    <a:lnTo>
                      <a:pt x="454" y="217"/>
                    </a:lnTo>
                    <a:lnTo>
                      <a:pt x="454" y="217"/>
                    </a:lnTo>
                    <a:lnTo>
                      <a:pt x="463" y="218"/>
                    </a:lnTo>
                    <a:lnTo>
                      <a:pt x="472" y="218"/>
                    </a:lnTo>
                    <a:lnTo>
                      <a:pt x="472" y="218"/>
                    </a:lnTo>
                    <a:lnTo>
                      <a:pt x="488" y="220"/>
                    </a:lnTo>
                    <a:lnTo>
                      <a:pt x="495" y="221"/>
                    </a:lnTo>
                    <a:lnTo>
                      <a:pt x="501" y="221"/>
                    </a:lnTo>
                    <a:lnTo>
                      <a:pt x="501" y="221"/>
                    </a:lnTo>
                    <a:lnTo>
                      <a:pt x="512" y="218"/>
                    </a:lnTo>
                    <a:lnTo>
                      <a:pt x="517" y="218"/>
                    </a:lnTo>
                    <a:lnTo>
                      <a:pt x="518" y="218"/>
                    </a:lnTo>
                    <a:lnTo>
                      <a:pt x="518" y="218"/>
                    </a:lnTo>
                    <a:close/>
                    <a:moveTo>
                      <a:pt x="615" y="189"/>
                    </a:moveTo>
                    <a:lnTo>
                      <a:pt x="615" y="189"/>
                    </a:lnTo>
                    <a:lnTo>
                      <a:pt x="611" y="192"/>
                    </a:lnTo>
                    <a:lnTo>
                      <a:pt x="606" y="195"/>
                    </a:lnTo>
                    <a:lnTo>
                      <a:pt x="604" y="197"/>
                    </a:lnTo>
                    <a:lnTo>
                      <a:pt x="598" y="195"/>
                    </a:lnTo>
                    <a:lnTo>
                      <a:pt x="598" y="195"/>
                    </a:lnTo>
                    <a:lnTo>
                      <a:pt x="586" y="188"/>
                    </a:lnTo>
                    <a:lnTo>
                      <a:pt x="582" y="184"/>
                    </a:lnTo>
                    <a:lnTo>
                      <a:pt x="582" y="182"/>
                    </a:lnTo>
                    <a:lnTo>
                      <a:pt x="582" y="181"/>
                    </a:lnTo>
                    <a:lnTo>
                      <a:pt x="582" y="181"/>
                    </a:lnTo>
                    <a:lnTo>
                      <a:pt x="583" y="178"/>
                    </a:lnTo>
                    <a:lnTo>
                      <a:pt x="583" y="173"/>
                    </a:lnTo>
                    <a:lnTo>
                      <a:pt x="585" y="170"/>
                    </a:lnTo>
                    <a:lnTo>
                      <a:pt x="586" y="169"/>
                    </a:lnTo>
                    <a:lnTo>
                      <a:pt x="588" y="169"/>
                    </a:lnTo>
                    <a:lnTo>
                      <a:pt x="588" y="169"/>
                    </a:lnTo>
                    <a:lnTo>
                      <a:pt x="591" y="172"/>
                    </a:lnTo>
                    <a:lnTo>
                      <a:pt x="592" y="175"/>
                    </a:lnTo>
                    <a:lnTo>
                      <a:pt x="593" y="178"/>
                    </a:lnTo>
                    <a:lnTo>
                      <a:pt x="596" y="181"/>
                    </a:lnTo>
                    <a:lnTo>
                      <a:pt x="596" y="181"/>
                    </a:lnTo>
                    <a:lnTo>
                      <a:pt x="602" y="184"/>
                    </a:lnTo>
                    <a:lnTo>
                      <a:pt x="609" y="186"/>
                    </a:lnTo>
                    <a:lnTo>
                      <a:pt x="615" y="188"/>
                    </a:lnTo>
                    <a:lnTo>
                      <a:pt x="617" y="189"/>
                    </a:lnTo>
                    <a:lnTo>
                      <a:pt x="615" y="18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2" name="Freeform 765"/>
              <p:cNvSpPr>
                <a:spLocks/>
              </p:cNvSpPr>
              <p:nvPr/>
            </p:nvSpPr>
            <p:spPr bwMode="auto">
              <a:xfrm>
                <a:off x="5733390" y="2443622"/>
                <a:ext cx="34624" cy="27699"/>
              </a:xfrm>
              <a:custGeom>
                <a:avLst/>
                <a:gdLst>
                  <a:gd name="T0" fmla="*/ 33 w 35"/>
                  <a:gd name="T1" fmla="*/ 20 h 28"/>
                  <a:gd name="T2" fmla="*/ 33 w 35"/>
                  <a:gd name="T3" fmla="*/ 20 h 28"/>
                  <a:gd name="T4" fmla="*/ 29 w 35"/>
                  <a:gd name="T5" fmla="*/ 23 h 28"/>
                  <a:gd name="T6" fmla="*/ 24 w 35"/>
                  <a:gd name="T7" fmla="*/ 26 h 28"/>
                  <a:gd name="T8" fmla="*/ 22 w 35"/>
                  <a:gd name="T9" fmla="*/ 28 h 28"/>
                  <a:gd name="T10" fmla="*/ 16 w 35"/>
                  <a:gd name="T11" fmla="*/ 26 h 28"/>
                  <a:gd name="T12" fmla="*/ 16 w 35"/>
                  <a:gd name="T13" fmla="*/ 26 h 28"/>
                  <a:gd name="T14" fmla="*/ 4 w 35"/>
                  <a:gd name="T15" fmla="*/ 19 h 28"/>
                  <a:gd name="T16" fmla="*/ 0 w 35"/>
                  <a:gd name="T17" fmla="*/ 15 h 28"/>
                  <a:gd name="T18" fmla="*/ 0 w 35"/>
                  <a:gd name="T19" fmla="*/ 13 h 28"/>
                  <a:gd name="T20" fmla="*/ 0 w 35"/>
                  <a:gd name="T21" fmla="*/ 12 h 28"/>
                  <a:gd name="T22" fmla="*/ 0 w 35"/>
                  <a:gd name="T23" fmla="*/ 12 h 28"/>
                  <a:gd name="T24" fmla="*/ 1 w 35"/>
                  <a:gd name="T25" fmla="*/ 9 h 28"/>
                  <a:gd name="T26" fmla="*/ 1 w 35"/>
                  <a:gd name="T27" fmla="*/ 4 h 28"/>
                  <a:gd name="T28" fmla="*/ 3 w 35"/>
                  <a:gd name="T29" fmla="*/ 1 h 28"/>
                  <a:gd name="T30" fmla="*/ 4 w 35"/>
                  <a:gd name="T31" fmla="*/ 0 h 28"/>
                  <a:gd name="T32" fmla="*/ 6 w 35"/>
                  <a:gd name="T33" fmla="*/ 0 h 28"/>
                  <a:gd name="T34" fmla="*/ 6 w 35"/>
                  <a:gd name="T35" fmla="*/ 0 h 28"/>
                  <a:gd name="T36" fmla="*/ 9 w 35"/>
                  <a:gd name="T37" fmla="*/ 3 h 28"/>
                  <a:gd name="T38" fmla="*/ 10 w 35"/>
                  <a:gd name="T39" fmla="*/ 6 h 28"/>
                  <a:gd name="T40" fmla="*/ 11 w 35"/>
                  <a:gd name="T41" fmla="*/ 9 h 28"/>
                  <a:gd name="T42" fmla="*/ 14 w 35"/>
                  <a:gd name="T43" fmla="*/ 12 h 28"/>
                  <a:gd name="T44" fmla="*/ 14 w 35"/>
                  <a:gd name="T45" fmla="*/ 12 h 28"/>
                  <a:gd name="T46" fmla="*/ 20 w 35"/>
                  <a:gd name="T47" fmla="*/ 15 h 28"/>
                  <a:gd name="T48" fmla="*/ 27 w 35"/>
                  <a:gd name="T49" fmla="*/ 17 h 28"/>
                  <a:gd name="T50" fmla="*/ 33 w 35"/>
                  <a:gd name="T51" fmla="*/ 19 h 28"/>
                  <a:gd name="T52" fmla="*/ 35 w 35"/>
                  <a:gd name="T53" fmla="*/ 20 h 28"/>
                  <a:gd name="T54" fmla="*/ 33 w 35"/>
                  <a:gd name="T55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5" h="28">
                    <a:moveTo>
                      <a:pt x="33" y="20"/>
                    </a:moveTo>
                    <a:lnTo>
                      <a:pt x="33" y="20"/>
                    </a:lnTo>
                    <a:lnTo>
                      <a:pt x="29" y="23"/>
                    </a:lnTo>
                    <a:lnTo>
                      <a:pt x="24" y="26"/>
                    </a:lnTo>
                    <a:lnTo>
                      <a:pt x="22" y="28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4" y="19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1" y="4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3"/>
                    </a:lnTo>
                    <a:lnTo>
                      <a:pt x="10" y="6"/>
                    </a:lnTo>
                    <a:lnTo>
                      <a:pt x="11" y="9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20" y="15"/>
                    </a:lnTo>
                    <a:lnTo>
                      <a:pt x="27" y="17"/>
                    </a:lnTo>
                    <a:lnTo>
                      <a:pt x="33" y="19"/>
                    </a:lnTo>
                    <a:lnTo>
                      <a:pt x="35" y="20"/>
                    </a:lnTo>
                    <a:lnTo>
                      <a:pt x="33" y="2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3" name="Freeform 766"/>
              <p:cNvSpPr>
                <a:spLocks/>
              </p:cNvSpPr>
              <p:nvPr/>
            </p:nvSpPr>
            <p:spPr bwMode="auto">
              <a:xfrm>
                <a:off x="5807585" y="2880875"/>
                <a:ext cx="79141" cy="104862"/>
              </a:xfrm>
              <a:custGeom>
                <a:avLst/>
                <a:gdLst>
                  <a:gd name="T0" fmla="*/ 73 w 80"/>
                  <a:gd name="T1" fmla="*/ 106 h 106"/>
                  <a:gd name="T2" fmla="*/ 68 w 80"/>
                  <a:gd name="T3" fmla="*/ 91 h 106"/>
                  <a:gd name="T4" fmla="*/ 65 w 80"/>
                  <a:gd name="T5" fmla="*/ 82 h 106"/>
                  <a:gd name="T6" fmla="*/ 62 w 80"/>
                  <a:gd name="T7" fmla="*/ 78 h 106"/>
                  <a:gd name="T8" fmla="*/ 61 w 80"/>
                  <a:gd name="T9" fmla="*/ 77 h 106"/>
                  <a:gd name="T10" fmla="*/ 60 w 80"/>
                  <a:gd name="T11" fmla="*/ 75 h 106"/>
                  <a:gd name="T12" fmla="*/ 60 w 80"/>
                  <a:gd name="T13" fmla="*/ 75 h 106"/>
                  <a:gd name="T14" fmla="*/ 58 w 80"/>
                  <a:gd name="T15" fmla="*/ 75 h 106"/>
                  <a:gd name="T16" fmla="*/ 58 w 80"/>
                  <a:gd name="T17" fmla="*/ 75 h 106"/>
                  <a:gd name="T18" fmla="*/ 57 w 80"/>
                  <a:gd name="T19" fmla="*/ 75 h 106"/>
                  <a:gd name="T20" fmla="*/ 57 w 80"/>
                  <a:gd name="T21" fmla="*/ 77 h 106"/>
                  <a:gd name="T22" fmla="*/ 57 w 80"/>
                  <a:gd name="T23" fmla="*/ 78 h 106"/>
                  <a:gd name="T24" fmla="*/ 57 w 80"/>
                  <a:gd name="T25" fmla="*/ 78 h 106"/>
                  <a:gd name="T26" fmla="*/ 55 w 80"/>
                  <a:gd name="T27" fmla="*/ 81 h 106"/>
                  <a:gd name="T28" fmla="*/ 51 w 80"/>
                  <a:gd name="T29" fmla="*/ 79 h 106"/>
                  <a:gd name="T30" fmla="*/ 49 w 80"/>
                  <a:gd name="T31" fmla="*/ 81 h 106"/>
                  <a:gd name="T32" fmla="*/ 48 w 80"/>
                  <a:gd name="T33" fmla="*/ 79 h 106"/>
                  <a:gd name="T34" fmla="*/ 44 w 80"/>
                  <a:gd name="T35" fmla="*/ 84 h 106"/>
                  <a:gd name="T36" fmla="*/ 45 w 80"/>
                  <a:gd name="T37" fmla="*/ 87 h 106"/>
                  <a:gd name="T38" fmla="*/ 44 w 80"/>
                  <a:gd name="T39" fmla="*/ 91 h 106"/>
                  <a:gd name="T40" fmla="*/ 41 w 80"/>
                  <a:gd name="T41" fmla="*/ 90 h 106"/>
                  <a:gd name="T42" fmla="*/ 39 w 80"/>
                  <a:gd name="T43" fmla="*/ 88 h 106"/>
                  <a:gd name="T44" fmla="*/ 36 w 80"/>
                  <a:gd name="T45" fmla="*/ 88 h 106"/>
                  <a:gd name="T46" fmla="*/ 33 w 80"/>
                  <a:gd name="T47" fmla="*/ 90 h 106"/>
                  <a:gd name="T48" fmla="*/ 32 w 80"/>
                  <a:gd name="T49" fmla="*/ 88 h 106"/>
                  <a:gd name="T50" fmla="*/ 31 w 80"/>
                  <a:gd name="T51" fmla="*/ 90 h 106"/>
                  <a:gd name="T52" fmla="*/ 26 w 80"/>
                  <a:gd name="T53" fmla="*/ 93 h 106"/>
                  <a:gd name="T54" fmla="*/ 19 w 80"/>
                  <a:gd name="T55" fmla="*/ 95 h 106"/>
                  <a:gd name="T56" fmla="*/ 15 w 80"/>
                  <a:gd name="T57" fmla="*/ 81 h 106"/>
                  <a:gd name="T58" fmla="*/ 13 w 80"/>
                  <a:gd name="T59" fmla="*/ 75 h 106"/>
                  <a:gd name="T60" fmla="*/ 9 w 80"/>
                  <a:gd name="T61" fmla="*/ 66 h 106"/>
                  <a:gd name="T62" fmla="*/ 7 w 80"/>
                  <a:gd name="T63" fmla="*/ 62 h 106"/>
                  <a:gd name="T64" fmla="*/ 2 w 80"/>
                  <a:gd name="T65" fmla="*/ 32 h 106"/>
                  <a:gd name="T66" fmla="*/ 2 w 80"/>
                  <a:gd name="T67" fmla="*/ 20 h 106"/>
                  <a:gd name="T68" fmla="*/ 0 w 80"/>
                  <a:gd name="T69" fmla="*/ 9 h 106"/>
                  <a:gd name="T70" fmla="*/ 0 w 80"/>
                  <a:gd name="T71" fmla="*/ 9 h 106"/>
                  <a:gd name="T72" fmla="*/ 5 w 80"/>
                  <a:gd name="T73" fmla="*/ 9 h 106"/>
                  <a:gd name="T74" fmla="*/ 7 w 80"/>
                  <a:gd name="T75" fmla="*/ 1 h 106"/>
                  <a:gd name="T76" fmla="*/ 12 w 80"/>
                  <a:gd name="T77" fmla="*/ 0 h 106"/>
                  <a:gd name="T78" fmla="*/ 15 w 80"/>
                  <a:gd name="T79" fmla="*/ 1 h 106"/>
                  <a:gd name="T80" fmla="*/ 19 w 80"/>
                  <a:gd name="T81" fmla="*/ 4 h 106"/>
                  <a:gd name="T82" fmla="*/ 23 w 80"/>
                  <a:gd name="T83" fmla="*/ 7 h 106"/>
                  <a:gd name="T84" fmla="*/ 29 w 80"/>
                  <a:gd name="T85" fmla="*/ 20 h 106"/>
                  <a:gd name="T86" fmla="*/ 31 w 80"/>
                  <a:gd name="T87" fmla="*/ 24 h 106"/>
                  <a:gd name="T88" fmla="*/ 36 w 80"/>
                  <a:gd name="T89" fmla="*/ 27 h 106"/>
                  <a:gd name="T90" fmla="*/ 62 w 80"/>
                  <a:gd name="T91" fmla="*/ 29 h 106"/>
                  <a:gd name="T92" fmla="*/ 73 w 80"/>
                  <a:gd name="T93" fmla="*/ 30 h 106"/>
                  <a:gd name="T94" fmla="*/ 73 w 80"/>
                  <a:gd name="T95" fmla="*/ 35 h 106"/>
                  <a:gd name="T96" fmla="*/ 60 w 80"/>
                  <a:gd name="T97" fmla="*/ 46 h 106"/>
                  <a:gd name="T98" fmla="*/ 55 w 80"/>
                  <a:gd name="T99" fmla="*/ 52 h 106"/>
                  <a:gd name="T100" fmla="*/ 55 w 80"/>
                  <a:gd name="T101" fmla="*/ 56 h 106"/>
                  <a:gd name="T102" fmla="*/ 67 w 80"/>
                  <a:gd name="T103" fmla="*/ 64 h 106"/>
                  <a:gd name="T104" fmla="*/ 73 w 80"/>
                  <a:gd name="T105" fmla="*/ 66 h 106"/>
                  <a:gd name="T106" fmla="*/ 80 w 80"/>
                  <a:gd name="T107" fmla="*/ 75 h 106"/>
                  <a:gd name="T108" fmla="*/ 78 w 80"/>
                  <a:gd name="T109" fmla="*/ 84 h 106"/>
                  <a:gd name="T110" fmla="*/ 80 w 80"/>
                  <a:gd name="T111" fmla="*/ 94 h 106"/>
                  <a:gd name="T112" fmla="*/ 80 w 80"/>
                  <a:gd name="T113" fmla="*/ 95 h 106"/>
                  <a:gd name="T114" fmla="*/ 78 w 80"/>
                  <a:gd name="T115" fmla="*/ 98 h 106"/>
                  <a:gd name="T116" fmla="*/ 73 w 80"/>
                  <a:gd name="T117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0" h="106">
                    <a:moveTo>
                      <a:pt x="73" y="106"/>
                    </a:moveTo>
                    <a:lnTo>
                      <a:pt x="73" y="106"/>
                    </a:lnTo>
                    <a:lnTo>
                      <a:pt x="68" y="91"/>
                    </a:lnTo>
                    <a:lnTo>
                      <a:pt x="68" y="91"/>
                    </a:lnTo>
                    <a:lnTo>
                      <a:pt x="65" y="82"/>
                    </a:lnTo>
                    <a:lnTo>
                      <a:pt x="65" y="82"/>
                    </a:lnTo>
                    <a:lnTo>
                      <a:pt x="62" y="78"/>
                    </a:lnTo>
                    <a:lnTo>
                      <a:pt x="62" y="78"/>
                    </a:lnTo>
                    <a:lnTo>
                      <a:pt x="62" y="77"/>
                    </a:lnTo>
                    <a:lnTo>
                      <a:pt x="61" y="77"/>
                    </a:lnTo>
                    <a:lnTo>
                      <a:pt x="61" y="77"/>
                    </a:lnTo>
                    <a:lnTo>
                      <a:pt x="60" y="75"/>
                    </a:lnTo>
                    <a:lnTo>
                      <a:pt x="60" y="75"/>
                    </a:lnTo>
                    <a:lnTo>
                      <a:pt x="60" y="75"/>
                    </a:lnTo>
                    <a:lnTo>
                      <a:pt x="60" y="75"/>
                    </a:lnTo>
                    <a:lnTo>
                      <a:pt x="58" y="75"/>
                    </a:lnTo>
                    <a:lnTo>
                      <a:pt x="58" y="75"/>
                    </a:lnTo>
                    <a:lnTo>
                      <a:pt x="58" y="75"/>
                    </a:lnTo>
                    <a:lnTo>
                      <a:pt x="58" y="75"/>
                    </a:lnTo>
                    <a:lnTo>
                      <a:pt x="57" y="75"/>
                    </a:lnTo>
                    <a:lnTo>
                      <a:pt x="57" y="75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7" y="78"/>
                    </a:lnTo>
                    <a:lnTo>
                      <a:pt x="57" y="78"/>
                    </a:lnTo>
                    <a:lnTo>
                      <a:pt x="57" y="78"/>
                    </a:lnTo>
                    <a:lnTo>
                      <a:pt x="55" y="81"/>
                    </a:lnTo>
                    <a:lnTo>
                      <a:pt x="55" y="81"/>
                    </a:lnTo>
                    <a:lnTo>
                      <a:pt x="51" y="79"/>
                    </a:lnTo>
                    <a:lnTo>
                      <a:pt x="51" y="79"/>
                    </a:lnTo>
                    <a:lnTo>
                      <a:pt x="49" y="81"/>
                    </a:lnTo>
                    <a:lnTo>
                      <a:pt x="49" y="81"/>
                    </a:lnTo>
                    <a:lnTo>
                      <a:pt x="48" y="79"/>
                    </a:lnTo>
                    <a:lnTo>
                      <a:pt x="48" y="79"/>
                    </a:lnTo>
                    <a:lnTo>
                      <a:pt x="45" y="81"/>
                    </a:lnTo>
                    <a:lnTo>
                      <a:pt x="44" y="84"/>
                    </a:lnTo>
                    <a:lnTo>
                      <a:pt x="44" y="84"/>
                    </a:lnTo>
                    <a:lnTo>
                      <a:pt x="45" y="87"/>
                    </a:lnTo>
                    <a:lnTo>
                      <a:pt x="44" y="91"/>
                    </a:lnTo>
                    <a:lnTo>
                      <a:pt x="44" y="91"/>
                    </a:lnTo>
                    <a:lnTo>
                      <a:pt x="41" y="90"/>
                    </a:lnTo>
                    <a:lnTo>
                      <a:pt x="41" y="90"/>
                    </a:lnTo>
                    <a:lnTo>
                      <a:pt x="39" y="88"/>
                    </a:lnTo>
                    <a:lnTo>
                      <a:pt x="39" y="88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33" y="90"/>
                    </a:lnTo>
                    <a:lnTo>
                      <a:pt x="33" y="90"/>
                    </a:lnTo>
                    <a:lnTo>
                      <a:pt x="32" y="88"/>
                    </a:lnTo>
                    <a:lnTo>
                      <a:pt x="32" y="88"/>
                    </a:lnTo>
                    <a:lnTo>
                      <a:pt x="31" y="90"/>
                    </a:lnTo>
                    <a:lnTo>
                      <a:pt x="31" y="90"/>
                    </a:lnTo>
                    <a:lnTo>
                      <a:pt x="26" y="93"/>
                    </a:lnTo>
                    <a:lnTo>
                      <a:pt x="19" y="95"/>
                    </a:lnTo>
                    <a:lnTo>
                      <a:pt x="19" y="95"/>
                    </a:lnTo>
                    <a:lnTo>
                      <a:pt x="18" y="87"/>
                    </a:lnTo>
                    <a:lnTo>
                      <a:pt x="15" y="81"/>
                    </a:lnTo>
                    <a:lnTo>
                      <a:pt x="15" y="81"/>
                    </a:lnTo>
                    <a:lnTo>
                      <a:pt x="13" y="75"/>
                    </a:lnTo>
                    <a:lnTo>
                      <a:pt x="10" y="71"/>
                    </a:lnTo>
                    <a:lnTo>
                      <a:pt x="9" y="66"/>
                    </a:lnTo>
                    <a:lnTo>
                      <a:pt x="7" y="62"/>
                    </a:lnTo>
                    <a:lnTo>
                      <a:pt x="7" y="62"/>
                    </a:lnTo>
                    <a:lnTo>
                      <a:pt x="5" y="48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2" y="20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6" y="7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5" y="1"/>
                    </a:lnTo>
                    <a:lnTo>
                      <a:pt x="19" y="4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7"/>
                    </a:lnTo>
                    <a:lnTo>
                      <a:pt x="28" y="16"/>
                    </a:lnTo>
                    <a:lnTo>
                      <a:pt x="29" y="20"/>
                    </a:lnTo>
                    <a:lnTo>
                      <a:pt x="31" y="24"/>
                    </a:lnTo>
                    <a:lnTo>
                      <a:pt x="31" y="24"/>
                    </a:lnTo>
                    <a:lnTo>
                      <a:pt x="32" y="26"/>
                    </a:lnTo>
                    <a:lnTo>
                      <a:pt x="36" y="27"/>
                    </a:lnTo>
                    <a:lnTo>
                      <a:pt x="49" y="27"/>
                    </a:lnTo>
                    <a:lnTo>
                      <a:pt x="62" y="29"/>
                    </a:lnTo>
                    <a:lnTo>
                      <a:pt x="73" y="30"/>
                    </a:lnTo>
                    <a:lnTo>
                      <a:pt x="73" y="30"/>
                    </a:lnTo>
                    <a:lnTo>
                      <a:pt x="74" y="32"/>
                    </a:lnTo>
                    <a:lnTo>
                      <a:pt x="73" y="35"/>
                    </a:lnTo>
                    <a:lnTo>
                      <a:pt x="67" y="40"/>
                    </a:lnTo>
                    <a:lnTo>
                      <a:pt x="60" y="46"/>
                    </a:lnTo>
                    <a:lnTo>
                      <a:pt x="55" y="52"/>
                    </a:lnTo>
                    <a:lnTo>
                      <a:pt x="55" y="52"/>
                    </a:lnTo>
                    <a:lnTo>
                      <a:pt x="54" y="53"/>
                    </a:lnTo>
                    <a:lnTo>
                      <a:pt x="55" y="56"/>
                    </a:lnTo>
                    <a:lnTo>
                      <a:pt x="61" y="59"/>
                    </a:lnTo>
                    <a:lnTo>
                      <a:pt x="67" y="64"/>
                    </a:lnTo>
                    <a:lnTo>
                      <a:pt x="73" y="66"/>
                    </a:lnTo>
                    <a:lnTo>
                      <a:pt x="73" y="66"/>
                    </a:lnTo>
                    <a:lnTo>
                      <a:pt x="80" y="75"/>
                    </a:lnTo>
                    <a:lnTo>
                      <a:pt x="80" y="75"/>
                    </a:lnTo>
                    <a:lnTo>
                      <a:pt x="78" y="79"/>
                    </a:lnTo>
                    <a:lnTo>
                      <a:pt x="78" y="84"/>
                    </a:lnTo>
                    <a:lnTo>
                      <a:pt x="78" y="8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5"/>
                    </a:lnTo>
                    <a:lnTo>
                      <a:pt x="80" y="95"/>
                    </a:lnTo>
                    <a:lnTo>
                      <a:pt x="78" y="98"/>
                    </a:lnTo>
                    <a:lnTo>
                      <a:pt x="77" y="100"/>
                    </a:lnTo>
                    <a:lnTo>
                      <a:pt x="73" y="1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4" name="Freeform 767"/>
              <p:cNvSpPr>
                <a:spLocks/>
              </p:cNvSpPr>
              <p:nvPr/>
            </p:nvSpPr>
            <p:spPr bwMode="auto">
              <a:xfrm>
                <a:off x="5807585" y="2880875"/>
                <a:ext cx="79141" cy="104862"/>
              </a:xfrm>
              <a:custGeom>
                <a:avLst/>
                <a:gdLst>
                  <a:gd name="T0" fmla="*/ 73 w 80"/>
                  <a:gd name="T1" fmla="*/ 106 h 106"/>
                  <a:gd name="T2" fmla="*/ 68 w 80"/>
                  <a:gd name="T3" fmla="*/ 91 h 106"/>
                  <a:gd name="T4" fmla="*/ 65 w 80"/>
                  <a:gd name="T5" fmla="*/ 82 h 106"/>
                  <a:gd name="T6" fmla="*/ 62 w 80"/>
                  <a:gd name="T7" fmla="*/ 78 h 106"/>
                  <a:gd name="T8" fmla="*/ 61 w 80"/>
                  <a:gd name="T9" fmla="*/ 77 h 106"/>
                  <a:gd name="T10" fmla="*/ 60 w 80"/>
                  <a:gd name="T11" fmla="*/ 75 h 106"/>
                  <a:gd name="T12" fmla="*/ 60 w 80"/>
                  <a:gd name="T13" fmla="*/ 75 h 106"/>
                  <a:gd name="T14" fmla="*/ 58 w 80"/>
                  <a:gd name="T15" fmla="*/ 75 h 106"/>
                  <a:gd name="T16" fmla="*/ 58 w 80"/>
                  <a:gd name="T17" fmla="*/ 75 h 106"/>
                  <a:gd name="T18" fmla="*/ 57 w 80"/>
                  <a:gd name="T19" fmla="*/ 75 h 106"/>
                  <a:gd name="T20" fmla="*/ 57 w 80"/>
                  <a:gd name="T21" fmla="*/ 77 h 106"/>
                  <a:gd name="T22" fmla="*/ 57 w 80"/>
                  <a:gd name="T23" fmla="*/ 78 h 106"/>
                  <a:gd name="T24" fmla="*/ 57 w 80"/>
                  <a:gd name="T25" fmla="*/ 78 h 106"/>
                  <a:gd name="T26" fmla="*/ 55 w 80"/>
                  <a:gd name="T27" fmla="*/ 81 h 106"/>
                  <a:gd name="T28" fmla="*/ 51 w 80"/>
                  <a:gd name="T29" fmla="*/ 79 h 106"/>
                  <a:gd name="T30" fmla="*/ 49 w 80"/>
                  <a:gd name="T31" fmla="*/ 81 h 106"/>
                  <a:gd name="T32" fmla="*/ 48 w 80"/>
                  <a:gd name="T33" fmla="*/ 79 h 106"/>
                  <a:gd name="T34" fmla="*/ 44 w 80"/>
                  <a:gd name="T35" fmla="*/ 84 h 106"/>
                  <a:gd name="T36" fmla="*/ 45 w 80"/>
                  <a:gd name="T37" fmla="*/ 87 h 106"/>
                  <a:gd name="T38" fmla="*/ 44 w 80"/>
                  <a:gd name="T39" fmla="*/ 91 h 106"/>
                  <a:gd name="T40" fmla="*/ 41 w 80"/>
                  <a:gd name="T41" fmla="*/ 90 h 106"/>
                  <a:gd name="T42" fmla="*/ 39 w 80"/>
                  <a:gd name="T43" fmla="*/ 88 h 106"/>
                  <a:gd name="T44" fmla="*/ 36 w 80"/>
                  <a:gd name="T45" fmla="*/ 88 h 106"/>
                  <a:gd name="T46" fmla="*/ 33 w 80"/>
                  <a:gd name="T47" fmla="*/ 90 h 106"/>
                  <a:gd name="T48" fmla="*/ 32 w 80"/>
                  <a:gd name="T49" fmla="*/ 88 h 106"/>
                  <a:gd name="T50" fmla="*/ 31 w 80"/>
                  <a:gd name="T51" fmla="*/ 90 h 106"/>
                  <a:gd name="T52" fmla="*/ 26 w 80"/>
                  <a:gd name="T53" fmla="*/ 93 h 106"/>
                  <a:gd name="T54" fmla="*/ 19 w 80"/>
                  <a:gd name="T55" fmla="*/ 95 h 106"/>
                  <a:gd name="T56" fmla="*/ 15 w 80"/>
                  <a:gd name="T57" fmla="*/ 81 h 106"/>
                  <a:gd name="T58" fmla="*/ 13 w 80"/>
                  <a:gd name="T59" fmla="*/ 75 h 106"/>
                  <a:gd name="T60" fmla="*/ 9 w 80"/>
                  <a:gd name="T61" fmla="*/ 66 h 106"/>
                  <a:gd name="T62" fmla="*/ 7 w 80"/>
                  <a:gd name="T63" fmla="*/ 62 h 106"/>
                  <a:gd name="T64" fmla="*/ 2 w 80"/>
                  <a:gd name="T65" fmla="*/ 32 h 106"/>
                  <a:gd name="T66" fmla="*/ 2 w 80"/>
                  <a:gd name="T67" fmla="*/ 20 h 106"/>
                  <a:gd name="T68" fmla="*/ 0 w 80"/>
                  <a:gd name="T69" fmla="*/ 9 h 106"/>
                  <a:gd name="T70" fmla="*/ 0 w 80"/>
                  <a:gd name="T71" fmla="*/ 9 h 106"/>
                  <a:gd name="T72" fmla="*/ 5 w 80"/>
                  <a:gd name="T73" fmla="*/ 9 h 106"/>
                  <a:gd name="T74" fmla="*/ 7 w 80"/>
                  <a:gd name="T75" fmla="*/ 1 h 106"/>
                  <a:gd name="T76" fmla="*/ 12 w 80"/>
                  <a:gd name="T77" fmla="*/ 0 h 106"/>
                  <a:gd name="T78" fmla="*/ 15 w 80"/>
                  <a:gd name="T79" fmla="*/ 1 h 106"/>
                  <a:gd name="T80" fmla="*/ 19 w 80"/>
                  <a:gd name="T81" fmla="*/ 4 h 106"/>
                  <a:gd name="T82" fmla="*/ 23 w 80"/>
                  <a:gd name="T83" fmla="*/ 7 h 106"/>
                  <a:gd name="T84" fmla="*/ 29 w 80"/>
                  <a:gd name="T85" fmla="*/ 20 h 106"/>
                  <a:gd name="T86" fmla="*/ 31 w 80"/>
                  <a:gd name="T87" fmla="*/ 24 h 106"/>
                  <a:gd name="T88" fmla="*/ 36 w 80"/>
                  <a:gd name="T89" fmla="*/ 27 h 106"/>
                  <a:gd name="T90" fmla="*/ 62 w 80"/>
                  <a:gd name="T91" fmla="*/ 29 h 106"/>
                  <a:gd name="T92" fmla="*/ 73 w 80"/>
                  <a:gd name="T93" fmla="*/ 30 h 106"/>
                  <a:gd name="T94" fmla="*/ 73 w 80"/>
                  <a:gd name="T95" fmla="*/ 35 h 106"/>
                  <a:gd name="T96" fmla="*/ 60 w 80"/>
                  <a:gd name="T97" fmla="*/ 46 h 106"/>
                  <a:gd name="T98" fmla="*/ 55 w 80"/>
                  <a:gd name="T99" fmla="*/ 52 h 106"/>
                  <a:gd name="T100" fmla="*/ 55 w 80"/>
                  <a:gd name="T101" fmla="*/ 56 h 106"/>
                  <a:gd name="T102" fmla="*/ 67 w 80"/>
                  <a:gd name="T103" fmla="*/ 64 h 106"/>
                  <a:gd name="T104" fmla="*/ 73 w 80"/>
                  <a:gd name="T105" fmla="*/ 66 h 106"/>
                  <a:gd name="T106" fmla="*/ 80 w 80"/>
                  <a:gd name="T107" fmla="*/ 75 h 106"/>
                  <a:gd name="T108" fmla="*/ 78 w 80"/>
                  <a:gd name="T109" fmla="*/ 84 h 106"/>
                  <a:gd name="T110" fmla="*/ 80 w 80"/>
                  <a:gd name="T111" fmla="*/ 94 h 106"/>
                  <a:gd name="T112" fmla="*/ 80 w 80"/>
                  <a:gd name="T113" fmla="*/ 95 h 106"/>
                  <a:gd name="T114" fmla="*/ 78 w 80"/>
                  <a:gd name="T115" fmla="*/ 98 h 106"/>
                  <a:gd name="T116" fmla="*/ 73 w 80"/>
                  <a:gd name="T117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0" h="106">
                    <a:moveTo>
                      <a:pt x="73" y="106"/>
                    </a:moveTo>
                    <a:lnTo>
                      <a:pt x="73" y="106"/>
                    </a:lnTo>
                    <a:lnTo>
                      <a:pt x="68" y="91"/>
                    </a:lnTo>
                    <a:lnTo>
                      <a:pt x="68" y="91"/>
                    </a:lnTo>
                    <a:lnTo>
                      <a:pt x="65" y="82"/>
                    </a:lnTo>
                    <a:lnTo>
                      <a:pt x="65" y="82"/>
                    </a:lnTo>
                    <a:lnTo>
                      <a:pt x="62" y="78"/>
                    </a:lnTo>
                    <a:lnTo>
                      <a:pt x="62" y="78"/>
                    </a:lnTo>
                    <a:lnTo>
                      <a:pt x="62" y="77"/>
                    </a:lnTo>
                    <a:lnTo>
                      <a:pt x="61" y="77"/>
                    </a:lnTo>
                    <a:lnTo>
                      <a:pt x="61" y="77"/>
                    </a:lnTo>
                    <a:lnTo>
                      <a:pt x="60" y="75"/>
                    </a:lnTo>
                    <a:lnTo>
                      <a:pt x="60" y="75"/>
                    </a:lnTo>
                    <a:lnTo>
                      <a:pt x="60" y="75"/>
                    </a:lnTo>
                    <a:lnTo>
                      <a:pt x="60" y="75"/>
                    </a:lnTo>
                    <a:lnTo>
                      <a:pt x="58" y="75"/>
                    </a:lnTo>
                    <a:lnTo>
                      <a:pt x="58" y="75"/>
                    </a:lnTo>
                    <a:lnTo>
                      <a:pt x="58" y="75"/>
                    </a:lnTo>
                    <a:lnTo>
                      <a:pt x="58" y="75"/>
                    </a:lnTo>
                    <a:lnTo>
                      <a:pt x="57" y="75"/>
                    </a:lnTo>
                    <a:lnTo>
                      <a:pt x="57" y="75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7" y="78"/>
                    </a:lnTo>
                    <a:lnTo>
                      <a:pt x="57" y="78"/>
                    </a:lnTo>
                    <a:lnTo>
                      <a:pt x="57" y="78"/>
                    </a:lnTo>
                    <a:lnTo>
                      <a:pt x="55" y="81"/>
                    </a:lnTo>
                    <a:lnTo>
                      <a:pt x="55" y="81"/>
                    </a:lnTo>
                    <a:lnTo>
                      <a:pt x="51" y="79"/>
                    </a:lnTo>
                    <a:lnTo>
                      <a:pt x="51" y="79"/>
                    </a:lnTo>
                    <a:lnTo>
                      <a:pt x="49" y="81"/>
                    </a:lnTo>
                    <a:lnTo>
                      <a:pt x="49" y="81"/>
                    </a:lnTo>
                    <a:lnTo>
                      <a:pt x="48" y="79"/>
                    </a:lnTo>
                    <a:lnTo>
                      <a:pt x="48" y="79"/>
                    </a:lnTo>
                    <a:lnTo>
                      <a:pt x="45" y="81"/>
                    </a:lnTo>
                    <a:lnTo>
                      <a:pt x="44" y="84"/>
                    </a:lnTo>
                    <a:lnTo>
                      <a:pt x="44" y="84"/>
                    </a:lnTo>
                    <a:lnTo>
                      <a:pt x="45" y="87"/>
                    </a:lnTo>
                    <a:lnTo>
                      <a:pt x="44" y="91"/>
                    </a:lnTo>
                    <a:lnTo>
                      <a:pt x="44" y="91"/>
                    </a:lnTo>
                    <a:lnTo>
                      <a:pt x="41" y="90"/>
                    </a:lnTo>
                    <a:lnTo>
                      <a:pt x="41" y="90"/>
                    </a:lnTo>
                    <a:lnTo>
                      <a:pt x="39" y="88"/>
                    </a:lnTo>
                    <a:lnTo>
                      <a:pt x="39" y="88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33" y="90"/>
                    </a:lnTo>
                    <a:lnTo>
                      <a:pt x="33" y="90"/>
                    </a:lnTo>
                    <a:lnTo>
                      <a:pt x="32" y="88"/>
                    </a:lnTo>
                    <a:lnTo>
                      <a:pt x="32" y="88"/>
                    </a:lnTo>
                    <a:lnTo>
                      <a:pt x="31" y="90"/>
                    </a:lnTo>
                    <a:lnTo>
                      <a:pt x="31" y="90"/>
                    </a:lnTo>
                    <a:lnTo>
                      <a:pt x="26" y="93"/>
                    </a:lnTo>
                    <a:lnTo>
                      <a:pt x="19" y="95"/>
                    </a:lnTo>
                    <a:lnTo>
                      <a:pt x="19" y="95"/>
                    </a:lnTo>
                    <a:lnTo>
                      <a:pt x="18" y="87"/>
                    </a:lnTo>
                    <a:lnTo>
                      <a:pt x="15" y="81"/>
                    </a:lnTo>
                    <a:lnTo>
                      <a:pt x="15" y="81"/>
                    </a:lnTo>
                    <a:lnTo>
                      <a:pt x="13" y="75"/>
                    </a:lnTo>
                    <a:lnTo>
                      <a:pt x="10" y="71"/>
                    </a:lnTo>
                    <a:lnTo>
                      <a:pt x="9" y="66"/>
                    </a:lnTo>
                    <a:lnTo>
                      <a:pt x="7" y="62"/>
                    </a:lnTo>
                    <a:lnTo>
                      <a:pt x="7" y="62"/>
                    </a:lnTo>
                    <a:lnTo>
                      <a:pt x="5" y="48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2" y="20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6" y="7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5" y="1"/>
                    </a:lnTo>
                    <a:lnTo>
                      <a:pt x="19" y="4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7"/>
                    </a:lnTo>
                    <a:lnTo>
                      <a:pt x="28" y="16"/>
                    </a:lnTo>
                    <a:lnTo>
                      <a:pt x="29" y="20"/>
                    </a:lnTo>
                    <a:lnTo>
                      <a:pt x="31" y="24"/>
                    </a:lnTo>
                    <a:lnTo>
                      <a:pt x="31" y="24"/>
                    </a:lnTo>
                    <a:lnTo>
                      <a:pt x="32" y="26"/>
                    </a:lnTo>
                    <a:lnTo>
                      <a:pt x="36" y="27"/>
                    </a:lnTo>
                    <a:lnTo>
                      <a:pt x="49" y="27"/>
                    </a:lnTo>
                    <a:lnTo>
                      <a:pt x="62" y="29"/>
                    </a:lnTo>
                    <a:lnTo>
                      <a:pt x="73" y="30"/>
                    </a:lnTo>
                    <a:lnTo>
                      <a:pt x="73" y="30"/>
                    </a:lnTo>
                    <a:lnTo>
                      <a:pt x="74" y="32"/>
                    </a:lnTo>
                    <a:lnTo>
                      <a:pt x="73" y="35"/>
                    </a:lnTo>
                    <a:lnTo>
                      <a:pt x="67" y="40"/>
                    </a:lnTo>
                    <a:lnTo>
                      <a:pt x="60" y="46"/>
                    </a:lnTo>
                    <a:lnTo>
                      <a:pt x="55" y="52"/>
                    </a:lnTo>
                    <a:lnTo>
                      <a:pt x="55" y="52"/>
                    </a:lnTo>
                    <a:lnTo>
                      <a:pt x="54" y="53"/>
                    </a:lnTo>
                    <a:lnTo>
                      <a:pt x="55" y="56"/>
                    </a:lnTo>
                    <a:lnTo>
                      <a:pt x="61" y="59"/>
                    </a:lnTo>
                    <a:lnTo>
                      <a:pt x="67" y="64"/>
                    </a:lnTo>
                    <a:lnTo>
                      <a:pt x="73" y="66"/>
                    </a:lnTo>
                    <a:lnTo>
                      <a:pt x="73" y="66"/>
                    </a:lnTo>
                    <a:lnTo>
                      <a:pt x="80" y="75"/>
                    </a:lnTo>
                    <a:lnTo>
                      <a:pt x="80" y="75"/>
                    </a:lnTo>
                    <a:lnTo>
                      <a:pt x="78" y="79"/>
                    </a:lnTo>
                    <a:lnTo>
                      <a:pt x="78" y="84"/>
                    </a:lnTo>
                    <a:lnTo>
                      <a:pt x="78" y="8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5"/>
                    </a:lnTo>
                    <a:lnTo>
                      <a:pt x="80" y="95"/>
                    </a:lnTo>
                    <a:lnTo>
                      <a:pt x="78" y="98"/>
                    </a:lnTo>
                    <a:lnTo>
                      <a:pt x="77" y="100"/>
                    </a:lnTo>
                    <a:lnTo>
                      <a:pt x="73" y="10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5" name="Freeform 768"/>
              <p:cNvSpPr>
                <a:spLocks/>
              </p:cNvSpPr>
              <p:nvPr/>
            </p:nvSpPr>
            <p:spPr bwMode="auto">
              <a:xfrm>
                <a:off x="5819456" y="2878896"/>
                <a:ext cx="6925" cy="5936"/>
              </a:xfrm>
              <a:custGeom>
                <a:avLst/>
                <a:gdLst>
                  <a:gd name="T0" fmla="*/ 7 w 7"/>
                  <a:gd name="T1" fmla="*/ 6 h 6"/>
                  <a:gd name="T2" fmla="*/ 7 w 7"/>
                  <a:gd name="T3" fmla="*/ 6 h 6"/>
                  <a:gd name="T4" fmla="*/ 3 w 7"/>
                  <a:gd name="T5" fmla="*/ 3 h 6"/>
                  <a:gd name="T6" fmla="*/ 0 w 7"/>
                  <a:gd name="T7" fmla="*/ 2 h 6"/>
                  <a:gd name="T8" fmla="*/ 0 w 7"/>
                  <a:gd name="T9" fmla="*/ 2 h 6"/>
                  <a:gd name="T10" fmla="*/ 1 w 7"/>
                  <a:gd name="T11" fmla="*/ 0 h 6"/>
                  <a:gd name="T12" fmla="*/ 1 w 7"/>
                  <a:gd name="T13" fmla="*/ 0 h 6"/>
                  <a:gd name="T14" fmla="*/ 4 w 7"/>
                  <a:gd name="T15" fmla="*/ 3 h 6"/>
                  <a:gd name="T16" fmla="*/ 7 w 7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6">
                    <a:moveTo>
                      <a:pt x="7" y="6"/>
                    </a:moveTo>
                    <a:lnTo>
                      <a:pt x="7" y="6"/>
                    </a:lnTo>
                    <a:lnTo>
                      <a:pt x="3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4" y="3"/>
                    </a:lnTo>
                    <a:lnTo>
                      <a:pt x="7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6" name="Freeform 769"/>
              <p:cNvSpPr>
                <a:spLocks/>
              </p:cNvSpPr>
              <p:nvPr/>
            </p:nvSpPr>
            <p:spPr bwMode="auto">
              <a:xfrm>
                <a:off x="5819456" y="2878896"/>
                <a:ext cx="6925" cy="5936"/>
              </a:xfrm>
              <a:custGeom>
                <a:avLst/>
                <a:gdLst>
                  <a:gd name="T0" fmla="*/ 7 w 7"/>
                  <a:gd name="T1" fmla="*/ 6 h 6"/>
                  <a:gd name="T2" fmla="*/ 7 w 7"/>
                  <a:gd name="T3" fmla="*/ 6 h 6"/>
                  <a:gd name="T4" fmla="*/ 3 w 7"/>
                  <a:gd name="T5" fmla="*/ 3 h 6"/>
                  <a:gd name="T6" fmla="*/ 0 w 7"/>
                  <a:gd name="T7" fmla="*/ 2 h 6"/>
                  <a:gd name="T8" fmla="*/ 0 w 7"/>
                  <a:gd name="T9" fmla="*/ 2 h 6"/>
                  <a:gd name="T10" fmla="*/ 1 w 7"/>
                  <a:gd name="T11" fmla="*/ 0 h 6"/>
                  <a:gd name="T12" fmla="*/ 1 w 7"/>
                  <a:gd name="T13" fmla="*/ 0 h 6"/>
                  <a:gd name="T14" fmla="*/ 4 w 7"/>
                  <a:gd name="T15" fmla="*/ 3 h 6"/>
                  <a:gd name="T16" fmla="*/ 7 w 7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6">
                    <a:moveTo>
                      <a:pt x="7" y="6"/>
                    </a:moveTo>
                    <a:lnTo>
                      <a:pt x="7" y="6"/>
                    </a:lnTo>
                    <a:lnTo>
                      <a:pt x="3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4" y="3"/>
                    </a:lnTo>
                    <a:lnTo>
                      <a:pt x="7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7" name="Freeform 770"/>
              <p:cNvSpPr>
                <a:spLocks/>
              </p:cNvSpPr>
              <p:nvPr/>
            </p:nvSpPr>
            <p:spPr bwMode="auto">
              <a:xfrm>
                <a:off x="5807585" y="2881864"/>
                <a:ext cx="6925" cy="7914"/>
              </a:xfrm>
              <a:custGeom>
                <a:avLst/>
                <a:gdLst>
                  <a:gd name="T0" fmla="*/ 5 w 7"/>
                  <a:gd name="T1" fmla="*/ 8 h 8"/>
                  <a:gd name="T2" fmla="*/ 5 w 7"/>
                  <a:gd name="T3" fmla="*/ 8 h 8"/>
                  <a:gd name="T4" fmla="*/ 0 w 7"/>
                  <a:gd name="T5" fmla="*/ 8 h 8"/>
                  <a:gd name="T6" fmla="*/ 0 w 7"/>
                  <a:gd name="T7" fmla="*/ 8 h 8"/>
                  <a:gd name="T8" fmla="*/ 0 w 7"/>
                  <a:gd name="T9" fmla="*/ 5 h 8"/>
                  <a:gd name="T10" fmla="*/ 3 w 7"/>
                  <a:gd name="T11" fmla="*/ 3 h 8"/>
                  <a:gd name="T12" fmla="*/ 7 w 7"/>
                  <a:gd name="T13" fmla="*/ 0 h 8"/>
                  <a:gd name="T14" fmla="*/ 7 w 7"/>
                  <a:gd name="T15" fmla="*/ 0 h 8"/>
                  <a:gd name="T16" fmla="*/ 6 w 7"/>
                  <a:gd name="T17" fmla="*/ 6 h 8"/>
                  <a:gd name="T18" fmla="*/ 5 w 7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8">
                    <a:moveTo>
                      <a:pt x="5" y="8"/>
                    </a:moveTo>
                    <a:lnTo>
                      <a:pt x="5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6" y="6"/>
                    </a:lnTo>
                    <a:lnTo>
                      <a:pt x="5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8" name="Freeform 771"/>
              <p:cNvSpPr>
                <a:spLocks/>
              </p:cNvSpPr>
              <p:nvPr/>
            </p:nvSpPr>
            <p:spPr bwMode="auto">
              <a:xfrm>
                <a:off x="5807585" y="2881864"/>
                <a:ext cx="6925" cy="7914"/>
              </a:xfrm>
              <a:custGeom>
                <a:avLst/>
                <a:gdLst>
                  <a:gd name="T0" fmla="*/ 5 w 7"/>
                  <a:gd name="T1" fmla="*/ 8 h 8"/>
                  <a:gd name="T2" fmla="*/ 5 w 7"/>
                  <a:gd name="T3" fmla="*/ 8 h 8"/>
                  <a:gd name="T4" fmla="*/ 0 w 7"/>
                  <a:gd name="T5" fmla="*/ 8 h 8"/>
                  <a:gd name="T6" fmla="*/ 0 w 7"/>
                  <a:gd name="T7" fmla="*/ 8 h 8"/>
                  <a:gd name="T8" fmla="*/ 0 w 7"/>
                  <a:gd name="T9" fmla="*/ 5 h 8"/>
                  <a:gd name="T10" fmla="*/ 3 w 7"/>
                  <a:gd name="T11" fmla="*/ 3 h 8"/>
                  <a:gd name="T12" fmla="*/ 7 w 7"/>
                  <a:gd name="T13" fmla="*/ 0 h 8"/>
                  <a:gd name="T14" fmla="*/ 7 w 7"/>
                  <a:gd name="T15" fmla="*/ 0 h 8"/>
                  <a:gd name="T16" fmla="*/ 6 w 7"/>
                  <a:gd name="T17" fmla="*/ 6 h 8"/>
                  <a:gd name="T18" fmla="*/ 5 w 7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8">
                    <a:moveTo>
                      <a:pt x="5" y="8"/>
                    </a:moveTo>
                    <a:lnTo>
                      <a:pt x="5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6" y="6"/>
                    </a:lnTo>
                    <a:lnTo>
                      <a:pt x="5" y="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9" name="Freeform 772"/>
              <p:cNvSpPr>
                <a:spLocks/>
              </p:cNvSpPr>
              <p:nvPr/>
            </p:nvSpPr>
            <p:spPr bwMode="auto">
              <a:xfrm>
                <a:off x="5884747" y="2963972"/>
                <a:ext cx="1979" cy="9893"/>
              </a:xfrm>
              <a:custGeom>
                <a:avLst/>
                <a:gdLst>
                  <a:gd name="T0" fmla="*/ 2 w 2"/>
                  <a:gd name="T1" fmla="*/ 10 h 10"/>
                  <a:gd name="T2" fmla="*/ 2 w 2"/>
                  <a:gd name="T3" fmla="*/ 10 h 10"/>
                  <a:gd name="T4" fmla="*/ 0 w 2"/>
                  <a:gd name="T5" fmla="*/ 0 h 10"/>
                  <a:gd name="T6" fmla="*/ 0 w 2"/>
                  <a:gd name="T7" fmla="*/ 0 h 10"/>
                  <a:gd name="T8" fmla="*/ 2 w 2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0">
                    <a:moveTo>
                      <a:pt x="2" y="10"/>
                    </a:moveTo>
                    <a:lnTo>
                      <a:pt x="2" y="1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20" name="Freeform 773"/>
              <p:cNvSpPr>
                <a:spLocks/>
              </p:cNvSpPr>
              <p:nvPr/>
            </p:nvSpPr>
            <p:spPr bwMode="auto">
              <a:xfrm>
                <a:off x="5884747" y="2963972"/>
                <a:ext cx="1979" cy="9893"/>
              </a:xfrm>
              <a:custGeom>
                <a:avLst/>
                <a:gdLst>
                  <a:gd name="T0" fmla="*/ 2 w 2"/>
                  <a:gd name="T1" fmla="*/ 10 h 10"/>
                  <a:gd name="T2" fmla="*/ 2 w 2"/>
                  <a:gd name="T3" fmla="*/ 10 h 10"/>
                  <a:gd name="T4" fmla="*/ 0 w 2"/>
                  <a:gd name="T5" fmla="*/ 0 h 10"/>
                  <a:gd name="T6" fmla="*/ 0 w 2"/>
                  <a:gd name="T7" fmla="*/ 0 h 10"/>
                  <a:gd name="T8" fmla="*/ 2 w 2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0">
                    <a:moveTo>
                      <a:pt x="2" y="10"/>
                    </a:moveTo>
                    <a:lnTo>
                      <a:pt x="2" y="1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58" name="Freeform 812"/>
              <p:cNvSpPr>
                <a:spLocks/>
              </p:cNvSpPr>
              <p:nvPr/>
            </p:nvSpPr>
            <p:spPr bwMode="auto">
              <a:xfrm>
                <a:off x="5628529" y="2583108"/>
                <a:ext cx="30667" cy="7914"/>
              </a:xfrm>
              <a:custGeom>
                <a:avLst/>
                <a:gdLst>
                  <a:gd name="T0" fmla="*/ 31 w 31"/>
                  <a:gd name="T1" fmla="*/ 1 h 8"/>
                  <a:gd name="T2" fmla="*/ 31 w 31"/>
                  <a:gd name="T3" fmla="*/ 1 h 8"/>
                  <a:gd name="T4" fmla="*/ 25 w 31"/>
                  <a:gd name="T5" fmla="*/ 7 h 8"/>
                  <a:gd name="T6" fmla="*/ 20 w 31"/>
                  <a:gd name="T7" fmla="*/ 8 h 8"/>
                  <a:gd name="T8" fmla="*/ 16 w 31"/>
                  <a:gd name="T9" fmla="*/ 8 h 8"/>
                  <a:gd name="T10" fmla="*/ 16 w 31"/>
                  <a:gd name="T11" fmla="*/ 8 h 8"/>
                  <a:gd name="T12" fmla="*/ 3 w 31"/>
                  <a:gd name="T13" fmla="*/ 7 h 8"/>
                  <a:gd name="T14" fmla="*/ 0 w 31"/>
                  <a:gd name="T15" fmla="*/ 5 h 8"/>
                  <a:gd name="T16" fmla="*/ 0 w 31"/>
                  <a:gd name="T17" fmla="*/ 5 h 8"/>
                  <a:gd name="T18" fmla="*/ 3 w 31"/>
                  <a:gd name="T19" fmla="*/ 4 h 8"/>
                  <a:gd name="T20" fmla="*/ 3 w 31"/>
                  <a:gd name="T21" fmla="*/ 4 h 8"/>
                  <a:gd name="T22" fmla="*/ 10 w 31"/>
                  <a:gd name="T23" fmla="*/ 1 h 8"/>
                  <a:gd name="T24" fmla="*/ 20 w 31"/>
                  <a:gd name="T25" fmla="*/ 1 h 8"/>
                  <a:gd name="T26" fmla="*/ 29 w 31"/>
                  <a:gd name="T27" fmla="*/ 0 h 8"/>
                  <a:gd name="T28" fmla="*/ 31 w 31"/>
                  <a:gd name="T29" fmla="*/ 1 h 8"/>
                  <a:gd name="T30" fmla="*/ 31 w 31"/>
                  <a:gd name="T31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" h="8">
                    <a:moveTo>
                      <a:pt x="31" y="1"/>
                    </a:moveTo>
                    <a:lnTo>
                      <a:pt x="31" y="1"/>
                    </a:lnTo>
                    <a:lnTo>
                      <a:pt x="25" y="7"/>
                    </a:lnTo>
                    <a:lnTo>
                      <a:pt x="20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3" y="7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0" y="1"/>
                    </a:lnTo>
                    <a:lnTo>
                      <a:pt x="20" y="1"/>
                    </a:lnTo>
                    <a:lnTo>
                      <a:pt x="29" y="0"/>
                    </a:lnTo>
                    <a:lnTo>
                      <a:pt x="31" y="1"/>
                    </a:lnTo>
                    <a:lnTo>
                      <a:pt x="31" y="1"/>
                    </a:lnTo>
                  </a:path>
                </a:pathLst>
              </a:custGeom>
              <a:grpFill/>
              <a:ln w="3175"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59" name="Freeform 813"/>
              <p:cNvSpPr>
                <a:spLocks noEditPoints="1"/>
              </p:cNvSpPr>
              <p:nvPr/>
            </p:nvSpPr>
            <p:spPr bwMode="auto">
              <a:xfrm>
                <a:off x="6420926" y="2667195"/>
                <a:ext cx="44517" cy="82109"/>
              </a:xfrm>
              <a:custGeom>
                <a:avLst/>
                <a:gdLst>
                  <a:gd name="T0" fmla="*/ 0 w 45"/>
                  <a:gd name="T1" fmla="*/ 71 h 83"/>
                  <a:gd name="T2" fmla="*/ 4 w 45"/>
                  <a:gd name="T3" fmla="*/ 83 h 83"/>
                  <a:gd name="T4" fmla="*/ 3 w 45"/>
                  <a:gd name="T5" fmla="*/ 83 h 83"/>
                  <a:gd name="T6" fmla="*/ 2 w 45"/>
                  <a:gd name="T7" fmla="*/ 78 h 83"/>
                  <a:gd name="T8" fmla="*/ 0 w 45"/>
                  <a:gd name="T9" fmla="*/ 72 h 83"/>
                  <a:gd name="T10" fmla="*/ 0 w 45"/>
                  <a:gd name="T11" fmla="*/ 71 h 83"/>
                  <a:gd name="T12" fmla="*/ 4 w 45"/>
                  <a:gd name="T13" fmla="*/ 64 h 83"/>
                  <a:gd name="T14" fmla="*/ 7 w 45"/>
                  <a:gd name="T15" fmla="*/ 58 h 83"/>
                  <a:gd name="T16" fmla="*/ 7 w 45"/>
                  <a:gd name="T17" fmla="*/ 54 h 83"/>
                  <a:gd name="T18" fmla="*/ 7 w 45"/>
                  <a:gd name="T19" fmla="*/ 51 h 83"/>
                  <a:gd name="T20" fmla="*/ 4 w 45"/>
                  <a:gd name="T21" fmla="*/ 43 h 83"/>
                  <a:gd name="T22" fmla="*/ 2 w 45"/>
                  <a:gd name="T23" fmla="*/ 35 h 83"/>
                  <a:gd name="T24" fmla="*/ 2 w 45"/>
                  <a:gd name="T25" fmla="*/ 35 h 83"/>
                  <a:gd name="T26" fmla="*/ 2 w 45"/>
                  <a:gd name="T27" fmla="*/ 35 h 83"/>
                  <a:gd name="T28" fmla="*/ 4 w 45"/>
                  <a:gd name="T29" fmla="*/ 35 h 83"/>
                  <a:gd name="T30" fmla="*/ 7 w 45"/>
                  <a:gd name="T31" fmla="*/ 36 h 83"/>
                  <a:gd name="T32" fmla="*/ 9 w 45"/>
                  <a:gd name="T33" fmla="*/ 36 h 83"/>
                  <a:gd name="T34" fmla="*/ 10 w 45"/>
                  <a:gd name="T35" fmla="*/ 33 h 83"/>
                  <a:gd name="T36" fmla="*/ 12 w 45"/>
                  <a:gd name="T37" fmla="*/ 30 h 83"/>
                  <a:gd name="T38" fmla="*/ 10 w 45"/>
                  <a:gd name="T39" fmla="*/ 28 h 83"/>
                  <a:gd name="T40" fmla="*/ 9 w 45"/>
                  <a:gd name="T41" fmla="*/ 23 h 83"/>
                  <a:gd name="T42" fmla="*/ 7 w 45"/>
                  <a:gd name="T43" fmla="*/ 19 h 83"/>
                  <a:gd name="T44" fmla="*/ 4 w 45"/>
                  <a:gd name="T45" fmla="*/ 16 h 83"/>
                  <a:gd name="T46" fmla="*/ 4 w 45"/>
                  <a:gd name="T47" fmla="*/ 16 h 83"/>
                  <a:gd name="T48" fmla="*/ 3 w 45"/>
                  <a:gd name="T49" fmla="*/ 16 h 83"/>
                  <a:gd name="T50" fmla="*/ 19 w 45"/>
                  <a:gd name="T51" fmla="*/ 6 h 83"/>
                  <a:gd name="T52" fmla="*/ 22 w 45"/>
                  <a:gd name="T53" fmla="*/ 4 h 83"/>
                  <a:gd name="T54" fmla="*/ 30 w 45"/>
                  <a:gd name="T55" fmla="*/ 0 h 83"/>
                  <a:gd name="T56" fmla="*/ 33 w 45"/>
                  <a:gd name="T57" fmla="*/ 6 h 83"/>
                  <a:gd name="T58" fmla="*/ 39 w 45"/>
                  <a:gd name="T59" fmla="*/ 16 h 83"/>
                  <a:gd name="T60" fmla="*/ 41 w 45"/>
                  <a:gd name="T61" fmla="*/ 22 h 83"/>
                  <a:gd name="T62" fmla="*/ 41 w 45"/>
                  <a:gd name="T63" fmla="*/ 33 h 83"/>
                  <a:gd name="T64" fmla="*/ 42 w 45"/>
                  <a:gd name="T65" fmla="*/ 43 h 83"/>
                  <a:gd name="T66" fmla="*/ 45 w 45"/>
                  <a:gd name="T67" fmla="*/ 51 h 83"/>
                  <a:gd name="T68" fmla="*/ 45 w 45"/>
                  <a:gd name="T69" fmla="*/ 56 h 83"/>
                  <a:gd name="T70" fmla="*/ 45 w 45"/>
                  <a:gd name="T71" fmla="*/ 61 h 83"/>
                  <a:gd name="T72" fmla="*/ 38 w 45"/>
                  <a:gd name="T73" fmla="*/ 68 h 83"/>
                  <a:gd name="T74" fmla="*/ 35 w 45"/>
                  <a:gd name="T75" fmla="*/ 72 h 83"/>
                  <a:gd name="T76" fmla="*/ 33 w 45"/>
                  <a:gd name="T77" fmla="*/ 72 h 83"/>
                  <a:gd name="T78" fmla="*/ 28 w 45"/>
                  <a:gd name="T79" fmla="*/ 72 h 83"/>
                  <a:gd name="T80" fmla="*/ 19 w 45"/>
                  <a:gd name="T81" fmla="*/ 72 h 83"/>
                  <a:gd name="T82" fmla="*/ 16 w 45"/>
                  <a:gd name="T83" fmla="*/ 75 h 83"/>
                  <a:gd name="T84" fmla="*/ 9 w 45"/>
                  <a:gd name="T85" fmla="*/ 81 h 83"/>
                  <a:gd name="T86" fmla="*/ 6 w 45"/>
                  <a:gd name="T87" fmla="*/ 83 h 83"/>
                  <a:gd name="T88" fmla="*/ 4 w 45"/>
                  <a:gd name="T8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5" h="83">
                    <a:moveTo>
                      <a:pt x="0" y="71"/>
                    </a:moveTo>
                    <a:lnTo>
                      <a:pt x="0" y="71"/>
                    </a:lnTo>
                    <a:lnTo>
                      <a:pt x="0" y="71"/>
                    </a:lnTo>
                    <a:close/>
                    <a:moveTo>
                      <a:pt x="4" y="83"/>
                    </a:moveTo>
                    <a:lnTo>
                      <a:pt x="4" y="83"/>
                    </a:lnTo>
                    <a:lnTo>
                      <a:pt x="3" y="83"/>
                    </a:lnTo>
                    <a:lnTo>
                      <a:pt x="3" y="83"/>
                    </a:lnTo>
                    <a:lnTo>
                      <a:pt x="2" y="78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7" y="58"/>
                    </a:lnTo>
                    <a:lnTo>
                      <a:pt x="7" y="58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1"/>
                    </a:lnTo>
                    <a:lnTo>
                      <a:pt x="7" y="51"/>
                    </a:lnTo>
                    <a:lnTo>
                      <a:pt x="4" y="43"/>
                    </a:lnTo>
                    <a:lnTo>
                      <a:pt x="4" y="43"/>
                    </a:lnTo>
                    <a:lnTo>
                      <a:pt x="2" y="35"/>
                    </a:lnTo>
                    <a:lnTo>
                      <a:pt x="2" y="35"/>
                    </a:lnTo>
                    <a:lnTo>
                      <a:pt x="2" y="35"/>
                    </a:lnTo>
                    <a:lnTo>
                      <a:pt x="2" y="35"/>
                    </a:lnTo>
                    <a:lnTo>
                      <a:pt x="2" y="35"/>
                    </a:lnTo>
                    <a:lnTo>
                      <a:pt x="4" y="35"/>
                    </a:lnTo>
                    <a:lnTo>
                      <a:pt x="4" y="35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10" y="33"/>
                    </a:lnTo>
                    <a:lnTo>
                      <a:pt x="10" y="33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0" y="28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15" y="7"/>
                    </a:lnTo>
                    <a:lnTo>
                      <a:pt x="19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3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9" y="16"/>
                    </a:lnTo>
                    <a:lnTo>
                      <a:pt x="39" y="16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1" y="33"/>
                    </a:lnTo>
                    <a:lnTo>
                      <a:pt x="41" y="33"/>
                    </a:lnTo>
                    <a:lnTo>
                      <a:pt x="42" y="43"/>
                    </a:lnTo>
                    <a:lnTo>
                      <a:pt x="42" y="43"/>
                    </a:lnTo>
                    <a:lnTo>
                      <a:pt x="45" y="51"/>
                    </a:lnTo>
                    <a:lnTo>
                      <a:pt x="45" y="56"/>
                    </a:lnTo>
                    <a:lnTo>
                      <a:pt x="45" y="56"/>
                    </a:lnTo>
                    <a:lnTo>
                      <a:pt x="45" y="61"/>
                    </a:lnTo>
                    <a:lnTo>
                      <a:pt x="45" y="61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35" y="71"/>
                    </a:lnTo>
                    <a:lnTo>
                      <a:pt x="35" y="72"/>
                    </a:lnTo>
                    <a:lnTo>
                      <a:pt x="33" y="72"/>
                    </a:lnTo>
                    <a:lnTo>
                      <a:pt x="33" y="72"/>
                    </a:lnTo>
                    <a:lnTo>
                      <a:pt x="33" y="72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19" y="72"/>
                    </a:lnTo>
                    <a:lnTo>
                      <a:pt x="19" y="72"/>
                    </a:lnTo>
                    <a:lnTo>
                      <a:pt x="16" y="75"/>
                    </a:lnTo>
                    <a:lnTo>
                      <a:pt x="16" y="75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6" y="83"/>
                    </a:lnTo>
                    <a:lnTo>
                      <a:pt x="4" y="83"/>
                    </a:lnTo>
                    <a:lnTo>
                      <a:pt x="4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60" name="Freeform 814"/>
              <p:cNvSpPr>
                <a:spLocks/>
              </p:cNvSpPr>
              <p:nvPr/>
            </p:nvSpPr>
            <p:spPr bwMode="auto">
              <a:xfrm>
                <a:off x="6420926" y="273743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61" name="Freeform 815"/>
              <p:cNvSpPr>
                <a:spLocks/>
              </p:cNvSpPr>
              <p:nvPr/>
            </p:nvSpPr>
            <p:spPr bwMode="auto">
              <a:xfrm>
                <a:off x="6420926" y="2667195"/>
                <a:ext cx="44517" cy="82109"/>
              </a:xfrm>
              <a:custGeom>
                <a:avLst/>
                <a:gdLst>
                  <a:gd name="T0" fmla="*/ 4 w 45"/>
                  <a:gd name="T1" fmla="*/ 83 h 83"/>
                  <a:gd name="T2" fmla="*/ 3 w 45"/>
                  <a:gd name="T3" fmla="*/ 83 h 83"/>
                  <a:gd name="T4" fmla="*/ 0 w 45"/>
                  <a:gd name="T5" fmla="*/ 72 h 83"/>
                  <a:gd name="T6" fmla="*/ 0 w 45"/>
                  <a:gd name="T7" fmla="*/ 71 h 83"/>
                  <a:gd name="T8" fmla="*/ 0 w 45"/>
                  <a:gd name="T9" fmla="*/ 71 h 83"/>
                  <a:gd name="T10" fmla="*/ 4 w 45"/>
                  <a:gd name="T11" fmla="*/ 64 h 83"/>
                  <a:gd name="T12" fmla="*/ 7 w 45"/>
                  <a:gd name="T13" fmla="*/ 58 h 83"/>
                  <a:gd name="T14" fmla="*/ 7 w 45"/>
                  <a:gd name="T15" fmla="*/ 54 h 83"/>
                  <a:gd name="T16" fmla="*/ 7 w 45"/>
                  <a:gd name="T17" fmla="*/ 51 h 83"/>
                  <a:gd name="T18" fmla="*/ 4 w 45"/>
                  <a:gd name="T19" fmla="*/ 43 h 83"/>
                  <a:gd name="T20" fmla="*/ 2 w 45"/>
                  <a:gd name="T21" fmla="*/ 35 h 83"/>
                  <a:gd name="T22" fmla="*/ 2 w 45"/>
                  <a:gd name="T23" fmla="*/ 35 h 83"/>
                  <a:gd name="T24" fmla="*/ 4 w 45"/>
                  <a:gd name="T25" fmla="*/ 35 h 83"/>
                  <a:gd name="T26" fmla="*/ 7 w 45"/>
                  <a:gd name="T27" fmla="*/ 36 h 83"/>
                  <a:gd name="T28" fmla="*/ 7 w 45"/>
                  <a:gd name="T29" fmla="*/ 36 h 83"/>
                  <a:gd name="T30" fmla="*/ 9 w 45"/>
                  <a:gd name="T31" fmla="*/ 36 h 83"/>
                  <a:gd name="T32" fmla="*/ 10 w 45"/>
                  <a:gd name="T33" fmla="*/ 33 h 83"/>
                  <a:gd name="T34" fmla="*/ 12 w 45"/>
                  <a:gd name="T35" fmla="*/ 30 h 83"/>
                  <a:gd name="T36" fmla="*/ 9 w 45"/>
                  <a:gd name="T37" fmla="*/ 23 h 83"/>
                  <a:gd name="T38" fmla="*/ 7 w 45"/>
                  <a:gd name="T39" fmla="*/ 19 h 83"/>
                  <a:gd name="T40" fmla="*/ 4 w 45"/>
                  <a:gd name="T41" fmla="*/ 16 h 83"/>
                  <a:gd name="T42" fmla="*/ 4 w 45"/>
                  <a:gd name="T43" fmla="*/ 16 h 83"/>
                  <a:gd name="T44" fmla="*/ 3 w 45"/>
                  <a:gd name="T45" fmla="*/ 16 h 83"/>
                  <a:gd name="T46" fmla="*/ 15 w 45"/>
                  <a:gd name="T47" fmla="*/ 7 h 83"/>
                  <a:gd name="T48" fmla="*/ 22 w 45"/>
                  <a:gd name="T49" fmla="*/ 4 h 83"/>
                  <a:gd name="T50" fmla="*/ 26 w 45"/>
                  <a:gd name="T51" fmla="*/ 3 h 83"/>
                  <a:gd name="T52" fmla="*/ 30 w 45"/>
                  <a:gd name="T53" fmla="*/ 0 h 83"/>
                  <a:gd name="T54" fmla="*/ 33 w 45"/>
                  <a:gd name="T55" fmla="*/ 6 h 83"/>
                  <a:gd name="T56" fmla="*/ 39 w 45"/>
                  <a:gd name="T57" fmla="*/ 16 h 83"/>
                  <a:gd name="T58" fmla="*/ 41 w 45"/>
                  <a:gd name="T59" fmla="*/ 22 h 83"/>
                  <a:gd name="T60" fmla="*/ 41 w 45"/>
                  <a:gd name="T61" fmla="*/ 33 h 83"/>
                  <a:gd name="T62" fmla="*/ 42 w 45"/>
                  <a:gd name="T63" fmla="*/ 43 h 83"/>
                  <a:gd name="T64" fmla="*/ 45 w 45"/>
                  <a:gd name="T65" fmla="*/ 56 h 83"/>
                  <a:gd name="T66" fmla="*/ 45 w 45"/>
                  <a:gd name="T67" fmla="*/ 61 h 83"/>
                  <a:gd name="T68" fmla="*/ 38 w 45"/>
                  <a:gd name="T69" fmla="*/ 68 h 83"/>
                  <a:gd name="T70" fmla="*/ 35 w 45"/>
                  <a:gd name="T71" fmla="*/ 71 h 83"/>
                  <a:gd name="T72" fmla="*/ 33 w 45"/>
                  <a:gd name="T73" fmla="*/ 72 h 83"/>
                  <a:gd name="T74" fmla="*/ 33 w 45"/>
                  <a:gd name="T75" fmla="*/ 72 h 83"/>
                  <a:gd name="T76" fmla="*/ 28 w 45"/>
                  <a:gd name="T77" fmla="*/ 72 h 83"/>
                  <a:gd name="T78" fmla="*/ 19 w 45"/>
                  <a:gd name="T79" fmla="*/ 72 h 83"/>
                  <a:gd name="T80" fmla="*/ 16 w 45"/>
                  <a:gd name="T81" fmla="*/ 75 h 83"/>
                  <a:gd name="T82" fmla="*/ 9 w 45"/>
                  <a:gd name="T83" fmla="*/ 81 h 83"/>
                  <a:gd name="T84" fmla="*/ 4 w 45"/>
                  <a:gd name="T85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5" h="83">
                    <a:moveTo>
                      <a:pt x="4" y="83"/>
                    </a:moveTo>
                    <a:lnTo>
                      <a:pt x="4" y="83"/>
                    </a:lnTo>
                    <a:lnTo>
                      <a:pt x="3" y="83"/>
                    </a:lnTo>
                    <a:lnTo>
                      <a:pt x="3" y="83"/>
                    </a:lnTo>
                    <a:lnTo>
                      <a:pt x="2" y="78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7" y="58"/>
                    </a:lnTo>
                    <a:lnTo>
                      <a:pt x="7" y="58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1"/>
                    </a:lnTo>
                    <a:lnTo>
                      <a:pt x="7" y="51"/>
                    </a:lnTo>
                    <a:lnTo>
                      <a:pt x="4" y="43"/>
                    </a:lnTo>
                    <a:lnTo>
                      <a:pt x="4" y="43"/>
                    </a:lnTo>
                    <a:lnTo>
                      <a:pt x="2" y="35"/>
                    </a:lnTo>
                    <a:lnTo>
                      <a:pt x="2" y="35"/>
                    </a:lnTo>
                    <a:lnTo>
                      <a:pt x="2" y="35"/>
                    </a:lnTo>
                    <a:lnTo>
                      <a:pt x="2" y="35"/>
                    </a:lnTo>
                    <a:lnTo>
                      <a:pt x="2" y="35"/>
                    </a:lnTo>
                    <a:lnTo>
                      <a:pt x="4" y="35"/>
                    </a:lnTo>
                    <a:lnTo>
                      <a:pt x="4" y="35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10" y="33"/>
                    </a:lnTo>
                    <a:lnTo>
                      <a:pt x="10" y="33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0" y="28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15" y="7"/>
                    </a:lnTo>
                    <a:lnTo>
                      <a:pt x="19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3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9" y="16"/>
                    </a:lnTo>
                    <a:lnTo>
                      <a:pt x="39" y="16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1" y="33"/>
                    </a:lnTo>
                    <a:lnTo>
                      <a:pt x="41" y="33"/>
                    </a:lnTo>
                    <a:lnTo>
                      <a:pt x="42" y="43"/>
                    </a:lnTo>
                    <a:lnTo>
                      <a:pt x="42" y="43"/>
                    </a:lnTo>
                    <a:lnTo>
                      <a:pt x="45" y="51"/>
                    </a:lnTo>
                    <a:lnTo>
                      <a:pt x="45" y="56"/>
                    </a:lnTo>
                    <a:lnTo>
                      <a:pt x="45" y="56"/>
                    </a:lnTo>
                    <a:lnTo>
                      <a:pt x="45" y="61"/>
                    </a:lnTo>
                    <a:lnTo>
                      <a:pt x="45" y="61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35" y="71"/>
                    </a:lnTo>
                    <a:lnTo>
                      <a:pt x="35" y="72"/>
                    </a:lnTo>
                    <a:lnTo>
                      <a:pt x="33" y="72"/>
                    </a:lnTo>
                    <a:lnTo>
                      <a:pt x="33" y="72"/>
                    </a:lnTo>
                    <a:lnTo>
                      <a:pt x="33" y="72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19" y="72"/>
                    </a:lnTo>
                    <a:lnTo>
                      <a:pt x="19" y="72"/>
                    </a:lnTo>
                    <a:lnTo>
                      <a:pt x="16" y="75"/>
                    </a:lnTo>
                    <a:lnTo>
                      <a:pt x="16" y="75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6" y="83"/>
                    </a:lnTo>
                    <a:lnTo>
                      <a:pt x="4" y="83"/>
                    </a:lnTo>
                    <a:lnTo>
                      <a:pt x="4" y="8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82" name="Freeform 836"/>
              <p:cNvSpPr>
                <a:spLocks/>
              </p:cNvSpPr>
              <p:nvPr/>
            </p:nvSpPr>
            <p:spPr bwMode="auto">
              <a:xfrm>
                <a:off x="5682938" y="3178642"/>
                <a:ext cx="34624" cy="57377"/>
              </a:xfrm>
              <a:custGeom>
                <a:avLst/>
                <a:gdLst>
                  <a:gd name="T0" fmla="*/ 12 w 35"/>
                  <a:gd name="T1" fmla="*/ 58 h 58"/>
                  <a:gd name="T2" fmla="*/ 12 w 35"/>
                  <a:gd name="T3" fmla="*/ 58 h 58"/>
                  <a:gd name="T4" fmla="*/ 7 w 35"/>
                  <a:gd name="T5" fmla="*/ 57 h 58"/>
                  <a:gd name="T6" fmla="*/ 5 w 35"/>
                  <a:gd name="T7" fmla="*/ 54 h 58"/>
                  <a:gd name="T8" fmla="*/ 3 w 35"/>
                  <a:gd name="T9" fmla="*/ 49 h 58"/>
                  <a:gd name="T10" fmla="*/ 2 w 35"/>
                  <a:gd name="T11" fmla="*/ 44 h 58"/>
                  <a:gd name="T12" fmla="*/ 0 w 35"/>
                  <a:gd name="T13" fmla="*/ 32 h 58"/>
                  <a:gd name="T14" fmla="*/ 2 w 35"/>
                  <a:gd name="T15" fmla="*/ 22 h 58"/>
                  <a:gd name="T16" fmla="*/ 2 w 35"/>
                  <a:gd name="T17" fmla="*/ 22 h 58"/>
                  <a:gd name="T18" fmla="*/ 5 w 35"/>
                  <a:gd name="T19" fmla="*/ 16 h 58"/>
                  <a:gd name="T20" fmla="*/ 3 w 35"/>
                  <a:gd name="T21" fmla="*/ 12 h 58"/>
                  <a:gd name="T22" fmla="*/ 3 w 35"/>
                  <a:gd name="T23" fmla="*/ 12 h 58"/>
                  <a:gd name="T24" fmla="*/ 3 w 35"/>
                  <a:gd name="T25" fmla="*/ 10 h 58"/>
                  <a:gd name="T26" fmla="*/ 3 w 35"/>
                  <a:gd name="T27" fmla="*/ 9 h 58"/>
                  <a:gd name="T28" fmla="*/ 6 w 35"/>
                  <a:gd name="T29" fmla="*/ 9 h 58"/>
                  <a:gd name="T30" fmla="*/ 9 w 35"/>
                  <a:gd name="T31" fmla="*/ 7 h 58"/>
                  <a:gd name="T32" fmla="*/ 9 w 35"/>
                  <a:gd name="T33" fmla="*/ 7 h 58"/>
                  <a:gd name="T34" fmla="*/ 10 w 35"/>
                  <a:gd name="T35" fmla="*/ 4 h 58"/>
                  <a:gd name="T36" fmla="*/ 10 w 35"/>
                  <a:gd name="T37" fmla="*/ 3 h 58"/>
                  <a:gd name="T38" fmla="*/ 10 w 35"/>
                  <a:gd name="T39" fmla="*/ 0 h 58"/>
                  <a:gd name="T40" fmla="*/ 12 w 35"/>
                  <a:gd name="T41" fmla="*/ 0 h 58"/>
                  <a:gd name="T42" fmla="*/ 12 w 35"/>
                  <a:gd name="T43" fmla="*/ 0 h 58"/>
                  <a:gd name="T44" fmla="*/ 16 w 35"/>
                  <a:gd name="T45" fmla="*/ 3 h 58"/>
                  <a:gd name="T46" fmla="*/ 16 w 35"/>
                  <a:gd name="T47" fmla="*/ 3 h 58"/>
                  <a:gd name="T48" fmla="*/ 22 w 35"/>
                  <a:gd name="T49" fmla="*/ 9 h 58"/>
                  <a:gd name="T50" fmla="*/ 29 w 35"/>
                  <a:gd name="T51" fmla="*/ 17 h 58"/>
                  <a:gd name="T52" fmla="*/ 33 w 35"/>
                  <a:gd name="T53" fmla="*/ 26 h 58"/>
                  <a:gd name="T54" fmla="*/ 35 w 35"/>
                  <a:gd name="T55" fmla="*/ 32 h 58"/>
                  <a:gd name="T56" fmla="*/ 35 w 35"/>
                  <a:gd name="T57" fmla="*/ 32 h 58"/>
                  <a:gd name="T58" fmla="*/ 33 w 35"/>
                  <a:gd name="T59" fmla="*/ 38 h 58"/>
                  <a:gd name="T60" fmla="*/ 32 w 35"/>
                  <a:gd name="T61" fmla="*/ 44 h 58"/>
                  <a:gd name="T62" fmla="*/ 31 w 35"/>
                  <a:gd name="T63" fmla="*/ 48 h 58"/>
                  <a:gd name="T64" fmla="*/ 28 w 35"/>
                  <a:gd name="T65" fmla="*/ 51 h 58"/>
                  <a:gd name="T66" fmla="*/ 28 w 35"/>
                  <a:gd name="T67" fmla="*/ 51 h 58"/>
                  <a:gd name="T68" fmla="*/ 25 w 35"/>
                  <a:gd name="T69" fmla="*/ 52 h 58"/>
                  <a:gd name="T70" fmla="*/ 20 w 35"/>
                  <a:gd name="T71" fmla="*/ 54 h 58"/>
                  <a:gd name="T72" fmla="*/ 13 w 35"/>
                  <a:gd name="T73" fmla="*/ 58 h 58"/>
                  <a:gd name="T74" fmla="*/ 13 w 35"/>
                  <a:gd name="T75" fmla="*/ 58 h 58"/>
                  <a:gd name="T76" fmla="*/ 12 w 35"/>
                  <a:gd name="T77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" h="58">
                    <a:moveTo>
                      <a:pt x="12" y="58"/>
                    </a:moveTo>
                    <a:lnTo>
                      <a:pt x="12" y="58"/>
                    </a:lnTo>
                    <a:lnTo>
                      <a:pt x="7" y="57"/>
                    </a:lnTo>
                    <a:lnTo>
                      <a:pt x="5" y="54"/>
                    </a:lnTo>
                    <a:lnTo>
                      <a:pt x="3" y="49"/>
                    </a:lnTo>
                    <a:lnTo>
                      <a:pt x="2" y="44"/>
                    </a:lnTo>
                    <a:lnTo>
                      <a:pt x="0" y="3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5" y="16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3" y="10"/>
                    </a:lnTo>
                    <a:lnTo>
                      <a:pt x="3" y="9"/>
                    </a:lnTo>
                    <a:lnTo>
                      <a:pt x="6" y="9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0" y="4"/>
                    </a:lnTo>
                    <a:lnTo>
                      <a:pt x="10" y="3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22" y="9"/>
                    </a:lnTo>
                    <a:lnTo>
                      <a:pt x="29" y="17"/>
                    </a:lnTo>
                    <a:lnTo>
                      <a:pt x="33" y="26"/>
                    </a:lnTo>
                    <a:lnTo>
                      <a:pt x="35" y="32"/>
                    </a:lnTo>
                    <a:lnTo>
                      <a:pt x="35" y="32"/>
                    </a:lnTo>
                    <a:lnTo>
                      <a:pt x="33" y="38"/>
                    </a:lnTo>
                    <a:lnTo>
                      <a:pt x="32" y="44"/>
                    </a:lnTo>
                    <a:lnTo>
                      <a:pt x="31" y="48"/>
                    </a:lnTo>
                    <a:lnTo>
                      <a:pt x="28" y="51"/>
                    </a:lnTo>
                    <a:lnTo>
                      <a:pt x="28" y="51"/>
                    </a:lnTo>
                    <a:lnTo>
                      <a:pt x="25" y="52"/>
                    </a:lnTo>
                    <a:lnTo>
                      <a:pt x="20" y="54"/>
                    </a:lnTo>
                    <a:lnTo>
                      <a:pt x="13" y="58"/>
                    </a:lnTo>
                    <a:lnTo>
                      <a:pt x="13" y="58"/>
                    </a:lnTo>
                    <a:lnTo>
                      <a:pt x="12" y="5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83" name="Freeform 837"/>
              <p:cNvSpPr>
                <a:spLocks/>
              </p:cNvSpPr>
              <p:nvPr/>
            </p:nvSpPr>
            <p:spPr bwMode="auto">
              <a:xfrm>
                <a:off x="5682938" y="3178642"/>
                <a:ext cx="34624" cy="57377"/>
              </a:xfrm>
              <a:custGeom>
                <a:avLst/>
                <a:gdLst>
                  <a:gd name="T0" fmla="*/ 12 w 35"/>
                  <a:gd name="T1" fmla="*/ 58 h 58"/>
                  <a:gd name="T2" fmla="*/ 12 w 35"/>
                  <a:gd name="T3" fmla="*/ 58 h 58"/>
                  <a:gd name="T4" fmla="*/ 7 w 35"/>
                  <a:gd name="T5" fmla="*/ 57 h 58"/>
                  <a:gd name="T6" fmla="*/ 5 w 35"/>
                  <a:gd name="T7" fmla="*/ 54 h 58"/>
                  <a:gd name="T8" fmla="*/ 3 w 35"/>
                  <a:gd name="T9" fmla="*/ 49 h 58"/>
                  <a:gd name="T10" fmla="*/ 2 w 35"/>
                  <a:gd name="T11" fmla="*/ 44 h 58"/>
                  <a:gd name="T12" fmla="*/ 0 w 35"/>
                  <a:gd name="T13" fmla="*/ 32 h 58"/>
                  <a:gd name="T14" fmla="*/ 2 w 35"/>
                  <a:gd name="T15" fmla="*/ 22 h 58"/>
                  <a:gd name="T16" fmla="*/ 2 w 35"/>
                  <a:gd name="T17" fmla="*/ 22 h 58"/>
                  <a:gd name="T18" fmla="*/ 5 w 35"/>
                  <a:gd name="T19" fmla="*/ 16 h 58"/>
                  <a:gd name="T20" fmla="*/ 3 w 35"/>
                  <a:gd name="T21" fmla="*/ 12 h 58"/>
                  <a:gd name="T22" fmla="*/ 3 w 35"/>
                  <a:gd name="T23" fmla="*/ 12 h 58"/>
                  <a:gd name="T24" fmla="*/ 3 w 35"/>
                  <a:gd name="T25" fmla="*/ 10 h 58"/>
                  <a:gd name="T26" fmla="*/ 3 w 35"/>
                  <a:gd name="T27" fmla="*/ 9 h 58"/>
                  <a:gd name="T28" fmla="*/ 6 w 35"/>
                  <a:gd name="T29" fmla="*/ 9 h 58"/>
                  <a:gd name="T30" fmla="*/ 9 w 35"/>
                  <a:gd name="T31" fmla="*/ 7 h 58"/>
                  <a:gd name="T32" fmla="*/ 9 w 35"/>
                  <a:gd name="T33" fmla="*/ 7 h 58"/>
                  <a:gd name="T34" fmla="*/ 10 w 35"/>
                  <a:gd name="T35" fmla="*/ 4 h 58"/>
                  <a:gd name="T36" fmla="*/ 10 w 35"/>
                  <a:gd name="T37" fmla="*/ 3 h 58"/>
                  <a:gd name="T38" fmla="*/ 10 w 35"/>
                  <a:gd name="T39" fmla="*/ 0 h 58"/>
                  <a:gd name="T40" fmla="*/ 12 w 35"/>
                  <a:gd name="T41" fmla="*/ 0 h 58"/>
                  <a:gd name="T42" fmla="*/ 12 w 35"/>
                  <a:gd name="T43" fmla="*/ 0 h 58"/>
                  <a:gd name="T44" fmla="*/ 16 w 35"/>
                  <a:gd name="T45" fmla="*/ 3 h 58"/>
                  <a:gd name="T46" fmla="*/ 16 w 35"/>
                  <a:gd name="T47" fmla="*/ 3 h 58"/>
                  <a:gd name="T48" fmla="*/ 22 w 35"/>
                  <a:gd name="T49" fmla="*/ 9 h 58"/>
                  <a:gd name="T50" fmla="*/ 29 w 35"/>
                  <a:gd name="T51" fmla="*/ 17 h 58"/>
                  <a:gd name="T52" fmla="*/ 33 w 35"/>
                  <a:gd name="T53" fmla="*/ 26 h 58"/>
                  <a:gd name="T54" fmla="*/ 35 w 35"/>
                  <a:gd name="T55" fmla="*/ 32 h 58"/>
                  <a:gd name="T56" fmla="*/ 35 w 35"/>
                  <a:gd name="T57" fmla="*/ 32 h 58"/>
                  <a:gd name="T58" fmla="*/ 33 w 35"/>
                  <a:gd name="T59" fmla="*/ 38 h 58"/>
                  <a:gd name="T60" fmla="*/ 32 w 35"/>
                  <a:gd name="T61" fmla="*/ 44 h 58"/>
                  <a:gd name="T62" fmla="*/ 31 w 35"/>
                  <a:gd name="T63" fmla="*/ 48 h 58"/>
                  <a:gd name="T64" fmla="*/ 28 w 35"/>
                  <a:gd name="T65" fmla="*/ 51 h 58"/>
                  <a:gd name="T66" fmla="*/ 28 w 35"/>
                  <a:gd name="T67" fmla="*/ 51 h 58"/>
                  <a:gd name="T68" fmla="*/ 25 w 35"/>
                  <a:gd name="T69" fmla="*/ 52 h 58"/>
                  <a:gd name="T70" fmla="*/ 20 w 35"/>
                  <a:gd name="T71" fmla="*/ 54 h 58"/>
                  <a:gd name="T72" fmla="*/ 13 w 35"/>
                  <a:gd name="T73" fmla="*/ 58 h 58"/>
                  <a:gd name="T74" fmla="*/ 13 w 35"/>
                  <a:gd name="T75" fmla="*/ 58 h 58"/>
                  <a:gd name="T76" fmla="*/ 12 w 35"/>
                  <a:gd name="T77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" h="58">
                    <a:moveTo>
                      <a:pt x="12" y="58"/>
                    </a:moveTo>
                    <a:lnTo>
                      <a:pt x="12" y="58"/>
                    </a:lnTo>
                    <a:lnTo>
                      <a:pt x="7" y="57"/>
                    </a:lnTo>
                    <a:lnTo>
                      <a:pt x="5" y="54"/>
                    </a:lnTo>
                    <a:lnTo>
                      <a:pt x="3" y="49"/>
                    </a:lnTo>
                    <a:lnTo>
                      <a:pt x="2" y="44"/>
                    </a:lnTo>
                    <a:lnTo>
                      <a:pt x="0" y="3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5" y="16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3" y="10"/>
                    </a:lnTo>
                    <a:lnTo>
                      <a:pt x="3" y="9"/>
                    </a:lnTo>
                    <a:lnTo>
                      <a:pt x="6" y="9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0" y="4"/>
                    </a:lnTo>
                    <a:lnTo>
                      <a:pt x="10" y="3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22" y="9"/>
                    </a:lnTo>
                    <a:lnTo>
                      <a:pt x="29" y="17"/>
                    </a:lnTo>
                    <a:lnTo>
                      <a:pt x="33" y="26"/>
                    </a:lnTo>
                    <a:lnTo>
                      <a:pt x="35" y="32"/>
                    </a:lnTo>
                    <a:lnTo>
                      <a:pt x="35" y="32"/>
                    </a:lnTo>
                    <a:lnTo>
                      <a:pt x="33" y="38"/>
                    </a:lnTo>
                    <a:lnTo>
                      <a:pt x="32" y="44"/>
                    </a:lnTo>
                    <a:lnTo>
                      <a:pt x="31" y="48"/>
                    </a:lnTo>
                    <a:lnTo>
                      <a:pt x="28" y="51"/>
                    </a:lnTo>
                    <a:lnTo>
                      <a:pt x="28" y="51"/>
                    </a:lnTo>
                    <a:lnTo>
                      <a:pt x="25" y="52"/>
                    </a:lnTo>
                    <a:lnTo>
                      <a:pt x="20" y="54"/>
                    </a:lnTo>
                    <a:lnTo>
                      <a:pt x="13" y="58"/>
                    </a:lnTo>
                    <a:lnTo>
                      <a:pt x="13" y="58"/>
                    </a:lnTo>
                    <a:lnTo>
                      <a:pt x="12" y="5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85" name="Freeform 839"/>
              <p:cNvSpPr>
                <a:spLocks/>
              </p:cNvSpPr>
              <p:nvPr/>
            </p:nvSpPr>
            <p:spPr bwMode="auto">
              <a:xfrm>
                <a:off x="5929264" y="3235030"/>
                <a:ext cx="166196" cy="192906"/>
              </a:xfrm>
              <a:custGeom>
                <a:avLst/>
                <a:gdLst>
                  <a:gd name="T0" fmla="*/ 77 w 168"/>
                  <a:gd name="T1" fmla="*/ 52 h 195"/>
                  <a:gd name="T2" fmla="*/ 70 w 168"/>
                  <a:gd name="T3" fmla="*/ 46 h 195"/>
                  <a:gd name="T4" fmla="*/ 55 w 168"/>
                  <a:gd name="T5" fmla="*/ 34 h 195"/>
                  <a:gd name="T6" fmla="*/ 45 w 168"/>
                  <a:gd name="T7" fmla="*/ 24 h 195"/>
                  <a:gd name="T8" fmla="*/ 35 w 168"/>
                  <a:gd name="T9" fmla="*/ 13 h 195"/>
                  <a:gd name="T10" fmla="*/ 22 w 168"/>
                  <a:gd name="T11" fmla="*/ 11 h 195"/>
                  <a:gd name="T12" fmla="*/ 12 w 168"/>
                  <a:gd name="T13" fmla="*/ 8 h 195"/>
                  <a:gd name="T14" fmla="*/ 0 w 168"/>
                  <a:gd name="T15" fmla="*/ 0 h 195"/>
                  <a:gd name="T16" fmla="*/ 0 w 168"/>
                  <a:gd name="T17" fmla="*/ 4 h 195"/>
                  <a:gd name="T18" fmla="*/ 5 w 168"/>
                  <a:gd name="T19" fmla="*/ 23 h 195"/>
                  <a:gd name="T20" fmla="*/ 15 w 168"/>
                  <a:gd name="T21" fmla="*/ 31 h 195"/>
                  <a:gd name="T22" fmla="*/ 16 w 168"/>
                  <a:gd name="T23" fmla="*/ 36 h 195"/>
                  <a:gd name="T24" fmla="*/ 22 w 168"/>
                  <a:gd name="T25" fmla="*/ 42 h 195"/>
                  <a:gd name="T26" fmla="*/ 35 w 168"/>
                  <a:gd name="T27" fmla="*/ 53 h 195"/>
                  <a:gd name="T28" fmla="*/ 38 w 168"/>
                  <a:gd name="T29" fmla="*/ 60 h 195"/>
                  <a:gd name="T30" fmla="*/ 50 w 168"/>
                  <a:gd name="T31" fmla="*/ 65 h 195"/>
                  <a:gd name="T32" fmla="*/ 54 w 168"/>
                  <a:gd name="T33" fmla="*/ 69 h 195"/>
                  <a:gd name="T34" fmla="*/ 61 w 168"/>
                  <a:gd name="T35" fmla="*/ 91 h 195"/>
                  <a:gd name="T36" fmla="*/ 71 w 168"/>
                  <a:gd name="T37" fmla="*/ 101 h 195"/>
                  <a:gd name="T38" fmla="*/ 79 w 168"/>
                  <a:gd name="T39" fmla="*/ 111 h 195"/>
                  <a:gd name="T40" fmla="*/ 83 w 168"/>
                  <a:gd name="T41" fmla="*/ 115 h 195"/>
                  <a:gd name="T42" fmla="*/ 90 w 168"/>
                  <a:gd name="T43" fmla="*/ 137 h 195"/>
                  <a:gd name="T44" fmla="*/ 103 w 168"/>
                  <a:gd name="T45" fmla="*/ 150 h 195"/>
                  <a:gd name="T46" fmla="*/ 126 w 168"/>
                  <a:gd name="T47" fmla="*/ 170 h 195"/>
                  <a:gd name="T48" fmla="*/ 144 w 168"/>
                  <a:gd name="T49" fmla="*/ 189 h 195"/>
                  <a:gd name="T50" fmla="*/ 149 w 168"/>
                  <a:gd name="T51" fmla="*/ 194 h 195"/>
                  <a:gd name="T52" fmla="*/ 147 w 168"/>
                  <a:gd name="T53" fmla="*/ 186 h 195"/>
                  <a:gd name="T54" fmla="*/ 152 w 168"/>
                  <a:gd name="T55" fmla="*/ 188 h 195"/>
                  <a:gd name="T56" fmla="*/ 160 w 168"/>
                  <a:gd name="T57" fmla="*/ 191 h 195"/>
                  <a:gd name="T58" fmla="*/ 165 w 168"/>
                  <a:gd name="T59" fmla="*/ 182 h 195"/>
                  <a:gd name="T60" fmla="*/ 165 w 168"/>
                  <a:gd name="T61" fmla="*/ 165 h 195"/>
                  <a:gd name="T62" fmla="*/ 161 w 168"/>
                  <a:gd name="T63" fmla="*/ 157 h 195"/>
                  <a:gd name="T64" fmla="*/ 163 w 168"/>
                  <a:gd name="T65" fmla="*/ 156 h 195"/>
                  <a:gd name="T66" fmla="*/ 167 w 168"/>
                  <a:gd name="T67" fmla="*/ 146 h 195"/>
                  <a:gd name="T68" fmla="*/ 168 w 168"/>
                  <a:gd name="T69" fmla="*/ 139 h 195"/>
                  <a:gd name="T70" fmla="*/ 161 w 168"/>
                  <a:gd name="T71" fmla="*/ 134 h 195"/>
                  <a:gd name="T72" fmla="*/ 151 w 168"/>
                  <a:gd name="T73" fmla="*/ 131 h 195"/>
                  <a:gd name="T74" fmla="*/ 145 w 168"/>
                  <a:gd name="T75" fmla="*/ 120 h 195"/>
                  <a:gd name="T76" fmla="*/ 135 w 168"/>
                  <a:gd name="T77" fmla="*/ 110 h 195"/>
                  <a:gd name="T78" fmla="*/ 134 w 168"/>
                  <a:gd name="T79" fmla="*/ 105 h 195"/>
                  <a:gd name="T80" fmla="*/ 136 w 168"/>
                  <a:gd name="T81" fmla="*/ 98 h 195"/>
                  <a:gd name="T82" fmla="*/ 126 w 168"/>
                  <a:gd name="T83" fmla="*/ 88 h 195"/>
                  <a:gd name="T84" fmla="*/ 125 w 168"/>
                  <a:gd name="T85" fmla="*/ 84 h 195"/>
                  <a:gd name="T86" fmla="*/ 125 w 168"/>
                  <a:gd name="T87" fmla="*/ 79 h 195"/>
                  <a:gd name="T88" fmla="*/ 121 w 168"/>
                  <a:gd name="T89" fmla="*/ 78 h 195"/>
                  <a:gd name="T90" fmla="*/ 116 w 168"/>
                  <a:gd name="T91" fmla="*/ 75 h 195"/>
                  <a:gd name="T92" fmla="*/ 110 w 168"/>
                  <a:gd name="T93" fmla="*/ 71 h 195"/>
                  <a:gd name="T94" fmla="*/ 105 w 168"/>
                  <a:gd name="T95" fmla="*/ 68 h 195"/>
                  <a:gd name="T96" fmla="*/ 100 w 168"/>
                  <a:gd name="T97" fmla="*/ 63 h 195"/>
                  <a:gd name="T98" fmla="*/ 81 w 168"/>
                  <a:gd name="T99" fmla="*/ 59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8" h="195">
                    <a:moveTo>
                      <a:pt x="81" y="59"/>
                    </a:moveTo>
                    <a:lnTo>
                      <a:pt x="81" y="59"/>
                    </a:lnTo>
                    <a:lnTo>
                      <a:pt x="77" y="52"/>
                    </a:lnTo>
                    <a:lnTo>
                      <a:pt x="73" y="47"/>
                    </a:lnTo>
                    <a:lnTo>
                      <a:pt x="73" y="47"/>
                    </a:lnTo>
                    <a:lnTo>
                      <a:pt x="70" y="46"/>
                    </a:lnTo>
                    <a:lnTo>
                      <a:pt x="65" y="42"/>
                    </a:lnTo>
                    <a:lnTo>
                      <a:pt x="65" y="42"/>
                    </a:lnTo>
                    <a:lnTo>
                      <a:pt x="55" y="34"/>
                    </a:lnTo>
                    <a:lnTo>
                      <a:pt x="50" y="30"/>
                    </a:lnTo>
                    <a:lnTo>
                      <a:pt x="45" y="24"/>
                    </a:lnTo>
                    <a:lnTo>
                      <a:pt x="45" y="24"/>
                    </a:lnTo>
                    <a:lnTo>
                      <a:pt x="42" y="20"/>
                    </a:lnTo>
                    <a:lnTo>
                      <a:pt x="39" y="16"/>
                    </a:lnTo>
                    <a:lnTo>
                      <a:pt x="35" y="13"/>
                    </a:lnTo>
                    <a:lnTo>
                      <a:pt x="32" y="11"/>
                    </a:lnTo>
                    <a:lnTo>
                      <a:pt x="32" y="11"/>
                    </a:lnTo>
                    <a:lnTo>
                      <a:pt x="22" y="11"/>
                    </a:lnTo>
                    <a:lnTo>
                      <a:pt x="16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11"/>
                    </a:lnTo>
                    <a:lnTo>
                      <a:pt x="3" y="18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12" y="29"/>
                    </a:lnTo>
                    <a:lnTo>
                      <a:pt x="15" y="31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16" y="36"/>
                    </a:lnTo>
                    <a:lnTo>
                      <a:pt x="18" y="39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47"/>
                    </a:lnTo>
                    <a:lnTo>
                      <a:pt x="35" y="53"/>
                    </a:lnTo>
                    <a:lnTo>
                      <a:pt x="35" y="53"/>
                    </a:lnTo>
                    <a:lnTo>
                      <a:pt x="36" y="58"/>
                    </a:lnTo>
                    <a:lnTo>
                      <a:pt x="36" y="59"/>
                    </a:lnTo>
                    <a:lnTo>
                      <a:pt x="38" y="60"/>
                    </a:lnTo>
                    <a:lnTo>
                      <a:pt x="41" y="62"/>
                    </a:lnTo>
                    <a:lnTo>
                      <a:pt x="41" y="62"/>
                    </a:lnTo>
                    <a:lnTo>
                      <a:pt x="50" y="65"/>
                    </a:lnTo>
                    <a:lnTo>
                      <a:pt x="52" y="66"/>
                    </a:lnTo>
                    <a:lnTo>
                      <a:pt x="54" y="69"/>
                    </a:lnTo>
                    <a:lnTo>
                      <a:pt x="54" y="69"/>
                    </a:lnTo>
                    <a:lnTo>
                      <a:pt x="54" y="79"/>
                    </a:lnTo>
                    <a:lnTo>
                      <a:pt x="57" y="85"/>
                    </a:lnTo>
                    <a:lnTo>
                      <a:pt x="61" y="91"/>
                    </a:lnTo>
                    <a:lnTo>
                      <a:pt x="61" y="91"/>
                    </a:lnTo>
                    <a:lnTo>
                      <a:pt x="68" y="97"/>
                    </a:lnTo>
                    <a:lnTo>
                      <a:pt x="71" y="101"/>
                    </a:lnTo>
                    <a:lnTo>
                      <a:pt x="71" y="101"/>
                    </a:lnTo>
                    <a:lnTo>
                      <a:pt x="73" y="107"/>
                    </a:lnTo>
                    <a:lnTo>
                      <a:pt x="79" y="111"/>
                    </a:lnTo>
                    <a:lnTo>
                      <a:pt x="79" y="111"/>
                    </a:lnTo>
                    <a:lnTo>
                      <a:pt x="81" y="113"/>
                    </a:lnTo>
                    <a:lnTo>
                      <a:pt x="83" y="115"/>
                    </a:lnTo>
                    <a:lnTo>
                      <a:pt x="84" y="123"/>
                    </a:lnTo>
                    <a:lnTo>
                      <a:pt x="87" y="130"/>
                    </a:lnTo>
                    <a:lnTo>
                      <a:pt x="90" y="137"/>
                    </a:lnTo>
                    <a:lnTo>
                      <a:pt x="90" y="137"/>
                    </a:lnTo>
                    <a:lnTo>
                      <a:pt x="96" y="143"/>
                    </a:lnTo>
                    <a:lnTo>
                      <a:pt x="103" y="150"/>
                    </a:lnTo>
                    <a:lnTo>
                      <a:pt x="115" y="162"/>
                    </a:lnTo>
                    <a:lnTo>
                      <a:pt x="115" y="162"/>
                    </a:lnTo>
                    <a:lnTo>
                      <a:pt x="126" y="170"/>
                    </a:lnTo>
                    <a:lnTo>
                      <a:pt x="135" y="179"/>
                    </a:lnTo>
                    <a:lnTo>
                      <a:pt x="135" y="179"/>
                    </a:lnTo>
                    <a:lnTo>
                      <a:pt x="144" y="189"/>
                    </a:lnTo>
                    <a:lnTo>
                      <a:pt x="148" y="194"/>
                    </a:lnTo>
                    <a:lnTo>
                      <a:pt x="149" y="195"/>
                    </a:lnTo>
                    <a:lnTo>
                      <a:pt x="149" y="194"/>
                    </a:lnTo>
                    <a:lnTo>
                      <a:pt x="149" y="194"/>
                    </a:lnTo>
                    <a:lnTo>
                      <a:pt x="147" y="188"/>
                    </a:lnTo>
                    <a:lnTo>
                      <a:pt x="147" y="186"/>
                    </a:lnTo>
                    <a:lnTo>
                      <a:pt x="148" y="185"/>
                    </a:lnTo>
                    <a:lnTo>
                      <a:pt x="148" y="185"/>
                    </a:lnTo>
                    <a:lnTo>
                      <a:pt x="152" y="188"/>
                    </a:lnTo>
                    <a:lnTo>
                      <a:pt x="158" y="191"/>
                    </a:lnTo>
                    <a:lnTo>
                      <a:pt x="158" y="191"/>
                    </a:lnTo>
                    <a:lnTo>
                      <a:pt x="160" y="191"/>
                    </a:lnTo>
                    <a:lnTo>
                      <a:pt x="163" y="188"/>
                    </a:lnTo>
                    <a:lnTo>
                      <a:pt x="164" y="185"/>
                    </a:lnTo>
                    <a:lnTo>
                      <a:pt x="165" y="182"/>
                    </a:lnTo>
                    <a:lnTo>
                      <a:pt x="165" y="182"/>
                    </a:lnTo>
                    <a:lnTo>
                      <a:pt x="167" y="170"/>
                    </a:lnTo>
                    <a:lnTo>
                      <a:pt x="165" y="165"/>
                    </a:lnTo>
                    <a:lnTo>
                      <a:pt x="164" y="160"/>
                    </a:lnTo>
                    <a:lnTo>
                      <a:pt x="164" y="160"/>
                    </a:lnTo>
                    <a:lnTo>
                      <a:pt x="161" y="157"/>
                    </a:lnTo>
                    <a:lnTo>
                      <a:pt x="161" y="156"/>
                    </a:lnTo>
                    <a:lnTo>
                      <a:pt x="163" y="156"/>
                    </a:lnTo>
                    <a:lnTo>
                      <a:pt x="163" y="156"/>
                    </a:lnTo>
                    <a:lnTo>
                      <a:pt x="165" y="155"/>
                    </a:lnTo>
                    <a:lnTo>
                      <a:pt x="167" y="152"/>
                    </a:lnTo>
                    <a:lnTo>
                      <a:pt x="167" y="146"/>
                    </a:lnTo>
                    <a:lnTo>
                      <a:pt x="167" y="146"/>
                    </a:lnTo>
                    <a:lnTo>
                      <a:pt x="168" y="142"/>
                    </a:lnTo>
                    <a:lnTo>
                      <a:pt x="168" y="139"/>
                    </a:lnTo>
                    <a:lnTo>
                      <a:pt x="167" y="137"/>
                    </a:lnTo>
                    <a:lnTo>
                      <a:pt x="167" y="137"/>
                    </a:lnTo>
                    <a:lnTo>
                      <a:pt x="161" y="134"/>
                    </a:lnTo>
                    <a:lnTo>
                      <a:pt x="157" y="134"/>
                    </a:lnTo>
                    <a:lnTo>
                      <a:pt x="152" y="133"/>
                    </a:lnTo>
                    <a:lnTo>
                      <a:pt x="151" y="131"/>
                    </a:lnTo>
                    <a:lnTo>
                      <a:pt x="151" y="131"/>
                    </a:lnTo>
                    <a:lnTo>
                      <a:pt x="148" y="126"/>
                    </a:lnTo>
                    <a:lnTo>
                      <a:pt x="145" y="120"/>
                    </a:lnTo>
                    <a:lnTo>
                      <a:pt x="141" y="117"/>
                    </a:lnTo>
                    <a:lnTo>
                      <a:pt x="141" y="117"/>
                    </a:lnTo>
                    <a:lnTo>
                      <a:pt x="135" y="110"/>
                    </a:lnTo>
                    <a:lnTo>
                      <a:pt x="134" y="107"/>
                    </a:lnTo>
                    <a:lnTo>
                      <a:pt x="134" y="105"/>
                    </a:lnTo>
                    <a:lnTo>
                      <a:pt x="134" y="105"/>
                    </a:lnTo>
                    <a:lnTo>
                      <a:pt x="135" y="101"/>
                    </a:lnTo>
                    <a:lnTo>
                      <a:pt x="136" y="98"/>
                    </a:lnTo>
                    <a:lnTo>
                      <a:pt x="136" y="98"/>
                    </a:lnTo>
                    <a:lnTo>
                      <a:pt x="135" y="95"/>
                    </a:lnTo>
                    <a:lnTo>
                      <a:pt x="131" y="92"/>
                    </a:lnTo>
                    <a:lnTo>
                      <a:pt x="126" y="88"/>
                    </a:lnTo>
                    <a:lnTo>
                      <a:pt x="125" y="85"/>
                    </a:lnTo>
                    <a:lnTo>
                      <a:pt x="125" y="85"/>
                    </a:lnTo>
                    <a:lnTo>
                      <a:pt x="125" y="84"/>
                    </a:lnTo>
                    <a:lnTo>
                      <a:pt x="126" y="82"/>
                    </a:lnTo>
                    <a:lnTo>
                      <a:pt x="126" y="81"/>
                    </a:lnTo>
                    <a:lnTo>
                      <a:pt x="125" y="79"/>
                    </a:lnTo>
                    <a:lnTo>
                      <a:pt x="125" y="79"/>
                    </a:lnTo>
                    <a:lnTo>
                      <a:pt x="122" y="78"/>
                    </a:lnTo>
                    <a:lnTo>
                      <a:pt x="121" y="78"/>
                    </a:lnTo>
                    <a:lnTo>
                      <a:pt x="118" y="78"/>
                    </a:lnTo>
                    <a:lnTo>
                      <a:pt x="116" y="75"/>
                    </a:lnTo>
                    <a:lnTo>
                      <a:pt x="116" y="75"/>
                    </a:lnTo>
                    <a:lnTo>
                      <a:pt x="113" y="71"/>
                    </a:lnTo>
                    <a:lnTo>
                      <a:pt x="110" y="71"/>
                    </a:lnTo>
                    <a:lnTo>
                      <a:pt x="110" y="71"/>
                    </a:lnTo>
                    <a:lnTo>
                      <a:pt x="107" y="69"/>
                    </a:lnTo>
                    <a:lnTo>
                      <a:pt x="105" y="68"/>
                    </a:lnTo>
                    <a:lnTo>
                      <a:pt x="105" y="68"/>
                    </a:lnTo>
                    <a:lnTo>
                      <a:pt x="102" y="65"/>
                    </a:lnTo>
                    <a:lnTo>
                      <a:pt x="100" y="63"/>
                    </a:lnTo>
                    <a:lnTo>
                      <a:pt x="100" y="63"/>
                    </a:lnTo>
                    <a:lnTo>
                      <a:pt x="92" y="62"/>
                    </a:lnTo>
                    <a:lnTo>
                      <a:pt x="86" y="62"/>
                    </a:lnTo>
                    <a:lnTo>
                      <a:pt x="81" y="5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86" name="Freeform 840"/>
              <p:cNvSpPr>
                <a:spLocks/>
              </p:cNvSpPr>
              <p:nvPr/>
            </p:nvSpPr>
            <p:spPr bwMode="auto">
              <a:xfrm>
                <a:off x="6085567" y="3422000"/>
                <a:ext cx="143443" cy="44517"/>
              </a:xfrm>
              <a:custGeom>
                <a:avLst/>
                <a:gdLst>
                  <a:gd name="T0" fmla="*/ 142 w 145"/>
                  <a:gd name="T1" fmla="*/ 45 h 45"/>
                  <a:gd name="T2" fmla="*/ 133 w 145"/>
                  <a:gd name="T3" fmla="*/ 39 h 45"/>
                  <a:gd name="T4" fmla="*/ 125 w 145"/>
                  <a:gd name="T5" fmla="*/ 38 h 45"/>
                  <a:gd name="T6" fmla="*/ 104 w 145"/>
                  <a:gd name="T7" fmla="*/ 39 h 45"/>
                  <a:gd name="T8" fmla="*/ 86 w 145"/>
                  <a:gd name="T9" fmla="*/ 37 h 45"/>
                  <a:gd name="T10" fmla="*/ 65 w 145"/>
                  <a:gd name="T11" fmla="*/ 29 h 45"/>
                  <a:gd name="T12" fmla="*/ 58 w 145"/>
                  <a:gd name="T13" fmla="*/ 28 h 45"/>
                  <a:gd name="T14" fmla="*/ 35 w 145"/>
                  <a:gd name="T15" fmla="*/ 26 h 45"/>
                  <a:gd name="T16" fmla="*/ 22 w 145"/>
                  <a:gd name="T17" fmla="*/ 25 h 45"/>
                  <a:gd name="T18" fmla="*/ 13 w 145"/>
                  <a:gd name="T19" fmla="*/ 24 h 45"/>
                  <a:gd name="T20" fmla="*/ 13 w 145"/>
                  <a:gd name="T21" fmla="*/ 22 h 45"/>
                  <a:gd name="T22" fmla="*/ 19 w 145"/>
                  <a:gd name="T23" fmla="*/ 19 h 45"/>
                  <a:gd name="T24" fmla="*/ 18 w 145"/>
                  <a:gd name="T25" fmla="*/ 18 h 45"/>
                  <a:gd name="T26" fmla="*/ 2 w 145"/>
                  <a:gd name="T27" fmla="*/ 15 h 45"/>
                  <a:gd name="T28" fmla="*/ 2 w 145"/>
                  <a:gd name="T29" fmla="*/ 13 h 45"/>
                  <a:gd name="T30" fmla="*/ 7 w 145"/>
                  <a:gd name="T31" fmla="*/ 9 h 45"/>
                  <a:gd name="T32" fmla="*/ 10 w 145"/>
                  <a:gd name="T33" fmla="*/ 5 h 45"/>
                  <a:gd name="T34" fmla="*/ 26 w 145"/>
                  <a:gd name="T35" fmla="*/ 3 h 45"/>
                  <a:gd name="T36" fmla="*/ 29 w 145"/>
                  <a:gd name="T37" fmla="*/ 2 h 45"/>
                  <a:gd name="T38" fmla="*/ 33 w 145"/>
                  <a:gd name="T39" fmla="*/ 0 h 45"/>
                  <a:gd name="T40" fmla="*/ 36 w 145"/>
                  <a:gd name="T41" fmla="*/ 0 h 45"/>
                  <a:gd name="T42" fmla="*/ 51 w 145"/>
                  <a:gd name="T43" fmla="*/ 10 h 45"/>
                  <a:gd name="T44" fmla="*/ 54 w 145"/>
                  <a:gd name="T45" fmla="*/ 12 h 45"/>
                  <a:gd name="T46" fmla="*/ 71 w 145"/>
                  <a:gd name="T47" fmla="*/ 12 h 45"/>
                  <a:gd name="T48" fmla="*/ 75 w 145"/>
                  <a:gd name="T49" fmla="*/ 12 h 45"/>
                  <a:gd name="T50" fmla="*/ 83 w 145"/>
                  <a:gd name="T51" fmla="*/ 9 h 45"/>
                  <a:gd name="T52" fmla="*/ 87 w 145"/>
                  <a:gd name="T53" fmla="*/ 8 h 45"/>
                  <a:gd name="T54" fmla="*/ 102 w 145"/>
                  <a:gd name="T55" fmla="*/ 12 h 45"/>
                  <a:gd name="T56" fmla="*/ 109 w 145"/>
                  <a:gd name="T57" fmla="*/ 12 h 45"/>
                  <a:gd name="T58" fmla="*/ 128 w 145"/>
                  <a:gd name="T59" fmla="*/ 13 h 45"/>
                  <a:gd name="T60" fmla="*/ 133 w 145"/>
                  <a:gd name="T61" fmla="*/ 15 h 45"/>
                  <a:gd name="T62" fmla="*/ 135 w 145"/>
                  <a:gd name="T63" fmla="*/ 16 h 45"/>
                  <a:gd name="T64" fmla="*/ 132 w 145"/>
                  <a:gd name="T65" fmla="*/ 18 h 45"/>
                  <a:gd name="T66" fmla="*/ 131 w 145"/>
                  <a:gd name="T67" fmla="*/ 21 h 45"/>
                  <a:gd name="T68" fmla="*/ 132 w 145"/>
                  <a:gd name="T69" fmla="*/ 21 h 45"/>
                  <a:gd name="T70" fmla="*/ 135 w 145"/>
                  <a:gd name="T71" fmla="*/ 25 h 45"/>
                  <a:gd name="T72" fmla="*/ 136 w 145"/>
                  <a:gd name="T73" fmla="*/ 28 h 45"/>
                  <a:gd name="T74" fmla="*/ 141 w 145"/>
                  <a:gd name="T75" fmla="*/ 28 h 45"/>
                  <a:gd name="T76" fmla="*/ 145 w 145"/>
                  <a:gd name="T77" fmla="*/ 29 h 45"/>
                  <a:gd name="T78" fmla="*/ 145 w 145"/>
                  <a:gd name="T79" fmla="*/ 39 h 45"/>
                  <a:gd name="T80" fmla="*/ 144 w 145"/>
                  <a:gd name="T8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5" h="45">
                    <a:moveTo>
                      <a:pt x="142" y="45"/>
                    </a:moveTo>
                    <a:lnTo>
                      <a:pt x="142" y="45"/>
                    </a:lnTo>
                    <a:lnTo>
                      <a:pt x="136" y="42"/>
                    </a:lnTo>
                    <a:lnTo>
                      <a:pt x="133" y="39"/>
                    </a:lnTo>
                    <a:lnTo>
                      <a:pt x="129" y="38"/>
                    </a:lnTo>
                    <a:lnTo>
                      <a:pt x="125" y="38"/>
                    </a:lnTo>
                    <a:lnTo>
                      <a:pt x="125" y="38"/>
                    </a:lnTo>
                    <a:lnTo>
                      <a:pt x="104" y="39"/>
                    </a:lnTo>
                    <a:lnTo>
                      <a:pt x="94" y="39"/>
                    </a:lnTo>
                    <a:lnTo>
                      <a:pt x="86" y="37"/>
                    </a:lnTo>
                    <a:lnTo>
                      <a:pt x="86" y="37"/>
                    </a:lnTo>
                    <a:lnTo>
                      <a:pt x="65" y="29"/>
                    </a:lnTo>
                    <a:lnTo>
                      <a:pt x="65" y="29"/>
                    </a:lnTo>
                    <a:lnTo>
                      <a:pt x="58" y="28"/>
                    </a:lnTo>
                    <a:lnTo>
                      <a:pt x="49" y="28"/>
                    </a:lnTo>
                    <a:lnTo>
                      <a:pt x="35" y="26"/>
                    </a:lnTo>
                    <a:lnTo>
                      <a:pt x="35" y="26"/>
                    </a:lnTo>
                    <a:lnTo>
                      <a:pt x="22" y="25"/>
                    </a:lnTo>
                    <a:lnTo>
                      <a:pt x="15" y="24"/>
                    </a:lnTo>
                    <a:lnTo>
                      <a:pt x="13" y="24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9" y="19"/>
                    </a:lnTo>
                    <a:lnTo>
                      <a:pt x="19" y="19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6" y="16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7" y="9"/>
                    </a:lnTo>
                    <a:lnTo>
                      <a:pt x="10" y="5"/>
                    </a:lnTo>
                    <a:lnTo>
                      <a:pt x="10" y="5"/>
                    </a:lnTo>
                    <a:lnTo>
                      <a:pt x="18" y="3"/>
                    </a:lnTo>
                    <a:lnTo>
                      <a:pt x="26" y="3"/>
                    </a:lnTo>
                    <a:lnTo>
                      <a:pt x="26" y="3"/>
                    </a:lnTo>
                    <a:lnTo>
                      <a:pt x="29" y="2"/>
                    </a:lnTo>
                    <a:lnTo>
                      <a:pt x="31" y="0"/>
                    </a:lnTo>
                    <a:lnTo>
                      <a:pt x="3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5" y="8"/>
                    </a:lnTo>
                    <a:lnTo>
                      <a:pt x="51" y="10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61" y="12"/>
                    </a:lnTo>
                    <a:lnTo>
                      <a:pt x="71" y="12"/>
                    </a:lnTo>
                    <a:lnTo>
                      <a:pt x="71" y="12"/>
                    </a:lnTo>
                    <a:lnTo>
                      <a:pt x="75" y="12"/>
                    </a:lnTo>
                    <a:lnTo>
                      <a:pt x="78" y="10"/>
                    </a:lnTo>
                    <a:lnTo>
                      <a:pt x="83" y="9"/>
                    </a:lnTo>
                    <a:lnTo>
                      <a:pt x="87" y="8"/>
                    </a:lnTo>
                    <a:lnTo>
                      <a:pt x="87" y="8"/>
                    </a:lnTo>
                    <a:lnTo>
                      <a:pt x="94" y="9"/>
                    </a:lnTo>
                    <a:lnTo>
                      <a:pt x="102" y="12"/>
                    </a:lnTo>
                    <a:lnTo>
                      <a:pt x="102" y="12"/>
                    </a:lnTo>
                    <a:lnTo>
                      <a:pt x="109" y="12"/>
                    </a:lnTo>
                    <a:lnTo>
                      <a:pt x="119" y="13"/>
                    </a:lnTo>
                    <a:lnTo>
                      <a:pt x="128" y="13"/>
                    </a:lnTo>
                    <a:lnTo>
                      <a:pt x="133" y="15"/>
                    </a:lnTo>
                    <a:lnTo>
                      <a:pt x="133" y="15"/>
                    </a:lnTo>
                    <a:lnTo>
                      <a:pt x="135" y="16"/>
                    </a:lnTo>
                    <a:lnTo>
                      <a:pt x="135" y="16"/>
                    </a:lnTo>
                    <a:lnTo>
                      <a:pt x="132" y="18"/>
                    </a:lnTo>
                    <a:lnTo>
                      <a:pt x="132" y="18"/>
                    </a:lnTo>
                    <a:lnTo>
                      <a:pt x="131" y="19"/>
                    </a:lnTo>
                    <a:lnTo>
                      <a:pt x="131" y="21"/>
                    </a:lnTo>
                    <a:lnTo>
                      <a:pt x="132" y="21"/>
                    </a:lnTo>
                    <a:lnTo>
                      <a:pt x="132" y="21"/>
                    </a:lnTo>
                    <a:lnTo>
                      <a:pt x="133" y="22"/>
                    </a:lnTo>
                    <a:lnTo>
                      <a:pt x="135" y="25"/>
                    </a:lnTo>
                    <a:lnTo>
                      <a:pt x="135" y="26"/>
                    </a:lnTo>
                    <a:lnTo>
                      <a:pt x="136" y="28"/>
                    </a:lnTo>
                    <a:lnTo>
                      <a:pt x="136" y="28"/>
                    </a:lnTo>
                    <a:lnTo>
                      <a:pt x="141" y="28"/>
                    </a:lnTo>
                    <a:lnTo>
                      <a:pt x="144" y="28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39"/>
                    </a:lnTo>
                    <a:lnTo>
                      <a:pt x="144" y="44"/>
                    </a:lnTo>
                    <a:lnTo>
                      <a:pt x="144" y="45"/>
                    </a:lnTo>
                    <a:lnTo>
                      <a:pt x="142" y="4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87" name="Freeform 841"/>
              <p:cNvSpPr>
                <a:spLocks/>
              </p:cNvSpPr>
              <p:nvPr/>
            </p:nvSpPr>
            <p:spPr bwMode="auto">
              <a:xfrm>
                <a:off x="6085567" y="3422000"/>
                <a:ext cx="143443" cy="44517"/>
              </a:xfrm>
              <a:custGeom>
                <a:avLst/>
                <a:gdLst>
                  <a:gd name="T0" fmla="*/ 142 w 145"/>
                  <a:gd name="T1" fmla="*/ 45 h 45"/>
                  <a:gd name="T2" fmla="*/ 133 w 145"/>
                  <a:gd name="T3" fmla="*/ 39 h 45"/>
                  <a:gd name="T4" fmla="*/ 125 w 145"/>
                  <a:gd name="T5" fmla="*/ 38 h 45"/>
                  <a:gd name="T6" fmla="*/ 104 w 145"/>
                  <a:gd name="T7" fmla="*/ 39 h 45"/>
                  <a:gd name="T8" fmla="*/ 86 w 145"/>
                  <a:gd name="T9" fmla="*/ 37 h 45"/>
                  <a:gd name="T10" fmla="*/ 65 w 145"/>
                  <a:gd name="T11" fmla="*/ 29 h 45"/>
                  <a:gd name="T12" fmla="*/ 58 w 145"/>
                  <a:gd name="T13" fmla="*/ 28 h 45"/>
                  <a:gd name="T14" fmla="*/ 35 w 145"/>
                  <a:gd name="T15" fmla="*/ 26 h 45"/>
                  <a:gd name="T16" fmla="*/ 22 w 145"/>
                  <a:gd name="T17" fmla="*/ 25 h 45"/>
                  <a:gd name="T18" fmla="*/ 13 w 145"/>
                  <a:gd name="T19" fmla="*/ 24 h 45"/>
                  <a:gd name="T20" fmla="*/ 13 w 145"/>
                  <a:gd name="T21" fmla="*/ 22 h 45"/>
                  <a:gd name="T22" fmla="*/ 19 w 145"/>
                  <a:gd name="T23" fmla="*/ 19 h 45"/>
                  <a:gd name="T24" fmla="*/ 18 w 145"/>
                  <a:gd name="T25" fmla="*/ 18 h 45"/>
                  <a:gd name="T26" fmla="*/ 2 w 145"/>
                  <a:gd name="T27" fmla="*/ 15 h 45"/>
                  <a:gd name="T28" fmla="*/ 2 w 145"/>
                  <a:gd name="T29" fmla="*/ 13 h 45"/>
                  <a:gd name="T30" fmla="*/ 7 w 145"/>
                  <a:gd name="T31" fmla="*/ 9 h 45"/>
                  <a:gd name="T32" fmla="*/ 10 w 145"/>
                  <a:gd name="T33" fmla="*/ 5 h 45"/>
                  <a:gd name="T34" fmla="*/ 26 w 145"/>
                  <a:gd name="T35" fmla="*/ 3 h 45"/>
                  <a:gd name="T36" fmla="*/ 29 w 145"/>
                  <a:gd name="T37" fmla="*/ 2 h 45"/>
                  <a:gd name="T38" fmla="*/ 33 w 145"/>
                  <a:gd name="T39" fmla="*/ 0 h 45"/>
                  <a:gd name="T40" fmla="*/ 36 w 145"/>
                  <a:gd name="T41" fmla="*/ 0 h 45"/>
                  <a:gd name="T42" fmla="*/ 51 w 145"/>
                  <a:gd name="T43" fmla="*/ 10 h 45"/>
                  <a:gd name="T44" fmla="*/ 54 w 145"/>
                  <a:gd name="T45" fmla="*/ 12 h 45"/>
                  <a:gd name="T46" fmla="*/ 71 w 145"/>
                  <a:gd name="T47" fmla="*/ 12 h 45"/>
                  <a:gd name="T48" fmla="*/ 75 w 145"/>
                  <a:gd name="T49" fmla="*/ 12 h 45"/>
                  <a:gd name="T50" fmla="*/ 83 w 145"/>
                  <a:gd name="T51" fmla="*/ 9 h 45"/>
                  <a:gd name="T52" fmla="*/ 87 w 145"/>
                  <a:gd name="T53" fmla="*/ 8 h 45"/>
                  <a:gd name="T54" fmla="*/ 102 w 145"/>
                  <a:gd name="T55" fmla="*/ 12 h 45"/>
                  <a:gd name="T56" fmla="*/ 109 w 145"/>
                  <a:gd name="T57" fmla="*/ 12 h 45"/>
                  <a:gd name="T58" fmla="*/ 128 w 145"/>
                  <a:gd name="T59" fmla="*/ 13 h 45"/>
                  <a:gd name="T60" fmla="*/ 133 w 145"/>
                  <a:gd name="T61" fmla="*/ 15 h 45"/>
                  <a:gd name="T62" fmla="*/ 135 w 145"/>
                  <a:gd name="T63" fmla="*/ 16 h 45"/>
                  <a:gd name="T64" fmla="*/ 132 w 145"/>
                  <a:gd name="T65" fmla="*/ 18 h 45"/>
                  <a:gd name="T66" fmla="*/ 131 w 145"/>
                  <a:gd name="T67" fmla="*/ 21 h 45"/>
                  <a:gd name="T68" fmla="*/ 132 w 145"/>
                  <a:gd name="T69" fmla="*/ 21 h 45"/>
                  <a:gd name="T70" fmla="*/ 135 w 145"/>
                  <a:gd name="T71" fmla="*/ 25 h 45"/>
                  <a:gd name="T72" fmla="*/ 136 w 145"/>
                  <a:gd name="T73" fmla="*/ 28 h 45"/>
                  <a:gd name="T74" fmla="*/ 141 w 145"/>
                  <a:gd name="T75" fmla="*/ 28 h 45"/>
                  <a:gd name="T76" fmla="*/ 145 w 145"/>
                  <a:gd name="T77" fmla="*/ 29 h 45"/>
                  <a:gd name="T78" fmla="*/ 145 w 145"/>
                  <a:gd name="T79" fmla="*/ 39 h 45"/>
                  <a:gd name="T80" fmla="*/ 144 w 145"/>
                  <a:gd name="T8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5" h="45">
                    <a:moveTo>
                      <a:pt x="142" y="45"/>
                    </a:moveTo>
                    <a:lnTo>
                      <a:pt x="142" y="45"/>
                    </a:lnTo>
                    <a:lnTo>
                      <a:pt x="136" y="42"/>
                    </a:lnTo>
                    <a:lnTo>
                      <a:pt x="133" y="39"/>
                    </a:lnTo>
                    <a:lnTo>
                      <a:pt x="129" y="38"/>
                    </a:lnTo>
                    <a:lnTo>
                      <a:pt x="125" y="38"/>
                    </a:lnTo>
                    <a:lnTo>
                      <a:pt x="125" y="38"/>
                    </a:lnTo>
                    <a:lnTo>
                      <a:pt x="104" y="39"/>
                    </a:lnTo>
                    <a:lnTo>
                      <a:pt x="94" y="39"/>
                    </a:lnTo>
                    <a:lnTo>
                      <a:pt x="86" y="37"/>
                    </a:lnTo>
                    <a:lnTo>
                      <a:pt x="86" y="37"/>
                    </a:lnTo>
                    <a:lnTo>
                      <a:pt x="65" y="29"/>
                    </a:lnTo>
                    <a:lnTo>
                      <a:pt x="65" y="29"/>
                    </a:lnTo>
                    <a:lnTo>
                      <a:pt x="58" y="28"/>
                    </a:lnTo>
                    <a:lnTo>
                      <a:pt x="49" y="28"/>
                    </a:lnTo>
                    <a:lnTo>
                      <a:pt x="35" y="26"/>
                    </a:lnTo>
                    <a:lnTo>
                      <a:pt x="35" y="26"/>
                    </a:lnTo>
                    <a:lnTo>
                      <a:pt x="22" y="25"/>
                    </a:lnTo>
                    <a:lnTo>
                      <a:pt x="15" y="24"/>
                    </a:lnTo>
                    <a:lnTo>
                      <a:pt x="13" y="24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9" y="19"/>
                    </a:lnTo>
                    <a:lnTo>
                      <a:pt x="19" y="19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6" y="16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7" y="9"/>
                    </a:lnTo>
                    <a:lnTo>
                      <a:pt x="10" y="5"/>
                    </a:lnTo>
                    <a:lnTo>
                      <a:pt x="10" y="5"/>
                    </a:lnTo>
                    <a:lnTo>
                      <a:pt x="18" y="3"/>
                    </a:lnTo>
                    <a:lnTo>
                      <a:pt x="26" y="3"/>
                    </a:lnTo>
                    <a:lnTo>
                      <a:pt x="26" y="3"/>
                    </a:lnTo>
                    <a:lnTo>
                      <a:pt x="29" y="2"/>
                    </a:lnTo>
                    <a:lnTo>
                      <a:pt x="31" y="0"/>
                    </a:lnTo>
                    <a:lnTo>
                      <a:pt x="33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5" y="8"/>
                    </a:lnTo>
                    <a:lnTo>
                      <a:pt x="51" y="10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61" y="12"/>
                    </a:lnTo>
                    <a:lnTo>
                      <a:pt x="71" y="12"/>
                    </a:lnTo>
                    <a:lnTo>
                      <a:pt x="71" y="12"/>
                    </a:lnTo>
                    <a:lnTo>
                      <a:pt x="75" y="12"/>
                    </a:lnTo>
                    <a:lnTo>
                      <a:pt x="78" y="10"/>
                    </a:lnTo>
                    <a:lnTo>
                      <a:pt x="83" y="9"/>
                    </a:lnTo>
                    <a:lnTo>
                      <a:pt x="87" y="8"/>
                    </a:lnTo>
                    <a:lnTo>
                      <a:pt x="87" y="8"/>
                    </a:lnTo>
                    <a:lnTo>
                      <a:pt x="94" y="9"/>
                    </a:lnTo>
                    <a:lnTo>
                      <a:pt x="102" y="12"/>
                    </a:lnTo>
                    <a:lnTo>
                      <a:pt x="102" y="12"/>
                    </a:lnTo>
                    <a:lnTo>
                      <a:pt x="109" y="12"/>
                    </a:lnTo>
                    <a:lnTo>
                      <a:pt x="119" y="13"/>
                    </a:lnTo>
                    <a:lnTo>
                      <a:pt x="128" y="13"/>
                    </a:lnTo>
                    <a:lnTo>
                      <a:pt x="133" y="15"/>
                    </a:lnTo>
                    <a:lnTo>
                      <a:pt x="133" y="15"/>
                    </a:lnTo>
                    <a:lnTo>
                      <a:pt x="135" y="16"/>
                    </a:lnTo>
                    <a:lnTo>
                      <a:pt x="135" y="16"/>
                    </a:lnTo>
                    <a:lnTo>
                      <a:pt x="132" y="18"/>
                    </a:lnTo>
                    <a:lnTo>
                      <a:pt x="132" y="18"/>
                    </a:lnTo>
                    <a:lnTo>
                      <a:pt x="131" y="19"/>
                    </a:lnTo>
                    <a:lnTo>
                      <a:pt x="131" y="21"/>
                    </a:lnTo>
                    <a:lnTo>
                      <a:pt x="132" y="21"/>
                    </a:lnTo>
                    <a:lnTo>
                      <a:pt x="132" y="21"/>
                    </a:lnTo>
                    <a:lnTo>
                      <a:pt x="133" y="22"/>
                    </a:lnTo>
                    <a:lnTo>
                      <a:pt x="135" y="25"/>
                    </a:lnTo>
                    <a:lnTo>
                      <a:pt x="135" y="26"/>
                    </a:lnTo>
                    <a:lnTo>
                      <a:pt x="136" y="28"/>
                    </a:lnTo>
                    <a:lnTo>
                      <a:pt x="136" y="28"/>
                    </a:lnTo>
                    <a:lnTo>
                      <a:pt x="141" y="28"/>
                    </a:lnTo>
                    <a:lnTo>
                      <a:pt x="144" y="28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39"/>
                    </a:lnTo>
                    <a:lnTo>
                      <a:pt x="144" y="44"/>
                    </a:lnTo>
                    <a:lnTo>
                      <a:pt x="144" y="45"/>
                    </a:lnTo>
                    <a:lnTo>
                      <a:pt x="142" y="4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88" name="Freeform 842"/>
              <p:cNvSpPr>
                <a:spLocks/>
              </p:cNvSpPr>
              <p:nvPr/>
            </p:nvSpPr>
            <p:spPr bwMode="auto">
              <a:xfrm>
                <a:off x="6232967" y="3455635"/>
                <a:ext cx="12860" cy="4946"/>
              </a:xfrm>
              <a:custGeom>
                <a:avLst/>
                <a:gdLst>
                  <a:gd name="T0" fmla="*/ 10 w 13"/>
                  <a:gd name="T1" fmla="*/ 5 h 5"/>
                  <a:gd name="T2" fmla="*/ 10 w 13"/>
                  <a:gd name="T3" fmla="*/ 5 h 5"/>
                  <a:gd name="T4" fmla="*/ 5 w 13"/>
                  <a:gd name="T5" fmla="*/ 5 h 5"/>
                  <a:gd name="T6" fmla="*/ 2 w 13"/>
                  <a:gd name="T7" fmla="*/ 4 h 5"/>
                  <a:gd name="T8" fmla="*/ 0 w 13"/>
                  <a:gd name="T9" fmla="*/ 3 h 5"/>
                  <a:gd name="T10" fmla="*/ 3 w 13"/>
                  <a:gd name="T11" fmla="*/ 1 h 5"/>
                  <a:gd name="T12" fmla="*/ 3 w 13"/>
                  <a:gd name="T13" fmla="*/ 1 h 5"/>
                  <a:gd name="T14" fmla="*/ 9 w 13"/>
                  <a:gd name="T15" fmla="*/ 0 h 5"/>
                  <a:gd name="T16" fmla="*/ 12 w 13"/>
                  <a:gd name="T17" fmla="*/ 1 h 5"/>
                  <a:gd name="T18" fmla="*/ 13 w 13"/>
                  <a:gd name="T19" fmla="*/ 1 h 5"/>
                  <a:gd name="T20" fmla="*/ 13 w 13"/>
                  <a:gd name="T21" fmla="*/ 1 h 5"/>
                  <a:gd name="T22" fmla="*/ 13 w 13"/>
                  <a:gd name="T23" fmla="*/ 4 h 5"/>
                  <a:gd name="T24" fmla="*/ 12 w 13"/>
                  <a:gd name="T25" fmla="*/ 5 h 5"/>
                  <a:gd name="T26" fmla="*/ 10 w 13"/>
                  <a:gd name="T2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5">
                    <a:moveTo>
                      <a:pt x="10" y="5"/>
                    </a:moveTo>
                    <a:lnTo>
                      <a:pt x="10" y="5"/>
                    </a:lnTo>
                    <a:lnTo>
                      <a:pt x="5" y="5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9" y="0"/>
                    </a:lnTo>
                    <a:lnTo>
                      <a:pt x="12" y="1"/>
                    </a:lnTo>
                    <a:lnTo>
                      <a:pt x="13" y="1"/>
                    </a:lnTo>
                    <a:lnTo>
                      <a:pt x="13" y="1"/>
                    </a:lnTo>
                    <a:lnTo>
                      <a:pt x="13" y="4"/>
                    </a:lnTo>
                    <a:lnTo>
                      <a:pt x="12" y="5"/>
                    </a:lnTo>
                    <a:lnTo>
                      <a:pt x="10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89" name="Freeform 843"/>
              <p:cNvSpPr>
                <a:spLocks/>
              </p:cNvSpPr>
              <p:nvPr/>
            </p:nvSpPr>
            <p:spPr bwMode="auto">
              <a:xfrm>
                <a:off x="6232967" y="3455635"/>
                <a:ext cx="12860" cy="4946"/>
              </a:xfrm>
              <a:custGeom>
                <a:avLst/>
                <a:gdLst>
                  <a:gd name="T0" fmla="*/ 10 w 13"/>
                  <a:gd name="T1" fmla="*/ 5 h 5"/>
                  <a:gd name="T2" fmla="*/ 10 w 13"/>
                  <a:gd name="T3" fmla="*/ 5 h 5"/>
                  <a:gd name="T4" fmla="*/ 5 w 13"/>
                  <a:gd name="T5" fmla="*/ 5 h 5"/>
                  <a:gd name="T6" fmla="*/ 2 w 13"/>
                  <a:gd name="T7" fmla="*/ 4 h 5"/>
                  <a:gd name="T8" fmla="*/ 0 w 13"/>
                  <a:gd name="T9" fmla="*/ 3 h 5"/>
                  <a:gd name="T10" fmla="*/ 3 w 13"/>
                  <a:gd name="T11" fmla="*/ 1 h 5"/>
                  <a:gd name="T12" fmla="*/ 3 w 13"/>
                  <a:gd name="T13" fmla="*/ 1 h 5"/>
                  <a:gd name="T14" fmla="*/ 9 w 13"/>
                  <a:gd name="T15" fmla="*/ 0 h 5"/>
                  <a:gd name="T16" fmla="*/ 12 w 13"/>
                  <a:gd name="T17" fmla="*/ 1 h 5"/>
                  <a:gd name="T18" fmla="*/ 13 w 13"/>
                  <a:gd name="T19" fmla="*/ 1 h 5"/>
                  <a:gd name="T20" fmla="*/ 13 w 13"/>
                  <a:gd name="T21" fmla="*/ 1 h 5"/>
                  <a:gd name="T22" fmla="*/ 13 w 13"/>
                  <a:gd name="T23" fmla="*/ 4 h 5"/>
                  <a:gd name="T24" fmla="*/ 12 w 13"/>
                  <a:gd name="T25" fmla="*/ 5 h 5"/>
                  <a:gd name="T26" fmla="*/ 10 w 13"/>
                  <a:gd name="T2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5">
                    <a:moveTo>
                      <a:pt x="10" y="5"/>
                    </a:moveTo>
                    <a:lnTo>
                      <a:pt x="10" y="5"/>
                    </a:lnTo>
                    <a:lnTo>
                      <a:pt x="5" y="5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9" y="0"/>
                    </a:lnTo>
                    <a:lnTo>
                      <a:pt x="12" y="1"/>
                    </a:lnTo>
                    <a:lnTo>
                      <a:pt x="13" y="1"/>
                    </a:lnTo>
                    <a:lnTo>
                      <a:pt x="13" y="1"/>
                    </a:lnTo>
                    <a:lnTo>
                      <a:pt x="13" y="4"/>
                    </a:lnTo>
                    <a:lnTo>
                      <a:pt x="12" y="5"/>
                    </a:lnTo>
                    <a:lnTo>
                      <a:pt x="10" y="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90" name="Freeform 844"/>
              <p:cNvSpPr>
                <a:spLocks/>
              </p:cNvSpPr>
              <p:nvPr/>
            </p:nvSpPr>
            <p:spPr bwMode="auto">
              <a:xfrm>
                <a:off x="6254730" y="3459592"/>
                <a:ext cx="8903" cy="8903"/>
              </a:xfrm>
              <a:custGeom>
                <a:avLst/>
                <a:gdLst>
                  <a:gd name="T0" fmla="*/ 2 w 9"/>
                  <a:gd name="T1" fmla="*/ 9 h 9"/>
                  <a:gd name="T2" fmla="*/ 2 w 9"/>
                  <a:gd name="T3" fmla="*/ 9 h 9"/>
                  <a:gd name="T4" fmla="*/ 0 w 9"/>
                  <a:gd name="T5" fmla="*/ 9 h 9"/>
                  <a:gd name="T6" fmla="*/ 0 w 9"/>
                  <a:gd name="T7" fmla="*/ 7 h 9"/>
                  <a:gd name="T8" fmla="*/ 0 w 9"/>
                  <a:gd name="T9" fmla="*/ 4 h 9"/>
                  <a:gd name="T10" fmla="*/ 3 w 9"/>
                  <a:gd name="T11" fmla="*/ 1 h 9"/>
                  <a:gd name="T12" fmla="*/ 6 w 9"/>
                  <a:gd name="T13" fmla="*/ 0 h 9"/>
                  <a:gd name="T14" fmla="*/ 6 w 9"/>
                  <a:gd name="T15" fmla="*/ 0 h 9"/>
                  <a:gd name="T16" fmla="*/ 7 w 9"/>
                  <a:gd name="T17" fmla="*/ 0 h 9"/>
                  <a:gd name="T18" fmla="*/ 9 w 9"/>
                  <a:gd name="T19" fmla="*/ 1 h 9"/>
                  <a:gd name="T20" fmla="*/ 7 w 9"/>
                  <a:gd name="T21" fmla="*/ 4 h 9"/>
                  <a:gd name="T22" fmla="*/ 6 w 9"/>
                  <a:gd name="T23" fmla="*/ 7 h 9"/>
                  <a:gd name="T24" fmla="*/ 2 w 9"/>
                  <a:gd name="T2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9">
                    <a:moveTo>
                      <a:pt x="2" y="9"/>
                    </a:moveTo>
                    <a:lnTo>
                      <a:pt x="2" y="9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9" y="1"/>
                    </a:lnTo>
                    <a:lnTo>
                      <a:pt x="7" y="4"/>
                    </a:lnTo>
                    <a:lnTo>
                      <a:pt x="6" y="7"/>
                    </a:lnTo>
                    <a:lnTo>
                      <a:pt x="2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91" name="Freeform 845"/>
              <p:cNvSpPr>
                <a:spLocks/>
              </p:cNvSpPr>
              <p:nvPr/>
            </p:nvSpPr>
            <p:spPr bwMode="auto">
              <a:xfrm>
                <a:off x="6254730" y="3459592"/>
                <a:ext cx="8903" cy="8903"/>
              </a:xfrm>
              <a:custGeom>
                <a:avLst/>
                <a:gdLst>
                  <a:gd name="T0" fmla="*/ 2 w 9"/>
                  <a:gd name="T1" fmla="*/ 9 h 9"/>
                  <a:gd name="T2" fmla="*/ 2 w 9"/>
                  <a:gd name="T3" fmla="*/ 9 h 9"/>
                  <a:gd name="T4" fmla="*/ 0 w 9"/>
                  <a:gd name="T5" fmla="*/ 9 h 9"/>
                  <a:gd name="T6" fmla="*/ 0 w 9"/>
                  <a:gd name="T7" fmla="*/ 7 h 9"/>
                  <a:gd name="T8" fmla="*/ 0 w 9"/>
                  <a:gd name="T9" fmla="*/ 4 h 9"/>
                  <a:gd name="T10" fmla="*/ 3 w 9"/>
                  <a:gd name="T11" fmla="*/ 1 h 9"/>
                  <a:gd name="T12" fmla="*/ 6 w 9"/>
                  <a:gd name="T13" fmla="*/ 0 h 9"/>
                  <a:gd name="T14" fmla="*/ 6 w 9"/>
                  <a:gd name="T15" fmla="*/ 0 h 9"/>
                  <a:gd name="T16" fmla="*/ 7 w 9"/>
                  <a:gd name="T17" fmla="*/ 0 h 9"/>
                  <a:gd name="T18" fmla="*/ 9 w 9"/>
                  <a:gd name="T19" fmla="*/ 1 h 9"/>
                  <a:gd name="T20" fmla="*/ 7 w 9"/>
                  <a:gd name="T21" fmla="*/ 4 h 9"/>
                  <a:gd name="T22" fmla="*/ 6 w 9"/>
                  <a:gd name="T23" fmla="*/ 7 h 9"/>
                  <a:gd name="T24" fmla="*/ 2 w 9"/>
                  <a:gd name="T2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9">
                    <a:moveTo>
                      <a:pt x="2" y="9"/>
                    </a:moveTo>
                    <a:lnTo>
                      <a:pt x="2" y="9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9" y="1"/>
                    </a:lnTo>
                    <a:lnTo>
                      <a:pt x="7" y="4"/>
                    </a:lnTo>
                    <a:lnTo>
                      <a:pt x="6" y="7"/>
                    </a:lnTo>
                    <a:lnTo>
                      <a:pt x="2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92" name="Freeform 846"/>
              <p:cNvSpPr>
                <a:spLocks/>
              </p:cNvSpPr>
              <p:nvPr/>
            </p:nvSpPr>
            <p:spPr bwMode="auto">
              <a:xfrm>
                <a:off x="6269569" y="3460581"/>
                <a:ext cx="13850" cy="7914"/>
              </a:xfrm>
              <a:custGeom>
                <a:avLst/>
                <a:gdLst>
                  <a:gd name="T0" fmla="*/ 11 w 14"/>
                  <a:gd name="T1" fmla="*/ 8 h 8"/>
                  <a:gd name="T2" fmla="*/ 11 w 14"/>
                  <a:gd name="T3" fmla="*/ 8 h 8"/>
                  <a:gd name="T4" fmla="*/ 4 w 14"/>
                  <a:gd name="T5" fmla="*/ 6 h 8"/>
                  <a:gd name="T6" fmla="*/ 0 w 14"/>
                  <a:gd name="T7" fmla="*/ 6 h 8"/>
                  <a:gd name="T8" fmla="*/ 0 w 14"/>
                  <a:gd name="T9" fmla="*/ 5 h 8"/>
                  <a:gd name="T10" fmla="*/ 1 w 14"/>
                  <a:gd name="T11" fmla="*/ 5 h 8"/>
                  <a:gd name="T12" fmla="*/ 1 w 14"/>
                  <a:gd name="T13" fmla="*/ 5 h 8"/>
                  <a:gd name="T14" fmla="*/ 4 w 14"/>
                  <a:gd name="T15" fmla="*/ 0 h 8"/>
                  <a:gd name="T16" fmla="*/ 7 w 14"/>
                  <a:gd name="T17" fmla="*/ 0 h 8"/>
                  <a:gd name="T18" fmla="*/ 10 w 14"/>
                  <a:gd name="T19" fmla="*/ 0 h 8"/>
                  <a:gd name="T20" fmla="*/ 10 w 14"/>
                  <a:gd name="T21" fmla="*/ 0 h 8"/>
                  <a:gd name="T22" fmla="*/ 13 w 14"/>
                  <a:gd name="T23" fmla="*/ 2 h 8"/>
                  <a:gd name="T24" fmla="*/ 14 w 14"/>
                  <a:gd name="T25" fmla="*/ 5 h 8"/>
                  <a:gd name="T26" fmla="*/ 14 w 14"/>
                  <a:gd name="T27" fmla="*/ 6 h 8"/>
                  <a:gd name="T28" fmla="*/ 11 w 14"/>
                  <a:gd name="T2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8">
                    <a:moveTo>
                      <a:pt x="11" y="8"/>
                    </a:moveTo>
                    <a:lnTo>
                      <a:pt x="11" y="8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3" y="2"/>
                    </a:lnTo>
                    <a:lnTo>
                      <a:pt x="14" y="5"/>
                    </a:lnTo>
                    <a:lnTo>
                      <a:pt x="14" y="6"/>
                    </a:lnTo>
                    <a:lnTo>
                      <a:pt x="11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93" name="Freeform 847"/>
              <p:cNvSpPr>
                <a:spLocks/>
              </p:cNvSpPr>
              <p:nvPr/>
            </p:nvSpPr>
            <p:spPr bwMode="auto">
              <a:xfrm>
                <a:off x="6269569" y="3460581"/>
                <a:ext cx="13850" cy="7914"/>
              </a:xfrm>
              <a:custGeom>
                <a:avLst/>
                <a:gdLst>
                  <a:gd name="T0" fmla="*/ 11 w 14"/>
                  <a:gd name="T1" fmla="*/ 8 h 8"/>
                  <a:gd name="T2" fmla="*/ 11 w 14"/>
                  <a:gd name="T3" fmla="*/ 8 h 8"/>
                  <a:gd name="T4" fmla="*/ 4 w 14"/>
                  <a:gd name="T5" fmla="*/ 6 h 8"/>
                  <a:gd name="T6" fmla="*/ 0 w 14"/>
                  <a:gd name="T7" fmla="*/ 6 h 8"/>
                  <a:gd name="T8" fmla="*/ 0 w 14"/>
                  <a:gd name="T9" fmla="*/ 5 h 8"/>
                  <a:gd name="T10" fmla="*/ 1 w 14"/>
                  <a:gd name="T11" fmla="*/ 5 h 8"/>
                  <a:gd name="T12" fmla="*/ 1 w 14"/>
                  <a:gd name="T13" fmla="*/ 5 h 8"/>
                  <a:gd name="T14" fmla="*/ 4 w 14"/>
                  <a:gd name="T15" fmla="*/ 0 h 8"/>
                  <a:gd name="T16" fmla="*/ 7 w 14"/>
                  <a:gd name="T17" fmla="*/ 0 h 8"/>
                  <a:gd name="T18" fmla="*/ 10 w 14"/>
                  <a:gd name="T19" fmla="*/ 0 h 8"/>
                  <a:gd name="T20" fmla="*/ 10 w 14"/>
                  <a:gd name="T21" fmla="*/ 0 h 8"/>
                  <a:gd name="T22" fmla="*/ 13 w 14"/>
                  <a:gd name="T23" fmla="*/ 2 h 8"/>
                  <a:gd name="T24" fmla="*/ 14 w 14"/>
                  <a:gd name="T25" fmla="*/ 5 h 8"/>
                  <a:gd name="T26" fmla="*/ 14 w 14"/>
                  <a:gd name="T27" fmla="*/ 6 h 8"/>
                  <a:gd name="T28" fmla="*/ 11 w 14"/>
                  <a:gd name="T2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8">
                    <a:moveTo>
                      <a:pt x="11" y="8"/>
                    </a:moveTo>
                    <a:lnTo>
                      <a:pt x="11" y="8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3" y="2"/>
                    </a:lnTo>
                    <a:lnTo>
                      <a:pt x="14" y="5"/>
                    </a:lnTo>
                    <a:lnTo>
                      <a:pt x="14" y="6"/>
                    </a:lnTo>
                    <a:lnTo>
                      <a:pt x="11" y="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94" name="Freeform 848"/>
              <p:cNvSpPr>
                <a:spLocks/>
              </p:cNvSpPr>
              <p:nvPr/>
            </p:nvSpPr>
            <p:spPr bwMode="auto">
              <a:xfrm>
                <a:off x="6283419" y="3456624"/>
                <a:ext cx="19785" cy="9893"/>
              </a:xfrm>
              <a:custGeom>
                <a:avLst/>
                <a:gdLst>
                  <a:gd name="T0" fmla="*/ 13 w 20"/>
                  <a:gd name="T1" fmla="*/ 10 h 10"/>
                  <a:gd name="T2" fmla="*/ 13 w 20"/>
                  <a:gd name="T3" fmla="*/ 10 h 10"/>
                  <a:gd name="T4" fmla="*/ 9 w 20"/>
                  <a:gd name="T5" fmla="*/ 9 h 10"/>
                  <a:gd name="T6" fmla="*/ 3 w 20"/>
                  <a:gd name="T7" fmla="*/ 4 h 10"/>
                  <a:gd name="T8" fmla="*/ 0 w 20"/>
                  <a:gd name="T9" fmla="*/ 2 h 10"/>
                  <a:gd name="T10" fmla="*/ 1 w 20"/>
                  <a:gd name="T11" fmla="*/ 0 h 10"/>
                  <a:gd name="T12" fmla="*/ 4 w 20"/>
                  <a:gd name="T13" fmla="*/ 0 h 10"/>
                  <a:gd name="T14" fmla="*/ 4 w 20"/>
                  <a:gd name="T15" fmla="*/ 0 h 10"/>
                  <a:gd name="T16" fmla="*/ 17 w 20"/>
                  <a:gd name="T17" fmla="*/ 3 h 10"/>
                  <a:gd name="T18" fmla="*/ 20 w 20"/>
                  <a:gd name="T19" fmla="*/ 3 h 10"/>
                  <a:gd name="T20" fmla="*/ 20 w 20"/>
                  <a:gd name="T21" fmla="*/ 6 h 10"/>
                  <a:gd name="T22" fmla="*/ 20 w 20"/>
                  <a:gd name="T23" fmla="*/ 6 h 10"/>
                  <a:gd name="T24" fmla="*/ 16 w 20"/>
                  <a:gd name="T25" fmla="*/ 9 h 10"/>
                  <a:gd name="T26" fmla="*/ 13 w 20"/>
                  <a:gd name="T2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10">
                    <a:moveTo>
                      <a:pt x="13" y="10"/>
                    </a:moveTo>
                    <a:lnTo>
                      <a:pt x="13" y="10"/>
                    </a:lnTo>
                    <a:lnTo>
                      <a:pt x="9" y="9"/>
                    </a:lnTo>
                    <a:lnTo>
                      <a:pt x="3" y="4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7" y="3"/>
                    </a:lnTo>
                    <a:lnTo>
                      <a:pt x="20" y="3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9"/>
                    </a:lnTo>
                    <a:lnTo>
                      <a:pt x="13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95" name="Freeform 849"/>
              <p:cNvSpPr>
                <a:spLocks/>
              </p:cNvSpPr>
              <p:nvPr/>
            </p:nvSpPr>
            <p:spPr bwMode="auto">
              <a:xfrm>
                <a:off x="6283419" y="3456624"/>
                <a:ext cx="19785" cy="9893"/>
              </a:xfrm>
              <a:custGeom>
                <a:avLst/>
                <a:gdLst>
                  <a:gd name="T0" fmla="*/ 13 w 20"/>
                  <a:gd name="T1" fmla="*/ 10 h 10"/>
                  <a:gd name="T2" fmla="*/ 13 w 20"/>
                  <a:gd name="T3" fmla="*/ 10 h 10"/>
                  <a:gd name="T4" fmla="*/ 9 w 20"/>
                  <a:gd name="T5" fmla="*/ 9 h 10"/>
                  <a:gd name="T6" fmla="*/ 3 w 20"/>
                  <a:gd name="T7" fmla="*/ 4 h 10"/>
                  <a:gd name="T8" fmla="*/ 0 w 20"/>
                  <a:gd name="T9" fmla="*/ 2 h 10"/>
                  <a:gd name="T10" fmla="*/ 1 w 20"/>
                  <a:gd name="T11" fmla="*/ 0 h 10"/>
                  <a:gd name="T12" fmla="*/ 4 w 20"/>
                  <a:gd name="T13" fmla="*/ 0 h 10"/>
                  <a:gd name="T14" fmla="*/ 4 w 20"/>
                  <a:gd name="T15" fmla="*/ 0 h 10"/>
                  <a:gd name="T16" fmla="*/ 17 w 20"/>
                  <a:gd name="T17" fmla="*/ 3 h 10"/>
                  <a:gd name="T18" fmla="*/ 20 w 20"/>
                  <a:gd name="T19" fmla="*/ 3 h 10"/>
                  <a:gd name="T20" fmla="*/ 20 w 20"/>
                  <a:gd name="T21" fmla="*/ 6 h 10"/>
                  <a:gd name="T22" fmla="*/ 20 w 20"/>
                  <a:gd name="T23" fmla="*/ 6 h 10"/>
                  <a:gd name="T24" fmla="*/ 16 w 20"/>
                  <a:gd name="T25" fmla="*/ 9 h 10"/>
                  <a:gd name="T26" fmla="*/ 13 w 20"/>
                  <a:gd name="T2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10">
                    <a:moveTo>
                      <a:pt x="13" y="10"/>
                    </a:moveTo>
                    <a:lnTo>
                      <a:pt x="13" y="10"/>
                    </a:lnTo>
                    <a:lnTo>
                      <a:pt x="9" y="9"/>
                    </a:lnTo>
                    <a:lnTo>
                      <a:pt x="3" y="4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7" y="3"/>
                    </a:lnTo>
                    <a:lnTo>
                      <a:pt x="20" y="3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9"/>
                    </a:lnTo>
                    <a:lnTo>
                      <a:pt x="13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96" name="Freeform 850"/>
              <p:cNvSpPr>
                <a:spLocks/>
              </p:cNvSpPr>
              <p:nvPr/>
            </p:nvSpPr>
            <p:spPr bwMode="auto">
              <a:xfrm>
                <a:off x="6306172" y="3473441"/>
                <a:ext cx="25721" cy="17807"/>
              </a:xfrm>
              <a:custGeom>
                <a:avLst/>
                <a:gdLst>
                  <a:gd name="T0" fmla="*/ 22 w 26"/>
                  <a:gd name="T1" fmla="*/ 18 h 18"/>
                  <a:gd name="T2" fmla="*/ 22 w 26"/>
                  <a:gd name="T3" fmla="*/ 18 h 18"/>
                  <a:gd name="T4" fmla="*/ 16 w 26"/>
                  <a:gd name="T5" fmla="*/ 15 h 18"/>
                  <a:gd name="T6" fmla="*/ 12 w 26"/>
                  <a:gd name="T7" fmla="*/ 12 h 18"/>
                  <a:gd name="T8" fmla="*/ 7 w 26"/>
                  <a:gd name="T9" fmla="*/ 8 h 18"/>
                  <a:gd name="T10" fmla="*/ 3 w 26"/>
                  <a:gd name="T11" fmla="*/ 5 h 18"/>
                  <a:gd name="T12" fmla="*/ 3 w 26"/>
                  <a:gd name="T13" fmla="*/ 5 h 18"/>
                  <a:gd name="T14" fmla="*/ 0 w 26"/>
                  <a:gd name="T15" fmla="*/ 3 h 18"/>
                  <a:gd name="T16" fmla="*/ 0 w 26"/>
                  <a:gd name="T17" fmla="*/ 0 h 18"/>
                  <a:gd name="T18" fmla="*/ 3 w 26"/>
                  <a:gd name="T19" fmla="*/ 0 h 18"/>
                  <a:gd name="T20" fmla="*/ 9 w 26"/>
                  <a:gd name="T21" fmla="*/ 0 h 18"/>
                  <a:gd name="T22" fmla="*/ 9 w 26"/>
                  <a:gd name="T23" fmla="*/ 0 h 18"/>
                  <a:gd name="T24" fmla="*/ 13 w 26"/>
                  <a:gd name="T25" fmla="*/ 3 h 18"/>
                  <a:gd name="T26" fmla="*/ 20 w 26"/>
                  <a:gd name="T27" fmla="*/ 8 h 18"/>
                  <a:gd name="T28" fmla="*/ 26 w 26"/>
                  <a:gd name="T29" fmla="*/ 14 h 18"/>
                  <a:gd name="T30" fmla="*/ 26 w 26"/>
                  <a:gd name="T31" fmla="*/ 14 h 18"/>
                  <a:gd name="T32" fmla="*/ 26 w 26"/>
                  <a:gd name="T33" fmla="*/ 16 h 18"/>
                  <a:gd name="T34" fmla="*/ 25 w 26"/>
                  <a:gd name="T35" fmla="*/ 18 h 18"/>
                  <a:gd name="T36" fmla="*/ 22 w 26"/>
                  <a:gd name="T3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18">
                    <a:moveTo>
                      <a:pt x="22" y="18"/>
                    </a:moveTo>
                    <a:lnTo>
                      <a:pt x="22" y="18"/>
                    </a:lnTo>
                    <a:lnTo>
                      <a:pt x="16" y="15"/>
                    </a:lnTo>
                    <a:lnTo>
                      <a:pt x="12" y="12"/>
                    </a:lnTo>
                    <a:lnTo>
                      <a:pt x="7" y="8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3"/>
                    </a:lnTo>
                    <a:lnTo>
                      <a:pt x="20" y="8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6"/>
                    </a:lnTo>
                    <a:lnTo>
                      <a:pt x="25" y="18"/>
                    </a:lnTo>
                    <a:lnTo>
                      <a:pt x="22" y="1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97" name="Freeform 851"/>
              <p:cNvSpPr>
                <a:spLocks/>
              </p:cNvSpPr>
              <p:nvPr/>
            </p:nvSpPr>
            <p:spPr bwMode="auto">
              <a:xfrm>
                <a:off x="6306172" y="3473441"/>
                <a:ext cx="25721" cy="17807"/>
              </a:xfrm>
              <a:custGeom>
                <a:avLst/>
                <a:gdLst>
                  <a:gd name="T0" fmla="*/ 22 w 26"/>
                  <a:gd name="T1" fmla="*/ 18 h 18"/>
                  <a:gd name="T2" fmla="*/ 22 w 26"/>
                  <a:gd name="T3" fmla="*/ 18 h 18"/>
                  <a:gd name="T4" fmla="*/ 16 w 26"/>
                  <a:gd name="T5" fmla="*/ 15 h 18"/>
                  <a:gd name="T6" fmla="*/ 12 w 26"/>
                  <a:gd name="T7" fmla="*/ 12 h 18"/>
                  <a:gd name="T8" fmla="*/ 7 w 26"/>
                  <a:gd name="T9" fmla="*/ 8 h 18"/>
                  <a:gd name="T10" fmla="*/ 3 w 26"/>
                  <a:gd name="T11" fmla="*/ 5 h 18"/>
                  <a:gd name="T12" fmla="*/ 3 w 26"/>
                  <a:gd name="T13" fmla="*/ 5 h 18"/>
                  <a:gd name="T14" fmla="*/ 0 w 26"/>
                  <a:gd name="T15" fmla="*/ 3 h 18"/>
                  <a:gd name="T16" fmla="*/ 0 w 26"/>
                  <a:gd name="T17" fmla="*/ 0 h 18"/>
                  <a:gd name="T18" fmla="*/ 3 w 26"/>
                  <a:gd name="T19" fmla="*/ 0 h 18"/>
                  <a:gd name="T20" fmla="*/ 9 w 26"/>
                  <a:gd name="T21" fmla="*/ 0 h 18"/>
                  <a:gd name="T22" fmla="*/ 9 w 26"/>
                  <a:gd name="T23" fmla="*/ 0 h 18"/>
                  <a:gd name="T24" fmla="*/ 13 w 26"/>
                  <a:gd name="T25" fmla="*/ 3 h 18"/>
                  <a:gd name="T26" fmla="*/ 20 w 26"/>
                  <a:gd name="T27" fmla="*/ 8 h 18"/>
                  <a:gd name="T28" fmla="*/ 26 w 26"/>
                  <a:gd name="T29" fmla="*/ 14 h 18"/>
                  <a:gd name="T30" fmla="*/ 26 w 26"/>
                  <a:gd name="T31" fmla="*/ 14 h 18"/>
                  <a:gd name="T32" fmla="*/ 26 w 26"/>
                  <a:gd name="T33" fmla="*/ 16 h 18"/>
                  <a:gd name="T34" fmla="*/ 25 w 26"/>
                  <a:gd name="T35" fmla="*/ 18 h 18"/>
                  <a:gd name="T36" fmla="*/ 22 w 26"/>
                  <a:gd name="T3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18">
                    <a:moveTo>
                      <a:pt x="22" y="18"/>
                    </a:moveTo>
                    <a:lnTo>
                      <a:pt x="22" y="18"/>
                    </a:lnTo>
                    <a:lnTo>
                      <a:pt x="16" y="15"/>
                    </a:lnTo>
                    <a:lnTo>
                      <a:pt x="12" y="12"/>
                    </a:lnTo>
                    <a:lnTo>
                      <a:pt x="7" y="8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3"/>
                    </a:lnTo>
                    <a:lnTo>
                      <a:pt x="20" y="8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6"/>
                    </a:lnTo>
                    <a:lnTo>
                      <a:pt x="25" y="18"/>
                    </a:lnTo>
                    <a:lnTo>
                      <a:pt x="22" y="1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98" name="Freeform 852"/>
              <p:cNvSpPr>
                <a:spLocks/>
              </p:cNvSpPr>
              <p:nvPr/>
            </p:nvSpPr>
            <p:spPr bwMode="auto">
              <a:xfrm>
                <a:off x="6315075" y="3459592"/>
                <a:ext cx="51442" cy="8903"/>
              </a:xfrm>
              <a:custGeom>
                <a:avLst/>
                <a:gdLst>
                  <a:gd name="T0" fmla="*/ 22 w 52"/>
                  <a:gd name="T1" fmla="*/ 9 h 9"/>
                  <a:gd name="T2" fmla="*/ 22 w 52"/>
                  <a:gd name="T3" fmla="*/ 9 h 9"/>
                  <a:gd name="T4" fmla="*/ 9 w 52"/>
                  <a:gd name="T5" fmla="*/ 7 h 9"/>
                  <a:gd name="T6" fmla="*/ 1 w 52"/>
                  <a:gd name="T7" fmla="*/ 6 h 9"/>
                  <a:gd name="T8" fmla="*/ 0 w 52"/>
                  <a:gd name="T9" fmla="*/ 6 h 9"/>
                  <a:gd name="T10" fmla="*/ 1 w 52"/>
                  <a:gd name="T11" fmla="*/ 4 h 9"/>
                  <a:gd name="T12" fmla="*/ 1 w 52"/>
                  <a:gd name="T13" fmla="*/ 4 h 9"/>
                  <a:gd name="T14" fmla="*/ 6 w 52"/>
                  <a:gd name="T15" fmla="*/ 0 h 9"/>
                  <a:gd name="T16" fmla="*/ 10 w 52"/>
                  <a:gd name="T17" fmla="*/ 0 h 9"/>
                  <a:gd name="T18" fmla="*/ 14 w 52"/>
                  <a:gd name="T19" fmla="*/ 0 h 9"/>
                  <a:gd name="T20" fmla="*/ 14 w 52"/>
                  <a:gd name="T21" fmla="*/ 0 h 9"/>
                  <a:gd name="T22" fmla="*/ 26 w 52"/>
                  <a:gd name="T23" fmla="*/ 3 h 9"/>
                  <a:gd name="T24" fmla="*/ 32 w 52"/>
                  <a:gd name="T25" fmla="*/ 4 h 9"/>
                  <a:gd name="T26" fmla="*/ 38 w 52"/>
                  <a:gd name="T27" fmla="*/ 3 h 9"/>
                  <a:gd name="T28" fmla="*/ 38 w 52"/>
                  <a:gd name="T29" fmla="*/ 3 h 9"/>
                  <a:gd name="T30" fmla="*/ 49 w 52"/>
                  <a:gd name="T31" fmla="*/ 0 h 9"/>
                  <a:gd name="T32" fmla="*/ 52 w 52"/>
                  <a:gd name="T33" fmla="*/ 0 h 9"/>
                  <a:gd name="T34" fmla="*/ 52 w 52"/>
                  <a:gd name="T35" fmla="*/ 1 h 9"/>
                  <a:gd name="T36" fmla="*/ 52 w 52"/>
                  <a:gd name="T37" fmla="*/ 1 h 9"/>
                  <a:gd name="T38" fmla="*/ 52 w 52"/>
                  <a:gd name="T39" fmla="*/ 1 h 9"/>
                  <a:gd name="T40" fmla="*/ 45 w 52"/>
                  <a:gd name="T41" fmla="*/ 6 h 9"/>
                  <a:gd name="T42" fmla="*/ 40 w 52"/>
                  <a:gd name="T43" fmla="*/ 7 h 9"/>
                  <a:gd name="T44" fmla="*/ 40 w 52"/>
                  <a:gd name="T45" fmla="*/ 7 h 9"/>
                  <a:gd name="T46" fmla="*/ 32 w 52"/>
                  <a:gd name="T47" fmla="*/ 9 h 9"/>
                  <a:gd name="T48" fmla="*/ 22 w 52"/>
                  <a:gd name="T4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2" h="9">
                    <a:moveTo>
                      <a:pt x="22" y="9"/>
                    </a:moveTo>
                    <a:lnTo>
                      <a:pt x="22" y="9"/>
                    </a:lnTo>
                    <a:lnTo>
                      <a:pt x="9" y="7"/>
                    </a:lnTo>
                    <a:lnTo>
                      <a:pt x="1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6" y="3"/>
                    </a:lnTo>
                    <a:lnTo>
                      <a:pt x="32" y="4"/>
                    </a:lnTo>
                    <a:lnTo>
                      <a:pt x="38" y="3"/>
                    </a:lnTo>
                    <a:lnTo>
                      <a:pt x="38" y="3"/>
                    </a:lnTo>
                    <a:lnTo>
                      <a:pt x="49" y="0"/>
                    </a:lnTo>
                    <a:lnTo>
                      <a:pt x="52" y="0"/>
                    </a:lnTo>
                    <a:lnTo>
                      <a:pt x="52" y="1"/>
                    </a:lnTo>
                    <a:lnTo>
                      <a:pt x="52" y="1"/>
                    </a:lnTo>
                    <a:lnTo>
                      <a:pt x="52" y="1"/>
                    </a:lnTo>
                    <a:lnTo>
                      <a:pt x="45" y="6"/>
                    </a:lnTo>
                    <a:lnTo>
                      <a:pt x="40" y="7"/>
                    </a:lnTo>
                    <a:lnTo>
                      <a:pt x="40" y="7"/>
                    </a:lnTo>
                    <a:lnTo>
                      <a:pt x="32" y="9"/>
                    </a:lnTo>
                    <a:lnTo>
                      <a:pt x="22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99" name="Freeform 853"/>
              <p:cNvSpPr>
                <a:spLocks/>
              </p:cNvSpPr>
              <p:nvPr/>
            </p:nvSpPr>
            <p:spPr bwMode="auto">
              <a:xfrm>
                <a:off x="6315075" y="3459592"/>
                <a:ext cx="51442" cy="8903"/>
              </a:xfrm>
              <a:custGeom>
                <a:avLst/>
                <a:gdLst>
                  <a:gd name="T0" fmla="*/ 22 w 52"/>
                  <a:gd name="T1" fmla="*/ 9 h 9"/>
                  <a:gd name="T2" fmla="*/ 22 w 52"/>
                  <a:gd name="T3" fmla="*/ 9 h 9"/>
                  <a:gd name="T4" fmla="*/ 9 w 52"/>
                  <a:gd name="T5" fmla="*/ 7 h 9"/>
                  <a:gd name="T6" fmla="*/ 1 w 52"/>
                  <a:gd name="T7" fmla="*/ 6 h 9"/>
                  <a:gd name="T8" fmla="*/ 0 w 52"/>
                  <a:gd name="T9" fmla="*/ 6 h 9"/>
                  <a:gd name="T10" fmla="*/ 1 w 52"/>
                  <a:gd name="T11" fmla="*/ 4 h 9"/>
                  <a:gd name="T12" fmla="*/ 1 w 52"/>
                  <a:gd name="T13" fmla="*/ 4 h 9"/>
                  <a:gd name="T14" fmla="*/ 6 w 52"/>
                  <a:gd name="T15" fmla="*/ 0 h 9"/>
                  <a:gd name="T16" fmla="*/ 10 w 52"/>
                  <a:gd name="T17" fmla="*/ 0 h 9"/>
                  <a:gd name="T18" fmla="*/ 14 w 52"/>
                  <a:gd name="T19" fmla="*/ 0 h 9"/>
                  <a:gd name="T20" fmla="*/ 14 w 52"/>
                  <a:gd name="T21" fmla="*/ 0 h 9"/>
                  <a:gd name="T22" fmla="*/ 26 w 52"/>
                  <a:gd name="T23" fmla="*/ 3 h 9"/>
                  <a:gd name="T24" fmla="*/ 32 w 52"/>
                  <a:gd name="T25" fmla="*/ 4 h 9"/>
                  <a:gd name="T26" fmla="*/ 38 w 52"/>
                  <a:gd name="T27" fmla="*/ 3 h 9"/>
                  <a:gd name="T28" fmla="*/ 38 w 52"/>
                  <a:gd name="T29" fmla="*/ 3 h 9"/>
                  <a:gd name="T30" fmla="*/ 49 w 52"/>
                  <a:gd name="T31" fmla="*/ 0 h 9"/>
                  <a:gd name="T32" fmla="*/ 52 w 52"/>
                  <a:gd name="T33" fmla="*/ 0 h 9"/>
                  <a:gd name="T34" fmla="*/ 52 w 52"/>
                  <a:gd name="T35" fmla="*/ 1 h 9"/>
                  <a:gd name="T36" fmla="*/ 52 w 52"/>
                  <a:gd name="T37" fmla="*/ 1 h 9"/>
                  <a:gd name="T38" fmla="*/ 52 w 52"/>
                  <a:gd name="T39" fmla="*/ 1 h 9"/>
                  <a:gd name="T40" fmla="*/ 45 w 52"/>
                  <a:gd name="T41" fmla="*/ 6 h 9"/>
                  <a:gd name="T42" fmla="*/ 40 w 52"/>
                  <a:gd name="T43" fmla="*/ 7 h 9"/>
                  <a:gd name="T44" fmla="*/ 40 w 52"/>
                  <a:gd name="T45" fmla="*/ 7 h 9"/>
                  <a:gd name="T46" fmla="*/ 32 w 52"/>
                  <a:gd name="T47" fmla="*/ 9 h 9"/>
                  <a:gd name="T48" fmla="*/ 22 w 52"/>
                  <a:gd name="T4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2" h="9">
                    <a:moveTo>
                      <a:pt x="22" y="9"/>
                    </a:moveTo>
                    <a:lnTo>
                      <a:pt x="22" y="9"/>
                    </a:lnTo>
                    <a:lnTo>
                      <a:pt x="9" y="7"/>
                    </a:lnTo>
                    <a:lnTo>
                      <a:pt x="1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6" y="3"/>
                    </a:lnTo>
                    <a:lnTo>
                      <a:pt x="32" y="4"/>
                    </a:lnTo>
                    <a:lnTo>
                      <a:pt x="38" y="3"/>
                    </a:lnTo>
                    <a:lnTo>
                      <a:pt x="38" y="3"/>
                    </a:lnTo>
                    <a:lnTo>
                      <a:pt x="49" y="0"/>
                    </a:lnTo>
                    <a:lnTo>
                      <a:pt x="52" y="0"/>
                    </a:lnTo>
                    <a:lnTo>
                      <a:pt x="52" y="1"/>
                    </a:lnTo>
                    <a:lnTo>
                      <a:pt x="52" y="1"/>
                    </a:lnTo>
                    <a:lnTo>
                      <a:pt x="52" y="1"/>
                    </a:lnTo>
                    <a:lnTo>
                      <a:pt x="45" y="6"/>
                    </a:lnTo>
                    <a:lnTo>
                      <a:pt x="40" y="7"/>
                    </a:lnTo>
                    <a:lnTo>
                      <a:pt x="40" y="7"/>
                    </a:lnTo>
                    <a:lnTo>
                      <a:pt x="32" y="9"/>
                    </a:lnTo>
                    <a:lnTo>
                      <a:pt x="22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00" name="Freeform 854"/>
              <p:cNvSpPr>
                <a:spLocks/>
              </p:cNvSpPr>
              <p:nvPr/>
            </p:nvSpPr>
            <p:spPr bwMode="auto">
              <a:xfrm>
                <a:off x="6300236" y="3307246"/>
                <a:ext cx="100904" cy="104861"/>
              </a:xfrm>
              <a:custGeom>
                <a:avLst/>
                <a:gdLst>
                  <a:gd name="T0" fmla="*/ 8 w 102"/>
                  <a:gd name="T1" fmla="*/ 105 h 106"/>
                  <a:gd name="T2" fmla="*/ 11 w 102"/>
                  <a:gd name="T3" fmla="*/ 96 h 106"/>
                  <a:gd name="T4" fmla="*/ 13 w 102"/>
                  <a:gd name="T5" fmla="*/ 82 h 106"/>
                  <a:gd name="T6" fmla="*/ 8 w 102"/>
                  <a:gd name="T7" fmla="*/ 77 h 106"/>
                  <a:gd name="T8" fmla="*/ 0 w 102"/>
                  <a:gd name="T9" fmla="*/ 71 h 106"/>
                  <a:gd name="T10" fmla="*/ 5 w 102"/>
                  <a:gd name="T11" fmla="*/ 58 h 106"/>
                  <a:gd name="T12" fmla="*/ 6 w 102"/>
                  <a:gd name="T13" fmla="*/ 48 h 106"/>
                  <a:gd name="T14" fmla="*/ 8 w 102"/>
                  <a:gd name="T15" fmla="*/ 42 h 106"/>
                  <a:gd name="T16" fmla="*/ 12 w 102"/>
                  <a:gd name="T17" fmla="*/ 34 h 106"/>
                  <a:gd name="T18" fmla="*/ 18 w 102"/>
                  <a:gd name="T19" fmla="*/ 28 h 106"/>
                  <a:gd name="T20" fmla="*/ 26 w 102"/>
                  <a:gd name="T21" fmla="*/ 12 h 106"/>
                  <a:gd name="T22" fmla="*/ 35 w 102"/>
                  <a:gd name="T23" fmla="*/ 6 h 106"/>
                  <a:gd name="T24" fmla="*/ 40 w 102"/>
                  <a:gd name="T25" fmla="*/ 2 h 106"/>
                  <a:gd name="T26" fmla="*/ 58 w 102"/>
                  <a:gd name="T27" fmla="*/ 8 h 106"/>
                  <a:gd name="T28" fmla="*/ 79 w 102"/>
                  <a:gd name="T29" fmla="*/ 11 h 106"/>
                  <a:gd name="T30" fmla="*/ 89 w 102"/>
                  <a:gd name="T31" fmla="*/ 11 h 106"/>
                  <a:gd name="T32" fmla="*/ 100 w 102"/>
                  <a:gd name="T33" fmla="*/ 0 h 106"/>
                  <a:gd name="T34" fmla="*/ 102 w 102"/>
                  <a:gd name="T35" fmla="*/ 3 h 106"/>
                  <a:gd name="T36" fmla="*/ 93 w 102"/>
                  <a:gd name="T37" fmla="*/ 13 h 106"/>
                  <a:gd name="T38" fmla="*/ 79 w 102"/>
                  <a:gd name="T39" fmla="*/ 21 h 106"/>
                  <a:gd name="T40" fmla="*/ 71 w 102"/>
                  <a:gd name="T41" fmla="*/ 19 h 106"/>
                  <a:gd name="T42" fmla="*/ 55 w 102"/>
                  <a:gd name="T43" fmla="*/ 18 h 106"/>
                  <a:gd name="T44" fmla="*/ 38 w 102"/>
                  <a:gd name="T45" fmla="*/ 18 h 106"/>
                  <a:gd name="T46" fmla="*/ 31 w 102"/>
                  <a:gd name="T47" fmla="*/ 18 h 106"/>
                  <a:gd name="T48" fmla="*/ 28 w 102"/>
                  <a:gd name="T49" fmla="*/ 25 h 106"/>
                  <a:gd name="T50" fmla="*/ 24 w 102"/>
                  <a:gd name="T51" fmla="*/ 34 h 106"/>
                  <a:gd name="T52" fmla="*/ 29 w 102"/>
                  <a:gd name="T53" fmla="*/ 42 h 106"/>
                  <a:gd name="T54" fmla="*/ 41 w 102"/>
                  <a:gd name="T55" fmla="*/ 40 h 106"/>
                  <a:gd name="T56" fmla="*/ 45 w 102"/>
                  <a:gd name="T57" fmla="*/ 34 h 106"/>
                  <a:gd name="T58" fmla="*/ 64 w 102"/>
                  <a:gd name="T59" fmla="*/ 29 h 106"/>
                  <a:gd name="T60" fmla="*/ 70 w 102"/>
                  <a:gd name="T61" fmla="*/ 32 h 106"/>
                  <a:gd name="T62" fmla="*/ 61 w 102"/>
                  <a:gd name="T63" fmla="*/ 37 h 106"/>
                  <a:gd name="T64" fmla="*/ 51 w 102"/>
                  <a:gd name="T65" fmla="*/ 47 h 106"/>
                  <a:gd name="T66" fmla="*/ 47 w 102"/>
                  <a:gd name="T67" fmla="*/ 53 h 106"/>
                  <a:gd name="T68" fmla="*/ 54 w 102"/>
                  <a:gd name="T69" fmla="*/ 60 h 106"/>
                  <a:gd name="T70" fmla="*/ 60 w 102"/>
                  <a:gd name="T71" fmla="*/ 64 h 106"/>
                  <a:gd name="T72" fmla="*/ 58 w 102"/>
                  <a:gd name="T73" fmla="*/ 70 h 106"/>
                  <a:gd name="T74" fmla="*/ 55 w 102"/>
                  <a:gd name="T75" fmla="*/ 79 h 106"/>
                  <a:gd name="T76" fmla="*/ 61 w 102"/>
                  <a:gd name="T77" fmla="*/ 87 h 106"/>
                  <a:gd name="T78" fmla="*/ 55 w 102"/>
                  <a:gd name="T79" fmla="*/ 90 h 106"/>
                  <a:gd name="T80" fmla="*/ 51 w 102"/>
                  <a:gd name="T81" fmla="*/ 95 h 106"/>
                  <a:gd name="T82" fmla="*/ 47 w 102"/>
                  <a:gd name="T83" fmla="*/ 96 h 106"/>
                  <a:gd name="T84" fmla="*/ 41 w 102"/>
                  <a:gd name="T85" fmla="*/ 89 h 106"/>
                  <a:gd name="T86" fmla="*/ 40 w 102"/>
                  <a:gd name="T87" fmla="*/ 80 h 106"/>
                  <a:gd name="T88" fmla="*/ 37 w 102"/>
                  <a:gd name="T89" fmla="*/ 74 h 106"/>
                  <a:gd name="T90" fmla="*/ 40 w 102"/>
                  <a:gd name="T91" fmla="*/ 66 h 106"/>
                  <a:gd name="T92" fmla="*/ 40 w 102"/>
                  <a:gd name="T93" fmla="*/ 64 h 106"/>
                  <a:gd name="T94" fmla="*/ 29 w 102"/>
                  <a:gd name="T95" fmla="*/ 66 h 106"/>
                  <a:gd name="T96" fmla="*/ 25 w 102"/>
                  <a:gd name="T97" fmla="*/ 80 h 106"/>
                  <a:gd name="T98" fmla="*/ 25 w 102"/>
                  <a:gd name="T99" fmla="*/ 103 h 106"/>
                  <a:gd name="T100" fmla="*/ 13 w 102"/>
                  <a:gd name="T101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2" h="106">
                    <a:moveTo>
                      <a:pt x="11" y="105"/>
                    </a:moveTo>
                    <a:lnTo>
                      <a:pt x="11" y="105"/>
                    </a:lnTo>
                    <a:lnTo>
                      <a:pt x="8" y="105"/>
                    </a:lnTo>
                    <a:lnTo>
                      <a:pt x="8" y="103"/>
                    </a:lnTo>
                    <a:lnTo>
                      <a:pt x="11" y="96"/>
                    </a:lnTo>
                    <a:lnTo>
                      <a:pt x="11" y="96"/>
                    </a:lnTo>
                    <a:lnTo>
                      <a:pt x="13" y="92"/>
                    </a:lnTo>
                    <a:lnTo>
                      <a:pt x="15" y="86"/>
                    </a:lnTo>
                    <a:lnTo>
                      <a:pt x="13" y="82"/>
                    </a:lnTo>
                    <a:lnTo>
                      <a:pt x="12" y="79"/>
                    </a:lnTo>
                    <a:lnTo>
                      <a:pt x="12" y="79"/>
                    </a:lnTo>
                    <a:lnTo>
                      <a:pt x="8" y="77"/>
                    </a:lnTo>
                    <a:lnTo>
                      <a:pt x="5" y="77"/>
                    </a:lnTo>
                    <a:lnTo>
                      <a:pt x="2" y="76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2" y="64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6" y="53"/>
                    </a:lnTo>
                    <a:lnTo>
                      <a:pt x="6" y="48"/>
                    </a:lnTo>
                    <a:lnTo>
                      <a:pt x="6" y="45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9" y="40"/>
                    </a:lnTo>
                    <a:lnTo>
                      <a:pt x="11" y="37"/>
                    </a:lnTo>
                    <a:lnTo>
                      <a:pt x="12" y="34"/>
                    </a:lnTo>
                    <a:lnTo>
                      <a:pt x="15" y="32"/>
                    </a:lnTo>
                    <a:lnTo>
                      <a:pt x="15" y="32"/>
                    </a:lnTo>
                    <a:lnTo>
                      <a:pt x="18" y="28"/>
                    </a:lnTo>
                    <a:lnTo>
                      <a:pt x="21" y="22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2" y="9"/>
                    </a:lnTo>
                    <a:lnTo>
                      <a:pt x="35" y="6"/>
                    </a:lnTo>
                    <a:lnTo>
                      <a:pt x="35" y="6"/>
                    </a:lnTo>
                    <a:lnTo>
                      <a:pt x="38" y="3"/>
                    </a:lnTo>
                    <a:lnTo>
                      <a:pt x="40" y="2"/>
                    </a:lnTo>
                    <a:lnTo>
                      <a:pt x="47" y="5"/>
                    </a:lnTo>
                    <a:lnTo>
                      <a:pt x="47" y="5"/>
                    </a:lnTo>
                    <a:lnTo>
                      <a:pt x="58" y="8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79" y="11"/>
                    </a:lnTo>
                    <a:lnTo>
                      <a:pt x="84" y="11"/>
                    </a:lnTo>
                    <a:lnTo>
                      <a:pt x="89" y="11"/>
                    </a:lnTo>
                    <a:lnTo>
                      <a:pt x="89" y="11"/>
                    </a:lnTo>
                    <a:lnTo>
                      <a:pt x="95" y="3"/>
                    </a:lnTo>
                    <a:lnTo>
                      <a:pt x="97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2" y="0"/>
                    </a:lnTo>
                    <a:lnTo>
                      <a:pt x="102" y="3"/>
                    </a:lnTo>
                    <a:lnTo>
                      <a:pt x="99" y="8"/>
                    </a:lnTo>
                    <a:lnTo>
                      <a:pt x="99" y="8"/>
                    </a:lnTo>
                    <a:lnTo>
                      <a:pt x="93" y="13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79" y="21"/>
                    </a:lnTo>
                    <a:lnTo>
                      <a:pt x="76" y="21"/>
                    </a:lnTo>
                    <a:lnTo>
                      <a:pt x="71" y="19"/>
                    </a:lnTo>
                    <a:lnTo>
                      <a:pt x="71" y="19"/>
                    </a:lnTo>
                    <a:lnTo>
                      <a:pt x="63" y="18"/>
                    </a:lnTo>
                    <a:lnTo>
                      <a:pt x="58" y="18"/>
                    </a:lnTo>
                    <a:lnTo>
                      <a:pt x="55" y="18"/>
                    </a:lnTo>
                    <a:lnTo>
                      <a:pt x="55" y="18"/>
                    </a:lnTo>
                    <a:lnTo>
                      <a:pt x="48" y="19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2" y="18"/>
                    </a:lnTo>
                    <a:lnTo>
                      <a:pt x="31" y="18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28" y="25"/>
                    </a:lnTo>
                    <a:lnTo>
                      <a:pt x="24" y="31"/>
                    </a:lnTo>
                    <a:lnTo>
                      <a:pt x="24" y="31"/>
                    </a:lnTo>
                    <a:lnTo>
                      <a:pt x="24" y="34"/>
                    </a:lnTo>
                    <a:lnTo>
                      <a:pt x="24" y="38"/>
                    </a:lnTo>
                    <a:lnTo>
                      <a:pt x="25" y="41"/>
                    </a:lnTo>
                    <a:lnTo>
                      <a:pt x="29" y="42"/>
                    </a:lnTo>
                    <a:lnTo>
                      <a:pt x="29" y="42"/>
                    </a:lnTo>
                    <a:lnTo>
                      <a:pt x="37" y="42"/>
                    </a:lnTo>
                    <a:lnTo>
                      <a:pt x="41" y="40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5" y="34"/>
                    </a:lnTo>
                    <a:lnTo>
                      <a:pt x="51" y="32"/>
                    </a:lnTo>
                    <a:lnTo>
                      <a:pt x="64" y="29"/>
                    </a:lnTo>
                    <a:lnTo>
                      <a:pt x="64" y="29"/>
                    </a:lnTo>
                    <a:lnTo>
                      <a:pt x="68" y="29"/>
                    </a:lnTo>
                    <a:lnTo>
                      <a:pt x="70" y="31"/>
                    </a:lnTo>
                    <a:lnTo>
                      <a:pt x="70" y="32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1" y="37"/>
                    </a:lnTo>
                    <a:lnTo>
                      <a:pt x="55" y="40"/>
                    </a:lnTo>
                    <a:lnTo>
                      <a:pt x="55" y="40"/>
                    </a:lnTo>
                    <a:lnTo>
                      <a:pt x="51" y="47"/>
                    </a:lnTo>
                    <a:lnTo>
                      <a:pt x="48" y="50"/>
                    </a:lnTo>
                    <a:lnTo>
                      <a:pt x="47" y="53"/>
                    </a:lnTo>
                    <a:lnTo>
                      <a:pt x="47" y="53"/>
                    </a:lnTo>
                    <a:lnTo>
                      <a:pt x="48" y="57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4" y="60"/>
                    </a:lnTo>
                    <a:lnTo>
                      <a:pt x="58" y="61"/>
                    </a:lnTo>
                    <a:lnTo>
                      <a:pt x="60" y="64"/>
                    </a:lnTo>
                    <a:lnTo>
                      <a:pt x="60" y="67"/>
                    </a:lnTo>
                    <a:lnTo>
                      <a:pt x="58" y="70"/>
                    </a:lnTo>
                    <a:lnTo>
                      <a:pt x="58" y="70"/>
                    </a:lnTo>
                    <a:lnTo>
                      <a:pt x="54" y="73"/>
                    </a:lnTo>
                    <a:lnTo>
                      <a:pt x="54" y="76"/>
                    </a:lnTo>
                    <a:lnTo>
                      <a:pt x="55" y="79"/>
                    </a:lnTo>
                    <a:lnTo>
                      <a:pt x="55" y="79"/>
                    </a:lnTo>
                    <a:lnTo>
                      <a:pt x="60" y="84"/>
                    </a:lnTo>
                    <a:lnTo>
                      <a:pt x="61" y="87"/>
                    </a:lnTo>
                    <a:lnTo>
                      <a:pt x="60" y="89"/>
                    </a:lnTo>
                    <a:lnTo>
                      <a:pt x="60" y="89"/>
                    </a:lnTo>
                    <a:lnTo>
                      <a:pt x="55" y="90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1" y="95"/>
                    </a:lnTo>
                    <a:lnTo>
                      <a:pt x="48" y="96"/>
                    </a:lnTo>
                    <a:lnTo>
                      <a:pt x="47" y="96"/>
                    </a:lnTo>
                    <a:lnTo>
                      <a:pt x="47" y="96"/>
                    </a:lnTo>
                    <a:lnTo>
                      <a:pt x="44" y="95"/>
                    </a:lnTo>
                    <a:lnTo>
                      <a:pt x="44" y="93"/>
                    </a:lnTo>
                    <a:lnTo>
                      <a:pt x="41" y="89"/>
                    </a:lnTo>
                    <a:lnTo>
                      <a:pt x="41" y="89"/>
                    </a:lnTo>
                    <a:lnTo>
                      <a:pt x="41" y="84"/>
                    </a:lnTo>
                    <a:lnTo>
                      <a:pt x="40" y="80"/>
                    </a:lnTo>
                    <a:lnTo>
                      <a:pt x="38" y="77"/>
                    </a:lnTo>
                    <a:lnTo>
                      <a:pt x="38" y="77"/>
                    </a:lnTo>
                    <a:lnTo>
                      <a:pt x="37" y="74"/>
                    </a:lnTo>
                    <a:lnTo>
                      <a:pt x="37" y="70"/>
                    </a:lnTo>
                    <a:lnTo>
                      <a:pt x="38" y="67"/>
                    </a:lnTo>
                    <a:lnTo>
                      <a:pt x="40" y="66"/>
                    </a:lnTo>
                    <a:lnTo>
                      <a:pt x="40" y="66"/>
                    </a:lnTo>
                    <a:lnTo>
                      <a:pt x="41" y="64"/>
                    </a:lnTo>
                    <a:lnTo>
                      <a:pt x="40" y="64"/>
                    </a:lnTo>
                    <a:lnTo>
                      <a:pt x="35" y="64"/>
                    </a:lnTo>
                    <a:lnTo>
                      <a:pt x="29" y="66"/>
                    </a:lnTo>
                    <a:lnTo>
                      <a:pt x="29" y="66"/>
                    </a:lnTo>
                    <a:lnTo>
                      <a:pt x="26" y="71"/>
                    </a:lnTo>
                    <a:lnTo>
                      <a:pt x="25" y="80"/>
                    </a:lnTo>
                    <a:lnTo>
                      <a:pt x="25" y="80"/>
                    </a:lnTo>
                    <a:lnTo>
                      <a:pt x="25" y="92"/>
                    </a:lnTo>
                    <a:lnTo>
                      <a:pt x="25" y="100"/>
                    </a:lnTo>
                    <a:lnTo>
                      <a:pt x="25" y="103"/>
                    </a:lnTo>
                    <a:lnTo>
                      <a:pt x="25" y="103"/>
                    </a:lnTo>
                    <a:lnTo>
                      <a:pt x="18" y="105"/>
                    </a:lnTo>
                    <a:lnTo>
                      <a:pt x="13" y="106"/>
                    </a:lnTo>
                    <a:lnTo>
                      <a:pt x="11" y="10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01" name="Freeform 855"/>
              <p:cNvSpPr>
                <a:spLocks/>
              </p:cNvSpPr>
              <p:nvPr/>
            </p:nvSpPr>
            <p:spPr bwMode="auto">
              <a:xfrm>
                <a:off x="6300236" y="3307246"/>
                <a:ext cx="100904" cy="104861"/>
              </a:xfrm>
              <a:custGeom>
                <a:avLst/>
                <a:gdLst>
                  <a:gd name="T0" fmla="*/ 8 w 102"/>
                  <a:gd name="T1" fmla="*/ 105 h 106"/>
                  <a:gd name="T2" fmla="*/ 11 w 102"/>
                  <a:gd name="T3" fmla="*/ 96 h 106"/>
                  <a:gd name="T4" fmla="*/ 13 w 102"/>
                  <a:gd name="T5" fmla="*/ 82 h 106"/>
                  <a:gd name="T6" fmla="*/ 8 w 102"/>
                  <a:gd name="T7" fmla="*/ 77 h 106"/>
                  <a:gd name="T8" fmla="*/ 0 w 102"/>
                  <a:gd name="T9" fmla="*/ 71 h 106"/>
                  <a:gd name="T10" fmla="*/ 5 w 102"/>
                  <a:gd name="T11" fmla="*/ 58 h 106"/>
                  <a:gd name="T12" fmla="*/ 6 w 102"/>
                  <a:gd name="T13" fmla="*/ 48 h 106"/>
                  <a:gd name="T14" fmla="*/ 8 w 102"/>
                  <a:gd name="T15" fmla="*/ 42 h 106"/>
                  <a:gd name="T16" fmla="*/ 12 w 102"/>
                  <a:gd name="T17" fmla="*/ 34 h 106"/>
                  <a:gd name="T18" fmla="*/ 18 w 102"/>
                  <a:gd name="T19" fmla="*/ 28 h 106"/>
                  <a:gd name="T20" fmla="*/ 26 w 102"/>
                  <a:gd name="T21" fmla="*/ 12 h 106"/>
                  <a:gd name="T22" fmla="*/ 35 w 102"/>
                  <a:gd name="T23" fmla="*/ 6 h 106"/>
                  <a:gd name="T24" fmla="*/ 40 w 102"/>
                  <a:gd name="T25" fmla="*/ 2 h 106"/>
                  <a:gd name="T26" fmla="*/ 58 w 102"/>
                  <a:gd name="T27" fmla="*/ 8 h 106"/>
                  <a:gd name="T28" fmla="*/ 79 w 102"/>
                  <a:gd name="T29" fmla="*/ 11 h 106"/>
                  <a:gd name="T30" fmla="*/ 89 w 102"/>
                  <a:gd name="T31" fmla="*/ 11 h 106"/>
                  <a:gd name="T32" fmla="*/ 100 w 102"/>
                  <a:gd name="T33" fmla="*/ 0 h 106"/>
                  <a:gd name="T34" fmla="*/ 102 w 102"/>
                  <a:gd name="T35" fmla="*/ 3 h 106"/>
                  <a:gd name="T36" fmla="*/ 93 w 102"/>
                  <a:gd name="T37" fmla="*/ 13 h 106"/>
                  <a:gd name="T38" fmla="*/ 79 w 102"/>
                  <a:gd name="T39" fmla="*/ 21 h 106"/>
                  <a:gd name="T40" fmla="*/ 71 w 102"/>
                  <a:gd name="T41" fmla="*/ 19 h 106"/>
                  <a:gd name="T42" fmla="*/ 55 w 102"/>
                  <a:gd name="T43" fmla="*/ 18 h 106"/>
                  <a:gd name="T44" fmla="*/ 38 w 102"/>
                  <a:gd name="T45" fmla="*/ 18 h 106"/>
                  <a:gd name="T46" fmla="*/ 31 w 102"/>
                  <a:gd name="T47" fmla="*/ 18 h 106"/>
                  <a:gd name="T48" fmla="*/ 28 w 102"/>
                  <a:gd name="T49" fmla="*/ 25 h 106"/>
                  <a:gd name="T50" fmla="*/ 24 w 102"/>
                  <a:gd name="T51" fmla="*/ 34 h 106"/>
                  <a:gd name="T52" fmla="*/ 29 w 102"/>
                  <a:gd name="T53" fmla="*/ 42 h 106"/>
                  <a:gd name="T54" fmla="*/ 41 w 102"/>
                  <a:gd name="T55" fmla="*/ 40 h 106"/>
                  <a:gd name="T56" fmla="*/ 45 w 102"/>
                  <a:gd name="T57" fmla="*/ 34 h 106"/>
                  <a:gd name="T58" fmla="*/ 64 w 102"/>
                  <a:gd name="T59" fmla="*/ 29 h 106"/>
                  <a:gd name="T60" fmla="*/ 70 w 102"/>
                  <a:gd name="T61" fmla="*/ 32 h 106"/>
                  <a:gd name="T62" fmla="*/ 61 w 102"/>
                  <a:gd name="T63" fmla="*/ 37 h 106"/>
                  <a:gd name="T64" fmla="*/ 51 w 102"/>
                  <a:gd name="T65" fmla="*/ 47 h 106"/>
                  <a:gd name="T66" fmla="*/ 47 w 102"/>
                  <a:gd name="T67" fmla="*/ 53 h 106"/>
                  <a:gd name="T68" fmla="*/ 54 w 102"/>
                  <a:gd name="T69" fmla="*/ 60 h 106"/>
                  <a:gd name="T70" fmla="*/ 60 w 102"/>
                  <a:gd name="T71" fmla="*/ 64 h 106"/>
                  <a:gd name="T72" fmla="*/ 58 w 102"/>
                  <a:gd name="T73" fmla="*/ 70 h 106"/>
                  <a:gd name="T74" fmla="*/ 55 w 102"/>
                  <a:gd name="T75" fmla="*/ 79 h 106"/>
                  <a:gd name="T76" fmla="*/ 61 w 102"/>
                  <a:gd name="T77" fmla="*/ 87 h 106"/>
                  <a:gd name="T78" fmla="*/ 55 w 102"/>
                  <a:gd name="T79" fmla="*/ 90 h 106"/>
                  <a:gd name="T80" fmla="*/ 51 w 102"/>
                  <a:gd name="T81" fmla="*/ 95 h 106"/>
                  <a:gd name="T82" fmla="*/ 47 w 102"/>
                  <a:gd name="T83" fmla="*/ 96 h 106"/>
                  <a:gd name="T84" fmla="*/ 41 w 102"/>
                  <a:gd name="T85" fmla="*/ 89 h 106"/>
                  <a:gd name="T86" fmla="*/ 40 w 102"/>
                  <a:gd name="T87" fmla="*/ 80 h 106"/>
                  <a:gd name="T88" fmla="*/ 37 w 102"/>
                  <a:gd name="T89" fmla="*/ 74 h 106"/>
                  <a:gd name="T90" fmla="*/ 40 w 102"/>
                  <a:gd name="T91" fmla="*/ 66 h 106"/>
                  <a:gd name="T92" fmla="*/ 40 w 102"/>
                  <a:gd name="T93" fmla="*/ 64 h 106"/>
                  <a:gd name="T94" fmla="*/ 29 w 102"/>
                  <a:gd name="T95" fmla="*/ 66 h 106"/>
                  <a:gd name="T96" fmla="*/ 25 w 102"/>
                  <a:gd name="T97" fmla="*/ 80 h 106"/>
                  <a:gd name="T98" fmla="*/ 25 w 102"/>
                  <a:gd name="T99" fmla="*/ 103 h 106"/>
                  <a:gd name="T100" fmla="*/ 13 w 102"/>
                  <a:gd name="T101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2" h="106">
                    <a:moveTo>
                      <a:pt x="11" y="105"/>
                    </a:moveTo>
                    <a:lnTo>
                      <a:pt x="11" y="105"/>
                    </a:lnTo>
                    <a:lnTo>
                      <a:pt x="8" y="105"/>
                    </a:lnTo>
                    <a:lnTo>
                      <a:pt x="8" y="103"/>
                    </a:lnTo>
                    <a:lnTo>
                      <a:pt x="11" y="96"/>
                    </a:lnTo>
                    <a:lnTo>
                      <a:pt x="11" y="96"/>
                    </a:lnTo>
                    <a:lnTo>
                      <a:pt x="13" y="92"/>
                    </a:lnTo>
                    <a:lnTo>
                      <a:pt x="15" y="86"/>
                    </a:lnTo>
                    <a:lnTo>
                      <a:pt x="13" y="82"/>
                    </a:lnTo>
                    <a:lnTo>
                      <a:pt x="12" y="79"/>
                    </a:lnTo>
                    <a:lnTo>
                      <a:pt x="12" y="79"/>
                    </a:lnTo>
                    <a:lnTo>
                      <a:pt x="8" y="77"/>
                    </a:lnTo>
                    <a:lnTo>
                      <a:pt x="5" y="77"/>
                    </a:lnTo>
                    <a:lnTo>
                      <a:pt x="2" y="76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2" y="64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6" y="53"/>
                    </a:lnTo>
                    <a:lnTo>
                      <a:pt x="6" y="48"/>
                    </a:lnTo>
                    <a:lnTo>
                      <a:pt x="6" y="45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9" y="40"/>
                    </a:lnTo>
                    <a:lnTo>
                      <a:pt x="11" y="37"/>
                    </a:lnTo>
                    <a:lnTo>
                      <a:pt x="12" y="34"/>
                    </a:lnTo>
                    <a:lnTo>
                      <a:pt x="15" y="32"/>
                    </a:lnTo>
                    <a:lnTo>
                      <a:pt x="15" y="32"/>
                    </a:lnTo>
                    <a:lnTo>
                      <a:pt x="18" y="28"/>
                    </a:lnTo>
                    <a:lnTo>
                      <a:pt x="21" y="22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2" y="9"/>
                    </a:lnTo>
                    <a:lnTo>
                      <a:pt x="35" y="6"/>
                    </a:lnTo>
                    <a:lnTo>
                      <a:pt x="35" y="6"/>
                    </a:lnTo>
                    <a:lnTo>
                      <a:pt x="38" y="3"/>
                    </a:lnTo>
                    <a:lnTo>
                      <a:pt x="40" y="2"/>
                    </a:lnTo>
                    <a:lnTo>
                      <a:pt x="47" y="5"/>
                    </a:lnTo>
                    <a:lnTo>
                      <a:pt x="47" y="5"/>
                    </a:lnTo>
                    <a:lnTo>
                      <a:pt x="58" y="8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79" y="11"/>
                    </a:lnTo>
                    <a:lnTo>
                      <a:pt x="84" y="11"/>
                    </a:lnTo>
                    <a:lnTo>
                      <a:pt x="89" y="11"/>
                    </a:lnTo>
                    <a:lnTo>
                      <a:pt x="89" y="11"/>
                    </a:lnTo>
                    <a:lnTo>
                      <a:pt x="95" y="3"/>
                    </a:lnTo>
                    <a:lnTo>
                      <a:pt x="97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2" y="0"/>
                    </a:lnTo>
                    <a:lnTo>
                      <a:pt x="102" y="3"/>
                    </a:lnTo>
                    <a:lnTo>
                      <a:pt x="99" y="8"/>
                    </a:lnTo>
                    <a:lnTo>
                      <a:pt x="99" y="8"/>
                    </a:lnTo>
                    <a:lnTo>
                      <a:pt x="93" y="13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79" y="21"/>
                    </a:lnTo>
                    <a:lnTo>
                      <a:pt x="76" y="21"/>
                    </a:lnTo>
                    <a:lnTo>
                      <a:pt x="71" y="19"/>
                    </a:lnTo>
                    <a:lnTo>
                      <a:pt x="71" y="19"/>
                    </a:lnTo>
                    <a:lnTo>
                      <a:pt x="63" y="18"/>
                    </a:lnTo>
                    <a:lnTo>
                      <a:pt x="58" y="18"/>
                    </a:lnTo>
                    <a:lnTo>
                      <a:pt x="55" y="18"/>
                    </a:lnTo>
                    <a:lnTo>
                      <a:pt x="55" y="18"/>
                    </a:lnTo>
                    <a:lnTo>
                      <a:pt x="48" y="19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2" y="18"/>
                    </a:lnTo>
                    <a:lnTo>
                      <a:pt x="31" y="18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28" y="25"/>
                    </a:lnTo>
                    <a:lnTo>
                      <a:pt x="24" y="31"/>
                    </a:lnTo>
                    <a:lnTo>
                      <a:pt x="24" y="31"/>
                    </a:lnTo>
                    <a:lnTo>
                      <a:pt x="24" y="34"/>
                    </a:lnTo>
                    <a:lnTo>
                      <a:pt x="24" y="38"/>
                    </a:lnTo>
                    <a:lnTo>
                      <a:pt x="25" y="41"/>
                    </a:lnTo>
                    <a:lnTo>
                      <a:pt x="29" y="42"/>
                    </a:lnTo>
                    <a:lnTo>
                      <a:pt x="29" y="42"/>
                    </a:lnTo>
                    <a:lnTo>
                      <a:pt x="37" y="42"/>
                    </a:lnTo>
                    <a:lnTo>
                      <a:pt x="41" y="40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5" y="34"/>
                    </a:lnTo>
                    <a:lnTo>
                      <a:pt x="51" y="32"/>
                    </a:lnTo>
                    <a:lnTo>
                      <a:pt x="64" y="29"/>
                    </a:lnTo>
                    <a:lnTo>
                      <a:pt x="64" y="29"/>
                    </a:lnTo>
                    <a:lnTo>
                      <a:pt x="68" y="29"/>
                    </a:lnTo>
                    <a:lnTo>
                      <a:pt x="70" y="31"/>
                    </a:lnTo>
                    <a:lnTo>
                      <a:pt x="70" y="32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1" y="37"/>
                    </a:lnTo>
                    <a:lnTo>
                      <a:pt x="55" y="40"/>
                    </a:lnTo>
                    <a:lnTo>
                      <a:pt x="55" y="40"/>
                    </a:lnTo>
                    <a:lnTo>
                      <a:pt x="51" y="47"/>
                    </a:lnTo>
                    <a:lnTo>
                      <a:pt x="48" y="50"/>
                    </a:lnTo>
                    <a:lnTo>
                      <a:pt x="47" y="53"/>
                    </a:lnTo>
                    <a:lnTo>
                      <a:pt x="47" y="53"/>
                    </a:lnTo>
                    <a:lnTo>
                      <a:pt x="48" y="57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4" y="60"/>
                    </a:lnTo>
                    <a:lnTo>
                      <a:pt x="58" y="61"/>
                    </a:lnTo>
                    <a:lnTo>
                      <a:pt x="60" y="64"/>
                    </a:lnTo>
                    <a:lnTo>
                      <a:pt x="60" y="67"/>
                    </a:lnTo>
                    <a:lnTo>
                      <a:pt x="58" y="70"/>
                    </a:lnTo>
                    <a:lnTo>
                      <a:pt x="58" y="70"/>
                    </a:lnTo>
                    <a:lnTo>
                      <a:pt x="54" y="73"/>
                    </a:lnTo>
                    <a:lnTo>
                      <a:pt x="54" y="76"/>
                    </a:lnTo>
                    <a:lnTo>
                      <a:pt x="55" y="79"/>
                    </a:lnTo>
                    <a:lnTo>
                      <a:pt x="55" y="79"/>
                    </a:lnTo>
                    <a:lnTo>
                      <a:pt x="60" y="84"/>
                    </a:lnTo>
                    <a:lnTo>
                      <a:pt x="61" y="87"/>
                    </a:lnTo>
                    <a:lnTo>
                      <a:pt x="60" y="89"/>
                    </a:lnTo>
                    <a:lnTo>
                      <a:pt x="60" y="89"/>
                    </a:lnTo>
                    <a:lnTo>
                      <a:pt x="55" y="90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1" y="95"/>
                    </a:lnTo>
                    <a:lnTo>
                      <a:pt x="48" y="96"/>
                    </a:lnTo>
                    <a:lnTo>
                      <a:pt x="47" y="96"/>
                    </a:lnTo>
                    <a:lnTo>
                      <a:pt x="47" y="96"/>
                    </a:lnTo>
                    <a:lnTo>
                      <a:pt x="44" y="95"/>
                    </a:lnTo>
                    <a:lnTo>
                      <a:pt x="44" y="93"/>
                    </a:lnTo>
                    <a:lnTo>
                      <a:pt x="41" y="89"/>
                    </a:lnTo>
                    <a:lnTo>
                      <a:pt x="41" y="89"/>
                    </a:lnTo>
                    <a:lnTo>
                      <a:pt x="41" y="84"/>
                    </a:lnTo>
                    <a:lnTo>
                      <a:pt x="40" y="80"/>
                    </a:lnTo>
                    <a:lnTo>
                      <a:pt x="38" y="77"/>
                    </a:lnTo>
                    <a:lnTo>
                      <a:pt x="38" y="77"/>
                    </a:lnTo>
                    <a:lnTo>
                      <a:pt x="37" y="74"/>
                    </a:lnTo>
                    <a:lnTo>
                      <a:pt x="37" y="70"/>
                    </a:lnTo>
                    <a:lnTo>
                      <a:pt x="38" y="67"/>
                    </a:lnTo>
                    <a:lnTo>
                      <a:pt x="40" y="66"/>
                    </a:lnTo>
                    <a:lnTo>
                      <a:pt x="40" y="66"/>
                    </a:lnTo>
                    <a:lnTo>
                      <a:pt x="41" y="64"/>
                    </a:lnTo>
                    <a:lnTo>
                      <a:pt x="40" y="64"/>
                    </a:lnTo>
                    <a:lnTo>
                      <a:pt x="35" y="64"/>
                    </a:lnTo>
                    <a:lnTo>
                      <a:pt x="29" y="66"/>
                    </a:lnTo>
                    <a:lnTo>
                      <a:pt x="29" y="66"/>
                    </a:lnTo>
                    <a:lnTo>
                      <a:pt x="26" y="71"/>
                    </a:lnTo>
                    <a:lnTo>
                      <a:pt x="25" y="80"/>
                    </a:lnTo>
                    <a:lnTo>
                      <a:pt x="25" y="80"/>
                    </a:lnTo>
                    <a:lnTo>
                      <a:pt x="25" y="92"/>
                    </a:lnTo>
                    <a:lnTo>
                      <a:pt x="25" y="100"/>
                    </a:lnTo>
                    <a:lnTo>
                      <a:pt x="25" y="103"/>
                    </a:lnTo>
                    <a:lnTo>
                      <a:pt x="25" y="103"/>
                    </a:lnTo>
                    <a:lnTo>
                      <a:pt x="18" y="105"/>
                    </a:lnTo>
                    <a:lnTo>
                      <a:pt x="13" y="106"/>
                    </a:lnTo>
                    <a:lnTo>
                      <a:pt x="11" y="10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02" name="Freeform 856"/>
              <p:cNvSpPr>
                <a:spLocks/>
              </p:cNvSpPr>
              <p:nvPr/>
            </p:nvSpPr>
            <p:spPr bwMode="auto">
              <a:xfrm>
                <a:off x="6142944" y="3002554"/>
                <a:ext cx="34624" cy="29678"/>
              </a:xfrm>
              <a:custGeom>
                <a:avLst/>
                <a:gdLst>
                  <a:gd name="T0" fmla="*/ 3 w 35"/>
                  <a:gd name="T1" fmla="*/ 30 h 30"/>
                  <a:gd name="T2" fmla="*/ 3 w 35"/>
                  <a:gd name="T3" fmla="*/ 30 h 30"/>
                  <a:gd name="T4" fmla="*/ 0 w 35"/>
                  <a:gd name="T5" fmla="*/ 26 h 30"/>
                  <a:gd name="T6" fmla="*/ 0 w 35"/>
                  <a:gd name="T7" fmla="*/ 22 h 30"/>
                  <a:gd name="T8" fmla="*/ 0 w 35"/>
                  <a:gd name="T9" fmla="*/ 16 h 30"/>
                  <a:gd name="T10" fmla="*/ 3 w 35"/>
                  <a:gd name="T11" fmla="*/ 12 h 30"/>
                  <a:gd name="T12" fmla="*/ 3 w 35"/>
                  <a:gd name="T13" fmla="*/ 12 h 30"/>
                  <a:gd name="T14" fmla="*/ 12 w 35"/>
                  <a:gd name="T15" fmla="*/ 6 h 30"/>
                  <a:gd name="T16" fmla="*/ 16 w 35"/>
                  <a:gd name="T17" fmla="*/ 3 h 30"/>
                  <a:gd name="T18" fmla="*/ 20 w 35"/>
                  <a:gd name="T19" fmla="*/ 1 h 30"/>
                  <a:gd name="T20" fmla="*/ 20 w 35"/>
                  <a:gd name="T21" fmla="*/ 1 h 30"/>
                  <a:gd name="T22" fmla="*/ 28 w 35"/>
                  <a:gd name="T23" fmla="*/ 0 h 30"/>
                  <a:gd name="T24" fmla="*/ 31 w 35"/>
                  <a:gd name="T25" fmla="*/ 0 h 30"/>
                  <a:gd name="T26" fmla="*/ 33 w 35"/>
                  <a:gd name="T27" fmla="*/ 3 h 30"/>
                  <a:gd name="T28" fmla="*/ 33 w 35"/>
                  <a:gd name="T29" fmla="*/ 3 h 30"/>
                  <a:gd name="T30" fmla="*/ 35 w 35"/>
                  <a:gd name="T31" fmla="*/ 6 h 30"/>
                  <a:gd name="T32" fmla="*/ 35 w 35"/>
                  <a:gd name="T33" fmla="*/ 9 h 30"/>
                  <a:gd name="T34" fmla="*/ 32 w 35"/>
                  <a:gd name="T35" fmla="*/ 13 h 30"/>
                  <a:gd name="T36" fmla="*/ 32 w 35"/>
                  <a:gd name="T37" fmla="*/ 13 h 30"/>
                  <a:gd name="T38" fmla="*/ 31 w 35"/>
                  <a:gd name="T39" fmla="*/ 19 h 30"/>
                  <a:gd name="T40" fmla="*/ 28 w 35"/>
                  <a:gd name="T41" fmla="*/ 23 h 30"/>
                  <a:gd name="T42" fmla="*/ 28 w 35"/>
                  <a:gd name="T43" fmla="*/ 23 h 30"/>
                  <a:gd name="T44" fmla="*/ 25 w 35"/>
                  <a:gd name="T45" fmla="*/ 26 h 30"/>
                  <a:gd name="T46" fmla="*/ 19 w 35"/>
                  <a:gd name="T47" fmla="*/ 29 h 30"/>
                  <a:gd name="T48" fmla="*/ 12 w 35"/>
                  <a:gd name="T49" fmla="*/ 30 h 30"/>
                  <a:gd name="T50" fmla="*/ 7 w 35"/>
                  <a:gd name="T51" fmla="*/ 30 h 30"/>
                  <a:gd name="T52" fmla="*/ 3 w 35"/>
                  <a:gd name="T5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5" h="30">
                    <a:moveTo>
                      <a:pt x="3" y="30"/>
                    </a:moveTo>
                    <a:lnTo>
                      <a:pt x="3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12" y="6"/>
                    </a:lnTo>
                    <a:lnTo>
                      <a:pt x="16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28" y="0"/>
                    </a:lnTo>
                    <a:lnTo>
                      <a:pt x="31" y="0"/>
                    </a:lnTo>
                    <a:lnTo>
                      <a:pt x="33" y="3"/>
                    </a:lnTo>
                    <a:lnTo>
                      <a:pt x="33" y="3"/>
                    </a:lnTo>
                    <a:lnTo>
                      <a:pt x="35" y="6"/>
                    </a:lnTo>
                    <a:lnTo>
                      <a:pt x="35" y="9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1" y="19"/>
                    </a:lnTo>
                    <a:lnTo>
                      <a:pt x="28" y="23"/>
                    </a:lnTo>
                    <a:lnTo>
                      <a:pt x="28" y="23"/>
                    </a:lnTo>
                    <a:lnTo>
                      <a:pt x="25" y="26"/>
                    </a:lnTo>
                    <a:lnTo>
                      <a:pt x="19" y="29"/>
                    </a:lnTo>
                    <a:lnTo>
                      <a:pt x="12" y="30"/>
                    </a:lnTo>
                    <a:lnTo>
                      <a:pt x="7" y="30"/>
                    </a:lnTo>
                    <a:lnTo>
                      <a:pt x="3" y="3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03" name="Freeform 857"/>
              <p:cNvSpPr>
                <a:spLocks/>
              </p:cNvSpPr>
              <p:nvPr/>
            </p:nvSpPr>
            <p:spPr bwMode="auto">
              <a:xfrm>
                <a:off x="6142944" y="3002554"/>
                <a:ext cx="34624" cy="29678"/>
              </a:xfrm>
              <a:custGeom>
                <a:avLst/>
                <a:gdLst>
                  <a:gd name="T0" fmla="*/ 3 w 35"/>
                  <a:gd name="T1" fmla="*/ 30 h 30"/>
                  <a:gd name="T2" fmla="*/ 3 w 35"/>
                  <a:gd name="T3" fmla="*/ 30 h 30"/>
                  <a:gd name="T4" fmla="*/ 0 w 35"/>
                  <a:gd name="T5" fmla="*/ 26 h 30"/>
                  <a:gd name="T6" fmla="*/ 0 w 35"/>
                  <a:gd name="T7" fmla="*/ 22 h 30"/>
                  <a:gd name="T8" fmla="*/ 0 w 35"/>
                  <a:gd name="T9" fmla="*/ 16 h 30"/>
                  <a:gd name="T10" fmla="*/ 3 w 35"/>
                  <a:gd name="T11" fmla="*/ 12 h 30"/>
                  <a:gd name="T12" fmla="*/ 3 w 35"/>
                  <a:gd name="T13" fmla="*/ 12 h 30"/>
                  <a:gd name="T14" fmla="*/ 12 w 35"/>
                  <a:gd name="T15" fmla="*/ 6 h 30"/>
                  <a:gd name="T16" fmla="*/ 16 w 35"/>
                  <a:gd name="T17" fmla="*/ 3 h 30"/>
                  <a:gd name="T18" fmla="*/ 20 w 35"/>
                  <a:gd name="T19" fmla="*/ 1 h 30"/>
                  <a:gd name="T20" fmla="*/ 20 w 35"/>
                  <a:gd name="T21" fmla="*/ 1 h 30"/>
                  <a:gd name="T22" fmla="*/ 28 w 35"/>
                  <a:gd name="T23" fmla="*/ 0 h 30"/>
                  <a:gd name="T24" fmla="*/ 31 w 35"/>
                  <a:gd name="T25" fmla="*/ 0 h 30"/>
                  <a:gd name="T26" fmla="*/ 33 w 35"/>
                  <a:gd name="T27" fmla="*/ 3 h 30"/>
                  <a:gd name="T28" fmla="*/ 33 w 35"/>
                  <a:gd name="T29" fmla="*/ 3 h 30"/>
                  <a:gd name="T30" fmla="*/ 35 w 35"/>
                  <a:gd name="T31" fmla="*/ 6 h 30"/>
                  <a:gd name="T32" fmla="*/ 35 w 35"/>
                  <a:gd name="T33" fmla="*/ 9 h 30"/>
                  <a:gd name="T34" fmla="*/ 32 w 35"/>
                  <a:gd name="T35" fmla="*/ 13 h 30"/>
                  <a:gd name="T36" fmla="*/ 32 w 35"/>
                  <a:gd name="T37" fmla="*/ 13 h 30"/>
                  <a:gd name="T38" fmla="*/ 31 w 35"/>
                  <a:gd name="T39" fmla="*/ 19 h 30"/>
                  <a:gd name="T40" fmla="*/ 28 w 35"/>
                  <a:gd name="T41" fmla="*/ 23 h 30"/>
                  <a:gd name="T42" fmla="*/ 28 w 35"/>
                  <a:gd name="T43" fmla="*/ 23 h 30"/>
                  <a:gd name="T44" fmla="*/ 25 w 35"/>
                  <a:gd name="T45" fmla="*/ 26 h 30"/>
                  <a:gd name="T46" fmla="*/ 19 w 35"/>
                  <a:gd name="T47" fmla="*/ 29 h 30"/>
                  <a:gd name="T48" fmla="*/ 12 w 35"/>
                  <a:gd name="T49" fmla="*/ 30 h 30"/>
                  <a:gd name="T50" fmla="*/ 7 w 35"/>
                  <a:gd name="T51" fmla="*/ 30 h 30"/>
                  <a:gd name="T52" fmla="*/ 3 w 35"/>
                  <a:gd name="T5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5" h="30">
                    <a:moveTo>
                      <a:pt x="3" y="30"/>
                    </a:moveTo>
                    <a:lnTo>
                      <a:pt x="3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12" y="6"/>
                    </a:lnTo>
                    <a:lnTo>
                      <a:pt x="16" y="3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28" y="0"/>
                    </a:lnTo>
                    <a:lnTo>
                      <a:pt x="31" y="0"/>
                    </a:lnTo>
                    <a:lnTo>
                      <a:pt x="33" y="3"/>
                    </a:lnTo>
                    <a:lnTo>
                      <a:pt x="33" y="3"/>
                    </a:lnTo>
                    <a:lnTo>
                      <a:pt x="35" y="6"/>
                    </a:lnTo>
                    <a:lnTo>
                      <a:pt x="35" y="9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1" y="19"/>
                    </a:lnTo>
                    <a:lnTo>
                      <a:pt x="28" y="23"/>
                    </a:lnTo>
                    <a:lnTo>
                      <a:pt x="28" y="23"/>
                    </a:lnTo>
                    <a:lnTo>
                      <a:pt x="25" y="26"/>
                    </a:lnTo>
                    <a:lnTo>
                      <a:pt x="19" y="29"/>
                    </a:lnTo>
                    <a:lnTo>
                      <a:pt x="12" y="30"/>
                    </a:lnTo>
                    <a:lnTo>
                      <a:pt x="7" y="30"/>
                    </a:lnTo>
                    <a:lnTo>
                      <a:pt x="3" y="3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04" name="Freeform 858"/>
              <p:cNvSpPr>
                <a:spLocks/>
              </p:cNvSpPr>
              <p:nvPr/>
            </p:nvSpPr>
            <p:spPr bwMode="auto">
              <a:xfrm>
                <a:off x="6323978" y="2912531"/>
                <a:ext cx="28689" cy="60345"/>
              </a:xfrm>
              <a:custGeom>
                <a:avLst/>
                <a:gdLst>
                  <a:gd name="T0" fmla="*/ 24 w 29"/>
                  <a:gd name="T1" fmla="*/ 1 h 61"/>
                  <a:gd name="T2" fmla="*/ 24 w 29"/>
                  <a:gd name="T3" fmla="*/ 1 h 61"/>
                  <a:gd name="T4" fmla="*/ 24 w 29"/>
                  <a:gd name="T5" fmla="*/ 0 h 61"/>
                  <a:gd name="T6" fmla="*/ 21 w 29"/>
                  <a:gd name="T7" fmla="*/ 1 h 61"/>
                  <a:gd name="T8" fmla="*/ 16 w 29"/>
                  <a:gd name="T9" fmla="*/ 5 h 61"/>
                  <a:gd name="T10" fmla="*/ 7 w 29"/>
                  <a:gd name="T11" fmla="*/ 14 h 61"/>
                  <a:gd name="T12" fmla="*/ 7 w 29"/>
                  <a:gd name="T13" fmla="*/ 14 h 61"/>
                  <a:gd name="T14" fmla="*/ 2 w 29"/>
                  <a:gd name="T15" fmla="*/ 24 h 61"/>
                  <a:gd name="T16" fmla="*/ 0 w 29"/>
                  <a:gd name="T17" fmla="*/ 36 h 61"/>
                  <a:gd name="T18" fmla="*/ 0 w 29"/>
                  <a:gd name="T19" fmla="*/ 36 h 61"/>
                  <a:gd name="T20" fmla="*/ 2 w 29"/>
                  <a:gd name="T21" fmla="*/ 47 h 61"/>
                  <a:gd name="T22" fmla="*/ 4 w 29"/>
                  <a:gd name="T23" fmla="*/ 53 h 61"/>
                  <a:gd name="T24" fmla="*/ 7 w 29"/>
                  <a:gd name="T25" fmla="*/ 58 h 61"/>
                  <a:gd name="T26" fmla="*/ 7 w 29"/>
                  <a:gd name="T27" fmla="*/ 58 h 61"/>
                  <a:gd name="T28" fmla="*/ 10 w 29"/>
                  <a:gd name="T29" fmla="*/ 59 h 61"/>
                  <a:gd name="T30" fmla="*/ 10 w 29"/>
                  <a:gd name="T31" fmla="*/ 61 h 61"/>
                  <a:gd name="T32" fmla="*/ 14 w 29"/>
                  <a:gd name="T33" fmla="*/ 55 h 61"/>
                  <a:gd name="T34" fmla="*/ 14 w 29"/>
                  <a:gd name="T35" fmla="*/ 55 h 61"/>
                  <a:gd name="T36" fmla="*/ 18 w 29"/>
                  <a:gd name="T37" fmla="*/ 42 h 61"/>
                  <a:gd name="T38" fmla="*/ 20 w 29"/>
                  <a:gd name="T39" fmla="*/ 36 h 61"/>
                  <a:gd name="T40" fmla="*/ 23 w 29"/>
                  <a:gd name="T41" fmla="*/ 32 h 61"/>
                  <a:gd name="T42" fmla="*/ 23 w 29"/>
                  <a:gd name="T43" fmla="*/ 32 h 61"/>
                  <a:gd name="T44" fmla="*/ 26 w 29"/>
                  <a:gd name="T45" fmla="*/ 29 h 61"/>
                  <a:gd name="T46" fmla="*/ 27 w 29"/>
                  <a:gd name="T47" fmla="*/ 23 h 61"/>
                  <a:gd name="T48" fmla="*/ 29 w 29"/>
                  <a:gd name="T49" fmla="*/ 17 h 61"/>
                  <a:gd name="T50" fmla="*/ 29 w 29"/>
                  <a:gd name="T51" fmla="*/ 13 h 61"/>
                  <a:gd name="T52" fmla="*/ 29 w 29"/>
                  <a:gd name="T53" fmla="*/ 13 h 61"/>
                  <a:gd name="T54" fmla="*/ 24 w 29"/>
                  <a:gd name="T55" fmla="*/ 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" h="61">
                    <a:moveTo>
                      <a:pt x="24" y="1"/>
                    </a:moveTo>
                    <a:lnTo>
                      <a:pt x="24" y="1"/>
                    </a:lnTo>
                    <a:lnTo>
                      <a:pt x="24" y="0"/>
                    </a:lnTo>
                    <a:lnTo>
                      <a:pt x="21" y="1"/>
                    </a:lnTo>
                    <a:lnTo>
                      <a:pt x="16" y="5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2" y="2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2" y="47"/>
                    </a:lnTo>
                    <a:lnTo>
                      <a:pt x="4" y="53"/>
                    </a:lnTo>
                    <a:lnTo>
                      <a:pt x="7" y="58"/>
                    </a:lnTo>
                    <a:lnTo>
                      <a:pt x="7" y="58"/>
                    </a:lnTo>
                    <a:lnTo>
                      <a:pt x="10" y="59"/>
                    </a:lnTo>
                    <a:lnTo>
                      <a:pt x="10" y="61"/>
                    </a:lnTo>
                    <a:lnTo>
                      <a:pt x="14" y="55"/>
                    </a:lnTo>
                    <a:lnTo>
                      <a:pt x="14" y="55"/>
                    </a:lnTo>
                    <a:lnTo>
                      <a:pt x="18" y="42"/>
                    </a:lnTo>
                    <a:lnTo>
                      <a:pt x="20" y="36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6" y="29"/>
                    </a:lnTo>
                    <a:lnTo>
                      <a:pt x="27" y="23"/>
                    </a:lnTo>
                    <a:lnTo>
                      <a:pt x="29" y="17"/>
                    </a:lnTo>
                    <a:lnTo>
                      <a:pt x="29" y="13"/>
                    </a:lnTo>
                    <a:lnTo>
                      <a:pt x="29" y="13"/>
                    </a:lnTo>
                    <a:lnTo>
                      <a:pt x="24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05" name="Freeform 859"/>
              <p:cNvSpPr>
                <a:spLocks/>
              </p:cNvSpPr>
              <p:nvPr/>
            </p:nvSpPr>
            <p:spPr bwMode="auto">
              <a:xfrm>
                <a:off x="6323978" y="2912531"/>
                <a:ext cx="28689" cy="60345"/>
              </a:xfrm>
              <a:custGeom>
                <a:avLst/>
                <a:gdLst>
                  <a:gd name="T0" fmla="*/ 24 w 29"/>
                  <a:gd name="T1" fmla="*/ 1 h 61"/>
                  <a:gd name="T2" fmla="*/ 24 w 29"/>
                  <a:gd name="T3" fmla="*/ 1 h 61"/>
                  <a:gd name="T4" fmla="*/ 24 w 29"/>
                  <a:gd name="T5" fmla="*/ 0 h 61"/>
                  <a:gd name="T6" fmla="*/ 21 w 29"/>
                  <a:gd name="T7" fmla="*/ 1 h 61"/>
                  <a:gd name="T8" fmla="*/ 16 w 29"/>
                  <a:gd name="T9" fmla="*/ 5 h 61"/>
                  <a:gd name="T10" fmla="*/ 7 w 29"/>
                  <a:gd name="T11" fmla="*/ 14 h 61"/>
                  <a:gd name="T12" fmla="*/ 7 w 29"/>
                  <a:gd name="T13" fmla="*/ 14 h 61"/>
                  <a:gd name="T14" fmla="*/ 2 w 29"/>
                  <a:gd name="T15" fmla="*/ 24 h 61"/>
                  <a:gd name="T16" fmla="*/ 0 w 29"/>
                  <a:gd name="T17" fmla="*/ 36 h 61"/>
                  <a:gd name="T18" fmla="*/ 0 w 29"/>
                  <a:gd name="T19" fmla="*/ 36 h 61"/>
                  <a:gd name="T20" fmla="*/ 2 w 29"/>
                  <a:gd name="T21" fmla="*/ 47 h 61"/>
                  <a:gd name="T22" fmla="*/ 4 w 29"/>
                  <a:gd name="T23" fmla="*/ 53 h 61"/>
                  <a:gd name="T24" fmla="*/ 7 w 29"/>
                  <a:gd name="T25" fmla="*/ 58 h 61"/>
                  <a:gd name="T26" fmla="*/ 7 w 29"/>
                  <a:gd name="T27" fmla="*/ 58 h 61"/>
                  <a:gd name="T28" fmla="*/ 10 w 29"/>
                  <a:gd name="T29" fmla="*/ 59 h 61"/>
                  <a:gd name="T30" fmla="*/ 10 w 29"/>
                  <a:gd name="T31" fmla="*/ 61 h 61"/>
                  <a:gd name="T32" fmla="*/ 14 w 29"/>
                  <a:gd name="T33" fmla="*/ 55 h 61"/>
                  <a:gd name="T34" fmla="*/ 14 w 29"/>
                  <a:gd name="T35" fmla="*/ 55 h 61"/>
                  <a:gd name="T36" fmla="*/ 18 w 29"/>
                  <a:gd name="T37" fmla="*/ 42 h 61"/>
                  <a:gd name="T38" fmla="*/ 20 w 29"/>
                  <a:gd name="T39" fmla="*/ 36 h 61"/>
                  <a:gd name="T40" fmla="*/ 23 w 29"/>
                  <a:gd name="T41" fmla="*/ 32 h 61"/>
                  <a:gd name="T42" fmla="*/ 23 w 29"/>
                  <a:gd name="T43" fmla="*/ 32 h 61"/>
                  <a:gd name="T44" fmla="*/ 26 w 29"/>
                  <a:gd name="T45" fmla="*/ 29 h 61"/>
                  <a:gd name="T46" fmla="*/ 27 w 29"/>
                  <a:gd name="T47" fmla="*/ 23 h 61"/>
                  <a:gd name="T48" fmla="*/ 29 w 29"/>
                  <a:gd name="T49" fmla="*/ 17 h 61"/>
                  <a:gd name="T50" fmla="*/ 29 w 29"/>
                  <a:gd name="T51" fmla="*/ 13 h 61"/>
                  <a:gd name="T52" fmla="*/ 29 w 29"/>
                  <a:gd name="T53" fmla="*/ 13 h 61"/>
                  <a:gd name="T54" fmla="*/ 24 w 29"/>
                  <a:gd name="T55" fmla="*/ 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" h="61">
                    <a:moveTo>
                      <a:pt x="24" y="1"/>
                    </a:moveTo>
                    <a:lnTo>
                      <a:pt x="24" y="1"/>
                    </a:lnTo>
                    <a:lnTo>
                      <a:pt x="24" y="0"/>
                    </a:lnTo>
                    <a:lnTo>
                      <a:pt x="21" y="1"/>
                    </a:lnTo>
                    <a:lnTo>
                      <a:pt x="16" y="5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2" y="2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2" y="47"/>
                    </a:lnTo>
                    <a:lnTo>
                      <a:pt x="4" y="53"/>
                    </a:lnTo>
                    <a:lnTo>
                      <a:pt x="7" y="58"/>
                    </a:lnTo>
                    <a:lnTo>
                      <a:pt x="7" y="58"/>
                    </a:lnTo>
                    <a:lnTo>
                      <a:pt x="10" y="59"/>
                    </a:lnTo>
                    <a:lnTo>
                      <a:pt x="10" y="61"/>
                    </a:lnTo>
                    <a:lnTo>
                      <a:pt x="14" y="55"/>
                    </a:lnTo>
                    <a:lnTo>
                      <a:pt x="14" y="55"/>
                    </a:lnTo>
                    <a:lnTo>
                      <a:pt x="18" y="42"/>
                    </a:lnTo>
                    <a:lnTo>
                      <a:pt x="20" y="36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6" y="29"/>
                    </a:lnTo>
                    <a:lnTo>
                      <a:pt x="27" y="23"/>
                    </a:lnTo>
                    <a:lnTo>
                      <a:pt x="29" y="17"/>
                    </a:lnTo>
                    <a:lnTo>
                      <a:pt x="29" y="13"/>
                    </a:lnTo>
                    <a:lnTo>
                      <a:pt x="29" y="13"/>
                    </a:lnTo>
                    <a:lnTo>
                      <a:pt x="24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06" name="Freeform 860"/>
              <p:cNvSpPr>
                <a:spLocks/>
              </p:cNvSpPr>
              <p:nvPr/>
            </p:nvSpPr>
            <p:spPr bwMode="auto">
              <a:xfrm>
                <a:off x="6472367" y="2757217"/>
                <a:ext cx="40560" cy="54409"/>
              </a:xfrm>
              <a:custGeom>
                <a:avLst/>
                <a:gdLst>
                  <a:gd name="T0" fmla="*/ 23 w 41"/>
                  <a:gd name="T1" fmla="*/ 55 h 55"/>
                  <a:gd name="T2" fmla="*/ 20 w 41"/>
                  <a:gd name="T3" fmla="*/ 51 h 55"/>
                  <a:gd name="T4" fmla="*/ 19 w 41"/>
                  <a:gd name="T5" fmla="*/ 48 h 55"/>
                  <a:gd name="T6" fmla="*/ 16 w 41"/>
                  <a:gd name="T7" fmla="*/ 52 h 55"/>
                  <a:gd name="T8" fmla="*/ 15 w 41"/>
                  <a:gd name="T9" fmla="*/ 55 h 55"/>
                  <a:gd name="T10" fmla="*/ 13 w 41"/>
                  <a:gd name="T11" fmla="*/ 54 h 55"/>
                  <a:gd name="T12" fmla="*/ 10 w 41"/>
                  <a:gd name="T13" fmla="*/ 45 h 55"/>
                  <a:gd name="T14" fmla="*/ 10 w 41"/>
                  <a:gd name="T15" fmla="*/ 39 h 55"/>
                  <a:gd name="T16" fmla="*/ 12 w 41"/>
                  <a:gd name="T17" fmla="*/ 35 h 55"/>
                  <a:gd name="T18" fmla="*/ 16 w 41"/>
                  <a:gd name="T19" fmla="*/ 29 h 55"/>
                  <a:gd name="T20" fmla="*/ 16 w 41"/>
                  <a:gd name="T21" fmla="*/ 23 h 55"/>
                  <a:gd name="T22" fmla="*/ 13 w 41"/>
                  <a:gd name="T23" fmla="*/ 18 h 55"/>
                  <a:gd name="T24" fmla="*/ 10 w 41"/>
                  <a:gd name="T25" fmla="*/ 16 h 55"/>
                  <a:gd name="T26" fmla="*/ 10 w 41"/>
                  <a:gd name="T27" fmla="*/ 19 h 55"/>
                  <a:gd name="T28" fmla="*/ 10 w 41"/>
                  <a:gd name="T29" fmla="*/ 25 h 55"/>
                  <a:gd name="T30" fmla="*/ 9 w 41"/>
                  <a:gd name="T31" fmla="*/ 26 h 55"/>
                  <a:gd name="T32" fmla="*/ 0 w 41"/>
                  <a:gd name="T33" fmla="*/ 19 h 55"/>
                  <a:gd name="T34" fmla="*/ 2 w 41"/>
                  <a:gd name="T35" fmla="*/ 15 h 55"/>
                  <a:gd name="T36" fmla="*/ 3 w 41"/>
                  <a:gd name="T37" fmla="*/ 10 h 55"/>
                  <a:gd name="T38" fmla="*/ 9 w 41"/>
                  <a:gd name="T39" fmla="*/ 7 h 55"/>
                  <a:gd name="T40" fmla="*/ 13 w 41"/>
                  <a:gd name="T41" fmla="*/ 3 h 55"/>
                  <a:gd name="T42" fmla="*/ 18 w 41"/>
                  <a:gd name="T43" fmla="*/ 0 h 55"/>
                  <a:gd name="T44" fmla="*/ 22 w 41"/>
                  <a:gd name="T45" fmla="*/ 2 h 55"/>
                  <a:gd name="T46" fmla="*/ 26 w 41"/>
                  <a:gd name="T47" fmla="*/ 5 h 55"/>
                  <a:gd name="T48" fmla="*/ 31 w 41"/>
                  <a:gd name="T49" fmla="*/ 3 h 55"/>
                  <a:gd name="T50" fmla="*/ 35 w 41"/>
                  <a:gd name="T51" fmla="*/ 5 h 55"/>
                  <a:gd name="T52" fmla="*/ 35 w 41"/>
                  <a:gd name="T53" fmla="*/ 9 h 55"/>
                  <a:gd name="T54" fmla="*/ 39 w 41"/>
                  <a:gd name="T55" fmla="*/ 15 h 55"/>
                  <a:gd name="T56" fmla="*/ 39 w 41"/>
                  <a:gd name="T57" fmla="*/ 21 h 55"/>
                  <a:gd name="T58" fmla="*/ 36 w 41"/>
                  <a:gd name="T59" fmla="*/ 28 h 55"/>
                  <a:gd name="T60" fmla="*/ 34 w 41"/>
                  <a:gd name="T61" fmla="*/ 36 h 55"/>
                  <a:gd name="T62" fmla="*/ 32 w 41"/>
                  <a:gd name="T63" fmla="*/ 48 h 55"/>
                  <a:gd name="T64" fmla="*/ 31 w 41"/>
                  <a:gd name="T65" fmla="*/ 49 h 55"/>
                  <a:gd name="T66" fmla="*/ 25 w 41"/>
                  <a:gd name="T67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1" h="55">
                    <a:moveTo>
                      <a:pt x="23" y="55"/>
                    </a:moveTo>
                    <a:lnTo>
                      <a:pt x="23" y="55"/>
                    </a:lnTo>
                    <a:lnTo>
                      <a:pt x="20" y="54"/>
                    </a:lnTo>
                    <a:lnTo>
                      <a:pt x="20" y="51"/>
                    </a:lnTo>
                    <a:lnTo>
                      <a:pt x="19" y="48"/>
                    </a:lnTo>
                    <a:lnTo>
                      <a:pt x="19" y="48"/>
                    </a:lnTo>
                    <a:lnTo>
                      <a:pt x="19" y="48"/>
                    </a:lnTo>
                    <a:lnTo>
                      <a:pt x="16" y="52"/>
                    </a:lnTo>
                    <a:lnTo>
                      <a:pt x="16" y="54"/>
                    </a:lnTo>
                    <a:lnTo>
                      <a:pt x="15" y="55"/>
                    </a:lnTo>
                    <a:lnTo>
                      <a:pt x="15" y="55"/>
                    </a:lnTo>
                    <a:lnTo>
                      <a:pt x="13" y="54"/>
                    </a:lnTo>
                    <a:lnTo>
                      <a:pt x="12" y="51"/>
                    </a:lnTo>
                    <a:lnTo>
                      <a:pt x="10" y="45"/>
                    </a:lnTo>
                    <a:lnTo>
                      <a:pt x="10" y="45"/>
                    </a:lnTo>
                    <a:lnTo>
                      <a:pt x="10" y="39"/>
                    </a:lnTo>
                    <a:lnTo>
                      <a:pt x="10" y="36"/>
                    </a:lnTo>
                    <a:lnTo>
                      <a:pt x="12" y="35"/>
                    </a:lnTo>
                    <a:lnTo>
                      <a:pt x="12" y="35"/>
                    </a:lnTo>
                    <a:lnTo>
                      <a:pt x="16" y="29"/>
                    </a:lnTo>
                    <a:lnTo>
                      <a:pt x="16" y="25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13" y="18"/>
                    </a:lnTo>
                    <a:lnTo>
                      <a:pt x="12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9"/>
                    </a:lnTo>
                    <a:lnTo>
                      <a:pt x="10" y="22"/>
                    </a:lnTo>
                    <a:lnTo>
                      <a:pt x="10" y="25"/>
                    </a:lnTo>
                    <a:lnTo>
                      <a:pt x="9" y="26"/>
                    </a:lnTo>
                    <a:lnTo>
                      <a:pt x="9" y="26"/>
                    </a:lnTo>
                    <a:lnTo>
                      <a:pt x="5" y="2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15"/>
                    </a:lnTo>
                    <a:lnTo>
                      <a:pt x="2" y="12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9" y="7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5" y="2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6" y="5"/>
                    </a:lnTo>
                    <a:lnTo>
                      <a:pt x="31" y="3"/>
                    </a:lnTo>
                    <a:lnTo>
                      <a:pt x="31" y="3"/>
                    </a:lnTo>
                    <a:lnTo>
                      <a:pt x="34" y="3"/>
                    </a:lnTo>
                    <a:lnTo>
                      <a:pt x="35" y="5"/>
                    </a:lnTo>
                    <a:lnTo>
                      <a:pt x="35" y="9"/>
                    </a:lnTo>
                    <a:lnTo>
                      <a:pt x="35" y="9"/>
                    </a:lnTo>
                    <a:lnTo>
                      <a:pt x="36" y="12"/>
                    </a:lnTo>
                    <a:lnTo>
                      <a:pt x="39" y="15"/>
                    </a:lnTo>
                    <a:lnTo>
                      <a:pt x="41" y="18"/>
                    </a:lnTo>
                    <a:lnTo>
                      <a:pt x="39" y="21"/>
                    </a:lnTo>
                    <a:lnTo>
                      <a:pt x="39" y="21"/>
                    </a:lnTo>
                    <a:lnTo>
                      <a:pt x="36" y="28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31" y="49"/>
                    </a:lnTo>
                    <a:lnTo>
                      <a:pt x="31" y="49"/>
                    </a:lnTo>
                    <a:lnTo>
                      <a:pt x="26" y="52"/>
                    </a:lnTo>
                    <a:lnTo>
                      <a:pt x="25" y="55"/>
                    </a:lnTo>
                    <a:lnTo>
                      <a:pt x="23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07" name="Freeform 861"/>
              <p:cNvSpPr>
                <a:spLocks/>
              </p:cNvSpPr>
              <p:nvPr/>
            </p:nvSpPr>
            <p:spPr bwMode="auto">
              <a:xfrm>
                <a:off x="6472367" y="2757217"/>
                <a:ext cx="40560" cy="54409"/>
              </a:xfrm>
              <a:custGeom>
                <a:avLst/>
                <a:gdLst>
                  <a:gd name="T0" fmla="*/ 23 w 41"/>
                  <a:gd name="T1" fmla="*/ 55 h 55"/>
                  <a:gd name="T2" fmla="*/ 20 w 41"/>
                  <a:gd name="T3" fmla="*/ 51 h 55"/>
                  <a:gd name="T4" fmla="*/ 19 w 41"/>
                  <a:gd name="T5" fmla="*/ 48 h 55"/>
                  <a:gd name="T6" fmla="*/ 16 w 41"/>
                  <a:gd name="T7" fmla="*/ 52 h 55"/>
                  <a:gd name="T8" fmla="*/ 15 w 41"/>
                  <a:gd name="T9" fmla="*/ 55 h 55"/>
                  <a:gd name="T10" fmla="*/ 13 w 41"/>
                  <a:gd name="T11" fmla="*/ 54 h 55"/>
                  <a:gd name="T12" fmla="*/ 10 w 41"/>
                  <a:gd name="T13" fmla="*/ 45 h 55"/>
                  <a:gd name="T14" fmla="*/ 10 w 41"/>
                  <a:gd name="T15" fmla="*/ 39 h 55"/>
                  <a:gd name="T16" fmla="*/ 12 w 41"/>
                  <a:gd name="T17" fmla="*/ 35 h 55"/>
                  <a:gd name="T18" fmla="*/ 16 w 41"/>
                  <a:gd name="T19" fmla="*/ 29 h 55"/>
                  <a:gd name="T20" fmla="*/ 16 w 41"/>
                  <a:gd name="T21" fmla="*/ 23 h 55"/>
                  <a:gd name="T22" fmla="*/ 13 w 41"/>
                  <a:gd name="T23" fmla="*/ 18 h 55"/>
                  <a:gd name="T24" fmla="*/ 10 w 41"/>
                  <a:gd name="T25" fmla="*/ 16 h 55"/>
                  <a:gd name="T26" fmla="*/ 10 w 41"/>
                  <a:gd name="T27" fmla="*/ 19 h 55"/>
                  <a:gd name="T28" fmla="*/ 10 w 41"/>
                  <a:gd name="T29" fmla="*/ 25 h 55"/>
                  <a:gd name="T30" fmla="*/ 9 w 41"/>
                  <a:gd name="T31" fmla="*/ 26 h 55"/>
                  <a:gd name="T32" fmla="*/ 0 w 41"/>
                  <a:gd name="T33" fmla="*/ 19 h 55"/>
                  <a:gd name="T34" fmla="*/ 2 w 41"/>
                  <a:gd name="T35" fmla="*/ 15 h 55"/>
                  <a:gd name="T36" fmla="*/ 3 w 41"/>
                  <a:gd name="T37" fmla="*/ 10 h 55"/>
                  <a:gd name="T38" fmla="*/ 9 w 41"/>
                  <a:gd name="T39" fmla="*/ 7 h 55"/>
                  <a:gd name="T40" fmla="*/ 13 w 41"/>
                  <a:gd name="T41" fmla="*/ 3 h 55"/>
                  <a:gd name="T42" fmla="*/ 18 w 41"/>
                  <a:gd name="T43" fmla="*/ 0 h 55"/>
                  <a:gd name="T44" fmla="*/ 22 w 41"/>
                  <a:gd name="T45" fmla="*/ 2 h 55"/>
                  <a:gd name="T46" fmla="*/ 26 w 41"/>
                  <a:gd name="T47" fmla="*/ 5 h 55"/>
                  <a:gd name="T48" fmla="*/ 31 w 41"/>
                  <a:gd name="T49" fmla="*/ 3 h 55"/>
                  <a:gd name="T50" fmla="*/ 35 w 41"/>
                  <a:gd name="T51" fmla="*/ 5 h 55"/>
                  <a:gd name="T52" fmla="*/ 35 w 41"/>
                  <a:gd name="T53" fmla="*/ 9 h 55"/>
                  <a:gd name="T54" fmla="*/ 39 w 41"/>
                  <a:gd name="T55" fmla="*/ 15 h 55"/>
                  <a:gd name="T56" fmla="*/ 39 w 41"/>
                  <a:gd name="T57" fmla="*/ 21 h 55"/>
                  <a:gd name="T58" fmla="*/ 36 w 41"/>
                  <a:gd name="T59" fmla="*/ 28 h 55"/>
                  <a:gd name="T60" fmla="*/ 34 w 41"/>
                  <a:gd name="T61" fmla="*/ 36 h 55"/>
                  <a:gd name="T62" fmla="*/ 32 w 41"/>
                  <a:gd name="T63" fmla="*/ 48 h 55"/>
                  <a:gd name="T64" fmla="*/ 31 w 41"/>
                  <a:gd name="T65" fmla="*/ 49 h 55"/>
                  <a:gd name="T66" fmla="*/ 25 w 41"/>
                  <a:gd name="T67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1" h="55">
                    <a:moveTo>
                      <a:pt x="23" y="55"/>
                    </a:moveTo>
                    <a:lnTo>
                      <a:pt x="23" y="55"/>
                    </a:lnTo>
                    <a:lnTo>
                      <a:pt x="20" y="54"/>
                    </a:lnTo>
                    <a:lnTo>
                      <a:pt x="20" y="51"/>
                    </a:lnTo>
                    <a:lnTo>
                      <a:pt x="19" y="48"/>
                    </a:lnTo>
                    <a:lnTo>
                      <a:pt x="19" y="48"/>
                    </a:lnTo>
                    <a:lnTo>
                      <a:pt x="19" y="48"/>
                    </a:lnTo>
                    <a:lnTo>
                      <a:pt x="16" y="52"/>
                    </a:lnTo>
                    <a:lnTo>
                      <a:pt x="16" y="54"/>
                    </a:lnTo>
                    <a:lnTo>
                      <a:pt x="15" y="55"/>
                    </a:lnTo>
                    <a:lnTo>
                      <a:pt x="15" y="55"/>
                    </a:lnTo>
                    <a:lnTo>
                      <a:pt x="13" y="54"/>
                    </a:lnTo>
                    <a:lnTo>
                      <a:pt x="12" y="51"/>
                    </a:lnTo>
                    <a:lnTo>
                      <a:pt x="10" y="45"/>
                    </a:lnTo>
                    <a:lnTo>
                      <a:pt x="10" y="45"/>
                    </a:lnTo>
                    <a:lnTo>
                      <a:pt x="10" y="39"/>
                    </a:lnTo>
                    <a:lnTo>
                      <a:pt x="10" y="36"/>
                    </a:lnTo>
                    <a:lnTo>
                      <a:pt x="12" y="35"/>
                    </a:lnTo>
                    <a:lnTo>
                      <a:pt x="12" y="35"/>
                    </a:lnTo>
                    <a:lnTo>
                      <a:pt x="16" y="29"/>
                    </a:lnTo>
                    <a:lnTo>
                      <a:pt x="16" y="25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13" y="18"/>
                    </a:lnTo>
                    <a:lnTo>
                      <a:pt x="12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9"/>
                    </a:lnTo>
                    <a:lnTo>
                      <a:pt x="10" y="22"/>
                    </a:lnTo>
                    <a:lnTo>
                      <a:pt x="10" y="25"/>
                    </a:lnTo>
                    <a:lnTo>
                      <a:pt x="9" y="26"/>
                    </a:lnTo>
                    <a:lnTo>
                      <a:pt x="9" y="26"/>
                    </a:lnTo>
                    <a:lnTo>
                      <a:pt x="5" y="2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15"/>
                    </a:lnTo>
                    <a:lnTo>
                      <a:pt x="2" y="12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9" y="7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5" y="2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6" y="5"/>
                    </a:lnTo>
                    <a:lnTo>
                      <a:pt x="31" y="3"/>
                    </a:lnTo>
                    <a:lnTo>
                      <a:pt x="31" y="3"/>
                    </a:lnTo>
                    <a:lnTo>
                      <a:pt x="34" y="3"/>
                    </a:lnTo>
                    <a:lnTo>
                      <a:pt x="35" y="5"/>
                    </a:lnTo>
                    <a:lnTo>
                      <a:pt x="35" y="9"/>
                    </a:lnTo>
                    <a:lnTo>
                      <a:pt x="35" y="9"/>
                    </a:lnTo>
                    <a:lnTo>
                      <a:pt x="36" y="12"/>
                    </a:lnTo>
                    <a:lnTo>
                      <a:pt x="39" y="15"/>
                    </a:lnTo>
                    <a:lnTo>
                      <a:pt x="41" y="18"/>
                    </a:lnTo>
                    <a:lnTo>
                      <a:pt x="39" y="21"/>
                    </a:lnTo>
                    <a:lnTo>
                      <a:pt x="39" y="21"/>
                    </a:lnTo>
                    <a:lnTo>
                      <a:pt x="36" y="28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31" y="49"/>
                    </a:lnTo>
                    <a:lnTo>
                      <a:pt x="31" y="49"/>
                    </a:lnTo>
                    <a:lnTo>
                      <a:pt x="26" y="52"/>
                    </a:lnTo>
                    <a:lnTo>
                      <a:pt x="25" y="55"/>
                    </a:lnTo>
                    <a:lnTo>
                      <a:pt x="23" y="5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08" name="Freeform 862"/>
              <p:cNvSpPr>
                <a:spLocks/>
              </p:cNvSpPr>
              <p:nvPr/>
            </p:nvSpPr>
            <p:spPr bwMode="auto">
              <a:xfrm>
                <a:off x="6515895" y="2749303"/>
                <a:ext cx="39570" cy="33635"/>
              </a:xfrm>
              <a:custGeom>
                <a:avLst/>
                <a:gdLst>
                  <a:gd name="T0" fmla="*/ 10 w 40"/>
                  <a:gd name="T1" fmla="*/ 34 h 34"/>
                  <a:gd name="T2" fmla="*/ 10 w 40"/>
                  <a:gd name="T3" fmla="*/ 34 h 34"/>
                  <a:gd name="T4" fmla="*/ 7 w 40"/>
                  <a:gd name="T5" fmla="*/ 31 h 34"/>
                  <a:gd name="T6" fmla="*/ 5 w 40"/>
                  <a:gd name="T7" fmla="*/ 27 h 34"/>
                  <a:gd name="T8" fmla="*/ 5 w 40"/>
                  <a:gd name="T9" fmla="*/ 24 h 34"/>
                  <a:gd name="T10" fmla="*/ 4 w 40"/>
                  <a:gd name="T11" fmla="*/ 21 h 34"/>
                  <a:gd name="T12" fmla="*/ 4 w 40"/>
                  <a:gd name="T13" fmla="*/ 21 h 34"/>
                  <a:gd name="T14" fmla="*/ 1 w 40"/>
                  <a:gd name="T15" fmla="*/ 21 h 34"/>
                  <a:gd name="T16" fmla="*/ 0 w 40"/>
                  <a:gd name="T17" fmla="*/ 20 h 34"/>
                  <a:gd name="T18" fmla="*/ 0 w 40"/>
                  <a:gd name="T19" fmla="*/ 20 h 34"/>
                  <a:gd name="T20" fmla="*/ 0 w 40"/>
                  <a:gd name="T21" fmla="*/ 20 h 34"/>
                  <a:gd name="T22" fmla="*/ 10 w 40"/>
                  <a:gd name="T23" fmla="*/ 8 h 34"/>
                  <a:gd name="T24" fmla="*/ 10 w 40"/>
                  <a:gd name="T25" fmla="*/ 8 h 34"/>
                  <a:gd name="T26" fmla="*/ 11 w 40"/>
                  <a:gd name="T27" fmla="*/ 8 h 34"/>
                  <a:gd name="T28" fmla="*/ 14 w 40"/>
                  <a:gd name="T29" fmla="*/ 8 h 34"/>
                  <a:gd name="T30" fmla="*/ 16 w 40"/>
                  <a:gd name="T31" fmla="*/ 10 h 34"/>
                  <a:gd name="T32" fmla="*/ 18 w 40"/>
                  <a:gd name="T33" fmla="*/ 10 h 34"/>
                  <a:gd name="T34" fmla="*/ 18 w 40"/>
                  <a:gd name="T35" fmla="*/ 10 h 34"/>
                  <a:gd name="T36" fmla="*/ 23 w 40"/>
                  <a:gd name="T37" fmla="*/ 8 h 34"/>
                  <a:gd name="T38" fmla="*/ 24 w 40"/>
                  <a:gd name="T39" fmla="*/ 5 h 34"/>
                  <a:gd name="T40" fmla="*/ 26 w 40"/>
                  <a:gd name="T41" fmla="*/ 1 h 34"/>
                  <a:gd name="T42" fmla="*/ 29 w 40"/>
                  <a:gd name="T43" fmla="*/ 0 h 34"/>
                  <a:gd name="T44" fmla="*/ 29 w 40"/>
                  <a:gd name="T45" fmla="*/ 0 h 34"/>
                  <a:gd name="T46" fmla="*/ 32 w 40"/>
                  <a:gd name="T47" fmla="*/ 0 h 34"/>
                  <a:gd name="T48" fmla="*/ 34 w 40"/>
                  <a:gd name="T49" fmla="*/ 1 h 34"/>
                  <a:gd name="T50" fmla="*/ 40 w 40"/>
                  <a:gd name="T51" fmla="*/ 5 h 34"/>
                  <a:gd name="T52" fmla="*/ 40 w 40"/>
                  <a:gd name="T53" fmla="*/ 5 h 34"/>
                  <a:gd name="T54" fmla="*/ 40 w 40"/>
                  <a:gd name="T55" fmla="*/ 8 h 34"/>
                  <a:gd name="T56" fmla="*/ 37 w 40"/>
                  <a:gd name="T57" fmla="*/ 13 h 34"/>
                  <a:gd name="T58" fmla="*/ 34 w 40"/>
                  <a:gd name="T59" fmla="*/ 17 h 34"/>
                  <a:gd name="T60" fmla="*/ 33 w 40"/>
                  <a:gd name="T61" fmla="*/ 18 h 34"/>
                  <a:gd name="T62" fmla="*/ 33 w 40"/>
                  <a:gd name="T63" fmla="*/ 18 h 34"/>
                  <a:gd name="T64" fmla="*/ 27 w 40"/>
                  <a:gd name="T65" fmla="*/ 17 h 34"/>
                  <a:gd name="T66" fmla="*/ 23 w 40"/>
                  <a:gd name="T67" fmla="*/ 17 h 34"/>
                  <a:gd name="T68" fmla="*/ 20 w 40"/>
                  <a:gd name="T69" fmla="*/ 18 h 34"/>
                  <a:gd name="T70" fmla="*/ 20 w 40"/>
                  <a:gd name="T71" fmla="*/ 18 h 34"/>
                  <a:gd name="T72" fmla="*/ 16 w 40"/>
                  <a:gd name="T73" fmla="*/ 29 h 34"/>
                  <a:gd name="T74" fmla="*/ 13 w 40"/>
                  <a:gd name="T75" fmla="*/ 33 h 34"/>
                  <a:gd name="T76" fmla="*/ 11 w 40"/>
                  <a:gd name="T77" fmla="*/ 34 h 34"/>
                  <a:gd name="T78" fmla="*/ 10 w 40"/>
                  <a:gd name="T7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34">
                    <a:moveTo>
                      <a:pt x="10" y="34"/>
                    </a:moveTo>
                    <a:lnTo>
                      <a:pt x="10" y="34"/>
                    </a:lnTo>
                    <a:lnTo>
                      <a:pt x="7" y="31"/>
                    </a:lnTo>
                    <a:lnTo>
                      <a:pt x="5" y="27"/>
                    </a:lnTo>
                    <a:lnTo>
                      <a:pt x="5" y="24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1" y="21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1" y="8"/>
                    </a:lnTo>
                    <a:lnTo>
                      <a:pt x="14" y="8"/>
                    </a:lnTo>
                    <a:lnTo>
                      <a:pt x="16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23" y="8"/>
                    </a:lnTo>
                    <a:lnTo>
                      <a:pt x="24" y="5"/>
                    </a:lnTo>
                    <a:lnTo>
                      <a:pt x="26" y="1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2" y="0"/>
                    </a:lnTo>
                    <a:lnTo>
                      <a:pt x="34" y="1"/>
                    </a:lnTo>
                    <a:lnTo>
                      <a:pt x="40" y="5"/>
                    </a:lnTo>
                    <a:lnTo>
                      <a:pt x="40" y="5"/>
                    </a:lnTo>
                    <a:lnTo>
                      <a:pt x="40" y="8"/>
                    </a:lnTo>
                    <a:lnTo>
                      <a:pt x="37" y="13"/>
                    </a:lnTo>
                    <a:lnTo>
                      <a:pt x="34" y="17"/>
                    </a:lnTo>
                    <a:lnTo>
                      <a:pt x="33" y="18"/>
                    </a:lnTo>
                    <a:lnTo>
                      <a:pt x="33" y="18"/>
                    </a:lnTo>
                    <a:lnTo>
                      <a:pt x="27" y="17"/>
                    </a:lnTo>
                    <a:lnTo>
                      <a:pt x="23" y="17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29"/>
                    </a:lnTo>
                    <a:lnTo>
                      <a:pt x="13" y="33"/>
                    </a:lnTo>
                    <a:lnTo>
                      <a:pt x="11" y="34"/>
                    </a:lnTo>
                    <a:lnTo>
                      <a:pt x="10" y="3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09" name="Freeform 863"/>
              <p:cNvSpPr>
                <a:spLocks/>
              </p:cNvSpPr>
              <p:nvPr/>
            </p:nvSpPr>
            <p:spPr bwMode="auto">
              <a:xfrm>
                <a:off x="6515895" y="2749303"/>
                <a:ext cx="39570" cy="33635"/>
              </a:xfrm>
              <a:custGeom>
                <a:avLst/>
                <a:gdLst>
                  <a:gd name="T0" fmla="*/ 10 w 40"/>
                  <a:gd name="T1" fmla="*/ 34 h 34"/>
                  <a:gd name="T2" fmla="*/ 10 w 40"/>
                  <a:gd name="T3" fmla="*/ 34 h 34"/>
                  <a:gd name="T4" fmla="*/ 7 w 40"/>
                  <a:gd name="T5" fmla="*/ 31 h 34"/>
                  <a:gd name="T6" fmla="*/ 5 w 40"/>
                  <a:gd name="T7" fmla="*/ 27 h 34"/>
                  <a:gd name="T8" fmla="*/ 5 w 40"/>
                  <a:gd name="T9" fmla="*/ 24 h 34"/>
                  <a:gd name="T10" fmla="*/ 4 w 40"/>
                  <a:gd name="T11" fmla="*/ 21 h 34"/>
                  <a:gd name="T12" fmla="*/ 4 w 40"/>
                  <a:gd name="T13" fmla="*/ 21 h 34"/>
                  <a:gd name="T14" fmla="*/ 1 w 40"/>
                  <a:gd name="T15" fmla="*/ 21 h 34"/>
                  <a:gd name="T16" fmla="*/ 0 w 40"/>
                  <a:gd name="T17" fmla="*/ 20 h 34"/>
                  <a:gd name="T18" fmla="*/ 0 w 40"/>
                  <a:gd name="T19" fmla="*/ 20 h 34"/>
                  <a:gd name="T20" fmla="*/ 0 w 40"/>
                  <a:gd name="T21" fmla="*/ 20 h 34"/>
                  <a:gd name="T22" fmla="*/ 10 w 40"/>
                  <a:gd name="T23" fmla="*/ 8 h 34"/>
                  <a:gd name="T24" fmla="*/ 10 w 40"/>
                  <a:gd name="T25" fmla="*/ 8 h 34"/>
                  <a:gd name="T26" fmla="*/ 11 w 40"/>
                  <a:gd name="T27" fmla="*/ 8 h 34"/>
                  <a:gd name="T28" fmla="*/ 14 w 40"/>
                  <a:gd name="T29" fmla="*/ 8 h 34"/>
                  <a:gd name="T30" fmla="*/ 16 w 40"/>
                  <a:gd name="T31" fmla="*/ 10 h 34"/>
                  <a:gd name="T32" fmla="*/ 18 w 40"/>
                  <a:gd name="T33" fmla="*/ 10 h 34"/>
                  <a:gd name="T34" fmla="*/ 18 w 40"/>
                  <a:gd name="T35" fmla="*/ 10 h 34"/>
                  <a:gd name="T36" fmla="*/ 23 w 40"/>
                  <a:gd name="T37" fmla="*/ 8 h 34"/>
                  <a:gd name="T38" fmla="*/ 24 w 40"/>
                  <a:gd name="T39" fmla="*/ 5 h 34"/>
                  <a:gd name="T40" fmla="*/ 26 w 40"/>
                  <a:gd name="T41" fmla="*/ 1 h 34"/>
                  <a:gd name="T42" fmla="*/ 29 w 40"/>
                  <a:gd name="T43" fmla="*/ 0 h 34"/>
                  <a:gd name="T44" fmla="*/ 29 w 40"/>
                  <a:gd name="T45" fmla="*/ 0 h 34"/>
                  <a:gd name="T46" fmla="*/ 32 w 40"/>
                  <a:gd name="T47" fmla="*/ 0 h 34"/>
                  <a:gd name="T48" fmla="*/ 34 w 40"/>
                  <a:gd name="T49" fmla="*/ 1 h 34"/>
                  <a:gd name="T50" fmla="*/ 40 w 40"/>
                  <a:gd name="T51" fmla="*/ 5 h 34"/>
                  <a:gd name="T52" fmla="*/ 40 w 40"/>
                  <a:gd name="T53" fmla="*/ 5 h 34"/>
                  <a:gd name="T54" fmla="*/ 40 w 40"/>
                  <a:gd name="T55" fmla="*/ 8 h 34"/>
                  <a:gd name="T56" fmla="*/ 37 w 40"/>
                  <a:gd name="T57" fmla="*/ 13 h 34"/>
                  <a:gd name="T58" fmla="*/ 34 w 40"/>
                  <a:gd name="T59" fmla="*/ 17 h 34"/>
                  <a:gd name="T60" fmla="*/ 33 w 40"/>
                  <a:gd name="T61" fmla="*/ 18 h 34"/>
                  <a:gd name="T62" fmla="*/ 33 w 40"/>
                  <a:gd name="T63" fmla="*/ 18 h 34"/>
                  <a:gd name="T64" fmla="*/ 27 w 40"/>
                  <a:gd name="T65" fmla="*/ 17 h 34"/>
                  <a:gd name="T66" fmla="*/ 23 w 40"/>
                  <a:gd name="T67" fmla="*/ 17 h 34"/>
                  <a:gd name="T68" fmla="*/ 20 w 40"/>
                  <a:gd name="T69" fmla="*/ 18 h 34"/>
                  <a:gd name="T70" fmla="*/ 20 w 40"/>
                  <a:gd name="T71" fmla="*/ 18 h 34"/>
                  <a:gd name="T72" fmla="*/ 16 w 40"/>
                  <a:gd name="T73" fmla="*/ 29 h 34"/>
                  <a:gd name="T74" fmla="*/ 13 w 40"/>
                  <a:gd name="T75" fmla="*/ 33 h 34"/>
                  <a:gd name="T76" fmla="*/ 11 w 40"/>
                  <a:gd name="T77" fmla="*/ 34 h 34"/>
                  <a:gd name="T78" fmla="*/ 10 w 40"/>
                  <a:gd name="T7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34">
                    <a:moveTo>
                      <a:pt x="10" y="34"/>
                    </a:moveTo>
                    <a:lnTo>
                      <a:pt x="10" y="34"/>
                    </a:lnTo>
                    <a:lnTo>
                      <a:pt x="7" y="31"/>
                    </a:lnTo>
                    <a:lnTo>
                      <a:pt x="5" y="27"/>
                    </a:lnTo>
                    <a:lnTo>
                      <a:pt x="5" y="24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1" y="21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1" y="8"/>
                    </a:lnTo>
                    <a:lnTo>
                      <a:pt x="14" y="8"/>
                    </a:lnTo>
                    <a:lnTo>
                      <a:pt x="16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23" y="8"/>
                    </a:lnTo>
                    <a:lnTo>
                      <a:pt x="24" y="5"/>
                    </a:lnTo>
                    <a:lnTo>
                      <a:pt x="26" y="1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2" y="0"/>
                    </a:lnTo>
                    <a:lnTo>
                      <a:pt x="34" y="1"/>
                    </a:lnTo>
                    <a:lnTo>
                      <a:pt x="40" y="5"/>
                    </a:lnTo>
                    <a:lnTo>
                      <a:pt x="40" y="5"/>
                    </a:lnTo>
                    <a:lnTo>
                      <a:pt x="40" y="8"/>
                    </a:lnTo>
                    <a:lnTo>
                      <a:pt x="37" y="13"/>
                    </a:lnTo>
                    <a:lnTo>
                      <a:pt x="34" y="17"/>
                    </a:lnTo>
                    <a:lnTo>
                      <a:pt x="33" y="18"/>
                    </a:lnTo>
                    <a:lnTo>
                      <a:pt x="33" y="18"/>
                    </a:lnTo>
                    <a:lnTo>
                      <a:pt x="27" y="17"/>
                    </a:lnTo>
                    <a:lnTo>
                      <a:pt x="23" y="17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29"/>
                    </a:lnTo>
                    <a:lnTo>
                      <a:pt x="13" y="33"/>
                    </a:lnTo>
                    <a:lnTo>
                      <a:pt x="11" y="34"/>
                    </a:lnTo>
                    <a:lnTo>
                      <a:pt x="10" y="3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10" name="Freeform 864"/>
              <p:cNvSpPr>
                <a:spLocks/>
              </p:cNvSpPr>
              <p:nvPr/>
            </p:nvSpPr>
            <p:spPr bwMode="auto">
              <a:xfrm>
                <a:off x="6492153" y="2608828"/>
                <a:ext cx="177077" cy="157292"/>
              </a:xfrm>
              <a:custGeom>
                <a:avLst/>
                <a:gdLst>
                  <a:gd name="T0" fmla="*/ 71 w 179"/>
                  <a:gd name="T1" fmla="*/ 155 h 159"/>
                  <a:gd name="T2" fmla="*/ 70 w 179"/>
                  <a:gd name="T3" fmla="*/ 144 h 159"/>
                  <a:gd name="T4" fmla="*/ 73 w 179"/>
                  <a:gd name="T5" fmla="*/ 137 h 159"/>
                  <a:gd name="T6" fmla="*/ 63 w 179"/>
                  <a:gd name="T7" fmla="*/ 134 h 159"/>
                  <a:gd name="T8" fmla="*/ 45 w 179"/>
                  <a:gd name="T9" fmla="*/ 140 h 159"/>
                  <a:gd name="T10" fmla="*/ 40 w 179"/>
                  <a:gd name="T11" fmla="*/ 143 h 159"/>
                  <a:gd name="T12" fmla="*/ 29 w 179"/>
                  <a:gd name="T13" fmla="*/ 146 h 159"/>
                  <a:gd name="T14" fmla="*/ 24 w 179"/>
                  <a:gd name="T15" fmla="*/ 144 h 159"/>
                  <a:gd name="T16" fmla="*/ 12 w 179"/>
                  <a:gd name="T17" fmla="*/ 147 h 159"/>
                  <a:gd name="T18" fmla="*/ 0 w 179"/>
                  <a:gd name="T19" fmla="*/ 146 h 159"/>
                  <a:gd name="T20" fmla="*/ 6 w 179"/>
                  <a:gd name="T21" fmla="*/ 142 h 159"/>
                  <a:gd name="T22" fmla="*/ 21 w 179"/>
                  <a:gd name="T23" fmla="*/ 130 h 159"/>
                  <a:gd name="T24" fmla="*/ 34 w 179"/>
                  <a:gd name="T25" fmla="*/ 120 h 159"/>
                  <a:gd name="T26" fmla="*/ 54 w 179"/>
                  <a:gd name="T27" fmla="*/ 117 h 159"/>
                  <a:gd name="T28" fmla="*/ 64 w 179"/>
                  <a:gd name="T29" fmla="*/ 114 h 159"/>
                  <a:gd name="T30" fmla="*/ 77 w 179"/>
                  <a:gd name="T31" fmla="*/ 117 h 159"/>
                  <a:gd name="T32" fmla="*/ 84 w 179"/>
                  <a:gd name="T33" fmla="*/ 117 h 159"/>
                  <a:gd name="T34" fmla="*/ 84 w 179"/>
                  <a:gd name="T35" fmla="*/ 111 h 159"/>
                  <a:gd name="T36" fmla="*/ 90 w 179"/>
                  <a:gd name="T37" fmla="*/ 101 h 159"/>
                  <a:gd name="T38" fmla="*/ 95 w 179"/>
                  <a:gd name="T39" fmla="*/ 89 h 159"/>
                  <a:gd name="T40" fmla="*/ 103 w 179"/>
                  <a:gd name="T41" fmla="*/ 81 h 159"/>
                  <a:gd name="T42" fmla="*/ 100 w 179"/>
                  <a:gd name="T43" fmla="*/ 88 h 159"/>
                  <a:gd name="T44" fmla="*/ 103 w 179"/>
                  <a:gd name="T45" fmla="*/ 95 h 159"/>
                  <a:gd name="T46" fmla="*/ 111 w 179"/>
                  <a:gd name="T47" fmla="*/ 91 h 159"/>
                  <a:gd name="T48" fmla="*/ 126 w 179"/>
                  <a:gd name="T49" fmla="*/ 79 h 159"/>
                  <a:gd name="T50" fmla="*/ 144 w 179"/>
                  <a:gd name="T51" fmla="*/ 59 h 159"/>
                  <a:gd name="T52" fmla="*/ 151 w 179"/>
                  <a:gd name="T53" fmla="*/ 37 h 159"/>
                  <a:gd name="T54" fmla="*/ 147 w 179"/>
                  <a:gd name="T55" fmla="*/ 30 h 159"/>
                  <a:gd name="T56" fmla="*/ 150 w 179"/>
                  <a:gd name="T57" fmla="*/ 23 h 159"/>
                  <a:gd name="T58" fmla="*/ 148 w 179"/>
                  <a:gd name="T59" fmla="*/ 14 h 159"/>
                  <a:gd name="T60" fmla="*/ 153 w 179"/>
                  <a:gd name="T61" fmla="*/ 8 h 159"/>
                  <a:gd name="T62" fmla="*/ 154 w 179"/>
                  <a:gd name="T63" fmla="*/ 2 h 159"/>
                  <a:gd name="T64" fmla="*/ 157 w 179"/>
                  <a:gd name="T65" fmla="*/ 7 h 159"/>
                  <a:gd name="T66" fmla="*/ 164 w 179"/>
                  <a:gd name="T67" fmla="*/ 11 h 159"/>
                  <a:gd name="T68" fmla="*/ 167 w 179"/>
                  <a:gd name="T69" fmla="*/ 7 h 159"/>
                  <a:gd name="T70" fmla="*/ 161 w 179"/>
                  <a:gd name="T71" fmla="*/ 4 h 159"/>
                  <a:gd name="T72" fmla="*/ 164 w 179"/>
                  <a:gd name="T73" fmla="*/ 0 h 159"/>
                  <a:gd name="T74" fmla="*/ 170 w 179"/>
                  <a:gd name="T75" fmla="*/ 4 h 159"/>
                  <a:gd name="T76" fmla="*/ 174 w 179"/>
                  <a:gd name="T77" fmla="*/ 18 h 159"/>
                  <a:gd name="T78" fmla="*/ 179 w 179"/>
                  <a:gd name="T79" fmla="*/ 42 h 159"/>
                  <a:gd name="T80" fmla="*/ 174 w 179"/>
                  <a:gd name="T81" fmla="*/ 52 h 159"/>
                  <a:gd name="T82" fmla="*/ 173 w 179"/>
                  <a:gd name="T83" fmla="*/ 62 h 159"/>
                  <a:gd name="T84" fmla="*/ 167 w 179"/>
                  <a:gd name="T85" fmla="*/ 62 h 159"/>
                  <a:gd name="T86" fmla="*/ 166 w 179"/>
                  <a:gd name="T87" fmla="*/ 76 h 159"/>
                  <a:gd name="T88" fmla="*/ 161 w 179"/>
                  <a:gd name="T89" fmla="*/ 101 h 159"/>
                  <a:gd name="T90" fmla="*/ 161 w 179"/>
                  <a:gd name="T91" fmla="*/ 114 h 159"/>
                  <a:gd name="T92" fmla="*/ 160 w 179"/>
                  <a:gd name="T93" fmla="*/ 118 h 159"/>
                  <a:gd name="T94" fmla="*/ 155 w 179"/>
                  <a:gd name="T95" fmla="*/ 129 h 159"/>
                  <a:gd name="T96" fmla="*/ 148 w 179"/>
                  <a:gd name="T97" fmla="*/ 130 h 159"/>
                  <a:gd name="T98" fmla="*/ 147 w 179"/>
                  <a:gd name="T99" fmla="*/ 123 h 159"/>
                  <a:gd name="T100" fmla="*/ 150 w 179"/>
                  <a:gd name="T101" fmla="*/ 115 h 159"/>
                  <a:gd name="T102" fmla="*/ 144 w 179"/>
                  <a:gd name="T103" fmla="*/ 120 h 159"/>
                  <a:gd name="T104" fmla="*/ 138 w 179"/>
                  <a:gd name="T105" fmla="*/ 121 h 159"/>
                  <a:gd name="T106" fmla="*/ 134 w 179"/>
                  <a:gd name="T107" fmla="*/ 134 h 159"/>
                  <a:gd name="T108" fmla="*/ 131 w 179"/>
                  <a:gd name="T109" fmla="*/ 130 h 159"/>
                  <a:gd name="T110" fmla="*/ 125 w 179"/>
                  <a:gd name="T111" fmla="*/ 134 h 159"/>
                  <a:gd name="T112" fmla="*/ 115 w 179"/>
                  <a:gd name="T113" fmla="*/ 139 h 159"/>
                  <a:gd name="T114" fmla="*/ 102 w 179"/>
                  <a:gd name="T115" fmla="*/ 136 h 159"/>
                  <a:gd name="T116" fmla="*/ 98 w 179"/>
                  <a:gd name="T117" fmla="*/ 143 h 159"/>
                  <a:gd name="T118" fmla="*/ 92 w 179"/>
                  <a:gd name="T119" fmla="*/ 147 h 159"/>
                  <a:gd name="T120" fmla="*/ 80 w 179"/>
                  <a:gd name="T121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9" h="159">
                    <a:moveTo>
                      <a:pt x="80" y="159"/>
                    </a:moveTo>
                    <a:lnTo>
                      <a:pt x="80" y="159"/>
                    </a:lnTo>
                    <a:lnTo>
                      <a:pt x="74" y="157"/>
                    </a:lnTo>
                    <a:lnTo>
                      <a:pt x="71" y="155"/>
                    </a:lnTo>
                    <a:lnTo>
                      <a:pt x="71" y="155"/>
                    </a:lnTo>
                    <a:lnTo>
                      <a:pt x="70" y="149"/>
                    </a:lnTo>
                    <a:lnTo>
                      <a:pt x="69" y="146"/>
                    </a:lnTo>
                    <a:lnTo>
                      <a:pt x="70" y="144"/>
                    </a:lnTo>
                    <a:lnTo>
                      <a:pt x="70" y="144"/>
                    </a:lnTo>
                    <a:lnTo>
                      <a:pt x="73" y="142"/>
                    </a:lnTo>
                    <a:lnTo>
                      <a:pt x="74" y="139"/>
                    </a:lnTo>
                    <a:lnTo>
                      <a:pt x="73" y="137"/>
                    </a:lnTo>
                    <a:lnTo>
                      <a:pt x="73" y="137"/>
                    </a:lnTo>
                    <a:lnTo>
                      <a:pt x="67" y="134"/>
                    </a:lnTo>
                    <a:lnTo>
                      <a:pt x="63" y="134"/>
                    </a:lnTo>
                    <a:lnTo>
                      <a:pt x="63" y="134"/>
                    </a:lnTo>
                    <a:lnTo>
                      <a:pt x="53" y="137"/>
                    </a:lnTo>
                    <a:lnTo>
                      <a:pt x="53" y="137"/>
                    </a:lnTo>
                    <a:lnTo>
                      <a:pt x="48" y="140"/>
                    </a:lnTo>
                    <a:lnTo>
                      <a:pt x="45" y="140"/>
                    </a:lnTo>
                    <a:lnTo>
                      <a:pt x="42" y="140"/>
                    </a:lnTo>
                    <a:lnTo>
                      <a:pt x="42" y="140"/>
                    </a:lnTo>
                    <a:lnTo>
                      <a:pt x="41" y="140"/>
                    </a:lnTo>
                    <a:lnTo>
                      <a:pt x="40" y="143"/>
                    </a:lnTo>
                    <a:lnTo>
                      <a:pt x="37" y="144"/>
                    </a:lnTo>
                    <a:lnTo>
                      <a:pt x="37" y="144"/>
                    </a:lnTo>
                    <a:lnTo>
                      <a:pt x="32" y="146"/>
                    </a:lnTo>
                    <a:lnTo>
                      <a:pt x="29" y="146"/>
                    </a:lnTo>
                    <a:lnTo>
                      <a:pt x="28" y="146"/>
                    </a:lnTo>
                    <a:lnTo>
                      <a:pt x="28" y="146"/>
                    </a:lnTo>
                    <a:lnTo>
                      <a:pt x="27" y="144"/>
                    </a:lnTo>
                    <a:lnTo>
                      <a:pt x="24" y="144"/>
                    </a:lnTo>
                    <a:lnTo>
                      <a:pt x="21" y="146"/>
                    </a:lnTo>
                    <a:lnTo>
                      <a:pt x="21" y="146"/>
                    </a:lnTo>
                    <a:lnTo>
                      <a:pt x="18" y="147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3" y="147"/>
                    </a:lnTo>
                    <a:lnTo>
                      <a:pt x="0" y="147"/>
                    </a:lnTo>
                    <a:lnTo>
                      <a:pt x="0" y="146"/>
                    </a:lnTo>
                    <a:lnTo>
                      <a:pt x="0" y="144"/>
                    </a:lnTo>
                    <a:lnTo>
                      <a:pt x="0" y="144"/>
                    </a:lnTo>
                    <a:lnTo>
                      <a:pt x="3" y="143"/>
                    </a:lnTo>
                    <a:lnTo>
                      <a:pt x="6" y="142"/>
                    </a:lnTo>
                    <a:lnTo>
                      <a:pt x="12" y="139"/>
                    </a:lnTo>
                    <a:lnTo>
                      <a:pt x="12" y="139"/>
                    </a:lnTo>
                    <a:lnTo>
                      <a:pt x="16" y="134"/>
                    </a:lnTo>
                    <a:lnTo>
                      <a:pt x="21" y="130"/>
                    </a:lnTo>
                    <a:lnTo>
                      <a:pt x="21" y="130"/>
                    </a:lnTo>
                    <a:lnTo>
                      <a:pt x="28" y="124"/>
                    </a:lnTo>
                    <a:lnTo>
                      <a:pt x="31" y="121"/>
                    </a:lnTo>
                    <a:lnTo>
                      <a:pt x="34" y="120"/>
                    </a:lnTo>
                    <a:lnTo>
                      <a:pt x="34" y="120"/>
                    </a:lnTo>
                    <a:lnTo>
                      <a:pt x="44" y="118"/>
                    </a:lnTo>
                    <a:lnTo>
                      <a:pt x="50" y="118"/>
                    </a:lnTo>
                    <a:lnTo>
                      <a:pt x="54" y="117"/>
                    </a:lnTo>
                    <a:lnTo>
                      <a:pt x="54" y="117"/>
                    </a:lnTo>
                    <a:lnTo>
                      <a:pt x="58" y="115"/>
                    </a:lnTo>
                    <a:lnTo>
                      <a:pt x="61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74" y="115"/>
                    </a:lnTo>
                    <a:lnTo>
                      <a:pt x="74" y="115"/>
                    </a:lnTo>
                    <a:lnTo>
                      <a:pt x="77" y="117"/>
                    </a:lnTo>
                    <a:lnTo>
                      <a:pt x="79" y="118"/>
                    </a:lnTo>
                    <a:lnTo>
                      <a:pt x="79" y="118"/>
                    </a:lnTo>
                    <a:lnTo>
                      <a:pt x="83" y="118"/>
                    </a:lnTo>
                    <a:lnTo>
                      <a:pt x="84" y="117"/>
                    </a:lnTo>
                    <a:lnTo>
                      <a:pt x="86" y="115"/>
                    </a:lnTo>
                    <a:lnTo>
                      <a:pt x="86" y="115"/>
                    </a:lnTo>
                    <a:lnTo>
                      <a:pt x="86" y="113"/>
                    </a:lnTo>
                    <a:lnTo>
                      <a:pt x="84" y="111"/>
                    </a:lnTo>
                    <a:lnTo>
                      <a:pt x="84" y="108"/>
                    </a:lnTo>
                    <a:lnTo>
                      <a:pt x="86" y="107"/>
                    </a:lnTo>
                    <a:lnTo>
                      <a:pt x="86" y="107"/>
                    </a:lnTo>
                    <a:lnTo>
                      <a:pt x="90" y="101"/>
                    </a:lnTo>
                    <a:lnTo>
                      <a:pt x="93" y="98"/>
                    </a:lnTo>
                    <a:lnTo>
                      <a:pt x="95" y="95"/>
                    </a:lnTo>
                    <a:lnTo>
                      <a:pt x="95" y="95"/>
                    </a:lnTo>
                    <a:lnTo>
                      <a:pt x="95" y="89"/>
                    </a:lnTo>
                    <a:lnTo>
                      <a:pt x="95" y="85"/>
                    </a:lnTo>
                    <a:lnTo>
                      <a:pt x="95" y="85"/>
                    </a:lnTo>
                    <a:lnTo>
                      <a:pt x="99" y="82"/>
                    </a:lnTo>
                    <a:lnTo>
                      <a:pt x="103" y="81"/>
                    </a:lnTo>
                    <a:lnTo>
                      <a:pt x="103" y="81"/>
                    </a:lnTo>
                    <a:lnTo>
                      <a:pt x="103" y="81"/>
                    </a:lnTo>
                    <a:lnTo>
                      <a:pt x="103" y="82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100" y="92"/>
                    </a:lnTo>
                    <a:lnTo>
                      <a:pt x="100" y="94"/>
                    </a:lnTo>
                    <a:lnTo>
                      <a:pt x="103" y="95"/>
                    </a:lnTo>
                    <a:lnTo>
                      <a:pt x="103" y="95"/>
                    </a:lnTo>
                    <a:lnTo>
                      <a:pt x="106" y="94"/>
                    </a:lnTo>
                    <a:lnTo>
                      <a:pt x="111" y="91"/>
                    </a:lnTo>
                    <a:lnTo>
                      <a:pt x="111" y="91"/>
                    </a:lnTo>
                    <a:lnTo>
                      <a:pt x="115" y="87"/>
                    </a:lnTo>
                    <a:lnTo>
                      <a:pt x="124" y="81"/>
                    </a:lnTo>
                    <a:lnTo>
                      <a:pt x="124" y="81"/>
                    </a:lnTo>
                    <a:lnTo>
                      <a:pt x="126" y="79"/>
                    </a:lnTo>
                    <a:lnTo>
                      <a:pt x="131" y="76"/>
                    </a:lnTo>
                    <a:lnTo>
                      <a:pt x="138" y="68"/>
                    </a:lnTo>
                    <a:lnTo>
                      <a:pt x="138" y="68"/>
                    </a:lnTo>
                    <a:lnTo>
                      <a:pt x="144" y="59"/>
                    </a:lnTo>
                    <a:lnTo>
                      <a:pt x="147" y="50"/>
                    </a:lnTo>
                    <a:lnTo>
                      <a:pt x="147" y="50"/>
                    </a:lnTo>
                    <a:lnTo>
                      <a:pt x="150" y="42"/>
                    </a:lnTo>
                    <a:lnTo>
                      <a:pt x="151" y="37"/>
                    </a:lnTo>
                    <a:lnTo>
                      <a:pt x="151" y="34"/>
                    </a:lnTo>
                    <a:lnTo>
                      <a:pt x="151" y="34"/>
                    </a:lnTo>
                    <a:lnTo>
                      <a:pt x="148" y="31"/>
                    </a:lnTo>
                    <a:lnTo>
                      <a:pt x="147" y="30"/>
                    </a:lnTo>
                    <a:lnTo>
                      <a:pt x="148" y="29"/>
                    </a:lnTo>
                    <a:lnTo>
                      <a:pt x="148" y="29"/>
                    </a:lnTo>
                    <a:lnTo>
                      <a:pt x="150" y="26"/>
                    </a:lnTo>
                    <a:lnTo>
                      <a:pt x="150" y="23"/>
                    </a:lnTo>
                    <a:lnTo>
                      <a:pt x="150" y="23"/>
                    </a:lnTo>
                    <a:lnTo>
                      <a:pt x="148" y="18"/>
                    </a:lnTo>
                    <a:lnTo>
                      <a:pt x="148" y="16"/>
                    </a:lnTo>
                    <a:lnTo>
                      <a:pt x="148" y="14"/>
                    </a:lnTo>
                    <a:lnTo>
                      <a:pt x="148" y="14"/>
                    </a:lnTo>
                    <a:lnTo>
                      <a:pt x="151" y="11"/>
                    </a:lnTo>
                    <a:lnTo>
                      <a:pt x="153" y="8"/>
                    </a:lnTo>
                    <a:lnTo>
                      <a:pt x="153" y="8"/>
                    </a:lnTo>
                    <a:lnTo>
                      <a:pt x="153" y="5"/>
                    </a:lnTo>
                    <a:lnTo>
                      <a:pt x="153" y="4"/>
                    </a:lnTo>
                    <a:lnTo>
                      <a:pt x="154" y="2"/>
                    </a:lnTo>
                    <a:lnTo>
                      <a:pt x="154" y="2"/>
                    </a:lnTo>
                    <a:lnTo>
                      <a:pt x="155" y="2"/>
                    </a:lnTo>
                    <a:lnTo>
                      <a:pt x="157" y="4"/>
                    </a:lnTo>
                    <a:lnTo>
                      <a:pt x="157" y="7"/>
                    </a:lnTo>
                    <a:lnTo>
                      <a:pt x="157" y="7"/>
                    </a:lnTo>
                    <a:lnTo>
                      <a:pt x="158" y="10"/>
                    </a:lnTo>
                    <a:lnTo>
                      <a:pt x="161" y="11"/>
                    </a:lnTo>
                    <a:lnTo>
                      <a:pt x="161" y="11"/>
                    </a:lnTo>
                    <a:lnTo>
                      <a:pt x="164" y="11"/>
                    </a:lnTo>
                    <a:lnTo>
                      <a:pt x="166" y="11"/>
                    </a:lnTo>
                    <a:lnTo>
                      <a:pt x="167" y="10"/>
                    </a:lnTo>
                    <a:lnTo>
                      <a:pt x="167" y="10"/>
                    </a:lnTo>
                    <a:lnTo>
                      <a:pt x="167" y="7"/>
                    </a:lnTo>
                    <a:lnTo>
                      <a:pt x="166" y="5"/>
                    </a:lnTo>
                    <a:lnTo>
                      <a:pt x="166" y="5"/>
                    </a:lnTo>
                    <a:lnTo>
                      <a:pt x="163" y="5"/>
                    </a:lnTo>
                    <a:lnTo>
                      <a:pt x="161" y="4"/>
                    </a:lnTo>
                    <a:lnTo>
                      <a:pt x="161" y="4"/>
                    </a:lnTo>
                    <a:lnTo>
                      <a:pt x="161" y="1"/>
                    </a:lnTo>
                    <a:lnTo>
                      <a:pt x="163" y="0"/>
                    </a:lnTo>
                    <a:lnTo>
                      <a:pt x="164" y="0"/>
                    </a:lnTo>
                    <a:lnTo>
                      <a:pt x="164" y="0"/>
                    </a:lnTo>
                    <a:lnTo>
                      <a:pt x="167" y="0"/>
                    </a:lnTo>
                    <a:lnTo>
                      <a:pt x="168" y="1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1" y="11"/>
                    </a:lnTo>
                    <a:lnTo>
                      <a:pt x="173" y="16"/>
                    </a:lnTo>
                    <a:lnTo>
                      <a:pt x="174" y="18"/>
                    </a:lnTo>
                    <a:lnTo>
                      <a:pt x="174" y="18"/>
                    </a:lnTo>
                    <a:lnTo>
                      <a:pt x="176" y="23"/>
                    </a:lnTo>
                    <a:lnTo>
                      <a:pt x="177" y="30"/>
                    </a:lnTo>
                    <a:lnTo>
                      <a:pt x="179" y="42"/>
                    </a:lnTo>
                    <a:lnTo>
                      <a:pt x="179" y="42"/>
                    </a:lnTo>
                    <a:lnTo>
                      <a:pt x="177" y="46"/>
                    </a:lnTo>
                    <a:lnTo>
                      <a:pt x="174" y="52"/>
                    </a:lnTo>
                    <a:lnTo>
                      <a:pt x="174" y="52"/>
                    </a:lnTo>
                    <a:lnTo>
                      <a:pt x="174" y="58"/>
                    </a:lnTo>
                    <a:lnTo>
                      <a:pt x="174" y="60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0" y="62"/>
                    </a:lnTo>
                    <a:lnTo>
                      <a:pt x="168" y="60"/>
                    </a:lnTo>
                    <a:lnTo>
                      <a:pt x="168" y="60"/>
                    </a:lnTo>
                    <a:lnTo>
                      <a:pt x="167" y="62"/>
                    </a:lnTo>
                    <a:lnTo>
                      <a:pt x="166" y="63"/>
                    </a:lnTo>
                    <a:lnTo>
                      <a:pt x="166" y="68"/>
                    </a:lnTo>
                    <a:lnTo>
                      <a:pt x="166" y="68"/>
                    </a:lnTo>
                    <a:lnTo>
                      <a:pt x="166" y="76"/>
                    </a:lnTo>
                    <a:lnTo>
                      <a:pt x="166" y="85"/>
                    </a:lnTo>
                    <a:lnTo>
                      <a:pt x="166" y="85"/>
                    </a:lnTo>
                    <a:lnTo>
                      <a:pt x="164" y="94"/>
                    </a:lnTo>
                    <a:lnTo>
                      <a:pt x="161" y="101"/>
                    </a:lnTo>
                    <a:lnTo>
                      <a:pt x="161" y="101"/>
                    </a:lnTo>
                    <a:lnTo>
                      <a:pt x="160" y="107"/>
                    </a:lnTo>
                    <a:lnTo>
                      <a:pt x="160" y="110"/>
                    </a:lnTo>
                    <a:lnTo>
                      <a:pt x="161" y="114"/>
                    </a:lnTo>
                    <a:lnTo>
                      <a:pt x="161" y="114"/>
                    </a:lnTo>
                    <a:lnTo>
                      <a:pt x="163" y="115"/>
                    </a:lnTo>
                    <a:lnTo>
                      <a:pt x="161" y="117"/>
                    </a:lnTo>
                    <a:lnTo>
                      <a:pt x="160" y="118"/>
                    </a:lnTo>
                    <a:lnTo>
                      <a:pt x="157" y="121"/>
                    </a:lnTo>
                    <a:lnTo>
                      <a:pt x="157" y="121"/>
                    </a:lnTo>
                    <a:lnTo>
                      <a:pt x="155" y="124"/>
                    </a:lnTo>
                    <a:lnTo>
                      <a:pt x="155" y="129"/>
                    </a:lnTo>
                    <a:lnTo>
                      <a:pt x="155" y="130"/>
                    </a:lnTo>
                    <a:lnTo>
                      <a:pt x="154" y="131"/>
                    </a:lnTo>
                    <a:lnTo>
                      <a:pt x="154" y="131"/>
                    </a:lnTo>
                    <a:lnTo>
                      <a:pt x="148" y="130"/>
                    </a:lnTo>
                    <a:lnTo>
                      <a:pt x="147" y="130"/>
                    </a:lnTo>
                    <a:lnTo>
                      <a:pt x="145" y="127"/>
                    </a:lnTo>
                    <a:lnTo>
                      <a:pt x="145" y="127"/>
                    </a:lnTo>
                    <a:lnTo>
                      <a:pt x="147" y="123"/>
                    </a:lnTo>
                    <a:lnTo>
                      <a:pt x="150" y="118"/>
                    </a:lnTo>
                    <a:lnTo>
                      <a:pt x="150" y="118"/>
                    </a:lnTo>
                    <a:lnTo>
                      <a:pt x="151" y="115"/>
                    </a:lnTo>
                    <a:lnTo>
                      <a:pt x="150" y="115"/>
                    </a:lnTo>
                    <a:lnTo>
                      <a:pt x="150" y="114"/>
                    </a:lnTo>
                    <a:lnTo>
                      <a:pt x="150" y="114"/>
                    </a:lnTo>
                    <a:lnTo>
                      <a:pt x="147" y="117"/>
                    </a:lnTo>
                    <a:lnTo>
                      <a:pt x="144" y="120"/>
                    </a:lnTo>
                    <a:lnTo>
                      <a:pt x="144" y="120"/>
                    </a:lnTo>
                    <a:lnTo>
                      <a:pt x="140" y="120"/>
                    </a:lnTo>
                    <a:lnTo>
                      <a:pt x="140" y="120"/>
                    </a:lnTo>
                    <a:lnTo>
                      <a:pt x="138" y="121"/>
                    </a:lnTo>
                    <a:lnTo>
                      <a:pt x="138" y="121"/>
                    </a:lnTo>
                    <a:lnTo>
                      <a:pt x="137" y="129"/>
                    </a:lnTo>
                    <a:lnTo>
                      <a:pt x="135" y="133"/>
                    </a:lnTo>
                    <a:lnTo>
                      <a:pt x="134" y="134"/>
                    </a:lnTo>
                    <a:lnTo>
                      <a:pt x="134" y="134"/>
                    </a:lnTo>
                    <a:lnTo>
                      <a:pt x="132" y="133"/>
                    </a:lnTo>
                    <a:lnTo>
                      <a:pt x="132" y="131"/>
                    </a:lnTo>
                    <a:lnTo>
                      <a:pt x="131" y="130"/>
                    </a:lnTo>
                    <a:lnTo>
                      <a:pt x="131" y="129"/>
                    </a:lnTo>
                    <a:lnTo>
                      <a:pt x="131" y="129"/>
                    </a:lnTo>
                    <a:lnTo>
                      <a:pt x="128" y="131"/>
                    </a:lnTo>
                    <a:lnTo>
                      <a:pt x="125" y="134"/>
                    </a:lnTo>
                    <a:lnTo>
                      <a:pt x="125" y="134"/>
                    </a:lnTo>
                    <a:lnTo>
                      <a:pt x="121" y="136"/>
                    </a:lnTo>
                    <a:lnTo>
                      <a:pt x="115" y="139"/>
                    </a:lnTo>
                    <a:lnTo>
                      <a:pt x="115" y="139"/>
                    </a:lnTo>
                    <a:lnTo>
                      <a:pt x="106" y="139"/>
                    </a:lnTo>
                    <a:lnTo>
                      <a:pt x="106" y="139"/>
                    </a:lnTo>
                    <a:lnTo>
                      <a:pt x="103" y="136"/>
                    </a:lnTo>
                    <a:lnTo>
                      <a:pt x="102" y="136"/>
                    </a:lnTo>
                    <a:lnTo>
                      <a:pt x="100" y="134"/>
                    </a:lnTo>
                    <a:lnTo>
                      <a:pt x="100" y="134"/>
                    </a:lnTo>
                    <a:lnTo>
                      <a:pt x="99" y="139"/>
                    </a:lnTo>
                    <a:lnTo>
                      <a:pt x="98" y="143"/>
                    </a:lnTo>
                    <a:lnTo>
                      <a:pt x="98" y="143"/>
                    </a:lnTo>
                    <a:lnTo>
                      <a:pt x="96" y="144"/>
                    </a:lnTo>
                    <a:lnTo>
                      <a:pt x="92" y="147"/>
                    </a:lnTo>
                    <a:lnTo>
                      <a:pt x="92" y="147"/>
                    </a:lnTo>
                    <a:lnTo>
                      <a:pt x="87" y="155"/>
                    </a:lnTo>
                    <a:lnTo>
                      <a:pt x="83" y="157"/>
                    </a:lnTo>
                    <a:lnTo>
                      <a:pt x="82" y="159"/>
                    </a:lnTo>
                    <a:lnTo>
                      <a:pt x="80" y="15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11" name="Freeform 865"/>
              <p:cNvSpPr>
                <a:spLocks/>
              </p:cNvSpPr>
              <p:nvPr/>
            </p:nvSpPr>
            <p:spPr bwMode="auto">
              <a:xfrm>
                <a:off x="6492153" y="2608828"/>
                <a:ext cx="177077" cy="157292"/>
              </a:xfrm>
              <a:custGeom>
                <a:avLst/>
                <a:gdLst>
                  <a:gd name="T0" fmla="*/ 71 w 179"/>
                  <a:gd name="T1" fmla="*/ 155 h 159"/>
                  <a:gd name="T2" fmla="*/ 70 w 179"/>
                  <a:gd name="T3" fmla="*/ 144 h 159"/>
                  <a:gd name="T4" fmla="*/ 73 w 179"/>
                  <a:gd name="T5" fmla="*/ 137 h 159"/>
                  <a:gd name="T6" fmla="*/ 63 w 179"/>
                  <a:gd name="T7" fmla="*/ 134 h 159"/>
                  <a:gd name="T8" fmla="*/ 45 w 179"/>
                  <a:gd name="T9" fmla="*/ 140 h 159"/>
                  <a:gd name="T10" fmla="*/ 40 w 179"/>
                  <a:gd name="T11" fmla="*/ 143 h 159"/>
                  <a:gd name="T12" fmla="*/ 29 w 179"/>
                  <a:gd name="T13" fmla="*/ 146 h 159"/>
                  <a:gd name="T14" fmla="*/ 24 w 179"/>
                  <a:gd name="T15" fmla="*/ 144 h 159"/>
                  <a:gd name="T16" fmla="*/ 12 w 179"/>
                  <a:gd name="T17" fmla="*/ 147 h 159"/>
                  <a:gd name="T18" fmla="*/ 0 w 179"/>
                  <a:gd name="T19" fmla="*/ 146 h 159"/>
                  <a:gd name="T20" fmla="*/ 6 w 179"/>
                  <a:gd name="T21" fmla="*/ 142 h 159"/>
                  <a:gd name="T22" fmla="*/ 21 w 179"/>
                  <a:gd name="T23" fmla="*/ 130 h 159"/>
                  <a:gd name="T24" fmla="*/ 34 w 179"/>
                  <a:gd name="T25" fmla="*/ 120 h 159"/>
                  <a:gd name="T26" fmla="*/ 54 w 179"/>
                  <a:gd name="T27" fmla="*/ 117 h 159"/>
                  <a:gd name="T28" fmla="*/ 64 w 179"/>
                  <a:gd name="T29" fmla="*/ 114 h 159"/>
                  <a:gd name="T30" fmla="*/ 77 w 179"/>
                  <a:gd name="T31" fmla="*/ 117 h 159"/>
                  <a:gd name="T32" fmla="*/ 84 w 179"/>
                  <a:gd name="T33" fmla="*/ 117 h 159"/>
                  <a:gd name="T34" fmla="*/ 84 w 179"/>
                  <a:gd name="T35" fmla="*/ 111 h 159"/>
                  <a:gd name="T36" fmla="*/ 90 w 179"/>
                  <a:gd name="T37" fmla="*/ 101 h 159"/>
                  <a:gd name="T38" fmla="*/ 95 w 179"/>
                  <a:gd name="T39" fmla="*/ 89 h 159"/>
                  <a:gd name="T40" fmla="*/ 103 w 179"/>
                  <a:gd name="T41" fmla="*/ 81 h 159"/>
                  <a:gd name="T42" fmla="*/ 100 w 179"/>
                  <a:gd name="T43" fmla="*/ 88 h 159"/>
                  <a:gd name="T44" fmla="*/ 103 w 179"/>
                  <a:gd name="T45" fmla="*/ 95 h 159"/>
                  <a:gd name="T46" fmla="*/ 111 w 179"/>
                  <a:gd name="T47" fmla="*/ 91 h 159"/>
                  <a:gd name="T48" fmla="*/ 126 w 179"/>
                  <a:gd name="T49" fmla="*/ 79 h 159"/>
                  <a:gd name="T50" fmla="*/ 144 w 179"/>
                  <a:gd name="T51" fmla="*/ 59 h 159"/>
                  <a:gd name="T52" fmla="*/ 151 w 179"/>
                  <a:gd name="T53" fmla="*/ 37 h 159"/>
                  <a:gd name="T54" fmla="*/ 147 w 179"/>
                  <a:gd name="T55" fmla="*/ 30 h 159"/>
                  <a:gd name="T56" fmla="*/ 150 w 179"/>
                  <a:gd name="T57" fmla="*/ 23 h 159"/>
                  <a:gd name="T58" fmla="*/ 148 w 179"/>
                  <a:gd name="T59" fmla="*/ 14 h 159"/>
                  <a:gd name="T60" fmla="*/ 153 w 179"/>
                  <a:gd name="T61" fmla="*/ 8 h 159"/>
                  <a:gd name="T62" fmla="*/ 154 w 179"/>
                  <a:gd name="T63" fmla="*/ 2 h 159"/>
                  <a:gd name="T64" fmla="*/ 157 w 179"/>
                  <a:gd name="T65" fmla="*/ 7 h 159"/>
                  <a:gd name="T66" fmla="*/ 164 w 179"/>
                  <a:gd name="T67" fmla="*/ 11 h 159"/>
                  <a:gd name="T68" fmla="*/ 167 w 179"/>
                  <a:gd name="T69" fmla="*/ 7 h 159"/>
                  <a:gd name="T70" fmla="*/ 161 w 179"/>
                  <a:gd name="T71" fmla="*/ 4 h 159"/>
                  <a:gd name="T72" fmla="*/ 164 w 179"/>
                  <a:gd name="T73" fmla="*/ 0 h 159"/>
                  <a:gd name="T74" fmla="*/ 170 w 179"/>
                  <a:gd name="T75" fmla="*/ 4 h 159"/>
                  <a:gd name="T76" fmla="*/ 174 w 179"/>
                  <a:gd name="T77" fmla="*/ 18 h 159"/>
                  <a:gd name="T78" fmla="*/ 179 w 179"/>
                  <a:gd name="T79" fmla="*/ 42 h 159"/>
                  <a:gd name="T80" fmla="*/ 174 w 179"/>
                  <a:gd name="T81" fmla="*/ 52 h 159"/>
                  <a:gd name="T82" fmla="*/ 173 w 179"/>
                  <a:gd name="T83" fmla="*/ 62 h 159"/>
                  <a:gd name="T84" fmla="*/ 167 w 179"/>
                  <a:gd name="T85" fmla="*/ 62 h 159"/>
                  <a:gd name="T86" fmla="*/ 166 w 179"/>
                  <a:gd name="T87" fmla="*/ 76 h 159"/>
                  <a:gd name="T88" fmla="*/ 161 w 179"/>
                  <a:gd name="T89" fmla="*/ 101 h 159"/>
                  <a:gd name="T90" fmla="*/ 161 w 179"/>
                  <a:gd name="T91" fmla="*/ 114 h 159"/>
                  <a:gd name="T92" fmla="*/ 160 w 179"/>
                  <a:gd name="T93" fmla="*/ 118 h 159"/>
                  <a:gd name="T94" fmla="*/ 155 w 179"/>
                  <a:gd name="T95" fmla="*/ 129 h 159"/>
                  <a:gd name="T96" fmla="*/ 148 w 179"/>
                  <a:gd name="T97" fmla="*/ 130 h 159"/>
                  <a:gd name="T98" fmla="*/ 147 w 179"/>
                  <a:gd name="T99" fmla="*/ 123 h 159"/>
                  <a:gd name="T100" fmla="*/ 150 w 179"/>
                  <a:gd name="T101" fmla="*/ 115 h 159"/>
                  <a:gd name="T102" fmla="*/ 144 w 179"/>
                  <a:gd name="T103" fmla="*/ 120 h 159"/>
                  <a:gd name="T104" fmla="*/ 138 w 179"/>
                  <a:gd name="T105" fmla="*/ 121 h 159"/>
                  <a:gd name="T106" fmla="*/ 134 w 179"/>
                  <a:gd name="T107" fmla="*/ 134 h 159"/>
                  <a:gd name="T108" fmla="*/ 131 w 179"/>
                  <a:gd name="T109" fmla="*/ 130 h 159"/>
                  <a:gd name="T110" fmla="*/ 125 w 179"/>
                  <a:gd name="T111" fmla="*/ 134 h 159"/>
                  <a:gd name="T112" fmla="*/ 115 w 179"/>
                  <a:gd name="T113" fmla="*/ 139 h 159"/>
                  <a:gd name="T114" fmla="*/ 102 w 179"/>
                  <a:gd name="T115" fmla="*/ 136 h 159"/>
                  <a:gd name="T116" fmla="*/ 98 w 179"/>
                  <a:gd name="T117" fmla="*/ 143 h 159"/>
                  <a:gd name="T118" fmla="*/ 92 w 179"/>
                  <a:gd name="T119" fmla="*/ 147 h 159"/>
                  <a:gd name="T120" fmla="*/ 80 w 179"/>
                  <a:gd name="T121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9" h="159">
                    <a:moveTo>
                      <a:pt x="80" y="159"/>
                    </a:moveTo>
                    <a:lnTo>
                      <a:pt x="80" y="159"/>
                    </a:lnTo>
                    <a:lnTo>
                      <a:pt x="74" y="157"/>
                    </a:lnTo>
                    <a:lnTo>
                      <a:pt x="71" y="155"/>
                    </a:lnTo>
                    <a:lnTo>
                      <a:pt x="71" y="155"/>
                    </a:lnTo>
                    <a:lnTo>
                      <a:pt x="70" y="149"/>
                    </a:lnTo>
                    <a:lnTo>
                      <a:pt x="69" y="146"/>
                    </a:lnTo>
                    <a:lnTo>
                      <a:pt x="70" y="144"/>
                    </a:lnTo>
                    <a:lnTo>
                      <a:pt x="70" y="144"/>
                    </a:lnTo>
                    <a:lnTo>
                      <a:pt x="73" y="142"/>
                    </a:lnTo>
                    <a:lnTo>
                      <a:pt x="74" y="139"/>
                    </a:lnTo>
                    <a:lnTo>
                      <a:pt x="73" y="137"/>
                    </a:lnTo>
                    <a:lnTo>
                      <a:pt x="73" y="137"/>
                    </a:lnTo>
                    <a:lnTo>
                      <a:pt x="67" y="134"/>
                    </a:lnTo>
                    <a:lnTo>
                      <a:pt x="63" y="134"/>
                    </a:lnTo>
                    <a:lnTo>
                      <a:pt x="63" y="134"/>
                    </a:lnTo>
                    <a:lnTo>
                      <a:pt x="53" y="137"/>
                    </a:lnTo>
                    <a:lnTo>
                      <a:pt x="53" y="137"/>
                    </a:lnTo>
                    <a:lnTo>
                      <a:pt x="48" y="140"/>
                    </a:lnTo>
                    <a:lnTo>
                      <a:pt x="45" y="140"/>
                    </a:lnTo>
                    <a:lnTo>
                      <a:pt x="42" y="140"/>
                    </a:lnTo>
                    <a:lnTo>
                      <a:pt x="42" y="140"/>
                    </a:lnTo>
                    <a:lnTo>
                      <a:pt x="41" y="140"/>
                    </a:lnTo>
                    <a:lnTo>
                      <a:pt x="40" y="143"/>
                    </a:lnTo>
                    <a:lnTo>
                      <a:pt x="37" y="144"/>
                    </a:lnTo>
                    <a:lnTo>
                      <a:pt x="37" y="144"/>
                    </a:lnTo>
                    <a:lnTo>
                      <a:pt x="32" y="146"/>
                    </a:lnTo>
                    <a:lnTo>
                      <a:pt x="29" y="146"/>
                    </a:lnTo>
                    <a:lnTo>
                      <a:pt x="28" y="146"/>
                    </a:lnTo>
                    <a:lnTo>
                      <a:pt x="28" y="146"/>
                    </a:lnTo>
                    <a:lnTo>
                      <a:pt x="27" y="144"/>
                    </a:lnTo>
                    <a:lnTo>
                      <a:pt x="24" y="144"/>
                    </a:lnTo>
                    <a:lnTo>
                      <a:pt x="21" y="146"/>
                    </a:lnTo>
                    <a:lnTo>
                      <a:pt x="21" y="146"/>
                    </a:lnTo>
                    <a:lnTo>
                      <a:pt x="18" y="147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3" y="147"/>
                    </a:lnTo>
                    <a:lnTo>
                      <a:pt x="0" y="147"/>
                    </a:lnTo>
                    <a:lnTo>
                      <a:pt x="0" y="146"/>
                    </a:lnTo>
                    <a:lnTo>
                      <a:pt x="0" y="144"/>
                    </a:lnTo>
                    <a:lnTo>
                      <a:pt x="0" y="144"/>
                    </a:lnTo>
                    <a:lnTo>
                      <a:pt x="3" y="143"/>
                    </a:lnTo>
                    <a:lnTo>
                      <a:pt x="6" y="142"/>
                    </a:lnTo>
                    <a:lnTo>
                      <a:pt x="12" y="139"/>
                    </a:lnTo>
                    <a:lnTo>
                      <a:pt x="12" y="139"/>
                    </a:lnTo>
                    <a:lnTo>
                      <a:pt x="16" y="134"/>
                    </a:lnTo>
                    <a:lnTo>
                      <a:pt x="21" y="130"/>
                    </a:lnTo>
                    <a:lnTo>
                      <a:pt x="21" y="130"/>
                    </a:lnTo>
                    <a:lnTo>
                      <a:pt x="28" y="124"/>
                    </a:lnTo>
                    <a:lnTo>
                      <a:pt x="31" y="121"/>
                    </a:lnTo>
                    <a:lnTo>
                      <a:pt x="34" y="120"/>
                    </a:lnTo>
                    <a:lnTo>
                      <a:pt x="34" y="120"/>
                    </a:lnTo>
                    <a:lnTo>
                      <a:pt x="44" y="118"/>
                    </a:lnTo>
                    <a:lnTo>
                      <a:pt x="50" y="118"/>
                    </a:lnTo>
                    <a:lnTo>
                      <a:pt x="54" y="117"/>
                    </a:lnTo>
                    <a:lnTo>
                      <a:pt x="54" y="117"/>
                    </a:lnTo>
                    <a:lnTo>
                      <a:pt x="58" y="115"/>
                    </a:lnTo>
                    <a:lnTo>
                      <a:pt x="61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74" y="115"/>
                    </a:lnTo>
                    <a:lnTo>
                      <a:pt x="74" y="115"/>
                    </a:lnTo>
                    <a:lnTo>
                      <a:pt x="77" y="117"/>
                    </a:lnTo>
                    <a:lnTo>
                      <a:pt x="79" y="118"/>
                    </a:lnTo>
                    <a:lnTo>
                      <a:pt x="79" y="118"/>
                    </a:lnTo>
                    <a:lnTo>
                      <a:pt x="83" y="118"/>
                    </a:lnTo>
                    <a:lnTo>
                      <a:pt x="84" y="117"/>
                    </a:lnTo>
                    <a:lnTo>
                      <a:pt x="86" y="115"/>
                    </a:lnTo>
                    <a:lnTo>
                      <a:pt x="86" y="115"/>
                    </a:lnTo>
                    <a:lnTo>
                      <a:pt x="86" y="113"/>
                    </a:lnTo>
                    <a:lnTo>
                      <a:pt x="84" y="111"/>
                    </a:lnTo>
                    <a:lnTo>
                      <a:pt x="84" y="108"/>
                    </a:lnTo>
                    <a:lnTo>
                      <a:pt x="86" y="107"/>
                    </a:lnTo>
                    <a:lnTo>
                      <a:pt x="86" y="107"/>
                    </a:lnTo>
                    <a:lnTo>
                      <a:pt x="90" y="101"/>
                    </a:lnTo>
                    <a:lnTo>
                      <a:pt x="93" y="98"/>
                    </a:lnTo>
                    <a:lnTo>
                      <a:pt x="95" y="95"/>
                    </a:lnTo>
                    <a:lnTo>
                      <a:pt x="95" y="95"/>
                    </a:lnTo>
                    <a:lnTo>
                      <a:pt x="95" y="89"/>
                    </a:lnTo>
                    <a:lnTo>
                      <a:pt x="95" y="85"/>
                    </a:lnTo>
                    <a:lnTo>
                      <a:pt x="95" y="85"/>
                    </a:lnTo>
                    <a:lnTo>
                      <a:pt x="99" y="82"/>
                    </a:lnTo>
                    <a:lnTo>
                      <a:pt x="103" y="81"/>
                    </a:lnTo>
                    <a:lnTo>
                      <a:pt x="103" y="81"/>
                    </a:lnTo>
                    <a:lnTo>
                      <a:pt x="103" y="81"/>
                    </a:lnTo>
                    <a:lnTo>
                      <a:pt x="103" y="82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100" y="92"/>
                    </a:lnTo>
                    <a:lnTo>
                      <a:pt x="100" y="94"/>
                    </a:lnTo>
                    <a:lnTo>
                      <a:pt x="103" y="95"/>
                    </a:lnTo>
                    <a:lnTo>
                      <a:pt x="103" y="95"/>
                    </a:lnTo>
                    <a:lnTo>
                      <a:pt x="106" y="94"/>
                    </a:lnTo>
                    <a:lnTo>
                      <a:pt x="111" y="91"/>
                    </a:lnTo>
                    <a:lnTo>
                      <a:pt x="111" y="91"/>
                    </a:lnTo>
                    <a:lnTo>
                      <a:pt x="115" y="87"/>
                    </a:lnTo>
                    <a:lnTo>
                      <a:pt x="124" y="81"/>
                    </a:lnTo>
                    <a:lnTo>
                      <a:pt x="124" y="81"/>
                    </a:lnTo>
                    <a:lnTo>
                      <a:pt x="126" y="79"/>
                    </a:lnTo>
                    <a:lnTo>
                      <a:pt x="131" y="76"/>
                    </a:lnTo>
                    <a:lnTo>
                      <a:pt x="138" y="68"/>
                    </a:lnTo>
                    <a:lnTo>
                      <a:pt x="138" y="68"/>
                    </a:lnTo>
                    <a:lnTo>
                      <a:pt x="144" y="59"/>
                    </a:lnTo>
                    <a:lnTo>
                      <a:pt x="147" y="50"/>
                    </a:lnTo>
                    <a:lnTo>
                      <a:pt x="147" y="50"/>
                    </a:lnTo>
                    <a:lnTo>
                      <a:pt x="150" y="42"/>
                    </a:lnTo>
                    <a:lnTo>
                      <a:pt x="151" y="37"/>
                    </a:lnTo>
                    <a:lnTo>
                      <a:pt x="151" y="34"/>
                    </a:lnTo>
                    <a:lnTo>
                      <a:pt x="151" y="34"/>
                    </a:lnTo>
                    <a:lnTo>
                      <a:pt x="148" y="31"/>
                    </a:lnTo>
                    <a:lnTo>
                      <a:pt x="147" y="30"/>
                    </a:lnTo>
                    <a:lnTo>
                      <a:pt x="148" y="29"/>
                    </a:lnTo>
                    <a:lnTo>
                      <a:pt x="148" y="29"/>
                    </a:lnTo>
                    <a:lnTo>
                      <a:pt x="150" y="26"/>
                    </a:lnTo>
                    <a:lnTo>
                      <a:pt x="150" y="23"/>
                    </a:lnTo>
                    <a:lnTo>
                      <a:pt x="150" y="23"/>
                    </a:lnTo>
                    <a:lnTo>
                      <a:pt x="148" y="18"/>
                    </a:lnTo>
                    <a:lnTo>
                      <a:pt x="148" y="16"/>
                    </a:lnTo>
                    <a:lnTo>
                      <a:pt x="148" y="14"/>
                    </a:lnTo>
                    <a:lnTo>
                      <a:pt x="148" y="14"/>
                    </a:lnTo>
                    <a:lnTo>
                      <a:pt x="151" y="11"/>
                    </a:lnTo>
                    <a:lnTo>
                      <a:pt x="153" y="8"/>
                    </a:lnTo>
                    <a:lnTo>
                      <a:pt x="153" y="8"/>
                    </a:lnTo>
                    <a:lnTo>
                      <a:pt x="153" y="5"/>
                    </a:lnTo>
                    <a:lnTo>
                      <a:pt x="153" y="4"/>
                    </a:lnTo>
                    <a:lnTo>
                      <a:pt x="154" y="2"/>
                    </a:lnTo>
                    <a:lnTo>
                      <a:pt x="154" y="2"/>
                    </a:lnTo>
                    <a:lnTo>
                      <a:pt x="155" y="2"/>
                    </a:lnTo>
                    <a:lnTo>
                      <a:pt x="157" y="4"/>
                    </a:lnTo>
                    <a:lnTo>
                      <a:pt x="157" y="7"/>
                    </a:lnTo>
                    <a:lnTo>
                      <a:pt x="157" y="7"/>
                    </a:lnTo>
                    <a:lnTo>
                      <a:pt x="158" y="10"/>
                    </a:lnTo>
                    <a:lnTo>
                      <a:pt x="161" y="11"/>
                    </a:lnTo>
                    <a:lnTo>
                      <a:pt x="161" y="11"/>
                    </a:lnTo>
                    <a:lnTo>
                      <a:pt x="164" y="11"/>
                    </a:lnTo>
                    <a:lnTo>
                      <a:pt x="166" y="11"/>
                    </a:lnTo>
                    <a:lnTo>
                      <a:pt x="167" y="10"/>
                    </a:lnTo>
                    <a:lnTo>
                      <a:pt x="167" y="10"/>
                    </a:lnTo>
                    <a:lnTo>
                      <a:pt x="167" y="7"/>
                    </a:lnTo>
                    <a:lnTo>
                      <a:pt x="166" y="5"/>
                    </a:lnTo>
                    <a:lnTo>
                      <a:pt x="166" y="5"/>
                    </a:lnTo>
                    <a:lnTo>
                      <a:pt x="163" y="5"/>
                    </a:lnTo>
                    <a:lnTo>
                      <a:pt x="161" y="4"/>
                    </a:lnTo>
                    <a:lnTo>
                      <a:pt x="161" y="4"/>
                    </a:lnTo>
                    <a:lnTo>
                      <a:pt x="161" y="1"/>
                    </a:lnTo>
                    <a:lnTo>
                      <a:pt x="163" y="0"/>
                    </a:lnTo>
                    <a:lnTo>
                      <a:pt x="164" y="0"/>
                    </a:lnTo>
                    <a:lnTo>
                      <a:pt x="164" y="0"/>
                    </a:lnTo>
                    <a:lnTo>
                      <a:pt x="167" y="0"/>
                    </a:lnTo>
                    <a:lnTo>
                      <a:pt x="168" y="1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1" y="11"/>
                    </a:lnTo>
                    <a:lnTo>
                      <a:pt x="173" y="16"/>
                    </a:lnTo>
                    <a:lnTo>
                      <a:pt x="174" y="18"/>
                    </a:lnTo>
                    <a:lnTo>
                      <a:pt x="174" y="18"/>
                    </a:lnTo>
                    <a:lnTo>
                      <a:pt x="176" y="23"/>
                    </a:lnTo>
                    <a:lnTo>
                      <a:pt x="177" y="30"/>
                    </a:lnTo>
                    <a:lnTo>
                      <a:pt x="179" y="42"/>
                    </a:lnTo>
                    <a:lnTo>
                      <a:pt x="179" y="42"/>
                    </a:lnTo>
                    <a:lnTo>
                      <a:pt x="177" y="46"/>
                    </a:lnTo>
                    <a:lnTo>
                      <a:pt x="174" y="52"/>
                    </a:lnTo>
                    <a:lnTo>
                      <a:pt x="174" y="52"/>
                    </a:lnTo>
                    <a:lnTo>
                      <a:pt x="174" y="58"/>
                    </a:lnTo>
                    <a:lnTo>
                      <a:pt x="174" y="60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0" y="62"/>
                    </a:lnTo>
                    <a:lnTo>
                      <a:pt x="168" y="60"/>
                    </a:lnTo>
                    <a:lnTo>
                      <a:pt x="168" y="60"/>
                    </a:lnTo>
                    <a:lnTo>
                      <a:pt x="167" y="62"/>
                    </a:lnTo>
                    <a:lnTo>
                      <a:pt x="166" y="63"/>
                    </a:lnTo>
                    <a:lnTo>
                      <a:pt x="166" y="68"/>
                    </a:lnTo>
                    <a:lnTo>
                      <a:pt x="166" y="68"/>
                    </a:lnTo>
                    <a:lnTo>
                      <a:pt x="166" y="76"/>
                    </a:lnTo>
                    <a:lnTo>
                      <a:pt x="166" y="85"/>
                    </a:lnTo>
                    <a:lnTo>
                      <a:pt x="166" y="85"/>
                    </a:lnTo>
                    <a:lnTo>
                      <a:pt x="164" y="94"/>
                    </a:lnTo>
                    <a:lnTo>
                      <a:pt x="161" y="101"/>
                    </a:lnTo>
                    <a:lnTo>
                      <a:pt x="161" y="101"/>
                    </a:lnTo>
                    <a:lnTo>
                      <a:pt x="160" y="107"/>
                    </a:lnTo>
                    <a:lnTo>
                      <a:pt x="160" y="110"/>
                    </a:lnTo>
                    <a:lnTo>
                      <a:pt x="161" y="114"/>
                    </a:lnTo>
                    <a:lnTo>
                      <a:pt x="161" y="114"/>
                    </a:lnTo>
                    <a:lnTo>
                      <a:pt x="163" y="115"/>
                    </a:lnTo>
                    <a:lnTo>
                      <a:pt x="161" y="117"/>
                    </a:lnTo>
                    <a:lnTo>
                      <a:pt x="160" y="118"/>
                    </a:lnTo>
                    <a:lnTo>
                      <a:pt x="157" y="121"/>
                    </a:lnTo>
                    <a:lnTo>
                      <a:pt x="157" y="121"/>
                    </a:lnTo>
                    <a:lnTo>
                      <a:pt x="155" y="124"/>
                    </a:lnTo>
                    <a:lnTo>
                      <a:pt x="155" y="129"/>
                    </a:lnTo>
                    <a:lnTo>
                      <a:pt x="155" y="130"/>
                    </a:lnTo>
                    <a:lnTo>
                      <a:pt x="154" y="131"/>
                    </a:lnTo>
                    <a:lnTo>
                      <a:pt x="154" y="131"/>
                    </a:lnTo>
                    <a:lnTo>
                      <a:pt x="148" y="130"/>
                    </a:lnTo>
                    <a:lnTo>
                      <a:pt x="147" y="130"/>
                    </a:lnTo>
                    <a:lnTo>
                      <a:pt x="145" y="127"/>
                    </a:lnTo>
                    <a:lnTo>
                      <a:pt x="145" y="127"/>
                    </a:lnTo>
                    <a:lnTo>
                      <a:pt x="147" y="123"/>
                    </a:lnTo>
                    <a:lnTo>
                      <a:pt x="150" y="118"/>
                    </a:lnTo>
                    <a:lnTo>
                      <a:pt x="150" y="118"/>
                    </a:lnTo>
                    <a:lnTo>
                      <a:pt x="151" y="115"/>
                    </a:lnTo>
                    <a:lnTo>
                      <a:pt x="150" y="115"/>
                    </a:lnTo>
                    <a:lnTo>
                      <a:pt x="150" y="114"/>
                    </a:lnTo>
                    <a:lnTo>
                      <a:pt x="150" y="114"/>
                    </a:lnTo>
                    <a:lnTo>
                      <a:pt x="147" y="117"/>
                    </a:lnTo>
                    <a:lnTo>
                      <a:pt x="144" y="120"/>
                    </a:lnTo>
                    <a:lnTo>
                      <a:pt x="144" y="120"/>
                    </a:lnTo>
                    <a:lnTo>
                      <a:pt x="140" y="120"/>
                    </a:lnTo>
                    <a:lnTo>
                      <a:pt x="140" y="120"/>
                    </a:lnTo>
                    <a:lnTo>
                      <a:pt x="138" y="121"/>
                    </a:lnTo>
                    <a:lnTo>
                      <a:pt x="138" y="121"/>
                    </a:lnTo>
                    <a:lnTo>
                      <a:pt x="137" y="129"/>
                    </a:lnTo>
                    <a:lnTo>
                      <a:pt x="135" y="133"/>
                    </a:lnTo>
                    <a:lnTo>
                      <a:pt x="134" y="134"/>
                    </a:lnTo>
                    <a:lnTo>
                      <a:pt x="134" y="134"/>
                    </a:lnTo>
                    <a:lnTo>
                      <a:pt x="132" y="133"/>
                    </a:lnTo>
                    <a:lnTo>
                      <a:pt x="132" y="131"/>
                    </a:lnTo>
                    <a:lnTo>
                      <a:pt x="131" y="130"/>
                    </a:lnTo>
                    <a:lnTo>
                      <a:pt x="131" y="129"/>
                    </a:lnTo>
                    <a:lnTo>
                      <a:pt x="131" y="129"/>
                    </a:lnTo>
                    <a:lnTo>
                      <a:pt x="128" y="131"/>
                    </a:lnTo>
                    <a:lnTo>
                      <a:pt x="125" y="134"/>
                    </a:lnTo>
                    <a:lnTo>
                      <a:pt x="125" y="134"/>
                    </a:lnTo>
                    <a:lnTo>
                      <a:pt x="121" y="136"/>
                    </a:lnTo>
                    <a:lnTo>
                      <a:pt x="115" y="139"/>
                    </a:lnTo>
                    <a:lnTo>
                      <a:pt x="115" y="139"/>
                    </a:lnTo>
                    <a:lnTo>
                      <a:pt x="106" y="139"/>
                    </a:lnTo>
                    <a:lnTo>
                      <a:pt x="106" y="139"/>
                    </a:lnTo>
                    <a:lnTo>
                      <a:pt x="103" y="136"/>
                    </a:lnTo>
                    <a:lnTo>
                      <a:pt x="102" y="136"/>
                    </a:lnTo>
                    <a:lnTo>
                      <a:pt x="100" y="134"/>
                    </a:lnTo>
                    <a:lnTo>
                      <a:pt x="100" y="134"/>
                    </a:lnTo>
                    <a:lnTo>
                      <a:pt x="99" y="139"/>
                    </a:lnTo>
                    <a:lnTo>
                      <a:pt x="98" y="143"/>
                    </a:lnTo>
                    <a:lnTo>
                      <a:pt x="98" y="143"/>
                    </a:lnTo>
                    <a:lnTo>
                      <a:pt x="96" y="144"/>
                    </a:lnTo>
                    <a:lnTo>
                      <a:pt x="92" y="147"/>
                    </a:lnTo>
                    <a:lnTo>
                      <a:pt x="92" y="147"/>
                    </a:lnTo>
                    <a:lnTo>
                      <a:pt x="87" y="155"/>
                    </a:lnTo>
                    <a:lnTo>
                      <a:pt x="83" y="157"/>
                    </a:lnTo>
                    <a:lnTo>
                      <a:pt x="82" y="159"/>
                    </a:lnTo>
                    <a:lnTo>
                      <a:pt x="80" y="15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12" name="Freeform 866"/>
              <p:cNvSpPr>
                <a:spLocks/>
              </p:cNvSpPr>
              <p:nvPr/>
            </p:nvSpPr>
            <p:spPr bwMode="auto">
              <a:xfrm>
                <a:off x="6635595" y="2522763"/>
                <a:ext cx="92001" cy="86066"/>
              </a:xfrm>
              <a:custGeom>
                <a:avLst/>
                <a:gdLst>
                  <a:gd name="T0" fmla="*/ 13 w 93"/>
                  <a:gd name="T1" fmla="*/ 81 h 87"/>
                  <a:gd name="T2" fmla="*/ 6 w 93"/>
                  <a:gd name="T3" fmla="*/ 87 h 87"/>
                  <a:gd name="T4" fmla="*/ 5 w 93"/>
                  <a:gd name="T5" fmla="*/ 85 h 87"/>
                  <a:gd name="T6" fmla="*/ 2 w 93"/>
                  <a:gd name="T7" fmla="*/ 81 h 87"/>
                  <a:gd name="T8" fmla="*/ 2 w 93"/>
                  <a:gd name="T9" fmla="*/ 79 h 87"/>
                  <a:gd name="T10" fmla="*/ 5 w 93"/>
                  <a:gd name="T11" fmla="*/ 76 h 87"/>
                  <a:gd name="T12" fmla="*/ 5 w 93"/>
                  <a:gd name="T13" fmla="*/ 75 h 87"/>
                  <a:gd name="T14" fmla="*/ 0 w 93"/>
                  <a:gd name="T15" fmla="*/ 66 h 87"/>
                  <a:gd name="T16" fmla="*/ 0 w 93"/>
                  <a:gd name="T17" fmla="*/ 63 h 87"/>
                  <a:gd name="T18" fmla="*/ 5 w 93"/>
                  <a:gd name="T19" fmla="*/ 59 h 87"/>
                  <a:gd name="T20" fmla="*/ 9 w 93"/>
                  <a:gd name="T21" fmla="*/ 56 h 87"/>
                  <a:gd name="T22" fmla="*/ 10 w 93"/>
                  <a:gd name="T23" fmla="*/ 52 h 87"/>
                  <a:gd name="T24" fmla="*/ 13 w 93"/>
                  <a:gd name="T25" fmla="*/ 49 h 87"/>
                  <a:gd name="T26" fmla="*/ 18 w 93"/>
                  <a:gd name="T27" fmla="*/ 52 h 87"/>
                  <a:gd name="T28" fmla="*/ 22 w 93"/>
                  <a:gd name="T29" fmla="*/ 52 h 87"/>
                  <a:gd name="T30" fmla="*/ 26 w 93"/>
                  <a:gd name="T31" fmla="*/ 47 h 87"/>
                  <a:gd name="T32" fmla="*/ 28 w 93"/>
                  <a:gd name="T33" fmla="*/ 42 h 87"/>
                  <a:gd name="T34" fmla="*/ 28 w 93"/>
                  <a:gd name="T35" fmla="*/ 39 h 87"/>
                  <a:gd name="T36" fmla="*/ 31 w 93"/>
                  <a:gd name="T37" fmla="*/ 30 h 87"/>
                  <a:gd name="T38" fmla="*/ 32 w 93"/>
                  <a:gd name="T39" fmla="*/ 20 h 87"/>
                  <a:gd name="T40" fmla="*/ 31 w 93"/>
                  <a:gd name="T41" fmla="*/ 10 h 87"/>
                  <a:gd name="T42" fmla="*/ 31 w 93"/>
                  <a:gd name="T43" fmla="*/ 5 h 87"/>
                  <a:gd name="T44" fmla="*/ 32 w 93"/>
                  <a:gd name="T45" fmla="*/ 1 h 87"/>
                  <a:gd name="T46" fmla="*/ 37 w 93"/>
                  <a:gd name="T47" fmla="*/ 0 h 87"/>
                  <a:gd name="T48" fmla="*/ 37 w 93"/>
                  <a:gd name="T49" fmla="*/ 0 h 87"/>
                  <a:gd name="T50" fmla="*/ 48 w 93"/>
                  <a:gd name="T51" fmla="*/ 16 h 87"/>
                  <a:gd name="T52" fmla="*/ 57 w 93"/>
                  <a:gd name="T53" fmla="*/ 21 h 87"/>
                  <a:gd name="T54" fmla="*/ 64 w 93"/>
                  <a:gd name="T55" fmla="*/ 26 h 87"/>
                  <a:gd name="T56" fmla="*/ 68 w 93"/>
                  <a:gd name="T57" fmla="*/ 24 h 87"/>
                  <a:gd name="T58" fmla="*/ 71 w 93"/>
                  <a:gd name="T59" fmla="*/ 24 h 87"/>
                  <a:gd name="T60" fmla="*/ 71 w 93"/>
                  <a:gd name="T61" fmla="*/ 29 h 87"/>
                  <a:gd name="T62" fmla="*/ 74 w 93"/>
                  <a:gd name="T63" fmla="*/ 30 h 87"/>
                  <a:gd name="T64" fmla="*/ 80 w 93"/>
                  <a:gd name="T65" fmla="*/ 27 h 87"/>
                  <a:gd name="T66" fmla="*/ 84 w 93"/>
                  <a:gd name="T67" fmla="*/ 27 h 87"/>
                  <a:gd name="T68" fmla="*/ 84 w 93"/>
                  <a:gd name="T69" fmla="*/ 36 h 87"/>
                  <a:gd name="T70" fmla="*/ 86 w 93"/>
                  <a:gd name="T71" fmla="*/ 40 h 87"/>
                  <a:gd name="T72" fmla="*/ 87 w 93"/>
                  <a:gd name="T73" fmla="*/ 43 h 87"/>
                  <a:gd name="T74" fmla="*/ 92 w 93"/>
                  <a:gd name="T75" fmla="*/ 43 h 87"/>
                  <a:gd name="T76" fmla="*/ 93 w 93"/>
                  <a:gd name="T77" fmla="*/ 45 h 87"/>
                  <a:gd name="T78" fmla="*/ 84 w 93"/>
                  <a:gd name="T79" fmla="*/ 47 h 87"/>
                  <a:gd name="T80" fmla="*/ 73 w 93"/>
                  <a:gd name="T81" fmla="*/ 50 h 87"/>
                  <a:gd name="T82" fmla="*/ 64 w 93"/>
                  <a:gd name="T83" fmla="*/ 58 h 87"/>
                  <a:gd name="T84" fmla="*/ 58 w 93"/>
                  <a:gd name="T85" fmla="*/ 65 h 87"/>
                  <a:gd name="T86" fmla="*/ 57 w 93"/>
                  <a:gd name="T87" fmla="*/ 74 h 87"/>
                  <a:gd name="T88" fmla="*/ 52 w 93"/>
                  <a:gd name="T89" fmla="*/ 75 h 87"/>
                  <a:gd name="T90" fmla="*/ 45 w 93"/>
                  <a:gd name="T91" fmla="*/ 69 h 87"/>
                  <a:gd name="T92" fmla="*/ 37 w 93"/>
                  <a:gd name="T93" fmla="*/ 65 h 87"/>
                  <a:gd name="T94" fmla="*/ 35 w 93"/>
                  <a:gd name="T95" fmla="*/ 65 h 87"/>
                  <a:gd name="T96" fmla="*/ 29 w 93"/>
                  <a:gd name="T97" fmla="*/ 62 h 87"/>
                  <a:gd name="T98" fmla="*/ 28 w 93"/>
                  <a:gd name="T99" fmla="*/ 62 h 87"/>
                  <a:gd name="T100" fmla="*/ 19 w 93"/>
                  <a:gd name="T101" fmla="*/ 68 h 87"/>
                  <a:gd name="T102" fmla="*/ 18 w 93"/>
                  <a:gd name="T103" fmla="*/ 68 h 87"/>
                  <a:gd name="T104" fmla="*/ 13 w 93"/>
                  <a:gd name="T105" fmla="*/ 62 h 87"/>
                  <a:gd name="T106" fmla="*/ 12 w 93"/>
                  <a:gd name="T107" fmla="*/ 61 h 87"/>
                  <a:gd name="T108" fmla="*/ 8 w 93"/>
                  <a:gd name="T109" fmla="*/ 68 h 87"/>
                  <a:gd name="T110" fmla="*/ 9 w 93"/>
                  <a:gd name="T111" fmla="*/ 69 h 87"/>
                  <a:gd name="T112" fmla="*/ 16 w 93"/>
                  <a:gd name="T113" fmla="*/ 71 h 87"/>
                  <a:gd name="T114" fmla="*/ 21 w 93"/>
                  <a:gd name="T115" fmla="*/ 75 h 87"/>
                  <a:gd name="T116" fmla="*/ 19 w 93"/>
                  <a:gd name="T117" fmla="*/ 76 h 87"/>
                  <a:gd name="T118" fmla="*/ 16 w 93"/>
                  <a:gd name="T119" fmla="*/ 79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3" h="87">
                    <a:moveTo>
                      <a:pt x="13" y="81"/>
                    </a:moveTo>
                    <a:lnTo>
                      <a:pt x="13" y="81"/>
                    </a:lnTo>
                    <a:lnTo>
                      <a:pt x="9" y="85"/>
                    </a:lnTo>
                    <a:lnTo>
                      <a:pt x="6" y="87"/>
                    </a:lnTo>
                    <a:lnTo>
                      <a:pt x="5" y="85"/>
                    </a:lnTo>
                    <a:lnTo>
                      <a:pt x="5" y="85"/>
                    </a:lnTo>
                    <a:lnTo>
                      <a:pt x="2" y="82"/>
                    </a:lnTo>
                    <a:lnTo>
                      <a:pt x="2" y="81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5" y="76"/>
                    </a:lnTo>
                    <a:lnTo>
                      <a:pt x="5" y="76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2" y="69"/>
                    </a:lnTo>
                    <a:lnTo>
                      <a:pt x="0" y="66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2" y="62"/>
                    </a:lnTo>
                    <a:lnTo>
                      <a:pt x="5" y="59"/>
                    </a:lnTo>
                    <a:lnTo>
                      <a:pt x="9" y="56"/>
                    </a:lnTo>
                    <a:lnTo>
                      <a:pt x="9" y="56"/>
                    </a:lnTo>
                    <a:lnTo>
                      <a:pt x="10" y="55"/>
                    </a:lnTo>
                    <a:lnTo>
                      <a:pt x="10" y="52"/>
                    </a:lnTo>
                    <a:lnTo>
                      <a:pt x="10" y="50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8" y="52"/>
                    </a:lnTo>
                    <a:lnTo>
                      <a:pt x="21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6" y="47"/>
                    </a:lnTo>
                    <a:lnTo>
                      <a:pt x="28" y="45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39"/>
                    </a:lnTo>
                    <a:lnTo>
                      <a:pt x="28" y="36"/>
                    </a:lnTo>
                    <a:lnTo>
                      <a:pt x="31" y="30"/>
                    </a:lnTo>
                    <a:lnTo>
                      <a:pt x="31" y="30"/>
                    </a:lnTo>
                    <a:lnTo>
                      <a:pt x="32" y="20"/>
                    </a:lnTo>
                    <a:lnTo>
                      <a:pt x="32" y="13"/>
                    </a:lnTo>
                    <a:lnTo>
                      <a:pt x="31" y="10"/>
                    </a:lnTo>
                    <a:lnTo>
                      <a:pt x="31" y="10"/>
                    </a:lnTo>
                    <a:lnTo>
                      <a:pt x="31" y="5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35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41" y="7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7" y="21"/>
                    </a:lnTo>
                    <a:lnTo>
                      <a:pt x="60" y="24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8" y="24"/>
                    </a:lnTo>
                    <a:lnTo>
                      <a:pt x="70" y="23"/>
                    </a:lnTo>
                    <a:lnTo>
                      <a:pt x="71" y="24"/>
                    </a:lnTo>
                    <a:lnTo>
                      <a:pt x="71" y="24"/>
                    </a:lnTo>
                    <a:lnTo>
                      <a:pt x="71" y="29"/>
                    </a:lnTo>
                    <a:lnTo>
                      <a:pt x="73" y="29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80" y="27"/>
                    </a:lnTo>
                    <a:lnTo>
                      <a:pt x="83" y="27"/>
                    </a:lnTo>
                    <a:lnTo>
                      <a:pt x="84" y="27"/>
                    </a:lnTo>
                    <a:lnTo>
                      <a:pt x="84" y="27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6" y="40"/>
                    </a:lnTo>
                    <a:lnTo>
                      <a:pt x="86" y="43"/>
                    </a:lnTo>
                    <a:lnTo>
                      <a:pt x="87" y="43"/>
                    </a:lnTo>
                    <a:lnTo>
                      <a:pt x="87" y="43"/>
                    </a:lnTo>
                    <a:lnTo>
                      <a:pt x="92" y="43"/>
                    </a:lnTo>
                    <a:lnTo>
                      <a:pt x="93" y="45"/>
                    </a:lnTo>
                    <a:lnTo>
                      <a:pt x="93" y="45"/>
                    </a:lnTo>
                    <a:lnTo>
                      <a:pt x="93" y="45"/>
                    </a:lnTo>
                    <a:lnTo>
                      <a:pt x="84" y="47"/>
                    </a:lnTo>
                    <a:lnTo>
                      <a:pt x="73" y="50"/>
                    </a:lnTo>
                    <a:lnTo>
                      <a:pt x="73" y="50"/>
                    </a:lnTo>
                    <a:lnTo>
                      <a:pt x="68" y="53"/>
                    </a:lnTo>
                    <a:lnTo>
                      <a:pt x="64" y="58"/>
                    </a:lnTo>
                    <a:lnTo>
                      <a:pt x="61" y="61"/>
                    </a:lnTo>
                    <a:lnTo>
                      <a:pt x="58" y="65"/>
                    </a:lnTo>
                    <a:lnTo>
                      <a:pt x="58" y="65"/>
                    </a:lnTo>
                    <a:lnTo>
                      <a:pt x="57" y="74"/>
                    </a:lnTo>
                    <a:lnTo>
                      <a:pt x="55" y="75"/>
                    </a:lnTo>
                    <a:lnTo>
                      <a:pt x="52" y="75"/>
                    </a:lnTo>
                    <a:lnTo>
                      <a:pt x="52" y="75"/>
                    </a:lnTo>
                    <a:lnTo>
                      <a:pt x="45" y="69"/>
                    </a:lnTo>
                    <a:lnTo>
                      <a:pt x="41" y="66"/>
                    </a:lnTo>
                    <a:lnTo>
                      <a:pt x="37" y="65"/>
                    </a:lnTo>
                    <a:lnTo>
                      <a:pt x="37" y="65"/>
                    </a:lnTo>
                    <a:lnTo>
                      <a:pt x="35" y="65"/>
                    </a:lnTo>
                    <a:lnTo>
                      <a:pt x="32" y="63"/>
                    </a:lnTo>
                    <a:lnTo>
                      <a:pt x="29" y="62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22" y="66"/>
                    </a:lnTo>
                    <a:lnTo>
                      <a:pt x="19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5" y="63"/>
                    </a:lnTo>
                    <a:lnTo>
                      <a:pt x="13" y="62"/>
                    </a:lnTo>
                    <a:lnTo>
                      <a:pt x="12" y="61"/>
                    </a:lnTo>
                    <a:lnTo>
                      <a:pt x="12" y="61"/>
                    </a:lnTo>
                    <a:lnTo>
                      <a:pt x="9" y="65"/>
                    </a:lnTo>
                    <a:lnTo>
                      <a:pt x="8" y="68"/>
                    </a:lnTo>
                    <a:lnTo>
                      <a:pt x="9" y="69"/>
                    </a:lnTo>
                    <a:lnTo>
                      <a:pt x="9" y="69"/>
                    </a:lnTo>
                    <a:lnTo>
                      <a:pt x="16" y="71"/>
                    </a:lnTo>
                    <a:lnTo>
                      <a:pt x="16" y="71"/>
                    </a:lnTo>
                    <a:lnTo>
                      <a:pt x="19" y="72"/>
                    </a:lnTo>
                    <a:lnTo>
                      <a:pt x="21" y="75"/>
                    </a:lnTo>
                    <a:lnTo>
                      <a:pt x="21" y="76"/>
                    </a:lnTo>
                    <a:lnTo>
                      <a:pt x="19" y="76"/>
                    </a:lnTo>
                    <a:lnTo>
                      <a:pt x="19" y="76"/>
                    </a:lnTo>
                    <a:lnTo>
                      <a:pt x="16" y="79"/>
                    </a:lnTo>
                    <a:lnTo>
                      <a:pt x="13" y="8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13" name="Freeform 867"/>
              <p:cNvSpPr>
                <a:spLocks/>
              </p:cNvSpPr>
              <p:nvPr/>
            </p:nvSpPr>
            <p:spPr bwMode="auto">
              <a:xfrm>
                <a:off x="6635595" y="2522763"/>
                <a:ext cx="92001" cy="86066"/>
              </a:xfrm>
              <a:custGeom>
                <a:avLst/>
                <a:gdLst>
                  <a:gd name="T0" fmla="*/ 13 w 93"/>
                  <a:gd name="T1" fmla="*/ 81 h 87"/>
                  <a:gd name="T2" fmla="*/ 6 w 93"/>
                  <a:gd name="T3" fmla="*/ 87 h 87"/>
                  <a:gd name="T4" fmla="*/ 5 w 93"/>
                  <a:gd name="T5" fmla="*/ 85 h 87"/>
                  <a:gd name="T6" fmla="*/ 2 w 93"/>
                  <a:gd name="T7" fmla="*/ 81 h 87"/>
                  <a:gd name="T8" fmla="*/ 2 w 93"/>
                  <a:gd name="T9" fmla="*/ 79 h 87"/>
                  <a:gd name="T10" fmla="*/ 5 w 93"/>
                  <a:gd name="T11" fmla="*/ 76 h 87"/>
                  <a:gd name="T12" fmla="*/ 5 w 93"/>
                  <a:gd name="T13" fmla="*/ 75 h 87"/>
                  <a:gd name="T14" fmla="*/ 0 w 93"/>
                  <a:gd name="T15" fmla="*/ 66 h 87"/>
                  <a:gd name="T16" fmla="*/ 0 w 93"/>
                  <a:gd name="T17" fmla="*/ 63 h 87"/>
                  <a:gd name="T18" fmla="*/ 5 w 93"/>
                  <a:gd name="T19" fmla="*/ 59 h 87"/>
                  <a:gd name="T20" fmla="*/ 9 w 93"/>
                  <a:gd name="T21" fmla="*/ 56 h 87"/>
                  <a:gd name="T22" fmla="*/ 10 w 93"/>
                  <a:gd name="T23" fmla="*/ 52 h 87"/>
                  <a:gd name="T24" fmla="*/ 13 w 93"/>
                  <a:gd name="T25" fmla="*/ 49 h 87"/>
                  <a:gd name="T26" fmla="*/ 18 w 93"/>
                  <a:gd name="T27" fmla="*/ 52 h 87"/>
                  <a:gd name="T28" fmla="*/ 22 w 93"/>
                  <a:gd name="T29" fmla="*/ 52 h 87"/>
                  <a:gd name="T30" fmla="*/ 26 w 93"/>
                  <a:gd name="T31" fmla="*/ 47 h 87"/>
                  <a:gd name="T32" fmla="*/ 28 w 93"/>
                  <a:gd name="T33" fmla="*/ 42 h 87"/>
                  <a:gd name="T34" fmla="*/ 28 w 93"/>
                  <a:gd name="T35" fmla="*/ 39 h 87"/>
                  <a:gd name="T36" fmla="*/ 31 w 93"/>
                  <a:gd name="T37" fmla="*/ 30 h 87"/>
                  <a:gd name="T38" fmla="*/ 32 w 93"/>
                  <a:gd name="T39" fmla="*/ 20 h 87"/>
                  <a:gd name="T40" fmla="*/ 31 w 93"/>
                  <a:gd name="T41" fmla="*/ 10 h 87"/>
                  <a:gd name="T42" fmla="*/ 31 w 93"/>
                  <a:gd name="T43" fmla="*/ 5 h 87"/>
                  <a:gd name="T44" fmla="*/ 32 w 93"/>
                  <a:gd name="T45" fmla="*/ 1 h 87"/>
                  <a:gd name="T46" fmla="*/ 37 w 93"/>
                  <a:gd name="T47" fmla="*/ 0 h 87"/>
                  <a:gd name="T48" fmla="*/ 37 w 93"/>
                  <a:gd name="T49" fmla="*/ 0 h 87"/>
                  <a:gd name="T50" fmla="*/ 48 w 93"/>
                  <a:gd name="T51" fmla="*/ 16 h 87"/>
                  <a:gd name="T52" fmla="*/ 57 w 93"/>
                  <a:gd name="T53" fmla="*/ 21 h 87"/>
                  <a:gd name="T54" fmla="*/ 64 w 93"/>
                  <a:gd name="T55" fmla="*/ 26 h 87"/>
                  <a:gd name="T56" fmla="*/ 68 w 93"/>
                  <a:gd name="T57" fmla="*/ 24 h 87"/>
                  <a:gd name="T58" fmla="*/ 71 w 93"/>
                  <a:gd name="T59" fmla="*/ 24 h 87"/>
                  <a:gd name="T60" fmla="*/ 71 w 93"/>
                  <a:gd name="T61" fmla="*/ 29 h 87"/>
                  <a:gd name="T62" fmla="*/ 74 w 93"/>
                  <a:gd name="T63" fmla="*/ 30 h 87"/>
                  <a:gd name="T64" fmla="*/ 80 w 93"/>
                  <a:gd name="T65" fmla="*/ 27 h 87"/>
                  <a:gd name="T66" fmla="*/ 84 w 93"/>
                  <a:gd name="T67" fmla="*/ 27 h 87"/>
                  <a:gd name="T68" fmla="*/ 84 w 93"/>
                  <a:gd name="T69" fmla="*/ 36 h 87"/>
                  <a:gd name="T70" fmla="*/ 86 w 93"/>
                  <a:gd name="T71" fmla="*/ 40 h 87"/>
                  <a:gd name="T72" fmla="*/ 87 w 93"/>
                  <a:gd name="T73" fmla="*/ 43 h 87"/>
                  <a:gd name="T74" fmla="*/ 92 w 93"/>
                  <a:gd name="T75" fmla="*/ 43 h 87"/>
                  <a:gd name="T76" fmla="*/ 93 w 93"/>
                  <a:gd name="T77" fmla="*/ 45 h 87"/>
                  <a:gd name="T78" fmla="*/ 84 w 93"/>
                  <a:gd name="T79" fmla="*/ 47 h 87"/>
                  <a:gd name="T80" fmla="*/ 73 w 93"/>
                  <a:gd name="T81" fmla="*/ 50 h 87"/>
                  <a:gd name="T82" fmla="*/ 64 w 93"/>
                  <a:gd name="T83" fmla="*/ 58 h 87"/>
                  <a:gd name="T84" fmla="*/ 58 w 93"/>
                  <a:gd name="T85" fmla="*/ 65 h 87"/>
                  <a:gd name="T86" fmla="*/ 57 w 93"/>
                  <a:gd name="T87" fmla="*/ 74 h 87"/>
                  <a:gd name="T88" fmla="*/ 52 w 93"/>
                  <a:gd name="T89" fmla="*/ 75 h 87"/>
                  <a:gd name="T90" fmla="*/ 45 w 93"/>
                  <a:gd name="T91" fmla="*/ 69 h 87"/>
                  <a:gd name="T92" fmla="*/ 37 w 93"/>
                  <a:gd name="T93" fmla="*/ 65 h 87"/>
                  <a:gd name="T94" fmla="*/ 35 w 93"/>
                  <a:gd name="T95" fmla="*/ 65 h 87"/>
                  <a:gd name="T96" fmla="*/ 29 w 93"/>
                  <a:gd name="T97" fmla="*/ 62 h 87"/>
                  <a:gd name="T98" fmla="*/ 28 w 93"/>
                  <a:gd name="T99" fmla="*/ 62 h 87"/>
                  <a:gd name="T100" fmla="*/ 19 w 93"/>
                  <a:gd name="T101" fmla="*/ 68 h 87"/>
                  <a:gd name="T102" fmla="*/ 18 w 93"/>
                  <a:gd name="T103" fmla="*/ 68 h 87"/>
                  <a:gd name="T104" fmla="*/ 13 w 93"/>
                  <a:gd name="T105" fmla="*/ 62 h 87"/>
                  <a:gd name="T106" fmla="*/ 12 w 93"/>
                  <a:gd name="T107" fmla="*/ 61 h 87"/>
                  <a:gd name="T108" fmla="*/ 8 w 93"/>
                  <a:gd name="T109" fmla="*/ 68 h 87"/>
                  <a:gd name="T110" fmla="*/ 9 w 93"/>
                  <a:gd name="T111" fmla="*/ 69 h 87"/>
                  <a:gd name="T112" fmla="*/ 16 w 93"/>
                  <a:gd name="T113" fmla="*/ 71 h 87"/>
                  <a:gd name="T114" fmla="*/ 21 w 93"/>
                  <a:gd name="T115" fmla="*/ 75 h 87"/>
                  <a:gd name="T116" fmla="*/ 19 w 93"/>
                  <a:gd name="T117" fmla="*/ 76 h 87"/>
                  <a:gd name="T118" fmla="*/ 16 w 93"/>
                  <a:gd name="T119" fmla="*/ 79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3" h="87">
                    <a:moveTo>
                      <a:pt x="13" y="81"/>
                    </a:moveTo>
                    <a:lnTo>
                      <a:pt x="13" y="81"/>
                    </a:lnTo>
                    <a:lnTo>
                      <a:pt x="9" y="85"/>
                    </a:lnTo>
                    <a:lnTo>
                      <a:pt x="6" y="87"/>
                    </a:lnTo>
                    <a:lnTo>
                      <a:pt x="5" y="85"/>
                    </a:lnTo>
                    <a:lnTo>
                      <a:pt x="5" y="85"/>
                    </a:lnTo>
                    <a:lnTo>
                      <a:pt x="2" y="82"/>
                    </a:lnTo>
                    <a:lnTo>
                      <a:pt x="2" y="81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5" y="76"/>
                    </a:lnTo>
                    <a:lnTo>
                      <a:pt x="5" y="76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2" y="69"/>
                    </a:lnTo>
                    <a:lnTo>
                      <a:pt x="0" y="66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2" y="62"/>
                    </a:lnTo>
                    <a:lnTo>
                      <a:pt x="5" y="59"/>
                    </a:lnTo>
                    <a:lnTo>
                      <a:pt x="9" y="56"/>
                    </a:lnTo>
                    <a:lnTo>
                      <a:pt x="9" y="56"/>
                    </a:lnTo>
                    <a:lnTo>
                      <a:pt x="10" y="55"/>
                    </a:lnTo>
                    <a:lnTo>
                      <a:pt x="10" y="52"/>
                    </a:lnTo>
                    <a:lnTo>
                      <a:pt x="10" y="50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8" y="52"/>
                    </a:lnTo>
                    <a:lnTo>
                      <a:pt x="21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6" y="47"/>
                    </a:lnTo>
                    <a:lnTo>
                      <a:pt x="28" y="45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39"/>
                    </a:lnTo>
                    <a:lnTo>
                      <a:pt x="28" y="36"/>
                    </a:lnTo>
                    <a:lnTo>
                      <a:pt x="31" y="30"/>
                    </a:lnTo>
                    <a:lnTo>
                      <a:pt x="31" y="30"/>
                    </a:lnTo>
                    <a:lnTo>
                      <a:pt x="32" y="20"/>
                    </a:lnTo>
                    <a:lnTo>
                      <a:pt x="32" y="13"/>
                    </a:lnTo>
                    <a:lnTo>
                      <a:pt x="31" y="10"/>
                    </a:lnTo>
                    <a:lnTo>
                      <a:pt x="31" y="10"/>
                    </a:lnTo>
                    <a:lnTo>
                      <a:pt x="31" y="5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35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41" y="7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7" y="21"/>
                    </a:lnTo>
                    <a:lnTo>
                      <a:pt x="60" y="24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8" y="24"/>
                    </a:lnTo>
                    <a:lnTo>
                      <a:pt x="70" y="23"/>
                    </a:lnTo>
                    <a:lnTo>
                      <a:pt x="71" y="24"/>
                    </a:lnTo>
                    <a:lnTo>
                      <a:pt x="71" y="24"/>
                    </a:lnTo>
                    <a:lnTo>
                      <a:pt x="71" y="29"/>
                    </a:lnTo>
                    <a:lnTo>
                      <a:pt x="73" y="29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80" y="27"/>
                    </a:lnTo>
                    <a:lnTo>
                      <a:pt x="83" y="27"/>
                    </a:lnTo>
                    <a:lnTo>
                      <a:pt x="84" y="27"/>
                    </a:lnTo>
                    <a:lnTo>
                      <a:pt x="84" y="27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6" y="40"/>
                    </a:lnTo>
                    <a:lnTo>
                      <a:pt x="86" y="43"/>
                    </a:lnTo>
                    <a:lnTo>
                      <a:pt x="87" y="43"/>
                    </a:lnTo>
                    <a:lnTo>
                      <a:pt x="87" y="43"/>
                    </a:lnTo>
                    <a:lnTo>
                      <a:pt x="92" y="43"/>
                    </a:lnTo>
                    <a:lnTo>
                      <a:pt x="93" y="45"/>
                    </a:lnTo>
                    <a:lnTo>
                      <a:pt x="93" y="45"/>
                    </a:lnTo>
                    <a:lnTo>
                      <a:pt x="93" y="45"/>
                    </a:lnTo>
                    <a:lnTo>
                      <a:pt x="84" y="47"/>
                    </a:lnTo>
                    <a:lnTo>
                      <a:pt x="73" y="50"/>
                    </a:lnTo>
                    <a:lnTo>
                      <a:pt x="73" y="50"/>
                    </a:lnTo>
                    <a:lnTo>
                      <a:pt x="68" y="53"/>
                    </a:lnTo>
                    <a:lnTo>
                      <a:pt x="64" y="58"/>
                    </a:lnTo>
                    <a:lnTo>
                      <a:pt x="61" y="61"/>
                    </a:lnTo>
                    <a:lnTo>
                      <a:pt x="58" y="65"/>
                    </a:lnTo>
                    <a:lnTo>
                      <a:pt x="58" y="65"/>
                    </a:lnTo>
                    <a:lnTo>
                      <a:pt x="57" y="74"/>
                    </a:lnTo>
                    <a:lnTo>
                      <a:pt x="55" y="75"/>
                    </a:lnTo>
                    <a:lnTo>
                      <a:pt x="52" y="75"/>
                    </a:lnTo>
                    <a:lnTo>
                      <a:pt x="52" y="75"/>
                    </a:lnTo>
                    <a:lnTo>
                      <a:pt x="45" y="69"/>
                    </a:lnTo>
                    <a:lnTo>
                      <a:pt x="41" y="66"/>
                    </a:lnTo>
                    <a:lnTo>
                      <a:pt x="37" y="65"/>
                    </a:lnTo>
                    <a:lnTo>
                      <a:pt x="37" y="65"/>
                    </a:lnTo>
                    <a:lnTo>
                      <a:pt x="35" y="65"/>
                    </a:lnTo>
                    <a:lnTo>
                      <a:pt x="32" y="63"/>
                    </a:lnTo>
                    <a:lnTo>
                      <a:pt x="29" y="62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22" y="66"/>
                    </a:lnTo>
                    <a:lnTo>
                      <a:pt x="19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5" y="63"/>
                    </a:lnTo>
                    <a:lnTo>
                      <a:pt x="13" y="62"/>
                    </a:lnTo>
                    <a:lnTo>
                      <a:pt x="12" y="61"/>
                    </a:lnTo>
                    <a:lnTo>
                      <a:pt x="12" y="61"/>
                    </a:lnTo>
                    <a:lnTo>
                      <a:pt x="9" y="65"/>
                    </a:lnTo>
                    <a:lnTo>
                      <a:pt x="8" y="68"/>
                    </a:lnTo>
                    <a:lnTo>
                      <a:pt x="9" y="69"/>
                    </a:lnTo>
                    <a:lnTo>
                      <a:pt x="9" y="69"/>
                    </a:lnTo>
                    <a:lnTo>
                      <a:pt x="16" y="71"/>
                    </a:lnTo>
                    <a:lnTo>
                      <a:pt x="16" y="71"/>
                    </a:lnTo>
                    <a:lnTo>
                      <a:pt x="19" y="72"/>
                    </a:lnTo>
                    <a:lnTo>
                      <a:pt x="21" y="75"/>
                    </a:lnTo>
                    <a:lnTo>
                      <a:pt x="21" y="76"/>
                    </a:lnTo>
                    <a:lnTo>
                      <a:pt x="19" y="76"/>
                    </a:lnTo>
                    <a:lnTo>
                      <a:pt x="19" y="76"/>
                    </a:lnTo>
                    <a:lnTo>
                      <a:pt x="16" y="79"/>
                    </a:lnTo>
                    <a:lnTo>
                      <a:pt x="13" y="8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14" name="Freeform 868"/>
              <p:cNvSpPr>
                <a:spLocks/>
              </p:cNvSpPr>
              <p:nvPr/>
            </p:nvSpPr>
            <p:spPr bwMode="auto">
              <a:xfrm>
                <a:off x="6661316" y="2295233"/>
                <a:ext cx="53420" cy="207744"/>
              </a:xfrm>
              <a:custGeom>
                <a:avLst/>
                <a:gdLst>
                  <a:gd name="T0" fmla="*/ 48 w 54"/>
                  <a:gd name="T1" fmla="*/ 136 h 210"/>
                  <a:gd name="T2" fmla="*/ 45 w 54"/>
                  <a:gd name="T3" fmla="*/ 116 h 210"/>
                  <a:gd name="T4" fmla="*/ 45 w 54"/>
                  <a:gd name="T5" fmla="*/ 109 h 210"/>
                  <a:gd name="T6" fmla="*/ 45 w 54"/>
                  <a:gd name="T7" fmla="*/ 105 h 210"/>
                  <a:gd name="T8" fmla="*/ 37 w 54"/>
                  <a:gd name="T9" fmla="*/ 93 h 210"/>
                  <a:gd name="T10" fmla="*/ 35 w 54"/>
                  <a:gd name="T11" fmla="*/ 86 h 210"/>
                  <a:gd name="T12" fmla="*/ 32 w 54"/>
                  <a:gd name="T13" fmla="*/ 65 h 210"/>
                  <a:gd name="T14" fmla="*/ 29 w 54"/>
                  <a:gd name="T15" fmla="*/ 58 h 210"/>
                  <a:gd name="T16" fmla="*/ 25 w 54"/>
                  <a:gd name="T17" fmla="*/ 51 h 210"/>
                  <a:gd name="T18" fmla="*/ 25 w 54"/>
                  <a:gd name="T19" fmla="*/ 47 h 210"/>
                  <a:gd name="T20" fmla="*/ 24 w 54"/>
                  <a:gd name="T21" fmla="*/ 31 h 210"/>
                  <a:gd name="T22" fmla="*/ 21 w 54"/>
                  <a:gd name="T23" fmla="*/ 16 h 210"/>
                  <a:gd name="T24" fmla="*/ 21 w 54"/>
                  <a:gd name="T25" fmla="*/ 10 h 210"/>
                  <a:gd name="T26" fmla="*/ 21 w 54"/>
                  <a:gd name="T27" fmla="*/ 5 h 210"/>
                  <a:gd name="T28" fmla="*/ 19 w 54"/>
                  <a:gd name="T29" fmla="*/ 3 h 210"/>
                  <a:gd name="T30" fmla="*/ 9 w 54"/>
                  <a:gd name="T31" fmla="*/ 0 h 210"/>
                  <a:gd name="T32" fmla="*/ 5 w 54"/>
                  <a:gd name="T33" fmla="*/ 2 h 210"/>
                  <a:gd name="T34" fmla="*/ 3 w 54"/>
                  <a:gd name="T35" fmla="*/ 3 h 210"/>
                  <a:gd name="T36" fmla="*/ 11 w 54"/>
                  <a:gd name="T37" fmla="*/ 12 h 210"/>
                  <a:gd name="T38" fmla="*/ 14 w 54"/>
                  <a:gd name="T39" fmla="*/ 15 h 210"/>
                  <a:gd name="T40" fmla="*/ 11 w 54"/>
                  <a:gd name="T41" fmla="*/ 19 h 210"/>
                  <a:gd name="T42" fmla="*/ 3 w 54"/>
                  <a:gd name="T43" fmla="*/ 22 h 210"/>
                  <a:gd name="T44" fmla="*/ 0 w 54"/>
                  <a:gd name="T45" fmla="*/ 25 h 210"/>
                  <a:gd name="T46" fmla="*/ 2 w 54"/>
                  <a:gd name="T47" fmla="*/ 34 h 210"/>
                  <a:gd name="T48" fmla="*/ 3 w 54"/>
                  <a:gd name="T49" fmla="*/ 39 h 210"/>
                  <a:gd name="T50" fmla="*/ 5 w 54"/>
                  <a:gd name="T51" fmla="*/ 47 h 210"/>
                  <a:gd name="T52" fmla="*/ 8 w 54"/>
                  <a:gd name="T53" fmla="*/ 57 h 210"/>
                  <a:gd name="T54" fmla="*/ 11 w 54"/>
                  <a:gd name="T55" fmla="*/ 79 h 210"/>
                  <a:gd name="T56" fmla="*/ 12 w 54"/>
                  <a:gd name="T57" fmla="*/ 83 h 210"/>
                  <a:gd name="T58" fmla="*/ 14 w 54"/>
                  <a:gd name="T59" fmla="*/ 90 h 210"/>
                  <a:gd name="T60" fmla="*/ 12 w 54"/>
                  <a:gd name="T61" fmla="*/ 99 h 210"/>
                  <a:gd name="T62" fmla="*/ 11 w 54"/>
                  <a:gd name="T63" fmla="*/ 116 h 210"/>
                  <a:gd name="T64" fmla="*/ 9 w 54"/>
                  <a:gd name="T65" fmla="*/ 134 h 210"/>
                  <a:gd name="T66" fmla="*/ 9 w 54"/>
                  <a:gd name="T67" fmla="*/ 151 h 210"/>
                  <a:gd name="T68" fmla="*/ 12 w 54"/>
                  <a:gd name="T69" fmla="*/ 167 h 210"/>
                  <a:gd name="T70" fmla="*/ 9 w 54"/>
                  <a:gd name="T71" fmla="*/ 203 h 210"/>
                  <a:gd name="T72" fmla="*/ 11 w 54"/>
                  <a:gd name="T73" fmla="*/ 210 h 210"/>
                  <a:gd name="T74" fmla="*/ 12 w 54"/>
                  <a:gd name="T75" fmla="*/ 210 h 210"/>
                  <a:gd name="T76" fmla="*/ 16 w 54"/>
                  <a:gd name="T77" fmla="*/ 206 h 210"/>
                  <a:gd name="T78" fmla="*/ 19 w 54"/>
                  <a:gd name="T79" fmla="*/ 199 h 210"/>
                  <a:gd name="T80" fmla="*/ 22 w 54"/>
                  <a:gd name="T81" fmla="*/ 200 h 210"/>
                  <a:gd name="T82" fmla="*/ 29 w 54"/>
                  <a:gd name="T83" fmla="*/ 206 h 210"/>
                  <a:gd name="T84" fmla="*/ 34 w 54"/>
                  <a:gd name="T85" fmla="*/ 209 h 210"/>
                  <a:gd name="T86" fmla="*/ 37 w 54"/>
                  <a:gd name="T87" fmla="*/ 207 h 210"/>
                  <a:gd name="T88" fmla="*/ 31 w 54"/>
                  <a:gd name="T89" fmla="*/ 189 h 210"/>
                  <a:gd name="T90" fmla="*/ 28 w 54"/>
                  <a:gd name="T91" fmla="*/ 180 h 210"/>
                  <a:gd name="T92" fmla="*/ 24 w 54"/>
                  <a:gd name="T93" fmla="*/ 171 h 210"/>
                  <a:gd name="T94" fmla="*/ 24 w 54"/>
                  <a:gd name="T95" fmla="*/ 161 h 210"/>
                  <a:gd name="T96" fmla="*/ 27 w 54"/>
                  <a:gd name="T97" fmla="*/ 152 h 210"/>
                  <a:gd name="T98" fmla="*/ 31 w 54"/>
                  <a:gd name="T99" fmla="*/ 139 h 210"/>
                  <a:gd name="T100" fmla="*/ 32 w 54"/>
                  <a:gd name="T101" fmla="*/ 136 h 210"/>
                  <a:gd name="T102" fmla="*/ 42 w 54"/>
                  <a:gd name="T103" fmla="*/ 142 h 210"/>
                  <a:gd name="T104" fmla="*/ 53 w 54"/>
                  <a:gd name="T105" fmla="*/ 148 h 210"/>
                  <a:gd name="T106" fmla="*/ 54 w 54"/>
                  <a:gd name="T107" fmla="*/ 148 h 210"/>
                  <a:gd name="T108" fmla="*/ 48 w 54"/>
                  <a:gd name="T109" fmla="*/ 136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4" h="210">
                    <a:moveTo>
                      <a:pt x="48" y="136"/>
                    </a:moveTo>
                    <a:lnTo>
                      <a:pt x="48" y="136"/>
                    </a:lnTo>
                    <a:lnTo>
                      <a:pt x="47" y="128"/>
                    </a:lnTo>
                    <a:lnTo>
                      <a:pt x="45" y="116"/>
                    </a:lnTo>
                    <a:lnTo>
                      <a:pt x="45" y="116"/>
                    </a:lnTo>
                    <a:lnTo>
                      <a:pt x="45" y="109"/>
                    </a:lnTo>
                    <a:lnTo>
                      <a:pt x="45" y="109"/>
                    </a:lnTo>
                    <a:lnTo>
                      <a:pt x="45" y="105"/>
                    </a:lnTo>
                    <a:lnTo>
                      <a:pt x="42" y="100"/>
                    </a:lnTo>
                    <a:lnTo>
                      <a:pt x="37" y="93"/>
                    </a:lnTo>
                    <a:lnTo>
                      <a:pt x="37" y="93"/>
                    </a:lnTo>
                    <a:lnTo>
                      <a:pt x="35" y="86"/>
                    </a:lnTo>
                    <a:lnTo>
                      <a:pt x="34" y="76"/>
                    </a:lnTo>
                    <a:lnTo>
                      <a:pt x="32" y="65"/>
                    </a:lnTo>
                    <a:lnTo>
                      <a:pt x="29" y="58"/>
                    </a:lnTo>
                    <a:lnTo>
                      <a:pt x="29" y="58"/>
                    </a:lnTo>
                    <a:lnTo>
                      <a:pt x="27" y="54"/>
                    </a:lnTo>
                    <a:lnTo>
                      <a:pt x="25" y="51"/>
                    </a:lnTo>
                    <a:lnTo>
                      <a:pt x="25" y="47"/>
                    </a:lnTo>
                    <a:lnTo>
                      <a:pt x="25" y="47"/>
                    </a:lnTo>
                    <a:lnTo>
                      <a:pt x="25" y="39"/>
                    </a:lnTo>
                    <a:lnTo>
                      <a:pt x="24" y="31"/>
                    </a:lnTo>
                    <a:lnTo>
                      <a:pt x="21" y="16"/>
                    </a:lnTo>
                    <a:lnTo>
                      <a:pt x="21" y="16"/>
                    </a:lnTo>
                    <a:lnTo>
                      <a:pt x="21" y="13"/>
                    </a:lnTo>
                    <a:lnTo>
                      <a:pt x="21" y="10"/>
                    </a:lnTo>
                    <a:lnTo>
                      <a:pt x="21" y="5"/>
                    </a:lnTo>
                    <a:lnTo>
                      <a:pt x="21" y="5"/>
                    </a:lnTo>
                    <a:lnTo>
                      <a:pt x="21" y="3"/>
                    </a:lnTo>
                    <a:lnTo>
                      <a:pt x="19" y="3"/>
                    </a:lnTo>
                    <a:lnTo>
                      <a:pt x="15" y="2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6" y="8"/>
                    </a:lnTo>
                    <a:lnTo>
                      <a:pt x="11" y="12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12" y="18"/>
                    </a:lnTo>
                    <a:lnTo>
                      <a:pt x="11" y="19"/>
                    </a:lnTo>
                    <a:lnTo>
                      <a:pt x="3" y="22"/>
                    </a:lnTo>
                    <a:lnTo>
                      <a:pt x="3" y="22"/>
                    </a:lnTo>
                    <a:lnTo>
                      <a:pt x="2" y="23"/>
                    </a:lnTo>
                    <a:lnTo>
                      <a:pt x="0" y="25"/>
                    </a:lnTo>
                    <a:lnTo>
                      <a:pt x="2" y="29"/>
                    </a:lnTo>
                    <a:lnTo>
                      <a:pt x="2" y="34"/>
                    </a:lnTo>
                    <a:lnTo>
                      <a:pt x="3" y="39"/>
                    </a:lnTo>
                    <a:lnTo>
                      <a:pt x="3" y="39"/>
                    </a:lnTo>
                    <a:lnTo>
                      <a:pt x="3" y="44"/>
                    </a:lnTo>
                    <a:lnTo>
                      <a:pt x="5" y="47"/>
                    </a:lnTo>
                    <a:lnTo>
                      <a:pt x="8" y="57"/>
                    </a:lnTo>
                    <a:lnTo>
                      <a:pt x="8" y="57"/>
                    </a:lnTo>
                    <a:lnTo>
                      <a:pt x="9" y="71"/>
                    </a:lnTo>
                    <a:lnTo>
                      <a:pt x="11" y="79"/>
                    </a:lnTo>
                    <a:lnTo>
                      <a:pt x="12" y="83"/>
                    </a:lnTo>
                    <a:lnTo>
                      <a:pt x="12" y="83"/>
                    </a:lnTo>
                    <a:lnTo>
                      <a:pt x="12" y="86"/>
                    </a:lnTo>
                    <a:lnTo>
                      <a:pt x="14" y="90"/>
                    </a:lnTo>
                    <a:lnTo>
                      <a:pt x="12" y="99"/>
                    </a:lnTo>
                    <a:lnTo>
                      <a:pt x="12" y="99"/>
                    </a:lnTo>
                    <a:lnTo>
                      <a:pt x="11" y="116"/>
                    </a:lnTo>
                    <a:lnTo>
                      <a:pt x="11" y="116"/>
                    </a:lnTo>
                    <a:lnTo>
                      <a:pt x="9" y="134"/>
                    </a:lnTo>
                    <a:lnTo>
                      <a:pt x="9" y="134"/>
                    </a:lnTo>
                    <a:lnTo>
                      <a:pt x="9" y="141"/>
                    </a:lnTo>
                    <a:lnTo>
                      <a:pt x="9" y="151"/>
                    </a:lnTo>
                    <a:lnTo>
                      <a:pt x="12" y="167"/>
                    </a:lnTo>
                    <a:lnTo>
                      <a:pt x="12" y="167"/>
                    </a:lnTo>
                    <a:lnTo>
                      <a:pt x="9" y="190"/>
                    </a:lnTo>
                    <a:lnTo>
                      <a:pt x="9" y="203"/>
                    </a:lnTo>
                    <a:lnTo>
                      <a:pt x="9" y="209"/>
                    </a:lnTo>
                    <a:lnTo>
                      <a:pt x="11" y="210"/>
                    </a:lnTo>
                    <a:lnTo>
                      <a:pt x="11" y="210"/>
                    </a:lnTo>
                    <a:lnTo>
                      <a:pt x="12" y="210"/>
                    </a:lnTo>
                    <a:lnTo>
                      <a:pt x="14" y="210"/>
                    </a:lnTo>
                    <a:lnTo>
                      <a:pt x="16" y="206"/>
                    </a:lnTo>
                    <a:lnTo>
                      <a:pt x="18" y="202"/>
                    </a:lnTo>
                    <a:lnTo>
                      <a:pt x="19" y="199"/>
                    </a:lnTo>
                    <a:lnTo>
                      <a:pt x="19" y="199"/>
                    </a:lnTo>
                    <a:lnTo>
                      <a:pt x="22" y="200"/>
                    </a:lnTo>
                    <a:lnTo>
                      <a:pt x="25" y="203"/>
                    </a:lnTo>
                    <a:lnTo>
                      <a:pt x="29" y="206"/>
                    </a:lnTo>
                    <a:lnTo>
                      <a:pt x="34" y="209"/>
                    </a:lnTo>
                    <a:lnTo>
                      <a:pt x="34" y="209"/>
                    </a:lnTo>
                    <a:lnTo>
                      <a:pt x="37" y="209"/>
                    </a:lnTo>
                    <a:lnTo>
                      <a:pt x="37" y="207"/>
                    </a:lnTo>
                    <a:lnTo>
                      <a:pt x="35" y="200"/>
                    </a:lnTo>
                    <a:lnTo>
                      <a:pt x="31" y="189"/>
                    </a:lnTo>
                    <a:lnTo>
                      <a:pt x="31" y="189"/>
                    </a:lnTo>
                    <a:lnTo>
                      <a:pt x="28" y="180"/>
                    </a:lnTo>
                    <a:lnTo>
                      <a:pt x="24" y="171"/>
                    </a:lnTo>
                    <a:lnTo>
                      <a:pt x="24" y="171"/>
                    </a:lnTo>
                    <a:lnTo>
                      <a:pt x="22" y="167"/>
                    </a:lnTo>
                    <a:lnTo>
                      <a:pt x="24" y="161"/>
                    </a:lnTo>
                    <a:lnTo>
                      <a:pt x="27" y="152"/>
                    </a:lnTo>
                    <a:lnTo>
                      <a:pt x="27" y="152"/>
                    </a:lnTo>
                    <a:lnTo>
                      <a:pt x="29" y="144"/>
                    </a:lnTo>
                    <a:lnTo>
                      <a:pt x="31" y="139"/>
                    </a:lnTo>
                    <a:lnTo>
                      <a:pt x="32" y="136"/>
                    </a:lnTo>
                    <a:lnTo>
                      <a:pt x="32" y="136"/>
                    </a:lnTo>
                    <a:lnTo>
                      <a:pt x="37" y="138"/>
                    </a:lnTo>
                    <a:lnTo>
                      <a:pt x="42" y="142"/>
                    </a:lnTo>
                    <a:lnTo>
                      <a:pt x="53" y="148"/>
                    </a:lnTo>
                    <a:lnTo>
                      <a:pt x="53" y="148"/>
                    </a:lnTo>
                    <a:lnTo>
                      <a:pt x="53" y="148"/>
                    </a:lnTo>
                    <a:lnTo>
                      <a:pt x="54" y="148"/>
                    </a:lnTo>
                    <a:lnTo>
                      <a:pt x="53" y="145"/>
                    </a:lnTo>
                    <a:lnTo>
                      <a:pt x="48" y="1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16" name="Freeform 870"/>
              <p:cNvSpPr>
                <a:spLocks/>
              </p:cNvSpPr>
              <p:nvPr/>
            </p:nvSpPr>
            <p:spPr bwMode="auto">
              <a:xfrm>
                <a:off x="6315075" y="3027285"/>
                <a:ext cx="71227" cy="97937"/>
              </a:xfrm>
              <a:custGeom>
                <a:avLst/>
                <a:gdLst>
                  <a:gd name="T0" fmla="*/ 61 w 72"/>
                  <a:gd name="T1" fmla="*/ 98 h 99"/>
                  <a:gd name="T2" fmla="*/ 55 w 72"/>
                  <a:gd name="T3" fmla="*/ 94 h 99"/>
                  <a:gd name="T4" fmla="*/ 56 w 72"/>
                  <a:gd name="T5" fmla="*/ 89 h 99"/>
                  <a:gd name="T6" fmla="*/ 55 w 72"/>
                  <a:gd name="T7" fmla="*/ 82 h 99"/>
                  <a:gd name="T8" fmla="*/ 52 w 72"/>
                  <a:gd name="T9" fmla="*/ 82 h 99"/>
                  <a:gd name="T10" fmla="*/ 49 w 72"/>
                  <a:gd name="T11" fmla="*/ 89 h 99"/>
                  <a:gd name="T12" fmla="*/ 45 w 72"/>
                  <a:gd name="T13" fmla="*/ 85 h 99"/>
                  <a:gd name="T14" fmla="*/ 36 w 72"/>
                  <a:gd name="T15" fmla="*/ 85 h 99"/>
                  <a:gd name="T16" fmla="*/ 33 w 72"/>
                  <a:gd name="T17" fmla="*/ 82 h 99"/>
                  <a:gd name="T18" fmla="*/ 35 w 72"/>
                  <a:gd name="T19" fmla="*/ 78 h 99"/>
                  <a:gd name="T20" fmla="*/ 27 w 72"/>
                  <a:gd name="T21" fmla="*/ 82 h 99"/>
                  <a:gd name="T22" fmla="*/ 19 w 72"/>
                  <a:gd name="T23" fmla="*/ 78 h 99"/>
                  <a:gd name="T24" fmla="*/ 10 w 72"/>
                  <a:gd name="T25" fmla="*/ 72 h 99"/>
                  <a:gd name="T26" fmla="*/ 13 w 72"/>
                  <a:gd name="T27" fmla="*/ 69 h 99"/>
                  <a:gd name="T28" fmla="*/ 11 w 72"/>
                  <a:gd name="T29" fmla="*/ 66 h 99"/>
                  <a:gd name="T30" fmla="*/ 0 w 72"/>
                  <a:gd name="T31" fmla="*/ 56 h 99"/>
                  <a:gd name="T32" fmla="*/ 0 w 72"/>
                  <a:gd name="T33" fmla="*/ 52 h 99"/>
                  <a:gd name="T34" fmla="*/ 0 w 72"/>
                  <a:gd name="T35" fmla="*/ 42 h 99"/>
                  <a:gd name="T36" fmla="*/ 3 w 72"/>
                  <a:gd name="T37" fmla="*/ 40 h 99"/>
                  <a:gd name="T38" fmla="*/ 7 w 72"/>
                  <a:gd name="T39" fmla="*/ 44 h 99"/>
                  <a:gd name="T40" fmla="*/ 11 w 72"/>
                  <a:gd name="T41" fmla="*/ 40 h 99"/>
                  <a:gd name="T42" fmla="*/ 13 w 72"/>
                  <a:gd name="T43" fmla="*/ 11 h 99"/>
                  <a:gd name="T44" fmla="*/ 16 w 72"/>
                  <a:gd name="T45" fmla="*/ 4 h 99"/>
                  <a:gd name="T46" fmla="*/ 25 w 72"/>
                  <a:gd name="T47" fmla="*/ 0 h 99"/>
                  <a:gd name="T48" fmla="*/ 32 w 72"/>
                  <a:gd name="T49" fmla="*/ 4 h 99"/>
                  <a:gd name="T50" fmla="*/ 39 w 72"/>
                  <a:gd name="T51" fmla="*/ 5 h 99"/>
                  <a:gd name="T52" fmla="*/ 40 w 72"/>
                  <a:gd name="T53" fmla="*/ 10 h 99"/>
                  <a:gd name="T54" fmla="*/ 38 w 72"/>
                  <a:gd name="T55" fmla="*/ 15 h 99"/>
                  <a:gd name="T56" fmla="*/ 40 w 72"/>
                  <a:gd name="T57" fmla="*/ 23 h 99"/>
                  <a:gd name="T58" fmla="*/ 43 w 72"/>
                  <a:gd name="T59" fmla="*/ 33 h 99"/>
                  <a:gd name="T60" fmla="*/ 39 w 72"/>
                  <a:gd name="T61" fmla="*/ 43 h 99"/>
                  <a:gd name="T62" fmla="*/ 32 w 72"/>
                  <a:gd name="T63" fmla="*/ 49 h 99"/>
                  <a:gd name="T64" fmla="*/ 38 w 72"/>
                  <a:gd name="T65" fmla="*/ 57 h 99"/>
                  <a:gd name="T66" fmla="*/ 43 w 72"/>
                  <a:gd name="T67" fmla="*/ 63 h 99"/>
                  <a:gd name="T68" fmla="*/ 42 w 72"/>
                  <a:gd name="T69" fmla="*/ 66 h 99"/>
                  <a:gd name="T70" fmla="*/ 35 w 72"/>
                  <a:gd name="T71" fmla="*/ 62 h 99"/>
                  <a:gd name="T72" fmla="*/ 35 w 72"/>
                  <a:gd name="T73" fmla="*/ 68 h 99"/>
                  <a:gd name="T74" fmla="*/ 38 w 72"/>
                  <a:gd name="T75" fmla="*/ 72 h 99"/>
                  <a:gd name="T76" fmla="*/ 53 w 72"/>
                  <a:gd name="T77" fmla="*/ 73 h 99"/>
                  <a:gd name="T78" fmla="*/ 61 w 72"/>
                  <a:gd name="T79" fmla="*/ 78 h 99"/>
                  <a:gd name="T80" fmla="*/ 67 w 72"/>
                  <a:gd name="T81" fmla="*/ 78 h 99"/>
                  <a:gd name="T82" fmla="*/ 68 w 72"/>
                  <a:gd name="T83" fmla="*/ 82 h 99"/>
                  <a:gd name="T84" fmla="*/ 65 w 72"/>
                  <a:gd name="T85" fmla="*/ 86 h 99"/>
                  <a:gd name="T86" fmla="*/ 72 w 72"/>
                  <a:gd name="T87" fmla="*/ 92 h 99"/>
                  <a:gd name="T88" fmla="*/ 72 w 72"/>
                  <a:gd name="T89" fmla="*/ 98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2" h="99">
                    <a:moveTo>
                      <a:pt x="69" y="99"/>
                    </a:moveTo>
                    <a:lnTo>
                      <a:pt x="69" y="99"/>
                    </a:lnTo>
                    <a:lnTo>
                      <a:pt x="61" y="98"/>
                    </a:lnTo>
                    <a:lnTo>
                      <a:pt x="56" y="97"/>
                    </a:lnTo>
                    <a:lnTo>
                      <a:pt x="55" y="94"/>
                    </a:lnTo>
                    <a:lnTo>
                      <a:pt x="55" y="94"/>
                    </a:lnTo>
                    <a:lnTo>
                      <a:pt x="55" y="92"/>
                    </a:lnTo>
                    <a:lnTo>
                      <a:pt x="56" y="91"/>
                    </a:lnTo>
                    <a:lnTo>
                      <a:pt x="56" y="89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5" y="82"/>
                    </a:lnTo>
                    <a:lnTo>
                      <a:pt x="53" y="81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1" y="86"/>
                    </a:lnTo>
                    <a:lnTo>
                      <a:pt x="51" y="89"/>
                    </a:lnTo>
                    <a:lnTo>
                      <a:pt x="49" y="89"/>
                    </a:lnTo>
                    <a:lnTo>
                      <a:pt x="49" y="89"/>
                    </a:lnTo>
                    <a:lnTo>
                      <a:pt x="46" y="86"/>
                    </a:lnTo>
                    <a:lnTo>
                      <a:pt x="45" y="85"/>
                    </a:lnTo>
                    <a:lnTo>
                      <a:pt x="42" y="85"/>
                    </a:lnTo>
                    <a:lnTo>
                      <a:pt x="42" y="85"/>
                    </a:lnTo>
                    <a:lnTo>
                      <a:pt x="36" y="85"/>
                    </a:lnTo>
                    <a:lnTo>
                      <a:pt x="33" y="84"/>
                    </a:lnTo>
                    <a:lnTo>
                      <a:pt x="33" y="82"/>
                    </a:lnTo>
                    <a:lnTo>
                      <a:pt x="33" y="82"/>
                    </a:lnTo>
                    <a:lnTo>
                      <a:pt x="36" y="78"/>
                    </a:lnTo>
                    <a:lnTo>
                      <a:pt x="36" y="76"/>
                    </a:lnTo>
                    <a:lnTo>
                      <a:pt x="35" y="78"/>
                    </a:lnTo>
                    <a:lnTo>
                      <a:pt x="35" y="78"/>
                    </a:lnTo>
                    <a:lnTo>
                      <a:pt x="29" y="81"/>
                    </a:lnTo>
                    <a:lnTo>
                      <a:pt x="27" y="82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19" y="78"/>
                    </a:lnTo>
                    <a:lnTo>
                      <a:pt x="13" y="75"/>
                    </a:lnTo>
                    <a:lnTo>
                      <a:pt x="13" y="75"/>
                    </a:lnTo>
                    <a:lnTo>
                      <a:pt x="10" y="72"/>
                    </a:lnTo>
                    <a:lnTo>
                      <a:pt x="10" y="71"/>
                    </a:lnTo>
                    <a:lnTo>
                      <a:pt x="13" y="69"/>
                    </a:lnTo>
                    <a:lnTo>
                      <a:pt x="13" y="69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1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56"/>
                    </a:lnTo>
                    <a:lnTo>
                      <a:pt x="0" y="55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9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1" y="42"/>
                    </a:lnTo>
                    <a:lnTo>
                      <a:pt x="3" y="40"/>
                    </a:lnTo>
                    <a:lnTo>
                      <a:pt x="3" y="40"/>
                    </a:lnTo>
                    <a:lnTo>
                      <a:pt x="4" y="42"/>
                    </a:lnTo>
                    <a:lnTo>
                      <a:pt x="6" y="43"/>
                    </a:lnTo>
                    <a:lnTo>
                      <a:pt x="7" y="44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11" y="40"/>
                    </a:lnTo>
                    <a:lnTo>
                      <a:pt x="13" y="37"/>
                    </a:lnTo>
                    <a:lnTo>
                      <a:pt x="13" y="29"/>
                    </a:lnTo>
                    <a:lnTo>
                      <a:pt x="13" y="11"/>
                    </a:lnTo>
                    <a:lnTo>
                      <a:pt x="13" y="11"/>
                    </a:lnTo>
                    <a:lnTo>
                      <a:pt x="13" y="7"/>
                    </a:lnTo>
                    <a:lnTo>
                      <a:pt x="16" y="4"/>
                    </a:lnTo>
                    <a:lnTo>
                      <a:pt x="20" y="1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7" y="0"/>
                    </a:lnTo>
                    <a:lnTo>
                      <a:pt x="30" y="2"/>
                    </a:lnTo>
                    <a:lnTo>
                      <a:pt x="32" y="4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9" y="5"/>
                    </a:lnTo>
                    <a:lnTo>
                      <a:pt x="40" y="7"/>
                    </a:lnTo>
                    <a:lnTo>
                      <a:pt x="40" y="8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38" y="13"/>
                    </a:lnTo>
                    <a:lnTo>
                      <a:pt x="38" y="15"/>
                    </a:lnTo>
                    <a:lnTo>
                      <a:pt x="38" y="18"/>
                    </a:lnTo>
                    <a:lnTo>
                      <a:pt x="40" y="23"/>
                    </a:lnTo>
                    <a:lnTo>
                      <a:pt x="40" y="23"/>
                    </a:lnTo>
                    <a:lnTo>
                      <a:pt x="42" y="24"/>
                    </a:lnTo>
                    <a:lnTo>
                      <a:pt x="43" y="27"/>
                    </a:lnTo>
                    <a:lnTo>
                      <a:pt x="43" y="33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39" y="43"/>
                    </a:lnTo>
                    <a:lnTo>
                      <a:pt x="36" y="44"/>
                    </a:lnTo>
                    <a:lnTo>
                      <a:pt x="33" y="47"/>
                    </a:lnTo>
                    <a:lnTo>
                      <a:pt x="32" y="49"/>
                    </a:lnTo>
                    <a:lnTo>
                      <a:pt x="32" y="49"/>
                    </a:lnTo>
                    <a:lnTo>
                      <a:pt x="33" y="53"/>
                    </a:lnTo>
                    <a:lnTo>
                      <a:pt x="38" y="57"/>
                    </a:lnTo>
                    <a:lnTo>
                      <a:pt x="38" y="57"/>
                    </a:lnTo>
                    <a:lnTo>
                      <a:pt x="40" y="60"/>
                    </a:lnTo>
                    <a:lnTo>
                      <a:pt x="43" y="63"/>
                    </a:lnTo>
                    <a:lnTo>
                      <a:pt x="43" y="66"/>
                    </a:lnTo>
                    <a:lnTo>
                      <a:pt x="43" y="66"/>
                    </a:lnTo>
                    <a:lnTo>
                      <a:pt x="42" y="66"/>
                    </a:lnTo>
                    <a:lnTo>
                      <a:pt x="42" y="66"/>
                    </a:lnTo>
                    <a:lnTo>
                      <a:pt x="36" y="62"/>
                    </a:lnTo>
                    <a:lnTo>
                      <a:pt x="35" y="62"/>
                    </a:lnTo>
                    <a:lnTo>
                      <a:pt x="35" y="62"/>
                    </a:lnTo>
                    <a:lnTo>
                      <a:pt x="35" y="62"/>
                    </a:lnTo>
                    <a:lnTo>
                      <a:pt x="35" y="68"/>
                    </a:lnTo>
                    <a:lnTo>
                      <a:pt x="35" y="71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46" y="72"/>
                    </a:lnTo>
                    <a:lnTo>
                      <a:pt x="51" y="73"/>
                    </a:lnTo>
                    <a:lnTo>
                      <a:pt x="53" y="73"/>
                    </a:lnTo>
                    <a:lnTo>
                      <a:pt x="53" y="73"/>
                    </a:lnTo>
                    <a:lnTo>
                      <a:pt x="56" y="76"/>
                    </a:lnTo>
                    <a:lnTo>
                      <a:pt x="61" y="78"/>
                    </a:lnTo>
                    <a:lnTo>
                      <a:pt x="61" y="78"/>
                    </a:lnTo>
                    <a:lnTo>
                      <a:pt x="65" y="78"/>
                    </a:lnTo>
                    <a:lnTo>
                      <a:pt x="67" y="78"/>
                    </a:lnTo>
                    <a:lnTo>
                      <a:pt x="68" y="81"/>
                    </a:lnTo>
                    <a:lnTo>
                      <a:pt x="68" y="81"/>
                    </a:lnTo>
                    <a:lnTo>
                      <a:pt x="68" y="82"/>
                    </a:lnTo>
                    <a:lnTo>
                      <a:pt x="67" y="84"/>
                    </a:lnTo>
                    <a:lnTo>
                      <a:pt x="65" y="85"/>
                    </a:lnTo>
                    <a:lnTo>
                      <a:pt x="65" y="86"/>
                    </a:lnTo>
                    <a:lnTo>
                      <a:pt x="65" y="86"/>
                    </a:lnTo>
                    <a:lnTo>
                      <a:pt x="69" y="91"/>
                    </a:lnTo>
                    <a:lnTo>
                      <a:pt x="72" y="92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8"/>
                    </a:lnTo>
                    <a:lnTo>
                      <a:pt x="71" y="99"/>
                    </a:lnTo>
                    <a:lnTo>
                      <a:pt x="69" y="9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17" name="Freeform 871"/>
              <p:cNvSpPr>
                <a:spLocks/>
              </p:cNvSpPr>
              <p:nvPr/>
            </p:nvSpPr>
            <p:spPr bwMode="auto">
              <a:xfrm>
                <a:off x="6315075" y="3027285"/>
                <a:ext cx="71227" cy="97937"/>
              </a:xfrm>
              <a:custGeom>
                <a:avLst/>
                <a:gdLst>
                  <a:gd name="T0" fmla="*/ 61 w 72"/>
                  <a:gd name="T1" fmla="*/ 98 h 99"/>
                  <a:gd name="T2" fmla="*/ 55 w 72"/>
                  <a:gd name="T3" fmla="*/ 94 h 99"/>
                  <a:gd name="T4" fmla="*/ 56 w 72"/>
                  <a:gd name="T5" fmla="*/ 89 h 99"/>
                  <a:gd name="T6" fmla="*/ 55 w 72"/>
                  <a:gd name="T7" fmla="*/ 82 h 99"/>
                  <a:gd name="T8" fmla="*/ 52 w 72"/>
                  <a:gd name="T9" fmla="*/ 82 h 99"/>
                  <a:gd name="T10" fmla="*/ 49 w 72"/>
                  <a:gd name="T11" fmla="*/ 89 h 99"/>
                  <a:gd name="T12" fmla="*/ 45 w 72"/>
                  <a:gd name="T13" fmla="*/ 85 h 99"/>
                  <a:gd name="T14" fmla="*/ 36 w 72"/>
                  <a:gd name="T15" fmla="*/ 85 h 99"/>
                  <a:gd name="T16" fmla="*/ 33 w 72"/>
                  <a:gd name="T17" fmla="*/ 82 h 99"/>
                  <a:gd name="T18" fmla="*/ 35 w 72"/>
                  <a:gd name="T19" fmla="*/ 78 h 99"/>
                  <a:gd name="T20" fmla="*/ 27 w 72"/>
                  <a:gd name="T21" fmla="*/ 82 h 99"/>
                  <a:gd name="T22" fmla="*/ 19 w 72"/>
                  <a:gd name="T23" fmla="*/ 78 h 99"/>
                  <a:gd name="T24" fmla="*/ 10 w 72"/>
                  <a:gd name="T25" fmla="*/ 72 h 99"/>
                  <a:gd name="T26" fmla="*/ 13 w 72"/>
                  <a:gd name="T27" fmla="*/ 69 h 99"/>
                  <a:gd name="T28" fmla="*/ 11 w 72"/>
                  <a:gd name="T29" fmla="*/ 66 h 99"/>
                  <a:gd name="T30" fmla="*/ 0 w 72"/>
                  <a:gd name="T31" fmla="*/ 56 h 99"/>
                  <a:gd name="T32" fmla="*/ 0 w 72"/>
                  <a:gd name="T33" fmla="*/ 52 h 99"/>
                  <a:gd name="T34" fmla="*/ 0 w 72"/>
                  <a:gd name="T35" fmla="*/ 42 h 99"/>
                  <a:gd name="T36" fmla="*/ 3 w 72"/>
                  <a:gd name="T37" fmla="*/ 40 h 99"/>
                  <a:gd name="T38" fmla="*/ 7 w 72"/>
                  <a:gd name="T39" fmla="*/ 44 h 99"/>
                  <a:gd name="T40" fmla="*/ 11 w 72"/>
                  <a:gd name="T41" fmla="*/ 40 h 99"/>
                  <a:gd name="T42" fmla="*/ 13 w 72"/>
                  <a:gd name="T43" fmla="*/ 11 h 99"/>
                  <a:gd name="T44" fmla="*/ 16 w 72"/>
                  <a:gd name="T45" fmla="*/ 4 h 99"/>
                  <a:gd name="T46" fmla="*/ 25 w 72"/>
                  <a:gd name="T47" fmla="*/ 0 h 99"/>
                  <a:gd name="T48" fmla="*/ 32 w 72"/>
                  <a:gd name="T49" fmla="*/ 4 h 99"/>
                  <a:gd name="T50" fmla="*/ 39 w 72"/>
                  <a:gd name="T51" fmla="*/ 5 h 99"/>
                  <a:gd name="T52" fmla="*/ 40 w 72"/>
                  <a:gd name="T53" fmla="*/ 10 h 99"/>
                  <a:gd name="T54" fmla="*/ 38 w 72"/>
                  <a:gd name="T55" fmla="*/ 15 h 99"/>
                  <a:gd name="T56" fmla="*/ 40 w 72"/>
                  <a:gd name="T57" fmla="*/ 23 h 99"/>
                  <a:gd name="T58" fmla="*/ 43 w 72"/>
                  <a:gd name="T59" fmla="*/ 33 h 99"/>
                  <a:gd name="T60" fmla="*/ 39 w 72"/>
                  <a:gd name="T61" fmla="*/ 43 h 99"/>
                  <a:gd name="T62" fmla="*/ 32 w 72"/>
                  <a:gd name="T63" fmla="*/ 49 h 99"/>
                  <a:gd name="T64" fmla="*/ 38 w 72"/>
                  <a:gd name="T65" fmla="*/ 57 h 99"/>
                  <a:gd name="T66" fmla="*/ 43 w 72"/>
                  <a:gd name="T67" fmla="*/ 63 h 99"/>
                  <a:gd name="T68" fmla="*/ 42 w 72"/>
                  <a:gd name="T69" fmla="*/ 66 h 99"/>
                  <a:gd name="T70" fmla="*/ 35 w 72"/>
                  <a:gd name="T71" fmla="*/ 62 h 99"/>
                  <a:gd name="T72" fmla="*/ 35 w 72"/>
                  <a:gd name="T73" fmla="*/ 68 h 99"/>
                  <a:gd name="T74" fmla="*/ 38 w 72"/>
                  <a:gd name="T75" fmla="*/ 72 h 99"/>
                  <a:gd name="T76" fmla="*/ 53 w 72"/>
                  <a:gd name="T77" fmla="*/ 73 h 99"/>
                  <a:gd name="T78" fmla="*/ 61 w 72"/>
                  <a:gd name="T79" fmla="*/ 78 h 99"/>
                  <a:gd name="T80" fmla="*/ 67 w 72"/>
                  <a:gd name="T81" fmla="*/ 78 h 99"/>
                  <a:gd name="T82" fmla="*/ 68 w 72"/>
                  <a:gd name="T83" fmla="*/ 82 h 99"/>
                  <a:gd name="T84" fmla="*/ 65 w 72"/>
                  <a:gd name="T85" fmla="*/ 86 h 99"/>
                  <a:gd name="T86" fmla="*/ 72 w 72"/>
                  <a:gd name="T87" fmla="*/ 92 h 99"/>
                  <a:gd name="T88" fmla="*/ 72 w 72"/>
                  <a:gd name="T89" fmla="*/ 98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2" h="99">
                    <a:moveTo>
                      <a:pt x="69" y="99"/>
                    </a:moveTo>
                    <a:lnTo>
                      <a:pt x="69" y="99"/>
                    </a:lnTo>
                    <a:lnTo>
                      <a:pt x="61" y="98"/>
                    </a:lnTo>
                    <a:lnTo>
                      <a:pt x="56" y="97"/>
                    </a:lnTo>
                    <a:lnTo>
                      <a:pt x="55" y="94"/>
                    </a:lnTo>
                    <a:lnTo>
                      <a:pt x="55" y="94"/>
                    </a:lnTo>
                    <a:lnTo>
                      <a:pt x="55" y="92"/>
                    </a:lnTo>
                    <a:lnTo>
                      <a:pt x="56" y="91"/>
                    </a:lnTo>
                    <a:lnTo>
                      <a:pt x="56" y="89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5" y="82"/>
                    </a:lnTo>
                    <a:lnTo>
                      <a:pt x="53" y="81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1" y="86"/>
                    </a:lnTo>
                    <a:lnTo>
                      <a:pt x="51" y="89"/>
                    </a:lnTo>
                    <a:lnTo>
                      <a:pt x="49" y="89"/>
                    </a:lnTo>
                    <a:lnTo>
                      <a:pt x="49" y="89"/>
                    </a:lnTo>
                    <a:lnTo>
                      <a:pt x="46" y="86"/>
                    </a:lnTo>
                    <a:lnTo>
                      <a:pt x="45" y="85"/>
                    </a:lnTo>
                    <a:lnTo>
                      <a:pt x="42" y="85"/>
                    </a:lnTo>
                    <a:lnTo>
                      <a:pt x="42" y="85"/>
                    </a:lnTo>
                    <a:lnTo>
                      <a:pt x="36" y="85"/>
                    </a:lnTo>
                    <a:lnTo>
                      <a:pt x="33" y="84"/>
                    </a:lnTo>
                    <a:lnTo>
                      <a:pt x="33" y="82"/>
                    </a:lnTo>
                    <a:lnTo>
                      <a:pt x="33" y="82"/>
                    </a:lnTo>
                    <a:lnTo>
                      <a:pt x="36" y="78"/>
                    </a:lnTo>
                    <a:lnTo>
                      <a:pt x="36" y="76"/>
                    </a:lnTo>
                    <a:lnTo>
                      <a:pt x="35" y="78"/>
                    </a:lnTo>
                    <a:lnTo>
                      <a:pt x="35" y="78"/>
                    </a:lnTo>
                    <a:lnTo>
                      <a:pt x="29" y="81"/>
                    </a:lnTo>
                    <a:lnTo>
                      <a:pt x="27" y="82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19" y="78"/>
                    </a:lnTo>
                    <a:lnTo>
                      <a:pt x="13" y="75"/>
                    </a:lnTo>
                    <a:lnTo>
                      <a:pt x="13" y="75"/>
                    </a:lnTo>
                    <a:lnTo>
                      <a:pt x="10" y="72"/>
                    </a:lnTo>
                    <a:lnTo>
                      <a:pt x="10" y="71"/>
                    </a:lnTo>
                    <a:lnTo>
                      <a:pt x="13" y="69"/>
                    </a:lnTo>
                    <a:lnTo>
                      <a:pt x="13" y="69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1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56"/>
                    </a:lnTo>
                    <a:lnTo>
                      <a:pt x="0" y="55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9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1" y="42"/>
                    </a:lnTo>
                    <a:lnTo>
                      <a:pt x="3" y="40"/>
                    </a:lnTo>
                    <a:lnTo>
                      <a:pt x="3" y="40"/>
                    </a:lnTo>
                    <a:lnTo>
                      <a:pt x="4" y="42"/>
                    </a:lnTo>
                    <a:lnTo>
                      <a:pt x="6" y="43"/>
                    </a:lnTo>
                    <a:lnTo>
                      <a:pt x="7" y="44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11" y="40"/>
                    </a:lnTo>
                    <a:lnTo>
                      <a:pt x="13" y="37"/>
                    </a:lnTo>
                    <a:lnTo>
                      <a:pt x="13" y="29"/>
                    </a:lnTo>
                    <a:lnTo>
                      <a:pt x="13" y="11"/>
                    </a:lnTo>
                    <a:lnTo>
                      <a:pt x="13" y="11"/>
                    </a:lnTo>
                    <a:lnTo>
                      <a:pt x="13" y="7"/>
                    </a:lnTo>
                    <a:lnTo>
                      <a:pt x="16" y="4"/>
                    </a:lnTo>
                    <a:lnTo>
                      <a:pt x="20" y="1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7" y="0"/>
                    </a:lnTo>
                    <a:lnTo>
                      <a:pt x="30" y="2"/>
                    </a:lnTo>
                    <a:lnTo>
                      <a:pt x="32" y="4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9" y="5"/>
                    </a:lnTo>
                    <a:lnTo>
                      <a:pt x="40" y="7"/>
                    </a:lnTo>
                    <a:lnTo>
                      <a:pt x="40" y="8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38" y="13"/>
                    </a:lnTo>
                    <a:lnTo>
                      <a:pt x="38" y="15"/>
                    </a:lnTo>
                    <a:lnTo>
                      <a:pt x="38" y="18"/>
                    </a:lnTo>
                    <a:lnTo>
                      <a:pt x="40" y="23"/>
                    </a:lnTo>
                    <a:lnTo>
                      <a:pt x="40" y="23"/>
                    </a:lnTo>
                    <a:lnTo>
                      <a:pt x="42" y="24"/>
                    </a:lnTo>
                    <a:lnTo>
                      <a:pt x="43" y="27"/>
                    </a:lnTo>
                    <a:lnTo>
                      <a:pt x="43" y="33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39" y="43"/>
                    </a:lnTo>
                    <a:lnTo>
                      <a:pt x="36" y="44"/>
                    </a:lnTo>
                    <a:lnTo>
                      <a:pt x="33" y="47"/>
                    </a:lnTo>
                    <a:lnTo>
                      <a:pt x="32" y="49"/>
                    </a:lnTo>
                    <a:lnTo>
                      <a:pt x="32" y="49"/>
                    </a:lnTo>
                    <a:lnTo>
                      <a:pt x="33" y="53"/>
                    </a:lnTo>
                    <a:lnTo>
                      <a:pt x="38" y="57"/>
                    </a:lnTo>
                    <a:lnTo>
                      <a:pt x="38" y="57"/>
                    </a:lnTo>
                    <a:lnTo>
                      <a:pt x="40" y="60"/>
                    </a:lnTo>
                    <a:lnTo>
                      <a:pt x="43" y="63"/>
                    </a:lnTo>
                    <a:lnTo>
                      <a:pt x="43" y="66"/>
                    </a:lnTo>
                    <a:lnTo>
                      <a:pt x="43" y="66"/>
                    </a:lnTo>
                    <a:lnTo>
                      <a:pt x="42" y="66"/>
                    </a:lnTo>
                    <a:lnTo>
                      <a:pt x="42" y="66"/>
                    </a:lnTo>
                    <a:lnTo>
                      <a:pt x="36" y="62"/>
                    </a:lnTo>
                    <a:lnTo>
                      <a:pt x="35" y="62"/>
                    </a:lnTo>
                    <a:lnTo>
                      <a:pt x="35" y="62"/>
                    </a:lnTo>
                    <a:lnTo>
                      <a:pt x="35" y="62"/>
                    </a:lnTo>
                    <a:lnTo>
                      <a:pt x="35" y="68"/>
                    </a:lnTo>
                    <a:lnTo>
                      <a:pt x="35" y="71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46" y="72"/>
                    </a:lnTo>
                    <a:lnTo>
                      <a:pt x="51" y="73"/>
                    </a:lnTo>
                    <a:lnTo>
                      <a:pt x="53" y="73"/>
                    </a:lnTo>
                    <a:lnTo>
                      <a:pt x="53" y="73"/>
                    </a:lnTo>
                    <a:lnTo>
                      <a:pt x="56" y="76"/>
                    </a:lnTo>
                    <a:lnTo>
                      <a:pt x="61" y="78"/>
                    </a:lnTo>
                    <a:lnTo>
                      <a:pt x="61" y="78"/>
                    </a:lnTo>
                    <a:lnTo>
                      <a:pt x="65" y="78"/>
                    </a:lnTo>
                    <a:lnTo>
                      <a:pt x="67" y="78"/>
                    </a:lnTo>
                    <a:lnTo>
                      <a:pt x="68" y="81"/>
                    </a:lnTo>
                    <a:lnTo>
                      <a:pt x="68" y="81"/>
                    </a:lnTo>
                    <a:lnTo>
                      <a:pt x="68" y="82"/>
                    </a:lnTo>
                    <a:lnTo>
                      <a:pt x="67" y="84"/>
                    </a:lnTo>
                    <a:lnTo>
                      <a:pt x="65" y="85"/>
                    </a:lnTo>
                    <a:lnTo>
                      <a:pt x="65" y="86"/>
                    </a:lnTo>
                    <a:lnTo>
                      <a:pt x="65" y="86"/>
                    </a:lnTo>
                    <a:lnTo>
                      <a:pt x="69" y="91"/>
                    </a:lnTo>
                    <a:lnTo>
                      <a:pt x="72" y="92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8"/>
                    </a:lnTo>
                    <a:lnTo>
                      <a:pt x="71" y="99"/>
                    </a:lnTo>
                    <a:lnTo>
                      <a:pt x="69" y="9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18" name="Freeform 872"/>
              <p:cNvSpPr>
                <a:spLocks/>
              </p:cNvSpPr>
              <p:nvPr/>
            </p:nvSpPr>
            <p:spPr bwMode="auto">
              <a:xfrm>
                <a:off x="6389270" y="3127200"/>
                <a:ext cx="19785" cy="37592"/>
              </a:xfrm>
              <a:custGeom>
                <a:avLst/>
                <a:gdLst>
                  <a:gd name="T0" fmla="*/ 12 w 20"/>
                  <a:gd name="T1" fmla="*/ 0 h 38"/>
                  <a:gd name="T2" fmla="*/ 12 w 20"/>
                  <a:gd name="T3" fmla="*/ 0 h 38"/>
                  <a:gd name="T4" fmla="*/ 9 w 20"/>
                  <a:gd name="T5" fmla="*/ 0 h 38"/>
                  <a:gd name="T6" fmla="*/ 6 w 20"/>
                  <a:gd name="T7" fmla="*/ 1 h 38"/>
                  <a:gd name="T8" fmla="*/ 5 w 20"/>
                  <a:gd name="T9" fmla="*/ 3 h 38"/>
                  <a:gd name="T10" fmla="*/ 3 w 20"/>
                  <a:gd name="T11" fmla="*/ 3 h 38"/>
                  <a:gd name="T12" fmla="*/ 3 w 20"/>
                  <a:gd name="T13" fmla="*/ 3 h 38"/>
                  <a:gd name="T14" fmla="*/ 0 w 20"/>
                  <a:gd name="T15" fmla="*/ 4 h 38"/>
                  <a:gd name="T16" fmla="*/ 3 w 20"/>
                  <a:gd name="T17" fmla="*/ 7 h 38"/>
                  <a:gd name="T18" fmla="*/ 3 w 20"/>
                  <a:gd name="T19" fmla="*/ 7 h 38"/>
                  <a:gd name="T20" fmla="*/ 7 w 20"/>
                  <a:gd name="T21" fmla="*/ 13 h 38"/>
                  <a:gd name="T22" fmla="*/ 10 w 20"/>
                  <a:gd name="T23" fmla="*/ 14 h 38"/>
                  <a:gd name="T24" fmla="*/ 10 w 20"/>
                  <a:gd name="T25" fmla="*/ 17 h 38"/>
                  <a:gd name="T26" fmla="*/ 10 w 20"/>
                  <a:gd name="T27" fmla="*/ 17 h 38"/>
                  <a:gd name="T28" fmla="*/ 10 w 20"/>
                  <a:gd name="T29" fmla="*/ 22 h 38"/>
                  <a:gd name="T30" fmla="*/ 9 w 20"/>
                  <a:gd name="T31" fmla="*/ 23 h 38"/>
                  <a:gd name="T32" fmla="*/ 9 w 20"/>
                  <a:gd name="T33" fmla="*/ 23 h 38"/>
                  <a:gd name="T34" fmla="*/ 6 w 20"/>
                  <a:gd name="T35" fmla="*/ 25 h 38"/>
                  <a:gd name="T36" fmla="*/ 5 w 20"/>
                  <a:gd name="T37" fmla="*/ 26 h 38"/>
                  <a:gd name="T38" fmla="*/ 5 w 20"/>
                  <a:gd name="T39" fmla="*/ 27 h 38"/>
                  <a:gd name="T40" fmla="*/ 5 w 20"/>
                  <a:gd name="T41" fmla="*/ 27 h 38"/>
                  <a:gd name="T42" fmla="*/ 7 w 20"/>
                  <a:gd name="T43" fmla="*/ 35 h 38"/>
                  <a:gd name="T44" fmla="*/ 9 w 20"/>
                  <a:gd name="T45" fmla="*/ 38 h 38"/>
                  <a:gd name="T46" fmla="*/ 10 w 20"/>
                  <a:gd name="T47" fmla="*/ 38 h 38"/>
                  <a:gd name="T48" fmla="*/ 10 w 20"/>
                  <a:gd name="T49" fmla="*/ 38 h 38"/>
                  <a:gd name="T50" fmla="*/ 12 w 20"/>
                  <a:gd name="T51" fmla="*/ 36 h 38"/>
                  <a:gd name="T52" fmla="*/ 12 w 20"/>
                  <a:gd name="T53" fmla="*/ 33 h 38"/>
                  <a:gd name="T54" fmla="*/ 13 w 20"/>
                  <a:gd name="T55" fmla="*/ 30 h 38"/>
                  <a:gd name="T56" fmla="*/ 15 w 20"/>
                  <a:gd name="T57" fmla="*/ 27 h 38"/>
                  <a:gd name="T58" fmla="*/ 15 w 20"/>
                  <a:gd name="T59" fmla="*/ 27 h 38"/>
                  <a:gd name="T60" fmla="*/ 19 w 20"/>
                  <a:gd name="T61" fmla="*/ 26 h 38"/>
                  <a:gd name="T62" fmla="*/ 20 w 20"/>
                  <a:gd name="T63" fmla="*/ 25 h 38"/>
                  <a:gd name="T64" fmla="*/ 20 w 20"/>
                  <a:gd name="T65" fmla="*/ 22 h 38"/>
                  <a:gd name="T66" fmla="*/ 20 w 20"/>
                  <a:gd name="T67" fmla="*/ 22 h 38"/>
                  <a:gd name="T68" fmla="*/ 20 w 20"/>
                  <a:gd name="T69" fmla="*/ 14 h 38"/>
                  <a:gd name="T70" fmla="*/ 20 w 20"/>
                  <a:gd name="T71" fmla="*/ 10 h 38"/>
                  <a:gd name="T72" fmla="*/ 19 w 20"/>
                  <a:gd name="T73" fmla="*/ 7 h 38"/>
                  <a:gd name="T74" fmla="*/ 19 w 20"/>
                  <a:gd name="T75" fmla="*/ 7 h 38"/>
                  <a:gd name="T76" fmla="*/ 16 w 20"/>
                  <a:gd name="T77" fmla="*/ 3 h 38"/>
                  <a:gd name="T78" fmla="*/ 15 w 20"/>
                  <a:gd name="T79" fmla="*/ 1 h 38"/>
                  <a:gd name="T80" fmla="*/ 12 w 20"/>
                  <a:gd name="T8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" h="38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7" y="13"/>
                    </a:lnTo>
                    <a:lnTo>
                      <a:pt x="10" y="14"/>
                    </a:lnTo>
                    <a:lnTo>
                      <a:pt x="10" y="17"/>
                    </a:lnTo>
                    <a:lnTo>
                      <a:pt x="10" y="17"/>
                    </a:lnTo>
                    <a:lnTo>
                      <a:pt x="10" y="22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6" y="25"/>
                    </a:lnTo>
                    <a:lnTo>
                      <a:pt x="5" y="26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7" y="35"/>
                    </a:lnTo>
                    <a:lnTo>
                      <a:pt x="9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2" y="36"/>
                    </a:lnTo>
                    <a:lnTo>
                      <a:pt x="12" y="33"/>
                    </a:lnTo>
                    <a:lnTo>
                      <a:pt x="13" y="30"/>
                    </a:lnTo>
                    <a:lnTo>
                      <a:pt x="15" y="27"/>
                    </a:lnTo>
                    <a:lnTo>
                      <a:pt x="15" y="27"/>
                    </a:lnTo>
                    <a:lnTo>
                      <a:pt x="19" y="26"/>
                    </a:lnTo>
                    <a:lnTo>
                      <a:pt x="20" y="25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16" y="3"/>
                    </a:lnTo>
                    <a:lnTo>
                      <a:pt x="15" y="1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19" name="Freeform 873"/>
              <p:cNvSpPr>
                <a:spLocks/>
              </p:cNvSpPr>
              <p:nvPr/>
            </p:nvSpPr>
            <p:spPr bwMode="auto">
              <a:xfrm>
                <a:off x="6389270" y="3127200"/>
                <a:ext cx="19785" cy="37592"/>
              </a:xfrm>
              <a:custGeom>
                <a:avLst/>
                <a:gdLst>
                  <a:gd name="T0" fmla="*/ 12 w 20"/>
                  <a:gd name="T1" fmla="*/ 0 h 38"/>
                  <a:gd name="T2" fmla="*/ 12 w 20"/>
                  <a:gd name="T3" fmla="*/ 0 h 38"/>
                  <a:gd name="T4" fmla="*/ 9 w 20"/>
                  <a:gd name="T5" fmla="*/ 0 h 38"/>
                  <a:gd name="T6" fmla="*/ 6 w 20"/>
                  <a:gd name="T7" fmla="*/ 1 h 38"/>
                  <a:gd name="T8" fmla="*/ 5 w 20"/>
                  <a:gd name="T9" fmla="*/ 3 h 38"/>
                  <a:gd name="T10" fmla="*/ 3 w 20"/>
                  <a:gd name="T11" fmla="*/ 3 h 38"/>
                  <a:gd name="T12" fmla="*/ 3 w 20"/>
                  <a:gd name="T13" fmla="*/ 3 h 38"/>
                  <a:gd name="T14" fmla="*/ 0 w 20"/>
                  <a:gd name="T15" fmla="*/ 4 h 38"/>
                  <a:gd name="T16" fmla="*/ 3 w 20"/>
                  <a:gd name="T17" fmla="*/ 7 h 38"/>
                  <a:gd name="T18" fmla="*/ 3 w 20"/>
                  <a:gd name="T19" fmla="*/ 7 h 38"/>
                  <a:gd name="T20" fmla="*/ 7 w 20"/>
                  <a:gd name="T21" fmla="*/ 13 h 38"/>
                  <a:gd name="T22" fmla="*/ 10 w 20"/>
                  <a:gd name="T23" fmla="*/ 14 h 38"/>
                  <a:gd name="T24" fmla="*/ 10 w 20"/>
                  <a:gd name="T25" fmla="*/ 17 h 38"/>
                  <a:gd name="T26" fmla="*/ 10 w 20"/>
                  <a:gd name="T27" fmla="*/ 17 h 38"/>
                  <a:gd name="T28" fmla="*/ 10 w 20"/>
                  <a:gd name="T29" fmla="*/ 22 h 38"/>
                  <a:gd name="T30" fmla="*/ 9 w 20"/>
                  <a:gd name="T31" fmla="*/ 23 h 38"/>
                  <a:gd name="T32" fmla="*/ 9 w 20"/>
                  <a:gd name="T33" fmla="*/ 23 h 38"/>
                  <a:gd name="T34" fmla="*/ 6 w 20"/>
                  <a:gd name="T35" fmla="*/ 25 h 38"/>
                  <a:gd name="T36" fmla="*/ 5 w 20"/>
                  <a:gd name="T37" fmla="*/ 26 h 38"/>
                  <a:gd name="T38" fmla="*/ 5 w 20"/>
                  <a:gd name="T39" fmla="*/ 27 h 38"/>
                  <a:gd name="T40" fmla="*/ 5 w 20"/>
                  <a:gd name="T41" fmla="*/ 27 h 38"/>
                  <a:gd name="T42" fmla="*/ 7 w 20"/>
                  <a:gd name="T43" fmla="*/ 35 h 38"/>
                  <a:gd name="T44" fmla="*/ 9 w 20"/>
                  <a:gd name="T45" fmla="*/ 38 h 38"/>
                  <a:gd name="T46" fmla="*/ 10 w 20"/>
                  <a:gd name="T47" fmla="*/ 38 h 38"/>
                  <a:gd name="T48" fmla="*/ 10 w 20"/>
                  <a:gd name="T49" fmla="*/ 38 h 38"/>
                  <a:gd name="T50" fmla="*/ 12 w 20"/>
                  <a:gd name="T51" fmla="*/ 36 h 38"/>
                  <a:gd name="T52" fmla="*/ 12 w 20"/>
                  <a:gd name="T53" fmla="*/ 33 h 38"/>
                  <a:gd name="T54" fmla="*/ 13 w 20"/>
                  <a:gd name="T55" fmla="*/ 30 h 38"/>
                  <a:gd name="T56" fmla="*/ 15 w 20"/>
                  <a:gd name="T57" fmla="*/ 27 h 38"/>
                  <a:gd name="T58" fmla="*/ 15 w 20"/>
                  <a:gd name="T59" fmla="*/ 27 h 38"/>
                  <a:gd name="T60" fmla="*/ 19 w 20"/>
                  <a:gd name="T61" fmla="*/ 26 h 38"/>
                  <a:gd name="T62" fmla="*/ 20 w 20"/>
                  <a:gd name="T63" fmla="*/ 25 h 38"/>
                  <a:gd name="T64" fmla="*/ 20 w 20"/>
                  <a:gd name="T65" fmla="*/ 22 h 38"/>
                  <a:gd name="T66" fmla="*/ 20 w 20"/>
                  <a:gd name="T67" fmla="*/ 22 h 38"/>
                  <a:gd name="T68" fmla="*/ 20 w 20"/>
                  <a:gd name="T69" fmla="*/ 14 h 38"/>
                  <a:gd name="T70" fmla="*/ 20 w 20"/>
                  <a:gd name="T71" fmla="*/ 10 h 38"/>
                  <a:gd name="T72" fmla="*/ 19 w 20"/>
                  <a:gd name="T73" fmla="*/ 7 h 38"/>
                  <a:gd name="T74" fmla="*/ 19 w 20"/>
                  <a:gd name="T75" fmla="*/ 7 h 38"/>
                  <a:gd name="T76" fmla="*/ 16 w 20"/>
                  <a:gd name="T77" fmla="*/ 3 h 38"/>
                  <a:gd name="T78" fmla="*/ 15 w 20"/>
                  <a:gd name="T79" fmla="*/ 1 h 38"/>
                  <a:gd name="T80" fmla="*/ 12 w 20"/>
                  <a:gd name="T8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" h="38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7" y="13"/>
                    </a:lnTo>
                    <a:lnTo>
                      <a:pt x="10" y="14"/>
                    </a:lnTo>
                    <a:lnTo>
                      <a:pt x="10" y="17"/>
                    </a:lnTo>
                    <a:lnTo>
                      <a:pt x="10" y="17"/>
                    </a:lnTo>
                    <a:lnTo>
                      <a:pt x="10" y="22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6" y="25"/>
                    </a:lnTo>
                    <a:lnTo>
                      <a:pt x="5" y="26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7" y="35"/>
                    </a:lnTo>
                    <a:lnTo>
                      <a:pt x="9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2" y="36"/>
                    </a:lnTo>
                    <a:lnTo>
                      <a:pt x="12" y="33"/>
                    </a:lnTo>
                    <a:lnTo>
                      <a:pt x="13" y="30"/>
                    </a:lnTo>
                    <a:lnTo>
                      <a:pt x="15" y="27"/>
                    </a:lnTo>
                    <a:lnTo>
                      <a:pt x="15" y="27"/>
                    </a:lnTo>
                    <a:lnTo>
                      <a:pt x="19" y="26"/>
                    </a:lnTo>
                    <a:lnTo>
                      <a:pt x="20" y="25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16" y="3"/>
                    </a:lnTo>
                    <a:lnTo>
                      <a:pt x="15" y="1"/>
                    </a:lnTo>
                    <a:lnTo>
                      <a:pt x="12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20" name="Freeform 874"/>
              <p:cNvSpPr>
                <a:spLocks/>
              </p:cNvSpPr>
              <p:nvPr/>
            </p:nvSpPr>
            <p:spPr bwMode="auto">
              <a:xfrm>
                <a:off x="6353656" y="3172706"/>
                <a:ext cx="71227" cy="62323"/>
              </a:xfrm>
              <a:custGeom>
                <a:avLst/>
                <a:gdLst>
                  <a:gd name="T0" fmla="*/ 59 w 72"/>
                  <a:gd name="T1" fmla="*/ 0 h 63"/>
                  <a:gd name="T2" fmla="*/ 56 w 72"/>
                  <a:gd name="T3" fmla="*/ 2 h 63"/>
                  <a:gd name="T4" fmla="*/ 52 w 72"/>
                  <a:gd name="T5" fmla="*/ 15 h 63"/>
                  <a:gd name="T6" fmla="*/ 48 w 72"/>
                  <a:gd name="T7" fmla="*/ 16 h 63"/>
                  <a:gd name="T8" fmla="*/ 43 w 72"/>
                  <a:gd name="T9" fmla="*/ 18 h 63"/>
                  <a:gd name="T10" fmla="*/ 36 w 72"/>
                  <a:gd name="T11" fmla="*/ 25 h 63"/>
                  <a:gd name="T12" fmla="*/ 30 w 72"/>
                  <a:gd name="T13" fmla="*/ 28 h 63"/>
                  <a:gd name="T14" fmla="*/ 28 w 72"/>
                  <a:gd name="T15" fmla="*/ 23 h 63"/>
                  <a:gd name="T16" fmla="*/ 25 w 72"/>
                  <a:gd name="T17" fmla="*/ 22 h 63"/>
                  <a:gd name="T18" fmla="*/ 19 w 72"/>
                  <a:gd name="T19" fmla="*/ 23 h 63"/>
                  <a:gd name="T20" fmla="*/ 17 w 72"/>
                  <a:gd name="T21" fmla="*/ 25 h 63"/>
                  <a:gd name="T22" fmla="*/ 14 w 72"/>
                  <a:gd name="T23" fmla="*/ 28 h 63"/>
                  <a:gd name="T24" fmla="*/ 10 w 72"/>
                  <a:gd name="T25" fmla="*/ 28 h 63"/>
                  <a:gd name="T26" fmla="*/ 1 w 72"/>
                  <a:gd name="T27" fmla="*/ 32 h 63"/>
                  <a:gd name="T28" fmla="*/ 1 w 72"/>
                  <a:gd name="T29" fmla="*/ 35 h 63"/>
                  <a:gd name="T30" fmla="*/ 0 w 72"/>
                  <a:gd name="T31" fmla="*/ 42 h 63"/>
                  <a:gd name="T32" fmla="*/ 1 w 72"/>
                  <a:gd name="T33" fmla="*/ 42 h 63"/>
                  <a:gd name="T34" fmla="*/ 7 w 72"/>
                  <a:gd name="T35" fmla="*/ 35 h 63"/>
                  <a:gd name="T36" fmla="*/ 9 w 72"/>
                  <a:gd name="T37" fmla="*/ 35 h 63"/>
                  <a:gd name="T38" fmla="*/ 12 w 72"/>
                  <a:gd name="T39" fmla="*/ 39 h 63"/>
                  <a:gd name="T40" fmla="*/ 14 w 72"/>
                  <a:gd name="T41" fmla="*/ 39 h 63"/>
                  <a:gd name="T42" fmla="*/ 28 w 72"/>
                  <a:gd name="T43" fmla="*/ 34 h 63"/>
                  <a:gd name="T44" fmla="*/ 29 w 72"/>
                  <a:gd name="T45" fmla="*/ 35 h 63"/>
                  <a:gd name="T46" fmla="*/ 35 w 72"/>
                  <a:gd name="T47" fmla="*/ 41 h 63"/>
                  <a:gd name="T48" fmla="*/ 35 w 72"/>
                  <a:gd name="T49" fmla="*/ 42 h 63"/>
                  <a:gd name="T50" fmla="*/ 32 w 72"/>
                  <a:gd name="T51" fmla="*/ 48 h 63"/>
                  <a:gd name="T52" fmla="*/ 35 w 72"/>
                  <a:gd name="T53" fmla="*/ 57 h 63"/>
                  <a:gd name="T54" fmla="*/ 42 w 72"/>
                  <a:gd name="T55" fmla="*/ 61 h 63"/>
                  <a:gd name="T56" fmla="*/ 48 w 72"/>
                  <a:gd name="T57" fmla="*/ 63 h 63"/>
                  <a:gd name="T58" fmla="*/ 54 w 72"/>
                  <a:gd name="T59" fmla="*/ 60 h 63"/>
                  <a:gd name="T60" fmla="*/ 56 w 72"/>
                  <a:gd name="T61" fmla="*/ 55 h 63"/>
                  <a:gd name="T62" fmla="*/ 55 w 72"/>
                  <a:gd name="T63" fmla="*/ 51 h 63"/>
                  <a:gd name="T64" fmla="*/ 55 w 72"/>
                  <a:gd name="T65" fmla="*/ 47 h 63"/>
                  <a:gd name="T66" fmla="*/ 61 w 72"/>
                  <a:gd name="T67" fmla="*/ 45 h 63"/>
                  <a:gd name="T68" fmla="*/ 62 w 72"/>
                  <a:gd name="T69" fmla="*/ 47 h 63"/>
                  <a:gd name="T70" fmla="*/ 67 w 72"/>
                  <a:gd name="T71" fmla="*/ 50 h 63"/>
                  <a:gd name="T72" fmla="*/ 72 w 72"/>
                  <a:gd name="T73" fmla="*/ 48 h 63"/>
                  <a:gd name="T74" fmla="*/ 72 w 72"/>
                  <a:gd name="T75" fmla="*/ 45 h 63"/>
                  <a:gd name="T76" fmla="*/ 71 w 72"/>
                  <a:gd name="T77" fmla="*/ 29 h 63"/>
                  <a:gd name="T78" fmla="*/ 70 w 72"/>
                  <a:gd name="T79" fmla="*/ 22 h 63"/>
                  <a:gd name="T80" fmla="*/ 62 w 72"/>
                  <a:gd name="T81" fmla="*/ 5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72" h="63">
                    <a:moveTo>
                      <a:pt x="59" y="0"/>
                    </a:moveTo>
                    <a:lnTo>
                      <a:pt x="59" y="0"/>
                    </a:lnTo>
                    <a:lnTo>
                      <a:pt x="58" y="0"/>
                    </a:lnTo>
                    <a:lnTo>
                      <a:pt x="56" y="2"/>
                    </a:lnTo>
                    <a:lnTo>
                      <a:pt x="55" y="8"/>
                    </a:lnTo>
                    <a:lnTo>
                      <a:pt x="52" y="15"/>
                    </a:lnTo>
                    <a:lnTo>
                      <a:pt x="52" y="15"/>
                    </a:lnTo>
                    <a:lnTo>
                      <a:pt x="48" y="16"/>
                    </a:lnTo>
                    <a:lnTo>
                      <a:pt x="45" y="16"/>
                    </a:lnTo>
                    <a:lnTo>
                      <a:pt x="43" y="18"/>
                    </a:lnTo>
                    <a:lnTo>
                      <a:pt x="43" y="18"/>
                    </a:lnTo>
                    <a:lnTo>
                      <a:pt x="36" y="25"/>
                    </a:lnTo>
                    <a:lnTo>
                      <a:pt x="33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8" y="23"/>
                    </a:lnTo>
                    <a:lnTo>
                      <a:pt x="25" y="22"/>
                    </a:lnTo>
                    <a:lnTo>
                      <a:pt x="25" y="22"/>
                    </a:lnTo>
                    <a:lnTo>
                      <a:pt x="20" y="22"/>
                    </a:lnTo>
                    <a:lnTo>
                      <a:pt x="19" y="23"/>
                    </a:lnTo>
                    <a:lnTo>
                      <a:pt x="17" y="25"/>
                    </a:lnTo>
                    <a:lnTo>
                      <a:pt x="17" y="25"/>
                    </a:lnTo>
                    <a:lnTo>
                      <a:pt x="17" y="26"/>
                    </a:lnTo>
                    <a:lnTo>
                      <a:pt x="14" y="28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4" y="31"/>
                    </a:lnTo>
                    <a:lnTo>
                      <a:pt x="1" y="32"/>
                    </a:lnTo>
                    <a:lnTo>
                      <a:pt x="1" y="35"/>
                    </a:lnTo>
                    <a:lnTo>
                      <a:pt x="1" y="35"/>
                    </a:lnTo>
                    <a:lnTo>
                      <a:pt x="0" y="41"/>
                    </a:lnTo>
                    <a:lnTo>
                      <a:pt x="0" y="42"/>
                    </a:lnTo>
                    <a:lnTo>
                      <a:pt x="1" y="42"/>
                    </a:lnTo>
                    <a:lnTo>
                      <a:pt x="1" y="42"/>
                    </a:lnTo>
                    <a:lnTo>
                      <a:pt x="6" y="37"/>
                    </a:lnTo>
                    <a:lnTo>
                      <a:pt x="7" y="35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0" y="39"/>
                    </a:lnTo>
                    <a:lnTo>
                      <a:pt x="12" y="39"/>
                    </a:lnTo>
                    <a:lnTo>
                      <a:pt x="14" y="39"/>
                    </a:lnTo>
                    <a:lnTo>
                      <a:pt x="14" y="39"/>
                    </a:lnTo>
                    <a:lnTo>
                      <a:pt x="23" y="35"/>
                    </a:lnTo>
                    <a:lnTo>
                      <a:pt x="28" y="34"/>
                    </a:lnTo>
                    <a:lnTo>
                      <a:pt x="29" y="35"/>
                    </a:lnTo>
                    <a:lnTo>
                      <a:pt x="29" y="35"/>
                    </a:lnTo>
                    <a:lnTo>
                      <a:pt x="33" y="38"/>
                    </a:lnTo>
                    <a:lnTo>
                      <a:pt x="35" y="41"/>
                    </a:lnTo>
                    <a:lnTo>
                      <a:pt x="35" y="42"/>
                    </a:lnTo>
                    <a:lnTo>
                      <a:pt x="35" y="42"/>
                    </a:lnTo>
                    <a:lnTo>
                      <a:pt x="32" y="45"/>
                    </a:lnTo>
                    <a:lnTo>
                      <a:pt x="32" y="48"/>
                    </a:lnTo>
                    <a:lnTo>
                      <a:pt x="32" y="52"/>
                    </a:lnTo>
                    <a:lnTo>
                      <a:pt x="35" y="57"/>
                    </a:lnTo>
                    <a:lnTo>
                      <a:pt x="35" y="57"/>
                    </a:lnTo>
                    <a:lnTo>
                      <a:pt x="42" y="61"/>
                    </a:lnTo>
                    <a:lnTo>
                      <a:pt x="45" y="63"/>
                    </a:lnTo>
                    <a:lnTo>
                      <a:pt x="48" y="63"/>
                    </a:lnTo>
                    <a:lnTo>
                      <a:pt x="48" y="63"/>
                    </a:lnTo>
                    <a:lnTo>
                      <a:pt x="54" y="60"/>
                    </a:lnTo>
                    <a:lnTo>
                      <a:pt x="56" y="57"/>
                    </a:lnTo>
                    <a:lnTo>
                      <a:pt x="56" y="55"/>
                    </a:lnTo>
                    <a:lnTo>
                      <a:pt x="56" y="55"/>
                    </a:lnTo>
                    <a:lnTo>
                      <a:pt x="55" y="51"/>
                    </a:lnTo>
                    <a:lnTo>
                      <a:pt x="55" y="47"/>
                    </a:lnTo>
                    <a:lnTo>
                      <a:pt x="55" y="47"/>
                    </a:lnTo>
                    <a:lnTo>
                      <a:pt x="58" y="45"/>
                    </a:lnTo>
                    <a:lnTo>
                      <a:pt x="61" y="45"/>
                    </a:lnTo>
                    <a:lnTo>
                      <a:pt x="62" y="47"/>
                    </a:lnTo>
                    <a:lnTo>
                      <a:pt x="62" y="47"/>
                    </a:lnTo>
                    <a:lnTo>
                      <a:pt x="65" y="48"/>
                    </a:lnTo>
                    <a:lnTo>
                      <a:pt x="67" y="50"/>
                    </a:lnTo>
                    <a:lnTo>
                      <a:pt x="70" y="50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5"/>
                    </a:lnTo>
                    <a:lnTo>
                      <a:pt x="72" y="41"/>
                    </a:lnTo>
                    <a:lnTo>
                      <a:pt x="71" y="29"/>
                    </a:lnTo>
                    <a:lnTo>
                      <a:pt x="71" y="29"/>
                    </a:lnTo>
                    <a:lnTo>
                      <a:pt x="70" y="22"/>
                    </a:lnTo>
                    <a:lnTo>
                      <a:pt x="67" y="12"/>
                    </a:lnTo>
                    <a:lnTo>
                      <a:pt x="62" y="5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21" name="Freeform 875"/>
              <p:cNvSpPr>
                <a:spLocks/>
              </p:cNvSpPr>
              <p:nvPr/>
            </p:nvSpPr>
            <p:spPr bwMode="auto">
              <a:xfrm>
                <a:off x="6353656" y="3172706"/>
                <a:ext cx="71227" cy="62323"/>
              </a:xfrm>
              <a:custGeom>
                <a:avLst/>
                <a:gdLst>
                  <a:gd name="T0" fmla="*/ 59 w 72"/>
                  <a:gd name="T1" fmla="*/ 0 h 63"/>
                  <a:gd name="T2" fmla="*/ 56 w 72"/>
                  <a:gd name="T3" fmla="*/ 2 h 63"/>
                  <a:gd name="T4" fmla="*/ 52 w 72"/>
                  <a:gd name="T5" fmla="*/ 15 h 63"/>
                  <a:gd name="T6" fmla="*/ 48 w 72"/>
                  <a:gd name="T7" fmla="*/ 16 h 63"/>
                  <a:gd name="T8" fmla="*/ 43 w 72"/>
                  <a:gd name="T9" fmla="*/ 18 h 63"/>
                  <a:gd name="T10" fmla="*/ 36 w 72"/>
                  <a:gd name="T11" fmla="*/ 25 h 63"/>
                  <a:gd name="T12" fmla="*/ 30 w 72"/>
                  <a:gd name="T13" fmla="*/ 28 h 63"/>
                  <a:gd name="T14" fmla="*/ 28 w 72"/>
                  <a:gd name="T15" fmla="*/ 23 h 63"/>
                  <a:gd name="T16" fmla="*/ 25 w 72"/>
                  <a:gd name="T17" fmla="*/ 22 h 63"/>
                  <a:gd name="T18" fmla="*/ 19 w 72"/>
                  <a:gd name="T19" fmla="*/ 23 h 63"/>
                  <a:gd name="T20" fmla="*/ 17 w 72"/>
                  <a:gd name="T21" fmla="*/ 25 h 63"/>
                  <a:gd name="T22" fmla="*/ 14 w 72"/>
                  <a:gd name="T23" fmla="*/ 28 h 63"/>
                  <a:gd name="T24" fmla="*/ 10 w 72"/>
                  <a:gd name="T25" fmla="*/ 28 h 63"/>
                  <a:gd name="T26" fmla="*/ 1 w 72"/>
                  <a:gd name="T27" fmla="*/ 32 h 63"/>
                  <a:gd name="T28" fmla="*/ 1 w 72"/>
                  <a:gd name="T29" fmla="*/ 35 h 63"/>
                  <a:gd name="T30" fmla="*/ 0 w 72"/>
                  <a:gd name="T31" fmla="*/ 42 h 63"/>
                  <a:gd name="T32" fmla="*/ 1 w 72"/>
                  <a:gd name="T33" fmla="*/ 42 h 63"/>
                  <a:gd name="T34" fmla="*/ 7 w 72"/>
                  <a:gd name="T35" fmla="*/ 35 h 63"/>
                  <a:gd name="T36" fmla="*/ 9 w 72"/>
                  <a:gd name="T37" fmla="*/ 35 h 63"/>
                  <a:gd name="T38" fmla="*/ 12 w 72"/>
                  <a:gd name="T39" fmla="*/ 39 h 63"/>
                  <a:gd name="T40" fmla="*/ 14 w 72"/>
                  <a:gd name="T41" fmla="*/ 39 h 63"/>
                  <a:gd name="T42" fmla="*/ 28 w 72"/>
                  <a:gd name="T43" fmla="*/ 34 h 63"/>
                  <a:gd name="T44" fmla="*/ 29 w 72"/>
                  <a:gd name="T45" fmla="*/ 35 h 63"/>
                  <a:gd name="T46" fmla="*/ 35 w 72"/>
                  <a:gd name="T47" fmla="*/ 41 h 63"/>
                  <a:gd name="T48" fmla="*/ 35 w 72"/>
                  <a:gd name="T49" fmla="*/ 42 h 63"/>
                  <a:gd name="T50" fmla="*/ 32 w 72"/>
                  <a:gd name="T51" fmla="*/ 48 h 63"/>
                  <a:gd name="T52" fmla="*/ 35 w 72"/>
                  <a:gd name="T53" fmla="*/ 57 h 63"/>
                  <a:gd name="T54" fmla="*/ 42 w 72"/>
                  <a:gd name="T55" fmla="*/ 61 h 63"/>
                  <a:gd name="T56" fmla="*/ 48 w 72"/>
                  <a:gd name="T57" fmla="*/ 63 h 63"/>
                  <a:gd name="T58" fmla="*/ 54 w 72"/>
                  <a:gd name="T59" fmla="*/ 60 h 63"/>
                  <a:gd name="T60" fmla="*/ 56 w 72"/>
                  <a:gd name="T61" fmla="*/ 55 h 63"/>
                  <a:gd name="T62" fmla="*/ 55 w 72"/>
                  <a:gd name="T63" fmla="*/ 51 h 63"/>
                  <a:gd name="T64" fmla="*/ 55 w 72"/>
                  <a:gd name="T65" fmla="*/ 47 h 63"/>
                  <a:gd name="T66" fmla="*/ 61 w 72"/>
                  <a:gd name="T67" fmla="*/ 45 h 63"/>
                  <a:gd name="T68" fmla="*/ 62 w 72"/>
                  <a:gd name="T69" fmla="*/ 47 h 63"/>
                  <a:gd name="T70" fmla="*/ 67 w 72"/>
                  <a:gd name="T71" fmla="*/ 50 h 63"/>
                  <a:gd name="T72" fmla="*/ 72 w 72"/>
                  <a:gd name="T73" fmla="*/ 48 h 63"/>
                  <a:gd name="T74" fmla="*/ 72 w 72"/>
                  <a:gd name="T75" fmla="*/ 45 h 63"/>
                  <a:gd name="T76" fmla="*/ 71 w 72"/>
                  <a:gd name="T77" fmla="*/ 29 h 63"/>
                  <a:gd name="T78" fmla="*/ 70 w 72"/>
                  <a:gd name="T79" fmla="*/ 22 h 63"/>
                  <a:gd name="T80" fmla="*/ 62 w 72"/>
                  <a:gd name="T81" fmla="*/ 5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72" h="63">
                    <a:moveTo>
                      <a:pt x="59" y="0"/>
                    </a:moveTo>
                    <a:lnTo>
                      <a:pt x="59" y="0"/>
                    </a:lnTo>
                    <a:lnTo>
                      <a:pt x="58" y="0"/>
                    </a:lnTo>
                    <a:lnTo>
                      <a:pt x="56" y="2"/>
                    </a:lnTo>
                    <a:lnTo>
                      <a:pt x="55" y="8"/>
                    </a:lnTo>
                    <a:lnTo>
                      <a:pt x="52" y="15"/>
                    </a:lnTo>
                    <a:lnTo>
                      <a:pt x="52" y="15"/>
                    </a:lnTo>
                    <a:lnTo>
                      <a:pt x="48" y="16"/>
                    </a:lnTo>
                    <a:lnTo>
                      <a:pt x="45" y="16"/>
                    </a:lnTo>
                    <a:lnTo>
                      <a:pt x="43" y="18"/>
                    </a:lnTo>
                    <a:lnTo>
                      <a:pt x="43" y="18"/>
                    </a:lnTo>
                    <a:lnTo>
                      <a:pt x="36" y="25"/>
                    </a:lnTo>
                    <a:lnTo>
                      <a:pt x="33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8" y="23"/>
                    </a:lnTo>
                    <a:lnTo>
                      <a:pt x="25" y="22"/>
                    </a:lnTo>
                    <a:lnTo>
                      <a:pt x="25" y="22"/>
                    </a:lnTo>
                    <a:lnTo>
                      <a:pt x="20" y="22"/>
                    </a:lnTo>
                    <a:lnTo>
                      <a:pt x="19" y="23"/>
                    </a:lnTo>
                    <a:lnTo>
                      <a:pt x="17" y="25"/>
                    </a:lnTo>
                    <a:lnTo>
                      <a:pt x="17" y="25"/>
                    </a:lnTo>
                    <a:lnTo>
                      <a:pt x="17" y="26"/>
                    </a:lnTo>
                    <a:lnTo>
                      <a:pt x="14" y="28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4" y="31"/>
                    </a:lnTo>
                    <a:lnTo>
                      <a:pt x="1" y="32"/>
                    </a:lnTo>
                    <a:lnTo>
                      <a:pt x="1" y="35"/>
                    </a:lnTo>
                    <a:lnTo>
                      <a:pt x="1" y="35"/>
                    </a:lnTo>
                    <a:lnTo>
                      <a:pt x="0" y="41"/>
                    </a:lnTo>
                    <a:lnTo>
                      <a:pt x="0" y="42"/>
                    </a:lnTo>
                    <a:lnTo>
                      <a:pt x="1" y="42"/>
                    </a:lnTo>
                    <a:lnTo>
                      <a:pt x="1" y="42"/>
                    </a:lnTo>
                    <a:lnTo>
                      <a:pt x="6" y="37"/>
                    </a:lnTo>
                    <a:lnTo>
                      <a:pt x="7" y="35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0" y="39"/>
                    </a:lnTo>
                    <a:lnTo>
                      <a:pt x="12" y="39"/>
                    </a:lnTo>
                    <a:lnTo>
                      <a:pt x="14" y="39"/>
                    </a:lnTo>
                    <a:lnTo>
                      <a:pt x="14" y="39"/>
                    </a:lnTo>
                    <a:lnTo>
                      <a:pt x="23" y="35"/>
                    </a:lnTo>
                    <a:lnTo>
                      <a:pt x="28" y="34"/>
                    </a:lnTo>
                    <a:lnTo>
                      <a:pt x="29" y="35"/>
                    </a:lnTo>
                    <a:lnTo>
                      <a:pt x="29" y="35"/>
                    </a:lnTo>
                    <a:lnTo>
                      <a:pt x="33" y="38"/>
                    </a:lnTo>
                    <a:lnTo>
                      <a:pt x="35" y="41"/>
                    </a:lnTo>
                    <a:lnTo>
                      <a:pt x="35" y="42"/>
                    </a:lnTo>
                    <a:lnTo>
                      <a:pt x="35" y="42"/>
                    </a:lnTo>
                    <a:lnTo>
                      <a:pt x="32" y="45"/>
                    </a:lnTo>
                    <a:lnTo>
                      <a:pt x="32" y="48"/>
                    </a:lnTo>
                    <a:lnTo>
                      <a:pt x="32" y="52"/>
                    </a:lnTo>
                    <a:lnTo>
                      <a:pt x="35" y="57"/>
                    </a:lnTo>
                    <a:lnTo>
                      <a:pt x="35" y="57"/>
                    </a:lnTo>
                    <a:lnTo>
                      <a:pt x="42" y="61"/>
                    </a:lnTo>
                    <a:lnTo>
                      <a:pt x="45" y="63"/>
                    </a:lnTo>
                    <a:lnTo>
                      <a:pt x="48" y="63"/>
                    </a:lnTo>
                    <a:lnTo>
                      <a:pt x="48" y="63"/>
                    </a:lnTo>
                    <a:lnTo>
                      <a:pt x="54" y="60"/>
                    </a:lnTo>
                    <a:lnTo>
                      <a:pt x="56" y="57"/>
                    </a:lnTo>
                    <a:lnTo>
                      <a:pt x="56" y="55"/>
                    </a:lnTo>
                    <a:lnTo>
                      <a:pt x="56" y="55"/>
                    </a:lnTo>
                    <a:lnTo>
                      <a:pt x="55" y="51"/>
                    </a:lnTo>
                    <a:lnTo>
                      <a:pt x="55" y="47"/>
                    </a:lnTo>
                    <a:lnTo>
                      <a:pt x="55" y="47"/>
                    </a:lnTo>
                    <a:lnTo>
                      <a:pt x="58" y="45"/>
                    </a:lnTo>
                    <a:lnTo>
                      <a:pt x="61" y="45"/>
                    </a:lnTo>
                    <a:lnTo>
                      <a:pt x="62" y="47"/>
                    </a:lnTo>
                    <a:lnTo>
                      <a:pt x="62" y="47"/>
                    </a:lnTo>
                    <a:lnTo>
                      <a:pt x="65" y="48"/>
                    </a:lnTo>
                    <a:lnTo>
                      <a:pt x="67" y="50"/>
                    </a:lnTo>
                    <a:lnTo>
                      <a:pt x="70" y="50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5"/>
                    </a:lnTo>
                    <a:lnTo>
                      <a:pt x="72" y="41"/>
                    </a:lnTo>
                    <a:lnTo>
                      <a:pt x="71" y="29"/>
                    </a:lnTo>
                    <a:lnTo>
                      <a:pt x="71" y="29"/>
                    </a:lnTo>
                    <a:lnTo>
                      <a:pt x="70" y="22"/>
                    </a:lnTo>
                    <a:lnTo>
                      <a:pt x="67" y="12"/>
                    </a:lnTo>
                    <a:lnTo>
                      <a:pt x="62" y="5"/>
                    </a:lnTo>
                    <a:lnTo>
                      <a:pt x="59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22" name="Freeform 876"/>
              <p:cNvSpPr>
                <a:spLocks/>
              </p:cNvSpPr>
              <p:nvPr/>
            </p:nvSpPr>
            <p:spPr bwMode="auto">
              <a:xfrm>
                <a:off x="6352667" y="3140061"/>
                <a:ext cx="20774" cy="22753"/>
              </a:xfrm>
              <a:custGeom>
                <a:avLst/>
                <a:gdLst>
                  <a:gd name="T0" fmla="*/ 20 w 21"/>
                  <a:gd name="T1" fmla="*/ 12 h 23"/>
                  <a:gd name="T2" fmla="*/ 20 w 21"/>
                  <a:gd name="T3" fmla="*/ 12 h 23"/>
                  <a:gd name="T4" fmla="*/ 15 w 21"/>
                  <a:gd name="T5" fmla="*/ 14 h 23"/>
                  <a:gd name="T6" fmla="*/ 10 w 21"/>
                  <a:gd name="T7" fmla="*/ 19 h 23"/>
                  <a:gd name="T8" fmla="*/ 10 w 21"/>
                  <a:gd name="T9" fmla="*/ 19 h 23"/>
                  <a:gd name="T10" fmla="*/ 2 w 21"/>
                  <a:gd name="T11" fmla="*/ 23 h 23"/>
                  <a:gd name="T12" fmla="*/ 1 w 21"/>
                  <a:gd name="T13" fmla="*/ 23 h 23"/>
                  <a:gd name="T14" fmla="*/ 0 w 21"/>
                  <a:gd name="T15" fmla="*/ 22 h 23"/>
                  <a:gd name="T16" fmla="*/ 0 w 21"/>
                  <a:gd name="T17" fmla="*/ 22 h 23"/>
                  <a:gd name="T18" fmla="*/ 1 w 21"/>
                  <a:gd name="T19" fmla="*/ 17 h 23"/>
                  <a:gd name="T20" fmla="*/ 4 w 21"/>
                  <a:gd name="T21" fmla="*/ 16 h 23"/>
                  <a:gd name="T22" fmla="*/ 5 w 21"/>
                  <a:gd name="T23" fmla="*/ 14 h 23"/>
                  <a:gd name="T24" fmla="*/ 5 w 21"/>
                  <a:gd name="T25" fmla="*/ 12 h 23"/>
                  <a:gd name="T26" fmla="*/ 5 w 21"/>
                  <a:gd name="T27" fmla="*/ 12 h 23"/>
                  <a:gd name="T28" fmla="*/ 1 w 21"/>
                  <a:gd name="T29" fmla="*/ 4 h 23"/>
                  <a:gd name="T30" fmla="*/ 1 w 21"/>
                  <a:gd name="T31" fmla="*/ 1 h 23"/>
                  <a:gd name="T32" fmla="*/ 2 w 21"/>
                  <a:gd name="T33" fmla="*/ 0 h 23"/>
                  <a:gd name="T34" fmla="*/ 2 w 21"/>
                  <a:gd name="T35" fmla="*/ 0 h 23"/>
                  <a:gd name="T36" fmla="*/ 7 w 21"/>
                  <a:gd name="T37" fmla="*/ 0 h 23"/>
                  <a:gd name="T38" fmla="*/ 8 w 21"/>
                  <a:gd name="T39" fmla="*/ 1 h 23"/>
                  <a:gd name="T40" fmla="*/ 11 w 21"/>
                  <a:gd name="T41" fmla="*/ 3 h 23"/>
                  <a:gd name="T42" fmla="*/ 14 w 21"/>
                  <a:gd name="T43" fmla="*/ 3 h 23"/>
                  <a:gd name="T44" fmla="*/ 14 w 21"/>
                  <a:gd name="T45" fmla="*/ 3 h 23"/>
                  <a:gd name="T46" fmla="*/ 18 w 21"/>
                  <a:gd name="T47" fmla="*/ 4 h 23"/>
                  <a:gd name="T48" fmla="*/ 20 w 21"/>
                  <a:gd name="T49" fmla="*/ 7 h 23"/>
                  <a:gd name="T50" fmla="*/ 21 w 21"/>
                  <a:gd name="T51" fmla="*/ 9 h 23"/>
                  <a:gd name="T52" fmla="*/ 20 w 21"/>
                  <a:gd name="T53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1" h="23">
                    <a:moveTo>
                      <a:pt x="20" y="12"/>
                    </a:moveTo>
                    <a:lnTo>
                      <a:pt x="20" y="12"/>
                    </a:lnTo>
                    <a:lnTo>
                      <a:pt x="15" y="14"/>
                    </a:lnTo>
                    <a:lnTo>
                      <a:pt x="10" y="19"/>
                    </a:lnTo>
                    <a:lnTo>
                      <a:pt x="10" y="19"/>
                    </a:lnTo>
                    <a:lnTo>
                      <a:pt x="2" y="23"/>
                    </a:lnTo>
                    <a:lnTo>
                      <a:pt x="1" y="23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1" y="17"/>
                    </a:lnTo>
                    <a:lnTo>
                      <a:pt x="4" y="16"/>
                    </a:lnTo>
                    <a:lnTo>
                      <a:pt x="5" y="14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" y="4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7" y="0"/>
                    </a:lnTo>
                    <a:lnTo>
                      <a:pt x="8" y="1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4" y="3"/>
                    </a:lnTo>
                    <a:lnTo>
                      <a:pt x="18" y="4"/>
                    </a:lnTo>
                    <a:lnTo>
                      <a:pt x="20" y="7"/>
                    </a:lnTo>
                    <a:lnTo>
                      <a:pt x="21" y="9"/>
                    </a:lnTo>
                    <a:lnTo>
                      <a:pt x="20" y="1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23" name="Freeform 877"/>
              <p:cNvSpPr>
                <a:spLocks/>
              </p:cNvSpPr>
              <p:nvPr/>
            </p:nvSpPr>
            <p:spPr bwMode="auto">
              <a:xfrm>
                <a:off x="6352667" y="3140061"/>
                <a:ext cx="20774" cy="22753"/>
              </a:xfrm>
              <a:custGeom>
                <a:avLst/>
                <a:gdLst>
                  <a:gd name="T0" fmla="*/ 20 w 21"/>
                  <a:gd name="T1" fmla="*/ 12 h 23"/>
                  <a:gd name="T2" fmla="*/ 20 w 21"/>
                  <a:gd name="T3" fmla="*/ 12 h 23"/>
                  <a:gd name="T4" fmla="*/ 15 w 21"/>
                  <a:gd name="T5" fmla="*/ 14 h 23"/>
                  <a:gd name="T6" fmla="*/ 10 w 21"/>
                  <a:gd name="T7" fmla="*/ 19 h 23"/>
                  <a:gd name="T8" fmla="*/ 10 w 21"/>
                  <a:gd name="T9" fmla="*/ 19 h 23"/>
                  <a:gd name="T10" fmla="*/ 2 w 21"/>
                  <a:gd name="T11" fmla="*/ 23 h 23"/>
                  <a:gd name="T12" fmla="*/ 1 w 21"/>
                  <a:gd name="T13" fmla="*/ 23 h 23"/>
                  <a:gd name="T14" fmla="*/ 0 w 21"/>
                  <a:gd name="T15" fmla="*/ 22 h 23"/>
                  <a:gd name="T16" fmla="*/ 0 w 21"/>
                  <a:gd name="T17" fmla="*/ 22 h 23"/>
                  <a:gd name="T18" fmla="*/ 1 w 21"/>
                  <a:gd name="T19" fmla="*/ 17 h 23"/>
                  <a:gd name="T20" fmla="*/ 4 w 21"/>
                  <a:gd name="T21" fmla="*/ 16 h 23"/>
                  <a:gd name="T22" fmla="*/ 5 w 21"/>
                  <a:gd name="T23" fmla="*/ 14 h 23"/>
                  <a:gd name="T24" fmla="*/ 5 w 21"/>
                  <a:gd name="T25" fmla="*/ 12 h 23"/>
                  <a:gd name="T26" fmla="*/ 5 w 21"/>
                  <a:gd name="T27" fmla="*/ 12 h 23"/>
                  <a:gd name="T28" fmla="*/ 1 w 21"/>
                  <a:gd name="T29" fmla="*/ 4 h 23"/>
                  <a:gd name="T30" fmla="*/ 1 w 21"/>
                  <a:gd name="T31" fmla="*/ 1 h 23"/>
                  <a:gd name="T32" fmla="*/ 2 w 21"/>
                  <a:gd name="T33" fmla="*/ 0 h 23"/>
                  <a:gd name="T34" fmla="*/ 2 w 21"/>
                  <a:gd name="T35" fmla="*/ 0 h 23"/>
                  <a:gd name="T36" fmla="*/ 7 w 21"/>
                  <a:gd name="T37" fmla="*/ 0 h 23"/>
                  <a:gd name="T38" fmla="*/ 8 w 21"/>
                  <a:gd name="T39" fmla="*/ 1 h 23"/>
                  <a:gd name="T40" fmla="*/ 11 w 21"/>
                  <a:gd name="T41" fmla="*/ 3 h 23"/>
                  <a:gd name="T42" fmla="*/ 14 w 21"/>
                  <a:gd name="T43" fmla="*/ 3 h 23"/>
                  <a:gd name="T44" fmla="*/ 14 w 21"/>
                  <a:gd name="T45" fmla="*/ 3 h 23"/>
                  <a:gd name="T46" fmla="*/ 18 w 21"/>
                  <a:gd name="T47" fmla="*/ 4 h 23"/>
                  <a:gd name="T48" fmla="*/ 20 w 21"/>
                  <a:gd name="T49" fmla="*/ 7 h 23"/>
                  <a:gd name="T50" fmla="*/ 21 w 21"/>
                  <a:gd name="T51" fmla="*/ 9 h 23"/>
                  <a:gd name="T52" fmla="*/ 20 w 21"/>
                  <a:gd name="T53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1" h="23">
                    <a:moveTo>
                      <a:pt x="20" y="12"/>
                    </a:moveTo>
                    <a:lnTo>
                      <a:pt x="20" y="12"/>
                    </a:lnTo>
                    <a:lnTo>
                      <a:pt x="15" y="14"/>
                    </a:lnTo>
                    <a:lnTo>
                      <a:pt x="10" y="19"/>
                    </a:lnTo>
                    <a:lnTo>
                      <a:pt x="10" y="19"/>
                    </a:lnTo>
                    <a:lnTo>
                      <a:pt x="2" y="23"/>
                    </a:lnTo>
                    <a:lnTo>
                      <a:pt x="1" y="23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1" y="17"/>
                    </a:lnTo>
                    <a:lnTo>
                      <a:pt x="4" y="16"/>
                    </a:lnTo>
                    <a:lnTo>
                      <a:pt x="5" y="14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" y="4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7" y="0"/>
                    </a:lnTo>
                    <a:lnTo>
                      <a:pt x="8" y="1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4" y="3"/>
                    </a:lnTo>
                    <a:lnTo>
                      <a:pt x="18" y="4"/>
                    </a:lnTo>
                    <a:lnTo>
                      <a:pt x="20" y="7"/>
                    </a:lnTo>
                    <a:lnTo>
                      <a:pt x="21" y="9"/>
                    </a:lnTo>
                    <a:lnTo>
                      <a:pt x="20" y="1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24" name="Freeform 878"/>
              <p:cNvSpPr>
                <a:spLocks/>
              </p:cNvSpPr>
              <p:nvPr/>
            </p:nvSpPr>
            <p:spPr bwMode="auto">
              <a:xfrm>
                <a:off x="6360581" y="3156878"/>
                <a:ext cx="18796" cy="31656"/>
              </a:xfrm>
              <a:custGeom>
                <a:avLst/>
                <a:gdLst>
                  <a:gd name="T0" fmla="*/ 18 w 19"/>
                  <a:gd name="T1" fmla="*/ 0 h 32"/>
                  <a:gd name="T2" fmla="*/ 18 w 19"/>
                  <a:gd name="T3" fmla="*/ 0 h 32"/>
                  <a:gd name="T4" fmla="*/ 15 w 19"/>
                  <a:gd name="T5" fmla="*/ 0 h 32"/>
                  <a:gd name="T6" fmla="*/ 12 w 19"/>
                  <a:gd name="T7" fmla="*/ 2 h 32"/>
                  <a:gd name="T8" fmla="*/ 9 w 19"/>
                  <a:gd name="T9" fmla="*/ 5 h 32"/>
                  <a:gd name="T10" fmla="*/ 6 w 19"/>
                  <a:gd name="T11" fmla="*/ 9 h 32"/>
                  <a:gd name="T12" fmla="*/ 6 w 19"/>
                  <a:gd name="T13" fmla="*/ 9 h 32"/>
                  <a:gd name="T14" fmla="*/ 5 w 19"/>
                  <a:gd name="T15" fmla="*/ 12 h 32"/>
                  <a:gd name="T16" fmla="*/ 2 w 19"/>
                  <a:gd name="T17" fmla="*/ 15 h 32"/>
                  <a:gd name="T18" fmla="*/ 0 w 19"/>
                  <a:gd name="T19" fmla="*/ 16 h 32"/>
                  <a:gd name="T20" fmla="*/ 0 w 19"/>
                  <a:gd name="T21" fmla="*/ 21 h 32"/>
                  <a:gd name="T22" fmla="*/ 0 w 19"/>
                  <a:gd name="T23" fmla="*/ 21 h 32"/>
                  <a:gd name="T24" fmla="*/ 6 w 19"/>
                  <a:gd name="T25" fmla="*/ 29 h 32"/>
                  <a:gd name="T26" fmla="*/ 9 w 19"/>
                  <a:gd name="T27" fmla="*/ 32 h 32"/>
                  <a:gd name="T28" fmla="*/ 10 w 19"/>
                  <a:gd name="T29" fmla="*/ 32 h 32"/>
                  <a:gd name="T30" fmla="*/ 10 w 19"/>
                  <a:gd name="T31" fmla="*/ 31 h 32"/>
                  <a:gd name="T32" fmla="*/ 10 w 19"/>
                  <a:gd name="T33" fmla="*/ 31 h 32"/>
                  <a:gd name="T34" fmla="*/ 12 w 19"/>
                  <a:gd name="T35" fmla="*/ 22 h 32"/>
                  <a:gd name="T36" fmla="*/ 13 w 19"/>
                  <a:gd name="T37" fmla="*/ 15 h 32"/>
                  <a:gd name="T38" fmla="*/ 13 w 19"/>
                  <a:gd name="T39" fmla="*/ 15 h 32"/>
                  <a:gd name="T40" fmla="*/ 15 w 19"/>
                  <a:gd name="T41" fmla="*/ 11 h 32"/>
                  <a:gd name="T42" fmla="*/ 18 w 19"/>
                  <a:gd name="T43" fmla="*/ 5 h 32"/>
                  <a:gd name="T44" fmla="*/ 19 w 19"/>
                  <a:gd name="T45" fmla="*/ 2 h 32"/>
                  <a:gd name="T46" fmla="*/ 19 w 19"/>
                  <a:gd name="T47" fmla="*/ 0 h 32"/>
                  <a:gd name="T48" fmla="*/ 18 w 19"/>
                  <a:gd name="T4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" h="32">
                    <a:moveTo>
                      <a:pt x="18" y="0"/>
                    </a:moveTo>
                    <a:lnTo>
                      <a:pt x="18" y="0"/>
                    </a:lnTo>
                    <a:lnTo>
                      <a:pt x="15" y="0"/>
                    </a:lnTo>
                    <a:lnTo>
                      <a:pt x="12" y="2"/>
                    </a:lnTo>
                    <a:lnTo>
                      <a:pt x="9" y="5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5" y="12"/>
                    </a:lnTo>
                    <a:lnTo>
                      <a:pt x="2" y="15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6" y="29"/>
                    </a:lnTo>
                    <a:lnTo>
                      <a:pt x="9" y="32"/>
                    </a:lnTo>
                    <a:lnTo>
                      <a:pt x="10" y="32"/>
                    </a:lnTo>
                    <a:lnTo>
                      <a:pt x="10" y="31"/>
                    </a:lnTo>
                    <a:lnTo>
                      <a:pt x="10" y="31"/>
                    </a:lnTo>
                    <a:lnTo>
                      <a:pt x="12" y="22"/>
                    </a:lnTo>
                    <a:lnTo>
                      <a:pt x="13" y="15"/>
                    </a:lnTo>
                    <a:lnTo>
                      <a:pt x="13" y="15"/>
                    </a:lnTo>
                    <a:lnTo>
                      <a:pt x="15" y="11"/>
                    </a:lnTo>
                    <a:lnTo>
                      <a:pt x="18" y="5"/>
                    </a:lnTo>
                    <a:lnTo>
                      <a:pt x="19" y="2"/>
                    </a:lnTo>
                    <a:lnTo>
                      <a:pt x="19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25" name="Freeform 879"/>
              <p:cNvSpPr>
                <a:spLocks/>
              </p:cNvSpPr>
              <p:nvPr/>
            </p:nvSpPr>
            <p:spPr bwMode="auto">
              <a:xfrm>
                <a:off x="6360581" y="3156878"/>
                <a:ext cx="18796" cy="31656"/>
              </a:xfrm>
              <a:custGeom>
                <a:avLst/>
                <a:gdLst>
                  <a:gd name="T0" fmla="*/ 18 w 19"/>
                  <a:gd name="T1" fmla="*/ 0 h 32"/>
                  <a:gd name="T2" fmla="*/ 18 w 19"/>
                  <a:gd name="T3" fmla="*/ 0 h 32"/>
                  <a:gd name="T4" fmla="*/ 15 w 19"/>
                  <a:gd name="T5" fmla="*/ 0 h 32"/>
                  <a:gd name="T6" fmla="*/ 12 w 19"/>
                  <a:gd name="T7" fmla="*/ 2 h 32"/>
                  <a:gd name="T8" fmla="*/ 9 w 19"/>
                  <a:gd name="T9" fmla="*/ 5 h 32"/>
                  <a:gd name="T10" fmla="*/ 6 w 19"/>
                  <a:gd name="T11" fmla="*/ 9 h 32"/>
                  <a:gd name="T12" fmla="*/ 6 w 19"/>
                  <a:gd name="T13" fmla="*/ 9 h 32"/>
                  <a:gd name="T14" fmla="*/ 5 w 19"/>
                  <a:gd name="T15" fmla="*/ 12 h 32"/>
                  <a:gd name="T16" fmla="*/ 2 w 19"/>
                  <a:gd name="T17" fmla="*/ 15 h 32"/>
                  <a:gd name="T18" fmla="*/ 0 w 19"/>
                  <a:gd name="T19" fmla="*/ 16 h 32"/>
                  <a:gd name="T20" fmla="*/ 0 w 19"/>
                  <a:gd name="T21" fmla="*/ 21 h 32"/>
                  <a:gd name="T22" fmla="*/ 0 w 19"/>
                  <a:gd name="T23" fmla="*/ 21 h 32"/>
                  <a:gd name="T24" fmla="*/ 6 w 19"/>
                  <a:gd name="T25" fmla="*/ 29 h 32"/>
                  <a:gd name="T26" fmla="*/ 9 w 19"/>
                  <a:gd name="T27" fmla="*/ 32 h 32"/>
                  <a:gd name="T28" fmla="*/ 10 w 19"/>
                  <a:gd name="T29" fmla="*/ 32 h 32"/>
                  <a:gd name="T30" fmla="*/ 10 w 19"/>
                  <a:gd name="T31" fmla="*/ 31 h 32"/>
                  <a:gd name="T32" fmla="*/ 10 w 19"/>
                  <a:gd name="T33" fmla="*/ 31 h 32"/>
                  <a:gd name="T34" fmla="*/ 12 w 19"/>
                  <a:gd name="T35" fmla="*/ 22 h 32"/>
                  <a:gd name="T36" fmla="*/ 13 w 19"/>
                  <a:gd name="T37" fmla="*/ 15 h 32"/>
                  <a:gd name="T38" fmla="*/ 13 w 19"/>
                  <a:gd name="T39" fmla="*/ 15 h 32"/>
                  <a:gd name="T40" fmla="*/ 15 w 19"/>
                  <a:gd name="T41" fmla="*/ 11 h 32"/>
                  <a:gd name="T42" fmla="*/ 18 w 19"/>
                  <a:gd name="T43" fmla="*/ 5 h 32"/>
                  <a:gd name="T44" fmla="*/ 19 w 19"/>
                  <a:gd name="T45" fmla="*/ 2 h 32"/>
                  <a:gd name="T46" fmla="*/ 19 w 19"/>
                  <a:gd name="T47" fmla="*/ 0 h 32"/>
                  <a:gd name="T48" fmla="*/ 18 w 19"/>
                  <a:gd name="T4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" h="32">
                    <a:moveTo>
                      <a:pt x="18" y="0"/>
                    </a:moveTo>
                    <a:lnTo>
                      <a:pt x="18" y="0"/>
                    </a:lnTo>
                    <a:lnTo>
                      <a:pt x="15" y="0"/>
                    </a:lnTo>
                    <a:lnTo>
                      <a:pt x="12" y="2"/>
                    </a:lnTo>
                    <a:lnTo>
                      <a:pt x="9" y="5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5" y="12"/>
                    </a:lnTo>
                    <a:lnTo>
                      <a:pt x="2" y="15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6" y="29"/>
                    </a:lnTo>
                    <a:lnTo>
                      <a:pt x="9" y="32"/>
                    </a:lnTo>
                    <a:lnTo>
                      <a:pt x="10" y="32"/>
                    </a:lnTo>
                    <a:lnTo>
                      <a:pt x="10" y="31"/>
                    </a:lnTo>
                    <a:lnTo>
                      <a:pt x="10" y="31"/>
                    </a:lnTo>
                    <a:lnTo>
                      <a:pt x="12" y="22"/>
                    </a:lnTo>
                    <a:lnTo>
                      <a:pt x="13" y="15"/>
                    </a:lnTo>
                    <a:lnTo>
                      <a:pt x="13" y="15"/>
                    </a:lnTo>
                    <a:lnTo>
                      <a:pt x="15" y="11"/>
                    </a:lnTo>
                    <a:lnTo>
                      <a:pt x="18" y="5"/>
                    </a:lnTo>
                    <a:lnTo>
                      <a:pt x="19" y="2"/>
                    </a:lnTo>
                    <a:lnTo>
                      <a:pt x="19" y="0"/>
                    </a:lnTo>
                    <a:lnTo>
                      <a:pt x="18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26" name="Freeform 880"/>
              <p:cNvSpPr>
                <a:spLocks/>
              </p:cNvSpPr>
              <p:nvPr/>
            </p:nvSpPr>
            <p:spPr bwMode="auto">
              <a:xfrm>
                <a:off x="6379377" y="3168749"/>
                <a:ext cx="14839" cy="8903"/>
              </a:xfrm>
              <a:custGeom>
                <a:avLst/>
                <a:gdLst>
                  <a:gd name="T0" fmla="*/ 10 w 15"/>
                  <a:gd name="T1" fmla="*/ 0 h 9"/>
                  <a:gd name="T2" fmla="*/ 10 w 15"/>
                  <a:gd name="T3" fmla="*/ 0 h 9"/>
                  <a:gd name="T4" fmla="*/ 9 w 15"/>
                  <a:gd name="T5" fmla="*/ 0 h 9"/>
                  <a:gd name="T6" fmla="*/ 6 w 15"/>
                  <a:gd name="T7" fmla="*/ 0 h 9"/>
                  <a:gd name="T8" fmla="*/ 3 w 15"/>
                  <a:gd name="T9" fmla="*/ 3 h 9"/>
                  <a:gd name="T10" fmla="*/ 0 w 15"/>
                  <a:gd name="T11" fmla="*/ 7 h 9"/>
                  <a:gd name="T12" fmla="*/ 0 w 15"/>
                  <a:gd name="T13" fmla="*/ 7 h 9"/>
                  <a:gd name="T14" fmla="*/ 0 w 15"/>
                  <a:gd name="T15" fmla="*/ 9 h 9"/>
                  <a:gd name="T16" fmla="*/ 0 w 15"/>
                  <a:gd name="T17" fmla="*/ 9 h 9"/>
                  <a:gd name="T18" fmla="*/ 6 w 15"/>
                  <a:gd name="T19" fmla="*/ 9 h 9"/>
                  <a:gd name="T20" fmla="*/ 12 w 15"/>
                  <a:gd name="T21" fmla="*/ 7 h 9"/>
                  <a:gd name="T22" fmla="*/ 15 w 15"/>
                  <a:gd name="T23" fmla="*/ 6 h 9"/>
                  <a:gd name="T24" fmla="*/ 15 w 15"/>
                  <a:gd name="T25" fmla="*/ 4 h 9"/>
                  <a:gd name="T26" fmla="*/ 15 w 15"/>
                  <a:gd name="T27" fmla="*/ 1 h 9"/>
                  <a:gd name="T28" fmla="*/ 10 w 15"/>
                  <a:gd name="T2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9">
                    <a:moveTo>
                      <a:pt x="10" y="0"/>
                    </a:moveTo>
                    <a:lnTo>
                      <a:pt x="10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6" y="9"/>
                    </a:lnTo>
                    <a:lnTo>
                      <a:pt x="12" y="7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5" y="1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27" name="Freeform 881"/>
              <p:cNvSpPr>
                <a:spLocks/>
              </p:cNvSpPr>
              <p:nvPr/>
            </p:nvSpPr>
            <p:spPr bwMode="auto">
              <a:xfrm>
                <a:off x="6379377" y="3168749"/>
                <a:ext cx="14839" cy="8903"/>
              </a:xfrm>
              <a:custGeom>
                <a:avLst/>
                <a:gdLst>
                  <a:gd name="T0" fmla="*/ 10 w 15"/>
                  <a:gd name="T1" fmla="*/ 0 h 9"/>
                  <a:gd name="T2" fmla="*/ 10 w 15"/>
                  <a:gd name="T3" fmla="*/ 0 h 9"/>
                  <a:gd name="T4" fmla="*/ 9 w 15"/>
                  <a:gd name="T5" fmla="*/ 0 h 9"/>
                  <a:gd name="T6" fmla="*/ 6 w 15"/>
                  <a:gd name="T7" fmla="*/ 0 h 9"/>
                  <a:gd name="T8" fmla="*/ 3 w 15"/>
                  <a:gd name="T9" fmla="*/ 3 h 9"/>
                  <a:gd name="T10" fmla="*/ 0 w 15"/>
                  <a:gd name="T11" fmla="*/ 7 h 9"/>
                  <a:gd name="T12" fmla="*/ 0 w 15"/>
                  <a:gd name="T13" fmla="*/ 7 h 9"/>
                  <a:gd name="T14" fmla="*/ 0 w 15"/>
                  <a:gd name="T15" fmla="*/ 9 h 9"/>
                  <a:gd name="T16" fmla="*/ 0 w 15"/>
                  <a:gd name="T17" fmla="*/ 9 h 9"/>
                  <a:gd name="T18" fmla="*/ 6 w 15"/>
                  <a:gd name="T19" fmla="*/ 9 h 9"/>
                  <a:gd name="T20" fmla="*/ 12 w 15"/>
                  <a:gd name="T21" fmla="*/ 7 h 9"/>
                  <a:gd name="T22" fmla="*/ 15 w 15"/>
                  <a:gd name="T23" fmla="*/ 6 h 9"/>
                  <a:gd name="T24" fmla="*/ 15 w 15"/>
                  <a:gd name="T25" fmla="*/ 4 h 9"/>
                  <a:gd name="T26" fmla="*/ 15 w 15"/>
                  <a:gd name="T27" fmla="*/ 1 h 9"/>
                  <a:gd name="T28" fmla="*/ 10 w 15"/>
                  <a:gd name="T2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9">
                    <a:moveTo>
                      <a:pt x="10" y="0"/>
                    </a:moveTo>
                    <a:lnTo>
                      <a:pt x="10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6" y="9"/>
                    </a:lnTo>
                    <a:lnTo>
                      <a:pt x="12" y="7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5" y="1"/>
                    </a:lnTo>
                    <a:lnTo>
                      <a:pt x="1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28" name="Freeform 882"/>
              <p:cNvSpPr>
                <a:spLocks/>
              </p:cNvSpPr>
              <p:nvPr/>
            </p:nvSpPr>
            <p:spPr bwMode="auto">
              <a:xfrm>
                <a:off x="6325957" y="3114340"/>
                <a:ext cx="18796" cy="18796"/>
              </a:xfrm>
              <a:custGeom>
                <a:avLst/>
                <a:gdLst>
                  <a:gd name="T0" fmla="*/ 12 w 19"/>
                  <a:gd name="T1" fmla="*/ 19 h 19"/>
                  <a:gd name="T2" fmla="*/ 12 w 19"/>
                  <a:gd name="T3" fmla="*/ 19 h 19"/>
                  <a:gd name="T4" fmla="*/ 11 w 19"/>
                  <a:gd name="T5" fmla="*/ 19 h 19"/>
                  <a:gd name="T6" fmla="*/ 9 w 19"/>
                  <a:gd name="T7" fmla="*/ 17 h 19"/>
                  <a:gd name="T8" fmla="*/ 8 w 19"/>
                  <a:gd name="T9" fmla="*/ 13 h 19"/>
                  <a:gd name="T10" fmla="*/ 6 w 19"/>
                  <a:gd name="T11" fmla="*/ 10 h 19"/>
                  <a:gd name="T12" fmla="*/ 6 w 19"/>
                  <a:gd name="T13" fmla="*/ 9 h 19"/>
                  <a:gd name="T14" fmla="*/ 5 w 19"/>
                  <a:gd name="T15" fmla="*/ 7 h 19"/>
                  <a:gd name="T16" fmla="*/ 5 w 19"/>
                  <a:gd name="T17" fmla="*/ 7 h 19"/>
                  <a:gd name="T18" fmla="*/ 2 w 19"/>
                  <a:gd name="T19" fmla="*/ 7 h 19"/>
                  <a:gd name="T20" fmla="*/ 2 w 19"/>
                  <a:gd name="T21" fmla="*/ 4 h 19"/>
                  <a:gd name="T22" fmla="*/ 2 w 19"/>
                  <a:gd name="T23" fmla="*/ 3 h 19"/>
                  <a:gd name="T24" fmla="*/ 0 w 19"/>
                  <a:gd name="T25" fmla="*/ 0 h 19"/>
                  <a:gd name="T26" fmla="*/ 0 w 19"/>
                  <a:gd name="T27" fmla="*/ 0 h 19"/>
                  <a:gd name="T28" fmla="*/ 0 w 19"/>
                  <a:gd name="T29" fmla="*/ 0 h 19"/>
                  <a:gd name="T30" fmla="*/ 2 w 19"/>
                  <a:gd name="T31" fmla="*/ 0 h 19"/>
                  <a:gd name="T32" fmla="*/ 6 w 19"/>
                  <a:gd name="T33" fmla="*/ 0 h 19"/>
                  <a:gd name="T34" fmla="*/ 15 w 19"/>
                  <a:gd name="T35" fmla="*/ 1 h 19"/>
                  <a:gd name="T36" fmla="*/ 15 w 19"/>
                  <a:gd name="T37" fmla="*/ 1 h 19"/>
                  <a:gd name="T38" fmla="*/ 18 w 19"/>
                  <a:gd name="T39" fmla="*/ 3 h 19"/>
                  <a:gd name="T40" fmla="*/ 19 w 19"/>
                  <a:gd name="T41" fmla="*/ 6 h 19"/>
                  <a:gd name="T42" fmla="*/ 19 w 19"/>
                  <a:gd name="T43" fmla="*/ 10 h 19"/>
                  <a:gd name="T44" fmla="*/ 19 w 19"/>
                  <a:gd name="T45" fmla="*/ 10 h 19"/>
                  <a:gd name="T46" fmla="*/ 18 w 19"/>
                  <a:gd name="T47" fmla="*/ 16 h 19"/>
                  <a:gd name="T48" fmla="*/ 16 w 19"/>
                  <a:gd name="T49" fmla="*/ 17 h 19"/>
                  <a:gd name="T50" fmla="*/ 12 w 19"/>
                  <a:gd name="T5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9" h="19">
                    <a:moveTo>
                      <a:pt x="12" y="19"/>
                    </a:moveTo>
                    <a:lnTo>
                      <a:pt x="12" y="19"/>
                    </a:lnTo>
                    <a:lnTo>
                      <a:pt x="11" y="19"/>
                    </a:lnTo>
                    <a:lnTo>
                      <a:pt x="9" y="17"/>
                    </a:lnTo>
                    <a:lnTo>
                      <a:pt x="8" y="13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2" y="7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8" y="3"/>
                    </a:lnTo>
                    <a:lnTo>
                      <a:pt x="19" y="6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8" y="16"/>
                    </a:lnTo>
                    <a:lnTo>
                      <a:pt x="16" y="17"/>
                    </a:lnTo>
                    <a:lnTo>
                      <a:pt x="12" y="1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29" name="Freeform 883"/>
              <p:cNvSpPr>
                <a:spLocks/>
              </p:cNvSpPr>
              <p:nvPr/>
            </p:nvSpPr>
            <p:spPr bwMode="auto">
              <a:xfrm>
                <a:off x="6325957" y="3114340"/>
                <a:ext cx="18796" cy="18796"/>
              </a:xfrm>
              <a:custGeom>
                <a:avLst/>
                <a:gdLst>
                  <a:gd name="T0" fmla="*/ 12 w 19"/>
                  <a:gd name="T1" fmla="*/ 19 h 19"/>
                  <a:gd name="T2" fmla="*/ 12 w 19"/>
                  <a:gd name="T3" fmla="*/ 19 h 19"/>
                  <a:gd name="T4" fmla="*/ 11 w 19"/>
                  <a:gd name="T5" fmla="*/ 19 h 19"/>
                  <a:gd name="T6" fmla="*/ 9 w 19"/>
                  <a:gd name="T7" fmla="*/ 17 h 19"/>
                  <a:gd name="T8" fmla="*/ 8 w 19"/>
                  <a:gd name="T9" fmla="*/ 13 h 19"/>
                  <a:gd name="T10" fmla="*/ 6 w 19"/>
                  <a:gd name="T11" fmla="*/ 10 h 19"/>
                  <a:gd name="T12" fmla="*/ 6 w 19"/>
                  <a:gd name="T13" fmla="*/ 9 h 19"/>
                  <a:gd name="T14" fmla="*/ 5 w 19"/>
                  <a:gd name="T15" fmla="*/ 7 h 19"/>
                  <a:gd name="T16" fmla="*/ 5 w 19"/>
                  <a:gd name="T17" fmla="*/ 7 h 19"/>
                  <a:gd name="T18" fmla="*/ 2 w 19"/>
                  <a:gd name="T19" fmla="*/ 7 h 19"/>
                  <a:gd name="T20" fmla="*/ 2 w 19"/>
                  <a:gd name="T21" fmla="*/ 4 h 19"/>
                  <a:gd name="T22" fmla="*/ 2 w 19"/>
                  <a:gd name="T23" fmla="*/ 3 h 19"/>
                  <a:gd name="T24" fmla="*/ 0 w 19"/>
                  <a:gd name="T25" fmla="*/ 0 h 19"/>
                  <a:gd name="T26" fmla="*/ 0 w 19"/>
                  <a:gd name="T27" fmla="*/ 0 h 19"/>
                  <a:gd name="T28" fmla="*/ 0 w 19"/>
                  <a:gd name="T29" fmla="*/ 0 h 19"/>
                  <a:gd name="T30" fmla="*/ 2 w 19"/>
                  <a:gd name="T31" fmla="*/ 0 h 19"/>
                  <a:gd name="T32" fmla="*/ 6 w 19"/>
                  <a:gd name="T33" fmla="*/ 0 h 19"/>
                  <a:gd name="T34" fmla="*/ 15 w 19"/>
                  <a:gd name="T35" fmla="*/ 1 h 19"/>
                  <a:gd name="T36" fmla="*/ 15 w 19"/>
                  <a:gd name="T37" fmla="*/ 1 h 19"/>
                  <a:gd name="T38" fmla="*/ 18 w 19"/>
                  <a:gd name="T39" fmla="*/ 3 h 19"/>
                  <a:gd name="T40" fmla="*/ 19 w 19"/>
                  <a:gd name="T41" fmla="*/ 6 h 19"/>
                  <a:gd name="T42" fmla="*/ 19 w 19"/>
                  <a:gd name="T43" fmla="*/ 10 h 19"/>
                  <a:gd name="T44" fmla="*/ 19 w 19"/>
                  <a:gd name="T45" fmla="*/ 10 h 19"/>
                  <a:gd name="T46" fmla="*/ 18 w 19"/>
                  <a:gd name="T47" fmla="*/ 16 h 19"/>
                  <a:gd name="T48" fmla="*/ 16 w 19"/>
                  <a:gd name="T49" fmla="*/ 17 h 19"/>
                  <a:gd name="T50" fmla="*/ 12 w 19"/>
                  <a:gd name="T5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9" h="19">
                    <a:moveTo>
                      <a:pt x="12" y="19"/>
                    </a:moveTo>
                    <a:lnTo>
                      <a:pt x="12" y="19"/>
                    </a:lnTo>
                    <a:lnTo>
                      <a:pt x="11" y="19"/>
                    </a:lnTo>
                    <a:lnTo>
                      <a:pt x="9" y="17"/>
                    </a:lnTo>
                    <a:lnTo>
                      <a:pt x="8" y="13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2" y="7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8" y="3"/>
                    </a:lnTo>
                    <a:lnTo>
                      <a:pt x="19" y="6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8" y="16"/>
                    </a:lnTo>
                    <a:lnTo>
                      <a:pt x="16" y="17"/>
                    </a:lnTo>
                    <a:lnTo>
                      <a:pt x="12" y="1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30" name="Freeform 884"/>
              <p:cNvSpPr>
                <a:spLocks/>
              </p:cNvSpPr>
              <p:nvPr/>
            </p:nvSpPr>
            <p:spPr bwMode="auto">
              <a:xfrm>
                <a:off x="6276494" y="3152921"/>
                <a:ext cx="38581" cy="40560"/>
              </a:xfrm>
              <a:custGeom>
                <a:avLst/>
                <a:gdLst>
                  <a:gd name="T0" fmla="*/ 35 w 39"/>
                  <a:gd name="T1" fmla="*/ 1 h 41"/>
                  <a:gd name="T2" fmla="*/ 35 w 39"/>
                  <a:gd name="T3" fmla="*/ 1 h 41"/>
                  <a:gd name="T4" fmla="*/ 33 w 39"/>
                  <a:gd name="T5" fmla="*/ 3 h 41"/>
                  <a:gd name="T6" fmla="*/ 33 w 39"/>
                  <a:gd name="T7" fmla="*/ 6 h 41"/>
                  <a:gd name="T8" fmla="*/ 33 w 39"/>
                  <a:gd name="T9" fmla="*/ 9 h 41"/>
                  <a:gd name="T10" fmla="*/ 32 w 39"/>
                  <a:gd name="T11" fmla="*/ 12 h 41"/>
                  <a:gd name="T12" fmla="*/ 32 w 39"/>
                  <a:gd name="T13" fmla="*/ 12 h 41"/>
                  <a:gd name="T14" fmla="*/ 27 w 39"/>
                  <a:gd name="T15" fmla="*/ 13 h 41"/>
                  <a:gd name="T16" fmla="*/ 23 w 39"/>
                  <a:gd name="T17" fmla="*/ 17 h 41"/>
                  <a:gd name="T18" fmla="*/ 16 w 39"/>
                  <a:gd name="T19" fmla="*/ 23 h 41"/>
                  <a:gd name="T20" fmla="*/ 16 w 39"/>
                  <a:gd name="T21" fmla="*/ 23 h 41"/>
                  <a:gd name="T22" fmla="*/ 6 w 39"/>
                  <a:gd name="T23" fmla="*/ 33 h 41"/>
                  <a:gd name="T24" fmla="*/ 1 w 39"/>
                  <a:gd name="T25" fmla="*/ 39 h 41"/>
                  <a:gd name="T26" fmla="*/ 0 w 39"/>
                  <a:gd name="T27" fmla="*/ 41 h 41"/>
                  <a:gd name="T28" fmla="*/ 1 w 39"/>
                  <a:gd name="T29" fmla="*/ 41 h 41"/>
                  <a:gd name="T30" fmla="*/ 1 w 39"/>
                  <a:gd name="T31" fmla="*/ 41 h 41"/>
                  <a:gd name="T32" fmla="*/ 4 w 39"/>
                  <a:gd name="T33" fmla="*/ 39 h 41"/>
                  <a:gd name="T34" fmla="*/ 10 w 39"/>
                  <a:gd name="T35" fmla="*/ 35 h 41"/>
                  <a:gd name="T36" fmla="*/ 22 w 39"/>
                  <a:gd name="T37" fmla="*/ 26 h 41"/>
                  <a:gd name="T38" fmla="*/ 22 w 39"/>
                  <a:gd name="T39" fmla="*/ 26 h 41"/>
                  <a:gd name="T40" fmla="*/ 32 w 39"/>
                  <a:gd name="T41" fmla="*/ 20 h 41"/>
                  <a:gd name="T42" fmla="*/ 36 w 39"/>
                  <a:gd name="T43" fmla="*/ 17 h 41"/>
                  <a:gd name="T44" fmla="*/ 39 w 39"/>
                  <a:gd name="T45" fmla="*/ 15 h 41"/>
                  <a:gd name="T46" fmla="*/ 39 w 39"/>
                  <a:gd name="T47" fmla="*/ 15 h 41"/>
                  <a:gd name="T48" fmla="*/ 39 w 39"/>
                  <a:gd name="T49" fmla="*/ 4 h 41"/>
                  <a:gd name="T50" fmla="*/ 37 w 39"/>
                  <a:gd name="T51" fmla="*/ 1 h 41"/>
                  <a:gd name="T52" fmla="*/ 36 w 39"/>
                  <a:gd name="T53" fmla="*/ 0 h 41"/>
                  <a:gd name="T54" fmla="*/ 35 w 39"/>
                  <a:gd name="T55" fmla="*/ 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9" h="41">
                    <a:moveTo>
                      <a:pt x="35" y="1"/>
                    </a:moveTo>
                    <a:lnTo>
                      <a:pt x="35" y="1"/>
                    </a:lnTo>
                    <a:lnTo>
                      <a:pt x="33" y="3"/>
                    </a:lnTo>
                    <a:lnTo>
                      <a:pt x="33" y="6"/>
                    </a:lnTo>
                    <a:lnTo>
                      <a:pt x="33" y="9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27" y="13"/>
                    </a:lnTo>
                    <a:lnTo>
                      <a:pt x="23" y="17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6" y="33"/>
                    </a:lnTo>
                    <a:lnTo>
                      <a:pt x="1" y="39"/>
                    </a:lnTo>
                    <a:lnTo>
                      <a:pt x="0" y="41"/>
                    </a:lnTo>
                    <a:lnTo>
                      <a:pt x="1" y="41"/>
                    </a:lnTo>
                    <a:lnTo>
                      <a:pt x="1" y="41"/>
                    </a:lnTo>
                    <a:lnTo>
                      <a:pt x="4" y="39"/>
                    </a:lnTo>
                    <a:lnTo>
                      <a:pt x="10" y="35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32" y="20"/>
                    </a:lnTo>
                    <a:lnTo>
                      <a:pt x="36" y="17"/>
                    </a:lnTo>
                    <a:lnTo>
                      <a:pt x="39" y="15"/>
                    </a:lnTo>
                    <a:lnTo>
                      <a:pt x="39" y="15"/>
                    </a:lnTo>
                    <a:lnTo>
                      <a:pt x="39" y="4"/>
                    </a:lnTo>
                    <a:lnTo>
                      <a:pt x="37" y="1"/>
                    </a:lnTo>
                    <a:lnTo>
                      <a:pt x="36" y="0"/>
                    </a:lnTo>
                    <a:lnTo>
                      <a:pt x="35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31" name="Freeform 885"/>
              <p:cNvSpPr>
                <a:spLocks/>
              </p:cNvSpPr>
              <p:nvPr/>
            </p:nvSpPr>
            <p:spPr bwMode="auto">
              <a:xfrm>
                <a:off x="6276494" y="3152921"/>
                <a:ext cx="38581" cy="40560"/>
              </a:xfrm>
              <a:custGeom>
                <a:avLst/>
                <a:gdLst>
                  <a:gd name="T0" fmla="*/ 35 w 39"/>
                  <a:gd name="T1" fmla="*/ 1 h 41"/>
                  <a:gd name="T2" fmla="*/ 35 w 39"/>
                  <a:gd name="T3" fmla="*/ 1 h 41"/>
                  <a:gd name="T4" fmla="*/ 33 w 39"/>
                  <a:gd name="T5" fmla="*/ 3 h 41"/>
                  <a:gd name="T6" fmla="*/ 33 w 39"/>
                  <a:gd name="T7" fmla="*/ 6 h 41"/>
                  <a:gd name="T8" fmla="*/ 33 w 39"/>
                  <a:gd name="T9" fmla="*/ 9 h 41"/>
                  <a:gd name="T10" fmla="*/ 32 w 39"/>
                  <a:gd name="T11" fmla="*/ 12 h 41"/>
                  <a:gd name="T12" fmla="*/ 32 w 39"/>
                  <a:gd name="T13" fmla="*/ 12 h 41"/>
                  <a:gd name="T14" fmla="*/ 27 w 39"/>
                  <a:gd name="T15" fmla="*/ 13 h 41"/>
                  <a:gd name="T16" fmla="*/ 23 w 39"/>
                  <a:gd name="T17" fmla="*/ 17 h 41"/>
                  <a:gd name="T18" fmla="*/ 16 w 39"/>
                  <a:gd name="T19" fmla="*/ 23 h 41"/>
                  <a:gd name="T20" fmla="*/ 16 w 39"/>
                  <a:gd name="T21" fmla="*/ 23 h 41"/>
                  <a:gd name="T22" fmla="*/ 6 w 39"/>
                  <a:gd name="T23" fmla="*/ 33 h 41"/>
                  <a:gd name="T24" fmla="*/ 1 w 39"/>
                  <a:gd name="T25" fmla="*/ 39 h 41"/>
                  <a:gd name="T26" fmla="*/ 0 w 39"/>
                  <a:gd name="T27" fmla="*/ 41 h 41"/>
                  <a:gd name="T28" fmla="*/ 1 w 39"/>
                  <a:gd name="T29" fmla="*/ 41 h 41"/>
                  <a:gd name="T30" fmla="*/ 1 w 39"/>
                  <a:gd name="T31" fmla="*/ 41 h 41"/>
                  <a:gd name="T32" fmla="*/ 4 w 39"/>
                  <a:gd name="T33" fmla="*/ 39 h 41"/>
                  <a:gd name="T34" fmla="*/ 10 w 39"/>
                  <a:gd name="T35" fmla="*/ 35 h 41"/>
                  <a:gd name="T36" fmla="*/ 22 w 39"/>
                  <a:gd name="T37" fmla="*/ 26 h 41"/>
                  <a:gd name="T38" fmla="*/ 22 w 39"/>
                  <a:gd name="T39" fmla="*/ 26 h 41"/>
                  <a:gd name="T40" fmla="*/ 32 w 39"/>
                  <a:gd name="T41" fmla="*/ 20 h 41"/>
                  <a:gd name="T42" fmla="*/ 36 w 39"/>
                  <a:gd name="T43" fmla="*/ 17 h 41"/>
                  <a:gd name="T44" fmla="*/ 39 w 39"/>
                  <a:gd name="T45" fmla="*/ 15 h 41"/>
                  <a:gd name="T46" fmla="*/ 39 w 39"/>
                  <a:gd name="T47" fmla="*/ 15 h 41"/>
                  <a:gd name="T48" fmla="*/ 39 w 39"/>
                  <a:gd name="T49" fmla="*/ 4 h 41"/>
                  <a:gd name="T50" fmla="*/ 37 w 39"/>
                  <a:gd name="T51" fmla="*/ 1 h 41"/>
                  <a:gd name="T52" fmla="*/ 36 w 39"/>
                  <a:gd name="T53" fmla="*/ 0 h 41"/>
                  <a:gd name="T54" fmla="*/ 35 w 39"/>
                  <a:gd name="T55" fmla="*/ 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9" h="41">
                    <a:moveTo>
                      <a:pt x="35" y="1"/>
                    </a:moveTo>
                    <a:lnTo>
                      <a:pt x="35" y="1"/>
                    </a:lnTo>
                    <a:lnTo>
                      <a:pt x="33" y="3"/>
                    </a:lnTo>
                    <a:lnTo>
                      <a:pt x="33" y="6"/>
                    </a:lnTo>
                    <a:lnTo>
                      <a:pt x="33" y="9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27" y="13"/>
                    </a:lnTo>
                    <a:lnTo>
                      <a:pt x="23" y="17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6" y="33"/>
                    </a:lnTo>
                    <a:lnTo>
                      <a:pt x="1" y="39"/>
                    </a:lnTo>
                    <a:lnTo>
                      <a:pt x="0" y="41"/>
                    </a:lnTo>
                    <a:lnTo>
                      <a:pt x="1" y="41"/>
                    </a:lnTo>
                    <a:lnTo>
                      <a:pt x="1" y="41"/>
                    </a:lnTo>
                    <a:lnTo>
                      <a:pt x="4" y="39"/>
                    </a:lnTo>
                    <a:lnTo>
                      <a:pt x="10" y="35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32" y="20"/>
                    </a:lnTo>
                    <a:lnTo>
                      <a:pt x="36" y="17"/>
                    </a:lnTo>
                    <a:lnTo>
                      <a:pt x="39" y="15"/>
                    </a:lnTo>
                    <a:lnTo>
                      <a:pt x="39" y="15"/>
                    </a:lnTo>
                    <a:lnTo>
                      <a:pt x="39" y="4"/>
                    </a:lnTo>
                    <a:lnTo>
                      <a:pt x="37" y="1"/>
                    </a:lnTo>
                    <a:lnTo>
                      <a:pt x="36" y="0"/>
                    </a:lnTo>
                    <a:lnTo>
                      <a:pt x="35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32" name="Freeform 886"/>
              <p:cNvSpPr>
                <a:spLocks/>
              </p:cNvSpPr>
              <p:nvPr/>
            </p:nvSpPr>
            <p:spPr bwMode="auto">
              <a:xfrm>
                <a:off x="6781016" y="3405182"/>
                <a:ext cx="52431" cy="16817"/>
              </a:xfrm>
              <a:custGeom>
                <a:avLst/>
                <a:gdLst>
                  <a:gd name="T0" fmla="*/ 0 w 53"/>
                  <a:gd name="T1" fmla="*/ 14 h 17"/>
                  <a:gd name="T2" fmla="*/ 0 w 53"/>
                  <a:gd name="T3" fmla="*/ 14 h 17"/>
                  <a:gd name="T4" fmla="*/ 5 w 53"/>
                  <a:gd name="T5" fmla="*/ 16 h 17"/>
                  <a:gd name="T6" fmla="*/ 16 w 53"/>
                  <a:gd name="T7" fmla="*/ 17 h 17"/>
                  <a:gd name="T8" fmla="*/ 27 w 53"/>
                  <a:gd name="T9" fmla="*/ 17 h 17"/>
                  <a:gd name="T10" fmla="*/ 34 w 53"/>
                  <a:gd name="T11" fmla="*/ 17 h 17"/>
                  <a:gd name="T12" fmla="*/ 34 w 53"/>
                  <a:gd name="T13" fmla="*/ 17 h 17"/>
                  <a:gd name="T14" fmla="*/ 46 w 53"/>
                  <a:gd name="T15" fmla="*/ 12 h 17"/>
                  <a:gd name="T16" fmla="*/ 52 w 53"/>
                  <a:gd name="T17" fmla="*/ 7 h 17"/>
                  <a:gd name="T18" fmla="*/ 53 w 53"/>
                  <a:gd name="T19" fmla="*/ 6 h 17"/>
                  <a:gd name="T20" fmla="*/ 53 w 53"/>
                  <a:gd name="T21" fmla="*/ 4 h 17"/>
                  <a:gd name="T22" fmla="*/ 53 w 53"/>
                  <a:gd name="T23" fmla="*/ 4 h 17"/>
                  <a:gd name="T24" fmla="*/ 50 w 53"/>
                  <a:gd name="T25" fmla="*/ 1 h 17"/>
                  <a:gd name="T26" fmla="*/ 47 w 53"/>
                  <a:gd name="T27" fmla="*/ 0 h 17"/>
                  <a:gd name="T28" fmla="*/ 43 w 53"/>
                  <a:gd name="T29" fmla="*/ 0 h 17"/>
                  <a:gd name="T30" fmla="*/ 42 w 53"/>
                  <a:gd name="T31" fmla="*/ 0 h 17"/>
                  <a:gd name="T32" fmla="*/ 42 w 53"/>
                  <a:gd name="T33" fmla="*/ 0 h 17"/>
                  <a:gd name="T34" fmla="*/ 34 w 53"/>
                  <a:gd name="T35" fmla="*/ 6 h 17"/>
                  <a:gd name="T36" fmla="*/ 29 w 53"/>
                  <a:gd name="T37" fmla="*/ 9 h 17"/>
                  <a:gd name="T38" fmla="*/ 26 w 53"/>
                  <a:gd name="T39" fmla="*/ 10 h 17"/>
                  <a:gd name="T40" fmla="*/ 26 w 53"/>
                  <a:gd name="T41" fmla="*/ 10 h 17"/>
                  <a:gd name="T42" fmla="*/ 24 w 53"/>
                  <a:gd name="T43" fmla="*/ 9 h 17"/>
                  <a:gd name="T44" fmla="*/ 23 w 53"/>
                  <a:gd name="T45" fmla="*/ 7 h 17"/>
                  <a:gd name="T46" fmla="*/ 23 w 53"/>
                  <a:gd name="T47" fmla="*/ 7 h 17"/>
                  <a:gd name="T48" fmla="*/ 21 w 53"/>
                  <a:gd name="T49" fmla="*/ 7 h 17"/>
                  <a:gd name="T50" fmla="*/ 21 w 53"/>
                  <a:gd name="T51" fmla="*/ 7 h 17"/>
                  <a:gd name="T52" fmla="*/ 8 w 53"/>
                  <a:gd name="T53" fmla="*/ 10 h 17"/>
                  <a:gd name="T54" fmla="*/ 2 w 53"/>
                  <a:gd name="T55" fmla="*/ 12 h 17"/>
                  <a:gd name="T56" fmla="*/ 0 w 53"/>
                  <a:gd name="T57" fmla="*/ 13 h 17"/>
                  <a:gd name="T58" fmla="*/ 0 w 53"/>
                  <a:gd name="T59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3" h="17">
                    <a:moveTo>
                      <a:pt x="0" y="14"/>
                    </a:moveTo>
                    <a:lnTo>
                      <a:pt x="0" y="14"/>
                    </a:lnTo>
                    <a:lnTo>
                      <a:pt x="5" y="16"/>
                    </a:lnTo>
                    <a:lnTo>
                      <a:pt x="16" y="17"/>
                    </a:lnTo>
                    <a:lnTo>
                      <a:pt x="27" y="17"/>
                    </a:lnTo>
                    <a:lnTo>
                      <a:pt x="34" y="17"/>
                    </a:lnTo>
                    <a:lnTo>
                      <a:pt x="34" y="17"/>
                    </a:lnTo>
                    <a:lnTo>
                      <a:pt x="46" y="12"/>
                    </a:lnTo>
                    <a:lnTo>
                      <a:pt x="52" y="7"/>
                    </a:lnTo>
                    <a:lnTo>
                      <a:pt x="53" y="6"/>
                    </a:lnTo>
                    <a:lnTo>
                      <a:pt x="53" y="4"/>
                    </a:lnTo>
                    <a:lnTo>
                      <a:pt x="53" y="4"/>
                    </a:lnTo>
                    <a:lnTo>
                      <a:pt x="50" y="1"/>
                    </a:lnTo>
                    <a:lnTo>
                      <a:pt x="47" y="0"/>
                    </a:lnTo>
                    <a:lnTo>
                      <a:pt x="43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34" y="6"/>
                    </a:lnTo>
                    <a:lnTo>
                      <a:pt x="29" y="9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9"/>
                    </a:lnTo>
                    <a:lnTo>
                      <a:pt x="23" y="7"/>
                    </a:lnTo>
                    <a:lnTo>
                      <a:pt x="23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8" y="10"/>
                    </a:lnTo>
                    <a:lnTo>
                      <a:pt x="2" y="12"/>
                    </a:lnTo>
                    <a:lnTo>
                      <a:pt x="0" y="13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33" name="Freeform 887"/>
              <p:cNvSpPr>
                <a:spLocks/>
              </p:cNvSpPr>
              <p:nvPr/>
            </p:nvSpPr>
            <p:spPr bwMode="auto">
              <a:xfrm>
                <a:off x="6781016" y="3405182"/>
                <a:ext cx="52431" cy="16817"/>
              </a:xfrm>
              <a:custGeom>
                <a:avLst/>
                <a:gdLst>
                  <a:gd name="T0" fmla="*/ 0 w 53"/>
                  <a:gd name="T1" fmla="*/ 14 h 17"/>
                  <a:gd name="T2" fmla="*/ 0 w 53"/>
                  <a:gd name="T3" fmla="*/ 14 h 17"/>
                  <a:gd name="T4" fmla="*/ 5 w 53"/>
                  <a:gd name="T5" fmla="*/ 16 h 17"/>
                  <a:gd name="T6" fmla="*/ 16 w 53"/>
                  <a:gd name="T7" fmla="*/ 17 h 17"/>
                  <a:gd name="T8" fmla="*/ 27 w 53"/>
                  <a:gd name="T9" fmla="*/ 17 h 17"/>
                  <a:gd name="T10" fmla="*/ 34 w 53"/>
                  <a:gd name="T11" fmla="*/ 17 h 17"/>
                  <a:gd name="T12" fmla="*/ 34 w 53"/>
                  <a:gd name="T13" fmla="*/ 17 h 17"/>
                  <a:gd name="T14" fmla="*/ 46 w 53"/>
                  <a:gd name="T15" fmla="*/ 12 h 17"/>
                  <a:gd name="T16" fmla="*/ 52 w 53"/>
                  <a:gd name="T17" fmla="*/ 7 h 17"/>
                  <a:gd name="T18" fmla="*/ 53 w 53"/>
                  <a:gd name="T19" fmla="*/ 6 h 17"/>
                  <a:gd name="T20" fmla="*/ 53 w 53"/>
                  <a:gd name="T21" fmla="*/ 4 h 17"/>
                  <a:gd name="T22" fmla="*/ 53 w 53"/>
                  <a:gd name="T23" fmla="*/ 4 h 17"/>
                  <a:gd name="T24" fmla="*/ 50 w 53"/>
                  <a:gd name="T25" fmla="*/ 1 h 17"/>
                  <a:gd name="T26" fmla="*/ 47 w 53"/>
                  <a:gd name="T27" fmla="*/ 0 h 17"/>
                  <a:gd name="T28" fmla="*/ 43 w 53"/>
                  <a:gd name="T29" fmla="*/ 0 h 17"/>
                  <a:gd name="T30" fmla="*/ 42 w 53"/>
                  <a:gd name="T31" fmla="*/ 0 h 17"/>
                  <a:gd name="T32" fmla="*/ 42 w 53"/>
                  <a:gd name="T33" fmla="*/ 0 h 17"/>
                  <a:gd name="T34" fmla="*/ 34 w 53"/>
                  <a:gd name="T35" fmla="*/ 6 h 17"/>
                  <a:gd name="T36" fmla="*/ 29 w 53"/>
                  <a:gd name="T37" fmla="*/ 9 h 17"/>
                  <a:gd name="T38" fmla="*/ 26 w 53"/>
                  <a:gd name="T39" fmla="*/ 10 h 17"/>
                  <a:gd name="T40" fmla="*/ 26 w 53"/>
                  <a:gd name="T41" fmla="*/ 10 h 17"/>
                  <a:gd name="T42" fmla="*/ 24 w 53"/>
                  <a:gd name="T43" fmla="*/ 9 h 17"/>
                  <a:gd name="T44" fmla="*/ 23 w 53"/>
                  <a:gd name="T45" fmla="*/ 7 h 17"/>
                  <a:gd name="T46" fmla="*/ 23 w 53"/>
                  <a:gd name="T47" fmla="*/ 7 h 17"/>
                  <a:gd name="T48" fmla="*/ 21 w 53"/>
                  <a:gd name="T49" fmla="*/ 7 h 17"/>
                  <a:gd name="T50" fmla="*/ 21 w 53"/>
                  <a:gd name="T51" fmla="*/ 7 h 17"/>
                  <a:gd name="T52" fmla="*/ 8 w 53"/>
                  <a:gd name="T53" fmla="*/ 10 h 17"/>
                  <a:gd name="T54" fmla="*/ 2 w 53"/>
                  <a:gd name="T55" fmla="*/ 12 h 17"/>
                  <a:gd name="T56" fmla="*/ 0 w 53"/>
                  <a:gd name="T57" fmla="*/ 13 h 17"/>
                  <a:gd name="T58" fmla="*/ 0 w 53"/>
                  <a:gd name="T59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3" h="17">
                    <a:moveTo>
                      <a:pt x="0" y="14"/>
                    </a:moveTo>
                    <a:lnTo>
                      <a:pt x="0" y="14"/>
                    </a:lnTo>
                    <a:lnTo>
                      <a:pt x="5" y="16"/>
                    </a:lnTo>
                    <a:lnTo>
                      <a:pt x="16" y="17"/>
                    </a:lnTo>
                    <a:lnTo>
                      <a:pt x="27" y="17"/>
                    </a:lnTo>
                    <a:lnTo>
                      <a:pt x="34" y="17"/>
                    </a:lnTo>
                    <a:lnTo>
                      <a:pt x="34" y="17"/>
                    </a:lnTo>
                    <a:lnTo>
                      <a:pt x="46" y="12"/>
                    </a:lnTo>
                    <a:lnTo>
                      <a:pt x="52" y="7"/>
                    </a:lnTo>
                    <a:lnTo>
                      <a:pt x="53" y="6"/>
                    </a:lnTo>
                    <a:lnTo>
                      <a:pt x="53" y="4"/>
                    </a:lnTo>
                    <a:lnTo>
                      <a:pt x="53" y="4"/>
                    </a:lnTo>
                    <a:lnTo>
                      <a:pt x="50" y="1"/>
                    </a:lnTo>
                    <a:lnTo>
                      <a:pt x="47" y="0"/>
                    </a:lnTo>
                    <a:lnTo>
                      <a:pt x="43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34" y="6"/>
                    </a:lnTo>
                    <a:lnTo>
                      <a:pt x="29" y="9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9"/>
                    </a:lnTo>
                    <a:lnTo>
                      <a:pt x="23" y="7"/>
                    </a:lnTo>
                    <a:lnTo>
                      <a:pt x="23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8" y="10"/>
                    </a:lnTo>
                    <a:lnTo>
                      <a:pt x="2" y="12"/>
                    </a:lnTo>
                    <a:lnTo>
                      <a:pt x="0" y="13"/>
                    </a:lnTo>
                    <a:lnTo>
                      <a:pt x="0" y="1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34" name="Freeform 888"/>
              <p:cNvSpPr>
                <a:spLocks/>
              </p:cNvSpPr>
              <p:nvPr/>
            </p:nvSpPr>
            <p:spPr bwMode="auto">
              <a:xfrm>
                <a:off x="6879942" y="3418043"/>
                <a:ext cx="14839" cy="16817"/>
              </a:xfrm>
              <a:custGeom>
                <a:avLst/>
                <a:gdLst>
                  <a:gd name="T0" fmla="*/ 8 w 15"/>
                  <a:gd name="T1" fmla="*/ 17 h 17"/>
                  <a:gd name="T2" fmla="*/ 8 w 15"/>
                  <a:gd name="T3" fmla="*/ 17 h 17"/>
                  <a:gd name="T4" fmla="*/ 4 w 15"/>
                  <a:gd name="T5" fmla="*/ 13 h 17"/>
                  <a:gd name="T6" fmla="*/ 1 w 15"/>
                  <a:gd name="T7" fmla="*/ 7 h 17"/>
                  <a:gd name="T8" fmla="*/ 0 w 15"/>
                  <a:gd name="T9" fmla="*/ 1 h 17"/>
                  <a:gd name="T10" fmla="*/ 0 w 15"/>
                  <a:gd name="T11" fmla="*/ 0 h 17"/>
                  <a:gd name="T12" fmla="*/ 2 w 15"/>
                  <a:gd name="T13" fmla="*/ 0 h 17"/>
                  <a:gd name="T14" fmla="*/ 2 w 15"/>
                  <a:gd name="T15" fmla="*/ 0 h 17"/>
                  <a:gd name="T16" fmla="*/ 8 w 15"/>
                  <a:gd name="T17" fmla="*/ 4 h 17"/>
                  <a:gd name="T18" fmla="*/ 14 w 15"/>
                  <a:gd name="T19" fmla="*/ 10 h 17"/>
                  <a:gd name="T20" fmla="*/ 15 w 15"/>
                  <a:gd name="T21" fmla="*/ 13 h 17"/>
                  <a:gd name="T22" fmla="*/ 15 w 15"/>
                  <a:gd name="T23" fmla="*/ 16 h 17"/>
                  <a:gd name="T24" fmla="*/ 14 w 15"/>
                  <a:gd name="T25" fmla="*/ 17 h 17"/>
                  <a:gd name="T26" fmla="*/ 8 w 15"/>
                  <a:gd name="T2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17">
                    <a:moveTo>
                      <a:pt x="8" y="17"/>
                    </a:moveTo>
                    <a:lnTo>
                      <a:pt x="8" y="17"/>
                    </a:lnTo>
                    <a:lnTo>
                      <a:pt x="4" y="13"/>
                    </a:lnTo>
                    <a:lnTo>
                      <a:pt x="1" y="7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8" y="4"/>
                    </a:lnTo>
                    <a:lnTo>
                      <a:pt x="14" y="10"/>
                    </a:lnTo>
                    <a:lnTo>
                      <a:pt x="15" y="13"/>
                    </a:lnTo>
                    <a:lnTo>
                      <a:pt x="15" y="16"/>
                    </a:lnTo>
                    <a:lnTo>
                      <a:pt x="14" y="17"/>
                    </a:lnTo>
                    <a:lnTo>
                      <a:pt x="8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35" name="Freeform 889"/>
              <p:cNvSpPr>
                <a:spLocks/>
              </p:cNvSpPr>
              <p:nvPr/>
            </p:nvSpPr>
            <p:spPr bwMode="auto">
              <a:xfrm>
                <a:off x="6879942" y="3418043"/>
                <a:ext cx="14839" cy="16817"/>
              </a:xfrm>
              <a:custGeom>
                <a:avLst/>
                <a:gdLst>
                  <a:gd name="T0" fmla="*/ 8 w 15"/>
                  <a:gd name="T1" fmla="*/ 17 h 17"/>
                  <a:gd name="T2" fmla="*/ 8 w 15"/>
                  <a:gd name="T3" fmla="*/ 17 h 17"/>
                  <a:gd name="T4" fmla="*/ 4 w 15"/>
                  <a:gd name="T5" fmla="*/ 13 h 17"/>
                  <a:gd name="T6" fmla="*/ 1 w 15"/>
                  <a:gd name="T7" fmla="*/ 7 h 17"/>
                  <a:gd name="T8" fmla="*/ 0 w 15"/>
                  <a:gd name="T9" fmla="*/ 1 h 17"/>
                  <a:gd name="T10" fmla="*/ 0 w 15"/>
                  <a:gd name="T11" fmla="*/ 0 h 17"/>
                  <a:gd name="T12" fmla="*/ 2 w 15"/>
                  <a:gd name="T13" fmla="*/ 0 h 17"/>
                  <a:gd name="T14" fmla="*/ 2 w 15"/>
                  <a:gd name="T15" fmla="*/ 0 h 17"/>
                  <a:gd name="T16" fmla="*/ 8 w 15"/>
                  <a:gd name="T17" fmla="*/ 4 h 17"/>
                  <a:gd name="T18" fmla="*/ 14 w 15"/>
                  <a:gd name="T19" fmla="*/ 10 h 17"/>
                  <a:gd name="T20" fmla="*/ 15 w 15"/>
                  <a:gd name="T21" fmla="*/ 13 h 17"/>
                  <a:gd name="T22" fmla="*/ 15 w 15"/>
                  <a:gd name="T23" fmla="*/ 16 h 17"/>
                  <a:gd name="T24" fmla="*/ 14 w 15"/>
                  <a:gd name="T25" fmla="*/ 17 h 17"/>
                  <a:gd name="T26" fmla="*/ 8 w 15"/>
                  <a:gd name="T2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17">
                    <a:moveTo>
                      <a:pt x="8" y="17"/>
                    </a:moveTo>
                    <a:lnTo>
                      <a:pt x="8" y="17"/>
                    </a:lnTo>
                    <a:lnTo>
                      <a:pt x="4" y="13"/>
                    </a:lnTo>
                    <a:lnTo>
                      <a:pt x="1" y="7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8" y="4"/>
                    </a:lnTo>
                    <a:lnTo>
                      <a:pt x="14" y="10"/>
                    </a:lnTo>
                    <a:lnTo>
                      <a:pt x="15" y="13"/>
                    </a:lnTo>
                    <a:lnTo>
                      <a:pt x="15" y="16"/>
                    </a:lnTo>
                    <a:lnTo>
                      <a:pt x="14" y="17"/>
                    </a:lnTo>
                    <a:lnTo>
                      <a:pt x="8" y="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36" name="Freeform 890"/>
              <p:cNvSpPr>
                <a:spLocks/>
              </p:cNvSpPr>
              <p:nvPr/>
            </p:nvSpPr>
            <p:spPr bwMode="auto">
              <a:xfrm>
                <a:off x="6829490" y="3393311"/>
                <a:ext cx="9893" cy="9893"/>
              </a:xfrm>
              <a:custGeom>
                <a:avLst/>
                <a:gdLst>
                  <a:gd name="T0" fmla="*/ 6 w 10"/>
                  <a:gd name="T1" fmla="*/ 9 h 10"/>
                  <a:gd name="T2" fmla="*/ 6 w 10"/>
                  <a:gd name="T3" fmla="*/ 9 h 10"/>
                  <a:gd name="T4" fmla="*/ 1 w 10"/>
                  <a:gd name="T5" fmla="*/ 5 h 10"/>
                  <a:gd name="T6" fmla="*/ 0 w 10"/>
                  <a:gd name="T7" fmla="*/ 2 h 10"/>
                  <a:gd name="T8" fmla="*/ 0 w 10"/>
                  <a:gd name="T9" fmla="*/ 0 h 10"/>
                  <a:gd name="T10" fmla="*/ 0 w 10"/>
                  <a:gd name="T11" fmla="*/ 0 h 10"/>
                  <a:gd name="T12" fmla="*/ 6 w 10"/>
                  <a:gd name="T13" fmla="*/ 0 h 10"/>
                  <a:gd name="T14" fmla="*/ 9 w 10"/>
                  <a:gd name="T15" fmla="*/ 0 h 10"/>
                  <a:gd name="T16" fmla="*/ 10 w 10"/>
                  <a:gd name="T17" fmla="*/ 2 h 10"/>
                  <a:gd name="T18" fmla="*/ 10 w 10"/>
                  <a:gd name="T19" fmla="*/ 2 h 10"/>
                  <a:gd name="T20" fmla="*/ 10 w 10"/>
                  <a:gd name="T21" fmla="*/ 8 h 10"/>
                  <a:gd name="T22" fmla="*/ 9 w 10"/>
                  <a:gd name="T23" fmla="*/ 10 h 10"/>
                  <a:gd name="T24" fmla="*/ 7 w 10"/>
                  <a:gd name="T25" fmla="*/ 10 h 10"/>
                  <a:gd name="T26" fmla="*/ 6 w 10"/>
                  <a:gd name="T27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10">
                    <a:moveTo>
                      <a:pt x="6" y="9"/>
                    </a:moveTo>
                    <a:lnTo>
                      <a:pt x="6" y="9"/>
                    </a:lnTo>
                    <a:lnTo>
                      <a:pt x="1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8"/>
                    </a:lnTo>
                    <a:lnTo>
                      <a:pt x="9" y="10"/>
                    </a:lnTo>
                    <a:lnTo>
                      <a:pt x="7" y="10"/>
                    </a:lnTo>
                    <a:lnTo>
                      <a:pt x="6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37" name="Freeform 891"/>
              <p:cNvSpPr>
                <a:spLocks/>
              </p:cNvSpPr>
              <p:nvPr/>
            </p:nvSpPr>
            <p:spPr bwMode="auto">
              <a:xfrm>
                <a:off x="6829490" y="3393311"/>
                <a:ext cx="9893" cy="9893"/>
              </a:xfrm>
              <a:custGeom>
                <a:avLst/>
                <a:gdLst>
                  <a:gd name="T0" fmla="*/ 6 w 10"/>
                  <a:gd name="T1" fmla="*/ 9 h 10"/>
                  <a:gd name="T2" fmla="*/ 6 w 10"/>
                  <a:gd name="T3" fmla="*/ 9 h 10"/>
                  <a:gd name="T4" fmla="*/ 1 w 10"/>
                  <a:gd name="T5" fmla="*/ 5 h 10"/>
                  <a:gd name="T6" fmla="*/ 0 w 10"/>
                  <a:gd name="T7" fmla="*/ 2 h 10"/>
                  <a:gd name="T8" fmla="*/ 0 w 10"/>
                  <a:gd name="T9" fmla="*/ 0 h 10"/>
                  <a:gd name="T10" fmla="*/ 0 w 10"/>
                  <a:gd name="T11" fmla="*/ 0 h 10"/>
                  <a:gd name="T12" fmla="*/ 6 w 10"/>
                  <a:gd name="T13" fmla="*/ 0 h 10"/>
                  <a:gd name="T14" fmla="*/ 9 w 10"/>
                  <a:gd name="T15" fmla="*/ 0 h 10"/>
                  <a:gd name="T16" fmla="*/ 10 w 10"/>
                  <a:gd name="T17" fmla="*/ 2 h 10"/>
                  <a:gd name="T18" fmla="*/ 10 w 10"/>
                  <a:gd name="T19" fmla="*/ 2 h 10"/>
                  <a:gd name="T20" fmla="*/ 10 w 10"/>
                  <a:gd name="T21" fmla="*/ 8 h 10"/>
                  <a:gd name="T22" fmla="*/ 9 w 10"/>
                  <a:gd name="T23" fmla="*/ 10 h 10"/>
                  <a:gd name="T24" fmla="*/ 7 w 10"/>
                  <a:gd name="T25" fmla="*/ 10 h 10"/>
                  <a:gd name="T26" fmla="*/ 6 w 10"/>
                  <a:gd name="T27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10">
                    <a:moveTo>
                      <a:pt x="6" y="9"/>
                    </a:moveTo>
                    <a:lnTo>
                      <a:pt x="6" y="9"/>
                    </a:lnTo>
                    <a:lnTo>
                      <a:pt x="1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8"/>
                    </a:lnTo>
                    <a:lnTo>
                      <a:pt x="9" y="10"/>
                    </a:lnTo>
                    <a:lnTo>
                      <a:pt x="7" y="10"/>
                    </a:lnTo>
                    <a:lnTo>
                      <a:pt x="6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38" name="Freeform 892"/>
              <p:cNvSpPr>
                <a:spLocks/>
              </p:cNvSpPr>
              <p:nvPr/>
            </p:nvSpPr>
            <p:spPr bwMode="auto">
              <a:xfrm>
                <a:off x="6707811" y="4027426"/>
                <a:ext cx="58366" cy="61334"/>
              </a:xfrm>
              <a:custGeom>
                <a:avLst/>
                <a:gdLst>
                  <a:gd name="T0" fmla="*/ 32 w 59"/>
                  <a:gd name="T1" fmla="*/ 62 h 62"/>
                  <a:gd name="T2" fmla="*/ 32 w 59"/>
                  <a:gd name="T3" fmla="*/ 62 h 62"/>
                  <a:gd name="T4" fmla="*/ 26 w 59"/>
                  <a:gd name="T5" fmla="*/ 60 h 62"/>
                  <a:gd name="T6" fmla="*/ 19 w 59"/>
                  <a:gd name="T7" fmla="*/ 56 h 62"/>
                  <a:gd name="T8" fmla="*/ 14 w 59"/>
                  <a:gd name="T9" fmla="*/ 50 h 62"/>
                  <a:gd name="T10" fmla="*/ 13 w 59"/>
                  <a:gd name="T11" fmla="*/ 46 h 62"/>
                  <a:gd name="T12" fmla="*/ 13 w 59"/>
                  <a:gd name="T13" fmla="*/ 43 h 62"/>
                  <a:gd name="T14" fmla="*/ 13 w 59"/>
                  <a:gd name="T15" fmla="*/ 43 h 62"/>
                  <a:gd name="T16" fmla="*/ 13 w 59"/>
                  <a:gd name="T17" fmla="*/ 34 h 62"/>
                  <a:gd name="T18" fmla="*/ 10 w 59"/>
                  <a:gd name="T19" fmla="*/ 29 h 62"/>
                  <a:gd name="T20" fmla="*/ 10 w 59"/>
                  <a:gd name="T21" fmla="*/ 29 h 62"/>
                  <a:gd name="T22" fmla="*/ 4 w 59"/>
                  <a:gd name="T23" fmla="*/ 14 h 62"/>
                  <a:gd name="T24" fmla="*/ 0 w 59"/>
                  <a:gd name="T25" fmla="*/ 2 h 62"/>
                  <a:gd name="T26" fmla="*/ 0 w 59"/>
                  <a:gd name="T27" fmla="*/ 2 h 62"/>
                  <a:gd name="T28" fmla="*/ 0 w 59"/>
                  <a:gd name="T29" fmla="*/ 1 h 62"/>
                  <a:gd name="T30" fmla="*/ 3 w 59"/>
                  <a:gd name="T31" fmla="*/ 0 h 62"/>
                  <a:gd name="T32" fmla="*/ 7 w 59"/>
                  <a:gd name="T33" fmla="*/ 0 h 62"/>
                  <a:gd name="T34" fmla="*/ 11 w 59"/>
                  <a:gd name="T35" fmla="*/ 1 h 62"/>
                  <a:gd name="T36" fmla="*/ 11 w 59"/>
                  <a:gd name="T37" fmla="*/ 1 h 62"/>
                  <a:gd name="T38" fmla="*/ 24 w 59"/>
                  <a:gd name="T39" fmla="*/ 5 h 62"/>
                  <a:gd name="T40" fmla="*/ 30 w 59"/>
                  <a:gd name="T41" fmla="*/ 7 h 62"/>
                  <a:gd name="T42" fmla="*/ 34 w 59"/>
                  <a:gd name="T43" fmla="*/ 7 h 62"/>
                  <a:gd name="T44" fmla="*/ 34 w 59"/>
                  <a:gd name="T45" fmla="*/ 7 h 62"/>
                  <a:gd name="T46" fmla="*/ 46 w 59"/>
                  <a:gd name="T47" fmla="*/ 4 h 62"/>
                  <a:gd name="T48" fmla="*/ 53 w 59"/>
                  <a:gd name="T49" fmla="*/ 2 h 62"/>
                  <a:gd name="T50" fmla="*/ 55 w 59"/>
                  <a:gd name="T51" fmla="*/ 4 h 62"/>
                  <a:gd name="T52" fmla="*/ 56 w 59"/>
                  <a:gd name="T53" fmla="*/ 4 h 62"/>
                  <a:gd name="T54" fmla="*/ 56 w 59"/>
                  <a:gd name="T55" fmla="*/ 4 h 62"/>
                  <a:gd name="T56" fmla="*/ 58 w 59"/>
                  <a:gd name="T57" fmla="*/ 7 h 62"/>
                  <a:gd name="T58" fmla="*/ 58 w 59"/>
                  <a:gd name="T59" fmla="*/ 8 h 62"/>
                  <a:gd name="T60" fmla="*/ 58 w 59"/>
                  <a:gd name="T61" fmla="*/ 10 h 62"/>
                  <a:gd name="T62" fmla="*/ 58 w 59"/>
                  <a:gd name="T63" fmla="*/ 13 h 62"/>
                  <a:gd name="T64" fmla="*/ 58 w 59"/>
                  <a:gd name="T65" fmla="*/ 13 h 62"/>
                  <a:gd name="T66" fmla="*/ 59 w 59"/>
                  <a:gd name="T67" fmla="*/ 18 h 62"/>
                  <a:gd name="T68" fmla="*/ 59 w 59"/>
                  <a:gd name="T69" fmla="*/ 24 h 62"/>
                  <a:gd name="T70" fmla="*/ 59 w 59"/>
                  <a:gd name="T71" fmla="*/ 30 h 62"/>
                  <a:gd name="T72" fmla="*/ 58 w 59"/>
                  <a:gd name="T73" fmla="*/ 34 h 62"/>
                  <a:gd name="T74" fmla="*/ 58 w 59"/>
                  <a:gd name="T75" fmla="*/ 34 h 62"/>
                  <a:gd name="T76" fmla="*/ 53 w 59"/>
                  <a:gd name="T77" fmla="*/ 42 h 62"/>
                  <a:gd name="T78" fmla="*/ 50 w 59"/>
                  <a:gd name="T79" fmla="*/ 47 h 62"/>
                  <a:gd name="T80" fmla="*/ 50 w 59"/>
                  <a:gd name="T81" fmla="*/ 47 h 62"/>
                  <a:gd name="T82" fmla="*/ 52 w 59"/>
                  <a:gd name="T83" fmla="*/ 52 h 62"/>
                  <a:gd name="T84" fmla="*/ 50 w 59"/>
                  <a:gd name="T85" fmla="*/ 55 h 62"/>
                  <a:gd name="T86" fmla="*/ 49 w 59"/>
                  <a:gd name="T87" fmla="*/ 55 h 62"/>
                  <a:gd name="T88" fmla="*/ 49 w 59"/>
                  <a:gd name="T89" fmla="*/ 55 h 62"/>
                  <a:gd name="T90" fmla="*/ 46 w 59"/>
                  <a:gd name="T91" fmla="*/ 50 h 62"/>
                  <a:gd name="T92" fmla="*/ 45 w 59"/>
                  <a:gd name="T93" fmla="*/ 49 h 62"/>
                  <a:gd name="T94" fmla="*/ 43 w 59"/>
                  <a:gd name="T95" fmla="*/ 49 h 62"/>
                  <a:gd name="T96" fmla="*/ 43 w 59"/>
                  <a:gd name="T97" fmla="*/ 49 h 62"/>
                  <a:gd name="T98" fmla="*/ 39 w 59"/>
                  <a:gd name="T99" fmla="*/ 58 h 62"/>
                  <a:gd name="T100" fmla="*/ 36 w 59"/>
                  <a:gd name="T101" fmla="*/ 60 h 62"/>
                  <a:gd name="T102" fmla="*/ 33 w 59"/>
                  <a:gd name="T103" fmla="*/ 62 h 62"/>
                  <a:gd name="T104" fmla="*/ 32 w 59"/>
                  <a:gd name="T105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9" h="62">
                    <a:moveTo>
                      <a:pt x="32" y="62"/>
                    </a:moveTo>
                    <a:lnTo>
                      <a:pt x="32" y="62"/>
                    </a:lnTo>
                    <a:lnTo>
                      <a:pt x="26" y="60"/>
                    </a:lnTo>
                    <a:lnTo>
                      <a:pt x="19" y="56"/>
                    </a:lnTo>
                    <a:lnTo>
                      <a:pt x="14" y="50"/>
                    </a:lnTo>
                    <a:lnTo>
                      <a:pt x="13" y="46"/>
                    </a:lnTo>
                    <a:lnTo>
                      <a:pt x="13" y="43"/>
                    </a:lnTo>
                    <a:lnTo>
                      <a:pt x="13" y="43"/>
                    </a:lnTo>
                    <a:lnTo>
                      <a:pt x="13" y="34"/>
                    </a:lnTo>
                    <a:lnTo>
                      <a:pt x="10" y="29"/>
                    </a:lnTo>
                    <a:lnTo>
                      <a:pt x="10" y="29"/>
                    </a:lnTo>
                    <a:lnTo>
                      <a:pt x="4" y="1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1" y="1"/>
                    </a:lnTo>
                    <a:lnTo>
                      <a:pt x="24" y="5"/>
                    </a:lnTo>
                    <a:lnTo>
                      <a:pt x="30" y="7"/>
                    </a:lnTo>
                    <a:lnTo>
                      <a:pt x="34" y="7"/>
                    </a:lnTo>
                    <a:lnTo>
                      <a:pt x="34" y="7"/>
                    </a:lnTo>
                    <a:lnTo>
                      <a:pt x="46" y="4"/>
                    </a:lnTo>
                    <a:lnTo>
                      <a:pt x="53" y="2"/>
                    </a:lnTo>
                    <a:lnTo>
                      <a:pt x="55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8" y="7"/>
                    </a:lnTo>
                    <a:lnTo>
                      <a:pt x="58" y="8"/>
                    </a:lnTo>
                    <a:lnTo>
                      <a:pt x="58" y="10"/>
                    </a:lnTo>
                    <a:lnTo>
                      <a:pt x="58" y="13"/>
                    </a:lnTo>
                    <a:lnTo>
                      <a:pt x="58" y="13"/>
                    </a:lnTo>
                    <a:lnTo>
                      <a:pt x="59" y="18"/>
                    </a:lnTo>
                    <a:lnTo>
                      <a:pt x="59" y="24"/>
                    </a:lnTo>
                    <a:lnTo>
                      <a:pt x="59" y="30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3" y="42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2" y="52"/>
                    </a:lnTo>
                    <a:lnTo>
                      <a:pt x="50" y="55"/>
                    </a:lnTo>
                    <a:lnTo>
                      <a:pt x="49" y="55"/>
                    </a:lnTo>
                    <a:lnTo>
                      <a:pt x="49" y="55"/>
                    </a:lnTo>
                    <a:lnTo>
                      <a:pt x="46" y="50"/>
                    </a:lnTo>
                    <a:lnTo>
                      <a:pt x="45" y="49"/>
                    </a:lnTo>
                    <a:lnTo>
                      <a:pt x="43" y="49"/>
                    </a:lnTo>
                    <a:lnTo>
                      <a:pt x="43" y="49"/>
                    </a:lnTo>
                    <a:lnTo>
                      <a:pt x="39" y="58"/>
                    </a:lnTo>
                    <a:lnTo>
                      <a:pt x="36" y="60"/>
                    </a:lnTo>
                    <a:lnTo>
                      <a:pt x="33" y="62"/>
                    </a:lnTo>
                    <a:lnTo>
                      <a:pt x="32" y="6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39" name="Freeform 893"/>
              <p:cNvSpPr>
                <a:spLocks/>
              </p:cNvSpPr>
              <p:nvPr/>
            </p:nvSpPr>
            <p:spPr bwMode="auto">
              <a:xfrm>
                <a:off x="6707811" y="4027426"/>
                <a:ext cx="58366" cy="61334"/>
              </a:xfrm>
              <a:custGeom>
                <a:avLst/>
                <a:gdLst>
                  <a:gd name="T0" fmla="*/ 32 w 59"/>
                  <a:gd name="T1" fmla="*/ 62 h 62"/>
                  <a:gd name="T2" fmla="*/ 32 w 59"/>
                  <a:gd name="T3" fmla="*/ 62 h 62"/>
                  <a:gd name="T4" fmla="*/ 26 w 59"/>
                  <a:gd name="T5" fmla="*/ 60 h 62"/>
                  <a:gd name="T6" fmla="*/ 19 w 59"/>
                  <a:gd name="T7" fmla="*/ 56 h 62"/>
                  <a:gd name="T8" fmla="*/ 14 w 59"/>
                  <a:gd name="T9" fmla="*/ 50 h 62"/>
                  <a:gd name="T10" fmla="*/ 13 w 59"/>
                  <a:gd name="T11" fmla="*/ 46 h 62"/>
                  <a:gd name="T12" fmla="*/ 13 w 59"/>
                  <a:gd name="T13" fmla="*/ 43 h 62"/>
                  <a:gd name="T14" fmla="*/ 13 w 59"/>
                  <a:gd name="T15" fmla="*/ 43 h 62"/>
                  <a:gd name="T16" fmla="*/ 13 w 59"/>
                  <a:gd name="T17" fmla="*/ 34 h 62"/>
                  <a:gd name="T18" fmla="*/ 10 w 59"/>
                  <a:gd name="T19" fmla="*/ 29 h 62"/>
                  <a:gd name="T20" fmla="*/ 10 w 59"/>
                  <a:gd name="T21" fmla="*/ 29 h 62"/>
                  <a:gd name="T22" fmla="*/ 4 w 59"/>
                  <a:gd name="T23" fmla="*/ 14 h 62"/>
                  <a:gd name="T24" fmla="*/ 0 w 59"/>
                  <a:gd name="T25" fmla="*/ 2 h 62"/>
                  <a:gd name="T26" fmla="*/ 0 w 59"/>
                  <a:gd name="T27" fmla="*/ 2 h 62"/>
                  <a:gd name="T28" fmla="*/ 0 w 59"/>
                  <a:gd name="T29" fmla="*/ 1 h 62"/>
                  <a:gd name="T30" fmla="*/ 3 w 59"/>
                  <a:gd name="T31" fmla="*/ 0 h 62"/>
                  <a:gd name="T32" fmla="*/ 7 w 59"/>
                  <a:gd name="T33" fmla="*/ 0 h 62"/>
                  <a:gd name="T34" fmla="*/ 11 w 59"/>
                  <a:gd name="T35" fmla="*/ 1 h 62"/>
                  <a:gd name="T36" fmla="*/ 11 w 59"/>
                  <a:gd name="T37" fmla="*/ 1 h 62"/>
                  <a:gd name="T38" fmla="*/ 24 w 59"/>
                  <a:gd name="T39" fmla="*/ 5 h 62"/>
                  <a:gd name="T40" fmla="*/ 30 w 59"/>
                  <a:gd name="T41" fmla="*/ 7 h 62"/>
                  <a:gd name="T42" fmla="*/ 34 w 59"/>
                  <a:gd name="T43" fmla="*/ 7 h 62"/>
                  <a:gd name="T44" fmla="*/ 34 w 59"/>
                  <a:gd name="T45" fmla="*/ 7 h 62"/>
                  <a:gd name="T46" fmla="*/ 46 w 59"/>
                  <a:gd name="T47" fmla="*/ 4 h 62"/>
                  <a:gd name="T48" fmla="*/ 53 w 59"/>
                  <a:gd name="T49" fmla="*/ 2 h 62"/>
                  <a:gd name="T50" fmla="*/ 55 w 59"/>
                  <a:gd name="T51" fmla="*/ 4 h 62"/>
                  <a:gd name="T52" fmla="*/ 56 w 59"/>
                  <a:gd name="T53" fmla="*/ 4 h 62"/>
                  <a:gd name="T54" fmla="*/ 56 w 59"/>
                  <a:gd name="T55" fmla="*/ 4 h 62"/>
                  <a:gd name="T56" fmla="*/ 58 w 59"/>
                  <a:gd name="T57" fmla="*/ 7 h 62"/>
                  <a:gd name="T58" fmla="*/ 58 w 59"/>
                  <a:gd name="T59" fmla="*/ 8 h 62"/>
                  <a:gd name="T60" fmla="*/ 58 w 59"/>
                  <a:gd name="T61" fmla="*/ 10 h 62"/>
                  <a:gd name="T62" fmla="*/ 58 w 59"/>
                  <a:gd name="T63" fmla="*/ 13 h 62"/>
                  <a:gd name="T64" fmla="*/ 58 w 59"/>
                  <a:gd name="T65" fmla="*/ 13 h 62"/>
                  <a:gd name="T66" fmla="*/ 59 w 59"/>
                  <a:gd name="T67" fmla="*/ 18 h 62"/>
                  <a:gd name="T68" fmla="*/ 59 w 59"/>
                  <a:gd name="T69" fmla="*/ 24 h 62"/>
                  <a:gd name="T70" fmla="*/ 59 w 59"/>
                  <a:gd name="T71" fmla="*/ 30 h 62"/>
                  <a:gd name="T72" fmla="*/ 58 w 59"/>
                  <a:gd name="T73" fmla="*/ 34 h 62"/>
                  <a:gd name="T74" fmla="*/ 58 w 59"/>
                  <a:gd name="T75" fmla="*/ 34 h 62"/>
                  <a:gd name="T76" fmla="*/ 53 w 59"/>
                  <a:gd name="T77" fmla="*/ 42 h 62"/>
                  <a:gd name="T78" fmla="*/ 50 w 59"/>
                  <a:gd name="T79" fmla="*/ 47 h 62"/>
                  <a:gd name="T80" fmla="*/ 50 w 59"/>
                  <a:gd name="T81" fmla="*/ 47 h 62"/>
                  <a:gd name="T82" fmla="*/ 52 w 59"/>
                  <a:gd name="T83" fmla="*/ 52 h 62"/>
                  <a:gd name="T84" fmla="*/ 50 w 59"/>
                  <a:gd name="T85" fmla="*/ 55 h 62"/>
                  <a:gd name="T86" fmla="*/ 49 w 59"/>
                  <a:gd name="T87" fmla="*/ 55 h 62"/>
                  <a:gd name="T88" fmla="*/ 49 w 59"/>
                  <a:gd name="T89" fmla="*/ 55 h 62"/>
                  <a:gd name="T90" fmla="*/ 46 w 59"/>
                  <a:gd name="T91" fmla="*/ 50 h 62"/>
                  <a:gd name="T92" fmla="*/ 45 w 59"/>
                  <a:gd name="T93" fmla="*/ 49 h 62"/>
                  <a:gd name="T94" fmla="*/ 43 w 59"/>
                  <a:gd name="T95" fmla="*/ 49 h 62"/>
                  <a:gd name="T96" fmla="*/ 43 w 59"/>
                  <a:gd name="T97" fmla="*/ 49 h 62"/>
                  <a:gd name="T98" fmla="*/ 39 w 59"/>
                  <a:gd name="T99" fmla="*/ 58 h 62"/>
                  <a:gd name="T100" fmla="*/ 36 w 59"/>
                  <a:gd name="T101" fmla="*/ 60 h 62"/>
                  <a:gd name="T102" fmla="*/ 33 w 59"/>
                  <a:gd name="T103" fmla="*/ 62 h 62"/>
                  <a:gd name="T104" fmla="*/ 32 w 59"/>
                  <a:gd name="T105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9" h="62">
                    <a:moveTo>
                      <a:pt x="32" y="62"/>
                    </a:moveTo>
                    <a:lnTo>
                      <a:pt x="32" y="62"/>
                    </a:lnTo>
                    <a:lnTo>
                      <a:pt x="26" y="60"/>
                    </a:lnTo>
                    <a:lnTo>
                      <a:pt x="19" y="56"/>
                    </a:lnTo>
                    <a:lnTo>
                      <a:pt x="14" y="50"/>
                    </a:lnTo>
                    <a:lnTo>
                      <a:pt x="13" y="46"/>
                    </a:lnTo>
                    <a:lnTo>
                      <a:pt x="13" y="43"/>
                    </a:lnTo>
                    <a:lnTo>
                      <a:pt x="13" y="43"/>
                    </a:lnTo>
                    <a:lnTo>
                      <a:pt x="13" y="34"/>
                    </a:lnTo>
                    <a:lnTo>
                      <a:pt x="10" y="29"/>
                    </a:lnTo>
                    <a:lnTo>
                      <a:pt x="10" y="29"/>
                    </a:lnTo>
                    <a:lnTo>
                      <a:pt x="4" y="1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1" y="1"/>
                    </a:lnTo>
                    <a:lnTo>
                      <a:pt x="24" y="5"/>
                    </a:lnTo>
                    <a:lnTo>
                      <a:pt x="30" y="7"/>
                    </a:lnTo>
                    <a:lnTo>
                      <a:pt x="34" y="7"/>
                    </a:lnTo>
                    <a:lnTo>
                      <a:pt x="34" y="7"/>
                    </a:lnTo>
                    <a:lnTo>
                      <a:pt x="46" y="4"/>
                    </a:lnTo>
                    <a:lnTo>
                      <a:pt x="53" y="2"/>
                    </a:lnTo>
                    <a:lnTo>
                      <a:pt x="55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8" y="7"/>
                    </a:lnTo>
                    <a:lnTo>
                      <a:pt x="58" y="8"/>
                    </a:lnTo>
                    <a:lnTo>
                      <a:pt x="58" y="10"/>
                    </a:lnTo>
                    <a:lnTo>
                      <a:pt x="58" y="13"/>
                    </a:lnTo>
                    <a:lnTo>
                      <a:pt x="58" y="13"/>
                    </a:lnTo>
                    <a:lnTo>
                      <a:pt x="59" y="18"/>
                    </a:lnTo>
                    <a:lnTo>
                      <a:pt x="59" y="24"/>
                    </a:lnTo>
                    <a:lnTo>
                      <a:pt x="59" y="30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3" y="42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2" y="52"/>
                    </a:lnTo>
                    <a:lnTo>
                      <a:pt x="50" y="55"/>
                    </a:lnTo>
                    <a:lnTo>
                      <a:pt x="49" y="55"/>
                    </a:lnTo>
                    <a:lnTo>
                      <a:pt x="49" y="55"/>
                    </a:lnTo>
                    <a:lnTo>
                      <a:pt x="46" y="50"/>
                    </a:lnTo>
                    <a:lnTo>
                      <a:pt x="45" y="49"/>
                    </a:lnTo>
                    <a:lnTo>
                      <a:pt x="43" y="49"/>
                    </a:lnTo>
                    <a:lnTo>
                      <a:pt x="43" y="49"/>
                    </a:lnTo>
                    <a:lnTo>
                      <a:pt x="39" y="58"/>
                    </a:lnTo>
                    <a:lnTo>
                      <a:pt x="36" y="60"/>
                    </a:lnTo>
                    <a:lnTo>
                      <a:pt x="33" y="62"/>
                    </a:lnTo>
                    <a:lnTo>
                      <a:pt x="32" y="6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40" name="Freeform 894"/>
              <p:cNvSpPr>
                <a:spLocks/>
              </p:cNvSpPr>
              <p:nvPr/>
            </p:nvSpPr>
            <p:spPr bwMode="auto">
              <a:xfrm>
                <a:off x="7041192" y="4022480"/>
                <a:ext cx="113765" cy="134539"/>
              </a:xfrm>
              <a:custGeom>
                <a:avLst/>
                <a:gdLst>
                  <a:gd name="T0" fmla="*/ 41 w 115"/>
                  <a:gd name="T1" fmla="*/ 135 h 136"/>
                  <a:gd name="T2" fmla="*/ 32 w 115"/>
                  <a:gd name="T3" fmla="*/ 136 h 136"/>
                  <a:gd name="T4" fmla="*/ 25 w 115"/>
                  <a:gd name="T5" fmla="*/ 135 h 136"/>
                  <a:gd name="T6" fmla="*/ 25 w 115"/>
                  <a:gd name="T7" fmla="*/ 133 h 136"/>
                  <a:gd name="T8" fmla="*/ 22 w 115"/>
                  <a:gd name="T9" fmla="*/ 126 h 136"/>
                  <a:gd name="T10" fmla="*/ 19 w 115"/>
                  <a:gd name="T11" fmla="*/ 126 h 136"/>
                  <a:gd name="T12" fmla="*/ 9 w 115"/>
                  <a:gd name="T13" fmla="*/ 123 h 136"/>
                  <a:gd name="T14" fmla="*/ 2 w 115"/>
                  <a:gd name="T15" fmla="*/ 119 h 136"/>
                  <a:gd name="T16" fmla="*/ 0 w 115"/>
                  <a:gd name="T17" fmla="*/ 118 h 136"/>
                  <a:gd name="T18" fmla="*/ 9 w 115"/>
                  <a:gd name="T19" fmla="*/ 105 h 136"/>
                  <a:gd name="T20" fmla="*/ 13 w 115"/>
                  <a:gd name="T21" fmla="*/ 100 h 136"/>
                  <a:gd name="T22" fmla="*/ 19 w 115"/>
                  <a:gd name="T23" fmla="*/ 96 h 136"/>
                  <a:gd name="T24" fmla="*/ 23 w 115"/>
                  <a:gd name="T25" fmla="*/ 86 h 136"/>
                  <a:gd name="T26" fmla="*/ 26 w 115"/>
                  <a:gd name="T27" fmla="*/ 80 h 136"/>
                  <a:gd name="T28" fmla="*/ 28 w 115"/>
                  <a:gd name="T29" fmla="*/ 78 h 136"/>
                  <a:gd name="T30" fmla="*/ 38 w 115"/>
                  <a:gd name="T31" fmla="*/ 73 h 136"/>
                  <a:gd name="T32" fmla="*/ 47 w 115"/>
                  <a:gd name="T33" fmla="*/ 64 h 136"/>
                  <a:gd name="T34" fmla="*/ 52 w 115"/>
                  <a:gd name="T35" fmla="*/ 60 h 136"/>
                  <a:gd name="T36" fmla="*/ 65 w 115"/>
                  <a:gd name="T37" fmla="*/ 47 h 136"/>
                  <a:gd name="T38" fmla="*/ 68 w 115"/>
                  <a:gd name="T39" fmla="*/ 41 h 136"/>
                  <a:gd name="T40" fmla="*/ 70 w 115"/>
                  <a:gd name="T41" fmla="*/ 31 h 136"/>
                  <a:gd name="T42" fmla="*/ 74 w 115"/>
                  <a:gd name="T43" fmla="*/ 26 h 136"/>
                  <a:gd name="T44" fmla="*/ 77 w 115"/>
                  <a:gd name="T45" fmla="*/ 22 h 136"/>
                  <a:gd name="T46" fmla="*/ 84 w 115"/>
                  <a:gd name="T47" fmla="*/ 6 h 136"/>
                  <a:gd name="T48" fmla="*/ 87 w 115"/>
                  <a:gd name="T49" fmla="*/ 2 h 136"/>
                  <a:gd name="T50" fmla="*/ 93 w 115"/>
                  <a:gd name="T51" fmla="*/ 0 h 136"/>
                  <a:gd name="T52" fmla="*/ 94 w 115"/>
                  <a:gd name="T53" fmla="*/ 3 h 136"/>
                  <a:gd name="T54" fmla="*/ 97 w 115"/>
                  <a:gd name="T55" fmla="*/ 6 h 136"/>
                  <a:gd name="T56" fmla="*/ 100 w 115"/>
                  <a:gd name="T57" fmla="*/ 7 h 136"/>
                  <a:gd name="T58" fmla="*/ 102 w 115"/>
                  <a:gd name="T59" fmla="*/ 13 h 136"/>
                  <a:gd name="T60" fmla="*/ 103 w 115"/>
                  <a:gd name="T61" fmla="*/ 15 h 136"/>
                  <a:gd name="T62" fmla="*/ 107 w 115"/>
                  <a:gd name="T63" fmla="*/ 10 h 136"/>
                  <a:gd name="T64" fmla="*/ 112 w 115"/>
                  <a:gd name="T65" fmla="*/ 9 h 136"/>
                  <a:gd name="T66" fmla="*/ 113 w 115"/>
                  <a:gd name="T67" fmla="*/ 10 h 136"/>
                  <a:gd name="T68" fmla="*/ 115 w 115"/>
                  <a:gd name="T69" fmla="*/ 18 h 136"/>
                  <a:gd name="T70" fmla="*/ 115 w 115"/>
                  <a:gd name="T71" fmla="*/ 34 h 136"/>
                  <a:gd name="T72" fmla="*/ 112 w 115"/>
                  <a:gd name="T73" fmla="*/ 38 h 136"/>
                  <a:gd name="T74" fmla="*/ 102 w 115"/>
                  <a:gd name="T75" fmla="*/ 58 h 136"/>
                  <a:gd name="T76" fmla="*/ 100 w 115"/>
                  <a:gd name="T77" fmla="*/ 63 h 136"/>
                  <a:gd name="T78" fmla="*/ 102 w 115"/>
                  <a:gd name="T79" fmla="*/ 71 h 136"/>
                  <a:gd name="T80" fmla="*/ 102 w 115"/>
                  <a:gd name="T81" fmla="*/ 73 h 136"/>
                  <a:gd name="T82" fmla="*/ 96 w 115"/>
                  <a:gd name="T83" fmla="*/ 71 h 136"/>
                  <a:gd name="T84" fmla="*/ 90 w 115"/>
                  <a:gd name="T85" fmla="*/ 73 h 136"/>
                  <a:gd name="T86" fmla="*/ 78 w 115"/>
                  <a:gd name="T87" fmla="*/ 80 h 136"/>
                  <a:gd name="T88" fmla="*/ 68 w 115"/>
                  <a:gd name="T89" fmla="*/ 89 h 136"/>
                  <a:gd name="T90" fmla="*/ 67 w 115"/>
                  <a:gd name="T91" fmla="*/ 97 h 136"/>
                  <a:gd name="T92" fmla="*/ 65 w 115"/>
                  <a:gd name="T93" fmla="*/ 107 h 136"/>
                  <a:gd name="T94" fmla="*/ 62 w 115"/>
                  <a:gd name="T95" fmla="*/ 115 h 136"/>
                  <a:gd name="T96" fmla="*/ 57 w 115"/>
                  <a:gd name="T97" fmla="*/ 122 h 136"/>
                  <a:gd name="T98" fmla="*/ 41 w 115"/>
                  <a:gd name="T99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5" h="136">
                    <a:moveTo>
                      <a:pt x="41" y="135"/>
                    </a:moveTo>
                    <a:lnTo>
                      <a:pt x="41" y="135"/>
                    </a:lnTo>
                    <a:lnTo>
                      <a:pt x="38" y="135"/>
                    </a:lnTo>
                    <a:lnTo>
                      <a:pt x="32" y="136"/>
                    </a:lnTo>
                    <a:lnTo>
                      <a:pt x="28" y="135"/>
                    </a:lnTo>
                    <a:lnTo>
                      <a:pt x="25" y="135"/>
                    </a:lnTo>
                    <a:lnTo>
                      <a:pt x="25" y="133"/>
                    </a:lnTo>
                    <a:lnTo>
                      <a:pt x="25" y="133"/>
                    </a:lnTo>
                    <a:lnTo>
                      <a:pt x="22" y="128"/>
                    </a:lnTo>
                    <a:lnTo>
                      <a:pt x="22" y="126"/>
                    </a:lnTo>
                    <a:lnTo>
                      <a:pt x="19" y="126"/>
                    </a:lnTo>
                    <a:lnTo>
                      <a:pt x="19" y="126"/>
                    </a:lnTo>
                    <a:lnTo>
                      <a:pt x="15" y="125"/>
                    </a:lnTo>
                    <a:lnTo>
                      <a:pt x="9" y="123"/>
                    </a:lnTo>
                    <a:lnTo>
                      <a:pt x="3" y="120"/>
                    </a:lnTo>
                    <a:lnTo>
                      <a:pt x="2" y="119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5" y="110"/>
                    </a:lnTo>
                    <a:lnTo>
                      <a:pt x="9" y="105"/>
                    </a:lnTo>
                    <a:lnTo>
                      <a:pt x="9" y="105"/>
                    </a:lnTo>
                    <a:lnTo>
                      <a:pt x="13" y="100"/>
                    </a:lnTo>
                    <a:lnTo>
                      <a:pt x="19" y="96"/>
                    </a:lnTo>
                    <a:lnTo>
                      <a:pt x="19" y="96"/>
                    </a:lnTo>
                    <a:lnTo>
                      <a:pt x="20" y="91"/>
                    </a:lnTo>
                    <a:lnTo>
                      <a:pt x="23" y="86"/>
                    </a:lnTo>
                    <a:lnTo>
                      <a:pt x="25" y="81"/>
                    </a:lnTo>
                    <a:lnTo>
                      <a:pt x="26" y="80"/>
                    </a:lnTo>
                    <a:lnTo>
                      <a:pt x="28" y="78"/>
                    </a:lnTo>
                    <a:lnTo>
                      <a:pt x="28" y="78"/>
                    </a:lnTo>
                    <a:lnTo>
                      <a:pt x="32" y="77"/>
                    </a:lnTo>
                    <a:lnTo>
                      <a:pt x="38" y="73"/>
                    </a:lnTo>
                    <a:lnTo>
                      <a:pt x="42" y="70"/>
                    </a:lnTo>
                    <a:lnTo>
                      <a:pt x="47" y="64"/>
                    </a:lnTo>
                    <a:lnTo>
                      <a:pt x="47" y="64"/>
                    </a:lnTo>
                    <a:lnTo>
                      <a:pt x="52" y="60"/>
                    </a:lnTo>
                    <a:lnTo>
                      <a:pt x="58" y="52"/>
                    </a:lnTo>
                    <a:lnTo>
                      <a:pt x="65" y="47"/>
                    </a:lnTo>
                    <a:lnTo>
                      <a:pt x="67" y="44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70" y="31"/>
                    </a:lnTo>
                    <a:lnTo>
                      <a:pt x="71" y="28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7" y="22"/>
                    </a:lnTo>
                    <a:lnTo>
                      <a:pt x="78" y="18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7" y="2"/>
                    </a:lnTo>
                    <a:lnTo>
                      <a:pt x="90" y="0"/>
                    </a:lnTo>
                    <a:lnTo>
                      <a:pt x="93" y="0"/>
                    </a:lnTo>
                    <a:lnTo>
                      <a:pt x="94" y="3"/>
                    </a:lnTo>
                    <a:lnTo>
                      <a:pt x="94" y="3"/>
                    </a:lnTo>
                    <a:lnTo>
                      <a:pt x="96" y="5"/>
                    </a:lnTo>
                    <a:lnTo>
                      <a:pt x="97" y="6"/>
                    </a:lnTo>
                    <a:lnTo>
                      <a:pt x="99" y="6"/>
                    </a:lnTo>
                    <a:lnTo>
                      <a:pt x="100" y="7"/>
                    </a:lnTo>
                    <a:lnTo>
                      <a:pt x="100" y="7"/>
                    </a:lnTo>
                    <a:lnTo>
                      <a:pt x="102" y="13"/>
                    </a:lnTo>
                    <a:lnTo>
                      <a:pt x="102" y="15"/>
                    </a:lnTo>
                    <a:lnTo>
                      <a:pt x="103" y="15"/>
                    </a:lnTo>
                    <a:lnTo>
                      <a:pt x="103" y="15"/>
                    </a:lnTo>
                    <a:lnTo>
                      <a:pt x="107" y="10"/>
                    </a:lnTo>
                    <a:lnTo>
                      <a:pt x="110" y="9"/>
                    </a:lnTo>
                    <a:lnTo>
                      <a:pt x="112" y="9"/>
                    </a:lnTo>
                    <a:lnTo>
                      <a:pt x="112" y="9"/>
                    </a:lnTo>
                    <a:lnTo>
                      <a:pt x="113" y="10"/>
                    </a:lnTo>
                    <a:lnTo>
                      <a:pt x="115" y="18"/>
                    </a:lnTo>
                    <a:lnTo>
                      <a:pt x="115" y="18"/>
                    </a:lnTo>
                    <a:lnTo>
                      <a:pt x="115" y="29"/>
                    </a:lnTo>
                    <a:lnTo>
                      <a:pt x="115" y="34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06" y="48"/>
                    </a:lnTo>
                    <a:lnTo>
                      <a:pt x="102" y="58"/>
                    </a:lnTo>
                    <a:lnTo>
                      <a:pt x="102" y="58"/>
                    </a:lnTo>
                    <a:lnTo>
                      <a:pt x="100" y="63"/>
                    </a:lnTo>
                    <a:lnTo>
                      <a:pt x="102" y="67"/>
                    </a:lnTo>
                    <a:lnTo>
                      <a:pt x="102" y="71"/>
                    </a:lnTo>
                    <a:lnTo>
                      <a:pt x="102" y="73"/>
                    </a:lnTo>
                    <a:lnTo>
                      <a:pt x="102" y="73"/>
                    </a:lnTo>
                    <a:lnTo>
                      <a:pt x="99" y="73"/>
                    </a:lnTo>
                    <a:lnTo>
                      <a:pt x="96" y="71"/>
                    </a:lnTo>
                    <a:lnTo>
                      <a:pt x="93" y="71"/>
                    </a:lnTo>
                    <a:lnTo>
                      <a:pt x="90" y="73"/>
                    </a:lnTo>
                    <a:lnTo>
                      <a:pt x="90" y="73"/>
                    </a:lnTo>
                    <a:lnTo>
                      <a:pt x="78" y="80"/>
                    </a:lnTo>
                    <a:lnTo>
                      <a:pt x="71" y="84"/>
                    </a:lnTo>
                    <a:lnTo>
                      <a:pt x="68" y="89"/>
                    </a:lnTo>
                    <a:lnTo>
                      <a:pt x="68" y="89"/>
                    </a:lnTo>
                    <a:lnTo>
                      <a:pt x="67" y="97"/>
                    </a:lnTo>
                    <a:lnTo>
                      <a:pt x="67" y="103"/>
                    </a:lnTo>
                    <a:lnTo>
                      <a:pt x="65" y="107"/>
                    </a:lnTo>
                    <a:lnTo>
                      <a:pt x="65" y="107"/>
                    </a:lnTo>
                    <a:lnTo>
                      <a:pt x="62" y="115"/>
                    </a:lnTo>
                    <a:lnTo>
                      <a:pt x="57" y="122"/>
                    </a:lnTo>
                    <a:lnTo>
                      <a:pt x="57" y="122"/>
                    </a:lnTo>
                    <a:lnTo>
                      <a:pt x="49" y="129"/>
                    </a:lnTo>
                    <a:lnTo>
                      <a:pt x="41" y="13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41" name="Freeform 895"/>
              <p:cNvSpPr>
                <a:spLocks/>
              </p:cNvSpPr>
              <p:nvPr/>
            </p:nvSpPr>
            <p:spPr bwMode="auto">
              <a:xfrm>
                <a:off x="7041192" y="4022480"/>
                <a:ext cx="113765" cy="134539"/>
              </a:xfrm>
              <a:custGeom>
                <a:avLst/>
                <a:gdLst>
                  <a:gd name="T0" fmla="*/ 41 w 115"/>
                  <a:gd name="T1" fmla="*/ 135 h 136"/>
                  <a:gd name="T2" fmla="*/ 32 w 115"/>
                  <a:gd name="T3" fmla="*/ 136 h 136"/>
                  <a:gd name="T4" fmla="*/ 25 w 115"/>
                  <a:gd name="T5" fmla="*/ 135 h 136"/>
                  <a:gd name="T6" fmla="*/ 25 w 115"/>
                  <a:gd name="T7" fmla="*/ 133 h 136"/>
                  <a:gd name="T8" fmla="*/ 22 w 115"/>
                  <a:gd name="T9" fmla="*/ 126 h 136"/>
                  <a:gd name="T10" fmla="*/ 19 w 115"/>
                  <a:gd name="T11" fmla="*/ 126 h 136"/>
                  <a:gd name="T12" fmla="*/ 9 w 115"/>
                  <a:gd name="T13" fmla="*/ 123 h 136"/>
                  <a:gd name="T14" fmla="*/ 2 w 115"/>
                  <a:gd name="T15" fmla="*/ 119 h 136"/>
                  <a:gd name="T16" fmla="*/ 0 w 115"/>
                  <a:gd name="T17" fmla="*/ 118 h 136"/>
                  <a:gd name="T18" fmla="*/ 9 w 115"/>
                  <a:gd name="T19" fmla="*/ 105 h 136"/>
                  <a:gd name="T20" fmla="*/ 13 w 115"/>
                  <a:gd name="T21" fmla="*/ 100 h 136"/>
                  <a:gd name="T22" fmla="*/ 19 w 115"/>
                  <a:gd name="T23" fmla="*/ 96 h 136"/>
                  <a:gd name="T24" fmla="*/ 23 w 115"/>
                  <a:gd name="T25" fmla="*/ 86 h 136"/>
                  <a:gd name="T26" fmla="*/ 26 w 115"/>
                  <a:gd name="T27" fmla="*/ 80 h 136"/>
                  <a:gd name="T28" fmla="*/ 28 w 115"/>
                  <a:gd name="T29" fmla="*/ 78 h 136"/>
                  <a:gd name="T30" fmla="*/ 38 w 115"/>
                  <a:gd name="T31" fmla="*/ 73 h 136"/>
                  <a:gd name="T32" fmla="*/ 47 w 115"/>
                  <a:gd name="T33" fmla="*/ 64 h 136"/>
                  <a:gd name="T34" fmla="*/ 52 w 115"/>
                  <a:gd name="T35" fmla="*/ 60 h 136"/>
                  <a:gd name="T36" fmla="*/ 65 w 115"/>
                  <a:gd name="T37" fmla="*/ 47 h 136"/>
                  <a:gd name="T38" fmla="*/ 68 w 115"/>
                  <a:gd name="T39" fmla="*/ 41 h 136"/>
                  <a:gd name="T40" fmla="*/ 70 w 115"/>
                  <a:gd name="T41" fmla="*/ 31 h 136"/>
                  <a:gd name="T42" fmla="*/ 74 w 115"/>
                  <a:gd name="T43" fmla="*/ 26 h 136"/>
                  <a:gd name="T44" fmla="*/ 77 w 115"/>
                  <a:gd name="T45" fmla="*/ 22 h 136"/>
                  <a:gd name="T46" fmla="*/ 84 w 115"/>
                  <a:gd name="T47" fmla="*/ 6 h 136"/>
                  <a:gd name="T48" fmla="*/ 87 w 115"/>
                  <a:gd name="T49" fmla="*/ 2 h 136"/>
                  <a:gd name="T50" fmla="*/ 93 w 115"/>
                  <a:gd name="T51" fmla="*/ 0 h 136"/>
                  <a:gd name="T52" fmla="*/ 94 w 115"/>
                  <a:gd name="T53" fmla="*/ 3 h 136"/>
                  <a:gd name="T54" fmla="*/ 97 w 115"/>
                  <a:gd name="T55" fmla="*/ 6 h 136"/>
                  <a:gd name="T56" fmla="*/ 100 w 115"/>
                  <a:gd name="T57" fmla="*/ 7 h 136"/>
                  <a:gd name="T58" fmla="*/ 102 w 115"/>
                  <a:gd name="T59" fmla="*/ 13 h 136"/>
                  <a:gd name="T60" fmla="*/ 103 w 115"/>
                  <a:gd name="T61" fmla="*/ 15 h 136"/>
                  <a:gd name="T62" fmla="*/ 107 w 115"/>
                  <a:gd name="T63" fmla="*/ 10 h 136"/>
                  <a:gd name="T64" fmla="*/ 112 w 115"/>
                  <a:gd name="T65" fmla="*/ 9 h 136"/>
                  <a:gd name="T66" fmla="*/ 113 w 115"/>
                  <a:gd name="T67" fmla="*/ 10 h 136"/>
                  <a:gd name="T68" fmla="*/ 115 w 115"/>
                  <a:gd name="T69" fmla="*/ 18 h 136"/>
                  <a:gd name="T70" fmla="*/ 115 w 115"/>
                  <a:gd name="T71" fmla="*/ 34 h 136"/>
                  <a:gd name="T72" fmla="*/ 112 w 115"/>
                  <a:gd name="T73" fmla="*/ 38 h 136"/>
                  <a:gd name="T74" fmla="*/ 102 w 115"/>
                  <a:gd name="T75" fmla="*/ 58 h 136"/>
                  <a:gd name="T76" fmla="*/ 100 w 115"/>
                  <a:gd name="T77" fmla="*/ 63 h 136"/>
                  <a:gd name="T78" fmla="*/ 102 w 115"/>
                  <a:gd name="T79" fmla="*/ 71 h 136"/>
                  <a:gd name="T80" fmla="*/ 102 w 115"/>
                  <a:gd name="T81" fmla="*/ 73 h 136"/>
                  <a:gd name="T82" fmla="*/ 96 w 115"/>
                  <a:gd name="T83" fmla="*/ 71 h 136"/>
                  <a:gd name="T84" fmla="*/ 90 w 115"/>
                  <a:gd name="T85" fmla="*/ 73 h 136"/>
                  <a:gd name="T86" fmla="*/ 78 w 115"/>
                  <a:gd name="T87" fmla="*/ 80 h 136"/>
                  <a:gd name="T88" fmla="*/ 68 w 115"/>
                  <a:gd name="T89" fmla="*/ 89 h 136"/>
                  <a:gd name="T90" fmla="*/ 67 w 115"/>
                  <a:gd name="T91" fmla="*/ 97 h 136"/>
                  <a:gd name="T92" fmla="*/ 65 w 115"/>
                  <a:gd name="T93" fmla="*/ 107 h 136"/>
                  <a:gd name="T94" fmla="*/ 62 w 115"/>
                  <a:gd name="T95" fmla="*/ 115 h 136"/>
                  <a:gd name="T96" fmla="*/ 57 w 115"/>
                  <a:gd name="T97" fmla="*/ 122 h 136"/>
                  <a:gd name="T98" fmla="*/ 41 w 115"/>
                  <a:gd name="T99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5" h="136">
                    <a:moveTo>
                      <a:pt x="41" y="135"/>
                    </a:moveTo>
                    <a:lnTo>
                      <a:pt x="41" y="135"/>
                    </a:lnTo>
                    <a:lnTo>
                      <a:pt x="38" y="135"/>
                    </a:lnTo>
                    <a:lnTo>
                      <a:pt x="32" y="136"/>
                    </a:lnTo>
                    <a:lnTo>
                      <a:pt x="28" y="135"/>
                    </a:lnTo>
                    <a:lnTo>
                      <a:pt x="25" y="135"/>
                    </a:lnTo>
                    <a:lnTo>
                      <a:pt x="25" y="133"/>
                    </a:lnTo>
                    <a:lnTo>
                      <a:pt x="25" y="133"/>
                    </a:lnTo>
                    <a:lnTo>
                      <a:pt x="22" y="128"/>
                    </a:lnTo>
                    <a:lnTo>
                      <a:pt x="22" y="126"/>
                    </a:lnTo>
                    <a:lnTo>
                      <a:pt x="19" y="126"/>
                    </a:lnTo>
                    <a:lnTo>
                      <a:pt x="19" y="126"/>
                    </a:lnTo>
                    <a:lnTo>
                      <a:pt x="15" y="125"/>
                    </a:lnTo>
                    <a:lnTo>
                      <a:pt x="9" y="123"/>
                    </a:lnTo>
                    <a:lnTo>
                      <a:pt x="3" y="120"/>
                    </a:lnTo>
                    <a:lnTo>
                      <a:pt x="2" y="119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5" y="110"/>
                    </a:lnTo>
                    <a:lnTo>
                      <a:pt x="9" y="105"/>
                    </a:lnTo>
                    <a:lnTo>
                      <a:pt x="9" y="105"/>
                    </a:lnTo>
                    <a:lnTo>
                      <a:pt x="13" y="100"/>
                    </a:lnTo>
                    <a:lnTo>
                      <a:pt x="19" y="96"/>
                    </a:lnTo>
                    <a:lnTo>
                      <a:pt x="19" y="96"/>
                    </a:lnTo>
                    <a:lnTo>
                      <a:pt x="20" y="91"/>
                    </a:lnTo>
                    <a:lnTo>
                      <a:pt x="23" y="86"/>
                    </a:lnTo>
                    <a:lnTo>
                      <a:pt x="25" y="81"/>
                    </a:lnTo>
                    <a:lnTo>
                      <a:pt x="26" y="80"/>
                    </a:lnTo>
                    <a:lnTo>
                      <a:pt x="28" y="78"/>
                    </a:lnTo>
                    <a:lnTo>
                      <a:pt x="28" y="78"/>
                    </a:lnTo>
                    <a:lnTo>
                      <a:pt x="32" y="77"/>
                    </a:lnTo>
                    <a:lnTo>
                      <a:pt x="38" y="73"/>
                    </a:lnTo>
                    <a:lnTo>
                      <a:pt x="42" y="70"/>
                    </a:lnTo>
                    <a:lnTo>
                      <a:pt x="47" y="64"/>
                    </a:lnTo>
                    <a:lnTo>
                      <a:pt x="47" y="64"/>
                    </a:lnTo>
                    <a:lnTo>
                      <a:pt x="52" y="60"/>
                    </a:lnTo>
                    <a:lnTo>
                      <a:pt x="58" y="52"/>
                    </a:lnTo>
                    <a:lnTo>
                      <a:pt x="65" y="47"/>
                    </a:lnTo>
                    <a:lnTo>
                      <a:pt x="67" y="44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70" y="31"/>
                    </a:lnTo>
                    <a:lnTo>
                      <a:pt x="71" y="28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7" y="22"/>
                    </a:lnTo>
                    <a:lnTo>
                      <a:pt x="78" y="18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7" y="2"/>
                    </a:lnTo>
                    <a:lnTo>
                      <a:pt x="90" y="0"/>
                    </a:lnTo>
                    <a:lnTo>
                      <a:pt x="93" y="0"/>
                    </a:lnTo>
                    <a:lnTo>
                      <a:pt x="94" y="3"/>
                    </a:lnTo>
                    <a:lnTo>
                      <a:pt x="94" y="3"/>
                    </a:lnTo>
                    <a:lnTo>
                      <a:pt x="96" y="5"/>
                    </a:lnTo>
                    <a:lnTo>
                      <a:pt x="97" y="6"/>
                    </a:lnTo>
                    <a:lnTo>
                      <a:pt x="99" y="6"/>
                    </a:lnTo>
                    <a:lnTo>
                      <a:pt x="100" y="7"/>
                    </a:lnTo>
                    <a:lnTo>
                      <a:pt x="100" y="7"/>
                    </a:lnTo>
                    <a:lnTo>
                      <a:pt x="102" y="13"/>
                    </a:lnTo>
                    <a:lnTo>
                      <a:pt x="102" y="15"/>
                    </a:lnTo>
                    <a:lnTo>
                      <a:pt x="103" y="15"/>
                    </a:lnTo>
                    <a:lnTo>
                      <a:pt x="103" y="15"/>
                    </a:lnTo>
                    <a:lnTo>
                      <a:pt x="107" y="10"/>
                    </a:lnTo>
                    <a:lnTo>
                      <a:pt x="110" y="9"/>
                    </a:lnTo>
                    <a:lnTo>
                      <a:pt x="112" y="9"/>
                    </a:lnTo>
                    <a:lnTo>
                      <a:pt x="112" y="9"/>
                    </a:lnTo>
                    <a:lnTo>
                      <a:pt x="113" y="10"/>
                    </a:lnTo>
                    <a:lnTo>
                      <a:pt x="115" y="18"/>
                    </a:lnTo>
                    <a:lnTo>
                      <a:pt x="115" y="18"/>
                    </a:lnTo>
                    <a:lnTo>
                      <a:pt x="115" y="29"/>
                    </a:lnTo>
                    <a:lnTo>
                      <a:pt x="115" y="34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06" y="48"/>
                    </a:lnTo>
                    <a:lnTo>
                      <a:pt x="102" y="58"/>
                    </a:lnTo>
                    <a:lnTo>
                      <a:pt x="102" y="58"/>
                    </a:lnTo>
                    <a:lnTo>
                      <a:pt x="100" y="63"/>
                    </a:lnTo>
                    <a:lnTo>
                      <a:pt x="102" y="67"/>
                    </a:lnTo>
                    <a:lnTo>
                      <a:pt x="102" y="71"/>
                    </a:lnTo>
                    <a:lnTo>
                      <a:pt x="102" y="73"/>
                    </a:lnTo>
                    <a:lnTo>
                      <a:pt x="102" y="73"/>
                    </a:lnTo>
                    <a:lnTo>
                      <a:pt x="99" y="73"/>
                    </a:lnTo>
                    <a:lnTo>
                      <a:pt x="96" y="71"/>
                    </a:lnTo>
                    <a:lnTo>
                      <a:pt x="93" y="71"/>
                    </a:lnTo>
                    <a:lnTo>
                      <a:pt x="90" y="73"/>
                    </a:lnTo>
                    <a:lnTo>
                      <a:pt x="90" y="73"/>
                    </a:lnTo>
                    <a:lnTo>
                      <a:pt x="78" y="80"/>
                    </a:lnTo>
                    <a:lnTo>
                      <a:pt x="71" y="84"/>
                    </a:lnTo>
                    <a:lnTo>
                      <a:pt x="68" y="89"/>
                    </a:lnTo>
                    <a:lnTo>
                      <a:pt x="68" y="89"/>
                    </a:lnTo>
                    <a:lnTo>
                      <a:pt x="67" y="97"/>
                    </a:lnTo>
                    <a:lnTo>
                      <a:pt x="67" y="103"/>
                    </a:lnTo>
                    <a:lnTo>
                      <a:pt x="65" y="107"/>
                    </a:lnTo>
                    <a:lnTo>
                      <a:pt x="65" y="107"/>
                    </a:lnTo>
                    <a:lnTo>
                      <a:pt x="62" y="115"/>
                    </a:lnTo>
                    <a:lnTo>
                      <a:pt x="57" y="122"/>
                    </a:lnTo>
                    <a:lnTo>
                      <a:pt x="57" y="122"/>
                    </a:lnTo>
                    <a:lnTo>
                      <a:pt x="49" y="129"/>
                    </a:lnTo>
                    <a:lnTo>
                      <a:pt x="41" y="13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42" name="Freeform 896"/>
              <p:cNvSpPr>
                <a:spLocks/>
              </p:cNvSpPr>
              <p:nvPr/>
            </p:nvSpPr>
            <p:spPr bwMode="auto">
              <a:xfrm>
                <a:off x="7131214" y="3897833"/>
                <a:ext cx="93980" cy="143443"/>
              </a:xfrm>
              <a:custGeom>
                <a:avLst/>
                <a:gdLst>
                  <a:gd name="T0" fmla="*/ 34 w 95"/>
                  <a:gd name="T1" fmla="*/ 141 h 145"/>
                  <a:gd name="T2" fmla="*/ 40 w 95"/>
                  <a:gd name="T3" fmla="*/ 131 h 145"/>
                  <a:gd name="T4" fmla="*/ 42 w 95"/>
                  <a:gd name="T5" fmla="*/ 120 h 145"/>
                  <a:gd name="T6" fmla="*/ 41 w 95"/>
                  <a:gd name="T7" fmla="*/ 118 h 145"/>
                  <a:gd name="T8" fmla="*/ 27 w 95"/>
                  <a:gd name="T9" fmla="*/ 109 h 145"/>
                  <a:gd name="T10" fmla="*/ 18 w 95"/>
                  <a:gd name="T11" fmla="*/ 102 h 145"/>
                  <a:gd name="T12" fmla="*/ 18 w 95"/>
                  <a:gd name="T13" fmla="*/ 100 h 145"/>
                  <a:gd name="T14" fmla="*/ 29 w 95"/>
                  <a:gd name="T15" fmla="*/ 87 h 145"/>
                  <a:gd name="T16" fmla="*/ 31 w 95"/>
                  <a:gd name="T17" fmla="*/ 81 h 145"/>
                  <a:gd name="T18" fmla="*/ 35 w 95"/>
                  <a:gd name="T19" fmla="*/ 71 h 145"/>
                  <a:gd name="T20" fmla="*/ 37 w 95"/>
                  <a:gd name="T21" fmla="*/ 67 h 145"/>
                  <a:gd name="T22" fmla="*/ 35 w 95"/>
                  <a:gd name="T23" fmla="*/ 65 h 145"/>
                  <a:gd name="T24" fmla="*/ 29 w 95"/>
                  <a:gd name="T25" fmla="*/ 60 h 145"/>
                  <a:gd name="T26" fmla="*/ 32 w 95"/>
                  <a:gd name="T27" fmla="*/ 55 h 145"/>
                  <a:gd name="T28" fmla="*/ 34 w 95"/>
                  <a:gd name="T29" fmla="*/ 54 h 145"/>
                  <a:gd name="T30" fmla="*/ 28 w 95"/>
                  <a:gd name="T31" fmla="*/ 48 h 145"/>
                  <a:gd name="T32" fmla="*/ 24 w 95"/>
                  <a:gd name="T33" fmla="*/ 44 h 145"/>
                  <a:gd name="T34" fmla="*/ 12 w 95"/>
                  <a:gd name="T35" fmla="*/ 23 h 145"/>
                  <a:gd name="T36" fmla="*/ 8 w 95"/>
                  <a:gd name="T37" fmla="*/ 18 h 145"/>
                  <a:gd name="T38" fmla="*/ 0 w 95"/>
                  <a:gd name="T39" fmla="*/ 2 h 145"/>
                  <a:gd name="T40" fmla="*/ 0 w 95"/>
                  <a:gd name="T41" fmla="*/ 0 h 145"/>
                  <a:gd name="T42" fmla="*/ 9 w 95"/>
                  <a:gd name="T43" fmla="*/ 7 h 145"/>
                  <a:gd name="T44" fmla="*/ 19 w 95"/>
                  <a:gd name="T45" fmla="*/ 15 h 145"/>
                  <a:gd name="T46" fmla="*/ 24 w 95"/>
                  <a:gd name="T47" fmla="*/ 18 h 145"/>
                  <a:gd name="T48" fmla="*/ 31 w 95"/>
                  <a:gd name="T49" fmla="*/ 26 h 145"/>
                  <a:gd name="T50" fmla="*/ 32 w 95"/>
                  <a:gd name="T51" fmla="*/ 31 h 145"/>
                  <a:gd name="T52" fmla="*/ 32 w 95"/>
                  <a:gd name="T53" fmla="*/ 42 h 145"/>
                  <a:gd name="T54" fmla="*/ 34 w 95"/>
                  <a:gd name="T55" fmla="*/ 47 h 145"/>
                  <a:gd name="T56" fmla="*/ 41 w 95"/>
                  <a:gd name="T57" fmla="*/ 57 h 145"/>
                  <a:gd name="T58" fmla="*/ 44 w 95"/>
                  <a:gd name="T59" fmla="*/ 57 h 145"/>
                  <a:gd name="T60" fmla="*/ 48 w 95"/>
                  <a:gd name="T61" fmla="*/ 51 h 145"/>
                  <a:gd name="T62" fmla="*/ 47 w 95"/>
                  <a:gd name="T63" fmla="*/ 47 h 145"/>
                  <a:gd name="T64" fmla="*/ 44 w 95"/>
                  <a:gd name="T65" fmla="*/ 38 h 145"/>
                  <a:gd name="T66" fmla="*/ 45 w 95"/>
                  <a:gd name="T67" fmla="*/ 35 h 145"/>
                  <a:gd name="T68" fmla="*/ 45 w 95"/>
                  <a:gd name="T69" fmla="*/ 35 h 145"/>
                  <a:gd name="T70" fmla="*/ 54 w 95"/>
                  <a:gd name="T71" fmla="*/ 57 h 145"/>
                  <a:gd name="T72" fmla="*/ 55 w 95"/>
                  <a:gd name="T73" fmla="*/ 60 h 145"/>
                  <a:gd name="T74" fmla="*/ 64 w 95"/>
                  <a:gd name="T75" fmla="*/ 67 h 145"/>
                  <a:gd name="T76" fmla="*/ 70 w 95"/>
                  <a:gd name="T77" fmla="*/ 70 h 145"/>
                  <a:gd name="T78" fmla="*/ 77 w 95"/>
                  <a:gd name="T79" fmla="*/ 71 h 145"/>
                  <a:gd name="T80" fmla="*/ 83 w 95"/>
                  <a:gd name="T81" fmla="*/ 67 h 145"/>
                  <a:gd name="T82" fmla="*/ 90 w 95"/>
                  <a:gd name="T83" fmla="*/ 67 h 145"/>
                  <a:gd name="T84" fmla="*/ 95 w 95"/>
                  <a:gd name="T85" fmla="*/ 71 h 145"/>
                  <a:gd name="T86" fmla="*/ 93 w 95"/>
                  <a:gd name="T87" fmla="*/ 76 h 145"/>
                  <a:gd name="T88" fmla="*/ 84 w 95"/>
                  <a:gd name="T89" fmla="*/ 90 h 145"/>
                  <a:gd name="T90" fmla="*/ 80 w 95"/>
                  <a:gd name="T91" fmla="*/ 96 h 145"/>
                  <a:gd name="T92" fmla="*/ 76 w 95"/>
                  <a:gd name="T93" fmla="*/ 99 h 145"/>
                  <a:gd name="T94" fmla="*/ 74 w 95"/>
                  <a:gd name="T95" fmla="*/ 105 h 145"/>
                  <a:gd name="T96" fmla="*/ 74 w 95"/>
                  <a:gd name="T97" fmla="*/ 112 h 145"/>
                  <a:gd name="T98" fmla="*/ 64 w 95"/>
                  <a:gd name="T99" fmla="*/ 122 h 145"/>
                  <a:gd name="T100" fmla="*/ 57 w 95"/>
                  <a:gd name="T101" fmla="*/ 132 h 145"/>
                  <a:gd name="T102" fmla="*/ 54 w 95"/>
                  <a:gd name="T103" fmla="*/ 141 h 145"/>
                  <a:gd name="T104" fmla="*/ 48 w 95"/>
                  <a:gd name="T105" fmla="*/ 145 h 145"/>
                  <a:gd name="T106" fmla="*/ 41 w 95"/>
                  <a:gd name="T107" fmla="*/ 145 h 145"/>
                  <a:gd name="T108" fmla="*/ 34 w 95"/>
                  <a:gd name="T109" fmla="*/ 141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5" h="145">
                    <a:moveTo>
                      <a:pt x="34" y="141"/>
                    </a:moveTo>
                    <a:lnTo>
                      <a:pt x="34" y="141"/>
                    </a:lnTo>
                    <a:lnTo>
                      <a:pt x="35" y="136"/>
                    </a:lnTo>
                    <a:lnTo>
                      <a:pt x="40" y="131"/>
                    </a:lnTo>
                    <a:lnTo>
                      <a:pt x="42" y="123"/>
                    </a:lnTo>
                    <a:lnTo>
                      <a:pt x="42" y="120"/>
                    </a:lnTo>
                    <a:lnTo>
                      <a:pt x="41" y="118"/>
                    </a:lnTo>
                    <a:lnTo>
                      <a:pt x="41" y="118"/>
                    </a:lnTo>
                    <a:lnTo>
                      <a:pt x="35" y="113"/>
                    </a:lnTo>
                    <a:lnTo>
                      <a:pt x="27" y="109"/>
                    </a:lnTo>
                    <a:lnTo>
                      <a:pt x="19" y="105"/>
                    </a:lnTo>
                    <a:lnTo>
                      <a:pt x="18" y="102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25" y="93"/>
                    </a:lnTo>
                    <a:lnTo>
                      <a:pt x="29" y="87"/>
                    </a:lnTo>
                    <a:lnTo>
                      <a:pt x="31" y="81"/>
                    </a:lnTo>
                    <a:lnTo>
                      <a:pt x="31" y="81"/>
                    </a:lnTo>
                    <a:lnTo>
                      <a:pt x="32" y="76"/>
                    </a:lnTo>
                    <a:lnTo>
                      <a:pt x="35" y="71"/>
                    </a:lnTo>
                    <a:lnTo>
                      <a:pt x="37" y="68"/>
                    </a:lnTo>
                    <a:lnTo>
                      <a:pt x="37" y="67"/>
                    </a:lnTo>
                    <a:lnTo>
                      <a:pt x="35" y="65"/>
                    </a:lnTo>
                    <a:lnTo>
                      <a:pt x="35" y="65"/>
                    </a:lnTo>
                    <a:lnTo>
                      <a:pt x="31" y="61"/>
                    </a:lnTo>
                    <a:lnTo>
                      <a:pt x="29" y="60"/>
                    </a:lnTo>
                    <a:lnTo>
                      <a:pt x="31" y="58"/>
                    </a:lnTo>
                    <a:lnTo>
                      <a:pt x="32" y="55"/>
                    </a:lnTo>
                    <a:lnTo>
                      <a:pt x="32" y="55"/>
                    </a:lnTo>
                    <a:lnTo>
                      <a:pt x="34" y="54"/>
                    </a:lnTo>
                    <a:lnTo>
                      <a:pt x="32" y="52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4" y="44"/>
                    </a:lnTo>
                    <a:lnTo>
                      <a:pt x="19" y="36"/>
                    </a:lnTo>
                    <a:lnTo>
                      <a:pt x="12" y="23"/>
                    </a:lnTo>
                    <a:lnTo>
                      <a:pt x="12" y="23"/>
                    </a:lnTo>
                    <a:lnTo>
                      <a:pt x="8" y="18"/>
                    </a:lnTo>
                    <a:lnTo>
                      <a:pt x="3" y="9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9" y="7"/>
                    </a:lnTo>
                    <a:lnTo>
                      <a:pt x="15" y="12"/>
                    </a:lnTo>
                    <a:lnTo>
                      <a:pt x="19" y="15"/>
                    </a:lnTo>
                    <a:lnTo>
                      <a:pt x="19" y="15"/>
                    </a:lnTo>
                    <a:lnTo>
                      <a:pt x="24" y="18"/>
                    </a:lnTo>
                    <a:lnTo>
                      <a:pt x="28" y="22"/>
                    </a:lnTo>
                    <a:lnTo>
                      <a:pt x="31" y="26"/>
                    </a:lnTo>
                    <a:lnTo>
                      <a:pt x="32" y="31"/>
                    </a:lnTo>
                    <a:lnTo>
                      <a:pt x="32" y="31"/>
                    </a:lnTo>
                    <a:lnTo>
                      <a:pt x="32" y="38"/>
                    </a:lnTo>
                    <a:lnTo>
                      <a:pt x="32" y="42"/>
                    </a:lnTo>
                    <a:lnTo>
                      <a:pt x="34" y="47"/>
                    </a:lnTo>
                    <a:lnTo>
                      <a:pt x="34" y="47"/>
                    </a:lnTo>
                    <a:lnTo>
                      <a:pt x="40" y="54"/>
                    </a:lnTo>
                    <a:lnTo>
                      <a:pt x="41" y="57"/>
                    </a:lnTo>
                    <a:lnTo>
                      <a:pt x="44" y="57"/>
                    </a:lnTo>
                    <a:lnTo>
                      <a:pt x="44" y="57"/>
                    </a:lnTo>
                    <a:lnTo>
                      <a:pt x="47" y="52"/>
                    </a:lnTo>
                    <a:lnTo>
                      <a:pt x="48" y="51"/>
                    </a:lnTo>
                    <a:lnTo>
                      <a:pt x="47" y="47"/>
                    </a:lnTo>
                    <a:lnTo>
                      <a:pt x="47" y="47"/>
                    </a:lnTo>
                    <a:lnTo>
                      <a:pt x="45" y="42"/>
                    </a:lnTo>
                    <a:lnTo>
                      <a:pt x="44" y="38"/>
                    </a:lnTo>
                    <a:lnTo>
                      <a:pt x="45" y="35"/>
                    </a:lnTo>
                    <a:lnTo>
                      <a:pt x="45" y="35"/>
                    </a:lnTo>
                    <a:lnTo>
                      <a:pt x="45" y="35"/>
                    </a:lnTo>
                    <a:lnTo>
                      <a:pt x="45" y="35"/>
                    </a:lnTo>
                    <a:lnTo>
                      <a:pt x="50" y="45"/>
                    </a:lnTo>
                    <a:lnTo>
                      <a:pt x="54" y="57"/>
                    </a:lnTo>
                    <a:lnTo>
                      <a:pt x="54" y="57"/>
                    </a:lnTo>
                    <a:lnTo>
                      <a:pt x="55" y="60"/>
                    </a:lnTo>
                    <a:lnTo>
                      <a:pt x="58" y="64"/>
                    </a:lnTo>
                    <a:lnTo>
                      <a:pt x="64" y="67"/>
                    </a:lnTo>
                    <a:lnTo>
                      <a:pt x="70" y="70"/>
                    </a:lnTo>
                    <a:lnTo>
                      <a:pt x="70" y="70"/>
                    </a:lnTo>
                    <a:lnTo>
                      <a:pt x="74" y="71"/>
                    </a:lnTo>
                    <a:lnTo>
                      <a:pt x="77" y="71"/>
                    </a:lnTo>
                    <a:lnTo>
                      <a:pt x="83" y="67"/>
                    </a:lnTo>
                    <a:lnTo>
                      <a:pt x="83" y="67"/>
                    </a:lnTo>
                    <a:lnTo>
                      <a:pt x="87" y="65"/>
                    </a:lnTo>
                    <a:lnTo>
                      <a:pt x="90" y="67"/>
                    </a:lnTo>
                    <a:lnTo>
                      <a:pt x="93" y="68"/>
                    </a:lnTo>
                    <a:lnTo>
                      <a:pt x="95" y="71"/>
                    </a:lnTo>
                    <a:lnTo>
                      <a:pt x="95" y="71"/>
                    </a:lnTo>
                    <a:lnTo>
                      <a:pt x="93" y="76"/>
                    </a:lnTo>
                    <a:lnTo>
                      <a:pt x="90" y="81"/>
                    </a:lnTo>
                    <a:lnTo>
                      <a:pt x="84" y="90"/>
                    </a:lnTo>
                    <a:lnTo>
                      <a:pt x="84" y="90"/>
                    </a:lnTo>
                    <a:lnTo>
                      <a:pt x="80" y="96"/>
                    </a:lnTo>
                    <a:lnTo>
                      <a:pt x="76" y="99"/>
                    </a:lnTo>
                    <a:lnTo>
                      <a:pt x="76" y="99"/>
                    </a:lnTo>
                    <a:lnTo>
                      <a:pt x="74" y="102"/>
                    </a:lnTo>
                    <a:lnTo>
                      <a:pt x="74" y="105"/>
                    </a:lnTo>
                    <a:lnTo>
                      <a:pt x="76" y="107"/>
                    </a:lnTo>
                    <a:lnTo>
                      <a:pt x="74" y="112"/>
                    </a:lnTo>
                    <a:lnTo>
                      <a:pt x="74" y="112"/>
                    </a:lnTo>
                    <a:lnTo>
                      <a:pt x="64" y="122"/>
                    </a:lnTo>
                    <a:lnTo>
                      <a:pt x="60" y="128"/>
                    </a:lnTo>
                    <a:lnTo>
                      <a:pt x="57" y="132"/>
                    </a:lnTo>
                    <a:lnTo>
                      <a:pt x="57" y="132"/>
                    </a:lnTo>
                    <a:lnTo>
                      <a:pt x="54" y="141"/>
                    </a:lnTo>
                    <a:lnTo>
                      <a:pt x="53" y="144"/>
                    </a:lnTo>
                    <a:lnTo>
                      <a:pt x="48" y="145"/>
                    </a:lnTo>
                    <a:lnTo>
                      <a:pt x="48" y="145"/>
                    </a:lnTo>
                    <a:lnTo>
                      <a:pt x="41" y="145"/>
                    </a:lnTo>
                    <a:lnTo>
                      <a:pt x="37" y="144"/>
                    </a:lnTo>
                    <a:lnTo>
                      <a:pt x="34" y="14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43" name="Freeform 897"/>
              <p:cNvSpPr>
                <a:spLocks/>
              </p:cNvSpPr>
              <p:nvPr/>
            </p:nvSpPr>
            <p:spPr bwMode="auto">
              <a:xfrm>
                <a:off x="7131214" y="3897833"/>
                <a:ext cx="93980" cy="143443"/>
              </a:xfrm>
              <a:custGeom>
                <a:avLst/>
                <a:gdLst>
                  <a:gd name="T0" fmla="*/ 34 w 95"/>
                  <a:gd name="T1" fmla="*/ 141 h 145"/>
                  <a:gd name="T2" fmla="*/ 40 w 95"/>
                  <a:gd name="T3" fmla="*/ 131 h 145"/>
                  <a:gd name="T4" fmla="*/ 42 w 95"/>
                  <a:gd name="T5" fmla="*/ 120 h 145"/>
                  <a:gd name="T6" fmla="*/ 41 w 95"/>
                  <a:gd name="T7" fmla="*/ 118 h 145"/>
                  <a:gd name="T8" fmla="*/ 27 w 95"/>
                  <a:gd name="T9" fmla="*/ 109 h 145"/>
                  <a:gd name="T10" fmla="*/ 18 w 95"/>
                  <a:gd name="T11" fmla="*/ 102 h 145"/>
                  <a:gd name="T12" fmla="*/ 18 w 95"/>
                  <a:gd name="T13" fmla="*/ 100 h 145"/>
                  <a:gd name="T14" fmla="*/ 29 w 95"/>
                  <a:gd name="T15" fmla="*/ 87 h 145"/>
                  <a:gd name="T16" fmla="*/ 31 w 95"/>
                  <a:gd name="T17" fmla="*/ 81 h 145"/>
                  <a:gd name="T18" fmla="*/ 35 w 95"/>
                  <a:gd name="T19" fmla="*/ 71 h 145"/>
                  <a:gd name="T20" fmla="*/ 37 w 95"/>
                  <a:gd name="T21" fmla="*/ 67 h 145"/>
                  <a:gd name="T22" fmla="*/ 35 w 95"/>
                  <a:gd name="T23" fmla="*/ 65 h 145"/>
                  <a:gd name="T24" fmla="*/ 29 w 95"/>
                  <a:gd name="T25" fmla="*/ 60 h 145"/>
                  <a:gd name="T26" fmla="*/ 32 w 95"/>
                  <a:gd name="T27" fmla="*/ 55 h 145"/>
                  <a:gd name="T28" fmla="*/ 34 w 95"/>
                  <a:gd name="T29" fmla="*/ 54 h 145"/>
                  <a:gd name="T30" fmla="*/ 28 w 95"/>
                  <a:gd name="T31" fmla="*/ 48 h 145"/>
                  <a:gd name="T32" fmla="*/ 24 w 95"/>
                  <a:gd name="T33" fmla="*/ 44 h 145"/>
                  <a:gd name="T34" fmla="*/ 12 w 95"/>
                  <a:gd name="T35" fmla="*/ 23 h 145"/>
                  <a:gd name="T36" fmla="*/ 8 w 95"/>
                  <a:gd name="T37" fmla="*/ 18 h 145"/>
                  <a:gd name="T38" fmla="*/ 0 w 95"/>
                  <a:gd name="T39" fmla="*/ 2 h 145"/>
                  <a:gd name="T40" fmla="*/ 0 w 95"/>
                  <a:gd name="T41" fmla="*/ 0 h 145"/>
                  <a:gd name="T42" fmla="*/ 9 w 95"/>
                  <a:gd name="T43" fmla="*/ 7 h 145"/>
                  <a:gd name="T44" fmla="*/ 19 w 95"/>
                  <a:gd name="T45" fmla="*/ 15 h 145"/>
                  <a:gd name="T46" fmla="*/ 24 w 95"/>
                  <a:gd name="T47" fmla="*/ 18 h 145"/>
                  <a:gd name="T48" fmla="*/ 31 w 95"/>
                  <a:gd name="T49" fmla="*/ 26 h 145"/>
                  <a:gd name="T50" fmla="*/ 32 w 95"/>
                  <a:gd name="T51" fmla="*/ 31 h 145"/>
                  <a:gd name="T52" fmla="*/ 32 w 95"/>
                  <a:gd name="T53" fmla="*/ 42 h 145"/>
                  <a:gd name="T54" fmla="*/ 34 w 95"/>
                  <a:gd name="T55" fmla="*/ 47 h 145"/>
                  <a:gd name="T56" fmla="*/ 41 w 95"/>
                  <a:gd name="T57" fmla="*/ 57 h 145"/>
                  <a:gd name="T58" fmla="*/ 44 w 95"/>
                  <a:gd name="T59" fmla="*/ 57 h 145"/>
                  <a:gd name="T60" fmla="*/ 48 w 95"/>
                  <a:gd name="T61" fmla="*/ 51 h 145"/>
                  <a:gd name="T62" fmla="*/ 47 w 95"/>
                  <a:gd name="T63" fmla="*/ 47 h 145"/>
                  <a:gd name="T64" fmla="*/ 44 w 95"/>
                  <a:gd name="T65" fmla="*/ 38 h 145"/>
                  <a:gd name="T66" fmla="*/ 45 w 95"/>
                  <a:gd name="T67" fmla="*/ 35 h 145"/>
                  <a:gd name="T68" fmla="*/ 45 w 95"/>
                  <a:gd name="T69" fmla="*/ 35 h 145"/>
                  <a:gd name="T70" fmla="*/ 54 w 95"/>
                  <a:gd name="T71" fmla="*/ 57 h 145"/>
                  <a:gd name="T72" fmla="*/ 55 w 95"/>
                  <a:gd name="T73" fmla="*/ 60 h 145"/>
                  <a:gd name="T74" fmla="*/ 64 w 95"/>
                  <a:gd name="T75" fmla="*/ 67 h 145"/>
                  <a:gd name="T76" fmla="*/ 70 w 95"/>
                  <a:gd name="T77" fmla="*/ 70 h 145"/>
                  <a:gd name="T78" fmla="*/ 77 w 95"/>
                  <a:gd name="T79" fmla="*/ 71 h 145"/>
                  <a:gd name="T80" fmla="*/ 83 w 95"/>
                  <a:gd name="T81" fmla="*/ 67 h 145"/>
                  <a:gd name="T82" fmla="*/ 90 w 95"/>
                  <a:gd name="T83" fmla="*/ 67 h 145"/>
                  <a:gd name="T84" fmla="*/ 95 w 95"/>
                  <a:gd name="T85" fmla="*/ 71 h 145"/>
                  <a:gd name="T86" fmla="*/ 93 w 95"/>
                  <a:gd name="T87" fmla="*/ 76 h 145"/>
                  <a:gd name="T88" fmla="*/ 84 w 95"/>
                  <a:gd name="T89" fmla="*/ 90 h 145"/>
                  <a:gd name="T90" fmla="*/ 80 w 95"/>
                  <a:gd name="T91" fmla="*/ 96 h 145"/>
                  <a:gd name="T92" fmla="*/ 76 w 95"/>
                  <a:gd name="T93" fmla="*/ 99 h 145"/>
                  <a:gd name="T94" fmla="*/ 74 w 95"/>
                  <a:gd name="T95" fmla="*/ 105 h 145"/>
                  <a:gd name="T96" fmla="*/ 74 w 95"/>
                  <a:gd name="T97" fmla="*/ 112 h 145"/>
                  <a:gd name="T98" fmla="*/ 64 w 95"/>
                  <a:gd name="T99" fmla="*/ 122 h 145"/>
                  <a:gd name="T100" fmla="*/ 57 w 95"/>
                  <a:gd name="T101" fmla="*/ 132 h 145"/>
                  <a:gd name="T102" fmla="*/ 54 w 95"/>
                  <a:gd name="T103" fmla="*/ 141 h 145"/>
                  <a:gd name="T104" fmla="*/ 48 w 95"/>
                  <a:gd name="T105" fmla="*/ 145 h 145"/>
                  <a:gd name="T106" fmla="*/ 41 w 95"/>
                  <a:gd name="T107" fmla="*/ 145 h 145"/>
                  <a:gd name="T108" fmla="*/ 34 w 95"/>
                  <a:gd name="T109" fmla="*/ 141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5" h="145">
                    <a:moveTo>
                      <a:pt x="34" y="141"/>
                    </a:moveTo>
                    <a:lnTo>
                      <a:pt x="34" y="141"/>
                    </a:lnTo>
                    <a:lnTo>
                      <a:pt x="35" y="136"/>
                    </a:lnTo>
                    <a:lnTo>
                      <a:pt x="40" y="131"/>
                    </a:lnTo>
                    <a:lnTo>
                      <a:pt x="42" y="123"/>
                    </a:lnTo>
                    <a:lnTo>
                      <a:pt x="42" y="120"/>
                    </a:lnTo>
                    <a:lnTo>
                      <a:pt x="41" y="118"/>
                    </a:lnTo>
                    <a:lnTo>
                      <a:pt x="41" y="118"/>
                    </a:lnTo>
                    <a:lnTo>
                      <a:pt x="35" y="113"/>
                    </a:lnTo>
                    <a:lnTo>
                      <a:pt x="27" y="109"/>
                    </a:lnTo>
                    <a:lnTo>
                      <a:pt x="19" y="105"/>
                    </a:lnTo>
                    <a:lnTo>
                      <a:pt x="18" y="102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25" y="93"/>
                    </a:lnTo>
                    <a:lnTo>
                      <a:pt x="29" y="87"/>
                    </a:lnTo>
                    <a:lnTo>
                      <a:pt x="31" y="81"/>
                    </a:lnTo>
                    <a:lnTo>
                      <a:pt x="31" y="81"/>
                    </a:lnTo>
                    <a:lnTo>
                      <a:pt x="32" y="76"/>
                    </a:lnTo>
                    <a:lnTo>
                      <a:pt x="35" y="71"/>
                    </a:lnTo>
                    <a:lnTo>
                      <a:pt x="37" y="68"/>
                    </a:lnTo>
                    <a:lnTo>
                      <a:pt x="37" y="67"/>
                    </a:lnTo>
                    <a:lnTo>
                      <a:pt x="35" y="65"/>
                    </a:lnTo>
                    <a:lnTo>
                      <a:pt x="35" y="65"/>
                    </a:lnTo>
                    <a:lnTo>
                      <a:pt x="31" y="61"/>
                    </a:lnTo>
                    <a:lnTo>
                      <a:pt x="29" y="60"/>
                    </a:lnTo>
                    <a:lnTo>
                      <a:pt x="31" y="58"/>
                    </a:lnTo>
                    <a:lnTo>
                      <a:pt x="32" y="55"/>
                    </a:lnTo>
                    <a:lnTo>
                      <a:pt x="32" y="55"/>
                    </a:lnTo>
                    <a:lnTo>
                      <a:pt x="34" y="54"/>
                    </a:lnTo>
                    <a:lnTo>
                      <a:pt x="32" y="52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4" y="44"/>
                    </a:lnTo>
                    <a:lnTo>
                      <a:pt x="19" y="36"/>
                    </a:lnTo>
                    <a:lnTo>
                      <a:pt x="12" y="23"/>
                    </a:lnTo>
                    <a:lnTo>
                      <a:pt x="12" y="23"/>
                    </a:lnTo>
                    <a:lnTo>
                      <a:pt x="8" y="18"/>
                    </a:lnTo>
                    <a:lnTo>
                      <a:pt x="3" y="9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9" y="7"/>
                    </a:lnTo>
                    <a:lnTo>
                      <a:pt x="15" y="12"/>
                    </a:lnTo>
                    <a:lnTo>
                      <a:pt x="19" y="15"/>
                    </a:lnTo>
                    <a:lnTo>
                      <a:pt x="19" y="15"/>
                    </a:lnTo>
                    <a:lnTo>
                      <a:pt x="24" y="18"/>
                    </a:lnTo>
                    <a:lnTo>
                      <a:pt x="28" y="22"/>
                    </a:lnTo>
                    <a:lnTo>
                      <a:pt x="31" y="26"/>
                    </a:lnTo>
                    <a:lnTo>
                      <a:pt x="32" y="31"/>
                    </a:lnTo>
                    <a:lnTo>
                      <a:pt x="32" y="31"/>
                    </a:lnTo>
                    <a:lnTo>
                      <a:pt x="32" y="38"/>
                    </a:lnTo>
                    <a:lnTo>
                      <a:pt x="32" y="42"/>
                    </a:lnTo>
                    <a:lnTo>
                      <a:pt x="34" y="47"/>
                    </a:lnTo>
                    <a:lnTo>
                      <a:pt x="34" y="47"/>
                    </a:lnTo>
                    <a:lnTo>
                      <a:pt x="40" y="54"/>
                    </a:lnTo>
                    <a:lnTo>
                      <a:pt x="41" y="57"/>
                    </a:lnTo>
                    <a:lnTo>
                      <a:pt x="44" y="57"/>
                    </a:lnTo>
                    <a:lnTo>
                      <a:pt x="44" y="57"/>
                    </a:lnTo>
                    <a:lnTo>
                      <a:pt x="47" y="52"/>
                    </a:lnTo>
                    <a:lnTo>
                      <a:pt x="48" y="51"/>
                    </a:lnTo>
                    <a:lnTo>
                      <a:pt x="47" y="47"/>
                    </a:lnTo>
                    <a:lnTo>
                      <a:pt x="47" y="47"/>
                    </a:lnTo>
                    <a:lnTo>
                      <a:pt x="45" y="42"/>
                    </a:lnTo>
                    <a:lnTo>
                      <a:pt x="44" y="38"/>
                    </a:lnTo>
                    <a:lnTo>
                      <a:pt x="45" y="35"/>
                    </a:lnTo>
                    <a:lnTo>
                      <a:pt x="45" y="35"/>
                    </a:lnTo>
                    <a:lnTo>
                      <a:pt x="45" y="35"/>
                    </a:lnTo>
                    <a:lnTo>
                      <a:pt x="45" y="35"/>
                    </a:lnTo>
                    <a:lnTo>
                      <a:pt x="50" y="45"/>
                    </a:lnTo>
                    <a:lnTo>
                      <a:pt x="54" y="57"/>
                    </a:lnTo>
                    <a:lnTo>
                      <a:pt x="54" y="57"/>
                    </a:lnTo>
                    <a:lnTo>
                      <a:pt x="55" y="60"/>
                    </a:lnTo>
                    <a:lnTo>
                      <a:pt x="58" y="64"/>
                    </a:lnTo>
                    <a:lnTo>
                      <a:pt x="64" y="67"/>
                    </a:lnTo>
                    <a:lnTo>
                      <a:pt x="70" y="70"/>
                    </a:lnTo>
                    <a:lnTo>
                      <a:pt x="70" y="70"/>
                    </a:lnTo>
                    <a:lnTo>
                      <a:pt x="74" y="71"/>
                    </a:lnTo>
                    <a:lnTo>
                      <a:pt x="77" y="71"/>
                    </a:lnTo>
                    <a:lnTo>
                      <a:pt x="83" y="67"/>
                    </a:lnTo>
                    <a:lnTo>
                      <a:pt x="83" y="67"/>
                    </a:lnTo>
                    <a:lnTo>
                      <a:pt x="87" y="65"/>
                    </a:lnTo>
                    <a:lnTo>
                      <a:pt x="90" y="67"/>
                    </a:lnTo>
                    <a:lnTo>
                      <a:pt x="93" y="68"/>
                    </a:lnTo>
                    <a:lnTo>
                      <a:pt x="95" y="71"/>
                    </a:lnTo>
                    <a:lnTo>
                      <a:pt x="95" y="71"/>
                    </a:lnTo>
                    <a:lnTo>
                      <a:pt x="93" y="76"/>
                    </a:lnTo>
                    <a:lnTo>
                      <a:pt x="90" y="81"/>
                    </a:lnTo>
                    <a:lnTo>
                      <a:pt x="84" y="90"/>
                    </a:lnTo>
                    <a:lnTo>
                      <a:pt x="84" y="90"/>
                    </a:lnTo>
                    <a:lnTo>
                      <a:pt x="80" y="96"/>
                    </a:lnTo>
                    <a:lnTo>
                      <a:pt x="76" y="99"/>
                    </a:lnTo>
                    <a:lnTo>
                      <a:pt x="76" y="99"/>
                    </a:lnTo>
                    <a:lnTo>
                      <a:pt x="74" y="102"/>
                    </a:lnTo>
                    <a:lnTo>
                      <a:pt x="74" y="105"/>
                    </a:lnTo>
                    <a:lnTo>
                      <a:pt x="76" y="107"/>
                    </a:lnTo>
                    <a:lnTo>
                      <a:pt x="74" y="112"/>
                    </a:lnTo>
                    <a:lnTo>
                      <a:pt x="74" y="112"/>
                    </a:lnTo>
                    <a:lnTo>
                      <a:pt x="64" y="122"/>
                    </a:lnTo>
                    <a:lnTo>
                      <a:pt x="60" y="128"/>
                    </a:lnTo>
                    <a:lnTo>
                      <a:pt x="57" y="132"/>
                    </a:lnTo>
                    <a:lnTo>
                      <a:pt x="57" y="132"/>
                    </a:lnTo>
                    <a:lnTo>
                      <a:pt x="54" y="141"/>
                    </a:lnTo>
                    <a:lnTo>
                      <a:pt x="53" y="144"/>
                    </a:lnTo>
                    <a:lnTo>
                      <a:pt x="48" y="145"/>
                    </a:lnTo>
                    <a:lnTo>
                      <a:pt x="48" y="145"/>
                    </a:lnTo>
                    <a:lnTo>
                      <a:pt x="41" y="145"/>
                    </a:lnTo>
                    <a:lnTo>
                      <a:pt x="37" y="144"/>
                    </a:lnTo>
                    <a:lnTo>
                      <a:pt x="34" y="14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26" name="Freeform 980"/>
              <p:cNvSpPr>
                <a:spLocks/>
              </p:cNvSpPr>
              <p:nvPr/>
            </p:nvSpPr>
            <p:spPr bwMode="auto">
              <a:xfrm>
                <a:off x="5916403" y="1395007"/>
                <a:ext cx="27699" cy="15828"/>
              </a:xfrm>
              <a:custGeom>
                <a:avLst/>
                <a:gdLst>
                  <a:gd name="T0" fmla="*/ 23 w 28"/>
                  <a:gd name="T1" fmla="*/ 13 h 16"/>
                  <a:gd name="T2" fmla="*/ 23 w 28"/>
                  <a:gd name="T3" fmla="*/ 13 h 16"/>
                  <a:gd name="T4" fmla="*/ 7 w 28"/>
                  <a:gd name="T5" fmla="*/ 14 h 16"/>
                  <a:gd name="T6" fmla="*/ 2 w 28"/>
                  <a:gd name="T7" fmla="*/ 16 h 16"/>
                  <a:gd name="T8" fmla="*/ 0 w 28"/>
                  <a:gd name="T9" fmla="*/ 14 h 16"/>
                  <a:gd name="T10" fmla="*/ 0 w 28"/>
                  <a:gd name="T11" fmla="*/ 13 h 16"/>
                  <a:gd name="T12" fmla="*/ 0 w 28"/>
                  <a:gd name="T13" fmla="*/ 13 h 16"/>
                  <a:gd name="T14" fmla="*/ 5 w 28"/>
                  <a:gd name="T15" fmla="*/ 7 h 16"/>
                  <a:gd name="T16" fmla="*/ 6 w 28"/>
                  <a:gd name="T17" fmla="*/ 6 h 16"/>
                  <a:gd name="T18" fmla="*/ 9 w 28"/>
                  <a:gd name="T19" fmla="*/ 6 h 16"/>
                  <a:gd name="T20" fmla="*/ 9 w 28"/>
                  <a:gd name="T21" fmla="*/ 6 h 16"/>
                  <a:gd name="T22" fmla="*/ 13 w 28"/>
                  <a:gd name="T23" fmla="*/ 6 h 16"/>
                  <a:gd name="T24" fmla="*/ 19 w 28"/>
                  <a:gd name="T25" fmla="*/ 4 h 16"/>
                  <a:gd name="T26" fmla="*/ 26 w 28"/>
                  <a:gd name="T27" fmla="*/ 0 h 16"/>
                  <a:gd name="T28" fmla="*/ 26 w 28"/>
                  <a:gd name="T29" fmla="*/ 0 h 16"/>
                  <a:gd name="T30" fmla="*/ 28 w 28"/>
                  <a:gd name="T31" fmla="*/ 0 h 16"/>
                  <a:gd name="T32" fmla="*/ 28 w 28"/>
                  <a:gd name="T33" fmla="*/ 1 h 16"/>
                  <a:gd name="T34" fmla="*/ 28 w 28"/>
                  <a:gd name="T35" fmla="*/ 6 h 16"/>
                  <a:gd name="T36" fmla="*/ 26 w 28"/>
                  <a:gd name="T37" fmla="*/ 10 h 16"/>
                  <a:gd name="T38" fmla="*/ 25 w 28"/>
                  <a:gd name="T39" fmla="*/ 11 h 16"/>
                  <a:gd name="T40" fmla="*/ 23 w 28"/>
                  <a:gd name="T41" fmla="*/ 1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" h="16">
                    <a:moveTo>
                      <a:pt x="23" y="13"/>
                    </a:moveTo>
                    <a:lnTo>
                      <a:pt x="23" y="13"/>
                    </a:lnTo>
                    <a:lnTo>
                      <a:pt x="7" y="14"/>
                    </a:lnTo>
                    <a:lnTo>
                      <a:pt x="2" y="16"/>
                    </a:lnTo>
                    <a:lnTo>
                      <a:pt x="0" y="14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5" y="7"/>
                    </a:lnTo>
                    <a:lnTo>
                      <a:pt x="6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3" y="6"/>
                    </a:lnTo>
                    <a:lnTo>
                      <a:pt x="19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8" y="0"/>
                    </a:lnTo>
                    <a:lnTo>
                      <a:pt x="28" y="1"/>
                    </a:lnTo>
                    <a:lnTo>
                      <a:pt x="28" y="6"/>
                    </a:lnTo>
                    <a:lnTo>
                      <a:pt x="26" y="10"/>
                    </a:lnTo>
                    <a:lnTo>
                      <a:pt x="25" y="11"/>
                    </a:lnTo>
                    <a:lnTo>
                      <a:pt x="23" y="1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27" name="Freeform 981"/>
              <p:cNvSpPr>
                <a:spLocks/>
              </p:cNvSpPr>
              <p:nvPr/>
            </p:nvSpPr>
            <p:spPr bwMode="auto">
              <a:xfrm>
                <a:off x="5916403" y="1395007"/>
                <a:ext cx="27699" cy="15828"/>
              </a:xfrm>
              <a:custGeom>
                <a:avLst/>
                <a:gdLst>
                  <a:gd name="T0" fmla="*/ 23 w 28"/>
                  <a:gd name="T1" fmla="*/ 13 h 16"/>
                  <a:gd name="T2" fmla="*/ 23 w 28"/>
                  <a:gd name="T3" fmla="*/ 13 h 16"/>
                  <a:gd name="T4" fmla="*/ 7 w 28"/>
                  <a:gd name="T5" fmla="*/ 14 h 16"/>
                  <a:gd name="T6" fmla="*/ 2 w 28"/>
                  <a:gd name="T7" fmla="*/ 16 h 16"/>
                  <a:gd name="T8" fmla="*/ 0 w 28"/>
                  <a:gd name="T9" fmla="*/ 14 h 16"/>
                  <a:gd name="T10" fmla="*/ 0 w 28"/>
                  <a:gd name="T11" fmla="*/ 13 h 16"/>
                  <a:gd name="T12" fmla="*/ 0 w 28"/>
                  <a:gd name="T13" fmla="*/ 13 h 16"/>
                  <a:gd name="T14" fmla="*/ 5 w 28"/>
                  <a:gd name="T15" fmla="*/ 7 h 16"/>
                  <a:gd name="T16" fmla="*/ 6 w 28"/>
                  <a:gd name="T17" fmla="*/ 6 h 16"/>
                  <a:gd name="T18" fmla="*/ 9 w 28"/>
                  <a:gd name="T19" fmla="*/ 6 h 16"/>
                  <a:gd name="T20" fmla="*/ 9 w 28"/>
                  <a:gd name="T21" fmla="*/ 6 h 16"/>
                  <a:gd name="T22" fmla="*/ 13 w 28"/>
                  <a:gd name="T23" fmla="*/ 6 h 16"/>
                  <a:gd name="T24" fmla="*/ 19 w 28"/>
                  <a:gd name="T25" fmla="*/ 4 h 16"/>
                  <a:gd name="T26" fmla="*/ 26 w 28"/>
                  <a:gd name="T27" fmla="*/ 0 h 16"/>
                  <a:gd name="T28" fmla="*/ 26 w 28"/>
                  <a:gd name="T29" fmla="*/ 0 h 16"/>
                  <a:gd name="T30" fmla="*/ 28 w 28"/>
                  <a:gd name="T31" fmla="*/ 0 h 16"/>
                  <a:gd name="T32" fmla="*/ 28 w 28"/>
                  <a:gd name="T33" fmla="*/ 1 h 16"/>
                  <a:gd name="T34" fmla="*/ 28 w 28"/>
                  <a:gd name="T35" fmla="*/ 6 h 16"/>
                  <a:gd name="T36" fmla="*/ 26 w 28"/>
                  <a:gd name="T37" fmla="*/ 10 h 16"/>
                  <a:gd name="T38" fmla="*/ 25 w 28"/>
                  <a:gd name="T39" fmla="*/ 11 h 16"/>
                  <a:gd name="T40" fmla="*/ 23 w 28"/>
                  <a:gd name="T41" fmla="*/ 1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" h="16">
                    <a:moveTo>
                      <a:pt x="23" y="13"/>
                    </a:moveTo>
                    <a:lnTo>
                      <a:pt x="23" y="13"/>
                    </a:lnTo>
                    <a:lnTo>
                      <a:pt x="7" y="14"/>
                    </a:lnTo>
                    <a:lnTo>
                      <a:pt x="2" y="16"/>
                    </a:lnTo>
                    <a:lnTo>
                      <a:pt x="0" y="14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5" y="7"/>
                    </a:lnTo>
                    <a:lnTo>
                      <a:pt x="6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3" y="6"/>
                    </a:lnTo>
                    <a:lnTo>
                      <a:pt x="19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8" y="0"/>
                    </a:lnTo>
                    <a:lnTo>
                      <a:pt x="28" y="1"/>
                    </a:lnTo>
                    <a:lnTo>
                      <a:pt x="28" y="6"/>
                    </a:lnTo>
                    <a:lnTo>
                      <a:pt x="26" y="10"/>
                    </a:lnTo>
                    <a:lnTo>
                      <a:pt x="25" y="11"/>
                    </a:lnTo>
                    <a:lnTo>
                      <a:pt x="23" y="1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28" name="Freeform 982"/>
              <p:cNvSpPr>
                <a:spLocks/>
              </p:cNvSpPr>
              <p:nvPr/>
            </p:nvSpPr>
            <p:spPr bwMode="auto">
              <a:xfrm>
                <a:off x="5915414" y="1348512"/>
                <a:ext cx="21764" cy="15828"/>
              </a:xfrm>
              <a:custGeom>
                <a:avLst/>
                <a:gdLst>
                  <a:gd name="T0" fmla="*/ 16 w 22"/>
                  <a:gd name="T1" fmla="*/ 15 h 16"/>
                  <a:gd name="T2" fmla="*/ 16 w 22"/>
                  <a:gd name="T3" fmla="*/ 15 h 16"/>
                  <a:gd name="T4" fmla="*/ 6 w 22"/>
                  <a:gd name="T5" fmla="*/ 16 h 16"/>
                  <a:gd name="T6" fmla="*/ 0 w 22"/>
                  <a:gd name="T7" fmla="*/ 16 h 16"/>
                  <a:gd name="T8" fmla="*/ 0 w 22"/>
                  <a:gd name="T9" fmla="*/ 16 h 16"/>
                  <a:gd name="T10" fmla="*/ 0 w 22"/>
                  <a:gd name="T11" fmla="*/ 15 h 16"/>
                  <a:gd name="T12" fmla="*/ 0 w 22"/>
                  <a:gd name="T13" fmla="*/ 15 h 16"/>
                  <a:gd name="T14" fmla="*/ 4 w 22"/>
                  <a:gd name="T15" fmla="*/ 13 h 16"/>
                  <a:gd name="T16" fmla="*/ 7 w 22"/>
                  <a:gd name="T17" fmla="*/ 12 h 16"/>
                  <a:gd name="T18" fmla="*/ 10 w 22"/>
                  <a:gd name="T19" fmla="*/ 11 h 16"/>
                  <a:gd name="T20" fmla="*/ 14 w 22"/>
                  <a:gd name="T21" fmla="*/ 8 h 16"/>
                  <a:gd name="T22" fmla="*/ 14 w 22"/>
                  <a:gd name="T23" fmla="*/ 8 h 16"/>
                  <a:gd name="T24" fmla="*/ 20 w 22"/>
                  <a:gd name="T25" fmla="*/ 2 h 16"/>
                  <a:gd name="T26" fmla="*/ 22 w 22"/>
                  <a:gd name="T27" fmla="*/ 0 h 16"/>
                  <a:gd name="T28" fmla="*/ 22 w 22"/>
                  <a:gd name="T29" fmla="*/ 2 h 16"/>
                  <a:gd name="T30" fmla="*/ 22 w 22"/>
                  <a:gd name="T31" fmla="*/ 2 h 16"/>
                  <a:gd name="T32" fmla="*/ 20 w 22"/>
                  <a:gd name="T33" fmla="*/ 9 h 16"/>
                  <a:gd name="T34" fmla="*/ 19 w 22"/>
                  <a:gd name="T35" fmla="*/ 13 h 16"/>
                  <a:gd name="T36" fmla="*/ 16 w 22"/>
                  <a:gd name="T3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16">
                    <a:moveTo>
                      <a:pt x="16" y="15"/>
                    </a:moveTo>
                    <a:lnTo>
                      <a:pt x="16" y="15"/>
                    </a:lnTo>
                    <a:lnTo>
                      <a:pt x="6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13"/>
                    </a:lnTo>
                    <a:lnTo>
                      <a:pt x="7" y="12"/>
                    </a:lnTo>
                    <a:lnTo>
                      <a:pt x="10" y="11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9"/>
                    </a:lnTo>
                    <a:lnTo>
                      <a:pt x="19" y="13"/>
                    </a:lnTo>
                    <a:lnTo>
                      <a:pt x="16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29" name="Freeform 983"/>
              <p:cNvSpPr>
                <a:spLocks/>
              </p:cNvSpPr>
              <p:nvPr/>
            </p:nvSpPr>
            <p:spPr bwMode="auto">
              <a:xfrm>
                <a:off x="5915414" y="1348512"/>
                <a:ext cx="21764" cy="15828"/>
              </a:xfrm>
              <a:custGeom>
                <a:avLst/>
                <a:gdLst>
                  <a:gd name="T0" fmla="*/ 16 w 22"/>
                  <a:gd name="T1" fmla="*/ 15 h 16"/>
                  <a:gd name="T2" fmla="*/ 16 w 22"/>
                  <a:gd name="T3" fmla="*/ 15 h 16"/>
                  <a:gd name="T4" fmla="*/ 6 w 22"/>
                  <a:gd name="T5" fmla="*/ 16 h 16"/>
                  <a:gd name="T6" fmla="*/ 0 w 22"/>
                  <a:gd name="T7" fmla="*/ 16 h 16"/>
                  <a:gd name="T8" fmla="*/ 0 w 22"/>
                  <a:gd name="T9" fmla="*/ 16 h 16"/>
                  <a:gd name="T10" fmla="*/ 0 w 22"/>
                  <a:gd name="T11" fmla="*/ 15 h 16"/>
                  <a:gd name="T12" fmla="*/ 0 w 22"/>
                  <a:gd name="T13" fmla="*/ 15 h 16"/>
                  <a:gd name="T14" fmla="*/ 4 w 22"/>
                  <a:gd name="T15" fmla="*/ 13 h 16"/>
                  <a:gd name="T16" fmla="*/ 7 w 22"/>
                  <a:gd name="T17" fmla="*/ 12 h 16"/>
                  <a:gd name="T18" fmla="*/ 10 w 22"/>
                  <a:gd name="T19" fmla="*/ 11 h 16"/>
                  <a:gd name="T20" fmla="*/ 14 w 22"/>
                  <a:gd name="T21" fmla="*/ 8 h 16"/>
                  <a:gd name="T22" fmla="*/ 14 w 22"/>
                  <a:gd name="T23" fmla="*/ 8 h 16"/>
                  <a:gd name="T24" fmla="*/ 20 w 22"/>
                  <a:gd name="T25" fmla="*/ 2 h 16"/>
                  <a:gd name="T26" fmla="*/ 22 w 22"/>
                  <a:gd name="T27" fmla="*/ 0 h 16"/>
                  <a:gd name="T28" fmla="*/ 22 w 22"/>
                  <a:gd name="T29" fmla="*/ 2 h 16"/>
                  <a:gd name="T30" fmla="*/ 22 w 22"/>
                  <a:gd name="T31" fmla="*/ 2 h 16"/>
                  <a:gd name="T32" fmla="*/ 20 w 22"/>
                  <a:gd name="T33" fmla="*/ 9 h 16"/>
                  <a:gd name="T34" fmla="*/ 19 w 22"/>
                  <a:gd name="T35" fmla="*/ 13 h 16"/>
                  <a:gd name="T36" fmla="*/ 16 w 22"/>
                  <a:gd name="T3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16">
                    <a:moveTo>
                      <a:pt x="16" y="15"/>
                    </a:moveTo>
                    <a:lnTo>
                      <a:pt x="16" y="15"/>
                    </a:lnTo>
                    <a:lnTo>
                      <a:pt x="6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13"/>
                    </a:lnTo>
                    <a:lnTo>
                      <a:pt x="7" y="12"/>
                    </a:lnTo>
                    <a:lnTo>
                      <a:pt x="10" y="11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9"/>
                    </a:lnTo>
                    <a:lnTo>
                      <a:pt x="19" y="13"/>
                    </a:lnTo>
                    <a:lnTo>
                      <a:pt x="16" y="1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30" name="Freeform 984"/>
              <p:cNvSpPr>
                <a:spLocks/>
              </p:cNvSpPr>
              <p:nvPr/>
            </p:nvSpPr>
            <p:spPr bwMode="auto">
              <a:xfrm>
                <a:off x="5175448" y="1772904"/>
                <a:ext cx="26710" cy="31656"/>
              </a:xfrm>
              <a:custGeom>
                <a:avLst/>
                <a:gdLst>
                  <a:gd name="T0" fmla="*/ 9 w 27"/>
                  <a:gd name="T1" fmla="*/ 32 h 32"/>
                  <a:gd name="T2" fmla="*/ 9 w 27"/>
                  <a:gd name="T3" fmla="*/ 32 h 32"/>
                  <a:gd name="T4" fmla="*/ 6 w 27"/>
                  <a:gd name="T5" fmla="*/ 32 h 32"/>
                  <a:gd name="T6" fmla="*/ 3 w 27"/>
                  <a:gd name="T7" fmla="*/ 29 h 32"/>
                  <a:gd name="T8" fmla="*/ 2 w 27"/>
                  <a:gd name="T9" fmla="*/ 26 h 32"/>
                  <a:gd name="T10" fmla="*/ 0 w 27"/>
                  <a:gd name="T11" fmla="*/ 22 h 32"/>
                  <a:gd name="T12" fmla="*/ 0 w 27"/>
                  <a:gd name="T13" fmla="*/ 12 h 32"/>
                  <a:gd name="T14" fmla="*/ 2 w 27"/>
                  <a:gd name="T15" fmla="*/ 4 h 32"/>
                  <a:gd name="T16" fmla="*/ 2 w 27"/>
                  <a:gd name="T17" fmla="*/ 4 h 32"/>
                  <a:gd name="T18" fmla="*/ 2 w 27"/>
                  <a:gd name="T19" fmla="*/ 3 h 32"/>
                  <a:gd name="T20" fmla="*/ 3 w 27"/>
                  <a:gd name="T21" fmla="*/ 2 h 32"/>
                  <a:gd name="T22" fmla="*/ 8 w 27"/>
                  <a:gd name="T23" fmla="*/ 0 h 32"/>
                  <a:gd name="T24" fmla="*/ 12 w 27"/>
                  <a:gd name="T25" fmla="*/ 0 h 32"/>
                  <a:gd name="T26" fmla="*/ 16 w 27"/>
                  <a:gd name="T27" fmla="*/ 2 h 32"/>
                  <a:gd name="T28" fmla="*/ 16 w 27"/>
                  <a:gd name="T29" fmla="*/ 2 h 32"/>
                  <a:gd name="T30" fmla="*/ 22 w 27"/>
                  <a:gd name="T31" fmla="*/ 6 h 32"/>
                  <a:gd name="T32" fmla="*/ 25 w 27"/>
                  <a:gd name="T33" fmla="*/ 10 h 32"/>
                  <a:gd name="T34" fmla="*/ 27 w 27"/>
                  <a:gd name="T35" fmla="*/ 13 h 32"/>
                  <a:gd name="T36" fmla="*/ 27 w 27"/>
                  <a:gd name="T37" fmla="*/ 13 h 32"/>
                  <a:gd name="T38" fmla="*/ 25 w 27"/>
                  <a:gd name="T39" fmla="*/ 18 h 32"/>
                  <a:gd name="T40" fmla="*/ 19 w 27"/>
                  <a:gd name="T41" fmla="*/ 23 h 32"/>
                  <a:gd name="T42" fmla="*/ 15 w 27"/>
                  <a:gd name="T43" fmla="*/ 29 h 32"/>
                  <a:gd name="T44" fmla="*/ 9 w 27"/>
                  <a:gd name="T4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" h="32">
                    <a:moveTo>
                      <a:pt x="9" y="32"/>
                    </a:moveTo>
                    <a:lnTo>
                      <a:pt x="9" y="32"/>
                    </a:lnTo>
                    <a:lnTo>
                      <a:pt x="6" y="32"/>
                    </a:lnTo>
                    <a:lnTo>
                      <a:pt x="3" y="29"/>
                    </a:lnTo>
                    <a:lnTo>
                      <a:pt x="2" y="26"/>
                    </a:lnTo>
                    <a:lnTo>
                      <a:pt x="0" y="22"/>
                    </a:lnTo>
                    <a:lnTo>
                      <a:pt x="0" y="1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22" y="6"/>
                    </a:lnTo>
                    <a:lnTo>
                      <a:pt x="25" y="10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5" y="18"/>
                    </a:lnTo>
                    <a:lnTo>
                      <a:pt x="19" y="23"/>
                    </a:lnTo>
                    <a:lnTo>
                      <a:pt x="15" y="29"/>
                    </a:lnTo>
                    <a:lnTo>
                      <a:pt x="9" y="3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31" name="Freeform 985"/>
              <p:cNvSpPr>
                <a:spLocks/>
              </p:cNvSpPr>
              <p:nvPr/>
            </p:nvSpPr>
            <p:spPr bwMode="auto">
              <a:xfrm>
                <a:off x="5175448" y="1772904"/>
                <a:ext cx="26710" cy="31656"/>
              </a:xfrm>
              <a:custGeom>
                <a:avLst/>
                <a:gdLst>
                  <a:gd name="T0" fmla="*/ 9 w 27"/>
                  <a:gd name="T1" fmla="*/ 32 h 32"/>
                  <a:gd name="T2" fmla="*/ 9 w 27"/>
                  <a:gd name="T3" fmla="*/ 32 h 32"/>
                  <a:gd name="T4" fmla="*/ 6 w 27"/>
                  <a:gd name="T5" fmla="*/ 32 h 32"/>
                  <a:gd name="T6" fmla="*/ 3 w 27"/>
                  <a:gd name="T7" fmla="*/ 29 h 32"/>
                  <a:gd name="T8" fmla="*/ 2 w 27"/>
                  <a:gd name="T9" fmla="*/ 26 h 32"/>
                  <a:gd name="T10" fmla="*/ 0 w 27"/>
                  <a:gd name="T11" fmla="*/ 22 h 32"/>
                  <a:gd name="T12" fmla="*/ 0 w 27"/>
                  <a:gd name="T13" fmla="*/ 12 h 32"/>
                  <a:gd name="T14" fmla="*/ 2 w 27"/>
                  <a:gd name="T15" fmla="*/ 4 h 32"/>
                  <a:gd name="T16" fmla="*/ 2 w 27"/>
                  <a:gd name="T17" fmla="*/ 4 h 32"/>
                  <a:gd name="T18" fmla="*/ 2 w 27"/>
                  <a:gd name="T19" fmla="*/ 3 h 32"/>
                  <a:gd name="T20" fmla="*/ 3 w 27"/>
                  <a:gd name="T21" fmla="*/ 2 h 32"/>
                  <a:gd name="T22" fmla="*/ 8 w 27"/>
                  <a:gd name="T23" fmla="*/ 0 h 32"/>
                  <a:gd name="T24" fmla="*/ 12 w 27"/>
                  <a:gd name="T25" fmla="*/ 0 h 32"/>
                  <a:gd name="T26" fmla="*/ 16 w 27"/>
                  <a:gd name="T27" fmla="*/ 2 h 32"/>
                  <a:gd name="T28" fmla="*/ 16 w 27"/>
                  <a:gd name="T29" fmla="*/ 2 h 32"/>
                  <a:gd name="T30" fmla="*/ 22 w 27"/>
                  <a:gd name="T31" fmla="*/ 6 h 32"/>
                  <a:gd name="T32" fmla="*/ 25 w 27"/>
                  <a:gd name="T33" fmla="*/ 10 h 32"/>
                  <a:gd name="T34" fmla="*/ 27 w 27"/>
                  <a:gd name="T35" fmla="*/ 13 h 32"/>
                  <a:gd name="T36" fmla="*/ 27 w 27"/>
                  <a:gd name="T37" fmla="*/ 13 h 32"/>
                  <a:gd name="T38" fmla="*/ 25 w 27"/>
                  <a:gd name="T39" fmla="*/ 18 h 32"/>
                  <a:gd name="T40" fmla="*/ 19 w 27"/>
                  <a:gd name="T41" fmla="*/ 23 h 32"/>
                  <a:gd name="T42" fmla="*/ 15 w 27"/>
                  <a:gd name="T43" fmla="*/ 29 h 32"/>
                  <a:gd name="T44" fmla="*/ 9 w 27"/>
                  <a:gd name="T4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" h="32">
                    <a:moveTo>
                      <a:pt x="9" y="32"/>
                    </a:moveTo>
                    <a:lnTo>
                      <a:pt x="9" y="32"/>
                    </a:lnTo>
                    <a:lnTo>
                      <a:pt x="6" y="32"/>
                    </a:lnTo>
                    <a:lnTo>
                      <a:pt x="3" y="29"/>
                    </a:lnTo>
                    <a:lnTo>
                      <a:pt x="2" y="26"/>
                    </a:lnTo>
                    <a:lnTo>
                      <a:pt x="0" y="22"/>
                    </a:lnTo>
                    <a:lnTo>
                      <a:pt x="0" y="1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22" y="6"/>
                    </a:lnTo>
                    <a:lnTo>
                      <a:pt x="25" y="10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5" y="18"/>
                    </a:lnTo>
                    <a:lnTo>
                      <a:pt x="19" y="23"/>
                    </a:lnTo>
                    <a:lnTo>
                      <a:pt x="15" y="29"/>
                    </a:lnTo>
                    <a:lnTo>
                      <a:pt x="9" y="3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32" name="Freeform 986"/>
              <p:cNvSpPr>
                <a:spLocks/>
              </p:cNvSpPr>
              <p:nvPr/>
            </p:nvSpPr>
            <p:spPr bwMode="auto">
              <a:xfrm>
                <a:off x="5336697" y="1725420"/>
                <a:ext cx="26710" cy="36603"/>
              </a:xfrm>
              <a:custGeom>
                <a:avLst/>
                <a:gdLst>
                  <a:gd name="T0" fmla="*/ 19 w 27"/>
                  <a:gd name="T1" fmla="*/ 37 h 37"/>
                  <a:gd name="T2" fmla="*/ 19 w 27"/>
                  <a:gd name="T3" fmla="*/ 37 h 37"/>
                  <a:gd name="T4" fmla="*/ 16 w 27"/>
                  <a:gd name="T5" fmla="*/ 37 h 37"/>
                  <a:gd name="T6" fmla="*/ 14 w 27"/>
                  <a:gd name="T7" fmla="*/ 34 h 37"/>
                  <a:gd name="T8" fmla="*/ 13 w 27"/>
                  <a:gd name="T9" fmla="*/ 31 h 37"/>
                  <a:gd name="T10" fmla="*/ 10 w 27"/>
                  <a:gd name="T11" fmla="*/ 29 h 37"/>
                  <a:gd name="T12" fmla="*/ 10 w 27"/>
                  <a:gd name="T13" fmla="*/ 29 h 37"/>
                  <a:gd name="T14" fmla="*/ 5 w 27"/>
                  <a:gd name="T15" fmla="*/ 26 h 37"/>
                  <a:gd name="T16" fmla="*/ 1 w 27"/>
                  <a:gd name="T17" fmla="*/ 22 h 37"/>
                  <a:gd name="T18" fmla="*/ 0 w 27"/>
                  <a:gd name="T19" fmla="*/ 16 h 37"/>
                  <a:gd name="T20" fmla="*/ 0 w 27"/>
                  <a:gd name="T21" fmla="*/ 13 h 37"/>
                  <a:gd name="T22" fmla="*/ 0 w 27"/>
                  <a:gd name="T23" fmla="*/ 13 h 37"/>
                  <a:gd name="T24" fmla="*/ 4 w 27"/>
                  <a:gd name="T25" fmla="*/ 5 h 37"/>
                  <a:gd name="T26" fmla="*/ 7 w 27"/>
                  <a:gd name="T27" fmla="*/ 0 h 37"/>
                  <a:gd name="T28" fmla="*/ 7 w 27"/>
                  <a:gd name="T29" fmla="*/ 0 h 37"/>
                  <a:gd name="T30" fmla="*/ 8 w 27"/>
                  <a:gd name="T31" fmla="*/ 2 h 37"/>
                  <a:gd name="T32" fmla="*/ 8 w 27"/>
                  <a:gd name="T33" fmla="*/ 2 h 37"/>
                  <a:gd name="T34" fmla="*/ 13 w 27"/>
                  <a:gd name="T35" fmla="*/ 8 h 37"/>
                  <a:gd name="T36" fmla="*/ 19 w 27"/>
                  <a:gd name="T37" fmla="*/ 15 h 37"/>
                  <a:gd name="T38" fmla="*/ 19 w 27"/>
                  <a:gd name="T39" fmla="*/ 15 h 37"/>
                  <a:gd name="T40" fmla="*/ 24 w 27"/>
                  <a:gd name="T41" fmla="*/ 21 h 37"/>
                  <a:gd name="T42" fmla="*/ 27 w 27"/>
                  <a:gd name="T43" fmla="*/ 26 h 37"/>
                  <a:gd name="T44" fmla="*/ 27 w 27"/>
                  <a:gd name="T45" fmla="*/ 26 h 37"/>
                  <a:gd name="T46" fmla="*/ 27 w 27"/>
                  <a:gd name="T47" fmla="*/ 31 h 37"/>
                  <a:gd name="T48" fmla="*/ 27 w 27"/>
                  <a:gd name="T49" fmla="*/ 34 h 37"/>
                  <a:gd name="T50" fmla="*/ 24 w 27"/>
                  <a:gd name="T51" fmla="*/ 37 h 37"/>
                  <a:gd name="T52" fmla="*/ 19 w 27"/>
                  <a:gd name="T53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7" h="37">
                    <a:moveTo>
                      <a:pt x="19" y="37"/>
                    </a:moveTo>
                    <a:lnTo>
                      <a:pt x="19" y="37"/>
                    </a:lnTo>
                    <a:lnTo>
                      <a:pt x="16" y="37"/>
                    </a:lnTo>
                    <a:lnTo>
                      <a:pt x="14" y="34"/>
                    </a:lnTo>
                    <a:lnTo>
                      <a:pt x="13" y="31"/>
                    </a:lnTo>
                    <a:lnTo>
                      <a:pt x="10" y="29"/>
                    </a:lnTo>
                    <a:lnTo>
                      <a:pt x="10" y="29"/>
                    </a:lnTo>
                    <a:lnTo>
                      <a:pt x="5" y="26"/>
                    </a:lnTo>
                    <a:lnTo>
                      <a:pt x="1" y="22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4" y="5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13" y="8"/>
                    </a:lnTo>
                    <a:lnTo>
                      <a:pt x="19" y="15"/>
                    </a:lnTo>
                    <a:lnTo>
                      <a:pt x="19" y="15"/>
                    </a:lnTo>
                    <a:lnTo>
                      <a:pt x="24" y="21"/>
                    </a:lnTo>
                    <a:lnTo>
                      <a:pt x="27" y="26"/>
                    </a:lnTo>
                    <a:lnTo>
                      <a:pt x="27" y="26"/>
                    </a:lnTo>
                    <a:lnTo>
                      <a:pt x="27" y="31"/>
                    </a:lnTo>
                    <a:lnTo>
                      <a:pt x="27" y="34"/>
                    </a:lnTo>
                    <a:lnTo>
                      <a:pt x="24" y="37"/>
                    </a:lnTo>
                    <a:lnTo>
                      <a:pt x="19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33" name="Freeform 987"/>
              <p:cNvSpPr>
                <a:spLocks/>
              </p:cNvSpPr>
              <p:nvPr/>
            </p:nvSpPr>
            <p:spPr bwMode="auto">
              <a:xfrm>
                <a:off x="5336697" y="1725420"/>
                <a:ext cx="26710" cy="36603"/>
              </a:xfrm>
              <a:custGeom>
                <a:avLst/>
                <a:gdLst>
                  <a:gd name="T0" fmla="*/ 19 w 27"/>
                  <a:gd name="T1" fmla="*/ 37 h 37"/>
                  <a:gd name="T2" fmla="*/ 19 w 27"/>
                  <a:gd name="T3" fmla="*/ 37 h 37"/>
                  <a:gd name="T4" fmla="*/ 16 w 27"/>
                  <a:gd name="T5" fmla="*/ 37 h 37"/>
                  <a:gd name="T6" fmla="*/ 14 w 27"/>
                  <a:gd name="T7" fmla="*/ 34 h 37"/>
                  <a:gd name="T8" fmla="*/ 13 w 27"/>
                  <a:gd name="T9" fmla="*/ 31 h 37"/>
                  <a:gd name="T10" fmla="*/ 10 w 27"/>
                  <a:gd name="T11" fmla="*/ 29 h 37"/>
                  <a:gd name="T12" fmla="*/ 10 w 27"/>
                  <a:gd name="T13" fmla="*/ 29 h 37"/>
                  <a:gd name="T14" fmla="*/ 5 w 27"/>
                  <a:gd name="T15" fmla="*/ 26 h 37"/>
                  <a:gd name="T16" fmla="*/ 1 w 27"/>
                  <a:gd name="T17" fmla="*/ 22 h 37"/>
                  <a:gd name="T18" fmla="*/ 0 w 27"/>
                  <a:gd name="T19" fmla="*/ 16 h 37"/>
                  <a:gd name="T20" fmla="*/ 0 w 27"/>
                  <a:gd name="T21" fmla="*/ 13 h 37"/>
                  <a:gd name="T22" fmla="*/ 0 w 27"/>
                  <a:gd name="T23" fmla="*/ 13 h 37"/>
                  <a:gd name="T24" fmla="*/ 4 w 27"/>
                  <a:gd name="T25" fmla="*/ 5 h 37"/>
                  <a:gd name="T26" fmla="*/ 7 w 27"/>
                  <a:gd name="T27" fmla="*/ 0 h 37"/>
                  <a:gd name="T28" fmla="*/ 7 w 27"/>
                  <a:gd name="T29" fmla="*/ 0 h 37"/>
                  <a:gd name="T30" fmla="*/ 8 w 27"/>
                  <a:gd name="T31" fmla="*/ 2 h 37"/>
                  <a:gd name="T32" fmla="*/ 8 w 27"/>
                  <a:gd name="T33" fmla="*/ 2 h 37"/>
                  <a:gd name="T34" fmla="*/ 13 w 27"/>
                  <a:gd name="T35" fmla="*/ 8 h 37"/>
                  <a:gd name="T36" fmla="*/ 19 w 27"/>
                  <a:gd name="T37" fmla="*/ 15 h 37"/>
                  <a:gd name="T38" fmla="*/ 19 w 27"/>
                  <a:gd name="T39" fmla="*/ 15 h 37"/>
                  <a:gd name="T40" fmla="*/ 24 w 27"/>
                  <a:gd name="T41" fmla="*/ 21 h 37"/>
                  <a:gd name="T42" fmla="*/ 27 w 27"/>
                  <a:gd name="T43" fmla="*/ 26 h 37"/>
                  <a:gd name="T44" fmla="*/ 27 w 27"/>
                  <a:gd name="T45" fmla="*/ 26 h 37"/>
                  <a:gd name="T46" fmla="*/ 27 w 27"/>
                  <a:gd name="T47" fmla="*/ 31 h 37"/>
                  <a:gd name="T48" fmla="*/ 27 w 27"/>
                  <a:gd name="T49" fmla="*/ 34 h 37"/>
                  <a:gd name="T50" fmla="*/ 24 w 27"/>
                  <a:gd name="T51" fmla="*/ 37 h 37"/>
                  <a:gd name="T52" fmla="*/ 19 w 27"/>
                  <a:gd name="T53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7" h="37">
                    <a:moveTo>
                      <a:pt x="19" y="37"/>
                    </a:moveTo>
                    <a:lnTo>
                      <a:pt x="19" y="37"/>
                    </a:lnTo>
                    <a:lnTo>
                      <a:pt x="16" y="37"/>
                    </a:lnTo>
                    <a:lnTo>
                      <a:pt x="14" y="34"/>
                    </a:lnTo>
                    <a:lnTo>
                      <a:pt x="13" y="31"/>
                    </a:lnTo>
                    <a:lnTo>
                      <a:pt x="10" y="29"/>
                    </a:lnTo>
                    <a:lnTo>
                      <a:pt x="10" y="29"/>
                    </a:lnTo>
                    <a:lnTo>
                      <a:pt x="5" y="26"/>
                    </a:lnTo>
                    <a:lnTo>
                      <a:pt x="1" y="22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4" y="5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13" y="8"/>
                    </a:lnTo>
                    <a:lnTo>
                      <a:pt x="19" y="15"/>
                    </a:lnTo>
                    <a:lnTo>
                      <a:pt x="19" y="15"/>
                    </a:lnTo>
                    <a:lnTo>
                      <a:pt x="24" y="21"/>
                    </a:lnTo>
                    <a:lnTo>
                      <a:pt x="27" y="26"/>
                    </a:lnTo>
                    <a:lnTo>
                      <a:pt x="27" y="26"/>
                    </a:lnTo>
                    <a:lnTo>
                      <a:pt x="27" y="31"/>
                    </a:lnTo>
                    <a:lnTo>
                      <a:pt x="27" y="34"/>
                    </a:lnTo>
                    <a:lnTo>
                      <a:pt x="24" y="37"/>
                    </a:lnTo>
                    <a:lnTo>
                      <a:pt x="19" y="37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34" name="Freeform 988"/>
              <p:cNvSpPr>
                <a:spLocks/>
              </p:cNvSpPr>
              <p:nvPr/>
            </p:nvSpPr>
            <p:spPr bwMode="auto">
              <a:xfrm>
                <a:off x="5522678" y="1569117"/>
                <a:ext cx="25721" cy="31656"/>
              </a:xfrm>
              <a:custGeom>
                <a:avLst/>
                <a:gdLst>
                  <a:gd name="T0" fmla="*/ 14 w 26"/>
                  <a:gd name="T1" fmla="*/ 29 h 32"/>
                  <a:gd name="T2" fmla="*/ 14 w 26"/>
                  <a:gd name="T3" fmla="*/ 29 h 32"/>
                  <a:gd name="T4" fmla="*/ 12 w 26"/>
                  <a:gd name="T5" fmla="*/ 28 h 32"/>
                  <a:gd name="T6" fmla="*/ 10 w 26"/>
                  <a:gd name="T7" fmla="*/ 27 h 32"/>
                  <a:gd name="T8" fmla="*/ 7 w 26"/>
                  <a:gd name="T9" fmla="*/ 25 h 32"/>
                  <a:gd name="T10" fmla="*/ 6 w 26"/>
                  <a:gd name="T11" fmla="*/ 27 h 32"/>
                  <a:gd name="T12" fmla="*/ 6 w 26"/>
                  <a:gd name="T13" fmla="*/ 27 h 32"/>
                  <a:gd name="T14" fmla="*/ 3 w 26"/>
                  <a:gd name="T15" fmla="*/ 32 h 32"/>
                  <a:gd name="T16" fmla="*/ 1 w 26"/>
                  <a:gd name="T17" fmla="*/ 32 h 32"/>
                  <a:gd name="T18" fmla="*/ 0 w 26"/>
                  <a:gd name="T19" fmla="*/ 31 h 32"/>
                  <a:gd name="T20" fmla="*/ 0 w 26"/>
                  <a:gd name="T21" fmla="*/ 31 h 32"/>
                  <a:gd name="T22" fmla="*/ 0 w 26"/>
                  <a:gd name="T23" fmla="*/ 25 h 32"/>
                  <a:gd name="T24" fmla="*/ 0 w 26"/>
                  <a:gd name="T25" fmla="*/ 18 h 32"/>
                  <a:gd name="T26" fmla="*/ 1 w 26"/>
                  <a:gd name="T27" fmla="*/ 12 h 32"/>
                  <a:gd name="T28" fmla="*/ 4 w 26"/>
                  <a:gd name="T29" fmla="*/ 8 h 32"/>
                  <a:gd name="T30" fmla="*/ 4 w 26"/>
                  <a:gd name="T31" fmla="*/ 8 h 32"/>
                  <a:gd name="T32" fmla="*/ 10 w 26"/>
                  <a:gd name="T33" fmla="*/ 2 h 32"/>
                  <a:gd name="T34" fmla="*/ 14 w 26"/>
                  <a:gd name="T35" fmla="*/ 0 h 32"/>
                  <a:gd name="T36" fmla="*/ 17 w 26"/>
                  <a:gd name="T37" fmla="*/ 2 h 32"/>
                  <a:gd name="T38" fmla="*/ 17 w 26"/>
                  <a:gd name="T39" fmla="*/ 2 h 32"/>
                  <a:gd name="T40" fmla="*/ 22 w 26"/>
                  <a:gd name="T41" fmla="*/ 6 h 32"/>
                  <a:gd name="T42" fmla="*/ 25 w 26"/>
                  <a:gd name="T43" fmla="*/ 12 h 32"/>
                  <a:gd name="T44" fmla="*/ 25 w 26"/>
                  <a:gd name="T45" fmla="*/ 12 h 32"/>
                  <a:gd name="T46" fmla="*/ 26 w 26"/>
                  <a:gd name="T47" fmla="*/ 16 h 32"/>
                  <a:gd name="T48" fmla="*/ 25 w 26"/>
                  <a:gd name="T49" fmla="*/ 22 h 32"/>
                  <a:gd name="T50" fmla="*/ 23 w 26"/>
                  <a:gd name="T51" fmla="*/ 25 h 32"/>
                  <a:gd name="T52" fmla="*/ 22 w 26"/>
                  <a:gd name="T53" fmla="*/ 27 h 32"/>
                  <a:gd name="T54" fmla="*/ 19 w 26"/>
                  <a:gd name="T55" fmla="*/ 28 h 32"/>
                  <a:gd name="T56" fmla="*/ 14 w 26"/>
                  <a:gd name="T57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6" h="32">
                    <a:moveTo>
                      <a:pt x="14" y="29"/>
                    </a:moveTo>
                    <a:lnTo>
                      <a:pt x="14" y="29"/>
                    </a:lnTo>
                    <a:lnTo>
                      <a:pt x="12" y="28"/>
                    </a:lnTo>
                    <a:lnTo>
                      <a:pt x="10" y="27"/>
                    </a:lnTo>
                    <a:lnTo>
                      <a:pt x="7" y="25"/>
                    </a:lnTo>
                    <a:lnTo>
                      <a:pt x="6" y="27"/>
                    </a:lnTo>
                    <a:lnTo>
                      <a:pt x="6" y="27"/>
                    </a:lnTo>
                    <a:lnTo>
                      <a:pt x="3" y="32"/>
                    </a:lnTo>
                    <a:lnTo>
                      <a:pt x="1" y="32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0" y="18"/>
                    </a:lnTo>
                    <a:lnTo>
                      <a:pt x="1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10" y="2"/>
                    </a:lnTo>
                    <a:lnTo>
                      <a:pt x="14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22" y="6"/>
                    </a:lnTo>
                    <a:lnTo>
                      <a:pt x="25" y="12"/>
                    </a:lnTo>
                    <a:lnTo>
                      <a:pt x="25" y="12"/>
                    </a:lnTo>
                    <a:lnTo>
                      <a:pt x="26" y="16"/>
                    </a:lnTo>
                    <a:lnTo>
                      <a:pt x="25" y="22"/>
                    </a:lnTo>
                    <a:lnTo>
                      <a:pt x="23" y="25"/>
                    </a:lnTo>
                    <a:lnTo>
                      <a:pt x="22" y="27"/>
                    </a:lnTo>
                    <a:lnTo>
                      <a:pt x="19" y="28"/>
                    </a:lnTo>
                    <a:lnTo>
                      <a:pt x="14" y="2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35" name="Freeform 989"/>
              <p:cNvSpPr>
                <a:spLocks/>
              </p:cNvSpPr>
              <p:nvPr/>
            </p:nvSpPr>
            <p:spPr bwMode="auto">
              <a:xfrm>
                <a:off x="5522678" y="1569117"/>
                <a:ext cx="25721" cy="31656"/>
              </a:xfrm>
              <a:custGeom>
                <a:avLst/>
                <a:gdLst>
                  <a:gd name="T0" fmla="*/ 14 w 26"/>
                  <a:gd name="T1" fmla="*/ 29 h 32"/>
                  <a:gd name="T2" fmla="*/ 14 w 26"/>
                  <a:gd name="T3" fmla="*/ 29 h 32"/>
                  <a:gd name="T4" fmla="*/ 12 w 26"/>
                  <a:gd name="T5" fmla="*/ 28 h 32"/>
                  <a:gd name="T6" fmla="*/ 10 w 26"/>
                  <a:gd name="T7" fmla="*/ 27 h 32"/>
                  <a:gd name="T8" fmla="*/ 7 w 26"/>
                  <a:gd name="T9" fmla="*/ 25 h 32"/>
                  <a:gd name="T10" fmla="*/ 6 w 26"/>
                  <a:gd name="T11" fmla="*/ 27 h 32"/>
                  <a:gd name="T12" fmla="*/ 6 w 26"/>
                  <a:gd name="T13" fmla="*/ 27 h 32"/>
                  <a:gd name="T14" fmla="*/ 3 w 26"/>
                  <a:gd name="T15" fmla="*/ 32 h 32"/>
                  <a:gd name="T16" fmla="*/ 1 w 26"/>
                  <a:gd name="T17" fmla="*/ 32 h 32"/>
                  <a:gd name="T18" fmla="*/ 0 w 26"/>
                  <a:gd name="T19" fmla="*/ 31 h 32"/>
                  <a:gd name="T20" fmla="*/ 0 w 26"/>
                  <a:gd name="T21" fmla="*/ 31 h 32"/>
                  <a:gd name="T22" fmla="*/ 0 w 26"/>
                  <a:gd name="T23" fmla="*/ 25 h 32"/>
                  <a:gd name="T24" fmla="*/ 0 w 26"/>
                  <a:gd name="T25" fmla="*/ 18 h 32"/>
                  <a:gd name="T26" fmla="*/ 1 w 26"/>
                  <a:gd name="T27" fmla="*/ 12 h 32"/>
                  <a:gd name="T28" fmla="*/ 4 w 26"/>
                  <a:gd name="T29" fmla="*/ 8 h 32"/>
                  <a:gd name="T30" fmla="*/ 4 w 26"/>
                  <a:gd name="T31" fmla="*/ 8 h 32"/>
                  <a:gd name="T32" fmla="*/ 10 w 26"/>
                  <a:gd name="T33" fmla="*/ 2 h 32"/>
                  <a:gd name="T34" fmla="*/ 14 w 26"/>
                  <a:gd name="T35" fmla="*/ 0 h 32"/>
                  <a:gd name="T36" fmla="*/ 17 w 26"/>
                  <a:gd name="T37" fmla="*/ 2 h 32"/>
                  <a:gd name="T38" fmla="*/ 17 w 26"/>
                  <a:gd name="T39" fmla="*/ 2 h 32"/>
                  <a:gd name="T40" fmla="*/ 22 w 26"/>
                  <a:gd name="T41" fmla="*/ 6 h 32"/>
                  <a:gd name="T42" fmla="*/ 25 w 26"/>
                  <a:gd name="T43" fmla="*/ 12 h 32"/>
                  <a:gd name="T44" fmla="*/ 25 w 26"/>
                  <a:gd name="T45" fmla="*/ 12 h 32"/>
                  <a:gd name="T46" fmla="*/ 26 w 26"/>
                  <a:gd name="T47" fmla="*/ 16 h 32"/>
                  <a:gd name="T48" fmla="*/ 25 w 26"/>
                  <a:gd name="T49" fmla="*/ 22 h 32"/>
                  <a:gd name="T50" fmla="*/ 23 w 26"/>
                  <a:gd name="T51" fmla="*/ 25 h 32"/>
                  <a:gd name="T52" fmla="*/ 22 w 26"/>
                  <a:gd name="T53" fmla="*/ 27 h 32"/>
                  <a:gd name="T54" fmla="*/ 19 w 26"/>
                  <a:gd name="T55" fmla="*/ 28 h 32"/>
                  <a:gd name="T56" fmla="*/ 14 w 26"/>
                  <a:gd name="T57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6" h="32">
                    <a:moveTo>
                      <a:pt x="14" y="29"/>
                    </a:moveTo>
                    <a:lnTo>
                      <a:pt x="14" y="29"/>
                    </a:lnTo>
                    <a:lnTo>
                      <a:pt x="12" y="28"/>
                    </a:lnTo>
                    <a:lnTo>
                      <a:pt x="10" y="27"/>
                    </a:lnTo>
                    <a:lnTo>
                      <a:pt x="7" y="25"/>
                    </a:lnTo>
                    <a:lnTo>
                      <a:pt x="6" y="27"/>
                    </a:lnTo>
                    <a:lnTo>
                      <a:pt x="6" y="27"/>
                    </a:lnTo>
                    <a:lnTo>
                      <a:pt x="3" y="32"/>
                    </a:lnTo>
                    <a:lnTo>
                      <a:pt x="1" y="32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0" y="18"/>
                    </a:lnTo>
                    <a:lnTo>
                      <a:pt x="1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10" y="2"/>
                    </a:lnTo>
                    <a:lnTo>
                      <a:pt x="14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22" y="6"/>
                    </a:lnTo>
                    <a:lnTo>
                      <a:pt x="25" y="12"/>
                    </a:lnTo>
                    <a:lnTo>
                      <a:pt x="25" y="12"/>
                    </a:lnTo>
                    <a:lnTo>
                      <a:pt x="26" y="16"/>
                    </a:lnTo>
                    <a:lnTo>
                      <a:pt x="25" y="22"/>
                    </a:lnTo>
                    <a:lnTo>
                      <a:pt x="23" y="25"/>
                    </a:lnTo>
                    <a:lnTo>
                      <a:pt x="22" y="27"/>
                    </a:lnTo>
                    <a:lnTo>
                      <a:pt x="19" y="28"/>
                    </a:lnTo>
                    <a:lnTo>
                      <a:pt x="14" y="29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38" name="Freeform 992"/>
              <p:cNvSpPr>
                <a:spLocks/>
              </p:cNvSpPr>
              <p:nvPr/>
            </p:nvSpPr>
            <p:spPr bwMode="auto">
              <a:xfrm>
                <a:off x="5637432" y="1595827"/>
                <a:ext cx="12860" cy="13850"/>
              </a:xfrm>
              <a:custGeom>
                <a:avLst/>
                <a:gdLst>
                  <a:gd name="T0" fmla="*/ 10 w 13"/>
                  <a:gd name="T1" fmla="*/ 14 h 14"/>
                  <a:gd name="T2" fmla="*/ 10 w 13"/>
                  <a:gd name="T3" fmla="*/ 14 h 14"/>
                  <a:gd name="T4" fmla="*/ 3 w 13"/>
                  <a:gd name="T5" fmla="*/ 13 h 14"/>
                  <a:gd name="T6" fmla="*/ 1 w 13"/>
                  <a:gd name="T7" fmla="*/ 11 h 14"/>
                  <a:gd name="T8" fmla="*/ 0 w 13"/>
                  <a:gd name="T9" fmla="*/ 10 h 14"/>
                  <a:gd name="T10" fmla="*/ 0 w 13"/>
                  <a:gd name="T11" fmla="*/ 10 h 14"/>
                  <a:gd name="T12" fmla="*/ 0 w 13"/>
                  <a:gd name="T13" fmla="*/ 5 h 14"/>
                  <a:gd name="T14" fmla="*/ 3 w 13"/>
                  <a:gd name="T15" fmla="*/ 2 h 14"/>
                  <a:gd name="T16" fmla="*/ 4 w 13"/>
                  <a:gd name="T17" fmla="*/ 0 h 14"/>
                  <a:gd name="T18" fmla="*/ 7 w 13"/>
                  <a:gd name="T19" fmla="*/ 0 h 14"/>
                  <a:gd name="T20" fmla="*/ 7 w 13"/>
                  <a:gd name="T21" fmla="*/ 0 h 14"/>
                  <a:gd name="T22" fmla="*/ 10 w 13"/>
                  <a:gd name="T23" fmla="*/ 1 h 14"/>
                  <a:gd name="T24" fmla="*/ 13 w 13"/>
                  <a:gd name="T25" fmla="*/ 7 h 14"/>
                  <a:gd name="T26" fmla="*/ 13 w 13"/>
                  <a:gd name="T27" fmla="*/ 11 h 14"/>
                  <a:gd name="T28" fmla="*/ 11 w 13"/>
                  <a:gd name="T29" fmla="*/ 13 h 14"/>
                  <a:gd name="T30" fmla="*/ 10 w 13"/>
                  <a:gd name="T3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" h="14">
                    <a:moveTo>
                      <a:pt x="10" y="14"/>
                    </a:moveTo>
                    <a:lnTo>
                      <a:pt x="10" y="14"/>
                    </a:lnTo>
                    <a:lnTo>
                      <a:pt x="3" y="13"/>
                    </a:lnTo>
                    <a:lnTo>
                      <a:pt x="1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3" y="2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0" y="1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10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39" name="Freeform 993"/>
              <p:cNvSpPr>
                <a:spLocks/>
              </p:cNvSpPr>
              <p:nvPr/>
            </p:nvSpPr>
            <p:spPr bwMode="auto">
              <a:xfrm>
                <a:off x="5637432" y="1595827"/>
                <a:ext cx="12860" cy="13850"/>
              </a:xfrm>
              <a:custGeom>
                <a:avLst/>
                <a:gdLst>
                  <a:gd name="T0" fmla="*/ 10 w 13"/>
                  <a:gd name="T1" fmla="*/ 14 h 14"/>
                  <a:gd name="T2" fmla="*/ 10 w 13"/>
                  <a:gd name="T3" fmla="*/ 14 h 14"/>
                  <a:gd name="T4" fmla="*/ 3 w 13"/>
                  <a:gd name="T5" fmla="*/ 13 h 14"/>
                  <a:gd name="T6" fmla="*/ 1 w 13"/>
                  <a:gd name="T7" fmla="*/ 11 h 14"/>
                  <a:gd name="T8" fmla="*/ 0 w 13"/>
                  <a:gd name="T9" fmla="*/ 10 h 14"/>
                  <a:gd name="T10" fmla="*/ 0 w 13"/>
                  <a:gd name="T11" fmla="*/ 10 h 14"/>
                  <a:gd name="T12" fmla="*/ 0 w 13"/>
                  <a:gd name="T13" fmla="*/ 5 h 14"/>
                  <a:gd name="T14" fmla="*/ 3 w 13"/>
                  <a:gd name="T15" fmla="*/ 2 h 14"/>
                  <a:gd name="T16" fmla="*/ 4 w 13"/>
                  <a:gd name="T17" fmla="*/ 0 h 14"/>
                  <a:gd name="T18" fmla="*/ 7 w 13"/>
                  <a:gd name="T19" fmla="*/ 0 h 14"/>
                  <a:gd name="T20" fmla="*/ 7 w 13"/>
                  <a:gd name="T21" fmla="*/ 0 h 14"/>
                  <a:gd name="T22" fmla="*/ 10 w 13"/>
                  <a:gd name="T23" fmla="*/ 1 h 14"/>
                  <a:gd name="T24" fmla="*/ 13 w 13"/>
                  <a:gd name="T25" fmla="*/ 7 h 14"/>
                  <a:gd name="T26" fmla="*/ 13 w 13"/>
                  <a:gd name="T27" fmla="*/ 11 h 14"/>
                  <a:gd name="T28" fmla="*/ 11 w 13"/>
                  <a:gd name="T29" fmla="*/ 13 h 14"/>
                  <a:gd name="T30" fmla="*/ 10 w 13"/>
                  <a:gd name="T3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" h="14">
                    <a:moveTo>
                      <a:pt x="10" y="14"/>
                    </a:moveTo>
                    <a:lnTo>
                      <a:pt x="10" y="14"/>
                    </a:lnTo>
                    <a:lnTo>
                      <a:pt x="3" y="13"/>
                    </a:lnTo>
                    <a:lnTo>
                      <a:pt x="1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3" y="2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0" y="1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10" y="14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40" name="Freeform 994"/>
              <p:cNvSpPr>
                <a:spLocks/>
              </p:cNvSpPr>
              <p:nvPr/>
            </p:nvSpPr>
            <p:spPr bwMode="auto">
              <a:xfrm>
                <a:off x="5657217" y="1575052"/>
                <a:ext cx="12860" cy="17807"/>
              </a:xfrm>
              <a:custGeom>
                <a:avLst/>
                <a:gdLst>
                  <a:gd name="T0" fmla="*/ 7 w 13"/>
                  <a:gd name="T1" fmla="*/ 18 h 18"/>
                  <a:gd name="T2" fmla="*/ 7 w 13"/>
                  <a:gd name="T3" fmla="*/ 18 h 18"/>
                  <a:gd name="T4" fmla="*/ 4 w 13"/>
                  <a:gd name="T5" fmla="*/ 18 h 18"/>
                  <a:gd name="T6" fmla="*/ 2 w 13"/>
                  <a:gd name="T7" fmla="*/ 16 h 18"/>
                  <a:gd name="T8" fmla="*/ 0 w 13"/>
                  <a:gd name="T9" fmla="*/ 13 h 18"/>
                  <a:gd name="T10" fmla="*/ 0 w 13"/>
                  <a:gd name="T11" fmla="*/ 10 h 18"/>
                  <a:gd name="T12" fmla="*/ 0 w 13"/>
                  <a:gd name="T13" fmla="*/ 10 h 18"/>
                  <a:gd name="T14" fmla="*/ 7 w 13"/>
                  <a:gd name="T15" fmla="*/ 3 h 18"/>
                  <a:gd name="T16" fmla="*/ 10 w 13"/>
                  <a:gd name="T17" fmla="*/ 0 h 18"/>
                  <a:gd name="T18" fmla="*/ 12 w 13"/>
                  <a:gd name="T19" fmla="*/ 0 h 18"/>
                  <a:gd name="T20" fmla="*/ 12 w 13"/>
                  <a:gd name="T21" fmla="*/ 0 h 18"/>
                  <a:gd name="T22" fmla="*/ 13 w 13"/>
                  <a:gd name="T23" fmla="*/ 10 h 18"/>
                  <a:gd name="T24" fmla="*/ 12 w 13"/>
                  <a:gd name="T25" fmla="*/ 16 h 18"/>
                  <a:gd name="T26" fmla="*/ 10 w 13"/>
                  <a:gd name="T27" fmla="*/ 18 h 18"/>
                  <a:gd name="T28" fmla="*/ 7 w 13"/>
                  <a:gd name="T2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18">
                    <a:moveTo>
                      <a:pt x="7" y="18"/>
                    </a:moveTo>
                    <a:lnTo>
                      <a:pt x="7" y="18"/>
                    </a:lnTo>
                    <a:lnTo>
                      <a:pt x="4" y="18"/>
                    </a:lnTo>
                    <a:lnTo>
                      <a:pt x="2" y="16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7" y="3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3" y="10"/>
                    </a:lnTo>
                    <a:lnTo>
                      <a:pt x="12" y="16"/>
                    </a:lnTo>
                    <a:lnTo>
                      <a:pt x="10" y="18"/>
                    </a:lnTo>
                    <a:lnTo>
                      <a:pt x="7" y="1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41" name="Freeform 995"/>
              <p:cNvSpPr>
                <a:spLocks/>
              </p:cNvSpPr>
              <p:nvPr/>
            </p:nvSpPr>
            <p:spPr bwMode="auto">
              <a:xfrm>
                <a:off x="5657217" y="1575052"/>
                <a:ext cx="12860" cy="17807"/>
              </a:xfrm>
              <a:custGeom>
                <a:avLst/>
                <a:gdLst>
                  <a:gd name="T0" fmla="*/ 7 w 13"/>
                  <a:gd name="T1" fmla="*/ 18 h 18"/>
                  <a:gd name="T2" fmla="*/ 7 w 13"/>
                  <a:gd name="T3" fmla="*/ 18 h 18"/>
                  <a:gd name="T4" fmla="*/ 4 w 13"/>
                  <a:gd name="T5" fmla="*/ 18 h 18"/>
                  <a:gd name="T6" fmla="*/ 2 w 13"/>
                  <a:gd name="T7" fmla="*/ 16 h 18"/>
                  <a:gd name="T8" fmla="*/ 0 w 13"/>
                  <a:gd name="T9" fmla="*/ 13 h 18"/>
                  <a:gd name="T10" fmla="*/ 0 w 13"/>
                  <a:gd name="T11" fmla="*/ 10 h 18"/>
                  <a:gd name="T12" fmla="*/ 0 w 13"/>
                  <a:gd name="T13" fmla="*/ 10 h 18"/>
                  <a:gd name="T14" fmla="*/ 7 w 13"/>
                  <a:gd name="T15" fmla="*/ 3 h 18"/>
                  <a:gd name="T16" fmla="*/ 10 w 13"/>
                  <a:gd name="T17" fmla="*/ 0 h 18"/>
                  <a:gd name="T18" fmla="*/ 12 w 13"/>
                  <a:gd name="T19" fmla="*/ 0 h 18"/>
                  <a:gd name="T20" fmla="*/ 12 w 13"/>
                  <a:gd name="T21" fmla="*/ 0 h 18"/>
                  <a:gd name="T22" fmla="*/ 13 w 13"/>
                  <a:gd name="T23" fmla="*/ 10 h 18"/>
                  <a:gd name="T24" fmla="*/ 12 w 13"/>
                  <a:gd name="T25" fmla="*/ 16 h 18"/>
                  <a:gd name="T26" fmla="*/ 10 w 13"/>
                  <a:gd name="T27" fmla="*/ 18 h 18"/>
                  <a:gd name="T28" fmla="*/ 7 w 13"/>
                  <a:gd name="T2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18">
                    <a:moveTo>
                      <a:pt x="7" y="18"/>
                    </a:moveTo>
                    <a:lnTo>
                      <a:pt x="7" y="18"/>
                    </a:lnTo>
                    <a:lnTo>
                      <a:pt x="4" y="18"/>
                    </a:lnTo>
                    <a:lnTo>
                      <a:pt x="2" y="16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7" y="3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3" y="10"/>
                    </a:lnTo>
                    <a:lnTo>
                      <a:pt x="12" y="16"/>
                    </a:lnTo>
                    <a:lnTo>
                      <a:pt x="10" y="18"/>
                    </a:lnTo>
                    <a:lnTo>
                      <a:pt x="7" y="1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42" name="Freeform 996"/>
              <p:cNvSpPr>
                <a:spLocks/>
              </p:cNvSpPr>
              <p:nvPr/>
            </p:nvSpPr>
            <p:spPr bwMode="auto">
              <a:xfrm>
                <a:off x="6174600" y="1510751"/>
                <a:ext cx="22753" cy="16817"/>
              </a:xfrm>
              <a:custGeom>
                <a:avLst/>
                <a:gdLst>
                  <a:gd name="T0" fmla="*/ 22 w 23"/>
                  <a:gd name="T1" fmla="*/ 16 h 17"/>
                  <a:gd name="T2" fmla="*/ 22 w 23"/>
                  <a:gd name="T3" fmla="*/ 16 h 17"/>
                  <a:gd name="T4" fmla="*/ 9 w 23"/>
                  <a:gd name="T5" fmla="*/ 17 h 17"/>
                  <a:gd name="T6" fmla="*/ 1 w 23"/>
                  <a:gd name="T7" fmla="*/ 16 h 17"/>
                  <a:gd name="T8" fmla="*/ 0 w 23"/>
                  <a:gd name="T9" fmla="*/ 15 h 17"/>
                  <a:gd name="T10" fmla="*/ 0 w 23"/>
                  <a:gd name="T11" fmla="*/ 13 h 17"/>
                  <a:gd name="T12" fmla="*/ 0 w 23"/>
                  <a:gd name="T13" fmla="*/ 13 h 17"/>
                  <a:gd name="T14" fmla="*/ 3 w 23"/>
                  <a:gd name="T15" fmla="*/ 4 h 17"/>
                  <a:gd name="T16" fmla="*/ 4 w 23"/>
                  <a:gd name="T17" fmla="*/ 2 h 17"/>
                  <a:gd name="T18" fmla="*/ 6 w 23"/>
                  <a:gd name="T19" fmla="*/ 0 h 17"/>
                  <a:gd name="T20" fmla="*/ 6 w 23"/>
                  <a:gd name="T21" fmla="*/ 0 h 17"/>
                  <a:gd name="T22" fmla="*/ 14 w 23"/>
                  <a:gd name="T23" fmla="*/ 0 h 17"/>
                  <a:gd name="T24" fmla="*/ 19 w 23"/>
                  <a:gd name="T25" fmla="*/ 0 h 17"/>
                  <a:gd name="T26" fmla="*/ 20 w 23"/>
                  <a:gd name="T27" fmla="*/ 2 h 17"/>
                  <a:gd name="T28" fmla="*/ 22 w 23"/>
                  <a:gd name="T29" fmla="*/ 3 h 17"/>
                  <a:gd name="T30" fmla="*/ 22 w 23"/>
                  <a:gd name="T31" fmla="*/ 3 h 17"/>
                  <a:gd name="T32" fmla="*/ 23 w 23"/>
                  <a:gd name="T33" fmla="*/ 12 h 17"/>
                  <a:gd name="T34" fmla="*/ 23 w 23"/>
                  <a:gd name="T35" fmla="*/ 15 h 17"/>
                  <a:gd name="T36" fmla="*/ 23 w 23"/>
                  <a:gd name="T37" fmla="*/ 16 h 17"/>
                  <a:gd name="T38" fmla="*/ 22 w 23"/>
                  <a:gd name="T39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3" h="17">
                    <a:moveTo>
                      <a:pt x="22" y="16"/>
                    </a:moveTo>
                    <a:lnTo>
                      <a:pt x="22" y="16"/>
                    </a:lnTo>
                    <a:lnTo>
                      <a:pt x="9" y="17"/>
                    </a:lnTo>
                    <a:lnTo>
                      <a:pt x="1" y="16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3" y="4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20" y="2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23" y="12"/>
                    </a:lnTo>
                    <a:lnTo>
                      <a:pt x="23" y="15"/>
                    </a:lnTo>
                    <a:lnTo>
                      <a:pt x="23" y="16"/>
                    </a:lnTo>
                    <a:lnTo>
                      <a:pt x="22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43" name="Freeform 997"/>
              <p:cNvSpPr>
                <a:spLocks/>
              </p:cNvSpPr>
              <p:nvPr/>
            </p:nvSpPr>
            <p:spPr bwMode="auto">
              <a:xfrm>
                <a:off x="6174600" y="1510751"/>
                <a:ext cx="22753" cy="16817"/>
              </a:xfrm>
              <a:custGeom>
                <a:avLst/>
                <a:gdLst>
                  <a:gd name="T0" fmla="*/ 22 w 23"/>
                  <a:gd name="T1" fmla="*/ 16 h 17"/>
                  <a:gd name="T2" fmla="*/ 22 w 23"/>
                  <a:gd name="T3" fmla="*/ 16 h 17"/>
                  <a:gd name="T4" fmla="*/ 9 w 23"/>
                  <a:gd name="T5" fmla="*/ 17 h 17"/>
                  <a:gd name="T6" fmla="*/ 1 w 23"/>
                  <a:gd name="T7" fmla="*/ 16 h 17"/>
                  <a:gd name="T8" fmla="*/ 0 w 23"/>
                  <a:gd name="T9" fmla="*/ 15 h 17"/>
                  <a:gd name="T10" fmla="*/ 0 w 23"/>
                  <a:gd name="T11" fmla="*/ 13 h 17"/>
                  <a:gd name="T12" fmla="*/ 0 w 23"/>
                  <a:gd name="T13" fmla="*/ 13 h 17"/>
                  <a:gd name="T14" fmla="*/ 3 w 23"/>
                  <a:gd name="T15" fmla="*/ 4 h 17"/>
                  <a:gd name="T16" fmla="*/ 4 w 23"/>
                  <a:gd name="T17" fmla="*/ 2 h 17"/>
                  <a:gd name="T18" fmla="*/ 6 w 23"/>
                  <a:gd name="T19" fmla="*/ 0 h 17"/>
                  <a:gd name="T20" fmla="*/ 6 w 23"/>
                  <a:gd name="T21" fmla="*/ 0 h 17"/>
                  <a:gd name="T22" fmla="*/ 14 w 23"/>
                  <a:gd name="T23" fmla="*/ 0 h 17"/>
                  <a:gd name="T24" fmla="*/ 19 w 23"/>
                  <a:gd name="T25" fmla="*/ 0 h 17"/>
                  <a:gd name="T26" fmla="*/ 20 w 23"/>
                  <a:gd name="T27" fmla="*/ 2 h 17"/>
                  <a:gd name="T28" fmla="*/ 22 w 23"/>
                  <a:gd name="T29" fmla="*/ 3 h 17"/>
                  <a:gd name="T30" fmla="*/ 22 w 23"/>
                  <a:gd name="T31" fmla="*/ 3 h 17"/>
                  <a:gd name="T32" fmla="*/ 23 w 23"/>
                  <a:gd name="T33" fmla="*/ 12 h 17"/>
                  <a:gd name="T34" fmla="*/ 23 w 23"/>
                  <a:gd name="T35" fmla="*/ 15 h 17"/>
                  <a:gd name="T36" fmla="*/ 23 w 23"/>
                  <a:gd name="T37" fmla="*/ 16 h 17"/>
                  <a:gd name="T38" fmla="*/ 22 w 23"/>
                  <a:gd name="T39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3" h="17">
                    <a:moveTo>
                      <a:pt x="22" y="16"/>
                    </a:moveTo>
                    <a:lnTo>
                      <a:pt x="22" y="16"/>
                    </a:lnTo>
                    <a:lnTo>
                      <a:pt x="9" y="17"/>
                    </a:lnTo>
                    <a:lnTo>
                      <a:pt x="1" y="16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3" y="4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20" y="2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23" y="12"/>
                    </a:lnTo>
                    <a:lnTo>
                      <a:pt x="23" y="15"/>
                    </a:lnTo>
                    <a:lnTo>
                      <a:pt x="23" y="16"/>
                    </a:lnTo>
                    <a:lnTo>
                      <a:pt x="22" y="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44" name="Freeform 998"/>
              <p:cNvSpPr>
                <a:spLocks/>
              </p:cNvSpPr>
              <p:nvPr/>
            </p:nvSpPr>
            <p:spPr bwMode="auto">
              <a:xfrm>
                <a:off x="6618778" y="1556256"/>
                <a:ext cx="54409" cy="40560"/>
              </a:xfrm>
              <a:custGeom>
                <a:avLst/>
                <a:gdLst>
                  <a:gd name="T0" fmla="*/ 54 w 55"/>
                  <a:gd name="T1" fmla="*/ 41 h 41"/>
                  <a:gd name="T2" fmla="*/ 54 w 55"/>
                  <a:gd name="T3" fmla="*/ 41 h 41"/>
                  <a:gd name="T4" fmla="*/ 30 w 55"/>
                  <a:gd name="T5" fmla="*/ 34 h 41"/>
                  <a:gd name="T6" fmla="*/ 10 w 55"/>
                  <a:gd name="T7" fmla="*/ 31 h 41"/>
                  <a:gd name="T8" fmla="*/ 10 w 55"/>
                  <a:gd name="T9" fmla="*/ 31 h 41"/>
                  <a:gd name="T10" fmla="*/ 1 w 55"/>
                  <a:gd name="T11" fmla="*/ 32 h 41"/>
                  <a:gd name="T12" fmla="*/ 0 w 55"/>
                  <a:gd name="T13" fmla="*/ 32 h 41"/>
                  <a:gd name="T14" fmla="*/ 0 w 55"/>
                  <a:gd name="T15" fmla="*/ 31 h 41"/>
                  <a:gd name="T16" fmla="*/ 0 w 55"/>
                  <a:gd name="T17" fmla="*/ 31 h 41"/>
                  <a:gd name="T18" fmla="*/ 3 w 55"/>
                  <a:gd name="T19" fmla="*/ 27 h 41"/>
                  <a:gd name="T20" fmla="*/ 7 w 55"/>
                  <a:gd name="T21" fmla="*/ 24 h 41"/>
                  <a:gd name="T22" fmla="*/ 10 w 55"/>
                  <a:gd name="T23" fmla="*/ 19 h 41"/>
                  <a:gd name="T24" fmla="*/ 12 w 55"/>
                  <a:gd name="T25" fmla="*/ 16 h 41"/>
                  <a:gd name="T26" fmla="*/ 12 w 55"/>
                  <a:gd name="T27" fmla="*/ 16 h 41"/>
                  <a:gd name="T28" fmla="*/ 13 w 55"/>
                  <a:gd name="T29" fmla="*/ 8 h 41"/>
                  <a:gd name="T30" fmla="*/ 16 w 55"/>
                  <a:gd name="T31" fmla="*/ 5 h 41"/>
                  <a:gd name="T32" fmla="*/ 17 w 55"/>
                  <a:gd name="T33" fmla="*/ 3 h 41"/>
                  <a:gd name="T34" fmla="*/ 17 w 55"/>
                  <a:gd name="T35" fmla="*/ 3 h 41"/>
                  <a:gd name="T36" fmla="*/ 23 w 55"/>
                  <a:gd name="T37" fmla="*/ 2 h 41"/>
                  <a:gd name="T38" fmla="*/ 26 w 55"/>
                  <a:gd name="T39" fmla="*/ 0 h 41"/>
                  <a:gd name="T40" fmla="*/ 30 w 55"/>
                  <a:gd name="T41" fmla="*/ 2 h 41"/>
                  <a:gd name="T42" fmla="*/ 30 w 55"/>
                  <a:gd name="T43" fmla="*/ 2 h 41"/>
                  <a:gd name="T44" fmla="*/ 38 w 55"/>
                  <a:gd name="T45" fmla="*/ 3 h 41"/>
                  <a:gd name="T46" fmla="*/ 42 w 55"/>
                  <a:gd name="T47" fmla="*/ 6 h 41"/>
                  <a:gd name="T48" fmla="*/ 46 w 55"/>
                  <a:gd name="T49" fmla="*/ 9 h 41"/>
                  <a:gd name="T50" fmla="*/ 46 w 55"/>
                  <a:gd name="T51" fmla="*/ 9 h 41"/>
                  <a:gd name="T52" fmla="*/ 51 w 55"/>
                  <a:gd name="T53" fmla="*/ 16 h 41"/>
                  <a:gd name="T54" fmla="*/ 54 w 55"/>
                  <a:gd name="T55" fmla="*/ 28 h 41"/>
                  <a:gd name="T56" fmla="*/ 55 w 55"/>
                  <a:gd name="T57" fmla="*/ 37 h 41"/>
                  <a:gd name="T58" fmla="*/ 55 w 55"/>
                  <a:gd name="T59" fmla="*/ 40 h 41"/>
                  <a:gd name="T60" fmla="*/ 54 w 55"/>
                  <a:gd name="T61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5" h="41">
                    <a:moveTo>
                      <a:pt x="54" y="41"/>
                    </a:moveTo>
                    <a:lnTo>
                      <a:pt x="54" y="41"/>
                    </a:lnTo>
                    <a:lnTo>
                      <a:pt x="30" y="34"/>
                    </a:lnTo>
                    <a:lnTo>
                      <a:pt x="10" y="31"/>
                    </a:lnTo>
                    <a:lnTo>
                      <a:pt x="10" y="31"/>
                    </a:lnTo>
                    <a:lnTo>
                      <a:pt x="1" y="32"/>
                    </a:lnTo>
                    <a:lnTo>
                      <a:pt x="0" y="32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3" y="27"/>
                    </a:lnTo>
                    <a:lnTo>
                      <a:pt x="7" y="24"/>
                    </a:lnTo>
                    <a:lnTo>
                      <a:pt x="10" y="19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17" y="3"/>
                    </a:lnTo>
                    <a:lnTo>
                      <a:pt x="17" y="3"/>
                    </a:lnTo>
                    <a:lnTo>
                      <a:pt x="23" y="2"/>
                    </a:lnTo>
                    <a:lnTo>
                      <a:pt x="26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8" y="3"/>
                    </a:lnTo>
                    <a:lnTo>
                      <a:pt x="42" y="6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51" y="16"/>
                    </a:lnTo>
                    <a:lnTo>
                      <a:pt x="54" y="28"/>
                    </a:lnTo>
                    <a:lnTo>
                      <a:pt x="55" y="37"/>
                    </a:lnTo>
                    <a:lnTo>
                      <a:pt x="55" y="40"/>
                    </a:lnTo>
                    <a:lnTo>
                      <a:pt x="54" y="4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45" name="Freeform 999"/>
              <p:cNvSpPr>
                <a:spLocks/>
              </p:cNvSpPr>
              <p:nvPr/>
            </p:nvSpPr>
            <p:spPr bwMode="auto">
              <a:xfrm>
                <a:off x="6618778" y="1556256"/>
                <a:ext cx="54409" cy="40560"/>
              </a:xfrm>
              <a:custGeom>
                <a:avLst/>
                <a:gdLst>
                  <a:gd name="T0" fmla="*/ 54 w 55"/>
                  <a:gd name="T1" fmla="*/ 41 h 41"/>
                  <a:gd name="T2" fmla="*/ 54 w 55"/>
                  <a:gd name="T3" fmla="*/ 41 h 41"/>
                  <a:gd name="T4" fmla="*/ 30 w 55"/>
                  <a:gd name="T5" fmla="*/ 34 h 41"/>
                  <a:gd name="T6" fmla="*/ 10 w 55"/>
                  <a:gd name="T7" fmla="*/ 31 h 41"/>
                  <a:gd name="T8" fmla="*/ 10 w 55"/>
                  <a:gd name="T9" fmla="*/ 31 h 41"/>
                  <a:gd name="T10" fmla="*/ 1 w 55"/>
                  <a:gd name="T11" fmla="*/ 32 h 41"/>
                  <a:gd name="T12" fmla="*/ 0 w 55"/>
                  <a:gd name="T13" fmla="*/ 32 h 41"/>
                  <a:gd name="T14" fmla="*/ 0 w 55"/>
                  <a:gd name="T15" fmla="*/ 31 h 41"/>
                  <a:gd name="T16" fmla="*/ 0 w 55"/>
                  <a:gd name="T17" fmla="*/ 31 h 41"/>
                  <a:gd name="T18" fmla="*/ 3 w 55"/>
                  <a:gd name="T19" fmla="*/ 27 h 41"/>
                  <a:gd name="T20" fmla="*/ 7 w 55"/>
                  <a:gd name="T21" fmla="*/ 24 h 41"/>
                  <a:gd name="T22" fmla="*/ 10 w 55"/>
                  <a:gd name="T23" fmla="*/ 19 h 41"/>
                  <a:gd name="T24" fmla="*/ 12 w 55"/>
                  <a:gd name="T25" fmla="*/ 16 h 41"/>
                  <a:gd name="T26" fmla="*/ 12 w 55"/>
                  <a:gd name="T27" fmla="*/ 16 h 41"/>
                  <a:gd name="T28" fmla="*/ 13 w 55"/>
                  <a:gd name="T29" fmla="*/ 8 h 41"/>
                  <a:gd name="T30" fmla="*/ 16 w 55"/>
                  <a:gd name="T31" fmla="*/ 5 h 41"/>
                  <a:gd name="T32" fmla="*/ 17 w 55"/>
                  <a:gd name="T33" fmla="*/ 3 h 41"/>
                  <a:gd name="T34" fmla="*/ 17 w 55"/>
                  <a:gd name="T35" fmla="*/ 3 h 41"/>
                  <a:gd name="T36" fmla="*/ 23 w 55"/>
                  <a:gd name="T37" fmla="*/ 2 h 41"/>
                  <a:gd name="T38" fmla="*/ 26 w 55"/>
                  <a:gd name="T39" fmla="*/ 0 h 41"/>
                  <a:gd name="T40" fmla="*/ 30 w 55"/>
                  <a:gd name="T41" fmla="*/ 2 h 41"/>
                  <a:gd name="T42" fmla="*/ 30 w 55"/>
                  <a:gd name="T43" fmla="*/ 2 h 41"/>
                  <a:gd name="T44" fmla="*/ 38 w 55"/>
                  <a:gd name="T45" fmla="*/ 3 h 41"/>
                  <a:gd name="T46" fmla="*/ 42 w 55"/>
                  <a:gd name="T47" fmla="*/ 6 h 41"/>
                  <a:gd name="T48" fmla="*/ 46 w 55"/>
                  <a:gd name="T49" fmla="*/ 9 h 41"/>
                  <a:gd name="T50" fmla="*/ 46 w 55"/>
                  <a:gd name="T51" fmla="*/ 9 h 41"/>
                  <a:gd name="T52" fmla="*/ 51 w 55"/>
                  <a:gd name="T53" fmla="*/ 16 h 41"/>
                  <a:gd name="T54" fmla="*/ 54 w 55"/>
                  <a:gd name="T55" fmla="*/ 28 h 41"/>
                  <a:gd name="T56" fmla="*/ 55 w 55"/>
                  <a:gd name="T57" fmla="*/ 37 h 41"/>
                  <a:gd name="T58" fmla="*/ 55 w 55"/>
                  <a:gd name="T59" fmla="*/ 40 h 41"/>
                  <a:gd name="T60" fmla="*/ 54 w 55"/>
                  <a:gd name="T61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5" h="41">
                    <a:moveTo>
                      <a:pt x="54" y="41"/>
                    </a:moveTo>
                    <a:lnTo>
                      <a:pt x="54" y="41"/>
                    </a:lnTo>
                    <a:lnTo>
                      <a:pt x="30" y="34"/>
                    </a:lnTo>
                    <a:lnTo>
                      <a:pt x="10" y="31"/>
                    </a:lnTo>
                    <a:lnTo>
                      <a:pt x="10" y="31"/>
                    </a:lnTo>
                    <a:lnTo>
                      <a:pt x="1" y="32"/>
                    </a:lnTo>
                    <a:lnTo>
                      <a:pt x="0" y="32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3" y="27"/>
                    </a:lnTo>
                    <a:lnTo>
                      <a:pt x="7" y="24"/>
                    </a:lnTo>
                    <a:lnTo>
                      <a:pt x="10" y="19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17" y="3"/>
                    </a:lnTo>
                    <a:lnTo>
                      <a:pt x="17" y="3"/>
                    </a:lnTo>
                    <a:lnTo>
                      <a:pt x="23" y="2"/>
                    </a:lnTo>
                    <a:lnTo>
                      <a:pt x="26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8" y="3"/>
                    </a:lnTo>
                    <a:lnTo>
                      <a:pt x="42" y="6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51" y="16"/>
                    </a:lnTo>
                    <a:lnTo>
                      <a:pt x="54" y="28"/>
                    </a:lnTo>
                    <a:lnTo>
                      <a:pt x="55" y="37"/>
                    </a:lnTo>
                    <a:lnTo>
                      <a:pt x="55" y="40"/>
                    </a:lnTo>
                    <a:lnTo>
                      <a:pt x="54" y="4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46" name="Freeform 1000"/>
              <p:cNvSpPr>
                <a:spLocks/>
              </p:cNvSpPr>
              <p:nvPr/>
            </p:nvSpPr>
            <p:spPr bwMode="auto">
              <a:xfrm>
                <a:off x="6618778" y="1538450"/>
                <a:ext cx="15828" cy="17807"/>
              </a:xfrm>
              <a:custGeom>
                <a:avLst/>
                <a:gdLst>
                  <a:gd name="T0" fmla="*/ 3 w 16"/>
                  <a:gd name="T1" fmla="*/ 18 h 18"/>
                  <a:gd name="T2" fmla="*/ 3 w 16"/>
                  <a:gd name="T3" fmla="*/ 18 h 18"/>
                  <a:gd name="T4" fmla="*/ 1 w 16"/>
                  <a:gd name="T5" fmla="*/ 16 h 18"/>
                  <a:gd name="T6" fmla="*/ 0 w 16"/>
                  <a:gd name="T7" fmla="*/ 14 h 18"/>
                  <a:gd name="T8" fmla="*/ 1 w 16"/>
                  <a:gd name="T9" fmla="*/ 7 h 18"/>
                  <a:gd name="T10" fmla="*/ 4 w 16"/>
                  <a:gd name="T11" fmla="*/ 3 h 18"/>
                  <a:gd name="T12" fmla="*/ 9 w 16"/>
                  <a:gd name="T13" fmla="*/ 0 h 18"/>
                  <a:gd name="T14" fmla="*/ 9 w 16"/>
                  <a:gd name="T15" fmla="*/ 0 h 18"/>
                  <a:gd name="T16" fmla="*/ 12 w 16"/>
                  <a:gd name="T17" fmla="*/ 0 h 18"/>
                  <a:gd name="T18" fmla="*/ 13 w 16"/>
                  <a:gd name="T19" fmla="*/ 1 h 18"/>
                  <a:gd name="T20" fmla="*/ 16 w 16"/>
                  <a:gd name="T21" fmla="*/ 5 h 18"/>
                  <a:gd name="T22" fmla="*/ 16 w 16"/>
                  <a:gd name="T23" fmla="*/ 5 h 18"/>
                  <a:gd name="T24" fmla="*/ 14 w 16"/>
                  <a:gd name="T25" fmla="*/ 8 h 18"/>
                  <a:gd name="T26" fmla="*/ 12 w 16"/>
                  <a:gd name="T27" fmla="*/ 14 h 18"/>
                  <a:gd name="T28" fmla="*/ 9 w 16"/>
                  <a:gd name="T29" fmla="*/ 18 h 18"/>
                  <a:gd name="T30" fmla="*/ 6 w 16"/>
                  <a:gd name="T31" fmla="*/ 18 h 18"/>
                  <a:gd name="T32" fmla="*/ 3 w 16"/>
                  <a:gd name="T3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18">
                    <a:moveTo>
                      <a:pt x="3" y="18"/>
                    </a:moveTo>
                    <a:lnTo>
                      <a:pt x="3" y="18"/>
                    </a:lnTo>
                    <a:lnTo>
                      <a:pt x="1" y="16"/>
                    </a:lnTo>
                    <a:lnTo>
                      <a:pt x="0" y="14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3" y="1"/>
                    </a:lnTo>
                    <a:lnTo>
                      <a:pt x="16" y="5"/>
                    </a:lnTo>
                    <a:lnTo>
                      <a:pt x="16" y="5"/>
                    </a:lnTo>
                    <a:lnTo>
                      <a:pt x="14" y="8"/>
                    </a:lnTo>
                    <a:lnTo>
                      <a:pt x="12" y="14"/>
                    </a:lnTo>
                    <a:lnTo>
                      <a:pt x="9" y="18"/>
                    </a:lnTo>
                    <a:lnTo>
                      <a:pt x="6" y="18"/>
                    </a:lnTo>
                    <a:lnTo>
                      <a:pt x="3" y="1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47" name="Freeform 1001"/>
              <p:cNvSpPr>
                <a:spLocks/>
              </p:cNvSpPr>
              <p:nvPr/>
            </p:nvSpPr>
            <p:spPr bwMode="auto">
              <a:xfrm>
                <a:off x="6618778" y="1538450"/>
                <a:ext cx="15828" cy="17807"/>
              </a:xfrm>
              <a:custGeom>
                <a:avLst/>
                <a:gdLst>
                  <a:gd name="T0" fmla="*/ 3 w 16"/>
                  <a:gd name="T1" fmla="*/ 18 h 18"/>
                  <a:gd name="T2" fmla="*/ 3 w 16"/>
                  <a:gd name="T3" fmla="*/ 18 h 18"/>
                  <a:gd name="T4" fmla="*/ 1 w 16"/>
                  <a:gd name="T5" fmla="*/ 16 h 18"/>
                  <a:gd name="T6" fmla="*/ 0 w 16"/>
                  <a:gd name="T7" fmla="*/ 14 h 18"/>
                  <a:gd name="T8" fmla="*/ 1 w 16"/>
                  <a:gd name="T9" fmla="*/ 7 h 18"/>
                  <a:gd name="T10" fmla="*/ 4 w 16"/>
                  <a:gd name="T11" fmla="*/ 3 h 18"/>
                  <a:gd name="T12" fmla="*/ 9 w 16"/>
                  <a:gd name="T13" fmla="*/ 0 h 18"/>
                  <a:gd name="T14" fmla="*/ 9 w 16"/>
                  <a:gd name="T15" fmla="*/ 0 h 18"/>
                  <a:gd name="T16" fmla="*/ 12 w 16"/>
                  <a:gd name="T17" fmla="*/ 0 h 18"/>
                  <a:gd name="T18" fmla="*/ 13 w 16"/>
                  <a:gd name="T19" fmla="*/ 1 h 18"/>
                  <a:gd name="T20" fmla="*/ 16 w 16"/>
                  <a:gd name="T21" fmla="*/ 5 h 18"/>
                  <a:gd name="T22" fmla="*/ 16 w 16"/>
                  <a:gd name="T23" fmla="*/ 5 h 18"/>
                  <a:gd name="T24" fmla="*/ 14 w 16"/>
                  <a:gd name="T25" fmla="*/ 8 h 18"/>
                  <a:gd name="T26" fmla="*/ 12 w 16"/>
                  <a:gd name="T27" fmla="*/ 14 h 18"/>
                  <a:gd name="T28" fmla="*/ 9 w 16"/>
                  <a:gd name="T29" fmla="*/ 18 h 18"/>
                  <a:gd name="T30" fmla="*/ 6 w 16"/>
                  <a:gd name="T31" fmla="*/ 18 h 18"/>
                  <a:gd name="T32" fmla="*/ 3 w 16"/>
                  <a:gd name="T3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18">
                    <a:moveTo>
                      <a:pt x="3" y="18"/>
                    </a:moveTo>
                    <a:lnTo>
                      <a:pt x="3" y="18"/>
                    </a:lnTo>
                    <a:lnTo>
                      <a:pt x="1" y="16"/>
                    </a:lnTo>
                    <a:lnTo>
                      <a:pt x="0" y="14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3" y="1"/>
                    </a:lnTo>
                    <a:lnTo>
                      <a:pt x="16" y="5"/>
                    </a:lnTo>
                    <a:lnTo>
                      <a:pt x="16" y="5"/>
                    </a:lnTo>
                    <a:lnTo>
                      <a:pt x="14" y="8"/>
                    </a:lnTo>
                    <a:lnTo>
                      <a:pt x="12" y="14"/>
                    </a:lnTo>
                    <a:lnTo>
                      <a:pt x="9" y="18"/>
                    </a:lnTo>
                    <a:lnTo>
                      <a:pt x="6" y="18"/>
                    </a:lnTo>
                    <a:lnTo>
                      <a:pt x="3" y="1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48" name="Freeform 1002"/>
              <p:cNvSpPr>
                <a:spLocks/>
              </p:cNvSpPr>
              <p:nvPr/>
            </p:nvSpPr>
            <p:spPr bwMode="auto">
              <a:xfrm>
                <a:off x="6567336" y="1420728"/>
                <a:ext cx="137507" cy="92001"/>
              </a:xfrm>
              <a:custGeom>
                <a:avLst/>
                <a:gdLst>
                  <a:gd name="T0" fmla="*/ 87 w 139"/>
                  <a:gd name="T1" fmla="*/ 81 h 93"/>
                  <a:gd name="T2" fmla="*/ 84 w 139"/>
                  <a:gd name="T3" fmla="*/ 75 h 93"/>
                  <a:gd name="T4" fmla="*/ 78 w 139"/>
                  <a:gd name="T5" fmla="*/ 75 h 93"/>
                  <a:gd name="T6" fmla="*/ 66 w 139"/>
                  <a:gd name="T7" fmla="*/ 79 h 93"/>
                  <a:gd name="T8" fmla="*/ 55 w 139"/>
                  <a:gd name="T9" fmla="*/ 78 h 93"/>
                  <a:gd name="T10" fmla="*/ 48 w 139"/>
                  <a:gd name="T11" fmla="*/ 74 h 93"/>
                  <a:gd name="T12" fmla="*/ 43 w 139"/>
                  <a:gd name="T13" fmla="*/ 74 h 93"/>
                  <a:gd name="T14" fmla="*/ 42 w 139"/>
                  <a:gd name="T15" fmla="*/ 82 h 93"/>
                  <a:gd name="T16" fmla="*/ 36 w 139"/>
                  <a:gd name="T17" fmla="*/ 93 h 93"/>
                  <a:gd name="T18" fmla="*/ 26 w 139"/>
                  <a:gd name="T19" fmla="*/ 91 h 93"/>
                  <a:gd name="T20" fmla="*/ 20 w 139"/>
                  <a:gd name="T21" fmla="*/ 84 h 93"/>
                  <a:gd name="T22" fmla="*/ 8 w 139"/>
                  <a:gd name="T23" fmla="*/ 68 h 93"/>
                  <a:gd name="T24" fmla="*/ 0 w 139"/>
                  <a:gd name="T25" fmla="*/ 53 h 93"/>
                  <a:gd name="T26" fmla="*/ 0 w 139"/>
                  <a:gd name="T27" fmla="*/ 51 h 93"/>
                  <a:gd name="T28" fmla="*/ 8 w 139"/>
                  <a:gd name="T29" fmla="*/ 52 h 93"/>
                  <a:gd name="T30" fmla="*/ 8 w 139"/>
                  <a:gd name="T31" fmla="*/ 46 h 93"/>
                  <a:gd name="T32" fmla="*/ 6 w 139"/>
                  <a:gd name="T33" fmla="*/ 32 h 93"/>
                  <a:gd name="T34" fmla="*/ 8 w 139"/>
                  <a:gd name="T35" fmla="*/ 29 h 93"/>
                  <a:gd name="T36" fmla="*/ 10 w 139"/>
                  <a:gd name="T37" fmla="*/ 27 h 93"/>
                  <a:gd name="T38" fmla="*/ 10 w 139"/>
                  <a:gd name="T39" fmla="*/ 13 h 93"/>
                  <a:gd name="T40" fmla="*/ 26 w 139"/>
                  <a:gd name="T41" fmla="*/ 4 h 93"/>
                  <a:gd name="T42" fmla="*/ 32 w 139"/>
                  <a:gd name="T43" fmla="*/ 0 h 93"/>
                  <a:gd name="T44" fmla="*/ 37 w 139"/>
                  <a:gd name="T45" fmla="*/ 4 h 93"/>
                  <a:gd name="T46" fmla="*/ 48 w 139"/>
                  <a:gd name="T47" fmla="*/ 16 h 93"/>
                  <a:gd name="T48" fmla="*/ 50 w 139"/>
                  <a:gd name="T49" fmla="*/ 23 h 93"/>
                  <a:gd name="T50" fmla="*/ 59 w 139"/>
                  <a:gd name="T51" fmla="*/ 23 h 93"/>
                  <a:gd name="T52" fmla="*/ 61 w 139"/>
                  <a:gd name="T53" fmla="*/ 24 h 93"/>
                  <a:gd name="T54" fmla="*/ 65 w 139"/>
                  <a:gd name="T55" fmla="*/ 35 h 93"/>
                  <a:gd name="T56" fmla="*/ 69 w 139"/>
                  <a:gd name="T57" fmla="*/ 32 h 93"/>
                  <a:gd name="T58" fmla="*/ 69 w 139"/>
                  <a:gd name="T59" fmla="*/ 16 h 93"/>
                  <a:gd name="T60" fmla="*/ 74 w 139"/>
                  <a:gd name="T61" fmla="*/ 9 h 93"/>
                  <a:gd name="T62" fmla="*/ 74 w 139"/>
                  <a:gd name="T63" fmla="*/ 3 h 93"/>
                  <a:gd name="T64" fmla="*/ 78 w 139"/>
                  <a:gd name="T65" fmla="*/ 3 h 93"/>
                  <a:gd name="T66" fmla="*/ 85 w 139"/>
                  <a:gd name="T67" fmla="*/ 11 h 93"/>
                  <a:gd name="T68" fmla="*/ 100 w 139"/>
                  <a:gd name="T69" fmla="*/ 23 h 93"/>
                  <a:gd name="T70" fmla="*/ 114 w 139"/>
                  <a:gd name="T71" fmla="*/ 23 h 93"/>
                  <a:gd name="T72" fmla="*/ 132 w 139"/>
                  <a:gd name="T73" fmla="*/ 35 h 93"/>
                  <a:gd name="T74" fmla="*/ 137 w 139"/>
                  <a:gd name="T75" fmla="*/ 40 h 93"/>
                  <a:gd name="T76" fmla="*/ 130 w 139"/>
                  <a:gd name="T77" fmla="*/ 45 h 93"/>
                  <a:gd name="T78" fmla="*/ 130 w 139"/>
                  <a:gd name="T79" fmla="*/ 55 h 93"/>
                  <a:gd name="T80" fmla="*/ 129 w 139"/>
                  <a:gd name="T81" fmla="*/ 62 h 93"/>
                  <a:gd name="T82" fmla="*/ 116 w 139"/>
                  <a:gd name="T83" fmla="*/ 72 h 93"/>
                  <a:gd name="T84" fmla="*/ 104 w 139"/>
                  <a:gd name="T85" fmla="*/ 68 h 93"/>
                  <a:gd name="T86" fmla="*/ 97 w 139"/>
                  <a:gd name="T87" fmla="*/ 62 h 93"/>
                  <a:gd name="T88" fmla="*/ 94 w 139"/>
                  <a:gd name="T89" fmla="*/ 45 h 93"/>
                  <a:gd name="T90" fmla="*/ 98 w 139"/>
                  <a:gd name="T91" fmla="*/ 35 h 93"/>
                  <a:gd name="T92" fmla="*/ 92 w 139"/>
                  <a:gd name="T93" fmla="*/ 32 h 93"/>
                  <a:gd name="T94" fmla="*/ 87 w 139"/>
                  <a:gd name="T95" fmla="*/ 35 h 93"/>
                  <a:gd name="T96" fmla="*/ 85 w 139"/>
                  <a:gd name="T97" fmla="*/ 46 h 93"/>
                  <a:gd name="T98" fmla="*/ 94 w 139"/>
                  <a:gd name="T99" fmla="*/ 68 h 93"/>
                  <a:gd name="T100" fmla="*/ 100 w 139"/>
                  <a:gd name="T101" fmla="*/ 72 h 93"/>
                  <a:gd name="T102" fmla="*/ 108 w 139"/>
                  <a:gd name="T103" fmla="*/ 78 h 93"/>
                  <a:gd name="T104" fmla="*/ 100 w 139"/>
                  <a:gd name="T105" fmla="*/ 79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9" h="93">
                    <a:moveTo>
                      <a:pt x="90" y="81"/>
                    </a:moveTo>
                    <a:lnTo>
                      <a:pt x="90" y="81"/>
                    </a:lnTo>
                    <a:lnTo>
                      <a:pt x="87" y="81"/>
                    </a:lnTo>
                    <a:lnTo>
                      <a:pt x="85" y="79"/>
                    </a:lnTo>
                    <a:lnTo>
                      <a:pt x="84" y="75"/>
                    </a:lnTo>
                    <a:lnTo>
                      <a:pt x="84" y="75"/>
                    </a:lnTo>
                    <a:lnTo>
                      <a:pt x="84" y="74"/>
                    </a:lnTo>
                    <a:lnTo>
                      <a:pt x="84" y="74"/>
                    </a:lnTo>
                    <a:lnTo>
                      <a:pt x="78" y="75"/>
                    </a:lnTo>
                    <a:lnTo>
                      <a:pt x="78" y="75"/>
                    </a:lnTo>
                    <a:lnTo>
                      <a:pt x="72" y="78"/>
                    </a:lnTo>
                    <a:lnTo>
                      <a:pt x="66" y="79"/>
                    </a:lnTo>
                    <a:lnTo>
                      <a:pt x="59" y="79"/>
                    </a:lnTo>
                    <a:lnTo>
                      <a:pt x="55" y="78"/>
                    </a:lnTo>
                    <a:lnTo>
                      <a:pt x="55" y="78"/>
                    </a:lnTo>
                    <a:lnTo>
                      <a:pt x="52" y="77"/>
                    </a:lnTo>
                    <a:lnTo>
                      <a:pt x="49" y="75"/>
                    </a:lnTo>
                    <a:lnTo>
                      <a:pt x="48" y="74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3" y="74"/>
                    </a:lnTo>
                    <a:lnTo>
                      <a:pt x="43" y="77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90"/>
                    </a:lnTo>
                    <a:lnTo>
                      <a:pt x="40" y="93"/>
                    </a:lnTo>
                    <a:lnTo>
                      <a:pt x="36" y="93"/>
                    </a:lnTo>
                    <a:lnTo>
                      <a:pt x="36" y="93"/>
                    </a:lnTo>
                    <a:lnTo>
                      <a:pt x="30" y="93"/>
                    </a:lnTo>
                    <a:lnTo>
                      <a:pt x="26" y="91"/>
                    </a:lnTo>
                    <a:lnTo>
                      <a:pt x="23" y="88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19" y="79"/>
                    </a:lnTo>
                    <a:lnTo>
                      <a:pt x="16" y="75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" y="58"/>
                    </a:lnTo>
                    <a:lnTo>
                      <a:pt x="0" y="53"/>
                    </a:lnTo>
                    <a:lnTo>
                      <a:pt x="0" y="52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4" y="51"/>
                    </a:lnTo>
                    <a:lnTo>
                      <a:pt x="6" y="52"/>
                    </a:lnTo>
                    <a:lnTo>
                      <a:pt x="8" y="52"/>
                    </a:lnTo>
                    <a:lnTo>
                      <a:pt x="8" y="51"/>
                    </a:lnTo>
                    <a:lnTo>
                      <a:pt x="8" y="51"/>
                    </a:lnTo>
                    <a:lnTo>
                      <a:pt x="8" y="46"/>
                    </a:lnTo>
                    <a:lnTo>
                      <a:pt x="7" y="40"/>
                    </a:lnTo>
                    <a:lnTo>
                      <a:pt x="6" y="35"/>
                    </a:lnTo>
                    <a:lnTo>
                      <a:pt x="6" y="32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8" y="29"/>
                    </a:lnTo>
                    <a:lnTo>
                      <a:pt x="10" y="29"/>
                    </a:lnTo>
                    <a:lnTo>
                      <a:pt x="10" y="27"/>
                    </a:lnTo>
                    <a:lnTo>
                      <a:pt x="10" y="27"/>
                    </a:lnTo>
                    <a:lnTo>
                      <a:pt x="8" y="19"/>
                    </a:lnTo>
                    <a:lnTo>
                      <a:pt x="8" y="16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7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1"/>
                    </a:lnTo>
                    <a:lnTo>
                      <a:pt x="32" y="0"/>
                    </a:lnTo>
                    <a:lnTo>
                      <a:pt x="35" y="1"/>
                    </a:lnTo>
                    <a:lnTo>
                      <a:pt x="37" y="4"/>
                    </a:lnTo>
                    <a:lnTo>
                      <a:pt x="37" y="4"/>
                    </a:lnTo>
                    <a:lnTo>
                      <a:pt x="43" y="10"/>
                    </a:lnTo>
                    <a:lnTo>
                      <a:pt x="46" y="13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9" y="22"/>
                    </a:lnTo>
                    <a:lnTo>
                      <a:pt x="50" y="23"/>
                    </a:lnTo>
                    <a:lnTo>
                      <a:pt x="53" y="24"/>
                    </a:lnTo>
                    <a:lnTo>
                      <a:pt x="53" y="24"/>
                    </a:lnTo>
                    <a:lnTo>
                      <a:pt x="59" y="23"/>
                    </a:lnTo>
                    <a:lnTo>
                      <a:pt x="61" y="23"/>
                    </a:lnTo>
                    <a:lnTo>
                      <a:pt x="61" y="24"/>
                    </a:lnTo>
                    <a:lnTo>
                      <a:pt x="61" y="24"/>
                    </a:lnTo>
                    <a:lnTo>
                      <a:pt x="62" y="32"/>
                    </a:lnTo>
                    <a:lnTo>
                      <a:pt x="64" y="33"/>
                    </a:lnTo>
                    <a:lnTo>
                      <a:pt x="65" y="35"/>
                    </a:lnTo>
                    <a:lnTo>
                      <a:pt x="65" y="35"/>
                    </a:lnTo>
                    <a:lnTo>
                      <a:pt x="68" y="33"/>
                    </a:lnTo>
                    <a:lnTo>
                      <a:pt x="69" y="32"/>
                    </a:lnTo>
                    <a:lnTo>
                      <a:pt x="69" y="24"/>
                    </a:lnTo>
                    <a:lnTo>
                      <a:pt x="69" y="24"/>
                    </a:lnTo>
                    <a:lnTo>
                      <a:pt x="69" y="16"/>
                    </a:lnTo>
                    <a:lnTo>
                      <a:pt x="71" y="11"/>
                    </a:lnTo>
                    <a:lnTo>
                      <a:pt x="74" y="9"/>
                    </a:lnTo>
                    <a:lnTo>
                      <a:pt x="74" y="9"/>
                    </a:lnTo>
                    <a:lnTo>
                      <a:pt x="75" y="7"/>
                    </a:lnTo>
                    <a:lnTo>
                      <a:pt x="74" y="4"/>
                    </a:lnTo>
                    <a:lnTo>
                      <a:pt x="74" y="3"/>
                    </a:lnTo>
                    <a:lnTo>
                      <a:pt x="75" y="1"/>
                    </a:lnTo>
                    <a:lnTo>
                      <a:pt x="75" y="1"/>
                    </a:lnTo>
                    <a:lnTo>
                      <a:pt x="78" y="3"/>
                    </a:lnTo>
                    <a:lnTo>
                      <a:pt x="79" y="6"/>
                    </a:lnTo>
                    <a:lnTo>
                      <a:pt x="85" y="11"/>
                    </a:lnTo>
                    <a:lnTo>
                      <a:pt x="85" y="11"/>
                    </a:lnTo>
                    <a:lnTo>
                      <a:pt x="92" y="19"/>
                    </a:lnTo>
                    <a:lnTo>
                      <a:pt x="95" y="22"/>
                    </a:lnTo>
                    <a:lnTo>
                      <a:pt x="100" y="23"/>
                    </a:lnTo>
                    <a:lnTo>
                      <a:pt x="100" y="23"/>
                    </a:lnTo>
                    <a:lnTo>
                      <a:pt x="110" y="22"/>
                    </a:lnTo>
                    <a:lnTo>
                      <a:pt x="114" y="23"/>
                    </a:lnTo>
                    <a:lnTo>
                      <a:pt x="119" y="24"/>
                    </a:lnTo>
                    <a:lnTo>
                      <a:pt x="119" y="24"/>
                    </a:lnTo>
                    <a:lnTo>
                      <a:pt x="132" y="35"/>
                    </a:lnTo>
                    <a:lnTo>
                      <a:pt x="137" y="37"/>
                    </a:lnTo>
                    <a:lnTo>
                      <a:pt x="139" y="39"/>
                    </a:lnTo>
                    <a:lnTo>
                      <a:pt x="137" y="40"/>
                    </a:lnTo>
                    <a:lnTo>
                      <a:pt x="137" y="40"/>
                    </a:lnTo>
                    <a:lnTo>
                      <a:pt x="133" y="43"/>
                    </a:lnTo>
                    <a:lnTo>
                      <a:pt x="130" y="45"/>
                    </a:lnTo>
                    <a:lnTo>
                      <a:pt x="129" y="46"/>
                    </a:lnTo>
                    <a:lnTo>
                      <a:pt x="129" y="46"/>
                    </a:lnTo>
                    <a:lnTo>
                      <a:pt x="130" y="55"/>
                    </a:lnTo>
                    <a:lnTo>
                      <a:pt x="130" y="59"/>
                    </a:lnTo>
                    <a:lnTo>
                      <a:pt x="129" y="62"/>
                    </a:lnTo>
                    <a:lnTo>
                      <a:pt x="129" y="62"/>
                    </a:lnTo>
                    <a:lnTo>
                      <a:pt x="121" y="69"/>
                    </a:lnTo>
                    <a:lnTo>
                      <a:pt x="119" y="72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08" y="69"/>
                    </a:lnTo>
                    <a:lnTo>
                      <a:pt x="104" y="68"/>
                    </a:lnTo>
                    <a:lnTo>
                      <a:pt x="100" y="66"/>
                    </a:lnTo>
                    <a:lnTo>
                      <a:pt x="100" y="66"/>
                    </a:lnTo>
                    <a:lnTo>
                      <a:pt x="97" y="62"/>
                    </a:lnTo>
                    <a:lnTo>
                      <a:pt x="95" y="55"/>
                    </a:lnTo>
                    <a:lnTo>
                      <a:pt x="94" y="49"/>
                    </a:lnTo>
                    <a:lnTo>
                      <a:pt x="94" y="45"/>
                    </a:lnTo>
                    <a:lnTo>
                      <a:pt x="94" y="45"/>
                    </a:lnTo>
                    <a:lnTo>
                      <a:pt x="97" y="37"/>
                    </a:lnTo>
                    <a:lnTo>
                      <a:pt x="98" y="35"/>
                    </a:lnTo>
                    <a:lnTo>
                      <a:pt x="98" y="33"/>
                    </a:lnTo>
                    <a:lnTo>
                      <a:pt x="98" y="33"/>
                    </a:lnTo>
                    <a:lnTo>
                      <a:pt x="92" y="32"/>
                    </a:lnTo>
                    <a:lnTo>
                      <a:pt x="90" y="33"/>
                    </a:lnTo>
                    <a:lnTo>
                      <a:pt x="87" y="35"/>
                    </a:lnTo>
                    <a:lnTo>
                      <a:pt x="87" y="35"/>
                    </a:lnTo>
                    <a:lnTo>
                      <a:pt x="85" y="36"/>
                    </a:lnTo>
                    <a:lnTo>
                      <a:pt x="85" y="40"/>
                    </a:lnTo>
                    <a:lnTo>
                      <a:pt x="85" y="46"/>
                    </a:lnTo>
                    <a:lnTo>
                      <a:pt x="85" y="46"/>
                    </a:lnTo>
                    <a:lnTo>
                      <a:pt x="90" y="59"/>
                    </a:lnTo>
                    <a:lnTo>
                      <a:pt x="94" y="68"/>
                    </a:lnTo>
                    <a:lnTo>
                      <a:pt x="97" y="71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8" y="77"/>
                    </a:lnTo>
                    <a:lnTo>
                      <a:pt x="110" y="77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6" y="79"/>
                    </a:lnTo>
                    <a:lnTo>
                      <a:pt x="100" y="79"/>
                    </a:lnTo>
                    <a:lnTo>
                      <a:pt x="90" y="8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49" name="Freeform 1003"/>
              <p:cNvSpPr>
                <a:spLocks/>
              </p:cNvSpPr>
              <p:nvPr/>
            </p:nvSpPr>
            <p:spPr bwMode="auto">
              <a:xfrm>
                <a:off x="6567336" y="1420728"/>
                <a:ext cx="137507" cy="92001"/>
              </a:xfrm>
              <a:custGeom>
                <a:avLst/>
                <a:gdLst>
                  <a:gd name="T0" fmla="*/ 87 w 139"/>
                  <a:gd name="T1" fmla="*/ 81 h 93"/>
                  <a:gd name="T2" fmla="*/ 84 w 139"/>
                  <a:gd name="T3" fmla="*/ 75 h 93"/>
                  <a:gd name="T4" fmla="*/ 78 w 139"/>
                  <a:gd name="T5" fmla="*/ 75 h 93"/>
                  <a:gd name="T6" fmla="*/ 66 w 139"/>
                  <a:gd name="T7" fmla="*/ 79 h 93"/>
                  <a:gd name="T8" fmla="*/ 55 w 139"/>
                  <a:gd name="T9" fmla="*/ 78 h 93"/>
                  <a:gd name="T10" fmla="*/ 48 w 139"/>
                  <a:gd name="T11" fmla="*/ 74 h 93"/>
                  <a:gd name="T12" fmla="*/ 43 w 139"/>
                  <a:gd name="T13" fmla="*/ 74 h 93"/>
                  <a:gd name="T14" fmla="*/ 42 w 139"/>
                  <a:gd name="T15" fmla="*/ 82 h 93"/>
                  <a:gd name="T16" fmla="*/ 36 w 139"/>
                  <a:gd name="T17" fmla="*/ 93 h 93"/>
                  <a:gd name="T18" fmla="*/ 26 w 139"/>
                  <a:gd name="T19" fmla="*/ 91 h 93"/>
                  <a:gd name="T20" fmla="*/ 20 w 139"/>
                  <a:gd name="T21" fmla="*/ 84 h 93"/>
                  <a:gd name="T22" fmla="*/ 8 w 139"/>
                  <a:gd name="T23" fmla="*/ 68 h 93"/>
                  <a:gd name="T24" fmla="*/ 0 w 139"/>
                  <a:gd name="T25" fmla="*/ 53 h 93"/>
                  <a:gd name="T26" fmla="*/ 0 w 139"/>
                  <a:gd name="T27" fmla="*/ 51 h 93"/>
                  <a:gd name="T28" fmla="*/ 8 w 139"/>
                  <a:gd name="T29" fmla="*/ 52 h 93"/>
                  <a:gd name="T30" fmla="*/ 8 w 139"/>
                  <a:gd name="T31" fmla="*/ 46 h 93"/>
                  <a:gd name="T32" fmla="*/ 6 w 139"/>
                  <a:gd name="T33" fmla="*/ 32 h 93"/>
                  <a:gd name="T34" fmla="*/ 8 w 139"/>
                  <a:gd name="T35" fmla="*/ 29 h 93"/>
                  <a:gd name="T36" fmla="*/ 10 w 139"/>
                  <a:gd name="T37" fmla="*/ 27 h 93"/>
                  <a:gd name="T38" fmla="*/ 10 w 139"/>
                  <a:gd name="T39" fmla="*/ 13 h 93"/>
                  <a:gd name="T40" fmla="*/ 26 w 139"/>
                  <a:gd name="T41" fmla="*/ 4 h 93"/>
                  <a:gd name="T42" fmla="*/ 32 w 139"/>
                  <a:gd name="T43" fmla="*/ 0 h 93"/>
                  <a:gd name="T44" fmla="*/ 37 w 139"/>
                  <a:gd name="T45" fmla="*/ 4 h 93"/>
                  <a:gd name="T46" fmla="*/ 48 w 139"/>
                  <a:gd name="T47" fmla="*/ 16 h 93"/>
                  <a:gd name="T48" fmla="*/ 50 w 139"/>
                  <a:gd name="T49" fmla="*/ 23 h 93"/>
                  <a:gd name="T50" fmla="*/ 59 w 139"/>
                  <a:gd name="T51" fmla="*/ 23 h 93"/>
                  <a:gd name="T52" fmla="*/ 61 w 139"/>
                  <a:gd name="T53" fmla="*/ 24 h 93"/>
                  <a:gd name="T54" fmla="*/ 65 w 139"/>
                  <a:gd name="T55" fmla="*/ 35 h 93"/>
                  <a:gd name="T56" fmla="*/ 69 w 139"/>
                  <a:gd name="T57" fmla="*/ 32 h 93"/>
                  <a:gd name="T58" fmla="*/ 69 w 139"/>
                  <a:gd name="T59" fmla="*/ 16 h 93"/>
                  <a:gd name="T60" fmla="*/ 74 w 139"/>
                  <a:gd name="T61" fmla="*/ 9 h 93"/>
                  <a:gd name="T62" fmla="*/ 74 w 139"/>
                  <a:gd name="T63" fmla="*/ 3 h 93"/>
                  <a:gd name="T64" fmla="*/ 78 w 139"/>
                  <a:gd name="T65" fmla="*/ 3 h 93"/>
                  <a:gd name="T66" fmla="*/ 85 w 139"/>
                  <a:gd name="T67" fmla="*/ 11 h 93"/>
                  <a:gd name="T68" fmla="*/ 100 w 139"/>
                  <a:gd name="T69" fmla="*/ 23 h 93"/>
                  <a:gd name="T70" fmla="*/ 114 w 139"/>
                  <a:gd name="T71" fmla="*/ 23 h 93"/>
                  <a:gd name="T72" fmla="*/ 132 w 139"/>
                  <a:gd name="T73" fmla="*/ 35 h 93"/>
                  <a:gd name="T74" fmla="*/ 137 w 139"/>
                  <a:gd name="T75" fmla="*/ 40 h 93"/>
                  <a:gd name="T76" fmla="*/ 130 w 139"/>
                  <a:gd name="T77" fmla="*/ 45 h 93"/>
                  <a:gd name="T78" fmla="*/ 130 w 139"/>
                  <a:gd name="T79" fmla="*/ 55 h 93"/>
                  <a:gd name="T80" fmla="*/ 129 w 139"/>
                  <a:gd name="T81" fmla="*/ 62 h 93"/>
                  <a:gd name="T82" fmla="*/ 116 w 139"/>
                  <a:gd name="T83" fmla="*/ 72 h 93"/>
                  <a:gd name="T84" fmla="*/ 104 w 139"/>
                  <a:gd name="T85" fmla="*/ 68 h 93"/>
                  <a:gd name="T86" fmla="*/ 97 w 139"/>
                  <a:gd name="T87" fmla="*/ 62 h 93"/>
                  <a:gd name="T88" fmla="*/ 94 w 139"/>
                  <a:gd name="T89" fmla="*/ 45 h 93"/>
                  <a:gd name="T90" fmla="*/ 98 w 139"/>
                  <a:gd name="T91" fmla="*/ 35 h 93"/>
                  <a:gd name="T92" fmla="*/ 92 w 139"/>
                  <a:gd name="T93" fmla="*/ 32 h 93"/>
                  <a:gd name="T94" fmla="*/ 87 w 139"/>
                  <a:gd name="T95" fmla="*/ 35 h 93"/>
                  <a:gd name="T96" fmla="*/ 85 w 139"/>
                  <a:gd name="T97" fmla="*/ 46 h 93"/>
                  <a:gd name="T98" fmla="*/ 94 w 139"/>
                  <a:gd name="T99" fmla="*/ 68 h 93"/>
                  <a:gd name="T100" fmla="*/ 100 w 139"/>
                  <a:gd name="T101" fmla="*/ 72 h 93"/>
                  <a:gd name="T102" fmla="*/ 108 w 139"/>
                  <a:gd name="T103" fmla="*/ 78 h 93"/>
                  <a:gd name="T104" fmla="*/ 100 w 139"/>
                  <a:gd name="T105" fmla="*/ 79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9" h="93">
                    <a:moveTo>
                      <a:pt x="90" y="81"/>
                    </a:moveTo>
                    <a:lnTo>
                      <a:pt x="90" y="81"/>
                    </a:lnTo>
                    <a:lnTo>
                      <a:pt x="87" y="81"/>
                    </a:lnTo>
                    <a:lnTo>
                      <a:pt x="85" y="79"/>
                    </a:lnTo>
                    <a:lnTo>
                      <a:pt x="84" y="75"/>
                    </a:lnTo>
                    <a:lnTo>
                      <a:pt x="84" y="75"/>
                    </a:lnTo>
                    <a:lnTo>
                      <a:pt x="84" y="74"/>
                    </a:lnTo>
                    <a:lnTo>
                      <a:pt x="84" y="74"/>
                    </a:lnTo>
                    <a:lnTo>
                      <a:pt x="78" y="75"/>
                    </a:lnTo>
                    <a:lnTo>
                      <a:pt x="78" y="75"/>
                    </a:lnTo>
                    <a:lnTo>
                      <a:pt x="72" y="78"/>
                    </a:lnTo>
                    <a:lnTo>
                      <a:pt x="66" y="79"/>
                    </a:lnTo>
                    <a:lnTo>
                      <a:pt x="59" y="79"/>
                    </a:lnTo>
                    <a:lnTo>
                      <a:pt x="55" y="78"/>
                    </a:lnTo>
                    <a:lnTo>
                      <a:pt x="55" y="78"/>
                    </a:lnTo>
                    <a:lnTo>
                      <a:pt x="52" y="77"/>
                    </a:lnTo>
                    <a:lnTo>
                      <a:pt x="49" y="75"/>
                    </a:lnTo>
                    <a:lnTo>
                      <a:pt x="48" y="74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3" y="74"/>
                    </a:lnTo>
                    <a:lnTo>
                      <a:pt x="43" y="77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90"/>
                    </a:lnTo>
                    <a:lnTo>
                      <a:pt x="40" y="93"/>
                    </a:lnTo>
                    <a:lnTo>
                      <a:pt x="36" y="93"/>
                    </a:lnTo>
                    <a:lnTo>
                      <a:pt x="36" y="93"/>
                    </a:lnTo>
                    <a:lnTo>
                      <a:pt x="30" y="93"/>
                    </a:lnTo>
                    <a:lnTo>
                      <a:pt x="26" y="91"/>
                    </a:lnTo>
                    <a:lnTo>
                      <a:pt x="23" y="88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19" y="79"/>
                    </a:lnTo>
                    <a:lnTo>
                      <a:pt x="16" y="75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" y="58"/>
                    </a:lnTo>
                    <a:lnTo>
                      <a:pt x="0" y="53"/>
                    </a:lnTo>
                    <a:lnTo>
                      <a:pt x="0" y="52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4" y="51"/>
                    </a:lnTo>
                    <a:lnTo>
                      <a:pt x="6" y="52"/>
                    </a:lnTo>
                    <a:lnTo>
                      <a:pt x="8" y="52"/>
                    </a:lnTo>
                    <a:lnTo>
                      <a:pt x="8" y="51"/>
                    </a:lnTo>
                    <a:lnTo>
                      <a:pt x="8" y="51"/>
                    </a:lnTo>
                    <a:lnTo>
                      <a:pt x="8" y="46"/>
                    </a:lnTo>
                    <a:lnTo>
                      <a:pt x="7" y="40"/>
                    </a:lnTo>
                    <a:lnTo>
                      <a:pt x="6" y="35"/>
                    </a:lnTo>
                    <a:lnTo>
                      <a:pt x="6" y="32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8" y="29"/>
                    </a:lnTo>
                    <a:lnTo>
                      <a:pt x="10" y="29"/>
                    </a:lnTo>
                    <a:lnTo>
                      <a:pt x="10" y="27"/>
                    </a:lnTo>
                    <a:lnTo>
                      <a:pt x="10" y="27"/>
                    </a:lnTo>
                    <a:lnTo>
                      <a:pt x="8" y="19"/>
                    </a:lnTo>
                    <a:lnTo>
                      <a:pt x="8" y="16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7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1"/>
                    </a:lnTo>
                    <a:lnTo>
                      <a:pt x="32" y="0"/>
                    </a:lnTo>
                    <a:lnTo>
                      <a:pt x="35" y="1"/>
                    </a:lnTo>
                    <a:lnTo>
                      <a:pt x="37" y="4"/>
                    </a:lnTo>
                    <a:lnTo>
                      <a:pt x="37" y="4"/>
                    </a:lnTo>
                    <a:lnTo>
                      <a:pt x="43" y="10"/>
                    </a:lnTo>
                    <a:lnTo>
                      <a:pt x="46" y="13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9" y="22"/>
                    </a:lnTo>
                    <a:lnTo>
                      <a:pt x="50" y="23"/>
                    </a:lnTo>
                    <a:lnTo>
                      <a:pt x="53" y="24"/>
                    </a:lnTo>
                    <a:lnTo>
                      <a:pt x="53" y="24"/>
                    </a:lnTo>
                    <a:lnTo>
                      <a:pt x="59" y="23"/>
                    </a:lnTo>
                    <a:lnTo>
                      <a:pt x="61" y="23"/>
                    </a:lnTo>
                    <a:lnTo>
                      <a:pt x="61" y="24"/>
                    </a:lnTo>
                    <a:lnTo>
                      <a:pt x="61" y="24"/>
                    </a:lnTo>
                    <a:lnTo>
                      <a:pt x="62" y="32"/>
                    </a:lnTo>
                    <a:lnTo>
                      <a:pt x="64" y="33"/>
                    </a:lnTo>
                    <a:lnTo>
                      <a:pt x="65" y="35"/>
                    </a:lnTo>
                    <a:lnTo>
                      <a:pt x="65" y="35"/>
                    </a:lnTo>
                    <a:lnTo>
                      <a:pt x="68" y="33"/>
                    </a:lnTo>
                    <a:lnTo>
                      <a:pt x="69" y="32"/>
                    </a:lnTo>
                    <a:lnTo>
                      <a:pt x="69" y="24"/>
                    </a:lnTo>
                    <a:lnTo>
                      <a:pt x="69" y="24"/>
                    </a:lnTo>
                    <a:lnTo>
                      <a:pt x="69" y="16"/>
                    </a:lnTo>
                    <a:lnTo>
                      <a:pt x="71" y="11"/>
                    </a:lnTo>
                    <a:lnTo>
                      <a:pt x="74" y="9"/>
                    </a:lnTo>
                    <a:lnTo>
                      <a:pt x="74" y="9"/>
                    </a:lnTo>
                    <a:lnTo>
                      <a:pt x="75" y="7"/>
                    </a:lnTo>
                    <a:lnTo>
                      <a:pt x="74" y="4"/>
                    </a:lnTo>
                    <a:lnTo>
                      <a:pt x="74" y="3"/>
                    </a:lnTo>
                    <a:lnTo>
                      <a:pt x="75" y="1"/>
                    </a:lnTo>
                    <a:lnTo>
                      <a:pt x="75" y="1"/>
                    </a:lnTo>
                    <a:lnTo>
                      <a:pt x="78" y="3"/>
                    </a:lnTo>
                    <a:lnTo>
                      <a:pt x="79" y="6"/>
                    </a:lnTo>
                    <a:lnTo>
                      <a:pt x="85" y="11"/>
                    </a:lnTo>
                    <a:lnTo>
                      <a:pt x="85" y="11"/>
                    </a:lnTo>
                    <a:lnTo>
                      <a:pt x="92" y="19"/>
                    </a:lnTo>
                    <a:lnTo>
                      <a:pt x="95" y="22"/>
                    </a:lnTo>
                    <a:lnTo>
                      <a:pt x="100" y="23"/>
                    </a:lnTo>
                    <a:lnTo>
                      <a:pt x="100" y="23"/>
                    </a:lnTo>
                    <a:lnTo>
                      <a:pt x="110" y="22"/>
                    </a:lnTo>
                    <a:lnTo>
                      <a:pt x="114" y="23"/>
                    </a:lnTo>
                    <a:lnTo>
                      <a:pt x="119" y="24"/>
                    </a:lnTo>
                    <a:lnTo>
                      <a:pt x="119" y="24"/>
                    </a:lnTo>
                    <a:lnTo>
                      <a:pt x="132" y="35"/>
                    </a:lnTo>
                    <a:lnTo>
                      <a:pt x="137" y="37"/>
                    </a:lnTo>
                    <a:lnTo>
                      <a:pt x="139" y="39"/>
                    </a:lnTo>
                    <a:lnTo>
                      <a:pt x="137" y="40"/>
                    </a:lnTo>
                    <a:lnTo>
                      <a:pt x="137" y="40"/>
                    </a:lnTo>
                    <a:lnTo>
                      <a:pt x="133" y="43"/>
                    </a:lnTo>
                    <a:lnTo>
                      <a:pt x="130" y="45"/>
                    </a:lnTo>
                    <a:lnTo>
                      <a:pt x="129" y="46"/>
                    </a:lnTo>
                    <a:lnTo>
                      <a:pt x="129" y="46"/>
                    </a:lnTo>
                    <a:lnTo>
                      <a:pt x="130" y="55"/>
                    </a:lnTo>
                    <a:lnTo>
                      <a:pt x="130" y="59"/>
                    </a:lnTo>
                    <a:lnTo>
                      <a:pt x="129" y="62"/>
                    </a:lnTo>
                    <a:lnTo>
                      <a:pt x="129" y="62"/>
                    </a:lnTo>
                    <a:lnTo>
                      <a:pt x="121" y="69"/>
                    </a:lnTo>
                    <a:lnTo>
                      <a:pt x="119" y="72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08" y="69"/>
                    </a:lnTo>
                    <a:lnTo>
                      <a:pt x="104" y="68"/>
                    </a:lnTo>
                    <a:lnTo>
                      <a:pt x="100" y="66"/>
                    </a:lnTo>
                    <a:lnTo>
                      <a:pt x="100" y="66"/>
                    </a:lnTo>
                    <a:lnTo>
                      <a:pt x="97" y="62"/>
                    </a:lnTo>
                    <a:lnTo>
                      <a:pt x="95" y="55"/>
                    </a:lnTo>
                    <a:lnTo>
                      <a:pt x="94" y="49"/>
                    </a:lnTo>
                    <a:lnTo>
                      <a:pt x="94" y="45"/>
                    </a:lnTo>
                    <a:lnTo>
                      <a:pt x="94" y="45"/>
                    </a:lnTo>
                    <a:lnTo>
                      <a:pt x="97" y="37"/>
                    </a:lnTo>
                    <a:lnTo>
                      <a:pt x="98" y="35"/>
                    </a:lnTo>
                    <a:lnTo>
                      <a:pt x="98" y="33"/>
                    </a:lnTo>
                    <a:lnTo>
                      <a:pt x="98" y="33"/>
                    </a:lnTo>
                    <a:lnTo>
                      <a:pt x="92" y="32"/>
                    </a:lnTo>
                    <a:lnTo>
                      <a:pt x="90" y="33"/>
                    </a:lnTo>
                    <a:lnTo>
                      <a:pt x="87" y="35"/>
                    </a:lnTo>
                    <a:lnTo>
                      <a:pt x="87" y="35"/>
                    </a:lnTo>
                    <a:lnTo>
                      <a:pt x="85" y="36"/>
                    </a:lnTo>
                    <a:lnTo>
                      <a:pt x="85" y="40"/>
                    </a:lnTo>
                    <a:lnTo>
                      <a:pt x="85" y="46"/>
                    </a:lnTo>
                    <a:lnTo>
                      <a:pt x="85" y="46"/>
                    </a:lnTo>
                    <a:lnTo>
                      <a:pt x="90" y="59"/>
                    </a:lnTo>
                    <a:lnTo>
                      <a:pt x="94" y="68"/>
                    </a:lnTo>
                    <a:lnTo>
                      <a:pt x="97" y="71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8" y="77"/>
                    </a:lnTo>
                    <a:lnTo>
                      <a:pt x="110" y="77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6" y="79"/>
                    </a:lnTo>
                    <a:lnTo>
                      <a:pt x="100" y="79"/>
                    </a:lnTo>
                    <a:lnTo>
                      <a:pt x="90" y="8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50" name="Freeform 1004"/>
              <p:cNvSpPr>
                <a:spLocks/>
              </p:cNvSpPr>
              <p:nvPr/>
            </p:nvSpPr>
            <p:spPr bwMode="auto">
              <a:xfrm>
                <a:off x="6718693" y="1465245"/>
                <a:ext cx="70237" cy="47484"/>
              </a:xfrm>
              <a:custGeom>
                <a:avLst/>
                <a:gdLst>
                  <a:gd name="T0" fmla="*/ 44 w 71"/>
                  <a:gd name="T1" fmla="*/ 48 h 48"/>
                  <a:gd name="T2" fmla="*/ 44 w 71"/>
                  <a:gd name="T3" fmla="*/ 48 h 48"/>
                  <a:gd name="T4" fmla="*/ 42 w 71"/>
                  <a:gd name="T5" fmla="*/ 46 h 48"/>
                  <a:gd name="T6" fmla="*/ 39 w 71"/>
                  <a:gd name="T7" fmla="*/ 43 h 48"/>
                  <a:gd name="T8" fmla="*/ 38 w 71"/>
                  <a:gd name="T9" fmla="*/ 42 h 48"/>
                  <a:gd name="T10" fmla="*/ 35 w 71"/>
                  <a:gd name="T11" fmla="*/ 40 h 48"/>
                  <a:gd name="T12" fmla="*/ 35 w 71"/>
                  <a:gd name="T13" fmla="*/ 40 h 48"/>
                  <a:gd name="T14" fmla="*/ 29 w 71"/>
                  <a:gd name="T15" fmla="*/ 37 h 48"/>
                  <a:gd name="T16" fmla="*/ 23 w 71"/>
                  <a:gd name="T17" fmla="*/ 33 h 48"/>
                  <a:gd name="T18" fmla="*/ 16 w 71"/>
                  <a:gd name="T19" fmla="*/ 27 h 48"/>
                  <a:gd name="T20" fmla="*/ 16 w 71"/>
                  <a:gd name="T21" fmla="*/ 27 h 48"/>
                  <a:gd name="T22" fmla="*/ 15 w 71"/>
                  <a:gd name="T23" fmla="*/ 26 h 48"/>
                  <a:gd name="T24" fmla="*/ 12 w 71"/>
                  <a:gd name="T25" fmla="*/ 21 h 48"/>
                  <a:gd name="T26" fmla="*/ 8 w 71"/>
                  <a:gd name="T27" fmla="*/ 14 h 48"/>
                  <a:gd name="T28" fmla="*/ 8 w 71"/>
                  <a:gd name="T29" fmla="*/ 14 h 48"/>
                  <a:gd name="T30" fmla="*/ 2 w 71"/>
                  <a:gd name="T31" fmla="*/ 6 h 48"/>
                  <a:gd name="T32" fmla="*/ 0 w 71"/>
                  <a:gd name="T33" fmla="*/ 3 h 48"/>
                  <a:gd name="T34" fmla="*/ 0 w 71"/>
                  <a:gd name="T35" fmla="*/ 0 h 48"/>
                  <a:gd name="T36" fmla="*/ 0 w 71"/>
                  <a:gd name="T37" fmla="*/ 0 h 48"/>
                  <a:gd name="T38" fmla="*/ 2 w 71"/>
                  <a:gd name="T39" fmla="*/ 0 h 48"/>
                  <a:gd name="T40" fmla="*/ 5 w 71"/>
                  <a:gd name="T41" fmla="*/ 3 h 48"/>
                  <a:gd name="T42" fmla="*/ 8 w 71"/>
                  <a:gd name="T43" fmla="*/ 6 h 48"/>
                  <a:gd name="T44" fmla="*/ 12 w 71"/>
                  <a:gd name="T45" fmla="*/ 7 h 48"/>
                  <a:gd name="T46" fmla="*/ 12 w 71"/>
                  <a:gd name="T47" fmla="*/ 7 h 48"/>
                  <a:gd name="T48" fmla="*/ 26 w 71"/>
                  <a:gd name="T49" fmla="*/ 6 h 48"/>
                  <a:gd name="T50" fmla="*/ 26 w 71"/>
                  <a:gd name="T51" fmla="*/ 6 h 48"/>
                  <a:gd name="T52" fmla="*/ 35 w 71"/>
                  <a:gd name="T53" fmla="*/ 6 h 48"/>
                  <a:gd name="T54" fmla="*/ 37 w 71"/>
                  <a:gd name="T55" fmla="*/ 7 h 48"/>
                  <a:gd name="T56" fmla="*/ 35 w 71"/>
                  <a:gd name="T57" fmla="*/ 8 h 48"/>
                  <a:gd name="T58" fmla="*/ 35 w 71"/>
                  <a:gd name="T59" fmla="*/ 8 h 48"/>
                  <a:gd name="T60" fmla="*/ 32 w 71"/>
                  <a:gd name="T61" fmla="*/ 13 h 48"/>
                  <a:gd name="T62" fmla="*/ 34 w 71"/>
                  <a:gd name="T63" fmla="*/ 14 h 48"/>
                  <a:gd name="T64" fmla="*/ 37 w 71"/>
                  <a:gd name="T65" fmla="*/ 16 h 48"/>
                  <a:gd name="T66" fmla="*/ 37 w 71"/>
                  <a:gd name="T67" fmla="*/ 16 h 48"/>
                  <a:gd name="T68" fmla="*/ 39 w 71"/>
                  <a:gd name="T69" fmla="*/ 14 h 48"/>
                  <a:gd name="T70" fmla="*/ 41 w 71"/>
                  <a:gd name="T71" fmla="*/ 13 h 48"/>
                  <a:gd name="T72" fmla="*/ 42 w 71"/>
                  <a:gd name="T73" fmla="*/ 13 h 48"/>
                  <a:gd name="T74" fmla="*/ 47 w 71"/>
                  <a:gd name="T75" fmla="*/ 14 h 48"/>
                  <a:gd name="T76" fmla="*/ 47 w 71"/>
                  <a:gd name="T77" fmla="*/ 14 h 48"/>
                  <a:gd name="T78" fmla="*/ 58 w 71"/>
                  <a:gd name="T79" fmla="*/ 20 h 48"/>
                  <a:gd name="T80" fmla="*/ 63 w 71"/>
                  <a:gd name="T81" fmla="*/ 23 h 48"/>
                  <a:gd name="T82" fmla="*/ 65 w 71"/>
                  <a:gd name="T83" fmla="*/ 23 h 48"/>
                  <a:gd name="T84" fmla="*/ 65 w 71"/>
                  <a:gd name="T85" fmla="*/ 23 h 48"/>
                  <a:gd name="T86" fmla="*/ 68 w 71"/>
                  <a:gd name="T87" fmla="*/ 24 h 48"/>
                  <a:gd name="T88" fmla="*/ 70 w 71"/>
                  <a:gd name="T89" fmla="*/ 26 h 48"/>
                  <a:gd name="T90" fmla="*/ 71 w 71"/>
                  <a:gd name="T91" fmla="*/ 27 h 48"/>
                  <a:gd name="T92" fmla="*/ 70 w 71"/>
                  <a:gd name="T93" fmla="*/ 30 h 48"/>
                  <a:gd name="T94" fmla="*/ 70 w 71"/>
                  <a:gd name="T95" fmla="*/ 30 h 48"/>
                  <a:gd name="T96" fmla="*/ 64 w 71"/>
                  <a:gd name="T97" fmla="*/ 39 h 48"/>
                  <a:gd name="T98" fmla="*/ 61 w 71"/>
                  <a:gd name="T99" fmla="*/ 43 h 48"/>
                  <a:gd name="T100" fmla="*/ 57 w 71"/>
                  <a:gd name="T101" fmla="*/ 45 h 48"/>
                  <a:gd name="T102" fmla="*/ 57 w 71"/>
                  <a:gd name="T103" fmla="*/ 45 h 48"/>
                  <a:gd name="T104" fmla="*/ 54 w 71"/>
                  <a:gd name="T105" fmla="*/ 45 h 48"/>
                  <a:gd name="T106" fmla="*/ 51 w 71"/>
                  <a:gd name="T107" fmla="*/ 43 h 48"/>
                  <a:gd name="T108" fmla="*/ 48 w 71"/>
                  <a:gd name="T109" fmla="*/ 42 h 48"/>
                  <a:gd name="T110" fmla="*/ 48 w 71"/>
                  <a:gd name="T111" fmla="*/ 42 h 48"/>
                  <a:gd name="T112" fmla="*/ 47 w 71"/>
                  <a:gd name="T113" fmla="*/ 43 h 48"/>
                  <a:gd name="T114" fmla="*/ 47 w 71"/>
                  <a:gd name="T115" fmla="*/ 45 h 48"/>
                  <a:gd name="T116" fmla="*/ 47 w 71"/>
                  <a:gd name="T117" fmla="*/ 46 h 48"/>
                  <a:gd name="T118" fmla="*/ 44 w 71"/>
                  <a:gd name="T11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1" h="48">
                    <a:moveTo>
                      <a:pt x="44" y="48"/>
                    </a:moveTo>
                    <a:lnTo>
                      <a:pt x="44" y="48"/>
                    </a:lnTo>
                    <a:lnTo>
                      <a:pt x="42" y="46"/>
                    </a:lnTo>
                    <a:lnTo>
                      <a:pt x="39" y="43"/>
                    </a:lnTo>
                    <a:lnTo>
                      <a:pt x="38" y="42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29" y="37"/>
                    </a:lnTo>
                    <a:lnTo>
                      <a:pt x="23" y="33"/>
                    </a:lnTo>
                    <a:lnTo>
                      <a:pt x="16" y="27"/>
                    </a:lnTo>
                    <a:lnTo>
                      <a:pt x="16" y="27"/>
                    </a:lnTo>
                    <a:lnTo>
                      <a:pt x="15" y="26"/>
                    </a:lnTo>
                    <a:lnTo>
                      <a:pt x="12" y="21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2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3"/>
                    </a:lnTo>
                    <a:lnTo>
                      <a:pt x="8" y="6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35" y="6"/>
                    </a:lnTo>
                    <a:lnTo>
                      <a:pt x="37" y="7"/>
                    </a:lnTo>
                    <a:lnTo>
                      <a:pt x="35" y="8"/>
                    </a:lnTo>
                    <a:lnTo>
                      <a:pt x="35" y="8"/>
                    </a:lnTo>
                    <a:lnTo>
                      <a:pt x="32" y="13"/>
                    </a:lnTo>
                    <a:lnTo>
                      <a:pt x="34" y="14"/>
                    </a:lnTo>
                    <a:lnTo>
                      <a:pt x="37" y="16"/>
                    </a:lnTo>
                    <a:lnTo>
                      <a:pt x="37" y="16"/>
                    </a:lnTo>
                    <a:lnTo>
                      <a:pt x="39" y="14"/>
                    </a:lnTo>
                    <a:lnTo>
                      <a:pt x="41" y="13"/>
                    </a:lnTo>
                    <a:lnTo>
                      <a:pt x="42" y="13"/>
                    </a:lnTo>
                    <a:lnTo>
                      <a:pt x="47" y="14"/>
                    </a:lnTo>
                    <a:lnTo>
                      <a:pt x="47" y="14"/>
                    </a:lnTo>
                    <a:lnTo>
                      <a:pt x="58" y="20"/>
                    </a:lnTo>
                    <a:lnTo>
                      <a:pt x="63" y="23"/>
                    </a:lnTo>
                    <a:lnTo>
                      <a:pt x="65" y="23"/>
                    </a:lnTo>
                    <a:lnTo>
                      <a:pt x="65" y="23"/>
                    </a:lnTo>
                    <a:lnTo>
                      <a:pt x="68" y="24"/>
                    </a:lnTo>
                    <a:lnTo>
                      <a:pt x="70" y="26"/>
                    </a:lnTo>
                    <a:lnTo>
                      <a:pt x="71" y="27"/>
                    </a:lnTo>
                    <a:lnTo>
                      <a:pt x="70" y="30"/>
                    </a:lnTo>
                    <a:lnTo>
                      <a:pt x="70" y="30"/>
                    </a:lnTo>
                    <a:lnTo>
                      <a:pt x="64" y="39"/>
                    </a:lnTo>
                    <a:lnTo>
                      <a:pt x="61" y="43"/>
                    </a:lnTo>
                    <a:lnTo>
                      <a:pt x="57" y="45"/>
                    </a:lnTo>
                    <a:lnTo>
                      <a:pt x="57" y="45"/>
                    </a:lnTo>
                    <a:lnTo>
                      <a:pt x="54" y="45"/>
                    </a:lnTo>
                    <a:lnTo>
                      <a:pt x="51" y="43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7" y="43"/>
                    </a:lnTo>
                    <a:lnTo>
                      <a:pt x="47" y="45"/>
                    </a:lnTo>
                    <a:lnTo>
                      <a:pt x="47" y="46"/>
                    </a:lnTo>
                    <a:lnTo>
                      <a:pt x="44" y="4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51" name="Freeform 1005"/>
              <p:cNvSpPr>
                <a:spLocks/>
              </p:cNvSpPr>
              <p:nvPr/>
            </p:nvSpPr>
            <p:spPr bwMode="auto">
              <a:xfrm>
                <a:off x="6718693" y="1465245"/>
                <a:ext cx="70237" cy="47484"/>
              </a:xfrm>
              <a:custGeom>
                <a:avLst/>
                <a:gdLst>
                  <a:gd name="T0" fmla="*/ 44 w 71"/>
                  <a:gd name="T1" fmla="*/ 48 h 48"/>
                  <a:gd name="T2" fmla="*/ 44 w 71"/>
                  <a:gd name="T3" fmla="*/ 48 h 48"/>
                  <a:gd name="T4" fmla="*/ 42 w 71"/>
                  <a:gd name="T5" fmla="*/ 46 h 48"/>
                  <a:gd name="T6" fmla="*/ 39 w 71"/>
                  <a:gd name="T7" fmla="*/ 43 h 48"/>
                  <a:gd name="T8" fmla="*/ 38 w 71"/>
                  <a:gd name="T9" fmla="*/ 42 h 48"/>
                  <a:gd name="T10" fmla="*/ 35 w 71"/>
                  <a:gd name="T11" fmla="*/ 40 h 48"/>
                  <a:gd name="T12" fmla="*/ 35 w 71"/>
                  <a:gd name="T13" fmla="*/ 40 h 48"/>
                  <a:gd name="T14" fmla="*/ 29 w 71"/>
                  <a:gd name="T15" fmla="*/ 37 h 48"/>
                  <a:gd name="T16" fmla="*/ 23 w 71"/>
                  <a:gd name="T17" fmla="*/ 33 h 48"/>
                  <a:gd name="T18" fmla="*/ 16 w 71"/>
                  <a:gd name="T19" fmla="*/ 27 h 48"/>
                  <a:gd name="T20" fmla="*/ 16 w 71"/>
                  <a:gd name="T21" fmla="*/ 27 h 48"/>
                  <a:gd name="T22" fmla="*/ 15 w 71"/>
                  <a:gd name="T23" fmla="*/ 26 h 48"/>
                  <a:gd name="T24" fmla="*/ 12 w 71"/>
                  <a:gd name="T25" fmla="*/ 21 h 48"/>
                  <a:gd name="T26" fmla="*/ 8 w 71"/>
                  <a:gd name="T27" fmla="*/ 14 h 48"/>
                  <a:gd name="T28" fmla="*/ 8 w 71"/>
                  <a:gd name="T29" fmla="*/ 14 h 48"/>
                  <a:gd name="T30" fmla="*/ 2 w 71"/>
                  <a:gd name="T31" fmla="*/ 6 h 48"/>
                  <a:gd name="T32" fmla="*/ 0 w 71"/>
                  <a:gd name="T33" fmla="*/ 3 h 48"/>
                  <a:gd name="T34" fmla="*/ 0 w 71"/>
                  <a:gd name="T35" fmla="*/ 0 h 48"/>
                  <a:gd name="T36" fmla="*/ 0 w 71"/>
                  <a:gd name="T37" fmla="*/ 0 h 48"/>
                  <a:gd name="T38" fmla="*/ 2 w 71"/>
                  <a:gd name="T39" fmla="*/ 0 h 48"/>
                  <a:gd name="T40" fmla="*/ 5 w 71"/>
                  <a:gd name="T41" fmla="*/ 3 h 48"/>
                  <a:gd name="T42" fmla="*/ 8 w 71"/>
                  <a:gd name="T43" fmla="*/ 6 h 48"/>
                  <a:gd name="T44" fmla="*/ 12 w 71"/>
                  <a:gd name="T45" fmla="*/ 7 h 48"/>
                  <a:gd name="T46" fmla="*/ 12 w 71"/>
                  <a:gd name="T47" fmla="*/ 7 h 48"/>
                  <a:gd name="T48" fmla="*/ 26 w 71"/>
                  <a:gd name="T49" fmla="*/ 6 h 48"/>
                  <a:gd name="T50" fmla="*/ 26 w 71"/>
                  <a:gd name="T51" fmla="*/ 6 h 48"/>
                  <a:gd name="T52" fmla="*/ 35 w 71"/>
                  <a:gd name="T53" fmla="*/ 6 h 48"/>
                  <a:gd name="T54" fmla="*/ 37 w 71"/>
                  <a:gd name="T55" fmla="*/ 7 h 48"/>
                  <a:gd name="T56" fmla="*/ 35 w 71"/>
                  <a:gd name="T57" fmla="*/ 8 h 48"/>
                  <a:gd name="T58" fmla="*/ 35 w 71"/>
                  <a:gd name="T59" fmla="*/ 8 h 48"/>
                  <a:gd name="T60" fmla="*/ 32 w 71"/>
                  <a:gd name="T61" fmla="*/ 13 h 48"/>
                  <a:gd name="T62" fmla="*/ 34 w 71"/>
                  <a:gd name="T63" fmla="*/ 14 h 48"/>
                  <a:gd name="T64" fmla="*/ 37 w 71"/>
                  <a:gd name="T65" fmla="*/ 16 h 48"/>
                  <a:gd name="T66" fmla="*/ 37 w 71"/>
                  <a:gd name="T67" fmla="*/ 16 h 48"/>
                  <a:gd name="T68" fmla="*/ 39 w 71"/>
                  <a:gd name="T69" fmla="*/ 14 h 48"/>
                  <a:gd name="T70" fmla="*/ 41 w 71"/>
                  <a:gd name="T71" fmla="*/ 13 h 48"/>
                  <a:gd name="T72" fmla="*/ 42 w 71"/>
                  <a:gd name="T73" fmla="*/ 13 h 48"/>
                  <a:gd name="T74" fmla="*/ 47 w 71"/>
                  <a:gd name="T75" fmla="*/ 14 h 48"/>
                  <a:gd name="T76" fmla="*/ 47 w 71"/>
                  <a:gd name="T77" fmla="*/ 14 h 48"/>
                  <a:gd name="T78" fmla="*/ 58 w 71"/>
                  <a:gd name="T79" fmla="*/ 20 h 48"/>
                  <a:gd name="T80" fmla="*/ 63 w 71"/>
                  <a:gd name="T81" fmla="*/ 23 h 48"/>
                  <a:gd name="T82" fmla="*/ 65 w 71"/>
                  <a:gd name="T83" fmla="*/ 23 h 48"/>
                  <a:gd name="T84" fmla="*/ 65 w 71"/>
                  <a:gd name="T85" fmla="*/ 23 h 48"/>
                  <a:gd name="T86" fmla="*/ 68 w 71"/>
                  <a:gd name="T87" fmla="*/ 24 h 48"/>
                  <a:gd name="T88" fmla="*/ 70 w 71"/>
                  <a:gd name="T89" fmla="*/ 26 h 48"/>
                  <a:gd name="T90" fmla="*/ 71 w 71"/>
                  <a:gd name="T91" fmla="*/ 27 h 48"/>
                  <a:gd name="T92" fmla="*/ 70 w 71"/>
                  <a:gd name="T93" fmla="*/ 30 h 48"/>
                  <a:gd name="T94" fmla="*/ 70 w 71"/>
                  <a:gd name="T95" fmla="*/ 30 h 48"/>
                  <a:gd name="T96" fmla="*/ 64 w 71"/>
                  <a:gd name="T97" fmla="*/ 39 h 48"/>
                  <a:gd name="T98" fmla="*/ 61 w 71"/>
                  <a:gd name="T99" fmla="*/ 43 h 48"/>
                  <a:gd name="T100" fmla="*/ 57 w 71"/>
                  <a:gd name="T101" fmla="*/ 45 h 48"/>
                  <a:gd name="T102" fmla="*/ 57 w 71"/>
                  <a:gd name="T103" fmla="*/ 45 h 48"/>
                  <a:gd name="T104" fmla="*/ 54 w 71"/>
                  <a:gd name="T105" fmla="*/ 45 h 48"/>
                  <a:gd name="T106" fmla="*/ 51 w 71"/>
                  <a:gd name="T107" fmla="*/ 43 h 48"/>
                  <a:gd name="T108" fmla="*/ 48 w 71"/>
                  <a:gd name="T109" fmla="*/ 42 h 48"/>
                  <a:gd name="T110" fmla="*/ 48 w 71"/>
                  <a:gd name="T111" fmla="*/ 42 h 48"/>
                  <a:gd name="T112" fmla="*/ 47 w 71"/>
                  <a:gd name="T113" fmla="*/ 43 h 48"/>
                  <a:gd name="T114" fmla="*/ 47 w 71"/>
                  <a:gd name="T115" fmla="*/ 45 h 48"/>
                  <a:gd name="T116" fmla="*/ 47 w 71"/>
                  <a:gd name="T117" fmla="*/ 46 h 48"/>
                  <a:gd name="T118" fmla="*/ 44 w 71"/>
                  <a:gd name="T11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1" h="48">
                    <a:moveTo>
                      <a:pt x="44" y="48"/>
                    </a:moveTo>
                    <a:lnTo>
                      <a:pt x="44" y="48"/>
                    </a:lnTo>
                    <a:lnTo>
                      <a:pt x="42" y="46"/>
                    </a:lnTo>
                    <a:lnTo>
                      <a:pt x="39" y="43"/>
                    </a:lnTo>
                    <a:lnTo>
                      <a:pt x="38" y="42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29" y="37"/>
                    </a:lnTo>
                    <a:lnTo>
                      <a:pt x="23" y="33"/>
                    </a:lnTo>
                    <a:lnTo>
                      <a:pt x="16" y="27"/>
                    </a:lnTo>
                    <a:lnTo>
                      <a:pt x="16" y="27"/>
                    </a:lnTo>
                    <a:lnTo>
                      <a:pt x="15" y="26"/>
                    </a:lnTo>
                    <a:lnTo>
                      <a:pt x="12" y="21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2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3"/>
                    </a:lnTo>
                    <a:lnTo>
                      <a:pt x="8" y="6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35" y="6"/>
                    </a:lnTo>
                    <a:lnTo>
                      <a:pt x="37" y="7"/>
                    </a:lnTo>
                    <a:lnTo>
                      <a:pt x="35" y="8"/>
                    </a:lnTo>
                    <a:lnTo>
                      <a:pt x="35" y="8"/>
                    </a:lnTo>
                    <a:lnTo>
                      <a:pt x="32" y="13"/>
                    </a:lnTo>
                    <a:lnTo>
                      <a:pt x="34" y="14"/>
                    </a:lnTo>
                    <a:lnTo>
                      <a:pt x="37" y="16"/>
                    </a:lnTo>
                    <a:lnTo>
                      <a:pt x="37" y="16"/>
                    </a:lnTo>
                    <a:lnTo>
                      <a:pt x="39" y="14"/>
                    </a:lnTo>
                    <a:lnTo>
                      <a:pt x="41" y="13"/>
                    </a:lnTo>
                    <a:lnTo>
                      <a:pt x="42" y="13"/>
                    </a:lnTo>
                    <a:lnTo>
                      <a:pt x="47" y="14"/>
                    </a:lnTo>
                    <a:lnTo>
                      <a:pt x="47" y="14"/>
                    </a:lnTo>
                    <a:lnTo>
                      <a:pt x="58" y="20"/>
                    </a:lnTo>
                    <a:lnTo>
                      <a:pt x="63" y="23"/>
                    </a:lnTo>
                    <a:lnTo>
                      <a:pt x="65" y="23"/>
                    </a:lnTo>
                    <a:lnTo>
                      <a:pt x="65" y="23"/>
                    </a:lnTo>
                    <a:lnTo>
                      <a:pt x="68" y="24"/>
                    </a:lnTo>
                    <a:lnTo>
                      <a:pt x="70" y="26"/>
                    </a:lnTo>
                    <a:lnTo>
                      <a:pt x="71" y="27"/>
                    </a:lnTo>
                    <a:lnTo>
                      <a:pt x="70" y="30"/>
                    </a:lnTo>
                    <a:lnTo>
                      <a:pt x="70" y="30"/>
                    </a:lnTo>
                    <a:lnTo>
                      <a:pt x="64" y="39"/>
                    </a:lnTo>
                    <a:lnTo>
                      <a:pt x="61" y="43"/>
                    </a:lnTo>
                    <a:lnTo>
                      <a:pt x="57" y="45"/>
                    </a:lnTo>
                    <a:lnTo>
                      <a:pt x="57" y="45"/>
                    </a:lnTo>
                    <a:lnTo>
                      <a:pt x="54" y="45"/>
                    </a:lnTo>
                    <a:lnTo>
                      <a:pt x="51" y="43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7" y="43"/>
                    </a:lnTo>
                    <a:lnTo>
                      <a:pt x="47" y="45"/>
                    </a:lnTo>
                    <a:lnTo>
                      <a:pt x="47" y="46"/>
                    </a:lnTo>
                    <a:lnTo>
                      <a:pt x="44" y="4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52" name="Freeform 1006"/>
              <p:cNvSpPr>
                <a:spLocks/>
              </p:cNvSpPr>
              <p:nvPr/>
            </p:nvSpPr>
            <p:spPr bwMode="auto">
              <a:xfrm>
                <a:off x="6547551" y="1539439"/>
                <a:ext cx="10882" cy="21764"/>
              </a:xfrm>
              <a:custGeom>
                <a:avLst/>
                <a:gdLst>
                  <a:gd name="T0" fmla="*/ 11 w 11"/>
                  <a:gd name="T1" fmla="*/ 22 h 22"/>
                  <a:gd name="T2" fmla="*/ 11 w 11"/>
                  <a:gd name="T3" fmla="*/ 22 h 22"/>
                  <a:gd name="T4" fmla="*/ 8 w 11"/>
                  <a:gd name="T5" fmla="*/ 20 h 22"/>
                  <a:gd name="T6" fmla="*/ 5 w 11"/>
                  <a:gd name="T7" fmla="*/ 19 h 22"/>
                  <a:gd name="T8" fmla="*/ 1 w 11"/>
                  <a:gd name="T9" fmla="*/ 12 h 22"/>
                  <a:gd name="T10" fmla="*/ 0 w 11"/>
                  <a:gd name="T11" fmla="*/ 3 h 22"/>
                  <a:gd name="T12" fmla="*/ 0 w 11"/>
                  <a:gd name="T13" fmla="*/ 0 h 22"/>
                  <a:gd name="T14" fmla="*/ 1 w 11"/>
                  <a:gd name="T15" fmla="*/ 0 h 22"/>
                  <a:gd name="T16" fmla="*/ 1 w 11"/>
                  <a:gd name="T17" fmla="*/ 0 h 22"/>
                  <a:gd name="T18" fmla="*/ 2 w 11"/>
                  <a:gd name="T19" fmla="*/ 0 h 22"/>
                  <a:gd name="T20" fmla="*/ 5 w 11"/>
                  <a:gd name="T21" fmla="*/ 3 h 22"/>
                  <a:gd name="T22" fmla="*/ 10 w 11"/>
                  <a:gd name="T23" fmla="*/ 10 h 22"/>
                  <a:gd name="T24" fmla="*/ 11 w 11"/>
                  <a:gd name="T25" fmla="*/ 17 h 22"/>
                  <a:gd name="T26" fmla="*/ 11 w 11"/>
                  <a:gd name="T27" fmla="*/ 20 h 22"/>
                  <a:gd name="T28" fmla="*/ 11 w 11"/>
                  <a:gd name="T2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22">
                    <a:moveTo>
                      <a:pt x="11" y="22"/>
                    </a:moveTo>
                    <a:lnTo>
                      <a:pt x="11" y="22"/>
                    </a:lnTo>
                    <a:lnTo>
                      <a:pt x="8" y="20"/>
                    </a:lnTo>
                    <a:lnTo>
                      <a:pt x="5" y="19"/>
                    </a:lnTo>
                    <a:lnTo>
                      <a:pt x="1" y="12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5" y="3"/>
                    </a:lnTo>
                    <a:lnTo>
                      <a:pt x="10" y="10"/>
                    </a:lnTo>
                    <a:lnTo>
                      <a:pt x="11" y="17"/>
                    </a:lnTo>
                    <a:lnTo>
                      <a:pt x="11" y="20"/>
                    </a:lnTo>
                    <a:lnTo>
                      <a:pt x="11" y="2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53" name="Freeform 1007"/>
              <p:cNvSpPr>
                <a:spLocks/>
              </p:cNvSpPr>
              <p:nvPr/>
            </p:nvSpPr>
            <p:spPr bwMode="auto">
              <a:xfrm>
                <a:off x="6547551" y="1539439"/>
                <a:ext cx="10882" cy="21764"/>
              </a:xfrm>
              <a:custGeom>
                <a:avLst/>
                <a:gdLst>
                  <a:gd name="T0" fmla="*/ 11 w 11"/>
                  <a:gd name="T1" fmla="*/ 22 h 22"/>
                  <a:gd name="T2" fmla="*/ 11 w 11"/>
                  <a:gd name="T3" fmla="*/ 22 h 22"/>
                  <a:gd name="T4" fmla="*/ 8 w 11"/>
                  <a:gd name="T5" fmla="*/ 20 h 22"/>
                  <a:gd name="T6" fmla="*/ 5 w 11"/>
                  <a:gd name="T7" fmla="*/ 19 h 22"/>
                  <a:gd name="T8" fmla="*/ 1 w 11"/>
                  <a:gd name="T9" fmla="*/ 12 h 22"/>
                  <a:gd name="T10" fmla="*/ 0 w 11"/>
                  <a:gd name="T11" fmla="*/ 3 h 22"/>
                  <a:gd name="T12" fmla="*/ 0 w 11"/>
                  <a:gd name="T13" fmla="*/ 0 h 22"/>
                  <a:gd name="T14" fmla="*/ 1 w 11"/>
                  <a:gd name="T15" fmla="*/ 0 h 22"/>
                  <a:gd name="T16" fmla="*/ 1 w 11"/>
                  <a:gd name="T17" fmla="*/ 0 h 22"/>
                  <a:gd name="T18" fmla="*/ 2 w 11"/>
                  <a:gd name="T19" fmla="*/ 0 h 22"/>
                  <a:gd name="T20" fmla="*/ 5 w 11"/>
                  <a:gd name="T21" fmla="*/ 3 h 22"/>
                  <a:gd name="T22" fmla="*/ 10 w 11"/>
                  <a:gd name="T23" fmla="*/ 10 h 22"/>
                  <a:gd name="T24" fmla="*/ 11 w 11"/>
                  <a:gd name="T25" fmla="*/ 17 h 22"/>
                  <a:gd name="T26" fmla="*/ 11 w 11"/>
                  <a:gd name="T27" fmla="*/ 20 h 22"/>
                  <a:gd name="T28" fmla="*/ 11 w 11"/>
                  <a:gd name="T2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22">
                    <a:moveTo>
                      <a:pt x="11" y="22"/>
                    </a:moveTo>
                    <a:lnTo>
                      <a:pt x="11" y="22"/>
                    </a:lnTo>
                    <a:lnTo>
                      <a:pt x="8" y="20"/>
                    </a:lnTo>
                    <a:lnTo>
                      <a:pt x="5" y="19"/>
                    </a:lnTo>
                    <a:lnTo>
                      <a:pt x="1" y="12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5" y="3"/>
                    </a:lnTo>
                    <a:lnTo>
                      <a:pt x="10" y="10"/>
                    </a:lnTo>
                    <a:lnTo>
                      <a:pt x="11" y="17"/>
                    </a:lnTo>
                    <a:lnTo>
                      <a:pt x="11" y="20"/>
                    </a:lnTo>
                    <a:lnTo>
                      <a:pt x="11" y="2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54" name="Freeform 1008"/>
              <p:cNvSpPr>
                <a:spLocks/>
              </p:cNvSpPr>
              <p:nvPr/>
            </p:nvSpPr>
            <p:spPr bwMode="auto">
              <a:xfrm>
                <a:off x="7065923" y="1751141"/>
                <a:ext cx="18796" cy="20774"/>
              </a:xfrm>
              <a:custGeom>
                <a:avLst/>
                <a:gdLst>
                  <a:gd name="T0" fmla="*/ 9 w 19"/>
                  <a:gd name="T1" fmla="*/ 21 h 21"/>
                  <a:gd name="T2" fmla="*/ 9 w 19"/>
                  <a:gd name="T3" fmla="*/ 21 h 21"/>
                  <a:gd name="T4" fmla="*/ 6 w 19"/>
                  <a:gd name="T5" fmla="*/ 18 h 21"/>
                  <a:gd name="T6" fmla="*/ 4 w 19"/>
                  <a:gd name="T7" fmla="*/ 13 h 21"/>
                  <a:gd name="T8" fmla="*/ 3 w 19"/>
                  <a:gd name="T9" fmla="*/ 9 h 21"/>
                  <a:gd name="T10" fmla="*/ 1 w 19"/>
                  <a:gd name="T11" fmla="*/ 6 h 21"/>
                  <a:gd name="T12" fmla="*/ 1 w 19"/>
                  <a:gd name="T13" fmla="*/ 6 h 21"/>
                  <a:gd name="T14" fmla="*/ 0 w 19"/>
                  <a:gd name="T15" fmla="*/ 5 h 21"/>
                  <a:gd name="T16" fmla="*/ 0 w 19"/>
                  <a:gd name="T17" fmla="*/ 3 h 21"/>
                  <a:gd name="T18" fmla="*/ 1 w 19"/>
                  <a:gd name="T19" fmla="*/ 2 h 21"/>
                  <a:gd name="T20" fmla="*/ 6 w 19"/>
                  <a:gd name="T21" fmla="*/ 2 h 21"/>
                  <a:gd name="T22" fmla="*/ 6 w 19"/>
                  <a:gd name="T23" fmla="*/ 2 h 21"/>
                  <a:gd name="T24" fmla="*/ 14 w 19"/>
                  <a:gd name="T25" fmla="*/ 0 h 21"/>
                  <a:gd name="T26" fmla="*/ 17 w 19"/>
                  <a:gd name="T27" fmla="*/ 0 h 21"/>
                  <a:gd name="T28" fmla="*/ 19 w 19"/>
                  <a:gd name="T29" fmla="*/ 2 h 21"/>
                  <a:gd name="T30" fmla="*/ 17 w 19"/>
                  <a:gd name="T31" fmla="*/ 2 h 21"/>
                  <a:gd name="T32" fmla="*/ 17 w 19"/>
                  <a:gd name="T33" fmla="*/ 2 h 21"/>
                  <a:gd name="T34" fmla="*/ 14 w 19"/>
                  <a:gd name="T35" fmla="*/ 13 h 21"/>
                  <a:gd name="T36" fmla="*/ 13 w 19"/>
                  <a:gd name="T37" fmla="*/ 19 h 21"/>
                  <a:gd name="T38" fmla="*/ 11 w 19"/>
                  <a:gd name="T39" fmla="*/ 21 h 21"/>
                  <a:gd name="T40" fmla="*/ 9 w 19"/>
                  <a:gd name="T41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" h="21">
                    <a:moveTo>
                      <a:pt x="9" y="21"/>
                    </a:moveTo>
                    <a:lnTo>
                      <a:pt x="9" y="21"/>
                    </a:lnTo>
                    <a:lnTo>
                      <a:pt x="6" y="18"/>
                    </a:lnTo>
                    <a:lnTo>
                      <a:pt x="4" y="13"/>
                    </a:lnTo>
                    <a:lnTo>
                      <a:pt x="3" y="9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19" y="2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14" y="13"/>
                    </a:lnTo>
                    <a:lnTo>
                      <a:pt x="13" y="19"/>
                    </a:lnTo>
                    <a:lnTo>
                      <a:pt x="11" y="21"/>
                    </a:lnTo>
                    <a:lnTo>
                      <a:pt x="9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55" name="Freeform 1010"/>
              <p:cNvSpPr>
                <a:spLocks/>
              </p:cNvSpPr>
              <p:nvPr/>
            </p:nvSpPr>
            <p:spPr bwMode="auto">
              <a:xfrm>
                <a:off x="7065924" y="1751141"/>
                <a:ext cx="18796" cy="20774"/>
              </a:xfrm>
              <a:custGeom>
                <a:avLst/>
                <a:gdLst>
                  <a:gd name="T0" fmla="*/ 9 w 19"/>
                  <a:gd name="T1" fmla="*/ 21 h 21"/>
                  <a:gd name="T2" fmla="*/ 9 w 19"/>
                  <a:gd name="T3" fmla="*/ 21 h 21"/>
                  <a:gd name="T4" fmla="*/ 6 w 19"/>
                  <a:gd name="T5" fmla="*/ 18 h 21"/>
                  <a:gd name="T6" fmla="*/ 4 w 19"/>
                  <a:gd name="T7" fmla="*/ 13 h 21"/>
                  <a:gd name="T8" fmla="*/ 3 w 19"/>
                  <a:gd name="T9" fmla="*/ 9 h 21"/>
                  <a:gd name="T10" fmla="*/ 1 w 19"/>
                  <a:gd name="T11" fmla="*/ 6 h 21"/>
                  <a:gd name="T12" fmla="*/ 1 w 19"/>
                  <a:gd name="T13" fmla="*/ 6 h 21"/>
                  <a:gd name="T14" fmla="*/ 0 w 19"/>
                  <a:gd name="T15" fmla="*/ 5 h 21"/>
                  <a:gd name="T16" fmla="*/ 0 w 19"/>
                  <a:gd name="T17" fmla="*/ 3 h 21"/>
                  <a:gd name="T18" fmla="*/ 1 w 19"/>
                  <a:gd name="T19" fmla="*/ 2 h 21"/>
                  <a:gd name="T20" fmla="*/ 6 w 19"/>
                  <a:gd name="T21" fmla="*/ 2 h 21"/>
                  <a:gd name="T22" fmla="*/ 6 w 19"/>
                  <a:gd name="T23" fmla="*/ 2 h 21"/>
                  <a:gd name="T24" fmla="*/ 14 w 19"/>
                  <a:gd name="T25" fmla="*/ 0 h 21"/>
                  <a:gd name="T26" fmla="*/ 17 w 19"/>
                  <a:gd name="T27" fmla="*/ 0 h 21"/>
                  <a:gd name="T28" fmla="*/ 19 w 19"/>
                  <a:gd name="T29" fmla="*/ 2 h 21"/>
                  <a:gd name="T30" fmla="*/ 17 w 19"/>
                  <a:gd name="T31" fmla="*/ 2 h 21"/>
                  <a:gd name="T32" fmla="*/ 17 w 19"/>
                  <a:gd name="T33" fmla="*/ 2 h 21"/>
                  <a:gd name="T34" fmla="*/ 14 w 19"/>
                  <a:gd name="T35" fmla="*/ 13 h 21"/>
                  <a:gd name="T36" fmla="*/ 13 w 19"/>
                  <a:gd name="T37" fmla="*/ 19 h 21"/>
                  <a:gd name="T38" fmla="*/ 11 w 19"/>
                  <a:gd name="T39" fmla="*/ 21 h 21"/>
                  <a:gd name="T40" fmla="*/ 9 w 19"/>
                  <a:gd name="T41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" h="21">
                    <a:moveTo>
                      <a:pt x="9" y="21"/>
                    </a:moveTo>
                    <a:lnTo>
                      <a:pt x="9" y="21"/>
                    </a:lnTo>
                    <a:lnTo>
                      <a:pt x="6" y="18"/>
                    </a:lnTo>
                    <a:lnTo>
                      <a:pt x="4" y="13"/>
                    </a:lnTo>
                    <a:lnTo>
                      <a:pt x="3" y="9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19" y="2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14" y="13"/>
                    </a:lnTo>
                    <a:lnTo>
                      <a:pt x="13" y="19"/>
                    </a:lnTo>
                    <a:lnTo>
                      <a:pt x="11" y="21"/>
                    </a:lnTo>
                    <a:lnTo>
                      <a:pt x="9" y="2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56" name="Freeform 1011"/>
              <p:cNvSpPr>
                <a:spLocks/>
              </p:cNvSpPr>
              <p:nvPr/>
            </p:nvSpPr>
            <p:spPr bwMode="auto">
              <a:xfrm>
                <a:off x="7242012" y="1688818"/>
                <a:ext cx="48474" cy="16817"/>
              </a:xfrm>
              <a:custGeom>
                <a:avLst/>
                <a:gdLst>
                  <a:gd name="T0" fmla="*/ 39 w 49"/>
                  <a:gd name="T1" fmla="*/ 16 h 17"/>
                  <a:gd name="T2" fmla="*/ 39 w 49"/>
                  <a:gd name="T3" fmla="*/ 16 h 17"/>
                  <a:gd name="T4" fmla="*/ 25 w 49"/>
                  <a:gd name="T5" fmla="*/ 17 h 17"/>
                  <a:gd name="T6" fmla="*/ 16 w 49"/>
                  <a:gd name="T7" fmla="*/ 16 h 17"/>
                  <a:gd name="T8" fmla="*/ 7 w 49"/>
                  <a:gd name="T9" fmla="*/ 14 h 17"/>
                  <a:gd name="T10" fmla="*/ 7 w 49"/>
                  <a:gd name="T11" fmla="*/ 14 h 17"/>
                  <a:gd name="T12" fmla="*/ 3 w 49"/>
                  <a:gd name="T13" fmla="*/ 11 h 17"/>
                  <a:gd name="T14" fmla="*/ 0 w 49"/>
                  <a:gd name="T15" fmla="*/ 8 h 17"/>
                  <a:gd name="T16" fmla="*/ 0 w 49"/>
                  <a:gd name="T17" fmla="*/ 7 h 17"/>
                  <a:gd name="T18" fmla="*/ 0 w 49"/>
                  <a:gd name="T19" fmla="*/ 5 h 17"/>
                  <a:gd name="T20" fmla="*/ 4 w 49"/>
                  <a:gd name="T21" fmla="*/ 3 h 17"/>
                  <a:gd name="T22" fmla="*/ 4 w 49"/>
                  <a:gd name="T23" fmla="*/ 3 h 17"/>
                  <a:gd name="T24" fmla="*/ 10 w 49"/>
                  <a:gd name="T25" fmla="*/ 1 h 17"/>
                  <a:gd name="T26" fmla="*/ 16 w 49"/>
                  <a:gd name="T27" fmla="*/ 0 h 17"/>
                  <a:gd name="T28" fmla="*/ 22 w 49"/>
                  <a:gd name="T29" fmla="*/ 0 h 17"/>
                  <a:gd name="T30" fmla="*/ 29 w 49"/>
                  <a:gd name="T31" fmla="*/ 3 h 17"/>
                  <a:gd name="T32" fmla="*/ 29 w 49"/>
                  <a:gd name="T33" fmla="*/ 3 h 17"/>
                  <a:gd name="T34" fmla="*/ 36 w 49"/>
                  <a:gd name="T35" fmla="*/ 4 h 17"/>
                  <a:gd name="T36" fmla="*/ 43 w 49"/>
                  <a:gd name="T37" fmla="*/ 4 h 17"/>
                  <a:gd name="T38" fmla="*/ 48 w 49"/>
                  <a:gd name="T39" fmla="*/ 4 h 17"/>
                  <a:gd name="T40" fmla="*/ 48 w 49"/>
                  <a:gd name="T41" fmla="*/ 5 h 17"/>
                  <a:gd name="T42" fmla="*/ 49 w 49"/>
                  <a:gd name="T43" fmla="*/ 5 h 17"/>
                  <a:gd name="T44" fmla="*/ 49 w 49"/>
                  <a:gd name="T45" fmla="*/ 5 h 17"/>
                  <a:gd name="T46" fmla="*/ 48 w 49"/>
                  <a:gd name="T47" fmla="*/ 8 h 17"/>
                  <a:gd name="T48" fmla="*/ 46 w 49"/>
                  <a:gd name="T49" fmla="*/ 11 h 17"/>
                  <a:gd name="T50" fmla="*/ 45 w 49"/>
                  <a:gd name="T51" fmla="*/ 14 h 17"/>
                  <a:gd name="T52" fmla="*/ 39 w 49"/>
                  <a:gd name="T53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17">
                    <a:moveTo>
                      <a:pt x="39" y="16"/>
                    </a:moveTo>
                    <a:lnTo>
                      <a:pt x="39" y="16"/>
                    </a:lnTo>
                    <a:lnTo>
                      <a:pt x="25" y="17"/>
                    </a:lnTo>
                    <a:lnTo>
                      <a:pt x="16" y="16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10" y="1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9" y="3"/>
                    </a:lnTo>
                    <a:lnTo>
                      <a:pt x="29" y="3"/>
                    </a:lnTo>
                    <a:lnTo>
                      <a:pt x="36" y="4"/>
                    </a:lnTo>
                    <a:lnTo>
                      <a:pt x="43" y="4"/>
                    </a:lnTo>
                    <a:lnTo>
                      <a:pt x="48" y="4"/>
                    </a:lnTo>
                    <a:lnTo>
                      <a:pt x="48" y="5"/>
                    </a:lnTo>
                    <a:lnTo>
                      <a:pt x="49" y="5"/>
                    </a:lnTo>
                    <a:lnTo>
                      <a:pt x="49" y="5"/>
                    </a:lnTo>
                    <a:lnTo>
                      <a:pt x="48" y="8"/>
                    </a:lnTo>
                    <a:lnTo>
                      <a:pt x="46" y="11"/>
                    </a:lnTo>
                    <a:lnTo>
                      <a:pt x="45" y="14"/>
                    </a:lnTo>
                    <a:lnTo>
                      <a:pt x="39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57" name="Freeform 1012"/>
              <p:cNvSpPr>
                <a:spLocks/>
              </p:cNvSpPr>
              <p:nvPr/>
            </p:nvSpPr>
            <p:spPr bwMode="auto">
              <a:xfrm>
                <a:off x="7242012" y="1688818"/>
                <a:ext cx="48474" cy="16817"/>
              </a:xfrm>
              <a:custGeom>
                <a:avLst/>
                <a:gdLst>
                  <a:gd name="T0" fmla="*/ 39 w 49"/>
                  <a:gd name="T1" fmla="*/ 16 h 17"/>
                  <a:gd name="T2" fmla="*/ 39 w 49"/>
                  <a:gd name="T3" fmla="*/ 16 h 17"/>
                  <a:gd name="T4" fmla="*/ 25 w 49"/>
                  <a:gd name="T5" fmla="*/ 17 h 17"/>
                  <a:gd name="T6" fmla="*/ 16 w 49"/>
                  <a:gd name="T7" fmla="*/ 16 h 17"/>
                  <a:gd name="T8" fmla="*/ 7 w 49"/>
                  <a:gd name="T9" fmla="*/ 14 h 17"/>
                  <a:gd name="T10" fmla="*/ 7 w 49"/>
                  <a:gd name="T11" fmla="*/ 14 h 17"/>
                  <a:gd name="T12" fmla="*/ 3 w 49"/>
                  <a:gd name="T13" fmla="*/ 11 h 17"/>
                  <a:gd name="T14" fmla="*/ 0 w 49"/>
                  <a:gd name="T15" fmla="*/ 8 h 17"/>
                  <a:gd name="T16" fmla="*/ 0 w 49"/>
                  <a:gd name="T17" fmla="*/ 7 h 17"/>
                  <a:gd name="T18" fmla="*/ 0 w 49"/>
                  <a:gd name="T19" fmla="*/ 5 h 17"/>
                  <a:gd name="T20" fmla="*/ 4 w 49"/>
                  <a:gd name="T21" fmla="*/ 3 h 17"/>
                  <a:gd name="T22" fmla="*/ 4 w 49"/>
                  <a:gd name="T23" fmla="*/ 3 h 17"/>
                  <a:gd name="T24" fmla="*/ 10 w 49"/>
                  <a:gd name="T25" fmla="*/ 1 h 17"/>
                  <a:gd name="T26" fmla="*/ 16 w 49"/>
                  <a:gd name="T27" fmla="*/ 0 h 17"/>
                  <a:gd name="T28" fmla="*/ 22 w 49"/>
                  <a:gd name="T29" fmla="*/ 0 h 17"/>
                  <a:gd name="T30" fmla="*/ 29 w 49"/>
                  <a:gd name="T31" fmla="*/ 3 h 17"/>
                  <a:gd name="T32" fmla="*/ 29 w 49"/>
                  <a:gd name="T33" fmla="*/ 3 h 17"/>
                  <a:gd name="T34" fmla="*/ 36 w 49"/>
                  <a:gd name="T35" fmla="*/ 4 h 17"/>
                  <a:gd name="T36" fmla="*/ 43 w 49"/>
                  <a:gd name="T37" fmla="*/ 4 h 17"/>
                  <a:gd name="T38" fmla="*/ 48 w 49"/>
                  <a:gd name="T39" fmla="*/ 4 h 17"/>
                  <a:gd name="T40" fmla="*/ 48 w 49"/>
                  <a:gd name="T41" fmla="*/ 5 h 17"/>
                  <a:gd name="T42" fmla="*/ 49 w 49"/>
                  <a:gd name="T43" fmla="*/ 5 h 17"/>
                  <a:gd name="T44" fmla="*/ 49 w 49"/>
                  <a:gd name="T45" fmla="*/ 5 h 17"/>
                  <a:gd name="T46" fmla="*/ 48 w 49"/>
                  <a:gd name="T47" fmla="*/ 8 h 17"/>
                  <a:gd name="T48" fmla="*/ 46 w 49"/>
                  <a:gd name="T49" fmla="*/ 11 h 17"/>
                  <a:gd name="T50" fmla="*/ 45 w 49"/>
                  <a:gd name="T51" fmla="*/ 14 h 17"/>
                  <a:gd name="T52" fmla="*/ 39 w 49"/>
                  <a:gd name="T53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17">
                    <a:moveTo>
                      <a:pt x="39" y="16"/>
                    </a:moveTo>
                    <a:lnTo>
                      <a:pt x="39" y="16"/>
                    </a:lnTo>
                    <a:lnTo>
                      <a:pt x="25" y="17"/>
                    </a:lnTo>
                    <a:lnTo>
                      <a:pt x="16" y="16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10" y="1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9" y="3"/>
                    </a:lnTo>
                    <a:lnTo>
                      <a:pt x="29" y="3"/>
                    </a:lnTo>
                    <a:lnTo>
                      <a:pt x="36" y="4"/>
                    </a:lnTo>
                    <a:lnTo>
                      <a:pt x="43" y="4"/>
                    </a:lnTo>
                    <a:lnTo>
                      <a:pt x="48" y="4"/>
                    </a:lnTo>
                    <a:lnTo>
                      <a:pt x="48" y="5"/>
                    </a:lnTo>
                    <a:lnTo>
                      <a:pt x="49" y="5"/>
                    </a:lnTo>
                    <a:lnTo>
                      <a:pt x="49" y="5"/>
                    </a:lnTo>
                    <a:lnTo>
                      <a:pt x="48" y="8"/>
                    </a:lnTo>
                    <a:lnTo>
                      <a:pt x="46" y="11"/>
                    </a:lnTo>
                    <a:lnTo>
                      <a:pt x="45" y="14"/>
                    </a:lnTo>
                    <a:lnTo>
                      <a:pt x="39" y="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58" name="Freeform 1013"/>
              <p:cNvSpPr>
                <a:spLocks/>
              </p:cNvSpPr>
              <p:nvPr/>
            </p:nvSpPr>
            <p:spPr bwMode="auto">
              <a:xfrm>
                <a:off x="5225901" y="1568128"/>
                <a:ext cx="92990" cy="150367"/>
              </a:xfrm>
              <a:custGeom>
                <a:avLst/>
                <a:gdLst>
                  <a:gd name="T0" fmla="*/ 87 w 94"/>
                  <a:gd name="T1" fmla="*/ 151 h 152"/>
                  <a:gd name="T2" fmla="*/ 80 w 94"/>
                  <a:gd name="T3" fmla="*/ 149 h 152"/>
                  <a:gd name="T4" fmla="*/ 74 w 94"/>
                  <a:gd name="T5" fmla="*/ 152 h 152"/>
                  <a:gd name="T6" fmla="*/ 65 w 94"/>
                  <a:gd name="T7" fmla="*/ 143 h 152"/>
                  <a:gd name="T8" fmla="*/ 62 w 94"/>
                  <a:gd name="T9" fmla="*/ 148 h 152"/>
                  <a:gd name="T10" fmla="*/ 54 w 94"/>
                  <a:gd name="T11" fmla="*/ 143 h 152"/>
                  <a:gd name="T12" fmla="*/ 33 w 94"/>
                  <a:gd name="T13" fmla="*/ 139 h 152"/>
                  <a:gd name="T14" fmla="*/ 35 w 94"/>
                  <a:gd name="T15" fmla="*/ 127 h 152"/>
                  <a:gd name="T16" fmla="*/ 35 w 94"/>
                  <a:gd name="T17" fmla="*/ 117 h 152"/>
                  <a:gd name="T18" fmla="*/ 32 w 94"/>
                  <a:gd name="T19" fmla="*/ 112 h 152"/>
                  <a:gd name="T20" fmla="*/ 26 w 94"/>
                  <a:gd name="T21" fmla="*/ 114 h 152"/>
                  <a:gd name="T22" fmla="*/ 20 w 94"/>
                  <a:gd name="T23" fmla="*/ 110 h 152"/>
                  <a:gd name="T24" fmla="*/ 6 w 94"/>
                  <a:gd name="T25" fmla="*/ 106 h 152"/>
                  <a:gd name="T26" fmla="*/ 0 w 94"/>
                  <a:gd name="T27" fmla="*/ 96 h 152"/>
                  <a:gd name="T28" fmla="*/ 5 w 94"/>
                  <a:gd name="T29" fmla="*/ 77 h 152"/>
                  <a:gd name="T30" fmla="*/ 9 w 94"/>
                  <a:gd name="T31" fmla="*/ 74 h 152"/>
                  <a:gd name="T32" fmla="*/ 12 w 94"/>
                  <a:gd name="T33" fmla="*/ 72 h 152"/>
                  <a:gd name="T34" fmla="*/ 19 w 94"/>
                  <a:gd name="T35" fmla="*/ 75 h 152"/>
                  <a:gd name="T36" fmla="*/ 18 w 94"/>
                  <a:gd name="T37" fmla="*/ 64 h 152"/>
                  <a:gd name="T38" fmla="*/ 25 w 94"/>
                  <a:gd name="T39" fmla="*/ 46 h 152"/>
                  <a:gd name="T40" fmla="*/ 20 w 94"/>
                  <a:gd name="T41" fmla="*/ 43 h 152"/>
                  <a:gd name="T42" fmla="*/ 15 w 94"/>
                  <a:gd name="T43" fmla="*/ 39 h 152"/>
                  <a:gd name="T44" fmla="*/ 18 w 94"/>
                  <a:gd name="T45" fmla="*/ 33 h 152"/>
                  <a:gd name="T46" fmla="*/ 25 w 94"/>
                  <a:gd name="T47" fmla="*/ 32 h 152"/>
                  <a:gd name="T48" fmla="*/ 26 w 94"/>
                  <a:gd name="T49" fmla="*/ 25 h 152"/>
                  <a:gd name="T50" fmla="*/ 35 w 94"/>
                  <a:gd name="T51" fmla="*/ 23 h 152"/>
                  <a:gd name="T52" fmla="*/ 41 w 94"/>
                  <a:gd name="T53" fmla="*/ 6 h 152"/>
                  <a:gd name="T54" fmla="*/ 51 w 94"/>
                  <a:gd name="T55" fmla="*/ 7 h 152"/>
                  <a:gd name="T56" fmla="*/ 51 w 94"/>
                  <a:gd name="T57" fmla="*/ 0 h 152"/>
                  <a:gd name="T58" fmla="*/ 57 w 94"/>
                  <a:gd name="T59" fmla="*/ 3 h 152"/>
                  <a:gd name="T60" fmla="*/ 67 w 94"/>
                  <a:gd name="T61" fmla="*/ 6 h 152"/>
                  <a:gd name="T62" fmla="*/ 80 w 94"/>
                  <a:gd name="T63" fmla="*/ 13 h 152"/>
                  <a:gd name="T64" fmla="*/ 78 w 94"/>
                  <a:gd name="T65" fmla="*/ 23 h 152"/>
                  <a:gd name="T66" fmla="*/ 74 w 94"/>
                  <a:gd name="T67" fmla="*/ 29 h 152"/>
                  <a:gd name="T68" fmla="*/ 74 w 94"/>
                  <a:gd name="T69" fmla="*/ 35 h 152"/>
                  <a:gd name="T70" fmla="*/ 67 w 94"/>
                  <a:gd name="T71" fmla="*/ 33 h 152"/>
                  <a:gd name="T72" fmla="*/ 68 w 94"/>
                  <a:gd name="T73" fmla="*/ 42 h 152"/>
                  <a:gd name="T74" fmla="*/ 61 w 94"/>
                  <a:gd name="T75" fmla="*/ 55 h 152"/>
                  <a:gd name="T76" fmla="*/ 61 w 94"/>
                  <a:gd name="T77" fmla="*/ 68 h 152"/>
                  <a:gd name="T78" fmla="*/ 67 w 94"/>
                  <a:gd name="T79" fmla="*/ 72 h 152"/>
                  <a:gd name="T80" fmla="*/ 61 w 94"/>
                  <a:gd name="T81" fmla="*/ 84 h 152"/>
                  <a:gd name="T82" fmla="*/ 65 w 94"/>
                  <a:gd name="T83" fmla="*/ 99 h 152"/>
                  <a:gd name="T84" fmla="*/ 73 w 94"/>
                  <a:gd name="T85" fmla="*/ 113 h 152"/>
                  <a:gd name="T86" fmla="*/ 74 w 94"/>
                  <a:gd name="T87" fmla="*/ 122 h 152"/>
                  <a:gd name="T88" fmla="*/ 84 w 94"/>
                  <a:gd name="T89" fmla="*/ 133 h 152"/>
                  <a:gd name="T90" fmla="*/ 89 w 94"/>
                  <a:gd name="T91" fmla="*/ 136 h 152"/>
                  <a:gd name="T92" fmla="*/ 91 w 94"/>
                  <a:gd name="T93" fmla="*/ 142 h 152"/>
                  <a:gd name="T94" fmla="*/ 94 w 94"/>
                  <a:gd name="T95" fmla="*/ 143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4" h="152">
                    <a:moveTo>
                      <a:pt x="93" y="148"/>
                    </a:moveTo>
                    <a:lnTo>
                      <a:pt x="93" y="148"/>
                    </a:lnTo>
                    <a:lnTo>
                      <a:pt x="90" y="149"/>
                    </a:lnTo>
                    <a:lnTo>
                      <a:pt x="87" y="151"/>
                    </a:lnTo>
                    <a:lnTo>
                      <a:pt x="87" y="151"/>
                    </a:lnTo>
                    <a:lnTo>
                      <a:pt x="83" y="149"/>
                    </a:lnTo>
                    <a:lnTo>
                      <a:pt x="80" y="149"/>
                    </a:lnTo>
                    <a:lnTo>
                      <a:pt x="80" y="149"/>
                    </a:lnTo>
                    <a:lnTo>
                      <a:pt x="77" y="151"/>
                    </a:lnTo>
                    <a:lnTo>
                      <a:pt x="75" y="152"/>
                    </a:lnTo>
                    <a:lnTo>
                      <a:pt x="74" y="152"/>
                    </a:lnTo>
                    <a:lnTo>
                      <a:pt x="74" y="152"/>
                    </a:lnTo>
                    <a:lnTo>
                      <a:pt x="70" y="146"/>
                    </a:lnTo>
                    <a:lnTo>
                      <a:pt x="67" y="145"/>
                    </a:lnTo>
                    <a:lnTo>
                      <a:pt x="65" y="143"/>
                    </a:lnTo>
                    <a:lnTo>
                      <a:pt x="65" y="143"/>
                    </a:lnTo>
                    <a:lnTo>
                      <a:pt x="65" y="145"/>
                    </a:lnTo>
                    <a:lnTo>
                      <a:pt x="64" y="146"/>
                    </a:lnTo>
                    <a:lnTo>
                      <a:pt x="64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57" y="145"/>
                    </a:lnTo>
                    <a:lnTo>
                      <a:pt x="54" y="143"/>
                    </a:lnTo>
                    <a:lnTo>
                      <a:pt x="54" y="143"/>
                    </a:lnTo>
                    <a:lnTo>
                      <a:pt x="42" y="142"/>
                    </a:lnTo>
                    <a:lnTo>
                      <a:pt x="36" y="141"/>
                    </a:lnTo>
                    <a:lnTo>
                      <a:pt x="33" y="139"/>
                    </a:lnTo>
                    <a:lnTo>
                      <a:pt x="33" y="139"/>
                    </a:lnTo>
                    <a:lnTo>
                      <a:pt x="35" y="133"/>
                    </a:lnTo>
                    <a:lnTo>
                      <a:pt x="36" y="130"/>
                    </a:lnTo>
                    <a:lnTo>
                      <a:pt x="35" y="127"/>
                    </a:lnTo>
                    <a:lnTo>
                      <a:pt x="35" y="127"/>
                    </a:lnTo>
                    <a:lnTo>
                      <a:pt x="35" y="125"/>
                    </a:lnTo>
                    <a:lnTo>
                      <a:pt x="35" y="122"/>
                    </a:lnTo>
                    <a:lnTo>
                      <a:pt x="36" y="120"/>
                    </a:lnTo>
                    <a:lnTo>
                      <a:pt x="35" y="117"/>
                    </a:lnTo>
                    <a:lnTo>
                      <a:pt x="35" y="117"/>
                    </a:lnTo>
                    <a:lnTo>
                      <a:pt x="33" y="116"/>
                    </a:lnTo>
                    <a:lnTo>
                      <a:pt x="32" y="113"/>
                    </a:lnTo>
                    <a:lnTo>
                      <a:pt x="32" y="112"/>
                    </a:lnTo>
                    <a:lnTo>
                      <a:pt x="31" y="112"/>
                    </a:lnTo>
                    <a:lnTo>
                      <a:pt x="31" y="112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3" y="114"/>
                    </a:lnTo>
                    <a:lnTo>
                      <a:pt x="23" y="114"/>
                    </a:lnTo>
                    <a:lnTo>
                      <a:pt x="22" y="112"/>
                    </a:lnTo>
                    <a:lnTo>
                      <a:pt x="20" y="110"/>
                    </a:lnTo>
                    <a:lnTo>
                      <a:pt x="20" y="110"/>
                    </a:lnTo>
                    <a:lnTo>
                      <a:pt x="13" y="109"/>
                    </a:lnTo>
                    <a:lnTo>
                      <a:pt x="6" y="106"/>
                    </a:lnTo>
                    <a:lnTo>
                      <a:pt x="6" y="106"/>
                    </a:lnTo>
                    <a:lnTo>
                      <a:pt x="2" y="103"/>
                    </a:lnTo>
                    <a:lnTo>
                      <a:pt x="0" y="99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2" y="84"/>
                    </a:lnTo>
                    <a:lnTo>
                      <a:pt x="3" y="80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7" y="77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9" y="74"/>
                    </a:lnTo>
                    <a:lnTo>
                      <a:pt x="10" y="72"/>
                    </a:lnTo>
                    <a:lnTo>
                      <a:pt x="10" y="71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8" y="75"/>
                    </a:lnTo>
                    <a:lnTo>
                      <a:pt x="19" y="75"/>
                    </a:lnTo>
                    <a:lnTo>
                      <a:pt x="19" y="75"/>
                    </a:lnTo>
                    <a:lnTo>
                      <a:pt x="19" y="75"/>
                    </a:lnTo>
                    <a:lnTo>
                      <a:pt x="18" y="72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8" y="64"/>
                    </a:lnTo>
                    <a:lnTo>
                      <a:pt x="19" y="58"/>
                    </a:lnTo>
                    <a:lnTo>
                      <a:pt x="22" y="51"/>
                    </a:lnTo>
                    <a:lnTo>
                      <a:pt x="22" y="51"/>
                    </a:lnTo>
                    <a:lnTo>
                      <a:pt x="25" y="46"/>
                    </a:lnTo>
                    <a:lnTo>
                      <a:pt x="26" y="45"/>
                    </a:lnTo>
                    <a:lnTo>
                      <a:pt x="25" y="43"/>
                    </a:lnTo>
                    <a:lnTo>
                      <a:pt x="25" y="43"/>
                    </a:lnTo>
                    <a:lnTo>
                      <a:pt x="20" y="43"/>
                    </a:lnTo>
                    <a:lnTo>
                      <a:pt x="19" y="43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5" y="39"/>
                    </a:lnTo>
                    <a:lnTo>
                      <a:pt x="15" y="36"/>
                    </a:lnTo>
                    <a:lnTo>
                      <a:pt x="15" y="35"/>
                    </a:lnTo>
                    <a:lnTo>
                      <a:pt x="18" y="33"/>
                    </a:lnTo>
                    <a:lnTo>
                      <a:pt x="18" y="33"/>
                    </a:lnTo>
                    <a:lnTo>
                      <a:pt x="22" y="33"/>
                    </a:lnTo>
                    <a:lnTo>
                      <a:pt x="23" y="33"/>
                    </a:lnTo>
                    <a:lnTo>
                      <a:pt x="25" y="32"/>
                    </a:lnTo>
                    <a:lnTo>
                      <a:pt x="25" y="32"/>
                    </a:lnTo>
                    <a:lnTo>
                      <a:pt x="23" y="28"/>
                    </a:lnTo>
                    <a:lnTo>
                      <a:pt x="25" y="26"/>
                    </a:lnTo>
                    <a:lnTo>
                      <a:pt x="26" y="25"/>
                    </a:lnTo>
                    <a:lnTo>
                      <a:pt x="26" y="25"/>
                    </a:lnTo>
                    <a:lnTo>
                      <a:pt x="31" y="25"/>
                    </a:lnTo>
                    <a:lnTo>
                      <a:pt x="33" y="25"/>
                    </a:lnTo>
                    <a:lnTo>
                      <a:pt x="35" y="23"/>
                    </a:lnTo>
                    <a:lnTo>
                      <a:pt x="35" y="23"/>
                    </a:lnTo>
                    <a:lnTo>
                      <a:pt x="36" y="20"/>
                    </a:lnTo>
                    <a:lnTo>
                      <a:pt x="38" y="15"/>
                    </a:lnTo>
                    <a:lnTo>
                      <a:pt x="39" y="9"/>
                    </a:lnTo>
                    <a:lnTo>
                      <a:pt x="41" y="6"/>
                    </a:lnTo>
                    <a:lnTo>
                      <a:pt x="41" y="6"/>
                    </a:lnTo>
                    <a:lnTo>
                      <a:pt x="44" y="6"/>
                    </a:lnTo>
                    <a:lnTo>
                      <a:pt x="48" y="6"/>
                    </a:lnTo>
                    <a:lnTo>
                      <a:pt x="51" y="7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1" y="1"/>
                    </a:lnTo>
                    <a:lnTo>
                      <a:pt x="51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5" y="0"/>
                    </a:lnTo>
                    <a:lnTo>
                      <a:pt x="57" y="3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7" y="6"/>
                    </a:lnTo>
                    <a:lnTo>
                      <a:pt x="71" y="9"/>
                    </a:lnTo>
                    <a:lnTo>
                      <a:pt x="71" y="9"/>
                    </a:lnTo>
                    <a:lnTo>
                      <a:pt x="77" y="12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7"/>
                    </a:lnTo>
                    <a:lnTo>
                      <a:pt x="80" y="22"/>
                    </a:lnTo>
                    <a:lnTo>
                      <a:pt x="78" y="23"/>
                    </a:lnTo>
                    <a:lnTo>
                      <a:pt x="78" y="23"/>
                    </a:lnTo>
                    <a:lnTo>
                      <a:pt x="75" y="26"/>
                    </a:lnTo>
                    <a:lnTo>
                      <a:pt x="74" y="29"/>
                    </a:lnTo>
                    <a:lnTo>
                      <a:pt x="74" y="29"/>
                    </a:lnTo>
                    <a:lnTo>
                      <a:pt x="75" y="33"/>
                    </a:lnTo>
                    <a:lnTo>
                      <a:pt x="75" y="35"/>
                    </a:lnTo>
                    <a:lnTo>
                      <a:pt x="74" y="35"/>
                    </a:lnTo>
                    <a:lnTo>
                      <a:pt x="74" y="35"/>
                    </a:lnTo>
                    <a:lnTo>
                      <a:pt x="70" y="33"/>
                    </a:lnTo>
                    <a:lnTo>
                      <a:pt x="67" y="32"/>
                    </a:lnTo>
                    <a:lnTo>
                      <a:pt x="67" y="33"/>
                    </a:lnTo>
                    <a:lnTo>
                      <a:pt x="67" y="33"/>
                    </a:lnTo>
                    <a:lnTo>
                      <a:pt x="67" y="36"/>
                    </a:lnTo>
                    <a:lnTo>
                      <a:pt x="67" y="38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5" y="48"/>
                    </a:lnTo>
                    <a:lnTo>
                      <a:pt x="61" y="54"/>
                    </a:lnTo>
                    <a:lnTo>
                      <a:pt x="61" y="54"/>
                    </a:lnTo>
                    <a:lnTo>
                      <a:pt x="61" y="55"/>
                    </a:lnTo>
                    <a:lnTo>
                      <a:pt x="62" y="58"/>
                    </a:lnTo>
                    <a:lnTo>
                      <a:pt x="62" y="58"/>
                    </a:lnTo>
                    <a:lnTo>
                      <a:pt x="61" y="65"/>
                    </a:lnTo>
                    <a:lnTo>
                      <a:pt x="61" y="68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5" y="71"/>
                    </a:lnTo>
                    <a:lnTo>
                      <a:pt x="67" y="72"/>
                    </a:lnTo>
                    <a:lnTo>
                      <a:pt x="65" y="75"/>
                    </a:lnTo>
                    <a:lnTo>
                      <a:pt x="65" y="75"/>
                    </a:lnTo>
                    <a:lnTo>
                      <a:pt x="62" y="81"/>
                    </a:lnTo>
                    <a:lnTo>
                      <a:pt x="61" y="84"/>
                    </a:lnTo>
                    <a:lnTo>
                      <a:pt x="61" y="87"/>
                    </a:lnTo>
                    <a:lnTo>
                      <a:pt x="61" y="87"/>
                    </a:lnTo>
                    <a:lnTo>
                      <a:pt x="65" y="99"/>
                    </a:lnTo>
                    <a:lnTo>
                      <a:pt x="65" y="99"/>
                    </a:lnTo>
                    <a:lnTo>
                      <a:pt x="68" y="106"/>
                    </a:lnTo>
                    <a:lnTo>
                      <a:pt x="71" y="110"/>
                    </a:lnTo>
                    <a:lnTo>
                      <a:pt x="73" y="113"/>
                    </a:lnTo>
                    <a:lnTo>
                      <a:pt x="73" y="113"/>
                    </a:lnTo>
                    <a:lnTo>
                      <a:pt x="73" y="114"/>
                    </a:lnTo>
                    <a:lnTo>
                      <a:pt x="73" y="117"/>
                    </a:lnTo>
                    <a:lnTo>
                      <a:pt x="74" y="122"/>
                    </a:lnTo>
                    <a:lnTo>
                      <a:pt x="74" y="122"/>
                    </a:lnTo>
                    <a:lnTo>
                      <a:pt x="75" y="125"/>
                    </a:lnTo>
                    <a:lnTo>
                      <a:pt x="78" y="127"/>
                    </a:lnTo>
                    <a:lnTo>
                      <a:pt x="81" y="130"/>
                    </a:lnTo>
                    <a:lnTo>
                      <a:pt x="84" y="133"/>
                    </a:lnTo>
                    <a:lnTo>
                      <a:pt x="84" y="133"/>
                    </a:lnTo>
                    <a:lnTo>
                      <a:pt x="86" y="135"/>
                    </a:lnTo>
                    <a:lnTo>
                      <a:pt x="87" y="136"/>
                    </a:lnTo>
                    <a:lnTo>
                      <a:pt x="89" y="136"/>
                    </a:lnTo>
                    <a:lnTo>
                      <a:pt x="90" y="138"/>
                    </a:lnTo>
                    <a:lnTo>
                      <a:pt x="90" y="138"/>
                    </a:lnTo>
                    <a:lnTo>
                      <a:pt x="91" y="141"/>
                    </a:lnTo>
                    <a:lnTo>
                      <a:pt x="91" y="142"/>
                    </a:lnTo>
                    <a:lnTo>
                      <a:pt x="93" y="142"/>
                    </a:lnTo>
                    <a:lnTo>
                      <a:pt x="93" y="142"/>
                    </a:lnTo>
                    <a:lnTo>
                      <a:pt x="94" y="142"/>
                    </a:lnTo>
                    <a:lnTo>
                      <a:pt x="94" y="143"/>
                    </a:lnTo>
                    <a:lnTo>
                      <a:pt x="94" y="146"/>
                    </a:lnTo>
                    <a:lnTo>
                      <a:pt x="93" y="14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59" name="Freeform 1014"/>
              <p:cNvSpPr>
                <a:spLocks/>
              </p:cNvSpPr>
              <p:nvPr/>
            </p:nvSpPr>
            <p:spPr bwMode="auto">
              <a:xfrm>
                <a:off x="5225901" y="1568128"/>
                <a:ext cx="92990" cy="150367"/>
              </a:xfrm>
              <a:custGeom>
                <a:avLst/>
                <a:gdLst>
                  <a:gd name="T0" fmla="*/ 87 w 94"/>
                  <a:gd name="T1" fmla="*/ 151 h 152"/>
                  <a:gd name="T2" fmla="*/ 80 w 94"/>
                  <a:gd name="T3" fmla="*/ 149 h 152"/>
                  <a:gd name="T4" fmla="*/ 74 w 94"/>
                  <a:gd name="T5" fmla="*/ 152 h 152"/>
                  <a:gd name="T6" fmla="*/ 65 w 94"/>
                  <a:gd name="T7" fmla="*/ 143 h 152"/>
                  <a:gd name="T8" fmla="*/ 62 w 94"/>
                  <a:gd name="T9" fmla="*/ 148 h 152"/>
                  <a:gd name="T10" fmla="*/ 54 w 94"/>
                  <a:gd name="T11" fmla="*/ 143 h 152"/>
                  <a:gd name="T12" fmla="*/ 33 w 94"/>
                  <a:gd name="T13" fmla="*/ 139 h 152"/>
                  <a:gd name="T14" fmla="*/ 35 w 94"/>
                  <a:gd name="T15" fmla="*/ 127 h 152"/>
                  <a:gd name="T16" fmla="*/ 35 w 94"/>
                  <a:gd name="T17" fmla="*/ 117 h 152"/>
                  <a:gd name="T18" fmla="*/ 32 w 94"/>
                  <a:gd name="T19" fmla="*/ 112 h 152"/>
                  <a:gd name="T20" fmla="*/ 26 w 94"/>
                  <a:gd name="T21" fmla="*/ 114 h 152"/>
                  <a:gd name="T22" fmla="*/ 20 w 94"/>
                  <a:gd name="T23" fmla="*/ 110 h 152"/>
                  <a:gd name="T24" fmla="*/ 6 w 94"/>
                  <a:gd name="T25" fmla="*/ 106 h 152"/>
                  <a:gd name="T26" fmla="*/ 0 w 94"/>
                  <a:gd name="T27" fmla="*/ 96 h 152"/>
                  <a:gd name="T28" fmla="*/ 5 w 94"/>
                  <a:gd name="T29" fmla="*/ 77 h 152"/>
                  <a:gd name="T30" fmla="*/ 9 w 94"/>
                  <a:gd name="T31" fmla="*/ 74 h 152"/>
                  <a:gd name="T32" fmla="*/ 12 w 94"/>
                  <a:gd name="T33" fmla="*/ 72 h 152"/>
                  <a:gd name="T34" fmla="*/ 19 w 94"/>
                  <a:gd name="T35" fmla="*/ 75 h 152"/>
                  <a:gd name="T36" fmla="*/ 18 w 94"/>
                  <a:gd name="T37" fmla="*/ 64 h 152"/>
                  <a:gd name="T38" fmla="*/ 25 w 94"/>
                  <a:gd name="T39" fmla="*/ 46 h 152"/>
                  <a:gd name="T40" fmla="*/ 20 w 94"/>
                  <a:gd name="T41" fmla="*/ 43 h 152"/>
                  <a:gd name="T42" fmla="*/ 15 w 94"/>
                  <a:gd name="T43" fmla="*/ 39 h 152"/>
                  <a:gd name="T44" fmla="*/ 18 w 94"/>
                  <a:gd name="T45" fmla="*/ 33 h 152"/>
                  <a:gd name="T46" fmla="*/ 25 w 94"/>
                  <a:gd name="T47" fmla="*/ 32 h 152"/>
                  <a:gd name="T48" fmla="*/ 26 w 94"/>
                  <a:gd name="T49" fmla="*/ 25 h 152"/>
                  <a:gd name="T50" fmla="*/ 35 w 94"/>
                  <a:gd name="T51" fmla="*/ 23 h 152"/>
                  <a:gd name="T52" fmla="*/ 41 w 94"/>
                  <a:gd name="T53" fmla="*/ 6 h 152"/>
                  <a:gd name="T54" fmla="*/ 51 w 94"/>
                  <a:gd name="T55" fmla="*/ 7 h 152"/>
                  <a:gd name="T56" fmla="*/ 51 w 94"/>
                  <a:gd name="T57" fmla="*/ 0 h 152"/>
                  <a:gd name="T58" fmla="*/ 57 w 94"/>
                  <a:gd name="T59" fmla="*/ 3 h 152"/>
                  <a:gd name="T60" fmla="*/ 67 w 94"/>
                  <a:gd name="T61" fmla="*/ 6 h 152"/>
                  <a:gd name="T62" fmla="*/ 80 w 94"/>
                  <a:gd name="T63" fmla="*/ 13 h 152"/>
                  <a:gd name="T64" fmla="*/ 78 w 94"/>
                  <a:gd name="T65" fmla="*/ 23 h 152"/>
                  <a:gd name="T66" fmla="*/ 74 w 94"/>
                  <a:gd name="T67" fmla="*/ 29 h 152"/>
                  <a:gd name="T68" fmla="*/ 74 w 94"/>
                  <a:gd name="T69" fmla="*/ 35 h 152"/>
                  <a:gd name="T70" fmla="*/ 67 w 94"/>
                  <a:gd name="T71" fmla="*/ 33 h 152"/>
                  <a:gd name="T72" fmla="*/ 68 w 94"/>
                  <a:gd name="T73" fmla="*/ 42 h 152"/>
                  <a:gd name="T74" fmla="*/ 61 w 94"/>
                  <a:gd name="T75" fmla="*/ 55 h 152"/>
                  <a:gd name="T76" fmla="*/ 61 w 94"/>
                  <a:gd name="T77" fmla="*/ 68 h 152"/>
                  <a:gd name="T78" fmla="*/ 67 w 94"/>
                  <a:gd name="T79" fmla="*/ 72 h 152"/>
                  <a:gd name="T80" fmla="*/ 61 w 94"/>
                  <a:gd name="T81" fmla="*/ 84 h 152"/>
                  <a:gd name="T82" fmla="*/ 65 w 94"/>
                  <a:gd name="T83" fmla="*/ 99 h 152"/>
                  <a:gd name="T84" fmla="*/ 73 w 94"/>
                  <a:gd name="T85" fmla="*/ 113 h 152"/>
                  <a:gd name="T86" fmla="*/ 74 w 94"/>
                  <a:gd name="T87" fmla="*/ 122 h 152"/>
                  <a:gd name="T88" fmla="*/ 84 w 94"/>
                  <a:gd name="T89" fmla="*/ 133 h 152"/>
                  <a:gd name="T90" fmla="*/ 89 w 94"/>
                  <a:gd name="T91" fmla="*/ 136 h 152"/>
                  <a:gd name="T92" fmla="*/ 91 w 94"/>
                  <a:gd name="T93" fmla="*/ 142 h 152"/>
                  <a:gd name="T94" fmla="*/ 94 w 94"/>
                  <a:gd name="T95" fmla="*/ 143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4" h="152">
                    <a:moveTo>
                      <a:pt x="93" y="148"/>
                    </a:moveTo>
                    <a:lnTo>
                      <a:pt x="93" y="148"/>
                    </a:lnTo>
                    <a:lnTo>
                      <a:pt x="90" y="149"/>
                    </a:lnTo>
                    <a:lnTo>
                      <a:pt x="87" y="151"/>
                    </a:lnTo>
                    <a:lnTo>
                      <a:pt x="87" y="151"/>
                    </a:lnTo>
                    <a:lnTo>
                      <a:pt x="83" y="149"/>
                    </a:lnTo>
                    <a:lnTo>
                      <a:pt x="80" y="149"/>
                    </a:lnTo>
                    <a:lnTo>
                      <a:pt x="80" y="149"/>
                    </a:lnTo>
                    <a:lnTo>
                      <a:pt x="77" y="151"/>
                    </a:lnTo>
                    <a:lnTo>
                      <a:pt x="75" y="152"/>
                    </a:lnTo>
                    <a:lnTo>
                      <a:pt x="74" y="152"/>
                    </a:lnTo>
                    <a:lnTo>
                      <a:pt x="74" y="152"/>
                    </a:lnTo>
                    <a:lnTo>
                      <a:pt x="70" y="146"/>
                    </a:lnTo>
                    <a:lnTo>
                      <a:pt x="67" y="145"/>
                    </a:lnTo>
                    <a:lnTo>
                      <a:pt x="65" y="143"/>
                    </a:lnTo>
                    <a:lnTo>
                      <a:pt x="65" y="143"/>
                    </a:lnTo>
                    <a:lnTo>
                      <a:pt x="65" y="145"/>
                    </a:lnTo>
                    <a:lnTo>
                      <a:pt x="64" y="146"/>
                    </a:lnTo>
                    <a:lnTo>
                      <a:pt x="64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57" y="145"/>
                    </a:lnTo>
                    <a:lnTo>
                      <a:pt x="54" y="143"/>
                    </a:lnTo>
                    <a:lnTo>
                      <a:pt x="54" y="143"/>
                    </a:lnTo>
                    <a:lnTo>
                      <a:pt x="42" y="142"/>
                    </a:lnTo>
                    <a:lnTo>
                      <a:pt x="36" y="141"/>
                    </a:lnTo>
                    <a:lnTo>
                      <a:pt x="33" y="139"/>
                    </a:lnTo>
                    <a:lnTo>
                      <a:pt x="33" y="139"/>
                    </a:lnTo>
                    <a:lnTo>
                      <a:pt x="35" y="133"/>
                    </a:lnTo>
                    <a:lnTo>
                      <a:pt x="36" y="130"/>
                    </a:lnTo>
                    <a:lnTo>
                      <a:pt x="35" y="127"/>
                    </a:lnTo>
                    <a:lnTo>
                      <a:pt x="35" y="127"/>
                    </a:lnTo>
                    <a:lnTo>
                      <a:pt x="35" y="125"/>
                    </a:lnTo>
                    <a:lnTo>
                      <a:pt x="35" y="122"/>
                    </a:lnTo>
                    <a:lnTo>
                      <a:pt x="36" y="120"/>
                    </a:lnTo>
                    <a:lnTo>
                      <a:pt x="35" y="117"/>
                    </a:lnTo>
                    <a:lnTo>
                      <a:pt x="35" y="117"/>
                    </a:lnTo>
                    <a:lnTo>
                      <a:pt x="33" y="116"/>
                    </a:lnTo>
                    <a:lnTo>
                      <a:pt x="32" y="113"/>
                    </a:lnTo>
                    <a:lnTo>
                      <a:pt x="32" y="112"/>
                    </a:lnTo>
                    <a:lnTo>
                      <a:pt x="31" y="112"/>
                    </a:lnTo>
                    <a:lnTo>
                      <a:pt x="31" y="112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3" y="114"/>
                    </a:lnTo>
                    <a:lnTo>
                      <a:pt x="23" y="114"/>
                    </a:lnTo>
                    <a:lnTo>
                      <a:pt x="22" y="112"/>
                    </a:lnTo>
                    <a:lnTo>
                      <a:pt x="20" y="110"/>
                    </a:lnTo>
                    <a:lnTo>
                      <a:pt x="20" y="110"/>
                    </a:lnTo>
                    <a:lnTo>
                      <a:pt x="13" y="109"/>
                    </a:lnTo>
                    <a:lnTo>
                      <a:pt x="6" y="106"/>
                    </a:lnTo>
                    <a:lnTo>
                      <a:pt x="6" y="106"/>
                    </a:lnTo>
                    <a:lnTo>
                      <a:pt x="2" y="103"/>
                    </a:lnTo>
                    <a:lnTo>
                      <a:pt x="0" y="99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2" y="84"/>
                    </a:lnTo>
                    <a:lnTo>
                      <a:pt x="3" y="80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7" y="77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9" y="74"/>
                    </a:lnTo>
                    <a:lnTo>
                      <a:pt x="10" y="72"/>
                    </a:lnTo>
                    <a:lnTo>
                      <a:pt x="10" y="71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8" y="75"/>
                    </a:lnTo>
                    <a:lnTo>
                      <a:pt x="19" y="75"/>
                    </a:lnTo>
                    <a:lnTo>
                      <a:pt x="19" y="75"/>
                    </a:lnTo>
                    <a:lnTo>
                      <a:pt x="19" y="75"/>
                    </a:lnTo>
                    <a:lnTo>
                      <a:pt x="18" y="72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8" y="64"/>
                    </a:lnTo>
                    <a:lnTo>
                      <a:pt x="19" y="58"/>
                    </a:lnTo>
                    <a:lnTo>
                      <a:pt x="22" y="51"/>
                    </a:lnTo>
                    <a:lnTo>
                      <a:pt x="22" y="51"/>
                    </a:lnTo>
                    <a:lnTo>
                      <a:pt x="25" y="46"/>
                    </a:lnTo>
                    <a:lnTo>
                      <a:pt x="26" y="45"/>
                    </a:lnTo>
                    <a:lnTo>
                      <a:pt x="25" y="43"/>
                    </a:lnTo>
                    <a:lnTo>
                      <a:pt x="25" y="43"/>
                    </a:lnTo>
                    <a:lnTo>
                      <a:pt x="20" y="43"/>
                    </a:lnTo>
                    <a:lnTo>
                      <a:pt x="19" y="43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5" y="39"/>
                    </a:lnTo>
                    <a:lnTo>
                      <a:pt x="15" y="36"/>
                    </a:lnTo>
                    <a:lnTo>
                      <a:pt x="15" y="35"/>
                    </a:lnTo>
                    <a:lnTo>
                      <a:pt x="18" y="33"/>
                    </a:lnTo>
                    <a:lnTo>
                      <a:pt x="18" y="33"/>
                    </a:lnTo>
                    <a:lnTo>
                      <a:pt x="22" y="33"/>
                    </a:lnTo>
                    <a:lnTo>
                      <a:pt x="23" y="33"/>
                    </a:lnTo>
                    <a:lnTo>
                      <a:pt x="25" y="32"/>
                    </a:lnTo>
                    <a:lnTo>
                      <a:pt x="25" y="32"/>
                    </a:lnTo>
                    <a:lnTo>
                      <a:pt x="23" y="28"/>
                    </a:lnTo>
                    <a:lnTo>
                      <a:pt x="25" y="26"/>
                    </a:lnTo>
                    <a:lnTo>
                      <a:pt x="26" y="25"/>
                    </a:lnTo>
                    <a:lnTo>
                      <a:pt x="26" y="25"/>
                    </a:lnTo>
                    <a:lnTo>
                      <a:pt x="31" y="25"/>
                    </a:lnTo>
                    <a:lnTo>
                      <a:pt x="33" y="25"/>
                    </a:lnTo>
                    <a:lnTo>
                      <a:pt x="35" y="23"/>
                    </a:lnTo>
                    <a:lnTo>
                      <a:pt x="35" y="23"/>
                    </a:lnTo>
                    <a:lnTo>
                      <a:pt x="36" y="20"/>
                    </a:lnTo>
                    <a:lnTo>
                      <a:pt x="38" y="15"/>
                    </a:lnTo>
                    <a:lnTo>
                      <a:pt x="39" y="9"/>
                    </a:lnTo>
                    <a:lnTo>
                      <a:pt x="41" y="6"/>
                    </a:lnTo>
                    <a:lnTo>
                      <a:pt x="41" y="6"/>
                    </a:lnTo>
                    <a:lnTo>
                      <a:pt x="44" y="6"/>
                    </a:lnTo>
                    <a:lnTo>
                      <a:pt x="48" y="6"/>
                    </a:lnTo>
                    <a:lnTo>
                      <a:pt x="51" y="7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1" y="1"/>
                    </a:lnTo>
                    <a:lnTo>
                      <a:pt x="51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5" y="0"/>
                    </a:lnTo>
                    <a:lnTo>
                      <a:pt x="57" y="3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7" y="6"/>
                    </a:lnTo>
                    <a:lnTo>
                      <a:pt x="71" y="9"/>
                    </a:lnTo>
                    <a:lnTo>
                      <a:pt x="71" y="9"/>
                    </a:lnTo>
                    <a:lnTo>
                      <a:pt x="77" y="12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7"/>
                    </a:lnTo>
                    <a:lnTo>
                      <a:pt x="80" y="22"/>
                    </a:lnTo>
                    <a:lnTo>
                      <a:pt x="78" y="23"/>
                    </a:lnTo>
                    <a:lnTo>
                      <a:pt x="78" y="23"/>
                    </a:lnTo>
                    <a:lnTo>
                      <a:pt x="75" y="26"/>
                    </a:lnTo>
                    <a:lnTo>
                      <a:pt x="74" y="29"/>
                    </a:lnTo>
                    <a:lnTo>
                      <a:pt x="74" y="29"/>
                    </a:lnTo>
                    <a:lnTo>
                      <a:pt x="75" y="33"/>
                    </a:lnTo>
                    <a:lnTo>
                      <a:pt x="75" y="35"/>
                    </a:lnTo>
                    <a:lnTo>
                      <a:pt x="74" y="35"/>
                    </a:lnTo>
                    <a:lnTo>
                      <a:pt x="74" y="35"/>
                    </a:lnTo>
                    <a:lnTo>
                      <a:pt x="70" y="33"/>
                    </a:lnTo>
                    <a:lnTo>
                      <a:pt x="67" y="32"/>
                    </a:lnTo>
                    <a:lnTo>
                      <a:pt x="67" y="33"/>
                    </a:lnTo>
                    <a:lnTo>
                      <a:pt x="67" y="33"/>
                    </a:lnTo>
                    <a:lnTo>
                      <a:pt x="67" y="36"/>
                    </a:lnTo>
                    <a:lnTo>
                      <a:pt x="67" y="38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5" y="48"/>
                    </a:lnTo>
                    <a:lnTo>
                      <a:pt x="61" y="54"/>
                    </a:lnTo>
                    <a:lnTo>
                      <a:pt x="61" y="54"/>
                    </a:lnTo>
                    <a:lnTo>
                      <a:pt x="61" y="55"/>
                    </a:lnTo>
                    <a:lnTo>
                      <a:pt x="62" y="58"/>
                    </a:lnTo>
                    <a:lnTo>
                      <a:pt x="62" y="58"/>
                    </a:lnTo>
                    <a:lnTo>
                      <a:pt x="61" y="65"/>
                    </a:lnTo>
                    <a:lnTo>
                      <a:pt x="61" y="68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5" y="71"/>
                    </a:lnTo>
                    <a:lnTo>
                      <a:pt x="67" y="72"/>
                    </a:lnTo>
                    <a:lnTo>
                      <a:pt x="65" y="75"/>
                    </a:lnTo>
                    <a:lnTo>
                      <a:pt x="65" y="75"/>
                    </a:lnTo>
                    <a:lnTo>
                      <a:pt x="62" y="81"/>
                    </a:lnTo>
                    <a:lnTo>
                      <a:pt x="61" y="84"/>
                    </a:lnTo>
                    <a:lnTo>
                      <a:pt x="61" y="87"/>
                    </a:lnTo>
                    <a:lnTo>
                      <a:pt x="61" y="87"/>
                    </a:lnTo>
                    <a:lnTo>
                      <a:pt x="65" y="99"/>
                    </a:lnTo>
                    <a:lnTo>
                      <a:pt x="65" y="99"/>
                    </a:lnTo>
                    <a:lnTo>
                      <a:pt x="68" y="106"/>
                    </a:lnTo>
                    <a:lnTo>
                      <a:pt x="71" y="110"/>
                    </a:lnTo>
                    <a:lnTo>
                      <a:pt x="73" y="113"/>
                    </a:lnTo>
                    <a:lnTo>
                      <a:pt x="73" y="113"/>
                    </a:lnTo>
                    <a:lnTo>
                      <a:pt x="73" y="114"/>
                    </a:lnTo>
                    <a:lnTo>
                      <a:pt x="73" y="117"/>
                    </a:lnTo>
                    <a:lnTo>
                      <a:pt x="74" y="122"/>
                    </a:lnTo>
                    <a:lnTo>
                      <a:pt x="74" y="122"/>
                    </a:lnTo>
                    <a:lnTo>
                      <a:pt x="75" y="125"/>
                    </a:lnTo>
                    <a:lnTo>
                      <a:pt x="78" y="127"/>
                    </a:lnTo>
                    <a:lnTo>
                      <a:pt x="81" y="130"/>
                    </a:lnTo>
                    <a:lnTo>
                      <a:pt x="84" y="133"/>
                    </a:lnTo>
                    <a:lnTo>
                      <a:pt x="84" y="133"/>
                    </a:lnTo>
                    <a:lnTo>
                      <a:pt x="86" y="135"/>
                    </a:lnTo>
                    <a:lnTo>
                      <a:pt x="87" y="136"/>
                    </a:lnTo>
                    <a:lnTo>
                      <a:pt x="89" y="136"/>
                    </a:lnTo>
                    <a:lnTo>
                      <a:pt x="90" y="138"/>
                    </a:lnTo>
                    <a:lnTo>
                      <a:pt x="90" y="138"/>
                    </a:lnTo>
                    <a:lnTo>
                      <a:pt x="91" y="141"/>
                    </a:lnTo>
                    <a:lnTo>
                      <a:pt x="91" y="142"/>
                    </a:lnTo>
                    <a:lnTo>
                      <a:pt x="93" y="142"/>
                    </a:lnTo>
                    <a:lnTo>
                      <a:pt x="93" y="142"/>
                    </a:lnTo>
                    <a:lnTo>
                      <a:pt x="94" y="142"/>
                    </a:lnTo>
                    <a:lnTo>
                      <a:pt x="94" y="143"/>
                    </a:lnTo>
                    <a:lnTo>
                      <a:pt x="94" y="146"/>
                    </a:lnTo>
                    <a:lnTo>
                      <a:pt x="93" y="148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60" name="Freeform 1015"/>
              <p:cNvSpPr>
                <a:spLocks/>
              </p:cNvSpPr>
              <p:nvPr/>
            </p:nvSpPr>
            <p:spPr bwMode="auto">
              <a:xfrm>
                <a:off x="5240740" y="1683871"/>
                <a:ext cx="10882" cy="17807"/>
              </a:xfrm>
              <a:custGeom>
                <a:avLst/>
                <a:gdLst>
                  <a:gd name="T0" fmla="*/ 10 w 11"/>
                  <a:gd name="T1" fmla="*/ 18 h 18"/>
                  <a:gd name="T2" fmla="*/ 10 w 11"/>
                  <a:gd name="T3" fmla="*/ 18 h 18"/>
                  <a:gd name="T4" fmla="*/ 8 w 11"/>
                  <a:gd name="T5" fmla="*/ 18 h 18"/>
                  <a:gd name="T6" fmla="*/ 7 w 11"/>
                  <a:gd name="T7" fmla="*/ 16 h 18"/>
                  <a:gd name="T8" fmla="*/ 5 w 11"/>
                  <a:gd name="T9" fmla="*/ 13 h 18"/>
                  <a:gd name="T10" fmla="*/ 4 w 11"/>
                  <a:gd name="T11" fmla="*/ 9 h 18"/>
                  <a:gd name="T12" fmla="*/ 3 w 11"/>
                  <a:gd name="T13" fmla="*/ 8 h 18"/>
                  <a:gd name="T14" fmla="*/ 3 w 11"/>
                  <a:gd name="T15" fmla="*/ 8 h 18"/>
                  <a:gd name="T16" fmla="*/ 0 w 11"/>
                  <a:gd name="T17" fmla="*/ 5 h 18"/>
                  <a:gd name="T18" fmla="*/ 0 w 11"/>
                  <a:gd name="T19" fmla="*/ 3 h 18"/>
                  <a:gd name="T20" fmla="*/ 0 w 11"/>
                  <a:gd name="T21" fmla="*/ 0 h 18"/>
                  <a:gd name="T22" fmla="*/ 1 w 11"/>
                  <a:gd name="T23" fmla="*/ 0 h 18"/>
                  <a:gd name="T24" fmla="*/ 1 w 11"/>
                  <a:gd name="T25" fmla="*/ 0 h 18"/>
                  <a:gd name="T26" fmla="*/ 7 w 11"/>
                  <a:gd name="T27" fmla="*/ 2 h 18"/>
                  <a:gd name="T28" fmla="*/ 8 w 11"/>
                  <a:gd name="T29" fmla="*/ 3 h 18"/>
                  <a:gd name="T30" fmla="*/ 8 w 11"/>
                  <a:gd name="T31" fmla="*/ 5 h 18"/>
                  <a:gd name="T32" fmla="*/ 8 w 11"/>
                  <a:gd name="T33" fmla="*/ 5 h 18"/>
                  <a:gd name="T34" fmla="*/ 10 w 11"/>
                  <a:gd name="T35" fmla="*/ 12 h 18"/>
                  <a:gd name="T36" fmla="*/ 11 w 11"/>
                  <a:gd name="T37" fmla="*/ 16 h 18"/>
                  <a:gd name="T38" fmla="*/ 10 w 11"/>
                  <a:gd name="T3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" h="18">
                    <a:moveTo>
                      <a:pt x="10" y="18"/>
                    </a:moveTo>
                    <a:lnTo>
                      <a:pt x="10" y="18"/>
                    </a:lnTo>
                    <a:lnTo>
                      <a:pt x="8" y="18"/>
                    </a:lnTo>
                    <a:lnTo>
                      <a:pt x="7" y="16"/>
                    </a:lnTo>
                    <a:lnTo>
                      <a:pt x="5" y="13"/>
                    </a:lnTo>
                    <a:lnTo>
                      <a:pt x="4" y="9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10" y="12"/>
                    </a:lnTo>
                    <a:lnTo>
                      <a:pt x="11" y="16"/>
                    </a:lnTo>
                    <a:lnTo>
                      <a:pt x="10" y="1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61" name="Freeform 1016"/>
              <p:cNvSpPr>
                <a:spLocks/>
              </p:cNvSpPr>
              <p:nvPr/>
            </p:nvSpPr>
            <p:spPr bwMode="auto">
              <a:xfrm>
                <a:off x="5240740" y="1683871"/>
                <a:ext cx="10882" cy="17807"/>
              </a:xfrm>
              <a:custGeom>
                <a:avLst/>
                <a:gdLst>
                  <a:gd name="T0" fmla="*/ 10 w 11"/>
                  <a:gd name="T1" fmla="*/ 18 h 18"/>
                  <a:gd name="T2" fmla="*/ 10 w 11"/>
                  <a:gd name="T3" fmla="*/ 18 h 18"/>
                  <a:gd name="T4" fmla="*/ 8 w 11"/>
                  <a:gd name="T5" fmla="*/ 18 h 18"/>
                  <a:gd name="T6" fmla="*/ 7 w 11"/>
                  <a:gd name="T7" fmla="*/ 16 h 18"/>
                  <a:gd name="T8" fmla="*/ 5 w 11"/>
                  <a:gd name="T9" fmla="*/ 13 h 18"/>
                  <a:gd name="T10" fmla="*/ 4 w 11"/>
                  <a:gd name="T11" fmla="*/ 9 h 18"/>
                  <a:gd name="T12" fmla="*/ 3 w 11"/>
                  <a:gd name="T13" fmla="*/ 8 h 18"/>
                  <a:gd name="T14" fmla="*/ 3 w 11"/>
                  <a:gd name="T15" fmla="*/ 8 h 18"/>
                  <a:gd name="T16" fmla="*/ 0 w 11"/>
                  <a:gd name="T17" fmla="*/ 5 h 18"/>
                  <a:gd name="T18" fmla="*/ 0 w 11"/>
                  <a:gd name="T19" fmla="*/ 3 h 18"/>
                  <a:gd name="T20" fmla="*/ 0 w 11"/>
                  <a:gd name="T21" fmla="*/ 0 h 18"/>
                  <a:gd name="T22" fmla="*/ 1 w 11"/>
                  <a:gd name="T23" fmla="*/ 0 h 18"/>
                  <a:gd name="T24" fmla="*/ 1 w 11"/>
                  <a:gd name="T25" fmla="*/ 0 h 18"/>
                  <a:gd name="T26" fmla="*/ 7 w 11"/>
                  <a:gd name="T27" fmla="*/ 2 h 18"/>
                  <a:gd name="T28" fmla="*/ 8 w 11"/>
                  <a:gd name="T29" fmla="*/ 3 h 18"/>
                  <a:gd name="T30" fmla="*/ 8 w 11"/>
                  <a:gd name="T31" fmla="*/ 5 h 18"/>
                  <a:gd name="T32" fmla="*/ 8 w 11"/>
                  <a:gd name="T33" fmla="*/ 5 h 18"/>
                  <a:gd name="T34" fmla="*/ 10 w 11"/>
                  <a:gd name="T35" fmla="*/ 12 h 18"/>
                  <a:gd name="T36" fmla="*/ 11 w 11"/>
                  <a:gd name="T37" fmla="*/ 16 h 18"/>
                  <a:gd name="T38" fmla="*/ 10 w 11"/>
                  <a:gd name="T3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" h="18">
                    <a:moveTo>
                      <a:pt x="10" y="18"/>
                    </a:moveTo>
                    <a:lnTo>
                      <a:pt x="10" y="18"/>
                    </a:lnTo>
                    <a:lnTo>
                      <a:pt x="8" y="18"/>
                    </a:lnTo>
                    <a:lnTo>
                      <a:pt x="7" y="16"/>
                    </a:lnTo>
                    <a:lnTo>
                      <a:pt x="5" y="13"/>
                    </a:lnTo>
                    <a:lnTo>
                      <a:pt x="4" y="9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10" y="12"/>
                    </a:lnTo>
                    <a:lnTo>
                      <a:pt x="11" y="16"/>
                    </a:lnTo>
                    <a:lnTo>
                      <a:pt x="10" y="18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62" name="Freeform 1017"/>
              <p:cNvSpPr>
                <a:spLocks/>
              </p:cNvSpPr>
              <p:nvPr/>
            </p:nvSpPr>
            <p:spPr bwMode="auto">
              <a:xfrm>
                <a:off x="5256568" y="1348512"/>
                <a:ext cx="246326" cy="226540"/>
              </a:xfrm>
              <a:custGeom>
                <a:avLst/>
                <a:gdLst>
                  <a:gd name="T0" fmla="*/ 43 w 249"/>
                  <a:gd name="T1" fmla="*/ 223 h 229"/>
                  <a:gd name="T2" fmla="*/ 34 w 249"/>
                  <a:gd name="T3" fmla="*/ 221 h 229"/>
                  <a:gd name="T4" fmla="*/ 11 w 249"/>
                  <a:gd name="T5" fmla="*/ 213 h 229"/>
                  <a:gd name="T6" fmla="*/ 11 w 249"/>
                  <a:gd name="T7" fmla="*/ 200 h 229"/>
                  <a:gd name="T8" fmla="*/ 5 w 249"/>
                  <a:gd name="T9" fmla="*/ 197 h 229"/>
                  <a:gd name="T10" fmla="*/ 16 w 249"/>
                  <a:gd name="T11" fmla="*/ 187 h 229"/>
                  <a:gd name="T12" fmla="*/ 29 w 249"/>
                  <a:gd name="T13" fmla="*/ 186 h 229"/>
                  <a:gd name="T14" fmla="*/ 30 w 249"/>
                  <a:gd name="T15" fmla="*/ 181 h 229"/>
                  <a:gd name="T16" fmla="*/ 27 w 249"/>
                  <a:gd name="T17" fmla="*/ 168 h 229"/>
                  <a:gd name="T18" fmla="*/ 37 w 249"/>
                  <a:gd name="T19" fmla="*/ 167 h 229"/>
                  <a:gd name="T20" fmla="*/ 33 w 249"/>
                  <a:gd name="T21" fmla="*/ 157 h 229"/>
                  <a:gd name="T22" fmla="*/ 37 w 249"/>
                  <a:gd name="T23" fmla="*/ 151 h 229"/>
                  <a:gd name="T24" fmla="*/ 39 w 249"/>
                  <a:gd name="T25" fmla="*/ 139 h 229"/>
                  <a:gd name="T26" fmla="*/ 37 w 249"/>
                  <a:gd name="T27" fmla="*/ 134 h 229"/>
                  <a:gd name="T28" fmla="*/ 47 w 249"/>
                  <a:gd name="T29" fmla="*/ 132 h 229"/>
                  <a:gd name="T30" fmla="*/ 56 w 249"/>
                  <a:gd name="T31" fmla="*/ 118 h 229"/>
                  <a:gd name="T32" fmla="*/ 66 w 249"/>
                  <a:gd name="T33" fmla="*/ 112 h 229"/>
                  <a:gd name="T34" fmla="*/ 66 w 249"/>
                  <a:gd name="T35" fmla="*/ 102 h 229"/>
                  <a:gd name="T36" fmla="*/ 84 w 249"/>
                  <a:gd name="T37" fmla="*/ 89 h 229"/>
                  <a:gd name="T38" fmla="*/ 86 w 249"/>
                  <a:gd name="T39" fmla="*/ 83 h 229"/>
                  <a:gd name="T40" fmla="*/ 92 w 249"/>
                  <a:gd name="T41" fmla="*/ 84 h 229"/>
                  <a:gd name="T42" fmla="*/ 111 w 249"/>
                  <a:gd name="T43" fmla="*/ 67 h 229"/>
                  <a:gd name="T44" fmla="*/ 113 w 249"/>
                  <a:gd name="T45" fmla="*/ 57 h 229"/>
                  <a:gd name="T46" fmla="*/ 121 w 249"/>
                  <a:gd name="T47" fmla="*/ 54 h 229"/>
                  <a:gd name="T48" fmla="*/ 136 w 249"/>
                  <a:gd name="T49" fmla="*/ 58 h 229"/>
                  <a:gd name="T50" fmla="*/ 146 w 249"/>
                  <a:gd name="T51" fmla="*/ 51 h 229"/>
                  <a:gd name="T52" fmla="*/ 155 w 249"/>
                  <a:gd name="T53" fmla="*/ 61 h 229"/>
                  <a:gd name="T54" fmla="*/ 163 w 249"/>
                  <a:gd name="T55" fmla="*/ 57 h 229"/>
                  <a:gd name="T56" fmla="*/ 188 w 249"/>
                  <a:gd name="T57" fmla="*/ 44 h 229"/>
                  <a:gd name="T58" fmla="*/ 204 w 249"/>
                  <a:gd name="T59" fmla="*/ 32 h 229"/>
                  <a:gd name="T60" fmla="*/ 212 w 249"/>
                  <a:gd name="T61" fmla="*/ 13 h 229"/>
                  <a:gd name="T62" fmla="*/ 218 w 249"/>
                  <a:gd name="T63" fmla="*/ 3 h 229"/>
                  <a:gd name="T64" fmla="*/ 227 w 249"/>
                  <a:gd name="T65" fmla="*/ 3 h 229"/>
                  <a:gd name="T66" fmla="*/ 240 w 249"/>
                  <a:gd name="T67" fmla="*/ 5 h 229"/>
                  <a:gd name="T68" fmla="*/ 243 w 249"/>
                  <a:gd name="T69" fmla="*/ 16 h 229"/>
                  <a:gd name="T70" fmla="*/ 246 w 249"/>
                  <a:gd name="T71" fmla="*/ 28 h 229"/>
                  <a:gd name="T72" fmla="*/ 247 w 249"/>
                  <a:gd name="T73" fmla="*/ 45 h 229"/>
                  <a:gd name="T74" fmla="*/ 241 w 249"/>
                  <a:gd name="T75" fmla="*/ 54 h 229"/>
                  <a:gd name="T76" fmla="*/ 244 w 249"/>
                  <a:gd name="T77" fmla="*/ 67 h 229"/>
                  <a:gd name="T78" fmla="*/ 224 w 249"/>
                  <a:gd name="T79" fmla="*/ 82 h 229"/>
                  <a:gd name="T80" fmla="*/ 202 w 249"/>
                  <a:gd name="T81" fmla="*/ 92 h 229"/>
                  <a:gd name="T82" fmla="*/ 175 w 249"/>
                  <a:gd name="T83" fmla="*/ 90 h 229"/>
                  <a:gd name="T84" fmla="*/ 150 w 249"/>
                  <a:gd name="T85" fmla="*/ 112 h 229"/>
                  <a:gd name="T86" fmla="*/ 134 w 249"/>
                  <a:gd name="T87" fmla="*/ 128 h 229"/>
                  <a:gd name="T88" fmla="*/ 128 w 249"/>
                  <a:gd name="T89" fmla="*/ 124 h 229"/>
                  <a:gd name="T90" fmla="*/ 123 w 249"/>
                  <a:gd name="T91" fmla="*/ 139 h 229"/>
                  <a:gd name="T92" fmla="*/ 117 w 249"/>
                  <a:gd name="T93" fmla="*/ 144 h 229"/>
                  <a:gd name="T94" fmla="*/ 102 w 249"/>
                  <a:gd name="T95" fmla="*/ 141 h 229"/>
                  <a:gd name="T96" fmla="*/ 102 w 249"/>
                  <a:gd name="T97" fmla="*/ 151 h 229"/>
                  <a:gd name="T98" fmla="*/ 92 w 249"/>
                  <a:gd name="T99" fmla="*/ 154 h 229"/>
                  <a:gd name="T100" fmla="*/ 94 w 249"/>
                  <a:gd name="T101" fmla="*/ 160 h 229"/>
                  <a:gd name="T102" fmla="*/ 86 w 249"/>
                  <a:gd name="T103" fmla="*/ 164 h 229"/>
                  <a:gd name="T104" fmla="*/ 84 w 249"/>
                  <a:gd name="T105" fmla="*/ 177 h 229"/>
                  <a:gd name="T106" fmla="*/ 75 w 249"/>
                  <a:gd name="T107" fmla="*/ 180 h 229"/>
                  <a:gd name="T108" fmla="*/ 68 w 249"/>
                  <a:gd name="T109" fmla="*/ 187 h 229"/>
                  <a:gd name="T110" fmla="*/ 72 w 249"/>
                  <a:gd name="T111" fmla="*/ 197 h 229"/>
                  <a:gd name="T112" fmla="*/ 71 w 249"/>
                  <a:gd name="T113" fmla="*/ 203 h 229"/>
                  <a:gd name="T114" fmla="*/ 58 w 249"/>
                  <a:gd name="T115" fmla="*/ 205 h 229"/>
                  <a:gd name="T116" fmla="*/ 62 w 249"/>
                  <a:gd name="T117" fmla="*/ 216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9" h="229">
                    <a:moveTo>
                      <a:pt x="55" y="229"/>
                    </a:moveTo>
                    <a:lnTo>
                      <a:pt x="55" y="229"/>
                    </a:lnTo>
                    <a:lnTo>
                      <a:pt x="50" y="229"/>
                    </a:lnTo>
                    <a:lnTo>
                      <a:pt x="47" y="228"/>
                    </a:lnTo>
                    <a:lnTo>
                      <a:pt x="44" y="225"/>
                    </a:lnTo>
                    <a:lnTo>
                      <a:pt x="43" y="223"/>
                    </a:lnTo>
                    <a:lnTo>
                      <a:pt x="43" y="223"/>
                    </a:lnTo>
                    <a:lnTo>
                      <a:pt x="42" y="222"/>
                    </a:lnTo>
                    <a:lnTo>
                      <a:pt x="39" y="222"/>
                    </a:lnTo>
                    <a:lnTo>
                      <a:pt x="36" y="221"/>
                    </a:lnTo>
                    <a:lnTo>
                      <a:pt x="34" y="221"/>
                    </a:lnTo>
                    <a:lnTo>
                      <a:pt x="34" y="221"/>
                    </a:lnTo>
                    <a:lnTo>
                      <a:pt x="30" y="218"/>
                    </a:lnTo>
                    <a:lnTo>
                      <a:pt x="24" y="215"/>
                    </a:lnTo>
                    <a:lnTo>
                      <a:pt x="24" y="215"/>
                    </a:lnTo>
                    <a:lnTo>
                      <a:pt x="17" y="215"/>
                    </a:lnTo>
                    <a:lnTo>
                      <a:pt x="13" y="213"/>
                    </a:lnTo>
                    <a:lnTo>
                      <a:pt x="11" y="213"/>
                    </a:lnTo>
                    <a:lnTo>
                      <a:pt x="11" y="213"/>
                    </a:lnTo>
                    <a:lnTo>
                      <a:pt x="13" y="206"/>
                    </a:lnTo>
                    <a:lnTo>
                      <a:pt x="13" y="202"/>
                    </a:lnTo>
                    <a:lnTo>
                      <a:pt x="13" y="200"/>
                    </a:lnTo>
                    <a:lnTo>
                      <a:pt x="11" y="200"/>
                    </a:lnTo>
                    <a:lnTo>
                      <a:pt x="11" y="200"/>
                    </a:lnTo>
                    <a:lnTo>
                      <a:pt x="2" y="206"/>
                    </a:lnTo>
                    <a:lnTo>
                      <a:pt x="0" y="208"/>
                    </a:lnTo>
                    <a:lnTo>
                      <a:pt x="0" y="206"/>
                    </a:lnTo>
                    <a:lnTo>
                      <a:pt x="0" y="205"/>
                    </a:lnTo>
                    <a:lnTo>
                      <a:pt x="0" y="205"/>
                    </a:lnTo>
                    <a:lnTo>
                      <a:pt x="5" y="197"/>
                    </a:lnTo>
                    <a:lnTo>
                      <a:pt x="8" y="196"/>
                    </a:lnTo>
                    <a:lnTo>
                      <a:pt x="11" y="195"/>
                    </a:lnTo>
                    <a:lnTo>
                      <a:pt x="11" y="195"/>
                    </a:lnTo>
                    <a:lnTo>
                      <a:pt x="14" y="193"/>
                    </a:lnTo>
                    <a:lnTo>
                      <a:pt x="16" y="192"/>
                    </a:lnTo>
                    <a:lnTo>
                      <a:pt x="16" y="187"/>
                    </a:lnTo>
                    <a:lnTo>
                      <a:pt x="16" y="187"/>
                    </a:lnTo>
                    <a:lnTo>
                      <a:pt x="18" y="183"/>
                    </a:lnTo>
                    <a:lnTo>
                      <a:pt x="23" y="183"/>
                    </a:lnTo>
                    <a:lnTo>
                      <a:pt x="23" y="183"/>
                    </a:lnTo>
                    <a:lnTo>
                      <a:pt x="26" y="183"/>
                    </a:lnTo>
                    <a:lnTo>
                      <a:pt x="29" y="186"/>
                    </a:lnTo>
                    <a:lnTo>
                      <a:pt x="31" y="187"/>
                    </a:lnTo>
                    <a:lnTo>
                      <a:pt x="31" y="187"/>
                    </a:lnTo>
                    <a:lnTo>
                      <a:pt x="33" y="187"/>
                    </a:lnTo>
                    <a:lnTo>
                      <a:pt x="33" y="187"/>
                    </a:lnTo>
                    <a:lnTo>
                      <a:pt x="31" y="184"/>
                    </a:lnTo>
                    <a:lnTo>
                      <a:pt x="30" y="181"/>
                    </a:lnTo>
                    <a:lnTo>
                      <a:pt x="29" y="180"/>
                    </a:lnTo>
                    <a:lnTo>
                      <a:pt x="30" y="177"/>
                    </a:lnTo>
                    <a:lnTo>
                      <a:pt x="30" y="177"/>
                    </a:lnTo>
                    <a:lnTo>
                      <a:pt x="30" y="174"/>
                    </a:lnTo>
                    <a:lnTo>
                      <a:pt x="29" y="171"/>
                    </a:lnTo>
                    <a:lnTo>
                      <a:pt x="27" y="168"/>
                    </a:lnTo>
                    <a:lnTo>
                      <a:pt x="27" y="168"/>
                    </a:lnTo>
                    <a:lnTo>
                      <a:pt x="29" y="167"/>
                    </a:lnTo>
                    <a:lnTo>
                      <a:pt x="29" y="167"/>
                    </a:lnTo>
                    <a:lnTo>
                      <a:pt x="31" y="167"/>
                    </a:lnTo>
                    <a:lnTo>
                      <a:pt x="36" y="167"/>
                    </a:lnTo>
                    <a:lnTo>
                      <a:pt x="37" y="167"/>
                    </a:lnTo>
                    <a:lnTo>
                      <a:pt x="37" y="166"/>
                    </a:lnTo>
                    <a:lnTo>
                      <a:pt x="37" y="166"/>
                    </a:lnTo>
                    <a:lnTo>
                      <a:pt x="33" y="161"/>
                    </a:lnTo>
                    <a:lnTo>
                      <a:pt x="31" y="158"/>
                    </a:lnTo>
                    <a:lnTo>
                      <a:pt x="33" y="157"/>
                    </a:lnTo>
                    <a:lnTo>
                      <a:pt x="33" y="157"/>
                    </a:lnTo>
                    <a:lnTo>
                      <a:pt x="37" y="155"/>
                    </a:lnTo>
                    <a:lnTo>
                      <a:pt x="40" y="155"/>
                    </a:lnTo>
                    <a:lnTo>
                      <a:pt x="42" y="154"/>
                    </a:lnTo>
                    <a:lnTo>
                      <a:pt x="42" y="154"/>
                    </a:lnTo>
                    <a:lnTo>
                      <a:pt x="40" y="152"/>
                    </a:lnTo>
                    <a:lnTo>
                      <a:pt x="37" y="151"/>
                    </a:lnTo>
                    <a:lnTo>
                      <a:pt x="36" y="148"/>
                    </a:lnTo>
                    <a:lnTo>
                      <a:pt x="36" y="147"/>
                    </a:lnTo>
                    <a:lnTo>
                      <a:pt x="36" y="147"/>
                    </a:lnTo>
                    <a:lnTo>
                      <a:pt x="39" y="142"/>
                    </a:lnTo>
                    <a:lnTo>
                      <a:pt x="40" y="139"/>
                    </a:lnTo>
                    <a:lnTo>
                      <a:pt x="39" y="139"/>
                    </a:lnTo>
                    <a:lnTo>
                      <a:pt x="39" y="139"/>
                    </a:lnTo>
                    <a:lnTo>
                      <a:pt x="36" y="138"/>
                    </a:lnTo>
                    <a:lnTo>
                      <a:pt x="34" y="138"/>
                    </a:lnTo>
                    <a:lnTo>
                      <a:pt x="36" y="137"/>
                    </a:lnTo>
                    <a:lnTo>
                      <a:pt x="36" y="137"/>
                    </a:lnTo>
                    <a:lnTo>
                      <a:pt x="37" y="134"/>
                    </a:lnTo>
                    <a:lnTo>
                      <a:pt x="40" y="132"/>
                    </a:lnTo>
                    <a:lnTo>
                      <a:pt x="42" y="132"/>
                    </a:lnTo>
                    <a:lnTo>
                      <a:pt x="42" y="132"/>
                    </a:lnTo>
                    <a:lnTo>
                      <a:pt x="44" y="134"/>
                    </a:lnTo>
                    <a:lnTo>
                      <a:pt x="46" y="134"/>
                    </a:lnTo>
                    <a:lnTo>
                      <a:pt x="47" y="132"/>
                    </a:lnTo>
                    <a:lnTo>
                      <a:pt x="47" y="132"/>
                    </a:lnTo>
                    <a:lnTo>
                      <a:pt x="53" y="124"/>
                    </a:lnTo>
                    <a:lnTo>
                      <a:pt x="56" y="119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5" y="116"/>
                    </a:lnTo>
                    <a:lnTo>
                      <a:pt x="56" y="115"/>
                    </a:lnTo>
                    <a:lnTo>
                      <a:pt x="62" y="112"/>
                    </a:lnTo>
                    <a:lnTo>
                      <a:pt x="62" y="112"/>
                    </a:lnTo>
                    <a:lnTo>
                      <a:pt x="65" y="112"/>
                    </a:lnTo>
                    <a:lnTo>
                      <a:pt x="66" y="112"/>
                    </a:lnTo>
                    <a:lnTo>
                      <a:pt x="66" y="110"/>
                    </a:lnTo>
                    <a:lnTo>
                      <a:pt x="66" y="110"/>
                    </a:lnTo>
                    <a:lnTo>
                      <a:pt x="66" y="109"/>
                    </a:lnTo>
                    <a:lnTo>
                      <a:pt x="65" y="106"/>
                    </a:lnTo>
                    <a:lnTo>
                      <a:pt x="63" y="105"/>
                    </a:lnTo>
                    <a:lnTo>
                      <a:pt x="66" y="102"/>
                    </a:lnTo>
                    <a:lnTo>
                      <a:pt x="66" y="102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82" y="92"/>
                    </a:lnTo>
                    <a:lnTo>
                      <a:pt x="84" y="90"/>
                    </a:lnTo>
                    <a:lnTo>
                      <a:pt x="84" y="89"/>
                    </a:lnTo>
                    <a:lnTo>
                      <a:pt x="84" y="89"/>
                    </a:lnTo>
                    <a:lnTo>
                      <a:pt x="84" y="84"/>
                    </a:lnTo>
                    <a:lnTo>
                      <a:pt x="84" y="83"/>
                    </a:lnTo>
                    <a:lnTo>
                      <a:pt x="85" y="82"/>
                    </a:lnTo>
                    <a:lnTo>
                      <a:pt x="85" y="82"/>
                    </a:lnTo>
                    <a:lnTo>
                      <a:pt x="86" y="83"/>
                    </a:lnTo>
                    <a:lnTo>
                      <a:pt x="86" y="84"/>
                    </a:lnTo>
                    <a:lnTo>
                      <a:pt x="88" y="86"/>
                    </a:lnTo>
                    <a:lnTo>
                      <a:pt x="89" y="87"/>
                    </a:lnTo>
                    <a:lnTo>
                      <a:pt x="89" y="87"/>
                    </a:lnTo>
                    <a:lnTo>
                      <a:pt x="91" y="86"/>
                    </a:lnTo>
                    <a:lnTo>
                      <a:pt x="92" y="84"/>
                    </a:lnTo>
                    <a:lnTo>
                      <a:pt x="92" y="84"/>
                    </a:lnTo>
                    <a:lnTo>
                      <a:pt x="95" y="83"/>
                    </a:lnTo>
                    <a:lnTo>
                      <a:pt x="95" y="83"/>
                    </a:lnTo>
                    <a:lnTo>
                      <a:pt x="98" y="80"/>
                    </a:lnTo>
                    <a:lnTo>
                      <a:pt x="104" y="76"/>
                    </a:lnTo>
                    <a:lnTo>
                      <a:pt x="111" y="67"/>
                    </a:lnTo>
                    <a:lnTo>
                      <a:pt x="111" y="67"/>
                    </a:lnTo>
                    <a:lnTo>
                      <a:pt x="115" y="63"/>
                    </a:lnTo>
                    <a:lnTo>
                      <a:pt x="115" y="61"/>
                    </a:lnTo>
                    <a:lnTo>
                      <a:pt x="115" y="60"/>
                    </a:lnTo>
                    <a:lnTo>
                      <a:pt x="115" y="60"/>
                    </a:lnTo>
                    <a:lnTo>
                      <a:pt x="113" y="57"/>
                    </a:lnTo>
                    <a:lnTo>
                      <a:pt x="113" y="55"/>
                    </a:lnTo>
                    <a:lnTo>
                      <a:pt x="115" y="55"/>
                    </a:lnTo>
                    <a:lnTo>
                      <a:pt x="115" y="55"/>
                    </a:lnTo>
                    <a:lnTo>
                      <a:pt x="120" y="55"/>
                    </a:lnTo>
                    <a:lnTo>
                      <a:pt x="121" y="54"/>
                    </a:lnTo>
                    <a:lnTo>
                      <a:pt x="121" y="54"/>
                    </a:lnTo>
                    <a:lnTo>
                      <a:pt x="126" y="51"/>
                    </a:lnTo>
                    <a:lnTo>
                      <a:pt x="127" y="50"/>
                    </a:lnTo>
                    <a:lnTo>
                      <a:pt x="128" y="51"/>
                    </a:lnTo>
                    <a:lnTo>
                      <a:pt x="128" y="51"/>
                    </a:lnTo>
                    <a:lnTo>
                      <a:pt x="133" y="55"/>
                    </a:lnTo>
                    <a:lnTo>
                      <a:pt x="136" y="58"/>
                    </a:lnTo>
                    <a:lnTo>
                      <a:pt x="139" y="58"/>
                    </a:lnTo>
                    <a:lnTo>
                      <a:pt x="139" y="58"/>
                    </a:lnTo>
                    <a:lnTo>
                      <a:pt x="142" y="57"/>
                    </a:lnTo>
                    <a:lnTo>
                      <a:pt x="144" y="55"/>
                    </a:lnTo>
                    <a:lnTo>
                      <a:pt x="144" y="55"/>
                    </a:lnTo>
                    <a:lnTo>
                      <a:pt x="146" y="51"/>
                    </a:lnTo>
                    <a:lnTo>
                      <a:pt x="147" y="50"/>
                    </a:lnTo>
                    <a:lnTo>
                      <a:pt x="147" y="51"/>
                    </a:lnTo>
                    <a:lnTo>
                      <a:pt x="147" y="51"/>
                    </a:lnTo>
                    <a:lnTo>
                      <a:pt x="150" y="58"/>
                    </a:lnTo>
                    <a:lnTo>
                      <a:pt x="152" y="60"/>
                    </a:lnTo>
                    <a:lnTo>
                      <a:pt x="155" y="61"/>
                    </a:lnTo>
                    <a:lnTo>
                      <a:pt x="155" y="61"/>
                    </a:lnTo>
                    <a:lnTo>
                      <a:pt x="156" y="60"/>
                    </a:lnTo>
                    <a:lnTo>
                      <a:pt x="157" y="58"/>
                    </a:lnTo>
                    <a:lnTo>
                      <a:pt x="159" y="57"/>
                    </a:lnTo>
                    <a:lnTo>
                      <a:pt x="163" y="57"/>
                    </a:lnTo>
                    <a:lnTo>
                      <a:pt x="163" y="57"/>
                    </a:lnTo>
                    <a:lnTo>
                      <a:pt x="169" y="57"/>
                    </a:lnTo>
                    <a:lnTo>
                      <a:pt x="175" y="55"/>
                    </a:lnTo>
                    <a:lnTo>
                      <a:pt x="179" y="53"/>
                    </a:lnTo>
                    <a:lnTo>
                      <a:pt x="184" y="50"/>
                    </a:lnTo>
                    <a:lnTo>
                      <a:pt x="184" y="50"/>
                    </a:lnTo>
                    <a:lnTo>
                      <a:pt x="188" y="44"/>
                    </a:lnTo>
                    <a:lnTo>
                      <a:pt x="191" y="42"/>
                    </a:lnTo>
                    <a:lnTo>
                      <a:pt x="194" y="41"/>
                    </a:lnTo>
                    <a:lnTo>
                      <a:pt x="194" y="41"/>
                    </a:lnTo>
                    <a:lnTo>
                      <a:pt x="197" y="40"/>
                    </a:lnTo>
                    <a:lnTo>
                      <a:pt x="201" y="37"/>
                    </a:lnTo>
                    <a:lnTo>
                      <a:pt x="204" y="32"/>
                    </a:lnTo>
                    <a:lnTo>
                      <a:pt x="205" y="28"/>
                    </a:lnTo>
                    <a:lnTo>
                      <a:pt x="205" y="28"/>
                    </a:lnTo>
                    <a:lnTo>
                      <a:pt x="207" y="24"/>
                    </a:lnTo>
                    <a:lnTo>
                      <a:pt x="210" y="21"/>
                    </a:lnTo>
                    <a:lnTo>
                      <a:pt x="211" y="16"/>
                    </a:lnTo>
                    <a:lnTo>
                      <a:pt x="212" y="13"/>
                    </a:lnTo>
                    <a:lnTo>
                      <a:pt x="212" y="13"/>
                    </a:lnTo>
                    <a:lnTo>
                      <a:pt x="212" y="9"/>
                    </a:lnTo>
                    <a:lnTo>
                      <a:pt x="211" y="6"/>
                    </a:lnTo>
                    <a:lnTo>
                      <a:pt x="212" y="5"/>
                    </a:lnTo>
                    <a:lnTo>
                      <a:pt x="212" y="5"/>
                    </a:lnTo>
                    <a:lnTo>
                      <a:pt x="218" y="3"/>
                    </a:lnTo>
                    <a:lnTo>
                      <a:pt x="221" y="2"/>
                    </a:lnTo>
                    <a:lnTo>
                      <a:pt x="223" y="2"/>
                    </a:lnTo>
                    <a:lnTo>
                      <a:pt x="223" y="2"/>
                    </a:lnTo>
                    <a:lnTo>
                      <a:pt x="224" y="5"/>
                    </a:lnTo>
                    <a:lnTo>
                      <a:pt x="226" y="5"/>
                    </a:lnTo>
                    <a:lnTo>
                      <a:pt x="227" y="3"/>
                    </a:lnTo>
                    <a:lnTo>
                      <a:pt x="227" y="3"/>
                    </a:lnTo>
                    <a:lnTo>
                      <a:pt x="228" y="2"/>
                    </a:lnTo>
                    <a:lnTo>
                      <a:pt x="230" y="0"/>
                    </a:lnTo>
                    <a:lnTo>
                      <a:pt x="233" y="2"/>
                    </a:lnTo>
                    <a:lnTo>
                      <a:pt x="233" y="2"/>
                    </a:lnTo>
                    <a:lnTo>
                      <a:pt x="240" y="5"/>
                    </a:lnTo>
                    <a:lnTo>
                      <a:pt x="241" y="6"/>
                    </a:lnTo>
                    <a:lnTo>
                      <a:pt x="241" y="8"/>
                    </a:lnTo>
                    <a:lnTo>
                      <a:pt x="241" y="8"/>
                    </a:lnTo>
                    <a:lnTo>
                      <a:pt x="241" y="12"/>
                    </a:lnTo>
                    <a:lnTo>
                      <a:pt x="241" y="13"/>
                    </a:lnTo>
                    <a:lnTo>
                      <a:pt x="243" y="16"/>
                    </a:lnTo>
                    <a:lnTo>
                      <a:pt x="243" y="16"/>
                    </a:lnTo>
                    <a:lnTo>
                      <a:pt x="247" y="21"/>
                    </a:lnTo>
                    <a:lnTo>
                      <a:pt x="249" y="24"/>
                    </a:lnTo>
                    <a:lnTo>
                      <a:pt x="249" y="25"/>
                    </a:lnTo>
                    <a:lnTo>
                      <a:pt x="249" y="25"/>
                    </a:lnTo>
                    <a:lnTo>
                      <a:pt x="246" y="28"/>
                    </a:lnTo>
                    <a:lnTo>
                      <a:pt x="244" y="29"/>
                    </a:lnTo>
                    <a:lnTo>
                      <a:pt x="244" y="31"/>
                    </a:lnTo>
                    <a:lnTo>
                      <a:pt x="244" y="31"/>
                    </a:lnTo>
                    <a:lnTo>
                      <a:pt x="244" y="38"/>
                    </a:lnTo>
                    <a:lnTo>
                      <a:pt x="246" y="42"/>
                    </a:lnTo>
                    <a:lnTo>
                      <a:pt x="247" y="45"/>
                    </a:lnTo>
                    <a:lnTo>
                      <a:pt x="247" y="45"/>
                    </a:lnTo>
                    <a:lnTo>
                      <a:pt x="247" y="47"/>
                    </a:lnTo>
                    <a:lnTo>
                      <a:pt x="247" y="47"/>
                    </a:lnTo>
                    <a:lnTo>
                      <a:pt x="244" y="50"/>
                    </a:lnTo>
                    <a:lnTo>
                      <a:pt x="244" y="50"/>
                    </a:lnTo>
                    <a:lnTo>
                      <a:pt x="241" y="54"/>
                    </a:lnTo>
                    <a:lnTo>
                      <a:pt x="240" y="60"/>
                    </a:lnTo>
                    <a:lnTo>
                      <a:pt x="240" y="60"/>
                    </a:lnTo>
                    <a:lnTo>
                      <a:pt x="241" y="64"/>
                    </a:lnTo>
                    <a:lnTo>
                      <a:pt x="243" y="66"/>
                    </a:lnTo>
                    <a:lnTo>
                      <a:pt x="244" y="67"/>
                    </a:lnTo>
                    <a:lnTo>
                      <a:pt x="244" y="67"/>
                    </a:lnTo>
                    <a:lnTo>
                      <a:pt x="243" y="68"/>
                    </a:lnTo>
                    <a:lnTo>
                      <a:pt x="237" y="73"/>
                    </a:lnTo>
                    <a:lnTo>
                      <a:pt x="237" y="73"/>
                    </a:lnTo>
                    <a:lnTo>
                      <a:pt x="231" y="76"/>
                    </a:lnTo>
                    <a:lnTo>
                      <a:pt x="224" y="82"/>
                    </a:lnTo>
                    <a:lnTo>
                      <a:pt x="224" y="82"/>
                    </a:lnTo>
                    <a:lnTo>
                      <a:pt x="221" y="84"/>
                    </a:lnTo>
                    <a:lnTo>
                      <a:pt x="217" y="89"/>
                    </a:lnTo>
                    <a:lnTo>
                      <a:pt x="217" y="89"/>
                    </a:lnTo>
                    <a:lnTo>
                      <a:pt x="210" y="92"/>
                    </a:lnTo>
                    <a:lnTo>
                      <a:pt x="205" y="92"/>
                    </a:lnTo>
                    <a:lnTo>
                      <a:pt x="202" y="92"/>
                    </a:lnTo>
                    <a:lnTo>
                      <a:pt x="202" y="92"/>
                    </a:lnTo>
                    <a:lnTo>
                      <a:pt x="194" y="89"/>
                    </a:lnTo>
                    <a:lnTo>
                      <a:pt x="186" y="86"/>
                    </a:lnTo>
                    <a:lnTo>
                      <a:pt x="186" y="86"/>
                    </a:lnTo>
                    <a:lnTo>
                      <a:pt x="179" y="89"/>
                    </a:lnTo>
                    <a:lnTo>
                      <a:pt x="175" y="90"/>
                    </a:lnTo>
                    <a:lnTo>
                      <a:pt x="172" y="95"/>
                    </a:lnTo>
                    <a:lnTo>
                      <a:pt x="172" y="95"/>
                    </a:lnTo>
                    <a:lnTo>
                      <a:pt x="166" y="102"/>
                    </a:lnTo>
                    <a:lnTo>
                      <a:pt x="159" y="106"/>
                    </a:lnTo>
                    <a:lnTo>
                      <a:pt x="159" y="106"/>
                    </a:lnTo>
                    <a:lnTo>
                      <a:pt x="150" y="112"/>
                    </a:lnTo>
                    <a:lnTo>
                      <a:pt x="143" y="119"/>
                    </a:lnTo>
                    <a:lnTo>
                      <a:pt x="143" y="119"/>
                    </a:lnTo>
                    <a:lnTo>
                      <a:pt x="139" y="122"/>
                    </a:lnTo>
                    <a:lnTo>
                      <a:pt x="139" y="122"/>
                    </a:lnTo>
                    <a:lnTo>
                      <a:pt x="136" y="126"/>
                    </a:lnTo>
                    <a:lnTo>
                      <a:pt x="134" y="128"/>
                    </a:lnTo>
                    <a:lnTo>
                      <a:pt x="133" y="126"/>
                    </a:lnTo>
                    <a:lnTo>
                      <a:pt x="133" y="126"/>
                    </a:lnTo>
                    <a:lnTo>
                      <a:pt x="131" y="124"/>
                    </a:lnTo>
                    <a:lnTo>
                      <a:pt x="130" y="124"/>
                    </a:lnTo>
                    <a:lnTo>
                      <a:pt x="128" y="124"/>
                    </a:lnTo>
                    <a:lnTo>
                      <a:pt x="128" y="124"/>
                    </a:lnTo>
                    <a:lnTo>
                      <a:pt x="128" y="128"/>
                    </a:lnTo>
                    <a:lnTo>
                      <a:pt x="127" y="132"/>
                    </a:lnTo>
                    <a:lnTo>
                      <a:pt x="126" y="137"/>
                    </a:lnTo>
                    <a:lnTo>
                      <a:pt x="124" y="139"/>
                    </a:lnTo>
                    <a:lnTo>
                      <a:pt x="124" y="139"/>
                    </a:lnTo>
                    <a:lnTo>
                      <a:pt x="123" y="139"/>
                    </a:lnTo>
                    <a:lnTo>
                      <a:pt x="121" y="139"/>
                    </a:lnTo>
                    <a:lnTo>
                      <a:pt x="120" y="138"/>
                    </a:lnTo>
                    <a:lnTo>
                      <a:pt x="118" y="139"/>
                    </a:lnTo>
                    <a:lnTo>
                      <a:pt x="118" y="139"/>
                    </a:lnTo>
                    <a:lnTo>
                      <a:pt x="118" y="142"/>
                    </a:lnTo>
                    <a:lnTo>
                      <a:pt x="117" y="144"/>
                    </a:lnTo>
                    <a:lnTo>
                      <a:pt x="114" y="144"/>
                    </a:lnTo>
                    <a:lnTo>
                      <a:pt x="114" y="144"/>
                    </a:lnTo>
                    <a:lnTo>
                      <a:pt x="107" y="141"/>
                    </a:lnTo>
                    <a:lnTo>
                      <a:pt x="104" y="139"/>
                    </a:lnTo>
                    <a:lnTo>
                      <a:pt x="102" y="139"/>
                    </a:lnTo>
                    <a:lnTo>
                      <a:pt x="102" y="141"/>
                    </a:lnTo>
                    <a:lnTo>
                      <a:pt x="102" y="141"/>
                    </a:lnTo>
                    <a:lnTo>
                      <a:pt x="104" y="145"/>
                    </a:lnTo>
                    <a:lnTo>
                      <a:pt x="105" y="148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2" y="151"/>
                    </a:lnTo>
                    <a:lnTo>
                      <a:pt x="101" y="151"/>
                    </a:lnTo>
                    <a:lnTo>
                      <a:pt x="98" y="151"/>
                    </a:lnTo>
                    <a:lnTo>
                      <a:pt x="98" y="151"/>
                    </a:lnTo>
                    <a:lnTo>
                      <a:pt x="95" y="152"/>
                    </a:lnTo>
                    <a:lnTo>
                      <a:pt x="92" y="154"/>
                    </a:lnTo>
                    <a:lnTo>
                      <a:pt x="92" y="154"/>
                    </a:lnTo>
                    <a:lnTo>
                      <a:pt x="89" y="155"/>
                    </a:lnTo>
                    <a:lnTo>
                      <a:pt x="88" y="157"/>
                    </a:lnTo>
                    <a:lnTo>
                      <a:pt x="88" y="157"/>
                    </a:lnTo>
                    <a:lnTo>
                      <a:pt x="89" y="158"/>
                    </a:lnTo>
                    <a:lnTo>
                      <a:pt x="91" y="160"/>
                    </a:lnTo>
                    <a:lnTo>
                      <a:pt x="94" y="160"/>
                    </a:lnTo>
                    <a:lnTo>
                      <a:pt x="94" y="161"/>
                    </a:lnTo>
                    <a:lnTo>
                      <a:pt x="94" y="161"/>
                    </a:lnTo>
                    <a:lnTo>
                      <a:pt x="94" y="163"/>
                    </a:lnTo>
                    <a:lnTo>
                      <a:pt x="91" y="163"/>
                    </a:lnTo>
                    <a:lnTo>
                      <a:pt x="86" y="164"/>
                    </a:lnTo>
                    <a:lnTo>
                      <a:pt x="86" y="164"/>
                    </a:lnTo>
                    <a:lnTo>
                      <a:pt x="85" y="164"/>
                    </a:lnTo>
                    <a:lnTo>
                      <a:pt x="85" y="167"/>
                    </a:lnTo>
                    <a:lnTo>
                      <a:pt x="86" y="174"/>
                    </a:lnTo>
                    <a:lnTo>
                      <a:pt x="86" y="174"/>
                    </a:lnTo>
                    <a:lnTo>
                      <a:pt x="85" y="176"/>
                    </a:lnTo>
                    <a:lnTo>
                      <a:pt x="84" y="177"/>
                    </a:lnTo>
                    <a:lnTo>
                      <a:pt x="81" y="179"/>
                    </a:lnTo>
                    <a:lnTo>
                      <a:pt x="81" y="179"/>
                    </a:lnTo>
                    <a:lnTo>
                      <a:pt x="76" y="179"/>
                    </a:lnTo>
                    <a:lnTo>
                      <a:pt x="75" y="179"/>
                    </a:lnTo>
                    <a:lnTo>
                      <a:pt x="75" y="180"/>
                    </a:lnTo>
                    <a:lnTo>
                      <a:pt x="75" y="180"/>
                    </a:lnTo>
                    <a:lnTo>
                      <a:pt x="78" y="183"/>
                    </a:lnTo>
                    <a:lnTo>
                      <a:pt x="78" y="184"/>
                    </a:lnTo>
                    <a:lnTo>
                      <a:pt x="76" y="186"/>
                    </a:lnTo>
                    <a:lnTo>
                      <a:pt x="76" y="186"/>
                    </a:lnTo>
                    <a:lnTo>
                      <a:pt x="71" y="186"/>
                    </a:lnTo>
                    <a:lnTo>
                      <a:pt x="68" y="187"/>
                    </a:lnTo>
                    <a:lnTo>
                      <a:pt x="69" y="189"/>
                    </a:lnTo>
                    <a:lnTo>
                      <a:pt x="69" y="189"/>
                    </a:lnTo>
                    <a:lnTo>
                      <a:pt x="72" y="193"/>
                    </a:lnTo>
                    <a:lnTo>
                      <a:pt x="73" y="197"/>
                    </a:lnTo>
                    <a:lnTo>
                      <a:pt x="73" y="197"/>
                    </a:lnTo>
                    <a:lnTo>
                      <a:pt x="72" y="197"/>
                    </a:lnTo>
                    <a:lnTo>
                      <a:pt x="71" y="197"/>
                    </a:lnTo>
                    <a:lnTo>
                      <a:pt x="69" y="196"/>
                    </a:lnTo>
                    <a:lnTo>
                      <a:pt x="68" y="197"/>
                    </a:lnTo>
                    <a:lnTo>
                      <a:pt x="68" y="197"/>
                    </a:lnTo>
                    <a:lnTo>
                      <a:pt x="69" y="202"/>
                    </a:lnTo>
                    <a:lnTo>
                      <a:pt x="71" y="203"/>
                    </a:lnTo>
                    <a:lnTo>
                      <a:pt x="71" y="205"/>
                    </a:lnTo>
                    <a:lnTo>
                      <a:pt x="71" y="205"/>
                    </a:lnTo>
                    <a:lnTo>
                      <a:pt x="68" y="206"/>
                    </a:lnTo>
                    <a:lnTo>
                      <a:pt x="63" y="206"/>
                    </a:lnTo>
                    <a:lnTo>
                      <a:pt x="58" y="205"/>
                    </a:lnTo>
                    <a:lnTo>
                      <a:pt x="58" y="205"/>
                    </a:lnTo>
                    <a:lnTo>
                      <a:pt x="58" y="206"/>
                    </a:lnTo>
                    <a:lnTo>
                      <a:pt x="59" y="208"/>
                    </a:lnTo>
                    <a:lnTo>
                      <a:pt x="62" y="210"/>
                    </a:lnTo>
                    <a:lnTo>
                      <a:pt x="62" y="210"/>
                    </a:lnTo>
                    <a:lnTo>
                      <a:pt x="63" y="212"/>
                    </a:lnTo>
                    <a:lnTo>
                      <a:pt x="62" y="216"/>
                    </a:lnTo>
                    <a:lnTo>
                      <a:pt x="60" y="222"/>
                    </a:lnTo>
                    <a:lnTo>
                      <a:pt x="60" y="222"/>
                    </a:lnTo>
                    <a:lnTo>
                      <a:pt x="59" y="226"/>
                    </a:lnTo>
                    <a:lnTo>
                      <a:pt x="56" y="228"/>
                    </a:lnTo>
                    <a:lnTo>
                      <a:pt x="55" y="22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63" name="Freeform 1018"/>
              <p:cNvSpPr>
                <a:spLocks/>
              </p:cNvSpPr>
              <p:nvPr/>
            </p:nvSpPr>
            <p:spPr bwMode="auto">
              <a:xfrm>
                <a:off x="5256568" y="1348512"/>
                <a:ext cx="246326" cy="226540"/>
              </a:xfrm>
              <a:custGeom>
                <a:avLst/>
                <a:gdLst>
                  <a:gd name="T0" fmla="*/ 43 w 249"/>
                  <a:gd name="T1" fmla="*/ 223 h 229"/>
                  <a:gd name="T2" fmla="*/ 34 w 249"/>
                  <a:gd name="T3" fmla="*/ 221 h 229"/>
                  <a:gd name="T4" fmla="*/ 11 w 249"/>
                  <a:gd name="T5" fmla="*/ 213 h 229"/>
                  <a:gd name="T6" fmla="*/ 11 w 249"/>
                  <a:gd name="T7" fmla="*/ 200 h 229"/>
                  <a:gd name="T8" fmla="*/ 5 w 249"/>
                  <a:gd name="T9" fmla="*/ 197 h 229"/>
                  <a:gd name="T10" fmla="*/ 16 w 249"/>
                  <a:gd name="T11" fmla="*/ 187 h 229"/>
                  <a:gd name="T12" fmla="*/ 29 w 249"/>
                  <a:gd name="T13" fmla="*/ 186 h 229"/>
                  <a:gd name="T14" fmla="*/ 30 w 249"/>
                  <a:gd name="T15" fmla="*/ 181 h 229"/>
                  <a:gd name="T16" fmla="*/ 27 w 249"/>
                  <a:gd name="T17" fmla="*/ 168 h 229"/>
                  <a:gd name="T18" fmla="*/ 37 w 249"/>
                  <a:gd name="T19" fmla="*/ 167 h 229"/>
                  <a:gd name="T20" fmla="*/ 33 w 249"/>
                  <a:gd name="T21" fmla="*/ 157 h 229"/>
                  <a:gd name="T22" fmla="*/ 37 w 249"/>
                  <a:gd name="T23" fmla="*/ 151 h 229"/>
                  <a:gd name="T24" fmla="*/ 39 w 249"/>
                  <a:gd name="T25" fmla="*/ 139 h 229"/>
                  <a:gd name="T26" fmla="*/ 37 w 249"/>
                  <a:gd name="T27" fmla="*/ 134 h 229"/>
                  <a:gd name="T28" fmla="*/ 47 w 249"/>
                  <a:gd name="T29" fmla="*/ 132 h 229"/>
                  <a:gd name="T30" fmla="*/ 56 w 249"/>
                  <a:gd name="T31" fmla="*/ 118 h 229"/>
                  <a:gd name="T32" fmla="*/ 66 w 249"/>
                  <a:gd name="T33" fmla="*/ 112 h 229"/>
                  <a:gd name="T34" fmla="*/ 66 w 249"/>
                  <a:gd name="T35" fmla="*/ 102 h 229"/>
                  <a:gd name="T36" fmla="*/ 84 w 249"/>
                  <a:gd name="T37" fmla="*/ 89 h 229"/>
                  <a:gd name="T38" fmla="*/ 86 w 249"/>
                  <a:gd name="T39" fmla="*/ 83 h 229"/>
                  <a:gd name="T40" fmla="*/ 92 w 249"/>
                  <a:gd name="T41" fmla="*/ 84 h 229"/>
                  <a:gd name="T42" fmla="*/ 111 w 249"/>
                  <a:gd name="T43" fmla="*/ 67 h 229"/>
                  <a:gd name="T44" fmla="*/ 113 w 249"/>
                  <a:gd name="T45" fmla="*/ 57 h 229"/>
                  <a:gd name="T46" fmla="*/ 121 w 249"/>
                  <a:gd name="T47" fmla="*/ 54 h 229"/>
                  <a:gd name="T48" fmla="*/ 136 w 249"/>
                  <a:gd name="T49" fmla="*/ 58 h 229"/>
                  <a:gd name="T50" fmla="*/ 146 w 249"/>
                  <a:gd name="T51" fmla="*/ 51 h 229"/>
                  <a:gd name="T52" fmla="*/ 155 w 249"/>
                  <a:gd name="T53" fmla="*/ 61 h 229"/>
                  <a:gd name="T54" fmla="*/ 163 w 249"/>
                  <a:gd name="T55" fmla="*/ 57 h 229"/>
                  <a:gd name="T56" fmla="*/ 188 w 249"/>
                  <a:gd name="T57" fmla="*/ 44 h 229"/>
                  <a:gd name="T58" fmla="*/ 204 w 249"/>
                  <a:gd name="T59" fmla="*/ 32 h 229"/>
                  <a:gd name="T60" fmla="*/ 212 w 249"/>
                  <a:gd name="T61" fmla="*/ 13 h 229"/>
                  <a:gd name="T62" fmla="*/ 218 w 249"/>
                  <a:gd name="T63" fmla="*/ 3 h 229"/>
                  <a:gd name="T64" fmla="*/ 227 w 249"/>
                  <a:gd name="T65" fmla="*/ 3 h 229"/>
                  <a:gd name="T66" fmla="*/ 240 w 249"/>
                  <a:gd name="T67" fmla="*/ 5 h 229"/>
                  <a:gd name="T68" fmla="*/ 243 w 249"/>
                  <a:gd name="T69" fmla="*/ 16 h 229"/>
                  <a:gd name="T70" fmla="*/ 246 w 249"/>
                  <a:gd name="T71" fmla="*/ 28 h 229"/>
                  <a:gd name="T72" fmla="*/ 247 w 249"/>
                  <a:gd name="T73" fmla="*/ 45 h 229"/>
                  <a:gd name="T74" fmla="*/ 241 w 249"/>
                  <a:gd name="T75" fmla="*/ 54 h 229"/>
                  <a:gd name="T76" fmla="*/ 244 w 249"/>
                  <a:gd name="T77" fmla="*/ 67 h 229"/>
                  <a:gd name="T78" fmla="*/ 224 w 249"/>
                  <a:gd name="T79" fmla="*/ 82 h 229"/>
                  <a:gd name="T80" fmla="*/ 202 w 249"/>
                  <a:gd name="T81" fmla="*/ 92 h 229"/>
                  <a:gd name="T82" fmla="*/ 175 w 249"/>
                  <a:gd name="T83" fmla="*/ 90 h 229"/>
                  <a:gd name="T84" fmla="*/ 150 w 249"/>
                  <a:gd name="T85" fmla="*/ 112 h 229"/>
                  <a:gd name="T86" fmla="*/ 134 w 249"/>
                  <a:gd name="T87" fmla="*/ 128 h 229"/>
                  <a:gd name="T88" fmla="*/ 128 w 249"/>
                  <a:gd name="T89" fmla="*/ 124 h 229"/>
                  <a:gd name="T90" fmla="*/ 123 w 249"/>
                  <a:gd name="T91" fmla="*/ 139 h 229"/>
                  <a:gd name="T92" fmla="*/ 117 w 249"/>
                  <a:gd name="T93" fmla="*/ 144 h 229"/>
                  <a:gd name="T94" fmla="*/ 102 w 249"/>
                  <a:gd name="T95" fmla="*/ 141 h 229"/>
                  <a:gd name="T96" fmla="*/ 102 w 249"/>
                  <a:gd name="T97" fmla="*/ 151 h 229"/>
                  <a:gd name="T98" fmla="*/ 92 w 249"/>
                  <a:gd name="T99" fmla="*/ 154 h 229"/>
                  <a:gd name="T100" fmla="*/ 94 w 249"/>
                  <a:gd name="T101" fmla="*/ 160 h 229"/>
                  <a:gd name="T102" fmla="*/ 86 w 249"/>
                  <a:gd name="T103" fmla="*/ 164 h 229"/>
                  <a:gd name="T104" fmla="*/ 84 w 249"/>
                  <a:gd name="T105" fmla="*/ 177 h 229"/>
                  <a:gd name="T106" fmla="*/ 75 w 249"/>
                  <a:gd name="T107" fmla="*/ 180 h 229"/>
                  <a:gd name="T108" fmla="*/ 68 w 249"/>
                  <a:gd name="T109" fmla="*/ 187 h 229"/>
                  <a:gd name="T110" fmla="*/ 72 w 249"/>
                  <a:gd name="T111" fmla="*/ 197 h 229"/>
                  <a:gd name="T112" fmla="*/ 71 w 249"/>
                  <a:gd name="T113" fmla="*/ 203 h 229"/>
                  <a:gd name="T114" fmla="*/ 58 w 249"/>
                  <a:gd name="T115" fmla="*/ 205 h 229"/>
                  <a:gd name="T116" fmla="*/ 62 w 249"/>
                  <a:gd name="T117" fmla="*/ 216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9" h="229">
                    <a:moveTo>
                      <a:pt x="55" y="229"/>
                    </a:moveTo>
                    <a:lnTo>
                      <a:pt x="55" y="229"/>
                    </a:lnTo>
                    <a:lnTo>
                      <a:pt x="50" y="229"/>
                    </a:lnTo>
                    <a:lnTo>
                      <a:pt x="47" y="228"/>
                    </a:lnTo>
                    <a:lnTo>
                      <a:pt x="44" y="225"/>
                    </a:lnTo>
                    <a:lnTo>
                      <a:pt x="43" y="223"/>
                    </a:lnTo>
                    <a:lnTo>
                      <a:pt x="43" y="223"/>
                    </a:lnTo>
                    <a:lnTo>
                      <a:pt x="42" y="222"/>
                    </a:lnTo>
                    <a:lnTo>
                      <a:pt x="39" y="222"/>
                    </a:lnTo>
                    <a:lnTo>
                      <a:pt x="36" y="221"/>
                    </a:lnTo>
                    <a:lnTo>
                      <a:pt x="34" y="221"/>
                    </a:lnTo>
                    <a:lnTo>
                      <a:pt x="34" y="221"/>
                    </a:lnTo>
                    <a:lnTo>
                      <a:pt x="30" y="218"/>
                    </a:lnTo>
                    <a:lnTo>
                      <a:pt x="24" y="215"/>
                    </a:lnTo>
                    <a:lnTo>
                      <a:pt x="24" y="215"/>
                    </a:lnTo>
                    <a:lnTo>
                      <a:pt x="17" y="215"/>
                    </a:lnTo>
                    <a:lnTo>
                      <a:pt x="13" y="213"/>
                    </a:lnTo>
                    <a:lnTo>
                      <a:pt x="11" y="213"/>
                    </a:lnTo>
                    <a:lnTo>
                      <a:pt x="11" y="213"/>
                    </a:lnTo>
                    <a:lnTo>
                      <a:pt x="13" y="206"/>
                    </a:lnTo>
                    <a:lnTo>
                      <a:pt x="13" y="202"/>
                    </a:lnTo>
                    <a:lnTo>
                      <a:pt x="13" y="200"/>
                    </a:lnTo>
                    <a:lnTo>
                      <a:pt x="11" y="200"/>
                    </a:lnTo>
                    <a:lnTo>
                      <a:pt x="11" y="200"/>
                    </a:lnTo>
                    <a:lnTo>
                      <a:pt x="2" y="206"/>
                    </a:lnTo>
                    <a:lnTo>
                      <a:pt x="0" y="208"/>
                    </a:lnTo>
                    <a:lnTo>
                      <a:pt x="0" y="206"/>
                    </a:lnTo>
                    <a:lnTo>
                      <a:pt x="0" y="205"/>
                    </a:lnTo>
                    <a:lnTo>
                      <a:pt x="0" y="205"/>
                    </a:lnTo>
                    <a:lnTo>
                      <a:pt x="5" y="197"/>
                    </a:lnTo>
                    <a:lnTo>
                      <a:pt x="8" y="196"/>
                    </a:lnTo>
                    <a:lnTo>
                      <a:pt x="11" y="195"/>
                    </a:lnTo>
                    <a:lnTo>
                      <a:pt x="11" y="195"/>
                    </a:lnTo>
                    <a:lnTo>
                      <a:pt x="14" y="193"/>
                    </a:lnTo>
                    <a:lnTo>
                      <a:pt x="16" y="192"/>
                    </a:lnTo>
                    <a:lnTo>
                      <a:pt x="16" y="187"/>
                    </a:lnTo>
                    <a:lnTo>
                      <a:pt x="16" y="187"/>
                    </a:lnTo>
                    <a:lnTo>
                      <a:pt x="18" y="183"/>
                    </a:lnTo>
                    <a:lnTo>
                      <a:pt x="23" y="183"/>
                    </a:lnTo>
                    <a:lnTo>
                      <a:pt x="23" y="183"/>
                    </a:lnTo>
                    <a:lnTo>
                      <a:pt x="26" y="183"/>
                    </a:lnTo>
                    <a:lnTo>
                      <a:pt x="29" y="186"/>
                    </a:lnTo>
                    <a:lnTo>
                      <a:pt x="31" y="187"/>
                    </a:lnTo>
                    <a:lnTo>
                      <a:pt x="31" y="187"/>
                    </a:lnTo>
                    <a:lnTo>
                      <a:pt x="33" y="187"/>
                    </a:lnTo>
                    <a:lnTo>
                      <a:pt x="33" y="187"/>
                    </a:lnTo>
                    <a:lnTo>
                      <a:pt x="31" y="184"/>
                    </a:lnTo>
                    <a:lnTo>
                      <a:pt x="30" y="181"/>
                    </a:lnTo>
                    <a:lnTo>
                      <a:pt x="29" y="180"/>
                    </a:lnTo>
                    <a:lnTo>
                      <a:pt x="30" y="177"/>
                    </a:lnTo>
                    <a:lnTo>
                      <a:pt x="30" y="177"/>
                    </a:lnTo>
                    <a:lnTo>
                      <a:pt x="30" y="174"/>
                    </a:lnTo>
                    <a:lnTo>
                      <a:pt x="29" y="171"/>
                    </a:lnTo>
                    <a:lnTo>
                      <a:pt x="27" y="168"/>
                    </a:lnTo>
                    <a:lnTo>
                      <a:pt x="27" y="168"/>
                    </a:lnTo>
                    <a:lnTo>
                      <a:pt x="29" y="167"/>
                    </a:lnTo>
                    <a:lnTo>
                      <a:pt x="29" y="167"/>
                    </a:lnTo>
                    <a:lnTo>
                      <a:pt x="31" y="167"/>
                    </a:lnTo>
                    <a:lnTo>
                      <a:pt x="36" y="167"/>
                    </a:lnTo>
                    <a:lnTo>
                      <a:pt x="37" y="167"/>
                    </a:lnTo>
                    <a:lnTo>
                      <a:pt x="37" y="166"/>
                    </a:lnTo>
                    <a:lnTo>
                      <a:pt x="37" y="166"/>
                    </a:lnTo>
                    <a:lnTo>
                      <a:pt x="33" y="161"/>
                    </a:lnTo>
                    <a:lnTo>
                      <a:pt x="31" y="158"/>
                    </a:lnTo>
                    <a:lnTo>
                      <a:pt x="33" y="157"/>
                    </a:lnTo>
                    <a:lnTo>
                      <a:pt x="33" y="157"/>
                    </a:lnTo>
                    <a:lnTo>
                      <a:pt x="37" y="155"/>
                    </a:lnTo>
                    <a:lnTo>
                      <a:pt x="40" y="155"/>
                    </a:lnTo>
                    <a:lnTo>
                      <a:pt x="42" y="154"/>
                    </a:lnTo>
                    <a:lnTo>
                      <a:pt x="42" y="154"/>
                    </a:lnTo>
                    <a:lnTo>
                      <a:pt x="40" y="152"/>
                    </a:lnTo>
                    <a:lnTo>
                      <a:pt x="37" y="151"/>
                    </a:lnTo>
                    <a:lnTo>
                      <a:pt x="36" y="148"/>
                    </a:lnTo>
                    <a:lnTo>
                      <a:pt x="36" y="147"/>
                    </a:lnTo>
                    <a:lnTo>
                      <a:pt x="36" y="147"/>
                    </a:lnTo>
                    <a:lnTo>
                      <a:pt x="39" y="142"/>
                    </a:lnTo>
                    <a:lnTo>
                      <a:pt x="40" y="139"/>
                    </a:lnTo>
                    <a:lnTo>
                      <a:pt x="39" y="139"/>
                    </a:lnTo>
                    <a:lnTo>
                      <a:pt x="39" y="139"/>
                    </a:lnTo>
                    <a:lnTo>
                      <a:pt x="36" y="138"/>
                    </a:lnTo>
                    <a:lnTo>
                      <a:pt x="34" y="138"/>
                    </a:lnTo>
                    <a:lnTo>
                      <a:pt x="36" y="137"/>
                    </a:lnTo>
                    <a:lnTo>
                      <a:pt x="36" y="137"/>
                    </a:lnTo>
                    <a:lnTo>
                      <a:pt x="37" y="134"/>
                    </a:lnTo>
                    <a:lnTo>
                      <a:pt x="40" y="132"/>
                    </a:lnTo>
                    <a:lnTo>
                      <a:pt x="42" y="132"/>
                    </a:lnTo>
                    <a:lnTo>
                      <a:pt x="42" y="132"/>
                    </a:lnTo>
                    <a:lnTo>
                      <a:pt x="44" y="134"/>
                    </a:lnTo>
                    <a:lnTo>
                      <a:pt x="46" y="134"/>
                    </a:lnTo>
                    <a:lnTo>
                      <a:pt x="47" y="132"/>
                    </a:lnTo>
                    <a:lnTo>
                      <a:pt x="47" y="132"/>
                    </a:lnTo>
                    <a:lnTo>
                      <a:pt x="53" y="124"/>
                    </a:lnTo>
                    <a:lnTo>
                      <a:pt x="56" y="119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5" y="116"/>
                    </a:lnTo>
                    <a:lnTo>
                      <a:pt x="56" y="115"/>
                    </a:lnTo>
                    <a:lnTo>
                      <a:pt x="62" y="112"/>
                    </a:lnTo>
                    <a:lnTo>
                      <a:pt x="62" y="112"/>
                    </a:lnTo>
                    <a:lnTo>
                      <a:pt x="65" y="112"/>
                    </a:lnTo>
                    <a:lnTo>
                      <a:pt x="66" y="112"/>
                    </a:lnTo>
                    <a:lnTo>
                      <a:pt x="66" y="110"/>
                    </a:lnTo>
                    <a:lnTo>
                      <a:pt x="66" y="110"/>
                    </a:lnTo>
                    <a:lnTo>
                      <a:pt x="66" y="109"/>
                    </a:lnTo>
                    <a:lnTo>
                      <a:pt x="65" y="106"/>
                    </a:lnTo>
                    <a:lnTo>
                      <a:pt x="63" y="105"/>
                    </a:lnTo>
                    <a:lnTo>
                      <a:pt x="66" y="102"/>
                    </a:lnTo>
                    <a:lnTo>
                      <a:pt x="66" y="102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82" y="92"/>
                    </a:lnTo>
                    <a:lnTo>
                      <a:pt x="84" y="90"/>
                    </a:lnTo>
                    <a:lnTo>
                      <a:pt x="84" y="89"/>
                    </a:lnTo>
                    <a:lnTo>
                      <a:pt x="84" y="89"/>
                    </a:lnTo>
                    <a:lnTo>
                      <a:pt x="84" y="84"/>
                    </a:lnTo>
                    <a:lnTo>
                      <a:pt x="84" y="83"/>
                    </a:lnTo>
                    <a:lnTo>
                      <a:pt x="85" y="82"/>
                    </a:lnTo>
                    <a:lnTo>
                      <a:pt x="85" y="82"/>
                    </a:lnTo>
                    <a:lnTo>
                      <a:pt x="86" y="83"/>
                    </a:lnTo>
                    <a:lnTo>
                      <a:pt x="86" y="84"/>
                    </a:lnTo>
                    <a:lnTo>
                      <a:pt x="88" y="86"/>
                    </a:lnTo>
                    <a:lnTo>
                      <a:pt x="89" y="87"/>
                    </a:lnTo>
                    <a:lnTo>
                      <a:pt x="89" y="87"/>
                    </a:lnTo>
                    <a:lnTo>
                      <a:pt x="91" y="86"/>
                    </a:lnTo>
                    <a:lnTo>
                      <a:pt x="92" y="84"/>
                    </a:lnTo>
                    <a:lnTo>
                      <a:pt x="92" y="84"/>
                    </a:lnTo>
                    <a:lnTo>
                      <a:pt x="95" y="83"/>
                    </a:lnTo>
                    <a:lnTo>
                      <a:pt x="95" y="83"/>
                    </a:lnTo>
                    <a:lnTo>
                      <a:pt x="98" y="80"/>
                    </a:lnTo>
                    <a:lnTo>
                      <a:pt x="104" y="76"/>
                    </a:lnTo>
                    <a:lnTo>
                      <a:pt x="111" y="67"/>
                    </a:lnTo>
                    <a:lnTo>
                      <a:pt x="111" y="67"/>
                    </a:lnTo>
                    <a:lnTo>
                      <a:pt x="115" y="63"/>
                    </a:lnTo>
                    <a:lnTo>
                      <a:pt x="115" y="61"/>
                    </a:lnTo>
                    <a:lnTo>
                      <a:pt x="115" y="60"/>
                    </a:lnTo>
                    <a:lnTo>
                      <a:pt x="115" y="60"/>
                    </a:lnTo>
                    <a:lnTo>
                      <a:pt x="113" y="57"/>
                    </a:lnTo>
                    <a:lnTo>
                      <a:pt x="113" y="55"/>
                    </a:lnTo>
                    <a:lnTo>
                      <a:pt x="115" y="55"/>
                    </a:lnTo>
                    <a:lnTo>
                      <a:pt x="115" y="55"/>
                    </a:lnTo>
                    <a:lnTo>
                      <a:pt x="120" y="55"/>
                    </a:lnTo>
                    <a:lnTo>
                      <a:pt x="121" y="54"/>
                    </a:lnTo>
                    <a:lnTo>
                      <a:pt x="121" y="54"/>
                    </a:lnTo>
                    <a:lnTo>
                      <a:pt x="126" y="51"/>
                    </a:lnTo>
                    <a:lnTo>
                      <a:pt x="127" y="50"/>
                    </a:lnTo>
                    <a:lnTo>
                      <a:pt x="128" y="51"/>
                    </a:lnTo>
                    <a:lnTo>
                      <a:pt x="128" y="51"/>
                    </a:lnTo>
                    <a:lnTo>
                      <a:pt x="133" y="55"/>
                    </a:lnTo>
                    <a:lnTo>
                      <a:pt x="136" y="58"/>
                    </a:lnTo>
                    <a:lnTo>
                      <a:pt x="139" y="58"/>
                    </a:lnTo>
                    <a:lnTo>
                      <a:pt x="139" y="58"/>
                    </a:lnTo>
                    <a:lnTo>
                      <a:pt x="142" y="57"/>
                    </a:lnTo>
                    <a:lnTo>
                      <a:pt x="144" y="55"/>
                    </a:lnTo>
                    <a:lnTo>
                      <a:pt x="144" y="55"/>
                    </a:lnTo>
                    <a:lnTo>
                      <a:pt x="146" y="51"/>
                    </a:lnTo>
                    <a:lnTo>
                      <a:pt x="147" y="50"/>
                    </a:lnTo>
                    <a:lnTo>
                      <a:pt x="147" y="51"/>
                    </a:lnTo>
                    <a:lnTo>
                      <a:pt x="147" y="51"/>
                    </a:lnTo>
                    <a:lnTo>
                      <a:pt x="150" y="58"/>
                    </a:lnTo>
                    <a:lnTo>
                      <a:pt x="152" y="60"/>
                    </a:lnTo>
                    <a:lnTo>
                      <a:pt x="155" y="61"/>
                    </a:lnTo>
                    <a:lnTo>
                      <a:pt x="155" y="61"/>
                    </a:lnTo>
                    <a:lnTo>
                      <a:pt x="156" y="60"/>
                    </a:lnTo>
                    <a:lnTo>
                      <a:pt x="157" y="58"/>
                    </a:lnTo>
                    <a:lnTo>
                      <a:pt x="159" y="57"/>
                    </a:lnTo>
                    <a:lnTo>
                      <a:pt x="163" y="57"/>
                    </a:lnTo>
                    <a:lnTo>
                      <a:pt x="163" y="57"/>
                    </a:lnTo>
                    <a:lnTo>
                      <a:pt x="169" y="57"/>
                    </a:lnTo>
                    <a:lnTo>
                      <a:pt x="175" y="55"/>
                    </a:lnTo>
                    <a:lnTo>
                      <a:pt x="179" y="53"/>
                    </a:lnTo>
                    <a:lnTo>
                      <a:pt x="184" y="50"/>
                    </a:lnTo>
                    <a:lnTo>
                      <a:pt x="184" y="50"/>
                    </a:lnTo>
                    <a:lnTo>
                      <a:pt x="188" y="44"/>
                    </a:lnTo>
                    <a:lnTo>
                      <a:pt x="191" y="42"/>
                    </a:lnTo>
                    <a:lnTo>
                      <a:pt x="194" y="41"/>
                    </a:lnTo>
                    <a:lnTo>
                      <a:pt x="194" y="41"/>
                    </a:lnTo>
                    <a:lnTo>
                      <a:pt x="197" y="40"/>
                    </a:lnTo>
                    <a:lnTo>
                      <a:pt x="201" y="37"/>
                    </a:lnTo>
                    <a:lnTo>
                      <a:pt x="204" y="32"/>
                    </a:lnTo>
                    <a:lnTo>
                      <a:pt x="205" y="28"/>
                    </a:lnTo>
                    <a:lnTo>
                      <a:pt x="205" y="28"/>
                    </a:lnTo>
                    <a:lnTo>
                      <a:pt x="207" y="24"/>
                    </a:lnTo>
                    <a:lnTo>
                      <a:pt x="210" y="21"/>
                    </a:lnTo>
                    <a:lnTo>
                      <a:pt x="211" y="16"/>
                    </a:lnTo>
                    <a:lnTo>
                      <a:pt x="212" y="13"/>
                    </a:lnTo>
                    <a:lnTo>
                      <a:pt x="212" y="13"/>
                    </a:lnTo>
                    <a:lnTo>
                      <a:pt x="212" y="9"/>
                    </a:lnTo>
                    <a:lnTo>
                      <a:pt x="211" y="6"/>
                    </a:lnTo>
                    <a:lnTo>
                      <a:pt x="212" y="5"/>
                    </a:lnTo>
                    <a:lnTo>
                      <a:pt x="212" y="5"/>
                    </a:lnTo>
                    <a:lnTo>
                      <a:pt x="218" y="3"/>
                    </a:lnTo>
                    <a:lnTo>
                      <a:pt x="221" y="2"/>
                    </a:lnTo>
                    <a:lnTo>
                      <a:pt x="223" y="2"/>
                    </a:lnTo>
                    <a:lnTo>
                      <a:pt x="223" y="2"/>
                    </a:lnTo>
                    <a:lnTo>
                      <a:pt x="224" y="5"/>
                    </a:lnTo>
                    <a:lnTo>
                      <a:pt x="226" y="5"/>
                    </a:lnTo>
                    <a:lnTo>
                      <a:pt x="227" y="3"/>
                    </a:lnTo>
                    <a:lnTo>
                      <a:pt x="227" y="3"/>
                    </a:lnTo>
                    <a:lnTo>
                      <a:pt x="228" y="2"/>
                    </a:lnTo>
                    <a:lnTo>
                      <a:pt x="230" y="0"/>
                    </a:lnTo>
                    <a:lnTo>
                      <a:pt x="233" y="2"/>
                    </a:lnTo>
                    <a:lnTo>
                      <a:pt x="233" y="2"/>
                    </a:lnTo>
                    <a:lnTo>
                      <a:pt x="240" y="5"/>
                    </a:lnTo>
                    <a:lnTo>
                      <a:pt x="241" y="6"/>
                    </a:lnTo>
                    <a:lnTo>
                      <a:pt x="241" y="8"/>
                    </a:lnTo>
                    <a:lnTo>
                      <a:pt x="241" y="8"/>
                    </a:lnTo>
                    <a:lnTo>
                      <a:pt x="241" y="12"/>
                    </a:lnTo>
                    <a:lnTo>
                      <a:pt x="241" y="13"/>
                    </a:lnTo>
                    <a:lnTo>
                      <a:pt x="243" y="16"/>
                    </a:lnTo>
                    <a:lnTo>
                      <a:pt x="243" y="16"/>
                    </a:lnTo>
                    <a:lnTo>
                      <a:pt x="247" y="21"/>
                    </a:lnTo>
                    <a:lnTo>
                      <a:pt x="249" y="24"/>
                    </a:lnTo>
                    <a:lnTo>
                      <a:pt x="249" y="25"/>
                    </a:lnTo>
                    <a:lnTo>
                      <a:pt x="249" y="25"/>
                    </a:lnTo>
                    <a:lnTo>
                      <a:pt x="246" y="28"/>
                    </a:lnTo>
                    <a:lnTo>
                      <a:pt x="244" y="29"/>
                    </a:lnTo>
                    <a:lnTo>
                      <a:pt x="244" y="31"/>
                    </a:lnTo>
                    <a:lnTo>
                      <a:pt x="244" y="31"/>
                    </a:lnTo>
                    <a:lnTo>
                      <a:pt x="244" y="38"/>
                    </a:lnTo>
                    <a:lnTo>
                      <a:pt x="246" y="42"/>
                    </a:lnTo>
                    <a:lnTo>
                      <a:pt x="247" y="45"/>
                    </a:lnTo>
                    <a:lnTo>
                      <a:pt x="247" y="45"/>
                    </a:lnTo>
                    <a:lnTo>
                      <a:pt x="247" y="47"/>
                    </a:lnTo>
                    <a:lnTo>
                      <a:pt x="247" y="47"/>
                    </a:lnTo>
                    <a:lnTo>
                      <a:pt x="244" y="50"/>
                    </a:lnTo>
                    <a:lnTo>
                      <a:pt x="244" y="50"/>
                    </a:lnTo>
                    <a:lnTo>
                      <a:pt x="241" y="54"/>
                    </a:lnTo>
                    <a:lnTo>
                      <a:pt x="240" y="60"/>
                    </a:lnTo>
                    <a:lnTo>
                      <a:pt x="240" y="60"/>
                    </a:lnTo>
                    <a:lnTo>
                      <a:pt x="241" y="64"/>
                    </a:lnTo>
                    <a:lnTo>
                      <a:pt x="243" y="66"/>
                    </a:lnTo>
                    <a:lnTo>
                      <a:pt x="244" y="67"/>
                    </a:lnTo>
                    <a:lnTo>
                      <a:pt x="244" y="67"/>
                    </a:lnTo>
                    <a:lnTo>
                      <a:pt x="243" y="68"/>
                    </a:lnTo>
                    <a:lnTo>
                      <a:pt x="237" y="73"/>
                    </a:lnTo>
                    <a:lnTo>
                      <a:pt x="237" y="73"/>
                    </a:lnTo>
                    <a:lnTo>
                      <a:pt x="231" y="76"/>
                    </a:lnTo>
                    <a:lnTo>
                      <a:pt x="224" y="82"/>
                    </a:lnTo>
                    <a:lnTo>
                      <a:pt x="224" y="82"/>
                    </a:lnTo>
                    <a:lnTo>
                      <a:pt x="221" y="84"/>
                    </a:lnTo>
                    <a:lnTo>
                      <a:pt x="217" y="89"/>
                    </a:lnTo>
                    <a:lnTo>
                      <a:pt x="217" y="89"/>
                    </a:lnTo>
                    <a:lnTo>
                      <a:pt x="210" y="92"/>
                    </a:lnTo>
                    <a:lnTo>
                      <a:pt x="205" y="92"/>
                    </a:lnTo>
                    <a:lnTo>
                      <a:pt x="202" y="92"/>
                    </a:lnTo>
                    <a:lnTo>
                      <a:pt x="202" y="92"/>
                    </a:lnTo>
                    <a:lnTo>
                      <a:pt x="194" y="89"/>
                    </a:lnTo>
                    <a:lnTo>
                      <a:pt x="186" y="86"/>
                    </a:lnTo>
                    <a:lnTo>
                      <a:pt x="186" y="86"/>
                    </a:lnTo>
                    <a:lnTo>
                      <a:pt x="179" y="89"/>
                    </a:lnTo>
                    <a:lnTo>
                      <a:pt x="175" y="90"/>
                    </a:lnTo>
                    <a:lnTo>
                      <a:pt x="172" y="95"/>
                    </a:lnTo>
                    <a:lnTo>
                      <a:pt x="172" y="95"/>
                    </a:lnTo>
                    <a:lnTo>
                      <a:pt x="166" y="102"/>
                    </a:lnTo>
                    <a:lnTo>
                      <a:pt x="159" y="106"/>
                    </a:lnTo>
                    <a:lnTo>
                      <a:pt x="159" y="106"/>
                    </a:lnTo>
                    <a:lnTo>
                      <a:pt x="150" y="112"/>
                    </a:lnTo>
                    <a:lnTo>
                      <a:pt x="143" y="119"/>
                    </a:lnTo>
                    <a:lnTo>
                      <a:pt x="143" y="119"/>
                    </a:lnTo>
                    <a:lnTo>
                      <a:pt x="139" y="122"/>
                    </a:lnTo>
                    <a:lnTo>
                      <a:pt x="139" y="122"/>
                    </a:lnTo>
                    <a:lnTo>
                      <a:pt x="136" y="126"/>
                    </a:lnTo>
                    <a:lnTo>
                      <a:pt x="134" y="128"/>
                    </a:lnTo>
                    <a:lnTo>
                      <a:pt x="133" y="126"/>
                    </a:lnTo>
                    <a:lnTo>
                      <a:pt x="133" y="126"/>
                    </a:lnTo>
                    <a:lnTo>
                      <a:pt x="131" y="124"/>
                    </a:lnTo>
                    <a:lnTo>
                      <a:pt x="130" y="124"/>
                    </a:lnTo>
                    <a:lnTo>
                      <a:pt x="128" y="124"/>
                    </a:lnTo>
                    <a:lnTo>
                      <a:pt x="128" y="124"/>
                    </a:lnTo>
                    <a:lnTo>
                      <a:pt x="128" y="128"/>
                    </a:lnTo>
                    <a:lnTo>
                      <a:pt x="127" y="132"/>
                    </a:lnTo>
                    <a:lnTo>
                      <a:pt x="126" y="137"/>
                    </a:lnTo>
                    <a:lnTo>
                      <a:pt x="124" y="139"/>
                    </a:lnTo>
                    <a:lnTo>
                      <a:pt x="124" y="139"/>
                    </a:lnTo>
                    <a:lnTo>
                      <a:pt x="123" y="139"/>
                    </a:lnTo>
                    <a:lnTo>
                      <a:pt x="121" y="139"/>
                    </a:lnTo>
                    <a:lnTo>
                      <a:pt x="120" y="138"/>
                    </a:lnTo>
                    <a:lnTo>
                      <a:pt x="118" y="139"/>
                    </a:lnTo>
                    <a:lnTo>
                      <a:pt x="118" y="139"/>
                    </a:lnTo>
                    <a:lnTo>
                      <a:pt x="118" y="142"/>
                    </a:lnTo>
                    <a:lnTo>
                      <a:pt x="117" y="144"/>
                    </a:lnTo>
                    <a:lnTo>
                      <a:pt x="114" y="144"/>
                    </a:lnTo>
                    <a:lnTo>
                      <a:pt x="114" y="144"/>
                    </a:lnTo>
                    <a:lnTo>
                      <a:pt x="107" y="141"/>
                    </a:lnTo>
                    <a:lnTo>
                      <a:pt x="104" y="139"/>
                    </a:lnTo>
                    <a:lnTo>
                      <a:pt x="102" y="139"/>
                    </a:lnTo>
                    <a:lnTo>
                      <a:pt x="102" y="141"/>
                    </a:lnTo>
                    <a:lnTo>
                      <a:pt x="102" y="141"/>
                    </a:lnTo>
                    <a:lnTo>
                      <a:pt x="104" y="145"/>
                    </a:lnTo>
                    <a:lnTo>
                      <a:pt x="105" y="148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2" y="151"/>
                    </a:lnTo>
                    <a:lnTo>
                      <a:pt x="101" y="151"/>
                    </a:lnTo>
                    <a:lnTo>
                      <a:pt x="98" y="151"/>
                    </a:lnTo>
                    <a:lnTo>
                      <a:pt x="98" y="151"/>
                    </a:lnTo>
                    <a:lnTo>
                      <a:pt x="95" y="152"/>
                    </a:lnTo>
                    <a:lnTo>
                      <a:pt x="92" y="154"/>
                    </a:lnTo>
                    <a:lnTo>
                      <a:pt x="92" y="154"/>
                    </a:lnTo>
                    <a:lnTo>
                      <a:pt x="89" y="155"/>
                    </a:lnTo>
                    <a:lnTo>
                      <a:pt x="88" y="157"/>
                    </a:lnTo>
                    <a:lnTo>
                      <a:pt x="88" y="157"/>
                    </a:lnTo>
                    <a:lnTo>
                      <a:pt x="89" y="158"/>
                    </a:lnTo>
                    <a:lnTo>
                      <a:pt x="91" y="160"/>
                    </a:lnTo>
                    <a:lnTo>
                      <a:pt x="94" y="160"/>
                    </a:lnTo>
                    <a:lnTo>
                      <a:pt x="94" y="161"/>
                    </a:lnTo>
                    <a:lnTo>
                      <a:pt x="94" y="161"/>
                    </a:lnTo>
                    <a:lnTo>
                      <a:pt x="94" y="163"/>
                    </a:lnTo>
                    <a:lnTo>
                      <a:pt x="91" y="163"/>
                    </a:lnTo>
                    <a:lnTo>
                      <a:pt x="86" y="164"/>
                    </a:lnTo>
                    <a:lnTo>
                      <a:pt x="86" y="164"/>
                    </a:lnTo>
                    <a:lnTo>
                      <a:pt x="85" y="164"/>
                    </a:lnTo>
                    <a:lnTo>
                      <a:pt x="85" y="167"/>
                    </a:lnTo>
                    <a:lnTo>
                      <a:pt x="86" y="174"/>
                    </a:lnTo>
                    <a:lnTo>
                      <a:pt x="86" y="174"/>
                    </a:lnTo>
                    <a:lnTo>
                      <a:pt x="85" y="176"/>
                    </a:lnTo>
                    <a:lnTo>
                      <a:pt x="84" y="177"/>
                    </a:lnTo>
                    <a:lnTo>
                      <a:pt x="81" y="179"/>
                    </a:lnTo>
                    <a:lnTo>
                      <a:pt x="81" y="179"/>
                    </a:lnTo>
                    <a:lnTo>
                      <a:pt x="76" y="179"/>
                    </a:lnTo>
                    <a:lnTo>
                      <a:pt x="75" y="179"/>
                    </a:lnTo>
                    <a:lnTo>
                      <a:pt x="75" y="180"/>
                    </a:lnTo>
                    <a:lnTo>
                      <a:pt x="75" y="180"/>
                    </a:lnTo>
                    <a:lnTo>
                      <a:pt x="78" y="183"/>
                    </a:lnTo>
                    <a:lnTo>
                      <a:pt x="78" y="184"/>
                    </a:lnTo>
                    <a:lnTo>
                      <a:pt x="76" y="186"/>
                    </a:lnTo>
                    <a:lnTo>
                      <a:pt x="76" y="186"/>
                    </a:lnTo>
                    <a:lnTo>
                      <a:pt x="71" y="186"/>
                    </a:lnTo>
                    <a:lnTo>
                      <a:pt x="68" y="187"/>
                    </a:lnTo>
                    <a:lnTo>
                      <a:pt x="69" y="189"/>
                    </a:lnTo>
                    <a:lnTo>
                      <a:pt x="69" y="189"/>
                    </a:lnTo>
                    <a:lnTo>
                      <a:pt x="72" y="193"/>
                    </a:lnTo>
                    <a:lnTo>
                      <a:pt x="73" y="197"/>
                    </a:lnTo>
                    <a:lnTo>
                      <a:pt x="73" y="197"/>
                    </a:lnTo>
                    <a:lnTo>
                      <a:pt x="72" y="197"/>
                    </a:lnTo>
                    <a:lnTo>
                      <a:pt x="71" y="197"/>
                    </a:lnTo>
                    <a:lnTo>
                      <a:pt x="69" y="196"/>
                    </a:lnTo>
                    <a:lnTo>
                      <a:pt x="68" y="197"/>
                    </a:lnTo>
                    <a:lnTo>
                      <a:pt x="68" y="197"/>
                    </a:lnTo>
                    <a:lnTo>
                      <a:pt x="69" y="202"/>
                    </a:lnTo>
                    <a:lnTo>
                      <a:pt x="71" y="203"/>
                    </a:lnTo>
                    <a:lnTo>
                      <a:pt x="71" y="205"/>
                    </a:lnTo>
                    <a:lnTo>
                      <a:pt x="71" y="205"/>
                    </a:lnTo>
                    <a:lnTo>
                      <a:pt x="68" y="206"/>
                    </a:lnTo>
                    <a:lnTo>
                      <a:pt x="63" y="206"/>
                    </a:lnTo>
                    <a:lnTo>
                      <a:pt x="58" y="205"/>
                    </a:lnTo>
                    <a:lnTo>
                      <a:pt x="58" y="205"/>
                    </a:lnTo>
                    <a:lnTo>
                      <a:pt x="58" y="206"/>
                    </a:lnTo>
                    <a:lnTo>
                      <a:pt x="59" y="208"/>
                    </a:lnTo>
                    <a:lnTo>
                      <a:pt x="62" y="210"/>
                    </a:lnTo>
                    <a:lnTo>
                      <a:pt x="62" y="210"/>
                    </a:lnTo>
                    <a:lnTo>
                      <a:pt x="63" y="212"/>
                    </a:lnTo>
                    <a:lnTo>
                      <a:pt x="62" y="216"/>
                    </a:lnTo>
                    <a:lnTo>
                      <a:pt x="60" y="222"/>
                    </a:lnTo>
                    <a:lnTo>
                      <a:pt x="60" y="222"/>
                    </a:lnTo>
                    <a:lnTo>
                      <a:pt x="59" y="226"/>
                    </a:lnTo>
                    <a:lnTo>
                      <a:pt x="56" y="228"/>
                    </a:lnTo>
                    <a:lnTo>
                      <a:pt x="55" y="229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70" name="Freeform 1025"/>
              <p:cNvSpPr>
                <a:spLocks/>
              </p:cNvSpPr>
              <p:nvPr/>
            </p:nvSpPr>
            <p:spPr bwMode="auto">
              <a:xfrm>
                <a:off x="6386302" y="2575194"/>
                <a:ext cx="100904" cy="107829"/>
              </a:xfrm>
              <a:custGeom>
                <a:avLst/>
                <a:gdLst>
                  <a:gd name="T0" fmla="*/ 38 w 102"/>
                  <a:gd name="T1" fmla="*/ 109 h 109"/>
                  <a:gd name="T2" fmla="*/ 32 w 102"/>
                  <a:gd name="T3" fmla="*/ 107 h 109"/>
                  <a:gd name="T4" fmla="*/ 18 w 102"/>
                  <a:gd name="T5" fmla="*/ 103 h 109"/>
                  <a:gd name="T6" fmla="*/ 12 w 102"/>
                  <a:gd name="T7" fmla="*/ 102 h 109"/>
                  <a:gd name="T8" fmla="*/ 12 w 102"/>
                  <a:gd name="T9" fmla="*/ 102 h 109"/>
                  <a:gd name="T10" fmla="*/ 12 w 102"/>
                  <a:gd name="T11" fmla="*/ 102 h 109"/>
                  <a:gd name="T12" fmla="*/ 16 w 102"/>
                  <a:gd name="T13" fmla="*/ 94 h 109"/>
                  <a:gd name="T14" fmla="*/ 19 w 102"/>
                  <a:gd name="T15" fmla="*/ 87 h 109"/>
                  <a:gd name="T16" fmla="*/ 19 w 102"/>
                  <a:gd name="T17" fmla="*/ 84 h 109"/>
                  <a:gd name="T18" fmla="*/ 19 w 102"/>
                  <a:gd name="T19" fmla="*/ 80 h 109"/>
                  <a:gd name="T20" fmla="*/ 21 w 102"/>
                  <a:gd name="T21" fmla="*/ 74 h 109"/>
                  <a:gd name="T22" fmla="*/ 21 w 102"/>
                  <a:gd name="T23" fmla="*/ 71 h 109"/>
                  <a:gd name="T24" fmla="*/ 19 w 102"/>
                  <a:gd name="T25" fmla="*/ 71 h 109"/>
                  <a:gd name="T26" fmla="*/ 18 w 102"/>
                  <a:gd name="T27" fmla="*/ 70 h 109"/>
                  <a:gd name="T28" fmla="*/ 13 w 102"/>
                  <a:gd name="T29" fmla="*/ 70 h 109"/>
                  <a:gd name="T30" fmla="*/ 13 w 102"/>
                  <a:gd name="T31" fmla="*/ 70 h 109"/>
                  <a:gd name="T32" fmla="*/ 10 w 102"/>
                  <a:gd name="T33" fmla="*/ 70 h 109"/>
                  <a:gd name="T34" fmla="*/ 9 w 102"/>
                  <a:gd name="T35" fmla="*/ 68 h 109"/>
                  <a:gd name="T36" fmla="*/ 6 w 102"/>
                  <a:gd name="T37" fmla="*/ 67 h 109"/>
                  <a:gd name="T38" fmla="*/ 3 w 102"/>
                  <a:gd name="T39" fmla="*/ 65 h 109"/>
                  <a:gd name="T40" fmla="*/ 0 w 102"/>
                  <a:gd name="T41" fmla="*/ 67 h 109"/>
                  <a:gd name="T42" fmla="*/ 5 w 102"/>
                  <a:gd name="T43" fmla="*/ 60 h 109"/>
                  <a:gd name="T44" fmla="*/ 8 w 102"/>
                  <a:gd name="T45" fmla="*/ 55 h 109"/>
                  <a:gd name="T46" fmla="*/ 21 w 102"/>
                  <a:gd name="T47" fmla="*/ 48 h 109"/>
                  <a:gd name="T48" fmla="*/ 32 w 102"/>
                  <a:gd name="T49" fmla="*/ 42 h 109"/>
                  <a:gd name="T50" fmla="*/ 41 w 102"/>
                  <a:gd name="T51" fmla="*/ 34 h 109"/>
                  <a:gd name="T52" fmla="*/ 44 w 102"/>
                  <a:gd name="T53" fmla="*/ 29 h 109"/>
                  <a:gd name="T54" fmla="*/ 47 w 102"/>
                  <a:gd name="T55" fmla="*/ 28 h 109"/>
                  <a:gd name="T56" fmla="*/ 48 w 102"/>
                  <a:gd name="T57" fmla="*/ 28 h 109"/>
                  <a:gd name="T58" fmla="*/ 52 w 102"/>
                  <a:gd name="T59" fmla="*/ 29 h 109"/>
                  <a:gd name="T60" fmla="*/ 58 w 102"/>
                  <a:gd name="T61" fmla="*/ 31 h 109"/>
                  <a:gd name="T62" fmla="*/ 63 w 102"/>
                  <a:gd name="T63" fmla="*/ 29 h 109"/>
                  <a:gd name="T64" fmla="*/ 65 w 102"/>
                  <a:gd name="T65" fmla="*/ 25 h 109"/>
                  <a:gd name="T66" fmla="*/ 65 w 102"/>
                  <a:gd name="T67" fmla="*/ 18 h 109"/>
                  <a:gd name="T68" fmla="*/ 67 w 102"/>
                  <a:gd name="T69" fmla="*/ 16 h 109"/>
                  <a:gd name="T70" fmla="*/ 73 w 102"/>
                  <a:gd name="T71" fmla="*/ 18 h 109"/>
                  <a:gd name="T72" fmla="*/ 76 w 102"/>
                  <a:gd name="T73" fmla="*/ 16 h 109"/>
                  <a:gd name="T74" fmla="*/ 77 w 102"/>
                  <a:gd name="T75" fmla="*/ 15 h 109"/>
                  <a:gd name="T76" fmla="*/ 89 w 102"/>
                  <a:gd name="T77" fmla="*/ 3 h 109"/>
                  <a:gd name="T78" fmla="*/ 93 w 102"/>
                  <a:gd name="T79" fmla="*/ 0 h 109"/>
                  <a:gd name="T80" fmla="*/ 102 w 102"/>
                  <a:gd name="T81" fmla="*/ 8 h 109"/>
                  <a:gd name="T82" fmla="*/ 102 w 102"/>
                  <a:gd name="T83" fmla="*/ 9 h 109"/>
                  <a:gd name="T84" fmla="*/ 99 w 102"/>
                  <a:gd name="T85" fmla="*/ 10 h 109"/>
                  <a:gd name="T86" fmla="*/ 96 w 102"/>
                  <a:gd name="T87" fmla="*/ 15 h 109"/>
                  <a:gd name="T88" fmla="*/ 87 w 102"/>
                  <a:gd name="T89" fmla="*/ 34 h 109"/>
                  <a:gd name="T90" fmla="*/ 84 w 102"/>
                  <a:gd name="T91" fmla="*/ 38 h 109"/>
                  <a:gd name="T92" fmla="*/ 76 w 102"/>
                  <a:gd name="T93" fmla="*/ 50 h 109"/>
                  <a:gd name="T94" fmla="*/ 71 w 102"/>
                  <a:gd name="T95" fmla="*/ 55 h 109"/>
                  <a:gd name="T96" fmla="*/ 68 w 102"/>
                  <a:gd name="T97" fmla="*/ 58 h 109"/>
                  <a:gd name="T98" fmla="*/ 60 w 102"/>
                  <a:gd name="T99" fmla="*/ 63 h 109"/>
                  <a:gd name="T100" fmla="*/ 55 w 102"/>
                  <a:gd name="T101" fmla="*/ 64 h 109"/>
                  <a:gd name="T102" fmla="*/ 52 w 102"/>
                  <a:gd name="T103" fmla="*/ 68 h 109"/>
                  <a:gd name="T104" fmla="*/ 51 w 102"/>
                  <a:gd name="T105" fmla="*/ 71 h 109"/>
                  <a:gd name="T106" fmla="*/ 50 w 102"/>
                  <a:gd name="T107" fmla="*/ 76 h 109"/>
                  <a:gd name="T108" fmla="*/ 51 w 102"/>
                  <a:gd name="T109" fmla="*/ 79 h 109"/>
                  <a:gd name="T110" fmla="*/ 52 w 102"/>
                  <a:gd name="T111" fmla="*/ 80 h 109"/>
                  <a:gd name="T112" fmla="*/ 58 w 102"/>
                  <a:gd name="T113" fmla="*/ 86 h 109"/>
                  <a:gd name="T114" fmla="*/ 65 w 102"/>
                  <a:gd name="T115" fmla="*/ 93 h 109"/>
                  <a:gd name="T116" fmla="*/ 61 w 102"/>
                  <a:gd name="T117" fmla="*/ 96 h 109"/>
                  <a:gd name="T118" fmla="*/ 57 w 102"/>
                  <a:gd name="T119" fmla="*/ 97 h 109"/>
                  <a:gd name="T120" fmla="*/ 50 w 102"/>
                  <a:gd name="T121" fmla="*/ 10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2" h="109">
                    <a:moveTo>
                      <a:pt x="38" y="109"/>
                    </a:moveTo>
                    <a:lnTo>
                      <a:pt x="38" y="109"/>
                    </a:lnTo>
                    <a:lnTo>
                      <a:pt x="32" y="107"/>
                    </a:lnTo>
                    <a:lnTo>
                      <a:pt x="32" y="107"/>
                    </a:lnTo>
                    <a:lnTo>
                      <a:pt x="18" y="103"/>
                    </a:lnTo>
                    <a:lnTo>
                      <a:pt x="18" y="103"/>
                    </a:lnTo>
                    <a:lnTo>
                      <a:pt x="12" y="102"/>
                    </a:lnTo>
                    <a:lnTo>
                      <a:pt x="12" y="102"/>
                    </a:lnTo>
                    <a:lnTo>
                      <a:pt x="12" y="102"/>
                    </a:lnTo>
                    <a:lnTo>
                      <a:pt x="12" y="102"/>
                    </a:lnTo>
                    <a:lnTo>
                      <a:pt x="12" y="102"/>
                    </a:lnTo>
                    <a:lnTo>
                      <a:pt x="12" y="102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8" y="92"/>
                    </a:lnTo>
                    <a:lnTo>
                      <a:pt x="19" y="87"/>
                    </a:lnTo>
                    <a:lnTo>
                      <a:pt x="19" y="86"/>
                    </a:lnTo>
                    <a:lnTo>
                      <a:pt x="19" y="84"/>
                    </a:lnTo>
                    <a:lnTo>
                      <a:pt x="19" y="84"/>
                    </a:lnTo>
                    <a:lnTo>
                      <a:pt x="19" y="80"/>
                    </a:lnTo>
                    <a:lnTo>
                      <a:pt x="19" y="80"/>
                    </a:lnTo>
                    <a:lnTo>
                      <a:pt x="21" y="74"/>
                    </a:lnTo>
                    <a:lnTo>
                      <a:pt x="21" y="74"/>
                    </a:lnTo>
                    <a:lnTo>
                      <a:pt x="21" y="71"/>
                    </a:lnTo>
                    <a:lnTo>
                      <a:pt x="21" y="71"/>
                    </a:lnTo>
                    <a:lnTo>
                      <a:pt x="19" y="71"/>
                    </a:lnTo>
                    <a:lnTo>
                      <a:pt x="19" y="71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3" y="70"/>
                    </a:lnTo>
                    <a:lnTo>
                      <a:pt x="13" y="70"/>
                    </a:lnTo>
                    <a:lnTo>
                      <a:pt x="13" y="70"/>
                    </a:lnTo>
                    <a:lnTo>
                      <a:pt x="13" y="70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5"/>
                    </a:lnTo>
                    <a:lnTo>
                      <a:pt x="3" y="65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5" y="60"/>
                    </a:lnTo>
                    <a:lnTo>
                      <a:pt x="8" y="55"/>
                    </a:lnTo>
                    <a:lnTo>
                      <a:pt x="8" y="55"/>
                    </a:lnTo>
                    <a:lnTo>
                      <a:pt x="13" y="51"/>
                    </a:lnTo>
                    <a:lnTo>
                      <a:pt x="21" y="48"/>
                    </a:lnTo>
                    <a:lnTo>
                      <a:pt x="21" y="48"/>
                    </a:lnTo>
                    <a:lnTo>
                      <a:pt x="32" y="42"/>
                    </a:lnTo>
                    <a:lnTo>
                      <a:pt x="38" y="38"/>
                    </a:lnTo>
                    <a:lnTo>
                      <a:pt x="41" y="34"/>
                    </a:lnTo>
                    <a:lnTo>
                      <a:pt x="41" y="34"/>
                    </a:lnTo>
                    <a:lnTo>
                      <a:pt x="44" y="29"/>
                    </a:lnTo>
                    <a:lnTo>
                      <a:pt x="45" y="28"/>
                    </a:lnTo>
                    <a:lnTo>
                      <a:pt x="47" y="28"/>
                    </a:lnTo>
                    <a:lnTo>
                      <a:pt x="47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2" y="29"/>
                    </a:lnTo>
                    <a:lnTo>
                      <a:pt x="58" y="31"/>
                    </a:lnTo>
                    <a:lnTo>
                      <a:pt x="58" y="31"/>
                    </a:lnTo>
                    <a:lnTo>
                      <a:pt x="63" y="29"/>
                    </a:lnTo>
                    <a:lnTo>
                      <a:pt x="63" y="29"/>
                    </a:lnTo>
                    <a:lnTo>
                      <a:pt x="64" y="28"/>
                    </a:lnTo>
                    <a:lnTo>
                      <a:pt x="65" y="25"/>
                    </a:lnTo>
                    <a:lnTo>
                      <a:pt x="65" y="21"/>
                    </a:lnTo>
                    <a:lnTo>
                      <a:pt x="65" y="18"/>
                    </a:lnTo>
                    <a:lnTo>
                      <a:pt x="65" y="16"/>
                    </a:lnTo>
                    <a:lnTo>
                      <a:pt x="67" y="16"/>
                    </a:lnTo>
                    <a:lnTo>
                      <a:pt x="67" y="16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6" y="16"/>
                    </a:lnTo>
                    <a:lnTo>
                      <a:pt x="77" y="15"/>
                    </a:lnTo>
                    <a:lnTo>
                      <a:pt x="77" y="15"/>
                    </a:lnTo>
                    <a:lnTo>
                      <a:pt x="84" y="8"/>
                    </a:lnTo>
                    <a:lnTo>
                      <a:pt x="89" y="3"/>
                    </a:lnTo>
                    <a:lnTo>
                      <a:pt x="93" y="0"/>
                    </a:lnTo>
                    <a:lnTo>
                      <a:pt x="93" y="0"/>
                    </a:lnTo>
                    <a:lnTo>
                      <a:pt x="100" y="0"/>
                    </a:lnTo>
                    <a:lnTo>
                      <a:pt x="102" y="8"/>
                    </a:lnTo>
                    <a:lnTo>
                      <a:pt x="102" y="8"/>
                    </a:lnTo>
                    <a:lnTo>
                      <a:pt x="102" y="9"/>
                    </a:lnTo>
                    <a:lnTo>
                      <a:pt x="102" y="9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6" y="15"/>
                    </a:lnTo>
                    <a:lnTo>
                      <a:pt x="96" y="15"/>
                    </a:lnTo>
                    <a:lnTo>
                      <a:pt x="87" y="34"/>
                    </a:lnTo>
                    <a:lnTo>
                      <a:pt x="87" y="34"/>
                    </a:lnTo>
                    <a:lnTo>
                      <a:pt x="84" y="38"/>
                    </a:lnTo>
                    <a:lnTo>
                      <a:pt x="84" y="38"/>
                    </a:lnTo>
                    <a:lnTo>
                      <a:pt x="76" y="50"/>
                    </a:lnTo>
                    <a:lnTo>
                      <a:pt x="76" y="50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68" y="58"/>
                    </a:lnTo>
                    <a:lnTo>
                      <a:pt x="68" y="58"/>
                    </a:lnTo>
                    <a:lnTo>
                      <a:pt x="60" y="63"/>
                    </a:lnTo>
                    <a:lnTo>
                      <a:pt x="60" y="63"/>
                    </a:lnTo>
                    <a:lnTo>
                      <a:pt x="55" y="64"/>
                    </a:lnTo>
                    <a:lnTo>
                      <a:pt x="55" y="64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1" y="71"/>
                    </a:lnTo>
                    <a:lnTo>
                      <a:pt x="51" y="71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1" y="79"/>
                    </a:lnTo>
                    <a:lnTo>
                      <a:pt x="52" y="80"/>
                    </a:lnTo>
                    <a:lnTo>
                      <a:pt x="52" y="80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63" y="89"/>
                    </a:lnTo>
                    <a:lnTo>
                      <a:pt x="65" y="93"/>
                    </a:lnTo>
                    <a:lnTo>
                      <a:pt x="65" y="93"/>
                    </a:lnTo>
                    <a:lnTo>
                      <a:pt x="61" y="96"/>
                    </a:lnTo>
                    <a:lnTo>
                      <a:pt x="57" y="97"/>
                    </a:lnTo>
                    <a:lnTo>
                      <a:pt x="57" y="97"/>
                    </a:lnTo>
                    <a:lnTo>
                      <a:pt x="54" y="97"/>
                    </a:lnTo>
                    <a:lnTo>
                      <a:pt x="50" y="100"/>
                    </a:lnTo>
                    <a:lnTo>
                      <a:pt x="38" y="10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71" name="Freeform 1026"/>
              <p:cNvSpPr>
                <a:spLocks/>
              </p:cNvSpPr>
              <p:nvPr/>
            </p:nvSpPr>
            <p:spPr bwMode="auto">
              <a:xfrm>
                <a:off x="6386302" y="2575194"/>
                <a:ext cx="100904" cy="107829"/>
              </a:xfrm>
              <a:custGeom>
                <a:avLst/>
                <a:gdLst>
                  <a:gd name="T0" fmla="*/ 38 w 102"/>
                  <a:gd name="T1" fmla="*/ 109 h 109"/>
                  <a:gd name="T2" fmla="*/ 32 w 102"/>
                  <a:gd name="T3" fmla="*/ 107 h 109"/>
                  <a:gd name="T4" fmla="*/ 18 w 102"/>
                  <a:gd name="T5" fmla="*/ 103 h 109"/>
                  <a:gd name="T6" fmla="*/ 12 w 102"/>
                  <a:gd name="T7" fmla="*/ 102 h 109"/>
                  <a:gd name="T8" fmla="*/ 12 w 102"/>
                  <a:gd name="T9" fmla="*/ 102 h 109"/>
                  <a:gd name="T10" fmla="*/ 12 w 102"/>
                  <a:gd name="T11" fmla="*/ 102 h 109"/>
                  <a:gd name="T12" fmla="*/ 16 w 102"/>
                  <a:gd name="T13" fmla="*/ 94 h 109"/>
                  <a:gd name="T14" fmla="*/ 19 w 102"/>
                  <a:gd name="T15" fmla="*/ 87 h 109"/>
                  <a:gd name="T16" fmla="*/ 19 w 102"/>
                  <a:gd name="T17" fmla="*/ 84 h 109"/>
                  <a:gd name="T18" fmla="*/ 19 w 102"/>
                  <a:gd name="T19" fmla="*/ 80 h 109"/>
                  <a:gd name="T20" fmla="*/ 21 w 102"/>
                  <a:gd name="T21" fmla="*/ 74 h 109"/>
                  <a:gd name="T22" fmla="*/ 21 w 102"/>
                  <a:gd name="T23" fmla="*/ 71 h 109"/>
                  <a:gd name="T24" fmla="*/ 19 w 102"/>
                  <a:gd name="T25" fmla="*/ 71 h 109"/>
                  <a:gd name="T26" fmla="*/ 18 w 102"/>
                  <a:gd name="T27" fmla="*/ 70 h 109"/>
                  <a:gd name="T28" fmla="*/ 13 w 102"/>
                  <a:gd name="T29" fmla="*/ 70 h 109"/>
                  <a:gd name="T30" fmla="*/ 13 w 102"/>
                  <a:gd name="T31" fmla="*/ 70 h 109"/>
                  <a:gd name="T32" fmla="*/ 10 w 102"/>
                  <a:gd name="T33" fmla="*/ 70 h 109"/>
                  <a:gd name="T34" fmla="*/ 9 w 102"/>
                  <a:gd name="T35" fmla="*/ 68 h 109"/>
                  <a:gd name="T36" fmla="*/ 6 w 102"/>
                  <a:gd name="T37" fmla="*/ 67 h 109"/>
                  <a:gd name="T38" fmla="*/ 3 w 102"/>
                  <a:gd name="T39" fmla="*/ 65 h 109"/>
                  <a:gd name="T40" fmla="*/ 0 w 102"/>
                  <a:gd name="T41" fmla="*/ 67 h 109"/>
                  <a:gd name="T42" fmla="*/ 5 w 102"/>
                  <a:gd name="T43" fmla="*/ 60 h 109"/>
                  <a:gd name="T44" fmla="*/ 8 w 102"/>
                  <a:gd name="T45" fmla="*/ 55 h 109"/>
                  <a:gd name="T46" fmla="*/ 21 w 102"/>
                  <a:gd name="T47" fmla="*/ 48 h 109"/>
                  <a:gd name="T48" fmla="*/ 32 w 102"/>
                  <a:gd name="T49" fmla="*/ 42 h 109"/>
                  <a:gd name="T50" fmla="*/ 41 w 102"/>
                  <a:gd name="T51" fmla="*/ 34 h 109"/>
                  <a:gd name="T52" fmla="*/ 44 w 102"/>
                  <a:gd name="T53" fmla="*/ 29 h 109"/>
                  <a:gd name="T54" fmla="*/ 47 w 102"/>
                  <a:gd name="T55" fmla="*/ 28 h 109"/>
                  <a:gd name="T56" fmla="*/ 48 w 102"/>
                  <a:gd name="T57" fmla="*/ 28 h 109"/>
                  <a:gd name="T58" fmla="*/ 52 w 102"/>
                  <a:gd name="T59" fmla="*/ 29 h 109"/>
                  <a:gd name="T60" fmla="*/ 58 w 102"/>
                  <a:gd name="T61" fmla="*/ 31 h 109"/>
                  <a:gd name="T62" fmla="*/ 63 w 102"/>
                  <a:gd name="T63" fmla="*/ 29 h 109"/>
                  <a:gd name="T64" fmla="*/ 65 w 102"/>
                  <a:gd name="T65" fmla="*/ 25 h 109"/>
                  <a:gd name="T66" fmla="*/ 65 w 102"/>
                  <a:gd name="T67" fmla="*/ 18 h 109"/>
                  <a:gd name="T68" fmla="*/ 67 w 102"/>
                  <a:gd name="T69" fmla="*/ 16 h 109"/>
                  <a:gd name="T70" fmla="*/ 73 w 102"/>
                  <a:gd name="T71" fmla="*/ 18 h 109"/>
                  <a:gd name="T72" fmla="*/ 76 w 102"/>
                  <a:gd name="T73" fmla="*/ 16 h 109"/>
                  <a:gd name="T74" fmla="*/ 77 w 102"/>
                  <a:gd name="T75" fmla="*/ 15 h 109"/>
                  <a:gd name="T76" fmla="*/ 89 w 102"/>
                  <a:gd name="T77" fmla="*/ 3 h 109"/>
                  <a:gd name="T78" fmla="*/ 93 w 102"/>
                  <a:gd name="T79" fmla="*/ 0 h 109"/>
                  <a:gd name="T80" fmla="*/ 102 w 102"/>
                  <a:gd name="T81" fmla="*/ 8 h 109"/>
                  <a:gd name="T82" fmla="*/ 102 w 102"/>
                  <a:gd name="T83" fmla="*/ 9 h 109"/>
                  <a:gd name="T84" fmla="*/ 99 w 102"/>
                  <a:gd name="T85" fmla="*/ 10 h 109"/>
                  <a:gd name="T86" fmla="*/ 96 w 102"/>
                  <a:gd name="T87" fmla="*/ 15 h 109"/>
                  <a:gd name="T88" fmla="*/ 87 w 102"/>
                  <a:gd name="T89" fmla="*/ 34 h 109"/>
                  <a:gd name="T90" fmla="*/ 84 w 102"/>
                  <a:gd name="T91" fmla="*/ 38 h 109"/>
                  <a:gd name="T92" fmla="*/ 76 w 102"/>
                  <a:gd name="T93" fmla="*/ 50 h 109"/>
                  <a:gd name="T94" fmla="*/ 71 w 102"/>
                  <a:gd name="T95" fmla="*/ 55 h 109"/>
                  <a:gd name="T96" fmla="*/ 68 w 102"/>
                  <a:gd name="T97" fmla="*/ 58 h 109"/>
                  <a:gd name="T98" fmla="*/ 60 w 102"/>
                  <a:gd name="T99" fmla="*/ 63 h 109"/>
                  <a:gd name="T100" fmla="*/ 55 w 102"/>
                  <a:gd name="T101" fmla="*/ 64 h 109"/>
                  <a:gd name="T102" fmla="*/ 52 w 102"/>
                  <a:gd name="T103" fmla="*/ 68 h 109"/>
                  <a:gd name="T104" fmla="*/ 51 w 102"/>
                  <a:gd name="T105" fmla="*/ 71 h 109"/>
                  <a:gd name="T106" fmla="*/ 50 w 102"/>
                  <a:gd name="T107" fmla="*/ 76 h 109"/>
                  <a:gd name="T108" fmla="*/ 51 w 102"/>
                  <a:gd name="T109" fmla="*/ 79 h 109"/>
                  <a:gd name="T110" fmla="*/ 52 w 102"/>
                  <a:gd name="T111" fmla="*/ 80 h 109"/>
                  <a:gd name="T112" fmla="*/ 58 w 102"/>
                  <a:gd name="T113" fmla="*/ 86 h 109"/>
                  <a:gd name="T114" fmla="*/ 65 w 102"/>
                  <a:gd name="T115" fmla="*/ 93 h 109"/>
                  <a:gd name="T116" fmla="*/ 61 w 102"/>
                  <a:gd name="T117" fmla="*/ 96 h 109"/>
                  <a:gd name="T118" fmla="*/ 57 w 102"/>
                  <a:gd name="T119" fmla="*/ 97 h 109"/>
                  <a:gd name="T120" fmla="*/ 50 w 102"/>
                  <a:gd name="T121" fmla="*/ 10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2" h="109">
                    <a:moveTo>
                      <a:pt x="38" y="109"/>
                    </a:moveTo>
                    <a:lnTo>
                      <a:pt x="38" y="109"/>
                    </a:lnTo>
                    <a:lnTo>
                      <a:pt x="32" y="107"/>
                    </a:lnTo>
                    <a:lnTo>
                      <a:pt x="32" y="107"/>
                    </a:lnTo>
                    <a:lnTo>
                      <a:pt x="18" y="103"/>
                    </a:lnTo>
                    <a:lnTo>
                      <a:pt x="18" y="103"/>
                    </a:lnTo>
                    <a:lnTo>
                      <a:pt x="12" y="102"/>
                    </a:lnTo>
                    <a:lnTo>
                      <a:pt x="12" y="102"/>
                    </a:lnTo>
                    <a:lnTo>
                      <a:pt x="12" y="102"/>
                    </a:lnTo>
                    <a:lnTo>
                      <a:pt x="12" y="102"/>
                    </a:lnTo>
                    <a:lnTo>
                      <a:pt x="12" y="102"/>
                    </a:lnTo>
                    <a:lnTo>
                      <a:pt x="12" y="102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8" y="92"/>
                    </a:lnTo>
                    <a:lnTo>
                      <a:pt x="19" y="87"/>
                    </a:lnTo>
                    <a:lnTo>
                      <a:pt x="19" y="86"/>
                    </a:lnTo>
                    <a:lnTo>
                      <a:pt x="19" y="84"/>
                    </a:lnTo>
                    <a:lnTo>
                      <a:pt x="19" y="84"/>
                    </a:lnTo>
                    <a:lnTo>
                      <a:pt x="19" y="80"/>
                    </a:lnTo>
                    <a:lnTo>
                      <a:pt x="19" y="80"/>
                    </a:lnTo>
                    <a:lnTo>
                      <a:pt x="21" y="74"/>
                    </a:lnTo>
                    <a:lnTo>
                      <a:pt x="21" y="74"/>
                    </a:lnTo>
                    <a:lnTo>
                      <a:pt x="21" y="71"/>
                    </a:lnTo>
                    <a:lnTo>
                      <a:pt x="21" y="71"/>
                    </a:lnTo>
                    <a:lnTo>
                      <a:pt x="19" y="71"/>
                    </a:lnTo>
                    <a:lnTo>
                      <a:pt x="19" y="71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3" y="70"/>
                    </a:lnTo>
                    <a:lnTo>
                      <a:pt x="13" y="70"/>
                    </a:lnTo>
                    <a:lnTo>
                      <a:pt x="13" y="70"/>
                    </a:lnTo>
                    <a:lnTo>
                      <a:pt x="13" y="70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5"/>
                    </a:lnTo>
                    <a:lnTo>
                      <a:pt x="3" y="65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5" y="60"/>
                    </a:lnTo>
                    <a:lnTo>
                      <a:pt x="8" y="55"/>
                    </a:lnTo>
                    <a:lnTo>
                      <a:pt x="8" y="55"/>
                    </a:lnTo>
                    <a:lnTo>
                      <a:pt x="13" y="51"/>
                    </a:lnTo>
                    <a:lnTo>
                      <a:pt x="21" y="48"/>
                    </a:lnTo>
                    <a:lnTo>
                      <a:pt x="21" y="48"/>
                    </a:lnTo>
                    <a:lnTo>
                      <a:pt x="32" y="42"/>
                    </a:lnTo>
                    <a:lnTo>
                      <a:pt x="38" y="38"/>
                    </a:lnTo>
                    <a:lnTo>
                      <a:pt x="41" y="34"/>
                    </a:lnTo>
                    <a:lnTo>
                      <a:pt x="41" y="34"/>
                    </a:lnTo>
                    <a:lnTo>
                      <a:pt x="44" y="29"/>
                    </a:lnTo>
                    <a:lnTo>
                      <a:pt x="45" y="28"/>
                    </a:lnTo>
                    <a:lnTo>
                      <a:pt x="47" y="28"/>
                    </a:lnTo>
                    <a:lnTo>
                      <a:pt x="47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2" y="29"/>
                    </a:lnTo>
                    <a:lnTo>
                      <a:pt x="58" y="31"/>
                    </a:lnTo>
                    <a:lnTo>
                      <a:pt x="58" y="31"/>
                    </a:lnTo>
                    <a:lnTo>
                      <a:pt x="63" y="29"/>
                    </a:lnTo>
                    <a:lnTo>
                      <a:pt x="63" y="29"/>
                    </a:lnTo>
                    <a:lnTo>
                      <a:pt x="64" y="28"/>
                    </a:lnTo>
                    <a:lnTo>
                      <a:pt x="65" y="25"/>
                    </a:lnTo>
                    <a:lnTo>
                      <a:pt x="65" y="21"/>
                    </a:lnTo>
                    <a:lnTo>
                      <a:pt x="65" y="18"/>
                    </a:lnTo>
                    <a:lnTo>
                      <a:pt x="65" y="16"/>
                    </a:lnTo>
                    <a:lnTo>
                      <a:pt x="67" y="16"/>
                    </a:lnTo>
                    <a:lnTo>
                      <a:pt x="67" y="16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6" y="16"/>
                    </a:lnTo>
                    <a:lnTo>
                      <a:pt x="77" y="15"/>
                    </a:lnTo>
                    <a:lnTo>
                      <a:pt x="77" y="15"/>
                    </a:lnTo>
                    <a:lnTo>
                      <a:pt x="84" y="8"/>
                    </a:lnTo>
                    <a:lnTo>
                      <a:pt x="89" y="3"/>
                    </a:lnTo>
                    <a:lnTo>
                      <a:pt x="93" y="0"/>
                    </a:lnTo>
                    <a:lnTo>
                      <a:pt x="93" y="0"/>
                    </a:lnTo>
                    <a:lnTo>
                      <a:pt x="100" y="0"/>
                    </a:lnTo>
                    <a:lnTo>
                      <a:pt x="102" y="8"/>
                    </a:lnTo>
                    <a:lnTo>
                      <a:pt x="102" y="8"/>
                    </a:lnTo>
                    <a:lnTo>
                      <a:pt x="102" y="9"/>
                    </a:lnTo>
                    <a:lnTo>
                      <a:pt x="102" y="9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6" y="15"/>
                    </a:lnTo>
                    <a:lnTo>
                      <a:pt x="96" y="15"/>
                    </a:lnTo>
                    <a:lnTo>
                      <a:pt x="87" y="34"/>
                    </a:lnTo>
                    <a:lnTo>
                      <a:pt x="87" y="34"/>
                    </a:lnTo>
                    <a:lnTo>
                      <a:pt x="84" y="38"/>
                    </a:lnTo>
                    <a:lnTo>
                      <a:pt x="84" y="38"/>
                    </a:lnTo>
                    <a:lnTo>
                      <a:pt x="76" y="50"/>
                    </a:lnTo>
                    <a:lnTo>
                      <a:pt x="76" y="50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68" y="58"/>
                    </a:lnTo>
                    <a:lnTo>
                      <a:pt x="68" y="58"/>
                    </a:lnTo>
                    <a:lnTo>
                      <a:pt x="60" y="63"/>
                    </a:lnTo>
                    <a:lnTo>
                      <a:pt x="60" y="63"/>
                    </a:lnTo>
                    <a:lnTo>
                      <a:pt x="55" y="64"/>
                    </a:lnTo>
                    <a:lnTo>
                      <a:pt x="55" y="64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1" y="71"/>
                    </a:lnTo>
                    <a:lnTo>
                      <a:pt x="51" y="71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1" y="79"/>
                    </a:lnTo>
                    <a:lnTo>
                      <a:pt x="52" y="80"/>
                    </a:lnTo>
                    <a:lnTo>
                      <a:pt x="52" y="80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63" y="89"/>
                    </a:lnTo>
                    <a:lnTo>
                      <a:pt x="65" y="93"/>
                    </a:lnTo>
                    <a:lnTo>
                      <a:pt x="65" y="93"/>
                    </a:lnTo>
                    <a:lnTo>
                      <a:pt x="61" y="96"/>
                    </a:lnTo>
                    <a:lnTo>
                      <a:pt x="57" y="97"/>
                    </a:lnTo>
                    <a:lnTo>
                      <a:pt x="57" y="97"/>
                    </a:lnTo>
                    <a:lnTo>
                      <a:pt x="54" y="97"/>
                    </a:lnTo>
                    <a:lnTo>
                      <a:pt x="50" y="100"/>
                    </a:lnTo>
                    <a:lnTo>
                      <a:pt x="38" y="10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04" name="Freeform 1059"/>
              <p:cNvSpPr>
                <a:spLocks/>
              </p:cNvSpPr>
              <p:nvPr/>
            </p:nvSpPr>
            <p:spPr bwMode="auto">
              <a:xfrm>
                <a:off x="7376551" y="2000434"/>
                <a:ext cx="44517" cy="23742"/>
              </a:xfrm>
              <a:custGeom>
                <a:avLst/>
                <a:gdLst>
                  <a:gd name="T0" fmla="*/ 33 w 45"/>
                  <a:gd name="T1" fmla="*/ 24 h 24"/>
                  <a:gd name="T2" fmla="*/ 33 w 45"/>
                  <a:gd name="T3" fmla="*/ 24 h 24"/>
                  <a:gd name="T4" fmla="*/ 28 w 45"/>
                  <a:gd name="T5" fmla="*/ 22 h 24"/>
                  <a:gd name="T6" fmla="*/ 22 w 45"/>
                  <a:gd name="T7" fmla="*/ 18 h 24"/>
                  <a:gd name="T8" fmla="*/ 16 w 45"/>
                  <a:gd name="T9" fmla="*/ 13 h 24"/>
                  <a:gd name="T10" fmla="*/ 13 w 45"/>
                  <a:gd name="T11" fmla="*/ 12 h 24"/>
                  <a:gd name="T12" fmla="*/ 13 w 45"/>
                  <a:gd name="T13" fmla="*/ 12 h 24"/>
                  <a:gd name="T14" fmla="*/ 12 w 45"/>
                  <a:gd name="T15" fmla="*/ 13 h 24"/>
                  <a:gd name="T16" fmla="*/ 9 w 45"/>
                  <a:gd name="T17" fmla="*/ 15 h 24"/>
                  <a:gd name="T18" fmla="*/ 6 w 45"/>
                  <a:gd name="T19" fmla="*/ 16 h 24"/>
                  <a:gd name="T20" fmla="*/ 3 w 45"/>
                  <a:gd name="T21" fmla="*/ 15 h 24"/>
                  <a:gd name="T22" fmla="*/ 3 w 45"/>
                  <a:gd name="T23" fmla="*/ 15 h 24"/>
                  <a:gd name="T24" fmla="*/ 2 w 45"/>
                  <a:gd name="T25" fmla="*/ 11 h 24"/>
                  <a:gd name="T26" fmla="*/ 0 w 45"/>
                  <a:gd name="T27" fmla="*/ 6 h 24"/>
                  <a:gd name="T28" fmla="*/ 0 w 45"/>
                  <a:gd name="T29" fmla="*/ 3 h 24"/>
                  <a:gd name="T30" fmla="*/ 2 w 45"/>
                  <a:gd name="T31" fmla="*/ 2 h 24"/>
                  <a:gd name="T32" fmla="*/ 3 w 45"/>
                  <a:gd name="T33" fmla="*/ 2 h 24"/>
                  <a:gd name="T34" fmla="*/ 3 w 45"/>
                  <a:gd name="T35" fmla="*/ 2 h 24"/>
                  <a:gd name="T36" fmla="*/ 9 w 45"/>
                  <a:gd name="T37" fmla="*/ 5 h 24"/>
                  <a:gd name="T38" fmla="*/ 13 w 45"/>
                  <a:gd name="T39" fmla="*/ 6 h 24"/>
                  <a:gd name="T40" fmla="*/ 16 w 45"/>
                  <a:gd name="T41" fmla="*/ 6 h 24"/>
                  <a:gd name="T42" fmla="*/ 16 w 45"/>
                  <a:gd name="T43" fmla="*/ 6 h 24"/>
                  <a:gd name="T44" fmla="*/ 19 w 45"/>
                  <a:gd name="T45" fmla="*/ 5 h 24"/>
                  <a:gd name="T46" fmla="*/ 23 w 45"/>
                  <a:gd name="T47" fmla="*/ 3 h 24"/>
                  <a:gd name="T48" fmla="*/ 26 w 45"/>
                  <a:gd name="T49" fmla="*/ 0 h 24"/>
                  <a:gd name="T50" fmla="*/ 28 w 45"/>
                  <a:gd name="T51" fmla="*/ 2 h 24"/>
                  <a:gd name="T52" fmla="*/ 29 w 45"/>
                  <a:gd name="T53" fmla="*/ 2 h 24"/>
                  <a:gd name="T54" fmla="*/ 29 w 45"/>
                  <a:gd name="T55" fmla="*/ 2 h 24"/>
                  <a:gd name="T56" fmla="*/ 39 w 45"/>
                  <a:gd name="T57" fmla="*/ 11 h 24"/>
                  <a:gd name="T58" fmla="*/ 44 w 45"/>
                  <a:gd name="T59" fmla="*/ 16 h 24"/>
                  <a:gd name="T60" fmla="*/ 45 w 45"/>
                  <a:gd name="T61" fmla="*/ 18 h 24"/>
                  <a:gd name="T62" fmla="*/ 45 w 45"/>
                  <a:gd name="T63" fmla="*/ 18 h 24"/>
                  <a:gd name="T64" fmla="*/ 39 w 45"/>
                  <a:gd name="T65" fmla="*/ 22 h 24"/>
                  <a:gd name="T66" fmla="*/ 36 w 45"/>
                  <a:gd name="T67" fmla="*/ 24 h 24"/>
                  <a:gd name="T68" fmla="*/ 33 w 45"/>
                  <a:gd name="T6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" h="24">
                    <a:moveTo>
                      <a:pt x="33" y="24"/>
                    </a:moveTo>
                    <a:lnTo>
                      <a:pt x="33" y="24"/>
                    </a:lnTo>
                    <a:lnTo>
                      <a:pt x="28" y="22"/>
                    </a:lnTo>
                    <a:lnTo>
                      <a:pt x="22" y="18"/>
                    </a:lnTo>
                    <a:lnTo>
                      <a:pt x="16" y="13"/>
                    </a:lnTo>
                    <a:lnTo>
                      <a:pt x="13" y="12"/>
                    </a:lnTo>
                    <a:lnTo>
                      <a:pt x="13" y="12"/>
                    </a:lnTo>
                    <a:lnTo>
                      <a:pt x="12" y="13"/>
                    </a:lnTo>
                    <a:lnTo>
                      <a:pt x="9" y="15"/>
                    </a:lnTo>
                    <a:lnTo>
                      <a:pt x="6" y="16"/>
                    </a:lnTo>
                    <a:lnTo>
                      <a:pt x="3" y="15"/>
                    </a:lnTo>
                    <a:lnTo>
                      <a:pt x="3" y="15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9" y="5"/>
                    </a:lnTo>
                    <a:lnTo>
                      <a:pt x="13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9" y="5"/>
                    </a:lnTo>
                    <a:lnTo>
                      <a:pt x="23" y="3"/>
                    </a:lnTo>
                    <a:lnTo>
                      <a:pt x="26" y="0"/>
                    </a:lnTo>
                    <a:lnTo>
                      <a:pt x="28" y="2"/>
                    </a:lnTo>
                    <a:lnTo>
                      <a:pt x="29" y="2"/>
                    </a:lnTo>
                    <a:lnTo>
                      <a:pt x="29" y="2"/>
                    </a:lnTo>
                    <a:lnTo>
                      <a:pt x="39" y="11"/>
                    </a:lnTo>
                    <a:lnTo>
                      <a:pt x="44" y="16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39" y="22"/>
                    </a:lnTo>
                    <a:lnTo>
                      <a:pt x="36" y="24"/>
                    </a:lnTo>
                    <a:lnTo>
                      <a:pt x="33" y="2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05" name="Freeform 1060"/>
              <p:cNvSpPr>
                <a:spLocks/>
              </p:cNvSpPr>
              <p:nvPr/>
            </p:nvSpPr>
            <p:spPr bwMode="auto">
              <a:xfrm>
                <a:off x="7376551" y="2000434"/>
                <a:ext cx="44517" cy="23742"/>
              </a:xfrm>
              <a:custGeom>
                <a:avLst/>
                <a:gdLst>
                  <a:gd name="T0" fmla="*/ 33 w 45"/>
                  <a:gd name="T1" fmla="*/ 24 h 24"/>
                  <a:gd name="T2" fmla="*/ 33 w 45"/>
                  <a:gd name="T3" fmla="*/ 24 h 24"/>
                  <a:gd name="T4" fmla="*/ 28 w 45"/>
                  <a:gd name="T5" fmla="*/ 22 h 24"/>
                  <a:gd name="T6" fmla="*/ 22 w 45"/>
                  <a:gd name="T7" fmla="*/ 18 h 24"/>
                  <a:gd name="T8" fmla="*/ 16 w 45"/>
                  <a:gd name="T9" fmla="*/ 13 h 24"/>
                  <a:gd name="T10" fmla="*/ 13 w 45"/>
                  <a:gd name="T11" fmla="*/ 12 h 24"/>
                  <a:gd name="T12" fmla="*/ 13 w 45"/>
                  <a:gd name="T13" fmla="*/ 12 h 24"/>
                  <a:gd name="T14" fmla="*/ 12 w 45"/>
                  <a:gd name="T15" fmla="*/ 13 h 24"/>
                  <a:gd name="T16" fmla="*/ 9 w 45"/>
                  <a:gd name="T17" fmla="*/ 15 h 24"/>
                  <a:gd name="T18" fmla="*/ 6 w 45"/>
                  <a:gd name="T19" fmla="*/ 16 h 24"/>
                  <a:gd name="T20" fmla="*/ 3 w 45"/>
                  <a:gd name="T21" fmla="*/ 15 h 24"/>
                  <a:gd name="T22" fmla="*/ 3 w 45"/>
                  <a:gd name="T23" fmla="*/ 15 h 24"/>
                  <a:gd name="T24" fmla="*/ 2 w 45"/>
                  <a:gd name="T25" fmla="*/ 11 h 24"/>
                  <a:gd name="T26" fmla="*/ 0 w 45"/>
                  <a:gd name="T27" fmla="*/ 6 h 24"/>
                  <a:gd name="T28" fmla="*/ 0 w 45"/>
                  <a:gd name="T29" fmla="*/ 3 h 24"/>
                  <a:gd name="T30" fmla="*/ 2 w 45"/>
                  <a:gd name="T31" fmla="*/ 2 h 24"/>
                  <a:gd name="T32" fmla="*/ 3 w 45"/>
                  <a:gd name="T33" fmla="*/ 2 h 24"/>
                  <a:gd name="T34" fmla="*/ 3 w 45"/>
                  <a:gd name="T35" fmla="*/ 2 h 24"/>
                  <a:gd name="T36" fmla="*/ 9 w 45"/>
                  <a:gd name="T37" fmla="*/ 5 h 24"/>
                  <a:gd name="T38" fmla="*/ 13 w 45"/>
                  <a:gd name="T39" fmla="*/ 6 h 24"/>
                  <a:gd name="T40" fmla="*/ 16 w 45"/>
                  <a:gd name="T41" fmla="*/ 6 h 24"/>
                  <a:gd name="T42" fmla="*/ 16 w 45"/>
                  <a:gd name="T43" fmla="*/ 6 h 24"/>
                  <a:gd name="T44" fmla="*/ 19 w 45"/>
                  <a:gd name="T45" fmla="*/ 5 h 24"/>
                  <a:gd name="T46" fmla="*/ 23 w 45"/>
                  <a:gd name="T47" fmla="*/ 3 h 24"/>
                  <a:gd name="T48" fmla="*/ 26 w 45"/>
                  <a:gd name="T49" fmla="*/ 0 h 24"/>
                  <a:gd name="T50" fmla="*/ 28 w 45"/>
                  <a:gd name="T51" fmla="*/ 2 h 24"/>
                  <a:gd name="T52" fmla="*/ 29 w 45"/>
                  <a:gd name="T53" fmla="*/ 2 h 24"/>
                  <a:gd name="T54" fmla="*/ 29 w 45"/>
                  <a:gd name="T55" fmla="*/ 2 h 24"/>
                  <a:gd name="T56" fmla="*/ 39 w 45"/>
                  <a:gd name="T57" fmla="*/ 11 h 24"/>
                  <a:gd name="T58" fmla="*/ 44 w 45"/>
                  <a:gd name="T59" fmla="*/ 16 h 24"/>
                  <a:gd name="T60" fmla="*/ 45 w 45"/>
                  <a:gd name="T61" fmla="*/ 18 h 24"/>
                  <a:gd name="T62" fmla="*/ 45 w 45"/>
                  <a:gd name="T63" fmla="*/ 18 h 24"/>
                  <a:gd name="T64" fmla="*/ 39 w 45"/>
                  <a:gd name="T65" fmla="*/ 22 h 24"/>
                  <a:gd name="T66" fmla="*/ 36 w 45"/>
                  <a:gd name="T67" fmla="*/ 24 h 24"/>
                  <a:gd name="T68" fmla="*/ 33 w 45"/>
                  <a:gd name="T6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" h="24">
                    <a:moveTo>
                      <a:pt x="33" y="24"/>
                    </a:moveTo>
                    <a:lnTo>
                      <a:pt x="33" y="24"/>
                    </a:lnTo>
                    <a:lnTo>
                      <a:pt x="28" y="22"/>
                    </a:lnTo>
                    <a:lnTo>
                      <a:pt x="22" y="18"/>
                    </a:lnTo>
                    <a:lnTo>
                      <a:pt x="16" y="13"/>
                    </a:lnTo>
                    <a:lnTo>
                      <a:pt x="13" y="12"/>
                    </a:lnTo>
                    <a:lnTo>
                      <a:pt x="13" y="12"/>
                    </a:lnTo>
                    <a:lnTo>
                      <a:pt x="12" y="13"/>
                    </a:lnTo>
                    <a:lnTo>
                      <a:pt x="9" y="15"/>
                    </a:lnTo>
                    <a:lnTo>
                      <a:pt x="6" y="16"/>
                    </a:lnTo>
                    <a:lnTo>
                      <a:pt x="3" y="15"/>
                    </a:lnTo>
                    <a:lnTo>
                      <a:pt x="3" y="15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9" y="5"/>
                    </a:lnTo>
                    <a:lnTo>
                      <a:pt x="13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9" y="5"/>
                    </a:lnTo>
                    <a:lnTo>
                      <a:pt x="23" y="3"/>
                    </a:lnTo>
                    <a:lnTo>
                      <a:pt x="26" y="0"/>
                    </a:lnTo>
                    <a:lnTo>
                      <a:pt x="28" y="2"/>
                    </a:lnTo>
                    <a:lnTo>
                      <a:pt x="29" y="2"/>
                    </a:lnTo>
                    <a:lnTo>
                      <a:pt x="29" y="2"/>
                    </a:lnTo>
                    <a:lnTo>
                      <a:pt x="39" y="11"/>
                    </a:lnTo>
                    <a:lnTo>
                      <a:pt x="44" y="16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39" y="22"/>
                    </a:lnTo>
                    <a:lnTo>
                      <a:pt x="36" y="24"/>
                    </a:lnTo>
                    <a:lnTo>
                      <a:pt x="33" y="2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77" name="Freeform 1132"/>
              <p:cNvSpPr>
                <a:spLocks/>
              </p:cNvSpPr>
              <p:nvPr/>
            </p:nvSpPr>
            <p:spPr bwMode="auto">
              <a:xfrm>
                <a:off x="6376410" y="3468495"/>
                <a:ext cx="24731" cy="16817"/>
              </a:xfrm>
              <a:custGeom>
                <a:avLst/>
                <a:gdLst>
                  <a:gd name="T0" fmla="*/ 5 w 25"/>
                  <a:gd name="T1" fmla="*/ 10 h 17"/>
                  <a:gd name="T2" fmla="*/ 5 w 25"/>
                  <a:gd name="T3" fmla="*/ 10 h 17"/>
                  <a:gd name="T4" fmla="*/ 0 w 25"/>
                  <a:gd name="T5" fmla="*/ 13 h 17"/>
                  <a:gd name="T6" fmla="*/ 0 w 25"/>
                  <a:gd name="T7" fmla="*/ 14 h 17"/>
                  <a:gd name="T8" fmla="*/ 2 w 25"/>
                  <a:gd name="T9" fmla="*/ 16 h 17"/>
                  <a:gd name="T10" fmla="*/ 5 w 25"/>
                  <a:gd name="T11" fmla="*/ 17 h 17"/>
                  <a:gd name="T12" fmla="*/ 9 w 25"/>
                  <a:gd name="T13" fmla="*/ 17 h 17"/>
                  <a:gd name="T14" fmla="*/ 9 w 25"/>
                  <a:gd name="T15" fmla="*/ 17 h 17"/>
                  <a:gd name="T16" fmla="*/ 13 w 25"/>
                  <a:gd name="T17" fmla="*/ 17 h 17"/>
                  <a:gd name="T18" fmla="*/ 18 w 25"/>
                  <a:gd name="T19" fmla="*/ 16 h 17"/>
                  <a:gd name="T20" fmla="*/ 25 w 25"/>
                  <a:gd name="T21" fmla="*/ 10 h 17"/>
                  <a:gd name="T22" fmla="*/ 25 w 25"/>
                  <a:gd name="T23" fmla="*/ 10 h 17"/>
                  <a:gd name="T24" fmla="*/ 20 w 25"/>
                  <a:gd name="T25" fmla="*/ 0 h 17"/>
                  <a:gd name="T26" fmla="*/ 20 w 25"/>
                  <a:gd name="T27" fmla="*/ 0 h 17"/>
                  <a:gd name="T28" fmla="*/ 13 w 25"/>
                  <a:gd name="T29" fmla="*/ 4 h 17"/>
                  <a:gd name="T30" fmla="*/ 5 w 25"/>
                  <a:gd name="T31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" h="17">
                    <a:moveTo>
                      <a:pt x="5" y="10"/>
                    </a:moveTo>
                    <a:lnTo>
                      <a:pt x="5" y="10"/>
                    </a:lnTo>
                    <a:lnTo>
                      <a:pt x="0" y="13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3" y="17"/>
                    </a:lnTo>
                    <a:lnTo>
                      <a:pt x="18" y="16"/>
                    </a:lnTo>
                    <a:lnTo>
                      <a:pt x="25" y="10"/>
                    </a:lnTo>
                    <a:lnTo>
                      <a:pt x="25" y="1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4"/>
                    </a:lnTo>
                    <a:lnTo>
                      <a:pt x="5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78" name="Freeform 1133"/>
              <p:cNvSpPr>
                <a:spLocks/>
              </p:cNvSpPr>
              <p:nvPr/>
            </p:nvSpPr>
            <p:spPr bwMode="auto">
              <a:xfrm>
                <a:off x="6376410" y="3468495"/>
                <a:ext cx="24731" cy="16817"/>
              </a:xfrm>
              <a:custGeom>
                <a:avLst/>
                <a:gdLst>
                  <a:gd name="T0" fmla="*/ 5 w 25"/>
                  <a:gd name="T1" fmla="*/ 10 h 17"/>
                  <a:gd name="T2" fmla="*/ 5 w 25"/>
                  <a:gd name="T3" fmla="*/ 10 h 17"/>
                  <a:gd name="T4" fmla="*/ 0 w 25"/>
                  <a:gd name="T5" fmla="*/ 13 h 17"/>
                  <a:gd name="T6" fmla="*/ 0 w 25"/>
                  <a:gd name="T7" fmla="*/ 14 h 17"/>
                  <a:gd name="T8" fmla="*/ 2 w 25"/>
                  <a:gd name="T9" fmla="*/ 16 h 17"/>
                  <a:gd name="T10" fmla="*/ 5 w 25"/>
                  <a:gd name="T11" fmla="*/ 17 h 17"/>
                  <a:gd name="T12" fmla="*/ 9 w 25"/>
                  <a:gd name="T13" fmla="*/ 17 h 17"/>
                  <a:gd name="T14" fmla="*/ 9 w 25"/>
                  <a:gd name="T15" fmla="*/ 17 h 17"/>
                  <a:gd name="T16" fmla="*/ 13 w 25"/>
                  <a:gd name="T17" fmla="*/ 17 h 17"/>
                  <a:gd name="T18" fmla="*/ 18 w 25"/>
                  <a:gd name="T19" fmla="*/ 16 h 17"/>
                  <a:gd name="T20" fmla="*/ 25 w 25"/>
                  <a:gd name="T21" fmla="*/ 10 h 17"/>
                  <a:gd name="T22" fmla="*/ 25 w 25"/>
                  <a:gd name="T23" fmla="*/ 10 h 17"/>
                  <a:gd name="T24" fmla="*/ 20 w 25"/>
                  <a:gd name="T25" fmla="*/ 0 h 17"/>
                  <a:gd name="T26" fmla="*/ 20 w 25"/>
                  <a:gd name="T27" fmla="*/ 0 h 17"/>
                  <a:gd name="T28" fmla="*/ 13 w 25"/>
                  <a:gd name="T29" fmla="*/ 4 h 17"/>
                  <a:gd name="T30" fmla="*/ 5 w 25"/>
                  <a:gd name="T31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" h="17">
                    <a:moveTo>
                      <a:pt x="5" y="10"/>
                    </a:moveTo>
                    <a:lnTo>
                      <a:pt x="5" y="10"/>
                    </a:lnTo>
                    <a:lnTo>
                      <a:pt x="0" y="13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3" y="17"/>
                    </a:lnTo>
                    <a:lnTo>
                      <a:pt x="18" y="16"/>
                    </a:lnTo>
                    <a:lnTo>
                      <a:pt x="25" y="10"/>
                    </a:lnTo>
                    <a:lnTo>
                      <a:pt x="25" y="1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4"/>
                    </a:lnTo>
                    <a:lnTo>
                      <a:pt x="5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79" name="Freeform 1134"/>
              <p:cNvSpPr>
                <a:spLocks/>
              </p:cNvSpPr>
              <p:nvPr/>
            </p:nvSpPr>
            <p:spPr bwMode="auto">
              <a:xfrm>
                <a:off x="6396195" y="3463549"/>
                <a:ext cx="27699" cy="14839"/>
              </a:xfrm>
              <a:custGeom>
                <a:avLst/>
                <a:gdLst>
                  <a:gd name="T0" fmla="*/ 28 w 28"/>
                  <a:gd name="T1" fmla="*/ 2 h 15"/>
                  <a:gd name="T2" fmla="*/ 28 w 28"/>
                  <a:gd name="T3" fmla="*/ 2 h 15"/>
                  <a:gd name="T4" fmla="*/ 22 w 28"/>
                  <a:gd name="T5" fmla="*/ 0 h 15"/>
                  <a:gd name="T6" fmla="*/ 13 w 28"/>
                  <a:gd name="T7" fmla="*/ 0 h 15"/>
                  <a:gd name="T8" fmla="*/ 6 w 28"/>
                  <a:gd name="T9" fmla="*/ 2 h 15"/>
                  <a:gd name="T10" fmla="*/ 2 w 28"/>
                  <a:gd name="T11" fmla="*/ 3 h 15"/>
                  <a:gd name="T12" fmla="*/ 2 w 28"/>
                  <a:gd name="T13" fmla="*/ 3 h 15"/>
                  <a:gd name="T14" fmla="*/ 0 w 28"/>
                  <a:gd name="T15" fmla="*/ 5 h 15"/>
                  <a:gd name="T16" fmla="*/ 0 w 28"/>
                  <a:gd name="T17" fmla="*/ 5 h 15"/>
                  <a:gd name="T18" fmla="*/ 5 w 28"/>
                  <a:gd name="T19" fmla="*/ 15 h 15"/>
                  <a:gd name="T20" fmla="*/ 5 w 28"/>
                  <a:gd name="T21" fmla="*/ 15 h 15"/>
                  <a:gd name="T22" fmla="*/ 12 w 28"/>
                  <a:gd name="T23" fmla="*/ 9 h 15"/>
                  <a:gd name="T24" fmla="*/ 16 w 28"/>
                  <a:gd name="T25" fmla="*/ 6 h 15"/>
                  <a:gd name="T26" fmla="*/ 16 w 28"/>
                  <a:gd name="T27" fmla="*/ 6 h 15"/>
                  <a:gd name="T28" fmla="*/ 25 w 28"/>
                  <a:gd name="T29" fmla="*/ 5 h 15"/>
                  <a:gd name="T30" fmla="*/ 28 w 28"/>
                  <a:gd name="T31" fmla="*/ 3 h 15"/>
                  <a:gd name="T32" fmla="*/ 28 w 28"/>
                  <a:gd name="T33" fmla="*/ 2 h 15"/>
                  <a:gd name="T34" fmla="*/ 28 w 28"/>
                  <a:gd name="T3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8" h="15">
                    <a:moveTo>
                      <a:pt x="28" y="2"/>
                    </a:moveTo>
                    <a:lnTo>
                      <a:pt x="28" y="2"/>
                    </a:lnTo>
                    <a:lnTo>
                      <a:pt x="22" y="0"/>
                    </a:lnTo>
                    <a:lnTo>
                      <a:pt x="13" y="0"/>
                    </a:lnTo>
                    <a:lnTo>
                      <a:pt x="6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12" y="9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25" y="5"/>
                    </a:lnTo>
                    <a:lnTo>
                      <a:pt x="28" y="3"/>
                    </a:lnTo>
                    <a:lnTo>
                      <a:pt x="28" y="2"/>
                    </a:lnTo>
                    <a:lnTo>
                      <a:pt x="28" y="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80" name="Freeform 1135"/>
              <p:cNvSpPr>
                <a:spLocks/>
              </p:cNvSpPr>
              <p:nvPr/>
            </p:nvSpPr>
            <p:spPr bwMode="auto">
              <a:xfrm>
                <a:off x="6396195" y="3463549"/>
                <a:ext cx="27699" cy="14839"/>
              </a:xfrm>
              <a:custGeom>
                <a:avLst/>
                <a:gdLst>
                  <a:gd name="T0" fmla="*/ 28 w 28"/>
                  <a:gd name="T1" fmla="*/ 2 h 15"/>
                  <a:gd name="T2" fmla="*/ 28 w 28"/>
                  <a:gd name="T3" fmla="*/ 2 h 15"/>
                  <a:gd name="T4" fmla="*/ 22 w 28"/>
                  <a:gd name="T5" fmla="*/ 0 h 15"/>
                  <a:gd name="T6" fmla="*/ 13 w 28"/>
                  <a:gd name="T7" fmla="*/ 0 h 15"/>
                  <a:gd name="T8" fmla="*/ 6 w 28"/>
                  <a:gd name="T9" fmla="*/ 2 h 15"/>
                  <a:gd name="T10" fmla="*/ 2 w 28"/>
                  <a:gd name="T11" fmla="*/ 3 h 15"/>
                  <a:gd name="T12" fmla="*/ 2 w 28"/>
                  <a:gd name="T13" fmla="*/ 3 h 15"/>
                  <a:gd name="T14" fmla="*/ 0 w 28"/>
                  <a:gd name="T15" fmla="*/ 5 h 15"/>
                  <a:gd name="T16" fmla="*/ 0 w 28"/>
                  <a:gd name="T17" fmla="*/ 5 h 15"/>
                  <a:gd name="T18" fmla="*/ 5 w 28"/>
                  <a:gd name="T19" fmla="*/ 15 h 15"/>
                  <a:gd name="T20" fmla="*/ 5 w 28"/>
                  <a:gd name="T21" fmla="*/ 15 h 15"/>
                  <a:gd name="T22" fmla="*/ 12 w 28"/>
                  <a:gd name="T23" fmla="*/ 9 h 15"/>
                  <a:gd name="T24" fmla="*/ 16 w 28"/>
                  <a:gd name="T25" fmla="*/ 6 h 15"/>
                  <a:gd name="T26" fmla="*/ 16 w 28"/>
                  <a:gd name="T27" fmla="*/ 6 h 15"/>
                  <a:gd name="T28" fmla="*/ 25 w 28"/>
                  <a:gd name="T29" fmla="*/ 5 h 15"/>
                  <a:gd name="T30" fmla="*/ 28 w 28"/>
                  <a:gd name="T31" fmla="*/ 3 h 15"/>
                  <a:gd name="T32" fmla="*/ 28 w 28"/>
                  <a:gd name="T33" fmla="*/ 2 h 15"/>
                  <a:gd name="T34" fmla="*/ 28 w 28"/>
                  <a:gd name="T3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8" h="15">
                    <a:moveTo>
                      <a:pt x="28" y="2"/>
                    </a:moveTo>
                    <a:lnTo>
                      <a:pt x="28" y="2"/>
                    </a:lnTo>
                    <a:lnTo>
                      <a:pt x="22" y="0"/>
                    </a:lnTo>
                    <a:lnTo>
                      <a:pt x="13" y="0"/>
                    </a:lnTo>
                    <a:lnTo>
                      <a:pt x="6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12" y="9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25" y="5"/>
                    </a:lnTo>
                    <a:lnTo>
                      <a:pt x="28" y="3"/>
                    </a:lnTo>
                    <a:lnTo>
                      <a:pt x="28" y="2"/>
                    </a:lnTo>
                    <a:lnTo>
                      <a:pt x="28" y="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81" name="Freeform 1136"/>
              <p:cNvSpPr>
                <a:spLocks/>
              </p:cNvSpPr>
              <p:nvPr/>
            </p:nvSpPr>
            <p:spPr bwMode="auto">
              <a:xfrm>
                <a:off x="6922481" y="3214256"/>
                <a:ext cx="3957" cy="4946"/>
              </a:xfrm>
              <a:custGeom>
                <a:avLst/>
                <a:gdLst>
                  <a:gd name="T0" fmla="*/ 3 w 4"/>
                  <a:gd name="T1" fmla="*/ 5 h 5"/>
                  <a:gd name="T2" fmla="*/ 3 w 4"/>
                  <a:gd name="T3" fmla="*/ 5 h 5"/>
                  <a:gd name="T4" fmla="*/ 1 w 4"/>
                  <a:gd name="T5" fmla="*/ 5 h 5"/>
                  <a:gd name="T6" fmla="*/ 0 w 4"/>
                  <a:gd name="T7" fmla="*/ 3 h 5"/>
                  <a:gd name="T8" fmla="*/ 0 w 4"/>
                  <a:gd name="T9" fmla="*/ 0 h 5"/>
                  <a:gd name="T10" fmla="*/ 1 w 4"/>
                  <a:gd name="T11" fmla="*/ 0 h 5"/>
                  <a:gd name="T12" fmla="*/ 1 w 4"/>
                  <a:gd name="T13" fmla="*/ 0 h 5"/>
                  <a:gd name="T14" fmla="*/ 3 w 4"/>
                  <a:gd name="T15" fmla="*/ 0 h 5"/>
                  <a:gd name="T16" fmla="*/ 4 w 4"/>
                  <a:gd name="T17" fmla="*/ 2 h 5"/>
                  <a:gd name="T18" fmla="*/ 4 w 4"/>
                  <a:gd name="T19" fmla="*/ 3 h 5"/>
                  <a:gd name="T20" fmla="*/ 3 w 4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5">
                    <a:moveTo>
                      <a:pt x="3" y="5"/>
                    </a:moveTo>
                    <a:lnTo>
                      <a:pt x="3" y="5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4" y="2"/>
                    </a:lnTo>
                    <a:lnTo>
                      <a:pt x="4" y="3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82" name="Freeform 1137"/>
              <p:cNvSpPr>
                <a:spLocks/>
              </p:cNvSpPr>
              <p:nvPr/>
            </p:nvSpPr>
            <p:spPr bwMode="auto">
              <a:xfrm>
                <a:off x="6922481" y="3214256"/>
                <a:ext cx="3957" cy="4946"/>
              </a:xfrm>
              <a:custGeom>
                <a:avLst/>
                <a:gdLst>
                  <a:gd name="T0" fmla="*/ 3 w 4"/>
                  <a:gd name="T1" fmla="*/ 5 h 5"/>
                  <a:gd name="T2" fmla="*/ 3 w 4"/>
                  <a:gd name="T3" fmla="*/ 5 h 5"/>
                  <a:gd name="T4" fmla="*/ 1 w 4"/>
                  <a:gd name="T5" fmla="*/ 5 h 5"/>
                  <a:gd name="T6" fmla="*/ 0 w 4"/>
                  <a:gd name="T7" fmla="*/ 3 h 5"/>
                  <a:gd name="T8" fmla="*/ 0 w 4"/>
                  <a:gd name="T9" fmla="*/ 0 h 5"/>
                  <a:gd name="T10" fmla="*/ 1 w 4"/>
                  <a:gd name="T11" fmla="*/ 0 h 5"/>
                  <a:gd name="T12" fmla="*/ 1 w 4"/>
                  <a:gd name="T13" fmla="*/ 0 h 5"/>
                  <a:gd name="T14" fmla="*/ 3 w 4"/>
                  <a:gd name="T15" fmla="*/ 0 h 5"/>
                  <a:gd name="T16" fmla="*/ 4 w 4"/>
                  <a:gd name="T17" fmla="*/ 2 h 5"/>
                  <a:gd name="T18" fmla="*/ 4 w 4"/>
                  <a:gd name="T19" fmla="*/ 3 h 5"/>
                  <a:gd name="T20" fmla="*/ 3 w 4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5">
                    <a:moveTo>
                      <a:pt x="3" y="5"/>
                    </a:moveTo>
                    <a:lnTo>
                      <a:pt x="3" y="5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4" y="2"/>
                    </a:lnTo>
                    <a:lnTo>
                      <a:pt x="4" y="3"/>
                    </a:lnTo>
                    <a:lnTo>
                      <a:pt x="3" y="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99" name="Freeform 1154"/>
              <p:cNvSpPr>
                <a:spLocks noEditPoints="1"/>
              </p:cNvSpPr>
              <p:nvPr/>
            </p:nvSpPr>
            <p:spPr bwMode="auto">
              <a:xfrm>
                <a:off x="4848003" y="1308942"/>
                <a:ext cx="2561193" cy="1296919"/>
              </a:xfrm>
              <a:custGeom>
                <a:avLst/>
                <a:gdLst>
                  <a:gd name="T0" fmla="*/ 2433 w 2589"/>
                  <a:gd name="T1" fmla="*/ 511 h 1311"/>
                  <a:gd name="T2" fmla="*/ 2284 w 2589"/>
                  <a:gd name="T3" fmla="*/ 488 h 1311"/>
                  <a:gd name="T4" fmla="*/ 2139 w 2589"/>
                  <a:gd name="T5" fmla="*/ 487 h 1311"/>
                  <a:gd name="T6" fmla="*/ 1958 w 2589"/>
                  <a:gd name="T7" fmla="*/ 366 h 1311"/>
                  <a:gd name="T8" fmla="*/ 1806 w 2589"/>
                  <a:gd name="T9" fmla="*/ 324 h 1311"/>
                  <a:gd name="T10" fmla="*/ 1773 w 2589"/>
                  <a:gd name="T11" fmla="*/ 388 h 1311"/>
                  <a:gd name="T12" fmla="*/ 1645 w 2589"/>
                  <a:gd name="T13" fmla="*/ 405 h 1311"/>
                  <a:gd name="T14" fmla="*/ 1623 w 2589"/>
                  <a:gd name="T15" fmla="*/ 349 h 1311"/>
                  <a:gd name="T16" fmla="*/ 1528 w 2589"/>
                  <a:gd name="T17" fmla="*/ 295 h 1311"/>
                  <a:gd name="T18" fmla="*/ 1370 w 2589"/>
                  <a:gd name="T19" fmla="*/ 305 h 1311"/>
                  <a:gd name="T20" fmla="*/ 1325 w 2589"/>
                  <a:gd name="T21" fmla="*/ 204 h 1311"/>
                  <a:gd name="T22" fmla="*/ 1242 w 2589"/>
                  <a:gd name="T23" fmla="*/ 53 h 1311"/>
                  <a:gd name="T24" fmla="*/ 1156 w 2589"/>
                  <a:gd name="T25" fmla="*/ 119 h 1311"/>
                  <a:gd name="T26" fmla="*/ 1101 w 2589"/>
                  <a:gd name="T27" fmla="*/ 108 h 1311"/>
                  <a:gd name="T28" fmla="*/ 925 w 2589"/>
                  <a:gd name="T29" fmla="*/ 235 h 1311"/>
                  <a:gd name="T30" fmla="*/ 876 w 2589"/>
                  <a:gd name="T31" fmla="*/ 403 h 1311"/>
                  <a:gd name="T32" fmla="*/ 782 w 2589"/>
                  <a:gd name="T33" fmla="*/ 337 h 1311"/>
                  <a:gd name="T34" fmla="*/ 733 w 2589"/>
                  <a:gd name="T35" fmla="*/ 385 h 1311"/>
                  <a:gd name="T36" fmla="*/ 801 w 2589"/>
                  <a:gd name="T37" fmla="*/ 578 h 1311"/>
                  <a:gd name="T38" fmla="*/ 675 w 2589"/>
                  <a:gd name="T39" fmla="*/ 607 h 1311"/>
                  <a:gd name="T40" fmla="*/ 728 w 2589"/>
                  <a:gd name="T41" fmla="*/ 311 h 1311"/>
                  <a:gd name="T42" fmla="*/ 634 w 2589"/>
                  <a:gd name="T43" fmla="*/ 468 h 1311"/>
                  <a:gd name="T44" fmla="*/ 521 w 2589"/>
                  <a:gd name="T45" fmla="*/ 505 h 1311"/>
                  <a:gd name="T46" fmla="*/ 413 w 2589"/>
                  <a:gd name="T47" fmla="*/ 540 h 1311"/>
                  <a:gd name="T48" fmla="*/ 320 w 2589"/>
                  <a:gd name="T49" fmla="*/ 582 h 1311"/>
                  <a:gd name="T50" fmla="*/ 262 w 2589"/>
                  <a:gd name="T51" fmla="*/ 614 h 1311"/>
                  <a:gd name="T52" fmla="*/ 146 w 2589"/>
                  <a:gd name="T53" fmla="*/ 656 h 1311"/>
                  <a:gd name="T54" fmla="*/ 111 w 2589"/>
                  <a:gd name="T55" fmla="*/ 627 h 1311"/>
                  <a:gd name="T56" fmla="*/ 216 w 2589"/>
                  <a:gd name="T57" fmla="*/ 566 h 1311"/>
                  <a:gd name="T58" fmla="*/ 72 w 2589"/>
                  <a:gd name="T59" fmla="*/ 468 h 1311"/>
                  <a:gd name="T60" fmla="*/ 33 w 2589"/>
                  <a:gd name="T61" fmla="*/ 656 h 1311"/>
                  <a:gd name="T62" fmla="*/ 3 w 2589"/>
                  <a:gd name="T63" fmla="*/ 872 h 1311"/>
                  <a:gd name="T64" fmla="*/ 103 w 2589"/>
                  <a:gd name="T65" fmla="*/ 1056 h 1311"/>
                  <a:gd name="T66" fmla="*/ 152 w 2589"/>
                  <a:gd name="T67" fmla="*/ 1227 h 1311"/>
                  <a:gd name="T68" fmla="*/ 318 w 2589"/>
                  <a:gd name="T69" fmla="*/ 1212 h 1311"/>
                  <a:gd name="T70" fmla="*/ 413 w 2589"/>
                  <a:gd name="T71" fmla="*/ 1056 h 1311"/>
                  <a:gd name="T72" fmla="*/ 610 w 2589"/>
                  <a:gd name="T73" fmla="*/ 993 h 1311"/>
                  <a:gd name="T74" fmla="*/ 863 w 2589"/>
                  <a:gd name="T75" fmla="*/ 1089 h 1311"/>
                  <a:gd name="T76" fmla="*/ 1138 w 2589"/>
                  <a:gd name="T77" fmla="*/ 1096 h 1311"/>
                  <a:gd name="T78" fmla="*/ 1425 w 2589"/>
                  <a:gd name="T79" fmla="*/ 1118 h 1311"/>
                  <a:gd name="T80" fmla="*/ 1610 w 2589"/>
                  <a:gd name="T81" fmla="*/ 1106 h 1311"/>
                  <a:gd name="T82" fmla="*/ 1665 w 2589"/>
                  <a:gd name="T83" fmla="*/ 1276 h 1311"/>
                  <a:gd name="T84" fmla="*/ 1832 w 2589"/>
                  <a:gd name="T85" fmla="*/ 1059 h 1311"/>
                  <a:gd name="T86" fmla="*/ 1751 w 2589"/>
                  <a:gd name="T87" fmla="*/ 999 h 1311"/>
                  <a:gd name="T88" fmla="*/ 1948 w 2589"/>
                  <a:gd name="T89" fmla="*/ 852 h 1311"/>
                  <a:gd name="T90" fmla="*/ 2055 w 2589"/>
                  <a:gd name="T91" fmla="*/ 860 h 1311"/>
                  <a:gd name="T92" fmla="*/ 2145 w 2589"/>
                  <a:gd name="T93" fmla="*/ 794 h 1311"/>
                  <a:gd name="T94" fmla="*/ 2075 w 2589"/>
                  <a:gd name="T95" fmla="*/ 907 h 1311"/>
                  <a:gd name="T96" fmla="*/ 2117 w 2589"/>
                  <a:gd name="T97" fmla="*/ 1031 h 1311"/>
                  <a:gd name="T98" fmla="*/ 2171 w 2589"/>
                  <a:gd name="T99" fmla="*/ 908 h 1311"/>
                  <a:gd name="T100" fmla="*/ 2255 w 2589"/>
                  <a:gd name="T101" fmla="*/ 812 h 1311"/>
                  <a:gd name="T102" fmla="*/ 2414 w 2589"/>
                  <a:gd name="T103" fmla="*/ 741 h 1311"/>
                  <a:gd name="T104" fmla="*/ 2436 w 2589"/>
                  <a:gd name="T105" fmla="*/ 637 h 1311"/>
                  <a:gd name="T106" fmla="*/ 2542 w 2589"/>
                  <a:gd name="T107" fmla="*/ 669 h 1311"/>
                  <a:gd name="T108" fmla="*/ 688 w 2589"/>
                  <a:gd name="T109" fmla="*/ 494 h 1311"/>
                  <a:gd name="T110" fmla="*/ 53 w 2589"/>
                  <a:gd name="T111" fmla="*/ 830 h 1311"/>
                  <a:gd name="T112" fmla="*/ 129 w 2589"/>
                  <a:gd name="T113" fmla="*/ 804 h 1311"/>
                  <a:gd name="T114" fmla="*/ 139 w 2589"/>
                  <a:gd name="T115" fmla="*/ 788 h 1311"/>
                  <a:gd name="T116" fmla="*/ 182 w 2589"/>
                  <a:gd name="T117" fmla="*/ 872 h 1311"/>
                  <a:gd name="T118" fmla="*/ 963 w 2589"/>
                  <a:gd name="T119" fmla="*/ 450 h 1311"/>
                  <a:gd name="T120" fmla="*/ 1173 w 2589"/>
                  <a:gd name="T121" fmla="*/ 236 h 1311"/>
                  <a:gd name="T122" fmla="*/ 1177 w 2589"/>
                  <a:gd name="T123" fmla="*/ 520 h 1311"/>
                  <a:gd name="T124" fmla="*/ 1302 w 2589"/>
                  <a:gd name="T125" fmla="*/ 1011 h 1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89" h="1311">
                    <a:moveTo>
                      <a:pt x="2581" y="611"/>
                    </a:moveTo>
                    <a:lnTo>
                      <a:pt x="2581" y="611"/>
                    </a:lnTo>
                    <a:lnTo>
                      <a:pt x="2576" y="607"/>
                    </a:lnTo>
                    <a:lnTo>
                      <a:pt x="2573" y="602"/>
                    </a:lnTo>
                    <a:lnTo>
                      <a:pt x="2572" y="594"/>
                    </a:lnTo>
                    <a:lnTo>
                      <a:pt x="2572" y="594"/>
                    </a:lnTo>
                    <a:lnTo>
                      <a:pt x="2571" y="591"/>
                    </a:lnTo>
                    <a:lnTo>
                      <a:pt x="2569" y="591"/>
                    </a:lnTo>
                    <a:lnTo>
                      <a:pt x="2565" y="594"/>
                    </a:lnTo>
                    <a:lnTo>
                      <a:pt x="2565" y="594"/>
                    </a:lnTo>
                    <a:lnTo>
                      <a:pt x="2563" y="594"/>
                    </a:lnTo>
                    <a:lnTo>
                      <a:pt x="2562" y="592"/>
                    </a:lnTo>
                    <a:lnTo>
                      <a:pt x="2560" y="586"/>
                    </a:lnTo>
                    <a:lnTo>
                      <a:pt x="2559" y="582"/>
                    </a:lnTo>
                    <a:lnTo>
                      <a:pt x="2558" y="581"/>
                    </a:lnTo>
                    <a:lnTo>
                      <a:pt x="2556" y="579"/>
                    </a:lnTo>
                    <a:lnTo>
                      <a:pt x="2556" y="579"/>
                    </a:lnTo>
                    <a:lnTo>
                      <a:pt x="2553" y="579"/>
                    </a:lnTo>
                    <a:lnTo>
                      <a:pt x="2549" y="578"/>
                    </a:lnTo>
                    <a:lnTo>
                      <a:pt x="2546" y="578"/>
                    </a:lnTo>
                    <a:lnTo>
                      <a:pt x="2543" y="578"/>
                    </a:lnTo>
                    <a:lnTo>
                      <a:pt x="2543" y="578"/>
                    </a:lnTo>
                    <a:lnTo>
                      <a:pt x="2536" y="576"/>
                    </a:lnTo>
                    <a:lnTo>
                      <a:pt x="2530" y="576"/>
                    </a:lnTo>
                    <a:lnTo>
                      <a:pt x="2527" y="578"/>
                    </a:lnTo>
                    <a:lnTo>
                      <a:pt x="2527" y="578"/>
                    </a:lnTo>
                    <a:lnTo>
                      <a:pt x="2524" y="582"/>
                    </a:lnTo>
                    <a:lnTo>
                      <a:pt x="2524" y="591"/>
                    </a:lnTo>
                    <a:lnTo>
                      <a:pt x="2523" y="598"/>
                    </a:lnTo>
                    <a:lnTo>
                      <a:pt x="2521" y="601"/>
                    </a:lnTo>
                    <a:lnTo>
                      <a:pt x="2521" y="602"/>
                    </a:lnTo>
                    <a:lnTo>
                      <a:pt x="2521" y="602"/>
                    </a:lnTo>
                    <a:lnTo>
                      <a:pt x="2520" y="601"/>
                    </a:lnTo>
                    <a:lnTo>
                      <a:pt x="2518" y="597"/>
                    </a:lnTo>
                    <a:lnTo>
                      <a:pt x="2518" y="585"/>
                    </a:lnTo>
                    <a:lnTo>
                      <a:pt x="2518" y="565"/>
                    </a:lnTo>
                    <a:lnTo>
                      <a:pt x="2518" y="565"/>
                    </a:lnTo>
                    <a:lnTo>
                      <a:pt x="2517" y="558"/>
                    </a:lnTo>
                    <a:lnTo>
                      <a:pt x="2516" y="553"/>
                    </a:lnTo>
                    <a:lnTo>
                      <a:pt x="2514" y="552"/>
                    </a:lnTo>
                    <a:lnTo>
                      <a:pt x="2514" y="552"/>
                    </a:lnTo>
                    <a:lnTo>
                      <a:pt x="2503" y="552"/>
                    </a:lnTo>
                    <a:lnTo>
                      <a:pt x="2488" y="550"/>
                    </a:lnTo>
                    <a:lnTo>
                      <a:pt x="2488" y="550"/>
                    </a:lnTo>
                    <a:lnTo>
                      <a:pt x="2485" y="549"/>
                    </a:lnTo>
                    <a:lnTo>
                      <a:pt x="2484" y="546"/>
                    </a:lnTo>
                    <a:lnTo>
                      <a:pt x="2479" y="542"/>
                    </a:lnTo>
                    <a:lnTo>
                      <a:pt x="2476" y="536"/>
                    </a:lnTo>
                    <a:lnTo>
                      <a:pt x="2475" y="533"/>
                    </a:lnTo>
                    <a:lnTo>
                      <a:pt x="2472" y="531"/>
                    </a:lnTo>
                    <a:lnTo>
                      <a:pt x="2472" y="531"/>
                    </a:lnTo>
                    <a:lnTo>
                      <a:pt x="2462" y="529"/>
                    </a:lnTo>
                    <a:lnTo>
                      <a:pt x="2456" y="526"/>
                    </a:lnTo>
                    <a:lnTo>
                      <a:pt x="2450" y="523"/>
                    </a:lnTo>
                    <a:lnTo>
                      <a:pt x="2450" y="523"/>
                    </a:lnTo>
                    <a:lnTo>
                      <a:pt x="2443" y="517"/>
                    </a:lnTo>
                    <a:lnTo>
                      <a:pt x="2433" y="511"/>
                    </a:lnTo>
                    <a:lnTo>
                      <a:pt x="2433" y="511"/>
                    </a:lnTo>
                    <a:lnTo>
                      <a:pt x="2427" y="507"/>
                    </a:lnTo>
                    <a:lnTo>
                      <a:pt x="2424" y="504"/>
                    </a:lnTo>
                    <a:lnTo>
                      <a:pt x="2419" y="497"/>
                    </a:lnTo>
                    <a:lnTo>
                      <a:pt x="2419" y="497"/>
                    </a:lnTo>
                    <a:lnTo>
                      <a:pt x="2416" y="494"/>
                    </a:lnTo>
                    <a:lnTo>
                      <a:pt x="2413" y="494"/>
                    </a:lnTo>
                    <a:lnTo>
                      <a:pt x="2410" y="494"/>
                    </a:lnTo>
                    <a:lnTo>
                      <a:pt x="2405" y="492"/>
                    </a:lnTo>
                    <a:lnTo>
                      <a:pt x="2405" y="492"/>
                    </a:lnTo>
                    <a:lnTo>
                      <a:pt x="2404" y="489"/>
                    </a:lnTo>
                    <a:lnTo>
                      <a:pt x="2403" y="485"/>
                    </a:lnTo>
                    <a:lnTo>
                      <a:pt x="2401" y="481"/>
                    </a:lnTo>
                    <a:lnTo>
                      <a:pt x="2400" y="478"/>
                    </a:lnTo>
                    <a:lnTo>
                      <a:pt x="2398" y="478"/>
                    </a:lnTo>
                    <a:lnTo>
                      <a:pt x="2398" y="478"/>
                    </a:lnTo>
                    <a:lnTo>
                      <a:pt x="2377" y="469"/>
                    </a:lnTo>
                    <a:lnTo>
                      <a:pt x="2377" y="469"/>
                    </a:lnTo>
                    <a:lnTo>
                      <a:pt x="2372" y="466"/>
                    </a:lnTo>
                    <a:lnTo>
                      <a:pt x="2371" y="462"/>
                    </a:lnTo>
                    <a:lnTo>
                      <a:pt x="2368" y="458"/>
                    </a:lnTo>
                    <a:lnTo>
                      <a:pt x="2362" y="453"/>
                    </a:lnTo>
                    <a:lnTo>
                      <a:pt x="2362" y="453"/>
                    </a:lnTo>
                    <a:lnTo>
                      <a:pt x="2356" y="452"/>
                    </a:lnTo>
                    <a:lnTo>
                      <a:pt x="2349" y="450"/>
                    </a:lnTo>
                    <a:lnTo>
                      <a:pt x="2333" y="450"/>
                    </a:lnTo>
                    <a:lnTo>
                      <a:pt x="2316" y="452"/>
                    </a:lnTo>
                    <a:lnTo>
                      <a:pt x="2303" y="452"/>
                    </a:lnTo>
                    <a:lnTo>
                      <a:pt x="2303" y="452"/>
                    </a:lnTo>
                    <a:lnTo>
                      <a:pt x="2294" y="449"/>
                    </a:lnTo>
                    <a:lnTo>
                      <a:pt x="2288" y="446"/>
                    </a:lnTo>
                    <a:lnTo>
                      <a:pt x="2284" y="443"/>
                    </a:lnTo>
                    <a:lnTo>
                      <a:pt x="2282" y="443"/>
                    </a:lnTo>
                    <a:lnTo>
                      <a:pt x="2281" y="445"/>
                    </a:lnTo>
                    <a:lnTo>
                      <a:pt x="2281" y="445"/>
                    </a:lnTo>
                    <a:lnTo>
                      <a:pt x="2279" y="447"/>
                    </a:lnTo>
                    <a:lnTo>
                      <a:pt x="2279" y="450"/>
                    </a:lnTo>
                    <a:lnTo>
                      <a:pt x="2284" y="455"/>
                    </a:lnTo>
                    <a:lnTo>
                      <a:pt x="2284" y="455"/>
                    </a:lnTo>
                    <a:lnTo>
                      <a:pt x="2284" y="455"/>
                    </a:lnTo>
                    <a:lnTo>
                      <a:pt x="2284" y="456"/>
                    </a:lnTo>
                    <a:lnTo>
                      <a:pt x="2281" y="456"/>
                    </a:lnTo>
                    <a:lnTo>
                      <a:pt x="2277" y="459"/>
                    </a:lnTo>
                    <a:lnTo>
                      <a:pt x="2275" y="460"/>
                    </a:lnTo>
                    <a:lnTo>
                      <a:pt x="2275" y="460"/>
                    </a:lnTo>
                    <a:lnTo>
                      <a:pt x="2275" y="463"/>
                    </a:lnTo>
                    <a:lnTo>
                      <a:pt x="2277" y="466"/>
                    </a:lnTo>
                    <a:lnTo>
                      <a:pt x="2278" y="469"/>
                    </a:lnTo>
                    <a:lnTo>
                      <a:pt x="2282" y="471"/>
                    </a:lnTo>
                    <a:lnTo>
                      <a:pt x="2282" y="471"/>
                    </a:lnTo>
                    <a:lnTo>
                      <a:pt x="2284" y="472"/>
                    </a:lnTo>
                    <a:lnTo>
                      <a:pt x="2285" y="473"/>
                    </a:lnTo>
                    <a:lnTo>
                      <a:pt x="2282" y="479"/>
                    </a:lnTo>
                    <a:lnTo>
                      <a:pt x="2282" y="479"/>
                    </a:lnTo>
                    <a:lnTo>
                      <a:pt x="2282" y="482"/>
                    </a:lnTo>
                    <a:lnTo>
                      <a:pt x="2282" y="485"/>
                    </a:lnTo>
                    <a:lnTo>
                      <a:pt x="2284" y="488"/>
                    </a:lnTo>
                    <a:lnTo>
                      <a:pt x="2285" y="489"/>
                    </a:lnTo>
                    <a:lnTo>
                      <a:pt x="2285" y="489"/>
                    </a:lnTo>
                    <a:lnTo>
                      <a:pt x="2287" y="492"/>
                    </a:lnTo>
                    <a:lnTo>
                      <a:pt x="2285" y="495"/>
                    </a:lnTo>
                    <a:lnTo>
                      <a:pt x="2281" y="498"/>
                    </a:lnTo>
                    <a:lnTo>
                      <a:pt x="2281" y="498"/>
                    </a:lnTo>
                    <a:lnTo>
                      <a:pt x="2279" y="500"/>
                    </a:lnTo>
                    <a:lnTo>
                      <a:pt x="2278" y="504"/>
                    </a:lnTo>
                    <a:lnTo>
                      <a:pt x="2277" y="508"/>
                    </a:lnTo>
                    <a:lnTo>
                      <a:pt x="2274" y="510"/>
                    </a:lnTo>
                    <a:lnTo>
                      <a:pt x="2274" y="510"/>
                    </a:lnTo>
                    <a:lnTo>
                      <a:pt x="2271" y="510"/>
                    </a:lnTo>
                    <a:lnTo>
                      <a:pt x="2269" y="507"/>
                    </a:lnTo>
                    <a:lnTo>
                      <a:pt x="2266" y="502"/>
                    </a:lnTo>
                    <a:lnTo>
                      <a:pt x="2266" y="502"/>
                    </a:lnTo>
                    <a:lnTo>
                      <a:pt x="2265" y="501"/>
                    </a:lnTo>
                    <a:lnTo>
                      <a:pt x="2265" y="502"/>
                    </a:lnTo>
                    <a:lnTo>
                      <a:pt x="2264" y="505"/>
                    </a:lnTo>
                    <a:lnTo>
                      <a:pt x="2264" y="513"/>
                    </a:lnTo>
                    <a:lnTo>
                      <a:pt x="2264" y="513"/>
                    </a:lnTo>
                    <a:lnTo>
                      <a:pt x="2262" y="511"/>
                    </a:lnTo>
                    <a:lnTo>
                      <a:pt x="2259" y="505"/>
                    </a:lnTo>
                    <a:lnTo>
                      <a:pt x="2258" y="498"/>
                    </a:lnTo>
                    <a:lnTo>
                      <a:pt x="2256" y="494"/>
                    </a:lnTo>
                    <a:lnTo>
                      <a:pt x="2256" y="494"/>
                    </a:lnTo>
                    <a:lnTo>
                      <a:pt x="2255" y="491"/>
                    </a:lnTo>
                    <a:lnTo>
                      <a:pt x="2251" y="487"/>
                    </a:lnTo>
                    <a:lnTo>
                      <a:pt x="2246" y="484"/>
                    </a:lnTo>
                    <a:lnTo>
                      <a:pt x="2243" y="479"/>
                    </a:lnTo>
                    <a:lnTo>
                      <a:pt x="2243" y="479"/>
                    </a:lnTo>
                    <a:lnTo>
                      <a:pt x="2242" y="473"/>
                    </a:lnTo>
                    <a:lnTo>
                      <a:pt x="2240" y="468"/>
                    </a:lnTo>
                    <a:lnTo>
                      <a:pt x="2239" y="462"/>
                    </a:lnTo>
                    <a:lnTo>
                      <a:pt x="2237" y="459"/>
                    </a:lnTo>
                    <a:lnTo>
                      <a:pt x="2237" y="459"/>
                    </a:lnTo>
                    <a:lnTo>
                      <a:pt x="2236" y="458"/>
                    </a:lnTo>
                    <a:lnTo>
                      <a:pt x="2235" y="459"/>
                    </a:lnTo>
                    <a:lnTo>
                      <a:pt x="2233" y="465"/>
                    </a:lnTo>
                    <a:lnTo>
                      <a:pt x="2233" y="465"/>
                    </a:lnTo>
                    <a:lnTo>
                      <a:pt x="2232" y="466"/>
                    </a:lnTo>
                    <a:lnTo>
                      <a:pt x="2227" y="466"/>
                    </a:lnTo>
                    <a:lnTo>
                      <a:pt x="2216" y="466"/>
                    </a:lnTo>
                    <a:lnTo>
                      <a:pt x="2203" y="465"/>
                    </a:lnTo>
                    <a:lnTo>
                      <a:pt x="2193" y="463"/>
                    </a:lnTo>
                    <a:lnTo>
                      <a:pt x="2193" y="463"/>
                    </a:lnTo>
                    <a:lnTo>
                      <a:pt x="2185" y="460"/>
                    </a:lnTo>
                    <a:lnTo>
                      <a:pt x="2174" y="459"/>
                    </a:lnTo>
                    <a:lnTo>
                      <a:pt x="2164" y="458"/>
                    </a:lnTo>
                    <a:lnTo>
                      <a:pt x="2156" y="459"/>
                    </a:lnTo>
                    <a:lnTo>
                      <a:pt x="2156" y="459"/>
                    </a:lnTo>
                    <a:lnTo>
                      <a:pt x="2151" y="462"/>
                    </a:lnTo>
                    <a:lnTo>
                      <a:pt x="2146" y="466"/>
                    </a:lnTo>
                    <a:lnTo>
                      <a:pt x="2143" y="471"/>
                    </a:lnTo>
                    <a:lnTo>
                      <a:pt x="2140" y="473"/>
                    </a:lnTo>
                    <a:lnTo>
                      <a:pt x="2140" y="473"/>
                    </a:lnTo>
                    <a:lnTo>
                      <a:pt x="2139" y="479"/>
                    </a:lnTo>
                    <a:lnTo>
                      <a:pt x="2139" y="487"/>
                    </a:lnTo>
                    <a:lnTo>
                      <a:pt x="2139" y="494"/>
                    </a:lnTo>
                    <a:lnTo>
                      <a:pt x="2138" y="498"/>
                    </a:lnTo>
                    <a:lnTo>
                      <a:pt x="2138" y="498"/>
                    </a:lnTo>
                    <a:lnTo>
                      <a:pt x="2136" y="498"/>
                    </a:lnTo>
                    <a:lnTo>
                      <a:pt x="2135" y="497"/>
                    </a:lnTo>
                    <a:lnTo>
                      <a:pt x="2133" y="491"/>
                    </a:lnTo>
                    <a:lnTo>
                      <a:pt x="2133" y="485"/>
                    </a:lnTo>
                    <a:lnTo>
                      <a:pt x="2133" y="479"/>
                    </a:lnTo>
                    <a:lnTo>
                      <a:pt x="2133" y="479"/>
                    </a:lnTo>
                    <a:lnTo>
                      <a:pt x="2133" y="478"/>
                    </a:lnTo>
                    <a:lnTo>
                      <a:pt x="2130" y="475"/>
                    </a:lnTo>
                    <a:lnTo>
                      <a:pt x="2127" y="473"/>
                    </a:lnTo>
                    <a:lnTo>
                      <a:pt x="2125" y="469"/>
                    </a:lnTo>
                    <a:lnTo>
                      <a:pt x="2125" y="469"/>
                    </a:lnTo>
                    <a:lnTo>
                      <a:pt x="2111" y="455"/>
                    </a:lnTo>
                    <a:lnTo>
                      <a:pt x="2111" y="455"/>
                    </a:lnTo>
                    <a:lnTo>
                      <a:pt x="2110" y="453"/>
                    </a:lnTo>
                    <a:lnTo>
                      <a:pt x="2110" y="452"/>
                    </a:lnTo>
                    <a:lnTo>
                      <a:pt x="2111" y="450"/>
                    </a:lnTo>
                    <a:lnTo>
                      <a:pt x="2111" y="447"/>
                    </a:lnTo>
                    <a:lnTo>
                      <a:pt x="2111" y="447"/>
                    </a:lnTo>
                    <a:lnTo>
                      <a:pt x="2113" y="445"/>
                    </a:lnTo>
                    <a:lnTo>
                      <a:pt x="2111" y="442"/>
                    </a:lnTo>
                    <a:lnTo>
                      <a:pt x="2107" y="431"/>
                    </a:lnTo>
                    <a:lnTo>
                      <a:pt x="2107" y="431"/>
                    </a:lnTo>
                    <a:lnTo>
                      <a:pt x="2106" y="426"/>
                    </a:lnTo>
                    <a:lnTo>
                      <a:pt x="2101" y="417"/>
                    </a:lnTo>
                    <a:lnTo>
                      <a:pt x="2096" y="410"/>
                    </a:lnTo>
                    <a:lnTo>
                      <a:pt x="2093" y="405"/>
                    </a:lnTo>
                    <a:lnTo>
                      <a:pt x="2090" y="404"/>
                    </a:lnTo>
                    <a:lnTo>
                      <a:pt x="2090" y="404"/>
                    </a:lnTo>
                    <a:lnTo>
                      <a:pt x="2085" y="403"/>
                    </a:lnTo>
                    <a:lnTo>
                      <a:pt x="2080" y="401"/>
                    </a:lnTo>
                    <a:lnTo>
                      <a:pt x="2065" y="401"/>
                    </a:lnTo>
                    <a:lnTo>
                      <a:pt x="2038" y="404"/>
                    </a:lnTo>
                    <a:lnTo>
                      <a:pt x="2038" y="404"/>
                    </a:lnTo>
                    <a:lnTo>
                      <a:pt x="2014" y="410"/>
                    </a:lnTo>
                    <a:lnTo>
                      <a:pt x="2004" y="411"/>
                    </a:lnTo>
                    <a:lnTo>
                      <a:pt x="1997" y="413"/>
                    </a:lnTo>
                    <a:lnTo>
                      <a:pt x="1997" y="413"/>
                    </a:lnTo>
                    <a:lnTo>
                      <a:pt x="1991" y="411"/>
                    </a:lnTo>
                    <a:lnTo>
                      <a:pt x="1985" y="408"/>
                    </a:lnTo>
                    <a:lnTo>
                      <a:pt x="1977" y="403"/>
                    </a:lnTo>
                    <a:lnTo>
                      <a:pt x="1977" y="403"/>
                    </a:lnTo>
                    <a:lnTo>
                      <a:pt x="1972" y="397"/>
                    </a:lnTo>
                    <a:lnTo>
                      <a:pt x="1967" y="389"/>
                    </a:lnTo>
                    <a:lnTo>
                      <a:pt x="1958" y="375"/>
                    </a:lnTo>
                    <a:lnTo>
                      <a:pt x="1958" y="375"/>
                    </a:lnTo>
                    <a:lnTo>
                      <a:pt x="1954" y="372"/>
                    </a:lnTo>
                    <a:lnTo>
                      <a:pt x="1951" y="371"/>
                    </a:lnTo>
                    <a:lnTo>
                      <a:pt x="1948" y="369"/>
                    </a:lnTo>
                    <a:lnTo>
                      <a:pt x="1946" y="366"/>
                    </a:lnTo>
                    <a:lnTo>
                      <a:pt x="1946" y="366"/>
                    </a:lnTo>
                    <a:lnTo>
                      <a:pt x="1949" y="365"/>
                    </a:lnTo>
                    <a:lnTo>
                      <a:pt x="1952" y="365"/>
                    </a:lnTo>
                    <a:lnTo>
                      <a:pt x="1958" y="366"/>
                    </a:lnTo>
                    <a:lnTo>
                      <a:pt x="1958" y="366"/>
                    </a:lnTo>
                    <a:lnTo>
                      <a:pt x="1958" y="365"/>
                    </a:lnTo>
                    <a:lnTo>
                      <a:pt x="1958" y="361"/>
                    </a:lnTo>
                    <a:lnTo>
                      <a:pt x="1956" y="350"/>
                    </a:lnTo>
                    <a:lnTo>
                      <a:pt x="1956" y="350"/>
                    </a:lnTo>
                    <a:lnTo>
                      <a:pt x="1954" y="347"/>
                    </a:lnTo>
                    <a:lnTo>
                      <a:pt x="1949" y="343"/>
                    </a:lnTo>
                    <a:lnTo>
                      <a:pt x="1943" y="340"/>
                    </a:lnTo>
                    <a:lnTo>
                      <a:pt x="1936" y="340"/>
                    </a:lnTo>
                    <a:lnTo>
                      <a:pt x="1936" y="340"/>
                    </a:lnTo>
                    <a:lnTo>
                      <a:pt x="1930" y="339"/>
                    </a:lnTo>
                    <a:lnTo>
                      <a:pt x="1926" y="337"/>
                    </a:lnTo>
                    <a:lnTo>
                      <a:pt x="1922" y="336"/>
                    </a:lnTo>
                    <a:lnTo>
                      <a:pt x="1917" y="336"/>
                    </a:lnTo>
                    <a:lnTo>
                      <a:pt x="1917" y="336"/>
                    </a:lnTo>
                    <a:lnTo>
                      <a:pt x="1913" y="336"/>
                    </a:lnTo>
                    <a:lnTo>
                      <a:pt x="1910" y="337"/>
                    </a:lnTo>
                    <a:lnTo>
                      <a:pt x="1910" y="337"/>
                    </a:lnTo>
                    <a:lnTo>
                      <a:pt x="1909" y="339"/>
                    </a:lnTo>
                    <a:lnTo>
                      <a:pt x="1909" y="339"/>
                    </a:lnTo>
                    <a:lnTo>
                      <a:pt x="1903" y="339"/>
                    </a:lnTo>
                    <a:lnTo>
                      <a:pt x="1897" y="337"/>
                    </a:lnTo>
                    <a:lnTo>
                      <a:pt x="1897" y="337"/>
                    </a:lnTo>
                    <a:lnTo>
                      <a:pt x="1893" y="339"/>
                    </a:lnTo>
                    <a:lnTo>
                      <a:pt x="1890" y="340"/>
                    </a:lnTo>
                    <a:lnTo>
                      <a:pt x="1884" y="346"/>
                    </a:lnTo>
                    <a:lnTo>
                      <a:pt x="1884" y="346"/>
                    </a:lnTo>
                    <a:lnTo>
                      <a:pt x="1880" y="346"/>
                    </a:lnTo>
                    <a:lnTo>
                      <a:pt x="1875" y="347"/>
                    </a:lnTo>
                    <a:lnTo>
                      <a:pt x="1864" y="346"/>
                    </a:lnTo>
                    <a:lnTo>
                      <a:pt x="1864" y="346"/>
                    </a:lnTo>
                    <a:lnTo>
                      <a:pt x="1861" y="346"/>
                    </a:lnTo>
                    <a:lnTo>
                      <a:pt x="1861" y="345"/>
                    </a:lnTo>
                    <a:lnTo>
                      <a:pt x="1867" y="340"/>
                    </a:lnTo>
                    <a:lnTo>
                      <a:pt x="1867" y="340"/>
                    </a:lnTo>
                    <a:lnTo>
                      <a:pt x="1868" y="337"/>
                    </a:lnTo>
                    <a:lnTo>
                      <a:pt x="1868" y="336"/>
                    </a:lnTo>
                    <a:lnTo>
                      <a:pt x="1867" y="332"/>
                    </a:lnTo>
                    <a:lnTo>
                      <a:pt x="1867" y="332"/>
                    </a:lnTo>
                    <a:lnTo>
                      <a:pt x="1867" y="330"/>
                    </a:lnTo>
                    <a:lnTo>
                      <a:pt x="1868" y="329"/>
                    </a:lnTo>
                    <a:lnTo>
                      <a:pt x="1874" y="327"/>
                    </a:lnTo>
                    <a:lnTo>
                      <a:pt x="1874" y="327"/>
                    </a:lnTo>
                    <a:lnTo>
                      <a:pt x="1890" y="332"/>
                    </a:lnTo>
                    <a:lnTo>
                      <a:pt x="1899" y="334"/>
                    </a:lnTo>
                    <a:lnTo>
                      <a:pt x="1906" y="334"/>
                    </a:lnTo>
                    <a:lnTo>
                      <a:pt x="1906" y="334"/>
                    </a:lnTo>
                    <a:lnTo>
                      <a:pt x="1906" y="333"/>
                    </a:lnTo>
                    <a:lnTo>
                      <a:pt x="1904" y="332"/>
                    </a:lnTo>
                    <a:lnTo>
                      <a:pt x="1893" y="327"/>
                    </a:lnTo>
                    <a:lnTo>
                      <a:pt x="1880" y="323"/>
                    </a:lnTo>
                    <a:lnTo>
                      <a:pt x="1867" y="321"/>
                    </a:lnTo>
                    <a:lnTo>
                      <a:pt x="1867" y="321"/>
                    </a:lnTo>
                    <a:lnTo>
                      <a:pt x="1842" y="319"/>
                    </a:lnTo>
                    <a:lnTo>
                      <a:pt x="1829" y="319"/>
                    </a:lnTo>
                    <a:lnTo>
                      <a:pt x="1822" y="319"/>
                    </a:lnTo>
                    <a:lnTo>
                      <a:pt x="1822" y="319"/>
                    </a:lnTo>
                    <a:lnTo>
                      <a:pt x="1806" y="324"/>
                    </a:lnTo>
                    <a:lnTo>
                      <a:pt x="1791" y="327"/>
                    </a:lnTo>
                    <a:lnTo>
                      <a:pt x="1791" y="327"/>
                    </a:lnTo>
                    <a:lnTo>
                      <a:pt x="1790" y="330"/>
                    </a:lnTo>
                    <a:lnTo>
                      <a:pt x="1787" y="333"/>
                    </a:lnTo>
                    <a:lnTo>
                      <a:pt x="1787" y="339"/>
                    </a:lnTo>
                    <a:lnTo>
                      <a:pt x="1787" y="343"/>
                    </a:lnTo>
                    <a:lnTo>
                      <a:pt x="1787" y="343"/>
                    </a:lnTo>
                    <a:lnTo>
                      <a:pt x="1788" y="346"/>
                    </a:lnTo>
                    <a:lnTo>
                      <a:pt x="1790" y="346"/>
                    </a:lnTo>
                    <a:lnTo>
                      <a:pt x="1793" y="342"/>
                    </a:lnTo>
                    <a:lnTo>
                      <a:pt x="1793" y="342"/>
                    </a:lnTo>
                    <a:lnTo>
                      <a:pt x="1796" y="342"/>
                    </a:lnTo>
                    <a:lnTo>
                      <a:pt x="1797" y="343"/>
                    </a:lnTo>
                    <a:lnTo>
                      <a:pt x="1799" y="345"/>
                    </a:lnTo>
                    <a:lnTo>
                      <a:pt x="1803" y="346"/>
                    </a:lnTo>
                    <a:lnTo>
                      <a:pt x="1803" y="346"/>
                    </a:lnTo>
                    <a:lnTo>
                      <a:pt x="1804" y="347"/>
                    </a:lnTo>
                    <a:lnTo>
                      <a:pt x="1802" y="347"/>
                    </a:lnTo>
                    <a:lnTo>
                      <a:pt x="1799" y="347"/>
                    </a:lnTo>
                    <a:lnTo>
                      <a:pt x="1797" y="349"/>
                    </a:lnTo>
                    <a:lnTo>
                      <a:pt x="1797" y="349"/>
                    </a:lnTo>
                    <a:lnTo>
                      <a:pt x="1797" y="350"/>
                    </a:lnTo>
                    <a:lnTo>
                      <a:pt x="1796" y="350"/>
                    </a:lnTo>
                    <a:lnTo>
                      <a:pt x="1791" y="356"/>
                    </a:lnTo>
                    <a:lnTo>
                      <a:pt x="1791" y="356"/>
                    </a:lnTo>
                    <a:lnTo>
                      <a:pt x="1791" y="358"/>
                    </a:lnTo>
                    <a:lnTo>
                      <a:pt x="1791" y="361"/>
                    </a:lnTo>
                    <a:lnTo>
                      <a:pt x="1796" y="366"/>
                    </a:lnTo>
                    <a:lnTo>
                      <a:pt x="1800" y="372"/>
                    </a:lnTo>
                    <a:lnTo>
                      <a:pt x="1802" y="376"/>
                    </a:lnTo>
                    <a:lnTo>
                      <a:pt x="1802" y="376"/>
                    </a:lnTo>
                    <a:lnTo>
                      <a:pt x="1802" y="378"/>
                    </a:lnTo>
                    <a:lnTo>
                      <a:pt x="1800" y="378"/>
                    </a:lnTo>
                    <a:lnTo>
                      <a:pt x="1796" y="376"/>
                    </a:lnTo>
                    <a:lnTo>
                      <a:pt x="1796" y="376"/>
                    </a:lnTo>
                    <a:lnTo>
                      <a:pt x="1794" y="378"/>
                    </a:lnTo>
                    <a:lnTo>
                      <a:pt x="1791" y="379"/>
                    </a:lnTo>
                    <a:lnTo>
                      <a:pt x="1788" y="382"/>
                    </a:lnTo>
                    <a:lnTo>
                      <a:pt x="1788" y="382"/>
                    </a:lnTo>
                    <a:lnTo>
                      <a:pt x="1787" y="382"/>
                    </a:lnTo>
                    <a:lnTo>
                      <a:pt x="1786" y="381"/>
                    </a:lnTo>
                    <a:lnTo>
                      <a:pt x="1784" y="378"/>
                    </a:lnTo>
                    <a:lnTo>
                      <a:pt x="1783" y="374"/>
                    </a:lnTo>
                    <a:lnTo>
                      <a:pt x="1783" y="371"/>
                    </a:lnTo>
                    <a:lnTo>
                      <a:pt x="1783" y="371"/>
                    </a:lnTo>
                    <a:lnTo>
                      <a:pt x="1781" y="371"/>
                    </a:lnTo>
                    <a:lnTo>
                      <a:pt x="1778" y="369"/>
                    </a:lnTo>
                    <a:lnTo>
                      <a:pt x="1774" y="369"/>
                    </a:lnTo>
                    <a:lnTo>
                      <a:pt x="1770" y="371"/>
                    </a:lnTo>
                    <a:lnTo>
                      <a:pt x="1770" y="371"/>
                    </a:lnTo>
                    <a:lnTo>
                      <a:pt x="1768" y="372"/>
                    </a:lnTo>
                    <a:lnTo>
                      <a:pt x="1768" y="374"/>
                    </a:lnTo>
                    <a:lnTo>
                      <a:pt x="1770" y="378"/>
                    </a:lnTo>
                    <a:lnTo>
                      <a:pt x="1774" y="385"/>
                    </a:lnTo>
                    <a:lnTo>
                      <a:pt x="1774" y="385"/>
                    </a:lnTo>
                    <a:lnTo>
                      <a:pt x="1774" y="387"/>
                    </a:lnTo>
                    <a:lnTo>
                      <a:pt x="1773" y="388"/>
                    </a:lnTo>
                    <a:lnTo>
                      <a:pt x="1768" y="387"/>
                    </a:lnTo>
                    <a:lnTo>
                      <a:pt x="1768" y="387"/>
                    </a:lnTo>
                    <a:lnTo>
                      <a:pt x="1767" y="388"/>
                    </a:lnTo>
                    <a:lnTo>
                      <a:pt x="1765" y="392"/>
                    </a:lnTo>
                    <a:lnTo>
                      <a:pt x="1765" y="397"/>
                    </a:lnTo>
                    <a:lnTo>
                      <a:pt x="1764" y="397"/>
                    </a:lnTo>
                    <a:lnTo>
                      <a:pt x="1764" y="398"/>
                    </a:lnTo>
                    <a:lnTo>
                      <a:pt x="1764" y="398"/>
                    </a:lnTo>
                    <a:lnTo>
                      <a:pt x="1761" y="395"/>
                    </a:lnTo>
                    <a:lnTo>
                      <a:pt x="1757" y="391"/>
                    </a:lnTo>
                    <a:lnTo>
                      <a:pt x="1752" y="385"/>
                    </a:lnTo>
                    <a:lnTo>
                      <a:pt x="1749" y="381"/>
                    </a:lnTo>
                    <a:lnTo>
                      <a:pt x="1749" y="381"/>
                    </a:lnTo>
                    <a:lnTo>
                      <a:pt x="1742" y="378"/>
                    </a:lnTo>
                    <a:lnTo>
                      <a:pt x="1739" y="376"/>
                    </a:lnTo>
                    <a:lnTo>
                      <a:pt x="1736" y="376"/>
                    </a:lnTo>
                    <a:lnTo>
                      <a:pt x="1736" y="376"/>
                    </a:lnTo>
                    <a:lnTo>
                      <a:pt x="1733" y="375"/>
                    </a:lnTo>
                    <a:lnTo>
                      <a:pt x="1731" y="374"/>
                    </a:lnTo>
                    <a:lnTo>
                      <a:pt x="1726" y="372"/>
                    </a:lnTo>
                    <a:lnTo>
                      <a:pt x="1722" y="371"/>
                    </a:lnTo>
                    <a:lnTo>
                      <a:pt x="1722" y="371"/>
                    </a:lnTo>
                    <a:lnTo>
                      <a:pt x="1718" y="371"/>
                    </a:lnTo>
                    <a:lnTo>
                      <a:pt x="1713" y="372"/>
                    </a:lnTo>
                    <a:lnTo>
                      <a:pt x="1709" y="376"/>
                    </a:lnTo>
                    <a:lnTo>
                      <a:pt x="1709" y="376"/>
                    </a:lnTo>
                    <a:lnTo>
                      <a:pt x="1703" y="379"/>
                    </a:lnTo>
                    <a:lnTo>
                      <a:pt x="1696" y="379"/>
                    </a:lnTo>
                    <a:lnTo>
                      <a:pt x="1696" y="379"/>
                    </a:lnTo>
                    <a:lnTo>
                      <a:pt x="1694" y="379"/>
                    </a:lnTo>
                    <a:lnTo>
                      <a:pt x="1693" y="376"/>
                    </a:lnTo>
                    <a:lnTo>
                      <a:pt x="1690" y="371"/>
                    </a:lnTo>
                    <a:lnTo>
                      <a:pt x="1684" y="358"/>
                    </a:lnTo>
                    <a:lnTo>
                      <a:pt x="1684" y="358"/>
                    </a:lnTo>
                    <a:lnTo>
                      <a:pt x="1681" y="355"/>
                    </a:lnTo>
                    <a:lnTo>
                      <a:pt x="1681" y="356"/>
                    </a:lnTo>
                    <a:lnTo>
                      <a:pt x="1680" y="361"/>
                    </a:lnTo>
                    <a:lnTo>
                      <a:pt x="1677" y="365"/>
                    </a:lnTo>
                    <a:lnTo>
                      <a:pt x="1677" y="365"/>
                    </a:lnTo>
                    <a:lnTo>
                      <a:pt x="1674" y="372"/>
                    </a:lnTo>
                    <a:lnTo>
                      <a:pt x="1671" y="378"/>
                    </a:lnTo>
                    <a:lnTo>
                      <a:pt x="1671" y="392"/>
                    </a:lnTo>
                    <a:lnTo>
                      <a:pt x="1671" y="392"/>
                    </a:lnTo>
                    <a:lnTo>
                      <a:pt x="1670" y="397"/>
                    </a:lnTo>
                    <a:lnTo>
                      <a:pt x="1668" y="401"/>
                    </a:lnTo>
                    <a:lnTo>
                      <a:pt x="1665" y="407"/>
                    </a:lnTo>
                    <a:lnTo>
                      <a:pt x="1658" y="416"/>
                    </a:lnTo>
                    <a:lnTo>
                      <a:pt x="1658" y="416"/>
                    </a:lnTo>
                    <a:lnTo>
                      <a:pt x="1657" y="416"/>
                    </a:lnTo>
                    <a:lnTo>
                      <a:pt x="1657" y="416"/>
                    </a:lnTo>
                    <a:lnTo>
                      <a:pt x="1655" y="413"/>
                    </a:lnTo>
                    <a:lnTo>
                      <a:pt x="1654" y="407"/>
                    </a:lnTo>
                    <a:lnTo>
                      <a:pt x="1654" y="407"/>
                    </a:lnTo>
                    <a:lnTo>
                      <a:pt x="1652" y="405"/>
                    </a:lnTo>
                    <a:lnTo>
                      <a:pt x="1649" y="405"/>
                    </a:lnTo>
                    <a:lnTo>
                      <a:pt x="1645" y="405"/>
                    </a:lnTo>
                    <a:lnTo>
                      <a:pt x="1645" y="405"/>
                    </a:lnTo>
                    <a:lnTo>
                      <a:pt x="1644" y="404"/>
                    </a:lnTo>
                    <a:lnTo>
                      <a:pt x="1642" y="401"/>
                    </a:lnTo>
                    <a:lnTo>
                      <a:pt x="1641" y="394"/>
                    </a:lnTo>
                    <a:lnTo>
                      <a:pt x="1641" y="394"/>
                    </a:lnTo>
                    <a:lnTo>
                      <a:pt x="1639" y="388"/>
                    </a:lnTo>
                    <a:lnTo>
                      <a:pt x="1636" y="384"/>
                    </a:lnTo>
                    <a:lnTo>
                      <a:pt x="1636" y="384"/>
                    </a:lnTo>
                    <a:lnTo>
                      <a:pt x="1634" y="378"/>
                    </a:lnTo>
                    <a:lnTo>
                      <a:pt x="1632" y="376"/>
                    </a:lnTo>
                    <a:lnTo>
                      <a:pt x="1628" y="374"/>
                    </a:lnTo>
                    <a:lnTo>
                      <a:pt x="1628" y="374"/>
                    </a:lnTo>
                    <a:lnTo>
                      <a:pt x="1625" y="371"/>
                    </a:lnTo>
                    <a:lnTo>
                      <a:pt x="1625" y="369"/>
                    </a:lnTo>
                    <a:lnTo>
                      <a:pt x="1625" y="366"/>
                    </a:lnTo>
                    <a:lnTo>
                      <a:pt x="1623" y="363"/>
                    </a:lnTo>
                    <a:lnTo>
                      <a:pt x="1623" y="363"/>
                    </a:lnTo>
                    <a:lnTo>
                      <a:pt x="1622" y="361"/>
                    </a:lnTo>
                    <a:lnTo>
                      <a:pt x="1620" y="361"/>
                    </a:lnTo>
                    <a:lnTo>
                      <a:pt x="1618" y="362"/>
                    </a:lnTo>
                    <a:lnTo>
                      <a:pt x="1618" y="362"/>
                    </a:lnTo>
                    <a:lnTo>
                      <a:pt x="1616" y="361"/>
                    </a:lnTo>
                    <a:lnTo>
                      <a:pt x="1615" y="359"/>
                    </a:lnTo>
                    <a:lnTo>
                      <a:pt x="1615" y="355"/>
                    </a:lnTo>
                    <a:lnTo>
                      <a:pt x="1615" y="355"/>
                    </a:lnTo>
                    <a:lnTo>
                      <a:pt x="1613" y="353"/>
                    </a:lnTo>
                    <a:lnTo>
                      <a:pt x="1612" y="353"/>
                    </a:lnTo>
                    <a:lnTo>
                      <a:pt x="1607" y="355"/>
                    </a:lnTo>
                    <a:lnTo>
                      <a:pt x="1607" y="355"/>
                    </a:lnTo>
                    <a:lnTo>
                      <a:pt x="1607" y="355"/>
                    </a:lnTo>
                    <a:lnTo>
                      <a:pt x="1606" y="353"/>
                    </a:lnTo>
                    <a:lnTo>
                      <a:pt x="1605" y="349"/>
                    </a:lnTo>
                    <a:lnTo>
                      <a:pt x="1603" y="343"/>
                    </a:lnTo>
                    <a:lnTo>
                      <a:pt x="1600" y="339"/>
                    </a:lnTo>
                    <a:lnTo>
                      <a:pt x="1600" y="339"/>
                    </a:lnTo>
                    <a:lnTo>
                      <a:pt x="1594" y="336"/>
                    </a:lnTo>
                    <a:lnTo>
                      <a:pt x="1590" y="334"/>
                    </a:lnTo>
                    <a:lnTo>
                      <a:pt x="1587" y="336"/>
                    </a:lnTo>
                    <a:lnTo>
                      <a:pt x="1587" y="336"/>
                    </a:lnTo>
                    <a:lnTo>
                      <a:pt x="1583" y="334"/>
                    </a:lnTo>
                    <a:lnTo>
                      <a:pt x="1580" y="332"/>
                    </a:lnTo>
                    <a:lnTo>
                      <a:pt x="1577" y="327"/>
                    </a:lnTo>
                    <a:lnTo>
                      <a:pt x="1577" y="324"/>
                    </a:lnTo>
                    <a:lnTo>
                      <a:pt x="1577" y="324"/>
                    </a:lnTo>
                    <a:lnTo>
                      <a:pt x="1577" y="323"/>
                    </a:lnTo>
                    <a:lnTo>
                      <a:pt x="1580" y="323"/>
                    </a:lnTo>
                    <a:lnTo>
                      <a:pt x="1587" y="326"/>
                    </a:lnTo>
                    <a:lnTo>
                      <a:pt x="1600" y="333"/>
                    </a:lnTo>
                    <a:lnTo>
                      <a:pt x="1600" y="333"/>
                    </a:lnTo>
                    <a:lnTo>
                      <a:pt x="1605" y="334"/>
                    </a:lnTo>
                    <a:lnTo>
                      <a:pt x="1607" y="339"/>
                    </a:lnTo>
                    <a:lnTo>
                      <a:pt x="1609" y="342"/>
                    </a:lnTo>
                    <a:lnTo>
                      <a:pt x="1612" y="346"/>
                    </a:lnTo>
                    <a:lnTo>
                      <a:pt x="1612" y="346"/>
                    </a:lnTo>
                    <a:lnTo>
                      <a:pt x="1616" y="349"/>
                    </a:lnTo>
                    <a:lnTo>
                      <a:pt x="1619" y="350"/>
                    </a:lnTo>
                    <a:lnTo>
                      <a:pt x="1622" y="350"/>
                    </a:lnTo>
                    <a:lnTo>
                      <a:pt x="1623" y="349"/>
                    </a:lnTo>
                    <a:lnTo>
                      <a:pt x="1623" y="349"/>
                    </a:lnTo>
                    <a:lnTo>
                      <a:pt x="1626" y="310"/>
                    </a:lnTo>
                    <a:lnTo>
                      <a:pt x="1626" y="310"/>
                    </a:lnTo>
                    <a:lnTo>
                      <a:pt x="1625" y="305"/>
                    </a:lnTo>
                    <a:lnTo>
                      <a:pt x="1622" y="303"/>
                    </a:lnTo>
                    <a:lnTo>
                      <a:pt x="1612" y="295"/>
                    </a:lnTo>
                    <a:lnTo>
                      <a:pt x="1612" y="295"/>
                    </a:lnTo>
                    <a:lnTo>
                      <a:pt x="1609" y="291"/>
                    </a:lnTo>
                    <a:lnTo>
                      <a:pt x="1609" y="287"/>
                    </a:lnTo>
                    <a:lnTo>
                      <a:pt x="1607" y="284"/>
                    </a:lnTo>
                    <a:lnTo>
                      <a:pt x="1605" y="281"/>
                    </a:lnTo>
                    <a:lnTo>
                      <a:pt x="1605" y="281"/>
                    </a:lnTo>
                    <a:lnTo>
                      <a:pt x="1602" y="279"/>
                    </a:lnTo>
                    <a:lnTo>
                      <a:pt x="1600" y="278"/>
                    </a:lnTo>
                    <a:lnTo>
                      <a:pt x="1599" y="277"/>
                    </a:lnTo>
                    <a:lnTo>
                      <a:pt x="1596" y="277"/>
                    </a:lnTo>
                    <a:lnTo>
                      <a:pt x="1596" y="277"/>
                    </a:lnTo>
                    <a:lnTo>
                      <a:pt x="1592" y="275"/>
                    </a:lnTo>
                    <a:lnTo>
                      <a:pt x="1589" y="274"/>
                    </a:lnTo>
                    <a:lnTo>
                      <a:pt x="1584" y="274"/>
                    </a:lnTo>
                    <a:lnTo>
                      <a:pt x="1581" y="274"/>
                    </a:lnTo>
                    <a:lnTo>
                      <a:pt x="1581" y="274"/>
                    </a:lnTo>
                    <a:lnTo>
                      <a:pt x="1580" y="275"/>
                    </a:lnTo>
                    <a:lnTo>
                      <a:pt x="1577" y="275"/>
                    </a:lnTo>
                    <a:lnTo>
                      <a:pt x="1568" y="274"/>
                    </a:lnTo>
                    <a:lnTo>
                      <a:pt x="1568" y="274"/>
                    </a:lnTo>
                    <a:lnTo>
                      <a:pt x="1558" y="272"/>
                    </a:lnTo>
                    <a:lnTo>
                      <a:pt x="1555" y="271"/>
                    </a:lnTo>
                    <a:lnTo>
                      <a:pt x="1552" y="268"/>
                    </a:lnTo>
                    <a:lnTo>
                      <a:pt x="1552" y="268"/>
                    </a:lnTo>
                    <a:lnTo>
                      <a:pt x="1548" y="262"/>
                    </a:lnTo>
                    <a:lnTo>
                      <a:pt x="1547" y="261"/>
                    </a:lnTo>
                    <a:lnTo>
                      <a:pt x="1542" y="261"/>
                    </a:lnTo>
                    <a:lnTo>
                      <a:pt x="1542" y="261"/>
                    </a:lnTo>
                    <a:lnTo>
                      <a:pt x="1539" y="259"/>
                    </a:lnTo>
                    <a:lnTo>
                      <a:pt x="1535" y="258"/>
                    </a:lnTo>
                    <a:lnTo>
                      <a:pt x="1534" y="256"/>
                    </a:lnTo>
                    <a:lnTo>
                      <a:pt x="1529" y="255"/>
                    </a:lnTo>
                    <a:lnTo>
                      <a:pt x="1529" y="255"/>
                    </a:lnTo>
                    <a:lnTo>
                      <a:pt x="1526" y="256"/>
                    </a:lnTo>
                    <a:lnTo>
                      <a:pt x="1523" y="259"/>
                    </a:lnTo>
                    <a:lnTo>
                      <a:pt x="1521" y="262"/>
                    </a:lnTo>
                    <a:lnTo>
                      <a:pt x="1519" y="266"/>
                    </a:lnTo>
                    <a:lnTo>
                      <a:pt x="1519" y="266"/>
                    </a:lnTo>
                    <a:lnTo>
                      <a:pt x="1519" y="269"/>
                    </a:lnTo>
                    <a:lnTo>
                      <a:pt x="1522" y="274"/>
                    </a:lnTo>
                    <a:lnTo>
                      <a:pt x="1528" y="279"/>
                    </a:lnTo>
                    <a:lnTo>
                      <a:pt x="1528" y="279"/>
                    </a:lnTo>
                    <a:lnTo>
                      <a:pt x="1529" y="282"/>
                    </a:lnTo>
                    <a:lnTo>
                      <a:pt x="1531" y="284"/>
                    </a:lnTo>
                    <a:lnTo>
                      <a:pt x="1529" y="285"/>
                    </a:lnTo>
                    <a:lnTo>
                      <a:pt x="1526" y="287"/>
                    </a:lnTo>
                    <a:lnTo>
                      <a:pt x="1526" y="287"/>
                    </a:lnTo>
                    <a:lnTo>
                      <a:pt x="1525" y="288"/>
                    </a:lnTo>
                    <a:lnTo>
                      <a:pt x="1523" y="290"/>
                    </a:lnTo>
                    <a:lnTo>
                      <a:pt x="1528" y="295"/>
                    </a:lnTo>
                    <a:lnTo>
                      <a:pt x="1528" y="295"/>
                    </a:lnTo>
                    <a:lnTo>
                      <a:pt x="1529" y="298"/>
                    </a:lnTo>
                    <a:lnTo>
                      <a:pt x="1529" y="300"/>
                    </a:lnTo>
                    <a:lnTo>
                      <a:pt x="1526" y="300"/>
                    </a:lnTo>
                    <a:lnTo>
                      <a:pt x="1523" y="301"/>
                    </a:lnTo>
                    <a:lnTo>
                      <a:pt x="1523" y="301"/>
                    </a:lnTo>
                    <a:lnTo>
                      <a:pt x="1523" y="303"/>
                    </a:lnTo>
                    <a:lnTo>
                      <a:pt x="1523" y="303"/>
                    </a:lnTo>
                    <a:lnTo>
                      <a:pt x="1523" y="305"/>
                    </a:lnTo>
                    <a:lnTo>
                      <a:pt x="1522" y="307"/>
                    </a:lnTo>
                    <a:lnTo>
                      <a:pt x="1516" y="307"/>
                    </a:lnTo>
                    <a:lnTo>
                      <a:pt x="1509" y="305"/>
                    </a:lnTo>
                    <a:lnTo>
                      <a:pt x="1502" y="303"/>
                    </a:lnTo>
                    <a:lnTo>
                      <a:pt x="1502" y="303"/>
                    </a:lnTo>
                    <a:lnTo>
                      <a:pt x="1494" y="301"/>
                    </a:lnTo>
                    <a:lnTo>
                      <a:pt x="1487" y="301"/>
                    </a:lnTo>
                    <a:lnTo>
                      <a:pt x="1477" y="304"/>
                    </a:lnTo>
                    <a:lnTo>
                      <a:pt x="1477" y="304"/>
                    </a:lnTo>
                    <a:lnTo>
                      <a:pt x="1476" y="303"/>
                    </a:lnTo>
                    <a:lnTo>
                      <a:pt x="1474" y="301"/>
                    </a:lnTo>
                    <a:lnTo>
                      <a:pt x="1471" y="294"/>
                    </a:lnTo>
                    <a:lnTo>
                      <a:pt x="1468" y="282"/>
                    </a:lnTo>
                    <a:lnTo>
                      <a:pt x="1468" y="282"/>
                    </a:lnTo>
                    <a:lnTo>
                      <a:pt x="1467" y="281"/>
                    </a:lnTo>
                    <a:lnTo>
                      <a:pt x="1461" y="279"/>
                    </a:lnTo>
                    <a:lnTo>
                      <a:pt x="1455" y="279"/>
                    </a:lnTo>
                    <a:lnTo>
                      <a:pt x="1448" y="279"/>
                    </a:lnTo>
                    <a:lnTo>
                      <a:pt x="1448" y="279"/>
                    </a:lnTo>
                    <a:lnTo>
                      <a:pt x="1441" y="279"/>
                    </a:lnTo>
                    <a:lnTo>
                      <a:pt x="1435" y="277"/>
                    </a:lnTo>
                    <a:lnTo>
                      <a:pt x="1425" y="271"/>
                    </a:lnTo>
                    <a:lnTo>
                      <a:pt x="1425" y="271"/>
                    </a:lnTo>
                    <a:lnTo>
                      <a:pt x="1424" y="269"/>
                    </a:lnTo>
                    <a:lnTo>
                      <a:pt x="1422" y="271"/>
                    </a:lnTo>
                    <a:lnTo>
                      <a:pt x="1419" y="274"/>
                    </a:lnTo>
                    <a:lnTo>
                      <a:pt x="1419" y="274"/>
                    </a:lnTo>
                    <a:lnTo>
                      <a:pt x="1418" y="275"/>
                    </a:lnTo>
                    <a:lnTo>
                      <a:pt x="1415" y="274"/>
                    </a:lnTo>
                    <a:lnTo>
                      <a:pt x="1408" y="269"/>
                    </a:lnTo>
                    <a:lnTo>
                      <a:pt x="1399" y="265"/>
                    </a:lnTo>
                    <a:lnTo>
                      <a:pt x="1393" y="263"/>
                    </a:lnTo>
                    <a:lnTo>
                      <a:pt x="1393" y="263"/>
                    </a:lnTo>
                    <a:lnTo>
                      <a:pt x="1383" y="262"/>
                    </a:lnTo>
                    <a:lnTo>
                      <a:pt x="1379" y="263"/>
                    </a:lnTo>
                    <a:lnTo>
                      <a:pt x="1376" y="266"/>
                    </a:lnTo>
                    <a:lnTo>
                      <a:pt x="1376" y="266"/>
                    </a:lnTo>
                    <a:lnTo>
                      <a:pt x="1376" y="269"/>
                    </a:lnTo>
                    <a:lnTo>
                      <a:pt x="1376" y="272"/>
                    </a:lnTo>
                    <a:lnTo>
                      <a:pt x="1379" y="278"/>
                    </a:lnTo>
                    <a:lnTo>
                      <a:pt x="1384" y="290"/>
                    </a:lnTo>
                    <a:lnTo>
                      <a:pt x="1384" y="290"/>
                    </a:lnTo>
                    <a:lnTo>
                      <a:pt x="1384" y="292"/>
                    </a:lnTo>
                    <a:lnTo>
                      <a:pt x="1383" y="294"/>
                    </a:lnTo>
                    <a:lnTo>
                      <a:pt x="1380" y="300"/>
                    </a:lnTo>
                    <a:lnTo>
                      <a:pt x="1370" y="305"/>
                    </a:lnTo>
                    <a:lnTo>
                      <a:pt x="1370" y="305"/>
                    </a:lnTo>
                    <a:lnTo>
                      <a:pt x="1370" y="305"/>
                    </a:lnTo>
                    <a:lnTo>
                      <a:pt x="1370" y="305"/>
                    </a:lnTo>
                    <a:lnTo>
                      <a:pt x="1370" y="301"/>
                    </a:lnTo>
                    <a:lnTo>
                      <a:pt x="1373" y="295"/>
                    </a:lnTo>
                    <a:lnTo>
                      <a:pt x="1373" y="291"/>
                    </a:lnTo>
                    <a:lnTo>
                      <a:pt x="1373" y="291"/>
                    </a:lnTo>
                    <a:lnTo>
                      <a:pt x="1370" y="271"/>
                    </a:lnTo>
                    <a:lnTo>
                      <a:pt x="1366" y="250"/>
                    </a:lnTo>
                    <a:lnTo>
                      <a:pt x="1366" y="250"/>
                    </a:lnTo>
                    <a:lnTo>
                      <a:pt x="1364" y="246"/>
                    </a:lnTo>
                    <a:lnTo>
                      <a:pt x="1361" y="245"/>
                    </a:lnTo>
                    <a:lnTo>
                      <a:pt x="1357" y="245"/>
                    </a:lnTo>
                    <a:lnTo>
                      <a:pt x="1353" y="246"/>
                    </a:lnTo>
                    <a:lnTo>
                      <a:pt x="1353" y="246"/>
                    </a:lnTo>
                    <a:lnTo>
                      <a:pt x="1350" y="246"/>
                    </a:lnTo>
                    <a:lnTo>
                      <a:pt x="1348" y="243"/>
                    </a:lnTo>
                    <a:lnTo>
                      <a:pt x="1347" y="237"/>
                    </a:lnTo>
                    <a:lnTo>
                      <a:pt x="1347" y="226"/>
                    </a:lnTo>
                    <a:lnTo>
                      <a:pt x="1347" y="226"/>
                    </a:lnTo>
                    <a:lnTo>
                      <a:pt x="1347" y="226"/>
                    </a:lnTo>
                    <a:lnTo>
                      <a:pt x="1347" y="226"/>
                    </a:lnTo>
                    <a:lnTo>
                      <a:pt x="1344" y="227"/>
                    </a:lnTo>
                    <a:lnTo>
                      <a:pt x="1341" y="230"/>
                    </a:lnTo>
                    <a:lnTo>
                      <a:pt x="1337" y="232"/>
                    </a:lnTo>
                    <a:lnTo>
                      <a:pt x="1337" y="232"/>
                    </a:lnTo>
                    <a:lnTo>
                      <a:pt x="1334" y="233"/>
                    </a:lnTo>
                    <a:lnTo>
                      <a:pt x="1331" y="235"/>
                    </a:lnTo>
                    <a:lnTo>
                      <a:pt x="1324" y="242"/>
                    </a:lnTo>
                    <a:lnTo>
                      <a:pt x="1324" y="242"/>
                    </a:lnTo>
                    <a:lnTo>
                      <a:pt x="1319" y="246"/>
                    </a:lnTo>
                    <a:lnTo>
                      <a:pt x="1315" y="249"/>
                    </a:lnTo>
                    <a:lnTo>
                      <a:pt x="1305" y="255"/>
                    </a:lnTo>
                    <a:lnTo>
                      <a:pt x="1305" y="255"/>
                    </a:lnTo>
                    <a:lnTo>
                      <a:pt x="1298" y="262"/>
                    </a:lnTo>
                    <a:lnTo>
                      <a:pt x="1289" y="274"/>
                    </a:lnTo>
                    <a:lnTo>
                      <a:pt x="1279" y="285"/>
                    </a:lnTo>
                    <a:lnTo>
                      <a:pt x="1271" y="294"/>
                    </a:lnTo>
                    <a:lnTo>
                      <a:pt x="1271" y="294"/>
                    </a:lnTo>
                    <a:lnTo>
                      <a:pt x="1270" y="294"/>
                    </a:lnTo>
                    <a:lnTo>
                      <a:pt x="1269" y="294"/>
                    </a:lnTo>
                    <a:lnTo>
                      <a:pt x="1269" y="287"/>
                    </a:lnTo>
                    <a:lnTo>
                      <a:pt x="1273" y="266"/>
                    </a:lnTo>
                    <a:lnTo>
                      <a:pt x="1273" y="266"/>
                    </a:lnTo>
                    <a:lnTo>
                      <a:pt x="1274" y="258"/>
                    </a:lnTo>
                    <a:lnTo>
                      <a:pt x="1273" y="252"/>
                    </a:lnTo>
                    <a:lnTo>
                      <a:pt x="1271" y="245"/>
                    </a:lnTo>
                    <a:lnTo>
                      <a:pt x="1271" y="245"/>
                    </a:lnTo>
                    <a:lnTo>
                      <a:pt x="1273" y="243"/>
                    </a:lnTo>
                    <a:lnTo>
                      <a:pt x="1273" y="243"/>
                    </a:lnTo>
                    <a:lnTo>
                      <a:pt x="1277" y="245"/>
                    </a:lnTo>
                    <a:lnTo>
                      <a:pt x="1282" y="246"/>
                    </a:lnTo>
                    <a:lnTo>
                      <a:pt x="1286" y="246"/>
                    </a:lnTo>
                    <a:lnTo>
                      <a:pt x="1286" y="246"/>
                    </a:lnTo>
                    <a:lnTo>
                      <a:pt x="1292" y="239"/>
                    </a:lnTo>
                    <a:lnTo>
                      <a:pt x="1302" y="227"/>
                    </a:lnTo>
                    <a:lnTo>
                      <a:pt x="1312" y="216"/>
                    </a:lnTo>
                    <a:lnTo>
                      <a:pt x="1318" y="210"/>
                    </a:lnTo>
                    <a:lnTo>
                      <a:pt x="1318" y="210"/>
                    </a:lnTo>
                    <a:lnTo>
                      <a:pt x="1325" y="204"/>
                    </a:lnTo>
                    <a:lnTo>
                      <a:pt x="1334" y="198"/>
                    </a:lnTo>
                    <a:lnTo>
                      <a:pt x="1334" y="198"/>
                    </a:lnTo>
                    <a:lnTo>
                      <a:pt x="1340" y="195"/>
                    </a:lnTo>
                    <a:lnTo>
                      <a:pt x="1345" y="192"/>
                    </a:lnTo>
                    <a:lnTo>
                      <a:pt x="1351" y="190"/>
                    </a:lnTo>
                    <a:lnTo>
                      <a:pt x="1358" y="185"/>
                    </a:lnTo>
                    <a:lnTo>
                      <a:pt x="1358" y="185"/>
                    </a:lnTo>
                    <a:lnTo>
                      <a:pt x="1363" y="181"/>
                    </a:lnTo>
                    <a:lnTo>
                      <a:pt x="1366" y="174"/>
                    </a:lnTo>
                    <a:lnTo>
                      <a:pt x="1368" y="159"/>
                    </a:lnTo>
                    <a:lnTo>
                      <a:pt x="1371" y="143"/>
                    </a:lnTo>
                    <a:lnTo>
                      <a:pt x="1373" y="132"/>
                    </a:lnTo>
                    <a:lnTo>
                      <a:pt x="1373" y="132"/>
                    </a:lnTo>
                    <a:lnTo>
                      <a:pt x="1374" y="116"/>
                    </a:lnTo>
                    <a:lnTo>
                      <a:pt x="1373" y="110"/>
                    </a:lnTo>
                    <a:lnTo>
                      <a:pt x="1371" y="106"/>
                    </a:lnTo>
                    <a:lnTo>
                      <a:pt x="1371" y="106"/>
                    </a:lnTo>
                    <a:lnTo>
                      <a:pt x="1368" y="101"/>
                    </a:lnTo>
                    <a:lnTo>
                      <a:pt x="1368" y="97"/>
                    </a:lnTo>
                    <a:lnTo>
                      <a:pt x="1368" y="93"/>
                    </a:lnTo>
                    <a:lnTo>
                      <a:pt x="1367" y="88"/>
                    </a:lnTo>
                    <a:lnTo>
                      <a:pt x="1367" y="88"/>
                    </a:lnTo>
                    <a:lnTo>
                      <a:pt x="1364" y="82"/>
                    </a:lnTo>
                    <a:lnTo>
                      <a:pt x="1361" y="80"/>
                    </a:lnTo>
                    <a:lnTo>
                      <a:pt x="1358" y="78"/>
                    </a:lnTo>
                    <a:lnTo>
                      <a:pt x="1354" y="78"/>
                    </a:lnTo>
                    <a:lnTo>
                      <a:pt x="1354" y="78"/>
                    </a:lnTo>
                    <a:lnTo>
                      <a:pt x="1351" y="77"/>
                    </a:lnTo>
                    <a:lnTo>
                      <a:pt x="1348" y="75"/>
                    </a:lnTo>
                    <a:lnTo>
                      <a:pt x="1344" y="72"/>
                    </a:lnTo>
                    <a:lnTo>
                      <a:pt x="1344" y="72"/>
                    </a:lnTo>
                    <a:lnTo>
                      <a:pt x="1332" y="78"/>
                    </a:lnTo>
                    <a:lnTo>
                      <a:pt x="1332" y="78"/>
                    </a:lnTo>
                    <a:lnTo>
                      <a:pt x="1324" y="78"/>
                    </a:lnTo>
                    <a:lnTo>
                      <a:pt x="1308" y="77"/>
                    </a:lnTo>
                    <a:lnTo>
                      <a:pt x="1290" y="75"/>
                    </a:lnTo>
                    <a:lnTo>
                      <a:pt x="1277" y="75"/>
                    </a:lnTo>
                    <a:lnTo>
                      <a:pt x="1277" y="75"/>
                    </a:lnTo>
                    <a:lnTo>
                      <a:pt x="1270" y="77"/>
                    </a:lnTo>
                    <a:lnTo>
                      <a:pt x="1267" y="80"/>
                    </a:lnTo>
                    <a:lnTo>
                      <a:pt x="1266" y="84"/>
                    </a:lnTo>
                    <a:lnTo>
                      <a:pt x="1261" y="87"/>
                    </a:lnTo>
                    <a:lnTo>
                      <a:pt x="1261" y="87"/>
                    </a:lnTo>
                    <a:lnTo>
                      <a:pt x="1245" y="98"/>
                    </a:lnTo>
                    <a:lnTo>
                      <a:pt x="1245" y="98"/>
                    </a:lnTo>
                    <a:lnTo>
                      <a:pt x="1245" y="98"/>
                    </a:lnTo>
                    <a:lnTo>
                      <a:pt x="1244" y="97"/>
                    </a:lnTo>
                    <a:lnTo>
                      <a:pt x="1244" y="93"/>
                    </a:lnTo>
                    <a:lnTo>
                      <a:pt x="1247" y="81"/>
                    </a:lnTo>
                    <a:lnTo>
                      <a:pt x="1247" y="81"/>
                    </a:lnTo>
                    <a:lnTo>
                      <a:pt x="1256" y="56"/>
                    </a:lnTo>
                    <a:lnTo>
                      <a:pt x="1256" y="56"/>
                    </a:lnTo>
                    <a:lnTo>
                      <a:pt x="1256" y="55"/>
                    </a:lnTo>
                    <a:lnTo>
                      <a:pt x="1256" y="53"/>
                    </a:lnTo>
                    <a:lnTo>
                      <a:pt x="1251" y="53"/>
                    </a:lnTo>
                    <a:lnTo>
                      <a:pt x="1242" y="53"/>
                    </a:lnTo>
                    <a:lnTo>
                      <a:pt x="1242" y="53"/>
                    </a:lnTo>
                    <a:lnTo>
                      <a:pt x="1241" y="52"/>
                    </a:lnTo>
                    <a:lnTo>
                      <a:pt x="1241" y="52"/>
                    </a:lnTo>
                    <a:lnTo>
                      <a:pt x="1244" y="48"/>
                    </a:lnTo>
                    <a:lnTo>
                      <a:pt x="1251" y="42"/>
                    </a:lnTo>
                    <a:lnTo>
                      <a:pt x="1251" y="42"/>
                    </a:lnTo>
                    <a:lnTo>
                      <a:pt x="1254" y="38"/>
                    </a:lnTo>
                    <a:lnTo>
                      <a:pt x="1256" y="35"/>
                    </a:lnTo>
                    <a:lnTo>
                      <a:pt x="1256" y="29"/>
                    </a:lnTo>
                    <a:lnTo>
                      <a:pt x="1256" y="29"/>
                    </a:lnTo>
                    <a:lnTo>
                      <a:pt x="1256" y="24"/>
                    </a:lnTo>
                    <a:lnTo>
                      <a:pt x="1256" y="22"/>
                    </a:lnTo>
                    <a:lnTo>
                      <a:pt x="1254" y="19"/>
                    </a:lnTo>
                    <a:lnTo>
                      <a:pt x="1250" y="17"/>
                    </a:lnTo>
                    <a:lnTo>
                      <a:pt x="1250" y="17"/>
                    </a:lnTo>
                    <a:lnTo>
                      <a:pt x="1244" y="14"/>
                    </a:lnTo>
                    <a:lnTo>
                      <a:pt x="1241" y="10"/>
                    </a:lnTo>
                    <a:lnTo>
                      <a:pt x="1238" y="7"/>
                    </a:lnTo>
                    <a:lnTo>
                      <a:pt x="1234" y="4"/>
                    </a:lnTo>
                    <a:lnTo>
                      <a:pt x="1234" y="4"/>
                    </a:lnTo>
                    <a:lnTo>
                      <a:pt x="1227" y="0"/>
                    </a:lnTo>
                    <a:lnTo>
                      <a:pt x="1222" y="0"/>
                    </a:lnTo>
                    <a:lnTo>
                      <a:pt x="1222" y="0"/>
                    </a:lnTo>
                    <a:lnTo>
                      <a:pt x="1219" y="0"/>
                    </a:lnTo>
                    <a:lnTo>
                      <a:pt x="1218" y="1"/>
                    </a:lnTo>
                    <a:lnTo>
                      <a:pt x="1216" y="3"/>
                    </a:lnTo>
                    <a:lnTo>
                      <a:pt x="1212" y="4"/>
                    </a:lnTo>
                    <a:lnTo>
                      <a:pt x="1212" y="4"/>
                    </a:lnTo>
                    <a:lnTo>
                      <a:pt x="1202" y="10"/>
                    </a:lnTo>
                    <a:lnTo>
                      <a:pt x="1196" y="14"/>
                    </a:lnTo>
                    <a:lnTo>
                      <a:pt x="1193" y="17"/>
                    </a:lnTo>
                    <a:lnTo>
                      <a:pt x="1193" y="17"/>
                    </a:lnTo>
                    <a:lnTo>
                      <a:pt x="1189" y="27"/>
                    </a:lnTo>
                    <a:lnTo>
                      <a:pt x="1187" y="33"/>
                    </a:lnTo>
                    <a:lnTo>
                      <a:pt x="1182" y="40"/>
                    </a:lnTo>
                    <a:lnTo>
                      <a:pt x="1182" y="40"/>
                    </a:lnTo>
                    <a:lnTo>
                      <a:pt x="1179" y="48"/>
                    </a:lnTo>
                    <a:lnTo>
                      <a:pt x="1177" y="55"/>
                    </a:lnTo>
                    <a:lnTo>
                      <a:pt x="1179" y="61"/>
                    </a:lnTo>
                    <a:lnTo>
                      <a:pt x="1177" y="69"/>
                    </a:lnTo>
                    <a:lnTo>
                      <a:pt x="1177" y="69"/>
                    </a:lnTo>
                    <a:lnTo>
                      <a:pt x="1176" y="78"/>
                    </a:lnTo>
                    <a:lnTo>
                      <a:pt x="1173" y="84"/>
                    </a:lnTo>
                    <a:lnTo>
                      <a:pt x="1167" y="87"/>
                    </a:lnTo>
                    <a:lnTo>
                      <a:pt x="1157" y="90"/>
                    </a:lnTo>
                    <a:lnTo>
                      <a:pt x="1157" y="90"/>
                    </a:lnTo>
                    <a:lnTo>
                      <a:pt x="1153" y="90"/>
                    </a:lnTo>
                    <a:lnTo>
                      <a:pt x="1150" y="90"/>
                    </a:lnTo>
                    <a:lnTo>
                      <a:pt x="1144" y="88"/>
                    </a:lnTo>
                    <a:lnTo>
                      <a:pt x="1141" y="88"/>
                    </a:lnTo>
                    <a:lnTo>
                      <a:pt x="1138" y="91"/>
                    </a:lnTo>
                    <a:lnTo>
                      <a:pt x="1138" y="91"/>
                    </a:lnTo>
                    <a:lnTo>
                      <a:pt x="1137" y="94"/>
                    </a:lnTo>
                    <a:lnTo>
                      <a:pt x="1135" y="97"/>
                    </a:lnTo>
                    <a:lnTo>
                      <a:pt x="1137" y="101"/>
                    </a:lnTo>
                    <a:lnTo>
                      <a:pt x="1138" y="104"/>
                    </a:lnTo>
                    <a:lnTo>
                      <a:pt x="1145" y="111"/>
                    </a:lnTo>
                    <a:lnTo>
                      <a:pt x="1156" y="119"/>
                    </a:lnTo>
                    <a:lnTo>
                      <a:pt x="1156" y="119"/>
                    </a:lnTo>
                    <a:lnTo>
                      <a:pt x="1164" y="124"/>
                    </a:lnTo>
                    <a:lnTo>
                      <a:pt x="1169" y="126"/>
                    </a:lnTo>
                    <a:lnTo>
                      <a:pt x="1170" y="127"/>
                    </a:lnTo>
                    <a:lnTo>
                      <a:pt x="1170" y="129"/>
                    </a:lnTo>
                    <a:lnTo>
                      <a:pt x="1170" y="129"/>
                    </a:lnTo>
                    <a:lnTo>
                      <a:pt x="1169" y="130"/>
                    </a:lnTo>
                    <a:lnTo>
                      <a:pt x="1167" y="130"/>
                    </a:lnTo>
                    <a:lnTo>
                      <a:pt x="1163" y="130"/>
                    </a:lnTo>
                    <a:lnTo>
                      <a:pt x="1158" y="130"/>
                    </a:lnTo>
                    <a:lnTo>
                      <a:pt x="1153" y="130"/>
                    </a:lnTo>
                    <a:lnTo>
                      <a:pt x="1153" y="130"/>
                    </a:lnTo>
                    <a:lnTo>
                      <a:pt x="1151" y="132"/>
                    </a:lnTo>
                    <a:lnTo>
                      <a:pt x="1153" y="133"/>
                    </a:lnTo>
                    <a:lnTo>
                      <a:pt x="1157" y="135"/>
                    </a:lnTo>
                    <a:lnTo>
                      <a:pt x="1160" y="136"/>
                    </a:lnTo>
                    <a:lnTo>
                      <a:pt x="1160" y="136"/>
                    </a:lnTo>
                    <a:lnTo>
                      <a:pt x="1163" y="136"/>
                    </a:lnTo>
                    <a:lnTo>
                      <a:pt x="1166" y="137"/>
                    </a:lnTo>
                    <a:lnTo>
                      <a:pt x="1170" y="146"/>
                    </a:lnTo>
                    <a:lnTo>
                      <a:pt x="1170" y="146"/>
                    </a:lnTo>
                    <a:lnTo>
                      <a:pt x="1170" y="152"/>
                    </a:lnTo>
                    <a:lnTo>
                      <a:pt x="1169" y="158"/>
                    </a:lnTo>
                    <a:lnTo>
                      <a:pt x="1164" y="165"/>
                    </a:lnTo>
                    <a:lnTo>
                      <a:pt x="1164" y="165"/>
                    </a:lnTo>
                    <a:lnTo>
                      <a:pt x="1164" y="166"/>
                    </a:lnTo>
                    <a:lnTo>
                      <a:pt x="1163" y="165"/>
                    </a:lnTo>
                    <a:lnTo>
                      <a:pt x="1164" y="161"/>
                    </a:lnTo>
                    <a:lnTo>
                      <a:pt x="1164" y="156"/>
                    </a:lnTo>
                    <a:lnTo>
                      <a:pt x="1163" y="150"/>
                    </a:lnTo>
                    <a:lnTo>
                      <a:pt x="1163" y="150"/>
                    </a:lnTo>
                    <a:lnTo>
                      <a:pt x="1161" y="148"/>
                    </a:lnTo>
                    <a:lnTo>
                      <a:pt x="1160" y="146"/>
                    </a:lnTo>
                    <a:lnTo>
                      <a:pt x="1156" y="146"/>
                    </a:lnTo>
                    <a:lnTo>
                      <a:pt x="1151" y="148"/>
                    </a:lnTo>
                    <a:lnTo>
                      <a:pt x="1151" y="148"/>
                    </a:lnTo>
                    <a:lnTo>
                      <a:pt x="1147" y="148"/>
                    </a:lnTo>
                    <a:lnTo>
                      <a:pt x="1144" y="146"/>
                    </a:lnTo>
                    <a:lnTo>
                      <a:pt x="1143" y="142"/>
                    </a:lnTo>
                    <a:lnTo>
                      <a:pt x="1141" y="137"/>
                    </a:lnTo>
                    <a:lnTo>
                      <a:pt x="1141" y="137"/>
                    </a:lnTo>
                    <a:lnTo>
                      <a:pt x="1138" y="133"/>
                    </a:lnTo>
                    <a:lnTo>
                      <a:pt x="1137" y="129"/>
                    </a:lnTo>
                    <a:lnTo>
                      <a:pt x="1132" y="124"/>
                    </a:lnTo>
                    <a:lnTo>
                      <a:pt x="1127" y="122"/>
                    </a:lnTo>
                    <a:lnTo>
                      <a:pt x="1127" y="122"/>
                    </a:lnTo>
                    <a:lnTo>
                      <a:pt x="1122" y="120"/>
                    </a:lnTo>
                    <a:lnTo>
                      <a:pt x="1119" y="120"/>
                    </a:lnTo>
                    <a:lnTo>
                      <a:pt x="1112" y="124"/>
                    </a:lnTo>
                    <a:lnTo>
                      <a:pt x="1112" y="124"/>
                    </a:lnTo>
                    <a:lnTo>
                      <a:pt x="1109" y="124"/>
                    </a:lnTo>
                    <a:lnTo>
                      <a:pt x="1108" y="124"/>
                    </a:lnTo>
                    <a:lnTo>
                      <a:pt x="1108" y="122"/>
                    </a:lnTo>
                    <a:lnTo>
                      <a:pt x="1106" y="117"/>
                    </a:lnTo>
                    <a:lnTo>
                      <a:pt x="1105" y="113"/>
                    </a:lnTo>
                    <a:lnTo>
                      <a:pt x="1105" y="113"/>
                    </a:lnTo>
                    <a:lnTo>
                      <a:pt x="1101" y="108"/>
                    </a:lnTo>
                    <a:lnTo>
                      <a:pt x="1099" y="107"/>
                    </a:lnTo>
                    <a:lnTo>
                      <a:pt x="1096" y="108"/>
                    </a:lnTo>
                    <a:lnTo>
                      <a:pt x="1096" y="108"/>
                    </a:lnTo>
                    <a:lnTo>
                      <a:pt x="1089" y="110"/>
                    </a:lnTo>
                    <a:lnTo>
                      <a:pt x="1080" y="111"/>
                    </a:lnTo>
                    <a:lnTo>
                      <a:pt x="1080" y="111"/>
                    </a:lnTo>
                    <a:lnTo>
                      <a:pt x="1074" y="111"/>
                    </a:lnTo>
                    <a:lnTo>
                      <a:pt x="1072" y="111"/>
                    </a:lnTo>
                    <a:lnTo>
                      <a:pt x="1069" y="113"/>
                    </a:lnTo>
                    <a:lnTo>
                      <a:pt x="1064" y="114"/>
                    </a:lnTo>
                    <a:lnTo>
                      <a:pt x="1064" y="114"/>
                    </a:lnTo>
                    <a:lnTo>
                      <a:pt x="1060" y="114"/>
                    </a:lnTo>
                    <a:lnTo>
                      <a:pt x="1060" y="111"/>
                    </a:lnTo>
                    <a:lnTo>
                      <a:pt x="1061" y="106"/>
                    </a:lnTo>
                    <a:lnTo>
                      <a:pt x="1061" y="106"/>
                    </a:lnTo>
                    <a:lnTo>
                      <a:pt x="1061" y="106"/>
                    </a:lnTo>
                    <a:lnTo>
                      <a:pt x="1061" y="106"/>
                    </a:lnTo>
                    <a:lnTo>
                      <a:pt x="1057" y="108"/>
                    </a:lnTo>
                    <a:lnTo>
                      <a:pt x="1053" y="111"/>
                    </a:lnTo>
                    <a:lnTo>
                      <a:pt x="1047" y="114"/>
                    </a:lnTo>
                    <a:lnTo>
                      <a:pt x="1047" y="114"/>
                    </a:lnTo>
                    <a:lnTo>
                      <a:pt x="1043" y="116"/>
                    </a:lnTo>
                    <a:lnTo>
                      <a:pt x="1037" y="119"/>
                    </a:lnTo>
                    <a:lnTo>
                      <a:pt x="1028" y="126"/>
                    </a:lnTo>
                    <a:lnTo>
                      <a:pt x="1028" y="126"/>
                    </a:lnTo>
                    <a:lnTo>
                      <a:pt x="1022" y="129"/>
                    </a:lnTo>
                    <a:lnTo>
                      <a:pt x="1012" y="133"/>
                    </a:lnTo>
                    <a:lnTo>
                      <a:pt x="1002" y="137"/>
                    </a:lnTo>
                    <a:lnTo>
                      <a:pt x="990" y="142"/>
                    </a:lnTo>
                    <a:lnTo>
                      <a:pt x="990" y="142"/>
                    </a:lnTo>
                    <a:lnTo>
                      <a:pt x="983" y="149"/>
                    </a:lnTo>
                    <a:lnTo>
                      <a:pt x="977" y="158"/>
                    </a:lnTo>
                    <a:lnTo>
                      <a:pt x="972" y="165"/>
                    </a:lnTo>
                    <a:lnTo>
                      <a:pt x="967" y="171"/>
                    </a:lnTo>
                    <a:lnTo>
                      <a:pt x="967" y="171"/>
                    </a:lnTo>
                    <a:lnTo>
                      <a:pt x="963" y="175"/>
                    </a:lnTo>
                    <a:lnTo>
                      <a:pt x="961" y="178"/>
                    </a:lnTo>
                    <a:lnTo>
                      <a:pt x="960" y="181"/>
                    </a:lnTo>
                    <a:lnTo>
                      <a:pt x="956" y="184"/>
                    </a:lnTo>
                    <a:lnTo>
                      <a:pt x="956" y="184"/>
                    </a:lnTo>
                    <a:lnTo>
                      <a:pt x="946" y="190"/>
                    </a:lnTo>
                    <a:lnTo>
                      <a:pt x="935" y="195"/>
                    </a:lnTo>
                    <a:lnTo>
                      <a:pt x="935" y="195"/>
                    </a:lnTo>
                    <a:lnTo>
                      <a:pt x="933" y="198"/>
                    </a:lnTo>
                    <a:lnTo>
                      <a:pt x="930" y="201"/>
                    </a:lnTo>
                    <a:lnTo>
                      <a:pt x="928" y="204"/>
                    </a:lnTo>
                    <a:lnTo>
                      <a:pt x="924" y="207"/>
                    </a:lnTo>
                    <a:lnTo>
                      <a:pt x="924" y="207"/>
                    </a:lnTo>
                    <a:lnTo>
                      <a:pt x="921" y="208"/>
                    </a:lnTo>
                    <a:lnTo>
                      <a:pt x="919" y="210"/>
                    </a:lnTo>
                    <a:lnTo>
                      <a:pt x="918" y="214"/>
                    </a:lnTo>
                    <a:lnTo>
                      <a:pt x="919" y="224"/>
                    </a:lnTo>
                    <a:lnTo>
                      <a:pt x="919" y="224"/>
                    </a:lnTo>
                    <a:lnTo>
                      <a:pt x="921" y="229"/>
                    </a:lnTo>
                    <a:lnTo>
                      <a:pt x="924" y="230"/>
                    </a:lnTo>
                    <a:lnTo>
                      <a:pt x="925" y="233"/>
                    </a:lnTo>
                    <a:lnTo>
                      <a:pt x="925" y="235"/>
                    </a:lnTo>
                    <a:lnTo>
                      <a:pt x="925" y="235"/>
                    </a:lnTo>
                    <a:lnTo>
                      <a:pt x="925" y="235"/>
                    </a:lnTo>
                    <a:lnTo>
                      <a:pt x="922" y="237"/>
                    </a:lnTo>
                    <a:lnTo>
                      <a:pt x="921" y="242"/>
                    </a:lnTo>
                    <a:lnTo>
                      <a:pt x="918" y="245"/>
                    </a:lnTo>
                    <a:lnTo>
                      <a:pt x="912" y="246"/>
                    </a:lnTo>
                    <a:lnTo>
                      <a:pt x="912" y="246"/>
                    </a:lnTo>
                    <a:lnTo>
                      <a:pt x="906" y="248"/>
                    </a:lnTo>
                    <a:lnTo>
                      <a:pt x="901" y="250"/>
                    </a:lnTo>
                    <a:lnTo>
                      <a:pt x="895" y="253"/>
                    </a:lnTo>
                    <a:lnTo>
                      <a:pt x="886" y="258"/>
                    </a:lnTo>
                    <a:lnTo>
                      <a:pt x="886" y="258"/>
                    </a:lnTo>
                    <a:lnTo>
                      <a:pt x="876" y="259"/>
                    </a:lnTo>
                    <a:lnTo>
                      <a:pt x="869" y="261"/>
                    </a:lnTo>
                    <a:lnTo>
                      <a:pt x="862" y="261"/>
                    </a:lnTo>
                    <a:lnTo>
                      <a:pt x="857" y="263"/>
                    </a:lnTo>
                    <a:lnTo>
                      <a:pt x="857" y="263"/>
                    </a:lnTo>
                    <a:lnTo>
                      <a:pt x="854" y="265"/>
                    </a:lnTo>
                    <a:lnTo>
                      <a:pt x="854" y="268"/>
                    </a:lnTo>
                    <a:lnTo>
                      <a:pt x="853" y="277"/>
                    </a:lnTo>
                    <a:lnTo>
                      <a:pt x="853" y="285"/>
                    </a:lnTo>
                    <a:lnTo>
                      <a:pt x="851" y="292"/>
                    </a:lnTo>
                    <a:lnTo>
                      <a:pt x="851" y="292"/>
                    </a:lnTo>
                    <a:lnTo>
                      <a:pt x="851" y="298"/>
                    </a:lnTo>
                    <a:lnTo>
                      <a:pt x="851" y="303"/>
                    </a:lnTo>
                    <a:lnTo>
                      <a:pt x="856" y="314"/>
                    </a:lnTo>
                    <a:lnTo>
                      <a:pt x="856" y="314"/>
                    </a:lnTo>
                    <a:lnTo>
                      <a:pt x="860" y="326"/>
                    </a:lnTo>
                    <a:lnTo>
                      <a:pt x="863" y="329"/>
                    </a:lnTo>
                    <a:lnTo>
                      <a:pt x="867" y="332"/>
                    </a:lnTo>
                    <a:lnTo>
                      <a:pt x="867" y="332"/>
                    </a:lnTo>
                    <a:lnTo>
                      <a:pt x="876" y="337"/>
                    </a:lnTo>
                    <a:lnTo>
                      <a:pt x="885" y="347"/>
                    </a:lnTo>
                    <a:lnTo>
                      <a:pt x="885" y="347"/>
                    </a:lnTo>
                    <a:lnTo>
                      <a:pt x="888" y="350"/>
                    </a:lnTo>
                    <a:lnTo>
                      <a:pt x="891" y="353"/>
                    </a:lnTo>
                    <a:lnTo>
                      <a:pt x="898" y="356"/>
                    </a:lnTo>
                    <a:lnTo>
                      <a:pt x="898" y="356"/>
                    </a:lnTo>
                    <a:lnTo>
                      <a:pt x="899" y="358"/>
                    </a:lnTo>
                    <a:lnTo>
                      <a:pt x="899" y="361"/>
                    </a:lnTo>
                    <a:lnTo>
                      <a:pt x="901" y="368"/>
                    </a:lnTo>
                    <a:lnTo>
                      <a:pt x="899" y="382"/>
                    </a:lnTo>
                    <a:lnTo>
                      <a:pt x="899" y="382"/>
                    </a:lnTo>
                    <a:lnTo>
                      <a:pt x="896" y="398"/>
                    </a:lnTo>
                    <a:lnTo>
                      <a:pt x="892" y="414"/>
                    </a:lnTo>
                    <a:lnTo>
                      <a:pt x="892" y="414"/>
                    </a:lnTo>
                    <a:lnTo>
                      <a:pt x="892" y="416"/>
                    </a:lnTo>
                    <a:lnTo>
                      <a:pt x="891" y="414"/>
                    </a:lnTo>
                    <a:lnTo>
                      <a:pt x="889" y="410"/>
                    </a:lnTo>
                    <a:lnTo>
                      <a:pt x="886" y="401"/>
                    </a:lnTo>
                    <a:lnTo>
                      <a:pt x="886" y="401"/>
                    </a:lnTo>
                    <a:lnTo>
                      <a:pt x="885" y="400"/>
                    </a:lnTo>
                    <a:lnTo>
                      <a:pt x="882" y="400"/>
                    </a:lnTo>
                    <a:lnTo>
                      <a:pt x="879" y="401"/>
                    </a:lnTo>
                    <a:lnTo>
                      <a:pt x="876" y="403"/>
                    </a:lnTo>
                    <a:lnTo>
                      <a:pt x="876" y="403"/>
                    </a:lnTo>
                    <a:lnTo>
                      <a:pt x="876" y="403"/>
                    </a:lnTo>
                    <a:lnTo>
                      <a:pt x="876" y="403"/>
                    </a:lnTo>
                    <a:lnTo>
                      <a:pt x="877" y="397"/>
                    </a:lnTo>
                    <a:lnTo>
                      <a:pt x="885" y="387"/>
                    </a:lnTo>
                    <a:lnTo>
                      <a:pt x="885" y="387"/>
                    </a:lnTo>
                    <a:lnTo>
                      <a:pt x="888" y="382"/>
                    </a:lnTo>
                    <a:lnTo>
                      <a:pt x="889" y="378"/>
                    </a:lnTo>
                    <a:lnTo>
                      <a:pt x="892" y="368"/>
                    </a:lnTo>
                    <a:lnTo>
                      <a:pt x="892" y="368"/>
                    </a:lnTo>
                    <a:lnTo>
                      <a:pt x="891" y="366"/>
                    </a:lnTo>
                    <a:lnTo>
                      <a:pt x="889" y="365"/>
                    </a:lnTo>
                    <a:lnTo>
                      <a:pt x="879" y="362"/>
                    </a:lnTo>
                    <a:lnTo>
                      <a:pt x="867" y="359"/>
                    </a:lnTo>
                    <a:lnTo>
                      <a:pt x="860" y="356"/>
                    </a:lnTo>
                    <a:lnTo>
                      <a:pt x="860" y="356"/>
                    </a:lnTo>
                    <a:lnTo>
                      <a:pt x="857" y="353"/>
                    </a:lnTo>
                    <a:lnTo>
                      <a:pt x="853" y="347"/>
                    </a:lnTo>
                    <a:lnTo>
                      <a:pt x="847" y="334"/>
                    </a:lnTo>
                    <a:lnTo>
                      <a:pt x="837" y="310"/>
                    </a:lnTo>
                    <a:lnTo>
                      <a:pt x="837" y="310"/>
                    </a:lnTo>
                    <a:lnTo>
                      <a:pt x="834" y="305"/>
                    </a:lnTo>
                    <a:lnTo>
                      <a:pt x="830" y="303"/>
                    </a:lnTo>
                    <a:lnTo>
                      <a:pt x="825" y="301"/>
                    </a:lnTo>
                    <a:lnTo>
                      <a:pt x="822" y="303"/>
                    </a:lnTo>
                    <a:lnTo>
                      <a:pt x="822" y="303"/>
                    </a:lnTo>
                    <a:lnTo>
                      <a:pt x="814" y="308"/>
                    </a:lnTo>
                    <a:lnTo>
                      <a:pt x="809" y="311"/>
                    </a:lnTo>
                    <a:lnTo>
                      <a:pt x="807" y="316"/>
                    </a:lnTo>
                    <a:lnTo>
                      <a:pt x="807" y="316"/>
                    </a:lnTo>
                    <a:lnTo>
                      <a:pt x="808" y="317"/>
                    </a:lnTo>
                    <a:lnTo>
                      <a:pt x="809" y="319"/>
                    </a:lnTo>
                    <a:lnTo>
                      <a:pt x="817" y="323"/>
                    </a:lnTo>
                    <a:lnTo>
                      <a:pt x="817" y="323"/>
                    </a:lnTo>
                    <a:lnTo>
                      <a:pt x="820" y="326"/>
                    </a:lnTo>
                    <a:lnTo>
                      <a:pt x="820" y="329"/>
                    </a:lnTo>
                    <a:lnTo>
                      <a:pt x="820" y="332"/>
                    </a:lnTo>
                    <a:lnTo>
                      <a:pt x="818" y="334"/>
                    </a:lnTo>
                    <a:lnTo>
                      <a:pt x="818" y="334"/>
                    </a:lnTo>
                    <a:lnTo>
                      <a:pt x="817" y="334"/>
                    </a:lnTo>
                    <a:lnTo>
                      <a:pt x="817" y="334"/>
                    </a:lnTo>
                    <a:lnTo>
                      <a:pt x="815" y="332"/>
                    </a:lnTo>
                    <a:lnTo>
                      <a:pt x="812" y="329"/>
                    </a:lnTo>
                    <a:lnTo>
                      <a:pt x="811" y="329"/>
                    </a:lnTo>
                    <a:lnTo>
                      <a:pt x="809" y="329"/>
                    </a:lnTo>
                    <a:lnTo>
                      <a:pt x="809" y="329"/>
                    </a:lnTo>
                    <a:lnTo>
                      <a:pt x="807" y="330"/>
                    </a:lnTo>
                    <a:lnTo>
                      <a:pt x="804" y="329"/>
                    </a:lnTo>
                    <a:lnTo>
                      <a:pt x="799" y="326"/>
                    </a:lnTo>
                    <a:lnTo>
                      <a:pt x="795" y="324"/>
                    </a:lnTo>
                    <a:lnTo>
                      <a:pt x="795" y="324"/>
                    </a:lnTo>
                    <a:lnTo>
                      <a:pt x="786" y="324"/>
                    </a:lnTo>
                    <a:lnTo>
                      <a:pt x="783" y="326"/>
                    </a:lnTo>
                    <a:lnTo>
                      <a:pt x="782" y="326"/>
                    </a:lnTo>
                    <a:lnTo>
                      <a:pt x="782" y="327"/>
                    </a:lnTo>
                    <a:lnTo>
                      <a:pt x="782" y="327"/>
                    </a:lnTo>
                    <a:lnTo>
                      <a:pt x="783" y="330"/>
                    </a:lnTo>
                    <a:lnTo>
                      <a:pt x="782" y="333"/>
                    </a:lnTo>
                    <a:lnTo>
                      <a:pt x="782" y="337"/>
                    </a:lnTo>
                    <a:lnTo>
                      <a:pt x="782" y="343"/>
                    </a:lnTo>
                    <a:lnTo>
                      <a:pt x="782" y="343"/>
                    </a:lnTo>
                    <a:lnTo>
                      <a:pt x="785" y="347"/>
                    </a:lnTo>
                    <a:lnTo>
                      <a:pt x="788" y="353"/>
                    </a:lnTo>
                    <a:lnTo>
                      <a:pt x="792" y="358"/>
                    </a:lnTo>
                    <a:lnTo>
                      <a:pt x="796" y="359"/>
                    </a:lnTo>
                    <a:lnTo>
                      <a:pt x="796" y="359"/>
                    </a:lnTo>
                    <a:lnTo>
                      <a:pt x="805" y="362"/>
                    </a:lnTo>
                    <a:lnTo>
                      <a:pt x="809" y="365"/>
                    </a:lnTo>
                    <a:lnTo>
                      <a:pt x="812" y="366"/>
                    </a:lnTo>
                    <a:lnTo>
                      <a:pt x="812" y="366"/>
                    </a:lnTo>
                    <a:lnTo>
                      <a:pt x="814" y="371"/>
                    </a:lnTo>
                    <a:lnTo>
                      <a:pt x="815" y="376"/>
                    </a:lnTo>
                    <a:lnTo>
                      <a:pt x="815" y="381"/>
                    </a:lnTo>
                    <a:lnTo>
                      <a:pt x="812" y="385"/>
                    </a:lnTo>
                    <a:lnTo>
                      <a:pt x="812" y="385"/>
                    </a:lnTo>
                    <a:lnTo>
                      <a:pt x="812" y="385"/>
                    </a:lnTo>
                    <a:lnTo>
                      <a:pt x="809" y="385"/>
                    </a:lnTo>
                    <a:lnTo>
                      <a:pt x="807" y="382"/>
                    </a:lnTo>
                    <a:lnTo>
                      <a:pt x="801" y="379"/>
                    </a:lnTo>
                    <a:lnTo>
                      <a:pt x="798" y="379"/>
                    </a:lnTo>
                    <a:lnTo>
                      <a:pt x="796" y="379"/>
                    </a:lnTo>
                    <a:lnTo>
                      <a:pt x="796" y="379"/>
                    </a:lnTo>
                    <a:lnTo>
                      <a:pt x="786" y="381"/>
                    </a:lnTo>
                    <a:lnTo>
                      <a:pt x="778" y="382"/>
                    </a:lnTo>
                    <a:lnTo>
                      <a:pt x="778" y="382"/>
                    </a:lnTo>
                    <a:lnTo>
                      <a:pt x="775" y="381"/>
                    </a:lnTo>
                    <a:lnTo>
                      <a:pt x="772" y="379"/>
                    </a:lnTo>
                    <a:lnTo>
                      <a:pt x="770" y="375"/>
                    </a:lnTo>
                    <a:lnTo>
                      <a:pt x="770" y="369"/>
                    </a:lnTo>
                    <a:lnTo>
                      <a:pt x="770" y="369"/>
                    </a:lnTo>
                    <a:lnTo>
                      <a:pt x="772" y="340"/>
                    </a:lnTo>
                    <a:lnTo>
                      <a:pt x="772" y="323"/>
                    </a:lnTo>
                    <a:lnTo>
                      <a:pt x="772" y="317"/>
                    </a:lnTo>
                    <a:lnTo>
                      <a:pt x="770" y="313"/>
                    </a:lnTo>
                    <a:lnTo>
                      <a:pt x="770" y="313"/>
                    </a:lnTo>
                    <a:lnTo>
                      <a:pt x="765" y="305"/>
                    </a:lnTo>
                    <a:lnTo>
                      <a:pt x="763" y="304"/>
                    </a:lnTo>
                    <a:lnTo>
                      <a:pt x="762" y="304"/>
                    </a:lnTo>
                    <a:lnTo>
                      <a:pt x="762" y="304"/>
                    </a:lnTo>
                    <a:lnTo>
                      <a:pt x="759" y="319"/>
                    </a:lnTo>
                    <a:lnTo>
                      <a:pt x="759" y="336"/>
                    </a:lnTo>
                    <a:lnTo>
                      <a:pt x="759" y="336"/>
                    </a:lnTo>
                    <a:lnTo>
                      <a:pt x="757" y="337"/>
                    </a:lnTo>
                    <a:lnTo>
                      <a:pt x="754" y="340"/>
                    </a:lnTo>
                    <a:lnTo>
                      <a:pt x="749" y="346"/>
                    </a:lnTo>
                    <a:lnTo>
                      <a:pt x="743" y="352"/>
                    </a:lnTo>
                    <a:lnTo>
                      <a:pt x="740" y="356"/>
                    </a:lnTo>
                    <a:lnTo>
                      <a:pt x="740" y="359"/>
                    </a:lnTo>
                    <a:lnTo>
                      <a:pt x="740" y="359"/>
                    </a:lnTo>
                    <a:lnTo>
                      <a:pt x="738" y="363"/>
                    </a:lnTo>
                    <a:lnTo>
                      <a:pt x="736" y="368"/>
                    </a:lnTo>
                    <a:lnTo>
                      <a:pt x="734" y="372"/>
                    </a:lnTo>
                    <a:lnTo>
                      <a:pt x="731" y="378"/>
                    </a:lnTo>
                    <a:lnTo>
                      <a:pt x="731" y="378"/>
                    </a:lnTo>
                    <a:lnTo>
                      <a:pt x="731" y="381"/>
                    </a:lnTo>
                    <a:lnTo>
                      <a:pt x="733" y="385"/>
                    </a:lnTo>
                    <a:lnTo>
                      <a:pt x="738" y="392"/>
                    </a:lnTo>
                    <a:lnTo>
                      <a:pt x="749" y="405"/>
                    </a:lnTo>
                    <a:lnTo>
                      <a:pt x="749" y="405"/>
                    </a:lnTo>
                    <a:lnTo>
                      <a:pt x="750" y="408"/>
                    </a:lnTo>
                    <a:lnTo>
                      <a:pt x="749" y="413"/>
                    </a:lnTo>
                    <a:lnTo>
                      <a:pt x="746" y="418"/>
                    </a:lnTo>
                    <a:lnTo>
                      <a:pt x="746" y="418"/>
                    </a:lnTo>
                    <a:lnTo>
                      <a:pt x="744" y="440"/>
                    </a:lnTo>
                    <a:lnTo>
                      <a:pt x="741" y="466"/>
                    </a:lnTo>
                    <a:lnTo>
                      <a:pt x="741" y="466"/>
                    </a:lnTo>
                    <a:lnTo>
                      <a:pt x="741" y="482"/>
                    </a:lnTo>
                    <a:lnTo>
                      <a:pt x="743" y="487"/>
                    </a:lnTo>
                    <a:lnTo>
                      <a:pt x="746" y="489"/>
                    </a:lnTo>
                    <a:lnTo>
                      <a:pt x="746" y="489"/>
                    </a:lnTo>
                    <a:lnTo>
                      <a:pt x="749" y="491"/>
                    </a:lnTo>
                    <a:lnTo>
                      <a:pt x="750" y="489"/>
                    </a:lnTo>
                    <a:lnTo>
                      <a:pt x="753" y="488"/>
                    </a:lnTo>
                    <a:lnTo>
                      <a:pt x="756" y="488"/>
                    </a:lnTo>
                    <a:lnTo>
                      <a:pt x="756" y="488"/>
                    </a:lnTo>
                    <a:lnTo>
                      <a:pt x="759" y="487"/>
                    </a:lnTo>
                    <a:lnTo>
                      <a:pt x="762" y="485"/>
                    </a:lnTo>
                    <a:lnTo>
                      <a:pt x="765" y="482"/>
                    </a:lnTo>
                    <a:lnTo>
                      <a:pt x="769" y="481"/>
                    </a:lnTo>
                    <a:lnTo>
                      <a:pt x="769" y="481"/>
                    </a:lnTo>
                    <a:lnTo>
                      <a:pt x="780" y="479"/>
                    </a:lnTo>
                    <a:lnTo>
                      <a:pt x="788" y="481"/>
                    </a:lnTo>
                    <a:lnTo>
                      <a:pt x="795" y="482"/>
                    </a:lnTo>
                    <a:lnTo>
                      <a:pt x="795" y="482"/>
                    </a:lnTo>
                    <a:lnTo>
                      <a:pt x="799" y="485"/>
                    </a:lnTo>
                    <a:lnTo>
                      <a:pt x="802" y="489"/>
                    </a:lnTo>
                    <a:lnTo>
                      <a:pt x="805" y="500"/>
                    </a:lnTo>
                    <a:lnTo>
                      <a:pt x="805" y="500"/>
                    </a:lnTo>
                    <a:lnTo>
                      <a:pt x="807" y="505"/>
                    </a:lnTo>
                    <a:lnTo>
                      <a:pt x="809" y="511"/>
                    </a:lnTo>
                    <a:lnTo>
                      <a:pt x="817" y="523"/>
                    </a:lnTo>
                    <a:lnTo>
                      <a:pt x="817" y="523"/>
                    </a:lnTo>
                    <a:lnTo>
                      <a:pt x="817" y="526"/>
                    </a:lnTo>
                    <a:lnTo>
                      <a:pt x="817" y="529"/>
                    </a:lnTo>
                    <a:lnTo>
                      <a:pt x="812" y="531"/>
                    </a:lnTo>
                    <a:lnTo>
                      <a:pt x="808" y="536"/>
                    </a:lnTo>
                    <a:lnTo>
                      <a:pt x="807" y="540"/>
                    </a:lnTo>
                    <a:lnTo>
                      <a:pt x="805" y="544"/>
                    </a:lnTo>
                    <a:lnTo>
                      <a:pt x="805" y="544"/>
                    </a:lnTo>
                    <a:lnTo>
                      <a:pt x="805" y="550"/>
                    </a:lnTo>
                    <a:lnTo>
                      <a:pt x="807" y="555"/>
                    </a:lnTo>
                    <a:lnTo>
                      <a:pt x="807" y="558"/>
                    </a:lnTo>
                    <a:lnTo>
                      <a:pt x="809" y="559"/>
                    </a:lnTo>
                    <a:lnTo>
                      <a:pt x="814" y="563"/>
                    </a:lnTo>
                    <a:lnTo>
                      <a:pt x="820" y="566"/>
                    </a:lnTo>
                    <a:lnTo>
                      <a:pt x="820" y="566"/>
                    </a:lnTo>
                    <a:lnTo>
                      <a:pt x="822" y="568"/>
                    </a:lnTo>
                    <a:lnTo>
                      <a:pt x="820" y="569"/>
                    </a:lnTo>
                    <a:lnTo>
                      <a:pt x="812" y="571"/>
                    </a:lnTo>
                    <a:lnTo>
                      <a:pt x="812" y="571"/>
                    </a:lnTo>
                    <a:lnTo>
                      <a:pt x="808" y="571"/>
                    </a:lnTo>
                    <a:lnTo>
                      <a:pt x="805" y="573"/>
                    </a:lnTo>
                    <a:lnTo>
                      <a:pt x="801" y="578"/>
                    </a:lnTo>
                    <a:lnTo>
                      <a:pt x="801" y="578"/>
                    </a:lnTo>
                    <a:lnTo>
                      <a:pt x="799" y="578"/>
                    </a:lnTo>
                    <a:lnTo>
                      <a:pt x="796" y="576"/>
                    </a:lnTo>
                    <a:lnTo>
                      <a:pt x="792" y="571"/>
                    </a:lnTo>
                    <a:lnTo>
                      <a:pt x="792" y="571"/>
                    </a:lnTo>
                    <a:lnTo>
                      <a:pt x="792" y="568"/>
                    </a:lnTo>
                    <a:lnTo>
                      <a:pt x="791" y="565"/>
                    </a:lnTo>
                    <a:lnTo>
                      <a:pt x="791" y="553"/>
                    </a:lnTo>
                    <a:lnTo>
                      <a:pt x="792" y="529"/>
                    </a:lnTo>
                    <a:lnTo>
                      <a:pt x="792" y="529"/>
                    </a:lnTo>
                    <a:lnTo>
                      <a:pt x="791" y="520"/>
                    </a:lnTo>
                    <a:lnTo>
                      <a:pt x="788" y="511"/>
                    </a:lnTo>
                    <a:lnTo>
                      <a:pt x="785" y="505"/>
                    </a:lnTo>
                    <a:lnTo>
                      <a:pt x="782" y="501"/>
                    </a:lnTo>
                    <a:lnTo>
                      <a:pt x="782" y="501"/>
                    </a:lnTo>
                    <a:lnTo>
                      <a:pt x="779" y="501"/>
                    </a:lnTo>
                    <a:lnTo>
                      <a:pt x="775" y="502"/>
                    </a:lnTo>
                    <a:lnTo>
                      <a:pt x="763" y="510"/>
                    </a:lnTo>
                    <a:lnTo>
                      <a:pt x="753" y="517"/>
                    </a:lnTo>
                    <a:lnTo>
                      <a:pt x="749" y="523"/>
                    </a:lnTo>
                    <a:lnTo>
                      <a:pt x="749" y="523"/>
                    </a:lnTo>
                    <a:lnTo>
                      <a:pt x="747" y="526"/>
                    </a:lnTo>
                    <a:lnTo>
                      <a:pt x="749" y="529"/>
                    </a:lnTo>
                    <a:lnTo>
                      <a:pt x="753" y="536"/>
                    </a:lnTo>
                    <a:lnTo>
                      <a:pt x="753" y="536"/>
                    </a:lnTo>
                    <a:lnTo>
                      <a:pt x="753" y="539"/>
                    </a:lnTo>
                    <a:lnTo>
                      <a:pt x="753" y="542"/>
                    </a:lnTo>
                    <a:lnTo>
                      <a:pt x="750" y="550"/>
                    </a:lnTo>
                    <a:lnTo>
                      <a:pt x="741" y="571"/>
                    </a:lnTo>
                    <a:lnTo>
                      <a:pt x="741" y="571"/>
                    </a:lnTo>
                    <a:lnTo>
                      <a:pt x="737" y="582"/>
                    </a:lnTo>
                    <a:lnTo>
                      <a:pt x="731" y="592"/>
                    </a:lnTo>
                    <a:lnTo>
                      <a:pt x="724" y="601"/>
                    </a:lnTo>
                    <a:lnTo>
                      <a:pt x="720" y="607"/>
                    </a:lnTo>
                    <a:lnTo>
                      <a:pt x="720" y="607"/>
                    </a:lnTo>
                    <a:lnTo>
                      <a:pt x="718" y="608"/>
                    </a:lnTo>
                    <a:lnTo>
                      <a:pt x="718" y="610"/>
                    </a:lnTo>
                    <a:lnTo>
                      <a:pt x="721" y="614"/>
                    </a:lnTo>
                    <a:lnTo>
                      <a:pt x="728" y="624"/>
                    </a:lnTo>
                    <a:lnTo>
                      <a:pt x="728" y="624"/>
                    </a:lnTo>
                    <a:lnTo>
                      <a:pt x="731" y="630"/>
                    </a:lnTo>
                    <a:lnTo>
                      <a:pt x="733" y="634"/>
                    </a:lnTo>
                    <a:lnTo>
                      <a:pt x="731" y="640"/>
                    </a:lnTo>
                    <a:lnTo>
                      <a:pt x="730" y="644"/>
                    </a:lnTo>
                    <a:lnTo>
                      <a:pt x="730" y="644"/>
                    </a:lnTo>
                    <a:lnTo>
                      <a:pt x="728" y="644"/>
                    </a:lnTo>
                    <a:lnTo>
                      <a:pt x="727" y="643"/>
                    </a:lnTo>
                    <a:lnTo>
                      <a:pt x="723" y="634"/>
                    </a:lnTo>
                    <a:lnTo>
                      <a:pt x="717" y="623"/>
                    </a:lnTo>
                    <a:lnTo>
                      <a:pt x="714" y="614"/>
                    </a:lnTo>
                    <a:lnTo>
                      <a:pt x="714" y="614"/>
                    </a:lnTo>
                    <a:lnTo>
                      <a:pt x="709" y="613"/>
                    </a:lnTo>
                    <a:lnTo>
                      <a:pt x="702" y="611"/>
                    </a:lnTo>
                    <a:lnTo>
                      <a:pt x="688" y="611"/>
                    </a:lnTo>
                    <a:lnTo>
                      <a:pt x="688" y="611"/>
                    </a:lnTo>
                    <a:lnTo>
                      <a:pt x="681" y="610"/>
                    </a:lnTo>
                    <a:lnTo>
                      <a:pt x="675" y="607"/>
                    </a:lnTo>
                    <a:lnTo>
                      <a:pt x="669" y="601"/>
                    </a:lnTo>
                    <a:lnTo>
                      <a:pt x="665" y="597"/>
                    </a:lnTo>
                    <a:lnTo>
                      <a:pt x="665" y="597"/>
                    </a:lnTo>
                    <a:lnTo>
                      <a:pt x="662" y="594"/>
                    </a:lnTo>
                    <a:lnTo>
                      <a:pt x="659" y="594"/>
                    </a:lnTo>
                    <a:lnTo>
                      <a:pt x="653" y="598"/>
                    </a:lnTo>
                    <a:lnTo>
                      <a:pt x="653" y="598"/>
                    </a:lnTo>
                    <a:lnTo>
                      <a:pt x="652" y="598"/>
                    </a:lnTo>
                    <a:lnTo>
                      <a:pt x="650" y="597"/>
                    </a:lnTo>
                    <a:lnTo>
                      <a:pt x="652" y="594"/>
                    </a:lnTo>
                    <a:lnTo>
                      <a:pt x="653" y="589"/>
                    </a:lnTo>
                    <a:lnTo>
                      <a:pt x="653" y="589"/>
                    </a:lnTo>
                    <a:lnTo>
                      <a:pt x="656" y="588"/>
                    </a:lnTo>
                    <a:lnTo>
                      <a:pt x="659" y="588"/>
                    </a:lnTo>
                    <a:lnTo>
                      <a:pt x="667" y="588"/>
                    </a:lnTo>
                    <a:lnTo>
                      <a:pt x="688" y="588"/>
                    </a:lnTo>
                    <a:lnTo>
                      <a:pt x="688" y="588"/>
                    </a:lnTo>
                    <a:lnTo>
                      <a:pt x="694" y="588"/>
                    </a:lnTo>
                    <a:lnTo>
                      <a:pt x="698" y="586"/>
                    </a:lnTo>
                    <a:lnTo>
                      <a:pt x="708" y="582"/>
                    </a:lnTo>
                    <a:lnTo>
                      <a:pt x="708" y="582"/>
                    </a:lnTo>
                    <a:lnTo>
                      <a:pt x="711" y="578"/>
                    </a:lnTo>
                    <a:lnTo>
                      <a:pt x="714" y="571"/>
                    </a:lnTo>
                    <a:lnTo>
                      <a:pt x="721" y="552"/>
                    </a:lnTo>
                    <a:lnTo>
                      <a:pt x="731" y="523"/>
                    </a:lnTo>
                    <a:lnTo>
                      <a:pt x="731" y="523"/>
                    </a:lnTo>
                    <a:lnTo>
                      <a:pt x="731" y="518"/>
                    </a:lnTo>
                    <a:lnTo>
                      <a:pt x="731" y="514"/>
                    </a:lnTo>
                    <a:lnTo>
                      <a:pt x="728" y="510"/>
                    </a:lnTo>
                    <a:lnTo>
                      <a:pt x="725" y="505"/>
                    </a:lnTo>
                    <a:lnTo>
                      <a:pt x="725" y="505"/>
                    </a:lnTo>
                    <a:lnTo>
                      <a:pt x="724" y="504"/>
                    </a:lnTo>
                    <a:lnTo>
                      <a:pt x="723" y="500"/>
                    </a:lnTo>
                    <a:lnTo>
                      <a:pt x="720" y="488"/>
                    </a:lnTo>
                    <a:lnTo>
                      <a:pt x="718" y="473"/>
                    </a:lnTo>
                    <a:lnTo>
                      <a:pt x="717" y="460"/>
                    </a:lnTo>
                    <a:lnTo>
                      <a:pt x="717" y="460"/>
                    </a:lnTo>
                    <a:lnTo>
                      <a:pt x="718" y="447"/>
                    </a:lnTo>
                    <a:lnTo>
                      <a:pt x="720" y="434"/>
                    </a:lnTo>
                    <a:lnTo>
                      <a:pt x="721" y="416"/>
                    </a:lnTo>
                    <a:lnTo>
                      <a:pt x="721" y="416"/>
                    </a:lnTo>
                    <a:lnTo>
                      <a:pt x="720" y="408"/>
                    </a:lnTo>
                    <a:lnTo>
                      <a:pt x="715" y="400"/>
                    </a:lnTo>
                    <a:lnTo>
                      <a:pt x="708" y="385"/>
                    </a:lnTo>
                    <a:lnTo>
                      <a:pt x="708" y="385"/>
                    </a:lnTo>
                    <a:lnTo>
                      <a:pt x="707" y="381"/>
                    </a:lnTo>
                    <a:lnTo>
                      <a:pt x="708" y="376"/>
                    </a:lnTo>
                    <a:lnTo>
                      <a:pt x="714" y="369"/>
                    </a:lnTo>
                    <a:lnTo>
                      <a:pt x="714" y="369"/>
                    </a:lnTo>
                    <a:lnTo>
                      <a:pt x="717" y="361"/>
                    </a:lnTo>
                    <a:lnTo>
                      <a:pt x="718" y="347"/>
                    </a:lnTo>
                    <a:lnTo>
                      <a:pt x="721" y="324"/>
                    </a:lnTo>
                    <a:lnTo>
                      <a:pt x="721" y="324"/>
                    </a:lnTo>
                    <a:lnTo>
                      <a:pt x="723" y="320"/>
                    </a:lnTo>
                    <a:lnTo>
                      <a:pt x="725" y="317"/>
                    </a:lnTo>
                    <a:lnTo>
                      <a:pt x="727" y="314"/>
                    </a:lnTo>
                    <a:lnTo>
                      <a:pt x="728" y="311"/>
                    </a:lnTo>
                    <a:lnTo>
                      <a:pt x="728" y="311"/>
                    </a:lnTo>
                    <a:lnTo>
                      <a:pt x="727" y="308"/>
                    </a:lnTo>
                    <a:lnTo>
                      <a:pt x="724" y="305"/>
                    </a:lnTo>
                    <a:lnTo>
                      <a:pt x="720" y="304"/>
                    </a:lnTo>
                    <a:lnTo>
                      <a:pt x="715" y="304"/>
                    </a:lnTo>
                    <a:lnTo>
                      <a:pt x="715" y="304"/>
                    </a:lnTo>
                    <a:lnTo>
                      <a:pt x="694" y="305"/>
                    </a:lnTo>
                    <a:lnTo>
                      <a:pt x="694" y="305"/>
                    </a:lnTo>
                    <a:lnTo>
                      <a:pt x="688" y="304"/>
                    </a:lnTo>
                    <a:lnTo>
                      <a:pt x="683" y="304"/>
                    </a:lnTo>
                    <a:lnTo>
                      <a:pt x="679" y="301"/>
                    </a:lnTo>
                    <a:lnTo>
                      <a:pt x="679" y="301"/>
                    </a:lnTo>
                    <a:lnTo>
                      <a:pt x="676" y="301"/>
                    </a:lnTo>
                    <a:lnTo>
                      <a:pt x="675" y="301"/>
                    </a:lnTo>
                    <a:lnTo>
                      <a:pt x="669" y="307"/>
                    </a:lnTo>
                    <a:lnTo>
                      <a:pt x="669" y="307"/>
                    </a:lnTo>
                    <a:lnTo>
                      <a:pt x="666" y="311"/>
                    </a:lnTo>
                    <a:lnTo>
                      <a:pt x="666" y="319"/>
                    </a:lnTo>
                    <a:lnTo>
                      <a:pt x="663" y="330"/>
                    </a:lnTo>
                    <a:lnTo>
                      <a:pt x="657" y="350"/>
                    </a:lnTo>
                    <a:lnTo>
                      <a:pt x="657" y="350"/>
                    </a:lnTo>
                    <a:lnTo>
                      <a:pt x="653" y="361"/>
                    </a:lnTo>
                    <a:lnTo>
                      <a:pt x="649" y="368"/>
                    </a:lnTo>
                    <a:lnTo>
                      <a:pt x="643" y="375"/>
                    </a:lnTo>
                    <a:lnTo>
                      <a:pt x="639" y="379"/>
                    </a:lnTo>
                    <a:lnTo>
                      <a:pt x="631" y="385"/>
                    </a:lnTo>
                    <a:lnTo>
                      <a:pt x="628" y="387"/>
                    </a:lnTo>
                    <a:lnTo>
                      <a:pt x="627" y="389"/>
                    </a:lnTo>
                    <a:lnTo>
                      <a:pt x="627" y="389"/>
                    </a:lnTo>
                    <a:lnTo>
                      <a:pt x="627" y="392"/>
                    </a:lnTo>
                    <a:lnTo>
                      <a:pt x="625" y="397"/>
                    </a:lnTo>
                    <a:lnTo>
                      <a:pt x="621" y="404"/>
                    </a:lnTo>
                    <a:lnTo>
                      <a:pt x="621" y="404"/>
                    </a:lnTo>
                    <a:lnTo>
                      <a:pt x="620" y="407"/>
                    </a:lnTo>
                    <a:lnTo>
                      <a:pt x="621" y="408"/>
                    </a:lnTo>
                    <a:lnTo>
                      <a:pt x="627" y="408"/>
                    </a:lnTo>
                    <a:lnTo>
                      <a:pt x="627" y="408"/>
                    </a:lnTo>
                    <a:lnTo>
                      <a:pt x="628" y="410"/>
                    </a:lnTo>
                    <a:lnTo>
                      <a:pt x="628" y="414"/>
                    </a:lnTo>
                    <a:lnTo>
                      <a:pt x="630" y="426"/>
                    </a:lnTo>
                    <a:lnTo>
                      <a:pt x="630" y="445"/>
                    </a:lnTo>
                    <a:lnTo>
                      <a:pt x="630" y="445"/>
                    </a:lnTo>
                    <a:lnTo>
                      <a:pt x="628" y="447"/>
                    </a:lnTo>
                    <a:lnTo>
                      <a:pt x="627" y="447"/>
                    </a:lnTo>
                    <a:lnTo>
                      <a:pt x="623" y="446"/>
                    </a:lnTo>
                    <a:lnTo>
                      <a:pt x="623" y="446"/>
                    </a:lnTo>
                    <a:lnTo>
                      <a:pt x="623" y="450"/>
                    </a:lnTo>
                    <a:lnTo>
                      <a:pt x="623" y="456"/>
                    </a:lnTo>
                    <a:lnTo>
                      <a:pt x="623" y="465"/>
                    </a:lnTo>
                    <a:lnTo>
                      <a:pt x="625" y="471"/>
                    </a:lnTo>
                    <a:lnTo>
                      <a:pt x="625" y="471"/>
                    </a:lnTo>
                    <a:lnTo>
                      <a:pt x="627" y="472"/>
                    </a:lnTo>
                    <a:lnTo>
                      <a:pt x="630" y="471"/>
                    </a:lnTo>
                    <a:lnTo>
                      <a:pt x="631" y="468"/>
                    </a:lnTo>
                    <a:lnTo>
                      <a:pt x="633" y="466"/>
                    </a:lnTo>
                    <a:lnTo>
                      <a:pt x="633" y="466"/>
                    </a:lnTo>
                    <a:lnTo>
                      <a:pt x="634" y="468"/>
                    </a:lnTo>
                    <a:lnTo>
                      <a:pt x="634" y="469"/>
                    </a:lnTo>
                    <a:lnTo>
                      <a:pt x="637" y="475"/>
                    </a:lnTo>
                    <a:lnTo>
                      <a:pt x="639" y="482"/>
                    </a:lnTo>
                    <a:lnTo>
                      <a:pt x="641" y="489"/>
                    </a:lnTo>
                    <a:lnTo>
                      <a:pt x="641" y="489"/>
                    </a:lnTo>
                    <a:lnTo>
                      <a:pt x="644" y="494"/>
                    </a:lnTo>
                    <a:lnTo>
                      <a:pt x="649" y="497"/>
                    </a:lnTo>
                    <a:lnTo>
                      <a:pt x="652" y="498"/>
                    </a:lnTo>
                    <a:lnTo>
                      <a:pt x="656" y="497"/>
                    </a:lnTo>
                    <a:lnTo>
                      <a:pt x="656" y="497"/>
                    </a:lnTo>
                    <a:lnTo>
                      <a:pt x="657" y="497"/>
                    </a:lnTo>
                    <a:lnTo>
                      <a:pt x="659" y="500"/>
                    </a:lnTo>
                    <a:lnTo>
                      <a:pt x="657" y="510"/>
                    </a:lnTo>
                    <a:lnTo>
                      <a:pt x="654" y="521"/>
                    </a:lnTo>
                    <a:lnTo>
                      <a:pt x="652" y="529"/>
                    </a:lnTo>
                    <a:lnTo>
                      <a:pt x="652" y="529"/>
                    </a:lnTo>
                    <a:lnTo>
                      <a:pt x="650" y="530"/>
                    </a:lnTo>
                    <a:lnTo>
                      <a:pt x="649" y="529"/>
                    </a:lnTo>
                    <a:lnTo>
                      <a:pt x="646" y="521"/>
                    </a:lnTo>
                    <a:lnTo>
                      <a:pt x="643" y="513"/>
                    </a:lnTo>
                    <a:lnTo>
                      <a:pt x="640" y="507"/>
                    </a:lnTo>
                    <a:lnTo>
                      <a:pt x="637" y="504"/>
                    </a:lnTo>
                    <a:lnTo>
                      <a:pt x="637" y="504"/>
                    </a:lnTo>
                    <a:lnTo>
                      <a:pt x="623" y="492"/>
                    </a:lnTo>
                    <a:lnTo>
                      <a:pt x="612" y="485"/>
                    </a:lnTo>
                    <a:lnTo>
                      <a:pt x="612" y="485"/>
                    </a:lnTo>
                    <a:lnTo>
                      <a:pt x="601" y="475"/>
                    </a:lnTo>
                    <a:lnTo>
                      <a:pt x="591" y="469"/>
                    </a:lnTo>
                    <a:lnTo>
                      <a:pt x="586" y="466"/>
                    </a:lnTo>
                    <a:lnTo>
                      <a:pt x="583" y="465"/>
                    </a:lnTo>
                    <a:lnTo>
                      <a:pt x="583" y="465"/>
                    </a:lnTo>
                    <a:lnTo>
                      <a:pt x="576" y="465"/>
                    </a:lnTo>
                    <a:lnTo>
                      <a:pt x="568" y="462"/>
                    </a:lnTo>
                    <a:lnTo>
                      <a:pt x="560" y="459"/>
                    </a:lnTo>
                    <a:lnTo>
                      <a:pt x="553" y="459"/>
                    </a:lnTo>
                    <a:lnTo>
                      <a:pt x="553" y="459"/>
                    </a:lnTo>
                    <a:lnTo>
                      <a:pt x="546" y="458"/>
                    </a:lnTo>
                    <a:lnTo>
                      <a:pt x="541" y="456"/>
                    </a:lnTo>
                    <a:lnTo>
                      <a:pt x="536" y="452"/>
                    </a:lnTo>
                    <a:lnTo>
                      <a:pt x="536" y="452"/>
                    </a:lnTo>
                    <a:lnTo>
                      <a:pt x="533" y="452"/>
                    </a:lnTo>
                    <a:lnTo>
                      <a:pt x="530" y="452"/>
                    </a:lnTo>
                    <a:lnTo>
                      <a:pt x="528" y="455"/>
                    </a:lnTo>
                    <a:lnTo>
                      <a:pt x="528" y="456"/>
                    </a:lnTo>
                    <a:lnTo>
                      <a:pt x="528" y="456"/>
                    </a:lnTo>
                    <a:lnTo>
                      <a:pt x="528" y="459"/>
                    </a:lnTo>
                    <a:lnTo>
                      <a:pt x="526" y="463"/>
                    </a:lnTo>
                    <a:lnTo>
                      <a:pt x="524" y="468"/>
                    </a:lnTo>
                    <a:lnTo>
                      <a:pt x="524" y="475"/>
                    </a:lnTo>
                    <a:lnTo>
                      <a:pt x="524" y="475"/>
                    </a:lnTo>
                    <a:lnTo>
                      <a:pt x="528" y="487"/>
                    </a:lnTo>
                    <a:lnTo>
                      <a:pt x="533" y="497"/>
                    </a:lnTo>
                    <a:lnTo>
                      <a:pt x="533" y="497"/>
                    </a:lnTo>
                    <a:lnTo>
                      <a:pt x="534" y="500"/>
                    </a:lnTo>
                    <a:lnTo>
                      <a:pt x="533" y="501"/>
                    </a:lnTo>
                    <a:lnTo>
                      <a:pt x="530" y="504"/>
                    </a:lnTo>
                    <a:lnTo>
                      <a:pt x="521" y="505"/>
                    </a:lnTo>
                    <a:lnTo>
                      <a:pt x="521" y="505"/>
                    </a:lnTo>
                    <a:lnTo>
                      <a:pt x="518" y="508"/>
                    </a:lnTo>
                    <a:lnTo>
                      <a:pt x="518" y="511"/>
                    </a:lnTo>
                    <a:lnTo>
                      <a:pt x="518" y="523"/>
                    </a:lnTo>
                    <a:lnTo>
                      <a:pt x="518" y="523"/>
                    </a:lnTo>
                    <a:lnTo>
                      <a:pt x="517" y="526"/>
                    </a:lnTo>
                    <a:lnTo>
                      <a:pt x="515" y="524"/>
                    </a:lnTo>
                    <a:lnTo>
                      <a:pt x="513" y="521"/>
                    </a:lnTo>
                    <a:lnTo>
                      <a:pt x="510" y="520"/>
                    </a:lnTo>
                    <a:lnTo>
                      <a:pt x="510" y="520"/>
                    </a:lnTo>
                    <a:lnTo>
                      <a:pt x="507" y="518"/>
                    </a:lnTo>
                    <a:lnTo>
                      <a:pt x="507" y="517"/>
                    </a:lnTo>
                    <a:lnTo>
                      <a:pt x="507" y="516"/>
                    </a:lnTo>
                    <a:lnTo>
                      <a:pt x="508" y="516"/>
                    </a:lnTo>
                    <a:lnTo>
                      <a:pt x="508" y="516"/>
                    </a:lnTo>
                    <a:lnTo>
                      <a:pt x="510" y="514"/>
                    </a:lnTo>
                    <a:lnTo>
                      <a:pt x="510" y="513"/>
                    </a:lnTo>
                    <a:lnTo>
                      <a:pt x="511" y="508"/>
                    </a:lnTo>
                    <a:lnTo>
                      <a:pt x="511" y="508"/>
                    </a:lnTo>
                    <a:lnTo>
                      <a:pt x="511" y="505"/>
                    </a:lnTo>
                    <a:lnTo>
                      <a:pt x="510" y="502"/>
                    </a:lnTo>
                    <a:lnTo>
                      <a:pt x="505" y="498"/>
                    </a:lnTo>
                    <a:lnTo>
                      <a:pt x="505" y="498"/>
                    </a:lnTo>
                    <a:lnTo>
                      <a:pt x="502" y="497"/>
                    </a:lnTo>
                    <a:lnTo>
                      <a:pt x="499" y="498"/>
                    </a:lnTo>
                    <a:lnTo>
                      <a:pt x="491" y="504"/>
                    </a:lnTo>
                    <a:lnTo>
                      <a:pt x="491" y="504"/>
                    </a:lnTo>
                    <a:lnTo>
                      <a:pt x="482" y="510"/>
                    </a:lnTo>
                    <a:lnTo>
                      <a:pt x="471" y="513"/>
                    </a:lnTo>
                    <a:lnTo>
                      <a:pt x="471" y="513"/>
                    </a:lnTo>
                    <a:lnTo>
                      <a:pt x="465" y="513"/>
                    </a:lnTo>
                    <a:lnTo>
                      <a:pt x="460" y="511"/>
                    </a:lnTo>
                    <a:lnTo>
                      <a:pt x="457" y="511"/>
                    </a:lnTo>
                    <a:lnTo>
                      <a:pt x="453" y="513"/>
                    </a:lnTo>
                    <a:lnTo>
                      <a:pt x="453" y="513"/>
                    </a:lnTo>
                    <a:lnTo>
                      <a:pt x="444" y="517"/>
                    </a:lnTo>
                    <a:lnTo>
                      <a:pt x="440" y="520"/>
                    </a:lnTo>
                    <a:lnTo>
                      <a:pt x="440" y="520"/>
                    </a:lnTo>
                    <a:lnTo>
                      <a:pt x="440" y="523"/>
                    </a:lnTo>
                    <a:lnTo>
                      <a:pt x="440" y="526"/>
                    </a:lnTo>
                    <a:lnTo>
                      <a:pt x="440" y="527"/>
                    </a:lnTo>
                    <a:lnTo>
                      <a:pt x="439" y="529"/>
                    </a:lnTo>
                    <a:lnTo>
                      <a:pt x="439" y="529"/>
                    </a:lnTo>
                    <a:lnTo>
                      <a:pt x="434" y="530"/>
                    </a:lnTo>
                    <a:lnTo>
                      <a:pt x="433" y="529"/>
                    </a:lnTo>
                    <a:lnTo>
                      <a:pt x="431" y="529"/>
                    </a:lnTo>
                    <a:lnTo>
                      <a:pt x="429" y="531"/>
                    </a:lnTo>
                    <a:lnTo>
                      <a:pt x="429" y="531"/>
                    </a:lnTo>
                    <a:lnTo>
                      <a:pt x="427" y="536"/>
                    </a:lnTo>
                    <a:lnTo>
                      <a:pt x="424" y="537"/>
                    </a:lnTo>
                    <a:lnTo>
                      <a:pt x="420" y="540"/>
                    </a:lnTo>
                    <a:lnTo>
                      <a:pt x="420" y="540"/>
                    </a:lnTo>
                    <a:lnTo>
                      <a:pt x="417" y="542"/>
                    </a:lnTo>
                    <a:lnTo>
                      <a:pt x="415" y="542"/>
                    </a:lnTo>
                    <a:lnTo>
                      <a:pt x="414" y="540"/>
                    </a:lnTo>
                    <a:lnTo>
                      <a:pt x="413" y="540"/>
                    </a:lnTo>
                    <a:lnTo>
                      <a:pt x="413" y="540"/>
                    </a:lnTo>
                    <a:lnTo>
                      <a:pt x="410" y="540"/>
                    </a:lnTo>
                    <a:lnTo>
                      <a:pt x="410" y="539"/>
                    </a:lnTo>
                    <a:lnTo>
                      <a:pt x="408" y="537"/>
                    </a:lnTo>
                    <a:lnTo>
                      <a:pt x="405" y="539"/>
                    </a:lnTo>
                    <a:lnTo>
                      <a:pt x="405" y="539"/>
                    </a:lnTo>
                    <a:lnTo>
                      <a:pt x="404" y="539"/>
                    </a:lnTo>
                    <a:lnTo>
                      <a:pt x="404" y="537"/>
                    </a:lnTo>
                    <a:lnTo>
                      <a:pt x="407" y="531"/>
                    </a:lnTo>
                    <a:lnTo>
                      <a:pt x="407" y="531"/>
                    </a:lnTo>
                    <a:lnTo>
                      <a:pt x="414" y="526"/>
                    </a:lnTo>
                    <a:lnTo>
                      <a:pt x="421" y="520"/>
                    </a:lnTo>
                    <a:lnTo>
                      <a:pt x="421" y="520"/>
                    </a:lnTo>
                    <a:lnTo>
                      <a:pt x="423" y="517"/>
                    </a:lnTo>
                    <a:lnTo>
                      <a:pt x="424" y="511"/>
                    </a:lnTo>
                    <a:lnTo>
                      <a:pt x="423" y="501"/>
                    </a:lnTo>
                    <a:lnTo>
                      <a:pt x="423" y="501"/>
                    </a:lnTo>
                    <a:lnTo>
                      <a:pt x="424" y="498"/>
                    </a:lnTo>
                    <a:lnTo>
                      <a:pt x="427" y="497"/>
                    </a:lnTo>
                    <a:lnTo>
                      <a:pt x="431" y="492"/>
                    </a:lnTo>
                    <a:lnTo>
                      <a:pt x="431" y="492"/>
                    </a:lnTo>
                    <a:lnTo>
                      <a:pt x="417" y="500"/>
                    </a:lnTo>
                    <a:lnTo>
                      <a:pt x="417" y="500"/>
                    </a:lnTo>
                    <a:lnTo>
                      <a:pt x="407" y="505"/>
                    </a:lnTo>
                    <a:lnTo>
                      <a:pt x="398" y="513"/>
                    </a:lnTo>
                    <a:lnTo>
                      <a:pt x="398" y="513"/>
                    </a:lnTo>
                    <a:lnTo>
                      <a:pt x="389" y="517"/>
                    </a:lnTo>
                    <a:lnTo>
                      <a:pt x="376" y="521"/>
                    </a:lnTo>
                    <a:lnTo>
                      <a:pt x="376" y="521"/>
                    </a:lnTo>
                    <a:lnTo>
                      <a:pt x="372" y="523"/>
                    </a:lnTo>
                    <a:lnTo>
                      <a:pt x="369" y="526"/>
                    </a:lnTo>
                    <a:lnTo>
                      <a:pt x="363" y="531"/>
                    </a:lnTo>
                    <a:lnTo>
                      <a:pt x="360" y="536"/>
                    </a:lnTo>
                    <a:lnTo>
                      <a:pt x="358" y="539"/>
                    </a:lnTo>
                    <a:lnTo>
                      <a:pt x="358" y="539"/>
                    </a:lnTo>
                    <a:lnTo>
                      <a:pt x="355" y="540"/>
                    </a:lnTo>
                    <a:lnTo>
                      <a:pt x="350" y="539"/>
                    </a:lnTo>
                    <a:lnTo>
                      <a:pt x="345" y="537"/>
                    </a:lnTo>
                    <a:lnTo>
                      <a:pt x="345" y="537"/>
                    </a:lnTo>
                    <a:lnTo>
                      <a:pt x="343" y="537"/>
                    </a:lnTo>
                    <a:lnTo>
                      <a:pt x="343" y="537"/>
                    </a:lnTo>
                    <a:lnTo>
                      <a:pt x="345" y="540"/>
                    </a:lnTo>
                    <a:lnTo>
                      <a:pt x="347" y="546"/>
                    </a:lnTo>
                    <a:lnTo>
                      <a:pt x="347" y="546"/>
                    </a:lnTo>
                    <a:lnTo>
                      <a:pt x="347" y="547"/>
                    </a:lnTo>
                    <a:lnTo>
                      <a:pt x="346" y="549"/>
                    </a:lnTo>
                    <a:lnTo>
                      <a:pt x="342" y="550"/>
                    </a:lnTo>
                    <a:lnTo>
                      <a:pt x="333" y="552"/>
                    </a:lnTo>
                    <a:lnTo>
                      <a:pt x="333" y="552"/>
                    </a:lnTo>
                    <a:lnTo>
                      <a:pt x="331" y="555"/>
                    </a:lnTo>
                    <a:lnTo>
                      <a:pt x="331" y="560"/>
                    </a:lnTo>
                    <a:lnTo>
                      <a:pt x="331" y="568"/>
                    </a:lnTo>
                    <a:lnTo>
                      <a:pt x="330" y="575"/>
                    </a:lnTo>
                    <a:lnTo>
                      <a:pt x="330" y="575"/>
                    </a:lnTo>
                    <a:lnTo>
                      <a:pt x="329" y="578"/>
                    </a:lnTo>
                    <a:lnTo>
                      <a:pt x="326" y="581"/>
                    </a:lnTo>
                    <a:lnTo>
                      <a:pt x="323" y="582"/>
                    </a:lnTo>
                    <a:lnTo>
                      <a:pt x="320" y="582"/>
                    </a:lnTo>
                    <a:lnTo>
                      <a:pt x="311" y="582"/>
                    </a:lnTo>
                    <a:lnTo>
                      <a:pt x="304" y="582"/>
                    </a:lnTo>
                    <a:lnTo>
                      <a:pt x="304" y="582"/>
                    </a:lnTo>
                    <a:lnTo>
                      <a:pt x="300" y="582"/>
                    </a:lnTo>
                    <a:lnTo>
                      <a:pt x="297" y="579"/>
                    </a:lnTo>
                    <a:lnTo>
                      <a:pt x="294" y="571"/>
                    </a:lnTo>
                    <a:lnTo>
                      <a:pt x="294" y="571"/>
                    </a:lnTo>
                    <a:lnTo>
                      <a:pt x="291" y="568"/>
                    </a:lnTo>
                    <a:lnTo>
                      <a:pt x="288" y="565"/>
                    </a:lnTo>
                    <a:lnTo>
                      <a:pt x="284" y="563"/>
                    </a:lnTo>
                    <a:lnTo>
                      <a:pt x="284" y="563"/>
                    </a:lnTo>
                    <a:lnTo>
                      <a:pt x="282" y="560"/>
                    </a:lnTo>
                    <a:lnTo>
                      <a:pt x="282" y="558"/>
                    </a:lnTo>
                    <a:lnTo>
                      <a:pt x="287" y="549"/>
                    </a:lnTo>
                    <a:lnTo>
                      <a:pt x="287" y="549"/>
                    </a:lnTo>
                    <a:lnTo>
                      <a:pt x="291" y="544"/>
                    </a:lnTo>
                    <a:lnTo>
                      <a:pt x="297" y="542"/>
                    </a:lnTo>
                    <a:lnTo>
                      <a:pt x="303" y="540"/>
                    </a:lnTo>
                    <a:lnTo>
                      <a:pt x="305" y="537"/>
                    </a:lnTo>
                    <a:lnTo>
                      <a:pt x="305" y="537"/>
                    </a:lnTo>
                    <a:lnTo>
                      <a:pt x="307" y="537"/>
                    </a:lnTo>
                    <a:lnTo>
                      <a:pt x="305" y="534"/>
                    </a:lnTo>
                    <a:lnTo>
                      <a:pt x="303" y="530"/>
                    </a:lnTo>
                    <a:lnTo>
                      <a:pt x="297" y="521"/>
                    </a:lnTo>
                    <a:lnTo>
                      <a:pt x="297" y="521"/>
                    </a:lnTo>
                    <a:lnTo>
                      <a:pt x="294" y="517"/>
                    </a:lnTo>
                    <a:lnTo>
                      <a:pt x="289" y="516"/>
                    </a:lnTo>
                    <a:lnTo>
                      <a:pt x="285" y="513"/>
                    </a:lnTo>
                    <a:lnTo>
                      <a:pt x="279" y="513"/>
                    </a:lnTo>
                    <a:lnTo>
                      <a:pt x="279" y="513"/>
                    </a:lnTo>
                    <a:lnTo>
                      <a:pt x="268" y="510"/>
                    </a:lnTo>
                    <a:lnTo>
                      <a:pt x="258" y="507"/>
                    </a:lnTo>
                    <a:lnTo>
                      <a:pt x="258" y="507"/>
                    </a:lnTo>
                    <a:lnTo>
                      <a:pt x="255" y="507"/>
                    </a:lnTo>
                    <a:lnTo>
                      <a:pt x="255" y="508"/>
                    </a:lnTo>
                    <a:lnTo>
                      <a:pt x="258" y="514"/>
                    </a:lnTo>
                    <a:lnTo>
                      <a:pt x="258" y="514"/>
                    </a:lnTo>
                    <a:lnTo>
                      <a:pt x="263" y="521"/>
                    </a:lnTo>
                    <a:lnTo>
                      <a:pt x="266" y="527"/>
                    </a:lnTo>
                    <a:lnTo>
                      <a:pt x="268" y="533"/>
                    </a:lnTo>
                    <a:lnTo>
                      <a:pt x="268" y="533"/>
                    </a:lnTo>
                    <a:lnTo>
                      <a:pt x="268" y="536"/>
                    </a:lnTo>
                    <a:lnTo>
                      <a:pt x="268" y="540"/>
                    </a:lnTo>
                    <a:lnTo>
                      <a:pt x="263" y="552"/>
                    </a:lnTo>
                    <a:lnTo>
                      <a:pt x="259" y="562"/>
                    </a:lnTo>
                    <a:lnTo>
                      <a:pt x="256" y="568"/>
                    </a:lnTo>
                    <a:lnTo>
                      <a:pt x="256" y="568"/>
                    </a:lnTo>
                    <a:lnTo>
                      <a:pt x="258" y="571"/>
                    </a:lnTo>
                    <a:lnTo>
                      <a:pt x="259" y="572"/>
                    </a:lnTo>
                    <a:lnTo>
                      <a:pt x="263" y="575"/>
                    </a:lnTo>
                    <a:lnTo>
                      <a:pt x="269" y="579"/>
                    </a:lnTo>
                    <a:lnTo>
                      <a:pt x="274" y="585"/>
                    </a:lnTo>
                    <a:lnTo>
                      <a:pt x="274" y="585"/>
                    </a:lnTo>
                    <a:lnTo>
                      <a:pt x="275" y="588"/>
                    </a:lnTo>
                    <a:lnTo>
                      <a:pt x="275" y="592"/>
                    </a:lnTo>
                    <a:lnTo>
                      <a:pt x="271" y="601"/>
                    </a:lnTo>
                    <a:lnTo>
                      <a:pt x="262" y="614"/>
                    </a:lnTo>
                    <a:lnTo>
                      <a:pt x="262" y="614"/>
                    </a:lnTo>
                    <a:lnTo>
                      <a:pt x="261" y="615"/>
                    </a:lnTo>
                    <a:lnTo>
                      <a:pt x="258" y="615"/>
                    </a:lnTo>
                    <a:lnTo>
                      <a:pt x="255" y="614"/>
                    </a:lnTo>
                    <a:lnTo>
                      <a:pt x="253" y="613"/>
                    </a:lnTo>
                    <a:lnTo>
                      <a:pt x="253" y="613"/>
                    </a:lnTo>
                    <a:lnTo>
                      <a:pt x="250" y="607"/>
                    </a:lnTo>
                    <a:lnTo>
                      <a:pt x="247" y="605"/>
                    </a:lnTo>
                    <a:lnTo>
                      <a:pt x="245" y="605"/>
                    </a:lnTo>
                    <a:lnTo>
                      <a:pt x="245" y="605"/>
                    </a:lnTo>
                    <a:lnTo>
                      <a:pt x="242" y="604"/>
                    </a:lnTo>
                    <a:lnTo>
                      <a:pt x="240" y="602"/>
                    </a:lnTo>
                    <a:lnTo>
                      <a:pt x="237" y="600"/>
                    </a:lnTo>
                    <a:lnTo>
                      <a:pt x="237" y="600"/>
                    </a:lnTo>
                    <a:lnTo>
                      <a:pt x="234" y="601"/>
                    </a:lnTo>
                    <a:lnTo>
                      <a:pt x="232" y="604"/>
                    </a:lnTo>
                    <a:lnTo>
                      <a:pt x="226" y="613"/>
                    </a:lnTo>
                    <a:lnTo>
                      <a:pt x="226" y="613"/>
                    </a:lnTo>
                    <a:lnTo>
                      <a:pt x="221" y="615"/>
                    </a:lnTo>
                    <a:lnTo>
                      <a:pt x="217" y="618"/>
                    </a:lnTo>
                    <a:lnTo>
                      <a:pt x="211" y="621"/>
                    </a:lnTo>
                    <a:lnTo>
                      <a:pt x="208" y="624"/>
                    </a:lnTo>
                    <a:lnTo>
                      <a:pt x="208" y="624"/>
                    </a:lnTo>
                    <a:lnTo>
                      <a:pt x="200" y="631"/>
                    </a:lnTo>
                    <a:lnTo>
                      <a:pt x="194" y="640"/>
                    </a:lnTo>
                    <a:lnTo>
                      <a:pt x="194" y="640"/>
                    </a:lnTo>
                    <a:lnTo>
                      <a:pt x="192" y="643"/>
                    </a:lnTo>
                    <a:lnTo>
                      <a:pt x="194" y="644"/>
                    </a:lnTo>
                    <a:lnTo>
                      <a:pt x="198" y="652"/>
                    </a:lnTo>
                    <a:lnTo>
                      <a:pt x="207" y="662"/>
                    </a:lnTo>
                    <a:lnTo>
                      <a:pt x="207" y="662"/>
                    </a:lnTo>
                    <a:lnTo>
                      <a:pt x="208" y="665"/>
                    </a:lnTo>
                    <a:lnTo>
                      <a:pt x="208" y="668"/>
                    </a:lnTo>
                    <a:lnTo>
                      <a:pt x="204" y="673"/>
                    </a:lnTo>
                    <a:lnTo>
                      <a:pt x="204" y="673"/>
                    </a:lnTo>
                    <a:lnTo>
                      <a:pt x="203" y="675"/>
                    </a:lnTo>
                    <a:lnTo>
                      <a:pt x="201" y="675"/>
                    </a:lnTo>
                    <a:lnTo>
                      <a:pt x="194" y="672"/>
                    </a:lnTo>
                    <a:lnTo>
                      <a:pt x="181" y="666"/>
                    </a:lnTo>
                    <a:lnTo>
                      <a:pt x="181" y="666"/>
                    </a:lnTo>
                    <a:lnTo>
                      <a:pt x="175" y="665"/>
                    </a:lnTo>
                    <a:lnTo>
                      <a:pt x="171" y="666"/>
                    </a:lnTo>
                    <a:lnTo>
                      <a:pt x="171" y="666"/>
                    </a:lnTo>
                    <a:lnTo>
                      <a:pt x="169" y="668"/>
                    </a:lnTo>
                    <a:lnTo>
                      <a:pt x="168" y="668"/>
                    </a:lnTo>
                    <a:lnTo>
                      <a:pt x="163" y="665"/>
                    </a:lnTo>
                    <a:lnTo>
                      <a:pt x="161" y="660"/>
                    </a:lnTo>
                    <a:lnTo>
                      <a:pt x="158" y="656"/>
                    </a:lnTo>
                    <a:lnTo>
                      <a:pt x="158" y="656"/>
                    </a:lnTo>
                    <a:lnTo>
                      <a:pt x="156" y="653"/>
                    </a:lnTo>
                    <a:lnTo>
                      <a:pt x="155" y="652"/>
                    </a:lnTo>
                    <a:lnTo>
                      <a:pt x="152" y="653"/>
                    </a:lnTo>
                    <a:lnTo>
                      <a:pt x="149" y="652"/>
                    </a:lnTo>
                    <a:lnTo>
                      <a:pt x="149" y="652"/>
                    </a:lnTo>
                    <a:lnTo>
                      <a:pt x="146" y="652"/>
                    </a:lnTo>
                    <a:lnTo>
                      <a:pt x="146" y="653"/>
                    </a:lnTo>
                    <a:lnTo>
                      <a:pt x="146" y="656"/>
                    </a:lnTo>
                    <a:lnTo>
                      <a:pt x="146" y="656"/>
                    </a:lnTo>
                    <a:lnTo>
                      <a:pt x="145" y="657"/>
                    </a:lnTo>
                    <a:lnTo>
                      <a:pt x="143" y="659"/>
                    </a:lnTo>
                    <a:lnTo>
                      <a:pt x="140" y="662"/>
                    </a:lnTo>
                    <a:lnTo>
                      <a:pt x="140" y="662"/>
                    </a:lnTo>
                    <a:lnTo>
                      <a:pt x="139" y="663"/>
                    </a:lnTo>
                    <a:lnTo>
                      <a:pt x="140" y="668"/>
                    </a:lnTo>
                    <a:lnTo>
                      <a:pt x="142" y="673"/>
                    </a:lnTo>
                    <a:lnTo>
                      <a:pt x="148" y="681"/>
                    </a:lnTo>
                    <a:lnTo>
                      <a:pt x="148" y="681"/>
                    </a:lnTo>
                    <a:lnTo>
                      <a:pt x="150" y="685"/>
                    </a:lnTo>
                    <a:lnTo>
                      <a:pt x="153" y="685"/>
                    </a:lnTo>
                    <a:lnTo>
                      <a:pt x="156" y="682"/>
                    </a:lnTo>
                    <a:lnTo>
                      <a:pt x="159" y="681"/>
                    </a:lnTo>
                    <a:lnTo>
                      <a:pt x="159" y="681"/>
                    </a:lnTo>
                    <a:lnTo>
                      <a:pt x="162" y="681"/>
                    </a:lnTo>
                    <a:lnTo>
                      <a:pt x="163" y="682"/>
                    </a:lnTo>
                    <a:lnTo>
                      <a:pt x="163" y="688"/>
                    </a:lnTo>
                    <a:lnTo>
                      <a:pt x="165" y="694"/>
                    </a:lnTo>
                    <a:lnTo>
                      <a:pt x="166" y="698"/>
                    </a:lnTo>
                    <a:lnTo>
                      <a:pt x="166" y="698"/>
                    </a:lnTo>
                    <a:lnTo>
                      <a:pt x="166" y="699"/>
                    </a:lnTo>
                    <a:lnTo>
                      <a:pt x="166" y="701"/>
                    </a:lnTo>
                    <a:lnTo>
                      <a:pt x="163" y="702"/>
                    </a:lnTo>
                    <a:lnTo>
                      <a:pt x="156" y="704"/>
                    </a:lnTo>
                    <a:lnTo>
                      <a:pt x="156" y="704"/>
                    </a:lnTo>
                    <a:lnTo>
                      <a:pt x="153" y="704"/>
                    </a:lnTo>
                    <a:lnTo>
                      <a:pt x="148" y="702"/>
                    </a:lnTo>
                    <a:lnTo>
                      <a:pt x="142" y="701"/>
                    </a:lnTo>
                    <a:lnTo>
                      <a:pt x="137" y="697"/>
                    </a:lnTo>
                    <a:lnTo>
                      <a:pt x="137" y="697"/>
                    </a:lnTo>
                    <a:lnTo>
                      <a:pt x="133" y="694"/>
                    </a:lnTo>
                    <a:lnTo>
                      <a:pt x="132" y="689"/>
                    </a:lnTo>
                    <a:lnTo>
                      <a:pt x="130" y="688"/>
                    </a:lnTo>
                    <a:lnTo>
                      <a:pt x="129" y="686"/>
                    </a:lnTo>
                    <a:lnTo>
                      <a:pt x="129" y="686"/>
                    </a:lnTo>
                    <a:lnTo>
                      <a:pt x="126" y="686"/>
                    </a:lnTo>
                    <a:lnTo>
                      <a:pt x="121" y="685"/>
                    </a:lnTo>
                    <a:lnTo>
                      <a:pt x="117" y="679"/>
                    </a:lnTo>
                    <a:lnTo>
                      <a:pt x="117" y="679"/>
                    </a:lnTo>
                    <a:lnTo>
                      <a:pt x="113" y="675"/>
                    </a:lnTo>
                    <a:lnTo>
                      <a:pt x="111" y="673"/>
                    </a:lnTo>
                    <a:lnTo>
                      <a:pt x="113" y="672"/>
                    </a:lnTo>
                    <a:lnTo>
                      <a:pt x="113" y="672"/>
                    </a:lnTo>
                    <a:lnTo>
                      <a:pt x="113" y="668"/>
                    </a:lnTo>
                    <a:lnTo>
                      <a:pt x="113" y="662"/>
                    </a:lnTo>
                    <a:lnTo>
                      <a:pt x="111" y="649"/>
                    </a:lnTo>
                    <a:lnTo>
                      <a:pt x="111" y="649"/>
                    </a:lnTo>
                    <a:lnTo>
                      <a:pt x="110" y="644"/>
                    </a:lnTo>
                    <a:lnTo>
                      <a:pt x="108" y="643"/>
                    </a:lnTo>
                    <a:lnTo>
                      <a:pt x="107" y="643"/>
                    </a:lnTo>
                    <a:lnTo>
                      <a:pt x="108" y="643"/>
                    </a:lnTo>
                    <a:lnTo>
                      <a:pt x="108" y="643"/>
                    </a:lnTo>
                    <a:lnTo>
                      <a:pt x="111" y="640"/>
                    </a:lnTo>
                    <a:lnTo>
                      <a:pt x="113" y="636"/>
                    </a:lnTo>
                    <a:lnTo>
                      <a:pt x="113" y="630"/>
                    </a:lnTo>
                    <a:lnTo>
                      <a:pt x="111" y="627"/>
                    </a:lnTo>
                    <a:lnTo>
                      <a:pt x="111" y="627"/>
                    </a:lnTo>
                    <a:lnTo>
                      <a:pt x="103" y="618"/>
                    </a:lnTo>
                    <a:lnTo>
                      <a:pt x="98" y="614"/>
                    </a:lnTo>
                    <a:lnTo>
                      <a:pt x="94" y="611"/>
                    </a:lnTo>
                    <a:lnTo>
                      <a:pt x="94" y="611"/>
                    </a:lnTo>
                    <a:lnTo>
                      <a:pt x="92" y="611"/>
                    </a:lnTo>
                    <a:lnTo>
                      <a:pt x="90" y="608"/>
                    </a:lnTo>
                    <a:lnTo>
                      <a:pt x="87" y="602"/>
                    </a:lnTo>
                    <a:lnTo>
                      <a:pt x="87" y="602"/>
                    </a:lnTo>
                    <a:lnTo>
                      <a:pt x="84" y="597"/>
                    </a:lnTo>
                    <a:lnTo>
                      <a:pt x="81" y="594"/>
                    </a:lnTo>
                    <a:lnTo>
                      <a:pt x="79" y="594"/>
                    </a:lnTo>
                    <a:lnTo>
                      <a:pt x="79" y="594"/>
                    </a:lnTo>
                    <a:lnTo>
                      <a:pt x="72" y="592"/>
                    </a:lnTo>
                    <a:lnTo>
                      <a:pt x="69" y="592"/>
                    </a:lnTo>
                    <a:lnTo>
                      <a:pt x="65" y="591"/>
                    </a:lnTo>
                    <a:lnTo>
                      <a:pt x="65" y="591"/>
                    </a:lnTo>
                    <a:lnTo>
                      <a:pt x="64" y="588"/>
                    </a:lnTo>
                    <a:lnTo>
                      <a:pt x="64" y="586"/>
                    </a:lnTo>
                    <a:lnTo>
                      <a:pt x="69" y="584"/>
                    </a:lnTo>
                    <a:lnTo>
                      <a:pt x="69" y="584"/>
                    </a:lnTo>
                    <a:lnTo>
                      <a:pt x="71" y="582"/>
                    </a:lnTo>
                    <a:lnTo>
                      <a:pt x="72" y="579"/>
                    </a:lnTo>
                    <a:lnTo>
                      <a:pt x="74" y="575"/>
                    </a:lnTo>
                    <a:lnTo>
                      <a:pt x="74" y="575"/>
                    </a:lnTo>
                    <a:lnTo>
                      <a:pt x="75" y="575"/>
                    </a:lnTo>
                    <a:lnTo>
                      <a:pt x="77" y="576"/>
                    </a:lnTo>
                    <a:lnTo>
                      <a:pt x="79" y="581"/>
                    </a:lnTo>
                    <a:lnTo>
                      <a:pt x="82" y="585"/>
                    </a:lnTo>
                    <a:lnTo>
                      <a:pt x="87" y="589"/>
                    </a:lnTo>
                    <a:lnTo>
                      <a:pt x="87" y="589"/>
                    </a:lnTo>
                    <a:lnTo>
                      <a:pt x="101" y="597"/>
                    </a:lnTo>
                    <a:lnTo>
                      <a:pt x="116" y="604"/>
                    </a:lnTo>
                    <a:lnTo>
                      <a:pt x="116" y="604"/>
                    </a:lnTo>
                    <a:lnTo>
                      <a:pt x="121" y="605"/>
                    </a:lnTo>
                    <a:lnTo>
                      <a:pt x="130" y="608"/>
                    </a:lnTo>
                    <a:lnTo>
                      <a:pt x="148" y="613"/>
                    </a:lnTo>
                    <a:lnTo>
                      <a:pt x="148" y="613"/>
                    </a:lnTo>
                    <a:lnTo>
                      <a:pt x="162" y="615"/>
                    </a:lnTo>
                    <a:lnTo>
                      <a:pt x="174" y="618"/>
                    </a:lnTo>
                    <a:lnTo>
                      <a:pt x="174" y="618"/>
                    </a:lnTo>
                    <a:lnTo>
                      <a:pt x="179" y="617"/>
                    </a:lnTo>
                    <a:lnTo>
                      <a:pt x="184" y="615"/>
                    </a:lnTo>
                    <a:lnTo>
                      <a:pt x="190" y="614"/>
                    </a:lnTo>
                    <a:lnTo>
                      <a:pt x="194" y="613"/>
                    </a:lnTo>
                    <a:lnTo>
                      <a:pt x="194" y="613"/>
                    </a:lnTo>
                    <a:lnTo>
                      <a:pt x="198" y="611"/>
                    </a:lnTo>
                    <a:lnTo>
                      <a:pt x="203" y="608"/>
                    </a:lnTo>
                    <a:lnTo>
                      <a:pt x="207" y="604"/>
                    </a:lnTo>
                    <a:lnTo>
                      <a:pt x="211" y="598"/>
                    </a:lnTo>
                    <a:lnTo>
                      <a:pt x="211" y="598"/>
                    </a:lnTo>
                    <a:lnTo>
                      <a:pt x="216" y="589"/>
                    </a:lnTo>
                    <a:lnTo>
                      <a:pt x="217" y="581"/>
                    </a:lnTo>
                    <a:lnTo>
                      <a:pt x="217" y="575"/>
                    </a:lnTo>
                    <a:lnTo>
                      <a:pt x="217" y="571"/>
                    </a:lnTo>
                    <a:lnTo>
                      <a:pt x="217" y="571"/>
                    </a:lnTo>
                    <a:lnTo>
                      <a:pt x="216" y="566"/>
                    </a:lnTo>
                    <a:lnTo>
                      <a:pt x="216" y="558"/>
                    </a:lnTo>
                    <a:lnTo>
                      <a:pt x="216" y="550"/>
                    </a:lnTo>
                    <a:lnTo>
                      <a:pt x="214" y="547"/>
                    </a:lnTo>
                    <a:lnTo>
                      <a:pt x="213" y="544"/>
                    </a:lnTo>
                    <a:lnTo>
                      <a:pt x="213" y="544"/>
                    </a:lnTo>
                    <a:lnTo>
                      <a:pt x="208" y="542"/>
                    </a:lnTo>
                    <a:lnTo>
                      <a:pt x="203" y="536"/>
                    </a:lnTo>
                    <a:lnTo>
                      <a:pt x="203" y="536"/>
                    </a:lnTo>
                    <a:lnTo>
                      <a:pt x="197" y="530"/>
                    </a:lnTo>
                    <a:lnTo>
                      <a:pt x="194" y="530"/>
                    </a:lnTo>
                    <a:lnTo>
                      <a:pt x="192" y="530"/>
                    </a:lnTo>
                    <a:lnTo>
                      <a:pt x="192" y="530"/>
                    </a:lnTo>
                    <a:lnTo>
                      <a:pt x="190" y="530"/>
                    </a:lnTo>
                    <a:lnTo>
                      <a:pt x="188" y="529"/>
                    </a:lnTo>
                    <a:lnTo>
                      <a:pt x="184" y="523"/>
                    </a:lnTo>
                    <a:lnTo>
                      <a:pt x="184" y="523"/>
                    </a:lnTo>
                    <a:lnTo>
                      <a:pt x="178" y="520"/>
                    </a:lnTo>
                    <a:lnTo>
                      <a:pt x="171" y="520"/>
                    </a:lnTo>
                    <a:lnTo>
                      <a:pt x="171" y="520"/>
                    </a:lnTo>
                    <a:lnTo>
                      <a:pt x="166" y="518"/>
                    </a:lnTo>
                    <a:lnTo>
                      <a:pt x="165" y="516"/>
                    </a:lnTo>
                    <a:lnTo>
                      <a:pt x="159" y="510"/>
                    </a:lnTo>
                    <a:lnTo>
                      <a:pt x="159" y="510"/>
                    </a:lnTo>
                    <a:lnTo>
                      <a:pt x="153" y="504"/>
                    </a:lnTo>
                    <a:lnTo>
                      <a:pt x="145" y="498"/>
                    </a:lnTo>
                    <a:lnTo>
                      <a:pt x="130" y="487"/>
                    </a:lnTo>
                    <a:lnTo>
                      <a:pt x="130" y="487"/>
                    </a:lnTo>
                    <a:lnTo>
                      <a:pt x="126" y="485"/>
                    </a:lnTo>
                    <a:lnTo>
                      <a:pt x="121" y="482"/>
                    </a:lnTo>
                    <a:lnTo>
                      <a:pt x="116" y="482"/>
                    </a:lnTo>
                    <a:lnTo>
                      <a:pt x="111" y="482"/>
                    </a:lnTo>
                    <a:lnTo>
                      <a:pt x="111" y="482"/>
                    </a:lnTo>
                    <a:lnTo>
                      <a:pt x="107" y="482"/>
                    </a:lnTo>
                    <a:lnTo>
                      <a:pt x="103" y="481"/>
                    </a:lnTo>
                    <a:lnTo>
                      <a:pt x="100" y="481"/>
                    </a:lnTo>
                    <a:lnTo>
                      <a:pt x="97" y="479"/>
                    </a:lnTo>
                    <a:lnTo>
                      <a:pt x="97" y="479"/>
                    </a:lnTo>
                    <a:lnTo>
                      <a:pt x="92" y="479"/>
                    </a:lnTo>
                    <a:lnTo>
                      <a:pt x="91" y="478"/>
                    </a:lnTo>
                    <a:lnTo>
                      <a:pt x="90" y="475"/>
                    </a:lnTo>
                    <a:lnTo>
                      <a:pt x="90" y="475"/>
                    </a:lnTo>
                    <a:lnTo>
                      <a:pt x="88" y="475"/>
                    </a:lnTo>
                    <a:lnTo>
                      <a:pt x="87" y="475"/>
                    </a:lnTo>
                    <a:lnTo>
                      <a:pt x="79" y="479"/>
                    </a:lnTo>
                    <a:lnTo>
                      <a:pt x="79" y="479"/>
                    </a:lnTo>
                    <a:lnTo>
                      <a:pt x="78" y="481"/>
                    </a:lnTo>
                    <a:lnTo>
                      <a:pt x="78" y="479"/>
                    </a:lnTo>
                    <a:lnTo>
                      <a:pt x="78" y="476"/>
                    </a:lnTo>
                    <a:lnTo>
                      <a:pt x="79" y="473"/>
                    </a:lnTo>
                    <a:lnTo>
                      <a:pt x="78" y="472"/>
                    </a:lnTo>
                    <a:lnTo>
                      <a:pt x="78" y="472"/>
                    </a:lnTo>
                    <a:lnTo>
                      <a:pt x="78" y="472"/>
                    </a:lnTo>
                    <a:lnTo>
                      <a:pt x="74" y="471"/>
                    </a:lnTo>
                    <a:lnTo>
                      <a:pt x="71" y="469"/>
                    </a:lnTo>
                    <a:lnTo>
                      <a:pt x="71" y="468"/>
                    </a:lnTo>
                    <a:lnTo>
                      <a:pt x="72" y="468"/>
                    </a:lnTo>
                    <a:lnTo>
                      <a:pt x="72" y="468"/>
                    </a:lnTo>
                    <a:lnTo>
                      <a:pt x="75" y="466"/>
                    </a:lnTo>
                    <a:lnTo>
                      <a:pt x="81" y="463"/>
                    </a:lnTo>
                    <a:lnTo>
                      <a:pt x="82" y="460"/>
                    </a:lnTo>
                    <a:lnTo>
                      <a:pt x="82" y="459"/>
                    </a:lnTo>
                    <a:lnTo>
                      <a:pt x="81" y="456"/>
                    </a:lnTo>
                    <a:lnTo>
                      <a:pt x="81" y="456"/>
                    </a:lnTo>
                    <a:lnTo>
                      <a:pt x="75" y="455"/>
                    </a:lnTo>
                    <a:lnTo>
                      <a:pt x="69" y="453"/>
                    </a:lnTo>
                    <a:lnTo>
                      <a:pt x="65" y="453"/>
                    </a:lnTo>
                    <a:lnTo>
                      <a:pt x="62" y="455"/>
                    </a:lnTo>
                    <a:lnTo>
                      <a:pt x="62" y="455"/>
                    </a:lnTo>
                    <a:lnTo>
                      <a:pt x="59" y="458"/>
                    </a:lnTo>
                    <a:lnTo>
                      <a:pt x="56" y="459"/>
                    </a:lnTo>
                    <a:lnTo>
                      <a:pt x="46" y="459"/>
                    </a:lnTo>
                    <a:lnTo>
                      <a:pt x="46" y="459"/>
                    </a:lnTo>
                    <a:lnTo>
                      <a:pt x="40" y="471"/>
                    </a:lnTo>
                    <a:lnTo>
                      <a:pt x="39" y="475"/>
                    </a:lnTo>
                    <a:lnTo>
                      <a:pt x="36" y="478"/>
                    </a:lnTo>
                    <a:lnTo>
                      <a:pt x="36" y="478"/>
                    </a:lnTo>
                    <a:lnTo>
                      <a:pt x="33" y="479"/>
                    </a:lnTo>
                    <a:lnTo>
                      <a:pt x="30" y="481"/>
                    </a:lnTo>
                    <a:lnTo>
                      <a:pt x="27" y="487"/>
                    </a:lnTo>
                    <a:lnTo>
                      <a:pt x="27" y="487"/>
                    </a:lnTo>
                    <a:lnTo>
                      <a:pt x="24" y="491"/>
                    </a:lnTo>
                    <a:lnTo>
                      <a:pt x="22" y="494"/>
                    </a:lnTo>
                    <a:lnTo>
                      <a:pt x="17" y="498"/>
                    </a:lnTo>
                    <a:lnTo>
                      <a:pt x="17" y="500"/>
                    </a:lnTo>
                    <a:lnTo>
                      <a:pt x="17" y="502"/>
                    </a:lnTo>
                    <a:lnTo>
                      <a:pt x="17" y="502"/>
                    </a:lnTo>
                    <a:lnTo>
                      <a:pt x="16" y="507"/>
                    </a:lnTo>
                    <a:lnTo>
                      <a:pt x="14" y="511"/>
                    </a:lnTo>
                    <a:lnTo>
                      <a:pt x="11" y="517"/>
                    </a:lnTo>
                    <a:lnTo>
                      <a:pt x="10" y="523"/>
                    </a:lnTo>
                    <a:lnTo>
                      <a:pt x="10" y="523"/>
                    </a:lnTo>
                    <a:lnTo>
                      <a:pt x="11" y="527"/>
                    </a:lnTo>
                    <a:lnTo>
                      <a:pt x="13" y="530"/>
                    </a:lnTo>
                    <a:lnTo>
                      <a:pt x="20" y="539"/>
                    </a:lnTo>
                    <a:lnTo>
                      <a:pt x="29" y="546"/>
                    </a:lnTo>
                    <a:lnTo>
                      <a:pt x="30" y="550"/>
                    </a:lnTo>
                    <a:lnTo>
                      <a:pt x="32" y="553"/>
                    </a:lnTo>
                    <a:lnTo>
                      <a:pt x="32" y="553"/>
                    </a:lnTo>
                    <a:lnTo>
                      <a:pt x="32" y="559"/>
                    </a:lnTo>
                    <a:lnTo>
                      <a:pt x="29" y="565"/>
                    </a:lnTo>
                    <a:lnTo>
                      <a:pt x="22" y="575"/>
                    </a:lnTo>
                    <a:lnTo>
                      <a:pt x="22" y="575"/>
                    </a:lnTo>
                    <a:lnTo>
                      <a:pt x="22" y="578"/>
                    </a:lnTo>
                    <a:lnTo>
                      <a:pt x="23" y="585"/>
                    </a:lnTo>
                    <a:lnTo>
                      <a:pt x="29" y="601"/>
                    </a:lnTo>
                    <a:lnTo>
                      <a:pt x="36" y="617"/>
                    </a:lnTo>
                    <a:lnTo>
                      <a:pt x="40" y="627"/>
                    </a:lnTo>
                    <a:lnTo>
                      <a:pt x="40" y="627"/>
                    </a:lnTo>
                    <a:lnTo>
                      <a:pt x="37" y="633"/>
                    </a:lnTo>
                    <a:lnTo>
                      <a:pt x="33" y="639"/>
                    </a:lnTo>
                    <a:lnTo>
                      <a:pt x="33" y="639"/>
                    </a:lnTo>
                    <a:lnTo>
                      <a:pt x="32" y="642"/>
                    </a:lnTo>
                    <a:lnTo>
                      <a:pt x="32" y="646"/>
                    </a:lnTo>
                    <a:lnTo>
                      <a:pt x="33" y="656"/>
                    </a:lnTo>
                    <a:lnTo>
                      <a:pt x="36" y="672"/>
                    </a:lnTo>
                    <a:lnTo>
                      <a:pt x="36" y="672"/>
                    </a:lnTo>
                    <a:lnTo>
                      <a:pt x="37" y="676"/>
                    </a:lnTo>
                    <a:lnTo>
                      <a:pt x="39" y="682"/>
                    </a:lnTo>
                    <a:lnTo>
                      <a:pt x="40" y="685"/>
                    </a:lnTo>
                    <a:lnTo>
                      <a:pt x="45" y="689"/>
                    </a:lnTo>
                    <a:lnTo>
                      <a:pt x="45" y="689"/>
                    </a:lnTo>
                    <a:lnTo>
                      <a:pt x="48" y="692"/>
                    </a:lnTo>
                    <a:lnTo>
                      <a:pt x="46" y="697"/>
                    </a:lnTo>
                    <a:lnTo>
                      <a:pt x="42" y="705"/>
                    </a:lnTo>
                    <a:lnTo>
                      <a:pt x="42" y="705"/>
                    </a:lnTo>
                    <a:lnTo>
                      <a:pt x="42" y="711"/>
                    </a:lnTo>
                    <a:lnTo>
                      <a:pt x="43" y="714"/>
                    </a:lnTo>
                    <a:lnTo>
                      <a:pt x="48" y="717"/>
                    </a:lnTo>
                    <a:lnTo>
                      <a:pt x="50" y="720"/>
                    </a:lnTo>
                    <a:lnTo>
                      <a:pt x="50" y="720"/>
                    </a:lnTo>
                    <a:lnTo>
                      <a:pt x="52" y="724"/>
                    </a:lnTo>
                    <a:lnTo>
                      <a:pt x="53" y="728"/>
                    </a:lnTo>
                    <a:lnTo>
                      <a:pt x="52" y="739"/>
                    </a:lnTo>
                    <a:lnTo>
                      <a:pt x="50" y="752"/>
                    </a:lnTo>
                    <a:lnTo>
                      <a:pt x="46" y="762"/>
                    </a:lnTo>
                    <a:lnTo>
                      <a:pt x="46" y="762"/>
                    </a:lnTo>
                    <a:lnTo>
                      <a:pt x="40" y="773"/>
                    </a:lnTo>
                    <a:lnTo>
                      <a:pt x="29" y="788"/>
                    </a:lnTo>
                    <a:lnTo>
                      <a:pt x="1" y="820"/>
                    </a:lnTo>
                    <a:lnTo>
                      <a:pt x="1" y="820"/>
                    </a:lnTo>
                    <a:lnTo>
                      <a:pt x="6" y="818"/>
                    </a:lnTo>
                    <a:lnTo>
                      <a:pt x="6" y="818"/>
                    </a:lnTo>
                    <a:lnTo>
                      <a:pt x="11" y="817"/>
                    </a:lnTo>
                    <a:lnTo>
                      <a:pt x="11" y="818"/>
                    </a:lnTo>
                    <a:lnTo>
                      <a:pt x="11" y="823"/>
                    </a:lnTo>
                    <a:lnTo>
                      <a:pt x="11" y="823"/>
                    </a:lnTo>
                    <a:lnTo>
                      <a:pt x="11" y="824"/>
                    </a:lnTo>
                    <a:lnTo>
                      <a:pt x="11" y="827"/>
                    </a:lnTo>
                    <a:lnTo>
                      <a:pt x="14" y="827"/>
                    </a:lnTo>
                    <a:lnTo>
                      <a:pt x="19" y="828"/>
                    </a:lnTo>
                    <a:lnTo>
                      <a:pt x="23" y="828"/>
                    </a:lnTo>
                    <a:lnTo>
                      <a:pt x="23" y="828"/>
                    </a:lnTo>
                    <a:lnTo>
                      <a:pt x="26" y="831"/>
                    </a:lnTo>
                    <a:lnTo>
                      <a:pt x="27" y="834"/>
                    </a:lnTo>
                    <a:lnTo>
                      <a:pt x="26" y="837"/>
                    </a:lnTo>
                    <a:lnTo>
                      <a:pt x="23" y="840"/>
                    </a:lnTo>
                    <a:lnTo>
                      <a:pt x="23" y="840"/>
                    </a:lnTo>
                    <a:lnTo>
                      <a:pt x="11" y="841"/>
                    </a:lnTo>
                    <a:lnTo>
                      <a:pt x="7" y="841"/>
                    </a:lnTo>
                    <a:lnTo>
                      <a:pt x="6" y="843"/>
                    </a:lnTo>
                    <a:lnTo>
                      <a:pt x="6" y="844"/>
                    </a:lnTo>
                    <a:lnTo>
                      <a:pt x="6" y="844"/>
                    </a:lnTo>
                    <a:lnTo>
                      <a:pt x="7" y="849"/>
                    </a:lnTo>
                    <a:lnTo>
                      <a:pt x="6" y="850"/>
                    </a:lnTo>
                    <a:lnTo>
                      <a:pt x="3" y="852"/>
                    </a:lnTo>
                    <a:lnTo>
                      <a:pt x="3" y="852"/>
                    </a:lnTo>
                    <a:lnTo>
                      <a:pt x="0" y="869"/>
                    </a:lnTo>
                    <a:lnTo>
                      <a:pt x="0" y="869"/>
                    </a:lnTo>
                    <a:lnTo>
                      <a:pt x="1" y="870"/>
                    </a:lnTo>
                    <a:lnTo>
                      <a:pt x="3" y="872"/>
                    </a:lnTo>
                    <a:lnTo>
                      <a:pt x="3" y="872"/>
                    </a:lnTo>
                    <a:lnTo>
                      <a:pt x="3" y="878"/>
                    </a:lnTo>
                    <a:lnTo>
                      <a:pt x="3" y="882"/>
                    </a:lnTo>
                    <a:lnTo>
                      <a:pt x="3" y="882"/>
                    </a:lnTo>
                    <a:lnTo>
                      <a:pt x="0" y="886"/>
                    </a:lnTo>
                    <a:lnTo>
                      <a:pt x="0" y="886"/>
                    </a:lnTo>
                    <a:lnTo>
                      <a:pt x="3" y="909"/>
                    </a:lnTo>
                    <a:lnTo>
                      <a:pt x="3" y="909"/>
                    </a:lnTo>
                    <a:lnTo>
                      <a:pt x="6" y="918"/>
                    </a:lnTo>
                    <a:lnTo>
                      <a:pt x="7" y="924"/>
                    </a:lnTo>
                    <a:lnTo>
                      <a:pt x="7" y="924"/>
                    </a:lnTo>
                    <a:lnTo>
                      <a:pt x="10" y="928"/>
                    </a:lnTo>
                    <a:lnTo>
                      <a:pt x="10" y="937"/>
                    </a:lnTo>
                    <a:lnTo>
                      <a:pt x="10" y="951"/>
                    </a:lnTo>
                    <a:lnTo>
                      <a:pt x="10" y="951"/>
                    </a:lnTo>
                    <a:lnTo>
                      <a:pt x="22" y="950"/>
                    </a:lnTo>
                    <a:lnTo>
                      <a:pt x="22" y="950"/>
                    </a:lnTo>
                    <a:lnTo>
                      <a:pt x="24" y="951"/>
                    </a:lnTo>
                    <a:lnTo>
                      <a:pt x="26" y="951"/>
                    </a:lnTo>
                    <a:lnTo>
                      <a:pt x="26" y="959"/>
                    </a:lnTo>
                    <a:lnTo>
                      <a:pt x="26" y="959"/>
                    </a:lnTo>
                    <a:lnTo>
                      <a:pt x="26" y="960"/>
                    </a:lnTo>
                    <a:lnTo>
                      <a:pt x="29" y="960"/>
                    </a:lnTo>
                    <a:lnTo>
                      <a:pt x="33" y="959"/>
                    </a:lnTo>
                    <a:lnTo>
                      <a:pt x="40" y="957"/>
                    </a:lnTo>
                    <a:lnTo>
                      <a:pt x="42" y="956"/>
                    </a:lnTo>
                    <a:lnTo>
                      <a:pt x="45" y="957"/>
                    </a:lnTo>
                    <a:lnTo>
                      <a:pt x="45" y="957"/>
                    </a:lnTo>
                    <a:lnTo>
                      <a:pt x="48" y="963"/>
                    </a:lnTo>
                    <a:lnTo>
                      <a:pt x="52" y="976"/>
                    </a:lnTo>
                    <a:lnTo>
                      <a:pt x="59" y="999"/>
                    </a:lnTo>
                    <a:lnTo>
                      <a:pt x="59" y="999"/>
                    </a:lnTo>
                    <a:lnTo>
                      <a:pt x="62" y="1005"/>
                    </a:lnTo>
                    <a:lnTo>
                      <a:pt x="66" y="1008"/>
                    </a:lnTo>
                    <a:lnTo>
                      <a:pt x="71" y="1012"/>
                    </a:lnTo>
                    <a:lnTo>
                      <a:pt x="75" y="1017"/>
                    </a:lnTo>
                    <a:lnTo>
                      <a:pt x="75" y="1017"/>
                    </a:lnTo>
                    <a:lnTo>
                      <a:pt x="75" y="1021"/>
                    </a:lnTo>
                    <a:lnTo>
                      <a:pt x="74" y="1024"/>
                    </a:lnTo>
                    <a:lnTo>
                      <a:pt x="69" y="1030"/>
                    </a:lnTo>
                    <a:lnTo>
                      <a:pt x="61" y="1038"/>
                    </a:lnTo>
                    <a:lnTo>
                      <a:pt x="61" y="1038"/>
                    </a:lnTo>
                    <a:lnTo>
                      <a:pt x="59" y="1047"/>
                    </a:lnTo>
                    <a:lnTo>
                      <a:pt x="59" y="1059"/>
                    </a:lnTo>
                    <a:lnTo>
                      <a:pt x="59" y="1059"/>
                    </a:lnTo>
                    <a:lnTo>
                      <a:pt x="64" y="1057"/>
                    </a:lnTo>
                    <a:lnTo>
                      <a:pt x="69" y="1056"/>
                    </a:lnTo>
                    <a:lnTo>
                      <a:pt x="78" y="1056"/>
                    </a:lnTo>
                    <a:lnTo>
                      <a:pt x="78" y="1056"/>
                    </a:lnTo>
                    <a:lnTo>
                      <a:pt x="87" y="1054"/>
                    </a:lnTo>
                    <a:lnTo>
                      <a:pt x="91" y="1053"/>
                    </a:lnTo>
                    <a:lnTo>
                      <a:pt x="94" y="1050"/>
                    </a:lnTo>
                    <a:lnTo>
                      <a:pt x="94" y="1050"/>
                    </a:lnTo>
                    <a:lnTo>
                      <a:pt x="97" y="1049"/>
                    </a:lnTo>
                    <a:lnTo>
                      <a:pt x="100" y="1049"/>
                    </a:lnTo>
                    <a:lnTo>
                      <a:pt x="101" y="1051"/>
                    </a:lnTo>
                    <a:lnTo>
                      <a:pt x="103" y="1056"/>
                    </a:lnTo>
                    <a:lnTo>
                      <a:pt x="103" y="1056"/>
                    </a:lnTo>
                    <a:lnTo>
                      <a:pt x="108" y="1069"/>
                    </a:lnTo>
                    <a:lnTo>
                      <a:pt x="111" y="1076"/>
                    </a:lnTo>
                    <a:lnTo>
                      <a:pt x="114" y="1080"/>
                    </a:lnTo>
                    <a:lnTo>
                      <a:pt x="114" y="1080"/>
                    </a:lnTo>
                    <a:lnTo>
                      <a:pt x="126" y="1091"/>
                    </a:lnTo>
                    <a:lnTo>
                      <a:pt x="136" y="1102"/>
                    </a:lnTo>
                    <a:lnTo>
                      <a:pt x="136" y="1102"/>
                    </a:lnTo>
                    <a:lnTo>
                      <a:pt x="137" y="1104"/>
                    </a:lnTo>
                    <a:lnTo>
                      <a:pt x="142" y="1105"/>
                    </a:lnTo>
                    <a:lnTo>
                      <a:pt x="150" y="1108"/>
                    </a:lnTo>
                    <a:lnTo>
                      <a:pt x="161" y="1109"/>
                    </a:lnTo>
                    <a:lnTo>
                      <a:pt x="168" y="1112"/>
                    </a:lnTo>
                    <a:lnTo>
                      <a:pt x="168" y="1112"/>
                    </a:lnTo>
                    <a:lnTo>
                      <a:pt x="178" y="1115"/>
                    </a:lnTo>
                    <a:lnTo>
                      <a:pt x="188" y="1117"/>
                    </a:lnTo>
                    <a:lnTo>
                      <a:pt x="188" y="1117"/>
                    </a:lnTo>
                    <a:lnTo>
                      <a:pt x="191" y="1117"/>
                    </a:lnTo>
                    <a:lnTo>
                      <a:pt x="194" y="1118"/>
                    </a:lnTo>
                    <a:lnTo>
                      <a:pt x="198" y="1122"/>
                    </a:lnTo>
                    <a:lnTo>
                      <a:pt x="201" y="1127"/>
                    </a:lnTo>
                    <a:lnTo>
                      <a:pt x="204" y="1133"/>
                    </a:lnTo>
                    <a:lnTo>
                      <a:pt x="204" y="1133"/>
                    </a:lnTo>
                    <a:lnTo>
                      <a:pt x="205" y="1137"/>
                    </a:lnTo>
                    <a:lnTo>
                      <a:pt x="204" y="1144"/>
                    </a:lnTo>
                    <a:lnTo>
                      <a:pt x="203" y="1159"/>
                    </a:lnTo>
                    <a:lnTo>
                      <a:pt x="203" y="1159"/>
                    </a:lnTo>
                    <a:lnTo>
                      <a:pt x="201" y="1164"/>
                    </a:lnTo>
                    <a:lnTo>
                      <a:pt x="197" y="1169"/>
                    </a:lnTo>
                    <a:lnTo>
                      <a:pt x="191" y="1173"/>
                    </a:lnTo>
                    <a:lnTo>
                      <a:pt x="184" y="1175"/>
                    </a:lnTo>
                    <a:lnTo>
                      <a:pt x="184" y="1175"/>
                    </a:lnTo>
                    <a:lnTo>
                      <a:pt x="182" y="1176"/>
                    </a:lnTo>
                    <a:lnTo>
                      <a:pt x="181" y="1177"/>
                    </a:lnTo>
                    <a:lnTo>
                      <a:pt x="179" y="1180"/>
                    </a:lnTo>
                    <a:lnTo>
                      <a:pt x="179" y="1180"/>
                    </a:lnTo>
                    <a:lnTo>
                      <a:pt x="184" y="1179"/>
                    </a:lnTo>
                    <a:lnTo>
                      <a:pt x="184" y="1179"/>
                    </a:lnTo>
                    <a:lnTo>
                      <a:pt x="188" y="1179"/>
                    </a:lnTo>
                    <a:lnTo>
                      <a:pt x="191" y="1180"/>
                    </a:lnTo>
                    <a:lnTo>
                      <a:pt x="191" y="1182"/>
                    </a:lnTo>
                    <a:lnTo>
                      <a:pt x="191" y="1182"/>
                    </a:lnTo>
                    <a:lnTo>
                      <a:pt x="188" y="1185"/>
                    </a:lnTo>
                    <a:lnTo>
                      <a:pt x="184" y="1188"/>
                    </a:lnTo>
                    <a:lnTo>
                      <a:pt x="175" y="1192"/>
                    </a:lnTo>
                    <a:lnTo>
                      <a:pt x="175" y="1192"/>
                    </a:lnTo>
                    <a:lnTo>
                      <a:pt x="169" y="1195"/>
                    </a:lnTo>
                    <a:lnTo>
                      <a:pt x="168" y="1196"/>
                    </a:lnTo>
                    <a:lnTo>
                      <a:pt x="168" y="1201"/>
                    </a:lnTo>
                    <a:lnTo>
                      <a:pt x="168" y="1201"/>
                    </a:lnTo>
                    <a:lnTo>
                      <a:pt x="168" y="1206"/>
                    </a:lnTo>
                    <a:lnTo>
                      <a:pt x="166" y="1212"/>
                    </a:lnTo>
                    <a:lnTo>
                      <a:pt x="165" y="1219"/>
                    </a:lnTo>
                    <a:lnTo>
                      <a:pt x="162" y="1224"/>
                    </a:lnTo>
                    <a:lnTo>
                      <a:pt x="162" y="1224"/>
                    </a:lnTo>
                    <a:lnTo>
                      <a:pt x="159" y="1225"/>
                    </a:lnTo>
                    <a:lnTo>
                      <a:pt x="156" y="1225"/>
                    </a:lnTo>
                    <a:lnTo>
                      <a:pt x="152" y="1227"/>
                    </a:lnTo>
                    <a:lnTo>
                      <a:pt x="152" y="1227"/>
                    </a:lnTo>
                    <a:lnTo>
                      <a:pt x="150" y="1227"/>
                    </a:lnTo>
                    <a:lnTo>
                      <a:pt x="150" y="1228"/>
                    </a:lnTo>
                    <a:lnTo>
                      <a:pt x="153" y="1231"/>
                    </a:lnTo>
                    <a:lnTo>
                      <a:pt x="162" y="1238"/>
                    </a:lnTo>
                    <a:lnTo>
                      <a:pt x="162" y="1238"/>
                    </a:lnTo>
                    <a:lnTo>
                      <a:pt x="166" y="1241"/>
                    </a:lnTo>
                    <a:lnTo>
                      <a:pt x="171" y="1241"/>
                    </a:lnTo>
                    <a:lnTo>
                      <a:pt x="175" y="1241"/>
                    </a:lnTo>
                    <a:lnTo>
                      <a:pt x="179" y="1243"/>
                    </a:lnTo>
                    <a:lnTo>
                      <a:pt x="179" y="1243"/>
                    </a:lnTo>
                    <a:lnTo>
                      <a:pt x="184" y="1247"/>
                    </a:lnTo>
                    <a:lnTo>
                      <a:pt x="191" y="1254"/>
                    </a:lnTo>
                    <a:lnTo>
                      <a:pt x="201" y="1267"/>
                    </a:lnTo>
                    <a:lnTo>
                      <a:pt x="201" y="1267"/>
                    </a:lnTo>
                    <a:lnTo>
                      <a:pt x="203" y="1269"/>
                    </a:lnTo>
                    <a:lnTo>
                      <a:pt x="203" y="1269"/>
                    </a:lnTo>
                    <a:lnTo>
                      <a:pt x="216" y="1263"/>
                    </a:lnTo>
                    <a:lnTo>
                      <a:pt x="216" y="1263"/>
                    </a:lnTo>
                    <a:lnTo>
                      <a:pt x="221" y="1263"/>
                    </a:lnTo>
                    <a:lnTo>
                      <a:pt x="227" y="1266"/>
                    </a:lnTo>
                    <a:lnTo>
                      <a:pt x="243" y="1274"/>
                    </a:lnTo>
                    <a:lnTo>
                      <a:pt x="243" y="1274"/>
                    </a:lnTo>
                    <a:lnTo>
                      <a:pt x="253" y="1279"/>
                    </a:lnTo>
                    <a:lnTo>
                      <a:pt x="271" y="1283"/>
                    </a:lnTo>
                    <a:lnTo>
                      <a:pt x="300" y="1292"/>
                    </a:lnTo>
                    <a:lnTo>
                      <a:pt x="300" y="1292"/>
                    </a:lnTo>
                    <a:lnTo>
                      <a:pt x="307" y="1295"/>
                    </a:lnTo>
                    <a:lnTo>
                      <a:pt x="316" y="1301"/>
                    </a:lnTo>
                    <a:lnTo>
                      <a:pt x="329" y="1309"/>
                    </a:lnTo>
                    <a:lnTo>
                      <a:pt x="329" y="1309"/>
                    </a:lnTo>
                    <a:lnTo>
                      <a:pt x="331" y="1311"/>
                    </a:lnTo>
                    <a:lnTo>
                      <a:pt x="337" y="1311"/>
                    </a:lnTo>
                    <a:lnTo>
                      <a:pt x="349" y="1305"/>
                    </a:lnTo>
                    <a:lnTo>
                      <a:pt x="349" y="1305"/>
                    </a:lnTo>
                    <a:lnTo>
                      <a:pt x="345" y="1299"/>
                    </a:lnTo>
                    <a:lnTo>
                      <a:pt x="339" y="1293"/>
                    </a:lnTo>
                    <a:lnTo>
                      <a:pt x="333" y="1288"/>
                    </a:lnTo>
                    <a:lnTo>
                      <a:pt x="330" y="1283"/>
                    </a:lnTo>
                    <a:lnTo>
                      <a:pt x="330" y="1283"/>
                    </a:lnTo>
                    <a:lnTo>
                      <a:pt x="327" y="1274"/>
                    </a:lnTo>
                    <a:lnTo>
                      <a:pt x="326" y="1264"/>
                    </a:lnTo>
                    <a:lnTo>
                      <a:pt x="326" y="1264"/>
                    </a:lnTo>
                    <a:lnTo>
                      <a:pt x="321" y="1254"/>
                    </a:lnTo>
                    <a:lnTo>
                      <a:pt x="318" y="1250"/>
                    </a:lnTo>
                    <a:lnTo>
                      <a:pt x="316" y="1248"/>
                    </a:lnTo>
                    <a:lnTo>
                      <a:pt x="316" y="1248"/>
                    </a:lnTo>
                    <a:lnTo>
                      <a:pt x="310" y="1247"/>
                    </a:lnTo>
                    <a:lnTo>
                      <a:pt x="310" y="1246"/>
                    </a:lnTo>
                    <a:lnTo>
                      <a:pt x="311" y="1243"/>
                    </a:lnTo>
                    <a:lnTo>
                      <a:pt x="311" y="1243"/>
                    </a:lnTo>
                    <a:lnTo>
                      <a:pt x="313" y="1240"/>
                    </a:lnTo>
                    <a:lnTo>
                      <a:pt x="314" y="1235"/>
                    </a:lnTo>
                    <a:lnTo>
                      <a:pt x="316" y="1227"/>
                    </a:lnTo>
                    <a:lnTo>
                      <a:pt x="317" y="1217"/>
                    </a:lnTo>
                    <a:lnTo>
                      <a:pt x="318" y="1212"/>
                    </a:lnTo>
                    <a:lnTo>
                      <a:pt x="318" y="1212"/>
                    </a:lnTo>
                    <a:lnTo>
                      <a:pt x="321" y="1209"/>
                    </a:lnTo>
                    <a:lnTo>
                      <a:pt x="323" y="1208"/>
                    </a:lnTo>
                    <a:lnTo>
                      <a:pt x="326" y="1208"/>
                    </a:lnTo>
                    <a:lnTo>
                      <a:pt x="329" y="1209"/>
                    </a:lnTo>
                    <a:lnTo>
                      <a:pt x="329" y="1209"/>
                    </a:lnTo>
                    <a:lnTo>
                      <a:pt x="330" y="1211"/>
                    </a:lnTo>
                    <a:lnTo>
                      <a:pt x="331" y="1211"/>
                    </a:lnTo>
                    <a:lnTo>
                      <a:pt x="334" y="1208"/>
                    </a:lnTo>
                    <a:lnTo>
                      <a:pt x="334" y="1208"/>
                    </a:lnTo>
                    <a:lnTo>
                      <a:pt x="346" y="1199"/>
                    </a:lnTo>
                    <a:lnTo>
                      <a:pt x="346" y="1199"/>
                    </a:lnTo>
                    <a:lnTo>
                      <a:pt x="340" y="1192"/>
                    </a:lnTo>
                    <a:lnTo>
                      <a:pt x="340" y="1192"/>
                    </a:lnTo>
                    <a:lnTo>
                      <a:pt x="339" y="1189"/>
                    </a:lnTo>
                    <a:lnTo>
                      <a:pt x="340" y="1185"/>
                    </a:lnTo>
                    <a:lnTo>
                      <a:pt x="342" y="1175"/>
                    </a:lnTo>
                    <a:lnTo>
                      <a:pt x="342" y="1175"/>
                    </a:lnTo>
                    <a:lnTo>
                      <a:pt x="342" y="1172"/>
                    </a:lnTo>
                    <a:lnTo>
                      <a:pt x="340" y="1172"/>
                    </a:lnTo>
                    <a:lnTo>
                      <a:pt x="331" y="1169"/>
                    </a:lnTo>
                    <a:lnTo>
                      <a:pt x="331" y="1169"/>
                    </a:lnTo>
                    <a:lnTo>
                      <a:pt x="326" y="1167"/>
                    </a:lnTo>
                    <a:lnTo>
                      <a:pt x="321" y="1163"/>
                    </a:lnTo>
                    <a:lnTo>
                      <a:pt x="314" y="1153"/>
                    </a:lnTo>
                    <a:lnTo>
                      <a:pt x="314" y="1153"/>
                    </a:lnTo>
                    <a:lnTo>
                      <a:pt x="313" y="1147"/>
                    </a:lnTo>
                    <a:lnTo>
                      <a:pt x="313" y="1141"/>
                    </a:lnTo>
                    <a:lnTo>
                      <a:pt x="314" y="1134"/>
                    </a:lnTo>
                    <a:lnTo>
                      <a:pt x="316" y="1127"/>
                    </a:lnTo>
                    <a:lnTo>
                      <a:pt x="316" y="1127"/>
                    </a:lnTo>
                    <a:lnTo>
                      <a:pt x="320" y="1120"/>
                    </a:lnTo>
                    <a:lnTo>
                      <a:pt x="324" y="1112"/>
                    </a:lnTo>
                    <a:lnTo>
                      <a:pt x="330" y="1104"/>
                    </a:lnTo>
                    <a:lnTo>
                      <a:pt x="330" y="1104"/>
                    </a:lnTo>
                    <a:lnTo>
                      <a:pt x="331" y="1096"/>
                    </a:lnTo>
                    <a:lnTo>
                      <a:pt x="333" y="1091"/>
                    </a:lnTo>
                    <a:lnTo>
                      <a:pt x="336" y="1086"/>
                    </a:lnTo>
                    <a:lnTo>
                      <a:pt x="336" y="1086"/>
                    </a:lnTo>
                    <a:lnTo>
                      <a:pt x="340" y="1085"/>
                    </a:lnTo>
                    <a:lnTo>
                      <a:pt x="349" y="1085"/>
                    </a:lnTo>
                    <a:lnTo>
                      <a:pt x="365" y="1083"/>
                    </a:lnTo>
                    <a:lnTo>
                      <a:pt x="365" y="1083"/>
                    </a:lnTo>
                    <a:lnTo>
                      <a:pt x="368" y="1082"/>
                    </a:lnTo>
                    <a:lnTo>
                      <a:pt x="369" y="1080"/>
                    </a:lnTo>
                    <a:lnTo>
                      <a:pt x="373" y="1073"/>
                    </a:lnTo>
                    <a:lnTo>
                      <a:pt x="376" y="1066"/>
                    </a:lnTo>
                    <a:lnTo>
                      <a:pt x="378" y="1062"/>
                    </a:lnTo>
                    <a:lnTo>
                      <a:pt x="378" y="1062"/>
                    </a:lnTo>
                    <a:lnTo>
                      <a:pt x="382" y="1060"/>
                    </a:lnTo>
                    <a:lnTo>
                      <a:pt x="388" y="1060"/>
                    </a:lnTo>
                    <a:lnTo>
                      <a:pt x="400" y="1062"/>
                    </a:lnTo>
                    <a:lnTo>
                      <a:pt x="400" y="1062"/>
                    </a:lnTo>
                    <a:lnTo>
                      <a:pt x="404" y="1060"/>
                    </a:lnTo>
                    <a:lnTo>
                      <a:pt x="408" y="1059"/>
                    </a:lnTo>
                    <a:lnTo>
                      <a:pt x="411" y="1056"/>
                    </a:lnTo>
                    <a:lnTo>
                      <a:pt x="413" y="1056"/>
                    </a:lnTo>
                    <a:lnTo>
                      <a:pt x="413" y="1056"/>
                    </a:lnTo>
                    <a:lnTo>
                      <a:pt x="424" y="1072"/>
                    </a:lnTo>
                    <a:lnTo>
                      <a:pt x="431" y="1080"/>
                    </a:lnTo>
                    <a:lnTo>
                      <a:pt x="436" y="1085"/>
                    </a:lnTo>
                    <a:lnTo>
                      <a:pt x="439" y="1085"/>
                    </a:lnTo>
                    <a:lnTo>
                      <a:pt x="439" y="1085"/>
                    </a:lnTo>
                    <a:lnTo>
                      <a:pt x="443" y="1085"/>
                    </a:lnTo>
                    <a:lnTo>
                      <a:pt x="444" y="1083"/>
                    </a:lnTo>
                    <a:lnTo>
                      <a:pt x="447" y="1080"/>
                    </a:lnTo>
                    <a:lnTo>
                      <a:pt x="449" y="1076"/>
                    </a:lnTo>
                    <a:lnTo>
                      <a:pt x="449" y="1072"/>
                    </a:lnTo>
                    <a:lnTo>
                      <a:pt x="449" y="1072"/>
                    </a:lnTo>
                    <a:lnTo>
                      <a:pt x="450" y="1069"/>
                    </a:lnTo>
                    <a:lnTo>
                      <a:pt x="453" y="1066"/>
                    </a:lnTo>
                    <a:lnTo>
                      <a:pt x="456" y="1066"/>
                    </a:lnTo>
                    <a:lnTo>
                      <a:pt x="460" y="1067"/>
                    </a:lnTo>
                    <a:lnTo>
                      <a:pt x="460" y="1067"/>
                    </a:lnTo>
                    <a:lnTo>
                      <a:pt x="476" y="1076"/>
                    </a:lnTo>
                    <a:lnTo>
                      <a:pt x="491" y="1082"/>
                    </a:lnTo>
                    <a:lnTo>
                      <a:pt x="491" y="1082"/>
                    </a:lnTo>
                    <a:lnTo>
                      <a:pt x="494" y="1082"/>
                    </a:lnTo>
                    <a:lnTo>
                      <a:pt x="498" y="1080"/>
                    </a:lnTo>
                    <a:lnTo>
                      <a:pt x="504" y="1076"/>
                    </a:lnTo>
                    <a:lnTo>
                      <a:pt x="504" y="1076"/>
                    </a:lnTo>
                    <a:lnTo>
                      <a:pt x="514" y="1079"/>
                    </a:lnTo>
                    <a:lnTo>
                      <a:pt x="520" y="1080"/>
                    </a:lnTo>
                    <a:lnTo>
                      <a:pt x="526" y="1080"/>
                    </a:lnTo>
                    <a:lnTo>
                      <a:pt x="526" y="1080"/>
                    </a:lnTo>
                    <a:lnTo>
                      <a:pt x="527" y="1079"/>
                    </a:lnTo>
                    <a:lnTo>
                      <a:pt x="528" y="1075"/>
                    </a:lnTo>
                    <a:lnTo>
                      <a:pt x="527" y="1072"/>
                    </a:lnTo>
                    <a:lnTo>
                      <a:pt x="524" y="1069"/>
                    </a:lnTo>
                    <a:lnTo>
                      <a:pt x="524" y="1069"/>
                    </a:lnTo>
                    <a:lnTo>
                      <a:pt x="523" y="1066"/>
                    </a:lnTo>
                    <a:lnTo>
                      <a:pt x="523" y="1063"/>
                    </a:lnTo>
                    <a:lnTo>
                      <a:pt x="524" y="1059"/>
                    </a:lnTo>
                    <a:lnTo>
                      <a:pt x="530" y="1056"/>
                    </a:lnTo>
                    <a:lnTo>
                      <a:pt x="530" y="1056"/>
                    </a:lnTo>
                    <a:lnTo>
                      <a:pt x="536" y="1053"/>
                    </a:lnTo>
                    <a:lnTo>
                      <a:pt x="540" y="1049"/>
                    </a:lnTo>
                    <a:lnTo>
                      <a:pt x="547" y="1040"/>
                    </a:lnTo>
                    <a:lnTo>
                      <a:pt x="547" y="1040"/>
                    </a:lnTo>
                    <a:lnTo>
                      <a:pt x="550" y="1034"/>
                    </a:lnTo>
                    <a:lnTo>
                      <a:pt x="553" y="1025"/>
                    </a:lnTo>
                    <a:lnTo>
                      <a:pt x="556" y="1018"/>
                    </a:lnTo>
                    <a:lnTo>
                      <a:pt x="560" y="1011"/>
                    </a:lnTo>
                    <a:lnTo>
                      <a:pt x="560" y="1011"/>
                    </a:lnTo>
                    <a:lnTo>
                      <a:pt x="566" y="1007"/>
                    </a:lnTo>
                    <a:lnTo>
                      <a:pt x="576" y="1004"/>
                    </a:lnTo>
                    <a:lnTo>
                      <a:pt x="586" y="1001"/>
                    </a:lnTo>
                    <a:lnTo>
                      <a:pt x="594" y="999"/>
                    </a:lnTo>
                    <a:lnTo>
                      <a:pt x="594" y="999"/>
                    </a:lnTo>
                    <a:lnTo>
                      <a:pt x="597" y="999"/>
                    </a:lnTo>
                    <a:lnTo>
                      <a:pt x="598" y="998"/>
                    </a:lnTo>
                    <a:lnTo>
                      <a:pt x="599" y="995"/>
                    </a:lnTo>
                    <a:lnTo>
                      <a:pt x="599" y="995"/>
                    </a:lnTo>
                    <a:lnTo>
                      <a:pt x="604" y="993"/>
                    </a:lnTo>
                    <a:lnTo>
                      <a:pt x="610" y="993"/>
                    </a:lnTo>
                    <a:lnTo>
                      <a:pt x="623" y="993"/>
                    </a:lnTo>
                    <a:lnTo>
                      <a:pt x="623" y="993"/>
                    </a:lnTo>
                    <a:lnTo>
                      <a:pt x="631" y="991"/>
                    </a:lnTo>
                    <a:lnTo>
                      <a:pt x="644" y="986"/>
                    </a:lnTo>
                    <a:lnTo>
                      <a:pt x="665" y="978"/>
                    </a:lnTo>
                    <a:lnTo>
                      <a:pt x="665" y="978"/>
                    </a:lnTo>
                    <a:lnTo>
                      <a:pt x="667" y="979"/>
                    </a:lnTo>
                    <a:lnTo>
                      <a:pt x="670" y="979"/>
                    </a:lnTo>
                    <a:lnTo>
                      <a:pt x="681" y="982"/>
                    </a:lnTo>
                    <a:lnTo>
                      <a:pt x="681" y="982"/>
                    </a:lnTo>
                    <a:lnTo>
                      <a:pt x="686" y="982"/>
                    </a:lnTo>
                    <a:lnTo>
                      <a:pt x="689" y="982"/>
                    </a:lnTo>
                    <a:lnTo>
                      <a:pt x="696" y="980"/>
                    </a:lnTo>
                    <a:lnTo>
                      <a:pt x="696" y="980"/>
                    </a:lnTo>
                    <a:lnTo>
                      <a:pt x="698" y="980"/>
                    </a:lnTo>
                    <a:lnTo>
                      <a:pt x="698" y="983"/>
                    </a:lnTo>
                    <a:lnTo>
                      <a:pt x="698" y="989"/>
                    </a:lnTo>
                    <a:lnTo>
                      <a:pt x="696" y="996"/>
                    </a:lnTo>
                    <a:lnTo>
                      <a:pt x="696" y="1002"/>
                    </a:lnTo>
                    <a:lnTo>
                      <a:pt x="696" y="1002"/>
                    </a:lnTo>
                    <a:lnTo>
                      <a:pt x="699" y="1004"/>
                    </a:lnTo>
                    <a:lnTo>
                      <a:pt x="704" y="1004"/>
                    </a:lnTo>
                    <a:lnTo>
                      <a:pt x="715" y="1005"/>
                    </a:lnTo>
                    <a:lnTo>
                      <a:pt x="728" y="1005"/>
                    </a:lnTo>
                    <a:lnTo>
                      <a:pt x="733" y="1007"/>
                    </a:lnTo>
                    <a:lnTo>
                      <a:pt x="736" y="1008"/>
                    </a:lnTo>
                    <a:lnTo>
                      <a:pt x="736" y="1008"/>
                    </a:lnTo>
                    <a:lnTo>
                      <a:pt x="737" y="1011"/>
                    </a:lnTo>
                    <a:lnTo>
                      <a:pt x="737" y="1014"/>
                    </a:lnTo>
                    <a:lnTo>
                      <a:pt x="736" y="1021"/>
                    </a:lnTo>
                    <a:lnTo>
                      <a:pt x="736" y="1021"/>
                    </a:lnTo>
                    <a:lnTo>
                      <a:pt x="736" y="1024"/>
                    </a:lnTo>
                    <a:lnTo>
                      <a:pt x="737" y="1027"/>
                    </a:lnTo>
                    <a:lnTo>
                      <a:pt x="740" y="1031"/>
                    </a:lnTo>
                    <a:lnTo>
                      <a:pt x="746" y="1037"/>
                    </a:lnTo>
                    <a:lnTo>
                      <a:pt x="751" y="1040"/>
                    </a:lnTo>
                    <a:lnTo>
                      <a:pt x="751" y="1040"/>
                    </a:lnTo>
                    <a:lnTo>
                      <a:pt x="756" y="1040"/>
                    </a:lnTo>
                    <a:lnTo>
                      <a:pt x="760" y="1038"/>
                    </a:lnTo>
                    <a:lnTo>
                      <a:pt x="769" y="1031"/>
                    </a:lnTo>
                    <a:lnTo>
                      <a:pt x="779" y="1022"/>
                    </a:lnTo>
                    <a:lnTo>
                      <a:pt x="785" y="1021"/>
                    </a:lnTo>
                    <a:lnTo>
                      <a:pt x="789" y="1020"/>
                    </a:lnTo>
                    <a:lnTo>
                      <a:pt x="789" y="1020"/>
                    </a:lnTo>
                    <a:lnTo>
                      <a:pt x="793" y="1021"/>
                    </a:lnTo>
                    <a:lnTo>
                      <a:pt x="799" y="1027"/>
                    </a:lnTo>
                    <a:lnTo>
                      <a:pt x="814" y="1044"/>
                    </a:lnTo>
                    <a:lnTo>
                      <a:pt x="825" y="1063"/>
                    </a:lnTo>
                    <a:lnTo>
                      <a:pt x="833" y="1076"/>
                    </a:lnTo>
                    <a:lnTo>
                      <a:pt x="833" y="1076"/>
                    </a:lnTo>
                    <a:lnTo>
                      <a:pt x="835" y="1080"/>
                    </a:lnTo>
                    <a:lnTo>
                      <a:pt x="838" y="1082"/>
                    </a:lnTo>
                    <a:lnTo>
                      <a:pt x="844" y="1086"/>
                    </a:lnTo>
                    <a:lnTo>
                      <a:pt x="851" y="1088"/>
                    </a:lnTo>
                    <a:lnTo>
                      <a:pt x="859" y="1088"/>
                    </a:lnTo>
                    <a:lnTo>
                      <a:pt x="859" y="1088"/>
                    </a:lnTo>
                    <a:lnTo>
                      <a:pt x="863" y="1089"/>
                    </a:lnTo>
                    <a:lnTo>
                      <a:pt x="867" y="1092"/>
                    </a:lnTo>
                    <a:lnTo>
                      <a:pt x="877" y="1099"/>
                    </a:lnTo>
                    <a:lnTo>
                      <a:pt x="877" y="1099"/>
                    </a:lnTo>
                    <a:lnTo>
                      <a:pt x="883" y="1102"/>
                    </a:lnTo>
                    <a:lnTo>
                      <a:pt x="889" y="1102"/>
                    </a:lnTo>
                    <a:lnTo>
                      <a:pt x="901" y="1101"/>
                    </a:lnTo>
                    <a:lnTo>
                      <a:pt x="901" y="1101"/>
                    </a:lnTo>
                    <a:lnTo>
                      <a:pt x="906" y="1102"/>
                    </a:lnTo>
                    <a:lnTo>
                      <a:pt x="914" y="1105"/>
                    </a:lnTo>
                    <a:lnTo>
                      <a:pt x="935" y="1114"/>
                    </a:lnTo>
                    <a:lnTo>
                      <a:pt x="956" y="1124"/>
                    </a:lnTo>
                    <a:lnTo>
                      <a:pt x="969" y="1131"/>
                    </a:lnTo>
                    <a:lnTo>
                      <a:pt x="969" y="1131"/>
                    </a:lnTo>
                    <a:lnTo>
                      <a:pt x="970" y="1133"/>
                    </a:lnTo>
                    <a:lnTo>
                      <a:pt x="973" y="1133"/>
                    </a:lnTo>
                    <a:lnTo>
                      <a:pt x="976" y="1131"/>
                    </a:lnTo>
                    <a:lnTo>
                      <a:pt x="979" y="1128"/>
                    </a:lnTo>
                    <a:lnTo>
                      <a:pt x="983" y="1128"/>
                    </a:lnTo>
                    <a:lnTo>
                      <a:pt x="983" y="1128"/>
                    </a:lnTo>
                    <a:lnTo>
                      <a:pt x="986" y="1128"/>
                    </a:lnTo>
                    <a:lnTo>
                      <a:pt x="990" y="1127"/>
                    </a:lnTo>
                    <a:lnTo>
                      <a:pt x="998" y="1124"/>
                    </a:lnTo>
                    <a:lnTo>
                      <a:pt x="998" y="1124"/>
                    </a:lnTo>
                    <a:lnTo>
                      <a:pt x="999" y="1122"/>
                    </a:lnTo>
                    <a:lnTo>
                      <a:pt x="999" y="1120"/>
                    </a:lnTo>
                    <a:lnTo>
                      <a:pt x="1001" y="1112"/>
                    </a:lnTo>
                    <a:lnTo>
                      <a:pt x="999" y="1105"/>
                    </a:lnTo>
                    <a:lnTo>
                      <a:pt x="1001" y="1101"/>
                    </a:lnTo>
                    <a:lnTo>
                      <a:pt x="1001" y="1101"/>
                    </a:lnTo>
                    <a:lnTo>
                      <a:pt x="1005" y="1099"/>
                    </a:lnTo>
                    <a:lnTo>
                      <a:pt x="1012" y="1098"/>
                    </a:lnTo>
                    <a:lnTo>
                      <a:pt x="1028" y="1096"/>
                    </a:lnTo>
                    <a:lnTo>
                      <a:pt x="1028" y="1096"/>
                    </a:lnTo>
                    <a:lnTo>
                      <a:pt x="1044" y="1093"/>
                    </a:lnTo>
                    <a:lnTo>
                      <a:pt x="1059" y="1089"/>
                    </a:lnTo>
                    <a:lnTo>
                      <a:pt x="1059" y="1089"/>
                    </a:lnTo>
                    <a:lnTo>
                      <a:pt x="1063" y="1089"/>
                    </a:lnTo>
                    <a:lnTo>
                      <a:pt x="1067" y="1089"/>
                    </a:lnTo>
                    <a:lnTo>
                      <a:pt x="1076" y="1093"/>
                    </a:lnTo>
                    <a:lnTo>
                      <a:pt x="1076" y="1093"/>
                    </a:lnTo>
                    <a:lnTo>
                      <a:pt x="1082" y="1095"/>
                    </a:lnTo>
                    <a:lnTo>
                      <a:pt x="1085" y="1096"/>
                    </a:lnTo>
                    <a:lnTo>
                      <a:pt x="1089" y="1098"/>
                    </a:lnTo>
                    <a:lnTo>
                      <a:pt x="1093" y="1099"/>
                    </a:lnTo>
                    <a:lnTo>
                      <a:pt x="1093" y="1099"/>
                    </a:lnTo>
                    <a:lnTo>
                      <a:pt x="1105" y="1108"/>
                    </a:lnTo>
                    <a:lnTo>
                      <a:pt x="1112" y="1114"/>
                    </a:lnTo>
                    <a:lnTo>
                      <a:pt x="1119" y="1117"/>
                    </a:lnTo>
                    <a:lnTo>
                      <a:pt x="1119" y="1117"/>
                    </a:lnTo>
                    <a:lnTo>
                      <a:pt x="1122" y="1117"/>
                    </a:lnTo>
                    <a:lnTo>
                      <a:pt x="1127" y="1117"/>
                    </a:lnTo>
                    <a:lnTo>
                      <a:pt x="1132" y="1112"/>
                    </a:lnTo>
                    <a:lnTo>
                      <a:pt x="1137" y="1106"/>
                    </a:lnTo>
                    <a:lnTo>
                      <a:pt x="1140" y="1102"/>
                    </a:lnTo>
                    <a:lnTo>
                      <a:pt x="1140" y="1102"/>
                    </a:lnTo>
                    <a:lnTo>
                      <a:pt x="1140" y="1098"/>
                    </a:lnTo>
                    <a:lnTo>
                      <a:pt x="1138" y="1096"/>
                    </a:lnTo>
                    <a:lnTo>
                      <a:pt x="1138" y="1096"/>
                    </a:lnTo>
                    <a:lnTo>
                      <a:pt x="1138" y="1092"/>
                    </a:lnTo>
                    <a:lnTo>
                      <a:pt x="1141" y="1086"/>
                    </a:lnTo>
                    <a:lnTo>
                      <a:pt x="1150" y="1073"/>
                    </a:lnTo>
                    <a:lnTo>
                      <a:pt x="1150" y="1073"/>
                    </a:lnTo>
                    <a:lnTo>
                      <a:pt x="1153" y="1069"/>
                    </a:lnTo>
                    <a:lnTo>
                      <a:pt x="1153" y="1066"/>
                    </a:lnTo>
                    <a:lnTo>
                      <a:pt x="1153" y="1066"/>
                    </a:lnTo>
                    <a:lnTo>
                      <a:pt x="1153" y="1063"/>
                    </a:lnTo>
                    <a:lnTo>
                      <a:pt x="1154" y="1063"/>
                    </a:lnTo>
                    <a:lnTo>
                      <a:pt x="1160" y="1066"/>
                    </a:lnTo>
                    <a:lnTo>
                      <a:pt x="1160" y="1066"/>
                    </a:lnTo>
                    <a:lnTo>
                      <a:pt x="1180" y="1075"/>
                    </a:lnTo>
                    <a:lnTo>
                      <a:pt x="1180" y="1075"/>
                    </a:lnTo>
                    <a:lnTo>
                      <a:pt x="1190" y="1078"/>
                    </a:lnTo>
                    <a:lnTo>
                      <a:pt x="1196" y="1080"/>
                    </a:lnTo>
                    <a:lnTo>
                      <a:pt x="1199" y="1083"/>
                    </a:lnTo>
                    <a:lnTo>
                      <a:pt x="1200" y="1086"/>
                    </a:lnTo>
                    <a:lnTo>
                      <a:pt x="1200" y="1086"/>
                    </a:lnTo>
                    <a:lnTo>
                      <a:pt x="1202" y="1093"/>
                    </a:lnTo>
                    <a:lnTo>
                      <a:pt x="1208" y="1101"/>
                    </a:lnTo>
                    <a:lnTo>
                      <a:pt x="1215" y="1105"/>
                    </a:lnTo>
                    <a:lnTo>
                      <a:pt x="1224" y="1108"/>
                    </a:lnTo>
                    <a:lnTo>
                      <a:pt x="1224" y="1108"/>
                    </a:lnTo>
                    <a:lnTo>
                      <a:pt x="1232" y="1108"/>
                    </a:lnTo>
                    <a:lnTo>
                      <a:pt x="1241" y="1108"/>
                    </a:lnTo>
                    <a:lnTo>
                      <a:pt x="1250" y="1106"/>
                    </a:lnTo>
                    <a:lnTo>
                      <a:pt x="1256" y="1104"/>
                    </a:lnTo>
                    <a:lnTo>
                      <a:pt x="1256" y="1104"/>
                    </a:lnTo>
                    <a:lnTo>
                      <a:pt x="1260" y="1104"/>
                    </a:lnTo>
                    <a:lnTo>
                      <a:pt x="1266" y="1104"/>
                    </a:lnTo>
                    <a:lnTo>
                      <a:pt x="1270" y="1105"/>
                    </a:lnTo>
                    <a:lnTo>
                      <a:pt x="1273" y="1108"/>
                    </a:lnTo>
                    <a:lnTo>
                      <a:pt x="1273" y="1108"/>
                    </a:lnTo>
                    <a:lnTo>
                      <a:pt x="1279" y="1114"/>
                    </a:lnTo>
                    <a:lnTo>
                      <a:pt x="1287" y="1117"/>
                    </a:lnTo>
                    <a:lnTo>
                      <a:pt x="1287" y="1117"/>
                    </a:lnTo>
                    <a:lnTo>
                      <a:pt x="1300" y="1122"/>
                    </a:lnTo>
                    <a:lnTo>
                      <a:pt x="1313" y="1128"/>
                    </a:lnTo>
                    <a:lnTo>
                      <a:pt x="1313" y="1128"/>
                    </a:lnTo>
                    <a:lnTo>
                      <a:pt x="1326" y="1131"/>
                    </a:lnTo>
                    <a:lnTo>
                      <a:pt x="1338" y="1134"/>
                    </a:lnTo>
                    <a:lnTo>
                      <a:pt x="1338" y="1134"/>
                    </a:lnTo>
                    <a:lnTo>
                      <a:pt x="1341" y="1133"/>
                    </a:lnTo>
                    <a:lnTo>
                      <a:pt x="1345" y="1131"/>
                    </a:lnTo>
                    <a:lnTo>
                      <a:pt x="1353" y="1128"/>
                    </a:lnTo>
                    <a:lnTo>
                      <a:pt x="1353" y="1128"/>
                    </a:lnTo>
                    <a:lnTo>
                      <a:pt x="1370" y="1121"/>
                    </a:lnTo>
                    <a:lnTo>
                      <a:pt x="1390" y="1111"/>
                    </a:lnTo>
                    <a:lnTo>
                      <a:pt x="1390" y="1111"/>
                    </a:lnTo>
                    <a:lnTo>
                      <a:pt x="1395" y="1109"/>
                    </a:lnTo>
                    <a:lnTo>
                      <a:pt x="1397" y="1108"/>
                    </a:lnTo>
                    <a:lnTo>
                      <a:pt x="1403" y="1111"/>
                    </a:lnTo>
                    <a:lnTo>
                      <a:pt x="1403" y="1111"/>
                    </a:lnTo>
                    <a:lnTo>
                      <a:pt x="1408" y="1114"/>
                    </a:lnTo>
                    <a:lnTo>
                      <a:pt x="1413" y="1115"/>
                    </a:lnTo>
                    <a:lnTo>
                      <a:pt x="1425" y="1118"/>
                    </a:lnTo>
                    <a:lnTo>
                      <a:pt x="1425" y="1118"/>
                    </a:lnTo>
                    <a:lnTo>
                      <a:pt x="1441" y="1121"/>
                    </a:lnTo>
                    <a:lnTo>
                      <a:pt x="1448" y="1121"/>
                    </a:lnTo>
                    <a:lnTo>
                      <a:pt x="1454" y="1121"/>
                    </a:lnTo>
                    <a:lnTo>
                      <a:pt x="1454" y="1121"/>
                    </a:lnTo>
                    <a:lnTo>
                      <a:pt x="1463" y="1115"/>
                    </a:lnTo>
                    <a:lnTo>
                      <a:pt x="1470" y="1108"/>
                    </a:lnTo>
                    <a:lnTo>
                      <a:pt x="1470" y="1108"/>
                    </a:lnTo>
                    <a:lnTo>
                      <a:pt x="1473" y="1101"/>
                    </a:lnTo>
                    <a:lnTo>
                      <a:pt x="1474" y="1091"/>
                    </a:lnTo>
                    <a:lnTo>
                      <a:pt x="1474" y="1091"/>
                    </a:lnTo>
                    <a:lnTo>
                      <a:pt x="1480" y="1080"/>
                    </a:lnTo>
                    <a:lnTo>
                      <a:pt x="1487" y="1070"/>
                    </a:lnTo>
                    <a:lnTo>
                      <a:pt x="1487" y="1070"/>
                    </a:lnTo>
                    <a:lnTo>
                      <a:pt x="1489" y="1067"/>
                    </a:lnTo>
                    <a:lnTo>
                      <a:pt x="1486" y="1064"/>
                    </a:lnTo>
                    <a:lnTo>
                      <a:pt x="1486" y="1064"/>
                    </a:lnTo>
                    <a:lnTo>
                      <a:pt x="1484" y="1062"/>
                    </a:lnTo>
                    <a:lnTo>
                      <a:pt x="1486" y="1059"/>
                    </a:lnTo>
                    <a:lnTo>
                      <a:pt x="1487" y="1054"/>
                    </a:lnTo>
                    <a:lnTo>
                      <a:pt x="1487" y="1050"/>
                    </a:lnTo>
                    <a:lnTo>
                      <a:pt x="1487" y="1050"/>
                    </a:lnTo>
                    <a:lnTo>
                      <a:pt x="1487" y="1047"/>
                    </a:lnTo>
                    <a:lnTo>
                      <a:pt x="1484" y="1046"/>
                    </a:lnTo>
                    <a:lnTo>
                      <a:pt x="1479" y="1043"/>
                    </a:lnTo>
                    <a:lnTo>
                      <a:pt x="1479" y="1043"/>
                    </a:lnTo>
                    <a:lnTo>
                      <a:pt x="1479" y="1041"/>
                    </a:lnTo>
                    <a:lnTo>
                      <a:pt x="1479" y="1038"/>
                    </a:lnTo>
                    <a:lnTo>
                      <a:pt x="1483" y="1033"/>
                    </a:lnTo>
                    <a:lnTo>
                      <a:pt x="1489" y="1027"/>
                    </a:lnTo>
                    <a:lnTo>
                      <a:pt x="1493" y="1022"/>
                    </a:lnTo>
                    <a:lnTo>
                      <a:pt x="1493" y="1022"/>
                    </a:lnTo>
                    <a:lnTo>
                      <a:pt x="1518" y="1020"/>
                    </a:lnTo>
                    <a:lnTo>
                      <a:pt x="1539" y="1018"/>
                    </a:lnTo>
                    <a:lnTo>
                      <a:pt x="1539" y="1018"/>
                    </a:lnTo>
                    <a:lnTo>
                      <a:pt x="1548" y="1020"/>
                    </a:lnTo>
                    <a:lnTo>
                      <a:pt x="1557" y="1024"/>
                    </a:lnTo>
                    <a:lnTo>
                      <a:pt x="1557" y="1024"/>
                    </a:lnTo>
                    <a:lnTo>
                      <a:pt x="1560" y="1024"/>
                    </a:lnTo>
                    <a:lnTo>
                      <a:pt x="1563" y="1024"/>
                    </a:lnTo>
                    <a:lnTo>
                      <a:pt x="1565" y="1022"/>
                    </a:lnTo>
                    <a:lnTo>
                      <a:pt x="1570" y="1024"/>
                    </a:lnTo>
                    <a:lnTo>
                      <a:pt x="1570" y="1024"/>
                    </a:lnTo>
                    <a:lnTo>
                      <a:pt x="1574" y="1027"/>
                    </a:lnTo>
                    <a:lnTo>
                      <a:pt x="1577" y="1033"/>
                    </a:lnTo>
                    <a:lnTo>
                      <a:pt x="1586" y="1046"/>
                    </a:lnTo>
                    <a:lnTo>
                      <a:pt x="1600" y="1070"/>
                    </a:lnTo>
                    <a:lnTo>
                      <a:pt x="1600" y="1070"/>
                    </a:lnTo>
                    <a:lnTo>
                      <a:pt x="1602" y="1073"/>
                    </a:lnTo>
                    <a:lnTo>
                      <a:pt x="1602" y="1076"/>
                    </a:lnTo>
                    <a:lnTo>
                      <a:pt x="1602" y="1082"/>
                    </a:lnTo>
                    <a:lnTo>
                      <a:pt x="1602" y="1082"/>
                    </a:lnTo>
                    <a:lnTo>
                      <a:pt x="1603" y="1086"/>
                    </a:lnTo>
                    <a:lnTo>
                      <a:pt x="1606" y="1093"/>
                    </a:lnTo>
                    <a:lnTo>
                      <a:pt x="1609" y="1101"/>
                    </a:lnTo>
                    <a:lnTo>
                      <a:pt x="1610" y="1106"/>
                    </a:lnTo>
                    <a:lnTo>
                      <a:pt x="1610" y="1106"/>
                    </a:lnTo>
                    <a:lnTo>
                      <a:pt x="1610" y="1111"/>
                    </a:lnTo>
                    <a:lnTo>
                      <a:pt x="1613" y="1114"/>
                    </a:lnTo>
                    <a:lnTo>
                      <a:pt x="1620" y="1117"/>
                    </a:lnTo>
                    <a:lnTo>
                      <a:pt x="1620" y="1117"/>
                    </a:lnTo>
                    <a:lnTo>
                      <a:pt x="1632" y="1121"/>
                    </a:lnTo>
                    <a:lnTo>
                      <a:pt x="1641" y="1128"/>
                    </a:lnTo>
                    <a:lnTo>
                      <a:pt x="1641" y="1128"/>
                    </a:lnTo>
                    <a:lnTo>
                      <a:pt x="1660" y="1143"/>
                    </a:lnTo>
                    <a:lnTo>
                      <a:pt x="1660" y="1143"/>
                    </a:lnTo>
                    <a:lnTo>
                      <a:pt x="1661" y="1146"/>
                    </a:lnTo>
                    <a:lnTo>
                      <a:pt x="1662" y="1150"/>
                    </a:lnTo>
                    <a:lnTo>
                      <a:pt x="1662" y="1159"/>
                    </a:lnTo>
                    <a:lnTo>
                      <a:pt x="1662" y="1159"/>
                    </a:lnTo>
                    <a:lnTo>
                      <a:pt x="1665" y="1162"/>
                    </a:lnTo>
                    <a:lnTo>
                      <a:pt x="1670" y="1164"/>
                    </a:lnTo>
                    <a:lnTo>
                      <a:pt x="1674" y="1167"/>
                    </a:lnTo>
                    <a:lnTo>
                      <a:pt x="1678" y="1167"/>
                    </a:lnTo>
                    <a:lnTo>
                      <a:pt x="1678" y="1167"/>
                    </a:lnTo>
                    <a:lnTo>
                      <a:pt x="1684" y="1166"/>
                    </a:lnTo>
                    <a:lnTo>
                      <a:pt x="1691" y="1163"/>
                    </a:lnTo>
                    <a:lnTo>
                      <a:pt x="1700" y="1160"/>
                    </a:lnTo>
                    <a:lnTo>
                      <a:pt x="1704" y="1159"/>
                    </a:lnTo>
                    <a:lnTo>
                      <a:pt x="1704" y="1159"/>
                    </a:lnTo>
                    <a:lnTo>
                      <a:pt x="1715" y="1157"/>
                    </a:lnTo>
                    <a:lnTo>
                      <a:pt x="1723" y="1154"/>
                    </a:lnTo>
                    <a:lnTo>
                      <a:pt x="1723" y="1154"/>
                    </a:lnTo>
                    <a:lnTo>
                      <a:pt x="1725" y="1154"/>
                    </a:lnTo>
                    <a:lnTo>
                      <a:pt x="1725" y="1156"/>
                    </a:lnTo>
                    <a:lnTo>
                      <a:pt x="1723" y="1162"/>
                    </a:lnTo>
                    <a:lnTo>
                      <a:pt x="1719" y="1176"/>
                    </a:lnTo>
                    <a:lnTo>
                      <a:pt x="1719" y="1176"/>
                    </a:lnTo>
                    <a:lnTo>
                      <a:pt x="1718" y="1189"/>
                    </a:lnTo>
                    <a:lnTo>
                      <a:pt x="1716" y="1198"/>
                    </a:lnTo>
                    <a:lnTo>
                      <a:pt x="1713" y="1206"/>
                    </a:lnTo>
                    <a:lnTo>
                      <a:pt x="1713" y="1206"/>
                    </a:lnTo>
                    <a:lnTo>
                      <a:pt x="1709" y="1214"/>
                    </a:lnTo>
                    <a:lnTo>
                      <a:pt x="1704" y="1222"/>
                    </a:lnTo>
                    <a:lnTo>
                      <a:pt x="1699" y="1228"/>
                    </a:lnTo>
                    <a:lnTo>
                      <a:pt x="1694" y="1232"/>
                    </a:lnTo>
                    <a:lnTo>
                      <a:pt x="1694" y="1232"/>
                    </a:lnTo>
                    <a:lnTo>
                      <a:pt x="1691" y="1234"/>
                    </a:lnTo>
                    <a:lnTo>
                      <a:pt x="1687" y="1232"/>
                    </a:lnTo>
                    <a:lnTo>
                      <a:pt x="1683" y="1231"/>
                    </a:lnTo>
                    <a:lnTo>
                      <a:pt x="1680" y="1231"/>
                    </a:lnTo>
                    <a:lnTo>
                      <a:pt x="1680" y="1231"/>
                    </a:lnTo>
                    <a:lnTo>
                      <a:pt x="1673" y="1235"/>
                    </a:lnTo>
                    <a:lnTo>
                      <a:pt x="1670" y="1237"/>
                    </a:lnTo>
                    <a:lnTo>
                      <a:pt x="1668" y="1238"/>
                    </a:lnTo>
                    <a:lnTo>
                      <a:pt x="1668" y="1238"/>
                    </a:lnTo>
                    <a:lnTo>
                      <a:pt x="1668" y="1241"/>
                    </a:lnTo>
                    <a:lnTo>
                      <a:pt x="1668" y="1244"/>
                    </a:lnTo>
                    <a:lnTo>
                      <a:pt x="1671" y="1253"/>
                    </a:lnTo>
                    <a:lnTo>
                      <a:pt x="1671" y="1253"/>
                    </a:lnTo>
                    <a:lnTo>
                      <a:pt x="1673" y="1257"/>
                    </a:lnTo>
                    <a:lnTo>
                      <a:pt x="1670" y="1264"/>
                    </a:lnTo>
                    <a:lnTo>
                      <a:pt x="1665" y="1276"/>
                    </a:lnTo>
                    <a:lnTo>
                      <a:pt x="1665" y="1276"/>
                    </a:lnTo>
                    <a:lnTo>
                      <a:pt x="1664" y="1279"/>
                    </a:lnTo>
                    <a:lnTo>
                      <a:pt x="1661" y="1279"/>
                    </a:lnTo>
                    <a:lnTo>
                      <a:pt x="1655" y="1280"/>
                    </a:lnTo>
                    <a:lnTo>
                      <a:pt x="1658" y="1290"/>
                    </a:lnTo>
                    <a:lnTo>
                      <a:pt x="1658" y="1290"/>
                    </a:lnTo>
                    <a:lnTo>
                      <a:pt x="1664" y="1288"/>
                    </a:lnTo>
                    <a:lnTo>
                      <a:pt x="1670" y="1285"/>
                    </a:lnTo>
                    <a:lnTo>
                      <a:pt x="1670" y="1285"/>
                    </a:lnTo>
                    <a:lnTo>
                      <a:pt x="1671" y="1283"/>
                    </a:lnTo>
                    <a:lnTo>
                      <a:pt x="1673" y="1280"/>
                    </a:lnTo>
                    <a:lnTo>
                      <a:pt x="1676" y="1276"/>
                    </a:lnTo>
                    <a:lnTo>
                      <a:pt x="1677" y="1273"/>
                    </a:lnTo>
                    <a:lnTo>
                      <a:pt x="1677" y="1273"/>
                    </a:lnTo>
                    <a:lnTo>
                      <a:pt x="1680" y="1274"/>
                    </a:lnTo>
                    <a:lnTo>
                      <a:pt x="1683" y="1276"/>
                    </a:lnTo>
                    <a:lnTo>
                      <a:pt x="1690" y="1285"/>
                    </a:lnTo>
                    <a:lnTo>
                      <a:pt x="1690" y="1285"/>
                    </a:lnTo>
                    <a:lnTo>
                      <a:pt x="1693" y="1285"/>
                    </a:lnTo>
                    <a:lnTo>
                      <a:pt x="1696" y="1285"/>
                    </a:lnTo>
                    <a:lnTo>
                      <a:pt x="1703" y="1285"/>
                    </a:lnTo>
                    <a:lnTo>
                      <a:pt x="1718" y="1279"/>
                    </a:lnTo>
                    <a:lnTo>
                      <a:pt x="1718" y="1279"/>
                    </a:lnTo>
                    <a:lnTo>
                      <a:pt x="1723" y="1276"/>
                    </a:lnTo>
                    <a:lnTo>
                      <a:pt x="1729" y="1269"/>
                    </a:lnTo>
                    <a:lnTo>
                      <a:pt x="1736" y="1259"/>
                    </a:lnTo>
                    <a:lnTo>
                      <a:pt x="1736" y="1259"/>
                    </a:lnTo>
                    <a:lnTo>
                      <a:pt x="1751" y="1240"/>
                    </a:lnTo>
                    <a:lnTo>
                      <a:pt x="1751" y="1240"/>
                    </a:lnTo>
                    <a:lnTo>
                      <a:pt x="1758" y="1234"/>
                    </a:lnTo>
                    <a:lnTo>
                      <a:pt x="1768" y="1227"/>
                    </a:lnTo>
                    <a:lnTo>
                      <a:pt x="1768" y="1227"/>
                    </a:lnTo>
                    <a:lnTo>
                      <a:pt x="1773" y="1222"/>
                    </a:lnTo>
                    <a:lnTo>
                      <a:pt x="1777" y="1215"/>
                    </a:lnTo>
                    <a:lnTo>
                      <a:pt x="1783" y="1202"/>
                    </a:lnTo>
                    <a:lnTo>
                      <a:pt x="1783" y="1202"/>
                    </a:lnTo>
                    <a:lnTo>
                      <a:pt x="1790" y="1190"/>
                    </a:lnTo>
                    <a:lnTo>
                      <a:pt x="1799" y="1175"/>
                    </a:lnTo>
                    <a:lnTo>
                      <a:pt x="1799" y="1175"/>
                    </a:lnTo>
                    <a:lnTo>
                      <a:pt x="1804" y="1167"/>
                    </a:lnTo>
                    <a:lnTo>
                      <a:pt x="1812" y="1162"/>
                    </a:lnTo>
                    <a:lnTo>
                      <a:pt x="1812" y="1162"/>
                    </a:lnTo>
                    <a:lnTo>
                      <a:pt x="1813" y="1159"/>
                    </a:lnTo>
                    <a:lnTo>
                      <a:pt x="1813" y="1154"/>
                    </a:lnTo>
                    <a:lnTo>
                      <a:pt x="1815" y="1143"/>
                    </a:lnTo>
                    <a:lnTo>
                      <a:pt x="1816" y="1130"/>
                    </a:lnTo>
                    <a:lnTo>
                      <a:pt x="1819" y="1117"/>
                    </a:lnTo>
                    <a:lnTo>
                      <a:pt x="1819" y="1117"/>
                    </a:lnTo>
                    <a:lnTo>
                      <a:pt x="1820" y="1108"/>
                    </a:lnTo>
                    <a:lnTo>
                      <a:pt x="1819" y="1101"/>
                    </a:lnTo>
                    <a:lnTo>
                      <a:pt x="1819" y="1096"/>
                    </a:lnTo>
                    <a:lnTo>
                      <a:pt x="1819" y="1091"/>
                    </a:lnTo>
                    <a:lnTo>
                      <a:pt x="1819" y="1091"/>
                    </a:lnTo>
                    <a:lnTo>
                      <a:pt x="1822" y="1083"/>
                    </a:lnTo>
                    <a:lnTo>
                      <a:pt x="1826" y="1075"/>
                    </a:lnTo>
                    <a:lnTo>
                      <a:pt x="1832" y="1062"/>
                    </a:lnTo>
                    <a:lnTo>
                      <a:pt x="1832" y="1062"/>
                    </a:lnTo>
                    <a:lnTo>
                      <a:pt x="1832" y="1059"/>
                    </a:lnTo>
                    <a:lnTo>
                      <a:pt x="1832" y="1056"/>
                    </a:lnTo>
                    <a:lnTo>
                      <a:pt x="1829" y="1053"/>
                    </a:lnTo>
                    <a:lnTo>
                      <a:pt x="1828" y="1053"/>
                    </a:lnTo>
                    <a:lnTo>
                      <a:pt x="1828" y="1053"/>
                    </a:lnTo>
                    <a:lnTo>
                      <a:pt x="1826" y="1053"/>
                    </a:lnTo>
                    <a:lnTo>
                      <a:pt x="1825" y="1051"/>
                    </a:lnTo>
                    <a:lnTo>
                      <a:pt x="1823" y="1047"/>
                    </a:lnTo>
                    <a:lnTo>
                      <a:pt x="1819" y="1035"/>
                    </a:lnTo>
                    <a:lnTo>
                      <a:pt x="1819" y="1035"/>
                    </a:lnTo>
                    <a:lnTo>
                      <a:pt x="1819" y="1034"/>
                    </a:lnTo>
                    <a:lnTo>
                      <a:pt x="1819" y="1034"/>
                    </a:lnTo>
                    <a:lnTo>
                      <a:pt x="1823" y="1031"/>
                    </a:lnTo>
                    <a:lnTo>
                      <a:pt x="1823" y="1031"/>
                    </a:lnTo>
                    <a:lnTo>
                      <a:pt x="1823" y="1030"/>
                    </a:lnTo>
                    <a:lnTo>
                      <a:pt x="1823" y="1028"/>
                    </a:lnTo>
                    <a:lnTo>
                      <a:pt x="1819" y="1024"/>
                    </a:lnTo>
                    <a:lnTo>
                      <a:pt x="1813" y="1021"/>
                    </a:lnTo>
                    <a:lnTo>
                      <a:pt x="1807" y="1018"/>
                    </a:lnTo>
                    <a:lnTo>
                      <a:pt x="1807" y="1018"/>
                    </a:lnTo>
                    <a:lnTo>
                      <a:pt x="1806" y="1017"/>
                    </a:lnTo>
                    <a:lnTo>
                      <a:pt x="1804" y="1015"/>
                    </a:lnTo>
                    <a:lnTo>
                      <a:pt x="1804" y="1011"/>
                    </a:lnTo>
                    <a:lnTo>
                      <a:pt x="1803" y="1008"/>
                    </a:lnTo>
                    <a:lnTo>
                      <a:pt x="1800" y="1005"/>
                    </a:lnTo>
                    <a:lnTo>
                      <a:pt x="1800" y="1005"/>
                    </a:lnTo>
                    <a:lnTo>
                      <a:pt x="1788" y="999"/>
                    </a:lnTo>
                    <a:lnTo>
                      <a:pt x="1783" y="998"/>
                    </a:lnTo>
                    <a:lnTo>
                      <a:pt x="1778" y="998"/>
                    </a:lnTo>
                    <a:lnTo>
                      <a:pt x="1778" y="998"/>
                    </a:lnTo>
                    <a:lnTo>
                      <a:pt x="1777" y="998"/>
                    </a:lnTo>
                    <a:lnTo>
                      <a:pt x="1777" y="999"/>
                    </a:lnTo>
                    <a:lnTo>
                      <a:pt x="1778" y="1004"/>
                    </a:lnTo>
                    <a:lnTo>
                      <a:pt x="1780" y="1008"/>
                    </a:lnTo>
                    <a:lnTo>
                      <a:pt x="1780" y="1009"/>
                    </a:lnTo>
                    <a:lnTo>
                      <a:pt x="1778" y="1009"/>
                    </a:lnTo>
                    <a:lnTo>
                      <a:pt x="1778" y="1009"/>
                    </a:lnTo>
                    <a:lnTo>
                      <a:pt x="1775" y="1011"/>
                    </a:lnTo>
                    <a:lnTo>
                      <a:pt x="1773" y="1012"/>
                    </a:lnTo>
                    <a:lnTo>
                      <a:pt x="1770" y="1015"/>
                    </a:lnTo>
                    <a:lnTo>
                      <a:pt x="1764" y="1015"/>
                    </a:lnTo>
                    <a:lnTo>
                      <a:pt x="1764" y="1015"/>
                    </a:lnTo>
                    <a:lnTo>
                      <a:pt x="1761" y="1014"/>
                    </a:lnTo>
                    <a:lnTo>
                      <a:pt x="1761" y="1012"/>
                    </a:lnTo>
                    <a:lnTo>
                      <a:pt x="1764" y="1011"/>
                    </a:lnTo>
                    <a:lnTo>
                      <a:pt x="1764" y="1009"/>
                    </a:lnTo>
                    <a:lnTo>
                      <a:pt x="1764" y="1009"/>
                    </a:lnTo>
                    <a:lnTo>
                      <a:pt x="1764" y="1008"/>
                    </a:lnTo>
                    <a:lnTo>
                      <a:pt x="1762" y="1008"/>
                    </a:lnTo>
                    <a:lnTo>
                      <a:pt x="1758" y="1009"/>
                    </a:lnTo>
                    <a:lnTo>
                      <a:pt x="1748" y="1012"/>
                    </a:lnTo>
                    <a:lnTo>
                      <a:pt x="1748" y="1012"/>
                    </a:lnTo>
                    <a:lnTo>
                      <a:pt x="1746" y="1012"/>
                    </a:lnTo>
                    <a:lnTo>
                      <a:pt x="1746" y="1011"/>
                    </a:lnTo>
                    <a:lnTo>
                      <a:pt x="1748" y="1008"/>
                    </a:lnTo>
                    <a:lnTo>
                      <a:pt x="1751" y="1001"/>
                    </a:lnTo>
                    <a:lnTo>
                      <a:pt x="1751" y="1001"/>
                    </a:lnTo>
                    <a:lnTo>
                      <a:pt x="1751" y="999"/>
                    </a:lnTo>
                    <a:lnTo>
                      <a:pt x="1749" y="999"/>
                    </a:lnTo>
                    <a:lnTo>
                      <a:pt x="1744" y="999"/>
                    </a:lnTo>
                    <a:lnTo>
                      <a:pt x="1744" y="999"/>
                    </a:lnTo>
                    <a:lnTo>
                      <a:pt x="1741" y="999"/>
                    </a:lnTo>
                    <a:lnTo>
                      <a:pt x="1736" y="996"/>
                    </a:lnTo>
                    <a:lnTo>
                      <a:pt x="1731" y="995"/>
                    </a:lnTo>
                    <a:lnTo>
                      <a:pt x="1726" y="993"/>
                    </a:lnTo>
                    <a:lnTo>
                      <a:pt x="1726" y="993"/>
                    </a:lnTo>
                    <a:lnTo>
                      <a:pt x="1723" y="993"/>
                    </a:lnTo>
                    <a:lnTo>
                      <a:pt x="1722" y="991"/>
                    </a:lnTo>
                    <a:lnTo>
                      <a:pt x="1723" y="986"/>
                    </a:lnTo>
                    <a:lnTo>
                      <a:pt x="1729" y="982"/>
                    </a:lnTo>
                    <a:lnTo>
                      <a:pt x="1729" y="982"/>
                    </a:lnTo>
                    <a:lnTo>
                      <a:pt x="1741" y="973"/>
                    </a:lnTo>
                    <a:lnTo>
                      <a:pt x="1752" y="962"/>
                    </a:lnTo>
                    <a:lnTo>
                      <a:pt x="1764" y="951"/>
                    </a:lnTo>
                    <a:lnTo>
                      <a:pt x="1770" y="944"/>
                    </a:lnTo>
                    <a:lnTo>
                      <a:pt x="1770" y="944"/>
                    </a:lnTo>
                    <a:lnTo>
                      <a:pt x="1774" y="938"/>
                    </a:lnTo>
                    <a:lnTo>
                      <a:pt x="1781" y="933"/>
                    </a:lnTo>
                    <a:lnTo>
                      <a:pt x="1794" y="924"/>
                    </a:lnTo>
                    <a:lnTo>
                      <a:pt x="1794" y="924"/>
                    </a:lnTo>
                    <a:lnTo>
                      <a:pt x="1799" y="918"/>
                    </a:lnTo>
                    <a:lnTo>
                      <a:pt x="1804" y="911"/>
                    </a:lnTo>
                    <a:lnTo>
                      <a:pt x="1815" y="896"/>
                    </a:lnTo>
                    <a:lnTo>
                      <a:pt x="1815" y="896"/>
                    </a:lnTo>
                    <a:lnTo>
                      <a:pt x="1819" y="891"/>
                    </a:lnTo>
                    <a:lnTo>
                      <a:pt x="1822" y="885"/>
                    </a:lnTo>
                    <a:lnTo>
                      <a:pt x="1826" y="878"/>
                    </a:lnTo>
                    <a:lnTo>
                      <a:pt x="1835" y="869"/>
                    </a:lnTo>
                    <a:lnTo>
                      <a:pt x="1835" y="869"/>
                    </a:lnTo>
                    <a:lnTo>
                      <a:pt x="1841" y="865"/>
                    </a:lnTo>
                    <a:lnTo>
                      <a:pt x="1849" y="862"/>
                    </a:lnTo>
                    <a:lnTo>
                      <a:pt x="1858" y="860"/>
                    </a:lnTo>
                    <a:lnTo>
                      <a:pt x="1867" y="860"/>
                    </a:lnTo>
                    <a:lnTo>
                      <a:pt x="1883" y="862"/>
                    </a:lnTo>
                    <a:lnTo>
                      <a:pt x="1893" y="863"/>
                    </a:lnTo>
                    <a:lnTo>
                      <a:pt x="1893" y="863"/>
                    </a:lnTo>
                    <a:lnTo>
                      <a:pt x="1906" y="865"/>
                    </a:lnTo>
                    <a:lnTo>
                      <a:pt x="1919" y="866"/>
                    </a:lnTo>
                    <a:lnTo>
                      <a:pt x="1919" y="866"/>
                    </a:lnTo>
                    <a:lnTo>
                      <a:pt x="1932" y="869"/>
                    </a:lnTo>
                    <a:lnTo>
                      <a:pt x="1939" y="869"/>
                    </a:lnTo>
                    <a:lnTo>
                      <a:pt x="1942" y="869"/>
                    </a:lnTo>
                    <a:lnTo>
                      <a:pt x="1943" y="867"/>
                    </a:lnTo>
                    <a:lnTo>
                      <a:pt x="1943" y="867"/>
                    </a:lnTo>
                    <a:lnTo>
                      <a:pt x="1946" y="865"/>
                    </a:lnTo>
                    <a:lnTo>
                      <a:pt x="1945" y="865"/>
                    </a:lnTo>
                    <a:lnTo>
                      <a:pt x="1936" y="863"/>
                    </a:lnTo>
                    <a:lnTo>
                      <a:pt x="1936" y="863"/>
                    </a:lnTo>
                    <a:lnTo>
                      <a:pt x="1933" y="862"/>
                    </a:lnTo>
                    <a:lnTo>
                      <a:pt x="1933" y="860"/>
                    </a:lnTo>
                    <a:lnTo>
                      <a:pt x="1938" y="859"/>
                    </a:lnTo>
                    <a:lnTo>
                      <a:pt x="1948" y="856"/>
                    </a:lnTo>
                    <a:lnTo>
                      <a:pt x="1948" y="856"/>
                    </a:lnTo>
                    <a:lnTo>
                      <a:pt x="1949" y="854"/>
                    </a:lnTo>
                    <a:lnTo>
                      <a:pt x="1948" y="852"/>
                    </a:lnTo>
                    <a:lnTo>
                      <a:pt x="1948" y="852"/>
                    </a:lnTo>
                    <a:lnTo>
                      <a:pt x="1948" y="852"/>
                    </a:lnTo>
                    <a:lnTo>
                      <a:pt x="1948" y="850"/>
                    </a:lnTo>
                    <a:lnTo>
                      <a:pt x="1954" y="850"/>
                    </a:lnTo>
                    <a:lnTo>
                      <a:pt x="1965" y="850"/>
                    </a:lnTo>
                    <a:lnTo>
                      <a:pt x="1965" y="850"/>
                    </a:lnTo>
                    <a:lnTo>
                      <a:pt x="1967" y="852"/>
                    </a:lnTo>
                    <a:lnTo>
                      <a:pt x="1968" y="853"/>
                    </a:lnTo>
                    <a:lnTo>
                      <a:pt x="1968" y="854"/>
                    </a:lnTo>
                    <a:lnTo>
                      <a:pt x="1968" y="856"/>
                    </a:lnTo>
                    <a:lnTo>
                      <a:pt x="1968" y="856"/>
                    </a:lnTo>
                    <a:lnTo>
                      <a:pt x="1970" y="856"/>
                    </a:lnTo>
                    <a:lnTo>
                      <a:pt x="1972" y="854"/>
                    </a:lnTo>
                    <a:lnTo>
                      <a:pt x="1978" y="852"/>
                    </a:lnTo>
                    <a:lnTo>
                      <a:pt x="1978" y="852"/>
                    </a:lnTo>
                    <a:lnTo>
                      <a:pt x="1978" y="852"/>
                    </a:lnTo>
                    <a:lnTo>
                      <a:pt x="1980" y="854"/>
                    </a:lnTo>
                    <a:lnTo>
                      <a:pt x="1978" y="860"/>
                    </a:lnTo>
                    <a:lnTo>
                      <a:pt x="1978" y="860"/>
                    </a:lnTo>
                    <a:lnTo>
                      <a:pt x="1980" y="862"/>
                    </a:lnTo>
                    <a:lnTo>
                      <a:pt x="1981" y="863"/>
                    </a:lnTo>
                    <a:lnTo>
                      <a:pt x="1988" y="869"/>
                    </a:lnTo>
                    <a:lnTo>
                      <a:pt x="1988" y="869"/>
                    </a:lnTo>
                    <a:lnTo>
                      <a:pt x="1988" y="870"/>
                    </a:lnTo>
                    <a:lnTo>
                      <a:pt x="1988" y="870"/>
                    </a:lnTo>
                    <a:lnTo>
                      <a:pt x="1985" y="872"/>
                    </a:lnTo>
                    <a:lnTo>
                      <a:pt x="1978" y="873"/>
                    </a:lnTo>
                    <a:lnTo>
                      <a:pt x="1978" y="873"/>
                    </a:lnTo>
                    <a:lnTo>
                      <a:pt x="1977" y="875"/>
                    </a:lnTo>
                    <a:lnTo>
                      <a:pt x="1977" y="876"/>
                    </a:lnTo>
                    <a:lnTo>
                      <a:pt x="1978" y="879"/>
                    </a:lnTo>
                    <a:lnTo>
                      <a:pt x="1981" y="882"/>
                    </a:lnTo>
                    <a:lnTo>
                      <a:pt x="1984" y="883"/>
                    </a:lnTo>
                    <a:lnTo>
                      <a:pt x="1984" y="883"/>
                    </a:lnTo>
                    <a:lnTo>
                      <a:pt x="1988" y="882"/>
                    </a:lnTo>
                    <a:lnTo>
                      <a:pt x="1996" y="879"/>
                    </a:lnTo>
                    <a:lnTo>
                      <a:pt x="2009" y="873"/>
                    </a:lnTo>
                    <a:lnTo>
                      <a:pt x="2009" y="873"/>
                    </a:lnTo>
                    <a:lnTo>
                      <a:pt x="2012" y="872"/>
                    </a:lnTo>
                    <a:lnTo>
                      <a:pt x="2014" y="870"/>
                    </a:lnTo>
                    <a:lnTo>
                      <a:pt x="2020" y="872"/>
                    </a:lnTo>
                    <a:lnTo>
                      <a:pt x="2020" y="872"/>
                    </a:lnTo>
                    <a:lnTo>
                      <a:pt x="2026" y="873"/>
                    </a:lnTo>
                    <a:lnTo>
                      <a:pt x="2029" y="873"/>
                    </a:lnTo>
                    <a:lnTo>
                      <a:pt x="2029" y="873"/>
                    </a:lnTo>
                    <a:lnTo>
                      <a:pt x="2033" y="872"/>
                    </a:lnTo>
                    <a:lnTo>
                      <a:pt x="2038" y="873"/>
                    </a:lnTo>
                    <a:lnTo>
                      <a:pt x="2038" y="873"/>
                    </a:lnTo>
                    <a:lnTo>
                      <a:pt x="2040" y="873"/>
                    </a:lnTo>
                    <a:lnTo>
                      <a:pt x="2043" y="872"/>
                    </a:lnTo>
                    <a:lnTo>
                      <a:pt x="2049" y="869"/>
                    </a:lnTo>
                    <a:lnTo>
                      <a:pt x="2049" y="869"/>
                    </a:lnTo>
                    <a:lnTo>
                      <a:pt x="2055" y="866"/>
                    </a:lnTo>
                    <a:lnTo>
                      <a:pt x="2056" y="865"/>
                    </a:lnTo>
                    <a:lnTo>
                      <a:pt x="2056" y="862"/>
                    </a:lnTo>
                    <a:lnTo>
                      <a:pt x="2056" y="862"/>
                    </a:lnTo>
                    <a:lnTo>
                      <a:pt x="2055" y="860"/>
                    </a:lnTo>
                    <a:lnTo>
                      <a:pt x="2054" y="859"/>
                    </a:lnTo>
                    <a:lnTo>
                      <a:pt x="2049" y="859"/>
                    </a:lnTo>
                    <a:lnTo>
                      <a:pt x="2038" y="859"/>
                    </a:lnTo>
                    <a:lnTo>
                      <a:pt x="2038" y="859"/>
                    </a:lnTo>
                    <a:lnTo>
                      <a:pt x="2036" y="859"/>
                    </a:lnTo>
                    <a:lnTo>
                      <a:pt x="2036" y="857"/>
                    </a:lnTo>
                    <a:lnTo>
                      <a:pt x="2038" y="854"/>
                    </a:lnTo>
                    <a:lnTo>
                      <a:pt x="2039" y="853"/>
                    </a:lnTo>
                    <a:lnTo>
                      <a:pt x="2039" y="853"/>
                    </a:lnTo>
                    <a:lnTo>
                      <a:pt x="2043" y="849"/>
                    </a:lnTo>
                    <a:lnTo>
                      <a:pt x="2046" y="844"/>
                    </a:lnTo>
                    <a:lnTo>
                      <a:pt x="2052" y="837"/>
                    </a:lnTo>
                    <a:lnTo>
                      <a:pt x="2052" y="837"/>
                    </a:lnTo>
                    <a:lnTo>
                      <a:pt x="2054" y="834"/>
                    </a:lnTo>
                    <a:lnTo>
                      <a:pt x="2058" y="833"/>
                    </a:lnTo>
                    <a:lnTo>
                      <a:pt x="2067" y="828"/>
                    </a:lnTo>
                    <a:lnTo>
                      <a:pt x="2067" y="828"/>
                    </a:lnTo>
                    <a:lnTo>
                      <a:pt x="2068" y="827"/>
                    </a:lnTo>
                    <a:lnTo>
                      <a:pt x="2071" y="823"/>
                    </a:lnTo>
                    <a:lnTo>
                      <a:pt x="2075" y="811"/>
                    </a:lnTo>
                    <a:lnTo>
                      <a:pt x="2080" y="799"/>
                    </a:lnTo>
                    <a:lnTo>
                      <a:pt x="2084" y="791"/>
                    </a:lnTo>
                    <a:lnTo>
                      <a:pt x="2084" y="791"/>
                    </a:lnTo>
                    <a:lnTo>
                      <a:pt x="2090" y="786"/>
                    </a:lnTo>
                    <a:lnTo>
                      <a:pt x="2097" y="783"/>
                    </a:lnTo>
                    <a:lnTo>
                      <a:pt x="2107" y="781"/>
                    </a:lnTo>
                    <a:lnTo>
                      <a:pt x="2107" y="781"/>
                    </a:lnTo>
                    <a:lnTo>
                      <a:pt x="2110" y="779"/>
                    </a:lnTo>
                    <a:lnTo>
                      <a:pt x="2111" y="779"/>
                    </a:lnTo>
                    <a:lnTo>
                      <a:pt x="2114" y="779"/>
                    </a:lnTo>
                    <a:lnTo>
                      <a:pt x="2119" y="779"/>
                    </a:lnTo>
                    <a:lnTo>
                      <a:pt x="2119" y="779"/>
                    </a:lnTo>
                    <a:lnTo>
                      <a:pt x="2123" y="776"/>
                    </a:lnTo>
                    <a:lnTo>
                      <a:pt x="2126" y="772"/>
                    </a:lnTo>
                    <a:lnTo>
                      <a:pt x="2129" y="768"/>
                    </a:lnTo>
                    <a:lnTo>
                      <a:pt x="2132" y="765"/>
                    </a:lnTo>
                    <a:lnTo>
                      <a:pt x="2132" y="765"/>
                    </a:lnTo>
                    <a:lnTo>
                      <a:pt x="2132" y="765"/>
                    </a:lnTo>
                    <a:lnTo>
                      <a:pt x="2132" y="766"/>
                    </a:lnTo>
                    <a:lnTo>
                      <a:pt x="2129" y="772"/>
                    </a:lnTo>
                    <a:lnTo>
                      <a:pt x="2126" y="779"/>
                    </a:lnTo>
                    <a:lnTo>
                      <a:pt x="2125" y="785"/>
                    </a:lnTo>
                    <a:lnTo>
                      <a:pt x="2125" y="785"/>
                    </a:lnTo>
                    <a:lnTo>
                      <a:pt x="2123" y="789"/>
                    </a:lnTo>
                    <a:lnTo>
                      <a:pt x="2120" y="794"/>
                    </a:lnTo>
                    <a:lnTo>
                      <a:pt x="2119" y="797"/>
                    </a:lnTo>
                    <a:lnTo>
                      <a:pt x="2117" y="801"/>
                    </a:lnTo>
                    <a:lnTo>
                      <a:pt x="2117" y="801"/>
                    </a:lnTo>
                    <a:lnTo>
                      <a:pt x="2117" y="805"/>
                    </a:lnTo>
                    <a:lnTo>
                      <a:pt x="2120" y="808"/>
                    </a:lnTo>
                    <a:lnTo>
                      <a:pt x="2127" y="811"/>
                    </a:lnTo>
                    <a:lnTo>
                      <a:pt x="2127" y="811"/>
                    </a:lnTo>
                    <a:lnTo>
                      <a:pt x="2129" y="812"/>
                    </a:lnTo>
                    <a:lnTo>
                      <a:pt x="2130" y="811"/>
                    </a:lnTo>
                    <a:lnTo>
                      <a:pt x="2135" y="805"/>
                    </a:lnTo>
                    <a:lnTo>
                      <a:pt x="2135" y="805"/>
                    </a:lnTo>
                    <a:lnTo>
                      <a:pt x="2145" y="794"/>
                    </a:lnTo>
                    <a:lnTo>
                      <a:pt x="2155" y="785"/>
                    </a:lnTo>
                    <a:lnTo>
                      <a:pt x="2155" y="785"/>
                    </a:lnTo>
                    <a:lnTo>
                      <a:pt x="2155" y="782"/>
                    </a:lnTo>
                    <a:lnTo>
                      <a:pt x="2155" y="778"/>
                    </a:lnTo>
                    <a:lnTo>
                      <a:pt x="2152" y="768"/>
                    </a:lnTo>
                    <a:lnTo>
                      <a:pt x="2152" y="768"/>
                    </a:lnTo>
                    <a:lnTo>
                      <a:pt x="2152" y="763"/>
                    </a:lnTo>
                    <a:lnTo>
                      <a:pt x="2153" y="760"/>
                    </a:lnTo>
                    <a:lnTo>
                      <a:pt x="2156" y="757"/>
                    </a:lnTo>
                    <a:lnTo>
                      <a:pt x="2161" y="756"/>
                    </a:lnTo>
                    <a:lnTo>
                      <a:pt x="2161" y="756"/>
                    </a:lnTo>
                    <a:lnTo>
                      <a:pt x="2167" y="753"/>
                    </a:lnTo>
                    <a:lnTo>
                      <a:pt x="2171" y="750"/>
                    </a:lnTo>
                    <a:lnTo>
                      <a:pt x="2171" y="750"/>
                    </a:lnTo>
                    <a:lnTo>
                      <a:pt x="2172" y="750"/>
                    </a:lnTo>
                    <a:lnTo>
                      <a:pt x="2172" y="753"/>
                    </a:lnTo>
                    <a:lnTo>
                      <a:pt x="2172" y="759"/>
                    </a:lnTo>
                    <a:lnTo>
                      <a:pt x="2172" y="759"/>
                    </a:lnTo>
                    <a:lnTo>
                      <a:pt x="2172" y="762"/>
                    </a:lnTo>
                    <a:lnTo>
                      <a:pt x="2169" y="766"/>
                    </a:lnTo>
                    <a:lnTo>
                      <a:pt x="2169" y="766"/>
                    </a:lnTo>
                    <a:lnTo>
                      <a:pt x="2167" y="772"/>
                    </a:lnTo>
                    <a:lnTo>
                      <a:pt x="2164" y="778"/>
                    </a:lnTo>
                    <a:lnTo>
                      <a:pt x="2162" y="789"/>
                    </a:lnTo>
                    <a:lnTo>
                      <a:pt x="2162" y="789"/>
                    </a:lnTo>
                    <a:lnTo>
                      <a:pt x="2164" y="794"/>
                    </a:lnTo>
                    <a:lnTo>
                      <a:pt x="2167" y="799"/>
                    </a:lnTo>
                    <a:lnTo>
                      <a:pt x="2167" y="799"/>
                    </a:lnTo>
                    <a:lnTo>
                      <a:pt x="2167" y="801"/>
                    </a:lnTo>
                    <a:lnTo>
                      <a:pt x="2165" y="802"/>
                    </a:lnTo>
                    <a:lnTo>
                      <a:pt x="2161" y="807"/>
                    </a:lnTo>
                    <a:lnTo>
                      <a:pt x="2161" y="807"/>
                    </a:lnTo>
                    <a:lnTo>
                      <a:pt x="2161" y="808"/>
                    </a:lnTo>
                    <a:lnTo>
                      <a:pt x="2161" y="810"/>
                    </a:lnTo>
                    <a:lnTo>
                      <a:pt x="2165" y="812"/>
                    </a:lnTo>
                    <a:lnTo>
                      <a:pt x="2165" y="812"/>
                    </a:lnTo>
                    <a:lnTo>
                      <a:pt x="2164" y="814"/>
                    </a:lnTo>
                    <a:lnTo>
                      <a:pt x="2162" y="815"/>
                    </a:lnTo>
                    <a:lnTo>
                      <a:pt x="2156" y="820"/>
                    </a:lnTo>
                    <a:lnTo>
                      <a:pt x="2151" y="825"/>
                    </a:lnTo>
                    <a:lnTo>
                      <a:pt x="2148" y="830"/>
                    </a:lnTo>
                    <a:lnTo>
                      <a:pt x="2148" y="830"/>
                    </a:lnTo>
                    <a:lnTo>
                      <a:pt x="2146" y="834"/>
                    </a:lnTo>
                    <a:lnTo>
                      <a:pt x="2143" y="837"/>
                    </a:lnTo>
                    <a:lnTo>
                      <a:pt x="2136" y="843"/>
                    </a:lnTo>
                    <a:lnTo>
                      <a:pt x="2136" y="843"/>
                    </a:lnTo>
                    <a:lnTo>
                      <a:pt x="2123" y="854"/>
                    </a:lnTo>
                    <a:lnTo>
                      <a:pt x="2109" y="869"/>
                    </a:lnTo>
                    <a:lnTo>
                      <a:pt x="2109" y="869"/>
                    </a:lnTo>
                    <a:lnTo>
                      <a:pt x="2104" y="876"/>
                    </a:lnTo>
                    <a:lnTo>
                      <a:pt x="2100" y="886"/>
                    </a:lnTo>
                    <a:lnTo>
                      <a:pt x="2093" y="901"/>
                    </a:lnTo>
                    <a:lnTo>
                      <a:pt x="2093" y="901"/>
                    </a:lnTo>
                    <a:lnTo>
                      <a:pt x="2090" y="904"/>
                    </a:lnTo>
                    <a:lnTo>
                      <a:pt x="2084" y="905"/>
                    </a:lnTo>
                    <a:lnTo>
                      <a:pt x="2075" y="907"/>
                    </a:lnTo>
                    <a:lnTo>
                      <a:pt x="2075" y="907"/>
                    </a:lnTo>
                    <a:lnTo>
                      <a:pt x="2074" y="909"/>
                    </a:lnTo>
                    <a:lnTo>
                      <a:pt x="2072" y="911"/>
                    </a:lnTo>
                    <a:lnTo>
                      <a:pt x="2071" y="918"/>
                    </a:lnTo>
                    <a:lnTo>
                      <a:pt x="2071" y="918"/>
                    </a:lnTo>
                    <a:lnTo>
                      <a:pt x="2068" y="925"/>
                    </a:lnTo>
                    <a:lnTo>
                      <a:pt x="2062" y="934"/>
                    </a:lnTo>
                    <a:lnTo>
                      <a:pt x="2051" y="950"/>
                    </a:lnTo>
                    <a:lnTo>
                      <a:pt x="2051" y="950"/>
                    </a:lnTo>
                    <a:lnTo>
                      <a:pt x="2049" y="957"/>
                    </a:lnTo>
                    <a:lnTo>
                      <a:pt x="2049" y="970"/>
                    </a:lnTo>
                    <a:lnTo>
                      <a:pt x="2049" y="985"/>
                    </a:lnTo>
                    <a:lnTo>
                      <a:pt x="2052" y="996"/>
                    </a:lnTo>
                    <a:lnTo>
                      <a:pt x="2052" y="996"/>
                    </a:lnTo>
                    <a:lnTo>
                      <a:pt x="2054" y="1005"/>
                    </a:lnTo>
                    <a:lnTo>
                      <a:pt x="2055" y="1017"/>
                    </a:lnTo>
                    <a:lnTo>
                      <a:pt x="2056" y="1035"/>
                    </a:lnTo>
                    <a:lnTo>
                      <a:pt x="2056" y="1035"/>
                    </a:lnTo>
                    <a:lnTo>
                      <a:pt x="2056" y="1043"/>
                    </a:lnTo>
                    <a:lnTo>
                      <a:pt x="2059" y="1049"/>
                    </a:lnTo>
                    <a:lnTo>
                      <a:pt x="2064" y="1056"/>
                    </a:lnTo>
                    <a:lnTo>
                      <a:pt x="2064" y="1056"/>
                    </a:lnTo>
                    <a:lnTo>
                      <a:pt x="2067" y="1062"/>
                    </a:lnTo>
                    <a:lnTo>
                      <a:pt x="2071" y="1070"/>
                    </a:lnTo>
                    <a:lnTo>
                      <a:pt x="2071" y="1070"/>
                    </a:lnTo>
                    <a:lnTo>
                      <a:pt x="2072" y="1082"/>
                    </a:lnTo>
                    <a:lnTo>
                      <a:pt x="2074" y="1089"/>
                    </a:lnTo>
                    <a:lnTo>
                      <a:pt x="2077" y="1095"/>
                    </a:lnTo>
                    <a:lnTo>
                      <a:pt x="2077" y="1095"/>
                    </a:lnTo>
                    <a:lnTo>
                      <a:pt x="2078" y="1096"/>
                    </a:lnTo>
                    <a:lnTo>
                      <a:pt x="2080" y="1095"/>
                    </a:lnTo>
                    <a:lnTo>
                      <a:pt x="2082" y="1091"/>
                    </a:lnTo>
                    <a:lnTo>
                      <a:pt x="2085" y="1085"/>
                    </a:lnTo>
                    <a:lnTo>
                      <a:pt x="2087" y="1082"/>
                    </a:lnTo>
                    <a:lnTo>
                      <a:pt x="2090" y="1080"/>
                    </a:lnTo>
                    <a:lnTo>
                      <a:pt x="2090" y="1080"/>
                    </a:lnTo>
                    <a:lnTo>
                      <a:pt x="2093" y="1078"/>
                    </a:lnTo>
                    <a:lnTo>
                      <a:pt x="2096" y="1073"/>
                    </a:lnTo>
                    <a:lnTo>
                      <a:pt x="2101" y="1063"/>
                    </a:lnTo>
                    <a:lnTo>
                      <a:pt x="2101" y="1063"/>
                    </a:lnTo>
                    <a:lnTo>
                      <a:pt x="2101" y="1060"/>
                    </a:lnTo>
                    <a:lnTo>
                      <a:pt x="2100" y="1059"/>
                    </a:lnTo>
                    <a:lnTo>
                      <a:pt x="2097" y="1057"/>
                    </a:lnTo>
                    <a:lnTo>
                      <a:pt x="2097" y="1056"/>
                    </a:lnTo>
                    <a:lnTo>
                      <a:pt x="2097" y="1056"/>
                    </a:lnTo>
                    <a:lnTo>
                      <a:pt x="2098" y="1053"/>
                    </a:lnTo>
                    <a:lnTo>
                      <a:pt x="2098" y="1051"/>
                    </a:lnTo>
                    <a:lnTo>
                      <a:pt x="2097" y="1046"/>
                    </a:lnTo>
                    <a:lnTo>
                      <a:pt x="2097" y="1046"/>
                    </a:lnTo>
                    <a:lnTo>
                      <a:pt x="2097" y="1043"/>
                    </a:lnTo>
                    <a:lnTo>
                      <a:pt x="2098" y="1038"/>
                    </a:lnTo>
                    <a:lnTo>
                      <a:pt x="2104" y="1033"/>
                    </a:lnTo>
                    <a:lnTo>
                      <a:pt x="2104" y="1033"/>
                    </a:lnTo>
                    <a:lnTo>
                      <a:pt x="2107" y="1033"/>
                    </a:lnTo>
                    <a:lnTo>
                      <a:pt x="2111" y="1033"/>
                    </a:lnTo>
                    <a:lnTo>
                      <a:pt x="2117" y="1033"/>
                    </a:lnTo>
                    <a:lnTo>
                      <a:pt x="2117" y="1033"/>
                    </a:lnTo>
                    <a:lnTo>
                      <a:pt x="2117" y="1031"/>
                    </a:lnTo>
                    <a:lnTo>
                      <a:pt x="2117" y="1025"/>
                    </a:lnTo>
                    <a:lnTo>
                      <a:pt x="2116" y="1020"/>
                    </a:lnTo>
                    <a:lnTo>
                      <a:pt x="2116" y="1014"/>
                    </a:lnTo>
                    <a:lnTo>
                      <a:pt x="2116" y="1014"/>
                    </a:lnTo>
                    <a:lnTo>
                      <a:pt x="2117" y="1009"/>
                    </a:lnTo>
                    <a:lnTo>
                      <a:pt x="2120" y="1007"/>
                    </a:lnTo>
                    <a:lnTo>
                      <a:pt x="2123" y="1004"/>
                    </a:lnTo>
                    <a:lnTo>
                      <a:pt x="2126" y="1001"/>
                    </a:lnTo>
                    <a:lnTo>
                      <a:pt x="2126" y="1001"/>
                    </a:lnTo>
                    <a:lnTo>
                      <a:pt x="2129" y="996"/>
                    </a:lnTo>
                    <a:lnTo>
                      <a:pt x="2135" y="993"/>
                    </a:lnTo>
                    <a:lnTo>
                      <a:pt x="2145" y="992"/>
                    </a:lnTo>
                    <a:lnTo>
                      <a:pt x="2145" y="992"/>
                    </a:lnTo>
                    <a:lnTo>
                      <a:pt x="2151" y="992"/>
                    </a:lnTo>
                    <a:lnTo>
                      <a:pt x="2153" y="991"/>
                    </a:lnTo>
                    <a:lnTo>
                      <a:pt x="2155" y="989"/>
                    </a:lnTo>
                    <a:lnTo>
                      <a:pt x="2155" y="989"/>
                    </a:lnTo>
                    <a:lnTo>
                      <a:pt x="2155" y="983"/>
                    </a:lnTo>
                    <a:lnTo>
                      <a:pt x="2155" y="980"/>
                    </a:lnTo>
                    <a:lnTo>
                      <a:pt x="2153" y="978"/>
                    </a:lnTo>
                    <a:lnTo>
                      <a:pt x="2153" y="978"/>
                    </a:lnTo>
                    <a:lnTo>
                      <a:pt x="2151" y="976"/>
                    </a:lnTo>
                    <a:lnTo>
                      <a:pt x="2151" y="973"/>
                    </a:lnTo>
                    <a:lnTo>
                      <a:pt x="2151" y="972"/>
                    </a:lnTo>
                    <a:lnTo>
                      <a:pt x="2152" y="969"/>
                    </a:lnTo>
                    <a:lnTo>
                      <a:pt x="2152" y="969"/>
                    </a:lnTo>
                    <a:lnTo>
                      <a:pt x="2153" y="966"/>
                    </a:lnTo>
                    <a:lnTo>
                      <a:pt x="2153" y="962"/>
                    </a:lnTo>
                    <a:lnTo>
                      <a:pt x="2153" y="962"/>
                    </a:lnTo>
                    <a:lnTo>
                      <a:pt x="2155" y="959"/>
                    </a:lnTo>
                    <a:lnTo>
                      <a:pt x="2156" y="956"/>
                    </a:lnTo>
                    <a:lnTo>
                      <a:pt x="2161" y="953"/>
                    </a:lnTo>
                    <a:lnTo>
                      <a:pt x="2164" y="951"/>
                    </a:lnTo>
                    <a:lnTo>
                      <a:pt x="2164" y="951"/>
                    </a:lnTo>
                    <a:lnTo>
                      <a:pt x="2167" y="951"/>
                    </a:lnTo>
                    <a:lnTo>
                      <a:pt x="2168" y="951"/>
                    </a:lnTo>
                    <a:lnTo>
                      <a:pt x="2169" y="953"/>
                    </a:lnTo>
                    <a:lnTo>
                      <a:pt x="2172" y="953"/>
                    </a:lnTo>
                    <a:lnTo>
                      <a:pt x="2172" y="953"/>
                    </a:lnTo>
                    <a:lnTo>
                      <a:pt x="2175" y="951"/>
                    </a:lnTo>
                    <a:lnTo>
                      <a:pt x="2177" y="949"/>
                    </a:lnTo>
                    <a:lnTo>
                      <a:pt x="2177" y="941"/>
                    </a:lnTo>
                    <a:lnTo>
                      <a:pt x="2177" y="941"/>
                    </a:lnTo>
                    <a:lnTo>
                      <a:pt x="2175" y="938"/>
                    </a:lnTo>
                    <a:lnTo>
                      <a:pt x="2174" y="937"/>
                    </a:lnTo>
                    <a:lnTo>
                      <a:pt x="2167" y="937"/>
                    </a:lnTo>
                    <a:lnTo>
                      <a:pt x="2167" y="937"/>
                    </a:lnTo>
                    <a:lnTo>
                      <a:pt x="2165" y="936"/>
                    </a:lnTo>
                    <a:lnTo>
                      <a:pt x="2162" y="933"/>
                    </a:lnTo>
                    <a:lnTo>
                      <a:pt x="2161" y="923"/>
                    </a:lnTo>
                    <a:lnTo>
                      <a:pt x="2161" y="923"/>
                    </a:lnTo>
                    <a:lnTo>
                      <a:pt x="2162" y="918"/>
                    </a:lnTo>
                    <a:lnTo>
                      <a:pt x="2165" y="915"/>
                    </a:lnTo>
                    <a:lnTo>
                      <a:pt x="2171" y="911"/>
                    </a:lnTo>
                    <a:lnTo>
                      <a:pt x="2171" y="911"/>
                    </a:lnTo>
                    <a:lnTo>
                      <a:pt x="2171" y="909"/>
                    </a:lnTo>
                    <a:lnTo>
                      <a:pt x="2171" y="908"/>
                    </a:lnTo>
                    <a:lnTo>
                      <a:pt x="2169" y="904"/>
                    </a:lnTo>
                    <a:lnTo>
                      <a:pt x="2167" y="901"/>
                    </a:lnTo>
                    <a:lnTo>
                      <a:pt x="2162" y="899"/>
                    </a:lnTo>
                    <a:lnTo>
                      <a:pt x="2162" y="899"/>
                    </a:lnTo>
                    <a:lnTo>
                      <a:pt x="2161" y="899"/>
                    </a:lnTo>
                    <a:lnTo>
                      <a:pt x="2159" y="899"/>
                    </a:lnTo>
                    <a:lnTo>
                      <a:pt x="2159" y="896"/>
                    </a:lnTo>
                    <a:lnTo>
                      <a:pt x="2161" y="895"/>
                    </a:lnTo>
                    <a:lnTo>
                      <a:pt x="2161" y="895"/>
                    </a:lnTo>
                    <a:lnTo>
                      <a:pt x="2161" y="892"/>
                    </a:lnTo>
                    <a:lnTo>
                      <a:pt x="2161" y="888"/>
                    </a:lnTo>
                    <a:lnTo>
                      <a:pt x="2159" y="882"/>
                    </a:lnTo>
                    <a:lnTo>
                      <a:pt x="2161" y="879"/>
                    </a:lnTo>
                    <a:lnTo>
                      <a:pt x="2161" y="879"/>
                    </a:lnTo>
                    <a:lnTo>
                      <a:pt x="2167" y="867"/>
                    </a:lnTo>
                    <a:lnTo>
                      <a:pt x="2171" y="862"/>
                    </a:lnTo>
                    <a:lnTo>
                      <a:pt x="2174" y="857"/>
                    </a:lnTo>
                    <a:lnTo>
                      <a:pt x="2174" y="857"/>
                    </a:lnTo>
                    <a:lnTo>
                      <a:pt x="2177" y="856"/>
                    </a:lnTo>
                    <a:lnTo>
                      <a:pt x="2178" y="853"/>
                    </a:lnTo>
                    <a:lnTo>
                      <a:pt x="2180" y="847"/>
                    </a:lnTo>
                    <a:lnTo>
                      <a:pt x="2180" y="847"/>
                    </a:lnTo>
                    <a:lnTo>
                      <a:pt x="2180" y="844"/>
                    </a:lnTo>
                    <a:lnTo>
                      <a:pt x="2182" y="841"/>
                    </a:lnTo>
                    <a:lnTo>
                      <a:pt x="2188" y="839"/>
                    </a:lnTo>
                    <a:lnTo>
                      <a:pt x="2188" y="839"/>
                    </a:lnTo>
                    <a:lnTo>
                      <a:pt x="2191" y="839"/>
                    </a:lnTo>
                    <a:lnTo>
                      <a:pt x="2193" y="839"/>
                    </a:lnTo>
                    <a:lnTo>
                      <a:pt x="2197" y="840"/>
                    </a:lnTo>
                    <a:lnTo>
                      <a:pt x="2197" y="840"/>
                    </a:lnTo>
                    <a:lnTo>
                      <a:pt x="2198" y="840"/>
                    </a:lnTo>
                    <a:lnTo>
                      <a:pt x="2200" y="839"/>
                    </a:lnTo>
                    <a:lnTo>
                      <a:pt x="2200" y="836"/>
                    </a:lnTo>
                    <a:lnTo>
                      <a:pt x="2201" y="833"/>
                    </a:lnTo>
                    <a:lnTo>
                      <a:pt x="2201" y="833"/>
                    </a:lnTo>
                    <a:lnTo>
                      <a:pt x="2204" y="830"/>
                    </a:lnTo>
                    <a:lnTo>
                      <a:pt x="2209" y="827"/>
                    </a:lnTo>
                    <a:lnTo>
                      <a:pt x="2217" y="824"/>
                    </a:lnTo>
                    <a:lnTo>
                      <a:pt x="2217" y="824"/>
                    </a:lnTo>
                    <a:lnTo>
                      <a:pt x="2219" y="825"/>
                    </a:lnTo>
                    <a:lnTo>
                      <a:pt x="2219" y="825"/>
                    </a:lnTo>
                    <a:lnTo>
                      <a:pt x="2217" y="830"/>
                    </a:lnTo>
                    <a:lnTo>
                      <a:pt x="2217" y="833"/>
                    </a:lnTo>
                    <a:lnTo>
                      <a:pt x="2217" y="836"/>
                    </a:lnTo>
                    <a:lnTo>
                      <a:pt x="2217" y="836"/>
                    </a:lnTo>
                    <a:lnTo>
                      <a:pt x="2219" y="836"/>
                    </a:lnTo>
                    <a:lnTo>
                      <a:pt x="2220" y="836"/>
                    </a:lnTo>
                    <a:lnTo>
                      <a:pt x="2226" y="831"/>
                    </a:lnTo>
                    <a:lnTo>
                      <a:pt x="2235" y="823"/>
                    </a:lnTo>
                    <a:lnTo>
                      <a:pt x="2235" y="823"/>
                    </a:lnTo>
                    <a:lnTo>
                      <a:pt x="2239" y="820"/>
                    </a:lnTo>
                    <a:lnTo>
                      <a:pt x="2240" y="815"/>
                    </a:lnTo>
                    <a:lnTo>
                      <a:pt x="2240" y="815"/>
                    </a:lnTo>
                    <a:lnTo>
                      <a:pt x="2243" y="814"/>
                    </a:lnTo>
                    <a:lnTo>
                      <a:pt x="2246" y="812"/>
                    </a:lnTo>
                    <a:lnTo>
                      <a:pt x="2255" y="812"/>
                    </a:lnTo>
                    <a:lnTo>
                      <a:pt x="2255" y="812"/>
                    </a:lnTo>
                    <a:lnTo>
                      <a:pt x="2258" y="815"/>
                    </a:lnTo>
                    <a:lnTo>
                      <a:pt x="2261" y="818"/>
                    </a:lnTo>
                    <a:lnTo>
                      <a:pt x="2264" y="828"/>
                    </a:lnTo>
                    <a:lnTo>
                      <a:pt x="2264" y="828"/>
                    </a:lnTo>
                    <a:lnTo>
                      <a:pt x="2265" y="831"/>
                    </a:lnTo>
                    <a:lnTo>
                      <a:pt x="2268" y="831"/>
                    </a:lnTo>
                    <a:lnTo>
                      <a:pt x="2271" y="830"/>
                    </a:lnTo>
                    <a:lnTo>
                      <a:pt x="2272" y="827"/>
                    </a:lnTo>
                    <a:lnTo>
                      <a:pt x="2272" y="827"/>
                    </a:lnTo>
                    <a:lnTo>
                      <a:pt x="2277" y="820"/>
                    </a:lnTo>
                    <a:lnTo>
                      <a:pt x="2281" y="814"/>
                    </a:lnTo>
                    <a:lnTo>
                      <a:pt x="2281" y="814"/>
                    </a:lnTo>
                    <a:lnTo>
                      <a:pt x="2285" y="811"/>
                    </a:lnTo>
                    <a:lnTo>
                      <a:pt x="2291" y="810"/>
                    </a:lnTo>
                    <a:lnTo>
                      <a:pt x="2291" y="810"/>
                    </a:lnTo>
                    <a:lnTo>
                      <a:pt x="2291" y="808"/>
                    </a:lnTo>
                    <a:lnTo>
                      <a:pt x="2291" y="805"/>
                    </a:lnTo>
                    <a:lnTo>
                      <a:pt x="2293" y="799"/>
                    </a:lnTo>
                    <a:lnTo>
                      <a:pt x="2293" y="799"/>
                    </a:lnTo>
                    <a:lnTo>
                      <a:pt x="2294" y="798"/>
                    </a:lnTo>
                    <a:lnTo>
                      <a:pt x="2295" y="798"/>
                    </a:lnTo>
                    <a:lnTo>
                      <a:pt x="2298" y="799"/>
                    </a:lnTo>
                    <a:lnTo>
                      <a:pt x="2301" y="799"/>
                    </a:lnTo>
                    <a:lnTo>
                      <a:pt x="2301" y="799"/>
                    </a:lnTo>
                    <a:lnTo>
                      <a:pt x="2301" y="798"/>
                    </a:lnTo>
                    <a:lnTo>
                      <a:pt x="2301" y="795"/>
                    </a:lnTo>
                    <a:lnTo>
                      <a:pt x="2298" y="789"/>
                    </a:lnTo>
                    <a:lnTo>
                      <a:pt x="2298" y="789"/>
                    </a:lnTo>
                    <a:lnTo>
                      <a:pt x="2298" y="789"/>
                    </a:lnTo>
                    <a:lnTo>
                      <a:pt x="2300" y="789"/>
                    </a:lnTo>
                    <a:lnTo>
                      <a:pt x="2304" y="791"/>
                    </a:lnTo>
                    <a:lnTo>
                      <a:pt x="2304" y="791"/>
                    </a:lnTo>
                    <a:lnTo>
                      <a:pt x="2308" y="788"/>
                    </a:lnTo>
                    <a:lnTo>
                      <a:pt x="2313" y="783"/>
                    </a:lnTo>
                    <a:lnTo>
                      <a:pt x="2313" y="783"/>
                    </a:lnTo>
                    <a:lnTo>
                      <a:pt x="2314" y="783"/>
                    </a:lnTo>
                    <a:lnTo>
                      <a:pt x="2316" y="783"/>
                    </a:lnTo>
                    <a:lnTo>
                      <a:pt x="2319" y="785"/>
                    </a:lnTo>
                    <a:lnTo>
                      <a:pt x="2319" y="785"/>
                    </a:lnTo>
                    <a:lnTo>
                      <a:pt x="2320" y="783"/>
                    </a:lnTo>
                    <a:lnTo>
                      <a:pt x="2326" y="778"/>
                    </a:lnTo>
                    <a:lnTo>
                      <a:pt x="2335" y="769"/>
                    </a:lnTo>
                    <a:lnTo>
                      <a:pt x="2346" y="757"/>
                    </a:lnTo>
                    <a:lnTo>
                      <a:pt x="2346" y="757"/>
                    </a:lnTo>
                    <a:lnTo>
                      <a:pt x="2353" y="752"/>
                    </a:lnTo>
                    <a:lnTo>
                      <a:pt x="2361" y="747"/>
                    </a:lnTo>
                    <a:lnTo>
                      <a:pt x="2374" y="743"/>
                    </a:lnTo>
                    <a:lnTo>
                      <a:pt x="2384" y="741"/>
                    </a:lnTo>
                    <a:lnTo>
                      <a:pt x="2390" y="741"/>
                    </a:lnTo>
                    <a:lnTo>
                      <a:pt x="2390" y="741"/>
                    </a:lnTo>
                    <a:lnTo>
                      <a:pt x="2392" y="741"/>
                    </a:lnTo>
                    <a:lnTo>
                      <a:pt x="2395" y="741"/>
                    </a:lnTo>
                    <a:lnTo>
                      <a:pt x="2403" y="746"/>
                    </a:lnTo>
                    <a:lnTo>
                      <a:pt x="2403" y="746"/>
                    </a:lnTo>
                    <a:lnTo>
                      <a:pt x="2407" y="747"/>
                    </a:lnTo>
                    <a:lnTo>
                      <a:pt x="2410" y="746"/>
                    </a:lnTo>
                    <a:lnTo>
                      <a:pt x="2414" y="741"/>
                    </a:lnTo>
                    <a:lnTo>
                      <a:pt x="2414" y="741"/>
                    </a:lnTo>
                    <a:lnTo>
                      <a:pt x="2416" y="740"/>
                    </a:lnTo>
                    <a:lnTo>
                      <a:pt x="2417" y="737"/>
                    </a:lnTo>
                    <a:lnTo>
                      <a:pt x="2417" y="731"/>
                    </a:lnTo>
                    <a:lnTo>
                      <a:pt x="2417" y="731"/>
                    </a:lnTo>
                    <a:lnTo>
                      <a:pt x="2416" y="723"/>
                    </a:lnTo>
                    <a:lnTo>
                      <a:pt x="2414" y="718"/>
                    </a:lnTo>
                    <a:lnTo>
                      <a:pt x="2411" y="715"/>
                    </a:lnTo>
                    <a:lnTo>
                      <a:pt x="2411" y="715"/>
                    </a:lnTo>
                    <a:lnTo>
                      <a:pt x="2408" y="714"/>
                    </a:lnTo>
                    <a:lnTo>
                      <a:pt x="2407" y="711"/>
                    </a:lnTo>
                    <a:lnTo>
                      <a:pt x="2405" y="707"/>
                    </a:lnTo>
                    <a:lnTo>
                      <a:pt x="2403" y="705"/>
                    </a:lnTo>
                    <a:lnTo>
                      <a:pt x="2403" y="705"/>
                    </a:lnTo>
                    <a:lnTo>
                      <a:pt x="2398" y="704"/>
                    </a:lnTo>
                    <a:lnTo>
                      <a:pt x="2398" y="701"/>
                    </a:lnTo>
                    <a:lnTo>
                      <a:pt x="2398" y="694"/>
                    </a:lnTo>
                    <a:lnTo>
                      <a:pt x="2398" y="694"/>
                    </a:lnTo>
                    <a:lnTo>
                      <a:pt x="2398" y="692"/>
                    </a:lnTo>
                    <a:lnTo>
                      <a:pt x="2397" y="692"/>
                    </a:lnTo>
                    <a:lnTo>
                      <a:pt x="2394" y="697"/>
                    </a:lnTo>
                    <a:lnTo>
                      <a:pt x="2394" y="697"/>
                    </a:lnTo>
                    <a:lnTo>
                      <a:pt x="2390" y="699"/>
                    </a:lnTo>
                    <a:lnTo>
                      <a:pt x="2381" y="698"/>
                    </a:lnTo>
                    <a:lnTo>
                      <a:pt x="2381" y="698"/>
                    </a:lnTo>
                    <a:lnTo>
                      <a:pt x="2378" y="697"/>
                    </a:lnTo>
                    <a:lnTo>
                      <a:pt x="2377" y="694"/>
                    </a:lnTo>
                    <a:lnTo>
                      <a:pt x="2375" y="691"/>
                    </a:lnTo>
                    <a:lnTo>
                      <a:pt x="2375" y="688"/>
                    </a:lnTo>
                    <a:lnTo>
                      <a:pt x="2377" y="681"/>
                    </a:lnTo>
                    <a:lnTo>
                      <a:pt x="2379" y="675"/>
                    </a:lnTo>
                    <a:lnTo>
                      <a:pt x="2379" y="675"/>
                    </a:lnTo>
                    <a:lnTo>
                      <a:pt x="2379" y="672"/>
                    </a:lnTo>
                    <a:lnTo>
                      <a:pt x="2379" y="670"/>
                    </a:lnTo>
                    <a:lnTo>
                      <a:pt x="2377" y="669"/>
                    </a:lnTo>
                    <a:lnTo>
                      <a:pt x="2372" y="668"/>
                    </a:lnTo>
                    <a:lnTo>
                      <a:pt x="2372" y="668"/>
                    </a:lnTo>
                    <a:lnTo>
                      <a:pt x="2369" y="665"/>
                    </a:lnTo>
                    <a:lnTo>
                      <a:pt x="2369" y="663"/>
                    </a:lnTo>
                    <a:lnTo>
                      <a:pt x="2372" y="662"/>
                    </a:lnTo>
                    <a:lnTo>
                      <a:pt x="2375" y="660"/>
                    </a:lnTo>
                    <a:lnTo>
                      <a:pt x="2375" y="660"/>
                    </a:lnTo>
                    <a:lnTo>
                      <a:pt x="2382" y="662"/>
                    </a:lnTo>
                    <a:lnTo>
                      <a:pt x="2391" y="663"/>
                    </a:lnTo>
                    <a:lnTo>
                      <a:pt x="2391" y="663"/>
                    </a:lnTo>
                    <a:lnTo>
                      <a:pt x="2394" y="665"/>
                    </a:lnTo>
                    <a:lnTo>
                      <a:pt x="2397" y="666"/>
                    </a:lnTo>
                    <a:lnTo>
                      <a:pt x="2400" y="666"/>
                    </a:lnTo>
                    <a:lnTo>
                      <a:pt x="2403" y="666"/>
                    </a:lnTo>
                    <a:lnTo>
                      <a:pt x="2403" y="666"/>
                    </a:lnTo>
                    <a:lnTo>
                      <a:pt x="2414" y="663"/>
                    </a:lnTo>
                    <a:lnTo>
                      <a:pt x="2426" y="657"/>
                    </a:lnTo>
                    <a:lnTo>
                      <a:pt x="2426" y="657"/>
                    </a:lnTo>
                    <a:lnTo>
                      <a:pt x="2430" y="653"/>
                    </a:lnTo>
                    <a:lnTo>
                      <a:pt x="2433" y="647"/>
                    </a:lnTo>
                    <a:lnTo>
                      <a:pt x="2434" y="642"/>
                    </a:lnTo>
                    <a:lnTo>
                      <a:pt x="2436" y="637"/>
                    </a:lnTo>
                    <a:lnTo>
                      <a:pt x="2436" y="637"/>
                    </a:lnTo>
                    <a:lnTo>
                      <a:pt x="2434" y="633"/>
                    </a:lnTo>
                    <a:lnTo>
                      <a:pt x="2433" y="630"/>
                    </a:lnTo>
                    <a:lnTo>
                      <a:pt x="2433" y="630"/>
                    </a:lnTo>
                    <a:lnTo>
                      <a:pt x="2432" y="627"/>
                    </a:lnTo>
                    <a:lnTo>
                      <a:pt x="2433" y="620"/>
                    </a:lnTo>
                    <a:lnTo>
                      <a:pt x="2436" y="608"/>
                    </a:lnTo>
                    <a:lnTo>
                      <a:pt x="2436" y="608"/>
                    </a:lnTo>
                    <a:lnTo>
                      <a:pt x="2437" y="608"/>
                    </a:lnTo>
                    <a:lnTo>
                      <a:pt x="2439" y="608"/>
                    </a:lnTo>
                    <a:lnTo>
                      <a:pt x="2443" y="613"/>
                    </a:lnTo>
                    <a:lnTo>
                      <a:pt x="2443" y="613"/>
                    </a:lnTo>
                    <a:lnTo>
                      <a:pt x="2446" y="615"/>
                    </a:lnTo>
                    <a:lnTo>
                      <a:pt x="2446" y="617"/>
                    </a:lnTo>
                    <a:lnTo>
                      <a:pt x="2445" y="618"/>
                    </a:lnTo>
                    <a:lnTo>
                      <a:pt x="2445" y="618"/>
                    </a:lnTo>
                    <a:lnTo>
                      <a:pt x="2443" y="621"/>
                    </a:lnTo>
                    <a:lnTo>
                      <a:pt x="2443" y="623"/>
                    </a:lnTo>
                    <a:lnTo>
                      <a:pt x="2445" y="628"/>
                    </a:lnTo>
                    <a:lnTo>
                      <a:pt x="2445" y="628"/>
                    </a:lnTo>
                    <a:lnTo>
                      <a:pt x="2447" y="634"/>
                    </a:lnTo>
                    <a:lnTo>
                      <a:pt x="2453" y="637"/>
                    </a:lnTo>
                    <a:lnTo>
                      <a:pt x="2453" y="637"/>
                    </a:lnTo>
                    <a:lnTo>
                      <a:pt x="2459" y="639"/>
                    </a:lnTo>
                    <a:lnTo>
                      <a:pt x="2469" y="640"/>
                    </a:lnTo>
                    <a:lnTo>
                      <a:pt x="2485" y="640"/>
                    </a:lnTo>
                    <a:lnTo>
                      <a:pt x="2485" y="640"/>
                    </a:lnTo>
                    <a:lnTo>
                      <a:pt x="2488" y="643"/>
                    </a:lnTo>
                    <a:lnTo>
                      <a:pt x="2491" y="647"/>
                    </a:lnTo>
                    <a:lnTo>
                      <a:pt x="2492" y="652"/>
                    </a:lnTo>
                    <a:lnTo>
                      <a:pt x="2492" y="655"/>
                    </a:lnTo>
                    <a:lnTo>
                      <a:pt x="2491" y="656"/>
                    </a:lnTo>
                    <a:lnTo>
                      <a:pt x="2491" y="656"/>
                    </a:lnTo>
                    <a:lnTo>
                      <a:pt x="2489" y="659"/>
                    </a:lnTo>
                    <a:lnTo>
                      <a:pt x="2491" y="662"/>
                    </a:lnTo>
                    <a:lnTo>
                      <a:pt x="2494" y="665"/>
                    </a:lnTo>
                    <a:lnTo>
                      <a:pt x="2495" y="666"/>
                    </a:lnTo>
                    <a:lnTo>
                      <a:pt x="2495" y="666"/>
                    </a:lnTo>
                    <a:lnTo>
                      <a:pt x="2500" y="668"/>
                    </a:lnTo>
                    <a:lnTo>
                      <a:pt x="2507" y="669"/>
                    </a:lnTo>
                    <a:lnTo>
                      <a:pt x="2520" y="670"/>
                    </a:lnTo>
                    <a:lnTo>
                      <a:pt x="2520" y="670"/>
                    </a:lnTo>
                    <a:lnTo>
                      <a:pt x="2523" y="673"/>
                    </a:lnTo>
                    <a:lnTo>
                      <a:pt x="2526" y="676"/>
                    </a:lnTo>
                    <a:lnTo>
                      <a:pt x="2529" y="679"/>
                    </a:lnTo>
                    <a:lnTo>
                      <a:pt x="2533" y="681"/>
                    </a:lnTo>
                    <a:lnTo>
                      <a:pt x="2533" y="681"/>
                    </a:lnTo>
                    <a:lnTo>
                      <a:pt x="2539" y="681"/>
                    </a:lnTo>
                    <a:lnTo>
                      <a:pt x="2545" y="679"/>
                    </a:lnTo>
                    <a:lnTo>
                      <a:pt x="2549" y="676"/>
                    </a:lnTo>
                    <a:lnTo>
                      <a:pt x="2550" y="673"/>
                    </a:lnTo>
                    <a:lnTo>
                      <a:pt x="2550" y="673"/>
                    </a:lnTo>
                    <a:lnTo>
                      <a:pt x="2549" y="670"/>
                    </a:lnTo>
                    <a:lnTo>
                      <a:pt x="2547" y="669"/>
                    </a:lnTo>
                    <a:lnTo>
                      <a:pt x="2545" y="669"/>
                    </a:lnTo>
                    <a:lnTo>
                      <a:pt x="2542" y="669"/>
                    </a:lnTo>
                    <a:lnTo>
                      <a:pt x="2542" y="669"/>
                    </a:lnTo>
                    <a:lnTo>
                      <a:pt x="2540" y="670"/>
                    </a:lnTo>
                    <a:lnTo>
                      <a:pt x="2539" y="669"/>
                    </a:lnTo>
                    <a:lnTo>
                      <a:pt x="2537" y="665"/>
                    </a:lnTo>
                    <a:lnTo>
                      <a:pt x="2537" y="665"/>
                    </a:lnTo>
                    <a:lnTo>
                      <a:pt x="2537" y="663"/>
                    </a:lnTo>
                    <a:lnTo>
                      <a:pt x="2540" y="662"/>
                    </a:lnTo>
                    <a:lnTo>
                      <a:pt x="2546" y="660"/>
                    </a:lnTo>
                    <a:lnTo>
                      <a:pt x="2546" y="660"/>
                    </a:lnTo>
                    <a:lnTo>
                      <a:pt x="2549" y="657"/>
                    </a:lnTo>
                    <a:lnTo>
                      <a:pt x="2549" y="653"/>
                    </a:lnTo>
                    <a:lnTo>
                      <a:pt x="2547" y="646"/>
                    </a:lnTo>
                    <a:lnTo>
                      <a:pt x="2547" y="646"/>
                    </a:lnTo>
                    <a:lnTo>
                      <a:pt x="2546" y="639"/>
                    </a:lnTo>
                    <a:lnTo>
                      <a:pt x="2546" y="636"/>
                    </a:lnTo>
                    <a:lnTo>
                      <a:pt x="2546" y="636"/>
                    </a:lnTo>
                    <a:lnTo>
                      <a:pt x="2546" y="636"/>
                    </a:lnTo>
                    <a:lnTo>
                      <a:pt x="2553" y="637"/>
                    </a:lnTo>
                    <a:lnTo>
                      <a:pt x="2563" y="637"/>
                    </a:lnTo>
                    <a:lnTo>
                      <a:pt x="2563" y="637"/>
                    </a:lnTo>
                    <a:lnTo>
                      <a:pt x="2565" y="637"/>
                    </a:lnTo>
                    <a:lnTo>
                      <a:pt x="2565" y="634"/>
                    </a:lnTo>
                    <a:lnTo>
                      <a:pt x="2563" y="628"/>
                    </a:lnTo>
                    <a:lnTo>
                      <a:pt x="2563" y="628"/>
                    </a:lnTo>
                    <a:lnTo>
                      <a:pt x="2563" y="627"/>
                    </a:lnTo>
                    <a:lnTo>
                      <a:pt x="2563" y="627"/>
                    </a:lnTo>
                    <a:lnTo>
                      <a:pt x="2566" y="628"/>
                    </a:lnTo>
                    <a:lnTo>
                      <a:pt x="2573" y="636"/>
                    </a:lnTo>
                    <a:lnTo>
                      <a:pt x="2573" y="636"/>
                    </a:lnTo>
                    <a:lnTo>
                      <a:pt x="2576" y="636"/>
                    </a:lnTo>
                    <a:lnTo>
                      <a:pt x="2576" y="634"/>
                    </a:lnTo>
                    <a:lnTo>
                      <a:pt x="2579" y="627"/>
                    </a:lnTo>
                    <a:lnTo>
                      <a:pt x="2579" y="627"/>
                    </a:lnTo>
                    <a:lnTo>
                      <a:pt x="2582" y="621"/>
                    </a:lnTo>
                    <a:lnTo>
                      <a:pt x="2588" y="618"/>
                    </a:lnTo>
                    <a:lnTo>
                      <a:pt x="2588" y="618"/>
                    </a:lnTo>
                    <a:lnTo>
                      <a:pt x="2589" y="617"/>
                    </a:lnTo>
                    <a:lnTo>
                      <a:pt x="2589" y="615"/>
                    </a:lnTo>
                    <a:lnTo>
                      <a:pt x="2587" y="613"/>
                    </a:lnTo>
                    <a:lnTo>
                      <a:pt x="2581" y="611"/>
                    </a:lnTo>
                    <a:close/>
                    <a:moveTo>
                      <a:pt x="685" y="494"/>
                    </a:moveTo>
                    <a:lnTo>
                      <a:pt x="685" y="494"/>
                    </a:lnTo>
                    <a:lnTo>
                      <a:pt x="683" y="492"/>
                    </a:lnTo>
                    <a:lnTo>
                      <a:pt x="683" y="491"/>
                    </a:lnTo>
                    <a:lnTo>
                      <a:pt x="683" y="488"/>
                    </a:lnTo>
                    <a:lnTo>
                      <a:pt x="683" y="488"/>
                    </a:lnTo>
                    <a:lnTo>
                      <a:pt x="681" y="482"/>
                    </a:lnTo>
                    <a:lnTo>
                      <a:pt x="681" y="481"/>
                    </a:lnTo>
                    <a:lnTo>
                      <a:pt x="682" y="479"/>
                    </a:lnTo>
                    <a:lnTo>
                      <a:pt x="682" y="479"/>
                    </a:lnTo>
                    <a:lnTo>
                      <a:pt x="685" y="479"/>
                    </a:lnTo>
                    <a:lnTo>
                      <a:pt x="689" y="481"/>
                    </a:lnTo>
                    <a:lnTo>
                      <a:pt x="694" y="484"/>
                    </a:lnTo>
                    <a:lnTo>
                      <a:pt x="695" y="485"/>
                    </a:lnTo>
                    <a:lnTo>
                      <a:pt x="695" y="485"/>
                    </a:lnTo>
                    <a:lnTo>
                      <a:pt x="694" y="489"/>
                    </a:lnTo>
                    <a:lnTo>
                      <a:pt x="691" y="492"/>
                    </a:lnTo>
                    <a:lnTo>
                      <a:pt x="688" y="494"/>
                    </a:lnTo>
                    <a:lnTo>
                      <a:pt x="685" y="494"/>
                    </a:lnTo>
                    <a:close/>
                    <a:moveTo>
                      <a:pt x="678" y="404"/>
                    </a:moveTo>
                    <a:lnTo>
                      <a:pt x="678" y="404"/>
                    </a:lnTo>
                    <a:lnTo>
                      <a:pt x="679" y="403"/>
                    </a:lnTo>
                    <a:lnTo>
                      <a:pt x="683" y="401"/>
                    </a:lnTo>
                    <a:lnTo>
                      <a:pt x="688" y="400"/>
                    </a:lnTo>
                    <a:lnTo>
                      <a:pt x="691" y="398"/>
                    </a:lnTo>
                    <a:lnTo>
                      <a:pt x="691" y="398"/>
                    </a:lnTo>
                    <a:lnTo>
                      <a:pt x="694" y="397"/>
                    </a:lnTo>
                    <a:lnTo>
                      <a:pt x="698" y="397"/>
                    </a:lnTo>
                    <a:lnTo>
                      <a:pt x="702" y="400"/>
                    </a:lnTo>
                    <a:lnTo>
                      <a:pt x="704" y="403"/>
                    </a:lnTo>
                    <a:lnTo>
                      <a:pt x="704" y="403"/>
                    </a:lnTo>
                    <a:lnTo>
                      <a:pt x="702" y="407"/>
                    </a:lnTo>
                    <a:lnTo>
                      <a:pt x="696" y="413"/>
                    </a:lnTo>
                    <a:lnTo>
                      <a:pt x="691" y="417"/>
                    </a:lnTo>
                    <a:lnTo>
                      <a:pt x="686" y="418"/>
                    </a:lnTo>
                    <a:lnTo>
                      <a:pt x="686" y="418"/>
                    </a:lnTo>
                    <a:lnTo>
                      <a:pt x="683" y="416"/>
                    </a:lnTo>
                    <a:lnTo>
                      <a:pt x="679" y="413"/>
                    </a:lnTo>
                    <a:lnTo>
                      <a:pt x="676" y="408"/>
                    </a:lnTo>
                    <a:lnTo>
                      <a:pt x="676" y="405"/>
                    </a:lnTo>
                    <a:lnTo>
                      <a:pt x="678" y="404"/>
                    </a:lnTo>
                    <a:close/>
                    <a:moveTo>
                      <a:pt x="53" y="891"/>
                    </a:moveTo>
                    <a:lnTo>
                      <a:pt x="53" y="891"/>
                    </a:lnTo>
                    <a:lnTo>
                      <a:pt x="53" y="889"/>
                    </a:lnTo>
                    <a:lnTo>
                      <a:pt x="53" y="888"/>
                    </a:lnTo>
                    <a:lnTo>
                      <a:pt x="59" y="883"/>
                    </a:lnTo>
                    <a:lnTo>
                      <a:pt x="59" y="883"/>
                    </a:lnTo>
                    <a:lnTo>
                      <a:pt x="61" y="883"/>
                    </a:lnTo>
                    <a:lnTo>
                      <a:pt x="62" y="885"/>
                    </a:lnTo>
                    <a:lnTo>
                      <a:pt x="64" y="886"/>
                    </a:lnTo>
                    <a:lnTo>
                      <a:pt x="64" y="886"/>
                    </a:lnTo>
                    <a:lnTo>
                      <a:pt x="62" y="889"/>
                    </a:lnTo>
                    <a:lnTo>
                      <a:pt x="59" y="891"/>
                    </a:lnTo>
                    <a:lnTo>
                      <a:pt x="56" y="892"/>
                    </a:lnTo>
                    <a:lnTo>
                      <a:pt x="53" y="891"/>
                    </a:lnTo>
                    <a:close/>
                    <a:moveTo>
                      <a:pt x="82" y="820"/>
                    </a:moveTo>
                    <a:lnTo>
                      <a:pt x="82" y="820"/>
                    </a:lnTo>
                    <a:lnTo>
                      <a:pt x="81" y="821"/>
                    </a:lnTo>
                    <a:lnTo>
                      <a:pt x="79" y="825"/>
                    </a:lnTo>
                    <a:lnTo>
                      <a:pt x="78" y="830"/>
                    </a:lnTo>
                    <a:lnTo>
                      <a:pt x="78" y="830"/>
                    </a:lnTo>
                    <a:lnTo>
                      <a:pt x="75" y="828"/>
                    </a:lnTo>
                    <a:lnTo>
                      <a:pt x="74" y="827"/>
                    </a:lnTo>
                    <a:lnTo>
                      <a:pt x="72" y="827"/>
                    </a:lnTo>
                    <a:lnTo>
                      <a:pt x="72" y="827"/>
                    </a:lnTo>
                    <a:lnTo>
                      <a:pt x="66" y="827"/>
                    </a:lnTo>
                    <a:lnTo>
                      <a:pt x="65" y="828"/>
                    </a:lnTo>
                    <a:lnTo>
                      <a:pt x="64" y="831"/>
                    </a:lnTo>
                    <a:lnTo>
                      <a:pt x="64" y="831"/>
                    </a:lnTo>
                    <a:lnTo>
                      <a:pt x="64" y="833"/>
                    </a:lnTo>
                    <a:lnTo>
                      <a:pt x="62" y="834"/>
                    </a:lnTo>
                    <a:lnTo>
                      <a:pt x="61" y="834"/>
                    </a:lnTo>
                    <a:lnTo>
                      <a:pt x="58" y="834"/>
                    </a:lnTo>
                    <a:lnTo>
                      <a:pt x="58" y="834"/>
                    </a:lnTo>
                    <a:lnTo>
                      <a:pt x="53" y="830"/>
                    </a:lnTo>
                    <a:lnTo>
                      <a:pt x="52" y="827"/>
                    </a:lnTo>
                    <a:lnTo>
                      <a:pt x="50" y="824"/>
                    </a:lnTo>
                    <a:lnTo>
                      <a:pt x="50" y="824"/>
                    </a:lnTo>
                    <a:lnTo>
                      <a:pt x="49" y="818"/>
                    </a:lnTo>
                    <a:lnTo>
                      <a:pt x="43" y="811"/>
                    </a:lnTo>
                    <a:lnTo>
                      <a:pt x="39" y="805"/>
                    </a:lnTo>
                    <a:lnTo>
                      <a:pt x="36" y="801"/>
                    </a:lnTo>
                    <a:lnTo>
                      <a:pt x="36" y="801"/>
                    </a:lnTo>
                    <a:lnTo>
                      <a:pt x="37" y="792"/>
                    </a:lnTo>
                    <a:lnTo>
                      <a:pt x="39" y="788"/>
                    </a:lnTo>
                    <a:lnTo>
                      <a:pt x="40" y="785"/>
                    </a:lnTo>
                    <a:lnTo>
                      <a:pt x="40" y="785"/>
                    </a:lnTo>
                    <a:lnTo>
                      <a:pt x="46" y="781"/>
                    </a:lnTo>
                    <a:lnTo>
                      <a:pt x="49" y="779"/>
                    </a:lnTo>
                    <a:lnTo>
                      <a:pt x="52" y="779"/>
                    </a:lnTo>
                    <a:lnTo>
                      <a:pt x="52" y="779"/>
                    </a:lnTo>
                    <a:lnTo>
                      <a:pt x="56" y="781"/>
                    </a:lnTo>
                    <a:lnTo>
                      <a:pt x="61" y="783"/>
                    </a:lnTo>
                    <a:lnTo>
                      <a:pt x="68" y="789"/>
                    </a:lnTo>
                    <a:lnTo>
                      <a:pt x="68" y="789"/>
                    </a:lnTo>
                    <a:lnTo>
                      <a:pt x="77" y="802"/>
                    </a:lnTo>
                    <a:lnTo>
                      <a:pt x="84" y="814"/>
                    </a:lnTo>
                    <a:lnTo>
                      <a:pt x="84" y="814"/>
                    </a:lnTo>
                    <a:lnTo>
                      <a:pt x="84" y="818"/>
                    </a:lnTo>
                    <a:lnTo>
                      <a:pt x="82" y="820"/>
                    </a:lnTo>
                    <a:close/>
                    <a:moveTo>
                      <a:pt x="181" y="788"/>
                    </a:moveTo>
                    <a:lnTo>
                      <a:pt x="181" y="788"/>
                    </a:lnTo>
                    <a:lnTo>
                      <a:pt x="181" y="789"/>
                    </a:lnTo>
                    <a:lnTo>
                      <a:pt x="179" y="792"/>
                    </a:lnTo>
                    <a:lnTo>
                      <a:pt x="176" y="794"/>
                    </a:lnTo>
                    <a:lnTo>
                      <a:pt x="175" y="795"/>
                    </a:lnTo>
                    <a:lnTo>
                      <a:pt x="175" y="795"/>
                    </a:lnTo>
                    <a:lnTo>
                      <a:pt x="174" y="792"/>
                    </a:lnTo>
                    <a:lnTo>
                      <a:pt x="172" y="788"/>
                    </a:lnTo>
                    <a:lnTo>
                      <a:pt x="174" y="786"/>
                    </a:lnTo>
                    <a:lnTo>
                      <a:pt x="175" y="786"/>
                    </a:lnTo>
                    <a:lnTo>
                      <a:pt x="176" y="786"/>
                    </a:lnTo>
                    <a:lnTo>
                      <a:pt x="181" y="788"/>
                    </a:lnTo>
                    <a:close/>
                    <a:moveTo>
                      <a:pt x="94" y="724"/>
                    </a:moveTo>
                    <a:lnTo>
                      <a:pt x="94" y="724"/>
                    </a:lnTo>
                    <a:lnTo>
                      <a:pt x="91" y="721"/>
                    </a:lnTo>
                    <a:lnTo>
                      <a:pt x="91" y="717"/>
                    </a:lnTo>
                    <a:lnTo>
                      <a:pt x="91" y="717"/>
                    </a:lnTo>
                    <a:lnTo>
                      <a:pt x="91" y="715"/>
                    </a:lnTo>
                    <a:lnTo>
                      <a:pt x="92" y="714"/>
                    </a:lnTo>
                    <a:lnTo>
                      <a:pt x="97" y="714"/>
                    </a:lnTo>
                    <a:lnTo>
                      <a:pt x="97" y="714"/>
                    </a:lnTo>
                    <a:lnTo>
                      <a:pt x="101" y="717"/>
                    </a:lnTo>
                    <a:lnTo>
                      <a:pt x="104" y="720"/>
                    </a:lnTo>
                    <a:lnTo>
                      <a:pt x="104" y="720"/>
                    </a:lnTo>
                    <a:lnTo>
                      <a:pt x="100" y="723"/>
                    </a:lnTo>
                    <a:lnTo>
                      <a:pt x="97" y="724"/>
                    </a:lnTo>
                    <a:lnTo>
                      <a:pt x="94" y="724"/>
                    </a:lnTo>
                    <a:close/>
                    <a:moveTo>
                      <a:pt x="139" y="792"/>
                    </a:moveTo>
                    <a:lnTo>
                      <a:pt x="139" y="792"/>
                    </a:lnTo>
                    <a:lnTo>
                      <a:pt x="133" y="801"/>
                    </a:lnTo>
                    <a:lnTo>
                      <a:pt x="129" y="804"/>
                    </a:lnTo>
                    <a:lnTo>
                      <a:pt x="129" y="804"/>
                    </a:lnTo>
                    <a:lnTo>
                      <a:pt x="127" y="804"/>
                    </a:lnTo>
                    <a:lnTo>
                      <a:pt x="126" y="802"/>
                    </a:lnTo>
                    <a:lnTo>
                      <a:pt x="126" y="798"/>
                    </a:lnTo>
                    <a:lnTo>
                      <a:pt x="126" y="798"/>
                    </a:lnTo>
                    <a:lnTo>
                      <a:pt x="126" y="795"/>
                    </a:lnTo>
                    <a:lnTo>
                      <a:pt x="124" y="792"/>
                    </a:lnTo>
                    <a:lnTo>
                      <a:pt x="121" y="789"/>
                    </a:lnTo>
                    <a:lnTo>
                      <a:pt x="117" y="786"/>
                    </a:lnTo>
                    <a:lnTo>
                      <a:pt x="117" y="786"/>
                    </a:lnTo>
                    <a:lnTo>
                      <a:pt x="107" y="779"/>
                    </a:lnTo>
                    <a:lnTo>
                      <a:pt x="103" y="776"/>
                    </a:lnTo>
                    <a:lnTo>
                      <a:pt x="103" y="775"/>
                    </a:lnTo>
                    <a:lnTo>
                      <a:pt x="103" y="773"/>
                    </a:lnTo>
                    <a:lnTo>
                      <a:pt x="103" y="773"/>
                    </a:lnTo>
                    <a:lnTo>
                      <a:pt x="104" y="772"/>
                    </a:lnTo>
                    <a:lnTo>
                      <a:pt x="106" y="772"/>
                    </a:lnTo>
                    <a:lnTo>
                      <a:pt x="107" y="772"/>
                    </a:lnTo>
                    <a:lnTo>
                      <a:pt x="108" y="769"/>
                    </a:lnTo>
                    <a:lnTo>
                      <a:pt x="108" y="769"/>
                    </a:lnTo>
                    <a:lnTo>
                      <a:pt x="108" y="766"/>
                    </a:lnTo>
                    <a:lnTo>
                      <a:pt x="107" y="763"/>
                    </a:lnTo>
                    <a:lnTo>
                      <a:pt x="106" y="762"/>
                    </a:lnTo>
                    <a:lnTo>
                      <a:pt x="106" y="759"/>
                    </a:lnTo>
                    <a:lnTo>
                      <a:pt x="106" y="759"/>
                    </a:lnTo>
                    <a:lnTo>
                      <a:pt x="106" y="757"/>
                    </a:lnTo>
                    <a:lnTo>
                      <a:pt x="108" y="756"/>
                    </a:lnTo>
                    <a:lnTo>
                      <a:pt x="111" y="754"/>
                    </a:lnTo>
                    <a:lnTo>
                      <a:pt x="111" y="754"/>
                    </a:lnTo>
                    <a:lnTo>
                      <a:pt x="110" y="750"/>
                    </a:lnTo>
                    <a:lnTo>
                      <a:pt x="110" y="749"/>
                    </a:lnTo>
                    <a:lnTo>
                      <a:pt x="111" y="749"/>
                    </a:lnTo>
                    <a:lnTo>
                      <a:pt x="111" y="749"/>
                    </a:lnTo>
                    <a:lnTo>
                      <a:pt x="114" y="752"/>
                    </a:lnTo>
                    <a:lnTo>
                      <a:pt x="119" y="756"/>
                    </a:lnTo>
                    <a:lnTo>
                      <a:pt x="123" y="759"/>
                    </a:lnTo>
                    <a:lnTo>
                      <a:pt x="124" y="760"/>
                    </a:lnTo>
                    <a:lnTo>
                      <a:pt x="124" y="759"/>
                    </a:lnTo>
                    <a:lnTo>
                      <a:pt x="124" y="759"/>
                    </a:lnTo>
                    <a:lnTo>
                      <a:pt x="124" y="756"/>
                    </a:lnTo>
                    <a:lnTo>
                      <a:pt x="121" y="753"/>
                    </a:lnTo>
                    <a:lnTo>
                      <a:pt x="117" y="747"/>
                    </a:lnTo>
                    <a:lnTo>
                      <a:pt x="113" y="741"/>
                    </a:lnTo>
                    <a:lnTo>
                      <a:pt x="111" y="739"/>
                    </a:lnTo>
                    <a:lnTo>
                      <a:pt x="111" y="739"/>
                    </a:lnTo>
                    <a:lnTo>
                      <a:pt x="111" y="739"/>
                    </a:lnTo>
                    <a:lnTo>
                      <a:pt x="116" y="740"/>
                    </a:lnTo>
                    <a:lnTo>
                      <a:pt x="123" y="746"/>
                    </a:lnTo>
                    <a:lnTo>
                      <a:pt x="129" y="753"/>
                    </a:lnTo>
                    <a:lnTo>
                      <a:pt x="132" y="757"/>
                    </a:lnTo>
                    <a:lnTo>
                      <a:pt x="132" y="757"/>
                    </a:lnTo>
                    <a:lnTo>
                      <a:pt x="129" y="763"/>
                    </a:lnTo>
                    <a:lnTo>
                      <a:pt x="129" y="766"/>
                    </a:lnTo>
                    <a:lnTo>
                      <a:pt x="130" y="770"/>
                    </a:lnTo>
                    <a:lnTo>
                      <a:pt x="130" y="770"/>
                    </a:lnTo>
                    <a:lnTo>
                      <a:pt x="137" y="782"/>
                    </a:lnTo>
                    <a:lnTo>
                      <a:pt x="139" y="788"/>
                    </a:lnTo>
                    <a:lnTo>
                      <a:pt x="140" y="789"/>
                    </a:lnTo>
                    <a:lnTo>
                      <a:pt x="139" y="792"/>
                    </a:lnTo>
                    <a:close/>
                    <a:moveTo>
                      <a:pt x="158" y="825"/>
                    </a:moveTo>
                    <a:lnTo>
                      <a:pt x="158" y="825"/>
                    </a:lnTo>
                    <a:lnTo>
                      <a:pt x="162" y="828"/>
                    </a:lnTo>
                    <a:lnTo>
                      <a:pt x="165" y="831"/>
                    </a:lnTo>
                    <a:lnTo>
                      <a:pt x="165" y="833"/>
                    </a:lnTo>
                    <a:lnTo>
                      <a:pt x="165" y="833"/>
                    </a:lnTo>
                    <a:lnTo>
                      <a:pt x="162" y="833"/>
                    </a:lnTo>
                    <a:lnTo>
                      <a:pt x="159" y="833"/>
                    </a:lnTo>
                    <a:lnTo>
                      <a:pt x="152" y="830"/>
                    </a:lnTo>
                    <a:lnTo>
                      <a:pt x="152" y="830"/>
                    </a:lnTo>
                    <a:lnTo>
                      <a:pt x="152" y="828"/>
                    </a:lnTo>
                    <a:lnTo>
                      <a:pt x="153" y="827"/>
                    </a:lnTo>
                    <a:lnTo>
                      <a:pt x="158" y="825"/>
                    </a:lnTo>
                    <a:close/>
                    <a:moveTo>
                      <a:pt x="190" y="886"/>
                    </a:moveTo>
                    <a:lnTo>
                      <a:pt x="190" y="886"/>
                    </a:lnTo>
                    <a:lnTo>
                      <a:pt x="187" y="886"/>
                    </a:lnTo>
                    <a:lnTo>
                      <a:pt x="184" y="886"/>
                    </a:lnTo>
                    <a:lnTo>
                      <a:pt x="179" y="888"/>
                    </a:lnTo>
                    <a:lnTo>
                      <a:pt x="175" y="889"/>
                    </a:lnTo>
                    <a:lnTo>
                      <a:pt x="175" y="889"/>
                    </a:lnTo>
                    <a:lnTo>
                      <a:pt x="172" y="894"/>
                    </a:lnTo>
                    <a:lnTo>
                      <a:pt x="171" y="896"/>
                    </a:lnTo>
                    <a:lnTo>
                      <a:pt x="171" y="898"/>
                    </a:lnTo>
                    <a:lnTo>
                      <a:pt x="168" y="898"/>
                    </a:lnTo>
                    <a:lnTo>
                      <a:pt x="168" y="898"/>
                    </a:lnTo>
                    <a:lnTo>
                      <a:pt x="166" y="895"/>
                    </a:lnTo>
                    <a:lnTo>
                      <a:pt x="166" y="892"/>
                    </a:lnTo>
                    <a:lnTo>
                      <a:pt x="166" y="889"/>
                    </a:lnTo>
                    <a:lnTo>
                      <a:pt x="165" y="886"/>
                    </a:lnTo>
                    <a:lnTo>
                      <a:pt x="165" y="886"/>
                    </a:lnTo>
                    <a:lnTo>
                      <a:pt x="159" y="882"/>
                    </a:lnTo>
                    <a:lnTo>
                      <a:pt x="156" y="879"/>
                    </a:lnTo>
                    <a:lnTo>
                      <a:pt x="156" y="878"/>
                    </a:lnTo>
                    <a:lnTo>
                      <a:pt x="156" y="876"/>
                    </a:lnTo>
                    <a:lnTo>
                      <a:pt x="156" y="876"/>
                    </a:lnTo>
                    <a:lnTo>
                      <a:pt x="158" y="876"/>
                    </a:lnTo>
                    <a:lnTo>
                      <a:pt x="159" y="876"/>
                    </a:lnTo>
                    <a:lnTo>
                      <a:pt x="162" y="878"/>
                    </a:lnTo>
                    <a:lnTo>
                      <a:pt x="165" y="879"/>
                    </a:lnTo>
                    <a:lnTo>
                      <a:pt x="166" y="879"/>
                    </a:lnTo>
                    <a:lnTo>
                      <a:pt x="168" y="878"/>
                    </a:lnTo>
                    <a:lnTo>
                      <a:pt x="168" y="878"/>
                    </a:lnTo>
                    <a:lnTo>
                      <a:pt x="171" y="875"/>
                    </a:lnTo>
                    <a:lnTo>
                      <a:pt x="171" y="872"/>
                    </a:lnTo>
                    <a:lnTo>
                      <a:pt x="169" y="869"/>
                    </a:lnTo>
                    <a:lnTo>
                      <a:pt x="168" y="867"/>
                    </a:lnTo>
                    <a:lnTo>
                      <a:pt x="168" y="867"/>
                    </a:lnTo>
                    <a:lnTo>
                      <a:pt x="165" y="866"/>
                    </a:lnTo>
                    <a:lnTo>
                      <a:pt x="163" y="863"/>
                    </a:lnTo>
                    <a:lnTo>
                      <a:pt x="165" y="860"/>
                    </a:lnTo>
                    <a:lnTo>
                      <a:pt x="168" y="860"/>
                    </a:lnTo>
                    <a:lnTo>
                      <a:pt x="168" y="860"/>
                    </a:lnTo>
                    <a:lnTo>
                      <a:pt x="171" y="860"/>
                    </a:lnTo>
                    <a:lnTo>
                      <a:pt x="174" y="863"/>
                    </a:lnTo>
                    <a:lnTo>
                      <a:pt x="182" y="872"/>
                    </a:lnTo>
                    <a:lnTo>
                      <a:pt x="188" y="881"/>
                    </a:lnTo>
                    <a:lnTo>
                      <a:pt x="190" y="883"/>
                    </a:lnTo>
                    <a:lnTo>
                      <a:pt x="190" y="886"/>
                    </a:lnTo>
                    <a:close/>
                    <a:moveTo>
                      <a:pt x="469" y="849"/>
                    </a:moveTo>
                    <a:lnTo>
                      <a:pt x="469" y="849"/>
                    </a:lnTo>
                    <a:lnTo>
                      <a:pt x="466" y="853"/>
                    </a:lnTo>
                    <a:lnTo>
                      <a:pt x="465" y="856"/>
                    </a:lnTo>
                    <a:lnTo>
                      <a:pt x="465" y="856"/>
                    </a:lnTo>
                    <a:lnTo>
                      <a:pt x="466" y="859"/>
                    </a:lnTo>
                    <a:lnTo>
                      <a:pt x="468" y="860"/>
                    </a:lnTo>
                    <a:lnTo>
                      <a:pt x="466" y="862"/>
                    </a:lnTo>
                    <a:lnTo>
                      <a:pt x="466" y="862"/>
                    </a:lnTo>
                    <a:lnTo>
                      <a:pt x="465" y="865"/>
                    </a:lnTo>
                    <a:lnTo>
                      <a:pt x="463" y="867"/>
                    </a:lnTo>
                    <a:lnTo>
                      <a:pt x="463" y="867"/>
                    </a:lnTo>
                    <a:lnTo>
                      <a:pt x="465" y="875"/>
                    </a:lnTo>
                    <a:lnTo>
                      <a:pt x="465" y="879"/>
                    </a:lnTo>
                    <a:lnTo>
                      <a:pt x="465" y="881"/>
                    </a:lnTo>
                    <a:lnTo>
                      <a:pt x="463" y="881"/>
                    </a:lnTo>
                    <a:lnTo>
                      <a:pt x="463" y="881"/>
                    </a:lnTo>
                    <a:lnTo>
                      <a:pt x="457" y="879"/>
                    </a:lnTo>
                    <a:lnTo>
                      <a:pt x="455" y="876"/>
                    </a:lnTo>
                    <a:lnTo>
                      <a:pt x="455" y="873"/>
                    </a:lnTo>
                    <a:lnTo>
                      <a:pt x="455" y="873"/>
                    </a:lnTo>
                    <a:lnTo>
                      <a:pt x="455" y="870"/>
                    </a:lnTo>
                    <a:lnTo>
                      <a:pt x="456" y="867"/>
                    </a:lnTo>
                    <a:lnTo>
                      <a:pt x="457" y="866"/>
                    </a:lnTo>
                    <a:lnTo>
                      <a:pt x="457" y="865"/>
                    </a:lnTo>
                    <a:lnTo>
                      <a:pt x="457" y="865"/>
                    </a:lnTo>
                    <a:lnTo>
                      <a:pt x="456" y="862"/>
                    </a:lnTo>
                    <a:lnTo>
                      <a:pt x="455" y="860"/>
                    </a:lnTo>
                    <a:lnTo>
                      <a:pt x="453" y="859"/>
                    </a:lnTo>
                    <a:lnTo>
                      <a:pt x="452" y="856"/>
                    </a:lnTo>
                    <a:lnTo>
                      <a:pt x="452" y="856"/>
                    </a:lnTo>
                    <a:lnTo>
                      <a:pt x="455" y="854"/>
                    </a:lnTo>
                    <a:lnTo>
                      <a:pt x="459" y="852"/>
                    </a:lnTo>
                    <a:lnTo>
                      <a:pt x="463" y="849"/>
                    </a:lnTo>
                    <a:lnTo>
                      <a:pt x="465" y="847"/>
                    </a:lnTo>
                    <a:lnTo>
                      <a:pt x="465" y="846"/>
                    </a:lnTo>
                    <a:lnTo>
                      <a:pt x="465" y="846"/>
                    </a:lnTo>
                    <a:lnTo>
                      <a:pt x="462" y="836"/>
                    </a:lnTo>
                    <a:lnTo>
                      <a:pt x="462" y="831"/>
                    </a:lnTo>
                    <a:lnTo>
                      <a:pt x="462" y="831"/>
                    </a:lnTo>
                    <a:lnTo>
                      <a:pt x="463" y="831"/>
                    </a:lnTo>
                    <a:lnTo>
                      <a:pt x="463" y="831"/>
                    </a:lnTo>
                    <a:lnTo>
                      <a:pt x="466" y="836"/>
                    </a:lnTo>
                    <a:lnTo>
                      <a:pt x="468" y="840"/>
                    </a:lnTo>
                    <a:lnTo>
                      <a:pt x="469" y="844"/>
                    </a:lnTo>
                    <a:lnTo>
                      <a:pt x="469" y="849"/>
                    </a:lnTo>
                    <a:close/>
                    <a:moveTo>
                      <a:pt x="967" y="473"/>
                    </a:moveTo>
                    <a:lnTo>
                      <a:pt x="967" y="473"/>
                    </a:lnTo>
                    <a:lnTo>
                      <a:pt x="966" y="472"/>
                    </a:lnTo>
                    <a:lnTo>
                      <a:pt x="964" y="471"/>
                    </a:lnTo>
                    <a:lnTo>
                      <a:pt x="963" y="465"/>
                    </a:lnTo>
                    <a:lnTo>
                      <a:pt x="963" y="452"/>
                    </a:lnTo>
                    <a:lnTo>
                      <a:pt x="963" y="452"/>
                    </a:lnTo>
                    <a:lnTo>
                      <a:pt x="963" y="450"/>
                    </a:lnTo>
                    <a:lnTo>
                      <a:pt x="964" y="449"/>
                    </a:lnTo>
                    <a:lnTo>
                      <a:pt x="967" y="447"/>
                    </a:lnTo>
                    <a:lnTo>
                      <a:pt x="970" y="449"/>
                    </a:lnTo>
                    <a:lnTo>
                      <a:pt x="972" y="450"/>
                    </a:lnTo>
                    <a:lnTo>
                      <a:pt x="972" y="450"/>
                    </a:lnTo>
                    <a:lnTo>
                      <a:pt x="970" y="462"/>
                    </a:lnTo>
                    <a:lnTo>
                      <a:pt x="969" y="469"/>
                    </a:lnTo>
                    <a:lnTo>
                      <a:pt x="969" y="472"/>
                    </a:lnTo>
                    <a:lnTo>
                      <a:pt x="967" y="473"/>
                    </a:lnTo>
                    <a:close/>
                    <a:moveTo>
                      <a:pt x="1144" y="255"/>
                    </a:moveTo>
                    <a:lnTo>
                      <a:pt x="1144" y="255"/>
                    </a:lnTo>
                    <a:lnTo>
                      <a:pt x="1143" y="250"/>
                    </a:lnTo>
                    <a:lnTo>
                      <a:pt x="1143" y="249"/>
                    </a:lnTo>
                    <a:lnTo>
                      <a:pt x="1144" y="246"/>
                    </a:lnTo>
                    <a:lnTo>
                      <a:pt x="1143" y="243"/>
                    </a:lnTo>
                    <a:lnTo>
                      <a:pt x="1143" y="243"/>
                    </a:lnTo>
                    <a:lnTo>
                      <a:pt x="1140" y="239"/>
                    </a:lnTo>
                    <a:lnTo>
                      <a:pt x="1138" y="239"/>
                    </a:lnTo>
                    <a:lnTo>
                      <a:pt x="1138" y="237"/>
                    </a:lnTo>
                    <a:lnTo>
                      <a:pt x="1138" y="237"/>
                    </a:lnTo>
                    <a:lnTo>
                      <a:pt x="1141" y="237"/>
                    </a:lnTo>
                    <a:lnTo>
                      <a:pt x="1147" y="237"/>
                    </a:lnTo>
                    <a:lnTo>
                      <a:pt x="1151" y="237"/>
                    </a:lnTo>
                    <a:lnTo>
                      <a:pt x="1156" y="236"/>
                    </a:lnTo>
                    <a:lnTo>
                      <a:pt x="1156" y="236"/>
                    </a:lnTo>
                    <a:lnTo>
                      <a:pt x="1157" y="233"/>
                    </a:lnTo>
                    <a:lnTo>
                      <a:pt x="1158" y="229"/>
                    </a:lnTo>
                    <a:lnTo>
                      <a:pt x="1158" y="224"/>
                    </a:lnTo>
                    <a:lnTo>
                      <a:pt x="1157" y="221"/>
                    </a:lnTo>
                    <a:lnTo>
                      <a:pt x="1157" y="221"/>
                    </a:lnTo>
                    <a:lnTo>
                      <a:pt x="1156" y="219"/>
                    </a:lnTo>
                    <a:lnTo>
                      <a:pt x="1156" y="214"/>
                    </a:lnTo>
                    <a:lnTo>
                      <a:pt x="1157" y="213"/>
                    </a:lnTo>
                    <a:lnTo>
                      <a:pt x="1160" y="213"/>
                    </a:lnTo>
                    <a:lnTo>
                      <a:pt x="1160" y="213"/>
                    </a:lnTo>
                    <a:lnTo>
                      <a:pt x="1163" y="213"/>
                    </a:lnTo>
                    <a:lnTo>
                      <a:pt x="1163" y="216"/>
                    </a:lnTo>
                    <a:lnTo>
                      <a:pt x="1164" y="220"/>
                    </a:lnTo>
                    <a:lnTo>
                      <a:pt x="1166" y="224"/>
                    </a:lnTo>
                    <a:lnTo>
                      <a:pt x="1167" y="227"/>
                    </a:lnTo>
                    <a:lnTo>
                      <a:pt x="1169" y="227"/>
                    </a:lnTo>
                    <a:lnTo>
                      <a:pt x="1169" y="227"/>
                    </a:lnTo>
                    <a:lnTo>
                      <a:pt x="1172" y="227"/>
                    </a:lnTo>
                    <a:lnTo>
                      <a:pt x="1176" y="227"/>
                    </a:lnTo>
                    <a:lnTo>
                      <a:pt x="1180" y="226"/>
                    </a:lnTo>
                    <a:lnTo>
                      <a:pt x="1182" y="227"/>
                    </a:lnTo>
                    <a:lnTo>
                      <a:pt x="1182" y="227"/>
                    </a:lnTo>
                    <a:lnTo>
                      <a:pt x="1183" y="235"/>
                    </a:lnTo>
                    <a:lnTo>
                      <a:pt x="1182" y="237"/>
                    </a:lnTo>
                    <a:lnTo>
                      <a:pt x="1182" y="239"/>
                    </a:lnTo>
                    <a:lnTo>
                      <a:pt x="1180" y="239"/>
                    </a:lnTo>
                    <a:lnTo>
                      <a:pt x="1180" y="239"/>
                    </a:lnTo>
                    <a:lnTo>
                      <a:pt x="1177" y="237"/>
                    </a:lnTo>
                    <a:lnTo>
                      <a:pt x="1176" y="236"/>
                    </a:lnTo>
                    <a:lnTo>
                      <a:pt x="1176" y="236"/>
                    </a:lnTo>
                    <a:lnTo>
                      <a:pt x="1173" y="236"/>
                    </a:lnTo>
                    <a:lnTo>
                      <a:pt x="1173" y="236"/>
                    </a:lnTo>
                    <a:lnTo>
                      <a:pt x="1172" y="237"/>
                    </a:lnTo>
                    <a:lnTo>
                      <a:pt x="1172" y="239"/>
                    </a:lnTo>
                    <a:lnTo>
                      <a:pt x="1172" y="242"/>
                    </a:lnTo>
                    <a:lnTo>
                      <a:pt x="1170" y="242"/>
                    </a:lnTo>
                    <a:lnTo>
                      <a:pt x="1170" y="242"/>
                    </a:lnTo>
                    <a:lnTo>
                      <a:pt x="1167" y="240"/>
                    </a:lnTo>
                    <a:lnTo>
                      <a:pt x="1166" y="239"/>
                    </a:lnTo>
                    <a:lnTo>
                      <a:pt x="1164" y="240"/>
                    </a:lnTo>
                    <a:lnTo>
                      <a:pt x="1164" y="240"/>
                    </a:lnTo>
                    <a:lnTo>
                      <a:pt x="1164" y="242"/>
                    </a:lnTo>
                    <a:lnTo>
                      <a:pt x="1164" y="245"/>
                    </a:lnTo>
                    <a:lnTo>
                      <a:pt x="1164" y="248"/>
                    </a:lnTo>
                    <a:lnTo>
                      <a:pt x="1163" y="248"/>
                    </a:lnTo>
                    <a:lnTo>
                      <a:pt x="1163" y="248"/>
                    </a:lnTo>
                    <a:lnTo>
                      <a:pt x="1157" y="250"/>
                    </a:lnTo>
                    <a:lnTo>
                      <a:pt x="1154" y="250"/>
                    </a:lnTo>
                    <a:lnTo>
                      <a:pt x="1153" y="250"/>
                    </a:lnTo>
                    <a:lnTo>
                      <a:pt x="1153" y="250"/>
                    </a:lnTo>
                    <a:lnTo>
                      <a:pt x="1153" y="249"/>
                    </a:lnTo>
                    <a:lnTo>
                      <a:pt x="1153" y="246"/>
                    </a:lnTo>
                    <a:lnTo>
                      <a:pt x="1154" y="245"/>
                    </a:lnTo>
                    <a:lnTo>
                      <a:pt x="1153" y="243"/>
                    </a:lnTo>
                    <a:lnTo>
                      <a:pt x="1153" y="243"/>
                    </a:lnTo>
                    <a:lnTo>
                      <a:pt x="1151" y="243"/>
                    </a:lnTo>
                    <a:lnTo>
                      <a:pt x="1150" y="246"/>
                    </a:lnTo>
                    <a:lnTo>
                      <a:pt x="1148" y="250"/>
                    </a:lnTo>
                    <a:lnTo>
                      <a:pt x="1145" y="255"/>
                    </a:lnTo>
                    <a:lnTo>
                      <a:pt x="1145" y="256"/>
                    </a:lnTo>
                    <a:lnTo>
                      <a:pt x="1144" y="255"/>
                    </a:lnTo>
                    <a:close/>
                    <a:moveTo>
                      <a:pt x="1153" y="569"/>
                    </a:moveTo>
                    <a:lnTo>
                      <a:pt x="1153" y="569"/>
                    </a:lnTo>
                    <a:lnTo>
                      <a:pt x="1150" y="569"/>
                    </a:lnTo>
                    <a:lnTo>
                      <a:pt x="1148" y="569"/>
                    </a:lnTo>
                    <a:lnTo>
                      <a:pt x="1147" y="566"/>
                    </a:lnTo>
                    <a:lnTo>
                      <a:pt x="1147" y="563"/>
                    </a:lnTo>
                    <a:lnTo>
                      <a:pt x="1147" y="563"/>
                    </a:lnTo>
                    <a:lnTo>
                      <a:pt x="1153" y="552"/>
                    </a:lnTo>
                    <a:lnTo>
                      <a:pt x="1156" y="546"/>
                    </a:lnTo>
                    <a:lnTo>
                      <a:pt x="1158" y="542"/>
                    </a:lnTo>
                    <a:lnTo>
                      <a:pt x="1158" y="542"/>
                    </a:lnTo>
                    <a:lnTo>
                      <a:pt x="1161" y="540"/>
                    </a:lnTo>
                    <a:lnTo>
                      <a:pt x="1164" y="540"/>
                    </a:lnTo>
                    <a:lnTo>
                      <a:pt x="1166" y="540"/>
                    </a:lnTo>
                    <a:lnTo>
                      <a:pt x="1167" y="542"/>
                    </a:lnTo>
                    <a:lnTo>
                      <a:pt x="1167" y="542"/>
                    </a:lnTo>
                    <a:lnTo>
                      <a:pt x="1166" y="549"/>
                    </a:lnTo>
                    <a:lnTo>
                      <a:pt x="1161" y="558"/>
                    </a:lnTo>
                    <a:lnTo>
                      <a:pt x="1156" y="566"/>
                    </a:lnTo>
                    <a:lnTo>
                      <a:pt x="1153" y="569"/>
                    </a:lnTo>
                    <a:close/>
                    <a:moveTo>
                      <a:pt x="1185" y="534"/>
                    </a:moveTo>
                    <a:lnTo>
                      <a:pt x="1185" y="534"/>
                    </a:lnTo>
                    <a:lnTo>
                      <a:pt x="1177" y="533"/>
                    </a:lnTo>
                    <a:lnTo>
                      <a:pt x="1176" y="533"/>
                    </a:lnTo>
                    <a:lnTo>
                      <a:pt x="1174" y="531"/>
                    </a:lnTo>
                    <a:lnTo>
                      <a:pt x="1174" y="531"/>
                    </a:lnTo>
                    <a:lnTo>
                      <a:pt x="1176" y="526"/>
                    </a:lnTo>
                    <a:lnTo>
                      <a:pt x="1177" y="520"/>
                    </a:lnTo>
                    <a:lnTo>
                      <a:pt x="1177" y="520"/>
                    </a:lnTo>
                    <a:lnTo>
                      <a:pt x="1179" y="517"/>
                    </a:lnTo>
                    <a:lnTo>
                      <a:pt x="1182" y="514"/>
                    </a:lnTo>
                    <a:lnTo>
                      <a:pt x="1185" y="513"/>
                    </a:lnTo>
                    <a:lnTo>
                      <a:pt x="1186" y="513"/>
                    </a:lnTo>
                    <a:lnTo>
                      <a:pt x="1186" y="513"/>
                    </a:lnTo>
                    <a:lnTo>
                      <a:pt x="1186" y="513"/>
                    </a:lnTo>
                    <a:lnTo>
                      <a:pt x="1186" y="516"/>
                    </a:lnTo>
                    <a:lnTo>
                      <a:pt x="1185" y="518"/>
                    </a:lnTo>
                    <a:lnTo>
                      <a:pt x="1183" y="520"/>
                    </a:lnTo>
                    <a:lnTo>
                      <a:pt x="1182" y="523"/>
                    </a:lnTo>
                    <a:lnTo>
                      <a:pt x="1182" y="523"/>
                    </a:lnTo>
                    <a:lnTo>
                      <a:pt x="1185" y="530"/>
                    </a:lnTo>
                    <a:lnTo>
                      <a:pt x="1185" y="533"/>
                    </a:lnTo>
                    <a:lnTo>
                      <a:pt x="1185" y="534"/>
                    </a:lnTo>
                    <a:lnTo>
                      <a:pt x="1185" y="534"/>
                    </a:lnTo>
                    <a:close/>
                    <a:moveTo>
                      <a:pt x="1185" y="498"/>
                    </a:moveTo>
                    <a:lnTo>
                      <a:pt x="1185" y="498"/>
                    </a:lnTo>
                    <a:lnTo>
                      <a:pt x="1176" y="498"/>
                    </a:lnTo>
                    <a:lnTo>
                      <a:pt x="1172" y="498"/>
                    </a:lnTo>
                    <a:lnTo>
                      <a:pt x="1169" y="497"/>
                    </a:lnTo>
                    <a:lnTo>
                      <a:pt x="1169" y="497"/>
                    </a:lnTo>
                    <a:lnTo>
                      <a:pt x="1167" y="494"/>
                    </a:lnTo>
                    <a:lnTo>
                      <a:pt x="1166" y="492"/>
                    </a:lnTo>
                    <a:lnTo>
                      <a:pt x="1167" y="491"/>
                    </a:lnTo>
                    <a:lnTo>
                      <a:pt x="1170" y="491"/>
                    </a:lnTo>
                    <a:lnTo>
                      <a:pt x="1170" y="491"/>
                    </a:lnTo>
                    <a:lnTo>
                      <a:pt x="1182" y="491"/>
                    </a:lnTo>
                    <a:lnTo>
                      <a:pt x="1186" y="491"/>
                    </a:lnTo>
                    <a:lnTo>
                      <a:pt x="1187" y="491"/>
                    </a:lnTo>
                    <a:lnTo>
                      <a:pt x="1189" y="492"/>
                    </a:lnTo>
                    <a:lnTo>
                      <a:pt x="1189" y="492"/>
                    </a:lnTo>
                    <a:lnTo>
                      <a:pt x="1187" y="497"/>
                    </a:lnTo>
                    <a:lnTo>
                      <a:pt x="1185" y="498"/>
                    </a:lnTo>
                    <a:close/>
                    <a:moveTo>
                      <a:pt x="1263" y="203"/>
                    </a:moveTo>
                    <a:lnTo>
                      <a:pt x="1263" y="203"/>
                    </a:lnTo>
                    <a:lnTo>
                      <a:pt x="1264" y="204"/>
                    </a:lnTo>
                    <a:lnTo>
                      <a:pt x="1267" y="207"/>
                    </a:lnTo>
                    <a:lnTo>
                      <a:pt x="1269" y="210"/>
                    </a:lnTo>
                    <a:lnTo>
                      <a:pt x="1269" y="213"/>
                    </a:lnTo>
                    <a:lnTo>
                      <a:pt x="1269" y="213"/>
                    </a:lnTo>
                    <a:lnTo>
                      <a:pt x="1264" y="216"/>
                    </a:lnTo>
                    <a:lnTo>
                      <a:pt x="1263" y="216"/>
                    </a:lnTo>
                    <a:lnTo>
                      <a:pt x="1260" y="214"/>
                    </a:lnTo>
                    <a:lnTo>
                      <a:pt x="1260" y="214"/>
                    </a:lnTo>
                    <a:lnTo>
                      <a:pt x="1258" y="211"/>
                    </a:lnTo>
                    <a:lnTo>
                      <a:pt x="1258" y="207"/>
                    </a:lnTo>
                    <a:lnTo>
                      <a:pt x="1260" y="204"/>
                    </a:lnTo>
                    <a:lnTo>
                      <a:pt x="1263" y="203"/>
                    </a:lnTo>
                    <a:close/>
                    <a:moveTo>
                      <a:pt x="1315" y="985"/>
                    </a:moveTo>
                    <a:lnTo>
                      <a:pt x="1315" y="985"/>
                    </a:lnTo>
                    <a:lnTo>
                      <a:pt x="1311" y="996"/>
                    </a:lnTo>
                    <a:lnTo>
                      <a:pt x="1309" y="1005"/>
                    </a:lnTo>
                    <a:lnTo>
                      <a:pt x="1309" y="1005"/>
                    </a:lnTo>
                    <a:lnTo>
                      <a:pt x="1309" y="1008"/>
                    </a:lnTo>
                    <a:lnTo>
                      <a:pt x="1308" y="1009"/>
                    </a:lnTo>
                    <a:lnTo>
                      <a:pt x="1302" y="1011"/>
                    </a:lnTo>
                    <a:lnTo>
                      <a:pt x="1302" y="1011"/>
                    </a:lnTo>
                    <a:lnTo>
                      <a:pt x="1299" y="1012"/>
                    </a:lnTo>
                    <a:lnTo>
                      <a:pt x="1299" y="1014"/>
                    </a:lnTo>
                    <a:lnTo>
                      <a:pt x="1302" y="1018"/>
                    </a:lnTo>
                    <a:lnTo>
                      <a:pt x="1302" y="1018"/>
                    </a:lnTo>
                    <a:lnTo>
                      <a:pt x="1303" y="1020"/>
                    </a:lnTo>
                    <a:lnTo>
                      <a:pt x="1302" y="1022"/>
                    </a:lnTo>
                    <a:lnTo>
                      <a:pt x="1296" y="1025"/>
                    </a:lnTo>
                    <a:lnTo>
                      <a:pt x="1296" y="1025"/>
                    </a:lnTo>
                    <a:lnTo>
                      <a:pt x="1292" y="1028"/>
                    </a:lnTo>
                    <a:lnTo>
                      <a:pt x="1286" y="1034"/>
                    </a:lnTo>
                    <a:lnTo>
                      <a:pt x="1280" y="1041"/>
                    </a:lnTo>
                    <a:lnTo>
                      <a:pt x="1274" y="1046"/>
                    </a:lnTo>
                    <a:lnTo>
                      <a:pt x="1274" y="1046"/>
                    </a:lnTo>
                    <a:lnTo>
                      <a:pt x="1267" y="1050"/>
                    </a:lnTo>
                    <a:lnTo>
                      <a:pt x="1263" y="1053"/>
                    </a:lnTo>
                    <a:lnTo>
                      <a:pt x="1258" y="1057"/>
                    </a:lnTo>
                    <a:lnTo>
                      <a:pt x="1257" y="1063"/>
                    </a:lnTo>
                    <a:lnTo>
                      <a:pt x="1257" y="1063"/>
                    </a:lnTo>
                    <a:lnTo>
                      <a:pt x="1256" y="1067"/>
                    </a:lnTo>
                    <a:lnTo>
                      <a:pt x="1253" y="1070"/>
                    </a:lnTo>
                    <a:lnTo>
                      <a:pt x="1245" y="1075"/>
                    </a:lnTo>
                    <a:lnTo>
                      <a:pt x="1245" y="1075"/>
                    </a:lnTo>
                    <a:lnTo>
                      <a:pt x="1240" y="1076"/>
                    </a:lnTo>
                    <a:lnTo>
                      <a:pt x="1235" y="1075"/>
                    </a:lnTo>
                    <a:lnTo>
                      <a:pt x="1228" y="1075"/>
                    </a:lnTo>
                    <a:lnTo>
                      <a:pt x="1228" y="1075"/>
                    </a:lnTo>
                    <a:lnTo>
                      <a:pt x="1228" y="1075"/>
                    </a:lnTo>
                    <a:lnTo>
                      <a:pt x="1228" y="1073"/>
                    </a:lnTo>
                    <a:lnTo>
                      <a:pt x="1231" y="1072"/>
                    </a:lnTo>
                    <a:lnTo>
                      <a:pt x="1240" y="1067"/>
                    </a:lnTo>
                    <a:lnTo>
                      <a:pt x="1240" y="1067"/>
                    </a:lnTo>
                    <a:lnTo>
                      <a:pt x="1242" y="1064"/>
                    </a:lnTo>
                    <a:lnTo>
                      <a:pt x="1247" y="1060"/>
                    </a:lnTo>
                    <a:lnTo>
                      <a:pt x="1254" y="1051"/>
                    </a:lnTo>
                    <a:lnTo>
                      <a:pt x="1254" y="1051"/>
                    </a:lnTo>
                    <a:lnTo>
                      <a:pt x="1261" y="1041"/>
                    </a:lnTo>
                    <a:lnTo>
                      <a:pt x="1269" y="1033"/>
                    </a:lnTo>
                    <a:lnTo>
                      <a:pt x="1269" y="1033"/>
                    </a:lnTo>
                    <a:lnTo>
                      <a:pt x="1274" y="1022"/>
                    </a:lnTo>
                    <a:lnTo>
                      <a:pt x="1279" y="1018"/>
                    </a:lnTo>
                    <a:lnTo>
                      <a:pt x="1284" y="1014"/>
                    </a:lnTo>
                    <a:lnTo>
                      <a:pt x="1284" y="1014"/>
                    </a:lnTo>
                    <a:lnTo>
                      <a:pt x="1290" y="1008"/>
                    </a:lnTo>
                    <a:lnTo>
                      <a:pt x="1298" y="998"/>
                    </a:lnTo>
                    <a:lnTo>
                      <a:pt x="1308" y="980"/>
                    </a:lnTo>
                    <a:lnTo>
                      <a:pt x="1308" y="980"/>
                    </a:lnTo>
                    <a:lnTo>
                      <a:pt x="1312" y="972"/>
                    </a:lnTo>
                    <a:lnTo>
                      <a:pt x="1315" y="967"/>
                    </a:lnTo>
                    <a:lnTo>
                      <a:pt x="1318" y="965"/>
                    </a:lnTo>
                    <a:lnTo>
                      <a:pt x="1318" y="965"/>
                    </a:lnTo>
                    <a:lnTo>
                      <a:pt x="1318" y="965"/>
                    </a:lnTo>
                    <a:lnTo>
                      <a:pt x="1319" y="966"/>
                    </a:lnTo>
                    <a:lnTo>
                      <a:pt x="1319" y="972"/>
                    </a:lnTo>
                    <a:lnTo>
                      <a:pt x="1318" y="979"/>
                    </a:lnTo>
                    <a:lnTo>
                      <a:pt x="1315" y="98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01" name="Freeform 1156"/>
              <p:cNvSpPr>
                <a:spLocks/>
              </p:cNvSpPr>
              <p:nvPr/>
            </p:nvSpPr>
            <p:spPr bwMode="auto">
              <a:xfrm>
                <a:off x="5521689" y="1782797"/>
                <a:ext cx="13850" cy="14839"/>
              </a:xfrm>
              <a:custGeom>
                <a:avLst/>
                <a:gdLst>
                  <a:gd name="T0" fmla="*/ 4 w 14"/>
                  <a:gd name="T1" fmla="*/ 15 h 15"/>
                  <a:gd name="T2" fmla="*/ 4 w 14"/>
                  <a:gd name="T3" fmla="*/ 15 h 15"/>
                  <a:gd name="T4" fmla="*/ 2 w 14"/>
                  <a:gd name="T5" fmla="*/ 13 h 15"/>
                  <a:gd name="T6" fmla="*/ 2 w 14"/>
                  <a:gd name="T7" fmla="*/ 12 h 15"/>
                  <a:gd name="T8" fmla="*/ 2 w 14"/>
                  <a:gd name="T9" fmla="*/ 9 h 15"/>
                  <a:gd name="T10" fmla="*/ 2 w 14"/>
                  <a:gd name="T11" fmla="*/ 9 h 15"/>
                  <a:gd name="T12" fmla="*/ 0 w 14"/>
                  <a:gd name="T13" fmla="*/ 3 h 15"/>
                  <a:gd name="T14" fmla="*/ 0 w 14"/>
                  <a:gd name="T15" fmla="*/ 2 h 15"/>
                  <a:gd name="T16" fmla="*/ 1 w 14"/>
                  <a:gd name="T17" fmla="*/ 0 h 15"/>
                  <a:gd name="T18" fmla="*/ 1 w 14"/>
                  <a:gd name="T19" fmla="*/ 0 h 15"/>
                  <a:gd name="T20" fmla="*/ 4 w 14"/>
                  <a:gd name="T21" fmla="*/ 0 h 15"/>
                  <a:gd name="T22" fmla="*/ 8 w 14"/>
                  <a:gd name="T23" fmla="*/ 2 h 15"/>
                  <a:gd name="T24" fmla="*/ 13 w 14"/>
                  <a:gd name="T25" fmla="*/ 5 h 15"/>
                  <a:gd name="T26" fmla="*/ 14 w 14"/>
                  <a:gd name="T27" fmla="*/ 6 h 15"/>
                  <a:gd name="T28" fmla="*/ 14 w 14"/>
                  <a:gd name="T29" fmla="*/ 6 h 15"/>
                  <a:gd name="T30" fmla="*/ 13 w 14"/>
                  <a:gd name="T31" fmla="*/ 10 h 15"/>
                  <a:gd name="T32" fmla="*/ 10 w 14"/>
                  <a:gd name="T33" fmla="*/ 13 h 15"/>
                  <a:gd name="T34" fmla="*/ 7 w 14"/>
                  <a:gd name="T35" fmla="*/ 15 h 15"/>
                  <a:gd name="T36" fmla="*/ 4 w 14"/>
                  <a:gd name="T3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" h="15">
                    <a:moveTo>
                      <a:pt x="4" y="15"/>
                    </a:moveTo>
                    <a:lnTo>
                      <a:pt x="4" y="15"/>
                    </a:lnTo>
                    <a:lnTo>
                      <a:pt x="2" y="13"/>
                    </a:lnTo>
                    <a:lnTo>
                      <a:pt x="2" y="12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13" y="5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3" y="10"/>
                    </a:lnTo>
                    <a:lnTo>
                      <a:pt x="10" y="13"/>
                    </a:lnTo>
                    <a:lnTo>
                      <a:pt x="7" y="15"/>
                    </a:lnTo>
                    <a:lnTo>
                      <a:pt x="4" y="15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02" name="Freeform 1157"/>
              <p:cNvSpPr>
                <a:spLocks/>
              </p:cNvSpPr>
              <p:nvPr/>
            </p:nvSpPr>
            <p:spPr bwMode="auto">
              <a:xfrm>
                <a:off x="5516743" y="1701678"/>
                <a:ext cx="27699" cy="20774"/>
              </a:xfrm>
              <a:custGeom>
                <a:avLst/>
                <a:gdLst>
                  <a:gd name="T0" fmla="*/ 2 w 28"/>
                  <a:gd name="T1" fmla="*/ 7 h 21"/>
                  <a:gd name="T2" fmla="*/ 2 w 28"/>
                  <a:gd name="T3" fmla="*/ 7 h 21"/>
                  <a:gd name="T4" fmla="*/ 3 w 28"/>
                  <a:gd name="T5" fmla="*/ 6 h 21"/>
                  <a:gd name="T6" fmla="*/ 7 w 28"/>
                  <a:gd name="T7" fmla="*/ 4 h 21"/>
                  <a:gd name="T8" fmla="*/ 12 w 28"/>
                  <a:gd name="T9" fmla="*/ 3 h 21"/>
                  <a:gd name="T10" fmla="*/ 15 w 28"/>
                  <a:gd name="T11" fmla="*/ 1 h 21"/>
                  <a:gd name="T12" fmla="*/ 15 w 28"/>
                  <a:gd name="T13" fmla="*/ 1 h 21"/>
                  <a:gd name="T14" fmla="*/ 18 w 28"/>
                  <a:gd name="T15" fmla="*/ 0 h 21"/>
                  <a:gd name="T16" fmla="*/ 22 w 28"/>
                  <a:gd name="T17" fmla="*/ 0 h 21"/>
                  <a:gd name="T18" fmla="*/ 26 w 28"/>
                  <a:gd name="T19" fmla="*/ 3 h 21"/>
                  <a:gd name="T20" fmla="*/ 28 w 28"/>
                  <a:gd name="T21" fmla="*/ 6 h 21"/>
                  <a:gd name="T22" fmla="*/ 28 w 28"/>
                  <a:gd name="T23" fmla="*/ 6 h 21"/>
                  <a:gd name="T24" fmla="*/ 26 w 28"/>
                  <a:gd name="T25" fmla="*/ 10 h 21"/>
                  <a:gd name="T26" fmla="*/ 20 w 28"/>
                  <a:gd name="T27" fmla="*/ 16 h 21"/>
                  <a:gd name="T28" fmla="*/ 15 w 28"/>
                  <a:gd name="T29" fmla="*/ 20 h 21"/>
                  <a:gd name="T30" fmla="*/ 10 w 28"/>
                  <a:gd name="T31" fmla="*/ 21 h 21"/>
                  <a:gd name="T32" fmla="*/ 10 w 28"/>
                  <a:gd name="T33" fmla="*/ 21 h 21"/>
                  <a:gd name="T34" fmla="*/ 7 w 28"/>
                  <a:gd name="T35" fmla="*/ 19 h 21"/>
                  <a:gd name="T36" fmla="*/ 3 w 28"/>
                  <a:gd name="T37" fmla="*/ 16 h 21"/>
                  <a:gd name="T38" fmla="*/ 0 w 28"/>
                  <a:gd name="T39" fmla="*/ 11 h 21"/>
                  <a:gd name="T40" fmla="*/ 0 w 28"/>
                  <a:gd name="T41" fmla="*/ 8 h 21"/>
                  <a:gd name="T42" fmla="*/ 2 w 28"/>
                  <a:gd name="T43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8" h="21">
                    <a:moveTo>
                      <a:pt x="2" y="7"/>
                    </a:moveTo>
                    <a:lnTo>
                      <a:pt x="2" y="7"/>
                    </a:lnTo>
                    <a:lnTo>
                      <a:pt x="3" y="6"/>
                    </a:lnTo>
                    <a:lnTo>
                      <a:pt x="7" y="4"/>
                    </a:lnTo>
                    <a:lnTo>
                      <a:pt x="12" y="3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3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6" y="10"/>
                    </a:lnTo>
                    <a:lnTo>
                      <a:pt x="20" y="16"/>
                    </a:lnTo>
                    <a:lnTo>
                      <a:pt x="15" y="20"/>
                    </a:lnTo>
                    <a:lnTo>
                      <a:pt x="10" y="21"/>
                    </a:lnTo>
                    <a:lnTo>
                      <a:pt x="10" y="21"/>
                    </a:lnTo>
                    <a:lnTo>
                      <a:pt x="7" y="19"/>
                    </a:lnTo>
                    <a:lnTo>
                      <a:pt x="3" y="16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7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11" name="Freeform 1166"/>
              <p:cNvSpPr>
                <a:spLocks/>
              </p:cNvSpPr>
              <p:nvPr/>
            </p:nvSpPr>
            <p:spPr bwMode="auto">
              <a:xfrm>
                <a:off x="5800661" y="1751141"/>
                <a:ext cx="8903" cy="25721"/>
              </a:xfrm>
              <a:custGeom>
                <a:avLst/>
                <a:gdLst>
                  <a:gd name="T0" fmla="*/ 4 w 9"/>
                  <a:gd name="T1" fmla="*/ 26 h 26"/>
                  <a:gd name="T2" fmla="*/ 4 w 9"/>
                  <a:gd name="T3" fmla="*/ 26 h 26"/>
                  <a:gd name="T4" fmla="*/ 3 w 9"/>
                  <a:gd name="T5" fmla="*/ 25 h 26"/>
                  <a:gd name="T6" fmla="*/ 1 w 9"/>
                  <a:gd name="T7" fmla="*/ 24 h 26"/>
                  <a:gd name="T8" fmla="*/ 0 w 9"/>
                  <a:gd name="T9" fmla="*/ 18 h 26"/>
                  <a:gd name="T10" fmla="*/ 0 w 9"/>
                  <a:gd name="T11" fmla="*/ 5 h 26"/>
                  <a:gd name="T12" fmla="*/ 0 w 9"/>
                  <a:gd name="T13" fmla="*/ 5 h 26"/>
                  <a:gd name="T14" fmla="*/ 0 w 9"/>
                  <a:gd name="T15" fmla="*/ 3 h 26"/>
                  <a:gd name="T16" fmla="*/ 1 w 9"/>
                  <a:gd name="T17" fmla="*/ 2 h 26"/>
                  <a:gd name="T18" fmla="*/ 4 w 9"/>
                  <a:gd name="T19" fmla="*/ 0 h 26"/>
                  <a:gd name="T20" fmla="*/ 7 w 9"/>
                  <a:gd name="T21" fmla="*/ 2 h 26"/>
                  <a:gd name="T22" fmla="*/ 9 w 9"/>
                  <a:gd name="T23" fmla="*/ 3 h 26"/>
                  <a:gd name="T24" fmla="*/ 9 w 9"/>
                  <a:gd name="T25" fmla="*/ 3 h 26"/>
                  <a:gd name="T26" fmla="*/ 7 w 9"/>
                  <a:gd name="T27" fmla="*/ 15 h 26"/>
                  <a:gd name="T28" fmla="*/ 6 w 9"/>
                  <a:gd name="T29" fmla="*/ 22 h 26"/>
                  <a:gd name="T30" fmla="*/ 6 w 9"/>
                  <a:gd name="T31" fmla="*/ 25 h 26"/>
                  <a:gd name="T32" fmla="*/ 4 w 9"/>
                  <a:gd name="T33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" h="26">
                    <a:moveTo>
                      <a:pt x="4" y="26"/>
                    </a:moveTo>
                    <a:lnTo>
                      <a:pt x="4" y="26"/>
                    </a:lnTo>
                    <a:lnTo>
                      <a:pt x="3" y="25"/>
                    </a:lnTo>
                    <a:lnTo>
                      <a:pt x="1" y="24"/>
                    </a:lnTo>
                    <a:lnTo>
                      <a:pt x="0" y="1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4" y="0"/>
                    </a:lnTo>
                    <a:lnTo>
                      <a:pt x="7" y="2"/>
                    </a:lnTo>
                    <a:lnTo>
                      <a:pt x="9" y="3"/>
                    </a:lnTo>
                    <a:lnTo>
                      <a:pt x="9" y="3"/>
                    </a:lnTo>
                    <a:lnTo>
                      <a:pt x="7" y="15"/>
                    </a:lnTo>
                    <a:lnTo>
                      <a:pt x="6" y="22"/>
                    </a:lnTo>
                    <a:lnTo>
                      <a:pt x="6" y="25"/>
                    </a:lnTo>
                    <a:lnTo>
                      <a:pt x="4" y="2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12" name="Freeform 1167"/>
              <p:cNvSpPr>
                <a:spLocks/>
              </p:cNvSpPr>
              <p:nvPr/>
            </p:nvSpPr>
            <p:spPr bwMode="auto">
              <a:xfrm>
                <a:off x="5973781" y="1519654"/>
                <a:ext cx="44517" cy="42538"/>
              </a:xfrm>
              <a:custGeom>
                <a:avLst/>
                <a:gdLst>
                  <a:gd name="T0" fmla="*/ 6 w 45"/>
                  <a:gd name="T1" fmla="*/ 42 h 43"/>
                  <a:gd name="T2" fmla="*/ 5 w 45"/>
                  <a:gd name="T3" fmla="*/ 36 h 43"/>
                  <a:gd name="T4" fmla="*/ 5 w 45"/>
                  <a:gd name="T5" fmla="*/ 30 h 43"/>
                  <a:gd name="T6" fmla="*/ 2 w 45"/>
                  <a:gd name="T7" fmla="*/ 26 h 43"/>
                  <a:gd name="T8" fmla="*/ 0 w 45"/>
                  <a:gd name="T9" fmla="*/ 24 h 43"/>
                  <a:gd name="T10" fmla="*/ 3 w 45"/>
                  <a:gd name="T11" fmla="*/ 24 h 43"/>
                  <a:gd name="T12" fmla="*/ 13 w 45"/>
                  <a:gd name="T13" fmla="*/ 24 h 43"/>
                  <a:gd name="T14" fmla="*/ 18 w 45"/>
                  <a:gd name="T15" fmla="*/ 23 h 43"/>
                  <a:gd name="T16" fmla="*/ 20 w 45"/>
                  <a:gd name="T17" fmla="*/ 16 h 43"/>
                  <a:gd name="T18" fmla="*/ 19 w 45"/>
                  <a:gd name="T19" fmla="*/ 8 h 43"/>
                  <a:gd name="T20" fmla="*/ 18 w 45"/>
                  <a:gd name="T21" fmla="*/ 6 h 43"/>
                  <a:gd name="T22" fmla="*/ 19 w 45"/>
                  <a:gd name="T23" fmla="*/ 0 h 43"/>
                  <a:gd name="T24" fmla="*/ 22 w 45"/>
                  <a:gd name="T25" fmla="*/ 0 h 43"/>
                  <a:gd name="T26" fmla="*/ 25 w 45"/>
                  <a:gd name="T27" fmla="*/ 3 h 43"/>
                  <a:gd name="T28" fmla="*/ 28 w 45"/>
                  <a:gd name="T29" fmla="*/ 11 h 43"/>
                  <a:gd name="T30" fmla="*/ 31 w 45"/>
                  <a:gd name="T31" fmla="*/ 14 h 43"/>
                  <a:gd name="T32" fmla="*/ 34 w 45"/>
                  <a:gd name="T33" fmla="*/ 14 h 43"/>
                  <a:gd name="T34" fmla="*/ 42 w 45"/>
                  <a:gd name="T35" fmla="*/ 13 h 43"/>
                  <a:gd name="T36" fmla="*/ 44 w 45"/>
                  <a:gd name="T37" fmla="*/ 14 h 43"/>
                  <a:gd name="T38" fmla="*/ 44 w 45"/>
                  <a:gd name="T39" fmla="*/ 24 h 43"/>
                  <a:gd name="T40" fmla="*/ 42 w 45"/>
                  <a:gd name="T41" fmla="*/ 26 h 43"/>
                  <a:gd name="T42" fmla="*/ 39 w 45"/>
                  <a:gd name="T43" fmla="*/ 24 h 43"/>
                  <a:gd name="T44" fmla="*/ 38 w 45"/>
                  <a:gd name="T45" fmla="*/ 23 h 43"/>
                  <a:gd name="T46" fmla="*/ 35 w 45"/>
                  <a:gd name="T47" fmla="*/ 23 h 43"/>
                  <a:gd name="T48" fmla="*/ 34 w 45"/>
                  <a:gd name="T49" fmla="*/ 26 h 43"/>
                  <a:gd name="T50" fmla="*/ 32 w 45"/>
                  <a:gd name="T51" fmla="*/ 29 h 43"/>
                  <a:gd name="T52" fmla="*/ 29 w 45"/>
                  <a:gd name="T53" fmla="*/ 27 h 43"/>
                  <a:gd name="T54" fmla="*/ 26 w 45"/>
                  <a:gd name="T55" fmla="*/ 27 h 43"/>
                  <a:gd name="T56" fmla="*/ 26 w 45"/>
                  <a:gd name="T57" fmla="*/ 29 h 43"/>
                  <a:gd name="T58" fmla="*/ 26 w 45"/>
                  <a:gd name="T59" fmla="*/ 35 h 43"/>
                  <a:gd name="T60" fmla="*/ 25 w 45"/>
                  <a:gd name="T61" fmla="*/ 35 h 43"/>
                  <a:gd name="T62" fmla="*/ 16 w 45"/>
                  <a:gd name="T63" fmla="*/ 37 h 43"/>
                  <a:gd name="T64" fmla="*/ 15 w 45"/>
                  <a:gd name="T65" fmla="*/ 37 h 43"/>
                  <a:gd name="T66" fmla="*/ 15 w 45"/>
                  <a:gd name="T67" fmla="*/ 33 h 43"/>
                  <a:gd name="T68" fmla="*/ 15 w 45"/>
                  <a:gd name="T69" fmla="*/ 30 h 43"/>
                  <a:gd name="T70" fmla="*/ 13 w 45"/>
                  <a:gd name="T71" fmla="*/ 30 h 43"/>
                  <a:gd name="T72" fmla="*/ 10 w 45"/>
                  <a:gd name="T73" fmla="*/ 37 h 43"/>
                  <a:gd name="T74" fmla="*/ 7 w 45"/>
                  <a:gd name="T7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5" h="43">
                    <a:moveTo>
                      <a:pt x="6" y="42"/>
                    </a:moveTo>
                    <a:lnTo>
                      <a:pt x="6" y="42"/>
                    </a:lnTo>
                    <a:lnTo>
                      <a:pt x="5" y="37"/>
                    </a:lnTo>
                    <a:lnTo>
                      <a:pt x="5" y="36"/>
                    </a:lnTo>
                    <a:lnTo>
                      <a:pt x="6" y="33"/>
                    </a:lnTo>
                    <a:lnTo>
                      <a:pt x="5" y="30"/>
                    </a:lnTo>
                    <a:lnTo>
                      <a:pt x="5" y="30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3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9" y="20"/>
                    </a:lnTo>
                    <a:lnTo>
                      <a:pt x="20" y="16"/>
                    </a:lnTo>
                    <a:lnTo>
                      <a:pt x="20" y="11"/>
                    </a:lnTo>
                    <a:lnTo>
                      <a:pt x="19" y="8"/>
                    </a:lnTo>
                    <a:lnTo>
                      <a:pt x="19" y="8"/>
                    </a:lnTo>
                    <a:lnTo>
                      <a:pt x="18" y="6"/>
                    </a:lnTo>
                    <a:lnTo>
                      <a:pt x="18" y="1"/>
                    </a:lnTo>
                    <a:lnTo>
                      <a:pt x="19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5" y="3"/>
                    </a:lnTo>
                    <a:lnTo>
                      <a:pt x="26" y="7"/>
                    </a:lnTo>
                    <a:lnTo>
                      <a:pt x="28" y="11"/>
                    </a:lnTo>
                    <a:lnTo>
                      <a:pt x="29" y="14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42" y="13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5" y="22"/>
                    </a:lnTo>
                    <a:lnTo>
                      <a:pt x="44" y="24"/>
                    </a:lnTo>
                    <a:lnTo>
                      <a:pt x="44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39" y="24"/>
                    </a:lnTo>
                    <a:lnTo>
                      <a:pt x="38" y="23"/>
                    </a:lnTo>
                    <a:lnTo>
                      <a:pt x="38" y="23"/>
                    </a:lnTo>
                    <a:lnTo>
                      <a:pt x="35" y="23"/>
                    </a:lnTo>
                    <a:lnTo>
                      <a:pt x="35" y="23"/>
                    </a:lnTo>
                    <a:lnTo>
                      <a:pt x="34" y="24"/>
                    </a:lnTo>
                    <a:lnTo>
                      <a:pt x="34" y="26"/>
                    </a:lnTo>
                    <a:lnTo>
                      <a:pt x="34" y="29"/>
                    </a:lnTo>
                    <a:lnTo>
                      <a:pt x="32" y="29"/>
                    </a:lnTo>
                    <a:lnTo>
                      <a:pt x="32" y="29"/>
                    </a:lnTo>
                    <a:lnTo>
                      <a:pt x="29" y="27"/>
                    </a:lnTo>
                    <a:lnTo>
                      <a:pt x="28" y="26"/>
                    </a:lnTo>
                    <a:lnTo>
                      <a:pt x="26" y="27"/>
                    </a:lnTo>
                    <a:lnTo>
                      <a:pt x="26" y="27"/>
                    </a:lnTo>
                    <a:lnTo>
                      <a:pt x="26" y="29"/>
                    </a:lnTo>
                    <a:lnTo>
                      <a:pt x="26" y="32"/>
                    </a:lnTo>
                    <a:lnTo>
                      <a:pt x="26" y="35"/>
                    </a:lnTo>
                    <a:lnTo>
                      <a:pt x="25" y="35"/>
                    </a:lnTo>
                    <a:lnTo>
                      <a:pt x="25" y="35"/>
                    </a:lnTo>
                    <a:lnTo>
                      <a:pt x="19" y="37"/>
                    </a:lnTo>
                    <a:lnTo>
                      <a:pt x="16" y="37"/>
                    </a:lnTo>
                    <a:lnTo>
                      <a:pt x="15" y="37"/>
                    </a:lnTo>
                    <a:lnTo>
                      <a:pt x="15" y="37"/>
                    </a:lnTo>
                    <a:lnTo>
                      <a:pt x="15" y="36"/>
                    </a:lnTo>
                    <a:lnTo>
                      <a:pt x="15" y="33"/>
                    </a:lnTo>
                    <a:lnTo>
                      <a:pt x="16" y="32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13" y="30"/>
                    </a:lnTo>
                    <a:lnTo>
                      <a:pt x="12" y="33"/>
                    </a:lnTo>
                    <a:lnTo>
                      <a:pt x="10" y="37"/>
                    </a:lnTo>
                    <a:lnTo>
                      <a:pt x="7" y="42"/>
                    </a:lnTo>
                    <a:lnTo>
                      <a:pt x="7" y="43"/>
                    </a:lnTo>
                    <a:lnTo>
                      <a:pt x="6" y="4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13" name="Freeform 1168"/>
              <p:cNvSpPr>
                <a:spLocks/>
              </p:cNvSpPr>
              <p:nvPr/>
            </p:nvSpPr>
            <p:spPr bwMode="auto">
              <a:xfrm>
                <a:off x="5982684" y="1843142"/>
                <a:ext cx="19785" cy="28689"/>
              </a:xfrm>
              <a:custGeom>
                <a:avLst/>
                <a:gdLst>
                  <a:gd name="T0" fmla="*/ 6 w 20"/>
                  <a:gd name="T1" fmla="*/ 29 h 29"/>
                  <a:gd name="T2" fmla="*/ 6 w 20"/>
                  <a:gd name="T3" fmla="*/ 29 h 29"/>
                  <a:gd name="T4" fmla="*/ 3 w 20"/>
                  <a:gd name="T5" fmla="*/ 29 h 29"/>
                  <a:gd name="T6" fmla="*/ 1 w 20"/>
                  <a:gd name="T7" fmla="*/ 29 h 29"/>
                  <a:gd name="T8" fmla="*/ 0 w 20"/>
                  <a:gd name="T9" fmla="*/ 26 h 29"/>
                  <a:gd name="T10" fmla="*/ 0 w 20"/>
                  <a:gd name="T11" fmla="*/ 23 h 29"/>
                  <a:gd name="T12" fmla="*/ 0 w 20"/>
                  <a:gd name="T13" fmla="*/ 23 h 29"/>
                  <a:gd name="T14" fmla="*/ 6 w 20"/>
                  <a:gd name="T15" fmla="*/ 12 h 29"/>
                  <a:gd name="T16" fmla="*/ 9 w 20"/>
                  <a:gd name="T17" fmla="*/ 6 h 29"/>
                  <a:gd name="T18" fmla="*/ 11 w 20"/>
                  <a:gd name="T19" fmla="*/ 2 h 29"/>
                  <a:gd name="T20" fmla="*/ 11 w 20"/>
                  <a:gd name="T21" fmla="*/ 2 h 29"/>
                  <a:gd name="T22" fmla="*/ 14 w 20"/>
                  <a:gd name="T23" fmla="*/ 0 h 29"/>
                  <a:gd name="T24" fmla="*/ 17 w 20"/>
                  <a:gd name="T25" fmla="*/ 0 h 29"/>
                  <a:gd name="T26" fmla="*/ 19 w 20"/>
                  <a:gd name="T27" fmla="*/ 0 h 29"/>
                  <a:gd name="T28" fmla="*/ 20 w 20"/>
                  <a:gd name="T29" fmla="*/ 2 h 29"/>
                  <a:gd name="T30" fmla="*/ 20 w 20"/>
                  <a:gd name="T31" fmla="*/ 2 h 29"/>
                  <a:gd name="T32" fmla="*/ 19 w 20"/>
                  <a:gd name="T33" fmla="*/ 9 h 29"/>
                  <a:gd name="T34" fmla="*/ 14 w 20"/>
                  <a:gd name="T35" fmla="*/ 18 h 29"/>
                  <a:gd name="T36" fmla="*/ 9 w 20"/>
                  <a:gd name="T37" fmla="*/ 26 h 29"/>
                  <a:gd name="T38" fmla="*/ 6 w 20"/>
                  <a:gd name="T3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" h="29">
                    <a:moveTo>
                      <a:pt x="6" y="29"/>
                    </a:moveTo>
                    <a:lnTo>
                      <a:pt x="6" y="29"/>
                    </a:lnTo>
                    <a:lnTo>
                      <a:pt x="3" y="29"/>
                    </a:lnTo>
                    <a:lnTo>
                      <a:pt x="1" y="29"/>
                    </a:lnTo>
                    <a:lnTo>
                      <a:pt x="0" y="26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6" y="12"/>
                    </a:lnTo>
                    <a:lnTo>
                      <a:pt x="9" y="6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9" y="9"/>
                    </a:lnTo>
                    <a:lnTo>
                      <a:pt x="14" y="18"/>
                    </a:lnTo>
                    <a:lnTo>
                      <a:pt x="9" y="26"/>
                    </a:lnTo>
                    <a:lnTo>
                      <a:pt x="6" y="2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14" name="Freeform 1169"/>
              <p:cNvSpPr>
                <a:spLocks/>
              </p:cNvSpPr>
              <p:nvPr/>
            </p:nvSpPr>
            <p:spPr bwMode="auto">
              <a:xfrm>
                <a:off x="6009394" y="1816432"/>
                <a:ext cx="11871" cy="20774"/>
              </a:xfrm>
              <a:custGeom>
                <a:avLst/>
                <a:gdLst>
                  <a:gd name="T0" fmla="*/ 11 w 12"/>
                  <a:gd name="T1" fmla="*/ 21 h 21"/>
                  <a:gd name="T2" fmla="*/ 11 w 12"/>
                  <a:gd name="T3" fmla="*/ 21 h 21"/>
                  <a:gd name="T4" fmla="*/ 3 w 12"/>
                  <a:gd name="T5" fmla="*/ 20 h 21"/>
                  <a:gd name="T6" fmla="*/ 2 w 12"/>
                  <a:gd name="T7" fmla="*/ 20 h 21"/>
                  <a:gd name="T8" fmla="*/ 0 w 12"/>
                  <a:gd name="T9" fmla="*/ 18 h 21"/>
                  <a:gd name="T10" fmla="*/ 0 w 12"/>
                  <a:gd name="T11" fmla="*/ 18 h 21"/>
                  <a:gd name="T12" fmla="*/ 2 w 12"/>
                  <a:gd name="T13" fmla="*/ 13 h 21"/>
                  <a:gd name="T14" fmla="*/ 3 w 12"/>
                  <a:gd name="T15" fmla="*/ 7 h 21"/>
                  <a:gd name="T16" fmla="*/ 3 w 12"/>
                  <a:gd name="T17" fmla="*/ 7 h 21"/>
                  <a:gd name="T18" fmla="*/ 5 w 12"/>
                  <a:gd name="T19" fmla="*/ 4 h 21"/>
                  <a:gd name="T20" fmla="*/ 8 w 12"/>
                  <a:gd name="T21" fmla="*/ 1 h 21"/>
                  <a:gd name="T22" fmla="*/ 11 w 12"/>
                  <a:gd name="T23" fmla="*/ 0 h 21"/>
                  <a:gd name="T24" fmla="*/ 12 w 12"/>
                  <a:gd name="T25" fmla="*/ 0 h 21"/>
                  <a:gd name="T26" fmla="*/ 12 w 12"/>
                  <a:gd name="T27" fmla="*/ 0 h 21"/>
                  <a:gd name="T28" fmla="*/ 12 w 12"/>
                  <a:gd name="T29" fmla="*/ 0 h 21"/>
                  <a:gd name="T30" fmla="*/ 12 w 12"/>
                  <a:gd name="T31" fmla="*/ 3 h 21"/>
                  <a:gd name="T32" fmla="*/ 11 w 12"/>
                  <a:gd name="T33" fmla="*/ 5 h 21"/>
                  <a:gd name="T34" fmla="*/ 9 w 12"/>
                  <a:gd name="T35" fmla="*/ 7 h 21"/>
                  <a:gd name="T36" fmla="*/ 8 w 12"/>
                  <a:gd name="T37" fmla="*/ 10 h 21"/>
                  <a:gd name="T38" fmla="*/ 8 w 12"/>
                  <a:gd name="T39" fmla="*/ 10 h 21"/>
                  <a:gd name="T40" fmla="*/ 11 w 12"/>
                  <a:gd name="T41" fmla="*/ 17 h 21"/>
                  <a:gd name="T42" fmla="*/ 11 w 12"/>
                  <a:gd name="T43" fmla="*/ 20 h 21"/>
                  <a:gd name="T44" fmla="*/ 11 w 12"/>
                  <a:gd name="T45" fmla="*/ 21 h 21"/>
                  <a:gd name="T46" fmla="*/ 11 w 12"/>
                  <a:gd name="T47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" h="21">
                    <a:moveTo>
                      <a:pt x="11" y="21"/>
                    </a:moveTo>
                    <a:lnTo>
                      <a:pt x="11" y="21"/>
                    </a:lnTo>
                    <a:lnTo>
                      <a:pt x="3" y="20"/>
                    </a:lnTo>
                    <a:lnTo>
                      <a:pt x="2" y="2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5" y="4"/>
                    </a:lnTo>
                    <a:lnTo>
                      <a:pt x="8" y="1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3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1" y="17"/>
                    </a:lnTo>
                    <a:lnTo>
                      <a:pt x="11" y="20"/>
                    </a:lnTo>
                    <a:lnTo>
                      <a:pt x="11" y="21"/>
                    </a:lnTo>
                    <a:lnTo>
                      <a:pt x="11" y="2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15" name="Freeform 1170"/>
              <p:cNvSpPr>
                <a:spLocks/>
              </p:cNvSpPr>
              <p:nvPr/>
            </p:nvSpPr>
            <p:spPr bwMode="auto">
              <a:xfrm>
                <a:off x="6001480" y="1794668"/>
                <a:ext cx="22753" cy="6925"/>
              </a:xfrm>
              <a:custGeom>
                <a:avLst/>
                <a:gdLst>
                  <a:gd name="T0" fmla="*/ 19 w 23"/>
                  <a:gd name="T1" fmla="*/ 7 h 7"/>
                  <a:gd name="T2" fmla="*/ 19 w 23"/>
                  <a:gd name="T3" fmla="*/ 7 h 7"/>
                  <a:gd name="T4" fmla="*/ 10 w 23"/>
                  <a:gd name="T5" fmla="*/ 7 h 7"/>
                  <a:gd name="T6" fmla="*/ 6 w 23"/>
                  <a:gd name="T7" fmla="*/ 7 h 7"/>
                  <a:gd name="T8" fmla="*/ 3 w 23"/>
                  <a:gd name="T9" fmla="*/ 6 h 7"/>
                  <a:gd name="T10" fmla="*/ 3 w 23"/>
                  <a:gd name="T11" fmla="*/ 6 h 7"/>
                  <a:gd name="T12" fmla="*/ 1 w 23"/>
                  <a:gd name="T13" fmla="*/ 3 h 7"/>
                  <a:gd name="T14" fmla="*/ 0 w 23"/>
                  <a:gd name="T15" fmla="*/ 1 h 7"/>
                  <a:gd name="T16" fmla="*/ 1 w 23"/>
                  <a:gd name="T17" fmla="*/ 0 h 7"/>
                  <a:gd name="T18" fmla="*/ 4 w 23"/>
                  <a:gd name="T19" fmla="*/ 0 h 7"/>
                  <a:gd name="T20" fmla="*/ 4 w 23"/>
                  <a:gd name="T21" fmla="*/ 0 h 7"/>
                  <a:gd name="T22" fmla="*/ 16 w 23"/>
                  <a:gd name="T23" fmla="*/ 0 h 7"/>
                  <a:gd name="T24" fmla="*/ 20 w 23"/>
                  <a:gd name="T25" fmla="*/ 0 h 7"/>
                  <a:gd name="T26" fmla="*/ 21 w 23"/>
                  <a:gd name="T27" fmla="*/ 0 h 7"/>
                  <a:gd name="T28" fmla="*/ 23 w 23"/>
                  <a:gd name="T29" fmla="*/ 1 h 7"/>
                  <a:gd name="T30" fmla="*/ 23 w 23"/>
                  <a:gd name="T31" fmla="*/ 1 h 7"/>
                  <a:gd name="T32" fmla="*/ 21 w 23"/>
                  <a:gd name="T33" fmla="*/ 6 h 7"/>
                  <a:gd name="T34" fmla="*/ 19 w 23"/>
                  <a:gd name="T3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" h="7">
                    <a:moveTo>
                      <a:pt x="19" y="7"/>
                    </a:moveTo>
                    <a:lnTo>
                      <a:pt x="19" y="7"/>
                    </a:lnTo>
                    <a:lnTo>
                      <a:pt x="10" y="7"/>
                    </a:lnTo>
                    <a:lnTo>
                      <a:pt x="6" y="7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1" y="0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1" y="6"/>
                    </a:lnTo>
                    <a:lnTo>
                      <a:pt x="19" y="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16" name="Freeform 1171"/>
              <p:cNvSpPr>
                <a:spLocks/>
              </p:cNvSpPr>
              <p:nvPr/>
            </p:nvSpPr>
            <p:spPr bwMode="auto">
              <a:xfrm>
                <a:off x="6092492" y="1509762"/>
                <a:ext cx="10882" cy="12860"/>
              </a:xfrm>
              <a:custGeom>
                <a:avLst/>
                <a:gdLst>
                  <a:gd name="T0" fmla="*/ 5 w 11"/>
                  <a:gd name="T1" fmla="*/ 0 h 13"/>
                  <a:gd name="T2" fmla="*/ 5 w 11"/>
                  <a:gd name="T3" fmla="*/ 0 h 13"/>
                  <a:gd name="T4" fmla="*/ 6 w 11"/>
                  <a:gd name="T5" fmla="*/ 1 h 13"/>
                  <a:gd name="T6" fmla="*/ 9 w 11"/>
                  <a:gd name="T7" fmla="*/ 4 h 13"/>
                  <a:gd name="T8" fmla="*/ 11 w 11"/>
                  <a:gd name="T9" fmla="*/ 7 h 13"/>
                  <a:gd name="T10" fmla="*/ 11 w 11"/>
                  <a:gd name="T11" fmla="*/ 10 h 13"/>
                  <a:gd name="T12" fmla="*/ 11 w 11"/>
                  <a:gd name="T13" fmla="*/ 10 h 13"/>
                  <a:gd name="T14" fmla="*/ 6 w 11"/>
                  <a:gd name="T15" fmla="*/ 13 h 13"/>
                  <a:gd name="T16" fmla="*/ 5 w 11"/>
                  <a:gd name="T17" fmla="*/ 13 h 13"/>
                  <a:gd name="T18" fmla="*/ 2 w 11"/>
                  <a:gd name="T19" fmla="*/ 11 h 13"/>
                  <a:gd name="T20" fmla="*/ 2 w 11"/>
                  <a:gd name="T21" fmla="*/ 11 h 13"/>
                  <a:gd name="T22" fmla="*/ 0 w 11"/>
                  <a:gd name="T23" fmla="*/ 8 h 13"/>
                  <a:gd name="T24" fmla="*/ 0 w 11"/>
                  <a:gd name="T25" fmla="*/ 4 h 13"/>
                  <a:gd name="T26" fmla="*/ 2 w 11"/>
                  <a:gd name="T27" fmla="*/ 1 h 13"/>
                  <a:gd name="T28" fmla="*/ 5 w 11"/>
                  <a:gd name="T2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3">
                    <a:moveTo>
                      <a:pt x="5" y="0"/>
                    </a:moveTo>
                    <a:lnTo>
                      <a:pt x="5" y="0"/>
                    </a:lnTo>
                    <a:lnTo>
                      <a:pt x="6" y="1"/>
                    </a:lnTo>
                    <a:lnTo>
                      <a:pt x="9" y="4"/>
                    </a:lnTo>
                    <a:lnTo>
                      <a:pt x="11" y="7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6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2" y="1"/>
                    </a:lnTo>
                    <a:lnTo>
                      <a:pt x="5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17" name="Freeform 1172"/>
              <p:cNvSpPr>
                <a:spLocks/>
              </p:cNvSpPr>
              <p:nvPr/>
            </p:nvSpPr>
            <p:spPr bwMode="auto">
              <a:xfrm>
                <a:off x="6062814" y="2263577"/>
                <a:ext cx="90023" cy="109808"/>
              </a:xfrm>
              <a:custGeom>
                <a:avLst/>
                <a:gdLst>
                  <a:gd name="T0" fmla="*/ 87 w 91"/>
                  <a:gd name="T1" fmla="*/ 20 h 111"/>
                  <a:gd name="T2" fmla="*/ 81 w 91"/>
                  <a:gd name="T3" fmla="*/ 40 h 111"/>
                  <a:gd name="T4" fmla="*/ 81 w 91"/>
                  <a:gd name="T5" fmla="*/ 43 h 111"/>
                  <a:gd name="T6" fmla="*/ 74 w 91"/>
                  <a:gd name="T7" fmla="*/ 46 h 111"/>
                  <a:gd name="T8" fmla="*/ 71 w 91"/>
                  <a:gd name="T9" fmla="*/ 47 h 111"/>
                  <a:gd name="T10" fmla="*/ 74 w 91"/>
                  <a:gd name="T11" fmla="*/ 53 h 111"/>
                  <a:gd name="T12" fmla="*/ 75 w 91"/>
                  <a:gd name="T13" fmla="*/ 55 h 111"/>
                  <a:gd name="T14" fmla="*/ 68 w 91"/>
                  <a:gd name="T15" fmla="*/ 60 h 111"/>
                  <a:gd name="T16" fmla="*/ 64 w 91"/>
                  <a:gd name="T17" fmla="*/ 63 h 111"/>
                  <a:gd name="T18" fmla="*/ 52 w 91"/>
                  <a:gd name="T19" fmla="*/ 76 h 111"/>
                  <a:gd name="T20" fmla="*/ 46 w 91"/>
                  <a:gd name="T21" fmla="*/ 81 h 111"/>
                  <a:gd name="T22" fmla="*/ 35 w 91"/>
                  <a:gd name="T23" fmla="*/ 88 h 111"/>
                  <a:gd name="T24" fmla="*/ 29 w 91"/>
                  <a:gd name="T25" fmla="*/ 98 h 111"/>
                  <a:gd name="T26" fmla="*/ 28 w 91"/>
                  <a:gd name="T27" fmla="*/ 102 h 111"/>
                  <a:gd name="T28" fmla="*/ 17 w 91"/>
                  <a:gd name="T29" fmla="*/ 110 h 111"/>
                  <a:gd name="T30" fmla="*/ 12 w 91"/>
                  <a:gd name="T31" fmla="*/ 111 h 111"/>
                  <a:gd name="T32" fmla="*/ 0 w 91"/>
                  <a:gd name="T33" fmla="*/ 110 h 111"/>
                  <a:gd name="T34" fmla="*/ 0 w 91"/>
                  <a:gd name="T35" fmla="*/ 110 h 111"/>
                  <a:gd name="T36" fmla="*/ 3 w 91"/>
                  <a:gd name="T37" fmla="*/ 107 h 111"/>
                  <a:gd name="T38" fmla="*/ 12 w 91"/>
                  <a:gd name="T39" fmla="*/ 102 h 111"/>
                  <a:gd name="T40" fmla="*/ 19 w 91"/>
                  <a:gd name="T41" fmla="*/ 95 h 111"/>
                  <a:gd name="T42" fmla="*/ 26 w 91"/>
                  <a:gd name="T43" fmla="*/ 86 h 111"/>
                  <a:gd name="T44" fmla="*/ 41 w 91"/>
                  <a:gd name="T45" fmla="*/ 68 h 111"/>
                  <a:gd name="T46" fmla="*/ 46 w 91"/>
                  <a:gd name="T47" fmla="*/ 57 h 111"/>
                  <a:gd name="T48" fmla="*/ 56 w 91"/>
                  <a:gd name="T49" fmla="*/ 49 h 111"/>
                  <a:gd name="T50" fmla="*/ 62 w 91"/>
                  <a:gd name="T51" fmla="*/ 43 h 111"/>
                  <a:gd name="T52" fmla="*/ 80 w 91"/>
                  <a:gd name="T53" fmla="*/ 15 h 111"/>
                  <a:gd name="T54" fmla="*/ 84 w 91"/>
                  <a:gd name="T55" fmla="*/ 7 h 111"/>
                  <a:gd name="T56" fmla="*/ 90 w 91"/>
                  <a:gd name="T57" fmla="*/ 0 h 111"/>
                  <a:gd name="T58" fmla="*/ 90 w 91"/>
                  <a:gd name="T59" fmla="*/ 0 h 111"/>
                  <a:gd name="T60" fmla="*/ 91 w 91"/>
                  <a:gd name="T61" fmla="*/ 7 h 111"/>
                  <a:gd name="T62" fmla="*/ 87 w 91"/>
                  <a:gd name="T63" fmla="*/ 2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1" h="111">
                    <a:moveTo>
                      <a:pt x="87" y="20"/>
                    </a:moveTo>
                    <a:lnTo>
                      <a:pt x="87" y="20"/>
                    </a:lnTo>
                    <a:lnTo>
                      <a:pt x="83" y="31"/>
                    </a:lnTo>
                    <a:lnTo>
                      <a:pt x="81" y="40"/>
                    </a:lnTo>
                    <a:lnTo>
                      <a:pt x="81" y="40"/>
                    </a:lnTo>
                    <a:lnTo>
                      <a:pt x="81" y="43"/>
                    </a:lnTo>
                    <a:lnTo>
                      <a:pt x="80" y="44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1" y="47"/>
                    </a:lnTo>
                    <a:lnTo>
                      <a:pt x="71" y="49"/>
                    </a:lnTo>
                    <a:lnTo>
                      <a:pt x="74" y="53"/>
                    </a:lnTo>
                    <a:lnTo>
                      <a:pt x="74" y="53"/>
                    </a:lnTo>
                    <a:lnTo>
                      <a:pt x="75" y="55"/>
                    </a:lnTo>
                    <a:lnTo>
                      <a:pt x="74" y="57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4" y="63"/>
                    </a:lnTo>
                    <a:lnTo>
                      <a:pt x="58" y="69"/>
                    </a:lnTo>
                    <a:lnTo>
                      <a:pt x="52" y="76"/>
                    </a:lnTo>
                    <a:lnTo>
                      <a:pt x="46" y="81"/>
                    </a:lnTo>
                    <a:lnTo>
                      <a:pt x="46" y="81"/>
                    </a:lnTo>
                    <a:lnTo>
                      <a:pt x="39" y="85"/>
                    </a:lnTo>
                    <a:lnTo>
                      <a:pt x="35" y="88"/>
                    </a:lnTo>
                    <a:lnTo>
                      <a:pt x="30" y="92"/>
                    </a:lnTo>
                    <a:lnTo>
                      <a:pt x="29" y="98"/>
                    </a:lnTo>
                    <a:lnTo>
                      <a:pt x="29" y="98"/>
                    </a:lnTo>
                    <a:lnTo>
                      <a:pt x="28" y="102"/>
                    </a:lnTo>
                    <a:lnTo>
                      <a:pt x="25" y="105"/>
                    </a:lnTo>
                    <a:lnTo>
                      <a:pt x="17" y="110"/>
                    </a:lnTo>
                    <a:lnTo>
                      <a:pt x="17" y="110"/>
                    </a:lnTo>
                    <a:lnTo>
                      <a:pt x="12" y="111"/>
                    </a:lnTo>
                    <a:lnTo>
                      <a:pt x="7" y="110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08"/>
                    </a:lnTo>
                    <a:lnTo>
                      <a:pt x="3" y="107"/>
                    </a:lnTo>
                    <a:lnTo>
                      <a:pt x="12" y="102"/>
                    </a:lnTo>
                    <a:lnTo>
                      <a:pt x="12" y="102"/>
                    </a:lnTo>
                    <a:lnTo>
                      <a:pt x="14" y="99"/>
                    </a:lnTo>
                    <a:lnTo>
                      <a:pt x="19" y="95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33" y="76"/>
                    </a:lnTo>
                    <a:lnTo>
                      <a:pt x="41" y="68"/>
                    </a:lnTo>
                    <a:lnTo>
                      <a:pt x="41" y="68"/>
                    </a:lnTo>
                    <a:lnTo>
                      <a:pt x="46" y="57"/>
                    </a:lnTo>
                    <a:lnTo>
                      <a:pt x="51" y="53"/>
                    </a:lnTo>
                    <a:lnTo>
                      <a:pt x="56" y="49"/>
                    </a:lnTo>
                    <a:lnTo>
                      <a:pt x="56" y="49"/>
                    </a:lnTo>
                    <a:lnTo>
                      <a:pt x="62" y="43"/>
                    </a:lnTo>
                    <a:lnTo>
                      <a:pt x="70" y="33"/>
                    </a:lnTo>
                    <a:lnTo>
                      <a:pt x="80" y="15"/>
                    </a:lnTo>
                    <a:lnTo>
                      <a:pt x="80" y="15"/>
                    </a:lnTo>
                    <a:lnTo>
                      <a:pt x="84" y="7"/>
                    </a:lnTo>
                    <a:lnTo>
                      <a:pt x="87" y="2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1" y="1"/>
                    </a:lnTo>
                    <a:lnTo>
                      <a:pt x="91" y="7"/>
                    </a:lnTo>
                    <a:lnTo>
                      <a:pt x="90" y="14"/>
                    </a:lnTo>
                    <a:lnTo>
                      <a:pt x="87" y="2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18" name="Freeform 1173"/>
              <p:cNvSpPr>
                <a:spLocks noEditPoints="1"/>
              </p:cNvSpPr>
              <p:nvPr/>
            </p:nvSpPr>
            <p:spPr bwMode="auto">
              <a:xfrm>
                <a:off x="5827371" y="2360525"/>
                <a:ext cx="485727" cy="235444"/>
              </a:xfrm>
              <a:custGeom>
                <a:avLst/>
                <a:gdLst>
                  <a:gd name="T0" fmla="*/ 22 w 491"/>
                  <a:gd name="T1" fmla="*/ 90 h 238"/>
                  <a:gd name="T2" fmla="*/ 18 w 491"/>
                  <a:gd name="T3" fmla="*/ 106 h 238"/>
                  <a:gd name="T4" fmla="*/ 50 w 491"/>
                  <a:gd name="T5" fmla="*/ 126 h 238"/>
                  <a:gd name="T6" fmla="*/ 55 w 491"/>
                  <a:gd name="T7" fmla="*/ 149 h 238"/>
                  <a:gd name="T8" fmla="*/ 60 w 491"/>
                  <a:gd name="T9" fmla="*/ 172 h 238"/>
                  <a:gd name="T10" fmla="*/ 84 w 491"/>
                  <a:gd name="T11" fmla="*/ 178 h 238"/>
                  <a:gd name="T12" fmla="*/ 97 w 491"/>
                  <a:gd name="T13" fmla="*/ 188 h 238"/>
                  <a:gd name="T14" fmla="*/ 90 w 491"/>
                  <a:gd name="T15" fmla="*/ 200 h 238"/>
                  <a:gd name="T16" fmla="*/ 105 w 491"/>
                  <a:gd name="T17" fmla="*/ 219 h 238"/>
                  <a:gd name="T18" fmla="*/ 141 w 491"/>
                  <a:gd name="T19" fmla="*/ 217 h 238"/>
                  <a:gd name="T20" fmla="*/ 163 w 491"/>
                  <a:gd name="T21" fmla="*/ 214 h 238"/>
                  <a:gd name="T22" fmla="*/ 182 w 491"/>
                  <a:gd name="T23" fmla="*/ 222 h 238"/>
                  <a:gd name="T24" fmla="*/ 205 w 491"/>
                  <a:gd name="T25" fmla="*/ 225 h 238"/>
                  <a:gd name="T26" fmla="*/ 225 w 491"/>
                  <a:gd name="T27" fmla="*/ 238 h 238"/>
                  <a:gd name="T28" fmla="*/ 263 w 491"/>
                  <a:gd name="T29" fmla="*/ 232 h 238"/>
                  <a:gd name="T30" fmla="*/ 308 w 491"/>
                  <a:gd name="T31" fmla="*/ 216 h 238"/>
                  <a:gd name="T32" fmla="*/ 336 w 491"/>
                  <a:gd name="T33" fmla="*/ 209 h 238"/>
                  <a:gd name="T34" fmla="*/ 384 w 491"/>
                  <a:gd name="T35" fmla="*/ 152 h 238"/>
                  <a:gd name="T36" fmla="*/ 393 w 491"/>
                  <a:gd name="T37" fmla="*/ 142 h 238"/>
                  <a:gd name="T38" fmla="*/ 400 w 491"/>
                  <a:gd name="T39" fmla="*/ 146 h 238"/>
                  <a:gd name="T40" fmla="*/ 415 w 491"/>
                  <a:gd name="T41" fmla="*/ 164 h 238"/>
                  <a:gd name="T42" fmla="*/ 438 w 491"/>
                  <a:gd name="T43" fmla="*/ 154 h 238"/>
                  <a:gd name="T44" fmla="*/ 473 w 491"/>
                  <a:gd name="T45" fmla="*/ 135 h 238"/>
                  <a:gd name="T46" fmla="*/ 489 w 491"/>
                  <a:gd name="T47" fmla="*/ 132 h 238"/>
                  <a:gd name="T48" fmla="*/ 491 w 491"/>
                  <a:gd name="T49" fmla="*/ 109 h 238"/>
                  <a:gd name="T50" fmla="*/ 468 w 491"/>
                  <a:gd name="T51" fmla="*/ 100 h 238"/>
                  <a:gd name="T52" fmla="*/ 455 w 491"/>
                  <a:gd name="T53" fmla="*/ 104 h 238"/>
                  <a:gd name="T54" fmla="*/ 444 w 491"/>
                  <a:gd name="T55" fmla="*/ 109 h 238"/>
                  <a:gd name="T56" fmla="*/ 434 w 491"/>
                  <a:gd name="T57" fmla="*/ 85 h 238"/>
                  <a:gd name="T58" fmla="*/ 442 w 491"/>
                  <a:gd name="T59" fmla="*/ 55 h 238"/>
                  <a:gd name="T60" fmla="*/ 423 w 491"/>
                  <a:gd name="T61" fmla="*/ 52 h 238"/>
                  <a:gd name="T62" fmla="*/ 407 w 491"/>
                  <a:gd name="T63" fmla="*/ 45 h 238"/>
                  <a:gd name="T64" fmla="*/ 380 w 491"/>
                  <a:gd name="T65" fmla="*/ 58 h 238"/>
                  <a:gd name="T66" fmla="*/ 351 w 491"/>
                  <a:gd name="T67" fmla="*/ 70 h 238"/>
                  <a:gd name="T68" fmla="*/ 323 w 491"/>
                  <a:gd name="T69" fmla="*/ 65 h 238"/>
                  <a:gd name="T70" fmla="*/ 297 w 491"/>
                  <a:gd name="T71" fmla="*/ 54 h 238"/>
                  <a:gd name="T72" fmla="*/ 280 w 491"/>
                  <a:gd name="T73" fmla="*/ 42 h 238"/>
                  <a:gd name="T74" fmla="*/ 266 w 491"/>
                  <a:gd name="T75" fmla="*/ 41 h 238"/>
                  <a:gd name="T76" fmla="*/ 234 w 491"/>
                  <a:gd name="T77" fmla="*/ 45 h 238"/>
                  <a:gd name="T78" fmla="*/ 212 w 491"/>
                  <a:gd name="T79" fmla="*/ 30 h 238"/>
                  <a:gd name="T80" fmla="*/ 206 w 491"/>
                  <a:gd name="T81" fmla="*/ 17 h 238"/>
                  <a:gd name="T82" fmla="*/ 170 w 491"/>
                  <a:gd name="T83" fmla="*/ 3 h 238"/>
                  <a:gd name="T84" fmla="*/ 163 w 491"/>
                  <a:gd name="T85" fmla="*/ 3 h 238"/>
                  <a:gd name="T86" fmla="*/ 160 w 491"/>
                  <a:gd name="T87" fmla="*/ 10 h 238"/>
                  <a:gd name="T88" fmla="*/ 148 w 491"/>
                  <a:gd name="T89" fmla="*/ 33 h 238"/>
                  <a:gd name="T90" fmla="*/ 147 w 491"/>
                  <a:gd name="T91" fmla="*/ 43 h 238"/>
                  <a:gd name="T92" fmla="*/ 129 w 491"/>
                  <a:gd name="T93" fmla="*/ 54 h 238"/>
                  <a:gd name="T94" fmla="*/ 103 w 491"/>
                  <a:gd name="T95" fmla="*/ 36 h 238"/>
                  <a:gd name="T96" fmla="*/ 92 w 491"/>
                  <a:gd name="T97" fmla="*/ 32 h 238"/>
                  <a:gd name="T98" fmla="*/ 73 w 491"/>
                  <a:gd name="T99" fmla="*/ 26 h 238"/>
                  <a:gd name="T100" fmla="*/ 38 w 491"/>
                  <a:gd name="T101" fmla="*/ 33 h 238"/>
                  <a:gd name="T102" fmla="*/ 11 w 491"/>
                  <a:gd name="T103" fmla="*/ 38 h 238"/>
                  <a:gd name="T104" fmla="*/ 9 w 491"/>
                  <a:gd name="T105" fmla="*/ 57 h 238"/>
                  <a:gd name="T106" fmla="*/ 0 w 491"/>
                  <a:gd name="T107" fmla="*/ 64 h 238"/>
                  <a:gd name="T108" fmla="*/ 5 w 491"/>
                  <a:gd name="T109" fmla="*/ 74 h 238"/>
                  <a:gd name="T110" fmla="*/ 55 w 491"/>
                  <a:gd name="T111" fmla="*/ 38 h 238"/>
                  <a:gd name="T112" fmla="*/ 64 w 491"/>
                  <a:gd name="T113" fmla="*/ 45 h 238"/>
                  <a:gd name="T114" fmla="*/ 58 w 491"/>
                  <a:gd name="T115" fmla="*/ 54 h 238"/>
                  <a:gd name="T116" fmla="*/ 48 w 491"/>
                  <a:gd name="T117" fmla="*/ 48 h 238"/>
                  <a:gd name="T118" fmla="*/ 51 w 491"/>
                  <a:gd name="T119" fmla="*/ 41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91" h="238">
                    <a:moveTo>
                      <a:pt x="21" y="84"/>
                    </a:moveTo>
                    <a:lnTo>
                      <a:pt x="21" y="84"/>
                    </a:lnTo>
                    <a:lnTo>
                      <a:pt x="22" y="87"/>
                    </a:lnTo>
                    <a:lnTo>
                      <a:pt x="22" y="90"/>
                    </a:lnTo>
                    <a:lnTo>
                      <a:pt x="16" y="99"/>
                    </a:lnTo>
                    <a:lnTo>
                      <a:pt x="16" y="99"/>
                    </a:lnTo>
                    <a:lnTo>
                      <a:pt x="16" y="101"/>
                    </a:lnTo>
                    <a:lnTo>
                      <a:pt x="18" y="106"/>
                    </a:lnTo>
                    <a:lnTo>
                      <a:pt x="22" y="109"/>
                    </a:lnTo>
                    <a:lnTo>
                      <a:pt x="28" y="113"/>
                    </a:lnTo>
                    <a:lnTo>
                      <a:pt x="41" y="120"/>
                    </a:lnTo>
                    <a:lnTo>
                      <a:pt x="50" y="126"/>
                    </a:lnTo>
                    <a:lnTo>
                      <a:pt x="50" y="126"/>
                    </a:lnTo>
                    <a:lnTo>
                      <a:pt x="53" y="130"/>
                    </a:lnTo>
                    <a:lnTo>
                      <a:pt x="54" y="135"/>
                    </a:lnTo>
                    <a:lnTo>
                      <a:pt x="55" y="149"/>
                    </a:lnTo>
                    <a:lnTo>
                      <a:pt x="57" y="169"/>
                    </a:lnTo>
                    <a:lnTo>
                      <a:pt x="57" y="169"/>
                    </a:lnTo>
                    <a:lnTo>
                      <a:pt x="58" y="172"/>
                    </a:lnTo>
                    <a:lnTo>
                      <a:pt x="60" y="172"/>
                    </a:lnTo>
                    <a:lnTo>
                      <a:pt x="69" y="175"/>
                    </a:lnTo>
                    <a:lnTo>
                      <a:pt x="79" y="177"/>
                    </a:lnTo>
                    <a:lnTo>
                      <a:pt x="84" y="178"/>
                    </a:lnTo>
                    <a:lnTo>
                      <a:pt x="84" y="178"/>
                    </a:lnTo>
                    <a:lnTo>
                      <a:pt x="92" y="183"/>
                    </a:lnTo>
                    <a:lnTo>
                      <a:pt x="97" y="187"/>
                    </a:lnTo>
                    <a:lnTo>
                      <a:pt x="97" y="187"/>
                    </a:lnTo>
                    <a:lnTo>
                      <a:pt x="97" y="188"/>
                    </a:lnTo>
                    <a:lnTo>
                      <a:pt x="95" y="191"/>
                    </a:lnTo>
                    <a:lnTo>
                      <a:pt x="90" y="198"/>
                    </a:lnTo>
                    <a:lnTo>
                      <a:pt x="90" y="198"/>
                    </a:lnTo>
                    <a:lnTo>
                      <a:pt x="90" y="200"/>
                    </a:lnTo>
                    <a:lnTo>
                      <a:pt x="90" y="203"/>
                    </a:lnTo>
                    <a:lnTo>
                      <a:pt x="95" y="209"/>
                    </a:lnTo>
                    <a:lnTo>
                      <a:pt x="105" y="219"/>
                    </a:lnTo>
                    <a:lnTo>
                      <a:pt x="105" y="219"/>
                    </a:lnTo>
                    <a:lnTo>
                      <a:pt x="108" y="220"/>
                    </a:lnTo>
                    <a:lnTo>
                      <a:pt x="113" y="220"/>
                    </a:lnTo>
                    <a:lnTo>
                      <a:pt x="126" y="220"/>
                    </a:lnTo>
                    <a:lnTo>
                      <a:pt x="141" y="217"/>
                    </a:lnTo>
                    <a:lnTo>
                      <a:pt x="150" y="216"/>
                    </a:lnTo>
                    <a:lnTo>
                      <a:pt x="150" y="216"/>
                    </a:lnTo>
                    <a:lnTo>
                      <a:pt x="155" y="214"/>
                    </a:lnTo>
                    <a:lnTo>
                      <a:pt x="163" y="214"/>
                    </a:lnTo>
                    <a:lnTo>
                      <a:pt x="168" y="216"/>
                    </a:lnTo>
                    <a:lnTo>
                      <a:pt x="174" y="217"/>
                    </a:lnTo>
                    <a:lnTo>
                      <a:pt x="174" y="217"/>
                    </a:lnTo>
                    <a:lnTo>
                      <a:pt x="182" y="222"/>
                    </a:lnTo>
                    <a:lnTo>
                      <a:pt x="196" y="222"/>
                    </a:lnTo>
                    <a:lnTo>
                      <a:pt x="196" y="222"/>
                    </a:lnTo>
                    <a:lnTo>
                      <a:pt x="202" y="223"/>
                    </a:lnTo>
                    <a:lnTo>
                      <a:pt x="205" y="225"/>
                    </a:lnTo>
                    <a:lnTo>
                      <a:pt x="212" y="229"/>
                    </a:lnTo>
                    <a:lnTo>
                      <a:pt x="218" y="233"/>
                    </a:lnTo>
                    <a:lnTo>
                      <a:pt x="222" y="236"/>
                    </a:lnTo>
                    <a:lnTo>
                      <a:pt x="225" y="238"/>
                    </a:lnTo>
                    <a:lnTo>
                      <a:pt x="225" y="238"/>
                    </a:lnTo>
                    <a:lnTo>
                      <a:pt x="232" y="238"/>
                    </a:lnTo>
                    <a:lnTo>
                      <a:pt x="241" y="236"/>
                    </a:lnTo>
                    <a:lnTo>
                      <a:pt x="263" y="232"/>
                    </a:lnTo>
                    <a:lnTo>
                      <a:pt x="286" y="225"/>
                    </a:lnTo>
                    <a:lnTo>
                      <a:pt x="300" y="219"/>
                    </a:lnTo>
                    <a:lnTo>
                      <a:pt x="300" y="219"/>
                    </a:lnTo>
                    <a:lnTo>
                      <a:pt x="308" y="216"/>
                    </a:lnTo>
                    <a:lnTo>
                      <a:pt x="313" y="214"/>
                    </a:lnTo>
                    <a:lnTo>
                      <a:pt x="331" y="211"/>
                    </a:lnTo>
                    <a:lnTo>
                      <a:pt x="331" y="211"/>
                    </a:lnTo>
                    <a:lnTo>
                      <a:pt x="336" y="209"/>
                    </a:lnTo>
                    <a:lnTo>
                      <a:pt x="344" y="203"/>
                    </a:lnTo>
                    <a:lnTo>
                      <a:pt x="361" y="184"/>
                    </a:lnTo>
                    <a:lnTo>
                      <a:pt x="376" y="165"/>
                    </a:lnTo>
                    <a:lnTo>
                      <a:pt x="384" y="152"/>
                    </a:lnTo>
                    <a:lnTo>
                      <a:pt x="384" y="152"/>
                    </a:lnTo>
                    <a:lnTo>
                      <a:pt x="387" y="148"/>
                    </a:lnTo>
                    <a:lnTo>
                      <a:pt x="390" y="145"/>
                    </a:lnTo>
                    <a:lnTo>
                      <a:pt x="393" y="142"/>
                    </a:lnTo>
                    <a:lnTo>
                      <a:pt x="397" y="143"/>
                    </a:lnTo>
                    <a:lnTo>
                      <a:pt x="397" y="143"/>
                    </a:lnTo>
                    <a:lnTo>
                      <a:pt x="399" y="143"/>
                    </a:lnTo>
                    <a:lnTo>
                      <a:pt x="400" y="146"/>
                    </a:lnTo>
                    <a:lnTo>
                      <a:pt x="405" y="154"/>
                    </a:lnTo>
                    <a:lnTo>
                      <a:pt x="409" y="159"/>
                    </a:lnTo>
                    <a:lnTo>
                      <a:pt x="410" y="162"/>
                    </a:lnTo>
                    <a:lnTo>
                      <a:pt x="415" y="164"/>
                    </a:lnTo>
                    <a:lnTo>
                      <a:pt x="415" y="164"/>
                    </a:lnTo>
                    <a:lnTo>
                      <a:pt x="418" y="164"/>
                    </a:lnTo>
                    <a:lnTo>
                      <a:pt x="423" y="162"/>
                    </a:lnTo>
                    <a:lnTo>
                      <a:pt x="438" y="154"/>
                    </a:lnTo>
                    <a:lnTo>
                      <a:pt x="460" y="138"/>
                    </a:lnTo>
                    <a:lnTo>
                      <a:pt x="460" y="138"/>
                    </a:lnTo>
                    <a:lnTo>
                      <a:pt x="465" y="136"/>
                    </a:lnTo>
                    <a:lnTo>
                      <a:pt x="473" y="135"/>
                    </a:lnTo>
                    <a:lnTo>
                      <a:pt x="480" y="135"/>
                    </a:lnTo>
                    <a:lnTo>
                      <a:pt x="486" y="133"/>
                    </a:lnTo>
                    <a:lnTo>
                      <a:pt x="486" y="133"/>
                    </a:lnTo>
                    <a:lnTo>
                      <a:pt x="489" y="132"/>
                    </a:lnTo>
                    <a:lnTo>
                      <a:pt x="490" y="129"/>
                    </a:lnTo>
                    <a:lnTo>
                      <a:pt x="491" y="122"/>
                    </a:lnTo>
                    <a:lnTo>
                      <a:pt x="491" y="114"/>
                    </a:lnTo>
                    <a:lnTo>
                      <a:pt x="491" y="109"/>
                    </a:lnTo>
                    <a:lnTo>
                      <a:pt x="491" y="109"/>
                    </a:lnTo>
                    <a:lnTo>
                      <a:pt x="489" y="107"/>
                    </a:lnTo>
                    <a:lnTo>
                      <a:pt x="481" y="104"/>
                    </a:lnTo>
                    <a:lnTo>
                      <a:pt x="468" y="100"/>
                    </a:lnTo>
                    <a:lnTo>
                      <a:pt x="468" y="100"/>
                    </a:lnTo>
                    <a:lnTo>
                      <a:pt x="464" y="100"/>
                    </a:lnTo>
                    <a:lnTo>
                      <a:pt x="461" y="101"/>
                    </a:lnTo>
                    <a:lnTo>
                      <a:pt x="455" y="104"/>
                    </a:lnTo>
                    <a:lnTo>
                      <a:pt x="449" y="107"/>
                    </a:lnTo>
                    <a:lnTo>
                      <a:pt x="445" y="109"/>
                    </a:lnTo>
                    <a:lnTo>
                      <a:pt x="445" y="109"/>
                    </a:lnTo>
                    <a:lnTo>
                      <a:pt x="444" y="109"/>
                    </a:lnTo>
                    <a:lnTo>
                      <a:pt x="442" y="107"/>
                    </a:lnTo>
                    <a:lnTo>
                      <a:pt x="439" y="101"/>
                    </a:lnTo>
                    <a:lnTo>
                      <a:pt x="436" y="94"/>
                    </a:lnTo>
                    <a:lnTo>
                      <a:pt x="434" y="85"/>
                    </a:lnTo>
                    <a:lnTo>
                      <a:pt x="434" y="85"/>
                    </a:lnTo>
                    <a:lnTo>
                      <a:pt x="434" y="80"/>
                    </a:lnTo>
                    <a:lnTo>
                      <a:pt x="435" y="71"/>
                    </a:lnTo>
                    <a:lnTo>
                      <a:pt x="442" y="55"/>
                    </a:lnTo>
                    <a:lnTo>
                      <a:pt x="442" y="55"/>
                    </a:lnTo>
                    <a:lnTo>
                      <a:pt x="435" y="55"/>
                    </a:lnTo>
                    <a:lnTo>
                      <a:pt x="435" y="55"/>
                    </a:lnTo>
                    <a:lnTo>
                      <a:pt x="423" y="52"/>
                    </a:lnTo>
                    <a:lnTo>
                      <a:pt x="418" y="51"/>
                    </a:lnTo>
                    <a:lnTo>
                      <a:pt x="413" y="48"/>
                    </a:lnTo>
                    <a:lnTo>
                      <a:pt x="413" y="48"/>
                    </a:lnTo>
                    <a:lnTo>
                      <a:pt x="407" y="45"/>
                    </a:lnTo>
                    <a:lnTo>
                      <a:pt x="405" y="46"/>
                    </a:lnTo>
                    <a:lnTo>
                      <a:pt x="400" y="48"/>
                    </a:lnTo>
                    <a:lnTo>
                      <a:pt x="400" y="48"/>
                    </a:lnTo>
                    <a:lnTo>
                      <a:pt x="380" y="58"/>
                    </a:lnTo>
                    <a:lnTo>
                      <a:pt x="363" y="65"/>
                    </a:lnTo>
                    <a:lnTo>
                      <a:pt x="363" y="65"/>
                    </a:lnTo>
                    <a:lnTo>
                      <a:pt x="355" y="68"/>
                    </a:lnTo>
                    <a:lnTo>
                      <a:pt x="351" y="70"/>
                    </a:lnTo>
                    <a:lnTo>
                      <a:pt x="348" y="71"/>
                    </a:lnTo>
                    <a:lnTo>
                      <a:pt x="348" y="71"/>
                    </a:lnTo>
                    <a:lnTo>
                      <a:pt x="336" y="68"/>
                    </a:lnTo>
                    <a:lnTo>
                      <a:pt x="323" y="65"/>
                    </a:lnTo>
                    <a:lnTo>
                      <a:pt x="323" y="65"/>
                    </a:lnTo>
                    <a:lnTo>
                      <a:pt x="310" y="59"/>
                    </a:lnTo>
                    <a:lnTo>
                      <a:pt x="297" y="54"/>
                    </a:lnTo>
                    <a:lnTo>
                      <a:pt x="297" y="54"/>
                    </a:lnTo>
                    <a:lnTo>
                      <a:pt x="289" y="51"/>
                    </a:lnTo>
                    <a:lnTo>
                      <a:pt x="283" y="45"/>
                    </a:lnTo>
                    <a:lnTo>
                      <a:pt x="283" y="45"/>
                    </a:lnTo>
                    <a:lnTo>
                      <a:pt x="280" y="42"/>
                    </a:lnTo>
                    <a:lnTo>
                      <a:pt x="276" y="41"/>
                    </a:lnTo>
                    <a:lnTo>
                      <a:pt x="270" y="41"/>
                    </a:lnTo>
                    <a:lnTo>
                      <a:pt x="266" y="41"/>
                    </a:lnTo>
                    <a:lnTo>
                      <a:pt x="266" y="41"/>
                    </a:lnTo>
                    <a:lnTo>
                      <a:pt x="260" y="43"/>
                    </a:lnTo>
                    <a:lnTo>
                      <a:pt x="251" y="45"/>
                    </a:lnTo>
                    <a:lnTo>
                      <a:pt x="242" y="45"/>
                    </a:lnTo>
                    <a:lnTo>
                      <a:pt x="234" y="45"/>
                    </a:lnTo>
                    <a:lnTo>
                      <a:pt x="234" y="45"/>
                    </a:lnTo>
                    <a:lnTo>
                      <a:pt x="225" y="42"/>
                    </a:lnTo>
                    <a:lnTo>
                      <a:pt x="218" y="38"/>
                    </a:lnTo>
                    <a:lnTo>
                      <a:pt x="212" y="30"/>
                    </a:lnTo>
                    <a:lnTo>
                      <a:pt x="210" y="23"/>
                    </a:lnTo>
                    <a:lnTo>
                      <a:pt x="210" y="23"/>
                    </a:lnTo>
                    <a:lnTo>
                      <a:pt x="209" y="20"/>
                    </a:lnTo>
                    <a:lnTo>
                      <a:pt x="206" y="17"/>
                    </a:lnTo>
                    <a:lnTo>
                      <a:pt x="200" y="15"/>
                    </a:lnTo>
                    <a:lnTo>
                      <a:pt x="190" y="12"/>
                    </a:lnTo>
                    <a:lnTo>
                      <a:pt x="190" y="12"/>
                    </a:lnTo>
                    <a:lnTo>
                      <a:pt x="170" y="3"/>
                    </a:lnTo>
                    <a:lnTo>
                      <a:pt x="170" y="3"/>
                    </a:lnTo>
                    <a:lnTo>
                      <a:pt x="164" y="0"/>
                    </a:lnTo>
                    <a:lnTo>
                      <a:pt x="163" y="0"/>
                    </a:lnTo>
                    <a:lnTo>
                      <a:pt x="163" y="3"/>
                    </a:lnTo>
                    <a:lnTo>
                      <a:pt x="163" y="3"/>
                    </a:lnTo>
                    <a:lnTo>
                      <a:pt x="163" y="6"/>
                    </a:lnTo>
                    <a:lnTo>
                      <a:pt x="160" y="10"/>
                    </a:lnTo>
                    <a:lnTo>
                      <a:pt x="160" y="10"/>
                    </a:lnTo>
                    <a:lnTo>
                      <a:pt x="151" y="23"/>
                    </a:lnTo>
                    <a:lnTo>
                      <a:pt x="148" y="29"/>
                    </a:lnTo>
                    <a:lnTo>
                      <a:pt x="148" y="33"/>
                    </a:lnTo>
                    <a:lnTo>
                      <a:pt x="148" y="33"/>
                    </a:lnTo>
                    <a:lnTo>
                      <a:pt x="150" y="35"/>
                    </a:lnTo>
                    <a:lnTo>
                      <a:pt x="150" y="39"/>
                    </a:lnTo>
                    <a:lnTo>
                      <a:pt x="150" y="39"/>
                    </a:lnTo>
                    <a:lnTo>
                      <a:pt x="147" y="43"/>
                    </a:lnTo>
                    <a:lnTo>
                      <a:pt x="142" y="49"/>
                    </a:lnTo>
                    <a:lnTo>
                      <a:pt x="137" y="54"/>
                    </a:lnTo>
                    <a:lnTo>
                      <a:pt x="132" y="54"/>
                    </a:lnTo>
                    <a:lnTo>
                      <a:pt x="129" y="54"/>
                    </a:lnTo>
                    <a:lnTo>
                      <a:pt x="129" y="54"/>
                    </a:lnTo>
                    <a:lnTo>
                      <a:pt x="122" y="51"/>
                    </a:lnTo>
                    <a:lnTo>
                      <a:pt x="115" y="45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99" y="35"/>
                    </a:lnTo>
                    <a:lnTo>
                      <a:pt x="95" y="33"/>
                    </a:lnTo>
                    <a:lnTo>
                      <a:pt x="92" y="32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77" y="26"/>
                    </a:lnTo>
                    <a:lnTo>
                      <a:pt x="73" y="26"/>
                    </a:lnTo>
                    <a:lnTo>
                      <a:pt x="69" y="26"/>
                    </a:lnTo>
                    <a:lnTo>
                      <a:pt x="69" y="26"/>
                    </a:lnTo>
                    <a:lnTo>
                      <a:pt x="54" y="30"/>
                    </a:lnTo>
                    <a:lnTo>
                      <a:pt x="38" y="33"/>
                    </a:lnTo>
                    <a:lnTo>
                      <a:pt x="38" y="33"/>
                    </a:lnTo>
                    <a:lnTo>
                      <a:pt x="22" y="35"/>
                    </a:lnTo>
                    <a:lnTo>
                      <a:pt x="15" y="36"/>
                    </a:lnTo>
                    <a:lnTo>
                      <a:pt x="11" y="38"/>
                    </a:lnTo>
                    <a:lnTo>
                      <a:pt x="11" y="38"/>
                    </a:lnTo>
                    <a:lnTo>
                      <a:pt x="9" y="42"/>
                    </a:lnTo>
                    <a:lnTo>
                      <a:pt x="11" y="49"/>
                    </a:lnTo>
                    <a:lnTo>
                      <a:pt x="9" y="57"/>
                    </a:lnTo>
                    <a:lnTo>
                      <a:pt x="9" y="59"/>
                    </a:lnTo>
                    <a:lnTo>
                      <a:pt x="8" y="61"/>
                    </a:lnTo>
                    <a:lnTo>
                      <a:pt x="8" y="61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2" y="71"/>
                    </a:lnTo>
                    <a:lnTo>
                      <a:pt x="2" y="71"/>
                    </a:lnTo>
                    <a:lnTo>
                      <a:pt x="5" y="74"/>
                    </a:lnTo>
                    <a:lnTo>
                      <a:pt x="11" y="78"/>
                    </a:lnTo>
                    <a:lnTo>
                      <a:pt x="16" y="81"/>
                    </a:lnTo>
                    <a:lnTo>
                      <a:pt x="21" y="84"/>
                    </a:lnTo>
                    <a:close/>
                    <a:moveTo>
                      <a:pt x="55" y="38"/>
                    </a:moveTo>
                    <a:lnTo>
                      <a:pt x="55" y="38"/>
                    </a:lnTo>
                    <a:lnTo>
                      <a:pt x="61" y="41"/>
                    </a:lnTo>
                    <a:lnTo>
                      <a:pt x="64" y="42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4" y="48"/>
                    </a:lnTo>
                    <a:lnTo>
                      <a:pt x="61" y="51"/>
                    </a:lnTo>
                    <a:lnTo>
                      <a:pt x="58" y="54"/>
                    </a:lnTo>
                    <a:lnTo>
                      <a:pt x="55" y="54"/>
                    </a:lnTo>
                    <a:lnTo>
                      <a:pt x="55" y="54"/>
                    </a:lnTo>
                    <a:lnTo>
                      <a:pt x="50" y="49"/>
                    </a:lnTo>
                    <a:lnTo>
                      <a:pt x="48" y="48"/>
                    </a:lnTo>
                    <a:lnTo>
                      <a:pt x="48" y="45"/>
                    </a:lnTo>
                    <a:lnTo>
                      <a:pt x="48" y="45"/>
                    </a:lnTo>
                    <a:lnTo>
                      <a:pt x="50" y="42"/>
                    </a:lnTo>
                    <a:lnTo>
                      <a:pt x="51" y="41"/>
                    </a:lnTo>
                    <a:lnTo>
                      <a:pt x="54" y="38"/>
                    </a:lnTo>
                    <a:lnTo>
                      <a:pt x="55" y="3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20" name="Freeform 1175"/>
              <p:cNvSpPr>
                <a:spLocks/>
              </p:cNvSpPr>
              <p:nvPr/>
            </p:nvSpPr>
            <p:spPr bwMode="auto">
              <a:xfrm>
                <a:off x="5874855" y="2398117"/>
                <a:ext cx="15828" cy="15828"/>
              </a:xfrm>
              <a:custGeom>
                <a:avLst/>
                <a:gdLst>
                  <a:gd name="T0" fmla="*/ 7 w 16"/>
                  <a:gd name="T1" fmla="*/ 0 h 16"/>
                  <a:gd name="T2" fmla="*/ 7 w 16"/>
                  <a:gd name="T3" fmla="*/ 0 h 16"/>
                  <a:gd name="T4" fmla="*/ 13 w 16"/>
                  <a:gd name="T5" fmla="*/ 3 h 16"/>
                  <a:gd name="T6" fmla="*/ 16 w 16"/>
                  <a:gd name="T7" fmla="*/ 4 h 16"/>
                  <a:gd name="T8" fmla="*/ 16 w 16"/>
                  <a:gd name="T9" fmla="*/ 7 h 16"/>
                  <a:gd name="T10" fmla="*/ 16 w 16"/>
                  <a:gd name="T11" fmla="*/ 7 h 16"/>
                  <a:gd name="T12" fmla="*/ 16 w 16"/>
                  <a:gd name="T13" fmla="*/ 10 h 16"/>
                  <a:gd name="T14" fmla="*/ 13 w 16"/>
                  <a:gd name="T15" fmla="*/ 13 h 16"/>
                  <a:gd name="T16" fmla="*/ 10 w 16"/>
                  <a:gd name="T17" fmla="*/ 16 h 16"/>
                  <a:gd name="T18" fmla="*/ 7 w 16"/>
                  <a:gd name="T19" fmla="*/ 16 h 16"/>
                  <a:gd name="T20" fmla="*/ 7 w 16"/>
                  <a:gd name="T21" fmla="*/ 16 h 16"/>
                  <a:gd name="T22" fmla="*/ 2 w 16"/>
                  <a:gd name="T23" fmla="*/ 11 h 16"/>
                  <a:gd name="T24" fmla="*/ 0 w 16"/>
                  <a:gd name="T25" fmla="*/ 10 h 16"/>
                  <a:gd name="T26" fmla="*/ 0 w 16"/>
                  <a:gd name="T27" fmla="*/ 7 h 16"/>
                  <a:gd name="T28" fmla="*/ 0 w 16"/>
                  <a:gd name="T29" fmla="*/ 7 h 16"/>
                  <a:gd name="T30" fmla="*/ 2 w 16"/>
                  <a:gd name="T31" fmla="*/ 4 h 16"/>
                  <a:gd name="T32" fmla="*/ 3 w 16"/>
                  <a:gd name="T33" fmla="*/ 3 h 16"/>
                  <a:gd name="T34" fmla="*/ 6 w 16"/>
                  <a:gd name="T35" fmla="*/ 0 h 16"/>
                  <a:gd name="T36" fmla="*/ 7 w 16"/>
                  <a:gd name="T3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" h="16">
                    <a:moveTo>
                      <a:pt x="7" y="0"/>
                    </a:moveTo>
                    <a:lnTo>
                      <a:pt x="7" y="0"/>
                    </a:lnTo>
                    <a:lnTo>
                      <a:pt x="13" y="3"/>
                    </a:lnTo>
                    <a:lnTo>
                      <a:pt x="16" y="4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6" y="10"/>
                    </a:lnTo>
                    <a:lnTo>
                      <a:pt x="13" y="13"/>
                    </a:lnTo>
                    <a:lnTo>
                      <a:pt x="10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2" y="11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6" y="0"/>
                    </a:lnTo>
                    <a:lnTo>
                      <a:pt x="7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21" name="Freeform 1176"/>
              <p:cNvSpPr>
                <a:spLocks noEditPoints="1"/>
              </p:cNvSpPr>
              <p:nvPr/>
            </p:nvSpPr>
            <p:spPr bwMode="auto">
              <a:xfrm>
                <a:off x="6210214" y="3498173"/>
                <a:ext cx="645987" cy="488694"/>
              </a:xfrm>
              <a:custGeom>
                <a:avLst/>
                <a:gdLst>
                  <a:gd name="T0" fmla="*/ 632 w 653"/>
                  <a:gd name="T1" fmla="*/ 229 h 494"/>
                  <a:gd name="T2" fmla="*/ 601 w 653"/>
                  <a:gd name="T3" fmla="*/ 193 h 494"/>
                  <a:gd name="T4" fmla="*/ 578 w 653"/>
                  <a:gd name="T5" fmla="*/ 162 h 494"/>
                  <a:gd name="T6" fmla="*/ 536 w 653"/>
                  <a:gd name="T7" fmla="*/ 126 h 494"/>
                  <a:gd name="T8" fmla="*/ 517 w 653"/>
                  <a:gd name="T9" fmla="*/ 68 h 494"/>
                  <a:gd name="T10" fmla="*/ 491 w 653"/>
                  <a:gd name="T11" fmla="*/ 29 h 494"/>
                  <a:gd name="T12" fmla="*/ 477 w 653"/>
                  <a:gd name="T13" fmla="*/ 2 h 494"/>
                  <a:gd name="T14" fmla="*/ 464 w 653"/>
                  <a:gd name="T15" fmla="*/ 33 h 494"/>
                  <a:gd name="T16" fmla="*/ 446 w 653"/>
                  <a:gd name="T17" fmla="*/ 112 h 494"/>
                  <a:gd name="T18" fmla="*/ 422 w 653"/>
                  <a:gd name="T19" fmla="*/ 101 h 494"/>
                  <a:gd name="T20" fmla="*/ 393 w 653"/>
                  <a:gd name="T21" fmla="*/ 84 h 494"/>
                  <a:gd name="T22" fmla="*/ 364 w 653"/>
                  <a:gd name="T23" fmla="*/ 64 h 494"/>
                  <a:gd name="T24" fmla="*/ 381 w 653"/>
                  <a:gd name="T25" fmla="*/ 38 h 494"/>
                  <a:gd name="T26" fmla="*/ 374 w 653"/>
                  <a:gd name="T27" fmla="*/ 19 h 494"/>
                  <a:gd name="T28" fmla="*/ 356 w 653"/>
                  <a:gd name="T29" fmla="*/ 22 h 494"/>
                  <a:gd name="T30" fmla="*/ 316 w 653"/>
                  <a:gd name="T31" fmla="*/ 10 h 494"/>
                  <a:gd name="T32" fmla="*/ 285 w 653"/>
                  <a:gd name="T33" fmla="*/ 22 h 494"/>
                  <a:gd name="T34" fmla="*/ 264 w 653"/>
                  <a:gd name="T35" fmla="*/ 54 h 494"/>
                  <a:gd name="T36" fmla="*/ 268 w 653"/>
                  <a:gd name="T37" fmla="*/ 71 h 494"/>
                  <a:gd name="T38" fmla="*/ 239 w 653"/>
                  <a:gd name="T39" fmla="*/ 62 h 494"/>
                  <a:gd name="T40" fmla="*/ 209 w 653"/>
                  <a:gd name="T41" fmla="*/ 52 h 494"/>
                  <a:gd name="T42" fmla="*/ 196 w 653"/>
                  <a:gd name="T43" fmla="*/ 74 h 494"/>
                  <a:gd name="T44" fmla="*/ 180 w 653"/>
                  <a:gd name="T45" fmla="*/ 88 h 494"/>
                  <a:gd name="T46" fmla="*/ 170 w 653"/>
                  <a:gd name="T47" fmla="*/ 106 h 494"/>
                  <a:gd name="T48" fmla="*/ 142 w 653"/>
                  <a:gd name="T49" fmla="*/ 110 h 494"/>
                  <a:gd name="T50" fmla="*/ 123 w 653"/>
                  <a:gd name="T51" fmla="*/ 145 h 494"/>
                  <a:gd name="T52" fmla="*/ 33 w 653"/>
                  <a:gd name="T53" fmla="*/ 177 h 494"/>
                  <a:gd name="T54" fmla="*/ 18 w 653"/>
                  <a:gd name="T55" fmla="*/ 187 h 494"/>
                  <a:gd name="T56" fmla="*/ 3 w 653"/>
                  <a:gd name="T57" fmla="*/ 228 h 494"/>
                  <a:gd name="T58" fmla="*/ 10 w 653"/>
                  <a:gd name="T59" fmla="*/ 245 h 494"/>
                  <a:gd name="T60" fmla="*/ 5 w 653"/>
                  <a:gd name="T61" fmla="*/ 259 h 494"/>
                  <a:gd name="T62" fmla="*/ 15 w 653"/>
                  <a:gd name="T63" fmla="*/ 291 h 494"/>
                  <a:gd name="T64" fmla="*/ 41 w 653"/>
                  <a:gd name="T65" fmla="*/ 375 h 494"/>
                  <a:gd name="T66" fmla="*/ 25 w 653"/>
                  <a:gd name="T67" fmla="*/ 393 h 494"/>
                  <a:gd name="T68" fmla="*/ 48 w 653"/>
                  <a:gd name="T69" fmla="*/ 419 h 494"/>
                  <a:gd name="T70" fmla="*/ 104 w 653"/>
                  <a:gd name="T71" fmla="*/ 398 h 494"/>
                  <a:gd name="T72" fmla="*/ 151 w 653"/>
                  <a:gd name="T73" fmla="*/ 396 h 494"/>
                  <a:gd name="T74" fmla="*/ 190 w 653"/>
                  <a:gd name="T75" fmla="*/ 378 h 494"/>
                  <a:gd name="T76" fmla="*/ 290 w 653"/>
                  <a:gd name="T77" fmla="*/ 361 h 494"/>
                  <a:gd name="T78" fmla="*/ 333 w 653"/>
                  <a:gd name="T79" fmla="*/ 378 h 494"/>
                  <a:gd name="T80" fmla="*/ 348 w 653"/>
                  <a:gd name="T81" fmla="*/ 404 h 494"/>
                  <a:gd name="T82" fmla="*/ 362 w 653"/>
                  <a:gd name="T83" fmla="*/ 410 h 494"/>
                  <a:gd name="T84" fmla="*/ 384 w 653"/>
                  <a:gd name="T85" fmla="*/ 385 h 494"/>
                  <a:gd name="T86" fmla="*/ 383 w 653"/>
                  <a:gd name="T87" fmla="*/ 416 h 494"/>
                  <a:gd name="T88" fmla="*/ 390 w 653"/>
                  <a:gd name="T89" fmla="*/ 416 h 494"/>
                  <a:gd name="T90" fmla="*/ 394 w 653"/>
                  <a:gd name="T91" fmla="*/ 432 h 494"/>
                  <a:gd name="T92" fmla="*/ 417 w 653"/>
                  <a:gd name="T93" fmla="*/ 443 h 494"/>
                  <a:gd name="T94" fmla="*/ 443 w 653"/>
                  <a:gd name="T95" fmla="*/ 482 h 494"/>
                  <a:gd name="T96" fmla="*/ 474 w 653"/>
                  <a:gd name="T97" fmla="*/ 493 h 494"/>
                  <a:gd name="T98" fmla="*/ 511 w 653"/>
                  <a:gd name="T99" fmla="*/ 485 h 494"/>
                  <a:gd name="T100" fmla="*/ 548 w 653"/>
                  <a:gd name="T101" fmla="*/ 481 h 494"/>
                  <a:gd name="T102" fmla="*/ 587 w 653"/>
                  <a:gd name="T103" fmla="*/ 455 h 494"/>
                  <a:gd name="T104" fmla="*/ 601 w 653"/>
                  <a:gd name="T105" fmla="*/ 407 h 494"/>
                  <a:gd name="T106" fmla="*/ 642 w 653"/>
                  <a:gd name="T107" fmla="*/ 354 h 494"/>
                  <a:gd name="T108" fmla="*/ 369 w 653"/>
                  <a:gd name="T109" fmla="*/ 356 h 494"/>
                  <a:gd name="T110" fmla="*/ 384 w 653"/>
                  <a:gd name="T111" fmla="*/ 307 h 494"/>
                  <a:gd name="T112" fmla="*/ 398 w 653"/>
                  <a:gd name="T113" fmla="*/ 301 h 494"/>
                  <a:gd name="T114" fmla="*/ 400 w 653"/>
                  <a:gd name="T115" fmla="*/ 365 h 494"/>
                  <a:gd name="T116" fmla="*/ 393 w 653"/>
                  <a:gd name="T117" fmla="*/ 339 h 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53" h="494">
                    <a:moveTo>
                      <a:pt x="653" y="296"/>
                    </a:moveTo>
                    <a:lnTo>
                      <a:pt x="653" y="296"/>
                    </a:lnTo>
                    <a:lnTo>
                      <a:pt x="649" y="287"/>
                    </a:lnTo>
                    <a:lnTo>
                      <a:pt x="649" y="278"/>
                    </a:lnTo>
                    <a:lnTo>
                      <a:pt x="649" y="278"/>
                    </a:lnTo>
                    <a:lnTo>
                      <a:pt x="649" y="272"/>
                    </a:lnTo>
                    <a:lnTo>
                      <a:pt x="648" y="265"/>
                    </a:lnTo>
                    <a:lnTo>
                      <a:pt x="643" y="254"/>
                    </a:lnTo>
                    <a:lnTo>
                      <a:pt x="643" y="254"/>
                    </a:lnTo>
                    <a:lnTo>
                      <a:pt x="639" y="242"/>
                    </a:lnTo>
                    <a:lnTo>
                      <a:pt x="635" y="235"/>
                    </a:lnTo>
                    <a:lnTo>
                      <a:pt x="632" y="229"/>
                    </a:lnTo>
                    <a:lnTo>
                      <a:pt x="632" y="229"/>
                    </a:lnTo>
                    <a:lnTo>
                      <a:pt x="624" y="223"/>
                    </a:lnTo>
                    <a:lnTo>
                      <a:pt x="617" y="216"/>
                    </a:lnTo>
                    <a:lnTo>
                      <a:pt x="617" y="216"/>
                    </a:lnTo>
                    <a:lnTo>
                      <a:pt x="611" y="212"/>
                    </a:lnTo>
                    <a:lnTo>
                      <a:pt x="610" y="209"/>
                    </a:lnTo>
                    <a:lnTo>
                      <a:pt x="608" y="203"/>
                    </a:lnTo>
                    <a:lnTo>
                      <a:pt x="608" y="203"/>
                    </a:lnTo>
                    <a:lnTo>
                      <a:pt x="607" y="197"/>
                    </a:lnTo>
                    <a:lnTo>
                      <a:pt x="604" y="194"/>
                    </a:lnTo>
                    <a:lnTo>
                      <a:pt x="601" y="193"/>
                    </a:lnTo>
                    <a:lnTo>
                      <a:pt x="601" y="193"/>
                    </a:lnTo>
                    <a:lnTo>
                      <a:pt x="600" y="191"/>
                    </a:lnTo>
                    <a:lnTo>
                      <a:pt x="598" y="190"/>
                    </a:lnTo>
                    <a:lnTo>
                      <a:pt x="597" y="191"/>
                    </a:lnTo>
                    <a:lnTo>
                      <a:pt x="597" y="191"/>
                    </a:lnTo>
                    <a:lnTo>
                      <a:pt x="595" y="193"/>
                    </a:lnTo>
                    <a:lnTo>
                      <a:pt x="594" y="193"/>
                    </a:lnTo>
                    <a:lnTo>
                      <a:pt x="591" y="191"/>
                    </a:lnTo>
                    <a:lnTo>
                      <a:pt x="590" y="187"/>
                    </a:lnTo>
                    <a:lnTo>
                      <a:pt x="590" y="187"/>
                    </a:lnTo>
                    <a:lnTo>
                      <a:pt x="582" y="170"/>
                    </a:lnTo>
                    <a:lnTo>
                      <a:pt x="582" y="170"/>
                    </a:lnTo>
                    <a:lnTo>
                      <a:pt x="578" y="162"/>
                    </a:lnTo>
                    <a:lnTo>
                      <a:pt x="572" y="155"/>
                    </a:lnTo>
                    <a:lnTo>
                      <a:pt x="572" y="155"/>
                    </a:lnTo>
                    <a:lnTo>
                      <a:pt x="564" y="151"/>
                    </a:lnTo>
                    <a:lnTo>
                      <a:pt x="558" y="148"/>
                    </a:lnTo>
                    <a:lnTo>
                      <a:pt x="555" y="145"/>
                    </a:lnTo>
                    <a:lnTo>
                      <a:pt x="555" y="145"/>
                    </a:lnTo>
                    <a:lnTo>
                      <a:pt x="553" y="142"/>
                    </a:lnTo>
                    <a:lnTo>
                      <a:pt x="551" y="141"/>
                    </a:lnTo>
                    <a:lnTo>
                      <a:pt x="545" y="135"/>
                    </a:lnTo>
                    <a:lnTo>
                      <a:pt x="545" y="135"/>
                    </a:lnTo>
                    <a:lnTo>
                      <a:pt x="539" y="129"/>
                    </a:lnTo>
                    <a:lnTo>
                      <a:pt x="536" y="126"/>
                    </a:lnTo>
                    <a:lnTo>
                      <a:pt x="536" y="122"/>
                    </a:lnTo>
                    <a:lnTo>
                      <a:pt x="536" y="122"/>
                    </a:lnTo>
                    <a:lnTo>
                      <a:pt x="536" y="119"/>
                    </a:lnTo>
                    <a:lnTo>
                      <a:pt x="535" y="113"/>
                    </a:lnTo>
                    <a:lnTo>
                      <a:pt x="530" y="103"/>
                    </a:lnTo>
                    <a:lnTo>
                      <a:pt x="530" y="103"/>
                    </a:lnTo>
                    <a:lnTo>
                      <a:pt x="524" y="88"/>
                    </a:lnTo>
                    <a:lnTo>
                      <a:pt x="522" y="81"/>
                    </a:lnTo>
                    <a:lnTo>
                      <a:pt x="520" y="77"/>
                    </a:lnTo>
                    <a:lnTo>
                      <a:pt x="520" y="77"/>
                    </a:lnTo>
                    <a:lnTo>
                      <a:pt x="520" y="73"/>
                    </a:lnTo>
                    <a:lnTo>
                      <a:pt x="517" y="68"/>
                    </a:lnTo>
                    <a:lnTo>
                      <a:pt x="513" y="59"/>
                    </a:lnTo>
                    <a:lnTo>
                      <a:pt x="513" y="59"/>
                    </a:lnTo>
                    <a:lnTo>
                      <a:pt x="509" y="57"/>
                    </a:lnTo>
                    <a:lnTo>
                      <a:pt x="506" y="57"/>
                    </a:lnTo>
                    <a:lnTo>
                      <a:pt x="506" y="57"/>
                    </a:lnTo>
                    <a:lnTo>
                      <a:pt x="501" y="58"/>
                    </a:lnTo>
                    <a:lnTo>
                      <a:pt x="498" y="58"/>
                    </a:lnTo>
                    <a:lnTo>
                      <a:pt x="497" y="57"/>
                    </a:lnTo>
                    <a:lnTo>
                      <a:pt x="497" y="57"/>
                    </a:lnTo>
                    <a:lnTo>
                      <a:pt x="495" y="45"/>
                    </a:lnTo>
                    <a:lnTo>
                      <a:pt x="494" y="36"/>
                    </a:lnTo>
                    <a:lnTo>
                      <a:pt x="491" y="29"/>
                    </a:lnTo>
                    <a:lnTo>
                      <a:pt x="491" y="29"/>
                    </a:lnTo>
                    <a:lnTo>
                      <a:pt x="485" y="20"/>
                    </a:lnTo>
                    <a:lnTo>
                      <a:pt x="484" y="19"/>
                    </a:lnTo>
                    <a:lnTo>
                      <a:pt x="485" y="17"/>
                    </a:lnTo>
                    <a:lnTo>
                      <a:pt x="485" y="17"/>
                    </a:lnTo>
                    <a:lnTo>
                      <a:pt x="487" y="16"/>
                    </a:lnTo>
                    <a:lnTo>
                      <a:pt x="485" y="15"/>
                    </a:lnTo>
                    <a:lnTo>
                      <a:pt x="482" y="13"/>
                    </a:lnTo>
                    <a:lnTo>
                      <a:pt x="481" y="12"/>
                    </a:lnTo>
                    <a:lnTo>
                      <a:pt x="481" y="12"/>
                    </a:lnTo>
                    <a:lnTo>
                      <a:pt x="480" y="4"/>
                    </a:lnTo>
                    <a:lnTo>
                      <a:pt x="477" y="2"/>
                    </a:lnTo>
                    <a:lnTo>
                      <a:pt x="474" y="0"/>
                    </a:lnTo>
                    <a:lnTo>
                      <a:pt x="474" y="0"/>
                    </a:lnTo>
                    <a:lnTo>
                      <a:pt x="472" y="2"/>
                    </a:lnTo>
                    <a:lnTo>
                      <a:pt x="472" y="3"/>
                    </a:lnTo>
                    <a:lnTo>
                      <a:pt x="469" y="9"/>
                    </a:lnTo>
                    <a:lnTo>
                      <a:pt x="468" y="16"/>
                    </a:lnTo>
                    <a:lnTo>
                      <a:pt x="465" y="19"/>
                    </a:lnTo>
                    <a:lnTo>
                      <a:pt x="465" y="19"/>
                    </a:lnTo>
                    <a:lnTo>
                      <a:pt x="465" y="22"/>
                    </a:lnTo>
                    <a:lnTo>
                      <a:pt x="464" y="26"/>
                    </a:lnTo>
                    <a:lnTo>
                      <a:pt x="464" y="33"/>
                    </a:lnTo>
                    <a:lnTo>
                      <a:pt x="464" y="33"/>
                    </a:lnTo>
                    <a:lnTo>
                      <a:pt x="462" y="39"/>
                    </a:lnTo>
                    <a:lnTo>
                      <a:pt x="462" y="45"/>
                    </a:lnTo>
                    <a:lnTo>
                      <a:pt x="462" y="45"/>
                    </a:lnTo>
                    <a:lnTo>
                      <a:pt x="462" y="62"/>
                    </a:lnTo>
                    <a:lnTo>
                      <a:pt x="462" y="71"/>
                    </a:lnTo>
                    <a:lnTo>
                      <a:pt x="461" y="77"/>
                    </a:lnTo>
                    <a:lnTo>
                      <a:pt x="461" y="77"/>
                    </a:lnTo>
                    <a:lnTo>
                      <a:pt x="453" y="96"/>
                    </a:lnTo>
                    <a:lnTo>
                      <a:pt x="449" y="107"/>
                    </a:lnTo>
                    <a:lnTo>
                      <a:pt x="448" y="110"/>
                    </a:lnTo>
                    <a:lnTo>
                      <a:pt x="446" y="112"/>
                    </a:lnTo>
                    <a:lnTo>
                      <a:pt x="446" y="112"/>
                    </a:lnTo>
                    <a:lnTo>
                      <a:pt x="442" y="109"/>
                    </a:lnTo>
                    <a:lnTo>
                      <a:pt x="439" y="109"/>
                    </a:lnTo>
                    <a:lnTo>
                      <a:pt x="436" y="109"/>
                    </a:lnTo>
                    <a:lnTo>
                      <a:pt x="436" y="109"/>
                    </a:lnTo>
                    <a:lnTo>
                      <a:pt x="435" y="109"/>
                    </a:lnTo>
                    <a:lnTo>
                      <a:pt x="433" y="110"/>
                    </a:lnTo>
                    <a:lnTo>
                      <a:pt x="433" y="110"/>
                    </a:lnTo>
                    <a:lnTo>
                      <a:pt x="430" y="110"/>
                    </a:lnTo>
                    <a:lnTo>
                      <a:pt x="430" y="110"/>
                    </a:lnTo>
                    <a:lnTo>
                      <a:pt x="427" y="109"/>
                    </a:lnTo>
                    <a:lnTo>
                      <a:pt x="426" y="107"/>
                    </a:lnTo>
                    <a:lnTo>
                      <a:pt x="422" y="101"/>
                    </a:lnTo>
                    <a:lnTo>
                      <a:pt x="422" y="101"/>
                    </a:lnTo>
                    <a:lnTo>
                      <a:pt x="417" y="100"/>
                    </a:lnTo>
                    <a:lnTo>
                      <a:pt x="413" y="99"/>
                    </a:lnTo>
                    <a:lnTo>
                      <a:pt x="407" y="97"/>
                    </a:lnTo>
                    <a:lnTo>
                      <a:pt x="404" y="96"/>
                    </a:lnTo>
                    <a:lnTo>
                      <a:pt x="404" y="96"/>
                    </a:lnTo>
                    <a:lnTo>
                      <a:pt x="403" y="94"/>
                    </a:lnTo>
                    <a:lnTo>
                      <a:pt x="403" y="91"/>
                    </a:lnTo>
                    <a:lnTo>
                      <a:pt x="401" y="88"/>
                    </a:lnTo>
                    <a:lnTo>
                      <a:pt x="397" y="87"/>
                    </a:lnTo>
                    <a:lnTo>
                      <a:pt x="397" y="87"/>
                    </a:lnTo>
                    <a:lnTo>
                      <a:pt x="393" y="84"/>
                    </a:lnTo>
                    <a:lnTo>
                      <a:pt x="390" y="81"/>
                    </a:lnTo>
                    <a:lnTo>
                      <a:pt x="388" y="78"/>
                    </a:lnTo>
                    <a:lnTo>
                      <a:pt x="384" y="77"/>
                    </a:lnTo>
                    <a:lnTo>
                      <a:pt x="384" y="77"/>
                    </a:lnTo>
                    <a:lnTo>
                      <a:pt x="380" y="78"/>
                    </a:lnTo>
                    <a:lnTo>
                      <a:pt x="378" y="77"/>
                    </a:lnTo>
                    <a:lnTo>
                      <a:pt x="375" y="77"/>
                    </a:lnTo>
                    <a:lnTo>
                      <a:pt x="375" y="77"/>
                    </a:lnTo>
                    <a:lnTo>
                      <a:pt x="368" y="71"/>
                    </a:lnTo>
                    <a:lnTo>
                      <a:pt x="364" y="67"/>
                    </a:lnTo>
                    <a:lnTo>
                      <a:pt x="364" y="64"/>
                    </a:lnTo>
                    <a:lnTo>
                      <a:pt x="364" y="64"/>
                    </a:lnTo>
                    <a:lnTo>
                      <a:pt x="365" y="58"/>
                    </a:lnTo>
                    <a:lnTo>
                      <a:pt x="369" y="52"/>
                    </a:lnTo>
                    <a:lnTo>
                      <a:pt x="369" y="52"/>
                    </a:lnTo>
                    <a:lnTo>
                      <a:pt x="371" y="49"/>
                    </a:lnTo>
                    <a:lnTo>
                      <a:pt x="372" y="45"/>
                    </a:lnTo>
                    <a:lnTo>
                      <a:pt x="372" y="45"/>
                    </a:lnTo>
                    <a:lnTo>
                      <a:pt x="371" y="42"/>
                    </a:lnTo>
                    <a:lnTo>
                      <a:pt x="371" y="39"/>
                    </a:lnTo>
                    <a:lnTo>
                      <a:pt x="374" y="39"/>
                    </a:lnTo>
                    <a:lnTo>
                      <a:pt x="374" y="39"/>
                    </a:lnTo>
                    <a:lnTo>
                      <a:pt x="380" y="38"/>
                    </a:lnTo>
                    <a:lnTo>
                      <a:pt x="381" y="38"/>
                    </a:lnTo>
                    <a:lnTo>
                      <a:pt x="381" y="36"/>
                    </a:lnTo>
                    <a:lnTo>
                      <a:pt x="381" y="36"/>
                    </a:lnTo>
                    <a:lnTo>
                      <a:pt x="381" y="32"/>
                    </a:lnTo>
                    <a:lnTo>
                      <a:pt x="383" y="28"/>
                    </a:lnTo>
                    <a:lnTo>
                      <a:pt x="384" y="23"/>
                    </a:lnTo>
                    <a:lnTo>
                      <a:pt x="384" y="22"/>
                    </a:lnTo>
                    <a:lnTo>
                      <a:pt x="383" y="20"/>
                    </a:lnTo>
                    <a:lnTo>
                      <a:pt x="383" y="20"/>
                    </a:lnTo>
                    <a:lnTo>
                      <a:pt x="377" y="17"/>
                    </a:lnTo>
                    <a:lnTo>
                      <a:pt x="375" y="17"/>
                    </a:lnTo>
                    <a:lnTo>
                      <a:pt x="374" y="19"/>
                    </a:lnTo>
                    <a:lnTo>
                      <a:pt x="374" y="19"/>
                    </a:lnTo>
                    <a:lnTo>
                      <a:pt x="374" y="22"/>
                    </a:lnTo>
                    <a:lnTo>
                      <a:pt x="372" y="23"/>
                    </a:lnTo>
                    <a:lnTo>
                      <a:pt x="371" y="23"/>
                    </a:lnTo>
                    <a:lnTo>
                      <a:pt x="371" y="23"/>
                    </a:lnTo>
                    <a:lnTo>
                      <a:pt x="368" y="19"/>
                    </a:lnTo>
                    <a:lnTo>
                      <a:pt x="367" y="17"/>
                    </a:lnTo>
                    <a:lnTo>
                      <a:pt x="365" y="17"/>
                    </a:lnTo>
                    <a:lnTo>
                      <a:pt x="365" y="17"/>
                    </a:lnTo>
                    <a:lnTo>
                      <a:pt x="364" y="19"/>
                    </a:lnTo>
                    <a:lnTo>
                      <a:pt x="362" y="20"/>
                    </a:lnTo>
                    <a:lnTo>
                      <a:pt x="359" y="22"/>
                    </a:lnTo>
                    <a:lnTo>
                      <a:pt x="356" y="22"/>
                    </a:lnTo>
                    <a:lnTo>
                      <a:pt x="356" y="22"/>
                    </a:lnTo>
                    <a:lnTo>
                      <a:pt x="348" y="17"/>
                    </a:lnTo>
                    <a:lnTo>
                      <a:pt x="343" y="16"/>
                    </a:lnTo>
                    <a:lnTo>
                      <a:pt x="339" y="15"/>
                    </a:lnTo>
                    <a:lnTo>
                      <a:pt x="339" y="15"/>
                    </a:lnTo>
                    <a:lnTo>
                      <a:pt x="332" y="15"/>
                    </a:lnTo>
                    <a:lnTo>
                      <a:pt x="326" y="12"/>
                    </a:lnTo>
                    <a:lnTo>
                      <a:pt x="326" y="12"/>
                    </a:lnTo>
                    <a:lnTo>
                      <a:pt x="320" y="10"/>
                    </a:lnTo>
                    <a:lnTo>
                      <a:pt x="317" y="9"/>
                    </a:lnTo>
                    <a:lnTo>
                      <a:pt x="316" y="10"/>
                    </a:lnTo>
                    <a:lnTo>
                      <a:pt x="316" y="10"/>
                    </a:lnTo>
                    <a:lnTo>
                      <a:pt x="316" y="13"/>
                    </a:lnTo>
                    <a:lnTo>
                      <a:pt x="314" y="16"/>
                    </a:lnTo>
                    <a:lnTo>
                      <a:pt x="313" y="19"/>
                    </a:lnTo>
                    <a:lnTo>
                      <a:pt x="313" y="19"/>
                    </a:lnTo>
                    <a:lnTo>
                      <a:pt x="309" y="22"/>
                    </a:lnTo>
                    <a:lnTo>
                      <a:pt x="303" y="23"/>
                    </a:lnTo>
                    <a:lnTo>
                      <a:pt x="299" y="25"/>
                    </a:lnTo>
                    <a:lnTo>
                      <a:pt x="294" y="23"/>
                    </a:lnTo>
                    <a:lnTo>
                      <a:pt x="294" y="23"/>
                    </a:lnTo>
                    <a:lnTo>
                      <a:pt x="291" y="22"/>
                    </a:lnTo>
                    <a:lnTo>
                      <a:pt x="288" y="22"/>
                    </a:lnTo>
                    <a:lnTo>
                      <a:pt x="285" y="22"/>
                    </a:lnTo>
                    <a:lnTo>
                      <a:pt x="285" y="22"/>
                    </a:lnTo>
                    <a:lnTo>
                      <a:pt x="280" y="28"/>
                    </a:lnTo>
                    <a:lnTo>
                      <a:pt x="275" y="32"/>
                    </a:lnTo>
                    <a:lnTo>
                      <a:pt x="275" y="32"/>
                    </a:lnTo>
                    <a:lnTo>
                      <a:pt x="274" y="33"/>
                    </a:lnTo>
                    <a:lnTo>
                      <a:pt x="275" y="36"/>
                    </a:lnTo>
                    <a:lnTo>
                      <a:pt x="275" y="38"/>
                    </a:lnTo>
                    <a:lnTo>
                      <a:pt x="275" y="39"/>
                    </a:lnTo>
                    <a:lnTo>
                      <a:pt x="275" y="39"/>
                    </a:lnTo>
                    <a:lnTo>
                      <a:pt x="267" y="46"/>
                    </a:lnTo>
                    <a:lnTo>
                      <a:pt x="267" y="46"/>
                    </a:lnTo>
                    <a:lnTo>
                      <a:pt x="264" y="54"/>
                    </a:lnTo>
                    <a:lnTo>
                      <a:pt x="262" y="58"/>
                    </a:lnTo>
                    <a:lnTo>
                      <a:pt x="262" y="59"/>
                    </a:lnTo>
                    <a:lnTo>
                      <a:pt x="264" y="59"/>
                    </a:lnTo>
                    <a:lnTo>
                      <a:pt x="264" y="59"/>
                    </a:lnTo>
                    <a:lnTo>
                      <a:pt x="268" y="61"/>
                    </a:lnTo>
                    <a:lnTo>
                      <a:pt x="270" y="62"/>
                    </a:lnTo>
                    <a:lnTo>
                      <a:pt x="270" y="64"/>
                    </a:lnTo>
                    <a:lnTo>
                      <a:pt x="270" y="64"/>
                    </a:lnTo>
                    <a:lnTo>
                      <a:pt x="270" y="67"/>
                    </a:lnTo>
                    <a:lnTo>
                      <a:pt x="270" y="70"/>
                    </a:lnTo>
                    <a:lnTo>
                      <a:pt x="270" y="71"/>
                    </a:lnTo>
                    <a:lnTo>
                      <a:pt x="268" y="71"/>
                    </a:lnTo>
                    <a:lnTo>
                      <a:pt x="268" y="71"/>
                    </a:lnTo>
                    <a:lnTo>
                      <a:pt x="264" y="68"/>
                    </a:lnTo>
                    <a:lnTo>
                      <a:pt x="259" y="67"/>
                    </a:lnTo>
                    <a:lnTo>
                      <a:pt x="259" y="67"/>
                    </a:lnTo>
                    <a:lnTo>
                      <a:pt x="254" y="65"/>
                    </a:lnTo>
                    <a:lnTo>
                      <a:pt x="246" y="65"/>
                    </a:lnTo>
                    <a:lnTo>
                      <a:pt x="246" y="65"/>
                    </a:lnTo>
                    <a:lnTo>
                      <a:pt x="243" y="68"/>
                    </a:lnTo>
                    <a:lnTo>
                      <a:pt x="242" y="70"/>
                    </a:lnTo>
                    <a:lnTo>
                      <a:pt x="241" y="68"/>
                    </a:lnTo>
                    <a:lnTo>
                      <a:pt x="241" y="68"/>
                    </a:lnTo>
                    <a:lnTo>
                      <a:pt x="239" y="62"/>
                    </a:lnTo>
                    <a:lnTo>
                      <a:pt x="238" y="61"/>
                    </a:lnTo>
                    <a:lnTo>
                      <a:pt x="238" y="61"/>
                    </a:lnTo>
                    <a:lnTo>
                      <a:pt x="232" y="55"/>
                    </a:lnTo>
                    <a:lnTo>
                      <a:pt x="229" y="52"/>
                    </a:lnTo>
                    <a:lnTo>
                      <a:pt x="228" y="51"/>
                    </a:lnTo>
                    <a:lnTo>
                      <a:pt x="228" y="51"/>
                    </a:lnTo>
                    <a:lnTo>
                      <a:pt x="220" y="52"/>
                    </a:lnTo>
                    <a:lnTo>
                      <a:pt x="213" y="55"/>
                    </a:lnTo>
                    <a:lnTo>
                      <a:pt x="213" y="55"/>
                    </a:lnTo>
                    <a:lnTo>
                      <a:pt x="210" y="54"/>
                    </a:lnTo>
                    <a:lnTo>
                      <a:pt x="209" y="52"/>
                    </a:lnTo>
                    <a:lnTo>
                      <a:pt x="209" y="52"/>
                    </a:lnTo>
                    <a:lnTo>
                      <a:pt x="207" y="54"/>
                    </a:lnTo>
                    <a:lnTo>
                      <a:pt x="207" y="54"/>
                    </a:lnTo>
                    <a:lnTo>
                      <a:pt x="204" y="59"/>
                    </a:lnTo>
                    <a:lnTo>
                      <a:pt x="203" y="61"/>
                    </a:lnTo>
                    <a:lnTo>
                      <a:pt x="201" y="61"/>
                    </a:lnTo>
                    <a:lnTo>
                      <a:pt x="201" y="61"/>
                    </a:lnTo>
                    <a:lnTo>
                      <a:pt x="200" y="61"/>
                    </a:lnTo>
                    <a:lnTo>
                      <a:pt x="199" y="64"/>
                    </a:lnTo>
                    <a:lnTo>
                      <a:pt x="196" y="68"/>
                    </a:lnTo>
                    <a:lnTo>
                      <a:pt x="196" y="68"/>
                    </a:lnTo>
                    <a:lnTo>
                      <a:pt x="196" y="71"/>
                    </a:lnTo>
                    <a:lnTo>
                      <a:pt x="196" y="74"/>
                    </a:lnTo>
                    <a:lnTo>
                      <a:pt x="194" y="75"/>
                    </a:lnTo>
                    <a:lnTo>
                      <a:pt x="193" y="77"/>
                    </a:lnTo>
                    <a:lnTo>
                      <a:pt x="193" y="77"/>
                    </a:lnTo>
                    <a:lnTo>
                      <a:pt x="190" y="75"/>
                    </a:lnTo>
                    <a:lnTo>
                      <a:pt x="187" y="74"/>
                    </a:lnTo>
                    <a:lnTo>
                      <a:pt x="186" y="73"/>
                    </a:lnTo>
                    <a:lnTo>
                      <a:pt x="184" y="74"/>
                    </a:lnTo>
                    <a:lnTo>
                      <a:pt x="184" y="74"/>
                    </a:lnTo>
                    <a:lnTo>
                      <a:pt x="181" y="78"/>
                    </a:lnTo>
                    <a:lnTo>
                      <a:pt x="181" y="84"/>
                    </a:lnTo>
                    <a:lnTo>
                      <a:pt x="181" y="84"/>
                    </a:lnTo>
                    <a:lnTo>
                      <a:pt x="180" y="88"/>
                    </a:lnTo>
                    <a:lnTo>
                      <a:pt x="180" y="90"/>
                    </a:lnTo>
                    <a:lnTo>
                      <a:pt x="178" y="91"/>
                    </a:lnTo>
                    <a:lnTo>
                      <a:pt x="178" y="91"/>
                    </a:lnTo>
                    <a:lnTo>
                      <a:pt x="174" y="90"/>
                    </a:lnTo>
                    <a:lnTo>
                      <a:pt x="171" y="90"/>
                    </a:lnTo>
                    <a:lnTo>
                      <a:pt x="170" y="90"/>
                    </a:lnTo>
                    <a:lnTo>
                      <a:pt x="170" y="90"/>
                    </a:lnTo>
                    <a:lnTo>
                      <a:pt x="168" y="94"/>
                    </a:lnTo>
                    <a:lnTo>
                      <a:pt x="170" y="99"/>
                    </a:lnTo>
                    <a:lnTo>
                      <a:pt x="170" y="99"/>
                    </a:lnTo>
                    <a:lnTo>
                      <a:pt x="170" y="101"/>
                    </a:lnTo>
                    <a:lnTo>
                      <a:pt x="170" y="106"/>
                    </a:lnTo>
                    <a:lnTo>
                      <a:pt x="168" y="109"/>
                    </a:lnTo>
                    <a:lnTo>
                      <a:pt x="167" y="109"/>
                    </a:lnTo>
                    <a:lnTo>
                      <a:pt x="165" y="109"/>
                    </a:lnTo>
                    <a:lnTo>
                      <a:pt x="165" y="109"/>
                    </a:lnTo>
                    <a:lnTo>
                      <a:pt x="161" y="100"/>
                    </a:lnTo>
                    <a:lnTo>
                      <a:pt x="159" y="97"/>
                    </a:lnTo>
                    <a:lnTo>
                      <a:pt x="157" y="96"/>
                    </a:lnTo>
                    <a:lnTo>
                      <a:pt x="157" y="96"/>
                    </a:lnTo>
                    <a:lnTo>
                      <a:pt x="149" y="101"/>
                    </a:lnTo>
                    <a:lnTo>
                      <a:pt x="145" y="106"/>
                    </a:lnTo>
                    <a:lnTo>
                      <a:pt x="142" y="110"/>
                    </a:lnTo>
                    <a:lnTo>
                      <a:pt x="142" y="110"/>
                    </a:lnTo>
                    <a:lnTo>
                      <a:pt x="142" y="113"/>
                    </a:lnTo>
                    <a:lnTo>
                      <a:pt x="144" y="117"/>
                    </a:lnTo>
                    <a:lnTo>
                      <a:pt x="144" y="122"/>
                    </a:lnTo>
                    <a:lnTo>
                      <a:pt x="142" y="125"/>
                    </a:lnTo>
                    <a:lnTo>
                      <a:pt x="142" y="125"/>
                    </a:lnTo>
                    <a:lnTo>
                      <a:pt x="139" y="128"/>
                    </a:lnTo>
                    <a:lnTo>
                      <a:pt x="138" y="132"/>
                    </a:lnTo>
                    <a:lnTo>
                      <a:pt x="135" y="138"/>
                    </a:lnTo>
                    <a:lnTo>
                      <a:pt x="135" y="138"/>
                    </a:lnTo>
                    <a:lnTo>
                      <a:pt x="131" y="141"/>
                    </a:lnTo>
                    <a:lnTo>
                      <a:pt x="123" y="145"/>
                    </a:lnTo>
                    <a:lnTo>
                      <a:pt x="123" y="145"/>
                    </a:lnTo>
                    <a:lnTo>
                      <a:pt x="107" y="151"/>
                    </a:lnTo>
                    <a:lnTo>
                      <a:pt x="90" y="157"/>
                    </a:lnTo>
                    <a:lnTo>
                      <a:pt x="90" y="157"/>
                    </a:lnTo>
                    <a:lnTo>
                      <a:pt x="81" y="162"/>
                    </a:lnTo>
                    <a:lnTo>
                      <a:pt x="75" y="164"/>
                    </a:lnTo>
                    <a:lnTo>
                      <a:pt x="70" y="165"/>
                    </a:lnTo>
                    <a:lnTo>
                      <a:pt x="70" y="165"/>
                    </a:lnTo>
                    <a:lnTo>
                      <a:pt x="54" y="167"/>
                    </a:lnTo>
                    <a:lnTo>
                      <a:pt x="47" y="168"/>
                    </a:lnTo>
                    <a:lnTo>
                      <a:pt x="41" y="171"/>
                    </a:lnTo>
                    <a:lnTo>
                      <a:pt x="41" y="171"/>
                    </a:lnTo>
                    <a:lnTo>
                      <a:pt x="33" y="177"/>
                    </a:lnTo>
                    <a:lnTo>
                      <a:pt x="31" y="180"/>
                    </a:lnTo>
                    <a:lnTo>
                      <a:pt x="29" y="181"/>
                    </a:lnTo>
                    <a:lnTo>
                      <a:pt x="29" y="181"/>
                    </a:lnTo>
                    <a:lnTo>
                      <a:pt x="26" y="183"/>
                    </a:lnTo>
                    <a:lnTo>
                      <a:pt x="23" y="188"/>
                    </a:lnTo>
                    <a:lnTo>
                      <a:pt x="19" y="191"/>
                    </a:lnTo>
                    <a:lnTo>
                      <a:pt x="19" y="193"/>
                    </a:lnTo>
                    <a:lnTo>
                      <a:pt x="18" y="193"/>
                    </a:lnTo>
                    <a:lnTo>
                      <a:pt x="18" y="193"/>
                    </a:lnTo>
                    <a:lnTo>
                      <a:pt x="18" y="191"/>
                    </a:lnTo>
                    <a:lnTo>
                      <a:pt x="18" y="188"/>
                    </a:lnTo>
                    <a:lnTo>
                      <a:pt x="18" y="187"/>
                    </a:lnTo>
                    <a:lnTo>
                      <a:pt x="16" y="188"/>
                    </a:lnTo>
                    <a:lnTo>
                      <a:pt x="16" y="188"/>
                    </a:lnTo>
                    <a:lnTo>
                      <a:pt x="9" y="194"/>
                    </a:lnTo>
                    <a:lnTo>
                      <a:pt x="7" y="199"/>
                    </a:lnTo>
                    <a:lnTo>
                      <a:pt x="7" y="203"/>
                    </a:lnTo>
                    <a:lnTo>
                      <a:pt x="7" y="203"/>
                    </a:lnTo>
                    <a:lnTo>
                      <a:pt x="7" y="210"/>
                    </a:lnTo>
                    <a:lnTo>
                      <a:pt x="6" y="216"/>
                    </a:lnTo>
                    <a:lnTo>
                      <a:pt x="6" y="216"/>
                    </a:lnTo>
                    <a:lnTo>
                      <a:pt x="3" y="223"/>
                    </a:lnTo>
                    <a:lnTo>
                      <a:pt x="3" y="226"/>
                    </a:lnTo>
                    <a:lnTo>
                      <a:pt x="3" y="228"/>
                    </a:lnTo>
                    <a:lnTo>
                      <a:pt x="3" y="228"/>
                    </a:lnTo>
                    <a:lnTo>
                      <a:pt x="3" y="228"/>
                    </a:lnTo>
                    <a:lnTo>
                      <a:pt x="9" y="223"/>
                    </a:lnTo>
                    <a:lnTo>
                      <a:pt x="10" y="222"/>
                    </a:lnTo>
                    <a:lnTo>
                      <a:pt x="10" y="222"/>
                    </a:lnTo>
                    <a:lnTo>
                      <a:pt x="9" y="226"/>
                    </a:lnTo>
                    <a:lnTo>
                      <a:pt x="7" y="229"/>
                    </a:lnTo>
                    <a:lnTo>
                      <a:pt x="6" y="233"/>
                    </a:lnTo>
                    <a:lnTo>
                      <a:pt x="6" y="233"/>
                    </a:lnTo>
                    <a:lnTo>
                      <a:pt x="7" y="239"/>
                    </a:lnTo>
                    <a:lnTo>
                      <a:pt x="10" y="245"/>
                    </a:lnTo>
                    <a:lnTo>
                      <a:pt x="10" y="245"/>
                    </a:lnTo>
                    <a:lnTo>
                      <a:pt x="15" y="254"/>
                    </a:lnTo>
                    <a:lnTo>
                      <a:pt x="15" y="256"/>
                    </a:lnTo>
                    <a:lnTo>
                      <a:pt x="15" y="258"/>
                    </a:lnTo>
                    <a:lnTo>
                      <a:pt x="13" y="258"/>
                    </a:lnTo>
                    <a:lnTo>
                      <a:pt x="13" y="258"/>
                    </a:lnTo>
                    <a:lnTo>
                      <a:pt x="7" y="254"/>
                    </a:lnTo>
                    <a:lnTo>
                      <a:pt x="6" y="252"/>
                    </a:lnTo>
                    <a:lnTo>
                      <a:pt x="6" y="254"/>
                    </a:lnTo>
                    <a:lnTo>
                      <a:pt x="6" y="254"/>
                    </a:lnTo>
                    <a:lnTo>
                      <a:pt x="6" y="258"/>
                    </a:lnTo>
                    <a:lnTo>
                      <a:pt x="6" y="259"/>
                    </a:lnTo>
                    <a:lnTo>
                      <a:pt x="5" y="259"/>
                    </a:lnTo>
                    <a:lnTo>
                      <a:pt x="5" y="259"/>
                    </a:lnTo>
                    <a:lnTo>
                      <a:pt x="2" y="256"/>
                    </a:lnTo>
                    <a:lnTo>
                      <a:pt x="0" y="256"/>
                    </a:lnTo>
                    <a:lnTo>
                      <a:pt x="0" y="258"/>
                    </a:lnTo>
                    <a:lnTo>
                      <a:pt x="0" y="258"/>
                    </a:lnTo>
                    <a:lnTo>
                      <a:pt x="2" y="267"/>
                    </a:lnTo>
                    <a:lnTo>
                      <a:pt x="3" y="271"/>
                    </a:lnTo>
                    <a:lnTo>
                      <a:pt x="5" y="274"/>
                    </a:lnTo>
                    <a:lnTo>
                      <a:pt x="5" y="274"/>
                    </a:lnTo>
                    <a:lnTo>
                      <a:pt x="7" y="277"/>
                    </a:lnTo>
                    <a:lnTo>
                      <a:pt x="10" y="281"/>
                    </a:lnTo>
                    <a:lnTo>
                      <a:pt x="15" y="291"/>
                    </a:lnTo>
                    <a:lnTo>
                      <a:pt x="15" y="291"/>
                    </a:lnTo>
                    <a:lnTo>
                      <a:pt x="19" y="301"/>
                    </a:lnTo>
                    <a:lnTo>
                      <a:pt x="23" y="309"/>
                    </a:lnTo>
                    <a:lnTo>
                      <a:pt x="23" y="309"/>
                    </a:lnTo>
                    <a:lnTo>
                      <a:pt x="28" y="317"/>
                    </a:lnTo>
                    <a:lnTo>
                      <a:pt x="29" y="327"/>
                    </a:lnTo>
                    <a:lnTo>
                      <a:pt x="29" y="327"/>
                    </a:lnTo>
                    <a:lnTo>
                      <a:pt x="32" y="342"/>
                    </a:lnTo>
                    <a:lnTo>
                      <a:pt x="38" y="358"/>
                    </a:lnTo>
                    <a:lnTo>
                      <a:pt x="38" y="358"/>
                    </a:lnTo>
                    <a:lnTo>
                      <a:pt x="41" y="371"/>
                    </a:lnTo>
                    <a:lnTo>
                      <a:pt x="41" y="375"/>
                    </a:lnTo>
                    <a:lnTo>
                      <a:pt x="41" y="377"/>
                    </a:lnTo>
                    <a:lnTo>
                      <a:pt x="41" y="375"/>
                    </a:lnTo>
                    <a:lnTo>
                      <a:pt x="41" y="375"/>
                    </a:lnTo>
                    <a:lnTo>
                      <a:pt x="38" y="372"/>
                    </a:lnTo>
                    <a:lnTo>
                      <a:pt x="36" y="371"/>
                    </a:lnTo>
                    <a:lnTo>
                      <a:pt x="35" y="374"/>
                    </a:lnTo>
                    <a:lnTo>
                      <a:pt x="35" y="374"/>
                    </a:lnTo>
                    <a:lnTo>
                      <a:pt x="32" y="382"/>
                    </a:lnTo>
                    <a:lnTo>
                      <a:pt x="31" y="387"/>
                    </a:lnTo>
                    <a:lnTo>
                      <a:pt x="29" y="390"/>
                    </a:lnTo>
                    <a:lnTo>
                      <a:pt x="29" y="390"/>
                    </a:lnTo>
                    <a:lnTo>
                      <a:pt x="25" y="393"/>
                    </a:lnTo>
                    <a:lnTo>
                      <a:pt x="23" y="394"/>
                    </a:lnTo>
                    <a:lnTo>
                      <a:pt x="22" y="396"/>
                    </a:lnTo>
                    <a:lnTo>
                      <a:pt x="22" y="396"/>
                    </a:lnTo>
                    <a:lnTo>
                      <a:pt x="23" y="401"/>
                    </a:lnTo>
                    <a:lnTo>
                      <a:pt x="26" y="404"/>
                    </a:lnTo>
                    <a:lnTo>
                      <a:pt x="29" y="406"/>
                    </a:lnTo>
                    <a:lnTo>
                      <a:pt x="29" y="406"/>
                    </a:lnTo>
                    <a:lnTo>
                      <a:pt x="32" y="407"/>
                    </a:lnTo>
                    <a:lnTo>
                      <a:pt x="35" y="410"/>
                    </a:lnTo>
                    <a:lnTo>
                      <a:pt x="44" y="416"/>
                    </a:lnTo>
                    <a:lnTo>
                      <a:pt x="44" y="416"/>
                    </a:lnTo>
                    <a:lnTo>
                      <a:pt x="48" y="419"/>
                    </a:lnTo>
                    <a:lnTo>
                      <a:pt x="55" y="420"/>
                    </a:lnTo>
                    <a:lnTo>
                      <a:pt x="61" y="420"/>
                    </a:lnTo>
                    <a:lnTo>
                      <a:pt x="65" y="420"/>
                    </a:lnTo>
                    <a:lnTo>
                      <a:pt x="65" y="420"/>
                    </a:lnTo>
                    <a:lnTo>
                      <a:pt x="75" y="414"/>
                    </a:lnTo>
                    <a:lnTo>
                      <a:pt x="87" y="409"/>
                    </a:lnTo>
                    <a:lnTo>
                      <a:pt x="87" y="409"/>
                    </a:lnTo>
                    <a:lnTo>
                      <a:pt x="91" y="406"/>
                    </a:lnTo>
                    <a:lnTo>
                      <a:pt x="96" y="403"/>
                    </a:lnTo>
                    <a:lnTo>
                      <a:pt x="100" y="400"/>
                    </a:lnTo>
                    <a:lnTo>
                      <a:pt x="104" y="398"/>
                    </a:lnTo>
                    <a:lnTo>
                      <a:pt x="104" y="398"/>
                    </a:lnTo>
                    <a:lnTo>
                      <a:pt x="116" y="397"/>
                    </a:lnTo>
                    <a:lnTo>
                      <a:pt x="125" y="396"/>
                    </a:lnTo>
                    <a:lnTo>
                      <a:pt x="129" y="397"/>
                    </a:lnTo>
                    <a:lnTo>
                      <a:pt x="129" y="397"/>
                    </a:lnTo>
                    <a:lnTo>
                      <a:pt x="136" y="400"/>
                    </a:lnTo>
                    <a:lnTo>
                      <a:pt x="141" y="400"/>
                    </a:lnTo>
                    <a:lnTo>
                      <a:pt x="144" y="398"/>
                    </a:lnTo>
                    <a:lnTo>
                      <a:pt x="144" y="398"/>
                    </a:lnTo>
                    <a:lnTo>
                      <a:pt x="148" y="394"/>
                    </a:lnTo>
                    <a:lnTo>
                      <a:pt x="149" y="394"/>
                    </a:lnTo>
                    <a:lnTo>
                      <a:pt x="151" y="396"/>
                    </a:lnTo>
                    <a:lnTo>
                      <a:pt x="151" y="396"/>
                    </a:lnTo>
                    <a:lnTo>
                      <a:pt x="155" y="398"/>
                    </a:lnTo>
                    <a:lnTo>
                      <a:pt x="157" y="400"/>
                    </a:lnTo>
                    <a:lnTo>
                      <a:pt x="159" y="397"/>
                    </a:lnTo>
                    <a:lnTo>
                      <a:pt x="159" y="397"/>
                    </a:lnTo>
                    <a:lnTo>
                      <a:pt x="162" y="393"/>
                    </a:lnTo>
                    <a:lnTo>
                      <a:pt x="165" y="387"/>
                    </a:lnTo>
                    <a:lnTo>
                      <a:pt x="170" y="382"/>
                    </a:lnTo>
                    <a:lnTo>
                      <a:pt x="171" y="380"/>
                    </a:lnTo>
                    <a:lnTo>
                      <a:pt x="174" y="380"/>
                    </a:lnTo>
                    <a:lnTo>
                      <a:pt x="174" y="380"/>
                    </a:lnTo>
                    <a:lnTo>
                      <a:pt x="181" y="378"/>
                    </a:lnTo>
                    <a:lnTo>
                      <a:pt x="190" y="378"/>
                    </a:lnTo>
                    <a:lnTo>
                      <a:pt x="212" y="378"/>
                    </a:lnTo>
                    <a:lnTo>
                      <a:pt x="212" y="378"/>
                    </a:lnTo>
                    <a:lnTo>
                      <a:pt x="226" y="378"/>
                    </a:lnTo>
                    <a:lnTo>
                      <a:pt x="232" y="377"/>
                    </a:lnTo>
                    <a:lnTo>
                      <a:pt x="238" y="374"/>
                    </a:lnTo>
                    <a:lnTo>
                      <a:pt x="238" y="374"/>
                    </a:lnTo>
                    <a:lnTo>
                      <a:pt x="246" y="371"/>
                    </a:lnTo>
                    <a:lnTo>
                      <a:pt x="257" y="368"/>
                    </a:lnTo>
                    <a:lnTo>
                      <a:pt x="274" y="364"/>
                    </a:lnTo>
                    <a:lnTo>
                      <a:pt x="274" y="364"/>
                    </a:lnTo>
                    <a:lnTo>
                      <a:pt x="285" y="361"/>
                    </a:lnTo>
                    <a:lnTo>
                      <a:pt x="290" y="361"/>
                    </a:lnTo>
                    <a:lnTo>
                      <a:pt x="294" y="362"/>
                    </a:lnTo>
                    <a:lnTo>
                      <a:pt x="294" y="362"/>
                    </a:lnTo>
                    <a:lnTo>
                      <a:pt x="301" y="368"/>
                    </a:lnTo>
                    <a:lnTo>
                      <a:pt x="306" y="369"/>
                    </a:lnTo>
                    <a:lnTo>
                      <a:pt x="313" y="371"/>
                    </a:lnTo>
                    <a:lnTo>
                      <a:pt x="313" y="371"/>
                    </a:lnTo>
                    <a:lnTo>
                      <a:pt x="327" y="372"/>
                    </a:lnTo>
                    <a:lnTo>
                      <a:pt x="332" y="374"/>
                    </a:lnTo>
                    <a:lnTo>
                      <a:pt x="333" y="375"/>
                    </a:lnTo>
                    <a:lnTo>
                      <a:pt x="333" y="375"/>
                    </a:lnTo>
                    <a:lnTo>
                      <a:pt x="333" y="377"/>
                    </a:lnTo>
                    <a:lnTo>
                      <a:pt x="333" y="378"/>
                    </a:lnTo>
                    <a:lnTo>
                      <a:pt x="332" y="380"/>
                    </a:lnTo>
                    <a:lnTo>
                      <a:pt x="333" y="382"/>
                    </a:lnTo>
                    <a:lnTo>
                      <a:pt x="333" y="382"/>
                    </a:lnTo>
                    <a:lnTo>
                      <a:pt x="335" y="384"/>
                    </a:lnTo>
                    <a:lnTo>
                      <a:pt x="336" y="384"/>
                    </a:lnTo>
                    <a:lnTo>
                      <a:pt x="339" y="385"/>
                    </a:lnTo>
                    <a:lnTo>
                      <a:pt x="339" y="388"/>
                    </a:lnTo>
                    <a:lnTo>
                      <a:pt x="339" y="388"/>
                    </a:lnTo>
                    <a:lnTo>
                      <a:pt x="342" y="393"/>
                    </a:lnTo>
                    <a:lnTo>
                      <a:pt x="343" y="397"/>
                    </a:lnTo>
                    <a:lnTo>
                      <a:pt x="348" y="404"/>
                    </a:lnTo>
                    <a:lnTo>
                      <a:pt x="348" y="404"/>
                    </a:lnTo>
                    <a:lnTo>
                      <a:pt x="349" y="410"/>
                    </a:lnTo>
                    <a:lnTo>
                      <a:pt x="352" y="414"/>
                    </a:lnTo>
                    <a:lnTo>
                      <a:pt x="352" y="414"/>
                    </a:lnTo>
                    <a:lnTo>
                      <a:pt x="356" y="419"/>
                    </a:lnTo>
                    <a:lnTo>
                      <a:pt x="359" y="419"/>
                    </a:lnTo>
                    <a:lnTo>
                      <a:pt x="361" y="417"/>
                    </a:lnTo>
                    <a:lnTo>
                      <a:pt x="361" y="417"/>
                    </a:lnTo>
                    <a:lnTo>
                      <a:pt x="361" y="416"/>
                    </a:lnTo>
                    <a:lnTo>
                      <a:pt x="359" y="414"/>
                    </a:lnTo>
                    <a:lnTo>
                      <a:pt x="359" y="413"/>
                    </a:lnTo>
                    <a:lnTo>
                      <a:pt x="362" y="410"/>
                    </a:lnTo>
                    <a:lnTo>
                      <a:pt x="362" y="410"/>
                    </a:lnTo>
                    <a:lnTo>
                      <a:pt x="365" y="406"/>
                    </a:lnTo>
                    <a:lnTo>
                      <a:pt x="367" y="401"/>
                    </a:lnTo>
                    <a:lnTo>
                      <a:pt x="369" y="397"/>
                    </a:lnTo>
                    <a:lnTo>
                      <a:pt x="371" y="394"/>
                    </a:lnTo>
                    <a:lnTo>
                      <a:pt x="374" y="394"/>
                    </a:lnTo>
                    <a:lnTo>
                      <a:pt x="374" y="394"/>
                    </a:lnTo>
                    <a:lnTo>
                      <a:pt x="378" y="394"/>
                    </a:lnTo>
                    <a:lnTo>
                      <a:pt x="380" y="393"/>
                    </a:lnTo>
                    <a:lnTo>
                      <a:pt x="381" y="390"/>
                    </a:lnTo>
                    <a:lnTo>
                      <a:pt x="383" y="388"/>
                    </a:lnTo>
                    <a:lnTo>
                      <a:pt x="383" y="388"/>
                    </a:lnTo>
                    <a:lnTo>
                      <a:pt x="384" y="385"/>
                    </a:lnTo>
                    <a:lnTo>
                      <a:pt x="385" y="384"/>
                    </a:lnTo>
                    <a:lnTo>
                      <a:pt x="388" y="382"/>
                    </a:lnTo>
                    <a:lnTo>
                      <a:pt x="390" y="382"/>
                    </a:lnTo>
                    <a:lnTo>
                      <a:pt x="390" y="382"/>
                    </a:lnTo>
                    <a:lnTo>
                      <a:pt x="390" y="387"/>
                    </a:lnTo>
                    <a:lnTo>
                      <a:pt x="390" y="391"/>
                    </a:lnTo>
                    <a:lnTo>
                      <a:pt x="388" y="394"/>
                    </a:lnTo>
                    <a:lnTo>
                      <a:pt x="388" y="394"/>
                    </a:lnTo>
                    <a:lnTo>
                      <a:pt x="385" y="398"/>
                    </a:lnTo>
                    <a:lnTo>
                      <a:pt x="384" y="406"/>
                    </a:lnTo>
                    <a:lnTo>
                      <a:pt x="383" y="413"/>
                    </a:lnTo>
                    <a:lnTo>
                      <a:pt x="383" y="416"/>
                    </a:lnTo>
                    <a:lnTo>
                      <a:pt x="383" y="416"/>
                    </a:lnTo>
                    <a:lnTo>
                      <a:pt x="378" y="417"/>
                    </a:lnTo>
                    <a:lnTo>
                      <a:pt x="375" y="422"/>
                    </a:lnTo>
                    <a:lnTo>
                      <a:pt x="375" y="422"/>
                    </a:lnTo>
                    <a:lnTo>
                      <a:pt x="375" y="423"/>
                    </a:lnTo>
                    <a:lnTo>
                      <a:pt x="377" y="424"/>
                    </a:lnTo>
                    <a:lnTo>
                      <a:pt x="378" y="424"/>
                    </a:lnTo>
                    <a:lnTo>
                      <a:pt x="381" y="423"/>
                    </a:lnTo>
                    <a:lnTo>
                      <a:pt x="381" y="423"/>
                    </a:lnTo>
                    <a:lnTo>
                      <a:pt x="385" y="420"/>
                    </a:lnTo>
                    <a:lnTo>
                      <a:pt x="388" y="419"/>
                    </a:lnTo>
                    <a:lnTo>
                      <a:pt x="390" y="416"/>
                    </a:lnTo>
                    <a:lnTo>
                      <a:pt x="390" y="416"/>
                    </a:lnTo>
                    <a:lnTo>
                      <a:pt x="393" y="410"/>
                    </a:lnTo>
                    <a:lnTo>
                      <a:pt x="394" y="407"/>
                    </a:lnTo>
                    <a:lnTo>
                      <a:pt x="396" y="409"/>
                    </a:lnTo>
                    <a:lnTo>
                      <a:pt x="396" y="409"/>
                    </a:lnTo>
                    <a:lnTo>
                      <a:pt x="397" y="416"/>
                    </a:lnTo>
                    <a:lnTo>
                      <a:pt x="400" y="423"/>
                    </a:lnTo>
                    <a:lnTo>
                      <a:pt x="400" y="423"/>
                    </a:lnTo>
                    <a:lnTo>
                      <a:pt x="400" y="424"/>
                    </a:lnTo>
                    <a:lnTo>
                      <a:pt x="400" y="426"/>
                    </a:lnTo>
                    <a:lnTo>
                      <a:pt x="397" y="429"/>
                    </a:lnTo>
                    <a:lnTo>
                      <a:pt x="394" y="432"/>
                    </a:lnTo>
                    <a:lnTo>
                      <a:pt x="394" y="432"/>
                    </a:lnTo>
                    <a:lnTo>
                      <a:pt x="394" y="432"/>
                    </a:lnTo>
                    <a:lnTo>
                      <a:pt x="398" y="433"/>
                    </a:lnTo>
                    <a:lnTo>
                      <a:pt x="400" y="433"/>
                    </a:lnTo>
                    <a:lnTo>
                      <a:pt x="403" y="433"/>
                    </a:lnTo>
                    <a:lnTo>
                      <a:pt x="403" y="433"/>
                    </a:lnTo>
                    <a:lnTo>
                      <a:pt x="404" y="430"/>
                    </a:lnTo>
                    <a:lnTo>
                      <a:pt x="406" y="429"/>
                    </a:lnTo>
                    <a:lnTo>
                      <a:pt x="406" y="430"/>
                    </a:lnTo>
                    <a:lnTo>
                      <a:pt x="409" y="433"/>
                    </a:lnTo>
                    <a:lnTo>
                      <a:pt x="409" y="433"/>
                    </a:lnTo>
                    <a:lnTo>
                      <a:pt x="417" y="443"/>
                    </a:lnTo>
                    <a:lnTo>
                      <a:pt x="420" y="449"/>
                    </a:lnTo>
                    <a:lnTo>
                      <a:pt x="422" y="453"/>
                    </a:lnTo>
                    <a:lnTo>
                      <a:pt x="422" y="453"/>
                    </a:lnTo>
                    <a:lnTo>
                      <a:pt x="422" y="458"/>
                    </a:lnTo>
                    <a:lnTo>
                      <a:pt x="422" y="462"/>
                    </a:lnTo>
                    <a:lnTo>
                      <a:pt x="427" y="471"/>
                    </a:lnTo>
                    <a:lnTo>
                      <a:pt x="427" y="471"/>
                    </a:lnTo>
                    <a:lnTo>
                      <a:pt x="432" y="477"/>
                    </a:lnTo>
                    <a:lnTo>
                      <a:pt x="435" y="480"/>
                    </a:lnTo>
                    <a:lnTo>
                      <a:pt x="439" y="481"/>
                    </a:lnTo>
                    <a:lnTo>
                      <a:pt x="439" y="481"/>
                    </a:lnTo>
                    <a:lnTo>
                      <a:pt x="443" y="482"/>
                    </a:lnTo>
                    <a:lnTo>
                      <a:pt x="445" y="484"/>
                    </a:lnTo>
                    <a:lnTo>
                      <a:pt x="446" y="487"/>
                    </a:lnTo>
                    <a:lnTo>
                      <a:pt x="448" y="490"/>
                    </a:lnTo>
                    <a:lnTo>
                      <a:pt x="451" y="488"/>
                    </a:lnTo>
                    <a:lnTo>
                      <a:pt x="451" y="488"/>
                    </a:lnTo>
                    <a:lnTo>
                      <a:pt x="453" y="487"/>
                    </a:lnTo>
                    <a:lnTo>
                      <a:pt x="455" y="484"/>
                    </a:lnTo>
                    <a:lnTo>
                      <a:pt x="455" y="484"/>
                    </a:lnTo>
                    <a:lnTo>
                      <a:pt x="458" y="484"/>
                    </a:lnTo>
                    <a:lnTo>
                      <a:pt x="458" y="484"/>
                    </a:lnTo>
                    <a:lnTo>
                      <a:pt x="468" y="491"/>
                    </a:lnTo>
                    <a:lnTo>
                      <a:pt x="474" y="493"/>
                    </a:lnTo>
                    <a:lnTo>
                      <a:pt x="478" y="494"/>
                    </a:lnTo>
                    <a:lnTo>
                      <a:pt x="478" y="494"/>
                    </a:lnTo>
                    <a:lnTo>
                      <a:pt x="487" y="490"/>
                    </a:lnTo>
                    <a:lnTo>
                      <a:pt x="495" y="487"/>
                    </a:lnTo>
                    <a:lnTo>
                      <a:pt x="495" y="487"/>
                    </a:lnTo>
                    <a:lnTo>
                      <a:pt x="498" y="485"/>
                    </a:lnTo>
                    <a:lnTo>
                      <a:pt x="500" y="482"/>
                    </a:lnTo>
                    <a:lnTo>
                      <a:pt x="503" y="477"/>
                    </a:lnTo>
                    <a:lnTo>
                      <a:pt x="503" y="477"/>
                    </a:lnTo>
                    <a:lnTo>
                      <a:pt x="506" y="478"/>
                    </a:lnTo>
                    <a:lnTo>
                      <a:pt x="511" y="485"/>
                    </a:lnTo>
                    <a:lnTo>
                      <a:pt x="511" y="485"/>
                    </a:lnTo>
                    <a:lnTo>
                      <a:pt x="517" y="493"/>
                    </a:lnTo>
                    <a:lnTo>
                      <a:pt x="519" y="494"/>
                    </a:lnTo>
                    <a:lnTo>
                      <a:pt x="523" y="494"/>
                    </a:lnTo>
                    <a:lnTo>
                      <a:pt x="523" y="494"/>
                    </a:lnTo>
                    <a:lnTo>
                      <a:pt x="529" y="493"/>
                    </a:lnTo>
                    <a:lnTo>
                      <a:pt x="533" y="494"/>
                    </a:lnTo>
                    <a:lnTo>
                      <a:pt x="537" y="493"/>
                    </a:lnTo>
                    <a:lnTo>
                      <a:pt x="540" y="491"/>
                    </a:lnTo>
                    <a:lnTo>
                      <a:pt x="540" y="491"/>
                    </a:lnTo>
                    <a:lnTo>
                      <a:pt x="543" y="488"/>
                    </a:lnTo>
                    <a:lnTo>
                      <a:pt x="545" y="484"/>
                    </a:lnTo>
                    <a:lnTo>
                      <a:pt x="548" y="481"/>
                    </a:lnTo>
                    <a:lnTo>
                      <a:pt x="552" y="480"/>
                    </a:lnTo>
                    <a:lnTo>
                      <a:pt x="552" y="480"/>
                    </a:lnTo>
                    <a:lnTo>
                      <a:pt x="562" y="478"/>
                    </a:lnTo>
                    <a:lnTo>
                      <a:pt x="571" y="474"/>
                    </a:lnTo>
                    <a:lnTo>
                      <a:pt x="571" y="474"/>
                    </a:lnTo>
                    <a:lnTo>
                      <a:pt x="577" y="474"/>
                    </a:lnTo>
                    <a:lnTo>
                      <a:pt x="581" y="472"/>
                    </a:lnTo>
                    <a:lnTo>
                      <a:pt x="584" y="472"/>
                    </a:lnTo>
                    <a:lnTo>
                      <a:pt x="585" y="471"/>
                    </a:lnTo>
                    <a:lnTo>
                      <a:pt x="587" y="469"/>
                    </a:lnTo>
                    <a:lnTo>
                      <a:pt x="587" y="469"/>
                    </a:lnTo>
                    <a:lnTo>
                      <a:pt x="587" y="455"/>
                    </a:lnTo>
                    <a:lnTo>
                      <a:pt x="588" y="448"/>
                    </a:lnTo>
                    <a:lnTo>
                      <a:pt x="590" y="443"/>
                    </a:lnTo>
                    <a:lnTo>
                      <a:pt x="590" y="443"/>
                    </a:lnTo>
                    <a:lnTo>
                      <a:pt x="591" y="440"/>
                    </a:lnTo>
                    <a:lnTo>
                      <a:pt x="593" y="436"/>
                    </a:lnTo>
                    <a:lnTo>
                      <a:pt x="594" y="429"/>
                    </a:lnTo>
                    <a:lnTo>
                      <a:pt x="595" y="423"/>
                    </a:lnTo>
                    <a:lnTo>
                      <a:pt x="595" y="423"/>
                    </a:lnTo>
                    <a:lnTo>
                      <a:pt x="597" y="419"/>
                    </a:lnTo>
                    <a:lnTo>
                      <a:pt x="598" y="414"/>
                    </a:lnTo>
                    <a:lnTo>
                      <a:pt x="598" y="410"/>
                    </a:lnTo>
                    <a:lnTo>
                      <a:pt x="601" y="407"/>
                    </a:lnTo>
                    <a:lnTo>
                      <a:pt x="601" y="407"/>
                    </a:lnTo>
                    <a:lnTo>
                      <a:pt x="604" y="403"/>
                    </a:lnTo>
                    <a:lnTo>
                      <a:pt x="608" y="397"/>
                    </a:lnTo>
                    <a:lnTo>
                      <a:pt x="613" y="391"/>
                    </a:lnTo>
                    <a:lnTo>
                      <a:pt x="617" y="387"/>
                    </a:lnTo>
                    <a:lnTo>
                      <a:pt x="617" y="387"/>
                    </a:lnTo>
                    <a:lnTo>
                      <a:pt x="624" y="382"/>
                    </a:lnTo>
                    <a:lnTo>
                      <a:pt x="632" y="378"/>
                    </a:lnTo>
                    <a:lnTo>
                      <a:pt x="632" y="378"/>
                    </a:lnTo>
                    <a:lnTo>
                      <a:pt x="635" y="375"/>
                    </a:lnTo>
                    <a:lnTo>
                      <a:pt x="637" y="369"/>
                    </a:lnTo>
                    <a:lnTo>
                      <a:pt x="642" y="354"/>
                    </a:lnTo>
                    <a:lnTo>
                      <a:pt x="648" y="338"/>
                    </a:lnTo>
                    <a:lnTo>
                      <a:pt x="649" y="327"/>
                    </a:lnTo>
                    <a:lnTo>
                      <a:pt x="649" y="327"/>
                    </a:lnTo>
                    <a:lnTo>
                      <a:pt x="653" y="310"/>
                    </a:lnTo>
                    <a:lnTo>
                      <a:pt x="653" y="301"/>
                    </a:lnTo>
                    <a:lnTo>
                      <a:pt x="653" y="296"/>
                    </a:lnTo>
                    <a:close/>
                    <a:moveTo>
                      <a:pt x="368" y="372"/>
                    </a:moveTo>
                    <a:lnTo>
                      <a:pt x="368" y="372"/>
                    </a:lnTo>
                    <a:lnTo>
                      <a:pt x="368" y="369"/>
                    </a:lnTo>
                    <a:lnTo>
                      <a:pt x="367" y="364"/>
                    </a:lnTo>
                    <a:lnTo>
                      <a:pt x="368" y="359"/>
                    </a:lnTo>
                    <a:lnTo>
                      <a:pt x="369" y="356"/>
                    </a:lnTo>
                    <a:lnTo>
                      <a:pt x="369" y="356"/>
                    </a:lnTo>
                    <a:lnTo>
                      <a:pt x="369" y="355"/>
                    </a:lnTo>
                    <a:lnTo>
                      <a:pt x="371" y="356"/>
                    </a:lnTo>
                    <a:lnTo>
                      <a:pt x="374" y="358"/>
                    </a:lnTo>
                    <a:lnTo>
                      <a:pt x="377" y="364"/>
                    </a:lnTo>
                    <a:lnTo>
                      <a:pt x="377" y="364"/>
                    </a:lnTo>
                    <a:lnTo>
                      <a:pt x="375" y="367"/>
                    </a:lnTo>
                    <a:lnTo>
                      <a:pt x="374" y="371"/>
                    </a:lnTo>
                    <a:lnTo>
                      <a:pt x="371" y="372"/>
                    </a:lnTo>
                    <a:lnTo>
                      <a:pt x="368" y="372"/>
                    </a:lnTo>
                    <a:close/>
                    <a:moveTo>
                      <a:pt x="384" y="307"/>
                    </a:moveTo>
                    <a:lnTo>
                      <a:pt x="384" y="307"/>
                    </a:lnTo>
                    <a:lnTo>
                      <a:pt x="385" y="303"/>
                    </a:lnTo>
                    <a:lnTo>
                      <a:pt x="385" y="298"/>
                    </a:lnTo>
                    <a:lnTo>
                      <a:pt x="385" y="296"/>
                    </a:lnTo>
                    <a:lnTo>
                      <a:pt x="385" y="296"/>
                    </a:lnTo>
                    <a:lnTo>
                      <a:pt x="385" y="291"/>
                    </a:lnTo>
                    <a:lnTo>
                      <a:pt x="388" y="290"/>
                    </a:lnTo>
                    <a:lnTo>
                      <a:pt x="391" y="290"/>
                    </a:lnTo>
                    <a:lnTo>
                      <a:pt x="394" y="293"/>
                    </a:lnTo>
                    <a:lnTo>
                      <a:pt x="394" y="293"/>
                    </a:lnTo>
                    <a:lnTo>
                      <a:pt x="398" y="298"/>
                    </a:lnTo>
                    <a:lnTo>
                      <a:pt x="398" y="301"/>
                    </a:lnTo>
                    <a:lnTo>
                      <a:pt x="398" y="301"/>
                    </a:lnTo>
                    <a:lnTo>
                      <a:pt x="400" y="304"/>
                    </a:lnTo>
                    <a:lnTo>
                      <a:pt x="401" y="309"/>
                    </a:lnTo>
                    <a:lnTo>
                      <a:pt x="401" y="312"/>
                    </a:lnTo>
                    <a:lnTo>
                      <a:pt x="401" y="314"/>
                    </a:lnTo>
                    <a:lnTo>
                      <a:pt x="401" y="314"/>
                    </a:lnTo>
                    <a:lnTo>
                      <a:pt x="398" y="319"/>
                    </a:lnTo>
                    <a:lnTo>
                      <a:pt x="397" y="320"/>
                    </a:lnTo>
                    <a:lnTo>
                      <a:pt x="394" y="320"/>
                    </a:lnTo>
                    <a:lnTo>
                      <a:pt x="394" y="320"/>
                    </a:lnTo>
                    <a:lnTo>
                      <a:pt x="388" y="313"/>
                    </a:lnTo>
                    <a:lnTo>
                      <a:pt x="384" y="307"/>
                    </a:lnTo>
                    <a:close/>
                    <a:moveTo>
                      <a:pt x="400" y="365"/>
                    </a:moveTo>
                    <a:lnTo>
                      <a:pt x="400" y="365"/>
                    </a:lnTo>
                    <a:lnTo>
                      <a:pt x="398" y="365"/>
                    </a:lnTo>
                    <a:lnTo>
                      <a:pt x="398" y="364"/>
                    </a:lnTo>
                    <a:lnTo>
                      <a:pt x="397" y="361"/>
                    </a:lnTo>
                    <a:lnTo>
                      <a:pt x="398" y="356"/>
                    </a:lnTo>
                    <a:lnTo>
                      <a:pt x="397" y="354"/>
                    </a:lnTo>
                    <a:lnTo>
                      <a:pt x="397" y="354"/>
                    </a:lnTo>
                    <a:lnTo>
                      <a:pt x="391" y="345"/>
                    </a:lnTo>
                    <a:lnTo>
                      <a:pt x="390" y="340"/>
                    </a:lnTo>
                    <a:lnTo>
                      <a:pt x="391" y="339"/>
                    </a:lnTo>
                    <a:lnTo>
                      <a:pt x="393" y="339"/>
                    </a:lnTo>
                    <a:lnTo>
                      <a:pt x="393" y="339"/>
                    </a:lnTo>
                    <a:lnTo>
                      <a:pt x="396" y="339"/>
                    </a:lnTo>
                    <a:lnTo>
                      <a:pt x="397" y="340"/>
                    </a:lnTo>
                    <a:lnTo>
                      <a:pt x="401" y="345"/>
                    </a:lnTo>
                    <a:lnTo>
                      <a:pt x="403" y="351"/>
                    </a:lnTo>
                    <a:lnTo>
                      <a:pt x="403" y="355"/>
                    </a:lnTo>
                    <a:lnTo>
                      <a:pt x="403" y="355"/>
                    </a:lnTo>
                    <a:lnTo>
                      <a:pt x="403" y="362"/>
                    </a:lnTo>
                    <a:lnTo>
                      <a:pt x="401" y="364"/>
                    </a:lnTo>
                    <a:lnTo>
                      <a:pt x="400" y="36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22" name="Freeform 1177"/>
              <p:cNvSpPr>
                <a:spLocks/>
              </p:cNvSpPr>
              <p:nvPr/>
            </p:nvSpPr>
            <p:spPr bwMode="auto">
              <a:xfrm>
                <a:off x="6210214" y="3498173"/>
                <a:ext cx="645987" cy="488694"/>
              </a:xfrm>
              <a:custGeom>
                <a:avLst/>
                <a:gdLst>
                  <a:gd name="T0" fmla="*/ 635 w 653"/>
                  <a:gd name="T1" fmla="*/ 235 h 494"/>
                  <a:gd name="T2" fmla="*/ 604 w 653"/>
                  <a:gd name="T3" fmla="*/ 194 h 494"/>
                  <a:gd name="T4" fmla="*/ 590 w 653"/>
                  <a:gd name="T5" fmla="*/ 187 h 494"/>
                  <a:gd name="T6" fmla="*/ 551 w 653"/>
                  <a:gd name="T7" fmla="*/ 141 h 494"/>
                  <a:gd name="T8" fmla="*/ 524 w 653"/>
                  <a:gd name="T9" fmla="*/ 88 h 494"/>
                  <a:gd name="T10" fmla="*/ 501 w 653"/>
                  <a:gd name="T11" fmla="*/ 58 h 494"/>
                  <a:gd name="T12" fmla="*/ 485 w 653"/>
                  <a:gd name="T13" fmla="*/ 17 h 494"/>
                  <a:gd name="T14" fmla="*/ 472 w 653"/>
                  <a:gd name="T15" fmla="*/ 3 h 494"/>
                  <a:gd name="T16" fmla="*/ 462 w 653"/>
                  <a:gd name="T17" fmla="*/ 45 h 494"/>
                  <a:gd name="T18" fmla="*/ 439 w 653"/>
                  <a:gd name="T19" fmla="*/ 109 h 494"/>
                  <a:gd name="T20" fmla="*/ 422 w 653"/>
                  <a:gd name="T21" fmla="*/ 101 h 494"/>
                  <a:gd name="T22" fmla="*/ 393 w 653"/>
                  <a:gd name="T23" fmla="*/ 84 h 494"/>
                  <a:gd name="T24" fmla="*/ 364 w 653"/>
                  <a:gd name="T25" fmla="*/ 64 h 494"/>
                  <a:gd name="T26" fmla="*/ 374 w 653"/>
                  <a:gd name="T27" fmla="*/ 39 h 494"/>
                  <a:gd name="T28" fmla="*/ 377 w 653"/>
                  <a:gd name="T29" fmla="*/ 17 h 494"/>
                  <a:gd name="T30" fmla="*/ 365 w 653"/>
                  <a:gd name="T31" fmla="*/ 17 h 494"/>
                  <a:gd name="T32" fmla="*/ 326 w 653"/>
                  <a:gd name="T33" fmla="*/ 12 h 494"/>
                  <a:gd name="T34" fmla="*/ 303 w 653"/>
                  <a:gd name="T35" fmla="*/ 23 h 494"/>
                  <a:gd name="T36" fmla="*/ 274 w 653"/>
                  <a:gd name="T37" fmla="*/ 33 h 494"/>
                  <a:gd name="T38" fmla="*/ 264 w 653"/>
                  <a:gd name="T39" fmla="*/ 59 h 494"/>
                  <a:gd name="T40" fmla="*/ 259 w 653"/>
                  <a:gd name="T41" fmla="*/ 67 h 494"/>
                  <a:gd name="T42" fmla="*/ 238 w 653"/>
                  <a:gd name="T43" fmla="*/ 61 h 494"/>
                  <a:gd name="T44" fmla="*/ 207 w 653"/>
                  <a:gd name="T45" fmla="*/ 54 h 494"/>
                  <a:gd name="T46" fmla="*/ 196 w 653"/>
                  <a:gd name="T47" fmla="*/ 74 h 494"/>
                  <a:gd name="T48" fmla="*/ 181 w 653"/>
                  <a:gd name="T49" fmla="*/ 84 h 494"/>
                  <a:gd name="T50" fmla="*/ 170 w 653"/>
                  <a:gd name="T51" fmla="*/ 99 h 494"/>
                  <a:gd name="T52" fmla="*/ 149 w 653"/>
                  <a:gd name="T53" fmla="*/ 101 h 494"/>
                  <a:gd name="T54" fmla="*/ 135 w 653"/>
                  <a:gd name="T55" fmla="*/ 138 h 494"/>
                  <a:gd name="T56" fmla="*/ 70 w 653"/>
                  <a:gd name="T57" fmla="*/ 165 h 494"/>
                  <a:gd name="T58" fmla="*/ 19 w 653"/>
                  <a:gd name="T59" fmla="*/ 191 h 494"/>
                  <a:gd name="T60" fmla="*/ 7 w 653"/>
                  <a:gd name="T61" fmla="*/ 203 h 494"/>
                  <a:gd name="T62" fmla="*/ 10 w 653"/>
                  <a:gd name="T63" fmla="*/ 222 h 494"/>
                  <a:gd name="T64" fmla="*/ 15 w 653"/>
                  <a:gd name="T65" fmla="*/ 258 h 494"/>
                  <a:gd name="T66" fmla="*/ 2 w 653"/>
                  <a:gd name="T67" fmla="*/ 256 h 494"/>
                  <a:gd name="T68" fmla="*/ 15 w 653"/>
                  <a:gd name="T69" fmla="*/ 291 h 494"/>
                  <a:gd name="T70" fmla="*/ 41 w 653"/>
                  <a:gd name="T71" fmla="*/ 375 h 494"/>
                  <a:gd name="T72" fmla="*/ 29 w 653"/>
                  <a:gd name="T73" fmla="*/ 390 h 494"/>
                  <a:gd name="T74" fmla="*/ 44 w 653"/>
                  <a:gd name="T75" fmla="*/ 416 h 494"/>
                  <a:gd name="T76" fmla="*/ 96 w 653"/>
                  <a:gd name="T77" fmla="*/ 403 h 494"/>
                  <a:gd name="T78" fmla="*/ 144 w 653"/>
                  <a:gd name="T79" fmla="*/ 398 h 494"/>
                  <a:gd name="T80" fmla="*/ 170 w 653"/>
                  <a:gd name="T81" fmla="*/ 382 h 494"/>
                  <a:gd name="T82" fmla="*/ 238 w 653"/>
                  <a:gd name="T83" fmla="*/ 374 h 494"/>
                  <a:gd name="T84" fmla="*/ 313 w 653"/>
                  <a:gd name="T85" fmla="*/ 371 h 494"/>
                  <a:gd name="T86" fmla="*/ 335 w 653"/>
                  <a:gd name="T87" fmla="*/ 384 h 494"/>
                  <a:gd name="T88" fmla="*/ 352 w 653"/>
                  <a:gd name="T89" fmla="*/ 414 h 494"/>
                  <a:gd name="T90" fmla="*/ 367 w 653"/>
                  <a:gd name="T91" fmla="*/ 401 h 494"/>
                  <a:gd name="T92" fmla="*/ 385 w 653"/>
                  <a:gd name="T93" fmla="*/ 384 h 494"/>
                  <a:gd name="T94" fmla="*/ 383 w 653"/>
                  <a:gd name="T95" fmla="*/ 416 h 494"/>
                  <a:gd name="T96" fmla="*/ 388 w 653"/>
                  <a:gd name="T97" fmla="*/ 419 h 494"/>
                  <a:gd name="T98" fmla="*/ 400 w 653"/>
                  <a:gd name="T99" fmla="*/ 426 h 494"/>
                  <a:gd name="T100" fmla="*/ 406 w 653"/>
                  <a:gd name="T101" fmla="*/ 430 h 494"/>
                  <a:gd name="T102" fmla="*/ 432 w 653"/>
                  <a:gd name="T103" fmla="*/ 477 h 494"/>
                  <a:gd name="T104" fmla="*/ 455 w 653"/>
                  <a:gd name="T105" fmla="*/ 484 h 494"/>
                  <a:gd name="T106" fmla="*/ 498 w 653"/>
                  <a:gd name="T107" fmla="*/ 485 h 494"/>
                  <a:gd name="T108" fmla="*/ 529 w 653"/>
                  <a:gd name="T109" fmla="*/ 493 h 494"/>
                  <a:gd name="T110" fmla="*/ 571 w 653"/>
                  <a:gd name="T111" fmla="*/ 474 h 494"/>
                  <a:gd name="T112" fmla="*/ 590 w 653"/>
                  <a:gd name="T113" fmla="*/ 443 h 494"/>
                  <a:gd name="T114" fmla="*/ 604 w 653"/>
                  <a:gd name="T115" fmla="*/ 403 h 494"/>
                  <a:gd name="T116" fmla="*/ 648 w 653"/>
                  <a:gd name="T117" fmla="*/ 338 h 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53" h="494">
                    <a:moveTo>
                      <a:pt x="653" y="296"/>
                    </a:moveTo>
                    <a:lnTo>
                      <a:pt x="653" y="296"/>
                    </a:lnTo>
                    <a:lnTo>
                      <a:pt x="649" y="287"/>
                    </a:lnTo>
                    <a:lnTo>
                      <a:pt x="649" y="278"/>
                    </a:lnTo>
                    <a:lnTo>
                      <a:pt x="649" y="278"/>
                    </a:lnTo>
                    <a:lnTo>
                      <a:pt x="649" y="272"/>
                    </a:lnTo>
                    <a:lnTo>
                      <a:pt x="648" y="265"/>
                    </a:lnTo>
                    <a:lnTo>
                      <a:pt x="643" y="254"/>
                    </a:lnTo>
                    <a:lnTo>
                      <a:pt x="643" y="254"/>
                    </a:lnTo>
                    <a:lnTo>
                      <a:pt x="639" y="242"/>
                    </a:lnTo>
                    <a:lnTo>
                      <a:pt x="635" y="235"/>
                    </a:lnTo>
                    <a:lnTo>
                      <a:pt x="632" y="229"/>
                    </a:lnTo>
                    <a:lnTo>
                      <a:pt x="632" y="229"/>
                    </a:lnTo>
                    <a:lnTo>
                      <a:pt x="624" y="223"/>
                    </a:lnTo>
                    <a:lnTo>
                      <a:pt x="617" y="216"/>
                    </a:lnTo>
                    <a:lnTo>
                      <a:pt x="617" y="216"/>
                    </a:lnTo>
                    <a:lnTo>
                      <a:pt x="611" y="212"/>
                    </a:lnTo>
                    <a:lnTo>
                      <a:pt x="610" y="209"/>
                    </a:lnTo>
                    <a:lnTo>
                      <a:pt x="608" y="203"/>
                    </a:lnTo>
                    <a:lnTo>
                      <a:pt x="608" y="203"/>
                    </a:lnTo>
                    <a:lnTo>
                      <a:pt x="607" y="197"/>
                    </a:lnTo>
                    <a:lnTo>
                      <a:pt x="604" y="194"/>
                    </a:lnTo>
                    <a:lnTo>
                      <a:pt x="601" y="193"/>
                    </a:lnTo>
                    <a:lnTo>
                      <a:pt x="601" y="193"/>
                    </a:lnTo>
                    <a:lnTo>
                      <a:pt x="600" y="191"/>
                    </a:lnTo>
                    <a:lnTo>
                      <a:pt x="598" y="190"/>
                    </a:lnTo>
                    <a:lnTo>
                      <a:pt x="597" y="191"/>
                    </a:lnTo>
                    <a:lnTo>
                      <a:pt x="597" y="191"/>
                    </a:lnTo>
                    <a:lnTo>
                      <a:pt x="595" y="193"/>
                    </a:lnTo>
                    <a:lnTo>
                      <a:pt x="594" y="193"/>
                    </a:lnTo>
                    <a:lnTo>
                      <a:pt x="591" y="191"/>
                    </a:lnTo>
                    <a:lnTo>
                      <a:pt x="590" y="187"/>
                    </a:lnTo>
                    <a:lnTo>
                      <a:pt x="590" y="187"/>
                    </a:lnTo>
                    <a:lnTo>
                      <a:pt x="582" y="170"/>
                    </a:lnTo>
                    <a:lnTo>
                      <a:pt x="582" y="170"/>
                    </a:lnTo>
                    <a:lnTo>
                      <a:pt x="578" y="162"/>
                    </a:lnTo>
                    <a:lnTo>
                      <a:pt x="572" y="155"/>
                    </a:lnTo>
                    <a:lnTo>
                      <a:pt x="572" y="155"/>
                    </a:lnTo>
                    <a:lnTo>
                      <a:pt x="564" y="151"/>
                    </a:lnTo>
                    <a:lnTo>
                      <a:pt x="558" y="148"/>
                    </a:lnTo>
                    <a:lnTo>
                      <a:pt x="555" y="145"/>
                    </a:lnTo>
                    <a:lnTo>
                      <a:pt x="555" y="145"/>
                    </a:lnTo>
                    <a:lnTo>
                      <a:pt x="553" y="142"/>
                    </a:lnTo>
                    <a:lnTo>
                      <a:pt x="551" y="141"/>
                    </a:lnTo>
                    <a:lnTo>
                      <a:pt x="545" y="135"/>
                    </a:lnTo>
                    <a:lnTo>
                      <a:pt x="545" y="135"/>
                    </a:lnTo>
                    <a:lnTo>
                      <a:pt x="539" y="129"/>
                    </a:lnTo>
                    <a:lnTo>
                      <a:pt x="536" y="126"/>
                    </a:lnTo>
                    <a:lnTo>
                      <a:pt x="536" y="122"/>
                    </a:lnTo>
                    <a:lnTo>
                      <a:pt x="536" y="122"/>
                    </a:lnTo>
                    <a:lnTo>
                      <a:pt x="536" y="119"/>
                    </a:lnTo>
                    <a:lnTo>
                      <a:pt x="535" y="113"/>
                    </a:lnTo>
                    <a:lnTo>
                      <a:pt x="530" y="103"/>
                    </a:lnTo>
                    <a:lnTo>
                      <a:pt x="530" y="103"/>
                    </a:lnTo>
                    <a:lnTo>
                      <a:pt x="524" y="88"/>
                    </a:lnTo>
                    <a:lnTo>
                      <a:pt x="522" y="81"/>
                    </a:lnTo>
                    <a:lnTo>
                      <a:pt x="520" y="77"/>
                    </a:lnTo>
                    <a:lnTo>
                      <a:pt x="520" y="77"/>
                    </a:lnTo>
                    <a:lnTo>
                      <a:pt x="520" y="73"/>
                    </a:lnTo>
                    <a:lnTo>
                      <a:pt x="517" y="68"/>
                    </a:lnTo>
                    <a:lnTo>
                      <a:pt x="513" y="59"/>
                    </a:lnTo>
                    <a:lnTo>
                      <a:pt x="513" y="59"/>
                    </a:lnTo>
                    <a:lnTo>
                      <a:pt x="509" y="57"/>
                    </a:lnTo>
                    <a:lnTo>
                      <a:pt x="506" y="57"/>
                    </a:lnTo>
                    <a:lnTo>
                      <a:pt x="506" y="57"/>
                    </a:lnTo>
                    <a:lnTo>
                      <a:pt x="501" y="58"/>
                    </a:lnTo>
                    <a:lnTo>
                      <a:pt x="498" y="58"/>
                    </a:lnTo>
                    <a:lnTo>
                      <a:pt x="497" y="57"/>
                    </a:lnTo>
                    <a:lnTo>
                      <a:pt x="497" y="57"/>
                    </a:lnTo>
                    <a:lnTo>
                      <a:pt x="495" y="45"/>
                    </a:lnTo>
                    <a:lnTo>
                      <a:pt x="494" y="36"/>
                    </a:lnTo>
                    <a:lnTo>
                      <a:pt x="491" y="29"/>
                    </a:lnTo>
                    <a:lnTo>
                      <a:pt x="491" y="29"/>
                    </a:lnTo>
                    <a:lnTo>
                      <a:pt x="485" y="20"/>
                    </a:lnTo>
                    <a:lnTo>
                      <a:pt x="484" y="19"/>
                    </a:lnTo>
                    <a:lnTo>
                      <a:pt x="485" y="17"/>
                    </a:lnTo>
                    <a:lnTo>
                      <a:pt x="485" y="17"/>
                    </a:lnTo>
                    <a:lnTo>
                      <a:pt x="487" y="16"/>
                    </a:lnTo>
                    <a:lnTo>
                      <a:pt x="485" y="15"/>
                    </a:lnTo>
                    <a:lnTo>
                      <a:pt x="482" y="13"/>
                    </a:lnTo>
                    <a:lnTo>
                      <a:pt x="481" y="12"/>
                    </a:lnTo>
                    <a:lnTo>
                      <a:pt x="481" y="12"/>
                    </a:lnTo>
                    <a:lnTo>
                      <a:pt x="480" y="4"/>
                    </a:lnTo>
                    <a:lnTo>
                      <a:pt x="477" y="2"/>
                    </a:lnTo>
                    <a:lnTo>
                      <a:pt x="474" y="0"/>
                    </a:lnTo>
                    <a:lnTo>
                      <a:pt x="474" y="0"/>
                    </a:lnTo>
                    <a:lnTo>
                      <a:pt x="472" y="2"/>
                    </a:lnTo>
                    <a:lnTo>
                      <a:pt x="472" y="3"/>
                    </a:lnTo>
                    <a:lnTo>
                      <a:pt x="469" y="9"/>
                    </a:lnTo>
                    <a:lnTo>
                      <a:pt x="468" y="16"/>
                    </a:lnTo>
                    <a:lnTo>
                      <a:pt x="465" y="19"/>
                    </a:lnTo>
                    <a:lnTo>
                      <a:pt x="465" y="19"/>
                    </a:lnTo>
                    <a:lnTo>
                      <a:pt x="465" y="22"/>
                    </a:lnTo>
                    <a:lnTo>
                      <a:pt x="464" y="26"/>
                    </a:lnTo>
                    <a:lnTo>
                      <a:pt x="464" y="33"/>
                    </a:lnTo>
                    <a:lnTo>
                      <a:pt x="464" y="33"/>
                    </a:lnTo>
                    <a:lnTo>
                      <a:pt x="462" y="39"/>
                    </a:lnTo>
                    <a:lnTo>
                      <a:pt x="462" y="45"/>
                    </a:lnTo>
                    <a:lnTo>
                      <a:pt x="462" y="45"/>
                    </a:lnTo>
                    <a:lnTo>
                      <a:pt x="462" y="62"/>
                    </a:lnTo>
                    <a:lnTo>
                      <a:pt x="462" y="71"/>
                    </a:lnTo>
                    <a:lnTo>
                      <a:pt x="461" y="77"/>
                    </a:lnTo>
                    <a:lnTo>
                      <a:pt x="461" y="77"/>
                    </a:lnTo>
                    <a:lnTo>
                      <a:pt x="453" y="96"/>
                    </a:lnTo>
                    <a:lnTo>
                      <a:pt x="449" y="107"/>
                    </a:lnTo>
                    <a:lnTo>
                      <a:pt x="448" y="110"/>
                    </a:lnTo>
                    <a:lnTo>
                      <a:pt x="446" y="112"/>
                    </a:lnTo>
                    <a:lnTo>
                      <a:pt x="446" y="112"/>
                    </a:lnTo>
                    <a:lnTo>
                      <a:pt x="442" y="109"/>
                    </a:lnTo>
                    <a:lnTo>
                      <a:pt x="439" y="109"/>
                    </a:lnTo>
                    <a:lnTo>
                      <a:pt x="436" y="109"/>
                    </a:lnTo>
                    <a:lnTo>
                      <a:pt x="436" y="109"/>
                    </a:lnTo>
                    <a:lnTo>
                      <a:pt x="435" y="109"/>
                    </a:lnTo>
                    <a:lnTo>
                      <a:pt x="433" y="110"/>
                    </a:lnTo>
                    <a:lnTo>
                      <a:pt x="433" y="110"/>
                    </a:lnTo>
                    <a:lnTo>
                      <a:pt x="430" y="110"/>
                    </a:lnTo>
                    <a:lnTo>
                      <a:pt x="430" y="110"/>
                    </a:lnTo>
                    <a:lnTo>
                      <a:pt x="427" y="109"/>
                    </a:lnTo>
                    <a:lnTo>
                      <a:pt x="426" y="107"/>
                    </a:lnTo>
                    <a:lnTo>
                      <a:pt x="422" y="101"/>
                    </a:lnTo>
                    <a:lnTo>
                      <a:pt x="422" y="101"/>
                    </a:lnTo>
                    <a:lnTo>
                      <a:pt x="417" y="100"/>
                    </a:lnTo>
                    <a:lnTo>
                      <a:pt x="413" y="99"/>
                    </a:lnTo>
                    <a:lnTo>
                      <a:pt x="407" y="97"/>
                    </a:lnTo>
                    <a:lnTo>
                      <a:pt x="404" y="96"/>
                    </a:lnTo>
                    <a:lnTo>
                      <a:pt x="404" y="96"/>
                    </a:lnTo>
                    <a:lnTo>
                      <a:pt x="403" y="94"/>
                    </a:lnTo>
                    <a:lnTo>
                      <a:pt x="403" y="91"/>
                    </a:lnTo>
                    <a:lnTo>
                      <a:pt x="401" y="88"/>
                    </a:lnTo>
                    <a:lnTo>
                      <a:pt x="397" y="87"/>
                    </a:lnTo>
                    <a:lnTo>
                      <a:pt x="397" y="87"/>
                    </a:lnTo>
                    <a:lnTo>
                      <a:pt x="393" y="84"/>
                    </a:lnTo>
                    <a:lnTo>
                      <a:pt x="390" y="81"/>
                    </a:lnTo>
                    <a:lnTo>
                      <a:pt x="388" y="78"/>
                    </a:lnTo>
                    <a:lnTo>
                      <a:pt x="384" y="77"/>
                    </a:lnTo>
                    <a:lnTo>
                      <a:pt x="384" y="77"/>
                    </a:lnTo>
                    <a:lnTo>
                      <a:pt x="380" y="78"/>
                    </a:lnTo>
                    <a:lnTo>
                      <a:pt x="378" y="77"/>
                    </a:lnTo>
                    <a:lnTo>
                      <a:pt x="375" y="77"/>
                    </a:lnTo>
                    <a:lnTo>
                      <a:pt x="375" y="77"/>
                    </a:lnTo>
                    <a:lnTo>
                      <a:pt x="368" y="71"/>
                    </a:lnTo>
                    <a:lnTo>
                      <a:pt x="364" y="67"/>
                    </a:lnTo>
                    <a:lnTo>
                      <a:pt x="364" y="64"/>
                    </a:lnTo>
                    <a:lnTo>
                      <a:pt x="364" y="64"/>
                    </a:lnTo>
                    <a:lnTo>
                      <a:pt x="365" y="58"/>
                    </a:lnTo>
                    <a:lnTo>
                      <a:pt x="369" y="52"/>
                    </a:lnTo>
                    <a:lnTo>
                      <a:pt x="369" y="52"/>
                    </a:lnTo>
                    <a:lnTo>
                      <a:pt x="371" y="49"/>
                    </a:lnTo>
                    <a:lnTo>
                      <a:pt x="372" y="45"/>
                    </a:lnTo>
                    <a:lnTo>
                      <a:pt x="372" y="45"/>
                    </a:lnTo>
                    <a:lnTo>
                      <a:pt x="371" y="42"/>
                    </a:lnTo>
                    <a:lnTo>
                      <a:pt x="371" y="39"/>
                    </a:lnTo>
                    <a:lnTo>
                      <a:pt x="374" y="39"/>
                    </a:lnTo>
                    <a:lnTo>
                      <a:pt x="374" y="39"/>
                    </a:lnTo>
                    <a:lnTo>
                      <a:pt x="380" y="38"/>
                    </a:lnTo>
                    <a:lnTo>
                      <a:pt x="381" y="38"/>
                    </a:lnTo>
                    <a:lnTo>
                      <a:pt x="381" y="36"/>
                    </a:lnTo>
                    <a:lnTo>
                      <a:pt x="381" y="36"/>
                    </a:lnTo>
                    <a:lnTo>
                      <a:pt x="381" y="32"/>
                    </a:lnTo>
                    <a:lnTo>
                      <a:pt x="383" y="28"/>
                    </a:lnTo>
                    <a:lnTo>
                      <a:pt x="384" y="23"/>
                    </a:lnTo>
                    <a:lnTo>
                      <a:pt x="384" y="22"/>
                    </a:lnTo>
                    <a:lnTo>
                      <a:pt x="383" y="20"/>
                    </a:lnTo>
                    <a:lnTo>
                      <a:pt x="383" y="20"/>
                    </a:lnTo>
                    <a:lnTo>
                      <a:pt x="377" y="17"/>
                    </a:lnTo>
                    <a:lnTo>
                      <a:pt x="375" y="17"/>
                    </a:lnTo>
                    <a:lnTo>
                      <a:pt x="374" y="19"/>
                    </a:lnTo>
                    <a:lnTo>
                      <a:pt x="374" y="19"/>
                    </a:lnTo>
                    <a:lnTo>
                      <a:pt x="374" y="22"/>
                    </a:lnTo>
                    <a:lnTo>
                      <a:pt x="372" y="23"/>
                    </a:lnTo>
                    <a:lnTo>
                      <a:pt x="371" y="23"/>
                    </a:lnTo>
                    <a:lnTo>
                      <a:pt x="371" y="23"/>
                    </a:lnTo>
                    <a:lnTo>
                      <a:pt x="368" y="19"/>
                    </a:lnTo>
                    <a:lnTo>
                      <a:pt x="367" y="17"/>
                    </a:lnTo>
                    <a:lnTo>
                      <a:pt x="365" y="17"/>
                    </a:lnTo>
                    <a:lnTo>
                      <a:pt x="365" y="17"/>
                    </a:lnTo>
                    <a:lnTo>
                      <a:pt x="364" y="19"/>
                    </a:lnTo>
                    <a:lnTo>
                      <a:pt x="362" y="20"/>
                    </a:lnTo>
                    <a:lnTo>
                      <a:pt x="359" y="22"/>
                    </a:lnTo>
                    <a:lnTo>
                      <a:pt x="356" y="22"/>
                    </a:lnTo>
                    <a:lnTo>
                      <a:pt x="356" y="22"/>
                    </a:lnTo>
                    <a:lnTo>
                      <a:pt x="348" y="17"/>
                    </a:lnTo>
                    <a:lnTo>
                      <a:pt x="343" y="16"/>
                    </a:lnTo>
                    <a:lnTo>
                      <a:pt x="339" y="15"/>
                    </a:lnTo>
                    <a:lnTo>
                      <a:pt x="339" y="15"/>
                    </a:lnTo>
                    <a:lnTo>
                      <a:pt x="332" y="15"/>
                    </a:lnTo>
                    <a:lnTo>
                      <a:pt x="326" y="12"/>
                    </a:lnTo>
                    <a:lnTo>
                      <a:pt x="326" y="12"/>
                    </a:lnTo>
                    <a:lnTo>
                      <a:pt x="320" y="10"/>
                    </a:lnTo>
                    <a:lnTo>
                      <a:pt x="317" y="9"/>
                    </a:lnTo>
                    <a:lnTo>
                      <a:pt x="316" y="10"/>
                    </a:lnTo>
                    <a:lnTo>
                      <a:pt x="316" y="10"/>
                    </a:lnTo>
                    <a:lnTo>
                      <a:pt x="316" y="13"/>
                    </a:lnTo>
                    <a:lnTo>
                      <a:pt x="314" y="16"/>
                    </a:lnTo>
                    <a:lnTo>
                      <a:pt x="313" y="19"/>
                    </a:lnTo>
                    <a:lnTo>
                      <a:pt x="313" y="19"/>
                    </a:lnTo>
                    <a:lnTo>
                      <a:pt x="309" y="22"/>
                    </a:lnTo>
                    <a:lnTo>
                      <a:pt x="303" y="23"/>
                    </a:lnTo>
                    <a:lnTo>
                      <a:pt x="299" y="25"/>
                    </a:lnTo>
                    <a:lnTo>
                      <a:pt x="294" y="23"/>
                    </a:lnTo>
                    <a:lnTo>
                      <a:pt x="294" y="23"/>
                    </a:lnTo>
                    <a:lnTo>
                      <a:pt x="291" y="22"/>
                    </a:lnTo>
                    <a:lnTo>
                      <a:pt x="288" y="22"/>
                    </a:lnTo>
                    <a:lnTo>
                      <a:pt x="285" y="22"/>
                    </a:lnTo>
                    <a:lnTo>
                      <a:pt x="285" y="22"/>
                    </a:lnTo>
                    <a:lnTo>
                      <a:pt x="280" y="28"/>
                    </a:lnTo>
                    <a:lnTo>
                      <a:pt x="275" y="32"/>
                    </a:lnTo>
                    <a:lnTo>
                      <a:pt x="275" y="32"/>
                    </a:lnTo>
                    <a:lnTo>
                      <a:pt x="274" y="33"/>
                    </a:lnTo>
                    <a:lnTo>
                      <a:pt x="275" y="36"/>
                    </a:lnTo>
                    <a:lnTo>
                      <a:pt x="275" y="38"/>
                    </a:lnTo>
                    <a:lnTo>
                      <a:pt x="275" y="39"/>
                    </a:lnTo>
                    <a:lnTo>
                      <a:pt x="275" y="39"/>
                    </a:lnTo>
                    <a:lnTo>
                      <a:pt x="267" y="46"/>
                    </a:lnTo>
                    <a:lnTo>
                      <a:pt x="267" y="46"/>
                    </a:lnTo>
                    <a:lnTo>
                      <a:pt x="264" y="54"/>
                    </a:lnTo>
                    <a:lnTo>
                      <a:pt x="262" y="58"/>
                    </a:lnTo>
                    <a:lnTo>
                      <a:pt x="262" y="59"/>
                    </a:lnTo>
                    <a:lnTo>
                      <a:pt x="264" y="59"/>
                    </a:lnTo>
                    <a:lnTo>
                      <a:pt x="264" y="59"/>
                    </a:lnTo>
                    <a:lnTo>
                      <a:pt x="268" y="61"/>
                    </a:lnTo>
                    <a:lnTo>
                      <a:pt x="270" y="62"/>
                    </a:lnTo>
                    <a:lnTo>
                      <a:pt x="270" y="64"/>
                    </a:lnTo>
                    <a:lnTo>
                      <a:pt x="270" y="64"/>
                    </a:lnTo>
                    <a:lnTo>
                      <a:pt x="270" y="67"/>
                    </a:lnTo>
                    <a:lnTo>
                      <a:pt x="270" y="70"/>
                    </a:lnTo>
                    <a:lnTo>
                      <a:pt x="270" y="71"/>
                    </a:lnTo>
                    <a:lnTo>
                      <a:pt x="268" y="71"/>
                    </a:lnTo>
                    <a:lnTo>
                      <a:pt x="268" y="71"/>
                    </a:lnTo>
                    <a:lnTo>
                      <a:pt x="264" y="68"/>
                    </a:lnTo>
                    <a:lnTo>
                      <a:pt x="259" y="67"/>
                    </a:lnTo>
                    <a:lnTo>
                      <a:pt x="259" y="67"/>
                    </a:lnTo>
                    <a:lnTo>
                      <a:pt x="254" y="65"/>
                    </a:lnTo>
                    <a:lnTo>
                      <a:pt x="246" y="65"/>
                    </a:lnTo>
                    <a:lnTo>
                      <a:pt x="246" y="65"/>
                    </a:lnTo>
                    <a:lnTo>
                      <a:pt x="243" y="68"/>
                    </a:lnTo>
                    <a:lnTo>
                      <a:pt x="242" y="70"/>
                    </a:lnTo>
                    <a:lnTo>
                      <a:pt x="241" y="68"/>
                    </a:lnTo>
                    <a:lnTo>
                      <a:pt x="241" y="68"/>
                    </a:lnTo>
                    <a:lnTo>
                      <a:pt x="239" y="62"/>
                    </a:lnTo>
                    <a:lnTo>
                      <a:pt x="238" y="61"/>
                    </a:lnTo>
                    <a:lnTo>
                      <a:pt x="238" y="61"/>
                    </a:lnTo>
                    <a:lnTo>
                      <a:pt x="232" y="55"/>
                    </a:lnTo>
                    <a:lnTo>
                      <a:pt x="229" y="52"/>
                    </a:lnTo>
                    <a:lnTo>
                      <a:pt x="228" y="51"/>
                    </a:lnTo>
                    <a:lnTo>
                      <a:pt x="228" y="51"/>
                    </a:lnTo>
                    <a:lnTo>
                      <a:pt x="220" y="52"/>
                    </a:lnTo>
                    <a:lnTo>
                      <a:pt x="213" y="55"/>
                    </a:lnTo>
                    <a:lnTo>
                      <a:pt x="213" y="55"/>
                    </a:lnTo>
                    <a:lnTo>
                      <a:pt x="210" y="54"/>
                    </a:lnTo>
                    <a:lnTo>
                      <a:pt x="209" y="52"/>
                    </a:lnTo>
                    <a:lnTo>
                      <a:pt x="209" y="52"/>
                    </a:lnTo>
                    <a:lnTo>
                      <a:pt x="207" y="54"/>
                    </a:lnTo>
                    <a:lnTo>
                      <a:pt x="207" y="54"/>
                    </a:lnTo>
                    <a:lnTo>
                      <a:pt x="204" y="59"/>
                    </a:lnTo>
                    <a:lnTo>
                      <a:pt x="203" y="61"/>
                    </a:lnTo>
                    <a:lnTo>
                      <a:pt x="201" y="61"/>
                    </a:lnTo>
                    <a:lnTo>
                      <a:pt x="201" y="61"/>
                    </a:lnTo>
                    <a:lnTo>
                      <a:pt x="200" y="61"/>
                    </a:lnTo>
                    <a:lnTo>
                      <a:pt x="199" y="64"/>
                    </a:lnTo>
                    <a:lnTo>
                      <a:pt x="196" y="68"/>
                    </a:lnTo>
                    <a:lnTo>
                      <a:pt x="196" y="68"/>
                    </a:lnTo>
                    <a:lnTo>
                      <a:pt x="196" y="71"/>
                    </a:lnTo>
                    <a:lnTo>
                      <a:pt x="196" y="74"/>
                    </a:lnTo>
                    <a:lnTo>
                      <a:pt x="194" y="75"/>
                    </a:lnTo>
                    <a:lnTo>
                      <a:pt x="193" y="77"/>
                    </a:lnTo>
                    <a:lnTo>
                      <a:pt x="193" y="77"/>
                    </a:lnTo>
                    <a:lnTo>
                      <a:pt x="190" y="75"/>
                    </a:lnTo>
                    <a:lnTo>
                      <a:pt x="187" y="74"/>
                    </a:lnTo>
                    <a:lnTo>
                      <a:pt x="186" y="73"/>
                    </a:lnTo>
                    <a:lnTo>
                      <a:pt x="184" y="74"/>
                    </a:lnTo>
                    <a:lnTo>
                      <a:pt x="184" y="74"/>
                    </a:lnTo>
                    <a:lnTo>
                      <a:pt x="181" y="78"/>
                    </a:lnTo>
                    <a:lnTo>
                      <a:pt x="181" y="84"/>
                    </a:lnTo>
                    <a:lnTo>
                      <a:pt x="181" y="84"/>
                    </a:lnTo>
                    <a:lnTo>
                      <a:pt x="180" y="88"/>
                    </a:lnTo>
                    <a:lnTo>
                      <a:pt x="180" y="90"/>
                    </a:lnTo>
                    <a:lnTo>
                      <a:pt x="178" y="91"/>
                    </a:lnTo>
                    <a:lnTo>
                      <a:pt x="178" y="91"/>
                    </a:lnTo>
                    <a:lnTo>
                      <a:pt x="174" y="90"/>
                    </a:lnTo>
                    <a:lnTo>
                      <a:pt x="171" y="90"/>
                    </a:lnTo>
                    <a:lnTo>
                      <a:pt x="170" y="90"/>
                    </a:lnTo>
                    <a:lnTo>
                      <a:pt x="170" y="90"/>
                    </a:lnTo>
                    <a:lnTo>
                      <a:pt x="168" y="94"/>
                    </a:lnTo>
                    <a:lnTo>
                      <a:pt x="170" y="99"/>
                    </a:lnTo>
                    <a:lnTo>
                      <a:pt x="170" y="99"/>
                    </a:lnTo>
                    <a:lnTo>
                      <a:pt x="170" y="101"/>
                    </a:lnTo>
                    <a:lnTo>
                      <a:pt x="170" y="106"/>
                    </a:lnTo>
                    <a:lnTo>
                      <a:pt x="168" y="109"/>
                    </a:lnTo>
                    <a:lnTo>
                      <a:pt x="167" y="109"/>
                    </a:lnTo>
                    <a:lnTo>
                      <a:pt x="165" y="109"/>
                    </a:lnTo>
                    <a:lnTo>
                      <a:pt x="165" y="109"/>
                    </a:lnTo>
                    <a:lnTo>
                      <a:pt x="161" y="100"/>
                    </a:lnTo>
                    <a:lnTo>
                      <a:pt x="159" y="97"/>
                    </a:lnTo>
                    <a:lnTo>
                      <a:pt x="157" y="96"/>
                    </a:lnTo>
                    <a:lnTo>
                      <a:pt x="157" y="96"/>
                    </a:lnTo>
                    <a:lnTo>
                      <a:pt x="149" y="101"/>
                    </a:lnTo>
                    <a:lnTo>
                      <a:pt x="145" y="106"/>
                    </a:lnTo>
                    <a:lnTo>
                      <a:pt x="142" y="110"/>
                    </a:lnTo>
                    <a:lnTo>
                      <a:pt x="142" y="110"/>
                    </a:lnTo>
                    <a:lnTo>
                      <a:pt x="142" y="113"/>
                    </a:lnTo>
                    <a:lnTo>
                      <a:pt x="144" y="117"/>
                    </a:lnTo>
                    <a:lnTo>
                      <a:pt x="144" y="122"/>
                    </a:lnTo>
                    <a:lnTo>
                      <a:pt x="142" y="125"/>
                    </a:lnTo>
                    <a:lnTo>
                      <a:pt x="142" y="125"/>
                    </a:lnTo>
                    <a:lnTo>
                      <a:pt x="139" y="128"/>
                    </a:lnTo>
                    <a:lnTo>
                      <a:pt x="138" y="132"/>
                    </a:lnTo>
                    <a:lnTo>
                      <a:pt x="135" y="138"/>
                    </a:lnTo>
                    <a:lnTo>
                      <a:pt x="135" y="138"/>
                    </a:lnTo>
                    <a:lnTo>
                      <a:pt x="131" y="141"/>
                    </a:lnTo>
                    <a:lnTo>
                      <a:pt x="123" y="145"/>
                    </a:lnTo>
                    <a:lnTo>
                      <a:pt x="123" y="145"/>
                    </a:lnTo>
                    <a:lnTo>
                      <a:pt x="107" y="151"/>
                    </a:lnTo>
                    <a:lnTo>
                      <a:pt x="90" y="157"/>
                    </a:lnTo>
                    <a:lnTo>
                      <a:pt x="90" y="157"/>
                    </a:lnTo>
                    <a:lnTo>
                      <a:pt x="81" y="162"/>
                    </a:lnTo>
                    <a:lnTo>
                      <a:pt x="75" y="164"/>
                    </a:lnTo>
                    <a:lnTo>
                      <a:pt x="70" y="165"/>
                    </a:lnTo>
                    <a:lnTo>
                      <a:pt x="70" y="165"/>
                    </a:lnTo>
                    <a:lnTo>
                      <a:pt x="54" y="167"/>
                    </a:lnTo>
                    <a:lnTo>
                      <a:pt x="47" y="168"/>
                    </a:lnTo>
                    <a:lnTo>
                      <a:pt x="41" y="171"/>
                    </a:lnTo>
                    <a:lnTo>
                      <a:pt x="41" y="171"/>
                    </a:lnTo>
                    <a:lnTo>
                      <a:pt x="33" y="177"/>
                    </a:lnTo>
                    <a:lnTo>
                      <a:pt x="31" y="180"/>
                    </a:lnTo>
                    <a:lnTo>
                      <a:pt x="29" y="181"/>
                    </a:lnTo>
                    <a:lnTo>
                      <a:pt x="29" y="181"/>
                    </a:lnTo>
                    <a:lnTo>
                      <a:pt x="26" y="183"/>
                    </a:lnTo>
                    <a:lnTo>
                      <a:pt x="23" y="188"/>
                    </a:lnTo>
                    <a:lnTo>
                      <a:pt x="19" y="191"/>
                    </a:lnTo>
                    <a:lnTo>
                      <a:pt x="19" y="193"/>
                    </a:lnTo>
                    <a:lnTo>
                      <a:pt x="18" y="193"/>
                    </a:lnTo>
                    <a:lnTo>
                      <a:pt x="18" y="193"/>
                    </a:lnTo>
                    <a:lnTo>
                      <a:pt x="18" y="191"/>
                    </a:lnTo>
                    <a:lnTo>
                      <a:pt x="18" y="188"/>
                    </a:lnTo>
                    <a:lnTo>
                      <a:pt x="18" y="187"/>
                    </a:lnTo>
                    <a:lnTo>
                      <a:pt x="16" y="188"/>
                    </a:lnTo>
                    <a:lnTo>
                      <a:pt x="16" y="188"/>
                    </a:lnTo>
                    <a:lnTo>
                      <a:pt x="9" y="194"/>
                    </a:lnTo>
                    <a:lnTo>
                      <a:pt x="7" y="199"/>
                    </a:lnTo>
                    <a:lnTo>
                      <a:pt x="7" y="203"/>
                    </a:lnTo>
                    <a:lnTo>
                      <a:pt x="7" y="203"/>
                    </a:lnTo>
                    <a:lnTo>
                      <a:pt x="7" y="210"/>
                    </a:lnTo>
                    <a:lnTo>
                      <a:pt x="6" y="216"/>
                    </a:lnTo>
                    <a:lnTo>
                      <a:pt x="6" y="216"/>
                    </a:lnTo>
                    <a:lnTo>
                      <a:pt x="3" y="223"/>
                    </a:lnTo>
                    <a:lnTo>
                      <a:pt x="3" y="226"/>
                    </a:lnTo>
                    <a:lnTo>
                      <a:pt x="3" y="228"/>
                    </a:lnTo>
                    <a:lnTo>
                      <a:pt x="3" y="228"/>
                    </a:lnTo>
                    <a:lnTo>
                      <a:pt x="3" y="228"/>
                    </a:lnTo>
                    <a:lnTo>
                      <a:pt x="9" y="223"/>
                    </a:lnTo>
                    <a:lnTo>
                      <a:pt x="10" y="222"/>
                    </a:lnTo>
                    <a:lnTo>
                      <a:pt x="10" y="222"/>
                    </a:lnTo>
                    <a:lnTo>
                      <a:pt x="9" y="226"/>
                    </a:lnTo>
                    <a:lnTo>
                      <a:pt x="7" y="229"/>
                    </a:lnTo>
                    <a:lnTo>
                      <a:pt x="6" y="233"/>
                    </a:lnTo>
                    <a:lnTo>
                      <a:pt x="6" y="233"/>
                    </a:lnTo>
                    <a:lnTo>
                      <a:pt x="7" y="239"/>
                    </a:lnTo>
                    <a:lnTo>
                      <a:pt x="10" y="245"/>
                    </a:lnTo>
                    <a:lnTo>
                      <a:pt x="10" y="245"/>
                    </a:lnTo>
                    <a:lnTo>
                      <a:pt x="15" y="254"/>
                    </a:lnTo>
                    <a:lnTo>
                      <a:pt x="15" y="256"/>
                    </a:lnTo>
                    <a:lnTo>
                      <a:pt x="15" y="258"/>
                    </a:lnTo>
                    <a:lnTo>
                      <a:pt x="13" y="258"/>
                    </a:lnTo>
                    <a:lnTo>
                      <a:pt x="13" y="258"/>
                    </a:lnTo>
                    <a:lnTo>
                      <a:pt x="7" y="254"/>
                    </a:lnTo>
                    <a:lnTo>
                      <a:pt x="6" y="252"/>
                    </a:lnTo>
                    <a:lnTo>
                      <a:pt x="6" y="254"/>
                    </a:lnTo>
                    <a:lnTo>
                      <a:pt x="6" y="254"/>
                    </a:lnTo>
                    <a:lnTo>
                      <a:pt x="6" y="258"/>
                    </a:lnTo>
                    <a:lnTo>
                      <a:pt x="6" y="259"/>
                    </a:lnTo>
                    <a:lnTo>
                      <a:pt x="5" y="259"/>
                    </a:lnTo>
                    <a:lnTo>
                      <a:pt x="5" y="259"/>
                    </a:lnTo>
                    <a:lnTo>
                      <a:pt x="2" y="256"/>
                    </a:lnTo>
                    <a:lnTo>
                      <a:pt x="0" y="256"/>
                    </a:lnTo>
                    <a:lnTo>
                      <a:pt x="0" y="258"/>
                    </a:lnTo>
                    <a:lnTo>
                      <a:pt x="0" y="258"/>
                    </a:lnTo>
                    <a:lnTo>
                      <a:pt x="2" y="267"/>
                    </a:lnTo>
                    <a:lnTo>
                      <a:pt x="3" y="271"/>
                    </a:lnTo>
                    <a:lnTo>
                      <a:pt x="5" y="274"/>
                    </a:lnTo>
                    <a:lnTo>
                      <a:pt x="5" y="274"/>
                    </a:lnTo>
                    <a:lnTo>
                      <a:pt x="7" y="277"/>
                    </a:lnTo>
                    <a:lnTo>
                      <a:pt x="10" y="281"/>
                    </a:lnTo>
                    <a:lnTo>
                      <a:pt x="15" y="291"/>
                    </a:lnTo>
                    <a:lnTo>
                      <a:pt x="15" y="291"/>
                    </a:lnTo>
                    <a:lnTo>
                      <a:pt x="19" y="301"/>
                    </a:lnTo>
                    <a:lnTo>
                      <a:pt x="23" y="309"/>
                    </a:lnTo>
                    <a:lnTo>
                      <a:pt x="23" y="309"/>
                    </a:lnTo>
                    <a:lnTo>
                      <a:pt x="28" y="317"/>
                    </a:lnTo>
                    <a:lnTo>
                      <a:pt x="29" y="327"/>
                    </a:lnTo>
                    <a:lnTo>
                      <a:pt x="29" y="327"/>
                    </a:lnTo>
                    <a:lnTo>
                      <a:pt x="32" y="342"/>
                    </a:lnTo>
                    <a:lnTo>
                      <a:pt x="38" y="358"/>
                    </a:lnTo>
                    <a:lnTo>
                      <a:pt x="38" y="358"/>
                    </a:lnTo>
                    <a:lnTo>
                      <a:pt x="41" y="371"/>
                    </a:lnTo>
                    <a:lnTo>
                      <a:pt x="41" y="375"/>
                    </a:lnTo>
                    <a:lnTo>
                      <a:pt x="41" y="377"/>
                    </a:lnTo>
                    <a:lnTo>
                      <a:pt x="41" y="375"/>
                    </a:lnTo>
                    <a:lnTo>
                      <a:pt x="41" y="375"/>
                    </a:lnTo>
                    <a:lnTo>
                      <a:pt x="38" y="372"/>
                    </a:lnTo>
                    <a:lnTo>
                      <a:pt x="36" y="371"/>
                    </a:lnTo>
                    <a:lnTo>
                      <a:pt x="35" y="374"/>
                    </a:lnTo>
                    <a:lnTo>
                      <a:pt x="35" y="374"/>
                    </a:lnTo>
                    <a:lnTo>
                      <a:pt x="32" y="382"/>
                    </a:lnTo>
                    <a:lnTo>
                      <a:pt x="31" y="387"/>
                    </a:lnTo>
                    <a:lnTo>
                      <a:pt x="29" y="390"/>
                    </a:lnTo>
                    <a:lnTo>
                      <a:pt x="29" y="390"/>
                    </a:lnTo>
                    <a:lnTo>
                      <a:pt x="25" y="393"/>
                    </a:lnTo>
                    <a:lnTo>
                      <a:pt x="23" y="394"/>
                    </a:lnTo>
                    <a:lnTo>
                      <a:pt x="22" y="396"/>
                    </a:lnTo>
                    <a:lnTo>
                      <a:pt x="22" y="396"/>
                    </a:lnTo>
                    <a:lnTo>
                      <a:pt x="23" y="401"/>
                    </a:lnTo>
                    <a:lnTo>
                      <a:pt x="26" y="404"/>
                    </a:lnTo>
                    <a:lnTo>
                      <a:pt x="29" y="406"/>
                    </a:lnTo>
                    <a:lnTo>
                      <a:pt x="29" y="406"/>
                    </a:lnTo>
                    <a:lnTo>
                      <a:pt x="32" y="407"/>
                    </a:lnTo>
                    <a:lnTo>
                      <a:pt x="35" y="410"/>
                    </a:lnTo>
                    <a:lnTo>
                      <a:pt x="44" y="416"/>
                    </a:lnTo>
                    <a:lnTo>
                      <a:pt x="44" y="416"/>
                    </a:lnTo>
                    <a:lnTo>
                      <a:pt x="48" y="419"/>
                    </a:lnTo>
                    <a:lnTo>
                      <a:pt x="55" y="420"/>
                    </a:lnTo>
                    <a:lnTo>
                      <a:pt x="61" y="420"/>
                    </a:lnTo>
                    <a:lnTo>
                      <a:pt x="65" y="420"/>
                    </a:lnTo>
                    <a:lnTo>
                      <a:pt x="65" y="420"/>
                    </a:lnTo>
                    <a:lnTo>
                      <a:pt x="75" y="414"/>
                    </a:lnTo>
                    <a:lnTo>
                      <a:pt x="87" y="409"/>
                    </a:lnTo>
                    <a:lnTo>
                      <a:pt x="87" y="409"/>
                    </a:lnTo>
                    <a:lnTo>
                      <a:pt x="91" y="406"/>
                    </a:lnTo>
                    <a:lnTo>
                      <a:pt x="96" y="403"/>
                    </a:lnTo>
                    <a:lnTo>
                      <a:pt x="100" y="400"/>
                    </a:lnTo>
                    <a:lnTo>
                      <a:pt x="104" y="398"/>
                    </a:lnTo>
                    <a:lnTo>
                      <a:pt x="104" y="398"/>
                    </a:lnTo>
                    <a:lnTo>
                      <a:pt x="116" y="397"/>
                    </a:lnTo>
                    <a:lnTo>
                      <a:pt x="125" y="396"/>
                    </a:lnTo>
                    <a:lnTo>
                      <a:pt x="129" y="397"/>
                    </a:lnTo>
                    <a:lnTo>
                      <a:pt x="129" y="397"/>
                    </a:lnTo>
                    <a:lnTo>
                      <a:pt x="136" y="400"/>
                    </a:lnTo>
                    <a:lnTo>
                      <a:pt x="141" y="400"/>
                    </a:lnTo>
                    <a:lnTo>
                      <a:pt x="144" y="398"/>
                    </a:lnTo>
                    <a:lnTo>
                      <a:pt x="144" y="398"/>
                    </a:lnTo>
                    <a:lnTo>
                      <a:pt x="148" y="394"/>
                    </a:lnTo>
                    <a:lnTo>
                      <a:pt x="149" y="394"/>
                    </a:lnTo>
                    <a:lnTo>
                      <a:pt x="151" y="396"/>
                    </a:lnTo>
                    <a:lnTo>
                      <a:pt x="151" y="396"/>
                    </a:lnTo>
                    <a:lnTo>
                      <a:pt x="155" y="398"/>
                    </a:lnTo>
                    <a:lnTo>
                      <a:pt x="157" y="400"/>
                    </a:lnTo>
                    <a:lnTo>
                      <a:pt x="159" y="397"/>
                    </a:lnTo>
                    <a:lnTo>
                      <a:pt x="159" y="397"/>
                    </a:lnTo>
                    <a:lnTo>
                      <a:pt x="162" y="393"/>
                    </a:lnTo>
                    <a:lnTo>
                      <a:pt x="165" y="387"/>
                    </a:lnTo>
                    <a:lnTo>
                      <a:pt x="170" y="382"/>
                    </a:lnTo>
                    <a:lnTo>
                      <a:pt x="171" y="380"/>
                    </a:lnTo>
                    <a:lnTo>
                      <a:pt x="174" y="380"/>
                    </a:lnTo>
                    <a:lnTo>
                      <a:pt x="174" y="380"/>
                    </a:lnTo>
                    <a:lnTo>
                      <a:pt x="181" y="378"/>
                    </a:lnTo>
                    <a:lnTo>
                      <a:pt x="190" y="378"/>
                    </a:lnTo>
                    <a:lnTo>
                      <a:pt x="212" y="378"/>
                    </a:lnTo>
                    <a:lnTo>
                      <a:pt x="212" y="378"/>
                    </a:lnTo>
                    <a:lnTo>
                      <a:pt x="226" y="378"/>
                    </a:lnTo>
                    <a:lnTo>
                      <a:pt x="232" y="377"/>
                    </a:lnTo>
                    <a:lnTo>
                      <a:pt x="238" y="374"/>
                    </a:lnTo>
                    <a:lnTo>
                      <a:pt x="238" y="374"/>
                    </a:lnTo>
                    <a:lnTo>
                      <a:pt x="246" y="371"/>
                    </a:lnTo>
                    <a:lnTo>
                      <a:pt x="257" y="368"/>
                    </a:lnTo>
                    <a:lnTo>
                      <a:pt x="274" y="364"/>
                    </a:lnTo>
                    <a:lnTo>
                      <a:pt x="274" y="364"/>
                    </a:lnTo>
                    <a:lnTo>
                      <a:pt x="285" y="361"/>
                    </a:lnTo>
                    <a:lnTo>
                      <a:pt x="290" y="361"/>
                    </a:lnTo>
                    <a:lnTo>
                      <a:pt x="294" y="362"/>
                    </a:lnTo>
                    <a:lnTo>
                      <a:pt x="294" y="362"/>
                    </a:lnTo>
                    <a:lnTo>
                      <a:pt x="301" y="368"/>
                    </a:lnTo>
                    <a:lnTo>
                      <a:pt x="306" y="369"/>
                    </a:lnTo>
                    <a:lnTo>
                      <a:pt x="313" y="371"/>
                    </a:lnTo>
                    <a:lnTo>
                      <a:pt x="313" y="371"/>
                    </a:lnTo>
                    <a:lnTo>
                      <a:pt x="327" y="372"/>
                    </a:lnTo>
                    <a:lnTo>
                      <a:pt x="332" y="374"/>
                    </a:lnTo>
                    <a:lnTo>
                      <a:pt x="333" y="375"/>
                    </a:lnTo>
                    <a:lnTo>
                      <a:pt x="333" y="375"/>
                    </a:lnTo>
                    <a:lnTo>
                      <a:pt x="333" y="377"/>
                    </a:lnTo>
                    <a:lnTo>
                      <a:pt x="333" y="378"/>
                    </a:lnTo>
                    <a:lnTo>
                      <a:pt x="332" y="380"/>
                    </a:lnTo>
                    <a:lnTo>
                      <a:pt x="333" y="382"/>
                    </a:lnTo>
                    <a:lnTo>
                      <a:pt x="333" y="382"/>
                    </a:lnTo>
                    <a:lnTo>
                      <a:pt x="335" y="384"/>
                    </a:lnTo>
                    <a:lnTo>
                      <a:pt x="336" y="384"/>
                    </a:lnTo>
                    <a:lnTo>
                      <a:pt x="339" y="385"/>
                    </a:lnTo>
                    <a:lnTo>
                      <a:pt x="339" y="388"/>
                    </a:lnTo>
                    <a:lnTo>
                      <a:pt x="339" y="388"/>
                    </a:lnTo>
                    <a:lnTo>
                      <a:pt x="342" y="393"/>
                    </a:lnTo>
                    <a:lnTo>
                      <a:pt x="343" y="397"/>
                    </a:lnTo>
                    <a:lnTo>
                      <a:pt x="348" y="404"/>
                    </a:lnTo>
                    <a:lnTo>
                      <a:pt x="348" y="404"/>
                    </a:lnTo>
                    <a:lnTo>
                      <a:pt x="349" y="410"/>
                    </a:lnTo>
                    <a:lnTo>
                      <a:pt x="352" y="414"/>
                    </a:lnTo>
                    <a:lnTo>
                      <a:pt x="352" y="414"/>
                    </a:lnTo>
                    <a:lnTo>
                      <a:pt x="356" y="419"/>
                    </a:lnTo>
                    <a:lnTo>
                      <a:pt x="359" y="419"/>
                    </a:lnTo>
                    <a:lnTo>
                      <a:pt x="361" y="417"/>
                    </a:lnTo>
                    <a:lnTo>
                      <a:pt x="361" y="417"/>
                    </a:lnTo>
                    <a:lnTo>
                      <a:pt x="361" y="416"/>
                    </a:lnTo>
                    <a:lnTo>
                      <a:pt x="359" y="414"/>
                    </a:lnTo>
                    <a:lnTo>
                      <a:pt x="359" y="413"/>
                    </a:lnTo>
                    <a:lnTo>
                      <a:pt x="362" y="410"/>
                    </a:lnTo>
                    <a:lnTo>
                      <a:pt x="362" y="410"/>
                    </a:lnTo>
                    <a:lnTo>
                      <a:pt x="365" y="406"/>
                    </a:lnTo>
                    <a:lnTo>
                      <a:pt x="367" y="401"/>
                    </a:lnTo>
                    <a:lnTo>
                      <a:pt x="369" y="397"/>
                    </a:lnTo>
                    <a:lnTo>
                      <a:pt x="371" y="394"/>
                    </a:lnTo>
                    <a:lnTo>
                      <a:pt x="374" y="394"/>
                    </a:lnTo>
                    <a:lnTo>
                      <a:pt x="374" y="394"/>
                    </a:lnTo>
                    <a:lnTo>
                      <a:pt x="378" y="394"/>
                    </a:lnTo>
                    <a:lnTo>
                      <a:pt x="380" y="393"/>
                    </a:lnTo>
                    <a:lnTo>
                      <a:pt x="381" y="390"/>
                    </a:lnTo>
                    <a:lnTo>
                      <a:pt x="383" y="388"/>
                    </a:lnTo>
                    <a:lnTo>
                      <a:pt x="383" y="388"/>
                    </a:lnTo>
                    <a:lnTo>
                      <a:pt x="384" y="385"/>
                    </a:lnTo>
                    <a:lnTo>
                      <a:pt x="385" y="384"/>
                    </a:lnTo>
                    <a:lnTo>
                      <a:pt x="388" y="382"/>
                    </a:lnTo>
                    <a:lnTo>
                      <a:pt x="390" y="382"/>
                    </a:lnTo>
                    <a:lnTo>
                      <a:pt x="390" y="382"/>
                    </a:lnTo>
                    <a:lnTo>
                      <a:pt x="390" y="387"/>
                    </a:lnTo>
                    <a:lnTo>
                      <a:pt x="390" y="391"/>
                    </a:lnTo>
                    <a:lnTo>
                      <a:pt x="388" y="394"/>
                    </a:lnTo>
                    <a:lnTo>
                      <a:pt x="388" y="394"/>
                    </a:lnTo>
                    <a:lnTo>
                      <a:pt x="385" y="398"/>
                    </a:lnTo>
                    <a:lnTo>
                      <a:pt x="384" y="406"/>
                    </a:lnTo>
                    <a:lnTo>
                      <a:pt x="383" y="413"/>
                    </a:lnTo>
                    <a:lnTo>
                      <a:pt x="383" y="416"/>
                    </a:lnTo>
                    <a:lnTo>
                      <a:pt x="383" y="416"/>
                    </a:lnTo>
                    <a:lnTo>
                      <a:pt x="378" y="417"/>
                    </a:lnTo>
                    <a:lnTo>
                      <a:pt x="375" y="422"/>
                    </a:lnTo>
                    <a:lnTo>
                      <a:pt x="375" y="422"/>
                    </a:lnTo>
                    <a:lnTo>
                      <a:pt x="375" y="423"/>
                    </a:lnTo>
                    <a:lnTo>
                      <a:pt x="377" y="424"/>
                    </a:lnTo>
                    <a:lnTo>
                      <a:pt x="378" y="424"/>
                    </a:lnTo>
                    <a:lnTo>
                      <a:pt x="381" y="423"/>
                    </a:lnTo>
                    <a:lnTo>
                      <a:pt x="381" y="423"/>
                    </a:lnTo>
                    <a:lnTo>
                      <a:pt x="385" y="420"/>
                    </a:lnTo>
                    <a:lnTo>
                      <a:pt x="388" y="419"/>
                    </a:lnTo>
                    <a:lnTo>
                      <a:pt x="390" y="416"/>
                    </a:lnTo>
                    <a:lnTo>
                      <a:pt x="390" y="416"/>
                    </a:lnTo>
                    <a:lnTo>
                      <a:pt x="393" y="410"/>
                    </a:lnTo>
                    <a:lnTo>
                      <a:pt x="394" y="407"/>
                    </a:lnTo>
                    <a:lnTo>
                      <a:pt x="396" y="409"/>
                    </a:lnTo>
                    <a:lnTo>
                      <a:pt x="396" y="409"/>
                    </a:lnTo>
                    <a:lnTo>
                      <a:pt x="397" y="416"/>
                    </a:lnTo>
                    <a:lnTo>
                      <a:pt x="400" y="423"/>
                    </a:lnTo>
                    <a:lnTo>
                      <a:pt x="400" y="423"/>
                    </a:lnTo>
                    <a:lnTo>
                      <a:pt x="400" y="424"/>
                    </a:lnTo>
                    <a:lnTo>
                      <a:pt x="400" y="426"/>
                    </a:lnTo>
                    <a:lnTo>
                      <a:pt x="397" y="429"/>
                    </a:lnTo>
                    <a:lnTo>
                      <a:pt x="394" y="432"/>
                    </a:lnTo>
                    <a:lnTo>
                      <a:pt x="394" y="432"/>
                    </a:lnTo>
                    <a:lnTo>
                      <a:pt x="394" y="432"/>
                    </a:lnTo>
                    <a:lnTo>
                      <a:pt x="398" y="433"/>
                    </a:lnTo>
                    <a:lnTo>
                      <a:pt x="400" y="433"/>
                    </a:lnTo>
                    <a:lnTo>
                      <a:pt x="403" y="433"/>
                    </a:lnTo>
                    <a:lnTo>
                      <a:pt x="403" y="433"/>
                    </a:lnTo>
                    <a:lnTo>
                      <a:pt x="404" y="430"/>
                    </a:lnTo>
                    <a:lnTo>
                      <a:pt x="406" y="429"/>
                    </a:lnTo>
                    <a:lnTo>
                      <a:pt x="406" y="430"/>
                    </a:lnTo>
                    <a:lnTo>
                      <a:pt x="409" y="433"/>
                    </a:lnTo>
                    <a:lnTo>
                      <a:pt x="409" y="433"/>
                    </a:lnTo>
                    <a:lnTo>
                      <a:pt x="417" y="443"/>
                    </a:lnTo>
                    <a:lnTo>
                      <a:pt x="420" y="449"/>
                    </a:lnTo>
                    <a:lnTo>
                      <a:pt x="422" y="453"/>
                    </a:lnTo>
                    <a:lnTo>
                      <a:pt x="422" y="453"/>
                    </a:lnTo>
                    <a:lnTo>
                      <a:pt x="422" y="458"/>
                    </a:lnTo>
                    <a:lnTo>
                      <a:pt x="422" y="462"/>
                    </a:lnTo>
                    <a:lnTo>
                      <a:pt x="427" y="471"/>
                    </a:lnTo>
                    <a:lnTo>
                      <a:pt x="427" y="471"/>
                    </a:lnTo>
                    <a:lnTo>
                      <a:pt x="432" y="477"/>
                    </a:lnTo>
                    <a:lnTo>
                      <a:pt x="435" y="480"/>
                    </a:lnTo>
                    <a:lnTo>
                      <a:pt x="439" y="481"/>
                    </a:lnTo>
                    <a:lnTo>
                      <a:pt x="439" y="481"/>
                    </a:lnTo>
                    <a:lnTo>
                      <a:pt x="443" y="482"/>
                    </a:lnTo>
                    <a:lnTo>
                      <a:pt x="445" y="484"/>
                    </a:lnTo>
                    <a:lnTo>
                      <a:pt x="446" y="487"/>
                    </a:lnTo>
                    <a:lnTo>
                      <a:pt x="448" y="490"/>
                    </a:lnTo>
                    <a:lnTo>
                      <a:pt x="451" y="488"/>
                    </a:lnTo>
                    <a:lnTo>
                      <a:pt x="451" y="488"/>
                    </a:lnTo>
                    <a:lnTo>
                      <a:pt x="453" y="487"/>
                    </a:lnTo>
                    <a:lnTo>
                      <a:pt x="455" y="484"/>
                    </a:lnTo>
                    <a:lnTo>
                      <a:pt x="455" y="484"/>
                    </a:lnTo>
                    <a:lnTo>
                      <a:pt x="458" y="484"/>
                    </a:lnTo>
                    <a:lnTo>
                      <a:pt x="458" y="484"/>
                    </a:lnTo>
                    <a:lnTo>
                      <a:pt x="468" y="491"/>
                    </a:lnTo>
                    <a:lnTo>
                      <a:pt x="474" y="493"/>
                    </a:lnTo>
                    <a:lnTo>
                      <a:pt x="478" y="494"/>
                    </a:lnTo>
                    <a:lnTo>
                      <a:pt x="478" y="494"/>
                    </a:lnTo>
                    <a:lnTo>
                      <a:pt x="487" y="490"/>
                    </a:lnTo>
                    <a:lnTo>
                      <a:pt x="495" y="487"/>
                    </a:lnTo>
                    <a:lnTo>
                      <a:pt x="495" y="487"/>
                    </a:lnTo>
                    <a:lnTo>
                      <a:pt x="498" y="485"/>
                    </a:lnTo>
                    <a:lnTo>
                      <a:pt x="500" y="482"/>
                    </a:lnTo>
                    <a:lnTo>
                      <a:pt x="503" y="477"/>
                    </a:lnTo>
                    <a:lnTo>
                      <a:pt x="503" y="477"/>
                    </a:lnTo>
                    <a:lnTo>
                      <a:pt x="506" y="478"/>
                    </a:lnTo>
                    <a:lnTo>
                      <a:pt x="511" y="485"/>
                    </a:lnTo>
                    <a:lnTo>
                      <a:pt x="511" y="485"/>
                    </a:lnTo>
                    <a:lnTo>
                      <a:pt x="517" y="493"/>
                    </a:lnTo>
                    <a:lnTo>
                      <a:pt x="519" y="494"/>
                    </a:lnTo>
                    <a:lnTo>
                      <a:pt x="523" y="494"/>
                    </a:lnTo>
                    <a:lnTo>
                      <a:pt x="523" y="494"/>
                    </a:lnTo>
                    <a:lnTo>
                      <a:pt x="529" y="493"/>
                    </a:lnTo>
                    <a:lnTo>
                      <a:pt x="533" y="494"/>
                    </a:lnTo>
                    <a:lnTo>
                      <a:pt x="537" y="493"/>
                    </a:lnTo>
                    <a:lnTo>
                      <a:pt x="540" y="491"/>
                    </a:lnTo>
                    <a:lnTo>
                      <a:pt x="540" y="491"/>
                    </a:lnTo>
                    <a:lnTo>
                      <a:pt x="543" y="488"/>
                    </a:lnTo>
                    <a:lnTo>
                      <a:pt x="545" y="484"/>
                    </a:lnTo>
                    <a:lnTo>
                      <a:pt x="548" y="481"/>
                    </a:lnTo>
                    <a:lnTo>
                      <a:pt x="552" y="480"/>
                    </a:lnTo>
                    <a:lnTo>
                      <a:pt x="552" y="480"/>
                    </a:lnTo>
                    <a:lnTo>
                      <a:pt x="562" y="478"/>
                    </a:lnTo>
                    <a:lnTo>
                      <a:pt x="571" y="474"/>
                    </a:lnTo>
                    <a:lnTo>
                      <a:pt x="571" y="474"/>
                    </a:lnTo>
                    <a:lnTo>
                      <a:pt x="577" y="474"/>
                    </a:lnTo>
                    <a:lnTo>
                      <a:pt x="581" y="472"/>
                    </a:lnTo>
                    <a:lnTo>
                      <a:pt x="584" y="472"/>
                    </a:lnTo>
                    <a:lnTo>
                      <a:pt x="585" y="471"/>
                    </a:lnTo>
                    <a:lnTo>
                      <a:pt x="587" y="469"/>
                    </a:lnTo>
                    <a:lnTo>
                      <a:pt x="587" y="469"/>
                    </a:lnTo>
                    <a:lnTo>
                      <a:pt x="587" y="455"/>
                    </a:lnTo>
                    <a:lnTo>
                      <a:pt x="588" y="448"/>
                    </a:lnTo>
                    <a:lnTo>
                      <a:pt x="590" y="443"/>
                    </a:lnTo>
                    <a:lnTo>
                      <a:pt x="590" y="443"/>
                    </a:lnTo>
                    <a:lnTo>
                      <a:pt x="591" y="440"/>
                    </a:lnTo>
                    <a:lnTo>
                      <a:pt x="593" y="436"/>
                    </a:lnTo>
                    <a:lnTo>
                      <a:pt x="594" y="429"/>
                    </a:lnTo>
                    <a:lnTo>
                      <a:pt x="595" y="423"/>
                    </a:lnTo>
                    <a:lnTo>
                      <a:pt x="595" y="423"/>
                    </a:lnTo>
                    <a:lnTo>
                      <a:pt x="597" y="419"/>
                    </a:lnTo>
                    <a:lnTo>
                      <a:pt x="598" y="414"/>
                    </a:lnTo>
                    <a:lnTo>
                      <a:pt x="598" y="410"/>
                    </a:lnTo>
                    <a:lnTo>
                      <a:pt x="601" y="407"/>
                    </a:lnTo>
                    <a:lnTo>
                      <a:pt x="601" y="407"/>
                    </a:lnTo>
                    <a:lnTo>
                      <a:pt x="604" y="403"/>
                    </a:lnTo>
                    <a:lnTo>
                      <a:pt x="608" y="397"/>
                    </a:lnTo>
                    <a:lnTo>
                      <a:pt x="613" y="391"/>
                    </a:lnTo>
                    <a:lnTo>
                      <a:pt x="617" y="387"/>
                    </a:lnTo>
                    <a:lnTo>
                      <a:pt x="617" y="387"/>
                    </a:lnTo>
                    <a:lnTo>
                      <a:pt x="624" y="382"/>
                    </a:lnTo>
                    <a:lnTo>
                      <a:pt x="632" y="378"/>
                    </a:lnTo>
                    <a:lnTo>
                      <a:pt x="632" y="378"/>
                    </a:lnTo>
                    <a:lnTo>
                      <a:pt x="635" y="375"/>
                    </a:lnTo>
                    <a:lnTo>
                      <a:pt x="637" y="369"/>
                    </a:lnTo>
                    <a:lnTo>
                      <a:pt x="642" y="354"/>
                    </a:lnTo>
                    <a:lnTo>
                      <a:pt x="648" y="338"/>
                    </a:lnTo>
                    <a:lnTo>
                      <a:pt x="649" y="327"/>
                    </a:lnTo>
                    <a:lnTo>
                      <a:pt x="649" y="327"/>
                    </a:lnTo>
                    <a:lnTo>
                      <a:pt x="653" y="310"/>
                    </a:lnTo>
                    <a:lnTo>
                      <a:pt x="653" y="301"/>
                    </a:lnTo>
                    <a:lnTo>
                      <a:pt x="653" y="29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23" name="Freeform 1178"/>
              <p:cNvSpPr>
                <a:spLocks/>
              </p:cNvSpPr>
              <p:nvPr/>
            </p:nvSpPr>
            <p:spPr bwMode="auto">
              <a:xfrm>
                <a:off x="6573272" y="3849360"/>
                <a:ext cx="9893" cy="16817"/>
              </a:xfrm>
              <a:custGeom>
                <a:avLst/>
                <a:gdLst>
                  <a:gd name="T0" fmla="*/ 1 w 10"/>
                  <a:gd name="T1" fmla="*/ 17 h 17"/>
                  <a:gd name="T2" fmla="*/ 1 w 10"/>
                  <a:gd name="T3" fmla="*/ 17 h 17"/>
                  <a:gd name="T4" fmla="*/ 1 w 10"/>
                  <a:gd name="T5" fmla="*/ 14 h 17"/>
                  <a:gd name="T6" fmla="*/ 0 w 10"/>
                  <a:gd name="T7" fmla="*/ 9 h 17"/>
                  <a:gd name="T8" fmla="*/ 1 w 10"/>
                  <a:gd name="T9" fmla="*/ 4 h 17"/>
                  <a:gd name="T10" fmla="*/ 2 w 10"/>
                  <a:gd name="T11" fmla="*/ 1 h 17"/>
                  <a:gd name="T12" fmla="*/ 2 w 10"/>
                  <a:gd name="T13" fmla="*/ 1 h 17"/>
                  <a:gd name="T14" fmla="*/ 2 w 10"/>
                  <a:gd name="T15" fmla="*/ 0 h 17"/>
                  <a:gd name="T16" fmla="*/ 4 w 10"/>
                  <a:gd name="T17" fmla="*/ 1 h 17"/>
                  <a:gd name="T18" fmla="*/ 7 w 10"/>
                  <a:gd name="T19" fmla="*/ 3 h 17"/>
                  <a:gd name="T20" fmla="*/ 10 w 10"/>
                  <a:gd name="T21" fmla="*/ 9 h 17"/>
                  <a:gd name="T22" fmla="*/ 10 w 10"/>
                  <a:gd name="T23" fmla="*/ 9 h 17"/>
                  <a:gd name="T24" fmla="*/ 8 w 10"/>
                  <a:gd name="T25" fmla="*/ 12 h 17"/>
                  <a:gd name="T26" fmla="*/ 7 w 10"/>
                  <a:gd name="T27" fmla="*/ 16 h 17"/>
                  <a:gd name="T28" fmla="*/ 4 w 10"/>
                  <a:gd name="T29" fmla="*/ 17 h 17"/>
                  <a:gd name="T30" fmla="*/ 1 w 10"/>
                  <a:gd name="T31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" h="17">
                    <a:moveTo>
                      <a:pt x="1" y="17"/>
                    </a:moveTo>
                    <a:lnTo>
                      <a:pt x="1" y="17"/>
                    </a:lnTo>
                    <a:lnTo>
                      <a:pt x="1" y="14"/>
                    </a:lnTo>
                    <a:lnTo>
                      <a:pt x="0" y="9"/>
                    </a:lnTo>
                    <a:lnTo>
                      <a:pt x="1" y="4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4" y="1"/>
                    </a:lnTo>
                    <a:lnTo>
                      <a:pt x="7" y="3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8" y="12"/>
                    </a:lnTo>
                    <a:lnTo>
                      <a:pt x="7" y="16"/>
                    </a:lnTo>
                    <a:lnTo>
                      <a:pt x="4" y="17"/>
                    </a:lnTo>
                    <a:lnTo>
                      <a:pt x="1" y="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24" name="Freeform 1179"/>
              <p:cNvSpPr>
                <a:spLocks/>
              </p:cNvSpPr>
              <p:nvPr/>
            </p:nvSpPr>
            <p:spPr bwMode="auto">
              <a:xfrm>
                <a:off x="6590090" y="3785058"/>
                <a:ext cx="16817" cy="29678"/>
              </a:xfrm>
              <a:custGeom>
                <a:avLst/>
                <a:gdLst>
                  <a:gd name="T0" fmla="*/ 0 w 17"/>
                  <a:gd name="T1" fmla="*/ 17 h 30"/>
                  <a:gd name="T2" fmla="*/ 0 w 17"/>
                  <a:gd name="T3" fmla="*/ 17 h 30"/>
                  <a:gd name="T4" fmla="*/ 1 w 17"/>
                  <a:gd name="T5" fmla="*/ 13 h 30"/>
                  <a:gd name="T6" fmla="*/ 1 w 17"/>
                  <a:gd name="T7" fmla="*/ 8 h 30"/>
                  <a:gd name="T8" fmla="*/ 1 w 17"/>
                  <a:gd name="T9" fmla="*/ 6 h 30"/>
                  <a:gd name="T10" fmla="*/ 1 w 17"/>
                  <a:gd name="T11" fmla="*/ 6 h 30"/>
                  <a:gd name="T12" fmla="*/ 1 w 17"/>
                  <a:gd name="T13" fmla="*/ 1 h 30"/>
                  <a:gd name="T14" fmla="*/ 4 w 17"/>
                  <a:gd name="T15" fmla="*/ 0 h 30"/>
                  <a:gd name="T16" fmla="*/ 7 w 17"/>
                  <a:gd name="T17" fmla="*/ 0 h 30"/>
                  <a:gd name="T18" fmla="*/ 10 w 17"/>
                  <a:gd name="T19" fmla="*/ 3 h 30"/>
                  <a:gd name="T20" fmla="*/ 10 w 17"/>
                  <a:gd name="T21" fmla="*/ 3 h 30"/>
                  <a:gd name="T22" fmla="*/ 14 w 17"/>
                  <a:gd name="T23" fmla="*/ 8 h 30"/>
                  <a:gd name="T24" fmla="*/ 14 w 17"/>
                  <a:gd name="T25" fmla="*/ 11 h 30"/>
                  <a:gd name="T26" fmla="*/ 14 w 17"/>
                  <a:gd name="T27" fmla="*/ 11 h 30"/>
                  <a:gd name="T28" fmla="*/ 16 w 17"/>
                  <a:gd name="T29" fmla="*/ 14 h 30"/>
                  <a:gd name="T30" fmla="*/ 17 w 17"/>
                  <a:gd name="T31" fmla="*/ 19 h 30"/>
                  <a:gd name="T32" fmla="*/ 17 w 17"/>
                  <a:gd name="T33" fmla="*/ 22 h 30"/>
                  <a:gd name="T34" fmla="*/ 17 w 17"/>
                  <a:gd name="T35" fmla="*/ 24 h 30"/>
                  <a:gd name="T36" fmla="*/ 17 w 17"/>
                  <a:gd name="T37" fmla="*/ 24 h 30"/>
                  <a:gd name="T38" fmla="*/ 14 w 17"/>
                  <a:gd name="T39" fmla="*/ 29 h 30"/>
                  <a:gd name="T40" fmla="*/ 13 w 17"/>
                  <a:gd name="T41" fmla="*/ 30 h 30"/>
                  <a:gd name="T42" fmla="*/ 10 w 17"/>
                  <a:gd name="T43" fmla="*/ 30 h 30"/>
                  <a:gd name="T44" fmla="*/ 10 w 17"/>
                  <a:gd name="T45" fmla="*/ 30 h 30"/>
                  <a:gd name="T46" fmla="*/ 4 w 17"/>
                  <a:gd name="T47" fmla="*/ 23 h 30"/>
                  <a:gd name="T48" fmla="*/ 0 w 17"/>
                  <a:gd name="T49" fmla="*/ 1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7" h="30">
                    <a:moveTo>
                      <a:pt x="0" y="17"/>
                    </a:moveTo>
                    <a:lnTo>
                      <a:pt x="0" y="17"/>
                    </a:lnTo>
                    <a:lnTo>
                      <a:pt x="1" y="13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10" y="3"/>
                    </a:lnTo>
                    <a:lnTo>
                      <a:pt x="10" y="3"/>
                    </a:lnTo>
                    <a:lnTo>
                      <a:pt x="14" y="8"/>
                    </a:lnTo>
                    <a:lnTo>
                      <a:pt x="14" y="11"/>
                    </a:lnTo>
                    <a:lnTo>
                      <a:pt x="14" y="11"/>
                    </a:lnTo>
                    <a:lnTo>
                      <a:pt x="16" y="14"/>
                    </a:lnTo>
                    <a:lnTo>
                      <a:pt x="17" y="19"/>
                    </a:lnTo>
                    <a:lnTo>
                      <a:pt x="17" y="22"/>
                    </a:lnTo>
                    <a:lnTo>
                      <a:pt x="17" y="24"/>
                    </a:lnTo>
                    <a:lnTo>
                      <a:pt x="17" y="24"/>
                    </a:lnTo>
                    <a:lnTo>
                      <a:pt x="14" y="29"/>
                    </a:lnTo>
                    <a:lnTo>
                      <a:pt x="13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4" y="23"/>
                    </a:lnTo>
                    <a:lnTo>
                      <a:pt x="0" y="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25" name="Freeform 1180"/>
              <p:cNvSpPr>
                <a:spLocks/>
              </p:cNvSpPr>
              <p:nvPr/>
            </p:nvSpPr>
            <p:spPr bwMode="auto">
              <a:xfrm>
                <a:off x="6596025" y="3833532"/>
                <a:ext cx="12860" cy="25721"/>
              </a:xfrm>
              <a:custGeom>
                <a:avLst/>
                <a:gdLst>
                  <a:gd name="T0" fmla="*/ 10 w 13"/>
                  <a:gd name="T1" fmla="*/ 26 h 26"/>
                  <a:gd name="T2" fmla="*/ 10 w 13"/>
                  <a:gd name="T3" fmla="*/ 26 h 26"/>
                  <a:gd name="T4" fmla="*/ 8 w 13"/>
                  <a:gd name="T5" fmla="*/ 26 h 26"/>
                  <a:gd name="T6" fmla="*/ 8 w 13"/>
                  <a:gd name="T7" fmla="*/ 25 h 26"/>
                  <a:gd name="T8" fmla="*/ 7 w 13"/>
                  <a:gd name="T9" fmla="*/ 22 h 26"/>
                  <a:gd name="T10" fmla="*/ 8 w 13"/>
                  <a:gd name="T11" fmla="*/ 17 h 26"/>
                  <a:gd name="T12" fmla="*/ 7 w 13"/>
                  <a:gd name="T13" fmla="*/ 15 h 26"/>
                  <a:gd name="T14" fmla="*/ 7 w 13"/>
                  <a:gd name="T15" fmla="*/ 15 h 26"/>
                  <a:gd name="T16" fmla="*/ 1 w 13"/>
                  <a:gd name="T17" fmla="*/ 6 h 26"/>
                  <a:gd name="T18" fmla="*/ 0 w 13"/>
                  <a:gd name="T19" fmla="*/ 1 h 26"/>
                  <a:gd name="T20" fmla="*/ 1 w 13"/>
                  <a:gd name="T21" fmla="*/ 0 h 26"/>
                  <a:gd name="T22" fmla="*/ 3 w 13"/>
                  <a:gd name="T23" fmla="*/ 0 h 26"/>
                  <a:gd name="T24" fmla="*/ 3 w 13"/>
                  <a:gd name="T25" fmla="*/ 0 h 26"/>
                  <a:gd name="T26" fmla="*/ 6 w 13"/>
                  <a:gd name="T27" fmla="*/ 0 h 26"/>
                  <a:gd name="T28" fmla="*/ 7 w 13"/>
                  <a:gd name="T29" fmla="*/ 1 h 26"/>
                  <a:gd name="T30" fmla="*/ 11 w 13"/>
                  <a:gd name="T31" fmla="*/ 6 h 26"/>
                  <a:gd name="T32" fmla="*/ 13 w 13"/>
                  <a:gd name="T33" fmla="*/ 12 h 26"/>
                  <a:gd name="T34" fmla="*/ 13 w 13"/>
                  <a:gd name="T35" fmla="*/ 16 h 26"/>
                  <a:gd name="T36" fmla="*/ 13 w 13"/>
                  <a:gd name="T37" fmla="*/ 16 h 26"/>
                  <a:gd name="T38" fmla="*/ 13 w 13"/>
                  <a:gd name="T39" fmla="*/ 23 h 26"/>
                  <a:gd name="T40" fmla="*/ 11 w 13"/>
                  <a:gd name="T41" fmla="*/ 25 h 26"/>
                  <a:gd name="T42" fmla="*/ 10 w 13"/>
                  <a:gd name="T43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26">
                    <a:moveTo>
                      <a:pt x="10" y="26"/>
                    </a:moveTo>
                    <a:lnTo>
                      <a:pt x="10" y="26"/>
                    </a:lnTo>
                    <a:lnTo>
                      <a:pt x="8" y="26"/>
                    </a:lnTo>
                    <a:lnTo>
                      <a:pt x="8" y="25"/>
                    </a:lnTo>
                    <a:lnTo>
                      <a:pt x="7" y="22"/>
                    </a:lnTo>
                    <a:lnTo>
                      <a:pt x="8" y="17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1" y="6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7" y="1"/>
                    </a:lnTo>
                    <a:lnTo>
                      <a:pt x="11" y="6"/>
                    </a:lnTo>
                    <a:lnTo>
                      <a:pt x="13" y="12"/>
                    </a:lnTo>
                    <a:lnTo>
                      <a:pt x="13" y="16"/>
                    </a:lnTo>
                    <a:lnTo>
                      <a:pt x="13" y="16"/>
                    </a:lnTo>
                    <a:lnTo>
                      <a:pt x="13" y="23"/>
                    </a:lnTo>
                    <a:lnTo>
                      <a:pt x="11" y="25"/>
                    </a:lnTo>
                    <a:lnTo>
                      <a:pt x="10" y="2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67" name="Freeform 1220"/>
              <p:cNvSpPr>
                <a:spLocks/>
              </p:cNvSpPr>
              <p:nvPr/>
            </p:nvSpPr>
            <p:spPr bwMode="auto">
              <a:xfrm>
                <a:off x="6726607" y="2545516"/>
                <a:ext cx="13850" cy="12860"/>
              </a:xfrm>
              <a:custGeom>
                <a:avLst/>
                <a:gdLst>
                  <a:gd name="T0" fmla="*/ 14 w 14"/>
                  <a:gd name="T1" fmla="*/ 0 h 13"/>
                  <a:gd name="T2" fmla="*/ 14 w 14"/>
                  <a:gd name="T3" fmla="*/ 0 h 13"/>
                  <a:gd name="T4" fmla="*/ 11 w 14"/>
                  <a:gd name="T5" fmla="*/ 3 h 13"/>
                  <a:gd name="T6" fmla="*/ 7 w 14"/>
                  <a:gd name="T7" fmla="*/ 7 h 13"/>
                  <a:gd name="T8" fmla="*/ 2 w 14"/>
                  <a:gd name="T9" fmla="*/ 11 h 13"/>
                  <a:gd name="T10" fmla="*/ 0 w 14"/>
                  <a:gd name="T11" fmla="*/ 13 h 13"/>
                  <a:gd name="T12" fmla="*/ 0 w 14"/>
                  <a:gd name="T13" fmla="*/ 11 h 13"/>
                  <a:gd name="T14" fmla="*/ 0 w 14"/>
                  <a:gd name="T15" fmla="*/ 11 h 13"/>
                  <a:gd name="T16" fmla="*/ 1 w 14"/>
                  <a:gd name="T17" fmla="*/ 9 h 13"/>
                  <a:gd name="T18" fmla="*/ 5 w 14"/>
                  <a:gd name="T19" fmla="*/ 4 h 13"/>
                  <a:gd name="T20" fmla="*/ 11 w 14"/>
                  <a:gd name="T21" fmla="*/ 0 h 13"/>
                  <a:gd name="T22" fmla="*/ 14 w 14"/>
                  <a:gd name="T2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13">
                    <a:moveTo>
                      <a:pt x="14" y="0"/>
                    </a:moveTo>
                    <a:lnTo>
                      <a:pt x="14" y="0"/>
                    </a:lnTo>
                    <a:lnTo>
                      <a:pt x="11" y="3"/>
                    </a:lnTo>
                    <a:lnTo>
                      <a:pt x="7" y="7"/>
                    </a:lnTo>
                    <a:lnTo>
                      <a:pt x="2" y="11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5" y="4"/>
                    </a:lnTo>
                    <a:lnTo>
                      <a:pt x="11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68" name="Freeform 1221"/>
              <p:cNvSpPr>
                <a:spLocks/>
              </p:cNvSpPr>
              <p:nvPr/>
            </p:nvSpPr>
            <p:spPr bwMode="auto">
              <a:xfrm>
                <a:off x="6726607" y="2545516"/>
                <a:ext cx="13850" cy="12860"/>
              </a:xfrm>
              <a:custGeom>
                <a:avLst/>
                <a:gdLst>
                  <a:gd name="T0" fmla="*/ 14 w 14"/>
                  <a:gd name="T1" fmla="*/ 0 h 13"/>
                  <a:gd name="T2" fmla="*/ 14 w 14"/>
                  <a:gd name="T3" fmla="*/ 0 h 13"/>
                  <a:gd name="T4" fmla="*/ 11 w 14"/>
                  <a:gd name="T5" fmla="*/ 3 h 13"/>
                  <a:gd name="T6" fmla="*/ 7 w 14"/>
                  <a:gd name="T7" fmla="*/ 7 h 13"/>
                  <a:gd name="T8" fmla="*/ 2 w 14"/>
                  <a:gd name="T9" fmla="*/ 11 h 13"/>
                  <a:gd name="T10" fmla="*/ 0 w 14"/>
                  <a:gd name="T11" fmla="*/ 13 h 13"/>
                  <a:gd name="T12" fmla="*/ 0 w 14"/>
                  <a:gd name="T13" fmla="*/ 11 h 13"/>
                  <a:gd name="T14" fmla="*/ 0 w 14"/>
                  <a:gd name="T15" fmla="*/ 11 h 13"/>
                  <a:gd name="T16" fmla="*/ 1 w 14"/>
                  <a:gd name="T17" fmla="*/ 9 h 13"/>
                  <a:gd name="T18" fmla="*/ 5 w 14"/>
                  <a:gd name="T19" fmla="*/ 4 h 13"/>
                  <a:gd name="T20" fmla="*/ 11 w 14"/>
                  <a:gd name="T21" fmla="*/ 0 h 13"/>
                  <a:gd name="T22" fmla="*/ 14 w 14"/>
                  <a:gd name="T2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13">
                    <a:moveTo>
                      <a:pt x="14" y="0"/>
                    </a:moveTo>
                    <a:lnTo>
                      <a:pt x="14" y="0"/>
                    </a:lnTo>
                    <a:lnTo>
                      <a:pt x="11" y="3"/>
                    </a:lnTo>
                    <a:lnTo>
                      <a:pt x="7" y="7"/>
                    </a:lnTo>
                    <a:lnTo>
                      <a:pt x="2" y="11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5" y="4"/>
                    </a:lnTo>
                    <a:lnTo>
                      <a:pt x="11" y="0"/>
                    </a:lnTo>
                    <a:lnTo>
                      <a:pt x="14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69" name="Freeform 1222"/>
              <p:cNvSpPr>
                <a:spLocks/>
              </p:cNvSpPr>
              <p:nvPr/>
            </p:nvSpPr>
            <p:spPr bwMode="auto">
              <a:xfrm>
                <a:off x="6749360" y="2519795"/>
                <a:ext cx="26710" cy="22753"/>
              </a:xfrm>
              <a:custGeom>
                <a:avLst/>
                <a:gdLst>
                  <a:gd name="T0" fmla="*/ 1 w 27"/>
                  <a:gd name="T1" fmla="*/ 23 h 23"/>
                  <a:gd name="T2" fmla="*/ 1 w 27"/>
                  <a:gd name="T3" fmla="*/ 23 h 23"/>
                  <a:gd name="T4" fmla="*/ 0 w 27"/>
                  <a:gd name="T5" fmla="*/ 22 h 23"/>
                  <a:gd name="T6" fmla="*/ 1 w 27"/>
                  <a:gd name="T7" fmla="*/ 19 h 23"/>
                  <a:gd name="T8" fmla="*/ 6 w 27"/>
                  <a:gd name="T9" fmla="*/ 13 h 23"/>
                  <a:gd name="T10" fmla="*/ 10 w 27"/>
                  <a:gd name="T11" fmla="*/ 8 h 23"/>
                  <a:gd name="T12" fmla="*/ 14 w 27"/>
                  <a:gd name="T13" fmla="*/ 7 h 23"/>
                  <a:gd name="T14" fmla="*/ 14 w 27"/>
                  <a:gd name="T15" fmla="*/ 7 h 23"/>
                  <a:gd name="T16" fmla="*/ 17 w 27"/>
                  <a:gd name="T17" fmla="*/ 6 h 23"/>
                  <a:gd name="T18" fmla="*/ 21 w 27"/>
                  <a:gd name="T19" fmla="*/ 4 h 23"/>
                  <a:gd name="T20" fmla="*/ 27 w 27"/>
                  <a:gd name="T21" fmla="*/ 0 h 23"/>
                  <a:gd name="T22" fmla="*/ 27 w 27"/>
                  <a:gd name="T23" fmla="*/ 0 h 23"/>
                  <a:gd name="T24" fmla="*/ 24 w 27"/>
                  <a:gd name="T25" fmla="*/ 4 h 23"/>
                  <a:gd name="T26" fmla="*/ 16 w 27"/>
                  <a:gd name="T27" fmla="*/ 13 h 23"/>
                  <a:gd name="T28" fmla="*/ 6 w 27"/>
                  <a:gd name="T29" fmla="*/ 20 h 23"/>
                  <a:gd name="T30" fmla="*/ 1 w 27"/>
                  <a:gd name="T31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7" h="23">
                    <a:moveTo>
                      <a:pt x="1" y="23"/>
                    </a:moveTo>
                    <a:lnTo>
                      <a:pt x="1" y="23"/>
                    </a:lnTo>
                    <a:lnTo>
                      <a:pt x="0" y="22"/>
                    </a:lnTo>
                    <a:lnTo>
                      <a:pt x="1" y="19"/>
                    </a:lnTo>
                    <a:lnTo>
                      <a:pt x="6" y="13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7" y="6"/>
                    </a:lnTo>
                    <a:lnTo>
                      <a:pt x="21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4" y="4"/>
                    </a:lnTo>
                    <a:lnTo>
                      <a:pt x="16" y="13"/>
                    </a:lnTo>
                    <a:lnTo>
                      <a:pt x="6" y="20"/>
                    </a:lnTo>
                    <a:lnTo>
                      <a:pt x="1" y="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70" name="Freeform 1223"/>
              <p:cNvSpPr>
                <a:spLocks/>
              </p:cNvSpPr>
              <p:nvPr/>
            </p:nvSpPr>
            <p:spPr bwMode="auto">
              <a:xfrm>
                <a:off x="6749360" y="2519795"/>
                <a:ext cx="26710" cy="22753"/>
              </a:xfrm>
              <a:custGeom>
                <a:avLst/>
                <a:gdLst>
                  <a:gd name="T0" fmla="*/ 1 w 27"/>
                  <a:gd name="T1" fmla="*/ 23 h 23"/>
                  <a:gd name="T2" fmla="*/ 1 w 27"/>
                  <a:gd name="T3" fmla="*/ 23 h 23"/>
                  <a:gd name="T4" fmla="*/ 0 w 27"/>
                  <a:gd name="T5" fmla="*/ 22 h 23"/>
                  <a:gd name="T6" fmla="*/ 1 w 27"/>
                  <a:gd name="T7" fmla="*/ 19 h 23"/>
                  <a:gd name="T8" fmla="*/ 6 w 27"/>
                  <a:gd name="T9" fmla="*/ 13 h 23"/>
                  <a:gd name="T10" fmla="*/ 10 w 27"/>
                  <a:gd name="T11" fmla="*/ 8 h 23"/>
                  <a:gd name="T12" fmla="*/ 14 w 27"/>
                  <a:gd name="T13" fmla="*/ 7 h 23"/>
                  <a:gd name="T14" fmla="*/ 14 w 27"/>
                  <a:gd name="T15" fmla="*/ 7 h 23"/>
                  <a:gd name="T16" fmla="*/ 17 w 27"/>
                  <a:gd name="T17" fmla="*/ 6 h 23"/>
                  <a:gd name="T18" fmla="*/ 21 w 27"/>
                  <a:gd name="T19" fmla="*/ 4 h 23"/>
                  <a:gd name="T20" fmla="*/ 27 w 27"/>
                  <a:gd name="T21" fmla="*/ 0 h 23"/>
                  <a:gd name="T22" fmla="*/ 27 w 27"/>
                  <a:gd name="T23" fmla="*/ 0 h 23"/>
                  <a:gd name="T24" fmla="*/ 24 w 27"/>
                  <a:gd name="T25" fmla="*/ 4 h 23"/>
                  <a:gd name="T26" fmla="*/ 16 w 27"/>
                  <a:gd name="T27" fmla="*/ 13 h 23"/>
                  <a:gd name="T28" fmla="*/ 6 w 27"/>
                  <a:gd name="T29" fmla="*/ 20 h 23"/>
                  <a:gd name="T30" fmla="*/ 1 w 27"/>
                  <a:gd name="T31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7" h="23">
                    <a:moveTo>
                      <a:pt x="1" y="23"/>
                    </a:moveTo>
                    <a:lnTo>
                      <a:pt x="1" y="23"/>
                    </a:lnTo>
                    <a:lnTo>
                      <a:pt x="0" y="22"/>
                    </a:lnTo>
                    <a:lnTo>
                      <a:pt x="1" y="19"/>
                    </a:lnTo>
                    <a:lnTo>
                      <a:pt x="6" y="13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7" y="6"/>
                    </a:lnTo>
                    <a:lnTo>
                      <a:pt x="21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4" y="4"/>
                    </a:lnTo>
                    <a:lnTo>
                      <a:pt x="16" y="13"/>
                    </a:lnTo>
                    <a:lnTo>
                      <a:pt x="6" y="20"/>
                    </a:lnTo>
                    <a:lnTo>
                      <a:pt x="1" y="2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71" name="Freeform 1224"/>
              <p:cNvSpPr>
                <a:spLocks/>
              </p:cNvSpPr>
              <p:nvPr/>
            </p:nvSpPr>
            <p:spPr bwMode="auto">
              <a:xfrm>
                <a:off x="6787941" y="2501989"/>
                <a:ext cx="10882" cy="12860"/>
              </a:xfrm>
              <a:custGeom>
                <a:avLst/>
                <a:gdLst>
                  <a:gd name="T0" fmla="*/ 1 w 11"/>
                  <a:gd name="T1" fmla="*/ 13 h 13"/>
                  <a:gd name="T2" fmla="*/ 1 w 11"/>
                  <a:gd name="T3" fmla="*/ 13 h 13"/>
                  <a:gd name="T4" fmla="*/ 0 w 11"/>
                  <a:gd name="T5" fmla="*/ 12 h 13"/>
                  <a:gd name="T6" fmla="*/ 1 w 11"/>
                  <a:gd name="T7" fmla="*/ 11 h 13"/>
                  <a:gd name="T8" fmla="*/ 4 w 11"/>
                  <a:gd name="T9" fmla="*/ 6 h 13"/>
                  <a:gd name="T10" fmla="*/ 9 w 11"/>
                  <a:gd name="T11" fmla="*/ 2 h 13"/>
                  <a:gd name="T12" fmla="*/ 10 w 11"/>
                  <a:gd name="T13" fmla="*/ 0 h 13"/>
                  <a:gd name="T14" fmla="*/ 11 w 11"/>
                  <a:gd name="T15" fmla="*/ 2 h 13"/>
                  <a:gd name="T16" fmla="*/ 11 w 11"/>
                  <a:gd name="T17" fmla="*/ 2 h 13"/>
                  <a:gd name="T18" fmla="*/ 11 w 11"/>
                  <a:gd name="T19" fmla="*/ 3 h 13"/>
                  <a:gd name="T20" fmla="*/ 11 w 11"/>
                  <a:gd name="T21" fmla="*/ 5 h 13"/>
                  <a:gd name="T22" fmla="*/ 9 w 11"/>
                  <a:gd name="T23" fmla="*/ 9 h 13"/>
                  <a:gd name="T24" fmla="*/ 4 w 11"/>
                  <a:gd name="T25" fmla="*/ 12 h 13"/>
                  <a:gd name="T26" fmla="*/ 1 w 11"/>
                  <a:gd name="T27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1" y="13"/>
                    </a:moveTo>
                    <a:lnTo>
                      <a:pt x="1" y="13"/>
                    </a:lnTo>
                    <a:lnTo>
                      <a:pt x="0" y="12"/>
                    </a:lnTo>
                    <a:lnTo>
                      <a:pt x="1" y="11"/>
                    </a:lnTo>
                    <a:lnTo>
                      <a:pt x="4" y="6"/>
                    </a:lnTo>
                    <a:lnTo>
                      <a:pt x="9" y="2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3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4" y="12"/>
                    </a:lnTo>
                    <a:lnTo>
                      <a:pt x="1" y="1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72" name="Freeform 1225"/>
              <p:cNvSpPr>
                <a:spLocks/>
              </p:cNvSpPr>
              <p:nvPr/>
            </p:nvSpPr>
            <p:spPr bwMode="auto">
              <a:xfrm>
                <a:off x="6787941" y="2501989"/>
                <a:ext cx="10882" cy="12860"/>
              </a:xfrm>
              <a:custGeom>
                <a:avLst/>
                <a:gdLst>
                  <a:gd name="T0" fmla="*/ 1 w 11"/>
                  <a:gd name="T1" fmla="*/ 13 h 13"/>
                  <a:gd name="T2" fmla="*/ 1 w 11"/>
                  <a:gd name="T3" fmla="*/ 13 h 13"/>
                  <a:gd name="T4" fmla="*/ 0 w 11"/>
                  <a:gd name="T5" fmla="*/ 12 h 13"/>
                  <a:gd name="T6" fmla="*/ 1 w 11"/>
                  <a:gd name="T7" fmla="*/ 11 h 13"/>
                  <a:gd name="T8" fmla="*/ 4 w 11"/>
                  <a:gd name="T9" fmla="*/ 6 h 13"/>
                  <a:gd name="T10" fmla="*/ 9 w 11"/>
                  <a:gd name="T11" fmla="*/ 2 h 13"/>
                  <a:gd name="T12" fmla="*/ 10 w 11"/>
                  <a:gd name="T13" fmla="*/ 0 h 13"/>
                  <a:gd name="T14" fmla="*/ 11 w 11"/>
                  <a:gd name="T15" fmla="*/ 2 h 13"/>
                  <a:gd name="T16" fmla="*/ 11 w 11"/>
                  <a:gd name="T17" fmla="*/ 2 h 13"/>
                  <a:gd name="T18" fmla="*/ 11 w 11"/>
                  <a:gd name="T19" fmla="*/ 3 h 13"/>
                  <a:gd name="T20" fmla="*/ 11 w 11"/>
                  <a:gd name="T21" fmla="*/ 5 h 13"/>
                  <a:gd name="T22" fmla="*/ 9 w 11"/>
                  <a:gd name="T23" fmla="*/ 9 h 13"/>
                  <a:gd name="T24" fmla="*/ 4 w 11"/>
                  <a:gd name="T25" fmla="*/ 12 h 13"/>
                  <a:gd name="T26" fmla="*/ 1 w 11"/>
                  <a:gd name="T27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1" y="13"/>
                    </a:moveTo>
                    <a:lnTo>
                      <a:pt x="1" y="13"/>
                    </a:lnTo>
                    <a:lnTo>
                      <a:pt x="0" y="12"/>
                    </a:lnTo>
                    <a:lnTo>
                      <a:pt x="1" y="11"/>
                    </a:lnTo>
                    <a:lnTo>
                      <a:pt x="4" y="6"/>
                    </a:lnTo>
                    <a:lnTo>
                      <a:pt x="9" y="2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3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4" y="12"/>
                    </a:lnTo>
                    <a:lnTo>
                      <a:pt x="1" y="1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73" name="Freeform 1226"/>
              <p:cNvSpPr>
                <a:spLocks/>
              </p:cNvSpPr>
              <p:nvPr/>
            </p:nvSpPr>
            <p:spPr bwMode="auto">
              <a:xfrm>
                <a:off x="6819597" y="2481214"/>
                <a:ext cx="6925" cy="7914"/>
              </a:xfrm>
              <a:custGeom>
                <a:avLst/>
                <a:gdLst>
                  <a:gd name="T0" fmla="*/ 7 w 7"/>
                  <a:gd name="T1" fmla="*/ 0 h 8"/>
                  <a:gd name="T2" fmla="*/ 7 w 7"/>
                  <a:gd name="T3" fmla="*/ 0 h 8"/>
                  <a:gd name="T4" fmla="*/ 4 w 7"/>
                  <a:gd name="T5" fmla="*/ 0 h 8"/>
                  <a:gd name="T6" fmla="*/ 1 w 7"/>
                  <a:gd name="T7" fmla="*/ 1 h 8"/>
                  <a:gd name="T8" fmla="*/ 0 w 7"/>
                  <a:gd name="T9" fmla="*/ 4 h 8"/>
                  <a:gd name="T10" fmla="*/ 0 w 7"/>
                  <a:gd name="T11" fmla="*/ 7 h 8"/>
                  <a:gd name="T12" fmla="*/ 0 w 7"/>
                  <a:gd name="T13" fmla="*/ 7 h 8"/>
                  <a:gd name="T14" fmla="*/ 1 w 7"/>
                  <a:gd name="T15" fmla="*/ 8 h 8"/>
                  <a:gd name="T16" fmla="*/ 3 w 7"/>
                  <a:gd name="T17" fmla="*/ 8 h 8"/>
                  <a:gd name="T18" fmla="*/ 5 w 7"/>
                  <a:gd name="T19" fmla="*/ 5 h 8"/>
                  <a:gd name="T20" fmla="*/ 7 w 7"/>
                  <a:gd name="T21" fmla="*/ 3 h 8"/>
                  <a:gd name="T22" fmla="*/ 7 w 7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8">
                    <a:moveTo>
                      <a:pt x="7" y="0"/>
                    </a:moveTo>
                    <a:lnTo>
                      <a:pt x="7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74" name="Freeform 1227"/>
              <p:cNvSpPr>
                <a:spLocks/>
              </p:cNvSpPr>
              <p:nvPr/>
            </p:nvSpPr>
            <p:spPr bwMode="auto">
              <a:xfrm>
                <a:off x="6819597" y="2481214"/>
                <a:ext cx="6925" cy="7914"/>
              </a:xfrm>
              <a:custGeom>
                <a:avLst/>
                <a:gdLst>
                  <a:gd name="T0" fmla="*/ 7 w 7"/>
                  <a:gd name="T1" fmla="*/ 0 h 8"/>
                  <a:gd name="T2" fmla="*/ 7 w 7"/>
                  <a:gd name="T3" fmla="*/ 0 h 8"/>
                  <a:gd name="T4" fmla="*/ 4 w 7"/>
                  <a:gd name="T5" fmla="*/ 0 h 8"/>
                  <a:gd name="T6" fmla="*/ 1 w 7"/>
                  <a:gd name="T7" fmla="*/ 1 h 8"/>
                  <a:gd name="T8" fmla="*/ 0 w 7"/>
                  <a:gd name="T9" fmla="*/ 4 h 8"/>
                  <a:gd name="T10" fmla="*/ 0 w 7"/>
                  <a:gd name="T11" fmla="*/ 7 h 8"/>
                  <a:gd name="T12" fmla="*/ 0 w 7"/>
                  <a:gd name="T13" fmla="*/ 7 h 8"/>
                  <a:gd name="T14" fmla="*/ 1 w 7"/>
                  <a:gd name="T15" fmla="*/ 8 h 8"/>
                  <a:gd name="T16" fmla="*/ 3 w 7"/>
                  <a:gd name="T17" fmla="*/ 8 h 8"/>
                  <a:gd name="T18" fmla="*/ 5 w 7"/>
                  <a:gd name="T19" fmla="*/ 5 h 8"/>
                  <a:gd name="T20" fmla="*/ 7 w 7"/>
                  <a:gd name="T21" fmla="*/ 3 h 8"/>
                  <a:gd name="T22" fmla="*/ 7 w 7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8">
                    <a:moveTo>
                      <a:pt x="7" y="0"/>
                    </a:moveTo>
                    <a:lnTo>
                      <a:pt x="7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7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75" name="Freeform 1228"/>
              <p:cNvSpPr>
                <a:spLocks/>
              </p:cNvSpPr>
              <p:nvPr/>
            </p:nvSpPr>
            <p:spPr bwMode="auto">
              <a:xfrm>
                <a:off x="6874996" y="2398116"/>
                <a:ext cx="15828" cy="13850"/>
              </a:xfrm>
              <a:custGeom>
                <a:avLst/>
                <a:gdLst>
                  <a:gd name="T0" fmla="*/ 16 w 16"/>
                  <a:gd name="T1" fmla="*/ 0 h 14"/>
                  <a:gd name="T2" fmla="*/ 16 w 16"/>
                  <a:gd name="T3" fmla="*/ 0 h 14"/>
                  <a:gd name="T4" fmla="*/ 13 w 16"/>
                  <a:gd name="T5" fmla="*/ 0 h 14"/>
                  <a:gd name="T6" fmla="*/ 12 w 16"/>
                  <a:gd name="T7" fmla="*/ 1 h 14"/>
                  <a:gd name="T8" fmla="*/ 9 w 16"/>
                  <a:gd name="T9" fmla="*/ 3 h 14"/>
                  <a:gd name="T10" fmla="*/ 6 w 16"/>
                  <a:gd name="T11" fmla="*/ 4 h 14"/>
                  <a:gd name="T12" fmla="*/ 6 w 16"/>
                  <a:gd name="T13" fmla="*/ 4 h 14"/>
                  <a:gd name="T14" fmla="*/ 3 w 16"/>
                  <a:gd name="T15" fmla="*/ 7 h 14"/>
                  <a:gd name="T16" fmla="*/ 0 w 16"/>
                  <a:gd name="T17" fmla="*/ 10 h 14"/>
                  <a:gd name="T18" fmla="*/ 0 w 16"/>
                  <a:gd name="T19" fmla="*/ 13 h 14"/>
                  <a:gd name="T20" fmla="*/ 2 w 16"/>
                  <a:gd name="T21" fmla="*/ 14 h 14"/>
                  <a:gd name="T22" fmla="*/ 2 w 16"/>
                  <a:gd name="T23" fmla="*/ 14 h 14"/>
                  <a:gd name="T24" fmla="*/ 6 w 16"/>
                  <a:gd name="T25" fmla="*/ 13 h 14"/>
                  <a:gd name="T26" fmla="*/ 12 w 16"/>
                  <a:gd name="T27" fmla="*/ 7 h 14"/>
                  <a:gd name="T28" fmla="*/ 16 w 16"/>
                  <a:gd name="T29" fmla="*/ 1 h 14"/>
                  <a:gd name="T30" fmla="*/ 16 w 16"/>
                  <a:gd name="T31" fmla="*/ 0 h 14"/>
                  <a:gd name="T32" fmla="*/ 16 w 16"/>
                  <a:gd name="T3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14">
                    <a:moveTo>
                      <a:pt x="16" y="0"/>
                    </a:moveTo>
                    <a:lnTo>
                      <a:pt x="16" y="0"/>
                    </a:lnTo>
                    <a:lnTo>
                      <a:pt x="13" y="0"/>
                    </a:lnTo>
                    <a:lnTo>
                      <a:pt x="12" y="1"/>
                    </a:lnTo>
                    <a:lnTo>
                      <a:pt x="9" y="3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6" y="13"/>
                    </a:lnTo>
                    <a:lnTo>
                      <a:pt x="12" y="7"/>
                    </a:lnTo>
                    <a:lnTo>
                      <a:pt x="16" y="1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76" name="Freeform 1229"/>
              <p:cNvSpPr>
                <a:spLocks/>
              </p:cNvSpPr>
              <p:nvPr/>
            </p:nvSpPr>
            <p:spPr bwMode="auto">
              <a:xfrm>
                <a:off x="6874996" y="2398116"/>
                <a:ext cx="15828" cy="13850"/>
              </a:xfrm>
              <a:custGeom>
                <a:avLst/>
                <a:gdLst>
                  <a:gd name="T0" fmla="*/ 16 w 16"/>
                  <a:gd name="T1" fmla="*/ 0 h 14"/>
                  <a:gd name="T2" fmla="*/ 16 w 16"/>
                  <a:gd name="T3" fmla="*/ 0 h 14"/>
                  <a:gd name="T4" fmla="*/ 13 w 16"/>
                  <a:gd name="T5" fmla="*/ 0 h 14"/>
                  <a:gd name="T6" fmla="*/ 12 w 16"/>
                  <a:gd name="T7" fmla="*/ 1 h 14"/>
                  <a:gd name="T8" fmla="*/ 9 w 16"/>
                  <a:gd name="T9" fmla="*/ 3 h 14"/>
                  <a:gd name="T10" fmla="*/ 6 w 16"/>
                  <a:gd name="T11" fmla="*/ 4 h 14"/>
                  <a:gd name="T12" fmla="*/ 6 w 16"/>
                  <a:gd name="T13" fmla="*/ 4 h 14"/>
                  <a:gd name="T14" fmla="*/ 3 w 16"/>
                  <a:gd name="T15" fmla="*/ 7 h 14"/>
                  <a:gd name="T16" fmla="*/ 0 w 16"/>
                  <a:gd name="T17" fmla="*/ 10 h 14"/>
                  <a:gd name="T18" fmla="*/ 0 w 16"/>
                  <a:gd name="T19" fmla="*/ 13 h 14"/>
                  <a:gd name="T20" fmla="*/ 2 w 16"/>
                  <a:gd name="T21" fmla="*/ 14 h 14"/>
                  <a:gd name="T22" fmla="*/ 2 w 16"/>
                  <a:gd name="T23" fmla="*/ 14 h 14"/>
                  <a:gd name="T24" fmla="*/ 6 w 16"/>
                  <a:gd name="T25" fmla="*/ 13 h 14"/>
                  <a:gd name="T26" fmla="*/ 12 w 16"/>
                  <a:gd name="T27" fmla="*/ 7 h 14"/>
                  <a:gd name="T28" fmla="*/ 16 w 16"/>
                  <a:gd name="T29" fmla="*/ 1 h 14"/>
                  <a:gd name="T30" fmla="*/ 16 w 16"/>
                  <a:gd name="T31" fmla="*/ 0 h 14"/>
                  <a:gd name="T32" fmla="*/ 16 w 16"/>
                  <a:gd name="T3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14">
                    <a:moveTo>
                      <a:pt x="16" y="0"/>
                    </a:moveTo>
                    <a:lnTo>
                      <a:pt x="16" y="0"/>
                    </a:lnTo>
                    <a:lnTo>
                      <a:pt x="13" y="0"/>
                    </a:lnTo>
                    <a:lnTo>
                      <a:pt x="12" y="1"/>
                    </a:lnTo>
                    <a:lnTo>
                      <a:pt x="9" y="3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6" y="13"/>
                    </a:lnTo>
                    <a:lnTo>
                      <a:pt x="12" y="7"/>
                    </a:lnTo>
                    <a:lnTo>
                      <a:pt x="16" y="1"/>
                    </a:lnTo>
                    <a:lnTo>
                      <a:pt x="16" y="0"/>
                    </a:lnTo>
                    <a:lnTo>
                      <a:pt x="16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77" name="Freeform 1230"/>
              <p:cNvSpPr>
                <a:spLocks/>
              </p:cNvSpPr>
              <p:nvPr/>
            </p:nvSpPr>
            <p:spPr bwMode="auto">
              <a:xfrm>
                <a:off x="6858179" y="2440654"/>
                <a:ext cx="2968" cy="2968"/>
              </a:xfrm>
              <a:custGeom>
                <a:avLst/>
                <a:gdLst>
                  <a:gd name="T0" fmla="*/ 1 w 3"/>
                  <a:gd name="T1" fmla="*/ 0 h 3"/>
                  <a:gd name="T2" fmla="*/ 1 w 3"/>
                  <a:gd name="T3" fmla="*/ 0 h 3"/>
                  <a:gd name="T4" fmla="*/ 0 w 3"/>
                  <a:gd name="T5" fmla="*/ 0 h 3"/>
                  <a:gd name="T6" fmla="*/ 0 w 3"/>
                  <a:gd name="T7" fmla="*/ 2 h 3"/>
                  <a:gd name="T8" fmla="*/ 0 w 3"/>
                  <a:gd name="T9" fmla="*/ 3 h 3"/>
                  <a:gd name="T10" fmla="*/ 0 w 3"/>
                  <a:gd name="T11" fmla="*/ 3 h 3"/>
                  <a:gd name="T12" fmla="*/ 0 w 3"/>
                  <a:gd name="T13" fmla="*/ 3 h 3"/>
                  <a:gd name="T14" fmla="*/ 3 w 3"/>
                  <a:gd name="T15" fmla="*/ 2 h 3"/>
                  <a:gd name="T16" fmla="*/ 3 w 3"/>
                  <a:gd name="T17" fmla="*/ 0 h 3"/>
                  <a:gd name="T18" fmla="*/ 1 w 3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3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78" name="Freeform 1231"/>
              <p:cNvSpPr>
                <a:spLocks/>
              </p:cNvSpPr>
              <p:nvPr/>
            </p:nvSpPr>
            <p:spPr bwMode="auto">
              <a:xfrm>
                <a:off x="6858179" y="2440654"/>
                <a:ext cx="2968" cy="2968"/>
              </a:xfrm>
              <a:custGeom>
                <a:avLst/>
                <a:gdLst>
                  <a:gd name="T0" fmla="*/ 1 w 3"/>
                  <a:gd name="T1" fmla="*/ 0 h 3"/>
                  <a:gd name="T2" fmla="*/ 1 w 3"/>
                  <a:gd name="T3" fmla="*/ 0 h 3"/>
                  <a:gd name="T4" fmla="*/ 0 w 3"/>
                  <a:gd name="T5" fmla="*/ 0 h 3"/>
                  <a:gd name="T6" fmla="*/ 0 w 3"/>
                  <a:gd name="T7" fmla="*/ 2 h 3"/>
                  <a:gd name="T8" fmla="*/ 0 w 3"/>
                  <a:gd name="T9" fmla="*/ 3 h 3"/>
                  <a:gd name="T10" fmla="*/ 0 w 3"/>
                  <a:gd name="T11" fmla="*/ 3 h 3"/>
                  <a:gd name="T12" fmla="*/ 0 w 3"/>
                  <a:gd name="T13" fmla="*/ 3 h 3"/>
                  <a:gd name="T14" fmla="*/ 3 w 3"/>
                  <a:gd name="T15" fmla="*/ 2 h 3"/>
                  <a:gd name="T16" fmla="*/ 3 w 3"/>
                  <a:gd name="T17" fmla="*/ 0 h 3"/>
                  <a:gd name="T18" fmla="*/ 1 w 3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3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1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79" name="Freeform 1232"/>
              <p:cNvSpPr>
                <a:spLocks/>
              </p:cNvSpPr>
              <p:nvPr/>
            </p:nvSpPr>
            <p:spPr bwMode="auto">
              <a:xfrm>
                <a:off x="6440711" y="2890767"/>
                <a:ext cx="8903" cy="11871"/>
              </a:xfrm>
              <a:custGeom>
                <a:avLst/>
                <a:gdLst>
                  <a:gd name="T0" fmla="*/ 8 w 9"/>
                  <a:gd name="T1" fmla="*/ 0 h 12"/>
                  <a:gd name="T2" fmla="*/ 8 w 9"/>
                  <a:gd name="T3" fmla="*/ 0 h 12"/>
                  <a:gd name="T4" fmla="*/ 5 w 9"/>
                  <a:gd name="T5" fmla="*/ 1 h 12"/>
                  <a:gd name="T6" fmla="*/ 2 w 9"/>
                  <a:gd name="T7" fmla="*/ 4 h 12"/>
                  <a:gd name="T8" fmla="*/ 0 w 9"/>
                  <a:gd name="T9" fmla="*/ 9 h 12"/>
                  <a:gd name="T10" fmla="*/ 0 w 9"/>
                  <a:gd name="T11" fmla="*/ 10 h 12"/>
                  <a:gd name="T12" fmla="*/ 0 w 9"/>
                  <a:gd name="T13" fmla="*/ 12 h 12"/>
                  <a:gd name="T14" fmla="*/ 0 w 9"/>
                  <a:gd name="T15" fmla="*/ 12 h 12"/>
                  <a:gd name="T16" fmla="*/ 5 w 9"/>
                  <a:gd name="T17" fmla="*/ 10 h 12"/>
                  <a:gd name="T18" fmla="*/ 8 w 9"/>
                  <a:gd name="T19" fmla="*/ 7 h 12"/>
                  <a:gd name="T20" fmla="*/ 9 w 9"/>
                  <a:gd name="T21" fmla="*/ 3 h 12"/>
                  <a:gd name="T22" fmla="*/ 9 w 9"/>
                  <a:gd name="T23" fmla="*/ 1 h 12"/>
                  <a:gd name="T24" fmla="*/ 8 w 9"/>
                  <a:gd name="T2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12">
                    <a:moveTo>
                      <a:pt x="8" y="0"/>
                    </a:moveTo>
                    <a:lnTo>
                      <a:pt x="8" y="0"/>
                    </a:lnTo>
                    <a:lnTo>
                      <a:pt x="5" y="1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5" y="10"/>
                    </a:lnTo>
                    <a:lnTo>
                      <a:pt x="8" y="7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80" name="Freeform 1233"/>
              <p:cNvSpPr>
                <a:spLocks/>
              </p:cNvSpPr>
              <p:nvPr/>
            </p:nvSpPr>
            <p:spPr bwMode="auto">
              <a:xfrm>
                <a:off x="6440711" y="2890767"/>
                <a:ext cx="8903" cy="11871"/>
              </a:xfrm>
              <a:custGeom>
                <a:avLst/>
                <a:gdLst>
                  <a:gd name="T0" fmla="*/ 8 w 9"/>
                  <a:gd name="T1" fmla="*/ 0 h 12"/>
                  <a:gd name="T2" fmla="*/ 8 w 9"/>
                  <a:gd name="T3" fmla="*/ 0 h 12"/>
                  <a:gd name="T4" fmla="*/ 5 w 9"/>
                  <a:gd name="T5" fmla="*/ 1 h 12"/>
                  <a:gd name="T6" fmla="*/ 2 w 9"/>
                  <a:gd name="T7" fmla="*/ 4 h 12"/>
                  <a:gd name="T8" fmla="*/ 0 w 9"/>
                  <a:gd name="T9" fmla="*/ 9 h 12"/>
                  <a:gd name="T10" fmla="*/ 0 w 9"/>
                  <a:gd name="T11" fmla="*/ 10 h 12"/>
                  <a:gd name="T12" fmla="*/ 0 w 9"/>
                  <a:gd name="T13" fmla="*/ 12 h 12"/>
                  <a:gd name="T14" fmla="*/ 0 w 9"/>
                  <a:gd name="T15" fmla="*/ 12 h 12"/>
                  <a:gd name="T16" fmla="*/ 5 w 9"/>
                  <a:gd name="T17" fmla="*/ 10 h 12"/>
                  <a:gd name="T18" fmla="*/ 8 w 9"/>
                  <a:gd name="T19" fmla="*/ 7 h 12"/>
                  <a:gd name="T20" fmla="*/ 9 w 9"/>
                  <a:gd name="T21" fmla="*/ 3 h 12"/>
                  <a:gd name="T22" fmla="*/ 9 w 9"/>
                  <a:gd name="T23" fmla="*/ 1 h 12"/>
                  <a:gd name="T24" fmla="*/ 8 w 9"/>
                  <a:gd name="T2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12">
                    <a:moveTo>
                      <a:pt x="8" y="0"/>
                    </a:moveTo>
                    <a:lnTo>
                      <a:pt x="8" y="0"/>
                    </a:lnTo>
                    <a:lnTo>
                      <a:pt x="5" y="1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5" y="10"/>
                    </a:lnTo>
                    <a:lnTo>
                      <a:pt x="8" y="7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8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81" name="Freeform 1234"/>
              <p:cNvSpPr>
                <a:spLocks/>
              </p:cNvSpPr>
              <p:nvPr/>
            </p:nvSpPr>
            <p:spPr bwMode="auto">
              <a:xfrm>
                <a:off x="6846307" y="2936273"/>
                <a:ext cx="2968" cy="1979"/>
              </a:xfrm>
              <a:custGeom>
                <a:avLst/>
                <a:gdLst>
                  <a:gd name="T0" fmla="*/ 2 w 3"/>
                  <a:gd name="T1" fmla="*/ 2 h 2"/>
                  <a:gd name="T2" fmla="*/ 2 w 3"/>
                  <a:gd name="T3" fmla="*/ 2 h 2"/>
                  <a:gd name="T4" fmla="*/ 0 w 3"/>
                  <a:gd name="T5" fmla="*/ 2 h 2"/>
                  <a:gd name="T6" fmla="*/ 0 w 3"/>
                  <a:gd name="T7" fmla="*/ 2 h 2"/>
                  <a:gd name="T8" fmla="*/ 2 w 3"/>
                  <a:gd name="T9" fmla="*/ 0 h 2"/>
                  <a:gd name="T10" fmla="*/ 2 w 3"/>
                  <a:gd name="T11" fmla="*/ 0 h 2"/>
                  <a:gd name="T12" fmla="*/ 3 w 3"/>
                  <a:gd name="T13" fmla="*/ 0 h 2"/>
                  <a:gd name="T14" fmla="*/ 3 w 3"/>
                  <a:gd name="T15" fmla="*/ 0 h 2"/>
                  <a:gd name="T16" fmla="*/ 3 w 3"/>
                  <a:gd name="T17" fmla="*/ 2 h 2"/>
                  <a:gd name="T18" fmla="*/ 2 w 3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82" name="Freeform 1235"/>
              <p:cNvSpPr>
                <a:spLocks/>
              </p:cNvSpPr>
              <p:nvPr/>
            </p:nvSpPr>
            <p:spPr bwMode="auto">
              <a:xfrm>
                <a:off x="6846307" y="2936273"/>
                <a:ext cx="2968" cy="1979"/>
              </a:xfrm>
              <a:custGeom>
                <a:avLst/>
                <a:gdLst>
                  <a:gd name="T0" fmla="*/ 2 w 3"/>
                  <a:gd name="T1" fmla="*/ 2 h 2"/>
                  <a:gd name="T2" fmla="*/ 2 w 3"/>
                  <a:gd name="T3" fmla="*/ 2 h 2"/>
                  <a:gd name="T4" fmla="*/ 0 w 3"/>
                  <a:gd name="T5" fmla="*/ 2 h 2"/>
                  <a:gd name="T6" fmla="*/ 0 w 3"/>
                  <a:gd name="T7" fmla="*/ 2 h 2"/>
                  <a:gd name="T8" fmla="*/ 2 w 3"/>
                  <a:gd name="T9" fmla="*/ 0 h 2"/>
                  <a:gd name="T10" fmla="*/ 2 w 3"/>
                  <a:gd name="T11" fmla="*/ 0 h 2"/>
                  <a:gd name="T12" fmla="*/ 3 w 3"/>
                  <a:gd name="T13" fmla="*/ 0 h 2"/>
                  <a:gd name="T14" fmla="*/ 3 w 3"/>
                  <a:gd name="T15" fmla="*/ 0 h 2"/>
                  <a:gd name="T16" fmla="*/ 3 w 3"/>
                  <a:gd name="T17" fmla="*/ 2 h 2"/>
                  <a:gd name="T18" fmla="*/ 2 w 3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2" y="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83" name="Freeform 1236"/>
              <p:cNvSpPr>
                <a:spLocks/>
              </p:cNvSpPr>
              <p:nvPr/>
            </p:nvSpPr>
            <p:spPr bwMode="auto">
              <a:xfrm>
                <a:off x="6657359" y="2907585"/>
                <a:ext cx="2968" cy="2968"/>
              </a:xfrm>
              <a:custGeom>
                <a:avLst/>
                <a:gdLst>
                  <a:gd name="T0" fmla="*/ 1 w 3"/>
                  <a:gd name="T1" fmla="*/ 3 h 3"/>
                  <a:gd name="T2" fmla="*/ 1 w 3"/>
                  <a:gd name="T3" fmla="*/ 3 h 3"/>
                  <a:gd name="T4" fmla="*/ 0 w 3"/>
                  <a:gd name="T5" fmla="*/ 2 h 3"/>
                  <a:gd name="T6" fmla="*/ 0 w 3"/>
                  <a:gd name="T7" fmla="*/ 2 h 3"/>
                  <a:gd name="T8" fmla="*/ 1 w 3"/>
                  <a:gd name="T9" fmla="*/ 0 h 3"/>
                  <a:gd name="T10" fmla="*/ 1 w 3"/>
                  <a:gd name="T11" fmla="*/ 0 h 3"/>
                  <a:gd name="T12" fmla="*/ 3 w 3"/>
                  <a:gd name="T13" fmla="*/ 0 h 3"/>
                  <a:gd name="T14" fmla="*/ 3 w 3"/>
                  <a:gd name="T15" fmla="*/ 2 h 3"/>
                  <a:gd name="T16" fmla="*/ 3 w 3"/>
                  <a:gd name="T17" fmla="*/ 2 h 3"/>
                  <a:gd name="T18" fmla="*/ 1 w 3"/>
                  <a:gd name="T1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1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84" name="Freeform 1237"/>
              <p:cNvSpPr>
                <a:spLocks/>
              </p:cNvSpPr>
              <p:nvPr/>
            </p:nvSpPr>
            <p:spPr bwMode="auto">
              <a:xfrm>
                <a:off x="6657359" y="2907585"/>
                <a:ext cx="2968" cy="2968"/>
              </a:xfrm>
              <a:custGeom>
                <a:avLst/>
                <a:gdLst>
                  <a:gd name="T0" fmla="*/ 1 w 3"/>
                  <a:gd name="T1" fmla="*/ 3 h 3"/>
                  <a:gd name="T2" fmla="*/ 1 w 3"/>
                  <a:gd name="T3" fmla="*/ 3 h 3"/>
                  <a:gd name="T4" fmla="*/ 0 w 3"/>
                  <a:gd name="T5" fmla="*/ 2 h 3"/>
                  <a:gd name="T6" fmla="*/ 0 w 3"/>
                  <a:gd name="T7" fmla="*/ 2 h 3"/>
                  <a:gd name="T8" fmla="*/ 1 w 3"/>
                  <a:gd name="T9" fmla="*/ 0 h 3"/>
                  <a:gd name="T10" fmla="*/ 1 w 3"/>
                  <a:gd name="T11" fmla="*/ 0 h 3"/>
                  <a:gd name="T12" fmla="*/ 3 w 3"/>
                  <a:gd name="T13" fmla="*/ 0 h 3"/>
                  <a:gd name="T14" fmla="*/ 3 w 3"/>
                  <a:gd name="T15" fmla="*/ 2 h 3"/>
                  <a:gd name="T16" fmla="*/ 3 w 3"/>
                  <a:gd name="T17" fmla="*/ 2 h 3"/>
                  <a:gd name="T18" fmla="*/ 1 w 3"/>
                  <a:gd name="T1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1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85" name="Freeform 1238"/>
              <p:cNvSpPr>
                <a:spLocks/>
              </p:cNvSpPr>
              <p:nvPr/>
            </p:nvSpPr>
            <p:spPr bwMode="auto">
              <a:xfrm>
                <a:off x="6370474" y="2932316"/>
                <a:ext cx="2968" cy="989"/>
              </a:xfrm>
              <a:custGeom>
                <a:avLst/>
                <a:gdLst>
                  <a:gd name="T0" fmla="*/ 2 w 3"/>
                  <a:gd name="T1" fmla="*/ 1 h 1"/>
                  <a:gd name="T2" fmla="*/ 2 w 3"/>
                  <a:gd name="T3" fmla="*/ 1 h 1"/>
                  <a:gd name="T4" fmla="*/ 0 w 3"/>
                  <a:gd name="T5" fmla="*/ 1 h 1"/>
                  <a:gd name="T6" fmla="*/ 0 w 3"/>
                  <a:gd name="T7" fmla="*/ 0 h 1"/>
                  <a:gd name="T8" fmla="*/ 2 w 3"/>
                  <a:gd name="T9" fmla="*/ 0 h 1"/>
                  <a:gd name="T10" fmla="*/ 2 w 3"/>
                  <a:gd name="T11" fmla="*/ 0 h 1"/>
                  <a:gd name="T12" fmla="*/ 3 w 3"/>
                  <a:gd name="T13" fmla="*/ 0 h 1"/>
                  <a:gd name="T14" fmla="*/ 3 w 3"/>
                  <a:gd name="T15" fmla="*/ 0 h 1"/>
                  <a:gd name="T16" fmla="*/ 3 w 3"/>
                  <a:gd name="T17" fmla="*/ 1 h 1"/>
                  <a:gd name="T18" fmla="*/ 2 w 3"/>
                  <a:gd name="T1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1">
                    <a:moveTo>
                      <a:pt x="2" y="1"/>
                    </a:moveTo>
                    <a:lnTo>
                      <a:pt x="2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86" name="Freeform 1239"/>
              <p:cNvSpPr>
                <a:spLocks/>
              </p:cNvSpPr>
              <p:nvPr/>
            </p:nvSpPr>
            <p:spPr bwMode="auto">
              <a:xfrm>
                <a:off x="6370474" y="2932316"/>
                <a:ext cx="2968" cy="989"/>
              </a:xfrm>
              <a:custGeom>
                <a:avLst/>
                <a:gdLst>
                  <a:gd name="T0" fmla="*/ 2 w 3"/>
                  <a:gd name="T1" fmla="*/ 1 h 1"/>
                  <a:gd name="T2" fmla="*/ 2 w 3"/>
                  <a:gd name="T3" fmla="*/ 1 h 1"/>
                  <a:gd name="T4" fmla="*/ 0 w 3"/>
                  <a:gd name="T5" fmla="*/ 1 h 1"/>
                  <a:gd name="T6" fmla="*/ 0 w 3"/>
                  <a:gd name="T7" fmla="*/ 0 h 1"/>
                  <a:gd name="T8" fmla="*/ 2 w 3"/>
                  <a:gd name="T9" fmla="*/ 0 h 1"/>
                  <a:gd name="T10" fmla="*/ 2 w 3"/>
                  <a:gd name="T11" fmla="*/ 0 h 1"/>
                  <a:gd name="T12" fmla="*/ 3 w 3"/>
                  <a:gd name="T13" fmla="*/ 0 h 1"/>
                  <a:gd name="T14" fmla="*/ 3 w 3"/>
                  <a:gd name="T15" fmla="*/ 0 h 1"/>
                  <a:gd name="T16" fmla="*/ 3 w 3"/>
                  <a:gd name="T17" fmla="*/ 1 h 1"/>
                  <a:gd name="T18" fmla="*/ 2 w 3"/>
                  <a:gd name="T1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1">
                    <a:moveTo>
                      <a:pt x="2" y="1"/>
                    </a:moveTo>
                    <a:lnTo>
                      <a:pt x="2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2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23" name="Freeform 1276"/>
              <p:cNvSpPr>
                <a:spLocks/>
              </p:cNvSpPr>
              <p:nvPr/>
            </p:nvSpPr>
            <p:spPr bwMode="auto">
              <a:xfrm>
                <a:off x="6084577" y="3419032"/>
                <a:ext cx="147400" cy="49463"/>
              </a:xfrm>
              <a:custGeom>
                <a:avLst/>
                <a:gdLst>
                  <a:gd name="T0" fmla="*/ 132 w 149"/>
                  <a:gd name="T1" fmla="*/ 38 h 50"/>
                  <a:gd name="T2" fmla="*/ 87 w 149"/>
                  <a:gd name="T3" fmla="*/ 38 h 50"/>
                  <a:gd name="T4" fmla="*/ 50 w 149"/>
                  <a:gd name="T5" fmla="*/ 28 h 50"/>
                  <a:gd name="T6" fmla="*/ 17 w 149"/>
                  <a:gd name="T7" fmla="*/ 25 h 50"/>
                  <a:gd name="T8" fmla="*/ 17 w 149"/>
                  <a:gd name="T9" fmla="*/ 24 h 50"/>
                  <a:gd name="T10" fmla="*/ 14 w 149"/>
                  <a:gd name="T11" fmla="*/ 25 h 50"/>
                  <a:gd name="T12" fmla="*/ 16 w 149"/>
                  <a:gd name="T13" fmla="*/ 28 h 50"/>
                  <a:gd name="T14" fmla="*/ 21 w 149"/>
                  <a:gd name="T15" fmla="*/ 25 h 50"/>
                  <a:gd name="T16" fmla="*/ 20 w 149"/>
                  <a:gd name="T17" fmla="*/ 19 h 50"/>
                  <a:gd name="T18" fmla="*/ 4 w 149"/>
                  <a:gd name="T19" fmla="*/ 15 h 50"/>
                  <a:gd name="T20" fmla="*/ 4 w 149"/>
                  <a:gd name="T21" fmla="*/ 18 h 50"/>
                  <a:gd name="T22" fmla="*/ 4 w 149"/>
                  <a:gd name="T23" fmla="*/ 18 h 50"/>
                  <a:gd name="T24" fmla="*/ 3 w 149"/>
                  <a:gd name="T25" fmla="*/ 18 h 50"/>
                  <a:gd name="T26" fmla="*/ 14 w 149"/>
                  <a:gd name="T27" fmla="*/ 11 h 50"/>
                  <a:gd name="T28" fmla="*/ 33 w 149"/>
                  <a:gd name="T29" fmla="*/ 6 h 50"/>
                  <a:gd name="T30" fmla="*/ 40 w 149"/>
                  <a:gd name="T31" fmla="*/ 8 h 50"/>
                  <a:gd name="T32" fmla="*/ 58 w 149"/>
                  <a:gd name="T33" fmla="*/ 18 h 50"/>
                  <a:gd name="T34" fmla="*/ 74 w 149"/>
                  <a:gd name="T35" fmla="*/ 18 h 50"/>
                  <a:gd name="T36" fmla="*/ 90 w 149"/>
                  <a:gd name="T37" fmla="*/ 13 h 50"/>
                  <a:gd name="T38" fmla="*/ 124 w 149"/>
                  <a:gd name="T39" fmla="*/ 19 h 50"/>
                  <a:gd name="T40" fmla="*/ 133 w 149"/>
                  <a:gd name="T41" fmla="*/ 19 h 50"/>
                  <a:gd name="T42" fmla="*/ 134 w 149"/>
                  <a:gd name="T43" fmla="*/ 19 h 50"/>
                  <a:gd name="T44" fmla="*/ 133 w 149"/>
                  <a:gd name="T45" fmla="*/ 21 h 50"/>
                  <a:gd name="T46" fmla="*/ 134 w 149"/>
                  <a:gd name="T47" fmla="*/ 19 h 50"/>
                  <a:gd name="T48" fmla="*/ 133 w 149"/>
                  <a:gd name="T49" fmla="*/ 18 h 50"/>
                  <a:gd name="T50" fmla="*/ 129 w 149"/>
                  <a:gd name="T51" fmla="*/ 22 h 50"/>
                  <a:gd name="T52" fmla="*/ 133 w 149"/>
                  <a:gd name="T53" fmla="*/ 29 h 50"/>
                  <a:gd name="T54" fmla="*/ 143 w 149"/>
                  <a:gd name="T55" fmla="*/ 34 h 50"/>
                  <a:gd name="T56" fmla="*/ 143 w 149"/>
                  <a:gd name="T57" fmla="*/ 34 h 50"/>
                  <a:gd name="T58" fmla="*/ 143 w 149"/>
                  <a:gd name="T59" fmla="*/ 40 h 50"/>
                  <a:gd name="T60" fmla="*/ 143 w 149"/>
                  <a:gd name="T61" fmla="*/ 45 h 50"/>
                  <a:gd name="T62" fmla="*/ 143 w 149"/>
                  <a:gd name="T63" fmla="*/ 45 h 50"/>
                  <a:gd name="T64" fmla="*/ 142 w 149"/>
                  <a:gd name="T65" fmla="*/ 50 h 50"/>
                  <a:gd name="T66" fmla="*/ 147 w 149"/>
                  <a:gd name="T67" fmla="*/ 47 h 50"/>
                  <a:gd name="T68" fmla="*/ 147 w 149"/>
                  <a:gd name="T69" fmla="*/ 31 h 50"/>
                  <a:gd name="T70" fmla="*/ 137 w 149"/>
                  <a:gd name="T71" fmla="*/ 28 h 50"/>
                  <a:gd name="T72" fmla="*/ 139 w 149"/>
                  <a:gd name="T73" fmla="*/ 28 h 50"/>
                  <a:gd name="T74" fmla="*/ 137 w 149"/>
                  <a:gd name="T75" fmla="*/ 28 h 50"/>
                  <a:gd name="T76" fmla="*/ 133 w 149"/>
                  <a:gd name="T77" fmla="*/ 22 h 50"/>
                  <a:gd name="T78" fmla="*/ 133 w 149"/>
                  <a:gd name="T79" fmla="*/ 22 h 50"/>
                  <a:gd name="T80" fmla="*/ 133 w 149"/>
                  <a:gd name="T81" fmla="*/ 22 h 50"/>
                  <a:gd name="T82" fmla="*/ 134 w 149"/>
                  <a:gd name="T83" fmla="*/ 24 h 50"/>
                  <a:gd name="T84" fmla="*/ 137 w 149"/>
                  <a:gd name="T85" fmla="*/ 22 h 50"/>
                  <a:gd name="T86" fmla="*/ 133 w 149"/>
                  <a:gd name="T87" fmla="*/ 15 h 50"/>
                  <a:gd name="T88" fmla="*/ 104 w 149"/>
                  <a:gd name="T89" fmla="*/ 12 h 50"/>
                  <a:gd name="T90" fmla="*/ 84 w 149"/>
                  <a:gd name="T91" fmla="*/ 9 h 50"/>
                  <a:gd name="T92" fmla="*/ 72 w 149"/>
                  <a:gd name="T93" fmla="*/ 13 h 50"/>
                  <a:gd name="T94" fmla="*/ 53 w 149"/>
                  <a:gd name="T95" fmla="*/ 12 h 50"/>
                  <a:gd name="T96" fmla="*/ 36 w 149"/>
                  <a:gd name="T97" fmla="*/ 0 h 50"/>
                  <a:gd name="T98" fmla="*/ 19 w 149"/>
                  <a:gd name="T99" fmla="*/ 3 h 50"/>
                  <a:gd name="T100" fmla="*/ 1 w 149"/>
                  <a:gd name="T101" fmla="*/ 13 h 50"/>
                  <a:gd name="T102" fmla="*/ 1 w 149"/>
                  <a:gd name="T103" fmla="*/ 21 h 50"/>
                  <a:gd name="T104" fmla="*/ 17 w 149"/>
                  <a:gd name="T105" fmla="*/ 24 h 50"/>
                  <a:gd name="T106" fmla="*/ 20 w 149"/>
                  <a:gd name="T107" fmla="*/ 22 h 50"/>
                  <a:gd name="T108" fmla="*/ 19 w 149"/>
                  <a:gd name="T109" fmla="*/ 21 h 50"/>
                  <a:gd name="T110" fmla="*/ 19 w 149"/>
                  <a:gd name="T111" fmla="*/ 21 h 50"/>
                  <a:gd name="T112" fmla="*/ 19 w 149"/>
                  <a:gd name="T113" fmla="*/ 21 h 50"/>
                  <a:gd name="T114" fmla="*/ 11 w 149"/>
                  <a:gd name="T115" fmla="*/ 25 h 50"/>
                  <a:gd name="T116" fmla="*/ 26 w 149"/>
                  <a:gd name="T117" fmla="*/ 31 h 50"/>
                  <a:gd name="T118" fmla="*/ 66 w 149"/>
                  <a:gd name="T119" fmla="*/ 35 h 50"/>
                  <a:gd name="T120" fmla="*/ 101 w 149"/>
                  <a:gd name="T121" fmla="*/ 44 h 50"/>
                  <a:gd name="T122" fmla="*/ 142 w 149"/>
                  <a:gd name="T123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9" h="50">
                    <a:moveTo>
                      <a:pt x="143" y="48"/>
                    </a:moveTo>
                    <a:lnTo>
                      <a:pt x="143" y="45"/>
                    </a:lnTo>
                    <a:lnTo>
                      <a:pt x="143" y="45"/>
                    </a:lnTo>
                    <a:lnTo>
                      <a:pt x="139" y="42"/>
                    </a:lnTo>
                    <a:lnTo>
                      <a:pt x="136" y="41"/>
                    </a:lnTo>
                    <a:lnTo>
                      <a:pt x="136" y="41"/>
                    </a:lnTo>
                    <a:lnTo>
                      <a:pt x="132" y="38"/>
                    </a:lnTo>
                    <a:lnTo>
                      <a:pt x="132" y="38"/>
                    </a:lnTo>
                    <a:lnTo>
                      <a:pt x="126" y="38"/>
                    </a:lnTo>
                    <a:lnTo>
                      <a:pt x="126" y="38"/>
                    </a:lnTo>
                    <a:lnTo>
                      <a:pt x="101" y="40"/>
                    </a:lnTo>
                    <a:lnTo>
                      <a:pt x="101" y="40"/>
                    </a:lnTo>
                    <a:lnTo>
                      <a:pt x="94" y="40"/>
                    </a:lnTo>
                    <a:lnTo>
                      <a:pt x="87" y="38"/>
                    </a:lnTo>
                    <a:lnTo>
                      <a:pt x="87" y="38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68" y="31"/>
                    </a:lnTo>
                    <a:lnTo>
                      <a:pt x="68" y="31"/>
                    </a:lnTo>
                    <a:lnTo>
                      <a:pt x="61" y="29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37" y="27"/>
                    </a:lnTo>
                    <a:lnTo>
                      <a:pt x="37" y="27"/>
                    </a:lnTo>
                    <a:lnTo>
                      <a:pt x="24" y="25"/>
                    </a:lnTo>
                    <a:lnTo>
                      <a:pt x="24" y="25"/>
                    </a:lnTo>
                    <a:lnTo>
                      <a:pt x="17" y="25"/>
                    </a:lnTo>
                    <a:lnTo>
                      <a:pt x="17" y="25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5"/>
                    </a:lnTo>
                    <a:lnTo>
                      <a:pt x="17" y="24"/>
                    </a:lnTo>
                    <a:lnTo>
                      <a:pt x="16" y="24"/>
                    </a:lnTo>
                    <a:lnTo>
                      <a:pt x="16" y="25"/>
                    </a:lnTo>
                    <a:lnTo>
                      <a:pt x="17" y="24"/>
                    </a:lnTo>
                    <a:lnTo>
                      <a:pt x="14" y="25"/>
                    </a:lnTo>
                    <a:lnTo>
                      <a:pt x="17" y="25"/>
                    </a:lnTo>
                    <a:lnTo>
                      <a:pt x="17" y="25"/>
                    </a:lnTo>
                    <a:lnTo>
                      <a:pt x="17" y="24"/>
                    </a:lnTo>
                    <a:lnTo>
                      <a:pt x="14" y="25"/>
                    </a:lnTo>
                    <a:lnTo>
                      <a:pt x="17" y="25"/>
                    </a:lnTo>
                    <a:lnTo>
                      <a:pt x="14" y="25"/>
                    </a:lnTo>
                    <a:lnTo>
                      <a:pt x="17" y="27"/>
                    </a:lnTo>
                    <a:lnTo>
                      <a:pt x="17" y="27"/>
                    </a:lnTo>
                    <a:lnTo>
                      <a:pt x="17" y="25"/>
                    </a:lnTo>
                    <a:lnTo>
                      <a:pt x="14" y="25"/>
                    </a:lnTo>
                    <a:lnTo>
                      <a:pt x="17" y="27"/>
                    </a:lnTo>
                    <a:lnTo>
                      <a:pt x="16" y="27"/>
                    </a:lnTo>
                    <a:lnTo>
                      <a:pt x="16" y="28"/>
                    </a:lnTo>
                    <a:lnTo>
                      <a:pt x="17" y="27"/>
                    </a:lnTo>
                    <a:lnTo>
                      <a:pt x="16" y="27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20" y="25"/>
                    </a:lnTo>
                    <a:lnTo>
                      <a:pt x="20" y="25"/>
                    </a:lnTo>
                    <a:lnTo>
                      <a:pt x="21" y="25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0" y="19"/>
                    </a:lnTo>
                    <a:lnTo>
                      <a:pt x="20" y="19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5"/>
                    </a:lnTo>
                    <a:lnTo>
                      <a:pt x="3" y="16"/>
                    </a:lnTo>
                    <a:lnTo>
                      <a:pt x="4" y="16"/>
                    </a:lnTo>
                    <a:lnTo>
                      <a:pt x="4" y="15"/>
                    </a:lnTo>
                    <a:lnTo>
                      <a:pt x="3" y="16"/>
                    </a:lnTo>
                    <a:lnTo>
                      <a:pt x="4" y="16"/>
                    </a:lnTo>
                    <a:lnTo>
                      <a:pt x="3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3" y="18"/>
                    </a:lnTo>
                    <a:lnTo>
                      <a:pt x="4" y="18"/>
                    </a:lnTo>
                    <a:lnTo>
                      <a:pt x="3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3" y="18"/>
                    </a:lnTo>
                    <a:lnTo>
                      <a:pt x="4" y="18"/>
                    </a:lnTo>
                    <a:lnTo>
                      <a:pt x="3" y="18"/>
                    </a:lnTo>
                    <a:lnTo>
                      <a:pt x="4" y="19"/>
                    </a:lnTo>
                    <a:lnTo>
                      <a:pt x="4" y="18"/>
                    </a:lnTo>
                    <a:lnTo>
                      <a:pt x="3" y="18"/>
                    </a:lnTo>
                    <a:lnTo>
                      <a:pt x="4" y="19"/>
                    </a:lnTo>
                    <a:lnTo>
                      <a:pt x="4" y="19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4" y="11"/>
                    </a:lnTo>
                    <a:lnTo>
                      <a:pt x="14" y="11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27" y="8"/>
                    </a:lnTo>
                    <a:lnTo>
                      <a:pt x="27" y="8"/>
                    </a:lnTo>
                    <a:lnTo>
                      <a:pt x="30" y="8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7" y="6"/>
                    </a:lnTo>
                    <a:lnTo>
                      <a:pt x="37" y="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8" y="13"/>
                    </a:lnTo>
                    <a:lnTo>
                      <a:pt x="48" y="13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5" y="18"/>
                    </a:lnTo>
                    <a:lnTo>
                      <a:pt x="55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71" y="18"/>
                    </a:lnTo>
                    <a:lnTo>
                      <a:pt x="71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8" y="18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8" y="13"/>
                    </a:lnTo>
                    <a:lnTo>
                      <a:pt x="88" y="13"/>
                    </a:lnTo>
                    <a:lnTo>
                      <a:pt x="90" y="13"/>
                    </a:lnTo>
                    <a:lnTo>
                      <a:pt x="90" y="13"/>
                    </a:lnTo>
                    <a:lnTo>
                      <a:pt x="95" y="15"/>
                    </a:lnTo>
                    <a:lnTo>
                      <a:pt x="95" y="15"/>
                    </a:lnTo>
                    <a:lnTo>
                      <a:pt x="103" y="16"/>
                    </a:lnTo>
                    <a:lnTo>
                      <a:pt x="103" y="16"/>
                    </a:lnTo>
                    <a:lnTo>
                      <a:pt x="110" y="18"/>
                    </a:lnTo>
                    <a:lnTo>
                      <a:pt x="110" y="18"/>
                    </a:lnTo>
                    <a:lnTo>
                      <a:pt x="124" y="19"/>
                    </a:lnTo>
                    <a:lnTo>
                      <a:pt x="124" y="19"/>
                    </a:lnTo>
                    <a:lnTo>
                      <a:pt x="130" y="19"/>
                    </a:lnTo>
                    <a:lnTo>
                      <a:pt x="130" y="19"/>
                    </a:lnTo>
                    <a:lnTo>
                      <a:pt x="132" y="19"/>
                    </a:lnTo>
                    <a:lnTo>
                      <a:pt x="133" y="19"/>
                    </a:lnTo>
                    <a:lnTo>
                      <a:pt x="133" y="19"/>
                    </a:lnTo>
                    <a:lnTo>
                      <a:pt x="133" y="19"/>
                    </a:lnTo>
                    <a:lnTo>
                      <a:pt x="133" y="19"/>
                    </a:lnTo>
                    <a:lnTo>
                      <a:pt x="133" y="19"/>
                    </a:lnTo>
                    <a:lnTo>
                      <a:pt x="133" y="19"/>
                    </a:lnTo>
                    <a:lnTo>
                      <a:pt x="133" y="19"/>
                    </a:lnTo>
                    <a:lnTo>
                      <a:pt x="133" y="19"/>
                    </a:lnTo>
                    <a:lnTo>
                      <a:pt x="133" y="21"/>
                    </a:lnTo>
                    <a:lnTo>
                      <a:pt x="134" y="19"/>
                    </a:lnTo>
                    <a:lnTo>
                      <a:pt x="133" y="21"/>
                    </a:lnTo>
                    <a:lnTo>
                      <a:pt x="133" y="21"/>
                    </a:lnTo>
                    <a:lnTo>
                      <a:pt x="134" y="19"/>
                    </a:lnTo>
                    <a:lnTo>
                      <a:pt x="133" y="21"/>
                    </a:lnTo>
                    <a:lnTo>
                      <a:pt x="134" y="19"/>
                    </a:lnTo>
                    <a:lnTo>
                      <a:pt x="133" y="19"/>
                    </a:lnTo>
                    <a:lnTo>
                      <a:pt x="133" y="21"/>
                    </a:lnTo>
                    <a:lnTo>
                      <a:pt x="134" y="19"/>
                    </a:lnTo>
                    <a:lnTo>
                      <a:pt x="133" y="19"/>
                    </a:lnTo>
                    <a:lnTo>
                      <a:pt x="134" y="19"/>
                    </a:lnTo>
                    <a:lnTo>
                      <a:pt x="134" y="18"/>
                    </a:lnTo>
                    <a:lnTo>
                      <a:pt x="134" y="18"/>
                    </a:lnTo>
                    <a:lnTo>
                      <a:pt x="133" y="19"/>
                    </a:lnTo>
                    <a:lnTo>
                      <a:pt x="134" y="19"/>
                    </a:lnTo>
                    <a:lnTo>
                      <a:pt x="134" y="18"/>
                    </a:lnTo>
                    <a:lnTo>
                      <a:pt x="134" y="19"/>
                    </a:lnTo>
                    <a:lnTo>
                      <a:pt x="134" y="18"/>
                    </a:lnTo>
                    <a:lnTo>
                      <a:pt x="134" y="18"/>
                    </a:lnTo>
                    <a:lnTo>
                      <a:pt x="134" y="19"/>
                    </a:lnTo>
                    <a:lnTo>
                      <a:pt x="134" y="18"/>
                    </a:lnTo>
                    <a:lnTo>
                      <a:pt x="133" y="18"/>
                    </a:lnTo>
                    <a:lnTo>
                      <a:pt x="133" y="18"/>
                    </a:lnTo>
                    <a:lnTo>
                      <a:pt x="132" y="18"/>
                    </a:lnTo>
                    <a:lnTo>
                      <a:pt x="132" y="18"/>
                    </a:lnTo>
                    <a:lnTo>
                      <a:pt x="130" y="19"/>
                    </a:lnTo>
                    <a:lnTo>
                      <a:pt x="130" y="19"/>
                    </a:lnTo>
                    <a:lnTo>
                      <a:pt x="129" y="22"/>
                    </a:lnTo>
                    <a:lnTo>
                      <a:pt x="129" y="22"/>
                    </a:lnTo>
                    <a:lnTo>
                      <a:pt x="130" y="25"/>
                    </a:lnTo>
                    <a:lnTo>
                      <a:pt x="130" y="25"/>
                    </a:lnTo>
                    <a:lnTo>
                      <a:pt x="132" y="27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3" y="29"/>
                    </a:lnTo>
                    <a:lnTo>
                      <a:pt x="133" y="29"/>
                    </a:lnTo>
                    <a:lnTo>
                      <a:pt x="134" y="31"/>
                    </a:lnTo>
                    <a:lnTo>
                      <a:pt x="134" y="31"/>
                    </a:lnTo>
                    <a:lnTo>
                      <a:pt x="137" y="32"/>
                    </a:lnTo>
                    <a:lnTo>
                      <a:pt x="137" y="32"/>
                    </a:lnTo>
                    <a:lnTo>
                      <a:pt x="139" y="32"/>
                    </a:lnTo>
                    <a:lnTo>
                      <a:pt x="139" y="32"/>
                    </a:lnTo>
                    <a:lnTo>
                      <a:pt x="143" y="34"/>
                    </a:lnTo>
                    <a:lnTo>
                      <a:pt x="143" y="34"/>
                    </a:lnTo>
                    <a:lnTo>
                      <a:pt x="143" y="34"/>
                    </a:lnTo>
                    <a:lnTo>
                      <a:pt x="143" y="32"/>
                    </a:lnTo>
                    <a:lnTo>
                      <a:pt x="143" y="34"/>
                    </a:lnTo>
                    <a:lnTo>
                      <a:pt x="143" y="34"/>
                    </a:lnTo>
                    <a:lnTo>
                      <a:pt x="143" y="32"/>
                    </a:lnTo>
                    <a:lnTo>
                      <a:pt x="143" y="34"/>
                    </a:lnTo>
                    <a:lnTo>
                      <a:pt x="145" y="32"/>
                    </a:lnTo>
                    <a:lnTo>
                      <a:pt x="143" y="32"/>
                    </a:lnTo>
                    <a:lnTo>
                      <a:pt x="143" y="34"/>
                    </a:lnTo>
                    <a:lnTo>
                      <a:pt x="145" y="32"/>
                    </a:lnTo>
                    <a:lnTo>
                      <a:pt x="143" y="32"/>
                    </a:lnTo>
                    <a:lnTo>
                      <a:pt x="143" y="32"/>
                    </a:lnTo>
                    <a:lnTo>
                      <a:pt x="143" y="40"/>
                    </a:lnTo>
                    <a:lnTo>
                      <a:pt x="143" y="40"/>
                    </a:lnTo>
                    <a:lnTo>
                      <a:pt x="143" y="44"/>
                    </a:lnTo>
                    <a:lnTo>
                      <a:pt x="143" y="44"/>
                    </a:lnTo>
                    <a:lnTo>
                      <a:pt x="143" y="45"/>
                    </a:lnTo>
                    <a:lnTo>
                      <a:pt x="143" y="45"/>
                    </a:lnTo>
                    <a:lnTo>
                      <a:pt x="143" y="45"/>
                    </a:lnTo>
                    <a:lnTo>
                      <a:pt x="143" y="45"/>
                    </a:lnTo>
                    <a:lnTo>
                      <a:pt x="143" y="45"/>
                    </a:lnTo>
                    <a:lnTo>
                      <a:pt x="143" y="45"/>
                    </a:lnTo>
                    <a:lnTo>
                      <a:pt x="143" y="47"/>
                    </a:lnTo>
                    <a:lnTo>
                      <a:pt x="143" y="45"/>
                    </a:lnTo>
                    <a:lnTo>
                      <a:pt x="143" y="45"/>
                    </a:lnTo>
                    <a:lnTo>
                      <a:pt x="143" y="47"/>
                    </a:lnTo>
                    <a:lnTo>
                      <a:pt x="143" y="45"/>
                    </a:lnTo>
                    <a:lnTo>
                      <a:pt x="143" y="45"/>
                    </a:lnTo>
                    <a:lnTo>
                      <a:pt x="143" y="45"/>
                    </a:lnTo>
                    <a:lnTo>
                      <a:pt x="143" y="45"/>
                    </a:lnTo>
                    <a:lnTo>
                      <a:pt x="143" y="45"/>
                    </a:lnTo>
                    <a:lnTo>
                      <a:pt x="143" y="45"/>
                    </a:lnTo>
                    <a:lnTo>
                      <a:pt x="143" y="48"/>
                    </a:lnTo>
                    <a:lnTo>
                      <a:pt x="142" y="50"/>
                    </a:lnTo>
                    <a:lnTo>
                      <a:pt x="142" y="50"/>
                    </a:lnTo>
                    <a:lnTo>
                      <a:pt x="143" y="50"/>
                    </a:lnTo>
                    <a:lnTo>
                      <a:pt x="143" y="50"/>
                    </a:lnTo>
                    <a:lnTo>
                      <a:pt x="145" y="50"/>
                    </a:lnTo>
                    <a:lnTo>
                      <a:pt x="145" y="50"/>
                    </a:lnTo>
                    <a:lnTo>
                      <a:pt x="147" y="47"/>
                    </a:lnTo>
                    <a:lnTo>
                      <a:pt x="147" y="47"/>
                    </a:lnTo>
                    <a:lnTo>
                      <a:pt x="147" y="44"/>
                    </a:lnTo>
                    <a:lnTo>
                      <a:pt x="147" y="44"/>
                    </a:lnTo>
                    <a:lnTo>
                      <a:pt x="149" y="40"/>
                    </a:lnTo>
                    <a:lnTo>
                      <a:pt x="149" y="40"/>
                    </a:lnTo>
                    <a:lnTo>
                      <a:pt x="147" y="32"/>
                    </a:lnTo>
                    <a:lnTo>
                      <a:pt x="147" y="32"/>
                    </a:lnTo>
                    <a:lnTo>
                      <a:pt x="147" y="31"/>
                    </a:lnTo>
                    <a:lnTo>
                      <a:pt x="146" y="29"/>
                    </a:lnTo>
                    <a:lnTo>
                      <a:pt x="146" y="29"/>
                    </a:lnTo>
                    <a:lnTo>
                      <a:pt x="143" y="28"/>
                    </a:lnTo>
                    <a:lnTo>
                      <a:pt x="143" y="28"/>
                    </a:lnTo>
                    <a:lnTo>
                      <a:pt x="139" y="28"/>
                    </a:lnTo>
                    <a:lnTo>
                      <a:pt x="139" y="28"/>
                    </a:lnTo>
                    <a:lnTo>
                      <a:pt x="137" y="28"/>
                    </a:lnTo>
                    <a:lnTo>
                      <a:pt x="137" y="29"/>
                    </a:lnTo>
                    <a:lnTo>
                      <a:pt x="139" y="28"/>
                    </a:lnTo>
                    <a:lnTo>
                      <a:pt x="137" y="28"/>
                    </a:lnTo>
                    <a:lnTo>
                      <a:pt x="137" y="29"/>
                    </a:lnTo>
                    <a:lnTo>
                      <a:pt x="139" y="28"/>
                    </a:lnTo>
                    <a:lnTo>
                      <a:pt x="137" y="29"/>
                    </a:lnTo>
                    <a:lnTo>
                      <a:pt x="139" y="28"/>
                    </a:lnTo>
                    <a:lnTo>
                      <a:pt x="139" y="28"/>
                    </a:lnTo>
                    <a:lnTo>
                      <a:pt x="137" y="29"/>
                    </a:lnTo>
                    <a:lnTo>
                      <a:pt x="139" y="28"/>
                    </a:lnTo>
                    <a:lnTo>
                      <a:pt x="137" y="28"/>
                    </a:lnTo>
                    <a:lnTo>
                      <a:pt x="139" y="28"/>
                    </a:lnTo>
                    <a:lnTo>
                      <a:pt x="139" y="28"/>
                    </a:lnTo>
                    <a:lnTo>
                      <a:pt x="137" y="28"/>
                    </a:lnTo>
                    <a:lnTo>
                      <a:pt x="139" y="28"/>
                    </a:lnTo>
                    <a:lnTo>
                      <a:pt x="139" y="28"/>
                    </a:lnTo>
                    <a:lnTo>
                      <a:pt x="137" y="27"/>
                    </a:lnTo>
                    <a:lnTo>
                      <a:pt x="137" y="27"/>
                    </a:lnTo>
                    <a:lnTo>
                      <a:pt x="136" y="24"/>
                    </a:lnTo>
                    <a:lnTo>
                      <a:pt x="133" y="22"/>
                    </a:lnTo>
                    <a:lnTo>
                      <a:pt x="133" y="22"/>
                    </a:lnTo>
                    <a:lnTo>
                      <a:pt x="133" y="22"/>
                    </a:lnTo>
                    <a:lnTo>
                      <a:pt x="133" y="22"/>
                    </a:lnTo>
                    <a:lnTo>
                      <a:pt x="133" y="22"/>
                    </a:lnTo>
                    <a:lnTo>
                      <a:pt x="133" y="22"/>
                    </a:lnTo>
                    <a:lnTo>
                      <a:pt x="133" y="22"/>
                    </a:lnTo>
                    <a:lnTo>
                      <a:pt x="133" y="22"/>
                    </a:lnTo>
                    <a:lnTo>
                      <a:pt x="133" y="22"/>
                    </a:lnTo>
                    <a:lnTo>
                      <a:pt x="133" y="22"/>
                    </a:lnTo>
                    <a:lnTo>
                      <a:pt x="133" y="22"/>
                    </a:lnTo>
                    <a:lnTo>
                      <a:pt x="133" y="22"/>
                    </a:lnTo>
                    <a:lnTo>
                      <a:pt x="133" y="22"/>
                    </a:lnTo>
                    <a:lnTo>
                      <a:pt x="133" y="24"/>
                    </a:lnTo>
                    <a:lnTo>
                      <a:pt x="133" y="22"/>
                    </a:lnTo>
                    <a:lnTo>
                      <a:pt x="133" y="22"/>
                    </a:lnTo>
                    <a:lnTo>
                      <a:pt x="133" y="24"/>
                    </a:lnTo>
                    <a:lnTo>
                      <a:pt x="133" y="24"/>
                    </a:lnTo>
                    <a:lnTo>
                      <a:pt x="134" y="24"/>
                    </a:lnTo>
                    <a:lnTo>
                      <a:pt x="134" y="24"/>
                    </a:lnTo>
                    <a:lnTo>
                      <a:pt x="133" y="22"/>
                    </a:lnTo>
                    <a:lnTo>
                      <a:pt x="133" y="24"/>
                    </a:lnTo>
                    <a:lnTo>
                      <a:pt x="134" y="24"/>
                    </a:lnTo>
                    <a:lnTo>
                      <a:pt x="133" y="22"/>
                    </a:lnTo>
                    <a:lnTo>
                      <a:pt x="133" y="24"/>
                    </a:lnTo>
                    <a:lnTo>
                      <a:pt x="133" y="24"/>
                    </a:lnTo>
                    <a:lnTo>
                      <a:pt x="136" y="22"/>
                    </a:lnTo>
                    <a:lnTo>
                      <a:pt x="136" y="22"/>
                    </a:lnTo>
                    <a:lnTo>
                      <a:pt x="137" y="22"/>
                    </a:lnTo>
                    <a:lnTo>
                      <a:pt x="137" y="22"/>
                    </a:lnTo>
                    <a:lnTo>
                      <a:pt x="139" y="19"/>
                    </a:lnTo>
                    <a:lnTo>
                      <a:pt x="139" y="19"/>
                    </a:lnTo>
                    <a:lnTo>
                      <a:pt x="137" y="16"/>
                    </a:lnTo>
                    <a:lnTo>
                      <a:pt x="137" y="16"/>
                    </a:lnTo>
                    <a:lnTo>
                      <a:pt x="136" y="15"/>
                    </a:lnTo>
                    <a:lnTo>
                      <a:pt x="136" y="15"/>
                    </a:lnTo>
                    <a:lnTo>
                      <a:pt x="133" y="15"/>
                    </a:lnTo>
                    <a:lnTo>
                      <a:pt x="133" y="15"/>
                    </a:lnTo>
                    <a:lnTo>
                      <a:pt x="117" y="13"/>
                    </a:lnTo>
                    <a:lnTo>
                      <a:pt x="117" y="13"/>
                    </a:lnTo>
                    <a:lnTo>
                      <a:pt x="110" y="13"/>
                    </a:lnTo>
                    <a:lnTo>
                      <a:pt x="110" y="13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97" y="9"/>
                    </a:lnTo>
                    <a:lnTo>
                      <a:pt x="97" y="9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88" y="9"/>
                    </a:lnTo>
                    <a:lnTo>
                      <a:pt x="88" y="9"/>
                    </a:lnTo>
                    <a:lnTo>
                      <a:pt x="84" y="9"/>
                    </a:lnTo>
                    <a:lnTo>
                      <a:pt x="79" y="11"/>
                    </a:lnTo>
                    <a:lnTo>
                      <a:pt x="79" y="11"/>
                    </a:lnTo>
                    <a:lnTo>
                      <a:pt x="76" y="12"/>
                    </a:lnTo>
                    <a:lnTo>
                      <a:pt x="74" y="13"/>
                    </a:lnTo>
                    <a:lnTo>
                      <a:pt x="74" y="13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58" y="13"/>
                    </a:lnTo>
                    <a:lnTo>
                      <a:pt x="58" y="13"/>
                    </a:lnTo>
                    <a:lnTo>
                      <a:pt x="56" y="13"/>
                    </a:lnTo>
                    <a:lnTo>
                      <a:pt x="56" y="13"/>
                    </a:lnTo>
                    <a:lnTo>
                      <a:pt x="53" y="12"/>
                    </a:lnTo>
                    <a:lnTo>
                      <a:pt x="53" y="12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39" y="2"/>
                    </a:lnTo>
                    <a:lnTo>
                      <a:pt x="39" y="2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3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7" y="3"/>
                    </a:lnTo>
                    <a:lnTo>
                      <a:pt x="27" y="3"/>
                    </a:lnTo>
                    <a:lnTo>
                      <a:pt x="19" y="3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1" y="13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1" y="21"/>
                    </a:lnTo>
                    <a:lnTo>
                      <a:pt x="1" y="21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1" y="22"/>
                    </a:lnTo>
                    <a:lnTo>
                      <a:pt x="11" y="22"/>
                    </a:lnTo>
                    <a:lnTo>
                      <a:pt x="17" y="24"/>
                    </a:lnTo>
                    <a:lnTo>
                      <a:pt x="17" y="24"/>
                    </a:lnTo>
                    <a:lnTo>
                      <a:pt x="19" y="24"/>
                    </a:lnTo>
                    <a:lnTo>
                      <a:pt x="20" y="22"/>
                    </a:lnTo>
                    <a:lnTo>
                      <a:pt x="19" y="24"/>
                    </a:lnTo>
                    <a:lnTo>
                      <a:pt x="19" y="24"/>
                    </a:lnTo>
                    <a:lnTo>
                      <a:pt x="20" y="22"/>
                    </a:lnTo>
                    <a:lnTo>
                      <a:pt x="19" y="24"/>
                    </a:lnTo>
                    <a:lnTo>
                      <a:pt x="20" y="22"/>
                    </a:lnTo>
                    <a:lnTo>
                      <a:pt x="19" y="22"/>
                    </a:lnTo>
                    <a:lnTo>
                      <a:pt x="19" y="22"/>
                    </a:lnTo>
                    <a:lnTo>
                      <a:pt x="19" y="24"/>
                    </a:lnTo>
                    <a:lnTo>
                      <a:pt x="20" y="22"/>
                    </a:lnTo>
                    <a:lnTo>
                      <a:pt x="19" y="22"/>
                    </a:lnTo>
                    <a:lnTo>
                      <a:pt x="20" y="22"/>
                    </a:lnTo>
                    <a:lnTo>
                      <a:pt x="19" y="21"/>
                    </a:lnTo>
                    <a:lnTo>
                      <a:pt x="19" y="21"/>
                    </a:lnTo>
                    <a:lnTo>
                      <a:pt x="19" y="22"/>
                    </a:lnTo>
                    <a:lnTo>
                      <a:pt x="20" y="22"/>
                    </a:lnTo>
                    <a:lnTo>
                      <a:pt x="19" y="21"/>
                    </a:lnTo>
                    <a:lnTo>
                      <a:pt x="20" y="21"/>
                    </a:lnTo>
                    <a:lnTo>
                      <a:pt x="19" y="21"/>
                    </a:lnTo>
                    <a:lnTo>
                      <a:pt x="19" y="21"/>
                    </a:lnTo>
                    <a:lnTo>
                      <a:pt x="20" y="21"/>
                    </a:lnTo>
                    <a:lnTo>
                      <a:pt x="19" y="21"/>
                    </a:lnTo>
                    <a:lnTo>
                      <a:pt x="19" y="21"/>
                    </a:lnTo>
                    <a:lnTo>
                      <a:pt x="19" y="21"/>
                    </a:lnTo>
                    <a:lnTo>
                      <a:pt x="19" y="21"/>
                    </a:lnTo>
                    <a:lnTo>
                      <a:pt x="19" y="21"/>
                    </a:lnTo>
                    <a:lnTo>
                      <a:pt x="19" y="21"/>
                    </a:lnTo>
                    <a:lnTo>
                      <a:pt x="19" y="21"/>
                    </a:lnTo>
                    <a:lnTo>
                      <a:pt x="17" y="21"/>
                    </a:lnTo>
                    <a:lnTo>
                      <a:pt x="17" y="21"/>
                    </a:lnTo>
                    <a:lnTo>
                      <a:pt x="14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1" y="25"/>
                    </a:lnTo>
                    <a:lnTo>
                      <a:pt x="11" y="25"/>
                    </a:lnTo>
                    <a:lnTo>
                      <a:pt x="13" y="28"/>
                    </a:lnTo>
                    <a:lnTo>
                      <a:pt x="13" y="28"/>
                    </a:lnTo>
                    <a:lnTo>
                      <a:pt x="16" y="29"/>
                    </a:lnTo>
                    <a:lnTo>
                      <a:pt x="16" y="29"/>
                    </a:lnTo>
                    <a:lnTo>
                      <a:pt x="26" y="31"/>
                    </a:lnTo>
                    <a:lnTo>
                      <a:pt x="26" y="31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9" y="34"/>
                    </a:lnTo>
                    <a:lnTo>
                      <a:pt x="66" y="35"/>
                    </a:lnTo>
                    <a:lnTo>
                      <a:pt x="66" y="35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85" y="42"/>
                    </a:lnTo>
                    <a:lnTo>
                      <a:pt x="85" y="42"/>
                    </a:lnTo>
                    <a:lnTo>
                      <a:pt x="92" y="44"/>
                    </a:lnTo>
                    <a:lnTo>
                      <a:pt x="101" y="44"/>
                    </a:lnTo>
                    <a:lnTo>
                      <a:pt x="101" y="44"/>
                    </a:lnTo>
                    <a:lnTo>
                      <a:pt x="126" y="44"/>
                    </a:lnTo>
                    <a:lnTo>
                      <a:pt x="126" y="44"/>
                    </a:lnTo>
                    <a:lnTo>
                      <a:pt x="130" y="44"/>
                    </a:lnTo>
                    <a:lnTo>
                      <a:pt x="130" y="44"/>
                    </a:lnTo>
                    <a:lnTo>
                      <a:pt x="134" y="45"/>
                    </a:lnTo>
                    <a:lnTo>
                      <a:pt x="134" y="45"/>
                    </a:lnTo>
                    <a:lnTo>
                      <a:pt x="142" y="50"/>
                    </a:lnTo>
                    <a:lnTo>
                      <a:pt x="143" y="4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24" name="Freeform 1277"/>
              <p:cNvSpPr>
                <a:spLocks/>
              </p:cNvSpPr>
              <p:nvPr/>
            </p:nvSpPr>
            <p:spPr bwMode="auto">
              <a:xfrm>
                <a:off x="6232966" y="3455635"/>
                <a:ext cx="12860" cy="4946"/>
              </a:xfrm>
              <a:custGeom>
                <a:avLst/>
                <a:gdLst>
                  <a:gd name="T0" fmla="*/ 10 w 13"/>
                  <a:gd name="T1" fmla="*/ 5 h 5"/>
                  <a:gd name="T2" fmla="*/ 10 w 13"/>
                  <a:gd name="T3" fmla="*/ 5 h 5"/>
                  <a:gd name="T4" fmla="*/ 5 w 13"/>
                  <a:gd name="T5" fmla="*/ 5 h 5"/>
                  <a:gd name="T6" fmla="*/ 2 w 13"/>
                  <a:gd name="T7" fmla="*/ 4 h 5"/>
                  <a:gd name="T8" fmla="*/ 0 w 13"/>
                  <a:gd name="T9" fmla="*/ 3 h 5"/>
                  <a:gd name="T10" fmla="*/ 3 w 13"/>
                  <a:gd name="T11" fmla="*/ 1 h 5"/>
                  <a:gd name="T12" fmla="*/ 3 w 13"/>
                  <a:gd name="T13" fmla="*/ 1 h 5"/>
                  <a:gd name="T14" fmla="*/ 9 w 13"/>
                  <a:gd name="T15" fmla="*/ 0 h 5"/>
                  <a:gd name="T16" fmla="*/ 12 w 13"/>
                  <a:gd name="T17" fmla="*/ 1 h 5"/>
                  <a:gd name="T18" fmla="*/ 13 w 13"/>
                  <a:gd name="T19" fmla="*/ 1 h 5"/>
                  <a:gd name="T20" fmla="*/ 13 w 13"/>
                  <a:gd name="T21" fmla="*/ 1 h 5"/>
                  <a:gd name="T22" fmla="*/ 13 w 13"/>
                  <a:gd name="T23" fmla="*/ 4 h 5"/>
                  <a:gd name="T24" fmla="*/ 12 w 13"/>
                  <a:gd name="T25" fmla="*/ 5 h 5"/>
                  <a:gd name="T26" fmla="*/ 10 w 13"/>
                  <a:gd name="T2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5">
                    <a:moveTo>
                      <a:pt x="10" y="5"/>
                    </a:moveTo>
                    <a:lnTo>
                      <a:pt x="10" y="5"/>
                    </a:lnTo>
                    <a:lnTo>
                      <a:pt x="5" y="5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9" y="0"/>
                    </a:lnTo>
                    <a:lnTo>
                      <a:pt x="12" y="1"/>
                    </a:lnTo>
                    <a:lnTo>
                      <a:pt x="13" y="1"/>
                    </a:lnTo>
                    <a:lnTo>
                      <a:pt x="13" y="1"/>
                    </a:lnTo>
                    <a:lnTo>
                      <a:pt x="13" y="4"/>
                    </a:lnTo>
                    <a:lnTo>
                      <a:pt x="12" y="5"/>
                    </a:lnTo>
                    <a:lnTo>
                      <a:pt x="10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25" name="Freeform 1278"/>
              <p:cNvSpPr>
                <a:spLocks/>
              </p:cNvSpPr>
              <p:nvPr/>
            </p:nvSpPr>
            <p:spPr bwMode="auto">
              <a:xfrm>
                <a:off x="6232966" y="3455635"/>
                <a:ext cx="12860" cy="4946"/>
              </a:xfrm>
              <a:custGeom>
                <a:avLst/>
                <a:gdLst>
                  <a:gd name="T0" fmla="*/ 10 w 13"/>
                  <a:gd name="T1" fmla="*/ 5 h 5"/>
                  <a:gd name="T2" fmla="*/ 10 w 13"/>
                  <a:gd name="T3" fmla="*/ 5 h 5"/>
                  <a:gd name="T4" fmla="*/ 5 w 13"/>
                  <a:gd name="T5" fmla="*/ 5 h 5"/>
                  <a:gd name="T6" fmla="*/ 2 w 13"/>
                  <a:gd name="T7" fmla="*/ 4 h 5"/>
                  <a:gd name="T8" fmla="*/ 0 w 13"/>
                  <a:gd name="T9" fmla="*/ 3 h 5"/>
                  <a:gd name="T10" fmla="*/ 3 w 13"/>
                  <a:gd name="T11" fmla="*/ 1 h 5"/>
                  <a:gd name="T12" fmla="*/ 3 w 13"/>
                  <a:gd name="T13" fmla="*/ 1 h 5"/>
                  <a:gd name="T14" fmla="*/ 9 w 13"/>
                  <a:gd name="T15" fmla="*/ 0 h 5"/>
                  <a:gd name="T16" fmla="*/ 12 w 13"/>
                  <a:gd name="T17" fmla="*/ 1 h 5"/>
                  <a:gd name="T18" fmla="*/ 13 w 13"/>
                  <a:gd name="T19" fmla="*/ 1 h 5"/>
                  <a:gd name="T20" fmla="*/ 13 w 13"/>
                  <a:gd name="T21" fmla="*/ 1 h 5"/>
                  <a:gd name="T22" fmla="*/ 13 w 13"/>
                  <a:gd name="T23" fmla="*/ 4 h 5"/>
                  <a:gd name="T24" fmla="*/ 12 w 13"/>
                  <a:gd name="T25" fmla="*/ 5 h 5"/>
                  <a:gd name="T26" fmla="*/ 10 w 13"/>
                  <a:gd name="T2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5">
                    <a:moveTo>
                      <a:pt x="10" y="5"/>
                    </a:moveTo>
                    <a:lnTo>
                      <a:pt x="10" y="5"/>
                    </a:lnTo>
                    <a:lnTo>
                      <a:pt x="5" y="5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9" y="0"/>
                    </a:lnTo>
                    <a:lnTo>
                      <a:pt x="12" y="1"/>
                    </a:lnTo>
                    <a:lnTo>
                      <a:pt x="13" y="1"/>
                    </a:lnTo>
                    <a:lnTo>
                      <a:pt x="13" y="1"/>
                    </a:lnTo>
                    <a:lnTo>
                      <a:pt x="13" y="4"/>
                    </a:lnTo>
                    <a:lnTo>
                      <a:pt x="12" y="5"/>
                    </a:lnTo>
                    <a:lnTo>
                      <a:pt x="10" y="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26" name="Freeform 1279"/>
              <p:cNvSpPr>
                <a:spLocks/>
              </p:cNvSpPr>
              <p:nvPr/>
            </p:nvSpPr>
            <p:spPr bwMode="auto">
              <a:xfrm>
                <a:off x="6269569" y="3460581"/>
                <a:ext cx="13850" cy="7914"/>
              </a:xfrm>
              <a:custGeom>
                <a:avLst/>
                <a:gdLst>
                  <a:gd name="T0" fmla="*/ 11 w 14"/>
                  <a:gd name="T1" fmla="*/ 8 h 8"/>
                  <a:gd name="T2" fmla="*/ 11 w 14"/>
                  <a:gd name="T3" fmla="*/ 8 h 8"/>
                  <a:gd name="T4" fmla="*/ 4 w 14"/>
                  <a:gd name="T5" fmla="*/ 6 h 8"/>
                  <a:gd name="T6" fmla="*/ 0 w 14"/>
                  <a:gd name="T7" fmla="*/ 6 h 8"/>
                  <a:gd name="T8" fmla="*/ 0 w 14"/>
                  <a:gd name="T9" fmla="*/ 5 h 8"/>
                  <a:gd name="T10" fmla="*/ 1 w 14"/>
                  <a:gd name="T11" fmla="*/ 5 h 8"/>
                  <a:gd name="T12" fmla="*/ 1 w 14"/>
                  <a:gd name="T13" fmla="*/ 5 h 8"/>
                  <a:gd name="T14" fmla="*/ 4 w 14"/>
                  <a:gd name="T15" fmla="*/ 0 h 8"/>
                  <a:gd name="T16" fmla="*/ 7 w 14"/>
                  <a:gd name="T17" fmla="*/ 0 h 8"/>
                  <a:gd name="T18" fmla="*/ 10 w 14"/>
                  <a:gd name="T19" fmla="*/ 0 h 8"/>
                  <a:gd name="T20" fmla="*/ 10 w 14"/>
                  <a:gd name="T21" fmla="*/ 0 h 8"/>
                  <a:gd name="T22" fmla="*/ 13 w 14"/>
                  <a:gd name="T23" fmla="*/ 2 h 8"/>
                  <a:gd name="T24" fmla="*/ 14 w 14"/>
                  <a:gd name="T25" fmla="*/ 5 h 8"/>
                  <a:gd name="T26" fmla="*/ 14 w 14"/>
                  <a:gd name="T27" fmla="*/ 6 h 8"/>
                  <a:gd name="T28" fmla="*/ 11 w 14"/>
                  <a:gd name="T2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8">
                    <a:moveTo>
                      <a:pt x="11" y="8"/>
                    </a:moveTo>
                    <a:lnTo>
                      <a:pt x="11" y="8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3" y="2"/>
                    </a:lnTo>
                    <a:lnTo>
                      <a:pt x="14" y="5"/>
                    </a:lnTo>
                    <a:lnTo>
                      <a:pt x="14" y="6"/>
                    </a:lnTo>
                    <a:lnTo>
                      <a:pt x="11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27" name="Freeform 1280"/>
              <p:cNvSpPr>
                <a:spLocks/>
              </p:cNvSpPr>
              <p:nvPr/>
            </p:nvSpPr>
            <p:spPr bwMode="auto">
              <a:xfrm>
                <a:off x="6269569" y="3460581"/>
                <a:ext cx="13850" cy="7914"/>
              </a:xfrm>
              <a:custGeom>
                <a:avLst/>
                <a:gdLst>
                  <a:gd name="T0" fmla="*/ 11 w 14"/>
                  <a:gd name="T1" fmla="*/ 8 h 8"/>
                  <a:gd name="T2" fmla="*/ 11 w 14"/>
                  <a:gd name="T3" fmla="*/ 8 h 8"/>
                  <a:gd name="T4" fmla="*/ 4 w 14"/>
                  <a:gd name="T5" fmla="*/ 6 h 8"/>
                  <a:gd name="T6" fmla="*/ 0 w 14"/>
                  <a:gd name="T7" fmla="*/ 6 h 8"/>
                  <a:gd name="T8" fmla="*/ 0 w 14"/>
                  <a:gd name="T9" fmla="*/ 5 h 8"/>
                  <a:gd name="T10" fmla="*/ 1 w 14"/>
                  <a:gd name="T11" fmla="*/ 5 h 8"/>
                  <a:gd name="T12" fmla="*/ 1 w 14"/>
                  <a:gd name="T13" fmla="*/ 5 h 8"/>
                  <a:gd name="T14" fmla="*/ 4 w 14"/>
                  <a:gd name="T15" fmla="*/ 0 h 8"/>
                  <a:gd name="T16" fmla="*/ 7 w 14"/>
                  <a:gd name="T17" fmla="*/ 0 h 8"/>
                  <a:gd name="T18" fmla="*/ 10 w 14"/>
                  <a:gd name="T19" fmla="*/ 0 h 8"/>
                  <a:gd name="T20" fmla="*/ 10 w 14"/>
                  <a:gd name="T21" fmla="*/ 0 h 8"/>
                  <a:gd name="T22" fmla="*/ 13 w 14"/>
                  <a:gd name="T23" fmla="*/ 2 h 8"/>
                  <a:gd name="T24" fmla="*/ 14 w 14"/>
                  <a:gd name="T25" fmla="*/ 5 h 8"/>
                  <a:gd name="T26" fmla="*/ 14 w 14"/>
                  <a:gd name="T27" fmla="*/ 6 h 8"/>
                  <a:gd name="T28" fmla="*/ 11 w 14"/>
                  <a:gd name="T2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8">
                    <a:moveTo>
                      <a:pt x="11" y="8"/>
                    </a:moveTo>
                    <a:lnTo>
                      <a:pt x="11" y="8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3" y="2"/>
                    </a:lnTo>
                    <a:lnTo>
                      <a:pt x="14" y="5"/>
                    </a:lnTo>
                    <a:lnTo>
                      <a:pt x="14" y="6"/>
                    </a:lnTo>
                    <a:lnTo>
                      <a:pt x="11" y="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28" name="Freeform 1281"/>
              <p:cNvSpPr>
                <a:spLocks/>
              </p:cNvSpPr>
              <p:nvPr/>
            </p:nvSpPr>
            <p:spPr bwMode="auto">
              <a:xfrm>
                <a:off x="6306172" y="3473441"/>
                <a:ext cx="25721" cy="17807"/>
              </a:xfrm>
              <a:custGeom>
                <a:avLst/>
                <a:gdLst>
                  <a:gd name="T0" fmla="*/ 22 w 26"/>
                  <a:gd name="T1" fmla="*/ 18 h 18"/>
                  <a:gd name="T2" fmla="*/ 22 w 26"/>
                  <a:gd name="T3" fmla="*/ 18 h 18"/>
                  <a:gd name="T4" fmla="*/ 16 w 26"/>
                  <a:gd name="T5" fmla="*/ 15 h 18"/>
                  <a:gd name="T6" fmla="*/ 12 w 26"/>
                  <a:gd name="T7" fmla="*/ 12 h 18"/>
                  <a:gd name="T8" fmla="*/ 7 w 26"/>
                  <a:gd name="T9" fmla="*/ 8 h 18"/>
                  <a:gd name="T10" fmla="*/ 3 w 26"/>
                  <a:gd name="T11" fmla="*/ 5 h 18"/>
                  <a:gd name="T12" fmla="*/ 3 w 26"/>
                  <a:gd name="T13" fmla="*/ 5 h 18"/>
                  <a:gd name="T14" fmla="*/ 0 w 26"/>
                  <a:gd name="T15" fmla="*/ 3 h 18"/>
                  <a:gd name="T16" fmla="*/ 0 w 26"/>
                  <a:gd name="T17" fmla="*/ 0 h 18"/>
                  <a:gd name="T18" fmla="*/ 3 w 26"/>
                  <a:gd name="T19" fmla="*/ 0 h 18"/>
                  <a:gd name="T20" fmla="*/ 9 w 26"/>
                  <a:gd name="T21" fmla="*/ 0 h 18"/>
                  <a:gd name="T22" fmla="*/ 9 w 26"/>
                  <a:gd name="T23" fmla="*/ 0 h 18"/>
                  <a:gd name="T24" fmla="*/ 13 w 26"/>
                  <a:gd name="T25" fmla="*/ 3 h 18"/>
                  <a:gd name="T26" fmla="*/ 20 w 26"/>
                  <a:gd name="T27" fmla="*/ 8 h 18"/>
                  <a:gd name="T28" fmla="*/ 26 w 26"/>
                  <a:gd name="T29" fmla="*/ 14 h 18"/>
                  <a:gd name="T30" fmla="*/ 26 w 26"/>
                  <a:gd name="T31" fmla="*/ 14 h 18"/>
                  <a:gd name="T32" fmla="*/ 26 w 26"/>
                  <a:gd name="T33" fmla="*/ 16 h 18"/>
                  <a:gd name="T34" fmla="*/ 25 w 26"/>
                  <a:gd name="T35" fmla="*/ 18 h 18"/>
                  <a:gd name="T36" fmla="*/ 22 w 26"/>
                  <a:gd name="T3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18">
                    <a:moveTo>
                      <a:pt x="22" y="18"/>
                    </a:moveTo>
                    <a:lnTo>
                      <a:pt x="22" y="18"/>
                    </a:lnTo>
                    <a:lnTo>
                      <a:pt x="16" y="15"/>
                    </a:lnTo>
                    <a:lnTo>
                      <a:pt x="12" y="12"/>
                    </a:lnTo>
                    <a:lnTo>
                      <a:pt x="7" y="8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3"/>
                    </a:lnTo>
                    <a:lnTo>
                      <a:pt x="20" y="8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6"/>
                    </a:lnTo>
                    <a:lnTo>
                      <a:pt x="25" y="18"/>
                    </a:lnTo>
                    <a:lnTo>
                      <a:pt x="22" y="1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29" name="Freeform 1282"/>
              <p:cNvSpPr>
                <a:spLocks/>
              </p:cNvSpPr>
              <p:nvPr/>
            </p:nvSpPr>
            <p:spPr bwMode="auto">
              <a:xfrm>
                <a:off x="6306172" y="3473441"/>
                <a:ext cx="25721" cy="17807"/>
              </a:xfrm>
              <a:custGeom>
                <a:avLst/>
                <a:gdLst>
                  <a:gd name="T0" fmla="*/ 22 w 26"/>
                  <a:gd name="T1" fmla="*/ 18 h 18"/>
                  <a:gd name="T2" fmla="*/ 22 w 26"/>
                  <a:gd name="T3" fmla="*/ 18 h 18"/>
                  <a:gd name="T4" fmla="*/ 16 w 26"/>
                  <a:gd name="T5" fmla="*/ 15 h 18"/>
                  <a:gd name="T6" fmla="*/ 12 w 26"/>
                  <a:gd name="T7" fmla="*/ 12 h 18"/>
                  <a:gd name="T8" fmla="*/ 7 w 26"/>
                  <a:gd name="T9" fmla="*/ 8 h 18"/>
                  <a:gd name="T10" fmla="*/ 3 w 26"/>
                  <a:gd name="T11" fmla="*/ 5 h 18"/>
                  <a:gd name="T12" fmla="*/ 3 w 26"/>
                  <a:gd name="T13" fmla="*/ 5 h 18"/>
                  <a:gd name="T14" fmla="*/ 0 w 26"/>
                  <a:gd name="T15" fmla="*/ 3 h 18"/>
                  <a:gd name="T16" fmla="*/ 0 w 26"/>
                  <a:gd name="T17" fmla="*/ 0 h 18"/>
                  <a:gd name="T18" fmla="*/ 3 w 26"/>
                  <a:gd name="T19" fmla="*/ 0 h 18"/>
                  <a:gd name="T20" fmla="*/ 9 w 26"/>
                  <a:gd name="T21" fmla="*/ 0 h 18"/>
                  <a:gd name="T22" fmla="*/ 9 w 26"/>
                  <a:gd name="T23" fmla="*/ 0 h 18"/>
                  <a:gd name="T24" fmla="*/ 13 w 26"/>
                  <a:gd name="T25" fmla="*/ 3 h 18"/>
                  <a:gd name="T26" fmla="*/ 20 w 26"/>
                  <a:gd name="T27" fmla="*/ 8 h 18"/>
                  <a:gd name="T28" fmla="*/ 26 w 26"/>
                  <a:gd name="T29" fmla="*/ 14 h 18"/>
                  <a:gd name="T30" fmla="*/ 26 w 26"/>
                  <a:gd name="T31" fmla="*/ 14 h 18"/>
                  <a:gd name="T32" fmla="*/ 26 w 26"/>
                  <a:gd name="T33" fmla="*/ 16 h 18"/>
                  <a:gd name="T34" fmla="*/ 25 w 26"/>
                  <a:gd name="T35" fmla="*/ 18 h 18"/>
                  <a:gd name="T36" fmla="*/ 22 w 26"/>
                  <a:gd name="T3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18">
                    <a:moveTo>
                      <a:pt x="22" y="18"/>
                    </a:moveTo>
                    <a:lnTo>
                      <a:pt x="22" y="18"/>
                    </a:lnTo>
                    <a:lnTo>
                      <a:pt x="16" y="15"/>
                    </a:lnTo>
                    <a:lnTo>
                      <a:pt x="12" y="12"/>
                    </a:lnTo>
                    <a:lnTo>
                      <a:pt x="7" y="8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3"/>
                    </a:lnTo>
                    <a:lnTo>
                      <a:pt x="20" y="8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6"/>
                    </a:lnTo>
                    <a:lnTo>
                      <a:pt x="25" y="18"/>
                    </a:lnTo>
                    <a:lnTo>
                      <a:pt x="22" y="1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30" name="Freeform 1283"/>
              <p:cNvSpPr>
                <a:spLocks/>
              </p:cNvSpPr>
              <p:nvPr/>
            </p:nvSpPr>
            <p:spPr bwMode="auto">
              <a:xfrm>
                <a:off x="6315075" y="3459592"/>
                <a:ext cx="51442" cy="8903"/>
              </a:xfrm>
              <a:custGeom>
                <a:avLst/>
                <a:gdLst>
                  <a:gd name="T0" fmla="*/ 22 w 52"/>
                  <a:gd name="T1" fmla="*/ 9 h 9"/>
                  <a:gd name="T2" fmla="*/ 22 w 52"/>
                  <a:gd name="T3" fmla="*/ 9 h 9"/>
                  <a:gd name="T4" fmla="*/ 9 w 52"/>
                  <a:gd name="T5" fmla="*/ 7 h 9"/>
                  <a:gd name="T6" fmla="*/ 1 w 52"/>
                  <a:gd name="T7" fmla="*/ 6 h 9"/>
                  <a:gd name="T8" fmla="*/ 0 w 52"/>
                  <a:gd name="T9" fmla="*/ 6 h 9"/>
                  <a:gd name="T10" fmla="*/ 1 w 52"/>
                  <a:gd name="T11" fmla="*/ 4 h 9"/>
                  <a:gd name="T12" fmla="*/ 1 w 52"/>
                  <a:gd name="T13" fmla="*/ 4 h 9"/>
                  <a:gd name="T14" fmla="*/ 6 w 52"/>
                  <a:gd name="T15" fmla="*/ 0 h 9"/>
                  <a:gd name="T16" fmla="*/ 10 w 52"/>
                  <a:gd name="T17" fmla="*/ 0 h 9"/>
                  <a:gd name="T18" fmla="*/ 14 w 52"/>
                  <a:gd name="T19" fmla="*/ 0 h 9"/>
                  <a:gd name="T20" fmla="*/ 14 w 52"/>
                  <a:gd name="T21" fmla="*/ 0 h 9"/>
                  <a:gd name="T22" fmla="*/ 26 w 52"/>
                  <a:gd name="T23" fmla="*/ 3 h 9"/>
                  <a:gd name="T24" fmla="*/ 32 w 52"/>
                  <a:gd name="T25" fmla="*/ 4 h 9"/>
                  <a:gd name="T26" fmla="*/ 38 w 52"/>
                  <a:gd name="T27" fmla="*/ 3 h 9"/>
                  <a:gd name="T28" fmla="*/ 38 w 52"/>
                  <a:gd name="T29" fmla="*/ 3 h 9"/>
                  <a:gd name="T30" fmla="*/ 49 w 52"/>
                  <a:gd name="T31" fmla="*/ 0 h 9"/>
                  <a:gd name="T32" fmla="*/ 52 w 52"/>
                  <a:gd name="T33" fmla="*/ 0 h 9"/>
                  <a:gd name="T34" fmla="*/ 52 w 52"/>
                  <a:gd name="T35" fmla="*/ 1 h 9"/>
                  <a:gd name="T36" fmla="*/ 52 w 52"/>
                  <a:gd name="T37" fmla="*/ 1 h 9"/>
                  <a:gd name="T38" fmla="*/ 52 w 52"/>
                  <a:gd name="T39" fmla="*/ 1 h 9"/>
                  <a:gd name="T40" fmla="*/ 45 w 52"/>
                  <a:gd name="T41" fmla="*/ 6 h 9"/>
                  <a:gd name="T42" fmla="*/ 40 w 52"/>
                  <a:gd name="T43" fmla="*/ 7 h 9"/>
                  <a:gd name="T44" fmla="*/ 40 w 52"/>
                  <a:gd name="T45" fmla="*/ 7 h 9"/>
                  <a:gd name="T46" fmla="*/ 32 w 52"/>
                  <a:gd name="T47" fmla="*/ 9 h 9"/>
                  <a:gd name="T48" fmla="*/ 22 w 52"/>
                  <a:gd name="T4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2" h="9">
                    <a:moveTo>
                      <a:pt x="22" y="9"/>
                    </a:moveTo>
                    <a:lnTo>
                      <a:pt x="22" y="9"/>
                    </a:lnTo>
                    <a:lnTo>
                      <a:pt x="9" y="7"/>
                    </a:lnTo>
                    <a:lnTo>
                      <a:pt x="1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6" y="3"/>
                    </a:lnTo>
                    <a:lnTo>
                      <a:pt x="32" y="4"/>
                    </a:lnTo>
                    <a:lnTo>
                      <a:pt x="38" y="3"/>
                    </a:lnTo>
                    <a:lnTo>
                      <a:pt x="38" y="3"/>
                    </a:lnTo>
                    <a:lnTo>
                      <a:pt x="49" y="0"/>
                    </a:lnTo>
                    <a:lnTo>
                      <a:pt x="52" y="0"/>
                    </a:lnTo>
                    <a:lnTo>
                      <a:pt x="52" y="1"/>
                    </a:lnTo>
                    <a:lnTo>
                      <a:pt x="52" y="1"/>
                    </a:lnTo>
                    <a:lnTo>
                      <a:pt x="52" y="1"/>
                    </a:lnTo>
                    <a:lnTo>
                      <a:pt x="45" y="6"/>
                    </a:lnTo>
                    <a:lnTo>
                      <a:pt x="40" y="7"/>
                    </a:lnTo>
                    <a:lnTo>
                      <a:pt x="40" y="7"/>
                    </a:lnTo>
                    <a:lnTo>
                      <a:pt x="32" y="9"/>
                    </a:lnTo>
                    <a:lnTo>
                      <a:pt x="22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31" name="Freeform 1284"/>
              <p:cNvSpPr>
                <a:spLocks/>
              </p:cNvSpPr>
              <p:nvPr/>
            </p:nvSpPr>
            <p:spPr bwMode="auto">
              <a:xfrm>
                <a:off x="6315075" y="3459592"/>
                <a:ext cx="51442" cy="8903"/>
              </a:xfrm>
              <a:custGeom>
                <a:avLst/>
                <a:gdLst>
                  <a:gd name="T0" fmla="*/ 22 w 52"/>
                  <a:gd name="T1" fmla="*/ 9 h 9"/>
                  <a:gd name="T2" fmla="*/ 22 w 52"/>
                  <a:gd name="T3" fmla="*/ 9 h 9"/>
                  <a:gd name="T4" fmla="*/ 9 w 52"/>
                  <a:gd name="T5" fmla="*/ 7 h 9"/>
                  <a:gd name="T6" fmla="*/ 1 w 52"/>
                  <a:gd name="T7" fmla="*/ 6 h 9"/>
                  <a:gd name="T8" fmla="*/ 0 w 52"/>
                  <a:gd name="T9" fmla="*/ 6 h 9"/>
                  <a:gd name="T10" fmla="*/ 1 w 52"/>
                  <a:gd name="T11" fmla="*/ 4 h 9"/>
                  <a:gd name="T12" fmla="*/ 1 w 52"/>
                  <a:gd name="T13" fmla="*/ 4 h 9"/>
                  <a:gd name="T14" fmla="*/ 6 w 52"/>
                  <a:gd name="T15" fmla="*/ 0 h 9"/>
                  <a:gd name="T16" fmla="*/ 10 w 52"/>
                  <a:gd name="T17" fmla="*/ 0 h 9"/>
                  <a:gd name="T18" fmla="*/ 14 w 52"/>
                  <a:gd name="T19" fmla="*/ 0 h 9"/>
                  <a:gd name="T20" fmla="*/ 14 w 52"/>
                  <a:gd name="T21" fmla="*/ 0 h 9"/>
                  <a:gd name="T22" fmla="*/ 26 w 52"/>
                  <a:gd name="T23" fmla="*/ 3 h 9"/>
                  <a:gd name="T24" fmla="*/ 32 w 52"/>
                  <a:gd name="T25" fmla="*/ 4 h 9"/>
                  <a:gd name="T26" fmla="*/ 38 w 52"/>
                  <a:gd name="T27" fmla="*/ 3 h 9"/>
                  <a:gd name="T28" fmla="*/ 38 w 52"/>
                  <a:gd name="T29" fmla="*/ 3 h 9"/>
                  <a:gd name="T30" fmla="*/ 49 w 52"/>
                  <a:gd name="T31" fmla="*/ 0 h 9"/>
                  <a:gd name="T32" fmla="*/ 52 w 52"/>
                  <a:gd name="T33" fmla="*/ 0 h 9"/>
                  <a:gd name="T34" fmla="*/ 52 w 52"/>
                  <a:gd name="T35" fmla="*/ 1 h 9"/>
                  <a:gd name="T36" fmla="*/ 52 w 52"/>
                  <a:gd name="T37" fmla="*/ 1 h 9"/>
                  <a:gd name="T38" fmla="*/ 52 w 52"/>
                  <a:gd name="T39" fmla="*/ 1 h 9"/>
                  <a:gd name="T40" fmla="*/ 45 w 52"/>
                  <a:gd name="T41" fmla="*/ 6 h 9"/>
                  <a:gd name="T42" fmla="*/ 40 w 52"/>
                  <a:gd name="T43" fmla="*/ 7 h 9"/>
                  <a:gd name="T44" fmla="*/ 40 w 52"/>
                  <a:gd name="T45" fmla="*/ 7 h 9"/>
                  <a:gd name="T46" fmla="*/ 32 w 52"/>
                  <a:gd name="T47" fmla="*/ 9 h 9"/>
                  <a:gd name="T48" fmla="*/ 22 w 52"/>
                  <a:gd name="T4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2" h="9">
                    <a:moveTo>
                      <a:pt x="22" y="9"/>
                    </a:moveTo>
                    <a:lnTo>
                      <a:pt x="22" y="9"/>
                    </a:lnTo>
                    <a:lnTo>
                      <a:pt x="9" y="7"/>
                    </a:lnTo>
                    <a:lnTo>
                      <a:pt x="1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6" y="3"/>
                    </a:lnTo>
                    <a:lnTo>
                      <a:pt x="32" y="4"/>
                    </a:lnTo>
                    <a:lnTo>
                      <a:pt x="38" y="3"/>
                    </a:lnTo>
                    <a:lnTo>
                      <a:pt x="38" y="3"/>
                    </a:lnTo>
                    <a:lnTo>
                      <a:pt x="49" y="0"/>
                    </a:lnTo>
                    <a:lnTo>
                      <a:pt x="52" y="0"/>
                    </a:lnTo>
                    <a:lnTo>
                      <a:pt x="52" y="1"/>
                    </a:lnTo>
                    <a:lnTo>
                      <a:pt x="52" y="1"/>
                    </a:lnTo>
                    <a:lnTo>
                      <a:pt x="52" y="1"/>
                    </a:lnTo>
                    <a:lnTo>
                      <a:pt x="45" y="6"/>
                    </a:lnTo>
                    <a:lnTo>
                      <a:pt x="40" y="7"/>
                    </a:lnTo>
                    <a:lnTo>
                      <a:pt x="40" y="7"/>
                    </a:lnTo>
                    <a:lnTo>
                      <a:pt x="32" y="9"/>
                    </a:lnTo>
                    <a:lnTo>
                      <a:pt x="22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32" name="Freeform 1285"/>
              <p:cNvSpPr>
                <a:spLocks/>
              </p:cNvSpPr>
              <p:nvPr/>
            </p:nvSpPr>
            <p:spPr bwMode="auto">
              <a:xfrm>
                <a:off x="6376409" y="3463549"/>
                <a:ext cx="47484" cy="21764"/>
              </a:xfrm>
              <a:custGeom>
                <a:avLst/>
                <a:gdLst>
                  <a:gd name="T0" fmla="*/ 9 w 48"/>
                  <a:gd name="T1" fmla="*/ 22 h 22"/>
                  <a:gd name="T2" fmla="*/ 9 w 48"/>
                  <a:gd name="T3" fmla="*/ 22 h 22"/>
                  <a:gd name="T4" fmla="*/ 5 w 48"/>
                  <a:gd name="T5" fmla="*/ 22 h 22"/>
                  <a:gd name="T6" fmla="*/ 2 w 48"/>
                  <a:gd name="T7" fmla="*/ 21 h 22"/>
                  <a:gd name="T8" fmla="*/ 0 w 48"/>
                  <a:gd name="T9" fmla="*/ 19 h 22"/>
                  <a:gd name="T10" fmla="*/ 0 w 48"/>
                  <a:gd name="T11" fmla="*/ 18 h 22"/>
                  <a:gd name="T12" fmla="*/ 5 w 48"/>
                  <a:gd name="T13" fmla="*/ 15 h 22"/>
                  <a:gd name="T14" fmla="*/ 5 w 48"/>
                  <a:gd name="T15" fmla="*/ 15 h 22"/>
                  <a:gd name="T16" fmla="*/ 15 w 48"/>
                  <a:gd name="T17" fmla="*/ 9 h 22"/>
                  <a:gd name="T18" fmla="*/ 19 w 48"/>
                  <a:gd name="T19" fmla="*/ 6 h 22"/>
                  <a:gd name="T20" fmla="*/ 22 w 48"/>
                  <a:gd name="T21" fmla="*/ 3 h 22"/>
                  <a:gd name="T22" fmla="*/ 22 w 48"/>
                  <a:gd name="T23" fmla="*/ 3 h 22"/>
                  <a:gd name="T24" fmla="*/ 26 w 48"/>
                  <a:gd name="T25" fmla="*/ 2 h 22"/>
                  <a:gd name="T26" fmla="*/ 33 w 48"/>
                  <a:gd name="T27" fmla="*/ 0 h 22"/>
                  <a:gd name="T28" fmla="*/ 42 w 48"/>
                  <a:gd name="T29" fmla="*/ 0 h 22"/>
                  <a:gd name="T30" fmla="*/ 48 w 48"/>
                  <a:gd name="T31" fmla="*/ 2 h 22"/>
                  <a:gd name="T32" fmla="*/ 48 w 48"/>
                  <a:gd name="T33" fmla="*/ 2 h 22"/>
                  <a:gd name="T34" fmla="*/ 48 w 48"/>
                  <a:gd name="T35" fmla="*/ 2 h 22"/>
                  <a:gd name="T36" fmla="*/ 48 w 48"/>
                  <a:gd name="T37" fmla="*/ 3 h 22"/>
                  <a:gd name="T38" fmla="*/ 45 w 48"/>
                  <a:gd name="T39" fmla="*/ 5 h 22"/>
                  <a:gd name="T40" fmla="*/ 36 w 48"/>
                  <a:gd name="T41" fmla="*/ 6 h 22"/>
                  <a:gd name="T42" fmla="*/ 36 w 48"/>
                  <a:gd name="T43" fmla="*/ 6 h 22"/>
                  <a:gd name="T44" fmla="*/ 32 w 48"/>
                  <a:gd name="T45" fmla="*/ 9 h 22"/>
                  <a:gd name="T46" fmla="*/ 25 w 48"/>
                  <a:gd name="T47" fmla="*/ 15 h 22"/>
                  <a:gd name="T48" fmla="*/ 16 w 48"/>
                  <a:gd name="T49" fmla="*/ 21 h 22"/>
                  <a:gd name="T50" fmla="*/ 13 w 48"/>
                  <a:gd name="T51" fmla="*/ 22 h 22"/>
                  <a:gd name="T52" fmla="*/ 9 w 48"/>
                  <a:gd name="T5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8" h="22">
                    <a:moveTo>
                      <a:pt x="9" y="22"/>
                    </a:moveTo>
                    <a:lnTo>
                      <a:pt x="9" y="22"/>
                    </a:lnTo>
                    <a:lnTo>
                      <a:pt x="5" y="22"/>
                    </a:lnTo>
                    <a:lnTo>
                      <a:pt x="2" y="21"/>
                    </a:lnTo>
                    <a:lnTo>
                      <a:pt x="0" y="19"/>
                    </a:lnTo>
                    <a:lnTo>
                      <a:pt x="0" y="18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15" y="9"/>
                    </a:lnTo>
                    <a:lnTo>
                      <a:pt x="19" y="6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42" y="0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48" y="3"/>
                    </a:lnTo>
                    <a:lnTo>
                      <a:pt x="45" y="5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2" y="9"/>
                    </a:lnTo>
                    <a:lnTo>
                      <a:pt x="25" y="15"/>
                    </a:lnTo>
                    <a:lnTo>
                      <a:pt x="16" y="21"/>
                    </a:lnTo>
                    <a:lnTo>
                      <a:pt x="13" y="22"/>
                    </a:lnTo>
                    <a:lnTo>
                      <a:pt x="9" y="2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33" name="Freeform 1286"/>
              <p:cNvSpPr>
                <a:spLocks/>
              </p:cNvSpPr>
              <p:nvPr/>
            </p:nvSpPr>
            <p:spPr bwMode="auto">
              <a:xfrm>
                <a:off x="6376409" y="3463549"/>
                <a:ext cx="47484" cy="21764"/>
              </a:xfrm>
              <a:custGeom>
                <a:avLst/>
                <a:gdLst>
                  <a:gd name="T0" fmla="*/ 9 w 48"/>
                  <a:gd name="T1" fmla="*/ 22 h 22"/>
                  <a:gd name="T2" fmla="*/ 9 w 48"/>
                  <a:gd name="T3" fmla="*/ 22 h 22"/>
                  <a:gd name="T4" fmla="*/ 5 w 48"/>
                  <a:gd name="T5" fmla="*/ 22 h 22"/>
                  <a:gd name="T6" fmla="*/ 2 w 48"/>
                  <a:gd name="T7" fmla="*/ 21 h 22"/>
                  <a:gd name="T8" fmla="*/ 0 w 48"/>
                  <a:gd name="T9" fmla="*/ 19 h 22"/>
                  <a:gd name="T10" fmla="*/ 0 w 48"/>
                  <a:gd name="T11" fmla="*/ 18 h 22"/>
                  <a:gd name="T12" fmla="*/ 5 w 48"/>
                  <a:gd name="T13" fmla="*/ 15 h 22"/>
                  <a:gd name="T14" fmla="*/ 5 w 48"/>
                  <a:gd name="T15" fmla="*/ 15 h 22"/>
                  <a:gd name="T16" fmla="*/ 15 w 48"/>
                  <a:gd name="T17" fmla="*/ 9 h 22"/>
                  <a:gd name="T18" fmla="*/ 19 w 48"/>
                  <a:gd name="T19" fmla="*/ 6 h 22"/>
                  <a:gd name="T20" fmla="*/ 22 w 48"/>
                  <a:gd name="T21" fmla="*/ 3 h 22"/>
                  <a:gd name="T22" fmla="*/ 22 w 48"/>
                  <a:gd name="T23" fmla="*/ 3 h 22"/>
                  <a:gd name="T24" fmla="*/ 26 w 48"/>
                  <a:gd name="T25" fmla="*/ 2 h 22"/>
                  <a:gd name="T26" fmla="*/ 33 w 48"/>
                  <a:gd name="T27" fmla="*/ 0 h 22"/>
                  <a:gd name="T28" fmla="*/ 42 w 48"/>
                  <a:gd name="T29" fmla="*/ 0 h 22"/>
                  <a:gd name="T30" fmla="*/ 48 w 48"/>
                  <a:gd name="T31" fmla="*/ 2 h 22"/>
                  <a:gd name="T32" fmla="*/ 48 w 48"/>
                  <a:gd name="T33" fmla="*/ 2 h 22"/>
                  <a:gd name="T34" fmla="*/ 48 w 48"/>
                  <a:gd name="T35" fmla="*/ 2 h 22"/>
                  <a:gd name="T36" fmla="*/ 48 w 48"/>
                  <a:gd name="T37" fmla="*/ 3 h 22"/>
                  <a:gd name="T38" fmla="*/ 45 w 48"/>
                  <a:gd name="T39" fmla="*/ 5 h 22"/>
                  <a:gd name="T40" fmla="*/ 36 w 48"/>
                  <a:gd name="T41" fmla="*/ 6 h 22"/>
                  <a:gd name="T42" fmla="*/ 36 w 48"/>
                  <a:gd name="T43" fmla="*/ 6 h 22"/>
                  <a:gd name="T44" fmla="*/ 32 w 48"/>
                  <a:gd name="T45" fmla="*/ 9 h 22"/>
                  <a:gd name="T46" fmla="*/ 25 w 48"/>
                  <a:gd name="T47" fmla="*/ 15 h 22"/>
                  <a:gd name="T48" fmla="*/ 16 w 48"/>
                  <a:gd name="T49" fmla="*/ 21 h 22"/>
                  <a:gd name="T50" fmla="*/ 13 w 48"/>
                  <a:gd name="T51" fmla="*/ 22 h 22"/>
                  <a:gd name="T52" fmla="*/ 9 w 48"/>
                  <a:gd name="T5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8" h="22">
                    <a:moveTo>
                      <a:pt x="9" y="22"/>
                    </a:moveTo>
                    <a:lnTo>
                      <a:pt x="9" y="22"/>
                    </a:lnTo>
                    <a:lnTo>
                      <a:pt x="5" y="22"/>
                    </a:lnTo>
                    <a:lnTo>
                      <a:pt x="2" y="21"/>
                    </a:lnTo>
                    <a:lnTo>
                      <a:pt x="0" y="19"/>
                    </a:lnTo>
                    <a:lnTo>
                      <a:pt x="0" y="18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15" y="9"/>
                    </a:lnTo>
                    <a:lnTo>
                      <a:pt x="19" y="6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42" y="0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48" y="3"/>
                    </a:lnTo>
                    <a:lnTo>
                      <a:pt x="45" y="5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2" y="9"/>
                    </a:lnTo>
                    <a:lnTo>
                      <a:pt x="25" y="15"/>
                    </a:lnTo>
                    <a:lnTo>
                      <a:pt x="16" y="21"/>
                    </a:lnTo>
                    <a:lnTo>
                      <a:pt x="13" y="22"/>
                    </a:lnTo>
                    <a:lnTo>
                      <a:pt x="9" y="2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34" name="Freeform 1287"/>
              <p:cNvSpPr>
                <a:spLocks/>
              </p:cNvSpPr>
              <p:nvPr/>
            </p:nvSpPr>
            <p:spPr bwMode="auto">
              <a:xfrm>
                <a:off x="6146901" y="3216234"/>
                <a:ext cx="164217" cy="176088"/>
              </a:xfrm>
              <a:custGeom>
                <a:avLst/>
                <a:gdLst>
                  <a:gd name="T0" fmla="*/ 137 w 166"/>
                  <a:gd name="T1" fmla="*/ 17 h 178"/>
                  <a:gd name="T2" fmla="*/ 129 w 166"/>
                  <a:gd name="T3" fmla="*/ 1 h 178"/>
                  <a:gd name="T4" fmla="*/ 106 w 166"/>
                  <a:gd name="T5" fmla="*/ 21 h 178"/>
                  <a:gd name="T6" fmla="*/ 100 w 166"/>
                  <a:gd name="T7" fmla="*/ 32 h 178"/>
                  <a:gd name="T8" fmla="*/ 99 w 166"/>
                  <a:gd name="T9" fmla="*/ 35 h 178"/>
                  <a:gd name="T10" fmla="*/ 77 w 166"/>
                  <a:gd name="T11" fmla="*/ 45 h 178"/>
                  <a:gd name="T12" fmla="*/ 79 w 166"/>
                  <a:gd name="T13" fmla="*/ 48 h 178"/>
                  <a:gd name="T14" fmla="*/ 66 w 166"/>
                  <a:gd name="T15" fmla="*/ 61 h 178"/>
                  <a:gd name="T16" fmla="*/ 61 w 166"/>
                  <a:gd name="T17" fmla="*/ 66 h 178"/>
                  <a:gd name="T18" fmla="*/ 40 w 166"/>
                  <a:gd name="T19" fmla="*/ 68 h 178"/>
                  <a:gd name="T20" fmla="*/ 32 w 166"/>
                  <a:gd name="T21" fmla="*/ 88 h 178"/>
                  <a:gd name="T22" fmla="*/ 16 w 166"/>
                  <a:gd name="T23" fmla="*/ 85 h 178"/>
                  <a:gd name="T24" fmla="*/ 2 w 166"/>
                  <a:gd name="T25" fmla="*/ 119 h 178"/>
                  <a:gd name="T26" fmla="*/ 12 w 166"/>
                  <a:gd name="T27" fmla="*/ 130 h 178"/>
                  <a:gd name="T28" fmla="*/ 11 w 166"/>
                  <a:gd name="T29" fmla="*/ 132 h 178"/>
                  <a:gd name="T30" fmla="*/ 31 w 166"/>
                  <a:gd name="T31" fmla="*/ 161 h 178"/>
                  <a:gd name="T32" fmla="*/ 40 w 166"/>
                  <a:gd name="T33" fmla="*/ 162 h 178"/>
                  <a:gd name="T34" fmla="*/ 42 w 166"/>
                  <a:gd name="T35" fmla="*/ 168 h 178"/>
                  <a:gd name="T36" fmla="*/ 64 w 166"/>
                  <a:gd name="T37" fmla="*/ 163 h 178"/>
                  <a:gd name="T38" fmla="*/ 61 w 166"/>
                  <a:gd name="T39" fmla="*/ 163 h 178"/>
                  <a:gd name="T40" fmla="*/ 84 w 166"/>
                  <a:gd name="T41" fmla="*/ 174 h 178"/>
                  <a:gd name="T42" fmla="*/ 86 w 166"/>
                  <a:gd name="T43" fmla="*/ 176 h 178"/>
                  <a:gd name="T44" fmla="*/ 122 w 166"/>
                  <a:gd name="T45" fmla="*/ 140 h 178"/>
                  <a:gd name="T46" fmla="*/ 160 w 166"/>
                  <a:gd name="T47" fmla="*/ 101 h 178"/>
                  <a:gd name="T48" fmla="*/ 145 w 166"/>
                  <a:gd name="T49" fmla="*/ 84 h 178"/>
                  <a:gd name="T50" fmla="*/ 145 w 166"/>
                  <a:gd name="T51" fmla="*/ 85 h 178"/>
                  <a:gd name="T52" fmla="*/ 135 w 166"/>
                  <a:gd name="T53" fmla="*/ 58 h 178"/>
                  <a:gd name="T54" fmla="*/ 132 w 166"/>
                  <a:gd name="T55" fmla="*/ 58 h 178"/>
                  <a:gd name="T56" fmla="*/ 144 w 166"/>
                  <a:gd name="T57" fmla="*/ 56 h 178"/>
                  <a:gd name="T58" fmla="*/ 139 w 166"/>
                  <a:gd name="T59" fmla="*/ 52 h 178"/>
                  <a:gd name="T60" fmla="*/ 157 w 166"/>
                  <a:gd name="T61" fmla="*/ 46 h 178"/>
                  <a:gd name="T62" fmla="*/ 166 w 166"/>
                  <a:gd name="T63" fmla="*/ 29 h 178"/>
                  <a:gd name="T64" fmla="*/ 163 w 166"/>
                  <a:gd name="T65" fmla="*/ 32 h 178"/>
                  <a:gd name="T66" fmla="*/ 153 w 166"/>
                  <a:gd name="T67" fmla="*/ 39 h 178"/>
                  <a:gd name="T68" fmla="*/ 154 w 166"/>
                  <a:gd name="T69" fmla="*/ 46 h 178"/>
                  <a:gd name="T70" fmla="*/ 135 w 166"/>
                  <a:gd name="T71" fmla="*/ 52 h 178"/>
                  <a:gd name="T72" fmla="*/ 138 w 166"/>
                  <a:gd name="T73" fmla="*/ 56 h 178"/>
                  <a:gd name="T74" fmla="*/ 129 w 166"/>
                  <a:gd name="T75" fmla="*/ 56 h 178"/>
                  <a:gd name="T76" fmla="*/ 141 w 166"/>
                  <a:gd name="T77" fmla="*/ 81 h 178"/>
                  <a:gd name="T78" fmla="*/ 157 w 166"/>
                  <a:gd name="T79" fmla="*/ 98 h 178"/>
                  <a:gd name="T80" fmla="*/ 155 w 166"/>
                  <a:gd name="T81" fmla="*/ 98 h 178"/>
                  <a:gd name="T82" fmla="*/ 119 w 166"/>
                  <a:gd name="T83" fmla="*/ 137 h 178"/>
                  <a:gd name="T84" fmla="*/ 90 w 166"/>
                  <a:gd name="T85" fmla="*/ 174 h 178"/>
                  <a:gd name="T86" fmla="*/ 61 w 166"/>
                  <a:gd name="T87" fmla="*/ 159 h 178"/>
                  <a:gd name="T88" fmla="*/ 51 w 166"/>
                  <a:gd name="T89" fmla="*/ 162 h 178"/>
                  <a:gd name="T90" fmla="*/ 41 w 166"/>
                  <a:gd name="T91" fmla="*/ 163 h 178"/>
                  <a:gd name="T92" fmla="*/ 40 w 166"/>
                  <a:gd name="T93" fmla="*/ 158 h 178"/>
                  <a:gd name="T94" fmla="*/ 21 w 166"/>
                  <a:gd name="T95" fmla="*/ 155 h 178"/>
                  <a:gd name="T96" fmla="*/ 12 w 166"/>
                  <a:gd name="T97" fmla="*/ 126 h 178"/>
                  <a:gd name="T98" fmla="*/ 8 w 166"/>
                  <a:gd name="T99" fmla="*/ 123 h 178"/>
                  <a:gd name="T100" fmla="*/ 9 w 166"/>
                  <a:gd name="T101" fmla="*/ 87 h 178"/>
                  <a:gd name="T102" fmla="*/ 34 w 166"/>
                  <a:gd name="T103" fmla="*/ 92 h 178"/>
                  <a:gd name="T104" fmla="*/ 42 w 166"/>
                  <a:gd name="T105" fmla="*/ 72 h 178"/>
                  <a:gd name="T106" fmla="*/ 66 w 166"/>
                  <a:gd name="T107" fmla="*/ 63 h 178"/>
                  <a:gd name="T108" fmla="*/ 80 w 166"/>
                  <a:gd name="T109" fmla="*/ 53 h 178"/>
                  <a:gd name="T110" fmla="*/ 82 w 166"/>
                  <a:gd name="T111" fmla="*/ 45 h 178"/>
                  <a:gd name="T112" fmla="*/ 82 w 166"/>
                  <a:gd name="T113" fmla="*/ 46 h 178"/>
                  <a:gd name="T114" fmla="*/ 93 w 166"/>
                  <a:gd name="T115" fmla="*/ 37 h 178"/>
                  <a:gd name="T116" fmla="*/ 97 w 166"/>
                  <a:gd name="T117" fmla="*/ 39 h 178"/>
                  <a:gd name="T118" fmla="*/ 108 w 166"/>
                  <a:gd name="T119" fmla="*/ 26 h 178"/>
                  <a:gd name="T120" fmla="*/ 118 w 166"/>
                  <a:gd name="T121" fmla="*/ 13 h 178"/>
                  <a:gd name="T122" fmla="*/ 131 w 166"/>
                  <a:gd name="T123" fmla="*/ 8 h 178"/>
                  <a:gd name="T124" fmla="*/ 138 w 166"/>
                  <a:gd name="T125" fmla="*/ 2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6" h="178">
                    <a:moveTo>
                      <a:pt x="163" y="30"/>
                    </a:moveTo>
                    <a:lnTo>
                      <a:pt x="163" y="27"/>
                    </a:lnTo>
                    <a:lnTo>
                      <a:pt x="163" y="27"/>
                    </a:lnTo>
                    <a:lnTo>
                      <a:pt x="155" y="24"/>
                    </a:lnTo>
                    <a:lnTo>
                      <a:pt x="155" y="24"/>
                    </a:lnTo>
                    <a:lnTo>
                      <a:pt x="145" y="20"/>
                    </a:lnTo>
                    <a:lnTo>
                      <a:pt x="145" y="20"/>
                    </a:lnTo>
                    <a:lnTo>
                      <a:pt x="138" y="17"/>
                    </a:lnTo>
                    <a:lnTo>
                      <a:pt x="138" y="17"/>
                    </a:lnTo>
                    <a:lnTo>
                      <a:pt x="137" y="17"/>
                    </a:lnTo>
                    <a:lnTo>
                      <a:pt x="137" y="17"/>
                    </a:lnTo>
                    <a:lnTo>
                      <a:pt x="137" y="17"/>
                    </a:lnTo>
                    <a:lnTo>
                      <a:pt x="138" y="17"/>
                    </a:lnTo>
                    <a:lnTo>
                      <a:pt x="137" y="17"/>
                    </a:lnTo>
                    <a:lnTo>
                      <a:pt x="137" y="17"/>
                    </a:lnTo>
                    <a:lnTo>
                      <a:pt x="138" y="17"/>
                    </a:lnTo>
                    <a:lnTo>
                      <a:pt x="137" y="17"/>
                    </a:lnTo>
                    <a:lnTo>
                      <a:pt x="137" y="17"/>
                    </a:lnTo>
                    <a:lnTo>
                      <a:pt x="138" y="17"/>
                    </a:lnTo>
                    <a:lnTo>
                      <a:pt x="137" y="17"/>
                    </a:lnTo>
                    <a:lnTo>
                      <a:pt x="137" y="17"/>
                    </a:lnTo>
                    <a:lnTo>
                      <a:pt x="137" y="17"/>
                    </a:lnTo>
                    <a:lnTo>
                      <a:pt x="137" y="17"/>
                    </a:lnTo>
                    <a:lnTo>
                      <a:pt x="138" y="13"/>
                    </a:lnTo>
                    <a:lnTo>
                      <a:pt x="138" y="13"/>
                    </a:lnTo>
                    <a:lnTo>
                      <a:pt x="138" y="10"/>
                    </a:lnTo>
                    <a:lnTo>
                      <a:pt x="135" y="6"/>
                    </a:lnTo>
                    <a:lnTo>
                      <a:pt x="135" y="6"/>
                    </a:lnTo>
                    <a:lnTo>
                      <a:pt x="129" y="1"/>
                    </a:lnTo>
                    <a:lnTo>
                      <a:pt x="129" y="1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22" y="1"/>
                    </a:lnTo>
                    <a:lnTo>
                      <a:pt x="122" y="1"/>
                    </a:lnTo>
                    <a:lnTo>
                      <a:pt x="119" y="3"/>
                    </a:lnTo>
                    <a:lnTo>
                      <a:pt x="119" y="3"/>
                    </a:lnTo>
                    <a:lnTo>
                      <a:pt x="112" y="14"/>
                    </a:lnTo>
                    <a:lnTo>
                      <a:pt x="112" y="14"/>
                    </a:lnTo>
                    <a:lnTo>
                      <a:pt x="108" y="20"/>
                    </a:lnTo>
                    <a:lnTo>
                      <a:pt x="108" y="20"/>
                    </a:lnTo>
                    <a:lnTo>
                      <a:pt x="106" y="21"/>
                    </a:lnTo>
                    <a:lnTo>
                      <a:pt x="106" y="21"/>
                    </a:lnTo>
                    <a:lnTo>
                      <a:pt x="106" y="23"/>
                    </a:lnTo>
                    <a:lnTo>
                      <a:pt x="106" y="21"/>
                    </a:lnTo>
                    <a:lnTo>
                      <a:pt x="106" y="21"/>
                    </a:lnTo>
                    <a:lnTo>
                      <a:pt x="106" y="23"/>
                    </a:lnTo>
                    <a:lnTo>
                      <a:pt x="106" y="21"/>
                    </a:lnTo>
                    <a:lnTo>
                      <a:pt x="108" y="23"/>
                    </a:lnTo>
                    <a:lnTo>
                      <a:pt x="106" y="21"/>
                    </a:lnTo>
                    <a:lnTo>
                      <a:pt x="106" y="21"/>
                    </a:lnTo>
                    <a:lnTo>
                      <a:pt x="108" y="23"/>
                    </a:lnTo>
                    <a:lnTo>
                      <a:pt x="106" y="21"/>
                    </a:lnTo>
                    <a:lnTo>
                      <a:pt x="106" y="21"/>
                    </a:lnTo>
                    <a:lnTo>
                      <a:pt x="105" y="21"/>
                    </a:lnTo>
                    <a:lnTo>
                      <a:pt x="105" y="21"/>
                    </a:lnTo>
                    <a:lnTo>
                      <a:pt x="102" y="26"/>
                    </a:lnTo>
                    <a:lnTo>
                      <a:pt x="102" y="26"/>
                    </a:lnTo>
                    <a:lnTo>
                      <a:pt x="100" y="29"/>
                    </a:lnTo>
                    <a:lnTo>
                      <a:pt x="100" y="29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99" y="33"/>
                    </a:lnTo>
                    <a:lnTo>
                      <a:pt x="97" y="35"/>
                    </a:lnTo>
                    <a:lnTo>
                      <a:pt x="97" y="35"/>
                    </a:lnTo>
                    <a:lnTo>
                      <a:pt x="97" y="35"/>
                    </a:lnTo>
                    <a:lnTo>
                      <a:pt x="97" y="35"/>
                    </a:lnTo>
                    <a:lnTo>
                      <a:pt x="97" y="35"/>
                    </a:lnTo>
                    <a:lnTo>
                      <a:pt x="97" y="35"/>
                    </a:lnTo>
                    <a:lnTo>
                      <a:pt x="97" y="35"/>
                    </a:lnTo>
                    <a:lnTo>
                      <a:pt x="97" y="35"/>
                    </a:lnTo>
                    <a:lnTo>
                      <a:pt x="99" y="35"/>
                    </a:lnTo>
                    <a:lnTo>
                      <a:pt x="97" y="35"/>
                    </a:lnTo>
                    <a:lnTo>
                      <a:pt x="97" y="35"/>
                    </a:lnTo>
                    <a:lnTo>
                      <a:pt x="99" y="35"/>
                    </a:lnTo>
                    <a:lnTo>
                      <a:pt x="99" y="35"/>
                    </a:lnTo>
                    <a:lnTo>
                      <a:pt x="96" y="33"/>
                    </a:lnTo>
                    <a:lnTo>
                      <a:pt x="96" y="33"/>
                    </a:lnTo>
                    <a:lnTo>
                      <a:pt x="93" y="33"/>
                    </a:lnTo>
                    <a:lnTo>
                      <a:pt x="93" y="33"/>
                    </a:lnTo>
                    <a:lnTo>
                      <a:pt x="90" y="35"/>
                    </a:lnTo>
                    <a:lnTo>
                      <a:pt x="90" y="35"/>
                    </a:lnTo>
                    <a:lnTo>
                      <a:pt x="86" y="39"/>
                    </a:lnTo>
                    <a:lnTo>
                      <a:pt x="86" y="39"/>
                    </a:lnTo>
                    <a:lnTo>
                      <a:pt x="83" y="40"/>
                    </a:lnTo>
                    <a:lnTo>
                      <a:pt x="83" y="40"/>
                    </a:lnTo>
                    <a:lnTo>
                      <a:pt x="82" y="42"/>
                    </a:lnTo>
                    <a:lnTo>
                      <a:pt x="82" y="42"/>
                    </a:lnTo>
                    <a:lnTo>
                      <a:pt x="79" y="42"/>
                    </a:lnTo>
                    <a:lnTo>
                      <a:pt x="79" y="42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9" y="48"/>
                    </a:lnTo>
                    <a:lnTo>
                      <a:pt x="79" y="48"/>
                    </a:lnTo>
                    <a:lnTo>
                      <a:pt x="79" y="49"/>
                    </a:lnTo>
                    <a:lnTo>
                      <a:pt x="79" y="49"/>
                    </a:lnTo>
                    <a:lnTo>
                      <a:pt x="79" y="49"/>
                    </a:lnTo>
                    <a:lnTo>
                      <a:pt x="79" y="49"/>
                    </a:lnTo>
                    <a:lnTo>
                      <a:pt x="79" y="49"/>
                    </a:lnTo>
                    <a:lnTo>
                      <a:pt x="79" y="49"/>
                    </a:lnTo>
                    <a:lnTo>
                      <a:pt x="79" y="49"/>
                    </a:lnTo>
                    <a:lnTo>
                      <a:pt x="80" y="49"/>
                    </a:lnTo>
                    <a:lnTo>
                      <a:pt x="79" y="48"/>
                    </a:lnTo>
                    <a:lnTo>
                      <a:pt x="79" y="49"/>
                    </a:lnTo>
                    <a:lnTo>
                      <a:pt x="80" y="49"/>
                    </a:lnTo>
                    <a:lnTo>
                      <a:pt x="79" y="48"/>
                    </a:lnTo>
                    <a:lnTo>
                      <a:pt x="80" y="49"/>
                    </a:lnTo>
                    <a:lnTo>
                      <a:pt x="79" y="48"/>
                    </a:lnTo>
                    <a:lnTo>
                      <a:pt x="79" y="48"/>
                    </a:lnTo>
                    <a:lnTo>
                      <a:pt x="80" y="49"/>
                    </a:lnTo>
                    <a:lnTo>
                      <a:pt x="79" y="48"/>
                    </a:lnTo>
                    <a:lnTo>
                      <a:pt x="79" y="48"/>
                    </a:lnTo>
                    <a:lnTo>
                      <a:pt x="77" y="49"/>
                    </a:lnTo>
                    <a:lnTo>
                      <a:pt x="77" y="49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67" y="58"/>
                    </a:lnTo>
                    <a:lnTo>
                      <a:pt x="67" y="58"/>
                    </a:lnTo>
                    <a:lnTo>
                      <a:pt x="66" y="59"/>
                    </a:lnTo>
                    <a:lnTo>
                      <a:pt x="66" y="59"/>
                    </a:lnTo>
                    <a:lnTo>
                      <a:pt x="66" y="61"/>
                    </a:lnTo>
                    <a:lnTo>
                      <a:pt x="66" y="59"/>
                    </a:lnTo>
                    <a:lnTo>
                      <a:pt x="66" y="59"/>
                    </a:lnTo>
                    <a:lnTo>
                      <a:pt x="66" y="61"/>
                    </a:lnTo>
                    <a:lnTo>
                      <a:pt x="66" y="59"/>
                    </a:lnTo>
                    <a:lnTo>
                      <a:pt x="66" y="59"/>
                    </a:lnTo>
                    <a:lnTo>
                      <a:pt x="63" y="59"/>
                    </a:lnTo>
                    <a:lnTo>
                      <a:pt x="63" y="59"/>
                    </a:lnTo>
                    <a:lnTo>
                      <a:pt x="61" y="62"/>
                    </a:lnTo>
                    <a:lnTo>
                      <a:pt x="61" y="62"/>
                    </a:lnTo>
                    <a:lnTo>
                      <a:pt x="61" y="65"/>
                    </a:lnTo>
                    <a:lnTo>
                      <a:pt x="61" y="65"/>
                    </a:lnTo>
                    <a:lnTo>
                      <a:pt x="61" y="66"/>
                    </a:lnTo>
                    <a:lnTo>
                      <a:pt x="61" y="66"/>
                    </a:lnTo>
                    <a:lnTo>
                      <a:pt x="63" y="66"/>
                    </a:lnTo>
                    <a:lnTo>
                      <a:pt x="61" y="66"/>
                    </a:lnTo>
                    <a:lnTo>
                      <a:pt x="61" y="66"/>
                    </a:lnTo>
                    <a:lnTo>
                      <a:pt x="63" y="66"/>
                    </a:lnTo>
                    <a:lnTo>
                      <a:pt x="61" y="66"/>
                    </a:lnTo>
                    <a:lnTo>
                      <a:pt x="63" y="66"/>
                    </a:lnTo>
                    <a:lnTo>
                      <a:pt x="63" y="65"/>
                    </a:lnTo>
                    <a:lnTo>
                      <a:pt x="61" y="66"/>
                    </a:lnTo>
                    <a:lnTo>
                      <a:pt x="63" y="66"/>
                    </a:lnTo>
                    <a:lnTo>
                      <a:pt x="63" y="65"/>
                    </a:lnTo>
                    <a:lnTo>
                      <a:pt x="63" y="65"/>
                    </a:lnTo>
                    <a:lnTo>
                      <a:pt x="53" y="66"/>
                    </a:lnTo>
                    <a:lnTo>
                      <a:pt x="53" y="66"/>
                    </a:lnTo>
                    <a:lnTo>
                      <a:pt x="41" y="68"/>
                    </a:lnTo>
                    <a:lnTo>
                      <a:pt x="41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38" y="71"/>
                    </a:lnTo>
                    <a:lnTo>
                      <a:pt x="38" y="71"/>
                    </a:lnTo>
                    <a:lnTo>
                      <a:pt x="32" y="82"/>
                    </a:lnTo>
                    <a:lnTo>
                      <a:pt x="32" y="82"/>
                    </a:lnTo>
                    <a:lnTo>
                      <a:pt x="31" y="88"/>
                    </a:lnTo>
                    <a:lnTo>
                      <a:pt x="31" y="88"/>
                    </a:lnTo>
                    <a:lnTo>
                      <a:pt x="31" y="88"/>
                    </a:lnTo>
                    <a:lnTo>
                      <a:pt x="31" y="88"/>
                    </a:lnTo>
                    <a:lnTo>
                      <a:pt x="31" y="90"/>
                    </a:lnTo>
                    <a:lnTo>
                      <a:pt x="31" y="88"/>
                    </a:lnTo>
                    <a:lnTo>
                      <a:pt x="31" y="88"/>
                    </a:lnTo>
                    <a:lnTo>
                      <a:pt x="31" y="90"/>
                    </a:lnTo>
                    <a:lnTo>
                      <a:pt x="31" y="88"/>
                    </a:lnTo>
                    <a:lnTo>
                      <a:pt x="32" y="90"/>
                    </a:lnTo>
                    <a:lnTo>
                      <a:pt x="32" y="88"/>
                    </a:lnTo>
                    <a:lnTo>
                      <a:pt x="32" y="88"/>
                    </a:lnTo>
                    <a:lnTo>
                      <a:pt x="31" y="88"/>
                    </a:lnTo>
                    <a:lnTo>
                      <a:pt x="32" y="90"/>
                    </a:lnTo>
                    <a:lnTo>
                      <a:pt x="32" y="88"/>
                    </a:lnTo>
                    <a:lnTo>
                      <a:pt x="32" y="88"/>
                    </a:lnTo>
                    <a:lnTo>
                      <a:pt x="31" y="88"/>
                    </a:lnTo>
                    <a:lnTo>
                      <a:pt x="31" y="88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1" y="88"/>
                    </a:lnTo>
                    <a:lnTo>
                      <a:pt x="21" y="88"/>
                    </a:lnTo>
                    <a:lnTo>
                      <a:pt x="21" y="88"/>
                    </a:lnTo>
                    <a:lnTo>
                      <a:pt x="21" y="88"/>
                    </a:lnTo>
                    <a:lnTo>
                      <a:pt x="21" y="88"/>
                    </a:lnTo>
                    <a:lnTo>
                      <a:pt x="16" y="85"/>
                    </a:lnTo>
                    <a:lnTo>
                      <a:pt x="16" y="85"/>
                    </a:lnTo>
                    <a:lnTo>
                      <a:pt x="13" y="82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8" y="82"/>
                    </a:lnTo>
                    <a:lnTo>
                      <a:pt x="8" y="82"/>
                    </a:lnTo>
                    <a:lnTo>
                      <a:pt x="5" y="84"/>
                    </a:lnTo>
                    <a:lnTo>
                      <a:pt x="5" y="84"/>
                    </a:lnTo>
                    <a:lnTo>
                      <a:pt x="3" y="90"/>
                    </a:lnTo>
                    <a:lnTo>
                      <a:pt x="3" y="90"/>
                    </a:lnTo>
                    <a:lnTo>
                      <a:pt x="2" y="98"/>
                    </a:lnTo>
                    <a:lnTo>
                      <a:pt x="2" y="98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2" y="119"/>
                    </a:lnTo>
                    <a:lnTo>
                      <a:pt x="2" y="119"/>
                    </a:lnTo>
                    <a:lnTo>
                      <a:pt x="3" y="126"/>
                    </a:lnTo>
                    <a:lnTo>
                      <a:pt x="3" y="126"/>
                    </a:lnTo>
                    <a:lnTo>
                      <a:pt x="5" y="129"/>
                    </a:lnTo>
                    <a:lnTo>
                      <a:pt x="5" y="129"/>
                    </a:lnTo>
                    <a:lnTo>
                      <a:pt x="6" y="130"/>
                    </a:lnTo>
                    <a:lnTo>
                      <a:pt x="6" y="130"/>
                    </a:lnTo>
                    <a:lnTo>
                      <a:pt x="9" y="132"/>
                    </a:lnTo>
                    <a:lnTo>
                      <a:pt x="9" y="132"/>
                    </a:lnTo>
                    <a:lnTo>
                      <a:pt x="12" y="132"/>
                    </a:lnTo>
                    <a:lnTo>
                      <a:pt x="12" y="130"/>
                    </a:lnTo>
                    <a:lnTo>
                      <a:pt x="12" y="130"/>
                    </a:lnTo>
                    <a:lnTo>
                      <a:pt x="12" y="132"/>
                    </a:lnTo>
                    <a:lnTo>
                      <a:pt x="12" y="130"/>
                    </a:lnTo>
                    <a:lnTo>
                      <a:pt x="12" y="130"/>
                    </a:lnTo>
                    <a:lnTo>
                      <a:pt x="12" y="129"/>
                    </a:lnTo>
                    <a:lnTo>
                      <a:pt x="11" y="130"/>
                    </a:lnTo>
                    <a:lnTo>
                      <a:pt x="12" y="130"/>
                    </a:lnTo>
                    <a:lnTo>
                      <a:pt x="12" y="129"/>
                    </a:lnTo>
                    <a:lnTo>
                      <a:pt x="11" y="130"/>
                    </a:lnTo>
                    <a:lnTo>
                      <a:pt x="12" y="130"/>
                    </a:lnTo>
                    <a:lnTo>
                      <a:pt x="11" y="130"/>
                    </a:lnTo>
                    <a:lnTo>
                      <a:pt x="11" y="130"/>
                    </a:lnTo>
                    <a:lnTo>
                      <a:pt x="12" y="130"/>
                    </a:lnTo>
                    <a:lnTo>
                      <a:pt x="11" y="130"/>
                    </a:lnTo>
                    <a:lnTo>
                      <a:pt x="11" y="130"/>
                    </a:lnTo>
                    <a:lnTo>
                      <a:pt x="11" y="130"/>
                    </a:lnTo>
                    <a:lnTo>
                      <a:pt x="11" y="132"/>
                    </a:lnTo>
                    <a:lnTo>
                      <a:pt x="11" y="132"/>
                    </a:lnTo>
                    <a:lnTo>
                      <a:pt x="11" y="132"/>
                    </a:lnTo>
                    <a:lnTo>
                      <a:pt x="11" y="133"/>
                    </a:lnTo>
                    <a:lnTo>
                      <a:pt x="11" y="133"/>
                    </a:lnTo>
                    <a:lnTo>
                      <a:pt x="13" y="147"/>
                    </a:lnTo>
                    <a:lnTo>
                      <a:pt x="13" y="147"/>
                    </a:lnTo>
                    <a:lnTo>
                      <a:pt x="15" y="155"/>
                    </a:lnTo>
                    <a:lnTo>
                      <a:pt x="15" y="155"/>
                    </a:lnTo>
                    <a:lnTo>
                      <a:pt x="16" y="156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8" y="159"/>
                    </a:lnTo>
                    <a:lnTo>
                      <a:pt x="18" y="159"/>
                    </a:lnTo>
                    <a:lnTo>
                      <a:pt x="19" y="159"/>
                    </a:lnTo>
                    <a:lnTo>
                      <a:pt x="19" y="159"/>
                    </a:lnTo>
                    <a:lnTo>
                      <a:pt x="31" y="161"/>
                    </a:lnTo>
                    <a:lnTo>
                      <a:pt x="31" y="161"/>
                    </a:lnTo>
                    <a:lnTo>
                      <a:pt x="37" y="162"/>
                    </a:lnTo>
                    <a:lnTo>
                      <a:pt x="37" y="162"/>
                    </a:lnTo>
                    <a:lnTo>
                      <a:pt x="38" y="163"/>
                    </a:lnTo>
                    <a:lnTo>
                      <a:pt x="38" y="163"/>
                    </a:lnTo>
                    <a:lnTo>
                      <a:pt x="40" y="161"/>
                    </a:lnTo>
                    <a:lnTo>
                      <a:pt x="38" y="162"/>
                    </a:lnTo>
                    <a:lnTo>
                      <a:pt x="38" y="162"/>
                    </a:lnTo>
                    <a:lnTo>
                      <a:pt x="38" y="163"/>
                    </a:lnTo>
                    <a:lnTo>
                      <a:pt x="40" y="161"/>
                    </a:lnTo>
                    <a:lnTo>
                      <a:pt x="38" y="162"/>
                    </a:lnTo>
                    <a:lnTo>
                      <a:pt x="38" y="162"/>
                    </a:lnTo>
                    <a:lnTo>
                      <a:pt x="40" y="162"/>
                    </a:lnTo>
                    <a:lnTo>
                      <a:pt x="38" y="162"/>
                    </a:lnTo>
                    <a:lnTo>
                      <a:pt x="38" y="162"/>
                    </a:lnTo>
                    <a:lnTo>
                      <a:pt x="40" y="162"/>
                    </a:lnTo>
                    <a:lnTo>
                      <a:pt x="38" y="162"/>
                    </a:lnTo>
                    <a:lnTo>
                      <a:pt x="38" y="162"/>
                    </a:lnTo>
                    <a:lnTo>
                      <a:pt x="38" y="161"/>
                    </a:lnTo>
                    <a:lnTo>
                      <a:pt x="38" y="162"/>
                    </a:lnTo>
                    <a:lnTo>
                      <a:pt x="38" y="162"/>
                    </a:lnTo>
                    <a:lnTo>
                      <a:pt x="38" y="161"/>
                    </a:lnTo>
                    <a:lnTo>
                      <a:pt x="38" y="162"/>
                    </a:lnTo>
                    <a:lnTo>
                      <a:pt x="38" y="162"/>
                    </a:lnTo>
                    <a:lnTo>
                      <a:pt x="37" y="163"/>
                    </a:lnTo>
                    <a:lnTo>
                      <a:pt x="37" y="163"/>
                    </a:lnTo>
                    <a:lnTo>
                      <a:pt x="38" y="165"/>
                    </a:lnTo>
                    <a:lnTo>
                      <a:pt x="38" y="165"/>
                    </a:lnTo>
                    <a:lnTo>
                      <a:pt x="40" y="166"/>
                    </a:lnTo>
                    <a:lnTo>
                      <a:pt x="40" y="166"/>
                    </a:lnTo>
                    <a:lnTo>
                      <a:pt x="42" y="168"/>
                    </a:lnTo>
                    <a:lnTo>
                      <a:pt x="42" y="168"/>
                    </a:lnTo>
                    <a:lnTo>
                      <a:pt x="51" y="168"/>
                    </a:lnTo>
                    <a:lnTo>
                      <a:pt x="51" y="168"/>
                    </a:lnTo>
                    <a:lnTo>
                      <a:pt x="57" y="166"/>
                    </a:lnTo>
                    <a:lnTo>
                      <a:pt x="57" y="166"/>
                    </a:lnTo>
                    <a:lnTo>
                      <a:pt x="61" y="166"/>
                    </a:lnTo>
                    <a:lnTo>
                      <a:pt x="61" y="166"/>
                    </a:lnTo>
                    <a:lnTo>
                      <a:pt x="63" y="163"/>
                    </a:lnTo>
                    <a:lnTo>
                      <a:pt x="63" y="163"/>
                    </a:lnTo>
                    <a:lnTo>
                      <a:pt x="64" y="163"/>
                    </a:lnTo>
                    <a:lnTo>
                      <a:pt x="63" y="162"/>
                    </a:lnTo>
                    <a:lnTo>
                      <a:pt x="64" y="163"/>
                    </a:lnTo>
                    <a:lnTo>
                      <a:pt x="64" y="163"/>
                    </a:lnTo>
                    <a:lnTo>
                      <a:pt x="63" y="162"/>
                    </a:lnTo>
                    <a:lnTo>
                      <a:pt x="64" y="163"/>
                    </a:lnTo>
                    <a:lnTo>
                      <a:pt x="61" y="162"/>
                    </a:lnTo>
                    <a:lnTo>
                      <a:pt x="63" y="163"/>
                    </a:lnTo>
                    <a:lnTo>
                      <a:pt x="64" y="163"/>
                    </a:lnTo>
                    <a:lnTo>
                      <a:pt x="61" y="162"/>
                    </a:lnTo>
                    <a:lnTo>
                      <a:pt x="63" y="163"/>
                    </a:lnTo>
                    <a:lnTo>
                      <a:pt x="61" y="162"/>
                    </a:lnTo>
                    <a:lnTo>
                      <a:pt x="61" y="163"/>
                    </a:lnTo>
                    <a:lnTo>
                      <a:pt x="61" y="163"/>
                    </a:lnTo>
                    <a:lnTo>
                      <a:pt x="63" y="163"/>
                    </a:lnTo>
                    <a:lnTo>
                      <a:pt x="61" y="162"/>
                    </a:lnTo>
                    <a:lnTo>
                      <a:pt x="61" y="163"/>
                    </a:lnTo>
                    <a:lnTo>
                      <a:pt x="61" y="162"/>
                    </a:lnTo>
                    <a:lnTo>
                      <a:pt x="61" y="163"/>
                    </a:lnTo>
                    <a:lnTo>
                      <a:pt x="61" y="163"/>
                    </a:lnTo>
                    <a:lnTo>
                      <a:pt x="61" y="163"/>
                    </a:lnTo>
                    <a:lnTo>
                      <a:pt x="61" y="162"/>
                    </a:lnTo>
                    <a:lnTo>
                      <a:pt x="61" y="163"/>
                    </a:lnTo>
                    <a:lnTo>
                      <a:pt x="61" y="163"/>
                    </a:lnTo>
                    <a:lnTo>
                      <a:pt x="61" y="163"/>
                    </a:lnTo>
                    <a:lnTo>
                      <a:pt x="61" y="163"/>
                    </a:lnTo>
                    <a:lnTo>
                      <a:pt x="61" y="163"/>
                    </a:lnTo>
                    <a:lnTo>
                      <a:pt x="61" y="163"/>
                    </a:lnTo>
                    <a:lnTo>
                      <a:pt x="61" y="163"/>
                    </a:lnTo>
                    <a:lnTo>
                      <a:pt x="63" y="165"/>
                    </a:lnTo>
                    <a:lnTo>
                      <a:pt x="63" y="165"/>
                    </a:lnTo>
                    <a:lnTo>
                      <a:pt x="67" y="166"/>
                    </a:lnTo>
                    <a:lnTo>
                      <a:pt x="67" y="166"/>
                    </a:lnTo>
                    <a:lnTo>
                      <a:pt x="79" y="172"/>
                    </a:lnTo>
                    <a:lnTo>
                      <a:pt x="79" y="172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6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6" y="174"/>
                    </a:lnTo>
                    <a:lnTo>
                      <a:pt x="84" y="174"/>
                    </a:lnTo>
                    <a:lnTo>
                      <a:pt x="86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6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6" y="176"/>
                    </a:lnTo>
                    <a:lnTo>
                      <a:pt x="86" y="176"/>
                    </a:lnTo>
                    <a:lnTo>
                      <a:pt x="87" y="178"/>
                    </a:lnTo>
                    <a:lnTo>
                      <a:pt x="90" y="178"/>
                    </a:lnTo>
                    <a:lnTo>
                      <a:pt x="90" y="178"/>
                    </a:lnTo>
                    <a:lnTo>
                      <a:pt x="93" y="178"/>
                    </a:lnTo>
                    <a:lnTo>
                      <a:pt x="97" y="176"/>
                    </a:lnTo>
                    <a:lnTo>
                      <a:pt x="97" y="176"/>
                    </a:lnTo>
                    <a:lnTo>
                      <a:pt x="109" y="169"/>
                    </a:lnTo>
                    <a:lnTo>
                      <a:pt x="109" y="169"/>
                    </a:lnTo>
                    <a:lnTo>
                      <a:pt x="113" y="165"/>
                    </a:lnTo>
                    <a:lnTo>
                      <a:pt x="116" y="159"/>
                    </a:lnTo>
                    <a:lnTo>
                      <a:pt x="116" y="159"/>
                    </a:lnTo>
                    <a:lnTo>
                      <a:pt x="119" y="147"/>
                    </a:lnTo>
                    <a:lnTo>
                      <a:pt x="119" y="147"/>
                    </a:lnTo>
                    <a:lnTo>
                      <a:pt x="119" y="143"/>
                    </a:lnTo>
                    <a:lnTo>
                      <a:pt x="122" y="140"/>
                    </a:lnTo>
                    <a:lnTo>
                      <a:pt x="122" y="140"/>
                    </a:lnTo>
                    <a:lnTo>
                      <a:pt x="132" y="130"/>
                    </a:lnTo>
                    <a:lnTo>
                      <a:pt x="138" y="123"/>
                    </a:lnTo>
                    <a:lnTo>
                      <a:pt x="142" y="114"/>
                    </a:lnTo>
                    <a:lnTo>
                      <a:pt x="142" y="114"/>
                    </a:lnTo>
                    <a:lnTo>
                      <a:pt x="145" y="105"/>
                    </a:lnTo>
                    <a:lnTo>
                      <a:pt x="145" y="105"/>
                    </a:lnTo>
                    <a:lnTo>
                      <a:pt x="147" y="104"/>
                    </a:lnTo>
                    <a:lnTo>
                      <a:pt x="147" y="104"/>
                    </a:lnTo>
                    <a:lnTo>
                      <a:pt x="150" y="103"/>
                    </a:lnTo>
                    <a:lnTo>
                      <a:pt x="150" y="103"/>
                    </a:lnTo>
                    <a:lnTo>
                      <a:pt x="157" y="103"/>
                    </a:lnTo>
                    <a:lnTo>
                      <a:pt x="157" y="103"/>
                    </a:lnTo>
                    <a:lnTo>
                      <a:pt x="160" y="101"/>
                    </a:lnTo>
                    <a:lnTo>
                      <a:pt x="160" y="101"/>
                    </a:lnTo>
                    <a:lnTo>
                      <a:pt x="161" y="100"/>
                    </a:lnTo>
                    <a:lnTo>
                      <a:pt x="161" y="100"/>
                    </a:lnTo>
                    <a:lnTo>
                      <a:pt x="161" y="98"/>
                    </a:lnTo>
                    <a:lnTo>
                      <a:pt x="161" y="98"/>
                    </a:lnTo>
                    <a:lnTo>
                      <a:pt x="161" y="95"/>
                    </a:lnTo>
                    <a:lnTo>
                      <a:pt x="161" y="95"/>
                    </a:lnTo>
                    <a:lnTo>
                      <a:pt x="158" y="94"/>
                    </a:lnTo>
                    <a:lnTo>
                      <a:pt x="158" y="94"/>
                    </a:lnTo>
                    <a:lnTo>
                      <a:pt x="150" y="88"/>
                    </a:lnTo>
                    <a:lnTo>
                      <a:pt x="150" y="88"/>
                    </a:lnTo>
                    <a:lnTo>
                      <a:pt x="145" y="85"/>
                    </a:lnTo>
                    <a:lnTo>
                      <a:pt x="145" y="84"/>
                    </a:lnTo>
                    <a:lnTo>
                      <a:pt x="145" y="84"/>
                    </a:lnTo>
                    <a:lnTo>
                      <a:pt x="144" y="84"/>
                    </a:lnTo>
                    <a:lnTo>
                      <a:pt x="145" y="84"/>
                    </a:lnTo>
                    <a:lnTo>
                      <a:pt x="145" y="84"/>
                    </a:lnTo>
                    <a:lnTo>
                      <a:pt x="144" y="84"/>
                    </a:lnTo>
                    <a:lnTo>
                      <a:pt x="145" y="84"/>
                    </a:lnTo>
                    <a:lnTo>
                      <a:pt x="144" y="84"/>
                    </a:lnTo>
                    <a:lnTo>
                      <a:pt x="145" y="85"/>
                    </a:lnTo>
                    <a:lnTo>
                      <a:pt x="145" y="84"/>
                    </a:lnTo>
                    <a:lnTo>
                      <a:pt x="144" y="84"/>
                    </a:lnTo>
                    <a:lnTo>
                      <a:pt x="145" y="85"/>
                    </a:lnTo>
                    <a:lnTo>
                      <a:pt x="144" y="84"/>
                    </a:lnTo>
                    <a:lnTo>
                      <a:pt x="145" y="85"/>
                    </a:lnTo>
                    <a:lnTo>
                      <a:pt x="145" y="85"/>
                    </a:lnTo>
                    <a:lnTo>
                      <a:pt x="144" y="84"/>
                    </a:lnTo>
                    <a:lnTo>
                      <a:pt x="145" y="85"/>
                    </a:lnTo>
                    <a:lnTo>
                      <a:pt x="144" y="85"/>
                    </a:lnTo>
                    <a:lnTo>
                      <a:pt x="145" y="85"/>
                    </a:lnTo>
                    <a:lnTo>
                      <a:pt x="145" y="85"/>
                    </a:lnTo>
                    <a:lnTo>
                      <a:pt x="144" y="85"/>
                    </a:lnTo>
                    <a:lnTo>
                      <a:pt x="145" y="85"/>
                    </a:lnTo>
                    <a:lnTo>
                      <a:pt x="145" y="85"/>
                    </a:lnTo>
                    <a:lnTo>
                      <a:pt x="148" y="82"/>
                    </a:lnTo>
                    <a:lnTo>
                      <a:pt x="148" y="82"/>
                    </a:lnTo>
                    <a:lnTo>
                      <a:pt x="150" y="78"/>
                    </a:lnTo>
                    <a:lnTo>
                      <a:pt x="150" y="78"/>
                    </a:lnTo>
                    <a:lnTo>
                      <a:pt x="148" y="74"/>
                    </a:lnTo>
                    <a:lnTo>
                      <a:pt x="148" y="74"/>
                    </a:lnTo>
                    <a:lnTo>
                      <a:pt x="139" y="65"/>
                    </a:lnTo>
                    <a:lnTo>
                      <a:pt x="139" y="65"/>
                    </a:lnTo>
                    <a:lnTo>
                      <a:pt x="135" y="59"/>
                    </a:lnTo>
                    <a:lnTo>
                      <a:pt x="135" y="59"/>
                    </a:lnTo>
                    <a:lnTo>
                      <a:pt x="135" y="58"/>
                    </a:lnTo>
                    <a:lnTo>
                      <a:pt x="134" y="56"/>
                    </a:lnTo>
                    <a:lnTo>
                      <a:pt x="134" y="56"/>
                    </a:lnTo>
                    <a:lnTo>
                      <a:pt x="132" y="58"/>
                    </a:lnTo>
                    <a:lnTo>
                      <a:pt x="134" y="58"/>
                    </a:lnTo>
                    <a:lnTo>
                      <a:pt x="134" y="58"/>
                    </a:lnTo>
                    <a:lnTo>
                      <a:pt x="134" y="56"/>
                    </a:lnTo>
                    <a:lnTo>
                      <a:pt x="132" y="58"/>
                    </a:lnTo>
                    <a:lnTo>
                      <a:pt x="134" y="58"/>
                    </a:lnTo>
                    <a:lnTo>
                      <a:pt x="132" y="58"/>
                    </a:lnTo>
                    <a:lnTo>
                      <a:pt x="134" y="59"/>
                    </a:lnTo>
                    <a:lnTo>
                      <a:pt x="134" y="59"/>
                    </a:lnTo>
                    <a:lnTo>
                      <a:pt x="134" y="58"/>
                    </a:lnTo>
                    <a:lnTo>
                      <a:pt x="132" y="58"/>
                    </a:lnTo>
                    <a:lnTo>
                      <a:pt x="134" y="59"/>
                    </a:lnTo>
                    <a:lnTo>
                      <a:pt x="132" y="58"/>
                    </a:lnTo>
                    <a:lnTo>
                      <a:pt x="132" y="59"/>
                    </a:lnTo>
                    <a:lnTo>
                      <a:pt x="132" y="59"/>
                    </a:lnTo>
                    <a:lnTo>
                      <a:pt x="134" y="59"/>
                    </a:lnTo>
                    <a:lnTo>
                      <a:pt x="132" y="58"/>
                    </a:lnTo>
                    <a:lnTo>
                      <a:pt x="132" y="59"/>
                    </a:lnTo>
                    <a:lnTo>
                      <a:pt x="132" y="59"/>
                    </a:lnTo>
                    <a:lnTo>
                      <a:pt x="135" y="59"/>
                    </a:lnTo>
                    <a:lnTo>
                      <a:pt x="135" y="59"/>
                    </a:lnTo>
                    <a:lnTo>
                      <a:pt x="139" y="59"/>
                    </a:lnTo>
                    <a:lnTo>
                      <a:pt x="139" y="59"/>
                    </a:lnTo>
                    <a:lnTo>
                      <a:pt x="141" y="59"/>
                    </a:lnTo>
                    <a:lnTo>
                      <a:pt x="142" y="59"/>
                    </a:lnTo>
                    <a:lnTo>
                      <a:pt x="142" y="59"/>
                    </a:lnTo>
                    <a:lnTo>
                      <a:pt x="144" y="56"/>
                    </a:lnTo>
                    <a:lnTo>
                      <a:pt x="144" y="56"/>
                    </a:lnTo>
                    <a:lnTo>
                      <a:pt x="142" y="55"/>
                    </a:lnTo>
                    <a:lnTo>
                      <a:pt x="142" y="55"/>
                    </a:lnTo>
                    <a:lnTo>
                      <a:pt x="141" y="52"/>
                    </a:lnTo>
                    <a:lnTo>
                      <a:pt x="139" y="50"/>
                    </a:lnTo>
                    <a:lnTo>
                      <a:pt x="139" y="50"/>
                    </a:lnTo>
                    <a:lnTo>
                      <a:pt x="139" y="52"/>
                    </a:lnTo>
                    <a:lnTo>
                      <a:pt x="139" y="52"/>
                    </a:lnTo>
                    <a:lnTo>
                      <a:pt x="139" y="50"/>
                    </a:lnTo>
                    <a:lnTo>
                      <a:pt x="139" y="52"/>
                    </a:lnTo>
                    <a:lnTo>
                      <a:pt x="139" y="52"/>
                    </a:lnTo>
                    <a:lnTo>
                      <a:pt x="138" y="52"/>
                    </a:lnTo>
                    <a:lnTo>
                      <a:pt x="139" y="52"/>
                    </a:lnTo>
                    <a:lnTo>
                      <a:pt x="139" y="52"/>
                    </a:lnTo>
                    <a:lnTo>
                      <a:pt x="138" y="52"/>
                    </a:lnTo>
                    <a:lnTo>
                      <a:pt x="139" y="52"/>
                    </a:lnTo>
                    <a:lnTo>
                      <a:pt x="138" y="52"/>
                    </a:lnTo>
                    <a:lnTo>
                      <a:pt x="139" y="52"/>
                    </a:lnTo>
                    <a:lnTo>
                      <a:pt x="139" y="52"/>
                    </a:lnTo>
                    <a:lnTo>
                      <a:pt x="138" y="52"/>
                    </a:lnTo>
                    <a:lnTo>
                      <a:pt x="139" y="52"/>
                    </a:lnTo>
                    <a:lnTo>
                      <a:pt x="139" y="52"/>
                    </a:lnTo>
                    <a:lnTo>
                      <a:pt x="139" y="52"/>
                    </a:lnTo>
                    <a:lnTo>
                      <a:pt x="148" y="50"/>
                    </a:lnTo>
                    <a:lnTo>
                      <a:pt x="148" y="50"/>
                    </a:lnTo>
                    <a:lnTo>
                      <a:pt x="153" y="49"/>
                    </a:lnTo>
                    <a:lnTo>
                      <a:pt x="153" y="49"/>
                    </a:lnTo>
                    <a:lnTo>
                      <a:pt x="155" y="48"/>
                    </a:lnTo>
                    <a:lnTo>
                      <a:pt x="155" y="48"/>
                    </a:lnTo>
                    <a:lnTo>
                      <a:pt x="155" y="48"/>
                    </a:lnTo>
                    <a:lnTo>
                      <a:pt x="157" y="46"/>
                    </a:lnTo>
                    <a:lnTo>
                      <a:pt x="157" y="46"/>
                    </a:lnTo>
                    <a:lnTo>
                      <a:pt x="155" y="43"/>
                    </a:lnTo>
                    <a:lnTo>
                      <a:pt x="155" y="43"/>
                    </a:lnTo>
                    <a:lnTo>
                      <a:pt x="155" y="43"/>
                    </a:lnTo>
                    <a:lnTo>
                      <a:pt x="155" y="43"/>
                    </a:lnTo>
                    <a:lnTo>
                      <a:pt x="161" y="37"/>
                    </a:lnTo>
                    <a:lnTo>
                      <a:pt x="161" y="37"/>
                    </a:lnTo>
                    <a:lnTo>
                      <a:pt x="164" y="35"/>
                    </a:lnTo>
                    <a:lnTo>
                      <a:pt x="164" y="35"/>
                    </a:lnTo>
                    <a:lnTo>
                      <a:pt x="166" y="33"/>
                    </a:lnTo>
                    <a:lnTo>
                      <a:pt x="166" y="33"/>
                    </a:lnTo>
                    <a:lnTo>
                      <a:pt x="166" y="32"/>
                    </a:lnTo>
                    <a:lnTo>
                      <a:pt x="166" y="32"/>
                    </a:lnTo>
                    <a:lnTo>
                      <a:pt x="166" y="29"/>
                    </a:lnTo>
                    <a:lnTo>
                      <a:pt x="166" y="29"/>
                    </a:lnTo>
                    <a:lnTo>
                      <a:pt x="163" y="27"/>
                    </a:lnTo>
                    <a:lnTo>
                      <a:pt x="163" y="30"/>
                    </a:lnTo>
                    <a:lnTo>
                      <a:pt x="161" y="33"/>
                    </a:lnTo>
                    <a:lnTo>
                      <a:pt x="161" y="33"/>
                    </a:lnTo>
                    <a:lnTo>
                      <a:pt x="163" y="32"/>
                    </a:lnTo>
                    <a:lnTo>
                      <a:pt x="161" y="33"/>
                    </a:lnTo>
                    <a:lnTo>
                      <a:pt x="161" y="33"/>
                    </a:lnTo>
                    <a:lnTo>
                      <a:pt x="163" y="32"/>
                    </a:lnTo>
                    <a:lnTo>
                      <a:pt x="161" y="33"/>
                    </a:lnTo>
                    <a:lnTo>
                      <a:pt x="163" y="32"/>
                    </a:lnTo>
                    <a:lnTo>
                      <a:pt x="161" y="32"/>
                    </a:lnTo>
                    <a:lnTo>
                      <a:pt x="161" y="33"/>
                    </a:lnTo>
                    <a:lnTo>
                      <a:pt x="163" y="32"/>
                    </a:lnTo>
                    <a:lnTo>
                      <a:pt x="161" y="32"/>
                    </a:lnTo>
                    <a:lnTo>
                      <a:pt x="163" y="32"/>
                    </a:lnTo>
                    <a:lnTo>
                      <a:pt x="161" y="30"/>
                    </a:lnTo>
                    <a:lnTo>
                      <a:pt x="161" y="32"/>
                    </a:lnTo>
                    <a:lnTo>
                      <a:pt x="163" y="32"/>
                    </a:lnTo>
                    <a:lnTo>
                      <a:pt x="161" y="30"/>
                    </a:lnTo>
                    <a:lnTo>
                      <a:pt x="161" y="32"/>
                    </a:lnTo>
                    <a:lnTo>
                      <a:pt x="161" y="30"/>
                    </a:lnTo>
                    <a:lnTo>
                      <a:pt x="161" y="30"/>
                    </a:lnTo>
                    <a:lnTo>
                      <a:pt x="161" y="32"/>
                    </a:lnTo>
                    <a:lnTo>
                      <a:pt x="161" y="30"/>
                    </a:lnTo>
                    <a:lnTo>
                      <a:pt x="161" y="30"/>
                    </a:lnTo>
                    <a:lnTo>
                      <a:pt x="160" y="33"/>
                    </a:lnTo>
                    <a:lnTo>
                      <a:pt x="160" y="33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3" y="39"/>
                    </a:lnTo>
                    <a:lnTo>
                      <a:pt x="153" y="39"/>
                    </a:lnTo>
                    <a:lnTo>
                      <a:pt x="151" y="43"/>
                    </a:lnTo>
                    <a:lnTo>
                      <a:pt x="151" y="43"/>
                    </a:lnTo>
                    <a:lnTo>
                      <a:pt x="153" y="46"/>
                    </a:lnTo>
                    <a:lnTo>
                      <a:pt x="154" y="46"/>
                    </a:lnTo>
                    <a:lnTo>
                      <a:pt x="151" y="46"/>
                    </a:lnTo>
                    <a:lnTo>
                      <a:pt x="151" y="46"/>
                    </a:lnTo>
                    <a:lnTo>
                      <a:pt x="153" y="46"/>
                    </a:lnTo>
                    <a:lnTo>
                      <a:pt x="154" y="46"/>
                    </a:lnTo>
                    <a:lnTo>
                      <a:pt x="151" y="46"/>
                    </a:lnTo>
                    <a:lnTo>
                      <a:pt x="154" y="46"/>
                    </a:lnTo>
                    <a:lnTo>
                      <a:pt x="153" y="45"/>
                    </a:lnTo>
                    <a:lnTo>
                      <a:pt x="153" y="45"/>
                    </a:lnTo>
                    <a:lnTo>
                      <a:pt x="151" y="46"/>
                    </a:lnTo>
                    <a:lnTo>
                      <a:pt x="154" y="46"/>
                    </a:lnTo>
                    <a:lnTo>
                      <a:pt x="153" y="45"/>
                    </a:lnTo>
                    <a:lnTo>
                      <a:pt x="153" y="45"/>
                    </a:lnTo>
                    <a:lnTo>
                      <a:pt x="153" y="45"/>
                    </a:lnTo>
                    <a:lnTo>
                      <a:pt x="153" y="45"/>
                    </a:lnTo>
                    <a:lnTo>
                      <a:pt x="153" y="45"/>
                    </a:lnTo>
                    <a:lnTo>
                      <a:pt x="153" y="45"/>
                    </a:lnTo>
                    <a:lnTo>
                      <a:pt x="153" y="45"/>
                    </a:lnTo>
                    <a:lnTo>
                      <a:pt x="150" y="45"/>
                    </a:lnTo>
                    <a:lnTo>
                      <a:pt x="150" y="45"/>
                    </a:lnTo>
                    <a:lnTo>
                      <a:pt x="138" y="48"/>
                    </a:lnTo>
                    <a:lnTo>
                      <a:pt x="138" y="48"/>
                    </a:lnTo>
                    <a:lnTo>
                      <a:pt x="137" y="49"/>
                    </a:lnTo>
                    <a:lnTo>
                      <a:pt x="137" y="49"/>
                    </a:lnTo>
                    <a:lnTo>
                      <a:pt x="135" y="52"/>
                    </a:lnTo>
                    <a:lnTo>
                      <a:pt x="135" y="52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8" y="56"/>
                    </a:lnTo>
                    <a:lnTo>
                      <a:pt x="138" y="56"/>
                    </a:lnTo>
                    <a:lnTo>
                      <a:pt x="139" y="58"/>
                    </a:lnTo>
                    <a:lnTo>
                      <a:pt x="141" y="56"/>
                    </a:lnTo>
                    <a:lnTo>
                      <a:pt x="138" y="56"/>
                    </a:lnTo>
                    <a:lnTo>
                      <a:pt x="138" y="56"/>
                    </a:lnTo>
                    <a:lnTo>
                      <a:pt x="139" y="58"/>
                    </a:lnTo>
                    <a:lnTo>
                      <a:pt x="141" y="56"/>
                    </a:lnTo>
                    <a:lnTo>
                      <a:pt x="138" y="56"/>
                    </a:lnTo>
                    <a:lnTo>
                      <a:pt x="141" y="56"/>
                    </a:lnTo>
                    <a:lnTo>
                      <a:pt x="139" y="55"/>
                    </a:lnTo>
                    <a:lnTo>
                      <a:pt x="139" y="55"/>
                    </a:lnTo>
                    <a:lnTo>
                      <a:pt x="138" y="56"/>
                    </a:lnTo>
                    <a:lnTo>
                      <a:pt x="141" y="56"/>
                    </a:lnTo>
                    <a:lnTo>
                      <a:pt x="139" y="55"/>
                    </a:lnTo>
                    <a:lnTo>
                      <a:pt x="139" y="56"/>
                    </a:lnTo>
                    <a:lnTo>
                      <a:pt x="139" y="55"/>
                    </a:lnTo>
                    <a:lnTo>
                      <a:pt x="139" y="55"/>
                    </a:lnTo>
                    <a:lnTo>
                      <a:pt x="139" y="56"/>
                    </a:lnTo>
                    <a:lnTo>
                      <a:pt x="139" y="55"/>
                    </a:lnTo>
                    <a:lnTo>
                      <a:pt x="139" y="55"/>
                    </a:lnTo>
                    <a:lnTo>
                      <a:pt x="138" y="55"/>
                    </a:lnTo>
                    <a:lnTo>
                      <a:pt x="138" y="55"/>
                    </a:lnTo>
                    <a:lnTo>
                      <a:pt x="135" y="55"/>
                    </a:lnTo>
                    <a:lnTo>
                      <a:pt x="135" y="55"/>
                    </a:lnTo>
                    <a:lnTo>
                      <a:pt x="132" y="55"/>
                    </a:lnTo>
                    <a:lnTo>
                      <a:pt x="132" y="55"/>
                    </a:lnTo>
                    <a:lnTo>
                      <a:pt x="129" y="56"/>
                    </a:lnTo>
                    <a:lnTo>
                      <a:pt x="129" y="56"/>
                    </a:lnTo>
                    <a:lnTo>
                      <a:pt x="129" y="58"/>
                    </a:lnTo>
                    <a:lnTo>
                      <a:pt x="129" y="58"/>
                    </a:lnTo>
                    <a:lnTo>
                      <a:pt x="129" y="59"/>
                    </a:lnTo>
                    <a:lnTo>
                      <a:pt x="129" y="59"/>
                    </a:lnTo>
                    <a:lnTo>
                      <a:pt x="132" y="63"/>
                    </a:lnTo>
                    <a:lnTo>
                      <a:pt x="132" y="63"/>
                    </a:lnTo>
                    <a:lnTo>
                      <a:pt x="144" y="78"/>
                    </a:lnTo>
                    <a:lnTo>
                      <a:pt x="144" y="78"/>
                    </a:lnTo>
                    <a:lnTo>
                      <a:pt x="144" y="78"/>
                    </a:lnTo>
                    <a:lnTo>
                      <a:pt x="144" y="78"/>
                    </a:lnTo>
                    <a:lnTo>
                      <a:pt x="144" y="78"/>
                    </a:lnTo>
                    <a:lnTo>
                      <a:pt x="144" y="78"/>
                    </a:lnTo>
                    <a:lnTo>
                      <a:pt x="141" y="81"/>
                    </a:lnTo>
                    <a:lnTo>
                      <a:pt x="141" y="81"/>
                    </a:lnTo>
                    <a:lnTo>
                      <a:pt x="139" y="84"/>
                    </a:lnTo>
                    <a:lnTo>
                      <a:pt x="139" y="84"/>
                    </a:lnTo>
                    <a:lnTo>
                      <a:pt x="141" y="87"/>
                    </a:lnTo>
                    <a:lnTo>
                      <a:pt x="141" y="87"/>
                    </a:lnTo>
                    <a:lnTo>
                      <a:pt x="144" y="90"/>
                    </a:lnTo>
                    <a:lnTo>
                      <a:pt x="144" y="90"/>
                    </a:lnTo>
                    <a:lnTo>
                      <a:pt x="151" y="94"/>
                    </a:lnTo>
                    <a:lnTo>
                      <a:pt x="151" y="94"/>
                    </a:lnTo>
                    <a:lnTo>
                      <a:pt x="155" y="98"/>
                    </a:lnTo>
                    <a:lnTo>
                      <a:pt x="155" y="98"/>
                    </a:lnTo>
                    <a:lnTo>
                      <a:pt x="157" y="98"/>
                    </a:lnTo>
                    <a:lnTo>
                      <a:pt x="157" y="98"/>
                    </a:lnTo>
                    <a:lnTo>
                      <a:pt x="157" y="98"/>
                    </a:lnTo>
                    <a:lnTo>
                      <a:pt x="158" y="98"/>
                    </a:lnTo>
                    <a:lnTo>
                      <a:pt x="157" y="98"/>
                    </a:lnTo>
                    <a:lnTo>
                      <a:pt x="157" y="98"/>
                    </a:lnTo>
                    <a:lnTo>
                      <a:pt x="158" y="98"/>
                    </a:lnTo>
                    <a:lnTo>
                      <a:pt x="157" y="98"/>
                    </a:lnTo>
                    <a:lnTo>
                      <a:pt x="158" y="98"/>
                    </a:lnTo>
                    <a:lnTo>
                      <a:pt x="157" y="98"/>
                    </a:lnTo>
                    <a:lnTo>
                      <a:pt x="157" y="98"/>
                    </a:lnTo>
                    <a:lnTo>
                      <a:pt x="158" y="98"/>
                    </a:lnTo>
                    <a:lnTo>
                      <a:pt x="157" y="98"/>
                    </a:lnTo>
                    <a:lnTo>
                      <a:pt x="158" y="98"/>
                    </a:lnTo>
                    <a:lnTo>
                      <a:pt x="157" y="97"/>
                    </a:lnTo>
                    <a:lnTo>
                      <a:pt x="157" y="98"/>
                    </a:lnTo>
                    <a:lnTo>
                      <a:pt x="158" y="98"/>
                    </a:lnTo>
                    <a:lnTo>
                      <a:pt x="157" y="97"/>
                    </a:lnTo>
                    <a:lnTo>
                      <a:pt x="157" y="97"/>
                    </a:lnTo>
                    <a:lnTo>
                      <a:pt x="155" y="98"/>
                    </a:lnTo>
                    <a:lnTo>
                      <a:pt x="155" y="98"/>
                    </a:lnTo>
                    <a:lnTo>
                      <a:pt x="150" y="98"/>
                    </a:lnTo>
                    <a:lnTo>
                      <a:pt x="150" y="98"/>
                    </a:lnTo>
                    <a:lnTo>
                      <a:pt x="145" y="100"/>
                    </a:lnTo>
                    <a:lnTo>
                      <a:pt x="145" y="100"/>
                    </a:lnTo>
                    <a:lnTo>
                      <a:pt x="142" y="101"/>
                    </a:lnTo>
                    <a:lnTo>
                      <a:pt x="142" y="101"/>
                    </a:lnTo>
                    <a:lnTo>
                      <a:pt x="139" y="107"/>
                    </a:lnTo>
                    <a:lnTo>
                      <a:pt x="139" y="107"/>
                    </a:lnTo>
                    <a:lnTo>
                      <a:pt x="138" y="113"/>
                    </a:lnTo>
                    <a:lnTo>
                      <a:pt x="138" y="113"/>
                    </a:lnTo>
                    <a:lnTo>
                      <a:pt x="134" y="120"/>
                    </a:lnTo>
                    <a:lnTo>
                      <a:pt x="129" y="127"/>
                    </a:lnTo>
                    <a:lnTo>
                      <a:pt x="119" y="137"/>
                    </a:lnTo>
                    <a:lnTo>
                      <a:pt x="119" y="137"/>
                    </a:lnTo>
                    <a:lnTo>
                      <a:pt x="115" y="142"/>
                    </a:lnTo>
                    <a:lnTo>
                      <a:pt x="113" y="147"/>
                    </a:lnTo>
                    <a:lnTo>
                      <a:pt x="113" y="147"/>
                    </a:lnTo>
                    <a:lnTo>
                      <a:pt x="112" y="158"/>
                    </a:lnTo>
                    <a:lnTo>
                      <a:pt x="112" y="158"/>
                    </a:lnTo>
                    <a:lnTo>
                      <a:pt x="109" y="162"/>
                    </a:lnTo>
                    <a:lnTo>
                      <a:pt x="106" y="166"/>
                    </a:lnTo>
                    <a:lnTo>
                      <a:pt x="106" y="166"/>
                    </a:lnTo>
                    <a:lnTo>
                      <a:pt x="96" y="172"/>
                    </a:lnTo>
                    <a:lnTo>
                      <a:pt x="96" y="172"/>
                    </a:lnTo>
                    <a:lnTo>
                      <a:pt x="90" y="174"/>
                    </a:lnTo>
                    <a:lnTo>
                      <a:pt x="90" y="174"/>
                    </a:lnTo>
                    <a:lnTo>
                      <a:pt x="89" y="174"/>
                    </a:lnTo>
                    <a:lnTo>
                      <a:pt x="90" y="174"/>
                    </a:lnTo>
                    <a:lnTo>
                      <a:pt x="90" y="174"/>
                    </a:lnTo>
                    <a:lnTo>
                      <a:pt x="89" y="174"/>
                    </a:lnTo>
                    <a:lnTo>
                      <a:pt x="90" y="174"/>
                    </a:lnTo>
                    <a:lnTo>
                      <a:pt x="90" y="174"/>
                    </a:lnTo>
                    <a:lnTo>
                      <a:pt x="90" y="174"/>
                    </a:lnTo>
                    <a:lnTo>
                      <a:pt x="89" y="171"/>
                    </a:lnTo>
                    <a:lnTo>
                      <a:pt x="89" y="171"/>
                    </a:lnTo>
                    <a:lnTo>
                      <a:pt x="84" y="168"/>
                    </a:lnTo>
                    <a:lnTo>
                      <a:pt x="84" y="168"/>
                    </a:lnTo>
                    <a:lnTo>
                      <a:pt x="69" y="162"/>
                    </a:lnTo>
                    <a:lnTo>
                      <a:pt x="69" y="162"/>
                    </a:lnTo>
                    <a:lnTo>
                      <a:pt x="64" y="161"/>
                    </a:lnTo>
                    <a:lnTo>
                      <a:pt x="64" y="159"/>
                    </a:lnTo>
                    <a:lnTo>
                      <a:pt x="64" y="159"/>
                    </a:lnTo>
                    <a:lnTo>
                      <a:pt x="61" y="159"/>
                    </a:lnTo>
                    <a:lnTo>
                      <a:pt x="61" y="159"/>
                    </a:lnTo>
                    <a:lnTo>
                      <a:pt x="60" y="161"/>
                    </a:lnTo>
                    <a:lnTo>
                      <a:pt x="60" y="161"/>
                    </a:lnTo>
                    <a:lnTo>
                      <a:pt x="58" y="161"/>
                    </a:lnTo>
                    <a:lnTo>
                      <a:pt x="58" y="162"/>
                    </a:lnTo>
                    <a:lnTo>
                      <a:pt x="60" y="162"/>
                    </a:lnTo>
                    <a:lnTo>
                      <a:pt x="58" y="162"/>
                    </a:lnTo>
                    <a:lnTo>
                      <a:pt x="58" y="162"/>
                    </a:lnTo>
                    <a:lnTo>
                      <a:pt x="60" y="162"/>
                    </a:lnTo>
                    <a:lnTo>
                      <a:pt x="58" y="162"/>
                    </a:lnTo>
                    <a:lnTo>
                      <a:pt x="58" y="162"/>
                    </a:lnTo>
                    <a:lnTo>
                      <a:pt x="58" y="162"/>
                    </a:lnTo>
                    <a:lnTo>
                      <a:pt x="55" y="162"/>
                    </a:lnTo>
                    <a:lnTo>
                      <a:pt x="55" y="162"/>
                    </a:lnTo>
                    <a:lnTo>
                      <a:pt x="51" y="162"/>
                    </a:lnTo>
                    <a:lnTo>
                      <a:pt x="51" y="162"/>
                    </a:lnTo>
                    <a:lnTo>
                      <a:pt x="42" y="162"/>
                    </a:lnTo>
                    <a:lnTo>
                      <a:pt x="42" y="162"/>
                    </a:lnTo>
                    <a:lnTo>
                      <a:pt x="42" y="162"/>
                    </a:lnTo>
                    <a:lnTo>
                      <a:pt x="41" y="162"/>
                    </a:lnTo>
                    <a:lnTo>
                      <a:pt x="41" y="163"/>
                    </a:lnTo>
                    <a:lnTo>
                      <a:pt x="42" y="162"/>
                    </a:lnTo>
                    <a:lnTo>
                      <a:pt x="41" y="162"/>
                    </a:lnTo>
                    <a:lnTo>
                      <a:pt x="41" y="163"/>
                    </a:lnTo>
                    <a:lnTo>
                      <a:pt x="42" y="162"/>
                    </a:lnTo>
                    <a:lnTo>
                      <a:pt x="41" y="163"/>
                    </a:lnTo>
                    <a:lnTo>
                      <a:pt x="42" y="163"/>
                    </a:lnTo>
                    <a:lnTo>
                      <a:pt x="42" y="162"/>
                    </a:lnTo>
                    <a:lnTo>
                      <a:pt x="41" y="163"/>
                    </a:lnTo>
                    <a:lnTo>
                      <a:pt x="42" y="163"/>
                    </a:lnTo>
                    <a:lnTo>
                      <a:pt x="41" y="163"/>
                    </a:lnTo>
                    <a:lnTo>
                      <a:pt x="42" y="163"/>
                    </a:lnTo>
                    <a:lnTo>
                      <a:pt x="42" y="163"/>
                    </a:lnTo>
                    <a:lnTo>
                      <a:pt x="41" y="163"/>
                    </a:lnTo>
                    <a:lnTo>
                      <a:pt x="42" y="163"/>
                    </a:lnTo>
                    <a:lnTo>
                      <a:pt x="42" y="163"/>
                    </a:lnTo>
                    <a:lnTo>
                      <a:pt x="42" y="163"/>
                    </a:lnTo>
                    <a:lnTo>
                      <a:pt x="42" y="162"/>
                    </a:lnTo>
                    <a:lnTo>
                      <a:pt x="42" y="162"/>
                    </a:lnTo>
                    <a:lnTo>
                      <a:pt x="42" y="159"/>
                    </a:lnTo>
                    <a:lnTo>
                      <a:pt x="42" y="159"/>
                    </a:lnTo>
                    <a:lnTo>
                      <a:pt x="42" y="159"/>
                    </a:lnTo>
                    <a:lnTo>
                      <a:pt x="41" y="158"/>
                    </a:lnTo>
                    <a:lnTo>
                      <a:pt x="41" y="158"/>
                    </a:lnTo>
                    <a:lnTo>
                      <a:pt x="40" y="158"/>
                    </a:lnTo>
                    <a:lnTo>
                      <a:pt x="40" y="158"/>
                    </a:lnTo>
                    <a:lnTo>
                      <a:pt x="28" y="155"/>
                    </a:lnTo>
                    <a:lnTo>
                      <a:pt x="28" y="155"/>
                    </a:lnTo>
                    <a:lnTo>
                      <a:pt x="22" y="155"/>
                    </a:lnTo>
                    <a:lnTo>
                      <a:pt x="22" y="155"/>
                    </a:lnTo>
                    <a:lnTo>
                      <a:pt x="21" y="155"/>
                    </a:lnTo>
                    <a:lnTo>
                      <a:pt x="21" y="155"/>
                    </a:lnTo>
                    <a:lnTo>
                      <a:pt x="19" y="155"/>
                    </a:lnTo>
                    <a:lnTo>
                      <a:pt x="19" y="156"/>
                    </a:lnTo>
                    <a:lnTo>
                      <a:pt x="21" y="155"/>
                    </a:lnTo>
                    <a:lnTo>
                      <a:pt x="21" y="155"/>
                    </a:lnTo>
                    <a:lnTo>
                      <a:pt x="19" y="155"/>
                    </a:lnTo>
                    <a:lnTo>
                      <a:pt x="19" y="156"/>
                    </a:lnTo>
                    <a:lnTo>
                      <a:pt x="21" y="155"/>
                    </a:lnTo>
                    <a:lnTo>
                      <a:pt x="21" y="155"/>
                    </a:lnTo>
                    <a:lnTo>
                      <a:pt x="21" y="155"/>
                    </a:lnTo>
                    <a:lnTo>
                      <a:pt x="19" y="152"/>
                    </a:lnTo>
                    <a:lnTo>
                      <a:pt x="19" y="152"/>
                    </a:lnTo>
                    <a:lnTo>
                      <a:pt x="16" y="142"/>
                    </a:lnTo>
                    <a:lnTo>
                      <a:pt x="16" y="142"/>
                    </a:lnTo>
                    <a:lnTo>
                      <a:pt x="16" y="133"/>
                    </a:lnTo>
                    <a:lnTo>
                      <a:pt x="16" y="132"/>
                    </a:lnTo>
                    <a:lnTo>
                      <a:pt x="16" y="132"/>
                    </a:lnTo>
                    <a:lnTo>
                      <a:pt x="16" y="132"/>
                    </a:lnTo>
                    <a:lnTo>
                      <a:pt x="16" y="130"/>
                    </a:lnTo>
                    <a:lnTo>
                      <a:pt x="16" y="130"/>
                    </a:lnTo>
                    <a:lnTo>
                      <a:pt x="15" y="127"/>
                    </a:lnTo>
                    <a:lnTo>
                      <a:pt x="15" y="127"/>
                    </a:lnTo>
                    <a:lnTo>
                      <a:pt x="13" y="126"/>
                    </a:lnTo>
                    <a:lnTo>
                      <a:pt x="13" y="126"/>
                    </a:lnTo>
                    <a:lnTo>
                      <a:pt x="12" y="126"/>
                    </a:lnTo>
                    <a:lnTo>
                      <a:pt x="12" y="126"/>
                    </a:lnTo>
                    <a:lnTo>
                      <a:pt x="9" y="126"/>
                    </a:lnTo>
                    <a:lnTo>
                      <a:pt x="9" y="127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7"/>
                    </a:lnTo>
                    <a:lnTo>
                      <a:pt x="9" y="126"/>
                    </a:lnTo>
                    <a:lnTo>
                      <a:pt x="9" y="127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7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8" y="123"/>
                    </a:lnTo>
                    <a:lnTo>
                      <a:pt x="8" y="123"/>
                    </a:lnTo>
                    <a:lnTo>
                      <a:pt x="6" y="113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9" y="88"/>
                    </a:lnTo>
                    <a:lnTo>
                      <a:pt x="9" y="88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9" y="85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9" y="85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13" y="90"/>
                    </a:lnTo>
                    <a:lnTo>
                      <a:pt x="13" y="90"/>
                    </a:lnTo>
                    <a:lnTo>
                      <a:pt x="18" y="92"/>
                    </a:lnTo>
                    <a:lnTo>
                      <a:pt x="18" y="92"/>
                    </a:lnTo>
                    <a:lnTo>
                      <a:pt x="21" y="94"/>
                    </a:lnTo>
                    <a:lnTo>
                      <a:pt x="24" y="94"/>
                    </a:lnTo>
                    <a:lnTo>
                      <a:pt x="24" y="94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31" y="94"/>
                    </a:lnTo>
                    <a:lnTo>
                      <a:pt x="31" y="94"/>
                    </a:lnTo>
                    <a:lnTo>
                      <a:pt x="32" y="92"/>
                    </a:lnTo>
                    <a:lnTo>
                      <a:pt x="32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1"/>
                    </a:lnTo>
                    <a:lnTo>
                      <a:pt x="34" y="91"/>
                    </a:lnTo>
                    <a:lnTo>
                      <a:pt x="35" y="90"/>
                    </a:lnTo>
                    <a:lnTo>
                      <a:pt x="35" y="90"/>
                    </a:lnTo>
                    <a:lnTo>
                      <a:pt x="40" y="78"/>
                    </a:lnTo>
                    <a:lnTo>
                      <a:pt x="40" y="78"/>
                    </a:lnTo>
                    <a:lnTo>
                      <a:pt x="42" y="74"/>
                    </a:lnTo>
                    <a:lnTo>
                      <a:pt x="42" y="74"/>
                    </a:lnTo>
                    <a:lnTo>
                      <a:pt x="42" y="72"/>
                    </a:lnTo>
                    <a:lnTo>
                      <a:pt x="42" y="72"/>
                    </a:lnTo>
                    <a:lnTo>
                      <a:pt x="41" y="71"/>
                    </a:lnTo>
                    <a:lnTo>
                      <a:pt x="41" y="72"/>
                    </a:lnTo>
                    <a:lnTo>
                      <a:pt x="41" y="72"/>
                    </a:lnTo>
                    <a:lnTo>
                      <a:pt x="42" y="72"/>
                    </a:lnTo>
                    <a:lnTo>
                      <a:pt x="41" y="71"/>
                    </a:lnTo>
                    <a:lnTo>
                      <a:pt x="41" y="72"/>
                    </a:lnTo>
                    <a:lnTo>
                      <a:pt x="41" y="72"/>
                    </a:lnTo>
                    <a:lnTo>
                      <a:pt x="53" y="72"/>
                    </a:lnTo>
                    <a:lnTo>
                      <a:pt x="53" y="72"/>
                    </a:lnTo>
                    <a:lnTo>
                      <a:pt x="63" y="71"/>
                    </a:lnTo>
                    <a:lnTo>
                      <a:pt x="63" y="71"/>
                    </a:lnTo>
                    <a:lnTo>
                      <a:pt x="66" y="69"/>
                    </a:lnTo>
                    <a:lnTo>
                      <a:pt x="66" y="69"/>
                    </a:lnTo>
                    <a:lnTo>
                      <a:pt x="67" y="66"/>
                    </a:lnTo>
                    <a:lnTo>
                      <a:pt x="67" y="66"/>
                    </a:lnTo>
                    <a:lnTo>
                      <a:pt x="67" y="65"/>
                    </a:lnTo>
                    <a:lnTo>
                      <a:pt x="67" y="65"/>
                    </a:lnTo>
                    <a:lnTo>
                      <a:pt x="67" y="63"/>
                    </a:lnTo>
                    <a:lnTo>
                      <a:pt x="66" y="63"/>
                    </a:lnTo>
                    <a:lnTo>
                      <a:pt x="66" y="63"/>
                    </a:lnTo>
                    <a:lnTo>
                      <a:pt x="67" y="63"/>
                    </a:lnTo>
                    <a:lnTo>
                      <a:pt x="66" y="63"/>
                    </a:lnTo>
                    <a:lnTo>
                      <a:pt x="66" y="63"/>
                    </a:lnTo>
                    <a:lnTo>
                      <a:pt x="66" y="62"/>
                    </a:lnTo>
                    <a:lnTo>
                      <a:pt x="66" y="63"/>
                    </a:lnTo>
                    <a:lnTo>
                      <a:pt x="66" y="63"/>
                    </a:lnTo>
                    <a:lnTo>
                      <a:pt x="66" y="62"/>
                    </a:lnTo>
                    <a:lnTo>
                      <a:pt x="66" y="63"/>
                    </a:lnTo>
                    <a:lnTo>
                      <a:pt x="66" y="63"/>
                    </a:lnTo>
                    <a:lnTo>
                      <a:pt x="67" y="63"/>
                    </a:lnTo>
                    <a:lnTo>
                      <a:pt x="67" y="63"/>
                    </a:lnTo>
                    <a:lnTo>
                      <a:pt x="76" y="56"/>
                    </a:lnTo>
                    <a:lnTo>
                      <a:pt x="76" y="56"/>
                    </a:lnTo>
                    <a:lnTo>
                      <a:pt x="80" y="53"/>
                    </a:lnTo>
                    <a:lnTo>
                      <a:pt x="80" y="53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3" y="50"/>
                    </a:lnTo>
                    <a:lnTo>
                      <a:pt x="83" y="50"/>
                    </a:lnTo>
                    <a:lnTo>
                      <a:pt x="83" y="49"/>
                    </a:lnTo>
                    <a:lnTo>
                      <a:pt x="83" y="49"/>
                    </a:lnTo>
                    <a:lnTo>
                      <a:pt x="83" y="46"/>
                    </a:lnTo>
                    <a:lnTo>
                      <a:pt x="83" y="45"/>
                    </a:lnTo>
                    <a:lnTo>
                      <a:pt x="83" y="45"/>
                    </a:lnTo>
                    <a:lnTo>
                      <a:pt x="83" y="45"/>
                    </a:lnTo>
                    <a:lnTo>
                      <a:pt x="82" y="45"/>
                    </a:lnTo>
                    <a:lnTo>
                      <a:pt x="83" y="45"/>
                    </a:lnTo>
                    <a:lnTo>
                      <a:pt x="83" y="45"/>
                    </a:lnTo>
                    <a:lnTo>
                      <a:pt x="82" y="45"/>
                    </a:lnTo>
                    <a:lnTo>
                      <a:pt x="83" y="45"/>
                    </a:lnTo>
                    <a:lnTo>
                      <a:pt x="80" y="45"/>
                    </a:lnTo>
                    <a:lnTo>
                      <a:pt x="82" y="46"/>
                    </a:lnTo>
                    <a:lnTo>
                      <a:pt x="82" y="46"/>
                    </a:lnTo>
                    <a:lnTo>
                      <a:pt x="83" y="45"/>
                    </a:lnTo>
                    <a:lnTo>
                      <a:pt x="80" y="45"/>
                    </a:lnTo>
                    <a:lnTo>
                      <a:pt x="82" y="46"/>
                    </a:lnTo>
                    <a:lnTo>
                      <a:pt x="82" y="45"/>
                    </a:lnTo>
                    <a:lnTo>
                      <a:pt x="82" y="46"/>
                    </a:lnTo>
                    <a:lnTo>
                      <a:pt x="82" y="46"/>
                    </a:lnTo>
                    <a:lnTo>
                      <a:pt x="82" y="45"/>
                    </a:lnTo>
                    <a:lnTo>
                      <a:pt x="82" y="46"/>
                    </a:lnTo>
                    <a:lnTo>
                      <a:pt x="82" y="46"/>
                    </a:lnTo>
                    <a:lnTo>
                      <a:pt x="82" y="46"/>
                    </a:lnTo>
                    <a:lnTo>
                      <a:pt x="82" y="46"/>
                    </a:lnTo>
                    <a:lnTo>
                      <a:pt x="82" y="46"/>
                    </a:lnTo>
                    <a:lnTo>
                      <a:pt x="82" y="46"/>
                    </a:lnTo>
                    <a:lnTo>
                      <a:pt x="82" y="46"/>
                    </a:lnTo>
                    <a:lnTo>
                      <a:pt x="82" y="46"/>
                    </a:lnTo>
                    <a:lnTo>
                      <a:pt x="86" y="45"/>
                    </a:lnTo>
                    <a:lnTo>
                      <a:pt x="86" y="45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3" y="37"/>
                    </a:lnTo>
                    <a:lnTo>
                      <a:pt x="95" y="39"/>
                    </a:lnTo>
                    <a:lnTo>
                      <a:pt x="95" y="39"/>
                    </a:lnTo>
                    <a:lnTo>
                      <a:pt x="97" y="39"/>
                    </a:lnTo>
                    <a:lnTo>
                      <a:pt x="97" y="39"/>
                    </a:lnTo>
                    <a:lnTo>
                      <a:pt x="100" y="37"/>
                    </a:lnTo>
                    <a:lnTo>
                      <a:pt x="100" y="37"/>
                    </a:lnTo>
                    <a:lnTo>
                      <a:pt x="103" y="35"/>
                    </a:lnTo>
                    <a:lnTo>
                      <a:pt x="103" y="35"/>
                    </a:lnTo>
                    <a:lnTo>
                      <a:pt x="105" y="32"/>
                    </a:lnTo>
                    <a:lnTo>
                      <a:pt x="105" y="32"/>
                    </a:lnTo>
                    <a:lnTo>
                      <a:pt x="105" y="32"/>
                    </a:lnTo>
                    <a:lnTo>
                      <a:pt x="105" y="32"/>
                    </a:lnTo>
                    <a:lnTo>
                      <a:pt x="105" y="32"/>
                    </a:lnTo>
                    <a:lnTo>
                      <a:pt x="105" y="32"/>
                    </a:lnTo>
                    <a:lnTo>
                      <a:pt x="105" y="30"/>
                    </a:lnTo>
                    <a:lnTo>
                      <a:pt x="105" y="30"/>
                    </a:lnTo>
                    <a:lnTo>
                      <a:pt x="108" y="27"/>
                    </a:lnTo>
                    <a:lnTo>
                      <a:pt x="108" y="27"/>
                    </a:lnTo>
                    <a:lnTo>
                      <a:pt x="108" y="26"/>
                    </a:lnTo>
                    <a:lnTo>
                      <a:pt x="109" y="26"/>
                    </a:lnTo>
                    <a:lnTo>
                      <a:pt x="109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9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9" y="26"/>
                    </a:lnTo>
                    <a:lnTo>
                      <a:pt x="109" y="26"/>
                    </a:lnTo>
                    <a:lnTo>
                      <a:pt x="111" y="24"/>
                    </a:lnTo>
                    <a:lnTo>
                      <a:pt x="111" y="24"/>
                    </a:lnTo>
                    <a:lnTo>
                      <a:pt x="118" y="13"/>
                    </a:lnTo>
                    <a:lnTo>
                      <a:pt x="118" y="13"/>
                    </a:lnTo>
                    <a:lnTo>
                      <a:pt x="122" y="7"/>
                    </a:lnTo>
                    <a:lnTo>
                      <a:pt x="122" y="7"/>
                    </a:lnTo>
                    <a:lnTo>
                      <a:pt x="124" y="6"/>
                    </a:lnTo>
                    <a:lnTo>
                      <a:pt x="124" y="6"/>
                    </a:lnTo>
                    <a:lnTo>
                      <a:pt x="124" y="6"/>
                    </a:lnTo>
                    <a:lnTo>
                      <a:pt x="124" y="4"/>
                    </a:lnTo>
                    <a:lnTo>
                      <a:pt x="124" y="6"/>
                    </a:lnTo>
                    <a:lnTo>
                      <a:pt x="124" y="6"/>
                    </a:lnTo>
                    <a:lnTo>
                      <a:pt x="124" y="4"/>
                    </a:lnTo>
                    <a:lnTo>
                      <a:pt x="124" y="6"/>
                    </a:lnTo>
                    <a:lnTo>
                      <a:pt x="125" y="6"/>
                    </a:lnTo>
                    <a:lnTo>
                      <a:pt x="125" y="6"/>
                    </a:lnTo>
                    <a:lnTo>
                      <a:pt x="128" y="7"/>
                    </a:lnTo>
                    <a:lnTo>
                      <a:pt x="128" y="7"/>
                    </a:lnTo>
                    <a:lnTo>
                      <a:pt x="131" y="8"/>
                    </a:lnTo>
                    <a:lnTo>
                      <a:pt x="131" y="8"/>
                    </a:lnTo>
                    <a:lnTo>
                      <a:pt x="132" y="11"/>
                    </a:lnTo>
                    <a:lnTo>
                      <a:pt x="134" y="13"/>
                    </a:lnTo>
                    <a:lnTo>
                      <a:pt x="134" y="13"/>
                    </a:lnTo>
                    <a:lnTo>
                      <a:pt x="132" y="16"/>
                    </a:lnTo>
                    <a:lnTo>
                      <a:pt x="135" y="17"/>
                    </a:lnTo>
                    <a:lnTo>
                      <a:pt x="132" y="16"/>
                    </a:lnTo>
                    <a:lnTo>
                      <a:pt x="132" y="16"/>
                    </a:lnTo>
                    <a:lnTo>
                      <a:pt x="132" y="17"/>
                    </a:lnTo>
                    <a:lnTo>
                      <a:pt x="132" y="17"/>
                    </a:lnTo>
                    <a:lnTo>
                      <a:pt x="132" y="19"/>
                    </a:lnTo>
                    <a:lnTo>
                      <a:pt x="134" y="20"/>
                    </a:lnTo>
                    <a:lnTo>
                      <a:pt x="134" y="20"/>
                    </a:lnTo>
                    <a:lnTo>
                      <a:pt x="138" y="23"/>
                    </a:lnTo>
                    <a:lnTo>
                      <a:pt x="138" y="23"/>
                    </a:lnTo>
                    <a:lnTo>
                      <a:pt x="144" y="24"/>
                    </a:lnTo>
                    <a:lnTo>
                      <a:pt x="144" y="24"/>
                    </a:lnTo>
                    <a:lnTo>
                      <a:pt x="154" y="29"/>
                    </a:lnTo>
                    <a:lnTo>
                      <a:pt x="154" y="29"/>
                    </a:lnTo>
                    <a:lnTo>
                      <a:pt x="161" y="33"/>
                    </a:lnTo>
                    <a:lnTo>
                      <a:pt x="163" y="3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35" name="Freeform 1288"/>
              <p:cNvSpPr>
                <a:spLocks/>
              </p:cNvSpPr>
              <p:nvPr/>
            </p:nvSpPr>
            <p:spPr bwMode="auto">
              <a:xfrm>
                <a:off x="6139976" y="2999586"/>
                <a:ext cx="40560" cy="35613"/>
              </a:xfrm>
              <a:custGeom>
                <a:avLst/>
                <a:gdLst>
                  <a:gd name="T0" fmla="*/ 6 w 41"/>
                  <a:gd name="T1" fmla="*/ 30 h 36"/>
                  <a:gd name="T2" fmla="*/ 6 w 41"/>
                  <a:gd name="T3" fmla="*/ 30 h 36"/>
                  <a:gd name="T4" fmla="*/ 6 w 41"/>
                  <a:gd name="T5" fmla="*/ 30 h 36"/>
                  <a:gd name="T6" fmla="*/ 6 w 41"/>
                  <a:gd name="T7" fmla="*/ 30 h 36"/>
                  <a:gd name="T8" fmla="*/ 6 w 41"/>
                  <a:gd name="T9" fmla="*/ 29 h 36"/>
                  <a:gd name="T10" fmla="*/ 5 w 41"/>
                  <a:gd name="T11" fmla="*/ 25 h 36"/>
                  <a:gd name="T12" fmla="*/ 6 w 41"/>
                  <a:gd name="T13" fmla="*/ 20 h 36"/>
                  <a:gd name="T14" fmla="*/ 7 w 41"/>
                  <a:gd name="T15" fmla="*/ 16 h 36"/>
                  <a:gd name="T16" fmla="*/ 16 w 41"/>
                  <a:gd name="T17" fmla="*/ 12 h 36"/>
                  <a:gd name="T18" fmla="*/ 25 w 41"/>
                  <a:gd name="T19" fmla="*/ 7 h 36"/>
                  <a:gd name="T20" fmla="*/ 31 w 41"/>
                  <a:gd name="T21" fmla="*/ 4 h 36"/>
                  <a:gd name="T22" fmla="*/ 32 w 41"/>
                  <a:gd name="T23" fmla="*/ 6 h 36"/>
                  <a:gd name="T24" fmla="*/ 35 w 41"/>
                  <a:gd name="T25" fmla="*/ 7 h 36"/>
                  <a:gd name="T26" fmla="*/ 35 w 41"/>
                  <a:gd name="T27" fmla="*/ 10 h 36"/>
                  <a:gd name="T28" fmla="*/ 35 w 41"/>
                  <a:gd name="T29" fmla="*/ 13 h 36"/>
                  <a:gd name="T30" fmla="*/ 34 w 41"/>
                  <a:gd name="T31" fmla="*/ 15 h 36"/>
                  <a:gd name="T32" fmla="*/ 32 w 41"/>
                  <a:gd name="T33" fmla="*/ 17 h 36"/>
                  <a:gd name="T34" fmla="*/ 31 w 41"/>
                  <a:gd name="T35" fmla="*/ 23 h 36"/>
                  <a:gd name="T36" fmla="*/ 29 w 41"/>
                  <a:gd name="T37" fmla="*/ 25 h 36"/>
                  <a:gd name="T38" fmla="*/ 29 w 41"/>
                  <a:gd name="T39" fmla="*/ 25 h 36"/>
                  <a:gd name="T40" fmla="*/ 29 w 41"/>
                  <a:gd name="T41" fmla="*/ 25 h 36"/>
                  <a:gd name="T42" fmla="*/ 29 w 41"/>
                  <a:gd name="T43" fmla="*/ 25 h 36"/>
                  <a:gd name="T44" fmla="*/ 29 w 41"/>
                  <a:gd name="T45" fmla="*/ 25 h 36"/>
                  <a:gd name="T46" fmla="*/ 23 w 41"/>
                  <a:gd name="T47" fmla="*/ 29 h 36"/>
                  <a:gd name="T48" fmla="*/ 12 w 41"/>
                  <a:gd name="T49" fmla="*/ 32 h 36"/>
                  <a:gd name="T50" fmla="*/ 6 w 41"/>
                  <a:gd name="T51" fmla="*/ 30 h 36"/>
                  <a:gd name="T52" fmla="*/ 5 w 41"/>
                  <a:gd name="T53" fmla="*/ 35 h 36"/>
                  <a:gd name="T54" fmla="*/ 12 w 41"/>
                  <a:gd name="T55" fmla="*/ 36 h 36"/>
                  <a:gd name="T56" fmla="*/ 19 w 41"/>
                  <a:gd name="T57" fmla="*/ 35 h 36"/>
                  <a:gd name="T58" fmla="*/ 26 w 41"/>
                  <a:gd name="T59" fmla="*/ 33 h 36"/>
                  <a:gd name="T60" fmla="*/ 32 w 41"/>
                  <a:gd name="T61" fmla="*/ 29 h 36"/>
                  <a:gd name="T62" fmla="*/ 35 w 41"/>
                  <a:gd name="T63" fmla="*/ 26 h 36"/>
                  <a:gd name="T64" fmla="*/ 36 w 41"/>
                  <a:gd name="T65" fmla="*/ 22 h 36"/>
                  <a:gd name="T66" fmla="*/ 36 w 41"/>
                  <a:gd name="T67" fmla="*/ 19 h 36"/>
                  <a:gd name="T68" fmla="*/ 36 w 41"/>
                  <a:gd name="T69" fmla="*/ 19 h 36"/>
                  <a:gd name="T70" fmla="*/ 36 w 41"/>
                  <a:gd name="T71" fmla="*/ 19 h 36"/>
                  <a:gd name="T72" fmla="*/ 36 w 41"/>
                  <a:gd name="T73" fmla="*/ 19 h 36"/>
                  <a:gd name="T74" fmla="*/ 36 w 41"/>
                  <a:gd name="T75" fmla="*/ 19 h 36"/>
                  <a:gd name="T76" fmla="*/ 39 w 41"/>
                  <a:gd name="T77" fmla="*/ 15 h 36"/>
                  <a:gd name="T78" fmla="*/ 41 w 41"/>
                  <a:gd name="T79" fmla="*/ 10 h 36"/>
                  <a:gd name="T80" fmla="*/ 38 w 41"/>
                  <a:gd name="T81" fmla="*/ 3 h 36"/>
                  <a:gd name="T82" fmla="*/ 35 w 41"/>
                  <a:gd name="T83" fmla="*/ 1 h 36"/>
                  <a:gd name="T84" fmla="*/ 31 w 41"/>
                  <a:gd name="T85" fmla="*/ 0 h 36"/>
                  <a:gd name="T86" fmla="*/ 28 w 41"/>
                  <a:gd name="T87" fmla="*/ 0 h 36"/>
                  <a:gd name="T88" fmla="*/ 23 w 41"/>
                  <a:gd name="T89" fmla="*/ 1 h 36"/>
                  <a:gd name="T90" fmla="*/ 13 w 41"/>
                  <a:gd name="T91" fmla="*/ 7 h 36"/>
                  <a:gd name="T92" fmla="*/ 5 w 41"/>
                  <a:gd name="T93" fmla="*/ 13 h 36"/>
                  <a:gd name="T94" fmla="*/ 2 w 41"/>
                  <a:gd name="T95" fmla="*/ 19 h 36"/>
                  <a:gd name="T96" fmla="*/ 0 w 41"/>
                  <a:gd name="T97" fmla="*/ 25 h 36"/>
                  <a:gd name="T98" fmla="*/ 2 w 41"/>
                  <a:gd name="T99" fmla="*/ 30 h 36"/>
                  <a:gd name="T100" fmla="*/ 2 w 41"/>
                  <a:gd name="T101" fmla="*/ 33 h 36"/>
                  <a:gd name="T102" fmla="*/ 6 w 41"/>
                  <a:gd name="T103" fmla="*/ 33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1" h="36">
                    <a:moveTo>
                      <a:pt x="6" y="33"/>
                    </a:move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16" y="12"/>
                    </a:lnTo>
                    <a:lnTo>
                      <a:pt x="20" y="9"/>
                    </a:lnTo>
                    <a:lnTo>
                      <a:pt x="25" y="7"/>
                    </a:lnTo>
                    <a:lnTo>
                      <a:pt x="25" y="7"/>
                    </a:lnTo>
                    <a:lnTo>
                      <a:pt x="31" y="4"/>
                    </a:lnTo>
                    <a:lnTo>
                      <a:pt x="31" y="4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35" y="10"/>
                    </a:lnTo>
                    <a:lnTo>
                      <a:pt x="35" y="10"/>
                    </a:lnTo>
                    <a:lnTo>
                      <a:pt x="35" y="13"/>
                    </a:lnTo>
                    <a:lnTo>
                      <a:pt x="35" y="13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2" y="17"/>
                    </a:lnTo>
                    <a:lnTo>
                      <a:pt x="32" y="17"/>
                    </a:lnTo>
                    <a:lnTo>
                      <a:pt x="31" y="23"/>
                    </a:lnTo>
                    <a:lnTo>
                      <a:pt x="31" y="23"/>
                    </a:lnTo>
                    <a:lnTo>
                      <a:pt x="29" y="25"/>
                    </a:lnTo>
                    <a:lnTo>
                      <a:pt x="29" y="25"/>
                    </a:lnTo>
                    <a:lnTo>
                      <a:pt x="29" y="25"/>
                    </a:lnTo>
                    <a:lnTo>
                      <a:pt x="29" y="25"/>
                    </a:lnTo>
                    <a:lnTo>
                      <a:pt x="29" y="25"/>
                    </a:lnTo>
                    <a:lnTo>
                      <a:pt x="29" y="25"/>
                    </a:lnTo>
                    <a:lnTo>
                      <a:pt x="29" y="25"/>
                    </a:lnTo>
                    <a:lnTo>
                      <a:pt x="29" y="25"/>
                    </a:lnTo>
                    <a:lnTo>
                      <a:pt x="29" y="25"/>
                    </a:lnTo>
                    <a:lnTo>
                      <a:pt x="23" y="29"/>
                    </a:lnTo>
                    <a:lnTo>
                      <a:pt x="23" y="29"/>
                    </a:lnTo>
                    <a:lnTo>
                      <a:pt x="18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6" y="30"/>
                    </a:lnTo>
                    <a:lnTo>
                      <a:pt x="6" y="33"/>
                    </a:lnTo>
                    <a:lnTo>
                      <a:pt x="5" y="35"/>
                    </a:lnTo>
                    <a:lnTo>
                      <a:pt x="5" y="35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9" y="35"/>
                    </a:lnTo>
                    <a:lnTo>
                      <a:pt x="26" y="33"/>
                    </a:lnTo>
                    <a:lnTo>
                      <a:pt x="26" y="33"/>
                    </a:lnTo>
                    <a:lnTo>
                      <a:pt x="32" y="29"/>
                    </a:lnTo>
                    <a:lnTo>
                      <a:pt x="32" y="29"/>
                    </a:lnTo>
                    <a:lnTo>
                      <a:pt x="35" y="26"/>
                    </a:lnTo>
                    <a:lnTo>
                      <a:pt x="35" y="26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19"/>
                    </a:lnTo>
                    <a:lnTo>
                      <a:pt x="36" y="19"/>
                    </a:lnTo>
                    <a:lnTo>
                      <a:pt x="36" y="19"/>
                    </a:lnTo>
                    <a:lnTo>
                      <a:pt x="36" y="19"/>
                    </a:lnTo>
                    <a:lnTo>
                      <a:pt x="36" y="19"/>
                    </a:lnTo>
                    <a:lnTo>
                      <a:pt x="36" y="19"/>
                    </a:lnTo>
                    <a:lnTo>
                      <a:pt x="36" y="19"/>
                    </a:lnTo>
                    <a:lnTo>
                      <a:pt x="36" y="19"/>
                    </a:lnTo>
                    <a:lnTo>
                      <a:pt x="36" y="19"/>
                    </a:lnTo>
                    <a:lnTo>
                      <a:pt x="36" y="19"/>
                    </a:lnTo>
                    <a:lnTo>
                      <a:pt x="39" y="15"/>
                    </a:lnTo>
                    <a:lnTo>
                      <a:pt x="39" y="15"/>
                    </a:lnTo>
                    <a:lnTo>
                      <a:pt x="41" y="10"/>
                    </a:lnTo>
                    <a:lnTo>
                      <a:pt x="41" y="10"/>
                    </a:lnTo>
                    <a:lnTo>
                      <a:pt x="41" y="7"/>
                    </a:lnTo>
                    <a:lnTo>
                      <a:pt x="38" y="3"/>
                    </a:lnTo>
                    <a:lnTo>
                      <a:pt x="38" y="3"/>
                    </a:lnTo>
                    <a:lnTo>
                      <a:pt x="35" y="1"/>
                    </a:lnTo>
                    <a:lnTo>
                      <a:pt x="35" y="1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8" y="0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18" y="4"/>
                    </a:lnTo>
                    <a:lnTo>
                      <a:pt x="13" y="7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3" y="15"/>
                    </a:lnTo>
                    <a:lnTo>
                      <a:pt x="2" y="19"/>
                    </a:lnTo>
                    <a:lnTo>
                      <a:pt x="2" y="19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3"/>
                    </a:lnTo>
                    <a:lnTo>
                      <a:pt x="5" y="35"/>
                    </a:lnTo>
                    <a:lnTo>
                      <a:pt x="6" y="3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36" name="Freeform 1289"/>
              <p:cNvSpPr>
                <a:spLocks/>
              </p:cNvSpPr>
              <p:nvPr/>
            </p:nvSpPr>
            <p:spPr bwMode="auto">
              <a:xfrm>
                <a:off x="6469400" y="2754250"/>
                <a:ext cx="44517" cy="60345"/>
              </a:xfrm>
              <a:custGeom>
                <a:avLst/>
                <a:gdLst>
                  <a:gd name="T0" fmla="*/ 25 w 45"/>
                  <a:gd name="T1" fmla="*/ 57 h 61"/>
                  <a:gd name="T2" fmla="*/ 26 w 45"/>
                  <a:gd name="T3" fmla="*/ 57 h 61"/>
                  <a:gd name="T4" fmla="*/ 26 w 45"/>
                  <a:gd name="T5" fmla="*/ 57 h 61"/>
                  <a:gd name="T6" fmla="*/ 23 w 45"/>
                  <a:gd name="T7" fmla="*/ 48 h 61"/>
                  <a:gd name="T8" fmla="*/ 19 w 45"/>
                  <a:gd name="T9" fmla="*/ 48 h 61"/>
                  <a:gd name="T10" fmla="*/ 18 w 45"/>
                  <a:gd name="T11" fmla="*/ 55 h 61"/>
                  <a:gd name="T12" fmla="*/ 18 w 45"/>
                  <a:gd name="T13" fmla="*/ 57 h 61"/>
                  <a:gd name="T14" fmla="*/ 18 w 45"/>
                  <a:gd name="T15" fmla="*/ 55 h 61"/>
                  <a:gd name="T16" fmla="*/ 18 w 45"/>
                  <a:gd name="T17" fmla="*/ 57 h 61"/>
                  <a:gd name="T18" fmla="*/ 19 w 45"/>
                  <a:gd name="T19" fmla="*/ 55 h 61"/>
                  <a:gd name="T20" fmla="*/ 16 w 45"/>
                  <a:gd name="T21" fmla="*/ 48 h 61"/>
                  <a:gd name="T22" fmla="*/ 16 w 45"/>
                  <a:gd name="T23" fmla="*/ 39 h 61"/>
                  <a:gd name="T24" fmla="*/ 22 w 45"/>
                  <a:gd name="T25" fmla="*/ 28 h 61"/>
                  <a:gd name="T26" fmla="*/ 18 w 45"/>
                  <a:gd name="T27" fmla="*/ 18 h 61"/>
                  <a:gd name="T28" fmla="*/ 10 w 45"/>
                  <a:gd name="T29" fmla="*/ 19 h 61"/>
                  <a:gd name="T30" fmla="*/ 10 w 45"/>
                  <a:gd name="T31" fmla="*/ 28 h 61"/>
                  <a:gd name="T32" fmla="*/ 10 w 45"/>
                  <a:gd name="T33" fmla="*/ 28 h 61"/>
                  <a:gd name="T34" fmla="*/ 12 w 45"/>
                  <a:gd name="T35" fmla="*/ 29 h 61"/>
                  <a:gd name="T36" fmla="*/ 13 w 45"/>
                  <a:gd name="T37" fmla="*/ 26 h 61"/>
                  <a:gd name="T38" fmla="*/ 9 w 45"/>
                  <a:gd name="T39" fmla="*/ 24 h 61"/>
                  <a:gd name="T40" fmla="*/ 5 w 45"/>
                  <a:gd name="T41" fmla="*/ 22 h 61"/>
                  <a:gd name="T42" fmla="*/ 6 w 45"/>
                  <a:gd name="T43" fmla="*/ 21 h 61"/>
                  <a:gd name="T44" fmla="*/ 16 w 45"/>
                  <a:gd name="T45" fmla="*/ 10 h 61"/>
                  <a:gd name="T46" fmla="*/ 23 w 45"/>
                  <a:gd name="T47" fmla="*/ 6 h 61"/>
                  <a:gd name="T48" fmla="*/ 35 w 45"/>
                  <a:gd name="T49" fmla="*/ 9 h 61"/>
                  <a:gd name="T50" fmla="*/ 35 w 45"/>
                  <a:gd name="T51" fmla="*/ 9 h 61"/>
                  <a:gd name="T52" fmla="*/ 35 w 45"/>
                  <a:gd name="T53" fmla="*/ 9 h 61"/>
                  <a:gd name="T54" fmla="*/ 41 w 45"/>
                  <a:gd name="T55" fmla="*/ 21 h 61"/>
                  <a:gd name="T56" fmla="*/ 41 w 45"/>
                  <a:gd name="T57" fmla="*/ 22 h 61"/>
                  <a:gd name="T58" fmla="*/ 34 w 45"/>
                  <a:gd name="T59" fmla="*/ 39 h 61"/>
                  <a:gd name="T60" fmla="*/ 32 w 45"/>
                  <a:gd name="T61" fmla="*/ 50 h 61"/>
                  <a:gd name="T62" fmla="*/ 32 w 45"/>
                  <a:gd name="T63" fmla="*/ 50 h 61"/>
                  <a:gd name="T64" fmla="*/ 26 w 45"/>
                  <a:gd name="T65" fmla="*/ 58 h 61"/>
                  <a:gd name="T66" fmla="*/ 32 w 45"/>
                  <a:gd name="T67" fmla="*/ 57 h 61"/>
                  <a:gd name="T68" fmla="*/ 38 w 45"/>
                  <a:gd name="T69" fmla="*/ 45 h 61"/>
                  <a:gd name="T70" fmla="*/ 45 w 45"/>
                  <a:gd name="T71" fmla="*/ 25 h 61"/>
                  <a:gd name="T72" fmla="*/ 42 w 45"/>
                  <a:gd name="T73" fmla="*/ 15 h 61"/>
                  <a:gd name="T74" fmla="*/ 38 w 45"/>
                  <a:gd name="T75" fmla="*/ 5 h 61"/>
                  <a:gd name="T76" fmla="*/ 31 w 45"/>
                  <a:gd name="T77" fmla="*/ 5 h 61"/>
                  <a:gd name="T78" fmla="*/ 22 w 45"/>
                  <a:gd name="T79" fmla="*/ 0 h 61"/>
                  <a:gd name="T80" fmla="*/ 6 w 45"/>
                  <a:gd name="T81" fmla="*/ 12 h 61"/>
                  <a:gd name="T82" fmla="*/ 2 w 45"/>
                  <a:gd name="T83" fmla="*/ 22 h 61"/>
                  <a:gd name="T84" fmla="*/ 9 w 45"/>
                  <a:gd name="T85" fmla="*/ 31 h 61"/>
                  <a:gd name="T86" fmla="*/ 15 w 45"/>
                  <a:gd name="T87" fmla="*/ 31 h 61"/>
                  <a:gd name="T88" fmla="*/ 15 w 45"/>
                  <a:gd name="T89" fmla="*/ 24 h 61"/>
                  <a:gd name="T90" fmla="*/ 15 w 45"/>
                  <a:gd name="T91" fmla="*/ 21 h 61"/>
                  <a:gd name="T92" fmla="*/ 15 w 45"/>
                  <a:gd name="T93" fmla="*/ 22 h 61"/>
                  <a:gd name="T94" fmla="*/ 15 w 45"/>
                  <a:gd name="T95" fmla="*/ 21 h 61"/>
                  <a:gd name="T96" fmla="*/ 13 w 45"/>
                  <a:gd name="T97" fmla="*/ 22 h 61"/>
                  <a:gd name="T98" fmla="*/ 15 w 45"/>
                  <a:gd name="T99" fmla="*/ 24 h 61"/>
                  <a:gd name="T100" fmla="*/ 16 w 45"/>
                  <a:gd name="T101" fmla="*/ 32 h 61"/>
                  <a:gd name="T102" fmla="*/ 10 w 45"/>
                  <a:gd name="T103" fmla="*/ 42 h 61"/>
                  <a:gd name="T104" fmla="*/ 15 w 45"/>
                  <a:gd name="T105" fmla="*/ 58 h 61"/>
                  <a:gd name="T106" fmla="*/ 22 w 45"/>
                  <a:gd name="T107" fmla="*/ 57 h 61"/>
                  <a:gd name="T108" fmla="*/ 23 w 45"/>
                  <a:gd name="T109" fmla="*/ 52 h 61"/>
                  <a:gd name="T110" fmla="*/ 23 w 45"/>
                  <a:gd name="T111" fmla="*/ 52 h 61"/>
                  <a:gd name="T112" fmla="*/ 22 w 45"/>
                  <a:gd name="T113" fmla="*/ 54 h 61"/>
                  <a:gd name="T114" fmla="*/ 21 w 45"/>
                  <a:gd name="T115" fmla="*/ 52 h 61"/>
                  <a:gd name="T116" fmla="*/ 21 w 45"/>
                  <a:gd name="T117" fmla="*/ 52 h 61"/>
                  <a:gd name="T118" fmla="*/ 21 w 45"/>
                  <a:gd name="T119" fmla="*/ 54 h 61"/>
                  <a:gd name="T120" fmla="*/ 25 w 45"/>
                  <a:gd name="T12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5" h="61">
                    <a:moveTo>
                      <a:pt x="26" y="58"/>
                    </a:moveTo>
                    <a:lnTo>
                      <a:pt x="25" y="57"/>
                    </a:lnTo>
                    <a:lnTo>
                      <a:pt x="25" y="57"/>
                    </a:lnTo>
                    <a:lnTo>
                      <a:pt x="25" y="57"/>
                    </a:lnTo>
                    <a:lnTo>
                      <a:pt x="25" y="57"/>
                    </a:lnTo>
                    <a:lnTo>
                      <a:pt x="25" y="57"/>
                    </a:lnTo>
                    <a:lnTo>
                      <a:pt x="25" y="57"/>
                    </a:lnTo>
                    <a:lnTo>
                      <a:pt x="25" y="57"/>
                    </a:lnTo>
                    <a:lnTo>
                      <a:pt x="26" y="57"/>
                    </a:lnTo>
                    <a:lnTo>
                      <a:pt x="25" y="57"/>
                    </a:lnTo>
                    <a:lnTo>
                      <a:pt x="25" y="57"/>
                    </a:lnTo>
                    <a:lnTo>
                      <a:pt x="26" y="57"/>
                    </a:lnTo>
                    <a:lnTo>
                      <a:pt x="26" y="57"/>
                    </a:lnTo>
                    <a:lnTo>
                      <a:pt x="26" y="57"/>
                    </a:lnTo>
                    <a:lnTo>
                      <a:pt x="26" y="57"/>
                    </a:lnTo>
                    <a:lnTo>
                      <a:pt x="26" y="57"/>
                    </a:lnTo>
                    <a:lnTo>
                      <a:pt x="26" y="57"/>
                    </a:lnTo>
                    <a:lnTo>
                      <a:pt x="26" y="57"/>
                    </a:lnTo>
                    <a:lnTo>
                      <a:pt x="26" y="57"/>
                    </a:lnTo>
                    <a:lnTo>
                      <a:pt x="25" y="52"/>
                    </a:lnTo>
                    <a:lnTo>
                      <a:pt x="25" y="52"/>
                    </a:lnTo>
                    <a:lnTo>
                      <a:pt x="25" y="51"/>
                    </a:lnTo>
                    <a:lnTo>
                      <a:pt x="23" y="50"/>
                    </a:lnTo>
                    <a:lnTo>
                      <a:pt x="23" y="48"/>
                    </a:lnTo>
                    <a:lnTo>
                      <a:pt x="23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19" y="48"/>
                    </a:lnTo>
                    <a:lnTo>
                      <a:pt x="22" y="51"/>
                    </a:lnTo>
                    <a:lnTo>
                      <a:pt x="19" y="48"/>
                    </a:lnTo>
                    <a:lnTo>
                      <a:pt x="19" y="48"/>
                    </a:lnTo>
                    <a:lnTo>
                      <a:pt x="19" y="50"/>
                    </a:lnTo>
                    <a:lnTo>
                      <a:pt x="19" y="50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5"/>
                    </a:lnTo>
                    <a:lnTo>
                      <a:pt x="16" y="55"/>
                    </a:lnTo>
                    <a:lnTo>
                      <a:pt x="16" y="55"/>
                    </a:lnTo>
                    <a:lnTo>
                      <a:pt x="18" y="57"/>
                    </a:lnTo>
                    <a:lnTo>
                      <a:pt x="18" y="55"/>
                    </a:lnTo>
                    <a:lnTo>
                      <a:pt x="16" y="55"/>
                    </a:lnTo>
                    <a:lnTo>
                      <a:pt x="18" y="57"/>
                    </a:lnTo>
                    <a:lnTo>
                      <a:pt x="18" y="55"/>
                    </a:lnTo>
                    <a:lnTo>
                      <a:pt x="18" y="57"/>
                    </a:lnTo>
                    <a:lnTo>
                      <a:pt x="18" y="55"/>
                    </a:lnTo>
                    <a:lnTo>
                      <a:pt x="18" y="55"/>
                    </a:lnTo>
                    <a:lnTo>
                      <a:pt x="18" y="57"/>
                    </a:lnTo>
                    <a:lnTo>
                      <a:pt x="18" y="55"/>
                    </a:lnTo>
                    <a:lnTo>
                      <a:pt x="18" y="57"/>
                    </a:lnTo>
                    <a:lnTo>
                      <a:pt x="19" y="55"/>
                    </a:lnTo>
                    <a:lnTo>
                      <a:pt x="18" y="55"/>
                    </a:lnTo>
                    <a:lnTo>
                      <a:pt x="18" y="57"/>
                    </a:lnTo>
                    <a:lnTo>
                      <a:pt x="19" y="55"/>
                    </a:lnTo>
                    <a:lnTo>
                      <a:pt x="18" y="57"/>
                    </a:lnTo>
                    <a:lnTo>
                      <a:pt x="19" y="55"/>
                    </a:lnTo>
                    <a:lnTo>
                      <a:pt x="19" y="55"/>
                    </a:lnTo>
                    <a:lnTo>
                      <a:pt x="18" y="57"/>
                    </a:lnTo>
                    <a:lnTo>
                      <a:pt x="19" y="55"/>
                    </a:lnTo>
                    <a:lnTo>
                      <a:pt x="19" y="55"/>
                    </a:lnTo>
                    <a:lnTo>
                      <a:pt x="19" y="55"/>
                    </a:lnTo>
                    <a:lnTo>
                      <a:pt x="19" y="55"/>
                    </a:lnTo>
                    <a:lnTo>
                      <a:pt x="19" y="55"/>
                    </a:lnTo>
                    <a:lnTo>
                      <a:pt x="19" y="55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21" y="35"/>
                    </a:lnTo>
                    <a:lnTo>
                      <a:pt x="21" y="35"/>
                    </a:lnTo>
                    <a:lnTo>
                      <a:pt x="22" y="31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1" y="25"/>
                    </a:lnTo>
                    <a:lnTo>
                      <a:pt x="21" y="25"/>
                    </a:lnTo>
                    <a:lnTo>
                      <a:pt x="19" y="21"/>
                    </a:lnTo>
                    <a:lnTo>
                      <a:pt x="19" y="21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0" y="19"/>
                    </a:lnTo>
                    <a:lnTo>
                      <a:pt x="10" y="19"/>
                    </a:lnTo>
                    <a:lnTo>
                      <a:pt x="10" y="21"/>
                    </a:lnTo>
                    <a:lnTo>
                      <a:pt x="10" y="21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0" y="28"/>
                    </a:lnTo>
                    <a:lnTo>
                      <a:pt x="12" y="29"/>
                    </a:lnTo>
                    <a:lnTo>
                      <a:pt x="12" y="28"/>
                    </a:lnTo>
                    <a:lnTo>
                      <a:pt x="10" y="28"/>
                    </a:lnTo>
                    <a:lnTo>
                      <a:pt x="12" y="29"/>
                    </a:lnTo>
                    <a:lnTo>
                      <a:pt x="12" y="28"/>
                    </a:lnTo>
                    <a:lnTo>
                      <a:pt x="12" y="29"/>
                    </a:lnTo>
                    <a:lnTo>
                      <a:pt x="12" y="26"/>
                    </a:lnTo>
                    <a:lnTo>
                      <a:pt x="12" y="28"/>
                    </a:lnTo>
                    <a:lnTo>
                      <a:pt x="12" y="29"/>
                    </a:lnTo>
                    <a:lnTo>
                      <a:pt x="12" y="26"/>
                    </a:lnTo>
                    <a:lnTo>
                      <a:pt x="12" y="28"/>
                    </a:lnTo>
                    <a:lnTo>
                      <a:pt x="13" y="26"/>
                    </a:lnTo>
                    <a:lnTo>
                      <a:pt x="12" y="26"/>
                    </a:lnTo>
                    <a:lnTo>
                      <a:pt x="12" y="28"/>
                    </a:lnTo>
                    <a:lnTo>
                      <a:pt x="13" y="26"/>
                    </a:lnTo>
                    <a:lnTo>
                      <a:pt x="13" y="26"/>
                    </a:lnTo>
                    <a:lnTo>
                      <a:pt x="13" y="26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6" y="22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5" y="22"/>
                    </a:lnTo>
                    <a:lnTo>
                      <a:pt x="6" y="22"/>
                    </a:lnTo>
                    <a:lnTo>
                      <a:pt x="6" y="21"/>
                    </a:lnTo>
                    <a:lnTo>
                      <a:pt x="5" y="22"/>
                    </a:lnTo>
                    <a:lnTo>
                      <a:pt x="6" y="22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3" y="13"/>
                    </a:lnTo>
                    <a:lnTo>
                      <a:pt x="16" y="10"/>
                    </a:lnTo>
                    <a:lnTo>
                      <a:pt x="19" y="8"/>
                    </a:lnTo>
                    <a:lnTo>
                      <a:pt x="19" y="8"/>
                    </a:lnTo>
                    <a:lnTo>
                      <a:pt x="21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3" y="6"/>
                    </a:lnTo>
                    <a:lnTo>
                      <a:pt x="23" y="6"/>
                    </a:lnTo>
                    <a:lnTo>
                      <a:pt x="26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5" y="9"/>
                    </a:lnTo>
                    <a:lnTo>
                      <a:pt x="35" y="9"/>
                    </a:lnTo>
                    <a:lnTo>
                      <a:pt x="35" y="9"/>
                    </a:lnTo>
                    <a:lnTo>
                      <a:pt x="35" y="8"/>
                    </a:lnTo>
                    <a:lnTo>
                      <a:pt x="35" y="9"/>
                    </a:lnTo>
                    <a:lnTo>
                      <a:pt x="35" y="9"/>
                    </a:lnTo>
                    <a:lnTo>
                      <a:pt x="35" y="8"/>
                    </a:lnTo>
                    <a:lnTo>
                      <a:pt x="35" y="9"/>
                    </a:lnTo>
                    <a:lnTo>
                      <a:pt x="35" y="8"/>
                    </a:lnTo>
                    <a:lnTo>
                      <a:pt x="35" y="9"/>
                    </a:lnTo>
                    <a:lnTo>
                      <a:pt x="35" y="9"/>
                    </a:lnTo>
                    <a:lnTo>
                      <a:pt x="35" y="8"/>
                    </a:lnTo>
                    <a:lnTo>
                      <a:pt x="35" y="9"/>
                    </a:lnTo>
                    <a:lnTo>
                      <a:pt x="35" y="9"/>
                    </a:lnTo>
                    <a:lnTo>
                      <a:pt x="37" y="12"/>
                    </a:lnTo>
                    <a:lnTo>
                      <a:pt x="37" y="12"/>
                    </a:lnTo>
                    <a:lnTo>
                      <a:pt x="37" y="16"/>
                    </a:lnTo>
                    <a:lnTo>
                      <a:pt x="39" y="19"/>
                    </a:lnTo>
                    <a:lnTo>
                      <a:pt x="39" y="19"/>
                    </a:lnTo>
                    <a:lnTo>
                      <a:pt x="41" y="21"/>
                    </a:lnTo>
                    <a:lnTo>
                      <a:pt x="41" y="21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37" y="29"/>
                    </a:lnTo>
                    <a:lnTo>
                      <a:pt x="37" y="29"/>
                    </a:lnTo>
                    <a:lnTo>
                      <a:pt x="34" y="39"/>
                    </a:lnTo>
                    <a:lnTo>
                      <a:pt x="34" y="39"/>
                    </a:lnTo>
                    <a:lnTo>
                      <a:pt x="32" y="47"/>
                    </a:lnTo>
                    <a:lnTo>
                      <a:pt x="32" y="47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2" y="51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2" y="51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26" y="55"/>
                    </a:lnTo>
                    <a:lnTo>
                      <a:pt x="25" y="57"/>
                    </a:lnTo>
                    <a:lnTo>
                      <a:pt x="25" y="57"/>
                    </a:lnTo>
                    <a:lnTo>
                      <a:pt x="26" y="58"/>
                    </a:lnTo>
                    <a:lnTo>
                      <a:pt x="26" y="61"/>
                    </a:lnTo>
                    <a:lnTo>
                      <a:pt x="26" y="61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32" y="57"/>
                    </a:lnTo>
                    <a:lnTo>
                      <a:pt x="32" y="57"/>
                    </a:lnTo>
                    <a:lnTo>
                      <a:pt x="35" y="54"/>
                    </a:lnTo>
                    <a:lnTo>
                      <a:pt x="35" y="54"/>
                    </a:lnTo>
                    <a:lnTo>
                      <a:pt x="37" y="51"/>
                    </a:lnTo>
                    <a:lnTo>
                      <a:pt x="37" y="51"/>
                    </a:lnTo>
                    <a:lnTo>
                      <a:pt x="38" y="45"/>
                    </a:lnTo>
                    <a:lnTo>
                      <a:pt x="38" y="45"/>
                    </a:lnTo>
                    <a:lnTo>
                      <a:pt x="38" y="39"/>
                    </a:lnTo>
                    <a:lnTo>
                      <a:pt x="38" y="39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5" y="25"/>
                    </a:lnTo>
                    <a:lnTo>
                      <a:pt x="45" y="25"/>
                    </a:lnTo>
                    <a:lnTo>
                      <a:pt x="45" y="22"/>
                    </a:lnTo>
                    <a:lnTo>
                      <a:pt x="45" y="22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39" y="8"/>
                    </a:lnTo>
                    <a:lnTo>
                      <a:pt x="39" y="8"/>
                    </a:lnTo>
                    <a:lnTo>
                      <a:pt x="38" y="5"/>
                    </a:lnTo>
                    <a:lnTo>
                      <a:pt x="38" y="5"/>
                    </a:lnTo>
                    <a:lnTo>
                      <a:pt x="35" y="3"/>
                    </a:lnTo>
                    <a:lnTo>
                      <a:pt x="35" y="3"/>
                    </a:lnTo>
                    <a:lnTo>
                      <a:pt x="34" y="5"/>
                    </a:lnTo>
                    <a:lnTo>
                      <a:pt x="34" y="5"/>
                    </a:lnTo>
                    <a:lnTo>
                      <a:pt x="31" y="5"/>
                    </a:lnTo>
                    <a:lnTo>
                      <a:pt x="31" y="5"/>
                    </a:lnTo>
                    <a:lnTo>
                      <a:pt x="29" y="5"/>
                    </a:lnTo>
                    <a:lnTo>
                      <a:pt x="28" y="3"/>
                    </a:lnTo>
                    <a:lnTo>
                      <a:pt x="28" y="3"/>
                    </a:lnTo>
                    <a:lnTo>
                      <a:pt x="25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2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10" y="9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3" y="13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9" y="31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5" y="31"/>
                    </a:lnTo>
                    <a:lnTo>
                      <a:pt x="15" y="31"/>
                    </a:lnTo>
                    <a:lnTo>
                      <a:pt x="15" y="29"/>
                    </a:lnTo>
                    <a:lnTo>
                      <a:pt x="15" y="29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6" y="21"/>
                    </a:lnTo>
                    <a:lnTo>
                      <a:pt x="16" y="21"/>
                    </a:lnTo>
                    <a:lnTo>
                      <a:pt x="15" y="21"/>
                    </a:lnTo>
                    <a:lnTo>
                      <a:pt x="15" y="22"/>
                    </a:lnTo>
                    <a:lnTo>
                      <a:pt x="16" y="21"/>
                    </a:lnTo>
                    <a:lnTo>
                      <a:pt x="15" y="21"/>
                    </a:lnTo>
                    <a:lnTo>
                      <a:pt x="15" y="22"/>
                    </a:lnTo>
                    <a:lnTo>
                      <a:pt x="15" y="21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5" y="21"/>
                    </a:lnTo>
                    <a:lnTo>
                      <a:pt x="15" y="22"/>
                    </a:lnTo>
                    <a:lnTo>
                      <a:pt x="15" y="21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5" y="21"/>
                    </a:lnTo>
                    <a:lnTo>
                      <a:pt x="15" y="22"/>
                    </a:lnTo>
                    <a:lnTo>
                      <a:pt x="15" y="21"/>
                    </a:lnTo>
                    <a:lnTo>
                      <a:pt x="13" y="22"/>
                    </a:lnTo>
                    <a:lnTo>
                      <a:pt x="15" y="22"/>
                    </a:lnTo>
                    <a:lnTo>
                      <a:pt x="15" y="21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8" y="26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3" y="37"/>
                    </a:lnTo>
                    <a:lnTo>
                      <a:pt x="13" y="37"/>
                    </a:lnTo>
                    <a:lnTo>
                      <a:pt x="10" y="39"/>
                    </a:lnTo>
                    <a:lnTo>
                      <a:pt x="10" y="39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3" y="55"/>
                    </a:lnTo>
                    <a:lnTo>
                      <a:pt x="13" y="55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22" y="57"/>
                    </a:lnTo>
                    <a:lnTo>
                      <a:pt x="22" y="57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3" y="52"/>
                    </a:lnTo>
                    <a:lnTo>
                      <a:pt x="23" y="52"/>
                    </a:lnTo>
                    <a:lnTo>
                      <a:pt x="23" y="52"/>
                    </a:lnTo>
                    <a:lnTo>
                      <a:pt x="22" y="52"/>
                    </a:lnTo>
                    <a:lnTo>
                      <a:pt x="23" y="52"/>
                    </a:lnTo>
                    <a:lnTo>
                      <a:pt x="23" y="52"/>
                    </a:lnTo>
                    <a:lnTo>
                      <a:pt x="22" y="52"/>
                    </a:lnTo>
                    <a:lnTo>
                      <a:pt x="23" y="52"/>
                    </a:lnTo>
                    <a:lnTo>
                      <a:pt x="23" y="52"/>
                    </a:lnTo>
                    <a:lnTo>
                      <a:pt x="22" y="51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3" y="52"/>
                    </a:lnTo>
                    <a:lnTo>
                      <a:pt x="22" y="51"/>
                    </a:lnTo>
                    <a:lnTo>
                      <a:pt x="22" y="54"/>
                    </a:lnTo>
                    <a:lnTo>
                      <a:pt x="22" y="51"/>
                    </a:lnTo>
                    <a:lnTo>
                      <a:pt x="21" y="52"/>
                    </a:lnTo>
                    <a:lnTo>
                      <a:pt x="21" y="52"/>
                    </a:lnTo>
                    <a:lnTo>
                      <a:pt x="22" y="54"/>
                    </a:lnTo>
                    <a:lnTo>
                      <a:pt x="22" y="51"/>
                    </a:lnTo>
                    <a:lnTo>
                      <a:pt x="21" y="52"/>
                    </a:lnTo>
                    <a:lnTo>
                      <a:pt x="21" y="51"/>
                    </a:lnTo>
                    <a:lnTo>
                      <a:pt x="19" y="52"/>
                    </a:lnTo>
                    <a:lnTo>
                      <a:pt x="21" y="52"/>
                    </a:lnTo>
                    <a:lnTo>
                      <a:pt x="21" y="51"/>
                    </a:lnTo>
                    <a:lnTo>
                      <a:pt x="19" y="52"/>
                    </a:lnTo>
                    <a:lnTo>
                      <a:pt x="21" y="52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21" y="52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21" y="54"/>
                    </a:lnTo>
                    <a:lnTo>
                      <a:pt x="21" y="54"/>
                    </a:lnTo>
                    <a:lnTo>
                      <a:pt x="21" y="58"/>
                    </a:lnTo>
                    <a:lnTo>
                      <a:pt x="21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5" y="61"/>
                    </a:lnTo>
                    <a:lnTo>
                      <a:pt x="26" y="61"/>
                    </a:lnTo>
                    <a:lnTo>
                      <a:pt x="26" y="5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37" name="Freeform 1290"/>
              <p:cNvSpPr>
                <a:spLocks/>
              </p:cNvSpPr>
              <p:nvPr/>
            </p:nvSpPr>
            <p:spPr bwMode="auto">
              <a:xfrm>
                <a:off x="6515895" y="2749303"/>
                <a:ext cx="39570" cy="33635"/>
              </a:xfrm>
              <a:custGeom>
                <a:avLst/>
                <a:gdLst>
                  <a:gd name="T0" fmla="*/ 10 w 40"/>
                  <a:gd name="T1" fmla="*/ 34 h 34"/>
                  <a:gd name="T2" fmla="*/ 10 w 40"/>
                  <a:gd name="T3" fmla="*/ 34 h 34"/>
                  <a:gd name="T4" fmla="*/ 7 w 40"/>
                  <a:gd name="T5" fmla="*/ 31 h 34"/>
                  <a:gd name="T6" fmla="*/ 5 w 40"/>
                  <a:gd name="T7" fmla="*/ 27 h 34"/>
                  <a:gd name="T8" fmla="*/ 5 w 40"/>
                  <a:gd name="T9" fmla="*/ 24 h 34"/>
                  <a:gd name="T10" fmla="*/ 4 w 40"/>
                  <a:gd name="T11" fmla="*/ 21 h 34"/>
                  <a:gd name="T12" fmla="*/ 4 w 40"/>
                  <a:gd name="T13" fmla="*/ 21 h 34"/>
                  <a:gd name="T14" fmla="*/ 1 w 40"/>
                  <a:gd name="T15" fmla="*/ 21 h 34"/>
                  <a:gd name="T16" fmla="*/ 0 w 40"/>
                  <a:gd name="T17" fmla="*/ 20 h 34"/>
                  <a:gd name="T18" fmla="*/ 0 w 40"/>
                  <a:gd name="T19" fmla="*/ 20 h 34"/>
                  <a:gd name="T20" fmla="*/ 0 w 40"/>
                  <a:gd name="T21" fmla="*/ 20 h 34"/>
                  <a:gd name="T22" fmla="*/ 10 w 40"/>
                  <a:gd name="T23" fmla="*/ 8 h 34"/>
                  <a:gd name="T24" fmla="*/ 10 w 40"/>
                  <a:gd name="T25" fmla="*/ 8 h 34"/>
                  <a:gd name="T26" fmla="*/ 11 w 40"/>
                  <a:gd name="T27" fmla="*/ 8 h 34"/>
                  <a:gd name="T28" fmla="*/ 14 w 40"/>
                  <a:gd name="T29" fmla="*/ 8 h 34"/>
                  <a:gd name="T30" fmla="*/ 16 w 40"/>
                  <a:gd name="T31" fmla="*/ 10 h 34"/>
                  <a:gd name="T32" fmla="*/ 18 w 40"/>
                  <a:gd name="T33" fmla="*/ 10 h 34"/>
                  <a:gd name="T34" fmla="*/ 18 w 40"/>
                  <a:gd name="T35" fmla="*/ 10 h 34"/>
                  <a:gd name="T36" fmla="*/ 23 w 40"/>
                  <a:gd name="T37" fmla="*/ 8 h 34"/>
                  <a:gd name="T38" fmla="*/ 24 w 40"/>
                  <a:gd name="T39" fmla="*/ 5 h 34"/>
                  <a:gd name="T40" fmla="*/ 26 w 40"/>
                  <a:gd name="T41" fmla="*/ 1 h 34"/>
                  <a:gd name="T42" fmla="*/ 29 w 40"/>
                  <a:gd name="T43" fmla="*/ 0 h 34"/>
                  <a:gd name="T44" fmla="*/ 29 w 40"/>
                  <a:gd name="T45" fmla="*/ 0 h 34"/>
                  <a:gd name="T46" fmla="*/ 32 w 40"/>
                  <a:gd name="T47" fmla="*/ 0 h 34"/>
                  <a:gd name="T48" fmla="*/ 34 w 40"/>
                  <a:gd name="T49" fmla="*/ 1 h 34"/>
                  <a:gd name="T50" fmla="*/ 40 w 40"/>
                  <a:gd name="T51" fmla="*/ 5 h 34"/>
                  <a:gd name="T52" fmla="*/ 40 w 40"/>
                  <a:gd name="T53" fmla="*/ 5 h 34"/>
                  <a:gd name="T54" fmla="*/ 40 w 40"/>
                  <a:gd name="T55" fmla="*/ 8 h 34"/>
                  <a:gd name="T56" fmla="*/ 37 w 40"/>
                  <a:gd name="T57" fmla="*/ 13 h 34"/>
                  <a:gd name="T58" fmla="*/ 34 w 40"/>
                  <a:gd name="T59" fmla="*/ 17 h 34"/>
                  <a:gd name="T60" fmla="*/ 33 w 40"/>
                  <a:gd name="T61" fmla="*/ 18 h 34"/>
                  <a:gd name="T62" fmla="*/ 33 w 40"/>
                  <a:gd name="T63" fmla="*/ 18 h 34"/>
                  <a:gd name="T64" fmla="*/ 27 w 40"/>
                  <a:gd name="T65" fmla="*/ 17 h 34"/>
                  <a:gd name="T66" fmla="*/ 23 w 40"/>
                  <a:gd name="T67" fmla="*/ 17 h 34"/>
                  <a:gd name="T68" fmla="*/ 20 w 40"/>
                  <a:gd name="T69" fmla="*/ 18 h 34"/>
                  <a:gd name="T70" fmla="*/ 20 w 40"/>
                  <a:gd name="T71" fmla="*/ 18 h 34"/>
                  <a:gd name="T72" fmla="*/ 16 w 40"/>
                  <a:gd name="T73" fmla="*/ 29 h 34"/>
                  <a:gd name="T74" fmla="*/ 13 w 40"/>
                  <a:gd name="T75" fmla="*/ 33 h 34"/>
                  <a:gd name="T76" fmla="*/ 11 w 40"/>
                  <a:gd name="T77" fmla="*/ 34 h 34"/>
                  <a:gd name="T78" fmla="*/ 10 w 40"/>
                  <a:gd name="T7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34">
                    <a:moveTo>
                      <a:pt x="10" y="34"/>
                    </a:moveTo>
                    <a:lnTo>
                      <a:pt x="10" y="34"/>
                    </a:lnTo>
                    <a:lnTo>
                      <a:pt x="7" y="31"/>
                    </a:lnTo>
                    <a:lnTo>
                      <a:pt x="5" y="27"/>
                    </a:lnTo>
                    <a:lnTo>
                      <a:pt x="5" y="24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1" y="21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1" y="8"/>
                    </a:lnTo>
                    <a:lnTo>
                      <a:pt x="14" y="8"/>
                    </a:lnTo>
                    <a:lnTo>
                      <a:pt x="16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23" y="8"/>
                    </a:lnTo>
                    <a:lnTo>
                      <a:pt x="24" y="5"/>
                    </a:lnTo>
                    <a:lnTo>
                      <a:pt x="26" y="1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2" y="0"/>
                    </a:lnTo>
                    <a:lnTo>
                      <a:pt x="34" y="1"/>
                    </a:lnTo>
                    <a:lnTo>
                      <a:pt x="40" y="5"/>
                    </a:lnTo>
                    <a:lnTo>
                      <a:pt x="40" y="5"/>
                    </a:lnTo>
                    <a:lnTo>
                      <a:pt x="40" y="8"/>
                    </a:lnTo>
                    <a:lnTo>
                      <a:pt x="37" y="13"/>
                    </a:lnTo>
                    <a:lnTo>
                      <a:pt x="34" y="17"/>
                    </a:lnTo>
                    <a:lnTo>
                      <a:pt x="33" y="18"/>
                    </a:lnTo>
                    <a:lnTo>
                      <a:pt x="33" y="18"/>
                    </a:lnTo>
                    <a:lnTo>
                      <a:pt x="27" y="17"/>
                    </a:lnTo>
                    <a:lnTo>
                      <a:pt x="23" y="17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29"/>
                    </a:lnTo>
                    <a:lnTo>
                      <a:pt x="13" y="33"/>
                    </a:lnTo>
                    <a:lnTo>
                      <a:pt x="11" y="34"/>
                    </a:lnTo>
                    <a:lnTo>
                      <a:pt x="10" y="3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38" name="Freeform 1291"/>
              <p:cNvSpPr>
                <a:spLocks/>
              </p:cNvSpPr>
              <p:nvPr/>
            </p:nvSpPr>
            <p:spPr bwMode="auto">
              <a:xfrm>
                <a:off x="6515895" y="2749303"/>
                <a:ext cx="39570" cy="33635"/>
              </a:xfrm>
              <a:custGeom>
                <a:avLst/>
                <a:gdLst>
                  <a:gd name="T0" fmla="*/ 10 w 40"/>
                  <a:gd name="T1" fmla="*/ 34 h 34"/>
                  <a:gd name="T2" fmla="*/ 10 w 40"/>
                  <a:gd name="T3" fmla="*/ 34 h 34"/>
                  <a:gd name="T4" fmla="*/ 7 w 40"/>
                  <a:gd name="T5" fmla="*/ 31 h 34"/>
                  <a:gd name="T6" fmla="*/ 5 w 40"/>
                  <a:gd name="T7" fmla="*/ 27 h 34"/>
                  <a:gd name="T8" fmla="*/ 5 w 40"/>
                  <a:gd name="T9" fmla="*/ 24 h 34"/>
                  <a:gd name="T10" fmla="*/ 4 w 40"/>
                  <a:gd name="T11" fmla="*/ 21 h 34"/>
                  <a:gd name="T12" fmla="*/ 4 w 40"/>
                  <a:gd name="T13" fmla="*/ 21 h 34"/>
                  <a:gd name="T14" fmla="*/ 1 w 40"/>
                  <a:gd name="T15" fmla="*/ 21 h 34"/>
                  <a:gd name="T16" fmla="*/ 0 w 40"/>
                  <a:gd name="T17" fmla="*/ 20 h 34"/>
                  <a:gd name="T18" fmla="*/ 0 w 40"/>
                  <a:gd name="T19" fmla="*/ 20 h 34"/>
                  <a:gd name="T20" fmla="*/ 0 w 40"/>
                  <a:gd name="T21" fmla="*/ 20 h 34"/>
                  <a:gd name="T22" fmla="*/ 10 w 40"/>
                  <a:gd name="T23" fmla="*/ 8 h 34"/>
                  <a:gd name="T24" fmla="*/ 10 w 40"/>
                  <a:gd name="T25" fmla="*/ 8 h 34"/>
                  <a:gd name="T26" fmla="*/ 11 w 40"/>
                  <a:gd name="T27" fmla="*/ 8 h 34"/>
                  <a:gd name="T28" fmla="*/ 14 w 40"/>
                  <a:gd name="T29" fmla="*/ 8 h 34"/>
                  <a:gd name="T30" fmla="*/ 16 w 40"/>
                  <a:gd name="T31" fmla="*/ 10 h 34"/>
                  <a:gd name="T32" fmla="*/ 18 w 40"/>
                  <a:gd name="T33" fmla="*/ 10 h 34"/>
                  <a:gd name="T34" fmla="*/ 18 w 40"/>
                  <a:gd name="T35" fmla="*/ 10 h 34"/>
                  <a:gd name="T36" fmla="*/ 23 w 40"/>
                  <a:gd name="T37" fmla="*/ 8 h 34"/>
                  <a:gd name="T38" fmla="*/ 24 w 40"/>
                  <a:gd name="T39" fmla="*/ 5 h 34"/>
                  <a:gd name="T40" fmla="*/ 26 w 40"/>
                  <a:gd name="T41" fmla="*/ 1 h 34"/>
                  <a:gd name="T42" fmla="*/ 29 w 40"/>
                  <a:gd name="T43" fmla="*/ 0 h 34"/>
                  <a:gd name="T44" fmla="*/ 29 w 40"/>
                  <a:gd name="T45" fmla="*/ 0 h 34"/>
                  <a:gd name="T46" fmla="*/ 32 w 40"/>
                  <a:gd name="T47" fmla="*/ 0 h 34"/>
                  <a:gd name="T48" fmla="*/ 34 w 40"/>
                  <a:gd name="T49" fmla="*/ 1 h 34"/>
                  <a:gd name="T50" fmla="*/ 40 w 40"/>
                  <a:gd name="T51" fmla="*/ 5 h 34"/>
                  <a:gd name="T52" fmla="*/ 40 w 40"/>
                  <a:gd name="T53" fmla="*/ 5 h 34"/>
                  <a:gd name="T54" fmla="*/ 40 w 40"/>
                  <a:gd name="T55" fmla="*/ 8 h 34"/>
                  <a:gd name="T56" fmla="*/ 37 w 40"/>
                  <a:gd name="T57" fmla="*/ 13 h 34"/>
                  <a:gd name="T58" fmla="*/ 34 w 40"/>
                  <a:gd name="T59" fmla="*/ 17 h 34"/>
                  <a:gd name="T60" fmla="*/ 33 w 40"/>
                  <a:gd name="T61" fmla="*/ 18 h 34"/>
                  <a:gd name="T62" fmla="*/ 33 w 40"/>
                  <a:gd name="T63" fmla="*/ 18 h 34"/>
                  <a:gd name="T64" fmla="*/ 27 w 40"/>
                  <a:gd name="T65" fmla="*/ 17 h 34"/>
                  <a:gd name="T66" fmla="*/ 23 w 40"/>
                  <a:gd name="T67" fmla="*/ 17 h 34"/>
                  <a:gd name="T68" fmla="*/ 20 w 40"/>
                  <a:gd name="T69" fmla="*/ 18 h 34"/>
                  <a:gd name="T70" fmla="*/ 20 w 40"/>
                  <a:gd name="T71" fmla="*/ 18 h 34"/>
                  <a:gd name="T72" fmla="*/ 16 w 40"/>
                  <a:gd name="T73" fmla="*/ 29 h 34"/>
                  <a:gd name="T74" fmla="*/ 13 w 40"/>
                  <a:gd name="T75" fmla="*/ 33 h 34"/>
                  <a:gd name="T76" fmla="*/ 11 w 40"/>
                  <a:gd name="T77" fmla="*/ 34 h 34"/>
                  <a:gd name="T78" fmla="*/ 10 w 40"/>
                  <a:gd name="T7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34">
                    <a:moveTo>
                      <a:pt x="10" y="34"/>
                    </a:moveTo>
                    <a:lnTo>
                      <a:pt x="10" y="34"/>
                    </a:lnTo>
                    <a:lnTo>
                      <a:pt x="7" y="31"/>
                    </a:lnTo>
                    <a:lnTo>
                      <a:pt x="5" y="27"/>
                    </a:lnTo>
                    <a:lnTo>
                      <a:pt x="5" y="24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1" y="21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1" y="8"/>
                    </a:lnTo>
                    <a:lnTo>
                      <a:pt x="14" y="8"/>
                    </a:lnTo>
                    <a:lnTo>
                      <a:pt x="16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23" y="8"/>
                    </a:lnTo>
                    <a:lnTo>
                      <a:pt x="24" y="5"/>
                    </a:lnTo>
                    <a:lnTo>
                      <a:pt x="26" y="1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2" y="0"/>
                    </a:lnTo>
                    <a:lnTo>
                      <a:pt x="34" y="1"/>
                    </a:lnTo>
                    <a:lnTo>
                      <a:pt x="40" y="5"/>
                    </a:lnTo>
                    <a:lnTo>
                      <a:pt x="40" y="5"/>
                    </a:lnTo>
                    <a:lnTo>
                      <a:pt x="40" y="8"/>
                    </a:lnTo>
                    <a:lnTo>
                      <a:pt x="37" y="13"/>
                    </a:lnTo>
                    <a:lnTo>
                      <a:pt x="34" y="17"/>
                    </a:lnTo>
                    <a:lnTo>
                      <a:pt x="33" y="18"/>
                    </a:lnTo>
                    <a:lnTo>
                      <a:pt x="33" y="18"/>
                    </a:lnTo>
                    <a:lnTo>
                      <a:pt x="27" y="17"/>
                    </a:lnTo>
                    <a:lnTo>
                      <a:pt x="23" y="17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29"/>
                    </a:lnTo>
                    <a:lnTo>
                      <a:pt x="13" y="33"/>
                    </a:lnTo>
                    <a:lnTo>
                      <a:pt x="11" y="34"/>
                    </a:lnTo>
                    <a:lnTo>
                      <a:pt x="10" y="3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39" name="Freeform 1292"/>
              <p:cNvSpPr>
                <a:spLocks/>
              </p:cNvSpPr>
              <p:nvPr/>
            </p:nvSpPr>
            <p:spPr bwMode="auto">
              <a:xfrm>
                <a:off x="6490174" y="2605861"/>
                <a:ext cx="182024" cy="163228"/>
              </a:xfrm>
              <a:custGeom>
                <a:avLst/>
                <a:gdLst>
                  <a:gd name="T0" fmla="*/ 78 w 184"/>
                  <a:gd name="T1" fmla="*/ 145 h 165"/>
                  <a:gd name="T2" fmla="*/ 49 w 184"/>
                  <a:gd name="T3" fmla="*/ 140 h 165"/>
                  <a:gd name="T4" fmla="*/ 31 w 184"/>
                  <a:gd name="T5" fmla="*/ 146 h 165"/>
                  <a:gd name="T6" fmla="*/ 20 w 184"/>
                  <a:gd name="T7" fmla="*/ 147 h 165"/>
                  <a:gd name="T8" fmla="*/ 5 w 184"/>
                  <a:gd name="T9" fmla="*/ 150 h 165"/>
                  <a:gd name="T10" fmla="*/ 20 w 184"/>
                  <a:gd name="T11" fmla="*/ 139 h 165"/>
                  <a:gd name="T12" fmla="*/ 65 w 184"/>
                  <a:gd name="T13" fmla="*/ 118 h 165"/>
                  <a:gd name="T14" fmla="*/ 91 w 184"/>
                  <a:gd name="T15" fmla="*/ 117 h 165"/>
                  <a:gd name="T16" fmla="*/ 105 w 184"/>
                  <a:gd name="T17" fmla="*/ 87 h 165"/>
                  <a:gd name="T18" fmla="*/ 102 w 184"/>
                  <a:gd name="T19" fmla="*/ 84 h 165"/>
                  <a:gd name="T20" fmla="*/ 126 w 184"/>
                  <a:gd name="T21" fmla="*/ 87 h 165"/>
                  <a:gd name="T22" fmla="*/ 150 w 184"/>
                  <a:gd name="T23" fmla="*/ 33 h 165"/>
                  <a:gd name="T24" fmla="*/ 155 w 184"/>
                  <a:gd name="T25" fmla="*/ 30 h 165"/>
                  <a:gd name="T26" fmla="*/ 153 w 184"/>
                  <a:gd name="T27" fmla="*/ 20 h 165"/>
                  <a:gd name="T28" fmla="*/ 156 w 184"/>
                  <a:gd name="T29" fmla="*/ 8 h 165"/>
                  <a:gd name="T30" fmla="*/ 156 w 184"/>
                  <a:gd name="T31" fmla="*/ 8 h 165"/>
                  <a:gd name="T32" fmla="*/ 170 w 184"/>
                  <a:gd name="T33" fmla="*/ 8 h 165"/>
                  <a:gd name="T34" fmla="*/ 166 w 184"/>
                  <a:gd name="T35" fmla="*/ 7 h 165"/>
                  <a:gd name="T36" fmla="*/ 175 w 184"/>
                  <a:gd name="T37" fmla="*/ 23 h 165"/>
                  <a:gd name="T38" fmla="*/ 173 w 184"/>
                  <a:gd name="T39" fmla="*/ 58 h 165"/>
                  <a:gd name="T40" fmla="*/ 173 w 184"/>
                  <a:gd name="T41" fmla="*/ 62 h 165"/>
                  <a:gd name="T42" fmla="*/ 165 w 184"/>
                  <a:gd name="T43" fmla="*/ 71 h 165"/>
                  <a:gd name="T44" fmla="*/ 162 w 184"/>
                  <a:gd name="T45" fmla="*/ 104 h 165"/>
                  <a:gd name="T46" fmla="*/ 163 w 184"/>
                  <a:gd name="T47" fmla="*/ 118 h 165"/>
                  <a:gd name="T48" fmla="*/ 155 w 184"/>
                  <a:gd name="T49" fmla="*/ 133 h 165"/>
                  <a:gd name="T50" fmla="*/ 153 w 184"/>
                  <a:gd name="T51" fmla="*/ 124 h 165"/>
                  <a:gd name="T52" fmla="*/ 144 w 184"/>
                  <a:gd name="T53" fmla="*/ 120 h 165"/>
                  <a:gd name="T54" fmla="*/ 136 w 184"/>
                  <a:gd name="T55" fmla="*/ 134 h 165"/>
                  <a:gd name="T56" fmla="*/ 137 w 184"/>
                  <a:gd name="T57" fmla="*/ 134 h 165"/>
                  <a:gd name="T58" fmla="*/ 127 w 184"/>
                  <a:gd name="T59" fmla="*/ 134 h 165"/>
                  <a:gd name="T60" fmla="*/ 108 w 184"/>
                  <a:gd name="T61" fmla="*/ 139 h 165"/>
                  <a:gd name="T62" fmla="*/ 100 w 184"/>
                  <a:gd name="T63" fmla="*/ 142 h 165"/>
                  <a:gd name="T64" fmla="*/ 84 w 184"/>
                  <a:gd name="T65" fmla="*/ 159 h 165"/>
                  <a:gd name="T66" fmla="*/ 102 w 184"/>
                  <a:gd name="T67" fmla="*/ 147 h 165"/>
                  <a:gd name="T68" fmla="*/ 104 w 184"/>
                  <a:gd name="T69" fmla="*/ 139 h 165"/>
                  <a:gd name="T70" fmla="*/ 117 w 184"/>
                  <a:gd name="T71" fmla="*/ 145 h 165"/>
                  <a:gd name="T72" fmla="*/ 133 w 184"/>
                  <a:gd name="T73" fmla="*/ 132 h 165"/>
                  <a:gd name="T74" fmla="*/ 133 w 184"/>
                  <a:gd name="T75" fmla="*/ 139 h 165"/>
                  <a:gd name="T76" fmla="*/ 143 w 184"/>
                  <a:gd name="T77" fmla="*/ 126 h 165"/>
                  <a:gd name="T78" fmla="*/ 152 w 184"/>
                  <a:gd name="T79" fmla="*/ 120 h 165"/>
                  <a:gd name="T80" fmla="*/ 147 w 184"/>
                  <a:gd name="T81" fmla="*/ 124 h 165"/>
                  <a:gd name="T82" fmla="*/ 165 w 184"/>
                  <a:gd name="T83" fmla="*/ 123 h 165"/>
                  <a:gd name="T84" fmla="*/ 170 w 184"/>
                  <a:gd name="T85" fmla="*/ 87 h 165"/>
                  <a:gd name="T86" fmla="*/ 175 w 184"/>
                  <a:gd name="T87" fmla="*/ 66 h 165"/>
                  <a:gd name="T88" fmla="*/ 181 w 184"/>
                  <a:gd name="T89" fmla="*/ 23 h 165"/>
                  <a:gd name="T90" fmla="*/ 168 w 184"/>
                  <a:gd name="T91" fmla="*/ 0 h 165"/>
                  <a:gd name="T92" fmla="*/ 168 w 184"/>
                  <a:gd name="T93" fmla="*/ 8 h 165"/>
                  <a:gd name="T94" fmla="*/ 166 w 184"/>
                  <a:gd name="T95" fmla="*/ 13 h 165"/>
                  <a:gd name="T96" fmla="*/ 160 w 184"/>
                  <a:gd name="T97" fmla="*/ 5 h 165"/>
                  <a:gd name="T98" fmla="*/ 149 w 184"/>
                  <a:gd name="T99" fmla="*/ 23 h 165"/>
                  <a:gd name="T100" fmla="*/ 147 w 184"/>
                  <a:gd name="T101" fmla="*/ 32 h 165"/>
                  <a:gd name="T102" fmla="*/ 143 w 184"/>
                  <a:gd name="T103" fmla="*/ 61 h 165"/>
                  <a:gd name="T104" fmla="*/ 104 w 184"/>
                  <a:gd name="T105" fmla="*/ 95 h 165"/>
                  <a:gd name="T106" fmla="*/ 104 w 184"/>
                  <a:gd name="T107" fmla="*/ 81 h 165"/>
                  <a:gd name="T108" fmla="*/ 85 w 184"/>
                  <a:gd name="T109" fmla="*/ 116 h 165"/>
                  <a:gd name="T110" fmla="*/ 81 w 184"/>
                  <a:gd name="T111" fmla="*/ 118 h 165"/>
                  <a:gd name="T112" fmla="*/ 31 w 184"/>
                  <a:gd name="T113" fmla="*/ 121 h 165"/>
                  <a:gd name="T114" fmla="*/ 2 w 184"/>
                  <a:gd name="T115" fmla="*/ 153 h 165"/>
                  <a:gd name="T116" fmla="*/ 27 w 184"/>
                  <a:gd name="T117" fmla="*/ 150 h 165"/>
                  <a:gd name="T118" fmla="*/ 40 w 184"/>
                  <a:gd name="T119" fmla="*/ 150 h 165"/>
                  <a:gd name="T120" fmla="*/ 44 w 184"/>
                  <a:gd name="T121" fmla="*/ 145 h 165"/>
                  <a:gd name="T122" fmla="*/ 73 w 184"/>
                  <a:gd name="T123" fmla="*/ 143 h 165"/>
                  <a:gd name="T124" fmla="*/ 69 w 184"/>
                  <a:gd name="T125" fmla="*/ 15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4" h="165">
                    <a:moveTo>
                      <a:pt x="82" y="162"/>
                    </a:moveTo>
                    <a:lnTo>
                      <a:pt x="82" y="159"/>
                    </a:lnTo>
                    <a:lnTo>
                      <a:pt x="82" y="159"/>
                    </a:lnTo>
                    <a:lnTo>
                      <a:pt x="78" y="159"/>
                    </a:lnTo>
                    <a:lnTo>
                      <a:pt x="78" y="159"/>
                    </a:lnTo>
                    <a:lnTo>
                      <a:pt x="76" y="156"/>
                    </a:lnTo>
                    <a:lnTo>
                      <a:pt x="76" y="156"/>
                    </a:lnTo>
                    <a:lnTo>
                      <a:pt x="73" y="150"/>
                    </a:lnTo>
                    <a:lnTo>
                      <a:pt x="73" y="149"/>
                    </a:lnTo>
                    <a:lnTo>
                      <a:pt x="73" y="149"/>
                    </a:lnTo>
                    <a:lnTo>
                      <a:pt x="73" y="149"/>
                    </a:lnTo>
                    <a:lnTo>
                      <a:pt x="73" y="149"/>
                    </a:lnTo>
                    <a:lnTo>
                      <a:pt x="73" y="149"/>
                    </a:lnTo>
                    <a:lnTo>
                      <a:pt x="73" y="149"/>
                    </a:lnTo>
                    <a:lnTo>
                      <a:pt x="73" y="149"/>
                    </a:lnTo>
                    <a:lnTo>
                      <a:pt x="73" y="149"/>
                    </a:lnTo>
                    <a:lnTo>
                      <a:pt x="76" y="147"/>
                    </a:lnTo>
                    <a:lnTo>
                      <a:pt x="76" y="147"/>
                    </a:lnTo>
                    <a:lnTo>
                      <a:pt x="78" y="145"/>
                    </a:lnTo>
                    <a:lnTo>
                      <a:pt x="78" y="145"/>
                    </a:lnTo>
                    <a:lnTo>
                      <a:pt x="79" y="142"/>
                    </a:lnTo>
                    <a:lnTo>
                      <a:pt x="79" y="142"/>
                    </a:lnTo>
                    <a:lnTo>
                      <a:pt x="78" y="140"/>
                    </a:lnTo>
                    <a:lnTo>
                      <a:pt x="76" y="139"/>
                    </a:lnTo>
                    <a:lnTo>
                      <a:pt x="76" y="139"/>
                    </a:lnTo>
                    <a:lnTo>
                      <a:pt x="72" y="136"/>
                    </a:lnTo>
                    <a:lnTo>
                      <a:pt x="68" y="134"/>
                    </a:lnTo>
                    <a:lnTo>
                      <a:pt x="68" y="134"/>
                    </a:lnTo>
                    <a:lnTo>
                      <a:pt x="65" y="136"/>
                    </a:lnTo>
                    <a:lnTo>
                      <a:pt x="65" y="136"/>
                    </a:lnTo>
                    <a:lnTo>
                      <a:pt x="59" y="136"/>
                    </a:lnTo>
                    <a:lnTo>
                      <a:pt x="59" y="136"/>
                    </a:lnTo>
                    <a:lnTo>
                      <a:pt x="56" y="137"/>
                    </a:lnTo>
                    <a:lnTo>
                      <a:pt x="56" y="137"/>
                    </a:lnTo>
                    <a:lnTo>
                      <a:pt x="53" y="137"/>
                    </a:lnTo>
                    <a:lnTo>
                      <a:pt x="53" y="137"/>
                    </a:lnTo>
                    <a:lnTo>
                      <a:pt x="52" y="139"/>
                    </a:lnTo>
                    <a:lnTo>
                      <a:pt x="52" y="139"/>
                    </a:lnTo>
                    <a:lnTo>
                      <a:pt x="49" y="140"/>
                    </a:lnTo>
                    <a:lnTo>
                      <a:pt x="49" y="140"/>
                    </a:lnTo>
                    <a:lnTo>
                      <a:pt x="46" y="142"/>
                    </a:lnTo>
                    <a:lnTo>
                      <a:pt x="46" y="142"/>
                    </a:lnTo>
                    <a:lnTo>
                      <a:pt x="46" y="142"/>
                    </a:lnTo>
                    <a:lnTo>
                      <a:pt x="44" y="140"/>
                    </a:lnTo>
                    <a:lnTo>
                      <a:pt x="44" y="140"/>
                    </a:lnTo>
                    <a:lnTo>
                      <a:pt x="40" y="142"/>
                    </a:lnTo>
                    <a:lnTo>
                      <a:pt x="40" y="142"/>
                    </a:lnTo>
                    <a:lnTo>
                      <a:pt x="39" y="145"/>
                    </a:lnTo>
                    <a:lnTo>
                      <a:pt x="37" y="146"/>
                    </a:lnTo>
                    <a:lnTo>
                      <a:pt x="37" y="146"/>
                    </a:lnTo>
                    <a:lnTo>
                      <a:pt x="39" y="147"/>
                    </a:lnTo>
                    <a:lnTo>
                      <a:pt x="39" y="146"/>
                    </a:lnTo>
                    <a:lnTo>
                      <a:pt x="39" y="146"/>
                    </a:lnTo>
                    <a:lnTo>
                      <a:pt x="37" y="146"/>
                    </a:lnTo>
                    <a:lnTo>
                      <a:pt x="39" y="147"/>
                    </a:lnTo>
                    <a:lnTo>
                      <a:pt x="39" y="146"/>
                    </a:lnTo>
                    <a:lnTo>
                      <a:pt x="39" y="146"/>
                    </a:lnTo>
                    <a:lnTo>
                      <a:pt x="37" y="146"/>
                    </a:lnTo>
                    <a:lnTo>
                      <a:pt x="37" y="146"/>
                    </a:lnTo>
                    <a:lnTo>
                      <a:pt x="31" y="146"/>
                    </a:lnTo>
                    <a:lnTo>
                      <a:pt x="31" y="146"/>
                    </a:lnTo>
                    <a:lnTo>
                      <a:pt x="31" y="146"/>
                    </a:lnTo>
                    <a:lnTo>
                      <a:pt x="31" y="147"/>
                    </a:lnTo>
                    <a:lnTo>
                      <a:pt x="31" y="146"/>
                    </a:lnTo>
                    <a:lnTo>
                      <a:pt x="31" y="146"/>
                    </a:lnTo>
                    <a:lnTo>
                      <a:pt x="31" y="147"/>
                    </a:lnTo>
                    <a:lnTo>
                      <a:pt x="31" y="146"/>
                    </a:lnTo>
                    <a:lnTo>
                      <a:pt x="31" y="146"/>
                    </a:lnTo>
                    <a:lnTo>
                      <a:pt x="29" y="146"/>
                    </a:lnTo>
                    <a:lnTo>
                      <a:pt x="29" y="146"/>
                    </a:lnTo>
                    <a:lnTo>
                      <a:pt x="27" y="145"/>
                    </a:lnTo>
                    <a:lnTo>
                      <a:pt x="27" y="145"/>
                    </a:lnTo>
                    <a:lnTo>
                      <a:pt x="23" y="146"/>
                    </a:lnTo>
                    <a:lnTo>
                      <a:pt x="23" y="146"/>
                    </a:lnTo>
                    <a:lnTo>
                      <a:pt x="20" y="147"/>
                    </a:lnTo>
                    <a:lnTo>
                      <a:pt x="20" y="147"/>
                    </a:lnTo>
                    <a:lnTo>
                      <a:pt x="20" y="147"/>
                    </a:lnTo>
                    <a:lnTo>
                      <a:pt x="20" y="147"/>
                    </a:lnTo>
                    <a:lnTo>
                      <a:pt x="20" y="147"/>
                    </a:lnTo>
                    <a:lnTo>
                      <a:pt x="20" y="147"/>
                    </a:lnTo>
                    <a:lnTo>
                      <a:pt x="20" y="147"/>
                    </a:lnTo>
                    <a:lnTo>
                      <a:pt x="18" y="147"/>
                    </a:lnTo>
                    <a:lnTo>
                      <a:pt x="18" y="147"/>
                    </a:lnTo>
                    <a:lnTo>
                      <a:pt x="14" y="147"/>
                    </a:lnTo>
                    <a:lnTo>
                      <a:pt x="14" y="147"/>
                    </a:lnTo>
                    <a:lnTo>
                      <a:pt x="10" y="147"/>
                    </a:lnTo>
                    <a:lnTo>
                      <a:pt x="10" y="147"/>
                    </a:lnTo>
                    <a:lnTo>
                      <a:pt x="5" y="149"/>
                    </a:lnTo>
                    <a:lnTo>
                      <a:pt x="4" y="149"/>
                    </a:lnTo>
                    <a:lnTo>
                      <a:pt x="4" y="149"/>
                    </a:lnTo>
                    <a:lnTo>
                      <a:pt x="4" y="149"/>
                    </a:lnTo>
                    <a:lnTo>
                      <a:pt x="5" y="149"/>
                    </a:lnTo>
                    <a:lnTo>
                      <a:pt x="4" y="149"/>
                    </a:lnTo>
                    <a:lnTo>
                      <a:pt x="4" y="149"/>
                    </a:lnTo>
                    <a:lnTo>
                      <a:pt x="5" y="149"/>
                    </a:lnTo>
                    <a:lnTo>
                      <a:pt x="4" y="150"/>
                    </a:lnTo>
                    <a:lnTo>
                      <a:pt x="5" y="150"/>
                    </a:lnTo>
                    <a:lnTo>
                      <a:pt x="5" y="149"/>
                    </a:lnTo>
                    <a:lnTo>
                      <a:pt x="4" y="150"/>
                    </a:lnTo>
                    <a:lnTo>
                      <a:pt x="5" y="150"/>
                    </a:lnTo>
                    <a:lnTo>
                      <a:pt x="4" y="150"/>
                    </a:lnTo>
                    <a:lnTo>
                      <a:pt x="5" y="150"/>
                    </a:lnTo>
                    <a:lnTo>
                      <a:pt x="5" y="150"/>
                    </a:lnTo>
                    <a:lnTo>
                      <a:pt x="4" y="150"/>
                    </a:lnTo>
                    <a:lnTo>
                      <a:pt x="5" y="150"/>
                    </a:lnTo>
                    <a:lnTo>
                      <a:pt x="5" y="150"/>
                    </a:lnTo>
                    <a:lnTo>
                      <a:pt x="5" y="150"/>
                    </a:lnTo>
                    <a:lnTo>
                      <a:pt x="5" y="150"/>
                    </a:lnTo>
                    <a:lnTo>
                      <a:pt x="5" y="150"/>
                    </a:lnTo>
                    <a:lnTo>
                      <a:pt x="5" y="150"/>
                    </a:lnTo>
                    <a:lnTo>
                      <a:pt x="5" y="149"/>
                    </a:lnTo>
                    <a:lnTo>
                      <a:pt x="5" y="149"/>
                    </a:lnTo>
                    <a:lnTo>
                      <a:pt x="7" y="147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16" y="145"/>
                    </a:lnTo>
                    <a:lnTo>
                      <a:pt x="16" y="145"/>
                    </a:lnTo>
                    <a:lnTo>
                      <a:pt x="18" y="142"/>
                    </a:lnTo>
                    <a:lnTo>
                      <a:pt x="20" y="139"/>
                    </a:lnTo>
                    <a:lnTo>
                      <a:pt x="20" y="139"/>
                    </a:lnTo>
                    <a:lnTo>
                      <a:pt x="24" y="134"/>
                    </a:lnTo>
                    <a:lnTo>
                      <a:pt x="24" y="134"/>
                    </a:lnTo>
                    <a:lnTo>
                      <a:pt x="31" y="129"/>
                    </a:lnTo>
                    <a:lnTo>
                      <a:pt x="31" y="129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7" y="124"/>
                    </a:lnTo>
                    <a:lnTo>
                      <a:pt x="37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50" y="124"/>
                    </a:lnTo>
                    <a:lnTo>
                      <a:pt x="50" y="124"/>
                    </a:lnTo>
                    <a:lnTo>
                      <a:pt x="55" y="124"/>
                    </a:lnTo>
                    <a:lnTo>
                      <a:pt x="55" y="124"/>
                    </a:lnTo>
                    <a:lnTo>
                      <a:pt x="58" y="123"/>
                    </a:lnTo>
                    <a:lnTo>
                      <a:pt x="58" y="123"/>
                    </a:lnTo>
                    <a:lnTo>
                      <a:pt x="62" y="120"/>
                    </a:lnTo>
                    <a:lnTo>
                      <a:pt x="62" y="120"/>
                    </a:lnTo>
                    <a:lnTo>
                      <a:pt x="65" y="118"/>
                    </a:lnTo>
                    <a:lnTo>
                      <a:pt x="65" y="118"/>
                    </a:lnTo>
                    <a:lnTo>
                      <a:pt x="66" y="120"/>
                    </a:lnTo>
                    <a:lnTo>
                      <a:pt x="66" y="120"/>
                    </a:lnTo>
                    <a:lnTo>
                      <a:pt x="73" y="120"/>
                    </a:lnTo>
                    <a:lnTo>
                      <a:pt x="73" y="120"/>
                    </a:lnTo>
                    <a:lnTo>
                      <a:pt x="75" y="121"/>
                    </a:lnTo>
                    <a:lnTo>
                      <a:pt x="75" y="121"/>
                    </a:lnTo>
                    <a:lnTo>
                      <a:pt x="76" y="121"/>
                    </a:lnTo>
                    <a:lnTo>
                      <a:pt x="76" y="121"/>
                    </a:lnTo>
                    <a:lnTo>
                      <a:pt x="78" y="123"/>
                    </a:lnTo>
                    <a:lnTo>
                      <a:pt x="78" y="123"/>
                    </a:lnTo>
                    <a:lnTo>
                      <a:pt x="81" y="124"/>
                    </a:lnTo>
                    <a:lnTo>
                      <a:pt x="81" y="124"/>
                    </a:lnTo>
                    <a:lnTo>
                      <a:pt x="85" y="123"/>
                    </a:lnTo>
                    <a:lnTo>
                      <a:pt x="85" y="123"/>
                    </a:lnTo>
                    <a:lnTo>
                      <a:pt x="88" y="121"/>
                    </a:lnTo>
                    <a:lnTo>
                      <a:pt x="88" y="121"/>
                    </a:lnTo>
                    <a:lnTo>
                      <a:pt x="91" y="118"/>
                    </a:lnTo>
                    <a:lnTo>
                      <a:pt x="91" y="118"/>
                    </a:lnTo>
                    <a:lnTo>
                      <a:pt x="91" y="117"/>
                    </a:lnTo>
                    <a:lnTo>
                      <a:pt x="91" y="117"/>
                    </a:lnTo>
                    <a:lnTo>
                      <a:pt x="89" y="114"/>
                    </a:lnTo>
                    <a:lnTo>
                      <a:pt x="89" y="114"/>
                    </a:lnTo>
                    <a:lnTo>
                      <a:pt x="89" y="111"/>
                    </a:lnTo>
                    <a:lnTo>
                      <a:pt x="89" y="111"/>
                    </a:lnTo>
                    <a:lnTo>
                      <a:pt x="89" y="111"/>
                    </a:lnTo>
                    <a:lnTo>
                      <a:pt x="94" y="105"/>
                    </a:lnTo>
                    <a:lnTo>
                      <a:pt x="94" y="105"/>
                    </a:lnTo>
                    <a:lnTo>
                      <a:pt x="97" y="103"/>
                    </a:lnTo>
                    <a:lnTo>
                      <a:pt x="98" y="100"/>
                    </a:lnTo>
                    <a:lnTo>
                      <a:pt x="98" y="100"/>
                    </a:lnTo>
                    <a:lnTo>
                      <a:pt x="100" y="95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0"/>
                    </a:lnTo>
                    <a:lnTo>
                      <a:pt x="100" y="90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105" y="87"/>
                    </a:lnTo>
                    <a:lnTo>
                      <a:pt x="105" y="85"/>
                    </a:lnTo>
                    <a:lnTo>
                      <a:pt x="105" y="87"/>
                    </a:lnTo>
                    <a:lnTo>
                      <a:pt x="105" y="87"/>
                    </a:lnTo>
                    <a:lnTo>
                      <a:pt x="105" y="85"/>
                    </a:lnTo>
                    <a:lnTo>
                      <a:pt x="105" y="87"/>
                    </a:lnTo>
                    <a:lnTo>
                      <a:pt x="105" y="84"/>
                    </a:lnTo>
                    <a:lnTo>
                      <a:pt x="104" y="85"/>
                    </a:lnTo>
                    <a:lnTo>
                      <a:pt x="104" y="85"/>
                    </a:lnTo>
                    <a:lnTo>
                      <a:pt x="105" y="87"/>
                    </a:lnTo>
                    <a:lnTo>
                      <a:pt x="105" y="84"/>
                    </a:lnTo>
                    <a:lnTo>
                      <a:pt x="104" y="85"/>
                    </a:lnTo>
                    <a:lnTo>
                      <a:pt x="105" y="84"/>
                    </a:lnTo>
                    <a:lnTo>
                      <a:pt x="102" y="84"/>
                    </a:lnTo>
                    <a:lnTo>
                      <a:pt x="102" y="84"/>
                    </a:lnTo>
                    <a:lnTo>
                      <a:pt x="104" y="85"/>
                    </a:lnTo>
                    <a:lnTo>
                      <a:pt x="105" y="84"/>
                    </a:lnTo>
                    <a:lnTo>
                      <a:pt x="102" y="84"/>
                    </a:lnTo>
                    <a:lnTo>
                      <a:pt x="104" y="84"/>
                    </a:lnTo>
                    <a:lnTo>
                      <a:pt x="102" y="84"/>
                    </a:lnTo>
                    <a:lnTo>
                      <a:pt x="102" y="84"/>
                    </a:lnTo>
                    <a:lnTo>
                      <a:pt x="104" y="84"/>
                    </a:lnTo>
                    <a:lnTo>
                      <a:pt x="102" y="84"/>
                    </a:lnTo>
                    <a:lnTo>
                      <a:pt x="102" y="84"/>
                    </a:lnTo>
                    <a:lnTo>
                      <a:pt x="102" y="87"/>
                    </a:lnTo>
                    <a:lnTo>
                      <a:pt x="102" y="87"/>
                    </a:lnTo>
                    <a:lnTo>
                      <a:pt x="101" y="90"/>
                    </a:lnTo>
                    <a:lnTo>
                      <a:pt x="101" y="90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8"/>
                    </a:lnTo>
                    <a:lnTo>
                      <a:pt x="100" y="98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4" y="100"/>
                    </a:lnTo>
                    <a:lnTo>
                      <a:pt x="105" y="100"/>
                    </a:lnTo>
                    <a:lnTo>
                      <a:pt x="105" y="100"/>
                    </a:lnTo>
                    <a:lnTo>
                      <a:pt x="110" y="98"/>
                    </a:lnTo>
                    <a:lnTo>
                      <a:pt x="114" y="95"/>
                    </a:lnTo>
                    <a:lnTo>
                      <a:pt x="114" y="95"/>
                    </a:lnTo>
                    <a:lnTo>
                      <a:pt x="118" y="91"/>
                    </a:lnTo>
                    <a:lnTo>
                      <a:pt x="118" y="91"/>
                    </a:lnTo>
                    <a:lnTo>
                      <a:pt x="126" y="87"/>
                    </a:lnTo>
                    <a:lnTo>
                      <a:pt x="126" y="87"/>
                    </a:lnTo>
                    <a:lnTo>
                      <a:pt x="130" y="84"/>
                    </a:lnTo>
                    <a:lnTo>
                      <a:pt x="134" y="81"/>
                    </a:lnTo>
                    <a:lnTo>
                      <a:pt x="134" y="81"/>
                    </a:lnTo>
                    <a:lnTo>
                      <a:pt x="142" y="72"/>
                    </a:lnTo>
                    <a:lnTo>
                      <a:pt x="142" y="72"/>
                    </a:lnTo>
                    <a:lnTo>
                      <a:pt x="147" y="63"/>
                    </a:lnTo>
                    <a:lnTo>
                      <a:pt x="152" y="53"/>
                    </a:lnTo>
                    <a:lnTo>
                      <a:pt x="152" y="53"/>
                    </a:lnTo>
                    <a:lnTo>
                      <a:pt x="155" y="48"/>
                    </a:lnTo>
                    <a:lnTo>
                      <a:pt x="155" y="48"/>
                    </a:lnTo>
                    <a:lnTo>
                      <a:pt x="156" y="43"/>
                    </a:lnTo>
                    <a:lnTo>
                      <a:pt x="156" y="39"/>
                    </a:lnTo>
                    <a:lnTo>
                      <a:pt x="156" y="39"/>
                    </a:lnTo>
                    <a:lnTo>
                      <a:pt x="155" y="36"/>
                    </a:lnTo>
                    <a:lnTo>
                      <a:pt x="155" y="36"/>
                    </a:lnTo>
                    <a:lnTo>
                      <a:pt x="152" y="33"/>
                    </a:lnTo>
                    <a:lnTo>
                      <a:pt x="150" y="33"/>
                    </a:lnTo>
                    <a:lnTo>
                      <a:pt x="150" y="33"/>
                    </a:lnTo>
                    <a:lnTo>
                      <a:pt x="150" y="33"/>
                    </a:lnTo>
                    <a:lnTo>
                      <a:pt x="150" y="33"/>
                    </a:lnTo>
                    <a:lnTo>
                      <a:pt x="150" y="33"/>
                    </a:lnTo>
                    <a:lnTo>
                      <a:pt x="150" y="33"/>
                    </a:lnTo>
                    <a:lnTo>
                      <a:pt x="150" y="33"/>
                    </a:lnTo>
                    <a:lnTo>
                      <a:pt x="150" y="33"/>
                    </a:lnTo>
                    <a:lnTo>
                      <a:pt x="152" y="33"/>
                    </a:lnTo>
                    <a:lnTo>
                      <a:pt x="152" y="33"/>
                    </a:lnTo>
                    <a:lnTo>
                      <a:pt x="150" y="33"/>
                    </a:lnTo>
                    <a:lnTo>
                      <a:pt x="150" y="33"/>
                    </a:lnTo>
                    <a:lnTo>
                      <a:pt x="152" y="33"/>
                    </a:lnTo>
                    <a:lnTo>
                      <a:pt x="150" y="33"/>
                    </a:lnTo>
                    <a:lnTo>
                      <a:pt x="152" y="34"/>
                    </a:lnTo>
                    <a:lnTo>
                      <a:pt x="152" y="33"/>
                    </a:lnTo>
                    <a:lnTo>
                      <a:pt x="150" y="33"/>
                    </a:lnTo>
                    <a:lnTo>
                      <a:pt x="152" y="34"/>
                    </a:lnTo>
                    <a:lnTo>
                      <a:pt x="152" y="34"/>
                    </a:lnTo>
                    <a:lnTo>
                      <a:pt x="152" y="34"/>
                    </a:lnTo>
                    <a:lnTo>
                      <a:pt x="153" y="32"/>
                    </a:lnTo>
                    <a:lnTo>
                      <a:pt x="153" y="32"/>
                    </a:lnTo>
                    <a:lnTo>
                      <a:pt x="155" y="30"/>
                    </a:lnTo>
                    <a:lnTo>
                      <a:pt x="155" y="30"/>
                    </a:lnTo>
                    <a:lnTo>
                      <a:pt x="155" y="29"/>
                    </a:lnTo>
                    <a:lnTo>
                      <a:pt x="155" y="29"/>
                    </a:lnTo>
                    <a:lnTo>
                      <a:pt x="155" y="26"/>
                    </a:lnTo>
                    <a:lnTo>
                      <a:pt x="155" y="26"/>
                    </a:lnTo>
                    <a:lnTo>
                      <a:pt x="153" y="21"/>
                    </a:lnTo>
                    <a:lnTo>
                      <a:pt x="153" y="21"/>
                    </a:lnTo>
                    <a:lnTo>
                      <a:pt x="153" y="20"/>
                    </a:lnTo>
                    <a:lnTo>
                      <a:pt x="153" y="19"/>
                    </a:lnTo>
                    <a:lnTo>
                      <a:pt x="152" y="19"/>
                    </a:lnTo>
                    <a:lnTo>
                      <a:pt x="153" y="19"/>
                    </a:lnTo>
                    <a:lnTo>
                      <a:pt x="153" y="19"/>
                    </a:lnTo>
                    <a:lnTo>
                      <a:pt x="152" y="19"/>
                    </a:lnTo>
                    <a:lnTo>
                      <a:pt x="153" y="19"/>
                    </a:lnTo>
                    <a:lnTo>
                      <a:pt x="152" y="19"/>
                    </a:lnTo>
                    <a:lnTo>
                      <a:pt x="152" y="20"/>
                    </a:lnTo>
                    <a:lnTo>
                      <a:pt x="153" y="19"/>
                    </a:lnTo>
                    <a:lnTo>
                      <a:pt x="152" y="19"/>
                    </a:lnTo>
                    <a:lnTo>
                      <a:pt x="152" y="20"/>
                    </a:lnTo>
                    <a:lnTo>
                      <a:pt x="153" y="20"/>
                    </a:lnTo>
                    <a:lnTo>
                      <a:pt x="153" y="20"/>
                    </a:lnTo>
                    <a:lnTo>
                      <a:pt x="155" y="16"/>
                    </a:lnTo>
                    <a:lnTo>
                      <a:pt x="155" y="16"/>
                    </a:lnTo>
                    <a:lnTo>
                      <a:pt x="157" y="13"/>
                    </a:lnTo>
                    <a:lnTo>
                      <a:pt x="157" y="13"/>
                    </a:lnTo>
                    <a:lnTo>
                      <a:pt x="157" y="8"/>
                    </a:lnTo>
                    <a:lnTo>
                      <a:pt x="157" y="8"/>
                    </a:lnTo>
                    <a:lnTo>
                      <a:pt x="157" y="7"/>
                    </a:lnTo>
                    <a:lnTo>
                      <a:pt x="156" y="7"/>
                    </a:lnTo>
                    <a:lnTo>
                      <a:pt x="157" y="8"/>
                    </a:lnTo>
                    <a:lnTo>
                      <a:pt x="157" y="7"/>
                    </a:lnTo>
                    <a:lnTo>
                      <a:pt x="156" y="7"/>
                    </a:lnTo>
                    <a:lnTo>
                      <a:pt x="157" y="8"/>
                    </a:lnTo>
                    <a:lnTo>
                      <a:pt x="156" y="7"/>
                    </a:lnTo>
                    <a:lnTo>
                      <a:pt x="156" y="8"/>
                    </a:lnTo>
                    <a:lnTo>
                      <a:pt x="157" y="8"/>
                    </a:lnTo>
                    <a:lnTo>
                      <a:pt x="156" y="7"/>
                    </a:lnTo>
                    <a:lnTo>
                      <a:pt x="156" y="8"/>
                    </a:lnTo>
                    <a:lnTo>
                      <a:pt x="156" y="8"/>
                    </a:lnTo>
                    <a:lnTo>
                      <a:pt x="156" y="8"/>
                    </a:lnTo>
                    <a:lnTo>
                      <a:pt x="156" y="8"/>
                    </a:lnTo>
                    <a:lnTo>
                      <a:pt x="156" y="8"/>
                    </a:lnTo>
                    <a:lnTo>
                      <a:pt x="156" y="8"/>
                    </a:lnTo>
                    <a:lnTo>
                      <a:pt x="156" y="8"/>
                    </a:lnTo>
                    <a:lnTo>
                      <a:pt x="157" y="8"/>
                    </a:lnTo>
                    <a:lnTo>
                      <a:pt x="157" y="7"/>
                    </a:lnTo>
                    <a:lnTo>
                      <a:pt x="156" y="8"/>
                    </a:lnTo>
                    <a:lnTo>
                      <a:pt x="157" y="8"/>
                    </a:lnTo>
                    <a:lnTo>
                      <a:pt x="157" y="7"/>
                    </a:lnTo>
                    <a:lnTo>
                      <a:pt x="156" y="8"/>
                    </a:lnTo>
                    <a:lnTo>
                      <a:pt x="157" y="7"/>
                    </a:lnTo>
                    <a:lnTo>
                      <a:pt x="156" y="8"/>
                    </a:lnTo>
                    <a:lnTo>
                      <a:pt x="156" y="8"/>
                    </a:lnTo>
                    <a:lnTo>
                      <a:pt x="157" y="7"/>
                    </a:lnTo>
                    <a:lnTo>
                      <a:pt x="156" y="8"/>
                    </a:lnTo>
                    <a:lnTo>
                      <a:pt x="156" y="7"/>
                    </a:lnTo>
                    <a:lnTo>
                      <a:pt x="156" y="8"/>
                    </a:lnTo>
                    <a:lnTo>
                      <a:pt x="156" y="8"/>
                    </a:lnTo>
                    <a:lnTo>
                      <a:pt x="156" y="7"/>
                    </a:lnTo>
                    <a:lnTo>
                      <a:pt x="156" y="8"/>
                    </a:lnTo>
                    <a:lnTo>
                      <a:pt x="156" y="8"/>
                    </a:lnTo>
                    <a:lnTo>
                      <a:pt x="156" y="10"/>
                    </a:lnTo>
                    <a:lnTo>
                      <a:pt x="156" y="10"/>
                    </a:lnTo>
                    <a:lnTo>
                      <a:pt x="159" y="14"/>
                    </a:lnTo>
                    <a:lnTo>
                      <a:pt x="159" y="14"/>
                    </a:lnTo>
                    <a:lnTo>
                      <a:pt x="160" y="16"/>
                    </a:lnTo>
                    <a:lnTo>
                      <a:pt x="160" y="16"/>
                    </a:lnTo>
                    <a:lnTo>
                      <a:pt x="163" y="17"/>
                    </a:lnTo>
                    <a:lnTo>
                      <a:pt x="163" y="17"/>
                    </a:lnTo>
                    <a:lnTo>
                      <a:pt x="166" y="17"/>
                    </a:lnTo>
                    <a:lnTo>
                      <a:pt x="166" y="17"/>
                    </a:lnTo>
                    <a:lnTo>
                      <a:pt x="169" y="17"/>
                    </a:lnTo>
                    <a:lnTo>
                      <a:pt x="169" y="17"/>
                    </a:lnTo>
                    <a:lnTo>
                      <a:pt x="170" y="16"/>
                    </a:lnTo>
                    <a:lnTo>
                      <a:pt x="170" y="16"/>
                    </a:lnTo>
                    <a:lnTo>
                      <a:pt x="170" y="13"/>
                    </a:lnTo>
                    <a:lnTo>
                      <a:pt x="170" y="13"/>
                    </a:lnTo>
                    <a:lnTo>
                      <a:pt x="170" y="11"/>
                    </a:lnTo>
                    <a:lnTo>
                      <a:pt x="170" y="11"/>
                    </a:lnTo>
                    <a:lnTo>
                      <a:pt x="170" y="8"/>
                    </a:lnTo>
                    <a:lnTo>
                      <a:pt x="170" y="8"/>
                    </a:lnTo>
                    <a:lnTo>
                      <a:pt x="170" y="7"/>
                    </a:lnTo>
                    <a:lnTo>
                      <a:pt x="170" y="7"/>
                    </a:lnTo>
                    <a:lnTo>
                      <a:pt x="168" y="5"/>
                    </a:lnTo>
                    <a:lnTo>
                      <a:pt x="168" y="5"/>
                    </a:lnTo>
                    <a:lnTo>
                      <a:pt x="166" y="5"/>
                    </a:lnTo>
                    <a:lnTo>
                      <a:pt x="165" y="5"/>
                    </a:lnTo>
                    <a:lnTo>
                      <a:pt x="165" y="5"/>
                    </a:lnTo>
                    <a:lnTo>
                      <a:pt x="165" y="7"/>
                    </a:lnTo>
                    <a:lnTo>
                      <a:pt x="165" y="5"/>
                    </a:lnTo>
                    <a:lnTo>
                      <a:pt x="165" y="5"/>
                    </a:lnTo>
                    <a:lnTo>
                      <a:pt x="165" y="7"/>
                    </a:lnTo>
                    <a:lnTo>
                      <a:pt x="165" y="5"/>
                    </a:lnTo>
                    <a:lnTo>
                      <a:pt x="163" y="7"/>
                    </a:lnTo>
                    <a:lnTo>
                      <a:pt x="166" y="7"/>
                    </a:lnTo>
                    <a:lnTo>
                      <a:pt x="166" y="7"/>
                    </a:lnTo>
                    <a:lnTo>
                      <a:pt x="165" y="5"/>
                    </a:lnTo>
                    <a:lnTo>
                      <a:pt x="163" y="7"/>
                    </a:lnTo>
                    <a:lnTo>
                      <a:pt x="166" y="7"/>
                    </a:lnTo>
                    <a:lnTo>
                      <a:pt x="166" y="7"/>
                    </a:lnTo>
                    <a:lnTo>
                      <a:pt x="166" y="5"/>
                    </a:lnTo>
                    <a:lnTo>
                      <a:pt x="166" y="5"/>
                    </a:lnTo>
                    <a:lnTo>
                      <a:pt x="166" y="5"/>
                    </a:lnTo>
                    <a:lnTo>
                      <a:pt x="168" y="5"/>
                    </a:lnTo>
                    <a:lnTo>
                      <a:pt x="168" y="5"/>
                    </a:lnTo>
                    <a:lnTo>
                      <a:pt x="169" y="5"/>
                    </a:lnTo>
                    <a:lnTo>
                      <a:pt x="169" y="7"/>
                    </a:lnTo>
                    <a:lnTo>
                      <a:pt x="169" y="7"/>
                    </a:lnTo>
                    <a:lnTo>
                      <a:pt x="172" y="16"/>
                    </a:lnTo>
                    <a:lnTo>
                      <a:pt x="172" y="16"/>
                    </a:lnTo>
                    <a:lnTo>
                      <a:pt x="173" y="20"/>
                    </a:lnTo>
                    <a:lnTo>
                      <a:pt x="173" y="20"/>
                    </a:lnTo>
                    <a:lnTo>
                      <a:pt x="173" y="21"/>
                    </a:lnTo>
                    <a:lnTo>
                      <a:pt x="173" y="21"/>
                    </a:lnTo>
                    <a:lnTo>
                      <a:pt x="175" y="23"/>
                    </a:lnTo>
                    <a:lnTo>
                      <a:pt x="176" y="23"/>
                    </a:lnTo>
                    <a:lnTo>
                      <a:pt x="175" y="23"/>
                    </a:lnTo>
                    <a:lnTo>
                      <a:pt x="175" y="23"/>
                    </a:lnTo>
                    <a:lnTo>
                      <a:pt x="176" y="23"/>
                    </a:lnTo>
                    <a:lnTo>
                      <a:pt x="175" y="23"/>
                    </a:lnTo>
                    <a:lnTo>
                      <a:pt x="175" y="23"/>
                    </a:lnTo>
                    <a:lnTo>
                      <a:pt x="175" y="23"/>
                    </a:lnTo>
                    <a:lnTo>
                      <a:pt x="175" y="23"/>
                    </a:lnTo>
                    <a:lnTo>
                      <a:pt x="175" y="23"/>
                    </a:lnTo>
                    <a:lnTo>
                      <a:pt x="175" y="23"/>
                    </a:lnTo>
                    <a:lnTo>
                      <a:pt x="176" y="27"/>
                    </a:lnTo>
                    <a:lnTo>
                      <a:pt x="176" y="27"/>
                    </a:lnTo>
                    <a:lnTo>
                      <a:pt x="178" y="37"/>
                    </a:lnTo>
                    <a:lnTo>
                      <a:pt x="178" y="37"/>
                    </a:lnTo>
                    <a:lnTo>
                      <a:pt x="178" y="42"/>
                    </a:lnTo>
                    <a:lnTo>
                      <a:pt x="178" y="42"/>
                    </a:lnTo>
                    <a:lnTo>
                      <a:pt x="179" y="45"/>
                    </a:lnTo>
                    <a:lnTo>
                      <a:pt x="179" y="45"/>
                    </a:lnTo>
                    <a:lnTo>
                      <a:pt x="178" y="46"/>
                    </a:lnTo>
                    <a:lnTo>
                      <a:pt x="178" y="46"/>
                    </a:lnTo>
                    <a:lnTo>
                      <a:pt x="176" y="49"/>
                    </a:lnTo>
                    <a:lnTo>
                      <a:pt x="176" y="49"/>
                    </a:lnTo>
                    <a:lnTo>
                      <a:pt x="175" y="53"/>
                    </a:lnTo>
                    <a:lnTo>
                      <a:pt x="175" y="53"/>
                    </a:lnTo>
                    <a:lnTo>
                      <a:pt x="173" y="58"/>
                    </a:lnTo>
                    <a:lnTo>
                      <a:pt x="173" y="58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5" y="63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5" y="63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3" y="62"/>
                    </a:lnTo>
                    <a:lnTo>
                      <a:pt x="170" y="61"/>
                    </a:lnTo>
                    <a:lnTo>
                      <a:pt x="170" y="62"/>
                    </a:lnTo>
                    <a:lnTo>
                      <a:pt x="170" y="62"/>
                    </a:lnTo>
                    <a:lnTo>
                      <a:pt x="168" y="62"/>
                    </a:lnTo>
                    <a:lnTo>
                      <a:pt x="168" y="62"/>
                    </a:lnTo>
                    <a:lnTo>
                      <a:pt x="165" y="66"/>
                    </a:lnTo>
                    <a:lnTo>
                      <a:pt x="165" y="66"/>
                    </a:lnTo>
                    <a:lnTo>
                      <a:pt x="165" y="69"/>
                    </a:lnTo>
                    <a:lnTo>
                      <a:pt x="165" y="69"/>
                    </a:lnTo>
                    <a:lnTo>
                      <a:pt x="165" y="71"/>
                    </a:lnTo>
                    <a:lnTo>
                      <a:pt x="165" y="71"/>
                    </a:lnTo>
                    <a:lnTo>
                      <a:pt x="166" y="84"/>
                    </a:lnTo>
                    <a:lnTo>
                      <a:pt x="166" y="84"/>
                    </a:lnTo>
                    <a:lnTo>
                      <a:pt x="166" y="87"/>
                    </a:lnTo>
                    <a:lnTo>
                      <a:pt x="166" y="87"/>
                    </a:lnTo>
                    <a:lnTo>
                      <a:pt x="166" y="88"/>
                    </a:lnTo>
                    <a:lnTo>
                      <a:pt x="166" y="88"/>
                    </a:lnTo>
                    <a:lnTo>
                      <a:pt x="166" y="88"/>
                    </a:lnTo>
                    <a:lnTo>
                      <a:pt x="166" y="88"/>
                    </a:lnTo>
                    <a:lnTo>
                      <a:pt x="166" y="88"/>
                    </a:lnTo>
                    <a:lnTo>
                      <a:pt x="166" y="88"/>
                    </a:lnTo>
                    <a:lnTo>
                      <a:pt x="165" y="91"/>
                    </a:lnTo>
                    <a:lnTo>
                      <a:pt x="165" y="91"/>
                    </a:lnTo>
                    <a:lnTo>
                      <a:pt x="163" y="98"/>
                    </a:lnTo>
                    <a:lnTo>
                      <a:pt x="163" y="98"/>
                    </a:lnTo>
                    <a:lnTo>
                      <a:pt x="162" y="103"/>
                    </a:lnTo>
                    <a:lnTo>
                      <a:pt x="162" y="103"/>
                    </a:lnTo>
                    <a:lnTo>
                      <a:pt x="162" y="104"/>
                    </a:lnTo>
                    <a:lnTo>
                      <a:pt x="162" y="104"/>
                    </a:lnTo>
                    <a:lnTo>
                      <a:pt x="162" y="104"/>
                    </a:lnTo>
                    <a:lnTo>
                      <a:pt x="162" y="104"/>
                    </a:lnTo>
                    <a:lnTo>
                      <a:pt x="162" y="104"/>
                    </a:lnTo>
                    <a:lnTo>
                      <a:pt x="162" y="104"/>
                    </a:lnTo>
                    <a:lnTo>
                      <a:pt x="162" y="104"/>
                    </a:lnTo>
                    <a:lnTo>
                      <a:pt x="160" y="107"/>
                    </a:lnTo>
                    <a:lnTo>
                      <a:pt x="160" y="111"/>
                    </a:lnTo>
                    <a:lnTo>
                      <a:pt x="160" y="111"/>
                    </a:lnTo>
                    <a:lnTo>
                      <a:pt x="160" y="114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3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3" y="118"/>
                    </a:lnTo>
                    <a:lnTo>
                      <a:pt x="162" y="118"/>
                    </a:lnTo>
                    <a:lnTo>
                      <a:pt x="163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3" y="118"/>
                    </a:lnTo>
                    <a:lnTo>
                      <a:pt x="162" y="118"/>
                    </a:lnTo>
                    <a:lnTo>
                      <a:pt x="163" y="118"/>
                    </a:lnTo>
                    <a:lnTo>
                      <a:pt x="162" y="117"/>
                    </a:lnTo>
                    <a:lnTo>
                      <a:pt x="162" y="118"/>
                    </a:lnTo>
                    <a:lnTo>
                      <a:pt x="163" y="118"/>
                    </a:lnTo>
                    <a:lnTo>
                      <a:pt x="162" y="117"/>
                    </a:lnTo>
                    <a:lnTo>
                      <a:pt x="162" y="118"/>
                    </a:lnTo>
                    <a:lnTo>
                      <a:pt x="162" y="117"/>
                    </a:lnTo>
                    <a:lnTo>
                      <a:pt x="162" y="117"/>
                    </a:lnTo>
                    <a:lnTo>
                      <a:pt x="162" y="118"/>
                    </a:lnTo>
                    <a:lnTo>
                      <a:pt x="162" y="117"/>
                    </a:lnTo>
                    <a:lnTo>
                      <a:pt x="162" y="117"/>
                    </a:lnTo>
                    <a:lnTo>
                      <a:pt x="160" y="118"/>
                    </a:lnTo>
                    <a:lnTo>
                      <a:pt x="160" y="118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6" y="127"/>
                    </a:lnTo>
                    <a:lnTo>
                      <a:pt x="155" y="130"/>
                    </a:lnTo>
                    <a:lnTo>
                      <a:pt x="155" y="130"/>
                    </a:lnTo>
                    <a:lnTo>
                      <a:pt x="155" y="133"/>
                    </a:lnTo>
                    <a:lnTo>
                      <a:pt x="155" y="133"/>
                    </a:lnTo>
                    <a:lnTo>
                      <a:pt x="155" y="133"/>
                    </a:lnTo>
                    <a:lnTo>
                      <a:pt x="155" y="132"/>
                    </a:lnTo>
                    <a:lnTo>
                      <a:pt x="155" y="133"/>
                    </a:lnTo>
                    <a:lnTo>
                      <a:pt x="155" y="133"/>
                    </a:lnTo>
                    <a:lnTo>
                      <a:pt x="155" y="132"/>
                    </a:lnTo>
                    <a:lnTo>
                      <a:pt x="156" y="133"/>
                    </a:lnTo>
                    <a:lnTo>
                      <a:pt x="156" y="132"/>
                    </a:lnTo>
                    <a:lnTo>
                      <a:pt x="155" y="132"/>
                    </a:lnTo>
                    <a:lnTo>
                      <a:pt x="156" y="133"/>
                    </a:lnTo>
                    <a:lnTo>
                      <a:pt x="156" y="132"/>
                    </a:lnTo>
                    <a:lnTo>
                      <a:pt x="156" y="132"/>
                    </a:lnTo>
                    <a:lnTo>
                      <a:pt x="152" y="132"/>
                    </a:lnTo>
                    <a:lnTo>
                      <a:pt x="152" y="132"/>
                    </a:lnTo>
                    <a:lnTo>
                      <a:pt x="150" y="130"/>
                    </a:lnTo>
                    <a:lnTo>
                      <a:pt x="150" y="130"/>
                    </a:lnTo>
                    <a:lnTo>
                      <a:pt x="150" y="130"/>
                    </a:lnTo>
                    <a:lnTo>
                      <a:pt x="152" y="127"/>
                    </a:lnTo>
                    <a:lnTo>
                      <a:pt x="152" y="127"/>
                    </a:lnTo>
                    <a:lnTo>
                      <a:pt x="153" y="124"/>
                    </a:lnTo>
                    <a:lnTo>
                      <a:pt x="153" y="124"/>
                    </a:lnTo>
                    <a:lnTo>
                      <a:pt x="155" y="121"/>
                    </a:lnTo>
                    <a:lnTo>
                      <a:pt x="155" y="120"/>
                    </a:lnTo>
                    <a:lnTo>
                      <a:pt x="155" y="120"/>
                    </a:lnTo>
                    <a:lnTo>
                      <a:pt x="155" y="117"/>
                    </a:lnTo>
                    <a:lnTo>
                      <a:pt x="155" y="117"/>
                    </a:lnTo>
                    <a:lnTo>
                      <a:pt x="153" y="116"/>
                    </a:lnTo>
                    <a:lnTo>
                      <a:pt x="153" y="116"/>
                    </a:lnTo>
                    <a:lnTo>
                      <a:pt x="152" y="116"/>
                    </a:lnTo>
                    <a:lnTo>
                      <a:pt x="150" y="116"/>
                    </a:lnTo>
                    <a:lnTo>
                      <a:pt x="150" y="116"/>
                    </a:lnTo>
                    <a:lnTo>
                      <a:pt x="150" y="116"/>
                    </a:lnTo>
                    <a:lnTo>
                      <a:pt x="150" y="116"/>
                    </a:lnTo>
                    <a:lnTo>
                      <a:pt x="149" y="116"/>
                    </a:lnTo>
                    <a:lnTo>
                      <a:pt x="149" y="116"/>
                    </a:lnTo>
                    <a:lnTo>
                      <a:pt x="147" y="117"/>
                    </a:lnTo>
                    <a:lnTo>
                      <a:pt x="147" y="117"/>
                    </a:lnTo>
                    <a:lnTo>
                      <a:pt x="146" y="120"/>
                    </a:lnTo>
                    <a:lnTo>
                      <a:pt x="144" y="120"/>
                    </a:lnTo>
                    <a:lnTo>
                      <a:pt x="144" y="120"/>
                    </a:lnTo>
                    <a:lnTo>
                      <a:pt x="144" y="121"/>
                    </a:lnTo>
                    <a:lnTo>
                      <a:pt x="144" y="120"/>
                    </a:lnTo>
                    <a:lnTo>
                      <a:pt x="144" y="120"/>
                    </a:lnTo>
                    <a:lnTo>
                      <a:pt x="144" y="121"/>
                    </a:lnTo>
                    <a:lnTo>
                      <a:pt x="144" y="120"/>
                    </a:lnTo>
                    <a:lnTo>
                      <a:pt x="144" y="120"/>
                    </a:lnTo>
                    <a:lnTo>
                      <a:pt x="144" y="120"/>
                    </a:lnTo>
                    <a:lnTo>
                      <a:pt x="143" y="120"/>
                    </a:lnTo>
                    <a:lnTo>
                      <a:pt x="143" y="120"/>
                    </a:lnTo>
                    <a:lnTo>
                      <a:pt x="140" y="121"/>
                    </a:lnTo>
                    <a:lnTo>
                      <a:pt x="140" y="121"/>
                    </a:lnTo>
                    <a:lnTo>
                      <a:pt x="139" y="123"/>
                    </a:lnTo>
                    <a:lnTo>
                      <a:pt x="139" y="123"/>
                    </a:lnTo>
                    <a:lnTo>
                      <a:pt x="139" y="124"/>
                    </a:lnTo>
                    <a:lnTo>
                      <a:pt x="139" y="124"/>
                    </a:lnTo>
                    <a:lnTo>
                      <a:pt x="137" y="132"/>
                    </a:lnTo>
                    <a:lnTo>
                      <a:pt x="137" y="132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6" y="136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6" y="136"/>
                    </a:lnTo>
                    <a:lnTo>
                      <a:pt x="136" y="134"/>
                    </a:lnTo>
                    <a:lnTo>
                      <a:pt x="136" y="136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6" y="136"/>
                    </a:lnTo>
                    <a:lnTo>
                      <a:pt x="136" y="134"/>
                    </a:lnTo>
                    <a:lnTo>
                      <a:pt x="136" y="136"/>
                    </a:lnTo>
                    <a:lnTo>
                      <a:pt x="137" y="134"/>
                    </a:lnTo>
                    <a:lnTo>
                      <a:pt x="136" y="134"/>
                    </a:lnTo>
                    <a:lnTo>
                      <a:pt x="136" y="136"/>
                    </a:lnTo>
                    <a:lnTo>
                      <a:pt x="137" y="134"/>
                    </a:lnTo>
                    <a:lnTo>
                      <a:pt x="136" y="136"/>
                    </a:lnTo>
                    <a:lnTo>
                      <a:pt x="137" y="134"/>
                    </a:lnTo>
                    <a:lnTo>
                      <a:pt x="137" y="134"/>
                    </a:lnTo>
                    <a:lnTo>
                      <a:pt x="136" y="136"/>
                    </a:lnTo>
                    <a:lnTo>
                      <a:pt x="137" y="134"/>
                    </a:lnTo>
                    <a:lnTo>
                      <a:pt x="137" y="134"/>
                    </a:lnTo>
                    <a:lnTo>
                      <a:pt x="137" y="134"/>
                    </a:lnTo>
                    <a:lnTo>
                      <a:pt x="137" y="134"/>
                    </a:lnTo>
                    <a:lnTo>
                      <a:pt x="137" y="134"/>
                    </a:lnTo>
                    <a:lnTo>
                      <a:pt x="137" y="134"/>
                    </a:lnTo>
                    <a:lnTo>
                      <a:pt x="136" y="133"/>
                    </a:lnTo>
                    <a:lnTo>
                      <a:pt x="136" y="133"/>
                    </a:lnTo>
                    <a:lnTo>
                      <a:pt x="136" y="132"/>
                    </a:lnTo>
                    <a:lnTo>
                      <a:pt x="136" y="132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3" y="129"/>
                    </a:lnTo>
                    <a:lnTo>
                      <a:pt x="131" y="129"/>
                    </a:lnTo>
                    <a:lnTo>
                      <a:pt x="133" y="132"/>
                    </a:lnTo>
                    <a:lnTo>
                      <a:pt x="131" y="129"/>
                    </a:lnTo>
                    <a:lnTo>
                      <a:pt x="131" y="129"/>
                    </a:lnTo>
                    <a:lnTo>
                      <a:pt x="128" y="130"/>
                    </a:lnTo>
                    <a:lnTo>
                      <a:pt x="128" y="130"/>
                    </a:lnTo>
                    <a:lnTo>
                      <a:pt x="127" y="133"/>
                    </a:lnTo>
                    <a:lnTo>
                      <a:pt x="127" y="134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21" y="137"/>
                    </a:lnTo>
                    <a:lnTo>
                      <a:pt x="121" y="137"/>
                    </a:lnTo>
                    <a:lnTo>
                      <a:pt x="118" y="139"/>
                    </a:lnTo>
                    <a:lnTo>
                      <a:pt x="118" y="139"/>
                    </a:lnTo>
                    <a:lnTo>
                      <a:pt x="117" y="139"/>
                    </a:lnTo>
                    <a:lnTo>
                      <a:pt x="117" y="139"/>
                    </a:lnTo>
                    <a:lnTo>
                      <a:pt x="111" y="139"/>
                    </a:lnTo>
                    <a:lnTo>
                      <a:pt x="111" y="139"/>
                    </a:lnTo>
                    <a:lnTo>
                      <a:pt x="108" y="139"/>
                    </a:lnTo>
                    <a:lnTo>
                      <a:pt x="108" y="140"/>
                    </a:lnTo>
                    <a:lnTo>
                      <a:pt x="108" y="139"/>
                    </a:lnTo>
                    <a:lnTo>
                      <a:pt x="108" y="139"/>
                    </a:lnTo>
                    <a:lnTo>
                      <a:pt x="108" y="140"/>
                    </a:lnTo>
                    <a:lnTo>
                      <a:pt x="108" y="139"/>
                    </a:lnTo>
                    <a:lnTo>
                      <a:pt x="108" y="139"/>
                    </a:lnTo>
                    <a:lnTo>
                      <a:pt x="108" y="139"/>
                    </a:lnTo>
                    <a:lnTo>
                      <a:pt x="108" y="139"/>
                    </a:lnTo>
                    <a:lnTo>
                      <a:pt x="108" y="139"/>
                    </a:lnTo>
                    <a:lnTo>
                      <a:pt x="108" y="139"/>
                    </a:lnTo>
                    <a:lnTo>
                      <a:pt x="108" y="139"/>
                    </a:lnTo>
                    <a:lnTo>
                      <a:pt x="107" y="137"/>
                    </a:lnTo>
                    <a:lnTo>
                      <a:pt x="107" y="137"/>
                    </a:lnTo>
                    <a:lnTo>
                      <a:pt x="105" y="136"/>
                    </a:lnTo>
                    <a:lnTo>
                      <a:pt x="105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1" y="136"/>
                    </a:lnTo>
                    <a:lnTo>
                      <a:pt x="101" y="136"/>
                    </a:lnTo>
                    <a:lnTo>
                      <a:pt x="101" y="136"/>
                    </a:lnTo>
                    <a:lnTo>
                      <a:pt x="101" y="137"/>
                    </a:lnTo>
                    <a:lnTo>
                      <a:pt x="101" y="137"/>
                    </a:lnTo>
                    <a:lnTo>
                      <a:pt x="100" y="142"/>
                    </a:lnTo>
                    <a:lnTo>
                      <a:pt x="100" y="142"/>
                    </a:lnTo>
                    <a:lnTo>
                      <a:pt x="98" y="145"/>
                    </a:lnTo>
                    <a:lnTo>
                      <a:pt x="98" y="145"/>
                    </a:lnTo>
                    <a:lnTo>
                      <a:pt x="98" y="145"/>
                    </a:lnTo>
                    <a:lnTo>
                      <a:pt x="100" y="146"/>
                    </a:lnTo>
                    <a:lnTo>
                      <a:pt x="98" y="145"/>
                    </a:lnTo>
                    <a:lnTo>
                      <a:pt x="98" y="145"/>
                    </a:lnTo>
                    <a:lnTo>
                      <a:pt x="100" y="146"/>
                    </a:lnTo>
                    <a:lnTo>
                      <a:pt x="98" y="145"/>
                    </a:lnTo>
                    <a:lnTo>
                      <a:pt x="98" y="145"/>
                    </a:lnTo>
                    <a:lnTo>
                      <a:pt x="97" y="145"/>
                    </a:lnTo>
                    <a:lnTo>
                      <a:pt x="97" y="145"/>
                    </a:lnTo>
                    <a:lnTo>
                      <a:pt x="92" y="147"/>
                    </a:lnTo>
                    <a:lnTo>
                      <a:pt x="92" y="147"/>
                    </a:lnTo>
                    <a:lnTo>
                      <a:pt x="89" y="152"/>
                    </a:lnTo>
                    <a:lnTo>
                      <a:pt x="89" y="152"/>
                    </a:lnTo>
                    <a:lnTo>
                      <a:pt x="85" y="158"/>
                    </a:lnTo>
                    <a:lnTo>
                      <a:pt x="85" y="158"/>
                    </a:lnTo>
                    <a:lnTo>
                      <a:pt x="84" y="159"/>
                    </a:lnTo>
                    <a:lnTo>
                      <a:pt x="84" y="159"/>
                    </a:lnTo>
                    <a:lnTo>
                      <a:pt x="82" y="159"/>
                    </a:lnTo>
                    <a:lnTo>
                      <a:pt x="82" y="159"/>
                    </a:lnTo>
                    <a:lnTo>
                      <a:pt x="82" y="162"/>
                    </a:lnTo>
                    <a:lnTo>
                      <a:pt x="81" y="165"/>
                    </a:lnTo>
                    <a:lnTo>
                      <a:pt x="82" y="165"/>
                    </a:lnTo>
                    <a:lnTo>
                      <a:pt x="82" y="165"/>
                    </a:lnTo>
                    <a:lnTo>
                      <a:pt x="85" y="163"/>
                    </a:lnTo>
                    <a:lnTo>
                      <a:pt x="88" y="162"/>
                    </a:lnTo>
                    <a:lnTo>
                      <a:pt x="88" y="162"/>
                    </a:lnTo>
                    <a:lnTo>
                      <a:pt x="92" y="156"/>
                    </a:lnTo>
                    <a:lnTo>
                      <a:pt x="92" y="156"/>
                    </a:lnTo>
                    <a:lnTo>
                      <a:pt x="94" y="153"/>
                    </a:lnTo>
                    <a:lnTo>
                      <a:pt x="94" y="153"/>
                    </a:lnTo>
                    <a:lnTo>
                      <a:pt x="95" y="152"/>
                    </a:lnTo>
                    <a:lnTo>
                      <a:pt x="95" y="152"/>
                    </a:lnTo>
                    <a:lnTo>
                      <a:pt x="98" y="150"/>
                    </a:lnTo>
                    <a:lnTo>
                      <a:pt x="98" y="150"/>
                    </a:lnTo>
                    <a:lnTo>
                      <a:pt x="101" y="149"/>
                    </a:lnTo>
                    <a:lnTo>
                      <a:pt x="101" y="149"/>
                    </a:lnTo>
                    <a:lnTo>
                      <a:pt x="102" y="147"/>
                    </a:lnTo>
                    <a:lnTo>
                      <a:pt x="102" y="147"/>
                    </a:lnTo>
                    <a:lnTo>
                      <a:pt x="104" y="145"/>
                    </a:lnTo>
                    <a:lnTo>
                      <a:pt x="104" y="145"/>
                    </a:lnTo>
                    <a:lnTo>
                      <a:pt x="104" y="142"/>
                    </a:lnTo>
                    <a:lnTo>
                      <a:pt x="104" y="142"/>
                    </a:lnTo>
                    <a:lnTo>
                      <a:pt x="105" y="140"/>
                    </a:lnTo>
                    <a:lnTo>
                      <a:pt x="105" y="140"/>
                    </a:lnTo>
                    <a:lnTo>
                      <a:pt x="104" y="139"/>
                    </a:lnTo>
                    <a:lnTo>
                      <a:pt x="105" y="140"/>
                    </a:lnTo>
                    <a:lnTo>
                      <a:pt x="105" y="140"/>
                    </a:lnTo>
                    <a:lnTo>
                      <a:pt x="104" y="139"/>
                    </a:lnTo>
                    <a:lnTo>
                      <a:pt x="105" y="140"/>
                    </a:lnTo>
                    <a:lnTo>
                      <a:pt x="105" y="140"/>
                    </a:lnTo>
                    <a:lnTo>
                      <a:pt x="104" y="139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05" y="140"/>
                    </a:lnTo>
                    <a:lnTo>
                      <a:pt x="104" y="139"/>
                    </a:lnTo>
                    <a:lnTo>
                      <a:pt x="104" y="140"/>
                    </a:lnTo>
                    <a:lnTo>
                      <a:pt x="104" y="139"/>
                    </a:lnTo>
                    <a:lnTo>
                      <a:pt x="102" y="140"/>
                    </a:lnTo>
                    <a:lnTo>
                      <a:pt x="102" y="140"/>
                    </a:lnTo>
                    <a:lnTo>
                      <a:pt x="104" y="140"/>
                    </a:lnTo>
                    <a:lnTo>
                      <a:pt x="104" y="139"/>
                    </a:lnTo>
                    <a:lnTo>
                      <a:pt x="102" y="140"/>
                    </a:lnTo>
                    <a:lnTo>
                      <a:pt x="102" y="140"/>
                    </a:lnTo>
                    <a:lnTo>
                      <a:pt x="102" y="140"/>
                    </a:lnTo>
                    <a:lnTo>
                      <a:pt x="102" y="140"/>
                    </a:lnTo>
                    <a:lnTo>
                      <a:pt x="102" y="140"/>
                    </a:lnTo>
                    <a:lnTo>
                      <a:pt x="102" y="140"/>
                    </a:lnTo>
                    <a:lnTo>
                      <a:pt x="104" y="142"/>
                    </a:lnTo>
                    <a:lnTo>
                      <a:pt x="104" y="142"/>
                    </a:lnTo>
                    <a:lnTo>
                      <a:pt x="105" y="143"/>
                    </a:lnTo>
                    <a:lnTo>
                      <a:pt x="105" y="143"/>
                    </a:lnTo>
                    <a:lnTo>
                      <a:pt x="107" y="143"/>
                    </a:lnTo>
                    <a:lnTo>
                      <a:pt x="107" y="143"/>
                    </a:lnTo>
                    <a:lnTo>
                      <a:pt x="111" y="145"/>
                    </a:lnTo>
                    <a:lnTo>
                      <a:pt x="111" y="145"/>
                    </a:lnTo>
                    <a:lnTo>
                      <a:pt x="117" y="145"/>
                    </a:lnTo>
                    <a:lnTo>
                      <a:pt x="117" y="145"/>
                    </a:lnTo>
                    <a:lnTo>
                      <a:pt x="120" y="143"/>
                    </a:lnTo>
                    <a:lnTo>
                      <a:pt x="120" y="143"/>
                    </a:lnTo>
                    <a:lnTo>
                      <a:pt x="128" y="139"/>
                    </a:lnTo>
                    <a:lnTo>
                      <a:pt x="128" y="139"/>
                    </a:lnTo>
                    <a:lnTo>
                      <a:pt x="130" y="137"/>
                    </a:lnTo>
                    <a:lnTo>
                      <a:pt x="130" y="137"/>
                    </a:lnTo>
                    <a:lnTo>
                      <a:pt x="133" y="134"/>
                    </a:lnTo>
                    <a:lnTo>
                      <a:pt x="133" y="134"/>
                    </a:lnTo>
                    <a:lnTo>
                      <a:pt x="133" y="134"/>
                    </a:lnTo>
                    <a:lnTo>
                      <a:pt x="133" y="134"/>
                    </a:lnTo>
                    <a:lnTo>
                      <a:pt x="133" y="134"/>
                    </a:lnTo>
                    <a:lnTo>
                      <a:pt x="133" y="134"/>
                    </a:lnTo>
                    <a:lnTo>
                      <a:pt x="133" y="134"/>
                    </a:lnTo>
                    <a:lnTo>
                      <a:pt x="133" y="134"/>
                    </a:lnTo>
                    <a:lnTo>
                      <a:pt x="133" y="133"/>
                    </a:lnTo>
                    <a:lnTo>
                      <a:pt x="133" y="134"/>
                    </a:lnTo>
                    <a:lnTo>
                      <a:pt x="133" y="134"/>
                    </a:lnTo>
                    <a:lnTo>
                      <a:pt x="133" y="133"/>
                    </a:lnTo>
                    <a:lnTo>
                      <a:pt x="133" y="134"/>
                    </a:lnTo>
                    <a:lnTo>
                      <a:pt x="133" y="132"/>
                    </a:lnTo>
                    <a:lnTo>
                      <a:pt x="133" y="134"/>
                    </a:lnTo>
                    <a:lnTo>
                      <a:pt x="133" y="134"/>
                    </a:lnTo>
                    <a:lnTo>
                      <a:pt x="133" y="132"/>
                    </a:lnTo>
                    <a:lnTo>
                      <a:pt x="133" y="134"/>
                    </a:lnTo>
                    <a:lnTo>
                      <a:pt x="133" y="133"/>
                    </a:lnTo>
                    <a:lnTo>
                      <a:pt x="131" y="133"/>
                    </a:lnTo>
                    <a:lnTo>
                      <a:pt x="131" y="133"/>
                    </a:lnTo>
                    <a:lnTo>
                      <a:pt x="133" y="134"/>
                    </a:lnTo>
                    <a:lnTo>
                      <a:pt x="133" y="133"/>
                    </a:lnTo>
                    <a:lnTo>
                      <a:pt x="131" y="133"/>
                    </a:lnTo>
                    <a:lnTo>
                      <a:pt x="131" y="133"/>
                    </a:lnTo>
                    <a:lnTo>
                      <a:pt x="131" y="133"/>
                    </a:lnTo>
                    <a:lnTo>
                      <a:pt x="131" y="133"/>
                    </a:lnTo>
                    <a:lnTo>
                      <a:pt x="131" y="133"/>
                    </a:lnTo>
                    <a:lnTo>
                      <a:pt x="131" y="133"/>
                    </a:lnTo>
                    <a:lnTo>
                      <a:pt x="131" y="133"/>
                    </a:lnTo>
                    <a:lnTo>
                      <a:pt x="131" y="133"/>
                    </a:lnTo>
                    <a:lnTo>
                      <a:pt x="131" y="136"/>
                    </a:lnTo>
                    <a:lnTo>
                      <a:pt x="131" y="136"/>
                    </a:lnTo>
                    <a:lnTo>
                      <a:pt x="133" y="139"/>
                    </a:lnTo>
                    <a:lnTo>
                      <a:pt x="133" y="139"/>
                    </a:lnTo>
                    <a:lnTo>
                      <a:pt x="136" y="140"/>
                    </a:lnTo>
                    <a:lnTo>
                      <a:pt x="136" y="140"/>
                    </a:lnTo>
                    <a:lnTo>
                      <a:pt x="139" y="139"/>
                    </a:lnTo>
                    <a:lnTo>
                      <a:pt x="139" y="139"/>
                    </a:lnTo>
                    <a:lnTo>
                      <a:pt x="140" y="136"/>
                    </a:lnTo>
                    <a:lnTo>
                      <a:pt x="140" y="136"/>
                    </a:lnTo>
                    <a:lnTo>
                      <a:pt x="143" y="126"/>
                    </a:lnTo>
                    <a:lnTo>
                      <a:pt x="143" y="126"/>
                    </a:lnTo>
                    <a:lnTo>
                      <a:pt x="142" y="124"/>
                    </a:lnTo>
                    <a:lnTo>
                      <a:pt x="143" y="126"/>
                    </a:lnTo>
                    <a:lnTo>
                      <a:pt x="143" y="126"/>
                    </a:lnTo>
                    <a:lnTo>
                      <a:pt x="142" y="124"/>
                    </a:lnTo>
                    <a:lnTo>
                      <a:pt x="143" y="126"/>
                    </a:lnTo>
                    <a:lnTo>
                      <a:pt x="143" y="126"/>
                    </a:lnTo>
                    <a:lnTo>
                      <a:pt x="143" y="126"/>
                    </a:lnTo>
                    <a:lnTo>
                      <a:pt x="143" y="126"/>
                    </a:lnTo>
                    <a:lnTo>
                      <a:pt x="143" y="126"/>
                    </a:lnTo>
                    <a:lnTo>
                      <a:pt x="143" y="126"/>
                    </a:lnTo>
                    <a:lnTo>
                      <a:pt x="143" y="126"/>
                    </a:lnTo>
                    <a:lnTo>
                      <a:pt x="143" y="126"/>
                    </a:lnTo>
                    <a:lnTo>
                      <a:pt x="144" y="126"/>
                    </a:lnTo>
                    <a:lnTo>
                      <a:pt x="146" y="126"/>
                    </a:lnTo>
                    <a:lnTo>
                      <a:pt x="146" y="126"/>
                    </a:lnTo>
                    <a:lnTo>
                      <a:pt x="149" y="124"/>
                    </a:lnTo>
                    <a:lnTo>
                      <a:pt x="149" y="124"/>
                    </a:lnTo>
                    <a:lnTo>
                      <a:pt x="152" y="121"/>
                    </a:lnTo>
                    <a:lnTo>
                      <a:pt x="153" y="120"/>
                    </a:lnTo>
                    <a:lnTo>
                      <a:pt x="153" y="120"/>
                    </a:lnTo>
                    <a:lnTo>
                      <a:pt x="152" y="118"/>
                    </a:lnTo>
                    <a:lnTo>
                      <a:pt x="152" y="120"/>
                    </a:lnTo>
                    <a:lnTo>
                      <a:pt x="153" y="120"/>
                    </a:lnTo>
                    <a:lnTo>
                      <a:pt x="152" y="118"/>
                    </a:lnTo>
                    <a:lnTo>
                      <a:pt x="152" y="120"/>
                    </a:lnTo>
                    <a:lnTo>
                      <a:pt x="152" y="120"/>
                    </a:lnTo>
                    <a:lnTo>
                      <a:pt x="152" y="118"/>
                    </a:lnTo>
                    <a:lnTo>
                      <a:pt x="152" y="120"/>
                    </a:lnTo>
                    <a:lnTo>
                      <a:pt x="152" y="120"/>
                    </a:lnTo>
                    <a:lnTo>
                      <a:pt x="152" y="118"/>
                    </a:lnTo>
                    <a:lnTo>
                      <a:pt x="152" y="120"/>
                    </a:lnTo>
                    <a:lnTo>
                      <a:pt x="152" y="118"/>
                    </a:lnTo>
                    <a:lnTo>
                      <a:pt x="150" y="120"/>
                    </a:lnTo>
                    <a:lnTo>
                      <a:pt x="152" y="120"/>
                    </a:lnTo>
                    <a:lnTo>
                      <a:pt x="152" y="118"/>
                    </a:lnTo>
                    <a:lnTo>
                      <a:pt x="150" y="120"/>
                    </a:lnTo>
                    <a:lnTo>
                      <a:pt x="152" y="118"/>
                    </a:lnTo>
                    <a:lnTo>
                      <a:pt x="150" y="120"/>
                    </a:lnTo>
                    <a:lnTo>
                      <a:pt x="150" y="120"/>
                    </a:lnTo>
                    <a:lnTo>
                      <a:pt x="152" y="118"/>
                    </a:lnTo>
                    <a:lnTo>
                      <a:pt x="150" y="120"/>
                    </a:lnTo>
                    <a:lnTo>
                      <a:pt x="150" y="120"/>
                    </a:lnTo>
                    <a:lnTo>
                      <a:pt x="150" y="120"/>
                    </a:lnTo>
                    <a:lnTo>
                      <a:pt x="150" y="120"/>
                    </a:lnTo>
                    <a:lnTo>
                      <a:pt x="150" y="120"/>
                    </a:lnTo>
                    <a:lnTo>
                      <a:pt x="150" y="120"/>
                    </a:lnTo>
                    <a:lnTo>
                      <a:pt x="150" y="120"/>
                    </a:lnTo>
                    <a:lnTo>
                      <a:pt x="150" y="120"/>
                    </a:lnTo>
                    <a:lnTo>
                      <a:pt x="150" y="120"/>
                    </a:lnTo>
                    <a:lnTo>
                      <a:pt x="150" y="120"/>
                    </a:lnTo>
                    <a:lnTo>
                      <a:pt x="147" y="124"/>
                    </a:lnTo>
                    <a:lnTo>
                      <a:pt x="147" y="124"/>
                    </a:lnTo>
                    <a:lnTo>
                      <a:pt x="146" y="127"/>
                    </a:lnTo>
                    <a:lnTo>
                      <a:pt x="146" y="130"/>
                    </a:lnTo>
                    <a:lnTo>
                      <a:pt x="146" y="130"/>
                    </a:lnTo>
                    <a:lnTo>
                      <a:pt x="147" y="134"/>
                    </a:lnTo>
                    <a:lnTo>
                      <a:pt x="147" y="134"/>
                    </a:lnTo>
                    <a:lnTo>
                      <a:pt x="149" y="136"/>
                    </a:lnTo>
                    <a:lnTo>
                      <a:pt x="152" y="136"/>
                    </a:lnTo>
                    <a:lnTo>
                      <a:pt x="152" y="136"/>
                    </a:lnTo>
                    <a:lnTo>
                      <a:pt x="156" y="137"/>
                    </a:lnTo>
                    <a:lnTo>
                      <a:pt x="156" y="137"/>
                    </a:lnTo>
                    <a:lnTo>
                      <a:pt x="157" y="136"/>
                    </a:lnTo>
                    <a:lnTo>
                      <a:pt x="157" y="136"/>
                    </a:lnTo>
                    <a:lnTo>
                      <a:pt x="159" y="133"/>
                    </a:lnTo>
                    <a:lnTo>
                      <a:pt x="159" y="133"/>
                    </a:lnTo>
                    <a:lnTo>
                      <a:pt x="160" y="129"/>
                    </a:lnTo>
                    <a:lnTo>
                      <a:pt x="160" y="129"/>
                    </a:lnTo>
                    <a:lnTo>
                      <a:pt x="162" y="126"/>
                    </a:lnTo>
                    <a:lnTo>
                      <a:pt x="162" y="126"/>
                    </a:lnTo>
                    <a:lnTo>
                      <a:pt x="165" y="123"/>
                    </a:lnTo>
                    <a:lnTo>
                      <a:pt x="165" y="123"/>
                    </a:lnTo>
                    <a:lnTo>
                      <a:pt x="166" y="121"/>
                    </a:lnTo>
                    <a:lnTo>
                      <a:pt x="166" y="121"/>
                    </a:lnTo>
                    <a:lnTo>
                      <a:pt x="168" y="118"/>
                    </a:lnTo>
                    <a:lnTo>
                      <a:pt x="168" y="118"/>
                    </a:lnTo>
                    <a:lnTo>
                      <a:pt x="166" y="116"/>
                    </a:lnTo>
                    <a:lnTo>
                      <a:pt x="166" y="116"/>
                    </a:lnTo>
                    <a:lnTo>
                      <a:pt x="165" y="111"/>
                    </a:lnTo>
                    <a:lnTo>
                      <a:pt x="165" y="111"/>
                    </a:lnTo>
                    <a:lnTo>
                      <a:pt x="166" y="105"/>
                    </a:lnTo>
                    <a:lnTo>
                      <a:pt x="166" y="105"/>
                    </a:lnTo>
                    <a:lnTo>
                      <a:pt x="166" y="104"/>
                    </a:lnTo>
                    <a:lnTo>
                      <a:pt x="166" y="104"/>
                    </a:lnTo>
                    <a:lnTo>
                      <a:pt x="169" y="95"/>
                    </a:lnTo>
                    <a:lnTo>
                      <a:pt x="169" y="95"/>
                    </a:lnTo>
                    <a:lnTo>
                      <a:pt x="169" y="92"/>
                    </a:lnTo>
                    <a:lnTo>
                      <a:pt x="169" y="92"/>
                    </a:lnTo>
                    <a:lnTo>
                      <a:pt x="170" y="90"/>
                    </a:lnTo>
                    <a:lnTo>
                      <a:pt x="170" y="90"/>
                    </a:lnTo>
                    <a:lnTo>
                      <a:pt x="170" y="87"/>
                    </a:lnTo>
                    <a:lnTo>
                      <a:pt x="170" y="87"/>
                    </a:lnTo>
                    <a:lnTo>
                      <a:pt x="170" y="84"/>
                    </a:lnTo>
                    <a:lnTo>
                      <a:pt x="170" y="84"/>
                    </a:lnTo>
                    <a:lnTo>
                      <a:pt x="170" y="71"/>
                    </a:lnTo>
                    <a:lnTo>
                      <a:pt x="170" y="69"/>
                    </a:lnTo>
                    <a:lnTo>
                      <a:pt x="170" y="69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72" y="66"/>
                    </a:lnTo>
                    <a:lnTo>
                      <a:pt x="172" y="66"/>
                    </a:lnTo>
                    <a:lnTo>
                      <a:pt x="173" y="68"/>
                    </a:lnTo>
                    <a:lnTo>
                      <a:pt x="173" y="68"/>
                    </a:lnTo>
                    <a:lnTo>
                      <a:pt x="175" y="66"/>
                    </a:lnTo>
                    <a:lnTo>
                      <a:pt x="175" y="66"/>
                    </a:lnTo>
                    <a:lnTo>
                      <a:pt x="178" y="65"/>
                    </a:lnTo>
                    <a:lnTo>
                      <a:pt x="178" y="65"/>
                    </a:lnTo>
                    <a:lnTo>
                      <a:pt x="178" y="62"/>
                    </a:lnTo>
                    <a:lnTo>
                      <a:pt x="178" y="62"/>
                    </a:lnTo>
                    <a:lnTo>
                      <a:pt x="179" y="58"/>
                    </a:lnTo>
                    <a:lnTo>
                      <a:pt x="179" y="58"/>
                    </a:lnTo>
                    <a:lnTo>
                      <a:pt x="179" y="55"/>
                    </a:lnTo>
                    <a:lnTo>
                      <a:pt x="179" y="55"/>
                    </a:lnTo>
                    <a:lnTo>
                      <a:pt x="181" y="50"/>
                    </a:lnTo>
                    <a:lnTo>
                      <a:pt x="181" y="50"/>
                    </a:lnTo>
                    <a:lnTo>
                      <a:pt x="182" y="48"/>
                    </a:lnTo>
                    <a:lnTo>
                      <a:pt x="182" y="48"/>
                    </a:lnTo>
                    <a:lnTo>
                      <a:pt x="184" y="45"/>
                    </a:lnTo>
                    <a:lnTo>
                      <a:pt x="184" y="45"/>
                    </a:lnTo>
                    <a:lnTo>
                      <a:pt x="184" y="39"/>
                    </a:lnTo>
                    <a:lnTo>
                      <a:pt x="184" y="39"/>
                    </a:lnTo>
                    <a:lnTo>
                      <a:pt x="181" y="29"/>
                    </a:lnTo>
                    <a:lnTo>
                      <a:pt x="181" y="29"/>
                    </a:lnTo>
                    <a:lnTo>
                      <a:pt x="181" y="23"/>
                    </a:lnTo>
                    <a:lnTo>
                      <a:pt x="181" y="23"/>
                    </a:lnTo>
                    <a:lnTo>
                      <a:pt x="179" y="21"/>
                    </a:lnTo>
                    <a:lnTo>
                      <a:pt x="179" y="21"/>
                    </a:lnTo>
                    <a:lnTo>
                      <a:pt x="178" y="20"/>
                    </a:lnTo>
                    <a:lnTo>
                      <a:pt x="178" y="20"/>
                    </a:lnTo>
                    <a:lnTo>
                      <a:pt x="178" y="20"/>
                    </a:lnTo>
                    <a:lnTo>
                      <a:pt x="178" y="20"/>
                    </a:lnTo>
                    <a:lnTo>
                      <a:pt x="178" y="20"/>
                    </a:lnTo>
                    <a:lnTo>
                      <a:pt x="178" y="20"/>
                    </a:lnTo>
                    <a:lnTo>
                      <a:pt x="178" y="20"/>
                    </a:lnTo>
                    <a:lnTo>
                      <a:pt x="178" y="20"/>
                    </a:lnTo>
                    <a:lnTo>
                      <a:pt x="178" y="17"/>
                    </a:lnTo>
                    <a:lnTo>
                      <a:pt x="178" y="17"/>
                    </a:lnTo>
                    <a:lnTo>
                      <a:pt x="175" y="7"/>
                    </a:lnTo>
                    <a:lnTo>
                      <a:pt x="175" y="7"/>
                    </a:lnTo>
                    <a:lnTo>
                      <a:pt x="173" y="4"/>
                    </a:lnTo>
                    <a:lnTo>
                      <a:pt x="172" y="3"/>
                    </a:lnTo>
                    <a:lnTo>
                      <a:pt x="172" y="3"/>
                    </a:lnTo>
                    <a:lnTo>
                      <a:pt x="170" y="1"/>
                    </a:lnTo>
                    <a:lnTo>
                      <a:pt x="168" y="0"/>
                    </a:lnTo>
                    <a:lnTo>
                      <a:pt x="166" y="0"/>
                    </a:lnTo>
                    <a:lnTo>
                      <a:pt x="166" y="0"/>
                    </a:lnTo>
                    <a:lnTo>
                      <a:pt x="163" y="1"/>
                    </a:lnTo>
                    <a:lnTo>
                      <a:pt x="163" y="1"/>
                    </a:lnTo>
                    <a:lnTo>
                      <a:pt x="160" y="5"/>
                    </a:lnTo>
                    <a:lnTo>
                      <a:pt x="160" y="5"/>
                    </a:lnTo>
                    <a:lnTo>
                      <a:pt x="160" y="7"/>
                    </a:lnTo>
                    <a:lnTo>
                      <a:pt x="160" y="7"/>
                    </a:lnTo>
                    <a:lnTo>
                      <a:pt x="162" y="10"/>
                    </a:lnTo>
                    <a:lnTo>
                      <a:pt x="162" y="10"/>
                    </a:lnTo>
                    <a:lnTo>
                      <a:pt x="163" y="11"/>
                    </a:lnTo>
                    <a:lnTo>
                      <a:pt x="163" y="11"/>
                    </a:lnTo>
                    <a:lnTo>
                      <a:pt x="166" y="11"/>
                    </a:lnTo>
                    <a:lnTo>
                      <a:pt x="166" y="11"/>
                    </a:lnTo>
                    <a:lnTo>
                      <a:pt x="168" y="11"/>
                    </a:lnTo>
                    <a:lnTo>
                      <a:pt x="168" y="8"/>
                    </a:lnTo>
                    <a:lnTo>
                      <a:pt x="166" y="10"/>
                    </a:lnTo>
                    <a:lnTo>
                      <a:pt x="166" y="10"/>
                    </a:lnTo>
                    <a:lnTo>
                      <a:pt x="168" y="11"/>
                    </a:lnTo>
                    <a:lnTo>
                      <a:pt x="168" y="8"/>
                    </a:lnTo>
                    <a:lnTo>
                      <a:pt x="166" y="10"/>
                    </a:lnTo>
                    <a:lnTo>
                      <a:pt x="168" y="10"/>
                    </a:lnTo>
                    <a:lnTo>
                      <a:pt x="166" y="10"/>
                    </a:lnTo>
                    <a:lnTo>
                      <a:pt x="166" y="10"/>
                    </a:lnTo>
                    <a:lnTo>
                      <a:pt x="168" y="10"/>
                    </a:lnTo>
                    <a:lnTo>
                      <a:pt x="166" y="10"/>
                    </a:lnTo>
                    <a:lnTo>
                      <a:pt x="166" y="10"/>
                    </a:lnTo>
                    <a:lnTo>
                      <a:pt x="166" y="10"/>
                    </a:lnTo>
                    <a:lnTo>
                      <a:pt x="166" y="10"/>
                    </a:lnTo>
                    <a:lnTo>
                      <a:pt x="166" y="10"/>
                    </a:lnTo>
                    <a:lnTo>
                      <a:pt x="166" y="10"/>
                    </a:lnTo>
                    <a:lnTo>
                      <a:pt x="166" y="10"/>
                    </a:lnTo>
                    <a:lnTo>
                      <a:pt x="166" y="11"/>
                    </a:lnTo>
                    <a:lnTo>
                      <a:pt x="166" y="11"/>
                    </a:lnTo>
                    <a:lnTo>
                      <a:pt x="166" y="13"/>
                    </a:lnTo>
                    <a:lnTo>
                      <a:pt x="166" y="13"/>
                    </a:lnTo>
                    <a:lnTo>
                      <a:pt x="166" y="13"/>
                    </a:lnTo>
                    <a:lnTo>
                      <a:pt x="166" y="13"/>
                    </a:lnTo>
                    <a:lnTo>
                      <a:pt x="166" y="13"/>
                    </a:lnTo>
                    <a:lnTo>
                      <a:pt x="166" y="13"/>
                    </a:lnTo>
                    <a:lnTo>
                      <a:pt x="168" y="14"/>
                    </a:lnTo>
                    <a:lnTo>
                      <a:pt x="166" y="13"/>
                    </a:lnTo>
                    <a:lnTo>
                      <a:pt x="166" y="13"/>
                    </a:lnTo>
                    <a:lnTo>
                      <a:pt x="168" y="14"/>
                    </a:lnTo>
                    <a:lnTo>
                      <a:pt x="166" y="13"/>
                    </a:lnTo>
                    <a:lnTo>
                      <a:pt x="168" y="13"/>
                    </a:lnTo>
                    <a:lnTo>
                      <a:pt x="168" y="13"/>
                    </a:lnTo>
                    <a:lnTo>
                      <a:pt x="166" y="13"/>
                    </a:lnTo>
                    <a:lnTo>
                      <a:pt x="168" y="13"/>
                    </a:lnTo>
                    <a:lnTo>
                      <a:pt x="168" y="13"/>
                    </a:lnTo>
                    <a:lnTo>
                      <a:pt x="166" y="13"/>
                    </a:lnTo>
                    <a:lnTo>
                      <a:pt x="166" y="13"/>
                    </a:lnTo>
                    <a:lnTo>
                      <a:pt x="163" y="11"/>
                    </a:lnTo>
                    <a:lnTo>
                      <a:pt x="162" y="11"/>
                    </a:lnTo>
                    <a:lnTo>
                      <a:pt x="162" y="11"/>
                    </a:lnTo>
                    <a:lnTo>
                      <a:pt x="162" y="11"/>
                    </a:lnTo>
                    <a:lnTo>
                      <a:pt x="162" y="10"/>
                    </a:lnTo>
                    <a:lnTo>
                      <a:pt x="162" y="10"/>
                    </a:lnTo>
                    <a:lnTo>
                      <a:pt x="160" y="5"/>
                    </a:lnTo>
                    <a:lnTo>
                      <a:pt x="160" y="5"/>
                    </a:lnTo>
                    <a:lnTo>
                      <a:pt x="159" y="4"/>
                    </a:lnTo>
                    <a:lnTo>
                      <a:pt x="159" y="4"/>
                    </a:lnTo>
                    <a:lnTo>
                      <a:pt x="157" y="3"/>
                    </a:lnTo>
                    <a:lnTo>
                      <a:pt x="156" y="3"/>
                    </a:lnTo>
                    <a:lnTo>
                      <a:pt x="156" y="3"/>
                    </a:lnTo>
                    <a:lnTo>
                      <a:pt x="155" y="4"/>
                    </a:lnTo>
                    <a:lnTo>
                      <a:pt x="155" y="4"/>
                    </a:lnTo>
                    <a:lnTo>
                      <a:pt x="152" y="7"/>
                    </a:lnTo>
                    <a:lnTo>
                      <a:pt x="152" y="7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2" y="11"/>
                    </a:lnTo>
                    <a:lnTo>
                      <a:pt x="152" y="11"/>
                    </a:lnTo>
                    <a:lnTo>
                      <a:pt x="150" y="13"/>
                    </a:lnTo>
                    <a:lnTo>
                      <a:pt x="150" y="13"/>
                    </a:lnTo>
                    <a:lnTo>
                      <a:pt x="149" y="16"/>
                    </a:lnTo>
                    <a:lnTo>
                      <a:pt x="149" y="16"/>
                    </a:lnTo>
                    <a:lnTo>
                      <a:pt x="147" y="19"/>
                    </a:lnTo>
                    <a:lnTo>
                      <a:pt x="147" y="19"/>
                    </a:lnTo>
                    <a:lnTo>
                      <a:pt x="149" y="23"/>
                    </a:lnTo>
                    <a:lnTo>
                      <a:pt x="149" y="23"/>
                    </a:lnTo>
                    <a:lnTo>
                      <a:pt x="150" y="26"/>
                    </a:lnTo>
                    <a:lnTo>
                      <a:pt x="150" y="26"/>
                    </a:lnTo>
                    <a:lnTo>
                      <a:pt x="150" y="29"/>
                    </a:lnTo>
                    <a:lnTo>
                      <a:pt x="150" y="29"/>
                    </a:lnTo>
                    <a:lnTo>
                      <a:pt x="150" y="29"/>
                    </a:lnTo>
                    <a:lnTo>
                      <a:pt x="150" y="29"/>
                    </a:lnTo>
                    <a:lnTo>
                      <a:pt x="150" y="29"/>
                    </a:lnTo>
                    <a:lnTo>
                      <a:pt x="150" y="29"/>
                    </a:lnTo>
                    <a:lnTo>
                      <a:pt x="150" y="29"/>
                    </a:lnTo>
                    <a:lnTo>
                      <a:pt x="150" y="29"/>
                    </a:lnTo>
                    <a:lnTo>
                      <a:pt x="150" y="29"/>
                    </a:lnTo>
                    <a:lnTo>
                      <a:pt x="150" y="29"/>
                    </a:lnTo>
                    <a:lnTo>
                      <a:pt x="150" y="29"/>
                    </a:lnTo>
                    <a:lnTo>
                      <a:pt x="150" y="29"/>
                    </a:lnTo>
                    <a:lnTo>
                      <a:pt x="150" y="29"/>
                    </a:lnTo>
                    <a:lnTo>
                      <a:pt x="147" y="30"/>
                    </a:lnTo>
                    <a:lnTo>
                      <a:pt x="147" y="30"/>
                    </a:lnTo>
                    <a:lnTo>
                      <a:pt x="147" y="32"/>
                    </a:lnTo>
                    <a:lnTo>
                      <a:pt x="147" y="32"/>
                    </a:lnTo>
                    <a:lnTo>
                      <a:pt x="146" y="33"/>
                    </a:lnTo>
                    <a:lnTo>
                      <a:pt x="146" y="33"/>
                    </a:lnTo>
                    <a:lnTo>
                      <a:pt x="147" y="36"/>
                    </a:lnTo>
                    <a:lnTo>
                      <a:pt x="147" y="36"/>
                    </a:lnTo>
                    <a:lnTo>
                      <a:pt x="149" y="37"/>
                    </a:lnTo>
                    <a:lnTo>
                      <a:pt x="149" y="37"/>
                    </a:lnTo>
                    <a:lnTo>
                      <a:pt x="152" y="39"/>
                    </a:lnTo>
                    <a:lnTo>
                      <a:pt x="152" y="39"/>
                    </a:lnTo>
                    <a:lnTo>
                      <a:pt x="152" y="39"/>
                    </a:lnTo>
                    <a:lnTo>
                      <a:pt x="152" y="39"/>
                    </a:lnTo>
                    <a:lnTo>
                      <a:pt x="152" y="39"/>
                    </a:lnTo>
                    <a:lnTo>
                      <a:pt x="152" y="39"/>
                    </a:lnTo>
                    <a:lnTo>
                      <a:pt x="152" y="39"/>
                    </a:lnTo>
                    <a:lnTo>
                      <a:pt x="152" y="39"/>
                    </a:lnTo>
                    <a:lnTo>
                      <a:pt x="152" y="39"/>
                    </a:lnTo>
                    <a:lnTo>
                      <a:pt x="149" y="45"/>
                    </a:lnTo>
                    <a:lnTo>
                      <a:pt x="149" y="45"/>
                    </a:lnTo>
                    <a:lnTo>
                      <a:pt x="146" y="53"/>
                    </a:lnTo>
                    <a:lnTo>
                      <a:pt x="146" y="53"/>
                    </a:lnTo>
                    <a:lnTo>
                      <a:pt x="143" y="61"/>
                    </a:lnTo>
                    <a:lnTo>
                      <a:pt x="139" y="69"/>
                    </a:lnTo>
                    <a:lnTo>
                      <a:pt x="139" y="69"/>
                    </a:lnTo>
                    <a:lnTo>
                      <a:pt x="131" y="76"/>
                    </a:lnTo>
                    <a:lnTo>
                      <a:pt x="131" y="76"/>
                    </a:lnTo>
                    <a:lnTo>
                      <a:pt x="124" y="82"/>
                    </a:lnTo>
                    <a:lnTo>
                      <a:pt x="124" y="82"/>
                    </a:lnTo>
                    <a:lnTo>
                      <a:pt x="115" y="87"/>
                    </a:lnTo>
                    <a:lnTo>
                      <a:pt x="115" y="87"/>
                    </a:lnTo>
                    <a:lnTo>
                      <a:pt x="110" y="92"/>
                    </a:lnTo>
                    <a:lnTo>
                      <a:pt x="110" y="92"/>
                    </a:lnTo>
                    <a:lnTo>
                      <a:pt x="108" y="94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4" y="94"/>
                    </a:lnTo>
                    <a:lnTo>
                      <a:pt x="104" y="94"/>
                    </a:lnTo>
                    <a:lnTo>
                      <a:pt x="105" y="91"/>
                    </a:lnTo>
                    <a:lnTo>
                      <a:pt x="105" y="91"/>
                    </a:lnTo>
                    <a:lnTo>
                      <a:pt x="107" y="88"/>
                    </a:lnTo>
                    <a:lnTo>
                      <a:pt x="107" y="88"/>
                    </a:lnTo>
                    <a:lnTo>
                      <a:pt x="108" y="87"/>
                    </a:lnTo>
                    <a:lnTo>
                      <a:pt x="108" y="87"/>
                    </a:lnTo>
                    <a:lnTo>
                      <a:pt x="108" y="84"/>
                    </a:lnTo>
                    <a:lnTo>
                      <a:pt x="108" y="84"/>
                    </a:lnTo>
                    <a:lnTo>
                      <a:pt x="107" y="82"/>
                    </a:lnTo>
                    <a:lnTo>
                      <a:pt x="107" y="82"/>
                    </a:lnTo>
                    <a:lnTo>
                      <a:pt x="105" y="81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97" y="84"/>
                    </a:lnTo>
                    <a:lnTo>
                      <a:pt x="97" y="84"/>
                    </a:lnTo>
                    <a:lnTo>
                      <a:pt x="95" y="87"/>
                    </a:lnTo>
                    <a:lnTo>
                      <a:pt x="95" y="87"/>
                    </a:lnTo>
                    <a:lnTo>
                      <a:pt x="94" y="90"/>
                    </a:lnTo>
                    <a:lnTo>
                      <a:pt x="94" y="92"/>
                    </a:lnTo>
                    <a:lnTo>
                      <a:pt x="94" y="95"/>
                    </a:lnTo>
                    <a:lnTo>
                      <a:pt x="94" y="95"/>
                    </a:lnTo>
                    <a:lnTo>
                      <a:pt x="94" y="98"/>
                    </a:lnTo>
                    <a:lnTo>
                      <a:pt x="94" y="98"/>
                    </a:lnTo>
                    <a:lnTo>
                      <a:pt x="91" y="103"/>
                    </a:lnTo>
                    <a:lnTo>
                      <a:pt x="91" y="103"/>
                    </a:lnTo>
                    <a:lnTo>
                      <a:pt x="85" y="108"/>
                    </a:lnTo>
                    <a:lnTo>
                      <a:pt x="85" y="108"/>
                    </a:lnTo>
                    <a:lnTo>
                      <a:pt x="84" y="111"/>
                    </a:lnTo>
                    <a:lnTo>
                      <a:pt x="84" y="111"/>
                    </a:lnTo>
                    <a:lnTo>
                      <a:pt x="85" y="116"/>
                    </a:lnTo>
                    <a:lnTo>
                      <a:pt x="85" y="116"/>
                    </a:lnTo>
                    <a:lnTo>
                      <a:pt x="85" y="117"/>
                    </a:lnTo>
                    <a:lnTo>
                      <a:pt x="85" y="117"/>
                    </a:lnTo>
                    <a:lnTo>
                      <a:pt x="85" y="118"/>
                    </a:lnTo>
                    <a:lnTo>
                      <a:pt x="85" y="118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1" y="118"/>
                    </a:lnTo>
                    <a:lnTo>
                      <a:pt x="81" y="120"/>
                    </a:lnTo>
                    <a:lnTo>
                      <a:pt x="81" y="118"/>
                    </a:lnTo>
                    <a:lnTo>
                      <a:pt x="81" y="118"/>
                    </a:lnTo>
                    <a:lnTo>
                      <a:pt x="81" y="120"/>
                    </a:lnTo>
                    <a:lnTo>
                      <a:pt x="81" y="118"/>
                    </a:lnTo>
                    <a:lnTo>
                      <a:pt x="81" y="118"/>
                    </a:lnTo>
                    <a:lnTo>
                      <a:pt x="81" y="118"/>
                    </a:lnTo>
                    <a:lnTo>
                      <a:pt x="81" y="118"/>
                    </a:lnTo>
                    <a:lnTo>
                      <a:pt x="81" y="118"/>
                    </a:lnTo>
                    <a:lnTo>
                      <a:pt x="81" y="118"/>
                    </a:lnTo>
                    <a:lnTo>
                      <a:pt x="81" y="118"/>
                    </a:lnTo>
                    <a:lnTo>
                      <a:pt x="81" y="118"/>
                    </a:lnTo>
                    <a:lnTo>
                      <a:pt x="81" y="118"/>
                    </a:lnTo>
                    <a:lnTo>
                      <a:pt x="78" y="116"/>
                    </a:lnTo>
                    <a:lnTo>
                      <a:pt x="78" y="116"/>
                    </a:lnTo>
                    <a:lnTo>
                      <a:pt x="73" y="116"/>
                    </a:lnTo>
                    <a:lnTo>
                      <a:pt x="73" y="116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5" y="114"/>
                    </a:lnTo>
                    <a:lnTo>
                      <a:pt x="65" y="114"/>
                    </a:lnTo>
                    <a:lnTo>
                      <a:pt x="60" y="114"/>
                    </a:lnTo>
                    <a:lnTo>
                      <a:pt x="59" y="116"/>
                    </a:lnTo>
                    <a:lnTo>
                      <a:pt x="59" y="116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43" y="118"/>
                    </a:lnTo>
                    <a:lnTo>
                      <a:pt x="43" y="118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1" y="121"/>
                    </a:lnTo>
                    <a:lnTo>
                      <a:pt x="31" y="121"/>
                    </a:lnTo>
                    <a:lnTo>
                      <a:pt x="26" y="127"/>
                    </a:lnTo>
                    <a:lnTo>
                      <a:pt x="26" y="127"/>
                    </a:lnTo>
                    <a:lnTo>
                      <a:pt x="21" y="130"/>
                    </a:lnTo>
                    <a:lnTo>
                      <a:pt x="21" y="130"/>
                    </a:lnTo>
                    <a:lnTo>
                      <a:pt x="18" y="133"/>
                    </a:lnTo>
                    <a:lnTo>
                      <a:pt x="16" y="136"/>
                    </a:lnTo>
                    <a:lnTo>
                      <a:pt x="16" y="136"/>
                    </a:lnTo>
                    <a:lnTo>
                      <a:pt x="13" y="140"/>
                    </a:lnTo>
                    <a:lnTo>
                      <a:pt x="13" y="140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4" y="143"/>
                    </a:lnTo>
                    <a:lnTo>
                      <a:pt x="1" y="147"/>
                    </a:lnTo>
                    <a:lnTo>
                      <a:pt x="1" y="147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1" y="152"/>
                    </a:lnTo>
                    <a:lnTo>
                      <a:pt x="1" y="152"/>
                    </a:lnTo>
                    <a:lnTo>
                      <a:pt x="2" y="153"/>
                    </a:lnTo>
                    <a:lnTo>
                      <a:pt x="2" y="153"/>
                    </a:lnTo>
                    <a:lnTo>
                      <a:pt x="5" y="153"/>
                    </a:lnTo>
                    <a:lnTo>
                      <a:pt x="5" y="153"/>
                    </a:lnTo>
                    <a:lnTo>
                      <a:pt x="10" y="153"/>
                    </a:lnTo>
                    <a:lnTo>
                      <a:pt x="10" y="153"/>
                    </a:lnTo>
                    <a:lnTo>
                      <a:pt x="14" y="153"/>
                    </a:lnTo>
                    <a:lnTo>
                      <a:pt x="14" y="153"/>
                    </a:lnTo>
                    <a:lnTo>
                      <a:pt x="20" y="152"/>
                    </a:lnTo>
                    <a:lnTo>
                      <a:pt x="20" y="152"/>
                    </a:lnTo>
                    <a:lnTo>
                      <a:pt x="23" y="152"/>
                    </a:lnTo>
                    <a:lnTo>
                      <a:pt x="23" y="152"/>
                    </a:lnTo>
                    <a:lnTo>
                      <a:pt x="24" y="150"/>
                    </a:lnTo>
                    <a:lnTo>
                      <a:pt x="23" y="149"/>
                    </a:lnTo>
                    <a:lnTo>
                      <a:pt x="24" y="150"/>
                    </a:lnTo>
                    <a:lnTo>
                      <a:pt x="24" y="150"/>
                    </a:lnTo>
                    <a:lnTo>
                      <a:pt x="23" y="149"/>
                    </a:lnTo>
                    <a:lnTo>
                      <a:pt x="24" y="150"/>
                    </a:lnTo>
                    <a:lnTo>
                      <a:pt x="24" y="150"/>
                    </a:lnTo>
                    <a:lnTo>
                      <a:pt x="27" y="150"/>
                    </a:lnTo>
                    <a:lnTo>
                      <a:pt x="27" y="150"/>
                    </a:lnTo>
                    <a:lnTo>
                      <a:pt x="27" y="150"/>
                    </a:lnTo>
                    <a:lnTo>
                      <a:pt x="29" y="150"/>
                    </a:lnTo>
                    <a:lnTo>
                      <a:pt x="29" y="150"/>
                    </a:lnTo>
                    <a:lnTo>
                      <a:pt x="29" y="150"/>
                    </a:lnTo>
                    <a:lnTo>
                      <a:pt x="29" y="150"/>
                    </a:lnTo>
                    <a:lnTo>
                      <a:pt x="29" y="150"/>
                    </a:lnTo>
                    <a:lnTo>
                      <a:pt x="29" y="150"/>
                    </a:lnTo>
                    <a:lnTo>
                      <a:pt x="29" y="150"/>
                    </a:lnTo>
                    <a:lnTo>
                      <a:pt x="29" y="150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1" y="152"/>
                    </a:lnTo>
                    <a:lnTo>
                      <a:pt x="31" y="152"/>
                    </a:lnTo>
                    <a:lnTo>
                      <a:pt x="36" y="152"/>
                    </a:lnTo>
                    <a:lnTo>
                      <a:pt x="36" y="152"/>
                    </a:lnTo>
                    <a:lnTo>
                      <a:pt x="37" y="150"/>
                    </a:lnTo>
                    <a:lnTo>
                      <a:pt x="39" y="150"/>
                    </a:lnTo>
                    <a:lnTo>
                      <a:pt x="39" y="150"/>
                    </a:lnTo>
                    <a:lnTo>
                      <a:pt x="39" y="150"/>
                    </a:lnTo>
                    <a:lnTo>
                      <a:pt x="40" y="150"/>
                    </a:lnTo>
                    <a:lnTo>
                      <a:pt x="40" y="150"/>
                    </a:lnTo>
                    <a:lnTo>
                      <a:pt x="42" y="149"/>
                    </a:lnTo>
                    <a:lnTo>
                      <a:pt x="42" y="149"/>
                    </a:lnTo>
                    <a:lnTo>
                      <a:pt x="44" y="146"/>
                    </a:lnTo>
                    <a:lnTo>
                      <a:pt x="44" y="146"/>
                    </a:lnTo>
                    <a:lnTo>
                      <a:pt x="44" y="146"/>
                    </a:lnTo>
                    <a:lnTo>
                      <a:pt x="44" y="146"/>
                    </a:lnTo>
                    <a:lnTo>
                      <a:pt x="44" y="146"/>
                    </a:lnTo>
                    <a:lnTo>
                      <a:pt x="44" y="146"/>
                    </a:lnTo>
                    <a:lnTo>
                      <a:pt x="44" y="146"/>
                    </a:lnTo>
                    <a:lnTo>
                      <a:pt x="44" y="146"/>
                    </a:lnTo>
                    <a:lnTo>
                      <a:pt x="44" y="145"/>
                    </a:lnTo>
                    <a:lnTo>
                      <a:pt x="44" y="146"/>
                    </a:lnTo>
                    <a:lnTo>
                      <a:pt x="44" y="146"/>
                    </a:lnTo>
                    <a:lnTo>
                      <a:pt x="44" y="145"/>
                    </a:lnTo>
                    <a:lnTo>
                      <a:pt x="44" y="146"/>
                    </a:lnTo>
                    <a:lnTo>
                      <a:pt x="44" y="145"/>
                    </a:lnTo>
                    <a:lnTo>
                      <a:pt x="44" y="146"/>
                    </a:lnTo>
                    <a:lnTo>
                      <a:pt x="44" y="146"/>
                    </a:lnTo>
                    <a:lnTo>
                      <a:pt x="44" y="145"/>
                    </a:lnTo>
                    <a:lnTo>
                      <a:pt x="44" y="146"/>
                    </a:lnTo>
                    <a:lnTo>
                      <a:pt x="44" y="146"/>
                    </a:lnTo>
                    <a:lnTo>
                      <a:pt x="46" y="146"/>
                    </a:lnTo>
                    <a:lnTo>
                      <a:pt x="46" y="146"/>
                    </a:lnTo>
                    <a:lnTo>
                      <a:pt x="49" y="146"/>
                    </a:lnTo>
                    <a:lnTo>
                      <a:pt x="52" y="145"/>
                    </a:lnTo>
                    <a:lnTo>
                      <a:pt x="52" y="145"/>
                    </a:lnTo>
                    <a:lnTo>
                      <a:pt x="55" y="143"/>
                    </a:lnTo>
                    <a:lnTo>
                      <a:pt x="55" y="143"/>
                    </a:lnTo>
                    <a:lnTo>
                      <a:pt x="55" y="143"/>
                    </a:lnTo>
                    <a:lnTo>
                      <a:pt x="55" y="143"/>
                    </a:lnTo>
                    <a:lnTo>
                      <a:pt x="56" y="142"/>
                    </a:lnTo>
                    <a:lnTo>
                      <a:pt x="56" y="142"/>
                    </a:lnTo>
                    <a:lnTo>
                      <a:pt x="66" y="140"/>
                    </a:lnTo>
                    <a:lnTo>
                      <a:pt x="66" y="140"/>
                    </a:lnTo>
                    <a:lnTo>
                      <a:pt x="68" y="140"/>
                    </a:lnTo>
                    <a:lnTo>
                      <a:pt x="68" y="140"/>
                    </a:lnTo>
                    <a:lnTo>
                      <a:pt x="71" y="140"/>
                    </a:lnTo>
                    <a:lnTo>
                      <a:pt x="73" y="142"/>
                    </a:lnTo>
                    <a:lnTo>
                      <a:pt x="73" y="143"/>
                    </a:lnTo>
                    <a:lnTo>
                      <a:pt x="73" y="143"/>
                    </a:lnTo>
                    <a:lnTo>
                      <a:pt x="75" y="142"/>
                    </a:lnTo>
                    <a:lnTo>
                      <a:pt x="73" y="142"/>
                    </a:lnTo>
                    <a:lnTo>
                      <a:pt x="73" y="143"/>
                    </a:lnTo>
                    <a:lnTo>
                      <a:pt x="75" y="142"/>
                    </a:lnTo>
                    <a:lnTo>
                      <a:pt x="73" y="142"/>
                    </a:lnTo>
                    <a:lnTo>
                      <a:pt x="73" y="142"/>
                    </a:lnTo>
                    <a:lnTo>
                      <a:pt x="73" y="142"/>
                    </a:lnTo>
                    <a:lnTo>
                      <a:pt x="73" y="142"/>
                    </a:lnTo>
                    <a:lnTo>
                      <a:pt x="73" y="142"/>
                    </a:lnTo>
                    <a:lnTo>
                      <a:pt x="73" y="142"/>
                    </a:lnTo>
                    <a:lnTo>
                      <a:pt x="73" y="143"/>
                    </a:lnTo>
                    <a:lnTo>
                      <a:pt x="73" y="143"/>
                    </a:lnTo>
                    <a:lnTo>
                      <a:pt x="72" y="145"/>
                    </a:lnTo>
                    <a:lnTo>
                      <a:pt x="72" y="145"/>
                    </a:lnTo>
                    <a:lnTo>
                      <a:pt x="71" y="146"/>
                    </a:lnTo>
                    <a:lnTo>
                      <a:pt x="71" y="146"/>
                    </a:lnTo>
                    <a:lnTo>
                      <a:pt x="69" y="147"/>
                    </a:lnTo>
                    <a:lnTo>
                      <a:pt x="69" y="147"/>
                    </a:lnTo>
                    <a:lnTo>
                      <a:pt x="69" y="150"/>
                    </a:lnTo>
                    <a:lnTo>
                      <a:pt x="69" y="150"/>
                    </a:lnTo>
                    <a:lnTo>
                      <a:pt x="69" y="155"/>
                    </a:lnTo>
                    <a:lnTo>
                      <a:pt x="72" y="159"/>
                    </a:lnTo>
                    <a:lnTo>
                      <a:pt x="72" y="159"/>
                    </a:lnTo>
                    <a:lnTo>
                      <a:pt x="75" y="163"/>
                    </a:lnTo>
                    <a:lnTo>
                      <a:pt x="75" y="163"/>
                    </a:lnTo>
                    <a:lnTo>
                      <a:pt x="78" y="163"/>
                    </a:lnTo>
                    <a:lnTo>
                      <a:pt x="81" y="165"/>
                    </a:lnTo>
                    <a:lnTo>
                      <a:pt x="82" y="16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40" name="Freeform 1293"/>
              <p:cNvSpPr>
                <a:spLocks/>
              </p:cNvSpPr>
              <p:nvPr/>
            </p:nvSpPr>
            <p:spPr bwMode="auto">
              <a:xfrm>
                <a:off x="6635595" y="2522763"/>
                <a:ext cx="92001" cy="86066"/>
              </a:xfrm>
              <a:custGeom>
                <a:avLst/>
                <a:gdLst>
                  <a:gd name="T0" fmla="*/ 13 w 93"/>
                  <a:gd name="T1" fmla="*/ 81 h 87"/>
                  <a:gd name="T2" fmla="*/ 6 w 93"/>
                  <a:gd name="T3" fmla="*/ 87 h 87"/>
                  <a:gd name="T4" fmla="*/ 5 w 93"/>
                  <a:gd name="T5" fmla="*/ 85 h 87"/>
                  <a:gd name="T6" fmla="*/ 2 w 93"/>
                  <a:gd name="T7" fmla="*/ 81 h 87"/>
                  <a:gd name="T8" fmla="*/ 2 w 93"/>
                  <a:gd name="T9" fmla="*/ 79 h 87"/>
                  <a:gd name="T10" fmla="*/ 5 w 93"/>
                  <a:gd name="T11" fmla="*/ 76 h 87"/>
                  <a:gd name="T12" fmla="*/ 5 w 93"/>
                  <a:gd name="T13" fmla="*/ 75 h 87"/>
                  <a:gd name="T14" fmla="*/ 0 w 93"/>
                  <a:gd name="T15" fmla="*/ 66 h 87"/>
                  <a:gd name="T16" fmla="*/ 0 w 93"/>
                  <a:gd name="T17" fmla="*/ 63 h 87"/>
                  <a:gd name="T18" fmla="*/ 5 w 93"/>
                  <a:gd name="T19" fmla="*/ 59 h 87"/>
                  <a:gd name="T20" fmla="*/ 9 w 93"/>
                  <a:gd name="T21" fmla="*/ 56 h 87"/>
                  <a:gd name="T22" fmla="*/ 10 w 93"/>
                  <a:gd name="T23" fmla="*/ 52 h 87"/>
                  <a:gd name="T24" fmla="*/ 13 w 93"/>
                  <a:gd name="T25" fmla="*/ 49 h 87"/>
                  <a:gd name="T26" fmla="*/ 18 w 93"/>
                  <a:gd name="T27" fmla="*/ 52 h 87"/>
                  <a:gd name="T28" fmla="*/ 22 w 93"/>
                  <a:gd name="T29" fmla="*/ 52 h 87"/>
                  <a:gd name="T30" fmla="*/ 26 w 93"/>
                  <a:gd name="T31" fmla="*/ 47 h 87"/>
                  <a:gd name="T32" fmla="*/ 28 w 93"/>
                  <a:gd name="T33" fmla="*/ 42 h 87"/>
                  <a:gd name="T34" fmla="*/ 28 w 93"/>
                  <a:gd name="T35" fmla="*/ 39 h 87"/>
                  <a:gd name="T36" fmla="*/ 31 w 93"/>
                  <a:gd name="T37" fmla="*/ 30 h 87"/>
                  <a:gd name="T38" fmla="*/ 32 w 93"/>
                  <a:gd name="T39" fmla="*/ 20 h 87"/>
                  <a:gd name="T40" fmla="*/ 31 w 93"/>
                  <a:gd name="T41" fmla="*/ 10 h 87"/>
                  <a:gd name="T42" fmla="*/ 31 w 93"/>
                  <a:gd name="T43" fmla="*/ 5 h 87"/>
                  <a:gd name="T44" fmla="*/ 32 w 93"/>
                  <a:gd name="T45" fmla="*/ 1 h 87"/>
                  <a:gd name="T46" fmla="*/ 37 w 93"/>
                  <a:gd name="T47" fmla="*/ 0 h 87"/>
                  <a:gd name="T48" fmla="*/ 37 w 93"/>
                  <a:gd name="T49" fmla="*/ 0 h 87"/>
                  <a:gd name="T50" fmla="*/ 48 w 93"/>
                  <a:gd name="T51" fmla="*/ 16 h 87"/>
                  <a:gd name="T52" fmla="*/ 57 w 93"/>
                  <a:gd name="T53" fmla="*/ 21 h 87"/>
                  <a:gd name="T54" fmla="*/ 64 w 93"/>
                  <a:gd name="T55" fmla="*/ 26 h 87"/>
                  <a:gd name="T56" fmla="*/ 68 w 93"/>
                  <a:gd name="T57" fmla="*/ 24 h 87"/>
                  <a:gd name="T58" fmla="*/ 71 w 93"/>
                  <a:gd name="T59" fmla="*/ 24 h 87"/>
                  <a:gd name="T60" fmla="*/ 71 w 93"/>
                  <a:gd name="T61" fmla="*/ 29 h 87"/>
                  <a:gd name="T62" fmla="*/ 74 w 93"/>
                  <a:gd name="T63" fmla="*/ 30 h 87"/>
                  <a:gd name="T64" fmla="*/ 80 w 93"/>
                  <a:gd name="T65" fmla="*/ 27 h 87"/>
                  <a:gd name="T66" fmla="*/ 84 w 93"/>
                  <a:gd name="T67" fmla="*/ 27 h 87"/>
                  <a:gd name="T68" fmla="*/ 84 w 93"/>
                  <a:gd name="T69" fmla="*/ 36 h 87"/>
                  <a:gd name="T70" fmla="*/ 86 w 93"/>
                  <a:gd name="T71" fmla="*/ 40 h 87"/>
                  <a:gd name="T72" fmla="*/ 87 w 93"/>
                  <a:gd name="T73" fmla="*/ 43 h 87"/>
                  <a:gd name="T74" fmla="*/ 92 w 93"/>
                  <a:gd name="T75" fmla="*/ 43 h 87"/>
                  <a:gd name="T76" fmla="*/ 93 w 93"/>
                  <a:gd name="T77" fmla="*/ 45 h 87"/>
                  <a:gd name="T78" fmla="*/ 84 w 93"/>
                  <a:gd name="T79" fmla="*/ 47 h 87"/>
                  <a:gd name="T80" fmla="*/ 73 w 93"/>
                  <a:gd name="T81" fmla="*/ 50 h 87"/>
                  <a:gd name="T82" fmla="*/ 64 w 93"/>
                  <a:gd name="T83" fmla="*/ 58 h 87"/>
                  <a:gd name="T84" fmla="*/ 58 w 93"/>
                  <a:gd name="T85" fmla="*/ 65 h 87"/>
                  <a:gd name="T86" fmla="*/ 57 w 93"/>
                  <a:gd name="T87" fmla="*/ 74 h 87"/>
                  <a:gd name="T88" fmla="*/ 52 w 93"/>
                  <a:gd name="T89" fmla="*/ 75 h 87"/>
                  <a:gd name="T90" fmla="*/ 45 w 93"/>
                  <a:gd name="T91" fmla="*/ 69 h 87"/>
                  <a:gd name="T92" fmla="*/ 37 w 93"/>
                  <a:gd name="T93" fmla="*/ 65 h 87"/>
                  <a:gd name="T94" fmla="*/ 35 w 93"/>
                  <a:gd name="T95" fmla="*/ 65 h 87"/>
                  <a:gd name="T96" fmla="*/ 29 w 93"/>
                  <a:gd name="T97" fmla="*/ 62 h 87"/>
                  <a:gd name="T98" fmla="*/ 28 w 93"/>
                  <a:gd name="T99" fmla="*/ 62 h 87"/>
                  <a:gd name="T100" fmla="*/ 19 w 93"/>
                  <a:gd name="T101" fmla="*/ 68 h 87"/>
                  <a:gd name="T102" fmla="*/ 18 w 93"/>
                  <a:gd name="T103" fmla="*/ 68 h 87"/>
                  <a:gd name="T104" fmla="*/ 13 w 93"/>
                  <a:gd name="T105" fmla="*/ 62 h 87"/>
                  <a:gd name="T106" fmla="*/ 12 w 93"/>
                  <a:gd name="T107" fmla="*/ 61 h 87"/>
                  <a:gd name="T108" fmla="*/ 8 w 93"/>
                  <a:gd name="T109" fmla="*/ 68 h 87"/>
                  <a:gd name="T110" fmla="*/ 9 w 93"/>
                  <a:gd name="T111" fmla="*/ 69 h 87"/>
                  <a:gd name="T112" fmla="*/ 16 w 93"/>
                  <a:gd name="T113" fmla="*/ 71 h 87"/>
                  <a:gd name="T114" fmla="*/ 21 w 93"/>
                  <a:gd name="T115" fmla="*/ 75 h 87"/>
                  <a:gd name="T116" fmla="*/ 19 w 93"/>
                  <a:gd name="T117" fmla="*/ 76 h 87"/>
                  <a:gd name="T118" fmla="*/ 16 w 93"/>
                  <a:gd name="T119" fmla="*/ 79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3" h="87">
                    <a:moveTo>
                      <a:pt x="13" y="81"/>
                    </a:moveTo>
                    <a:lnTo>
                      <a:pt x="13" y="81"/>
                    </a:lnTo>
                    <a:lnTo>
                      <a:pt x="9" y="85"/>
                    </a:lnTo>
                    <a:lnTo>
                      <a:pt x="6" y="87"/>
                    </a:lnTo>
                    <a:lnTo>
                      <a:pt x="5" y="85"/>
                    </a:lnTo>
                    <a:lnTo>
                      <a:pt x="5" y="85"/>
                    </a:lnTo>
                    <a:lnTo>
                      <a:pt x="2" y="82"/>
                    </a:lnTo>
                    <a:lnTo>
                      <a:pt x="2" y="81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5" y="76"/>
                    </a:lnTo>
                    <a:lnTo>
                      <a:pt x="5" y="76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2" y="69"/>
                    </a:lnTo>
                    <a:lnTo>
                      <a:pt x="0" y="66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2" y="62"/>
                    </a:lnTo>
                    <a:lnTo>
                      <a:pt x="5" y="59"/>
                    </a:lnTo>
                    <a:lnTo>
                      <a:pt x="9" y="56"/>
                    </a:lnTo>
                    <a:lnTo>
                      <a:pt x="9" y="56"/>
                    </a:lnTo>
                    <a:lnTo>
                      <a:pt x="10" y="55"/>
                    </a:lnTo>
                    <a:lnTo>
                      <a:pt x="10" y="52"/>
                    </a:lnTo>
                    <a:lnTo>
                      <a:pt x="10" y="50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8" y="52"/>
                    </a:lnTo>
                    <a:lnTo>
                      <a:pt x="21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6" y="47"/>
                    </a:lnTo>
                    <a:lnTo>
                      <a:pt x="28" y="45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39"/>
                    </a:lnTo>
                    <a:lnTo>
                      <a:pt x="28" y="36"/>
                    </a:lnTo>
                    <a:lnTo>
                      <a:pt x="31" y="30"/>
                    </a:lnTo>
                    <a:lnTo>
                      <a:pt x="31" y="30"/>
                    </a:lnTo>
                    <a:lnTo>
                      <a:pt x="32" y="20"/>
                    </a:lnTo>
                    <a:lnTo>
                      <a:pt x="32" y="13"/>
                    </a:lnTo>
                    <a:lnTo>
                      <a:pt x="31" y="10"/>
                    </a:lnTo>
                    <a:lnTo>
                      <a:pt x="31" y="10"/>
                    </a:lnTo>
                    <a:lnTo>
                      <a:pt x="31" y="5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35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41" y="7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7" y="21"/>
                    </a:lnTo>
                    <a:lnTo>
                      <a:pt x="60" y="24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8" y="24"/>
                    </a:lnTo>
                    <a:lnTo>
                      <a:pt x="70" y="23"/>
                    </a:lnTo>
                    <a:lnTo>
                      <a:pt x="71" y="24"/>
                    </a:lnTo>
                    <a:lnTo>
                      <a:pt x="71" y="24"/>
                    </a:lnTo>
                    <a:lnTo>
                      <a:pt x="71" y="29"/>
                    </a:lnTo>
                    <a:lnTo>
                      <a:pt x="73" y="29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80" y="27"/>
                    </a:lnTo>
                    <a:lnTo>
                      <a:pt x="83" y="27"/>
                    </a:lnTo>
                    <a:lnTo>
                      <a:pt x="84" y="27"/>
                    </a:lnTo>
                    <a:lnTo>
                      <a:pt x="84" y="27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6" y="40"/>
                    </a:lnTo>
                    <a:lnTo>
                      <a:pt x="86" y="43"/>
                    </a:lnTo>
                    <a:lnTo>
                      <a:pt x="87" y="43"/>
                    </a:lnTo>
                    <a:lnTo>
                      <a:pt x="87" y="43"/>
                    </a:lnTo>
                    <a:lnTo>
                      <a:pt x="92" y="43"/>
                    </a:lnTo>
                    <a:lnTo>
                      <a:pt x="93" y="45"/>
                    </a:lnTo>
                    <a:lnTo>
                      <a:pt x="93" y="45"/>
                    </a:lnTo>
                    <a:lnTo>
                      <a:pt x="93" y="45"/>
                    </a:lnTo>
                    <a:lnTo>
                      <a:pt x="84" y="47"/>
                    </a:lnTo>
                    <a:lnTo>
                      <a:pt x="73" y="50"/>
                    </a:lnTo>
                    <a:lnTo>
                      <a:pt x="73" y="50"/>
                    </a:lnTo>
                    <a:lnTo>
                      <a:pt x="68" y="53"/>
                    </a:lnTo>
                    <a:lnTo>
                      <a:pt x="64" y="58"/>
                    </a:lnTo>
                    <a:lnTo>
                      <a:pt x="61" y="61"/>
                    </a:lnTo>
                    <a:lnTo>
                      <a:pt x="58" y="65"/>
                    </a:lnTo>
                    <a:lnTo>
                      <a:pt x="58" y="65"/>
                    </a:lnTo>
                    <a:lnTo>
                      <a:pt x="57" y="74"/>
                    </a:lnTo>
                    <a:lnTo>
                      <a:pt x="55" y="75"/>
                    </a:lnTo>
                    <a:lnTo>
                      <a:pt x="52" y="75"/>
                    </a:lnTo>
                    <a:lnTo>
                      <a:pt x="52" y="75"/>
                    </a:lnTo>
                    <a:lnTo>
                      <a:pt x="45" y="69"/>
                    </a:lnTo>
                    <a:lnTo>
                      <a:pt x="41" y="66"/>
                    </a:lnTo>
                    <a:lnTo>
                      <a:pt x="37" y="65"/>
                    </a:lnTo>
                    <a:lnTo>
                      <a:pt x="37" y="65"/>
                    </a:lnTo>
                    <a:lnTo>
                      <a:pt x="35" y="65"/>
                    </a:lnTo>
                    <a:lnTo>
                      <a:pt x="32" y="63"/>
                    </a:lnTo>
                    <a:lnTo>
                      <a:pt x="29" y="62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22" y="66"/>
                    </a:lnTo>
                    <a:lnTo>
                      <a:pt x="19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5" y="63"/>
                    </a:lnTo>
                    <a:lnTo>
                      <a:pt x="13" y="62"/>
                    </a:lnTo>
                    <a:lnTo>
                      <a:pt x="12" y="61"/>
                    </a:lnTo>
                    <a:lnTo>
                      <a:pt x="12" y="61"/>
                    </a:lnTo>
                    <a:lnTo>
                      <a:pt x="9" y="65"/>
                    </a:lnTo>
                    <a:lnTo>
                      <a:pt x="8" y="68"/>
                    </a:lnTo>
                    <a:lnTo>
                      <a:pt x="9" y="69"/>
                    </a:lnTo>
                    <a:lnTo>
                      <a:pt x="9" y="69"/>
                    </a:lnTo>
                    <a:lnTo>
                      <a:pt x="16" y="71"/>
                    </a:lnTo>
                    <a:lnTo>
                      <a:pt x="16" y="71"/>
                    </a:lnTo>
                    <a:lnTo>
                      <a:pt x="19" y="72"/>
                    </a:lnTo>
                    <a:lnTo>
                      <a:pt x="21" y="75"/>
                    </a:lnTo>
                    <a:lnTo>
                      <a:pt x="21" y="76"/>
                    </a:lnTo>
                    <a:lnTo>
                      <a:pt x="19" y="76"/>
                    </a:lnTo>
                    <a:lnTo>
                      <a:pt x="19" y="76"/>
                    </a:lnTo>
                    <a:lnTo>
                      <a:pt x="16" y="79"/>
                    </a:lnTo>
                    <a:lnTo>
                      <a:pt x="13" y="8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41" name="Freeform 1294"/>
              <p:cNvSpPr>
                <a:spLocks/>
              </p:cNvSpPr>
              <p:nvPr/>
            </p:nvSpPr>
            <p:spPr bwMode="auto">
              <a:xfrm>
                <a:off x="6635595" y="2522763"/>
                <a:ext cx="92001" cy="86066"/>
              </a:xfrm>
              <a:custGeom>
                <a:avLst/>
                <a:gdLst>
                  <a:gd name="T0" fmla="*/ 13 w 93"/>
                  <a:gd name="T1" fmla="*/ 81 h 87"/>
                  <a:gd name="T2" fmla="*/ 6 w 93"/>
                  <a:gd name="T3" fmla="*/ 87 h 87"/>
                  <a:gd name="T4" fmla="*/ 5 w 93"/>
                  <a:gd name="T5" fmla="*/ 85 h 87"/>
                  <a:gd name="T6" fmla="*/ 2 w 93"/>
                  <a:gd name="T7" fmla="*/ 81 h 87"/>
                  <a:gd name="T8" fmla="*/ 2 w 93"/>
                  <a:gd name="T9" fmla="*/ 79 h 87"/>
                  <a:gd name="T10" fmla="*/ 5 w 93"/>
                  <a:gd name="T11" fmla="*/ 76 h 87"/>
                  <a:gd name="T12" fmla="*/ 5 w 93"/>
                  <a:gd name="T13" fmla="*/ 75 h 87"/>
                  <a:gd name="T14" fmla="*/ 0 w 93"/>
                  <a:gd name="T15" fmla="*/ 66 h 87"/>
                  <a:gd name="T16" fmla="*/ 0 w 93"/>
                  <a:gd name="T17" fmla="*/ 63 h 87"/>
                  <a:gd name="T18" fmla="*/ 5 w 93"/>
                  <a:gd name="T19" fmla="*/ 59 h 87"/>
                  <a:gd name="T20" fmla="*/ 9 w 93"/>
                  <a:gd name="T21" fmla="*/ 56 h 87"/>
                  <a:gd name="T22" fmla="*/ 10 w 93"/>
                  <a:gd name="T23" fmla="*/ 52 h 87"/>
                  <a:gd name="T24" fmla="*/ 13 w 93"/>
                  <a:gd name="T25" fmla="*/ 49 h 87"/>
                  <a:gd name="T26" fmla="*/ 18 w 93"/>
                  <a:gd name="T27" fmla="*/ 52 h 87"/>
                  <a:gd name="T28" fmla="*/ 22 w 93"/>
                  <a:gd name="T29" fmla="*/ 52 h 87"/>
                  <a:gd name="T30" fmla="*/ 26 w 93"/>
                  <a:gd name="T31" fmla="*/ 47 h 87"/>
                  <a:gd name="T32" fmla="*/ 28 w 93"/>
                  <a:gd name="T33" fmla="*/ 42 h 87"/>
                  <a:gd name="T34" fmla="*/ 28 w 93"/>
                  <a:gd name="T35" fmla="*/ 39 h 87"/>
                  <a:gd name="T36" fmla="*/ 31 w 93"/>
                  <a:gd name="T37" fmla="*/ 30 h 87"/>
                  <a:gd name="T38" fmla="*/ 32 w 93"/>
                  <a:gd name="T39" fmla="*/ 20 h 87"/>
                  <a:gd name="T40" fmla="*/ 31 w 93"/>
                  <a:gd name="T41" fmla="*/ 10 h 87"/>
                  <a:gd name="T42" fmla="*/ 31 w 93"/>
                  <a:gd name="T43" fmla="*/ 5 h 87"/>
                  <a:gd name="T44" fmla="*/ 32 w 93"/>
                  <a:gd name="T45" fmla="*/ 1 h 87"/>
                  <a:gd name="T46" fmla="*/ 37 w 93"/>
                  <a:gd name="T47" fmla="*/ 0 h 87"/>
                  <a:gd name="T48" fmla="*/ 37 w 93"/>
                  <a:gd name="T49" fmla="*/ 0 h 87"/>
                  <a:gd name="T50" fmla="*/ 48 w 93"/>
                  <a:gd name="T51" fmla="*/ 16 h 87"/>
                  <a:gd name="T52" fmla="*/ 57 w 93"/>
                  <a:gd name="T53" fmla="*/ 21 h 87"/>
                  <a:gd name="T54" fmla="*/ 64 w 93"/>
                  <a:gd name="T55" fmla="*/ 26 h 87"/>
                  <a:gd name="T56" fmla="*/ 68 w 93"/>
                  <a:gd name="T57" fmla="*/ 24 h 87"/>
                  <a:gd name="T58" fmla="*/ 71 w 93"/>
                  <a:gd name="T59" fmla="*/ 24 h 87"/>
                  <a:gd name="T60" fmla="*/ 71 w 93"/>
                  <a:gd name="T61" fmla="*/ 29 h 87"/>
                  <a:gd name="T62" fmla="*/ 74 w 93"/>
                  <a:gd name="T63" fmla="*/ 30 h 87"/>
                  <a:gd name="T64" fmla="*/ 80 w 93"/>
                  <a:gd name="T65" fmla="*/ 27 h 87"/>
                  <a:gd name="T66" fmla="*/ 84 w 93"/>
                  <a:gd name="T67" fmla="*/ 27 h 87"/>
                  <a:gd name="T68" fmla="*/ 84 w 93"/>
                  <a:gd name="T69" fmla="*/ 36 h 87"/>
                  <a:gd name="T70" fmla="*/ 86 w 93"/>
                  <a:gd name="T71" fmla="*/ 40 h 87"/>
                  <a:gd name="T72" fmla="*/ 87 w 93"/>
                  <a:gd name="T73" fmla="*/ 43 h 87"/>
                  <a:gd name="T74" fmla="*/ 92 w 93"/>
                  <a:gd name="T75" fmla="*/ 43 h 87"/>
                  <a:gd name="T76" fmla="*/ 93 w 93"/>
                  <a:gd name="T77" fmla="*/ 45 h 87"/>
                  <a:gd name="T78" fmla="*/ 84 w 93"/>
                  <a:gd name="T79" fmla="*/ 47 h 87"/>
                  <a:gd name="T80" fmla="*/ 73 w 93"/>
                  <a:gd name="T81" fmla="*/ 50 h 87"/>
                  <a:gd name="T82" fmla="*/ 64 w 93"/>
                  <a:gd name="T83" fmla="*/ 58 h 87"/>
                  <a:gd name="T84" fmla="*/ 58 w 93"/>
                  <a:gd name="T85" fmla="*/ 65 h 87"/>
                  <a:gd name="T86" fmla="*/ 57 w 93"/>
                  <a:gd name="T87" fmla="*/ 74 h 87"/>
                  <a:gd name="T88" fmla="*/ 52 w 93"/>
                  <a:gd name="T89" fmla="*/ 75 h 87"/>
                  <a:gd name="T90" fmla="*/ 45 w 93"/>
                  <a:gd name="T91" fmla="*/ 69 h 87"/>
                  <a:gd name="T92" fmla="*/ 37 w 93"/>
                  <a:gd name="T93" fmla="*/ 65 h 87"/>
                  <a:gd name="T94" fmla="*/ 35 w 93"/>
                  <a:gd name="T95" fmla="*/ 65 h 87"/>
                  <a:gd name="T96" fmla="*/ 29 w 93"/>
                  <a:gd name="T97" fmla="*/ 62 h 87"/>
                  <a:gd name="T98" fmla="*/ 28 w 93"/>
                  <a:gd name="T99" fmla="*/ 62 h 87"/>
                  <a:gd name="T100" fmla="*/ 19 w 93"/>
                  <a:gd name="T101" fmla="*/ 68 h 87"/>
                  <a:gd name="T102" fmla="*/ 18 w 93"/>
                  <a:gd name="T103" fmla="*/ 68 h 87"/>
                  <a:gd name="T104" fmla="*/ 13 w 93"/>
                  <a:gd name="T105" fmla="*/ 62 h 87"/>
                  <a:gd name="T106" fmla="*/ 12 w 93"/>
                  <a:gd name="T107" fmla="*/ 61 h 87"/>
                  <a:gd name="T108" fmla="*/ 8 w 93"/>
                  <a:gd name="T109" fmla="*/ 68 h 87"/>
                  <a:gd name="T110" fmla="*/ 9 w 93"/>
                  <a:gd name="T111" fmla="*/ 69 h 87"/>
                  <a:gd name="T112" fmla="*/ 16 w 93"/>
                  <a:gd name="T113" fmla="*/ 71 h 87"/>
                  <a:gd name="T114" fmla="*/ 21 w 93"/>
                  <a:gd name="T115" fmla="*/ 75 h 87"/>
                  <a:gd name="T116" fmla="*/ 19 w 93"/>
                  <a:gd name="T117" fmla="*/ 76 h 87"/>
                  <a:gd name="T118" fmla="*/ 16 w 93"/>
                  <a:gd name="T119" fmla="*/ 79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3" h="87">
                    <a:moveTo>
                      <a:pt x="13" y="81"/>
                    </a:moveTo>
                    <a:lnTo>
                      <a:pt x="13" y="81"/>
                    </a:lnTo>
                    <a:lnTo>
                      <a:pt x="9" y="85"/>
                    </a:lnTo>
                    <a:lnTo>
                      <a:pt x="6" y="87"/>
                    </a:lnTo>
                    <a:lnTo>
                      <a:pt x="5" y="85"/>
                    </a:lnTo>
                    <a:lnTo>
                      <a:pt x="5" y="85"/>
                    </a:lnTo>
                    <a:lnTo>
                      <a:pt x="2" y="82"/>
                    </a:lnTo>
                    <a:lnTo>
                      <a:pt x="2" y="81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5" y="76"/>
                    </a:lnTo>
                    <a:lnTo>
                      <a:pt x="5" y="76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2" y="69"/>
                    </a:lnTo>
                    <a:lnTo>
                      <a:pt x="0" y="66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2" y="62"/>
                    </a:lnTo>
                    <a:lnTo>
                      <a:pt x="5" y="59"/>
                    </a:lnTo>
                    <a:lnTo>
                      <a:pt x="9" y="56"/>
                    </a:lnTo>
                    <a:lnTo>
                      <a:pt x="9" y="56"/>
                    </a:lnTo>
                    <a:lnTo>
                      <a:pt x="10" y="55"/>
                    </a:lnTo>
                    <a:lnTo>
                      <a:pt x="10" y="52"/>
                    </a:lnTo>
                    <a:lnTo>
                      <a:pt x="10" y="50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8" y="52"/>
                    </a:lnTo>
                    <a:lnTo>
                      <a:pt x="21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6" y="47"/>
                    </a:lnTo>
                    <a:lnTo>
                      <a:pt x="28" y="45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39"/>
                    </a:lnTo>
                    <a:lnTo>
                      <a:pt x="28" y="36"/>
                    </a:lnTo>
                    <a:lnTo>
                      <a:pt x="31" y="30"/>
                    </a:lnTo>
                    <a:lnTo>
                      <a:pt x="31" y="30"/>
                    </a:lnTo>
                    <a:lnTo>
                      <a:pt x="32" y="20"/>
                    </a:lnTo>
                    <a:lnTo>
                      <a:pt x="32" y="13"/>
                    </a:lnTo>
                    <a:lnTo>
                      <a:pt x="31" y="10"/>
                    </a:lnTo>
                    <a:lnTo>
                      <a:pt x="31" y="10"/>
                    </a:lnTo>
                    <a:lnTo>
                      <a:pt x="31" y="5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35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41" y="7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7" y="21"/>
                    </a:lnTo>
                    <a:lnTo>
                      <a:pt x="60" y="24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8" y="24"/>
                    </a:lnTo>
                    <a:lnTo>
                      <a:pt x="70" y="23"/>
                    </a:lnTo>
                    <a:lnTo>
                      <a:pt x="71" y="24"/>
                    </a:lnTo>
                    <a:lnTo>
                      <a:pt x="71" y="24"/>
                    </a:lnTo>
                    <a:lnTo>
                      <a:pt x="71" y="29"/>
                    </a:lnTo>
                    <a:lnTo>
                      <a:pt x="73" y="29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80" y="27"/>
                    </a:lnTo>
                    <a:lnTo>
                      <a:pt x="83" y="27"/>
                    </a:lnTo>
                    <a:lnTo>
                      <a:pt x="84" y="27"/>
                    </a:lnTo>
                    <a:lnTo>
                      <a:pt x="84" y="27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6" y="40"/>
                    </a:lnTo>
                    <a:lnTo>
                      <a:pt x="86" y="43"/>
                    </a:lnTo>
                    <a:lnTo>
                      <a:pt x="87" y="43"/>
                    </a:lnTo>
                    <a:lnTo>
                      <a:pt x="87" y="43"/>
                    </a:lnTo>
                    <a:lnTo>
                      <a:pt x="92" y="43"/>
                    </a:lnTo>
                    <a:lnTo>
                      <a:pt x="93" y="45"/>
                    </a:lnTo>
                    <a:lnTo>
                      <a:pt x="93" y="45"/>
                    </a:lnTo>
                    <a:lnTo>
                      <a:pt x="93" y="45"/>
                    </a:lnTo>
                    <a:lnTo>
                      <a:pt x="84" y="47"/>
                    </a:lnTo>
                    <a:lnTo>
                      <a:pt x="73" y="50"/>
                    </a:lnTo>
                    <a:lnTo>
                      <a:pt x="73" y="50"/>
                    </a:lnTo>
                    <a:lnTo>
                      <a:pt x="68" y="53"/>
                    </a:lnTo>
                    <a:lnTo>
                      <a:pt x="64" y="58"/>
                    </a:lnTo>
                    <a:lnTo>
                      <a:pt x="61" y="61"/>
                    </a:lnTo>
                    <a:lnTo>
                      <a:pt x="58" y="65"/>
                    </a:lnTo>
                    <a:lnTo>
                      <a:pt x="58" y="65"/>
                    </a:lnTo>
                    <a:lnTo>
                      <a:pt x="57" y="74"/>
                    </a:lnTo>
                    <a:lnTo>
                      <a:pt x="55" y="75"/>
                    </a:lnTo>
                    <a:lnTo>
                      <a:pt x="52" y="75"/>
                    </a:lnTo>
                    <a:lnTo>
                      <a:pt x="52" y="75"/>
                    </a:lnTo>
                    <a:lnTo>
                      <a:pt x="45" y="69"/>
                    </a:lnTo>
                    <a:lnTo>
                      <a:pt x="41" y="66"/>
                    </a:lnTo>
                    <a:lnTo>
                      <a:pt x="37" y="65"/>
                    </a:lnTo>
                    <a:lnTo>
                      <a:pt x="37" y="65"/>
                    </a:lnTo>
                    <a:lnTo>
                      <a:pt x="35" y="65"/>
                    </a:lnTo>
                    <a:lnTo>
                      <a:pt x="32" y="63"/>
                    </a:lnTo>
                    <a:lnTo>
                      <a:pt x="29" y="62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22" y="66"/>
                    </a:lnTo>
                    <a:lnTo>
                      <a:pt x="19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5" y="63"/>
                    </a:lnTo>
                    <a:lnTo>
                      <a:pt x="13" y="62"/>
                    </a:lnTo>
                    <a:lnTo>
                      <a:pt x="12" y="61"/>
                    </a:lnTo>
                    <a:lnTo>
                      <a:pt x="12" y="61"/>
                    </a:lnTo>
                    <a:lnTo>
                      <a:pt x="9" y="65"/>
                    </a:lnTo>
                    <a:lnTo>
                      <a:pt x="8" y="68"/>
                    </a:lnTo>
                    <a:lnTo>
                      <a:pt x="9" y="69"/>
                    </a:lnTo>
                    <a:lnTo>
                      <a:pt x="9" y="69"/>
                    </a:lnTo>
                    <a:lnTo>
                      <a:pt x="16" y="71"/>
                    </a:lnTo>
                    <a:lnTo>
                      <a:pt x="16" y="71"/>
                    </a:lnTo>
                    <a:lnTo>
                      <a:pt x="19" y="72"/>
                    </a:lnTo>
                    <a:lnTo>
                      <a:pt x="21" y="75"/>
                    </a:lnTo>
                    <a:lnTo>
                      <a:pt x="21" y="76"/>
                    </a:lnTo>
                    <a:lnTo>
                      <a:pt x="19" y="76"/>
                    </a:lnTo>
                    <a:lnTo>
                      <a:pt x="19" y="76"/>
                    </a:lnTo>
                    <a:lnTo>
                      <a:pt x="16" y="79"/>
                    </a:lnTo>
                    <a:lnTo>
                      <a:pt x="13" y="8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42" name="Freeform 1295"/>
              <p:cNvSpPr>
                <a:spLocks/>
              </p:cNvSpPr>
              <p:nvPr/>
            </p:nvSpPr>
            <p:spPr bwMode="auto">
              <a:xfrm>
                <a:off x="6632627" y="2519795"/>
                <a:ext cx="97937" cy="90023"/>
              </a:xfrm>
              <a:custGeom>
                <a:avLst/>
                <a:gdLst>
                  <a:gd name="T0" fmla="*/ 9 w 99"/>
                  <a:gd name="T1" fmla="*/ 87 h 91"/>
                  <a:gd name="T2" fmla="*/ 11 w 99"/>
                  <a:gd name="T3" fmla="*/ 87 h 91"/>
                  <a:gd name="T4" fmla="*/ 8 w 99"/>
                  <a:gd name="T5" fmla="*/ 84 h 91"/>
                  <a:gd name="T6" fmla="*/ 6 w 99"/>
                  <a:gd name="T7" fmla="*/ 68 h 91"/>
                  <a:gd name="T8" fmla="*/ 15 w 99"/>
                  <a:gd name="T9" fmla="*/ 55 h 91"/>
                  <a:gd name="T10" fmla="*/ 15 w 99"/>
                  <a:gd name="T11" fmla="*/ 55 h 91"/>
                  <a:gd name="T12" fmla="*/ 19 w 99"/>
                  <a:gd name="T13" fmla="*/ 56 h 91"/>
                  <a:gd name="T14" fmla="*/ 34 w 99"/>
                  <a:gd name="T15" fmla="*/ 46 h 91"/>
                  <a:gd name="T16" fmla="*/ 35 w 99"/>
                  <a:gd name="T17" fmla="*/ 35 h 91"/>
                  <a:gd name="T18" fmla="*/ 37 w 99"/>
                  <a:gd name="T19" fmla="*/ 11 h 91"/>
                  <a:gd name="T20" fmla="*/ 38 w 99"/>
                  <a:gd name="T21" fmla="*/ 4 h 91"/>
                  <a:gd name="T22" fmla="*/ 38 w 99"/>
                  <a:gd name="T23" fmla="*/ 4 h 91"/>
                  <a:gd name="T24" fmla="*/ 66 w 99"/>
                  <a:gd name="T25" fmla="*/ 32 h 91"/>
                  <a:gd name="T26" fmla="*/ 73 w 99"/>
                  <a:gd name="T27" fmla="*/ 29 h 91"/>
                  <a:gd name="T28" fmla="*/ 71 w 99"/>
                  <a:gd name="T29" fmla="*/ 27 h 91"/>
                  <a:gd name="T30" fmla="*/ 84 w 99"/>
                  <a:gd name="T31" fmla="*/ 33 h 91"/>
                  <a:gd name="T32" fmla="*/ 86 w 99"/>
                  <a:gd name="T33" fmla="*/ 32 h 91"/>
                  <a:gd name="T34" fmla="*/ 84 w 99"/>
                  <a:gd name="T35" fmla="*/ 35 h 91"/>
                  <a:gd name="T36" fmla="*/ 87 w 99"/>
                  <a:gd name="T37" fmla="*/ 48 h 91"/>
                  <a:gd name="T38" fmla="*/ 96 w 99"/>
                  <a:gd name="T39" fmla="*/ 48 h 91"/>
                  <a:gd name="T40" fmla="*/ 95 w 99"/>
                  <a:gd name="T41" fmla="*/ 48 h 91"/>
                  <a:gd name="T42" fmla="*/ 96 w 99"/>
                  <a:gd name="T43" fmla="*/ 46 h 91"/>
                  <a:gd name="T44" fmla="*/ 61 w 99"/>
                  <a:gd name="T45" fmla="*/ 62 h 91"/>
                  <a:gd name="T46" fmla="*/ 57 w 99"/>
                  <a:gd name="T47" fmla="*/ 77 h 91"/>
                  <a:gd name="T48" fmla="*/ 57 w 99"/>
                  <a:gd name="T49" fmla="*/ 77 h 91"/>
                  <a:gd name="T50" fmla="*/ 41 w 99"/>
                  <a:gd name="T51" fmla="*/ 65 h 91"/>
                  <a:gd name="T52" fmla="*/ 34 w 99"/>
                  <a:gd name="T53" fmla="*/ 62 h 91"/>
                  <a:gd name="T54" fmla="*/ 21 w 99"/>
                  <a:gd name="T55" fmla="*/ 69 h 91"/>
                  <a:gd name="T56" fmla="*/ 21 w 99"/>
                  <a:gd name="T57" fmla="*/ 71 h 91"/>
                  <a:gd name="T58" fmla="*/ 18 w 99"/>
                  <a:gd name="T59" fmla="*/ 62 h 91"/>
                  <a:gd name="T60" fmla="*/ 9 w 99"/>
                  <a:gd name="T61" fmla="*/ 72 h 91"/>
                  <a:gd name="T62" fmla="*/ 22 w 99"/>
                  <a:gd name="T63" fmla="*/ 79 h 91"/>
                  <a:gd name="T64" fmla="*/ 19 w 99"/>
                  <a:gd name="T65" fmla="*/ 78 h 91"/>
                  <a:gd name="T66" fmla="*/ 19 w 99"/>
                  <a:gd name="T67" fmla="*/ 85 h 91"/>
                  <a:gd name="T68" fmla="*/ 25 w 99"/>
                  <a:gd name="T69" fmla="*/ 75 h 91"/>
                  <a:gd name="T70" fmla="*/ 13 w 99"/>
                  <a:gd name="T71" fmla="*/ 71 h 91"/>
                  <a:gd name="T72" fmla="*/ 15 w 99"/>
                  <a:gd name="T73" fmla="*/ 66 h 91"/>
                  <a:gd name="T74" fmla="*/ 15 w 99"/>
                  <a:gd name="T75" fmla="*/ 66 h 91"/>
                  <a:gd name="T76" fmla="*/ 18 w 99"/>
                  <a:gd name="T77" fmla="*/ 72 h 91"/>
                  <a:gd name="T78" fmla="*/ 31 w 99"/>
                  <a:gd name="T79" fmla="*/ 66 h 91"/>
                  <a:gd name="T80" fmla="*/ 31 w 99"/>
                  <a:gd name="T81" fmla="*/ 66 h 91"/>
                  <a:gd name="T82" fmla="*/ 41 w 99"/>
                  <a:gd name="T83" fmla="*/ 71 h 91"/>
                  <a:gd name="T84" fmla="*/ 57 w 99"/>
                  <a:gd name="T85" fmla="*/ 81 h 91"/>
                  <a:gd name="T86" fmla="*/ 77 w 99"/>
                  <a:gd name="T87" fmla="*/ 56 h 91"/>
                  <a:gd name="T88" fmla="*/ 99 w 99"/>
                  <a:gd name="T89" fmla="*/ 48 h 91"/>
                  <a:gd name="T90" fmla="*/ 90 w 99"/>
                  <a:gd name="T91" fmla="*/ 45 h 91"/>
                  <a:gd name="T92" fmla="*/ 92 w 99"/>
                  <a:gd name="T93" fmla="*/ 45 h 91"/>
                  <a:gd name="T94" fmla="*/ 90 w 99"/>
                  <a:gd name="T95" fmla="*/ 30 h 91"/>
                  <a:gd name="T96" fmla="*/ 79 w 99"/>
                  <a:gd name="T97" fmla="*/ 30 h 91"/>
                  <a:gd name="T98" fmla="*/ 77 w 99"/>
                  <a:gd name="T99" fmla="*/ 30 h 91"/>
                  <a:gd name="T100" fmla="*/ 71 w 99"/>
                  <a:gd name="T101" fmla="*/ 24 h 91"/>
                  <a:gd name="T102" fmla="*/ 47 w 99"/>
                  <a:gd name="T103" fmla="*/ 8 h 91"/>
                  <a:gd name="T104" fmla="*/ 31 w 99"/>
                  <a:gd name="T105" fmla="*/ 6 h 91"/>
                  <a:gd name="T106" fmla="*/ 32 w 99"/>
                  <a:gd name="T107" fmla="*/ 20 h 91"/>
                  <a:gd name="T108" fmla="*/ 32 w 99"/>
                  <a:gd name="T109" fmla="*/ 32 h 91"/>
                  <a:gd name="T110" fmla="*/ 26 w 99"/>
                  <a:gd name="T111" fmla="*/ 50 h 91"/>
                  <a:gd name="T112" fmla="*/ 24 w 99"/>
                  <a:gd name="T113" fmla="*/ 53 h 91"/>
                  <a:gd name="T114" fmla="*/ 11 w 99"/>
                  <a:gd name="T115" fmla="*/ 56 h 91"/>
                  <a:gd name="T116" fmla="*/ 5 w 99"/>
                  <a:gd name="T117" fmla="*/ 79 h 91"/>
                  <a:gd name="T118" fmla="*/ 5 w 99"/>
                  <a:gd name="T119" fmla="*/ 79 h 91"/>
                  <a:gd name="T120" fmla="*/ 5 w 99"/>
                  <a:gd name="T121" fmla="*/ 78 h 91"/>
                  <a:gd name="T122" fmla="*/ 9 w 99"/>
                  <a:gd name="T123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9" h="91">
                    <a:moveTo>
                      <a:pt x="16" y="84"/>
                    </a:moveTo>
                    <a:lnTo>
                      <a:pt x="15" y="81"/>
                    </a:lnTo>
                    <a:lnTo>
                      <a:pt x="15" y="81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9" y="88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9" y="88"/>
                    </a:lnTo>
                    <a:lnTo>
                      <a:pt x="9" y="87"/>
                    </a:lnTo>
                    <a:lnTo>
                      <a:pt x="9" y="88"/>
                    </a:lnTo>
                    <a:lnTo>
                      <a:pt x="11" y="87"/>
                    </a:lnTo>
                    <a:lnTo>
                      <a:pt x="9" y="87"/>
                    </a:lnTo>
                    <a:lnTo>
                      <a:pt x="9" y="88"/>
                    </a:lnTo>
                    <a:lnTo>
                      <a:pt x="11" y="87"/>
                    </a:lnTo>
                    <a:lnTo>
                      <a:pt x="11" y="87"/>
                    </a:lnTo>
                    <a:lnTo>
                      <a:pt x="8" y="85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8" y="82"/>
                    </a:lnTo>
                    <a:lnTo>
                      <a:pt x="8" y="82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11" y="79"/>
                    </a:lnTo>
                    <a:lnTo>
                      <a:pt x="11" y="79"/>
                    </a:lnTo>
                    <a:lnTo>
                      <a:pt x="9" y="77"/>
                    </a:lnTo>
                    <a:lnTo>
                      <a:pt x="9" y="77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6" y="68"/>
                    </a:lnTo>
                    <a:lnTo>
                      <a:pt x="6" y="68"/>
                    </a:lnTo>
                    <a:lnTo>
                      <a:pt x="6" y="68"/>
                    </a:lnTo>
                    <a:lnTo>
                      <a:pt x="9" y="65"/>
                    </a:lnTo>
                    <a:lnTo>
                      <a:pt x="9" y="65"/>
                    </a:lnTo>
                    <a:lnTo>
                      <a:pt x="13" y="61"/>
                    </a:lnTo>
                    <a:lnTo>
                      <a:pt x="13" y="61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6" y="55"/>
                    </a:lnTo>
                    <a:lnTo>
                      <a:pt x="16" y="55"/>
                    </a:lnTo>
                    <a:lnTo>
                      <a:pt x="15" y="55"/>
                    </a:lnTo>
                    <a:lnTo>
                      <a:pt x="16" y="55"/>
                    </a:lnTo>
                    <a:lnTo>
                      <a:pt x="16" y="55"/>
                    </a:lnTo>
                    <a:lnTo>
                      <a:pt x="15" y="55"/>
                    </a:lnTo>
                    <a:lnTo>
                      <a:pt x="16" y="55"/>
                    </a:lnTo>
                    <a:lnTo>
                      <a:pt x="15" y="53"/>
                    </a:lnTo>
                    <a:lnTo>
                      <a:pt x="15" y="55"/>
                    </a:lnTo>
                    <a:lnTo>
                      <a:pt x="16" y="55"/>
                    </a:lnTo>
                    <a:lnTo>
                      <a:pt x="15" y="53"/>
                    </a:lnTo>
                    <a:lnTo>
                      <a:pt x="15" y="55"/>
                    </a:lnTo>
                    <a:lnTo>
                      <a:pt x="15" y="55"/>
                    </a:lnTo>
                    <a:lnTo>
                      <a:pt x="15" y="55"/>
                    </a:lnTo>
                    <a:lnTo>
                      <a:pt x="15" y="55"/>
                    </a:lnTo>
                    <a:lnTo>
                      <a:pt x="15" y="55"/>
                    </a:lnTo>
                    <a:lnTo>
                      <a:pt x="15" y="55"/>
                    </a:lnTo>
                    <a:lnTo>
                      <a:pt x="15" y="55"/>
                    </a:lnTo>
                    <a:lnTo>
                      <a:pt x="15" y="55"/>
                    </a:lnTo>
                    <a:lnTo>
                      <a:pt x="15" y="55"/>
                    </a:lnTo>
                    <a:lnTo>
                      <a:pt x="15" y="55"/>
                    </a:lnTo>
                    <a:lnTo>
                      <a:pt x="15" y="55"/>
                    </a:lnTo>
                    <a:lnTo>
                      <a:pt x="15" y="55"/>
                    </a:lnTo>
                    <a:lnTo>
                      <a:pt x="15" y="55"/>
                    </a:lnTo>
                    <a:lnTo>
                      <a:pt x="19" y="56"/>
                    </a:lnTo>
                    <a:lnTo>
                      <a:pt x="19" y="56"/>
                    </a:lnTo>
                    <a:lnTo>
                      <a:pt x="22" y="58"/>
                    </a:lnTo>
                    <a:lnTo>
                      <a:pt x="22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6" y="58"/>
                    </a:lnTo>
                    <a:lnTo>
                      <a:pt x="26" y="58"/>
                    </a:lnTo>
                    <a:lnTo>
                      <a:pt x="31" y="53"/>
                    </a:lnTo>
                    <a:lnTo>
                      <a:pt x="31" y="53"/>
                    </a:lnTo>
                    <a:lnTo>
                      <a:pt x="32" y="50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2" y="45"/>
                    </a:lnTo>
                    <a:lnTo>
                      <a:pt x="32" y="45"/>
                    </a:lnTo>
                    <a:lnTo>
                      <a:pt x="32" y="43"/>
                    </a:lnTo>
                    <a:lnTo>
                      <a:pt x="32" y="43"/>
                    </a:lnTo>
                    <a:lnTo>
                      <a:pt x="34" y="39"/>
                    </a:lnTo>
                    <a:lnTo>
                      <a:pt x="34" y="39"/>
                    </a:lnTo>
                    <a:lnTo>
                      <a:pt x="35" y="36"/>
                    </a:lnTo>
                    <a:lnTo>
                      <a:pt x="35" y="36"/>
                    </a:lnTo>
                    <a:lnTo>
                      <a:pt x="35" y="35"/>
                    </a:lnTo>
                    <a:lnTo>
                      <a:pt x="35" y="35"/>
                    </a:lnTo>
                    <a:lnTo>
                      <a:pt x="37" y="33"/>
                    </a:lnTo>
                    <a:lnTo>
                      <a:pt x="37" y="33"/>
                    </a:lnTo>
                    <a:lnTo>
                      <a:pt x="37" y="27"/>
                    </a:lnTo>
                    <a:lnTo>
                      <a:pt x="37" y="27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7" y="13"/>
                    </a:lnTo>
                    <a:lnTo>
                      <a:pt x="37" y="13"/>
                    </a:lnTo>
                    <a:lnTo>
                      <a:pt x="37" y="11"/>
                    </a:lnTo>
                    <a:lnTo>
                      <a:pt x="37" y="11"/>
                    </a:lnTo>
                    <a:lnTo>
                      <a:pt x="35" y="8"/>
                    </a:lnTo>
                    <a:lnTo>
                      <a:pt x="35" y="8"/>
                    </a:lnTo>
                    <a:lnTo>
                      <a:pt x="37" y="7"/>
                    </a:lnTo>
                    <a:lnTo>
                      <a:pt x="37" y="7"/>
                    </a:lnTo>
                    <a:lnTo>
                      <a:pt x="38" y="6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3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3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11"/>
                    </a:lnTo>
                    <a:lnTo>
                      <a:pt x="42" y="11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8" y="27"/>
                    </a:lnTo>
                    <a:lnTo>
                      <a:pt x="58" y="27"/>
                    </a:lnTo>
                    <a:lnTo>
                      <a:pt x="61" y="30"/>
                    </a:lnTo>
                    <a:lnTo>
                      <a:pt x="61" y="30"/>
                    </a:lnTo>
                    <a:lnTo>
                      <a:pt x="66" y="32"/>
                    </a:lnTo>
                    <a:lnTo>
                      <a:pt x="67" y="30"/>
                    </a:lnTo>
                    <a:lnTo>
                      <a:pt x="67" y="30"/>
                    </a:lnTo>
                    <a:lnTo>
                      <a:pt x="71" y="30"/>
                    </a:lnTo>
                    <a:lnTo>
                      <a:pt x="71" y="30"/>
                    </a:lnTo>
                    <a:lnTo>
                      <a:pt x="73" y="29"/>
                    </a:lnTo>
                    <a:lnTo>
                      <a:pt x="73" y="29"/>
                    </a:lnTo>
                    <a:lnTo>
                      <a:pt x="73" y="29"/>
                    </a:lnTo>
                    <a:lnTo>
                      <a:pt x="73" y="29"/>
                    </a:lnTo>
                    <a:lnTo>
                      <a:pt x="73" y="29"/>
                    </a:lnTo>
                    <a:lnTo>
                      <a:pt x="73" y="29"/>
                    </a:lnTo>
                    <a:lnTo>
                      <a:pt x="73" y="29"/>
                    </a:lnTo>
                    <a:lnTo>
                      <a:pt x="73" y="29"/>
                    </a:lnTo>
                    <a:lnTo>
                      <a:pt x="73" y="27"/>
                    </a:lnTo>
                    <a:lnTo>
                      <a:pt x="73" y="29"/>
                    </a:lnTo>
                    <a:lnTo>
                      <a:pt x="73" y="29"/>
                    </a:lnTo>
                    <a:lnTo>
                      <a:pt x="73" y="27"/>
                    </a:lnTo>
                    <a:lnTo>
                      <a:pt x="73" y="29"/>
                    </a:lnTo>
                    <a:lnTo>
                      <a:pt x="73" y="27"/>
                    </a:lnTo>
                    <a:lnTo>
                      <a:pt x="71" y="27"/>
                    </a:lnTo>
                    <a:lnTo>
                      <a:pt x="73" y="29"/>
                    </a:lnTo>
                    <a:lnTo>
                      <a:pt x="73" y="27"/>
                    </a:lnTo>
                    <a:lnTo>
                      <a:pt x="71" y="27"/>
                    </a:lnTo>
                    <a:lnTo>
                      <a:pt x="71" y="27"/>
                    </a:lnTo>
                    <a:lnTo>
                      <a:pt x="73" y="32"/>
                    </a:lnTo>
                    <a:lnTo>
                      <a:pt x="73" y="32"/>
                    </a:lnTo>
                    <a:lnTo>
                      <a:pt x="73" y="35"/>
                    </a:lnTo>
                    <a:lnTo>
                      <a:pt x="73" y="35"/>
                    </a:lnTo>
                    <a:lnTo>
                      <a:pt x="77" y="36"/>
                    </a:lnTo>
                    <a:lnTo>
                      <a:pt x="77" y="36"/>
                    </a:lnTo>
                    <a:lnTo>
                      <a:pt x="80" y="35"/>
                    </a:lnTo>
                    <a:lnTo>
                      <a:pt x="80" y="35"/>
                    </a:lnTo>
                    <a:lnTo>
                      <a:pt x="84" y="33"/>
                    </a:lnTo>
                    <a:lnTo>
                      <a:pt x="84" y="33"/>
                    </a:lnTo>
                    <a:lnTo>
                      <a:pt x="87" y="32"/>
                    </a:lnTo>
                    <a:lnTo>
                      <a:pt x="87" y="32"/>
                    </a:lnTo>
                    <a:lnTo>
                      <a:pt x="87" y="32"/>
                    </a:lnTo>
                    <a:lnTo>
                      <a:pt x="87" y="32"/>
                    </a:lnTo>
                    <a:lnTo>
                      <a:pt x="87" y="32"/>
                    </a:lnTo>
                    <a:lnTo>
                      <a:pt x="87" y="32"/>
                    </a:lnTo>
                    <a:lnTo>
                      <a:pt x="87" y="32"/>
                    </a:lnTo>
                    <a:lnTo>
                      <a:pt x="87" y="32"/>
                    </a:lnTo>
                    <a:lnTo>
                      <a:pt x="87" y="30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7" y="32"/>
                    </a:lnTo>
                    <a:lnTo>
                      <a:pt x="87" y="30"/>
                    </a:lnTo>
                    <a:lnTo>
                      <a:pt x="86" y="32"/>
                    </a:lnTo>
                    <a:lnTo>
                      <a:pt x="87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6" y="32"/>
                    </a:lnTo>
                    <a:lnTo>
                      <a:pt x="87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4" y="35"/>
                    </a:lnTo>
                    <a:lnTo>
                      <a:pt x="84" y="35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6" y="39"/>
                    </a:lnTo>
                    <a:lnTo>
                      <a:pt x="86" y="39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5"/>
                    </a:lnTo>
                    <a:lnTo>
                      <a:pt x="86" y="45"/>
                    </a:lnTo>
                    <a:lnTo>
                      <a:pt x="87" y="48"/>
                    </a:lnTo>
                    <a:lnTo>
                      <a:pt x="87" y="48"/>
                    </a:lnTo>
                    <a:lnTo>
                      <a:pt x="89" y="49"/>
                    </a:lnTo>
                    <a:lnTo>
                      <a:pt x="90" y="49"/>
                    </a:lnTo>
                    <a:lnTo>
                      <a:pt x="90" y="49"/>
                    </a:lnTo>
                    <a:lnTo>
                      <a:pt x="93" y="49"/>
                    </a:lnTo>
                    <a:lnTo>
                      <a:pt x="93" y="49"/>
                    </a:lnTo>
                    <a:lnTo>
                      <a:pt x="95" y="49"/>
                    </a:lnTo>
                    <a:lnTo>
                      <a:pt x="96" y="49"/>
                    </a:lnTo>
                    <a:lnTo>
                      <a:pt x="96" y="48"/>
                    </a:lnTo>
                    <a:lnTo>
                      <a:pt x="95" y="49"/>
                    </a:lnTo>
                    <a:lnTo>
                      <a:pt x="96" y="49"/>
                    </a:lnTo>
                    <a:lnTo>
                      <a:pt x="96" y="48"/>
                    </a:lnTo>
                    <a:lnTo>
                      <a:pt x="95" y="49"/>
                    </a:lnTo>
                    <a:lnTo>
                      <a:pt x="96" y="48"/>
                    </a:lnTo>
                    <a:lnTo>
                      <a:pt x="95" y="48"/>
                    </a:lnTo>
                    <a:lnTo>
                      <a:pt x="95" y="48"/>
                    </a:lnTo>
                    <a:lnTo>
                      <a:pt x="95" y="49"/>
                    </a:lnTo>
                    <a:lnTo>
                      <a:pt x="96" y="48"/>
                    </a:lnTo>
                    <a:lnTo>
                      <a:pt x="95" y="48"/>
                    </a:lnTo>
                    <a:lnTo>
                      <a:pt x="96" y="48"/>
                    </a:lnTo>
                    <a:lnTo>
                      <a:pt x="95" y="46"/>
                    </a:lnTo>
                    <a:lnTo>
                      <a:pt x="95" y="46"/>
                    </a:lnTo>
                    <a:lnTo>
                      <a:pt x="95" y="48"/>
                    </a:lnTo>
                    <a:lnTo>
                      <a:pt x="96" y="48"/>
                    </a:lnTo>
                    <a:lnTo>
                      <a:pt x="95" y="46"/>
                    </a:lnTo>
                    <a:lnTo>
                      <a:pt x="95" y="46"/>
                    </a:lnTo>
                    <a:lnTo>
                      <a:pt x="95" y="46"/>
                    </a:lnTo>
                    <a:lnTo>
                      <a:pt x="95" y="46"/>
                    </a:lnTo>
                    <a:lnTo>
                      <a:pt x="95" y="46"/>
                    </a:lnTo>
                    <a:lnTo>
                      <a:pt x="95" y="46"/>
                    </a:lnTo>
                    <a:lnTo>
                      <a:pt x="96" y="46"/>
                    </a:lnTo>
                    <a:lnTo>
                      <a:pt x="95" y="46"/>
                    </a:lnTo>
                    <a:lnTo>
                      <a:pt x="95" y="46"/>
                    </a:lnTo>
                    <a:lnTo>
                      <a:pt x="96" y="46"/>
                    </a:lnTo>
                    <a:lnTo>
                      <a:pt x="95" y="46"/>
                    </a:lnTo>
                    <a:lnTo>
                      <a:pt x="95" y="46"/>
                    </a:lnTo>
                    <a:lnTo>
                      <a:pt x="92" y="46"/>
                    </a:lnTo>
                    <a:lnTo>
                      <a:pt x="92" y="46"/>
                    </a:lnTo>
                    <a:lnTo>
                      <a:pt x="83" y="49"/>
                    </a:lnTo>
                    <a:lnTo>
                      <a:pt x="83" y="49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0" y="55"/>
                    </a:lnTo>
                    <a:lnTo>
                      <a:pt x="66" y="58"/>
                    </a:lnTo>
                    <a:lnTo>
                      <a:pt x="61" y="62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57" y="74"/>
                    </a:lnTo>
                    <a:lnTo>
                      <a:pt x="57" y="74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7" y="75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7" y="75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7" y="75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8" y="77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8" y="77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0" y="71"/>
                    </a:lnTo>
                    <a:lnTo>
                      <a:pt x="50" y="71"/>
                    </a:lnTo>
                    <a:lnTo>
                      <a:pt x="45" y="66"/>
                    </a:lnTo>
                    <a:lnTo>
                      <a:pt x="45" y="66"/>
                    </a:lnTo>
                    <a:lnTo>
                      <a:pt x="41" y="65"/>
                    </a:lnTo>
                    <a:lnTo>
                      <a:pt x="40" y="65"/>
                    </a:lnTo>
                    <a:lnTo>
                      <a:pt x="40" y="68"/>
                    </a:lnTo>
                    <a:lnTo>
                      <a:pt x="40" y="65"/>
                    </a:lnTo>
                    <a:lnTo>
                      <a:pt x="40" y="65"/>
                    </a:lnTo>
                    <a:lnTo>
                      <a:pt x="40" y="65"/>
                    </a:lnTo>
                    <a:lnTo>
                      <a:pt x="38" y="65"/>
                    </a:lnTo>
                    <a:lnTo>
                      <a:pt x="38" y="65"/>
                    </a:lnTo>
                    <a:lnTo>
                      <a:pt x="35" y="64"/>
                    </a:lnTo>
                    <a:lnTo>
                      <a:pt x="35" y="64"/>
                    </a:lnTo>
                    <a:lnTo>
                      <a:pt x="34" y="62"/>
                    </a:lnTo>
                    <a:lnTo>
                      <a:pt x="34" y="62"/>
                    </a:lnTo>
                    <a:lnTo>
                      <a:pt x="31" y="62"/>
                    </a:lnTo>
                    <a:lnTo>
                      <a:pt x="31" y="62"/>
                    </a:lnTo>
                    <a:lnTo>
                      <a:pt x="29" y="62"/>
                    </a:lnTo>
                    <a:lnTo>
                      <a:pt x="29" y="62"/>
                    </a:lnTo>
                    <a:lnTo>
                      <a:pt x="29" y="62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1" y="69"/>
                    </a:lnTo>
                    <a:lnTo>
                      <a:pt x="21" y="69"/>
                    </a:lnTo>
                    <a:lnTo>
                      <a:pt x="21" y="71"/>
                    </a:lnTo>
                    <a:lnTo>
                      <a:pt x="21" y="69"/>
                    </a:lnTo>
                    <a:lnTo>
                      <a:pt x="21" y="69"/>
                    </a:lnTo>
                    <a:lnTo>
                      <a:pt x="21" y="71"/>
                    </a:lnTo>
                    <a:lnTo>
                      <a:pt x="21" y="69"/>
                    </a:lnTo>
                    <a:lnTo>
                      <a:pt x="21" y="71"/>
                    </a:lnTo>
                    <a:lnTo>
                      <a:pt x="22" y="69"/>
                    </a:lnTo>
                    <a:lnTo>
                      <a:pt x="21" y="69"/>
                    </a:lnTo>
                    <a:lnTo>
                      <a:pt x="21" y="71"/>
                    </a:lnTo>
                    <a:lnTo>
                      <a:pt x="22" y="69"/>
                    </a:lnTo>
                    <a:lnTo>
                      <a:pt x="21" y="71"/>
                    </a:lnTo>
                    <a:lnTo>
                      <a:pt x="24" y="71"/>
                    </a:lnTo>
                    <a:lnTo>
                      <a:pt x="22" y="69"/>
                    </a:lnTo>
                    <a:lnTo>
                      <a:pt x="21" y="71"/>
                    </a:lnTo>
                    <a:lnTo>
                      <a:pt x="24" y="71"/>
                    </a:lnTo>
                    <a:lnTo>
                      <a:pt x="24" y="71"/>
                    </a:lnTo>
                    <a:lnTo>
                      <a:pt x="24" y="71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19" y="64"/>
                    </a:lnTo>
                    <a:lnTo>
                      <a:pt x="19" y="64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5" y="62"/>
                    </a:lnTo>
                    <a:lnTo>
                      <a:pt x="13" y="62"/>
                    </a:lnTo>
                    <a:lnTo>
                      <a:pt x="13" y="62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9" y="66"/>
                    </a:lnTo>
                    <a:lnTo>
                      <a:pt x="9" y="66"/>
                    </a:lnTo>
                    <a:lnTo>
                      <a:pt x="9" y="71"/>
                    </a:lnTo>
                    <a:lnTo>
                      <a:pt x="9" y="71"/>
                    </a:lnTo>
                    <a:lnTo>
                      <a:pt x="9" y="72"/>
                    </a:lnTo>
                    <a:lnTo>
                      <a:pt x="9" y="72"/>
                    </a:lnTo>
                    <a:lnTo>
                      <a:pt x="12" y="75"/>
                    </a:lnTo>
                    <a:lnTo>
                      <a:pt x="12" y="75"/>
                    </a:lnTo>
                    <a:lnTo>
                      <a:pt x="15" y="77"/>
                    </a:lnTo>
                    <a:lnTo>
                      <a:pt x="19" y="77"/>
                    </a:lnTo>
                    <a:lnTo>
                      <a:pt x="19" y="77"/>
                    </a:lnTo>
                    <a:lnTo>
                      <a:pt x="21" y="78"/>
                    </a:lnTo>
                    <a:lnTo>
                      <a:pt x="21" y="78"/>
                    </a:lnTo>
                    <a:lnTo>
                      <a:pt x="21" y="78"/>
                    </a:lnTo>
                    <a:lnTo>
                      <a:pt x="21" y="79"/>
                    </a:lnTo>
                    <a:lnTo>
                      <a:pt x="22" y="79"/>
                    </a:lnTo>
                    <a:lnTo>
                      <a:pt x="22" y="78"/>
                    </a:lnTo>
                    <a:lnTo>
                      <a:pt x="21" y="79"/>
                    </a:lnTo>
                    <a:lnTo>
                      <a:pt x="22" y="79"/>
                    </a:lnTo>
                    <a:lnTo>
                      <a:pt x="22" y="78"/>
                    </a:lnTo>
                    <a:lnTo>
                      <a:pt x="22" y="79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2" y="79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19" y="78"/>
                    </a:lnTo>
                    <a:lnTo>
                      <a:pt x="18" y="79"/>
                    </a:lnTo>
                    <a:lnTo>
                      <a:pt x="18" y="79"/>
                    </a:lnTo>
                    <a:lnTo>
                      <a:pt x="15" y="81"/>
                    </a:lnTo>
                    <a:lnTo>
                      <a:pt x="15" y="81"/>
                    </a:lnTo>
                    <a:lnTo>
                      <a:pt x="15" y="81"/>
                    </a:lnTo>
                    <a:lnTo>
                      <a:pt x="15" y="81"/>
                    </a:lnTo>
                    <a:lnTo>
                      <a:pt x="16" y="84"/>
                    </a:lnTo>
                    <a:lnTo>
                      <a:pt x="16" y="87"/>
                    </a:lnTo>
                    <a:lnTo>
                      <a:pt x="16" y="87"/>
                    </a:lnTo>
                    <a:lnTo>
                      <a:pt x="19" y="85"/>
                    </a:lnTo>
                    <a:lnTo>
                      <a:pt x="19" y="85"/>
                    </a:lnTo>
                    <a:lnTo>
                      <a:pt x="21" y="84"/>
                    </a:lnTo>
                    <a:lnTo>
                      <a:pt x="21" y="84"/>
                    </a:lnTo>
                    <a:lnTo>
                      <a:pt x="22" y="82"/>
                    </a:lnTo>
                    <a:lnTo>
                      <a:pt x="22" y="82"/>
                    </a:lnTo>
                    <a:lnTo>
                      <a:pt x="25" y="81"/>
                    </a:lnTo>
                    <a:lnTo>
                      <a:pt x="25" y="81"/>
                    </a:lnTo>
                    <a:lnTo>
                      <a:pt x="26" y="79"/>
                    </a:lnTo>
                    <a:lnTo>
                      <a:pt x="26" y="79"/>
                    </a:lnTo>
                    <a:lnTo>
                      <a:pt x="26" y="77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22" y="72"/>
                    </a:lnTo>
                    <a:lnTo>
                      <a:pt x="21" y="72"/>
                    </a:lnTo>
                    <a:lnTo>
                      <a:pt x="21" y="72"/>
                    </a:lnTo>
                    <a:lnTo>
                      <a:pt x="13" y="71"/>
                    </a:lnTo>
                    <a:lnTo>
                      <a:pt x="13" y="71"/>
                    </a:lnTo>
                    <a:lnTo>
                      <a:pt x="13" y="71"/>
                    </a:lnTo>
                    <a:lnTo>
                      <a:pt x="13" y="71"/>
                    </a:lnTo>
                    <a:lnTo>
                      <a:pt x="13" y="71"/>
                    </a:lnTo>
                    <a:lnTo>
                      <a:pt x="13" y="71"/>
                    </a:lnTo>
                    <a:lnTo>
                      <a:pt x="13" y="71"/>
                    </a:lnTo>
                    <a:lnTo>
                      <a:pt x="13" y="71"/>
                    </a:lnTo>
                    <a:lnTo>
                      <a:pt x="13" y="71"/>
                    </a:lnTo>
                    <a:lnTo>
                      <a:pt x="13" y="71"/>
                    </a:lnTo>
                    <a:lnTo>
                      <a:pt x="13" y="71"/>
                    </a:lnTo>
                    <a:lnTo>
                      <a:pt x="13" y="71"/>
                    </a:lnTo>
                    <a:lnTo>
                      <a:pt x="13" y="71"/>
                    </a:lnTo>
                    <a:lnTo>
                      <a:pt x="15" y="68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5" y="65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5" y="65"/>
                    </a:lnTo>
                    <a:lnTo>
                      <a:pt x="15" y="66"/>
                    </a:lnTo>
                    <a:lnTo>
                      <a:pt x="15" y="65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5" y="65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6" y="69"/>
                    </a:lnTo>
                    <a:lnTo>
                      <a:pt x="16" y="69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9" y="74"/>
                    </a:lnTo>
                    <a:lnTo>
                      <a:pt x="19" y="74"/>
                    </a:lnTo>
                    <a:lnTo>
                      <a:pt x="21" y="74"/>
                    </a:lnTo>
                    <a:lnTo>
                      <a:pt x="21" y="74"/>
                    </a:lnTo>
                    <a:lnTo>
                      <a:pt x="24" y="74"/>
                    </a:lnTo>
                    <a:lnTo>
                      <a:pt x="24" y="74"/>
                    </a:lnTo>
                    <a:lnTo>
                      <a:pt x="28" y="69"/>
                    </a:lnTo>
                    <a:lnTo>
                      <a:pt x="28" y="69"/>
                    </a:lnTo>
                    <a:lnTo>
                      <a:pt x="31" y="68"/>
                    </a:lnTo>
                    <a:lnTo>
                      <a:pt x="31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1" y="65"/>
                    </a:lnTo>
                    <a:lnTo>
                      <a:pt x="31" y="66"/>
                    </a:lnTo>
                    <a:lnTo>
                      <a:pt x="32" y="66"/>
                    </a:lnTo>
                    <a:lnTo>
                      <a:pt x="31" y="65"/>
                    </a:lnTo>
                    <a:lnTo>
                      <a:pt x="31" y="66"/>
                    </a:lnTo>
                    <a:lnTo>
                      <a:pt x="31" y="66"/>
                    </a:lnTo>
                    <a:lnTo>
                      <a:pt x="31" y="66"/>
                    </a:lnTo>
                    <a:lnTo>
                      <a:pt x="31" y="66"/>
                    </a:lnTo>
                    <a:lnTo>
                      <a:pt x="31" y="66"/>
                    </a:lnTo>
                    <a:lnTo>
                      <a:pt x="31" y="66"/>
                    </a:lnTo>
                    <a:lnTo>
                      <a:pt x="31" y="66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5" y="69"/>
                    </a:lnTo>
                    <a:lnTo>
                      <a:pt x="35" y="69"/>
                    </a:lnTo>
                    <a:lnTo>
                      <a:pt x="40" y="71"/>
                    </a:lnTo>
                    <a:lnTo>
                      <a:pt x="41" y="71"/>
                    </a:lnTo>
                    <a:lnTo>
                      <a:pt x="41" y="71"/>
                    </a:lnTo>
                    <a:lnTo>
                      <a:pt x="41" y="69"/>
                    </a:lnTo>
                    <a:lnTo>
                      <a:pt x="41" y="71"/>
                    </a:lnTo>
                    <a:lnTo>
                      <a:pt x="41" y="71"/>
                    </a:lnTo>
                    <a:lnTo>
                      <a:pt x="41" y="69"/>
                    </a:lnTo>
                    <a:lnTo>
                      <a:pt x="41" y="71"/>
                    </a:lnTo>
                    <a:lnTo>
                      <a:pt x="41" y="71"/>
                    </a:lnTo>
                    <a:lnTo>
                      <a:pt x="41" y="71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54" y="79"/>
                    </a:lnTo>
                    <a:lnTo>
                      <a:pt x="54" y="79"/>
                    </a:lnTo>
                    <a:lnTo>
                      <a:pt x="57" y="81"/>
                    </a:lnTo>
                    <a:lnTo>
                      <a:pt x="57" y="81"/>
                    </a:lnTo>
                    <a:lnTo>
                      <a:pt x="60" y="79"/>
                    </a:lnTo>
                    <a:lnTo>
                      <a:pt x="60" y="79"/>
                    </a:lnTo>
                    <a:lnTo>
                      <a:pt x="61" y="78"/>
                    </a:lnTo>
                    <a:lnTo>
                      <a:pt x="61" y="78"/>
                    </a:lnTo>
                    <a:lnTo>
                      <a:pt x="63" y="74"/>
                    </a:lnTo>
                    <a:lnTo>
                      <a:pt x="63" y="74"/>
                    </a:lnTo>
                    <a:lnTo>
                      <a:pt x="64" y="69"/>
                    </a:lnTo>
                    <a:lnTo>
                      <a:pt x="64" y="69"/>
                    </a:lnTo>
                    <a:lnTo>
                      <a:pt x="66" y="65"/>
                    </a:lnTo>
                    <a:lnTo>
                      <a:pt x="68" y="62"/>
                    </a:lnTo>
                    <a:lnTo>
                      <a:pt x="77" y="56"/>
                    </a:lnTo>
                    <a:lnTo>
                      <a:pt x="77" y="56"/>
                    </a:lnTo>
                    <a:lnTo>
                      <a:pt x="89" y="53"/>
                    </a:lnTo>
                    <a:lnTo>
                      <a:pt x="89" y="53"/>
                    </a:lnTo>
                    <a:lnTo>
                      <a:pt x="95" y="52"/>
                    </a:lnTo>
                    <a:lnTo>
                      <a:pt x="95" y="52"/>
                    </a:lnTo>
                    <a:lnTo>
                      <a:pt x="96" y="50"/>
                    </a:lnTo>
                    <a:lnTo>
                      <a:pt x="96" y="50"/>
                    </a:lnTo>
                    <a:lnTo>
                      <a:pt x="97" y="49"/>
                    </a:lnTo>
                    <a:lnTo>
                      <a:pt x="99" y="49"/>
                    </a:lnTo>
                    <a:lnTo>
                      <a:pt x="99" y="49"/>
                    </a:lnTo>
                    <a:lnTo>
                      <a:pt x="99" y="48"/>
                    </a:lnTo>
                    <a:lnTo>
                      <a:pt x="99" y="48"/>
                    </a:lnTo>
                    <a:lnTo>
                      <a:pt x="99" y="46"/>
                    </a:lnTo>
                    <a:lnTo>
                      <a:pt x="99" y="46"/>
                    </a:lnTo>
                    <a:lnTo>
                      <a:pt x="97" y="45"/>
                    </a:lnTo>
                    <a:lnTo>
                      <a:pt x="97" y="45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3" y="43"/>
                    </a:lnTo>
                    <a:lnTo>
                      <a:pt x="93" y="43"/>
                    </a:lnTo>
                    <a:lnTo>
                      <a:pt x="90" y="43"/>
                    </a:lnTo>
                    <a:lnTo>
                      <a:pt x="90" y="45"/>
                    </a:lnTo>
                    <a:lnTo>
                      <a:pt x="92" y="45"/>
                    </a:lnTo>
                    <a:lnTo>
                      <a:pt x="90" y="43"/>
                    </a:lnTo>
                    <a:lnTo>
                      <a:pt x="90" y="45"/>
                    </a:lnTo>
                    <a:lnTo>
                      <a:pt x="92" y="45"/>
                    </a:lnTo>
                    <a:lnTo>
                      <a:pt x="92" y="45"/>
                    </a:lnTo>
                    <a:lnTo>
                      <a:pt x="92" y="45"/>
                    </a:lnTo>
                    <a:lnTo>
                      <a:pt x="92" y="45"/>
                    </a:lnTo>
                    <a:lnTo>
                      <a:pt x="92" y="45"/>
                    </a:lnTo>
                    <a:lnTo>
                      <a:pt x="92" y="45"/>
                    </a:lnTo>
                    <a:lnTo>
                      <a:pt x="92" y="45"/>
                    </a:lnTo>
                    <a:lnTo>
                      <a:pt x="92" y="45"/>
                    </a:lnTo>
                    <a:lnTo>
                      <a:pt x="90" y="42"/>
                    </a:lnTo>
                    <a:lnTo>
                      <a:pt x="90" y="42"/>
                    </a:lnTo>
                    <a:lnTo>
                      <a:pt x="90" y="39"/>
                    </a:lnTo>
                    <a:lnTo>
                      <a:pt x="90" y="39"/>
                    </a:lnTo>
                    <a:lnTo>
                      <a:pt x="90" y="37"/>
                    </a:lnTo>
                    <a:lnTo>
                      <a:pt x="90" y="37"/>
                    </a:lnTo>
                    <a:lnTo>
                      <a:pt x="90" y="36"/>
                    </a:lnTo>
                    <a:lnTo>
                      <a:pt x="90" y="36"/>
                    </a:lnTo>
                    <a:lnTo>
                      <a:pt x="90" y="35"/>
                    </a:lnTo>
                    <a:lnTo>
                      <a:pt x="90" y="35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89" y="27"/>
                    </a:lnTo>
                    <a:lnTo>
                      <a:pt x="89" y="27"/>
                    </a:lnTo>
                    <a:lnTo>
                      <a:pt x="87" y="27"/>
                    </a:lnTo>
                    <a:lnTo>
                      <a:pt x="87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0" y="29"/>
                    </a:lnTo>
                    <a:lnTo>
                      <a:pt x="80" y="29"/>
                    </a:lnTo>
                    <a:lnTo>
                      <a:pt x="79" y="30"/>
                    </a:lnTo>
                    <a:lnTo>
                      <a:pt x="79" y="30"/>
                    </a:lnTo>
                    <a:lnTo>
                      <a:pt x="77" y="30"/>
                    </a:lnTo>
                    <a:lnTo>
                      <a:pt x="77" y="30"/>
                    </a:lnTo>
                    <a:lnTo>
                      <a:pt x="77" y="32"/>
                    </a:lnTo>
                    <a:lnTo>
                      <a:pt x="77" y="30"/>
                    </a:lnTo>
                    <a:lnTo>
                      <a:pt x="77" y="30"/>
                    </a:lnTo>
                    <a:lnTo>
                      <a:pt x="77" y="32"/>
                    </a:lnTo>
                    <a:lnTo>
                      <a:pt x="77" y="30"/>
                    </a:lnTo>
                    <a:lnTo>
                      <a:pt x="77" y="30"/>
                    </a:lnTo>
                    <a:lnTo>
                      <a:pt x="77" y="30"/>
                    </a:lnTo>
                    <a:lnTo>
                      <a:pt x="77" y="30"/>
                    </a:lnTo>
                    <a:lnTo>
                      <a:pt x="77" y="30"/>
                    </a:lnTo>
                    <a:lnTo>
                      <a:pt x="77" y="30"/>
                    </a:lnTo>
                    <a:lnTo>
                      <a:pt x="77" y="30"/>
                    </a:lnTo>
                    <a:lnTo>
                      <a:pt x="77" y="30"/>
                    </a:lnTo>
                    <a:lnTo>
                      <a:pt x="77" y="26"/>
                    </a:lnTo>
                    <a:lnTo>
                      <a:pt x="77" y="26"/>
                    </a:lnTo>
                    <a:lnTo>
                      <a:pt x="76" y="24"/>
                    </a:lnTo>
                    <a:lnTo>
                      <a:pt x="76" y="24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1" y="24"/>
                    </a:lnTo>
                    <a:lnTo>
                      <a:pt x="71" y="24"/>
                    </a:lnTo>
                    <a:lnTo>
                      <a:pt x="66" y="26"/>
                    </a:lnTo>
                    <a:lnTo>
                      <a:pt x="67" y="26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58" y="22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47" y="8"/>
                    </a:lnTo>
                    <a:lnTo>
                      <a:pt x="47" y="8"/>
                    </a:lnTo>
                    <a:lnTo>
                      <a:pt x="42" y="3"/>
                    </a:lnTo>
                    <a:lnTo>
                      <a:pt x="42" y="3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5" y="1"/>
                    </a:lnTo>
                    <a:lnTo>
                      <a:pt x="35" y="1"/>
                    </a:lnTo>
                    <a:lnTo>
                      <a:pt x="34" y="3"/>
                    </a:lnTo>
                    <a:lnTo>
                      <a:pt x="34" y="3"/>
                    </a:lnTo>
                    <a:lnTo>
                      <a:pt x="31" y="6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2" y="14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2" y="14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9"/>
                    </a:lnTo>
                    <a:lnTo>
                      <a:pt x="32" y="29"/>
                    </a:lnTo>
                    <a:lnTo>
                      <a:pt x="32" y="32"/>
                    </a:lnTo>
                    <a:lnTo>
                      <a:pt x="31" y="32"/>
                    </a:lnTo>
                    <a:lnTo>
                      <a:pt x="31" y="32"/>
                    </a:lnTo>
                    <a:lnTo>
                      <a:pt x="32" y="33"/>
                    </a:lnTo>
                    <a:lnTo>
                      <a:pt x="32" y="32"/>
                    </a:lnTo>
                    <a:lnTo>
                      <a:pt x="31" y="32"/>
                    </a:lnTo>
                    <a:lnTo>
                      <a:pt x="32" y="33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1" y="35"/>
                    </a:lnTo>
                    <a:lnTo>
                      <a:pt x="31" y="35"/>
                    </a:lnTo>
                    <a:lnTo>
                      <a:pt x="28" y="39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4" y="53"/>
                    </a:lnTo>
                    <a:lnTo>
                      <a:pt x="24" y="55"/>
                    </a:lnTo>
                    <a:lnTo>
                      <a:pt x="24" y="53"/>
                    </a:lnTo>
                    <a:lnTo>
                      <a:pt x="24" y="53"/>
                    </a:lnTo>
                    <a:lnTo>
                      <a:pt x="24" y="55"/>
                    </a:lnTo>
                    <a:lnTo>
                      <a:pt x="24" y="53"/>
                    </a:lnTo>
                    <a:lnTo>
                      <a:pt x="24" y="53"/>
                    </a:lnTo>
                    <a:lnTo>
                      <a:pt x="24" y="53"/>
                    </a:lnTo>
                    <a:lnTo>
                      <a:pt x="24" y="53"/>
                    </a:lnTo>
                    <a:lnTo>
                      <a:pt x="24" y="53"/>
                    </a:lnTo>
                    <a:lnTo>
                      <a:pt x="24" y="53"/>
                    </a:lnTo>
                    <a:lnTo>
                      <a:pt x="21" y="52"/>
                    </a:lnTo>
                    <a:lnTo>
                      <a:pt x="21" y="52"/>
                    </a:lnTo>
                    <a:lnTo>
                      <a:pt x="16" y="50"/>
                    </a:lnTo>
                    <a:lnTo>
                      <a:pt x="15" y="50"/>
                    </a:lnTo>
                    <a:lnTo>
                      <a:pt x="15" y="50"/>
                    </a:lnTo>
                    <a:lnTo>
                      <a:pt x="13" y="50"/>
                    </a:lnTo>
                    <a:lnTo>
                      <a:pt x="13" y="50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11" y="56"/>
                    </a:lnTo>
                    <a:lnTo>
                      <a:pt x="11" y="56"/>
                    </a:lnTo>
                    <a:lnTo>
                      <a:pt x="11" y="58"/>
                    </a:lnTo>
                    <a:lnTo>
                      <a:pt x="11" y="58"/>
                    </a:lnTo>
                    <a:lnTo>
                      <a:pt x="6" y="61"/>
                    </a:lnTo>
                    <a:lnTo>
                      <a:pt x="6" y="61"/>
                    </a:lnTo>
                    <a:lnTo>
                      <a:pt x="3" y="62"/>
                    </a:lnTo>
                    <a:lnTo>
                      <a:pt x="2" y="66"/>
                    </a:lnTo>
                    <a:lnTo>
                      <a:pt x="2" y="66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2" y="74"/>
                    </a:lnTo>
                    <a:lnTo>
                      <a:pt x="5" y="79"/>
                    </a:lnTo>
                    <a:lnTo>
                      <a:pt x="5" y="79"/>
                    </a:lnTo>
                    <a:lnTo>
                      <a:pt x="6" y="79"/>
                    </a:lnTo>
                    <a:lnTo>
                      <a:pt x="5" y="79"/>
                    </a:lnTo>
                    <a:lnTo>
                      <a:pt x="5" y="79"/>
                    </a:lnTo>
                    <a:lnTo>
                      <a:pt x="6" y="79"/>
                    </a:lnTo>
                    <a:lnTo>
                      <a:pt x="5" y="79"/>
                    </a:lnTo>
                    <a:lnTo>
                      <a:pt x="6" y="79"/>
                    </a:lnTo>
                    <a:lnTo>
                      <a:pt x="5" y="79"/>
                    </a:lnTo>
                    <a:lnTo>
                      <a:pt x="5" y="79"/>
                    </a:lnTo>
                    <a:lnTo>
                      <a:pt x="6" y="79"/>
                    </a:lnTo>
                    <a:lnTo>
                      <a:pt x="5" y="79"/>
                    </a:lnTo>
                    <a:lnTo>
                      <a:pt x="6" y="79"/>
                    </a:lnTo>
                    <a:lnTo>
                      <a:pt x="6" y="78"/>
                    </a:lnTo>
                    <a:lnTo>
                      <a:pt x="5" y="79"/>
                    </a:lnTo>
                    <a:lnTo>
                      <a:pt x="6" y="79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5" y="78"/>
                    </a:lnTo>
                    <a:lnTo>
                      <a:pt x="5" y="78"/>
                    </a:lnTo>
                    <a:lnTo>
                      <a:pt x="3" y="81"/>
                    </a:lnTo>
                    <a:lnTo>
                      <a:pt x="3" y="81"/>
                    </a:lnTo>
                    <a:lnTo>
                      <a:pt x="2" y="84"/>
                    </a:lnTo>
                    <a:lnTo>
                      <a:pt x="2" y="84"/>
                    </a:lnTo>
                    <a:lnTo>
                      <a:pt x="3" y="85"/>
                    </a:lnTo>
                    <a:lnTo>
                      <a:pt x="3" y="88"/>
                    </a:lnTo>
                    <a:lnTo>
                      <a:pt x="3" y="88"/>
                    </a:lnTo>
                    <a:lnTo>
                      <a:pt x="6" y="91"/>
                    </a:lnTo>
                    <a:lnTo>
                      <a:pt x="6" y="91"/>
                    </a:lnTo>
                    <a:lnTo>
                      <a:pt x="9" y="91"/>
                    </a:lnTo>
                    <a:lnTo>
                      <a:pt x="9" y="91"/>
                    </a:lnTo>
                    <a:lnTo>
                      <a:pt x="12" y="91"/>
                    </a:lnTo>
                    <a:lnTo>
                      <a:pt x="12" y="91"/>
                    </a:lnTo>
                    <a:lnTo>
                      <a:pt x="15" y="88"/>
                    </a:lnTo>
                    <a:lnTo>
                      <a:pt x="15" y="88"/>
                    </a:lnTo>
                    <a:lnTo>
                      <a:pt x="16" y="87"/>
                    </a:lnTo>
                    <a:lnTo>
                      <a:pt x="16" y="8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44" name="Freeform 1299"/>
              <p:cNvSpPr>
                <a:spLocks/>
              </p:cNvSpPr>
              <p:nvPr/>
            </p:nvSpPr>
            <p:spPr bwMode="auto">
              <a:xfrm>
                <a:off x="6389269" y="3127200"/>
                <a:ext cx="19785" cy="37592"/>
              </a:xfrm>
              <a:custGeom>
                <a:avLst/>
                <a:gdLst>
                  <a:gd name="T0" fmla="*/ 12 w 20"/>
                  <a:gd name="T1" fmla="*/ 0 h 38"/>
                  <a:gd name="T2" fmla="*/ 12 w 20"/>
                  <a:gd name="T3" fmla="*/ 0 h 38"/>
                  <a:gd name="T4" fmla="*/ 9 w 20"/>
                  <a:gd name="T5" fmla="*/ 0 h 38"/>
                  <a:gd name="T6" fmla="*/ 6 w 20"/>
                  <a:gd name="T7" fmla="*/ 1 h 38"/>
                  <a:gd name="T8" fmla="*/ 5 w 20"/>
                  <a:gd name="T9" fmla="*/ 3 h 38"/>
                  <a:gd name="T10" fmla="*/ 3 w 20"/>
                  <a:gd name="T11" fmla="*/ 3 h 38"/>
                  <a:gd name="T12" fmla="*/ 3 w 20"/>
                  <a:gd name="T13" fmla="*/ 3 h 38"/>
                  <a:gd name="T14" fmla="*/ 0 w 20"/>
                  <a:gd name="T15" fmla="*/ 4 h 38"/>
                  <a:gd name="T16" fmla="*/ 3 w 20"/>
                  <a:gd name="T17" fmla="*/ 7 h 38"/>
                  <a:gd name="T18" fmla="*/ 3 w 20"/>
                  <a:gd name="T19" fmla="*/ 7 h 38"/>
                  <a:gd name="T20" fmla="*/ 7 w 20"/>
                  <a:gd name="T21" fmla="*/ 13 h 38"/>
                  <a:gd name="T22" fmla="*/ 10 w 20"/>
                  <a:gd name="T23" fmla="*/ 14 h 38"/>
                  <a:gd name="T24" fmla="*/ 10 w 20"/>
                  <a:gd name="T25" fmla="*/ 17 h 38"/>
                  <a:gd name="T26" fmla="*/ 10 w 20"/>
                  <a:gd name="T27" fmla="*/ 17 h 38"/>
                  <a:gd name="T28" fmla="*/ 10 w 20"/>
                  <a:gd name="T29" fmla="*/ 22 h 38"/>
                  <a:gd name="T30" fmla="*/ 9 w 20"/>
                  <a:gd name="T31" fmla="*/ 23 h 38"/>
                  <a:gd name="T32" fmla="*/ 9 w 20"/>
                  <a:gd name="T33" fmla="*/ 23 h 38"/>
                  <a:gd name="T34" fmla="*/ 6 w 20"/>
                  <a:gd name="T35" fmla="*/ 25 h 38"/>
                  <a:gd name="T36" fmla="*/ 5 w 20"/>
                  <a:gd name="T37" fmla="*/ 26 h 38"/>
                  <a:gd name="T38" fmla="*/ 5 w 20"/>
                  <a:gd name="T39" fmla="*/ 27 h 38"/>
                  <a:gd name="T40" fmla="*/ 5 w 20"/>
                  <a:gd name="T41" fmla="*/ 27 h 38"/>
                  <a:gd name="T42" fmla="*/ 7 w 20"/>
                  <a:gd name="T43" fmla="*/ 35 h 38"/>
                  <a:gd name="T44" fmla="*/ 9 w 20"/>
                  <a:gd name="T45" fmla="*/ 38 h 38"/>
                  <a:gd name="T46" fmla="*/ 10 w 20"/>
                  <a:gd name="T47" fmla="*/ 38 h 38"/>
                  <a:gd name="T48" fmla="*/ 10 w 20"/>
                  <a:gd name="T49" fmla="*/ 38 h 38"/>
                  <a:gd name="T50" fmla="*/ 12 w 20"/>
                  <a:gd name="T51" fmla="*/ 36 h 38"/>
                  <a:gd name="T52" fmla="*/ 12 w 20"/>
                  <a:gd name="T53" fmla="*/ 33 h 38"/>
                  <a:gd name="T54" fmla="*/ 13 w 20"/>
                  <a:gd name="T55" fmla="*/ 30 h 38"/>
                  <a:gd name="T56" fmla="*/ 15 w 20"/>
                  <a:gd name="T57" fmla="*/ 27 h 38"/>
                  <a:gd name="T58" fmla="*/ 15 w 20"/>
                  <a:gd name="T59" fmla="*/ 27 h 38"/>
                  <a:gd name="T60" fmla="*/ 19 w 20"/>
                  <a:gd name="T61" fmla="*/ 26 h 38"/>
                  <a:gd name="T62" fmla="*/ 20 w 20"/>
                  <a:gd name="T63" fmla="*/ 25 h 38"/>
                  <a:gd name="T64" fmla="*/ 20 w 20"/>
                  <a:gd name="T65" fmla="*/ 22 h 38"/>
                  <a:gd name="T66" fmla="*/ 20 w 20"/>
                  <a:gd name="T67" fmla="*/ 22 h 38"/>
                  <a:gd name="T68" fmla="*/ 20 w 20"/>
                  <a:gd name="T69" fmla="*/ 14 h 38"/>
                  <a:gd name="T70" fmla="*/ 20 w 20"/>
                  <a:gd name="T71" fmla="*/ 10 h 38"/>
                  <a:gd name="T72" fmla="*/ 19 w 20"/>
                  <a:gd name="T73" fmla="*/ 7 h 38"/>
                  <a:gd name="T74" fmla="*/ 19 w 20"/>
                  <a:gd name="T75" fmla="*/ 7 h 38"/>
                  <a:gd name="T76" fmla="*/ 16 w 20"/>
                  <a:gd name="T77" fmla="*/ 3 h 38"/>
                  <a:gd name="T78" fmla="*/ 15 w 20"/>
                  <a:gd name="T79" fmla="*/ 1 h 38"/>
                  <a:gd name="T80" fmla="*/ 12 w 20"/>
                  <a:gd name="T8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" h="38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7" y="13"/>
                    </a:lnTo>
                    <a:lnTo>
                      <a:pt x="10" y="14"/>
                    </a:lnTo>
                    <a:lnTo>
                      <a:pt x="10" y="17"/>
                    </a:lnTo>
                    <a:lnTo>
                      <a:pt x="10" y="17"/>
                    </a:lnTo>
                    <a:lnTo>
                      <a:pt x="10" y="22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6" y="25"/>
                    </a:lnTo>
                    <a:lnTo>
                      <a:pt x="5" y="26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7" y="35"/>
                    </a:lnTo>
                    <a:lnTo>
                      <a:pt x="9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2" y="36"/>
                    </a:lnTo>
                    <a:lnTo>
                      <a:pt x="12" y="33"/>
                    </a:lnTo>
                    <a:lnTo>
                      <a:pt x="13" y="30"/>
                    </a:lnTo>
                    <a:lnTo>
                      <a:pt x="15" y="27"/>
                    </a:lnTo>
                    <a:lnTo>
                      <a:pt x="15" y="27"/>
                    </a:lnTo>
                    <a:lnTo>
                      <a:pt x="19" y="26"/>
                    </a:lnTo>
                    <a:lnTo>
                      <a:pt x="20" y="25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16" y="3"/>
                    </a:lnTo>
                    <a:lnTo>
                      <a:pt x="15" y="1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45" name="Freeform 1301"/>
              <p:cNvSpPr>
                <a:spLocks/>
              </p:cNvSpPr>
              <p:nvPr/>
            </p:nvSpPr>
            <p:spPr bwMode="auto">
              <a:xfrm>
                <a:off x="6352667" y="3140061"/>
                <a:ext cx="20774" cy="22753"/>
              </a:xfrm>
              <a:custGeom>
                <a:avLst/>
                <a:gdLst>
                  <a:gd name="T0" fmla="*/ 20 w 21"/>
                  <a:gd name="T1" fmla="*/ 12 h 23"/>
                  <a:gd name="T2" fmla="*/ 20 w 21"/>
                  <a:gd name="T3" fmla="*/ 12 h 23"/>
                  <a:gd name="T4" fmla="*/ 15 w 21"/>
                  <a:gd name="T5" fmla="*/ 14 h 23"/>
                  <a:gd name="T6" fmla="*/ 10 w 21"/>
                  <a:gd name="T7" fmla="*/ 19 h 23"/>
                  <a:gd name="T8" fmla="*/ 10 w 21"/>
                  <a:gd name="T9" fmla="*/ 19 h 23"/>
                  <a:gd name="T10" fmla="*/ 2 w 21"/>
                  <a:gd name="T11" fmla="*/ 23 h 23"/>
                  <a:gd name="T12" fmla="*/ 1 w 21"/>
                  <a:gd name="T13" fmla="*/ 23 h 23"/>
                  <a:gd name="T14" fmla="*/ 0 w 21"/>
                  <a:gd name="T15" fmla="*/ 22 h 23"/>
                  <a:gd name="T16" fmla="*/ 0 w 21"/>
                  <a:gd name="T17" fmla="*/ 22 h 23"/>
                  <a:gd name="T18" fmla="*/ 1 w 21"/>
                  <a:gd name="T19" fmla="*/ 17 h 23"/>
                  <a:gd name="T20" fmla="*/ 4 w 21"/>
                  <a:gd name="T21" fmla="*/ 16 h 23"/>
                  <a:gd name="T22" fmla="*/ 5 w 21"/>
                  <a:gd name="T23" fmla="*/ 14 h 23"/>
                  <a:gd name="T24" fmla="*/ 5 w 21"/>
                  <a:gd name="T25" fmla="*/ 12 h 23"/>
                  <a:gd name="T26" fmla="*/ 5 w 21"/>
                  <a:gd name="T27" fmla="*/ 12 h 23"/>
                  <a:gd name="T28" fmla="*/ 1 w 21"/>
                  <a:gd name="T29" fmla="*/ 4 h 23"/>
                  <a:gd name="T30" fmla="*/ 1 w 21"/>
                  <a:gd name="T31" fmla="*/ 1 h 23"/>
                  <a:gd name="T32" fmla="*/ 2 w 21"/>
                  <a:gd name="T33" fmla="*/ 0 h 23"/>
                  <a:gd name="T34" fmla="*/ 2 w 21"/>
                  <a:gd name="T35" fmla="*/ 0 h 23"/>
                  <a:gd name="T36" fmla="*/ 7 w 21"/>
                  <a:gd name="T37" fmla="*/ 0 h 23"/>
                  <a:gd name="T38" fmla="*/ 8 w 21"/>
                  <a:gd name="T39" fmla="*/ 1 h 23"/>
                  <a:gd name="T40" fmla="*/ 11 w 21"/>
                  <a:gd name="T41" fmla="*/ 3 h 23"/>
                  <a:gd name="T42" fmla="*/ 14 w 21"/>
                  <a:gd name="T43" fmla="*/ 3 h 23"/>
                  <a:gd name="T44" fmla="*/ 14 w 21"/>
                  <a:gd name="T45" fmla="*/ 3 h 23"/>
                  <a:gd name="T46" fmla="*/ 18 w 21"/>
                  <a:gd name="T47" fmla="*/ 4 h 23"/>
                  <a:gd name="T48" fmla="*/ 20 w 21"/>
                  <a:gd name="T49" fmla="*/ 7 h 23"/>
                  <a:gd name="T50" fmla="*/ 21 w 21"/>
                  <a:gd name="T51" fmla="*/ 9 h 23"/>
                  <a:gd name="T52" fmla="*/ 20 w 21"/>
                  <a:gd name="T53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1" h="23">
                    <a:moveTo>
                      <a:pt x="20" y="12"/>
                    </a:moveTo>
                    <a:lnTo>
                      <a:pt x="20" y="12"/>
                    </a:lnTo>
                    <a:lnTo>
                      <a:pt x="15" y="14"/>
                    </a:lnTo>
                    <a:lnTo>
                      <a:pt x="10" y="19"/>
                    </a:lnTo>
                    <a:lnTo>
                      <a:pt x="10" y="19"/>
                    </a:lnTo>
                    <a:lnTo>
                      <a:pt x="2" y="23"/>
                    </a:lnTo>
                    <a:lnTo>
                      <a:pt x="1" y="23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1" y="17"/>
                    </a:lnTo>
                    <a:lnTo>
                      <a:pt x="4" y="16"/>
                    </a:lnTo>
                    <a:lnTo>
                      <a:pt x="5" y="14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" y="4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7" y="0"/>
                    </a:lnTo>
                    <a:lnTo>
                      <a:pt x="8" y="1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4" y="3"/>
                    </a:lnTo>
                    <a:lnTo>
                      <a:pt x="18" y="4"/>
                    </a:lnTo>
                    <a:lnTo>
                      <a:pt x="20" y="7"/>
                    </a:lnTo>
                    <a:lnTo>
                      <a:pt x="21" y="9"/>
                    </a:lnTo>
                    <a:lnTo>
                      <a:pt x="20" y="1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46" name="Freeform 1302"/>
              <p:cNvSpPr>
                <a:spLocks/>
              </p:cNvSpPr>
              <p:nvPr/>
            </p:nvSpPr>
            <p:spPr bwMode="auto">
              <a:xfrm>
                <a:off x="6352667" y="3140061"/>
                <a:ext cx="20774" cy="22753"/>
              </a:xfrm>
              <a:custGeom>
                <a:avLst/>
                <a:gdLst>
                  <a:gd name="T0" fmla="*/ 20 w 21"/>
                  <a:gd name="T1" fmla="*/ 12 h 23"/>
                  <a:gd name="T2" fmla="*/ 20 w 21"/>
                  <a:gd name="T3" fmla="*/ 12 h 23"/>
                  <a:gd name="T4" fmla="*/ 15 w 21"/>
                  <a:gd name="T5" fmla="*/ 14 h 23"/>
                  <a:gd name="T6" fmla="*/ 10 w 21"/>
                  <a:gd name="T7" fmla="*/ 19 h 23"/>
                  <a:gd name="T8" fmla="*/ 10 w 21"/>
                  <a:gd name="T9" fmla="*/ 19 h 23"/>
                  <a:gd name="T10" fmla="*/ 2 w 21"/>
                  <a:gd name="T11" fmla="*/ 23 h 23"/>
                  <a:gd name="T12" fmla="*/ 1 w 21"/>
                  <a:gd name="T13" fmla="*/ 23 h 23"/>
                  <a:gd name="T14" fmla="*/ 0 w 21"/>
                  <a:gd name="T15" fmla="*/ 22 h 23"/>
                  <a:gd name="T16" fmla="*/ 0 w 21"/>
                  <a:gd name="T17" fmla="*/ 22 h 23"/>
                  <a:gd name="T18" fmla="*/ 1 w 21"/>
                  <a:gd name="T19" fmla="*/ 17 h 23"/>
                  <a:gd name="T20" fmla="*/ 4 w 21"/>
                  <a:gd name="T21" fmla="*/ 16 h 23"/>
                  <a:gd name="T22" fmla="*/ 5 w 21"/>
                  <a:gd name="T23" fmla="*/ 14 h 23"/>
                  <a:gd name="T24" fmla="*/ 5 w 21"/>
                  <a:gd name="T25" fmla="*/ 12 h 23"/>
                  <a:gd name="T26" fmla="*/ 5 w 21"/>
                  <a:gd name="T27" fmla="*/ 12 h 23"/>
                  <a:gd name="T28" fmla="*/ 1 w 21"/>
                  <a:gd name="T29" fmla="*/ 4 h 23"/>
                  <a:gd name="T30" fmla="*/ 1 w 21"/>
                  <a:gd name="T31" fmla="*/ 1 h 23"/>
                  <a:gd name="T32" fmla="*/ 2 w 21"/>
                  <a:gd name="T33" fmla="*/ 0 h 23"/>
                  <a:gd name="T34" fmla="*/ 2 w 21"/>
                  <a:gd name="T35" fmla="*/ 0 h 23"/>
                  <a:gd name="T36" fmla="*/ 7 w 21"/>
                  <a:gd name="T37" fmla="*/ 0 h 23"/>
                  <a:gd name="T38" fmla="*/ 8 w 21"/>
                  <a:gd name="T39" fmla="*/ 1 h 23"/>
                  <a:gd name="T40" fmla="*/ 11 w 21"/>
                  <a:gd name="T41" fmla="*/ 3 h 23"/>
                  <a:gd name="T42" fmla="*/ 14 w 21"/>
                  <a:gd name="T43" fmla="*/ 3 h 23"/>
                  <a:gd name="T44" fmla="*/ 14 w 21"/>
                  <a:gd name="T45" fmla="*/ 3 h 23"/>
                  <a:gd name="T46" fmla="*/ 18 w 21"/>
                  <a:gd name="T47" fmla="*/ 4 h 23"/>
                  <a:gd name="T48" fmla="*/ 20 w 21"/>
                  <a:gd name="T49" fmla="*/ 7 h 23"/>
                  <a:gd name="T50" fmla="*/ 21 w 21"/>
                  <a:gd name="T51" fmla="*/ 9 h 23"/>
                  <a:gd name="T52" fmla="*/ 20 w 21"/>
                  <a:gd name="T53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1" h="23">
                    <a:moveTo>
                      <a:pt x="20" y="12"/>
                    </a:moveTo>
                    <a:lnTo>
                      <a:pt x="20" y="12"/>
                    </a:lnTo>
                    <a:lnTo>
                      <a:pt x="15" y="14"/>
                    </a:lnTo>
                    <a:lnTo>
                      <a:pt x="10" y="19"/>
                    </a:lnTo>
                    <a:lnTo>
                      <a:pt x="10" y="19"/>
                    </a:lnTo>
                    <a:lnTo>
                      <a:pt x="2" y="23"/>
                    </a:lnTo>
                    <a:lnTo>
                      <a:pt x="1" y="23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1" y="17"/>
                    </a:lnTo>
                    <a:lnTo>
                      <a:pt x="4" y="16"/>
                    </a:lnTo>
                    <a:lnTo>
                      <a:pt x="5" y="14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" y="4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7" y="0"/>
                    </a:lnTo>
                    <a:lnTo>
                      <a:pt x="8" y="1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4" y="3"/>
                    </a:lnTo>
                    <a:lnTo>
                      <a:pt x="18" y="4"/>
                    </a:lnTo>
                    <a:lnTo>
                      <a:pt x="20" y="7"/>
                    </a:lnTo>
                    <a:lnTo>
                      <a:pt x="21" y="9"/>
                    </a:lnTo>
                    <a:lnTo>
                      <a:pt x="20" y="1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47" name="Freeform 1303"/>
              <p:cNvSpPr>
                <a:spLocks/>
              </p:cNvSpPr>
              <p:nvPr/>
            </p:nvSpPr>
            <p:spPr bwMode="auto">
              <a:xfrm>
                <a:off x="6360581" y="3156878"/>
                <a:ext cx="18796" cy="31656"/>
              </a:xfrm>
              <a:custGeom>
                <a:avLst/>
                <a:gdLst>
                  <a:gd name="T0" fmla="*/ 18 w 19"/>
                  <a:gd name="T1" fmla="*/ 0 h 32"/>
                  <a:gd name="T2" fmla="*/ 18 w 19"/>
                  <a:gd name="T3" fmla="*/ 0 h 32"/>
                  <a:gd name="T4" fmla="*/ 15 w 19"/>
                  <a:gd name="T5" fmla="*/ 0 h 32"/>
                  <a:gd name="T6" fmla="*/ 12 w 19"/>
                  <a:gd name="T7" fmla="*/ 2 h 32"/>
                  <a:gd name="T8" fmla="*/ 9 w 19"/>
                  <a:gd name="T9" fmla="*/ 5 h 32"/>
                  <a:gd name="T10" fmla="*/ 6 w 19"/>
                  <a:gd name="T11" fmla="*/ 9 h 32"/>
                  <a:gd name="T12" fmla="*/ 6 w 19"/>
                  <a:gd name="T13" fmla="*/ 9 h 32"/>
                  <a:gd name="T14" fmla="*/ 5 w 19"/>
                  <a:gd name="T15" fmla="*/ 12 h 32"/>
                  <a:gd name="T16" fmla="*/ 2 w 19"/>
                  <a:gd name="T17" fmla="*/ 15 h 32"/>
                  <a:gd name="T18" fmla="*/ 0 w 19"/>
                  <a:gd name="T19" fmla="*/ 16 h 32"/>
                  <a:gd name="T20" fmla="*/ 0 w 19"/>
                  <a:gd name="T21" fmla="*/ 21 h 32"/>
                  <a:gd name="T22" fmla="*/ 0 w 19"/>
                  <a:gd name="T23" fmla="*/ 21 h 32"/>
                  <a:gd name="T24" fmla="*/ 6 w 19"/>
                  <a:gd name="T25" fmla="*/ 29 h 32"/>
                  <a:gd name="T26" fmla="*/ 9 w 19"/>
                  <a:gd name="T27" fmla="*/ 32 h 32"/>
                  <a:gd name="T28" fmla="*/ 10 w 19"/>
                  <a:gd name="T29" fmla="*/ 32 h 32"/>
                  <a:gd name="T30" fmla="*/ 10 w 19"/>
                  <a:gd name="T31" fmla="*/ 31 h 32"/>
                  <a:gd name="T32" fmla="*/ 10 w 19"/>
                  <a:gd name="T33" fmla="*/ 31 h 32"/>
                  <a:gd name="T34" fmla="*/ 12 w 19"/>
                  <a:gd name="T35" fmla="*/ 22 h 32"/>
                  <a:gd name="T36" fmla="*/ 13 w 19"/>
                  <a:gd name="T37" fmla="*/ 15 h 32"/>
                  <a:gd name="T38" fmla="*/ 13 w 19"/>
                  <a:gd name="T39" fmla="*/ 15 h 32"/>
                  <a:gd name="T40" fmla="*/ 15 w 19"/>
                  <a:gd name="T41" fmla="*/ 11 h 32"/>
                  <a:gd name="T42" fmla="*/ 18 w 19"/>
                  <a:gd name="T43" fmla="*/ 5 h 32"/>
                  <a:gd name="T44" fmla="*/ 19 w 19"/>
                  <a:gd name="T45" fmla="*/ 2 h 32"/>
                  <a:gd name="T46" fmla="*/ 19 w 19"/>
                  <a:gd name="T47" fmla="*/ 0 h 32"/>
                  <a:gd name="T48" fmla="*/ 18 w 19"/>
                  <a:gd name="T4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" h="32">
                    <a:moveTo>
                      <a:pt x="18" y="0"/>
                    </a:moveTo>
                    <a:lnTo>
                      <a:pt x="18" y="0"/>
                    </a:lnTo>
                    <a:lnTo>
                      <a:pt x="15" y="0"/>
                    </a:lnTo>
                    <a:lnTo>
                      <a:pt x="12" y="2"/>
                    </a:lnTo>
                    <a:lnTo>
                      <a:pt x="9" y="5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5" y="12"/>
                    </a:lnTo>
                    <a:lnTo>
                      <a:pt x="2" y="15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6" y="29"/>
                    </a:lnTo>
                    <a:lnTo>
                      <a:pt x="9" y="32"/>
                    </a:lnTo>
                    <a:lnTo>
                      <a:pt x="10" y="32"/>
                    </a:lnTo>
                    <a:lnTo>
                      <a:pt x="10" y="31"/>
                    </a:lnTo>
                    <a:lnTo>
                      <a:pt x="10" y="31"/>
                    </a:lnTo>
                    <a:lnTo>
                      <a:pt x="12" y="22"/>
                    </a:lnTo>
                    <a:lnTo>
                      <a:pt x="13" y="15"/>
                    </a:lnTo>
                    <a:lnTo>
                      <a:pt x="13" y="15"/>
                    </a:lnTo>
                    <a:lnTo>
                      <a:pt x="15" y="11"/>
                    </a:lnTo>
                    <a:lnTo>
                      <a:pt x="18" y="5"/>
                    </a:lnTo>
                    <a:lnTo>
                      <a:pt x="19" y="2"/>
                    </a:lnTo>
                    <a:lnTo>
                      <a:pt x="19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48" name="Freeform 1304"/>
              <p:cNvSpPr>
                <a:spLocks/>
              </p:cNvSpPr>
              <p:nvPr/>
            </p:nvSpPr>
            <p:spPr bwMode="auto">
              <a:xfrm>
                <a:off x="6360581" y="3156878"/>
                <a:ext cx="18796" cy="31656"/>
              </a:xfrm>
              <a:custGeom>
                <a:avLst/>
                <a:gdLst>
                  <a:gd name="T0" fmla="*/ 18 w 19"/>
                  <a:gd name="T1" fmla="*/ 0 h 32"/>
                  <a:gd name="T2" fmla="*/ 18 w 19"/>
                  <a:gd name="T3" fmla="*/ 0 h 32"/>
                  <a:gd name="T4" fmla="*/ 15 w 19"/>
                  <a:gd name="T5" fmla="*/ 0 h 32"/>
                  <a:gd name="T6" fmla="*/ 12 w 19"/>
                  <a:gd name="T7" fmla="*/ 2 h 32"/>
                  <a:gd name="T8" fmla="*/ 9 w 19"/>
                  <a:gd name="T9" fmla="*/ 5 h 32"/>
                  <a:gd name="T10" fmla="*/ 6 w 19"/>
                  <a:gd name="T11" fmla="*/ 9 h 32"/>
                  <a:gd name="T12" fmla="*/ 6 w 19"/>
                  <a:gd name="T13" fmla="*/ 9 h 32"/>
                  <a:gd name="T14" fmla="*/ 5 w 19"/>
                  <a:gd name="T15" fmla="*/ 12 h 32"/>
                  <a:gd name="T16" fmla="*/ 2 w 19"/>
                  <a:gd name="T17" fmla="*/ 15 h 32"/>
                  <a:gd name="T18" fmla="*/ 0 w 19"/>
                  <a:gd name="T19" fmla="*/ 16 h 32"/>
                  <a:gd name="T20" fmla="*/ 0 w 19"/>
                  <a:gd name="T21" fmla="*/ 21 h 32"/>
                  <a:gd name="T22" fmla="*/ 0 w 19"/>
                  <a:gd name="T23" fmla="*/ 21 h 32"/>
                  <a:gd name="T24" fmla="*/ 6 w 19"/>
                  <a:gd name="T25" fmla="*/ 29 h 32"/>
                  <a:gd name="T26" fmla="*/ 9 w 19"/>
                  <a:gd name="T27" fmla="*/ 32 h 32"/>
                  <a:gd name="T28" fmla="*/ 10 w 19"/>
                  <a:gd name="T29" fmla="*/ 32 h 32"/>
                  <a:gd name="T30" fmla="*/ 10 w 19"/>
                  <a:gd name="T31" fmla="*/ 31 h 32"/>
                  <a:gd name="T32" fmla="*/ 10 w 19"/>
                  <a:gd name="T33" fmla="*/ 31 h 32"/>
                  <a:gd name="T34" fmla="*/ 12 w 19"/>
                  <a:gd name="T35" fmla="*/ 22 h 32"/>
                  <a:gd name="T36" fmla="*/ 13 w 19"/>
                  <a:gd name="T37" fmla="*/ 15 h 32"/>
                  <a:gd name="T38" fmla="*/ 13 w 19"/>
                  <a:gd name="T39" fmla="*/ 15 h 32"/>
                  <a:gd name="T40" fmla="*/ 15 w 19"/>
                  <a:gd name="T41" fmla="*/ 11 h 32"/>
                  <a:gd name="T42" fmla="*/ 18 w 19"/>
                  <a:gd name="T43" fmla="*/ 5 h 32"/>
                  <a:gd name="T44" fmla="*/ 19 w 19"/>
                  <a:gd name="T45" fmla="*/ 2 h 32"/>
                  <a:gd name="T46" fmla="*/ 19 w 19"/>
                  <a:gd name="T47" fmla="*/ 0 h 32"/>
                  <a:gd name="T48" fmla="*/ 18 w 19"/>
                  <a:gd name="T4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" h="32">
                    <a:moveTo>
                      <a:pt x="18" y="0"/>
                    </a:moveTo>
                    <a:lnTo>
                      <a:pt x="18" y="0"/>
                    </a:lnTo>
                    <a:lnTo>
                      <a:pt x="15" y="0"/>
                    </a:lnTo>
                    <a:lnTo>
                      <a:pt x="12" y="2"/>
                    </a:lnTo>
                    <a:lnTo>
                      <a:pt x="9" y="5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5" y="12"/>
                    </a:lnTo>
                    <a:lnTo>
                      <a:pt x="2" y="15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6" y="29"/>
                    </a:lnTo>
                    <a:lnTo>
                      <a:pt x="9" y="32"/>
                    </a:lnTo>
                    <a:lnTo>
                      <a:pt x="10" y="32"/>
                    </a:lnTo>
                    <a:lnTo>
                      <a:pt x="10" y="31"/>
                    </a:lnTo>
                    <a:lnTo>
                      <a:pt x="10" y="31"/>
                    </a:lnTo>
                    <a:lnTo>
                      <a:pt x="12" y="22"/>
                    </a:lnTo>
                    <a:lnTo>
                      <a:pt x="13" y="15"/>
                    </a:lnTo>
                    <a:lnTo>
                      <a:pt x="13" y="15"/>
                    </a:lnTo>
                    <a:lnTo>
                      <a:pt x="15" y="11"/>
                    </a:lnTo>
                    <a:lnTo>
                      <a:pt x="18" y="5"/>
                    </a:lnTo>
                    <a:lnTo>
                      <a:pt x="19" y="2"/>
                    </a:lnTo>
                    <a:lnTo>
                      <a:pt x="19" y="0"/>
                    </a:lnTo>
                    <a:lnTo>
                      <a:pt x="18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49" name="Freeform 1305"/>
              <p:cNvSpPr>
                <a:spLocks/>
              </p:cNvSpPr>
              <p:nvPr/>
            </p:nvSpPr>
            <p:spPr bwMode="auto">
              <a:xfrm>
                <a:off x="6379377" y="3168749"/>
                <a:ext cx="14839" cy="8903"/>
              </a:xfrm>
              <a:custGeom>
                <a:avLst/>
                <a:gdLst>
                  <a:gd name="T0" fmla="*/ 10 w 15"/>
                  <a:gd name="T1" fmla="*/ 0 h 9"/>
                  <a:gd name="T2" fmla="*/ 10 w 15"/>
                  <a:gd name="T3" fmla="*/ 0 h 9"/>
                  <a:gd name="T4" fmla="*/ 9 w 15"/>
                  <a:gd name="T5" fmla="*/ 0 h 9"/>
                  <a:gd name="T6" fmla="*/ 6 w 15"/>
                  <a:gd name="T7" fmla="*/ 0 h 9"/>
                  <a:gd name="T8" fmla="*/ 3 w 15"/>
                  <a:gd name="T9" fmla="*/ 3 h 9"/>
                  <a:gd name="T10" fmla="*/ 0 w 15"/>
                  <a:gd name="T11" fmla="*/ 7 h 9"/>
                  <a:gd name="T12" fmla="*/ 0 w 15"/>
                  <a:gd name="T13" fmla="*/ 7 h 9"/>
                  <a:gd name="T14" fmla="*/ 0 w 15"/>
                  <a:gd name="T15" fmla="*/ 9 h 9"/>
                  <a:gd name="T16" fmla="*/ 0 w 15"/>
                  <a:gd name="T17" fmla="*/ 9 h 9"/>
                  <a:gd name="T18" fmla="*/ 6 w 15"/>
                  <a:gd name="T19" fmla="*/ 9 h 9"/>
                  <a:gd name="T20" fmla="*/ 12 w 15"/>
                  <a:gd name="T21" fmla="*/ 7 h 9"/>
                  <a:gd name="T22" fmla="*/ 15 w 15"/>
                  <a:gd name="T23" fmla="*/ 6 h 9"/>
                  <a:gd name="T24" fmla="*/ 15 w 15"/>
                  <a:gd name="T25" fmla="*/ 4 h 9"/>
                  <a:gd name="T26" fmla="*/ 15 w 15"/>
                  <a:gd name="T27" fmla="*/ 1 h 9"/>
                  <a:gd name="T28" fmla="*/ 10 w 15"/>
                  <a:gd name="T2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9">
                    <a:moveTo>
                      <a:pt x="10" y="0"/>
                    </a:moveTo>
                    <a:lnTo>
                      <a:pt x="10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6" y="9"/>
                    </a:lnTo>
                    <a:lnTo>
                      <a:pt x="12" y="7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5" y="1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50" name="Freeform 1306"/>
              <p:cNvSpPr>
                <a:spLocks/>
              </p:cNvSpPr>
              <p:nvPr/>
            </p:nvSpPr>
            <p:spPr bwMode="auto">
              <a:xfrm>
                <a:off x="6379377" y="3168749"/>
                <a:ext cx="14839" cy="8903"/>
              </a:xfrm>
              <a:custGeom>
                <a:avLst/>
                <a:gdLst>
                  <a:gd name="T0" fmla="*/ 10 w 15"/>
                  <a:gd name="T1" fmla="*/ 0 h 9"/>
                  <a:gd name="T2" fmla="*/ 10 w 15"/>
                  <a:gd name="T3" fmla="*/ 0 h 9"/>
                  <a:gd name="T4" fmla="*/ 9 w 15"/>
                  <a:gd name="T5" fmla="*/ 0 h 9"/>
                  <a:gd name="T6" fmla="*/ 6 w 15"/>
                  <a:gd name="T7" fmla="*/ 0 h 9"/>
                  <a:gd name="T8" fmla="*/ 3 w 15"/>
                  <a:gd name="T9" fmla="*/ 3 h 9"/>
                  <a:gd name="T10" fmla="*/ 0 w 15"/>
                  <a:gd name="T11" fmla="*/ 7 h 9"/>
                  <a:gd name="T12" fmla="*/ 0 w 15"/>
                  <a:gd name="T13" fmla="*/ 7 h 9"/>
                  <a:gd name="T14" fmla="*/ 0 w 15"/>
                  <a:gd name="T15" fmla="*/ 9 h 9"/>
                  <a:gd name="T16" fmla="*/ 0 w 15"/>
                  <a:gd name="T17" fmla="*/ 9 h 9"/>
                  <a:gd name="T18" fmla="*/ 6 w 15"/>
                  <a:gd name="T19" fmla="*/ 9 h 9"/>
                  <a:gd name="T20" fmla="*/ 12 w 15"/>
                  <a:gd name="T21" fmla="*/ 7 h 9"/>
                  <a:gd name="T22" fmla="*/ 15 w 15"/>
                  <a:gd name="T23" fmla="*/ 6 h 9"/>
                  <a:gd name="T24" fmla="*/ 15 w 15"/>
                  <a:gd name="T25" fmla="*/ 4 h 9"/>
                  <a:gd name="T26" fmla="*/ 15 w 15"/>
                  <a:gd name="T27" fmla="*/ 1 h 9"/>
                  <a:gd name="T28" fmla="*/ 10 w 15"/>
                  <a:gd name="T2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9">
                    <a:moveTo>
                      <a:pt x="10" y="0"/>
                    </a:moveTo>
                    <a:lnTo>
                      <a:pt x="10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6" y="9"/>
                    </a:lnTo>
                    <a:lnTo>
                      <a:pt x="12" y="7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5" y="1"/>
                    </a:lnTo>
                    <a:lnTo>
                      <a:pt x="1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51" name="Freeform 1307"/>
              <p:cNvSpPr>
                <a:spLocks/>
              </p:cNvSpPr>
              <p:nvPr/>
            </p:nvSpPr>
            <p:spPr bwMode="auto">
              <a:xfrm>
                <a:off x="6325957" y="3114340"/>
                <a:ext cx="18796" cy="18796"/>
              </a:xfrm>
              <a:custGeom>
                <a:avLst/>
                <a:gdLst>
                  <a:gd name="T0" fmla="*/ 12 w 19"/>
                  <a:gd name="T1" fmla="*/ 19 h 19"/>
                  <a:gd name="T2" fmla="*/ 12 w 19"/>
                  <a:gd name="T3" fmla="*/ 19 h 19"/>
                  <a:gd name="T4" fmla="*/ 11 w 19"/>
                  <a:gd name="T5" fmla="*/ 19 h 19"/>
                  <a:gd name="T6" fmla="*/ 9 w 19"/>
                  <a:gd name="T7" fmla="*/ 17 h 19"/>
                  <a:gd name="T8" fmla="*/ 8 w 19"/>
                  <a:gd name="T9" fmla="*/ 13 h 19"/>
                  <a:gd name="T10" fmla="*/ 6 w 19"/>
                  <a:gd name="T11" fmla="*/ 10 h 19"/>
                  <a:gd name="T12" fmla="*/ 6 w 19"/>
                  <a:gd name="T13" fmla="*/ 9 h 19"/>
                  <a:gd name="T14" fmla="*/ 5 w 19"/>
                  <a:gd name="T15" fmla="*/ 7 h 19"/>
                  <a:gd name="T16" fmla="*/ 5 w 19"/>
                  <a:gd name="T17" fmla="*/ 7 h 19"/>
                  <a:gd name="T18" fmla="*/ 2 w 19"/>
                  <a:gd name="T19" fmla="*/ 7 h 19"/>
                  <a:gd name="T20" fmla="*/ 2 w 19"/>
                  <a:gd name="T21" fmla="*/ 4 h 19"/>
                  <a:gd name="T22" fmla="*/ 2 w 19"/>
                  <a:gd name="T23" fmla="*/ 3 h 19"/>
                  <a:gd name="T24" fmla="*/ 0 w 19"/>
                  <a:gd name="T25" fmla="*/ 0 h 19"/>
                  <a:gd name="T26" fmla="*/ 0 w 19"/>
                  <a:gd name="T27" fmla="*/ 0 h 19"/>
                  <a:gd name="T28" fmla="*/ 0 w 19"/>
                  <a:gd name="T29" fmla="*/ 0 h 19"/>
                  <a:gd name="T30" fmla="*/ 2 w 19"/>
                  <a:gd name="T31" fmla="*/ 0 h 19"/>
                  <a:gd name="T32" fmla="*/ 6 w 19"/>
                  <a:gd name="T33" fmla="*/ 0 h 19"/>
                  <a:gd name="T34" fmla="*/ 15 w 19"/>
                  <a:gd name="T35" fmla="*/ 1 h 19"/>
                  <a:gd name="T36" fmla="*/ 15 w 19"/>
                  <a:gd name="T37" fmla="*/ 1 h 19"/>
                  <a:gd name="T38" fmla="*/ 18 w 19"/>
                  <a:gd name="T39" fmla="*/ 3 h 19"/>
                  <a:gd name="T40" fmla="*/ 19 w 19"/>
                  <a:gd name="T41" fmla="*/ 6 h 19"/>
                  <a:gd name="T42" fmla="*/ 19 w 19"/>
                  <a:gd name="T43" fmla="*/ 10 h 19"/>
                  <a:gd name="T44" fmla="*/ 19 w 19"/>
                  <a:gd name="T45" fmla="*/ 10 h 19"/>
                  <a:gd name="T46" fmla="*/ 18 w 19"/>
                  <a:gd name="T47" fmla="*/ 16 h 19"/>
                  <a:gd name="T48" fmla="*/ 16 w 19"/>
                  <a:gd name="T49" fmla="*/ 17 h 19"/>
                  <a:gd name="T50" fmla="*/ 12 w 19"/>
                  <a:gd name="T5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9" h="19">
                    <a:moveTo>
                      <a:pt x="12" y="19"/>
                    </a:moveTo>
                    <a:lnTo>
                      <a:pt x="12" y="19"/>
                    </a:lnTo>
                    <a:lnTo>
                      <a:pt x="11" y="19"/>
                    </a:lnTo>
                    <a:lnTo>
                      <a:pt x="9" y="17"/>
                    </a:lnTo>
                    <a:lnTo>
                      <a:pt x="8" y="13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2" y="7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8" y="3"/>
                    </a:lnTo>
                    <a:lnTo>
                      <a:pt x="19" y="6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8" y="16"/>
                    </a:lnTo>
                    <a:lnTo>
                      <a:pt x="16" y="17"/>
                    </a:lnTo>
                    <a:lnTo>
                      <a:pt x="12" y="1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52" name="Freeform 1308"/>
              <p:cNvSpPr>
                <a:spLocks/>
              </p:cNvSpPr>
              <p:nvPr/>
            </p:nvSpPr>
            <p:spPr bwMode="auto">
              <a:xfrm>
                <a:off x="6325957" y="3114340"/>
                <a:ext cx="18796" cy="18796"/>
              </a:xfrm>
              <a:custGeom>
                <a:avLst/>
                <a:gdLst>
                  <a:gd name="T0" fmla="*/ 12 w 19"/>
                  <a:gd name="T1" fmla="*/ 19 h 19"/>
                  <a:gd name="T2" fmla="*/ 12 w 19"/>
                  <a:gd name="T3" fmla="*/ 19 h 19"/>
                  <a:gd name="T4" fmla="*/ 11 w 19"/>
                  <a:gd name="T5" fmla="*/ 19 h 19"/>
                  <a:gd name="T6" fmla="*/ 9 w 19"/>
                  <a:gd name="T7" fmla="*/ 17 h 19"/>
                  <a:gd name="T8" fmla="*/ 8 w 19"/>
                  <a:gd name="T9" fmla="*/ 13 h 19"/>
                  <a:gd name="T10" fmla="*/ 6 w 19"/>
                  <a:gd name="T11" fmla="*/ 10 h 19"/>
                  <a:gd name="T12" fmla="*/ 6 w 19"/>
                  <a:gd name="T13" fmla="*/ 9 h 19"/>
                  <a:gd name="T14" fmla="*/ 5 w 19"/>
                  <a:gd name="T15" fmla="*/ 7 h 19"/>
                  <a:gd name="T16" fmla="*/ 5 w 19"/>
                  <a:gd name="T17" fmla="*/ 7 h 19"/>
                  <a:gd name="T18" fmla="*/ 2 w 19"/>
                  <a:gd name="T19" fmla="*/ 7 h 19"/>
                  <a:gd name="T20" fmla="*/ 2 w 19"/>
                  <a:gd name="T21" fmla="*/ 4 h 19"/>
                  <a:gd name="T22" fmla="*/ 2 w 19"/>
                  <a:gd name="T23" fmla="*/ 3 h 19"/>
                  <a:gd name="T24" fmla="*/ 0 w 19"/>
                  <a:gd name="T25" fmla="*/ 0 h 19"/>
                  <a:gd name="T26" fmla="*/ 0 w 19"/>
                  <a:gd name="T27" fmla="*/ 0 h 19"/>
                  <a:gd name="T28" fmla="*/ 0 w 19"/>
                  <a:gd name="T29" fmla="*/ 0 h 19"/>
                  <a:gd name="T30" fmla="*/ 2 w 19"/>
                  <a:gd name="T31" fmla="*/ 0 h 19"/>
                  <a:gd name="T32" fmla="*/ 6 w 19"/>
                  <a:gd name="T33" fmla="*/ 0 h 19"/>
                  <a:gd name="T34" fmla="*/ 15 w 19"/>
                  <a:gd name="T35" fmla="*/ 1 h 19"/>
                  <a:gd name="T36" fmla="*/ 15 w 19"/>
                  <a:gd name="T37" fmla="*/ 1 h 19"/>
                  <a:gd name="T38" fmla="*/ 18 w 19"/>
                  <a:gd name="T39" fmla="*/ 3 h 19"/>
                  <a:gd name="T40" fmla="*/ 19 w 19"/>
                  <a:gd name="T41" fmla="*/ 6 h 19"/>
                  <a:gd name="T42" fmla="*/ 19 w 19"/>
                  <a:gd name="T43" fmla="*/ 10 h 19"/>
                  <a:gd name="T44" fmla="*/ 19 w 19"/>
                  <a:gd name="T45" fmla="*/ 10 h 19"/>
                  <a:gd name="T46" fmla="*/ 18 w 19"/>
                  <a:gd name="T47" fmla="*/ 16 h 19"/>
                  <a:gd name="T48" fmla="*/ 16 w 19"/>
                  <a:gd name="T49" fmla="*/ 17 h 19"/>
                  <a:gd name="T50" fmla="*/ 12 w 19"/>
                  <a:gd name="T5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9" h="19">
                    <a:moveTo>
                      <a:pt x="12" y="19"/>
                    </a:moveTo>
                    <a:lnTo>
                      <a:pt x="12" y="19"/>
                    </a:lnTo>
                    <a:lnTo>
                      <a:pt x="11" y="19"/>
                    </a:lnTo>
                    <a:lnTo>
                      <a:pt x="9" y="17"/>
                    </a:lnTo>
                    <a:lnTo>
                      <a:pt x="8" y="13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2" y="7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8" y="3"/>
                    </a:lnTo>
                    <a:lnTo>
                      <a:pt x="19" y="6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8" y="16"/>
                    </a:lnTo>
                    <a:lnTo>
                      <a:pt x="16" y="17"/>
                    </a:lnTo>
                    <a:lnTo>
                      <a:pt x="12" y="1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53" name="Freeform 1309"/>
              <p:cNvSpPr>
                <a:spLocks/>
              </p:cNvSpPr>
              <p:nvPr/>
            </p:nvSpPr>
            <p:spPr bwMode="auto">
              <a:xfrm>
                <a:off x="6276494" y="3152921"/>
                <a:ext cx="38581" cy="40560"/>
              </a:xfrm>
              <a:custGeom>
                <a:avLst/>
                <a:gdLst>
                  <a:gd name="T0" fmla="*/ 35 w 39"/>
                  <a:gd name="T1" fmla="*/ 1 h 41"/>
                  <a:gd name="T2" fmla="*/ 35 w 39"/>
                  <a:gd name="T3" fmla="*/ 1 h 41"/>
                  <a:gd name="T4" fmla="*/ 33 w 39"/>
                  <a:gd name="T5" fmla="*/ 3 h 41"/>
                  <a:gd name="T6" fmla="*/ 33 w 39"/>
                  <a:gd name="T7" fmla="*/ 6 h 41"/>
                  <a:gd name="T8" fmla="*/ 33 w 39"/>
                  <a:gd name="T9" fmla="*/ 9 h 41"/>
                  <a:gd name="T10" fmla="*/ 32 w 39"/>
                  <a:gd name="T11" fmla="*/ 12 h 41"/>
                  <a:gd name="T12" fmla="*/ 32 w 39"/>
                  <a:gd name="T13" fmla="*/ 12 h 41"/>
                  <a:gd name="T14" fmla="*/ 27 w 39"/>
                  <a:gd name="T15" fmla="*/ 13 h 41"/>
                  <a:gd name="T16" fmla="*/ 23 w 39"/>
                  <a:gd name="T17" fmla="*/ 17 h 41"/>
                  <a:gd name="T18" fmla="*/ 16 w 39"/>
                  <a:gd name="T19" fmla="*/ 23 h 41"/>
                  <a:gd name="T20" fmla="*/ 16 w 39"/>
                  <a:gd name="T21" fmla="*/ 23 h 41"/>
                  <a:gd name="T22" fmla="*/ 6 w 39"/>
                  <a:gd name="T23" fmla="*/ 33 h 41"/>
                  <a:gd name="T24" fmla="*/ 1 w 39"/>
                  <a:gd name="T25" fmla="*/ 39 h 41"/>
                  <a:gd name="T26" fmla="*/ 0 w 39"/>
                  <a:gd name="T27" fmla="*/ 41 h 41"/>
                  <a:gd name="T28" fmla="*/ 1 w 39"/>
                  <a:gd name="T29" fmla="*/ 41 h 41"/>
                  <a:gd name="T30" fmla="*/ 1 w 39"/>
                  <a:gd name="T31" fmla="*/ 41 h 41"/>
                  <a:gd name="T32" fmla="*/ 4 w 39"/>
                  <a:gd name="T33" fmla="*/ 39 h 41"/>
                  <a:gd name="T34" fmla="*/ 10 w 39"/>
                  <a:gd name="T35" fmla="*/ 35 h 41"/>
                  <a:gd name="T36" fmla="*/ 22 w 39"/>
                  <a:gd name="T37" fmla="*/ 26 h 41"/>
                  <a:gd name="T38" fmla="*/ 22 w 39"/>
                  <a:gd name="T39" fmla="*/ 26 h 41"/>
                  <a:gd name="T40" fmla="*/ 32 w 39"/>
                  <a:gd name="T41" fmla="*/ 20 h 41"/>
                  <a:gd name="T42" fmla="*/ 36 w 39"/>
                  <a:gd name="T43" fmla="*/ 17 h 41"/>
                  <a:gd name="T44" fmla="*/ 39 w 39"/>
                  <a:gd name="T45" fmla="*/ 15 h 41"/>
                  <a:gd name="T46" fmla="*/ 39 w 39"/>
                  <a:gd name="T47" fmla="*/ 15 h 41"/>
                  <a:gd name="T48" fmla="*/ 39 w 39"/>
                  <a:gd name="T49" fmla="*/ 4 h 41"/>
                  <a:gd name="T50" fmla="*/ 37 w 39"/>
                  <a:gd name="T51" fmla="*/ 1 h 41"/>
                  <a:gd name="T52" fmla="*/ 36 w 39"/>
                  <a:gd name="T53" fmla="*/ 0 h 41"/>
                  <a:gd name="T54" fmla="*/ 35 w 39"/>
                  <a:gd name="T55" fmla="*/ 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9" h="41">
                    <a:moveTo>
                      <a:pt x="35" y="1"/>
                    </a:moveTo>
                    <a:lnTo>
                      <a:pt x="35" y="1"/>
                    </a:lnTo>
                    <a:lnTo>
                      <a:pt x="33" y="3"/>
                    </a:lnTo>
                    <a:lnTo>
                      <a:pt x="33" y="6"/>
                    </a:lnTo>
                    <a:lnTo>
                      <a:pt x="33" y="9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27" y="13"/>
                    </a:lnTo>
                    <a:lnTo>
                      <a:pt x="23" y="17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6" y="33"/>
                    </a:lnTo>
                    <a:lnTo>
                      <a:pt x="1" y="39"/>
                    </a:lnTo>
                    <a:lnTo>
                      <a:pt x="0" y="41"/>
                    </a:lnTo>
                    <a:lnTo>
                      <a:pt x="1" y="41"/>
                    </a:lnTo>
                    <a:lnTo>
                      <a:pt x="1" y="41"/>
                    </a:lnTo>
                    <a:lnTo>
                      <a:pt x="4" y="39"/>
                    </a:lnTo>
                    <a:lnTo>
                      <a:pt x="10" y="35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32" y="20"/>
                    </a:lnTo>
                    <a:lnTo>
                      <a:pt x="36" y="17"/>
                    </a:lnTo>
                    <a:lnTo>
                      <a:pt x="39" y="15"/>
                    </a:lnTo>
                    <a:lnTo>
                      <a:pt x="39" y="15"/>
                    </a:lnTo>
                    <a:lnTo>
                      <a:pt x="39" y="4"/>
                    </a:lnTo>
                    <a:lnTo>
                      <a:pt x="37" y="1"/>
                    </a:lnTo>
                    <a:lnTo>
                      <a:pt x="36" y="0"/>
                    </a:lnTo>
                    <a:lnTo>
                      <a:pt x="35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54" name="Freeform 1310"/>
              <p:cNvSpPr>
                <a:spLocks/>
              </p:cNvSpPr>
              <p:nvPr/>
            </p:nvSpPr>
            <p:spPr bwMode="auto">
              <a:xfrm>
                <a:off x="6276494" y="3152921"/>
                <a:ext cx="38581" cy="40560"/>
              </a:xfrm>
              <a:custGeom>
                <a:avLst/>
                <a:gdLst>
                  <a:gd name="T0" fmla="*/ 35 w 39"/>
                  <a:gd name="T1" fmla="*/ 1 h 41"/>
                  <a:gd name="T2" fmla="*/ 35 w 39"/>
                  <a:gd name="T3" fmla="*/ 1 h 41"/>
                  <a:gd name="T4" fmla="*/ 33 w 39"/>
                  <a:gd name="T5" fmla="*/ 3 h 41"/>
                  <a:gd name="T6" fmla="*/ 33 w 39"/>
                  <a:gd name="T7" fmla="*/ 6 h 41"/>
                  <a:gd name="T8" fmla="*/ 33 w 39"/>
                  <a:gd name="T9" fmla="*/ 9 h 41"/>
                  <a:gd name="T10" fmla="*/ 32 w 39"/>
                  <a:gd name="T11" fmla="*/ 12 h 41"/>
                  <a:gd name="T12" fmla="*/ 32 w 39"/>
                  <a:gd name="T13" fmla="*/ 12 h 41"/>
                  <a:gd name="T14" fmla="*/ 27 w 39"/>
                  <a:gd name="T15" fmla="*/ 13 h 41"/>
                  <a:gd name="T16" fmla="*/ 23 w 39"/>
                  <a:gd name="T17" fmla="*/ 17 h 41"/>
                  <a:gd name="T18" fmla="*/ 16 w 39"/>
                  <a:gd name="T19" fmla="*/ 23 h 41"/>
                  <a:gd name="T20" fmla="*/ 16 w 39"/>
                  <a:gd name="T21" fmla="*/ 23 h 41"/>
                  <a:gd name="T22" fmla="*/ 6 w 39"/>
                  <a:gd name="T23" fmla="*/ 33 h 41"/>
                  <a:gd name="T24" fmla="*/ 1 w 39"/>
                  <a:gd name="T25" fmla="*/ 39 h 41"/>
                  <a:gd name="T26" fmla="*/ 0 w 39"/>
                  <a:gd name="T27" fmla="*/ 41 h 41"/>
                  <a:gd name="T28" fmla="*/ 1 w 39"/>
                  <a:gd name="T29" fmla="*/ 41 h 41"/>
                  <a:gd name="T30" fmla="*/ 1 w 39"/>
                  <a:gd name="T31" fmla="*/ 41 h 41"/>
                  <a:gd name="T32" fmla="*/ 4 w 39"/>
                  <a:gd name="T33" fmla="*/ 39 h 41"/>
                  <a:gd name="T34" fmla="*/ 10 w 39"/>
                  <a:gd name="T35" fmla="*/ 35 h 41"/>
                  <a:gd name="T36" fmla="*/ 22 w 39"/>
                  <a:gd name="T37" fmla="*/ 26 h 41"/>
                  <a:gd name="T38" fmla="*/ 22 w 39"/>
                  <a:gd name="T39" fmla="*/ 26 h 41"/>
                  <a:gd name="T40" fmla="*/ 32 w 39"/>
                  <a:gd name="T41" fmla="*/ 20 h 41"/>
                  <a:gd name="T42" fmla="*/ 36 w 39"/>
                  <a:gd name="T43" fmla="*/ 17 h 41"/>
                  <a:gd name="T44" fmla="*/ 39 w 39"/>
                  <a:gd name="T45" fmla="*/ 15 h 41"/>
                  <a:gd name="T46" fmla="*/ 39 w 39"/>
                  <a:gd name="T47" fmla="*/ 15 h 41"/>
                  <a:gd name="T48" fmla="*/ 39 w 39"/>
                  <a:gd name="T49" fmla="*/ 4 h 41"/>
                  <a:gd name="T50" fmla="*/ 37 w 39"/>
                  <a:gd name="T51" fmla="*/ 1 h 41"/>
                  <a:gd name="T52" fmla="*/ 36 w 39"/>
                  <a:gd name="T53" fmla="*/ 0 h 41"/>
                  <a:gd name="T54" fmla="*/ 35 w 39"/>
                  <a:gd name="T55" fmla="*/ 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9" h="41">
                    <a:moveTo>
                      <a:pt x="35" y="1"/>
                    </a:moveTo>
                    <a:lnTo>
                      <a:pt x="35" y="1"/>
                    </a:lnTo>
                    <a:lnTo>
                      <a:pt x="33" y="3"/>
                    </a:lnTo>
                    <a:lnTo>
                      <a:pt x="33" y="6"/>
                    </a:lnTo>
                    <a:lnTo>
                      <a:pt x="33" y="9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27" y="13"/>
                    </a:lnTo>
                    <a:lnTo>
                      <a:pt x="23" y="17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6" y="33"/>
                    </a:lnTo>
                    <a:lnTo>
                      <a:pt x="1" y="39"/>
                    </a:lnTo>
                    <a:lnTo>
                      <a:pt x="0" y="41"/>
                    </a:lnTo>
                    <a:lnTo>
                      <a:pt x="1" y="41"/>
                    </a:lnTo>
                    <a:lnTo>
                      <a:pt x="1" y="41"/>
                    </a:lnTo>
                    <a:lnTo>
                      <a:pt x="4" y="39"/>
                    </a:lnTo>
                    <a:lnTo>
                      <a:pt x="10" y="35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32" y="20"/>
                    </a:lnTo>
                    <a:lnTo>
                      <a:pt x="36" y="17"/>
                    </a:lnTo>
                    <a:lnTo>
                      <a:pt x="39" y="15"/>
                    </a:lnTo>
                    <a:lnTo>
                      <a:pt x="39" y="15"/>
                    </a:lnTo>
                    <a:lnTo>
                      <a:pt x="39" y="4"/>
                    </a:lnTo>
                    <a:lnTo>
                      <a:pt x="37" y="1"/>
                    </a:lnTo>
                    <a:lnTo>
                      <a:pt x="36" y="0"/>
                    </a:lnTo>
                    <a:lnTo>
                      <a:pt x="35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57" name="Freeform 1313"/>
              <p:cNvSpPr>
                <a:spLocks/>
              </p:cNvSpPr>
              <p:nvPr/>
            </p:nvSpPr>
            <p:spPr bwMode="auto">
              <a:xfrm>
                <a:off x="6781016" y="3405182"/>
                <a:ext cx="52431" cy="16817"/>
              </a:xfrm>
              <a:custGeom>
                <a:avLst/>
                <a:gdLst>
                  <a:gd name="T0" fmla="*/ 0 w 53"/>
                  <a:gd name="T1" fmla="*/ 14 h 17"/>
                  <a:gd name="T2" fmla="*/ 0 w 53"/>
                  <a:gd name="T3" fmla="*/ 14 h 17"/>
                  <a:gd name="T4" fmla="*/ 5 w 53"/>
                  <a:gd name="T5" fmla="*/ 16 h 17"/>
                  <a:gd name="T6" fmla="*/ 16 w 53"/>
                  <a:gd name="T7" fmla="*/ 17 h 17"/>
                  <a:gd name="T8" fmla="*/ 27 w 53"/>
                  <a:gd name="T9" fmla="*/ 17 h 17"/>
                  <a:gd name="T10" fmla="*/ 34 w 53"/>
                  <a:gd name="T11" fmla="*/ 17 h 17"/>
                  <a:gd name="T12" fmla="*/ 34 w 53"/>
                  <a:gd name="T13" fmla="*/ 17 h 17"/>
                  <a:gd name="T14" fmla="*/ 46 w 53"/>
                  <a:gd name="T15" fmla="*/ 12 h 17"/>
                  <a:gd name="T16" fmla="*/ 52 w 53"/>
                  <a:gd name="T17" fmla="*/ 7 h 17"/>
                  <a:gd name="T18" fmla="*/ 53 w 53"/>
                  <a:gd name="T19" fmla="*/ 6 h 17"/>
                  <a:gd name="T20" fmla="*/ 53 w 53"/>
                  <a:gd name="T21" fmla="*/ 4 h 17"/>
                  <a:gd name="T22" fmla="*/ 53 w 53"/>
                  <a:gd name="T23" fmla="*/ 4 h 17"/>
                  <a:gd name="T24" fmla="*/ 50 w 53"/>
                  <a:gd name="T25" fmla="*/ 1 h 17"/>
                  <a:gd name="T26" fmla="*/ 47 w 53"/>
                  <a:gd name="T27" fmla="*/ 0 h 17"/>
                  <a:gd name="T28" fmla="*/ 43 w 53"/>
                  <a:gd name="T29" fmla="*/ 0 h 17"/>
                  <a:gd name="T30" fmla="*/ 42 w 53"/>
                  <a:gd name="T31" fmla="*/ 0 h 17"/>
                  <a:gd name="T32" fmla="*/ 42 w 53"/>
                  <a:gd name="T33" fmla="*/ 0 h 17"/>
                  <a:gd name="T34" fmla="*/ 34 w 53"/>
                  <a:gd name="T35" fmla="*/ 6 h 17"/>
                  <a:gd name="T36" fmla="*/ 29 w 53"/>
                  <a:gd name="T37" fmla="*/ 9 h 17"/>
                  <a:gd name="T38" fmla="*/ 26 w 53"/>
                  <a:gd name="T39" fmla="*/ 10 h 17"/>
                  <a:gd name="T40" fmla="*/ 26 w 53"/>
                  <a:gd name="T41" fmla="*/ 10 h 17"/>
                  <a:gd name="T42" fmla="*/ 24 w 53"/>
                  <a:gd name="T43" fmla="*/ 9 h 17"/>
                  <a:gd name="T44" fmla="*/ 23 w 53"/>
                  <a:gd name="T45" fmla="*/ 7 h 17"/>
                  <a:gd name="T46" fmla="*/ 23 w 53"/>
                  <a:gd name="T47" fmla="*/ 7 h 17"/>
                  <a:gd name="T48" fmla="*/ 21 w 53"/>
                  <a:gd name="T49" fmla="*/ 7 h 17"/>
                  <a:gd name="T50" fmla="*/ 21 w 53"/>
                  <a:gd name="T51" fmla="*/ 7 h 17"/>
                  <a:gd name="T52" fmla="*/ 8 w 53"/>
                  <a:gd name="T53" fmla="*/ 10 h 17"/>
                  <a:gd name="T54" fmla="*/ 2 w 53"/>
                  <a:gd name="T55" fmla="*/ 12 h 17"/>
                  <a:gd name="T56" fmla="*/ 0 w 53"/>
                  <a:gd name="T57" fmla="*/ 13 h 17"/>
                  <a:gd name="T58" fmla="*/ 0 w 53"/>
                  <a:gd name="T59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3" h="17">
                    <a:moveTo>
                      <a:pt x="0" y="14"/>
                    </a:moveTo>
                    <a:lnTo>
                      <a:pt x="0" y="14"/>
                    </a:lnTo>
                    <a:lnTo>
                      <a:pt x="5" y="16"/>
                    </a:lnTo>
                    <a:lnTo>
                      <a:pt x="16" y="17"/>
                    </a:lnTo>
                    <a:lnTo>
                      <a:pt x="27" y="17"/>
                    </a:lnTo>
                    <a:lnTo>
                      <a:pt x="34" y="17"/>
                    </a:lnTo>
                    <a:lnTo>
                      <a:pt x="34" y="17"/>
                    </a:lnTo>
                    <a:lnTo>
                      <a:pt x="46" y="12"/>
                    </a:lnTo>
                    <a:lnTo>
                      <a:pt x="52" y="7"/>
                    </a:lnTo>
                    <a:lnTo>
                      <a:pt x="53" y="6"/>
                    </a:lnTo>
                    <a:lnTo>
                      <a:pt x="53" y="4"/>
                    </a:lnTo>
                    <a:lnTo>
                      <a:pt x="53" y="4"/>
                    </a:lnTo>
                    <a:lnTo>
                      <a:pt x="50" y="1"/>
                    </a:lnTo>
                    <a:lnTo>
                      <a:pt x="47" y="0"/>
                    </a:lnTo>
                    <a:lnTo>
                      <a:pt x="43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34" y="6"/>
                    </a:lnTo>
                    <a:lnTo>
                      <a:pt x="29" y="9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9"/>
                    </a:lnTo>
                    <a:lnTo>
                      <a:pt x="23" y="7"/>
                    </a:lnTo>
                    <a:lnTo>
                      <a:pt x="23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8" y="10"/>
                    </a:lnTo>
                    <a:lnTo>
                      <a:pt x="2" y="12"/>
                    </a:lnTo>
                    <a:lnTo>
                      <a:pt x="0" y="13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58" name="Freeform 1314"/>
              <p:cNvSpPr>
                <a:spLocks/>
              </p:cNvSpPr>
              <p:nvPr/>
            </p:nvSpPr>
            <p:spPr bwMode="auto">
              <a:xfrm>
                <a:off x="6781016" y="3405182"/>
                <a:ext cx="52431" cy="16817"/>
              </a:xfrm>
              <a:custGeom>
                <a:avLst/>
                <a:gdLst>
                  <a:gd name="T0" fmla="*/ 0 w 53"/>
                  <a:gd name="T1" fmla="*/ 14 h 17"/>
                  <a:gd name="T2" fmla="*/ 0 w 53"/>
                  <a:gd name="T3" fmla="*/ 14 h 17"/>
                  <a:gd name="T4" fmla="*/ 5 w 53"/>
                  <a:gd name="T5" fmla="*/ 16 h 17"/>
                  <a:gd name="T6" fmla="*/ 16 w 53"/>
                  <a:gd name="T7" fmla="*/ 17 h 17"/>
                  <a:gd name="T8" fmla="*/ 27 w 53"/>
                  <a:gd name="T9" fmla="*/ 17 h 17"/>
                  <a:gd name="T10" fmla="*/ 34 w 53"/>
                  <a:gd name="T11" fmla="*/ 17 h 17"/>
                  <a:gd name="T12" fmla="*/ 34 w 53"/>
                  <a:gd name="T13" fmla="*/ 17 h 17"/>
                  <a:gd name="T14" fmla="*/ 46 w 53"/>
                  <a:gd name="T15" fmla="*/ 12 h 17"/>
                  <a:gd name="T16" fmla="*/ 52 w 53"/>
                  <a:gd name="T17" fmla="*/ 7 h 17"/>
                  <a:gd name="T18" fmla="*/ 53 w 53"/>
                  <a:gd name="T19" fmla="*/ 6 h 17"/>
                  <a:gd name="T20" fmla="*/ 53 w 53"/>
                  <a:gd name="T21" fmla="*/ 4 h 17"/>
                  <a:gd name="T22" fmla="*/ 53 w 53"/>
                  <a:gd name="T23" fmla="*/ 4 h 17"/>
                  <a:gd name="T24" fmla="*/ 50 w 53"/>
                  <a:gd name="T25" fmla="*/ 1 h 17"/>
                  <a:gd name="T26" fmla="*/ 47 w 53"/>
                  <a:gd name="T27" fmla="*/ 0 h 17"/>
                  <a:gd name="T28" fmla="*/ 43 w 53"/>
                  <a:gd name="T29" fmla="*/ 0 h 17"/>
                  <a:gd name="T30" fmla="*/ 42 w 53"/>
                  <a:gd name="T31" fmla="*/ 0 h 17"/>
                  <a:gd name="T32" fmla="*/ 42 w 53"/>
                  <a:gd name="T33" fmla="*/ 0 h 17"/>
                  <a:gd name="T34" fmla="*/ 34 w 53"/>
                  <a:gd name="T35" fmla="*/ 6 h 17"/>
                  <a:gd name="T36" fmla="*/ 29 w 53"/>
                  <a:gd name="T37" fmla="*/ 9 h 17"/>
                  <a:gd name="T38" fmla="*/ 26 w 53"/>
                  <a:gd name="T39" fmla="*/ 10 h 17"/>
                  <a:gd name="T40" fmla="*/ 26 w 53"/>
                  <a:gd name="T41" fmla="*/ 10 h 17"/>
                  <a:gd name="T42" fmla="*/ 24 w 53"/>
                  <a:gd name="T43" fmla="*/ 9 h 17"/>
                  <a:gd name="T44" fmla="*/ 23 w 53"/>
                  <a:gd name="T45" fmla="*/ 7 h 17"/>
                  <a:gd name="T46" fmla="*/ 23 w 53"/>
                  <a:gd name="T47" fmla="*/ 7 h 17"/>
                  <a:gd name="T48" fmla="*/ 21 w 53"/>
                  <a:gd name="T49" fmla="*/ 7 h 17"/>
                  <a:gd name="T50" fmla="*/ 21 w 53"/>
                  <a:gd name="T51" fmla="*/ 7 h 17"/>
                  <a:gd name="T52" fmla="*/ 8 w 53"/>
                  <a:gd name="T53" fmla="*/ 10 h 17"/>
                  <a:gd name="T54" fmla="*/ 2 w 53"/>
                  <a:gd name="T55" fmla="*/ 12 h 17"/>
                  <a:gd name="T56" fmla="*/ 0 w 53"/>
                  <a:gd name="T57" fmla="*/ 13 h 17"/>
                  <a:gd name="T58" fmla="*/ 0 w 53"/>
                  <a:gd name="T59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3" h="17">
                    <a:moveTo>
                      <a:pt x="0" y="14"/>
                    </a:moveTo>
                    <a:lnTo>
                      <a:pt x="0" y="14"/>
                    </a:lnTo>
                    <a:lnTo>
                      <a:pt x="5" y="16"/>
                    </a:lnTo>
                    <a:lnTo>
                      <a:pt x="16" y="17"/>
                    </a:lnTo>
                    <a:lnTo>
                      <a:pt x="27" y="17"/>
                    </a:lnTo>
                    <a:lnTo>
                      <a:pt x="34" y="17"/>
                    </a:lnTo>
                    <a:lnTo>
                      <a:pt x="34" y="17"/>
                    </a:lnTo>
                    <a:lnTo>
                      <a:pt x="46" y="12"/>
                    </a:lnTo>
                    <a:lnTo>
                      <a:pt x="52" y="7"/>
                    </a:lnTo>
                    <a:lnTo>
                      <a:pt x="53" y="6"/>
                    </a:lnTo>
                    <a:lnTo>
                      <a:pt x="53" y="4"/>
                    </a:lnTo>
                    <a:lnTo>
                      <a:pt x="53" y="4"/>
                    </a:lnTo>
                    <a:lnTo>
                      <a:pt x="50" y="1"/>
                    </a:lnTo>
                    <a:lnTo>
                      <a:pt x="47" y="0"/>
                    </a:lnTo>
                    <a:lnTo>
                      <a:pt x="43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34" y="6"/>
                    </a:lnTo>
                    <a:lnTo>
                      <a:pt x="29" y="9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9"/>
                    </a:lnTo>
                    <a:lnTo>
                      <a:pt x="23" y="7"/>
                    </a:lnTo>
                    <a:lnTo>
                      <a:pt x="23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8" y="10"/>
                    </a:lnTo>
                    <a:lnTo>
                      <a:pt x="2" y="12"/>
                    </a:lnTo>
                    <a:lnTo>
                      <a:pt x="0" y="13"/>
                    </a:lnTo>
                    <a:lnTo>
                      <a:pt x="0" y="1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59" name="Freeform 1315"/>
              <p:cNvSpPr>
                <a:spLocks/>
              </p:cNvSpPr>
              <p:nvPr/>
            </p:nvSpPr>
            <p:spPr bwMode="auto">
              <a:xfrm>
                <a:off x="6879942" y="3418043"/>
                <a:ext cx="14839" cy="16817"/>
              </a:xfrm>
              <a:custGeom>
                <a:avLst/>
                <a:gdLst>
                  <a:gd name="T0" fmla="*/ 8 w 15"/>
                  <a:gd name="T1" fmla="*/ 17 h 17"/>
                  <a:gd name="T2" fmla="*/ 8 w 15"/>
                  <a:gd name="T3" fmla="*/ 17 h 17"/>
                  <a:gd name="T4" fmla="*/ 4 w 15"/>
                  <a:gd name="T5" fmla="*/ 13 h 17"/>
                  <a:gd name="T6" fmla="*/ 1 w 15"/>
                  <a:gd name="T7" fmla="*/ 7 h 17"/>
                  <a:gd name="T8" fmla="*/ 0 w 15"/>
                  <a:gd name="T9" fmla="*/ 1 h 17"/>
                  <a:gd name="T10" fmla="*/ 0 w 15"/>
                  <a:gd name="T11" fmla="*/ 0 h 17"/>
                  <a:gd name="T12" fmla="*/ 2 w 15"/>
                  <a:gd name="T13" fmla="*/ 0 h 17"/>
                  <a:gd name="T14" fmla="*/ 2 w 15"/>
                  <a:gd name="T15" fmla="*/ 0 h 17"/>
                  <a:gd name="T16" fmla="*/ 8 w 15"/>
                  <a:gd name="T17" fmla="*/ 4 h 17"/>
                  <a:gd name="T18" fmla="*/ 14 w 15"/>
                  <a:gd name="T19" fmla="*/ 10 h 17"/>
                  <a:gd name="T20" fmla="*/ 15 w 15"/>
                  <a:gd name="T21" fmla="*/ 13 h 17"/>
                  <a:gd name="T22" fmla="*/ 15 w 15"/>
                  <a:gd name="T23" fmla="*/ 16 h 17"/>
                  <a:gd name="T24" fmla="*/ 14 w 15"/>
                  <a:gd name="T25" fmla="*/ 17 h 17"/>
                  <a:gd name="T26" fmla="*/ 8 w 15"/>
                  <a:gd name="T2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17">
                    <a:moveTo>
                      <a:pt x="8" y="17"/>
                    </a:moveTo>
                    <a:lnTo>
                      <a:pt x="8" y="17"/>
                    </a:lnTo>
                    <a:lnTo>
                      <a:pt x="4" y="13"/>
                    </a:lnTo>
                    <a:lnTo>
                      <a:pt x="1" y="7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8" y="4"/>
                    </a:lnTo>
                    <a:lnTo>
                      <a:pt x="14" y="10"/>
                    </a:lnTo>
                    <a:lnTo>
                      <a:pt x="15" y="13"/>
                    </a:lnTo>
                    <a:lnTo>
                      <a:pt x="15" y="16"/>
                    </a:lnTo>
                    <a:lnTo>
                      <a:pt x="14" y="17"/>
                    </a:lnTo>
                    <a:lnTo>
                      <a:pt x="8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60" name="Freeform 1316"/>
              <p:cNvSpPr>
                <a:spLocks/>
              </p:cNvSpPr>
              <p:nvPr/>
            </p:nvSpPr>
            <p:spPr bwMode="auto">
              <a:xfrm>
                <a:off x="6879942" y="3418043"/>
                <a:ext cx="14839" cy="16817"/>
              </a:xfrm>
              <a:custGeom>
                <a:avLst/>
                <a:gdLst>
                  <a:gd name="T0" fmla="*/ 8 w 15"/>
                  <a:gd name="T1" fmla="*/ 17 h 17"/>
                  <a:gd name="T2" fmla="*/ 8 w 15"/>
                  <a:gd name="T3" fmla="*/ 17 h 17"/>
                  <a:gd name="T4" fmla="*/ 4 w 15"/>
                  <a:gd name="T5" fmla="*/ 13 h 17"/>
                  <a:gd name="T6" fmla="*/ 1 w 15"/>
                  <a:gd name="T7" fmla="*/ 7 h 17"/>
                  <a:gd name="T8" fmla="*/ 0 w 15"/>
                  <a:gd name="T9" fmla="*/ 1 h 17"/>
                  <a:gd name="T10" fmla="*/ 0 w 15"/>
                  <a:gd name="T11" fmla="*/ 0 h 17"/>
                  <a:gd name="T12" fmla="*/ 2 w 15"/>
                  <a:gd name="T13" fmla="*/ 0 h 17"/>
                  <a:gd name="T14" fmla="*/ 2 w 15"/>
                  <a:gd name="T15" fmla="*/ 0 h 17"/>
                  <a:gd name="T16" fmla="*/ 8 w 15"/>
                  <a:gd name="T17" fmla="*/ 4 h 17"/>
                  <a:gd name="T18" fmla="*/ 14 w 15"/>
                  <a:gd name="T19" fmla="*/ 10 h 17"/>
                  <a:gd name="T20" fmla="*/ 15 w 15"/>
                  <a:gd name="T21" fmla="*/ 13 h 17"/>
                  <a:gd name="T22" fmla="*/ 15 w 15"/>
                  <a:gd name="T23" fmla="*/ 16 h 17"/>
                  <a:gd name="T24" fmla="*/ 14 w 15"/>
                  <a:gd name="T25" fmla="*/ 17 h 17"/>
                  <a:gd name="T26" fmla="*/ 8 w 15"/>
                  <a:gd name="T2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17">
                    <a:moveTo>
                      <a:pt x="8" y="17"/>
                    </a:moveTo>
                    <a:lnTo>
                      <a:pt x="8" y="17"/>
                    </a:lnTo>
                    <a:lnTo>
                      <a:pt x="4" y="13"/>
                    </a:lnTo>
                    <a:lnTo>
                      <a:pt x="1" y="7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8" y="4"/>
                    </a:lnTo>
                    <a:lnTo>
                      <a:pt x="14" y="10"/>
                    </a:lnTo>
                    <a:lnTo>
                      <a:pt x="15" y="13"/>
                    </a:lnTo>
                    <a:lnTo>
                      <a:pt x="15" y="16"/>
                    </a:lnTo>
                    <a:lnTo>
                      <a:pt x="14" y="17"/>
                    </a:lnTo>
                    <a:lnTo>
                      <a:pt x="8" y="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pic>
            <p:nvPicPr>
              <p:cNvPr id="565" name="Picture 1321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18439" y="3645572"/>
                <a:ext cx="56388" cy="43527"/>
              </a:xfrm>
              <a:prstGeom prst="rect">
                <a:avLst/>
              </a:prstGeom>
              <a:grpFill/>
              <a:ln>
                <a:noFill/>
              </a:ln>
            </p:spPr>
          </p:pic>
          <p:sp>
            <p:nvSpPr>
              <p:cNvPr id="566" name="Freeform 1322"/>
              <p:cNvSpPr>
                <a:spLocks/>
              </p:cNvSpPr>
              <p:nvPr/>
            </p:nvSpPr>
            <p:spPr bwMode="auto">
              <a:xfrm>
                <a:off x="7217280" y="3603034"/>
                <a:ext cx="20774" cy="15828"/>
              </a:xfrm>
              <a:custGeom>
                <a:avLst/>
                <a:gdLst>
                  <a:gd name="T0" fmla="*/ 15 w 21"/>
                  <a:gd name="T1" fmla="*/ 16 h 16"/>
                  <a:gd name="T2" fmla="*/ 15 w 21"/>
                  <a:gd name="T3" fmla="*/ 16 h 16"/>
                  <a:gd name="T4" fmla="*/ 6 w 21"/>
                  <a:gd name="T5" fmla="*/ 16 h 16"/>
                  <a:gd name="T6" fmla="*/ 2 w 21"/>
                  <a:gd name="T7" fmla="*/ 13 h 16"/>
                  <a:gd name="T8" fmla="*/ 0 w 21"/>
                  <a:gd name="T9" fmla="*/ 11 h 16"/>
                  <a:gd name="T10" fmla="*/ 0 w 21"/>
                  <a:gd name="T11" fmla="*/ 11 h 16"/>
                  <a:gd name="T12" fmla="*/ 0 w 21"/>
                  <a:gd name="T13" fmla="*/ 9 h 16"/>
                  <a:gd name="T14" fmla="*/ 0 w 21"/>
                  <a:gd name="T15" fmla="*/ 9 h 16"/>
                  <a:gd name="T16" fmla="*/ 3 w 21"/>
                  <a:gd name="T17" fmla="*/ 6 h 16"/>
                  <a:gd name="T18" fmla="*/ 6 w 21"/>
                  <a:gd name="T19" fmla="*/ 4 h 16"/>
                  <a:gd name="T20" fmla="*/ 9 w 21"/>
                  <a:gd name="T21" fmla="*/ 3 h 16"/>
                  <a:gd name="T22" fmla="*/ 10 w 21"/>
                  <a:gd name="T23" fmla="*/ 1 h 16"/>
                  <a:gd name="T24" fmla="*/ 10 w 21"/>
                  <a:gd name="T25" fmla="*/ 1 h 16"/>
                  <a:gd name="T26" fmla="*/ 10 w 21"/>
                  <a:gd name="T27" fmla="*/ 0 h 16"/>
                  <a:gd name="T28" fmla="*/ 10 w 21"/>
                  <a:gd name="T29" fmla="*/ 0 h 16"/>
                  <a:gd name="T30" fmla="*/ 13 w 21"/>
                  <a:gd name="T31" fmla="*/ 1 h 16"/>
                  <a:gd name="T32" fmla="*/ 18 w 21"/>
                  <a:gd name="T33" fmla="*/ 6 h 16"/>
                  <a:gd name="T34" fmla="*/ 18 w 21"/>
                  <a:gd name="T35" fmla="*/ 6 h 16"/>
                  <a:gd name="T36" fmla="*/ 19 w 21"/>
                  <a:gd name="T37" fmla="*/ 9 h 16"/>
                  <a:gd name="T38" fmla="*/ 21 w 21"/>
                  <a:gd name="T39" fmla="*/ 11 h 16"/>
                  <a:gd name="T40" fmla="*/ 21 w 21"/>
                  <a:gd name="T41" fmla="*/ 11 h 16"/>
                  <a:gd name="T42" fmla="*/ 19 w 21"/>
                  <a:gd name="T43" fmla="*/ 14 h 16"/>
                  <a:gd name="T44" fmla="*/ 18 w 21"/>
                  <a:gd name="T45" fmla="*/ 16 h 16"/>
                  <a:gd name="T46" fmla="*/ 15 w 21"/>
                  <a:gd name="T4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1" h="16">
                    <a:moveTo>
                      <a:pt x="15" y="16"/>
                    </a:moveTo>
                    <a:lnTo>
                      <a:pt x="15" y="16"/>
                    </a:lnTo>
                    <a:lnTo>
                      <a:pt x="6" y="16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6"/>
                    </a:lnTo>
                    <a:lnTo>
                      <a:pt x="6" y="4"/>
                    </a:lnTo>
                    <a:lnTo>
                      <a:pt x="9" y="3"/>
                    </a:lnTo>
                    <a:lnTo>
                      <a:pt x="10" y="1"/>
                    </a:lnTo>
                    <a:lnTo>
                      <a:pt x="10" y="1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3" y="1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9" y="9"/>
                    </a:lnTo>
                    <a:lnTo>
                      <a:pt x="21" y="11"/>
                    </a:lnTo>
                    <a:lnTo>
                      <a:pt x="21" y="11"/>
                    </a:lnTo>
                    <a:lnTo>
                      <a:pt x="19" y="14"/>
                    </a:lnTo>
                    <a:lnTo>
                      <a:pt x="18" y="16"/>
                    </a:lnTo>
                    <a:lnTo>
                      <a:pt x="15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67" name="Freeform 1323"/>
              <p:cNvSpPr>
                <a:spLocks/>
              </p:cNvSpPr>
              <p:nvPr/>
            </p:nvSpPr>
            <p:spPr bwMode="auto">
              <a:xfrm>
                <a:off x="7217280" y="3603034"/>
                <a:ext cx="20774" cy="15828"/>
              </a:xfrm>
              <a:custGeom>
                <a:avLst/>
                <a:gdLst>
                  <a:gd name="T0" fmla="*/ 15 w 21"/>
                  <a:gd name="T1" fmla="*/ 16 h 16"/>
                  <a:gd name="T2" fmla="*/ 15 w 21"/>
                  <a:gd name="T3" fmla="*/ 16 h 16"/>
                  <a:gd name="T4" fmla="*/ 6 w 21"/>
                  <a:gd name="T5" fmla="*/ 16 h 16"/>
                  <a:gd name="T6" fmla="*/ 2 w 21"/>
                  <a:gd name="T7" fmla="*/ 13 h 16"/>
                  <a:gd name="T8" fmla="*/ 0 w 21"/>
                  <a:gd name="T9" fmla="*/ 11 h 16"/>
                  <a:gd name="T10" fmla="*/ 0 w 21"/>
                  <a:gd name="T11" fmla="*/ 11 h 16"/>
                  <a:gd name="T12" fmla="*/ 0 w 21"/>
                  <a:gd name="T13" fmla="*/ 9 h 16"/>
                  <a:gd name="T14" fmla="*/ 0 w 21"/>
                  <a:gd name="T15" fmla="*/ 9 h 16"/>
                  <a:gd name="T16" fmla="*/ 3 w 21"/>
                  <a:gd name="T17" fmla="*/ 6 h 16"/>
                  <a:gd name="T18" fmla="*/ 6 w 21"/>
                  <a:gd name="T19" fmla="*/ 4 h 16"/>
                  <a:gd name="T20" fmla="*/ 9 w 21"/>
                  <a:gd name="T21" fmla="*/ 3 h 16"/>
                  <a:gd name="T22" fmla="*/ 10 w 21"/>
                  <a:gd name="T23" fmla="*/ 1 h 16"/>
                  <a:gd name="T24" fmla="*/ 10 w 21"/>
                  <a:gd name="T25" fmla="*/ 1 h 16"/>
                  <a:gd name="T26" fmla="*/ 10 w 21"/>
                  <a:gd name="T27" fmla="*/ 0 h 16"/>
                  <a:gd name="T28" fmla="*/ 10 w 21"/>
                  <a:gd name="T29" fmla="*/ 0 h 16"/>
                  <a:gd name="T30" fmla="*/ 13 w 21"/>
                  <a:gd name="T31" fmla="*/ 1 h 16"/>
                  <a:gd name="T32" fmla="*/ 18 w 21"/>
                  <a:gd name="T33" fmla="*/ 6 h 16"/>
                  <a:gd name="T34" fmla="*/ 18 w 21"/>
                  <a:gd name="T35" fmla="*/ 6 h 16"/>
                  <a:gd name="T36" fmla="*/ 19 w 21"/>
                  <a:gd name="T37" fmla="*/ 9 h 16"/>
                  <a:gd name="T38" fmla="*/ 21 w 21"/>
                  <a:gd name="T39" fmla="*/ 11 h 16"/>
                  <a:gd name="T40" fmla="*/ 21 w 21"/>
                  <a:gd name="T41" fmla="*/ 11 h 16"/>
                  <a:gd name="T42" fmla="*/ 19 w 21"/>
                  <a:gd name="T43" fmla="*/ 14 h 16"/>
                  <a:gd name="T44" fmla="*/ 18 w 21"/>
                  <a:gd name="T45" fmla="*/ 16 h 16"/>
                  <a:gd name="T46" fmla="*/ 15 w 21"/>
                  <a:gd name="T4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1" h="16">
                    <a:moveTo>
                      <a:pt x="15" y="16"/>
                    </a:moveTo>
                    <a:lnTo>
                      <a:pt x="15" y="16"/>
                    </a:lnTo>
                    <a:lnTo>
                      <a:pt x="6" y="16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6"/>
                    </a:lnTo>
                    <a:lnTo>
                      <a:pt x="6" y="4"/>
                    </a:lnTo>
                    <a:lnTo>
                      <a:pt x="9" y="3"/>
                    </a:lnTo>
                    <a:lnTo>
                      <a:pt x="10" y="1"/>
                    </a:lnTo>
                    <a:lnTo>
                      <a:pt x="10" y="1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3" y="1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9" y="9"/>
                    </a:lnTo>
                    <a:lnTo>
                      <a:pt x="21" y="11"/>
                    </a:lnTo>
                    <a:lnTo>
                      <a:pt x="21" y="11"/>
                    </a:lnTo>
                    <a:lnTo>
                      <a:pt x="19" y="14"/>
                    </a:lnTo>
                    <a:lnTo>
                      <a:pt x="18" y="16"/>
                    </a:lnTo>
                    <a:lnTo>
                      <a:pt x="15" y="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68" name="Freeform 1324"/>
              <p:cNvSpPr>
                <a:spLocks/>
              </p:cNvSpPr>
              <p:nvPr/>
            </p:nvSpPr>
            <p:spPr bwMode="auto">
              <a:xfrm>
                <a:off x="7233108" y="3583249"/>
                <a:ext cx="17807" cy="10882"/>
              </a:xfrm>
              <a:custGeom>
                <a:avLst/>
                <a:gdLst>
                  <a:gd name="T0" fmla="*/ 6 w 18"/>
                  <a:gd name="T1" fmla="*/ 11 h 11"/>
                  <a:gd name="T2" fmla="*/ 6 w 18"/>
                  <a:gd name="T3" fmla="*/ 11 h 11"/>
                  <a:gd name="T4" fmla="*/ 2 w 18"/>
                  <a:gd name="T5" fmla="*/ 11 h 11"/>
                  <a:gd name="T6" fmla="*/ 2 w 18"/>
                  <a:gd name="T7" fmla="*/ 11 h 11"/>
                  <a:gd name="T8" fmla="*/ 0 w 18"/>
                  <a:gd name="T9" fmla="*/ 8 h 11"/>
                  <a:gd name="T10" fmla="*/ 0 w 18"/>
                  <a:gd name="T11" fmla="*/ 8 h 11"/>
                  <a:gd name="T12" fmla="*/ 2 w 18"/>
                  <a:gd name="T13" fmla="*/ 7 h 11"/>
                  <a:gd name="T14" fmla="*/ 5 w 18"/>
                  <a:gd name="T15" fmla="*/ 5 h 11"/>
                  <a:gd name="T16" fmla="*/ 5 w 18"/>
                  <a:gd name="T17" fmla="*/ 5 h 11"/>
                  <a:gd name="T18" fmla="*/ 12 w 18"/>
                  <a:gd name="T19" fmla="*/ 2 h 11"/>
                  <a:gd name="T20" fmla="*/ 18 w 18"/>
                  <a:gd name="T21" fmla="*/ 0 h 11"/>
                  <a:gd name="T22" fmla="*/ 18 w 18"/>
                  <a:gd name="T23" fmla="*/ 0 h 11"/>
                  <a:gd name="T24" fmla="*/ 18 w 18"/>
                  <a:gd name="T25" fmla="*/ 1 h 11"/>
                  <a:gd name="T26" fmla="*/ 18 w 18"/>
                  <a:gd name="T27" fmla="*/ 1 h 11"/>
                  <a:gd name="T28" fmla="*/ 18 w 18"/>
                  <a:gd name="T29" fmla="*/ 1 h 11"/>
                  <a:gd name="T30" fmla="*/ 18 w 18"/>
                  <a:gd name="T31" fmla="*/ 4 h 11"/>
                  <a:gd name="T32" fmla="*/ 15 w 18"/>
                  <a:gd name="T33" fmla="*/ 8 h 11"/>
                  <a:gd name="T34" fmla="*/ 10 w 18"/>
                  <a:gd name="T35" fmla="*/ 10 h 11"/>
                  <a:gd name="T36" fmla="*/ 6 w 18"/>
                  <a:gd name="T3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11">
                    <a:moveTo>
                      <a:pt x="6" y="11"/>
                    </a:moveTo>
                    <a:lnTo>
                      <a:pt x="6" y="11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7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1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1"/>
                    </a:lnTo>
                    <a:lnTo>
                      <a:pt x="18" y="1"/>
                    </a:lnTo>
                    <a:lnTo>
                      <a:pt x="18" y="1"/>
                    </a:lnTo>
                    <a:lnTo>
                      <a:pt x="18" y="4"/>
                    </a:lnTo>
                    <a:lnTo>
                      <a:pt x="15" y="8"/>
                    </a:lnTo>
                    <a:lnTo>
                      <a:pt x="10" y="10"/>
                    </a:lnTo>
                    <a:lnTo>
                      <a:pt x="6" y="1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69" name="Freeform 1325"/>
              <p:cNvSpPr>
                <a:spLocks/>
              </p:cNvSpPr>
              <p:nvPr/>
            </p:nvSpPr>
            <p:spPr bwMode="auto">
              <a:xfrm>
                <a:off x="7233108" y="3583249"/>
                <a:ext cx="17807" cy="10882"/>
              </a:xfrm>
              <a:custGeom>
                <a:avLst/>
                <a:gdLst>
                  <a:gd name="T0" fmla="*/ 6 w 18"/>
                  <a:gd name="T1" fmla="*/ 11 h 11"/>
                  <a:gd name="T2" fmla="*/ 6 w 18"/>
                  <a:gd name="T3" fmla="*/ 11 h 11"/>
                  <a:gd name="T4" fmla="*/ 2 w 18"/>
                  <a:gd name="T5" fmla="*/ 11 h 11"/>
                  <a:gd name="T6" fmla="*/ 2 w 18"/>
                  <a:gd name="T7" fmla="*/ 11 h 11"/>
                  <a:gd name="T8" fmla="*/ 0 w 18"/>
                  <a:gd name="T9" fmla="*/ 8 h 11"/>
                  <a:gd name="T10" fmla="*/ 0 w 18"/>
                  <a:gd name="T11" fmla="*/ 8 h 11"/>
                  <a:gd name="T12" fmla="*/ 2 w 18"/>
                  <a:gd name="T13" fmla="*/ 7 h 11"/>
                  <a:gd name="T14" fmla="*/ 5 w 18"/>
                  <a:gd name="T15" fmla="*/ 5 h 11"/>
                  <a:gd name="T16" fmla="*/ 5 w 18"/>
                  <a:gd name="T17" fmla="*/ 5 h 11"/>
                  <a:gd name="T18" fmla="*/ 12 w 18"/>
                  <a:gd name="T19" fmla="*/ 2 h 11"/>
                  <a:gd name="T20" fmla="*/ 18 w 18"/>
                  <a:gd name="T21" fmla="*/ 0 h 11"/>
                  <a:gd name="T22" fmla="*/ 18 w 18"/>
                  <a:gd name="T23" fmla="*/ 0 h 11"/>
                  <a:gd name="T24" fmla="*/ 18 w 18"/>
                  <a:gd name="T25" fmla="*/ 1 h 11"/>
                  <a:gd name="T26" fmla="*/ 18 w 18"/>
                  <a:gd name="T27" fmla="*/ 1 h 11"/>
                  <a:gd name="T28" fmla="*/ 18 w 18"/>
                  <a:gd name="T29" fmla="*/ 1 h 11"/>
                  <a:gd name="T30" fmla="*/ 18 w 18"/>
                  <a:gd name="T31" fmla="*/ 4 h 11"/>
                  <a:gd name="T32" fmla="*/ 15 w 18"/>
                  <a:gd name="T33" fmla="*/ 8 h 11"/>
                  <a:gd name="T34" fmla="*/ 10 w 18"/>
                  <a:gd name="T35" fmla="*/ 10 h 11"/>
                  <a:gd name="T36" fmla="*/ 6 w 18"/>
                  <a:gd name="T3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11">
                    <a:moveTo>
                      <a:pt x="6" y="11"/>
                    </a:moveTo>
                    <a:lnTo>
                      <a:pt x="6" y="11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7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1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1"/>
                    </a:lnTo>
                    <a:lnTo>
                      <a:pt x="18" y="1"/>
                    </a:lnTo>
                    <a:lnTo>
                      <a:pt x="18" y="1"/>
                    </a:lnTo>
                    <a:lnTo>
                      <a:pt x="18" y="4"/>
                    </a:lnTo>
                    <a:lnTo>
                      <a:pt x="15" y="8"/>
                    </a:lnTo>
                    <a:lnTo>
                      <a:pt x="10" y="10"/>
                    </a:lnTo>
                    <a:lnTo>
                      <a:pt x="6" y="1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70" name="Freeform 1326"/>
              <p:cNvSpPr>
                <a:spLocks/>
              </p:cNvSpPr>
              <p:nvPr/>
            </p:nvSpPr>
            <p:spPr bwMode="auto">
              <a:xfrm>
                <a:off x="7367647" y="3539722"/>
                <a:ext cx="10882" cy="3957"/>
              </a:xfrm>
              <a:custGeom>
                <a:avLst/>
                <a:gdLst>
                  <a:gd name="T0" fmla="*/ 5 w 11"/>
                  <a:gd name="T1" fmla="*/ 4 h 4"/>
                  <a:gd name="T2" fmla="*/ 5 w 11"/>
                  <a:gd name="T3" fmla="*/ 4 h 4"/>
                  <a:gd name="T4" fmla="*/ 2 w 11"/>
                  <a:gd name="T5" fmla="*/ 3 h 4"/>
                  <a:gd name="T6" fmla="*/ 0 w 11"/>
                  <a:gd name="T7" fmla="*/ 2 h 4"/>
                  <a:gd name="T8" fmla="*/ 0 w 11"/>
                  <a:gd name="T9" fmla="*/ 2 h 4"/>
                  <a:gd name="T10" fmla="*/ 2 w 11"/>
                  <a:gd name="T11" fmla="*/ 0 h 4"/>
                  <a:gd name="T12" fmla="*/ 3 w 11"/>
                  <a:gd name="T13" fmla="*/ 0 h 4"/>
                  <a:gd name="T14" fmla="*/ 3 w 11"/>
                  <a:gd name="T15" fmla="*/ 0 h 4"/>
                  <a:gd name="T16" fmla="*/ 8 w 11"/>
                  <a:gd name="T17" fmla="*/ 0 h 4"/>
                  <a:gd name="T18" fmla="*/ 11 w 11"/>
                  <a:gd name="T19" fmla="*/ 0 h 4"/>
                  <a:gd name="T20" fmla="*/ 11 w 11"/>
                  <a:gd name="T21" fmla="*/ 0 h 4"/>
                  <a:gd name="T22" fmla="*/ 6 w 11"/>
                  <a:gd name="T23" fmla="*/ 3 h 4"/>
                  <a:gd name="T24" fmla="*/ 6 w 11"/>
                  <a:gd name="T25" fmla="*/ 3 h 4"/>
                  <a:gd name="T26" fmla="*/ 5 w 11"/>
                  <a:gd name="T2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4">
                    <a:moveTo>
                      <a:pt x="5" y="4"/>
                    </a:moveTo>
                    <a:lnTo>
                      <a:pt x="5" y="4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5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71" name="Freeform 1327"/>
              <p:cNvSpPr>
                <a:spLocks/>
              </p:cNvSpPr>
              <p:nvPr/>
            </p:nvSpPr>
            <p:spPr bwMode="auto">
              <a:xfrm>
                <a:off x="7367647" y="3539722"/>
                <a:ext cx="10882" cy="3957"/>
              </a:xfrm>
              <a:custGeom>
                <a:avLst/>
                <a:gdLst>
                  <a:gd name="T0" fmla="*/ 5 w 11"/>
                  <a:gd name="T1" fmla="*/ 4 h 4"/>
                  <a:gd name="T2" fmla="*/ 5 w 11"/>
                  <a:gd name="T3" fmla="*/ 4 h 4"/>
                  <a:gd name="T4" fmla="*/ 2 w 11"/>
                  <a:gd name="T5" fmla="*/ 3 h 4"/>
                  <a:gd name="T6" fmla="*/ 0 w 11"/>
                  <a:gd name="T7" fmla="*/ 2 h 4"/>
                  <a:gd name="T8" fmla="*/ 0 w 11"/>
                  <a:gd name="T9" fmla="*/ 2 h 4"/>
                  <a:gd name="T10" fmla="*/ 2 w 11"/>
                  <a:gd name="T11" fmla="*/ 0 h 4"/>
                  <a:gd name="T12" fmla="*/ 3 w 11"/>
                  <a:gd name="T13" fmla="*/ 0 h 4"/>
                  <a:gd name="T14" fmla="*/ 3 w 11"/>
                  <a:gd name="T15" fmla="*/ 0 h 4"/>
                  <a:gd name="T16" fmla="*/ 8 w 11"/>
                  <a:gd name="T17" fmla="*/ 0 h 4"/>
                  <a:gd name="T18" fmla="*/ 11 w 11"/>
                  <a:gd name="T19" fmla="*/ 0 h 4"/>
                  <a:gd name="T20" fmla="*/ 11 w 11"/>
                  <a:gd name="T21" fmla="*/ 0 h 4"/>
                  <a:gd name="T22" fmla="*/ 6 w 11"/>
                  <a:gd name="T23" fmla="*/ 3 h 4"/>
                  <a:gd name="T24" fmla="*/ 6 w 11"/>
                  <a:gd name="T25" fmla="*/ 3 h 4"/>
                  <a:gd name="T26" fmla="*/ 5 w 11"/>
                  <a:gd name="T2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4">
                    <a:moveTo>
                      <a:pt x="5" y="4"/>
                    </a:moveTo>
                    <a:lnTo>
                      <a:pt x="5" y="4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5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72" name="Freeform 1328"/>
              <p:cNvSpPr>
                <a:spLocks/>
              </p:cNvSpPr>
              <p:nvPr/>
            </p:nvSpPr>
            <p:spPr bwMode="auto">
              <a:xfrm>
                <a:off x="7062955" y="3561485"/>
                <a:ext cx="12860" cy="15828"/>
              </a:xfrm>
              <a:custGeom>
                <a:avLst/>
                <a:gdLst>
                  <a:gd name="T0" fmla="*/ 9 w 13"/>
                  <a:gd name="T1" fmla="*/ 16 h 16"/>
                  <a:gd name="T2" fmla="*/ 9 w 13"/>
                  <a:gd name="T3" fmla="*/ 16 h 16"/>
                  <a:gd name="T4" fmla="*/ 7 w 13"/>
                  <a:gd name="T5" fmla="*/ 16 h 16"/>
                  <a:gd name="T6" fmla="*/ 7 w 13"/>
                  <a:gd name="T7" fmla="*/ 16 h 16"/>
                  <a:gd name="T8" fmla="*/ 3 w 13"/>
                  <a:gd name="T9" fmla="*/ 10 h 16"/>
                  <a:gd name="T10" fmla="*/ 1 w 13"/>
                  <a:gd name="T11" fmla="*/ 6 h 16"/>
                  <a:gd name="T12" fmla="*/ 0 w 13"/>
                  <a:gd name="T13" fmla="*/ 1 h 16"/>
                  <a:gd name="T14" fmla="*/ 0 w 13"/>
                  <a:gd name="T15" fmla="*/ 1 h 16"/>
                  <a:gd name="T16" fmla="*/ 1 w 13"/>
                  <a:gd name="T17" fmla="*/ 0 h 16"/>
                  <a:gd name="T18" fmla="*/ 3 w 13"/>
                  <a:gd name="T19" fmla="*/ 0 h 16"/>
                  <a:gd name="T20" fmla="*/ 3 w 13"/>
                  <a:gd name="T21" fmla="*/ 0 h 16"/>
                  <a:gd name="T22" fmla="*/ 3 w 13"/>
                  <a:gd name="T23" fmla="*/ 0 h 16"/>
                  <a:gd name="T24" fmla="*/ 3 w 13"/>
                  <a:gd name="T25" fmla="*/ 0 h 16"/>
                  <a:gd name="T26" fmla="*/ 7 w 13"/>
                  <a:gd name="T27" fmla="*/ 1 h 16"/>
                  <a:gd name="T28" fmla="*/ 10 w 13"/>
                  <a:gd name="T29" fmla="*/ 4 h 16"/>
                  <a:gd name="T30" fmla="*/ 13 w 13"/>
                  <a:gd name="T31" fmla="*/ 9 h 16"/>
                  <a:gd name="T32" fmla="*/ 13 w 13"/>
                  <a:gd name="T33" fmla="*/ 9 h 16"/>
                  <a:gd name="T34" fmla="*/ 13 w 13"/>
                  <a:gd name="T35" fmla="*/ 10 h 16"/>
                  <a:gd name="T36" fmla="*/ 13 w 13"/>
                  <a:gd name="T37" fmla="*/ 10 h 16"/>
                  <a:gd name="T38" fmla="*/ 12 w 13"/>
                  <a:gd name="T39" fmla="*/ 14 h 16"/>
                  <a:gd name="T40" fmla="*/ 10 w 13"/>
                  <a:gd name="T41" fmla="*/ 16 h 16"/>
                  <a:gd name="T42" fmla="*/ 9 w 13"/>
                  <a:gd name="T4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6">
                    <a:moveTo>
                      <a:pt x="9" y="16"/>
                    </a:moveTo>
                    <a:lnTo>
                      <a:pt x="9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3" y="10"/>
                    </a:lnTo>
                    <a:lnTo>
                      <a:pt x="1" y="6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7" y="1"/>
                    </a:lnTo>
                    <a:lnTo>
                      <a:pt x="10" y="4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2" y="14"/>
                    </a:lnTo>
                    <a:lnTo>
                      <a:pt x="10" y="16"/>
                    </a:lnTo>
                    <a:lnTo>
                      <a:pt x="9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73" name="Freeform 1329"/>
              <p:cNvSpPr>
                <a:spLocks/>
              </p:cNvSpPr>
              <p:nvPr/>
            </p:nvSpPr>
            <p:spPr bwMode="auto">
              <a:xfrm>
                <a:off x="7062955" y="3561485"/>
                <a:ext cx="12860" cy="15828"/>
              </a:xfrm>
              <a:custGeom>
                <a:avLst/>
                <a:gdLst>
                  <a:gd name="T0" fmla="*/ 9 w 13"/>
                  <a:gd name="T1" fmla="*/ 16 h 16"/>
                  <a:gd name="T2" fmla="*/ 9 w 13"/>
                  <a:gd name="T3" fmla="*/ 16 h 16"/>
                  <a:gd name="T4" fmla="*/ 7 w 13"/>
                  <a:gd name="T5" fmla="*/ 16 h 16"/>
                  <a:gd name="T6" fmla="*/ 7 w 13"/>
                  <a:gd name="T7" fmla="*/ 16 h 16"/>
                  <a:gd name="T8" fmla="*/ 3 w 13"/>
                  <a:gd name="T9" fmla="*/ 10 h 16"/>
                  <a:gd name="T10" fmla="*/ 1 w 13"/>
                  <a:gd name="T11" fmla="*/ 6 h 16"/>
                  <a:gd name="T12" fmla="*/ 0 w 13"/>
                  <a:gd name="T13" fmla="*/ 1 h 16"/>
                  <a:gd name="T14" fmla="*/ 0 w 13"/>
                  <a:gd name="T15" fmla="*/ 1 h 16"/>
                  <a:gd name="T16" fmla="*/ 1 w 13"/>
                  <a:gd name="T17" fmla="*/ 0 h 16"/>
                  <a:gd name="T18" fmla="*/ 3 w 13"/>
                  <a:gd name="T19" fmla="*/ 0 h 16"/>
                  <a:gd name="T20" fmla="*/ 3 w 13"/>
                  <a:gd name="T21" fmla="*/ 0 h 16"/>
                  <a:gd name="T22" fmla="*/ 3 w 13"/>
                  <a:gd name="T23" fmla="*/ 0 h 16"/>
                  <a:gd name="T24" fmla="*/ 3 w 13"/>
                  <a:gd name="T25" fmla="*/ 0 h 16"/>
                  <a:gd name="T26" fmla="*/ 7 w 13"/>
                  <a:gd name="T27" fmla="*/ 1 h 16"/>
                  <a:gd name="T28" fmla="*/ 10 w 13"/>
                  <a:gd name="T29" fmla="*/ 4 h 16"/>
                  <a:gd name="T30" fmla="*/ 13 w 13"/>
                  <a:gd name="T31" fmla="*/ 9 h 16"/>
                  <a:gd name="T32" fmla="*/ 13 w 13"/>
                  <a:gd name="T33" fmla="*/ 9 h 16"/>
                  <a:gd name="T34" fmla="*/ 13 w 13"/>
                  <a:gd name="T35" fmla="*/ 10 h 16"/>
                  <a:gd name="T36" fmla="*/ 13 w 13"/>
                  <a:gd name="T37" fmla="*/ 10 h 16"/>
                  <a:gd name="T38" fmla="*/ 12 w 13"/>
                  <a:gd name="T39" fmla="*/ 14 h 16"/>
                  <a:gd name="T40" fmla="*/ 10 w 13"/>
                  <a:gd name="T41" fmla="*/ 16 h 16"/>
                  <a:gd name="T42" fmla="*/ 9 w 13"/>
                  <a:gd name="T4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6">
                    <a:moveTo>
                      <a:pt x="9" y="16"/>
                    </a:moveTo>
                    <a:lnTo>
                      <a:pt x="9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3" y="10"/>
                    </a:lnTo>
                    <a:lnTo>
                      <a:pt x="1" y="6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7" y="1"/>
                    </a:lnTo>
                    <a:lnTo>
                      <a:pt x="10" y="4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2" y="14"/>
                    </a:lnTo>
                    <a:lnTo>
                      <a:pt x="10" y="16"/>
                    </a:lnTo>
                    <a:lnTo>
                      <a:pt x="9" y="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74" name="Freeform 1330"/>
              <p:cNvSpPr>
                <a:spLocks/>
              </p:cNvSpPr>
              <p:nvPr/>
            </p:nvSpPr>
            <p:spPr bwMode="auto">
              <a:xfrm>
                <a:off x="6829490" y="3393311"/>
                <a:ext cx="9893" cy="9893"/>
              </a:xfrm>
              <a:custGeom>
                <a:avLst/>
                <a:gdLst>
                  <a:gd name="T0" fmla="*/ 6 w 10"/>
                  <a:gd name="T1" fmla="*/ 9 h 10"/>
                  <a:gd name="T2" fmla="*/ 6 w 10"/>
                  <a:gd name="T3" fmla="*/ 9 h 10"/>
                  <a:gd name="T4" fmla="*/ 1 w 10"/>
                  <a:gd name="T5" fmla="*/ 5 h 10"/>
                  <a:gd name="T6" fmla="*/ 0 w 10"/>
                  <a:gd name="T7" fmla="*/ 2 h 10"/>
                  <a:gd name="T8" fmla="*/ 0 w 10"/>
                  <a:gd name="T9" fmla="*/ 0 h 10"/>
                  <a:gd name="T10" fmla="*/ 0 w 10"/>
                  <a:gd name="T11" fmla="*/ 0 h 10"/>
                  <a:gd name="T12" fmla="*/ 6 w 10"/>
                  <a:gd name="T13" fmla="*/ 0 h 10"/>
                  <a:gd name="T14" fmla="*/ 9 w 10"/>
                  <a:gd name="T15" fmla="*/ 0 h 10"/>
                  <a:gd name="T16" fmla="*/ 10 w 10"/>
                  <a:gd name="T17" fmla="*/ 2 h 10"/>
                  <a:gd name="T18" fmla="*/ 10 w 10"/>
                  <a:gd name="T19" fmla="*/ 2 h 10"/>
                  <a:gd name="T20" fmla="*/ 10 w 10"/>
                  <a:gd name="T21" fmla="*/ 8 h 10"/>
                  <a:gd name="T22" fmla="*/ 9 w 10"/>
                  <a:gd name="T23" fmla="*/ 10 h 10"/>
                  <a:gd name="T24" fmla="*/ 7 w 10"/>
                  <a:gd name="T25" fmla="*/ 10 h 10"/>
                  <a:gd name="T26" fmla="*/ 6 w 10"/>
                  <a:gd name="T27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10">
                    <a:moveTo>
                      <a:pt x="6" y="9"/>
                    </a:moveTo>
                    <a:lnTo>
                      <a:pt x="6" y="9"/>
                    </a:lnTo>
                    <a:lnTo>
                      <a:pt x="1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8"/>
                    </a:lnTo>
                    <a:lnTo>
                      <a:pt x="9" y="10"/>
                    </a:lnTo>
                    <a:lnTo>
                      <a:pt x="7" y="10"/>
                    </a:lnTo>
                    <a:lnTo>
                      <a:pt x="6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75" name="Freeform 1331"/>
              <p:cNvSpPr>
                <a:spLocks/>
              </p:cNvSpPr>
              <p:nvPr/>
            </p:nvSpPr>
            <p:spPr bwMode="auto">
              <a:xfrm>
                <a:off x="6829490" y="3393311"/>
                <a:ext cx="9893" cy="9893"/>
              </a:xfrm>
              <a:custGeom>
                <a:avLst/>
                <a:gdLst>
                  <a:gd name="T0" fmla="*/ 6 w 10"/>
                  <a:gd name="T1" fmla="*/ 9 h 10"/>
                  <a:gd name="T2" fmla="*/ 6 w 10"/>
                  <a:gd name="T3" fmla="*/ 9 h 10"/>
                  <a:gd name="T4" fmla="*/ 1 w 10"/>
                  <a:gd name="T5" fmla="*/ 5 h 10"/>
                  <a:gd name="T6" fmla="*/ 0 w 10"/>
                  <a:gd name="T7" fmla="*/ 2 h 10"/>
                  <a:gd name="T8" fmla="*/ 0 w 10"/>
                  <a:gd name="T9" fmla="*/ 0 h 10"/>
                  <a:gd name="T10" fmla="*/ 0 w 10"/>
                  <a:gd name="T11" fmla="*/ 0 h 10"/>
                  <a:gd name="T12" fmla="*/ 6 w 10"/>
                  <a:gd name="T13" fmla="*/ 0 h 10"/>
                  <a:gd name="T14" fmla="*/ 9 w 10"/>
                  <a:gd name="T15" fmla="*/ 0 h 10"/>
                  <a:gd name="T16" fmla="*/ 10 w 10"/>
                  <a:gd name="T17" fmla="*/ 2 h 10"/>
                  <a:gd name="T18" fmla="*/ 10 w 10"/>
                  <a:gd name="T19" fmla="*/ 2 h 10"/>
                  <a:gd name="T20" fmla="*/ 10 w 10"/>
                  <a:gd name="T21" fmla="*/ 8 h 10"/>
                  <a:gd name="T22" fmla="*/ 9 w 10"/>
                  <a:gd name="T23" fmla="*/ 10 h 10"/>
                  <a:gd name="T24" fmla="*/ 7 w 10"/>
                  <a:gd name="T25" fmla="*/ 10 h 10"/>
                  <a:gd name="T26" fmla="*/ 6 w 10"/>
                  <a:gd name="T27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10">
                    <a:moveTo>
                      <a:pt x="6" y="9"/>
                    </a:moveTo>
                    <a:lnTo>
                      <a:pt x="6" y="9"/>
                    </a:lnTo>
                    <a:lnTo>
                      <a:pt x="1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8"/>
                    </a:lnTo>
                    <a:lnTo>
                      <a:pt x="9" y="10"/>
                    </a:lnTo>
                    <a:lnTo>
                      <a:pt x="7" y="10"/>
                    </a:lnTo>
                    <a:lnTo>
                      <a:pt x="6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76" name="Freeform 1332"/>
              <p:cNvSpPr>
                <a:spLocks/>
              </p:cNvSpPr>
              <p:nvPr/>
            </p:nvSpPr>
            <p:spPr bwMode="auto">
              <a:xfrm>
                <a:off x="6207246" y="3497183"/>
                <a:ext cx="651922" cy="492651"/>
              </a:xfrm>
              <a:custGeom>
                <a:avLst/>
                <a:gdLst>
                  <a:gd name="T0" fmla="*/ 452 w 659"/>
                  <a:gd name="T1" fmla="*/ 101 h 498"/>
                  <a:gd name="T2" fmla="*/ 435 w 659"/>
                  <a:gd name="T3" fmla="*/ 108 h 498"/>
                  <a:gd name="T4" fmla="*/ 370 w 659"/>
                  <a:gd name="T5" fmla="*/ 63 h 498"/>
                  <a:gd name="T6" fmla="*/ 386 w 659"/>
                  <a:gd name="T7" fmla="*/ 36 h 498"/>
                  <a:gd name="T8" fmla="*/ 364 w 659"/>
                  <a:gd name="T9" fmla="*/ 18 h 498"/>
                  <a:gd name="T10" fmla="*/ 287 w 659"/>
                  <a:gd name="T11" fmla="*/ 21 h 498"/>
                  <a:gd name="T12" fmla="*/ 271 w 659"/>
                  <a:gd name="T13" fmla="*/ 63 h 498"/>
                  <a:gd name="T14" fmla="*/ 248 w 659"/>
                  <a:gd name="T15" fmla="*/ 65 h 498"/>
                  <a:gd name="T16" fmla="*/ 213 w 659"/>
                  <a:gd name="T17" fmla="*/ 50 h 498"/>
                  <a:gd name="T18" fmla="*/ 196 w 659"/>
                  <a:gd name="T19" fmla="*/ 75 h 498"/>
                  <a:gd name="T20" fmla="*/ 170 w 659"/>
                  <a:gd name="T21" fmla="*/ 100 h 498"/>
                  <a:gd name="T22" fmla="*/ 142 w 659"/>
                  <a:gd name="T23" fmla="*/ 124 h 498"/>
                  <a:gd name="T24" fmla="*/ 21 w 659"/>
                  <a:gd name="T25" fmla="*/ 191 h 498"/>
                  <a:gd name="T26" fmla="*/ 3 w 659"/>
                  <a:gd name="T27" fmla="*/ 227 h 498"/>
                  <a:gd name="T28" fmla="*/ 12 w 659"/>
                  <a:gd name="T29" fmla="*/ 223 h 498"/>
                  <a:gd name="T30" fmla="*/ 6 w 659"/>
                  <a:gd name="T31" fmla="*/ 257 h 498"/>
                  <a:gd name="T32" fmla="*/ 19 w 659"/>
                  <a:gd name="T33" fmla="*/ 304 h 498"/>
                  <a:gd name="T34" fmla="*/ 36 w 659"/>
                  <a:gd name="T35" fmla="*/ 372 h 498"/>
                  <a:gd name="T36" fmla="*/ 148 w 659"/>
                  <a:gd name="T37" fmla="*/ 401 h 498"/>
                  <a:gd name="T38" fmla="*/ 233 w 659"/>
                  <a:gd name="T39" fmla="*/ 381 h 498"/>
                  <a:gd name="T40" fmla="*/ 333 w 659"/>
                  <a:gd name="T41" fmla="*/ 385 h 498"/>
                  <a:gd name="T42" fmla="*/ 365 w 659"/>
                  <a:gd name="T43" fmla="*/ 414 h 498"/>
                  <a:gd name="T44" fmla="*/ 384 w 659"/>
                  <a:gd name="T45" fmla="*/ 410 h 498"/>
                  <a:gd name="T46" fmla="*/ 396 w 659"/>
                  <a:gd name="T47" fmla="*/ 410 h 498"/>
                  <a:gd name="T48" fmla="*/ 407 w 659"/>
                  <a:gd name="T49" fmla="*/ 433 h 498"/>
                  <a:gd name="T50" fmla="*/ 458 w 659"/>
                  <a:gd name="T51" fmla="*/ 485 h 498"/>
                  <a:gd name="T52" fmla="*/ 506 w 659"/>
                  <a:gd name="T53" fmla="*/ 481 h 498"/>
                  <a:gd name="T54" fmla="*/ 594 w 659"/>
                  <a:gd name="T55" fmla="*/ 447 h 498"/>
                  <a:gd name="T56" fmla="*/ 655 w 659"/>
                  <a:gd name="T57" fmla="*/ 279 h 498"/>
                  <a:gd name="T58" fmla="*/ 597 w 659"/>
                  <a:gd name="T59" fmla="*/ 191 h 498"/>
                  <a:gd name="T60" fmla="*/ 525 w 659"/>
                  <a:gd name="T61" fmla="*/ 74 h 498"/>
                  <a:gd name="T62" fmla="*/ 490 w 659"/>
                  <a:gd name="T63" fmla="*/ 21 h 498"/>
                  <a:gd name="T64" fmla="*/ 488 w 659"/>
                  <a:gd name="T65" fmla="*/ 18 h 498"/>
                  <a:gd name="T66" fmla="*/ 520 w 659"/>
                  <a:gd name="T67" fmla="*/ 75 h 498"/>
                  <a:gd name="T68" fmla="*/ 601 w 659"/>
                  <a:gd name="T69" fmla="*/ 194 h 498"/>
                  <a:gd name="T70" fmla="*/ 651 w 659"/>
                  <a:gd name="T71" fmla="*/ 289 h 498"/>
                  <a:gd name="T72" fmla="*/ 588 w 659"/>
                  <a:gd name="T73" fmla="*/ 452 h 498"/>
                  <a:gd name="T74" fmla="*/ 498 w 659"/>
                  <a:gd name="T75" fmla="*/ 485 h 498"/>
                  <a:gd name="T76" fmla="*/ 452 w 659"/>
                  <a:gd name="T77" fmla="*/ 489 h 498"/>
                  <a:gd name="T78" fmla="*/ 399 w 659"/>
                  <a:gd name="T79" fmla="*/ 433 h 498"/>
                  <a:gd name="T80" fmla="*/ 380 w 659"/>
                  <a:gd name="T81" fmla="*/ 423 h 498"/>
                  <a:gd name="T82" fmla="*/ 381 w 659"/>
                  <a:gd name="T83" fmla="*/ 391 h 498"/>
                  <a:gd name="T84" fmla="*/ 345 w 659"/>
                  <a:gd name="T85" fmla="*/ 386 h 498"/>
                  <a:gd name="T86" fmla="*/ 170 w 659"/>
                  <a:gd name="T87" fmla="*/ 381 h 498"/>
                  <a:gd name="T88" fmla="*/ 32 w 659"/>
                  <a:gd name="T89" fmla="*/ 404 h 498"/>
                  <a:gd name="T90" fmla="*/ 42 w 659"/>
                  <a:gd name="T91" fmla="*/ 357 h 498"/>
                  <a:gd name="T92" fmla="*/ 3 w 659"/>
                  <a:gd name="T93" fmla="*/ 257 h 498"/>
                  <a:gd name="T94" fmla="*/ 18 w 659"/>
                  <a:gd name="T95" fmla="*/ 262 h 498"/>
                  <a:gd name="T96" fmla="*/ 8 w 659"/>
                  <a:gd name="T97" fmla="*/ 227 h 498"/>
                  <a:gd name="T98" fmla="*/ 19 w 659"/>
                  <a:gd name="T99" fmla="*/ 189 h 498"/>
                  <a:gd name="T100" fmla="*/ 122 w 659"/>
                  <a:gd name="T101" fmla="*/ 150 h 498"/>
                  <a:gd name="T102" fmla="*/ 168 w 659"/>
                  <a:gd name="T103" fmla="*/ 113 h 498"/>
                  <a:gd name="T104" fmla="*/ 189 w 659"/>
                  <a:gd name="T105" fmla="*/ 76 h 498"/>
                  <a:gd name="T106" fmla="*/ 207 w 659"/>
                  <a:gd name="T107" fmla="*/ 63 h 498"/>
                  <a:gd name="T108" fmla="*/ 235 w 659"/>
                  <a:gd name="T109" fmla="*/ 59 h 498"/>
                  <a:gd name="T110" fmla="*/ 274 w 659"/>
                  <a:gd name="T111" fmla="*/ 66 h 498"/>
                  <a:gd name="T112" fmla="*/ 278 w 659"/>
                  <a:gd name="T113" fmla="*/ 34 h 498"/>
                  <a:gd name="T114" fmla="*/ 328 w 659"/>
                  <a:gd name="T115" fmla="*/ 16 h 498"/>
                  <a:gd name="T116" fmla="*/ 380 w 659"/>
                  <a:gd name="T117" fmla="*/ 20 h 498"/>
                  <a:gd name="T118" fmla="*/ 375 w 659"/>
                  <a:gd name="T119" fmla="*/ 37 h 498"/>
                  <a:gd name="T120" fmla="*/ 388 w 659"/>
                  <a:gd name="T121" fmla="*/ 82 h 498"/>
                  <a:gd name="T122" fmla="*/ 464 w 659"/>
                  <a:gd name="T123" fmla="*/ 84 h 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59" h="498">
                    <a:moveTo>
                      <a:pt x="477" y="1"/>
                    </a:moveTo>
                    <a:lnTo>
                      <a:pt x="477" y="0"/>
                    </a:lnTo>
                    <a:lnTo>
                      <a:pt x="477" y="0"/>
                    </a:lnTo>
                    <a:lnTo>
                      <a:pt x="475" y="0"/>
                    </a:lnTo>
                    <a:lnTo>
                      <a:pt x="474" y="1"/>
                    </a:lnTo>
                    <a:lnTo>
                      <a:pt x="474" y="1"/>
                    </a:lnTo>
                    <a:lnTo>
                      <a:pt x="471" y="5"/>
                    </a:lnTo>
                    <a:lnTo>
                      <a:pt x="471" y="5"/>
                    </a:lnTo>
                    <a:lnTo>
                      <a:pt x="468" y="14"/>
                    </a:lnTo>
                    <a:lnTo>
                      <a:pt x="468" y="14"/>
                    </a:lnTo>
                    <a:lnTo>
                      <a:pt x="468" y="17"/>
                    </a:lnTo>
                    <a:lnTo>
                      <a:pt x="467" y="18"/>
                    </a:lnTo>
                    <a:lnTo>
                      <a:pt x="467" y="18"/>
                    </a:lnTo>
                    <a:lnTo>
                      <a:pt x="467" y="18"/>
                    </a:lnTo>
                    <a:lnTo>
                      <a:pt x="467" y="18"/>
                    </a:lnTo>
                    <a:lnTo>
                      <a:pt x="467" y="18"/>
                    </a:lnTo>
                    <a:lnTo>
                      <a:pt x="467" y="18"/>
                    </a:lnTo>
                    <a:lnTo>
                      <a:pt x="468" y="18"/>
                    </a:lnTo>
                    <a:lnTo>
                      <a:pt x="467" y="18"/>
                    </a:lnTo>
                    <a:lnTo>
                      <a:pt x="467" y="18"/>
                    </a:lnTo>
                    <a:lnTo>
                      <a:pt x="468" y="18"/>
                    </a:lnTo>
                    <a:lnTo>
                      <a:pt x="467" y="18"/>
                    </a:lnTo>
                    <a:lnTo>
                      <a:pt x="467" y="18"/>
                    </a:lnTo>
                    <a:lnTo>
                      <a:pt x="465" y="20"/>
                    </a:lnTo>
                    <a:lnTo>
                      <a:pt x="465" y="23"/>
                    </a:lnTo>
                    <a:lnTo>
                      <a:pt x="465" y="23"/>
                    </a:lnTo>
                    <a:lnTo>
                      <a:pt x="464" y="30"/>
                    </a:lnTo>
                    <a:lnTo>
                      <a:pt x="464" y="30"/>
                    </a:lnTo>
                    <a:lnTo>
                      <a:pt x="464" y="33"/>
                    </a:lnTo>
                    <a:lnTo>
                      <a:pt x="464" y="33"/>
                    </a:lnTo>
                    <a:lnTo>
                      <a:pt x="464" y="34"/>
                    </a:lnTo>
                    <a:lnTo>
                      <a:pt x="464" y="34"/>
                    </a:lnTo>
                    <a:lnTo>
                      <a:pt x="464" y="34"/>
                    </a:lnTo>
                    <a:lnTo>
                      <a:pt x="464" y="34"/>
                    </a:lnTo>
                    <a:lnTo>
                      <a:pt x="464" y="34"/>
                    </a:lnTo>
                    <a:lnTo>
                      <a:pt x="464" y="34"/>
                    </a:lnTo>
                    <a:lnTo>
                      <a:pt x="464" y="34"/>
                    </a:lnTo>
                    <a:lnTo>
                      <a:pt x="462" y="39"/>
                    </a:lnTo>
                    <a:lnTo>
                      <a:pt x="462" y="46"/>
                    </a:lnTo>
                    <a:lnTo>
                      <a:pt x="462" y="46"/>
                    </a:lnTo>
                    <a:lnTo>
                      <a:pt x="462" y="65"/>
                    </a:lnTo>
                    <a:lnTo>
                      <a:pt x="462" y="65"/>
                    </a:lnTo>
                    <a:lnTo>
                      <a:pt x="462" y="72"/>
                    </a:lnTo>
                    <a:lnTo>
                      <a:pt x="462" y="72"/>
                    </a:lnTo>
                    <a:lnTo>
                      <a:pt x="462" y="75"/>
                    </a:lnTo>
                    <a:lnTo>
                      <a:pt x="462" y="75"/>
                    </a:lnTo>
                    <a:lnTo>
                      <a:pt x="461" y="76"/>
                    </a:lnTo>
                    <a:lnTo>
                      <a:pt x="461" y="76"/>
                    </a:lnTo>
                    <a:lnTo>
                      <a:pt x="458" y="84"/>
                    </a:lnTo>
                    <a:lnTo>
                      <a:pt x="458" y="84"/>
                    </a:lnTo>
                    <a:lnTo>
                      <a:pt x="452" y="101"/>
                    </a:lnTo>
                    <a:lnTo>
                      <a:pt x="452" y="101"/>
                    </a:lnTo>
                    <a:lnTo>
                      <a:pt x="449" y="108"/>
                    </a:lnTo>
                    <a:lnTo>
                      <a:pt x="449" y="108"/>
                    </a:lnTo>
                    <a:lnTo>
                      <a:pt x="448" y="110"/>
                    </a:lnTo>
                    <a:lnTo>
                      <a:pt x="448" y="110"/>
                    </a:lnTo>
                    <a:lnTo>
                      <a:pt x="448" y="110"/>
                    </a:lnTo>
                    <a:lnTo>
                      <a:pt x="448" y="110"/>
                    </a:lnTo>
                    <a:lnTo>
                      <a:pt x="448" y="110"/>
                    </a:lnTo>
                    <a:lnTo>
                      <a:pt x="448" y="110"/>
                    </a:lnTo>
                    <a:lnTo>
                      <a:pt x="449" y="111"/>
                    </a:lnTo>
                    <a:lnTo>
                      <a:pt x="449" y="110"/>
                    </a:lnTo>
                    <a:lnTo>
                      <a:pt x="449" y="110"/>
                    </a:lnTo>
                    <a:lnTo>
                      <a:pt x="448" y="110"/>
                    </a:lnTo>
                    <a:lnTo>
                      <a:pt x="449" y="111"/>
                    </a:lnTo>
                    <a:lnTo>
                      <a:pt x="449" y="110"/>
                    </a:lnTo>
                    <a:lnTo>
                      <a:pt x="449" y="113"/>
                    </a:lnTo>
                    <a:lnTo>
                      <a:pt x="449" y="110"/>
                    </a:lnTo>
                    <a:lnTo>
                      <a:pt x="449" y="110"/>
                    </a:lnTo>
                    <a:lnTo>
                      <a:pt x="449" y="113"/>
                    </a:lnTo>
                    <a:lnTo>
                      <a:pt x="449" y="110"/>
                    </a:lnTo>
                    <a:lnTo>
                      <a:pt x="449" y="113"/>
                    </a:lnTo>
                    <a:lnTo>
                      <a:pt x="449" y="110"/>
                    </a:lnTo>
                    <a:lnTo>
                      <a:pt x="449" y="110"/>
                    </a:lnTo>
                    <a:lnTo>
                      <a:pt x="446" y="108"/>
                    </a:lnTo>
                    <a:lnTo>
                      <a:pt x="446" y="108"/>
                    </a:lnTo>
                    <a:lnTo>
                      <a:pt x="443" y="107"/>
                    </a:lnTo>
                    <a:lnTo>
                      <a:pt x="441" y="107"/>
                    </a:lnTo>
                    <a:lnTo>
                      <a:pt x="441" y="107"/>
                    </a:lnTo>
                    <a:lnTo>
                      <a:pt x="439" y="107"/>
                    </a:lnTo>
                    <a:lnTo>
                      <a:pt x="439" y="107"/>
                    </a:lnTo>
                    <a:lnTo>
                      <a:pt x="436" y="108"/>
                    </a:lnTo>
                    <a:lnTo>
                      <a:pt x="436" y="108"/>
                    </a:lnTo>
                    <a:lnTo>
                      <a:pt x="435" y="110"/>
                    </a:lnTo>
                    <a:lnTo>
                      <a:pt x="436" y="110"/>
                    </a:lnTo>
                    <a:lnTo>
                      <a:pt x="435" y="110"/>
                    </a:lnTo>
                    <a:lnTo>
                      <a:pt x="435" y="110"/>
                    </a:lnTo>
                    <a:lnTo>
                      <a:pt x="436" y="110"/>
                    </a:lnTo>
                    <a:lnTo>
                      <a:pt x="435" y="110"/>
                    </a:lnTo>
                    <a:lnTo>
                      <a:pt x="436" y="111"/>
                    </a:lnTo>
                    <a:lnTo>
                      <a:pt x="435" y="110"/>
                    </a:lnTo>
                    <a:lnTo>
                      <a:pt x="435" y="110"/>
                    </a:lnTo>
                    <a:lnTo>
                      <a:pt x="436" y="111"/>
                    </a:lnTo>
                    <a:lnTo>
                      <a:pt x="435" y="110"/>
                    </a:lnTo>
                    <a:lnTo>
                      <a:pt x="436" y="110"/>
                    </a:lnTo>
                    <a:lnTo>
                      <a:pt x="436" y="110"/>
                    </a:lnTo>
                    <a:lnTo>
                      <a:pt x="435" y="110"/>
                    </a:lnTo>
                    <a:lnTo>
                      <a:pt x="436" y="110"/>
                    </a:lnTo>
                    <a:lnTo>
                      <a:pt x="436" y="110"/>
                    </a:lnTo>
                    <a:lnTo>
                      <a:pt x="436" y="110"/>
                    </a:lnTo>
                    <a:lnTo>
                      <a:pt x="435" y="108"/>
                    </a:lnTo>
                    <a:lnTo>
                      <a:pt x="435" y="108"/>
                    </a:lnTo>
                    <a:lnTo>
                      <a:pt x="432" y="107"/>
                    </a:lnTo>
                    <a:lnTo>
                      <a:pt x="430" y="105"/>
                    </a:lnTo>
                    <a:lnTo>
                      <a:pt x="430" y="105"/>
                    </a:lnTo>
                    <a:lnTo>
                      <a:pt x="426" y="101"/>
                    </a:lnTo>
                    <a:lnTo>
                      <a:pt x="426" y="101"/>
                    </a:lnTo>
                    <a:lnTo>
                      <a:pt x="422" y="98"/>
                    </a:lnTo>
                    <a:lnTo>
                      <a:pt x="422" y="98"/>
                    </a:lnTo>
                    <a:lnTo>
                      <a:pt x="413" y="97"/>
                    </a:lnTo>
                    <a:lnTo>
                      <a:pt x="413" y="97"/>
                    </a:lnTo>
                    <a:lnTo>
                      <a:pt x="409" y="95"/>
                    </a:lnTo>
                    <a:lnTo>
                      <a:pt x="407" y="94"/>
                    </a:lnTo>
                    <a:lnTo>
                      <a:pt x="407" y="94"/>
                    </a:lnTo>
                    <a:lnTo>
                      <a:pt x="407" y="91"/>
                    </a:lnTo>
                    <a:lnTo>
                      <a:pt x="407" y="91"/>
                    </a:lnTo>
                    <a:lnTo>
                      <a:pt x="404" y="88"/>
                    </a:lnTo>
                    <a:lnTo>
                      <a:pt x="401" y="85"/>
                    </a:lnTo>
                    <a:lnTo>
                      <a:pt x="401" y="85"/>
                    </a:lnTo>
                    <a:lnTo>
                      <a:pt x="397" y="84"/>
                    </a:lnTo>
                    <a:lnTo>
                      <a:pt x="396" y="81"/>
                    </a:lnTo>
                    <a:lnTo>
                      <a:pt x="396" y="81"/>
                    </a:lnTo>
                    <a:lnTo>
                      <a:pt x="393" y="78"/>
                    </a:lnTo>
                    <a:lnTo>
                      <a:pt x="393" y="78"/>
                    </a:lnTo>
                    <a:lnTo>
                      <a:pt x="388" y="76"/>
                    </a:lnTo>
                    <a:lnTo>
                      <a:pt x="388" y="76"/>
                    </a:lnTo>
                    <a:lnTo>
                      <a:pt x="386" y="76"/>
                    </a:lnTo>
                    <a:lnTo>
                      <a:pt x="386" y="76"/>
                    </a:lnTo>
                    <a:lnTo>
                      <a:pt x="381" y="76"/>
                    </a:lnTo>
                    <a:lnTo>
                      <a:pt x="381" y="76"/>
                    </a:lnTo>
                    <a:lnTo>
                      <a:pt x="381" y="76"/>
                    </a:lnTo>
                    <a:lnTo>
                      <a:pt x="380" y="75"/>
                    </a:lnTo>
                    <a:lnTo>
                      <a:pt x="380" y="75"/>
                    </a:lnTo>
                    <a:lnTo>
                      <a:pt x="372" y="69"/>
                    </a:lnTo>
                    <a:lnTo>
                      <a:pt x="372" y="69"/>
                    </a:lnTo>
                    <a:lnTo>
                      <a:pt x="370" y="66"/>
                    </a:lnTo>
                    <a:lnTo>
                      <a:pt x="368" y="66"/>
                    </a:lnTo>
                    <a:lnTo>
                      <a:pt x="368" y="65"/>
                    </a:lnTo>
                    <a:lnTo>
                      <a:pt x="368" y="66"/>
                    </a:lnTo>
                    <a:lnTo>
                      <a:pt x="368" y="66"/>
                    </a:lnTo>
                    <a:lnTo>
                      <a:pt x="368" y="65"/>
                    </a:lnTo>
                    <a:lnTo>
                      <a:pt x="368" y="66"/>
                    </a:lnTo>
                    <a:lnTo>
                      <a:pt x="368" y="66"/>
                    </a:lnTo>
                    <a:lnTo>
                      <a:pt x="368" y="66"/>
                    </a:lnTo>
                    <a:lnTo>
                      <a:pt x="368" y="66"/>
                    </a:lnTo>
                    <a:lnTo>
                      <a:pt x="368" y="66"/>
                    </a:lnTo>
                    <a:lnTo>
                      <a:pt x="368" y="66"/>
                    </a:lnTo>
                    <a:lnTo>
                      <a:pt x="368" y="66"/>
                    </a:lnTo>
                    <a:lnTo>
                      <a:pt x="368" y="66"/>
                    </a:lnTo>
                    <a:lnTo>
                      <a:pt x="368" y="66"/>
                    </a:lnTo>
                    <a:lnTo>
                      <a:pt x="368" y="66"/>
                    </a:lnTo>
                    <a:lnTo>
                      <a:pt x="370" y="63"/>
                    </a:lnTo>
                    <a:lnTo>
                      <a:pt x="370" y="63"/>
                    </a:lnTo>
                    <a:lnTo>
                      <a:pt x="372" y="58"/>
                    </a:lnTo>
                    <a:lnTo>
                      <a:pt x="372" y="58"/>
                    </a:lnTo>
                    <a:lnTo>
                      <a:pt x="374" y="56"/>
                    </a:lnTo>
                    <a:lnTo>
                      <a:pt x="374" y="56"/>
                    </a:lnTo>
                    <a:lnTo>
                      <a:pt x="374" y="56"/>
                    </a:lnTo>
                    <a:lnTo>
                      <a:pt x="372" y="55"/>
                    </a:lnTo>
                    <a:lnTo>
                      <a:pt x="372" y="56"/>
                    </a:lnTo>
                    <a:lnTo>
                      <a:pt x="374" y="56"/>
                    </a:lnTo>
                    <a:lnTo>
                      <a:pt x="372" y="55"/>
                    </a:lnTo>
                    <a:lnTo>
                      <a:pt x="372" y="56"/>
                    </a:lnTo>
                    <a:lnTo>
                      <a:pt x="372" y="56"/>
                    </a:lnTo>
                    <a:lnTo>
                      <a:pt x="372" y="56"/>
                    </a:lnTo>
                    <a:lnTo>
                      <a:pt x="375" y="55"/>
                    </a:lnTo>
                    <a:lnTo>
                      <a:pt x="375" y="55"/>
                    </a:lnTo>
                    <a:lnTo>
                      <a:pt x="377" y="52"/>
                    </a:lnTo>
                    <a:lnTo>
                      <a:pt x="378" y="47"/>
                    </a:lnTo>
                    <a:lnTo>
                      <a:pt x="378" y="47"/>
                    </a:lnTo>
                    <a:lnTo>
                      <a:pt x="377" y="46"/>
                    </a:lnTo>
                    <a:lnTo>
                      <a:pt x="377" y="46"/>
                    </a:lnTo>
                    <a:lnTo>
                      <a:pt x="377" y="43"/>
                    </a:lnTo>
                    <a:lnTo>
                      <a:pt x="377" y="43"/>
                    </a:lnTo>
                    <a:lnTo>
                      <a:pt x="375" y="42"/>
                    </a:lnTo>
                    <a:lnTo>
                      <a:pt x="375" y="42"/>
                    </a:lnTo>
                    <a:lnTo>
                      <a:pt x="375" y="42"/>
                    </a:lnTo>
                    <a:lnTo>
                      <a:pt x="375" y="42"/>
                    </a:lnTo>
                    <a:lnTo>
                      <a:pt x="375" y="42"/>
                    </a:lnTo>
                    <a:lnTo>
                      <a:pt x="375" y="42"/>
                    </a:lnTo>
                    <a:lnTo>
                      <a:pt x="375" y="42"/>
                    </a:lnTo>
                    <a:lnTo>
                      <a:pt x="375" y="43"/>
                    </a:lnTo>
                    <a:lnTo>
                      <a:pt x="375" y="42"/>
                    </a:lnTo>
                    <a:lnTo>
                      <a:pt x="375" y="42"/>
                    </a:lnTo>
                    <a:lnTo>
                      <a:pt x="375" y="43"/>
                    </a:lnTo>
                    <a:lnTo>
                      <a:pt x="375" y="43"/>
                    </a:lnTo>
                    <a:lnTo>
                      <a:pt x="375" y="43"/>
                    </a:lnTo>
                    <a:lnTo>
                      <a:pt x="375" y="43"/>
                    </a:lnTo>
                    <a:lnTo>
                      <a:pt x="375" y="43"/>
                    </a:lnTo>
                    <a:lnTo>
                      <a:pt x="375" y="43"/>
                    </a:lnTo>
                    <a:lnTo>
                      <a:pt x="377" y="42"/>
                    </a:lnTo>
                    <a:lnTo>
                      <a:pt x="377" y="42"/>
                    </a:lnTo>
                    <a:lnTo>
                      <a:pt x="380" y="42"/>
                    </a:lnTo>
                    <a:lnTo>
                      <a:pt x="380" y="42"/>
                    </a:lnTo>
                    <a:lnTo>
                      <a:pt x="383" y="42"/>
                    </a:lnTo>
                    <a:lnTo>
                      <a:pt x="383" y="42"/>
                    </a:lnTo>
                    <a:lnTo>
                      <a:pt x="384" y="42"/>
                    </a:lnTo>
                    <a:lnTo>
                      <a:pt x="384" y="42"/>
                    </a:lnTo>
                    <a:lnTo>
                      <a:pt x="386" y="40"/>
                    </a:lnTo>
                    <a:lnTo>
                      <a:pt x="386" y="40"/>
                    </a:lnTo>
                    <a:lnTo>
                      <a:pt x="387" y="39"/>
                    </a:lnTo>
                    <a:lnTo>
                      <a:pt x="387" y="39"/>
                    </a:lnTo>
                    <a:lnTo>
                      <a:pt x="386" y="36"/>
                    </a:lnTo>
                    <a:lnTo>
                      <a:pt x="386" y="36"/>
                    </a:lnTo>
                    <a:lnTo>
                      <a:pt x="386" y="36"/>
                    </a:lnTo>
                    <a:lnTo>
                      <a:pt x="387" y="32"/>
                    </a:lnTo>
                    <a:lnTo>
                      <a:pt x="387" y="32"/>
                    </a:lnTo>
                    <a:lnTo>
                      <a:pt x="388" y="29"/>
                    </a:lnTo>
                    <a:lnTo>
                      <a:pt x="390" y="24"/>
                    </a:lnTo>
                    <a:lnTo>
                      <a:pt x="390" y="24"/>
                    </a:lnTo>
                    <a:lnTo>
                      <a:pt x="388" y="21"/>
                    </a:lnTo>
                    <a:lnTo>
                      <a:pt x="388" y="21"/>
                    </a:lnTo>
                    <a:lnTo>
                      <a:pt x="387" y="20"/>
                    </a:lnTo>
                    <a:lnTo>
                      <a:pt x="387" y="20"/>
                    </a:lnTo>
                    <a:lnTo>
                      <a:pt x="383" y="17"/>
                    </a:lnTo>
                    <a:lnTo>
                      <a:pt x="383" y="17"/>
                    </a:lnTo>
                    <a:lnTo>
                      <a:pt x="378" y="16"/>
                    </a:lnTo>
                    <a:lnTo>
                      <a:pt x="378" y="16"/>
                    </a:lnTo>
                    <a:lnTo>
                      <a:pt x="375" y="17"/>
                    </a:lnTo>
                    <a:lnTo>
                      <a:pt x="375" y="17"/>
                    </a:lnTo>
                    <a:lnTo>
                      <a:pt x="374" y="18"/>
                    </a:lnTo>
                    <a:lnTo>
                      <a:pt x="374" y="18"/>
                    </a:lnTo>
                    <a:lnTo>
                      <a:pt x="374" y="23"/>
                    </a:lnTo>
                    <a:lnTo>
                      <a:pt x="374" y="23"/>
                    </a:lnTo>
                    <a:lnTo>
                      <a:pt x="374" y="23"/>
                    </a:lnTo>
                    <a:lnTo>
                      <a:pt x="374" y="23"/>
                    </a:lnTo>
                    <a:lnTo>
                      <a:pt x="374" y="23"/>
                    </a:lnTo>
                    <a:lnTo>
                      <a:pt x="374" y="23"/>
                    </a:lnTo>
                    <a:lnTo>
                      <a:pt x="374" y="23"/>
                    </a:lnTo>
                    <a:lnTo>
                      <a:pt x="374" y="23"/>
                    </a:lnTo>
                    <a:lnTo>
                      <a:pt x="375" y="23"/>
                    </a:lnTo>
                    <a:lnTo>
                      <a:pt x="374" y="23"/>
                    </a:lnTo>
                    <a:lnTo>
                      <a:pt x="374" y="23"/>
                    </a:lnTo>
                    <a:lnTo>
                      <a:pt x="375" y="23"/>
                    </a:lnTo>
                    <a:lnTo>
                      <a:pt x="374" y="23"/>
                    </a:lnTo>
                    <a:lnTo>
                      <a:pt x="375" y="24"/>
                    </a:lnTo>
                    <a:lnTo>
                      <a:pt x="375" y="21"/>
                    </a:lnTo>
                    <a:lnTo>
                      <a:pt x="374" y="23"/>
                    </a:lnTo>
                    <a:lnTo>
                      <a:pt x="375" y="24"/>
                    </a:lnTo>
                    <a:lnTo>
                      <a:pt x="375" y="21"/>
                    </a:lnTo>
                    <a:lnTo>
                      <a:pt x="375" y="23"/>
                    </a:lnTo>
                    <a:lnTo>
                      <a:pt x="375" y="21"/>
                    </a:lnTo>
                    <a:lnTo>
                      <a:pt x="375" y="21"/>
                    </a:lnTo>
                    <a:lnTo>
                      <a:pt x="375" y="23"/>
                    </a:lnTo>
                    <a:lnTo>
                      <a:pt x="375" y="21"/>
                    </a:lnTo>
                    <a:lnTo>
                      <a:pt x="375" y="21"/>
                    </a:lnTo>
                    <a:lnTo>
                      <a:pt x="375" y="21"/>
                    </a:lnTo>
                    <a:lnTo>
                      <a:pt x="372" y="18"/>
                    </a:lnTo>
                    <a:lnTo>
                      <a:pt x="372" y="18"/>
                    </a:lnTo>
                    <a:lnTo>
                      <a:pt x="371" y="17"/>
                    </a:lnTo>
                    <a:lnTo>
                      <a:pt x="371" y="17"/>
                    </a:lnTo>
                    <a:lnTo>
                      <a:pt x="368" y="16"/>
                    </a:lnTo>
                    <a:lnTo>
                      <a:pt x="367" y="17"/>
                    </a:lnTo>
                    <a:lnTo>
                      <a:pt x="367" y="17"/>
                    </a:lnTo>
                    <a:lnTo>
                      <a:pt x="364" y="18"/>
                    </a:lnTo>
                    <a:lnTo>
                      <a:pt x="364" y="18"/>
                    </a:lnTo>
                    <a:lnTo>
                      <a:pt x="362" y="20"/>
                    </a:lnTo>
                    <a:lnTo>
                      <a:pt x="362" y="20"/>
                    </a:lnTo>
                    <a:lnTo>
                      <a:pt x="361" y="21"/>
                    </a:lnTo>
                    <a:lnTo>
                      <a:pt x="361" y="21"/>
                    </a:lnTo>
                    <a:lnTo>
                      <a:pt x="359" y="20"/>
                    </a:lnTo>
                    <a:lnTo>
                      <a:pt x="359" y="20"/>
                    </a:lnTo>
                    <a:lnTo>
                      <a:pt x="352" y="17"/>
                    </a:lnTo>
                    <a:lnTo>
                      <a:pt x="352" y="17"/>
                    </a:lnTo>
                    <a:lnTo>
                      <a:pt x="346" y="14"/>
                    </a:lnTo>
                    <a:lnTo>
                      <a:pt x="342" y="13"/>
                    </a:lnTo>
                    <a:lnTo>
                      <a:pt x="342" y="13"/>
                    </a:lnTo>
                    <a:lnTo>
                      <a:pt x="335" y="13"/>
                    </a:lnTo>
                    <a:lnTo>
                      <a:pt x="329" y="11"/>
                    </a:lnTo>
                    <a:lnTo>
                      <a:pt x="329" y="11"/>
                    </a:lnTo>
                    <a:lnTo>
                      <a:pt x="325" y="8"/>
                    </a:lnTo>
                    <a:lnTo>
                      <a:pt x="325" y="8"/>
                    </a:lnTo>
                    <a:lnTo>
                      <a:pt x="320" y="8"/>
                    </a:lnTo>
                    <a:lnTo>
                      <a:pt x="320" y="8"/>
                    </a:lnTo>
                    <a:lnTo>
                      <a:pt x="319" y="8"/>
                    </a:lnTo>
                    <a:lnTo>
                      <a:pt x="317" y="8"/>
                    </a:lnTo>
                    <a:lnTo>
                      <a:pt x="317" y="8"/>
                    </a:lnTo>
                    <a:lnTo>
                      <a:pt x="316" y="11"/>
                    </a:lnTo>
                    <a:lnTo>
                      <a:pt x="316" y="11"/>
                    </a:lnTo>
                    <a:lnTo>
                      <a:pt x="316" y="13"/>
                    </a:lnTo>
                    <a:lnTo>
                      <a:pt x="316" y="13"/>
                    </a:lnTo>
                    <a:lnTo>
                      <a:pt x="316" y="16"/>
                    </a:lnTo>
                    <a:lnTo>
                      <a:pt x="316" y="16"/>
                    </a:lnTo>
                    <a:lnTo>
                      <a:pt x="315" y="18"/>
                    </a:lnTo>
                    <a:lnTo>
                      <a:pt x="315" y="18"/>
                    </a:lnTo>
                    <a:lnTo>
                      <a:pt x="309" y="21"/>
                    </a:lnTo>
                    <a:lnTo>
                      <a:pt x="309" y="21"/>
                    </a:lnTo>
                    <a:lnTo>
                      <a:pt x="300" y="23"/>
                    </a:lnTo>
                    <a:lnTo>
                      <a:pt x="300" y="23"/>
                    </a:lnTo>
                    <a:lnTo>
                      <a:pt x="299" y="23"/>
                    </a:lnTo>
                    <a:lnTo>
                      <a:pt x="299" y="23"/>
                    </a:lnTo>
                    <a:lnTo>
                      <a:pt x="299" y="23"/>
                    </a:lnTo>
                    <a:lnTo>
                      <a:pt x="299" y="23"/>
                    </a:lnTo>
                    <a:lnTo>
                      <a:pt x="299" y="23"/>
                    </a:lnTo>
                    <a:lnTo>
                      <a:pt x="299" y="23"/>
                    </a:lnTo>
                    <a:lnTo>
                      <a:pt x="299" y="23"/>
                    </a:lnTo>
                    <a:lnTo>
                      <a:pt x="299" y="23"/>
                    </a:lnTo>
                    <a:lnTo>
                      <a:pt x="299" y="23"/>
                    </a:lnTo>
                    <a:lnTo>
                      <a:pt x="299" y="23"/>
                    </a:lnTo>
                    <a:lnTo>
                      <a:pt x="299" y="23"/>
                    </a:lnTo>
                    <a:lnTo>
                      <a:pt x="299" y="23"/>
                    </a:lnTo>
                    <a:lnTo>
                      <a:pt x="297" y="20"/>
                    </a:lnTo>
                    <a:lnTo>
                      <a:pt x="297" y="20"/>
                    </a:lnTo>
                    <a:lnTo>
                      <a:pt x="293" y="20"/>
                    </a:lnTo>
                    <a:lnTo>
                      <a:pt x="293" y="20"/>
                    </a:lnTo>
                    <a:lnTo>
                      <a:pt x="287" y="21"/>
                    </a:lnTo>
                    <a:lnTo>
                      <a:pt x="287" y="21"/>
                    </a:lnTo>
                    <a:lnTo>
                      <a:pt x="281" y="27"/>
                    </a:lnTo>
                    <a:lnTo>
                      <a:pt x="281" y="27"/>
                    </a:lnTo>
                    <a:lnTo>
                      <a:pt x="278" y="30"/>
                    </a:lnTo>
                    <a:lnTo>
                      <a:pt x="278" y="30"/>
                    </a:lnTo>
                    <a:lnTo>
                      <a:pt x="277" y="30"/>
                    </a:lnTo>
                    <a:lnTo>
                      <a:pt x="277" y="32"/>
                    </a:lnTo>
                    <a:lnTo>
                      <a:pt x="277" y="32"/>
                    </a:lnTo>
                    <a:lnTo>
                      <a:pt x="275" y="33"/>
                    </a:lnTo>
                    <a:lnTo>
                      <a:pt x="275" y="33"/>
                    </a:lnTo>
                    <a:lnTo>
                      <a:pt x="275" y="34"/>
                    </a:lnTo>
                    <a:lnTo>
                      <a:pt x="275" y="34"/>
                    </a:lnTo>
                    <a:lnTo>
                      <a:pt x="275" y="37"/>
                    </a:lnTo>
                    <a:lnTo>
                      <a:pt x="275" y="37"/>
                    </a:lnTo>
                    <a:lnTo>
                      <a:pt x="275" y="39"/>
                    </a:lnTo>
                    <a:lnTo>
                      <a:pt x="275" y="39"/>
                    </a:lnTo>
                    <a:lnTo>
                      <a:pt x="277" y="39"/>
                    </a:lnTo>
                    <a:lnTo>
                      <a:pt x="277" y="39"/>
                    </a:lnTo>
                    <a:lnTo>
                      <a:pt x="275" y="39"/>
                    </a:lnTo>
                    <a:lnTo>
                      <a:pt x="277" y="39"/>
                    </a:lnTo>
                    <a:lnTo>
                      <a:pt x="277" y="39"/>
                    </a:lnTo>
                    <a:lnTo>
                      <a:pt x="277" y="39"/>
                    </a:lnTo>
                    <a:lnTo>
                      <a:pt x="268" y="46"/>
                    </a:lnTo>
                    <a:lnTo>
                      <a:pt x="268" y="46"/>
                    </a:lnTo>
                    <a:lnTo>
                      <a:pt x="267" y="49"/>
                    </a:lnTo>
                    <a:lnTo>
                      <a:pt x="267" y="49"/>
                    </a:lnTo>
                    <a:lnTo>
                      <a:pt x="264" y="53"/>
                    </a:lnTo>
                    <a:lnTo>
                      <a:pt x="264" y="53"/>
                    </a:lnTo>
                    <a:lnTo>
                      <a:pt x="262" y="59"/>
                    </a:lnTo>
                    <a:lnTo>
                      <a:pt x="262" y="59"/>
                    </a:lnTo>
                    <a:lnTo>
                      <a:pt x="264" y="62"/>
                    </a:lnTo>
                    <a:lnTo>
                      <a:pt x="264" y="62"/>
                    </a:lnTo>
                    <a:lnTo>
                      <a:pt x="265" y="63"/>
                    </a:lnTo>
                    <a:lnTo>
                      <a:pt x="265" y="63"/>
                    </a:lnTo>
                    <a:lnTo>
                      <a:pt x="270" y="65"/>
                    </a:lnTo>
                    <a:lnTo>
                      <a:pt x="270" y="65"/>
                    </a:lnTo>
                    <a:lnTo>
                      <a:pt x="271" y="65"/>
                    </a:lnTo>
                    <a:lnTo>
                      <a:pt x="271" y="65"/>
                    </a:lnTo>
                    <a:lnTo>
                      <a:pt x="271" y="65"/>
                    </a:lnTo>
                    <a:lnTo>
                      <a:pt x="271" y="65"/>
                    </a:lnTo>
                    <a:lnTo>
                      <a:pt x="271" y="65"/>
                    </a:lnTo>
                    <a:lnTo>
                      <a:pt x="271" y="65"/>
                    </a:lnTo>
                    <a:lnTo>
                      <a:pt x="273" y="63"/>
                    </a:lnTo>
                    <a:lnTo>
                      <a:pt x="271" y="63"/>
                    </a:lnTo>
                    <a:lnTo>
                      <a:pt x="271" y="63"/>
                    </a:lnTo>
                    <a:lnTo>
                      <a:pt x="271" y="65"/>
                    </a:lnTo>
                    <a:lnTo>
                      <a:pt x="273" y="63"/>
                    </a:lnTo>
                    <a:lnTo>
                      <a:pt x="271" y="63"/>
                    </a:lnTo>
                    <a:lnTo>
                      <a:pt x="271" y="63"/>
                    </a:lnTo>
                    <a:lnTo>
                      <a:pt x="271" y="63"/>
                    </a:lnTo>
                    <a:lnTo>
                      <a:pt x="271" y="63"/>
                    </a:lnTo>
                    <a:lnTo>
                      <a:pt x="271" y="63"/>
                    </a:lnTo>
                    <a:lnTo>
                      <a:pt x="271" y="63"/>
                    </a:lnTo>
                    <a:lnTo>
                      <a:pt x="271" y="63"/>
                    </a:lnTo>
                    <a:lnTo>
                      <a:pt x="271" y="63"/>
                    </a:lnTo>
                    <a:lnTo>
                      <a:pt x="271" y="63"/>
                    </a:lnTo>
                    <a:lnTo>
                      <a:pt x="271" y="63"/>
                    </a:lnTo>
                    <a:lnTo>
                      <a:pt x="271" y="63"/>
                    </a:lnTo>
                    <a:lnTo>
                      <a:pt x="271" y="63"/>
                    </a:lnTo>
                    <a:lnTo>
                      <a:pt x="271" y="63"/>
                    </a:lnTo>
                    <a:lnTo>
                      <a:pt x="270" y="66"/>
                    </a:lnTo>
                    <a:lnTo>
                      <a:pt x="270" y="66"/>
                    </a:lnTo>
                    <a:lnTo>
                      <a:pt x="270" y="71"/>
                    </a:lnTo>
                    <a:lnTo>
                      <a:pt x="270" y="71"/>
                    </a:lnTo>
                    <a:lnTo>
                      <a:pt x="271" y="72"/>
                    </a:lnTo>
                    <a:lnTo>
                      <a:pt x="271" y="72"/>
                    </a:lnTo>
                    <a:lnTo>
                      <a:pt x="271" y="72"/>
                    </a:lnTo>
                    <a:lnTo>
                      <a:pt x="271" y="72"/>
                    </a:lnTo>
                    <a:lnTo>
                      <a:pt x="271" y="72"/>
                    </a:lnTo>
                    <a:lnTo>
                      <a:pt x="273" y="72"/>
                    </a:lnTo>
                    <a:lnTo>
                      <a:pt x="271" y="71"/>
                    </a:lnTo>
                    <a:lnTo>
                      <a:pt x="271" y="71"/>
                    </a:lnTo>
                    <a:lnTo>
                      <a:pt x="271" y="72"/>
                    </a:lnTo>
                    <a:lnTo>
                      <a:pt x="273" y="72"/>
                    </a:lnTo>
                    <a:lnTo>
                      <a:pt x="271" y="71"/>
                    </a:lnTo>
                    <a:lnTo>
                      <a:pt x="273" y="72"/>
                    </a:lnTo>
                    <a:lnTo>
                      <a:pt x="273" y="69"/>
                    </a:lnTo>
                    <a:lnTo>
                      <a:pt x="273" y="69"/>
                    </a:lnTo>
                    <a:lnTo>
                      <a:pt x="271" y="71"/>
                    </a:lnTo>
                    <a:lnTo>
                      <a:pt x="273" y="72"/>
                    </a:lnTo>
                    <a:lnTo>
                      <a:pt x="273" y="69"/>
                    </a:lnTo>
                    <a:lnTo>
                      <a:pt x="273" y="71"/>
                    </a:lnTo>
                    <a:lnTo>
                      <a:pt x="273" y="69"/>
                    </a:lnTo>
                    <a:lnTo>
                      <a:pt x="273" y="69"/>
                    </a:lnTo>
                    <a:lnTo>
                      <a:pt x="273" y="71"/>
                    </a:lnTo>
                    <a:lnTo>
                      <a:pt x="273" y="69"/>
                    </a:lnTo>
                    <a:lnTo>
                      <a:pt x="273" y="69"/>
                    </a:lnTo>
                    <a:lnTo>
                      <a:pt x="273" y="69"/>
                    </a:lnTo>
                    <a:lnTo>
                      <a:pt x="268" y="68"/>
                    </a:lnTo>
                    <a:lnTo>
                      <a:pt x="268" y="68"/>
                    </a:lnTo>
                    <a:lnTo>
                      <a:pt x="265" y="66"/>
                    </a:lnTo>
                    <a:lnTo>
                      <a:pt x="265" y="66"/>
                    </a:lnTo>
                    <a:lnTo>
                      <a:pt x="262" y="65"/>
                    </a:lnTo>
                    <a:lnTo>
                      <a:pt x="262" y="65"/>
                    </a:lnTo>
                    <a:lnTo>
                      <a:pt x="258" y="65"/>
                    </a:lnTo>
                    <a:lnTo>
                      <a:pt x="258" y="65"/>
                    </a:lnTo>
                    <a:lnTo>
                      <a:pt x="251" y="63"/>
                    </a:lnTo>
                    <a:lnTo>
                      <a:pt x="251" y="63"/>
                    </a:lnTo>
                    <a:lnTo>
                      <a:pt x="251" y="63"/>
                    </a:lnTo>
                    <a:lnTo>
                      <a:pt x="251" y="63"/>
                    </a:lnTo>
                    <a:lnTo>
                      <a:pt x="248" y="65"/>
                    </a:lnTo>
                    <a:lnTo>
                      <a:pt x="248" y="65"/>
                    </a:lnTo>
                    <a:lnTo>
                      <a:pt x="246" y="66"/>
                    </a:lnTo>
                    <a:lnTo>
                      <a:pt x="246" y="66"/>
                    </a:lnTo>
                    <a:lnTo>
                      <a:pt x="245" y="68"/>
                    </a:lnTo>
                    <a:lnTo>
                      <a:pt x="245" y="68"/>
                    </a:lnTo>
                    <a:lnTo>
                      <a:pt x="245" y="69"/>
                    </a:lnTo>
                    <a:lnTo>
                      <a:pt x="245" y="68"/>
                    </a:lnTo>
                    <a:lnTo>
                      <a:pt x="245" y="68"/>
                    </a:lnTo>
                    <a:lnTo>
                      <a:pt x="245" y="69"/>
                    </a:lnTo>
                    <a:lnTo>
                      <a:pt x="245" y="68"/>
                    </a:lnTo>
                    <a:lnTo>
                      <a:pt x="245" y="69"/>
                    </a:lnTo>
                    <a:lnTo>
                      <a:pt x="245" y="68"/>
                    </a:lnTo>
                    <a:lnTo>
                      <a:pt x="245" y="68"/>
                    </a:lnTo>
                    <a:lnTo>
                      <a:pt x="245" y="69"/>
                    </a:lnTo>
                    <a:lnTo>
                      <a:pt x="245" y="68"/>
                    </a:lnTo>
                    <a:lnTo>
                      <a:pt x="245" y="69"/>
                    </a:lnTo>
                    <a:lnTo>
                      <a:pt x="246" y="69"/>
                    </a:lnTo>
                    <a:lnTo>
                      <a:pt x="246" y="69"/>
                    </a:lnTo>
                    <a:lnTo>
                      <a:pt x="245" y="68"/>
                    </a:lnTo>
                    <a:lnTo>
                      <a:pt x="245" y="69"/>
                    </a:lnTo>
                    <a:lnTo>
                      <a:pt x="246" y="69"/>
                    </a:lnTo>
                    <a:lnTo>
                      <a:pt x="246" y="69"/>
                    </a:lnTo>
                    <a:lnTo>
                      <a:pt x="246" y="69"/>
                    </a:lnTo>
                    <a:lnTo>
                      <a:pt x="246" y="69"/>
                    </a:lnTo>
                    <a:lnTo>
                      <a:pt x="246" y="69"/>
                    </a:lnTo>
                    <a:lnTo>
                      <a:pt x="246" y="69"/>
                    </a:lnTo>
                    <a:lnTo>
                      <a:pt x="246" y="69"/>
                    </a:lnTo>
                    <a:lnTo>
                      <a:pt x="246" y="68"/>
                    </a:lnTo>
                    <a:lnTo>
                      <a:pt x="246" y="68"/>
                    </a:lnTo>
                    <a:lnTo>
                      <a:pt x="245" y="63"/>
                    </a:lnTo>
                    <a:lnTo>
                      <a:pt x="245" y="63"/>
                    </a:lnTo>
                    <a:lnTo>
                      <a:pt x="244" y="60"/>
                    </a:lnTo>
                    <a:lnTo>
                      <a:pt x="244" y="60"/>
                    </a:lnTo>
                    <a:lnTo>
                      <a:pt x="241" y="59"/>
                    </a:lnTo>
                    <a:lnTo>
                      <a:pt x="241" y="59"/>
                    </a:lnTo>
                    <a:lnTo>
                      <a:pt x="236" y="55"/>
                    </a:lnTo>
                    <a:lnTo>
                      <a:pt x="236" y="55"/>
                    </a:lnTo>
                    <a:lnTo>
                      <a:pt x="235" y="52"/>
                    </a:lnTo>
                    <a:lnTo>
                      <a:pt x="235" y="52"/>
                    </a:lnTo>
                    <a:lnTo>
                      <a:pt x="231" y="50"/>
                    </a:lnTo>
                    <a:lnTo>
                      <a:pt x="231" y="50"/>
                    </a:lnTo>
                    <a:lnTo>
                      <a:pt x="231" y="50"/>
                    </a:lnTo>
                    <a:lnTo>
                      <a:pt x="226" y="50"/>
                    </a:lnTo>
                    <a:lnTo>
                      <a:pt x="226" y="50"/>
                    </a:lnTo>
                    <a:lnTo>
                      <a:pt x="220" y="52"/>
                    </a:lnTo>
                    <a:lnTo>
                      <a:pt x="220" y="52"/>
                    </a:lnTo>
                    <a:lnTo>
                      <a:pt x="216" y="53"/>
                    </a:lnTo>
                    <a:lnTo>
                      <a:pt x="216" y="53"/>
                    </a:lnTo>
                    <a:lnTo>
                      <a:pt x="216" y="53"/>
                    </a:lnTo>
                    <a:lnTo>
                      <a:pt x="215" y="52"/>
                    </a:lnTo>
                    <a:lnTo>
                      <a:pt x="213" y="52"/>
                    </a:lnTo>
                    <a:lnTo>
                      <a:pt x="213" y="50"/>
                    </a:lnTo>
                    <a:lnTo>
                      <a:pt x="213" y="50"/>
                    </a:lnTo>
                    <a:lnTo>
                      <a:pt x="212" y="50"/>
                    </a:lnTo>
                    <a:lnTo>
                      <a:pt x="212" y="50"/>
                    </a:lnTo>
                    <a:lnTo>
                      <a:pt x="209" y="52"/>
                    </a:lnTo>
                    <a:lnTo>
                      <a:pt x="209" y="52"/>
                    </a:lnTo>
                    <a:lnTo>
                      <a:pt x="207" y="53"/>
                    </a:lnTo>
                    <a:lnTo>
                      <a:pt x="207" y="53"/>
                    </a:lnTo>
                    <a:lnTo>
                      <a:pt x="206" y="58"/>
                    </a:lnTo>
                    <a:lnTo>
                      <a:pt x="206" y="58"/>
                    </a:lnTo>
                    <a:lnTo>
                      <a:pt x="204" y="59"/>
                    </a:lnTo>
                    <a:lnTo>
                      <a:pt x="204" y="59"/>
                    </a:lnTo>
                    <a:lnTo>
                      <a:pt x="204" y="59"/>
                    </a:lnTo>
                    <a:lnTo>
                      <a:pt x="204" y="59"/>
                    </a:lnTo>
                    <a:lnTo>
                      <a:pt x="204" y="59"/>
                    </a:lnTo>
                    <a:lnTo>
                      <a:pt x="204" y="59"/>
                    </a:lnTo>
                    <a:lnTo>
                      <a:pt x="204" y="59"/>
                    </a:lnTo>
                    <a:lnTo>
                      <a:pt x="204" y="60"/>
                    </a:lnTo>
                    <a:lnTo>
                      <a:pt x="204" y="59"/>
                    </a:lnTo>
                    <a:lnTo>
                      <a:pt x="204" y="59"/>
                    </a:lnTo>
                    <a:lnTo>
                      <a:pt x="204" y="60"/>
                    </a:lnTo>
                    <a:lnTo>
                      <a:pt x="204" y="59"/>
                    </a:lnTo>
                    <a:lnTo>
                      <a:pt x="204" y="59"/>
                    </a:lnTo>
                    <a:lnTo>
                      <a:pt x="204" y="59"/>
                    </a:lnTo>
                    <a:lnTo>
                      <a:pt x="204" y="59"/>
                    </a:lnTo>
                    <a:lnTo>
                      <a:pt x="204" y="59"/>
                    </a:lnTo>
                    <a:lnTo>
                      <a:pt x="204" y="59"/>
                    </a:lnTo>
                    <a:lnTo>
                      <a:pt x="203" y="59"/>
                    </a:lnTo>
                    <a:lnTo>
                      <a:pt x="203" y="59"/>
                    </a:lnTo>
                    <a:lnTo>
                      <a:pt x="202" y="59"/>
                    </a:lnTo>
                    <a:lnTo>
                      <a:pt x="202" y="59"/>
                    </a:lnTo>
                    <a:lnTo>
                      <a:pt x="200" y="62"/>
                    </a:lnTo>
                    <a:lnTo>
                      <a:pt x="200" y="62"/>
                    </a:lnTo>
                    <a:lnTo>
                      <a:pt x="199" y="65"/>
                    </a:lnTo>
                    <a:lnTo>
                      <a:pt x="199" y="65"/>
                    </a:lnTo>
                    <a:lnTo>
                      <a:pt x="197" y="68"/>
                    </a:lnTo>
                    <a:lnTo>
                      <a:pt x="197" y="68"/>
                    </a:lnTo>
                    <a:lnTo>
                      <a:pt x="196" y="71"/>
                    </a:lnTo>
                    <a:lnTo>
                      <a:pt x="196" y="71"/>
                    </a:lnTo>
                    <a:lnTo>
                      <a:pt x="196" y="72"/>
                    </a:lnTo>
                    <a:lnTo>
                      <a:pt x="196" y="72"/>
                    </a:lnTo>
                    <a:lnTo>
                      <a:pt x="196" y="74"/>
                    </a:lnTo>
                    <a:lnTo>
                      <a:pt x="196" y="74"/>
                    </a:lnTo>
                    <a:lnTo>
                      <a:pt x="196" y="75"/>
                    </a:lnTo>
                    <a:lnTo>
                      <a:pt x="196" y="76"/>
                    </a:lnTo>
                    <a:lnTo>
                      <a:pt x="196" y="75"/>
                    </a:lnTo>
                    <a:lnTo>
                      <a:pt x="196" y="75"/>
                    </a:lnTo>
                    <a:lnTo>
                      <a:pt x="196" y="76"/>
                    </a:lnTo>
                    <a:lnTo>
                      <a:pt x="196" y="75"/>
                    </a:lnTo>
                    <a:lnTo>
                      <a:pt x="197" y="76"/>
                    </a:lnTo>
                    <a:lnTo>
                      <a:pt x="196" y="75"/>
                    </a:lnTo>
                    <a:lnTo>
                      <a:pt x="196" y="75"/>
                    </a:lnTo>
                    <a:lnTo>
                      <a:pt x="197" y="76"/>
                    </a:lnTo>
                    <a:lnTo>
                      <a:pt x="196" y="75"/>
                    </a:lnTo>
                    <a:lnTo>
                      <a:pt x="196" y="76"/>
                    </a:lnTo>
                    <a:lnTo>
                      <a:pt x="196" y="75"/>
                    </a:lnTo>
                    <a:lnTo>
                      <a:pt x="196" y="75"/>
                    </a:lnTo>
                    <a:lnTo>
                      <a:pt x="196" y="76"/>
                    </a:lnTo>
                    <a:lnTo>
                      <a:pt x="196" y="75"/>
                    </a:lnTo>
                    <a:lnTo>
                      <a:pt x="196" y="75"/>
                    </a:lnTo>
                    <a:lnTo>
                      <a:pt x="196" y="75"/>
                    </a:lnTo>
                    <a:lnTo>
                      <a:pt x="196" y="75"/>
                    </a:lnTo>
                    <a:lnTo>
                      <a:pt x="196" y="75"/>
                    </a:lnTo>
                    <a:lnTo>
                      <a:pt x="196" y="75"/>
                    </a:lnTo>
                    <a:lnTo>
                      <a:pt x="196" y="75"/>
                    </a:lnTo>
                    <a:lnTo>
                      <a:pt x="193" y="74"/>
                    </a:lnTo>
                    <a:lnTo>
                      <a:pt x="193" y="74"/>
                    </a:lnTo>
                    <a:lnTo>
                      <a:pt x="191" y="72"/>
                    </a:lnTo>
                    <a:lnTo>
                      <a:pt x="191" y="72"/>
                    </a:lnTo>
                    <a:lnTo>
                      <a:pt x="189" y="72"/>
                    </a:lnTo>
                    <a:lnTo>
                      <a:pt x="189" y="72"/>
                    </a:lnTo>
                    <a:lnTo>
                      <a:pt x="187" y="72"/>
                    </a:lnTo>
                    <a:lnTo>
                      <a:pt x="187" y="72"/>
                    </a:lnTo>
                    <a:lnTo>
                      <a:pt x="186" y="74"/>
                    </a:lnTo>
                    <a:lnTo>
                      <a:pt x="186" y="74"/>
                    </a:lnTo>
                    <a:lnTo>
                      <a:pt x="183" y="79"/>
                    </a:lnTo>
                    <a:lnTo>
                      <a:pt x="183" y="79"/>
                    </a:lnTo>
                    <a:lnTo>
                      <a:pt x="181" y="85"/>
                    </a:lnTo>
                    <a:lnTo>
                      <a:pt x="181" y="85"/>
                    </a:lnTo>
                    <a:lnTo>
                      <a:pt x="181" y="88"/>
                    </a:lnTo>
                    <a:lnTo>
                      <a:pt x="181" y="88"/>
                    </a:lnTo>
                    <a:lnTo>
                      <a:pt x="180" y="89"/>
                    </a:lnTo>
                    <a:lnTo>
                      <a:pt x="181" y="91"/>
                    </a:lnTo>
                    <a:lnTo>
                      <a:pt x="181" y="89"/>
                    </a:lnTo>
                    <a:lnTo>
                      <a:pt x="180" y="89"/>
                    </a:lnTo>
                    <a:lnTo>
                      <a:pt x="181" y="91"/>
                    </a:lnTo>
                    <a:lnTo>
                      <a:pt x="181" y="89"/>
                    </a:lnTo>
                    <a:lnTo>
                      <a:pt x="181" y="89"/>
                    </a:lnTo>
                    <a:lnTo>
                      <a:pt x="181" y="89"/>
                    </a:lnTo>
                    <a:lnTo>
                      <a:pt x="178" y="88"/>
                    </a:lnTo>
                    <a:lnTo>
                      <a:pt x="178" y="88"/>
                    </a:lnTo>
                    <a:lnTo>
                      <a:pt x="174" y="88"/>
                    </a:lnTo>
                    <a:lnTo>
                      <a:pt x="174" y="88"/>
                    </a:lnTo>
                    <a:lnTo>
                      <a:pt x="173" y="88"/>
                    </a:lnTo>
                    <a:lnTo>
                      <a:pt x="173" y="88"/>
                    </a:lnTo>
                    <a:lnTo>
                      <a:pt x="171" y="89"/>
                    </a:lnTo>
                    <a:lnTo>
                      <a:pt x="171" y="89"/>
                    </a:lnTo>
                    <a:lnTo>
                      <a:pt x="170" y="92"/>
                    </a:lnTo>
                    <a:lnTo>
                      <a:pt x="168" y="97"/>
                    </a:lnTo>
                    <a:lnTo>
                      <a:pt x="168" y="97"/>
                    </a:lnTo>
                    <a:lnTo>
                      <a:pt x="170" y="100"/>
                    </a:lnTo>
                    <a:lnTo>
                      <a:pt x="170" y="100"/>
                    </a:lnTo>
                    <a:lnTo>
                      <a:pt x="170" y="100"/>
                    </a:lnTo>
                    <a:lnTo>
                      <a:pt x="170" y="100"/>
                    </a:lnTo>
                    <a:lnTo>
                      <a:pt x="170" y="100"/>
                    </a:lnTo>
                    <a:lnTo>
                      <a:pt x="170" y="100"/>
                    </a:lnTo>
                    <a:lnTo>
                      <a:pt x="170" y="100"/>
                    </a:lnTo>
                    <a:lnTo>
                      <a:pt x="170" y="102"/>
                    </a:lnTo>
                    <a:lnTo>
                      <a:pt x="170" y="102"/>
                    </a:lnTo>
                    <a:lnTo>
                      <a:pt x="170" y="107"/>
                    </a:lnTo>
                    <a:lnTo>
                      <a:pt x="170" y="107"/>
                    </a:lnTo>
                    <a:lnTo>
                      <a:pt x="168" y="108"/>
                    </a:lnTo>
                    <a:lnTo>
                      <a:pt x="168" y="108"/>
                    </a:lnTo>
                    <a:lnTo>
                      <a:pt x="170" y="108"/>
                    </a:lnTo>
                    <a:lnTo>
                      <a:pt x="170" y="107"/>
                    </a:lnTo>
                    <a:lnTo>
                      <a:pt x="170" y="107"/>
                    </a:lnTo>
                    <a:lnTo>
                      <a:pt x="168" y="108"/>
                    </a:lnTo>
                    <a:lnTo>
                      <a:pt x="170" y="108"/>
                    </a:lnTo>
                    <a:lnTo>
                      <a:pt x="170" y="107"/>
                    </a:lnTo>
                    <a:lnTo>
                      <a:pt x="170" y="110"/>
                    </a:lnTo>
                    <a:lnTo>
                      <a:pt x="171" y="108"/>
                    </a:lnTo>
                    <a:lnTo>
                      <a:pt x="170" y="107"/>
                    </a:lnTo>
                    <a:lnTo>
                      <a:pt x="170" y="110"/>
                    </a:lnTo>
                    <a:lnTo>
                      <a:pt x="171" y="108"/>
                    </a:lnTo>
                    <a:lnTo>
                      <a:pt x="170" y="108"/>
                    </a:lnTo>
                    <a:lnTo>
                      <a:pt x="171" y="108"/>
                    </a:lnTo>
                    <a:lnTo>
                      <a:pt x="171" y="108"/>
                    </a:lnTo>
                    <a:lnTo>
                      <a:pt x="170" y="108"/>
                    </a:lnTo>
                    <a:lnTo>
                      <a:pt x="171" y="108"/>
                    </a:lnTo>
                    <a:lnTo>
                      <a:pt x="171" y="108"/>
                    </a:lnTo>
                    <a:lnTo>
                      <a:pt x="171" y="108"/>
                    </a:lnTo>
                    <a:lnTo>
                      <a:pt x="167" y="101"/>
                    </a:lnTo>
                    <a:lnTo>
                      <a:pt x="167" y="101"/>
                    </a:lnTo>
                    <a:lnTo>
                      <a:pt x="165" y="97"/>
                    </a:lnTo>
                    <a:lnTo>
                      <a:pt x="165" y="97"/>
                    </a:lnTo>
                    <a:lnTo>
                      <a:pt x="162" y="95"/>
                    </a:lnTo>
                    <a:lnTo>
                      <a:pt x="162" y="95"/>
                    </a:lnTo>
                    <a:lnTo>
                      <a:pt x="161" y="94"/>
                    </a:lnTo>
                    <a:lnTo>
                      <a:pt x="160" y="95"/>
                    </a:lnTo>
                    <a:lnTo>
                      <a:pt x="160" y="95"/>
                    </a:lnTo>
                    <a:lnTo>
                      <a:pt x="155" y="97"/>
                    </a:lnTo>
                    <a:lnTo>
                      <a:pt x="155" y="97"/>
                    </a:lnTo>
                    <a:lnTo>
                      <a:pt x="148" y="102"/>
                    </a:lnTo>
                    <a:lnTo>
                      <a:pt x="148" y="102"/>
                    </a:lnTo>
                    <a:lnTo>
                      <a:pt x="145" y="107"/>
                    </a:lnTo>
                    <a:lnTo>
                      <a:pt x="144" y="110"/>
                    </a:lnTo>
                    <a:lnTo>
                      <a:pt x="144" y="110"/>
                    </a:lnTo>
                    <a:lnTo>
                      <a:pt x="144" y="113"/>
                    </a:lnTo>
                    <a:lnTo>
                      <a:pt x="144" y="113"/>
                    </a:lnTo>
                    <a:lnTo>
                      <a:pt x="144" y="121"/>
                    </a:lnTo>
                    <a:lnTo>
                      <a:pt x="144" y="121"/>
                    </a:lnTo>
                    <a:lnTo>
                      <a:pt x="144" y="123"/>
                    </a:lnTo>
                    <a:lnTo>
                      <a:pt x="144" y="123"/>
                    </a:lnTo>
                    <a:lnTo>
                      <a:pt x="142" y="124"/>
                    </a:lnTo>
                    <a:lnTo>
                      <a:pt x="142" y="124"/>
                    </a:lnTo>
                    <a:lnTo>
                      <a:pt x="141" y="127"/>
                    </a:lnTo>
                    <a:lnTo>
                      <a:pt x="138" y="131"/>
                    </a:lnTo>
                    <a:lnTo>
                      <a:pt x="138" y="131"/>
                    </a:lnTo>
                    <a:lnTo>
                      <a:pt x="136" y="136"/>
                    </a:lnTo>
                    <a:lnTo>
                      <a:pt x="136" y="136"/>
                    </a:lnTo>
                    <a:lnTo>
                      <a:pt x="136" y="137"/>
                    </a:lnTo>
                    <a:lnTo>
                      <a:pt x="136" y="137"/>
                    </a:lnTo>
                    <a:lnTo>
                      <a:pt x="132" y="140"/>
                    </a:lnTo>
                    <a:lnTo>
                      <a:pt x="132" y="140"/>
                    </a:lnTo>
                    <a:lnTo>
                      <a:pt x="125" y="144"/>
                    </a:lnTo>
                    <a:lnTo>
                      <a:pt x="125" y="144"/>
                    </a:lnTo>
                    <a:lnTo>
                      <a:pt x="119" y="147"/>
                    </a:lnTo>
                    <a:lnTo>
                      <a:pt x="119" y="147"/>
                    </a:lnTo>
                    <a:lnTo>
                      <a:pt x="105" y="152"/>
                    </a:lnTo>
                    <a:lnTo>
                      <a:pt x="105" y="152"/>
                    </a:lnTo>
                    <a:lnTo>
                      <a:pt x="97" y="153"/>
                    </a:lnTo>
                    <a:lnTo>
                      <a:pt x="97" y="153"/>
                    </a:lnTo>
                    <a:lnTo>
                      <a:pt x="92" y="156"/>
                    </a:lnTo>
                    <a:lnTo>
                      <a:pt x="92" y="156"/>
                    </a:lnTo>
                    <a:lnTo>
                      <a:pt x="83" y="160"/>
                    </a:lnTo>
                    <a:lnTo>
                      <a:pt x="78" y="162"/>
                    </a:lnTo>
                    <a:lnTo>
                      <a:pt x="73" y="163"/>
                    </a:lnTo>
                    <a:lnTo>
                      <a:pt x="73" y="163"/>
                    </a:lnTo>
                    <a:lnTo>
                      <a:pt x="57" y="165"/>
                    </a:lnTo>
                    <a:lnTo>
                      <a:pt x="57" y="165"/>
                    </a:lnTo>
                    <a:lnTo>
                      <a:pt x="48" y="166"/>
                    </a:lnTo>
                    <a:lnTo>
                      <a:pt x="48" y="166"/>
                    </a:lnTo>
                    <a:lnTo>
                      <a:pt x="42" y="169"/>
                    </a:lnTo>
                    <a:lnTo>
                      <a:pt x="42" y="169"/>
                    </a:lnTo>
                    <a:lnTo>
                      <a:pt x="35" y="176"/>
                    </a:lnTo>
                    <a:lnTo>
                      <a:pt x="35" y="176"/>
                    </a:lnTo>
                    <a:lnTo>
                      <a:pt x="32" y="179"/>
                    </a:lnTo>
                    <a:lnTo>
                      <a:pt x="32" y="179"/>
                    </a:lnTo>
                    <a:lnTo>
                      <a:pt x="32" y="179"/>
                    </a:lnTo>
                    <a:lnTo>
                      <a:pt x="32" y="181"/>
                    </a:lnTo>
                    <a:lnTo>
                      <a:pt x="32" y="179"/>
                    </a:lnTo>
                    <a:lnTo>
                      <a:pt x="32" y="179"/>
                    </a:lnTo>
                    <a:lnTo>
                      <a:pt x="32" y="181"/>
                    </a:lnTo>
                    <a:lnTo>
                      <a:pt x="32" y="179"/>
                    </a:lnTo>
                    <a:lnTo>
                      <a:pt x="32" y="179"/>
                    </a:lnTo>
                    <a:lnTo>
                      <a:pt x="29" y="181"/>
                    </a:lnTo>
                    <a:lnTo>
                      <a:pt x="29" y="181"/>
                    </a:lnTo>
                    <a:lnTo>
                      <a:pt x="26" y="184"/>
                    </a:lnTo>
                    <a:lnTo>
                      <a:pt x="26" y="184"/>
                    </a:lnTo>
                    <a:lnTo>
                      <a:pt x="22" y="189"/>
                    </a:lnTo>
                    <a:lnTo>
                      <a:pt x="22" y="189"/>
                    </a:lnTo>
                    <a:lnTo>
                      <a:pt x="21" y="191"/>
                    </a:lnTo>
                    <a:lnTo>
                      <a:pt x="21" y="192"/>
                    </a:lnTo>
                    <a:lnTo>
                      <a:pt x="21" y="194"/>
                    </a:lnTo>
                    <a:lnTo>
                      <a:pt x="21" y="191"/>
                    </a:lnTo>
                    <a:lnTo>
                      <a:pt x="21" y="191"/>
                    </a:lnTo>
                    <a:lnTo>
                      <a:pt x="21" y="192"/>
                    </a:lnTo>
                    <a:lnTo>
                      <a:pt x="21" y="194"/>
                    </a:lnTo>
                    <a:lnTo>
                      <a:pt x="21" y="191"/>
                    </a:lnTo>
                    <a:lnTo>
                      <a:pt x="21" y="194"/>
                    </a:lnTo>
                    <a:lnTo>
                      <a:pt x="22" y="192"/>
                    </a:lnTo>
                    <a:lnTo>
                      <a:pt x="21" y="191"/>
                    </a:lnTo>
                    <a:lnTo>
                      <a:pt x="21" y="194"/>
                    </a:lnTo>
                    <a:lnTo>
                      <a:pt x="22" y="192"/>
                    </a:lnTo>
                    <a:lnTo>
                      <a:pt x="21" y="194"/>
                    </a:lnTo>
                    <a:lnTo>
                      <a:pt x="23" y="192"/>
                    </a:lnTo>
                    <a:lnTo>
                      <a:pt x="22" y="192"/>
                    </a:lnTo>
                    <a:lnTo>
                      <a:pt x="21" y="194"/>
                    </a:lnTo>
                    <a:lnTo>
                      <a:pt x="23" y="192"/>
                    </a:lnTo>
                    <a:lnTo>
                      <a:pt x="23" y="192"/>
                    </a:lnTo>
                    <a:lnTo>
                      <a:pt x="22" y="192"/>
                    </a:lnTo>
                    <a:lnTo>
                      <a:pt x="23" y="192"/>
                    </a:lnTo>
                    <a:lnTo>
                      <a:pt x="23" y="192"/>
                    </a:lnTo>
                    <a:lnTo>
                      <a:pt x="22" y="192"/>
                    </a:lnTo>
                    <a:lnTo>
                      <a:pt x="23" y="192"/>
                    </a:lnTo>
                    <a:lnTo>
                      <a:pt x="23" y="192"/>
                    </a:lnTo>
                    <a:lnTo>
                      <a:pt x="23" y="192"/>
                    </a:lnTo>
                    <a:lnTo>
                      <a:pt x="23" y="191"/>
                    </a:lnTo>
                    <a:lnTo>
                      <a:pt x="23" y="191"/>
                    </a:lnTo>
                    <a:lnTo>
                      <a:pt x="23" y="189"/>
                    </a:lnTo>
                    <a:lnTo>
                      <a:pt x="23" y="189"/>
                    </a:lnTo>
                    <a:lnTo>
                      <a:pt x="23" y="188"/>
                    </a:lnTo>
                    <a:lnTo>
                      <a:pt x="23" y="188"/>
                    </a:lnTo>
                    <a:lnTo>
                      <a:pt x="22" y="186"/>
                    </a:lnTo>
                    <a:lnTo>
                      <a:pt x="21" y="186"/>
                    </a:lnTo>
                    <a:lnTo>
                      <a:pt x="21" y="186"/>
                    </a:lnTo>
                    <a:lnTo>
                      <a:pt x="19" y="186"/>
                    </a:lnTo>
                    <a:lnTo>
                      <a:pt x="19" y="186"/>
                    </a:lnTo>
                    <a:lnTo>
                      <a:pt x="18" y="188"/>
                    </a:lnTo>
                    <a:lnTo>
                      <a:pt x="18" y="188"/>
                    </a:lnTo>
                    <a:lnTo>
                      <a:pt x="10" y="194"/>
                    </a:lnTo>
                    <a:lnTo>
                      <a:pt x="10" y="194"/>
                    </a:lnTo>
                    <a:lnTo>
                      <a:pt x="9" y="198"/>
                    </a:lnTo>
                    <a:lnTo>
                      <a:pt x="8" y="202"/>
                    </a:lnTo>
                    <a:lnTo>
                      <a:pt x="8" y="202"/>
                    </a:lnTo>
                    <a:lnTo>
                      <a:pt x="8" y="204"/>
                    </a:lnTo>
                    <a:lnTo>
                      <a:pt x="8" y="204"/>
                    </a:lnTo>
                    <a:lnTo>
                      <a:pt x="9" y="210"/>
                    </a:lnTo>
                    <a:lnTo>
                      <a:pt x="9" y="210"/>
                    </a:lnTo>
                    <a:lnTo>
                      <a:pt x="8" y="215"/>
                    </a:lnTo>
                    <a:lnTo>
                      <a:pt x="8" y="215"/>
                    </a:lnTo>
                    <a:lnTo>
                      <a:pt x="6" y="217"/>
                    </a:lnTo>
                    <a:lnTo>
                      <a:pt x="6" y="217"/>
                    </a:lnTo>
                    <a:lnTo>
                      <a:pt x="5" y="223"/>
                    </a:lnTo>
                    <a:lnTo>
                      <a:pt x="5" y="223"/>
                    </a:lnTo>
                    <a:lnTo>
                      <a:pt x="3" y="227"/>
                    </a:lnTo>
                    <a:lnTo>
                      <a:pt x="3" y="227"/>
                    </a:lnTo>
                    <a:lnTo>
                      <a:pt x="3" y="230"/>
                    </a:lnTo>
                    <a:lnTo>
                      <a:pt x="3" y="230"/>
                    </a:lnTo>
                    <a:lnTo>
                      <a:pt x="5" y="230"/>
                    </a:lnTo>
                    <a:lnTo>
                      <a:pt x="5" y="230"/>
                    </a:lnTo>
                    <a:lnTo>
                      <a:pt x="6" y="231"/>
                    </a:lnTo>
                    <a:lnTo>
                      <a:pt x="6" y="231"/>
                    </a:lnTo>
                    <a:lnTo>
                      <a:pt x="8" y="231"/>
                    </a:lnTo>
                    <a:lnTo>
                      <a:pt x="8" y="231"/>
                    </a:lnTo>
                    <a:lnTo>
                      <a:pt x="8" y="231"/>
                    </a:lnTo>
                    <a:lnTo>
                      <a:pt x="8" y="231"/>
                    </a:lnTo>
                    <a:lnTo>
                      <a:pt x="13" y="227"/>
                    </a:lnTo>
                    <a:lnTo>
                      <a:pt x="13" y="227"/>
                    </a:lnTo>
                    <a:lnTo>
                      <a:pt x="15" y="226"/>
                    </a:lnTo>
                    <a:lnTo>
                      <a:pt x="15" y="226"/>
                    </a:lnTo>
                    <a:lnTo>
                      <a:pt x="15" y="224"/>
                    </a:lnTo>
                    <a:lnTo>
                      <a:pt x="15" y="226"/>
                    </a:lnTo>
                    <a:lnTo>
                      <a:pt x="15" y="226"/>
                    </a:lnTo>
                    <a:lnTo>
                      <a:pt x="15" y="224"/>
                    </a:lnTo>
                    <a:lnTo>
                      <a:pt x="15" y="226"/>
                    </a:lnTo>
                    <a:lnTo>
                      <a:pt x="13" y="223"/>
                    </a:lnTo>
                    <a:lnTo>
                      <a:pt x="13" y="226"/>
                    </a:lnTo>
                    <a:lnTo>
                      <a:pt x="13" y="226"/>
                    </a:lnTo>
                    <a:lnTo>
                      <a:pt x="15" y="226"/>
                    </a:lnTo>
                    <a:lnTo>
                      <a:pt x="13" y="223"/>
                    </a:lnTo>
                    <a:lnTo>
                      <a:pt x="13" y="226"/>
                    </a:lnTo>
                    <a:lnTo>
                      <a:pt x="13" y="223"/>
                    </a:lnTo>
                    <a:lnTo>
                      <a:pt x="12" y="224"/>
                    </a:lnTo>
                    <a:lnTo>
                      <a:pt x="12" y="224"/>
                    </a:lnTo>
                    <a:lnTo>
                      <a:pt x="13" y="226"/>
                    </a:lnTo>
                    <a:lnTo>
                      <a:pt x="13" y="223"/>
                    </a:lnTo>
                    <a:lnTo>
                      <a:pt x="12" y="224"/>
                    </a:lnTo>
                    <a:lnTo>
                      <a:pt x="13" y="223"/>
                    </a:lnTo>
                    <a:lnTo>
                      <a:pt x="12" y="223"/>
                    </a:lnTo>
                    <a:lnTo>
                      <a:pt x="12" y="223"/>
                    </a:lnTo>
                    <a:lnTo>
                      <a:pt x="12" y="224"/>
                    </a:lnTo>
                    <a:lnTo>
                      <a:pt x="13" y="223"/>
                    </a:lnTo>
                    <a:lnTo>
                      <a:pt x="12" y="223"/>
                    </a:lnTo>
                    <a:lnTo>
                      <a:pt x="13" y="223"/>
                    </a:lnTo>
                    <a:lnTo>
                      <a:pt x="12" y="223"/>
                    </a:lnTo>
                    <a:lnTo>
                      <a:pt x="12" y="223"/>
                    </a:lnTo>
                    <a:lnTo>
                      <a:pt x="13" y="223"/>
                    </a:lnTo>
                    <a:lnTo>
                      <a:pt x="12" y="223"/>
                    </a:lnTo>
                    <a:lnTo>
                      <a:pt x="13" y="223"/>
                    </a:lnTo>
                    <a:lnTo>
                      <a:pt x="12" y="223"/>
                    </a:lnTo>
                    <a:lnTo>
                      <a:pt x="12" y="223"/>
                    </a:lnTo>
                    <a:lnTo>
                      <a:pt x="12" y="223"/>
                    </a:lnTo>
                    <a:lnTo>
                      <a:pt x="12" y="223"/>
                    </a:lnTo>
                    <a:lnTo>
                      <a:pt x="12" y="223"/>
                    </a:lnTo>
                    <a:lnTo>
                      <a:pt x="12" y="223"/>
                    </a:lnTo>
                    <a:lnTo>
                      <a:pt x="12" y="223"/>
                    </a:lnTo>
                    <a:lnTo>
                      <a:pt x="10" y="223"/>
                    </a:lnTo>
                    <a:lnTo>
                      <a:pt x="10" y="223"/>
                    </a:lnTo>
                    <a:lnTo>
                      <a:pt x="9" y="227"/>
                    </a:lnTo>
                    <a:lnTo>
                      <a:pt x="8" y="233"/>
                    </a:lnTo>
                    <a:lnTo>
                      <a:pt x="8" y="233"/>
                    </a:lnTo>
                    <a:lnTo>
                      <a:pt x="8" y="234"/>
                    </a:lnTo>
                    <a:lnTo>
                      <a:pt x="8" y="234"/>
                    </a:lnTo>
                    <a:lnTo>
                      <a:pt x="8" y="242"/>
                    </a:lnTo>
                    <a:lnTo>
                      <a:pt x="8" y="242"/>
                    </a:lnTo>
                    <a:lnTo>
                      <a:pt x="10" y="247"/>
                    </a:lnTo>
                    <a:lnTo>
                      <a:pt x="10" y="247"/>
                    </a:lnTo>
                    <a:lnTo>
                      <a:pt x="13" y="253"/>
                    </a:lnTo>
                    <a:lnTo>
                      <a:pt x="13" y="253"/>
                    </a:lnTo>
                    <a:lnTo>
                      <a:pt x="15" y="256"/>
                    </a:lnTo>
                    <a:lnTo>
                      <a:pt x="15" y="256"/>
                    </a:lnTo>
                    <a:lnTo>
                      <a:pt x="15" y="257"/>
                    </a:lnTo>
                    <a:lnTo>
                      <a:pt x="16" y="257"/>
                    </a:lnTo>
                    <a:lnTo>
                      <a:pt x="16" y="257"/>
                    </a:lnTo>
                    <a:lnTo>
                      <a:pt x="15" y="257"/>
                    </a:lnTo>
                    <a:lnTo>
                      <a:pt x="16" y="257"/>
                    </a:lnTo>
                    <a:lnTo>
                      <a:pt x="16" y="257"/>
                    </a:lnTo>
                    <a:lnTo>
                      <a:pt x="18" y="259"/>
                    </a:lnTo>
                    <a:lnTo>
                      <a:pt x="18" y="256"/>
                    </a:lnTo>
                    <a:lnTo>
                      <a:pt x="18" y="256"/>
                    </a:lnTo>
                    <a:lnTo>
                      <a:pt x="16" y="257"/>
                    </a:lnTo>
                    <a:lnTo>
                      <a:pt x="18" y="259"/>
                    </a:lnTo>
                    <a:lnTo>
                      <a:pt x="18" y="256"/>
                    </a:lnTo>
                    <a:lnTo>
                      <a:pt x="18" y="257"/>
                    </a:lnTo>
                    <a:lnTo>
                      <a:pt x="18" y="256"/>
                    </a:lnTo>
                    <a:lnTo>
                      <a:pt x="18" y="256"/>
                    </a:lnTo>
                    <a:lnTo>
                      <a:pt x="18" y="257"/>
                    </a:lnTo>
                    <a:lnTo>
                      <a:pt x="18" y="256"/>
                    </a:lnTo>
                    <a:lnTo>
                      <a:pt x="18" y="256"/>
                    </a:lnTo>
                    <a:lnTo>
                      <a:pt x="18" y="256"/>
                    </a:lnTo>
                    <a:lnTo>
                      <a:pt x="18" y="256"/>
                    </a:lnTo>
                    <a:lnTo>
                      <a:pt x="18" y="256"/>
                    </a:lnTo>
                    <a:lnTo>
                      <a:pt x="18" y="256"/>
                    </a:lnTo>
                    <a:lnTo>
                      <a:pt x="18" y="256"/>
                    </a:lnTo>
                    <a:lnTo>
                      <a:pt x="18" y="256"/>
                    </a:lnTo>
                    <a:lnTo>
                      <a:pt x="13" y="253"/>
                    </a:lnTo>
                    <a:lnTo>
                      <a:pt x="13" y="253"/>
                    </a:lnTo>
                    <a:lnTo>
                      <a:pt x="12" y="252"/>
                    </a:lnTo>
                    <a:lnTo>
                      <a:pt x="10" y="252"/>
                    </a:lnTo>
                    <a:lnTo>
                      <a:pt x="10" y="252"/>
                    </a:lnTo>
                    <a:lnTo>
                      <a:pt x="9" y="250"/>
                    </a:lnTo>
                    <a:lnTo>
                      <a:pt x="9" y="250"/>
                    </a:lnTo>
                    <a:lnTo>
                      <a:pt x="6" y="252"/>
                    </a:lnTo>
                    <a:lnTo>
                      <a:pt x="6" y="252"/>
                    </a:lnTo>
                    <a:lnTo>
                      <a:pt x="6" y="255"/>
                    </a:lnTo>
                    <a:lnTo>
                      <a:pt x="6" y="255"/>
                    </a:lnTo>
                    <a:lnTo>
                      <a:pt x="6" y="257"/>
                    </a:lnTo>
                    <a:lnTo>
                      <a:pt x="6" y="257"/>
                    </a:lnTo>
                    <a:lnTo>
                      <a:pt x="6" y="259"/>
                    </a:lnTo>
                    <a:lnTo>
                      <a:pt x="6" y="260"/>
                    </a:lnTo>
                    <a:lnTo>
                      <a:pt x="6" y="260"/>
                    </a:lnTo>
                    <a:lnTo>
                      <a:pt x="8" y="260"/>
                    </a:lnTo>
                    <a:lnTo>
                      <a:pt x="6" y="260"/>
                    </a:lnTo>
                    <a:lnTo>
                      <a:pt x="6" y="260"/>
                    </a:lnTo>
                    <a:lnTo>
                      <a:pt x="8" y="260"/>
                    </a:lnTo>
                    <a:lnTo>
                      <a:pt x="6" y="260"/>
                    </a:lnTo>
                    <a:lnTo>
                      <a:pt x="8" y="260"/>
                    </a:lnTo>
                    <a:lnTo>
                      <a:pt x="8" y="259"/>
                    </a:lnTo>
                    <a:lnTo>
                      <a:pt x="8" y="259"/>
                    </a:lnTo>
                    <a:lnTo>
                      <a:pt x="6" y="260"/>
                    </a:lnTo>
                    <a:lnTo>
                      <a:pt x="8" y="260"/>
                    </a:lnTo>
                    <a:lnTo>
                      <a:pt x="8" y="259"/>
                    </a:lnTo>
                    <a:lnTo>
                      <a:pt x="8" y="260"/>
                    </a:lnTo>
                    <a:lnTo>
                      <a:pt x="9" y="259"/>
                    </a:lnTo>
                    <a:lnTo>
                      <a:pt x="8" y="259"/>
                    </a:lnTo>
                    <a:lnTo>
                      <a:pt x="8" y="260"/>
                    </a:lnTo>
                    <a:lnTo>
                      <a:pt x="9" y="259"/>
                    </a:lnTo>
                    <a:lnTo>
                      <a:pt x="9" y="260"/>
                    </a:lnTo>
                    <a:lnTo>
                      <a:pt x="9" y="259"/>
                    </a:lnTo>
                    <a:lnTo>
                      <a:pt x="9" y="259"/>
                    </a:lnTo>
                    <a:lnTo>
                      <a:pt x="9" y="260"/>
                    </a:lnTo>
                    <a:lnTo>
                      <a:pt x="9" y="259"/>
                    </a:lnTo>
                    <a:lnTo>
                      <a:pt x="9" y="259"/>
                    </a:lnTo>
                    <a:lnTo>
                      <a:pt x="8" y="257"/>
                    </a:lnTo>
                    <a:lnTo>
                      <a:pt x="6" y="256"/>
                    </a:lnTo>
                    <a:lnTo>
                      <a:pt x="5" y="255"/>
                    </a:lnTo>
                    <a:lnTo>
                      <a:pt x="5" y="255"/>
                    </a:lnTo>
                    <a:lnTo>
                      <a:pt x="3" y="255"/>
                    </a:lnTo>
                    <a:lnTo>
                      <a:pt x="3" y="255"/>
                    </a:lnTo>
                    <a:lnTo>
                      <a:pt x="2" y="255"/>
                    </a:lnTo>
                    <a:lnTo>
                      <a:pt x="2" y="255"/>
                    </a:lnTo>
                    <a:lnTo>
                      <a:pt x="0" y="256"/>
                    </a:lnTo>
                    <a:lnTo>
                      <a:pt x="0" y="256"/>
                    </a:lnTo>
                    <a:lnTo>
                      <a:pt x="0" y="257"/>
                    </a:lnTo>
                    <a:lnTo>
                      <a:pt x="0" y="257"/>
                    </a:lnTo>
                    <a:lnTo>
                      <a:pt x="0" y="260"/>
                    </a:lnTo>
                    <a:lnTo>
                      <a:pt x="0" y="260"/>
                    </a:lnTo>
                    <a:lnTo>
                      <a:pt x="2" y="268"/>
                    </a:lnTo>
                    <a:lnTo>
                      <a:pt x="2" y="268"/>
                    </a:lnTo>
                    <a:lnTo>
                      <a:pt x="3" y="273"/>
                    </a:lnTo>
                    <a:lnTo>
                      <a:pt x="6" y="276"/>
                    </a:lnTo>
                    <a:lnTo>
                      <a:pt x="6" y="276"/>
                    </a:lnTo>
                    <a:lnTo>
                      <a:pt x="12" y="284"/>
                    </a:lnTo>
                    <a:lnTo>
                      <a:pt x="12" y="284"/>
                    </a:lnTo>
                    <a:lnTo>
                      <a:pt x="15" y="292"/>
                    </a:lnTo>
                    <a:lnTo>
                      <a:pt x="15" y="292"/>
                    </a:lnTo>
                    <a:lnTo>
                      <a:pt x="16" y="298"/>
                    </a:lnTo>
                    <a:lnTo>
                      <a:pt x="19" y="304"/>
                    </a:lnTo>
                    <a:lnTo>
                      <a:pt x="19" y="304"/>
                    </a:lnTo>
                    <a:lnTo>
                      <a:pt x="22" y="308"/>
                    </a:lnTo>
                    <a:lnTo>
                      <a:pt x="22" y="308"/>
                    </a:lnTo>
                    <a:lnTo>
                      <a:pt x="25" y="311"/>
                    </a:lnTo>
                    <a:lnTo>
                      <a:pt x="25" y="311"/>
                    </a:lnTo>
                    <a:lnTo>
                      <a:pt x="26" y="314"/>
                    </a:lnTo>
                    <a:lnTo>
                      <a:pt x="26" y="314"/>
                    </a:lnTo>
                    <a:lnTo>
                      <a:pt x="28" y="323"/>
                    </a:lnTo>
                    <a:lnTo>
                      <a:pt x="28" y="323"/>
                    </a:lnTo>
                    <a:lnTo>
                      <a:pt x="29" y="328"/>
                    </a:lnTo>
                    <a:lnTo>
                      <a:pt x="29" y="328"/>
                    </a:lnTo>
                    <a:lnTo>
                      <a:pt x="31" y="336"/>
                    </a:lnTo>
                    <a:lnTo>
                      <a:pt x="31" y="336"/>
                    </a:lnTo>
                    <a:lnTo>
                      <a:pt x="38" y="360"/>
                    </a:lnTo>
                    <a:lnTo>
                      <a:pt x="38" y="360"/>
                    </a:lnTo>
                    <a:lnTo>
                      <a:pt x="41" y="369"/>
                    </a:lnTo>
                    <a:lnTo>
                      <a:pt x="41" y="369"/>
                    </a:lnTo>
                    <a:lnTo>
                      <a:pt x="42" y="376"/>
                    </a:lnTo>
                    <a:lnTo>
                      <a:pt x="42" y="376"/>
                    </a:lnTo>
                    <a:lnTo>
                      <a:pt x="42" y="376"/>
                    </a:lnTo>
                    <a:lnTo>
                      <a:pt x="44" y="376"/>
                    </a:lnTo>
                    <a:lnTo>
                      <a:pt x="42" y="376"/>
                    </a:lnTo>
                    <a:lnTo>
                      <a:pt x="42" y="376"/>
                    </a:lnTo>
                    <a:lnTo>
                      <a:pt x="44" y="376"/>
                    </a:lnTo>
                    <a:lnTo>
                      <a:pt x="42" y="376"/>
                    </a:lnTo>
                    <a:lnTo>
                      <a:pt x="44" y="376"/>
                    </a:lnTo>
                    <a:lnTo>
                      <a:pt x="42" y="375"/>
                    </a:lnTo>
                    <a:lnTo>
                      <a:pt x="42" y="376"/>
                    </a:lnTo>
                    <a:lnTo>
                      <a:pt x="44" y="376"/>
                    </a:lnTo>
                    <a:lnTo>
                      <a:pt x="42" y="375"/>
                    </a:lnTo>
                    <a:lnTo>
                      <a:pt x="44" y="376"/>
                    </a:lnTo>
                    <a:lnTo>
                      <a:pt x="44" y="375"/>
                    </a:lnTo>
                    <a:lnTo>
                      <a:pt x="42" y="375"/>
                    </a:lnTo>
                    <a:lnTo>
                      <a:pt x="44" y="376"/>
                    </a:lnTo>
                    <a:lnTo>
                      <a:pt x="44" y="375"/>
                    </a:lnTo>
                    <a:lnTo>
                      <a:pt x="44" y="376"/>
                    </a:lnTo>
                    <a:lnTo>
                      <a:pt x="45" y="375"/>
                    </a:lnTo>
                    <a:lnTo>
                      <a:pt x="45" y="375"/>
                    </a:lnTo>
                    <a:lnTo>
                      <a:pt x="44" y="375"/>
                    </a:lnTo>
                    <a:lnTo>
                      <a:pt x="44" y="376"/>
                    </a:lnTo>
                    <a:lnTo>
                      <a:pt x="45" y="375"/>
                    </a:lnTo>
                    <a:lnTo>
                      <a:pt x="45" y="375"/>
                    </a:lnTo>
                    <a:lnTo>
                      <a:pt x="45" y="375"/>
                    </a:lnTo>
                    <a:lnTo>
                      <a:pt x="44" y="372"/>
                    </a:lnTo>
                    <a:lnTo>
                      <a:pt x="44" y="372"/>
                    </a:lnTo>
                    <a:lnTo>
                      <a:pt x="42" y="370"/>
                    </a:lnTo>
                    <a:lnTo>
                      <a:pt x="42" y="370"/>
                    </a:lnTo>
                    <a:lnTo>
                      <a:pt x="39" y="370"/>
                    </a:lnTo>
                    <a:lnTo>
                      <a:pt x="39" y="370"/>
                    </a:lnTo>
                    <a:lnTo>
                      <a:pt x="36" y="372"/>
                    </a:lnTo>
                    <a:lnTo>
                      <a:pt x="36" y="372"/>
                    </a:lnTo>
                    <a:lnTo>
                      <a:pt x="35" y="373"/>
                    </a:lnTo>
                    <a:lnTo>
                      <a:pt x="35" y="373"/>
                    </a:lnTo>
                    <a:lnTo>
                      <a:pt x="32" y="383"/>
                    </a:lnTo>
                    <a:lnTo>
                      <a:pt x="32" y="383"/>
                    </a:lnTo>
                    <a:lnTo>
                      <a:pt x="31" y="386"/>
                    </a:lnTo>
                    <a:lnTo>
                      <a:pt x="31" y="386"/>
                    </a:lnTo>
                    <a:lnTo>
                      <a:pt x="31" y="388"/>
                    </a:lnTo>
                    <a:lnTo>
                      <a:pt x="31" y="388"/>
                    </a:lnTo>
                    <a:lnTo>
                      <a:pt x="25" y="391"/>
                    </a:lnTo>
                    <a:lnTo>
                      <a:pt x="25" y="391"/>
                    </a:lnTo>
                    <a:lnTo>
                      <a:pt x="23" y="394"/>
                    </a:lnTo>
                    <a:lnTo>
                      <a:pt x="23" y="394"/>
                    </a:lnTo>
                    <a:lnTo>
                      <a:pt x="23" y="397"/>
                    </a:lnTo>
                    <a:lnTo>
                      <a:pt x="23" y="397"/>
                    </a:lnTo>
                    <a:lnTo>
                      <a:pt x="23" y="399"/>
                    </a:lnTo>
                    <a:lnTo>
                      <a:pt x="25" y="404"/>
                    </a:lnTo>
                    <a:lnTo>
                      <a:pt x="25" y="404"/>
                    </a:lnTo>
                    <a:lnTo>
                      <a:pt x="26" y="407"/>
                    </a:lnTo>
                    <a:lnTo>
                      <a:pt x="31" y="408"/>
                    </a:lnTo>
                    <a:lnTo>
                      <a:pt x="31" y="408"/>
                    </a:lnTo>
                    <a:lnTo>
                      <a:pt x="34" y="410"/>
                    </a:lnTo>
                    <a:lnTo>
                      <a:pt x="36" y="412"/>
                    </a:lnTo>
                    <a:lnTo>
                      <a:pt x="36" y="412"/>
                    </a:lnTo>
                    <a:lnTo>
                      <a:pt x="45" y="420"/>
                    </a:lnTo>
                    <a:lnTo>
                      <a:pt x="45" y="420"/>
                    </a:lnTo>
                    <a:lnTo>
                      <a:pt x="54" y="423"/>
                    </a:lnTo>
                    <a:lnTo>
                      <a:pt x="63" y="424"/>
                    </a:lnTo>
                    <a:lnTo>
                      <a:pt x="63" y="424"/>
                    </a:lnTo>
                    <a:lnTo>
                      <a:pt x="68" y="423"/>
                    </a:lnTo>
                    <a:lnTo>
                      <a:pt x="68" y="423"/>
                    </a:lnTo>
                    <a:lnTo>
                      <a:pt x="80" y="417"/>
                    </a:lnTo>
                    <a:lnTo>
                      <a:pt x="80" y="417"/>
                    </a:lnTo>
                    <a:lnTo>
                      <a:pt x="90" y="412"/>
                    </a:lnTo>
                    <a:lnTo>
                      <a:pt x="90" y="412"/>
                    </a:lnTo>
                    <a:lnTo>
                      <a:pt x="96" y="410"/>
                    </a:lnTo>
                    <a:lnTo>
                      <a:pt x="100" y="405"/>
                    </a:lnTo>
                    <a:lnTo>
                      <a:pt x="100" y="405"/>
                    </a:lnTo>
                    <a:lnTo>
                      <a:pt x="105" y="402"/>
                    </a:lnTo>
                    <a:lnTo>
                      <a:pt x="105" y="402"/>
                    </a:lnTo>
                    <a:lnTo>
                      <a:pt x="107" y="401"/>
                    </a:lnTo>
                    <a:lnTo>
                      <a:pt x="107" y="401"/>
                    </a:lnTo>
                    <a:lnTo>
                      <a:pt x="115" y="401"/>
                    </a:lnTo>
                    <a:lnTo>
                      <a:pt x="125" y="399"/>
                    </a:lnTo>
                    <a:lnTo>
                      <a:pt x="125" y="399"/>
                    </a:lnTo>
                    <a:lnTo>
                      <a:pt x="132" y="401"/>
                    </a:lnTo>
                    <a:lnTo>
                      <a:pt x="132" y="401"/>
                    </a:lnTo>
                    <a:lnTo>
                      <a:pt x="136" y="402"/>
                    </a:lnTo>
                    <a:lnTo>
                      <a:pt x="142" y="404"/>
                    </a:lnTo>
                    <a:lnTo>
                      <a:pt x="142" y="404"/>
                    </a:lnTo>
                    <a:lnTo>
                      <a:pt x="145" y="402"/>
                    </a:lnTo>
                    <a:lnTo>
                      <a:pt x="148" y="401"/>
                    </a:lnTo>
                    <a:lnTo>
                      <a:pt x="148" y="401"/>
                    </a:lnTo>
                    <a:lnTo>
                      <a:pt x="151" y="398"/>
                    </a:lnTo>
                    <a:lnTo>
                      <a:pt x="152" y="398"/>
                    </a:lnTo>
                    <a:lnTo>
                      <a:pt x="152" y="398"/>
                    </a:lnTo>
                    <a:lnTo>
                      <a:pt x="152" y="398"/>
                    </a:lnTo>
                    <a:lnTo>
                      <a:pt x="152" y="398"/>
                    </a:lnTo>
                    <a:lnTo>
                      <a:pt x="152" y="398"/>
                    </a:lnTo>
                    <a:lnTo>
                      <a:pt x="152" y="398"/>
                    </a:lnTo>
                    <a:lnTo>
                      <a:pt x="152" y="398"/>
                    </a:lnTo>
                    <a:lnTo>
                      <a:pt x="152" y="397"/>
                    </a:lnTo>
                    <a:lnTo>
                      <a:pt x="152" y="398"/>
                    </a:lnTo>
                    <a:lnTo>
                      <a:pt x="152" y="398"/>
                    </a:lnTo>
                    <a:lnTo>
                      <a:pt x="152" y="397"/>
                    </a:lnTo>
                    <a:lnTo>
                      <a:pt x="152" y="398"/>
                    </a:lnTo>
                    <a:lnTo>
                      <a:pt x="152" y="397"/>
                    </a:lnTo>
                    <a:lnTo>
                      <a:pt x="151" y="398"/>
                    </a:lnTo>
                    <a:lnTo>
                      <a:pt x="152" y="398"/>
                    </a:lnTo>
                    <a:lnTo>
                      <a:pt x="152" y="397"/>
                    </a:lnTo>
                    <a:lnTo>
                      <a:pt x="151" y="398"/>
                    </a:lnTo>
                    <a:lnTo>
                      <a:pt x="151" y="398"/>
                    </a:lnTo>
                    <a:lnTo>
                      <a:pt x="151" y="398"/>
                    </a:lnTo>
                    <a:lnTo>
                      <a:pt x="151" y="398"/>
                    </a:lnTo>
                    <a:lnTo>
                      <a:pt x="151" y="398"/>
                    </a:lnTo>
                    <a:lnTo>
                      <a:pt x="151" y="398"/>
                    </a:lnTo>
                    <a:lnTo>
                      <a:pt x="152" y="398"/>
                    </a:lnTo>
                    <a:lnTo>
                      <a:pt x="152" y="398"/>
                    </a:lnTo>
                    <a:lnTo>
                      <a:pt x="155" y="401"/>
                    </a:lnTo>
                    <a:lnTo>
                      <a:pt x="155" y="401"/>
                    </a:lnTo>
                    <a:lnTo>
                      <a:pt x="157" y="402"/>
                    </a:lnTo>
                    <a:lnTo>
                      <a:pt x="160" y="402"/>
                    </a:lnTo>
                    <a:lnTo>
                      <a:pt x="160" y="402"/>
                    </a:lnTo>
                    <a:lnTo>
                      <a:pt x="162" y="402"/>
                    </a:lnTo>
                    <a:lnTo>
                      <a:pt x="164" y="401"/>
                    </a:lnTo>
                    <a:lnTo>
                      <a:pt x="164" y="401"/>
                    </a:lnTo>
                    <a:lnTo>
                      <a:pt x="168" y="395"/>
                    </a:lnTo>
                    <a:lnTo>
                      <a:pt x="168" y="395"/>
                    </a:lnTo>
                    <a:lnTo>
                      <a:pt x="173" y="386"/>
                    </a:lnTo>
                    <a:lnTo>
                      <a:pt x="173" y="386"/>
                    </a:lnTo>
                    <a:lnTo>
                      <a:pt x="176" y="383"/>
                    </a:lnTo>
                    <a:lnTo>
                      <a:pt x="176" y="383"/>
                    </a:lnTo>
                    <a:lnTo>
                      <a:pt x="177" y="382"/>
                    </a:lnTo>
                    <a:lnTo>
                      <a:pt x="177" y="382"/>
                    </a:lnTo>
                    <a:lnTo>
                      <a:pt x="184" y="382"/>
                    </a:lnTo>
                    <a:lnTo>
                      <a:pt x="196" y="381"/>
                    </a:lnTo>
                    <a:lnTo>
                      <a:pt x="196" y="381"/>
                    </a:lnTo>
                    <a:lnTo>
                      <a:pt x="215" y="382"/>
                    </a:lnTo>
                    <a:lnTo>
                      <a:pt x="215" y="382"/>
                    </a:lnTo>
                    <a:lnTo>
                      <a:pt x="226" y="382"/>
                    </a:lnTo>
                    <a:lnTo>
                      <a:pt x="226" y="382"/>
                    </a:lnTo>
                    <a:lnTo>
                      <a:pt x="233" y="381"/>
                    </a:lnTo>
                    <a:lnTo>
                      <a:pt x="233" y="381"/>
                    </a:lnTo>
                    <a:lnTo>
                      <a:pt x="242" y="378"/>
                    </a:lnTo>
                    <a:lnTo>
                      <a:pt x="242" y="378"/>
                    </a:lnTo>
                    <a:lnTo>
                      <a:pt x="251" y="373"/>
                    </a:lnTo>
                    <a:lnTo>
                      <a:pt x="260" y="370"/>
                    </a:lnTo>
                    <a:lnTo>
                      <a:pt x="277" y="366"/>
                    </a:lnTo>
                    <a:lnTo>
                      <a:pt x="277" y="366"/>
                    </a:lnTo>
                    <a:lnTo>
                      <a:pt x="286" y="365"/>
                    </a:lnTo>
                    <a:lnTo>
                      <a:pt x="291" y="365"/>
                    </a:lnTo>
                    <a:lnTo>
                      <a:pt x="291" y="365"/>
                    </a:lnTo>
                    <a:lnTo>
                      <a:pt x="296" y="365"/>
                    </a:lnTo>
                    <a:lnTo>
                      <a:pt x="296" y="365"/>
                    </a:lnTo>
                    <a:lnTo>
                      <a:pt x="303" y="370"/>
                    </a:lnTo>
                    <a:lnTo>
                      <a:pt x="303" y="370"/>
                    </a:lnTo>
                    <a:lnTo>
                      <a:pt x="309" y="373"/>
                    </a:lnTo>
                    <a:lnTo>
                      <a:pt x="316" y="375"/>
                    </a:lnTo>
                    <a:lnTo>
                      <a:pt x="316" y="375"/>
                    </a:lnTo>
                    <a:lnTo>
                      <a:pt x="330" y="376"/>
                    </a:lnTo>
                    <a:lnTo>
                      <a:pt x="330" y="376"/>
                    </a:lnTo>
                    <a:lnTo>
                      <a:pt x="333" y="378"/>
                    </a:lnTo>
                    <a:lnTo>
                      <a:pt x="335" y="378"/>
                    </a:lnTo>
                    <a:lnTo>
                      <a:pt x="335" y="378"/>
                    </a:lnTo>
                    <a:lnTo>
                      <a:pt x="335" y="378"/>
                    </a:lnTo>
                    <a:lnTo>
                      <a:pt x="335" y="378"/>
                    </a:lnTo>
                    <a:lnTo>
                      <a:pt x="335" y="378"/>
                    </a:lnTo>
                    <a:lnTo>
                      <a:pt x="335" y="378"/>
                    </a:lnTo>
                    <a:lnTo>
                      <a:pt x="336" y="376"/>
                    </a:lnTo>
                    <a:lnTo>
                      <a:pt x="335" y="378"/>
                    </a:lnTo>
                    <a:lnTo>
                      <a:pt x="335" y="378"/>
                    </a:lnTo>
                    <a:lnTo>
                      <a:pt x="336" y="376"/>
                    </a:lnTo>
                    <a:lnTo>
                      <a:pt x="335" y="378"/>
                    </a:lnTo>
                    <a:lnTo>
                      <a:pt x="335" y="376"/>
                    </a:lnTo>
                    <a:lnTo>
                      <a:pt x="335" y="376"/>
                    </a:lnTo>
                    <a:lnTo>
                      <a:pt x="335" y="378"/>
                    </a:lnTo>
                    <a:lnTo>
                      <a:pt x="335" y="376"/>
                    </a:lnTo>
                    <a:lnTo>
                      <a:pt x="335" y="376"/>
                    </a:lnTo>
                    <a:lnTo>
                      <a:pt x="335" y="376"/>
                    </a:lnTo>
                    <a:lnTo>
                      <a:pt x="335" y="376"/>
                    </a:lnTo>
                    <a:lnTo>
                      <a:pt x="335" y="376"/>
                    </a:lnTo>
                    <a:lnTo>
                      <a:pt x="335" y="376"/>
                    </a:lnTo>
                    <a:lnTo>
                      <a:pt x="335" y="376"/>
                    </a:lnTo>
                    <a:lnTo>
                      <a:pt x="335" y="376"/>
                    </a:lnTo>
                    <a:lnTo>
                      <a:pt x="335" y="376"/>
                    </a:lnTo>
                    <a:lnTo>
                      <a:pt x="335" y="376"/>
                    </a:lnTo>
                    <a:lnTo>
                      <a:pt x="335" y="376"/>
                    </a:lnTo>
                    <a:lnTo>
                      <a:pt x="335" y="376"/>
                    </a:lnTo>
                    <a:lnTo>
                      <a:pt x="335" y="376"/>
                    </a:lnTo>
                    <a:lnTo>
                      <a:pt x="333" y="378"/>
                    </a:lnTo>
                    <a:lnTo>
                      <a:pt x="333" y="378"/>
                    </a:lnTo>
                    <a:lnTo>
                      <a:pt x="332" y="381"/>
                    </a:lnTo>
                    <a:lnTo>
                      <a:pt x="332" y="381"/>
                    </a:lnTo>
                    <a:lnTo>
                      <a:pt x="333" y="385"/>
                    </a:lnTo>
                    <a:lnTo>
                      <a:pt x="333" y="385"/>
                    </a:lnTo>
                    <a:lnTo>
                      <a:pt x="335" y="386"/>
                    </a:lnTo>
                    <a:lnTo>
                      <a:pt x="336" y="388"/>
                    </a:lnTo>
                    <a:lnTo>
                      <a:pt x="336" y="388"/>
                    </a:lnTo>
                    <a:lnTo>
                      <a:pt x="339" y="388"/>
                    </a:lnTo>
                    <a:lnTo>
                      <a:pt x="339" y="388"/>
                    </a:lnTo>
                    <a:lnTo>
                      <a:pt x="339" y="388"/>
                    </a:lnTo>
                    <a:lnTo>
                      <a:pt x="341" y="389"/>
                    </a:lnTo>
                    <a:lnTo>
                      <a:pt x="341" y="389"/>
                    </a:lnTo>
                    <a:lnTo>
                      <a:pt x="342" y="395"/>
                    </a:lnTo>
                    <a:lnTo>
                      <a:pt x="345" y="399"/>
                    </a:lnTo>
                    <a:lnTo>
                      <a:pt x="345" y="399"/>
                    </a:lnTo>
                    <a:lnTo>
                      <a:pt x="346" y="404"/>
                    </a:lnTo>
                    <a:lnTo>
                      <a:pt x="346" y="404"/>
                    </a:lnTo>
                    <a:lnTo>
                      <a:pt x="348" y="405"/>
                    </a:lnTo>
                    <a:lnTo>
                      <a:pt x="348" y="405"/>
                    </a:lnTo>
                    <a:lnTo>
                      <a:pt x="349" y="411"/>
                    </a:lnTo>
                    <a:lnTo>
                      <a:pt x="349" y="411"/>
                    </a:lnTo>
                    <a:lnTo>
                      <a:pt x="351" y="415"/>
                    </a:lnTo>
                    <a:lnTo>
                      <a:pt x="352" y="418"/>
                    </a:lnTo>
                    <a:lnTo>
                      <a:pt x="352" y="418"/>
                    </a:lnTo>
                    <a:lnTo>
                      <a:pt x="357" y="421"/>
                    </a:lnTo>
                    <a:lnTo>
                      <a:pt x="357" y="421"/>
                    </a:lnTo>
                    <a:lnTo>
                      <a:pt x="359" y="423"/>
                    </a:lnTo>
                    <a:lnTo>
                      <a:pt x="359" y="423"/>
                    </a:lnTo>
                    <a:lnTo>
                      <a:pt x="362" y="423"/>
                    </a:lnTo>
                    <a:lnTo>
                      <a:pt x="362" y="423"/>
                    </a:lnTo>
                    <a:lnTo>
                      <a:pt x="365" y="421"/>
                    </a:lnTo>
                    <a:lnTo>
                      <a:pt x="365" y="421"/>
                    </a:lnTo>
                    <a:lnTo>
                      <a:pt x="367" y="420"/>
                    </a:lnTo>
                    <a:lnTo>
                      <a:pt x="367" y="418"/>
                    </a:lnTo>
                    <a:lnTo>
                      <a:pt x="367" y="418"/>
                    </a:lnTo>
                    <a:lnTo>
                      <a:pt x="365" y="415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5" y="414"/>
                    </a:lnTo>
                    <a:lnTo>
                      <a:pt x="367" y="412"/>
                    </a:lnTo>
                    <a:lnTo>
                      <a:pt x="367" y="412"/>
                    </a:lnTo>
                    <a:lnTo>
                      <a:pt x="370" y="408"/>
                    </a:lnTo>
                    <a:lnTo>
                      <a:pt x="370" y="408"/>
                    </a:lnTo>
                    <a:lnTo>
                      <a:pt x="374" y="401"/>
                    </a:lnTo>
                    <a:lnTo>
                      <a:pt x="374" y="401"/>
                    </a:lnTo>
                    <a:lnTo>
                      <a:pt x="375" y="398"/>
                    </a:lnTo>
                    <a:lnTo>
                      <a:pt x="375" y="398"/>
                    </a:lnTo>
                    <a:lnTo>
                      <a:pt x="377" y="398"/>
                    </a:lnTo>
                    <a:lnTo>
                      <a:pt x="377" y="398"/>
                    </a:lnTo>
                    <a:lnTo>
                      <a:pt x="381" y="397"/>
                    </a:lnTo>
                    <a:lnTo>
                      <a:pt x="386" y="395"/>
                    </a:lnTo>
                    <a:lnTo>
                      <a:pt x="386" y="395"/>
                    </a:lnTo>
                    <a:lnTo>
                      <a:pt x="387" y="392"/>
                    </a:lnTo>
                    <a:lnTo>
                      <a:pt x="387" y="389"/>
                    </a:lnTo>
                    <a:lnTo>
                      <a:pt x="387" y="389"/>
                    </a:lnTo>
                    <a:lnTo>
                      <a:pt x="387" y="389"/>
                    </a:lnTo>
                    <a:lnTo>
                      <a:pt x="390" y="386"/>
                    </a:lnTo>
                    <a:lnTo>
                      <a:pt x="390" y="386"/>
                    </a:lnTo>
                    <a:lnTo>
                      <a:pt x="391" y="385"/>
                    </a:lnTo>
                    <a:lnTo>
                      <a:pt x="393" y="385"/>
                    </a:lnTo>
                    <a:lnTo>
                      <a:pt x="391" y="383"/>
                    </a:lnTo>
                    <a:lnTo>
                      <a:pt x="391" y="385"/>
                    </a:lnTo>
                    <a:lnTo>
                      <a:pt x="393" y="385"/>
                    </a:lnTo>
                    <a:lnTo>
                      <a:pt x="391" y="383"/>
                    </a:lnTo>
                    <a:lnTo>
                      <a:pt x="391" y="385"/>
                    </a:lnTo>
                    <a:lnTo>
                      <a:pt x="391" y="383"/>
                    </a:lnTo>
                    <a:lnTo>
                      <a:pt x="391" y="385"/>
                    </a:lnTo>
                    <a:lnTo>
                      <a:pt x="391" y="385"/>
                    </a:lnTo>
                    <a:lnTo>
                      <a:pt x="391" y="385"/>
                    </a:lnTo>
                    <a:lnTo>
                      <a:pt x="391" y="383"/>
                    </a:lnTo>
                    <a:lnTo>
                      <a:pt x="391" y="385"/>
                    </a:lnTo>
                    <a:lnTo>
                      <a:pt x="391" y="383"/>
                    </a:lnTo>
                    <a:lnTo>
                      <a:pt x="390" y="383"/>
                    </a:lnTo>
                    <a:lnTo>
                      <a:pt x="390" y="383"/>
                    </a:lnTo>
                    <a:lnTo>
                      <a:pt x="391" y="385"/>
                    </a:lnTo>
                    <a:lnTo>
                      <a:pt x="391" y="383"/>
                    </a:lnTo>
                    <a:lnTo>
                      <a:pt x="390" y="383"/>
                    </a:lnTo>
                    <a:lnTo>
                      <a:pt x="390" y="383"/>
                    </a:lnTo>
                    <a:lnTo>
                      <a:pt x="390" y="383"/>
                    </a:lnTo>
                    <a:lnTo>
                      <a:pt x="390" y="383"/>
                    </a:lnTo>
                    <a:lnTo>
                      <a:pt x="390" y="385"/>
                    </a:lnTo>
                    <a:lnTo>
                      <a:pt x="390" y="385"/>
                    </a:lnTo>
                    <a:lnTo>
                      <a:pt x="390" y="388"/>
                    </a:lnTo>
                    <a:lnTo>
                      <a:pt x="390" y="388"/>
                    </a:lnTo>
                    <a:lnTo>
                      <a:pt x="390" y="391"/>
                    </a:lnTo>
                    <a:lnTo>
                      <a:pt x="388" y="394"/>
                    </a:lnTo>
                    <a:lnTo>
                      <a:pt x="388" y="394"/>
                    </a:lnTo>
                    <a:lnTo>
                      <a:pt x="387" y="399"/>
                    </a:lnTo>
                    <a:lnTo>
                      <a:pt x="387" y="399"/>
                    </a:lnTo>
                    <a:lnTo>
                      <a:pt x="384" y="410"/>
                    </a:lnTo>
                    <a:lnTo>
                      <a:pt x="384" y="410"/>
                    </a:lnTo>
                    <a:lnTo>
                      <a:pt x="384" y="414"/>
                    </a:lnTo>
                    <a:lnTo>
                      <a:pt x="384" y="414"/>
                    </a:lnTo>
                    <a:lnTo>
                      <a:pt x="383" y="415"/>
                    </a:lnTo>
                    <a:lnTo>
                      <a:pt x="383" y="415"/>
                    </a:lnTo>
                    <a:lnTo>
                      <a:pt x="383" y="415"/>
                    </a:lnTo>
                    <a:lnTo>
                      <a:pt x="384" y="415"/>
                    </a:lnTo>
                    <a:lnTo>
                      <a:pt x="384" y="414"/>
                    </a:lnTo>
                    <a:lnTo>
                      <a:pt x="383" y="415"/>
                    </a:lnTo>
                    <a:lnTo>
                      <a:pt x="384" y="415"/>
                    </a:lnTo>
                    <a:lnTo>
                      <a:pt x="384" y="414"/>
                    </a:lnTo>
                    <a:lnTo>
                      <a:pt x="384" y="414"/>
                    </a:lnTo>
                    <a:lnTo>
                      <a:pt x="380" y="417"/>
                    </a:lnTo>
                    <a:lnTo>
                      <a:pt x="380" y="417"/>
                    </a:lnTo>
                    <a:lnTo>
                      <a:pt x="378" y="418"/>
                    </a:lnTo>
                    <a:lnTo>
                      <a:pt x="377" y="421"/>
                    </a:lnTo>
                    <a:lnTo>
                      <a:pt x="377" y="421"/>
                    </a:lnTo>
                    <a:lnTo>
                      <a:pt x="375" y="424"/>
                    </a:lnTo>
                    <a:lnTo>
                      <a:pt x="375" y="424"/>
                    </a:lnTo>
                    <a:lnTo>
                      <a:pt x="377" y="427"/>
                    </a:lnTo>
                    <a:lnTo>
                      <a:pt x="377" y="427"/>
                    </a:lnTo>
                    <a:lnTo>
                      <a:pt x="380" y="428"/>
                    </a:lnTo>
                    <a:lnTo>
                      <a:pt x="380" y="428"/>
                    </a:lnTo>
                    <a:lnTo>
                      <a:pt x="386" y="427"/>
                    </a:lnTo>
                    <a:lnTo>
                      <a:pt x="386" y="427"/>
                    </a:lnTo>
                    <a:lnTo>
                      <a:pt x="386" y="427"/>
                    </a:lnTo>
                    <a:lnTo>
                      <a:pt x="390" y="423"/>
                    </a:lnTo>
                    <a:lnTo>
                      <a:pt x="390" y="423"/>
                    </a:lnTo>
                    <a:lnTo>
                      <a:pt x="393" y="421"/>
                    </a:lnTo>
                    <a:lnTo>
                      <a:pt x="394" y="417"/>
                    </a:lnTo>
                    <a:lnTo>
                      <a:pt x="394" y="417"/>
                    </a:lnTo>
                    <a:lnTo>
                      <a:pt x="397" y="412"/>
                    </a:lnTo>
                    <a:lnTo>
                      <a:pt x="397" y="412"/>
                    </a:lnTo>
                    <a:lnTo>
                      <a:pt x="399" y="411"/>
                    </a:lnTo>
                    <a:lnTo>
                      <a:pt x="399" y="411"/>
                    </a:lnTo>
                    <a:lnTo>
                      <a:pt x="399" y="410"/>
                    </a:lnTo>
                    <a:lnTo>
                      <a:pt x="399" y="411"/>
                    </a:lnTo>
                    <a:lnTo>
                      <a:pt x="399" y="411"/>
                    </a:lnTo>
                    <a:lnTo>
                      <a:pt x="399" y="411"/>
                    </a:lnTo>
                    <a:lnTo>
                      <a:pt x="399" y="410"/>
                    </a:lnTo>
                    <a:lnTo>
                      <a:pt x="399" y="411"/>
                    </a:lnTo>
                    <a:lnTo>
                      <a:pt x="399" y="410"/>
                    </a:lnTo>
                    <a:lnTo>
                      <a:pt x="397" y="411"/>
                    </a:lnTo>
                    <a:lnTo>
                      <a:pt x="399" y="411"/>
                    </a:lnTo>
                    <a:lnTo>
                      <a:pt x="399" y="410"/>
                    </a:lnTo>
                    <a:lnTo>
                      <a:pt x="397" y="411"/>
                    </a:lnTo>
                    <a:lnTo>
                      <a:pt x="397" y="410"/>
                    </a:lnTo>
                    <a:lnTo>
                      <a:pt x="396" y="410"/>
                    </a:lnTo>
                    <a:lnTo>
                      <a:pt x="397" y="411"/>
                    </a:lnTo>
                    <a:lnTo>
                      <a:pt x="397" y="410"/>
                    </a:lnTo>
                    <a:lnTo>
                      <a:pt x="396" y="410"/>
                    </a:lnTo>
                    <a:lnTo>
                      <a:pt x="396" y="410"/>
                    </a:lnTo>
                    <a:lnTo>
                      <a:pt x="399" y="417"/>
                    </a:lnTo>
                    <a:lnTo>
                      <a:pt x="399" y="417"/>
                    </a:lnTo>
                    <a:lnTo>
                      <a:pt x="401" y="425"/>
                    </a:lnTo>
                    <a:lnTo>
                      <a:pt x="401" y="425"/>
                    </a:lnTo>
                    <a:lnTo>
                      <a:pt x="401" y="425"/>
                    </a:lnTo>
                    <a:lnTo>
                      <a:pt x="401" y="425"/>
                    </a:lnTo>
                    <a:lnTo>
                      <a:pt x="401" y="425"/>
                    </a:lnTo>
                    <a:lnTo>
                      <a:pt x="401" y="425"/>
                    </a:lnTo>
                    <a:lnTo>
                      <a:pt x="401" y="425"/>
                    </a:lnTo>
                    <a:lnTo>
                      <a:pt x="400" y="427"/>
                    </a:lnTo>
                    <a:lnTo>
                      <a:pt x="400" y="427"/>
                    </a:lnTo>
                    <a:lnTo>
                      <a:pt x="397" y="430"/>
                    </a:lnTo>
                    <a:lnTo>
                      <a:pt x="397" y="430"/>
                    </a:lnTo>
                    <a:lnTo>
                      <a:pt x="396" y="430"/>
                    </a:lnTo>
                    <a:lnTo>
                      <a:pt x="394" y="431"/>
                    </a:lnTo>
                    <a:lnTo>
                      <a:pt x="394" y="431"/>
                    </a:lnTo>
                    <a:lnTo>
                      <a:pt x="394" y="433"/>
                    </a:lnTo>
                    <a:lnTo>
                      <a:pt x="394" y="433"/>
                    </a:lnTo>
                    <a:lnTo>
                      <a:pt x="396" y="436"/>
                    </a:lnTo>
                    <a:lnTo>
                      <a:pt x="396" y="436"/>
                    </a:lnTo>
                    <a:lnTo>
                      <a:pt x="396" y="436"/>
                    </a:lnTo>
                    <a:lnTo>
                      <a:pt x="396" y="436"/>
                    </a:lnTo>
                    <a:lnTo>
                      <a:pt x="399" y="436"/>
                    </a:lnTo>
                    <a:lnTo>
                      <a:pt x="399" y="436"/>
                    </a:lnTo>
                    <a:lnTo>
                      <a:pt x="403" y="437"/>
                    </a:lnTo>
                    <a:lnTo>
                      <a:pt x="403" y="437"/>
                    </a:lnTo>
                    <a:lnTo>
                      <a:pt x="407" y="436"/>
                    </a:lnTo>
                    <a:lnTo>
                      <a:pt x="407" y="436"/>
                    </a:lnTo>
                    <a:lnTo>
                      <a:pt x="409" y="434"/>
                    </a:lnTo>
                    <a:lnTo>
                      <a:pt x="410" y="433"/>
                    </a:lnTo>
                    <a:lnTo>
                      <a:pt x="410" y="433"/>
                    </a:lnTo>
                    <a:lnTo>
                      <a:pt x="410" y="433"/>
                    </a:lnTo>
                    <a:lnTo>
                      <a:pt x="409" y="431"/>
                    </a:lnTo>
                    <a:lnTo>
                      <a:pt x="410" y="433"/>
                    </a:lnTo>
                    <a:lnTo>
                      <a:pt x="410" y="433"/>
                    </a:lnTo>
                    <a:lnTo>
                      <a:pt x="409" y="431"/>
                    </a:lnTo>
                    <a:lnTo>
                      <a:pt x="410" y="433"/>
                    </a:lnTo>
                    <a:lnTo>
                      <a:pt x="409" y="431"/>
                    </a:lnTo>
                    <a:lnTo>
                      <a:pt x="409" y="433"/>
                    </a:lnTo>
                    <a:lnTo>
                      <a:pt x="409" y="433"/>
                    </a:lnTo>
                    <a:lnTo>
                      <a:pt x="410" y="433"/>
                    </a:lnTo>
                    <a:lnTo>
                      <a:pt x="409" y="431"/>
                    </a:lnTo>
                    <a:lnTo>
                      <a:pt x="409" y="433"/>
                    </a:lnTo>
                    <a:lnTo>
                      <a:pt x="409" y="431"/>
                    </a:lnTo>
                    <a:lnTo>
                      <a:pt x="407" y="433"/>
                    </a:lnTo>
                    <a:lnTo>
                      <a:pt x="407" y="433"/>
                    </a:lnTo>
                    <a:lnTo>
                      <a:pt x="409" y="433"/>
                    </a:lnTo>
                    <a:lnTo>
                      <a:pt x="409" y="431"/>
                    </a:lnTo>
                    <a:lnTo>
                      <a:pt x="407" y="433"/>
                    </a:lnTo>
                    <a:lnTo>
                      <a:pt x="407" y="433"/>
                    </a:lnTo>
                    <a:lnTo>
                      <a:pt x="407" y="433"/>
                    </a:lnTo>
                    <a:lnTo>
                      <a:pt x="407" y="433"/>
                    </a:lnTo>
                    <a:lnTo>
                      <a:pt x="407" y="433"/>
                    </a:lnTo>
                    <a:lnTo>
                      <a:pt x="407" y="433"/>
                    </a:lnTo>
                    <a:lnTo>
                      <a:pt x="407" y="433"/>
                    </a:lnTo>
                    <a:lnTo>
                      <a:pt x="410" y="436"/>
                    </a:lnTo>
                    <a:lnTo>
                      <a:pt x="410" y="436"/>
                    </a:lnTo>
                    <a:lnTo>
                      <a:pt x="417" y="446"/>
                    </a:lnTo>
                    <a:lnTo>
                      <a:pt x="417" y="446"/>
                    </a:lnTo>
                    <a:lnTo>
                      <a:pt x="420" y="450"/>
                    </a:lnTo>
                    <a:lnTo>
                      <a:pt x="422" y="454"/>
                    </a:lnTo>
                    <a:lnTo>
                      <a:pt x="422" y="454"/>
                    </a:lnTo>
                    <a:lnTo>
                      <a:pt x="422" y="454"/>
                    </a:lnTo>
                    <a:lnTo>
                      <a:pt x="422" y="454"/>
                    </a:lnTo>
                    <a:lnTo>
                      <a:pt x="422" y="457"/>
                    </a:lnTo>
                    <a:lnTo>
                      <a:pt x="422" y="457"/>
                    </a:lnTo>
                    <a:lnTo>
                      <a:pt x="422" y="462"/>
                    </a:lnTo>
                    <a:lnTo>
                      <a:pt x="423" y="466"/>
                    </a:lnTo>
                    <a:lnTo>
                      <a:pt x="429" y="473"/>
                    </a:lnTo>
                    <a:lnTo>
                      <a:pt x="429" y="473"/>
                    </a:lnTo>
                    <a:lnTo>
                      <a:pt x="432" y="479"/>
                    </a:lnTo>
                    <a:lnTo>
                      <a:pt x="432" y="479"/>
                    </a:lnTo>
                    <a:lnTo>
                      <a:pt x="436" y="482"/>
                    </a:lnTo>
                    <a:lnTo>
                      <a:pt x="436" y="482"/>
                    </a:lnTo>
                    <a:lnTo>
                      <a:pt x="442" y="485"/>
                    </a:lnTo>
                    <a:lnTo>
                      <a:pt x="442" y="485"/>
                    </a:lnTo>
                    <a:lnTo>
                      <a:pt x="445" y="486"/>
                    </a:lnTo>
                    <a:lnTo>
                      <a:pt x="445" y="486"/>
                    </a:lnTo>
                    <a:lnTo>
                      <a:pt x="448" y="489"/>
                    </a:lnTo>
                    <a:lnTo>
                      <a:pt x="448" y="489"/>
                    </a:lnTo>
                    <a:lnTo>
                      <a:pt x="448" y="491"/>
                    </a:lnTo>
                    <a:lnTo>
                      <a:pt x="448" y="491"/>
                    </a:lnTo>
                    <a:lnTo>
                      <a:pt x="449" y="492"/>
                    </a:lnTo>
                    <a:lnTo>
                      <a:pt x="449" y="492"/>
                    </a:lnTo>
                    <a:lnTo>
                      <a:pt x="452" y="494"/>
                    </a:lnTo>
                    <a:lnTo>
                      <a:pt x="452" y="494"/>
                    </a:lnTo>
                    <a:lnTo>
                      <a:pt x="455" y="492"/>
                    </a:lnTo>
                    <a:lnTo>
                      <a:pt x="455" y="492"/>
                    </a:lnTo>
                    <a:lnTo>
                      <a:pt x="458" y="489"/>
                    </a:lnTo>
                    <a:lnTo>
                      <a:pt x="459" y="488"/>
                    </a:lnTo>
                    <a:lnTo>
                      <a:pt x="459" y="486"/>
                    </a:lnTo>
                    <a:lnTo>
                      <a:pt x="459" y="486"/>
                    </a:lnTo>
                    <a:lnTo>
                      <a:pt x="459" y="485"/>
                    </a:lnTo>
                    <a:lnTo>
                      <a:pt x="459" y="486"/>
                    </a:lnTo>
                    <a:lnTo>
                      <a:pt x="459" y="486"/>
                    </a:lnTo>
                    <a:lnTo>
                      <a:pt x="459" y="485"/>
                    </a:lnTo>
                    <a:lnTo>
                      <a:pt x="459" y="486"/>
                    </a:lnTo>
                    <a:lnTo>
                      <a:pt x="458" y="485"/>
                    </a:lnTo>
                    <a:lnTo>
                      <a:pt x="458" y="486"/>
                    </a:lnTo>
                    <a:lnTo>
                      <a:pt x="459" y="486"/>
                    </a:lnTo>
                    <a:lnTo>
                      <a:pt x="458" y="485"/>
                    </a:lnTo>
                    <a:lnTo>
                      <a:pt x="458" y="486"/>
                    </a:lnTo>
                    <a:lnTo>
                      <a:pt x="458" y="486"/>
                    </a:lnTo>
                    <a:lnTo>
                      <a:pt x="458" y="486"/>
                    </a:lnTo>
                    <a:lnTo>
                      <a:pt x="458" y="486"/>
                    </a:lnTo>
                    <a:lnTo>
                      <a:pt x="458" y="486"/>
                    </a:lnTo>
                    <a:lnTo>
                      <a:pt x="458" y="486"/>
                    </a:lnTo>
                    <a:lnTo>
                      <a:pt x="458" y="486"/>
                    </a:lnTo>
                    <a:lnTo>
                      <a:pt x="459" y="488"/>
                    </a:lnTo>
                    <a:lnTo>
                      <a:pt x="459" y="488"/>
                    </a:lnTo>
                    <a:lnTo>
                      <a:pt x="470" y="494"/>
                    </a:lnTo>
                    <a:lnTo>
                      <a:pt x="470" y="494"/>
                    </a:lnTo>
                    <a:lnTo>
                      <a:pt x="475" y="496"/>
                    </a:lnTo>
                    <a:lnTo>
                      <a:pt x="475" y="496"/>
                    </a:lnTo>
                    <a:lnTo>
                      <a:pt x="480" y="496"/>
                    </a:lnTo>
                    <a:lnTo>
                      <a:pt x="481" y="496"/>
                    </a:lnTo>
                    <a:lnTo>
                      <a:pt x="481" y="496"/>
                    </a:lnTo>
                    <a:lnTo>
                      <a:pt x="491" y="494"/>
                    </a:lnTo>
                    <a:lnTo>
                      <a:pt x="491" y="494"/>
                    </a:lnTo>
                    <a:lnTo>
                      <a:pt x="496" y="492"/>
                    </a:lnTo>
                    <a:lnTo>
                      <a:pt x="496" y="492"/>
                    </a:lnTo>
                    <a:lnTo>
                      <a:pt x="498" y="491"/>
                    </a:lnTo>
                    <a:lnTo>
                      <a:pt x="498" y="491"/>
                    </a:lnTo>
                    <a:lnTo>
                      <a:pt x="501" y="489"/>
                    </a:lnTo>
                    <a:lnTo>
                      <a:pt x="503" y="488"/>
                    </a:lnTo>
                    <a:lnTo>
                      <a:pt x="503" y="488"/>
                    </a:lnTo>
                    <a:lnTo>
                      <a:pt x="506" y="482"/>
                    </a:lnTo>
                    <a:lnTo>
                      <a:pt x="506" y="482"/>
                    </a:lnTo>
                    <a:lnTo>
                      <a:pt x="507" y="481"/>
                    </a:lnTo>
                    <a:lnTo>
                      <a:pt x="507" y="481"/>
                    </a:lnTo>
                    <a:lnTo>
                      <a:pt x="507" y="481"/>
                    </a:lnTo>
                    <a:lnTo>
                      <a:pt x="506" y="479"/>
                    </a:lnTo>
                    <a:lnTo>
                      <a:pt x="507" y="481"/>
                    </a:lnTo>
                    <a:lnTo>
                      <a:pt x="507" y="481"/>
                    </a:lnTo>
                    <a:lnTo>
                      <a:pt x="506" y="479"/>
                    </a:lnTo>
                    <a:lnTo>
                      <a:pt x="507" y="481"/>
                    </a:lnTo>
                    <a:lnTo>
                      <a:pt x="506" y="478"/>
                    </a:lnTo>
                    <a:lnTo>
                      <a:pt x="506" y="481"/>
                    </a:lnTo>
                    <a:lnTo>
                      <a:pt x="506" y="481"/>
                    </a:lnTo>
                    <a:lnTo>
                      <a:pt x="507" y="481"/>
                    </a:lnTo>
                    <a:lnTo>
                      <a:pt x="506" y="478"/>
                    </a:lnTo>
                    <a:lnTo>
                      <a:pt x="506" y="481"/>
                    </a:lnTo>
                    <a:lnTo>
                      <a:pt x="506" y="479"/>
                    </a:lnTo>
                    <a:lnTo>
                      <a:pt x="506" y="481"/>
                    </a:lnTo>
                    <a:lnTo>
                      <a:pt x="506" y="481"/>
                    </a:lnTo>
                    <a:lnTo>
                      <a:pt x="506" y="479"/>
                    </a:lnTo>
                    <a:lnTo>
                      <a:pt x="506" y="481"/>
                    </a:lnTo>
                    <a:lnTo>
                      <a:pt x="506" y="481"/>
                    </a:lnTo>
                    <a:lnTo>
                      <a:pt x="506" y="481"/>
                    </a:lnTo>
                    <a:lnTo>
                      <a:pt x="506" y="481"/>
                    </a:lnTo>
                    <a:lnTo>
                      <a:pt x="506" y="481"/>
                    </a:lnTo>
                    <a:lnTo>
                      <a:pt x="506" y="481"/>
                    </a:lnTo>
                    <a:lnTo>
                      <a:pt x="506" y="481"/>
                    </a:lnTo>
                    <a:lnTo>
                      <a:pt x="507" y="482"/>
                    </a:lnTo>
                    <a:lnTo>
                      <a:pt x="507" y="482"/>
                    </a:lnTo>
                    <a:lnTo>
                      <a:pt x="513" y="488"/>
                    </a:lnTo>
                    <a:lnTo>
                      <a:pt x="513" y="488"/>
                    </a:lnTo>
                    <a:lnTo>
                      <a:pt x="517" y="495"/>
                    </a:lnTo>
                    <a:lnTo>
                      <a:pt x="517" y="495"/>
                    </a:lnTo>
                    <a:lnTo>
                      <a:pt x="519" y="496"/>
                    </a:lnTo>
                    <a:lnTo>
                      <a:pt x="519" y="496"/>
                    </a:lnTo>
                    <a:lnTo>
                      <a:pt x="523" y="498"/>
                    </a:lnTo>
                    <a:lnTo>
                      <a:pt x="523" y="498"/>
                    </a:lnTo>
                    <a:lnTo>
                      <a:pt x="527" y="498"/>
                    </a:lnTo>
                    <a:lnTo>
                      <a:pt x="527" y="498"/>
                    </a:lnTo>
                    <a:lnTo>
                      <a:pt x="532" y="496"/>
                    </a:lnTo>
                    <a:lnTo>
                      <a:pt x="532" y="496"/>
                    </a:lnTo>
                    <a:lnTo>
                      <a:pt x="538" y="496"/>
                    </a:lnTo>
                    <a:lnTo>
                      <a:pt x="538" y="496"/>
                    </a:lnTo>
                    <a:lnTo>
                      <a:pt x="542" y="496"/>
                    </a:lnTo>
                    <a:lnTo>
                      <a:pt x="542" y="496"/>
                    </a:lnTo>
                    <a:lnTo>
                      <a:pt x="546" y="494"/>
                    </a:lnTo>
                    <a:lnTo>
                      <a:pt x="546" y="494"/>
                    </a:lnTo>
                    <a:lnTo>
                      <a:pt x="549" y="491"/>
                    </a:lnTo>
                    <a:lnTo>
                      <a:pt x="551" y="486"/>
                    </a:lnTo>
                    <a:lnTo>
                      <a:pt x="551" y="486"/>
                    </a:lnTo>
                    <a:lnTo>
                      <a:pt x="552" y="485"/>
                    </a:lnTo>
                    <a:lnTo>
                      <a:pt x="552" y="485"/>
                    </a:lnTo>
                    <a:lnTo>
                      <a:pt x="555" y="483"/>
                    </a:lnTo>
                    <a:lnTo>
                      <a:pt x="555" y="483"/>
                    </a:lnTo>
                    <a:lnTo>
                      <a:pt x="565" y="481"/>
                    </a:lnTo>
                    <a:lnTo>
                      <a:pt x="575" y="478"/>
                    </a:lnTo>
                    <a:lnTo>
                      <a:pt x="575" y="478"/>
                    </a:lnTo>
                    <a:lnTo>
                      <a:pt x="580" y="476"/>
                    </a:lnTo>
                    <a:lnTo>
                      <a:pt x="584" y="476"/>
                    </a:lnTo>
                    <a:lnTo>
                      <a:pt x="584" y="476"/>
                    </a:lnTo>
                    <a:lnTo>
                      <a:pt x="588" y="475"/>
                    </a:lnTo>
                    <a:lnTo>
                      <a:pt x="588" y="475"/>
                    </a:lnTo>
                    <a:lnTo>
                      <a:pt x="591" y="473"/>
                    </a:lnTo>
                    <a:lnTo>
                      <a:pt x="591" y="473"/>
                    </a:lnTo>
                    <a:lnTo>
                      <a:pt x="591" y="470"/>
                    </a:lnTo>
                    <a:lnTo>
                      <a:pt x="591" y="470"/>
                    </a:lnTo>
                    <a:lnTo>
                      <a:pt x="593" y="456"/>
                    </a:lnTo>
                    <a:lnTo>
                      <a:pt x="593" y="456"/>
                    </a:lnTo>
                    <a:lnTo>
                      <a:pt x="594" y="449"/>
                    </a:lnTo>
                    <a:lnTo>
                      <a:pt x="594" y="449"/>
                    </a:lnTo>
                    <a:lnTo>
                      <a:pt x="594" y="447"/>
                    </a:lnTo>
                    <a:lnTo>
                      <a:pt x="594" y="447"/>
                    </a:lnTo>
                    <a:lnTo>
                      <a:pt x="594" y="447"/>
                    </a:lnTo>
                    <a:lnTo>
                      <a:pt x="594" y="447"/>
                    </a:lnTo>
                    <a:lnTo>
                      <a:pt x="594" y="447"/>
                    </a:lnTo>
                    <a:lnTo>
                      <a:pt x="594" y="447"/>
                    </a:lnTo>
                    <a:lnTo>
                      <a:pt x="594" y="447"/>
                    </a:lnTo>
                    <a:lnTo>
                      <a:pt x="593" y="446"/>
                    </a:lnTo>
                    <a:lnTo>
                      <a:pt x="594" y="447"/>
                    </a:lnTo>
                    <a:lnTo>
                      <a:pt x="594" y="447"/>
                    </a:lnTo>
                    <a:lnTo>
                      <a:pt x="593" y="446"/>
                    </a:lnTo>
                    <a:lnTo>
                      <a:pt x="594" y="447"/>
                    </a:lnTo>
                    <a:lnTo>
                      <a:pt x="594" y="447"/>
                    </a:lnTo>
                    <a:lnTo>
                      <a:pt x="596" y="444"/>
                    </a:lnTo>
                    <a:lnTo>
                      <a:pt x="596" y="444"/>
                    </a:lnTo>
                    <a:lnTo>
                      <a:pt x="597" y="440"/>
                    </a:lnTo>
                    <a:lnTo>
                      <a:pt x="597" y="440"/>
                    </a:lnTo>
                    <a:lnTo>
                      <a:pt x="598" y="433"/>
                    </a:lnTo>
                    <a:lnTo>
                      <a:pt x="598" y="433"/>
                    </a:lnTo>
                    <a:lnTo>
                      <a:pt x="601" y="425"/>
                    </a:lnTo>
                    <a:lnTo>
                      <a:pt x="601" y="425"/>
                    </a:lnTo>
                    <a:lnTo>
                      <a:pt x="603" y="421"/>
                    </a:lnTo>
                    <a:lnTo>
                      <a:pt x="603" y="415"/>
                    </a:lnTo>
                    <a:lnTo>
                      <a:pt x="603" y="415"/>
                    </a:lnTo>
                    <a:lnTo>
                      <a:pt x="604" y="412"/>
                    </a:lnTo>
                    <a:lnTo>
                      <a:pt x="604" y="412"/>
                    </a:lnTo>
                    <a:lnTo>
                      <a:pt x="606" y="410"/>
                    </a:lnTo>
                    <a:lnTo>
                      <a:pt x="606" y="410"/>
                    </a:lnTo>
                    <a:lnTo>
                      <a:pt x="610" y="405"/>
                    </a:lnTo>
                    <a:lnTo>
                      <a:pt x="610" y="405"/>
                    </a:lnTo>
                    <a:lnTo>
                      <a:pt x="616" y="397"/>
                    </a:lnTo>
                    <a:lnTo>
                      <a:pt x="616" y="397"/>
                    </a:lnTo>
                    <a:lnTo>
                      <a:pt x="622" y="391"/>
                    </a:lnTo>
                    <a:lnTo>
                      <a:pt x="622" y="391"/>
                    </a:lnTo>
                    <a:lnTo>
                      <a:pt x="629" y="386"/>
                    </a:lnTo>
                    <a:lnTo>
                      <a:pt x="629" y="386"/>
                    </a:lnTo>
                    <a:lnTo>
                      <a:pt x="636" y="381"/>
                    </a:lnTo>
                    <a:lnTo>
                      <a:pt x="636" y="381"/>
                    </a:lnTo>
                    <a:lnTo>
                      <a:pt x="639" y="378"/>
                    </a:lnTo>
                    <a:lnTo>
                      <a:pt x="639" y="378"/>
                    </a:lnTo>
                    <a:lnTo>
                      <a:pt x="645" y="366"/>
                    </a:lnTo>
                    <a:lnTo>
                      <a:pt x="649" y="352"/>
                    </a:lnTo>
                    <a:lnTo>
                      <a:pt x="649" y="352"/>
                    </a:lnTo>
                    <a:lnTo>
                      <a:pt x="655" y="328"/>
                    </a:lnTo>
                    <a:lnTo>
                      <a:pt x="655" y="328"/>
                    </a:lnTo>
                    <a:lnTo>
                      <a:pt x="658" y="315"/>
                    </a:lnTo>
                    <a:lnTo>
                      <a:pt x="658" y="315"/>
                    </a:lnTo>
                    <a:lnTo>
                      <a:pt x="659" y="308"/>
                    </a:lnTo>
                    <a:lnTo>
                      <a:pt x="659" y="302"/>
                    </a:lnTo>
                    <a:lnTo>
                      <a:pt x="659" y="302"/>
                    </a:lnTo>
                    <a:lnTo>
                      <a:pt x="659" y="298"/>
                    </a:lnTo>
                    <a:lnTo>
                      <a:pt x="658" y="295"/>
                    </a:lnTo>
                    <a:lnTo>
                      <a:pt x="658" y="295"/>
                    </a:lnTo>
                    <a:lnTo>
                      <a:pt x="655" y="288"/>
                    </a:lnTo>
                    <a:lnTo>
                      <a:pt x="655" y="288"/>
                    </a:lnTo>
                    <a:lnTo>
                      <a:pt x="655" y="282"/>
                    </a:lnTo>
                    <a:lnTo>
                      <a:pt x="655" y="282"/>
                    </a:lnTo>
                    <a:lnTo>
                      <a:pt x="655" y="279"/>
                    </a:lnTo>
                    <a:lnTo>
                      <a:pt x="655" y="279"/>
                    </a:lnTo>
                    <a:lnTo>
                      <a:pt x="655" y="279"/>
                    </a:lnTo>
                    <a:lnTo>
                      <a:pt x="653" y="272"/>
                    </a:lnTo>
                    <a:lnTo>
                      <a:pt x="652" y="265"/>
                    </a:lnTo>
                    <a:lnTo>
                      <a:pt x="652" y="265"/>
                    </a:lnTo>
                    <a:lnTo>
                      <a:pt x="649" y="255"/>
                    </a:lnTo>
                    <a:lnTo>
                      <a:pt x="649" y="255"/>
                    </a:lnTo>
                    <a:lnTo>
                      <a:pt x="643" y="242"/>
                    </a:lnTo>
                    <a:lnTo>
                      <a:pt x="643" y="242"/>
                    </a:lnTo>
                    <a:lnTo>
                      <a:pt x="640" y="234"/>
                    </a:lnTo>
                    <a:lnTo>
                      <a:pt x="640" y="234"/>
                    </a:lnTo>
                    <a:lnTo>
                      <a:pt x="636" y="229"/>
                    </a:lnTo>
                    <a:lnTo>
                      <a:pt x="636" y="229"/>
                    </a:lnTo>
                    <a:lnTo>
                      <a:pt x="630" y="221"/>
                    </a:lnTo>
                    <a:lnTo>
                      <a:pt x="630" y="221"/>
                    </a:lnTo>
                    <a:lnTo>
                      <a:pt x="622" y="214"/>
                    </a:lnTo>
                    <a:lnTo>
                      <a:pt x="622" y="214"/>
                    </a:lnTo>
                    <a:lnTo>
                      <a:pt x="616" y="211"/>
                    </a:lnTo>
                    <a:lnTo>
                      <a:pt x="616" y="211"/>
                    </a:lnTo>
                    <a:lnTo>
                      <a:pt x="614" y="208"/>
                    </a:lnTo>
                    <a:lnTo>
                      <a:pt x="614" y="204"/>
                    </a:lnTo>
                    <a:lnTo>
                      <a:pt x="614" y="204"/>
                    </a:lnTo>
                    <a:lnTo>
                      <a:pt x="611" y="198"/>
                    </a:lnTo>
                    <a:lnTo>
                      <a:pt x="610" y="194"/>
                    </a:lnTo>
                    <a:lnTo>
                      <a:pt x="610" y="194"/>
                    </a:lnTo>
                    <a:lnTo>
                      <a:pt x="607" y="192"/>
                    </a:lnTo>
                    <a:lnTo>
                      <a:pt x="606" y="192"/>
                    </a:lnTo>
                    <a:lnTo>
                      <a:pt x="606" y="192"/>
                    </a:lnTo>
                    <a:lnTo>
                      <a:pt x="606" y="192"/>
                    </a:lnTo>
                    <a:lnTo>
                      <a:pt x="606" y="192"/>
                    </a:lnTo>
                    <a:lnTo>
                      <a:pt x="604" y="194"/>
                    </a:lnTo>
                    <a:lnTo>
                      <a:pt x="606" y="192"/>
                    </a:lnTo>
                    <a:lnTo>
                      <a:pt x="606" y="192"/>
                    </a:lnTo>
                    <a:lnTo>
                      <a:pt x="604" y="194"/>
                    </a:lnTo>
                    <a:lnTo>
                      <a:pt x="606" y="192"/>
                    </a:lnTo>
                    <a:lnTo>
                      <a:pt x="606" y="192"/>
                    </a:lnTo>
                    <a:lnTo>
                      <a:pt x="606" y="192"/>
                    </a:lnTo>
                    <a:lnTo>
                      <a:pt x="604" y="191"/>
                    </a:lnTo>
                    <a:lnTo>
                      <a:pt x="604" y="191"/>
                    </a:lnTo>
                    <a:lnTo>
                      <a:pt x="603" y="189"/>
                    </a:lnTo>
                    <a:lnTo>
                      <a:pt x="603" y="189"/>
                    </a:lnTo>
                    <a:lnTo>
                      <a:pt x="601" y="188"/>
                    </a:lnTo>
                    <a:lnTo>
                      <a:pt x="601" y="188"/>
                    </a:lnTo>
                    <a:lnTo>
                      <a:pt x="598" y="189"/>
                    </a:lnTo>
                    <a:lnTo>
                      <a:pt x="598" y="189"/>
                    </a:lnTo>
                    <a:lnTo>
                      <a:pt x="597" y="191"/>
                    </a:lnTo>
                    <a:lnTo>
                      <a:pt x="597" y="191"/>
                    </a:lnTo>
                    <a:lnTo>
                      <a:pt x="597" y="191"/>
                    </a:lnTo>
                    <a:lnTo>
                      <a:pt x="597" y="191"/>
                    </a:lnTo>
                    <a:lnTo>
                      <a:pt x="597" y="191"/>
                    </a:lnTo>
                    <a:lnTo>
                      <a:pt x="597" y="191"/>
                    </a:lnTo>
                    <a:lnTo>
                      <a:pt x="597" y="191"/>
                    </a:lnTo>
                    <a:lnTo>
                      <a:pt x="597" y="191"/>
                    </a:lnTo>
                    <a:lnTo>
                      <a:pt x="597" y="191"/>
                    </a:lnTo>
                    <a:lnTo>
                      <a:pt x="597" y="191"/>
                    </a:lnTo>
                    <a:lnTo>
                      <a:pt x="597" y="191"/>
                    </a:lnTo>
                    <a:lnTo>
                      <a:pt x="597" y="191"/>
                    </a:lnTo>
                    <a:lnTo>
                      <a:pt x="597" y="191"/>
                    </a:lnTo>
                    <a:lnTo>
                      <a:pt x="597" y="191"/>
                    </a:lnTo>
                    <a:lnTo>
                      <a:pt x="597" y="191"/>
                    </a:lnTo>
                    <a:lnTo>
                      <a:pt x="597" y="189"/>
                    </a:lnTo>
                    <a:lnTo>
                      <a:pt x="597" y="189"/>
                    </a:lnTo>
                    <a:lnTo>
                      <a:pt x="594" y="186"/>
                    </a:lnTo>
                    <a:lnTo>
                      <a:pt x="594" y="186"/>
                    </a:lnTo>
                    <a:lnTo>
                      <a:pt x="591" y="178"/>
                    </a:lnTo>
                    <a:lnTo>
                      <a:pt x="591" y="178"/>
                    </a:lnTo>
                    <a:lnTo>
                      <a:pt x="588" y="171"/>
                    </a:lnTo>
                    <a:lnTo>
                      <a:pt x="588" y="171"/>
                    </a:lnTo>
                    <a:lnTo>
                      <a:pt x="582" y="162"/>
                    </a:lnTo>
                    <a:lnTo>
                      <a:pt x="582" y="162"/>
                    </a:lnTo>
                    <a:lnTo>
                      <a:pt x="577" y="155"/>
                    </a:lnTo>
                    <a:lnTo>
                      <a:pt x="577" y="155"/>
                    </a:lnTo>
                    <a:lnTo>
                      <a:pt x="572" y="152"/>
                    </a:lnTo>
                    <a:lnTo>
                      <a:pt x="572" y="152"/>
                    </a:lnTo>
                    <a:lnTo>
                      <a:pt x="565" y="149"/>
                    </a:lnTo>
                    <a:lnTo>
                      <a:pt x="565" y="149"/>
                    </a:lnTo>
                    <a:lnTo>
                      <a:pt x="561" y="146"/>
                    </a:lnTo>
                    <a:lnTo>
                      <a:pt x="561" y="146"/>
                    </a:lnTo>
                    <a:lnTo>
                      <a:pt x="558" y="142"/>
                    </a:lnTo>
                    <a:lnTo>
                      <a:pt x="555" y="139"/>
                    </a:lnTo>
                    <a:lnTo>
                      <a:pt x="555" y="139"/>
                    </a:lnTo>
                    <a:lnTo>
                      <a:pt x="549" y="134"/>
                    </a:lnTo>
                    <a:lnTo>
                      <a:pt x="549" y="134"/>
                    </a:lnTo>
                    <a:lnTo>
                      <a:pt x="543" y="129"/>
                    </a:lnTo>
                    <a:lnTo>
                      <a:pt x="543" y="129"/>
                    </a:lnTo>
                    <a:lnTo>
                      <a:pt x="542" y="126"/>
                    </a:lnTo>
                    <a:lnTo>
                      <a:pt x="542" y="126"/>
                    </a:lnTo>
                    <a:lnTo>
                      <a:pt x="540" y="124"/>
                    </a:lnTo>
                    <a:lnTo>
                      <a:pt x="540" y="124"/>
                    </a:lnTo>
                    <a:lnTo>
                      <a:pt x="540" y="124"/>
                    </a:lnTo>
                    <a:lnTo>
                      <a:pt x="540" y="121"/>
                    </a:lnTo>
                    <a:lnTo>
                      <a:pt x="540" y="121"/>
                    </a:lnTo>
                    <a:lnTo>
                      <a:pt x="539" y="113"/>
                    </a:lnTo>
                    <a:lnTo>
                      <a:pt x="536" y="102"/>
                    </a:lnTo>
                    <a:lnTo>
                      <a:pt x="536" y="102"/>
                    </a:lnTo>
                    <a:lnTo>
                      <a:pt x="529" y="88"/>
                    </a:lnTo>
                    <a:lnTo>
                      <a:pt x="529" y="88"/>
                    </a:lnTo>
                    <a:lnTo>
                      <a:pt x="527" y="82"/>
                    </a:lnTo>
                    <a:lnTo>
                      <a:pt x="527" y="82"/>
                    </a:lnTo>
                    <a:lnTo>
                      <a:pt x="526" y="78"/>
                    </a:lnTo>
                    <a:lnTo>
                      <a:pt x="526" y="78"/>
                    </a:lnTo>
                    <a:lnTo>
                      <a:pt x="525" y="74"/>
                    </a:lnTo>
                    <a:lnTo>
                      <a:pt x="525" y="74"/>
                    </a:lnTo>
                    <a:lnTo>
                      <a:pt x="522" y="65"/>
                    </a:lnTo>
                    <a:lnTo>
                      <a:pt x="522" y="65"/>
                    </a:lnTo>
                    <a:lnTo>
                      <a:pt x="517" y="59"/>
                    </a:lnTo>
                    <a:lnTo>
                      <a:pt x="517" y="59"/>
                    </a:lnTo>
                    <a:lnTo>
                      <a:pt x="513" y="56"/>
                    </a:lnTo>
                    <a:lnTo>
                      <a:pt x="509" y="55"/>
                    </a:lnTo>
                    <a:lnTo>
                      <a:pt x="509" y="55"/>
                    </a:lnTo>
                    <a:lnTo>
                      <a:pt x="506" y="55"/>
                    </a:lnTo>
                    <a:lnTo>
                      <a:pt x="506" y="55"/>
                    </a:lnTo>
                    <a:lnTo>
                      <a:pt x="503" y="56"/>
                    </a:lnTo>
                    <a:lnTo>
                      <a:pt x="503" y="56"/>
                    </a:lnTo>
                    <a:lnTo>
                      <a:pt x="503" y="56"/>
                    </a:lnTo>
                    <a:lnTo>
                      <a:pt x="503" y="58"/>
                    </a:lnTo>
                    <a:lnTo>
                      <a:pt x="503" y="56"/>
                    </a:lnTo>
                    <a:lnTo>
                      <a:pt x="503" y="56"/>
                    </a:lnTo>
                    <a:lnTo>
                      <a:pt x="503" y="58"/>
                    </a:lnTo>
                    <a:lnTo>
                      <a:pt x="503" y="56"/>
                    </a:lnTo>
                    <a:lnTo>
                      <a:pt x="503" y="58"/>
                    </a:lnTo>
                    <a:lnTo>
                      <a:pt x="503" y="58"/>
                    </a:lnTo>
                    <a:lnTo>
                      <a:pt x="503" y="56"/>
                    </a:lnTo>
                    <a:lnTo>
                      <a:pt x="503" y="58"/>
                    </a:lnTo>
                    <a:lnTo>
                      <a:pt x="503" y="58"/>
                    </a:lnTo>
                    <a:lnTo>
                      <a:pt x="503" y="58"/>
                    </a:lnTo>
                    <a:lnTo>
                      <a:pt x="503" y="58"/>
                    </a:lnTo>
                    <a:lnTo>
                      <a:pt x="503" y="58"/>
                    </a:lnTo>
                    <a:lnTo>
                      <a:pt x="503" y="58"/>
                    </a:lnTo>
                    <a:lnTo>
                      <a:pt x="503" y="58"/>
                    </a:lnTo>
                    <a:lnTo>
                      <a:pt x="503" y="56"/>
                    </a:lnTo>
                    <a:lnTo>
                      <a:pt x="503" y="56"/>
                    </a:lnTo>
                    <a:lnTo>
                      <a:pt x="501" y="45"/>
                    </a:lnTo>
                    <a:lnTo>
                      <a:pt x="501" y="45"/>
                    </a:lnTo>
                    <a:lnTo>
                      <a:pt x="498" y="37"/>
                    </a:lnTo>
                    <a:lnTo>
                      <a:pt x="496" y="29"/>
                    </a:lnTo>
                    <a:lnTo>
                      <a:pt x="496" y="29"/>
                    </a:lnTo>
                    <a:lnTo>
                      <a:pt x="491" y="21"/>
                    </a:lnTo>
                    <a:lnTo>
                      <a:pt x="491" y="21"/>
                    </a:lnTo>
                    <a:lnTo>
                      <a:pt x="490" y="20"/>
                    </a:lnTo>
                    <a:lnTo>
                      <a:pt x="490" y="20"/>
                    </a:lnTo>
                    <a:lnTo>
                      <a:pt x="490" y="20"/>
                    </a:lnTo>
                    <a:lnTo>
                      <a:pt x="490" y="20"/>
                    </a:lnTo>
                    <a:lnTo>
                      <a:pt x="490" y="20"/>
                    </a:lnTo>
                    <a:lnTo>
                      <a:pt x="490" y="20"/>
                    </a:lnTo>
                    <a:lnTo>
                      <a:pt x="490" y="20"/>
                    </a:lnTo>
                    <a:lnTo>
                      <a:pt x="488" y="20"/>
                    </a:lnTo>
                    <a:lnTo>
                      <a:pt x="490" y="21"/>
                    </a:lnTo>
                    <a:lnTo>
                      <a:pt x="490" y="20"/>
                    </a:lnTo>
                    <a:lnTo>
                      <a:pt x="488" y="20"/>
                    </a:lnTo>
                    <a:lnTo>
                      <a:pt x="490" y="21"/>
                    </a:lnTo>
                    <a:lnTo>
                      <a:pt x="490" y="21"/>
                    </a:lnTo>
                    <a:lnTo>
                      <a:pt x="490" y="21"/>
                    </a:lnTo>
                    <a:lnTo>
                      <a:pt x="490" y="21"/>
                    </a:lnTo>
                    <a:lnTo>
                      <a:pt x="490" y="21"/>
                    </a:lnTo>
                    <a:lnTo>
                      <a:pt x="490" y="21"/>
                    </a:lnTo>
                    <a:lnTo>
                      <a:pt x="490" y="21"/>
                    </a:lnTo>
                    <a:lnTo>
                      <a:pt x="490" y="21"/>
                    </a:lnTo>
                    <a:lnTo>
                      <a:pt x="491" y="20"/>
                    </a:lnTo>
                    <a:lnTo>
                      <a:pt x="491" y="20"/>
                    </a:lnTo>
                    <a:lnTo>
                      <a:pt x="493" y="18"/>
                    </a:lnTo>
                    <a:lnTo>
                      <a:pt x="493" y="18"/>
                    </a:lnTo>
                    <a:lnTo>
                      <a:pt x="491" y="16"/>
                    </a:lnTo>
                    <a:lnTo>
                      <a:pt x="491" y="16"/>
                    </a:lnTo>
                    <a:lnTo>
                      <a:pt x="490" y="14"/>
                    </a:lnTo>
                    <a:lnTo>
                      <a:pt x="490" y="14"/>
                    </a:lnTo>
                    <a:lnTo>
                      <a:pt x="487" y="13"/>
                    </a:lnTo>
                    <a:lnTo>
                      <a:pt x="487" y="13"/>
                    </a:lnTo>
                    <a:lnTo>
                      <a:pt x="487" y="13"/>
                    </a:lnTo>
                    <a:lnTo>
                      <a:pt x="487" y="13"/>
                    </a:lnTo>
                    <a:lnTo>
                      <a:pt x="487" y="13"/>
                    </a:lnTo>
                    <a:lnTo>
                      <a:pt x="487" y="13"/>
                    </a:lnTo>
                    <a:lnTo>
                      <a:pt x="487" y="13"/>
                    </a:lnTo>
                    <a:lnTo>
                      <a:pt x="487" y="13"/>
                    </a:lnTo>
                    <a:lnTo>
                      <a:pt x="487" y="13"/>
                    </a:lnTo>
                    <a:lnTo>
                      <a:pt x="484" y="5"/>
                    </a:lnTo>
                    <a:lnTo>
                      <a:pt x="484" y="5"/>
                    </a:lnTo>
                    <a:lnTo>
                      <a:pt x="481" y="1"/>
                    </a:lnTo>
                    <a:lnTo>
                      <a:pt x="481" y="1"/>
                    </a:lnTo>
                    <a:lnTo>
                      <a:pt x="480" y="0"/>
                    </a:lnTo>
                    <a:lnTo>
                      <a:pt x="477" y="0"/>
                    </a:lnTo>
                    <a:lnTo>
                      <a:pt x="477" y="1"/>
                    </a:lnTo>
                    <a:lnTo>
                      <a:pt x="477" y="4"/>
                    </a:lnTo>
                    <a:lnTo>
                      <a:pt x="477" y="4"/>
                    </a:lnTo>
                    <a:lnTo>
                      <a:pt x="478" y="4"/>
                    </a:lnTo>
                    <a:lnTo>
                      <a:pt x="478" y="4"/>
                    </a:lnTo>
                    <a:lnTo>
                      <a:pt x="481" y="8"/>
                    </a:lnTo>
                    <a:lnTo>
                      <a:pt x="481" y="8"/>
                    </a:lnTo>
                    <a:lnTo>
                      <a:pt x="483" y="13"/>
                    </a:lnTo>
                    <a:lnTo>
                      <a:pt x="483" y="13"/>
                    </a:lnTo>
                    <a:lnTo>
                      <a:pt x="483" y="14"/>
                    </a:lnTo>
                    <a:lnTo>
                      <a:pt x="484" y="16"/>
                    </a:lnTo>
                    <a:lnTo>
                      <a:pt x="484" y="16"/>
                    </a:lnTo>
                    <a:lnTo>
                      <a:pt x="487" y="18"/>
                    </a:lnTo>
                    <a:lnTo>
                      <a:pt x="488" y="18"/>
                    </a:lnTo>
                    <a:lnTo>
                      <a:pt x="488" y="18"/>
                    </a:lnTo>
                    <a:lnTo>
                      <a:pt x="488" y="18"/>
                    </a:lnTo>
                    <a:lnTo>
                      <a:pt x="488" y="18"/>
                    </a:lnTo>
                    <a:lnTo>
                      <a:pt x="488" y="18"/>
                    </a:lnTo>
                    <a:lnTo>
                      <a:pt x="488" y="18"/>
                    </a:lnTo>
                    <a:lnTo>
                      <a:pt x="488" y="18"/>
                    </a:lnTo>
                    <a:lnTo>
                      <a:pt x="490" y="18"/>
                    </a:lnTo>
                    <a:lnTo>
                      <a:pt x="487" y="18"/>
                    </a:lnTo>
                    <a:lnTo>
                      <a:pt x="488" y="18"/>
                    </a:lnTo>
                    <a:lnTo>
                      <a:pt x="490" y="18"/>
                    </a:lnTo>
                    <a:lnTo>
                      <a:pt x="487" y="18"/>
                    </a:lnTo>
                    <a:lnTo>
                      <a:pt x="490" y="18"/>
                    </a:lnTo>
                    <a:lnTo>
                      <a:pt x="488" y="17"/>
                    </a:lnTo>
                    <a:lnTo>
                      <a:pt x="488" y="17"/>
                    </a:lnTo>
                    <a:lnTo>
                      <a:pt x="487" y="18"/>
                    </a:lnTo>
                    <a:lnTo>
                      <a:pt x="490" y="18"/>
                    </a:lnTo>
                    <a:lnTo>
                      <a:pt x="488" y="17"/>
                    </a:lnTo>
                    <a:lnTo>
                      <a:pt x="488" y="17"/>
                    </a:lnTo>
                    <a:lnTo>
                      <a:pt x="488" y="17"/>
                    </a:lnTo>
                    <a:lnTo>
                      <a:pt x="488" y="17"/>
                    </a:lnTo>
                    <a:lnTo>
                      <a:pt x="488" y="17"/>
                    </a:lnTo>
                    <a:lnTo>
                      <a:pt x="488" y="17"/>
                    </a:lnTo>
                    <a:lnTo>
                      <a:pt x="488" y="17"/>
                    </a:lnTo>
                    <a:lnTo>
                      <a:pt x="488" y="17"/>
                    </a:lnTo>
                    <a:lnTo>
                      <a:pt x="485" y="17"/>
                    </a:lnTo>
                    <a:lnTo>
                      <a:pt x="485" y="17"/>
                    </a:lnTo>
                    <a:lnTo>
                      <a:pt x="485" y="20"/>
                    </a:lnTo>
                    <a:lnTo>
                      <a:pt x="485" y="20"/>
                    </a:lnTo>
                    <a:lnTo>
                      <a:pt x="485" y="23"/>
                    </a:lnTo>
                    <a:lnTo>
                      <a:pt x="485" y="23"/>
                    </a:lnTo>
                    <a:lnTo>
                      <a:pt x="488" y="26"/>
                    </a:lnTo>
                    <a:lnTo>
                      <a:pt x="488" y="26"/>
                    </a:lnTo>
                    <a:lnTo>
                      <a:pt x="491" y="32"/>
                    </a:lnTo>
                    <a:lnTo>
                      <a:pt x="491" y="32"/>
                    </a:lnTo>
                    <a:lnTo>
                      <a:pt x="494" y="39"/>
                    </a:lnTo>
                    <a:lnTo>
                      <a:pt x="496" y="46"/>
                    </a:lnTo>
                    <a:lnTo>
                      <a:pt x="496" y="46"/>
                    </a:lnTo>
                    <a:lnTo>
                      <a:pt x="498" y="58"/>
                    </a:lnTo>
                    <a:lnTo>
                      <a:pt x="498" y="58"/>
                    </a:lnTo>
                    <a:lnTo>
                      <a:pt x="500" y="60"/>
                    </a:lnTo>
                    <a:lnTo>
                      <a:pt x="500" y="60"/>
                    </a:lnTo>
                    <a:lnTo>
                      <a:pt x="503" y="62"/>
                    </a:lnTo>
                    <a:lnTo>
                      <a:pt x="503" y="62"/>
                    </a:lnTo>
                    <a:lnTo>
                      <a:pt x="506" y="60"/>
                    </a:lnTo>
                    <a:lnTo>
                      <a:pt x="506" y="60"/>
                    </a:lnTo>
                    <a:lnTo>
                      <a:pt x="507" y="59"/>
                    </a:lnTo>
                    <a:lnTo>
                      <a:pt x="509" y="59"/>
                    </a:lnTo>
                    <a:lnTo>
                      <a:pt x="509" y="59"/>
                    </a:lnTo>
                    <a:lnTo>
                      <a:pt x="509" y="59"/>
                    </a:lnTo>
                    <a:lnTo>
                      <a:pt x="509" y="59"/>
                    </a:lnTo>
                    <a:lnTo>
                      <a:pt x="509" y="59"/>
                    </a:lnTo>
                    <a:lnTo>
                      <a:pt x="509" y="59"/>
                    </a:lnTo>
                    <a:lnTo>
                      <a:pt x="509" y="59"/>
                    </a:lnTo>
                    <a:lnTo>
                      <a:pt x="509" y="59"/>
                    </a:lnTo>
                    <a:lnTo>
                      <a:pt x="510" y="60"/>
                    </a:lnTo>
                    <a:lnTo>
                      <a:pt x="514" y="63"/>
                    </a:lnTo>
                    <a:lnTo>
                      <a:pt x="514" y="63"/>
                    </a:lnTo>
                    <a:lnTo>
                      <a:pt x="519" y="71"/>
                    </a:lnTo>
                    <a:lnTo>
                      <a:pt x="519" y="71"/>
                    </a:lnTo>
                    <a:lnTo>
                      <a:pt x="520" y="75"/>
                    </a:lnTo>
                    <a:lnTo>
                      <a:pt x="520" y="75"/>
                    </a:lnTo>
                    <a:lnTo>
                      <a:pt x="520" y="78"/>
                    </a:lnTo>
                    <a:lnTo>
                      <a:pt x="520" y="78"/>
                    </a:lnTo>
                    <a:lnTo>
                      <a:pt x="522" y="84"/>
                    </a:lnTo>
                    <a:lnTo>
                      <a:pt x="522" y="84"/>
                    </a:lnTo>
                    <a:lnTo>
                      <a:pt x="532" y="105"/>
                    </a:lnTo>
                    <a:lnTo>
                      <a:pt x="532" y="105"/>
                    </a:lnTo>
                    <a:lnTo>
                      <a:pt x="535" y="114"/>
                    </a:lnTo>
                    <a:lnTo>
                      <a:pt x="536" y="121"/>
                    </a:lnTo>
                    <a:lnTo>
                      <a:pt x="536" y="121"/>
                    </a:lnTo>
                    <a:lnTo>
                      <a:pt x="536" y="123"/>
                    </a:lnTo>
                    <a:lnTo>
                      <a:pt x="536" y="124"/>
                    </a:lnTo>
                    <a:lnTo>
                      <a:pt x="536" y="124"/>
                    </a:lnTo>
                    <a:lnTo>
                      <a:pt x="538" y="129"/>
                    </a:lnTo>
                    <a:lnTo>
                      <a:pt x="538" y="129"/>
                    </a:lnTo>
                    <a:lnTo>
                      <a:pt x="542" y="134"/>
                    </a:lnTo>
                    <a:lnTo>
                      <a:pt x="545" y="139"/>
                    </a:lnTo>
                    <a:lnTo>
                      <a:pt x="545" y="139"/>
                    </a:lnTo>
                    <a:lnTo>
                      <a:pt x="552" y="143"/>
                    </a:lnTo>
                    <a:lnTo>
                      <a:pt x="552" y="143"/>
                    </a:lnTo>
                    <a:lnTo>
                      <a:pt x="556" y="147"/>
                    </a:lnTo>
                    <a:lnTo>
                      <a:pt x="556" y="147"/>
                    </a:lnTo>
                    <a:lnTo>
                      <a:pt x="558" y="150"/>
                    </a:lnTo>
                    <a:lnTo>
                      <a:pt x="559" y="152"/>
                    </a:lnTo>
                    <a:lnTo>
                      <a:pt x="559" y="152"/>
                    </a:lnTo>
                    <a:lnTo>
                      <a:pt x="568" y="155"/>
                    </a:lnTo>
                    <a:lnTo>
                      <a:pt x="568" y="155"/>
                    </a:lnTo>
                    <a:lnTo>
                      <a:pt x="574" y="158"/>
                    </a:lnTo>
                    <a:lnTo>
                      <a:pt x="574" y="158"/>
                    </a:lnTo>
                    <a:lnTo>
                      <a:pt x="580" y="165"/>
                    </a:lnTo>
                    <a:lnTo>
                      <a:pt x="580" y="165"/>
                    </a:lnTo>
                    <a:lnTo>
                      <a:pt x="584" y="172"/>
                    </a:lnTo>
                    <a:lnTo>
                      <a:pt x="584" y="172"/>
                    </a:lnTo>
                    <a:lnTo>
                      <a:pt x="585" y="179"/>
                    </a:lnTo>
                    <a:lnTo>
                      <a:pt x="585" y="179"/>
                    </a:lnTo>
                    <a:lnTo>
                      <a:pt x="590" y="189"/>
                    </a:lnTo>
                    <a:lnTo>
                      <a:pt x="590" y="189"/>
                    </a:lnTo>
                    <a:lnTo>
                      <a:pt x="593" y="194"/>
                    </a:lnTo>
                    <a:lnTo>
                      <a:pt x="593" y="194"/>
                    </a:lnTo>
                    <a:lnTo>
                      <a:pt x="596" y="195"/>
                    </a:lnTo>
                    <a:lnTo>
                      <a:pt x="597" y="195"/>
                    </a:lnTo>
                    <a:lnTo>
                      <a:pt x="597" y="195"/>
                    </a:lnTo>
                    <a:lnTo>
                      <a:pt x="600" y="195"/>
                    </a:lnTo>
                    <a:lnTo>
                      <a:pt x="600" y="195"/>
                    </a:lnTo>
                    <a:lnTo>
                      <a:pt x="601" y="194"/>
                    </a:lnTo>
                    <a:lnTo>
                      <a:pt x="601" y="194"/>
                    </a:lnTo>
                    <a:lnTo>
                      <a:pt x="601" y="192"/>
                    </a:lnTo>
                    <a:lnTo>
                      <a:pt x="601" y="194"/>
                    </a:lnTo>
                    <a:lnTo>
                      <a:pt x="601" y="194"/>
                    </a:lnTo>
                    <a:lnTo>
                      <a:pt x="601" y="192"/>
                    </a:lnTo>
                    <a:lnTo>
                      <a:pt x="601" y="194"/>
                    </a:lnTo>
                    <a:lnTo>
                      <a:pt x="601" y="192"/>
                    </a:lnTo>
                    <a:lnTo>
                      <a:pt x="601" y="194"/>
                    </a:lnTo>
                    <a:lnTo>
                      <a:pt x="601" y="194"/>
                    </a:lnTo>
                    <a:lnTo>
                      <a:pt x="601" y="192"/>
                    </a:lnTo>
                    <a:lnTo>
                      <a:pt x="601" y="194"/>
                    </a:lnTo>
                    <a:lnTo>
                      <a:pt x="601" y="192"/>
                    </a:lnTo>
                    <a:lnTo>
                      <a:pt x="600" y="194"/>
                    </a:lnTo>
                    <a:lnTo>
                      <a:pt x="601" y="194"/>
                    </a:lnTo>
                    <a:lnTo>
                      <a:pt x="601" y="192"/>
                    </a:lnTo>
                    <a:lnTo>
                      <a:pt x="600" y="194"/>
                    </a:lnTo>
                    <a:lnTo>
                      <a:pt x="600" y="192"/>
                    </a:lnTo>
                    <a:lnTo>
                      <a:pt x="600" y="194"/>
                    </a:lnTo>
                    <a:lnTo>
                      <a:pt x="600" y="194"/>
                    </a:lnTo>
                    <a:lnTo>
                      <a:pt x="600" y="192"/>
                    </a:lnTo>
                    <a:lnTo>
                      <a:pt x="600" y="194"/>
                    </a:lnTo>
                    <a:lnTo>
                      <a:pt x="600" y="194"/>
                    </a:lnTo>
                    <a:lnTo>
                      <a:pt x="601" y="195"/>
                    </a:lnTo>
                    <a:lnTo>
                      <a:pt x="601" y="195"/>
                    </a:lnTo>
                    <a:lnTo>
                      <a:pt x="601" y="195"/>
                    </a:lnTo>
                    <a:lnTo>
                      <a:pt x="604" y="197"/>
                    </a:lnTo>
                    <a:lnTo>
                      <a:pt x="604" y="197"/>
                    </a:lnTo>
                    <a:lnTo>
                      <a:pt x="606" y="197"/>
                    </a:lnTo>
                    <a:lnTo>
                      <a:pt x="606" y="197"/>
                    </a:lnTo>
                    <a:lnTo>
                      <a:pt x="607" y="198"/>
                    </a:lnTo>
                    <a:lnTo>
                      <a:pt x="607" y="198"/>
                    </a:lnTo>
                    <a:lnTo>
                      <a:pt x="609" y="204"/>
                    </a:lnTo>
                    <a:lnTo>
                      <a:pt x="609" y="204"/>
                    </a:lnTo>
                    <a:lnTo>
                      <a:pt x="610" y="211"/>
                    </a:lnTo>
                    <a:lnTo>
                      <a:pt x="613" y="214"/>
                    </a:lnTo>
                    <a:lnTo>
                      <a:pt x="613" y="214"/>
                    </a:lnTo>
                    <a:lnTo>
                      <a:pt x="619" y="218"/>
                    </a:lnTo>
                    <a:lnTo>
                      <a:pt x="619" y="218"/>
                    </a:lnTo>
                    <a:lnTo>
                      <a:pt x="626" y="226"/>
                    </a:lnTo>
                    <a:lnTo>
                      <a:pt x="626" y="226"/>
                    </a:lnTo>
                    <a:lnTo>
                      <a:pt x="633" y="233"/>
                    </a:lnTo>
                    <a:lnTo>
                      <a:pt x="633" y="233"/>
                    </a:lnTo>
                    <a:lnTo>
                      <a:pt x="636" y="237"/>
                    </a:lnTo>
                    <a:lnTo>
                      <a:pt x="636" y="237"/>
                    </a:lnTo>
                    <a:lnTo>
                      <a:pt x="640" y="247"/>
                    </a:lnTo>
                    <a:lnTo>
                      <a:pt x="643" y="256"/>
                    </a:lnTo>
                    <a:lnTo>
                      <a:pt x="643" y="256"/>
                    </a:lnTo>
                    <a:lnTo>
                      <a:pt x="648" y="266"/>
                    </a:lnTo>
                    <a:lnTo>
                      <a:pt x="648" y="266"/>
                    </a:lnTo>
                    <a:lnTo>
                      <a:pt x="649" y="273"/>
                    </a:lnTo>
                    <a:lnTo>
                      <a:pt x="649" y="279"/>
                    </a:lnTo>
                    <a:lnTo>
                      <a:pt x="649" y="279"/>
                    </a:lnTo>
                    <a:lnTo>
                      <a:pt x="649" y="279"/>
                    </a:lnTo>
                    <a:lnTo>
                      <a:pt x="649" y="282"/>
                    </a:lnTo>
                    <a:lnTo>
                      <a:pt x="649" y="282"/>
                    </a:lnTo>
                    <a:lnTo>
                      <a:pt x="651" y="289"/>
                    </a:lnTo>
                    <a:lnTo>
                      <a:pt x="651" y="289"/>
                    </a:lnTo>
                    <a:lnTo>
                      <a:pt x="653" y="298"/>
                    </a:lnTo>
                    <a:lnTo>
                      <a:pt x="653" y="298"/>
                    </a:lnTo>
                    <a:lnTo>
                      <a:pt x="655" y="302"/>
                    </a:lnTo>
                    <a:lnTo>
                      <a:pt x="655" y="302"/>
                    </a:lnTo>
                    <a:lnTo>
                      <a:pt x="652" y="314"/>
                    </a:lnTo>
                    <a:lnTo>
                      <a:pt x="652" y="314"/>
                    </a:lnTo>
                    <a:lnTo>
                      <a:pt x="651" y="327"/>
                    </a:lnTo>
                    <a:lnTo>
                      <a:pt x="651" y="327"/>
                    </a:lnTo>
                    <a:lnTo>
                      <a:pt x="648" y="339"/>
                    </a:lnTo>
                    <a:lnTo>
                      <a:pt x="643" y="355"/>
                    </a:lnTo>
                    <a:lnTo>
                      <a:pt x="643" y="355"/>
                    </a:lnTo>
                    <a:lnTo>
                      <a:pt x="638" y="369"/>
                    </a:lnTo>
                    <a:lnTo>
                      <a:pt x="638" y="369"/>
                    </a:lnTo>
                    <a:lnTo>
                      <a:pt x="635" y="375"/>
                    </a:lnTo>
                    <a:lnTo>
                      <a:pt x="635" y="375"/>
                    </a:lnTo>
                    <a:lnTo>
                      <a:pt x="633" y="378"/>
                    </a:lnTo>
                    <a:lnTo>
                      <a:pt x="633" y="378"/>
                    </a:lnTo>
                    <a:lnTo>
                      <a:pt x="626" y="382"/>
                    </a:lnTo>
                    <a:lnTo>
                      <a:pt x="626" y="382"/>
                    </a:lnTo>
                    <a:lnTo>
                      <a:pt x="619" y="386"/>
                    </a:lnTo>
                    <a:lnTo>
                      <a:pt x="619" y="386"/>
                    </a:lnTo>
                    <a:lnTo>
                      <a:pt x="614" y="391"/>
                    </a:lnTo>
                    <a:lnTo>
                      <a:pt x="610" y="397"/>
                    </a:lnTo>
                    <a:lnTo>
                      <a:pt x="610" y="397"/>
                    </a:lnTo>
                    <a:lnTo>
                      <a:pt x="606" y="402"/>
                    </a:lnTo>
                    <a:lnTo>
                      <a:pt x="606" y="402"/>
                    </a:lnTo>
                    <a:lnTo>
                      <a:pt x="603" y="405"/>
                    </a:lnTo>
                    <a:lnTo>
                      <a:pt x="603" y="405"/>
                    </a:lnTo>
                    <a:lnTo>
                      <a:pt x="600" y="411"/>
                    </a:lnTo>
                    <a:lnTo>
                      <a:pt x="600" y="411"/>
                    </a:lnTo>
                    <a:lnTo>
                      <a:pt x="598" y="417"/>
                    </a:lnTo>
                    <a:lnTo>
                      <a:pt x="598" y="417"/>
                    </a:lnTo>
                    <a:lnTo>
                      <a:pt x="597" y="424"/>
                    </a:lnTo>
                    <a:lnTo>
                      <a:pt x="597" y="424"/>
                    </a:lnTo>
                    <a:lnTo>
                      <a:pt x="594" y="430"/>
                    </a:lnTo>
                    <a:lnTo>
                      <a:pt x="593" y="436"/>
                    </a:lnTo>
                    <a:lnTo>
                      <a:pt x="593" y="436"/>
                    </a:lnTo>
                    <a:lnTo>
                      <a:pt x="591" y="441"/>
                    </a:lnTo>
                    <a:lnTo>
                      <a:pt x="591" y="441"/>
                    </a:lnTo>
                    <a:lnTo>
                      <a:pt x="591" y="443"/>
                    </a:lnTo>
                    <a:lnTo>
                      <a:pt x="591" y="443"/>
                    </a:lnTo>
                    <a:lnTo>
                      <a:pt x="591" y="443"/>
                    </a:lnTo>
                    <a:lnTo>
                      <a:pt x="591" y="443"/>
                    </a:lnTo>
                    <a:lnTo>
                      <a:pt x="591" y="443"/>
                    </a:lnTo>
                    <a:lnTo>
                      <a:pt x="591" y="443"/>
                    </a:lnTo>
                    <a:lnTo>
                      <a:pt x="591" y="443"/>
                    </a:lnTo>
                    <a:lnTo>
                      <a:pt x="591" y="443"/>
                    </a:lnTo>
                    <a:lnTo>
                      <a:pt x="590" y="446"/>
                    </a:lnTo>
                    <a:lnTo>
                      <a:pt x="590" y="446"/>
                    </a:lnTo>
                    <a:lnTo>
                      <a:pt x="588" y="452"/>
                    </a:lnTo>
                    <a:lnTo>
                      <a:pt x="588" y="452"/>
                    </a:lnTo>
                    <a:lnTo>
                      <a:pt x="587" y="470"/>
                    </a:lnTo>
                    <a:lnTo>
                      <a:pt x="587" y="470"/>
                    </a:lnTo>
                    <a:lnTo>
                      <a:pt x="587" y="470"/>
                    </a:lnTo>
                    <a:lnTo>
                      <a:pt x="585" y="472"/>
                    </a:lnTo>
                    <a:lnTo>
                      <a:pt x="585" y="472"/>
                    </a:lnTo>
                    <a:lnTo>
                      <a:pt x="581" y="472"/>
                    </a:lnTo>
                    <a:lnTo>
                      <a:pt x="581" y="472"/>
                    </a:lnTo>
                    <a:lnTo>
                      <a:pt x="577" y="472"/>
                    </a:lnTo>
                    <a:lnTo>
                      <a:pt x="572" y="473"/>
                    </a:lnTo>
                    <a:lnTo>
                      <a:pt x="572" y="473"/>
                    </a:lnTo>
                    <a:lnTo>
                      <a:pt x="564" y="476"/>
                    </a:lnTo>
                    <a:lnTo>
                      <a:pt x="554" y="478"/>
                    </a:lnTo>
                    <a:lnTo>
                      <a:pt x="554" y="478"/>
                    </a:lnTo>
                    <a:lnTo>
                      <a:pt x="549" y="481"/>
                    </a:lnTo>
                    <a:lnTo>
                      <a:pt x="549" y="481"/>
                    </a:lnTo>
                    <a:lnTo>
                      <a:pt x="546" y="483"/>
                    </a:lnTo>
                    <a:lnTo>
                      <a:pt x="545" y="486"/>
                    </a:lnTo>
                    <a:lnTo>
                      <a:pt x="545" y="486"/>
                    </a:lnTo>
                    <a:lnTo>
                      <a:pt x="542" y="491"/>
                    </a:lnTo>
                    <a:lnTo>
                      <a:pt x="542" y="491"/>
                    </a:lnTo>
                    <a:lnTo>
                      <a:pt x="540" y="492"/>
                    </a:lnTo>
                    <a:lnTo>
                      <a:pt x="540" y="492"/>
                    </a:lnTo>
                    <a:lnTo>
                      <a:pt x="538" y="492"/>
                    </a:lnTo>
                    <a:lnTo>
                      <a:pt x="538" y="492"/>
                    </a:lnTo>
                    <a:lnTo>
                      <a:pt x="532" y="492"/>
                    </a:lnTo>
                    <a:lnTo>
                      <a:pt x="532" y="492"/>
                    </a:lnTo>
                    <a:lnTo>
                      <a:pt x="526" y="492"/>
                    </a:lnTo>
                    <a:lnTo>
                      <a:pt x="526" y="492"/>
                    </a:lnTo>
                    <a:lnTo>
                      <a:pt x="523" y="494"/>
                    </a:lnTo>
                    <a:lnTo>
                      <a:pt x="523" y="494"/>
                    </a:lnTo>
                    <a:lnTo>
                      <a:pt x="522" y="492"/>
                    </a:lnTo>
                    <a:lnTo>
                      <a:pt x="522" y="492"/>
                    </a:lnTo>
                    <a:lnTo>
                      <a:pt x="520" y="491"/>
                    </a:lnTo>
                    <a:lnTo>
                      <a:pt x="520" y="491"/>
                    </a:lnTo>
                    <a:lnTo>
                      <a:pt x="516" y="485"/>
                    </a:lnTo>
                    <a:lnTo>
                      <a:pt x="516" y="485"/>
                    </a:lnTo>
                    <a:lnTo>
                      <a:pt x="510" y="478"/>
                    </a:lnTo>
                    <a:lnTo>
                      <a:pt x="510" y="478"/>
                    </a:lnTo>
                    <a:lnTo>
                      <a:pt x="509" y="476"/>
                    </a:lnTo>
                    <a:lnTo>
                      <a:pt x="509" y="476"/>
                    </a:lnTo>
                    <a:lnTo>
                      <a:pt x="506" y="475"/>
                    </a:lnTo>
                    <a:lnTo>
                      <a:pt x="506" y="475"/>
                    </a:lnTo>
                    <a:lnTo>
                      <a:pt x="504" y="476"/>
                    </a:lnTo>
                    <a:lnTo>
                      <a:pt x="504" y="476"/>
                    </a:lnTo>
                    <a:lnTo>
                      <a:pt x="503" y="478"/>
                    </a:lnTo>
                    <a:lnTo>
                      <a:pt x="503" y="478"/>
                    </a:lnTo>
                    <a:lnTo>
                      <a:pt x="500" y="483"/>
                    </a:lnTo>
                    <a:lnTo>
                      <a:pt x="500" y="483"/>
                    </a:lnTo>
                    <a:lnTo>
                      <a:pt x="498" y="485"/>
                    </a:lnTo>
                    <a:lnTo>
                      <a:pt x="498" y="485"/>
                    </a:lnTo>
                    <a:lnTo>
                      <a:pt x="498" y="485"/>
                    </a:lnTo>
                    <a:lnTo>
                      <a:pt x="498" y="486"/>
                    </a:lnTo>
                    <a:lnTo>
                      <a:pt x="498" y="485"/>
                    </a:lnTo>
                    <a:lnTo>
                      <a:pt x="498" y="485"/>
                    </a:lnTo>
                    <a:lnTo>
                      <a:pt x="498" y="486"/>
                    </a:lnTo>
                    <a:lnTo>
                      <a:pt x="498" y="485"/>
                    </a:lnTo>
                    <a:lnTo>
                      <a:pt x="498" y="485"/>
                    </a:lnTo>
                    <a:lnTo>
                      <a:pt x="494" y="486"/>
                    </a:lnTo>
                    <a:lnTo>
                      <a:pt x="494" y="486"/>
                    </a:lnTo>
                    <a:lnTo>
                      <a:pt x="487" y="489"/>
                    </a:lnTo>
                    <a:lnTo>
                      <a:pt x="487" y="489"/>
                    </a:lnTo>
                    <a:lnTo>
                      <a:pt x="481" y="492"/>
                    </a:lnTo>
                    <a:lnTo>
                      <a:pt x="480" y="492"/>
                    </a:lnTo>
                    <a:lnTo>
                      <a:pt x="480" y="492"/>
                    </a:lnTo>
                    <a:lnTo>
                      <a:pt x="477" y="491"/>
                    </a:lnTo>
                    <a:lnTo>
                      <a:pt x="477" y="491"/>
                    </a:lnTo>
                    <a:lnTo>
                      <a:pt x="470" y="488"/>
                    </a:lnTo>
                    <a:lnTo>
                      <a:pt x="462" y="483"/>
                    </a:lnTo>
                    <a:lnTo>
                      <a:pt x="462" y="483"/>
                    </a:lnTo>
                    <a:lnTo>
                      <a:pt x="461" y="482"/>
                    </a:lnTo>
                    <a:lnTo>
                      <a:pt x="461" y="482"/>
                    </a:lnTo>
                    <a:lnTo>
                      <a:pt x="458" y="482"/>
                    </a:lnTo>
                    <a:lnTo>
                      <a:pt x="458" y="482"/>
                    </a:lnTo>
                    <a:lnTo>
                      <a:pt x="456" y="482"/>
                    </a:lnTo>
                    <a:lnTo>
                      <a:pt x="456" y="482"/>
                    </a:lnTo>
                    <a:lnTo>
                      <a:pt x="455" y="485"/>
                    </a:lnTo>
                    <a:lnTo>
                      <a:pt x="455" y="485"/>
                    </a:lnTo>
                    <a:lnTo>
                      <a:pt x="455" y="486"/>
                    </a:lnTo>
                    <a:lnTo>
                      <a:pt x="455" y="486"/>
                    </a:lnTo>
                    <a:lnTo>
                      <a:pt x="452" y="488"/>
                    </a:lnTo>
                    <a:lnTo>
                      <a:pt x="452" y="488"/>
                    </a:lnTo>
                    <a:lnTo>
                      <a:pt x="451" y="488"/>
                    </a:lnTo>
                    <a:lnTo>
                      <a:pt x="452" y="489"/>
                    </a:lnTo>
                    <a:lnTo>
                      <a:pt x="452" y="488"/>
                    </a:lnTo>
                    <a:lnTo>
                      <a:pt x="451" y="488"/>
                    </a:lnTo>
                    <a:lnTo>
                      <a:pt x="452" y="489"/>
                    </a:lnTo>
                    <a:lnTo>
                      <a:pt x="452" y="488"/>
                    </a:lnTo>
                    <a:lnTo>
                      <a:pt x="452" y="489"/>
                    </a:lnTo>
                    <a:lnTo>
                      <a:pt x="452" y="488"/>
                    </a:lnTo>
                    <a:lnTo>
                      <a:pt x="452" y="488"/>
                    </a:lnTo>
                    <a:lnTo>
                      <a:pt x="452" y="489"/>
                    </a:lnTo>
                    <a:lnTo>
                      <a:pt x="452" y="488"/>
                    </a:lnTo>
                    <a:lnTo>
                      <a:pt x="452" y="489"/>
                    </a:lnTo>
                    <a:lnTo>
                      <a:pt x="452" y="489"/>
                    </a:lnTo>
                    <a:lnTo>
                      <a:pt x="452" y="488"/>
                    </a:lnTo>
                    <a:lnTo>
                      <a:pt x="452" y="489"/>
                    </a:lnTo>
                    <a:lnTo>
                      <a:pt x="452" y="489"/>
                    </a:lnTo>
                    <a:lnTo>
                      <a:pt x="452" y="489"/>
                    </a:lnTo>
                    <a:lnTo>
                      <a:pt x="452" y="489"/>
                    </a:lnTo>
                    <a:lnTo>
                      <a:pt x="452" y="489"/>
                    </a:lnTo>
                    <a:lnTo>
                      <a:pt x="452" y="489"/>
                    </a:lnTo>
                    <a:lnTo>
                      <a:pt x="452" y="489"/>
                    </a:lnTo>
                    <a:lnTo>
                      <a:pt x="452" y="489"/>
                    </a:lnTo>
                    <a:lnTo>
                      <a:pt x="452" y="488"/>
                    </a:lnTo>
                    <a:lnTo>
                      <a:pt x="452" y="488"/>
                    </a:lnTo>
                    <a:lnTo>
                      <a:pt x="449" y="483"/>
                    </a:lnTo>
                    <a:lnTo>
                      <a:pt x="449" y="483"/>
                    </a:lnTo>
                    <a:lnTo>
                      <a:pt x="446" y="481"/>
                    </a:lnTo>
                    <a:lnTo>
                      <a:pt x="443" y="479"/>
                    </a:lnTo>
                    <a:lnTo>
                      <a:pt x="443" y="479"/>
                    </a:lnTo>
                    <a:lnTo>
                      <a:pt x="438" y="478"/>
                    </a:lnTo>
                    <a:lnTo>
                      <a:pt x="438" y="478"/>
                    </a:lnTo>
                    <a:lnTo>
                      <a:pt x="436" y="476"/>
                    </a:lnTo>
                    <a:lnTo>
                      <a:pt x="436" y="476"/>
                    </a:lnTo>
                    <a:lnTo>
                      <a:pt x="432" y="470"/>
                    </a:lnTo>
                    <a:lnTo>
                      <a:pt x="432" y="470"/>
                    </a:lnTo>
                    <a:lnTo>
                      <a:pt x="428" y="463"/>
                    </a:lnTo>
                    <a:lnTo>
                      <a:pt x="426" y="457"/>
                    </a:lnTo>
                    <a:lnTo>
                      <a:pt x="426" y="457"/>
                    </a:lnTo>
                    <a:lnTo>
                      <a:pt x="426" y="456"/>
                    </a:lnTo>
                    <a:lnTo>
                      <a:pt x="426" y="454"/>
                    </a:lnTo>
                    <a:lnTo>
                      <a:pt x="426" y="454"/>
                    </a:lnTo>
                    <a:lnTo>
                      <a:pt x="425" y="449"/>
                    </a:lnTo>
                    <a:lnTo>
                      <a:pt x="422" y="443"/>
                    </a:lnTo>
                    <a:lnTo>
                      <a:pt x="422" y="443"/>
                    </a:lnTo>
                    <a:lnTo>
                      <a:pt x="414" y="433"/>
                    </a:lnTo>
                    <a:lnTo>
                      <a:pt x="414" y="433"/>
                    </a:lnTo>
                    <a:lnTo>
                      <a:pt x="412" y="430"/>
                    </a:lnTo>
                    <a:lnTo>
                      <a:pt x="410" y="428"/>
                    </a:lnTo>
                    <a:lnTo>
                      <a:pt x="410" y="428"/>
                    </a:lnTo>
                    <a:lnTo>
                      <a:pt x="409" y="428"/>
                    </a:lnTo>
                    <a:lnTo>
                      <a:pt x="409" y="428"/>
                    </a:lnTo>
                    <a:lnTo>
                      <a:pt x="407" y="428"/>
                    </a:lnTo>
                    <a:lnTo>
                      <a:pt x="407" y="428"/>
                    </a:lnTo>
                    <a:lnTo>
                      <a:pt x="406" y="430"/>
                    </a:lnTo>
                    <a:lnTo>
                      <a:pt x="406" y="430"/>
                    </a:lnTo>
                    <a:lnTo>
                      <a:pt x="404" y="431"/>
                    </a:lnTo>
                    <a:lnTo>
                      <a:pt x="404" y="431"/>
                    </a:lnTo>
                    <a:lnTo>
                      <a:pt x="403" y="431"/>
                    </a:lnTo>
                    <a:lnTo>
                      <a:pt x="403" y="431"/>
                    </a:lnTo>
                    <a:lnTo>
                      <a:pt x="400" y="431"/>
                    </a:lnTo>
                    <a:lnTo>
                      <a:pt x="400" y="431"/>
                    </a:lnTo>
                    <a:lnTo>
                      <a:pt x="397" y="431"/>
                    </a:lnTo>
                    <a:lnTo>
                      <a:pt x="397" y="433"/>
                    </a:lnTo>
                    <a:lnTo>
                      <a:pt x="397" y="431"/>
                    </a:lnTo>
                    <a:lnTo>
                      <a:pt x="397" y="433"/>
                    </a:lnTo>
                    <a:lnTo>
                      <a:pt x="399" y="431"/>
                    </a:lnTo>
                    <a:lnTo>
                      <a:pt x="397" y="431"/>
                    </a:lnTo>
                    <a:lnTo>
                      <a:pt x="397" y="433"/>
                    </a:lnTo>
                    <a:lnTo>
                      <a:pt x="399" y="431"/>
                    </a:lnTo>
                    <a:lnTo>
                      <a:pt x="397" y="433"/>
                    </a:lnTo>
                    <a:lnTo>
                      <a:pt x="399" y="433"/>
                    </a:lnTo>
                    <a:lnTo>
                      <a:pt x="399" y="433"/>
                    </a:lnTo>
                    <a:lnTo>
                      <a:pt x="399" y="431"/>
                    </a:lnTo>
                    <a:lnTo>
                      <a:pt x="397" y="433"/>
                    </a:lnTo>
                    <a:lnTo>
                      <a:pt x="399" y="433"/>
                    </a:lnTo>
                    <a:lnTo>
                      <a:pt x="397" y="433"/>
                    </a:lnTo>
                    <a:lnTo>
                      <a:pt x="399" y="434"/>
                    </a:lnTo>
                    <a:lnTo>
                      <a:pt x="399" y="434"/>
                    </a:lnTo>
                    <a:lnTo>
                      <a:pt x="399" y="433"/>
                    </a:lnTo>
                    <a:lnTo>
                      <a:pt x="397" y="433"/>
                    </a:lnTo>
                    <a:lnTo>
                      <a:pt x="399" y="434"/>
                    </a:lnTo>
                    <a:lnTo>
                      <a:pt x="399" y="434"/>
                    </a:lnTo>
                    <a:lnTo>
                      <a:pt x="399" y="434"/>
                    </a:lnTo>
                    <a:lnTo>
                      <a:pt x="399" y="434"/>
                    </a:lnTo>
                    <a:lnTo>
                      <a:pt x="399" y="434"/>
                    </a:lnTo>
                    <a:lnTo>
                      <a:pt x="399" y="434"/>
                    </a:lnTo>
                    <a:lnTo>
                      <a:pt x="399" y="434"/>
                    </a:lnTo>
                    <a:lnTo>
                      <a:pt x="400" y="433"/>
                    </a:lnTo>
                    <a:lnTo>
                      <a:pt x="400" y="433"/>
                    </a:lnTo>
                    <a:lnTo>
                      <a:pt x="403" y="430"/>
                    </a:lnTo>
                    <a:lnTo>
                      <a:pt x="403" y="430"/>
                    </a:lnTo>
                    <a:lnTo>
                      <a:pt x="406" y="428"/>
                    </a:lnTo>
                    <a:lnTo>
                      <a:pt x="406" y="428"/>
                    </a:lnTo>
                    <a:lnTo>
                      <a:pt x="406" y="425"/>
                    </a:lnTo>
                    <a:lnTo>
                      <a:pt x="406" y="425"/>
                    </a:lnTo>
                    <a:lnTo>
                      <a:pt x="406" y="423"/>
                    </a:lnTo>
                    <a:lnTo>
                      <a:pt x="406" y="423"/>
                    </a:lnTo>
                    <a:lnTo>
                      <a:pt x="403" y="415"/>
                    </a:lnTo>
                    <a:lnTo>
                      <a:pt x="403" y="415"/>
                    </a:lnTo>
                    <a:lnTo>
                      <a:pt x="401" y="408"/>
                    </a:lnTo>
                    <a:lnTo>
                      <a:pt x="401" y="408"/>
                    </a:lnTo>
                    <a:lnTo>
                      <a:pt x="400" y="407"/>
                    </a:lnTo>
                    <a:lnTo>
                      <a:pt x="400" y="407"/>
                    </a:lnTo>
                    <a:lnTo>
                      <a:pt x="399" y="405"/>
                    </a:lnTo>
                    <a:lnTo>
                      <a:pt x="399" y="405"/>
                    </a:lnTo>
                    <a:lnTo>
                      <a:pt x="396" y="407"/>
                    </a:lnTo>
                    <a:lnTo>
                      <a:pt x="396" y="407"/>
                    </a:lnTo>
                    <a:lnTo>
                      <a:pt x="394" y="408"/>
                    </a:lnTo>
                    <a:lnTo>
                      <a:pt x="394" y="408"/>
                    </a:lnTo>
                    <a:lnTo>
                      <a:pt x="390" y="415"/>
                    </a:lnTo>
                    <a:lnTo>
                      <a:pt x="390" y="415"/>
                    </a:lnTo>
                    <a:lnTo>
                      <a:pt x="387" y="420"/>
                    </a:lnTo>
                    <a:lnTo>
                      <a:pt x="387" y="420"/>
                    </a:lnTo>
                    <a:lnTo>
                      <a:pt x="381" y="423"/>
                    </a:lnTo>
                    <a:lnTo>
                      <a:pt x="381" y="423"/>
                    </a:lnTo>
                    <a:lnTo>
                      <a:pt x="381" y="423"/>
                    </a:lnTo>
                    <a:lnTo>
                      <a:pt x="380" y="423"/>
                    </a:lnTo>
                    <a:lnTo>
                      <a:pt x="380" y="423"/>
                    </a:lnTo>
                    <a:lnTo>
                      <a:pt x="380" y="423"/>
                    </a:lnTo>
                    <a:lnTo>
                      <a:pt x="380" y="423"/>
                    </a:lnTo>
                    <a:lnTo>
                      <a:pt x="380" y="423"/>
                    </a:lnTo>
                    <a:lnTo>
                      <a:pt x="380" y="423"/>
                    </a:lnTo>
                    <a:lnTo>
                      <a:pt x="380" y="423"/>
                    </a:lnTo>
                    <a:lnTo>
                      <a:pt x="380" y="424"/>
                    </a:lnTo>
                    <a:lnTo>
                      <a:pt x="381" y="423"/>
                    </a:lnTo>
                    <a:lnTo>
                      <a:pt x="380" y="423"/>
                    </a:lnTo>
                    <a:lnTo>
                      <a:pt x="380" y="424"/>
                    </a:lnTo>
                    <a:lnTo>
                      <a:pt x="381" y="423"/>
                    </a:lnTo>
                    <a:lnTo>
                      <a:pt x="380" y="424"/>
                    </a:lnTo>
                    <a:lnTo>
                      <a:pt x="381" y="424"/>
                    </a:lnTo>
                    <a:lnTo>
                      <a:pt x="381" y="423"/>
                    </a:lnTo>
                    <a:lnTo>
                      <a:pt x="380" y="424"/>
                    </a:lnTo>
                    <a:lnTo>
                      <a:pt x="381" y="424"/>
                    </a:lnTo>
                    <a:lnTo>
                      <a:pt x="381" y="424"/>
                    </a:lnTo>
                    <a:lnTo>
                      <a:pt x="381" y="424"/>
                    </a:lnTo>
                    <a:lnTo>
                      <a:pt x="381" y="424"/>
                    </a:lnTo>
                    <a:lnTo>
                      <a:pt x="381" y="424"/>
                    </a:lnTo>
                    <a:lnTo>
                      <a:pt x="381" y="423"/>
                    </a:lnTo>
                    <a:lnTo>
                      <a:pt x="381" y="423"/>
                    </a:lnTo>
                    <a:lnTo>
                      <a:pt x="383" y="421"/>
                    </a:lnTo>
                    <a:lnTo>
                      <a:pt x="383" y="421"/>
                    </a:lnTo>
                    <a:lnTo>
                      <a:pt x="387" y="418"/>
                    </a:lnTo>
                    <a:lnTo>
                      <a:pt x="387" y="418"/>
                    </a:lnTo>
                    <a:lnTo>
                      <a:pt x="387" y="417"/>
                    </a:lnTo>
                    <a:lnTo>
                      <a:pt x="387" y="417"/>
                    </a:lnTo>
                    <a:lnTo>
                      <a:pt x="388" y="415"/>
                    </a:lnTo>
                    <a:lnTo>
                      <a:pt x="388" y="415"/>
                    </a:lnTo>
                    <a:lnTo>
                      <a:pt x="390" y="405"/>
                    </a:lnTo>
                    <a:lnTo>
                      <a:pt x="390" y="405"/>
                    </a:lnTo>
                    <a:lnTo>
                      <a:pt x="391" y="399"/>
                    </a:lnTo>
                    <a:lnTo>
                      <a:pt x="391" y="399"/>
                    </a:lnTo>
                    <a:lnTo>
                      <a:pt x="393" y="397"/>
                    </a:lnTo>
                    <a:lnTo>
                      <a:pt x="393" y="397"/>
                    </a:lnTo>
                    <a:lnTo>
                      <a:pt x="394" y="392"/>
                    </a:lnTo>
                    <a:lnTo>
                      <a:pt x="396" y="388"/>
                    </a:lnTo>
                    <a:lnTo>
                      <a:pt x="396" y="388"/>
                    </a:lnTo>
                    <a:lnTo>
                      <a:pt x="396" y="385"/>
                    </a:lnTo>
                    <a:lnTo>
                      <a:pt x="396" y="385"/>
                    </a:lnTo>
                    <a:lnTo>
                      <a:pt x="394" y="382"/>
                    </a:lnTo>
                    <a:lnTo>
                      <a:pt x="394" y="382"/>
                    </a:lnTo>
                    <a:lnTo>
                      <a:pt x="394" y="382"/>
                    </a:lnTo>
                    <a:lnTo>
                      <a:pt x="393" y="381"/>
                    </a:lnTo>
                    <a:lnTo>
                      <a:pt x="393" y="381"/>
                    </a:lnTo>
                    <a:lnTo>
                      <a:pt x="391" y="381"/>
                    </a:lnTo>
                    <a:lnTo>
                      <a:pt x="391" y="381"/>
                    </a:lnTo>
                    <a:lnTo>
                      <a:pt x="390" y="381"/>
                    </a:lnTo>
                    <a:lnTo>
                      <a:pt x="390" y="381"/>
                    </a:lnTo>
                    <a:lnTo>
                      <a:pt x="386" y="383"/>
                    </a:lnTo>
                    <a:lnTo>
                      <a:pt x="386" y="383"/>
                    </a:lnTo>
                    <a:lnTo>
                      <a:pt x="384" y="386"/>
                    </a:lnTo>
                    <a:lnTo>
                      <a:pt x="384" y="386"/>
                    </a:lnTo>
                    <a:lnTo>
                      <a:pt x="383" y="389"/>
                    </a:lnTo>
                    <a:lnTo>
                      <a:pt x="383" y="389"/>
                    </a:lnTo>
                    <a:lnTo>
                      <a:pt x="381" y="391"/>
                    </a:lnTo>
                    <a:lnTo>
                      <a:pt x="381" y="391"/>
                    </a:lnTo>
                    <a:lnTo>
                      <a:pt x="380" y="392"/>
                    </a:lnTo>
                    <a:lnTo>
                      <a:pt x="377" y="392"/>
                    </a:lnTo>
                    <a:lnTo>
                      <a:pt x="377" y="392"/>
                    </a:lnTo>
                    <a:lnTo>
                      <a:pt x="372" y="394"/>
                    </a:lnTo>
                    <a:lnTo>
                      <a:pt x="371" y="395"/>
                    </a:lnTo>
                    <a:lnTo>
                      <a:pt x="371" y="395"/>
                    </a:lnTo>
                    <a:lnTo>
                      <a:pt x="368" y="399"/>
                    </a:lnTo>
                    <a:lnTo>
                      <a:pt x="367" y="404"/>
                    </a:lnTo>
                    <a:lnTo>
                      <a:pt x="367" y="404"/>
                    </a:lnTo>
                    <a:lnTo>
                      <a:pt x="364" y="410"/>
                    </a:lnTo>
                    <a:lnTo>
                      <a:pt x="364" y="410"/>
                    </a:lnTo>
                    <a:lnTo>
                      <a:pt x="361" y="411"/>
                    </a:lnTo>
                    <a:lnTo>
                      <a:pt x="361" y="411"/>
                    </a:lnTo>
                    <a:lnTo>
                      <a:pt x="361" y="414"/>
                    </a:lnTo>
                    <a:lnTo>
                      <a:pt x="361" y="414"/>
                    </a:lnTo>
                    <a:lnTo>
                      <a:pt x="361" y="417"/>
                    </a:lnTo>
                    <a:lnTo>
                      <a:pt x="361" y="417"/>
                    </a:lnTo>
                    <a:lnTo>
                      <a:pt x="361" y="418"/>
                    </a:lnTo>
                    <a:lnTo>
                      <a:pt x="361" y="418"/>
                    </a:lnTo>
                    <a:lnTo>
                      <a:pt x="362" y="418"/>
                    </a:lnTo>
                    <a:lnTo>
                      <a:pt x="362" y="418"/>
                    </a:lnTo>
                    <a:lnTo>
                      <a:pt x="361" y="418"/>
                    </a:lnTo>
                    <a:lnTo>
                      <a:pt x="362" y="418"/>
                    </a:lnTo>
                    <a:lnTo>
                      <a:pt x="362" y="418"/>
                    </a:lnTo>
                    <a:lnTo>
                      <a:pt x="362" y="418"/>
                    </a:lnTo>
                    <a:lnTo>
                      <a:pt x="362" y="418"/>
                    </a:lnTo>
                    <a:lnTo>
                      <a:pt x="362" y="418"/>
                    </a:lnTo>
                    <a:lnTo>
                      <a:pt x="362" y="418"/>
                    </a:lnTo>
                    <a:lnTo>
                      <a:pt x="362" y="418"/>
                    </a:lnTo>
                    <a:lnTo>
                      <a:pt x="362" y="418"/>
                    </a:lnTo>
                    <a:lnTo>
                      <a:pt x="362" y="418"/>
                    </a:lnTo>
                    <a:lnTo>
                      <a:pt x="362" y="418"/>
                    </a:lnTo>
                    <a:lnTo>
                      <a:pt x="362" y="418"/>
                    </a:lnTo>
                    <a:lnTo>
                      <a:pt x="362" y="418"/>
                    </a:lnTo>
                    <a:lnTo>
                      <a:pt x="362" y="418"/>
                    </a:lnTo>
                    <a:lnTo>
                      <a:pt x="361" y="417"/>
                    </a:lnTo>
                    <a:lnTo>
                      <a:pt x="361" y="417"/>
                    </a:lnTo>
                    <a:lnTo>
                      <a:pt x="357" y="414"/>
                    </a:lnTo>
                    <a:lnTo>
                      <a:pt x="357" y="414"/>
                    </a:lnTo>
                    <a:lnTo>
                      <a:pt x="354" y="410"/>
                    </a:lnTo>
                    <a:lnTo>
                      <a:pt x="354" y="410"/>
                    </a:lnTo>
                    <a:lnTo>
                      <a:pt x="352" y="404"/>
                    </a:lnTo>
                    <a:lnTo>
                      <a:pt x="352" y="404"/>
                    </a:lnTo>
                    <a:lnTo>
                      <a:pt x="351" y="401"/>
                    </a:lnTo>
                    <a:lnTo>
                      <a:pt x="351" y="401"/>
                    </a:lnTo>
                    <a:lnTo>
                      <a:pt x="348" y="395"/>
                    </a:lnTo>
                    <a:lnTo>
                      <a:pt x="348" y="395"/>
                    </a:lnTo>
                    <a:lnTo>
                      <a:pt x="345" y="389"/>
                    </a:lnTo>
                    <a:lnTo>
                      <a:pt x="345" y="389"/>
                    </a:lnTo>
                    <a:lnTo>
                      <a:pt x="345" y="386"/>
                    </a:lnTo>
                    <a:lnTo>
                      <a:pt x="344" y="385"/>
                    </a:lnTo>
                    <a:lnTo>
                      <a:pt x="344" y="385"/>
                    </a:lnTo>
                    <a:lnTo>
                      <a:pt x="341" y="383"/>
                    </a:lnTo>
                    <a:lnTo>
                      <a:pt x="341" y="383"/>
                    </a:lnTo>
                    <a:lnTo>
                      <a:pt x="338" y="382"/>
                    </a:lnTo>
                    <a:lnTo>
                      <a:pt x="338" y="382"/>
                    </a:lnTo>
                    <a:lnTo>
                      <a:pt x="338" y="382"/>
                    </a:lnTo>
                    <a:lnTo>
                      <a:pt x="338" y="381"/>
                    </a:lnTo>
                    <a:lnTo>
                      <a:pt x="338" y="381"/>
                    </a:lnTo>
                    <a:lnTo>
                      <a:pt x="338" y="381"/>
                    </a:lnTo>
                    <a:lnTo>
                      <a:pt x="338" y="381"/>
                    </a:lnTo>
                    <a:lnTo>
                      <a:pt x="339" y="379"/>
                    </a:lnTo>
                    <a:lnTo>
                      <a:pt x="339" y="379"/>
                    </a:lnTo>
                    <a:lnTo>
                      <a:pt x="339" y="376"/>
                    </a:lnTo>
                    <a:lnTo>
                      <a:pt x="339" y="376"/>
                    </a:lnTo>
                    <a:lnTo>
                      <a:pt x="339" y="376"/>
                    </a:lnTo>
                    <a:lnTo>
                      <a:pt x="338" y="373"/>
                    </a:lnTo>
                    <a:lnTo>
                      <a:pt x="338" y="373"/>
                    </a:lnTo>
                    <a:lnTo>
                      <a:pt x="335" y="372"/>
                    </a:lnTo>
                    <a:lnTo>
                      <a:pt x="335" y="372"/>
                    </a:lnTo>
                    <a:lnTo>
                      <a:pt x="316" y="370"/>
                    </a:lnTo>
                    <a:lnTo>
                      <a:pt x="316" y="370"/>
                    </a:lnTo>
                    <a:lnTo>
                      <a:pt x="310" y="369"/>
                    </a:lnTo>
                    <a:lnTo>
                      <a:pt x="306" y="366"/>
                    </a:lnTo>
                    <a:lnTo>
                      <a:pt x="306" y="366"/>
                    </a:lnTo>
                    <a:lnTo>
                      <a:pt x="299" y="360"/>
                    </a:lnTo>
                    <a:lnTo>
                      <a:pt x="299" y="360"/>
                    </a:lnTo>
                    <a:lnTo>
                      <a:pt x="296" y="359"/>
                    </a:lnTo>
                    <a:lnTo>
                      <a:pt x="291" y="359"/>
                    </a:lnTo>
                    <a:lnTo>
                      <a:pt x="291" y="359"/>
                    </a:lnTo>
                    <a:lnTo>
                      <a:pt x="284" y="360"/>
                    </a:lnTo>
                    <a:lnTo>
                      <a:pt x="277" y="362"/>
                    </a:lnTo>
                    <a:lnTo>
                      <a:pt x="277" y="362"/>
                    </a:lnTo>
                    <a:lnTo>
                      <a:pt x="258" y="366"/>
                    </a:lnTo>
                    <a:lnTo>
                      <a:pt x="248" y="369"/>
                    </a:lnTo>
                    <a:lnTo>
                      <a:pt x="239" y="373"/>
                    </a:lnTo>
                    <a:lnTo>
                      <a:pt x="239" y="373"/>
                    </a:lnTo>
                    <a:lnTo>
                      <a:pt x="232" y="376"/>
                    </a:lnTo>
                    <a:lnTo>
                      <a:pt x="232" y="376"/>
                    </a:lnTo>
                    <a:lnTo>
                      <a:pt x="226" y="376"/>
                    </a:lnTo>
                    <a:lnTo>
                      <a:pt x="226" y="376"/>
                    </a:lnTo>
                    <a:lnTo>
                      <a:pt x="215" y="376"/>
                    </a:lnTo>
                    <a:lnTo>
                      <a:pt x="215" y="376"/>
                    </a:lnTo>
                    <a:lnTo>
                      <a:pt x="196" y="376"/>
                    </a:lnTo>
                    <a:lnTo>
                      <a:pt x="196" y="376"/>
                    </a:lnTo>
                    <a:lnTo>
                      <a:pt x="184" y="376"/>
                    </a:lnTo>
                    <a:lnTo>
                      <a:pt x="176" y="378"/>
                    </a:lnTo>
                    <a:lnTo>
                      <a:pt x="176" y="378"/>
                    </a:lnTo>
                    <a:lnTo>
                      <a:pt x="173" y="379"/>
                    </a:lnTo>
                    <a:lnTo>
                      <a:pt x="170" y="381"/>
                    </a:lnTo>
                    <a:lnTo>
                      <a:pt x="170" y="381"/>
                    </a:lnTo>
                    <a:lnTo>
                      <a:pt x="167" y="386"/>
                    </a:lnTo>
                    <a:lnTo>
                      <a:pt x="165" y="391"/>
                    </a:lnTo>
                    <a:lnTo>
                      <a:pt x="165" y="391"/>
                    </a:lnTo>
                    <a:lnTo>
                      <a:pt x="161" y="397"/>
                    </a:lnTo>
                    <a:lnTo>
                      <a:pt x="161" y="397"/>
                    </a:lnTo>
                    <a:lnTo>
                      <a:pt x="160" y="398"/>
                    </a:lnTo>
                    <a:lnTo>
                      <a:pt x="160" y="398"/>
                    </a:lnTo>
                    <a:lnTo>
                      <a:pt x="158" y="397"/>
                    </a:lnTo>
                    <a:lnTo>
                      <a:pt x="158" y="397"/>
                    </a:lnTo>
                    <a:lnTo>
                      <a:pt x="155" y="395"/>
                    </a:lnTo>
                    <a:lnTo>
                      <a:pt x="155" y="395"/>
                    </a:lnTo>
                    <a:lnTo>
                      <a:pt x="154" y="394"/>
                    </a:lnTo>
                    <a:lnTo>
                      <a:pt x="154" y="394"/>
                    </a:lnTo>
                    <a:lnTo>
                      <a:pt x="152" y="392"/>
                    </a:lnTo>
                    <a:lnTo>
                      <a:pt x="152" y="392"/>
                    </a:lnTo>
                    <a:lnTo>
                      <a:pt x="149" y="394"/>
                    </a:lnTo>
                    <a:lnTo>
                      <a:pt x="149" y="394"/>
                    </a:lnTo>
                    <a:lnTo>
                      <a:pt x="147" y="395"/>
                    </a:lnTo>
                    <a:lnTo>
                      <a:pt x="147" y="395"/>
                    </a:lnTo>
                    <a:lnTo>
                      <a:pt x="145" y="397"/>
                    </a:lnTo>
                    <a:lnTo>
                      <a:pt x="145" y="397"/>
                    </a:lnTo>
                    <a:lnTo>
                      <a:pt x="142" y="398"/>
                    </a:lnTo>
                    <a:lnTo>
                      <a:pt x="142" y="398"/>
                    </a:lnTo>
                    <a:lnTo>
                      <a:pt x="138" y="398"/>
                    </a:lnTo>
                    <a:lnTo>
                      <a:pt x="134" y="395"/>
                    </a:lnTo>
                    <a:lnTo>
                      <a:pt x="134" y="395"/>
                    </a:lnTo>
                    <a:lnTo>
                      <a:pt x="129" y="395"/>
                    </a:lnTo>
                    <a:lnTo>
                      <a:pt x="125" y="395"/>
                    </a:lnTo>
                    <a:lnTo>
                      <a:pt x="125" y="395"/>
                    </a:lnTo>
                    <a:lnTo>
                      <a:pt x="115" y="395"/>
                    </a:lnTo>
                    <a:lnTo>
                      <a:pt x="106" y="397"/>
                    </a:lnTo>
                    <a:lnTo>
                      <a:pt x="106" y="397"/>
                    </a:lnTo>
                    <a:lnTo>
                      <a:pt x="102" y="398"/>
                    </a:lnTo>
                    <a:lnTo>
                      <a:pt x="102" y="398"/>
                    </a:lnTo>
                    <a:lnTo>
                      <a:pt x="94" y="404"/>
                    </a:lnTo>
                    <a:lnTo>
                      <a:pt x="94" y="404"/>
                    </a:lnTo>
                    <a:lnTo>
                      <a:pt x="89" y="407"/>
                    </a:lnTo>
                    <a:lnTo>
                      <a:pt x="89" y="407"/>
                    </a:lnTo>
                    <a:lnTo>
                      <a:pt x="77" y="412"/>
                    </a:lnTo>
                    <a:lnTo>
                      <a:pt x="77" y="412"/>
                    </a:lnTo>
                    <a:lnTo>
                      <a:pt x="67" y="418"/>
                    </a:lnTo>
                    <a:lnTo>
                      <a:pt x="67" y="418"/>
                    </a:lnTo>
                    <a:lnTo>
                      <a:pt x="63" y="420"/>
                    </a:lnTo>
                    <a:lnTo>
                      <a:pt x="63" y="420"/>
                    </a:lnTo>
                    <a:lnTo>
                      <a:pt x="55" y="418"/>
                    </a:lnTo>
                    <a:lnTo>
                      <a:pt x="48" y="415"/>
                    </a:lnTo>
                    <a:lnTo>
                      <a:pt x="48" y="415"/>
                    </a:lnTo>
                    <a:lnTo>
                      <a:pt x="41" y="408"/>
                    </a:lnTo>
                    <a:lnTo>
                      <a:pt x="41" y="408"/>
                    </a:lnTo>
                    <a:lnTo>
                      <a:pt x="36" y="405"/>
                    </a:lnTo>
                    <a:lnTo>
                      <a:pt x="32" y="404"/>
                    </a:lnTo>
                    <a:lnTo>
                      <a:pt x="32" y="404"/>
                    </a:lnTo>
                    <a:lnTo>
                      <a:pt x="31" y="402"/>
                    </a:lnTo>
                    <a:lnTo>
                      <a:pt x="29" y="401"/>
                    </a:lnTo>
                    <a:lnTo>
                      <a:pt x="29" y="401"/>
                    </a:lnTo>
                    <a:lnTo>
                      <a:pt x="28" y="397"/>
                    </a:lnTo>
                    <a:lnTo>
                      <a:pt x="28" y="397"/>
                    </a:lnTo>
                    <a:lnTo>
                      <a:pt x="28" y="395"/>
                    </a:lnTo>
                    <a:lnTo>
                      <a:pt x="28" y="395"/>
                    </a:lnTo>
                    <a:lnTo>
                      <a:pt x="29" y="394"/>
                    </a:lnTo>
                    <a:lnTo>
                      <a:pt x="29" y="394"/>
                    </a:lnTo>
                    <a:lnTo>
                      <a:pt x="34" y="392"/>
                    </a:lnTo>
                    <a:lnTo>
                      <a:pt x="34" y="392"/>
                    </a:lnTo>
                    <a:lnTo>
                      <a:pt x="36" y="389"/>
                    </a:lnTo>
                    <a:lnTo>
                      <a:pt x="36" y="389"/>
                    </a:lnTo>
                    <a:lnTo>
                      <a:pt x="38" y="382"/>
                    </a:lnTo>
                    <a:lnTo>
                      <a:pt x="38" y="382"/>
                    </a:lnTo>
                    <a:lnTo>
                      <a:pt x="39" y="376"/>
                    </a:lnTo>
                    <a:lnTo>
                      <a:pt x="39" y="376"/>
                    </a:lnTo>
                    <a:lnTo>
                      <a:pt x="41" y="375"/>
                    </a:lnTo>
                    <a:lnTo>
                      <a:pt x="39" y="373"/>
                    </a:lnTo>
                    <a:lnTo>
                      <a:pt x="39" y="375"/>
                    </a:lnTo>
                    <a:lnTo>
                      <a:pt x="39" y="375"/>
                    </a:lnTo>
                    <a:lnTo>
                      <a:pt x="41" y="375"/>
                    </a:lnTo>
                    <a:lnTo>
                      <a:pt x="39" y="373"/>
                    </a:lnTo>
                    <a:lnTo>
                      <a:pt x="39" y="375"/>
                    </a:lnTo>
                    <a:lnTo>
                      <a:pt x="39" y="373"/>
                    </a:lnTo>
                    <a:lnTo>
                      <a:pt x="39" y="375"/>
                    </a:lnTo>
                    <a:lnTo>
                      <a:pt x="39" y="375"/>
                    </a:lnTo>
                    <a:lnTo>
                      <a:pt x="39" y="373"/>
                    </a:lnTo>
                    <a:lnTo>
                      <a:pt x="39" y="375"/>
                    </a:lnTo>
                    <a:lnTo>
                      <a:pt x="39" y="373"/>
                    </a:lnTo>
                    <a:lnTo>
                      <a:pt x="39" y="375"/>
                    </a:lnTo>
                    <a:lnTo>
                      <a:pt x="39" y="375"/>
                    </a:lnTo>
                    <a:lnTo>
                      <a:pt x="39" y="373"/>
                    </a:lnTo>
                    <a:lnTo>
                      <a:pt x="39" y="375"/>
                    </a:lnTo>
                    <a:lnTo>
                      <a:pt x="39" y="375"/>
                    </a:lnTo>
                    <a:lnTo>
                      <a:pt x="39" y="375"/>
                    </a:lnTo>
                    <a:lnTo>
                      <a:pt x="39" y="376"/>
                    </a:lnTo>
                    <a:lnTo>
                      <a:pt x="39" y="376"/>
                    </a:lnTo>
                    <a:lnTo>
                      <a:pt x="42" y="379"/>
                    </a:lnTo>
                    <a:lnTo>
                      <a:pt x="42" y="379"/>
                    </a:lnTo>
                    <a:lnTo>
                      <a:pt x="44" y="379"/>
                    </a:lnTo>
                    <a:lnTo>
                      <a:pt x="44" y="379"/>
                    </a:lnTo>
                    <a:lnTo>
                      <a:pt x="47" y="379"/>
                    </a:lnTo>
                    <a:lnTo>
                      <a:pt x="47" y="379"/>
                    </a:lnTo>
                    <a:lnTo>
                      <a:pt x="47" y="378"/>
                    </a:lnTo>
                    <a:lnTo>
                      <a:pt x="47" y="376"/>
                    </a:lnTo>
                    <a:lnTo>
                      <a:pt x="47" y="376"/>
                    </a:lnTo>
                    <a:lnTo>
                      <a:pt x="45" y="368"/>
                    </a:lnTo>
                    <a:lnTo>
                      <a:pt x="45" y="368"/>
                    </a:lnTo>
                    <a:lnTo>
                      <a:pt x="42" y="357"/>
                    </a:lnTo>
                    <a:lnTo>
                      <a:pt x="42" y="357"/>
                    </a:lnTo>
                    <a:lnTo>
                      <a:pt x="38" y="341"/>
                    </a:lnTo>
                    <a:lnTo>
                      <a:pt x="38" y="341"/>
                    </a:lnTo>
                    <a:lnTo>
                      <a:pt x="35" y="334"/>
                    </a:lnTo>
                    <a:lnTo>
                      <a:pt x="35" y="334"/>
                    </a:lnTo>
                    <a:lnTo>
                      <a:pt x="35" y="328"/>
                    </a:lnTo>
                    <a:lnTo>
                      <a:pt x="35" y="328"/>
                    </a:lnTo>
                    <a:lnTo>
                      <a:pt x="32" y="318"/>
                    </a:lnTo>
                    <a:lnTo>
                      <a:pt x="32" y="318"/>
                    </a:lnTo>
                    <a:lnTo>
                      <a:pt x="31" y="313"/>
                    </a:lnTo>
                    <a:lnTo>
                      <a:pt x="31" y="313"/>
                    </a:lnTo>
                    <a:lnTo>
                      <a:pt x="29" y="308"/>
                    </a:lnTo>
                    <a:lnTo>
                      <a:pt x="29" y="308"/>
                    </a:lnTo>
                    <a:lnTo>
                      <a:pt x="26" y="305"/>
                    </a:lnTo>
                    <a:lnTo>
                      <a:pt x="26" y="305"/>
                    </a:lnTo>
                    <a:lnTo>
                      <a:pt x="22" y="298"/>
                    </a:lnTo>
                    <a:lnTo>
                      <a:pt x="19" y="291"/>
                    </a:lnTo>
                    <a:lnTo>
                      <a:pt x="19" y="291"/>
                    </a:lnTo>
                    <a:lnTo>
                      <a:pt x="16" y="281"/>
                    </a:lnTo>
                    <a:lnTo>
                      <a:pt x="16" y="281"/>
                    </a:lnTo>
                    <a:lnTo>
                      <a:pt x="13" y="276"/>
                    </a:lnTo>
                    <a:lnTo>
                      <a:pt x="9" y="272"/>
                    </a:lnTo>
                    <a:lnTo>
                      <a:pt x="9" y="272"/>
                    </a:lnTo>
                    <a:lnTo>
                      <a:pt x="8" y="271"/>
                    </a:lnTo>
                    <a:lnTo>
                      <a:pt x="8" y="268"/>
                    </a:lnTo>
                    <a:lnTo>
                      <a:pt x="8" y="268"/>
                    </a:lnTo>
                    <a:lnTo>
                      <a:pt x="6" y="259"/>
                    </a:lnTo>
                    <a:lnTo>
                      <a:pt x="6" y="257"/>
                    </a:lnTo>
                    <a:lnTo>
                      <a:pt x="6" y="257"/>
                    </a:lnTo>
                    <a:lnTo>
                      <a:pt x="6" y="257"/>
                    </a:lnTo>
                    <a:lnTo>
                      <a:pt x="5" y="257"/>
                    </a:lnTo>
                    <a:lnTo>
                      <a:pt x="6" y="259"/>
                    </a:lnTo>
                    <a:lnTo>
                      <a:pt x="6" y="259"/>
                    </a:lnTo>
                    <a:lnTo>
                      <a:pt x="6" y="257"/>
                    </a:lnTo>
                    <a:lnTo>
                      <a:pt x="5" y="257"/>
                    </a:lnTo>
                    <a:lnTo>
                      <a:pt x="6" y="259"/>
                    </a:lnTo>
                    <a:lnTo>
                      <a:pt x="3" y="257"/>
                    </a:lnTo>
                    <a:lnTo>
                      <a:pt x="5" y="259"/>
                    </a:lnTo>
                    <a:lnTo>
                      <a:pt x="6" y="259"/>
                    </a:lnTo>
                    <a:lnTo>
                      <a:pt x="3" y="257"/>
                    </a:lnTo>
                    <a:lnTo>
                      <a:pt x="5" y="259"/>
                    </a:lnTo>
                    <a:lnTo>
                      <a:pt x="3" y="257"/>
                    </a:lnTo>
                    <a:lnTo>
                      <a:pt x="3" y="260"/>
                    </a:lnTo>
                    <a:lnTo>
                      <a:pt x="5" y="259"/>
                    </a:lnTo>
                    <a:lnTo>
                      <a:pt x="3" y="257"/>
                    </a:lnTo>
                    <a:lnTo>
                      <a:pt x="3" y="260"/>
                    </a:lnTo>
                    <a:lnTo>
                      <a:pt x="3" y="257"/>
                    </a:lnTo>
                    <a:lnTo>
                      <a:pt x="2" y="259"/>
                    </a:lnTo>
                    <a:lnTo>
                      <a:pt x="2" y="259"/>
                    </a:lnTo>
                    <a:lnTo>
                      <a:pt x="3" y="260"/>
                    </a:lnTo>
                    <a:lnTo>
                      <a:pt x="3" y="257"/>
                    </a:lnTo>
                    <a:lnTo>
                      <a:pt x="2" y="259"/>
                    </a:lnTo>
                    <a:lnTo>
                      <a:pt x="3" y="259"/>
                    </a:lnTo>
                    <a:lnTo>
                      <a:pt x="2" y="259"/>
                    </a:lnTo>
                    <a:lnTo>
                      <a:pt x="2" y="259"/>
                    </a:lnTo>
                    <a:lnTo>
                      <a:pt x="3" y="259"/>
                    </a:lnTo>
                    <a:lnTo>
                      <a:pt x="2" y="259"/>
                    </a:lnTo>
                    <a:lnTo>
                      <a:pt x="2" y="259"/>
                    </a:lnTo>
                    <a:lnTo>
                      <a:pt x="3" y="260"/>
                    </a:lnTo>
                    <a:lnTo>
                      <a:pt x="3" y="260"/>
                    </a:lnTo>
                    <a:lnTo>
                      <a:pt x="6" y="263"/>
                    </a:lnTo>
                    <a:lnTo>
                      <a:pt x="6" y="263"/>
                    </a:lnTo>
                    <a:lnTo>
                      <a:pt x="8" y="263"/>
                    </a:lnTo>
                    <a:lnTo>
                      <a:pt x="8" y="263"/>
                    </a:lnTo>
                    <a:lnTo>
                      <a:pt x="10" y="263"/>
                    </a:lnTo>
                    <a:lnTo>
                      <a:pt x="10" y="263"/>
                    </a:lnTo>
                    <a:lnTo>
                      <a:pt x="12" y="260"/>
                    </a:lnTo>
                    <a:lnTo>
                      <a:pt x="12" y="260"/>
                    </a:lnTo>
                    <a:lnTo>
                      <a:pt x="12" y="259"/>
                    </a:lnTo>
                    <a:lnTo>
                      <a:pt x="12" y="259"/>
                    </a:lnTo>
                    <a:lnTo>
                      <a:pt x="10" y="256"/>
                    </a:lnTo>
                    <a:lnTo>
                      <a:pt x="10" y="256"/>
                    </a:lnTo>
                    <a:lnTo>
                      <a:pt x="10" y="255"/>
                    </a:lnTo>
                    <a:lnTo>
                      <a:pt x="9" y="255"/>
                    </a:lnTo>
                    <a:lnTo>
                      <a:pt x="10" y="255"/>
                    </a:lnTo>
                    <a:lnTo>
                      <a:pt x="10" y="255"/>
                    </a:lnTo>
                    <a:lnTo>
                      <a:pt x="10" y="255"/>
                    </a:lnTo>
                    <a:lnTo>
                      <a:pt x="9" y="255"/>
                    </a:lnTo>
                    <a:lnTo>
                      <a:pt x="10" y="255"/>
                    </a:lnTo>
                    <a:lnTo>
                      <a:pt x="9" y="253"/>
                    </a:lnTo>
                    <a:lnTo>
                      <a:pt x="9" y="256"/>
                    </a:lnTo>
                    <a:lnTo>
                      <a:pt x="9" y="256"/>
                    </a:lnTo>
                    <a:lnTo>
                      <a:pt x="10" y="255"/>
                    </a:lnTo>
                    <a:lnTo>
                      <a:pt x="9" y="253"/>
                    </a:lnTo>
                    <a:lnTo>
                      <a:pt x="9" y="256"/>
                    </a:lnTo>
                    <a:lnTo>
                      <a:pt x="9" y="255"/>
                    </a:lnTo>
                    <a:lnTo>
                      <a:pt x="9" y="256"/>
                    </a:lnTo>
                    <a:lnTo>
                      <a:pt x="9" y="256"/>
                    </a:lnTo>
                    <a:lnTo>
                      <a:pt x="9" y="255"/>
                    </a:lnTo>
                    <a:lnTo>
                      <a:pt x="9" y="256"/>
                    </a:lnTo>
                    <a:lnTo>
                      <a:pt x="9" y="255"/>
                    </a:lnTo>
                    <a:lnTo>
                      <a:pt x="9" y="256"/>
                    </a:lnTo>
                    <a:lnTo>
                      <a:pt x="9" y="256"/>
                    </a:lnTo>
                    <a:lnTo>
                      <a:pt x="9" y="255"/>
                    </a:lnTo>
                    <a:lnTo>
                      <a:pt x="9" y="256"/>
                    </a:lnTo>
                    <a:lnTo>
                      <a:pt x="9" y="256"/>
                    </a:lnTo>
                    <a:lnTo>
                      <a:pt x="10" y="257"/>
                    </a:lnTo>
                    <a:lnTo>
                      <a:pt x="10" y="257"/>
                    </a:lnTo>
                    <a:lnTo>
                      <a:pt x="15" y="260"/>
                    </a:lnTo>
                    <a:lnTo>
                      <a:pt x="15" y="260"/>
                    </a:lnTo>
                    <a:lnTo>
                      <a:pt x="18" y="262"/>
                    </a:lnTo>
                    <a:lnTo>
                      <a:pt x="18" y="262"/>
                    </a:lnTo>
                    <a:lnTo>
                      <a:pt x="19" y="260"/>
                    </a:lnTo>
                    <a:lnTo>
                      <a:pt x="19" y="260"/>
                    </a:lnTo>
                    <a:lnTo>
                      <a:pt x="21" y="259"/>
                    </a:lnTo>
                    <a:lnTo>
                      <a:pt x="21" y="259"/>
                    </a:lnTo>
                    <a:lnTo>
                      <a:pt x="21" y="257"/>
                    </a:lnTo>
                    <a:lnTo>
                      <a:pt x="21" y="257"/>
                    </a:lnTo>
                    <a:lnTo>
                      <a:pt x="21" y="255"/>
                    </a:lnTo>
                    <a:lnTo>
                      <a:pt x="21" y="255"/>
                    </a:lnTo>
                    <a:lnTo>
                      <a:pt x="15" y="244"/>
                    </a:lnTo>
                    <a:lnTo>
                      <a:pt x="15" y="244"/>
                    </a:lnTo>
                    <a:lnTo>
                      <a:pt x="13" y="240"/>
                    </a:lnTo>
                    <a:lnTo>
                      <a:pt x="13" y="240"/>
                    </a:lnTo>
                    <a:lnTo>
                      <a:pt x="12" y="234"/>
                    </a:lnTo>
                    <a:lnTo>
                      <a:pt x="12" y="233"/>
                    </a:lnTo>
                    <a:lnTo>
                      <a:pt x="12" y="233"/>
                    </a:lnTo>
                    <a:lnTo>
                      <a:pt x="13" y="230"/>
                    </a:lnTo>
                    <a:lnTo>
                      <a:pt x="13" y="229"/>
                    </a:lnTo>
                    <a:lnTo>
                      <a:pt x="13" y="229"/>
                    </a:lnTo>
                    <a:lnTo>
                      <a:pt x="15" y="226"/>
                    </a:lnTo>
                    <a:lnTo>
                      <a:pt x="15" y="226"/>
                    </a:lnTo>
                    <a:lnTo>
                      <a:pt x="16" y="224"/>
                    </a:lnTo>
                    <a:lnTo>
                      <a:pt x="16" y="224"/>
                    </a:lnTo>
                    <a:lnTo>
                      <a:pt x="16" y="224"/>
                    </a:lnTo>
                    <a:lnTo>
                      <a:pt x="16" y="223"/>
                    </a:lnTo>
                    <a:lnTo>
                      <a:pt x="16" y="223"/>
                    </a:lnTo>
                    <a:lnTo>
                      <a:pt x="16" y="221"/>
                    </a:lnTo>
                    <a:lnTo>
                      <a:pt x="16" y="221"/>
                    </a:lnTo>
                    <a:lnTo>
                      <a:pt x="13" y="220"/>
                    </a:lnTo>
                    <a:lnTo>
                      <a:pt x="13" y="220"/>
                    </a:lnTo>
                    <a:lnTo>
                      <a:pt x="12" y="221"/>
                    </a:lnTo>
                    <a:lnTo>
                      <a:pt x="12" y="221"/>
                    </a:lnTo>
                    <a:lnTo>
                      <a:pt x="12" y="221"/>
                    </a:lnTo>
                    <a:lnTo>
                      <a:pt x="9" y="224"/>
                    </a:lnTo>
                    <a:lnTo>
                      <a:pt x="9" y="224"/>
                    </a:lnTo>
                    <a:lnTo>
                      <a:pt x="6" y="226"/>
                    </a:lnTo>
                    <a:lnTo>
                      <a:pt x="6" y="227"/>
                    </a:lnTo>
                    <a:lnTo>
                      <a:pt x="6" y="226"/>
                    </a:lnTo>
                    <a:lnTo>
                      <a:pt x="6" y="226"/>
                    </a:lnTo>
                    <a:lnTo>
                      <a:pt x="6" y="227"/>
                    </a:lnTo>
                    <a:lnTo>
                      <a:pt x="6" y="226"/>
                    </a:lnTo>
                    <a:lnTo>
                      <a:pt x="6" y="229"/>
                    </a:lnTo>
                    <a:lnTo>
                      <a:pt x="8" y="227"/>
                    </a:lnTo>
                    <a:lnTo>
                      <a:pt x="6" y="226"/>
                    </a:lnTo>
                    <a:lnTo>
                      <a:pt x="6" y="229"/>
                    </a:lnTo>
                    <a:lnTo>
                      <a:pt x="8" y="227"/>
                    </a:lnTo>
                    <a:lnTo>
                      <a:pt x="6" y="229"/>
                    </a:lnTo>
                    <a:lnTo>
                      <a:pt x="8" y="227"/>
                    </a:lnTo>
                    <a:lnTo>
                      <a:pt x="8" y="227"/>
                    </a:lnTo>
                    <a:lnTo>
                      <a:pt x="8" y="227"/>
                    </a:lnTo>
                    <a:lnTo>
                      <a:pt x="6" y="229"/>
                    </a:lnTo>
                    <a:lnTo>
                      <a:pt x="8" y="227"/>
                    </a:lnTo>
                    <a:lnTo>
                      <a:pt x="8" y="227"/>
                    </a:lnTo>
                    <a:lnTo>
                      <a:pt x="8" y="227"/>
                    </a:lnTo>
                    <a:lnTo>
                      <a:pt x="8" y="227"/>
                    </a:lnTo>
                    <a:lnTo>
                      <a:pt x="8" y="227"/>
                    </a:lnTo>
                    <a:lnTo>
                      <a:pt x="8" y="227"/>
                    </a:lnTo>
                    <a:lnTo>
                      <a:pt x="8" y="227"/>
                    </a:lnTo>
                    <a:lnTo>
                      <a:pt x="8" y="227"/>
                    </a:lnTo>
                    <a:lnTo>
                      <a:pt x="9" y="223"/>
                    </a:lnTo>
                    <a:lnTo>
                      <a:pt x="9" y="223"/>
                    </a:lnTo>
                    <a:lnTo>
                      <a:pt x="10" y="220"/>
                    </a:lnTo>
                    <a:lnTo>
                      <a:pt x="10" y="220"/>
                    </a:lnTo>
                    <a:lnTo>
                      <a:pt x="12" y="218"/>
                    </a:lnTo>
                    <a:lnTo>
                      <a:pt x="12" y="218"/>
                    </a:lnTo>
                    <a:lnTo>
                      <a:pt x="13" y="214"/>
                    </a:lnTo>
                    <a:lnTo>
                      <a:pt x="13" y="210"/>
                    </a:lnTo>
                    <a:lnTo>
                      <a:pt x="13" y="210"/>
                    </a:lnTo>
                    <a:lnTo>
                      <a:pt x="12" y="204"/>
                    </a:lnTo>
                    <a:lnTo>
                      <a:pt x="12" y="202"/>
                    </a:lnTo>
                    <a:lnTo>
                      <a:pt x="12" y="202"/>
                    </a:lnTo>
                    <a:lnTo>
                      <a:pt x="13" y="200"/>
                    </a:lnTo>
                    <a:lnTo>
                      <a:pt x="15" y="197"/>
                    </a:lnTo>
                    <a:lnTo>
                      <a:pt x="15" y="197"/>
                    </a:lnTo>
                    <a:lnTo>
                      <a:pt x="21" y="192"/>
                    </a:lnTo>
                    <a:lnTo>
                      <a:pt x="22" y="191"/>
                    </a:lnTo>
                    <a:lnTo>
                      <a:pt x="22" y="191"/>
                    </a:lnTo>
                    <a:lnTo>
                      <a:pt x="22" y="191"/>
                    </a:lnTo>
                    <a:lnTo>
                      <a:pt x="22" y="191"/>
                    </a:lnTo>
                    <a:lnTo>
                      <a:pt x="22" y="191"/>
                    </a:lnTo>
                    <a:lnTo>
                      <a:pt x="21" y="189"/>
                    </a:lnTo>
                    <a:lnTo>
                      <a:pt x="21" y="191"/>
                    </a:lnTo>
                    <a:lnTo>
                      <a:pt x="22" y="191"/>
                    </a:lnTo>
                    <a:lnTo>
                      <a:pt x="21" y="189"/>
                    </a:lnTo>
                    <a:lnTo>
                      <a:pt x="21" y="191"/>
                    </a:lnTo>
                    <a:lnTo>
                      <a:pt x="21" y="189"/>
                    </a:lnTo>
                    <a:lnTo>
                      <a:pt x="19" y="191"/>
                    </a:lnTo>
                    <a:lnTo>
                      <a:pt x="21" y="191"/>
                    </a:lnTo>
                    <a:lnTo>
                      <a:pt x="21" y="189"/>
                    </a:lnTo>
                    <a:lnTo>
                      <a:pt x="19" y="191"/>
                    </a:lnTo>
                    <a:lnTo>
                      <a:pt x="21" y="189"/>
                    </a:lnTo>
                    <a:lnTo>
                      <a:pt x="19" y="189"/>
                    </a:lnTo>
                    <a:lnTo>
                      <a:pt x="19" y="189"/>
                    </a:lnTo>
                    <a:lnTo>
                      <a:pt x="19" y="191"/>
                    </a:lnTo>
                    <a:lnTo>
                      <a:pt x="21" y="189"/>
                    </a:lnTo>
                    <a:lnTo>
                      <a:pt x="19" y="189"/>
                    </a:lnTo>
                    <a:lnTo>
                      <a:pt x="21" y="189"/>
                    </a:lnTo>
                    <a:lnTo>
                      <a:pt x="19" y="189"/>
                    </a:lnTo>
                    <a:lnTo>
                      <a:pt x="19" y="189"/>
                    </a:lnTo>
                    <a:lnTo>
                      <a:pt x="21" y="189"/>
                    </a:lnTo>
                    <a:lnTo>
                      <a:pt x="19" y="189"/>
                    </a:lnTo>
                    <a:lnTo>
                      <a:pt x="19" y="189"/>
                    </a:lnTo>
                    <a:lnTo>
                      <a:pt x="19" y="189"/>
                    </a:lnTo>
                    <a:lnTo>
                      <a:pt x="19" y="189"/>
                    </a:lnTo>
                    <a:lnTo>
                      <a:pt x="19" y="189"/>
                    </a:lnTo>
                    <a:lnTo>
                      <a:pt x="19" y="189"/>
                    </a:lnTo>
                    <a:lnTo>
                      <a:pt x="19" y="189"/>
                    </a:lnTo>
                    <a:lnTo>
                      <a:pt x="18" y="191"/>
                    </a:lnTo>
                    <a:lnTo>
                      <a:pt x="18" y="191"/>
                    </a:lnTo>
                    <a:lnTo>
                      <a:pt x="18" y="192"/>
                    </a:lnTo>
                    <a:lnTo>
                      <a:pt x="18" y="192"/>
                    </a:lnTo>
                    <a:lnTo>
                      <a:pt x="19" y="195"/>
                    </a:lnTo>
                    <a:lnTo>
                      <a:pt x="19" y="195"/>
                    </a:lnTo>
                    <a:lnTo>
                      <a:pt x="19" y="195"/>
                    </a:lnTo>
                    <a:lnTo>
                      <a:pt x="19" y="197"/>
                    </a:lnTo>
                    <a:lnTo>
                      <a:pt x="19" y="197"/>
                    </a:lnTo>
                    <a:lnTo>
                      <a:pt x="21" y="197"/>
                    </a:lnTo>
                    <a:lnTo>
                      <a:pt x="21" y="197"/>
                    </a:lnTo>
                    <a:lnTo>
                      <a:pt x="22" y="197"/>
                    </a:lnTo>
                    <a:lnTo>
                      <a:pt x="22" y="197"/>
                    </a:lnTo>
                    <a:lnTo>
                      <a:pt x="25" y="195"/>
                    </a:lnTo>
                    <a:lnTo>
                      <a:pt x="25" y="195"/>
                    </a:lnTo>
                    <a:lnTo>
                      <a:pt x="29" y="188"/>
                    </a:lnTo>
                    <a:lnTo>
                      <a:pt x="29" y="188"/>
                    </a:lnTo>
                    <a:lnTo>
                      <a:pt x="32" y="185"/>
                    </a:lnTo>
                    <a:lnTo>
                      <a:pt x="32" y="185"/>
                    </a:lnTo>
                    <a:lnTo>
                      <a:pt x="32" y="185"/>
                    </a:lnTo>
                    <a:lnTo>
                      <a:pt x="32" y="184"/>
                    </a:lnTo>
                    <a:lnTo>
                      <a:pt x="32" y="185"/>
                    </a:lnTo>
                    <a:lnTo>
                      <a:pt x="32" y="185"/>
                    </a:lnTo>
                    <a:lnTo>
                      <a:pt x="32" y="185"/>
                    </a:lnTo>
                    <a:lnTo>
                      <a:pt x="32" y="184"/>
                    </a:lnTo>
                    <a:lnTo>
                      <a:pt x="32" y="185"/>
                    </a:lnTo>
                    <a:lnTo>
                      <a:pt x="32" y="185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9" y="179"/>
                    </a:lnTo>
                    <a:lnTo>
                      <a:pt x="39" y="179"/>
                    </a:lnTo>
                    <a:lnTo>
                      <a:pt x="45" y="173"/>
                    </a:lnTo>
                    <a:lnTo>
                      <a:pt x="45" y="173"/>
                    </a:lnTo>
                    <a:lnTo>
                      <a:pt x="50" y="172"/>
                    </a:lnTo>
                    <a:lnTo>
                      <a:pt x="50" y="172"/>
                    </a:lnTo>
                    <a:lnTo>
                      <a:pt x="63" y="169"/>
                    </a:lnTo>
                    <a:lnTo>
                      <a:pt x="73" y="168"/>
                    </a:lnTo>
                    <a:lnTo>
                      <a:pt x="73" y="168"/>
                    </a:lnTo>
                    <a:lnTo>
                      <a:pt x="78" y="168"/>
                    </a:lnTo>
                    <a:lnTo>
                      <a:pt x="84" y="165"/>
                    </a:lnTo>
                    <a:lnTo>
                      <a:pt x="94" y="160"/>
                    </a:lnTo>
                    <a:lnTo>
                      <a:pt x="94" y="160"/>
                    </a:lnTo>
                    <a:lnTo>
                      <a:pt x="100" y="158"/>
                    </a:lnTo>
                    <a:lnTo>
                      <a:pt x="100" y="158"/>
                    </a:lnTo>
                    <a:lnTo>
                      <a:pt x="116" y="153"/>
                    </a:lnTo>
                    <a:lnTo>
                      <a:pt x="116" y="153"/>
                    </a:lnTo>
                    <a:lnTo>
                      <a:pt x="122" y="150"/>
                    </a:lnTo>
                    <a:lnTo>
                      <a:pt x="122" y="150"/>
                    </a:lnTo>
                    <a:lnTo>
                      <a:pt x="128" y="149"/>
                    </a:lnTo>
                    <a:lnTo>
                      <a:pt x="128" y="149"/>
                    </a:lnTo>
                    <a:lnTo>
                      <a:pt x="135" y="144"/>
                    </a:lnTo>
                    <a:lnTo>
                      <a:pt x="135" y="144"/>
                    </a:lnTo>
                    <a:lnTo>
                      <a:pt x="139" y="140"/>
                    </a:lnTo>
                    <a:lnTo>
                      <a:pt x="139" y="140"/>
                    </a:lnTo>
                    <a:lnTo>
                      <a:pt x="141" y="137"/>
                    </a:lnTo>
                    <a:lnTo>
                      <a:pt x="141" y="137"/>
                    </a:lnTo>
                    <a:lnTo>
                      <a:pt x="144" y="131"/>
                    </a:lnTo>
                    <a:lnTo>
                      <a:pt x="144" y="131"/>
                    </a:lnTo>
                    <a:lnTo>
                      <a:pt x="147" y="129"/>
                    </a:lnTo>
                    <a:lnTo>
                      <a:pt x="147" y="129"/>
                    </a:lnTo>
                    <a:lnTo>
                      <a:pt x="148" y="124"/>
                    </a:lnTo>
                    <a:lnTo>
                      <a:pt x="148" y="124"/>
                    </a:lnTo>
                    <a:lnTo>
                      <a:pt x="148" y="121"/>
                    </a:lnTo>
                    <a:lnTo>
                      <a:pt x="148" y="121"/>
                    </a:lnTo>
                    <a:lnTo>
                      <a:pt x="148" y="113"/>
                    </a:lnTo>
                    <a:lnTo>
                      <a:pt x="148" y="113"/>
                    </a:lnTo>
                    <a:lnTo>
                      <a:pt x="148" y="111"/>
                    </a:lnTo>
                    <a:lnTo>
                      <a:pt x="148" y="111"/>
                    </a:lnTo>
                    <a:lnTo>
                      <a:pt x="149" y="108"/>
                    </a:lnTo>
                    <a:lnTo>
                      <a:pt x="149" y="108"/>
                    </a:lnTo>
                    <a:lnTo>
                      <a:pt x="157" y="102"/>
                    </a:lnTo>
                    <a:lnTo>
                      <a:pt x="157" y="102"/>
                    </a:lnTo>
                    <a:lnTo>
                      <a:pt x="160" y="101"/>
                    </a:lnTo>
                    <a:lnTo>
                      <a:pt x="160" y="101"/>
                    </a:lnTo>
                    <a:lnTo>
                      <a:pt x="161" y="100"/>
                    </a:lnTo>
                    <a:lnTo>
                      <a:pt x="161" y="98"/>
                    </a:lnTo>
                    <a:lnTo>
                      <a:pt x="161" y="100"/>
                    </a:lnTo>
                    <a:lnTo>
                      <a:pt x="161" y="100"/>
                    </a:lnTo>
                    <a:lnTo>
                      <a:pt x="161" y="98"/>
                    </a:lnTo>
                    <a:lnTo>
                      <a:pt x="161" y="100"/>
                    </a:lnTo>
                    <a:lnTo>
                      <a:pt x="161" y="98"/>
                    </a:lnTo>
                    <a:lnTo>
                      <a:pt x="161" y="100"/>
                    </a:lnTo>
                    <a:lnTo>
                      <a:pt x="161" y="100"/>
                    </a:lnTo>
                    <a:lnTo>
                      <a:pt x="161" y="98"/>
                    </a:lnTo>
                    <a:lnTo>
                      <a:pt x="161" y="100"/>
                    </a:lnTo>
                    <a:lnTo>
                      <a:pt x="161" y="100"/>
                    </a:lnTo>
                    <a:lnTo>
                      <a:pt x="160" y="100"/>
                    </a:lnTo>
                    <a:lnTo>
                      <a:pt x="161" y="100"/>
                    </a:lnTo>
                    <a:lnTo>
                      <a:pt x="161" y="100"/>
                    </a:lnTo>
                    <a:lnTo>
                      <a:pt x="160" y="100"/>
                    </a:lnTo>
                    <a:lnTo>
                      <a:pt x="160" y="100"/>
                    </a:lnTo>
                    <a:lnTo>
                      <a:pt x="161" y="101"/>
                    </a:lnTo>
                    <a:lnTo>
                      <a:pt x="161" y="101"/>
                    </a:lnTo>
                    <a:lnTo>
                      <a:pt x="164" y="105"/>
                    </a:lnTo>
                    <a:lnTo>
                      <a:pt x="164" y="105"/>
                    </a:lnTo>
                    <a:lnTo>
                      <a:pt x="167" y="111"/>
                    </a:lnTo>
                    <a:lnTo>
                      <a:pt x="167" y="111"/>
                    </a:lnTo>
                    <a:lnTo>
                      <a:pt x="168" y="113"/>
                    </a:lnTo>
                    <a:lnTo>
                      <a:pt x="168" y="113"/>
                    </a:lnTo>
                    <a:lnTo>
                      <a:pt x="170" y="113"/>
                    </a:lnTo>
                    <a:lnTo>
                      <a:pt x="170" y="113"/>
                    </a:lnTo>
                    <a:lnTo>
                      <a:pt x="171" y="113"/>
                    </a:lnTo>
                    <a:lnTo>
                      <a:pt x="171" y="113"/>
                    </a:lnTo>
                    <a:lnTo>
                      <a:pt x="174" y="110"/>
                    </a:lnTo>
                    <a:lnTo>
                      <a:pt x="174" y="110"/>
                    </a:lnTo>
                    <a:lnTo>
                      <a:pt x="174" y="105"/>
                    </a:lnTo>
                    <a:lnTo>
                      <a:pt x="176" y="102"/>
                    </a:lnTo>
                    <a:lnTo>
                      <a:pt x="176" y="102"/>
                    </a:lnTo>
                    <a:lnTo>
                      <a:pt x="174" y="98"/>
                    </a:lnTo>
                    <a:lnTo>
                      <a:pt x="174" y="98"/>
                    </a:lnTo>
                    <a:lnTo>
                      <a:pt x="174" y="97"/>
                    </a:lnTo>
                    <a:lnTo>
                      <a:pt x="174" y="97"/>
                    </a:lnTo>
                    <a:lnTo>
                      <a:pt x="176" y="92"/>
                    </a:lnTo>
                    <a:lnTo>
                      <a:pt x="174" y="92"/>
                    </a:lnTo>
                    <a:lnTo>
                      <a:pt x="174" y="92"/>
                    </a:lnTo>
                    <a:lnTo>
                      <a:pt x="176" y="92"/>
                    </a:lnTo>
                    <a:lnTo>
                      <a:pt x="174" y="92"/>
                    </a:lnTo>
                    <a:lnTo>
                      <a:pt x="174" y="92"/>
                    </a:lnTo>
                    <a:lnTo>
                      <a:pt x="174" y="92"/>
                    </a:lnTo>
                    <a:lnTo>
                      <a:pt x="174" y="92"/>
                    </a:lnTo>
                    <a:lnTo>
                      <a:pt x="174" y="92"/>
                    </a:lnTo>
                    <a:lnTo>
                      <a:pt x="174" y="92"/>
                    </a:lnTo>
                    <a:lnTo>
                      <a:pt x="174" y="92"/>
                    </a:lnTo>
                    <a:lnTo>
                      <a:pt x="174" y="92"/>
                    </a:lnTo>
                    <a:lnTo>
                      <a:pt x="174" y="92"/>
                    </a:lnTo>
                    <a:lnTo>
                      <a:pt x="177" y="94"/>
                    </a:lnTo>
                    <a:lnTo>
                      <a:pt x="177" y="94"/>
                    </a:lnTo>
                    <a:lnTo>
                      <a:pt x="181" y="94"/>
                    </a:lnTo>
                    <a:lnTo>
                      <a:pt x="181" y="94"/>
                    </a:lnTo>
                    <a:lnTo>
                      <a:pt x="183" y="94"/>
                    </a:lnTo>
                    <a:lnTo>
                      <a:pt x="184" y="92"/>
                    </a:lnTo>
                    <a:lnTo>
                      <a:pt x="184" y="92"/>
                    </a:lnTo>
                    <a:lnTo>
                      <a:pt x="186" y="89"/>
                    </a:lnTo>
                    <a:lnTo>
                      <a:pt x="186" y="89"/>
                    </a:lnTo>
                    <a:lnTo>
                      <a:pt x="186" y="85"/>
                    </a:lnTo>
                    <a:lnTo>
                      <a:pt x="186" y="85"/>
                    </a:lnTo>
                    <a:lnTo>
                      <a:pt x="187" y="81"/>
                    </a:lnTo>
                    <a:lnTo>
                      <a:pt x="187" y="81"/>
                    </a:lnTo>
                    <a:lnTo>
                      <a:pt x="189" y="76"/>
                    </a:lnTo>
                    <a:lnTo>
                      <a:pt x="189" y="76"/>
                    </a:lnTo>
                    <a:lnTo>
                      <a:pt x="189" y="76"/>
                    </a:lnTo>
                    <a:lnTo>
                      <a:pt x="189" y="76"/>
                    </a:lnTo>
                    <a:lnTo>
                      <a:pt x="189" y="76"/>
                    </a:lnTo>
                    <a:lnTo>
                      <a:pt x="189" y="76"/>
                    </a:lnTo>
                    <a:lnTo>
                      <a:pt x="189" y="75"/>
                    </a:lnTo>
                    <a:lnTo>
                      <a:pt x="189" y="76"/>
                    </a:lnTo>
                    <a:lnTo>
                      <a:pt x="189" y="76"/>
                    </a:lnTo>
                    <a:lnTo>
                      <a:pt x="189" y="75"/>
                    </a:lnTo>
                    <a:lnTo>
                      <a:pt x="189" y="76"/>
                    </a:lnTo>
                    <a:lnTo>
                      <a:pt x="189" y="76"/>
                    </a:lnTo>
                    <a:lnTo>
                      <a:pt x="189" y="76"/>
                    </a:lnTo>
                    <a:lnTo>
                      <a:pt x="189" y="76"/>
                    </a:lnTo>
                    <a:lnTo>
                      <a:pt x="189" y="76"/>
                    </a:lnTo>
                    <a:lnTo>
                      <a:pt x="189" y="76"/>
                    </a:lnTo>
                    <a:lnTo>
                      <a:pt x="189" y="76"/>
                    </a:lnTo>
                    <a:lnTo>
                      <a:pt x="190" y="78"/>
                    </a:lnTo>
                    <a:lnTo>
                      <a:pt x="190" y="78"/>
                    </a:lnTo>
                    <a:lnTo>
                      <a:pt x="196" y="81"/>
                    </a:lnTo>
                    <a:lnTo>
                      <a:pt x="196" y="81"/>
                    </a:lnTo>
                    <a:lnTo>
                      <a:pt x="196" y="81"/>
                    </a:lnTo>
                    <a:lnTo>
                      <a:pt x="199" y="79"/>
                    </a:lnTo>
                    <a:lnTo>
                      <a:pt x="199" y="79"/>
                    </a:lnTo>
                    <a:lnTo>
                      <a:pt x="200" y="76"/>
                    </a:lnTo>
                    <a:lnTo>
                      <a:pt x="200" y="76"/>
                    </a:lnTo>
                    <a:lnTo>
                      <a:pt x="202" y="74"/>
                    </a:lnTo>
                    <a:lnTo>
                      <a:pt x="202" y="74"/>
                    </a:lnTo>
                    <a:lnTo>
                      <a:pt x="202" y="72"/>
                    </a:lnTo>
                    <a:lnTo>
                      <a:pt x="202" y="72"/>
                    </a:lnTo>
                    <a:lnTo>
                      <a:pt x="202" y="71"/>
                    </a:lnTo>
                    <a:lnTo>
                      <a:pt x="202" y="71"/>
                    </a:lnTo>
                    <a:lnTo>
                      <a:pt x="200" y="71"/>
                    </a:lnTo>
                    <a:lnTo>
                      <a:pt x="202" y="71"/>
                    </a:lnTo>
                    <a:lnTo>
                      <a:pt x="202" y="71"/>
                    </a:lnTo>
                    <a:lnTo>
                      <a:pt x="200" y="71"/>
                    </a:lnTo>
                    <a:lnTo>
                      <a:pt x="202" y="71"/>
                    </a:lnTo>
                    <a:lnTo>
                      <a:pt x="202" y="71"/>
                    </a:lnTo>
                    <a:lnTo>
                      <a:pt x="203" y="68"/>
                    </a:lnTo>
                    <a:lnTo>
                      <a:pt x="203" y="68"/>
                    </a:lnTo>
                    <a:lnTo>
                      <a:pt x="204" y="65"/>
                    </a:lnTo>
                    <a:lnTo>
                      <a:pt x="204" y="63"/>
                    </a:lnTo>
                    <a:lnTo>
                      <a:pt x="204" y="63"/>
                    </a:lnTo>
                    <a:lnTo>
                      <a:pt x="204" y="63"/>
                    </a:lnTo>
                    <a:lnTo>
                      <a:pt x="204" y="63"/>
                    </a:lnTo>
                    <a:lnTo>
                      <a:pt x="204" y="63"/>
                    </a:lnTo>
                    <a:lnTo>
                      <a:pt x="204" y="63"/>
                    </a:lnTo>
                    <a:lnTo>
                      <a:pt x="203" y="63"/>
                    </a:lnTo>
                    <a:lnTo>
                      <a:pt x="203" y="63"/>
                    </a:lnTo>
                    <a:lnTo>
                      <a:pt x="204" y="63"/>
                    </a:lnTo>
                    <a:lnTo>
                      <a:pt x="203" y="63"/>
                    </a:lnTo>
                    <a:lnTo>
                      <a:pt x="203" y="63"/>
                    </a:lnTo>
                    <a:lnTo>
                      <a:pt x="203" y="63"/>
                    </a:lnTo>
                    <a:lnTo>
                      <a:pt x="203" y="63"/>
                    </a:lnTo>
                    <a:lnTo>
                      <a:pt x="203" y="63"/>
                    </a:lnTo>
                    <a:lnTo>
                      <a:pt x="203" y="63"/>
                    </a:lnTo>
                    <a:lnTo>
                      <a:pt x="203" y="63"/>
                    </a:lnTo>
                    <a:lnTo>
                      <a:pt x="203" y="63"/>
                    </a:lnTo>
                    <a:lnTo>
                      <a:pt x="204" y="65"/>
                    </a:lnTo>
                    <a:lnTo>
                      <a:pt x="204" y="65"/>
                    </a:lnTo>
                    <a:lnTo>
                      <a:pt x="207" y="63"/>
                    </a:lnTo>
                    <a:lnTo>
                      <a:pt x="207" y="63"/>
                    </a:lnTo>
                    <a:lnTo>
                      <a:pt x="210" y="59"/>
                    </a:lnTo>
                    <a:lnTo>
                      <a:pt x="210" y="59"/>
                    </a:lnTo>
                    <a:lnTo>
                      <a:pt x="212" y="56"/>
                    </a:lnTo>
                    <a:lnTo>
                      <a:pt x="213" y="56"/>
                    </a:lnTo>
                    <a:lnTo>
                      <a:pt x="213" y="55"/>
                    </a:lnTo>
                    <a:lnTo>
                      <a:pt x="212" y="55"/>
                    </a:lnTo>
                    <a:lnTo>
                      <a:pt x="213" y="55"/>
                    </a:lnTo>
                    <a:lnTo>
                      <a:pt x="213" y="55"/>
                    </a:lnTo>
                    <a:lnTo>
                      <a:pt x="212" y="55"/>
                    </a:lnTo>
                    <a:lnTo>
                      <a:pt x="213" y="55"/>
                    </a:lnTo>
                    <a:lnTo>
                      <a:pt x="212" y="55"/>
                    </a:lnTo>
                    <a:lnTo>
                      <a:pt x="212" y="56"/>
                    </a:lnTo>
                    <a:lnTo>
                      <a:pt x="212" y="56"/>
                    </a:lnTo>
                    <a:lnTo>
                      <a:pt x="213" y="55"/>
                    </a:lnTo>
                    <a:lnTo>
                      <a:pt x="212" y="55"/>
                    </a:lnTo>
                    <a:lnTo>
                      <a:pt x="212" y="56"/>
                    </a:lnTo>
                    <a:lnTo>
                      <a:pt x="212" y="53"/>
                    </a:lnTo>
                    <a:lnTo>
                      <a:pt x="210" y="56"/>
                    </a:lnTo>
                    <a:lnTo>
                      <a:pt x="212" y="56"/>
                    </a:lnTo>
                    <a:lnTo>
                      <a:pt x="212" y="53"/>
                    </a:lnTo>
                    <a:lnTo>
                      <a:pt x="210" y="56"/>
                    </a:lnTo>
                    <a:lnTo>
                      <a:pt x="212" y="55"/>
                    </a:lnTo>
                    <a:lnTo>
                      <a:pt x="210" y="56"/>
                    </a:lnTo>
                    <a:lnTo>
                      <a:pt x="210" y="56"/>
                    </a:lnTo>
                    <a:lnTo>
                      <a:pt x="212" y="55"/>
                    </a:lnTo>
                    <a:lnTo>
                      <a:pt x="210" y="56"/>
                    </a:lnTo>
                    <a:lnTo>
                      <a:pt x="210" y="56"/>
                    </a:lnTo>
                    <a:lnTo>
                      <a:pt x="212" y="56"/>
                    </a:lnTo>
                    <a:lnTo>
                      <a:pt x="215" y="58"/>
                    </a:lnTo>
                    <a:lnTo>
                      <a:pt x="216" y="58"/>
                    </a:lnTo>
                    <a:lnTo>
                      <a:pt x="216" y="58"/>
                    </a:lnTo>
                    <a:lnTo>
                      <a:pt x="220" y="58"/>
                    </a:lnTo>
                    <a:lnTo>
                      <a:pt x="220" y="58"/>
                    </a:lnTo>
                    <a:lnTo>
                      <a:pt x="226" y="56"/>
                    </a:lnTo>
                    <a:lnTo>
                      <a:pt x="226" y="56"/>
                    </a:lnTo>
                    <a:lnTo>
                      <a:pt x="231" y="55"/>
                    </a:lnTo>
                    <a:lnTo>
                      <a:pt x="231" y="55"/>
                    </a:lnTo>
                    <a:lnTo>
                      <a:pt x="231" y="55"/>
                    </a:lnTo>
                    <a:lnTo>
                      <a:pt x="231" y="55"/>
                    </a:lnTo>
                    <a:lnTo>
                      <a:pt x="231" y="55"/>
                    </a:lnTo>
                    <a:lnTo>
                      <a:pt x="231" y="55"/>
                    </a:lnTo>
                    <a:lnTo>
                      <a:pt x="231" y="55"/>
                    </a:lnTo>
                    <a:lnTo>
                      <a:pt x="229" y="55"/>
                    </a:lnTo>
                    <a:lnTo>
                      <a:pt x="231" y="55"/>
                    </a:lnTo>
                    <a:lnTo>
                      <a:pt x="231" y="55"/>
                    </a:lnTo>
                    <a:lnTo>
                      <a:pt x="229" y="55"/>
                    </a:lnTo>
                    <a:lnTo>
                      <a:pt x="229" y="55"/>
                    </a:lnTo>
                    <a:lnTo>
                      <a:pt x="231" y="56"/>
                    </a:lnTo>
                    <a:lnTo>
                      <a:pt x="231" y="56"/>
                    </a:lnTo>
                    <a:lnTo>
                      <a:pt x="235" y="59"/>
                    </a:lnTo>
                    <a:lnTo>
                      <a:pt x="235" y="59"/>
                    </a:lnTo>
                    <a:lnTo>
                      <a:pt x="239" y="63"/>
                    </a:lnTo>
                    <a:lnTo>
                      <a:pt x="239" y="63"/>
                    </a:lnTo>
                    <a:lnTo>
                      <a:pt x="241" y="65"/>
                    </a:lnTo>
                    <a:lnTo>
                      <a:pt x="241" y="65"/>
                    </a:lnTo>
                    <a:lnTo>
                      <a:pt x="241" y="65"/>
                    </a:lnTo>
                    <a:lnTo>
                      <a:pt x="242" y="69"/>
                    </a:lnTo>
                    <a:lnTo>
                      <a:pt x="242" y="69"/>
                    </a:lnTo>
                    <a:lnTo>
                      <a:pt x="242" y="72"/>
                    </a:lnTo>
                    <a:lnTo>
                      <a:pt x="242" y="72"/>
                    </a:lnTo>
                    <a:lnTo>
                      <a:pt x="245" y="74"/>
                    </a:lnTo>
                    <a:lnTo>
                      <a:pt x="245" y="74"/>
                    </a:lnTo>
                    <a:lnTo>
                      <a:pt x="248" y="72"/>
                    </a:lnTo>
                    <a:lnTo>
                      <a:pt x="248" y="72"/>
                    </a:lnTo>
                    <a:lnTo>
                      <a:pt x="251" y="69"/>
                    </a:lnTo>
                    <a:lnTo>
                      <a:pt x="251" y="69"/>
                    </a:lnTo>
                    <a:lnTo>
                      <a:pt x="251" y="69"/>
                    </a:lnTo>
                    <a:lnTo>
                      <a:pt x="251" y="68"/>
                    </a:lnTo>
                    <a:lnTo>
                      <a:pt x="251" y="69"/>
                    </a:lnTo>
                    <a:lnTo>
                      <a:pt x="251" y="69"/>
                    </a:lnTo>
                    <a:lnTo>
                      <a:pt x="251" y="68"/>
                    </a:lnTo>
                    <a:lnTo>
                      <a:pt x="251" y="69"/>
                    </a:lnTo>
                    <a:lnTo>
                      <a:pt x="251" y="68"/>
                    </a:lnTo>
                    <a:lnTo>
                      <a:pt x="251" y="69"/>
                    </a:lnTo>
                    <a:lnTo>
                      <a:pt x="251" y="69"/>
                    </a:lnTo>
                    <a:lnTo>
                      <a:pt x="251" y="68"/>
                    </a:lnTo>
                    <a:lnTo>
                      <a:pt x="251" y="69"/>
                    </a:lnTo>
                    <a:lnTo>
                      <a:pt x="251" y="69"/>
                    </a:lnTo>
                    <a:lnTo>
                      <a:pt x="251" y="69"/>
                    </a:lnTo>
                    <a:lnTo>
                      <a:pt x="251" y="69"/>
                    </a:lnTo>
                    <a:lnTo>
                      <a:pt x="257" y="69"/>
                    </a:lnTo>
                    <a:lnTo>
                      <a:pt x="257" y="69"/>
                    </a:lnTo>
                    <a:lnTo>
                      <a:pt x="262" y="71"/>
                    </a:lnTo>
                    <a:lnTo>
                      <a:pt x="262" y="69"/>
                    </a:lnTo>
                    <a:lnTo>
                      <a:pt x="262" y="71"/>
                    </a:lnTo>
                    <a:lnTo>
                      <a:pt x="262" y="69"/>
                    </a:lnTo>
                    <a:lnTo>
                      <a:pt x="262" y="71"/>
                    </a:lnTo>
                    <a:lnTo>
                      <a:pt x="262" y="71"/>
                    </a:lnTo>
                    <a:lnTo>
                      <a:pt x="264" y="71"/>
                    </a:lnTo>
                    <a:lnTo>
                      <a:pt x="264" y="71"/>
                    </a:lnTo>
                    <a:lnTo>
                      <a:pt x="271" y="75"/>
                    </a:lnTo>
                    <a:lnTo>
                      <a:pt x="271" y="75"/>
                    </a:lnTo>
                    <a:lnTo>
                      <a:pt x="273" y="75"/>
                    </a:lnTo>
                    <a:lnTo>
                      <a:pt x="273" y="75"/>
                    </a:lnTo>
                    <a:lnTo>
                      <a:pt x="275" y="74"/>
                    </a:lnTo>
                    <a:lnTo>
                      <a:pt x="275" y="74"/>
                    </a:lnTo>
                    <a:lnTo>
                      <a:pt x="275" y="72"/>
                    </a:lnTo>
                    <a:lnTo>
                      <a:pt x="275" y="72"/>
                    </a:lnTo>
                    <a:lnTo>
                      <a:pt x="275" y="71"/>
                    </a:lnTo>
                    <a:lnTo>
                      <a:pt x="275" y="71"/>
                    </a:lnTo>
                    <a:lnTo>
                      <a:pt x="274" y="66"/>
                    </a:lnTo>
                    <a:lnTo>
                      <a:pt x="274" y="66"/>
                    </a:lnTo>
                    <a:lnTo>
                      <a:pt x="274" y="66"/>
                    </a:lnTo>
                    <a:lnTo>
                      <a:pt x="274" y="66"/>
                    </a:lnTo>
                    <a:lnTo>
                      <a:pt x="274" y="66"/>
                    </a:lnTo>
                    <a:lnTo>
                      <a:pt x="274" y="66"/>
                    </a:lnTo>
                    <a:lnTo>
                      <a:pt x="274" y="66"/>
                    </a:lnTo>
                    <a:lnTo>
                      <a:pt x="274" y="66"/>
                    </a:lnTo>
                    <a:lnTo>
                      <a:pt x="274" y="66"/>
                    </a:lnTo>
                    <a:lnTo>
                      <a:pt x="274" y="66"/>
                    </a:lnTo>
                    <a:lnTo>
                      <a:pt x="274" y="66"/>
                    </a:lnTo>
                    <a:lnTo>
                      <a:pt x="274" y="66"/>
                    </a:lnTo>
                    <a:lnTo>
                      <a:pt x="275" y="63"/>
                    </a:lnTo>
                    <a:lnTo>
                      <a:pt x="275" y="63"/>
                    </a:lnTo>
                    <a:lnTo>
                      <a:pt x="275" y="62"/>
                    </a:lnTo>
                    <a:lnTo>
                      <a:pt x="275" y="62"/>
                    </a:lnTo>
                    <a:lnTo>
                      <a:pt x="273" y="60"/>
                    </a:lnTo>
                    <a:lnTo>
                      <a:pt x="273" y="60"/>
                    </a:lnTo>
                    <a:lnTo>
                      <a:pt x="267" y="59"/>
                    </a:lnTo>
                    <a:lnTo>
                      <a:pt x="267" y="60"/>
                    </a:lnTo>
                    <a:lnTo>
                      <a:pt x="268" y="59"/>
                    </a:lnTo>
                    <a:lnTo>
                      <a:pt x="267" y="59"/>
                    </a:lnTo>
                    <a:lnTo>
                      <a:pt x="267" y="60"/>
                    </a:lnTo>
                    <a:lnTo>
                      <a:pt x="268" y="59"/>
                    </a:lnTo>
                    <a:lnTo>
                      <a:pt x="267" y="59"/>
                    </a:lnTo>
                    <a:lnTo>
                      <a:pt x="268" y="59"/>
                    </a:lnTo>
                    <a:lnTo>
                      <a:pt x="268" y="59"/>
                    </a:lnTo>
                    <a:lnTo>
                      <a:pt x="267" y="59"/>
                    </a:lnTo>
                    <a:lnTo>
                      <a:pt x="268" y="59"/>
                    </a:lnTo>
                    <a:lnTo>
                      <a:pt x="268" y="59"/>
                    </a:lnTo>
                    <a:lnTo>
                      <a:pt x="268" y="59"/>
                    </a:lnTo>
                    <a:lnTo>
                      <a:pt x="268" y="58"/>
                    </a:lnTo>
                    <a:lnTo>
                      <a:pt x="268" y="58"/>
                    </a:lnTo>
                    <a:lnTo>
                      <a:pt x="270" y="52"/>
                    </a:lnTo>
                    <a:lnTo>
                      <a:pt x="270" y="52"/>
                    </a:lnTo>
                    <a:lnTo>
                      <a:pt x="273" y="49"/>
                    </a:lnTo>
                    <a:lnTo>
                      <a:pt x="273" y="49"/>
                    </a:lnTo>
                    <a:lnTo>
                      <a:pt x="280" y="43"/>
                    </a:lnTo>
                    <a:lnTo>
                      <a:pt x="280" y="43"/>
                    </a:lnTo>
                    <a:lnTo>
                      <a:pt x="281" y="42"/>
                    </a:lnTo>
                    <a:lnTo>
                      <a:pt x="281" y="42"/>
                    </a:lnTo>
                    <a:lnTo>
                      <a:pt x="281" y="39"/>
                    </a:lnTo>
                    <a:lnTo>
                      <a:pt x="281" y="39"/>
                    </a:lnTo>
                    <a:lnTo>
                      <a:pt x="280" y="36"/>
                    </a:lnTo>
                    <a:lnTo>
                      <a:pt x="280" y="34"/>
                    </a:lnTo>
                    <a:lnTo>
                      <a:pt x="280" y="34"/>
                    </a:lnTo>
                    <a:lnTo>
                      <a:pt x="280" y="34"/>
                    </a:lnTo>
                    <a:lnTo>
                      <a:pt x="278" y="34"/>
                    </a:lnTo>
                    <a:lnTo>
                      <a:pt x="280" y="34"/>
                    </a:lnTo>
                    <a:lnTo>
                      <a:pt x="280" y="34"/>
                    </a:lnTo>
                    <a:lnTo>
                      <a:pt x="278" y="34"/>
                    </a:lnTo>
                    <a:lnTo>
                      <a:pt x="280" y="34"/>
                    </a:lnTo>
                    <a:lnTo>
                      <a:pt x="278" y="34"/>
                    </a:lnTo>
                    <a:lnTo>
                      <a:pt x="278" y="36"/>
                    </a:lnTo>
                    <a:lnTo>
                      <a:pt x="280" y="34"/>
                    </a:lnTo>
                    <a:lnTo>
                      <a:pt x="278" y="34"/>
                    </a:lnTo>
                    <a:lnTo>
                      <a:pt x="278" y="36"/>
                    </a:lnTo>
                    <a:lnTo>
                      <a:pt x="278" y="36"/>
                    </a:lnTo>
                    <a:lnTo>
                      <a:pt x="283" y="33"/>
                    </a:lnTo>
                    <a:lnTo>
                      <a:pt x="283" y="33"/>
                    </a:lnTo>
                    <a:lnTo>
                      <a:pt x="287" y="29"/>
                    </a:lnTo>
                    <a:lnTo>
                      <a:pt x="287" y="29"/>
                    </a:lnTo>
                    <a:lnTo>
                      <a:pt x="290" y="26"/>
                    </a:lnTo>
                    <a:lnTo>
                      <a:pt x="290" y="26"/>
                    </a:lnTo>
                    <a:lnTo>
                      <a:pt x="293" y="24"/>
                    </a:lnTo>
                    <a:lnTo>
                      <a:pt x="293" y="24"/>
                    </a:lnTo>
                    <a:lnTo>
                      <a:pt x="294" y="24"/>
                    </a:lnTo>
                    <a:lnTo>
                      <a:pt x="294" y="24"/>
                    </a:lnTo>
                    <a:lnTo>
                      <a:pt x="296" y="26"/>
                    </a:lnTo>
                    <a:lnTo>
                      <a:pt x="296" y="26"/>
                    </a:lnTo>
                    <a:lnTo>
                      <a:pt x="299" y="27"/>
                    </a:lnTo>
                    <a:lnTo>
                      <a:pt x="299" y="27"/>
                    </a:lnTo>
                    <a:lnTo>
                      <a:pt x="300" y="27"/>
                    </a:lnTo>
                    <a:lnTo>
                      <a:pt x="300" y="27"/>
                    </a:lnTo>
                    <a:lnTo>
                      <a:pt x="310" y="26"/>
                    </a:lnTo>
                    <a:lnTo>
                      <a:pt x="310" y="26"/>
                    </a:lnTo>
                    <a:lnTo>
                      <a:pt x="315" y="24"/>
                    </a:lnTo>
                    <a:lnTo>
                      <a:pt x="317" y="21"/>
                    </a:lnTo>
                    <a:lnTo>
                      <a:pt x="317" y="21"/>
                    </a:lnTo>
                    <a:lnTo>
                      <a:pt x="320" y="18"/>
                    </a:lnTo>
                    <a:lnTo>
                      <a:pt x="322" y="14"/>
                    </a:lnTo>
                    <a:lnTo>
                      <a:pt x="322" y="14"/>
                    </a:lnTo>
                    <a:lnTo>
                      <a:pt x="322" y="13"/>
                    </a:lnTo>
                    <a:lnTo>
                      <a:pt x="322" y="13"/>
                    </a:lnTo>
                    <a:lnTo>
                      <a:pt x="320" y="11"/>
                    </a:lnTo>
                    <a:lnTo>
                      <a:pt x="320" y="13"/>
                    </a:lnTo>
                    <a:lnTo>
                      <a:pt x="322" y="13"/>
                    </a:lnTo>
                    <a:lnTo>
                      <a:pt x="320" y="11"/>
                    </a:lnTo>
                    <a:lnTo>
                      <a:pt x="320" y="13"/>
                    </a:lnTo>
                    <a:lnTo>
                      <a:pt x="320" y="11"/>
                    </a:lnTo>
                    <a:lnTo>
                      <a:pt x="320" y="13"/>
                    </a:lnTo>
                    <a:lnTo>
                      <a:pt x="320" y="13"/>
                    </a:lnTo>
                    <a:lnTo>
                      <a:pt x="320" y="11"/>
                    </a:lnTo>
                    <a:lnTo>
                      <a:pt x="320" y="13"/>
                    </a:lnTo>
                    <a:lnTo>
                      <a:pt x="320" y="13"/>
                    </a:lnTo>
                    <a:lnTo>
                      <a:pt x="320" y="13"/>
                    </a:lnTo>
                    <a:lnTo>
                      <a:pt x="320" y="13"/>
                    </a:lnTo>
                    <a:lnTo>
                      <a:pt x="320" y="13"/>
                    </a:lnTo>
                    <a:lnTo>
                      <a:pt x="320" y="13"/>
                    </a:lnTo>
                    <a:lnTo>
                      <a:pt x="320" y="13"/>
                    </a:lnTo>
                    <a:lnTo>
                      <a:pt x="320" y="13"/>
                    </a:lnTo>
                    <a:lnTo>
                      <a:pt x="323" y="14"/>
                    </a:lnTo>
                    <a:lnTo>
                      <a:pt x="323" y="14"/>
                    </a:lnTo>
                    <a:lnTo>
                      <a:pt x="328" y="16"/>
                    </a:lnTo>
                    <a:lnTo>
                      <a:pt x="328" y="16"/>
                    </a:lnTo>
                    <a:lnTo>
                      <a:pt x="335" y="18"/>
                    </a:lnTo>
                    <a:lnTo>
                      <a:pt x="342" y="18"/>
                    </a:lnTo>
                    <a:lnTo>
                      <a:pt x="342" y="18"/>
                    </a:lnTo>
                    <a:lnTo>
                      <a:pt x="345" y="18"/>
                    </a:lnTo>
                    <a:lnTo>
                      <a:pt x="349" y="21"/>
                    </a:lnTo>
                    <a:lnTo>
                      <a:pt x="349" y="21"/>
                    </a:lnTo>
                    <a:lnTo>
                      <a:pt x="358" y="26"/>
                    </a:lnTo>
                    <a:lnTo>
                      <a:pt x="358" y="26"/>
                    </a:lnTo>
                    <a:lnTo>
                      <a:pt x="361" y="26"/>
                    </a:lnTo>
                    <a:lnTo>
                      <a:pt x="361" y="26"/>
                    </a:lnTo>
                    <a:lnTo>
                      <a:pt x="365" y="24"/>
                    </a:lnTo>
                    <a:lnTo>
                      <a:pt x="365" y="24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68" y="21"/>
                    </a:lnTo>
                    <a:lnTo>
                      <a:pt x="370" y="23"/>
                    </a:lnTo>
                    <a:lnTo>
                      <a:pt x="370" y="23"/>
                    </a:lnTo>
                    <a:lnTo>
                      <a:pt x="372" y="26"/>
                    </a:lnTo>
                    <a:lnTo>
                      <a:pt x="372" y="26"/>
                    </a:lnTo>
                    <a:lnTo>
                      <a:pt x="375" y="27"/>
                    </a:lnTo>
                    <a:lnTo>
                      <a:pt x="375" y="27"/>
                    </a:lnTo>
                    <a:lnTo>
                      <a:pt x="377" y="27"/>
                    </a:lnTo>
                    <a:lnTo>
                      <a:pt x="377" y="27"/>
                    </a:lnTo>
                    <a:lnTo>
                      <a:pt x="378" y="24"/>
                    </a:lnTo>
                    <a:lnTo>
                      <a:pt x="378" y="24"/>
                    </a:lnTo>
                    <a:lnTo>
                      <a:pt x="380" y="21"/>
                    </a:lnTo>
                    <a:lnTo>
                      <a:pt x="380" y="21"/>
                    </a:lnTo>
                    <a:lnTo>
                      <a:pt x="380" y="20"/>
                    </a:lnTo>
                    <a:lnTo>
                      <a:pt x="380" y="20"/>
                    </a:lnTo>
                    <a:lnTo>
                      <a:pt x="378" y="20"/>
                    </a:lnTo>
                    <a:lnTo>
                      <a:pt x="380" y="20"/>
                    </a:lnTo>
                    <a:lnTo>
                      <a:pt x="380" y="20"/>
                    </a:lnTo>
                    <a:lnTo>
                      <a:pt x="378" y="20"/>
                    </a:lnTo>
                    <a:lnTo>
                      <a:pt x="380" y="20"/>
                    </a:lnTo>
                    <a:lnTo>
                      <a:pt x="378" y="18"/>
                    </a:lnTo>
                    <a:lnTo>
                      <a:pt x="378" y="20"/>
                    </a:lnTo>
                    <a:lnTo>
                      <a:pt x="380" y="20"/>
                    </a:lnTo>
                    <a:lnTo>
                      <a:pt x="378" y="18"/>
                    </a:lnTo>
                    <a:lnTo>
                      <a:pt x="378" y="20"/>
                    </a:lnTo>
                    <a:lnTo>
                      <a:pt x="378" y="20"/>
                    </a:lnTo>
                    <a:lnTo>
                      <a:pt x="378" y="20"/>
                    </a:lnTo>
                    <a:lnTo>
                      <a:pt x="378" y="20"/>
                    </a:lnTo>
                    <a:lnTo>
                      <a:pt x="378" y="20"/>
                    </a:lnTo>
                    <a:lnTo>
                      <a:pt x="378" y="20"/>
                    </a:lnTo>
                    <a:lnTo>
                      <a:pt x="378" y="20"/>
                    </a:lnTo>
                    <a:lnTo>
                      <a:pt x="378" y="20"/>
                    </a:lnTo>
                    <a:lnTo>
                      <a:pt x="384" y="23"/>
                    </a:lnTo>
                    <a:lnTo>
                      <a:pt x="384" y="24"/>
                    </a:lnTo>
                    <a:lnTo>
                      <a:pt x="384" y="24"/>
                    </a:lnTo>
                    <a:lnTo>
                      <a:pt x="384" y="24"/>
                    </a:lnTo>
                    <a:lnTo>
                      <a:pt x="383" y="29"/>
                    </a:lnTo>
                    <a:lnTo>
                      <a:pt x="383" y="29"/>
                    </a:lnTo>
                    <a:lnTo>
                      <a:pt x="381" y="32"/>
                    </a:lnTo>
                    <a:lnTo>
                      <a:pt x="381" y="36"/>
                    </a:lnTo>
                    <a:lnTo>
                      <a:pt x="381" y="36"/>
                    </a:lnTo>
                    <a:lnTo>
                      <a:pt x="381" y="37"/>
                    </a:lnTo>
                    <a:lnTo>
                      <a:pt x="381" y="39"/>
                    </a:lnTo>
                    <a:lnTo>
                      <a:pt x="381" y="39"/>
                    </a:lnTo>
                    <a:lnTo>
                      <a:pt x="383" y="39"/>
                    </a:lnTo>
                    <a:lnTo>
                      <a:pt x="381" y="39"/>
                    </a:lnTo>
                    <a:lnTo>
                      <a:pt x="381" y="39"/>
                    </a:lnTo>
                    <a:lnTo>
                      <a:pt x="383" y="39"/>
                    </a:lnTo>
                    <a:lnTo>
                      <a:pt x="381" y="39"/>
                    </a:lnTo>
                    <a:lnTo>
                      <a:pt x="383" y="39"/>
                    </a:lnTo>
                    <a:lnTo>
                      <a:pt x="381" y="37"/>
                    </a:lnTo>
                    <a:lnTo>
                      <a:pt x="381" y="39"/>
                    </a:lnTo>
                    <a:lnTo>
                      <a:pt x="383" y="39"/>
                    </a:lnTo>
                    <a:lnTo>
                      <a:pt x="381" y="37"/>
                    </a:lnTo>
                    <a:lnTo>
                      <a:pt x="383" y="39"/>
                    </a:lnTo>
                    <a:lnTo>
                      <a:pt x="383" y="37"/>
                    </a:lnTo>
                    <a:lnTo>
                      <a:pt x="383" y="37"/>
                    </a:lnTo>
                    <a:lnTo>
                      <a:pt x="381" y="37"/>
                    </a:lnTo>
                    <a:lnTo>
                      <a:pt x="383" y="39"/>
                    </a:lnTo>
                    <a:lnTo>
                      <a:pt x="383" y="37"/>
                    </a:lnTo>
                    <a:lnTo>
                      <a:pt x="383" y="37"/>
                    </a:lnTo>
                    <a:lnTo>
                      <a:pt x="383" y="37"/>
                    </a:lnTo>
                    <a:lnTo>
                      <a:pt x="383" y="37"/>
                    </a:lnTo>
                    <a:lnTo>
                      <a:pt x="380" y="37"/>
                    </a:lnTo>
                    <a:lnTo>
                      <a:pt x="380" y="37"/>
                    </a:lnTo>
                    <a:lnTo>
                      <a:pt x="375" y="37"/>
                    </a:lnTo>
                    <a:lnTo>
                      <a:pt x="375" y="37"/>
                    </a:lnTo>
                    <a:lnTo>
                      <a:pt x="372" y="39"/>
                    </a:lnTo>
                    <a:lnTo>
                      <a:pt x="372" y="39"/>
                    </a:lnTo>
                    <a:lnTo>
                      <a:pt x="371" y="42"/>
                    </a:lnTo>
                    <a:lnTo>
                      <a:pt x="371" y="42"/>
                    </a:lnTo>
                    <a:lnTo>
                      <a:pt x="371" y="46"/>
                    </a:lnTo>
                    <a:lnTo>
                      <a:pt x="371" y="46"/>
                    </a:lnTo>
                    <a:lnTo>
                      <a:pt x="372" y="47"/>
                    </a:lnTo>
                    <a:lnTo>
                      <a:pt x="372" y="47"/>
                    </a:lnTo>
                    <a:lnTo>
                      <a:pt x="372" y="47"/>
                    </a:lnTo>
                    <a:lnTo>
                      <a:pt x="372" y="47"/>
                    </a:lnTo>
                    <a:lnTo>
                      <a:pt x="372" y="50"/>
                    </a:lnTo>
                    <a:lnTo>
                      <a:pt x="371" y="52"/>
                    </a:lnTo>
                    <a:lnTo>
                      <a:pt x="371" y="52"/>
                    </a:lnTo>
                    <a:lnTo>
                      <a:pt x="371" y="52"/>
                    </a:lnTo>
                    <a:lnTo>
                      <a:pt x="371" y="52"/>
                    </a:lnTo>
                    <a:lnTo>
                      <a:pt x="371" y="52"/>
                    </a:lnTo>
                    <a:lnTo>
                      <a:pt x="371" y="52"/>
                    </a:lnTo>
                    <a:lnTo>
                      <a:pt x="371" y="52"/>
                    </a:lnTo>
                    <a:lnTo>
                      <a:pt x="372" y="52"/>
                    </a:lnTo>
                    <a:lnTo>
                      <a:pt x="371" y="52"/>
                    </a:lnTo>
                    <a:lnTo>
                      <a:pt x="371" y="52"/>
                    </a:lnTo>
                    <a:lnTo>
                      <a:pt x="372" y="52"/>
                    </a:lnTo>
                    <a:lnTo>
                      <a:pt x="371" y="52"/>
                    </a:lnTo>
                    <a:lnTo>
                      <a:pt x="371" y="52"/>
                    </a:lnTo>
                    <a:lnTo>
                      <a:pt x="370" y="52"/>
                    </a:lnTo>
                    <a:lnTo>
                      <a:pt x="370" y="52"/>
                    </a:lnTo>
                    <a:lnTo>
                      <a:pt x="367" y="58"/>
                    </a:lnTo>
                    <a:lnTo>
                      <a:pt x="367" y="58"/>
                    </a:lnTo>
                    <a:lnTo>
                      <a:pt x="364" y="65"/>
                    </a:lnTo>
                    <a:lnTo>
                      <a:pt x="367" y="65"/>
                    </a:lnTo>
                    <a:lnTo>
                      <a:pt x="364" y="65"/>
                    </a:lnTo>
                    <a:lnTo>
                      <a:pt x="364" y="66"/>
                    </a:lnTo>
                    <a:lnTo>
                      <a:pt x="364" y="66"/>
                    </a:lnTo>
                    <a:lnTo>
                      <a:pt x="364" y="68"/>
                    </a:lnTo>
                    <a:lnTo>
                      <a:pt x="365" y="71"/>
                    </a:lnTo>
                    <a:lnTo>
                      <a:pt x="365" y="71"/>
                    </a:lnTo>
                    <a:lnTo>
                      <a:pt x="371" y="75"/>
                    </a:lnTo>
                    <a:lnTo>
                      <a:pt x="371" y="75"/>
                    </a:lnTo>
                    <a:lnTo>
                      <a:pt x="377" y="79"/>
                    </a:lnTo>
                    <a:lnTo>
                      <a:pt x="377" y="79"/>
                    </a:lnTo>
                    <a:lnTo>
                      <a:pt x="380" y="81"/>
                    </a:lnTo>
                    <a:lnTo>
                      <a:pt x="380" y="81"/>
                    </a:lnTo>
                    <a:lnTo>
                      <a:pt x="381" y="81"/>
                    </a:lnTo>
                    <a:lnTo>
                      <a:pt x="381" y="81"/>
                    </a:lnTo>
                    <a:lnTo>
                      <a:pt x="386" y="81"/>
                    </a:lnTo>
                    <a:lnTo>
                      <a:pt x="386" y="81"/>
                    </a:lnTo>
                    <a:lnTo>
                      <a:pt x="387" y="81"/>
                    </a:lnTo>
                    <a:lnTo>
                      <a:pt x="387" y="81"/>
                    </a:lnTo>
                    <a:lnTo>
                      <a:pt x="388" y="82"/>
                    </a:lnTo>
                    <a:lnTo>
                      <a:pt x="388" y="82"/>
                    </a:lnTo>
                    <a:lnTo>
                      <a:pt x="393" y="85"/>
                    </a:lnTo>
                    <a:lnTo>
                      <a:pt x="393" y="85"/>
                    </a:lnTo>
                    <a:lnTo>
                      <a:pt x="396" y="88"/>
                    </a:lnTo>
                    <a:lnTo>
                      <a:pt x="399" y="89"/>
                    </a:lnTo>
                    <a:lnTo>
                      <a:pt x="399" y="89"/>
                    </a:lnTo>
                    <a:lnTo>
                      <a:pt x="401" y="92"/>
                    </a:lnTo>
                    <a:lnTo>
                      <a:pt x="401" y="92"/>
                    </a:lnTo>
                    <a:lnTo>
                      <a:pt x="403" y="94"/>
                    </a:lnTo>
                    <a:lnTo>
                      <a:pt x="403" y="94"/>
                    </a:lnTo>
                    <a:lnTo>
                      <a:pt x="403" y="97"/>
                    </a:lnTo>
                    <a:lnTo>
                      <a:pt x="403" y="97"/>
                    </a:lnTo>
                    <a:lnTo>
                      <a:pt x="406" y="100"/>
                    </a:lnTo>
                    <a:lnTo>
                      <a:pt x="406" y="100"/>
                    </a:lnTo>
                    <a:lnTo>
                      <a:pt x="410" y="101"/>
                    </a:lnTo>
                    <a:lnTo>
                      <a:pt x="410" y="101"/>
                    </a:lnTo>
                    <a:lnTo>
                      <a:pt x="417" y="102"/>
                    </a:lnTo>
                    <a:lnTo>
                      <a:pt x="417" y="102"/>
                    </a:lnTo>
                    <a:lnTo>
                      <a:pt x="423" y="104"/>
                    </a:lnTo>
                    <a:lnTo>
                      <a:pt x="423" y="104"/>
                    </a:lnTo>
                    <a:lnTo>
                      <a:pt x="426" y="110"/>
                    </a:lnTo>
                    <a:lnTo>
                      <a:pt x="426" y="110"/>
                    </a:lnTo>
                    <a:lnTo>
                      <a:pt x="429" y="111"/>
                    </a:lnTo>
                    <a:lnTo>
                      <a:pt x="432" y="114"/>
                    </a:lnTo>
                    <a:lnTo>
                      <a:pt x="432" y="114"/>
                    </a:lnTo>
                    <a:lnTo>
                      <a:pt x="436" y="114"/>
                    </a:lnTo>
                    <a:lnTo>
                      <a:pt x="436" y="114"/>
                    </a:lnTo>
                    <a:lnTo>
                      <a:pt x="438" y="113"/>
                    </a:lnTo>
                    <a:lnTo>
                      <a:pt x="438" y="113"/>
                    </a:lnTo>
                    <a:lnTo>
                      <a:pt x="439" y="113"/>
                    </a:lnTo>
                    <a:lnTo>
                      <a:pt x="439" y="113"/>
                    </a:lnTo>
                    <a:lnTo>
                      <a:pt x="439" y="113"/>
                    </a:lnTo>
                    <a:lnTo>
                      <a:pt x="439" y="113"/>
                    </a:lnTo>
                    <a:lnTo>
                      <a:pt x="439" y="111"/>
                    </a:lnTo>
                    <a:lnTo>
                      <a:pt x="441" y="111"/>
                    </a:lnTo>
                    <a:lnTo>
                      <a:pt x="441" y="111"/>
                    </a:lnTo>
                    <a:lnTo>
                      <a:pt x="443" y="113"/>
                    </a:lnTo>
                    <a:lnTo>
                      <a:pt x="443" y="113"/>
                    </a:lnTo>
                    <a:lnTo>
                      <a:pt x="449" y="114"/>
                    </a:lnTo>
                    <a:lnTo>
                      <a:pt x="449" y="114"/>
                    </a:lnTo>
                    <a:lnTo>
                      <a:pt x="449" y="116"/>
                    </a:lnTo>
                    <a:lnTo>
                      <a:pt x="449" y="116"/>
                    </a:lnTo>
                    <a:lnTo>
                      <a:pt x="451" y="114"/>
                    </a:lnTo>
                    <a:lnTo>
                      <a:pt x="451" y="114"/>
                    </a:lnTo>
                    <a:lnTo>
                      <a:pt x="452" y="113"/>
                    </a:lnTo>
                    <a:lnTo>
                      <a:pt x="452" y="113"/>
                    </a:lnTo>
                    <a:lnTo>
                      <a:pt x="456" y="105"/>
                    </a:lnTo>
                    <a:lnTo>
                      <a:pt x="456" y="105"/>
                    </a:lnTo>
                    <a:lnTo>
                      <a:pt x="462" y="89"/>
                    </a:lnTo>
                    <a:lnTo>
                      <a:pt x="462" y="89"/>
                    </a:lnTo>
                    <a:lnTo>
                      <a:pt x="464" y="84"/>
                    </a:lnTo>
                    <a:lnTo>
                      <a:pt x="464" y="84"/>
                    </a:lnTo>
                    <a:lnTo>
                      <a:pt x="465" y="79"/>
                    </a:lnTo>
                    <a:lnTo>
                      <a:pt x="465" y="79"/>
                    </a:lnTo>
                    <a:lnTo>
                      <a:pt x="467" y="76"/>
                    </a:lnTo>
                    <a:lnTo>
                      <a:pt x="467" y="76"/>
                    </a:lnTo>
                    <a:lnTo>
                      <a:pt x="468" y="65"/>
                    </a:lnTo>
                    <a:lnTo>
                      <a:pt x="468" y="65"/>
                    </a:lnTo>
                    <a:lnTo>
                      <a:pt x="467" y="46"/>
                    </a:lnTo>
                    <a:lnTo>
                      <a:pt x="467" y="46"/>
                    </a:lnTo>
                    <a:lnTo>
                      <a:pt x="468" y="40"/>
                    </a:lnTo>
                    <a:lnTo>
                      <a:pt x="468" y="36"/>
                    </a:lnTo>
                    <a:lnTo>
                      <a:pt x="468" y="36"/>
                    </a:lnTo>
                    <a:lnTo>
                      <a:pt x="470" y="32"/>
                    </a:lnTo>
                    <a:lnTo>
                      <a:pt x="470" y="32"/>
                    </a:lnTo>
                    <a:lnTo>
                      <a:pt x="470" y="26"/>
                    </a:lnTo>
                    <a:lnTo>
                      <a:pt x="470" y="26"/>
                    </a:lnTo>
                    <a:lnTo>
                      <a:pt x="470" y="23"/>
                    </a:lnTo>
                    <a:lnTo>
                      <a:pt x="471" y="23"/>
                    </a:lnTo>
                    <a:lnTo>
                      <a:pt x="471" y="21"/>
                    </a:lnTo>
                    <a:lnTo>
                      <a:pt x="470" y="21"/>
                    </a:lnTo>
                    <a:lnTo>
                      <a:pt x="471" y="21"/>
                    </a:lnTo>
                    <a:lnTo>
                      <a:pt x="471" y="21"/>
                    </a:lnTo>
                    <a:lnTo>
                      <a:pt x="470" y="21"/>
                    </a:lnTo>
                    <a:lnTo>
                      <a:pt x="471" y="21"/>
                    </a:lnTo>
                    <a:lnTo>
                      <a:pt x="471" y="21"/>
                    </a:lnTo>
                    <a:lnTo>
                      <a:pt x="472" y="20"/>
                    </a:lnTo>
                    <a:lnTo>
                      <a:pt x="472" y="20"/>
                    </a:lnTo>
                    <a:lnTo>
                      <a:pt x="474" y="14"/>
                    </a:lnTo>
                    <a:lnTo>
                      <a:pt x="474" y="14"/>
                    </a:lnTo>
                    <a:lnTo>
                      <a:pt x="477" y="7"/>
                    </a:lnTo>
                    <a:lnTo>
                      <a:pt x="477" y="7"/>
                    </a:lnTo>
                    <a:lnTo>
                      <a:pt x="478" y="4"/>
                    </a:lnTo>
                    <a:lnTo>
                      <a:pt x="478" y="4"/>
                    </a:lnTo>
                    <a:lnTo>
                      <a:pt x="478" y="4"/>
                    </a:lnTo>
                    <a:lnTo>
                      <a:pt x="477" y="4"/>
                    </a:lnTo>
                    <a:lnTo>
                      <a:pt x="478" y="4"/>
                    </a:lnTo>
                    <a:lnTo>
                      <a:pt x="478" y="4"/>
                    </a:lnTo>
                    <a:lnTo>
                      <a:pt x="477" y="4"/>
                    </a:lnTo>
                    <a:lnTo>
                      <a:pt x="478" y="4"/>
                    </a:lnTo>
                    <a:lnTo>
                      <a:pt x="477" y="3"/>
                    </a:lnTo>
                    <a:lnTo>
                      <a:pt x="477" y="4"/>
                    </a:lnTo>
                    <a:lnTo>
                      <a:pt x="478" y="4"/>
                    </a:lnTo>
                    <a:lnTo>
                      <a:pt x="477" y="3"/>
                    </a:lnTo>
                    <a:lnTo>
                      <a:pt x="477" y="4"/>
                    </a:lnTo>
                    <a:lnTo>
                      <a:pt x="477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77" name="Freeform 1333"/>
              <p:cNvSpPr>
                <a:spLocks/>
              </p:cNvSpPr>
              <p:nvPr/>
            </p:nvSpPr>
            <p:spPr bwMode="auto">
              <a:xfrm>
                <a:off x="6707811" y="4027426"/>
                <a:ext cx="58366" cy="61334"/>
              </a:xfrm>
              <a:custGeom>
                <a:avLst/>
                <a:gdLst>
                  <a:gd name="T0" fmla="*/ 32 w 59"/>
                  <a:gd name="T1" fmla="*/ 62 h 62"/>
                  <a:gd name="T2" fmla="*/ 32 w 59"/>
                  <a:gd name="T3" fmla="*/ 62 h 62"/>
                  <a:gd name="T4" fmla="*/ 26 w 59"/>
                  <a:gd name="T5" fmla="*/ 60 h 62"/>
                  <a:gd name="T6" fmla="*/ 19 w 59"/>
                  <a:gd name="T7" fmla="*/ 56 h 62"/>
                  <a:gd name="T8" fmla="*/ 14 w 59"/>
                  <a:gd name="T9" fmla="*/ 50 h 62"/>
                  <a:gd name="T10" fmla="*/ 13 w 59"/>
                  <a:gd name="T11" fmla="*/ 46 h 62"/>
                  <a:gd name="T12" fmla="*/ 13 w 59"/>
                  <a:gd name="T13" fmla="*/ 43 h 62"/>
                  <a:gd name="T14" fmla="*/ 13 w 59"/>
                  <a:gd name="T15" fmla="*/ 43 h 62"/>
                  <a:gd name="T16" fmla="*/ 13 w 59"/>
                  <a:gd name="T17" fmla="*/ 34 h 62"/>
                  <a:gd name="T18" fmla="*/ 10 w 59"/>
                  <a:gd name="T19" fmla="*/ 29 h 62"/>
                  <a:gd name="T20" fmla="*/ 10 w 59"/>
                  <a:gd name="T21" fmla="*/ 29 h 62"/>
                  <a:gd name="T22" fmla="*/ 4 w 59"/>
                  <a:gd name="T23" fmla="*/ 14 h 62"/>
                  <a:gd name="T24" fmla="*/ 0 w 59"/>
                  <a:gd name="T25" fmla="*/ 2 h 62"/>
                  <a:gd name="T26" fmla="*/ 0 w 59"/>
                  <a:gd name="T27" fmla="*/ 2 h 62"/>
                  <a:gd name="T28" fmla="*/ 0 w 59"/>
                  <a:gd name="T29" fmla="*/ 1 h 62"/>
                  <a:gd name="T30" fmla="*/ 3 w 59"/>
                  <a:gd name="T31" fmla="*/ 0 h 62"/>
                  <a:gd name="T32" fmla="*/ 7 w 59"/>
                  <a:gd name="T33" fmla="*/ 0 h 62"/>
                  <a:gd name="T34" fmla="*/ 11 w 59"/>
                  <a:gd name="T35" fmla="*/ 1 h 62"/>
                  <a:gd name="T36" fmla="*/ 11 w 59"/>
                  <a:gd name="T37" fmla="*/ 1 h 62"/>
                  <a:gd name="T38" fmla="*/ 24 w 59"/>
                  <a:gd name="T39" fmla="*/ 5 h 62"/>
                  <a:gd name="T40" fmla="*/ 30 w 59"/>
                  <a:gd name="T41" fmla="*/ 7 h 62"/>
                  <a:gd name="T42" fmla="*/ 34 w 59"/>
                  <a:gd name="T43" fmla="*/ 7 h 62"/>
                  <a:gd name="T44" fmla="*/ 34 w 59"/>
                  <a:gd name="T45" fmla="*/ 7 h 62"/>
                  <a:gd name="T46" fmla="*/ 46 w 59"/>
                  <a:gd name="T47" fmla="*/ 4 h 62"/>
                  <a:gd name="T48" fmla="*/ 53 w 59"/>
                  <a:gd name="T49" fmla="*/ 2 h 62"/>
                  <a:gd name="T50" fmla="*/ 55 w 59"/>
                  <a:gd name="T51" fmla="*/ 4 h 62"/>
                  <a:gd name="T52" fmla="*/ 56 w 59"/>
                  <a:gd name="T53" fmla="*/ 4 h 62"/>
                  <a:gd name="T54" fmla="*/ 56 w 59"/>
                  <a:gd name="T55" fmla="*/ 4 h 62"/>
                  <a:gd name="T56" fmla="*/ 58 w 59"/>
                  <a:gd name="T57" fmla="*/ 7 h 62"/>
                  <a:gd name="T58" fmla="*/ 58 w 59"/>
                  <a:gd name="T59" fmla="*/ 8 h 62"/>
                  <a:gd name="T60" fmla="*/ 58 w 59"/>
                  <a:gd name="T61" fmla="*/ 10 h 62"/>
                  <a:gd name="T62" fmla="*/ 58 w 59"/>
                  <a:gd name="T63" fmla="*/ 13 h 62"/>
                  <a:gd name="T64" fmla="*/ 58 w 59"/>
                  <a:gd name="T65" fmla="*/ 13 h 62"/>
                  <a:gd name="T66" fmla="*/ 59 w 59"/>
                  <a:gd name="T67" fmla="*/ 18 h 62"/>
                  <a:gd name="T68" fmla="*/ 59 w 59"/>
                  <a:gd name="T69" fmla="*/ 24 h 62"/>
                  <a:gd name="T70" fmla="*/ 59 w 59"/>
                  <a:gd name="T71" fmla="*/ 30 h 62"/>
                  <a:gd name="T72" fmla="*/ 58 w 59"/>
                  <a:gd name="T73" fmla="*/ 34 h 62"/>
                  <a:gd name="T74" fmla="*/ 58 w 59"/>
                  <a:gd name="T75" fmla="*/ 34 h 62"/>
                  <a:gd name="T76" fmla="*/ 53 w 59"/>
                  <a:gd name="T77" fmla="*/ 42 h 62"/>
                  <a:gd name="T78" fmla="*/ 50 w 59"/>
                  <a:gd name="T79" fmla="*/ 47 h 62"/>
                  <a:gd name="T80" fmla="*/ 50 w 59"/>
                  <a:gd name="T81" fmla="*/ 47 h 62"/>
                  <a:gd name="T82" fmla="*/ 52 w 59"/>
                  <a:gd name="T83" fmla="*/ 52 h 62"/>
                  <a:gd name="T84" fmla="*/ 50 w 59"/>
                  <a:gd name="T85" fmla="*/ 55 h 62"/>
                  <a:gd name="T86" fmla="*/ 49 w 59"/>
                  <a:gd name="T87" fmla="*/ 55 h 62"/>
                  <a:gd name="T88" fmla="*/ 49 w 59"/>
                  <a:gd name="T89" fmla="*/ 55 h 62"/>
                  <a:gd name="T90" fmla="*/ 46 w 59"/>
                  <a:gd name="T91" fmla="*/ 50 h 62"/>
                  <a:gd name="T92" fmla="*/ 45 w 59"/>
                  <a:gd name="T93" fmla="*/ 49 h 62"/>
                  <a:gd name="T94" fmla="*/ 43 w 59"/>
                  <a:gd name="T95" fmla="*/ 49 h 62"/>
                  <a:gd name="T96" fmla="*/ 43 w 59"/>
                  <a:gd name="T97" fmla="*/ 49 h 62"/>
                  <a:gd name="T98" fmla="*/ 39 w 59"/>
                  <a:gd name="T99" fmla="*/ 58 h 62"/>
                  <a:gd name="T100" fmla="*/ 36 w 59"/>
                  <a:gd name="T101" fmla="*/ 60 h 62"/>
                  <a:gd name="T102" fmla="*/ 33 w 59"/>
                  <a:gd name="T103" fmla="*/ 62 h 62"/>
                  <a:gd name="T104" fmla="*/ 32 w 59"/>
                  <a:gd name="T105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9" h="62">
                    <a:moveTo>
                      <a:pt x="32" y="62"/>
                    </a:moveTo>
                    <a:lnTo>
                      <a:pt x="32" y="62"/>
                    </a:lnTo>
                    <a:lnTo>
                      <a:pt x="26" y="60"/>
                    </a:lnTo>
                    <a:lnTo>
                      <a:pt x="19" y="56"/>
                    </a:lnTo>
                    <a:lnTo>
                      <a:pt x="14" y="50"/>
                    </a:lnTo>
                    <a:lnTo>
                      <a:pt x="13" y="46"/>
                    </a:lnTo>
                    <a:lnTo>
                      <a:pt x="13" y="43"/>
                    </a:lnTo>
                    <a:lnTo>
                      <a:pt x="13" y="43"/>
                    </a:lnTo>
                    <a:lnTo>
                      <a:pt x="13" y="34"/>
                    </a:lnTo>
                    <a:lnTo>
                      <a:pt x="10" y="29"/>
                    </a:lnTo>
                    <a:lnTo>
                      <a:pt x="10" y="29"/>
                    </a:lnTo>
                    <a:lnTo>
                      <a:pt x="4" y="1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1" y="1"/>
                    </a:lnTo>
                    <a:lnTo>
                      <a:pt x="24" y="5"/>
                    </a:lnTo>
                    <a:lnTo>
                      <a:pt x="30" y="7"/>
                    </a:lnTo>
                    <a:lnTo>
                      <a:pt x="34" y="7"/>
                    </a:lnTo>
                    <a:lnTo>
                      <a:pt x="34" y="7"/>
                    </a:lnTo>
                    <a:lnTo>
                      <a:pt x="46" y="4"/>
                    </a:lnTo>
                    <a:lnTo>
                      <a:pt x="53" y="2"/>
                    </a:lnTo>
                    <a:lnTo>
                      <a:pt x="55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8" y="7"/>
                    </a:lnTo>
                    <a:lnTo>
                      <a:pt x="58" y="8"/>
                    </a:lnTo>
                    <a:lnTo>
                      <a:pt x="58" y="10"/>
                    </a:lnTo>
                    <a:lnTo>
                      <a:pt x="58" y="13"/>
                    </a:lnTo>
                    <a:lnTo>
                      <a:pt x="58" y="13"/>
                    </a:lnTo>
                    <a:lnTo>
                      <a:pt x="59" y="18"/>
                    </a:lnTo>
                    <a:lnTo>
                      <a:pt x="59" y="24"/>
                    </a:lnTo>
                    <a:lnTo>
                      <a:pt x="59" y="30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3" y="42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2" y="52"/>
                    </a:lnTo>
                    <a:lnTo>
                      <a:pt x="50" y="55"/>
                    </a:lnTo>
                    <a:lnTo>
                      <a:pt x="49" y="55"/>
                    </a:lnTo>
                    <a:lnTo>
                      <a:pt x="49" y="55"/>
                    </a:lnTo>
                    <a:lnTo>
                      <a:pt x="46" y="50"/>
                    </a:lnTo>
                    <a:lnTo>
                      <a:pt x="45" y="49"/>
                    </a:lnTo>
                    <a:lnTo>
                      <a:pt x="43" y="49"/>
                    </a:lnTo>
                    <a:lnTo>
                      <a:pt x="43" y="49"/>
                    </a:lnTo>
                    <a:lnTo>
                      <a:pt x="39" y="58"/>
                    </a:lnTo>
                    <a:lnTo>
                      <a:pt x="36" y="60"/>
                    </a:lnTo>
                    <a:lnTo>
                      <a:pt x="33" y="62"/>
                    </a:lnTo>
                    <a:lnTo>
                      <a:pt x="32" y="6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78" name="Freeform 1334"/>
              <p:cNvSpPr>
                <a:spLocks/>
              </p:cNvSpPr>
              <p:nvPr/>
            </p:nvSpPr>
            <p:spPr bwMode="auto">
              <a:xfrm>
                <a:off x="6707811" y="4027426"/>
                <a:ext cx="58366" cy="61334"/>
              </a:xfrm>
              <a:custGeom>
                <a:avLst/>
                <a:gdLst>
                  <a:gd name="T0" fmla="*/ 32 w 59"/>
                  <a:gd name="T1" fmla="*/ 62 h 62"/>
                  <a:gd name="T2" fmla="*/ 32 w 59"/>
                  <a:gd name="T3" fmla="*/ 62 h 62"/>
                  <a:gd name="T4" fmla="*/ 26 w 59"/>
                  <a:gd name="T5" fmla="*/ 60 h 62"/>
                  <a:gd name="T6" fmla="*/ 19 w 59"/>
                  <a:gd name="T7" fmla="*/ 56 h 62"/>
                  <a:gd name="T8" fmla="*/ 14 w 59"/>
                  <a:gd name="T9" fmla="*/ 50 h 62"/>
                  <a:gd name="T10" fmla="*/ 13 w 59"/>
                  <a:gd name="T11" fmla="*/ 46 h 62"/>
                  <a:gd name="T12" fmla="*/ 13 w 59"/>
                  <a:gd name="T13" fmla="*/ 43 h 62"/>
                  <a:gd name="T14" fmla="*/ 13 w 59"/>
                  <a:gd name="T15" fmla="*/ 43 h 62"/>
                  <a:gd name="T16" fmla="*/ 13 w 59"/>
                  <a:gd name="T17" fmla="*/ 34 h 62"/>
                  <a:gd name="T18" fmla="*/ 10 w 59"/>
                  <a:gd name="T19" fmla="*/ 29 h 62"/>
                  <a:gd name="T20" fmla="*/ 10 w 59"/>
                  <a:gd name="T21" fmla="*/ 29 h 62"/>
                  <a:gd name="T22" fmla="*/ 4 w 59"/>
                  <a:gd name="T23" fmla="*/ 14 h 62"/>
                  <a:gd name="T24" fmla="*/ 0 w 59"/>
                  <a:gd name="T25" fmla="*/ 2 h 62"/>
                  <a:gd name="T26" fmla="*/ 0 w 59"/>
                  <a:gd name="T27" fmla="*/ 2 h 62"/>
                  <a:gd name="T28" fmla="*/ 0 w 59"/>
                  <a:gd name="T29" fmla="*/ 1 h 62"/>
                  <a:gd name="T30" fmla="*/ 3 w 59"/>
                  <a:gd name="T31" fmla="*/ 0 h 62"/>
                  <a:gd name="T32" fmla="*/ 7 w 59"/>
                  <a:gd name="T33" fmla="*/ 0 h 62"/>
                  <a:gd name="T34" fmla="*/ 11 w 59"/>
                  <a:gd name="T35" fmla="*/ 1 h 62"/>
                  <a:gd name="T36" fmla="*/ 11 w 59"/>
                  <a:gd name="T37" fmla="*/ 1 h 62"/>
                  <a:gd name="T38" fmla="*/ 24 w 59"/>
                  <a:gd name="T39" fmla="*/ 5 h 62"/>
                  <a:gd name="T40" fmla="*/ 30 w 59"/>
                  <a:gd name="T41" fmla="*/ 7 h 62"/>
                  <a:gd name="T42" fmla="*/ 34 w 59"/>
                  <a:gd name="T43" fmla="*/ 7 h 62"/>
                  <a:gd name="T44" fmla="*/ 34 w 59"/>
                  <a:gd name="T45" fmla="*/ 7 h 62"/>
                  <a:gd name="T46" fmla="*/ 46 w 59"/>
                  <a:gd name="T47" fmla="*/ 4 h 62"/>
                  <a:gd name="T48" fmla="*/ 53 w 59"/>
                  <a:gd name="T49" fmla="*/ 2 h 62"/>
                  <a:gd name="T50" fmla="*/ 55 w 59"/>
                  <a:gd name="T51" fmla="*/ 4 h 62"/>
                  <a:gd name="T52" fmla="*/ 56 w 59"/>
                  <a:gd name="T53" fmla="*/ 4 h 62"/>
                  <a:gd name="T54" fmla="*/ 56 w 59"/>
                  <a:gd name="T55" fmla="*/ 4 h 62"/>
                  <a:gd name="T56" fmla="*/ 58 w 59"/>
                  <a:gd name="T57" fmla="*/ 7 h 62"/>
                  <a:gd name="T58" fmla="*/ 58 w 59"/>
                  <a:gd name="T59" fmla="*/ 8 h 62"/>
                  <a:gd name="T60" fmla="*/ 58 w 59"/>
                  <a:gd name="T61" fmla="*/ 10 h 62"/>
                  <a:gd name="T62" fmla="*/ 58 w 59"/>
                  <a:gd name="T63" fmla="*/ 13 h 62"/>
                  <a:gd name="T64" fmla="*/ 58 w 59"/>
                  <a:gd name="T65" fmla="*/ 13 h 62"/>
                  <a:gd name="T66" fmla="*/ 59 w 59"/>
                  <a:gd name="T67" fmla="*/ 18 h 62"/>
                  <a:gd name="T68" fmla="*/ 59 w 59"/>
                  <a:gd name="T69" fmla="*/ 24 h 62"/>
                  <a:gd name="T70" fmla="*/ 59 w 59"/>
                  <a:gd name="T71" fmla="*/ 30 h 62"/>
                  <a:gd name="T72" fmla="*/ 58 w 59"/>
                  <a:gd name="T73" fmla="*/ 34 h 62"/>
                  <a:gd name="T74" fmla="*/ 58 w 59"/>
                  <a:gd name="T75" fmla="*/ 34 h 62"/>
                  <a:gd name="T76" fmla="*/ 53 w 59"/>
                  <a:gd name="T77" fmla="*/ 42 h 62"/>
                  <a:gd name="T78" fmla="*/ 50 w 59"/>
                  <a:gd name="T79" fmla="*/ 47 h 62"/>
                  <a:gd name="T80" fmla="*/ 50 w 59"/>
                  <a:gd name="T81" fmla="*/ 47 h 62"/>
                  <a:gd name="T82" fmla="*/ 52 w 59"/>
                  <a:gd name="T83" fmla="*/ 52 h 62"/>
                  <a:gd name="T84" fmla="*/ 50 w 59"/>
                  <a:gd name="T85" fmla="*/ 55 h 62"/>
                  <a:gd name="T86" fmla="*/ 49 w 59"/>
                  <a:gd name="T87" fmla="*/ 55 h 62"/>
                  <a:gd name="T88" fmla="*/ 49 w 59"/>
                  <a:gd name="T89" fmla="*/ 55 h 62"/>
                  <a:gd name="T90" fmla="*/ 46 w 59"/>
                  <a:gd name="T91" fmla="*/ 50 h 62"/>
                  <a:gd name="T92" fmla="*/ 45 w 59"/>
                  <a:gd name="T93" fmla="*/ 49 h 62"/>
                  <a:gd name="T94" fmla="*/ 43 w 59"/>
                  <a:gd name="T95" fmla="*/ 49 h 62"/>
                  <a:gd name="T96" fmla="*/ 43 w 59"/>
                  <a:gd name="T97" fmla="*/ 49 h 62"/>
                  <a:gd name="T98" fmla="*/ 39 w 59"/>
                  <a:gd name="T99" fmla="*/ 58 h 62"/>
                  <a:gd name="T100" fmla="*/ 36 w 59"/>
                  <a:gd name="T101" fmla="*/ 60 h 62"/>
                  <a:gd name="T102" fmla="*/ 33 w 59"/>
                  <a:gd name="T103" fmla="*/ 62 h 62"/>
                  <a:gd name="T104" fmla="*/ 32 w 59"/>
                  <a:gd name="T105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9" h="62">
                    <a:moveTo>
                      <a:pt x="32" y="62"/>
                    </a:moveTo>
                    <a:lnTo>
                      <a:pt x="32" y="62"/>
                    </a:lnTo>
                    <a:lnTo>
                      <a:pt x="26" y="60"/>
                    </a:lnTo>
                    <a:lnTo>
                      <a:pt x="19" y="56"/>
                    </a:lnTo>
                    <a:lnTo>
                      <a:pt x="14" y="50"/>
                    </a:lnTo>
                    <a:lnTo>
                      <a:pt x="13" y="46"/>
                    </a:lnTo>
                    <a:lnTo>
                      <a:pt x="13" y="43"/>
                    </a:lnTo>
                    <a:lnTo>
                      <a:pt x="13" y="43"/>
                    </a:lnTo>
                    <a:lnTo>
                      <a:pt x="13" y="34"/>
                    </a:lnTo>
                    <a:lnTo>
                      <a:pt x="10" y="29"/>
                    </a:lnTo>
                    <a:lnTo>
                      <a:pt x="10" y="29"/>
                    </a:lnTo>
                    <a:lnTo>
                      <a:pt x="4" y="1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1" y="1"/>
                    </a:lnTo>
                    <a:lnTo>
                      <a:pt x="24" y="5"/>
                    </a:lnTo>
                    <a:lnTo>
                      <a:pt x="30" y="7"/>
                    </a:lnTo>
                    <a:lnTo>
                      <a:pt x="34" y="7"/>
                    </a:lnTo>
                    <a:lnTo>
                      <a:pt x="34" y="7"/>
                    </a:lnTo>
                    <a:lnTo>
                      <a:pt x="46" y="4"/>
                    </a:lnTo>
                    <a:lnTo>
                      <a:pt x="53" y="2"/>
                    </a:lnTo>
                    <a:lnTo>
                      <a:pt x="55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8" y="7"/>
                    </a:lnTo>
                    <a:lnTo>
                      <a:pt x="58" y="8"/>
                    </a:lnTo>
                    <a:lnTo>
                      <a:pt x="58" y="10"/>
                    </a:lnTo>
                    <a:lnTo>
                      <a:pt x="58" y="13"/>
                    </a:lnTo>
                    <a:lnTo>
                      <a:pt x="58" y="13"/>
                    </a:lnTo>
                    <a:lnTo>
                      <a:pt x="59" y="18"/>
                    </a:lnTo>
                    <a:lnTo>
                      <a:pt x="59" y="24"/>
                    </a:lnTo>
                    <a:lnTo>
                      <a:pt x="59" y="30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3" y="42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2" y="52"/>
                    </a:lnTo>
                    <a:lnTo>
                      <a:pt x="50" y="55"/>
                    </a:lnTo>
                    <a:lnTo>
                      <a:pt x="49" y="55"/>
                    </a:lnTo>
                    <a:lnTo>
                      <a:pt x="49" y="55"/>
                    </a:lnTo>
                    <a:lnTo>
                      <a:pt x="46" y="50"/>
                    </a:lnTo>
                    <a:lnTo>
                      <a:pt x="45" y="49"/>
                    </a:lnTo>
                    <a:lnTo>
                      <a:pt x="43" y="49"/>
                    </a:lnTo>
                    <a:lnTo>
                      <a:pt x="43" y="49"/>
                    </a:lnTo>
                    <a:lnTo>
                      <a:pt x="39" y="58"/>
                    </a:lnTo>
                    <a:lnTo>
                      <a:pt x="36" y="60"/>
                    </a:lnTo>
                    <a:lnTo>
                      <a:pt x="33" y="62"/>
                    </a:lnTo>
                    <a:lnTo>
                      <a:pt x="32" y="6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98" name="Freeform 1449"/>
              <p:cNvSpPr>
                <a:spLocks/>
              </p:cNvSpPr>
              <p:nvPr/>
            </p:nvSpPr>
            <p:spPr bwMode="auto">
              <a:xfrm>
                <a:off x="6092492" y="1274317"/>
                <a:ext cx="15828" cy="6925"/>
              </a:xfrm>
              <a:custGeom>
                <a:avLst/>
                <a:gdLst>
                  <a:gd name="T0" fmla="*/ 11 w 16"/>
                  <a:gd name="T1" fmla="*/ 7 h 7"/>
                  <a:gd name="T2" fmla="*/ 11 w 16"/>
                  <a:gd name="T3" fmla="*/ 7 h 7"/>
                  <a:gd name="T4" fmla="*/ 5 w 16"/>
                  <a:gd name="T5" fmla="*/ 6 h 7"/>
                  <a:gd name="T6" fmla="*/ 2 w 16"/>
                  <a:gd name="T7" fmla="*/ 4 h 7"/>
                  <a:gd name="T8" fmla="*/ 0 w 16"/>
                  <a:gd name="T9" fmla="*/ 3 h 7"/>
                  <a:gd name="T10" fmla="*/ 0 w 16"/>
                  <a:gd name="T11" fmla="*/ 3 h 7"/>
                  <a:gd name="T12" fmla="*/ 0 w 16"/>
                  <a:gd name="T13" fmla="*/ 2 h 7"/>
                  <a:gd name="T14" fmla="*/ 0 w 16"/>
                  <a:gd name="T15" fmla="*/ 2 h 7"/>
                  <a:gd name="T16" fmla="*/ 3 w 16"/>
                  <a:gd name="T17" fmla="*/ 0 h 7"/>
                  <a:gd name="T18" fmla="*/ 5 w 16"/>
                  <a:gd name="T19" fmla="*/ 0 h 7"/>
                  <a:gd name="T20" fmla="*/ 11 w 16"/>
                  <a:gd name="T21" fmla="*/ 0 h 7"/>
                  <a:gd name="T22" fmla="*/ 11 w 16"/>
                  <a:gd name="T23" fmla="*/ 0 h 7"/>
                  <a:gd name="T24" fmla="*/ 11 w 16"/>
                  <a:gd name="T25" fmla="*/ 0 h 7"/>
                  <a:gd name="T26" fmla="*/ 11 w 16"/>
                  <a:gd name="T27" fmla="*/ 0 h 7"/>
                  <a:gd name="T28" fmla="*/ 15 w 16"/>
                  <a:gd name="T29" fmla="*/ 2 h 7"/>
                  <a:gd name="T30" fmla="*/ 16 w 16"/>
                  <a:gd name="T31" fmla="*/ 2 h 7"/>
                  <a:gd name="T32" fmla="*/ 16 w 16"/>
                  <a:gd name="T33" fmla="*/ 4 h 7"/>
                  <a:gd name="T34" fmla="*/ 16 w 16"/>
                  <a:gd name="T35" fmla="*/ 4 h 7"/>
                  <a:gd name="T36" fmla="*/ 15 w 16"/>
                  <a:gd name="T37" fmla="*/ 6 h 7"/>
                  <a:gd name="T38" fmla="*/ 15 w 16"/>
                  <a:gd name="T39" fmla="*/ 6 h 7"/>
                  <a:gd name="T40" fmla="*/ 13 w 16"/>
                  <a:gd name="T41" fmla="*/ 7 h 7"/>
                  <a:gd name="T42" fmla="*/ 11 w 16"/>
                  <a:gd name="T4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7">
                    <a:moveTo>
                      <a:pt x="11" y="7"/>
                    </a:moveTo>
                    <a:lnTo>
                      <a:pt x="11" y="7"/>
                    </a:lnTo>
                    <a:lnTo>
                      <a:pt x="5" y="6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6" y="2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5" y="6"/>
                    </a:lnTo>
                    <a:lnTo>
                      <a:pt x="15" y="6"/>
                    </a:lnTo>
                    <a:lnTo>
                      <a:pt x="13" y="7"/>
                    </a:lnTo>
                    <a:lnTo>
                      <a:pt x="11" y="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99" name="Freeform 1450"/>
              <p:cNvSpPr>
                <a:spLocks/>
              </p:cNvSpPr>
              <p:nvPr/>
            </p:nvSpPr>
            <p:spPr bwMode="auto">
              <a:xfrm>
                <a:off x="6092492" y="1274317"/>
                <a:ext cx="15828" cy="6925"/>
              </a:xfrm>
              <a:custGeom>
                <a:avLst/>
                <a:gdLst>
                  <a:gd name="T0" fmla="*/ 11 w 16"/>
                  <a:gd name="T1" fmla="*/ 7 h 7"/>
                  <a:gd name="T2" fmla="*/ 11 w 16"/>
                  <a:gd name="T3" fmla="*/ 7 h 7"/>
                  <a:gd name="T4" fmla="*/ 5 w 16"/>
                  <a:gd name="T5" fmla="*/ 6 h 7"/>
                  <a:gd name="T6" fmla="*/ 2 w 16"/>
                  <a:gd name="T7" fmla="*/ 4 h 7"/>
                  <a:gd name="T8" fmla="*/ 0 w 16"/>
                  <a:gd name="T9" fmla="*/ 3 h 7"/>
                  <a:gd name="T10" fmla="*/ 0 w 16"/>
                  <a:gd name="T11" fmla="*/ 3 h 7"/>
                  <a:gd name="T12" fmla="*/ 0 w 16"/>
                  <a:gd name="T13" fmla="*/ 2 h 7"/>
                  <a:gd name="T14" fmla="*/ 0 w 16"/>
                  <a:gd name="T15" fmla="*/ 2 h 7"/>
                  <a:gd name="T16" fmla="*/ 3 w 16"/>
                  <a:gd name="T17" fmla="*/ 0 h 7"/>
                  <a:gd name="T18" fmla="*/ 5 w 16"/>
                  <a:gd name="T19" fmla="*/ 0 h 7"/>
                  <a:gd name="T20" fmla="*/ 11 w 16"/>
                  <a:gd name="T21" fmla="*/ 0 h 7"/>
                  <a:gd name="T22" fmla="*/ 11 w 16"/>
                  <a:gd name="T23" fmla="*/ 0 h 7"/>
                  <a:gd name="T24" fmla="*/ 11 w 16"/>
                  <a:gd name="T25" fmla="*/ 0 h 7"/>
                  <a:gd name="T26" fmla="*/ 11 w 16"/>
                  <a:gd name="T27" fmla="*/ 0 h 7"/>
                  <a:gd name="T28" fmla="*/ 15 w 16"/>
                  <a:gd name="T29" fmla="*/ 2 h 7"/>
                  <a:gd name="T30" fmla="*/ 16 w 16"/>
                  <a:gd name="T31" fmla="*/ 2 h 7"/>
                  <a:gd name="T32" fmla="*/ 16 w 16"/>
                  <a:gd name="T33" fmla="*/ 4 h 7"/>
                  <a:gd name="T34" fmla="*/ 16 w 16"/>
                  <a:gd name="T35" fmla="*/ 4 h 7"/>
                  <a:gd name="T36" fmla="*/ 15 w 16"/>
                  <a:gd name="T37" fmla="*/ 6 h 7"/>
                  <a:gd name="T38" fmla="*/ 15 w 16"/>
                  <a:gd name="T39" fmla="*/ 6 h 7"/>
                  <a:gd name="T40" fmla="*/ 13 w 16"/>
                  <a:gd name="T41" fmla="*/ 7 h 7"/>
                  <a:gd name="T42" fmla="*/ 11 w 16"/>
                  <a:gd name="T4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" h="7">
                    <a:moveTo>
                      <a:pt x="11" y="7"/>
                    </a:moveTo>
                    <a:lnTo>
                      <a:pt x="11" y="7"/>
                    </a:lnTo>
                    <a:lnTo>
                      <a:pt x="5" y="6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6" y="2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5" y="6"/>
                    </a:lnTo>
                    <a:lnTo>
                      <a:pt x="15" y="6"/>
                    </a:lnTo>
                    <a:lnTo>
                      <a:pt x="13" y="7"/>
                    </a:lnTo>
                    <a:lnTo>
                      <a:pt x="11" y="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00" name="Freeform 1451"/>
              <p:cNvSpPr>
                <a:spLocks/>
              </p:cNvSpPr>
              <p:nvPr/>
            </p:nvSpPr>
            <p:spPr bwMode="auto">
              <a:xfrm>
                <a:off x="5916404" y="1395007"/>
                <a:ext cx="27699" cy="15828"/>
              </a:xfrm>
              <a:custGeom>
                <a:avLst/>
                <a:gdLst>
                  <a:gd name="T0" fmla="*/ 23 w 28"/>
                  <a:gd name="T1" fmla="*/ 13 h 16"/>
                  <a:gd name="T2" fmla="*/ 23 w 28"/>
                  <a:gd name="T3" fmla="*/ 13 h 16"/>
                  <a:gd name="T4" fmla="*/ 7 w 28"/>
                  <a:gd name="T5" fmla="*/ 14 h 16"/>
                  <a:gd name="T6" fmla="*/ 2 w 28"/>
                  <a:gd name="T7" fmla="*/ 16 h 16"/>
                  <a:gd name="T8" fmla="*/ 0 w 28"/>
                  <a:gd name="T9" fmla="*/ 14 h 16"/>
                  <a:gd name="T10" fmla="*/ 0 w 28"/>
                  <a:gd name="T11" fmla="*/ 13 h 16"/>
                  <a:gd name="T12" fmla="*/ 0 w 28"/>
                  <a:gd name="T13" fmla="*/ 13 h 16"/>
                  <a:gd name="T14" fmla="*/ 5 w 28"/>
                  <a:gd name="T15" fmla="*/ 7 h 16"/>
                  <a:gd name="T16" fmla="*/ 6 w 28"/>
                  <a:gd name="T17" fmla="*/ 6 h 16"/>
                  <a:gd name="T18" fmla="*/ 9 w 28"/>
                  <a:gd name="T19" fmla="*/ 6 h 16"/>
                  <a:gd name="T20" fmla="*/ 9 w 28"/>
                  <a:gd name="T21" fmla="*/ 6 h 16"/>
                  <a:gd name="T22" fmla="*/ 13 w 28"/>
                  <a:gd name="T23" fmla="*/ 6 h 16"/>
                  <a:gd name="T24" fmla="*/ 19 w 28"/>
                  <a:gd name="T25" fmla="*/ 4 h 16"/>
                  <a:gd name="T26" fmla="*/ 26 w 28"/>
                  <a:gd name="T27" fmla="*/ 0 h 16"/>
                  <a:gd name="T28" fmla="*/ 26 w 28"/>
                  <a:gd name="T29" fmla="*/ 0 h 16"/>
                  <a:gd name="T30" fmla="*/ 28 w 28"/>
                  <a:gd name="T31" fmla="*/ 0 h 16"/>
                  <a:gd name="T32" fmla="*/ 28 w 28"/>
                  <a:gd name="T33" fmla="*/ 1 h 16"/>
                  <a:gd name="T34" fmla="*/ 28 w 28"/>
                  <a:gd name="T35" fmla="*/ 6 h 16"/>
                  <a:gd name="T36" fmla="*/ 26 w 28"/>
                  <a:gd name="T37" fmla="*/ 10 h 16"/>
                  <a:gd name="T38" fmla="*/ 25 w 28"/>
                  <a:gd name="T39" fmla="*/ 11 h 16"/>
                  <a:gd name="T40" fmla="*/ 23 w 28"/>
                  <a:gd name="T41" fmla="*/ 1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" h="16">
                    <a:moveTo>
                      <a:pt x="23" y="13"/>
                    </a:moveTo>
                    <a:lnTo>
                      <a:pt x="23" y="13"/>
                    </a:lnTo>
                    <a:lnTo>
                      <a:pt x="7" y="14"/>
                    </a:lnTo>
                    <a:lnTo>
                      <a:pt x="2" y="16"/>
                    </a:lnTo>
                    <a:lnTo>
                      <a:pt x="0" y="14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5" y="7"/>
                    </a:lnTo>
                    <a:lnTo>
                      <a:pt x="6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3" y="6"/>
                    </a:lnTo>
                    <a:lnTo>
                      <a:pt x="19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8" y="0"/>
                    </a:lnTo>
                    <a:lnTo>
                      <a:pt x="28" y="1"/>
                    </a:lnTo>
                    <a:lnTo>
                      <a:pt x="28" y="6"/>
                    </a:lnTo>
                    <a:lnTo>
                      <a:pt x="26" y="10"/>
                    </a:lnTo>
                    <a:lnTo>
                      <a:pt x="25" y="11"/>
                    </a:lnTo>
                    <a:lnTo>
                      <a:pt x="23" y="1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01" name="Freeform 1452"/>
              <p:cNvSpPr>
                <a:spLocks/>
              </p:cNvSpPr>
              <p:nvPr/>
            </p:nvSpPr>
            <p:spPr bwMode="auto">
              <a:xfrm>
                <a:off x="5916404" y="1395007"/>
                <a:ext cx="27699" cy="15828"/>
              </a:xfrm>
              <a:custGeom>
                <a:avLst/>
                <a:gdLst>
                  <a:gd name="T0" fmla="*/ 23 w 28"/>
                  <a:gd name="T1" fmla="*/ 13 h 16"/>
                  <a:gd name="T2" fmla="*/ 23 w 28"/>
                  <a:gd name="T3" fmla="*/ 13 h 16"/>
                  <a:gd name="T4" fmla="*/ 7 w 28"/>
                  <a:gd name="T5" fmla="*/ 14 h 16"/>
                  <a:gd name="T6" fmla="*/ 2 w 28"/>
                  <a:gd name="T7" fmla="*/ 16 h 16"/>
                  <a:gd name="T8" fmla="*/ 0 w 28"/>
                  <a:gd name="T9" fmla="*/ 14 h 16"/>
                  <a:gd name="T10" fmla="*/ 0 w 28"/>
                  <a:gd name="T11" fmla="*/ 13 h 16"/>
                  <a:gd name="T12" fmla="*/ 0 w 28"/>
                  <a:gd name="T13" fmla="*/ 13 h 16"/>
                  <a:gd name="T14" fmla="*/ 5 w 28"/>
                  <a:gd name="T15" fmla="*/ 7 h 16"/>
                  <a:gd name="T16" fmla="*/ 6 w 28"/>
                  <a:gd name="T17" fmla="*/ 6 h 16"/>
                  <a:gd name="T18" fmla="*/ 9 w 28"/>
                  <a:gd name="T19" fmla="*/ 6 h 16"/>
                  <a:gd name="T20" fmla="*/ 9 w 28"/>
                  <a:gd name="T21" fmla="*/ 6 h 16"/>
                  <a:gd name="T22" fmla="*/ 13 w 28"/>
                  <a:gd name="T23" fmla="*/ 6 h 16"/>
                  <a:gd name="T24" fmla="*/ 19 w 28"/>
                  <a:gd name="T25" fmla="*/ 4 h 16"/>
                  <a:gd name="T26" fmla="*/ 26 w 28"/>
                  <a:gd name="T27" fmla="*/ 0 h 16"/>
                  <a:gd name="T28" fmla="*/ 26 w 28"/>
                  <a:gd name="T29" fmla="*/ 0 h 16"/>
                  <a:gd name="T30" fmla="*/ 28 w 28"/>
                  <a:gd name="T31" fmla="*/ 0 h 16"/>
                  <a:gd name="T32" fmla="*/ 28 w 28"/>
                  <a:gd name="T33" fmla="*/ 1 h 16"/>
                  <a:gd name="T34" fmla="*/ 28 w 28"/>
                  <a:gd name="T35" fmla="*/ 6 h 16"/>
                  <a:gd name="T36" fmla="*/ 26 w 28"/>
                  <a:gd name="T37" fmla="*/ 10 h 16"/>
                  <a:gd name="T38" fmla="*/ 25 w 28"/>
                  <a:gd name="T39" fmla="*/ 11 h 16"/>
                  <a:gd name="T40" fmla="*/ 23 w 28"/>
                  <a:gd name="T41" fmla="*/ 1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" h="16">
                    <a:moveTo>
                      <a:pt x="23" y="13"/>
                    </a:moveTo>
                    <a:lnTo>
                      <a:pt x="23" y="13"/>
                    </a:lnTo>
                    <a:lnTo>
                      <a:pt x="7" y="14"/>
                    </a:lnTo>
                    <a:lnTo>
                      <a:pt x="2" y="16"/>
                    </a:lnTo>
                    <a:lnTo>
                      <a:pt x="0" y="14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5" y="7"/>
                    </a:lnTo>
                    <a:lnTo>
                      <a:pt x="6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3" y="6"/>
                    </a:lnTo>
                    <a:lnTo>
                      <a:pt x="19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8" y="0"/>
                    </a:lnTo>
                    <a:lnTo>
                      <a:pt x="28" y="1"/>
                    </a:lnTo>
                    <a:lnTo>
                      <a:pt x="28" y="6"/>
                    </a:lnTo>
                    <a:lnTo>
                      <a:pt x="26" y="10"/>
                    </a:lnTo>
                    <a:lnTo>
                      <a:pt x="25" y="11"/>
                    </a:lnTo>
                    <a:lnTo>
                      <a:pt x="23" y="1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02" name="Freeform 1453"/>
              <p:cNvSpPr>
                <a:spLocks/>
              </p:cNvSpPr>
              <p:nvPr/>
            </p:nvSpPr>
            <p:spPr bwMode="auto">
              <a:xfrm>
                <a:off x="5915415" y="1348512"/>
                <a:ext cx="21764" cy="15828"/>
              </a:xfrm>
              <a:custGeom>
                <a:avLst/>
                <a:gdLst>
                  <a:gd name="T0" fmla="*/ 16 w 22"/>
                  <a:gd name="T1" fmla="*/ 15 h 16"/>
                  <a:gd name="T2" fmla="*/ 16 w 22"/>
                  <a:gd name="T3" fmla="*/ 15 h 16"/>
                  <a:gd name="T4" fmla="*/ 6 w 22"/>
                  <a:gd name="T5" fmla="*/ 16 h 16"/>
                  <a:gd name="T6" fmla="*/ 0 w 22"/>
                  <a:gd name="T7" fmla="*/ 16 h 16"/>
                  <a:gd name="T8" fmla="*/ 0 w 22"/>
                  <a:gd name="T9" fmla="*/ 16 h 16"/>
                  <a:gd name="T10" fmla="*/ 0 w 22"/>
                  <a:gd name="T11" fmla="*/ 15 h 16"/>
                  <a:gd name="T12" fmla="*/ 0 w 22"/>
                  <a:gd name="T13" fmla="*/ 15 h 16"/>
                  <a:gd name="T14" fmla="*/ 4 w 22"/>
                  <a:gd name="T15" fmla="*/ 13 h 16"/>
                  <a:gd name="T16" fmla="*/ 7 w 22"/>
                  <a:gd name="T17" fmla="*/ 12 h 16"/>
                  <a:gd name="T18" fmla="*/ 10 w 22"/>
                  <a:gd name="T19" fmla="*/ 11 h 16"/>
                  <a:gd name="T20" fmla="*/ 14 w 22"/>
                  <a:gd name="T21" fmla="*/ 8 h 16"/>
                  <a:gd name="T22" fmla="*/ 14 w 22"/>
                  <a:gd name="T23" fmla="*/ 8 h 16"/>
                  <a:gd name="T24" fmla="*/ 20 w 22"/>
                  <a:gd name="T25" fmla="*/ 2 h 16"/>
                  <a:gd name="T26" fmla="*/ 22 w 22"/>
                  <a:gd name="T27" fmla="*/ 0 h 16"/>
                  <a:gd name="T28" fmla="*/ 22 w 22"/>
                  <a:gd name="T29" fmla="*/ 2 h 16"/>
                  <a:gd name="T30" fmla="*/ 22 w 22"/>
                  <a:gd name="T31" fmla="*/ 2 h 16"/>
                  <a:gd name="T32" fmla="*/ 20 w 22"/>
                  <a:gd name="T33" fmla="*/ 9 h 16"/>
                  <a:gd name="T34" fmla="*/ 19 w 22"/>
                  <a:gd name="T35" fmla="*/ 13 h 16"/>
                  <a:gd name="T36" fmla="*/ 16 w 22"/>
                  <a:gd name="T3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16">
                    <a:moveTo>
                      <a:pt x="16" y="15"/>
                    </a:moveTo>
                    <a:lnTo>
                      <a:pt x="16" y="15"/>
                    </a:lnTo>
                    <a:lnTo>
                      <a:pt x="6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13"/>
                    </a:lnTo>
                    <a:lnTo>
                      <a:pt x="7" y="12"/>
                    </a:lnTo>
                    <a:lnTo>
                      <a:pt x="10" y="11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9"/>
                    </a:lnTo>
                    <a:lnTo>
                      <a:pt x="19" y="13"/>
                    </a:lnTo>
                    <a:lnTo>
                      <a:pt x="16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03" name="Freeform 1454"/>
              <p:cNvSpPr>
                <a:spLocks/>
              </p:cNvSpPr>
              <p:nvPr/>
            </p:nvSpPr>
            <p:spPr bwMode="auto">
              <a:xfrm>
                <a:off x="5915415" y="1348512"/>
                <a:ext cx="21764" cy="15828"/>
              </a:xfrm>
              <a:custGeom>
                <a:avLst/>
                <a:gdLst>
                  <a:gd name="T0" fmla="*/ 16 w 22"/>
                  <a:gd name="T1" fmla="*/ 15 h 16"/>
                  <a:gd name="T2" fmla="*/ 16 w 22"/>
                  <a:gd name="T3" fmla="*/ 15 h 16"/>
                  <a:gd name="T4" fmla="*/ 6 w 22"/>
                  <a:gd name="T5" fmla="*/ 16 h 16"/>
                  <a:gd name="T6" fmla="*/ 0 w 22"/>
                  <a:gd name="T7" fmla="*/ 16 h 16"/>
                  <a:gd name="T8" fmla="*/ 0 w 22"/>
                  <a:gd name="T9" fmla="*/ 16 h 16"/>
                  <a:gd name="T10" fmla="*/ 0 w 22"/>
                  <a:gd name="T11" fmla="*/ 15 h 16"/>
                  <a:gd name="T12" fmla="*/ 0 w 22"/>
                  <a:gd name="T13" fmla="*/ 15 h 16"/>
                  <a:gd name="T14" fmla="*/ 4 w 22"/>
                  <a:gd name="T15" fmla="*/ 13 h 16"/>
                  <a:gd name="T16" fmla="*/ 7 w 22"/>
                  <a:gd name="T17" fmla="*/ 12 h 16"/>
                  <a:gd name="T18" fmla="*/ 10 w 22"/>
                  <a:gd name="T19" fmla="*/ 11 h 16"/>
                  <a:gd name="T20" fmla="*/ 14 w 22"/>
                  <a:gd name="T21" fmla="*/ 8 h 16"/>
                  <a:gd name="T22" fmla="*/ 14 w 22"/>
                  <a:gd name="T23" fmla="*/ 8 h 16"/>
                  <a:gd name="T24" fmla="*/ 20 w 22"/>
                  <a:gd name="T25" fmla="*/ 2 h 16"/>
                  <a:gd name="T26" fmla="*/ 22 w 22"/>
                  <a:gd name="T27" fmla="*/ 0 h 16"/>
                  <a:gd name="T28" fmla="*/ 22 w 22"/>
                  <a:gd name="T29" fmla="*/ 2 h 16"/>
                  <a:gd name="T30" fmla="*/ 22 w 22"/>
                  <a:gd name="T31" fmla="*/ 2 h 16"/>
                  <a:gd name="T32" fmla="*/ 20 w 22"/>
                  <a:gd name="T33" fmla="*/ 9 h 16"/>
                  <a:gd name="T34" fmla="*/ 19 w 22"/>
                  <a:gd name="T35" fmla="*/ 13 h 16"/>
                  <a:gd name="T36" fmla="*/ 16 w 22"/>
                  <a:gd name="T3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16">
                    <a:moveTo>
                      <a:pt x="16" y="15"/>
                    </a:moveTo>
                    <a:lnTo>
                      <a:pt x="16" y="15"/>
                    </a:lnTo>
                    <a:lnTo>
                      <a:pt x="6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13"/>
                    </a:lnTo>
                    <a:lnTo>
                      <a:pt x="7" y="12"/>
                    </a:lnTo>
                    <a:lnTo>
                      <a:pt x="10" y="11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9"/>
                    </a:lnTo>
                    <a:lnTo>
                      <a:pt x="19" y="13"/>
                    </a:lnTo>
                    <a:lnTo>
                      <a:pt x="16" y="1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04" name="Freeform 1455"/>
              <p:cNvSpPr>
                <a:spLocks/>
              </p:cNvSpPr>
              <p:nvPr/>
            </p:nvSpPr>
            <p:spPr bwMode="auto">
              <a:xfrm>
                <a:off x="5175448" y="1772904"/>
                <a:ext cx="26710" cy="31656"/>
              </a:xfrm>
              <a:custGeom>
                <a:avLst/>
                <a:gdLst>
                  <a:gd name="T0" fmla="*/ 9 w 27"/>
                  <a:gd name="T1" fmla="*/ 32 h 32"/>
                  <a:gd name="T2" fmla="*/ 9 w 27"/>
                  <a:gd name="T3" fmla="*/ 32 h 32"/>
                  <a:gd name="T4" fmla="*/ 6 w 27"/>
                  <a:gd name="T5" fmla="*/ 32 h 32"/>
                  <a:gd name="T6" fmla="*/ 3 w 27"/>
                  <a:gd name="T7" fmla="*/ 29 h 32"/>
                  <a:gd name="T8" fmla="*/ 2 w 27"/>
                  <a:gd name="T9" fmla="*/ 26 h 32"/>
                  <a:gd name="T10" fmla="*/ 0 w 27"/>
                  <a:gd name="T11" fmla="*/ 22 h 32"/>
                  <a:gd name="T12" fmla="*/ 0 w 27"/>
                  <a:gd name="T13" fmla="*/ 12 h 32"/>
                  <a:gd name="T14" fmla="*/ 2 w 27"/>
                  <a:gd name="T15" fmla="*/ 4 h 32"/>
                  <a:gd name="T16" fmla="*/ 2 w 27"/>
                  <a:gd name="T17" fmla="*/ 4 h 32"/>
                  <a:gd name="T18" fmla="*/ 2 w 27"/>
                  <a:gd name="T19" fmla="*/ 3 h 32"/>
                  <a:gd name="T20" fmla="*/ 3 w 27"/>
                  <a:gd name="T21" fmla="*/ 2 h 32"/>
                  <a:gd name="T22" fmla="*/ 8 w 27"/>
                  <a:gd name="T23" fmla="*/ 0 h 32"/>
                  <a:gd name="T24" fmla="*/ 12 w 27"/>
                  <a:gd name="T25" fmla="*/ 0 h 32"/>
                  <a:gd name="T26" fmla="*/ 16 w 27"/>
                  <a:gd name="T27" fmla="*/ 2 h 32"/>
                  <a:gd name="T28" fmla="*/ 16 w 27"/>
                  <a:gd name="T29" fmla="*/ 2 h 32"/>
                  <a:gd name="T30" fmla="*/ 22 w 27"/>
                  <a:gd name="T31" fmla="*/ 6 h 32"/>
                  <a:gd name="T32" fmla="*/ 25 w 27"/>
                  <a:gd name="T33" fmla="*/ 10 h 32"/>
                  <a:gd name="T34" fmla="*/ 27 w 27"/>
                  <a:gd name="T35" fmla="*/ 13 h 32"/>
                  <a:gd name="T36" fmla="*/ 27 w 27"/>
                  <a:gd name="T37" fmla="*/ 13 h 32"/>
                  <a:gd name="T38" fmla="*/ 25 w 27"/>
                  <a:gd name="T39" fmla="*/ 18 h 32"/>
                  <a:gd name="T40" fmla="*/ 19 w 27"/>
                  <a:gd name="T41" fmla="*/ 23 h 32"/>
                  <a:gd name="T42" fmla="*/ 15 w 27"/>
                  <a:gd name="T43" fmla="*/ 29 h 32"/>
                  <a:gd name="T44" fmla="*/ 9 w 27"/>
                  <a:gd name="T4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" h="32">
                    <a:moveTo>
                      <a:pt x="9" y="32"/>
                    </a:moveTo>
                    <a:lnTo>
                      <a:pt x="9" y="32"/>
                    </a:lnTo>
                    <a:lnTo>
                      <a:pt x="6" y="32"/>
                    </a:lnTo>
                    <a:lnTo>
                      <a:pt x="3" y="29"/>
                    </a:lnTo>
                    <a:lnTo>
                      <a:pt x="2" y="26"/>
                    </a:lnTo>
                    <a:lnTo>
                      <a:pt x="0" y="22"/>
                    </a:lnTo>
                    <a:lnTo>
                      <a:pt x="0" y="1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22" y="6"/>
                    </a:lnTo>
                    <a:lnTo>
                      <a:pt x="25" y="10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5" y="18"/>
                    </a:lnTo>
                    <a:lnTo>
                      <a:pt x="19" y="23"/>
                    </a:lnTo>
                    <a:lnTo>
                      <a:pt x="15" y="29"/>
                    </a:lnTo>
                    <a:lnTo>
                      <a:pt x="9" y="3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05" name="Freeform 1456"/>
              <p:cNvSpPr>
                <a:spLocks/>
              </p:cNvSpPr>
              <p:nvPr/>
            </p:nvSpPr>
            <p:spPr bwMode="auto">
              <a:xfrm>
                <a:off x="5175448" y="1772904"/>
                <a:ext cx="26710" cy="31656"/>
              </a:xfrm>
              <a:custGeom>
                <a:avLst/>
                <a:gdLst>
                  <a:gd name="T0" fmla="*/ 9 w 27"/>
                  <a:gd name="T1" fmla="*/ 32 h 32"/>
                  <a:gd name="T2" fmla="*/ 9 w 27"/>
                  <a:gd name="T3" fmla="*/ 32 h 32"/>
                  <a:gd name="T4" fmla="*/ 6 w 27"/>
                  <a:gd name="T5" fmla="*/ 32 h 32"/>
                  <a:gd name="T6" fmla="*/ 3 w 27"/>
                  <a:gd name="T7" fmla="*/ 29 h 32"/>
                  <a:gd name="T8" fmla="*/ 2 w 27"/>
                  <a:gd name="T9" fmla="*/ 26 h 32"/>
                  <a:gd name="T10" fmla="*/ 0 w 27"/>
                  <a:gd name="T11" fmla="*/ 22 h 32"/>
                  <a:gd name="T12" fmla="*/ 0 w 27"/>
                  <a:gd name="T13" fmla="*/ 12 h 32"/>
                  <a:gd name="T14" fmla="*/ 2 w 27"/>
                  <a:gd name="T15" fmla="*/ 4 h 32"/>
                  <a:gd name="T16" fmla="*/ 2 w 27"/>
                  <a:gd name="T17" fmla="*/ 4 h 32"/>
                  <a:gd name="T18" fmla="*/ 2 w 27"/>
                  <a:gd name="T19" fmla="*/ 3 h 32"/>
                  <a:gd name="T20" fmla="*/ 3 w 27"/>
                  <a:gd name="T21" fmla="*/ 2 h 32"/>
                  <a:gd name="T22" fmla="*/ 8 w 27"/>
                  <a:gd name="T23" fmla="*/ 0 h 32"/>
                  <a:gd name="T24" fmla="*/ 12 w 27"/>
                  <a:gd name="T25" fmla="*/ 0 h 32"/>
                  <a:gd name="T26" fmla="*/ 16 w 27"/>
                  <a:gd name="T27" fmla="*/ 2 h 32"/>
                  <a:gd name="T28" fmla="*/ 16 w 27"/>
                  <a:gd name="T29" fmla="*/ 2 h 32"/>
                  <a:gd name="T30" fmla="*/ 22 w 27"/>
                  <a:gd name="T31" fmla="*/ 6 h 32"/>
                  <a:gd name="T32" fmla="*/ 25 w 27"/>
                  <a:gd name="T33" fmla="*/ 10 h 32"/>
                  <a:gd name="T34" fmla="*/ 27 w 27"/>
                  <a:gd name="T35" fmla="*/ 13 h 32"/>
                  <a:gd name="T36" fmla="*/ 27 w 27"/>
                  <a:gd name="T37" fmla="*/ 13 h 32"/>
                  <a:gd name="T38" fmla="*/ 25 w 27"/>
                  <a:gd name="T39" fmla="*/ 18 h 32"/>
                  <a:gd name="T40" fmla="*/ 19 w 27"/>
                  <a:gd name="T41" fmla="*/ 23 h 32"/>
                  <a:gd name="T42" fmla="*/ 15 w 27"/>
                  <a:gd name="T43" fmla="*/ 29 h 32"/>
                  <a:gd name="T44" fmla="*/ 9 w 27"/>
                  <a:gd name="T4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" h="32">
                    <a:moveTo>
                      <a:pt x="9" y="32"/>
                    </a:moveTo>
                    <a:lnTo>
                      <a:pt x="9" y="32"/>
                    </a:lnTo>
                    <a:lnTo>
                      <a:pt x="6" y="32"/>
                    </a:lnTo>
                    <a:lnTo>
                      <a:pt x="3" y="29"/>
                    </a:lnTo>
                    <a:lnTo>
                      <a:pt x="2" y="26"/>
                    </a:lnTo>
                    <a:lnTo>
                      <a:pt x="0" y="22"/>
                    </a:lnTo>
                    <a:lnTo>
                      <a:pt x="0" y="1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22" y="6"/>
                    </a:lnTo>
                    <a:lnTo>
                      <a:pt x="25" y="10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5" y="18"/>
                    </a:lnTo>
                    <a:lnTo>
                      <a:pt x="19" y="23"/>
                    </a:lnTo>
                    <a:lnTo>
                      <a:pt x="15" y="29"/>
                    </a:lnTo>
                    <a:lnTo>
                      <a:pt x="9" y="3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06" name="Freeform 1457"/>
              <p:cNvSpPr>
                <a:spLocks/>
              </p:cNvSpPr>
              <p:nvPr/>
            </p:nvSpPr>
            <p:spPr bwMode="auto">
              <a:xfrm>
                <a:off x="5336698" y="1725419"/>
                <a:ext cx="26710" cy="36603"/>
              </a:xfrm>
              <a:custGeom>
                <a:avLst/>
                <a:gdLst>
                  <a:gd name="T0" fmla="*/ 19 w 27"/>
                  <a:gd name="T1" fmla="*/ 37 h 37"/>
                  <a:gd name="T2" fmla="*/ 19 w 27"/>
                  <a:gd name="T3" fmla="*/ 37 h 37"/>
                  <a:gd name="T4" fmla="*/ 16 w 27"/>
                  <a:gd name="T5" fmla="*/ 37 h 37"/>
                  <a:gd name="T6" fmla="*/ 14 w 27"/>
                  <a:gd name="T7" fmla="*/ 34 h 37"/>
                  <a:gd name="T8" fmla="*/ 13 w 27"/>
                  <a:gd name="T9" fmla="*/ 31 h 37"/>
                  <a:gd name="T10" fmla="*/ 10 w 27"/>
                  <a:gd name="T11" fmla="*/ 29 h 37"/>
                  <a:gd name="T12" fmla="*/ 10 w 27"/>
                  <a:gd name="T13" fmla="*/ 29 h 37"/>
                  <a:gd name="T14" fmla="*/ 5 w 27"/>
                  <a:gd name="T15" fmla="*/ 26 h 37"/>
                  <a:gd name="T16" fmla="*/ 1 w 27"/>
                  <a:gd name="T17" fmla="*/ 22 h 37"/>
                  <a:gd name="T18" fmla="*/ 0 w 27"/>
                  <a:gd name="T19" fmla="*/ 16 h 37"/>
                  <a:gd name="T20" fmla="*/ 0 w 27"/>
                  <a:gd name="T21" fmla="*/ 13 h 37"/>
                  <a:gd name="T22" fmla="*/ 0 w 27"/>
                  <a:gd name="T23" fmla="*/ 13 h 37"/>
                  <a:gd name="T24" fmla="*/ 4 w 27"/>
                  <a:gd name="T25" fmla="*/ 5 h 37"/>
                  <a:gd name="T26" fmla="*/ 7 w 27"/>
                  <a:gd name="T27" fmla="*/ 0 h 37"/>
                  <a:gd name="T28" fmla="*/ 7 w 27"/>
                  <a:gd name="T29" fmla="*/ 0 h 37"/>
                  <a:gd name="T30" fmla="*/ 8 w 27"/>
                  <a:gd name="T31" fmla="*/ 2 h 37"/>
                  <a:gd name="T32" fmla="*/ 8 w 27"/>
                  <a:gd name="T33" fmla="*/ 2 h 37"/>
                  <a:gd name="T34" fmla="*/ 13 w 27"/>
                  <a:gd name="T35" fmla="*/ 8 h 37"/>
                  <a:gd name="T36" fmla="*/ 19 w 27"/>
                  <a:gd name="T37" fmla="*/ 15 h 37"/>
                  <a:gd name="T38" fmla="*/ 19 w 27"/>
                  <a:gd name="T39" fmla="*/ 15 h 37"/>
                  <a:gd name="T40" fmla="*/ 24 w 27"/>
                  <a:gd name="T41" fmla="*/ 21 h 37"/>
                  <a:gd name="T42" fmla="*/ 27 w 27"/>
                  <a:gd name="T43" fmla="*/ 26 h 37"/>
                  <a:gd name="T44" fmla="*/ 27 w 27"/>
                  <a:gd name="T45" fmla="*/ 26 h 37"/>
                  <a:gd name="T46" fmla="*/ 27 w 27"/>
                  <a:gd name="T47" fmla="*/ 31 h 37"/>
                  <a:gd name="T48" fmla="*/ 27 w 27"/>
                  <a:gd name="T49" fmla="*/ 34 h 37"/>
                  <a:gd name="T50" fmla="*/ 24 w 27"/>
                  <a:gd name="T51" fmla="*/ 37 h 37"/>
                  <a:gd name="T52" fmla="*/ 19 w 27"/>
                  <a:gd name="T53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7" h="37">
                    <a:moveTo>
                      <a:pt x="19" y="37"/>
                    </a:moveTo>
                    <a:lnTo>
                      <a:pt x="19" y="37"/>
                    </a:lnTo>
                    <a:lnTo>
                      <a:pt x="16" y="37"/>
                    </a:lnTo>
                    <a:lnTo>
                      <a:pt x="14" y="34"/>
                    </a:lnTo>
                    <a:lnTo>
                      <a:pt x="13" y="31"/>
                    </a:lnTo>
                    <a:lnTo>
                      <a:pt x="10" y="29"/>
                    </a:lnTo>
                    <a:lnTo>
                      <a:pt x="10" y="29"/>
                    </a:lnTo>
                    <a:lnTo>
                      <a:pt x="5" y="26"/>
                    </a:lnTo>
                    <a:lnTo>
                      <a:pt x="1" y="22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4" y="5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13" y="8"/>
                    </a:lnTo>
                    <a:lnTo>
                      <a:pt x="19" y="15"/>
                    </a:lnTo>
                    <a:lnTo>
                      <a:pt x="19" y="15"/>
                    </a:lnTo>
                    <a:lnTo>
                      <a:pt x="24" y="21"/>
                    </a:lnTo>
                    <a:lnTo>
                      <a:pt x="27" y="26"/>
                    </a:lnTo>
                    <a:lnTo>
                      <a:pt x="27" y="26"/>
                    </a:lnTo>
                    <a:lnTo>
                      <a:pt x="27" y="31"/>
                    </a:lnTo>
                    <a:lnTo>
                      <a:pt x="27" y="34"/>
                    </a:lnTo>
                    <a:lnTo>
                      <a:pt x="24" y="37"/>
                    </a:lnTo>
                    <a:lnTo>
                      <a:pt x="19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07" name="Freeform 1458"/>
              <p:cNvSpPr>
                <a:spLocks/>
              </p:cNvSpPr>
              <p:nvPr/>
            </p:nvSpPr>
            <p:spPr bwMode="auto">
              <a:xfrm>
                <a:off x="5336698" y="1725419"/>
                <a:ext cx="26710" cy="36603"/>
              </a:xfrm>
              <a:custGeom>
                <a:avLst/>
                <a:gdLst>
                  <a:gd name="T0" fmla="*/ 19 w 27"/>
                  <a:gd name="T1" fmla="*/ 37 h 37"/>
                  <a:gd name="T2" fmla="*/ 19 w 27"/>
                  <a:gd name="T3" fmla="*/ 37 h 37"/>
                  <a:gd name="T4" fmla="*/ 16 w 27"/>
                  <a:gd name="T5" fmla="*/ 37 h 37"/>
                  <a:gd name="T6" fmla="*/ 14 w 27"/>
                  <a:gd name="T7" fmla="*/ 34 h 37"/>
                  <a:gd name="T8" fmla="*/ 13 w 27"/>
                  <a:gd name="T9" fmla="*/ 31 h 37"/>
                  <a:gd name="T10" fmla="*/ 10 w 27"/>
                  <a:gd name="T11" fmla="*/ 29 h 37"/>
                  <a:gd name="T12" fmla="*/ 10 w 27"/>
                  <a:gd name="T13" fmla="*/ 29 h 37"/>
                  <a:gd name="T14" fmla="*/ 5 w 27"/>
                  <a:gd name="T15" fmla="*/ 26 h 37"/>
                  <a:gd name="T16" fmla="*/ 1 w 27"/>
                  <a:gd name="T17" fmla="*/ 22 h 37"/>
                  <a:gd name="T18" fmla="*/ 0 w 27"/>
                  <a:gd name="T19" fmla="*/ 16 h 37"/>
                  <a:gd name="T20" fmla="*/ 0 w 27"/>
                  <a:gd name="T21" fmla="*/ 13 h 37"/>
                  <a:gd name="T22" fmla="*/ 0 w 27"/>
                  <a:gd name="T23" fmla="*/ 13 h 37"/>
                  <a:gd name="T24" fmla="*/ 4 w 27"/>
                  <a:gd name="T25" fmla="*/ 5 h 37"/>
                  <a:gd name="T26" fmla="*/ 7 w 27"/>
                  <a:gd name="T27" fmla="*/ 0 h 37"/>
                  <a:gd name="T28" fmla="*/ 7 w 27"/>
                  <a:gd name="T29" fmla="*/ 0 h 37"/>
                  <a:gd name="T30" fmla="*/ 8 w 27"/>
                  <a:gd name="T31" fmla="*/ 2 h 37"/>
                  <a:gd name="T32" fmla="*/ 8 w 27"/>
                  <a:gd name="T33" fmla="*/ 2 h 37"/>
                  <a:gd name="T34" fmla="*/ 13 w 27"/>
                  <a:gd name="T35" fmla="*/ 8 h 37"/>
                  <a:gd name="T36" fmla="*/ 19 w 27"/>
                  <a:gd name="T37" fmla="*/ 15 h 37"/>
                  <a:gd name="T38" fmla="*/ 19 w 27"/>
                  <a:gd name="T39" fmla="*/ 15 h 37"/>
                  <a:gd name="T40" fmla="*/ 24 w 27"/>
                  <a:gd name="T41" fmla="*/ 21 h 37"/>
                  <a:gd name="T42" fmla="*/ 27 w 27"/>
                  <a:gd name="T43" fmla="*/ 26 h 37"/>
                  <a:gd name="T44" fmla="*/ 27 w 27"/>
                  <a:gd name="T45" fmla="*/ 26 h 37"/>
                  <a:gd name="T46" fmla="*/ 27 w 27"/>
                  <a:gd name="T47" fmla="*/ 31 h 37"/>
                  <a:gd name="T48" fmla="*/ 27 w 27"/>
                  <a:gd name="T49" fmla="*/ 34 h 37"/>
                  <a:gd name="T50" fmla="*/ 24 w 27"/>
                  <a:gd name="T51" fmla="*/ 37 h 37"/>
                  <a:gd name="T52" fmla="*/ 19 w 27"/>
                  <a:gd name="T53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7" h="37">
                    <a:moveTo>
                      <a:pt x="19" y="37"/>
                    </a:moveTo>
                    <a:lnTo>
                      <a:pt x="19" y="37"/>
                    </a:lnTo>
                    <a:lnTo>
                      <a:pt x="16" y="37"/>
                    </a:lnTo>
                    <a:lnTo>
                      <a:pt x="14" y="34"/>
                    </a:lnTo>
                    <a:lnTo>
                      <a:pt x="13" y="31"/>
                    </a:lnTo>
                    <a:lnTo>
                      <a:pt x="10" y="29"/>
                    </a:lnTo>
                    <a:lnTo>
                      <a:pt x="10" y="29"/>
                    </a:lnTo>
                    <a:lnTo>
                      <a:pt x="5" y="26"/>
                    </a:lnTo>
                    <a:lnTo>
                      <a:pt x="1" y="22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4" y="5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13" y="8"/>
                    </a:lnTo>
                    <a:lnTo>
                      <a:pt x="19" y="15"/>
                    </a:lnTo>
                    <a:lnTo>
                      <a:pt x="19" y="15"/>
                    </a:lnTo>
                    <a:lnTo>
                      <a:pt x="24" y="21"/>
                    </a:lnTo>
                    <a:lnTo>
                      <a:pt x="27" y="26"/>
                    </a:lnTo>
                    <a:lnTo>
                      <a:pt x="27" y="26"/>
                    </a:lnTo>
                    <a:lnTo>
                      <a:pt x="27" y="31"/>
                    </a:lnTo>
                    <a:lnTo>
                      <a:pt x="27" y="34"/>
                    </a:lnTo>
                    <a:lnTo>
                      <a:pt x="24" y="37"/>
                    </a:lnTo>
                    <a:lnTo>
                      <a:pt x="19" y="3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08" name="Freeform 1459"/>
              <p:cNvSpPr>
                <a:spLocks/>
              </p:cNvSpPr>
              <p:nvPr/>
            </p:nvSpPr>
            <p:spPr bwMode="auto">
              <a:xfrm>
                <a:off x="5522679" y="1569116"/>
                <a:ext cx="25721" cy="31656"/>
              </a:xfrm>
              <a:custGeom>
                <a:avLst/>
                <a:gdLst>
                  <a:gd name="T0" fmla="*/ 14 w 26"/>
                  <a:gd name="T1" fmla="*/ 29 h 32"/>
                  <a:gd name="T2" fmla="*/ 14 w 26"/>
                  <a:gd name="T3" fmla="*/ 29 h 32"/>
                  <a:gd name="T4" fmla="*/ 12 w 26"/>
                  <a:gd name="T5" fmla="*/ 28 h 32"/>
                  <a:gd name="T6" fmla="*/ 10 w 26"/>
                  <a:gd name="T7" fmla="*/ 27 h 32"/>
                  <a:gd name="T8" fmla="*/ 7 w 26"/>
                  <a:gd name="T9" fmla="*/ 25 h 32"/>
                  <a:gd name="T10" fmla="*/ 6 w 26"/>
                  <a:gd name="T11" fmla="*/ 27 h 32"/>
                  <a:gd name="T12" fmla="*/ 6 w 26"/>
                  <a:gd name="T13" fmla="*/ 27 h 32"/>
                  <a:gd name="T14" fmla="*/ 3 w 26"/>
                  <a:gd name="T15" fmla="*/ 32 h 32"/>
                  <a:gd name="T16" fmla="*/ 1 w 26"/>
                  <a:gd name="T17" fmla="*/ 32 h 32"/>
                  <a:gd name="T18" fmla="*/ 0 w 26"/>
                  <a:gd name="T19" fmla="*/ 31 h 32"/>
                  <a:gd name="T20" fmla="*/ 0 w 26"/>
                  <a:gd name="T21" fmla="*/ 31 h 32"/>
                  <a:gd name="T22" fmla="*/ 0 w 26"/>
                  <a:gd name="T23" fmla="*/ 25 h 32"/>
                  <a:gd name="T24" fmla="*/ 0 w 26"/>
                  <a:gd name="T25" fmla="*/ 18 h 32"/>
                  <a:gd name="T26" fmla="*/ 1 w 26"/>
                  <a:gd name="T27" fmla="*/ 12 h 32"/>
                  <a:gd name="T28" fmla="*/ 4 w 26"/>
                  <a:gd name="T29" fmla="*/ 8 h 32"/>
                  <a:gd name="T30" fmla="*/ 4 w 26"/>
                  <a:gd name="T31" fmla="*/ 8 h 32"/>
                  <a:gd name="T32" fmla="*/ 10 w 26"/>
                  <a:gd name="T33" fmla="*/ 2 h 32"/>
                  <a:gd name="T34" fmla="*/ 14 w 26"/>
                  <a:gd name="T35" fmla="*/ 0 h 32"/>
                  <a:gd name="T36" fmla="*/ 17 w 26"/>
                  <a:gd name="T37" fmla="*/ 2 h 32"/>
                  <a:gd name="T38" fmla="*/ 17 w 26"/>
                  <a:gd name="T39" fmla="*/ 2 h 32"/>
                  <a:gd name="T40" fmla="*/ 22 w 26"/>
                  <a:gd name="T41" fmla="*/ 6 h 32"/>
                  <a:gd name="T42" fmla="*/ 25 w 26"/>
                  <a:gd name="T43" fmla="*/ 12 h 32"/>
                  <a:gd name="T44" fmla="*/ 25 w 26"/>
                  <a:gd name="T45" fmla="*/ 12 h 32"/>
                  <a:gd name="T46" fmla="*/ 26 w 26"/>
                  <a:gd name="T47" fmla="*/ 16 h 32"/>
                  <a:gd name="T48" fmla="*/ 25 w 26"/>
                  <a:gd name="T49" fmla="*/ 22 h 32"/>
                  <a:gd name="T50" fmla="*/ 23 w 26"/>
                  <a:gd name="T51" fmla="*/ 25 h 32"/>
                  <a:gd name="T52" fmla="*/ 22 w 26"/>
                  <a:gd name="T53" fmla="*/ 27 h 32"/>
                  <a:gd name="T54" fmla="*/ 19 w 26"/>
                  <a:gd name="T55" fmla="*/ 28 h 32"/>
                  <a:gd name="T56" fmla="*/ 14 w 26"/>
                  <a:gd name="T57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6" h="32">
                    <a:moveTo>
                      <a:pt x="14" y="29"/>
                    </a:moveTo>
                    <a:lnTo>
                      <a:pt x="14" y="29"/>
                    </a:lnTo>
                    <a:lnTo>
                      <a:pt x="12" y="28"/>
                    </a:lnTo>
                    <a:lnTo>
                      <a:pt x="10" y="27"/>
                    </a:lnTo>
                    <a:lnTo>
                      <a:pt x="7" y="25"/>
                    </a:lnTo>
                    <a:lnTo>
                      <a:pt x="6" y="27"/>
                    </a:lnTo>
                    <a:lnTo>
                      <a:pt x="6" y="27"/>
                    </a:lnTo>
                    <a:lnTo>
                      <a:pt x="3" y="32"/>
                    </a:lnTo>
                    <a:lnTo>
                      <a:pt x="1" y="32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0" y="18"/>
                    </a:lnTo>
                    <a:lnTo>
                      <a:pt x="1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10" y="2"/>
                    </a:lnTo>
                    <a:lnTo>
                      <a:pt x="14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22" y="6"/>
                    </a:lnTo>
                    <a:lnTo>
                      <a:pt x="25" y="12"/>
                    </a:lnTo>
                    <a:lnTo>
                      <a:pt x="25" y="12"/>
                    </a:lnTo>
                    <a:lnTo>
                      <a:pt x="26" y="16"/>
                    </a:lnTo>
                    <a:lnTo>
                      <a:pt x="25" y="22"/>
                    </a:lnTo>
                    <a:lnTo>
                      <a:pt x="23" y="25"/>
                    </a:lnTo>
                    <a:lnTo>
                      <a:pt x="22" y="27"/>
                    </a:lnTo>
                    <a:lnTo>
                      <a:pt x="19" y="28"/>
                    </a:lnTo>
                    <a:lnTo>
                      <a:pt x="14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09" name="Freeform 1460"/>
              <p:cNvSpPr>
                <a:spLocks/>
              </p:cNvSpPr>
              <p:nvPr/>
            </p:nvSpPr>
            <p:spPr bwMode="auto">
              <a:xfrm>
                <a:off x="5522679" y="1569116"/>
                <a:ext cx="25721" cy="31656"/>
              </a:xfrm>
              <a:custGeom>
                <a:avLst/>
                <a:gdLst>
                  <a:gd name="T0" fmla="*/ 14 w 26"/>
                  <a:gd name="T1" fmla="*/ 29 h 32"/>
                  <a:gd name="T2" fmla="*/ 14 w 26"/>
                  <a:gd name="T3" fmla="*/ 29 h 32"/>
                  <a:gd name="T4" fmla="*/ 12 w 26"/>
                  <a:gd name="T5" fmla="*/ 28 h 32"/>
                  <a:gd name="T6" fmla="*/ 10 w 26"/>
                  <a:gd name="T7" fmla="*/ 27 h 32"/>
                  <a:gd name="T8" fmla="*/ 7 w 26"/>
                  <a:gd name="T9" fmla="*/ 25 h 32"/>
                  <a:gd name="T10" fmla="*/ 6 w 26"/>
                  <a:gd name="T11" fmla="*/ 27 h 32"/>
                  <a:gd name="T12" fmla="*/ 6 w 26"/>
                  <a:gd name="T13" fmla="*/ 27 h 32"/>
                  <a:gd name="T14" fmla="*/ 3 w 26"/>
                  <a:gd name="T15" fmla="*/ 32 h 32"/>
                  <a:gd name="T16" fmla="*/ 1 w 26"/>
                  <a:gd name="T17" fmla="*/ 32 h 32"/>
                  <a:gd name="T18" fmla="*/ 0 w 26"/>
                  <a:gd name="T19" fmla="*/ 31 h 32"/>
                  <a:gd name="T20" fmla="*/ 0 w 26"/>
                  <a:gd name="T21" fmla="*/ 31 h 32"/>
                  <a:gd name="T22" fmla="*/ 0 w 26"/>
                  <a:gd name="T23" fmla="*/ 25 h 32"/>
                  <a:gd name="T24" fmla="*/ 0 w 26"/>
                  <a:gd name="T25" fmla="*/ 18 h 32"/>
                  <a:gd name="T26" fmla="*/ 1 w 26"/>
                  <a:gd name="T27" fmla="*/ 12 h 32"/>
                  <a:gd name="T28" fmla="*/ 4 w 26"/>
                  <a:gd name="T29" fmla="*/ 8 h 32"/>
                  <a:gd name="T30" fmla="*/ 4 w 26"/>
                  <a:gd name="T31" fmla="*/ 8 h 32"/>
                  <a:gd name="T32" fmla="*/ 10 w 26"/>
                  <a:gd name="T33" fmla="*/ 2 h 32"/>
                  <a:gd name="T34" fmla="*/ 14 w 26"/>
                  <a:gd name="T35" fmla="*/ 0 h 32"/>
                  <a:gd name="T36" fmla="*/ 17 w 26"/>
                  <a:gd name="T37" fmla="*/ 2 h 32"/>
                  <a:gd name="T38" fmla="*/ 17 w 26"/>
                  <a:gd name="T39" fmla="*/ 2 h 32"/>
                  <a:gd name="T40" fmla="*/ 22 w 26"/>
                  <a:gd name="T41" fmla="*/ 6 h 32"/>
                  <a:gd name="T42" fmla="*/ 25 w 26"/>
                  <a:gd name="T43" fmla="*/ 12 h 32"/>
                  <a:gd name="T44" fmla="*/ 25 w 26"/>
                  <a:gd name="T45" fmla="*/ 12 h 32"/>
                  <a:gd name="T46" fmla="*/ 26 w 26"/>
                  <a:gd name="T47" fmla="*/ 16 h 32"/>
                  <a:gd name="T48" fmla="*/ 25 w 26"/>
                  <a:gd name="T49" fmla="*/ 22 h 32"/>
                  <a:gd name="T50" fmla="*/ 23 w 26"/>
                  <a:gd name="T51" fmla="*/ 25 h 32"/>
                  <a:gd name="T52" fmla="*/ 22 w 26"/>
                  <a:gd name="T53" fmla="*/ 27 h 32"/>
                  <a:gd name="T54" fmla="*/ 19 w 26"/>
                  <a:gd name="T55" fmla="*/ 28 h 32"/>
                  <a:gd name="T56" fmla="*/ 14 w 26"/>
                  <a:gd name="T57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6" h="32">
                    <a:moveTo>
                      <a:pt x="14" y="29"/>
                    </a:moveTo>
                    <a:lnTo>
                      <a:pt x="14" y="29"/>
                    </a:lnTo>
                    <a:lnTo>
                      <a:pt x="12" y="28"/>
                    </a:lnTo>
                    <a:lnTo>
                      <a:pt x="10" y="27"/>
                    </a:lnTo>
                    <a:lnTo>
                      <a:pt x="7" y="25"/>
                    </a:lnTo>
                    <a:lnTo>
                      <a:pt x="6" y="27"/>
                    </a:lnTo>
                    <a:lnTo>
                      <a:pt x="6" y="27"/>
                    </a:lnTo>
                    <a:lnTo>
                      <a:pt x="3" y="32"/>
                    </a:lnTo>
                    <a:lnTo>
                      <a:pt x="1" y="32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0" y="18"/>
                    </a:lnTo>
                    <a:lnTo>
                      <a:pt x="1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10" y="2"/>
                    </a:lnTo>
                    <a:lnTo>
                      <a:pt x="14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22" y="6"/>
                    </a:lnTo>
                    <a:lnTo>
                      <a:pt x="25" y="12"/>
                    </a:lnTo>
                    <a:lnTo>
                      <a:pt x="25" y="12"/>
                    </a:lnTo>
                    <a:lnTo>
                      <a:pt x="26" y="16"/>
                    </a:lnTo>
                    <a:lnTo>
                      <a:pt x="25" y="22"/>
                    </a:lnTo>
                    <a:lnTo>
                      <a:pt x="23" y="25"/>
                    </a:lnTo>
                    <a:lnTo>
                      <a:pt x="22" y="27"/>
                    </a:lnTo>
                    <a:lnTo>
                      <a:pt x="19" y="28"/>
                    </a:lnTo>
                    <a:lnTo>
                      <a:pt x="14" y="29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12" name="Freeform 1463"/>
              <p:cNvSpPr>
                <a:spLocks/>
              </p:cNvSpPr>
              <p:nvPr/>
            </p:nvSpPr>
            <p:spPr bwMode="auto">
              <a:xfrm>
                <a:off x="5637433" y="1595826"/>
                <a:ext cx="12860" cy="13850"/>
              </a:xfrm>
              <a:custGeom>
                <a:avLst/>
                <a:gdLst>
                  <a:gd name="T0" fmla="*/ 10 w 13"/>
                  <a:gd name="T1" fmla="*/ 14 h 14"/>
                  <a:gd name="T2" fmla="*/ 10 w 13"/>
                  <a:gd name="T3" fmla="*/ 14 h 14"/>
                  <a:gd name="T4" fmla="*/ 3 w 13"/>
                  <a:gd name="T5" fmla="*/ 13 h 14"/>
                  <a:gd name="T6" fmla="*/ 1 w 13"/>
                  <a:gd name="T7" fmla="*/ 11 h 14"/>
                  <a:gd name="T8" fmla="*/ 0 w 13"/>
                  <a:gd name="T9" fmla="*/ 10 h 14"/>
                  <a:gd name="T10" fmla="*/ 0 w 13"/>
                  <a:gd name="T11" fmla="*/ 10 h 14"/>
                  <a:gd name="T12" fmla="*/ 0 w 13"/>
                  <a:gd name="T13" fmla="*/ 5 h 14"/>
                  <a:gd name="T14" fmla="*/ 3 w 13"/>
                  <a:gd name="T15" fmla="*/ 2 h 14"/>
                  <a:gd name="T16" fmla="*/ 4 w 13"/>
                  <a:gd name="T17" fmla="*/ 0 h 14"/>
                  <a:gd name="T18" fmla="*/ 7 w 13"/>
                  <a:gd name="T19" fmla="*/ 0 h 14"/>
                  <a:gd name="T20" fmla="*/ 7 w 13"/>
                  <a:gd name="T21" fmla="*/ 0 h 14"/>
                  <a:gd name="T22" fmla="*/ 10 w 13"/>
                  <a:gd name="T23" fmla="*/ 1 h 14"/>
                  <a:gd name="T24" fmla="*/ 13 w 13"/>
                  <a:gd name="T25" fmla="*/ 7 h 14"/>
                  <a:gd name="T26" fmla="*/ 13 w 13"/>
                  <a:gd name="T27" fmla="*/ 11 h 14"/>
                  <a:gd name="T28" fmla="*/ 11 w 13"/>
                  <a:gd name="T29" fmla="*/ 13 h 14"/>
                  <a:gd name="T30" fmla="*/ 10 w 13"/>
                  <a:gd name="T3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" h="14">
                    <a:moveTo>
                      <a:pt x="10" y="14"/>
                    </a:moveTo>
                    <a:lnTo>
                      <a:pt x="10" y="14"/>
                    </a:lnTo>
                    <a:lnTo>
                      <a:pt x="3" y="13"/>
                    </a:lnTo>
                    <a:lnTo>
                      <a:pt x="1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3" y="2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0" y="1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10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13" name="Freeform 1464"/>
              <p:cNvSpPr>
                <a:spLocks/>
              </p:cNvSpPr>
              <p:nvPr/>
            </p:nvSpPr>
            <p:spPr bwMode="auto">
              <a:xfrm>
                <a:off x="5637433" y="1595826"/>
                <a:ext cx="12860" cy="13850"/>
              </a:xfrm>
              <a:custGeom>
                <a:avLst/>
                <a:gdLst>
                  <a:gd name="T0" fmla="*/ 10 w 13"/>
                  <a:gd name="T1" fmla="*/ 14 h 14"/>
                  <a:gd name="T2" fmla="*/ 10 w 13"/>
                  <a:gd name="T3" fmla="*/ 14 h 14"/>
                  <a:gd name="T4" fmla="*/ 3 w 13"/>
                  <a:gd name="T5" fmla="*/ 13 h 14"/>
                  <a:gd name="T6" fmla="*/ 1 w 13"/>
                  <a:gd name="T7" fmla="*/ 11 h 14"/>
                  <a:gd name="T8" fmla="*/ 0 w 13"/>
                  <a:gd name="T9" fmla="*/ 10 h 14"/>
                  <a:gd name="T10" fmla="*/ 0 w 13"/>
                  <a:gd name="T11" fmla="*/ 10 h 14"/>
                  <a:gd name="T12" fmla="*/ 0 w 13"/>
                  <a:gd name="T13" fmla="*/ 5 h 14"/>
                  <a:gd name="T14" fmla="*/ 3 w 13"/>
                  <a:gd name="T15" fmla="*/ 2 h 14"/>
                  <a:gd name="T16" fmla="*/ 4 w 13"/>
                  <a:gd name="T17" fmla="*/ 0 h 14"/>
                  <a:gd name="T18" fmla="*/ 7 w 13"/>
                  <a:gd name="T19" fmla="*/ 0 h 14"/>
                  <a:gd name="T20" fmla="*/ 7 w 13"/>
                  <a:gd name="T21" fmla="*/ 0 h 14"/>
                  <a:gd name="T22" fmla="*/ 10 w 13"/>
                  <a:gd name="T23" fmla="*/ 1 h 14"/>
                  <a:gd name="T24" fmla="*/ 13 w 13"/>
                  <a:gd name="T25" fmla="*/ 7 h 14"/>
                  <a:gd name="T26" fmla="*/ 13 w 13"/>
                  <a:gd name="T27" fmla="*/ 11 h 14"/>
                  <a:gd name="T28" fmla="*/ 11 w 13"/>
                  <a:gd name="T29" fmla="*/ 13 h 14"/>
                  <a:gd name="T30" fmla="*/ 10 w 13"/>
                  <a:gd name="T3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" h="14">
                    <a:moveTo>
                      <a:pt x="10" y="14"/>
                    </a:moveTo>
                    <a:lnTo>
                      <a:pt x="10" y="14"/>
                    </a:lnTo>
                    <a:lnTo>
                      <a:pt x="3" y="13"/>
                    </a:lnTo>
                    <a:lnTo>
                      <a:pt x="1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3" y="2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0" y="1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10" y="1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14" name="Freeform 1465"/>
              <p:cNvSpPr>
                <a:spLocks/>
              </p:cNvSpPr>
              <p:nvPr/>
            </p:nvSpPr>
            <p:spPr bwMode="auto">
              <a:xfrm>
                <a:off x="5657218" y="1575052"/>
                <a:ext cx="12860" cy="17807"/>
              </a:xfrm>
              <a:custGeom>
                <a:avLst/>
                <a:gdLst>
                  <a:gd name="T0" fmla="*/ 7 w 13"/>
                  <a:gd name="T1" fmla="*/ 18 h 18"/>
                  <a:gd name="T2" fmla="*/ 7 w 13"/>
                  <a:gd name="T3" fmla="*/ 18 h 18"/>
                  <a:gd name="T4" fmla="*/ 4 w 13"/>
                  <a:gd name="T5" fmla="*/ 18 h 18"/>
                  <a:gd name="T6" fmla="*/ 2 w 13"/>
                  <a:gd name="T7" fmla="*/ 16 h 18"/>
                  <a:gd name="T8" fmla="*/ 0 w 13"/>
                  <a:gd name="T9" fmla="*/ 13 h 18"/>
                  <a:gd name="T10" fmla="*/ 0 w 13"/>
                  <a:gd name="T11" fmla="*/ 10 h 18"/>
                  <a:gd name="T12" fmla="*/ 0 w 13"/>
                  <a:gd name="T13" fmla="*/ 10 h 18"/>
                  <a:gd name="T14" fmla="*/ 7 w 13"/>
                  <a:gd name="T15" fmla="*/ 3 h 18"/>
                  <a:gd name="T16" fmla="*/ 10 w 13"/>
                  <a:gd name="T17" fmla="*/ 0 h 18"/>
                  <a:gd name="T18" fmla="*/ 12 w 13"/>
                  <a:gd name="T19" fmla="*/ 0 h 18"/>
                  <a:gd name="T20" fmla="*/ 12 w 13"/>
                  <a:gd name="T21" fmla="*/ 0 h 18"/>
                  <a:gd name="T22" fmla="*/ 13 w 13"/>
                  <a:gd name="T23" fmla="*/ 10 h 18"/>
                  <a:gd name="T24" fmla="*/ 12 w 13"/>
                  <a:gd name="T25" fmla="*/ 16 h 18"/>
                  <a:gd name="T26" fmla="*/ 10 w 13"/>
                  <a:gd name="T27" fmla="*/ 18 h 18"/>
                  <a:gd name="T28" fmla="*/ 7 w 13"/>
                  <a:gd name="T2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18">
                    <a:moveTo>
                      <a:pt x="7" y="18"/>
                    </a:moveTo>
                    <a:lnTo>
                      <a:pt x="7" y="18"/>
                    </a:lnTo>
                    <a:lnTo>
                      <a:pt x="4" y="18"/>
                    </a:lnTo>
                    <a:lnTo>
                      <a:pt x="2" y="16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7" y="3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3" y="10"/>
                    </a:lnTo>
                    <a:lnTo>
                      <a:pt x="12" y="16"/>
                    </a:lnTo>
                    <a:lnTo>
                      <a:pt x="10" y="18"/>
                    </a:lnTo>
                    <a:lnTo>
                      <a:pt x="7" y="1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15" name="Freeform 1466"/>
              <p:cNvSpPr>
                <a:spLocks/>
              </p:cNvSpPr>
              <p:nvPr/>
            </p:nvSpPr>
            <p:spPr bwMode="auto">
              <a:xfrm>
                <a:off x="5657218" y="1575052"/>
                <a:ext cx="12860" cy="17807"/>
              </a:xfrm>
              <a:custGeom>
                <a:avLst/>
                <a:gdLst>
                  <a:gd name="T0" fmla="*/ 7 w 13"/>
                  <a:gd name="T1" fmla="*/ 18 h 18"/>
                  <a:gd name="T2" fmla="*/ 7 w 13"/>
                  <a:gd name="T3" fmla="*/ 18 h 18"/>
                  <a:gd name="T4" fmla="*/ 4 w 13"/>
                  <a:gd name="T5" fmla="*/ 18 h 18"/>
                  <a:gd name="T6" fmla="*/ 2 w 13"/>
                  <a:gd name="T7" fmla="*/ 16 h 18"/>
                  <a:gd name="T8" fmla="*/ 0 w 13"/>
                  <a:gd name="T9" fmla="*/ 13 h 18"/>
                  <a:gd name="T10" fmla="*/ 0 w 13"/>
                  <a:gd name="T11" fmla="*/ 10 h 18"/>
                  <a:gd name="T12" fmla="*/ 0 w 13"/>
                  <a:gd name="T13" fmla="*/ 10 h 18"/>
                  <a:gd name="T14" fmla="*/ 7 w 13"/>
                  <a:gd name="T15" fmla="*/ 3 h 18"/>
                  <a:gd name="T16" fmla="*/ 10 w 13"/>
                  <a:gd name="T17" fmla="*/ 0 h 18"/>
                  <a:gd name="T18" fmla="*/ 12 w 13"/>
                  <a:gd name="T19" fmla="*/ 0 h 18"/>
                  <a:gd name="T20" fmla="*/ 12 w 13"/>
                  <a:gd name="T21" fmla="*/ 0 h 18"/>
                  <a:gd name="T22" fmla="*/ 13 w 13"/>
                  <a:gd name="T23" fmla="*/ 10 h 18"/>
                  <a:gd name="T24" fmla="*/ 12 w 13"/>
                  <a:gd name="T25" fmla="*/ 16 h 18"/>
                  <a:gd name="T26" fmla="*/ 10 w 13"/>
                  <a:gd name="T27" fmla="*/ 18 h 18"/>
                  <a:gd name="T28" fmla="*/ 7 w 13"/>
                  <a:gd name="T2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18">
                    <a:moveTo>
                      <a:pt x="7" y="18"/>
                    </a:moveTo>
                    <a:lnTo>
                      <a:pt x="7" y="18"/>
                    </a:lnTo>
                    <a:lnTo>
                      <a:pt x="4" y="18"/>
                    </a:lnTo>
                    <a:lnTo>
                      <a:pt x="2" y="16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7" y="3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3" y="10"/>
                    </a:lnTo>
                    <a:lnTo>
                      <a:pt x="12" y="16"/>
                    </a:lnTo>
                    <a:lnTo>
                      <a:pt x="10" y="18"/>
                    </a:lnTo>
                    <a:lnTo>
                      <a:pt x="7" y="1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16" name="Freeform 1467"/>
              <p:cNvSpPr>
                <a:spLocks/>
              </p:cNvSpPr>
              <p:nvPr/>
            </p:nvSpPr>
            <p:spPr bwMode="auto">
              <a:xfrm>
                <a:off x="6174601" y="1510750"/>
                <a:ext cx="22753" cy="16817"/>
              </a:xfrm>
              <a:custGeom>
                <a:avLst/>
                <a:gdLst>
                  <a:gd name="T0" fmla="*/ 22 w 23"/>
                  <a:gd name="T1" fmla="*/ 16 h 17"/>
                  <a:gd name="T2" fmla="*/ 22 w 23"/>
                  <a:gd name="T3" fmla="*/ 16 h 17"/>
                  <a:gd name="T4" fmla="*/ 9 w 23"/>
                  <a:gd name="T5" fmla="*/ 17 h 17"/>
                  <a:gd name="T6" fmla="*/ 1 w 23"/>
                  <a:gd name="T7" fmla="*/ 16 h 17"/>
                  <a:gd name="T8" fmla="*/ 0 w 23"/>
                  <a:gd name="T9" fmla="*/ 15 h 17"/>
                  <a:gd name="T10" fmla="*/ 0 w 23"/>
                  <a:gd name="T11" fmla="*/ 13 h 17"/>
                  <a:gd name="T12" fmla="*/ 0 w 23"/>
                  <a:gd name="T13" fmla="*/ 13 h 17"/>
                  <a:gd name="T14" fmla="*/ 3 w 23"/>
                  <a:gd name="T15" fmla="*/ 4 h 17"/>
                  <a:gd name="T16" fmla="*/ 4 w 23"/>
                  <a:gd name="T17" fmla="*/ 2 h 17"/>
                  <a:gd name="T18" fmla="*/ 6 w 23"/>
                  <a:gd name="T19" fmla="*/ 0 h 17"/>
                  <a:gd name="T20" fmla="*/ 6 w 23"/>
                  <a:gd name="T21" fmla="*/ 0 h 17"/>
                  <a:gd name="T22" fmla="*/ 14 w 23"/>
                  <a:gd name="T23" fmla="*/ 0 h 17"/>
                  <a:gd name="T24" fmla="*/ 19 w 23"/>
                  <a:gd name="T25" fmla="*/ 0 h 17"/>
                  <a:gd name="T26" fmla="*/ 20 w 23"/>
                  <a:gd name="T27" fmla="*/ 2 h 17"/>
                  <a:gd name="T28" fmla="*/ 22 w 23"/>
                  <a:gd name="T29" fmla="*/ 3 h 17"/>
                  <a:gd name="T30" fmla="*/ 22 w 23"/>
                  <a:gd name="T31" fmla="*/ 3 h 17"/>
                  <a:gd name="T32" fmla="*/ 23 w 23"/>
                  <a:gd name="T33" fmla="*/ 12 h 17"/>
                  <a:gd name="T34" fmla="*/ 23 w 23"/>
                  <a:gd name="T35" fmla="*/ 15 h 17"/>
                  <a:gd name="T36" fmla="*/ 23 w 23"/>
                  <a:gd name="T37" fmla="*/ 16 h 17"/>
                  <a:gd name="T38" fmla="*/ 22 w 23"/>
                  <a:gd name="T39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3" h="17">
                    <a:moveTo>
                      <a:pt x="22" y="16"/>
                    </a:moveTo>
                    <a:lnTo>
                      <a:pt x="22" y="16"/>
                    </a:lnTo>
                    <a:lnTo>
                      <a:pt x="9" y="17"/>
                    </a:lnTo>
                    <a:lnTo>
                      <a:pt x="1" y="16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3" y="4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20" y="2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23" y="12"/>
                    </a:lnTo>
                    <a:lnTo>
                      <a:pt x="23" y="15"/>
                    </a:lnTo>
                    <a:lnTo>
                      <a:pt x="23" y="16"/>
                    </a:lnTo>
                    <a:lnTo>
                      <a:pt x="22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17" name="Freeform 1468"/>
              <p:cNvSpPr>
                <a:spLocks/>
              </p:cNvSpPr>
              <p:nvPr/>
            </p:nvSpPr>
            <p:spPr bwMode="auto">
              <a:xfrm>
                <a:off x="6174601" y="1510750"/>
                <a:ext cx="22753" cy="16817"/>
              </a:xfrm>
              <a:custGeom>
                <a:avLst/>
                <a:gdLst>
                  <a:gd name="T0" fmla="*/ 22 w 23"/>
                  <a:gd name="T1" fmla="*/ 16 h 17"/>
                  <a:gd name="T2" fmla="*/ 22 w 23"/>
                  <a:gd name="T3" fmla="*/ 16 h 17"/>
                  <a:gd name="T4" fmla="*/ 9 w 23"/>
                  <a:gd name="T5" fmla="*/ 17 h 17"/>
                  <a:gd name="T6" fmla="*/ 1 w 23"/>
                  <a:gd name="T7" fmla="*/ 16 h 17"/>
                  <a:gd name="T8" fmla="*/ 0 w 23"/>
                  <a:gd name="T9" fmla="*/ 15 h 17"/>
                  <a:gd name="T10" fmla="*/ 0 w 23"/>
                  <a:gd name="T11" fmla="*/ 13 h 17"/>
                  <a:gd name="T12" fmla="*/ 0 w 23"/>
                  <a:gd name="T13" fmla="*/ 13 h 17"/>
                  <a:gd name="T14" fmla="*/ 3 w 23"/>
                  <a:gd name="T15" fmla="*/ 4 h 17"/>
                  <a:gd name="T16" fmla="*/ 4 w 23"/>
                  <a:gd name="T17" fmla="*/ 2 h 17"/>
                  <a:gd name="T18" fmla="*/ 6 w 23"/>
                  <a:gd name="T19" fmla="*/ 0 h 17"/>
                  <a:gd name="T20" fmla="*/ 6 w 23"/>
                  <a:gd name="T21" fmla="*/ 0 h 17"/>
                  <a:gd name="T22" fmla="*/ 14 w 23"/>
                  <a:gd name="T23" fmla="*/ 0 h 17"/>
                  <a:gd name="T24" fmla="*/ 19 w 23"/>
                  <a:gd name="T25" fmla="*/ 0 h 17"/>
                  <a:gd name="T26" fmla="*/ 20 w 23"/>
                  <a:gd name="T27" fmla="*/ 2 h 17"/>
                  <a:gd name="T28" fmla="*/ 22 w 23"/>
                  <a:gd name="T29" fmla="*/ 3 h 17"/>
                  <a:gd name="T30" fmla="*/ 22 w 23"/>
                  <a:gd name="T31" fmla="*/ 3 h 17"/>
                  <a:gd name="T32" fmla="*/ 23 w 23"/>
                  <a:gd name="T33" fmla="*/ 12 h 17"/>
                  <a:gd name="T34" fmla="*/ 23 w 23"/>
                  <a:gd name="T35" fmla="*/ 15 h 17"/>
                  <a:gd name="T36" fmla="*/ 23 w 23"/>
                  <a:gd name="T37" fmla="*/ 16 h 17"/>
                  <a:gd name="T38" fmla="*/ 22 w 23"/>
                  <a:gd name="T39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3" h="17">
                    <a:moveTo>
                      <a:pt x="22" y="16"/>
                    </a:moveTo>
                    <a:lnTo>
                      <a:pt x="22" y="16"/>
                    </a:lnTo>
                    <a:lnTo>
                      <a:pt x="9" y="17"/>
                    </a:lnTo>
                    <a:lnTo>
                      <a:pt x="1" y="16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3" y="4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20" y="2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23" y="12"/>
                    </a:lnTo>
                    <a:lnTo>
                      <a:pt x="23" y="15"/>
                    </a:lnTo>
                    <a:lnTo>
                      <a:pt x="23" y="16"/>
                    </a:lnTo>
                    <a:lnTo>
                      <a:pt x="22" y="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18" name="Freeform 1469"/>
              <p:cNvSpPr>
                <a:spLocks/>
              </p:cNvSpPr>
              <p:nvPr/>
            </p:nvSpPr>
            <p:spPr bwMode="auto">
              <a:xfrm>
                <a:off x="6618778" y="1556256"/>
                <a:ext cx="54409" cy="40560"/>
              </a:xfrm>
              <a:custGeom>
                <a:avLst/>
                <a:gdLst>
                  <a:gd name="T0" fmla="*/ 54 w 55"/>
                  <a:gd name="T1" fmla="*/ 41 h 41"/>
                  <a:gd name="T2" fmla="*/ 54 w 55"/>
                  <a:gd name="T3" fmla="*/ 41 h 41"/>
                  <a:gd name="T4" fmla="*/ 30 w 55"/>
                  <a:gd name="T5" fmla="*/ 34 h 41"/>
                  <a:gd name="T6" fmla="*/ 10 w 55"/>
                  <a:gd name="T7" fmla="*/ 31 h 41"/>
                  <a:gd name="T8" fmla="*/ 10 w 55"/>
                  <a:gd name="T9" fmla="*/ 31 h 41"/>
                  <a:gd name="T10" fmla="*/ 1 w 55"/>
                  <a:gd name="T11" fmla="*/ 32 h 41"/>
                  <a:gd name="T12" fmla="*/ 0 w 55"/>
                  <a:gd name="T13" fmla="*/ 32 h 41"/>
                  <a:gd name="T14" fmla="*/ 0 w 55"/>
                  <a:gd name="T15" fmla="*/ 31 h 41"/>
                  <a:gd name="T16" fmla="*/ 0 w 55"/>
                  <a:gd name="T17" fmla="*/ 31 h 41"/>
                  <a:gd name="T18" fmla="*/ 3 w 55"/>
                  <a:gd name="T19" fmla="*/ 27 h 41"/>
                  <a:gd name="T20" fmla="*/ 7 w 55"/>
                  <a:gd name="T21" fmla="*/ 24 h 41"/>
                  <a:gd name="T22" fmla="*/ 10 w 55"/>
                  <a:gd name="T23" fmla="*/ 19 h 41"/>
                  <a:gd name="T24" fmla="*/ 12 w 55"/>
                  <a:gd name="T25" fmla="*/ 16 h 41"/>
                  <a:gd name="T26" fmla="*/ 12 w 55"/>
                  <a:gd name="T27" fmla="*/ 16 h 41"/>
                  <a:gd name="T28" fmla="*/ 13 w 55"/>
                  <a:gd name="T29" fmla="*/ 8 h 41"/>
                  <a:gd name="T30" fmla="*/ 16 w 55"/>
                  <a:gd name="T31" fmla="*/ 5 h 41"/>
                  <a:gd name="T32" fmla="*/ 17 w 55"/>
                  <a:gd name="T33" fmla="*/ 3 h 41"/>
                  <a:gd name="T34" fmla="*/ 17 w 55"/>
                  <a:gd name="T35" fmla="*/ 3 h 41"/>
                  <a:gd name="T36" fmla="*/ 23 w 55"/>
                  <a:gd name="T37" fmla="*/ 2 h 41"/>
                  <a:gd name="T38" fmla="*/ 26 w 55"/>
                  <a:gd name="T39" fmla="*/ 0 h 41"/>
                  <a:gd name="T40" fmla="*/ 30 w 55"/>
                  <a:gd name="T41" fmla="*/ 2 h 41"/>
                  <a:gd name="T42" fmla="*/ 30 w 55"/>
                  <a:gd name="T43" fmla="*/ 2 h 41"/>
                  <a:gd name="T44" fmla="*/ 38 w 55"/>
                  <a:gd name="T45" fmla="*/ 3 h 41"/>
                  <a:gd name="T46" fmla="*/ 42 w 55"/>
                  <a:gd name="T47" fmla="*/ 6 h 41"/>
                  <a:gd name="T48" fmla="*/ 46 w 55"/>
                  <a:gd name="T49" fmla="*/ 9 h 41"/>
                  <a:gd name="T50" fmla="*/ 46 w 55"/>
                  <a:gd name="T51" fmla="*/ 9 h 41"/>
                  <a:gd name="T52" fmla="*/ 51 w 55"/>
                  <a:gd name="T53" fmla="*/ 16 h 41"/>
                  <a:gd name="T54" fmla="*/ 54 w 55"/>
                  <a:gd name="T55" fmla="*/ 28 h 41"/>
                  <a:gd name="T56" fmla="*/ 55 w 55"/>
                  <a:gd name="T57" fmla="*/ 37 h 41"/>
                  <a:gd name="T58" fmla="*/ 55 w 55"/>
                  <a:gd name="T59" fmla="*/ 40 h 41"/>
                  <a:gd name="T60" fmla="*/ 54 w 55"/>
                  <a:gd name="T61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5" h="41">
                    <a:moveTo>
                      <a:pt x="54" y="41"/>
                    </a:moveTo>
                    <a:lnTo>
                      <a:pt x="54" y="41"/>
                    </a:lnTo>
                    <a:lnTo>
                      <a:pt x="30" y="34"/>
                    </a:lnTo>
                    <a:lnTo>
                      <a:pt x="10" y="31"/>
                    </a:lnTo>
                    <a:lnTo>
                      <a:pt x="10" y="31"/>
                    </a:lnTo>
                    <a:lnTo>
                      <a:pt x="1" y="32"/>
                    </a:lnTo>
                    <a:lnTo>
                      <a:pt x="0" y="32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3" y="27"/>
                    </a:lnTo>
                    <a:lnTo>
                      <a:pt x="7" y="24"/>
                    </a:lnTo>
                    <a:lnTo>
                      <a:pt x="10" y="19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17" y="3"/>
                    </a:lnTo>
                    <a:lnTo>
                      <a:pt x="17" y="3"/>
                    </a:lnTo>
                    <a:lnTo>
                      <a:pt x="23" y="2"/>
                    </a:lnTo>
                    <a:lnTo>
                      <a:pt x="26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8" y="3"/>
                    </a:lnTo>
                    <a:lnTo>
                      <a:pt x="42" y="6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51" y="16"/>
                    </a:lnTo>
                    <a:lnTo>
                      <a:pt x="54" y="28"/>
                    </a:lnTo>
                    <a:lnTo>
                      <a:pt x="55" y="37"/>
                    </a:lnTo>
                    <a:lnTo>
                      <a:pt x="55" y="40"/>
                    </a:lnTo>
                    <a:lnTo>
                      <a:pt x="54" y="4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19" name="Freeform 1470"/>
              <p:cNvSpPr>
                <a:spLocks/>
              </p:cNvSpPr>
              <p:nvPr/>
            </p:nvSpPr>
            <p:spPr bwMode="auto">
              <a:xfrm>
                <a:off x="6618778" y="1556256"/>
                <a:ext cx="54409" cy="40560"/>
              </a:xfrm>
              <a:custGeom>
                <a:avLst/>
                <a:gdLst>
                  <a:gd name="T0" fmla="*/ 54 w 55"/>
                  <a:gd name="T1" fmla="*/ 41 h 41"/>
                  <a:gd name="T2" fmla="*/ 54 w 55"/>
                  <a:gd name="T3" fmla="*/ 41 h 41"/>
                  <a:gd name="T4" fmla="*/ 30 w 55"/>
                  <a:gd name="T5" fmla="*/ 34 h 41"/>
                  <a:gd name="T6" fmla="*/ 10 w 55"/>
                  <a:gd name="T7" fmla="*/ 31 h 41"/>
                  <a:gd name="T8" fmla="*/ 10 w 55"/>
                  <a:gd name="T9" fmla="*/ 31 h 41"/>
                  <a:gd name="T10" fmla="*/ 1 w 55"/>
                  <a:gd name="T11" fmla="*/ 32 h 41"/>
                  <a:gd name="T12" fmla="*/ 0 w 55"/>
                  <a:gd name="T13" fmla="*/ 32 h 41"/>
                  <a:gd name="T14" fmla="*/ 0 w 55"/>
                  <a:gd name="T15" fmla="*/ 31 h 41"/>
                  <a:gd name="T16" fmla="*/ 0 w 55"/>
                  <a:gd name="T17" fmla="*/ 31 h 41"/>
                  <a:gd name="T18" fmla="*/ 3 w 55"/>
                  <a:gd name="T19" fmla="*/ 27 h 41"/>
                  <a:gd name="T20" fmla="*/ 7 w 55"/>
                  <a:gd name="T21" fmla="*/ 24 h 41"/>
                  <a:gd name="T22" fmla="*/ 10 w 55"/>
                  <a:gd name="T23" fmla="*/ 19 h 41"/>
                  <a:gd name="T24" fmla="*/ 12 w 55"/>
                  <a:gd name="T25" fmla="*/ 16 h 41"/>
                  <a:gd name="T26" fmla="*/ 12 w 55"/>
                  <a:gd name="T27" fmla="*/ 16 h 41"/>
                  <a:gd name="T28" fmla="*/ 13 w 55"/>
                  <a:gd name="T29" fmla="*/ 8 h 41"/>
                  <a:gd name="T30" fmla="*/ 16 w 55"/>
                  <a:gd name="T31" fmla="*/ 5 h 41"/>
                  <a:gd name="T32" fmla="*/ 17 w 55"/>
                  <a:gd name="T33" fmla="*/ 3 h 41"/>
                  <a:gd name="T34" fmla="*/ 17 w 55"/>
                  <a:gd name="T35" fmla="*/ 3 h 41"/>
                  <a:gd name="T36" fmla="*/ 23 w 55"/>
                  <a:gd name="T37" fmla="*/ 2 h 41"/>
                  <a:gd name="T38" fmla="*/ 26 w 55"/>
                  <a:gd name="T39" fmla="*/ 0 h 41"/>
                  <a:gd name="T40" fmla="*/ 30 w 55"/>
                  <a:gd name="T41" fmla="*/ 2 h 41"/>
                  <a:gd name="T42" fmla="*/ 30 w 55"/>
                  <a:gd name="T43" fmla="*/ 2 h 41"/>
                  <a:gd name="T44" fmla="*/ 38 w 55"/>
                  <a:gd name="T45" fmla="*/ 3 h 41"/>
                  <a:gd name="T46" fmla="*/ 42 w 55"/>
                  <a:gd name="T47" fmla="*/ 6 h 41"/>
                  <a:gd name="T48" fmla="*/ 46 w 55"/>
                  <a:gd name="T49" fmla="*/ 9 h 41"/>
                  <a:gd name="T50" fmla="*/ 46 w 55"/>
                  <a:gd name="T51" fmla="*/ 9 h 41"/>
                  <a:gd name="T52" fmla="*/ 51 w 55"/>
                  <a:gd name="T53" fmla="*/ 16 h 41"/>
                  <a:gd name="T54" fmla="*/ 54 w 55"/>
                  <a:gd name="T55" fmla="*/ 28 h 41"/>
                  <a:gd name="T56" fmla="*/ 55 w 55"/>
                  <a:gd name="T57" fmla="*/ 37 h 41"/>
                  <a:gd name="T58" fmla="*/ 55 w 55"/>
                  <a:gd name="T59" fmla="*/ 40 h 41"/>
                  <a:gd name="T60" fmla="*/ 54 w 55"/>
                  <a:gd name="T61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5" h="41">
                    <a:moveTo>
                      <a:pt x="54" y="41"/>
                    </a:moveTo>
                    <a:lnTo>
                      <a:pt x="54" y="41"/>
                    </a:lnTo>
                    <a:lnTo>
                      <a:pt x="30" y="34"/>
                    </a:lnTo>
                    <a:lnTo>
                      <a:pt x="10" y="31"/>
                    </a:lnTo>
                    <a:lnTo>
                      <a:pt x="10" y="31"/>
                    </a:lnTo>
                    <a:lnTo>
                      <a:pt x="1" y="32"/>
                    </a:lnTo>
                    <a:lnTo>
                      <a:pt x="0" y="32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3" y="27"/>
                    </a:lnTo>
                    <a:lnTo>
                      <a:pt x="7" y="24"/>
                    </a:lnTo>
                    <a:lnTo>
                      <a:pt x="10" y="19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17" y="3"/>
                    </a:lnTo>
                    <a:lnTo>
                      <a:pt x="17" y="3"/>
                    </a:lnTo>
                    <a:lnTo>
                      <a:pt x="23" y="2"/>
                    </a:lnTo>
                    <a:lnTo>
                      <a:pt x="26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8" y="3"/>
                    </a:lnTo>
                    <a:lnTo>
                      <a:pt x="42" y="6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51" y="16"/>
                    </a:lnTo>
                    <a:lnTo>
                      <a:pt x="54" y="28"/>
                    </a:lnTo>
                    <a:lnTo>
                      <a:pt x="55" y="37"/>
                    </a:lnTo>
                    <a:lnTo>
                      <a:pt x="55" y="40"/>
                    </a:lnTo>
                    <a:lnTo>
                      <a:pt x="54" y="4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0" name="Freeform 1471"/>
              <p:cNvSpPr>
                <a:spLocks/>
              </p:cNvSpPr>
              <p:nvPr/>
            </p:nvSpPr>
            <p:spPr bwMode="auto">
              <a:xfrm>
                <a:off x="6618778" y="1538449"/>
                <a:ext cx="15828" cy="17807"/>
              </a:xfrm>
              <a:custGeom>
                <a:avLst/>
                <a:gdLst>
                  <a:gd name="T0" fmla="*/ 3 w 16"/>
                  <a:gd name="T1" fmla="*/ 18 h 18"/>
                  <a:gd name="T2" fmla="*/ 3 w 16"/>
                  <a:gd name="T3" fmla="*/ 18 h 18"/>
                  <a:gd name="T4" fmla="*/ 1 w 16"/>
                  <a:gd name="T5" fmla="*/ 16 h 18"/>
                  <a:gd name="T6" fmla="*/ 0 w 16"/>
                  <a:gd name="T7" fmla="*/ 14 h 18"/>
                  <a:gd name="T8" fmla="*/ 1 w 16"/>
                  <a:gd name="T9" fmla="*/ 7 h 18"/>
                  <a:gd name="T10" fmla="*/ 4 w 16"/>
                  <a:gd name="T11" fmla="*/ 3 h 18"/>
                  <a:gd name="T12" fmla="*/ 9 w 16"/>
                  <a:gd name="T13" fmla="*/ 0 h 18"/>
                  <a:gd name="T14" fmla="*/ 9 w 16"/>
                  <a:gd name="T15" fmla="*/ 0 h 18"/>
                  <a:gd name="T16" fmla="*/ 12 w 16"/>
                  <a:gd name="T17" fmla="*/ 0 h 18"/>
                  <a:gd name="T18" fmla="*/ 13 w 16"/>
                  <a:gd name="T19" fmla="*/ 1 h 18"/>
                  <a:gd name="T20" fmla="*/ 16 w 16"/>
                  <a:gd name="T21" fmla="*/ 5 h 18"/>
                  <a:gd name="T22" fmla="*/ 16 w 16"/>
                  <a:gd name="T23" fmla="*/ 5 h 18"/>
                  <a:gd name="T24" fmla="*/ 14 w 16"/>
                  <a:gd name="T25" fmla="*/ 8 h 18"/>
                  <a:gd name="T26" fmla="*/ 12 w 16"/>
                  <a:gd name="T27" fmla="*/ 14 h 18"/>
                  <a:gd name="T28" fmla="*/ 9 w 16"/>
                  <a:gd name="T29" fmla="*/ 18 h 18"/>
                  <a:gd name="T30" fmla="*/ 6 w 16"/>
                  <a:gd name="T31" fmla="*/ 18 h 18"/>
                  <a:gd name="T32" fmla="*/ 3 w 16"/>
                  <a:gd name="T3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18">
                    <a:moveTo>
                      <a:pt x="3" y="18"/>
                    </a:moveTo>
                    <a:lnTo>
                      <a:pt x="3" y="18"/>
                    </a:lnTo>
                    <a:lnTo>
                      <a:pt x="1" y="16"/>
                    </a:lnTo>
                    <a:lnTo>
                      <a:pt x="0" y="14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3" y="1"/>
                    </a:lnTo>
                    <a:lnTo>
                      <a:pt x="16" y="5"/>
                    </a:lnTo>
                    <a:lnTo>
                      <a:pt x="16" y="5"/>
                    </a:lnTo>
                    <a:lnTo>
                      <a:pt x="14" y="8"/>
                    </a:lnTo>
                    <a:lnTo>
                      <a:pt x="12" y="14"/>
                    </a:lnTo>
                    <a:lnTo>
                      <a:pt x="9" y="18"/>
                    </a:lnTo>
                    <a:lnTo>
                      <a:pt x="6" y="18"/>
                    </a:lnTo>
                    <a:lnTo>
                      <a:pt x="3" y="1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1" name="Freeform 1472"/>
              <p:cNvSpPr>
                <a:spLocks/>
              </p:cNvSpPr>
              <p:nvPr/>
            </p:nvSpPr>
            <p:spPr bwMode="auto">
              <a:xfrm>
                <a:off x="6618778" y="1538449"/>
                <a:ext cx="15828" cy="17807"/>
              </a:xfrm>
              <a:custGeom>
                <a:avLst/>
                <a:gdLst>
                  <a:gd name="T0" fmla="*/ 3 w 16"/>
                  <a:gd name="T1" fmla="*/ 18 h 18"/>
                  <a:gd name="T2" fmla="*/ 3 w 16"/>
                  <a:gd name="T3" fmla="*/ 18 h 18"/>
                  <a:gd name="T4" fmla="*/ 1 w 16"/>
                  <a:gd name="T5" fmla="*/ 16 h 18"/>
                  <a:gd name="T6" fmla="*/ 0 w 16"/>
                  <a:gd name="T7" fmla="*/ 14 h 18"/>
                  <a:gd name="T8" fmla="*/ 1 w 16"/>
                  <a:gd name="T9" fmla="*/ 7 h 18"/>
                  <a:gd name="T10" fmla="*/ 4 w 16"/>
                  <a:gd name="T11" fmla="*/ 3 h 18"/>
                  <a:gd name="T12" fmla="*/ 9 w 16"/>
                  <a:gd name="T13" fmla="*/ 0 h 18"/>
                  <a:gd name="T14" fmla="*/ 9 w 16"/>
                  <a:gd name="T15" fmla="*/ 0 h 18"/>
                  <a:gd name="T16" fmla="*/ 12 w 16"/>
                  <a:gd name="T17" fmla="*/ 0 h 18"/>
                  <a:gd name="T18" fmla="*/ 13 w 16"/>
                  <a:gd name="T19" fmla="*/ 1 h 18"/>
                  <a:gd name="T20" fmla="*/ 16 w 16"/>
                  <a:gd name="T21" fmla="*/ 5 h 18"/>
                  <a:gd name="T22" fmla="*/ 16 w 16"/>
                  <a:gd name="T23" fmla="*/ 5 h 18"/>
                  <a:gd name="T24" fmla="*/ 14 w 16"/>
                  <a:gd name="T25" fmla="*/ 8 h 18"/>
                  <a:gd name="T26" fmla="*/ 12 w 16"/>
                  <a:gd name="T27" fmla="*/ 14 h 18"/>
                  <a:gd name="T28" fmla="*/ 9 w 16"/>
                  <a:gd name="T29" fmla="*/ 18 h 18"/>
                  <a:gd name="T30" fmla="*/ 6 w 16"/>
                  <a:gd name="T31" fmla="*/ 18 h 18"/>
                  <a:gd name="T32" fmla="*/ 3 w 16"/>
                  <a:gd name="T3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18">
                    <a:moveTo>
                      <a:pt x="3" y="18"/>
                    </a:moveTo>
                    <a:lnTo>
                      <a:pt x="3" y="18"/>
                    </a:lnTo>
                    <a:lnTo>
                      <a:pt x="1" y="16"/>
                    </a:lnTo>
                    <a:lnTo>
                      <a:pt x="0" y="14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3" y="1"/>
                    </a:lnTo>
                    <a:lnTo>
                      <a:pt x="16" y="5"/>
                    </a:lnTo>
                    <a:lnTo>
                      <a:pt x="16" y="5"/>
                    </a:lnTo>
                    <a:lnTo>
                      <a:pt x="14" y="8"/>
                    </a:lnTo>
                    <a:lnTo>
                      <a:pt x="12" y="14"/>
                    </a:lnTo>
                    <a:lnTo>
                      <a:pt x="9" y="18"/>
                    </a:lnTo>
                    <a:lnTo>
                      <a:pt x="6" y="18"/>
                    </a:lnTo>
                    <a:lnTo>
                      <a:pt x="3" y="1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2" name="Freeform 1473"/>
              <p:cNvSpPr>
                <a:spLocks/>
              </p:cNvSpPr>
              <p:nvPr/>
            </p:nvSpPr>
            <p:spPr bwMode="auto">
              <a:xfrm>
                <a:off x="6567337" y="1420728"/>
                <a:ext cx="137507" cy="92001"/>
              </a:xfrm>
              <a:custGeom>
                <a:avLst/>
                <a:gdLst>
                  <a:gd name="T0" fmla="*/ 87 w 139"/>
                  <a:gd name="T1" fmla="*/ 81 h 93"/>
                  <a:gd name="T2" fmla="*/ 84 w 139"/>
                  <a:gd name="T3" fmla="*/ 75 h 93"/>
                  <a:gd name="T4" fmla="*/ 78 w 139"/>
                  <a:gd name="T5" fmla="*/ 75 h 93"/>
                  <a:gd name="T6" fmla="*/ 66 w 139"/>
                  <a:gd name="T7" fmla="*/ 79 h 93"/>
                  <a:gd name="T8" fmla="*/ 55 w 139"/>
                  <a:gd name="T9" fmla="*/ 78 h 93"/>
                  <a:gd name="T10" fmla="*/ 48 w 139"/>
                  <a:gd name="T11" fmla="*/ 74 h 93"/>
                  <a:gd name="T12" fmla="*/ 43 w 139"/>
                  <a:gd name="T13" fmla="*/ 74 h 93"/>
                  <a:gd name="T14" fmla="*/ 42 w 139"/>
                  <a:gd name="T15" fmla="*/ 82 h 93"/>
                  <a:gd name="T16" fmla="*/ 36 w 139"/>
                  <a:gd name="T17" fmla="*/ 93 h 93"/>
                  <a:gd name="T18" fmla="*/ 26 w 139"/>
                  <a:gd name="T19" fmla="*/ 91 h 93"/>
                  <a:gd name="T20" fmla="*/ 20 w 139"/>
                  <a:gd name="T21" fmla="*/ 84 h 93"/>
                  <a:gd name="T22" fmla="*/ 8 w 139"/>
                  <a:gd name="T23" fmla="*/ 68 h 93"/>
                  <a:gd name="T24" fmla="*/ 0 w 139"/>
                  <a:gd name="T25" fmla="*/ 53 h 93"/>
                  <a:gd name="T26" fmla="*/ 0 w 139"/>
                  <a:gd name="T27" fmla="*/ 51 h 93"/>
                  <a:gd name="T28" fmla="*/ 8 w 139"/>
                  <a:gd name="T29" fmla="*/ 52 h 93"/>
                  <a:gd name="T30" fmla="*/ 8 w 139"/>
                  <a:gd name="T31" fmla="*/ 46 h 93"/>
                  <a:gd name="T32" fmla="*/ 6 w 139"/>
                  <a:gd name="T33" fmla="*/ 32 h 93"/>
                  <a:gd name="T34" fmla="*/ 8 w 139"/>
                  <a:gd name="T35" fmla="*/ 29 h 93"/>
                  <a:gd name="T36" fmla="*/ 10 w 139"/>
                  <a:gd name="T37" fmla="*/ 27 h 93"/>
                  <a:gd name="T38" fmla="*/ 10 w 139"/>
                  <a:gd name="T39" fmla="*/ 13 h 93"/>
                  <a:gd name="T40" fmla="*/ 26 w 139"/>
                  <a:gd name="T41" fmla="*/ 4 h 93"/>
                  <a:gd name="T42" fmla="*/ 32 w 139"/>
                  <a:gd name="T43" fmla="*/ 0 h 93"/>
                  <a:gd name="T44" fmla="*/ 37 w 139"/>
                  <a:gd name="T45" fmla="*/ 4 h 93"/>
                  <a:gd name="T46" fmla="*/ 48 w 139"/>
                  <a:gd name="T47" fmla="*/ 16 h 93"/>
                  <a:gd name="T48" fmla="*/ 50 w 139"/>
                  <a:gd name="T49" fmla="*/ 23 h 93"/>
                  <a:gd name="T50" fmla="*/ 59 w 139"/>
                  <a:gd name="T51" fmla="*/ 23 h 93"/>
                  <a:gd name="T52" fmla="*/ 61 w 139"/>
                  <a:gd name="T53" fmla="*/ 24 h 93"/>
                  <a:gd name="T54" fmla="*/ 65 w 139"/>
                  <a:gd name="T55" fmla="*/ 35 h 93"/>
                  <a:gd name="T56" fmla="*/ 69 w 139"/>
                  <a:gd name="T57" fmla="*/ 32 h 93"/>
                  <a:gd name="T58" fmla="*/ 69 w 139"/>
                  <a:gd name="T59" fmla="*/ 16 h 93"/>
                  <a:gd name="T60" fmla="*/ 74 w 139"/>
                  <a:gd name="T61" fmla="*/ 9 h 93"/>
                  <a:gd name="T62" fmla="*/ 74 w 139"/>
                  <a:gd name="T63" fmla="*/ 3 h 93"/>
                  <a:gd name="T64" fmla="*/ 78 w 139"/>
                  <a:gd name="T65" fmla="*/ 3 h 93"/>
                  <a:gd name="T66" fmla="*/ 85 w 139"/>
                  <a:gd name="T67" fmla="*/ 11 h 93"/>
                  <a:gd name="T68" fmla="*/ 100 w 139"/>
                  <a:gd name="T69" fmla="*/ 23 h 93"/>
                  <a:gd name="T70" fmla="*/ 114 w 139"/>
                  <a:gd name="T71" fmla="*/ 23 h 93"/>
                  <a:gd name="T72" fmla="*/ 132 w 139"/>
                  <a:gd name="T73" fmla="*/ 35 h 93"/>
                  <a:gd name="T74" fmla="*/ 137 w 139"/>
                  <a:gd name="T75" fmla="*/ 40 h 93"/>
                  <a:gd name="T76" fmla="*/ 130 w 139"/>
                  <a:gd name="T77" fmla="*/ 45 h 93"/>
                  <a:gd name="T78" fmla="*/ 130 w 139"/>
                  <a:gd name="T79" fmla="*/ 55 h 93"/>
                  <a:gd name="T80" fmla="*/ 129 w 139"/>
                  <a:gd name="T81" fmla="*/ 62 h 93"/>
                  <a:gd name="T82" fmla="*/ 116 w 139"/>
                  <a:gd name="T83" fmla="*/ 72 h 93"/>
                  <a:gd name="T84" fmla="*/ 104 w 139"/>
                  <a:gd name="T85" fmla="*/ 68 h 93"/>
                  <a:gd name="T86" fmla="*/ 97 w 139"/>
                  <a:gd name="T87" fmla="*/ 62 h 93"/>
                  <a:gd name="T88" fmla="*/ 94 w 139"/>
                  <a:gd name="T89" fmla="*/ 45 h 93"/>
                  <a:gd name="T90" fmla="*/ 98 w 139"/>
                  <a:gd name="T91" fmla="*/ 35 h 93"/>
                  <a:gd name="T92" fmla="*/ 92 w 139"/>
                  <a:gd name="T93" fmla="*/ 32 h 93"/>
                  <a:gd name="T94" fmla="*/ 87 w 139"/>
                  <a:gd name="T95" fmla="*/ 35 h 93"/>
                  <a:gd name="T96" fmla="*/ 85 w 139"/>
                  <a:gd name="T97" fmla="*/ 46 h 93"/>
                  <a:gd name="T98" fmla="*/ 94 w 139"/>
                  <a:gd name="T99" fmla="*/ 68 h 93"/>
                  <a:gd name="T100" fmla="*/ 100 w 139"/>
                  <a:gd name="T101" fmla="*/ 72 h 93"/>
                  <a:gd name="T102" fmla="*/ 108 w 139"/>
                  <a:gd name="T103" fmla="*/ 78 h 93"/>
                  <a:gd name="T104" fmla="*/ 100 w 139"/>
                  <a:gd name="T105" fmla="*/ 79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9" h="93">
                    <a:moveTo>
                      <a:pt x="90" y="81"/>
                    </a:moveTo>
                    <a:lnTo>
                      <a:pt x="90" y="81"/>
                    </a:lnTo>
                    <a:lnTo>
                      <a:pt x="87" y="81"/>
                    </a:lnTo>
                    <a:lnTo>
                      <a:pt x="85" y="79"/>
                    </a:lnTo>
                    <a:lnTo>
                      <a:pt x="84" y="75"/>
                    </a:lnTo>
                    <a:lnTo>
                      <a:pt x="84" y="75"/>
                    </a:lnTo>
                    <a:lnTo>
                      <a:pt x="84" y="74"/>
                    </a:lnTo>
                    <a:lnTo>
                      <a:pt x="84" y="74"/>
                    </a:lnTo>
                    <a:lnTo>
                      <a:pt x="78" y="75"/>
                    </a:lnTo>
                    <a:lnTo>
                      <a:pt x="78" y="75"/>
                    </a:lnTo>
                    <a:lnTo>
                      <a:pt x="72" y="78"/>
                    </a:lnTo>
                    <a:lnTo>
                      <a:pt x="66" y="79"/>
                    </a:lnTo>
                    <a:lnTo>
                      <a:pt x="59" y="79"/>
                    </a:lnTo>
                    <a:lnTo>
                      <a:pt x="55" y="78"/>
                    </a:lnTo>
                    <a:lnTo>
                      <a:pt x="55" y="78"/>
                    </a:lnTo>
                    <a:lnTo>
                      <a:pt x="52" y="77"/>
                    </a:lnTo>
                    <a:lnTo>
                      <a:pt x="49" y="75"/>
                    </a:lnTo>
                    <a:lnTo>
                      <a:pt x="48" y="74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3" y="74"/>
                    </a:lnTo>
                    <a:lnTo>
                      <a:pt x="43" y="77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90"/>
                    </a:lnTo>
                    <a:lnTo>
                      <a:pt x="40" y="93"/>
                    </a:lnTo>
                    <a:lnTo>
                      <a:pt x="36" y="93"/>
                    </a:lnTo>
                    <a:lnTo>
                      <a:pt x="36" y="93"/>
                    </a:lnTo>
                    <a:lnTo>
                      <a:pt x="30" y="93"/>
                    </a:lnTo>
                    <a:lnTo>
                      <a:pt x="26" y="91"/>
                    </a:lnTo>
                    <a:lnTo>
                      <a:pt x="23" y="88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19" y="79"/>
                    </a:lnTo>
                    <a:lnTo>
                      <a:pt x="16" y="75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" y="58"/>
                    </a:lnTo>
                    <a:lnTo>
                      <a:pt x="0" y="53"/>
                    </a:lnTo>
                    <a:lnTo>
                      <a:pt x="0" y="52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4" y="51"/>
                    </a:lnTo>
                    <a:lnTo>
                      <a:pt x="6" y="52"/>
                    </a:lnTo>
                    <a:lnTo>
                      <a:pt x="8" y="52"/>
                    </a:lnTo>
                    <a:lnTo>
                      <a:pt x="8" y="51"/>
                    </a:lnTo>
                    <a:lnTo>
                      <a:pt x="8" y="51"/>
                    </a:lnTo>
                    <a:lnTo>
                      <a:pt x="8" y="46"/>
                    </a:lnTo>
                    <a:lnTo>
                      <a:pt x="7" y="40"/>
                    </a:lnTo>
                    <a:lnTo>
                      <a:pt x="6" y="35"/>
                    </a:lnTo>
                    <a:lnTo>
                      <a:pt x="6" y="32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8" y="29"/>
                    </a:lnTo>
                    <a:lnTo>
                      <a:pt x="10" y="29"/>
                    </a:lnTo>
                    <a:lnTo>
                      <a:pt x="10" y="27"/>
                    </a:lnTo>
                    <a:lnTo>
                      <a:pt x="10" y="27"/>
                    </a:lnTo>
                    <a:lnTo>
                      <a:pt x="8" y="19"/>
                    </a:lnTo>
                    <a:lnTo>
                      <a:pt x="8" y="16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7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1"/>
                    </a:lnTo>
                    <a:lnTo>
                      <a:pt x="32" y="0"/>
                    </a:lnTo>
                    <a:lnTo>
                      <a:pt x="35" y="1"/>
                    </a:lnTo>
                    <a:lnTo>
                      <a:pt x="37" y="4"/>
                    </a:lnTo>
                    <a:lnTo>
                      <a:pt x="37" y="4"/>
                    </a:lnTo>
                    <a:lnTo>
                      <a:pt x="43" y="10"/>
                    </a:lnTo>
                    <a:lnTo>
                      <a:pt x="46" y="13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9" y="22"/>
                    </a:lnTo>
                    <a:lnTo>
                      <a:pt x="50" y="23"/>
                    </a:lnTo>
                    <a:lnTo>
                      <a:pt x="53" y="24"/>
                    </a:lnTo>
                    <a:lnTo>
                      <a:pt x="53" y="24"/>
                    </a:lnTo>
                    <a:lnTo>
                      <a:pt x="59" y="23"/>
                    </a:lnTo>
                    <a:lnTo>
                      <a:pt x="61" y="23"/>
                    </a:lnTo>
                    <a:lnTo>
                      <a:pt x="61" y="24"/>
                    </a:lnTo>
                    <a:lnTo>
                      <a:pt x="61" y="24"/>
                    </a:lnTo>
                    <a:lnTo>
                      <a:pt x="62" y="32"/>
                    </a:lnTo>
                    <a:lnTo>
                      <a:pt x="64" y="33"/>
                    </a:lnTo>
                    <a:lnTo>
                      <a:pt x="65" y="35"/>
                    </a:lnTo>
                    <a:lnTo>
                      <a:pt x="65" y="35"/>
                    </a:lnTo>
                    <a:lnTo>
                      <a:pt x="68" y="33"/>
                    </a:lnTo>
                    <a:lnTo>
                      <a:pt x="69" y="32"/>
                    </a:lnTo>
                    <a:lnTo>
                      <a:pt x="69" y="24"/>
                    </a:lnTo>
                    <a:lnTo>
                      <a:pt x="69" y="24"/>
                    </a:lnTo>
                    <a:lnTo>
                      <a:pt x="69" y="16"/>
                    </a:lnTo>
                    <a:lnTo>
                      <a:pt x="71" y="11"/>
                    </a:lnTo>
                    <a:lnTo>
                      <a:pt x="74" y="9"/>
                    </a:lnTo>
                    <a:lnTo>
                      <a:pt x="74" y="9"/>
                    </a:lnTo>
                    <a:lnTo>
                      <a:pt x="75" y="7"/>
                    </a:lnTo>
                    <a:lnTo>
                      <a:pt x="74" y="4"/>
                    </a:lnTo>
                    <a:lnTo>
                      <a:pt x="74" y="3"/>
                    </a:lnTo>
                    <a:lnTo>
                      <a:pt x="75" y="1"/>
                    </a:lnTo>
                    <a:lnTo>
                      <a:pt x="75" y="1"/>
                    </a:lnTo>
                    <a:lnTo>
                      <a:pt x="78" y="3"/>
                    </a:lnTo>
                    <a:lnTo>
                      <a:pt x="79" y="6"/>
                    </a:lnTo>
                    <a:lnTo>
                      <a:pt x="85" y="11"/>
                    </a:lnTo>
                    <a:lnTo>
                      <a:pt x="85" y="11"/>
                    </a:lnTo>
                    <a:lnTo>
                      <a:pt x="92" y="19"/>
                    </a:lnTo>
                    <a:lnTo>
                      <a:pt x="95" y="22"/>
                    </a:lnTo>
                    <a:lnTo>
                      <a:pt x="100" y="23"/>
                    </a:lnTo>
                    <a:lnTo>
                      <a:pt x="100" y="23"/>
                    </a:lnTo>
                    <a:lnTo>
                      <a:pt x="110" y="22"/>
                    </a:lnTo>
                    <a:lnTo>
                      <a:pt x="114" y="23"/>
                    </a:lnTo>
                    <a:lnTo>
                      <a:pt x="119" y="24"/>
                    </a:lnTo>
                    <a:lnTo>
                      <a:pt x="119" y="24"/>
                    </a:lnTo>
                    <a:lnTo>
                      <a:pt x="132" y="35"/>
                    </a:lnTo>
                    <a:lnTo>
                      <a:pt x="137" y="37"/>
                    </a:lnTo>
                    <a:lnTo>
                      <a:pt x="139" y="39"/>
                    </a:lnTo>
                    <a:lnTo>
                      <a:pt x="137" y="40"/>
                    </a:lnTo>
                    <a:lnTo>
                      <a:pt x="137" y="40"/>
                    </a:lnTo>
                    <a:lnTo>
                      <a:pt x="133" y="43"/>
                    </a:lnTo>
                    <a:lnTo>
                      <a:pt x="130" y="45"/>
                    </a:lnTo>
                    <a:lnTo>
                      <a:pt x="129" y="46"/>
                    </a:lnTo>
                    <a:lnTo>
                      <a:pt x="129" y="46"/>
                    </a:lnTo>
                    <a:lnTo>
                      <a:pt x="130" y="55"/>
                    </a:lnTo>
                    <a:lnTo>
                      <a:pt x="130" y="59"/>
                    </a:lnTo>
                    <a:lnTo>
                      <a:pt x="129" y="62"/>
                    </a:lnTo>
                    <a:lnTo>
                      <a:pt x="129" y="62"/>
                    </a:lnTo>
                    <a:lnTo>
                      <a:pt x="121" y="69"/>
                    </a:lnTo>
                    <a:lnTo>
                      <a:pt x="119" y="72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08" y="69"/>
                    </a:lnTo>
                    <a:lnTo>
                      <a:pt x="104" y="68"/>
                    </a:lnTo>
                    <a:lnTo>
                      <a:pt x="100" y="66"/>
                    </a:lnTo>
                    <a:lnTo>
                      <a:pt x="100" y="66"/>
                    </a:lnTo>
                    <a:lnTo>
                      <a:pt x="97" y="62"/>
                    </a:lnTo>
                    <a:lnTo>
                      <a:pt x="95" y="55"/>
                    </a:lnTo>
                    <a:lnTo>
                      <a:pt x="94" y="49"/>
                    </a:lnTo>
                    <a:lnTo>
                      <a:pt x="94" y="45"/>
                    </a:lnTo>
                    <a:lnTo>
                      <a:pt x="94" y="45"/>
                    </a:lnTo>
                    <a:lnTo>
                      <a:pt x="97" y="37"/>
                    </a:lnTo>
                    <a:lnTo>
                      <a:pt x="98" y="35"/>
                    </a:lnTo>
                    <a:lnTo>
                      <a:pt x="98" y="33"/>
                    </a:lnTo>
                    <a:lnTo>
                      <a:pt x="98" y="33"/>
                    </a:lnTo>
                    <a:lnTo>
                      <a:pt x="92" y="32"/>
                    </a:lnTo>
                    <a:lnTo>
                      <a:pt x="90" y="33"/>
                    </a:lnTo>
                    <a:lnTo>
                      <a:pt x="87" y="35"/>
                    </a:lnTo>
                    <a:lnTo>
                      <a:pt x="87" y="35"/>
                    </a:lnTo>
                    <a:lnTo>
                      <a:pt x="85" y="36"/>
                    </a:lnTo>
                    <a:lnTo>
                      <a:pt x="85" y="40"/>
                    </a:lnTo>
                    <a:lnTo>
                      <a:pt x="85" y="46"/>
                    </a:lnTo>
                    <a:lnTo>
                      <a:pt x="85" y="46"/>
                    </a:lnTo>
                    <a:lnTo>
                      <a:pt x="90" y="59"/>
                    </a:lnTo>
                    <a:lnTo>
                      <a:pt x="94" y="68"/>
                    </a:lnTo>
                    <a:lnTo>
                      <a:pt x="97" y="71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8" y="77"/>
                    </a:lnTo>
                    <a:lnTo>
                      <a:pt x="110" y="77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6" y="79"/>
                    </a:lnTo>
                    <a:lnTo>
                      <a:pt x="100" y="79"/>
                    </a:lnTo>
                    <a:lnTo>
                      <a:pt x="90" y="8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3" name="Freeform 1474"/>
              <p:cNvSpPr>
                <a:spLocks/>
              </p:cNvSpPr>
              <p:nvPr/>
            </p:nvSpPr>
            <p:spPr bwMode="auto">
              <a:xfrm>
                <a:off x="6567337" y="1420728"/>
                <a:ext cx="137507" cy="92001"/>
              </a:xfrm>
              <a:custGeom>
                <a:avLst/>
                <a:gdLst>
                  <a:gd name="T0" fmla="*/ 87 w 139"/>
                  <a:gd name="T1" fmla="*/ 81 h 93"/>
                  <a:gd name="T2" fmla="*/ 84 w 139"/>
                  <a:gd name="T3" fmla="*/ 75 h 93"/>
                  <a:gd name="T4" fmla="*/ 78 w 139"/>
                  <a:gd name="T5" fmla="*/ 75 h 93"/>
                  <a:gd name="T6" fmla="*/ 66 w 139"/>
                  <a:gd name="T7" fmla="*/ 79 h 93"/>
                  <a:gd name="T8" fmla="*/ 55 w 139"/>
                  <a:gd name="T9" fmla="*/ 78 h 93"/>
                  <a:gd name="T10" fmla="*/ 48 w 139"/>
                  <a:gd name="T11" fmla="*/ 74 h 93"/>
                  <a:gd name="T12" fmla="*/ 43 w 139"/>
                  <a:gd name="T13" fmla="*/ 74 h 93"/>
                  <a:gd name="T14" fmla="*/ 42 w 139"/>
                  <a:gd name="T15" fmla="*/ 82 h 93"/>
                  <a:gd name="T16" fmla="*/ 36 w 139"/>
                  <a:gd name="T17" fmla="*/ 93 h 93"/>
                  <a:gd name="T18" fmla="*/ 26 w 139"/>
                  <a:gd name="T19" fmla="*/ 91 h 93"/>
                  <a:gd name="T20" fmla="*/ 20 w 139"/>
                  <a:gd name="T21" fmla="*/ 84 h 93"/>
                  <a:gd name="T22" fmla="*/ 8 w 139"/>
                  <a:gd name="T23" fmla="*/ 68 h 93"/>
                  <a:gd name="T24" fmla="*/ 0 w 139"/>
                  <a:gd name="T25" fmla="*/ 53 h 93"/>
                  <a:gd name="T26" fmla="*/ 0 w 139"/>
                  <a:gd name="T27" fmla="*/ 51 h 93"/>
                  <a:gd name="T28" fmla="*/ 8 w 139"/>
                  <a:gd name="T29" fmla="*/ 52 h 93"/>
                  <a:gd name="T30" fmla="*/ 8 w 139"/>
                  <a:gd name="T31" fmla="*/ 46 h 93"/>
                  <a:gd name="T32" fmla="*/ 6 w 139"/>
                  <a:gd name="T33" fmla="*/ 32 h 93"/>
                  <a:gd name="T34" fmla="*/ 8 w 139"/>
                  <a:gd name="T35" fmla="*/ 29 h 93"/>
                  <a:gd name="T36" fmla="*/ 10 w 139"/>
                  <a:gd name="T37" fmla="*/ 27 h 93"/>
                  <a:gd name="T38" fmla="*/ 10 w 139"/>
                  <a:gd name="T39" fmla="*/ 13 h 93"/>
                  <a:gd name="T40" fmla="*/ 26 w 139"/>
                  <a:gd name="T41" fmla="*/ 4 h 93"/>
                  <a:gd name="T42" fmla="*/ 32 w 139"/>
                  <a:gd name="T43" fmla="*/ 0 h 93"/>
                  <a:gd name="T44" fmla="*/ 37 w 139"/>
                  <a:gd name="T45" fmla="*/ 4 h 93"/>
                  <a:gd name="T46" fmla="*/ 48 w 139"/>
                  <a:gd name="T47" fmla="*/ 16 h 93"/>
                  <a:gd name="T48" fmla="*/ 50 w 139"/>
                  <a:gd name="T49" fmla="*/ 23 h 93"/>
                  <a:gd name="T50" fmla="*/ 59 w 139"/>
                  <a:gd name="T51" fmla="*/ 23 h 93"/>
                  <a:gd name="T52" fmla="*/ 61 w 139"/>
                  <a:gd name="T53" fmla="*/ 24 h 93"/>
                  <a:gd name="T54" fmla="*/ 65 w 139"/>
                  <a:gd name="T55" fmla="*/ 35 h 93"/>
                  <a:gd name="T56" fmla="*/ 69 w 139"/>
                  <a:gd name="T57" fmla="*/ 32 h 93"/>
                  <a:gd name="T58" fmla="*/ 69 w 139"/>
                  <a:gd name="T59" fmla="*/ 16 h 93"/>
                  <a:gd name="T60" fmla="*/ 74 w 139"/>
                  <a:gd name="T61" fmla="*/ 9 h 93"/>
                  <a:gd name="T62" fmla="*/ 74 w 139"/>
                  <a:gd name="T63" fmla="*/ 3 h 93"/>
                  <a:gd name="T64" fmla="*/ 78 w 139"/>
                  <a:gd name="T65" fmla="*/ 3 h 93"/>
                  <a:gd name="T66" fmla="*/ 85 w 139"/>
                  <a:gd name="T67" fmla="*/ 11 h 93"/>
                  <a:gd name="T68" fmla="*/ 100 w 139"/>
                  <a:gd name="T69" fmla="*/ 23 h 93"/>
                  <a:gd name="T70" fmla="*/ 114 w 139"/>
                  <a:gd name="T71" fmla="*/ 23 h 93"/>
                  <a:gd name="T72" fmla="*/ 132 w 139"/>
                  <a:gd name="T73" fmla="*/ 35 h 93"/>
                  <a:gd name="T74" fmla="*/ 137 w 139"/>
                  <a:gd name="T75" fmla="*/ 40 h 93"/>
                  <a:gd name="T76" fmla="*/ 130 w 139"/>
                  <a:gd name="T77" fmla="*/ 45 h 93"/>
                  <a:gd name="T78" fmla="*/ 130 w 139"/>
                  <a:gd name="T79" fmla="*/ 55 h 93"/>
                  <a:gd name="T80" fmla="*/ 129 w 139"/>
                  <a:gd name="T81" fmla="*/ 62 h 93"/>
                  <a:gd name="T82" fmla="*/ 116 w 139"/>
                  <a:gd name="T83" fmla="*/ 72 h 93"/>
                  <a:gd name="T84" fmla="*/ 104 w 139"/>
                  <a:gd name="T85" fmla="*/ 68 h 93"/>
                  <a:gd name="T86" fmla="*/ 97 w 139"/>
                  <a:gd name="T87" fmla="*/ 62 h 93"/>
                  <a:gd name="T88" fmla="*/ 94 w 139"/>
                  <a:gd name="T89" fmla="*/ 45 h 93"/>
                  <a:gd name="T90" fmla="*/ 98 w 139"/>
                  <a:gd name="T91" fmla="*/ 35 h 93"/>
                  <a:gd name="T92" fmla="*/ 92 w 139"/>
                  <a:gd name="T93" fmla="*/ 32 h 93"/>
                  <a:gd name="T94" fmla="*/ 87 w 139"/>
                  <a:gd name="T95" fmla="*/ 35 h 93"/>
                  <a:gd name="T96" fmla="*/ 85 w 139"/>
                  <a:gd name="T97" fmla="*/ 46 h 93"/>
                  <a:gd name="T98" fmla="*/ 94 w 139"/>
                  <a:gd name="T99" fmla="*/ 68 h 93"/>
                  <a:gd name="T100" fmla="*/ 100 w 139"/>
                  <a:gd name="T101" fmla="*/ 72 h 93"/>
                  <a:gd name="T102" fmla="*/ 108 w 139"/>
                  <a:gd name="T103" fmla="*/ 78 h 93"/>
                  <a:gd name="T104" fmla="*/ 100 w 139"/>
                  <a:gd name="T105" fmla="*/ 79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9" h="93">
                    <a:moveTo>
                      <a:pt x="90" y="81"/>
                    </a:moveTo>
                    <a:lnTo>
                      <a:pt x="90" y="81"/>
                    </a:lnTo>
                    <a:lnTo>
                      <a:pt x="87" y="81"/>
                    </a:lnTo>
                    <a:lnTo>
                      <a:pt x="85" y="79"/>
                    </a:lnTo>
                    <a:lnTo>
                      <a:pt x="84" y="75"/>
                    </a:lnTo>
                    <a:lnTo>
                      <a:pt x="84" y="75"/>
                    </a:lnTo>
                    <a:lnTo>
                      <a:pt x="84" y="74"/>
                    </a:lnTo>
                    <a:lnTo>
                      <a:pt x="84" y="74"/>
                    </a:lnTo>
                    <a:lnTo>
                      <a:pt x="78" y="75"/>
                    </a:lnTo>
                    <a:lnTo>
                      <a:pt x="78" y="75"/>
                    </a:lnTo>
                    <a:lnTo>
                      <a:pt x="72" y="78"/>
                    </a:lnTo>
                    <a:lnTo>
                      <a:pt x="66" y="79"/>
                    </a:lnTo>
                    <a:lnTo>
                      <a:pt x="59" y="79"/>
                    </a:lnTo>
                    <a:lnTo>
                      <a:pt x="55" y="78"/>
                    </a:lnTo>
                    <a:lnTo>
                      <a:pt x="55" y="78"/>
                    </a:lnTo>
                    <a:lnTo>
                      <a:pt x="52" y="77"/>
                    </a:lnTo>
                    <a:lnTo>
                      <a:pt x="49" y="75"/>
                    </a:lnTo>
                    <a:lnTo>
                      <a:pt x="48" y="74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3" y="74"/>
                    </a:lnTo>
                    <a:lnTo>
                      <a:pt x="43" y="77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90"/>
                    </a:lnTo>
                    <a:lnTo>
                      <a:pt x="40" y="93"/>
                    </a:lnTo>
                    <a:lnTo>
                      <a:pt x="36" y="93"/>
                    </a:lnTo>
                    <a:lnTo>
                      <a:pt x="36" y="93"/>
                    </a:lnTo>
                    <a:lnTo>
                      <a:pt x="30" y="93"/>
                    </a:lnTo>
                    <a:lnTo>
                      <a:pt x="26" y="91"/>
                    </a:lnTo>
                    <a:lnTo>
                      <a:pt x="23" y="88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19" y="79"/>
                    </a:lnTo>
                    <a:lnTo>
                      <a:pt x="16" y="75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" y="58"/>
                    </a:lnTo>
                    <a:lnTo>
                      <a:pt x="0" y="53"/>
                    </a:lnTo>
                    <a:lnTo>
                      <a:pt x="0" y="52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4" y="51"/>
                    </a:lnTo>
                    <a:lnTo>
                      <a:pt x="6" y="52"/>
                    </a:lnTo>
                    <a:lnTo>
                      <a:pt x="8" y="52"/>
                    </a:lnTo>
                    <a:lnTo>
                      <a:pt x="8" y="51"/>
                    </a:lnTo>
                    <a:lnTo>
                      <a:pt x="8" y="51"/>
                    </a:lnTo>
                    <a:lnTo>
                      <a:pt x="8" y="46"/>
                    </a:lnTo>
                    <a:lnTo>
                      <a:pt x="7" y="40"/>
                    </a:lnTo>
                    <a:lnTo>
                      <a:pt x="6" y="35"/>
                    </a:lnTo>
                    <a:lnTo>
                      <a:pt x="6" y="32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8" y="29"/>
                    </a:lnTo>
                    <a:lnTo>
                      <a:pt x="10" y="29"/>
                    </a:lnTo>
                    <a:lnTo>
                      <a:pt x="10" y="27"/>
                    </a:lnTo>
                    <a:lnTo>
                      <a:pt x="10" y="27"/>
                    </a:lnTo>
                    <a:lnTo>
                      <a:pt x="8" y="19"/>
                    </a:lnTo>
                    <a:lnTo>
                      <a:pt x="8" y="16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7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1"/>
                    </a:lnTo>
                    <a:lnTo>
                      <a:pt x="32" y="0"/>
                    </a:lnTo>
                    <a:lnTo>
                      <a:pt x="35" y="1"/>
                    </a:lnTo>
                    <a:lnTo>
                      <a:pt x="37" y="4"/>
                    </a:lnTo>
                    <a:lnTo>
                      <a:pt x="37" y="4"/>
                    </a:lnTo>
                    <a:lnTo>
                      <a:pt x="43" y="10"/>
                    </a:lnTo>
                    <a:lnTo>
                      <a:pt x="46" y="13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9" y="22"/>
                    </a:lnTo>
                    <a:lnTo>
                      <a:pt x="50" y="23"/>
                    </a:lnTo>
                    <a:lnTo>
                      <a:pt x="53" y="24"/>
                    </a:lnTo>
                    <a:lnTo>
                      <a:pt x="53" y="24"/>
                    </a:lnTo>
                    <a:lnTo>
                      <a:pt x="59" y="23"/>
                    </a:lnTo>
                    <a:lnTo>
                      <a:pt x="61" y="23"/>
                    </a:lnTo>
                    <a:lnTo>
                      <a:pt x="61" y="24"/>
                    </a:lnTo>
                    <a:lnTo>
                      <a:pt x="61" y="24"/>
                    </a:lnTo>
                    <a:lnTo>
                      <a:pt x="62" y="32"/>
                    </a:lnTo>
                    <a:lnTo>
                      <a:pt x="64" y="33"/>
                    </a:lnTo>
                    <a:lnTo>
                      <a:pt x="65" y="35"/>
                    </a:lnTo>
                    <a:lnTo>
                      <a:pt x="65" y="35"/>
                    </a:lnTo>
                    <a:lnTo>
                      <a:pt x="68" y="33"/>
                    </a:lnTo>
                    <a:lnTo>
                      <a:pt x="69" y="32"/>
                    </a:lnTo>
                    <a:lnTo>
                      <a:pt x="69" y="24"/>
                    </a:lnTo>
                    <a:lnTo>
                      <a:pt x="69" y="24"/>
                    </a:lnTo>
                    <a:lnTo>
                      <a:pt x="69" y="16"/>
                    </a:lnTo>
                    <a:lnTo>
                      <a:pt x="71" y="11"/>
                    </a:lnTo>
                    <a:lnTo>
                      <a:pt x="74" y="9"/>
                    </a:lnTo>
                    <a:lnTo>
                      <a:pt x="74" y="9"/>
                    </a:lnTo>
                    <a:lnTo>
                      <a:pt x="75" y="7"/>
                    </a:lnTo>
                    <a:lnTo>
                      <a:pt x="74" y="4"/>
                    </a:lnTo>
                    <a:lnTo>
                      <a:pt x="74" y="3"/>
                    </a:lnTo>
                    <a:lnTo>
                      <a:pt x="75" y="1"/>
                    </a:lnTo>
                    <a:lnTo>
                      <a:pt x="75" y="1"/>
                    </a:lnTo>
                    <a:lnTo>
                      <a:pt x="78" y="3"/>
                    </a:lnTo>
                    <a:lnTo>
                      <a:pt x="79" y="6"/>
                    </a:lnTo>
                    <a:lnTo>
                      <a:pt x="85" y="11"/>
                    </a:lnTo>
                    <a:lnTo>
                      <a:pt x="85" y="11"/>
                    </a:lnTo>
                    <a:lnTo>
                      <a:pt x="92" y="19"/>
                    </a:lnTo>
                    <a:lnTo>
                      <a:pt x="95" y="22"/>
                    </a:lnTo>
                    <a:lnTo>
                      <a:pt x="100" y="23"/>
                    </a:lnTo>
                    <a:lnTo>
                      <a:pt x="100" y="23"/>
                    </a:lnTo>
                    <a:lnTo>
                      <a:pt x="110" y="22"/>
                    </a:lnTo>
                    <a:lnTo>
                      <a:pt x="114" y="23"/>
                    </a:lnTo>
                    <a:lnTo>
                      <a:pt x="119" y="24"/>
                    </a:lnTo>
                    <a:lnTo>
                      <a:pt x="119" y="24"/>
                    </a:lnTo>
                    <a:lnTo>
                      <a:pt x="132" y="35"/>
                    </a:lnTo>
                    <a:lnTo>
                      <a:pt x="137" y="37"/>
                    </a:lnTo>
                    <a:lnTo>
                      <a:pt x="139" y="39"/>
                    </a:lnTo>
                    <a:lnTo>
                      <a:pt x="137" y="40"/>
                    </a:lnTo>
                    <a:lnTo>
                      <a:pt x="137" y="40"/>
                    </a:lnTo>
                    <a:lnTo>
                      <a:pt x="133" y="43"/>
                    </a:lnTo>
                    <a:lnTo>
                      <a:pt x="130" y="45"/>
                    </a:lnTo>
                    <a:lnTo>
                      <a:pt x="129" y="46"/>
                    </a:lnTo>
                    <a:lnTo>
                      <a:pt x="129" y="46"/>
                    </a:lnTo>
                    <a:lnTo>
                      <a:pt x="130" y="55"/>
                    </a:lnTo>
                    <a:lnTo>
                      <a:pt x="130" y="59"/>
                    </a:lnTo>
                    <a:lnTo>
                      <a:pt x="129" y="62"/>
                    </a:lnTo>
                    <a:lnTo>
                      <a:pt x="129" y="62"/>
                    </a:lnTo>
                    <a:lnTo>
                      <a:pt x="121" y="69"/>
                    </a:lnTo>
                    <a:lnTo>
                      <a:pt x="119" y="72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08" y="69"/>
                    </a:lnTo>
                    <a:lnTo>
                      <a:pt x="104" y="68"/>
                    </a:lnTo>
                    <a:lnTo>
                      <a:pt x="100" y="66"/>
                    </a:lnTo>
                    <a:lnTo>
                      <a:pt x="100" y="66"/>
                    </a:lnTo>
                    <a:lnTo>
                      <a:pt x="97" y="62"/>
                    </a:lnTo>
                    <a:lnTo>
                      <a:pt x="95" y="55"/>
                    </a:lnTo>
                    <a:lnTo>
                      <a:pt x="94" y="49"/>
                    </a:lnTo>
                    <a:lnTo>
                      <a:pt x="94" y="45"/>
                    </a:lnTo>
                    <a:lnTo>
                      <a:pt x="94" y="45"/>
                    </a:lnTo>
                    <a:lnTo>
                      <a:pt x="97" y="37"/>
                    </a:lnTo>
                    <a:lnTo>
                      <a:pt x="98" y="35"/>
                    </a:lnTo>
                    <a:lnTo>
                      <a:pt x="98" y="33"/>
                    </a:lnTo>
                    <a:lnTo>
                      <a:pt x="98" y="33"/>
                    </a:lnTo>
                    <a:lnTo>
                      <a:pt x="92" y="32"/>
                    </a:lnTo>
                    <a:lnTo>
                      <a:pt x="90" y="33"/>
                    </a:lnTo>
                    <a:lnTo>
                      <a:pt x="87" y="35"/>
                    </a:lnTo>
                    <a:lnTo>
                      <a:pt x="87" y="35"/>
                    </a:lnTo>
                    <a:lnTo>
                      <a:pt x="85" y="36"/>
                    </a:lnTo>
                    <a:lnTo>
                      <a:pt x="85" y="40"/>
                    </a:lnTo>
                    <a:lnTo>
                      <a:pt x="85" y="46"/>
                    </a:lnTo>
                    <a:lnTo>
                      <a:pt x="85" y="46"/>
                    </a:lnTo>
                    <a:lnTo>
                      <a:pt x="90" y="59"/>
                    </a:lnTo>
                    <a:lnTo>
                      <a:pt x="94" y="68"/>
                    </a:lnTo>
                    <a:lnTo>
                      <a:pt x="97" y="71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8" y="77"/>
                    </a:lnTo>
                    <a:lnTo>
                      <a:pt x="110" y="77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6" y="79"/>
                    </a:lnTo>
                    <a:lnTo>
                      <a:pt x="100" y="79"/>
                    </a:lnTo>
                    <a:lnTo>
                      <a:pt x="90" y="8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4" name="Freeform 1475"/>
              <p:cNvSpPr>
                <a:spLocks/>
              </p:cNvSpPr>
              <p:nvPr/>
            </p:nvSpPr>
            <p:spPr bwMode="auto">
              <a:xfrm>
                <a:off x="6718694" y="1465244"/>
                <a:ext cx="70237" cy="47484"/>
              </a:xfrm>
              <a:custGeom>
                <a:avLst/>
                <a:gdLst>
                  <a:gd name="T0" fmla="*/ 44 w 71"/>
                  <a:gd name="T1" fmla="*/ 48 h 48"/>
                  <a:gd name="T2" fmla="*/ 44 w 71"/>
                  <a:gd name="T3" fmla="*/ 48 h 48"/>
                  <a:gd name="T4" fmla="*/ 42 w 71"/>
                  <a:gd name="T5" fmla="*/ 46 h 48"/>
                  <a:gd name="T6" fmla="*/ 39 w 71"/>
                  <a:gd name="T7" fmla="*/ 43 h 48"/>
                  <a:gd name="T8" fmla="*/ 38 w 71"/>
                  <a:gd name="T9" fmla="*/ 42 h 48"/>
                  <a:gd name="T10" fmla="*/ 35 w 71"/>
                  <a:gd name="T11" fmla="*/ 40 h 48"/>
                  <a:gd name="T12" fmla="*/ 35 w 71"/>
                  <a:gd name="T13" fmla="*/ 40 h 48"/>
                  <a:gd name="T14" fmla="*/ 29 w 71"/>
                  <a:gd name="T15" fmla="*/ 37 h 48"/>
                  <a:gd name="T16" fmla="*/ 23 w 71"/>
                  <a:gd name="T17" fmla="*/ 33 h 48"/>
                  <a:gd name="T18" fmla="*/ 16 w 71"/>
                  <a:gd name="T19" fmla="*/ 27 h 48"/>
                  <a:gd name="T20" fmla="*/ 16 w 71"/>
                  <a:gd name="T21" fmla="*/ 27 h 48"/>
                  <a:gd name="T22" fmla="*/ 15 w 71"/>
                  <a:gd name="T23" fmla="*/ 26 h 48"/>
                  <a:gd name="T24" fmla="*/ 12 w 71"/>
                  <a:gd name="T25" fmla="*/ 21 h 48"/>
                  <a:gd name="T26" fmla="*/ 8 w 71"/>
                  <a:gd name="T27" fmla="*/ 14 h 48"/>
                  <a:gd name="T28" fmla="*/ 8 w 71"/>
                  <a:gd name="T29" fmla="*/ 14 h 48"/>
                  <a:gd name="T30" fmla="*/ 2 w 71"/>
                  <a:gd name="T31" fmla="*/ 6 h 48"/>
                  <a:gd name="T32" fmla="*/ 0 w 71"/>
                  <a:gd name="T33" fmla="*/ 3 h 48"/>
                  <a:gd name="T34" fmla="*/ 0 w 71"/>
                  <a:gd name="T35" fmla="*/ 0 h 48"/>
                  <a:gd name="T36" fmla="*/ 0 w 71"/>
                  <a:gd name="T37" fmla="*/ 0 h 48"/>
                  <a:gd name="T38" fmla="*/ 2 w 71"/>
                  <a:gd name="T39" fmla="*/ 0 h 48"/>
                  <a:gd name="T40" fmla="*/ 5 w 71"/>
                  <a:gd name="T41" fmla="*/ 3 h 48"/>
                  <a:gd name="T42" fmla="*/ 8 w 71"/>
                  <a:gd name="T43" fmla="*/ 6 h 48"/>
                  <a:gd name="T44" fmla="*/ 12 w 71"/>
                  <a:gd name="T45" fmla="*/ 7 h 48"/>
                  <a:gd name="T46" fmla="*/ 12 w 71"/>
                  <a:gd name="T47" fmla="*/ 7 h 48"/>
                  <a:gd name="T48" fmla="*/ 26 w 71"/>
                  <a:gd name="T49" fmla="*/ 6 h 48"/>
                  <a:gd name="T50" fmla="*/ 26 w 71"/>
                  <a:gd name="T51" fmla="*/ 6 h 48"/>
                  <a:gd name="T52" fmla="*/ 35 w 71"/>
                  <a:gd name="T53" fmla="*/ 6 h 48"/>
                  <a:gd name="T54" fmla="*/ 37 w 71"/>
                  <a:gd name="T55" fmla="*/ 7 h 48"/>
                  <a:gd name="T56" fmla="*/ 35 w 71"/>
                  <a:gd name="T57" fmla="*/ 8 h 48"/>
                  <a:gd name="T58" fmla="*/ 35 w 71"/>
                  <a:gd name="T59" fmla="*/ 8 h 48"/>
                  <a:gd name="T60" fmla="*/ 32 w 71"/>
                  <a:gd name="T61" fmla="*/ 13 h 48"/>
                  <a:gd name="T62" fmla="*/ 34 w 71"/>
                  <a:gd name="T63" fmla="*/ 14 h 48"/>
                  <a:gd name="T64" fmla="*/ 37 w 71"/>
                  <a:gd name="T65" fmla="*/ 16 h 48"/>
                  <a:gd name="T66" fmla="*/ 37 w 71"/>
                  <a:gd name="T67" fmla="*/ 16 h 48"/>
                  <a:gd name="T68" fmla="*/ 39 w 71"/>
                  <a:gd name="T69" fmla="*/ 14 h 48"/>
                  <a:gd name="T70" fmla="*/ 41 w 71"/>
                  <a:gd name="T71" fmla="*/ 13 h 48"/>
                  <a:gd name="T72" fmla="*/ 42 w 71"/>
                  <a:gd name="T73" fmla="*/ 13 h 48"/>
                  <a:gd name="T74" fmla="*/ 47 w 71"/>
                  <a:gd name="T75" fmla="*/ 14 h 48"/>
                  <a:gd name="T76" fmla="*/ 47 w 71"/>
                  <a:gd name="T77" fmla="*/ 14 h 48"/>
                  <a:gd name="T78" fmla="*/ 58 w 71"/>
                  <a:gd name="T79" fmla="*/ 20 h 48"/>
                  <a:gd name="T80" fmla="*/ 63 w 71"/>
                  <a:gd name="T81" fmla="*/ 23 h 48"/>
                  <a:gd name="T82" fmla="*/ 65 w 71"/>
                  <a:gd name="T83" fmla="*/ 23 h 48"/>
                  <a:gd name="T84" fmla="*/ 65 w 71"/>
                  <a:gd name="T85" fmla="*/ 23 h 48"/>
                  <a:gd name="T86" fmla="*/ 68 w 71"/>
                  <a:gd name="T87" fmla="*/ 24 h 48"/>
                  <a:gd name="T88" fmla="*/ 70 w 71"/>
                  <a:gd name="T89" fmla="*/ 26 h 48"/>
                  <a:gd name="T90" fmla="*/ 71 w 71"/>
                  <a:gd name="T91" fmla="*/ 27 h 48"/>
                  <a:gd name="T92" fmla="*/ 70 w 71"/>
                  <a:gd name="T93" fmla="*/ 30 h 48"/>
                  <a:gd name="T94" fmla="*/ 70 w 71"/>
                  <a:gd name="T95" fmla="*/ 30 h 48"/>
                  <a:gd name="T96" fmla="*/ 64 w 71"/>
                  <a:gd name="T97" fmla="*/ 39 h 48"/>
                  <a:gd name="T98" fmla="*/ 61 w 71"/>
                  <a:gd name="T99" fmla="*/ 43 h 48"/>
                  <a:gd name="T100" fmla="*/ 57 w 71"/>
                  <a:gd name="T101" fmla="*/ 45 h 48"/>
                  <a:gd name="T102" fmla="*/ 57 w 71"/>
                  <a:gd name="T103" fmla="*/ 45 h 48"/>
                  <a:gd name="T104" fmla="*/ 54 w 71"/>
                  <a:gd name="T105" fmla="*/ 45 h 48"/>
                  <a:gd name="T106" fmla="*/ 51 w 71"/>
                  <a:gd name="T107" fmla="*/ 43 h 48"/>
                  <a:gd name="T108" fmla="*/ 48 w 71"/>
                  <a:gd name="T109" fmla="*/ 42 h 48"/>
                  <a:gd name="T110" fmla="*/ 48 w 71"/>
                  <a:gd name="T111" fmla="*/ 42 h 48"/>
                  <a:gd name="T112" fmla="*/ 47 w 71"/>
                  <a:gd name="T113" fmla="*/ 43 h 48"/>
                  <a:gd name="T114" fmla="*/ 47 w 71"/>
                  <a:gd name="T115" fmla="*/ 45 h 48"/>
                  <a:gd name="T116" fmla="*/ 47 w 71"/>
                  <a:gd name="T117" fmla="*/ 46 h 48"/>
                  <a:gd name="T118" fmla="*/ 44 w 71"/>
                  <a:gd name="T11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1" h="48">
                    <a:moveTo>
                      <a:pt x="44" y="48"/>
                    </a:moveTo>
                    <a:lnTo>
                      <a:pt x="44" y="48"/>
                    </a:lnTo>
                    <a:lnTo>
                      <a:pt x="42" y="46"/>
                    </a:lnTo>
                    <a:lnTo>
                      <a:pt x="39" y="43"/>
                    </a:lnTo>
                    <a:lnTo>
                      <a:pt x="38" y="42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29" y="37"/>
                    </a:lnTo>
                    <a:lnTo>
                      <a:pt x="23" y="33"/>
                    </a:lnTo>
                    <a:lnTo>
                      <a:pt x="16" y="27"/>
                    </a:lnTo>
                    <a:lnTo>
                      <a:pt x="16" y="27"/>
                    </a:lnTo>
                    <a:lnTo>
                      <a:pt x="15" y="26"/>
                    </a:lnTo>
                    <a:lnTo>
                      <a:pt x="12" y="21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2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3"/>
                    </a:lnTo>
                    <a:lnTo>
                      <a:pt x="8" y="6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35" y="6"/>
                    </a:lnTo>
                    <a:lnTo>
                      <a:pt x="37" y="7"/>
                    </a:lnTo>
                    <a:lnTo>
                      <a:pt x="35" y="8"/>
                    </a:lnTo>
                    <a:lnTo>
                      <a:pt x="35" y="8"/>
                    </a:lnTo>
                    <a:lnTo>
                      <a:pt x="32" y="13"/>
                    </a:lnTo>
                    <a:lnTo>
                      <a:pt x="34" y="14"/>
                    </a:lnTo>
                    <a:lnTo>
                      <a:pt x="37" y="16"/>
                    </a:lnTo>
                    <a:lnTo>
                      <a:pt x="37" y="16"/>
                    </a:lnTo>
                    <a:lnTo>
                      <a:pt x="39" y="14"/>
                    </a:lnTo>
                    <a:lnTo>
                      <a:pt x="41" y="13"/>
                    </a:lnTo>
                    <a:lnTo>
                      <a:pt x="42" y="13"/>
                    </a:lnTo>
                    <a:lnTo>
                      <a:pt x="47" y="14"/>
                    </a:lnTo>
                    <a:lnTo>
                      <a:pt x="47" y="14"/>
                    </a:lnTo>
                    <a:lnTo>
                      <a:pt x="58" y="20"/>
                    </a:lnTo>
                    <a:lnTo>
                      <a:pt x="63" y="23"/>
                    </a:lnTo>
                    <a:lnTo>
                      <a:pt x="65" y="23"/>
                    </a:lnTo>
                    <a:lnTo>
                      <a:pt x="65" y="23"/>
                    </a:lnTo>
                    <a:lnTo>
                      <a:pt x="68" y="24"/>
                    </a:lnTo>
                    <a:lnTo>
                      <a:pt x="70" y="26"/>
                    </a:lnTo>
                    <a:lnTo>
                      <a:pt x="71" y="27"/>
                    </a:lnTo>
                    <a:lnTo>
                      <a:pt x="70" y="30"/>
                    </a:lnTo>
                    <a:lnTo>
                      <a:pt x="70" y="30"/>
                    </a:lnTo>
                    <a:lnTo>
                      <a:pt x="64" y="39"/>
                    </a:lnTo>
                    <a:lnTo>
                      <a:pt x="61" y="43"/>
                    </a:lnTo>
                    <a:lnTo>
                      <a:pt x="57" y="45"/>
                    </a:lnTo>
                    <a:lnTo>
                      <a:pt x="57" y="45"/>
                    </a:lnTo>
                    <a:lnTo>
                      <a:pt x="54" y="45"/>
                    </a:lnTo>
                    <a:lnTo>
                      <a:pt x="51" y="43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7" y="43"/>
                    </a:lnTo>
                    <a:lnTo>
                      <a:pt x="47" y="45"/>
                    </a:lnTo>
                    <a:lnTo>
                      <a:pt x="47" y="46"/>
                    </a:lnTo>
                    <a:lnTo>
                      <a:pt x="44" y="4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5" name="Freeform 1476"/>
              <p:cNvSpPr>
                <a:spLocks/>
              </p:cNvSpPr>
              <p:nvPr/>
            </p:nvSpPr>
            <p:spPr bwMode="auto">
              <a:xfrm>
                <a:off x="6718694" y="1465244"/>
                <a:ext cx="70237" cy="47484"/>
              </a:xfrm>
              <a:custGeom>
                <a:avLst/>
                <a:gdLst>
                  <a:gd name="T0" fmla="*/ 44 w 71"/>
                  <a:gd name="T1" fmla="*/ 48 h 48"/>
                  <a:gd name="T2" fmla="*/ 44 w 71"/>
                  <a:gd name="T3" fmla="*/ 48 h 48"/>
                  <a:gd name="T4" fmla="*/ 42 w 71"/>
                  <a:gd name="T5" fmla="*/ 46 h 48"/>
                  <a:gd name="T6" fmla="*/ 39 w 71"/>
                  <a:gd name="T7" fmla="*/ 43 h 48"/>
                  <a:gd name="T8" fmla="*/ 38 w 71"/>
                  <a:gd name="T9" fmla="*/ 42 h 48"/>
                  <a:gd name="T10" fmla="*/ 35 w 71"/>
                  <a:gd name="T11" fmla="*/ 40 h 48"/>
                  <a:gd name="T12" fmla="*/ 35 w 71"/>
                  <a:gd name="T13" fmla="*/ 40 h 48"/>
                  <a:gd name="T14" fmla="*/ 29 w 71"/>
                  <a:gd name="T15" fmla="*/ 37 h 48"/>
                  <a:gd name="T16" fmla="*/ 23 w 71"/>
                  <a:gd name="T17" fmla="*/ 33 h 48"/>
                  <a:gd name="T18" fmla="*/ 16 w 71"/>
                  <a:gd name="T19" fmla="*/ 27 h 48"/>
                  <a:gd name="T20" fmla="*/ 16 w 71"/>
                  <a:gd name="T21" fmla="*/ 27 h 48"/>
                  <a:gd name="T22" fmla="*/ 15 w 71"/>
                  <a:gd name="T23" fmla="*/ 26 h 48"/>
                  <a:gd name="T24" fmla="*/ 12 w 71"/>
                  <a:gd name="T25" fmla="*/ 21 h 48"/>
                  <a:gd name="T26" fmla="*/ 8 w 71"/>
                  <a:gd name="T27" fmla="*/ 14 h 48"/>
                  <a:gd name="T28" fmla="*/ 8 w 71"/>
                  <a:gd name="T29" fmla="*/ 14 h 48"/>
                  <a:gd name="T30" fmla="*/ 2 w 71"/>
                  <a:gd name="T31" fmla="*/ 6 h 48"/>
                  <a:gd name="T32" fmla="*/ 0 w 71"/>
                  <a:gd name="T33" fmla="*/ 3 h 48"/>
                  <a:gd name="T34" fmla="*/ 0 w 71"/>
                  <a:gd name="T35" fmla="*/ 0 h 48"/>
                  <a:gd name="T36" fmla="*/ 0 w 71"/>
                  <a:gd name="T37" fmla="*/ 0 h 48"/>
                  <a:gd name="T38" fmla="*/ 2 w 71"/>
                  <a:gd name="T39" fmla="*/ 0 h 48"/>
                  <a:gd name="T40" fmla="*/ 5 w 71"/>
                  <a:gd name="T41" fmla="*/ 3 h 48"/>
                  <a:gd name="T42" fmla="*/ 8 w 71"/>
                  <a:gd name="T43" fmla="*/ 6 h 48"/>
                  <a:gd name="T44" fmla="*/ 12 w 71"/>
                  <a:gd name="T45" fmla="*/ 7 h 48"/>
                  <a:gd name="T46" fmla="*/ 12 w 71"/>
                  <a:gd name="T47" fmla="*/ 7 h 48"/>
                  <a:gd name="T48" fmla="*/ 26 w 71"/>
                  <a:gd name="T49" fmla="*/ 6 h 48"/>
                  <a:gd name="T50" fmla="*/ 26 w 71"/>
                  <a:gd name="T51" fmla="*/ 6 h 48"/>
                  <a:gd name="T52" fmla="*/ 35 w 71"/>
                  <a:gd name="T53" fmla="*/ 6 h 48"/>
                  <a:gd name="T54" fmla="*/ 37 w 71"/>
                  <a:gd name="T55" fmla="*/ 7 h 48"/>
                  <a:gd name="T56" fmla="*/ 35 w 71"/>
                  <a:gd name="T57" fmla="*/ 8 h 48"/>
                  <a:gd name="T58" fmla="*/ 35 w 71"/>
                  <a:gd name="T59" fmla="*/ 8 h 48"/>
                  <a:gd name="T60" fmla="*/ 32 w 71"/>
                  <a:gd name="T61" fmla="*/ 13 h 48"/>
                  <a:gd name="T62" fmla="*/ 34 w 71"/>
                  <a:gd name="T63" fmla="*/ 14 h 48"/>
                  <a:gd name="T64" fmla="*/ 37 w 71"/>
                  <a:gd name="T65" fmla="*/ 16 h 48"/>
                  <a:gd name="T66" fmla="*/ 37 w 71"/>
                  <a:gd name="T67" fmla="*/ 16 h 48"/>
                  <a:gd name="T68" fmla="*/ 39 w 71"/>
                  <a:gd name="T69" fmla="*/ 14 h 48"/>
                  <a:gd name="T70" fmla="*/ 41 w 71"/>
                  <a:gd name="T71" fmla="*/ 13 h 48"/>
                  <a:gd name="T72" fmla="*/ 42 w 71"/>
                  <a:gd name="T73" fmla="*/ 13 h 48"/>
                  <a:gd name="T74" fmla="*/ 47 w 71"/>
                  <a:gd name="T75" fmla="*/ 14 h 48"/>
                  <a:gd name="T76" fmla="*/ 47 w 71"/>
                  <a:gd name="T77" fmla="*/ 14 h 48"/>
                  <a:gd name="T78" fmla="*/ 58 w 71"/>
                  <a:gd name="T79" fmla="*/ 20 h 48"/>
                  <a:gd name="T80" fmla="*/ 63 w 71"/>
                  <a:gd name="T81" fmla="*/ 23 h 48"/>
                  <a:gd name="T82" fmla="*/ 65 w 71"/>
                  <a:gd name="T83" fmla="*/ 23 h 48"/>
                  <a:gd name="T84" fmla="*/ 65 w 71"/>
                  <a:gd name="T85" fmla="*/ 23 h 48"/>
                  <a:gd name="T86" fmla="*/ 68 w 71"/>
                  <a:gd name="T87" fmla="*/ 24 h 48"/>
                  <a:gd name="T88" fmla="*/ 70 w 71"/>
                  <a:gd name="T89" fmla="*/ 26 h 48"/>
                  <a:gd name="T90" fmla="*/ 71 w 71"/>
                  <a:gd name="T91" fmla="*/ 27 h 48"/>
                  <a:gd name="T92" fmla="*/ 70 w 71"/>
                  <a:gd name="T93" fmla="*/ 30 h 48"/>
                  <a:gd name="T94" fmla="*/ 70 w 71"/>
                  <a:gd name="T95" fmla="*/ 30 h 48"/>
                  <a:gd name="T96" fmla="*/ 64 w 71"/>
                  <a:gd name="T97" fmla="*/ 39 h 48"/>
                  <a:gd name="T98" fmla="*/ 61 w 71"/>
                  <a:gd name="T99" fmla="*/ 43 h 48"/>
                  <a:gd name="T100" fmla="*/ 57 w 71"/>
                  <a:gd name="T101" fmla="*/ 45 h 48"/>
                  <a:gd name="T102" fmla="*/ 57 w 71"/>
                  <a:gd name="T103" fmla="*/ 45 h 48"/>
                  <a:gd name="T104" fmla="*/ 54 w 71"/>
                  <a:gd name="T105" fmla="*/ 45 h 48"/>
                  <a:gd name="T106" fmla="*/ 51 w 71"/>
                  <a:gd name="T107" fmla="*/ 43 h 48"/>
                  <a:gd name="T108" fmla="*/ 48 w 71"/>
                  <a:gd name="T109" fmla="*/ 42 h 48"/>
                  <a:gd name="T110" fmla="*/ 48 w 71"/>
                  <a:gd name="T111" fmla="*/ 42 h 48"/>
                  <a:gd name="T112" fmla="*/ 47 w 71"/>
                  <a:gd name="T113" fmla="*/ 43 h 48"/>
                  <a:gd name="T114" fmla="*/ 47 w 71"/>
                  <a:gd name="T115" fmla="*/ 45 h 48"/>
                  <a:gd name="T116" fmla="*/ 47 w 71"/>
                  <a:gd name="T117" fmla="*/ 46 h 48"/>
                  <a:gd name="T118" fmla="*/ 44 w 71"/>
                  <a:gd name="T11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1" h="48">
                    <a:moveTo>
                      <a:pt x="44" y="48"/>
                    </a:moveTo>
                    <a:lnTo>
                      <a:pt x="44" y="48"/>
                    </a:lnTo>
                    <a:lnTo>
                      <a:pt x="42" y="46"/>
                    </a:lnTo>
                    <a:lnTo>
                      <a:pt x="39" y="43"/>
                    </a:lnTo>
                    <a:lnTo>
                      <a:pt x="38" y="42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29" y="37"/>
                    </a:lnTo>
                    <a:lnTo>
                      <a:pt x="23" y="33"/>
                    </a:lnTo>
                    <a:lnTo>
                      <a:pt x="16" y="27"/>
                    </a:lnTo>
                    <a:lnTo>
                      <a:pt x="16" y="27"/>
                    </a:lnTo>
                    <a:lnTo>
                      <a:pt x="15" y="26"/>
                    </a:lnTo>
                    <a:lnTo>
                      <a:pt x="12" y="21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2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3"/>
                    </a:lnTo>
                    <a:lnTo>
                      <a:pt x="8" y="6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35" y="6"/>
                    </a:lnTo>
                    <a:lnTo>
                      <a:pt x="37" y="7"/>
                    </a:lnTo>
                    <a:lnTo>
                      <a:pt x="35" y="8"/>
                    </a:lnTo>
                    <a:lnTo>
                      <a:pt x="35" y="8"/>
                    </a:lnTo>
                    <a:lnTo>
                      <a:pt x="32" y="13"/>
                    </a:lnTo>
                    <a:lnTo>
                      <a:pt x="34" y="14"/>
                    </a:lnTo>
                    <a:lnTo>
                      <a:pt x="37" y="16"/>
                    </a:lnTo>
                    <a:lnTo>
                      <a:pt x="37" y="16"/>
                    </a:lnTo>
                    <a:lnTo>
                      <a:pt x="39" y="14"/>
                    </a:lnTo>
                    <a:lnTo>
                      <a:pt x="41" y="13"/>
                    </a:lnTo>
                    <a:lnTo>
                      <a:pt x="42" y="13"/>
                    </a:lnTo>
                    <a:lnTo>
                      <a:pt x="47" y="14"/>
                    </a:lnTo>
                    <a:lnTo>
                      <a:pt x="47" y="14"/>
                    </a:lnTo>
                    <a:lnTo>
                      <a:pt x="58" y="20"/>
                    </a:lnTo>
                    <a:lnTo>
                      <a:pt x="63" y="23"/>
                    </a:lnTo>
                    <a:lnTo>
                      <a:pt x="65" y="23"/>
                    </a:lnTo>
                    <a:lnTo>
                      <a:pt x="65" y="23"/>
                    </a:lnTo>
                    <a:lnTo>
                      <a:pt x="68" y="24"/>
                    </a:lnTo>
                    <a:lnTo>
                      <a:pt x="70" y="26"/>
                    </a:lnTo>
                    <a:lnTo>
                      <a:pt x="71" y="27"/>
                    </a:lnTo>
                    <a:lnTo>
                      <a:pt x="70" y="30"/>
                    </a:lnTo>
                    <a:lnTo>
                      <a:pt x="70" y="30"/>
                    </a:lnTo>
                    <a:lnTo>
                      <a:pt x="64" y="39"/>
                    </a:lnTo>
                    <a:lnTo>
                      <a:pt x="61" y="43"/>
                    </a:lnTo>
                    <a:lnTo>
                      <a:pt x="57" y="45"/>
                    </a:lnTo>
                    <a:lnTo>
                      <a:pt x="57" y="45"/>
                    </a:lnTo>
                    <a:lnTo>
                      <a:pt x="54" y="45"/>
                    </a:lnTo>
                    <a:lnTo>
                      <a:pt x="51" y="43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7" y="43"/>
                    </a:lnTo>
                    <a:lnTo>
                      <a:pt x="47" y="45"/>
                    </a:lnTo>
                    <a:lnTo>
                      <a:pt x="47" y="46"/>
                    </a:lnTo>
                    <a:lnTo>
                      <a:pt x="44" y="4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6" name="Freeform 1477"/>
              <p:cNvSpPr>
                <a:spLocks/>
              </p:cNvSpPr>
              <p:nvPr/>
            </p:nvSpPr>
            <p:spPr bwMode="auto">
              <a:xfrm>
                <a:off x="6547552" y="1539439"/>
                <a:ext cx="10882" cy="21764"/>
              </a:xfrm>
              <a:custGeom>
                <a:avLst/>
                <a:gdLst>
                  <a:gd name="T0" fmla="*/ 11 w 11"/>
                  <a:gd name="T1" fmla="*/ 22 h 22"/>
                  <a:gd name="T2" fmla="*/ 11 w 11"/>
                  <a:gd name="T3" fmla="*/ 22 h 22"/>
                  <a:gd name="T4" fmla="*/ 8 w 11"/>
                  <a:gd name="T5" fmla="*/ 20 h 22"/>
                  <a:gd name="T6" fmla="*/ 5 w 11"/>
                  <a:gd name="T7" fmla="*/ 19 h 22"/>
                  <a:gd name="T8" fmla="*/ 1 w 11"/>
                  <a:gd name="T9" fmla="*/ 12 h 22"/>
                  <a:gd name="T10" fmla="*/ 0 w 11"/>
                  <a:gd name="T11" fmla="*/ 3 h 22"/>
                  <a:gd name="T12" fmla="*/ 0 w 11"/>
                  <a:gd name="T13" fmla="*/ 0 h 22"/>
                  <a:gd name="T14" fmla="*/ 1 w 11"/>
                  <a:gd name="T15" fmla="*/ 0 h 22"/>
                  <a:gd name="T16" fmla="*/ 1 w 11"/>
                  <a:gd name="T17" fmla="*/ 0 h 22"/>
                  <a:gd name="T18" fmla="*/ 2 w 11"/>
                  <a:gd name="T19" fmla="*/ 0 h 22"/>
                  <a:gd name="T20" fmla="*/ 5 w 11"/>
                  <a:gd name="T21" fmla="*/ 3 h 22"/>
                  <a:gd name="T22" fmla="*/ 10 w 11"/>
                  <a:gd name="T23" fmla="*/ 10 h 22"/>
                  <a:gd name="T24" fmla="*/ 11 w 11"/>
                  <a:gd name="T25" fmla="*/ 17 h 22"/>
                  <a:gd name="T26" fmla="*/ 11 w 11"/>
                  <a:gd name="T27" fmla="*/ 20 h 22"/>
                  <a:gd name="T28" fmla="*/ 11 w 11"/>
                  <a:gd name="T2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22">
                    <a:moveTo>
                      <a:pt x="11" y="22"/>
                    </a:moveTo>
                    <a:lnTo>
                      <a:pt x="11" y="22"/>
                    </a:lnTo>
                    <a:lnTo>
                      <a:pt x="8" y="20"/>
                    </a:lnTo>
                    <a:lnTo>
                      <a:pt x="5" y="19"/>
                    </a:lnTo>
                    <a:lnTo>
                      <a:pt x="1" y="12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5" y="3"/>
                    </a:lnTo>
                    <a:lnTo>
                      <a:pt x="10" y="10"/>
                    </a:lnTo>
                    <a:lnTo>
                      <a:pt x="11" y="17"/>
                    </a:lnTo>
                    <a:lnTo>
                      <a:pt x="11" y="20"/>
                    </a:lnTo>
                    <a:lnTo>
                      <a:pt x="11" y="2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7" name="Freeform 1478"/>
              <p:cNvSpPr>
                <a:spLocks/>
              </p:cNvSpPr>
              <p:nvPr/>
            </p:nvSpPr>
            <p:spPr bwMode="auto">
              <a:xfrm>
                <a:off x="6547552" y="1539439"/>
                <a:ext cx="10882" cy="21764"/>
              </a:xfrm>
              <a:custGeom>
                <a:avLst/>
                <a:gdLst>
                  <a:gd name="T0" fmla="*/ 11 w 11"/>
                  <a:gd name="T1" fmla="*/ 22 h 22"/>
                  <a:gd name="T2" fmla="*/ 11 w 11"/>
                  <a:gd name="T3" fmla="*/ 22 h 22"/>
                  <a:gd name="T4" fmla="*/ 8 w 11"/>
                  <a:gd name="T5" fmla="*/ 20 h 22"/>
                  <a:gd name="T6" fmla="*/ 5 w 11"/>
                  <a:gd name="T7" fmla="*/ 19 h 22"/>
                  <a:gd name="T8" fmla="*/ 1 w 11"/>
                  <a:gd name="T9" fmla="*/ 12 h 22"/>
                  <a:gd name="T10" fmla="*/ 0 w 11"/>
                  <a:gd name="T11" fmla="*/ 3 h 22"/>
                  <a:gd name="T12" fmla="*/ 0 w 11"/>
                  <a:gd name="T13" fmla="*/ 0 h 22"/>
                  <a:gd name="T14" fmla="*/ 1 w 11"/>
                  <a:gd name="T15" fmla="*/ 0 h 22"/>
                  <a:gd name="T16" fmla="*/ 1 w 11"/>
                  <a:gd name="T17" fmla="*/ 0 h 22"/>
                  <a:gd name="T18" fmla="*/ 2 w 11"/>
                  <a:gd name="T19" fmla="*/ 0 h 22"/>
                  <a:gd name="T20" fmla="*/ 5 w 11"/>
                  <a:gd name="T21" fmla="*/ 3 h 22"/>
                  <a:gd name="T22" fmla="*/ 10 w 11"/>
                  <a:gd name="T23" fmla="*/ 10 h 22"/>
                  <a:gd name="T24" fmla="*/ 11 w 11"/>
                  <a:gd name="T25" fmla="*/ 17 h 22"/>
                  <a:gd name="T26" fmla="*/ 11 w 11"/>
                  <a:gd name="T27" fmla="*/ 20 h 22"/>
                  <a:gd name="T28" fmla="*/ 11 w 11"/>
                  <a:gd name="T2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22">
                    <a:moveTo>
                      <a:pt x="11" y="22"/>
                    </a:moveTo>
                    <a:lnTo>
                      <a:pt x="11" y="22"/>
                    </a:lnTo>
                    <a:lnTo>
                      <a:pt x="8" y="20"/>
                    </a:lnTo>
                    <a:lnTo>
                      <a:pt x="5" y="19"/>
                    </a:lnTo>
                    <a:lnTo>
                      <a:pt x="1" y="12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5" y="3"/>
                    </a:lnTo>
                    <a:lnTo>
                      <a:pt x="10" y="10"/>
                    </a:lnTo>
                    <a:lnTo>
                      <a:pt x="11" y="17"/>
                    </a:lnTo>
                    <a:lnTo>
                      <a:pt x="11" y="20"/>
                    </a:lnTo>
                    <a:lnTo>
                      <a:pt x="11" y="2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8" name="Freeform 1479"/>
              <p:cNvSpPr>
                <a:spLocks/>
              </p:cNvSpPr>
              <p:nvPr/>
            </p:nvSpPr>
            <p:spPr bwMode="auto">
              <a:xfrm>
                <a:off x="7065924" y="1751140"/>
                <a:ext cx="18796" cy="20774"/>
              </a:xfrm>
              <a:custGeom>
                <a:avLst/>
                <a:gdLst>
                  <a:gd name="T0" fmla="*/ 9 w 19"/>
                  <a:gd name="T1" fmla="*/ 21 h 21"/>
                  <a:gd name="T2" fmla="*/ 9 w 19"/>
                  <a:gd name="T3" fmla="*/ 21 h 21"/>
                  <a:gd name="T4" fmla="*/ 6 w 19"/>
                  <a:gd name="T5" fmla="*/ 18 h 21"/>
                  <a:gd name="T6" fmla="*/ 4 w 19"/>
                  <a:gd name="T7" fmla="*/ 13 h 21"/>
                  <a:gd name="T8" fmla="*/ 3 w 19"/>
                  <a:gd name="T9" fmla="*/ 9 h 21"/>
                  <a:gd name="T10" fmla="*/ 1 w 19"/>
                  <a:gd name="T11" fmla="*/ 6 h 21"/>
                  <a:gd name="T12" fmla="*/ 1 w 19"/>
                  <a:gd name="T13" fmla="*/ 6 h 21"/>
                  <a:gd name="T14" fmla="*/ 0 w 19"/>
                  <a:gd name="T15" fmla="*/ 5 h 21"/>
                  <a:gd name="T16" fmla="*/ 0 w 19"/>
                  <a:gd name="T17" fmla="*/ 3 h 21"/>
                  <a:gd name="T18" fmla="*/ 1 w 19"/>
                  <a:gd name="T19" fmla="*/ 2 h 21"/>
                  <a:gd name="T20" fmla="*/ 6 w 19"/>
                  <a:gd name="T21" fmla="*/ 2 h 21"/>
                  <a:gd name="T22" fmla="*/ 6 w 19"/>
                  <a:gd name="T23" fmla="*/ 2 h 21"/>
                  <a:gd name="T24" fmla="*/ 14 w 19"/>
                  <a:gd name="T25" fmla="*/ 0 h 21"/>
                  <a:gd name="T26" fmla="*/ 17 w 19"/>
                  <a:gd name="T27" fmla="*/ 0 h 21"/>
                  <a:gd name="T28" fmla="*/ 19 w 19"/>
                  <a:gd name="T29" fmla="*/ 2 h 21"/>
                  <a:gd name="T30" fmla="*/ 17 w 19"/>
                  <a:gd name="T31" fmla="*/ 2 h 21"/>
                  <a:gd name="T32" fmla="*/ 17 w 19"/>
                  <a:gd name="T33" fmla="*/ 2 h 21"/>
                  <a:gd name="T34" fmla="*/ 14 w 19"/>
                  <a:gd name="T35" fmla="*/ 13 h 21"/>
                  <a:gd name="T36" fmla="*/ 13 w 19"/>
                  <a:gd name="T37" fmla="*/ 19 h 21"/>
                  <a:gd name="T38" fmla="*/ 11 w 19"/>
                  <a:gd name="T39" fmla="*/ 21 h 21"/>
                  <a:gd name="T40" fmla="*/ 9 w 19"/>
                  <a:gd name="T41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" h="21">
                    <a:moveTo>
                      <a:pt x="9" y="21"/>
                    </a:moveTo>
                    <a:lnTo>
                      <a:pt x="9" y="21"/>
                    </a:lnTo>
                    <a:lnTo>
                      <a:pt x="6" y="18"/>
                    </a:lnTo>
                    <a:lnTo>
                      <a:pt x="4" y="13"/>
                    </a:lnTo>
                    <a:lnTo>
                      <a:pt x="3" y="9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19" y="2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14" y="13"/>
                    </a:lnTo>
                    <a:lnTo>
                      <a:pt x="13" y="19"/>
                    </a:lnTo>
                    <a:lnTo>
                      <a:pt x="11" y="21"/>
                    </a:lnTo>
                    <a:lnTo>
                      <a:pt x="9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9" name="Freeform 1480"/>
              <p:cNvSpPr>
                <a:spLocks/>
              </p:cNvSpPr>
              <p:nvPr/>
            </p:nvSpPr>
            <p:spPr bwMode="auto">
              <a:xfrm>
                <a:off x="7065924" y="1751140"/>
                <a:ext cx="18796" cy="20774"/>
              </a:xfrm>
              <a:custGeom>
                <a:avLst/>
                <a:gdLst>
                  <a:gd name="T0" fmla="*/ 9 w 19"/>
                  <a:gd name="T1" fmla="*/ 21 h 21"/>
                  <a:gd name="T2" fmla="*/ 9 w 19"/>
                  <a:gd name="T3" fmla="*/ 21 h 21"/>
                  <a:gd name="T4" fmla="*/ 6 w 19"/>
                  <a:gd name="T5" fmla="*/ 18 h 21"/>
                  <a:gd name="T6" fmla="*/ 4 w 19"/>
                  <a:gd name="T7" fmla="*/ 13 h 21"/>
                  <a:gd name="T8" fmla="*/ 3 w 19"/>
                  <a:gd name="T9" fmla="*/ 9 h 21"/>
                  <a:gd name="T10" fmla="*/ 1 w 19"/>
                  <a:gd name="T11" fmla="*/ 6 h 21"/>
                  <a:gd name="T12" fmla="*/ 1 w 19"/>
                  <a:gd name="T13" fmla="*/ 6 h 21"/>
                  <a:gd name="T14" fmla="*/ 0 w 19"/>
                  <a:gd name="T15" fmla="*/ 5 h 21"/>
                  <a:gd name="T16" fmla="*/ 0 w 19"/>
                  <a:gd name="T17" fmla="*/ 3 h 21"/>
                  <a:gd name="T18" fmla="*/ 1 w 19"/>
                  <a:gd name="T19" fmla="*/ 2 h 21"/>
                  <a:gd name="T20" fmla="*/ 6 w 19"/>
                  <a:gd name="T21" fmla="*/ 2 h 21"/>
                  <a:gd name="T22" fmla="*/ 6 w 19"/>
                  <a:gd name="T23" fmla="*/ 2 h 21"/>
                  <a:gd name="T24" fmla="*/ 14 w 19"/>
                  <a:gd name="T25" fmla="*/ 0 h 21"/>
                  <a:gd name="T26" fmla="*/ 17 w 19"/>
                  <a:gd name="T27" fmla="*/ 0 h 21"/>
                  <a:gd name="T28" fmla="*/ 19 w 19"/>
                  <a:gd name="T29" fmla="*/ 2 h 21"/>
                  <a:gd name="T30" fmla="*/ 17 w 19"/>
                  <a:gd name="T31" fmla="*/ 2 h 21"/>
                  <a:gd name="T32" fmla="*/ 17 w 19"/>
                  <a:gd name="T33" fmla="*/ 2 h 21"/>
                  <a:gd name="T34" fmla="*/ 14 w 19"/>
                  <a:gd name="T35" fmla="*/ 13 h 21"/>
                  <a:gd name="T36" fmla="*/ 13 w 19"/>
                  <a:gd name="T37" fmla="*/ 19 h 21"/>
                  <a:gd name="T38" fmla="*/ 11 w 19"/>
                  <a:gd name="T39" fmla="*/ 21 h 21"/>
                  <a:gd name="T40" fmla="*/ 9 w 19"/>
                  <a:gd name="T41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" h="21">
                    <a:moveTo>
                      <a:pt x="9" y="21"/>
                    </a:moveTo>
                    <a:lnTo>
                      <a:pt x="9" y="21"/>
                    </a:lnTo>
                    <a:lnTo>
                      <a:pt x="6" y="18"/>
                    </a:lnTo>
                    <a:lnTo>
                      <a:pt x="4" y="13"/>
                    </a:lnTo>
                    <a:lnTo>
                      <a:pt x="3" y="9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19" y="2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14" y="13"/>
                    </a:lnTo>
                    <a:lnTo>
                      <a:pt x="13" y="19"/>
                    </a:lnTo>
                    <a:lnTo>
                      <a:pt x="11" y="21"/>
                    </a:lnTo>
                    <a:lnTo>
                      <a:pt x="9" y="2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30" name="Freeform 1481"/>
              <p:cNvSpPr>
                <a:spLocks/>
              </p:cNvSpPr>
              <p:nvPr/>
            </p:nvSpPr>
            <p:spPr bwMode="auto">
              <a:xfrm>
                <a:off x="7242012" y="1688817"/>
                <a:ext cx="48474" cy="16817"/>
              </a:xfrm>
              <a:custGeom>
                <a:avLst/>
                <a:gdLst>
                  <a:gd name="T0" fmla="*/ 39 w 49"/>
                  <a:gd name="T1" fmla="*/ 16 h 17"/>
                  <a:gd name="T2" fmla="*/ 39 w 49"/>
                  <a:gd name="T3" fmla="*/ 16 h 17"/>
                  <a:gd name="T4" fmla="*/ 25 w 49"/>
                  <a:gd name="T5" fmla="*/ 17 h 17"/>
                  <a:gd name="T6" fmla="*/ 16 w 49"/>
                  <a:gd name="T7" fmla="*/ 16 h 17"/>
                  <a:gd name="T8" fmla="*/ 7 w 49"/>
                  <a:gd name="T9" fmla="*/ 14 h 17"/>
                  <a:gd name="T10" fmla="*/ 7 w 49"/>
                  <a:gd name="T11" fmla="*/ 14 h 17"/>
                  <a:gd name="T12" fmla="*/ 3 w 49"/>
                  <a:gd name="T13" fmla="*/ 11 h 17"/>
                  <a:gd name="T14" fmla="*/ 0 w 49"/>
                  <a:gd name="T15" fmla="*/ 8 h 17"/>
                  <a:gd name="T16" fmla="*/ 0 w 49"/>
                  <a:gd name="T17" fmla="*/ 7 h 17"/>
                  <a:gd name="T18" fmla="*/ 0 w 49"/>
                  <a:gd name="T19" fmla="*/ 5 h 17"/>
                  <a:gd name="T20" fmla="*/ 4 w 49"/>
                  <a:gd name="T21" fmla="*/ 3 h 17"/>
                  <a:gd name="T22" fmla="*/ 4 w 49"/>
                  <a:gd name="T23" fmla="*/ 3 h 17"/>
                  <a:gd name="T24" fmla="*/ 10 w 49"/>
                  <a:gd name="T25" fmla="*/ 1 h 17"/>
                  <a:gd name="T26" fmla="*/ 16 w 49"/>
                  <a:gd name="T27" fmla="*/ 0 h 17"/>
                  <a:gd name="T28" fmla="*/ 22 w 49"/>
                  <a:gd name="T29" fmla="*/ 0 h 17"/>
                  <a:gd name="T30" fmla="*/ 29 w 49"/>
                  <a:gd name="T31" fmla="*/ 3 h 17"/>
                  <a:gd name="T32" fmla="*/ 29 w 49"/>
                  <a:gd name="T33" fmla="*/ 3 h 17"/>
                  <a:gd name="T34" fmla="*/ 36 w 49"/>
                  <a:gd name="T35" fmla="*/ 4 h 17"/>
                  <a:gd name="T36" fmla="*/ 43 w 49"/>
                  <a:gd name="T37" fmla="*/ 4 h 17"/>
                  <a:gd name="T38" fmla="*/ 48 w 49"/>
                  <a:gd name="T39" fmla="*/ 4 h 17"/>
                  <a:gd name="T40" fmla="*/ 48 w 49"/>
                  <a:gd name="T41" fmla="*/ 5 h 17"/>
                  <a:gd name="T42" fmla="*/ 49 w 49"/>
                  <a:gd name="T43" fmla="*/ 5 h 17"/>
                  <a:gd name="T44" fmla="*/ 49 w 49"/>
                  <a:gd name="T45" fmla="*/ 5 h 17"/>
                  <a:gd name="T46" fmla="*/ 48 w 49"/>
                  <a:gd name="T47" fmla="*/ 8 h 17"/>
                  <a:gd name="T48" fmla="*/ 46 w 49"/>
                  <a:gd name="T49" fmla="*/ 11 h 17"/>
                  <a:gd name="T50" fmla="*/ 45 w 49"/>
                  <a:gd name="T51" fmla="*/ 14 h 17"/>
                  <a:gd name="T52" fmla="*/ 39 w 49"/>
                  <a:gd name="T53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17">
                    <a:moveTo>
                      <a:pt x="39" y="16"/>
                    </a:moveTo>
                    <a:lnTo>
                      <a:pt x="39" y="16"/>
                    </a:lnTo>
                    <a:lnTo>
                      <a:pt x="25" y="17"/>
                    </a:lnTo>
                    <a:lnTo>
                      <a:pt x="16" y="16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10" y="1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9" y="3"/>
                    </a:lnTo>
                    <a:lnTo>
                      <a:pt x="29" y="3"/>
                    </a:lnTo>
                    <a:lnTo>
                      <a:pt x="36" y="4"/>
                    </a:lnTo>
                    <a:lnTo>
                      <a:pt x="43" y="4"/>
                    </a:lnTo>
                    <a:lnTo>
                      <a:pt x="48" y="4"/>
                    </a:lnTo>
                    <a:lnTo>
                      <a:pt x="48" y="5"/>
                    </a:lnTo>
                    <a:lnTo>
                      <a:pt x="49" y="5"/>
                    </a:lnTo>
                    <a:lnTo>
                      <a:pt x="49" y="5"/>
                    </a:lnTo>
                    <a:lnTo>
                      <a:pt x="48" y="8"/>
                    </a:lnTo>
                    <a:lnTo>
                      <a:pt x="46" y="11"/>
                    </a:lnTo>
                    <a:lnTo>
                      <a:pt x="45" y="14"/>
                    </a:lnTo>
                    <a:lnTo>
                      <a:pt x="39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31" name="Freeform 1482"/>
              <p:cNvSpPr>
                <a:spLocks/>
              </p:cNvSpPr>
              <p:nvPr/>
            </p:nvSpPr>
            <p:spPr bwMode="auto">
              <a:xfrm>
                <a:off x="7242012" y="1688817"/>
                <a:ext cx="48474" cy="16817"/>
              </a:xfrm>
              <a:custGeom>
                <a:avLst/>
                <a:gdLst>
                  <a:gd name="T0" fmla="*/ 39 w 49"/>
                  <a:gd name="T1" fmla="*/ 16 h 17"/>
                  <a:gd name="T2" fmla="*/ 39 w 49"/>
                  <a:gd name="T3" fmla="*/ 16 h 17"/>
                  <a:gd name="T4" fmla="*/ 25 w 49"/>
                  <a:gd name="T5" fmla="*/ 17 h 17"/>
                  <a:gd name="T6" fmla="*/ 16 w 49"/>
                  <a:gd name="T7" fmla="*/ 16 h 17"/>
                  <a:gd name="T8" fmla="*/ 7 w 49"/>
                  <a:gd name="T9" fmla="*/ 14 h 17"/>
                  <a:gd name="T10" fmla="*/ 7 w 49"/>
                  <a:gd name="T11" fmla="*/ 14 h 17"/>
                  <a:gd name="T12" fmla="*/ 3 w 49"/>
                  <a:gd name="T13" fmla="*/ 11 h 17"/>
                  <a:gd name="T14" fmla="*/ 0 w 49"/>
                  <a:gd name="T15" fmla="*/ 8 h 17"/>
                  <a:gd name="T16" fmla="*/ 0 w 49"/>
                  <a:gd name="T17" fmla="*/ 7 h 17"/>
                  <a:gd name="T18" fmla="*/ 0 w 49"/>
                  <a:gd name="T19" fmla="*/ 5 h 17"/>
                  <a:gd name="T20" fmla="*/ 4 w 49"/>
                  <a:gd name="T21" fmla="*/ 3 h 17"/>
                  <a:gd name="T22" fmla="*/ 4 w 49"/>
                  <a:gd name="T23" fmla="*/ 3 h 17"/>
                  <a:gd name="T24" fmla="*/ 10 w 49"/>
                  <a:gd name="T25" fmla="*/ 1 h 17"/>
                  <a:gd name="T26" fmla="*/ 16 w 49"/>
                  <a:gd name="T27" fmla="*/ 0 h 17"/>
                  <a:gd name="T28" fmla="*/ 22 w 49"/>
                  <a:gd name="T29" fmla="*/ 0 h 17"/>
                  <a:gd name="T30" fmla="*/ 29 w 49"/>
                  <a:gd name="T31" fmla="*/ 3 h 17"/>
                  <a:gd name="T32" fmla="*/ 29 w 49"/>
                  <a:gd name="T33" fmla="*/ 3 h 17"/>
                  <a:gd name="T34" fmla="*/ 36 w 49"/>
                  <a:gd name="T35" fmla="*/ 4 h 17"/>
                  <a:gd name="T36" fmla="*/ 43 w 49"/>
                  <a:gd name="T37" fmla="*/ 4 h 17"/>
                  <a:gd name="T38" fmla="*/ 48 w 49"/>
                  <a:gd name="T39" fmla="*/ 4 h 17"/>
                  <a:gd name="T40" fmla="*/ 48 w 49"/>
                  <a:gd name="T41" fmla="*/ 5 h 17"/>
                  <a:gd name="T42" fmla="*/ 49 w 49"/>
                  <a:gd name="T43" fmla="*/ 5 h 17"/>
                  <a:gd name="T44" fmla="*/ 49 w 49"/>
                  <a:gd name="T45" fmla="*/ 5 h 17"/>
                  <a:gd name="T46" fmla="*/ 48 w 49"/>
                  <a:gd name="T47" fmla="*/ 8 h 17"/>
                  <a:gd name="T48" fmla="*/ 46 w 49"/>
                  <a:gd name="T49" fmla="*/ 11 h 17"/>
                  <a:gd name="T50" fmla="*/ 45 w 49"/>
                  <a:gd name="T51" fmla="*/ 14 h 17"/>
                  <a:gd name="T52" fmla="*/ 39 w 49"/>
                  <a:gd name="T53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17">
                    <a:moveTo>
                      <a:pt x="39" y="16"/>
                    </a:moveTo>
                    <a:lnTo>
                      <a:pt x="39" y="16"/>
                    </a:lnTo>
                    <a:lnTo>
                      <a:pt x="25" y="17"/>
                    </a:lnTo>
                    <a:lnTo>
                      <a:pt x="16" y="16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10" y="1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9" y="3"/>
                    </a:lnTo>
                    <a:lnTo>
                      <a:pt x="29" y="3"/>
                    </a:lnTo>
                    <a:lnTo>
                      <a:pt x="36" y="4"/>
                    </a:lnTo>
                    <a:lnTo>
                      <a:pt x="43" y="4"/>
                    </a:lnTo>
                    <a:lnTo>
                      <a:pt x="48" y="4"/>
                    </a:lnTo>
                    <a:lnTo>
                      <a:pt x="48" y="5"/>
                    </a:lnTo>
                    <a:lnTo>
                      <a:pt x="49" y="5"/>
                    </a:lnTo>
                    <a:lnTo>
                      <a:pt x="49" y="5"/>
                    </a:lnTo>
                    <a:lnTo>
                      <a:pt x="48" y="8"/>
                    </a:lnTo>
                    <a:lnTo>
                      <a:pt x="46" y="11"/>
                    </a:lnTo>
                    <a:lnTo>
                      <a:pt x="45" y="14"/>
                    </a:lnTo>
                    <a:lnTo>
                      <a:pt x="39" y="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32" name="Freeform 1483"/>
              <p:cNvSpPr>
                <a:spLocks/>
              </p:cNvSpPr>
              <p:nvPr/>
            </p:nvSpPr>
            <p:spPr bwMode="auto">
              <a:xfrm>
                <a:off x="5225901" y="1568127"/>
                <a:ext cx="92990" cy="150367"/>
              </a:xfrm>
              <a:custGeom>
                <a:avLst/>
                <a:gdLst>
                  <a:gd name="T0" fmla="*/ 87 w 94"/>
                  <a:gd name="T1" fmla="*/ 151 h 152"/>
                  <a:gd name="T2" fmla="*/ 80 w 94"/>
                  <a:gd name="T3" fmla="*/ 149 h 152"/>
                  <a:gd name="T4" fmla="*/ 74 w 94"/>
                  <a:gd name="T5" fmla="*/ 152 h 152"/>
                  <a:gd name="T6" fmla="*/ 65 w 94"/>
                  <a:gd name="T7" fmla="*/ 143 h 152"/>
                  <a:gd name="T8" fmla="*/ 62 w 94"/>
                  <a:gd name="T9" fmla="*/ 148 h 152"/>
                  <a:gd name="T10" fmla="*/ 54 w 94"/>
                  <a:gd name="T11" fmla="*/ 143 h 152"/>
                  <a:gd name="T12" fmla="*/ 33 w 94"/>
                  <a:gd name="T13" fmla="*/ 139 h 152"/>
                  <a:gd name="T14" fmla="*/ 35 w 94"/>
                  <a:gd name="T15" fmla="*/ 127 h 152"/>
                  <a:gd name="T16" fmla="*/ 35 w 94"/>
                  <a:gd name="T17" fmla="*/ 117 h 152"/>
                  <a:gd name="T18" fmla="*/ 32 w 94"/>
                  <a:gd name="T19" fmla="*/ 112 h 152"/>
                  <a:gd name="T20" fmla="*/ 26 w 94"/>
                  <a:gd name="T21" fmla="*/ 114 h 152"/>
                  <a:gd name="T22" fmla="*/ 20 w 94"/>
                  <a:gd name="T23" fmla="*/ 110 h 152"/>
                  <a:gd name="T24" fmla="*/ 6 w 94"/>
                  <a:gd name="T25" fmla="*/ 106 h 152"/>
                  <a:gd name="T26" fmla="*/ 0 w 94"/>
                  <a:gd name="T27" fmla="*/ 96 h 152"/>
                  <a:gd name="T28" fmla="*/ 5 w 94"/>
                  <a:gd name="T29" fmla="*/ 77 h 152"/>
                  <a:gd name="T30" fmla="*/ 9 w 94"/>
                  <a:gd name="T31" fmla="*/ 74 h 152"/>
                  <a:gd name="T32" fmla="*/ 12 w 94"/>
                  <a:gd name="T33" fmla="*/ 72 h 152"/>
                  <a:gd name="T34" fmla="*/ 19 w 94"/>
                  <a:gd name="T35" fmla="*/ 75 h 152"/>
                  <a:gd name="T36" fmla="*/ 18 w 94"/>
                  <a:gd name="T37" fmla="*/ 64 h 152"/>
                  <a:gd name="T38" fmla="*/ 25 w 94"/>
                  <a:gd name="T39" fmla="*/ 46 h 152"/>
                  <a:gd name="T40" fmla="*/ 20 w 94"/>
                  <a:gd name="T41" fmla="*/ 43 h 152"/>
                  <a:gd name="T42" fmla="*/ 15 w 94"/>
                  <a:gd name="T43" fmla="*/ 39 h 152"/>
                  <a:gd name="T44" fmla="*/ 18 w 94"/>
                  <a:gd name="T45" fmla="*/ 33 h 152"/>
                  <a:gd name="T46" fmla="*/ 25 w 94"/>
                  <a:gd name="T47" fmla="*/ 32 h 152"/>
                  <a:gd name="T48" fmla="*/ 26 w 94"/>
                  <a:gd name="T49" fmla="*/ 25 h 152"/>
                  <a:gd name="T50" fmla="*/ 35 w 94"/>
                  <a:gd name="T51" fmla="*/ 23 h 152"/>
                  <a:gd name="T52" fmla="*/ 41 w 94"/>
                  <a:gd name="T53" fmla="*/ 6 h 152"/>
                  <a:gd name="T54" fmla="*/ 51 w 94"/>
                  <a:gd name="T55" fmla="*/ 7 h 152"/>
                  <a:gd name="T56" fmla="*/ 51 w 94"/>
                  <a:gd name="T57" fmla="*/ 0 h 152"/>
                  <a:gd name="T58" fmla="*/ 57 w 94"/>
                  <a:gd name="T59" fmla="*/ 3 h 152"/>
                  <a:gd name="T60" fmla="*/ 67 w 94"/>
                  <a:gd name="T61" fmla="*/ 6 h 152"/>
                  <a:gd name="T62" fmla="*/ 80 w 94"/>
                  <a:gd name="T63" fmla="*/ 13 h 152"/>
                  <a:gd name="T64" fmla="*/ 78 w 94"/>
                  <a:gd name="T65" fmla="*/ 23 h 152"/>
                  <a:gd name="T66" fmla="*/ 74 w 94"/>
                  <a:gd name="T67" fmla="*/ 29 h 152"/>
                  <a:gd name="T68" fmla="*/ 74 w 94"/>
                  <a:gd name="T69" fmla="*/ 35 h 152"/>
                  <a:gd name="T70" fmla="*/ 67 w 94"/>
                  <a:gd name="T71" fmla="*/ 33 h 152"/>
                  <a:gd name="T72" fmla="*/ 68 w 94"/>
                  <a:gd name="T73" fmla="*/ 42 h 152"/>
                  <a:gd name="T74" fmla="*/ 61 w 94"/>
                  <a:gd name="T75" fmla="*/ 55 h 152"/>
                  <a:gd name="T76" fmla="*/ 61 w 94"/>
                  <a:gd name="T77" fmla="*/ 68 h 152"/>
                  <a:gd name="T78" fmla="*/ 67 w 94"/>
                  <a:gd name="T79" fmla="*/ 72 h 152"/>
                  <a:gd name="T80" fmla="*/ 61 w 94"/>
                  <a:gd name="T81" fmla="*/ 84 h 152"/>
                  <a:gd name="T82" fmla="*/ 65 w 94"/>
                  <a:gd name="T83" fmla="*/ 99 h 152"/>
                  <a:gd name="T84" fmla="*/ 73 w 94"/>
                  <a:gd name="T85" fmla="*/ 113 h 152"/>
                  <a:gd name="T86" fmla="*/ 74 w 94"/>
                  <a:gd name="T87" fmla="*/ 122 h 152"/>
                  <a:gd name="T88" fmla="*/ 84 w 94"/>
                  <a:gd name="T89" fmla="*/ 133 h 152"/>
                  <a:gd name="T90" fmla="*/ 89 w 94"/>
                  <a:gd name="T91" fmla="*/ 136 h 152"/>
                  <a:gd name="T92" fmla="*/ 91 w 94"/>
                  <a:gd name="T93" fmla="*/ 142 h 152"/>
                  <a:gd name="T94" fmla="*/ 94 w 94"/>
                  <a:gd name="T95" fmla="*/ 143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4" h="152">
                    <a:moveTo>
                      <a:pt x="93" y="148"/>
                    </a:moveTo>
                    <a:lnTo>
                      <a:pt x="93" y="148"/>
                    </a:lnTo>
                    <a:lnTo>
                      <a:pt x="90" y="149"/>
                    </a:lnTo>
                    <a:lnTo>
                      <a:pt x="87" y="151"/>
                    </a:lnTo>
                    <a:lnTo>
                      <a:pt x="87" y="151"/>
                    </a:lnTo>
                    <a:lnTo>
                      <a:pt x="83" y="149"/>
                    </a:lnTo>
                    <a:lnTo>
                      <a:pt x="80" y="149"/>
                    </a:lnTo>
                    <a:lnTo>
                      <a:pt x="80" y="149"/>
                    </a:lnTo>
                    <a:lnTo>
                      <a:pt x="77" y="151"/>
                    </a:lnTo>
                    <a:lnTo>
                      <a:pt x="75" y="152"/>
                    </a:lnTo>
                    <a:lnTo>
                      <a:pt x="74" y="152"/>
                    </a:lnTo>
                    <a:lnTo>
                      <a:pt x="74" y="152"/>
                    </a:lnTo>
                    <a:lnTo>
                      <a:pt x="70" y="146"/>
                    </a:lnTo>
                    <a:lnTo>
                      <a:pt x="67" y="145"/>
                    </a:lnTo>
                    <a:lnTo>
                      <a:pt x="65" y="143"/>
                    </a:lnTo>
                    <a:lnTo>
                      <a:pt x="65" y="143"/>
                    </a:lnTo>
                    <a:lnTo>
                      <a:pt x="65" y="145"/>
                    </a:lnTo>
                    <a:lnTo>
                      <a:pt x="64" y="146"/>
                    </a:lnTo>
                    <a:lnTo>
                      <a:pt x="64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57" y="145"/>
                    </a:lnTo>
                    <a:lnTo>
                      <a:pt x="54" y="143"/>
                    </a:lnTo>
                    <a:lnTo>
                      <a:pt x="54" y="143"/>
                    </a:lnTo>
                    <a:lnTo>
                      <a:pt x="42" y="142"/>
                    </a:lnTo>
                    <a:lnTo>
                      <a:pt x="36" y="141"/>
                    </a:lnTo>
                    <a:lnTo>
                      <a:pt x="33" y="139"/>
                    </a:lnTo>
                    <a:lnTo>
                      <a:pt x="33" y="139"/>
                    </a:lnTo>
                    <a:lnTo>
                      <a:pt x="35" y="133"/>
                    </a:lnTo>
                    <a:lnTo>
                      <a:pt x="36" y="130"/>
                    </a:lnTo>
                    <a:lnTo>
                      <a:pt x="35" y="127"/>
                    </a:lnTo>
                    <a:lnTo>
                      <a:pt x="35" y="127"/>
                    </a:lnTo>
                    <a:lnTo>
                      <a:pt x="35" y="125"/>
                    </a:lnTo>
                    <a:lnTo>
                      <a:pt x="35" y="122"/>
                    </a:lnTo>
                    <a:lnTo>
                      <a:pt x="36" y="120"/>
                    </a:lnTo>
                    <a:lnTo>
                      <a:pt x="35" y="117"/>
                    </a:lnTo>
                    <a:lnTo>
                      <a:pt x="35" y="117"/>
                    </a:lnTo>
                    <a:lnTo>
                      <a:pt x="33" y="116"/>
                    </a:lnTo>
                    <a:lnTo>
                      <a:pt x="32" y="113"/>
                    </a:lnTo>
                    <a:lnTo>
                      <a:pt x="32" y="112"/>
                    </a:lnTo>
                    <a:lnTo>
                      <a:pt x="31" y="112"/>
                    </a:lnTo>
                    <a:lnTo>
                      <a:pt x="31" y="112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3" y="114"/>
                    </a:lnTo>
                    <a:lnTo>
                      <a:pt x="23" y="114"/>
                    </a:lnTo>
                    <a:lnTo>
                      <a:pt x="22" y="112"/>
                    </a:lnTo>
                    <a:lnTo>
                      <a:pt x="20" y="110"/>
                    </a:lnTo>
                    <a:lnTo>
                      <a:pt x="20" y="110"/>
                    </a:lnTo>
                    <a:lnTo>
                      <a:pt x="13" y="109"/>
                    </a:lnTo>
                    <a:lnTo>
                      <a:pt x="6" y="106"/>
                    </a:lnTo>
                    <a:lnTo>
                      <a:pt x="6" y="106"/>
                    </a:lnTo>
                    <a:lnTo>
                      <a:pt x="2" y="103"/>
                    </a:lnTo>
                    <a:lnTo>
                      <a:pt x="0" y="99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2" y="84"/>
                    </a:lnTo>
                    <a:lnTo>
                      <a:pt x="3" y="80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7" y="77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9" y="74"/>
                    </a:lnTo>
                    <a:lnTo>
                      <a:pt x="10" y="72"/>
                    </a:lnTo>
                    <a:lnTo>
                      <a:pt x="10" y="71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8" y="75"/>
                    </a:lnTo>
                    <a:lnTo>
                      <a:pt x="19" y="75"/>
                    </a:lnTo>
                    <a:lnTo>
                      <a:pt x="19" y="75"/>
                    </a:lnTo>
                    <a:lnTo>
                      <a:pt x="19" y="75"/>
                    </a:lnTo>
                    <a:lnTo>
                      <a:pt x="18" y="72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8" y="64"/>
                    </a:lnTo>
                    <a:lnTo>
                      <a:pt x="19" y="58"/>
                    </a:lnTo>
                    <a:lnTo>
                      <a:pt x="22" y="51"/>
                    </a:lnTo>
                    <a:lnTo>
                      <a:pt x="22" y="51"/>
                    </a:lnTo>
                    <a:lnTo>
                      <a:pt x="25" y="46"/>
                    </a:lnTo>
                    <a:lnTo>
                      <a:pt x="26" y="45"/>
                    </a:lnTo>
                    <a:lnTo>
                      <a:pt x="25" y="43"/>
                    </a:lnTo>
                    <a:lnTo>
                      <a:pt x="25" y="43"/>
                    </a:lnTo>
                    <a:lnTo>
                      <a:pt x="20" y="43"/>
                    </a:lnTo>
                    <a:lnTo>
                      <a:pt x="19" y="43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5" y="39"/>
                    </a:lnTo>
                    <a:lnTo>
                      <a:pt x="15" y="36"/>
                    </a:lnTo>
                    <a:lnTo>
                      <a:pt x="15" y="35"/>
                    </a:lnTo>
                    <a:lnTo>
                      <a:pt x="18" y="33"/>
                    </a:lnTo>
                    <a:lnTo>
                      <a:pt x="18" y="33"/>
                    </a:lnTo>
                    <a:lnTo>
                      <a:pt x="22" y="33"/>
                    </a:lnTo>
                    <a:lnTo>
                      <a:pt x="23" y="33"/>
                    </a:lnTo>
                    <a:lnTo>
                      <a:pt x="25" y="32"/>
                    </a:lnTo>
                    <a:lnTo>
                      <a:pt x="25" y="32"/>
                    </a:lnTo>
                    <a:lnTo>
                      <a:pt x="23" y="28"/>
                    </a:lnTo>
                    <a:lnTo>
                      <a:pt x="25" y="26"/>
                    </a:lnTo>
                    <a:lnTo>
                      <a:pt x="26" y="25"/>
                    </a:lnTo>
                    <a:lnTo>
                      <a:pt x="26" y="25"/>
                    </a:lnTo>
                    <a:lnTo>
                      <a:pt x="31" y="25"/>
                    </a:lnTo>
                    <a:lnTo>
                      <a:pt x="33" y="25"/>
                    </a:lnTo>
                    <a:lnTo>
                      <a:pt x="35" y="23"/>
                    </a:lnTo>
                    <a:lnTo>
                      <a:pt x="35" y="23"/>
                    </a:lnTo>
                    <a:lnTo>
                      <a:pt x="36" y="20"/>
                    </a:lnTo>
                    <a:lnTo>
                      <a:pt x="38" y="15"/>
                    </a:lnTo>
                    <a:lnTo>
                      <a:pt x="39" y="9"/>
                    </a:lnTo>
                    <a:lnTo>
                      <a:pt x="41" y="6"/>
                    </a:lnTo>
                    <a:lnTo>
                      <a:pt x="41" y="6"/>
                    </a:lnTo>
                    <a:lnTo>
                      <a:pt x="44" y="6"/>
                    </a:lnTo>
                    <a:lnTo>
                      <a:pt x="48" y="6"/>
                    </a:lnTo>
                    <a:lnTo>
                      <a:pt x="51" y="7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1" y="1"/>
                    </a:lnTo>
                    <a:lnTo>
                      <a:pt x="51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5" y="0"/>
                    </a:lnTo>
                    <a:lnTo>
                      <a:pt x="57" y="3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7" y="6"/>
                    </a:lnTo>
                    <a:lnTo>
                      <a:pt x="71" y="9"/>
                    </a:lnTo>
                    <a:lnTo>
                      <a:pt x="71" y="9"/>
                    </a:lnTo>
                    <a:lnTo>
                      <a:pt x="77" y="12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7"/>
                    </a:lnTo>
                    <a:lnTo>
                      <a:pt x="80" y="22"/>
                    </a:lnTo>
                    <a:lnTo>
                      <a:pt x="78" y="23"/>
                    </a:lnTo>
                    <a:lnTo>
                      <a:pt x="78" y="23"/>
                    </a:lnTo>
                    <a:lnTo>
                      <a:pt x="75" y="26"/>
                    </a:lnTo>
                    <a:lnTo>
                      <a:pt x="74" y="29"/>
                    </a:lnTo>
                    <a:lnTo>
                      <a:pt x="74" y="29"/>
                    </a:lnTo>
                    <a:lnTo>
                      <a:pt x="75" y="33"/>
                    </a:lnTo>
                    <a:lnTo>
                      <a:pt x="75" y="35"/>
                    </a:lnTo>
                    <a:lnTo>
                      <a:pt x="74" y="35"/>
                    </a:lnTo>
                    <a:lnTo>
                      <a:pt x="74" y="35"/>
                    </a:lnTo>
                    <a:lnTo>
                      <a:pt x="70" y="33"/>
                    </a:lnTo>
                    <a:lnTo>
                      <a:pt x="67" y="32"/>
                    </a:lnTo>
                    <a:lnTo>
                      <a:pt x="67" y="33"/>
                    </a:lnTo>
                    <a:lnTo>
                      <a:pt x="67" y="33"/>
                    </a:lnTo>
                    <a:lnTo>
                      <a:pt x="67" y="36"/>
                    </a:lnTo>
                    <a:lnTo>
                      <a:pt x="67" y="38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5" y="48"/>
                    </a:lnTo>
                    <a:lnTo>
                      <a:pt x="61" y="54"/>
                    </a:lnTo>
                    <a:lnTo>
                      <a:pt x="61" y="54"/>
                    </a:lnTo>
                    <a:lnTo>
                      <a:pt x="61" y="55"/>
                    </a:lnTo>
                    <a:lnTo>
                      <a:pt x="62" y="58"/>
                    </a:lnTo>
                    <a:lnTo>
                      <a:pt x="62" y="58"/>
                    </a:lnTo>
                    <a:lnTo>
                      <a:pt x="61" y="65"/>
                    </a:lnTo>
                    <a:lnTo>
                      <a:pt x="61" y="68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5" y="71"/>
                    </a:lnTo>
                    <a:lnTo>
                      <a:pt x="67" y="72"/>
                    </a:lnTo>
                    <a:lnTo>
                      <a:pt x="65" y="75"/>
                    </a:lnTo>
                    <a:lnTo>
                      <a:pt x="65" y="75"/>
                    </a:lnTo>
                    <a:lnTo>
                      <a:pt x="62" y="81"/>
                    </a:lnTo>
                    <a:lnTo>
                      <a:pt x="61" y="84"/>
                    </a:lnTo>
                    <a:lnTo>
                      <a:pt x="61" y="87"/>
                    </a:lnTo>
                    <a:lnTo>
                      <a:pt x="61" y="87"/>
                    </a:lnTo>
                    <a:lnTo>
                      <a:pt x="65" y="99"/>
                    </a:lnTo>
                    <a:lnTo>
                      <a:pt x="65" y="99"/>
                    </a:lnTo>
                    <a:lnTo>
                      <a:pt x="68" y="106"/>
                    </a:lnTo>
                    <a:lnTo>
                      <a:pt x="71" y="110"/>
                    </a:lnTo>
                    <a:lnTo>
                      <a:pt x="73" y="113"/>
                    </a:lnTo>
                    <a:lnTo>
                      <a:pt x="73" y="113"/>
                    </a:lnTo>
                    <a:lnTo>
                      <a:pt x="73" y="114"/>
                    </a:lnTo>
                    <a:lnTo>
                      <a:pt x="73" y="117"/>
                    </a:lnTo>
                    <a:lnTo>
                      <a:pt x="74" y="122"/>
                    </a:lnTo>
                    <a:lnTo>
                      <a:pt x="74" y="122"/>
                    </a:lnTo>
                    <a:lnTo>
                      <a:pt x="75" y="125"/>
                    </a:lnTo>
                    <a:lnTo>
                      <a:pt x="78" y="127"/>
                    </a:lnTo>
                    <a:lnTo>
                      <a:pt x="81" y="130"/>
                    </a:lnTo>
                    <a:lnTo>
                      <a:pt x="84" y="133"/>
                    </a:lnTo>
                    <a:lnTo>
                      <a:pt x="84" y="133"/>
                    </a:lnTo>
                    <a:lnTo>
                      <a:pt x="86" y="135"/>
                    </a:lnTo>
                    <a:lnTo>
                      <a:pt x="87" y="136"/>
                    </a:lnTo>
                    <a:lnTo>
                      <a:pt x="89" y="136"/>
                    </a:lnTo>
                    <a:lnTo>
                      <a:pt x="90" y="138"/>
                    </a:lnTo>
                    <a:lnTo>
                      <a:pt x="90" y="138"/>
                    </a:lnTo>
                    <a:lnTo>
                      <a:pt x="91" y="141"/>
                    </a:lnTo>
                    <a:lnTo>
                      <a:pt x="91" y="142"/>
                    </a:lnTo>
                    <a:lnTo>
                      <a:pt x="93" y="142"/>
                    </a:lnTo>
                    <a:lnTo>
                      <a:pt x="93" y="142"/>
                    </a:lnTo>
                    <a:lnTo>
                      <a:pt x="94" y="142"/>
                    </a:lnTo>
                    <a:lnTo>
                      <a:pt x="94" y="143"/>
                    </a:lnTo>
                    <a:lnTo>
                      <a:pt x="94" y="146"/>
                    </a:lnTo>
                    <a:lnTo>
                      <a:pt x="93" y="14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33" name="Freeform 1484"/>
              <p:cNvSpPr>
                <a:spLocks/>
              </p:cNvSpPr>
              <p:nvPr/>
            </p:nvSpPr>
            <p:spPr bwMode="auto">
              <a:xfrm>
                <a:off x="5225901" y="1568127"/>
                <a:ext cx="92990" cy="150367"/>
              </a:xfrm>
              <a:custGeom>
                <a:avLst/>
                <a:gdLst>
                  <a:gd name="T0" fmla="*/ 87 w 94"/>
                  <a:gd name="T1" fmla="*/ 151 h 152"/>
                  <a:gd name="T2" fmla="*/ 80 w 94"/>
                  <a:gd name="T3" fmla="*/ 149 h 152"/>
                  <a:gd name="T4" fmla="*/ 74 w 94"/>
                  <a:gd name="T5" fmla="*/ 152 h 152"/>
                  <a:gd name="T6" fmla="*/ 65 w 94"/>
                  <a:gd name="T7" fmla="*/ 143 h 152"/>
                  <a:gd name="T8" fmla="*/ 62 w 94"/>
                  <a:gd name="T9" fmla="*/ 148 h 152"/>
                  <a:gd name="T10" fmla="*/ 54 w 94"/>
                  <a:gd name="T11" fmla="*/ 143 h 152"/>
                  <a:gd name="T12" fmla="*/ 33 w 94"/>
                  <a:gd name="T13" fmla="*/ 139 h 152"/>
                  <a:gd name="T14" fmla="*/ 35 w 94"/>
                  <a:gd name="T15" fmla="*/ 127 h 152"/>
                  <a:gd name="T16" fmla="*/ 35 w 94"/>
                  <a:gd name="T17" fmla="*/ 117 h 152"/>
                  <a:gd name="T18" fmla="*/ 32 w 94"/>
                  <a:gd name="T19" fmla="*/ 112 h 152"/>
                  <a:gd name="T20" fmla="*/ 26 w 94"/>
                  <a:gd name="T21" fmla="*/ 114 h 152"/>
                  <a:gd name="T22" fmla="*/ 20 w 94"/>
                  <a:gd name="T23" fmla="*/ 110 h 152"/>
                  <a:gd name="T24" fmla="*/ 6 w 94"/>
                  <a:gd name="T25" fmla="*/ 106 h 152"/>
                  <a:gd name="T26" fmla="*/ 0 w 94"/>
                  <a:gd name="T27" fmla="*/ 96 h 152"/>
                  <a:gd name="T28" fmla="*/ 5 w 94"/>
                  <a:gd name="T29" fmla="*/ 77 h 152"/>
                  <a:gd name="T30" fmla="*/ 9 w 94"/>
                  <a:gd name="T31" fmla="*/ 74 h 152"/>
                  <a:gd name="T32" fmla="*/ 12 w 94"/>
                  <a:gd name="T33" fmla="*/ 72 h 152"/>
                  <a:gd name="T34" fmla="*/ 19 w 94"/>
                  <a:gd name="T35" fmla="*/ 75 h 152"/>
                  <a:gd name="T36" fmla="*/ 18 w 94"/>
                  <a:gd name="T37" fmla="*/ 64 h 152"/>
                  <a:gd name="T38" fmla="*/ 25 w 94"/>
                  <a:gd name="T39" fmla="*/ 46 h 152"/>
                  <a:gd name="T40" fmla="*/ 20 w 94"/>
                  <a:gd name="T41" fmla="*/ 43 h 152"/>
                  <a:gd name="T42" fmla="*/ 15 w 94"/>
                  <a:gd name="T43" fmla="*/ 39 h 152"/>
                  <a:gd name="T44" fmla="*/ 18 w 94"/>
                  <a:gd name="T45" fmla="*/ 33 h 152"/>
                  <a:gd name="T46" fmla="*/ 25 w 94"/>
                  <a:gd name="T47" fmla="*/ 32 h 152"/>
                  <a:gd name="T48" fmla="*/ 26 w 94"/>
                  <a:gd name="T49" fmla="*/ 25 h 152"/>
                  <a:gd name="T50" fmla="*/ 35 w 94"/>
                  <a:gd name="T51" fmla="*/ 23 h 152"/>
                  <a:gd name="T52" fmla="*/ 41 w 94"/>
                  <a:gd name="T53" fmla="*/ 6 h 152"/>
                  <a:gd name="T54" fmla="*/ 51 w 94"/>
                  <a:gd name="T55" fmla="*/ 7 h 152"/>
                  <a:gd name="T56" fmla="*/ 51 w 94"/>
                  <a:gd name="T57" fmla="*/ 0 h 152"/>
                  <a:gd name="T58" fmla="*/ 57 w 94"/>
                  <a:gd name="T59" fmla="*/ 3 h 152"/>
                  <a:gd name="T60" fmla="*/ 67 w 94"/>
                  <a:gd name="T61" fmla="*/ 6 h 152"/>
                  <a:gd name="T62" fmla="*/ 80 w 94"/>
                  <a:gd name="T63" fmla="*/ 13 h 152"/>
                  <a:gd name="T64" fmla="*/ 78 w 94"/>
                  <a:gd name="T65" fmla="*/ 23 h 152"/>
                  <a:gd name="T66" fmla="*/ 74 w 94"/>
                  <a:gd name="T67" fmla="*/ 29 h 152"/>
                  <a:gd name="T68" fmla="*/ 74 w 94"/>
                  <a:gd name="T69" fmla="*/ 35 h 152"/>
                  <a:gd name="T70" fmla="*/ 67 w 94"/>
                  <a:gd name="T71" fmla="*/ 33 h 152"/>
                  <a:gd name="T72" fmla="*/ 68 w 94"/>
                  <a:gd name="T73" fmla="*/ 42 h 152"/>
                  <a:gd name="T74" fmla="*/ 61 w 94"/>
                  <a:gd name="T75" fmla="*/ 55 h 152"/>
                  <a:gd name="T76" fmla="*/ 61 w 94"/>
                  <a:gd name="T77" fmla="*/ 68 h 152"/>
                  <a:gd name="T78" fmla="*/ 67 w 94"/>
                  <a:gd name="T79" fmla="*/ 72 h 152"/>
                  <a:gd name="T80" fmla="*/ 61 w 94"/>
                  <a:gd name="T81" fmla="*/ 84 h 152"/>
                  <a:gd name="T82" fmla="*/ 65 w 94"/>
                  <a:gd name="T83" fmla="*/ 99 h 152"/>
                  <a:gd name="T84" fmla="*/ 73 w 94"/>
                  <a:gd name="T85" fmla="*/ 113 h 152"/>
                  <a:gd name="T86" fmla="*/ 74 w 94"/>
                  <a:gd name="T87" fmla="*/ 122 h 152"/>
                  <a:gd name="T88" fmla="*/ 84 w 94"/>
                  <a:gd name="T89" fmla="*/ 133 h 152"/>
                  <a:gd name="T90" fmla="*/ 89 w 94"/>
                  <a:gd name="T91" fmla="*/ 136 h 152"/>
                  <a:gd name="T92" fmla="*/ 91 w 94"/>
                  <a:gd name="T93" fmla="*/ 142 h 152"/>
                  <a:gd name="T94" fmla="*/ 94 w 94"/>
                  <a:gd name="T95" fmla="*/ 143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4" h="152">
                    <a:moveTo>
                      <a:pt x="93" y="148"/>
                    </a:moveTo>
                    <a:lnTo>
                      <a:pt x="93" y="148"/>
                    </a:lnTo>
                    <a:lnTo>
                      <a:pt x="90" y="149"/>
                    </a:lnTo>
                    <a:lnTo>
                      <a:pt x="87" y="151"/>
                    </a:lnTo>
                    <a:lnTo>
                      <a:pt x="87" y="151"/>
                    </a:lnTo>
                    <a:lnTo>
                      <a:pt x="83" y="149"/>
                    </a:lnTo>
                    <a:lnTo>
                      <a:pt x="80" y="149"/>
                    </a:lnTo>
                    <a:lnTo>
                      <a:pt x="80" y="149"/>
                    </a:lnTo>
                    <a:lnTo>
                      <a:pt x="77" y="151"/>
                    </a:lnTo>
                    <a:lnTo>
                      <a:pt x="75" y="152"/>
                    </a:lnTo>
                    <a:lnTo>
                      <a:pt x="74" y="152"/>
                    </a:lnTo>
                    <a:lnTo>
                      <a:pt x="74" y="152"/>
                    </a:lnTo>
                    <a:lnTo>
                      <a:pt x="70" y="146"/>
                    </a:lnTo>
                    <a:lnTo>
                      <a:pt x="67" y="145"/>
                    </a:lnTo>
                    <a:lnTo>
                      <a:pt x="65" y="143"/>
                    </a:lnTo>
                    <a:lnTo>
                      <a:pt x="65" y="143"/>
                    </a:lnTo>
                    <a:lnTo>
                      <a:pt x="65" y="145"/>
                    </a:lnTo>
                    <a:lnTo>
                      <a:pt x="64" y="146"/>
                    </a:lnTo>
                    <a:lnTo>
                      <a:pt x="64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57" y="145"/>
                    </a:lnTo>
                    <a:lnTo>
                      <a:pt x="54" y="143"/>
                    </a:lnTo>
                    <a:lnTo>
                      <a:pt x="54" y="143"/>
                    </a:lnTo>
                    <a:lnTo>
                      <a:pt x="42" y="142"/>
                    </a:lnTo>
                    <a:lnTo>
                      <a:pt x="36" y="141"/>
                    </a:lnTo>
                    <a:lnTo>
                      <a:pt x="33" y="139"/>
                    </a:lnTo>
                    <a:lnTo>
                      <a:pt x="33" y="139"/>
                    </a:lnTo>
                    <a:lnTo>
                      <a:pt x="35" y="133"/>
                    </a:lnTo>
                    <a:lnTo>
                      <a:pt x="36" y="130"/>
                    </a:lnTo>
                    <a:lnTo>
                      <a:pt x="35" y="127"/>
                    </a:lnTo>
                    <a:lnTo>
                      <a:pt x="35" y="127"/>
                    </a:lnTo>
                    <a:lnTo>
                      <a:pt x="35" y="125"/>
                    </a:lnTo>
                    <a:lnTo>
                      <a:pt x="35" y="122"/>
                    </a:lnTo>
                    <a:lnTo>
                      <a:pt x="36" y="120"/>
                    </a:lnTo>
                    <a:lnTo>
                      <a:pt x="35" y="117"/>
                    </a:lnTo>
                    <a:lnTo>
                      <a:pt x="35" y="117"/>
                    </a:lnTo>
                    <a:lnTo>
                      <a:pt x="33" y="116"/>
                    </a:lnTo>
                    <a:lnTo>
                      <a:pt x="32" y="113"/>
                    </a:lnTo>
                    <a:lnTo>
                      <a:pt x="32" y="112"/>
                    </a:lnTo>
                    <a:lnTo>
                      <a:pt x="31" y="112"/>
                    </a:lnTo>
                    <a:lnTo>
                      <a:pt x="31" y="112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3" y="114"/>
                    </a:lnTo>
                    <a:lnTo>
                      <a:pt x="23" y="114"/>
                    </a:lnTo>
                    <a:lnTo>
                      <a:pt x="22" y="112"/>
                    </a:lnTo>
                    <a:lnTo>
                      <a:pt x="20" y="110"/>
                    </a:lnTo>
                    <a:lnTo>
                      <a:pt x="20" y="110"/>
                    </a:lnTo>
                    <a:lnTo>
                      <a:pt x="13" y="109"/>
                    </a:lnTo>
                    <a:lnTo>
                      <a:pt x="6" y="106"/>
                    </a:lnTo>
                    <a:lnTo>
                      <a:pt x="6" y="106"/>
                    </a:lnTo>
                    <a:lnTo>
                      <a:pt x="2" y="103"/>
                    </a:lnTo>
                    <a:lnTo>
                      <a:pt x="0" y="99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2" y="84"/>
                    </a:lnTo>
                    <a:lnTo>
                      <a:pt x="3" y="80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7" y="77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9" y="74"/>
                    </a:lnTo>
                    <a:lnTo>
                      <a:pt x="10" y="72"/>
                    </a:lnTo>
                    <a:lnTo>
                      <a:pt x="10" y="71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8" y="75"/>
                    </a:lnTo>
                    <a:lnTo>
                      <a:pt x="19" y="75"/>
                    </a:lnTo>
                    <a:lnTo>
                      <a:pt x="19" y="75"/>
                    </a:lnTo>
                    <a:lnTo>
                      <a:pt x="19" y="75"/>
                    </a:lnTo>
                    <a:lnTo>
                      <a:pt x="18" y="72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8" y="64"/>
                    </a:lnTo>
                    <a:lnTo>
                      <a:pt x="19" y="58"/>
                    </a:lnTo>
                    <a:lnTo>
                      <a:pt x="22" y="51"/>
                    </a:lnTo>
                    <a:lnTo>
                      <a:pt x="22" y="51"/>
                    </a:lnTo>
                    <a:lnTo>
                      <a:pt x="25" y="46"/>
                    </a:lnTo>
                    <a:lnTo>
                      <a:pt x="26" y="45"/>
                    </a:lnTo>
                    <a:lnTo>
                      <a:pt x="25" y="43"/>
                    </a:lnTo>
                    <a:lnTo>
                      <a:pt x="25" y="43"/>
                    </a:lnTo>
                    <a:lnTo>
                      <a:pt x="20" y="43"/>
                    </a:lnTo>
                    <a:lnTo>
                      <a:pt x="19" y="43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5" y="39"/>
                    </a:lnTo>
                    <a:lnTo>
                      <a:pt x="15" y="36"/>
                    </a:lnTo>
                    <a:lnTo>
                      <a:pt x="15" y="35"/>
                    </a:lnTo>
                    <a:lnTo>
                      <a:pt x="18" y="33"/>
                    </a:lnTo>
                    <a:lnTo>
                      <a:pt x="18" y="33"/>
                    </a:lnTo>
                    <a:lnTo>
                      <a:pt x="22" y="33"/>
                    </a:lnTo>
                    <a:lnTo>
                      <a:pt x="23" y="33"/>
                    </a:lnTo>
                    <a:lnTo>
                      <a:pt x="25" y="32"/>
                    </a:lnTo>
                    <a:lnTo>
                      <a:pt x="25" y="32"/>
                    </a:lnTo>
                    <a:lnTo>
                      <a:pt x="23" y="28"/>
                    </a:lnTo>
                    <a:lnTo>
                      <a:pt x="25" y="26"/>
                    </a:lnTo>
                    <a:lnTo>
                      <a:pt x="26" y="25"/>
                    </a:lnTo>
                    <a:lnTo>
                      <a:pt x="26" y="25"/>
                    </a:lnTo>
                    <a:lnTo>
                      <a:pt x="31" y="25"/>
                    </a:lnTo>
                    <a:lnTo>
                      <a:pt x="33" y="25"/>
                    </a:lnTo>
                    <a:lnTo>
                      <a:pt x="35" y="23"/>
                    </a:lnTo>
                    <a:lnTo>
                      <a:pt x="35" y="23"/>
                    </a:lnTo>
                    <a:lnTo>
                      <a:pt x="36" y="20"/>
                    </a:lnTo>
                    <a:lnTo>
                      <a:pt x="38" y="15"/>
                    </a:lnTo>
                    <a:lnTo>
                      <a:pt x="39" y="9"/>
                    </a:lnTo>
                    <a:lnTo>
                      <a:pt x="41" y="6"/>
                    </a:lnTo>
                    <a:lnTo>
                      <a:pt x="41" y="6"/>
                    </a:lnTo>
                    <a:lnTo>
                      <a:pt x="44" y="6"/>
                    </a:lnTo>
                    <a:lnTo>
                      <a:pt x="48" y="6"/>
                    </a:lnTo>
                    <a:lnTo>
                      <a:pt x="51" y="7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1" y="1"/>
                    </a:lnTo>
                    <a:lnTo>
                      <a:pt x="51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5" y="0"/>
                    </a:lnTo>
                    <a:lnTo>
                      <a:pt x="57" y="3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7" y="6"/>
                    </a:lnTo>
                    <a:lnTo>
                      <a:pt x="71" y="9"/>
                    </a:lnTo>
                    <a:lnTo>
                      <a:pt x="71" y="9"/>
                    </a:lnTo>
                    <a:lnTo>
                      <a:pt x="77" y="12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7"/>
                    </a:lnTo>
                    <a:lnTo>
                      <a:pt x="80" y="22"/>
                    </a:lnTo>
                    <a:lnTo>
                      <a:pt x="78" y="23"/>
                    </a:lnTo>
                    <a:lnTo>
                      <a:pt x="78" y="23"/>
                    </a:lnTo>
                    <a:lnTo>
                      <a:pt x="75" y="26"/>
                    </a:lnTo>
                    <a:lnTo>
                      <a:pt x="74" y="29"/>
                    </a:lnTo>
                    <a:lnTo>
                      <a:pt x="74" y="29"/>
                    </a:lnTo>
                    <a:lnTo>
                      <a:pt x="75" y="33"/>
                    </a:lnTo>
                    <a:lnTo>
                      <a:pt x="75" y="35"/>
                    </a:lnTo>
                    <a:lnTo>
                      <a:pt x="74" y="35"/>
                    </a:lnTo>
                    <a:lnTo>
                      <a:pt x="74" y="35"/>
                    </a:lnTo>
                    <a:lnTo>
                      <a:pt x="70" y="33"/>
                    </a:lnTo>
                    <a:lnTo>
                      <a:pt x="67" y="32"/>
                    </a:lnTo>
                    <a:lnTo>
                      <a:pt x="67" y="33"/>
                    </a:lnTo>
                    <a:lnTo>
                      <a:pt x="67" y="33"/>
                    </a:lnTo>
                    <a:lnTo>
                      <a:pt x="67" y="36"/>
                    </a:lnTo>
                    <a:lnTo>
                      <a:pt x="67" y="38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5" y="48"/>
                    </a:lnTo>
                    <a:lnTo>
                      <a:pt x="61" y="54"/>
                    </a:lnTo>
                    <a:lnTo>
                      <a:pt x="61" y="54"/>
                    </a:lnTo>
                    <a:lnTo>
                      <a:pt x="61" y="55"/>
                    </a:lnTo>
                    <a:lnTo>
                      <a:pt x="62" y="58"/>
                    </a:lnTo>
                    <a:lnTo>
                      <a:pt x="62" y="58"/>
                    </a:lnTo>
                    <a:lnTo>
                      <a:pt x="61" y="65"/>
                    </a:lnTo>
                    <a:lnTo>
                      <a:pt x="61" y="68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5" y="71"/>
                    </a:lnTo>
                    <a:lnTo>
                      <a:pt x="67" y="72"/>
                    </a:lnTo>
                    <a:lnTo>
                      <a:pt x="65" y="75"/>
                    </a:lnTo>
                    <a:lnTo>
                      <a:pt x="65" y="75"/>
                    </a:lnTo>
                    <a:lnTo>
                      <a:pt x="62" y="81"/>
                    </a:lnTo>
                    <a:lnTo>
                      <a:pt x="61" y="84"/>
                    </a:lnTo>
                    <a:lnTo>
                      <a:pt x="61" y="87"/>
                    </a:lnTo>
                    <a:lnTo>
                      <a:pt x="61" y="87"/>
                    </a:lnTo>
                    <a:lnTo>
                      <a:pt x="65" y="99"/>
                    </a:lnTo>
                    <a:lnTo>
                      <a:pt x="65" y="99"/>
                    </a:lnTo>
                    <a:lnTo>
                      <a:pt x="68" y="106"/>
                    </a:lnTo>
                    <a:lnTo>
                      <a:pt x="71" y="110"/>
                    </a:lnTo>
                    <a:lnTo>
                      <a:pt x="73" y="113"/>
                    </a:lnTo>
                    <a:lnTo>
                      <a:pt x="73" y="113"/>
                    </a:lnTo>
                    <a:lnTo>
                      <a:pt x="73" y="114"/>
                    </a:lnTo>
                    <a:lnTo>
                      <a:pt x="73" y="117"/>
                    </a:lnTo>
                    <a:lnTo>
                      <a:pt x="74" y="122"/>
                    </a:lnTo>
                    <a:lnTo>
                      <a:pt x="74" y="122"/>
                    </a:lnTo>
                    <a:lnTo>
                      <a:pt x="75" y="125"/>
                    </a:lnTo>
                    <a:lnTo>
                      <a:pt x="78" y="127"/>
                    </a:lnTo>
                    <a:lnTo>
                      <a:pt x="81" y="130"/>
                    </a:lnTo>
                    <a:lnTo>
                      <a:pt x="84" y="133"/>
                    </a:lnTo>
                    <a:lnTo>
                      <a:pt x="84" y="133"/>
                    </a:lnTo>
                    <a:lnTo>
                      <a:pt x="86" y="135"/>
                    </a:lnTo>
                    <a:lnTo>
                      <a:pt x="87" y="136"/>
                    </a:lnTo>
                    <a:lnTo>
                      <a:pt x="89" y="136"/>
                    </a:lnTo>
                    <a:lnTo>
                      <a:pt x="90" y="138"/>
                    </a:lnTo>
                    <a:lnTo>
                      <a:pt x="90" y="138"/>
                    </a:lnTo>
                    <a:lnTo>
                      <a:pt x="91" y="141"/>
                    </a:lnTo>
                    <a:lnTo>
                      <a:pt x="91" y="142"/>
                    </a:lnTo>
                    <a:lnTo>
                      <a:pt x="93" y="142"/>
                    </a:lnTo>
                    <a:lnTo>
                      <a:pt x="93" y="142"/>
                    </a:lnTo>
                    <a:lnTo>
                      <a:pt x="94" y="142"/>
                    </a:lnTo>
                    <a:lnTo>
                      <a:pt x="94" y="143"/>
                    </a:lnTo>
                    <a:lnTo>
                      <a:pt x="94" y="146"/>
                    </a:lnTo>
                    <a:lnTo>
                      <a:pt x="93" y="14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34" name="Freeform 1485"/>
              <p:cNvSpPr>
                <a:spLocks/>
              </p:cNvSpPr>
              <p:nvPr/>
            </p:nvSpPr>
            <p:spPr bwMode="auto">
              <a:xfrm>
                <a:off x="5240740" y="1683871"/>
                <a:ext cx="10882" cy="17807"/>
              </a:xfrm>
              <a:custGeom>
                <a:avLst/>
                <a:gdLst>
                  <a:gd name="T0" fmla="*/ 10 w 11"/>
                  <a:gd name="T1" fmla="*/ 18 h 18"/>
                  <a:gd name="T2" fmla="*/ 10 w 11"/>
                  <a:gd name="T3" fmla="*/ 18 h 18"/>
                  <a:gd name="T4" fmla="*/ 8 w 11"/>
                  <a:gd name="T5" fmla="*/ 18 h 18"/>
                  <a:gd name="T6" fmla="*/ 7 w 11"/>
                  <a:gd name="T7" fmla="*/ 16 h 18"/>
                  <a:gd name="T8" fmla="*/ 5 w 11"/>
                  <a:gd name="T9" fmla="*/ 13 h 18"/>
                  <a:gd name="T10" fmla="*/ 4 w 11"/>
                  <a:gd name="T11" fmla="*/ 9 h 18"/>
                  <a:gd name="T12" fmla="*/ 3 w 11"/>
                  <a:gd name="T13" fmla="*/ 8 h 18"/>
                  <a:gd name="T14" fmla="*/ 3 w 11"/>
                  <a:gd name="T15" fmla="*/ 8 h 18"/>
                  <a:gd name="T16" fmla="*/ 0 w 11"/>
                  <a:gd name="T17" fmla="*/ 5 h 18"/>
                  <a:gd name="T18" fmla="*/ 0 w 11"/>
                  <a:gd name="T19" fmla="*/ 3 h 18"/>
                  <a:gd name="T20" fmla="*/ 0 w 11"/>
                  <a:gd name="T21" fmla="*/ 0 h 18"/>
                  <a:gd name="T22" fmla="*/ 1 w 11"/>
                  <a:gd name="T23" fmla="*/ 0 h 18"/>
                  <a:gd name="T24" fmla="*/ 1 w 11"/>
                  <a:gd name="T25" fmla="*/ 0 h 18"/>
                  <a:gd name="T26" fmla="*/ 7 w 11"/>
                  <a:gd name="T27" fmla="*/ 2 h 18"/>
                  <a:gd name="T28" fmla="*/ 8 w 11"/>
                  <a:gd name="T29" fmla="*/ 3 h 18"/>
                  <a:gd name="T30" fmla="*/ 8 w 11"/>
                  <a:gd name="T31" fmla="*/ 5 h 18"/>
                  <a:gd name="T32" fmla="*/ 8 w 11"/>
                  <a:gd name="T33" fmla="*/ 5 h 18"/>
                  <a:gd name="T34" fmla="*/ 10 w 11"/>
                  <a:gd name="T35" fmla="*/ 12 h 18"/>
                  <a:gd name="T36" fmla="*/ 11 w 11"/>
                  <a:gd name="T37" fmla="*/ 16 h 18"/>
                  <a:gd name="T38" fmla="*/ 10 w 11"/>
                  <a:gd name="T3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" h="18">
                    <a:moveTo>
                      <a:pt x="10" y="18"/>
                    </a:moveTo>
                    <a:lnTo>
                      <a:pt x="10" y="18"/>
                    </a:lnTo>
                    <a:lnTo>
                      <a:pt x="8" y="18"/>
                    </a:lnTo>
                    <a:lnTo>
                      <a:pt x="7" y="16"/>
                    </a:lnTo>
                    <a:lnTo>
                      <a:pt x="5" y="13"/>
                    </a:lnTo>
                    <a:lnTo>
                      <a:pt x="4" y="9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10" y="12"/>
                    </a:lnTo>
                    <a:lnTo>
                      <a:pt x="11" y="16"/>
                    </a:lnTo>
                    <a:lnTo>
                      <a:pt x="10" y="1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35" name="Freeform 1486"/>
              <p:cNvSpPr>
                <a:spLocks/>
              </p:cNvSpPr>
              <p:nvPr/>
            </p:nvSpPr>
            <p:spPr bwMode="auto">
              <a:xfrm>
                <a:off x="5240740" y="1683871"/>
                <a:ext cx="10882" cy="17807"/>
              </a:xfrm>
              <a:custGeom>
                <a:avLst/>
                <a:gdLst>
                  <a:gd name="T0" fmla="*/ 10 w 11"/>
                  <a:gd name="T1" fmla="*/ 18 h 18"/>
                  <a:gd name="T2" fmla="*/ 10 w 11"/>
                  <a:gd name="T3" fmla="*/ 18 h 18"/>
                  <a:gd name="T4" fmla="*/ 8 w 11"/>
                  <a:gd name="T5" fmla="*/ 18 h 18"/>
                  <a:gd name="T6" fmla="*/ 7 w 11"/>
                  <a:gd name="T7" fmla="*/ 16 h 18"/>
                  <a:gd name="T8" fmla="*/ 5 w 11"/>
                  <a:gd name="T9" fmla="*/ 13 h 18"/>
                  <a:gd name="T10" fmla="*/ 4 w 11"/>
                  <a:gd name="T11" fmla="*/ 9 h 18"/>
                  <a:gd name="T12" fmla="*/ 3 w 11"/>
                  <a:gd name="T13" fmla="*/ 8 h 18"/>
                  <a:gd name="T14" fmla="*/ 3 w 11"/>
                  <a:gd name="T15" fmla="*/ 8 h 18"/>
                  <a:gd name="T16" fmla="*/ 0 w 11"/>
                  <a:gd name="T17" fmla="*/ 5 h 18"/>
                  <a:gd name="T18" fmla="*/ 0 w 11"/>
                  <a:gd name="T19" fmla="*/ 3 h 18"/>
                  <a:gd name="T20" fmla="*/ 0 w 11"/>
                  <a:gd name="T21" fmla="*/ 0 h 18"/>
                  <a:gd name="T22" fmla="*/ 1 w 11"/>
                  <a:gd name="T23" fmla="*/ 0 h 18"/>
                  <a:gd name="T24" fmla="*/ 1 w 11"/>
                  <a:gd name="T25" fmla="*/ 0 h 18"/>
                  <a:gd name="T26" fmla="*/ 7 w 11"/>
                  <a:gd name="T27" fmla="*/ 2 h 18"/>
                  <a:gd name="T28" fmla="*/ 8 w 11"/>
                  <a:gd name="T29" fmla="*/ 3 h 18"/>
                  <a:gd name="T30" fmla="*/ 8 w 11"/>
                  <a:gd name="T31" fmla="*/ 5 h 18"/>
                  <a:gd name="T32" fmla="*/ 8 w 11"/>
                  <a:gd name="T33" fmla="*/ 5 h 18"/>
                  <a:gd name="T34" fmla="*/ 10 w 11"/>
                  <a:gd name="T35" fmla="*/ 12 h 18"/>
                  <a:gd name="T36" fmla="*/ 11 w 11"/>
                  <a:gd name="T37" fmla="*/ 16 h 18"/>
                  <a:gd name="T38" fmla="*/ 10 w 11"/>
                  <a:gd name="T3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" h="18">
                    <a:moveTo>
                      <a:pt x="10" y="18"/>
                    </a:moveTo>
                    <a:lnTo>
                      <a:pt x="10" y="18"/>
                    </a:lnTo>
                    <a:lnTo>
                      <a:pt x="8" y="18"/>
                    </a:lnTo>
                    <a:lnTo>
                      <a:pt x="7" y="16"/>
                    </a:lnTo>
                    <a:lnTo>
                      <a:pt x="5" y="13"/>
                    </a:lnTo>
                    <a:lnTo>
                      <a:pt x="4" y="9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10" y="12"/>
                    </a:lnTo>
                    <a:lnTo>
                      <a:pt x="11" y="16"/>
                    </a:lnTo>
                    <a:lnTo>
                      <a:pt x="10" y="18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36" name="Freeform 1487"/>
              <p:cNvSpPr>
                <a:spLocks/>
              </p:cNvSpPr>
              <p:nvPr/>
            </p:nvSpPr>
            <p:spPr bwMode="auto">
              <a:xfrm>
                <a:off x="5256568" y="1348512"/>
                <a:ext cx="246326" cy="226540"/>
              </a:xfrm>
              <a:custGeom>
                <a:avLst/>
                <a:gdLst>
                  <a:gd name="T0" fmla="*/ 43 w 249"/>
                  <a:gd name="T1" fmla="*/ 223 h 229"/>
                  <a:gd name="T2" fmla="*/ 34 w 249"/>
                  <a:gd name="T3" fmla="*/ 221 h 229"/>
                  <a:gd name="T4" fmla="*/ 11 w 249"/>
                  <a:gd name="T5" fmla="*/ 213 h 229"/>
                  <a:gd name="T6" fmla="*/ 11 w 249"/>
                  <a:gd name="T7" fmla="*/ 200 h 229"/>
                  <a:gd name="T8" fmla="*/ 5 w 249"/>
                  <a:gd name="T9" fmla="*/ 197 h 229"/>
                  <a:gd name="T10" fmla="*/ 16 w 249"/>
                  <a:gd name="T11" fmla="*/ 187 h 229"/>
                  <a:gd name="T12" fmla="*/ 29 w 249"/>
                  <a:gd name="T13" fmla="*/ 186 h 229"/>
                  <a:gd name="T14" fmla="*/ 30 w 249"/>
                  <a:gd name="T15" fmla="*/ 181 h 229"/>
                  <a:gd name="T16" fmla="*/ 27 w 249"/>
                  <a:gd name="T17" fmla="*/ 168 h 229"/>
                  <a:gd name="T18" fmla="*/ 37 w 249"/>
                  <a:gd name="T19" fmla="*/ 167 h 229"/>
                  <a:gd name="T20" fmla="*/ 33 w 249"/>
                  <a:gd name="T21" fmla="*/ 157 h 229"/>
                  <a:gd name="T22" fmla="*/ 37 w 249"/>
                  <a:gd name="T23" fmla="*/ 151 h 229"/>
                  <a:gd name="T24" fmla="*/ 39 w 249"/>
                  <a:gd name="T25" fmla="*/ 139 h 229"/>
                  <a:gd name="T26" fmla="*/ 37 w 249"/>
                  <a:gd name="T27" fmla="*/ 134 h 229"/>
                  <a:gd name="T28" fmla="*/ 47 w 249"/>
                  <a:gd name="T29" fmla="*/ 132 h 229"/>
                  <a:gd name="T30" fmla="*/ 56 w 249"/>
                  <a:gd name="T31" fmla="*/ 118 h 229"/>
                  <a:gd name="T32" fmla="*/ 66 w 249"/>
                  <a:gd name="T33" fmla="*/ 112 h 229"/>
                  <a:gd name="T34" fmla="*/ 66 w 249"/>
                  <a:gd name="T35" fmla="*/ 102 h 229"/>
                  <a:gd name="T36" fmla="*/ 84 w 249"/>
                  <a:gd name="T37" fmla="*/ 89 h 229"/>
                  <a:gd name="T38" fmla="*/ 86 w 249"/>
                  <a:gd name="T39" fmla="*/ 83 h 229"/>
                  <a:gd name="T40" fmla="*/ 92 w 249"/>
                  <a:gd name="T41" fmla="*/ 84 h 229"/>
                  <a:gd name="T42" fmla="*/ 111 w 249"/>
                  <a:gd name="T43" fmla="*/ 67 h 229"/>
                  <a:gd name="T44" fmla="*/ 113 w 249"/>
                  <a:gd name="T45" fmla="*/ 57 h 229"/>
                  <a:gd name="T46" fmla="*/ 121 w 249"/>
                  <a:gd name="T47" fmla="*/ 54 h 229"/>
                  <a:gd name="T48" fmla="*/ 136 w 249"/>
                  <a:gd name="T49" fmla="*/ 58 h 229"/>
                  <a:gd name="T50" fmla="*/ 146 w 249"/>
                  <a:gd name="T51" fmla="*/ 51 h 229"/>
                  <a:gd name="T52" fmla="*/ 155 w 249"/>
                  <a:gd name="T53" fmla="*/ 61 h 229"/>
                  <a:gd name="T54" fmla="*/ 163 w 249"/>
                  <a:gd name="T55" fmla="*/ 57 h 229"/>
                  <a:gd name="T56" fmla="*/ 188 w 249"/>
                  <a:gd name="T57" fmla="*/ 44 h 229"/>
                  <a:gd name="T58" fmla="*/ 204 w 249"/>
                  <a:gd name="T59" fmla="*/ 32 h 229"/>
                  <a:gd name="T60" fmla="*/ 212 w 249"/>
                  <a:gd name="T61" fmla="*/ 13 h 229"/>
                  <a:gd name="T62" fmla="*/ 218 w 249"/>
                  <a:gd name="T63" fmla="*/ 3 h 229"/>
                  <a:gd name="T64" fmla="*/ 227 w 249"/>
                  <a:gd name="T65" fmla="*/ 3 h 229"/>
                  <a:gd name="T66" fmla="*/ 240 w 249"/>
                  <a:gd name="T67" fmla="*/ 5 h 229"/>
                  <a:gd name="T68" fmla="*/ 243 w 249"/>
                  <a:gd name="T69" fmla="*/ 16 h 229"/>
                  <a:gd name="T70" fmla="*/ 246 w 249"/>
                  <a:gd name="T71" fmla="*/ 28 h 229"/>
                  <a:gd name="T72" fmla="*/ 247 w 249"/>
                  <a:gd name="T73" fmla="*/ 45 h 229"/>
                  <a:gd name="T74" fmla="*/ 241 w 249"/>
                  <a:gd name="T75" fmla="*/ 54 h 229"/>
                  <a:gd name="T76" fmla="*/ 244 w 249"/>
                  <a:gd name="T77" fmla="*/ 67 h 229"/>
                  <a:gd name="T78" fmla="*/ 224 w 249"/>
                  <a:gd name="T79" fmla="*/ 82 h 229"/>
                  <a:gd name="T80" fmla="*/ 202 w 249"/>
                  <a:gd name="T81" fmla="*/ 92 h 229"/>
                  <a:gd name="T82" fmla="*/ 175 w 249"/>
                  <a:gd name="T83" fmla="*/ 90 h 229"/>
                  <a:gd name="T84" fmla="*/ 150 w 249"/>
                  <a:gd name="T85" fmla="*/ 112 h 229"/>
                  <a:gd name="T86" fmla="*/ 134 w 249"/>
                  <a:gd name="T87" fmla="*/ 128 h 229"/>
                  <a:gd name="T88" fmla="*/ 128 w 249"/>
                  <a:gd name="T89" fmla="*/ 124 h 229"/>
                  <a:gd name="T90" fmla="*/ 123 w 249"/>
                  <a:gd name="T91" fmla="*/ 139 h 229"/>
                  <a:gd name="T92" fmla="*/ 117 w 249"/>
                  <a:gd name="T93" fmla="*/ 144 h 229"/>
                  <a:gd name="T94" fmla="*/ 102 w 249"/>
                  <a:gd name="T95" fmla="*/ 141 h 229"/>
                  <a:gd name="T96" fmla="*/ 102 w 249"/>
                  <a:gd name="T97" fmla="*/ 151 h 229"/>
                  <a:gd name="T98" fmla="*/ 92 w 249"/>
                  <a:gd name="T99" fmla="*/ 154 h 229"/>
                  <a:gd name="T100" fmla="*/ 94 w 249"/>
                  <a:gd name="T101" fmla="*/ 160 h 229"/>
                  <a:gd name="T102" fmla="*/ 86 w 249"/>
                  <a:gd name="T103" fmla="*/ 164 h 229"/>
                  <a:gd name="T104" fmla="*/ 84 w 249"/>
                  <a:gd name="T105" fmla="*/ 177 h 229"/>
                  <a:gd name="T106" fmla="*/ 75 w 249"/>
                  <a:gd name="T107" fmla="*/ 180 h 229"/>
                  <a:gd name="T108" fmla="*/ 68 w 249"/>
                  <a:gd name="T109" fmla="*/ 187 h 229"/>
                  <a:gd name="T110" fmla="*/ 72 w 249"/>
                  <a:gd name="T111" fmla="*/ 197 h 229"/>
                  <a:gd name="T112" fmla="*/ 71 w 249"/>
                  <a:gd name="T113" fmla="*/ 203 h 229"/>
                  <a:gd name="T114" fmla="*/ 58 w 249"/>
                  <a:gd name="T115" fmla="*/ 205 h 229"/>
                  <a:gd name="T116" fmla="*/ 62 w 249"/>
                  <a:gd name="T117" fmla="*/ 216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9" h="229">
                    <a:moveTo>
                      <a:pt x="55" y="229"/>
                    </a:moveTo>
                    <a:lnTo>
                      <a:pt x="55" y="229"/>
                    </a:lnTo>
                    <a:lnTo>
                      <a:pt x="50" y="229"/>
                    </a:lnTo>
                    <a:lnTo>
                      <a:pt x="47" y="228"/>
                    </a:lnTo>
                    <a:lnTo>
                      <a:pt x="44" y="225"/>
                    </a:lnTo>
                    <a:lnTo>
                      <a:pt x="43" y="223"/>
                    </a:lnTo>
                    <a:lnTo>
                      <a:pt x="43" y="223"/>
                    </a:lnTo>
                    <a:lnTo>
                      <a:pt x="42" y="222"/>
                    </a:lnTo>
                    <a:lnTo>
                      <a:pt x="39" y="222"/>
                    </a:lnTo>
                    <a:lnTo>
                      <a:pt x="36" y="221"/>
                    </a:lnTo>
                    <a:lnTo>
                      <a:pt x="34" y="221"/>
                    </a:lnTo>
                    <a:lnTo>
                      <a:pt x="34" y="221"/>
                    </a:lnTo>
                    <a:lnTo>
                      <a:pt x="30" y="218"/>
                    </a:lnTo>
                    <a:lnTo>
                      <a:pt x="24" y="215"/>
                    </a:lnTo>
                    <a:lnTo>
                      <a:pt x="24" y="215"/>
                    </a:lnTo>
                    <a:lnTo>
                      <a:pt x="17" y="215"/>
                    </a:lnTo>
                    <a:lnTo>
                      <a:pt x="13" y="213"/>
                    </a:lnTo>
                    <a:lnTo>
                      <a:pt x="11" y="213"/>
                    </a:lnTo>
                    <a:lnTo>
                      <a:pt x="11" y="213"/>
                    </a:lnTo>
                    <a:lnTo>
                      <a:pt x="13" y="206"/>
                    </a:lnTo>
                    <a:lnTo>
                      <a:pt x="13" y="202"/>
                    </a:lnTo>
                    <a:lnTo>
                      <a:pt x="13" y="200"/>
                    </a:lnTo>
                    <a:lnTo>
                      <a:pt x="11" y="200"/>
                    </a:lnTo>
                    <a:lnTo>
                      <a:pt x="11" y="200"/>
                    </a:lnTo>
                    <a:lnTo>
                      <a:pt x="2" y="206"/>
                    </a:lnTo>
                    <a:lnTo>
                      <a:pt x="0" y="208"/>
                    </a:lnTo>
                    <a:lnTo>
                      <a:pt x="0" y="206"/>
                    </a:lnTo>
                    <a:lnTo>
                      <a:pt x="0" y="205"/>
                    </a:lnTo>
                    <a:lnTo>
                      <a:pt x="0" y="205"/>
                    </a:lnTo>
                    <a:lnTo>
                      <a:pt x="5" y="197"/>
                    </a:lnTo>
                    <a:lnTo>
                      <a:pt x="8" y="196"/>
                    </a:lnTo>
                    <a:lnTo>
                      <a:pt x="11" y="195"/>
                    </a:lnTo>
                    <a:lnTo>
                      <a:pt x="11" y="195"/>
                    </a:lnTo>
                    <a:lnTo>
                      <a:pt x="14" y="193"/>
                    </a:lnTo>
                    <a:lnTo>
                      <a:pt x="16" y="192"/>
                    </a:lnTo>
                    <a:lnTo>
                      <a:pt x="16" y="187"/>
                    </a:lnTo>
                    <a:lnTo>
                      <a:pt x="16" y="187"/>
                    </a:lnTo>
                    <a:lnTo>
                      <a:pt x="18" y="183"/>
                    </a:lnTo>
                    <a:lnTo>
                      <a:pt x="23" y="183"/>
                    </a:lnTo>
                    <a:lnTo>
                      <a:pt x="23" y="183"/>
                    </a:lnTo>
                    <a:lnTo>
                      <a:pt x="26" y="183"/>
                    </a:lnTo>
                    <a:lnTo>
                      <a:pt x="29" y="186"/>
                    </a:lnTo>
                    <a:lnTo>
                      <a:pt x="31" y="187"/>
                    </a:lnTo>
                    <a:lnTo>
                      <a:pt x="31" y="187"/>
                    </a:lnTo>
                    <a:lnTo>
                      <a:pt x="33" y="187"/>
                    </a:lnTo>
                    <a:lnTo>
                      <a:pt x="33" y="187"/>
                    </a:lnTo>
                    <a:lnTo>
                      <a:pt x="31" y="184"/>
                    </a:lnTo>
                    <a:lnTo>
                      <a:pt x="30" y="181"/>
                    </a:lnTo>
                    <a:lnTo>
                      <a:pt x="29" y="180"/>
                    </a:lnTo>
                    <a:lnTo>
                      <a:pt x="30" y="177"/>
                    </a:lnTo>
                    <a:lnTo>
                      <a:pt x="30" y="177"/>
                    </a:lnTo>
                    <a:lnTo>
                      <a:pt x="30" y="174"/>
                    </a:lnTo>
                    <a:lnTo>
                      <a:pt x="29" y="171"/>
                    </a:lnTo>
                    <a:lnTo>
                      <a:pt x="27" y="168"/>
                    </a:lnTo>
                    <a:lnTo>
                      <a:pt x="27" y="168"/>
                    </a:lnTo>
                    <a:lnTo>
                      <a:pt x="29" y="167"/>
                    </a:lnTo>
                    <a:lnTo>
                      <a:pt x="29" y="167"/>
                    </a:lnTo>
                    <a:lnTo>
                      <a:pt x="31" y="167"/>
                    </a:lnTo>
                    <a:lnTo>
                      <a:pt x="36" y="167"/>
                    </a:lnTo>
                    <a:lnTo>
                      <a:pt x="37" y="167"/>
                    </a:lnTo>
                    <a:lnTo>
                      <a:pt x="37" y="166"/>
                    </a:lnTo>
                    <a:lnTo>
                      <a:pt x="37" y="166"/>
                    </a:lnTo>
                    <a:lnTo>
                      <a:pt x="33" y="161"/>
                    </a:lnTo>
                    <a:lnTo>
                      <a:pt x="31" y="158"/>
                    </a:lnTo>
                    <a:lnTo>
                      <a:pt x="33" y="157"/>
                    </a:lnTo>
                    <a:lnTo>
                      <a:pt x="33" y="157"/>
                    </a:lnTo>
                    <a:lnTo>
                      <a:pt x="37" y="155"/>
                    </a:lnTo>
                    <a:lnTo>
                      <a:pt x="40" y="155"/>
                    </a:lnTo>
                    <a:lnTo>
                      <a:pt x="42" y="154"/>
                    </a:lnTo>
                    <a:lnTo>
                      <a:pt x="42" y="154"/>
                    </a:lnTo>
                    <a:lnTo>
                      <a:pt x="40" y="152"/>
                    </a:lnTo>
                    <a:lnTo>
                      <a:pt x="37" y="151"/>
                    </a:lnTo>
                    <a:lnTo>
                      <a:pt x="36" y="148"/>
                    </a:lnTo>
                    <a:lnTo>
                      <a:pt x="36" y="147"/>
                    </a:lnTo>
                    <a:lnTo>
                      <a:pt x="36" y="147"/>
                    </a:lnTo>
                    <a:lnTo>
                      <a:pt x="39" y="142"/>
                    </a:lnTo>
                    <a:lnTo>
                      <a:pt x="40" y="139"/>
                    </a:lnTo>
                    <a:lnTo>
                      <a:pt x="39" y="139"/>
                    </a:lnTo>
                    <a:lnTo>
                      <a:pt x="39" y="139"/>
                    </a:lnTo>
                    <a:lnTo>
                      <a:pt x="36" y="138"/>
                    </a:lnTo>
                    <a:lnTo>
                      <a:pt x="34" y="138"/>
                    </a:lnTo>
                    <a:lnTo>
                      <a:pt x="36" y="137"/>
                    </a:lnTo>
                    <a:lnTo>
                      <a:pt x="36" y="137"/>
                    </a:lnTo>
                    <a:lnTo>
                      <a:pt x="37" y="134"/>
                    </a:lnTo>
                    <a:lnTo>
                      <a:pt x="40" y="132"/>
                    </a:lnTo>
                    <a:lnTo>
                      <a:pt x="42" y="132"/>
                    </a:lnTo>
                    <a:lnTo>
                      <a:pt x="42" y="132"/>
                    </a:lnTo>
                    <a:lnTo>
                      <a:pt x="44" y="134"/>
                    </a:lnTo>
                    <a:lnTo>
                      <a:pt x="46" y="134"/>
                    </a:lnTo>
                    <a:lnTo>
                      <a:pt x="47" y="132"/>
                    </a:lnTo>
                    <a:lnTo>
                      <a:pt x="47" y="132"/>
                    </a:lnTo>
                    <a:lnTo>
                      <a:pt x="53" y="124"/>
                    </a:lnTo>
                    <a:lnTo>
                      <a:pt x="56" y="119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5" y="116"/>
                    </a:lnTo>
                    <a:lnTo>
                      <a:pt x="56" y="115"/>
                    </a:lnTo>
                    <a:lnTo>
                      <a:pt x="62" y="112"/>
                    </a:lnTo>
                    <a:lnTo>
                      <a:pt x="62" y="112"/>
                    </a:lnTo>
                    <a:lnTo>
                      <a:pt x="65" y="112"/>
                    </a:lnTo>
                    <a:lnTo>
                      <a:pt x="66" y="112"/>
                    </a:lnTo>
                    <a:lnTo>
                      <a:pt x="66" y="110"/>
                    </a:lnTo>
                    <a:lnTo>
                      <a:pt x="66" y="110"/>
                    </a:lnTo>
                    <a:lnTo>
                      <a:pt x="66" y="109"/>
                    </a:lnTo>
                    <a:lnTo>
                      <a:pt x="65" y="106"/>
                    </a:lnTo>
                    <a:lnTo>
                      <a:pt x="63" y="105"/>
                    </a:lnTo>
                    <a:lnTo>
                      <a:pt x="66" y="102"/>
                    </a:lnTo>
                    <a:lnTo>
                      <a:pt x="66" y="102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82" y="92"/>
                    </a:lnTo>
                    <a:lnTo>
                      <a:pt x="84" y="90"/>
                    </a:lnTo>
                    <a:lnTo>
                      <a:pt x="84" y="89"/>
                    </a:lnTo>
                    <a:lnTo>
                      <a:pt x="84" y="89"/>
                    </a:lnTo>
                    <a:lnTo>
                      <a:pt x="84" y="84"/>
                    </a:lnTo>
                    <a:lnTo>
                      <a:pt x="84" y="83"/>
                    </a:lnTo>
                    <a:lnTo>
                      <a:pt x="85" y="82"/>
                    </a:lnTo>
                    <a:lnTo>
                      <a:pt x="85" y="82"/>
                    </a:lnTo>
                    <a:lnTo>
                      <a:pt x="86" y="83"/>
                    </a:lnTo>
                    <a:lnTo>
                      <a:pt x="86" y="84"/>
                    </a:lnTo>
                    <a:lnTo>
                      <a:pt x="88" y="86"/>
                    </a:lnTo>
                    <a:lnTo>
                      <a:pt x="89" y="87"/>
                    </a:lnTo>
                    <a:lnTo>
                      <a:pt x="89" y="87"/>
                    </a:lnTo>
                    <a:lnTo>
                      <a:pt x="91" y="86"/>
                    </a:lnTo>
                    <a:lnTo>
                      <a:pt x="92" y="84"/>
                    </a:lnTo>
                    <a:lnTo>
                      <a:pt x="92" y="84"/>
                    </a:lnTo>
                    <a:lnTo>
                      <a:pt x="95" y="83"/>
                    </a:lnTo>
                    <a:lnTo>
                      <a:pt x="95" y="83"/>
                    </a:lnTo>
                    <a:lnTo>
                      <a:pt x="98" y="80"/>
                    </a:lnTo>
                    <a:lnTo>
                      <a:pt x="104" y="76"/>
                    </a:lnTo>
                    <a:lnTo>
                      <a:pt x="111" y="67"/>
                    </a:lnTo>
                    <a:lnTo>
                      <a:pt x="111" y="67"/>
                    </a:lnTo>
                    <a:lnTo>
                      <a:pt x="115" y="63"/>
                    </a:lnTo>
                    <a:lnTo>
                      <a:pt x="115" y="61"/>
                    </a:lnTo>
                    <a:lnTo>
                      <a:pt x="115" y="60"/>
                    </a:lnTo>
                    <a:lnTo>
                      <a:pt x="115" y="60"/>
                    </a:lnTo>
                    <a:lnTo>
                      <a:pt x="113" y="57"/>
                    </a:lnTo>
                    <a:lnTo>
                      <a:pt x="113" y="55"/>
                    </a:lnTo>
                    <a:lnTo>
                      <a:pt x="115" y="55"/>
                    </a:lnTo>
                    <a:lnTo>
                      <a:pt x="115" y="55"/>
                    </a:lnTo>
                    <a:lnTo>
                      <a:pt x="120" y="55"/>
                    </a:lnTo>
                    <a:lnTo>
                      <a:pt x="121" y="54"/>
                    </a:lnTo>
                    <a:lnTo>
                      <a:pt x="121" y="54"/>
                    </a:lnTo>
                    <a:lnTo>
                      <a:pt x="126" y="51"/>
                    </a:lnTo>
                    <a:lnTo>
                      <a:pt x="127" y="50"/>
                    </a:lnTo>
                    <a:lnTo>
                      <a:pt x="128" y="51"/>
                    </a:lnTo>
                    <a:lnTo>
                      <a:pt x="128" y="51"/>
                    </a:lnTo>
                    <a:lnTo>
                      <a:pt x="133" y="55"/>
                    </a:lnTo>
                    <a:lnTo>
                      <a:pt x="136" y="58"/>
                    </a:lnTo>
                    <a:lnTo>
                      <a:pt x="139" y="58"/>
                    </a:lnTo>
                    <a:lnTo>
                      <a:pt x="139" y="58"/>
                    </a:lnTo>
                    <a:lnTo>
                      <a:pt x="142" y="57"/>
                    </a:lnTo>
                    <a:lnTo>
                      <a:pt x="144" y="55"/>
                    </a:lnTo>
                    <a:lnTo>
                      <a:pt x="144" y="55"/>
                    </a:lnTo>
                    <a:lnTo>
                      <a:pt x="146" y="51"/>
                    </a:lnTo>
                    <a:lnTo>
                      <a:pt x="147" y="50"/>
                    </a:lnTo>
                    <a:lnTo>
                      <a:pt x="147" y="51"/>
                    </a:lnTo>
                    <a:lnTo>
                      <a:pt x="147" y="51"/>
                    </a:lnTo>
                    <a:lnTo>
                      <a:pt x="150" y="58"/>
                    </a:lnTo>
                    <a:lnTo>
                      <a:pt x="152" y="60"/>
                    </a:lnTo>
                    <a:lnTo>
                      <a:pt x="155" y="61"/>
                    </a:lnTo>
                    <a:lnTo>
                      <a:pt x="155" y="61"/>
                    </a:lnTo>
                    <a:lnTo>
                      <a:pt x="156" y="60"/>
                    </a:lnTo>
                    <a:lnTo>
                      <a:pt x="157" y="58"/>
                    </a:lnTo>
                    <a:lnTo>
                      <a:pt x="159" y="57"/>
                    </a:lnTo>
                    <a:lnTo>
                      <a:pt x="163" y="57"/>
                    </a:lnTo>
                    <a:lnTo>
                      <a:pt x="163" y="57"/>
                    </a:lnTo>
                    <a:lnTo>
                      <a:pt x="169" y="57"/>
                    </a:lnTo>
                    <a:lnTo>
                      <a:pt x="175" y="55"/>
                    </a:lnTo>
                    <a:lnTo>
                      <a:pt x="179" y="53"/>
                    </a:lnTo>
                    <a:lnTo>
                      <a:pt x="184" y="50"/>
                    </a:lnTo>
                    <a:lnTo>
                      <a:pt x="184" y="50"/>
                    </a:lnTo>
                    <a:lnTo>
                      <a:pt x="188" y="44"/>
                    </a:lnTo>
                    <a:lnTo>
                      <a:pt x="191" y="42"/>
                    </a:lnTo>
                    <a:lnTo>
                      <a:pt x="194" y="41"/>
                    </a:lnTo>
                    <a:lnTo>
                      <a:pt x="194" y="41"/>
                    </a:lnTo>
                    <a:lnTo>
                      <a:pt x="197" y="40"/>
                    </a:lnTo>
                    <a:lnTo>
                      <a:pt x="201" y="37"/>
                    </a:lnTo>
                    <a:lnTo>
                      <a:pt x="204" y="32"/>
                    </a:lnTo>
                    <a:lnTo>
                      <a:pt x="205" y="28"/>
                    </a:lnTo>
                    <a:lnTo>
                      <a:pt x="205" y="28"/>
                    </a:lnTo>
                    <a:lnTo>
                      <a:pt x="207" y="24"/>
                    </a:lnTo>
                    <a:lnTo>
                      <a:pt x="210" y="21"/>
                    </a:lnTo>
                    <a:lnTo>
                      <a:pt x="211" y="16"/>
                    </a:lnTo>
                    <a:lnTo>
                      <a:pt x="212" y="13"/>
                    </a:lnTo>
                    <a:lnTo>
                      <a:pt x="212" y="13"/>
                    </a:lnTo>
                    <a:lnTo>
                      <a:pt x="212" y="9"/>
                    </a:lnTo>
                    <a:lnTo>
                      <a:pt x="211" y="6"/>
                    </a:lnTo>
                    <a:lnTo>
                      <a:pt x="212" y="5"/>
                    </a:lnTo>
                    <a:lnTo>
                      <a:pt x="212" y="5"/>
                    </a:lnTo>
                    <a:lnTo>
                      <a:pt x="218" y="3"/>
                    </a:lnTo>
                    <a:lnTo>
                      <a:pt x="221" y="2"/>
                    </a:lnTo>
                    <a:lnTo>
                      <a:pt x="223" y="2"/>
                    </a:lnTo>
                    <a:lnTo>
                      <a:pt x="223" y="2"/>
                    </a:lnTo>
                    <a:lnTo>
                      <a:pt x="224" y="5"/>
                    </a:lnTo>
                    <a:lnTo>
                      <a:pt x="226" y="5"/>
                    </a:lnTo>
                    <a:lnTo>
                      <a:pt x="227" y="3"/>
                    </a:lnTo>
                    <a:lnTo>
                      <a:pt x="227" y="3"/>
                    </a:lnTo>
                    <a:lnTo>
                      <a:pt x="228" y="2"/>
                    </a:lnTo>
                    <a:lnTo>
                      <a:pt x="230" y="0"/>
                    </a:lnTo>
                    <a:lnTo>
                      <a:pt x="233" y="2"/>
                    </a:lnTo>
                    <a:lnTo>
                      <a:pt x="233" y="2"/>
                    </a:lnTo>
                    <a:lnTo>
                      <a:pt x="240" y="5"/>
                    </a:lnTo>
                    <a:lnTo>
                      <a:pt x="241" y="6"/>
                    </a:lnTo>
                    <a:lnTo>
                      <a:pt x="241" y="8"/>
                    </a:lnTo>
                    <a:lnTo>
                      <a:pt x="241" y="8"/>
                    </a:lnTo>
                    <a:lnTo>
                      <a:pt x="241" y="12"/>
                    </a:lnTo>
                    <a:lnTo>
                      <a:pt x="241" y="13"/>
                    </a:lnTo>
                    <a:lnTo>
                      <a:pt x="243" y="16"/>
                    </a:lnTo>
                    <a:lnTo>
                      <a:pt x="243" y="16"/>
                    </a:lnTo>
                    <a:lnTo>
                      <a:pt x="247" y="21"/>
                    </a:lnTo>
                    <a:lnTo>
                      <a:pt x="249" y="24"/>
                    </a:lnTo>
                    <a:lnTo>
                      <a:pt x="249" y="25"/>
                    </a:lnTo>
                    <a:lnTo>
                      <a:pt x="249" y="25"/>
                    </a:lnTo>
                    <a:lnTo>
                      <a:pt x="246" y="28"/>
                    </a:lnTo>
                    <a:lnTo>
                      <a:pt x="244" y="29"/>
                    </a:lnTo>
                    <a:lnTo>
                      <a:pt x="244" y="31"/>
                    </a:lnTo>
                    <a:lnTo>
                      <a:pt x="244" y="31"/>
                    </a:lnTo>
                    <a:lnTo>
                      <a:pt x="244" y="38"/>
                    </a:lnTo>
                    <a:lnTo>
                      <a:pt x="246" y="42"/>
                    </a:lnTo>
                    <a:lnTo>
                      <a:pt x="247" y="45"/>
                    </a:lnTo>
                    <a:lnTo>
                      <a:pt x="247" y="45"/>
                    </a:lnTo>
                    <a:lnTo>
                      <a:pt x="247" y="47"/>
                    </a:lnTo>
                    <a:lnTo>
                      <a:pt x="247" y="47"/>
                    </a:lnTo>
                    <a:lnTo>
                      <a:pt x="244" y="50"/>
                    </a:lnTo>
                    <a:lnTo>
                      <a:pt x="244" y="50"/>
                    </a:lnTo>
                    <a:lnTo>
                      <a:pt x="241" y="54"/>
                    </a:lnTo>
                    <a:lnTo>
                      <a:pt x="240" y="60"/>
                    </a:lnTo>
                    <a:lnTo>
                      <a:pt x="240" y="60"/>
                    </a:lnTo>
                    <a:lnTo>
                      <a:pt x="241" y="64"/>
                    </a:lnTo>
                    <a:lnTo>
                      <a:pt x="243" y="66"/>
                    </a:lnTo>
                    <a:lnTo>
                      <a:pt x="244" y="67"/>
                    </a:lnTo>
                    <a:lnTo>
                      <a:pt x="244" y="67"/>
                    </a:lnTo>
                    <a:lnTo>
                      <a:pt x="243" y="68"/>
                    </a:lnTo>
                    <a:lnTo>
                      <a:pt x="237" y="73"/>
                    </a:lnTo>
                    <a:lnTo>
                      <a:pt x="237" y="73"/>
                    </a:lnTo>
                    <a:lnTo>
                      <a:pt x="231" y="76"/>
                    </a:lnTo>
                    <a:lnTo>
                      <a:pt x="224" y="82"/>
                    </a:lnTo>
                    <a:lnTo>
                      <a:pt x="224" y="82"/>
                    </a:lnTo>
                    <a:lnTo>
                      <a:pt x="221" y="84"/>
                    </a:lnTo>
                    <a:lnTo>
                      <a:pt x="217" y="89"/>
                    </a:lnTo>
                    <a:lnTo>
                      <a:pt x="217" y="89"/>
                    </a:lnTo>
                    <a:lnTo>
                      <a:pt x="210" y="92"/>
                    </a:lnTo>
                    <a:lnTo>
                      <a:pt x="205" y="92"/>
                    </a:lnTo>
                    <a:lnTo>
                      <a:pt x="202" y="92"/>
                    </a:lnTo>
                    <a:lnTo>
                      <a:pt x="202" y="92"/>
                    </a:lnTo>
                    <a:lnTo>
                      <a:pt x="194" y="89"/>
                    </a:lnTo>
                    <a:lnTo>
                      <a:pt x="186" y="86"/>
                    </a:lnTo>
                    <a:lnTo>
                      <a:pt x="186" y="86"/>
                    </a:lnTo>
                    <a:lnTo>
                      <a:pt x="179" y="89"/>
                    </a:lnTo>
                    <a:lnTo>
                      <a:pt x="175" y="90"/>
                    </a:lnTo>
                    <a:lnTo>
                      <a:pt x="172" y="95"/>
                    </a:lnTo>
                    <a:lnTo>
                      <a:pt x="172" y="95"/>
                    </a:lnTo>
                    <a:lnTo>
                      <a:pt x="166" y="102"/>
                    </a:lnTo>
                    <a:lnTo>
                      <a:pt x="159" y="106"/>
                    </a:lnTo>
                    <a:lnTo>
                      <a:pt x="159" y="106"/>
                    </a:lnTo>
                    <a:lnTo>
                      <a:pt x="150" y="112"/>
                    </a:lnTo>
                    <a:lnTo>
                      <a:pt x="143" y="119"/>
                    </a:lnTo>
                    <a:lnTo>
                      <a:pt x="143" y="119"/>
                    </a:lnTo>
                    <a:lnTo>
                      <a:pt x="139" y="122"/>
                    </a:lnTo>
                    <a:lnTo>
                      <a:pt x="139" y="122"/>
                    </a:lnTo>
                    <a:lnTo>
                      <a:pt x="136" y="126"/>
                    </a:lnTo>
                    <a:lnTo>
                      <a:pt x="134" y="128"/>
                    </a:lnTo>
                    <a:lnTo>
                      <a:pt x="133" y="126"/>
                    </a:lnTo>
                    <a:lnTo>
                      <a:pt x="133" y="126"/>
                    </a:lnTo>
                    <a:lnTo>
                      <a:pt x="131" y="124"/>
                    </a:lnTo>
                    <a:lnTo>
                      <a:pt x="130" y="124"/>
                    </a:lnTo>
                    <a:lnTo>
                      <a:pt x="128" y="124"/>
                    </a:lnTo>
                    <a:lnTo>
                      <a:pt x="128" y="124"/>
                    </a:lnTo>
                    <a:lnTo>
                      <a:pt x="128" y="128"/>
                    </a:lnTo>
                    <a:lnTo>
                      <a:pt x="127" y="132"/>
                    </a:lnTo>
                    <a:lnTo>
                      <a:pt x="126" y="137"/>
                    </a:lnTo>
                    <a:lnTo>
                      <a:pt x="124" y="139"/>
                    </a:lnTo>
                    <a:lnTo>
                      <a:pt x="124" y="139"/>
                    </a:lnTo>
                    <a:lnTo>
                      <a:pt x="123" y="139"/>
                    </a:lnTo>
                    <a:lnTo>
                      <a:pt x="121" y="139"/>
                    </a:lnTo>
                    <a:lnTo>
                      <a:pt x="120" y="138"/>
                    </a:lnTo>
                    <a:lnTo>
                      <a:pt x="118" y="139"/>
                    </a:lnTo>
                    <a:lnTo>
                      <a:pt x="118" y="139"/>
                    </a:lnTo>
                    <a:lnTo>
                      <a:pt x="118" y="142"/>
                    </a:lnTo>
                    <a:lnTo>
                      <a:pt x="117" y="144"/>
                    </a:lnTo>
                    <a:lnTo>
                      <a:pt x="114" y="144"/>
                    </a:lnTo>
                    <a:lnTo>
                      <a:pt x="114" y="144"/>
                    </a:lnTo>
                    <a:lnTo>
                      <a:pt x="107" y="141"/>
                    </a:lnTo>
                    <a:lnTo>
                      <a:pt x="104" y="139"/>
                    </a:lnTo>
                    <a:lnTo>
                      <a:pt x="102" y="139"/>
                    </a:lnTo>
                    <a:lnTo>
                      <a:pt x="102" y="141"/>
                    </a:lnTo>
                    <a:lnTo>
                      <a:pt x="102" y="141"/>
                    </a:lnTo>
                    <a:lnTo>
                      <a:pt x="104" y="145"/>
                    </a:lnTo>
                    <a:lnTo>
                      <a:pt x="105" y="148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2" y="151"/>
                    </a:lnTo>
                    <a:lnTo>
                      <a:pt x="101" y="151"/>
                    </a:lnTo>
                    <a:lnTo>
                      <a:pt x="98" y="151"/>
                    </a:lnTo>
                    <a:lnTo>
                      <a:pt x="98" y="151"/>
                    </a:lnTo>
                    <a:lnTo>
                      <a:pt x="95" y="152"/>
                    </a:lnTo>
                    <a:lnTo>
                      <a:pt x="92" y="154"/>
                    </a:lnTo>
                    <a:lnTo>
                      <a:pt x="92" y="154"/>
                    </a:lnTo>
                    <a:lnTo>
                      <a:pt x="89" y="155"/>
                    </a:lnTo>
                    <a:lnTo>
                      <a:pt x="88" y="157"/>
                    </a:lnTo>
                    <a:lnTo>
                      <a:pt x="88" y="157"/>
                    </a:lnTo>
                    <a:lnTo>
                      <a:pt x="89" y="158"/>
                    </a:lnTo>
                    <a:lnTo>
                      <a:pt x="91" y="160"/>
                    </a:lnTo>
                    <a:lnTo>
                      <a:pt x="94" y="160"/>
                    </a:lnTo>
                    <a:lnTo>
                      <a:pt x="94" y="161"/>
                    </a:lnTo>
                    <a:lnTo>
                      <a:pt x="94" y="161"/>
                    </a:lnTo>
                    <a:lnTo>
                      <a:pt x="94" y="163"/>
                    </a:lnTo>
                    <a:lnTo>
                      <a:pt x="91" y="163"/>
                    </a:lnTo>
                    <a:lnTo>
                      <a:pt x="86" y="164"/>
                    </a:lnTo>
                    <a:lnTo>
                      <a:pt x="86" y="164"/>
                    </a:lnTo>
                    <a:lnTo>
                      <a:pt x="85" y="164"/>
                    </a:lnTo>
                    <a:lnTo>
                      <a:pt x="85" y="167"/>
                    </a:lnTo>
                    <a:lnTo>
                      <a:pt x="86" y="174"/>
                    </a:lnTo>
                    <a:lnTo>
                      <a:pt x="86" y="174"/>
                    </a:lnTo>
                    <a:lnTo>
                      <a:pt x="85" y="176"/>
                    </a:lnTo>
                    <a:lnTo>
                      <a:pt x="84" y="177"/>
                    </a:lnTo>
                    <a:lnTo>
                      <a:pt x="81" y="179"/>
                    </a:lnTo>
                    <a:lnTo>
                      <a:pt x="81" y="179"/>
                    </a:lnTo>
                    <a:lnTo>
                      <a:pt x="76" y="179"/>
                    </a:lnTo>
                    <a:lnTo>
                      <a:pt x="75" y="179"/>
                    </a:lnTo>
                    <a:lnTo>
                      <a:pt x="75" y="180"/>
                    </a:lnTo>
                    <a:lnTo>
                      <a:pt x="75" y="180"/>
                    </a:lnTo>
                    <a:lnTo>
                      <a:pt x="78" y="183"/>
                    </a:lnTo>
                    <a:lnTo>
                      <a:pt x="78" y="184"/>
                    </a:lnTo>
                    <a:lnTo>
                      <a:pt x="76" y="186"/>
                    </a:lnTo>
                    <a:lnTo>
                      <a:pt x="76" y="186"/>
                    </a:lnTo>
                    <a:lnTo>
                      <a:pt x="71" y="186"/>
                    </a:lnTo>
                    <a:lnTo>
                      <a:pt x="68" y="187"/>
                    </a:lnTo>
                    <a:lnTo>
                      <a:pt x="69" y="189"/>
                    </a:lnTo>
                    <a:lnTo>
                      <a:pt x="69" y="189"/>
                    </a:lnTo>
                    <a:lnTo>
                      <a:pt x="72" y="193"/>
                    </a:lnTo>
                    <a:lnTo>
                      <a:pt x="73" y="197"/>
                    </a:lnTo>
                    <a:lnTo>
                      <a:pt x="73" y="197"/>
                    </a:lnTo>
                    <a:lnTo>
                      <a:pt x="72" y="197"/>
                    </a:lnTo>
                    <a:lnTo>
                      <a:pt x="71" y="197"/>
                    </a:lnTo>
                    <a:lnTo>
                      <a:pt x="69" y="196"/>
                    </a:lnTo>
                    <a:lnTo>
                      <a:pt x="68" y="197"/>
                    </a:lnTo>
                    <a:lnTo>
                      <a:pt x="68" y="197"/>
                    </a:lnTo>
                    <a:lnTo>
                      <a:pt x="69" y="202"/>
                    </a:lnTo>
                    <a:lnTo>
                      <a:pt x="71" y="203"/>
                    </a:lnTo>
                    <a:lnTo>
                      <a:pt x="71" y="205"/>
                    </a:lnTo>
                    <a:lnTo>
                      <a:pt x="71" y="205"/>
                    </a:lnTo>
                    <a:lnTo>
                      <a:pt x="68" y="206"/>
                    </a:lnTo>
                    <a:lnTo>
                      <a:pt x="63" y="206"/>
                    </a:lnTo>
                    <a:lnTo>
                      <a:pt x="58" y="205"/>
                    </a:lnTo>
                    <a:lnTo>
                      <a:pt x="58" y="205"/>
                    </a:lnTo>
                    <a:lnTo>
                      <a:pt x="58" y="206"/>
                    </a:lnTo>
                    <a:lnTo>
                      <a:pt x="59" y="208"/>
                    </a:lnTo>
                    <a:lnTo>
                      <a:pt x="62" y="210"/>
                    </a:lnTo>
                    <a:lnTo>
                      <a:pt x="62" y="210"/>
                    </a:lnTo>
                    <a:lnTo>
                      <a:pt x="63" y="212"/>
                    </a:lnTo>
                    <a:lnTo>
                      <a:pt x="62" y="216"/>
                    </a:lnTo>
                    <a:lnTo>
                      <a:pt x="60" y="222"/>
                    </a:lnTo>
                    <a:lnTo>
                      <a:pt x="60" y="222"/>
                    </a:lnTo>
                    <a:lnTo>
                      <a:pt x="59" y="226"/>
                    </a:lnTo>
                    <a:lnTo>
                      <a:pt x="56" y="228"/>
                    </a:lnTo>
                    <a:lnTo>
                      <a:pt x="55" y="22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37" name="Freeform 1488"/>
              <p:cNvSpPr>
                <a:spLocks/>
              </p:cNvSpPr>
              <p:nvPr/>
            </p:nvSpPr>
            <p:spPr bwMode="auto">
              <a:xfrm>
                <a:off x="5256568" y="1348512"/>
                <a:ext cx="246326" cy="226540"/>
              </a:xfrm>
              <a:custGeom>
                <a:avLst/>
                <a:gdLst>
                  <a:gd name="T0" fmla="*/ 43 w 249"/>
                  <a:gd name="T1" fmla="*/ 223 h 229"/>
                  <a:gd name="T2" fmla="*/ 34 w 249"/>
                  <a:gd name="T3" fmla="*/ 221 h 229"/>
                  <a:gd name="T4" fmla="*/ 11 w 249"/>
                  <a:gd name="T5" fmla="*/ 213 h 229"/>
                  <a:gd name="T6" fmla="*/ 11 w 249"/>
                  <a:gd name="T7" fmla="*/ 200 h 229"/>
                  <a:gd name="T8" fmla="*/ 5 w 249"/>
                  <a:gd name="T9" fmla="*/ 197 h 229"/>
                  <a:gd name="T10" fmla="*/ 16 w 249"/>
                  <a:gd name="T11" fmla="*/ 187 h 229"/>
                  <a:gd name="T12" fmla="*/ 29 w 249"/>
                  <a:gd name="T13" fmla="*/ 186 h 229"/>
                  <a:gd name="T14" fmla="*/ 30 w 249"/>
                  <a:gd name="T15" fmla="*/ 181 h 229"/>
                  <a:gd name="T16" fmla="*/ 27 w 249"/>
                  <a:gd name="T17" fmla="*/ 168 h 229"/>
                  <a:gd name="T18" fmla="*/ 37 w 249"/>
                  <a:gd name="T19" fmla="*/ 167 h 229"/>
                  <a:gd name="T20" fmla="*/ 33 w 249"/>
                  <a:gd name="T21" fmla="*/ 157 h 229"/>
                  <a:gd name="T22" fmla="*/ 37 w 249"/>
                  <a:gd name="T23" fmla="*/ 151 h 229"/>
                  <a:gd name="T24" fmla="*/ 39 w 249"/>
                  <a:gd name="T25" fmla="*/ 139 h 229"/>
                  <a:gd name="T26" fmla="*/ 37 w 249"/>
                  <a:gd name="T27" fmla="*/ 134 h 229"/>
                  <a:gd name="T28" fmla="*/ 47 w 249"/>
                  <a:gd name="T29" fmla="*/ 132 h 229"/>
                  <a:gd name="T30" fmla="*/ 56 w 249"/>
                  <a:gd name="T31" fmla="*/ 118 h 229"/>
                  <a:gd name="T32" fmla="*/ 66 w 249"/>
                  <a:gd name="T33" fmla="*/ 112 h 229"/>
                  <a:gd name="T34" fmla="*/ 66 w 249"/>
                  <a:gd name="T35" fmla="*/ 102 h 229"/>
                  <a:gd name="T36" fmla="*/ 84 w 249"/>
                  <a:gd name="T37" fmla="*/ 89 h 229"/>
                  <a:gd name="T38" fmla="*/ 86 w 249"/>
                  <a:gd name="T39" fmla="*/ 83 h 229"/>
                  <a:gd name="T40" fmla="*/ 92 w 249"/>
                  <a:gd name="T41" fmla="*/ 84 h 229"/>
                  <a:gd name="T42" fmla="*/ 111 w 249"/>
                  <a:gd name="T43" fmla="*/ 67 h 229"/>
                  <a:gd name="T44" fmla="*/ 113 w 249"/>
                  <a:gd name="T45" fmla="*/ 57 h 229"/>
                  <a:gd name="T46" fmla="*/ 121 w 249"/>
                  <a:gd name="T47" fmla="*/ 54 h 229"/>
                  <a:gd name="T48" fmla="*/ 136 w 249"/>
                  <a:gd name="T49" fmla="*/ 58 h 229"/>
                  <a:gd name="T50" fmla="*/ 146 w 249"/>
                  <a:gd name="T51" fmla="*/ 51 h 229"/>
                  <a:gd name="T52" fmla="*/ 155 w 249"/>
                  <a:gd name="T53" fmla="*/ 61 h 229"/>
                  <a:gd name="T54" fmla="*/ 163 w 249"/>
                  <a:gd name="T55" fmla="*/ 57 h 229"/>
                  <a:gd name="T56" fmla="*/ 188 w 249"/>
                  <a:gd name="T57" fmla="*/ 44 h 229"/>
                  <a:gd name="T58" fmla="*/ 204 w 249"/>
                  <a:gd name="T59" fmla="*/ 32 h 229"/>
                  <a:gd name="T60" fmla="*/ 212 w 249"/>
                  <a:gd name="T61" fmla="*/ 13 h 229"/>
                  <a:gd name="T62" fmla="*/ 218 w 249"/>
                  <a:gd name="T63" fmla="*/ 3 h 229"/>
                  <a:gd name="T64" fmla="*/ 227 w 249"/>
                  <a:gd name="T65" fmla="*/ 3 h 229"/>
                  <a:gd name="T66" fmla="*/ 240 w 249"/>
                  <a:gd name="T67" fmla="*/ 5 h 229"/>
                  <a:gd name="T68" fmla="*/ 243 w 249"/>
                  <a:gd name="T69" fmla="*/ 16 h 229"/>
                  <a:gd name="T70" fmla="*/ 246 w 249"/>
                  <a:gd name="T71" fmla="*/ 28 h 229"/>
                  <a:gd name="T72" fmla="*/ 247 w 249"/>
                  <a:gd name="T73" fmla="*/ 45 h 229"/>
                  <a:gd name="T74" fmla="*/ 241 w 249"/>
                  <a:gd name="T75" fmla="*/ 54 h 229"/>
                  <a:gd name="T76" fmla="*/ 244 w 249"/>
                  <a:gd name="T77" fmla="*/ 67 h 229"/>
                  <a:gd name="T78" fmla="*/ 224 w 249"/>
                  <a:gd name="T79" fmla="*/ 82 h 229"/>
                  <a:gd name="T80" fmla="*/ 202 w 249"/>
                  <a:gd name="T81" fmla="*/ 92 h 229"/>
                  <a:gd name="T82" fmla="*/ 175 w 249"/>
                  <a:gd name="T83" fmla="*/ 90 h 229"/>
                  <a:gd name="T84" fmla="*/ 150 w 249"/>
                  <a:gd name="T85" fmla="*/ 112 h 229"/>
                  <a:gd name="T86" fmla="*/ 134 w 249"/>
                  <a:gd name="T87" fmla="*/ 128 h 229"/>
                  <a:gd name="T88" fmla="*/ 128 w 249"/>
                  <a:gd name="T89" fmla="*/ 124 h 229"/>
                  <a:gd name="T90" fmla="*/ 123 w 249"/>
                  <a:gd name="T91" fmla="*/ 139 h 229"/>
                  <a:gd name="T92" fmla="*/ 117 w 249"/>
                  <a:gd name="T93" fmla="*/ 144 h 229"/>
                  <a:gd name="T94" fmla="*/ 102 w 249"/>
                  <a:gd name="T95" fmla="*/ 141 h 229"/>
                  <a:gd name="T96" fmla="*/ 102 w 249"/>
                  <a:gd name="T97" fmla="*/ 151 h 229"/>
                  <a:gd name="T98" fmla="*/ 92 w 249"/>
                  <a:gd name="T99" fmla="*/ 154 h 229"/>
                  <a:gd name="T100" fmla="*/ 94 w 249"/>
                  <a:gd name="T101" fmla="*/ 160 h 229"/>
                  <a:gd name="T102" fmla="*/ 86 w 249"/>
                  <a:gd name="T103" fmla="*/ 164 h 229"/>
                  <a:gd name="T104" fmla="*/ 84 w 249"/>
                  <a:gd name="T105" fmla="*/ 177 h 229"/>
                  <a:gd name="T106" fmla="*/ 75 w 249"/>
                  <a:gd name="T107" fmla="*/ 180 h 229"/>
                  <a:gd name="T108" fmla="*/ 68 w 249"/>
                  <a:gd name="T109" fmla="*/ 187 h 229"/>
                  <a:gd name="T110" fmla="*/ 72 w 249"/>
                  <a:gd name="T111" fmla="*/ 197 h 229"/>
                  <a:gd name="T112" fmla="*/ 71 w 249"/>
                  <a:gd name="T113" fmla="*/ 203 h 229"/>
                  <a:gd name="T114" fmla="*/ 58 w 249"/>
                  <a:gd name="T115" fmla="*/ 205 h 229"/>
                  <a:gd name="T116" fmla="*/ 62 w 249"/>
                  <a:gd name="T117" fmla="*/ 216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9" h="229">
                    <a:moveTo>
                      <a:pt x="55" y="229"/>
                    </a:moveTo>
                    <a:lnTo>
                      <a:pt x="55" y="229"/>
                    </a:lnTo>
                    <a:lnTo>
                      <a:pt x="50" y="229"/>
                    </a:lnTo>
                    <a:lnTo>
                      <a:pt x="47" y="228"/>
                    </a:lnTo>
                    <a:lnTo>
                      <a:pt x="44" y="225"/>
                    </a:lnTo>
                    <a:lnTo>
                      <a:pt x="43" y="223"/>
                    </a:lnTo>
                    <a:lnTo>
                      <a:pt x="43" y="223"/>
                    </a:lnTo>
                    <a:lnTo>
                      <a:pt x="42" y="222"/>
                    </a:lnTo>
                    <a:lnTo>
                      <a:pt x="39" y="222"/>
                    </a:lnTo>
                    <a:lnTo>
                      <a:pt x="36" y="221"/>
                    </a:lnTo>
                    <a:lnTo>
                      <a:pt x="34" y="221"/>
                    </a:lnTo>
                    <a:lnTo>
                      <a:pt x="34" y="221"/>
                    </a:lnTo>
                    <a:lnTo>
                      <a:pt x="30" y="218"/>
                    </a:lnTo>
                    <a:lnTo>
                      <a:pt x="24" y="215"/>
                    </a:lnTo>
                    <a:lnTo>
                      <a:pt x="24" y="215"/>
                    </a:lnTo>
                    <a:lnTo>
                      <a:pt x="17" y="215"/>
                    </a:lnTo>
                    <a:lnTo>
                      <a:pt x="13" y="213"/>
                    </a:lnTo>
                    <a:lnTo>
                      <a:pt x="11" y="213"/>
                    </a:lnTo>
                    <a:lnTo>
                      <a:pt x="11" y="213"/>
                    </a:lnTo>
                    <a:lnTo>
                      <a:pt x="13" y="206"/>
                    </a:lnTo>
                    <a:lnTo>
                      <a:pt x="13" y="202"/>
                    </a:lnTo>
                    <a:lnTo>
                      <a:pt x="13" y="200"/>
                    </a:lnTo>
                    <a:lnTo>
                      <a:pt x="11" y="200"/>
                    </a:lnTo>
                    <a:lnTo>
                      <a:pt x="11" y="200"/>
                    </a:lnTo>
                    <a:lnTo>
                      <a:pt x="2" y="206"/>
                    </a:lnTo>
                    <a:lnTo>
                      <a:pt x="0" y="208"/>
                    </a:lnTo>
                    <a:lnTo>
                      <a:pt x="0" y="206"/>
                    </a:lnTo>
                    <a:lnTo>
                      <a:pt x="0" y="205"/>
                    </a:lnTo>
                    <a:lnTo>
                      <a:pt x="0" y="205"/>
                    </a:lnTo>
                    <a:lnTo>
                      <a:pt x="5" y="197"/>
                    </a:lnTo>
                    <a:lnTo>
                      <a:pt x="8" y="196"/>
                    </a:lnTo>
                    <a:lnTo>
                      <a:pt x="11" y="195"/>
                    </a:lnTo>
                    <a:lnTo>
                      <a:pt x="11" y="195"/>
                    </a:lnTo>
                    <a:lnTo>
                      <a:pt x="14" y="193"/>
                    </a:lnTo>
                    <a:lnTo>
                      <a:pt x="16" y="192"/>
                    </a:lnTo>
                    <a:lnTo>
                      <a:pt x="16" y="187"/>
                    </a:lnTo>
                    <a:lnTo>
                      <a:pt x="16" y="187"/>
                    </a:lnTo>
                    <a:lnTo>
                      <a:pt x="18" y="183"/>
                    </a:lnTo>
                    <a:lnTo>
                      <a:pt x="23" y="183"/>
                    </a:lnTo>
                    <a:lnTo>
                      <a:pt x="23" y="183"/>
                    </a:lnTo>
                    <a:lnTo>
                      <a:pt x="26" y="183"/>
                    </a:lnTo>
                    <a:lnTo>
                      <a:pt x="29" y="186"/>
                    </a:lnTo>
                    <a:lnTo>
                      <a:pt x="31" y="187"/>
                    </a:lnTo>
                    <a:lnTo>
                      <a:pt x="31" y="187"/>
                    </a:lnTo>
                    <a:lnTo>
                      <a:pt x="33" y="187"/>
                    </a:lnTo>
                    <a:lnTo>
                      <a:pt x="33" y="187"/>
                    </a:lnTo>
                    <a:lnTo>
                      <a:pt x="31" y="184"/>
                    </a:lnTo>
                    <a:lnTo>
                      <a:pt x="30" y="181"/>
                    </a:lnTo>
                    <a:lnTo>
                      <a:pt x="29" y="180"/>
                    </a:lnTo>
                    <a:lnTo>
                      <a:pt x="30" y="177"/>
                    </a:lnTo>
                    <a:lnTo>
                      <a:pt x="30" y="177"/>
                    </a:lnTo>
                    <a:lnTo>
                      <a:pt x="30" y="174"/>
                    </a:lnTo>
                    <a:lnTo>
                      <a:pt x="29" y="171"/>
                    </a:lnTo>
                    <a:lnTo>
                      <a:pt x="27" y="168"/>
                    </a:lnTo>
                    <a:lnTo>
                      <a:pt x="27" y="168"/>
                    </a:lnTo>
                    <a:lnTo>
                      <a:pt x="29" y="167"/>
                    </a:lnTo>
                    <a:lnTo>
                      <a:pt x="29" y="167"/>
                    </a:lnTo>
                    <a:lnTo>
                      <a:pt x="31" y="167"/>
                    </a:lnTo>
                    <a:lnTo>
                      <a:pt x="36" y="167"/>
                    </a:lnTo>
                    <a:lnTo>
                      <a:pt x="37" y="167"/>
                    </a:lnTo>
                    <a:lnTo>
                      <a:pt x="37" y="166"/>
                    </a:lnTo>
                    <a:lnTo>
                      <a:pt x="37" y="166"/>
                    </a:lnTo>
                    <a:lnTo>
                      <a:pt x="33" y="161"/>
                    </a:lnTo>
                    <a:lnTo>
                      <a:pt x="31" y="158"/>
                    </a:lnTo>
                    <a:lnTo>
                      <a:pt x="33" y="157"/>
                    </a:lnTo>
                    <a:lnTo>
                      <a:pt x="33" y="157"/>
                    </a:lnTo>
                    <a:lnTo>
                      <a:pt x="37" y="155"/>
                    </a:lnTo>
                    <a:lnTo>
                      <a:pt x="40" y="155"/>
                    </a:lnTo>
                    <a:lnTo>
                      <a:pt x="42" y="154"/>
                    </a:lnTo>
                    <a:lnTo>
                      <a:pt x="42" y="154"/>
                    </a:lnTo>
                    <a:lnTo>
                      <a:pt x="40" y="152"/>
                    </a:lnTo>
                    <a:lnTo>
                      <a:pt x="37" y="151"/>
                    </a:lnTo>
                    <a:lnTo>
                      <a:pt x="36" y="148"/>
                    </a:lnTo>
                    <a:lnTo>
                      <a:pt x="36" y="147"/>
                    </a:lnTo>
                    <a:lnTo>
                      <a:pt x="36" y="147"/>
                    </a:lnTo>
                    <a:lnTo>
                      <a:pt x="39" y="142"/>
                    </a:lnTo>
                    <a:lnTo>
                      <a:pt x="40" y="139"/>
                    </a:lnTo>
                    <a:lnTo>
                      <a:pt x="39" y="139"/>
                    </a:lnTo>
                    <a:lnTo>
                      <a:pt x="39" y="139"/>
                    </a:lnTo>
                    <a:lnTo>
                      <a:pt x="36" y="138"/>
                    </a:lnTo>
                    <a:lnTo>
                      <a:pt x="34" y="138"/>
                    </a:lnTo>
                    <a:lnTo>
                      <a:pt x="36" y="137"/>
                    </a:lnTo>
                    <a:lnTo>
                      <a:pt x="36" y="137"/>
                    </a:lnTo>
                    <a:lnTo>
                      <a:pt x="37" y="134"/>
                    </a:lnTo>
                    <a:lnTo>
                      <a:pt x="40" y="132"/>
                    </a:lnTo>
                    <a:lnTo>
                      <a:pt x="42" y="132"/>
                    </a:lnTo>
                    <a:lnTo>
                      <a:pt x="42" y="132"/>
                    </a:lnTo>
                    <a:lnTo>
                      <a:pt x="44" y="134"/>
                    </a:lnTo>
                    <a:lnTo>
                      <a:pt x="46" y="134"/>
                    </a:lnTo>
                    <a:lnTo>
                      <a:pt x="47" y="132"/>
                    </a:lnTo>
                    <a:lnTo>
                      <a:pt x="47" y="132"/>
                    </a:lnTo>
                    <a:lnTo>
                      <a:pt x="53" y="124"/>
                    </a:lnTo>
                    <a:lnTo>
                      <a:pt x="56" y="119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5" y="116"/>
                    </a:lnTo>
                    <a:lnTo>
                      <a:pt x="56" y="115"/>
                    </a:lnTo>
                    <a:lnTo>
                      <a:pt x="62" y="112"/>
                    </a:lnTo>
                    <a:lnTo>
                      <a:pt x="62" y="112"/>
                    </a:lnTo>
                    <a:lnTo>
                      <a:pt x="65" y="112"/>
                    </a:lnTo>
                    <a:lnTo>
                      <a:pt x="66" y="112"/>
                    </a:lnTo>
                    <a:lnTo>
                      <a:pt x="66" y="110"/>
                    </a:lnTo>
                    <a:lnTo>
                      <a:pt x="66" y="110"/>
                    </a:lnTo>
                    <a:lnTo>
                      <a:pt x="66" y="109"/>
                    </a:lnTo>
                    <a:lnTo>
                      <a:pt x="65" y="106"/>
                    </a:lnTo>
                    <a:lnTo>
                      <a:pt x="63" y="105"/>
                    </a:lnTo>
                    <a:lnTo>
                      <a:pt x="66" y="102"/>
                    </a:lnTo>
                    <a:lnTo>
                      <a:pt x="66" y="102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82" y="92"/>
                    </a:lnTo>
                    <a:lnTo>
                      <a:pt x="84" y="90"/>
                    </a:lnTo>
                    <a:lnTo>
                      <a:pt x="84" y="89"/>
                    </a:lnTo>
                    <a:lnTo>
                      <a:pt x="84" y="89"/>
                    </a:lnTo>
                    <a:lnTo>
                      <a:pt x="84" y="84"/>
                    </a:lnTo>
                    <a:lnTo>
                      <a:pt x="84" y="83"/>
                    </a:lnTo>
                    <a:lnTo>
                      <a:pt x="85" y="82"/>
                    </a:lnTo>
                    <a:lnTo>
                      <a:pt x="85" y="82"/>
                    </a:lnTo>
                    <a:lnTo>
                      <a:pt x="86" y="83"/>
                    </a:lnTo>
                    <a:lnTo>
                      <a:pt x="86" y="84"/>
                    </a:lnTo>
                    <a:lnTo>
                      <a:pt x="88" y="86"/>
                    </a:lnTo>
                    <a:lnTo>
                      <a:pt x="89" y="87"/>
                    </a:lnTo>
                    <a:lnTo>
                      <a:pt x="89" y="87"/>
                    </a:lnTo>
                    <a:lnTo>
                      <a:pt x="91" y="86"/>
                    </a:lnTo>
                    <a:lnTo>
                      <a:pt x="92" y="84"/>
                    </a:lnTo>
                    <a:lnTo>
                      <a:pt x="92" y="84"/>
                    </a:lnTo>
                    <a:lnTo>
                      <a:pt x="95" y="83"/>
                    </a:lnTo>
                    <a:lnTo>
                      <a:pt x="95" y="83"/>
                    </a:lnTo>
                    <a:lnTo>
                      <a:pt x="98" y="80"/>
                    </a:lnTo>
                    <a:lnTo>
                      <a:pt x="104" y="76"/>
                    </a:lnTo>
                    <a:lnTo>
                      <a:pt x="111" y="67"/>
                    </a:lnTo>
                    <a:lnTo>
                      <a:pt x="111" y="67"/>
                    </a:lnTo>
                    <a:lnTo>
                      <a:pt x="115" y="63"/>
                    </a:lnTo>
                    <a:lnTo>
                      <a:pt x="115" y="61"/>
                    </a:lnTo>
                    <a:lnTo>
                      <a:pt x="115" y="60"/>
                    </a:lnTo>
                    <a:lnTo>
                      <a:pt x="115" y="60"/>
                    </a:lnTo>
                    <a:lnTo>
                      <a:pt x="113" y="57"/>
                    </a:lnTo>
                    <a:lnTo>
                      <a:pt x="113" y="55"/>
                    </a:lnTo>
                    <a:lnTo>
                      <a:pt x="115" y="55"/>
                    </a:lnTo>
                    <a:lnTo>
                      <a:pt x="115" y="55"/>
                    </a:lnTo>
                    <a:lnTo>
                      <a:pt x="120" y="55"/>
                    </a:lnTo>
                    <a:lnTo>
                      <a:pt x="121" y="54"/>
                    </a:lnTo>
                    <a:lnTo>
                      <a:pt x="121" y="54"/>
                    </a:lnTo>
                    <a:lnTo>
                      <a:pt x="126" y="51"/>
                    </a:lnTo>
                    <a:lnTo>
                      <a:pt x="127" y="50"/>
                    </a:lnTo>
                    <a:lnTo>
                      <a:pt x="128" y="51"/>
                    </a:lnTo>
                    <a:lnTo>
                      <a:pt x="128" y="51"/>
                    </a:lnTo>
                    <a:lnTo>
                      <a:pt x="133" y="55"/>
                    </a:lnTo>
                    <a:lnTo>
                      <a:pt x="136" y="58"/>
                    </a:lnTo>
                    <a:lnTo>
                      <a:pt x="139" y="58"/>
                    </a:lnTo>
                    <a:lnTo>
                      <a:pt x="139" y="58"/>
                    </a:lnTo>
                    <a:lnTo>
                      <a:pt x="142" y="57"/>
                    </a:lnTo>
                    <a:lnTo>
                      <a:pt x="144" y="55"/>
                    </a:lnTo>
                    <a:lnTo>
                      <a:pt x="144" y="55"/>
                    </a:lnTo>
                    <a:lnTo>
                      <a:pt x="146" y="51"/>
                    </a:lnTo>
                    <a:lnTo>
                      <a:pt x="147" y="50"/>
                    </a:lnTo>
                    <a:lnTo>
                      <a:pt x="147" y="51"/>
                    </a:lnTo>
                    <a:lnTo>
                      <a:pt x="147" y="51"/>
                    </a:lnTo>
                    <a:lnTo>
                      <a:pt x="150" y="58"/>
                    </a:lnTo>
                    <a:lnTo>
                      <a:pt x="152" y="60"/>
                    </a:lnTo>
                    <a:lnTo>
                      <a:pt x="155" y="61"/>
                    </a:lnTo>
                    <a:lnTo>
                      <a:pt x="155" y="61"/>
                    </a:lnTo>
                    <a:lnTo>
                      <a:pt x="156" y="60"/>
                    </a:lnTo>
                    <a:lnTo>
                      <a:pt x="157" y="58"/>
                    </a:lnTo>
                    <a:lnTo>
                      <a:pt x="159" y="57"/>
                    </a:lnTo>
                    <a:lnTo>
                      <a:pt x="163" y="57"/>
                    </a:lnTo>
                    <a:lnTo>
                      <a:pt x="163" y="57"/>
                    </a:lnTo>
                    <a:lnTo>
                      <a:pt x="169" y="57"/>
                    </a:lnTo>
                    <a:lnTo>
                      <a:pt x="175" y="55"/>
                    </a:lnTo>
                    <a:lnTo>
                      <a:pt x="179" y="53"/>
                    </a:lnTo>
                    <a:lnTo>
                      <a:pt x="184" y="50"/>
                    </a:lnTo>
                    <a:lnTo>
                      <a:pt x="184" y="50"/>
                    </a:lnTo>
                    <a:lnTo>
                      <a:pt x="188" y="44"/>
                    </a:lnTo>
                    <a:lnTo>
                      <a:pt x="191" y="42"/>
                    </a:lnTo>
                    <a:lnTo>
                      <a:pt x="194" y="41"/>
                    </a:lnTo>
                    <a:lnTo>
                      <a:pt x="194" y="41"/>
                    </a:lnTo>
                    <a:lnTo>
                      <a:pt x="197" y="40"/>
                    </a:lnTo>
                    <a:lnTo>
                      <a:pt x="201" y="37"/>
                    </a:lnTo>
                    <a:lnTo>
                      <a:pt x="204" y="32"/>
                    </a:lnTo>
                    <a:lnTo>
                      <a:pt x="205" y="28"/>
                    </a:lnTo>
                    <a:lnTo>
                      <a:pt x="205" y="28"/>
                    </a:lnTo>
                    <a:lnTo>
                      <a:pt x="207" y="24"/>
                    </a:lnTo>
                    <a:lnTo>
                      <a:pt x="210" y="21"/>
                    </a:lnTo>
                    <a:lnTo>
                      <a:pt x="211" y="16"/>
                    </a:lnTo>
                    <a:lnTo>
                      <a:pt x="212" y="13"/>
                    </a:lnTo>
                    <a:lnTo>
                      <a:pt x="212" y="13"/>
                    </a:lnTo>
                    <a:lnTo>
                      <a:pt x="212" y="9"/>
                    </a:lnTo>
                    <a:lnTo>
                      <a:pt x="211" y="6"/>
                    </a:lnTo>
                    <a:lnTo>
                      <a:pt x="212" y="5"/>
                    </a:lnTo>
                    <a:lnTo>
                      <a:pt x="212" y="5"/>
                    </a:lnTo>
                    <a:lnTo>
                      <a:pt x="218" y="3"/>
                    </a:lnTo>
                    <a:lnTo>
                      <a:pt x="221" y="2"/>
                    </a:lnTo>
                    <a:lnTo>
                      <a:pt x="223" y="2"/>
                    </a:lnTo>
                    <a:lnTo>
                      <a:pt x="223" y="2"/>
                    </a:lnTo>
                    <a:lnTo>
                      <a:pt x="224" y="5"/>
                    </a:lnTo>
                    <a:lnTo>
                      <a:pt x="226" y="5"/>
                    </a:lnTo>
                    <a:lnTo>
                      <a:pt x="227" y="3"/>
                    </a:lnTo>
                    <a:lnTo>
                      <a:pt x="227" y="3"/>
                    </a:lnTo>
                    <a:lnTo>
                      <a:pt x="228" y="2"/>
                    </a:lnTo>
                    <a:lnTo>
                      <a:pt x="230" y="0"/>
                    </a:lnTo>
                    <a:lnTo>
                      <a:pt x="233" y="2"/>
                    </a:lnTo>
                    <a:lnTo>
                      <a:pt x="233" y="2"/>
                    </a:lnTo>
                    <a:lnTo>
                      <a:pt x="240" y="5"/>
                    </a:lnTo>
                    <a:lnTo>
                      <a:pt x="241" y="6"/>
                    </a:lnTo>
                    <a:lnTo>
                      <a:pt x="241" y="8"/>
                    </a:lnTo>
                    <a:lnTo>
                      <a:pt x="241" y="8"/>
                    </a:lnTo>
                    <a:lnTo>
                      <a:pt x="241" y="12"/>
                    </a:lnTo>
                    <a:lnTo>
                      <a:pt x="241" y="13"/>
                    </a:lnTo>
                    <a:lnTo>
                      <a:pt x="243" y="16"/>
                    </a:lnTo>
                    <a:lnTo>
                      <a:pt x="243" y="16"/>
                    </a:lnTo>
                    <a:lnTo>
                      <a:pt x="247" y="21"/>
                    </a:lnTo>
                    <a:lnTo>
                      <a:pt x="249" y="24"/>
                    </a:lnTo>
                    <a:lnTo>
                      <a:pt x="249" y="25"/>
                    </a:lnTo>
                    <a:lnTo>
                      <a:pt x="249" y="25"/>
                    </a:lnTo>
                    <a:lnTo>
                      <a:pt x="246" y="28"/>
                    </a:lnTo>
                    <a:lnTo>
                      <a:pt x="244" y="29"/>
                    </a:lnTo>
                    <a:lnTo>
                      <a:pt x="244" y="31"/>
                    </a:lnTo>
                    <a:lnTo>
                      <a:pt x="244" y="31"/>
                    </a:lnTo>
                    <a:lnTo>
                      <a:pt x="244" y="38"/>
                    </a:lnTo>
                    <a:lnTo>
                      <a:pt x="246" y="42"/>
                    </a:lnTo>
                    <a:lnTo>
                      <a:pt x="247" y="45"/>
                    </a:lnTo>
                    <a:lnTo>
                      <a:pt x="247" y="45"/>
                    </a:lnTo>
                    <a:lnTo>
                      <a:pt x="247" y="47"/>
                    </a:lnTo>
                    <a:lnTo>
                      <a:pt x="247" y="47"/>
                    </a:lnTo>
                    <a:lnTo>
                      <a:pt x="244" y="50"/>
                    </a:lnTo>
                    <a:lnTo>
                      <a:pt x="244" y="50"/>
                    </a:lnTo>
                    <a:lnTo>
                      <a:pt x="241" y="54"/>
                    </a:lnTo>
                    <a:lnTo>
                      <a:pt x="240" y="60"/>
                    </a:lnTo>
                    <a:lnTo>
                      <a:pt x="240" y="60"/>
                    </a:lnTo>
                    <a:lnTo>
                      <a:pt x="241" y="64"/>
                    </a:lnTo>
                    <a:lnTo>
                      <a:pt x="243" y="66"/>
                    </a:lnTo>
                    <a:lnTo>
                      <a:pt x="244" y="67"/>
                    </a:lnTo>
                    <a:lnTo>
                      <a:pt x="244" y="67"/>
                    </a:lnTo>
                    <a:lnTo>
                      <a:pt x="243" y="68"/>
                    </a:lnTo>
                    <a:lnTo>
                      <a:pt x="237" y="73"/>
                    </a:lnTo>
                    <a:lnTo>
                      <a:pt x="237" y="73"/>
                    </a:lnTo>
                    <a:lnTo>
                      <a:pt x="231" y="76"/>
                    </a:lnTo>
                    <a:lnTo>
                      <a:pt x="224" y="82"/>
                    </a:lnTo>
                    <a:lnTo>
                      <a:pt x="224" y="82"/>
                    </a:lnTo>
                    <a:lnTo>
                      <a:pt x="221" y="84"/>
                    </a:lnTo>
                    <a:lnTo>
                      <a:pt x="217" y="89"/>
                    </a:lnTo>
                    <a:lnTo>
                      <a:pt x="217" y="89"/>
                    </a:lnTo>
                    <a:lnTo>
                      <a:pt x="210" y="92"/>
                    </a:lnTo>
                    <a:lnTo>
                      <a:pt x="205" y="92"/>
                    </a:lnTo>
                    <a:lnTo>
                      <a:pt x="202" y="92"/>
                    </a:lnTo>
                    <a:lnTo>
                      <a:pt x="202" y="92"/>
                    </a:lnTo>
                    <a:lnTo>
                      <a:pt x="194" y="89"/>
                    </a:lnTo>
                    <a:lnTo>
                      <a:pt x="186" y="86"/>
                    </a:lnTo>
                    <a:lnTo>
                      <a:pt x="186" y="86"/>
                    </a:lnTo>
                    <a:lnTo>
                      <a:pt x="179" y="89"/>
                    </a:lnTo>
                    <a:lnTo>
                      <a:pt x="175" y="90"/>
                    </a:lnTo>
                    <a:lnTo>
                      <a:pt x="172" y="95"/>
                    </a:lnTo>
                    <a:lnTo>
                      <a:pt x="172" y="95"/>
                    </a:lnTo>
                    <a:lnTo>
                      <a:pt x="166" y="102"/>
                    </a:lnTo>
                    <a:lnTo>
                      <a:pt x="159" y="106"/>
                    </a:lnTo>
                    <a:lnTo>
                      <a:pt x="159" y="106"/>
                    </a:lnTo>
                    <a:lnTo>
                      <a:pt x="150" y="112"/>
                    </a:lnTo>
                    <a:lnTo>
                      <a:pt x="143" y="119"/>
                    </a:lnTo>
                    <a:lnTo>
                      <a:pt x="143" y="119"/>
                    </a:lnTo>
                    <a:lnTo>
                      <a:pt x="139" y="122"/>
                    </a:lnTo>
                    <a:lnTo>
                      <a:pt x="139" y="122"/>
                    </a:lnTo>
                    <a:lnTo>
                      <a:pt x="136" y="126"/>
                    </a:lnTo>
                    <a:lnTo>
                      <a:pt x="134" y="128"/>
                    </a:lnTo>
                    <a:lnTo>
                      <a:pt x="133" y="126"/>
                    </a:lnTo>
                    <a:lnTo>
                      <a:pt x="133" y="126"/>
                    </a:lnTo>
                    <a:lnTo>
                      <a:pt x="131" y="124"/>
                    </a:lnTo>
                    <a:lnTo>
                      <a:pt x="130" y="124"/>
                    </a:lnTo>
                    <a:lnTo>
                      <a:pt x="128" y="124"/>
                    </a:lnTo>
                    <a:lnTo>
                      <a:pt x="128" y="124"/>
                    </a:lnTo>
                    <a:lnTo>
                      <a:pt x="128" y="128"/>
                    </a:lnTo>
                    <a:lnTo>
                      <a:pt x="127" y="132"/>
                    </a:lnTo>
                    <a:lnTo>
                      <a:pt x="126" y="137"/>
                    </a:lnTo>
                    <a:lnTo>
                      <a:pt x="124" y="139"/>
                    </a:lnTo>
                    <a:lnTo>
                      <a:pt x="124" y="139"/>
                    </a:lnTo>
                    <a:lnTo>
                      <a:pt x="123" y="139"/>
                    </a:lnTo>
                    <a:lnTo>
                      <a:pt x="121" y="139"/>
                    </a:lnTo>
                    <a:lnTo>
                      <a:pt x="120" y="138"/>
                    </a:lnTo>
                    <a:lnTo>
                      <a:pt x="118" y="139"/>
                    </a:lnTo>
                    <a:lnTo>
                      <a:pt x="118" y="139"/>
                    </a:lnTo>
                    <a:lnTo>
                      <a:pt x="118" y="142"/>
                    </a:lnTo>
                    <a:lnTo>
                      <a:pt x="117" y="144"/>
                    </a:lnTo>
                    <a:lnTo>
                      <a:pt x="114" y="144"/>
                    </a:lnTo>
                    <a:lnTo>
                      <a:pt x="114" y="144"/>
                    </a:lnTo>
                    <a:lnTo>
                      <a:pt x="107" y="141"/>
                    </a:lnTo>
                    <a:lnTo>
                      <a:pt x="104" y="139"/>
                    </a:lnTo>
                    <a:lnTo>
                      <a:pt x="102" y="139"/>
                    </a:lnTo>
                    <a:lnTo>
                      <a:pt x="102" y="141"/>
                    </a:lnTo>
                    <a:lnTo>
                      <a:pt x="102" y="141"/>
                    </a:lnTo>
                    <a:lnTo>
                      <a:pt x="104" y="145"/>
                    </a:lnTo>
                    <a:lnTo>
                      <a:pt x="105" y="148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2" y="151"/>
                    </a:lnTo>
                    <a:lnTo>
                      <a:pt x="101" y="151"/>
                    </a:lnTo>
                    <a:lnTo>
                      <a:pt x="98" y="151"/>
                    </a:lnTo>
                    <a:lnTo>
                      <a:pt x="98" y="151"/>
                    </a:lnTo>
                    <a:lnTo>
                      <a:pt x="95" y="152"/>
                    </a:lnTo>
                    <a:lnTo>
                      <a:pt x="92" y="154"/>
                    </a:lnTo>
                    <a:lnTo>
                      <a:pt x="92" y="154"/>
                    </a:lnTo>
                    <a:lnTo>
                      <a:pt x="89" y="155"/>
                    </a:lnTo>
                    <a:lnTo>
                      <a:pt x="88" y="157"/>
                    </a:lnTo>
                    <a:lnTo>
                      <a:pt x="88" y="157"/>
                    </a:lnTo>
                    <a:lnTo>
                      <a:pt x="89" y="158"/>
                    </a:lnTo>
                    <a:lnTo>
                      <a:pt x="91" y="160"/>
                    </a:lnTo>
                    <a:lnTo>
                      <a:pt x="94" y="160"/>
                    </a:lnTo>
                    <a:lnTo>
                      <a:pt x="94" y="161"/>
                    </a:lnTo>
                    <a:lnTo>
                      <a:pt x="94" y="161"/>
                    </a:lnTo>
                    <a:lnTo>
                      <a:pt x="94" y="163"/>
                    </a:lnTo>
                    <a:lnTo>
                      <a:pt x="91" y="163"/>
                    </a:lnTo>
                    <a:lnTo>
                      <a:pt x="86" y="164"/>
                    </a:lnTo>
                    <a:lnTo>
                      <a:pt x="86" y="164"/>
                    </a:lnTo>
                    <a:lnTo>
                      <a:pt x="85" y="164"/>
                    </a:lnTo>
                    <a:lnTo>
                      <a:pt x="85" y="167"/>
                    </a:lnTo>
                    <a:lnTo>
                      <a:pt x="86" y="174"/>
                    </a:lnTo>
                    <a:lnTo>
                      <a:pt x="86" y="174"/>
                    </a:lnTo>
                    <a:lnTo>
                      <a:pt x="85" y="176"/>
                    </a:lnTo>
                    <a:lnTo>
                      <a:pt x="84" y="177"/>
                    </a:lnTo>
                    <a:lnTo>
                      <a:pt x="81" y="179"/>
                    </a:lnTo>
                    <a:lnTo>
                      <a:pt x="81" y="179"/>
                    </a:lnTo>
                    <a:lnTo>
                      <a:pt x="76" y="179"/>
                    </a:lnTo>
                    <a:lnTo>
                      <a:pt x="75" y="179"/>
                    </a:lnTo>
                    <a:lnTo>
                      <a:pt x="75" y="180"/>
                    </a:lnTo>
                    <a:lnTo>
                      <a:pt x="75" y="180"/>
                    </a:lnTo>
                    <a:lnTo>
                      <a:pt x="78" y="183"/>
                    </a:lnTo>
                    <a:lnTo>
                      <a:pt x="78" y="184"/>
                    </a:lnTo>
                    <a:lnTo>
                      <a:pt x="76" y="186"/>
                    </a:lnTo>
                    <a:lnTo>
                      <a:pt x="76" y="186"/>
                    </a:lnTo>
                    <a:lnTo>
                      <a:pt x="71" y="186"/>
                    </a:lnTo>
                    <a:lnTo>
                      <a:pt x="68" y="187"/>
                    </a:lnTo>
                    <a:lnTo>
                      <a:pt x="69" y="189"/>
                    </a:lnTo>
                    <a:lnTo>
                      <a:pt x="69" y="189"/>
                    </a:lnTo>
                    <a:lnTo>
                      <a:pt x="72" y="193"/>
                    </a:lnTo>
                    <a:lnTo>
                      <a:pt x="73" y="197"/>
                    </a:lnTo>
                    <a:lnTo>
                      <a:pt x="73" y="197"/>
                    </a:lnTo>
                    <a:lnTo>
                      <a:pt x="72" y="197"/>
                    </a:lnTo>
                    <a:lnTo>
                      <a:pt x="71" y="197"/>
                    </a:lnTo>
                    <a:lnTo>
                      <a:pt x="69" y="196"/>
                    </a:lnTo>
                    <a:lnTo>
                      <a:pt x="68" y="197"/>
                    </a:lnTo>
                    <a:lnTo>
                      <a:pt x="68" y="197"/>
                    </a:lnTo>
                    <a:lnTo>
                      <a:pt x="69" y="202"/>
                    </a:lnTo>
                    <a:lnTo>
                      <a:pt x="71" y="203"/>
                    </a:lnTo>
                    <a:lnTo>
                      <a:pt x="71" y="205"/>
                    </a:lnTo>
                    <a:lnTo>
                      <a:pt x="71" y="205"/>
                    </a:lnTo>
                    <a:lnTo>
                      <a:pt x="68" y="206"/>
                    </a:lnTo>
                    <a:lnTo>
                      <a:pt x="63" y="206"/>
                    </a:lnTo>
                    <a:lnTo>
                      <a:pt x="58" y="205"/>
                    </a:lnTo>
                    <a:lnTo>
                      <a:pt x="58" y="205"/>
                    </a:lnTo>
                    <a:lnTo>
                      <a:pt x="58" y="206"/>
                    </a:lnTo>
                    <a:lnTo>
                      <a:pt x="59" y="208"/>
                    </a:lnTo>
                    <a:lnTo>
                      <a:pt x="62" y="210"/>
                    </a:lnTo>
                    <a:lnTo>
                      <a:pt x="62" y="210"/>
                    </a:lnTo>
                    <a:lnTo>
                      <a:pt x="63" y="212"/>
                    </a:lnTo>
                    <a:lnTo>
                      <a:pt x="62" y="216"/>
                    </a:lnTo>
                    <a:lnTo>
                      <a:pt x="60" y="222"/>
                    </a:lnTo>
                    <a:lnTo>
                      <a:pt x="60" y="222"/>
                    </a:lnTo>
                    <a:lnTo>
                      <a:pt x="59" y="226"/>
                    </a:lnTo>
                    <a:lnTo>
                      <a:pt x="56" y="228"/>
                    </a:lnTo>
                    <a:lnTo>
                      <a:pt x="55" y="22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48" name="Freeform 1499"/>
              <p:cNvSpPr>
                <a:spLocks/>
              </p:cNvSpPr>
              <p:nvPr/>
            </p:nvSpPr>
            <p:spPr bwMode="auto">
              <a:xfrm>
                <a:off x="7376551" y="2000433"/>
                <a:ext cx="44517" cy="23742"/>
              </a:xfrm>
              <a:custGeom>
                <a:avLst/>
                <a:gdLst>
                  <a:gd name="T0" fmla="*/ 33 w 45"/>
                  <a:gd name="T1" fmla="*/ 24 h 24"/>
                  <a:gd name="T2" fmla="*/ 33 w 45"/>
                  <a:gd name="T3" fmla="*/ 24 h 24"/>
                  <a:gd name="T4" fmla="*/ 28 w 45"/>
                  <a:gd name="T5" fmla="*/ 22 h 24"/>
                  <a:gd name="T6" fmla="*/ 22 w 45"/>
                  <a:gd name="T7" fmla="*/ 18 h 24"/>
                  <a:gd name="T8" fmla="*/ 16 w 45"/>
                  <a:gd name="T9" fmla="*/ 13 h 24"/>
                  <a:gd name="T10" fmla="*/ 13 w 45"/>
                  <a:gd name="T11" fmla="*/ 12 h 24"/>
                  <a:gd name="T12" fmla="*/ 13 w 45"/>
                  <a:gd name="T13" fmla="*/ 12 h 24"/>
                  <a:gd name="T14" fmla="*/ 12 w 45"/>
                  <a:gd name="T15" fmla="*/ 13 h 24"/>
                  <a:gd name="T16" fmla="*/ 9 w 45"/>
                  <a:gd name="T17" fmla="*/ 15 h 24"/>
                  <a:gd name="T18" fmla="*/ 6 w 45"/>
                  <a:gd name="T19" fmla="*/ 16 h 24"/>
                  <a:gd name="T20" fmla="*/ 3 w 45"/>
                  <a:gd name="T21" fmla="*/ 15 h 24"/>
                  <a:gd name="T22" fmla="*/ 3 w 45"/>
                  <a:gd name="T23" fmla="*/ 15 h 24"/>
                  <a:gd name="T24" fmla="*/ 2 w 45"/>
                  <a:gd name="T25" fmla="*/ 11 h 24"/>
                  <a:gd name="T26" fmla="*/ 0 w 45"/>
                  <a:gd name="T27" fmla="*/ 6 h 24"/>
                  <a:gd name="T28" fmla="*/ 0 w 45"/>
                  <a:gd name="T29" fmla="*/ 3 h 24"/>
                  <a:gd name="T30" fmla="*/ 2 w 45"/>
                  <a:gd name="T31" fmla="*/ 2 h 24"/>
                  <a:gd name="T32" fmla="*/ 3 w 45"/>
                  <a:gd name="T33" fmla="*/ 2 h 24"/>
                  <a:gd name="T34" fmla="*/ 3 w 45"/>
                  <a:gd name="T35" fmla="*/ 2 h 24"/>
                  <a:gd name="T36" fmla="*/ 9 w 45"/>
                  <a:gd name="T37" fmla="*/ 5 h 24"/>
                  <a:gd name="T38" fmla="*/ 13 w 45"/>
                  <a:gd name="T39" fmla="*/ 6 h 24"/>
                  <a:gd name="T40" fmla="*/ 16 w 45"/>
                  <a:gd name="T41" fmla="*/ 6 h 24"/>
                  <a:gd name="T42" fmla="*/ 16 w 45"/>
                  <a:gd name="T43" fmla="*/ 6 h 24"/>
                  <a:gd name="T44" fmla="*/ 19 w 45"/>
                  <a:gd name="T45" fmla="*/ 5 h 24"/>
                  <a:gd name="T46" fmla="*/ 23 w 45"/>
                  <a:gd name="T47" fmla="*/ 3 h 24"/>
                  <a:gd name="T48" fmla="*/ 26 w 45"/>
                  <a:gd name="T49" fmla="*/ 0 h 24"/>
                  <a:gd name="T50" fmla="*/ 28 w 45"/>
                  <a:gd name="T51" fmla="*/ 2 h 24"/>
                  <a:gd name="T52" fmla="*/ 29 w 45"/>
                  <a:gd name="T53" fmla="*/ 2 h 24"/>
                  <a:gd name="T54" fmla="*/ 29 w 45"/>
                  <a:gd name="T55" fmla="*/ 2 h 24"/>
                  <a:gd name="T56" fmla="*/ 39 w 45"/>
                  <a:gd name="T57" fmla="*/ 11 h 24"/>
                  <a:gd name="T58" fmla="*/ 44 w 45"/>
                  <a:gd name="T59" fmla="*/ 16 h 24"/>
                  <a:gd name="T60" fmla="*/ 45 w 45"/>
                  <a:gd name="T61" fmla="*/ 18 h 24"/>
                  <a:gd name="T62" fmla="*/ 45 w 45"/>
                  <a:gd name="T63" fmla="*/ 18 h 24"/>
                  <a:gd name="T64" fmla="*/ 39 w 45"/>
                  <a:gd name="T65" fmla="*/ 22 h 24"/>
                  <a:gd name="T66" fmla="*/ 36 w 45"/>
                  <a:gd name="T67" fmla="*/ 24 h 24"/>
                  <a:gd name="T68" fmla="*/ 33 w 45"/>
                  <a:gd name="T6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" h="24">
                    <a:moveTo>
                      <a:pt x="33" y="24"/>
                    </a:moveTo>
                    <a:lnTo>
                      <a:pt x="33" y="24"/>
                    </a:lnTo>
                    <a:lnTo>
                      <a:pt x="28" y="22"/>
                    </a:lnTo>
                    <a:lnTo>
                      <a:pt x="22" y="18"/>
                    </a:lnTo>
                    <a:lnTo>
                      <a:pt x="16" y="13"/>
                    </a:lnTo>
                    <a:lnTo>
                      <a:pt x="13" y="12"/>
                    </a:lnTo>
                    <a:lnTo>
                      <a:pt x="13" y="12"/>
                    </a:lnTo>
                    <a:lnTo>
                      <a:pt x="12" y="13"/>
                    </a:lnTo>
                    <a:lnTo>
                      <a:pt x="9" y="15"/>
                    </a:lnTo>
                    <a:lnTo>
                      <a:pt x="6" y="16"/>
                    </a:lnTo>
                    <a:lnTo>
                      <a:pt x="3" y="15"/>
                    </a:lnTo>
                    <a:lnTo>
                      <a:pt x="3" y="15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9" y="5"/>
                    </a:lnTo>
                    <a:lnTo>
                      <a:pt x="13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9" y="5"/>
                    </a:lnTo>
                    <a:lnTo>
                      <a:pt x="23" y="3"/>
                    </a:lnTo>
                    <a:lnTo>
                      <a:pt x="26" y="0"/>
                    </a:lnTo>
                    <a:lnTo>
                      <a:pt x="28" y="2"/>
                    </a:lnTo>
                    <a:lnTo>
                      <a:pt x="29" y="2"/>
                    </a:lnTo>
                    <a:lnTo>
                      <a:pt x="29" y="2"/>
                    </a:lnTo>
                    <a:lnTo>
                      <a:pt x="39" y="11"/>
                    </a:lnTo>
                    <a:lnTo>
                      <a:pt x="44" y="16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39" y="22"/>
                    </a:lnTo>
                    <a:lnTo>
                      <a:pt x="36" y="24"/>
                    </a:lnTo>
                    <a:lnTo>
                      <a:pt x="33" y="2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49" name="Freeform 1500"/>
              <p:cNvSpPr>
                <a:spLocks/>
              </p:cNvSpPr>
              <p:nvPr/>
            </p:nvSpPr>
            <p:spPr bwMode="auto">
              <a:xfrm>
                <a:off x="7376551" y="2000433"/>
                <a:ext cx="44517" cy="23742"/>
              </a:xfrm>
              <a:custGeom>
                <a:avLst/>
                <a:gdLst>
                  <a:gd name="T0" fmla="*/ 33 w 45"/>
                  <a:gd name="T1" fmla="*/ 24 h 24"/>
                  <a:gd name="T2" fmla="*/ 33 w 45"/>
                  <a:gd name="T3" fmla="*/ 24 h 24"/>
                  <a:gd name="T4" fmla="*/ 28 w 45"/>
                  <a:gd name="T5" fmla="*/ 22 h 24"/>
                  <a:gd name="T6" fmla="*/ 22 w 45"/>
                  <a:gd name="T7" fmla="*/ 18 h 24"/>
                  <a:gd name="T8" fmla="*/ 16 w 45"/>
                  <a:gd name="T9" fmla="*/ 13 h 24"/>
                  <a:gd name="T10" fmla="*/ 13 w 45"/>
                  <a:gd name="T11" fmla="*/ 12 h 24"/>
                  <a:gd name="T12" fmla="*/ 13 w 45"/>
                  <a:gd name="T13" fmla="*/ 12 h 24"/>
                  <a:gd name="T14" fmla="*/ 12 w 45"/>
                  <a:gd name="T15" fmla="*/ 13 h 24"/>
                  <a:gd name="T16" fmla="*/ 9 w 45"/>
                  <a:gd name="T17" fmla="*/ 15 h 24"/>
                  <a:gd name="T18" fmla="*/ 6 w 45"/>
                  <a:gd name="T19" fmla="*/ 16 h 24"/>
                  <a:gd name="T20" fmla="*/ 3 w 45"/>
                  <a:gd name="T21" fmla="*/ 15 h 24"/>
                  <a:gd name="T22" fmla="*/ 3 w 45"/>
                  <a:gd name="T23" fmla="*/ 15 h 24"/>
                  <a:gd name="T24" fmla="*/ 2 w 45"/>
                  <a:gd name="T25" fmla="*/ 11 h 24"/>
                  <a:gd name="T26" fmla="*/ 0 w 45"/>
                  <a:gd name="T27" fmla="*/ 6 h 24"/>
                  <a:gd name="T28" fmla="*/ 0 w 45"/>
                  <a:gd name="T29" fmla="*/ 3 h 24"/>
                  <a:gd name="T30" fmla="*/ 2 w 45"/>
                  <a:gd name="T31" fmla="*/ 2 h 24"/>
                  <a:gd name="T32" fmla="*/ 3 w 45"/>
                  <a:gd name="T33" fmla="*/ 2 h 24"/>
                  <a:gd name="T34" fmla="*/ 3 w 45"/>
                  <a:gd name="T35" fmla="*/ 2 h 24"/>
                  <a:gd name="T36" fmla="*/ 9 w 45"/>
                  <a:gd name="T37" fmla="*/ 5 h 24"/>
                  <a:gd name="T38" fmla="*/ 13 w 45"/>
                  <a:gd name="T39" fmla="*/ 6 h 24"/>
                  <a:gd name="T40" fmla="*/ 16 w 45"/>
                  <a:gd name="T41" fmla="*/ 6 h 24"/>
                  <a:gd name="T42" fmla="*/ 16 w 45"/>
                  <a:gd name="T43" fmla="*/ 6 h 24"/>
                  <a:gd name="T44" fmla="*/ 19 w 45"/>
                  <a:gd name="T45" fmla="*/ 5 h 24"/>
                  <a:gd name="T46" fmla="*/ 23 w 45"/>
                  <a:gd name="T47" fmla="*/ 3 h 24"/>
                  <a:gd name="T48" fmla="*/ 26 w 45"/>
                  <a:gd name="T49" fmla="*/ 0 h 24"/>
                  <a:gd name="T50" fmla="*/ 28 w 45"/>
                  <a:gd name="T51" fmla="*/ 2 h 24"/>
                  <a:gd name="T52" fmla="*/ 29 w 45"/>
                  <a:gd name="T53" fmla="*/ 2 h 24"/>
                  <a:gd name="T54" fmla="*/ 29 w 45"/>
                  <a:gd name="T55" fmla="*/ 2 h 24"/>
                  <a:gd name="T56" fmla="*/ 39 w 45"/>
                  <a:gd name="T57" fmla="*/ 11 h 24"/>
                  <a:gd name="T58" fmla="*/ 44 w 45"/>
                  <a:gd name="T59" fmla="*/ 16 h 24"/>
                  <a:gd name="T60" fmla="*/ 45 w 45"/>
                  <a:gd name="T61" fmla="*/ 18 h 24"/>
                  <a:gd name="T62" fmla="*/ 45 w 45"/>
                  <a:gd name="T63" fmla="*/ 18 h 24"/>
                  <a:gd name="T64" fmla="*/ 39 w 45"/>
                  <a:gd name="T65" fmla="*/ 22 h 24"/>
                  <a:gd name="T66" fmla="*/ 36 w 45"/>
                  <a:gd name="T67" fmla="*/ 24 h 24"/>
                  <a:gd name="T68" fmla="*/ 33 w 45"/>
                  <a:gd name="T6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" h="24">
                    <a:moveTo>
                      <a:pt x="33" y="24"/>
                    </a:moveTo>
                    <a:lnTo>
                      <a:pt x="33" y="24"/>
                    </a:lnTo>
                    <a:lnTo>
                      <a:pt x="28" y="22"/>
                    </a:lnTo>
                    <a:lnTo>
                      <a:pt x="22" y="18"/>
                    </a:lnTo>
                    <a:lnTo>
                      <a:pt x="16" y="13"/>
                    </a:lnTo>
                    <a:lnTo>
                      <a:pt x="13" y="12"/>
                    </a:lnTo>
                    <a:lnTo>
                      <a:pt x="13" y="12"/>
                    </a:lnTo>
                    <a:lnTo>
                      <a:pt x="12" y="13"/>
                    </a:lnTo>
                    <a:lnTo>
                      <a:pt x="9" y="15"/>
                    </a:lnTo>
                    <a:lnTo>
                      <a:pt x="6" y="16"/>
                    </a:lnTo>
                    <a:lnTo>
                      <a:pt x="3" y="15"/>
                    </a:lnTo>
                    <a:lnTo>
                      <a:pt x="3" y="15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9" y="5"/>
                    </a:lnTo>
                    <a:lnTo>
                      <a:pt x="13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9" y="5"/>
                    </a:lnTo>
                    <a:lnTo>
                      <a:pt x="23" y="3"/>
                    </a:lnTo>
                    <a:lnTo>
                      <a:pt x="26" y="0"/>
                    </a:lnTo>
                    <a:lnTo>
                      <a:pt x="28" y="2"/>
                    </a:lnTo>
                    <a:lnTo>
                      <a:pt x="29" y="2"/>
                    </a:lnTo>
                    <a:lnTo>
                      <a:pt x="29" y="2"/>
                    </a:lnTo>
                    <a:lnTo>
                      <a:pt x="39" y="11"/>
                    </a:lnTo>
                    <a:lnTo>
                      <a:pt x="44" y="16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39" y="22"/>
                    </a:lnTo>
                    <a:lnTo>
                      <a:pt x="36" y="24"/>
                    </a:lnTo>
                    <a:lnTo>
                      <a:pt x="33" y="2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59" name="Freeform 1512"/>
              <p:cNvSpPr>
                <a:spLocks/>
              </p:cNvSpPr>
              <p:nvPr/>
            </p:nvSpPr>
            <p:spPr bwMode="auto">
              <a:xfrm>
                <a:off x="7332035" y="3661400"/>
                <a:ext cx="6925" cy="5936"/>
              </a:xfrm>
              <a:custGeom>
                <a:avLst/>
                <a:gdLst>
                  <a:gd name="T0" fmla="*/ 6 w 7"/>
                  <a:gd name="T1" fmla="*/ 6 h 6"/>
                  <a:gd name="T2" fmla="*/ 6 w 7"/>
                  <a:gd name="T3" fmla="*/ 6 h 6"/>
                  <a:gd name="T4" fmla="*/ 3 w 7"/>
                  <a:gd name="T5" fmla="*/ 5 h 6"/>
                  <a:gd name="T6" fmla="*/ 0 w 7"/>
                  <a:gd name="T7" fmla="*/ 2 h 6"/>
                  <a:gd name="T8" fmla="*/ 0 w 7"/>
                  <a:gd name="T9" fmla="*/ 2 h 6"/>
                  <a:gd name="T10" fmla="*/ 2 w 7"/>
                  <a:gd name="T11" fmla="*/ 0 h 6"/>
                  <a:gd name="T12" fmla="*/ 2 w 7"/>
                  <a:gd name="T13" fmla="*/ 0 h 6"/>
                  <a:gd name="T14" fmla="*/ 3 w 7"/>
                  <a:gd name="T15" fmla="*/ 0 h 6"/>
                  <a:gd name="T16" fmla="*/ 3 w 7"/>
                  <a:gd name="T17" fmla="*/ 0 h 6"/>
                  <a:gd name="T18" fmla="*/ 5 w 7"/>
                  <a:gd name="T19" fmla="*/ 0 h 6"/>
                  <a:gd name="T20" fmla="*/ 6 w 7"/>
                  <a:gd name="T21" fmla="*/ 2 h 6"/>
                  <a:gd name="T22" fmla="*/ 7 w 7"/>
                  <a:gd name="T23" fmla="*/ 5 h 6"/>
                  <a:gd name="T24" fmla="*/ 7 w 7"/>
                  <a:gd name="T25" fmla="*/ 5 h 6"/>
                  <a:gd name="T26" fmla="*/ 7 w 7"/>
                  <a:gd name="T27" fmla="*/ 6 h 6"/>
                  <a:gd name="T28" fmla="*/ 7 w 7"/>
                  <a:gd name="T29" fmla="*/ 6 h 6"/>
                  <a:gd name="T30" fmla="*/ 6 w 7"/>
                  <a:gd name="T3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" h="6">
                    <a:moveTo>
                      <a:pt x="6" y="6"/>
                    </a:moveTo>
                    <a:lnTo>
                      <a:pt x="6" y="6"/>
                    </a:lnTo>
                    <a:lnTo>
                      <a:pt x="3" y="5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6" y="2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0" name="Freeform 1513"/>
              <p:cNvSpPr>
                <a:spLocks/>
              </p:cNvSpPr>
              <p:nvPr/>
            </p:nvSpPr>
            <p:spPr bwMode="auto">
              <a:xfrm>
                <a:off x="7332035" y="3661400"/>
                <a:ext cx="6925" cy="5936"/>
              </a:xfrm>
              <a:custGeom>
                <a:avLst/>
                <a:gdLst>
                  <a:gd name="T0" fmla="*/ 6 w 7"/>
                  <a:gd name="T1" fmla="*/ 6 h 6"/>
                  <a:gd name="T2" fmla="*/ 6 w 7"/>
                  <a:gd name="T3" fmla="*/ 6 h 6"/>
                  <a:gd name="T4" fmla="*/ 3 w 7"/>
                  <a:gd name="T5" fmla="*/ 5 h 6"/>
                  <a:gd name="T6" fmla="*/ 0 w 7"/>
                  <a:gd name="T7" fmla="*/ 2 h 6"/>
                  <a:gd name="T8" fmla="*/ 0 w 7"/>
                  <a:gd name="T9" fmla="*/ 2 h 6"/>
                  <a:gd name="T10" fmla="*/ 2 w 7"/>
                  <a:gd name="T11" fmla="*/ 0 h 6"/>
                  <a:gd name="T12" fmla="*/ 2 w 7"/>
                  <a:gd name="T13" fmla="*/ 0 h 6"/>
                  <a:gd name="T14" fmla="*/ 3 w 7"/>
                  <a:gd name="T15" fmla="*/ 0 h 6"/>
                  <a:gd name="T16" fmla="*/ 3 w 7"/>
                  <a:gd name="T17" fmla="*/ 0 h 6"/>
                  <a:gd name="T18" fmla="*/ 5 w 7"/>
                  <a:gd name="T19" fmla="*/ 0 h 6"/>
                  <a:gd name="T20" fmla="*/ 6 w 7"/>
                  <a:gd name="T21" fmla="*/ 2 h 6"/>
                  <a:gd name="T22" fmla="*/ 7 w 7"/>
                  <a:gd name="T23" fmla="*/ 5 h 6"/>
                  <a:gd name="T24" fmla="*/ 7 w 7"/>
                  <a:gd name="T25" fmla="*/ 5 h 6"/>
                  <a:gd name="T26" fmla="*/ 7 w 7"/>
                  <a:gd name="T27" fmla="*/ 6 h 6"/>
                  <a:gd name="T28" fmla="*/ 7 w 7"/>
                  <a:gd name="T29" fmla="*/ 6 h 6"/>
                  <a:gd name="T30" fmla="*/ 6 w 7"/>
                  <a:gd name="T3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" h="6">
                    <a:moveTo>
                      <a:pt x="6" y="6"/>
                    </a:moveTo>
                    <a:lnTo>
                      <a:pt x="6" y="6"/>
                    </a:lnTo>
                    <a:lnTo>
                      <a:pt x="3" y="5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6" y="2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6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1" name="Freeform 1514"/>
              <p:cNvSpPr>
                <a:spLocks/>
              </p:cNvSpPr>
              <p:nvPr/>
            </p:nvSpPr>
            <p:spPr bwMode="auto">
              <a:xfrm>
                <a:off x="7239044" y="3456623"/>
                <a:ext cx="5936" cy="8903"/>
              </a:xfrm>
              <a:custGeom>
                <a:avLst/>
                <a:gdLst>
                  <a:gd name="T0" fmla="*/ 3 w 6"/>
                  <a:gd name="T1" fmla="*/ 9 h 9"/>
                  <a:gd name="T2" fmla="*/ 3 w 6"/>
                  <a:gd name="T3" fmla="*/ 9 h 9"/>
                  <a:gd name="T4" fmla="*/ 2 w 6"/>
                  <a:gd name="T5" fmla="*/ 7 h 9"/>
                  <a:gd name="T6" fmla="*/ 2 w 6"/>
                  <a:gd name="T7" fmla="*/ 7 h 9"/>
                  <a:gd name="T8" fmla="*/ 0 w 6"/>
                  <a:gd name="T9" fmla="*/ 6 h 9"/>
                  <a:gd name="T10" fmla="*/ 0 w 6"/>
                  <a:gd name="T11" fmla="*/ 6 h 9"/>
                  <a:gd name="T12" fmla="*/ 2 w 6"/>
                  <a:gd name="T13" fmla="*/ 3 h 9"/>
                  <a:gd name="T14" fmla="*/ 4 w 6"/>
                  <a:gd name="T15" fmla="*/ 0 h 9"/>
                  <a:gd name="T16" fmla="*/ 4 w 6"/>
                  <a:gd name="T17" fmla="*/ 0 h 9"/>
                  <a:gd name="T18" fmla="*/ 4 w 6"/>
                  <a:gd name="T19" fmla="*/ 2 h 9"/>
                  <a:gd name="T20" fmla="*/ 4 w 6"/>
                  <a:gd name="T21" fmla="*/ 2 h 9"/>
                  <a:gd name="T22" fmla="*/ 6 w 6"/>
                  <a:gd name="T23" fmla="*/ 4 h 9"/>
                  <a:gd name="T24" fmla="*/ 6 w 6"/>
                  <a:gd name="T25" fmla="*/ 4 h 9"/>
                  <a:gd name="T26" fmla="*/ 4 w 6"/>
                  <a:gd name="T27" fmla="*/ 7 h 9"/>
                  <a:gd name="T28" fmla="*/ 3 w 6"/>
                  <a:gd name="T2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" h="9">
                    <a:moveTo>
                      <a:pt x="3" y="9"/>
                    </a:moveTo>
                    <a:lnTo>
                      <a:pt x="3" y="9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7"/>
                    </a:lnTo>
                    <a:lnTo>
                      <a:pt x="3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2" name="Freeform 1515"/>
              <p:cNvSpPr>
                <a:spLocks/>
              </p:cNvSpPr>
              <p:nvPr/>
            </p:nvSpPr>
            <p:spPr bwMode="auto">
              <a:xfrm>
                <a:off x="7239044" y="3456623"/>
                <a:ext cx="5936" cy="8903"/>
              </a:xfrm>
              <a:custGeom>
                <a:avLst/>
                <a:gdLst>
                  <a:gd name="T0" fmla="*/ 3 w 6"/>
                  <a:gd name="T1" fmla="*/ 9 h 9"/>
                  <a:gd name="T2" fmla="*/ 3 w 6"/>
                  <a:gd name="T3" fmla="*/ 9 h 9"/>
                  <a:gd name="T4" fmla="*/ 2 w 6"/>
                  <a:gd name="T5" fmla="*/ 7 h 9"/>
                  <a:gd name="T6" fmla="*/ 2 w 6"/>
                  <a:gd name="T7" fmla="*/ 7 h 9"/>
                  <a:gd name="T8" fmla="*/ 0 w 6"/>
                  <a:gd name="T9" fmla="*/ 6 h 9"/>
                  <a:gd name="T10" fmla="*/ 0 w 6"/>
                  <a:gd name="T11" fmla="*/ 6 h 9"/>
                  <a:gd name="T12" fmla="*/ 2 w 6"/>
                  <a:gd name="T13" fmla="*/ 3 h 9"/>
                  <a:gd name="T14" fmla="*/ 4 w 6"/>
                  <a:gd name="T15" fmla="*/ 0 h 9"/>
                  <a:gd name="T16" fmla="*/ 4 w 6"/>
                  <a:gd name="T17" fmla="*/ 0 h 9"/>
                  <a:gd name="T18" fmla="*/ 4 w 6"/>
                  <a:gd name="T19" fmla="*/ 2 h 9"/>
                  <a:gd name="T20" fmla="*/ 4 w 6"/>
                  <a:gd name="T21" fmla="*/ 2 h 9"/>
                  <a:gd name="T22" fmla="*/ 6 w 6"/>
                  <a:gd name="T23" fmla="*/ 4 h 9"/>
                  <a:gd name="T24" fmla="*/ 6 w 6"/>
                  <a:gd name="T25" fmla="*/ 4 h 9"/>
                  <a:gd name="T26" fmla="*/ 4 w 6"/>
                  <a:gd name="T27" fmla="*/ 7 h 9"/>
                  <a:gd name="T28" fmla="*/ 3 w 6"/>
                  <a:gd name="T2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" h="9">
                    <a:moveTo>
                      <a:pt x="3" y="9"/>
                    </a:moveTo>
                    <a:lnTo>
                      <a:pt x="3" y="9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7"/>
                    </a:lnTo>
                    <a:lnTo>
                      <a:pt x="3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3" name="Freeform 1516"/>
              <p:cNvSpPr>
                <a:spLocks/>
              </p:cNvSpPr>
              <p:nvPr/>
            </p:nvSpPr>
            <p:spPr bwMode="auto">
              <a:xfrm>
                <a:off x="6952159" y="3473441"/>
                <a:ext cx="20774" cy="8903"/>
              </a:xfrm>
              <a:custGeom>
                <a:avLst/>
                <a:gdLst>
                  <a:gd name="T0" fmla="*/ 13 w 21"/>
                  <a:gd name="T1" fmla="*/ 9 h 9"/>
                  <a:gd name="T2" fmla="*/ 13 w 21"/>
                  <a:gd name="T3" fmla="*/ 9 h 9"/>
                  <a:gd name="T4" fmla="*/ 11 w 21"/>
                  <a:gd name="T5" fmla="*/ 9 h 9"/>
                  <a:gd name="T6" fmla="*/ 8 w 21"/>
                  <a:gd name="T7" fmla="*/ 8 h 9"/>
                  <a:gd name="T8" fmla="*/ 8 w 21"/>
                  <a:gd name="T9" fmla="*/ 8 h 9"/>
                  <a:gd name="T10" fmla="*/ 2 w 21"/>
                  <a:gd name="T11" fmla="*/ 3 h 9"/>
                  <a:gd name="T12" fmla="*/ 0 w 21"/>
                  <a:gd name="T13" fmla="*/ 0 h 9"/>
                  <a:gd name="T14" fmla="*/ 0 w 21"/>
                  <a:gd name="T15" fmla="*/ 0 h 9"/>
                  <a:gd name="T16" fmla="*/ 2 w 21"/>
                  <a:gd name="T17" fmla="*/ 0 h 9"/>
                  <a:gd name="T18" fmla="*/ 2 w 21"/>
                  <a:gd name="T19" fmla="*/ 0 h 9"/>
                  <a:gd name="T20" fmla="*/ 2 w 21"/>
                  <a:gd name="T21" fmla="*/ 0 h 9"/>
                  <a:gd name="T22" fmla="*/ 2 w 21"/>
                  <a:gd name="T23" fmla="*/ 0 h 9"/>
                  <a:gd name="T24" fmla="*/ 12 w 21"/>
                  <a:gd name="T25" fmla="*/ 2 h 9"/>
                  <a:gd name="T26" fmla="*/ 18 w 21"/>
                  <a:gd name="T27" fmla="*/ 5 h 9"/>
                  <a:gd name="T28" fmla="*/ 21 w 21"/>
                  <a:gd name="T29" fmla="*/ 6 h 9"/>
                  <a:gd name="T30" fmla="*/ 21 w 21"/>
                  <a:gd name="T31" fmla="*/ 6 h 9"/>
                  <a:gd name="T32" fmla="*/ 19 w 21"/>
                  <a:gd name="T33" fmla="*/ 8 h 9"/>
                  <a:gd name="T34" fmla="*/ 19 w 21"/>
                  <a:gd name="T35" fmla="*/ 8 h 9"/>
                  <a:gd name="T36" fmla="*/ 18 w 21"/>
                  <a:gd name="T37" fmla="*/ 9 h 9"/>
                  <a:gd name="T38" fmla="*/ 13 w 21"/>
                  <a:gd name="T3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" h="9">
                    <a:moveTo>
                      <a:pt x="13" y="9"/>
                    </a:moveTo>
                    <a:lnTo>
                      <a:pt x="13" y="9"/>
                    </a:lnTo>
                    <a:lnTo>
                      <a:pt x="11" y="9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2" y="2"/>
                    </a:lnTo>
                    <a:lnTo>
                      <a:pt x="18" y="5"/>
                    </a:lnTo>
                    <a:lnTo>
                      <a:pt x="21" y="6"/>
                    </a:lnTo>
                    <a:lnTo>
                      <a:pt x="21" y="6"/>
                    </a:lnTo>
                    <a:lnTo>
                      <a:pt x="19" y="8"/>
                    </a:lnTo>
                    <a:lnTo>
                      <a:pt x="19" y="8"/>
                    </a:lnTo>
                    <a:lnTo>
                      <a:pt x="18" y="9"/>
                    </a:lnTo>
                    <a:lnTo>
                      <a:pt x="13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4" name="Freeform 1517"/>
              <p:cNvSpPr>
                <a:spLocks/>
              </p:cNvSpPr>
              <p:nvPr/>
            </p:nvSpPr>
            <p:spPr bwMode="auto">
              <a:xfrm>
                <a:off x="6952159" y="3473441"/>
                <a:ext cx="20774" cy="8903"/>
              </a:xfrm>
              <a:custGeom>
                <a:avLst/>
                <a:gdLst>
                  <a:gd name="T0" fmla="*/ 13 w 21"/>
                  <a:gd name="T1" fmla="*/ 9 h 9"/>
                  <a:gd name="T2" fmla="*/ 13 w 21"/>
                  <a:gd name="T3" fmla="*/ 9 h 9"/>
                  <a:gd name="T4" fmla="*/ 11 w 21"/>
                  <a:gd name="T5" fmla="*/ 9 h 9"/>
                  <a:gd name="T6" fmla="*/ 8 w 21"/>
                  <a:gd name="T7" fmla="*/ 8 h 9"/>
                  <a:gd name="T8" fmla="*/ 8 w 21"/>
                  <a:gd name="T9" fmla="*/ 8 h 9"/>
                  <a:gd name="T10" fmla="*/ 2 w 21"/>
                  <a:gd name="T11" fmla="*/ 3 h 9"/>
                  <a:gd name="T12" fmla="*/ 0 w 21"/>
                  <a:gd name="T13" fmla="*/ 0 h 9"/>
                  <a:gd name="T14" fmla="*/ 0 w 21"/>
                  <a:gd name="T15" fmla="*/ 0 h 9"/>
                  <a:gd name="T16" fmla="*/ 2 w 21"/>
                  <a:gd name="T17" fmla="*/ 0 h 9"/>
                  <a:gd name="T18" fmla="*/ 2 w 21"/>
                  <a:gd name="T19" fmla="*/ 0 h 9"/>
                  <a:gd name="T20" fmla="*/ 2 w 21"/>
                  <a:gd name="T21" fmla="*/ 0 h 9"/>
                  <a:gd name="T22" fmla="*/ 2 w 21"/>
                  <a:gd name="T23" fmla="*/ 0 h 9"/>
                  <a:gd name="T24" fmla="*/ 12 w 21"/>
                  <a:gd name="T25" fmla="*/ 2 h 9"/>
                  <a:gd name="T26" fmla="*/ 18 w 21"/>
                  <a:gd name="T27" fmla="*/ 5 h 9"/>
                  <a:gd name="T28" fmla="*/ 21 w 21"/>
                  <a:gd name="T29" fmla="*/ 6 h 9"/>
                  <a:gd name="T30" fmla="*/ 21 w 21"/>
                  <a:gd name="T31" fmla="*/ 6 h 9"/>
                  <a:gd name="T32" fmla="*/ 19 w 21"/>
                  <a:gd name="T33" fmla="*/ 8 h 9"/>
                  <a:gd name="T34" fmla="*/ 19 w 21"/>
                  <a:gd name="T35" fmla="*/ 8 h 9"/>
                  <a:gd name="T36" fmla="*/ 18 w 21"/>
                  <a:gd name="T37" fmla="*/ 9 h 9"/>
                  <a:gd name="T38" fmla="*/ 13 w 21"/>
                  <a:gd name="T3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" h="9">
                    <a:moveTo>
                      <a:pt x="13" y="9"/>
                    </a:moveTo>
                    <a:lnTo>
                      <a:pt x="13" y="9"/>
                    </a:lnTo>
                    <a:lnTo>
                      <a:pt x="11" y="9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2" y="2"/>
                    </a:lnTo>
                    <a:lnTo>
                      <a:pt x="18" y="5"/>
                    </a:lnTo>
                    <a:lnTo>
                      <a:pt x="21" y="6"/>
                    </a:lnTo>
                    <a:lnTo>
                      <a:pt x="21" y="6"/>
                    </a:lnTo>
                    <a:lnTo>
                      <a:pt x="19" y="8"/>
                    </a:lnTo>
                    <a:lnTo>
                      <a:pt x="19" y="8"/>
                    </a:lnTo>
                    <a:lnTo>
                      <a:pt x="18" y="9"/>
                    </a:lnTo>
                    <a:lnTo>
                      <a:pt x="13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5" name="Freeform 1518"/>
              <p:cNvSpPr>
                <a:spLocks/>
              </p:cNvSpPr>
              <p:nvPr/>
            </p:nvSpPr>
            <p:spPr bwMode="auto">
              <a:xfrm>
                <a:off x="6988762" y="3492237"/>
                <a:ext cx="13850" cy="5936"/>
              </a:xfrm>
              <a:custGeom>
                <a:avLst/>
                <a:gdLst>
                  <a:gd name="T0" fmla="*/ 10 w 14"/>
                  <a:gd name="T1" fmla="*/ 6 h 6"/>
                  <a:gd name="T2" fmla="*/ 10 w 14"/>
                  <a:gd name="T3" fmla="*/ 6 h 6"/>
                  <a:gd name="T4" fmla="*/ 4 w 14"/>
                  <a:gd name="T5" fmla="*/ 5 h 6"/>
                  <a:gd name="T6" fmla="*/ 1 w 14"/>
                  <a:gd name="T7" fmla="*/ 3 h 6"/>
                  <a:gd name="T8" fmla="*/ 0 w 14"/>
                  <a:gd name="T9" fmla="*/ 2 h 6"/>
                  <a:gd name="T10" fmla="*/ 0 w 14"/>
                  <a:gd name="T11" fmla="*/ 2 h 6"/>
                  <a:gd name="T12" fmla="*/ 0 w 14"/>
                  <a:gd name="T13" fmla="*/ 2 h 6"/>
                  <a:gd name="T14" fmla="*/ 3 w 14"/>
                  <a:gd name="T15" fmla="*/ 2 h 6"/>
                  <a:gd name="T16" fmla="*/ 5 w 14"/>
                  <a:gd name="T17" fmla="*/ 0 h 6"/>
                  <a:gd name="T18" fmla="*/ 5 w 14"/>
                  <a:gd name="T19" fmla="*/ 0 h 6"/>
                  <a:gd name="T20" fmla="*/ 11 w 14"/>
                  <a:gd name="T21" fmla="*/ 2 h 6"/>
                  <a:gd name="T22" fmla="*/ 13 w 14"/>
                  <a:gd name="T23" fmla="*/ 3 h 6"/>
                  <a:gd name="T24" fmla="*/ 14 w 14"/>
                  <a:gd name="T25" fmla="*/ 5 h 6"/>
                  <a:gd name="T26" fmla="*/ 14 w 14"/>
                  <a:gd name="T27" fmla="*/ 5 h 6"/>
                  <a:gd name="T28" fmla="*/ 13 w 14"/>
                  <a:gd name="T29" fmla="*/ 5 h 6"/>
                  <a:gd name="T30" fmla="*/ 13 w 14"/>
                  <a:gd name="T31" fmla="*/ 5 h 6"/>
                  <a:gd name="T32" fmla="*/ 10 w 14"/>
                  <a:gd name="T3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6">
                    <a:moveTo>
                      <a:pt x="10" y="6"/>
                    </a:moveTo>
                    <a:lnTo>
                      <a:pt x="10" y="6"/>
                    </a:lnTo>
                    <a:lnTo>
                      <a:pt x="4" y="5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11" y="2"/>
                    </a:lnTo>
                    <a:lnTo>
                      <a:pt x="13" y="3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0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6" name="Freeform 1519"/>
              <p:cNvSpPr>
                <a:spLocks/>
              </p:cNvSpPr>
              <p:nvPr/>
            </p:nvSpPr>
            <p:spPr bwMode="auto">
              <a:xfrm>
                <a:off x="6988762" y="3492237"/>
                <a:ext cx="13850" cy="5936"/>
              </a:xfrm>
              <a:custGeom>
                <a:avLst/>
                <a:gdLst>
                  <a:gd name="T0" fmla="*/ 10 w 14"/>
                  <a:gd name="T1" fmla="*/ 6 h 6"/>
                  <a:gd name="T2" fmla="*/ 10 w 14"/>
                  <a:gd name="T3" fmla="*/ 6 h 6"/>
                  <a:gd name="T4" fmla="*/ 4 w 14"/>
                  <a:gd name="T5" fmla="*/ 5 h 6"/>
                  <a:gd name="T6" fmla="*/ 1 w 14"/>
                  <a:gd name="T7" fmla="*/ 3 h 6"/>
                  <a:gd name="T8" fmla="*/ 0 w 14"/>
                  <a:gd name="T9" fmla="*/ 2 h 6"/>
                  <a:gd name="T10" fmla="*/ 0 w 14"/>
                  <a:gd name="T11" fmla="*/ 2 h 6"/>
                  <a:gd name="T12" fmla="*/ 0 w 14"/>
                  <a:gd name="T13" fmla="*/ 2 h 6"/>
                  <a:gd name="T14" fmla="*/ 3 w 14"/>
                  <a:gd name="T15" fmla="*/ 2 h 6"/>
                  <a:gd name="T16" fmla="*/ 5 w 14"/>
                  <a:gd name="T17" fmla="*/ 0 h 6"/>
                  <a:gd name="T18" fmla="*/ 5 w 14"/>
                  <a:gd name="T19" fmla="*/ 0 h 6"/>
                  <a:gd name="T20" fmla="*/ 11 w 14"/>
                  <a:gd name="T21" fmla="*/ 2 h 6"/>
                  <a:gd name="T22" fmla="*/ 13 w 14"/>
                  <a:gd name="T23" fmla="*/ 3 h 6"/>
                  <a:gd name="T24" fmla="*/ 14 w 14"/>
                  <a:gd name="T25" fmla="*/ 5 h 6"/>
                  <a:gd name="T26" fmla="*/ 14 w 14"/>
                  <a:gd name="T27" fmla="*/ 5 h 6"/>
                  <a:gd name="T28" fmla="*/ 13 w 14"/>
                  <a:gd name="T29" fmla="*/ 5 h 6"/>
                  <a:gd name="T30" fmla="*/ 13 w 14"/>
                  <a:gd name="T31" fmla="*/ 5 h 6"/>
                  <a:gd name="T32" fmla="*/ 10 w 14"/>
                  <a:gd name="T3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6">
                    <a:moveTo>
                      <a:pt x="10" y="6"/>
                    </a:moveTo>
                    <a:lnTo>
                      <a:pt x="10" y="6"/>
                    </a:lnTo>
                    <a:lnTo>
                      <a:pt x="4" y="5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11" y="2"/>
                    </a:lnTo>
                    <a:lnTo>
                      <a:pt x="13" y="3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0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7" name="Freeform 1520"/>
              <p:cNvSpPr>
                <a:spLocks/>
              </p:cNvSpPr>
              <p:nvPr/>
            </p:nvSpPr>
            <p:spPr bwMode="auto">
              <a:xfrm>
                <a:off x="6934352" y="3443763"/>
                <a:ext cx="20774" cy="15828"/>
              </a:xfrm>
              <a:custGeom>
                <a:avLst/>
                <a:gdLst>
                  <a:gd name="T0" fmla="*/ 17 w 21"/>
                  <a:gd name="T1" fmla="*/ 16 h 16"/>
                  <a:gd name="T2" fmla="*/ 17 w 21"/>
                  <a:gd name="T3" fmla="*/ 16 h 16"/>
                  <a:gd name="T4" fmla="*/ 13 w 21"/>
                  <a:gd name="T5" fmla="*/ 15 h 16"/>
                  <a:gd name="T6" fmla="*/ 7 w 21"/>
                  <a:gd name="T7" fmla="*/ 10 h 16"/>
                  <a:gd name="T8" fmla="*/ 1 w 21"/>
                  <a:gd name="T9" fmla="*/ 6 h 16"/>
                  <a:gd name="T10" fmla="*/ 0 w 21"/>
                  <a:gd name="T11" fmla="*/ 2 h 16"/>
                  <a:gd name="T12" fmla="*/ 0 w 21"/>
                  <a:gd name="T13" fmla="*/ 2 h 16"/>
                  <a:gd name="T14" fmla="*/ 0 w 21"/>
                  <a:gd name="T15" fmla="*/ 2 h 16"/>
                  <a:gd name="T16" fmla="*/ 1 w 21"/>
                  <a:gd name="T17" fmla="*/ 0 h 16"/>
                  <a:gd name="T18" fmla="*/ 1 w 21"/>
                  <a:gd name="T19" fmla="*/ 0 h 16"/>
                  <a:gd name="T20" fmla="*/ 8 w 21"/>
                  <a:gd name="T21" fmla="*/ 2 h 16"/>
                  <a:gd name="T22" fmla="*/ 14 w 21"/>
                  <a:gd name="T23" fmla="*/ 4 h 16"/>
                  <a:gd name="T24" fmla="*/ 18 w 21"/>
                  <a:gd name="T25" fmla="*/ 7 h 16"/>
                  <a:gd name="T26" fmla="*/ 20 w 21"/>
                  <a:gd name="T27" fmla="*/ 10 h 16"/>
                  <a:gd name="T28" fmla="*/ 21 w 21"/>
                  <a:gd name="T29" fmla="*/ 12 h 16"/>
                  <a:gd name="T30" fmla="*/ 21 w 21"/>
                  <a:gd name="T31" fmla="*/ 12 h 16"/>
                  <a:gd name="T32" fmla="*/ 20 w 21"/>
                  <a:gd name="T33" fmla="*/ 15 h 16"/>
                  <a:gd name="T34" fmla="*/ 20 w 21"/>
                  <a:gd name="T35" fmla="*/ 15 h 16"/>
                  <a:gd name="T36" fmla="*/ 17 w 21"/>
                  <a:gd name="T3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1" h="16">
                    <a:moveTo>
                      <a:pt x="17" y="16"/>
                    </a:moveTo>
                    <a:lnTo>
                      <a:pt x="17" y="16"/>
                    </a:lnTo>
                    <a:lnTo>
                      <a:pt x="13" y="15"/>
                    </a:lnTo>
                    <a:lnTo>
                      <a:pt x="7" y="10"/>
                    </a:lnTo>
                    <a:lnTo>
                      <a:pt x="1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8" y="2"/>
                    </a:lnTo>
                    <a:lnTo>
                      <a:pt x="14" y="4"/>
                    </a:lnTo>
                    <a:lnTo>
                      <a:pt x="18" y="7"/>
                    </a:lnTo>
                    <a:lnTo>
                      <a:pt x="20" y="10"/>
                    </a:lnTo>
                    <a:lnTo>
                      <a:pt x="21" y="12"/>
                    </a:lnTo>
                    <a:lnTo>
                      <a:pt x="21" y="12"/>
                    </a:lnTo>
                    <a:lnTo>
                      <a:pt x="20" y="15"/>
                    </a:lnTo>
                    <a:lnTo>
                      <a:pt x="20" y="15"/>
                    </a:lnTo>
                    <a:lnTo>
                      <a:pt x="17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8" name="Freeform 1521"/>
              <p:cNvSpPr>
                <a:spLocks/>
              </p:cNvSpPr>
              <p:nvPr/>
            </p:nvSpPr>
            <p:spPr bwMode="auto">
              <a:xfrm>
                <a:off x="6934352" y="3443763"/>
                <a:ext cx="20774" cy="15828"/>
              </a:xfrm>
              <a:custGeom>
                <a:avLst/>
                <a:gdLst>
                  <a:gd name="T0" fmla="*/ 17 w 21"/>
                  <a:gd name="T1" fmla="*/ 16 h 16"/>
                  <a:gd name="T2" fmla="*/ 17 w 21"/>
                  <a:gd name="T3" fmla="*/ 16 h 16"/>
                  <a:gd name="T4" fmla="*/ 13 w 21"/>
                  <a:gd name="T5" fmla="*/ 15 h 16"/>
                  <a:gd name="T6" fmla="*/ 7 w 21"/>
                  <a:gd name="T7" fmla="*/ 10 h 16"/>
                  <a:gd name="T8" fmla="*/ 1 w 21"/>
                  <a:gd name="T9" fmla="*/ 6 h 16"/>
                  <a:gd name="T10" fmla="*/ 0 w 21"/>
                  <a:gd name="T11" fmla="*/ 2 h 16"/>
                  <a:gd name="T12" fmla="*/ 0 w 21"/>
                  <a:gd name="T13" fmla="*/ 2 h 16"/>
                  <a:gd name="T14" fmla="*/ 0 w 21"/>
                  <a:gd name="T15" fmla="*/ 2 h 16"/>
                  <a:gd name="T16" fmla="*/ 1 w 21"/>
                  <a:gd name="T17" fmla="*/ 0 h 16"/>
                  <a:gd name="T18" fmla="*/ 1 w 21"/>
                  <a:gd name="T19" fmla="*/ 0 h 16"/>
                  <a:gd name="T20" fmla="*/ 8 w 21"/>
                  <a:gd name="T21" fmla="*/ 2 h 16"/>
                  <a:gd name="T22" fmla="*/ 14 w 21"/>
                  <a:gd name="T23" fmla="*/ 4 h 16"/>
                  <a:gd name="T24" fmla="*/ 18 w 21"/>
                  <a:gd name="T25" fmla="*/ 7 h 16"/>
                  <a:gd name="T26" fmla="*/ 20 w 21"/>
                  <a:gd name="T27" fmla="*/ 10 h 16"/>
                  <a:gd name="T28" fmla="*/ 21 w 21"/>
                  <a:gd name="T29" fmla="*/ 12 h 16"/>
                  <a:gd name="T30" fmla="*/ 21 w 21"/>
                  <a:gd name="T31" fmla="*/ 12 h 16"/>
                  <a:gd name="T32" fmla="*/ 20 w 21"/>
                  <a:gd name="T33" fmla="*/ 15 h 16"/>
                  <a:gd name="T34" fmla="*/ 20 w 21"/>
                  <a:gd name="T35" fmla="*/ 15 h 16"/>
                  <a:gd name="T36" fmla="*/ 17 w 21"/>
                  <a:gd name="T3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1" h="16">
                    <a:moveTo>
                      <a:pt x="17" y="16"/>
                    </a:moveTo>
                    <a:lnTo>
                      <a:pt x="17" y="16"/>
                    </a:lnTo>
                    <a:lnTo>
                      <a:pt x="13" y="15"/>
                    </a:lnTo>
                    <a:lnTo>
                      <a:pt x="7" y="10"/>
                    </a:lnTo>
                    <a:lnTo>
                      <a:pt x="1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8" y="2"/>
                    </a:lnTo>
                    <a:lnTo>
                      <a:pt x="14" y="4"/>
                    </a:lnTo>
                    <a:lnTo>
                      <a:pt x="18" y="7"/>
                    </a:lnTo>
                    <a:lnTo>
                      <a:pt x="20" y="10"/>
                    </a:lnTo>
                    <a:lnTo>
                      <a:pt x="21" y="12"/>
                    </a:lnTo>
                    <a:lnTo>
                      <a:pt x="21" y="12"/>
                    </a:lnTo>
                    <a:lnTo>
                      <a:pt x="20" y="15"/>
                    </a:lnTo>
                    <a:lnTo>
                      <a:pt x="20" y="15"/>
                    </a:lnTo>
                    <a:lnTo>
                      <a:pt x="17" y="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9" name="Freeform 1522"/>
              <p:cNvSpPr>
                <a:spLocks/>
              </p:cNvSpPr>
              <p:nvPr/>
            </p:nvSpPr>
            <p:spPr bwMode="auto">
              <a:xfrm>
                <a:off x="7076806" y="3333955"/>
                <a:ext cx="10882" cy="6925"/>
              </a:xfrm>
              <a:custGeom>
                <a:avLst/>
                <a:gdLst>
                  <a:gd name="T0" fmla="*/ 8 w 11"/>
                  <a:gd name="T1" fmla="*/ 7 h 7"/>
                  <a:gd name="T2" fmla="*/ 8 w 11"/>
                  <a:gd name="T3" fmla="*/ 7 h 7"/>
                  <a:gd name="T4" fmla="*/ 3 w 11"/>
                  <a:gd name="T5" fmla="*/ 5 h 7"/>
                  <a:gd name="T6" fmla="*/ 0 w 11"/>
                  <a:gd name="T7" fmla="*/ 5 h 7"/>
                  <a:gd name="T8" fmla="*/ 0 w 11"/>
                  <a:gd name="T9" fmla="*/ 5 h 7"/>
                  <a:gd name="T10" fmla="*/ 0 w 11"/>
                  <a:gd name="T11" fmla="*/ 4 h 7"/>
                  <a:gd name="T12" fmla="*/ 0 w 11"/>
                  <a:gd name="T13" fmla="*/ 4 h 7"/>
                  <a:gd name="T14" fmla="*/ 2 w 11"/>
                  <a:gd name="T15" fmla="*/ 1 h 7"/>
                  <a:gd name="T16" fmla="*/ 5 w 11"/>
                  <a:gd name="T17" fmla="*/ 0 h 7"/>
                  <a:gd name="T18" fmla="*/ 5 w 11"/>
                  <a:gd name="T19" fmla="*/ 0 h 7"/>
                  <a:gd name="T20" fmla="*/ 5 w 11"/>
                  <a:gd name="T21" fmla="*/ 0 h 7"/>
                  <a:gd name="T22" fmla="*/ 5 w 11"/>
                  <a:gd name="T23" fmla="*/ 0 h 7"/>
                  <a:gd name="T24" fmla="*/ 9 w 11"/>
                  <a:gd name="T25" fmla="*/ 1 h 7"/>
                  <a:gd name="T26" fmla="*/ 11 w 11"/>
                  <a:gd name="T27" fmla="*/ 5 h 7"/>
                  <a:gd name="T28" fmla="*/ 11 w 11"/>
                  <a:gd name="T29" fmla="*/ 5 h 7"/>
                  <a:gd name="T30" fmla="*/ 11 w 11"/>
                  <a:gd name="T31" fmla="*/ 5 h 7"/>
                  <a:gd name="T32" fmla="*/ 11 w 11"/>
                  <a:gd name="T33" fmla="*/ 5 h 7"/>
                  <a:gd name="T34" fmla="*/ 8 w 11"/>
                  <a:gd name="T3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" h="7">
                    <a:moveTo>
                      <a:pt x="8" y="7"/>
                    </a:moveTo>
                    <a:lnTo>
                      <a:pt x="8" y="7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8" y="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70" name="Freeform 1523"/>
              <p:cNvSpPr>
                <a:spLocks/>
              </p:cNvSpPr>
              <p:nvPr/>
            </p:nvSpPr>
            <p:spPr bwMode="auto">
              <a:xfrm>
                <a:off x="7076806" y="3333955"/>
                <a:ext cx="10882" cy="6925"/>
              </a:xfrm>
              <a:custGeom>
                <a:avLst/>
                <a:gdLst>
                  <a:gd name="T0" fmla="*/ 8 w 11"/>
                  <a:gd name="T1" fmla="*/ 7 h 7"/>
                  <a:gd name="T2" fmla="*/ 8 w 11"/>
                  <a:gd name="T3" fmla="*/ 7 h 7"/>
                  <a:gd name="T4" fmla="*/ 3 w 11"/>
                  <a:gd name="T5" fmla="*/ 5 h 7"/>
                  <a:gd name="T6" fmla="*/ 0 w 11"/>
                  <a:gd name="T7" fmla="*/ 5 h 7"/>
                  <a:gd name="T8" fmla="*/ 0 w 11"/>
                  <a:gd name="T9" fmla="*/ 5 h 7"/>
                  <a:gd name="T10" fmla="*/ 0 w 11"/>
                  <a:gd name="T11" fmla="*/ 4 h 7"/>
                  <a:gd name="T12" fmla="*/ 0 w 11"/>
                  <a:gd name="T13" fmla="*/ 4 h 7"/>
                  <a:gd name="T14" fmla="*/ 2 w 11"/>
                  <a:gd name="T15" fmla="*/ 1 h 7"/>
                  <a:gd name="T16" fmla="*/ 5 w 11"/>
                  <a:gd name="T17" fmla="*/ 0 h 7"/>
                  <a:gd name="T18" fmla="*/ 5 w 11"/>
                  <a:gd name="T19" fmla="*/ 0 h 7"/>
                  <a:gd name="T20" fmla="*/ 5 w 11"/>
                  <a:gd name="T21" fmla="*/ 0 h 7"/>
                  <a:gd name="T22" fmla="*/ 5 w 11"/>
                  <a:gd name="T23" fmla="*/ 0 h 7"/>
                  <a:gd name="T24" fmla="*/ 9 w 11"/>
                  <a:gd name="T25" fmla="*/ 1 h 7"/>
                  <a:gd name="T26" fmla="*/ 11 w 11"/>
                  <a:gd name="T27" fmla="*/ 5 h 7"/>
                  <a:gd name="T28" fmla="*/ 11 w 11"/>
                  <a:gd name="T29" fmla="*/ 5 h 7"/>
                  <a:gd name="T30" fmla="*/ 11 w 11"/>
                  <a:gd name="T31" fmla="*/ 5 h 7"/>
                  <a:gd name="T32" fmla="*/ 11 w 11"/>
                  <a:gd name="T33" fmla="*/ 5 h 7"/>
                  <a:gd name="T34" fmla="*/ 8 w 11"/>
                  <a:gd name="T3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" h="7">
                    <a:moveTo>
                      <a:pt x="8" y="7"/>
                    </a:moveTo>
                    <a:lnTo>
                      <a:pt x="8" y="7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8" y="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71" name="Freeform 1524"/>
              <p:cNvSpPr>
                <a:spLocks/>
              </p:cNvSpPr>
              <p:nvPr/>
            </p:nvSpPr>
            <p:spPr bwMode="auto">
              <a:xfrm>
                <a:off x="7151989" y="3319116"/>
                <a:ext cx="3957" cy="2968"/>
              </a:xfrm>
              <a:custGeom>
                <a:avLst/>
                <a:gdLst>
                  <a:gd name="T0" fmla="*/ 3 w 4"/>
                  <a:gd name="T1" fmla="*/ 3 h 3"/>
                  <a:gd name="T2" fmla="*/ 3 w 4"/>
                  <a:gd name="T3" fmla="*/ 3 h 3"/>
                  <a:gd name="T4" fmla="*/ 1 w 4"/>
                  <a:gd name="T5" fmla="*/ 3 h 3"/>
                  <a:gd name="T6" fmla="*/ 0 w 4"/>
                  <a:gd name="T7" fmla="*/ 1 h 3"/>
                  <a:gd name="T8" fmla="*/ 0 w 4"/>
                  <a:gd name="T9" fmla="*/ 1 h 3"/>
                  <a:gd name="T10" fmla="*/ 0 w 4"/>
                  <a:gd name="T11" fmla="*/ 0 h 3"/>
                  <a:gd name="T12" fmla="*/ 0 w 4"/>
                  <a:gd name="T13" fmla="*/ 0 h 3"/>
                  <a:gd name="T14" fmla="*/ 3 w 4"/>
                  <a:gd name="T15" fmla="*/ 0 h 3"/>
                  <a:gd name="T16" fmla="*/ 3 w 4"/>
                  <a:gd name="T17" fmla="*/ 0 h 3"/>
                  <a:gd name="T18" fmla="*/ 4 w 4"/>
                  <a:gd name="T19" fmla="*/ 0 h 3"/>
                  <a:gd name="T20" fmla="*/ 4 w 4"/>
                  <a:gd name="T21" fmla="*/ 1 h 3"/>
                  <a:gd name="T22" fmla="*/ 4 w 4"/>
                  <a:gd name="T23" fmla="*/ 1 h 3"/>
                  <a:gd name="T24" fmla="*/ 4 w 4"/>
                  <a:gd name="T25" fmla="*/ 3 h 3"/>
                  <a:gd name="T26" fmla="*/ 4 w 4"/>
                  <a:gd name="T27" fmla="*/ 3 h 3"/>
                  <a:gd name="T28" fmla="*/ 3 w 4"/>
                  <a:gd name="T2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" h="3">
                    <a:moveTo>
                      <a:pt x="3" y="3"/>
                    </a:moveTo>
                    <a:lnTo>
                      <a:pt x="3" y="3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72" name="Freeform 1525"/>
              <p:cNvSpPr>
                <a:spLocks/>
              </p:cNvSpPr>
              <p:nvPr/>
            </p:nvSpPr>
            <p:spPr bwMode="auto">
              <a:xfrm>
                <a:off x="7151989" y="3319116"/>
                <a:ext cx="3957" cy="2968"/>
              </a:xfrm>
              <a:custGeom>
                <a:avLst/>
                <a:gdLst>
                  <a:gd name="T0" fmla="*/ 3 w 4"/>
                  <a:gd name="T1" fmla="*/ 3 h 3"/>
                  <a:gd name="T2" fmla="*/ 3 w 4"/>
                  <a:gd name="T3" fmla="*/ 3 h 3"/>
                  <a:gd name="T4" fmla="*/ 1 w 4"/>
                  <a:gd name="T5" fmla="*/ 3 h 3"/>
                  <a:gd name="T6" fmla="*/ 0 w 4"/>
                  <a:gd name="T7" fmla="*/ 1 h 3"/>
                  <a:gd name="T8" fmla="*/ 0 w 4"/>
                  <a:gd name="T9" fmla="*/ 1 h 3"/>
                  <a:gd name="T10" fmla="*/ 0 w 4"/>
                  <a:gd name="T11" fmla="*/ 0 h 3"/>
                  <a:gd name="T12" fmla="*/ 0 w 4"/>
                  <a:gd name="T13" fmla="*/ 0 h 3"/>
                  <a:gd name="T14" fmla="*/ 3 w 4"/>
                  <a:gd name="T15" fmla="*/ 0 h 3"/>
                  <a:gd name="T16" fmla="*/ 3 w 4"/>
                  <a:gd name="T17" fmla="*/ 0 h 3"/>
                  <a:gd name="T18" fmla="*/ 4 w 4"/>
                  <a:gd name="T19" fmla="*/ 0 h 3"/>
                  <a:gd name="T20" fmla="*/ 4 w 4"/>
                  <a:gd name="T21" fmla="*/ 1 h 3"/>
                  <a:gd name="T22" fmla="*/ 4 w 4"/>
                  <a:gd name="T23" fmla="*/ 1 h 3"/>
                  <a:gd name="T24" fmla="*/ 4 w 4"/>
                  <a:gd name="T25" fmla="*/ 3 h 3"/>
                  <a:gd name="T26" fmla="*/ 4 w 4"/>
                  <a:gd name="T27" fmla="*/ 3 h 3"/>
                  <a:gd name="T28" fmla="*/ 3 w 4"/>
                  <a:gd name="T2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" h="3">
                    <a:moveTo>
                      <a:pt x="3" y="3"/>
                    </a:moveTo>
                    <a:lnTo>
                      <a:pt x="3" y="3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3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73" name="Freeform 1526"/>
              <p:cNvSpPr>
                <a:spLocks/>
              </p:cNvSpPr>
              <p:nvPr/>
            </p:nvSpPr>
            <p:spPr bwMode="auto">
              <a:xfrm>
                <a:off x="7089666" y="3197437"/>
                <a:ext cx="7914" cy="5936"/>
              </a:xfrm>
              <a:custGeom>
                <a:avLst/>
                <a:gdLst>
                  <a:gd name="T0" fmla="*/ 6 w 8"/>
                  <a:gd name="T1" fmla="*/ 6 h 6"/>
                  <a:gd name="T2" fmla="*/ 6 w 8"/>
                  <a:gd name="T3" fmla="*/ 6 h 6"/>
                  <a:gd name="T4" fmla="*/ 5 w 8"/>
                  <a:gd name="T5" fmla="*/ 6 h 6"/>
                  <a:gd name="T6" fmla="*/ 5 w 8"/>
                  <a:gd name="T7" fmla="*/ 6 h 6"/>
                  <a:gd name="T8" fmla="*/ 2 w 8"/>
                  <a:gd name="T9" fmla="*/ 4 h 6"/>
                  <a:gd name="T10" fmla="*/ 0 w 8"/>
                  <a:gd name="T11" fmla="*/ 1 h 6"/>
                  <a:gd name="T12" fmla="*/ 0 w 8"/>
                  <a:gd name="T13" fmla="*/ 1 h 6"/>
                  <a:gd name="T14" fmla="*/ 0 w 8"/>
                  <a:gd name="T15" fmla="*/ 0 h 6"/>
                  <a:gd name="T16" fmla="*/ 0 w 8"/>
                  <a:gd name="T17" fmla="*/ 0 h 6"/>
                  <a:gd name="T18" fmla="*/ 6 w 8"/>
                  <a:gd name="T19" fmla="*/ 0 h 6"/>
                  <a:gd name="T20" fmla="*/ 6 w 8"/>
                  <a:gd name="T21" fmla="*/ 0 h 6"/>
                  <a:gd name="T22" fmla="*/ 8 w 8"/>
                  <a:gd name="T23" fmla="*/ 0 h 6"/>
                  <a:gd name="T24" fmla="*/ 8 w 8"/>
                  <a:gd name="T25" fmla="*/ 1 h 6"/>
                  <a:gd name="T26" fmla="*/ 8 w 8"/>
                  <a:gd name="T27" fmla="*/ 1 h 6"/>
                  <a:gd name="T28" fmla="*/ 8 w 8"/>
                  <a:gd name="T29" fmla="*/ 1 h 6"/>
                  <a:gd name="T30" fmla="*/ 8 w 8"/>
                  <a:gd name="T31" fmla="*/ 4 h 6"/>
                  <a:gd name="T32" fmla="*/ 6 w 8"/>
                  <a:gd name="T3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6">
                    <a:moveTo>
                      <a:pt x="6" y="6"/>
                    </a:moveTo>
                    <a:lnTo>
                      <a:pt x="6" y="6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2" y="4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4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74" name="Freeform 1527"/>
              <p:cNvSpPr>
                <a:spLocks/>
              </p:cNvSpPr>
              <p:nvPr/>
            </p:nvSpPr>
            <p:spPr bwMode="auto">
              <a:xfrm>
                <a:off x="7089666" y="3197437"/>
                <a:ext cx="7914" cy="5936"/>
              </a:xfrm>
              <a:custGeom>
                <a:avLst/>
                <a:gdLst>
                  <a:gd name="T0" fmla="*/ 6 w 8"/>
                  <a:gd name="T1" fmla="*/ 6 h 6"/>
                  <a:gd name="T2" fmla="*/ 6 w 8"/>
                  <a:gd name="T3" fmla="*/ 6 h 6"/>
                  <a:gd name="T4" fmla="*/ 5 w 8"/>
                  <a:gd name="T5" fmla="*/ 6 h 6"/>
                  <a:gd name="T6" fmla="*/ 5 w 8"/>
                  <a:gd name="T7" fmla="*/ 6 h 6"/>
                  <a:gd name="T8" fmla="*/ 2 w 8"/>
                  <a:gd name="T9" fmla="*/ 4 h 6"/>
                  <a:gd name="T10" fmla="*/ 0 w 8"/>
                  <a:gd name="T11" fmla="*/ 1 h 6"/>
                  <a:gd name="T12" fmla="*/ 0 w 8"/>
                  <a:gd name="T13" fmla="*/ 1 h 6"/>
                  <a:gd name="T14" fmla="*/ 0 w 8"/>
                  <a:gd name="T15" fmla="*/ 0 h 6"/>
                  <a:gd name="T16" fmla="*/ 0 w 8"/>
                  <a:gd name="T17" fmla="*/ 0 h 6"/>
                  <a:gd name="T18" fmla="*/ 6 w 8"/>
                  <a:gd name="T19" fmla="*/ 0 h 6"/>
                  <a:gd name="T20" fmla="*/ 6 w 8"/>
                  <a:gd name="T21" fmla="*/ 0 h 6"/>
                  <a:gd name="T22" fmla="*/ 8 w 8"/>
                  <a:gd name="T23" fmla="*/ 0 h 6"/>
                  <a:gd name="T24" fmla="*/ 8 w 8"/>
                  <a:gd name="T25" fmla="*/ 1 h 6"/>
                  <a:gd name="T26" fmla="*/ 8 w 8"/>
                  <a:gd name="T27" fmla="*/ 1 h 6"/>
                  <a:gd name="T28" fmla="*/ 8 w 8"/>
                  <a:gd name="T29" fmla="*/ 1 h 6"/>
                  <a:gd name="T30" fmla="*/ 8 w 8"/>
                  <a:gd name="T31" fmla="*/ 4 h 6"/>
                  <a:gd name="T32" fmla="*/ 6 w 8"/>
                  <a:gd name="T3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6">
                    <a:moveTo>
                      <a:pt x="6" y="6"/>
                    </a:moveTo>
                    <a:lnTo>
                      <a:pt x="6" y="6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2" y="4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4"/>
                    </a:lnTo>
                    <a:lnTo>
                      <a:pt x="6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75" name="Freeform 1528"/>
              <p:cNvSpPr>
                <a:spLocks/>
              </p:cNvSpPr>
              <p:nvPr/>
            </p:nvSpPr>
            <p:spPr bwMode="auto">
              <a:xfrm>
                <a:off x="7123301" y="3213265"/>
                <a:ext cx="9893" cy="6925"/>
              </a:xfrm>
              <a:custGeom>
                <a:avLst/>
                <a:gdLst>
                  <a:gd name="T0" fmla="*/ 6 w 10"/>
                  <a:gd name="T1" fmla="*/ 7 h 7"/>
                  <a:gd name="T2" fmla="*/ 6 w 10"/>
                  <a:gd name="T3" fmla="*/ 7 h 7"/>
                  <a:gd name="T4" fmla="*/ 4 w 10"/>
                  <a:gd name="T5" fmla="*/ 7 h 7"/>
                  <a:gd name="T6" fmla="*/ 1 w 10"/>
                  <a:gd name="T7" fmla="*/ 4 h 7"/>
                  <a:gd name="T8" fmla="*/ 1 w 10"/>
                  <a:gd name="T9" fmla="*/ 4 h 7"/>
                  <a:gd name="T10" fmla="*/ 0 w 10"/>
                  <a:gd name="T11" fmla="*/ 3 h 7"/>
                  <a:gd name="T12" fmla="*/ 0 w 10"/>
                  <a:gd name="T13" fmla="*/ 3 h 7"/>
                  <a:gd name="T14" fmla="*/ 1 w 10"/>
                  <a:gd name="T15" fmla="*/ 0 h 7"/>
                  <a:gd name="T16" fmla="*/ 4 w 10"/>
                  <a:gd name="T17" fmla="*/ 0 h 7"/>
                  <a:gd name="T18" fmla="*/ 4 w 10"/>
                  <a:gd name="T19" fmla="*/ 0 h 7"/>
                  <a:gd name="T20" fmla="*/ 7 w 10"/>
                  <a:gd name="T21" fmla="*/ 1 h 7"/>
                  <a:gd name="T22" fmla="*/ 10 w 10"/>
                  <a:gd name="T23" fmla="*/ 3 h 7"/>
                  <a:gd name="T24" fmla="*/ 10 w 10"/>
                  <a:gd name="T25" fmla="*/ 3 h 7"/>
                  <a:gd name="T26" fmla="*/ 10 w 10"/>
                  <a:gd name="T27" fmla="*/ 4 h 7"/>
                  <a:gd name="T28" fmla="*/ 10 w 10"/>
                  <a:gd name="T29" fmla="*/ 4 h 7"/>
                  <a:gd name="T30" fmla="*/ 8 w 10"/>
                  <a:gd name="T31" fmla="*/ 6 h 7"/>
                  <a:gd name="T32" fmla="*/ 6 w 10"/>
                  <a:gd name="T3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7">
                    <a:moveTo>
                      <a:pt x="6" y="7"/>
                    </a:moveTo>
                    <a:lnTo>
                      <a:pt x="6" y="7"/>
                    </a:lnTo>
                    <a:lnTo>
                      <a:pt x="4" y="7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7" y="1"/>
                    </a:lnTo>
                    <a:lnTo>
                      <a:pt x="10" y="3"/>
                    </a:lnTo>
                    <a:lnTo>
                      <a:pt x="10" y="3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6"/>
                    </a:lnTo>
                    <a:lnTo>
                      <a:pt x="6" y="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76" name="Freeform 1529"/>
              <p:cNvSpPr>
                <a:spLocks/>
              </p:cNvSpPr>
              <p:nvPr/>
            </p:nvSpPr>
            <p:spPr bwMode="auto">
              <a:xfrm>
                <a:off x="7123301" y="3213265"/>
                <a:ext cx="9893" cy="6925"/>
              </a:xfrm>
              <a:custGeom>
                <a:avLst/>
                <a:gdLst>
                  <a:gd name="T0" fmla="*/ 6 w 10"/>
                  <a:gd name="T1" fmla="*/ 7 h 7"/>
                  <a:gd name="T2" fmla="*/ 6 w 10"/>
                  <a:gd name="T3" fmla="*/ 7 h 7"/>
                  <a:gd name="T4" fmla="*/ 4 w 10"/>
                  <a:gd name="T5" fmla="*/ 7 h 7"/>
                  <a:gd name="T6" fmla="*/ 1 w 10"/>
                  <a:gd name="T7" fmla="*/ 4 h 7"/>
                  <a:gd name="T8" fmla="*/ 1 w 10"/>
                  <a:gd name="T9" fmla="*/ 4 h 7"/>
                  <a:gd name="T10" fmla="*/ 0 w 10"/>
                  <a:gd name="T11" fmla="*/ 3 h 7"/>
                  <a:gd name="T12" fmla="*/ 0 w 10"/>
                  <a:gd name="T13" fmla="*/ 3 h 7"/>
                  <a:gd name="T14" fmla="*/ 1 w 10"/>
                  <a:gd name="T15" fmla="*/ 0 h 7"/>
                  <a:gd name="T16" fmla="*/ 4 w 10"/>
                  <a:gd name="T17" fmla="*/ 0 h 7"/>
                  <a:gd name="T18" fmla="*/ 4 w 10"/>
                  <a:gd name="T19" fmla="*/ 0 h 7"/>
                  <a:gd name="T20" fmla="*/ 7 w 10"/>
                  <a:gd name="T21" fmla="*/ 1 h 7"/>
                  <a:gd name="T22" fmla="*/ 10 w 10"/>
                  <a:gd name="T23" fmla="*/ 3 h 7"/>
                  <a:gd name="T24" fmla="*/ 10 w 10"/>
                  <a:gd name="T25" fmla="*/ 3 h 7"/>
                  <a:gd name="T26" fmla="*/ 10 w 10"/>
                  <a:gd name="T27" fmla="*/ 4 h 7"/>
                  <a:gd name="T28" fmla="*/ 10 w 10"/>
                  <a:gd name="T29" fmla="*/ 4 h 7"/>
                  <a:gd name="T30" fmla="*/ 8 w 10"/>
                  <a:gd name="T31" fmla="*/ 6 h 7"/>
                  <a:gd name="T32" fmla="*/ 6 w 10"/>
                  <a:gd name="T3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7">
                    <a:moveTo>
                      <a:pt x="6" y="7"/>
                    </a:moveTo>
                    <a:lnTo>
                      <a:pt x="6" y="7"/>
                    </a:lnTo>
                    <a:lnTo>
                      <a:pt x="4" y="7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7" y="1"/>
                    </a:lnTo>
                    <a:lnTo>
                      <a:pt x="10" y="3"/>
                    </a:lnTo>
                    <a:lnTo>
                      <a:pt x="10" y="3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6"/>
                    </a:lnTo>
                    <a:lnTo>
                      <a:pt x="6" y="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77" name="Freeform 1530"/>
              <p:cNvSpPr>
                <a:spLocks/>
              </p:cNvSpPr>
              <p:nvPr/>
            </p:nvSpPr>
            <p:spPr bwMode="auto">
              <a:xfrm>
                <a:off x="6718694" y="3111372"/>
                <a:ext cx="4946" cy="3957"/>
              </a:xfrm>
              <a:custGeom>
                <a:avLst/>
                <a:gdLst>
                  <a:gd name="T0" fmla="*/ 3 w 5"/>
                  <a:gd name="T1" fmla="*/ 4 h 4"/>
                  <a:gd name="T2" fmla="*/ 3 w 5"/>
                  <a:gd name="T3" fmla="*/ 4 h 4"/>
                  <a:gd name="T4" fmla="*/ 2 w 5"/>
                  <a:gd name="T5" fmla="*/ 4 h 4"/>
                  <a:gd name="T6" fmla="*/ 0 w 5"/>
                  <a:gd name="T7" fmla="*/ 1 h 4"/>
                  <a:gd name="T8" fmla="*/ 0 w 5"/>
                  <a:gd name="T9" fmla="*/ 1 h 4"/>
                  <a:gd name="T10" fmla="*/ 2 w 5"/>
                  <a:gd name="T11" fmla="*/ 0 h 4"/>
                  <a:gd name="T12" fmla="*/ 2 w 5"/>
                  <a:gd name="T13" fmla="*/ 0 h 4"/>
                  <a:gd name="T14" fmla="*/ 3 w 5"/>
                  <a:gd name="T15" fmla="*/ 0 h 4"/>
                  <a:gd name="T16" fmla="*/ 3 w 5"/>
                  <a:gd name="T17" fmla="*/ 0 h 4"/>
                  <a:gd name="T18" fmla="*/ 5 w 5"/>
                  <a:gd name="T19" fmla="*/ 0 h 4"/>
                  <a:gd name="T20" fmla="*/ 5 w 5"/>
                  <a:gd name="T21" fmla="*/ 1 h 4"/>
                  <a:gd name="T22" fmla="*/ 5 w 5"/>
                  <a:gd name="T23" fmla="*/ 1 h 4"/>
                  <a:gd name="T24" fmla="*/ 3 w 5"/>
                  <a:gd name="T25" fmla="*/ 4 h 4"/>
                  <a:gd name="T26" fmla="*/ 3 w 5"/>
                  <a:gd name="T27" fmla="*/ 4 h 4"/>
                  <a:gd name="T28" fmla="*/ 3 w 5"/>
                  <a:gd name="T2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" h="4">
                    <a:moveTo>
                      <a:pt x="3" y="4"/>
                    </a:moveTo>
                    <a:lnTo>
                      <a:pt x="3" y="4"/>
                    </a:lnTo>
                    <a:lnTo>
                      <a:pt x="2" y="4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5" y="1"/>
                    </a:lnTo>
                    <a:lnTo>
                      <a:pt x="5" y="1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78" name="Freeform 1531"/>
              <p:cNvSpPr>
                <a:spLocks/>
              </p:cNvSpPr>
              <p:nvPr/>
            </p:nvSpPr>
            <p:spPr bwMode="auto">
              <a:xfrm>
                <a:off x="6718694" y="3111372"/>
                <a:ext cx="4946" cy="3957"/>
              </a:xfrm>
              <a:custGeom>
                <a:avLst/>
                <a:gdLst>
                  <a:gd name="T0" fmla="*/ 3 w 5"/>
                  <a:gd name="T1" fmla="*/ 4 h 4"/>
                  <a:gd name="T2" fmla="*/ 3 w 5"/>
                  <a:gd name="T3" fmla="*/ 4 h 4"/>
                  <a:gd name="T4" fmla="*/ 2 w 5"/>
                  <a:gd name="T5" fmla="*/ 4 h 4"/>
                  <a:gd name="T6" fmla="*/ 0 w 5"/>
                  <a:gd name="T7" fmla="*/ 1 h 4"/>
                  <a:gd name="T8" fmla="*/ 0 w 5"/>
                  <a:gd name="T9" fmla="*/ 1 h 4"/>
                  <a:gd name="T10" fmla="*/ 2 w 5"/>
                  <a:gd name="T11" fmla="*/ 0 h 4"/>
                  <a:gd name="T12" fmla="*/ 2 w 5"/>
                  <a:gd name="T13" fmla="*/ 0 h 4"/>
                  <a:gd name="T14" fmla="*/ 3 w 5"/>
                  <a:gd name="T15" fmla="*/ 0 h 4"/>
                  <a:gd name="T16" fmla="*/ 3 w 5"/>
                  <a:gd name="T17" fmla="*/ 0 h 4"/>
                  <a:gd name="T18" fmla="*/ 5 w 5"/>
                  <a:gd name="T19" fmla="*/ 0 h 4"/>
                  <a:gd name="T20" fmla="*/ 5 w 5"/>
                  <a:gd name="T21" fmla="*/ 1 h 4"/>
                  <a:gd name="T22" fmla="*/ 5 w 5"/>
                  <a:gd name="T23" fmla="*/ 1 h 4"/>
                  <a:gd name="T24" fmla="*/ 3 w 5"/>
                  <a:gd name="T25" fmla="*/ 4 h 4"/>
                  <a:gd name="T26" fmla="*/ 3 w 5"/>
                  <a:gd name="T27" fmla="*/ 4 h 4"/>
                  <a:gd name="T28" fmla="*/ 3 w 5"/>
                  <a:gd name="T2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" h="4">
                    <a:moveTo>
                      <a:pt x="3" y="4"/>
                    </a:moveTo>
                    <a:lnTo>
                      <a:pt x="3" y="4"/>
                    </a:lnTo>
                    <a:lnTo>
                      <a:pt x="2" y="4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5" y="1"/>
                    </a:lnTo>
                    <a:lnTo>
                      <a:pt x="5" y="1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79" name="Freeform 1532"/>
              <p:cNvSpPr>
                <a:spLocks/>
              </p:cNvSpPr>
              <p:nvPr/>
            </p:nvSpPr>
            <p:spPr bwMode="auto">
              <a:xfrm>
                <a:off x="6741447" y="3076748"/>
                <a:ext cx="7914" cy="5936"/>
              </a:xfrm>
              <a:custGeom>
                <a:avLst/>
                <a:gdLst>
                  <a:gd name="T0" fmla="*/ 5 w 8"/>
                  <a:gd name="T1" fmla="*/ 6 h 6"/>
                  <a:gd name="T2" fmla="*/ 5 w 8"/>
                  <a:gd name="T3" fmla="*/ 6 h 6"/>
                  <a:gd name="T4" fmla="*/ 2 w 8"/>
                  <a:gd name="T5" fmla="*/ 5 h 6"/>
                  <a:gd name="T6" fmla="*/ 0 w 8"/>
                  <a:gd name="T7" fmla="*/ 3 h 6"/>
                  <a:gd name="T8" fmla="*/ 0 w 8"/>
                  <a:gd name="T9" fmla="*/ 3 h 6"/>
                  <a:gd name="T10" fmla="*/ 2 w 8"/>
                  <a:gd name="T11" fmla="*/ 2 h 6"/>
                  <a:gd name="T12" fmla="*/ 2 w 8"/>
                  <a:gd name="T13" fmla="*/ 2 h 6"/>
                  <a:gd name="T14" fmla="*/ 3 w 8"/>
                  <a:gd name="T15" fmla="*/ 0 h 6"/>
                  <a:gd name="T16" fmla="*/ 3 w 8"/>
                  <a:gd name="T17" fmla="*/ 0 h 6"/>
                  <a:gd name="T18" fmla="*/ 6 w 8"/>
                  <a:gd name="T19" fmla="*/ 2 h 6"/>
                  <a:gd name="T20" fmla="*/ 8 w 8"/>
                  <a:gd name="T21" fmla="*/ 3 h 6"/>
                  <a:gd name="T22" fmla="*/ 8 w 8"/>
                  <a:gd name="T23" fmla="*/ 3 h 6"/>
                  <a:gd name="T24" fmla="*/ 8 w 8"/>
                  <a:gd name="T25" fmla="*/ 5 h 6"/>
                  <a:gd name="T26" fmla="*/ 8 w 8"/>
                  <a:gd name="T27" fmla="*/ 5 h 6"/>
                  <a:gd name="T28" fmla="*/ 5 w 8"/>
                  <a:gd name="T2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5" y="6"/>
                    </a:moveTo>
                    <a:lnTo>
                      <a:pt x="5" y="6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5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80" name="Freeform 1533"/>
              <p:cNvSpPr>
                <a:spLocks/>
              </p:cNvSpPr>
              <p:nvPr/>
            </p:nvSpPr>
            <p:spPr bwMode="auto">
              <a:xfrm>
                <a:off x="6741447" y="3076748"/>
                <a:ext cx="7914" cy="5936"/>
              </a:xfrm>
              <a:custGeom>
                <a:avLst/>
                <a:gdLst>
                  <a:gd name="T0" fmla="*/ 5 w 8"/>
                  <a:gd name="T1" fmla="*/ 6 h 6"/>
                  <a:gd name="T2" fmla="*/ 5 w 8"/>
                  <a:gd name="T3" fmla="*/ 6 h 6"/>
                  <a:gd name="T4" fmla="*/ 2 w 8"/>
                  <a:gd name="T5" fmla="*/ 5 h 6"/>
                  <a:gd name="T6" fmla="*/ 0 w 8"/>
                  <a:gd name="T7" fmla="*/ 3 h 6"/>
                  <a:gd name="T8" fmla="*/ 0 w 8"/>
                  <a:gd name="T9" fmla="*/ 3 h 6"/>
                  <a:gd name="T10" fmla="*/ 2 w 8"/>
                  <a:gd name="T11" fmla="*/ 2 h 6"/>
                  <a:gd name="T12" fmla="*/ 2 w 8"/>
                  <a:gd name="T13" fmla="*/ 2 h 6"/>
                  <a:gd name="T14" fmla="*/ 3 w 8"/>
                  <a:gd name="T15" fmla="*/ 0 h 6"/>
                  <a:gd name="T16" fmla="*/ 3 w 8"/>
                  <a:gd name="T17" fmla="*/ 0 h 6"/>
                  <a:gd name="T18" fmla="*/ 6 w 8"/>
                  <a:gd name="T19" fmla="*/ 2 h 6"/>
                  <a:gd name="T20" fmla="*/ 8 w 8"/>
                  <a:gd name="T21" fmla="*/ 3 h 6"/>
                  <a:gd name="T22" fmla="*/ 8 w 8"/>
                  <a:gd name="T23" fmla="*/ 3 h 6"/>
                  <a:gd name="T24" fmla="*/ 8 w 8"/>
                  <a:gd name="T25" fmla="*/ 5 h 6"/>
                  <a:gd name="T26" fmla="*/ 8 w 8"/>
                  <a:gd name="T27" fmla="*/ 5 h 6"/>
                  <a:gd name="T28" fmla="*/ 5 w 8"/>
                  <a:gd name="T2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5" y="6"/>
                    </a:moveTo>
                    <a:lnTo>
                      <a:pt x="5" y="6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5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81" name="Freeform 1534"/>
              <p:cNvSpPr>
                <a:spLocks/>
              </p:cNvSpPr>
              <p:nvPr/>
            </p:nvSpPr>
            <p:spPr bwMode="auto">
              <a:xfrm>
                <a:off x="6746393" y="3034209"/>
                <a:ext cx="3957" cy="3957"/>
              </a:xfrm>
              <a:custGeom>
                <a:avLst/>
                <a:gdLst>
                  <a:gd name="T0" fmla="*/ 3 w 4"/>
                  <a:gd name="T1" fmla="*/ 4 h 4"/>
                  <a:gd name="T2" fmla="*/ 3 w 4"/>
                  <a:gd name="T3" fmla="*/ 4 h 4"/>
                  <a:gd name="T4" fmla="*/ 1 w 4"/>
                  <a:gd name="T5" fmla="*/ 3 h 4"/>
                  <a:gd name="T6" fmla="*/ 0 w 4"/>
                  <a:gd name="T7" fmla="*/ 1 h 4"/>
                  <a:gd name="T8" fmla="*/ 0 w 4"/>
                  <a:gd name="T9" fmla="*/ 1 h 4"/>
                  <a:gd name="T10" fmla="*/ 0 w 4"/>
                  <a:gd name="T11" fmla="*/ 0 h 4"/>
                  <a:gd name="T12" fmla="*/ 0 w 4"/>
                  <a:gd name="T13" fmla="*/ 0 h 4"/>
                  <a:gd name="T14" fmla="*/ 1 w 4"/>
                  <a:gd name="T15" fmla="*/ 0 h 4"/>
                  <a:gd name="T16" fmla="*/ 1 w 4"/>
                  <a:gd name="T17" fmla="*/ 0 h 4"/>
                  <a:gd name="T18" fmla="*/ 3 w 4"/>
                  <a:gd name="T19" fmla="*/ 0 h 4"/>
                  <a:gd name="T20" fmla="*/ 4 w 4"/>
                  <a:gd name="T21" fmla="*/ 3 h 4"/>
                  <a:gd name="T22" fmla="*/ 4 w 4"/>
                  <a:gd name="T23" fmla="*/ 3 h 4"/>
                  <a:gd name="T24" fmla="*/ 4 w 4"/>
                  <a:gd name="T25" fmla="*/ 3 h 4"/>
                  <a:gd name="T26" fmla="*/ 4 w 4"/>
                  <a:gd name="T27" fmla="*/ 3 h 4"/>
                  <a:gd name="T28" fmla="*/ 3 w 4"/>
                  <a:gd name="T2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" h="4">
                    <a:moveTo>
                      <a:pt x="3" y="4"/>
                    </a:moveTo>
                    <a:lnTo>
                      <a:pt x="3" y="4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82" name="Freeform 1535"/>
              <p:cNvSpPr>
                <a:spLocks/>
              </p:cNvSpPr>
              <p:nvPr/>
            </p:nvSpPr>
            <p:spPr bwMode="auto">
              <a:xfrm>
                <a:off x="6746393" y="3034209"/>
                <a:ext cx="3957" cy="3957"/>
              </a:xfrm>
              <a:custGeom>
                <a:avLst/>
                <a:gdLst>
                  <a:gd name="T0" fmla="*/ 3 w 4"/>
                  <a:gd name="T1" fmla="*/ 4 h 4"/>
                  <a:gd name="T2" fmla="*/ 3 w 4"/>
                  <a:gd name="T3" fmla="*/ 4 h 4"/>
                  <a:gd name="T4" fmla="*/ 1 w 4"/>
                  <a:gd name="T5" fmla="*/ 3 h 4"/>
                  <a:gd name="T6" fmla="*/ 0 w 4"/>
                  <a:gd name="T7" fmla="*/ 1 h 4"/>
                  <a:gd name="T8" fmla="*/ 0 w 4"/>
                  <a:gd name="T9" fmla="*/ 1 h 4"/>
                  <a:gd name="T10" fmla="*/ 0 w 4"/>
                  <a:gd name="T11" fmla="*/ 0 h 4"/>
                  <a:gd name="T12" fmla="*/ 0 w 4"/>
                  <a:gd name="T13" fmla="*/ 0 h 4"/>
                  <a:gd name="T14" fmla="*/ 1 w 4"/>
                  <a:gd name="T15" fmla="*/ 0 h 4"/>
                  <a:gd name="T16" fmla="*/ 1 w 4"/>
                  <a:gd name="T17" fmla="*/ 0 h 4"/>
                  <a:gd name="T18" fmla="*/ 3 w 4"/>
                  <a:gd name="T19" fmla="*/ 0 h 4"/>
                  <a:gd name="T20" fmla="*/ 4 w 4"/>
                  <a:gd name="T21" fmla="*/ 3 h 4"/>
                  <a:gd name="T22" fmla="*/ 4 w 4"/>
                  <a:gd name="T23" fmla="*/ 3 h 4"/>
                  <a:gd name="T24" fmla="*/ 4 w 4"/>
                  <a:gd name="T25" fmla="*/ 3 h 4"/>
                  <a:gd name="T26" fmla="*/ 4 w 4"/>
                  <a:gd name="T27" fmla="*/ 3 h 4"/>
                  <a:gd name="T28" fmla="*/ 3 w 4"/>
                  <a:gd name="T2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" h="4">
                    <a:moveTo>
                      <a:pt x="3" y="4"/>
                    </a:moveTo>
                    <a:lnTo>
                      <a:pt x="3" y="4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3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83" name="Freeform 1536"/>
              <p:cNvSpPr>
                <a:spLocks/>
              </p:cNvSpPr>
              <p:nvPr/>
            </p:nvSpPr>
            <p:spPr bwMode="auto">
              <a:xfrm>
                <a:off x="6548541" y="3206341"/>
                <a:ext cx="5936" cy="4946"/>
              </a:xfrm>
              <a:custGeom>
                <a:avLst/>
                <a:gdLst>
                  <a:gd name="T0" fmla="*/ 3 w 6"/>
                  <a:gd name="T1" fmla="*/ 5 h 5"/>
                  <a:gd name="T2" fmla="*/ 3 w 6"/>
                  <a:gd name="T3" fmla="*/ 5 h 5"/>
                  <a:gd name="T4" fmla="*/ 1 w 6"/>
                  <a:gd name="T5" fmla="*/ 4 h 5"/>
                  <a:gd name="T6" fmla="*/ 0 w 6"/>
                  <a:gd name="T7" fmla="*/ 1 h 5"/>
                  <a:gd name="T8" fmla="*/ 0 w 6"/>
                  <a:gd name="T9" fmla="*/ 1 h 5"/>
                  <a:gd name="T10" fmla="*/ 0 w 6"/>
                  <a:gd name="T11" fmla="*/ 0 h 5"/>
                  <a:gd name="T12" fmla="*/ 1 w 6"/>
                  <a:gd name="T13" fmla="*/ 0 h 5"/>
                  <a:gd name="T14" fmla="*/ 1 w 6"/>
                  <a:gd name="T15" fmla="*/ 0 h 5"/>
                  <a:gd name="T16" fmla="*/ 3 w 6"/>
                  <a:gd name="T17" fmla="*/ 0 h 5"/>
                  <a:gd name="T18" fmla="*/ 3 w 6"/>
                  <a:gd name="T19" fmla="*/ 0 h 5"/>
                  <a:gd name="T20" fmla="*/ 4 w 6"/>
                  <a:gd name="T21" fmla="*/ 0 h 5"/>
                  <a:gd name="T22" fmla="*/ 6 w 6"/>
                  <a:gd name="T23" fmla="*/ 3 h 5"/>
                  <a:gd name="T24" fmla="*/ 6 w 6"/>
                  <a:gd name="T25" fmla="*/ 3 h 5"/>
                  <a:gd name="T26" fmla="*/ 6 w 6"/>
                  <a:gd name="T27" fmla="*/ 4 h 5"/>
                  <a:gd name="T28" fmla="*/ 3 w 6"/>
                  <a:gd name="T29" fmla="*/ 5 h 5"/>
                  <a:gd name="T30" fmla="*/ 3 w 6"/>
                  <a:gd name="T31" fmla="*/ 5 h 5"/>
                  <a:gd name="T32" fmla="*/ 3 w 6"/>
                  <a:gd name="T3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" h="5">
                    <a:moveTo>
                      <a:pt x="3" y="5"/>
                    </a:moveTo>
                    <a:lnTo>
                      <a:pt x="3" y="5"/>
                    </a:lnTo>
                    <a:lnTo>
                      <a:pt x="1" y="4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84" name="Freeform 1537"/>
              <p:cNvSpPr>
                <a:spLocks/>
              </p:cNvSpPr>
              <p:nvPr/>
            </p:nvSpPr>
            <p:spPr bwMode="auto">
              <a:xfrm>
                <a:off x="6548541" y="3206341"/>
                <a:ext cx="5936" cy="4946"/>
              </a:xfrm>
              <a:custGeom>
                <a:avLst/>
                <a:gdLst>
                  <a:gd name="T0" fmla="*/ 3 w 6"/>
                  <a:gd name="T1" fmla="*/ 5 h 5"/>
                  <a:gd name="T2" fmla="*/ 3 w 6"/>
                  <a:gd name="T3" fmla="*/ 5 h 5"/>
                  <a:gd name="T4" fmla="*/ 1 w 6"/>
                  <a:gd name="T5" fmla="*/ 4 h 5"/>
                  <a:gd name="T6" fmla="*/ 0 w 6"/>
                  <a:gd name="T7" fmla="*/ 1 h 5"/>
                  <a:gd name="T8" fmla="*/ 0 w 6"/>
                  <a:gd name="T9" fmla="*/ 1 h 5"/>
                  <a:gd name="T10" fmla="*/ 0 w 6"/>
                  <a:gd name="T11" fmla="*/ 0 h 5"/>
                  <a:gd name="T12" fmla="*/ 1 w 6"/>
                  <a:gd name="T13" fmla="*/ 0 h 5"/>
                  <a:gd name="T14" fmla="*/ 1 w 6"/>
                  <a:gd name="T15" fmla="*/ 0 h 5"/>
                  <a:gd name="T16" fmla="*/ 3 w 6"/>
                  <a:gd name="T17" fmla="*/ 0 h 5"/>
                  <a:gd name="T18" fmla="*/ 3 w 6"/>
                  <a:gd name="T19" fmla="*/ 0 h 5"/>
                  <a:gd name="T20" fmla="*/ 4 w 6"/>
                  <a:gd name="T21" fmla="*/ 0 h 5"/>
                  <a:gd name="T22" fmla="*/ 6 w 6"/>
                  <a:gd name="T23" fmla="*/ 3 h 5"/>
                  <a:gd name="T24" fmla="*/ 6 w 6"/>
                  <a:gd name="T25" fmla="*/ 3 h 5"/>
                  <a:gd name="T26" fmla="*/ 6 w 6"/>
                  <a:gd name="T27" fmla="*/ 4 h 5"/>
                  <a:gd name="T28" fmla="*/ 3 w 6"/>
                  <a:gd name="T29" fmla="*/ 5 h 5"/>
                  <a:gd name="T30" fmla="*/ 3 w 6"/>
                  <a:gd name="T31" fmla="*/ 5 h 5"/>
                  <a:gd name="T32" fmla="*/ 3 w 6"/>
                  <a:gd name="T3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" h="5">
                    <a:moveTo>
                      <a:pt x="3" y="5"/>
                    </a:moveTo>
                    <a:lnTo>
                      <a:pt x="3" y="5"/>
                    </a:lnTo>
                    <a:lnTo>
                      <a:pt x="1" y="4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85" name="Freeform 1538"/>
              <p:cNvSpPr>
                <a:spLocks/>
              </p:cNvSpPr>
              <p:nvPr/>
            </p:nvSpPr>
            <p:spPr bwMode="auto">
              <a:xfrm>
                <a:off x="6922481" y="3214255"/>
                <a:ext cx="3957" cy="4946"/>
              </a:xfrm>
              <a:custGeom>
                <a:avLst/>
                <a:gdLst>
                  <a:gd name="T0" fmla="*/ 3 w 4"/>
                  <a:gd name="T1" fmla="*/ 5 h 5"/>
                  <a:gd name="T2" fmla="*/ 3 w 4"/>
                  <a:gd name="T3" fmla="*/ 5 h 5"/>
                  <a:gd name="T4" fmla="*/ 1 w 4"/>
                  <a:gd name="T5" fmla="*/ 5 h 5"/>
                  <a:gd name="T6" fmla="*/ 0 w 4"/>
                  <a:gd name="T7" fmla="*/ 3 h 5"/>
                  <a:gd name="T8" fmla="*/ 0 w 4"/>
                  <a:gd name="T9" fmla="*/ 0 h 5"/>
                  <a:gd name="T10" fmla="*/ 1 w 4"/>
                  <a:gd name="T11" fmla="*/ 0 h 5"/>
                  <a:gd name="T12" fmla="*/ 1 w 4"/>
                  <a:gd name="T13" fmla="*/ 0 h 5"/>
                  <a:gd name="T14" fmla="*/ 3 w 4"/>
                  <a:gd name="T15" fmla="*/ 0 h 5"/>
                  <a:gd name="T16" fmla="*/ 4 w 4"/>
                  <a:gd name="T17" fmla="*/ 2 h 5"/>
                  <a:gd name="T18" fmla="*/ 4 w 4"/>
                  <a:gd name="T19" fmla="*/ 3 h 5"/>
                  <a:gd name="T20" fmla="*/ 3 w 4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5">
                    <a:moveTo>
                      <a:pt x="3" y="5"/>
                    </a:moveTo>
                    <a:lnTo>
                      <a:pt x="3" y="5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4" y="2"/>
                    </a:lnTo>
                    <a:lnTo>
                      <a:pt x="4" y="3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86" name="Freeform 1539"/>
              <p:cNvSpPr>
                <a:spLocks/>
              </p:cNvSpPr>
              <p:nvPr/>
            </p:nvSpPr>
            <p:spPr bwMode="auto">
              <a:xfrm>
                <a:off x="6922481" y="3214255"/>
                <a:ext cx="3957" cy="4946"/>
              </a:xfrm>
              <a:custGeom>
                <a:avLst/>
                <a:gdLst>
                  <a:gd name="T0" fmla="*/ 3 w 4"/>
                  <a:gd name="T1" fmla="*/ 5 h 5"/>
                  <a:gd name="T2" fmla="*/ 3 w 4"/>
                  <a:gd name="T3" fmla="*/ 5 h 5"/>
                  <a:gd name="T4" fmla="*/ 1 w 4"/>
                  <a:gd name="T5" fmla="*/ 5 h 5"/>
                  <a:gd name="T6" fmla="*/ 0 w 4"/>
                  <a:gd name="T7" fmla="*/ 3 h 5"/>
                  <a:gd name="T8" fmla="*/ 0 w 4"/>
                  <a:gd name="T9" fmla="*/ 0 h 5"/>
                  <a:gd name="T10" fmla="*/ 1 w 4"/>
                  <a:gd name="T11" fmla="*/ 0 h 5"/>
                  <a:gd name="T12" fmla="*/ 1 w 4"/>
                  <a:gd name="T13" fmla="*/ 0 h 5"/>
                  <a:gd name="T14" fmla="*/ 3 w 4"/>
                  <a:gd name="T15" fmla="*/ 0 h 5"/>
                  <a:gd name="T16" fmla="*/ 4 w 4"/>
                  <a:gd name="T17" fmla="*/ 2 h 5"/>
                  <a:gd name="T18" fmla="*/ 4 w 4"/>
                  <a:gd name="T19" fmla="*/ 3 h 5"/>
                  <a:gd name="T20" fmla="*/ 3 w 4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5">
                    <a:moveTo>
                      <a:pt x="3" y="5"/>
                    </a:moveTo>
                    <a:lnTo>
                      <a:pt x="3" y="5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4" y="2"/>
                    </a:lnTo>
                    <a:lnTo>
                      <a:pt x="4" y="3"/>
                    </a:lnTo>
                    <a:lnTo>
                      <a:pt x="3" y="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02" name="Freeform 1555"/>
              <p:cNvSpPr>
                <a:spLocks/>
              </p:cNvSpPr>
              <p:nvPr/>
            </p:nvSpPr>
            <p:spPr bwMode="auto">
              <a:xfrm>
                <a:off x="5970813" y="1516686"/>
                <a:ext cx="50452" cy="47484"/>
              </a:xfrm>
              <a:custGeom>
                <a:avLst/>
                <a:gdLst>
                  <a:gd name="T0" fmla="*/ 45 w 51"/>
                  <a:gd name="T1" fmla="*/ 19 h 48"/>
                  <a:gd name="T2" fmla="*/ 45 w 51"/>
                  <a:gd name="T3" fmla="*/ 26 h 48"/>
                  <a:gd name="T4" fmla="*/ 45 w 51"/>
                  <a:gd name="T5" fmla="*/ 26 h 48"/>
                  <a:gd name="T6" fmla="*/ 41 w 51"/>
                  <a:gd name="T7" fmla="*/ 23 h 48"/>
                  <a:gd name="T8" fmla="*/ 35 w 51"/>
                  <a:gd name="T9" fmla="*/ 26 h 48"/>
                  <a:gd name="T10" fmla="*/ 35 w 51"/>
                  <a:gd name="T11" fmla="*/ 30 h 48"/>
                  <a:gd name="T12" fmla="*/ 35 w 51"/>
                  <a:gd name="T13" fmla="*/ 30 h 48"/>
                  <a:gd name="T14" fmla="*/ 35 w 51"/>
                  <a:gd name="T15" fmla="*/ 29 h 48"/>
                  <a:gd name="T16" fmla="*/ 32 w 51"/>
                  <a:gd name="T17" fmla="*/ 27 h 48"/>
                  <a:gd name="T18" fmla="*/ 28 w 51"/>
                  <a:gd name="T19" fmla="*/ 29 h 48"/>
                  <a:gd name="T20" fmla="*/ 28 w 51"/>
                  <a:gd name="T21" fmla="*/ 36 h 48"/>
                  <a:gd name="T22" fmla="*/ 28 w 51"/>
                  <a:gd name="T23" fmla="*/ 36 h 48"/>
                  <a:gd name="T24" fmla="*/ 21 w 51"/>
                  <a:gd name="T25" fmla="*/ 39 h 48"/>
                  <a:gd name="T26" fmla="*/ 19 w 51"/>
                  <a:gd name="T27" fmla="*/ 39 h 48"/>
                  <a:gd name="T28" fmla="*/ 21 w 51"/>
                  <a:gd name="T29" fmla="*/ 39 h 48"/>
                  <a:gd name="T30" fmla="*/ 19 w 51"/>
                  <a:gd name="T31" fmla="*/ 32 h 48"/>
                  <a:gd name="T32" fmla="*/ 12 w 51"/>
                  <a:gd name="T33" fmla="*/ 36 h 48"/>
                  <a:gd name="T34" fmla="*/ 9 w 51"/>
                  <a:gd name="T35" fmla="*/ 43 h 48"/>
                  <a:gd name="T36" fmla="*/ 10 w 51"/>
                  <a:gd name="T37" fmla="*/ 45 h 48"/>
                  <a:gd name="T38" fmla="*/ 10 w 51"/>
                  <a:gd name="T39" fmla="*/ 43 h 48"/>
                  <a:gd name="T40" fmla="*/ 10 w 51"/>
                  <a:gd name="T41" fmla="*/ 43 h 48"/>
                  <a:gd name="T42" fmla="*/ 10 w 51"/>
                  <a:gd name="T43" fmla="*/ 32 h 48"/>
                  <a:gd name="T44" fmla="*/ 6 w 51"/>
                  <a:gd name="T45" fmla="*/ 29 h 48"/>
                  <a:gd name="T46" fmla="*/ 5 w 51"/>
                  <a:gd name="T47" fmla="*/ 29 h 48"/>
                  <a:gd name="T48" fmla="*/ 5 w 51"/>
                  <a:gd name="T49" fmla="*/ 29 h 48"/>
                  <a:gd name="T50" fmla="*/ 5 w 51"/>
                  <a:gd name="T51" fmla="*/ 29 h 48"/>
                  <a:gd name="T52" fmla="*/ 13 w 51"/>
                  <a:gd name="T53" fmla="*/ 30 h 48"/>
                  <a:gd name="T54" fmla="*/ 26 w 51"/>
                  <a:gd name="T55" fmla="*/ 17 h 48"/>
                  <a:gd name="T56" fmla="*/ 23 w 51"/>
                  <a:gd name="T57" fmla="*/ 6 h 48"/>
                  <a:gd name="T58" fmla="*/ 26 w 51"/>
                  <a:gd name="T59" fmla="*/ 7 h 48"/>
                  <a:gd name="T60" fmla="*/ 32 w 51"/>
                  <a:gd name="T61" fmla="*/ 20 h 48"/>
                  <a:gd name="T62" fmla="*/ 45 w 51"/>
                  <a:gd name="T63" fmla="*/ 19 h 48"/>
                  <a:gd name="T64" fmla="*/ 47 w 51"/>
                  <a:gd name="T65" fmla="*/ 17 h 48"/>
                  <a:gd name="T66" fmla="*/ 39 w 51"/>
                  <a:gd name="T67" fmla="*/ 14 h 48"/>
                  <a:gd name="T68" fmla="*/ 34 w 51"/>
                  <a:gd name="T69" fmla="*/ 14 h 48"/>
                  <a:gd name="T70" fmla="*/ 31 w 51"/>
                  <a:gd name="T71" fmla="*/ 6 h 48"/>
                  <a:gd name="T72" fmla="*/ 23 w 51"/>
                  <a:gd name="T73" fmla="*/ 0 h 48"/>
                  <a:gd name="T74" fmla="*/ 18 w 51"/>
                  <a:gd name="T75" fmla="*/ 7 h 48"/>
                  <a:gd name="T76" fmla="*/ 19 w 51"/>
                  <a:gd name="T77" fmla="*/ 25 h 48"/>
                  <a:gd name="T78" fmla="*/ 5 w 51"/>
                  <a:gd name="T79" fmla="*/ 25 h 48"/>
                  <a:gd name="T80" fmla="*/ 0 w 51"/>
                  <a:gd name="T81" fmla="*/ 29 h 48"/>
                  <a:gd name="T82" fmla="*/ 6 w 51"/>
                  <a:gd name="T83" fmla="*/ 36 h 48"/>
                  <a:gd name="T84" fmla="*/ 6 w 51"/>
                  <a:gd name="T85" fmla="*/ 46 h 48"/>
                  <a:gd name="T86" fmla="*/ 15 w 51"/>
                  <a:gd name="T87" fmla="*/ 43 h 48"/>
                  <a:gd name="T88" fmla="*/ 18 w 51"/>
                  <a:gd name="T89" fmla="*/ 35 h 48"/>
                  <a:gd name="T90" fmla="*/ 18 w 51"/>
                  <a:gd name="T91" fmla="*/ 36 h 48"/>
                  <a:gd name="T92" fmla="*/ 16 w 51"/>
                  <a:gd name="T93" fmla="*/ 36 h 48"/>
                  <a:gd name="T94" fmla="*/ 16 w 51"/>
                  <a:gd name="T95" fmla="*/ 36 h 48"/>
                  <a:gd name="T96" fmla="*/ 16 w 51"/>
                  <a:gd name="T97" fmla="*/ 35 h 48"/>
                  <a:gd name="T98" fmla="*/ 15 w 51"/>
                  <a:gd name="T99" fmla="*/ 39 h 48"/>
                  <a:gd name="T100" fmla="*/ 25 w 51"/>
                  <a:gd name="T101" fmla="*/ 42 h 48"/>
                  <a:gd name="T102" fmla="*/ 32 w 51"/>
                  <a:gd name="T103" fmla="*/ 36 h 48"/>
                  <a:gd name="T104" fmla="*/ 31 w 51"/>
                  <a:gd name="T105" fmla="*/ 30 h 48"/>
                  <a:gd name="T106" fmla="*/ 31 w 51"/>
                  <a:gd name="T107" fmla="*/ 30 h 48"/>
                  <a:gd name="T108" fmla="*/ 31 w 51"/>
                  <a:gd name="T109" fmla="*/ 32 h 48"/>
                  <a:gd name="T110" fmla="*/ 29 w 51"/>
                  <a:gd name="T111" fmla="*/ 32 h 48"/>
                  <a:gd name="T112" fmla="*/ 38 w 51"/>
                  <a:gd name="T113" fmla="*/ 33 h 48"/>
                  <a:gd name="T114" fmla="*/ 39 w 51"/>
                  <a:gd name="T115" fmla="*/ 27 h 48"/>
                  <a:gd name="T116" fmla="*/ 39 w 51"/>
                  <a:gd name="T117" fmla="*/ 27 h 48"/>
                  <a:gd name="T118" fmla="*/ 39 w 51"/>
                  <a:gd name="T119" fmla="*/ 27 h 48"/>
                  <a:gd name="T120" fmla="*/ 45 w 51"/>
                  <a:gd name="T121" fmla="*/ 30 h 48"/>
                  <a:gd name="T122" fmla="*/ 51 w 51"/>
                  <a:gd name="T123" fmla="*/ 2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1" h="48">
                    <a:moveTo>
                      <a:pt x="47" y="17"/>
                    </a:moveTo>
                    <a:lnTo>
                      <a:pt x="45" y="19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5" y="20"/>
                    </a:lnTo>
                    <a:lnTo>
                      <a:pt x="45" y="20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6"/>
                    </a:lnTo>
                    <a:lnTo>
                      <a:pt x="45" y="26"/>
                    </a:lnTo>
                    <a:lnTo>
                      <a:pt x="45" y="26"/>
                    </a:lnTo>
                    <a:lnTo>
                      <a:pt x="45" y="26"/>
                    </a:lnTo>
                    <a:lnTo>
                      <a:pt x="45" y="26"/>
                    </a:lnTo>
                    <a:lnTo>
                      <a:pt x="45" y="26"/>
                    </a:lnTo>
                    <a:lnTo>
                      <a:pt x="45" y="26"/>
                    </a:lnTo>
                    <a:lnTo>
                      <a:pt x="45" y="26"/>
                    </a:lnTo>
                    <a:lnTo>
                      <a:pt x="45" y="26"/>
                    </a:lnTo>
                    <a:lnTo>
                      <a:pt x="45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2" y="25"/>
                    </a:lnTo>
                    <a:lnTo>
                      <a:pt x="42" y="25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39" y="23"/>
                    </a:lnTo>
                    <a:lnTo>
                      <a:pt x="38" y="23"/>
                    </a:lnTo>
                    <a:lnTo>
                      <a:pt x="38" y="23"/>
                    </a:lnTo>
                    <a:lnTo>
                      <a:pt x="37" y="25"/>
                    </a:lnTo>
                    <a:lnTo>
                      <a:pt x="37" y="25"/>
                    </a:lnTo>
                    <a:lnTo>
                      <a:pt x="35" y="26"/>
                    </a:lnTo>
                    <a:lnTo>
                      <a:pt x="35" y="26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5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5" y="30"/>
                    </a:lnTo>
                    <a:lnTo>
                      <a:pt x="34" y="30"/>
                    </a:lnTo>
                    <a:lnTo>
                      <a:pt x="35" y="32"/>
                    </a:lnTo>
                    <a:lnTo>
                      <a:pt x="35" y="29"/>
                    </a:lnTo>
                    <a:lnTo>
                      <a:pt x="34" y="30"/>
                    </a:lnTo>
                    <a:lnTo>
                      <a:pt x="35" y="32"/>
                    </a:lnTo>
                    <a:lnTo>
                      <a:pt x="35" y="29"/>
                    </a:lnTo>
                    <a:lnTo>
                      <a:pt x="35" y="30"/>
                    </a:lnTo>
                    <a:lnTo>
                      <a:pt x="35" y="29"/>
                    </a:lnTo>
                    <a:lnTo>
                      <a:pt x="35" y="29"/>
                    </a:lnTo>
                    <a:lnTo>
                      <a:pt x="35" y="30"/>
                    </a:lnTo>
                    <a:lnTo>
                      <a:pt x="35" y="29"/>
                    </a:lnTo>
                    <a:lnTo>
                      <a:pt x="35" y="29"/>
                    </a:lnTo>
                    <a:lnTo>
                      <a:pt x="35" y="29"/>
                    </a:lnTo>
                    <a:lnTo>
                      <a:pt x="35" y="29"/>
                    </a:lnTo>
                    <a:lnTo>
                      <a:pt x="35" y="29"/>
                    </a:lnTo>
                    <a:lnTo>
                      <a:pt x="35" y="29"/>
                    </a:lnTo>
                    <a:lnTo>
                      <a:pt x="35" y="29"/>
                    </a:lnTo>
                    <a:lnTo>
                      <a:pt x="34" y="29"/>
                    </a:lnTo>
                    <a:lnTo>
                      <a:pt x="34" y="29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1" y="26"/>
                    </a:lnTo>
                    <a:lnTo>
                      <a:pt x="31" y="26"/>
                    </a:lnTo>
                    <a:lnTo>
                      <a:pt x="28" y="27"/>
                    </a:lnTo>
                    <a:lnTo>
                      <a:pt x="28" y="27"/>
                    </a:lnTo>
                    <a:lnTo>
                      <a:pt x="28" y="29"/>
                    </a:lnTo>
                    <a:lnTo>
                      <a:pt x="28" y="29"/>
                    </a:lnTo>
                    <a:lnTo>
                      <a:pt x="28" y="29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6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19" y="39"/>
                    </a:lnTo>
                    <a:lnTo>
                      <a:pt x="19" y="39"/>
                    </a:lnTo>
                    <a:lnTo>
                      <a:pt x="21" y="39"/>
                    </a:lnTo>
                    <a:lnTo>
                      <a:pt x="19" y="39"/>
                    </a:lnTo>
                    <a:lnTo>
                      <a:pt x="19" y="39"/>
                    </a:lnTo>
                    <a:lnTo>
                      <a:pt x="21" y="39"/>
                    </a:lnTo>
                    <a:lnTo>
                      <a:pt x="19" y="39"/>
                    </a:lnTo>
                    <a:lnTo>
                      <a:pt x="21" y="39"/>
                    </a:lnTo>
                    <a:lnTo>
                      <a:pt x="21" y="39"/>
                    </a:lnTo>
                    <a:lnTo>
                      <a:pt x="19" y="39"/>
                    </a:lnTo>
                    <a:lnTo>
                      <a:pt x="21" y="39"/>
                    </a:lnTo>
                    <a:lnTo>
                      <a:pt x="19" y="39"/>
                    </a:lnTo>
                    <a:lnTo>
                      <a:pt x="21" y="39"/>
                    </a:lnTo>
                    <a:lnTo>
                      <a:pt x="21" y="39"/>
                    </a:lnTo>
                    <a:lnTo>
                      <a:pt x="19" y="39"/>
                    </a:lnTo>
                    <a:lnTo>
                      <a:pt x="21" y="39"/>
                    </a:lnTo>
                    <a:lnTo>
                      <a:pt x="21" y="39"/>
                    </a:lnTo>
                    <a:lnTo>
                      <a:pt x="21" y="38"/>
                    </a:lnTo>
                    <a:lnTo>
                      <a:pt x="21" y="38"/>
                    </a:lnTo>
                    <a:lnTo>
                      <a:pt x="21" y="35"/>
                    </a:lnTo>
                    <a:lnTo>
                      <a:pt x="21" y="35"/>
                    </a:lnTo>
                    <a:lnTo>
                      <a:pt x="21" y="33"/>
                    </a:lnTo>
                    <a:lnTo>
                      <a:pt x="21" y="33"/>
                    </a:lnTo>
                    <a:lnTo>
                      <a:pt x="19" y="32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5" y="32"/>
                    </a:lnTo>
                    <a:lnTo>
                      <a:pt x="15" y="32"/>
                    </a:lnTo>
                    <a:lnTo>
                      <a:pt x="13" y="33"/>
                    </a:lnTo>
                    <a:lnTo>
                      <a:pt x="13" y="33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9" y="43"/>
                    </a:lnTo>
                    <a:lnTo>
                      <a:pt x="9" y="43"/>
                    </a:lnTo>
                    <a:lnTo>
                      <a:pt x="9" y="43"/>
                    </a:lnTo>
                    <a:lnTo>
                      <a:pt x="9" y="43"/>
                    </a:lnTo>
                    <a:lnTo>
                      <a:pt x="9" y="43"/>
                    </a:lnTo>
                    <a:lnTo>
                      <a:pt x="9" y="43"/>
                    </a:lnTo>
                    <a:lnTo>
                      <a:pt x="9" y="43"/>
                    </a:lnTo>
                    <a:lnTo>
                      <a:pt x="10" y="45"/>
                    </a:lnTo>
                    <a:lnTo>
                      <a:pt x="10" y="43"/>
                    </a:lnTo>
                    <a:lnTo>
                      <a:pt x="9" y="43"/>
                    </a:lnTo>
                    <a:lnTo>
                      <a:pt x="10" y="45"/>
                    </a:lnTo>
                    <a:lnTo>
                      <a:pt x="10" y="43"/>
                    </a:lnTo>
                    <a:lnTo>
                      <a:pt x="10" y="45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10" y="45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9"/>
                    </a:lnTo>
                    <a:lnTo>
                      <a:pt x="10" y="39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6" y="27"/>
                    </a:lnTo>
                    <a:lnTo>
                      <a:pt x="6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3" y="29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5" y="27"/>
                    </a:lnTo>
                    <a:lnTo>
                      <a:pt x="3" y="29"/>
                    </a:lnTo>
                    <a:lnTo>
                      <a:pt x="6" y="29"/>
                    </a:lnTo>
                    <a:lnTo>
                      <a:pt x="3" y="29"/>
                    </a:lnTo>
                    <a:lnTo>
                      <a:pt x="5" y="29"/>
                    </a:lnTo>
                    <a:lnTo>
                      <a:pt x="5" y="29"/>
                    </a:lnTo>
                    <a:lnTo>
                      <a:pt x="6" y="29"/>
                    </a:lnTo>
                    <a:lnTo>
                      <a:pt x="3" y="29"/>
                    </a:lnTo>
                    <a:lnTo>
                      <a:pt x="5" y="29"/>
                    </a:lnTo>
                    <a:lnTo>
                      <a:pt x="5" y="29"/>
                    </a:lnTo>
                    <a:lnTo>
                      <a:pt x="5" y="30"/>
                    </a:lnTo>
                    <a:lnTo>
                      <a:pt x="5" y="29"/>
                    </a:lnTo>
                    <a:lnTo>
                      <a:pt x="5" y="29"/>
                    </a:lnTo>
                    <a:lnTo>
                      <a:pt x="5" y="30"/>
                    </a:lnTo>
                    <a:lnTo>
                      <a:pt x="5" y="29"/>
                    </a:lnTo>
                    <a:lnTo>
                      <a:pt x="5" y="30"/>
                    </a:lnTo>
                    <a:lnTo>
                      <a:pt x="5" y="30"/>
                    </a:lnTo>
                    <a:lnTo>
                      <a:pt x="5" y="29"/>
                    </a:lnTo>
                    <a:lnTo>
                      <a:pt x="5" y="30"/>
                    </a:lnTo>
                    <a:lnTo>
                      <a:pt x="5" y="29"/>
                    </a:lnTo>
                    <a:lnTo>
                      <a:pt x="5" y="30"/>
                    </a:lnTo>
                    <a:lnTo>
                      <a:pt x="5" y="30"/>
                    </a:lnTo>
                    <a:lnTo>
                      <a:pt x="5" y="29"/>
                    </a:lnTo>
                    <a:lnTo>
                      <a:pt x="5" y="30"/>
                    </a:lnTo>
                    <a:lnTo>
                      <a:pt x="5" y="30"/>
                    </a:lnTo>
                    <a:lnTo>
                      <a:pt x="5" y="30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5" y="23"/>
                    </a:lnTo>
                    <a:lnTo>
                      <a:pt x="26" y="17"/>
                    </a:lnTo>
                    <a:lnTo>
                      <a:pt x="26" y="17"/>
                    </a:lnTo>
                    <a:lnTo>
                      <a:pt x="25" y="13"/>
                    </a:lnTo>
                    <a:lnTo>
                      <a:pt x="23" y="10"/>
                    </a:lnTo>
                    <a:lnTo>
                      <a:pt x="23" y="10"/>
                    </a:lnTo>
                    <a:lnTo>
                      <a:pt x="23" y="7"/>
                    </a:lnTo>
                    <a:lnTo>
                      <a:pt x="23" y="7"/>
                    </a:lnTo>
                    <a:lnTo>
                      <a:pt x="23" y="6"/>
                    </a:lnTo>
                    <a:lnTo>
                      <a:pt x="23" y="6"/>
                    </a:lnTo>
                    <a:lnTo>
                      <a:pt x="23" y="4"/>
                    </a:lnTo>
                    <a:lnTo>
                      <a:pt x="25" y="4"/>
                    </a:lnTo>
                    <a:lnTo>
                      <a:pt x="25" y="6"/>
                    </a:lnTo>
                    <a:lnTo>
                      <a:pt x="25" y="6"/>
                    </a:lnTo>
                    <a:lnTo>
                      <a:pt x="26" y="7"/>
                    </a:lnTo>
                    <a:lnTo>
                      <a:pt x="26" y="7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31" y="19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5" y="20"/>
                    </a:lnTo>
                    <a:lnTo>
                      <a:pt x="35" y="20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4" y="19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7" y="17"/>
                    </a:lnTo>
                    <a:lnTo>
                      <a:pt x="50" y="16"/>
                    </a:lnTo>
                    <a:lnTo>
                      <a:pt x="50" y="16"/>
                    </a:lnTo>
                    <a:lnTo>
                      <a:pt x="47" y="14"/>
                    </a:lnTo>
                    <a:lnTo>
                      <a:pt x="47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39" y="14"/>
                    </a:lnTo>
                    <a:lnTo>
                      <a:pt x="39" y="14"/>
                    </a:lnTo>
                    <a:lnTo>
                      <a:pt x="35" y="14"/>
                    </a:lnTo>
                    <a:lnTo>
                      <a:pt x="35" y="14"/>
                    </a:lnTo>
                    <a:lnTo>
                      <a:pt x="34" y="14"/>
                    </a:lnTo>
                    <a:lnTo>
                      <a:pt x="34" y="16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6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9" y="3"/>
                    </a:lnTo>
                    <a:lnTo>
                      <a:pt x="29" y="3"/>
                    </a:lnTo>
                    <a:lnTo>
                      <a:pt x="28" y="1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2" y="0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8" y="4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8" y="10"/>
                    </a:lnTo>
                    <a:lnTo>
                      <a:pt x="19" y="13"/>
                    </a:lnTo>
                    <a:lnTo>
                      <a:pt x="19" y="13"/>
                    </a:lnTo>
                    <a:lnTo>
                      <a:pt x="21" y="17"/>
                    </a:lnTo>
                    <a:lnTo>
                      <a:pt x="21" y="17"/>
                    </a:lnTo>
                    <a:lnTo>
                      <a:pt x="21" y="22"/>
                    </a:lnTo>
                    <a:lnTo>
                      <a:pt x="19" y="25"/>
                    </a:lnTo>
                    <a:lnTo>
                      <a:pt x="19" y="25"/>
                    </a:lnTo>
                    <a:lnTo>
                      <a:pt x="16" y="25"/>
                    </a:lnTo>
                    <a:lnTo>
                      <a:pt x="16" y="25"/>
                    </a:lnTo>
                    <a:lnTo>
                      <a:pt x="13" y="26"/>
                    </a:lnTo>
                    <a:lnTo>
                      <a:pt x="13" y="26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29"/>
                    </a:lnTo>
                    <a:lnTo>
                      <a:pt x="0" y="29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6" y="35"/>
                    </a:lnTo>
                    <a:lnTo>
                      <a:pt x="6" y="35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5" y="40"/>
                    </a:lnTo>
                    <a:lnTo>
                      <a:pt x="5" y="40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3" y="46"/>
                    </a:lnTo>
                    <a:lnTo>
                      <a:pt x="13" y="46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5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5"/>
                    </a:lnTo>
                    <a:lnTo>
                      <a:pt x="18" y="36"/>
                    </a:lnTo>
                    <a:lnTo>
                      <a:pt x="18" y="35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5"/>
                    </a:lnTo>
                    <a:lnTo>
                      <a:pt x="18" y="36"/>
                    </a:lnTo>
                    <a:lnTo>
                      <a:pt x="18" y="35"/>
                    </a:lnTo>
                    <a:lnTo>
                      <a:pt x="16" y="36"/>
                    </a:lnTo>
                    <a:lnTo>
                      <a:pt x="18" y="36"/>
                    </a:lnTo>
                    <a:lnTo>
                      <a:pt x="18" y="35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8" y="35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8" y="35"/>
                    </a:lnTo>
                    <a:lnTo>
                      <a:pt x="16" y="36"/>
                    </a:lnTo>
                    <a:lnTo>
                      <a:pt x="16" y="35"/>
                    </a:lnTo>
                    <a:lnTo>
                      <a:pt x="16" y="35"/>
                    </a:lnTo>
                    <a:lnTo>
                      <a:pt x="16" y="36"/>
                    </a:lnTo>
                    <a:lnTo>
                      <a:pt x="16" y="35"/>
                    </a:lnTo>
                    <a:lnTo>
                      <a:pt x="16" y="35"/>
                    </a:lnTo>
                    <a:lnTo>
                      <a:pt x="16" y="35"/>
                    </a:lnTo>
                    <a:lnTo>
                      <a:pt x="16" y="35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5" y="39"/>
                    </a:lnTo>
                    <a:lnTo>
                      <a:pt x="15" y="39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8" y="43"/>
                    </a:lnTo>
                    <a:lnTo>
                      <a:pt x="18" y="43"/>
                    </a:lnTo>
                    <a:lnTo>
                      <a:pt x="19" y="43"/>
                    </a:lnTo>
                    <a:lnTo>
                      <a:pt x="19" y="43"/>
                    </a:lnTo>
                    <a:lnTo>
                      <a:pt x="25" y="42"/>
                    </a:lnTo>
                    <a:lnTo>
                      <a:pt x="25" y="42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31" y="39"/>
                    </a:lnTo>
                    <a:lnTo>
                      <a:pt x="31" y="39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1" y="30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1" y="30"/>
                    </a:lnTo>
                    <a:lnTo>
                      <a:pt x="32" y="32"/>
                    </a:lnTo>
                    <a:lnTo>
                      <a:pt x="31" y="30"/>
                    </a:lnTo>
                    <a:lnTo>
                      <a:pt x="31" y="32"/>
                    </a:lnTo>
                    <a:lnTo>
                      <a:pt x="32" y="32"/>
                    </a:lnTo>
                    <a:lnTo>
                      <a:pt x="31" y="30"/>
                    </a:lnTo>
                    <a:lnTo>
                      <a:pt x="31" y="32"/>
                    </a:lnTo>
                    <a:lnTo>
                      <a:pt x="31" y="30"/>
                    </a:lnTo>
                    <a:lnTo>
                      <a:pt x="31" y="32"/>
                    </a:lnTo>
                    <a:lnTo>
                      <a:pt x="31" y="32"/>
                    </a:lnTo>
                    <a:lnTo>
                      <a:pt x="31" y="30"/>
                    </a:lnTo>
                    <a:lnTo>
                      <a:pt x="31" y="32"/>
                    </a:lnTo>
                    <a:lnTo>
                      <a:pt x="31" y="30"/>
                    </a:lnTo>
                    <a:lnTo>
                      <a:pt x="29" y="32"/>
                    </a:lnTo>
                    <a:lnTo>
                      <a:pt x="31" y="32"/>
                    </a:lnTo>
                    <a:lnTo>
                      <a:pt x="31" y="30"/>
                    </a:lnTo>
                    <a:lnTo>
                      <a:pt x="29" y="32"/>
                    </a:lnTo>
                    <a:lnTo>
                      <a:pt x="29" y="32"/>
                    </a:lnTo>
                    <a:lnTo>
                      <a:pt x="29" y="32"/>
                    </a:lnTo>
                    <a:lnTo>
                      <a:pt x="29" y="32"/>
                    </a:lnTo>
                    <a:lnTo>
                      <a:pt x="29" y="32"/>
                    </a:lnTo>
                    <a:lnTo>
                      <a:pt x="29" y="32"/>
                    </a:lnTo>
                    <a:lnTo>
                      <a:pt x="29" y="32"/>
                    </a:lnTo>
                    <a:lnTo>
                      <a:pt x="31" y="33"/>
                    </a:lnTo>
                    <a:lnTo>
                      <a:pt x="31" y="33"/>
                    </a:lnTo>
                    <a:lnTo>
                      <a:pt x="34" y="35"/>
                    </a:lnTo>
                    <a:lnTo>
                      <a:pt x="35" y="35"/>
                    </a:lnTo>
                    <a:lnTo>
                      <a:pt x="35" y="35"/>
                    </a:lnTo>
                    <a:lnTo>
                      <a:pt x="38" y="33"/>
                    </a:lnTo>
                    <a:lnTo>
                      <a:pt x="38" y="33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9" y="29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41" y="29"/>
                    </a:lnTo>
                    <a:lnTo>
                      <a:pt x="41" y="29"/>
                    </a:lnTo>
                    <a:lnTo>
                      <a:pt x="45" y="30"/>
                    </a:lnTo>
                    <a:lnTo>
                      <a:pt x="45" y="30"/>
                    </a:lnTo>
                    <a:lnTo>
                      <a:pt x="45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1" y="23"/>
                    </a:lnTo>
                    <a:lnTo>
                      <a:pt x="51" y="23"/>
                    </a:lnTo>
                    <a:lnTo>
                      <a:pt x="51" y="19"/>
                    </a:lnTo>
                    <a:lnTo>
                      <a:pt x="51" y="19"/>
                    </a:lnTo>
                    <a:lnTo>
                      <a:pt x="50" y="16"/>
                    </a:lnTo>
                    <a:lnTo>
                      <a:pt x="50" y="16"/>
                    </a:lnTo>
                    <a:lnTo>
                      <a:pt x="47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03" name="Freeform 1556"/>
              <p:cNvSpPr>
                <a:spLocks/>
              </p:cNvSpPr>
              <p:nvPr/>
            </p:nvSpPr>
            <p:spPr bwMode="auto">
              <a:xfrm>
                <a:off x="5979717" y="1840173"/>
                <a:ext cx="24731" cy="34624"/>
              </a:xfrm>
              <a:custGeom>
                <a:avLst/>
                <a:gdLst>
                  <a:gd name="T0" fmla="*/ 20 w 25"/>
                  <a:gd name="T1" fmla="*/ 6 h 35"/>
                  <a:gd name="T2" fmla="*/ 20 w 25"/>
                  <a:gd name="T3" fmla="*/ 6 h 35"/>
                  <a:gd name="T4" fmla="*/ 20 w 25"/>
                  <a:gd name="T5" fmla="*/ 6 h 35"/>
                  <a:gd name="T6" fmla="*/ 20 w 25"/>
                  <a:gd name="T7" fmla="*/ 6 h 35"/>
                  <a:gd name="T8" fmla="*/ 20 w 25"/>
                  <a:gd name="T9" fmla="*/ 7 h 35"/>
                  <a:gd name="T10" fmla="*/ 13 w 25"/>
                  <a:gd name="T11" fmla="*/ 22 h 35"/>
                  <a:gd name="T12" fmla="*/ 9 w 25"/>
                  <a:gd name="T13" fmla="*/ 28 h 35"/>
                  <a:gd name="T14" fmla="*/ 7 w 25"/>
                  <a:gd name="T15" fmla="*/ 31 h 35"/>
                  <a:gd name="T16" fmla="*/ 7 w 25"/>
                  <a:gd name="T17" fmla="*/ 31 h 35"/>
                  <a:gd name="T18" fmla="*/ 7 w 25"/>
                  <a:gd name="T19" fmla="*/ 31 h 35"/>
                  <a:gd name="T20" fmla="*/ 7 w 25"/>
                  <a:gd name="T21" fmla="*/ 31 h 35"/>
                  <a:gd name="T22" fmla="*/ 7 w 25"/>
                  <a:gd name="T23" fmla="*/ 31 h 35"/>
                  <a:gd name="T24" fmla="*/ 6 w 25"/>
                  <a:gd name="T25" fmla="*/ 29 h 35"/>
                  <a:gd name="T26" fmla="*/ 6 w 25"/>
                  <a:gd name="T27" fmla="*/ 29 h 35"/>
                  <a:gd name="T28" fmla="*/ 6 w 25"/>
                  <a:gd name="T29" fmla="*/ 28 h 35"/>
                  <a:gd name="T30" fmla="*/ 10 w 25"/>
                  <a:gd name="T31" fmla="*/ 16 h 35"/>
                  <a:gd name="T32" fmla="*/ 14 w 25"/>
                  <a:gd name="T33" fmla="*/ 10 h 35"/>
                  <a:gd name="T34" fmla="*/ 16 w 25"/>
                  <a:gd name="T35" fmla="*/ 7 h 35"/>
                  <a:gd name="T36" fmla="*/ 16 w 25"/>
                  <a:gd name="T37" fmla="*/ 7 h 35"/>
                  <a:gd name="T38" fmla="*/ 20 w 25"/>
                  <a:gd name="T39" fmla="*/ 6 h 35"/>
                  <a:gd name="T40" fmla="*/ 20 w 25"/>
                  <a:gd name="T41" fmla="*/ 6 h 35"/>
                  <a:gd name="T42" fmla="*/ 20 w 25"/>
                  <a:gd name="T43" fmla="*/ 6 h 35"/>
                  <a:gd name="T44" fmla="*/ 20 w 25"/>
                  <a:gd name="T45" fmla="*/ 6 h 35"/>
                  <a:gd name="T46" fmla="*/ 20 w 25"/>
                  <a:gd name="T47" fmla="*/ 6 h 35"/>
                  <a:gd name="T48" fmla="*/ 20 w 25"/>
                  <a:gd name="T49" fmla="*/ 6 h 35"/>
                  <a:gd name="T50" fmla="*/ 20 w 25"/>
                  <a:gd name="T51" fmla="*/ 6 h 35"/>
                  <a:gd name="T52" fmla="*/ 25 w 25"/>
                  <a:gd name="T53" fmla="*/ 5 h 35"/>
                  <a:gd name="T54" fmla="*/ 25 w 25"/>
                  <a:gd name="T55" fmla="*/ 3 h 35"/>
                  <a:gd name="T56" fmla="*/ 23 w 25"/>
                  <a:gd name="T57" fmla="*/ 2 h 35"/>
                  <a:gd name="T58" fmla="*/ 20 w 25"/>
                  <a:gd name="T59" fmla="*/ 0 h 35"/>
                  <a:gd name="T60" fmla="*/ 13 w 25"/>
                  <a:gd name="T61" fmla="*/ 3 h 35"/>
                  <a:gd name="T62" fmla="*/ 12 w 25"/>
                  <a:gd name="T63" fmla="*/ 5 h 35"/>
                  <a:gd name="T64" fmla="*/ 6 w 25"/>
                  <a:gd name="T65" fmla="*/ 15 h 35"/>
                  <a:gd name="T66" fmla="*/ 0 w 25"/>
                  <a:gd name="T67" fmla="*/ 26 h 35"/>
                  <a:gd name="T68" fmla="*/ 0 w 25"/>
                  <a:gd name="T69" fmla="*/ 29 h 35"/>
                  <a:gd name="T70" fmla="*/ 1 w 25"/>
                  <a:gd name="T71" fmla="*/ 32 h 35"/>
                  <a:gd name="T72" fmla="*/ 4 w 25"/>
                  <a:gd name="T73" fmla="*/ 35 h 35"/>
                  <a:gd name="T74" fmla="*/ 7 w 25"/>
                  <a:gd name="T75" fmla="*/ 35 h 35"/>
                  <a:gd name="T76" fmla="*/ 9 w 25"/>
                  <a:gd name="T77" fmla="*/ 35 h 35"/>
                  <a:gd name="T78" fmla="*/ 10 w 25"/>
                  <a:gd name="T79" fmla="*/ 34 h 35"/>
                  <a:gd name="T80" fmla="*/ 13 w 25"/>
                  <a:gd name="T81" fmla="*/ 32 h 35"/>
                  <a:gd name="T82" fmla="*/ 20 w 25"/>
                  <a:gd name="T83" fmla="*/ 19 h 35"/>
                  <a:gd name="T84" fmla="*/ 23 w 25"/>
                  <a:gd name="T85" fmla="*/ 12 h 35"/>
                  <a:gd name="T86" fmla="*/ 25 w 25"/>
                  <a:gd name="T87" fmla="*/ 7 h 35"/>
                  <a:gd name="T88" fmla="*/ 25 w 25"/>
                  <a:gd name="T89" fmla="*/ 5 h 35"/>
                  <a:gd name="T90" fmla="*/ 23 w 25"/>
                  <a:gd name="T91" fmla="*/ 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5" h="35">
                    <a:moveTo>
                      <a:pt x="23" y="5"/>
                    </a:move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7"/>
                    </a:lnTo>
                    <a:lnTo>
                      <a:pt x="20" y="7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9" y="28"/>
                    </a:lnTo>
                    <a:lnTo>
                      <a:pt x="9" y="28"/>
                    </a:lnTo>
                    <a:lnTo>
                      <a:pt x="7" y="29"/>
                    </a:lnTo>
                    <a:lnTo>
                      <a:pt x="7" y="31"/>
                    </a:lnTo>
                    <a:lnTo>
                      <a:pt x="9" y="31"/>
                    </a:lnTo>
                    <a:lnTo>
                      <a:pt x="7" y="31"/>
                    </a:lnTo>
                    <a:lnTo>
                      <a:pt x="7" y="31"/>
                    </a:lnTo>
                    <a:lnTo>
                      <a:pt x="7" y="31"/>
                    </a:lnTo>
                    <a:lnTo>
                      <a:pt x="9" y="31"/>
                    </a:lnTo>
                    <a:lnTo>
                      <a:pt x="7" y="31"/>
                    </a:lnTo>
                    <a:lnTo>
                      <a:pt x="7" y="31"/>
                    </a:lnTo>
                    <a:lnTo>
                      <a:pt x="7" y="31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3" y="5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25" y="3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2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0" y="29"/>
                    </a:lnTo>
                    <a:lnTo>
                      <a:pt x="1" y="32"/>
                    </a:lnTo>
                    <a:lnTo>
                      <a:pt x="1" y="32"/>
                    </a:lnTo>
                    <a:lnTo>
                      <a:pt x="4" y="35"/>
                    </a:lnTo>
                    <a:lnTo>
                      <a:pt x="4" y="35"/>
                    </a:lnTo>
                    <a:lnTo>
                      <a:pt x="7" y="35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20" y="19"/>
                    </a:lnTo>
                    <a:lnTo>
                      <a:pt x="20" y="19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5" y="7"/>
                    </a:lnTo>
                    <a:lnTo>
                      <a:pt x="25" y="7"/>
                    </a:lnTo>
                    <a:lnTo>
                      <a:pt x="25" y="6"/>
                    </a:lnTo>
                    <a:lnTo>
                      <a:pt x="25" y="5"/>
                    </a:lnTo>
                    <a:lnTo>
                      <a:pt x="25" y="5"/>
                    </a:lnTo>
                    <a:lnTo>
                      <a:pt x="23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04" name="Freeform 1557"/>
              <p:cNvSpPr>
                <a:spLocks/>
              </p:cNvSpPr>
              <p:nvPr/>
            </p:nvSpPr>
            <p:spPr bwMode="auto">
              <a:xfrm>
                <a:off x="6008405" y="1813463"/>
                <a:ext cx="15828" cy="25721"/>
              </a:xfrm>
              <a:custGeom>
                <a:avLst/>
                <a:gdLst>
                  <a:gd name="T0" fmla="*/ 12 w 16"/>
                  <a:gd name="T1" fmla="*/ 4 h 26"/>
                  <a:gd name="T2" fmla="*/ 12 w 16"/>
                  <a:gd name="T3" fmla="*/ 4 h 26"/>
                  <a:gd name="T4" fmla="*/ 7 w 16"/>
                  <a:gd name="T5" fmla="*/ 10 h 26"/>
                  <a:gd name="T6" fmla="*/ 7 w 16"/>
                  <a:gd name="T7" fmla="*/ 13 h 26"/>
                  <a:gd name="T8" fmla="*/ 9 w 16"/>
                  <a:gd name="T9" fmla="*/ 19 h 26"/>
                  <a:gd name="T10" fmla="*/ 10 w 16"/>
                  <a:gd name="T11" fmla="*/ 23 h 26"/>
                  <a:gd name="T12" fmla="*/ 10 w 16"/>
                  <a:gd name="T13" fmla="*/ 23 h 26"/>
                  <a:gd name="T14" fmla="*/ 12 w 16"/>
                  <a:gd name="T15" fmla="*/ 23 h 26"/>
                  <a:gd name="T16" fmla="*/ 12 w 16"/>
                  <a:gd name="T17" fmla="*/ 23 h 26"/>
                  <a:gd name="T18" fmla="*/ 12 w 16"/>
                  <a:gd name="T19" fmla="*/ 21 h 26"/>
                  <a:gd name="T20" fmla="*/ 12 w 16"/>
                  <a:gd name="T21" fmla="*/ 21 h 26"/>
                  <a:gd name="T22" fmla="*/ 6 w 16"/>
                  <a:gd name="T23" fmla="*/ 21 h 26"/>
                  <a:gd name="T24" fmla="*/ 4 w 16"/>
                  <a:gd name="T25" fmla="*/ 21 h 26"/>
                  <a:gd name="T26" fmla="*/ 4 w 16"/>
                  <a:gd name="T27" fmla="*/ 21 h 26"/>
                  <a:gd name="T28" fmla="*/ 4 w 16"/>
                  <a:gd name="T29" fmla="*/ 21 h 26"/>
                  <a:gd name="T30" fmla="*/ 4 w 16"/>
                  <a:gd name="T31" fmla="*/ 21 h 26"/>
                  <a:gd name="T32" fmla="*/ 4 w 16"/>
                  <a:gd name="T33" fmla="*/ 21 h 26"/>
                  <a:gd name="T34" fmla="*/ 4 w 16"/>
                  <a:gd name="T35" fmla="*/ 21 h 26"/>
                  <a:gd name="T36" fmla="*/ 6 w 16"/>
                  <a:gd name="T37" fmla="*/ 10 h 26"/>
                  <a:gd name="T38" fmla="*/ 6 w 16"/>
                  <a:gd name="T39" fmla="*/ 10 h 26"/>
                  <a:gd name="T40" fmla="*/ 6 w 16"/>
                  <a:gd name="T41" fmla="*/ 10 h 26"/>
                  <a:gd name="T42" fmla="*/ 10 w 16"/>
                  <a:gd name="T43" fmla="*/ 6 h 26"/>
                  <a:gd name="T44" fmla="*/ 13 w 16"/>
                  <a:gd name="T45" fmla="*/ 6 h 26"/>
                  <a:gd name="T46" fmla="*/ 13 w 16"/>
                  <a:gd name="T47" fmla="*/ 6 h 26"/>
                  <a:gd name="T48" fmla="*/ 13 w 16"/>
                  <a:gd name="T49" fmla="*/ 6 h 26"/>
                  <a:gd name="T50" fmla="*/ 12 w 16"/>
                  <a:gd name="T51" fmla="*/ 4 h 26"/>
                  <a:gd name="T52" fmla="*/ 12 w 16"/>
                  <a:gd name="T53" fmla="*/ 4 h 26"/>
                  <a:gd name="T54" fmla="*/ 12 w 16"/>
                  <a:gd name="T55" fmla="*/ 4 h 26"/>
                  <a:gd name="T56" fmla="*/ 12 w 16"/>
                  <a:gd name="T57" fmla="*/ 4 h 26"/>
                  <a:gd name="T58" fmla="*/ 16 w 16"/>
                  <a:gd name="T59" fmla="*/ 3 h 26"/>
                  <a:gd name="T60" fmla="*/ 14 w 16"/>
                  <a:gd name="T61" fmla="*/ 1 h 26"/>
                  <a:gd name="T62" fmla="*/ 9 w 16"/>
                  <a:gd name="T63" fmla="*/ 1 h 26"/>
                  <a:gd name="T64" fmla="*/ 4 w 16"/>
                  <a:gd name="T65" fmla="*/ 4 h 26"/>
                  <a:gd name="T66" fmla="*/ 1 w 16"/>
                  <a:gd name="T67" fmla="*/ 10 h 26"/>
                  <a:gd name="T68" fmla="*/ 0 w 16"/>
                  <a:gd name="T69" fmla="*/ 20 h 26"/>
                  <a:gd name="T70" fmla="*/ 0 w 16"/>
                  <a:gd name="T71" fmla="*/ 21 h 26"/>
                  <a:gd name="T72" fmla="*/ 3 w 16"/>
                  <a:gd name="T73" fmla="*/ 26 h 26"/>
                  <a:gd name="T74" fmla="*/ 7 w 16"/>
                  <a:gd name="T75" fmla="*/ 26 h 26"/>
                  <a:gd name="T76" fmla="*/ 14 w 16"/>
                  <a:gd name="T77" fmla="*/ 26 h 26"/>
                  <a:gd name="T78" fmla="*/ 14 w 16"/>
                  <a:gd name="T79" fmla="*/ 23 h 26"/>
                  <a:gd name="T80" fmla="*/ 13 w 16"/>
                  <a:gd name="T81" fmla="*/ 16 h 26"/>
                  <a:gd name="T82" fmla="*/ 12 w 16"/>
                  <a:gd name="T83" fmla="*/ 13 h 26"/>
                  <a:gd name="T84" fmla="*/ 12 w 16"/>
                  <a:gd name="T85" fmla="*/ 11 h 26"/>
                  <a:gd name="T86" fmla="*/ 14 w 16"/>
                  <a:gd name="T87" fmla="*/ 8 h 26"/>
                  <a:gd name="T88" fmla="*/ 16 w 16"/>
                  <a:gd name="T8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6" h="26">
                    <a:moveTo>
                      <a:pt x="13" y="3"/>
                    </a:move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7" y="10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9" y="21"/>
                    </a:lnTo>
                    <a:lnTo>
                      <a:pt x="9" y="21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2" y="23"/>
                    </a:lnTo>
                    <a:lnTo>
                      <a:pt x="10" y="21"/>
                    </a:lnTo>
                    <a:lnTo>
                      <a:pt x="10" y="23"/>
                    </a:lnTo>
                    <a:lnTo>
                      <a:pt x="12" y="23"/>
                    </a:lnTo>
                    <a:lnTo>
                      <a:pt x="10" y="21"/>
                    </a:lnTo>
                    <a:lnTo>
                      <a:pt x="12" y="23"/>
                    </a:lnTo>
                    <a:lnTo>
                      <a:pt x="12" y="21"/>
                    </a:lnTo>
                    <a:lnTo>
                      <a:pt x="10" y="21"/>
                    </a:lnTo>
                    <a:lnTo>
                      <a:pt x="12" y="23"/>
                    </a:lnTo>
                    <a:lnTo>
                      <a:pt x="12" y="21"/>
                    </a:lnTo>
                    <a:lnTo>
                      <a:pt x="12" y="21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3" y="21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3" y="21"/>
                    </a:lnTo>
                    <a:lnTo>
                      <a:pt x="4" y="21"/>
                    </a:lnTo>
                    <a:lnTo>
                      <a:pt x="3" y="21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3" y="21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6" y="17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2" y="4"/>
                    </a:lnTo>
                    <a:lnTo>
                      <a:pt x="13" y="3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3" y="3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3" y="3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4" y="1"/>
                    </a:lnTo>
                    <a:lnTo>
                      <a:pt x="14" y="1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1" y="1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7" y="26"/>
                    </a:lnTo>
                    <a:lnTo>
                      <a:pt x="7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3" y="16"/>
                    </a:lnTo>
                    <a:lnTo>
                      <a:pt x="13" y="16"/>
                    </a:lnTo>
                    <a:lnTo>
                      <a:pt x="12" y="13"/>
                    </a:lnTo>
                    <a:lnTo>
                      <a:pt x="12" y="13"/>
                    </a:lnTo>
                    <a:lnTo>
                      <a:pt x="12" y="13"/>
                    </a:lnTo>
                    <a:lnTo>
                      <a:pt x="12" y="13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6" y="7"/>
                    </a:lnTo>
                    <a:lnTo>
                      <a:pt x="16" y="4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3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09" name="Freeform 1562"/>
              <p:cNvSpPr>
                <a:spLocks/>
              </p:cNvSpPr>
              <p:nvPr/>
            </p:nvSpPr>
            <p:spPr bwMode="auto">
              <a:xfrm>
                <a:off x="6726608" y="2545515"/>
                <a:ext cx="13850" cy="12860"/>
              </a:xfrm>
              <a:custGeom>
                <a:avLst/>
                <a:gdLst>
                  <a:gd name="T0" fmla="*/ 14 w 14"/>
                  <a:gd name="T1" fmla="*/ 0 h 13"/>
                  <a:gd name="T2" fmla="*/ 14 w 14"/>
                  <a:gd name="T3" fmla="*/ 0 h 13"/>
                  <a:gd name="T4" fmla="*/ 11 w 14"/>
                  <a:gd name="T5" fmla="*/ 3 h 13"/>
                  <a:gd name="T6" fmla="*/ 7 w 14"/>
                  <a:gd name="T7" fmla="*/ 7 h 13"/>
                  <a:gd name="T8" fmla="*/ 2 w 14"/>
                  <a:gd name="T9" fmla="*/ 11 h 13"/>
                  <a:gd name="T10" fmla="*/ 0 w 14"/>
                  <a:gd name="T11" fmla="*/ 13 h 13"/>
                  <a:gd name="T12" fmla="*/ 0 w 14"/>
                  <a:gd name="T13" fmla="*/ 11 h 13"/>
                  <a:gd name="T14" fmla="*/ 0 w 14"/>
                  <a:gd name="T15" fmla="*/ 11 h 13"/>
                  <a:gd name="T16" fmla="*/ 1 w 14"/>
                  <a:gd name="T17" fmla="*/ 9 h 13"/>
                  <a:gd name="T18" fmla="*/ 5 w 14"/>
                  <a:gd name="T19" fmla="*/ 4 h 13"/>
                  <a:gd name="T20" fmla="*/ 11 w 14"/>
                  <a:gd name="T21" fmla="*/ 0 h 13"/>
                  <a:gd name="T22" fmla="*/ 14 w 14"/>
                  <a:gd name="T2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13">
                    <a:moveTo>
                      <a:pt x="14" y="0"/>
                    </a:moveTo>
                    <a:lnTo>
                      <a:pt x="14" y="0"/>
                    </a:lnTo>
                    <a:lnTo>
                      <a:pt x="11" y="3"/>
                    </a:lnTo>
                    <a:lnTo>
                      <a:pt x="7" y="7"/>
                    </a:lnTo>
                    <a:lnTo>
                      <a:pt x="2" y="11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5" y="4"/>
                    </a:lnTo>
                    <a:lnTo>
                      <a:pt x="11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10" name="Freeform 1563"/>
              <p:cNvSpPr>
                <a:spLocks/>
              </p:cNvSpPr>
              <p:nvPr/>
            </p:nvSpPr>
            <p:spPr bwMode="auto">
              <a:xfrm>
                <a:off x="6726608" y="2545515"/>
                <a:ext cx="13850" cy="12860"/>
              </a:xfrm>
              <a:custGeom>
                <a:avLst/>
                <a:gdLst>
                  <a:gd name="T0" fmla="*/ 14 w 14"/>
                  <a:gd name="T1" fmla="*/ 0 h 13"/>
                  <a:gd name="T2" fmla="*/ 14 w 14"/>
                  <a:gd name="T3" fmla="*/ 0 h 13"/>
                  <a:gd name="T4" fmla="*/ 11 w 14"/>
                  <a:gd name="T5" fmla="*/ 3 h 13"/>
                  <a:gd name="T6" fmla="*/ 7 w 14"/>
                  <a:gd name="T7" fmla="*/ 7 h 13"/>
                  <a:gd name="T8" fmla="*/ 2 w 14"/>
                  <a:gd name="T9" fmla="*/ 11 h 13"/>
                  <a:gd name="T10" fmla="*/ 0 w 14"/>
                  <a:gd name="T11" fmla="*/ 13 h 13"/>
                  <a:gd name="T12" fmla="*/ 0 w 14"/>
                  <a:gd name="T13" fmla="*/ 11 h 13"/>
                  <a:gd name="T14" fmla="*/ 0 w 14"/>
                  <a:gd name="T15" fmla="*/ 11 h 13"/>
                  <a:gd name="T16" fmla="*/ 1 w 14"/>
                  <a:gd name="T17" fmla="*/ 9 h 13"/>
                  <a:gd name="T18" fmla="*/ 5 w 14"/>
                  <a:gd name="T19" fmla="*/ 4 h 13"/>
                  <a:gd name="T20" fmla="*/ 11 w 14"/>
                  <a:gd name="T21" fmla="*/ 0 h 13"/>
                  <a:gd name="T22" fmla="*/ 14 w 14"/>
                  <a:gd name="T2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13">
                    <a:moveTo>
                      <a:pt x="14" y="0"/>
                    </a:moveTo>
                    <a:lnTo>
                      <a:pt x="14" y="0"/>
                    </a:lnTo>
                    <a:lnTo>
                      <a:pt x="11" y="3"/>
                    </a:lnTo>
                    <a:lnTo>
                      <a:pt x="7" y="7"/>
                    </a:lnTo>
                    <a:lnTo>
                      <a:pt x="2" y="11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5" y="4"/>
                    </a:lnTo>
                    <a:lnTo>
                      <a:pt x="11" y="0"/>
                    </a:lnTo>
                    <a:lnTo>
                      <a:pt x="14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11" name="Freeform 1564"/>
              <p:cNvSpPr>
                <a:spLocks/>
              </p:cNvSpPr>
              <p:nvPr/>
            </p:nvSpPr>
            <p:spPr bwMode="auto">
              <a:xfrm>
                <a:off x="6749361" y="2519795"/>
                <a:ext cx="26710" cy="22753"/>
              </a:xfrm>
              <a:custGeom>
                <a:avLst/>
                <a:gdLst>
                  <a:gd name="T0" fmla="*/ 1 w 27"/>
                  <a:gd name="T1" fmla="*/ 23 h 23"/>
                  <a:gd name="T2" fmla="*/ 1 w 27"/>
                  <a:gd name="T3" fmla="*/ 23 h 23"/>
                  <a:gd name="T4" fmla="*/ 0 w 27"/>
                  <a:gd name="T5" fmla="*/ 22 h 23"/>
                  <a:gd name="T6" fmla="*/ 1 w 27"/>
                  <a:gd name="T7" fmla="*/ 19 h 23"/>
                  <a:gd name="T8" fmla="*/ 6 w 27"/>
                  <a:gd name="T9" fmla="*/ 13 h 23"/>
                  <a:gd name="T10" fmla="*/ 10 w 27"/>
                  <a:gd name="T11" fmla="*/ 8 h 23"/>
                  <a:gd name="T12" fmla="*/ 14 w 27"/>
                  <a:gd name="T13" fmla="*/ 7 h 23"/>
                  <a:gd name="T14" fmla="*/ 14 w 27"/>
                  <a:gd name="T15" fmla="*/ 7 h 23"/>
                  <a:gd name="T16" fmla="*/ 17 w 27"/>
                  <a:gd name="T17" fmla="*/ 6 h 23"/>
                  <a:gd name="T18" fmla="*/ 21 w 27"/>
                  <a:gd name="T19" fmla="*/ 4 h 23"/>
                  <a:gd name="T20" fmla="*/ 27 w 27"/>
                  <a:gd name="T21" fmla="*/ 0 h 23"/>
                  <a:gd name="T22" fmla="*/ 27 w 27"/>
                  <a:gd name="T23" fmla="*/ 0 h 23"/>
                  <a:gd name="T24" fmla="*/ 24 w 27"/>
                  <a:gd name="T25" fmla="*/ 4 h 23"/>
                  <a:gd name="T26" fmla="*/ 16 w 27"/>
                  <a:gd name="T27" fmla="*/ 13 h 23"/>
                  <a:gd name="T28" fmla="*/ 6 w 27"/>
                  <a:gd name="T29" fmla="*/ 20 h 23"/>
                  <a:gd name="T30" fmla="*/ 1 w 27"/>
                  <a:gd name="T31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7" h="23">
                    <a:moveTo>
                      <a:pt x="1" y="23"/>
                    </a:moveTo>
                    <a:lnTo>
                      <a:pt x="1" y="23"/>
                    </a:lnTo>
                    <a:lnTo>
                      <a:pt x="0" y="22"/>
                    </a:lnTo>
                    <a:lnTo>
                      <a:pt x="1" y="19"/>
                    </a:lnTo>
                    <a:lnTo>
                      <a:pt x="6" y="13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7" y="6"/>
                    </a:lnTo>
                    <a:lnTo>
                      <a:pt x="21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4" y="4"/>
                    </a:lnTo>
                    <a:lnTo>
                      <a:pt x="16" y="13"/>
                    </a:lnTo>
                    <a:lnTo>
                      <a:pt x="6" y="20"/>
                    </a:lnTo>
                    <a:lnTo>
                      <a:pt x="1" y="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12" name="Freeform 1565"/>
              <p:cNvSpPr>
                <a:spLocks/>
              </p:cNvSpPr>
              <p:nvPr/>
            </p:nvSpPr>
            <p:spPr bwMode="auto">
              <a:xfrm>
                <a:off x="6749361" y="2519795"/>
                <a:ext cx="26710" cy="22753"/>
              </a:xfrm>
              <a:custGeom>
                <a:avLst/>
                <a:gdLst>
                  <a:gd name="T0" fmla="*/ 1 w 27"/>
                  <a:gd name="T1" fmla="*/ 23 h 23"/>
                  <a:gd name="T2" fmla="*/ 1 w 27"/>
                  <a:gd name="T3" fmla="*/ 23 h 23"/>
                  <a:gd name="T4" fmla="*/ 0 w 27"/>
                  <a:gd name="T5" fmla="*/ 22 h 23"/>
                  <a:gd name="T6" fmla="*/ 1 w 27"/>
                  <a:gd name="T7" fmla="*/ 19 h 23"/>
                  <a:gd name="T8" fmla="*/ 6 w 27"/>
                  <a:gd name="T9" fmla="*/ 13 h 23"/>
                  <a:gd name="T10" fmla="*/ 10 w 27"/>
                  <a:gd name="T11" fmla="*/ 8 h 23"/>
                  <a:gd name="T12" fmla="*/ 14 w 27"/>
                  <a:gd name="T13" fmla="*/ 7 h 23"/>
                  <a:gd name="T14" fmla="*/ 14 w 27"/>
                  <a:gd name="T15" fmla="*/ 7 h 23"/>
                  <a:gd name="T16" fmla="*/ 17 w 27"/>
                  <a:gd name="T17" fmla="*/ 6 h 23"/>
                  <a:gd name="T18" fmla="*/ 21 w 27"/>
                  <a:gd name="T19" fmla="*/ 4 h 23"/>
                  <a:gd name="T20" fmla="*/ 27 w 27"/>
                  <a:gd name="T21" fmla="*/ 0 h 23"/>
                  <a:gd name="T22" fmla="*/ 27 w 27"/>
                  <a:gd name="T23" fmla="*/ 0 h 23"/>
                  <a:gd name="T24" fmla="*/ 24 w 27"/>
                  <a:gd name="T25" fmla="*/ 4 h 23"/>
                  <a:gd name="T26" fmla="*/ 16 w 27"/>
                  <a:gd name="T27" fmla="*/ 13 h 23"/>
                  <a:gd name="T28" fmla="*/ 6 w 27"/>
                  <a:gd name="T29" fmla="*/ 20 h 23"/>
                  <a:gd name="T30" fmla="*/ 1 w 27"/>
                  <a:gd name="T31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7" h="23">
                    <a:moveTo>
                      <a:pt x="1" y="23"/>
                    </a:moveTo>
                    <a:lnTo>
                      <a:pt x="1" y="23"/>
                    </a:lnTo>
                    <a:lnTo>
                      <a:pt x="0" y="22"/>
                    </a:lnTo>
                    <a:lnTo>
                      <a:pt x="1" y="19"/>
                    </a:lnTo>
                    <a:lnTo>
                      <a:pt x="6" y="13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7" y="6"/>
                    </a:lnTo>
                    <a:lnTo>
                      <a:pt x="21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4" y="4"/>
                    </a:lnTo>
                    <a:lnTo>
                      <a:pt x="16" y="13"/>
                    </a:lnTo>
                    <a:lnTo>
                      <a:pt x="6" y="20"/>
                    </a:lnTo>
                    <a:lnTo>
                      <a:pt x="1" y="2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13" name="Freeform 1566"/>
              <p:cNvSpPr>
                <a:spLocks/>
              </p:cNvSpPr>
              <p:nvPr/>
            </p:nvSpPr>
            <p:spPr bwMode="auto">
              <a:xfrm>
                <a:off x="6787942" y="2501988"/>
                <a:ext cx="10882" cy="12860"/>
              </a:xfrm>
              <a:custGeom>
                <a:avLst/>
                <a:gdLst>
                  <a:gd name="T0" fmla="*/ 1 w 11"/>
                  <a:gd name="T1" fmla="*/ 13 h 13"/>
                  <a:gd name="T2" fmla="*/ 1 w 11"/>
                  <a:gd name="T3" fmla="*/ 13 h 13"/>
                  <a:gd name="T4" fmla="*/ 0 w 11"/>
                  <a:gd name="T5" fmla="*/ 12 h 13"/>
                  <a:gd name="T6" fmla="*/ 1 w 11"/>
                  <a:gd name="T7" fmla="*/ 11 h 13"/>
                  <a:gd name="T8" fmla="*/ 4 w 11"/>
                  <a:gd name="T9" fmla="*/ 6 h 13"/>
                  <a:gd name="T10" fmla="*/ 9 w 11"/>
                  <a:gd name="T11" fmla="*/ 2 h 13"/>
                  <a:gd name="T12" fmla="*/ 10 w 11"/>
                  <a:gd name="T13" fmla="*/ 0 h 13"/>
                  <a:gd name="T14" fmla="*/ 11 w 11"/>
                  <a:gd name="T15" fmla="*/ 2 h 13"/>
                  <a:gd name="T16" fmla="*/ 11 w 11"/>
                  <a:gd name="T17" fmla="*/ 2 h 13"/>
                  <a:gd name="T18" fmla="*/ 11 w 11"/>
                  <a:gd name="T19" fmla="*/ 3 h 13"/>
                  <a:gd name="T20" fmla="*/ 11 w 11"/>
                  <a:gd name="T21" fmla="*/ 5 h 13"/>
                  <a:gd name="T22" fmla="*/ 9 w 11"/>
                  <a:gd name="T23" fmla="*/ 9 h 13"/>
                  <a:gd name="T24" fmla="*/ 4 w 11"/>
                  <a:gd name="T25" fmla="*/ 12 h 13"/>
                  <a:gd name="T26" fmla="*/ 1 w 11"/>
                  <a:gd name="T27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1" y="13"/>
                    </a:moveTo>
                    <a:lnTo>
                      <a:pt x="1" y="13"/>
                    </a:lnTo>
                    <a:lnTo>
                      <a:pt x="0" y="12"/>
                    </a:lnTo>
                    <a:lnTo>
                      <a:pt x="1" y="11"/>
                    </a:lnTo>
                    <a:lnTo>
                      <a:pt x="4" y="6"/>
                    </a:lnTo>
                    <a:lnTo>
                      <a:pt x="9" y="2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3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4" y="12"/>
                    </a:lnTo>
                    <a:lnTo>
                      <a:pt x="1" y="1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14" name="Freeform 1567"/>
              <p:cNvSpPr>
                <a:spLocks/>
              </p:cNvSpPr>
              <p:nvPr/>
            </p:nvSpPr>
            <p:spPr bwMode="auto">
              <a:xfrm>
                <a:off x="6787942" y="2501988"/>
                <a:ext cx="10882" cy="12860"/>
              </a:xfrm>
              <a:custGeom>
                <a:avLst/>
                <a:gdLst>
                  <a:gd name="T0" fmla="*/ 1 w 11"/>
                  <a:gd name="T1" fmla="*/ 13 h 13"/>
                  <a:gd name="T2" fmla="*/ 1 w 11"/>
                  <a:gd name="T3" fmla="*/ 13 h 13"/>
                  <a:gd name="T4" fmla="*/ 0 w 11"/>
                  <a:gd name="T5" fmla="*/ 12 h 13"/>
                  <a:gd name="T6" fmla="*/ 1 w 11"/>
                  <a:gd name="T7" fmla="*/ 11 h 13"/>
                  <a:gd name="T8" fmla="*/ 4 w 11"/>
                  <a:gd name="T9" fmla="*/ 6 h 13"/>
                  <a:gd name="T10" fmla="*/ 9 w 11"/>
                  <a:gd name="T11" fmla="*/ 2 h 13"/>
                  <a:gd name="T12" fmla="*/ 10 w 11"/>
                  <a:gd name="T13" fmla="*/ 0 h 13"/>
                  <a:gd name="T14" fmla="*/ 11 w 11"/>
                  <a:gd name="T15" fmla="*/ 2 h 13"/>
                  <a:gd name="T16" fmla="*/ 11 w 11"/>
                  <a:gd name="T17" fmla="*/ 2 h 13"/>
                  <a:gd name="T18" fmla="*/ 11 w 11"/>
                  <a:gd name="T19" fmla="*/ 3 h 13"/>
                  <a:gd name="T20" fmla="*/ 11 w 11"/>
                  <a:gd name="T21" fmla="*/ 5 h 13"/>
                  <a:gd name="T22" fmla="*/ 9 w 11"/>
                  <a:gd name="T23" fmla="*/ 9 h 13"/>
                  <a:gd name="T24" fmla="*/ 4 w 11"/>
                  <a:gd name="T25" fmla="*/ 12 h 13"/>
                  <a:gd name="T26" fmla="*/ 1 w 11"/>
                  <a:gd name="T27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1" y="13"/>
                    </a:moveTo>
                    <a:lnTo>
                      <a:pt x="1" y="13"/>
                    </a:lnTo>
                    <a:lnTo>
                      <a:pt x="0" y="12"/>
                    </a:lnTo>
                    <a:lnTo>
                      <a:pt x="1" y="11"/>
                    </a:lnTo>
                    <a:lnTo>
                      <a:pt x="4" y="6"/>
                    </a:lnTo>
                    <a:lnTo>
                      <a:pt x="9" y="2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3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4" y="12"/>
                    </a:lnTo>
                    <a:lnTo>
                      <a:pt x="1" y="1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15" name="Freeform 1568"/>
              <p:cNvSpPr>
                <a:spLocks/>
              </p:cNvSpPr>
              <p:nvPr/>
            </p:nvSpPr>
            <p:spPr bwMode="auto">
              <a:xfrm>
                <a:off x="6819598" y="2481214"/>
                <a:ext cx="6925" cy="7914"/>
              </a:xfrm>
              <a:custGeom>
                <a:avLst/>
                <a:gdLst>
                  <a:gd name="T0" fmla="*/ 7 w 7"/>
                  <a:gd name="T1" fmla="*/ 0 h 8"/>
                  <a:gd name="T2" fmla="*/ 7 w 7"/>
                  <a:gd name="T3" fmla="*/ 0 h 8"/>
                  <a:gd name="T4" fmla="*/ 4 w 7"/>
                  <a:gd name="T5" fmla="*/ 0 h 8"/>
                  <a:gd name="T6" fmla="*/ 1 w 7"/>
                  <a:gd name="T7" fmla="*/ 1 h 8"/>
                  <a:gd name="T8" fmla="*/ 0 w 7"/>
                  <a:gd name="T9" fmla="*/ 4 h 8"/>
                  <a:gd name="T10" fmla="*/ 0 w 7"/>
                  <a:gd name="T11" fmla="*/ 7 h 8"/>
                  <a:gd name="T12" fmla="*/ 0 w 7"/>
                  <a:gd name="T13" fmla="*/ 7 h 8"/>
                  <a:gd name="T14" fmla="*/ 1 w 7"/>
                  <a:gd name="T15" fmla="*/ 8 h 8"/>
                  <a:gd name="T16" fmla="*/ 3 w 7"/>
                  <a:gd name="T17" fmla="*/ 8 h 8"/>
                  <a:gd name="T18" fmla="*/ 5 w 7"/>
                  <a:gd name="T19" fmla="*/ 5 h 8"/>
                  <a:gd name="T20" fmla="*/ 7 w 7"/>
                  <a:gd name="T21" fmla="*/ 3 h 8"/>
                  <a:gd name="T22" fmla="*/ 7 w 7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8">
                    <a:moveTo>
                      <a:pt x="7" y="0"/>
                    </a:moveTo>
                    <a:lnTo>
                      <a:pt x="7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16" name="Freeform 1570"/>
              <p:cNvSpPr>
                <a:spLocks/>
              </p:cNvSpPr>
              <p:nvPr/>
            </p:nvSpPr>
            <p:spPr bwMode="auto">
              <a:xfrm>
                <a:off x="6874997" y="2398116"/>
                <a:ext cx="15828" cy="13850"/>
              </a:xfrm>
              <a:custGeom>
                <a:avLst/>
                <a:gdLst>
                  <a:gd name="T0" fmla="*/ 16 w 16"/>
                  <a:gd name="T1" fmla="*/ 0 h 14"/>
                  <a:gd name="T2" fmla="*/ 16 w 16"/>
                  <a:gd name="T3" fmla="*/ 0 h 14"/>
                  <a:gd name="T4" fmla="*/ 13 w 16"/>
                  <a:gd name="T5" fmla="*/ 0 h 14"/>
                  <a:gd name="T6" fmla="*/ 12 w 16"/>
                  <a:gd name="T7" fmla="*/ 1 h 14"/>
                  <a:gd name="T8" fmla="*/ 9 w 16"/>
                  <a:gd name="T9" fmla="*/ 3 h 14"/>
                  <a:gd name="T10" fmla="*/ 6 w 16"/>
                  <a:gd name="T11" fmla="*/ 4 h 14"/>
                  <a:gd name="T12" fmla="*/ 6 w 16"/>
                  <a:gd name="T13" fmla="*/ 4 h 14"/>
                  <a:gd name="T14" fmla="*/ 3 w 16"/>
                  <a:gd name="T15" fmla="*/ 7 h 14"/>
                  <a:gd name="T16" fmla="*/ 0 w 16"/>
                  <a:gd name="T17" fmla="*/ 10 h 14"/>
                  <a:gd name="T18" fmla="*/ 0 w 16"/>
                  <a:gd name="T19" fmla="*/ 13 h 14"/>
                  <a:gd name="T20" fmla="*/ 2 w 16"/>
                  <a:gd name="T21" fmla="*/ 14 h 14"/>
                  <a:gd name="T22" fmla="*/ 2 w 16"/>
                  <a:gd name="T23" fmla="*/ 14 h 14"/>
                  <a:gd name="T24" fmla="*/ 6 w 16"/>
                  <a:gd name="T25" fmla="*/ 13 h 14"/>
                  <a:gd name="T26" fmla="*/ 12 w 16"/>
                  <a:gd name="T27" fmla="*/ 7 h 14"/>
                  <a:gd name="T28" fmla="*/ 16 w 16"/>
                  <a:gd name="T29" fmla="*/ 1 h 14"/>
                  <a:gd name="T30" fmla="*/ 16 w 16"/>
                  <a:gd name="T31" fmla="*/ 0 h 14"/>
                  <a:gd name="T32" fmla="*/ 16 w 16"/>
                  <a:gd name="T3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14">
                    <a:moveTo>
                      <a:pt x="16" y="0"/>
                    </a:moveTo>
                    <a:lnTo>
                      <a:pt x="16" y="0"/>
                    </a:lnTo>
                    <a:lnTo>
                      <a:pt x="13" y="0"/>
                    </a:lnTo>
                    <a:lnTo>
                      <a:pt x="12" y="1"/>
                    </a:lnTo>
                    <a:lnTo>
                      <a:pt x="9" y="3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6" y="13"/>
                    </a:lnTo>
                    <a:lnTo>
                      <a:pt x="12" y="7"/>
                    </a:lnTo>
                    <a:lnTo>
                      <a:pt x="16" y="1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17" name="Freeform 1571"/>
              <p:cNvSpPr>
                <a:spLocks/>
              </p:cNvSpPr>
              <p:nvPr/>
            </p:nvSpPr>
            <p:spPr bwMode="auto">
              <a:xfrm>
                <a:off x="6874997" y="2398116"/>
                <a:ext cx="15828" cy="13850"/>
              </a:xfrm>
              <a:custGeom>
                <a:avLst/>
                <a:gdLst>
                  <a:gd name="T0" fmla="*/ 16 w 16"/>
                  <a:gd name="T1" fmla="*/ 0 h 14"/>
                  <a:gd name="T2" fmla="*/ 16 w 16"/>
                  <a:gd name="T3" fmla="*/ 0 h 14"/>
                  <a:gd name="T4" fmla="*/ 13 w 16"/>
                  <a:gd name="T5" fmla="*/ 0 h 14"/>
                  <a:gd name="T6" fmla="*/ 12 w 16"/>
                  <a:gd name="T7" fmla="*/ 1 h 14"/>
                  <a:gd name="T8" fmla="*/ 9 w 16"/>
                  <a:gd name="T9" fmla="*/ 3 h 14"/>
                  <a:gd name="T10" fmla="*/ 6 w 16"/>
                  <a:gd name="T11" fmla="*/ 4 h 14"/>
                  <a:gd name="T12" fmla="*/ 6 w 16"/>
                  <a:gd name="T13" fmla="*/ 4 h 14"/>
                  <a:gd name="T14" fmla="*/ 3 w 16"/>
                  <a:gd name="T15" fmla="*/ 7 h 14"/>
                  <a:gd name="T16" fmla="*/ 0 w 16"/>
                  <a:gd name="T17" fmla="*/ 10 h 14"/>
                  <a:gd name="T18" fmla="*/ 0 w 16"/>
                  <a:gd name="T19" fmla="*/ 13 h 14"/>
                  <a:gd name="T20" fmla="*/ 2 w 16"/>
                  <a:gd name="T21" fmla="*/ 14 h 14"/>
                  <a:gd name="T22" fmla="*/ 2 w 16"/>
                  <a:gd name="T23" fmla="*/ 14 h 14"/>
                  <a:gd name="T24" fmla="*/ 6 w 16"/>
                  <a:gd name="T25" fmla="*/ 13 h 14"/>
                  <a:gd name="T26" fmla="*/ 12 w 16"/>
                  <a:gd name="T27" fmla="*/ 7 h 14"/>
                  <a:gd name="T28" fmla="*/ 16 w 16"/>
                  <a:gd name="T29" fmla="*/ 1 h 14"/>
                  <a:gd name="T30" fmla="*/ 16 w 16"/>
                  <a:gd name="T31" fmla="*/ 0 h 14"/>
                  <a:gd name="T32" fmla="*/ 16 w 16"/>
                  <a:gd name="T3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14">
                    <a:moveTo>
                      <a:pt x="16" y="0"/>
                    </a:moveTo>
                    <a:lnTo>
                      <a:pt x="16" y="0"/>
                    </a:lnTo>
                    <a:lnTo>
                      <a:pt x="13" y="0"/>
                    </a:lnTo>
                    <a:lnTo>
                      <a:pt x="12" y="1"/>
                    </a:lnTo>
                    <a:lnTo>
                      <a:pt x="9" y="3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6" y="13"/>
                    </a:lnTo>
                    <a:lnTo>
                      <a:pt x="12" y="7"/>
                    </a:lnTo>
                    <a:lnTo>
                      <a:pt x="16" y="1"/>
                    </a:lnTo>
                    <a:lnTo>
                      <a:pt x="16" y="0"/>
                    </a:lnTo>
                    <a:lnTo>
                      <a:pt x="16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18" name="Freeform 1572"/>
              <p:cNvSpPr>
                <a:spLocks/>
              </p:cNvSpPr>
              <p:nvPr/>
            </p:nvSpPr>
            <p:spPr bwMode="auto">
              <a:xfrm>
                <a:off x="6858179" y="2440654"/>
                <a:ext cx="2968" cy="2968"/>
              </a:xfrm>
              <a:custGeom>
                <a:avLst/>
                <a:gdLst>
                  <a:gd name="T0" fmla="*/ 1 w 3"/>
                  <a:gd name="T1" fmla="*/ 0 h 3"/>
                  <a:gd name="T2" fmla="*/ 1 w 3"/>
                  <a:gd name="T3" fmla="*/ 0 h 3"/>
                  <a:gd name="T4" fmla="*/ 0 w 3"/>
                  <a:gd name="T5" fmla="*/ 0 h 3"/>
                  <a:gd name="T6" fmla="*/ 0 w 3"/>
                  <a:gd name="T7" fmla="*/ 2 h 3"/>
                  <a:gd name="T8" fmla="*/ 0 w 3"/>
                  <a:gd name="T9" fmla="*/ 3 h 3"/>
                  <a:gd name="T10" fmla="*/ 0 w 3"/>
                  <a:gd name="T11" fmla="*/ 3 h 3"/>
                  <a:gd name="T12" fmla="*/ 0 w 3"/>
                  <a:gd name="T13" fmla="*/ 3 h 3"/>
                  <a:gd name="T14" fmla="*/ 3 w 3"/>
                  <a:gd name="T15" fmla="*/ 2 h 3"/>
                  <a:gd name="T16" fmla="*/ 3 w 3"/>
                  <a:gd name="T17" fmla="*/ 0 h 3"/>
                  <a:gd name="T18" fmla="*/ 1 w 3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3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19" name="Freeform 1573"/>
              <p:cNvSpPr>
                <a:spLocks/>
              </p:cNvSpPr>
              <p:nvPr/>
            </p:nvSpPr>
            <p:spPr bwMode="auto">
              <a:xfrm>
                <a:off x="6858179" y="2440654"/>
                <a:ext cx="2968" cy="2968"/>
              </a:xfrm>
              <a:custGeom>
                <a:avLst/>
                <a:gdLst>
                  <a:gd name="T0" fmla="*/ 1 w 3"/>
                  <a:gd name="T1" fmla="*/ 0 h 3"/>
                  <a:gd name="T2" fmla="*/ 1 w 3"/>
                  <a:gd name="T3" fmla="*/ 0 h 3"/>
                  <a:gd name="T4" fmla="*/ 0 w 3"/>
                  <a:gd name="T5" fmla="*/ 0 h 3"/>
                  <a:gd name="T6" fmla="*/ 0 w 3"/>
                  <a:gd name="T7" fmla="*/ 2 h 3"/>
                  <a:gd name="T8" fmla="*/ 0 w 3"/>
                  <a:gd name="T9" fmla="*/ 3 h 3"/>
                  <a:gd name="T10" fmla="*/ 0 w 3"/>
                  <a:gd name="T11" fmla="*/ 3 h 3"/>
                  <a:gd name="T12" fmla="*/ 0 w 3"/>
                  <a:gd name="T13" fmla="*/ 3 h 3"/>
                  <a:gd name="T14" fmla="*/ 3 w 3"/>
                  <a:gd name="T15" fmla="*/ 2 h 3"/>
                  <a:gd name="T16" fmla="*/ 3 w 3"/>
                  <a:gd name="T17" fmla="*/ 0 h 3"/>
                  <a:gd name="T18" fmla="*/ 1 w 3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3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1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20" name="Freeform 1574"/>
              <p:cNvSpPr>
                <a:spLocks/>
              </p:cNvSpPr>
              <p:nvPr/>
            </p:nvSpPr>
            <p:spPr bwMode="auto">
              <a:xfrm>
                <a:off x="6440712" y="2890767"/>
                <a:ext cx="8903" cy="11871"/>
              </a:xfrm>
              <a:custGeom>
                <a:avLst/>
                <a:gdLst>
                  <a:gd name="T0" fmla="*/ 8 w 9"/>
                  <a:gd name="T1" fmla="*/ 0 h 12"/>
                  <a:gd name="T2" fmla="*/ 8 w 9"/>
                  <a:gd name="T3" fmla="*/ 0 h 12"/>
                  <a:gd name="T4" fmla="*/ 5 w 9"/>
                  <a:gd name="T5" fmla="*/ 1 h 12"/>
                  <a:gd name="T6" fmla="*/ 2 w 9"/>
                  <a:gd name="T7" fmla="*/ 4 h 12"/>
                  <a:gd name="T8" fmla="*/ 0 w 9"/>
                  <a:gd name="T9" fmla="*/ 9 h 12"/>
                  <a:gd name="T10" fmla="*/ 0 w 9"/>
                  <a:gd name="T11" fmla="*/ 10 h 12"/>
                  <a:gd name="T12" fmla="*/ 0 w 9"/>
                  <a:gd name="T13" fmla="*/ 12 h 12"/>
                  <a:gd name="T14" fmla="*/ 0 w 9"/>
                  <a:gd name="T15" fmla="*/ 12 h 12"/>
                  <a:gd name="T16" fmla="*/ 5 w 9"/>
                  <a:gd name="T17" fmla="*/ 10 h 12"/>
                  <a:gd name="T18" fmla="*/ 8 w 9"/>
                  <a:gd name="T19" fmla="*/ 7 h 12"/>
                  <a:gd name="T20" fmla="*/ 9 w 9"/>
                  <a:gd name="T21" fmla="*/ 3 h 12"/>
                  <a:gd name="T22" fmla="*/ 9 w 9"/>
                  <a:gd name="T23" fmla="*/ 1 h 12"/>
                  <a:gd name="T24" fmla="*/ 8 w 9"/>
                  <a:gd name="T2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12">
                    <a:moveTo>
                      <a:pt x="8" y="0"/>
                    </a:moveTo>
                    <a:lnTo>
                      <a:pt x="8" y="0"/>
                    </a:lnTo>
                    <a:lnTo>
                      <a:pt x="5" y="1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5" y="10"/>
                    </a:lnTo>
                    <a:lnTo>
                      <a:pt x="8" y="7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21" name="Freeform 1575"/>
              <p:cNvSpPr>
                <a:spLocks/>
              </p:cNvSpPr>
              <p:nvPr/>
            </p:nvSpPr>
            <p:spPr bwMode="auto">
              <a:xfrm>
                <a:off x="6440712" y="2890767"/>
                <a:ext cx="8903" cy="11871"/>
              </a:xfrm>
              <a:custGeom>
                <a:avLst/>
                <a:gdLst>
                  <a:gd name="T0" fmla="*/ 8 w 9"/>
                  <a:gd name="T1" fmla="*/ 0 h 12"/>
                  <a:gd name="T2" fmla="*/ 8 w 9"/>
                  <a:gd name="T3" fmla="*/ 0 h 12"/>
                  <a:gd name="T4" fmla="*/ 5 w 9"/>
                  <a:gd name="T5" fmla="*/ 1 h 12"/>
                  <a:gd name="T6" fmla="*/ 2 w 9"/>
                  <a:gd name="T7" fmla="*/ 4 h 12"/>
                  <a:gd name="T8" fmla="*/ 0 w 9"/>
                  <a:gd name="T9" fmla="*/ 9 h 12"/>
                  <a:gd name="T10" fmla="*/ 0 w 9"/>
                  <a:gd name="T11" fmla="*/ 10 h 12"/>
                  <a:gd name="T12" fmla="*/ 0 w 9"/>
                  <a:gd name="T13" fmla="*/ 12 h 12"/>
                  <a:gd name="T14" fmla="*/ 0 w 9"/>
                  <a:gd name="T15" fmla="*/ 12 h 12"/>
                  <a:gd name="T16" fmla="*/ 5 w 9"/>
                  <a:gd name="T17" fmla="*/ 10 h 12"/>
                  <a:gd name="T18" fmla="*/ 8 w 9"/>
                  <a:gd name="T19" fmla="*/ 7 h 12"/>
                  <a:gd name="T20" fmla="*/ 9 w 9"/>
                  <a:gd name="T21" fmla="*/ 3 h 12"/>
                  <a:gd name="T22" fmla="*/ 9 w 9"/>
                  <a:gd name="T23" fmla="*/ 1 h 12"/>
                  <a:gd name="T24" fmla="*/ 8 w 9"/>
                  <a:gd name="T2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12">
                    <a:moveTo>
                      <a:pt x="8" y="0"/>
                    </a:moveTo>
                    <a:lnTo>
                      <a:pt x="8" y="0"/>
                    </a:lnTo>
                    <a:lnTo>
                      <a:pt x="5" y="1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5" y="10"/>
                    </a:lnTo>
                    <a:lnTo>
                      <a:pt x="8" y="7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8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22" name="Freeform 1576"/>
              <p:cNvSpPr>
                <a:spLocks/>
              </p:cNvSpPr>
              <p:nvPr/>
            </p:nvSpPr>
            <p:spPr bwMode="auto">
              <a:xfrm>
                <a:off x="6539638" y="2992661"/>
                <a:ext cx="2968" cy="2968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3 h 3"/>
                  <a:gd name="T4" fmla="*/ 2 w 3"/>
                  <a:gd name="T5" fmla="*/ 3 h 3"/>
                  <a:gd name="T6" fmla="*/ 2 w 3"/>
                  <a:gd name="T7" fmla="*/ 3 h 3"/>
                  <a:gd name="T8" fmla="*/ 0 w 3"/>
                  <a:gd name="T9" fmla="*/ 1 h 3"/>
                  <a:gd name="T10" fmla="*/ 0 w 3"/>
                  <a:gd name="T11" fmla="*/ 1 h 3"/>
                  <a:gd name="T12" fmla="*/ 2 w 3"/>
                  <a:gd name="T13" fmla="*/ 0 h 3"/>
                  <a:gd name="T14" fmla="*/ 2 w 3"/>
                  <a:gd name="T15" fmla="*/ 0 h 3"/>
                  <a:gd name="T16" fmla="*/ 3 w 3"/>
                  <a:gd name="T17" fmla="*/ 0 h 3"/>
                  <a:gd name="T18" fmla="*/ 3 w 3"/>
                  <a:gd name="T19" fmla="*/ 0 h 3"/>
                  <a:gd name="T20" fmla="*/ 3 w 3"/>
                  <a:gd name="T21" fmla="*/ 1 h 3"/>
                  <a:gd name="T22" fmla="*/ 3 w 3"/>
                  <a:gd name="T23" fmla="*/ 1 h 3"/>
                  <a:gd name="T24" fmla="*/ 3 w 3"/>
                  <a:gd name="T25" fmla="*/ 1 h 3"/>
                  <a:gd name="T26" fmla="*/ 3 w 3"/>
                  <a:gd name="T2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23" name="Freeform 1577"/>
              <p:cNvSpPr>
                <a:spLocks/>
              </p:cNvSpPr>
              <p:nvPr/>
            </p:nvSpPr>
            <p:spPr bwMode="auto">
              <a:xfrm>
                <a:off x="6539638" y="2992661"/>
                <a:ext cx="2968" cy="2968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3 h 3"/>
                  <a:gd name="T4" fmla="*/ 2 w 3"/>
                  <a:gd name="T5" fmla="*/ 3 h 3"/>
                  <a:gd name="T6" fmla="*/ 2 w 3"/>
                  <a:gd name="T7" fmla="*/ 3 h 3"/>
                  <a:gd name="T8" fmla="*/ 0 w 3"/>
                  <a:gd name="T9" fmla="*/ 1 h 3"/>
                  <a:gd name="T10" fmla="*/ 0 w 3"/>
                  <a:gd name="T11" fmla="*/ 1 h 3"/>
                  <a:gd name="T12" fmla="*/ 2 w 3"/>
                  <a:gd name="T13" fmla="*/ 0 h 3"/>
                  <a:gd name="T14" fmla="*/ 2 w 3"/>
                  <a:gd name="T15" fmla="*/ 0 h 3"/>
                  <a:gd name="T16" fmla="*/ 3 w 3"/>
                  <a:gd name="T17" fmla="*/ 0 h 3"/>
                  <a:gd name="T18" fmla="*/ 3 w 3"/>
                  <a:gd name="T19" fmla="*/ 0 h 3"/>
                  <a:gd name="T20" fmla="*/ 3 w 3"/>
                  <a:gd name="T21" fmla="*/ 1 h 3"/>
                  <a:gd name="T22" fmla="*/ 3 w 3"/>
                  <a:gd name="T23" fmla="*/ 1 h 3"/>
                  <a:gd name="T24" fmla="*/ 3 w 3"/>
                  <a:gd name="T25" fmla="*/ 1 h 3"/>
                  <a:gd name="T26" fmla="*/ 3 w 3"/>
                  <a:gd name="T2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26" name="Freeform 1580"/>
              <p:cNvSpPr>
                <a:spLocks/>
              </p:cNvSpPr>
              <p:nvPr/>
            </p:nvSpPr>
            <p:spPr bwMode="auto">
              <a:xfrm>
                <a:off x="5993566" y="2691926"/>
                <a:ext cx="20774" cy="13850"/>
              </a:xfrm>
              <a:custGeom>
                <a:avLst/>
                <a:gdLst>
                  <a:gd name="T0" fmla="*/ 21 w 21"/>
                  <a:gd name="T1" fmla="*/ 10 h 14"/>
                  <a:gd name="T2" fmla="*/ 21 w 21"/>
                  <a:gd name="T3" fmla="*/ 10 h 14"/>
                  <a:gd name="T4" fmla="*/ 18 w 21"/>
                  <a:gd name="T5" fmla="*/ 13 h 14"/>
                  <a:gd name="T6" fmla="*/ 12 w 21"/>
                  <a:gd name="T7" fmla="*/ 14 h 14"/>
                  <a:gd name="T8" fmla="*/ 8 w 21"/>
                  <a:gd name="T9" fmla="*/ 14 h 14"/>
                  <a:gd name="T10" fmla="*/ 3 w 21"/>
                  <a:gd name="T11" fmla="*/ 13 h 14"/>
                  <a:gd name="T12" fmla="*/ 3 w 21"/>
                  <a:gd name="T13" fmla="*/ 13 h 14"/>
                  <a:gd name="T14" fmla="*/ 2 w 21"/>
                  <a:gd name="T15" fmla="*/ 10 h 14"/>
                  <a:gd name="T16" fmla="*/ 0 w 21"/>
                  <a:gd name="T17" fmla="*/ 8 h 14"/>
                  <a:gd name="T18" fmla="*/ 2 w 21"/>
                  <a:gd name="T19" fmla="*/ 4 h 14"/>
                  <a:gd name="T20" fmla="*/ 6 w 21"/>
                  <a:gd name="T21" fmla="*/ 0 h 14"/>
                  <a:gd name="T22" fmla="*/ 9 w 21"/>
                  <a:gd name="T23" fmla="*/ 0 h 14"/>
                  <a:gd name="T24" fmla="*/ 9 w 21"/>
                  <a:gd name="T25" fmla="*/ 0 h 14"/>
                  <a:gd name="T26" fmla="*/ 14 w 21"/>
                  <a:gd name="T27" fmla="*/ 1 h 14"/>
                  <a:gd name="T28" fmla="*/ 18 w 21"/>
                  <a:gd name="T29" fmla="*/ 4 h 14"/>
                  <a:gd name="T30" fmla="*/ 21 w 21"/>
                  <a:gd name="T31" fmla="*/ 8 h 14"/>
                  <a:gd name="T32" fmla="*/ 21 w 21"/>
                  <a:gd name="T33" fmla="*/ 10 h 14"/>
                  <a:gd name="T34" fmla="*/ 21 w 21"/>
                  <a:gd name="T35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" h="14">
                    <a:moveTo>
                      <a:pt x="21" y="10"/>
                    </a:moveTo>
                    <a:lnTo>
                      <a:pt x="21" y="10"/>
                    </a:lnTo>
                    <a:lnTo>
                      <a:pt x="18" y="13"/>
                    </a:lnTo>
                    <a:lnTo>
                      <a:pt x="12" y="14"/>
                    </a:lnTo>
                    <a:lnTo>
                      <a:pt x="8" y="14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4" y="1"/>
                    </a:lnTo>
                    <a:lnTo>
                      <a:pt x="18" y="4"/>
                    </a:lnTo>
                    <a:lnTo>
                      <a:pt x="21" y="8"/>
                    </a:lnTo>
                    <a:lnTo>
                      <a:pt x="21" y="10"/>
                    </a:lnTo>
                    <a:lnTo>
                      <a:pt x="21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27" name="Freeform 1581"/>
              <p:cNvSpPr>
                <a:spLocks/>
              </p:cNvSpPr>
              <p:nvPr/>
            </p:nvSpPr>
            <p:spPr bwMode="auto">
              <a:xfrm>
                <a:off x="5650293" y="2920445"/>
                <a:ext cx="104862" cy="101894"/>
              </a:xfrm>
              <a:custGeom>
                <a:avLst/>
                <a:gdLst>
                  <a:gd name="T0" fmla="*/ 16 w 106"/>
                  <a:gd name="T1" fmla="*/ 86 h 103"/>
                  <a:gd name="T2" fmla="*/ 11 w 106"/>
                  <a:gd name="T3" fmla="*/ 83 h 103"/>
                  <a:gd name="T4" fmla="*/ 14 w 106"/>
                  <a:gd name="T5" fmla="*/ 79 h 103"/>
                  <a:gd name="T6" fmla="*/ 11 w 106"/>
                  <a:gd name="T7" fmla="*/ 74 h 103"/>
                  <a:gd name="T8" fmla="*/ 23 w 106"/>
                  <a:gd name="T9" fmla="*/ 66 h 103"/>
                  <a:gd name="T10" fmla="*/ 14 w 106"/>
                  <a:gd name="T11" fmla="*/ 61 h 103"/>
                  <a:gd name="T12" fmla="*/ 13 w 106"/>
                  <a:gd name="T13" fmla="*/ 57 h 103"/>
                  <a:gd name="T14" fmla="*/ 3 w 106"/>
                  <a:gd name="T15" fmla="*/ 50 h 103"/>
                  <a:gd name="T16" fmla="*/ 7 w 106"/>
                  <a:gd name="T17" fmla="*/ 44 h 103"/>
                  <a:gd name="T18" fmla="*/ 4 w 106"/>
                  <a:gd name="T19" fmla="*/ 38 h 103"/>
                  <a:gd name="T20" fmla="*/ 3 w 106"/>
                  <a:gd name="T21" fmla="*/ 34 h 103"/>
                  <a:gd name="T22" fmla="*/ 3 w 106"/>
                  <a:gd name="T23" fmla="*/ 31 h 103"/>
                  <a:gd name="T24" fmla="*/ 0 w 106"/>
                  <a:gd name="T25" fmla="*/ 28 h 103"/>
                  <a:gd name="T26" fmla="*/ 3 w 106"/>
                  <a:gd name="T27" fmla="*/ 21 h 103"/>
                  <a:gd name="T28" fmla="*/ 27 w 106"/>
                  <a:gd name="T29" fmla="*/ 25 h 103"/>
                  <a:gd name="T30" fmla="*/ 43 w 106"/>
                  <a:gd name="T31" fmla="*/ 22 h 103"/>
                  <a:gd name="T32" fmla="*/ 55 w 106"/>
                  <a:gd name="T33" fmla="*/ 11 h 103"/>
                  <a:gd name="T34" fmla="*/ 80 w 106"/>
                  <a:gd name="T35" fmla="*/ 0 h 103"/>
                  <a:gd name="T36" fmla="*/ 90 w 106"/>
                  <a:gd name="T37" fmla="*/ 8 h 103"/>
                  <a:gd name="T38" fmla="*/ 91 w 106"/>
                  <a:gd name="T39" fmla="*/ 11 h 103"/>
                  <a:gd name="T40" fmla="*/ 95 w 106"/>
                  <a:gd name="T41" fmla="*/ 9 h 103"/>
                  <a:gd name="T42" fmla="*/ 95 w 106"/>
                  <a:gd name="T43" fmla="*/ 11 h 103"/>
                  <a:gd name="T44" fmla="*/ 85 w 106"/>
                  <a:gd name="T45" fmla="*/ 29 h 103"/>
                  <a:gd name="T46" fmla="*/ 84 w 106"/>
                  <a:gd name="T47" fmla="*/ 35 h 103"/>
                  <a:gd name="T48" fmla="*/ 77 w 106"/>
                  <a:gd name="T49" fmla="*/ 45 h 103"/>
                  <a:gd name="T50" fmla="*/ 82 w 106"/>
                  <a:gd name="T51" fmla="*/ 50 h 103"/>
                  <a:gd name="T52" fmla="*/ 84 w 106"/>
                  <a:gd name="T53" fmla="*/ 58 h 103"/>
                  <a:gd name="T54" fmla="*/ 75 w 106"/>
                  <a:gd name="T55" fmla="*/ 64 h 103"/>
                  <a:gd name="T56" fmla="*/ 75 w 106"/>
                  <a:gd name="T57" fmla="*/ 64 h 103"/>
                  <a:gd name="T58" fmla="*/ 69 w 106"/>
                  <a:gd name="T59" fmla="*/ 61 h 103"/>
                  <a:gd name="T60" fmla="*/ 72 w 106"/>
                  <a:gd name="T61" fmla="*/ 79 h 103"/>
                  <a:gd name="T62" fmla="*/ 82 w 106"/>
                  <a:gd name="T63" fmla="*/ 84 h 103"/>
                  <a:gd name="T64" fmla="*/ 106 w 106"/>
                  <a:gd name="T65" fmla="*/ 99 h 103"/>
                  <a:gd name="T66" fmla="*/ 72 w 106"/>
                  <a:gd name="T67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6" h="103">
                    <a:moveTo>
                      <a:pt x="51" y="84"/>
                    </a:moveTo>
                    <a:lnTo>
                      <a:pt x="16" y="86"/>
                    </a:lnTo>
                    <a:lnTo>
                      <a:pt x="11" y="83"/>
                    </a:lnTo>
                    <a:lnTo>
                      <a:pt x="11" y="83"/>
                    </a:lnTo>
                    <a:lnTo>
                      <a:pt x="11" y="81"/>
                    </a:lnTo>
                    <a:lnTo>
                      <a:pt x="14" y="79"/>
                    </a:lnTo>
                    <a:lnTo>
                      <a:pt x="11" y="76"/>
                    </a:lnTo>
                    <a:lnTo>
                      <a:pt x="11" y="74"/>
                    </a:lnTo>
                    <a:lnTo>
                      <a:pt x="13" y="70"/>
                    </a:lnTo>
                    <a:lnTo>
                      <a:pt x="23" y="66"/>
                    </a:lnTo>
                    <a:lnTo>
                      <a:pt x="22" y="63"/>
                    </a:lnTo>
                    <a:lnTo>
                      <a:pt x="14" y="61"/>
                    </a:lnTo>
                    <a:lnTo>
                      <a:pt x="14" y="61"/>
                    </a:lnTo>
                    <a:lnTo>
                      <a:pt x="13" y="57"/>
                    </a:lnTo>
                    <a:lnTo>
                      <a:pt x="9" y="55"/>
                    </a:lnTo>
                    <a:lnTo>
                      <a:pt x="3" y="50"/>
                    </a:lnTo>
                    <a:lnTo>
                      <a:pt x="3" y="48"/>
                    </a:lnTo>
                    <a:lnTo>
                      <a:pt x="7" y="44"/>
                    </a:lnTo>
                    <a:lnTo>
                      <a:pt x="4" y="39"/>
                    </a:lnTo>
                    <a:lnTo>
                      <a:pt x="4" y="38"/>
                    </a:lnTo>
                    <a:lnTo>
                      <a:pt x="7" y="35"/>
                    </a:lnTo>
                    <a:lnTo>
                      <a:pt x="3" y="34"/>
                    </a:lnTo>
                    <a:lnTo>
                      <a:pt x="1" y="32"/>
                    </a:lnTo>
                    <a:lnTo>
                      <a:pt x="3" y="31"/>
                    </a:lnTo>
                    <a:lnTo>
                      <a:pt x="1" y="29"/>
                    </a:lnTo>
                    <a:lnTo>
                      <a:pt x="0" y="28"/>
                    </a:lnTo>
                    <a:lnTo>
                      <a:pt x="3" y="22"/>
                    </a:lnTo>
                    <a:lnTo>
                      <a:pt x="3" y="21"/>
                    </a:lnTo>
                    <a:lnTo>
                      <a:pt x="9" y="19"/>
                    </a:lnTo>
                    <a:lnTo>
                      <a:pt x="27" y="25"/>
                    </a:lnTo>
                    <a:lnTo>
                      <a:pt x="39" y="21"/>
                    </a:lnTo>
                    <a:lnTo>
                      <a:pt x="43" y="22"/>
                    </a:lnTo>
                    <a:lnTo>
                      <a:pt x="46" y="16"/>
                    </a:lnTo>
                    <a:lnTo>
                      <a:pt x="55" y="11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90" y="8"/>
                    </a:lnTo>
                    <a:lnTo>
                      <a:pt x="91" y="8"/>
                    </a:lnTo>
                    <a:lnTo>
                      <a:pt x="91" y="11"/>
                    </a:lnTo>
                    <a:lnTo>
                      <a:pt x="94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5" y="11"/>
                    </a:lnTo>
                    <a:lnTo>
                      <a:pt x="91" y="24"/>
                    </a:lnTo>
                    <a:lnTo>
                      <a:pt x="85" y="29"/>
                    </a:lnTo>
                    <a:lnTo>
                      <a:pt x="84" y="34"/>
                    </a:lnTo>
                    <a:lnTo>
                      <a:pt x="84" y="35"/>
                    </a:lnTo>
                    <a:lnTo>
                      <a:pt x="75" y="37"/>
                    </a:lnTo>
                    <a:lnTo>
                      <a:pt x="77" y="45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5" y="57"/>
                    </a:lnTo>
                    <a:lnTo>
                      <a:pt x="84" y="58"/>
                    </a:lnTo>
                    <a:lnTo>
                      <a:pt x="77" y="64"/>
                    </a:lnTo>
                    <a:lnTo>
                      <a:pt x="75" y="64"/>
                    </a:lnTo>
                    <a:lnTo>
                      <a:pt x="75" y="64"/>
                    </a:lnTo>
                    <a:lnTo>
                      <a:pt x="75" y="64"/>
                    </a:lnTo>
                    <a:lnTo>
                      <a:pt x="72" y="60"/>
                    </a:lnTo>
                    <a:lnTo>
                      <a:pt x="69" y="61"/>
                    </a:lnTo>
                    <a:lnTo>
                      <a:pt x="74" y="70"/>
                    </a:lnTo>
                    <a:lnTo>
                      <a:pt x="72" y="79"/>
                    </a:lnTo>
                    <a:lnTo>
                      <a:pt x="77" y="86"/>
                    </a:lnTo>
                    <a:lnTo>
                      <a:pt x="82" y="84"/>
                    </a:lnTo>
                    <a:lnTo>
                      <a:pt x="106" y="99"/>
                    </a:lnTo>
                    <a:lnTo>
                      <a:pt x="106" y="99"/>
                    </a:lnTo>
                    <a:lnTo>
                      <a:pt x="106" y="100"/>
                    </a:lnTo>
                    <a:lnTo>
                      <a:pt x="72" y="103"/>
                    </a:lnTo>
                    <a:lnTo>
                      <a:pt x="51" y="8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28" name="Freeform 1582"/>
              <p:cNvSpPr>
                <a:spLocks/>
              </p:cNvSpPr>
              <p:nvPr/>
            </p:nvSpPr>
            <p:spPr bwMode="auto">
              <a:xfrm>
                <a:off x="5650293" y="2920445"/>
                <a:ext cx="105851" cy="101894"/>
              </a:xfrm>
              <a:custGeom>
                <a:avLst/>
                <a:gdLst>
                  <a:gd name="T0" fmla="*/ 16 w 107"/>
                  <a:gd name="T1" fmla="*/ 84 h 103"/>
                  <a:gd name="T2" fmla="*/ 11 w 107"/>
                  <a:gd name="T3" fmla="*/ 83 h 103"/>
                  <a:gd name="T4" fmla="*/ 11 w 107"/>
                  <a:gd name="T5" fmla="*/ 76 h 103"/>
                  <a:gd name="T6" fmla="*/ 24 w 107"/>
                  <a:gd name="T7" fmla="*/ 66 h 103"/>
                  <a:gd name="T8" fmla="*/ 16 w 107"/>
                  <a:gd name="T9" fmla="*/ 61 h 103"/>
                  <a:gd name="T10" fmla="*/ 14 w 107"/>
                  <a:gd name="T11" fmla="*/ 55 h 103"/>
                  <a:gd name="T12" fmla="*/ 3 w 107"/>
                  <a:gd name="T13" fmla="*/ 48 h 103"/>
                  <a:gd name="T14" fmla="*/ 4 w 107"/>
                  <a:gd name="T15" fmla="*/ 39 h 103"/>
                  <a:gd name="T16" fmla="*/ 3 w 107"/>
                  <a:gd name="T17" fmla="*/ 34 h 103"/>
                  <a:gd name="T18" fmla="*/ 4 w 107"/>
                  <a:gd name="T19" fmla="*/ 29 h 103"/>
                  <a:gd name="T20" fmla="*/ 3 w 107"/>
                  <a:gd name="T21" fmla="*/ 22 h 103"/>
                  <a:gd name="T22" fmla="*/ 27 w 107"/>
                  <a:gd name="T23" fmla="*/ 25 h 103"/>
                  <a:gd name="T24" fmla="*/ 45 w 107"/>
                  <a:gd name="T25" fmla="*/ 22 h 103"/>
                  <a:gd name="T26" fmla="*/ 80 w 107"/>
                  <a:gd name="T27" fmla="*/ 0 h 103"/>
                  <a:gd name="T28" fmla="*/ 90 w 107"/>
                  <a:gd name="T29" fmla="*/ 8 h 103"/>
                  <a:gd name="T30" fmla="*/ 91 w 107"/>
                  <a:gd name="T31" fmla="*/ 11 h 103"/>
                  <a:gd name="T32" fmla="*/ 95 w 107"/>
                  <a:gd name="T33" fmla="*/ 9 h 103"/>
                  <a:gd name="T34" fmla="*/ 84 w 107"/>
                  <a:gd name="T35" fmla="*/ 28 h 103"/>
                  <a:gd name="T36" fmla="*/ 75 w 107"/>
                  <a:gd name="T37" fmla="*/ 35 h 103"/>
                  <a:gd name="T38" fmla="*/ 82 w 107"/>
                  <a:gd name="T39" fmla="*/ 50 h 103"/>
                  <a:gd name="T40" fmla="*/ 75 w 107"/>
                  <a:gd name="T41" fmla="*/ 64 h 103"/>
                  <a:gd name="T42" fmla="*/ 75 w 107"/>
                  <a:gd name="T43" fmla="*/ 64 h 103"/>
                  <a:gd name="T44" fmla="*/ 72 w 107"/>
                  <a:gd name="T45" fmla="*/ 58 h 103"/>
                  <a:gd name="T46" fmla="*/ 72 w 107"/>
                  <a:gd name="T47" fmla="*/ 70 h 103"/>
                  <a:gd name="T48" fmla="*/ 82 w 107"/>
                  <a:gd name="T49" fmla="*/ 86 h 103"/>
                  <a:gd name="T50" fmla="*/ 106 w 107"/>
                  <a:gd name="T51" fmla="*/ 99 h 103"/>
                  <a:gd name="T52" fmla="*/ 51 w 107"/>
                  <a:gd name="T53" fmla="*/ 83 h 103"/>
                  <a:gd name="T54" fmla="*/ 71 w 107"/>
                  <a:gd name="T55" fmla="*/ 103 h 103"/>
                  <a:gd name="T56" fmla="*/ 107 w 107"/>
                  <a:gd name="T57" fmla="*/ 99 h 103"/>
                  <a:gd name="T58" fmla="*/ 82 w 107"/>
                  <a:gd name="T59" fmla="*/ 84 h 103"/>
                  <a:gd name="T60" fmla="*/ 74 w 107"/>
                  <a:gd name="T61" fmla="*/ 70 h 103"/>
                  <a:gd name="T62" fmla="*/ 74 w 107"/>
                  <a:gd name="T63" fmla="*/ 64 h 103"/>
                  <a:gd name="T64" fmla="*/ 75 w 107"/>
                  <a:gd name="T65" fmla="*/ 66 h 103"/>
                  <a:gd name="T66" fmla="*/ 77 w 107"/>
                  <a:gd name="T67" fmla="*/ 66 h 103"/>
                  <a:gd name="T68" fmla="*/ 85 w 107"/>
                  <a:gd name="T69" fmla="*/ 57 h 103"/>
                  <a:gd name="T70" fmla="*/ 82 w 107"/>
                  <a:gd name="T71" fmla="*/ 48 h 103"/>
                  <a:gd name="T72" fmla="*/ 84 w 107"/>
                  <a:gd name="T73" fmla="*/ 35 h 103"/>
                  <a:gd name="T74" fmla="*/ 85 w 107"/>
                  <a:gd name="T75" fmla="*/ 29 h 103"/>
                  <a:gd name="T76" fmla="*/ 95 w 107"/>
                  <a:gd name="T77" fmla="*/ 9 h 103"/>
                  <a:gd name="T78" fmla="*/ 95 w 107"/>
                  <a:gd name="T79" fmla="*/ 8 h 103"/>
                  <a:gd name="T80" fmla="*/ 91 w 107"/>
                  <a:gd name="T81" fmla="*/ 9 h 103"/>
                  <a:gd name="T82" fmla="*/ 91 w 107"/>
                  <a:gd name="T83" fmla="*/ 6 h 103"/>
                  <a:gd name="T84" fmla="*/ 80 w 107"/>
                  <a:gd name="T85" fmla="*/ 0 h 103"/>
                  <a:gd name="T86" fmla="*/ 80 w 107"/>
                  <a:gd name="T87" fmla="*/ 0 h 103"/>
                  <a:gd name="T88" fmla="*/ 43 w 107"/>
                  <a:gd name="T89" fmla="*/ 21 h 103"/>
                  <a:gd name="T90" fmla="*/ 27 w 107"/>
                  <a:gd name="T91" fmla="*/ 24 h 103"/>
                  <a:gd name="T92" fmla="*/ 3 w 107"/>
                  <a:gd name="T93" fmla="*/ 21 h 103"/>
                  <a:gd name="T94" fmla="*/ 0 w 107"/>
                  <a:gd name="T95" fmla="*/ 28 h 103"/>
                  <a:gd name="T96" fmla="*/ 3 w 107"/>
                  <a:gd name="T97" fmla="*/ 31 h 103"/>
                  <a:gd name="T98" fmla="*/ 1 w 107"/>
                  <a:gd name="T99" fmla="*/ 34 h 103"/>
                  <a:gd name="T100" fmla="*/ 3 w 107"/>
                  <a:gd name="T101" fmla="*/ 38 h 103"/>
                  <a:gd name="T102" fmla="*/ 3 w 107"/>
                  <a:gd name="T103" fmla="*/ 39 h 103"/>
                  <a:gd name="T104" fmla="*/ 3 w 107"/>
                  <a:gd name="T105" fmla="*/ 50 h 103"/>
                  <a:gd name="T106" fmla="*/ 13 w 107"/>
                  <a:gd name="T107" fmla="*/ 57 h 103"/>
                  <a:gd name="T108" fmla="*/ 14 w 107"/>
                  <a:gd name="T109" fmla="*/ 63 h 103"/>
                  <a:gd name="T110" fmla="*/ 23 w 107"/>
                  <a:gd name="T111" fmla="*/ 66 h 103"/>
                  <a:gd name="T112" fmla="*/ 11 w 107"/>
                  <a:gd name="T113" fmla="*/ 76 h 103"/>
                  <a:gd name="T114" fmla="*/ 11 w 107"/>
                  <a:gd name="T115" fmla="*/ 81 h 103"/>
                  <a:gd name="T116" fmla="*/ 10 w 107"/>
                  <a:gd name="T117" fmla="*/ 83 h 103"/>
                  <a:gd name="T118" fmla="*/ 14 w 107"/>
                  <a:gd name="T119" fmla="*/ 86 h 103"/>
                  <a:gd name="T120" fmla="*/ 51 w 107"/>
                  <a:gd name="T121" fmla="*/ 84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7" h="103">
                    <a:moveTo>
                      <a:pt x="51" y="84"/>
                    </a:moveTo>
                    <a:lnTo>
                      <a:pt x="51" y="83"/>
                    </a:lnTo>
                    <a:lnTo>
                      <a:pt x="16" y="84"/>
                    </a:lnTo>
                    <a:lnTo>
                      <a:pt x="11" y="83"/>
                    </a:lnTo>
                    <a:lnTo>
                      <a:pt x="11" y="83"/>
                    </a:lnTo>
                    <a:lnTo>
                      <a:pt x="11" y="83"/>
                    </a:lnTo>
                    <a:lnTo>
                      <a:pt x="14" y="79"/>
                    </a:lnTo>
                    <a:lnTo>
                      <a:pt x="14" y="79"/>
                    </a:lnTo>
                    <a:lnTo>
                      <a:pt x="11" y="76"/>
                    </a:lnTo>
                    <a:lnTo>
                      <a:pt x="11" y="76"/>
                    </a:lnTo>
                    <a:lnTo>
                      <a:pt x="14" y="71"/>
                    </a:lnTo>
                    <a:lnTo>
                      <a:pt x="24" y="66"/>
                    </a:lnTo>
                    <a:lnTo>
                      <a:pt x="22" y="63"/>
                    </a:lnTo>
                    <a:lnTo>
                      <a:pt x="22" y="61"/>
                    </a:lnTo>
                    <a:lnTo>
                      <a:pt x="16" y="61"/>
                    </a:lnTo>
                    <a:lnTo>
                      <a:pt x="14" y="61"/>
                    </a:lnTo>
                    <a:lnTo>
                      <a:pt x="14" y="57"/>
                    </a:lnTo>
                    <a:lnTo>
                      <a:pt x="14" y="55"/>
                    </a:lnTo>
                    <a:lnTo>
                      <a:pt x="9" y="54"/>
                    </a:lnTo>
                    <a:lnTo>
                      <a:pt x="4" y="50"/>
                    </a:lnTo>
                    <a:lnTo>
                      <a:pt x="3" y="48"/>
                    </a:lnTo>
                    <a:lnTo>
                      <a:pt x="7" y="44"/>
                    </a:lnTo>
                    <a:lnTo>
                      <a:pt x="4" y="39"/>
                    </a:lnTo>
                    <a:lnTo>
                      <a:pt x="4" y="39"/>
                    </a:lnTo>
                    <a:lnTo>
                      <a:pt x="7" y="37"/>
                    </a:lnTo>
                    <a:lnTo>
                      <a:pt x="7" y="35"/>
                    </a:lnTo>
                    <a:lnTo>
                      <a:pt x="3" y="34"/>
                    </a:lnTo>
                    <a:lnTo>
                      <a:pt x="3" y="32"/>
                    </a:lnTo>
                    <a:lnTo>
                      <a:pt x="4" y="31"/>
                    </a:lnTo>
                    <a:lnTo>
                      <a:pt x="4" y="29"/>
                    </a:lnTo>
                    <a:lnTo>
                      <a:pt x="1" y="29"/>
                    </a:lnTo>
                    <a:lnTo>
                      <a:pt x="1" y="28"/>
                    </a:lnTo>
                    <a:lnTo>
                      <a:pt x="3" y="22"/>
                    </a:lnTo>
                    <a:lnTo>
                      <a:pt x="4" y="22"/>
                    </a:lnTo>
                    <a:lnTo>
                      <a:pt x="9" y="21"/>
                    </a:lnTo>
                    <a:lnTo>
                      <a:pt x="27" y="25"/>
                    </a:lnTo>
                    <a:lnTo>
                      <a:pt x="39" y="22"/>
                    </a:lnTo>
                    <a:lnTo>
                      <a:pt x="43" y="22"/>
                    </a:lnTo>
                    <a:lnTo>
                      <a:pt x="45" y="22"/>
                    </a:lnTo>
                    <a:lnTo>
                      <a:pt x="48" y="16"/>
                    </a:lnTo>
                    <a:lnTo>
                      <a:pt x="56" y="11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1" y="11"/>
                    </a:lnTo>
                    <a:lnTo>
                      <a:pt x="91" y="11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5" y="11"/>
                    </a:lnTo>
                    <a:lnTo>
                      <a:pt x="91" y="22"/>
                    </a:lnTo>
                    <a:lnTo>
                      <a:pt x="84" y="28"/>
                    </a:lnTo>
                    <a:lnTo>
                      <a:pt x="84" y="34"/>
                    </a:lnTo>
                    <a:lnTo>
                      <a:pt x="84" y="35"/>
                    </a:lnTo>
                    <a:lnTo>
                      <a:pt x="75" y="35"/>
                    </a:lnTo>
                    <a:lnTo>
                      <a:pt x="75" y="47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75" y="64"/>
                    </a:lnTo>
                    <a:lnTo>
                      <a:pt x="75" y="64"/>
                    </a:lnTo>
                    <a:lnTo>
                      <a:pt x="75" y="64"/>
                    </a:lnTo>
                    <a:lnTo>
                      <a:pt x="75" y="64"/>
                    </a:lnTo>
                    <a:lnTo>
                      <a:pt x="75" y="64"/>
                    </a:lnTo>
                    <a:lnTo>
                      <a:pt x="75" y="64"/>
                    </a:lnTo>
                    <a:lnTo>
                      <a:pt x="72" y="58"/>
                    </a:lnTo>
                    <a:lnTo>
                      <a:pt x="69" y="61"/>
                    </a:lnTo>
                    <a:lnTo>
                      <a:pt x="68" y="61"/>
                    </a:lnTo>
                    <a:lnTo>
                      <a:pt x="72" y="70"/>
                    </a:lnTo>
                    <a:lnTo>
                      <a:pt x="72" y="79"/>
                    </a:lnTo>
                    <a:lnTo>
                      <a:pt x="75" y="86"/>
                    </a:lnTo>
                    <a:lnTo>
                      <a:pt x="82" y="86"/>
                    </a:lnTo>
                    <a:lnTo>
                      <a:pt x="106" y="99"/>
                    </a:lnTo>
                    <a:lnTo>
                      <a:pt x="106" y="99"/>
                    </a:lnTo>
                    <a:lnTo>
                      <a:pt x="106" y="99"/>
                    </a:lnTo>
                    <a:lnTo>
                      <a:pt x="72" y="102"/>
                    </a:lnTo>
                    <a:lnTo>
                      <a:pt x="51" y="83"/>
                    </a:lnTo>
                    <a:lnTo>
                      <a:pt x="51" y="83"/>
                    </a:lnTo>
                    <a:lnTo>
                      <a:pt x="51" y="84"/>
                    </a:lnTo>
                    <a:lnTo>
                      <a:pt x="51" y="84"/>
                    </a:lnTo>
                    <a:lnTo>
                      <a:pt x="71" y="103"/>
                    </a:lnTo>
                    <a:lnTo>
                      <a:pt x="106" y="100"/>
                    </a:lnTo>
                    <a:lnTo>
                      <a:pt x="107" y="99"/>
                    </a:lnTo>
                    <a:lnTo>
                      <a:pt x="107" y="99"/>
                    </a:lnTo>
                    <a:lnTo>
                      <a:pt x="106" y="97"/>
                    </a:lnTo>
                    <a:lnTo>
                      <a:pt x="106" y="97"/>
                    </a:lnTo>
                    <a:lnTo>
                      <a:pt x="82" y="84"/>
                    </a:lnTo>
                    <a:lnTo>
                      <a:pt x="77" y="84"/>
                    </a:lnTo>
                    <a:lnTo>
                      <a:pt x="74" y="79"/>
                    </a:lnTo>
                    <a:lnTo>
                      <a:pt x="74" y="70"/>
                    </a:lnTo>
                    <a:lnTo>
                      <a:pt x="69" y="61"/>
                    </a:lnTo>
                    <a:lnTo>
                      <a:pt x="71" y="60"/>
                    </a:lnTo>
                    <a:lnTo>
                      <a:pt x="74" y="64"/>
                    </a:lnTo>
                    <a:lnTo>
                      <a:pt x="75" y="66"/>
                    </a:lnTo>
                    <a:lnTo>
                      <a:pt x="75" y="66"/>
                    </a:lnTo>
                    <a:lnTo>
                      <a:pt x="75" y="66"/>
                    </a:lnTo>
                    <a:lnTo>
                      <a:pt x="75" y="66"/>
                    </a:lnTo>
                    <a:lnTo>
                      <a:pt x="77" y="66"/>
                    </a:lnTo>
                    <a:lnTo>
                      <a:pt x="77" y="66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5" y="57"/>
                    </a:lnTo>
                    <a:lnTo>
                      <a:pt x="84" y="50"/>
                    </a:lnTo>
                    <a:lnTo>
                      <a:pt x="82" y="50"/>
                    </a:lnTo>
                    <a:lnTo>
                      <a:pt x="82" y="48"/>
                    </a:lnTo>
                    <a:lnTo>
                      <a:pt x="77" y="45"/>
                    </a:lnTo>
                    <a:lnTo>
                      <a:pt x="77" y="37"/>
                    </a:lnTo>
                    <a:lnTo>
                      <a:pt x="84" y="35"/>
                    </a:lnTo>
                    <a:lnTo>
                      <a:pt x="85" y="35"/>
                    </a:lnTo>
                    <a:lnTo>
                      <a:pt x="85" y="35"/>
                    </a:lnTo>
                    <a:lnTo>
                      <a:pt x="85" y="29"/>
                    </a:lnTo>
                    <a:lnTo>
                      <a:pt x="93" y="24"/>
                    </a:lnTo>
                    <a:lnTo>
                      <a:pt x="97" y="11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5" y="8"/>
                    </a:lnTo>
                    <a:lnTo>
                      <a:pt x="94" y="9"/>
                    </a:lnTo>
                    <a:lnTo>
                      <a:pt x="94" y="9"/>
                    </a:lnTo>
                    <a:lnTo>
                      <a:pt x="91" y="9"/>
                    </a:lnTo>
                    <a:lnTo>
                      <a:pt x="91" y="8"/>
                    </a:lnTo>
                    <a:lnTo>
                      <a:pt x="91" y="8"/>
                    </a:lnTo>
                    <a:lnTo>
                      <a:pt x="91" y="6"/>
                    </a:lnTo>
                    <a:lnTo>
                      <a:pt x="91" y="6"/>
                    </a:lnTo>
                    <a:lnTo>
                      <a:pt x="81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55" y="9"/>
                    </a:lnTo>
                    <a:lnTo>
                      <a:pt x="46" y="16"/>
                    </a:lnTo>
                    <a:lnTo>
                      <a:pt x="43" y="21"/>
                    </a:lnTo>
                    <a:lnTo>
                      <a:pt x="39" y="21"/>
                    </a:lnTo>
                    <a:lnTo>
                      <a:pt x="39" y="21"/>
                    </a:lnTo>
                    <a:lnTo>
                      <a:pt x="27" y="24"/>
                    </a:lnTo>
                    <a:lnTo>
                      <a:pt x="9" y="19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2"/>
                    </a:lnTo>
                    <a:lnTo>
                      <a:pt x="0" y="28"/>
                    </a:lnTo>
                    <a:lnTo>
                      <a:pt x="0" y="29"/>
                    </a:lnTo>
                    <a:lnTo>
                      <a:pt x="0" y="29"/>
                    </a:lnTo>
                    <a:lnTo>
                      <a:pt x="3" y="31"/>
                    </a:lnTo>
                    <a:lnTo>
                      <a:pt x="1" y="32"/>
                    </a:lnTo>
                    <a:lnTo>
                      <a:pt x="1" y="32"/>
                    </a:lnTo>
                    <a:lnTo>
                      <a:pt x="1" y="34"/>
                    </a:lnTo>
                    <a:lnTo>
                      <a:pt x="1" y="34"/>
                    </a:lnTo>
                    <a:lnTo>
                      <a:pt x="6" y="37"/>
                    </a:lnTo>
                    <a:lnTo>
                      <a:pt x="3" y="38"/>
                    </a:lnTo>
                    <a:lnTo>
                      <a:pt x="3" y="38"/>
                    </a:lnTo>
                    <a:lnTo>
                      <a:pt x="3" y="39"/>
                    </a:lnTo>
                    <a:lnTo>
                      <a:pt x="3" y="39"/>
                    </a:lnTo>
                    <a:lnTo>
                      <a:pt x="6" y="44"/>
                    </a:lnTo>
                    <a:lnTo>
                      <a:pt x="3" y="48"/>
                    </a:lnTo>
                    <a:lnTo>
                      <a:pt x="3" y="50"/>
                    </a:lnTo>
                    <a:lnTo>
                      <a:pt x="3" y="50"/>
                    </a:lnTo>
                    <a:lnTo>
                      <a:pt x="9" y="55"/>
                    </a:lnTo>
                    <a:lnTo>
                      <a:pt x="13" y="57"/>
                    </a:lnTo>
                    <a:lnTo>
                      <a:pt x="13" y="61"/>
                    </a:lnTo>
                    <a:lnTo>
                      <a:pt x="13" y="61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22" y="63"/>
                    </a:lnTo>
                    <a:lnTo>
                      <a:pt x="23" y="66"/>
                    </a:lnTo>
                    <a:lnTo>
                      <a:pt x="13" y="70"/>
                    </a:lnTo>
                    <a:lnTo>
                      <a:pt x="11" y="74"/>
                    </a:lnTo>
                    <a:lnTo>
                      <a:pt x="11" y="76"/>
                    </a:lnTo>
                    <a:lnTo>
                      <a:pt x="11" y="76"/>
                    </a:lnTo>
                    <a:lnTo>
                      <a:pt x="13" y="79"/>
                    </a:lnTo>
                    <a:lnTo>
                      <a:pt x="11" y="81"/>
                    </a:lnTo>
                    <a:lnTo>
                      <a:pt x="11" y="81"/>
                    </a:lnTo>
                    <a:lnTo>
                      <a:pt x="10" y="83"/>
                    </a:lnTo>
                    <a:lnTo>
                      <a:pt x="10" y="83"/>
                    </a:lnTo>
                    <a:lnTo>
                      <a:pt x="11" y="83"/>
                    </a:lnTo>
                    <a:lnTo>
                      <a:pt x="11" y="83"/>
                    </a:lnTo>
                    <a:lnTo>
                      <a:pt x="14" y="86"/>
                    </a:lnTo>
                    <a:lnTo>
                      <a:pt x="16" y="86"/>
                    </a:lnTo>
                    <a:lnTo>
                      <a:pt x="51" y="84"/>
                    </a:lnTo>
                    <a:lnTo>
                      <a:pt x="51" y="84"/>
                    </a:lnTo>
                    <a:lnTo>
                      <a:pt x="51" y="84"/>
                    </a:lnTo>
                    <a:lnTo>
                      <a:pt x="51" y="8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" name="Freeform 1661"/>
              <p:cNvSpPr>
                <a:spLocks noEditPoints="1"/>
              </p:cNvSpPr>
              <p:nvPr/>
            </p:nvSpPr>
            <p:spPr bwMode="auto">
              <a:xfrm>
                <a:off x="6056878" y="3296363"/>
                <a:ext cx="12860" cy="8903"/>
              </a:xfrm>
              <a:custGeom>
                <a:avLst/>
                <a:gdLst>
                  <a:gd name="T0" fmla="*/ 2 w 13"/>
                  <a:gd name="T1" fmla="*/ 6 h 9"/>
                  <a:gd name="T2" fmla="*/ 2 w 13"/>
                  <a:gd name="T3" fmla="*/ 6 h 9"/>
                  <a:gd name="T4" fmla="*/ 0 w 13"/>
                  <a:gd name="T5" fmla="*/ 9 h 9"/>
                  <a:gd name="T6" fmla="*/ 3 w 13"/>
                  <a:gd name="T7" fmla="*/ 9 h 9"/>
                  <a:gd name="T8" fmla="*/ 3 w 13"/>
                  <a:gd name="T9" fmla="*/ 9 h 9"/>
                  <a:gd name="T10" fmla="*/ 3 w 13"/>
                  <a:gd name="T11" fmla="*/ 7 h 9"/>
                  <a:gd name="T12" fmla="*/ 2 w 13"/>
                  <a:gd name="T13" fmla="*/ 6 h 9"/>
                  <a:gd name="T14" fmla="*/ 5 w 13"/>
                  <a:gd name="T15" fmla="*/ 3 h 9"/>
                  <a:gd name="T16" fmla="*/ 5 w 13"/>
                  <a:gd name="T17" fmla="*/ 3 h 9"/>
                  <a:gd name="T18" fmla="*/ 3 w 13"/>
                  <a:gd name="T19" fmla="*/ 4 h 9"/>
                  <a:gd name="T20" fmla="*/ 5 w 13"/>
                  <a:gd name="T21" fmla="*/ 7 h 9"/>
                  <a:gd name="T22" fmla="*/ 5 w 13"/>
                  <a:gd name="T23" fmla="*/ 7 h 9"/>
                  <a:gd name="T24" fmla="*/ 6 w 13"/>
                  <a:gd name="T25" fmla="*/ 6 h 9"/>
                  <a:gd name="T26" fmla="*/ 5 w 13"/>
                  <a:gd name="T27" fmla="*/ 3 h 9"/>
                  <a:gd name="T28" fmla="*/ 9 w 13"/>
                  <a:gd name="T29" fmla="*/ 1 h 9"/>
                  <a:gd name="T30" fmla="*/ 9 w 13"/>
                  <a:gd name="T31" fmla="*/ 1 h 9"/>
                  <a:gd name="T32" fmla="*/ 6 w 13"/>
                  <a:gd name="T33" fmla="*/ 3 h 9"/>
                  <a:gd name="T34" fmla="*/ 7 w 13"/>
                  <a:gd name="T35" fmla="*/ 4 h 9"/>
                  <a:gd name="T36" fmla="*/ 7 w 13"/>
                  <a:gd name="T37" fmla="*/ 4 h 9"/>
                  <a:gd name="T38" fmla="*/ 10 w 13"/>
                  <a:gd name="T39" fmla="*/ 3 h 9"/>
                  <a:gd name="T40" fmla="*/ 9 w 13"/>
                  <a:gd name="T41" fmla="*/ 1 h 9"/>
                  <a:gd name="T42" fmla="*/ 12 w 13"/>
                  <a:gd name="T43" fmla="*/ 0 h 9"/>
                  <a:gd name="T44" fmla="*/ 12 w 13"/>
                  <a:gd name="T45" fmla="*/ 0 h 9"/>
                  <a:gd name="T46" fmla="*/ 10 w 13"/>
                  <a:gd name="T47" fmla="*/ 0 h 9"/>
                  <a:gd name="T48" fmla="*/ 10 w 13"/>
                  <a:gd name="T49" fmla="*/ 3 h 9"/>
                  <a:gd name="T50" fmla="*/ 10 w 13"/>
                  <a:gd name="T51" fmla="*/ 3 h 9"/>
                  <a:gd name="T52" fmla="*/ 13 w 13"/>
                  <a:gd name="T53" fmla="*/ 1 h 9"/>
                  <a:gd name="T54" fmla="*/ 12 w 13"/>
                  <a:gd name="T5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" h="9">
                    <a:moveTo>
                      <a:pt x="2" y="6"/>
                    </a:moveTo>
                    <a:lnTo>
                      <a:pt x="2" y="6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3" y="7"/>
                    </a:lnTo>
                    <a:lnTo>
                      <a:pt x="2" y="6"/>
                    </a:lnTo>
                    <a:close/>
                    <a:moveTo>
                      <a:pt x="5" y="3"/>
                    </a:moveTo>
                    <a:lnTo>
                      <a:pt x="5" y="3"/>
                    </a:lnTo>
                    <a:lnTo>
                      <a:pt x="3" y="4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6" y="6"/>
                    </a:lnTo>
                    <a:lnTo>
                      <a:pt x="5" y="3"/>
                    </a:lnTo>
                    <a:close/>
                    <a:moveTo>
                      <a:pt x="9" y="1"/>
                    </a:moveTo>
                    <a:lnTo>
                      <a:pt x="9" y="1"/>
                    </a:lnTo>
                    <a:lnTo>
                      <a:pt x="6" y="3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10" y="3"/>
                    </a:lnTo>
                    <a:lnTo>
                      <a:pt x="9" y="1"/>
                    </a:lnTo>
                    <a:close/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3"/>
                    </a:lnTo>
                    <a:lnTo>
                      <a:pt x="10" y="3"/>
                    </a:lnTo>
                    <a:lnTo>
                      <a:pt x="13" y="1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" name="Freeform 1662"/>
              <p:cNvSpPr>
                <a:spLocks noEditPoints="1"/>
              </p:cNvSpPr>
              <p:nvPr/>
            </p:nvSpPr>
            <p:spPr bwMode="auto">
              <a:xfrm>
                <a:off x="6165697" y="3263718"/>
                <a:ext cx="117722" cy="52431"/>
              </a:xfrm>
              <a:custGeom>
                <a:avLst/>
                <a:gdLst>
                  <a:gd name="T0" fmla="*/ 10 w 119"/>
                  <a:gd name="T1" fmla="*/ 50 h 53"/>
                  <a:gd name="T2" fmla="*/ 0 w 119"/>
                  <a:gd name="T3" fmla="*/ 46 h 53"/>
                  <a:gd name="T4" fmla="*/ 5 w 119"/>
                  <a:gd name="T5" fmla="*/ 49 h 53"/>
                  <a:gd name="T6" fmla="*/ 10 w 119"/>
                  <a:gd name="T7" fmla="*/ 50 h 53"/>
                  <a:gd name="T8" fmla="*/ 23 w 119"/>
                  <a:gd name="T9" fmla="*/ 50 h 53"/>
                  <a:gd name="T10" fmla="*/ 15 w 119"/>
                  <a:gd name="T11" fmla="*/ 50 h 53"/>
                  <a:gd name="T12" fmla="*/ 15 w 119"/>
                  <a:gd name="T13" fmla="*/ 53 h 53"/>
                  <a:gd name="T14" fmla="*/ 16 w 119"/>
                  <a:gd name="T15" fmla="*/ 53 h 53"/>
                  <a:gd name="T16" fmla="*/ 25 w 119"/>
                  <a:gd name="T17" fmla="*/ 52 h 53"/>
                  <a:gd name="T18" fmla="*/ 36 w 119"/>
                  <a:gd name="T19" fmla="*/ 42 h 53"/>
                  <a:gd name="T20" fmla="*/ 28 w 119"/>
                  <a:gd name="T21" fmla="*/ 49 h 53"/>
                  <a:gd name="T22" fmla="*/ 29 w 119"/>
                  <a:gd name="T23" fmla="*/ 50 h 53"/>
                  <a:gd name="T24" fmla="*/ 36 w 119"/>
                  <a:gd name="T25" fmla="*/ 42 h 53"/>
                  <a:gd name="T26" fmla="*/ 52 w 119"/>
                  <a:gd name="T27" fmla="*/ 44 h 53"/>
                  <a:gd name="T28" fmla="*/ 42 w 119"/>
                  <a:gd name="T29" fmla="*/ 40 h 53"/>
                  <a:gd name="T30" fmla="*/ 42 w 119"/>
                  <a:gd name="T31" fmla="*/ 43 h 53"/>
                  <a:gd name="T32" fmla="*/ 51 w 119"/>
                  <a:gd name="T33" fmla="*/ 47 h 53"/>
                  <a:gd name="T34" fmla="*/ 64 w 119"/>
                  <a:gd name="T35" fmla="*/ 43 h 53"/>
                  <a:gd name="T36" fmla="*/ 61 w 119"/>
                  <a:gd name="T37" fmla="*/ 46 h 53"/>
                  <a:gd name="T38" fmla="*/ 58 w 119"/>
                  <a:gd name="T39" fmla="*/ 47 h 53"/>
                  <a:gd name="T40" fmla="*/ 58 w 119"/>
                  <a:gd name="T41" fmla="*/ 47 h 53"/>
                  <a:gd name="T42" fmla="*/ 55 w 119"/>
                  <a:gd name="T43" fmla="*/ 49 h 53"/>
                  <a:gd name="T44" fmla="*/ 58 w 119"/>
                  <a:gd name="T45" fmla="*/ 49 h 53"/>
                  <a:gd name="T46" fmla="*/ 58 w 119"/>
                  <a:gd name="T47" fmla="*/ 49 h 53"/>
                  <a:gd name="T48" fmla="*/ 63 w 119"/>
                  <a:gd name="T49" fmla="*/ 49 h 53"/>
                  <a:gd name="T50" fmla="*/ 64 w 119"/>
                  <a:gd name="T51" fmla="*/ 43 h 53"/>
                  <a:gd name="T52" fmla="*/ 74 w 119"/>
                  <a:gd name="T53" fmla="*/ 33 h 53"/>
                  <a:gd name="T54" fmla="*/ 70 w 119"/>
                  <a:gd name="T55" fmla="*/ 42 h 53"/>
                  <a:gd name="T56" fmla="*/ 76 w 119"/>
                  <a:gd name="T57" fmla="*/ 34 h 53"/>
                  <a:gd name="T58" fmla="*/ 81 w 119"/>
                  <a:gd name="T59" fmla="*/ 20 h 53"/>
                  <a:gd name="T60" fmla="*/ 77 w 119"/>
                  <a:gd name="T61" fmla="*/ 29 h 53"/>
                  <a:gd name="T62" fmla="*/ 80 w 119"/>
                  <a:gd name="T63" fmla="*/ 30 h 53"/>
                  <a:gd name="T64" fmla="*/ 81 w 119"/>
                  <a:gd name="T65" fmla="*/ 20 h 53"/>
                  <a:gd name="T66" fmla="*/ 90 w 119"/>
                  <a:gd name="T67" fmla="*/ 5 h 53"/>
                  <a:gd name="T68" fmla="*/ 84 w 119"/>
                  <a:gd name="T69" fmla="*/ 15 h 53"/>
                  <a:gd name="T70" fmla="*/ 86 w 119"/>
                  <a:gd name="T71" fmla="*/ 15 h 53"/>
                  <a:gd name="T72" fmla="*/ 92 w 119"/>
                  <a:gd name="T73" fmla="*/ 8 h 53"/>
                  <a:gd name="T74" fmla="*/ 105 w 119"/>
                  <a:gd name="T75" fmla="*/ 0 h 53"/>
                  <a:gd name="T76" fmla="*/ 103 w 119"/>
                  <a:gd name="T77" fmla="*/ 0 h 53"/>
                  <a:gd name="T78" fmla="*/ 100 w 119"/>
                  <a:gd name="T79" fmla="*/ 0 h 53"/>
                  <a:gd name="T80" fmla="*/ 94 w 119"/>
                  <a:gd name="T81" fmla="*/ 5 h 53"/>
                  <a:gd name="T82" fmla="*/ 102 w 119"/>
                  <a:gd name="T83" fmla="*/ 2 h 53"/>
                  <a:gd name="T84" fmla="*/ 103 w 119"/>
                  <a:gd name="T85" fmla="*/ 2 h 53"/>
                  <a:gd name="T86" fmla="*/ 105 w 119"/>
                  <a:gd name="T87" fmla="*/ 0 h 53"/>
                  <a:gd name="T88" fmla="*/ 119 w 119"/>
                  <a:gd name="T89" fmla="*/ 1 h 53"/>
                  <a:gd name="T90" fmla="*/ 109 w 119"/>
                  <a:gd name="T91" fmla="*/ 2 h 53"/>
                  <a:gd name="T92" fmla="*/ 119 w 119"/>
                  <a:gd name="T93" fmla="*/ 4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19" h="53">
                    <a:moveTo>
                      <a:pt x="10" y="50"/>
                    </a:moveTo>
                    <a:lnTo>
                      <a:pt x="10" y="50"/>
                    </a:lnTo>
                    <a:lnTo>
                      <a:pt x="3" y="43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5" y="49"/>
                    </a:lnTo>
                    <a:lnTo>
                      <a:pt x="9" y="52"/>
                    </a:lnTo>
                    <a:lnTo>
                      <a:pt x="10" y="50"/>
                    </a:lnTo>
                    <a:close/>
                    <a:moveTo>
                      <a:pt x="23" y="50"/>
                    </a:moveTo>
                    <a:lnTo>
                      <a:pt x="23" y="50"/>
                    </a:lnTo>
                    <a:lnTo>
                      <a:pt x="16" y="52"/>
                    </a:lnTo>
                    <a:lnTo>
                      <a:pt x="15" y="50"/>
                    </a:lnTo>
                    <a:lnTo>
                      <a:pt x="15" y="50"/>
                    </a:lnTo>
                    <a:lnTo>
                      <a:pt x="15" y="53"/>
                    </a:lnTo>
                    <a:lnTo>
                      <a:pt x="15" y="53"/>
                    </a:lnTo>
                    <a:lnTo>
                      <a:pt x="16" y="53"/>
                    </a:lnTo>
                    <a:lnTo>
                      <a:pt x="16" y="53"/>
                    </a:lnTo>
                    <a:lnTo>
                      <a:pt x="25" y="52"/>
                    </a:lnTo>
                    <a:lnTo>
                      <a:pt x="23" y="50"/>
                    </a:lnTo>
                    <a:close/>
                    <a:moveTo>
                      <a:pt x="36" y="42"/>
                    </a:moveTo>
                    <a:lnTo>
                      <a:pt x="36" y="42"/>
                    </a:lnTo>
                    <a:lnTo>
                      <a:pt x="28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38" y="44"/>
                    </a:lnTo>
                    <a:lnTo>
                      <a:pt x="36" y="42"/>
                    </a:lnTo>
                    <a:close/>
                    <a:moveTo>
                      <a:pt x="52" y="44"/>
                    </a:moveTo>
                    <a:lnTo>
                      <a:pt x="52" y="44"/>
                    </a:lnTo>
                    <a:lnTo>
                      <a:pt x="47" y="42"/>
                    </a:lnTo>
                    <a:lnTo>
                      <a:pt x="42" y="40"/>
                    </a:lnTo>
                    <a:lnTo>
                      <a:pt x="42" y="43"/>
                    </a:lnTo>
                    <a:lnTo>
                      <a:pt x="42" y="43"/>
                    </a:lnTo>
                    <a:lnTo>
                      <a:pt x="47" y="44"/>
                    </a:lnTo>
                    <a:lnTo>
                      <a:pt x="51" y="47"/>
                    </a:lnTo>
                    <a:lnTo>
                      <a:pt x="52" y="44"/>
                    </a:lnTo>
                    <a:close/>
                    <a:moveTo>
                      <a:pt x="64" y="43"/>
                    </a:moveTo>
                    <a:lnTo>
                      <a:pt x="64" y="43"/>
                    </a:lnTo>
                    <a:lnTo>
                      <a:pt x="61" y="46"/>
                    </a:lnTo>
                    <a:lnTo>
                      <a:pt x="61" y="46"/>
                    </a:lnTo>
                    <a:lnTo>
                      <a:pt x="58" y="47"/>
                    </a:lnTo>
                    <a:lnTo>
                      <a:pt x="58" y="47"/>
                    </a:lnTo>
                    <a:lnTo>
                      <a:pt x="58" y="47"/>
                    </a:lnTo>
                    <a:lnTo>
                      <a:pt x="57" y="46"/>
                    </a:lnTo>
                    <a:lnTo>
                      <a:pt x="55" y="49"/>
                    </a:lnTo>
                    <a:lnTo>
                      <a:pt x="55" y="49"/>
                    </a:lnTo>
                    <a:lnTo>
                      <a:pt x="58" y="49"/>
                    </a:lnTo>
                    <a:lnTo>
                      <a:pt x="58" y="49"/>
                    </a:lnTo>
                    <a:lnTo>
                      <a:pt x="58" y="49"/>
                    </a:lnTo>
                    <a:lnTo>
                      <a:pt x="63" y="49"/>
                    </a:lnTo>
                    <a:lnTo>
                      <a:pt x="63" y="49"/>
                    </a:lnTo>
                    <a:lnTo>
                      <a:pt x="65" y="46"/>
                    </a:lnTo>
                    <a:lnTo>
                      <a:pt x="64" y="43"/>
                    </a:lnTo>
                    <a:close/>
                    <a:moveTo>
                      <a:pt x="74" y="33"/>
                    </a:moveTo>
                    <a:lnTo>
                      <a:pt x="74" y="33"/>
                    </a:lnTo>
                    <a:lnTo>
                      <a:pt x="68" y="40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6" y="34"/>
                    </a:lnTo>
                    <a:lnTo>
                      <a:pt x="74" y="33"/>
                    </a:lnTo>
                    <a:close/>
                    <a:moveTo>
                      <a:pt x="81" y="20"/>
                    </a:moveTo>
                    <a:lnTo>
                      <a:pt x="81" y="20"/>
                    </a:lnTo>
                    <a:lnTo>
                      <a:pt x="77" y="29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4" y="21"/>
                    </a:lnTo>
                    <a:lnTo>
                      <a:pt x="81" y="20"/>
                    </a:lnTo>
                    <a:close/>
                    <a:moveTo>
                      <a:pt x="90" y="5"/>
                    </a:moveTo>
                    <a:lnTo>
                      <a:pt x="90" y="5"/>
                    </a:lnTo>
                    <a:lnTo>
                      <a:pt x="86" y="10"/>
                    </a:lnTo>
                    <a:lnTo>
                      <a:pt x="84" y="15"/>
                    </a:lnTo>
                    <a:lnTo>
                      <a:pt x="86" y="15"/>
                    </a:lnTo>
                    <a:lnTo>
                      <a:pt x="86" y="15"/>
                    </a:lnTo>
                    <a:lnTo>
                      <a:pt x="89" y="11"/>
                    </a:lnTo>
                    <a:lnTo>
                      <a:pt x="92" y="8"/>
                    </a:lnTo>
                    <a:lnTo>
                      <a:pt x="90" y="5"/>
                    </a:lnTo>
                    <a:close/>
                    <a:moveTo>
                      <a:pt x="105" y="0"/>
                    </a:moveTo>
                    <a:lnTo>
                      <a:pt x="103" y="0"/>
                    </a:lnTo>
                    <a:lnTo>
                      <a:pt x="103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93" y="2"/>
                    </a:lnTo>
                    <a:lnTo>
                      <a:pt x="94" y="5"/>
                    </a:lnTo>
                    <a:lnTo>
                      <a:pt x="94" y="5"/>
                    </a:lnTo>
                    <a:lnTo>
                      <a:pt x="102" y="2"/>
                    </a:lnTo>
                    <a:lnTo>
                      <a:pt x="102" y="2"/>
                    </a:lnTo>
                    <a:lnTo>
                      <a:pt x="103" y="2"/>
                    </a:lnTo>
                    <a:lnTo>
                      <a:pt x="103" y="2"/>
                    </a:lnTo>
                    <a:lnTo>
                      <a:pt x="105" y="0"/>
                    </a:lnTo>
                    <a:close/>
                    <a:moveTo>
                      <a:pt x="119" y="1"/>
                    </a:moveTo>
                    <a:lnTo>
                      <a:pt x="119" y="1"/>
                    </a:lnTo>
                    <a:lnTo>
                      <a:pt x="109" y="0"/>
                    </a:lnTo>
                    <a:lnTo>
                      <a:pt x="109" y="2"/>
                    </a:lnTo>
                    <a:lnTo>
                      <a:pt x="109" y="2"/>
                    </a:lnTo>
                    <a:lnTo>
                      <a:pt x="119" y="4"/>
                    </a:lnTo>
                    <a:lnTo>
                      <a:pt x="119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" name="Freeform 1663"/>
              <p:cNvSpPr>
                <a:spLocks noEditPoints="1"/>
              </p:cNvSpPr>
              <p:nvPr/>
            </p:nvSpPr>
            <p:spPr bwMode="auto">
              <a:xfrm>
                <a:off x="6008404" y="3226126"/>
                <a:ext cx="25721" cy="8903"/>
              </a:xfrm>
              <a:custGeom>
                <a:avLst/>
                <a:gdLst>
                  <a:gd name="T0" fmla="*/ 4 w 26"/>
                  <a:gd name="T1" fmla="*/ 3 h 9"/>
                  <a:gd name="T2" fmla="*/ 4 w 26"/>
                  <a:gd name="T3" fmla="*/ 3 h 9"/>
                  <a:gd name="T4" fmla="*/ 0 w 26"/>
                  <a:gd name="T5" fmla="*/ 3 h 9"/>
                  <a:gd name="T6" fmla="*/ 0 w 26"/>
                  <a:gd name="T7" fmla="*/ 4 h 9"/>
                  <a:gd name="T8" fmla="*/ 0 w 26"/>
                  <a:gd name="T9" fmla="*/ 4 h 9"/>
                  <a:gd name="T10" fmla="*/ 3 w 26"/>
                  <a:gd name="T11" fmla="*/ 6 h 9"/>
                  <a:gd name="T12" fmla="*/ 4 w 26"/>
                  <a:gd name="T13" fmla="*/ 3 h 9"/>
                  <a:gd name="T14" fmla="*/ 12 w 26"/>
                  <a:gd name="T15" fmla="*/ 6 h 9"/>
                  <a:gd name="T16" fmla="*/ 12 w 26"/>
                  <a:gd name="T17" fmla="*/ 6 h 9"/>
                  <a:gd name="T18" fmla="*/ 6 w 26"/>
                  <a:gd name="T19" fmla="*/ 3 h 9"/>
                  <a:gd name="T20" fmla="*/ 6 w 26"/>
                  <a:gd name="T21" fmla="*/ 6 h 9"/>
                  <a:gd name="T22" fmla="*/ 6 w 26"/>
                  <a:gd name="T23" fmla="*/ 6 h 9"/>
                  <a:gd name="T24" fmla="*/ 10 w 26"/>
                  <a:gd name="T25" fmla="*/ 7 h 9"/>
                  <a:gd name="T26" fmla="*/ 12 w 26"/>
                  <a:gd name="T27" fmla="*/ 6 h 9"/>
                  <a:gd name="T28" fmla="*/ 17 w 26"/>
                  <a:gd name="T29" fmla="*/ 4 h 9"/>
                  <a:gd name="T30" fmla="*/ 17 w 26"/>
                  <a:gd name="T31" fmla="*/ 4 h 9"/>
                  <a:gd name="T32" fmla="*/ 13 w 26"/>
                  <a:gd name="T33" fmla="*/ 6 h 9"/>
                  <a:gd name="T34" fmla="*/ 13 w 26"/>
                  <a:gd name="T35" fmla="*/ 9 h 9"/>
                  <a:gd name="T36" fmla="*/ 13 w 26"/>
                  <a:gd name="T37" fmla="*/ 9 h 9"/>
                  <a:gd name="T38" fmla="*/ 19 w 26"/>
                  <a:gd name="T39" fmla="*/ 6 h 9"/>
                  <a:gd name="T40" fmla="*/ 17 w 26"/>
                  <a:gd name="T41" fmla="*/ 4 h 9"/>
                  <a:gd name="T42" fmla="*/ 25 w 26"/>
                  <a:gd name="T43" fmla="*/ 0 h 9"/>
                  <a:gd name="T44" fmla="*/ 25 w 26"/>
                  <a:gd name="T45" fmla="*/ 0 h 9"/>
                  <a:gd name="T46" fmla="*/ 20 w 26"/>
                  <a:gd name="T47" fmla="*/ 3 h 9"/>
                  <a:gd name="T48" fmla="*/ 20 w 26"/>
                  <a:gd name="T49" fmla="*/ 6 h 9"/>
                  <a:gd name="T50" fmla="*/ 20 w 26"/>
                  <a:gd name="T51" fmla="*/ 6 h 9"/>
                  <a:gd name="T52" fmla="*/ 26 w 26"/>
                  <a:gd name="T53" fmla="*/ 3 h 9"/>
                  <a:gd name="T54" fmla="*/ 25 w 26"/>
                  <a:gd name="T5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6" h="9">
                    <a:moveTo>
                      <a:pt x="4" y="3"/>
                    </a:moveTo>
                    <a:lnTo>
                      <a:pt x="4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3" y="6"/>
                    </a:lnTo>
                    <a:lnTo>
                      <a:pt x="4" y="3"/>
                    </a:lnTo>
                    <a:close/>
                    <a:moveTo>
                      <a:pt x="12" y="6"/>
                    </a:moveTo>
                    <a:lnTo>
                      <a:pt x="12" y="6"/>
                    </a:lnTo>
                    <a:lnTo>
                      <a:pt x="6" y="3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0" y="7"/>
                    </a:lnTo>
                    <a:lnTo>
                      <a:pt x="12" y="6"/>
                    </a:lnTo>
                    <a:close/>
                    <a:moveTo>
                      <a:pt x="17" y="4"/>
                    </a:moveTo>
                    <a:lnTo>
                      <a:pt x="17" y="4"/>
                    </a:lnTo>
                    <a:lnTo>
                      <a:pt x="13" y="6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9" y="6"/>
                    </a:lnTo>
                    <a:lnTo>
                      <a:pt x="17" y="4"/>
                    </a:lnTo>
                    <a:close/>
                    <a:moveTo>
                      <a:pt x="25" y="0"/>
                    </a:moveTo>
                    <a:lnTo>
                      <a:pt x="25" y="0"/>
                    </a:lnTo>
                    <a:lnTo>
                      <a:pt x="20" y="3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6" y="3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7" name="Freeform 1665"/>
              <p:cNvSpPr>
                <a:spLocks noEditPoints="1"/>
              </p:cNvSpPr>
              <p:nvPr/>
            </p:nvSpPr>
            <p:spPr bwMode="auto">
              <a:xfrm>
                <a:off x="5826381" y="2414933"/>
                <a:ext cx="488694" cy="182024"/>
              </a:xfrm>
              <a:custGeom>
                <a:avLst/>
                <a:gdLst>
                  <a:gd name="T0" fmla="*/ 1 w 494"/>
                  <a:gd name="T1" fmla="*/ 16 h 184"/>
                  <a:gd name="T2" fmla="*/ 16 w 494"/>
                  <a:gd name="T3" fmla="*/ 26 h 184"/>
                  <a:gd name="T4" fmla="*/ 23 w 494"/>
                  <a:gd name="T5" fmla="*/ 30 h 184"/>
                  <a:gd name="T6" fmla="*/ 22 w 494"/>
                  <a:gd name="T7" fmla="*/ 33 h 184"/>
                  <a:gd name="T8" fmla="*/ 17 w 494"/>
                  <a:gd name="T9" fmla="*/ 45 h 184"/>
                  <a:gd name="T10" fmla="*/ 16 w 494"/>
                  <a:gd name="T11" fmla="*/ 45 h 184"/>
                  <a:gd name="T12" fmla="*/ 23 w 494"/>
                  <a:gd name="T13" fmla="*/ 55 h 184"/>
                  <a:gd name="T14" fmla="*/ 36 w 494"/>
                  <a:gd name="T15" fmla="*/ 62 h 184"/>
                  <a:gd name="T16" fmla="*/ 49 w 494"/>
                  <a:gd name="T17" fmla="*/ 68 h 184"/>
                  <a:gd name="T18" fmla="*/ 58 w 494"/>
                  <a:gd name="T19" fmla="*/ 93 h 184"/>
                  <a:gd name="T20" fmla="*/ 58 w 494"/>
                  <a:gd name="T21" fmla="*/ 99 h 184"/>
                  <a:gd name="T22" fmla="*/ 61 w 494"/>
                  <a:gd name="T23" fmla="*/ 116 h 184"/>
                  <a:gd name="T24" fmla="*/ 58 w 494"/>
                  <a:gd name="T25" fmla="*/ 117 h 184"/>
                  <a:gd name="T26" fmla="*/ 70 w 494"/>
                  <a:gd name="T27" fmla="*/ 122 h 184"/>
                  <a:gd name="T28" fmla="*/ 84 w 494"/>
                  <a:gd name="T29" fmla="*/ 125 h 184"/>
                  <a:gd name="T30" fmla="*/ 100 w 494"/>
                  <a:gd name="T31" fmla="*/ 132 h 184"/>
                  <a:gd name="T32" fmla="*/ 97 w 494"/>
                  <a:gd name="T33" fmla="*/ 132 h 184"/>
                  <a:gd name="T34" fmla="*/ 93 w 494"/>
                  <a:gd name="T35" fmla="*/ 148 h 184"/>
                  <a:gd name="T36" fmla="*/ 94 w 494"/>
                  <a:gd name="T37" fmla="*/ 154 h 184"/>
                  <a:gd name="T38" fmla="*/ 107 w 494"/>
                  <a:gd name="T39" fmla="*/ 162 h 184"/>
                  <a:gd name="T40" fmla="*/ 116 w 494"/>
                  <a:gd name="T41" fmla="*/ 167 h 184"/>
                  <a:gd name="T42" fmla="*/ 126 w 494"/>
                  <a:gd name="T43" fmla="*/ 167 h 184"/>
                  <a:gd name="T44" fmla="*/ 151 w 494"/>
                  <a:gd name="T45" fmla="*/ 162 h 184"/>
                  <a:gd name="T46" fmla="*/ 156 w 494"/>
                  <a:gd name="T47" fmla="*/ 161 h 184"/>
                  <a:gd name="T48" fmla="*/ 175 w 494"/>
                  <a:gd name="T49" fmla="*/ 162 h 184"/>
                  <a:gd name="T50" fmla="*/ 181 w 494"/>
                  <a:gd name="T51" fmla="*/ 164 h 184"/>
                  <a:gd name="T52" fmla="*/ 210 w 494"/>
                  <a:gd name="T53" fmla="*/ 170 h 184"/>
                  <a:gd name="T54" fmla="*/ 210 w 494"/>
                  <a:gd name="T55" fmla="*/ 170 h 184"/>
                  <a:gd name="T56" fmla="*/ 236 w 494"/>
                  <a:gd name="T57" fmla="*/ 181 h 184"/>
                  <a:gd name="T58" fmla="*/ 226 w 494"/>
                  <a:gd name="T59" fmla="*/ 184 h 184"/>
                  <a:gd name="T60" fmla="*/ 242 w 494"/>
                  <a:gd name="T61" fmla="*/ 183 h 184"/>
                  <a:gd name="T62" fmla="*/ 256 w 494"/>
                  <a:gd name="T63" fmla="*/ 180 h 184"/>
                  <a:gd name="T64" fmla="*/ 281 w 494"/>
                  <a:gd name="T65" fmla="*/ 172 h 184"/>
                  <a:gd name="T66" fmla="*/ 294 w 494"/>
                  <a:gd name="T67" fmla="*/ 165 h 184"/>
                  <a:gd name="T68" fmla="*/ 301 w 494"/>
                  <a:gd name="T69" fmla="*/ 165 h 184"/>
                  <a:gd name="T70" fmla="*/ 314 w 494"/>
                  <a:gd name="T71" fmla="*/ 161 h 184"/>
                  <a:gd name="T72" fmla="*/ 329 w 494"/>
                  <a:gd name="T73" fmla="*/ 158 h 184"/>
                  <a:gd name="T74" fmla="*/ 349 w 494"/>
                  <a:gd name="T75" fmla="*/ 142 h 184"/>
                  <a:gd name="T76" fmla="*/ 352 w 494"/>
                  <a:gd name="T77" fmla="*/ 139 h 184"/>
                  <a:gd name="T78" fmla="*/ 364 w 494"/>
                  <a:gd name="T79" fmla="*/ 129 h 184"/>
                  <a:gd name="T80" fmla="*/ 374 w 494"/>
                  <a:gd name="T81" fmla="*/ 117 h 184"/>
                  <a:gd name="T82" fmla="*/ 382 w 494"/>
                  <a:gd name="T83" fmla="*/ 104 h 184"/>
                  <a:gd name="T84" fmla="*/ 398 w 494"/>
                  <a:gd name="T85" fmla="*/ 87 h 184"/>
                  <a:gd name="T86" fmla="*/ 395 w 494"/>
                  <a:gd name="T87" fmla="*/ 88 h 184"/>
                  <a:gd name="T88" fmla="*/ 400 w 494"/>
                  <a:gd name="T89" fmla="*/ 91 h 184"/>
                  <a:gd name="T90" fmla="*/ 416 w 494"/>
                  <a:gd name="T91" fmla="*/ 109 h 184"/>
                  <a:gd name="T92" fmla="*/ 417 w 494"/>
                  <a:gd name="T93" fmla="*/ 110 h 184"/>
                  <a:gd name="T94" fmla="*/ 432 w 494"/>
                  <a:gd name="T95" fmla="*/ 104 h 184"/>
                  <a:gd name="T96" fmla="*/ 443 w 494"/>
                  <a:gd name="T97" fmla="*/ 94 h 184"/>
                  <a:gd name="T98" fmla="*/ 469 w 494"/>
                  <a:gd name="T99" fmla="*/ 78 h 184"/>
                  <a:gd name="T100" fmla="*/ 465 w 494"/>
                  <a:gd name="T101" fmla="*/ 83 h 184"/>
                  <a:gd name="T102" fmla="*/ 475 w 494"/>
                  <a:gd name="T103" fmla="*/ 81 h 184"/>
                  <a:gd name="T104" fmla="*/ 491 w 494"/>
                  <a:gd name="T105" fmla="*/ 78 h 184"/>
                  <a:gd name="T106" fmla="*/ 491 w 494"/>
                  <a:gd name="T107" fmla="*/ 58 h 184"/>
                  <a:gd name="T108" fmla="*/ 492 w 494"/>
                  <a:gd name="T109" fmla="*/ 54 h 184"/>
                  <a:gd name="T110" fmla="*/ 478 w 494"/>
                  <a:gd name="T111" fmla="*/ 46 h 184"/>
                  <a:gd name="T112" fmla="*/ 472 w 494"/>
                  <a:gd name="T113" fmla="*/ 45 h 184"/>
                  <a:gd name="T114" fmla="*/ 449 w 494"/>
                  <a:gd name="T115" fmla="*/ 55 h 184"/>
                  <a:gd name="T116" fmla="*/ 437 w 494"/>
                  <a:gd name="T117" fmla="*/ 45 h 184"/>
                  <a:gd name="T118" fmla="*/ 433 w 494"/>
                  <a:gd name="T119" fmla="*/ 30 h 184"/>
                  <a:gd name="T120" fmla="*/ 433 w 494"/>
                  <a:gd name="T121" fmla="*/ 30 h 184"/>
                  <a:gd name="T122" fmla="*/ 442 w 494"/>
                  <a:gd name="T12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94" h="184">
                    <a:moveTo>
                      <a:pt x="4" y="16"/>
                    </a:moveTo>
                    <a:lnTo>
                      <a:pt x="4" y="16"/>
                    </a:lnTo>
                    <a:lnTo>
                      <a:pt x="4" y="16"/>
                    </a:lnTo>
                    <a:lnTo>
                      <a:pt x="3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1" y="16"/>
                    </a:lnTo>
                    <a:lnTo>
                      <a:pt x="1" y="16"/>
                    </a:lnTo>
                    <a:lnTo>
                      <a:pt x="3" y="17"/>
                    </a:lnTo>
                    <a:lnTo>
                      <a:pt x="4" y="16"/>
                    </a:lnTo>
                    <a:close/>
                    <a:moveTo>
                      <a:pt x="17" y="25"/>
                    </a:moveTo>
                    <a:lnTo>
                      <a:pt x="17" y="25"/>
                    </a:lnTo>
                    <a:lnTo>
                      <a:pt x="9" y="19"/>
                    </a:lnTo>
                    <a:lnTo>
                      <a:pt x="7" y="22"/>
                    </a:lnTo>
                    <a:lnTo>
                      <a:pt x="7" y="22"/>
                    </a:lnTo>
                    <a:lnTo>
                      <a:pt x="16" y="26"/>
                    </a:lnTo>
                    <a:lnTo>
                      <a:pt x="17" y="25"/>
                    </a:lnTo>
                    <a:close/>
                    <a:moveTo>
                      <a:pt x="22" y="38"/>
                    </a:moveTo>
                    <a:lnTo>
                      <a:pt x="22" y="38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5" y="33"/>
                    </a:lnTo>
                    <a:lnTo>
                      <a:pt x="25" y="33"/>
                    </a:lnTo>
                    <a:lnTo>
                      <a:pt x="23" y="30"/>
                    </a:lnTo>
                    <a:lnTo>
                      <a:pt x="22" y="29"/>
                    </a:lnTo>
                    <a:lnTo>
                      <a:pt x="22" y="28"/>
                    </a:lnTo>
                    <a:lnTo>
                      <a:pt x="20" y="29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2" y="33"/>
                    </a:lnTo>
                    <a:lnTo>
                      <a:pt x="22" y="33"/>
                    </a:lnTo>
                    <a:lnTo>
                      <a:pt x="22" y="33"/>
                    </a:lnTo>
                    <a:lnTo>
                      <a:pt x="22" y="33"/>
                    </a:lnTo>
                    <a:lnTo>
                      <a:pt x="20" y="36"/>
                    </a:lnTo>
                    <a:lnTo>
                      <a:pt x="22" y="38"/>
                    </a:lnTo>
                    <a:close/>
                    <a:moveTo>
                      <a:pt x="20" y="49"/>
                    </a:moveTo>
                    <a:lnTo>
                      <a:pt x="20" y="49"/>
                    </a:lnTo>
                    <a:lnTo>
                      <a:pt x="19" y="46"/>
                    </a:lnTo>
                    <a:lnTo>
                      <a:pt x="17" y="45"/>
                    </a:lnTo>
                    <a:lnTo>
                      <a:pt x="17" y="45"/>
                    </a:lnTo>
                    <a:lnTo>
                      <a:pt x="19" y="44"/>
                    </a:lnTo>
                    <a:lnTo>
                      <a:pt x="19" y="44"/>
                    </a:lnTo>
                    <a:lnTo>
                      <a:pt x="19" y="42"/>
                    </a:lnTo>
                    <a:lnTo>
                      <a:pt x="17" y="41"/>
                    </a:lnTo>
                    <a:lnTo>
                      <a:pt x="17" y="41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5"/>
                    </a:lnTo>
                    <a:lnTo>
                      <a:pt x="16" y="45"/>
                    </a:lnTo>
                    <a:lnTo>
                      <a:pt x="16" y="48"/>
                    </a:lnTo>
                    <a:lnTo>
                      <a:pt x="19" y="51"/>
                    </a:lnTo>
                    <a:lnTo>
                      <a:pt x="20" y="49"/>
                    </a:lnTo>
                    <a:close/>
                    <a:moveTo>
                      <a:pt x="32" y="58"/>
                    </a:moveTo>
                    <a:lnTo>
                      <a:pt x="32" y="58"/>
                    </a:lnTo>
                    <a:lnTo>
                      <a:pt x="25" y="52"/>
                    </a:lnTo>
                    <a:lnTo>
                      <a:pt x="23" y="55"/>
                    </a:lnTo>
                    <a:lnTo>
                      <a:pt x="23" y="55"/>
                    </a:lnTo>
                    <a:lnTo>
                      <a:pt x="30" y="61"/>
                    </a:lnTo>
                    <a:lnTo>
                      <a:pt x="32" y="58"/>
                    </a:lnTo>
                    <a:close/>
                    <a:moveTo>
                      <a:pt x="45" y="65"/>
                    </a:moveTo>
                    <a:lnTo>
                      <a:pt x="45" y="65"/>
                    </a:lnTo>
                    <a:lnTo>
                      <a:pt x="36" y="61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45" y="68"/>
                    </a:lnTo>
                    <a:lnTo>
                      <a:pt x="45" y="65"/>
                    </a:lnTo>
                    <a:close/>
                    <a:moveTo>
                      <a:pt x="55" y="78"/>
                    </a:moveTo>
                    <a:lnTo>
                      <a:pt x="55" y="78"/>
                    </a:lnTo>
                    <a:lnTo>
                      <a:pt x="54" y="74"/>
                    </a:lnTo>
                    <a:lnTo>
                      <a:pt x="52" y="71"/>
                    </a:lnTo>
                    <a:lnTo>
                      <a:pt x="52" y="71"/>
                    </a:lnTo>
                    <a:lnTo>
                      <a:pt x="49" y="68"/>
                    </a:lnTo>
                    <a:lnTo>
                      <a:pt x="48" y="71"/>
                    </a:lnTo>
                    <a:lnTo>
                      <a:pt x="48" y="71"/>
                    </a:lnTo>
                    <a:lnTo>
                      <a:pt x="49" y="72"/>
                    </a:lnTo>
                    <a:lnTo>
                      <a:pt x="49" y="72"/>
                    </a:lnTo>
                    <a:lnTo>
                      <a:pt x="54" y="78"/>
                    </a:lnTo>
                    <a:lnTo>
                      <a:pt x="55" y="78"/>
                    </a:lnTo>
                    <a:close/>
                    <a:moveTo>
                      <a:pt x="58" y="93"/>
                    </a:moveTo>
                    <a:lnTo>
                      <a:pt x="58" y="93"/>
                    </a:lnTo>
                    <a:lnTo>
                      <a:pt x="56" y="83"/>
                    </a:lnTo>
                    <a:lnTo>
                      <a:pt x="54" y="84"/>
                    </a:lnTo>
                    <a:lnTo>
                      <a:pt x="54" y="84"/>
                    </a:lnTo>
                    <a:lnTo>
                      <a:pt x="55" y="94"/>
                    </a:lnTo>
                    <a:lnTo>
                      <a:pt x="58" y="93"/>
                    </a:lnTo>
                    <a:close/>
                    <a:moveTo>
                      <a:pt x="59" y="109"/>
                    </a:moveTo>
                    <a:lnTo>
                      <a:pt x="59" y="109"/>
                    </a:lnTo>
                    <a:lnTo>
                      <a:pt x="58" y="99"/>
                    </a:lnTo>
                    <a:lnTo>
                      <a:pt x="56" y="99"/>
                    </a:lnTo>
                    <a:lnTo>
                      <a:pt x="56" y="99"/>
                    </a:lnTo>
                    <a:lnTo>
                      <a:pt x="56" y="109"/>
                    </a:lnTo>
                    <a:lnTo>
                      <a:pt x="59" y="109"/>
                    </a:lnTo>
                    <a:close/>
                    <a:moveTo>
                      <a:pt x="65" y="117"/>
                    </a:moveTo>
                    <a:lnTo>
                      <a:pt x="65" y="117"/>
                    </a:lnTo>
                    <a:lnTo>
                      <a:pt x="61" y="116"/>
                    </a:lnTo>
                    <a:lnTo>
                      <a:pt x="61" y="116"/>
                    </a:lnTo>
                    <a:lnTo>
                      <a:pt x="59" y="116"/>
                    </a:lnTo>
                    <a:lnTo>
                      <a:pt x="59" y="114"/>
                    </a:lnTo>
                    <a:lnTo>
                      <a:pt x="59" y="113"/>
                    </a:lnTo>
                    <a:lnTo>
                      <a:pt x="56" y="113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8" y="117"/>
                    </a:lnTo>
                    <a:lnTo>
                      <a:pt x="58" y="117"/>
                    </a:lnTo>
                    <a:lnTo>
                      <a:pt x="61" y="119"/>
                    </a:lnTo>
                    <a:lnTo>
                      <a:pt x="65" y="120"/>
                    </a:lnTo>
                    <a:lnTo>
                      <a:pt x="65" y="117"/>
                    </a:lnTo>
                    <a:close/>
                    <a:moveTo>
                      <a:pt x="80" y="120"/>
                    </a:moveTo>
                    <a:lnTo>
                      <a:pt x="80" y="120"/>
                    </a:lnTo>
                    <a:lnTo>
                      <a:pt x="71" y="119"/>
                    </a:lnTo>
                    <a:lnTo>
                      <a:pt x="70" y="122"/>
                    </a:lnTo>
                    <a:lnTo>
                      <a:pt x="70" y="122"/>
                    </a:lnTo>
                    <a:lnTo>
                      <a:pt x="80" y="123"/>
                    </a:lnTo>
                    <a:lnTo>
                      <a:pt x="80" y="120"/>
                    </a:lnTo>
                    <a:close/>
                    <a:moveTo>
                      <a:pt x="94" y="128"/>
                    </a:moveTo>
                    <a:lnTo>
                      <a:pt x="94" y="128"/>
                    </a:lnTo>
                    <a:lnTo>
                      <a:pt x="85" y="122"/>
                    </a:lnTo>
                    <a:lnTo>
                      <a:pt x="85" y="122"/>
                    </a:lnTo>
                    <a:lnTo>
                      <a:pt x="84" y="125"/>
                    </a:lnTo>
                    <a:lnTo>
                      <a:pt x="84" y="125"/>
                    </a:lnTo>
                    <a:lnTo>
                      <a:pt x="84" y="125"/>
                    </a:lnTo>
                    <a:lnTo>
                      <a:pt x="93" y="129"/>
                    </a:lnTo>
                    <a:lnTo>
                      <a:pt x="94" y="128"/>
                    </a:lnTo>
                    <a:close/>
                    <a:moveTo>
                      <a:pt x="94" y="141"/>
                    </a:moveTo>
                    <a:lnTo>
                      <a:pt x="94" y="141"/>
                    </a:lnTo>
                    <a:lnTo>
                      <a:pt x="98" y="136"/>
                    </a:lnTo>
                    <a:lnTo>
                      <a:pt x="98" y="136"/>
                    </a:lnTo>
                    <a:lnTo>
                      <a:pt x="100" y="132"/>
                    </a:lnTo>
                    <a:lnTo>
                      <a:pt x="100" y="132"/>
                    </a:lnTo>
                    <a:lnTo>
                      <a:pt x="98" y="130"/>
                    </a:lnTo>
                    <a:lnTo>
                      <a:pt x="98" y="130"/>
                    </a:lnTo>
                    <a:lnTo>
                      <a:pt x="97" y="132"/>
                    </a:lnTo>
                    <a:lnTo>
                      <a:pt x="97" y="132"/>
                    </a:lnTo>
                    <a:lnTo>
                      <a:pt x="97" y="132"/>
                    </a:lnTo>
                    <a:lnTo>
                      <a:pt x="97" y="132"/>
                    </a:lnTo>
                    <a:lnTo>
                      <a:pt x="97" y="132"/>
                    </a:lnTo>
                    <a:lnTo>
                      <a:pt x="96" y="135"/>
                    </a:lnTo>
                    <a:lnTo>
                      <a:pt x="96" y="135"/>
                    </a:lnTo>
                    <a:lnTo>
                      <a:pt x="93" y="139"/>
                    </a:lnTo>
                    <a:lnTo>
                      <a:pt x="94" y="141"/>
                    </a:lnTo>
                    <a:close/>
                    <a:moveTo>
                      <a:pt x="97" y="152"/>
                    </a:moveTo>
                    <a:lnTo>
                      <a:pt x="97" y="152"/>
                    </a:lnTo>
                    <a:lnTo>
                      <a:pt x="93" y="148"/>
                    </a:lnTo>
                    <a:lnTo>
                      <a:pt x="93" y="148"/>
                    </a:lnTo>
                    <a:lnTo>
                      <a:pt x="93" y="145"/>
                    </a:lnTo>
                    <a:lnTo>
                      <a:pt x="93" y="145"/>
                    </a:lnTo>
                    <a:lnTo>
                      <a:pt x="90" y="143"/>
                    </a:lnTo>
                    <a:lnTo>
                      <a:pt x="90" y="145"/>
                    </a:lnTo>
                    <a:lnTo>
                      <a:pt x="90" y="145"/>
                    </a:lnTo>
                    <a:lnTo>
                      <a:pt x="91" y="149"/>
                    </a:lnTo>
                    <a:lnTo>
                      <a:pt x="91" y="149"/>
                    </a:lnTo>
                    <a:lnTo>
                      <a:pt x="94" y="154"/>
                    </a:lnTo>
                    <a:lnTo>
                      <a:pt x="97" y="152"/>
                    </a:lnTo>
                    <a:close/>
                    <a:moveTo>
                      <a:pt x="107" y="162"/>
                    </a:moveTo>
                    <a:lnTo>
                      <a:pt x="107" y="162"/>
                    </a:lnTo>
                    <a:lnTo>
                      <a:pt x="100" y="155"/>
                    </a:lnTo>
                    <a:lnTo>
                      <a:pt x="98" y="158"/>
                    </a:lnTo>
                    <a:lnTo>
                      <a:pt x="98" y="158"/>
                    </a:lnTo>
                    <a:lnTo>
                      <a:pt x="106" y="164"/>
                    </a:lnTo>
                    <a:lnTo>
                      <a:pt x="107" y="162"/>
                    </a:lnTo>
                    <a:close/>
                    <a:moveTo>
                      <a:pt x="120" y="165"/>
                    </a:moveTo>
                    <a:lnTo>
                      <a:pt x="120" y="165"/>
                    </a:lnTo>
                    <a:lnTo>
                      <a:pt x="116" y="165"/>
                    </a:lnTo>
                    <a:lnTo>
                      <a:pt x="116" y="165"/>
                    </a:lnTo>
                    <a:lnTo>
                      <a:pt x="112" y="164"/>
                    </a:lnTo>
                    <a:lnTo>
                      <a:pt x="110" y="167"/>
                    </a:lnTo>
                    <a:lnTo>
                      <a:pt x="110" y="167"/>
                    </a:lnTo>
                    <a:lnTo>
                      <a:pt x="116" y="167"/>
                    </a:lnTo>
                    <a:lnTo>
                      <a:pt x="116" y="167"/>
                    </a:lnTo>
                    <a:lnTo>
                      <a:pt x="120" y="167"/>
                    </a:lnTo>
                    <a:lnTo>
                      <a:pt x="120" y="165"/>
                    </a:lnTo>
                    <a:close/>
                    <a:moveTo>
                      <a:pt x="136" y="162"/>
                    </a:moveTo>
                    <a:lnTo>
                      <a:pt x="136" y="162"/>
                    </a:lnTo>
                    <a:lnTo>
                      <a:pt x="126" y="164"/>
                    </a:lnTo>
                    <a:lnTo>
                      <a:pt x="126" y="167"/>
                    </a:lnTo>
                    <a:lnTo>
                      <a:pt x="126" y="167"/>
                    </a:lnTo>
                    <a:lnTo>
                      <a:pt x="136" y="165"/>
                    </a:lnTo>
                    <a:lnTo>
                      <a:pt x="136" y="162"/>
                    </a:lnTo>
                    <a:close/>
                    <a:moveTo>
                      <a:pt x="151" y="159"/>
                    </a:moveTo>
                    <a:lnTo>
                      <a:pt x="151" y="159"/>
                    </a:lnTo>
                    <a:lnTo>
                      <a:pt x="140" y="162"/>
                    </a:lnTo>
                    <a:lnTo>
                      <a:pt x="142" y="164"/>
                    </a:lnTo>
                    <a:lnTo>
                      <a:pt x="142" y="164"/>
                    </a:lnTo>
                    <a:lnTo>
                      <a:pt x="151" y="162"/>
                    </a:lnTo>
                    <a:lnTo>
                      <a:pt x="151" y="159"/>
                    </a:lnTo>
                    <a:close/>
                    <a:moveTo>
                      <a:pt x="167" y="158"/>
                    </a:moveTo>
                    <a:lnTo>
                      <a:pt x="167" y="158"/>
                    </a:lnTo>
                    <a:lnTo>
                      <a:pt x="158" y="158"/>
                    </a:lnTo>
                    <a:lnTo>
                      <a:pt x="158" y="158"/>
                    </a:lnTo>
                    <a:lnTo>
                      <a:pt x="155" y="158"/>
                    </a:lnTo>
                    <a:lnTo>
                      <a:pt x="156" y="161"/>
                    </a:lnTo>
                    <a:lnTo>
                      <a:pt x="156" y="161"/>
                    </a:lnTo>
                    <a:lnTo>
                      <a:pt x="158" y="161"/>
                    </a:lnTo>
                    <a:lnTo>
                      <a:pt x="158" y="161"/>
                    </a:lnTo>
                    <a:lnTo>
                      <a:pt x="165" y="161"/>
                    </a:lnTo>
                    <a:lnTo>
                      <a:pt x="167" y="159"/>
                    </a:lnTo>
                    <a:lnTo>
                      <a:pt x="167" y="158"/>
                    </a:lnTo>
                    <a:close/>
                    <a:moveTo>
                      <a:pt x="181" y="164"/>
                    </a:moveTo>
                    <a:lnTo>
                      <a:pt x="181" y="164"/>
                    </a:lnTo>
                    <a:lnTo>
                      <a:pt x="175" y="162"/>
                    </a:lnTo>
                    <a:lnTo>
                      <a:pt x="175" y="162"/>
                    </a:lnTo>
                    <a:lnTo>
                      <a:pt x="171" y="159"/>
                    </a:lnTo>
                    <a:lnTo>
                      <a:pt x="171" y="162"/>
                    </a:lnTo>
                    <a:lnTo>
                      <a:pt x="171" y="162"/>
                    </a:lnTo>
                    <a:lnTo>
                      <a:pt x="174" y="164"/>
                    </a:lnTo>
                    <a:lnTo>
                      <a:pt x="174" y="164"/>
                    </a:lnTo>
                    <a:lnTo>
                      <a:pt x="180" y="167"/>
                    </a:lnTo>
                    <a:lnTo>
                      <a:pt x="181" y="164"/>
                    </a:lnTo>
                    <a:close/>
                    <a:moveTo>
                      <a:pt x="196" y="165"/>
                    </a:moveTo>
                    <a:lnTo>
                      <a:pt x="196" y="165"/>
                    </a:lnTo>
                    <a:lnTo>
                      <a:pt x="185" y="165"/>
                    </a:lnTo>
                    <a:lnTo>
                      <a:pt x="184" y="168"/>
                    </a:lnTo>
                    <a:lnTo>
                      <a:pt x="184" y="168"/>
                    </a:lnTo>
                    <a:lnTo>
                      <a:pt x="196" y="168"/>
                    </a:lnTo>
                    <a:lnTo>
                      <a:pt x="196" y="165"/>
                    </a:lnTo>
                    <a:close/>
                    <a:moveTo>
                      <a:pt x="210" y="170"/>
                    </a:moveTo>
                    <a:lnTo>
                      <a:pt x="210" y="170"/>
                    </a:lnTo>
                    <a:lnTo>
                      <a:pt x="206" y="168"/>
                    </a:lnTo>
                    <a:lnTo>
                      <a:pt x="200" y="167"/>
                    </a:lnTo>
                    <a:lnTo>
                      <a:pt x="200" y="168"/>
                    </a:lnTo>
                    <a:lnTo>
                      <a:pt x="200" y="168"/>
                    </a:lnTo>
                    <a:lnTo>
                      <a:pt x="204" y="170"/>
                    </a:lnTo>
                    <a:lnTo>
                      <a:pt x="209" y="172"/>
                    </a:lnTo>
                    <a:lnTo>
                      <a:pt x="210" y="170"/>
                    </a:lnTo>
                    <a:close/>
                    <a:moveTo>
                      <a:pt x="222" y="180"/>
                    </a:moveTo>
                    <a:lnTo>
                      <a:pt x="222" y="180"/>
                    </a:lnTo>
                    <a:lnTo>
                      <a:pt x="214" y="172"/>
                    </a:lnTo>
                    <a:lnTo>
                      <a:pt x="213" y="175"/>
                    </a:lnTo>
                    <a:lnTo>
                      <a:pt x="213" y="175"/>
                    </a:lnTo>
                    <a:lnTo>
                      <a:pt x="220" y="181"/>
                    </a:lnTo>
                    <a:lnTo>
                      <a:pt x="222" y="180"/>
                    </a:lnTo>
                    <a:close/>
                    <a:moveTo>
                      <a:pt x="236" y="181"/>
                    </a:moveTo>
                    <a:lnTo>
                      <a:pt x="236" y="181"/>
                    </a:lnTo>
                    <a:lnTo>
                      <a:pt x="230" y="181"/>
                    </a:lnTo>
                    <a:lnTo>
                      <a:pt x="230" y="181"/>
                    </a:lnTo>
                    <a:lnTo>
                      <a:pt x="227" y="181"/>
                    </a:lnTo>
                    <a:lnTo>
                      <a:pt x="226" y="181"/>
                    </a:lnTo>
                    <a:lnTo>
                      <a:pt x="226" y="184"/>
                    </a:lnTo>
                    <a:lnTo>
                      <a:pt x="226" y="184"/>
                    </a:lnTo>
                    <a:lnTo>
                      <a:pt x="226" y="184"/>
                    </a:lnTo>
                    <a:lnTo>
                      <a:pt x="230" y="184"/>
                    </a:lnTo>
                    <a:lnTo>
                      <a:pt x="230" y="184"/>
                    </a:lnTo>
                    <a:lnTo>
                      <a:pt x="236" y="184"/>
                    </a:lnTo>
                    <a:lnTo>
                      <a:pt x="236" y="181"/>
                    </a:lnTo>
                    <a:close/>
                    <a:moveTo>
                      <a:pt x="251" y="178"/>
                    </a:moveTo>
                    <a:lnTo>
                      <a:pt x="251" y="178"/>
                    </a:lnTo>
                    <a:lnTo>
                      <a:pt x="240" y="180"/>
                    </a:lnTo>
                    <a:lnTo>
                      <a:pt x="242" y="183"/>
                    </a:lnTo>
                    <a:lnTo>
                      <a:pt x="242" y="183"/>
                    </a:lnTo>
                    <a:lnTo>
                      <a:pt x="252" y="181"/>
                    </a:lnTo>
                    <a:lnTo>
                      <a:pt x="251" y="178"/>
                    </a:lnTo>
                    <a:close/>
                    <a:moveTo>
                      <a:pt x="265" y="174"/>
                    </a:moveTo>
                    <a:lnTo>
                      <a:pt x="265" y="174"/>
                    </a:lnTo>
                    <a:lnTo>
                      <a:pt x="256" y="177"/>
                    </a:lnTo>
                    <a:lnTo>
                      <a:pt x="256" y="180"/>
                    </a:lnTo>
                    <a:lnTo>
                      <a:pt x="256" y="180"/>
                    </a:lnTo>
                    <a:lnTo>
                      <a:pt x="267" y="177"/>
                    </a:lnTo>
                    <a:lnTo>
                      <a:pt x="265" y="174"/>
                    </a:lnTo>
                    <a:close/>
                    <a:moveTo>
                      <a:pt x="280" y="170"/>
                    </a:moveTo>
                    <a:lnTo>
                      <a:pt x="280" y="170"/>
                    </a:lnTo>
                    <a:lnTo>
                      <a:pt x="271" y="172"/>
                    </a:lnTo>
                    <a:lnTo>
                      <a:pt x="271" y="175"/>
                    </a:lnTo>
                    <a:lnTo>
                      <a:pt x="271" y="175"/>
                    </a:lnTo>
                    <a:lnTo>
                      <a:pt x="281" y="172"/>
                    </a:lnTo>
                    <a:lnTo>
                      <a:pt x="280" y="170"/>
                    </a:lnTo>
                    <a:close/>
                    <a:moveTo>
                      <a:pt x="294" y="165"/>
                    </a:moveTo>
                    <a:lnTo>
                      <a:pt x="294" y="165"/>
                    </a:lnTo>
                    <a:lnTo>
                      <a:pt x="285" y="168"/>
                    </a:lnTo>
                    <a:lnTo>
                      <a:pt x="285" y="171"/>
                    </a:lnTo>
                    <a:lnTo>
                      <a:pt x="285" y="171"/>
                    </a:lnTo>
                    <a:lnTo>
                      <a:pt x="295" y="168"/>
                    </a:lnTo>
                    <a:lnTo>
                      <a:pt x="294" y="165"/>
                    </a:lnTo>
                    <a:close/>
                    <a:moveTo>
                      <a:pt x="309" y="159"/>
                    </a:moveTo>
                    <a:lnTo>
                      <a:pt x="309" y="159"/>
                    </a:lnTo>
                    <a:lnTo>
                      <a:pt x="300" y="162"/>
                    </a:lnTo>
                    <a:lnTo>
                      <a:pt x="300" y="162"/>
                    </a:lnTo>
                    <a:lnTo>
                      <a:pt x="298" y="162"/>
                    </a:lnTo>
                    <a:lnTo>
                      <a:pt x="300" y="165"/>
                    </a:lnTo>
                    <a:lnTo>
                      <a:pt x="300" y="165"/>
                    </a:lnTo>
                    <a:lnTo>
                      <a:pt x="301" y="165"/>
                    </a:lnTo>
                    <a:lnTo>
                      <a:pt x="301" y="165"/>
                    </a:lnTo>
                    <a:lnTo>
                      <a:pt x="309" y="161"/>
                    </a:lnTo>
                    <a:lnTo>
                      <a:pt x="309" y="159"/>
                    </a:lnTo>
                    <a:close/>
                    <a:moveTo>
                      <a:pt x="323" y="156"/>
                    </a:moveTo>
                    <a:lnTo>
                      <a:pt x="323" y="156"/>
                    </a:lnTo>
                    <a:lnTo>
                      <a:pt x="313" y="158"/>
                    </a:lnTo>
                    <a:lnTo>
                      <a:pt x="314" y="161"/>
                    </a:lnTo>
                    <a:lnTo>
                      <a:pt x="314" y="161"/>
                    </a:lnTo>
                    <a:lnTo>
                      <a:pt x="324" y="159"/>
                    </a:lnTo>
                    <a:lnTo>
                      <a:pt x="323" y="156"/>
                    </a:lnTo>
                    <a:close/>
                    <a:moveTo>
                      <a:pt x="337" y="152"/>
                    </a:moveTo>
                    <a:lnTo>
                      <a:pt x="337" y="152"/>
                    </a:lnTo>
                    <a:lnTo>
                      <a:pt x="332" y="156"/>
                    </a:lnTo>
                    <a:lnTo>
                      <a:pt x="332" y="156"/>
                    </a:lnTo>
                    <a:lnTo>
                      <a:pt x="329" y="156"/>
                    </a:lnTo>
                    <a:lnTo>
                      <a:pt x="329" y="158"/>
                    </a:lnTo>
                    <a:lnTo>
                      <a:pt x="329" y="158"/>
                    </a:lnTo>
                    <a:lnTo>
                      <a:pt x="332" y="158"/>
                    </a:lnTo>
                    <a:lnTo>
                      <a:pt x="332" y="158"/>
                    </a:lnTo>
                    <a:lnTo>
                      <a:pt x="335" y="156"/>
                    </a:lnTo>
                    <a:lnTo>
                      <a:pt x="339" y="155"/>
                    </a:lnTo>
                    <a:lnTo>
                      <a:pt x="337" y="152"/>
                    </a:lnTo>
                    <a:close/>
                    <a:moveTo>
                      <a:pt x="349" y="142"/>
                    </a:moveTo>
                    <a:lnTo>
                      <a:pt x="349" y="142"/>
                    </a:lnTo>
                    <a:lnTo>
                      <a:pt x="342" y="149"/>
                    </a:lnTo>
                    <a:lnTo>
                      <a:pt x="343" y="152"/>
                    </a:lnTo>
                    <a:lnTo>
                      <a:pt x="343" y="152"/>
                    </a:lnTo>
                    <a:lnTo>
                      <a:pt x="351" y="145"/>
                    </a:lnTo>
                    <a:lnTo>
                      <a:pt x="349" y="142"/>
                    </a:lnTo>
                    <a:close/>
                    <a:moveTo>
                      <a:pt x="358" y="132"/>
                    </a:moveTo>
                    <a:lnTo>
                      <a:pt x="358" y="132"/>
                    </a:lnTo>
                    <a:lnTo>
                      <a:pt x="352" y="139"/>
                    </a:lnTo>
                    <a:lnTo>
                      <a:pt x="353" y="141"/>
                    </a:lnTo>
                    <a:lnTo>
                      <a:pt x="353" y="141"/>
                    </a:lnTo>
                    <a:lnTo>
                      <a:pt x="361" y="133"/>
                    </a:lnTo>
                    <a:lnTo>
                      <a:pt x="358" y="132"/>
                    </a:lnTo>
                    <a:close/>
                    <a:moveTo>
                      <a:pt x="368" y="119"/>
                    </a:moveTo>
                    <a:lnTo>
                      <a:pt x="368" y="119"/>
                    </a:lnTo>
                    <a:lnTo>
                      <a:pt x="362" y="128"/>
                    </a:lnTo>
                    <a:lnTo>
                      <a:pt x="364" y="129"/>
                    </a:lnTo>
                    <a:lnTo>
                      <a:pt x="364" y="129"/>
                    </a:lnTo>
                    <a:lnTo>
                      <a:pt x="369" y="122"/>
                    </a:lnTo>
                    <a:lnTo>
                      <a:pt x="368" y="119"/>
                    </a:lnTo>
                    <a:close/>
                    <a:moveTo>
                      <a:pt x="377" y="107"/>
                    </a:moveTo>
                    <a:lnTo>
                      <a:pt x="377" y="107"/>
                    </a:lnTo>
                    <a:lnTo>
                      <a:pt x="371" y="116"/>
                    </a:lnTo>
                    <a:lnTo>
                      <a:pt x="374" y="117"/>
                    </a:lnTo>
                    <a:lnTo>
                      <a:pt x="374" y="117"/>
                    </a:lnTo>
                    <a:lnTo>
                      <a:pt x="379" y="109"/>
                    </a:lnTo>
                    <a:lnTo>
                      <a:pt x="377" y="107"/>
                    </a:lnTo>
                    <a:close/>
                    <a:moveTo>
                      <a:pt x="385" y="94"/>
                    </a:moveTo>
                    <a:lnTo>
                      <a:pt x="385" y="94"/>
                    </a:lnTo>
                    <a:lnTo>
                      <a:pt x="384" y="97"/>
                    </a:lnTo>
                    <a:lnTo>
                      <a:pt x="384" y="97"/>
                    </a:lnTo>
                    <a:lnTo>
                      <a:pt x="379" y="103"/>
                    </a:lnTo>
                    <a:lnTo>
                      <a:pt x="382" y="104"/>
                    </a:lnTo>
                    <a:lnTo>
                      <a:pt x="382" y="104"/>
                    </a:lnTo>
                    <a:lnTo>
                      <a:pt x="387" y="99"/>
                    </a:lnTo>
                    <a:lnTo>
                      <a:pt x="387" y="99"/>
                    </a:lnTo>
                    <a:lnTo>
                      <a:pt x="387" y="96"/>
                    </a:lnTo>
                    <a:lnTo>
                      <a:pt x="385" y="94"/>
                    </a:lnTo>
                    <a:close/>
                    <a:moveTo>
                      <a:pt x="398" y="87"/>
                    </a:moveTo>
                    <a:lnTo>
                      <a:pt x="398" y="87"/>
                    </a:lnTo>
                    <a:lnTo>
                      <a:pt x="398" y="87"/>
                    </a:lnTo>
                    <a:lnTo>
                      <a:pt x="395" y="86"/>
                    </a:lnTo>
                    <a:lnTo>
                      <a:pt x="395" y="86"/>
                    </a:lnTo>
                    <a:lnTo>
                      <a:pt x="391" y="87"/>
                    </a:lnTo>
                    <a:lnTo>
                      <a:pt x="388" y="90"/>
                    </a:lnTo>
                    <a:lnTo>
                      <a:pt x="390" y="91"/>
                    </a:lnTo>
                    <a:lnTo>
                      <a:pt x="390" y="91"/>
                    </a:lnTo>
                    <a:lnTo>
                      <a:pt x="393" y="90"/>
                    </a:lnTo>
                    <a:lnTo>
                      <a:pt x="395" y="88"/>
                    </a:lnTo>
                    <a:lnTo>
                      <a:pt x="395" y="88"/>
                    </a:lnTo>
                    <a:lnTo>
                      <a:pt x="397" y="88"/>
                    </a:lnTo>
                    <a:lnTo>
                      <a:pt x="397" y="88"/>
                    </a:lnTo>
                    <a:lnTo>
                      <a:pt x="398" y="87"/>
                    </a:lnTo>
                    <a:close/>
                    <a:moveTo>
                      <a:pt x="407" y="100"/>
                    </a:moveTo>
                    <a:lnTo>
                      <a:pt x="407" y="100"/>
                    </a:lnTo>
                    <a:lnTo>
                      <a:pt x="403" y="90"/>
                    </a:lnTo>
                    <a:lnTo>
                      <a:pt x="400" y="91"/>
                    </a:lnTo>
                    <a:lnTo>
                      <a:pt x="400" y="91"/>
                    </a:lnTo>
                    <a:lnTo>
                      <a:pt x="406" y="101"/>
                    </a:lnTo>
                    <a:lnTo>
                      <a:pt x="407" y="100"/>
                    </a:lnTo>
                    <a:close/>
                    <a:moveTo>
                      <a:pt x="417" y="109"/>
                    </a:moveTo>
                    <a:lnTo>
                      <a:pt x="417" y="109"/>
                    </a:lnTo>
                    <a:lnTo>
                      <a:pt x="417" y="109"/>
                    </a:lnTo>
                    <a:lnTo>
                      <a:pt x="416" y="109"/>
                    </a:lnTo>
                    <a:lnTo>
                      <a:pt x="416" y="109"/>
                    </a:lnTo>
                    <a:lnTo>
                      <a:pt x="413" y="106"/>
                    </a:lnTo>
                    <a:lnTo>
                      <a:pt x="410" y="103"/>
                    </a:lnTo>
                    <a:lnTo>
                      <a:pt x="408" y="106"/>
                    </a:lnTo>
                    <a:lnTo>
                      <a:pt x="408" y="106"/>
                    </a:lnTo>
                    <a:lnTo>
                      <a:pt x="411" y="109"/>
                    </a:lnTo>
                    <a:lnTo>
                      <a:pt x="414" y="110"/>
                    </a:lnTo>
                    <a:lnTo>
                      <a:pt x="414" y="110"/>
                    </a:lnTo>
                    <a:lnTo>
                      <a:pt x="417" y="110"/>
                    </a:lnTo>
                    <a:lnTo>
                      <a:pt x="417" y="110"/>
                    </a:lnTo>
                    <a:lnTo>
                      <a:pt x="417" y="109"/>
                    </a:lnTo>
                    <a:close/>
                    <a:moveTo>
                      <a:pt x="430" y="103"/>
                    </a:moveTo>
                    <a:lnTo>
                      <a:pt x="430" y="103"/>
                    </a:lnTo>
                    <a:lnTo>
                      <a:pt x="421" y="107"/>
                    </a:lnTo>
                    <a:lnTo>
                      <a:pt x="423" y="109"/>
                    </a:lnTo>
                    <a:lnTo>
                      <a:pt x="423" y="109"/>
                    </a:lnTo>
                    <a:lnTo>
                      <a:pt x="432" y="104"/>
                    </a:lnTo>
                    <a:lnTo>
                      <a:pt x="430" y="103"/>
                    </a:lnTo>
                    <a:close/>
                    <a:moveTo>
                      <a:pt x="443" y="94"/>
                    </a:moveTo>
                    <a:lnTo>
                      <a:pt x="443" y="94"/>
                    </a:lnTo>
                    <a:lnTo>
                      <a:pt x="435" y="100"/>
                    </a:lnTo>
                    <a:lnTo>
                      <a:pt x="436" y="101"/>
                    </a:lnTo>
                    <a:lnTo>
                      <a:pt x="436" y="101"/>
                    </a:lnTo>
                    <a:lnTo>
                      <a:pt x="445" y="96"/>
                    </a:lnTo>
                    <a:lnTo>
                      <a:pt x="443" y="94"/>
                    </a:lnTo>
                    <a:close/>
                    <a:moveTo>
                      <a:pt x="455" y="84"/>
                    </a:moveTo>
                    <a:lnTo>
                      <a:pt x="455" y="84"/>
                    </a:lnTo>
                    <a:lnTo>
                      <a:pt x="448" y="91"/>
                    </a:lnTo>
                    <a:lnTo>
                      <a:pt x="449" y="93"/>
                    </a:lnTo>
                    <a:lnTo>
                      <a:pt x="449" y="93"/>
                    </a:lnTo>
                    <a:lnTo>
                      <a:pt x="456" y="87"/>
                    </a:lnTo>
                    <a:lnTo>
                      <a:pt x="455" y="84"/>
                    </a:lnTo>
                    <a:close/>
                    <a:moveTo>
                      <a:pt x="469" y="78"/>
                    </a:moveTo>
                    <a:lnTo>
                      <a:pt x="469" y="78"/>
                    </a:lnTo>
                    <a:lnTo>
                      <a:pt x="465" y="80"/>
                    </a:lnTo>
                    <a:lnTo>
                      <a:pt x="461" y="81"/>
                    </a:lnTo>
                    <a:lnTo>
                      <a:pt x="459" y="81"/>
                    </a:lnTo>
                    <a:lnTo>
                      <a:pt x="461" y="84"/>
                    </a:lnTo>
                    <a:lnTo>
                      <a:pt x="461" y="83"/>
                    </a:lnTo>
                    <a:lnTo>
                      <a:pt x="461" y="83"/>
                    </a:lnTo>
                    <a:lnTo>
                      <a:pt x="465" y="83"/>
                    </a:lnTo>
                    <a:lnTo>
                      <a:pt x="469" y="81"/>
                    </a:lnTo>
                    <a:lnTo>
                      <a:pt x="469" y="78"/>
                    </a:lnTo>
                    <a:close/>
                    <a:moveTo>
                      <a:pt x="485" y="78"/>
                    </a:moveTo>
                    <a:lnTo>
                      <a:pt x="485" y="78"/>
                    </a:lnTo>
                    <a:lnTo>
                      <a:pt x="475" y="78"/>
                    </a:lnTo>
                    <a:lnTo>
                      <a:pt x="475" y="78"/>
                    </a:lnTo>
                    <a:lnTo>
                      <a:pt x="475" y="81"/>
                    </a:lnTo>
                    <a:lnTo>
                      <a:pt x="475" y="81"/>
                    </a:lnTo>
                    <a:lnTo>
                      <a:pt x="475" y="81"/>
                    </a:lnTo>
                    <a:lnTo>
                      <a:pt x="485" y="81"/>
                    </a:lnTo>
                    <a:lnTo>
                      <a:pt x="485" y="78"/>
                    </a:lnTo>
                    <a:close/>
                    <a:moveTo>
                      <a:pt x="491" y="68"/>
                    </a:moveTo>
                    <a:lnTo>
                      <a:pt x="491" y="68"/>
                    </a:lnTo>
                    <a:lnTo>
                      <a:pt x="491" y="72"/>
                    </a:lnTo>
                    <a:lnTo>
                      <a:pt x="488" y="77"/>
                    </a:lnTo>
                    <a:lnTo>
                      <a:pt x="491" y="78"/>
                    </a:lnTo>
                    <a:lnTo>
                      <a:pt x="491" y="78"/>
                    </a:lnTo>
                    <a:lnTo>
                      <a:pt x="492" y="74"/>
                    </a:lnTo>
                    <a:lnTo>
                      <a:pt x="494" y="68"/>
                    </a:lnTo>
                    <a:lnTo>
                      <a:pt x="491" y="68"/>
                    </a:lnTo>
                    <a:close/>
                    <a:moveTo>
                      <a:pt x="490" y="54"/>
                    </a:moveTo>
                    <a:lnTo>
                      <a:pt x="491" y="55"/>
                    </a:lnTo>
                    <a:lnTo>
                      <a:pt x="491" y="55"/>
                    </a:lnTo>
                    <a:lnTo>
                      <a:pt x="491" y="58"/>
                    </a:lnTo>
                    <a:lnTo>
                      <a:pt x="491" y="58"/>
                    </a:lnTo>
                    <a:lnTo>
                      <a:pt x="491" y="62"/>
                    </a:lnTo>
                    <a:lnTo>
                      <a:pt x="494" y="62"/>
                    </a:lnTo>
                    <a:lnTo>
                      <a:pt x="494" y="62"/>
                    </a:lnTo>
                    <a:lnTo>
                      <a:pt x="494" y="58"/>
                    </a:lnTo>
                    <a:lnTo>
                      <a:pt x="494" y="58"/>
                    </a:lnTo>
                    <a:lnTo>
                      <a:pt x="492" y="54"/>
                    </a:lnTo>
                    <a:lnTo>
                      <a:pt x="492" y="54"/>
                    </a:lnTo>
                    <a:lnTo>
                      <a:pt x="491" y="52"/>
                    </a:lnTo>
                    <a:lnTo>
                      <a:pt x="490" y="54"/>
                    </a:lnTo>
                    <a:close/>
                    <a:moveTo>
                      <a:pt x="477" y="48"/>
                    </a:moveTo>
                    <a:lnTo>
                      <a:pt x="477" y="48"/>
                    </a:lnTo>
                    <a:lnTo>
                      <a:pt x="487" y="52"/>
                    </a:lnTo>
                    <a:lnTo>
                      <a:pt x="487" y="49"/>
                    </a:lnTo>
                    <a:lnTo>
                      <a:pt x="487" y="49"/>
                    </a:lnTo>
                    <a:lnTo>
                      <a:pt x="478" y="46"/>
                    </a:lnTo>
                    <a:lnTo>
                      <a:pt x="477" y="48"/>
                    </a:lnTo>
                    <a:close/>
                    <a:moveTo>
                      <a:pt x="462" y="48"/>
                    </a:moveTo>
                    <a:lnTo>
                      <a:pt x="462" y="48"/>
                    </a:lnTo>
                    <a:lnTo>
                      <a:pt x="468" y="46"/>
                    </a:lnTo>
                    <a:lnTo>
                      <a:pt x="468" y="46"/>
                    </a:lnTo>
                    <a:lnTo>
                      <a:pt x="468" y="46"/>
                    </a:lnTo>
                    <a:lnTo>
                      <a:pt x="472" y="48"/>
                    </a:lnTo>
                    <a:lnTo>
                      <a:pt x="472" y="45"/>
                    </a:lnTo>
                    <a:lnTo>
                      <a:pt x="472" y="45"/>
                    </a:lnTo>
                    <a:lnTo>
                      <a:pt x="469" y="44"/>
                    </a:lnTo>
                    <a:lnTo>
                      <a:pt x="469" y="44"/>
                    </a:lnTo>
                    <a:lnTo>
                      <a:pt x="468" y="44"/>
                    </a:lnTo>
                    <a:lnTo>
                      <a:pt x="468" y="44"/>
                    </a:lnTo>
                    <a:lnTo>
                      <a:pt x="462" y="45"/>
                    </a:lnTo>
                    <a:lnTo>
                      <a:pt x="462" y="48"/>
                    </a:lnTo>
                    <a:close/>
                    <a:moveTo>
                      <a:pt x="449" y="55"/>
                    </a:moveTo>
                    <a:lnTo>
                      <a:pt x="449" y="55"/>
                    </a:lnTo>
                    <a:lnTo>
                      <a:pt x="458" y="49"/>
                    </a:lnTo>
                    <a:lnTo>
                      <a:pt x="456" y="48"/>
                    </a:lnTo>
                    <a:lnTo>
                      <a:pt x="456" y="48"/>
                    </a:lnTo>
                    <a:lnTo>
                      <a:pt x="449" y="52"/>
                    </a:lnTo>
                    <a:lnTo>
                      <a:pt x="449" y="55"/>
                    </a:lnTo>
                    <a:close/>
                    <a:moveTo>
                      <a:pt x="437" y="45"/>
                    </a:moveTo>
                    <a:lnTo>
                      <a:pt x="437" y="45"/>
                    </a:lnTo>
                    <a:lnTo>
                      <a:pt x="440" y="51"/>
                    </a:lnTo>
                    <a:lnTo>
                      <a:pt x="443" y="54"/>
                    </a:lnTo>
                    <a:lnTo>
                      <a:pt x="445" y="52"/>
                    </a:lnTo>
                    <a:lnTo>
                      <a:pt x="445" y="52"/>
                    </a:lnTo>
                    <a:lnTo>
                      <a:pt x="442" y="49"/>
                    </a:lnTo>
                    <a:lnTo>
                      <a:pt x="440" y="44"/>
                    </a:lnTo>
                    <a:lnTo>
                      <a:pt x="437" y="45"/>
                    </a:lnTo>
                    <a:close/>
                    <a:moveTo>
                      <a:pt x="433" y="30"/>
                    </a:moveTo>
                    <a:lnTo>
                      <a:pt x="433" y="30"/>
                    </a:lnTo>
                    <a:lnTo>
                      <a:pt x="433" y="30"/>
                    </a:lnTo>
                    <a:lnTo>
                      <a:pt x="436" y="41"/>
                    </a:lnTo>
                    <a:lnTo>
                      <a:pt x="439" y="39"/>
                    </a:lnTo>
                    <a:lnTo>
                      <a:pt x="439" y="39"/>
                    </a:lnTo>
                    <a:lnTo>
                      <a:pt x="436" y="30"/>
                    </a:lnTo>
                    <a:lnTo>
                      <a:pt x="436" y="29"/>
                    </a:lnTo>
                    <a:lnTo>
                      <a:pt x="433" y="30"/>
                    </a:lnTo>
                    <a:close/>
                    <a:moveTo>
                      <a:pt x="436" y="15"/>
                    </a:moveTo>
                    <a:lnTo>
                      <a:pt x="436" y="15"/>
                    </a:lnTo>
                    <a:lnTo>
                      <a:pt x="433" y="25"/>
                    </a:lnTo>
                    <a:lnTo>
                      <a:pt x="436" y="25"/>
                    </a:lnTo>
                    <a:lnTo>
                      <a:pt x="436" y="25"/>
                    </a:lnTo>
                    <a:lnTo>
                      <a:pt x="439" y="16"/>
                    </a:lnTo>
                    <a:lnTo>
                      <a:pt x="436" y="15"/>
                    </a:lnTo>
                    <a:close/>
                    <a:moveTo>
                      <a:pt x="442" y="0"/>
                    </a:moveTo>
                    <a:lnTo>
                      <a:pt x="442" y="0"/>
                    </a:lnTo>
                    <a:lnTo>
                      <a:pt x="437" y="10"/>
                    </a:lnTo>
                    <a:lnTo>
                      <a:pt x="440" y="10"/>
                    </a:lnTo>
                    <a:lnTo>
                      <a:pt x="440" y="10"/>
                    </a:lnTo>
                    <a:lnTo>
                      <a:pt x="443" y="2"/>
                    </a:lnTo>
                    <a:lnTo>
                      <a:pt x="44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8" name="Freeform 1696"/>
              <p:cNvSpPr>
                <a:spLocks/>
              </p:cNvSpPr>
              <p:nvPr/>
            </p:nvSpPr>
            <p:spPr bwMode="auto">
              <a:xfrm>
                <a:off x="6226042" y="3251847"/>
                <a:ext cx="19785" cy="16817"/>
              </a:xfrm>
              <a:custGeom>
                <a:avLst/>
                <a:gdLst>
                  <a:gd name="T0" fmla="*/ 0 w 20"/>
                  <a:gd name="T1" fmla="*/ 14 h 17"/>
                  <a:gd name="T2" fmla="*/ 0 w 20"/>
                  <a:gd name="T3" fmla="*/ 14 h 17"/>
                  <a:gd name="T4" fmla="*/ 4 w 20"/>
                  <a:gd name="T5" fmla="*/ 17 h 17"/>
                  <a:gd name="T6" fmla="*/ 7 w 20"/>
                  <a:gd name="T7" fmla="*/ 17 h 17"/>
                  <a:gd name="T8" fmla="*/ 7 w 20"/>
                  <a:gd name="T9" fmla="*/ 17 h 17"/>
                  <a:gd name="T10" fmla="*/ 10 w 20"/>
                  <a:gd name="T11" fmla="*/ 13 h 17"/>
                  <a:gd name="T12" fmla="*/ 12 w 20"/>
                  <a:gd name="T13" fmla="*/ 10 h 17"/>
                  <a:gd name="T14" fmla="*/ 13 w 20"/>
                  <a:gd name="T15" fmla="*/ 10 h 17"/>
                  <a:gd name="T16" fmla="*/ 13 w 20"/>
                  <a:gd name="T17" fmla="*/ 10 h 17"/>
                  <a:gd name="T18" fmla="*/ 15 w 20"/>
                  <a:gd name="T19" fmla="*/ 12 h 17"/>
                  <a:gd name="T20" fmla="*/ 16 w 20"/>
                  <a:gd name="T21" fmla="*/ 14 h 17"/>
                  <a:gd name="T22" fmla="*/ 19 w 20"/>
                  <a:gd name="T23" fmla="*/ 16 h 17"/>
                  <a:gd name="T24" fmla="*/ 19 w 20"/>
                  <a:gd name="T25" fmla="*/ 16 h 17"/>
                  <a:gd name="T26" fmla="*/ 20 w 20"/>
                  <a:gd name="T27" fmla="*/ 14 h 17"/>
                  <a:gd name="T28" fmla="*/ 20 w 20"/>
                  <a:gd name="T29" fmla="*/ 14 h 17"/>
                  <a:gd name="T30" fmla="*/ 20 w 20"/>
                  <a:gd name="T31" fmla="*/ 9 h 17"/>
                  <a:gd name="T32" fmla="*/ 17 w 20"/>
                  <a:gd name="T33" fmla="*/ 0 h 17"/>
                  <a:gd name="T34" fmla="*/ 0 w 20"/>
                  <a:gd name="T35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" h="17">
                    <a:moveTo>
                      <a:pt x="0" y="14"/>
                    </a:moveTo>
                    <a:lnTo>
                      <a:pt x="0" y="14"/>
                    </a:lnTo>
                    <a:lnTo>
                      <a:pt x="4" y="17"/>
                    </a:lnTo>
                    <a:lnTo>
                      <a:pt x="7" y="17"/>
                    </a:lnTo>
                    <a:lnTo>
                      <a:pt x="7" y="17"/>
                    </a:lnTo>
                    <a:lnTo>
                      <a:pt x="10" y="13"/>
                    </a:lnTo>
                    <a:lnTo>
                      <a:pt x="12" y="10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5" y="12"/>
                    </a:lnTo>
                    <a:lnTo>
                      <a:pt x="16" y="14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9"/>
                    </a:lnTo>
                    <a:lnTo>
                      <a:pt x="17" y="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0" name="Freeform 1720"/>
              <p:cNvSpPr>
                <a:spLocks noEditPoints="1"/>
              </p:cNvSpPr>
              <p:nvPr/>
            </p:nvSpPr>
            <p:spPr bwMode="auto">
              <a:xfrm>
                <a:off x="6041050" y="3095544"/>
                <a:ext cx="86066" cy="69248"/>
              </a:xfrm>
              <a:custGeom>
                <a:avLst/>
                <a:gdLst>
                  <a:gd name="T0" fmla="*/ 35 w 87"/>
                  <a:gd name="T1" fmla="*/ 68 h 70"/>
                  <a:gd name="T2" fmla="*/ 45 w 87"/>
                  <a:gd name="T3" fmla="*/ 65 h 70"/>
                  <a:gd name="T4" fmla="*/ 55 w 87"/>
                  <a:gd name="T5" fmla="*/ 55 h 70"/>
                  <a:gd name="T6" fmla="*/ 48 w 87"/>
                  <a:gd name="T7" fmla="*/ 61 h 70"/>
                  <a:gd name="T8" fmla="*/ 55 w 87"/>
                  <a:gd name="T9" fmla="*/ 59 h 70"/>
                  <a:gd name="T10" fmla="*/ 58 w 87"/>
                  <a:gd name="T11" fmla="*/ 55 h 70"/>
                  <a:gd name="T12" fmla="*/ 65 w 87"/>
                  <a:gd name="T13" fmla="*/ 45 h 70"/>
                  <a:gd name="T14" fmla="*/ 57 w 87"/>
                  <a:gd name="T15" fmla="*/ 49 h 70"/>
                  <a:gd name="T16" fmla="*/ 60 w 87"/>
                  <a:gd name="T17" fmla="*/ 49 h 70"/>
                  <a:gd name="T18" fmla="*/ 65 w 87"/>
                  <a:gd name="T19" fmla="*/ 45 h 70"/>
                  <a:gd name="T20" fmla="*/ 71 w 87"/>
                  <a:gd name="T21" fmla="*/ 44 h 70"/>
                  <a:gd name="T22" fmla="*/ 81 w 87"/>
                  <a:gd name="T23" fmla="*/ 42 h 70"/>
                  <a:gd name="T24" fmla="*/ 83 w 87"/>
                  <a:gd name="T25" fmla="*/ 29 h 70"/>
                  <a:gd name="T26" fmla="*/ 84 w 87"/>
                  <a:gd name="T27" fmla="*/ 38 h 70"/>
                  <a:gd name="T28" fmla="*/ 87 w 87"/>
                  <a:gd name="T29" fmla="*/ 35 h 70"/>
                  <a:gd name="T30" fmla="*/ 83 w 87"/>
                  <a:gd name="T31" fmla="*/ 29 h 70"/>
                  <a:gd name="T32" fmla="*/ 78 w 87"/>
                  <a:gd name="T33" fmla="*/ 17 h 70"/>
                  <a:gd name="T34" fmla="*/ 84 w 87"/>
                  <a:gd name="T35" fmla="*/ 23 h 70"/>
                  <a:gd name="T36" fmla="*/ 81 w 87"/>
                  <a:gd name="T37" fmla="*/ 17 h 70"/>
                  <a:gd name="T38" fmla="*/ 70 w 87"/>
                  <a:gd name="T39" fmla="*/ 3 h 70"/>
                  <a:gd name="T40" fmla="*/ 76 w 87"/>
                  <a:gd name="T41" fmla="*/ 10 h 70"/>
                  <a:gd name="T42" fmla="*/ 76 w 87"/>
                  <a:gd name="T43" fmla="*/ 4 h 70"/>
                  <a:gd name="T44" fmla="*/ 61 w 87"/>
                  <a:gd name="T45" fmla="*/ 9 h 70"/>
                  <a:gd name="T46" fmla="*/ 63 w 87"/>
                  <a:gd name="T47" fmla="*/ 3 h 70"/>
                  <a:gd name="T48" fmla="*/ 64 w 87"/>
                  <a:gd name="T49" fmla="*/ 2 h 70"/>
                  <a:gd name="T50" fmla="*/ 65 w 87"/>
                  <a:gd name="T51" fmla="*/ 0 h 70"/>
                  <a:gd name="T52" fmla="*/ 61 w 87"/>
                  <a:gd name="T53" fmla="*/ 0 h 70"/>
                  <a:gd name="T54" fmla="*/ 60 w 87"/>
                  <a:gd name="T55" fmla="*/ 4 h 70"/>
                  <a:gd name="T56" fmla="*/ 47 w 87"/>
                  <a:gd name="T57" fmla="*/ 9 h 70"/>
                  <a:gd name="T58" fmla="*/ 57 w 87"/>
                  <a:gd name="T59" fmla="*/ 12 h 70"/>
                  <a:gd name="T60" fmla="*/ 47 w 87"/>
                  <a:gd name="T61" fmla="*/ 6 h 70"/>
                  <a:gd name="T62" fmla="*/ 32 w 87"/>
                  <a:gd name="T63" fmla="*/ 9 h 70"/>
                  <a:gd name="T64" fmla="*/ 38 w 87"/>
                  <a:gd name="T65" fmla="*/ 7 h 70"/>
                  <a:gd name="T66" fmla="*/ 42 w 87"/>
                  <a:gd name="T67" fmla="*/ 4 h 70"/>
                  <a:gd name="T68" fmla="*/ 38 w 87"/>
                  <a:gd name="T69" fmla="*/ 4 h 70"/>
                  <a:gd name="T70" fmla="*/ 32 w 87"/>
                  <a:gd name="T71" fmla="*/ 6 h 70"/>
                  <a:gd name="T72" fmla="*/ 18 w 87"/>
                  <a:gd name="T73" fmla="*/ 7 h 70"/>
                  <a:gd name="T74" fmla="*/ 26 w 87"/>
                  <a:gd name="T75" fmla="*/ 6 h 70"/>
                  <a:gd name="T76" fmla="*/ 16 w 87"/>
                  <a:gd name="T77" fmla="*/ 6 h 70"/>
                  <a:gd name="T78" fmla="*/ 6 w 87"/>
                  <a:gd name="T79" fmla="*/ 15 h 70"/>
                  <a:gd name="T80" fmla="*/ 12 w 87"/>
                  <a:gd name="T81" fmla="*/ 9 h 70"/>
                  <a:gd name="T82" fmla="*/ 9 w 87"/>
                  <a:gd name="T83" fmla="*/ 7 h 70"/>
                  <a:gd name="T84" fmla="*/ 6 w 87"/>
                  <a:gd name="T85" fmla="*/ 15 h 70"/>
                  <a:gd name="T86" fmla="*/ 3 w 87"/>
                  <a:gd name="T87" fmla="*/ 25 h 70"/>
                  <a:gd name="T88" fmla="*/ 2 w 87"/>
                  <a:gd name="T89" fmla="*/ 19 h 70"/>
                  <a:gd name="T90" fmla="*/ 0 w 87"/>
                  <a:gd name="T91" fmla="*/ 25 h 70"/>
                  <a:gd name="T92" fmla="*/ 6 w 87"/>
                  <a:gd name="T93" fmla="*/ 44 h 70"/>
                  <a:gd name="T94" fmla="*/ 6 w 87"/>
                  <a:gd name="T95" fmla="*/ 41 h 70"/>
                  <a:gd name="T96" fmla="*/ 3 w 87"/>
                  <a:gd name="T97" fmla="*/ 33 h 70"/>
                  <a:gd name="T98" fmla="*/ 3 w 87"/>
                  <a:gd name="T99" fmla="*/ 4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7" h="70">
                    <a:moveTo>
                      <a:pt x="44" y="62"/>
                    </a:moveTo>
                    <a:lnTo>
                      <a:pt x="44" y="62"/>
                    </a:lnTo>
                    <a:lnTo>
                      <a:pt x="35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5" y="65"/>
                    </a:lnTo>
                    <a:lnTo>
                      <a:pt x="44" y="62"/>
                    </a:lnTo>
                    <a:close/>
                    <a:moveTo>
                      <a:pt x="55" y="55"/>
                    </a:moveTo>
                    <a:lnTo>
                      <a:pt x="55" y="55"/>
                    </a:lnTo>
                    <a:lnTo>
                      <a:pt x="54" y="57"/>
                    </a:lnTo>
                    <a:lnTo>
                      <a:pt x="54" y="57"/>
                    </a:lnTo>
                    <a:lnTo>
                      <a:pt x="48" y="61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5" y="59"/>
                    </a:lnTo>
                    <a:lnTo>
                      <a:pt x="55" y="59"/>
                    </a:lnTo>
                    <a:lnTo>
                      <a:pt x="57" y="58"/>
                    </a:lnTo>
                    <a:lnTo>
                      <a:pt x="58" y="55"/>
                    </a:lnTo>
                    <a:lnTo>
                      <a:pt x="55" y="55"/>
                    </a:lnTo>
                    <a:close/>
                    <a:moveTo>
                      <a:pt x="65" y="45"/>
                    </a:moveTo>
                    <a:lnTo>
                      <a:pt x="65" y="45"/>
                    </a:lnTo>
                    <a:lnTo>
                      <a:pt x="58" y="46"/>
                    </a:lnTo>
                    <a:lnTo>
                      <a:pt x="58" y="46"/>
                    </a:lnTo>
                    <a:lnTo>
                      <a:pt x="57" y="49"/>
                    </a:lnTo>
                    <a:lnTo>
                      <a:pt x="58" y="51"/>
                    </a:lnTo>
                    <a:lnTo>
                      <a:pt x="58" y="51"/>
                    </a:lnTo>
                    <a:lnTo>
                      <a:pt x="60" y="49"/>
                    </a:lnTo>
                    <a:lnTo>
                      <a:pt x="60" y="49"/>
                    </a:lnTo>
                    <a:lnTo>
                      <a:pt x="67" y="46"/>
                    </a:lnTo>
                    <a:lnTo>
                      <a:pt x="65" y="45"/>
                    </a:lnTo>
                    <a:close/>
                    <a:moveTo>
                      <a:pt x="80" y="41"/>
                    </a:moveTo>
                    <a:lnTo>
                      <a:pt x="80" y="41"/>
                    </a:lnTo>
                    <a:lnTo>
                      <a:pt x="71" y="44"/>
                    </a:lnTo>
                    <a:lnTo>
                      <a:pt x="71" y="45"/>
                    </a:lnTo>
                    <a:lnTo>
                      <a:pt x="71" y="45"/>
                    </a:lnTo>
                    <a:lnTo>
                      <a:pt x="81" y="42"/>
                    </a:lnTo>
                    <a:lnTo>
                      <a:pt x="80" y="41"/>
                    </a:lnTo>
                    <a:close/>
                    <a:moveTo>
                      <a:pt x="83" y="29"/>
                    </a:moveTo>
                    <a:lnTo>
                      <a:pt x="83" y="29"/>
                    </a:lnTo>
                    <a:lnTo>
                      <a:pt x="84" y="35"/>
                    </a:lnTo>
                    <a:lnTo>
                      <a:pt x="84" y="35"/>
                    </a:lnTo>
                    <a:lnTo>
                      <a:pt x="84" y="38"/>
                    </a:lnTo>
                    <a:lnTo>
                      <a:pt x="86" y="39"/>
                    </a:lnTo>
                    <a:lnTo>
                      <a:pt x="86" y="39"/>
                    </a:lnTo>
                    <a:lnTo>
                      <a:pt x="87" y="35"/>
                    </a:lnTo>
                    <a:lnTo>
                      <a:pt x="87" y="35"/>
                    </a:lnTo>
                    <a:lnTo>
                      <a:pt x="86" y="28"/>
                    </a:lnTo>
                    <a:lnTo>
                      <a:pt x="83" y="29"/>
                    </a:lnTo>
                    <a:close/>
                    <a:moveTo>
                      <a:pt x="77" y="15"/>
                    </a:moveTo>
                    <a:lnTo>
                      <a:pt x="77" y="15"/>
                    </a:lnTo>
                    <a:lnTo>
                      <a:pt x="78" y="17"/>
                    </a:lnTo>
                    <a:lnTo>
                      <a:pt x="78" y="17"/>
                    </a:lnTo>
                    <a:lnTo>
                      <a:pt x="81" y="25"/>
                    </a:lnTo>
                    <a:lnTo>
                      <a:pt x="84" y="23"/>
                    </a:lnTo>
                    <a:lnTo>
                      <a:pt x="84" y="23"/>
                    </a:lnTo>
                    <a:lnTo>
                      <a:pt x="81" y="17"/>
                    </a:lnTo>
                    <a:lnTo>
                      <a:pt x="81" y="17"/>
                    </a:lnTo>
                    <a:lnTo>
                      <a:pt x="80" y="15"/>
                    </a:lnTo>
                    <a:lnTo>
                      <a:pt x="77" y="15"/>
                    </a:lnTo>
                    <a:close/>
                    <a:moveTo>
                      <a:pt x="70" y="3"/>
                    </a:moveTo>
                    <a:lnTo>
                      <a:pt x="70" y="3"/>
                    </a:lnTo>
                    <a:lnTo>
                      <a:pt x="73" y="6"/>
                    </a:lnTo>
                    <a:lnTo>
                      <a:pt x="76" y="10"/>
                    </a:lnTo>
                    <a:lnTo>
                      <a:pt x="78" y="9"/>
                    </a:lnTo>
                    <a:lnTo>
                      <a:pt x="78" y="9"/>
                    </a:lnTo>
                    <a:lnTo>
                      <a:pt x="76" y="4"/>
                    </a:lnTo>
                    <a:lnTo>
                      <a:pt x="71" y="2"/>
                    </a:lnTo>
                    <a:lnTo>
                      <a:pt x="70" y="3"/>
                    </a:lnTo>
                    <a:close/>
                    <a:moveTo>
                      <a:pt x="61" y="9"/>
                    </a:moveTo>
                    <a:lnTo>
                      <a:pt x="61" y="9"/>
                    </a:lnTo>
                    <a:lnTo>
                      <a:pt x="63" y="3"/>
                    </a:lnTo>
                    <a:lnTo>
                      <a:pt x="63" y="3"/>
                    </a:lnTo>
                    <a:lnTo>
                      <a:pt x="63" y="3"/>
                    </a:lnTo>
                    <a:lnTo>
                      <a:pt x="63" y="3"/>
                    </a:lnTo>
                    <a:lnTo>
                      <a:pt x="64" y="2"/>
                    </a:lnTo>
                    <a:lnTo>
                      <a:pt x="65" y="2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7"/>
                    </a:lnTo>
                    <a:lnTo>
                      <a:pt x="61" y="9"/>
                    </a:lnTo>
                    <a:close/>
                    <a:moveTo>
                      <a:pt x="47" y="9"/>
                    </a:moveTo>
                    <a:lnTo>
                      <a:pt x="47" y="9"/>
                    </a:lnTo>
                    <a:lnTo>
                      <a:pt x="51" y="10"/>
                    </a:lnTo>
                    <a:lnTo>
                      <a:pt x="57" y="12"/>
                    </a:lnTo>
                    <a:lnTo>
                      <a:pt x="57" y="9"/>
                    </a:lnTo>
                    <a:lnTo>
                      <a:pt x="57" y="9"/>
                    </a:lnTo>
                    <a:lnTo>
                      <a:pt x="47" y="6"/>
                    </a:lnTo>
                    <a:lnTo>
                      <a:pt x="47" y="9"/>
                    </a:lnTo>
                    <a:close/>
                    <a:moveTo>
                      <a:pt x="32" y="9"/>
                    </a:moveTo>
                    <a:lnTo>
                      <a:pt x="32" y="9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38" y="7"/>
                    </a:lnTo>
                    <a:lnTo>
                      <a:pt x="38" y="7"/>
                    </a:lnTo>
                    <a:lnTo>
                      <a:pt x="42" y="7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5" y="6"/>
                    </a:lnTo>
                    <a:lnTo>
                      <a:pt x="35" y="6"/>
                    </a:lnTo>
                    <a:lnTo>
                      <a:pt x="32" y="6"/>
                    </a:lnTo>
                    <a:lnTo>
                      <a:pt x="32" y="9"/>
                    </a:lnTo>
                    <a:close/>
                    <a:moveTo>
                      <a:pt x="16" y="7"/>
                    </a:moveTo>
                    <a:lnTo>
                      <a:pt x="18" y="7"/>
                    </a:lnTo>
                    <a:lnTo>
                      <a:pt x="18" y="7"/>
                    </a:lnTo>
                    <a:lnTo>
                      <a:pt x="26" y="9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18" y="6"/>
                    </a:lnTo>
                    <a:lnTo>
                      <a:pt x="16" y="6"/>
                    </a:lnTo>
                    <a:lnTo>
                      <a:pt x="16" y="7"/>
                    </a:lnTo>
                    <a:close/>
                    <a:moveTo>
                      <a:pt x="6" y="15"/>
                    </a:moveTo>
                    <a:lnTo>
                      <a:pt x="6" y="15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9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3" y="15"/>
                    </a:lnTo>
                    <a:lnTo>
                      <a:pt x="6" y="15"/>
                    </a:lnTo>
                    <a:close/>
                    <a:moveTo>
                      <a:pt x="3" y="29"/>
                    </a:moveTo>
                    <a:lnTo>
                      <a:pt x="3" y="29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3" y="19"/>
                    </a:lnTo>
                    <a:lnTo>
                      <a:pt x="2" y="19"/>
                    </a:lnTo>
                    <a:lnTo>
                      <a:pt x="2" y="19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9"/>
                    </a:lnTo>
                    <a:lnTo>
                      <a:pt x="3" y="29"/>
                    </a:lnTo>
                    <a:close/>
                    <a:moveTo>
                      <a:pt x="6" y="44"/>
                    </a:moveTo>
                    <a:lnTo>
                      <a:pt x="6" y="44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5" y="33"/>
                    </a:lnTo>
                    <a:lnTo>
                      <a:pt x="3" y="33"/>
                    </a:lnTo>
                    <a:lnTo>
                      <a:pt x="3" y="33"/>
                    </a:lnTo>
                    <a:lnTo>
                      <a:pt x="3" y="41"/>
                    </a:lnTo>
                    <a:lnTo>
                      <a:pt x="3" y="41"/>
                    </a:lnTo>
                    <a:lnTo>
                      <a:pt x="3" y="44"/>
                    </a:lnTo>
                    <a:lnTo>
                      <a:pt x="6" y="4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1" name="Freeform 1721"/>
              <p:cNvSpPr>
                <a:spLocks noEditPoints="1"/>
              </p:cNvSpPr>
              <p:nvPr/>
            </p:nvSpPr>
            <p:spPr bwMode="auto">
              <a:xfrm>
                <a:off x="6043029" y="2969908"/>
                <a:ext cx="78152" cy="131572"/>
              </a:xfrm>
              <a:custGeom>
                <a:avLst/>
                <a:gdLst>
                  <a:gd name="T0" fmla="*/ 6 w 79"/>
                  <a:gd name="T1" fmla="*/ 8 h 133"/>
                  <a:gd name="T2" fmla="*/ 0 w 79"/>
                  <a:gd name="T3" fmla="*/ 1 h 133"/>
                  <a:gd name="T4" fmla="*/ 4 w 79"/>
                  <a:gd name="T5" fmla="*/ 10 h 133"/>
                  <a:gd name="T6" fmla="*/ 6 w 79"/>
                  <a:gd name="T7" fmla="*/ 8 h 133"/>
                  <a:gd name="T8" fmla="*/ 19 w 79"/>
                  <a:gd name="T9" fmla="*/ 16 h 133"/>
                  <a:gd name="T10" fmla="*/ 8 w 79"/>
                  <a:gd name="T11" fmla="*/ 13 h 133"/>
                  <a:gd name="T12" fmla="*/ 19 w 79"/>
                  <a:gd name="T13" fmla="*/ 17 h 133"/>
                  <a:gd name="T14" fmla="*/ 30 w 79"/>
                  <a:gd name="T15" fmla="*/ 26 h 133"/>
                  <a:gd name="T16" fmla="*/ 27 w 79"/>
                  <a:gd name="T17" fmla="*/ 18 h 133"/>
                  <a:gd name="T18" fmla="*/ 26 w 79"/>
                  <a:gd name="T19" fmla="*/ 18 h 133"/>
                  <a:gd name="T20" fmla="*/ 23 w 79"/>
                  <a:gd name="T21" fmla="*/ 17 h 133"/>
                  <a:gd name="T22" fmla="*/ 23 w 79"/>
                  <a:gd name="T23" fmla="*/ 20 h 133"/>
                  <a:gd name="T24" fmla="*/ 26 w 79"/>
                  <a:gd name="T25" fmla="*/ 18 h 133"/>
                  <a:gd name="T26" fmla="*/ 24 w 79"/>
                  <a:gd name="T27" fmla="*/ 20 h 133"/>
                  <a:gd name="T28" fmla="*/ 30 w 79"/>
                  <a:gd name="T29" fmla="*/ 26 h 133"/>
                  <a:gd name="T30" fmla="*/ 37 w 79"/>
                  <a:gd name="T31" fmla="*/ 39 h 133"/>
                  <a:gd name="T32" fmla="*/ 30 w 79"/>
                  <a:gd name="T33" fmla="*/ 31 h 133"/>
                  <a:gd name="T34" fmla="*/ 34 w 79"/>
                  <a:gd name="T35" fmla="*/ 40 h 133"/>
                  <a:gd name="T36" fmla="*/ 45 w 79"/>
                  <a:gd name="T37" fmla="*/ 52 h 133"/>
                  <a:gd name="T38" fmla="*/ 39 w 79"/>
                  <a:gd name="T39" fmla="*/ 43 h 133"/>
                  <a:gd name="T40" fmla="*/ 37 w 79"/>
                  <a:gd name="T41" fmla="*/ 45 h 133"/>
                  <a:gd name="T42" fmla="*/ 45 w 79"/>
                  <a:gd name="T43" fmla="*/ 52 h 133"/>
                  <a:gd name="T44" fmla="*/ 50 w 79"/>
                  <a:gd name="T45" fmla="*/ 66 h 133"/>
                  <a:gd name="T46" fmla="*/ 45 w 79"/>
                  <a:gd name="T47" fmla="*/ 58 h 133"/>
                  <a:gd name="T48" fmla="*/ 49 w 79"/>
                  <a:gd name="T49" fmla="*/ 68 h 133"/>
                  <a:gd name="T50" fmla="*/ 58 w 79"/>
                  <a:gd name="T51" fmla="*/ 79 h 133"/>
                  <a:gd name="T52" fmla="*/ 55 w 79"/>
                  <a:gd name="T53" fmla="*/ 73 h 133"/>
                  <a:gd name="T54" fmla="*/ 53 w 79"/>
                  <a:gd name="T55" fmla="*/ 71 h 133"/>
                  <a:gd name="T56" fmla="*/ 50 w 79"/>
                  <a:gd name="T57" fmla="*/ 72 h 133"/>
                  <a:gd name="T58" fmla="*/ 52 w 79"/>
                  <a:gd name="T59" fmla="*/ 75 h 133"/>
                  <a:gd name="T60" fmla="*/ 58 w 79"/>
                  <a:gd name="T61" fmla="*/ 79 h 133"/>
                  <a:gd name="T62" fmla="*/ 68 w 79"/>
                  <a:gd name="T63" fmla="*/ 91 h 133"/>
                  <a:gd name="T64" fmla="*/ 59 w 79"/>
                  <a:gd name="T65" fmla="*/ 85 h 133"/>
                  <a:gd name="T66" fmla="*/ 66 w 79"/>
                  <a:gd name="T67" fmla="*/ 92 h 133"/>
                  <a:gd name="T68" fmla="*/ 78 w 79"/>
                  <a:gd name="T69" fmla="*/ 102 h 133"/>
                  <a:gd name="T70" fmla="*/ 71 w 79"/>
                  <a:gd name="T71" fmla="*/ 94 h 133"/>
                  <a:gd name="T72" fmla="*/ 69 w 79"/>
                  <a:gd name="T73" fmla="*/ 97 h 133"/>
                  <a:gd name="T74" fmla="*/ 78 w 79"/>
                  <a:gd name="T75" fmla="*/ 102 h 133"/>
                  <a:gd name="T76" fmla="*/ 78 w 79"/>
                  <a:gd name="T77" fmla="*/ 118 h 133"/>
                  <a:gd name="T78" fmla="*/ 79 w 79"/>
                  <a:gd name="T79" fmla="*/ 110 h 133"/>
                  <a:gd name="T80" fmla="*/ 76 w 79"/>
                  <a:gd name="T81" fmla="*/ 108 h 133"/>
                  <a:gd name="T82" fmla="*/ 78 w 79"/>
                  <a:gd name="T83" fmla="*/ 110 h 133"/>
                  <a:gd name="T84" fmla="*/ 76 w 79"/>
                  <a:gd name="T85" fmla="*/ 117 h 133"/>
                  <a:gd name="T86" fmla="*/ 72 w 79"/>
                  <a:gd name="T87" fmla="*/ 133 h 133"/>
                  <a:gd name="T88" fmla="*/ 76 w 79"/>
                  <a:gd name="T89" fmla="*/ 123 h 133"/>
                  <a:gd name="T90" fmla="*/ 75 w 79"/>
                  <a:gd name="T91" fmla="*/ 123 h 133"/>
                  <a:gd name="T92" fmla="*/ 72 w 79"/>
                  <a:gd name="T93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79" h="133">
                    <a:moveTo>
                      <a:pt x="6" y="8"/>
                    </a:moveTo>
                    <a:lnTo>
                      <a:pt x="6" y="8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6" y="8"/>
                    </a:lnTo>
                    <a:close/>
                    <a:moveTo>
                      <a:pt x="19" y="16"/>
                    </a:moveTo>
                    <a:lnTo>
                      <a:pt x="19" y="16"/>
                    </a:lnTo>
                    <a:lnTo>
                      <a:pt x="10" y="11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19" y="17"/>
                    </a:lnTo>
                    <a:lnTo>
                      <a:pt x="19" y="16"/>
                    </a:lnTo>
                    <a:close/>
                    <a:moveTo>
                      <a:pt x="30" y="26"/>
                    </a:moveTo>
                    <a:lnTo>
                      <a:pt x="30" y="26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3" y="17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6" y="20"/>
                    </a:lnTo>
                    <a:lnTo>
                      <a:pt x="26" y="18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9" y="26"/>
                    </a:lnTo>
                    <a:lnTo>
                      <a:pt x="30" y="26"/>
                    </a:lnTo>
                    <a:close/>
                    <a:moveTo>
                      <a:pt x="37" y="39"/>
                    </a:moveTo>
                    <a:lnTo>
                      <a:pt x="37" y="39"/>
                    </a:lnTo>
                    <a:lnTo>
                      <a:pt x="33" y="30"/>
                    </a:lnTo>
                    <a:lnTo>
                      <a:pt x="30" y="31"/>
                    </a:lnTo>
                    <a:lnTo>
                      <a:pt x="30" y="31"/>
                    </a:lnTo>
                    <a:lnTo>
                      <a:pt x="34" y="40"/>
                    </a:lnTo>
                    <a:lnTo>
                      <a:pt x="37" y="39"/>
                    </a:lnTo>
                    <a:close/>
                    <a:moveTo>
                      <a:pt x="45" y="52"/>
                    </a:moveTo>
                    <a:lnTo>
                      <a:pt x="45" y="52"/>
                    </a:lnTo>
                    <a:lnTo>
                      <a:pt x="39" y="43"/>
                    </a:lnTo>
                    <a:lnTo>
                      <a:pt x="37" y="45"/>
                    </a:lnTo>
                    <a:lnTo>
                      <a:pt x="37" y="45"/>
                    </a:lnTo>
                    <a:lnTo>
                      <a:pt x="42" y="53"/>
                    </a:lnTo>
                    <a:lnTo>
                      <a:pt x="45" y="52"/>
                    </a:lnTo>
                    <a:close/>
                    <a:moveTo>
                      <a:pt x="50" y="66"/>
                    </a:moveTo>
                    <a:lnTo>
                      <a:pt x="50" y="66"/>
                    </a:lnTo>
                    <a:lnTo>
                      <a:pt x="46" y="58"/>
                    </a:lnTo>
                    <a:lnTo>
                      <a:pt x="45" y="58"/>
                    </a:lnTo>
                    <a:lnTo>
                      <a:pt x="45" y="58"/>
                    </a:lnTo>
                    <a:lnTo>
                      <a:pt x="49" y="68"/>
                    </a:lnTo>
                    <a:lnTo>
                      <a:pt x="50" y="66"/>
                    </a:lnTo>
                    <a:close/>
                    <a:moveTo>
                      <a:pt x="58" y="79"/>
                    </a:moveTo>
                    <a:lnTo>
                      <a:pt x="58" y="79"/>
                    </a:lnTo>
                    <a:lnTo>
                      <a:pt x="55" y="73"/>
                    </a:lnTo>
                    <a:lnTo>
                      <a:pt x="55" y="73"/>
                    </a:lnTo>
                    <a:lnTo>
                      <a:pt x="53" y="71"/>
                    </a:lnTo>
                    <a:lnTo>
                      <a:pt x="50" y="72"/>
                    </a:lnTo>
                    <a:lnTo>
                      <a:pt x="50" y="72"/>
                    </a:lnTo>
                    <a:lnTo>
                      <a:pt x="52" y="75"/>
                    </a:lnTo>
                    <a:lnTo>
                      <a:pt x="52" y="75"/>
                    </a:lnTo>
                    <a:lnTo>
                      <a:pt x="56" y="81"/>
                    </a:lnTo>
                    <a:lnTo>
                      <a:pt x="58" y="79"/>
                    </a:lnTo>
                    <a:close/>
                    <a:moveTo>
                      <a:pt x="68" y="91"/>
                    </a:moveTo>
                    <a:lnTo>
                      <a:pt x="68" y="91"/>
                    </a:lnTo>
                    <a:lnTo>
                      <a:pt x="61" y="84"/>
                    </a:lnTo>
                    <a:lnTo>
                      <a:pt x="59" y="85"/>
                    </a:lnTo>
                    <a:lnTo>
                      <a:pt x="59" y="85"/>
                    </a:lnTo>
                    <a:lnTo>
                      <a:pt x="66" y="92"/>
                    </a:lnTo>
                    <a:lnTo>
                      <a:pt x="68" y="91"/>
                    </a:lnTo>
                    <a:close/>
                    <a:moveTo>
                      <a:pt x="78" y="102"/>
                    </a:moveTo>
                    <a:lnTo>
                      <a:pt x="78" y="102"/>
                    </a:lnTo>
                    <a:lnTo>
                      <a:pt x="71" y="94"/>
                    </a:lnTo>
                    <a:lnTo>
                      <a:pt x="69" y="97"/>
                    </a:lnTo>
                    <a:lnTo>
                      <a:pt x="69" y="97"/>
                    </a:lnTo>
                    <a:lnTo>
                      <a:pt x="75" y="104"/>
                    </a:lnTo>
                    <a:lnTo>
                      <a:pt x="78" y="102"/>
                    </a:lnTo>
                    <a:close/>
                    <a:moveTo>
                      <a:pt x="78" y="118"/>
                    </a:moveTo>
                    <a:lnTo>
                      <a:pt x="78" y="118"/>
                    </a:lnTo>
                    <a:lnTo>
                      <a:pt x="79" y="110"/>
                    </a:lnTo>
                    <a:lnTo>
                      <a:pt x="79" y="110"/>
                    </a:lnTo>
                    <a:lnTo>
                      <a:pt x="79" y="108"/>
                    </a:lnTo>
                    <a:lnTo>
                      <a:pt x="76" y="108"/>
                    </a:lnTo>
                    <a:lnTo>
                      <a:pt x="76" y="108"/>
                    </a:lnTo>
                    <a:lnTo>
                      <a:pt x="78" y="110"/>
                    </a:lnTo>
                    <a:lnTo>
                      <a:pt x="78" y="110"/>
                    </a:lnTo>
                    <a:lnTo>
                      <a:pt x="76" y="117"/>
                    </a:lnTo>
                    <a:lnTo>
                      <a:pt x="78" y="118"/>
                    </a:lnTo>
                    <a:close/>
                    <a:moveTo>
                      <a:pt x="72" y="133"/>
                    </a:moveTo>
                    <a:lnTo>
                      <a:pt x="72" y="133"/>
                    </a:lnTo>
                    <a:lnTo>
                      <a:pt x="76" y="123"/>
                    </a:lnTo>
                    <a:lnTo>
                      <a:pt x="75" y="123"/>
                    </a:lnTo>
                    <a:lnTo>
                      <a:pt x="75" y="123"/>
                    </a:lnTo>
                    <a:lnTo>
                      <a:pt x="71" y="131"/>
                    </a:lnTo>
                    <a:lnTo>
                      <a:pt x="72" y="133"/>
                    </a:lnTo>
                    <a:lnTo>
                      <a:pt x="72" y="13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2" name="Freeform 1722"/>
              <p:cNvSpPr>
                <a:spLocks noEditPoints="1"/>
              </p:cNvSpPr>
              <p:nvPr/>
            </p:nvSpPr>
            <p:spPr bwMode="auto">
              <a:xfrm>
                <a:off x="5964877" y="2993650"/>
                <a:ext cx="126625" cy="176088"/>
              </a:xfrm>
              <a:custGeom>
                <a:avLst/>
                <a:gdLst>
                  <a:gd name="T0" fmla="*/ 6 w 128"/>
                  <a:gd name="T1" fmla="*/ 178 h 178"/>
                  <a:gd name="T2" fmla="*/ 16 w 128"/>
                  <a:gd name="T3" fmla="*/ 171 h 178"/>
                  <a:gd name="T4" fmla="*/ 24 w 128"/>
                  <a:gd name="T5" fmla="*/ 148 h 178"/>
                  <a:gd name="T6" fmla="*/ 27 w 128"/>
                  <a:gd name="T7" fmla="*/ 149 h 178"/>
                  <a:gd name="T8" fmla="*/ 27 w 128"/>
                  <a:gd name="T9" fmla="*/ 139 h 178"/>
                  <a:gd name="T10" fmla="*/ 29 w 128"/>
                  <a:gd name="T11" fmla="*/ 139 h 178"/>
                  <a:gd name="T12" fmla="*/ 24 w 128"/>
                  <a:gd name="T13" fmla="*/ 119 h 178"/>
                  <a:gd name="T14" fmla="*/ 27 w 128"/>
                  <a:gd name="T15" fmla="*/ 118 h 178"/>
                  <a:gd name="T16" fmla="*/ 21 w 128"/>
                  <a:gd name="T17" fmla="*/ 109 h 178"/>
                  <a:gd name="T18" fmla="*/ 22 w 128"/>
                  <a:gd name="T19" fmla="*/ 107 h 178"/>
                  <a:gd name="T20" fmla="*/ 14 w 128"/>
                  <a:gd name="T21" fmla="*/ 91 h 178"/>
                  <a:gd name="T22" fmla="*/ 19 w 128"/>
                  <a:gd name="T23" fmla="*/ 99 h 178"/>
                  <a:gd name="T24" fmla="*/ 16 w 128"/>
                  <a:gd name="T25" fmla="*/ 76 h 178"/>
                  <a:gd name="T26" fmla="*/ 19 w 128"/>
                  <a:gd name="T27" fmla="*/ 86 h 178"/>
                  <a:gd name="T28" fmla="*/ 11 w 128"/>
                  <a:gd name="T29" fmla="*/ 63 h 178"/>
                  <a:gd name="T30" fmla="*/ 19 w 128"/>
                  <a:gd name="T31" fmla="*/ 70 h 178"/>
                  <a:gd name="T32" fmla="*/ 2 w 128"/>
                  <a:gd name="T33" fmla="*/ 51 h 178"/>
                  <a:gd name="T34" fmla="*/ 5 w 128"/>
                  <a:gd name="T35" fmla="*/ 57 h 178"/>
                  <a:gd name="T36" fmla="*/ 8 w 128"/>
                  <a:gd name="T37" fmla="*/ 55 h 178"/>
                  <a:gd name="T38" fmla="*/ 6 w 128"/>
                  <a:gd name="T39" fmla="*/ 52 h 178"/>
                  <a:gd name="T40" fmla="*/ 0 w 128"/>
                  <a:gd name="T41" fmla="*/ 36 h 178"/>
                  <a:gd name="T42" fmla="*/ 3 w 128"/>
                  <a:gd name="T43" fmla="*/ 35 h 178"/>
                  <a:gd name="T44" fmla="*/ 2 w 128"/>
                  <a:gd name="T45" fmla="*/ 29 h 178"/>
                  <a:gd name="T46" fmla="*/ 6 w 128"/>
                  <a:gd name="T47" fmla="*/ 21 h 178"/>
                  <a:gd name="T48" fmla="*/ 12 w 128"/>
                  <a:gd name="T49" fmla="*/ 18 h 178"/>
                  <a:gd name="T50" fmla="*/ 15 w 128"/>
                  <a:gd name="T51" fmla="*/ 19 h 178"/>
                  <a:gd name="T52" fmla="*/ 29 w 128"/>
                  <a:gd name="T53" fmla="*/ 0 h 178"/>
                  <a:gd name="T54" fmla="*/ 24 w 128"/>
                  <a:gd name="T55" fmla="*/ 9 h 178"/>
                  <a:gd name="T56" fmla="*/ 29 w 128"/>
                  <a:gd name="T57" fmla="*/ 0 h 178"/>
                  <a:gd name="T58" fmla="*/ 35 w 128"/>
                  <a:gd name="T59" fmla="*/ 3 h 178"/>
                  <a:gd name="T60" fmla="*/ 53 w 128"/>
                  <a:gd name="T61" fmla="*/ 19 h 178"/>
                  <a:gd name="T62" fmla="*/ 51 w 128"/>
                  <a:gd name="T63" fmla="*/ 22 h 178"/>
                  <a:gd name="T64" fmla="*/ 57 w 128"/>
                  <a:gd name="T65" fmla="*/ 29 h 178"/>
                  <a:gd name="T66" fmla="*/ 54 w 128"/>
                  <a:gd name="T67" fmla="*/ 26 h 178"/>
                  <a:gd name="T68" fmla="*/ 51 w 128"/>
                  <a:gd name="T69" fmla="*/ 49 h 178"/>
                  <a:gd name="T70" fmla="*/ 50 w 128"/>
                  <a:gd name="T71" fmla="*/ 44 h 178"/>
                  <a:gd name="T72" fmla="*/ 60 w 128"/>
                  <a:gd name="T73" fmla="*/ 47 h 178"/>
                  <a:gd name="T74" fmla="*/ 53 w 128"/>
                  <a:gd name="T75" fmla="*/ 54 h 178"/>
                  <a:gd name="T76" fmla="*/ 57 w 128"/>
                  <a:gd name="T77" fmla="*/ 52 h 178"/>
                  <a:gd name="T78" fmla="*/ 73 w 128"/>
                  <a:gd name="T79" fmla="*/ 38 h 178"/>
                  <a:gd name="T80" fmla="*/ 73 w 128"/>
                  <a:gd name="T81" fmla="*/ 38 h 178"/>
                  <a:gd name="T82" fmla="*/ 82 w 128"/>
                  <a:gd name="T83" fmla="*/ 39 h 178"/>
                  <a:gd name="T84" fmla="*/ 80 w 128"/>
                  <a:gd name="T85" fmla="*/ 42 h 178"/>
                  <a:gd name="T86" fmla="*/ 99 w 128"/>
                  <a:gd name="T87" fmla="*/ 42 h 178"/>
                  <a:gd name="T88" fmla="*/ 95 w 128"/>
                  <a:gd name="T89" fmla="*/ 38 h 178"/>
                  <a:gd name="T90" fmla="*/ 92 w 128"/>
                  <a:gd name="T91" fmla="*/ 44 h 178"/>
                  <a:gd name="T92" fmla="*/ 95 w 128"/>
                  <a:gd name="T93" fmla="*/ 41 h 178"/>
                  <a:gd name="T94" fmla="*/ 106 w 128"/>
                  <a:gd name="T95" fmla="*/ 57 h 178"/>
                  <a:gd name="T96" fmla="*/ 106 w 128"/>
                  <a:gd name="T97" fmla="*/ 57 h 178"/>
                  <a:gd name="T98" fmla="*/ 108 w 128"/>
                  <a:gd name="T99" fmla="*/ 61 h 178"/>
                  <a:gd name="T100" fmla="*/ 109 w 128"/>
                  <a:gd name="T101" fmla="*/ 71 h 178"/>
                  <a:gd name="T102" fmla="*/ 112 w 128"/>
                  <a:gd name="T103" fmla="*/ 76 h 178"/>
                  <a:gd name="T104" fmla="*/ 128 w 128"/>
                  <a:gd name="T105" fmla="*/ 96 h 178"/>
                  <a:gd name="T106" fmla="*/ 125 w 128"/>
                  <a:gd name="T107" fmla="*/ 86 h 178"/>
                  <a:gd name="T108" fmla="*/ 125 w 128"/>
                  <a:gd name="T109" fmla="*/ 93 h 178"/>
                  <a:gd name="T110" fmla="*/ 124 w 128"/>
                  <a:gd name="T111" fmla="*/ 110 h 178"/>
                  <a:gd name="T112" fmla="*/ 124 w 128"/>
                  <a:gd name="T113" fmla="*/ 11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8" h="178">
                    <a:moveTo>
                      <a:pt x="12" y="174"/>
                    </a:moveTo>
                    <a:lnTo>
                      <a:pt x="12" y="174"/>
                    </a:lnTo>
                    <a:lnTo>
                      <a:pt x="5" y="177"/>
                    </a:lnTo>
                    <a:lnTo>
                      <a:pt x="6" y="178"/>
                    </a:lnTo>
                    <a:lnTo>
                      <a:pt x="6" y="178"/>
                    </a:lnTo>
                    <a:lnTo>
                      <a:pt x="14" y="176"/>
                    </a:lnTo>
                    <a:lnTo>
                      <a:pt x="12" y="174"/>
                    </a:lnTo>
                    <a:close/>
                    <a:moveTo>
                      <a:pt x="21" y="162"/>
                    </a:moveTo>
                    <a:lnTo>
                      <a:pt x="21" y="162"/>
                    </a:lnTo>
                    <a:lnTo>
                      <a:pt x="16" y="171"/>
                    </a:lnTo>
                    <a:lnTo>
                      <a:pt x="18" y="173"/>
                    </a:lnTo>
                    <a:lnTo>
                      <a:pt x="18" y="173"/>
                    </a:lnTo>
                    <a:lnTo>
                      <a:pt x="22" y="164"/>
                    </a:lnTo>
                    <a:lnTo>
                      <a:pt x="21" y="162"/>
                    </a:lnTo>
                    <a:close/>
                    <a:moveTo>
                      <a:pt x="24" y="148"/>
                    </a:moveTo>
                    <a:lnTo>
                      <a:pt x="24" y="148"/>
                    </a:lnTo>
                    <a:lnTo>
                      <a:pt x="22" y="158"/>
                    </a:lnTo>
                    <a:lnTo>
                      <a:pt x="24" y="158"/>
                    </a:lnTo>
                    <a:lnTo>
                      <a:pt x="24" y="158"/>
                    </a:lnTo>
                    <a:lnTo>
                      <a:pt x="27" y="149"/>
                    </a:lnTo>
                    <a:lnTo>
                      <a:pt x="24" y="148"/>
                    </a:lnTo>
                    <a:close/>
                    <a:moveTo>
                      <a:pt x="27" y="133"/>
                    </a:moveTo>
                    <a:lnTo>
                      <a:pt x="27" y="135"/>
                    </a:lnTo>
                    <a:lnTo>
                      <a:pt x="27" y="135"/>
                    </a:lnTo>
                    <a:lnTo>
                      <a:pt x="27" y="139"/>
                    </a:lnTo>
                    <a:lnTo>
                      <a:pt x="27" y="139"/>
                    </a:lnTo>
                    <a:lnTo>
                      <a:pt x="25" y="144"/>
                    </a:lnTo>
                    <a:lnTo>
                      <a:pt x="28" y="144"/>
                    </a:lnTo>
                    <a:lnTo>
                      <a:pt x="28" y="144"/>
                    </a:lnTo>
                    <a:lnTo>
                      <a:pt x="29" y="139"/>
                    </a:lnTo>
                    <a:lnTo>
                      <a:pt x="29" y="139"/>
                    </a:lnTo>
                    <a:lnTo>
                      <a:pt x="29" y="135"/>
                    </a:lnTo>
                    <a:lnTo>
                      <a:pt x="29" y="133"/>
                    </a:lnTo>
                    <a:lnTo>
                      <a:pt x="27" y="133"/>
                    </a:lnTo>
                    <a:close/>
                    <a:moveTo>
                      <a:pt x="24" y="119"/>
                    </a:moveTo>
                    <a:lnTo>
                      <a:pt x="24" y="119"/>
                    </a:lnTo>
                    <a:lnTo>
                      <a:pt x="27" y="129"/>
                    </a:lnTo>
                    <a:lnTo>
                      <a:pt x="28" y="128"/>
                    </a:lnTo>
                    <a:lnTo>
                      <a:pt x="28" y="128"/>
                    </a:lnTo>
                    <a:lnTo>
                      <a:pt x="27" y="118"/>
                    </a:lnTo>
                    <a:lnTo>
                      <a:pt x="24" y="119"/>
                    </a:lnTo>
                    <a:close/>
                    <a:moveTo>
                      <a:pt x="19" y="105"/>
                    </a:moveTo>
                    <a:lnTo>
                      <a:pt x="19" y="105"/>
                    </a:lnTo>
                    <a:lnTo>
                      <a:pt x="21" y="109"/>
                    </a:lnTo>
                    <a:lnTo>
                      <a:pt x="21" y="109"/>
                    </a:lnTo>
                    <a:lnTo>
                      <a:pt x="22" y="115"/>
                    </a:lnTo>
                    <a:lnTo>
                      <a:pt x="25" y="113"/>
                    </a:lnTo>
                    <a:lnTo>
                      <a:pt x="25" y="113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21" y="105"/>
                    </a:lnTo>
                    <a:lnTo>
                      <a:pt x="19" y="105"/>
                    </a:lnTo>
                    <a:close/>
                    <a:moveTo>
                      <a:pt x="14" y="90"/>
                    </a:moveTo>
                    <a:lnTo>
                      <a:pt x="14" y="90"/>
                    </a:lnTo>
                    <a:lnTo>
                      <a:pt x="14" y="91"/>
                    </a:lnTo>
                    <a:lnTo>
                      <a:pt x="14" y="91"/>
                    </a:lnTo>
                    <a:lnTo>
                      <a:pt x="15" y="96"/>
                    </a:lnTo>
                    <a:lnTo>
                      <a:pt x="16" y="100"/>
                    </a:lnTo>
                    <a:lnTo>
                      <a:pt x="19" y="99"/>
                    </a:lnTo>
                    <a:lnTo>
                      <a:pt x="19" y="99"/>
                    </a:lnTo>
                    <a:lnTo>
                      <a:pt x="16" y="91"/>
                    </a:lnTo>
                    <a:lnTo>
                      <a:pt x="16" y="90"/>
                    </a:lnTo>
                    <a:lnTo>
                      <a:pt x="14" y="90"/>
                    </a:lnTo>
                    <a:close/>
                    <a:moveTo>
                      <a:pt x="16" y="76"/>
                    </a:moveTo>
                    <a:lnTo>
                      <a:pt x="16" y="76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6"/>
                    </a:lnTo>
                    <a:lnTo>
                      <a:pt x="19" y="86"/>
                    </a:lnTo>
                    <a:lnTo>
                      <a:pt x="19" y="86"/>
                    </a:lnTo>
                    <a:lnTo>
                      <a:pt x="19" y="80"/>
                    </a:lnTo>
                    <a:lnTo>
                      <a:pt x="19" y="80"/>
                    </a:lnTo>
                    <a:lnTo>
                      <a:pt x="19" y="76"/>
                    </a:lnTo>
                    <a:lnTo>
                      <a:pt x="16" y="76"/>
                    </a:lnTo>
                    <a:close/>
                    <a:moveTo>
                      <a:pt x="11" y="63"/>
                    </a:moveTo>
                    <a:lnTo>
                      <a:pt x="11" y="63"/>
                    </a:lnTo>
                    <a:lnTo>
                      <a:pt x="14" y="67"/>
                    </a:lnTo>
                    <a:lnTo>
                      <a:pt x="16" y="71"/>
                    </a:lnTo>
                    <a:lnTo>
                      <a:pt x="19" y="70"/>
                    </a:lnTo>
                    <a:lnTo>
                      <a:pt x="19" y="70"/>
                    </a:lnTo>
                    <a:lnTo>
                      <a:pt x="16" y="65"/>
                    </a:lnTo>
                    <a:lnTo>
                      <a:pt x="14" y="61"/>
                    </a:lnTo>
                    <a:lnTo>
                      <a:pt x="11" y="63"/>
                    </a:lnTo>
                    <a:close/>
                    <a:moveTo>
                      <a:pt x="2" y="51"/>
                    </a:moveTo>
                    <a:lnTo>
                      <a:pt x="2" y="51"/>
                    </a:lnTo>
                    <a:lnTo>
                      <a:pt x="3" y="54"/>
                    </a:lnTo>
                    <a:lnTo>
                      <a:pt x="3" y="54"/>
                    </a:lnTo>
                    <a:lnTo>
                      <a:pt x="3" y="55"/>
                    </a:lnTo>
                    <a:lnTo>
                      <a:pt x="3" y="55"/>
                    </a:lnTo>
                    <a:lnTo>
                      <a:pt x="5" y="57"/>
                    </a:lnTo>
                    <a:lnTo>
                      <a:pt x="5" y="57"/>
                    </a:lnTo>
                    <a:lnTo>
                      <a:pt x="8" y="60"/>
                    </a:lnTo>
                    <a:lnTo>
                      <a:pt x="9" y="58"/>
                    </a:lnTo>
                    <a:lnTo>
                      <a:pt x="9" y="58"/>
                    </a:lnTo>
                    <a:lnTo>
                      <a:pt x="8" y="55"/>
                    </a:lnTo>
                    <a:lnTo>
                      <a:pt x="8" y="55"/>
                    </a:lnTo>
                    <a:lnTo>
                      <a:pt x="6" y="54"/>
                    </a:lnTo>
                    <a:lnTo>
                      <a:pt x="6" y="54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5" y="49"/>
                    </a:lnTo>
                    <a:lnTo>
                      <a:pt x="2" y="51"/>
                    </a:lnTo>
                    <a:close/>
                    <a:moveTo>
                      <a:pt x="0" y="35"/>
                    </a:moveTo>
                    <a:lnTo>
                      <a:pt x="0" y="36"/>
                    </a:lnTo>
                    <a:lnTo>
                      <a:pt x="0" y="36"/>
                    </a:lnTo>
                    <a:lnTo>
                      <a:pt x="2" y="45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3" y="36"/>
                    </a:lnTo>
                    <a:lnTo>
                      <a:pt x="3" y="35"/>
                    </a:lnTo>
                    <a:lnTo>
                      <a:pt x="0" y="35"/>
                    </a:lnTo>
                    <a:close/>
                    <a:moveTo>
                      <a:pt x="6" y="21"/>
                    </a:moveTo>
                    <a:lnTo>
                      <a:pt x="6" y="21"/>
                    </a:lnTo>
                    <a:lnTo>
                      <a:pt x="3" y="25"/>
                    </a:lnTo>
                    <a:lnTo>
                      <a:pt x="2" y="29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6" y="26"/>
                    </a:lnTo>
                    <a:lnTo>
                      <a:pt x="9" y="22"/>
                    </a:lnTo>
                    <a:lnTo>
                      <a:pt x="6" y="21"/>
                    </a:lnTo>
                    <a:close/>
                    <a:moveTo>
                      <a:pt x="18" y="12"/>
                    </a:moveTo>
                    <a:lnTo>
                      <a:pt x="18" y="12"/>
                    </a:lnTo>
                    <a:lnTo>
                      <a:pt x="15" y="16"/>
                    </a:lnTo>
                    <a:lnTo>
                      <a:pt x="15" y="16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1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5" y="19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1" y="13"/>
                    </a:lnTo>
                    <a:lnTo>
                      <a:pt x="18" y="12"/>
                    </a:lnTo>
                    <a:close/>
                    <a:moveTo>
                      <a:pt x="29" y="0"/>
                    </a:moveTo>
                    <a:lnTo>
                      <a:pt x="29" y="0"/>
                    </a:lnTo>
                    <a:lnTo>
                      <a:pt x="25" y="3"/>
                    </a:lnTo>
                    <a:lnTo>
                      <a:pt x="25" y="3"/>
                    </a:lnTo>
                    <a:lnTo>
                      <a:pt x="21" y="7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31" y="3"/>
                    </a:lnTo>
                    <a:lnTo>
                      <a:pt x="29" y="0"/>
                    </a:lnTo>
                    <a:close/>
                    <a:moveTo>
                      <a:pt x="44" y="7"/>
                    </a:moveTo>
                    <a:lnTo>
                      <a:pt x="44" y="7"/>
                    </a:lnTo>
                    <a:lnTo>
                      <a:pt x="41" y="5"/>
                    </a:lnTo>
                    <a:lnTo>
                      <a:pt x="35" y="2"/>
                    </a:lnTo>
                    <a:lnTo>
                      <a:pt x="35" y="3"/>
                    </a:lnTo>
                    <a:lnTo>
                      <a:pt x="35" y="3"/>
                    </a:lnTo>
                    <a:lnTo>
                      <a:pt x="40" y="6"/>
                    </a:lnTo>
                    <a:lnTo>
                      <a:pt x="43" y="9"/>
                    </a:lnTo>
                    <a:lnTo>
                      <a:pt x="44" y="7"/>
                    </a:lnTo>
                    <a:close/>
                    <a:moveTo>
                      <a:pt x="53" y="19"/>
                    </a:moveTo>
                    <a:lnTo>
                      <a:pt x="53" y="19"/>
                    </a:lnTo>
                    <a:lnTo>
                      <a:pt x="47" y="12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51" y="22"/>
                    </a:lnTo>
                    <a:lnTo>
                      <a:pt x="53" y="19"/>
                    </a:lnTo>
                    <a:close/>
                    <a:moveTo>
                      <a:pt x="57" y="35"/>
                    </a:moveTo>
                    <a:lnTo>
                      <a:pt x="57" y="35"/>
                    </a:lnTo>
                    <a:lnTo>
                      <a:pt x="57" y="29"/>
                    </a:lnTo>
                    <a:lnTo>
                      <a:pt x="57" y="29"/>
                    </a:lnTo>
                    <a:lnTo>
                      <a:pt x="57" y="25"/>
                    </a:lnTo>
                    <a:lnTo>
                      <a:pt x="56" y="23"/>
                    </a:lnTo>
                    <a:lnTo>
                      <a:pt x="54" y="25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56" y="29"/>
                    </a:lnTo>
                    <a:lnTo>
                      <a:pt x="56" y="29"/>
                    </a:lnTo>
                    <a:lnTo>
                      <a:pt x="54" y="34"/>
                    </a:lnTo>
                    <a:lnTo>
                      <a:pt x="57" y="35"/>
                    </a:lnTo>
                    <a:close/>
                    <a:moveTo>
                      <a:pt x="51" y="49"/>
                    </a:moveTo>
                    <a:lnTo>
                      <a:pt x="51" y="49"/>
                    </a:lnTo>
                    <a:lnTo>
                      <a:pt x="54" y="39"/>
                    </a:lnTo>
                    <a:lnTo>
                      <a:pt x="53" y="39"/>
                    </a:lnTo>
                    <a:lnTo>
                      <a:pt x="53" y="39"/>
                    </a:lnTo>
                    <a:lnTo>
                      <a:pt x="50" y="44"/>
                    </a:lnTo>
                    <a:lnTo>
                      <a:pt x="48" y="48"/>
                    </a:lnTo>
                    <a:lnTo>
                      <a:pt x="51" y="49"/>
                    </a:lnTo>
                    <a:close/>
                    <a:moveTo>
                      <a:pt x="60" y="47"/>
                    </a:moveTo>
                    <a:lnTo>
                      <a:pt x="60" y="47"/>
                    </a:lnTo>
                    <a:lnTo>
                      <a:pt x="60" y="47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53" y="51"/>
                    </a:lnTo>
                    <a:lnTo>
                      <a:pt x="53" y="51"/>
                    </a:lnTo>
                    <a:lnTo>
                      <a:pt x="53" y="54"/>
                    </a:lnTo>
                    <a:lnTo>
                      <a:pt x="53" y="54"/>
                    </a:lnTo>
                    <a:lnTo>
                      <a:pt x="53" y="54"/>
                    </a:lnTo>
                    <a:lnTo>
                      <a:pt x="56" y="54"/>
                    </a:lnTo>
                    <a:lnTo>
                      <a:pt x="57" y="52"/>
                    </a:lnTo>
                    <a:lnTo>
                      <a:pt x="57" y="52"/>
                    </a:lnTo>
                    <a:lnTo>
                      <a:pt x="61" y="49"/>
                    </a:lnTo>
                    <a:lnTo>
                      <a:pt x="61" y="48"/>
                    </a:lnTo>
                    <a:lnTo>
                      <a:pt x="60" y="47"/>
                    </a:lnTo>
                    <a:close/>
                    <a:moveTo>
                      <a:pt x="73" y="38"/>
                    </a:moveTo>
                    <a:lnTo>
                      <a:pt x="73" y="38"/>
                    </a:lnTo>
                    <a:lnTo>
                      <a:pt x="64" y="44"/>
                    </a:lnTo>
                    <a:lnTo>
                      <a:pt x="66" y="45"/>
                    </a:lnTo>
                    <a:lnTo>
                      <a:pt x="66" y="45"/>
                    </a:lnTo>
                    <a:lnTo>
                      <a:pt x="74" y="39"/>
                    </a:lnTo>
                    <a:lnTo>
                      <a:pt x="73" y="38"/>
                    </a:lnTo>
                    <a:close/>
                    <a:moveTo>
                      <a:pt x="86" y="44"/>
                    </a:moveTo>
                    <a:lnTo>
                      <a:pt x="86" y="42"/>
                    </a:lnTo>
                    <a:lnTo>
                      <a:pt x="86" y="42"/>
                    </a:lnTo>
                    <a:lnTo>
                      <a:pt x="82" y="39"/>
                    </a:lnTo>
                    <a:lnTo>
                      <a:pt x="82" y="39"/>
                    </a:lnTo>
                    <a:lnTo>
                      <a:pt x="79" y="36"/>
                    </a:lnTo>
                    <a:lnTo>
                      <a:pt x="77" y="39"/>
                    </a:lnTo>
                    <a:lnTo>
                      <a:pt x="77" y="39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5" y="45"/>
                    </a:lnTo>
                    <a:lnTo>
                      <a:pt x="86" y="45"/>
                    </a:lnTo>
                    <a:lnTo>
                      <a:pt x="86" y="44"/>
                    </a:lnTo>
                    <a:close/>
                    <a:moveTo>
                      <a:pt x="99" y="42"/>
                    </a:moveTo>
                    <a:lnTo>
                      <a:pt x="99" y="42"/>
                    </a:lnTo>
                    <a:lnTo>
                      <a:pt x="98" y="39"/>
                    </a:lnTo>
                    <a:lnTo>
                      <a:pt x="98" y="39"/>
                    </a:lnTo>
                    <a:lnTo>
                      <a:pt x="95" y="39"/>
                    </a:lnTo>
                    <a:lnTo>
                      <a:pt x="95" y="38"/>
                    </a:lnTo>
                    <a:lnTo>
                      <a:pt x="95" y="38"/>
                    </a:lnTo>
                    <a:lnTo>
                      <a:pt x="92" y="39"/>
                    </a:lnTo>
                    <a:lnTo>
                      <a:pt x="92" y="39"/>
                    </a:lnTo>
                    <a:lnTo>
                      <a:pt x="89" y="42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3" y="42"/>
                    </a:lnTo>
                    <a:lnTo>
                      <a:pt x="93" y="42"/>
                    </a:lnTo>
                    <a:lnTo>
                      <a:pt x="95" y="41"/>
                    </a:lnTo>
                    <a:lnTo>
                      <a:pt x="95" y="41"/>
                    </a:lnTo>
                    <a:lnTo>
                      <a:pt x="95" y="41"/>
                    </a:lnTo>
                    <a:lnTo>
                      <a:pt x="95" y="41"/>
                    </a:lnTo>
                    <a:lnTo>
                      <a:pt x="98" y="44"/>
                    </a:lnTo>
                    <a:lnTo>
                      <a:pt x="99" y="42"/>
                    </a:lnTo>
                    <a:close/>
                    <a:moveTo>
                      <a:pt x="106" y="57"/>
                    </a:moveTo>
                    <a:lnTo>
                      <a:pt x="106" y="57"/>
                    </a:lnTo>
                    <a:lnTo>
                      <a:pt x="102" y="47"/>
                    </a:lnTo>
                    <a:lnTo>
                      <a:pt x="99" y="48"/>
                    </a:lnTo>
                    <a:lnTo>
                      <a:pt x="99" y="48"/>
                    </a:lnTo>
                    <a:lnTo>
                      <a:pt x="103" y="57"/>
                    </a:lnTo>
                    <a:lnTo>
                      <a:pt x="106" y="57"/>
                    </a:lnTo>
                    <a:close/>
                    <a:moveTo>
                      <a:pt x="112" y="70"/>
                    </a:moveTo>
                    <a:lnTo>
                      <a:pt x="112" y="70"/>
                    </a:lnTo>
                    <a:lnTo>
                      <a:pt x="111" y="68"/>
                    </a:lnTo>
                    <a:lnTo>
                      <a:pt x="111" y="68"/>
                    </a:lnTo>
                    <a:lnTo>
                      <a:pt x="108" y="61"/>
                    </a:lnTo>
                    <a:lnTo>
                      <a:pt x="106" y="61"/>
                    </a:lnTo>
                    <a:lnTo>
                      <a:pt x="106" y="61"/>
                    </a:lnTo>
                    <a:lnTo>
                      <a:pt x="109" y="70"/>
                    </a:lnTo>
                    <a:lnTo>
                      <a:pt x="109" y="70"/>
                    </a:lnTo>
                    <a:lnTo>
                      <a:pt x="109" y="71"/>
                    </a:lnTo>
                    <a:lnTo>
                      <a:pt x="112" y="70"/>
                    </a:lnTo>
                    <a:close/>
                    <a:moveTo>
                      <a:pt x="121" y="81"/>
                    </a:moveTo>
                    <a:lnTo>
                      <a:pt x="121" y="81"/>
                    </a:lnTo>
                    <a:lnTo>
                      <a:pt x="115" y="74"/>
                    </a:lnTo>
                    <a:lnTo>
                      <a:pt x="112" y="76"/>
                    </a:lnTo>
                    <a:lnTo>
                      <a:pt x="112" y="76"/>
                    </a:lnTo>
                    <a:lnTo>
                      <a:pt x="119" y="84"/>
                    </a:lnTo>
                    <a:lnTo>
                      <a:pt x="121" y="81"/>
                    </a:lnTo>
                    <a:close/>
                    <a:moveTo>
                      <a:pt x="128" y="96"/>
                    </a:moveTo>
                    <a:lnTo>
                      <a:pt x="128" y="96"/>
                    </a:lnTo>
                    <a:lnTo>
                      <a:pt x="128" y="93"/>
                    </a:lnTo>
                    <a:lnTo>
                      <a:pt x="128" y="93"/>
                    </a:lnTo>
                    <a:lnTo>
                      <a:pt x="127" y="89"/>
                    </a:lnTo>
                    <a:lnTo>
                      <a:pt x="127" y="89"/>
                    </a:lnTo>
                    <a:lnTo>
                      <a:pt x="125" y="86"/>
                    </a:lnTo>
                    <a:lnTo>
                      <a:pt x="122" y="87"/>
                    </a:lnTo>
                    <a:lnTo>
                      <a:pt x="122" y="87"/>
                    </a:lnTo>
                    <a:lnTo>
                      <a:pt x="125" y="90"/>
                    </a:lnTo>
                    <a:lnTo>
                      <a:pt x="125" y="90"/>
                    </a:lnTo>
                    <a:lnTo>
                      <a:pt x="125" y="93"/>
                    </a:lnTo>
                    <a:lnTo>
                      <a:pt x="125" y="93"/>
                    </a:lnTo>
                    <a:lnTo>
                      <a:pt x="125" y="96"/>
                    </a:lnTo>
                    <a:lnTo>
                      <a:pt x="128" y="96"/>
                    </a:lnTo>
                    <a:close/>
                    <a:moveTo>
                      <a:pt x="124" y="110"/>
                    </a:moveTo>
                    <a:lnTo>
                      <a:pt x="124" y="110"/>
                    </a:lnTo>
                    <a:lnTo>
                      <a:pt x="127" y="100"/>
                    </a:lnTo>
                    <a:lnTo>
                      <a:pt x="125" y="100"/>
                    </a:lnTo>
                    <a:lnTo>
                      <a:pt x="125" y="100"/>
                    </a:lnTo>
                    <a:lnTo>
                      <a:pt x="122" y="110"/>
                    </a:lnTo>
                    <a:lnTo>
                      <a:pt x="124" y="1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3" name="Freeform 1723"/>
              <p:cNvSpPr>
                <a:spLocks noEditPoints="1"/>
              </p:cNvSpPr>
              <p:nvPr/>
            </p:nvSpPr>
            <p:spPr bwMode="auto">
              <a:xfrm>
                <a:off x="5998512" y="2976832"/>
                <a:ext cx="18796" cy="19785"/>
              </a:xfrm>
              <a:custGeom>
                <a:avLst/>
                <a:gdLst>
                  <a:gd name="T0" fmla="*/ 13 w 19"/>
                  <a:gd name="T1" fmla="*/ 10 h 20"/>
                  <a:gd name="T2" fmla="*/ 13 w 19"/>
                  <a:gd name="T3" fmla="*/ 9 h 20"/>
                  <a:gd name="T4" fmla="*/ 13 w 19"/>
                  <a:gd name="T5" fmla="*/ 9 h 20"/>
                  <a:gd name="T6" fmla="*/ 19 w 19"/>
                  <a:gd name="T7" fmla="*/ 1 h 20"/>
                  <a:gd name="T8" fmla="*/ 17 w 19"/>
                  <a:gd name="T9" fmla="*/ 0 h 20"/>
                  <a:gd name="T10" fmla="*/ 17 w 19"/>
                  <a:gd name="T11" fmla="*/ 0 h 20"/>
                  <a:gd name="T12" fmla="*/ 11 w 19"/>
                  <a:gd name="T13" fmla="*/ 7 h 20"/>
                  <a:gd name="T14" fmla="*/ 11 w 19"/>
                  <a:gd name="T15" fmla="*/ 7 h 20"/>
                  <a:gd name="T16" fmla="*/ 13 w 19"/>
                  <a:gd name="T17" fmla="*/ 10 h 20"/>
                  <a:gd name="T18" fmla="*/ 1 w 19"/>
                  <a:gd name="T19" fmla="*/ 20 h 20"/>
                  <a:gd name="T20" fmla="*/ 1 w 19"/>
                  <a:gd name="T21" fmla="*/ 20 h 20"/>
                  <a:gd name="T22" fmla="*/ 9 w 19"/>
                  <a:gd name="T23" fmla="*/ 13 h 20"/>
                  <a:gd name="T24" fmla="*/ 7 w 19"/>
                  <a:gd name="T25" fmla="*/ 11 h 20"/>
                  <a:gd name="T26" fmla="*/ 7 w 19"/>
                  <a:gd name="T27" fmla="*/ 11 h 20"/>
                  <a:gd name="T28" fmla="*/ 0 w 19"/>
                  <a:gd name="T29" fmla="*/ 19 h 20"/>
                  <a:gd name="T30" fmla="*/ 1 w 19"/>
                  <a:gd name="T31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" h="20">
                    <a:moveTo>
                      <a:pt x="13" y="10"/>
                    </a:moveTo>
                    <a:lnTo>
                      <a:pt x="13" y="9"/>
                    </a:lnTo>
                    <a:lnTo>
                      <a:pt x="13" y="9"/>
                    </a:lnTo>
                    <a:lnTo>
                      <a:pt x="19" y="1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3" y="10"/>
                    </a:lnTo>
                    <a:close/>
                    <a:moveTo>
                      <a:pt x="1" y="20"/>
                    </a:moveTo>
                    <a:lnTo>
                      <a:pt x="1" y="20"/>
                    </a:lnTo>
                    <a:lnTo>
                      <a:pt x="9" y="13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0" y="19"/>
                    </a:lnTo>
                    <a:lnTo>
                      <a:pt x="1" y="2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4" name="Freeform 1724"/>
              <p:cNvSpPr>
                <a:spLocks noEditPoints="1"/>
              </p:cNvSpPr>
              <p:nvPr/>
            </p:nvSpPr>
            <p:spPr bwMode="auto">
              <a:xfrm>
                <a:off x="5827370" y="2861089"/>
                <a:ext cx="47484" cy="29678"/>
              </a:xfrm>
              <a:custGeom>
                <a:avLst/>
                <a:gdLst>
                  <a:gd name="T0" fmla="*/ 9 w 48"/>
                  <a:gd name="T1" fmla="*/ 26 h 30"/>
                  <a:gd name="T2" fmla="*/ 9 w 48"/>
                  <a:gd name="T3" fmla="*/ 26 h 30"/>
                  <a:gd name="T4" fmla="*/ 5 w 48"/>
                  <a:gd name="T5" fmla="*/ 24 h 30"/>
                  <a:gd name="T6" fmla="*/ 2 w 48"/>
                  <a:gd name="T7" fmla="*/ 21 h 30"/>
                  <a:gd name="T8" fmla="*/ 0 w 48"/>
                  <a:gd name="T9" fmla="*/ 23 h 30"/>
                  <a:gd name="T10" fmla="*/ 0 w 48"/>
                  <a:gd name="T11" fmla="*/ 23 h 30"/>
                  <a:gd name="T12" fmla="*/ 3 w 48"/>
                  <a:gd name="T13" fmla="*/ 26 h 30"/>
                  <a:gd name="T14" fmla="*/ 9 w 48"/>
                  <a:gd name="T15" fmla="*/ 29 h 30"/>
                  <a:gd name="T16" fmla="*/ 9 w 48"/>
                  <a:gd name="T17" fmla="*/ 26 h 30"/>
                  <a:gd name="T18" fmla="*/ 24 w 48"/>
                  <a:gd name="T19" fmla="*/ 27 h 30"/>
                  <a:gd name="T20" fmla="*/ 24 w 48"/>
                  <a:gd name="T21" fmla="*/ 27 h 30"/>
                  <a:gd name="T22" fmla="*/ 15 w 48"/>
                  <a:gd name="T23" fmla="*/ 27 h 30"/>
                  <a:gd name="T24" fmla="*/ 15 w 48"/>
                  <a:gd name="T25" fmla="*/ 27 h 30"/>
                  <a:gd name="T26" fmla="*/ 13 w 48"/>
                  <a:gd name="T27" fmla="*/ 30 h 30"/>
                  <a:gd name="T28" fmla="*/ 15 w 48"/>
                  <a:gd name="T29" fmla="*/ 30 h 30"/>
                  <a:gd name="T30" fmla="*/ 15 w 48"/>
                  <a:gd name="T31" fmla="*/ 30 h 30"/>
                  <a:gd name="T32" fmla="*/ 25 w 48"/>
                  <a:gd name="T33" fmla="*/ 29 h 30"/>
                  <a:gd name="T34" fmla="*/ 24 w 48"/>
                  <a:gd name="T35" fmla="*/ 27 h 30"/>
                  <a:gd name="T36" fmla="*/ 40 w 48"/>
                  <a:gd name="T37" fmla="*/ 24 h 30"/>
                  <a:gd name="T38" fmla="*/ 40 w 48"/>
                  <a:gd name="T39" fmla="*/ 24 h 30"/>
                  <a:gd name="T40" fmla="*/ 29 w 48"/>
                  <a:gd name="T41" fmla="*/ 26 h 30"/>
                  <a:gd name="T42" fmla="*/ 29 w 48"/>
                  <a:gd name="T43" fmla="*/ 29 h 30"/>
                  <a:gd name="T44" fmla="*/ 29 w 48"/>
                  <a:gd name="T45" fmla="*/ 29 h 30"/>
                  <a:gd name="T46" fmla="*/ 40 w 48"/>
                  <a:gd name="T47" fmla="*/ 27 h 30"/>
                  <a:gd name="T48" fmla="*/ 40 w 48"/>
                  <a:gd name="T49" fmla="*/ 24 h 30"/>
                  <a:gd name="T50" fmla="*/ 45 w 48"/>
                  <a:gd name="T51" fmla="*/ 14 h 30"/>
                  <a:gd name="T52" fmla="*/ 45 w 48"/>
                  <a:gd name="T53" fmla="*/ 14 h 30"/>
                  <a:gd name="T54" fmla="*/ 45 w 48"/>
                  <a:gd name="T55" fmla="*/ 14 h 30"/>
                  <a:gd name="T56" fmla="*/ 45 w 48"/>
                  <a:gd name="T57" fmla="*/ 14 h 30"/>
                  <a:gd name="T58" fmla="*/ 45 w 48"/>
                  <a:gd name="T59" fmla="*/ 14 h 30"/>
                  <a:gd name="T60" fmla="*/ 45 w 48"/>
                  <a:gd name="T61" fmla="*/ 14 h 30"/>
                  <a:gd name="T62" fmla="*/ 45 w 48"/>
                  <a:gd name="T63" fmla="*/ 14 h 30"/>
                  <a:gd name="T64" fmla="*/ 45 w 48"/>
                  <a:gd name="T65" fmla="*/ 18 h 30"/>
                  <a:gd name="T66" fmla="*/ 42 w 48"/>
                  <a:gd name="T67" fmla="*/ 23 h 30"/>
                  <a:gd name="T68" fmla="*/ 45 w 48"/>
                  <a:gd name="T69" fmla="*/ 24 h 30"/>
                  <a:gd name="T70" fmla="*/ 45 w 48"/>
                  <a:gd name="T71" fmla="*/ 24 h 30"/>
                  <a:gd name="T72" fmla="*/ 47 w 48"/>
                  <a:gd name="T73" fmla="*/ 18 h 30"/>
                  <a:gd name="T74" fmla="*/ 48 w 48"/>
                  <a:gd name="T75" fmla="*/ 14 h 30"/>
                  <a:gd name="T76" fmla="*/ 48 w 48"/>
                  <a:gd name="T77" fmla="*/ 14 h 30"/>
                  <a:gd name="T78" fmla="*/ 45 w 48"/>
                  <a:gd name="T79" fmla="*/ 14 h 30"/>
                  <a:gd name="T80" fmla="*/ 40 w 48"/>
                  <a:gd name="T81" fmla="*/ 1 h 30"/>
                  <a:gd name="T82" fmla="*/ 40 w 48"/>
                  <a:gd name="T83" fmla="*/ 1 h 30"/>
                  <a:gd name="T84" fmla="*/ 44 w 48"/>
                  <a:gd name="T85" fmla="*/ 10 h 30"/>
                  <a:gd name="T86" fmla="*/ 47 w 48"/>
                  <a:gd name="T87" fmla="*/ 8 h 30"/>
                  <a:gd name="T88" fmla="*/ 47 w 48"/>
                  <a:gd name="T89" fmla="*/ 8 h 30"/>
                  <a:gd name="T90" fmla="*/ 41 w 48"/>
                  <a:gd name="T91" fmla="*/ 0 h 30"/>
                  <a:gd name="T92" fmla="*/ 40 w 48"/>
                  <a:gd name="T93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8" h="30">
                    <a:moveTo>
                      <a:pt x="9" y="26"/>
                    </a:moveTo>
                    <a:lnTo>
                      <a:pt x="9" y="26"/>
                    </a:lnTo>
                    <a:lnTo>
                      <a:pt x="5" y="24"/>
                    </a:lnTo>
                    <a:lnTo>
                      <a:pt x="2" y="21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3" y="26"/>
                    </a:lnTo>
                    <a:lnTo>
                      <a:pt x="9" y="29"/>
                    </a:lnTo>
                    <a:lnTo>
                      <a:pt x="9" y="26"/>
                    </a:lnTo>
                    <a:close/>
                    <a:moveTo>
                      <a:pt x="24" y="27"/>
                    </a:moveTo>
                    <a:lnTo>
                      <a:pt x="24" y="27"/>
                    </a:lnTo>
                    <a:lnTo>
                      <a:pt x="15" y="27"/>
                    </a:lnTo>
                    <a:lnTo>
                      <a:pt x="15" y="27"/>
                    </a:lnTo>
                    <a:lnTo>
                      <a:pt x="13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5" y="29"/>
                    </a:lnTo>
                    <a:lnTo>
                      <a:pt x="24" y="27"/>
                    </a:lnTo>
                    <a:close/>
                    <a:moveTo>
                      <a:pt x="40" y="24"/>
                    </a:moveTo>
                    <a:lnTo>
                      <a:pt x="40" y="24"/>
                    </a:lnTo>
                    <a:lnTo>
                      <a:pt x="29" y="26"/>
                    </a:lnTo>
                    <a:lnTo>
                      <a:pt x="29" y="29"/>
                    </a:lnTo>
                    <a:lnTo>
                      <a:pt x="29" y="29"/>
                    </a:lnTo>
                    <a:lnTo>
                      <a:pt x="40" y="27"/>
                    </a:lnTo>
                    <a:lnTo>
                      <a:pt x="40" y="24"/>
                    </a:lnTo>
                    <a:close/>
                    <a:moveTo>
                      <a:pt x="45" y="14"/>
                    </a:moveTo>
                    <a:lnTo>
                      <a:pt x="45" y="14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5" y="18"/>
                    </a:lnTo>
                    <a:lnTo>
                      <a:pt x="42" y="23"/>
                    </a:lnTo>
                    <a:lnTo>
                      <a:pt x="45" y="24"/>
                    </a:lnTo>
                    <a:lnTo>
                      <a:pt x="45" y="24"/>
                    </a:lnTo>
                    <a:lnTo>
                      <a:pt x="47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5" y="14"/>
                    </a:lnTo>
                    <a:close/>
                    <a:moveTo>
                      <a:pt x="40" y="1"/>
                    </a:moveTo>
                    <a:lnTo>
                      <a:pt x="40" y="1"/>
                    </a:lnTo>
                    <a:lnTo>
                      <a:pt x="44" y="10"/>
                    </a:lnTo>
                    <a:lnTo>
                      <a:pt x="47" y="8"/>
                    </a:lnTo>
                    <a:lnTo>
                      <a:pt x="47" y="8"/>
                    </a:lnTo>
                    <a:lnTo>
                      <a:pt x="41" y="0"/>
                    </a:lnTo>
                    <a:lnTo>
                      <a:pt x="40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5" name="Freeform 1725"/>
              <p:cNvSpPr>
                <a:spLocks noEditPoints="1"/>
              </p:cNvSpPr>
              <p:nvPr/>
            </p:nvSpPr>
            <p:spPr bwMode="auto">
              <a:xfrm>
                <a:off x="5681949" y="2826465"/>
                <a:ext cx="138496" cy="64302"/>
              </a:xfrm>
              <a:custGeom>
                <a:avLst/>
                <a:gdLst>
                  <a:gd name="T0" fmla="*/ 6 w 140"/>
                  <a:gd name="T1" fmla="*/ 4 h 65"/>
                  <a:gd name="T2" fmla="*/ 4 w 140"/>
                  <a:gd name="T3" fmla="*/ 0 h 65"/>
                  <a:gd name="T4" fmla="*/ 3 w 140"/>
                  <a:gd name="T5" fmla="*/ 4 h 65"/>
                  <a:gd name="T6" fmla="*/ 3 w 140"/>
                  <a:gd name="T7" fmla="*/ 19 h 65"/>
                  <a:gd name="T8" fmla="*/ 4 w 140"/>
                  <a:gd name="T9" fmla="*/ 10 h 65"/>
                  <a:gd name="T10" fmla="*/ 1 w 140"/>
                  <a:gd name="T11" fmla="*/ 8 h 65"/>
                  <a:gd name="T12" fmla="*/ 3 w 140"/>
                  <a:gd name="T13" fmla="*/ 19 h 65"/>
                  <a:gd name="T14" fmla="*/ 11 w 140"/>
                  <a:gd name="T15" fmla="*/ 27 h 65"/>
                  <a:gd name="T16" fmla="*/ 1 w 140"/>
                  <a:gd name="T17" fmla="*/ 24 h 65"/>
                  <a:gd name="T18" fmla="*/ 11 w 140"/>
                  <a:gd name="T19" fmla="*/ 30 h 65"/>
                  <a:gd name="T20" fmla="*/ 26 w 140"/>
                  <a:gd name="T21" fmla="*/ 35 h 65"/>
                  <a:gd name="T22" fmla="*/ 16 w 140"/>
                  <a:gd name="T23" fmla="*/ 30 h 65"/>
                  <a:gd name="T24" fmla="*/ 16 w 140"/>
                  <a:gd name="T25" fmla="*/ 32 h 65"/>
                  <a:gd name="T26" fmla="*/ 26 w 140"/>
                  <a:gd name="T27" fmla="*/ 35 h 65"/>
                  <a:gd name="T28" fmla="*/ 39 w 140"/>
                  <a:gd name="T29" fmla="*/ 40 h 65"/>
                  <a:gd name="T30" fmla="*/ 29 w 140"/>
                  <a:gd name="T31" fmla="*/ 39 h 65"/>
                  <a:gd name="T32" fmla="*/ 39 w 140"/>
                  <a:gd name="T33" fmla="*/ 43 h 65"/>
                  <a:gd name="T34" fmla="*/ 53 w 140"/>
                  <a:gd name="T35" fmla="*/ 45 h 65"/>
                  <a:gd name="T36" fmla="*/ 43 w 140"/>
                  <a:gd name="T37" fmla="*/ 42 h 65"/>
                  <a:gd name="T38" fmla="*/ 43 w 140"/>
                  <a:gd name="T39" fmla="*/ 45 h 65"/>
                  <a:gd name="T40" fmla="*/ 53 w 140"/>
                  <a:gd name="T41" fmla="*/ 45 h 65"/>
                  <a:gd name="T42" fmla="*/ 68 w 140"/>
                  <a:gd name="T43" fmla="*/ 46 h 65"/>
                  <a:gd name="T44" fmla="*/ 61 w 140"/>
                  <a:gd name="T45" fmla="*/ 46 h 65"/>
                  <a:gd name="T46" fmla="*/ 59 w 140"/>
                  <a:gd name="T47" fmla="*/ 46 h 65"/>
                  <a:gd name="T48" fmla="*/ 58 w 140"/>
                  <a:gd name="T49" fmla="*/ 49 h 65"/>
                  <a:gd name="T50" fmla="*/ 61 w 140"/>
                  <a:gd name="T51" fmla="*/ 49 h 65"/>
                  <a:gd name="T52" fmla="*/ 68 w 140"/>
                  <a:gd name="T53" fmla="*/ 49 h 65"/>
                  <a:gd name="T54" fmla="*/ 82 w 140"/>
                  <a:gd name="T55" fmla="*/ 53 h 65"/>
                  <a:gd name="T56" fmla="*/ 82 w 140"/>
                  <a:gd name="T57" fmla="*/ 53 h 65"/>
                  <a:gd name="T58" fmla="*/ 72 w 140"/>
                  <a:gd name="T59" fmla="*/ 50 h 65"/>
                  <a:gd name="T60" fmla="*/ 81 w 140"/>
                  <a:gd name="T61" fmla="*/ 56 h 65"/>
                  <a:gd name="T62" fmla="*/ 82 w 140"/>
                  <a:gd name="T63" fmla="*/ 53 h 65"/>
                  <a:gd name="T64" fmla="*/ 95 w 140"/>
                  <a:gd name="T65" fmla="*/ 59 h 65"/>
                  <a:gd name="T66" fmla="*/ 85 w 140"/>
                  <a:gd name="T67" fmla="*/ 59 h 65"/>
                  <a:gd name="T68" fmla="*/ 95 w 140"/>
                  <a:gd name="T69" fmla="*/ 62 h 65"/>
                  <a:gd name="T70" fmla="*/ 110 w 140"/>
                  <a:gd name="T71" fmla="*/ 61 h 65"/>
                  <a:gd name="T72" fmla="*/ 103 w 140"/>
                  <a:gd name="T73" fmla="*/ 61 h 65"/>
                  <a:gd name="T74" fmla="*/ 100 w 140"/>
                  <a:gd name="T75" fmla="*/ 61 h 65"/>
                  <a:gd name="T76" fmla="*/ 100 w 140"/>
                  <a:gd name="T77" fmla="*/ 64 h 65"/>
                  <a:gd name="T78" fmla="*/ 103 w 140"/>
                  <a:gd name="T79" fmla="*/ 64 h 65"/>
                  <a:gd name="T80" fmla="*/ 110 w 140"/>
                  <a:gd name="T81" fmla="*/ 61 h 65"/>
                  <a:gd name="T82" fmla="*/ 126 w 140"/>
                  <a:gd name="T83" fmla="*/ 62 h 65"/>
                  <a:gd name="T84" fmla="*/ 116 w 140"/>
                  <a:gd name="T85" fmla="*/ 64 h 65"/>
                  <a:gd name="T86" fmla="*/ 126 w 140"/>
                  <a:gd name="T87" fmla="*/ 65 h 65"/>
                  <a:gd name="T88" fmla="*/ 134 w 140"/>
                  <a:gd name="T89" fmla="*/ 55 h 65"/>
                  <a:gd name="T90" fmla="*/ 132 w 140"/>
                  <a:gd name="T91" fmla="*/ 61 h 65"/>
                  <a:gd name="T92" fmla="*/ 132 w 140"/>
                  <a:gd name="T93" fmla="*/ 62 h 65"/>
                  <a:gd name="T94" fmla="*/ 132 w 140"/>
                  <a:gd name="T95" fmla="*/ 62 h 65"/>
                  <a:gd name="T96" fmla="*/ 130 w 140"/>
                  <a:gd name="T97" fmla="*/ 62 h 65"/>
                  <a:gd name="T98" fmla="*/ 132 w 140"/>
                  <a:gd name="T99" fmla="*/ 62 h 65"/>
                  <a:gd name="T100" fmla="*/ 130 w 140"/>
                  <a:gd name="T101" fmla="*/ 65 h 65"/>
                  <a:gd name="T102" fmla="*/ 132 w 140"/>
                  <a:gd name="T103" fmla="*/ 65 h 65"/>
                  <a:gd name="T104" fmla="*/ 133 w 140"/>
                  <a:gd name="T105" fmla="*/ 64 h 65"/>
                  <a:gd name="T106" fmla="*/ 134 w 140"/>
                  <a:gd name="T107" fmla="*/ 55 h 65"/>
                  <a:gd name="T108" fmla="*/ 137 w 140"/>
                  <a:gd name="T109" fmla="*/ 40 h 65"/>
                  <a:gd name="T110" fmla="*/ 137 w 140"/>
                  <a:gd name="T111" fmla="*/ 50 h 65"/>
                  <a:gd name="T112" fmla="*/ 140 w 140"/>
                  <a:gd name="T113" fmla="*/ 4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0" h="65">
                    <a:moveTo>
                      <a:pt x="6" y="4"/>
                    </a:moveTo>
                    <a:lnTo>
                      <a:pt x="6" y="4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3" y="4"/>
                    </a:lnTo>
                    <a:lnTo>
                      <a:pt x="6" y="4"/>
                    </a:lnTo>
                    <a:close/>
                    <a:moveTo>
                      <a:pt x="3" y="19"/>
                    </a:moveTo>
                    <a:lnTo>
                      <a:pt x="3" y="19"/>
                    </a:lnTo>
                    <a:lnTo>
                      <a:pt x="4" y="10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0" y="19"/>
                    </a:lnTo>
                    <a:lnTo>
                      <a:pt x="3" y="19"/>
                    </a:lnTo>
                    <a:close/>
                    <a:moveTo>
                      <a:pt x="11" y="27"/>
                    </a:moveTo>
                    <a:lnTo>
                      <a:pt x="11" y="27"/>
                    </a:lnTo>
                    <a:lnTo>
                      <a:pt x="4" y="23"/>
                    </a:lnTo>
                    <a:lnTo>
                      <a:pt x="1" y="24"/>
                    </a:lnTo>
                    <a:lnTo>
                      <a:pt x="1" y="24"/>
                    </a:lnTo>
                    <a:lnTo>
                      <a:pt x="11" y="30"/>
                    </a:lnTo>
                    <a:lnTo>
                      <a:pt x="11" y="27"/>
                    </a:lnTo>
                    <a:close/>
                    <a:moveTo>
                      <a:pt x="26" y="35"/>
                    </a:moveTo>
                    <a:lnTo>
                      <a:pt x="26" y="35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4" y="37"/>
                    </a:lnTo>
                    <a:lnTo>
                      <a:pt x="26" y="35"/>
                    </a:lnTo>
                    <a:close/>
                    <a:moveTo>
                      <a:pt x="39" y="40"/>
                    </a:moveTo>
                    <a:lnTo>
                      <a:pt x="39" y="40"/>
                    </a:lnTo>
                    <a:lnTo>
                      <a:pt x="30" y="37"/>
                    </a:lnTo>
                    <a:lnTo>
                      <a:pt x="29" y="39"/>
                    </a:lnTo>
                    <a:lnTo>
                      <a:pt x="29" y="39"/>
                    </a:lnTo>
                    <a:lnTo>
                      <a:pt x="39" y="43"/>
                    </a:lnTo>
                    <a:lnTo>
                      <a:pt x="39" y="40"/>
                    </a:lnTo>
                    <a:close/>
                    <a:moveTo>
                      <a:pt x="53" y="45"/>
                    </a:moveTo>
                    <a:lnTo>
                      <a:pt x="53" y="45"/>
                    </a:lnTo>
                    <a:lnTo>
                      <a:pt x="43" y="42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53" y="48"/>
                    </a:lnTo>
                    <a:lnTo>
                      <a:pt x="53" y="45"/>
                    </a:lnTo>
                    <a:close/>
                    <a:moveTo>
                      <a:pt x="68" y="46"/>
                    </a:moveTo>
                    <a:lnTo>
                      <a:pt x="68" y="46"/>
                    </a:lnTo>
                    <a:lnTo>
                      <a:pt x="68" y="46"/>
                    </a:lnTo>
                    <a:lnTo>
                      <a:pt x="61" y="46"/>
                    </a:lnTo>
                    <a:lnTo>
                      <a:pt x="61" y="46"/>
                    </a:lnTo>
                    <a:lnTo>
                      <a:pt x="59" y="46"/>
                    </a:lnTo>
                    <a:lnTo>
                      <a:pt x="58" y="49"/>
                    </a:lnTo>
                    <a:lnTo>
                      <a:pt x="58" y="49"/>
                    </a:lnTo>
                    <a:lnTo>
                      <a:pt x="61" y="49"/>
                    </a:lnTo>
                    <a:lnTo>
                      <a:pt x="61" y="49"/>
                    </a:lnTo>
                    <a:lnTo>
                      <a:pt x="68" y="49"/>
                    </a:lnTo>
                    <a:lnTo>
                      <a:pt x="68" y="49"/>
                    </a:lnTo>
                    <a:lnTo>
                      <a:pt x="68" y="46"/>
                    </a:lnTo>
                    <a:close/>
                    <a:moveTo>
                      <a:pt x="82" y="53"/>
                    </a:moveTo>
                    <a:lnTo>
                      <a:pt x="82" y="53"/>
                    </a:lnTo>
                    <a:lnTo>
                      <a:pt x="82" y="53"/>
                    </a:lnTo>
                    <a:lnTo>
                      <a:pt x="74" y="48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81" y="56"/>
                    </a:lnTo>
                    <a:lnTo>
                      <a:pt x="81" y="56"/>
                    </a:lnTo>
                    <a:lnTo>
                      <a:pt x="82" y="53"/>
                    </a:lnTo>
                    <a:close/>
                    <a:moveTo>
                      <a:pt x="95" y="59"/>
                    </a:moveTo>
                    <a:lnTo>
                      <a:pt x="95" y="59"/>
                    </a:lnTo>
                    <a:lnTo>
                      <a:pt x="87" y="56"/>
                    </a:lnTo>
                    <a:lnTo>
                      <a:pt x="85" y="59"/>
                    </a:lnTo>
                    <a:lnTo>
                      <a:pt x="85" y="59"/>
                    </a:lnTo>
                    <a:lnTo>
                      <a:pt x="95" y="62"/>
                    </a:lnTo>
                    <a:lnTo>
                      <a:pt x="95" y="59"/>
                    </a:lnTo>
                    <a:close/>
                    <a:moveTo>
                      <a:pt x="110" y="61"/>
                    </a:moveTo>
                    <a:lnTo>
                      <a:pt x="110" y="61"/>
                    </a:lnTo>
                    <a:lnTo>
                      <a:pt x="103" y="61"/>
                    </a:lnTo>
                    <a:lnTo>
                      <a:pt x="103" y="61"/>
                    </a:lnTo>
                    <a:lnTo>
                      <a:pt x="100" y="61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3" y="64"/>
                    </a:lnTo>
                    <a:lnTo>
                      <a:pt x="103" y="64"/>
                    </a:lnTo>
                    <a:lnTo>
                      <a:pt x="110" y="64"/>
                    </a:lnTo>
                    <a:lnTo>
                      <a:pt x="110" y="61"/>
                    </a:lnTo>
                    <a:close/>
                    <a:moveTo>
                      <a:pt x="126" y="62"/>
                    </a:moveTo>
                    <a:lnTo>
                      <a:pt x="126" y="62"/>
                    </a:lnTo>
                    <a:lnTo>
                      <a:pt x="116" y="61"/>
                    </a:lnTo>
                    <a:lnTo>
                      <a:pt x="116" y="64"/>
                    </a:lnTo>
                    <a:lnTo>
                      <a:pt x="116" y="64"/>
                    </a:lnTo>
                    <a:lnTo>
                      <a:pt x="126" y="65"/>
                    </a:lnTo>
                    <a:lnTo>
                      <a:pt x="126" y="62"/>
                    </a:lnTo>
                    <a:close/>
                    <a:moveTo>
                      <a:pt x="134" y="55"/>
                    </a:moveTo>
                    <a:lnTo>
                      <a:pt x="134" y="55"/>
                    </a:lnTo>
                    <a:lnTo>
                      <a:pt x="132" y="61"/>
                    </a:lnTo>
                    <a:lnTo>
                      <a:pt x="132" y="61"/>
                    </a:lnTo>
                    <a:lnTo>
                      <a:pt x="132" y="62"/>
                    </a:lnTo>
                    <a:lnTo>
                      <a:pt x="130" y="62"/>
                    </a:lnTo>
                    <a:lnTo>
                      <a:pt x="132" y="62"/>
                    </a:lnTo>
                    <a:lnTo>
                      <a:pt x="132" y="62"/>
                    </a:lnTo>
                    <a:lnTo>
                      <a:pt x="130" y="62"/>
                    </a:lnTo>
                    <a:lnTo>
                      <a:pt x="132" y="62"/>
                    </a:lnTo>
                    <a:lnTo>
                      <a:pt x="132" y="62"/>
                    </a:lnTo>
                    <a:lnTo>
                      <a:pt x="130" y="62"/>
                    </a:lnTo>
                    <a:lnTo>
                      <a:pt x="130" y="65"/>
                    </a:lnTo>
                    <a:lnTo>
                      <a:pt x="132" y="65"/>
                    </a:lnTo>
                    <a:lnTo>
                      <a:pt x="132" y="65"/>
                    </a:lnTo>
                    <a:lnTo>
                      <a:pt x="133" y="64"/>
                    </a:lnTo>
                    <a:lnTo>
                      <a:pt x="133" y="64"/>
                    </a:lnTo>
                    <a:lnTo>
                      <a:pt x="136" y="55"/>
                    </a:lnTo>
                    <a:lnTo>
                      <a:pt x="134" y="55"/>
                    </a:lnTo>
                    <a:close/>
                    <a:moveTo>
                      <a:pt x="137" y="40"/>
                    </a:moveTo>
                    <a:lnTo>
                      <a:pt x="137" y="40"/>
                    </a:lnTo>
                    <a:lnTo>
                      <a:pt x="136" y="49"/>
                    </a:lnTo>
                    <a:lnTo>
                      <a:pt x="137" y="50"/>
                    </a:lnTo>
                    <a:lnTo>
                      <a:pt x="137" y="50"/>
                    </a:lnTo>
                    <a:lnTo>
                      <a:pt x="140" y="40"/>
                    </a:lnTo>
                    <a:lnTo>
                      <a:pt x="137" y="4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1" name="Freeform 1731"/>
              <p:cNvSpPr>
                <a:spLocks noEditPoints="1"/>
              </p:cNvSpPr>
              <p:nvPr/>
            </p:nvSpPr>
            <p:spPr bwMode="auto">
              <a:xfrm>
                <a:off x="6420926" y="2663237"/>
                <a:ext cx="34624" cy="22753"/>
              </a:xfrm>
              <a:custGeom>
                <a:avLst/>
                <a:gdLst>
                  <a:gd name="T0" fmla="*/ 7 w 35"/>
                  <a:gd name="T1" fmla="*/ 14 h 23"/>
                  <a:gd name="T2" fmla="*/ 7 w 35"/>
                  <a:gd name="T3" fmla="*/ 14 h 23"/>
                  <a:gd name="T4" fmla="*/ 0 w 35"/>
                  <a:gd name="T5" fmla="*/ 21 h 23"/>
                  <a:gd name="T6" fmla="*/ 2 w 35"/>
                  <a:gd name="T7" fmla="*/ 23 h 23"/>
                  <a:gd name="T8" fmla="*/ 2 w 35"/>
                  <a:gd name="T9" fmla="*/ 23 h 23"/>
                  <a:gd name="T10" fmla="*/ 9 w 35"/>
                  <a:gd name="T11" fmla="*/ 17 h 23"/>
                  <a:gd name="T12" fmla="*/ 7 w 35"/>
                  <a:gd name="T13" fmla="*/ 14 h 23"/>
                  <a:gd name="T14" fmla="*/ 22 w 35"/>
                  <a:gd name="T15" fmla="*/ 7 h 23"/>
                  <a:gd name="T16" fmla="*/ 22 w 35"/>
                  <a:gd name="T17" fmla="*/ 7 h 23"/>
                  <a:gd name="T18" fmla="*/ 17 w 35"/>
                  <a:gd name="T19" fmla="*/ 8 h 23"/>
                  <a:gd name="T20" fmla="*/ 12 w 35"/>
                  <a:gd name="T21" fmla="*/ 11 h 23"/>
                  <a:gd name="T22" fmla="*/ 13 w 35"/>
                  <a:gd name="T23" fmla="*/ 14 h 23"/>
                  <a:gd name="T24" fmla="*/ 13 w 35"/>
                  <a:gd name="T25" fmla="*/ 14 h 23"/>
                  <a:gd name="T26" fmla="*/ 22 w 35"/>
                  <a:gd name="T27" fmla="*/ 10 h 23"/>
                  <a:gd name="T28" fmla="*/ 22 w 35"/>
                  <a:gd name="T29" fmla="*/ 7 h 23"/>
                  <a:gd name="T30" fmla="*/ 33 w 35"/>
                  <a:gd name="T31" fmla="*/ 0 h 23"/>
                  <a:gd name="T32" fmla="*/ 33 w 35"/>
                  <a:gd name="T33" fmla="*/ 0 h 23"/>
                  <a:gd name="T34" fmla="*/ 26 w 35"/>
                  <a:gd name="T35" fmla="*/ 5 h 23"/>
                  <a:gd name="T36" fmla="*/ 28 w 35"/>
                  <a:gd name="T37" fmla="*/ 8 h 23"/>
                  <a:gd name="T38" fmla="*/ 28 w 35"/>
                  <a:gd name="T39" fmla="*/ 8 h 23"/>
                  <a:gd name="T40" fmla="*/ 35 w 35"/>
                  <a:gd name="T41" fmla="*/ 3 h 23"/>
                  <a:gd name="T42" fmla="*/ 33 w 35"/>
                  <a:gd name="T4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23">
                    <a:moveTo>
                      <a:pt x="7" y="14"/>
                    </a:moveTo>
                    <a:lnTo>
                      <a:pt x="7" y="14"/>
                    </a:lnTo>
                    <a:lnTo>
                      <a:pt x="0" y="21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9" y="17"/>
                    </a:lnTo>
                    <a:lnTo>
                      <a:pt x="7" y="14"/>
                    </a:lnTo>
                    <a:close/>
                    <a:moveTo>
                      <a:pt x="22" y="7"/>
                    </a:moveTo>
                    <a:lnTo>
                      <a:pt x="22" y="7"/>
                    </a:lnTo>
                    <a:lnTo>
                      <a:pt x="17" y="8"/>
                    </a:lnTo>
                    <a:lnTo>
                      <a:pt x="12" y="11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22" y="10"/>
                    </a:lnTo>
                    <a:lnTo>
                      <a:pt x="22" y="7"/>
                    </a:lnTo>
                    <a:close/>
                    <a:moveTo>
                      <a:pt x="33" y="0"/>
                    </a:moveTo>
                    <a:lnTo>
                      <a:pt x="33" y="0"/>
                    </a:lnTo>
                    <a:lnTo>
                      <a:pt x="26" y="5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5" y="3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2" name="Freeform 1732"/>
              <p:cNvSpPr>
                <a:spLocks/>
              </p:cNvSpPr>
              <p:nvPr/>
            </p:nvSpPr>
            <p:spPr bwMode="auto">
              <a:xfrm>
                <a:off x="6484238" y="2575193"/>
                <a:ext cx="3957" cy="9893"/>
              </a:xfrm>
              <a:custGeom>
                <a:avLst/>
                <a:gdLst>
                  <a:gd name="T0" fmla="*/ 4 w 4"/>
                  <a:gd name="T1" fmla="*/ 10 h 10"/>
                  <a:gd name="T2" fmla="*/ 3 w 4"/>
                  <a:gd name="T3" fmla="*/ 0 h 10"/>
                  <a:gd name="T4" fmla="*/ 0 w 4"/>
                  <a:gd name="T5" fmla="*/ 0 h 10"/>
                  <a:gd name="T6" fmla="*/ 3 w 4"/>
                  <a:gd name="T7" fmla="*/ 10 h 10"/>
                  <a:gd name="T8" fmla="*/ 4 w 4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0">
                    <a:moveTo>
                      <a:pt x="4" y="1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3" y="10"/>
                    </a:lnTo>
                    <a:lnTo>
                      <a:pt x="4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0" name="Freeform 1740"/>
              <p:cNvSpPr>
                <a:spLocks/>
              </p:cNvSpPr>
              <p:nvPr/>
            </p:nvSpPr>
            <p:spPr bwMode="auto">
              <a:xfrm>
                <a:off x="6395205" y="3468494"/>
                <a:ext cx="6925" cy="9893"/>
              </a:xfrm>
              <a:custGeom>
                <a:avLst/>
                <a:gdLst>
                  <a:gd name="T0" fmla="*/ 7 w 7"/>
                  <a:gd name="T1" fmla="*/ 8 h 10"/>
                  <a:gd name="T2" fmla="*/ 7 w 7"/>
                  <a:gd name="T3" fmla="*/ 8 h 10"/>
                  <a:gd name="T4" fmla="*/ 3 w 7"/>
                  <a:gd name="T5" fmla="*/ 0 h 10"/>
                  <a:gd name="T6" fmla="*/ 0 w 7"/>
                  <a:gd name="T7" fmla="*/ 1 h 10"/>
                  <a:gd name="T8" fmla="*/ 0 w 7"/>
                  <a:gd name="T9" fmla="*/ 1 h 10"/>
                  <a:gd name="T10" fmla="*/ 6 w 7"/>
                  <a:gd name="T11" fmla="*/ 10 h 10"/>
                  <a:gd name="T12" fmla="*/ 7 w 7"/>
                  <a:gd name="T13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0">
                    <a:moveTo>
                      <a:pt x="7" y="8"/>
                    </a:moveTo>
                    <a:lnTo>
                      <a:pt x="7" y="8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" y="10"/>
                    </a:lnTo>
                    <a:lnTo>
                      <a:pt x="7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2" name="Freeform 1764"/>
              <p:cNvSpPr>
                <a:spLocks/>
              </p:cNvSpPr>
              <p:nvPr/>
            </p:nvSpPr>
            <p:spPr bwMode="auto">
              <a:xfrm>
                <a:off x="5820445" y="2959026"/>
                <a:ext cx="4946" cy="10882"/>
              </a:xfrm>
              <a:custGeom>
                <a:avLst/>
                <a:gdLst>
                  <a:gd name="T0" fmla="*/ 0 w 5"/>
                  <a:gd name="T1" fmla="*/ 0 h 11"/>
                  <a:gd name="T2" fmla="*/ 2 w 5"/>
                  <a:gd name="T3" fmla="*/ 11 h 11"/>
                  <a:gd name="T4" fmla="*/ 5 w 5"/>
                  <a:gd name="T5" fmla="*/ 11 h 11"/>
                  <a:gd name="T6" fmla="*/ 2 w 5"/>
                  <a:gd name="T7" fmla="*/ 0 h 11"/>
                  <a:gd name="T8" fmla="*/ 0 w 5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1">
                    <a:moveTo>
                      <a:pt x="0" y="0"/>
                    </a:moveTo>
                    <a:lnTo>
                      <a:pt x="2" y="11"/>
                    </a:lnTo>
                    <a:lnTo>
                      <a:pt x="5" y="11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3" name="Freeform 1765"/>
              <p:cNvSpPr>
                <a:spLocks/>
              </p:cNvSpPr>
              <p:nvPr/>
            </p:nvSpPr>
            <p:spPr bwMode="auto">
              <a:xfrm>
                <a:off x="5817477" y="2945176"/>
                <a:ext cx="4946" cy="9893"/>
              </a:xfrm>
              <a:custGeom>
                <a:avLst/>
                <a:gdLst>
                  <a:gd name="T0" fmla="*/ 0 w 5"/>
                  <a:gd name="T1" fmla="*/ 0 h 10"/>
                  <a:gd name="T2" fmla="*/ 2 w 5"/>
                  <a:gd name="T3" fmla="*/ 10 h 10"/>
                  <a:gd name="T4" fmla="*/ 5 w 5"/>
                  <a:gd name="T5" fmla="*/ 10 h 10"/>
                  <a:gd name="T6" fmla="*/ 2 w 5"/>
                  <a:gd name="T7" fmla="*/ 0 h 10"/>
                  <a:gd name="T8" fmla="*/ 0 w 5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0">
                    <a:moveTo>
                      <a:pt x="0" y="0"/>
                    </a:moveTo>
                    <a:lnTo>
                      <a:pt x="2" y="10"/>
                    </a:lnTo>
                    <a:lnTo>
                      <a:pt x="5" y="1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4" name="Freeform 1766"/>
              <p:cNvSpPr>
                <a:spLocks/>
              </p:cNvSpPr>
              <p:nvPr/>
            </p:nvSpPr>
            <p:spPr bwMode="auto">
              <a:xfrm>
                <a:off x="5814510" y="2929348"/>
                <a:ext cx="4946" cy="9893"/>
              </a:xfrm>
              <a:custGeom>
                <a:avLst/>
                <a:gdLst>
                  <a:gd name="T0" fmla="*/ 2 w 5"/>
                  <a:gd name="T1" fmla="*/ 0 h 10"/>
                  <a:gd name="T2" fmla="*/ 0 w 5"/>
                  <a:gd name="T3" fmla="*/ 4 h 10"/>
                  <a:gd name="T4" fmla="*/ 0 w 5"/>
                  <a:gd name="T5" fmla="*/ 4 h 10"/>
                  <a:gd name="T6" fmla="*/ 2 w 5"/>
                  <a:gd name="T7" fmla="*/ 10 h 10"/>
                  <a:gd name="T8" fmla="*/ 5 w 5"/>
                  <a:gd name="T9" fmla="*/ 10 h 10"/>
                  <a:gd name="T10" fmla="*/ 3 w 5"/>
                  <a:gd name="T11" fmla="*/ 4 h 10"/>
                  <a:gd name="T12" fmla="*/ 3 w 5"/>
                  <a:gd name="T13" fmla="*/ 0 h 10"/>
                  <a:gd name="T14" fmla="*/ 2 w 5"/>
                  <a:gd name="T1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10">
                    <a:moveTo>
                      <a:pt x="2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5" y="10"/>
                    </a:lnTo>
                    <a:lnTo>
                      <a:pt x="3" y="4"/>
                    </a:lnTo>
                    <a:lnTo>
                      <a:pt x="3" y="0"/>
                    </a:lnTo>
                    <a:lnTo>
                      <a:pt x="2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5" name="Freeform 1767"/>
              <p:cNvSpPr>
                <a:spLocks/>
              </p:cNvSpPr>
              <p:nvPr/>
            </p:nvSpPr>
            <p:spPr bwMode="auto">
              <a:xfrm>
                <a:off x="5810553" y="2916488"/>
                <a:ext cx="8903" cy="8903"/>
              </a:xfrm>
              <a:custGeom>
                <a:avLst/>
                <a:gdLst>
                  <a:gd name="T0" fmla="*/ 0 w 9"/>
                  <a:gd name="T1" fmla="*/ 1 h 9"/>
                  <a:gd name="T2" fmla="*/ 6 w 9"/>
                  <a:gd name="T3" fmla="*/ 7 h 9"/>
                  <a:gd name="T4" fmla="*/ 6 w 9"/>
                  <a:gd name="T5" fmla="*/ 7 h 9"/>
                  <a:gd name="T6" fmla="*/ 6 w 9"/>
                  <a:gd name="T7" fmla="*/ 9 h 9"/>
                  <a:gd name="T8" fmla="*/ 9 w 9"/>
                  <a:gd name="T9" fmla="*/ 9 h 9"/>
                  <a:gd name="T10" fmla="*/ 9 w 9"/>
                  <a:gd name="T11" fmla="*/ 7 h 9"/>
                  <a:gd name="T12" fmla="*/ 9 w 9"/>
                  <a:gd name="T13" fmla="*/ 6 h 9"/>
                  <a:gd name="T14" fmla="*/ 7 w 9"/>
                  <a:gd name="T15" fmla="*/ 6 h 9"/>
                  <a:gd name="T16" fmla="*/ 7 w 9"/>
                  <a:gd name="T17" fmla="*/ 4 h 9"/>
                  <a:gd name="T18" fmla="*/ 2 w 9"/>
                  <a:gd name="T19" fmla="*/ 0 h 9"/>
                  <a:gd name="T20" fmla="*/ 0 w 9"/>
                  <a:gd name="T21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9">
                    <a:moveTo>
                      <a:pt x="0" y="1"/>
                    </a:moveTo>
                    <a:lnTo>
                      <a:pt x="6" y="7"/>
                    </a:lnTo>
                    <a:lnTo>
                      <a:pt x="6" y="7"/>
                    </a:lnTo>
                    <a:lnTo>
                      <a:pt x="6" y="9"/>
                    </a:lnTo>
                    <a:lnTo>
                      <a:pt x="9" y="9"/>
                    </a:lnTo>
                    <a:lnTo>
                      <a:pt x="9" y="7"/>
                    </a:lnTo>
                    <a:lnTo>
                      <a:pt x="9" y="6"/>
                    </a:lnTo>
                    <a:lnTo>
                      <a:pt x="7" y="6"/>
                    </a:lnTo>
                    <a:lnTo>
                      <a:pt x="7" y="4"/>
                    </a:lnTo>
                    <a:lnTo>
                      <a:pt x="2" y="0"/>
                    </a:lnTo>
                    <a:lnTo>
                      <a:pt x="0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6" name="Freeform 1768"/>
              <p:cNvSpPr>
                <a:spLocks/>
              </p:cNvSpPr>
              <p:nvPr/>
            </p:nvSpPr>
            <p:spPr bwMode="auto">
              <a:xfrm>
                <a:off x="5807585" y="2906595"/>
                <a:ext cx="6925" cy="8903"/>
              </a:xfrm>
              <a:custGeom>
                <a:avLst/>
                <a:gdLst>
                  <a:gd name="T0" fmla="*/ 7 w 7"/>
                  <a:gd name="T1" fmla="*/ 0 h 9"/>
                  <a:gd name="T2" fmla="*/ 6 w 7"/>
                  <a:gd name="T3" fmla="*/ 0 h 9"/>
                  <a:gd name="T4" fmla="*/ 5 w 7"/>
                  <a:gd name="T5" fmla="*/ 0 h 9"/>
                  <a:gd name="T6" fmla="*/ 0 w 7"/>
                  <a:gd name="T7" fmla="*/ 7 h 9"/>
                  <a:gd name="T8" fmla="*/ 2 w 7"/>
                  <a:gd name="T9" fmla="*/ 9 h 9"/>
                  <a:gd name="T10" fmla="*/ 6 w 7"/>
                  <a:gd name="T11" fmla="*/ 3 h 9"/>
                  <a:gd name="T12" fmla="*/ 7 w 7"/>
                  <a:gd name="T13" fmla="*/ 3 h 9"/>
                  <a:gd name="T14" fmla="*/ 7 w 7"/>
                  <a:gd name="T1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9">
                    <a:moveTo>
                      <a:pt x="7" y="0"/>
                    </a:moveTo>
                    <a:lnTo>
                      <a:pt x="6" y="0"/>
                    </a:lnTo>
                    <a:lnTo>
                      <a:pt x="5" y="0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6" y="3"/>
                    </a:lnTo>
                    <a:lnTo>
                      <a:pt x="7" y="3"/>
                    </a:lnTo>
                    <a:lnTo>
                      <a:pt x="7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7" name="Freeform 1769"/>
              <p:cNvSpPr>
                <a:spLocks/>
              </p:cNvSpPr>
              <p:nvPr/>
            </p:nvSpPr>
            <p:spPr bwMode="auto">
              <a:xfrm>
                <a:off x="5814510" y="2899670"/>
                <a:ext cx="5936" cy="7914"/>
              </a:xfrm>
              <a:custGeom>
                <a:avLst/>
                <a:gdLst>
                  <a:gd name="T0" fmla="*/ 0 w 6"/>
                  <a:gd name="T1" fmla="*/ 1 h 8"/>
                  <a:gd name="T2" fmla="*/ 3 w 6"/>
                  <a:gd name="T3" fmla="*/ 3 h 8"/>
                  <a:gd name="T4" fmla="*/ 3 w 6"/>
                  <a:gd name="T5" fmla="*/ 3 h 8"/>
                  <a:gd name="T6" fmla="*/ 5 w 6"/>
                  <a:gd name="T7" fmla="*/ 7 h 8"/>
                  <a:gd name="T8" fmla="*/ 5 w 6"/>
                  <a:gd name="T9" fmla="*/ 7 h 8"/>
                  <a:gd name="T10" fmla="*/ 5 w 6"/>
                  <a:gd name="T11" fmla="*/ 7 h 8"/>
                  <a:gd name="T12" fmla="*/ 5 w 6"/>
                  <a:gd name="T13" fmla="*/ 7 h 8"/>
                  <a:gd name="T14" fmla="*/ 6 w 6"/>
                  <a:gd name="T15" fmla="*/ 8 h 8"/>
                  <a:gd name="T16" fmla="*/ 6 w 6"/>
                  <a:gd name="T17" fmla="*/ 7 h 8"/>
                  <a:gd name="T18" fmla="*/ 6 w 6"/>
                  <a:gd name="T19" fmla="*/ 7 h 8"/>
                  <a:gd name="T20" fmla="*/ 6 w 6"/>
                  <a:gd name="T21" fmla="*/ 1 h 8"/>
                  <a:gd name="T22" fmla="*/ 5 w 6"/>
                  <a:gd name="T23" fmla="*/ 0 h 8"/>
                  <a:gd name="T24" fmla="*/ 5 w 6"/>
                  <a:gd name="T25" fmla="*/ 0 h 8"/>
                  <a:gd name="T26" fmla="*/ 0 w 6"/>
                  <a:gd name="T27" fmla="*/ 0 h 8"/>
                  <a:gd name="T28" fmla="*/ 0 w 6"/>
                  <a:gd name="T29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" h="8">
                    <a:moveTo>
                      <a:pt x="0" y="1"/>
                    </a:moveTo>
                    <a:lnTo>
                      <a:pt x="3" y="3"/>
                    </a:lnTo>
                    <a:lnTo>
                      <a:pt x="3" y="3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6" y="8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8" name="Freeform 1770"/>
              <p:cNvSpPr>
                <a:spLocks/>
              </p:cNvSpPr>
              <p:nvPr/>
            </p:nvSpPr>
            <p:spPr bwMode="auto">
              <a:xfrm>
                <a:off x="5809563" y="2887799"/>
                <a:ext cx="6925" cy="9893"/>
              </a:xfrm>
              <a:custGeom>
                <a:avLst/>
                <a:gdLst>
                  <a:gd name="T0" fmla="*/ 4 w 7"/>
                  <a:gd name="T1" fmla="*/ 0 h 10"/>
                  <a:gd name="T2" fmla="*/ 0 w 7"/>
                  <a:gd name="T3" fmla="*/ 7 h 10"/>
                  <a:gd name="T4" fmla="*/ 1 w 7"/>
                  <a:gd name="T5" fmla="*/ 10 h 10"/>
                  <a:gd name="T6" fmla="*/ 4 w 7"/>
                  <a:gd name="T7" fmla="*/ 10 h 10"/>
                  <a:gd name="T8" fmla="*/ 3 w 7"/>
                  <a:gd name="T9" fmla="*/ 9 h 10"/>
                  <a:gd name="T10" fmla="*/ 7 w 7"/>
                  <a:gd name="T11" fmla="*/ 2 h 10"/>
                  <a:gd name="T12" fmla="*/ 4 w 7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0">
                    <a:moveTo>
                      <a:pt x="4" y="0"/>
                    </a:moveTo>
                    <a:lnTo>
                      <a:pt x="0" y="7"/>
                    </a:lnTo>
                    <a:lnTo>
                      <a:pt x="1" y="10"/>
                    </a:lnTo>
                    <a:lnTo>
                      <a:pt x="4" y="10"/>
                    </a:lnTo>
                    <a:lnTo>
                      <a:pt x="3" y="9"/>
                    </a:lnTo>
                    <a:lnTo>
                      <a:pt x="7" y="2"/>
                    </a:lnTo>
                    <a:lnTo>
                      <a:pt x="4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9" name="Freeform 1771"/>
              <p:cNvSpPr>
                <a:spLocks/>
              </p:cNvSpPr>
              <p:nvPr/>
            </p:nvSpPr>
            <p:spPr bwMode="auto">
              <a:xfrm>
                <a:off x="5816488" y="2887799"/>
                <a:ext cx="6925" cy="5936"/>
              </a:xfrm>
              <a:custGeom>
                <a:avLst/>
                <a:gdLst>
                  <a:gd name="T0" fmla="*/ 6 w 7"/>
                  <a:gd name="T1" fmla="*/ 0 h 6"/>
                  <a:gd name="T2" fmla="*/ 4 w 7"/>
                  <a:gd name="T3" fmla="*/ 3 h 6"/>
                  <a:gd name="T4" fmla="*/ 3 w 7"/>
                  <a:gd name="T5" fmla="*/ 4 h 6"/>
                  <a:gd name="T6" fmla="*/ 4 w 7"/>
                  <a:gd name="T7" fmla="*/ 4 h 6"/>
                  <a:gd name="T8" fmla="*/ 4 w 7"/>
                  <a:gd name="T9" fmla="*/ 3 h 6"/>
                  <a:gd name="T10" fmla="*/ 4 w 7"/>
                  <a:gd name="T11" fmla="*/ 3 h 6"/>
                  <a:gd name="T12" fmla="*/ 4 w 7"/>
                  <a:gd name="T13" fmla="*/ 4 h 6"/>
                  <a:gd name="T14" fmla="*/ 4 w 7"/>
                  <a:gd name="T15" fmla="*/ 4 h 6"/>
                  <a:gd name="T16" fmla="*/ 4 w 7"/>
                  <a:gd name="T17" fmla="*/ 3 h 6"/>
                  <a:gd name="T18" fmla="*/ 1 w 7"/>
                  <a:gd name="T19" fmla="*/ 0 h 6"/>
                  <a:gd name="T20" fmla="*/ 0 w 7"/>
                  <a:gd name="T21" fmla="*/ 2 h 6"/>
                  <a:gd name="T22" fmla="*/ 3 w 7"/>
                  <a:gd name="T23" fmla="*/ 6 h 6"/>
                  <a:gd name="T24" fmla="*/ 3 w 7"/>
                  <a:gd name="T25" fmla="*/ 6 h 6"/>
                  <a:gd name="T26" fmla="*/ 4 w 7"/>
                  <a:gd name="T27" fmla="*/ 6 h 6"/>
                  <a:gd name="T28" fmla="*/ 4 w 7"/>
                  <a:gd name="T29" fmla="*/ 6 h 6"/>
                  <a:gd name="T30" fmla="*/ 4 w 7"/>
                  <a:gd name="T31" fmla="*/ 6 h 6"/>
                  <a:gd name="T32" fmla="*/ 4 w 7"/>
                  <a:gd name="T33" fmla="*/ 6 h 6"/>
                  <a:gd name="T34" fmla="*/ 6 w 7"/>
                  <a:gd name="T35" fmla="*/ 6 h 6"/>
                  <a:gd name="T36" fmla="*/ 6 w 7"/>
                  <a:gd name="T37" fmla="*/ 6 h 6"/>
                  <a:gd name="T38" fmla="*/ 7 w 7"/>
                  <a:gd name="T39" fmla="*/ 2 h 6"/>
                  <a:gd name="T40" fmla="*/ 6 w 7"/>
                  <a:gd name="T4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" h="6">
                    <a:moveTo>
                      <a:pt x="6" y="0"/>
                    </a:moveTo>
                    <a:lnTo>
                      <a:pt x="4" y="3"/>
                    </a:lnTo>
                    <a:lnTo>
                      <a:pt x="3" y="4"/>
                    </a:lnTo>
                    <a:lnTo>
                      <a:pt x="4" y="4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3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7" y="2"/>
                    </a:lnTo>
                    <a:lnTo>
                      <a:pt x="6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0" name="Freeform 1772"/>
              <p:cNvSpPr>
                <a:spLocks/>
              </p:cNvSpPr>
              <p:nvPr/>
            </p:nvSpPr>
            <p:spPr bwMode="auto">
              <a:xfrm>
                <a:off x="5823413" y="2887799"/>
                <a:ext cx="9893" cy="6925"/>
              </a:xfrm>
              <a:custGeom>
                <a:avLst/>
                <a:gdLst>
                  <a:gd name="T0" fmla="*/ 10 w 10"/>
                  <a:gd name="T1" fmla="*/ 4 h 7"/>
                  <a:gd name="T2" fmla="*/ 10 w 10"/>
                  <a:gd name="T3" fmla="*/ 4 h 7"/>
                  <a:gd name="T4" fmla="*/ 9 w 10"/>
                  <a:gd name="T5" fmla="*/ 0 h 7"/>
                  <a:gd name="T6" fmla="*/ 7 w 10"/>
                  <a:gd name="T7" fmla="*/ 4 h 7"/>
                  <a:gd name="T8" fmla="*/ 7 w 10"/>
                  <a:gd name="T9" fmla="*/ 6 h 7"/>
                  <a:gd name="T10" fmla="*/ 4 w 10"/>
                  <a:gd name="T11" fmla="*/ 6 h 7"/>
                  <a:gd name="T12" fmla="*/ 4 w 10"/>
                  <a:gd name="T13" fmla="*/ 4 h 7"/>
                  <a:gd name="T14" fmla="*/ 3 w 10"/>
                  <a:gd name="T15" fmla="*/ 3 h 7"/>
                  <a:gd name="T16" fmla="*/ 0 w 10"/>
                  <a:gd name="T17" fmla="*/ 4 h 7"/>
                  <a:gd name="T18" fmla="*/ 2 w 10"/>
                  <a:gd name="T19" fmla="*/ 6 h 7"/>
                  <a:gd name="T20" fmla="*/ 2 w 10"/>
                  <a:gd name="T21" fmla="*/ 7 h 7"/>
                  <a:gd name="T22" fmla="*/ 3 w 10"/>
                  <a:gd name="T23" fmla="*/ 7 h 7"/>
                  <a:gd name="T24" fmla="*/ 3 w 10"/>
                  <a:gd name="T25" fmla="*/ 7 h 7"/>
                  <a:gd name="T26" fmla="*/ 7 w 10"/>
                  <a:gd name="T27" fmla="*/ 7 h 7"/>
                  <a:gd name="T28" fmla="*/ 7 w 10"/>
                  <a:gd name="T29" fmla="*/ 7 h 7"/>
                  <a:gd name="T30" fmla="*/ 9 w 10"/>
                  <a:gd name="T31" fmla="*/ 7 h 7"/>
                  <a:gd name="T32" fmla="*/ 9 w 10"/>
                  <a:gd name="T33" fmla="*/ 7 h 7"/>
                  <a:gd name="T34" fmla="*/ 10 w 10"/>
                  <a:gd name="T35" fmla="*/ 4 h 7"/>
                  <a:gd name="T36" fmla="*/ 9 w 10"/>
                  <a:gd name="T37" fmla="*/ 4 h 7"/>
                  <a:gd name="T38" fmla="*/ 7 w 10"/>
                  <a:gd name="T39" fmla="*/ 4 h 7"/>
                  <a:gd name="T40" fmla="*/ 7 w 10"/>
                  <a:gd name="T41" fmla="*/ 4 h 7"/>
                  <a:gd name="T42" fmla="*/ 10 w 10"/>
                  <a:gd name="T43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" h="7">
                    <a:moveTo>
                      <a:pt x="10" y="4"/>
                    </a:moveTo>
                    <a:lnTo>
                      <a:pt x="10" y="4"/>
                    </a:lnTo>
                    <a:lnTo>
                      <a:pt x="9" y="0"/>
                    </a:lnTo>
                    <a:lnTo>
                      <a:pt x="7" y="4"/>
                    </a:lnTo>
                    <a:lnTo>
                      <a:pt x="7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3" y="3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0" y="4"/>
                    </a:lnTo>
                    <a:lnTo>
                      <a:pt x="9" y="4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10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1" name="Freeform 1773"/>
              <p:cNvSpPr>
                <a:spLocks/>
              </p:cNvSpPr>
              <p:nvPr/>
            </p:nvSpPr>
            <p:spPr bwMode="auto">
              <a:xfrm>
                <a:off x="5832316" y="2896702"/>
                <a:ext cx="6925" cy="9893"/>
              </a:xfrm>
              <a:custGeom>
                <a:avLst/>
                <a:gdLst>
                  <a:gd name="T0" fmla="*/ 7 w 7"/>
                  <a:gd name="T1" fmla="*/ 7 h 10"/>
                  <a:gd name="T2" fmla="*/ 4 w 7"/>
                  <a:gd name="T3" fmla="*/ 4 h 10"/>
                  <a:gd name="T4" fmla="*/ 3 w 7"/>
                  <a:gd name="T5" fmla="*/ 0 h 10"/>
                  <a:gd name="T6" fmla="*/ 0 w 7"/>
                  <a:gd name="T7" fmla="*/ 1 h 10"/>
                  <a:gd name="T8" fmla="*/ 1 w 7"/>
                  <a:gd name="T9" fmla="*/ 6 h 10"/>
                  <a:gd name="T10" fmla="*/ 1 w 7"/>
                  <a:gd name="T11" fmla="*/ 6 h 10"/>
                  <a:gd name="T12" fmla="*/ 6 w 7"/>
                  <a:gd name="T13" fmla="*/ 10 h 10"/>
                  <a:gd name="T14" fmla="*/ 7 w 7"/>
                  <a:gd name="T1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0">
                    <a:moveTo>
                      <a:pt x="7" y="7"/>
                    </a:moveTo>
                    <a:lnTo>
                      <a:pt x="4" y="4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6" y="10"/>
                    </a:lnTo>
                    <a:lnTo>
                      <a:pt x="7" y="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2" name="Freeform 1774"/>
              <p:cNvSpPr>
                <a:spLocks/>
              </p:cNvSpPr>
              <p:nvPr/>
            </p:nvSpPr>
            <p:spPr bwMode="auto">
              <a:xfrm>
                <a:off x="5843198" y="2904617"/>
                <a:ext cx="10882" cy="4946"/>
              </a:xfrm>
              <a:custGeom>
                <a:avLst/>
                <a:gdLst>
                  <a:gd name="T0" fmla="*/ 11 w 11"/>
                  <a:gd name="T1" fmla="*/ 2 h 5"/>
                  <a:gd name="T2" fmla="*/ 0 w 11"/>
                  <a:gd name="T3" fmla="*/ 0 h 5"/>
                  <a:gd name="T4" fmla="*/ 0 w 11"/>
                  <a:gd name="T5" fmla="*/ 3 h 5"/>
                  <a:gd name="T6" fmla="*/ 11 w 11"/>
                  <a:gd name="T7" fmla="*/ 5 h 5"/>
                  <a:gd name="T8" fmla="*/ 11 w 11"/>
                  <a:gd name="T9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5">
                    <a:moveTo>
                      <a:pt x="11" y="2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11" y="5"/>
                    </a:lnTo>
                    <a:lnTo>
                      <a:pt x="11" y="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3" name="Freeform 1775"/>
              <p:cNvSpPr>
                <a:spLocks/>
              </p:cNvSpPr>
              <p:nvPr/>
            </p:nvSpPr>
            <p:spPr bwMode="auto">
              <a:xfrm>
                <a:off x="5858037" y="2906595"/>
                <a:ext cx="10882" cy="3957"/>
              </a:xfrm>
              <a:custGeom>
                <a:avLst/>
                <a:gdLst>
                  <a:gd name="T0" fmla="*/ 11 w 11"/>
                  <a:gd name="T1" fmla="*/ 1 h 4"/>
                  <a:gd name="T2" fmla="*/ 1 w 11"/>
                  <a:gd name="T3" fmla="*/ 0 h 4"/>
                  <a:gd name="T4" fmla="*/ 0 w 11"/>
                  <a:gd name="T5" fmla="*/ 3 h 4"/>
                  <a:gd name="T6" fmla="*/ 10 w 11"/>
                  <a:gd name="T7" fmla="*/ 4 h 4"/>
                  <a:gd name="T8" fmla="*/ 11 w 11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">
                    <a:moveTo>
                      <a:pt x="11" y="1"/>
                    </a:moveTo>
                    <a:lnTo>
                      <a:pt x="1" y="0"/>
                    </a:lnTo>
                    <a:lnTo>
                      <a:pt x="0" y="3"/>
                    </a:lnTo>
                    <a:lnTo>
                      <a:pt x="10" y="4"/>
                    </a:lnTo>
                    <a:lnTo>
                      <a:pt x="11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4" name="Freeform 1776"/>
              <p:cNvSpPr>
                <a:spLocks/>
              </p:cNvSpPr>
              <p:nvPr/>
            </p:nvSpPr>
            <p:spPr bwMode="auto">
              <a:xfrm>
                <a:off x="5866940" y="2909563"/>
                <a:ext cx="9893" cy="7914"/>
              </a:xfrm>
              <a:custGeom>
                <a:avLst/>
                <a:gdLst>
                  <a:gd name="T0" fmla="*/ 1 w 10"/>
                  <a:gd name="T1" fmla="*/ 8 h 8"/>
                  <a:gd name="T2" fmla="*/ 10 w 10"/>
                  <a:gd name="T3" fmla="*/ 0 h 8"/>
                  <a:gd name="T4" fmla="*/ 7 w 10"/>
                  <a:gd name="T5" fmla="*/ 0 h 8"/>
                  <a:gd name="T6" fmla="*/ 7 w 10"/>
                  <a:gd name="T7" fmla="*/ 1 h 8"/>
                  <a:gd name="T8" fmla="*/ 7 w 10"/>
                  <a:gd name="T9" fmla="*/ 1 h 8"/>
                  <a:gd name="T10" fmla="*/ 7 w 10"/>
                  <a:gd name="T11" fmla="*/ 0 h 8"/>
                  <a:gd name="T12" fmla="*/ 7 w 10"/>
                  <a:gd name="T13" fmla="*/ 0 h 8"/>
                  <a:gd name="T14" fmla="*/ 0 w 10"/>
                  <a:gd name="T15" fmla="*/ 7 h 8"/>
                  <a:gd name="T16" fmla="*/ 1 w 10"/>
                  <a:gd name="T1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8">
                    <a:moveTo>
                      <a:pt x="1" y="8"/>
                    </a:moveTo>
                    <a:lnTo>
                      <a:pt x="10" y="0"/>
                    </a:lnTo>
                    <a:lnTo>
                      <a:pt x="7" y="0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0" y="7"/>
                    </a:lnTo>
                    <a:lnTo>
                      <a:pt x="1" y="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5" name="Freeform 1777"/>
              <p:cNvSpPr>
                <a:spLocks/>
              </p:cNvSpPr>
              <p:nvPr/>
            </p:nvSpPr>
            <p:spPr bwMode="auto">
              <a:xfrm>
                <a:off x="5856058" y="2919455"/>
                <a:ext cx="8903" cy="9893"/>
              </a:xfrm>
              <a:custGeom>
                <a:avLst/>
                <a:gdLst>
                  <a:gd name="T0" fmla="*/ 2 w 9"/>
                  <a:gd name="T1" fmla="*/ 10 h 10"/>
                  <a:gd name="T2" fmla="*/ 9 w 9"/>
                  <a:gd name="T3" fmla="*/ 1 h 10"/>
                  <a:gd name="T4" fmla="*/ 6 w 9"/>
                  <a:gd name="T5" fmla="*/ 0 h 10"/>
                  <a:gd name="T6" fmla="*/ 0 w 9"/>
                  <a:gd name="T7" fmla="*/ 7 h 10"/>
                  <a:gd name="T8" fmla="*/ 2 w 9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2" y="10"/>
                    </a:moveTo>
                    <a:lnTo>
                      <a:pt x="9" y="1"/>
                    </a:lnTo>
                    <a:lnTo>
                      <a:pt x="6" y="0"/>
                    </a:lnTo>
                    <a:lnTo>
                      <a:pt x="0" y="7"/>
                    </a:lnTo>
                    <a:lnTo>
                      <a:pt x="2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6" name="Freeform 1778"/>
              <p:cNvSpPr>
                <a:spLocks/>
              </p:cNvSpPr>
              <p:nvPr/>
            </p:nvSpPr>
            <p:spPr bwMode="auto">
              <a:xfrm>
                <a:off x="5855069" y="2932316"/>
                <a:ext cx="5936" cy="9893"/>
              </a:xfrm>
              <a:custGeom>
                <a:avLst/>
                <a:gdLst>
                  <a:gd name="T0" fmla="*/ 6 w 6"/>
                  <a:gd name="T1" fmla="*/ 9 h 10"/>
                  <a:gd name="T2" fmla="*/ 6 w 6"/>
                  <a:gd name="T3" fmla="*/ 7 h 10"/>
                  <a:gd name="T4" fmla="*/ 3 w 6"/>
                  <a:gd name="T5" fmla="*/ 0 h 10"/>
                  <a:gd name="T6" fmla="*/ 0 w 6"/>
                  <a:gd name="T7" fmla="*/ 0 h 10"/>
                  <a:gd name="T8" fmla="*/ 3 w 6"/>
                  <a:gd name="T9" fmla="*/ 9 h 10"/>
                  <a:gd name="T10" fmla="*/ 4 w 6"/>
                  <a:gd name="T11" fmla="*/ 10 h 10"/>
                  <a:gd name="T12" fmla="*/ 6 w 6"/>
                  <a:gd name="T13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0">
                    <a:moveTo>
                      <a:pt x="6" y="9"/>
                    </a:moveTo>
                    <a:lnTo>
                      <a:pt x="6" y="7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9"/>
                    </a:lnTo>
                    <a:lnTo>
                      <a:pt x="4" y="10"/>
                    </a:lnTo>
                    <a:lnTo>
                      <a:pt x="6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7" name="Freeform 1779"/>
              <p:cNvSpPr>
                <a:spLocks/>
              </p:cNvSpPr>
              <p:nvPr/>
            </p:nvSpPr>
            <p:spPr bwMode="auto">
              <a:xfrm>
                <a:off x="5863973" y="2938251"/>
                <a:ext cx="7914" cy="7914"/>
              </a:xfrm>
              <a:custGeom>
                <a:avLst/>
                <a:gdLst>
                  <a:gd name="T0" fmla="*/ 5 w 8"/>
                  <a:gd name="T1" fmla="*/ 0 h 8"/>
                  <a:gd name="T2" fmla="*/ 3 w 8"/>
                  <a:gd name="T3" fmla="*/ 6 h 8"/>
                  <a:gd name="T4" fmla="*/ 1 w 8"/>
                  <a:gd name="T5" fmla="*/ 6 h 8"/>
                  <a:gd name="T6" fmla="*/ 3 w 8"/>
                  <a:gd name="T7" fmla="*/ 7 h 8"/>
                  <a:gd name="T8" fmla="*/ 3 w 8"/>
                  <a:gd name="T9" fmla="*/ 6 h 8"/>
                  <a:gd name="T10" fmla="*/ 3 w 8"/>
                  <a:gd name="T11" fmla="*/ 6 h 8"/>
                  <a:gd name="T12" fmla="*/ 3 w 8"/>
                  <a:gd name="T13" fmla="*/ 7 h 8"/>
                  <a:gd name="T14" fmla="*/ 3 w 8"/>
                  <a:gd name="T15" fmla="*/ 6 h 8"/>
                  <a:gd name="T16" fmla="*/ 3 w 8"/>
                  <a:gd name="T17" fmla="*/ 6 h 8"/>
                  <a:gd name="T18" fmla="*/ 1 w 8"/>
                  <a:gd name="T19" fmla="*/ 6 h 8"/>
                  <a:gd name="T20" fmla="*/ 0 w 8"/>
                  <a:gd name="T21" fmla="*/ 7 h 8"/>
                  <a:gd name="T22" fmla="*/ 1 w 8"/>
                  <a:gd name="T23" fmla="*/ 8 h 8"/>
                  <a:gd name="T24" fmla="*/ 1 w 8"/>
                  <a:gd name="T25" fmla="*/ 8 h 8"/>
                  <a:gd name="T26" fmla="*/ 3 w 8"/>
                  <a:gd name="T27" fmla="*/ 8 h 8"/>
                  <a:gd name="T28" fmla="*/ 3 w 8"/>
                  <a:gd name="T29" fmla="*/ 8 h 8"/>
                  <a:gd name="T30" fmla="*/ 3 w 8"/>
                  <a:gd name="T31" fmla="*/ 8 h 8"/>
                  <a:gd name="T32" fmla="*/ 3 w 8"/>
                  <a:gd name="T33" fmla="*/ 8 h 8"/>
                  <a:gd name="T34" fmla="*/ 4 w 8"/>
                  <a:gd name="T35" fmla="*/ 8 h 8"/>
                  <a:gd name="T36" fmla="*/ 4 w 8"/>
                  <a:gd name="T37" fmla="*/ 8 h 8"/>
                  <a:gd name="T38" fmla="*/ 8 w 8"/>
                  <a:gd name="T39" fmla="*/ 1 h 8"/>
                  <a:gd name="T40" fmla="*/ 5 w 8"/>
                  <a:gd name="T4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" h="8">
                    <a:moveTo>
                      <a:pt x="5" y="0"/>
                    </a:moveTo>
                    <a:lnTo>
                      <a:pt x="3" y="6"/>
                    </a:lnTo>
                    <a:lnTo>
                      <a:pt x="1" y="6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1" y="6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1"/>
                    </a:lnTo>
                    <a:lnTo>
                      <a:pt x="5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8" name="Freeform 1780"/>
              <p:cNvSpPr>
                <a:spLocks/>
              </p:cNvSpPr>
              <p:nvPr/>
            </p:nvSpPr>
            <p:spPr bwMode="auto">
              <a:xfrm>
                <a:off x="5871887" y="2932316"/>
                <a:ext cx="5936" cy="12860"/>
              </a:xfrm>
              <a:custGeom>
                <a:avLst/>
                <a:gdLst>
                  <a:gd name="T0" fmla="*/ 6 w 6"/>
                  <a:gd name="T1" fmla="*/ 12 h 13"/>
                  <a:gd name="T2" fmla="*/ 2 w 6"/>
                  <a:gd name="T3" fmla="*/ 0 h 13"/>
                  <a:gd name="T4" fmla="*/ 0 w 6"/>
                  <a:gd name="T5" fmla="*/ 1 h 13"/>
                  <a:gd name="T6" fmla="*/ 3 w 6"/>
                  <a:gd name="T7" fmla="*/ 3 h 13"/>
                  <a:gd name="T8" fmla="*/ 3 w 6"/>
                  <a:gd name="T9" fmla="*/ 3 h 13"/>
                  <a:gd name="T10" fmla="*/ 2 w 6"/>
                  <a:gd name="T11" fmla="*/ 3 h 13"/>
                  <a:gd name="T12" fmla="*/ 0 w 6"/>
                  <a:gd name="T13" fmla="*/ 3 h 13"/>
                  <a:gd name="T14" fmla="*/ 3 w 6"/>
                  <a:gd name="T15" fmla="*/ 13 h 13"/>
                  <a:gd name="T16" fmla="*/ 6 w 6"/>
                  <a:gd name="T17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3">
                    <a:moveTo>
                      <a:pt x="6" y="12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3" y="13"/>
                    </a:lnTo>
                    <a:lnTo>
                      <a:pt x="6" y="1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9" name="Freeform 1781"/>
              <p:cNvSpPr>
                <a:spLocks/>
              </p:cNvSpPr>
              <p:nvPr/>
            </p:nvSpPr>
            <p:spPr bwMode="auto">
              <a:xfrm>
                <a:off x="5876833" y="2949133"/>
                <a:ext cx="3957" cy="9893"/>
              </a:xfrm>
              <a:custGeom>
                <a:avLst/>
                <a:gdLst>
                  <a:gd name="T0" fmla="*/ 4 w 4"/>
                  <a:gd name="T1" fmla="*/ 9 h 10"/>
                  <a:gd name="T2" fmla="*/ 3 w 4"/>
                  <a:gd name="T3" fmla="*/ 0 h 10"/>
                  <a:gd name="T4" fmla="*/ 0 w 4"/>
                  <a:gd name="T5" fmla="*/ 0 h 10"/>
                  <a:gd name="T6" fmla="*/ 3 w 4"/>
                  <a:gd name="T7" fmla="*/ 10 h 10"/>
                  <a:gd name="T8" fmla="*/ 4 w 4"/>
                  <a:gd name="T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0">
                    <a:moveTo>
                      <a:pt x="4" y="9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3" y="10"/>
                    </a:lnTo>
                    <a:lnTo>
                      <a:pt x="4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0" name="Freeform 1782"/>
              <p:cNvSpPr>
                <a:spLocks/>
              </p:cNvSpPr>
              <p:nvPr/>
            </p:nvSpPr>
            <p:spPr bwMode="auto">
              <a:xfrm>
                <a:off x="5879801" y="2959026"/>
                <a:ext cx="10882" cy="7914"/>
              </a:xfrm>
              <a:custGeom>
                <a:avLst/>
                <a:gdLst>
                  <a:gd name="T0" fmla="*/ 10 w 11"/>
                  <a:gd name="T1" fmla="*/ 0 h 8"/>
                  <a:gd name="T2" fmla="*/ 2 w 11"/>
                  <a:gd name="T3" fmla="*/ 5 h 8"/>
                  <a:gd name="T4" fmla="*/ 2 w 11"/>
                  <a:gd name="T5" fmla="*/ 5 h 8"/>
                  <a:gd name="T6" fmla="*/ 2 w 11"/>
                  <a:gd name="T7" fmla="*/ 5 h 8"/>
                  <a:gd name="T8" fmla="*/ 2 w 11"/>
                  <a:gd name="T9" fmla="*/ 6 h 8"/>
                  <a:gd name="T10" fmla="*/ 2 w 11"/>
                  <a:gd name="T11" fmla="*/ 5 h 8"/>
                  <a:gd name="T12" fmla="*/ 2 w 11"/>
                  <a:gd name="T13" fmla="*/ 5 h 8"/>
                  <a:gd name="T14" fmla="*/ 2 w 11"/>
                  <a:gd name="T15" fmla="*/ 5 h 8"/>
                  <a:gd name="T16" fmla="*/ 0 w 11"/>
                  <a:gd name="T17" fmla="*/ 5 h 8"/>
                  <a:gd name="T18" fmla="*/ 1 w 11"/>
                  <a:gd name="T19" fmla="*/ 5 h 8"/>
                  <a:gd name="T20" fmla="*/ 1 w 11"/>
                  <a:gd name="T21" fmla="*/ 6 h 8"/>
                  <a:gd name="T22" fmla="*/ 1 w 11"/>
                  <a:gd name="T23" fmla="*/ 6 h 8"/>
                  <a:gd name="T24" fmla="*/ 1 w 11"/>
                  <a:gd name="T25" fmla="*/ 6 h 8"/>
                  <a:gd name="T26" fmla="*/ 2 w 11"/>
                  <a:gd name="T27" fmla="*/ 8 h 8"/>
                  <a:gd name="T28" fmla="*/ 2 w 11"/>
                  <a:gd name="T29" fmla="*/ 8 h 8"/>
                  <a:gd name="T30" fmla="*/ 2 w 11"/>
                  <a:gd name="T31" fmla="*/ 6 h 8"/>
                  <a:gd name="T32" fmla="*/ 4 w 11"/>
                  <a:gd name="T33" fmla="*/ 6 h 8"/>
                  <a:gd name="T34" fmla="*/ 11 w 11"/>
                  <a:gd name="T35" fmla="*/ 3 h 8"/>
                  <a:gd name="T36" fmla="*/ 10 w 11"/>
                  <a:gd name="T3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" h="8">
                    <a:moveTo>
                      <a:pt x="10" y="0"/>
                    </a:move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6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1" y="5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11" y="3"/>
                    </a:lnTo>
                    <a:lnTo>
                      <a:pt x="1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1" name="Freeform 1783"/>
              <p:cNvSpPr>
                <a:spLocks/>
              </p:cNvSpPr>
              <p:nvPr/>
            </p:nvSpPr>
            <p:spPr bwMode="auto">
              <a:xfrm>
                <a:off x="5887715" y="2946165"/>
                <a:ext cx="2968" cy="10882"/>
              </a:xfrm>
              <a:custGeom>
                <a:avLst/>
                <a:gdLst>
                  <a:gd name="T0" fmla="*/ 3 w 3"/>
                  <a:gd name="T1" fmla="*/ 0 h 11"/>
                  <a:gd name="T2" fmla="*/ 2 w 3"/>
                  <a:gd name="T3" fmla="*/ 2 h 11"/>
                  <a:gd name="T4" fmla="*/ 0 w 3"/>
                  <a:gd name="T5" fmla="*/ 2 h 11"/>
                  <a:gd name="T6" fmla="*/ 0 w 3"/>
                  <a:gd name="T7" fmla="*/ 3 h 11"/>
                  <a:gd name="T8" fmla="*/ 0 w 3"/>
                  <a:gd name="T9" fmla="*/ 5 h 11"/>
                  <a:gd name="T10" fmla="*/ 2 w 3"/>
                  <a:gd name="T11" fmla="*/ 11 h 11"/>
                  <a:gd name="T12" fmla="*/ 3 w 3"/>
                  <a:gd name="T13" fmla="*/ 11 h 11"/>
                  <a:gd name="T14" fmla="*/ 2 w 3"/>
                  <a:gd name="T15" fmla="*/ 5 h 11"/>
                  <a:gd name="T16" fmla="*/ 3 w 3"/>
                  <a:gd name="T17" fmla="*/ 3 h 11"/>
                  <a:gd name="T18" fmla="*/ 3 w 3"/>
                  <a:gd name="T19" fmla="*/ 3 h 11"/>
                  <a:gd name="T20" fmla="*/ 3 w 3"/>
                  <a:gd name="T2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" h="11">
                    <a:moveTo>
                      <a:pt x="3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3" y="11"/>
                    </a:lnTo>
                    <a:lnTo>
                      <a:pt x="2" y="5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2" name="Rectangle 1784"/>
              <p:cNvSpPr>
                <a:spLocks noChangeArrowheads="1"/>
              </p:cNvSpPr>
              <p:nvPr/>
            </p:nvSpPr>
            <p:spPr bwMode="auto">
              <a:xfrm>
                <a:off x="5892661" y="2935284"/>
                <a:ext cx="2968" cy="989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3" name="Freeform 1785"/>
              <p:cNvSpPr>
                <a:spLocks/>
              </p:cNvSpPr>
              <p:nvPr/>
            </p:nvSpPr>
            <p:spPr bwMode="auto">
              <a:xfrm>
                <a:off x="5896618" y="2928359"/>
                <a:ext cx="11871" cy="4946"/>
              </a:xfrm>
              <a:custGeom>
                <a:avLst/>
                <a:gdLst>
                  <a:gd name="T0" fmla="*/ 10 w 12"/>
                  <a:gd name="T1" fmla="*/ 0 h 5"/>
                  <a:gd name="T2" fmla="*/ 0 w 12"/>
                  <a:gd name="T3" fmla="*/ 3 h 5"/>
                  <a:gd name="T4" fmla="*/ 1 w 12"/>
                  <a:gd name="T5" fmla="*/ 5 h 5"/>
                  <a:gd name="T6" fmla="*/ 12 w 12"/>
                  <a:gd name="T7" fmla="*/ 3 h 5"/>
                  <a:gd name="T8" fmla="*/ 10 w 12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5">
                    <a:moveTo>
                      <a:pt x="10" y="0"/>
                    </a:moveTo>
                    <a:lnTo>
                      <a:pt x="0" y="3"/>
                    </a:lnTo>
                    <a:lnTo>
                      <a:pt x="1" y="5"/>
                    </a:lnTo>
                    <a:lnTo>
                      <a:pt x="12" y="3"/>
                    </a:lnTo>
                    <a:lnTo>
                      <a:pt x="1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4" name="Freeform 1786"/>
              <p:cNvSpPr>
                <a:spLocks/>
              </p:cNvSpPr>
              <p:nvPr/>
            </p:nvSpPr>
            <p:spPr bwMode="auto">
              <a:xfrm>
                <a:off x="5908489" y="2915498"/>
                <a:ext cx="4946" cy="9893"/>
              </a:xfrm>
              <a:custGeom>
                <a:avLst/>
                <a:gdLst>
                  <a:gd name="T0" fmla="*/ 4 w 5"/>
                  <a:gd name="T1" fmla="*/ 0 h 10"/>
                  <a:gd name="T2" fmla="*/ 0 w 5"/>
                  <a:gd name="T3" fmla="*/ 10 h 10"/>
                  <a:gd name="T4" fmla="*/ 2 w 5"/>
                  <a:gd name="T5" fmla="*/ 10 h 10"/>
                  <a:gd name="T6" fmla="*/ 5 w 5"/>
                  <a:gd name="T7" fmla="*/ 1 h 10"/>
                  <a:gd name="T8" fmla="*/ 4 w 5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0">
                    <a:moveTo>
                      <a:pt x="4" y="0"/>
                    </a:moveTo>
                    <a:lnTo>
                      <a:pt x="0" y="10"/>
                    </a:lnTo>
                    <a:lnTo>
                      <a:pt x="2" y="10"/>
                    </a:lnTo>
                    <a:lnTo>
                      <a:pt x="5" y="1"/>
                    </a:lnTo>
                    <a:lnTo>
                      <a:pt x="4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5" name="Freeform 1787"/>
              <p:cNvSpPr>
                <a:spLocks/>
              </p:cNvSpPr>
              <p:nvPr/>
            </p:nvSpPr>
            <p:spPr bwMode="auto">
              <a:xfrm>
                <a:off x="5913436" y="2902638"/>
                <a:ext cx="7914" cy="9893"/>
              </a:xfrm>
              <a:custGeom>
                <a:avLst/>
                <a:gdLst>
                  <a:gd name="T0" fmla="*/ 6 w 8"/>
                  <a:gd name="T1" fmla="*/ 0 h 10"/>
                  <a:gd name="T2" fmla="*/ 2 w 8"/>
                  <a:gd name="T3" fmla="*/ 5 h 10"/>
                  <a:gd name="T4" fmla="*/ 0 w 8"/>
                  <a:gd name="T5" fmla="*/ 8 h 10"/>
                  <a:gd name="T6" fmla="*/ 2 w 8"/>
                  <a:gd name="T7" fmla="*/ 10 h 10"/>
                  <a:gd name="T8" fmla="*/ 3 w 8"/>
                  <a:gd name="T9" fmla="*/ 7 h 10"/>
                  <a:gd name="T10" fmla="*/ 8 w 8"/>
                  <a:gd name="T11" fmla="*/ 1 h 10"/>
                  <a:gd name="T12" fmla="*/ 6 w 8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0">
                    <a:moveTo>
                      <a:pt x="6" y="0"/>
                    </a:moveTo>
                    <a:lnTo>
                      <a:pt x="2" y="5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3" y="7"/>
                    </a:lnTo>
                    <a:lnTo>
                      <a:pt x="8" y="1"/>
                    </a:lnTo>
                    <a:lnTo>
                      <a:pt x="6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6" name="Freeform 1788"/>
              <p:cNvSpPr>
                <a:spLocks/>
              </p:cNvSpPr>
              <p:nvPr/>
            </p:nvSpPr>
            <p:spPr bwMode="auto">
              <a:xfrm>
                <a:off x="5922339" y="2889778"/>
                <a:ext cx="2968" cy="9893"/>
              </a:xfrm>
              <a:custGeom>
                <a:avLst/>
                <a:gdLst>
                  <a:gd name="T0" fmla="*/ 1 w 3"/>
                  <a:gd name="T1" fmla="*/ 0 h 10"/>
                  <a:gd name="T2" fmla="*/ 0 w 3"/>
                  <a:gd name="T3" fmla="*/ 7 h 10"/>
                  <a:gd name="T4" fmla="*/ 0 w 3"/>
                  <a:gd name="T5" fmla="*/ 8 h 10"/>
                  <a:gd name="T6" fmla="*/ 1 w 3"/>
                  <a:gd name="T7" fmla="*/ 10 h 10"/>
                  <a:gd name="T8" fmla="*/ 3 w 3"/>
                  <a:gd name="T9" fmla="*/ 8 h 10"/>
                  <a:gd name="T10" fmla="*/ 3 w 3"/>
                  <a:gd name="T11" fmla="*/ 8 h 10"/>
                  <a:gd name="T12" fmla="*/ 3 w 3"/>
                  <a:gd name="T13" fmla="*/ 0 h 10"/>
                  <a:gd name="T14" fmla="*/ 1 w 3"/>
                  <a:gd name="T1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10">
                    <a:moveTo>
                      <a:pt x="1" y="0"/>
                    </a:moveTo>
                    <a:lnTo>
                      <a:pt x="0" y="7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3" y="0"/>
                    </a:lnTo>
                    <a:lnTo>
                      <a:pt x="1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7" name="Freeform 1789"/>
              <p:cNvSpPr>
                <a:spLocks/>
              </p:cNvSpPr>
              <p:nvPr/>
            </p:nvSpPr>
            <p:spPr bwMode="auto">
              <a:xfrm>
                <a:off x="5925307" y="2877907"/>
                <a:ext cx="8903" cy="6925"/>
              </a:xfrm>
              <a:custGeom>
                <a:avLst/>
                <a:gdLst>
                  <a:gd name="T0" fmla="*/ 7 w 9"/>
                  <a:gd name="T1" fmla="*/ 0 h 7"/>
                  <a:gd name="T2" fmla="*/ 0 w 9"/>
                  <a:gd name="T3" fmla="*/ 6 h 7"/>
                  <a:gd name="T4" fmla="*/ 1 w 9"/>
                  <a:gd name="T5" fmla="*/ 7 h 7"/>
                  <a:gd name="T6" fmla="*/ 9 w 9"/>
                  <a:gd name="T7" fmla="*/ 1 h 7"/>
                  <a:gd name="T8" fmla="*/ 7 w 9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7">
                    <a:moveTo>
                      <a:pt x="7" y="0"/>
                    </a:moveTo>
                    <a:lnTo>
                      <a:pt x="0" y="6"/>
                    </a:lnTo>
                    <a:lnTo>
                      <a:pt x="1" y="7"/>
                    </a:lnTo>
                    <a:lnTo>
                      <a:pt x="9" y="1"/>
                    </a:lnTo>
                    <a:lnTo>
                      <a:pt x="7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8" name="Freeform 1790"/>
              <p:cNvSpPr>
                <a:spLocks/>
              </p:cNvSpPr>
              <p:nvPr/>
            </p:nvSpPr>
            <p:spPr bwMode="auto">
              <a:xfrm>
                <a:off x="5937178" y="2871971"/>
                <a:ext cx="9893" cy="3957"/>
              </a:xfrm>
              <a:custGeom>
                <a:avLst/>
                <a:gdLst>
                  <a:gd name="T0" fmla="*/ 10 w 10"/>
                  <a:gd name="T1" fmla="*/ 0 h 4"/>
                  <a:gd name="T2" fmla="*/ 1 w 10"/>
                  <a:gd name="T3" fmla="*/ 2 h 4"/>
                  <a:gd name="T4" fmla="*/ 0 w 10"/>
                  <a:gd name="T5" fmla="*/ 2 h 4"/>
                  <a:gd name="T6" fmla="*/ 1 w 10"/>
                  <a:gd name="T7" fmla="*/ 4 h 4"/>
                  <a:gd name="T8" fmla="*/ 1 w 10"/>
                  <a:gd name="T9" fmla="*/ 3 h 4"/>
                  <a:gd name="T10" fmla="*/ 10 w 10"/>
                  <a:gd name="T11" fmla="*/ 3 h 4"/>
                  <a:gd name="T12" fmla="*/ 10 w 10"/>
                  <a:gd name="T13" fmla="*/ 0 h 4"/>
                  <a:gd name="T14" fmla="*/ 10 w 10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4">
                    <a:moveTo>
                      <a:pt x="10" y="0"/>
                    </a:moveTo>
                    <a:lnTo>
                      <a:pt x="1" y="2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0" y="3"/>
                    </a:lnTo>
                    <a:lnTo>
                      <a:pt x="10" y="0"/>
                    </a:lnTo>
                    <a:lnTo>
                      <a:pt x="1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9" name="Freeform 1791"/>
              <p:cNvSpPr>
                <a:spLocks/>
              </p:cNvSpPr>
              <p:nvPr/>
            </p:nvSpPr>
            <p:spPr bwMode="auto">
              <a:xfrm>
                <a:off x="5951027" y="2862078"/>
                <a:ext cx="3957" cy="11871"/>
              </a:xfrm>
              <a:custGeom>
                <a:avLst/>
                <a:gdLst>
                  <a:gd name="T0" fmla="*/ 1 w 4"/>
                  <a:gd name="T1" fmla="*/ 0 h 12"/>
                  <a:gd name="T2" fmla="*/ 0 w 4"/>
                  <a:gd name="T3" fmla="*/ 10 h 12"/>
                  <a:gd name="T4" fmla="*/ 3 w 4"/>
                  <a:gd name="T5" fmla="*/ 12 h 12"/>
                  <a:gd name="T6" fmla="*/ 4 w 4"/>
                  <a:gd name="T7" fmla="*/ 1 h 12"/>
                  <a:gd name="T8" fmla="*/ 1 w 4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2">
                    <a:moveTo>
                      <a:pt x="1" y="0"/>
                    </a:moveTo>
                    <a:lnTo>
                      <a:pt x="0" y="10"/>
                    </a:lnTo>
                    <a:lnTo>
                      <a:pt x="3" y="12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0" name="Freeform 1792"/>
              <p:cNvSpPr>
                <a:spLocks/>
              </p:cNvSpPr>
              <p:nvPr/>
            </p:nvSpPr>
            <p:spPr bwMode="auto">
              <a:xfrm>
                <a:off x="5952017" y="2850207"/>
                <a:ext cx="5936" cy="10882"/>
              </a:xfrm>
              <a:custGeom>
                <a:avLst/>
                <a:gdLst>
                  <a:gd name="T0" fmla="*/ 0 w 6"/>
                  <a:gd name="T1" fmla="*/ 2 h 11"/>
                  <a:gd name="T2" fmla="*/ 5 w 6"/>
                  <a:gd name="T3" fmla="*/ 6 h 11"/>
                  <a:gd name="T4" fmla="*/ 5 w 6"/>
                  <a:gd name="T5" fmla="*/ 6 h 11"/>
                  <a:gd name="T6" fmla="*/ 5 w 6"/>
                  <a:gd name="T7" fmla="*/ 9 h 11"/>
                  <a:gd name="T8" fmla="*/ 6 w 6"/>
                  <a:gd name="T9" fmla="*/ 9 h 11"/>
                  <a:gd name="T10" fmla="*/ 5 w 6"/>
                  <a:gd name="T11" fmla="*/ 9 h 11"/>
                  <a:gd name="T12" fmla="*/ 5 w 6"/>
                  <a:gd name="T13" fmla="*/ 9 h 11"/>
                  <a:gd name="T14" fmla="*/ 6 w 6"/>
                  <a:gd name="T15" fmla="*/ 11 h 11"/>
                  <a:gd name="T16" fmla="*/ 6 w 6"/>
                  <a:gd name="T17" fmla="*/ 11 h 11"/>
                  <a:gd name="T18" fmla="*/ 6 w 6"/>
                  <a:gd name="T19" fmla="*/ 11 h 11"/>
                  <a:gd name="T20" fmla="*/ 6 w 6"/>
                  <a:gd name="T21" fmla="*/ 6 h 11"/>
                  <a:gd name="T22" fmla="*/ 6 w 6"/>
                  <a:gd name="T23" fmla="*/ 5 h 11"/>
                  <a:gd name="T24" fmla="*/ 6 w 6"/>
                  <a:gd name="T25" fmla="*/ 5 h 11"/>
                  <a:gd name="T26" fmla="*/ 6 w 6"/>
                  <a:gd name="T27" fmla="*/ 5 h 11"/>
                  <a:gd name="T28" fmla="*/ 2 w 6"/>
                  <a:gd name="T29" fmla="*/ 0 h 11"/>
                  <a:gd name="T30" fmla="*/ 0 w 6"/>
                  <a:gd name="T31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" h="11">
                    <a:moveTo>
                      <a:pt x="0" y="2"/>
                    </a:moveTo>
                    <a:lnTo>
                      <a:pt x="5" y="6"/>
                    </a:lnTo>
                    <a:lnTo>
                      <a:pt x="5" y="6"/>
                    </a:lnTo>
                    <a:lnTo>
                      <a:pt x="5" y="9"/>
                    </a:lnTo>
                    <a:lnTo>
                      <a:pt x="6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6" y="6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0"/>
                    </a:lnTo>
                    <a:lnTo>
                      <a:pt x="0" y="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1" name="Freeform 1793"/>
              <p:cNvSpPr>
                <a:spLocks/>
              </p:cNvSpPr>
              <p:nvPr/>
            </p:nvSpPr>
            <p:spPr bwMode="auto">
              <a:xfrm>
                <a:off x="5939156" y="2846250"/>
                <a:ext cx="10882" cy="3957"/>
              </a:xfrm>
              <a:custGeom>
                <a:avLst/>
                <a:gdLst>
                  <a:gd name="T0" fmla="*/ 2 w 11"/>
                  <a:gd name="T1" fmla="*/ 0 h 4"/>
                  <a:gd name="T2" fmla="*/ 2 w 11"/>
                  <a:gd name="T3" fmla="*/ 3 h 4"/>
                  <a:gd name="T4" fmla="*/ 0 w 11"/>
                  <a:gd name="T5" fmla="*/ 3 h 4"/>
                  <a:gd name="T6" fmla="*/ 9 w 11"/>
                  <a:gd name="T7" fmla="*/ 4 h 4"/>
                  <a:gd name="T8" fmla="*/ 11 w 11"/>
                  <a:gd name="T9" fmla="*/ 3 h 4"/>
                  <a:gd name="T10" fmla="*/ 3 w 11"/>
                  <a:gd name="T11" fmla="*/ 1 h 4"/>
                  <a:gd name="T12" fmla="*/ 3 w 11"/>
                  <a:gd name="T13" fmla="*/ 0 h 4"/>
                  <a:gd name="T14" fmla="*/ 2 w 11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4">
                    <a:moveTo>
                      <a:pt x="2" y="0"/>
                    </a:moveTo>
                    <a:lnTo>
                      <a:pt x="2" y="3"/>
                    </a:lnTo>
                    <a:lnTo>
                      <a:pt x="0" y="3"/>
                    </a:lnTo>
                    <a:lnTo>
                      <a:pt x="9" y="4"/>
                    </a:lnTo>
                    <a:lnTo>
                      <a:pt x="11" y="3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2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2" name="Freeform 1794"/>
              <p:cNvSpPr>
                <a:spLocks/>
              </p:cNvSpPr>
              <p:nvPr/>
            </p:nvSpPr>
            <p:spPr bwMode="auto">
              <a:xfrm>
                <a:off x="5937178" y="2832401"/>
                <a:ext cx="6925" cy="9893"/>
              </a:xfrm>
              <a:custGeom>
                <a:avLst/>
                <a:gdLst>
                  <a:gd name="T0" fmla="*/ 0 w 7"/>
                  <a:gd name="T1" fmla="*/ 1 h 10"/>
                  <a:gd name="T2" fmla="*/ 1 w 7"/>
                  <a:gd name="T3" fmla="*/ 8 h 10"/>
                  <a:gd name="T4" fmla="*/ 4 w 7"/>
                  <a:gd name="T5" fmla="*/ 10 h 10"/>
                  <a:gd name="T6" fmla="*/ 4 w 7"/>
                  <a:gd name="T7" fmla="*/ 10 h 10"/>
                  <a:gd name="T8" fmla="*/ 7 w 7"/>
                  <a:gd name="T9" fmla="*/ 8 h 10"/>
                  <a:gd name="T10" fmla="*/ 5 w 7"/>
                  <a:gd name="T11" fmla="*/ 7 h 10"/>
                  <a:gd name="T12" fmla="*/ 5 w 7"/>
                  <a:gd name="T13" fmla="*/ 7 h 10"/>
                  <a:gd name="T14" fmla="*/ 4 w 7"/>
                  <a:gd name="T15" fmla="*/ 7 h 10"/>
                  <a:gd name="T16" fmla="*/ 1 w 7"/>
                  <a:gd name="T17" fmla="*/ 0 h 10"/>
                  <a:gd name="T18" fmla="*/ 0 w 7"/>
                  <a:gd name="T1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10">
                    <a:moveTo>
                      <a:pt x="0" y="1"/>
                    </a:moveTo>
                    <a:lnTo>
                      <a:pt x="1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7" y="8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4" y="7"/>
                    </a:ln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3" name="Freeform 1795"/>
              <p:cNvSpPr>
                <a:spLocks/>
              </p:cNvSpPr>
              <p:nvPr/>
            </p:nvSpPr>
            <p:spPr bwMode="auto">
              <a:xfrm>
                <a:off x="5923328" y="2830422"/>
                <a:ext cx="10882" cy="5936"/>
              </a:xfrm>
              <a:custGeom>
                <a:avLst/>
                <a:gdLst>
                  <a:gd name="T0" fmla="*/ 2 w 11"/>
                  <a:gd name="T1" fmla="*/ 6 h 6"/>
                  <a:gd name="T2" fmla="*/ 11 w 11"/>
                  <a:gd name="T3" fmla="*/ 3 h 6"/>
                  <a:gd name="T4" fmla="*/ 11 w 11"/>
                  <a:gd name="T5" fmla="*/ 0 h 6"/>
                  <a:gd name="T6" fmla="*/ 0 w 11"/>
                  <a:gd name="T7" fmla="*/ 4 h 6"/>
                  <a:gd name="T8" fmla="*/ 2 w 11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6">
                    <a:moveTo>
                      <a:pt x="2" y="6"/>
                    </a:moveTo>
                    <a:lnTo>
                      <a:pt x="11" y="3"/>
                    </a:lnTo>
                    <a:lnTo>
                      <a:pt x="11" y="0"/>
                    </a:lnTo>
                    <a:lnTo>
                      <a:pt x="0" y="4"/>
                    </a:lnTo>
                    <a:lnTo>
                      <a:pt x="2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4" name="Freeform 1796"/>
              <p:cNvSpPr>
                <a:spLocks/>
              </p:cNvSpPr>
              <p:nvPr/>
            </p:nvSpPr>
            <p:spPr bwMode="auto">
              <a:xfrm>
                <a:off x="5909478" y="2833390"/>
                <a:ext cx="9893" cy="3957"/>
              </a:xfrm>
              <a:custGeom>
                <a:avLst/>
                <a:gdLst>
                  <a:gd name="T0" fmla="*/ 1 w 10"/>
                  <a:gd name="T1" fmla="*/ 4 h 4"/>
                  <a:gd name="T2" fmla="*/ 3 w 10"/>
                  <a:gd name="T3" fmla="*/ 3 h 4"/>
                  <a:gd name="T4" fmla="*/ 3 w 10"/>
                  <a:gd name="T5" fmla="*/ 3 h 4"/>
                  <a:gd name="T6" fmla="*/ 10 w 10"/>
                  <a:gd name="T7" fmla="*/ 3 h 4"/>
                  <a:gd name="T8" fmla="*/ 10 w 10"/>
                  <a:gd name="T9" fmla="*/ 0 h 4"/>
                  <a:gd name="T10" fmla="*/ 3 w 10"/>
                  <a:gd name="T11" fmla="*/ 0 h 4"/>
                  <a:gd name="T12" fmla="*/ 3 w 10"/>
                  <a:gd name="T13" fmla="*/ 0 h 4"/>
                  <a:gd name="T14" fmla="*/ 1 w 10"/>
                  <a:gd name="T15" fmla="*/ 0 h 4"/>
                  <a:gd name="T16" fmla="*/ 0 w 10"/>
                  <a:gd name="T17" fmla="*/ 1 h 4"/>
                  <a:gd name="T18" fmla="*/ 1 w 10"/>
                  <a:gd name="T19" fmla="*/ 4 h 4"/>
                  <a:gd name="T20" fmla="*/ 1 w 10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4">
                    <a:moveTo>
                      <a:pt x="1" y="4"/>
                    </a:moveTo>
                    <a:lnTo>
                      <a:pt x="3" y="3"/>
                    </a:lnTo>
                    <a:lnTo>
                      <a:pt x="3" y="3"/>
                    </a:lnTo>
                    <a:lnTo>
                      <a:pt x="10" y="3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1" y="4"/>
                    </a:lnTo>
                    <a:lnTo>
                      <a:pt x="1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5" name="Freeform 1797"/>
              <p:cNvSpPr>
                <a:spLocks/>
              </p:cNvSpPr>
              <p:nvPr/>
            </p:nvSpPr>
            <p:spPr bwMode="auto">
              <a:xfrm>
                <a:off x="5897607" y="2839325"/>
                <a:ext cx="8903" cy="6925"/>
              </a:xfrm>
              <a:custGeom>
                <a:avLst/>
                <a:gdLst>
                  <a:gd name="T0" fmla="*/ 2 w 9"/>
                  <a:gd name="T1" fmla="*/ 7 h 7"/>
                  <a:gd name="T2" fmla="*/ 9 w 9"/>
                  <a:gd name="T3" fmla="*/ 1 h 7"/>
                  <a:gd name="T4" fmla="*/ 8 w 9"/>
                  <a:gd name="T5" fmla="*/ 0 h 7"/>
                  <a:gd name="T6" fmla="*/ 0 w 9"/>
                  <a:gd name="T7" fmla="*/ 6 h 7"/>
                  <a:gd name="T8" fmla="*/ 2 w 9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7">
                    <a:moveTo>
                      <a:pt x="2" y="7"/>
                    </a:moveTo>
                    <a:lnTo>
                      <a:pt x="9" y="1"/>
                    </a:lnTo>
                    <a:lnTo>
                      <a:pt x="8" y="0"/>
                    </a:lnTo>
                    <a:lnTo>
                      <a:pt x="0" y="6"/>
                    </a:lnTo>
                    <a:lnTo>
                      <a:pt x="2" y="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6" name="Freeform 1798"/>
              <p:cNvSpPr>
                <a:spLocks/>
              </p:cNvSpPr>
              <p:nvPr/>
            </p:nvSpPr>
            <p:spPr bwMode="auto">
              <a:xfrm>
                <a:off x="5884747" y="2847239"/>
                <a:ext cx="10882" cy="7914"/>
              </a:xfrm>
              <a:custGeom>
                <a:avLst/>
                <a:gdLst>
                  <a:gd name="T0" fmla="*/ 2 w 11"/>
                  <a:gd name="T1" fmla="*/ 8 h 8"/>
                  <a:gd name="T2" fmla="*/ 5 w 11"/>
                  <a:gd name="T3" fmla="*/ 8 h 8"/>
                  <a:gd name="T4" fmla="*/ 5 w 11"/>
                  <a:gd name="T5" fmla="*/ 8 h 8"/>
                  <a:gd name="T6" fmla="*/ 11 w 11"/>
                  <a:gd name="T7" fmla="*/ 2 h 8"/>
                  <a:gd name="T8" fmla="*/ 9 w 11"/>
                  <a:gd name="T9" fmla="*/ 0 h 8"/>
                  <a:gd name="T10" fmla="*/ 3 w 11"/>
                  <a:gd name="T11" fmla="*/ 5 h 8"/>
                  <a:gd name="T12" fmla="*/ 0 w 11"/>
                  <a:gd name="T13" fmla="*/ 6 h 8"/>
                  <a:gd name="T14" fmla="*/ 2 w 11"/>
                  <a:gd name="T1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8">
                    <a:moveTo>
                      <a:pt x="2" y="8"/>
                    </a:moveTo>
                    <a:lnTo>
                      <a:pt x="5" y="8"/>
                    </a:lnTo>
                    <a:lnTo>
                      <a:pt x="5" y="8"/>
                    </a:lnTo>
                    <a:lnTo>
                      <a:pt x="11" y="2"/>
                    </a:lnTo>
                    <a:lnTo>
                      <a:pt x="9" y="0"/>
                    </a:lnTo>
                    <a:lnTo>
                      <a:pt x="3" y="5"/>
                    </a:lnTo>
                    <a:lnTo>
                      <a:pt x="0" y="6"/>
                    </a:lnTo>
                    <a:lnTo>
                      <a:pt x="2" y="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7" name="Freeform 1799"/>
              <p:cNvSpPr>
                <a:spLocks/>
              </p:cNvSpPr>
              <p:nvPr/>
            </p:nvSpPr>
            <p:spPr bwMode="auto">
              <a:xfrm>
                <a:off x="5870897" y="2855154"/>
                <a:ext cx="10882" cy="5936"/>
              </a:xfrm>
              <a:custGeom>
                <a:avLst/>
                <a:gdLst>
                  <a:gd name="T0" fmla="*/ 1 w 11"/>
                  <a:gd name="T1" fmla="*/ 6 h 6"/>
                  <a:gd name="T2" fmla="*/ 11 w 11"/>
                  <a:gd name="T3" fmla="*/ 3 h 6"/>
                  <a:gd name="T4" fmla="*/ 10 w 11"/>
                  <a:gd name="T5" fmla="*/ 0 h 6"/>
                  <a:gd name="T6" fmla="*/ 0 w 11"/>
                  <a:gd name="T7" fmla="*/ 3 h 6"/>
                  <a:gd name="T8" fmla="*/ 1 w 11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6">
                    <a:moveTo>
                      <a:pt x="1" y="6"/>
                    </a:moveTo>
                    <a:lnTo>
                      <a:pt x="11" y="3"/>
                    </a:lnTo>
                    <a:lnTo>
                      <a:pt x="10" y="0"/>
                    </a:lnTo>
                    <a:lnTo>
                      <a:pt x="0" y="3"/>
                    </a:lnTo>
                    <a:lnTo>
                      <a:pt x="1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8" name="Freeform 1800"/>
              <p:cNvSpPr>
                <a:spLocks/>
              </p:cNvSpPr>
              <p:nvPr/>
            </p:nvSpPr>
            <p:spPr bwMode="auto">
              <a:xfrm>
                <a:off x="5864962" y="2861089"/>
                <a:ext cx="5936" cy="9893"/>
              </a:xfrm>
              <a:custGeom>
                <a:avLst/>
                <a:gdLst>
                  <a:gd name="T0" fmla="*/ 6 w 6"/>
                  <a:gd name="T1" fmla="*/ 7 h 10"/>
                  <a:gd name="T2" fmla="*/ 3 w 6"/>
                  <a:gd name="T3" fmla="*/ 5 h 10"/>
                  <a:gd name="T4" fmla="*/ 3 w 6"/>
                  <a:gd name="T5" fmla="*/ 5 h 10"/>
                  <a:gd name="T6" fmla="*/ 3 w 6"/>
                  <a:gd name="T7" fmla="*/ 1 h 10"/>
                  <a:gd name="T8" fmla="*/ 3 w 6"/>
                  <a:gd name="T9" fmla="*/ 1 h 10"/>
                  <a:gd name="T10" fmla="*/ 2 w 6"/>
                  <a:gd name="T11" fmla="*/ 0 h 10"/>
                  <a:gd name="T12" fmla="*/ 2 w 6"/>
                  <a:gd name="T13" fmla="*/ 1 h 10"/>
                  <a:gd name="T14" fmla="*/ 0 w 6"/>
                  <a:gd name="T15" fmla="*/ 1 h 10"/>
                  <a:gd name="T16" fmla="*/ 0 w 6"/>
                  <a:gd name="T17" fmla="*/ 5 h 10"/>
                  <a:gd name="T18" fmla="*/ 0 w 6"/>
                  <a:gd name="T19" fmla="*/ 7 h 10"/>
                  <a:gd name="T20" fmla="*/ 2 w 6"/>
                  <a:gd name="T21" fmla="*/ 7 h 10"/>
                  <a:gd name="T22" fmla="*/ 2 w 6"/>
                  <a:gd name="T23" fmla="*/ 8 h 10"/>
                  <a:gd name="T24" fmla="*/ 6 w 6"/>
                  <a:gd name="T25" fmla="*/ 10 h 10"/>
                  <a:gd name="T26" fmla="*/ 6 w 6"/>
                  <a:gd name="T27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10">
                    <a:moveTo>
                      <a:pt x="6" y="7"/>
                    </a:moveTo>
                    <a:lnTo>
                      <a:pt x="3" y="5"/>
                    </a:lnTo>
                    <a:lnTo>
                      <a:pt x="3" y="5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9" name="Freeform 1801"/>
              <p:cNvSpPr>
                <a:spLocks/>
              </p:cNvSpPr>
              <p:nvPr/>
            </p:nvSpPr>
            <p:spPr bwMode="auto">
              <a:xfrm>
                <a:off x="5866940" y="2871971"/>
                <a:ext cx="6925" cy="5936"/>
              </a:xfrm>
              <a:custGeom>
                <a:avLst/>
                <a:gdLst>
                  <a:gd name="T0" fmla="*/ 0 w 7"/>
                  <a:gd name="T1" fmla="*/ 6 h 6"/>
                  <a:gd name="T2" fmla="*/ 4 w 7"/>
                  <a:gd name="T3" fmla="*/ 6 h 6"/>
                  <a:gd name="T4" fmla="*/ 5 w 7"/>
                  <a:gd name="T5" fmla="*/ 6 h 6"/>
                  <a:gd name="T6" fmla="*/ 7 w 7"/>
                  <a:gd name="T7" fmla="*/ 0 h 6"/>
                  <a:gd name="T8" fmla="*/ 5 w 7"/>
                  <a:gd name="T9" fmla="*/ 0 h 6"/>
                  <a:gd name="T10" fmla="*/ 4 w 7"/>
                  <a:gd name="T11" fmla="*/ 3 h 6"/>
                  <a:gd name="T12" fmla="*/ 0 w 7"/>
                  <a:gd name="T13" fmla="*/ 4 h 6"/>
                  <a:gd name="T14" fmla="*/ 0 w 7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6">
                    <a:moveTo>
                      <a:pt x="0" y="6"/>
                    </a:moveTo>
                    <a:lnTo>
                      <a:pt x="4" y="6"/>
                    </a:lnTo>
                    <a:lnTo>
                      <a:pt x="5" y="6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3"/>
                    </a:lnTo>
                    <a:lnTo>
                      <a:pt x="0" y="4"/>
                    </a:lnTo>
                    <a:lnTo>
                      <a:pt x="0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0" name="Freeform 1802"/>
              <p:cNvSpPr>
                <a:spLocks/>
              </p:cNvSpPr>
              <p:nvPr/>
            </p:nvSpPr>
            <p:spPr bwMode="auto">
              <a:xfrm>
                <a:off x="5851112" y="2875928"/>
                <a:ext cx="9893" cy="4946"/>
              </a:xfrm>
              <a:custGeom>
                <a:avLst/>
                <a:gdLst>
                  <a:gd name="T0" fmla="*/ 0 w 10"/>
                  <a:gd name="T1" fmla="*/ 5 h 5"/>
                  <a:gd name="T2" fmla="*/ 10 w 10"/>
                  <a:gd name="T3" fmla="*/ 3 h 5"/>
                  <a:gd name="T4" fmla="*/ 10 w 10"/>
                  <a:gd name="T5" fmla="*/ 0 h 5"/>
                  <a:gd name="T6" fmla="*/ 0 w 10"/>
                  <a:gd name="T7" fmla="*/ 2 h 5"/>
                  <a:gd name="T8" fmla="*/ 0 w 10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5">
                    <a:moveTo>
                      <a:pt x="0" y="5"/>
                    </a:moveTo>
                    <a:lnTo>
                      <a:pt x="10" y="3"/>
                    </a:lnTo>
                    <a:lnTo>
                      <a:pt x="10" y="0"/>
                    </a:lnTo>
                    <a:lnTo>
                      <a:pt x="0" y="2"/>
                    </a:lnTo>
                    <a:lnTo>
                      <a:pt x="0" y="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1" name="Freeform 1803"/>
              <p:cNvSpPr>
                <a:spLocks/>
              </p:cNvSpPr>
              <p:nvPr/>
            </p:nvSpPr>
            <p:spPr bwMode="auto">
              <a:xfrm>
                <a:off x="5836273" y="2877907"/>
                <a:ext cx="9893" cy="3957"/>
              </a:xfrm>
              <a:custGeom>
                <a:avLst/>
                <a:gdLst>
                  <a:gd name="T0" fmla="*/ 0 w 10"/>
                  <a:gd name="T1" fmla="*/ 4 h 4"/>
                  <a:gd name="T2" fmla="*/ 10 w 10"/>
                  <a:gd name="T3" fmla="*/ 3 h 4"/>
                  <a:gd name="T4" fmla="*/ 10 w 10"/>
                  <a:gd name="T5" fmla="*/ 0 h 4"/>
                  <a:gd name="T6" fmla="*/ 0 w 10"/>
                  <a:gd name="T7" fmla="*/ 1 h 4"/>
                  <a:gd name="T8" fmla="*/ 0 w 10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4">
                    <a:moveTo>
                      <a:pt x="0" y="4"/>
                    </a:moveTo>
                    <a:lnTo>
                      <a:pt x="10" y="3"/>
                    </a:lnTo>
                    <a:lnTo>
                      <a:pt x="10" y="0"/>
                    </a:lnTo>
                    <a:lnTo>
                      <a:pt x="0" y="1"/>
                    </a:lnTo>
                    <a:lnTo>
                      <a:pt x="0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2" name="Freeform 1804"/>
              <p:cNvSpPr>
                <a:spLocks/>
              </p:cNvSpPr>
              <p:nvPr/>
            </p:nvSpPr>
            <p:spPr bwMode="auto">
              <a:xfrm>
                <a:off x="5822424" y="2874939"/>
                <a:ext cx="9893" cy="5936"/>
              </a:xfrm>
              <a:custGeom>
                <a:avLst/>
                <a:gdLst>
                  <a:gd name="T0" fmla="*/ 0 w 10"/>
                  <a:gd name="T1" fmla="*/ 1 h 6"/>
                  <a:gd name="T2" fmla="*/ 0 w 10"/>
                  <a:gd name="T3" fmla="*/ 3 h 6"/>
                  <a:gd name="T4" fmla="*/ 0 w 10"/>
                  <a:gd name="T5" fmla="*/ 3 h 6"/>
                  <a:gd name="T6" fmla="*/ 8 w 10"/>
                  <a:gd name="T7" fmla="*/ 6 h 6"/>
                  <a:gd name="T8" fmla="*/ 10 w 10"/>
                  <a:gd name="T9" fmla="*/ 3 h 6"/>
                  <a:gd name="T10" fmla="*/ 3 w 10"/>
                  <a:gd name="T11" fmla="*/ 1 h 6"/>
                  <a:gd name="T12" fmla="*/ 1 w 10"/>
                  <a:gd name="T13" fmla="*/ 0 h 6"/>
                  <a:gd name="T14" fmla="*/ 0 w 10"/>
                  <a:gd name="T1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3" y="1"/>
                    </a:ln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3" name="Freeform 1805"/>
              <p:cNvSpPr>
                <a:spLocks/>
              </p:cNvSpPr>
              <p:nvPr/>
            </p:nvSpPr>
            <p:spPr bwMode="auto">
              <a:xfrm>
                <a:off x="5820445" y="2863068"/>
                <a:ext cx="5936" cy="8903"/>
              </a:xfrm>
              <a:custGeom>
                <a:avLst/>
                <a:gdLst>
                  <a:gd name="T0" fmla="*/ 0 w 6"/>
                  <a:gd name="T1" fmla="*/ 0 h 9"/>
                  <a:gd name="T2" fmla="*/ 0 w 6"/>
                  <a:gd name="T3" fmla="*/ 5 h 9"/>
                  <a:gd name="T4" fmla="*/ 0 w 6"/>
                  <a:gd name="T5" fmla="*/ 6 h 9"/>
                  <a:gd name="T6" fmla="*/ 3 w 6"/>
                  <a:gd name="T7" fmla="*/ 8 h 9"/>
                  <a:gd name="T8" fmla="*/ 3 w 6"/>
                  <a:gd name="T9" fmla="*/ 8 h 9"/>
                  <a:gd name="T10" fmla="*/ 5 w 6"/>
                  <a:gd name="T11" fmla="*/ 8 h 9"/>
                  <a:gd name="T12" fmla="*/ 3 w 6"/>
                  <a:gd name="T13" fmla="*/ 6 h 9"/>
                  <a:gd name="T14" fmla="*/ 3 w 6"/>
                  <a:gd name="T15" fmla="*/ 8 h 9"/>
                  <a:gd name="T16" fmla="*/ 2 w 6"/>
                  <a:gd name="T17" fmla="*/ 8 h 9"/>
                  <a:gd name="T18" fmla="*/ 5 w 6"/>
                  <a:gd name="T19" fmla="*/ 9 h 9"/>
                  <a:gd name="T20" fmla="*/ 5 w 6"/>
                  <a:gd name="T21" fmla="*/ 9 h 9"/>
                  <a:gd name="T22" fmla="*/ 5 w 6"/>
                  <a:gd name="T23" fmla="*/ 9 h 9"/>
                  <a:gd name="T24" fmla="*/ 6 w 6"/>
                  <a:gd name="T25" fmla="*/ 8 h 9"/>
                  <a:gd name="T26" fmla="*/ 6 w 6"/>
                  <a:gd name="T27" fmla="*/ 6 h 9"/>
                  <a:gd name="T28" fmla="*/ 5 w 6"/>
                  <a:gd name="T29" fmla="*/ 6 h 9"/>
                  <a:gd name="T30" fmla="*/ 5 w 6"/>
                  <a:gd name="T31" fmla="*/ 5 h 9"/>
                  <a:gd name="T32" fmla="*/ 2 w 6"/>
                  <a:gd name="T33" fmla="*/ 5 h 9"/>
                  <a:gd name="T34" fmla="*/ 2 w 6"/>
                  <a:gd name="T35" fmla="*/ 0 h 9"/>
                  <a:gd name="T36" fmla="*/ 0 w 6"/>
                  <a:gd name="T3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" h="9">
                    <a:moveTo>
                      <a:pt x="0" y="0"/>
                    </a:moveTo>
                    <a:lnTo>
                      <a:pt x="0" y="5"/>
                    </a:lnTo>
                    <a:lnTo>
                      <a:pt x="0" y="6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5" y="8"/>
                    </a:lnTo>
                    <a:lnTo>
                      <a:pt x="3" y="6"/>
                    </a:lnTo>
                    <a:lnTo>
                      <a:pt x="3" y="8"/>
                    </a:lnTo>
                    <a:lnTo>
                      <a:pt x="2" y="8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5" y="6"/>
                    </a:lnTo>
                    <a:lnTo>
                      <a:pt x="5" y="5"/>
                    </a:lnTo>
                    <a:lnTo>
                      <a:pt x="2" y="5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4" name="Freeform 1806"/>
              <p:cNvSpPr>
                <a:spLocks/>
              </p:cNvSpPr>
              <p:nvPr/>
            </p:nvSpPr>
            <p:spPr bwMode="auto">
              <a:xfrm>
                <a:off x="5813520" y="2855154"/>
                <a:ext cx="8903" cy="3957"/>
              </a:xfrm>
              <a:custGeom>
                <a:avLst/>
                <a:gdLst>
                  <a:gd name="T0" fmla="*/ 0 w 9"/>
                  <a:gd name="T1" fmla="*/ 4 h 4"/>
                  <a:gd name="T2" fmla="*/ 7 w 9"/>
                  <a:gd name="T3" fmla="*/ 3 h 4"/>
                  <a:gd name="T4" fmla="*/ 7 w 9"/>
                  <a:gd name="T5" fmla="*/ 3 h 4"/>
                  <a:gd name="T6" fmla="*/ 7 w 9"/>
                  <a:gd name="T7" fmla="*/ 1 h 4"/>
                  <a:gd name="T8" fmla="*/ 7 w 9"/>
                  <a:gd name="T9" fmla="*/ 3 h 4"/>
                  <a:gd name="T10" fmla="*/ 7 w 9"/>
                  <a:gd name="T11" fmla="*/ 3 h 4"/>
                  <a:gd name="T12" fmla="*/ 7 w 9"/>
                  <a:gd name="T13" fmla="*/ 3 h 4"/>
                  <a:gd name="T14" fmla="*/ 9 w 9"/>
                  <a:gd name="T15" fmla="*/ 3 h 4"/>
                  <a:gd name="T16" fmla="*/ 7 w 9"/>
                  <a:gd name="T17" fmla="*/ 3 h 4"/>
                  <a:gd name="T18" fmla="*/ 7 w 9"/>
                  <a:gd name="T19" fmla="*/ 4 h 4"/>
                  <a:gd name="T20" fmla="*/ 9 w 9"/>
                  <a:gd name="T21" fmla="*/ 4 h 4"/>
                  <a:gd name="T22" fmla="*/ 9 w 9"/>
                  <a:gd name="T23" fmla="*/ 3 h 4"/>
                  <a:gd name="T24" fmla="*/ 9 w 9"/>
                  <a:gd name="T25" fmla="*/ 1 h 4"/>
                  <a:gd name="T26" fmla="*/ 9 w 9"/>
                  <a:gd name="T27" fmla="*/ 1 h 4"/>
                  <a:gd name="T28" fmla="*/ 9 w 9"/>
                  <a:gd name="T29" fmla="*/ 0 h 4"/>
                  <a:gd name="T30" fmla="*/ 7 w 9"/>
                  <a:gd name="T31" fmla="*/ 0 h 4"/>
                  <a:gd name="T32" fmla="*/ 7 w 9"/>
                  <a:gd name="T33" fmla="*/ 0 h 4"/>
                  <a:gd name="T34" fmla="*/ 7 w 9"/>
                  <a:gd name="T35" fmla="*/ 0 h 4"/>
                  <a:gd name="T36" fmla="*/ 7 w 9"/>
                  <a:gd name="T37" fmla="*/ 0 h 4"/>
                  <a:gd name="T38" fmla="*/ 0 w 9"/>
                  <a:gd name="T39" fmla="*/ 3 h 4"/>
                  <a:gd name="T40" fmla="*/ 0 w 9"/>
                  <a:gd name="T4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" h="4">
                    <a:moveTo>
                      <a:pt x="0" y="4"/>
                    </a:moveTo>
                    <a:lnTo>
                      <a:pt x="7" y="3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9" y="3"/>
                    </a:lnTo>
                    <a:lnTo>
                      <a:pt x="7" y="3"/>
                    </a:lnTo>
                    <a:lnTo>
                      <a:pt x="7" y="4"/>
                    </a:lnTo>
                    <a:lnTo>
                      <a:pt x="9" y="4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0" y="3"/>
                    </a:lnTo>
                    <a:lnTo>
                      <a:pt x="0" y="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5" name="Freeform 1807"/>
              <p:cNvSpPr>
                <a:spLocks/>
              </p:cNvSpPr>
              <p:nvPr/>
            </p:nvSpPr>
            <p:spPr bwMode="auto">
              <a:xfrm>
                <a:off x="5806595" y="2861089"/>
                <a:ext cx="3957" cy="10882"/>
              </a:xfrm>
              <a:custGeom>
                <a:avLst/>
                <a:gdLst>
                  <a:gd name="T0" fmla="*/ 3 w 4"/>
                  <a:gd name="T1" fmla="*/ 11 h 11"/>
                  <a:gd name="T2" fmla="*/ 4 w 4"/>
                  <a:gd name="T3" fmla="*/ 1 h 11"/>
                  <a:gd name="T4" fmla="*/ 3 w 4"/>
                  <a:gd name="T5" fmla="*/ 0 h 11"/>
                  <a:gd name="T6" fmla="*/ 0 w 4"/>
                  <a:gd name="T7" fmla="*/ 10 h 11"/>
                  <a:gd name="T8" fmla="*/ 3 w 4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1">
                    <a:moveTo>
                      <a:pt x="3" y="11"/>
                    </a:moveTo>
                    <a:lnTo>
                      <a:pt x="4" y="1"/>
                    </a:lnTo>
                    <a:lnTo>
                      <a:pt x="3" y="0"/>
                    </a:lnTo>
                    <a:lnTo>
                      <a:pt x="0" y="10"/>
                    </a:lnTo>
                    <a:lnTo>
                      <a:pt x="3" y="1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6" name="Freeform 1808"/>
              <p:cNvSpPr>
                <a:spLocks/>
              </p:cNvSpPr>
              <p:nvPr/>
            </p:nvSpPr>
            <p:spPr bwMode="auto">
              <a:xfrm>
                <a:off x="5804617" y="2874939"/>
                <a:ext cx="5936" cy="9893"/>
              </a:xfrm>
              <a:custGeom>
                <a:avLst/>
                <a:gdLst>
                  <a:gd name="T0" fmla="*/ 5 w 6"/>
                  <a:gd name="T1" fmla="*/ 10 h 10"/>
                  <a:gd name="T2" fmla="*/ 6 w 6"/>
                  <a:gd name="T3" fmla="*/ 6 h 10"/>
                  <a:gd name="T4" fmla="*/ 6 w 6"/>
                  <a:gd name="T5" fmla="*/ 6 h 10"/>
                  <a:gd name="T6" fmla="*/ 3 w 6"/>
                  <a:gd name="T7" fmla="*/ 1 h 10"/>
                  <a:gd name="T8" fmla="*/ 3 w 6"/>
                  <a:gd name="T9" fmla="*/ 1 h 10"/>
                  <a:gd name="T10" fmla="*/ 2 w 6"/>
                  <a:gd name="T11" fmla="*/ 1 h 10"/>
                  <a:gd name="T12" fmla="*/ 3 w 6"/>
                  <a:gd name="T13" fmla="*/ 1 h 10"/>
                  <a:gd name="T14" fmla="*/ 3 w 6"/>
                  <a:gd name="T15" fmla="*/ 1 h 10"/>
                  <a:gd name="T16" fmla="*/ 0 w 6"/>
                  <a:gd name="T17" fmla="*/ 0 h 10"/>
                  <a:gd name="T18" fmla="*/ 0 w 6"/>
                  <a:gd name="T19" fmla="*/ 0 h 10"/>
                  <a:gd name="T20" fmla="*/ 0 w 6"/>
                  <a:gd name="T21" fmla="*/ 1 h 10"/>
                  <a:gd name="T22" fmla="*/ 0 w 6"/>
                  <a:gd name="T23" fmla="*/ 3 h 10"/>
                  <a:gd name="T24" fmla="*/ 0 w 6"/>
                  <a:gd name="T25" fmla="*/ 3 h 10"/>
                  <a:gd name="T26" fmla="*/ 3 w 6"/>
                  <a:gd name="T27" fmla="*/ 6 h 10"/>
                  <a:gd name="T28" fmla="*/ 3 w 6"/>
                  <a:gd name="T29" fmla="*/ 9 h 10"/>
                  <a:gd name="T30" fmla="*/ 5 w 6"/>
                  <a:gd name="T3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" h="10">
                    <a:moveTo>
                      <a:pt x="5" y="10"/>
                    </a:moveTo>
                    <a:lnTo>
                      <a:pt x="6" y="6"/>
                    </a:lnTo>
                    <a:lnTo>
                      <a:pt x="6" y="6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6"/>
                    </a:lnTo>
                    <a:lnTo>
                      <a:pt x="3" y="9"/>
                    </a:lnTo>
                    <a:lnTo>
                      <a:pt x="5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7" name="Freeform 1809"/>
              <p:cNvSpPr>
                <a:spLocks/>
              </p:cNvSpPr>
              <p:nvPr/>
            </p:nvSpPr>
            <p:spPr bwMode="auto">
              <a:xfrm>
                <a:off x="5793735" y="2884831"/>
                <a:ext cx="10882" cy="2968"/>
              </a:xfrm>
              <a:custGeom>
                <a:avLst/>
                <a:gdLst>
                  <a:gd name="T0" fmla="*/ 0 w 11"/>
                  <a:gd name="T1" fmla="*/ 3 h 3"/>
                  <a:gd name="T2" fmla="*/ 3 w 11"/>
                  <a:gd name="T3" fmla="*/ 3 h 3"/>
                  <a:gd name="T4" fmla="*/ 3 w 11"/>
                  <a:gd name="T5" fmla="*/ 3 h 3"/>
                  <a:gd name="T6" fmla="*/ 11 w 11"/>
                  <a:gd name="T7" fmla="*/ 2 h 3"/>
                  <a:gd name="T8" fmla="*/ 10 w 11"/>
                  <a:gd name="T9" fmla="*/ 0 h 3"/>
                  <a:gd name="T10" fmla="*/ 3 w 11"/>
                  <a:gd name="T11" fmla="*/ 0 h 3"/>
                  <a:gd name="T12" fmla="*/ 1 w 11"/>
                  <a:gd name="T13" fmla="*/ 0 h 3"/>
                  <a:gd name="T14" fmla="*/ 0 w 11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3">
                    <a:moveTo>
                      <a:pt x="0" y="3"/>
                    </a:moveTo>
                    <a:lnTo>
                      <a:pt x="3" y="3"/>
                    </a:lnTo>
                    <a:lnTo>
                      <a:pt x="3" y="3"/>
                    </a:lnTo>
                    <a:lnTo>
                      <a:pt x="11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8" name="Freeform 1810"/>
              <p:cNvSpPr>
                <a:spLocks/>
              </p:cNvSpPr>
              <p:nvPr/>
            </p:nvSpPr>
            <p:spPr bwMode="auto">
              <a:xfrm>
                <a:off x="5778896" y="2881864"/>
                <a:ext cx="9893" cy="4946"/>
              </a:xfrm>
              <a:custGeom>
                <a:avLst/>
                <a:gdLst>
                  <a:gd name="T0" fmla="*/ 0 w 10"/>
                  <a:gd name="T1" fmla="*/ 3 h 5"/>
                  <a:gd name="T2" fmla="*/ 10 w 10"/>
                  <a:gd name="T3" fmla="*/ 5 h 5"/>
                  <a:gd name="T4" fmla="*/ 10 w 10"/>
                  <a:gd name="T5" fmla="*/ 2 h 5"/>
                  <a:gd name="T6" fmla="*/ 2 w 10"/>
                  <a:gd name="T7" fmla="*/ 0 h 5"/>
                  <a:gd name="T8" fmla="*/ 0 w 10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5">
                    <a:moveTo>
                      <a:pt x="0" y="3"/>
                    </a:moveTo>
                    <a:lnTo>
                      <a:pt x="10" y="5"/>
                    </a:lnTo>
                    <a:lnTo>
                      <a:pt x="10" y="2"/>
                    </a:lnTo>
                    <a:lnTo>
                      <a:pt x="2" y="0"/>
                    </a:lnTo>
                    <a:lnTo>
                      <a:pt x="0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9" name="Freeform 1811"/>
              <p:cNvSpPr>
                <a:spLocks/>
              </p:cNvSpPr>
              <p:nvPr/>
            </p:nvSpPr>
            <p:spPr bwMode="auto">
              <a:xfrm>
                <a:off x="5765047" y="2878896"/>
                <a:ext cx="9893" cy="4946"/>
              </a:xfrm>
              <a:custGeom>
                <a:avLst/>
                <a:gdLst>
                  <a:gd name="T0" fmla="*/ 0 w 10"/>
                  <a:gd name="T1" fmla="*/ 2 h 5"/>
                  <a:gd name="T2" fmla="*/ 10 w 10"/>
                  <a:gd name="T3" fmla="*/ 5 h 5"/>
                  <a:gd name="T4" fmla="*/ 10 w 10"/>
                  <a:gd name="T5" fmla="*/ 2 h 5"/>
                  <a:gd name="T6" fmla="*/ 0 w 10"/>
                  <a:gd name="T7" fmla="*/ 0 h 5"/>
                  <a:gd name="T8" fmla="*/ 0 w 10"/>
                  <a:gd name="T9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5">
                    <a:moveTo>
                      <a:pt x="0" y="2"/>
                    </a:moveTo>
                    <a:lnTo>
                      <a:pt x="10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0" name="Freeform 1812"/>
              <p:cNvSpPr>
                <a:spLocks/>
              </p:cNvSpPr>
              <p:nvPr/>
            </p:nvSpPr>
            <p:spPr bwMode="auto">
              <a:xfrm>
                <a:off x="5752186" y="2870982"/>
                <a:ext cx="9893" cy="7914"/>
              </a:xfrm>
              <a:custGeom>
                <a:avLst/>
                <a:gdLst>
                  <a:gd name="T0" fmla="*/ 0 w 10"/>
                  <a:gd name="T1" fmla="*/ 1 h 8"/>
                  <a:gd name="T2" fmla="*/ 7 w 10"/>
                  <a:gd name="T3" fmla="*/ 8 h 8"/>
                  <a:gd name="T4" fmla="*/ 10 w 10"/>
                  <a:gd name="T5" fmla="*/ 7 h 8"/>
                  <a:gd name="T6" fmla="*/ 3 w 10"/>
                  <a:gd name="T7" fmla="*/ 0 h 8"/>
                  <a:gd name="T8" fmla="*/ 0 w 10"/>
                  <a:gd name="T9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0" y="1"/>
                    </a:moveTo>
                    <a:lnTo>
                      <a:pt x="7" y="8"/>
                    </a:lnTo>
                    <a:lnTo>
                      <a:pt x="10" y="7"/>
                    </a:lnTo>
                    <a:lnTo>
                      <a:pt x="3" y="0"/>
                    </a:lnTo>
                    <a:lnTo>
                      <a:pt x="0" y="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" name="Rectangle 1814"/>
              <p:cNvSpPr>
                <a:spLocks noChangeArrowheads="1"/>
              </p:cNvSpPr>
              <p:nvPr/>
            </p:nvSpPr>
            <p:spPr bwMode="auto">
              <a:xfrm>
                <a:off x="5739326" y="2868014"/>
                <a:ext cx="9893" cy="296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" name="Freeform 1815"/>
              <p:cNvSpPr>
                <a:spLocks/>
              </p:cNvSpPr>
              <p:nvPr/>
            </p:nvSpPr>
            <p:spPr bwMode="auto">
              <a:xfrm>
                <a:off x="5723498" y="2866036"/>
                <a:ext cx="10882" cy="4946"/>
              </a:xfrm>
              <a:custGeom>
                <a:avLst/>
                <a:gdLst>
                  <a:gd name="T0" fmla="*/ 0 w 11"/>
                  <a:gd name="T1" fmla="*/ 2 h 5"/>
                  <a:gd name="T2" fmla="*/ 3 w 11"/>
                  <a:gd name="T3" fmla="*/ 3 h 5"/>
                  <a:gd name="T4" fmla="*/ 4 w 11"/>
                  <a:gd name="T5" fmla="*/ 3 h 5"/>
                  <a:gd name="T6" fmla="*/ 10 w 11"/>
                  <a:gd name="T7" fmla="*/ 5 h 5"/>
                  <a:gd name="T8" fmla="*/ 11 w 11"/>
                  <a:gd name="T9" fmla="*/ 2 h 5"/>
                  <a:gd name="T10" fmla="*/ 4 w 11"/>
                  <a:gd name="T11" fmla="*/ 2 h 5"/>
                  <a:gd name="T12" fmla="*/ 1 w 11"/>
                  <a:gd name="T13" fmla="*/ 0 h 5"/>
                  <a:gd name="T14" fmla="*/ 0 w 11"/>
                  <a:gd name="T1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5">
                    <a:moveTo>
                      <a:pt x="0" y="2"/>
                    </a:moveTo>
                    <a:lnTo>
                      <a:pt x="3" y="3"/>
                    </a:lnTo>
                    <a:lnTo>
                      <a:pt x="4" y="3"/>
                    </a:lnTo>
                    <a:lnTo>
                      <a:pt x="10" y="5"/>
                    </a:lnTo>
                    <a:lnTo>
                      <a:pt x="11" y="2"/>
                    </a:lnTo>
                    <a:lnTo>
                      <a:pt x="4" y="2"/>
                    </a:lnTo>
                    <a:lnTo>
                      <a:pt x="1" y="0"/>
                    </a:lnTo>
                    <a:lnTo>
                      <a:pt x="0" y="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" name="Freeform 1816"/>
              <p:cNvSpPr>
                <a:spLocks/>
              </p:cNvSpPr>
              <p:nvPr/>
            </p:nvSpPr>
            <p:spPr bwMode="auto">
              <a:xfrm>
                <a:off x="5710638" y="2858122"/>
                <a:ext cx="9893" cy="6925"/>
              </a:xfrm>
              <a:custGeom>
                <a:avLst/>
                <a:gdLst>
                  <a:gd name="T0" fmla="*/ 0 w 10"/>
                  <a:gd name="T1" fmla="*/ 3 h 7"/>
                  <a:gd name="T2" fmla="*/ 8 w 10"/>
                  <a:gd name="T3" fmla="*/ 7 h 7"/>
                  <a:gd name="T4" fmla="*/ 10 w 10"/>
                  <a:gd name="T5" fmla="*/ 5 h 7"/>
                  <a:gd name="T6" fmla="*/ 1 w 10"/>
                  <a:gd name="T7" fmla="*/ 0 h 7"/>
                  <a:gd name="T8" fmla="*/ 0 w 10"/>
                  <a:gd name="T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0" y="3"/>
                    </a:moveTo>
                    <a:lnTo>
                      <a:pt x="8" y="7"/>
                    </a:lnTo>
                    <a:lnTo>
                      <a:pt x="10" y="5"/>
                    </a:lnTo>
                    <a:lnTo>
                      <a:pt x="1" y="0"/>
                    </a:lnTo>
                    <a:lnTo>
                      <a:pt x="0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" name="Freeform 1817"/>
              <p:cNvSpPr>
                <a:spLocks/>
              </p:cNvSpPr>
              <p:nvPr/>
            </p:nvSpPr>
            <p:spPr bwMode="auto">
              <a:xfrm>
                <a:off x="5697778" y="2850208"/>
                <a:ext cx="9893" cy="7914"/>
              </a:xfrm>
              <a:custGeom>
                <a:avLst/>
                <a:gdLst>
                  <a:gd name="T0" fmla="*/ 0 w 10"/>
                  <a:gd name="T1" fmla="*/ 3 h 8"/>
                  <a:gd name="T2" fmla="*/ 8 w 10"/>
                  <a:gd name="T3" fmla="*/ 8 h 8"/>
                  <a:gd name="T4" fmla="*/ 10 w 10"/>
                  <a:gd name="T5" fmla="*/ 6 h 8"/>
                  <a:gd name="T6" fmla="*/ 1 w 10"/>
                  <a:gd name="T7" fmla="*/ 0 h 8"/>
                  <a:gd name="T8" fmla="*/ 0 w 10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0" y="3"/>
                    </a:moveTo>
                    <a:lnTo>
                      <a:pt x="8" y="8"/>
                    </a:lnTo>
                    <a:lnTo>
                      <a:pt x="10" y="6"/>
                    </a:lnTo>
                    <a:lnTo>
                      <a:pt x="1" y="0"/>
                    </a:lnTo>
                    <a:lnTo>
                      <a:pt x="0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" name="Freeform 1818"/>
              <p:cNvSpPr>
                <a:spLocks/>
              </p:cNvSpPr>
              <p:nvPr/>
            </p:nvSpPr>
            <p:spPr bwMode="auto">
              <a:xfrm>
                <a:off x="5684917" y="2843283"/>
                <a:ext cx="9893" cy="6925"/>
              </a:xfrm>
              <a:custGeom>
                <a:avLst/>
                <a:gdLst>
                  <a:gd name="T0" fmla="*/ 0 w 10"/>
                  <a:gd name="T1" fmla="*/ 2 h 7"/>
                  <a:gd name="T2" fmla="*/ 8 w 10"/>
                  <a:gd name="T3" fmla="*/ 7 h 7"/>
                  <a:gd name="T4" fmla="*/ 10 w 10"/>
                  <a:gd name="T5" fmla="*/ 4 h 7"/>
                  <a:gd name="T6" fmla="*/ 1 w 10"/>
                  <a:gd name="T7" fmla="*/ 0 h 7"/>
                  <a:gd name="T8" fmla="*/ 0 w 10"/>
                  <a:gd name="T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0" y="2"/>
                    </a:moveTo>
                    <a:lnTo>
                      <a:pt x="8" y="7"/>
                    </a:lnTo>
                    <a:lnTo>
                      <a:pt x="10" y="4"/>
                    </a:lnTo>
                    <a:lnTo>
                      <a:pt x="1" y="0"/>
                    </a:lnTo>
                    <a:lnTo>
                      <a:pt x="0" y="2"/>
                    </a:lnTo>
                  </a:path>
                </a:pathLst>
              </a:custGeom>
              <a:grpFill/>
              <a:ln w="3175"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" name="Freeform 1819"/>
              <p:cNvSpPr>
                <a:spLocks/>
              </p:cNvSpPr>
              <p:nvPr/>
            </p:nvSpPr>
            <p:spPr bwMode="auto">
              <a:xfrm>
                <a:off x="5684917" y="2830423"/>
                <a:ext cx="3957" cy="9893"/>
              </a:xfrm>
              <a:custGeom>
                <a:avLst/>
                <a:gdLst>
                  <a:gd name="T0" fmla="*/ 3 w 4"/>
                  <a:gd name="T1" fmla="*/ 0 h 10"/>
                  <a:gd name="T2" fmla="*/ 0 w 4"/>
                  <a:gd name="T3" fmla="*/ 9 h 10"/>
                  <a:gd name="T4" fmla="*/ 3 w 4"/>
                  <a:gd name="T5" fmla="*/ 10 h 10"/>
                  <a:gd name="T6" fmla="*/ 4 w 4"/>
                  <a:gd name="T7" fmla="*/ 0 h 10"/>
                  <a:gd name="T8" fmla="*/ 3 w 4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0">
                    <a:moveTo>
                      <a:pt x="3" y="0"/>
                    </a:moveTo>
                    <a:lnTo>
                      <a:pt x="0" y="9"/>
                    </a:lnTo>
                    <a:lnTo>
                      <a:pt x="3" y="10"/>
                    </a:lnTo>
                    <a:lnTo>
                      <a:pt x="4" y="0"/>
                    </a:lnTo>
                    <a:lnTo>
                      <a:pt x="3" y="0"/>
                    </a:lnTo>
                  </a:path>
                </a:pathLst>
              </a:custGeom>
              <a:grpFill/>
              <a:ln w="3175"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" name="Freeform 1820"/>
              <p:cNvSpPr>
                <a:spLocks/>
              </p:cNvSpPr>
              <p:nvPr/>
            </p:nvSpPr>
            <p:spPr bwMode="auto">
              <a:xfrm>
                <a:off x="5689863" y="2819541"/>
                <a:ext cx="10882" cy="7914"/>
              </a:xfrm>
              <a:custGeom>
                <a:avLst/>
                <a:gdLst>
                  <a:gd name="T0" fmla="*/ 9 w 11"/>
                  <a:gd name="T1" fmla="*/ 0 h 8"/>
                  <a:gd name="T2" fmla="*/ 0 w 11"/>
                  <a:gd name="T3" fmla="*/ 5 h 8"/>
                  <a:gd name="T4" fmla="*/ 2 w 11"/>
                  <a:gd name="T5" fmla="*/ 8 h 8"/>
                  <a:gd name="T6" fmla="*/ 11 w 11"/>
                  <a:gd name="T7" fmla="*/ 2 h 8"/>
                  <a:gd name="T8" fmla="*/ 9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9" y="0"/>
                    </a:moveTo>
                    <a:lnTo>
                      <a:pt x="0" y="5"/>
                    </a:lnTo>
                    <a:lnTo>
                      <a:pt x="2" y="8"/>
                    </a:lnTo>
                    <a:lnTo>
                      <a:pt x="11" y="2"/>
                    </a:lnTo>
                    <a:lnTo>
                      <a:pt x="9" y="0"/>
                    </a:lnTo>
                  </a:path>
                </a:pathLst>
              </a:custGeom>
              <a:grpFill/>
              <a:ln w="3175"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" name="Freeform 1821"/>
              <p:cNvSpPr>
                <a:spLocks/>
              </p:cNvSpPr>
              <p:nvPr/>
            </p:nvSpPr>
            <p:spPr bwMode="auto">
              <a:xfrm>
                <a:off x="5688874" y="2810637"/>
                <a:ext cx="9893" cy="6925"/>
              </a:xfrm>
              <a:custGeom>
                <a:avLst/>
                <a:gdLst>
                  <a:gd name="T0" fmla="*/ 0 w 10"/>
                  <a:gd name="T1" fmla="*/ 3 h 7"/>
                  <a:gd name="T2" fmla="*/ 9 w 10"/>
                  <a:gd name="T3" fmla="*/ 7 h 7"/>
                  <a:gd name="T4" fmla="*/ 10 w 10"/>
                  <a:gd name="T5" fmla="*/ 6 h 7"/>
                  <a:gd name="T6" fmla="*/ 1 w 10"/>
                  <a:gd name="T7" fmla="*/ 0 h 7"/>
                  <a:gd name="T8" fmla="*/ 0 w 10"/>
                  <a:gd name="T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0" y="3"/>
                    </a:moveTo>
                    <a:lnTo>
                      <a:pt x="9" y="7"/>
                    </a:lnTo>
                    <a:lnTo>
                      <a:pt x="10" y="6"/>
                    </a:lnTo>
                    <a:lnTo>
                      <a:pt x="1" y="0"/>
                    </a:lnTo>
                    <a:lnTo>
                      <a:pt x="0" y="3"/>
                    </a:lnTo>
                  </a:path>
                </a:pathLst>
              </a:custGeom>
              <a:grpFill/>
              <a:ln w="3175"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" name="Freeform 1822"/>
              <p:cNvSpPr>
                <a:spLocks/>
              </p:cNvSpPr>
              <p:nvPr/>
            </p:nvSpPr>
            <p:spPr bwMode="auto">
              <a:xfrm>
                <a:off x="5676014" y="2803713"/>
                <a:ext cx="9893" cy="6925"/>
              </a:xfrm>
              <a:custGeom>
                <a:avLst/>
                <a:gdLst>
                  <a:gd name="T0" fmla="*/ 0 w 10"/>
                  <a:gd name="T1" fmla="*/ 1 h 7"/>
                  <a:gd name="T2" fmla="*/ 9 w 10"/>
                  <a:gd name="T3" fmla="*/ 7 h 7"/>
                  <a:gd name="T4" fmla="*/ 10 w 10"/>
                  <a:gd name="T5" fmla="*/ 4 h 7"/>
                  <a:gd name="T6" fmla="*/ 1 w 10"/>
                  <a:gd name="T7" fmla="*/ 0 h 7"/>
                  <a:gd name="T8" fmla="*/ 0 w 10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0" y="1"/>
                    </a:moveTo>
                    <a:lnTo>
                      <a:pt x="9" y="7"/>
                    </a:lnTo>
                    <a:lnTo>
                      <a:pt x="10" y="4"/>
                    </a:ln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grpFill/>
              <a:ln w="3175"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7" name="Freeform 1823"/>
              <p:cNvSpPr>
                <a:spLocks/>
              </p:cNvSpPr>
              <p:nvPr/>
            </p:nvSpPr>
            <p:spPr bwMode="auto">
              <a:xfrm>
                <a:off x="5678982" y="2730507"/>
                <a:ext cx="8903" cy="7914"/>
              </a:xfrm>
              <a:custGeom>
                <a:avLst/>
                <a:gdLst>
                  <a:gd name="T0" fmla="*/ 6 w 9"/>
                  <a:gd name="T1" fmla="*/ 0 h 8"/>
                  <a:gd name="T2" fmla="*/ 4 w 9"/>
                  <a:gd name="T3" fmla="*/ 3 h 8"/>
                  <a:gd name="T4" fmla="*/ 0 w 9"/>
                  <a:gd name="T5" fmla="*/ 7 h 8"/>
                  <a:gd name="T6" fmla="*/ 1 w 9"/>
                  <a:gd name="T7" fmla="*/ 8 h 8"/>
                  <a:gd name="T8" fmla="*/ 7 w 9"/>
                  <a:gd name="T9" fmla="*/ 4 h 8"/>
                  <a:gd name="T10" fmla="*/ 9 w 9"/>
                  <a:gd name="T11" fmla="*/ 1 h 8"/>
                  <a:gd name="T12" fmla="*/ 6 w 9"/>
                  <a:gd name="T13" fmla="*/ 0 h 8"/>
                  <a:gd name="T14" fmla="*/ 6 w 9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8">
                    <a:moveTo>
                      <a:pt x="6" y="0"/>
                    </a:moveTo>
                    <a:lnTo>
                      <a:pt x="4" y="3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7" y="4"/>
                    </a:lnTo>
                    <a:lnTo>
                      <a:pt x="9" y="1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3175"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grpSp>
          <p:nvGrpSpPr>
            <p:cNvPr id="1868" name="Group 1867">
              <a:extLst>
                <a:ext uri="{FF2B5EF4-FFF2-40B4-BE49-F238E27FC236}">
                  <a16:creationId xmlns:a16="http://schemas.microsoft.com/office/drawing/2014/main" id="{215F2DD6-8638-BF46-B399-F607F52F918D}"/>
                </a:ext>
              </a:extLst>
            </p:cNvPr>
            <p:cNvGrpSpPr/>
            <p:nvPr/>
          </p:nvGrpSpPr>
          <p:grpSpPr>
            <a:xfrm>
              <a:off x="3256285" y="1124939"/>
              <a:ext cx="2433579" cy="2788723"/>
              <a:chOff x="3256285" y="1124939"/>
              <a:chExt cx="2433579" cy="2788723"/>
            </a:xfrm>
            <a:solidFill>
              <a:schemeClr val="accent4"/>
            </a:solidFill>
          </p:grpSpPr>
          <p:sp>
            <p:nvSpPr>
              <p:cNvPr id="1655" name="Freeform 5"/>
              <p:cNvSpPr>
                <a:spLocks/>
              </p:cNvSpPr>
              <p:nvPr/>
            </p:nvSpPr>
            <p:spPr bwMode="auto">
              <a:xfrm>
                <a:off x="3963606" y="1711570"/>
                <a:ext cx="44517" cy="26710"/>
              </a:xfrm>
              <a:custGeom>
                <a:avLst/>
                <a:gdLst>
                  <a:gd name="T0" fmla="*/ 45 w 45"/>
                  <a:gd name="T1" fmla="*/ 17 h 27"/>
                  <a:gd name="T2" fmla="*/ 45 w 45"/>
                  <a:gd name="T3" fmla="*/ 17 h 27"/>
                  <a:gd name="T4" fmla="*/ 45 w 45"/>
                  <a:gd name="T5" fmla="*/ 14 h 27"/>
                  <a:gd name="T6" fmla="*/ 44 w 45"/>
                  <a:gd name="T7" fmla="*/ 11 h 27"/>
                  <a:gd name="T8" fmla="*/ 42 w 45"/>
                  <a:gd name="T9" fmla="*/ 10 h 27"/>
                  <a:gd name="T10" fmla="*/ 42 w 45"/>
                  <a:gd name="T11" fmla="*/ 7 h 27"/>
                  <a:gd name="T12" fmla="*/ 42 w 45"/>
                  <a:gd name="T13" fmla="*/ 7 h 27"/>
                  <a:gd name="T14" fmla="*/ 42 w 45"/>
                  <a:gd name="T15" fmla="*/ 4 h 27"/>
                  <a:gd name="T16" fmla="*/ 41 w 45"/>
                  <a:gd name="T17" fmla="*/ 1 h 27"/>
                  <a:gd name="T18" fmla="*/ 39 w 45"/>
                  <a:gd name="T19" fmla="*/ 0 h 27"/>
                  <a:gd name="T20" fmla="*/ 36 w 45"/>
                  <a:gd name="T21" fmla="*/ 0 h 27"/>
                  <a:gd name="T22" fmla="*/ 36 w 45"/>
                  <a:gd name="T23" fmla="*/ 0 h 27"/>
                  <a:gd name="T24" fmla="*/ 26 w 45"/>
                  <a:gd name="T25" fmla="*/ 4 h 27"/>
                  <a:gd name="T26" fmla="*/ 15 w 45"/>
                  <a:gd name="T27" fmla="*/ 9 h 27"/>
                  <a:gd name="T28" fmla="*/ 15 w 45"/>
                  <a:gd name="T29" fmla="*/ 9 h 27"/>
                  <a:gd name="T30" fmla="*/ 12 w 45"/>
                  <a:gd name="T31" fmla="*/ 11 h 27"/>
                  <a:gd name="T32" fmla="*/ 9 w 45"/>
                  <a:gd name="T33" fmla="*/ 14 h 27"/>
                  <a:gd name="T34" fmla="*/ 6 w 45"/>
                  <a:gd name="T35" fmla="*/ 19 h 27"/>
                  <a:gd name="T36" fmla="*/ 6 w 45"/>
                  <a:gd name="T37" fmla="*/ 19 h 27"/>
                  <a:gd name="T38" fmla="*/ 2 w 45"/>
                  <a:gd name="T39" fmla="*/ 22 h 27"/>
                  <a:gd name="T40" fmla="*/ 0 w 45"/>
                  <a:gd name="T41" fmla="*/ 23 h 27"/>
                  <a:gd name="T42" fmla="*/ 0 w 45"/>
                  <a:gd name="T43" fmla="*/ 24 h 27"/>
                  <a:gd name="T44" fmla="*/ 0 w 45"/>
                  <a:gd name="T45" fmla="*/ 24 h 27"/>
                  <a:gd name="T46" fmla="*/ 3 w 45"/>
                  <a:gd name="T47" fmla="*/ 26 h 27"/>
                  <a:gd name="T48" fmla="*/ 7 w 45"/>
                  <a:gd name="T49" fmla="*/ 26 h 27"/>
                  <a:gd name="T50" fmla="*/ 13 w 45"/>
                  <a:gd name="T51" fmla="*/ 27 h 27"/>
                  <a:gd name="T52" fmla="*/ 18 w 45"/>
                  <a:gd name="T53" fmla="*/ 26 h 27"/>
                  <a:gd name="T54" fmla="*/ 18 w 45"/>
                  <a:gd name="T55" fmla="*/ 26 h 27"/>
                  <a:gd name="T56" fmla="*/ 25 w 45"/>
                  <a:gd name="T57" fmla="*/ 23 h 27"/>
                  <a:gd name="T58" fmla="*/ 29 w 45"/>
                  <a:gd name="T59" fmla="*/ 22 h 27"/>
                  <a:gd name="T60" fmla="*/ 32 w 45"/>
                  <a:gd name="T61" fmla="*/ 20 h 27"/>
                  <a:gd name="T62" fmla="*/ 32 w 45"/>
                  <a:gd name="T63" fmla="*/ 20 h 27"/>
                  <a:gd name="T64" fmla="*/ 41 w 45"/>
                  <a:gd name="T65" fmla="*/ 20 h 27"/>
                  <a:gd name="T66" fmla="*/ 44 w 45"/>
                  <a:gd name="T67" fmla="*/ 19 h 27"/>
                  <a:gd name="T68" fmla="*/ 45 w 45"/>
                  <a:gd name="T69" fmla="*/ 1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" h="27">
                    <a:moveTo>
                      <a:pt x="45" y="17"/>
                    </a:moveTo>
                    <a:lnTo>
                      <a:pt x="45" y="17"/>
                    </a:lnTo>
                    <a:lnTo>
                      <a:pt x="45" y="14"/>
                    </a:lnTo>
                    <a:lnTo>
                      <a:pt x="44" y="11"/>
                    </a:lnTo>
                    <a:lnTo>
                      <a:pt x="42" y="10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2" y="4"/>
                    </a:lnTo>
                    <a:lnTo>
                      <a:pt x="41" y="1"/>
                    </a:lnTo>
                    <a:lnTo>
                      <a:pt x="39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6" y="4"/>
                    </a:lnTo>
                    <a:lnTo>
                      <a:pt x="15" y="9"/>
                    </a:lnTo>
                    <a:lnTo>
                      <a:pt x="15" y="9"/>
                    </a:lnTo>
                    <a:lnTo>
                      <a:pt x="12" y="11"/>
                    </a:lnTo>
                    <a:lnTo>
                      <a:pt x="9" y="14"/>
                    </a:lnTo>
                    <a:lnTo>
                      <a:pt x="6" y="19"/>
                    </a:lnTo>
                    <a:lnTo>
                      <a:pt x="6" y="19"/>
                    </a:lnTo>
                    <a:lnTo>
                      <a:pt x="2" y="22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3" y="26"/>
                    </a:lnTo>
                    <a:lnTo>
                      <a:pt x="7" y="26"/>
                    </a:lnTo>
                    <a:lnTo>
                      <a:pt x="13" y="27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5" y="23"/>
                    </a:lnTo>
                    <a:lnTo>
                      <a:pt x="29" y="22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41" y="20"/>
                    </a:lnTo>
                    <a:lnTo>
                      <a:pt x="44" y="19"/>
                    </a:lnTo>
                    <a:lnTo>
                      <a:pt x="45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56" name="Freeform 6"/>
              <p:cNvSpPr>
                <a:spLocks/>
              </p:cNvSpPr>
              <p:nvPr/>
            </p:nvSpPr>
            <p:spPr bwMode="auto">
              <a:xfrm>
                <a:off x="3963606" y="1711570"/>
                <a:ext cx="44517" cy="26710"/>
              </a:xfrm>
              <a:custGeom>
                <a:avLst/>
                <a:gdLst>
                  <a:gd name="T0" fmla="*/ 45 w 45"/>
                  <a:gd name="T1" fmla="*/ 17 h 27"/>
                  <a:gd name="T2" fmla="*/ 45 w 45"/>
                  <a:gd name="T3" fmla="*/ 17 h 27"/>
                  <a:gd name="T4" fmla="*/ 45 w 45"/>
                  <a:gd name="T5" fmla="*/ 14 h 27"/>
                  <a:gd name="T6" fmla="*/ 44 w 45"/>
                  <a:gd name="T7" fmla="*/ 11 h 27"/>
                  <a:gd name="T8" fmla="*/ 42 w 45"/>
                  <a:gd name="T9" fmla="*/ 10 h 27"/>
                  <a:gd name="T10" fmla="*/ 42 w 45"/>
                  <a:gd name="T11" fmla="*/ 7 h 27"/>
                  <a:gd name="T12" fmla="*/ 42 w 45"/>
                  <a:gd name="T13" fmla="*/ 7 h 27"/>
                  <a:gd name="T14" fmla="*/ 42 w 45"/>
                  <a:gd name="T15" fmla="*/ 4 h 27"/>
                  <a:gd name="T16" fmla="*/ 41 w 45"/>
                  <a:gd name="T17" fmla="*/ 1 h 27"/>
                  <a:gd name="T18" fmla="*/ 39 w 45"/>
                  <a:gd name="T19" fmla="*/ 0 h 27"/>
                  <a:gd name="T20" fmla="*/ 36 w 45"/>
                  <a:gd name="T21" fmla="*/ 0 h 27"/>
                  <a:gd name="T22" fmla="*/ 36 w 45"/>
                  <a:gd name="T23" fmla="*/ 0 h 27"/>
                  <a:gd name="T24" fmla="*/ 26 w 45"/>
                  <a:gd name="T25" fmla="*/ 4 h 27"/>
                  <a:gd name="T26" fmla="*/ 15 w 45"/>
                  <a:gd name="T27" fmla="*/ 9 h 27"/>
                  <a:gd name="T28" fmla="*/ 15 w 45"/>
                  <a:gd name="T29" fmla="*/ 9 h 27"/>
                  <a:gd name="T30" fmla="*/ 12 w 45"/>
                  <a:gd name="T31" fmla="*/ 11 h 27"/>
                  <a:gd name="T32" fmla="*/ 9 w 45"/>
                  <a:gd name="T33" fmla="*/ 14 h 27"/>
                  <a:gd name="T34" fmla="*/ 6 w 45"/>
                  <a:gd name="T35" fmla="*/ 19 h 27"/>
                  <a:gd name="T36" fmla="*/ 6 w 45"/>
                  <a:gd name="T37" fmla="*/ 19 h 27"/>
                  <a:gd name="T38" fmla="*/ 2 w 45"/>
                  <a:gd name="T39" fmla="*/ 22 h 27"/>
                  <a:gd name="T40" fmla="*/ 0 w 45"/>
                  <a:gd name="T41" fmla="*/ 23 h 27"/>
                  <a:gd name="T42" fmla="*/ 0 w 45"/>
                  <a:gd name="T43" fmla="*/ 24 h 27"/>
                  <a:gd name="T44" fmla="*/ 0 w 45"/>
                  <a:gd name="T45" fmla="*/ 24 h 27"/>
                  <a:gd name="T46" fmla="*/ 3 w 45"/>
                  <a:gd name="T47" fmla="*/ 26 h 27"/>
                  <a:gd name="T48" fmla="*/ 7 w 45"/>
                  <a:gd name="T49" fmla="*/ 26 h 27"/>
                  <a:gd name="T50" fmla="*/ 13 w 45"/>
                  <a:gd name="T51" fmla="*/ 27 h 27"/>
                  <a:gd name="T52" fmla="*/ 18 w 45"/>
                  <a:gd name="T53" fmla="*/ 26 h 27"/>
                  <a:gd name="T54" fmla="*/ 18 w 45"/>
                  <a:gd name="T55" fmla="*/ 26 h 27"/>
                  <a:gd name="T56" fmla="*/ 25 w 45"/>
                  <a:gd name="T57" fmla="*/ 23 h 27"/>
                  <a:gd name="T58" fmla="*/ 29 w 45"/>
                  <a:gd name="T59" fmla="*/ 22 h 27"/>
                  <a:gd name="T60" fmla="*/ 32 w 45"/>
                  <a:gd name="T61" fmla="*/ 20 h 27"/>
                  <a:gd name="T62" fmla="*/ 32 w 45"/>
                  <a:gd name="T63" fmla="*/ 20 h 27"/>
                  <a:gd name="T64" fmla="*/ 41 w 45"/>
                  <a:gd name="T65" fmla="*/ 20 h 27"/>
                  <a:gd name="T66" fmla="*/ 44 w 45"/>
                  <a:gd name="T67" fmla="*/ 19 h 27"/>
                  <a:gd name="T68" fmla="*/ 45 w 45"/>
                  <a:gd name="T69" fmla="*/ 1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" h="27">
                    <a:moveTo>
                      <a:pt x="45" y="17"/>
                    </a:moveTo>
                    <a:lnTo>
                      <a:pt x="45" y="17"/>
                    </a:lnTo>
                    <a:lnTo>
                      <a:pt x="45" y="14"/>
                    </a:lnTo>
                    <a:lnTo>
                      <a:pt x="44" y="11"/>
                    </a:lnTo>
                    <a:lnTo>
                      <a:pt x="42" y="10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2" y="4"/>
                    </a:lnTo>
                    <a:lnTo>
                      <a:pt x="41" y="1"/>
                    </a:lnTo>
                    <a:lnTo>
                      <a:pt x="39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6" y="4"/>
                    </a:lnTo>
                    <a:lnTo>
                      <a:pt x="15" y="9"/>
                    </a:lnTo>
                    <a:lnTo>
                      <a:pt x="15" y="9"/>
                    </a:lnTo>
                    <a:lnTo>
                      <a:pt x="12" y="11"/>
                    </a:lnTo>
                    <a:lnTo>
                      <a:pt x="9" y="14"/>
                    </a:lnTo>
                    <a:lnTo>
                      <a:pt x="6" y="19"/>
                    </a:lnTo>
                    <a:lnTo>
                      <a:pt x="6" y="19"/>
                    </a:lnTo>
                    <a:lnTo>
                      <a:pt x="2" y="22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3" y="26"/>
                    </a:lnTo>
                    <a:lnTo>
                      <a:pt x="7" y="26"/>
                    </a:lnTo>
                    <a:lnTo>
                      <a:pt x="13" y="27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5" y="23"/>
                    </a:lnTo>
                    <a:lnTo>
                      <a:pt x="29" y="22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41" y="20"/>
                    </a:lnTo>
                    <a:lnTo>
                      <a:pt x="44" y="19"/>
                    </a:lnTo>
                    <a:lnTo>
                      <a:pt x="45" y="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57" name="Freeform 7"/>
              <p:cNvSpPr>
                <a:spLocks/>
              </p:cNvSpPr>
              <p:nvPr/>
            </p:nvSpPr>
            <p:spPr bwMode="auto">
              <a:xfrm>
                <a:off x="3965584" y="1692774"/>
                <a:ext cx="35613" cy="21764"/>
              </a:xfrm>
              <a:custGeom>
                <a:avLst/>
                <a:gdLst>
                  <a:gd name="T0" fmla="*/ 34 w 36"/>
                  <a:gd name="T1" fmla="*/ 12 h 22"/>
                  <a:gd name="T2" fmla="*/ 34 w 36"/>
                  <a:gd name="T3" fmla="*/ 12 h 22"/>
                  <a:gd name="T4" fmla="*/ 21 w 36"/>
                  <a:gd name="T5" fmla="*/ 19 h 22"/>
                  <a:gd name="T6" fmla="*/ 13 w 36"/>
                  <a:gd name="T7" fmla="*/ 22 h 22"/>
                  <a:gd name="T8" fmla="*/ 10 w 36"/>
                  <a:gd name="T9" fmla="*/ 22 h 22"/>
                  <a:gd name="T10" fmla="*/ 7 w 36"/>
                  <a:gd name="T11" fmla="*/ 22 h 22"/>
                  <a:gd name="T12" fmla="*/ 7 w 36"/>
                  <a:gd name="T13" fmla="*/ 22 h 22"/>
                  <a:gd name="T14" fmla="*/ 3 w 36"/>
                  <a:gd name="T15" fmla="*/ 19 h 22"/>
                  <a:gd name="T16" fmla="*/ 1 w 36"/>
                  <a:gd name="T17" fmla="*/ 16 h 22"/>
                  <a:gd name="T18" fmla="*/ 0 w 36"/>
                  <a:gd name="T19" fmla="*/ 13 h 22"/>
                  <a:gd name="T20" fmla="*/ 3 w 36"/>
                  <a:gd name="T21" fmla="*/ 12 h 22"/>
                  <a:gd name="T22" fmla="*/ 3 w 36"/>
                  <a:gd name="T23" fmla="*/ 12 h 22"/>
                  <a:gd name="T24" fmla="*/ 5 w 36"/>
                  <a:gd name="T25" fmla="*/ 9 h 22"/>
                  <a:gd name="T26" fmla="*/ 7 w 36"/>
                  <a:gd name="T27" fmla="*/ 7 h 22"/>
                  <a:gd name="T28" fmla="*/ 7 w 36"/>
                  <a:gd name="T29" fmla="*/ 7 h 22"/>
                  <a:gd name="T30" fmla="*/ 13 w 36"/>
                  <a:gd name="T31" fmla="*/ 1 h 22"/>
                  <a:gd name="T32" fmla="*/ 16 w 36"/>
                  <a:gd name="T33" fmla="*/ 0 h 22"/>
                  <a:gd name="T34" fmla="*/ 20 w 36"/>
                  <a:gd name="T35" fmla="*/ 0 h 22"/>
                  <a:gd name="T36" fmla="*/ 20 w 36"/>
                  <a:gd name="T37" fmla="*/ 0 h 22"/>
                  <a:gd name="T38" fmla="*/ 30 w 36"/>
                  <a:gd name="T39" fmla="*/ 4 h 22"/>
                  <a:gd name="T40" fmla="*/ 34 w 36"/>
                  <a:gd name="T41" fmla="*/ 9 h 22"/>
                  <a:gd name="T42" fmla="*/ 36 w 36"/>
                  <a:gd name="T43" fmla="*/ 10 h 22"/>
                  <a:gd name="T44" fmla="*/ 34 w 36"/>
                  <a:gd name="T45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6" h="22">
                    <a:moveTo>
                      <a:pt x="34" y="12"/>
                    </a:moveTo>
                    <a:lnTo>
                      <a:pt x="34" y="12"/>
                    </a:lnTo>
                    <a:lnTo>
                      <a:pt x="21" y="19"/>
                    </a:lnTo>
                    <a:lnTo>
                      <a:pt x="13" y="22"/>
                    </a:lnTo>
                    <a:lnTo>
                      <a:pt x="10" y="22"/>
                    </a:lnTo>
                    <a:lnTo>
                      <a:pt x="7" y="22"/>
                    </a:lnTo>
                    <a:lnTo>
                      <a:pt x="7" y="22"/>
                    </a:lnTo>
                    <a:lnTo>
                      <a:pt x="3" y="19"/>
                    </a:lnTo>
                    <a:lnTo>
                      <a:pt x="1" y="16"/>
                    </a:lnTo>
                    <a:lnTo>
                      <a:pt x="0" y="13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9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13" y="1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30" y="4"/>
                    </a:lnTo>
                    <a:lnTo>
                      <a:pt x="34" y="9"/>
                    </a:lnTo>
                    <a:lnTo>
                      <a:pt x="36" y="10"/>
                    </a:lnTo>
                    <a:lnTo>
                      <a:pt x="34" y="1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58" name="Freeform 8"/>
              <p:cNvSpPr>
                <a:spLocks/>
              </p:cNvSpPr>
              <p:nvPr/>
            </p:nvSpPr>
            <p:spPr bwMode="auto">
              <a:xfrm>
                <a:off x="3965584" y="1692774"/>
                <a:ext cx="35613" cy="21764"/>
              </a:xfrm>
              <a:custGeom>
                <a:avLst/>
                <a:gdLst>
                  <a:gd name="T0" fmla="*/ 34 w 36"/>
                  <a:gd name="T1" fmla="*/ 12 h 22"/>
                  <a:gd name="T2" fmla="*/ 34 w 36"/>
                  <a:gd name="T3" fmla="*/ 12 h 22"/>
                  <a:gd name="T4" fmla="*/ 21 w 36"/>
                  <a:gd name="T5" fmla="*/ 19 h 22"/>
                  <a:gd name="T6" fmla="*/ 13 w 36"/>
                  <a:gd name="T7" fmla="*/ 22 h 22"/>
                  <a:gd name="T8" fmla="*/ 10 w 36"/>
                  <a:gd name="T9" fmla="*/ 22 h 22"/>
                  <a:gd name="T10" fmla="*/ 7 w 36"/>
                  <a:gd name="T11" fmla="*/ 22 h 22"/>
                  <a:gd name="T12" fmla="*/ 7 w 36"/>
                  <a:gd name="T13" fmla="*/ 22 h 22"/>
                  <a:gd name="T14" fmla="*/ 3 w 36"/>
                  <a:gd name="T15" fmla="*/ 19 h 22"/>
                  <a:gd name="T16" fmla="*/ 1 w 36"/>
                  <a:gd name="T17" fmla="*/ 16 h 22"/>
                  <a:gd name="T18" fmla="*/ 0 w 36"/>
                  <a:gd name="T19" fmla="*/ 13 h 22"/>
                  <a:gd name="T20" fmla="*/ 3 w 36"/>
                  <a:gd name="T21" fmla="*/ 12 h 22"/>
                  <a:gd name="T22" fmla="*/ 3 w 36"/>
                  <a:gd name="T23" fmla="*/ 12 h 22"/>
                  <a:gd name="T24" fmla="*/ 5 w 36"/>
                  <a:gd name="T25" fmla="*/ 9 h 22"/>
                  <a:gd name="T26" fmla="*/ 7 w 36"/>
                  <a:gd name="T27" fmla="*/ 7 h 22"/>
                  <a:gd name="T28" fmla="*/ 7 w 36"/>
                  <a:gd name="T29" fmla="*/ 7 h 22"/>
                  <a:gd name="T30" fmla="*/ 13 w 36"/>
                  <a:gd name="T31" fmla="*/ 1 h 22"/>
                  <a:gd name="T32" fmla="*/ 16 w 36"/>
                  <a:gd name="T33" fmla="*/ 0 h 22"/>
                  <a:gd name="T34" fmla="*/ 20 w 36"/>
                  <a:gd name="T35" fmla="*/ 0 h 22"/>
                  <a:gd name="T36" fmla="*/ 20 w 36"/>
                  <a:gd name="T37" fmla="*/ 0 h 22"/>
                  <a:gd name="T38" fmla="*/ 30 w 36"/>
                  <a:gd name="T39" fmla="*/ 4 h 22"/>
                  <a:gd name="T40" fmla="*/ 34 w 36"/>
                  <a:gd name="T41" fmla="*/ 9 h 22"/>
                  <a:gd name="T42" fmla="*/ 36 w 36"/>
                  <a:gd name="T43" fmla="*/ 10 h 22"/>
                  <a:gd name="T44" fmla="*/ 34 w 36"/>
                  <a:gd name="T45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6" h="22">
                    <a:moveTo>
                      <a:pt x="34" y="12"/>
                    </a:moveTo>
                    <a:lnTo>
                      <a:pt x="34" y="12"/>
                    </a:lnTo>
                    <a:lnTo>
                      <a:pt x="21" y="19"/>
                    </a:lnTo>
                    <a:lnTo>
                      <a:pt x="13" y="22"/>
                    </a:lnTo>
                    <a:lnTo>
                      <a:pt x="10" y="22"/>
                    </a:lnTo>
                    <a:lnTo>
                      <a:pt x="7" y="22"/>
                    </a:lnTo>
                    <a:lnTo>
                      <a:pt x="7" y="22"/>
                    </a:lnTo>
                    <a:lnTo>
                      <a:pt x="3" y="19"/>
                    </a:lnTo>
                    <a:lnTo>
                      <a:pt x="1" y="16"/>
                    </a:lnTo>
                    <a:lnTo>
                      <a:pt x="0" y="13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9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13" y="1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30" y="4"/>
                    </a:lnTo>
                    <a:lnTo>
                      <a:pt x="34" y="9"/>
                    </a:lnTo>
                    <a:lnTo>
                      <a:pt x="36" y="10"/>
                    </a:lnTo>
                    <a:lnTo>
                      <a:pt x="34" y="1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59" name="Freeform 9"/>
              <p:cNvSpPr>
                <a:spLocks/>
              </p:cNvSpPr>
              <p:nvPr/>
            </p:nvSpPr>
            <p:spPr bwMode="auto">
              <a:xfrm>
                <a:off x="4018015" y="1599784"/>
                <a:ext cx="37592" cy="47484"/>
              </a:xfrm>
              <a:custGeom>
                <a:avLst/>
                <a:gdLst>
                  <a:gd name="T0" fmla="*/ 35 w 38"/>
                  <a:gd name="T1" fmla="*/ 48 h 48"/>
                  <a:gd name="T2" fmla="*/ 35 w 38"/>
                  <a:gd name="T3" fmla="*/ 48 h 48"/>
                  <a:gd name="T4" fmla="*/ 28 w 38"/>
                  <a:gd name="T5" fmla="*/ 43 h 48"/>
                  <a:gd name="T6" fmla="*/ 18 w 38"/>
                  <a:gd name="T7" fmla="*/ 38 h 48"/>
                  <a:gd name="T8" fmla="*/ 7 w 38"/>
                  <a:gd name="T9" fmla="*/ 30 h 48"/>
                  <a:gd name="T10" fmla="*/ 3 w 38"/>
                  <a:gd name="T11" fmla="*/ 25 h 48"/>
                  <a:gd name="T12" fmla="*/ 3 w 38"/>
                  <a:gd name="T13" fmla="*/ 25 h 48"/>
                  <a:gd name="T14" fmla="*/ 2 w 38"/>
                  <a:gd name="T15" fmla="*/ 16 h 48"/>
                  <a:gd name="T16" fmla="*/ 0 w 38"/>
                  <a:gd name="T17" fmla="*/ 11 h 48"/>
                  <a:gd name="T18" fmla="*/ 0 w 38"/>
                  <a:gd name="T19" fmla="*/ 10 h 48"/>
                  <a:gd name="T20" fmla="*/ 0 w 38"/>
                  <a:gd name="T21" fmla="*/ 10 h 48"/>
                  <a:gd name="T22" fmla="*/ 5 w 38"/>
                  <a:gd name="T23" fmla="*/ 9 h 48"/>
                  <a:gd name="T24" fmla="*/ 6 w 38"/>
                  <a:gd name="T25" fmla="*/ 7 h 48"/>
                  <a:gd name="T26" fmla="*/ 6 w 38"/>
                  <a:gd name="T27" fmla="*/ 7 h 48"/>
                  <a:gd name="T28" fmla="*/ 6 w 38"/>
                  <a:gd name="T29" fmla="*/ 7 h 48"/>
                  <a:gd name="T30" fmla="*/ 2 w 38"/>
                  <a:gd name="T31" fmla="*/ 4 h 48"/>
                  <a:gd name="T32" fmla="*/ 0 w 38"/>
                  <a:gd name="T33" fmla="*/ 3 h 48"/>
                  <a:gd name="T34" fmla="*/ 3 w 38"/>
                  <a:gd name="T35" fmla="*/ 3 h 48"/>
                  <a:gd name="T36" fmla="*/ 3 w 38"/>
                  <a:gd name="T37" fmla="*/ 3 h 48"/>
                  <a:gd name="T38" fmla="*/ 9 w 38"/>
                  <a:gd name="T39" fmla="*/ 0 h 48"/>
                  <a:gd name="T40" fmla="*/ 19 w 38"/>
                  <a:gd name="T41" fmla="*/ 0 h 48"/>
                  <a:gd name="T42" fmla="*/ 29 w 38"/>
                  <a:gd name="T43" fmla="*/ 0 h 48"/>
                  <a:gd name="T44" fmla="*/ 32 w 38"/>
                  <a:gd name="T45" fmla="*/ 0 h 48"/>
                  <a:gd name="T46" fmla="*/ 34 w 38"/>
                  <a:gd name="T47" fmla="*/ 1 h 48"/>
                  <a:gd name="T48" fmla="*/ 34 w 38"/>
                  <a:gd name="T49" fmla="*/ 1 h 48"/>
                  <a:gd name="T50" fmla="*/ 35 w 38"/>
                  <a:gd name="T51" fmla="*/ 10 h 48"/>
                  <a:gd name="T52" fmla="*/ 34 w 38"/>
                  <a:gd name="T53" fmla="*/ 14 h 48"/>
                  <a:gd name="T54" fmla="*/ 32 w 38"/>
                  <a:gd name="T55" fmla="*/ 14 h 48"/>
                  <a:gd name="T56" fmla="*/ 31 w 38"/>
                  <a:gd name="T57" fmla="*/ 16 h 48"/>
                  <a:gd name="T58" fmla="*/ 31 w 38"/>
                  <a:gd name="T59" fmla="*/ 16 h 48"/>
                  <a:gd name="T60" fmla="*/ 26 w 38"/>
                  <a:gd name="T61" fmla="*/ 11 h 48"/>
                  <a:gd name="T62" fmla="*/ 22 w 38"/>
                  <a:gd name="T63" fmla="*/ 10 h 48"/>
                  <a:gd name="T64" fmla="*/ 22 w 38"/>
                  <a:gd name="T65" fmla="*/ 10 h 48"/>
                  <a:gd name="T66" fmla="*/ 18 w 38"/>
                  <a:gd name="T67" fmla="*/ 9 h 48"/>
                  <a:gd name="T68" fmla="*/ 15 w 38"/>
                  <a:gd name="T69" fmla="*/ 9 h 48"/>
                  <a:gd name="T70" fmla="*/ 13 w 38"/>
                  <a:gd name="T71" fmla="*/ 10 h 48"/>
                  <a:gd name="T72" fmla="*/ 13 w 38"/>
                  <a:gd name="T73" fmla="*/ 10 h 48"/>
                  <a:gd name="T74" fmla="*/ 15 w 38"/>
                  <a:gd name="T75" fmla="*/ 11 h 48"/>
                  <a:gd name="T76" fmla="*/ 18 w 38"/>
                  <a:gd name="T77" fmla="*/ 14 h 48"/>
                  <a:gd name="T78" fmla="*/ 23 w 38"/>
                  <a:gd name="T79" fmla="*/ 20 h 48"/>
                  <a:gd name="T80" fmla="*/ 23 w 38"/>
                  <a:gd name="T81" fmla="*/ 20 h 48"/>
                  <a:gd name="T82" fmla="*/ 32 w 38"/>
                  <a:gd name="T83" fmla="*/ 29 h 48"/>
                  <a:gd name="T84" fmla="*/ 35 w 38"/>
                  <a:gd name="T85" fmla="*/ 33 h 48"/>
                  <a:gd name="T86" fmla="*/ 36 w 38"/>
                  <a:gd name="T87" fmla="*/ 36 h 48"/>
                  <a:gd name="T88" fmla="*/ 36 w 38"/>
                  <a:gd name="T89" fmla="*/ 36 h 48"/>
                  <a:gd name="T90" fmla="*/ 32 w 38"/>
                  <a:gd name="T91" fmla="*/ 36 h 48"/>
                  <a:gd name="T92" fmla="*/ 31 w 38"/>
                  <a:gd name="T93" fmla="*/ 36 h 48"/>
                  <a:gd name="T94" fmla="*/ 31 w 38"/>
                  <a:gd name="T95" fmla="*/ 38 h 48"/>
                  <a:gd name="T96" fmla="*/ 31 w 38"/>
                  <a:gd name="T97" fmla="*/ 38 h 48"/>
                  <a:gd name="T98" fmla="*/ 36 w 38"/>
                  <a:gd name="T99" fmla="*/ 43 h 48"/>
                  <a:gd name="T100" fmla="*/ 38 w 38"/>
                  <a:gd name="T101" fmla="*/ 46 h 48"/>
                  <a:gd name="T102" fmla="*/ 38 w 38"/>
                  <a:gd name="T103" fmla="*/ 48 h 48"/>
                  <a:gd name="T104" fmla="*/ 35 w 38"/>
                  <a:gd name="T10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8" h="48">
                    <a:moveTo>
                      <a:pt x="35" y="48"/>
                    </a:moveTo>
                    <a:lnTo>
                      <a:pt x="35" y="48"/>
                    </a:lnTo>
                    <a:lnTo>
                      <a:pt x="28" y="43"/>
                    </a:lnTo>
                    <a:lnTo>
                      <a:pt x="18" y="38"/>
                    </a:lnTo>
                    <a:lnTo>
                      <a:pt x="7" y="30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9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9" y="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32" y="0"/>
                    </a:lnTo>
                    <a:lnTo>
                      <a:pt x="34" y="1"/>
                    </a:lnTo>
                    <a:lnTo>
                      <a:pt x="34" y="1"/>
                    </a:lnTo>
                    <a:lnTo>
                      <a:pt x="35" y="10"/>
                    </a:lnTo>
                    <a:lnTo>
                      <a:pt x="34" y="14"/>
                    </a:lnTo>
                    <a:lnTo>
                      <a:pt x="32" y="14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26" y="11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9"/>
                    </a:lnTo>
                    <a:lnTo>
                      <a:pt x="15" y="9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5" y="11"/>
                    </a:lnTo>
                    <a:lnTo>
                      <a:pt x="18" y="14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32" y="29"/>
                    </a:lnTo>
                    <a:lnTo>
                      <a:pt x="35" y="33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1" y="36"/>
                    </a:lnTo>
                    <a:lnTo>
                      <a:pt x="31" y="38"/>
                    </a:lnTo>
                    <a:lnTo>
                      <a:pt x="31" y="38"/>
                    </a:lnTo>
                    <a:lnTo>
                      <a:pt x="36" y="43"/>
                    </a:lnTo>
                    <a:lnTo>
                      <a:pt x="38" y="46"/>
                    </a:lnTo>
                    <a:lnTo>
                      <a:pt x="38" y="48"/>
                    </a:lnTo>
                    <a:lnTo>
                      <a:pt x="35" y="4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60" name="Freeform 10"/>
              <p:cNvSpPr>
                <a:spLocks/>
              </p:cNvSpPr>
              <p:nvPr/>
            </p:nvSpPr>
            <p:spPr bwMode="auto">
              <a:xfrm>
                <a:off x="4018015" y="1599784"/>
                <a:ext cx="37592" cy="47484"/>
              </a:xfrm>
              <a:custGeom>
                <a:avLst/>
                <a:gdLst>
                  <a:gd name="T0" fmla="*/ 35 w 38"/>
                  <a:gd name="T1" fmla="*/ 48 h 48"/>
                  <a:gd name="T2" fmla="*/ 35 w 38"/>
                  <a:gd name="T3" fmla="*/ 48 h 48"/>
                  <a:gd name="T4" fmla="*/ 28 w 38"/>
                  <a:gd name="T5" fmla="*/ 43 h 48"/>
                  <a:gd name="T6" fmla="*/ 18 w 38"/>
                  <a:gd name="T7" fmla="*/ 38 h 48"/>
                  <a:gd name="T8" fmla="*/ 7 w 38"/>
                  <a:gd name="T9" fmla="*/ 30 h 48"/>
                  <a:gd name="T10" fmla="*/ 3 w 38"/>
                  <a:gd name="T11" fmla="*/ 25 h 48"/>
                  <a:gd name="T12" fmla="*/ 3 w 38"/>
                  <a:gd name="T13" fmla="*/ 25 h 48"/>
                  <a:gd name="T14" fmla="*/ 2 w 38"/>
                  <a:gd name="T15" fmla="*/ 16 h 48"/>
                  <a:gd name="T16" fmla="*/ 0 w 38"/>
                  <a:gd name="T17" fmla="*/ 11 h 48"/>
                  <a:gd name="T18" fmla="*/ 0 w 38"/>
                  <a:gd name="T19" fmla="*/ 10 h 48"/>
                  <a:gd name="T20" fmla="*/ 0 w 38"/>
                  <a:gd name="T21" fmla="*/ 10 h 48"/>
                  <a:gd name="T22" fmla="*/ 5 w 38"/>
                  <a:gd name="T23" fmla="*/ 9 h 48"/>
                  <a:gd name="T24" fmla="*/ 6 w 38"/>
                  <a:gd name="T25" fmla="*/ 7 h 48"/>
                  <a:gd name="T26" fmla="*/ 6 w 38"/>
                  <a:gd name="T27" fmla="*/ 7 h 48"/>
                  <a:gd name="T28" fmla="*/ 6 w 38"/>
                  <a:gd name="T29" fmla="*/ 7 h 48"/>
                  <a:gd name="T30" fmla="*/ 2 w 38"/>
                  <a:gd name="T31" fmla="*/ 4 h 48"/>
                  <a:gd name="T32" fmla="*/ 0 w 38"/>
                  <a:gd name="T33" fmla="*/ 3 h 48"/>
                  <a:gd name="T34" fmla="*/ 3 w 38"/>
                  <a:gd name="T35" fmla="*/ 3 h 48"/>
                  <a:gd name="T36" fmla="*/ 3 w 38"/>
                  <a:gd name="T37" fmla="*/ 3 h 48"/>
                  <a:gd name="T38" fmla="*/ 9 w 38"/>
                  <a:gd name="T39" fmla="*/ 0 h 48"/>
                  <a:gd name="T40" fmla="*/ 19 w 38"/>
                  <a:gd name="T41" fmla="*/ 0 h 48"/>
                  <a:gd name="T42" fmla="*/ 29 w 38"/>
                  <a:gd name="T43" fmla="*/ 0 h 48"/>
                  <a:gd name="T44" fmla="*/ 32 w 38"/>
                  <a:gd name="T45" fmla="*/ 0 h 48"/>
                  <a:gd name="T46" fmla="*/ 34 w 38"/>
                  <a:gd name="T47" fmla="*/ 1 h 48"/>
                  <a:gd name="T48" fmla="*/ 34 w 38"/>
                  <a:gd name="T49" fmla="*/ 1 h 48"/>
                  <a:gd name="T50" fmla="*/ 35 w 38"/>
                  <a:gd name="T51" fmla="*/ 10 h 48"/>
                  <a:gd name="T52" fmla="*/ 34 w 38"/>
                  <a:gd name="T53" fmla="*/ 14 h 48"/>
                  <a:gd name="T54" fmla="*/ 32 w 38"/>
                  <a:gd name="T55" fmla="*/ 14 h 48"/>
                  <a:gd name="T56" fmla="*/ 31 w 38"/>
                  <a:gd name="T57" fmla="*/ 16 h 48"/>
                  <a:gd name="T58" fmla="*/ 31 w 38"/>
                  <a:gd name="T59" fmla="*/ 16 h 48"/>
                  <a:gd name="T60" fmla="*/ 26 w 38"/>
                  <a:gd name="T61" fmla="*/ 11 h 48"/>
                  <a:gd name="T62" fmla="*/ 22 w 38"/>
                  <a:gd name="T63" fmla="*/ 10 h 48"/>
                  <a:gd name="T64" fmla="*/ 22 w 38"/>
                  <a:gd name="T65" fmla="*/ 10 h 48"/>
                  <a:gd name="T66" fmla="*/ 18 w 38"/>
                  <a:gd name="T67" fmla="*/ 9 h 48"/>
                  <a:gd name="T68" fmla="*/ 15 w 38"/>
                  <a:gd name="T69" fmla="*/ 9 h 48"/>
                  <a:gd name="T70" fmla="*/ 13 w 38"/>
                  <a:gd name="T71" fmla="*/ 10 h 48"/>
                  <a:gd name="T72" fmla="*/ 13 w 38"/>
                  <a:gd name="T73" fmla="*/ 10 h 48"/>
                  <a:gd name="T74" fmla="*/ 15 w 38"/>
                  <a:gd name="T75" fmla="*/ 11 h 48"/>
                  <a:gd name="T76" fmla="*/ 18 w 38"/>
                  <a:gd name="T77" fmla="*/ 14 h 48"/>
                  <a:gd name="T78" fmla="*/ 23 w 38"/>
                  <a:gd name="T79" fmla="*/ 20 h 48"/>
                  <a:gd name="T80" fmla="*/ 23 w 38"/>
                  <a:gd name="T81" fmla="*/ 20 h 48"/>
                  <a:gd name="T82" fmla="*/ 32 w 38"/>
                  <a:gd name="T83" fmla="*/ 29 h 48"/>
                  <a:gd name="T84" fmla="*/ 35 w 38"/>
                  <a:gd name="T85" fmla="*/ 33 h 48"/>
                  <a:gd name="T86" fmla="*/ 36 w 38"/>
                  <a:gd name="T87" fmla="*/ 36 h 48"/>
                  <a:gd name="T88" fmla="*/ 36 w 38"/>
                  <a:gd name="T89" fmla="*/ 36 h 48"/>
                  <a:gd name="T90" fmla="*/ 32 w 38"/>
                  <a:gd name="T91" fmla="*/ 36 h 48"/>
                  <a:gd name="T92" fmla="*/ 31 w 38"/>
                  <a:gd name="T93" fmla="*/ 36 h 48"/>
                  <a:gd name="T94" fmla="*/ 31 w 38"/>
                  <a:gd name="T95" fmla="*/ 38 h 48"/>
                  <a:gd name="T96" fmla="*/ 31 w 38"/>
                  <a:gd name="T97" fmla="*/ 38 h 48"/>
                  <a:gd name="T98" fmla="*/ 36 w 38"/>
                  <a:gd name="T99" fmla="*/ 43 h 48"/>
                  <a:gd name="T100" fmla="*/ 38 w 38"/>
                  <a:gd name="T101" fmla="*/ 46 h 48"/>
                  <a:gd name="T102" fmla="*/ 38 w 38"/>
                  <a:gd name="T103" fmla="*/ 48 h 48"/>
                  <a:gd name="T104" fmla="*/ 35 w 38"/>
                  <a:gd name="T10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8" h="48">
                    <a:moveTo>
                      <a:pt x="35" y="48"/>
                    </a:moveTo>
                    <a:lnTo>
                      <a:pt x="35" y="48"/>
                    </a:lnTo>
                    <a:lnTo>
                      <a:pt x="28" y="43"/>
                    </a:lnTo>
                    <a:lnTo>
                      <a:pt x="18" y="38"/>
                    </a:lnTo>
                    <a:lnTo>
                      <a:pt x="7" y="30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9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9" y="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32" y="0"/>
                    </a:lnTo>
                    <a:lnTo>
                      <a:pt x="34" y="1"/>
                    </a:lnTo>
                    <a:lnTo>
                      <a:pt x="34" y="1"/>
                    </a:lnTo>
                    <a:lnTo>
                      <a:pt x="35" y="10"/>
                    </a:lnTo>
                    <a:lnTo>
                      <a:pt x="34" y="14"/>
                    </a:lnTo>
                    <a:lnTo>
                      <a:pt x="32" y="14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26" y="11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9"/>
                    </a:lnTo>
                    <a:lnTo>
                      <a:pt x="15" y="9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5" y="11"/>
                    </a:lnTo>
                    <a:lnTo>
                      <a:pt x="18" y="14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32" y="29"/>
                    </a:lnTo>
                    <a:lnTo>
                      <a:pt x="35" y="33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1" y="36"/>
                    </a:lnTo>
                    <a:lnTo>
                      <a:pt x="31" y="38"/>
                    </a:lnTo>
                    <a:lnTo>
                      <a:pt x="31" y="38"/>
                    </a:lnTo>
                    <a:lnTo>
                      <a:pt x="36" y="43"/>
                    </a:lnTo>
                    <a:lnTo>
                      <a:pt x="38" y="46"/>
                    </a:lnTo>
                    <a:lnTo>
                      <a:pt x="38" y="48"/>
                    </a:lnTo>
                    <a:lnTo>
                      <a:pt x="35" y="4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61" name="Freeform 11"/>
              <p:cNvSpPr>
                <a:spLocks/>
              </p:cNvSpPr>
              <p:nvPr/>
            </p:nvSpPr>
            <p:spPr bwMode="auto">
              <a:xfrm>
                <a:off x="4004165" y="1577031"/>
                <a:ext cx="41549" cy="16817"/>
              </a:xfrm>
              <a:custGeom>
                <a:avLst/>
                <a:gdLst>
                  <a:gd name="T0" fmla="*/ 42 w 42"/>
                  <a:gd name="T1" fmla="*/ 13 h 17"/>
                  <a:gd name="T2" fmla="*/ 42 w 42"/>
                  <a:gd name="T3" fmla="*/ 13 h 17"/>
                  <a:gd name="T4" fmla="*/ 29 w 42"/>
                  <a:gd name="T5" fmla="*/ 16 h 17"/>
                  <a:gd name="T6" fmla="*/ 21 w 42"/>
                  <a:gd name="T7" fmla="*/ 17 h 17"/>
                  <a:gd name="T8" fmla="*/ 16 w 42"/>
                  <a:gd name="T9" fmla="*/ 17 h 17"/>
                  <a:gd name="T10" fmla="*/ 16 w 42"/>
                  <a:gd name="T11" fmla="*/ 17 h 17"/>
                  <a:gd name="T12" fmla="*/ 6 w 42"/>
                  <a:gd name="T13" fmla="*/ 14 h 17"/>
                  <a:gd name="T14" fmla="*/ 1 w 42"/>
                  <a:gd name="T15" fmla="*/ 13 h 17"/>
                  <a:gd name="T16" fmla="*/ 0 w 42"/>
                  <a:gd name="T17" fmla="*/ 11 h 17"/>
                  <a:gd name="T18" fmla="*/ 0 w 42"/>
                  <a:gd name="T19" fmla="*/ 10 h 17"/>
                  <a:gd name="T20" fmla="*/ 0 w 42"/>
                  <a:gd name="T21" fmla="*/ 10 h 17"/>
                  <a:gd name="T22" fmla="*/ 7 w 42"/>
                  <a:gd name="T23" fmla="*/ 1 h 17"/>
                  <a:gd name="T24" fmla="*/ 7 w 42"/>
                  <a:gd name="T25" fmla="*/ 1 h 17"/>
                  <a:gd name="T26" fmla="*/ 10 w 42"/>
                  <a:gd name="T27" fmla="*/ 0 h 17"/>
                  <a:gd name="T28" fmla="*/ 14 w 42"/>
                  <a:gd name="T29" fmla="*/ 0 h 17"/>
                  <a:gd name="T30" fmla="*/ 19 w 42"/>
                  <a:gd name="T31" fmla="*/ 0 h 17"/>
                  <a:gd name="T32" fmla="*/ 23 w 42"/>
                  <a:gd name="T33" fmla="*/ 1 h 17"/>
                  <a:gd name="T34" fmla="*/ 23 w 42"/>
                  <a:gd name="T35" fmla="*/ 1 h 17"/>
                  <a:gd name="T36" fmla="*/ 36 w 42"/>
                  <a:gd name="T37" fmla="*/ 7 h 17"/>
                  <a:gd name="T38" fmla="*/ 40 w 42"/>
                  <a:gd name="T39" fmla="*/ 10 h 17"/>
                  <a:gd name="T40" fmla="*/ 42 w 42"/>
                  <a:gd name="T41" fmla="*/ 11 h 17"/>
                  <a:gd name="T42" fmla="*/ 42 w 42"/>
                  <a:gd name="T43" fmla="*/ 1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17">
                    <a:moveTo>
                      <a:pt x="42" y="13"/>
                    </a:moveTo>
                    <a:lnTo>
                      <a:pt x="42" y="13"/>
                    </a:lnTo>
                    <a:lnTo>
                      <a:pt x="29" y="16"/>
                    </a:lnTo>
                    <a:lnTo>
                      <a:pt x="21" y="17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6" y="14"/>
                    </a:lnTo>
                    <a:lnTo>
                      <a:pt x="1" y="13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36" y="7"/>
                    </a:lnTo>
                    <a:lnTo>
                      <a:pt x="40" y="10"/>
                    </a:lnTo>
                    <a:lnTo>
                      <a:pt x="42" y="11"/>
                    </a:lnTo>
                    <a:lnTo>
                      <a:pt x="42" y="1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62" name="Freeform 12"/>
              <p:cNvSpPr>
                <a:spLocks/>
              </p:cNvSpPr>
              <p:nvPr/>
            </p:nvSpPr>
            <p:spPr bwMode="auto">
              <a:xfrm>
                <a:off x="4004165" y="1577031"/>
                <a:ext cx="41549" cy="16817"/>
              </a:xfrm>
              <a:custGeom>
                <a:avLst/>
                <a:gdLst>
                  <a:gd name="T0" fmla="*/ 42 w 42"/>
                  <a:gd name="T1" fmla="*/ 13 h 17"/>
                  <a:gd name="T2" fmla="*/ 42 w 42"/>
                  <a:gd name="T3" fmla="*/ 13 h 17"/>
                  <a:gd name="T4" fmla="*/ 29 w 42"/>
                  <a:gd name="T5" fmla="*/ 16 h 17"/>
                  <a:gd name="T6" fmla="*/ 21 w 42"/>
                  <a:gd name="T7" fmla="*/ 17 h 17"/>
                  <a:gd name="T8" fmla="*/ 16 w 42"/>
                  <a:gd name="T9" fmla="*/ 17 h 17"/>
                  <a:gd name="T10" fmla="*/ 16 w 42"/>
                  <a:gd name="T11" fmla="*/ 17 h 17"/>
                  <a:gd name="T12" fmla="*/ 6 w 42"/>
                  <a:gd name="T13" fmla="*/ 14 h 17"/>
                  <a:gd name="T14" fmla="*/ 1 w 42"/>
                  <a:gd name="T15" fmla="*/ 13 h 17"/>
                  <a:gd name="T16" fmla="*/ 0 w 42"/>
                  <a:gd name="T17" fmla="*/ 11 h 17"/>
                  <a:gd name="T18" fmla="*/ 0 w 42"/>
                  <a:gd name="T19" fmla="*/ 10 h 17"/>
                  <a:gd name="T20" fmla="*/ 0 w 42"/>
                  <a:gd name="T21" fmla="*/ 10 h 17"/>
                  <a:gd name="T22" fmla="*/ 7 w 42"/>
                  <a:gd name="T23" fmla="*/ 1 h 17"/>
                  <a:gd name="T24" fmla="*/ 7 w 42"/>
                  <a:gd name="T25" fmla="*/ 1 h 17"/>
                  <a:gd name="T26" fmla="*/ 10 w 42"/>
                  <a:gd name="T27" fmla="*/ 0 h 17"/>
                  <a:gd name="T28" fmla="*/ 14 w 42"/>
                  <a:gd name="T29" fmla="*/ 0 h 17"/>
                  <a:gd name="T30" fmla="*/ 19 w 42"/>
                  <a:gd name="T31" fmla="*/ 0 h 17"/>
                  <a:gd name="T32" fmla="*/ 23 w 42"/>
                  <a:gd name="T33" fmla="*/ 1 h 17"/>
                  <a:gd name="T34" fmla="*/ 23 w 42"/>
                  <a:gd name="T35" fmla="*/ 1 h 17"/>
                  <a:gd name="T36" fmla="*/ 36 w 42"/>
                  <a:gd name="T37" fmla="*/ 7 h 17"/>
                  <a:gd name="T38" fmla="*/ 40 w 42"/>
                  <a:gd name="T39" fmla="*/ 10 h 17"/>
                  <a:gd name="T40" fmla="*/ 42 w 42"/>
                  <a:gd name="T41" fmla="*/ 11 h 17"/>
                  <a:gd name="T42" fmla="*/ 42 w 42"/>
                  <a:gd name="T43" fmla="*/ 1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17">
                    <a:moveTo>
                      <a:pt x="42" y="13"/>
                    </a:moveTo>
                    <a:lnTo>
                      <a:pt x="42" y="13"/>
                    </a:lnTo>
                    <a:lnTo>
                      <a:pt x="29" y="16"/>
                    </a:lnTo>
                    <a:lnTo>
                      <a:pt x="21" y="17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6" y="14"/>
                    </a:lnTo>
                    <a:lnTo>
                      <a:pt x="1" y="13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36" y="7"/>
                    </a:lnTo>
                    <a:lnTo>
                      <a:pt x="40" y="10"/>
                    </a:lnTo>
                    <a:lnTo>
                      <a:pt x="42" y="11"/>
                    </a:lnTo>
                    <a:lnTo>
                      <a:pt x="42" y="1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63" name="Freeform 13"/>
              <p:cNvSpPr>
                <a:spLocks/>
              </p:cNvSpPr>
              <p:nvPr/>
            </p:nvSpPr>
            <p:spPr bwMode="auto">
              <a:xfrm>
                <a:off x="4082317" y="1487997"/>
                <a:ext cx="10882" cy="16817"/>
              </a:xfrm>
              <a:custGeom>
                <a:avLst/>
                <a:gdLst>
                  <a:gd name="T0" fmla="*/ 5 w 11"/>
                  <a:gd name="T1" fmla="*/ 17 h 17"/>
                  <a:gd name="T2" fmla="*/ 5 w 11"/>
                  <a:gd name="T3" fmla="*/ 17 h 17"/>
                  <a:gd name="T4" fmla="*/ 3 w 11"/>
                  <a:gd name="T5" fmla="*/ 17 h 17"/>
                  <a:gd name="T6" fmla="*/ 2 w 11"/>
                  <a:gd name="T7" fmla="*/ 16 h 17"/>
                  <a:gd name="T8" fmla="*/ 0 w 11"/>
                  <a:gd name="T9" fmla="*/ 9 h 17"/>
                  <a:gd name="T10" fmla="*/ 0 w 11"/>
                  <a:gd name="T11" fmla="*/ 3 h 17"/>
                  <a:gd name="T12" fmla="*/ 0 w 11"/>
                  <a:gd name="T13" fmla="*/ 0 h 17"/>
                  <a:gd name="T14" fmla="*/ 0 w 11"/>
                  <a:gd name="T15" fmla="*/ 0 h 17"/>
                  <a:gd name="T16" fmla="*/ 0 w 11"/>
                  <a:gd name="T17" fmla="*/ 0 h 17"/>
                  <a:gd name="T18" fmla="*/ 6 w 11"/>
                  <a:gd name="T19" fmla="*/ 0 h 17"/>
                  <a:gd name="T20" fmla="*/ 8 w 11"/>
                  <a:gd name="T21" fmla="*/ 1 h 17"/>
                  <a:gd name="T22" fmla="*/ 8 w 11"/>
                  <a:gd name="T23" fmla="*/ 3 h 17"/>
                  <a:gd name="T24" fmla="*/ 8 w 11"/>
                  <a:gd name="T25" fmla="*/ 3 h 17"/>
                  <a:gd name="T26" fmla="*/ 8 w 11"/>
                  <a:gd name="T27" fmla="*/ 4 h 17"/>
                  <a:gd name="T28" fmla="*/ 9 w 11"/>
                  <a:gd name="T29" fmla="*/ 7 h 17"/>
                  <a:gd name="T30" fmla="*/ 11 w 11"/>
                  <a:gd name="T31" fmla="*/ 11 h 17"/>
                  <a:gd name="T32" fmla="*/ 11 w 11"/>
                  <a:gd name="T33" fmla="*/ 11 h 17"/>
                  <a:gd name="T34" fmla="*/ 9 w 11"/>
                  <a:gd name="T35" fmla="*/ 16 h 17"/>
                  <a:gd name="T36" fmla="*/ 8 w 11"/>
                  <a:gd name="T37" fmla="*/ 17 h 17"/>
                  <a:gd name="T38" fmla="*/ 5 w 11"/>
                  <a:gd name="T3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" h="17">
                    <a:moveTo>
                      <a:pt x="5" y="17"/>
                    </a:moveTo>
                    <a:lnTo>
                      <a:pt x="5" y="17"/>
                    </a:lnTo>
                    <a:lnTo>
                      <a:pt x="3" y="17"/>
                    </a:lnTo>
                    <a:lnTo>
                      <a:pt x="2" y="16"/>
                    </a:lnTo>
                    <a:lnTo>
                      <a:pt x="0" y="9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1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4"/>
                    </a:lnTo>
                    <a:lnTo>
                      <a:pt x="9" y="7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9" y="16"/>
                    </a:lnTo>
                    <a:lnTo>
                      <a:pt x="8" y="17"/>
                    </a:lnTo>
                    <a:lnTo>
                      <a:pt x="5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64" name="Freeform 14"/>
              <p:cNvSpPr>
                <a:spLocks/>
              </p:cNvSpPr>
              <p:nvPr/>
            </p:nvSpPr>
            <p:spPr bwMode="auto">
              <a:xfrm>
                <a:off x="4082317" y="1487997"/>
                <a:ext cx="10882" cy="16817"/>
              </a:xfrm>
              <a:custGeom>
                <a:avLst/>
                <a:gdLst>
                  <a:gd name="T0" fmla="*/ 5 w 11"/>
                  <a:gd name="T1" fmla="*/ 17 h 17"/>
                  <a:gd name="T2" fmla="*/ 5 w 11"/>
                  <a:gd name="T3" fmla="*/ 17 h 17"/>
                  <a:gd name="T4" fmla="*/ 3 w 11"/>
                  <a:gd name="T5" fmla="*/ 17 h 17"/>
                  <a:gd name="T6" fmla="*/ 2 w 11"/>
                  <a:gd name="T7" fmla="*/ 16 h 17"/>
                  <a:gd name="T8" fmla="*/ 0 w 11"/>
                  <a:gd name="T9" fmla="*/ 9 h 17"/>
                  <a:gd name="T10" fmla="*/ 0 w 11"/>
                  <a:gd name="T11" fmla="*/ 3 h 17"/>
                  <a:gd name="T12" fmla="*/ 0 w 11"/>
                  <a:gd name="T13" fmla="*/ 0 h 17"/>
                  <a:gd name="T14" fmla="*/ 0 w 11"/>
                  <a:gd name="T15" fmla="*/ 0 h 17"/>
                  <a:gd name="T16" fmla="*/ 0 w 11"/>
                  <a:gd name="T17" fmla="*/ 0 h 17"/>
                  <a:gd name="T18" fmla="*/ 6 w 11"/>
                  <a:gd name="T19" fmla="*/ 0 h 17"/>
                  <a:gd name="T20" fmla="*/ 8 w 11"/>
                  <a:gd name="T21" fmla="*/ 1 h 17"/>
                  <a:gd name="T22" fmla="*/ 8 w 11"/>
                  <a:gd name="T23" fmla="*/ 3 h 17"/>
                  <a:gd name="T24" fmla="*/ 8 w 11"/>
                  <a:gd name="T25" fmla="*/ 3 h 17"/>
                  <a:gd name="T26" fmla="*/ 8 w 11"/>
                  <a:gd name="T27" fmla="*/ 4 h 17"/>
                  <a:gd name="T28" fmla="*/ 9 w 11"/>
                  <a:gd name="T29" fmla="*/ 7 h 17"/>
                  <a:gd name="T30" fmla="*/ 11 w 11"/>
                  <a:gd name="T31" fmla="*/ 11 h 17"/>
                  <a:gd name="T32" fmla="*/ 11 w 11"/>
                  <a:gd name="T33" fmla="*/ 11 h 17"/>
                  <a:gd name="T34" fmla="*/ 9 w 11"/>
                  <a:gd name="T35" fmla="*/ 16 h 17"/>
                  <a:gd name="T36" fmla="*/ 8 w 11"/>
                  <a:gd name="T37" fmla="*/ 17 h 17"/>
                  <a:gd name="T38" fmla="*/ 5 w 11"/>
                  <a:gd name="T3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" h="17">
                    <a:moveTo>
                      <a:pt x="5" y="17"/>
                    </a:moveTo>
                    <a:lnTo>
                      <a:pt x="5" y="17"/>
                    </a:lnTo>
                    <a:lnTo>
                      <a:pt x="3" y="17"/>
                    </a:lnTo>
                    <a:lnTo>
                      <a:pt x="2" y="16"/>
                    </a:lnTo>
                    <a:lnTo>
                      <a:pt x="0" y="9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1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4"/>
                    </a:lnTo>
                    <a:lnTo>
                      <a:pt x="9" y="7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9" y="16"/>
                    </a:lnTo>
                    <a:lnTo>
                      <a:pt x="8" y="17"/>
                    </a:lnTo>
                    <a:lnTo>
                      <a:pt x="5" y="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65" name="Freeform 15"/>
              <p:cNvSpPr>
                <a:spLocks/>
              </p:cNvSpPr>
              <p:nvPr/>
            </p:nvSpPr>
            <p:spPr bwMode="auto">
              <a:xfrm>
                <a:off x="4104081" y="1462277"/>
                <a:ext cx="25721" cy="31656"/>
              </a:xfrm>
              <a:custGeom>
                <a:avLst/>
                <a:gdLst>
                  <a:gd name="T0" fmla="*/ 23 w 26"/>
                  <a:gd name="T1" fmla="*/ 27 h 32"/>
                  <a:gd name="T2" fmla="*/ 23 w 26"/>
                  <a:gd name="T3" fmla="*/ 27 h 32"/>
                  <a:gd name="T4" fmla="*/ 18 w 26"/>
                  <a:gd name="T5" fmla="*/ 30 h 32"/>
                  <a:gd name="T6" fmla="*/ 9 w 26"/>
                  <a:gd name="T7" fmla="*/ 32 h 32"/>
                  <a:gd name="T8" fmla="*/ 9 w 26"/>
                  <a:gd name="T9" fmla="*/ 32 h 32"/>
                  <a:gd name="T10" fmla="*/ 6 w 26"/>
                  <a:gd name="T11" fmla="*/ 30 h 32"/>
                  <a:gd name="T12" fmla="*/ 2 w 26"/>
                  <a:gd name="T13" fmla="*/ 29 h 32"/>
                  <a:gd name="T14" fmla="*/ 0 w 26"/>
                  <a:gd name="T15" fmla="*/ 26 h 32"/>
                  <a:gd name="T16" fmla="*/ 0 w 26"/>
                  <a:gd name="T17" fmla="*/ 24 h 32"/>
                  <a:gd name="T18" fmla="*/ 0 w 26"/>
                  <a:gd name="T19" fmla="*/ 23 h 32"/>
                  <a:gd name="T20" fmla="*/ 0 w 26"/>
                  <a:gd name="T21" fmla="*/ 23 h 32"/>
                  <a:gd name="T22" fmla="*/ 2 w 26"/>
                  <a:gd name="T23" fmla="*/ 19 h 32"/>
                  <a:gd name="T24" fmla="*/ 3 w 26"/>
                  <a:gd name="T25" fmla="*/ 13 h 32"/>
                  <a:gd name="T26" fmla="*/ 3 w 26"/>
                  <a:gd name="T27" fmla="*/ 7 h 32"/>
                  <a:gd name="T28" fmla="*/ 4 w 26"/>
                  <a:gd name="T29" fmla="*/ 4 h 32"/>
                  <a:gd name="T30" fmla="*/ 4 w 26"/>
                  <a:gd name="T31" fmla="*/ 4 h 32"/>
                  <a:gd name="T32" fmla="*/ 6 w 26"/>
                  <a:gd name="T33" fmla="*/ 3 h 32"/>
                  <a:gd name="T34" fmla="*/ 9 w 26"/>
                  <a:gd name="T35" fmla="*/ 1 h 32"/>
                  <a:gd name="T36" fmla="*/ 12 w 26"/>
                  <a:gd name="T37" fmla="*/ 3 h 32"/>
                  <a:gd name="T38" fmla="*/ 15 w 26"/>
                  <a:gd name="T39" fmla="*/ 1 h 32"/>
                  <a:gd name="T40" fmla="*/ 15 w 26"/>
                  <a:gd name="T41" fmla="*/ 1 h 32"/>
                  <a:gd name="T42" fmla="*/ 19 w 26"/>
                  <a:gd name="T43" fmla="*/ 0 h 32"/>
                  <a:gd name="T44" fmla="*/ 20 w 26"/>
                  <a:gd name="T45" fmla="*/ 0 h 32"/>
                  <a:gd name="T46" fmla="*/ 22 w 26"/>
                  <a:gd name="T47" fmla="*/ 1 h 32"/>
                  <a:gd name="T48" fmla="*/ 22 w 26"/>
                  <a:gd name="T49" fmla="*/ 1 h 32"/>
                  <a:gd name="T50" fmla="*/ 23 w 26"/>
                  <a:gd name="T51" fmla="*/ 3 h 32"/>
                  <a:gd name="T52" fmla="*/ 23 w 26"/>
                  <a:gd name="T53" fmla="*/ 4 h 32"/>
                  <a:gd name="T54" fmla="*/ 22 w 26"/>
                  <a:gd name="T55" fmla="*/ 7 h 32"/>
                  <a:gd name="T56" fmla="*/ 20 w 26"/>
                  <a:gd name="T57" fmla="*/ 10 h 32"/>
                  <a:gd name="T58" fmla="*/ 20 w 26"/>
                  <a:gd name="T59" fmla="*/ 10 h 32"/>
                  <a:gd name="T60" fmla="*/ 18 w 26"/>
                  <a:gd name="T61" fmla="*/ 13 h 32"/>
                  <a:gd name="T62" fmla="*/ 18 w 26"/>
                  <a:gd name="T63" fmla="*/ 14 h 32"/>
                  <a:gd name="T64" fmla="*/ 19 w 26"/>
                  <a:gd name="T65" fmla="*/ 17 h 32"/>
                  <a:gd name="T66" fmla="*/ 23 w 26"/>
                  <a:gd name="T67" fmla="*/ 17 h 32"/>
                  <a:gd name="T68" fmla="*/ 23 w 26"/>
                  <a:gd name="T69" fmla="*/ 17 h 32"/>
                  <a:gd name="T70" fmla="*/ 26 w 26"/>
                  <a:gd name="T71" fmla="*/ 19 h 32"/>
                  <a:gd name="T72" fmla="*/ 26 w 26"/>
                  <a:gd name="T73" fmla="*/ 22 h 32"/>
                  <a:gd name="T74" fmla="*/ 26 w 26"/>
                  <a:gd name="T75" fmla="*/ 24 h 32"/>
                  <a:gd name="T76" fmla="*/ 23 w 26"/>
                  <a:gd name="T77" fmla="*/ 2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6" h="32">
                    <a:moveTo>
                      <a:pt x="23" y="27"/>
                    </a:moveTo>
                    <a:lnTo>
                      <a:pt x="23" y="27"/>
                    </a:lnTo>
                    <a:lnTo>
                      <a:pt x="18" y="30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6" y="30"/>
                    </a:lnTo>
                    <a:lnTo>
                      <a:pt x="2" y="29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2" y="19"/>
                    </a:lnTo>
                    <a:lnTo>
                      <a:pt x="3" y="13"/>
                    </a:lnTo>
                    <a:lnTo>
                      <a:pt x="3" y="7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9" y="1"/>
                    </a:lnTo>
                    <a:lnTo>
                      <a:pt x="12" y="3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9" y="0"/>
                    </a:lnTo>
                    <a:lnTo>
                      <a:pt x="20" y="0"/>
                    </a:lnTo>
                    <a:lnTo>
                      <a:pt x="22" y="1"/>
                    </a:lnTo>
                    <a:lnTo>
                      <a:pt x="22" y="1"/>
                    </a:lnTo>
                    <a:lnTo>
                      <a:pt x="23" y="3"/>
                    </a:lnTo>
                    <a:lnTo>
                      <a:pt x="23" y="4"/>
                    </a:lnTo>
                    <a:lnTo>
                      <a:pt x="22" y="7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8" y="13"/>
                    </a:lnTo>
                    <a:lnTo>
                      <a:pt x="18" y="14"/>
                    </a:lnTo>
                    <a:lnTo>
                      <a:pt x="19" y="17"/>
                    </a:lnTo>
                    <a:lnTo>
                      <a:pt x="23" y="17"/>
                    </a:lnTo>
                    <a:lnTo>
                      <a:pt x="23" y="17"/>
                    </a:lnTo>
                    <a:lnTo>
                      <a:pt x="26" y="19"/>
                    </a:lnTo>
                    <a:lnTo>
                      <a:pt x="26" y="22"/>
                    </a:lnTo>
                    <a:lnTo>
                      <a:pt x="26" y="24"/>
                    </a:lnTo>
                    <a:lnTo>
                      <a:pt x="23" y="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66" name="Freeform 16"/>
              <p:cNvSpPr>
                <a:spLocks/>
              </p:cNvSpPr>
              <p:nvPr/>
            </p:nvSpPr>
            <p:spPr bwMode="auto">
              <a:xfrm>
                <a:off x="4104081" y="1462277"/>
                <a:ext cx="25721" cy="31656"/>
              </a:xfrm>
              <a:custGeom>
                <a:avLst/>
                <a:gdLst>
                  <a:gd name="T0" fmla="*/ 23 w 26"/>
                  <a:gd name="T1" fmla="*/ 27 h 32"/>
                  <a:gd name="T2" fmla="*/ 23 w 26"/>
                  <a:gd name="T3" fmla="*/ 27 h 32"/>
                  <a:gd name="T4" fmla="*/ 18 w 26"/>
                  <a:gd name="T5" fmla="*/ 30 h 32"/>
                  <a:gd name="T6" fmla="*/ 9 w 26"/>
                  <a:gd name="T7" fmla="*/ 32 h 32"/>
                  <a:gd name="T8" fmla="*/ 9 w 26"/>
                  <a:gd name="T9" fmla="*/ 32 h 32"/>
                  <a:gd name="T10" fmla="*/ 6 w 26"/>
                  <a:gd name="T11" fmla="*/ 30 h 32"/>
                  <a:gd name="T12" fmla="*/ 2 w 26"/>
                  <a:gd name="T13" fmla="*/ 29 h 32"/>
                  <a:gd name="T14" fmla="*/ 0 w 26"/>
                  <a:gd name="T15" fmla="*/ 26 h 32"/>
                  <a:gd name="T16" fmla="*/ 0 w 26"/>
                  <a:gd name="T17" fmla="*/ 24 h 32"/>
                  <a:gd name="T18" fmla="*/ 0 w 26"/>
                  <a:gd name="T19" fmla="*/ 23 h 32"/>
                  <a:gd name="T20" fmla="*/ 0 w 26"/>
                  <a:gd name="T21" fmla="*/ 23 h 32"/>
                  <a:gd name="T22" fmla="*/ 2 w 26"/>
                  <a:gd name="T23" fmla="*/ 19 h 32"/>
                  <a:gd name="T24" fmla="*/ 3 w 26"/>
                  <a:gd name="T25" fmla="*/ 13 h 32"/>
                  <a:gd name="T26" fmla="*/ 3 w 26"/>
                  <a:gd name="T27" fmla="*/ 7 h 32"/>
                  <a:gd name="T28" fmla="*/ 4 w 26"/>
                  <a:gd name="T29" fmla="*/ 4 h 32"/>
                  <a:gd name="T30" fmla="*/ 4 w 26"/>
                  <a:gd name="T31" fmla="*/ 4 h 32"/>
                  <a:gd name="T32" fmla="*/ 6 w 26"/>
                  <a:gd name="T33" fmla="*/ 3 h 32"/>
                  <a:gd name="T34" fmla="*/ 9 w 26"/>
                  <a:gd name="T35" fmla="*/ 1 h 32"/>
                  <a:gd name="T36" fmla="*/ 12 w 26"/>
                  <a:gd name="T37" fmla="*/ 3 h 32"/>
                  <a:gd name="T38" fmla="*/ 15 w 26"/>
                  <a:gd name="T39" fmla="*/ 1 h 32"/>
                  <a:gd name="T40" fmla="*/ 15 w 26"/>
                  <a:gd name="T41" fmla="*/ 1 h 32"/>
                  <a:gd name="T42" fmla="*/ 19 w 26"/>
                  <a:gd name="T43" fmla="*/ 0 h 32"/>
                  <a:gd name="T44" fmla="*/ 20 w 26"/>
                  <a:gd name="T45" fmla="*/ 0 h 32"/>
                  <a:gd name="T46" fmla="*/ 22 w 26"/>
                  <a:gd name="T47" fmla="*/ 1 h 32"/>
                  <a:gd name="T48" fmla="*/ 22 w 26"/>
                  <a:gd name="T49" fmla="*/ 1 h 32"/>
                  <a:gd name="T50" fmla="*/ 23 w 26"/>
                  <a:gd name="T51" fmla="*/ 3 h 32"/>
                  <a:gd name="T52" fmla="*/ 23 w 26"/>
                  <a:gd name="T53" fmla="*/ 4 h 32"/>
                  <a:gd name="T54" fmla="*/ 22 w 26"/>
                  <a:gd name="T55" fmla="*/ 7 h 32"/>
                  <a:gd name="T56" fmla="*/ 20 w 26"/>
                  <a:gd name="T57" fmla="*/ 10 h 32"/>
                  <a:gd name="T58" fmla="*/ 20 w 26"/>
                  <a:gd name="T59" fmla="*/ 10 h 32"/>
                  <a:gd name="T60" fmla="*/ 18 w 26"/>
                  <a:gd name="T61" fmla="*/ 13 h 32"/>
                  <a:gd name="T62" fmla="*/ 18 w 26"/>
                  <a:gd name="T63" fmla="*/ 14 h 32"/>
                  <a:gd name="T64" fmla="*/ 19 w 26"/>
                  <a:gd name="T65" fmla="*/ 17 h 32"/>
                  <a:gd name="T66" fmla="*/ 23 w 26"/>
                  <a:gd name="T67" fmla="*/ 17 h 32"/>
                  <a:gd name="T68" fmla="*/ 23 w 26"/>
                  <a:gd name="T69" fmla="*/ 17 h 32"/>
                  <a:gd name="T70" fmla="*/ 26 w 26"/>
                  <a:gd name="T71" fmla="*/ 19 h 32"/>
                  <a:gd name="T72" fmla="*/ 26 w 26"/>
                  <a:gd name="T73" fmla="*/ 22 h 32"/>
                  <a:gd name="T74" fmla="*/ 26 w 26"/>
                  <a:gd name="T75" fmla="*/ 24 h 32"/>
                  <a:gd name="T76" fmla="*/ 23 w 26"/>
                  <a:gd name="T77" fmla="*/ 2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6" h="32">
                    <a:moveTo>
                      <a:pt x="23" y="27"/>
                    </a:moveTo>
                    <a:lnTo>
                      <a:pt x="23" y="27"/>
                    </a:lnTo>
                    <a:lnTo>
                      <a:pt x="18" y="30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6" y="30"/>
                    </a:lnTo>
                    <a:lnTo>
                      <a:pt x="2" y="29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2" y="19"/>
                    </a:lnTo>
                    <a:lnTo>
                      <a:pt x="3" y="13"/>
                    </a:lnTo>
                    <a:lnTo>
                      <a:pt x="3" y="7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9" y="1"/>
                    </a:lnTo>
                    <a:lnTo>
                      <a:pt x="12" y="3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9" y="0"/>
                    </a:lnTo>
                    <a:lnTo>
                      <a:pt x="20" y="0"/>
                    </a:lnTo>
                    <a:lnTo>
                      <a:pt x="22" y="1"/>
                    </a:lnTo>
                    <a:lnTo>
                      <a:pt x="22" y="1"/>
                    </a:lnTo>
                    <a:lnTo>
                      <a:pt x="23" y="3"/>
                    </a:lnTo>
                    <a:lnTo>
                      <a:pt x="23" y="4"/>
                    </a:lnTo>
                    <a:lnTo>
                      <a:pt x="22" y="7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8" y="13"/>
                    </a:lnTo>
                    <a:lnTo>
                      <a:pt x="18" y="14"/>
                    </a:lnTo>
                    <a:lnTo>
                      <a:pt x="19" y="17"/>
                    </a:lnTo>
                    <a:lnTo>
                      <a:pt x="23" y="17"/>
                    </a:lnTo>
                    <a:lnTo>
                      <a:pt x="23" y="17"/>
                    </a:lnTo>
                    <a:lnTo>
                      <a:pt x="26" y="19"/>
                    </a:lnTo>
                    <a:lnTo>
                      <a:pt x="26" y="22"/>
                    </a:lnTo>
                    <a:lnTo>
                      <a:pt x="26" y="24"/>
                    </a:lnTo>
                    <a:lnTo>
                      <a:pt x="23" y="2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67" name="Freeform 17"/>
              <p:cNvSpPr>
                <a:spLocks/>
              </p:cNvSpPr>
              <p:nvPr/>
            </p:nvSpPr>
            <p:spPr bwMode="auto">
              <a:xfrm>
                <a:off x="4103091" y="1388082"/>
                <a:ext cx="10882" cy="32646"/>
              </a:xfrm>
              <a:custGeom>
                <a:avLst/>
                <a:gdLst>
                  <a:gd name="T0" fmla="*/ 11 w 11"/>
                  <a:gd name="T1" fmla="*/ 33 h 33"/>
                  <a:gd name="T2" fmla="*/ 11 w 11"/>
                  <a:gd name="T3" fmla="*/ 33 h 33"/>
                  <a:gd name="T4" fmla="*/ 8 w 11"/>
                  <a:gd name="T5" fmla="*/ 28 h 33"/>
                  <a:gd name="T6" fmla="*/ 3 w 11"/>
                  <a:gd name="T7" fmla="*/ 17 h 33"/>
                  <a:gd name="T8" fmla="*/ 0 w 11"/>
                  <a:gd name="T9" fmla="*/ 5 h 33"/>
                  <a:gd name="T10" fmla="*/ 0 w 11"/>
                  <a:gd name="T11" fmla="*/ 1 h 33"/>
                  <a:gd name="T12" fmla="*/ 0 w 11"/>
                  <a:gd name="T13" fmla="*/ 0 h 33"/>
                  <a:gd name="T14" fmla="*/ 1 w 11"/>
                  <a:gd name="T15" fmla="*/ 0 h 33"/>
                  <a:gd name="T16" fmla="*/ 1 w 11"/>
                  <a:gd name="T17" fmla="*/ 0 h 33"/>
                  <a:gd name="T18" fmla="*/ 4 w 11"/>
                  <a:gd name="T19" fmla="*/ 1 h 33"/>
                  <a:gd name="T20" fmla="*/ 7 w 11"/>
                  <a:gd name="T21" fmla="*/ 5 h 33"/>
                  <a:gd name="T22" fmla="*/ 10 w 11"/>
                  <a:gd name="T23" fmla="*/ 15 h 33"/>
                  <a:gd name="T24" fmla="*/ 11 w 11"/>
                  <a:gd name="T25" fmla="*/ 27 h 33"/>
                  <a:gd name="T26" fmla="*/ 11 w 11"/>
                  <a:gd name="T27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33">
                    <a:moveTo>
                      <a:pt x="11" y="33"/>
                    </a:moveTo>
                    <a:lnTo>
                      <a:pt x="11" y="33"/>
                    </a:lnTo>
                    <a:lnTo>
                      <a:pt x="8" y="28"/>
                    </a:lnTo>
                    <a:lnTo>
                      <a:pt x="3" y="17"/>
                    </a:lnTo>
                    <a:lnTo>
                      <a:pt x="0" y="5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4" y="1"/>
                    </a:lnTo>
                    <a:lnTo>
                      <a:pt x="7" y="5"/>
                    </a:lnTo>
                    <a:lnTo>
                      <a:pt x="10" y="15"/>
                    </a:lnTo>
                    <a:lnTo>
                      <a:pt x="11" y="27"/>
                    </a:lnTo>
                    <a:lnTo>
                      <a:pt x="11" y="3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68" name="Freeform 18"/>
              <p:cNvSpPr>
                <a:spLocks/>
              </p:cNvSpPr>
              <p:nvPr/>
            </p:nvSpPr>
            <p:spPr bwMode="auto">
              <a:xfrm>
                <a:off x="4103091" y="1388082"/>
                <a:ext cx="10882" cy="32646"/>
              </a:xfrm>
              <a:custGeom>
                <a:avLst/>
                <a:gdLst>
                  <a:gd name="T0" fmla="*/ 11 w 11"/>
                  <a:gd name="T1" fmla="*/ 33 h 33"/>
                  <a:gd name="T2" fmla="*/ 11 w 11"/>
                  <a:gd name="T3" fmla="*/ 33 h 33"/>
                  <a:gd name="T4" fmla="*/ 8 w 11"/>
                  <a:gd name="T5" fmla="*/ 28 h 33"/>
                  <a:gd name="T6" fmla="*/ 3 w 11"/>
                  <a:gd name="T7" fmla="*/ 17 h 33"/>
                  <a:gd name="T8" fmla="*/ 0 w 11"/>
                  <a:gd name="T9" fmla="*/ 5 h 33"/>
                  <a:gd name="T10" fmla="*/ 0 w 11"/>
                  <a:gd name="T11" fmla="*/ 1 h 33"/>
                  <a:gd name="T12" fmla="*/ 0 w 11"/>
                  <a:gd name="T13" fmla="*/ 0 h 33"/>
                  <a:gd name="T14" fmla="*/ 1 w 11"/>
                  <a:gd name="T15" fmla="*/ 0 h 33"/>
                  <a:gd name="T16" fmla="*/ 1 w 11"/>
                  <a:gd name="T17" fmla="*/ 0 h 33"/>
                  <a:gd name="T18" fmla="*/ 4 w 11"/>
                  <a:gd name="T19" fmla="*/ 1 h 33"/>
                  <a:gd name="T20" fmla="*/ 7 w 11"/>
                  <a:gd name="T21" fmla="*/ 5 h 33"/>
                  <a:gd name="T22" fmla="*/ 10 w 11"/>
                  <a:gd name="T23" fmla="*/ 15 h 33"/>
                  <a:gd name="T24" fmla="*/ 11 w 11"/>
                  <a:gd name="T25" fmla="*/ 27 h 33"/>
                  <a:gd name="T26" fmla="*/ 11 w 11"/>
                  <a:gd name="T27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33">
                    <a:moveTo>
                      <a:pt x="11" y="33"/>
                    </a:moveTo>
                    <a:lnTo>
                      <a:pt x="11" y="33"/>
                    </a:lnTo>
                    <a:lnTo>
                      <a:pt x="8" y="28"/>
                    </a:lnTo>
                    <a:lnTo>
                      <a:pt x="3" y="17"/>
                    </a:lnTo>
                    <a:lnTo>
                      <a:pt x="0" y="5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4" y="1"/>
                    </a:lnTo>
                    <a:lnTo>
                      <a:pt x="7" y="5"/>
                    </a:lnTo>
                    <a:lnTo>
                      <a:pt x="10" y="15"/>
                    </a:lnTo>
                    <a:lnTo>
                      <a:pt x="11" y="27"/>
                    </a:lnTo>
                    <a:lnTo>
                      <a:pt x="11" y="3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69" name="Freeform 19"/>
              <p:cNvSpPr>
                <a:spLocks/>
              </p:cNvSpPr>
              <p:nvPr/>
            </p:nvSpPr>
            <p:spPr bwMode="auto">
              <a:xfrm>
                <a:off x="4119909" y="1303006"/>
                <a:ext cx="6925" cy="16817"/>
              </a:xfrm>
              <a:custGeom>
                <a:avLst/>
                <a:gdLst>
                  <a:gd name="T0" fmla="*/ 0 w 7"/>
                  <a:gd name="T1" fmla="*/ 17 h 17"/>
                  <a:gd name="T2" fmla="*/ 0 w 7"/>
                  <a:gd name="T3" fmla="*/ 17 h 17"/>
                  <a:gd name="T4" fmla="*/ 0 w 7"/>
                  <a:gd name="T5" fmla="*/ 15 h 17"/>
                  <a:gd name="T6" fmla="*/ 0 w 7"/>
                  <a:gd name="T7" fmla="*/ 7 h 17"/>
                  <a:gd name="T8" fmla="*/ 2 w 7"/>
                  <a:gd name="T9" fmla="*/ 2 h 17"/>
                  <a:gd name="T10" fmla="*/ 3 w 7"/>
                  <a:gd name="T11" fmla="*/ 0 h 17"/>
                  <a:gd name="T12" fmla="*/ 6 w 7"/>
                  <a:gd name="T13" fmla="*/ 0 h 17"/>
                  <a:gd name="T14" fmla="*/ 6 w 7"/>
                  <a:gd name="T15" fmla="*/ 0 h 17"/>
                  <a:gd name="T16" fmla="*/ 7 w 7"/>
                  <a:gd name="T17" fmla="*/ 0 h 17"/>
                  <a:gd name="T18" fmla="*/ 7 w 7"/>
                  <a:gd name="T19" fmla="*/ 3 h 17"/>
                  <a:gd name="T20" fmla="*/ 6 w 7"/>
                  <a:gd name="T21" fmla="*/ 9 h 17"/>
                  <a:gd name="T22" fmla="*/ 3 w 7"/>
                  <a:gd name="T23" fmla="*/ 15 h 17"/>
                  <a:gd name="T24" fmla="*/ 2 w 7"/>
                  <a:gd name="T25" fmla="*/ 17 h 17"/>
                  <a:gd name="T26" fmla="*/ 0 w 7"/>
                  <a:gd name="T2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7">
                    <a:moveTo>
                      <a:pt x="0" y="17"/>
                    </a:moveTo>
                    <a:lnTo>
                      <a:pt x="0" y="17"/>
                    </a:lnTo>
                    <a:lnTo>
                      <a:pt x="0" y="15"/>
                    </a:lnTo>
                    <a:lnTo>
                      <a:pt x="0" y="7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7" y="3"/>
                    </a:lnTo>
                    <a:lnTo>
                      <a:pt x="6" y="9"/>
                    </a:lnTo>
                    <a:lnTo>
                      <a:pt x="3" y="15"/>
                    </a:lnTo>
                    <a:lnTo>
                      <a:pt x="2" y="17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70" name="Freeform 20"/>
              <p:cNvSpPr>
                <a:spLocks/>
              </p:cNvSpPr>
              <p:nvPr/>
            </p:nvSpPr>
            <p:spPr bwMode="auto">
              <a:xfrm>
                <a:off x="4119909" y="1303006"/>
                <a:ext cx="6925" cy="16817"/>
              </a:xfrm>
              <a:custGeom>
                <a:avLst/>
                <a:gdLst>
                  <a:gd name="T0" fmla="*/ 0 w 7"/>
                  <a:gd name="T1" fmla="*/ 17 h 17"/>
                  <a:gd name="T2" fmla="*/ 0 w 7"/>
                  <a:gd name="T3" fmla="*/ 17 h 17"/>
                  <a:gd name="T4" fmla="*/ 0 w 7"/>
                  <a:gd name="T5" fmla="*/ 15 h 17"/>
                  <a:gd name="T6" fmla="*/ 0 w 7"/>
                  <a:gd name="T7" fmla="*/ 7 h 17"/>
                  <a:gd name="T8" fmla="*/ 2 w 7"/>
                  <a:gd name="T9" fmla="*/ 2 h 17"/>
                  <a:gd name="T10" fmla="*/ 3 w 7"/>
                  <a:gd name="T11" fmla="*/ 0 h 17"/>
                  <a:gd name="T12" fmla="*/ 6 w 7"/>
                  <a:gd name="T13" fmla="*/ 0 h 17"/>
                  <a:gd name="T14" fmla="*/ 6 w 7"/>
                  <a:gd name="T15" fmla="*/ 0 h 17"/>
                  <a:gd name="T16" fmla="*/ 7 w 7"/>
                  <a:gd name="T17" fmla="*/ 0 h 17"/>
                  <a:gd name="T18" fmla="*/ 7 w 7"/>
                  <a:gd name="T19" fmla="*/ 3 h 17"/>
                  <a:gd name="T20" fmla="*/ 6 w 7"/>
                  <a:gd name="T21" fmla="*/ 9 h 17"/>
                  <a:gd name="T22" fmla="*/ 3 w 7"/>
                  <a:gd name="T23" fmla="*/ 15 h 17"/>
                  <a:gd name="T24" fmla="*/ 2 w 7"/>
                  <a:gd name="T25" fmla="*/ 17 h 17"/>
                  <a:gd name="T26" fmla="*/ 0 w 7"/>
                  <a:gd name="T2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7">
                    <a:moveTo>
                      <a:pt x="0" y="17"/>
                    </a:moveTo>
                    <a:lnTo>
                      <a:pt x="0" y="17"/>
                    </a:lnTo>
                    <a:lnTo>
                      <a:pt x="0" y="15"/>
                    </a:lnTo>
                    <a:lnTo>
                      <a:pt x="0" y="7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7" y="3"/>
                    </a:lnTo>
                    <a:lnTo>
                      <a:pt x="6" y="9"/>
                    </a:lnTo>
                    <a:lnTo>
                      <a:pt x="3" y="15"/>
                    </a:lnTo>
                    <a:lnTo>
                      <a:pt x="2" y="17"/>
                    </a:lnTo>
                    <a:lnTo>
                      <a:pt x="0" y="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71" name="Freeform 21"/>
              <p:cNvSpPr>
                <a:spLocks/>
              </p:cNvSpPr>
              <p:nvPr/>
            </p:nvSpPr>
            <p:spPr bwMode="auto">
              <a:xfrm>
                <a:off x="4121887" y="1203091"/>
                <a:ext cx="7914" cy="12860"/>
              </a:xfrm>
              <a:custGeom>
                <a:avLst/>
                <a:gdLst>
                  <a:gd name="T0" fmla="*/ 1 w 8"/>
                  <a:gd name="T1" fmla="*/ 13 h 13"/>
                  <a:gd name="T2" fmla="*/ 1 w 8"/>
                  <a:gd name="T3" fmla="*/ 13 h 13"/>
                  <a:gd name="T4" fmla="*/ 0 w 8"/>
                  <a:gd name="T5" fmla="*/ 10 h 13"/>
                  <a:gd name="T6" fmla="*/ 0 w 8"/>
                  <a:gd name="T7" fmla="*/ 5 h 13"/>
                  <a:gd name="T8" fmla="*/ 1 w 8"/>
                  <a:gd name="T9" fmla="*/ 0 h 13"/>
                  <a:gd name="T10" fmla="*/ 2 w 8"/>
                  <a:gd name="T11" fmla="*/ 0 h 13"/>
                  <a:gd name="T12" fmla="*/ 4 w 8"/>
                  <a:gd name="T13" fmla="*/ 0 h 13"/>
                  <a:gd name="T14" fmla="*/ 4 w 8"/>
                  <a:gd name="T15" fmla="*/ 0 h 13"/>
                  <a:gd name="T16" fmla="*/ 7 w 8"/>
                  <a:gd name="T17" fmla="*/ 0 h 13"/>
                  <a:gd name="T18" fmla="*/ 8 w 8"/>
                  <a:gd name="T19" fmla="*/ 3 h 13"/>
                  <a:gd name="T20" fmla="*/ 7 w 8"/>
                  <a:gd name="T21" fmla="*/ 5 h 13"/>
                  <a:gd name="T22" fmla="*/ 5 w 8"/>
                  <a:gd name="T23" fmla="*/ 10 h 13"/>
                  <a:gd name="T24" fmla="*/ 1 w 8"/>
                  <a:gd name="T2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13">
                    <a:moveTo>
                      <a:pt x="1" y="13"/>
                    </a:moveTo>
                    <a:lnTo>
                      <a:pt x="1" y="13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8" y="3"/>
                    </a:lnTo>
                    <a:lnTo>
                      <a:pt x="7" y="5"/>
                    </a:lnTo>
                    <a:lnTo>
                      <a:pt x="5" y="10"/>
                    </a:lnTo>
                    <a:lnTo>
                      <a:pt x="1" y="1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72" name="Freeform 22"/>
              <p:cNvSpPr>
                <a:spLocks/>
              </p:cNvSpPr>
              <p:nvPr/>
            </p:nvSpPr>
            <p:spPr bwMode="auto">
              <a:xfrm>
                <a:off x="4121887" y="1203091"/>
                <a:ext cx="7914" cy="12860"/>
              </a:xfrm>
              <a:custGeom>
                <a:avLst/>
                <a:gdLst>
                  <a:gd name="T0" fmla="*/ 1 w 8"/>
                  <a:gd name="T1" fmla="*/ 13 h 13"/>
                  <a:gd name="T2" fmla="*/ 1 w 8"/>
                  <a:gd name="T3" fmla="*/ 13 h 13"/>
                  <a:gd name="T4" fmla="*/ 0 w 8"/>
                  <a:gd name="T5" fmla="*/ 10 h 13"/>
                  <a:gd name="T6" fmla="*/ 0 w 8"/>
                  <a:gd name="T7" fmla="*/ 5 h 13"/>
                  <a:gd name="T8" fmla="*/ 1 w 8"/>
                  <a:gd name="T9" fmla="*/ 0 h 13"/>
                  <a:gd name="T10" fmla="*/ 2 w 8"/>
                  <a:gd name="T11" fmla="*/ 0 h 13"/>
                  <a:gd name="T12" fmla="*/ 4 w 8"/>
                  <a:gd name="T13" fmla="*/ 0 h 13"/>
                  <a:gd name="T14" fmla="*/ 4 w 8"/>
                  <a:gd name="T15" fmla="*/ 0 h 13"/>
                  <a:gd name="T16" fmla="*/ 7 w 8"/>
                  <a:gd name="T17" fmla="*/ 0 h 13"/>
                  <a:gd name="T18" fmla="*/ 8 w 8"/>
                  <a:gd name="T19" fmla="*/ 3 h 13"/>
                  <a:gd name="T20" fmla="*/ 7 w 8"/>
                  <a:gd name="T21" fmla="*/ 5 h 13"/>
                  <a:gd name="T22" fmla="*/ 5 w 8"/>
                  <a:gd name="T23" fmla="*/ 10 h 13"/>
                  <a:gd name="T24" fmla="*/ 1 w 8"/>
                  <a:gd name="T2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13">
                    <a:moveTo>
                      <a:pt x="1" y="13"/>
                    </a:moveTo>
                    <a:lnTo>
                      <a:pt x="1" y="13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8" y="3"/>
                    </a:lnTo>
                    <a:lnTo>
                      <a:pt x="7" y="5"/>
                    </a:lnTo>
                    <a:lnTo>
                      <a:pt x="5" y="10"/>
                    </a:lnTo>
                    <a:lnTo>
                      <a:pt x="1" y="1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73" name="Freeform 23"/>
              <p:cNvSpPr>
                <a:spLocks/>
              </p:cNvSpPr>
              <p:nvPr/>
            </p:nvSpPr>
            <p:spPr bwMode="auto">
              <a:xfrm>
                <a:off x="4097156" y="1226833"/>
                <a:ext cx="5936" cy="9893"/>
              </a:xfrm>
              <a:custGeom>
                <a:avLst/>
                <a:gdLst>
                  <a:gd name="T0" fmla="*/ 1 w 6"/>
                  <a:gd name="T1" fmla="*/ 10 h 10"/>
                  <a:gd name="T2" fmla="*/ 1 w 6"/>
                  <a:gd name="T3" fmla="*/ 10 h 10"/>
                  <a:gd name="T4" fmla="*/ 0 w 6"/>
                  <a:gd name="T5" fmla="*/ 9 h 10"/>
                  <a:gd name="T6" fmla="*/ 0 w 6"/>
                  <a:gd name="T7" fmla="*/ 8 h 10"/>
                  <a:gd name="T8" fmla="*/ 0 w 6"/>
                  <a:gd name="T9" fmla="*/ 5 h 10"/>
                  <a:gd name="T10" fmla="*/ 3 w 6"/>
                  <a:gd name="T11" fmla="*/ 0 h 10"/>
                  <a:gd name="T12" fmla="*/ 6 w 6"/>
                  <a:gd name="T13" fmla="*/ 0 h 10"/>
                  <a:gd name="T14" fmla="*/ 6 w 6"/>
                  <a:gd name="T15" fmla="*/ 0 h 10"/>
                  <a:gd name="T16" fmla="*/ 6 w 6"/>
                  <a:gd name="T17" fmla="*/ 0 h 10"/>
                  <a:gd name="T18" fmla="*/ 6 w 6"/>
                  <a:gd name="T19" fmla="*/ 2 h 10"/>
                  <a:gd name="T20" fmla="*/ 6 w 6"/>
                  <a:gd name="T21" fmla="*/ 6 h 10"/>
                  <a:gd name="T22" fmla="*/ 4 w 6"/>
                  <a:gd name="T23" fmla="*/ 10 h 10"/>
                  <a:gd name="T24" fmla="*/ 3 w 6"/>
                  <a:gd name="T25" fmla="*/ 10 h 10"/>
                  <a:gd name="T26" fmla="*/ 1 w 6"/>
                  <a:gd name="T2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10">
                    <a:moveTo>
                      <a:pt x="1" y="10"/>
                    </a:moveTo>
                    <a:lnTo>
                      <a:pt x="1" y="10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4" y="10"/>
                    </a:lnTo>
                    <a:lnTo>
                      <a:pt x="3" y="10"/>
                    </a:lnTo>
                    <a:lnTo>
                      <a:pt x="1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674" name="Freeform 24"/>
              <p:cNvSpPr>
                <a:spLocks/>
              </p:cNvSpPr>
              <p:nvPr/>
            </p:nvSpPr>
            <p:spPr bwMode="auto">
              <a:xfrm>
                <a:off x="4097156" y="1226833"/>
                <a:ext cx="5936" cy="9893"/>
              </a:xfrm>
              <a:custGeom>
                <a:avLst/>
                <a:gdLst>
                  <a:gd name="T0" fmla="*/ 1 w 6"/>
                  <a:gd name="T1" fmla="*/ 10 h 10"/>
                  <a:gd name="T2" fmla="*/ 1 w 6"/>
                  <a:gd name="T3" fmla="*/ 10 h 10"/>
                  <a:gd name="T4" fmla="*/ 0 w 6"/>
                  <a:gd name="T5" fmla="*/ 9 h 10"/>
                  <a:gd name="T6" fmla="*/ 0 w 6"/>
                  <a:gd name="T7" fmla="*/ 8 h 10"/>
                  <a:gd name="T8" fmla="*/ 0 w 6"/>
                  <a:gd name="T9" fmla="*/ 5 h 10"/>
                  <a:gd name="T10" fmla="*/ 3 w 6"/>
                  <a:gd name="T11" fmla="*/ 0 h 10"/>
                  <a:gd name="T12" fmla="*/ 6 w 6"/>
                  <a:gd name="T13" fmla="*/ 0 h 10"/>
                  <a:gd name="T14" fmla="*/ 6 w 6"/>
                  <a:gd name="T15" fmla="*/ 0 h 10"/>
                  <a:gd name="T16" fmla="*/ 6 w 6"/>
                  <a:gd name="T17" fmla="*/ 0 h 10"/>
                  <a:gd name="T18" fmla="*/ 6 w 6"/>
                  <a:gd name="T19" fmla="*/ 2 h 10"/>
                  <a:gd name="T20" fmla="*/ 6 w 6"/>
                  <a:gd name="T21" fmla="*/ 6 h 10"/>
                  <a:gd name="T22" fmla="*/ 4 w 6"/>
                  <a:gd name="T23" fmla="*/ 10 h 10"/>
                  <a:gd name="T24" fmla="*/ 3 w 6"/>
                  <a:gd name="T25" fmla="*/ 10 h 10"/>
                  <a:gd name="T26" fmla="*/ 1 w 6"/>
                  <a:gd name="T2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10">
                    <a:moveTo>
                      <a:pt x="1" y="10"/>
                    </a:moveTo>
                    <a:lnTo>
                      <a:pt x="1" y="10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4" y="10"/>
                    </a:lnTo>
                    <a:lnTo>
                      <a:pt x="3" y="10"/>
                    </a:lnTo>
                    <a:lnTo>
                      <a:pt x="1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42" name="Freeform 92"/>
              <p:cNvSpPr>
                <a:spLocks/>
              </p:cNvSpPr>
              <p:nvPr/>
            </p:nvSpPr>
            <p:spPr bwMode="auto">
              <a:xfrm>
                <a:off x="3528331" y="1734323"/>
                <a:ext cx="47484" cy="48474"/>
              </a:xfrm>
              <a:custGeom>
                <a:avLst/>
                <a:gdLst>
                  <a:gd name="T0" fmla="*/ 46 w 48"/>
                  <a:gd name="T1" fmla="*/ 33 h 49"/>
                  <a:gd name="T2" fmla="*/ 46 w 48"/>
                  <a:gd name="T3" fmla="*/ 33 h 49"/>
                  <a:gd name="T4" fmla="*/ 43 w 48"/>
                  <a:gd name="T5" fmla="*/ 38 h 49"/>
                  <a:gd name="T6" fmla="*/ 36 w 48"/>
                  <a:gd name="T7" fmla="*/ 43 h 49"/>
                  <a:gd name="T8" fmla="*/ 27 w 48"/>
                  <a:gd name="T9" fmla="*/ 48 h 49"/>
                  <a:gd name="T10" fmla="*/ 25 w 48"/>
                  <a:gd name="T11" fmla="*/ 49 h 49"/>
                  <a:gd name="T12" fmla="*/ 20 w 48"/>
                  <a:gd name="T13" fmla="*/ 49 h 49"/>
                  <a:gd name="T14" fmla="*/ 20 w 48"/>
                  <a:gd name="T15" fmla="*/ 49 h 49"/>
                  <a:gd name="T16" fmla="*/ 17 w 48"/>
                  <a:gd name="T17" fmla="*/ 46 h 49"/>
                  <a:gd name="T18" fmla="*/ 16 w 48"/>
                  <a:gd name="T19" fmla="*/ 43 h 49"/>
                  <a:gd name="T20" fmla="*/ 14 w 48"/>
                  <a:gd name="T21" fmla="*/ 41 h 49"/>
                  <a:gd name="T22" fmla="*/ 13 w 48"/>
                  <a:gd name="T23" fmla="*/ 39 h 49"/>
                  <a:gd name="T24" fmla="*/ 13 w 48"/>
                  <a:gd name="T25" fmla="*/ 39 h 49"/>
                  <a:gd name="T26" fmla="*/ 4 w 48"/>
                  <a:gd name="T27" fmla="*/ 38 h 49"/>
                  <a:gd name="T28" fmla="*/ 3 w 48"/>
                  <a:gd name="T29" fmla="*/ 36 h 49"/>
                  <a:gd name="T30" fmla="*/ 1 w 48"/>
                  <a:gd name="T31" fmla="*/ 35 h 49"/>
                  <a:gd name="T32" fmla="*/ 1 w 48"/>
                  <a:gd name="T33" fmla="*/ 35 h 49"/>
                  <a:gd name="T34" fmla="*/ 6 w 48"/>
                  <a:gd name="T35" fmla="*/ 32 h 49"/>
                  <a:gd name="T36" fmla="*/ 7 w 48"/>
                  <a:gd name="T37" fmla="*/ 30 h 49"/>
                  <a:gd name="T38" fmla="*/ 6 w 48"/>
                  <a:gd name="T39" fmla="*/ 29 h 49"/>
                  <a:gd name="T40" fmla="*/ 6 w 48"/>
                  <a:gd name="T41" fmla="*/ 29 h 49"/>
                  <a:gd name="T42" fmla="*/ 1 w 48"/>
                  <a:gd name="T43" fmla="*/ 25 h 49"/>
                  <a:gd name="T44" fmla="*/ 0 w 48"/>
                  <a:gd name="T45" fmla="*/ 22 h 49"/>
                  <a:gd name="T46" fmla="*/ 3 w 48"/>
                  <a:gd name="T47" fmla="*/ 20 h 49"/>
                  <a:gd name="T48" fmla="*/ 3 w 48"/>
                  <a:gd name="T49" fmla="*/ 20 h 49"/>
                  <a:gd name="T50" fmla="*/ 9 w 48"/>
                  <a:gd name="T51" fmla="*/ 20 h 49"/>
                  <a:gd name="T52" fmla="*/ 10 w 48"/>
                  <a:gd name="T53" fmla="*/ 19 h 49"/>
                  <a:gd name="T54" fmla="*/ 9 w 48"/>
                  <a:gd name="T55" fmla="*/ 17 h 49"/>
                  <a:gd name="T56" fmla="*/ 9 w 48"/>
                  <a:gd name="T57" fmla="*/ 17 h 49"/>
                  <a:gd name="T58" fmla="*/ 3 w 48"/>
                  <a:gd name="T59" fmla="*/ 10 h 49"/>
                  <a:gd name="T60" fmla="*/ 1 w 48"/>
                  <a:gd name="T61" fmla="*/ 6 h 49"/>
                  <a:gd name="T62" fmla="*/ 3 w 48"/>
                  <a:gd name="T63" fmla="*/ 4 h 49"/>
                  <a:gd name="T64" fmla="*/ 3 w 48"/>
                  <a:gd name="T65" fmla="*/ 3 h 49"/>
                  <a:gd name="T66" fmla="*/ 3 w 48"/>
                  <a:gd name="T67" fmla="*/ 3 h 49"/>
                  <a:gd name="T68" fmla="*/ 9 w 48"/>
                  <a:gd name="T69" fmla="*/ 0 h 49"/>
                  <a:gd name="T70" fmla="*/ 10 w 48"/>
                  <a:gd name="T71" fmla="*/ 1 h 49"/>
                  <a:gd name="T72" fmla="*/ 11 w 48"/>
                  <a:gd name="T73" fmla="*/ 3 h 49"/>
                  <a:gd name="T74" fmla="*/ 11 w 48"/>
                  <a:gd name="T75" fmla="*/ 3 h 49"/>
                  <a:gd name="T76" fmla="*/ 14 w 48"/>
                  <a:gd name="T77" fmla="*/ 3 h 49"/>
                  <a:gd name="T78" fmla="*/ 17 w 48"/>
                  <a:gd name="T79" fmla="*/ 3 h 49"/>
                  <a:gd name="T80" fmla="*/ 20 w 48"/>
                  <a:gd name="T81" fmla="*/ 3 h 49"/>
                  <a:gd name="T82" fmla="*/ 23 w 48"/>
                  <a:gd name="T83" fmla="*/ 4 h 49"/>
                  <a:gd name="T84" fmla="*/ 23 w 48"/>
                  <a:gd name="T85" fmla="*/ 4 h 49"/>
                  <a:gd name="T86" fmla="*/ 29 w 48"/>
                  <a:gd name="T87" fmla="*/ 9 h 49"/>
                  <a:gd name="T88" fmla="*/ 33 w 48"/>
                  <a:gd name="T89" fmla="*/ 16 h 49"/>
                  <a:gd name="T90" fmla="*/ 33 w 48"/>
                  <a:gd name="T91" fmla="*/ 16 h 49"/>
                  <a:gd name="T92" fmla="*/ 38 w 48"/>
                  <a:gd name="T93" fmla="*/ 20 h 49"/>
                  <a:gd name="T94" fmla="*/ 42 w 48"/>
                  <a:gd name="T95" fmla="*/ 25 h 49"/>
                  <a:gd name="T96" fmla="*/ 46 w 48"/>
                  <a:gd name="T97" fmla="*/ 29 h 49"/>
                  <a:gd name="T98" fmla="*/ 48 w 48"/>
                  <a:gd name="T99" fmla="*/ 30 h 49"/>
                  <a:gd name="T100" fmla="*/ 46 w 48"/>
                  <a:gd name="T101" fmla="*/ 3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8" h="49">
                    <a:moveTo>
                      <a:pt x="46" y="33"/>
                    </a:moveTo>
                    <a:lnTo>
                      <a:pt x="46" y="33"/>
                    </a:lnTo>
                    <a:lnTo>
                      <a:pt x="43" y="38"/>
                    </a:lnTo>
                    <a:lnTo>
                      <a:pt x="36" y="43"/>
                    </a:lnTo>
                    <a:lnTo>
                      <a:pt x="27" y="48"/>
                    </a:lnTo>
                    <a:lnTo>
                      <a:pt x="25" y="49"/>
                    </a:lnTo>
                    <a:lnTo>
                      <a:pt x="20" y="49"/>
                    </a:lnTo>
                    <a:lnTo>
                      <a:pt x="20" y="49"/>
                    </a:lnTo>
                    <a:lnTo>
                      <a:pt x="17" y="46"/>
                    </a:lnTo>
                    <a:lnTo>
                      <a:pt x="16" y="43"/>
                    </a:lnTo>
                    <a:lnTo>
                      <a:pt x="14" y="41"/>
                    </a:lnTo>
                    <a:lnTo>
                      <a:pt x="13" y="39"/>
                    </a:lnTo>
                    <a:lnTo>
                      <a:pt x="13" y="39"/>
                    </a:lnTo>
                    <a:lnTo>
                      <a:pt x="4" y="38"/>
                    </a:lnTo>
                    <a:lnTo>
                      <a:pt x="3" y="36"/>
                    </a:lnTo>
                    <a:lnTo>
                      <a:pt x="1" y="35"/>
                    </a:lnTo>
                    <a:lnTo>
                      <a:pt x="1" y="35"/>
                    </a:lnTo>
                    <a:lnTo>
                      <a:pt x="6" y="32"/>
                    </a:lnTo>
                    <a:lnTo>
                      <a:pt x="7" y="30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1" y="25"/>
                    </a:lnTo>
                    <a:lnTo>
                      <a:pt x="0" y="22"/>
                    </a:lnTo>
                    <a:lnTo>
                      <a:pt x="3" y="20"/>
                    </a:lnTo>
                    <a:lnTo>
                      <a:pt x="3" y="20"/>
                    </a:lnTo>
                    <a:lnTo>
                      <a:pt x="9" y="20"/>
                    </a:lnTo>
                    <a:lnTo>
                      <a:pt x="10" y="19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3" y="10"/>
                    </a:lnTo>
                    <a:lnTo>
                      <a:pt x="1" y="6"/>
                    </a:lnTo>
                    <a:lnTo>
                      <a:pt x="3" y="4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9" y="0"/>
                    </a:lnTo>
                    <a:lnTo>
                      <a:pt x="10" y="1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7" y="3"/>
                    </a:lnTo>
                    <a:lnTo>
                      <a:pt x="20" y="3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9" y="9"/>
                    </a:lnTo>
                    <a:lnTo>
                      <a:pt x="33" y="16"/>
                    </a:lnTo>
                    <a:lnTo>
                      <a:pt x="33" y="16"/>
                    </a:lnTo>
                    <a:lnTo>
                      <a:pt x="38" y="20"/>
                    </a:lnTo>
                    <a:lnTo>
                      <a:pt x="42" y="25"/>
                    </a:lnTo>
                    <a:lnTo>
                      <a:pt x="46" y="29"/>
                    </a:lnTo>
                    <a:lnTo>
                      <a:pt x="48" y="30"/>
                    </a:lnTo>
                    <a:lnTo>
                      <a:pt x="46" y="3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43" name="Freeform 93"/>
              <p:cNvSpPr>
                <a:spLocks/>
              </p:cNvSpPr>
              <p:nvPr/>
            </p:nvSpPr>
            <p:spPr bwMode="auto">
              <a:xfrm>
                <a:off x="3528331" y="1734323"/>
                <a:ext cx="47484" cy="48474"/>
              </a:xfrm>
              <a:custGeom>
                <a:avLst/>
                <a:gdLst>
                  <a:gd name="T0" fmla="*/ 46 w 48"/>
                  <a:gd name="T1" fmla="*/ 33 h 49"/>
                  <a:gd name="T2" fmla="*/ 46 w 48"/>
                  <a:gd name="T3" fmla="*/ 33 h 49"/>
                  <a:gd name="T4" fmla="*/ 43 w 48"/>
                  <a:gd name="T5" fmla="*/ 38 h 49"/>
                  <a:gd name="T6" fmla="*/ 36 w 48"/>
                  <a:gd name="T7" fmla="*/ 43 h 49"/>
                  <a:gd name="T8" fmla="*/ 27 w 48"/>
                  <a:gd name="T9" fmla="*/ 48 h 49"/>
                  <a:gd name="T10" fmla="*/ 25 w 48"/>
                  <a:gd name="T11" fmla="*/ 49 h 49"/>
                  <a:gd name="T12" fmla="*/ 20 w 48"/>
                  <a:gd name="T13" fmla="*/ 49 h 49"/>
                  <a:gd name="T14" fmla="*/ 20 w 48"/>
                  <a:gd name="T15" fmla="*/ 49 h 49"/>
                  <a:gd name="T16" fmla="*/ 17 w 48"/>
                  <a:gd name="T17" fmla="*/ 46 h 49"/>
                  <a:gd name="T18" fmla="*/ 16 w 48"/>
                  <a:gd name="T19" fmla="*/ 43 h 49"/>
                  <a:gd name="T20" fmla="*/ 14 w 48"/>
                  <a:gd name="T21" fmla="*/ 41 h 49"/>
                  <a:gd name="T22" fmla="*/ 13 w 48"/>
                  <a:gd name="T23" fmla="*/ 39 h 49"/>
                  <a:gd name="T24" fmla="*/ 13 w 48"/>
                  <a:gd name="T25" fmla="*/ 39 h 49"/>
                  <a:gd name="T26" fmla="*/ 4 w 48"/>
                  <a:gd name="T27" fmla="*/ 38 h 49"/>
                  <a:gd name="T28" fmla="*/ 3 w 48"/>
                  <a:gd name="T29" fmla="*/ 36 h 49"/>
                  <a:gd name="T30" fmla="*/ 1 w 48"/>
                  <a:gd name="T31" fmla="*/ 35 h 49"/>
                  <a:gd name="T32" fmla="*/ 1 w 48"/>
                  <a:gd name="T33" fmla="*/ 35 h 49"/>
                  <a:gd name="T34" fmla="*/ 6 w 48"/>
                  <a:gd name="T35" fmla="*/ 32 h 49"/>
                  <a:gd name="T36" fmla="*/ 7 w 48"/>
                  <a:gd name="T37" fmla="*/ 30 h 49"/>
                  <a:gd name="T38" fmla="*/ 6 w 48"/>
                  <a:gd name="T39" fmla="*/ 29 h 49"/>
                  <a:gd name="T40" fmla="*/ 6 w 48"/>
                  <a:gd name="T41" fmla="*/ 29 h 49"/>
                  <a:gd name="T42" fmla="*/ 1 w 48"/>
                  <a:gd name="T43" fmla="*/ 25 h 49"/>
                  <a:gd name="T44" fmla="*/ 0 w 48"/>
                  <a:gd name="T45" fmla="*/ 22 h 49"/>
                  <a:gd name="T46" fmla="*/ 3 w 48"/>
                  <a:gd name="T47" fmla="*/ 20 h 49"/>
                  <a:gd name="T48" fmla="*/ 3 w 48"/>
                  <a:gd name="T49" fmla="*/ 20 h 49"/>
                  <a:gd name="T50" fmla="*/ 9 w 48"/>
                  <a:gd name="T51" fmla="*/ 20 h 49"/>
                  <a:gd name="T52" fmla="*/ 10 w 48"/>
                  <a:gd name="T53" fmla="*/ 19 h 49"/>
                  <a:gd name="T54" fmla="*/ 9 w 48"/>
                  <a:gd name="T55" fmla="*/ 17 h 49"/>
                  <a:gd name="T56" fmla="*/ 9 w 48"/>
                  <a:gd name="T57" fmla="*/ 17 h 49"/>
                  <a:gd name="T58" fmla="*/ 3 w 48"/>
                  <a:gd name="T59" fmla="*/ 10 h 49"/>
                  <a:gd name="T60" fmla="*/ 1 w 48"/>
                  <a:gd name="T61" fmla="*/ 6 h 49"/>
                  <a:gd name="T62" fmla="*/ 3 w 48"/>
                  <a:gd name="T63" fmla="*/ 4 h 49"/>
                  <a:gd name="T64" fmla="*/ 3 w 48"/>
                  <a:gd name="T65" fmla="*/ 3 h 49"/>
                  <a:gd name="T66" fmla="*/ 3 w 48"/>
                  <a:gd name="T67" fmla="*/ 3 h 49"/>
                  <a:gd name="T68" fmla="*/ 9 w 48"/>
                  <a:gd name="T69" fmla="*/ 0 h 49"/>
                  <a:gd name="T70" fmla="*/ 10 w 48"/>
                  <a:gd name="T71" fmla="*/ 1 h 49"/>
                  <a:gd name="T72" fmla="*/ 11 w 48"/>
                  <a:gd name="T73" fmla="*/ 3 h 49"/>
                  <a:gd name="T74" fmla="*/ 11 w 48"/>
                  <a:gd name="T75" fmla="*/ 3 h 49"/>
                  <a:gd name="T76" fmla="*/ 14 w 48"/>
                  <a:gd name="T77" fmla="*/ 3 h 49"/>
                  <a:gd name="T78" fmla="*/ 17 w 48"/>
                  <a:gd name="T79" fmla="*/ 3 h 49"/>
                  <a:gd name="T80" fmla="*/ 20 w 48"/>
                  <a:gd name="T81" fmla="*/ 3 h 49"/>
                  <a:gd name="T82" fmla="*/ 23 w 48"/>
                  <a:gd name="T83" fmla="*/ 4 h 49"/>
                  <a:gd name="T84" fmla="*/ 23 w 48"/>
                  <a:gd name="T85" fmla="*/ 4 h 49"/>
                  <a:gd name="T86" fmla="*/ 29 w 48"/>
                  <a:gd name="T87" fmla="*/ 9 h 49"/>
                  <a:gd name="T88" fmla="*/ 33 w 48"/>
                  <a:gd name="T89" fmla="*/ 16 h 49"/>
                  <a:gd name="T90" fmla="*/ 33 w 48"/>
                  <a:gd name="T91" fmla="*/ 16 h 49"/>
                  <a:gd name="T92" fmla="*/ 38 w 48"/>
                  <a:gd name="T93" fmla="*/ 20 h 49"/>
                  <a:gd name="T94" fmla="*/ 42 w 48"/>
                  <a:gd name="T95" fmla="*/ 25 h 49"/>
                  <a:gd name="T96" fmla="*/ 46 w 48"/>
                  <a:gd name="T97" fmla="*/ 29 h 49"/>
                  <a:gd name="T98" fmla="*/ 48 w 48"/>
                  <a:gd name="T99" fmla="*/ 30 h 49"/>
                  <a:gd name="T100" fmla="*/ 46 w 48"/>
                  <a:gd name="T101" fmla="*/ 3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8" h="49">
                    <a:moveTo>
                      <a:pt x="46" y="33"/>
                    </a:moveTo>
                    <a:lnTo>
                      <a:pt x="46" y="33"/>
                    </a:lnTo>
                    <a:lnTo>
                      <a:pt x="43" y="38"/>
                    </a:lnTo>
                    <a:lnTo>
                      <a:pt x="36" y="43"/>
                    </a:lnTo>
                    <a:lnTo>
                      <a:pt x="27" y="48"/>
                    </a:lnTo>
                    <a:lnTo>
                      <a:pt x="25" y="49"/>
                    </a:lnTo>
                    <a:lnTo>
                      <a:pt x="20" y="49"/>
                    </a:lnTo>
                    <a:lnTo>
                      <a:pt x="20" y="49"/>
                    </a:lnTo>
                    <a:lnTo>
                      <a:pt x="17" y="46"/>
                    </a:lnTo>
                    <a:lnTo>
                      <a:pt x="16" y="43"/>
                    </a:lnTo>
                    <a:lnTo>
                      <a:pt x="14" y="41"/>
                    </a:lnTo>
                    <a:lnTo>
                      <a:pt x="13" y="39"/>
                    </a:lnTo>
                    <a:lnTo>
                      <a:pt x="13" y="39"/>
                    </a:lnTo>
                    <a:lnTo>
                      <a:pt x="4" y="38"/>
                    </a:lnTo>
                    <a:lnTo>
                      <a:pt x="3" y="36"/>
                    </a:lnTo>
                    <a:lnTo>
                      <a:pt x="1" y="35"/>
                    </a:lnTo>
                    <a:lnTo>
                      <a:pt x="1" y="35"/>
                    </a:lnTo>
                    <a:lnTo>
                      <a:pt x="6" y="32"/>
                    </a:lnTo>
                    <a:lnTo>
                      <a:pt x="7" y="30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1" y="25"/>
                    </a:lnTo>
                    <a:lnTo>
                      <a:pt x="0" y="22"/>
                    </a:lnTo>
                    <a:lnTo>
                      <a:pt x="3" y="20"/>
                    </a:lnTo>
                    <a:lnTo>
                      <a:pt x="3" y="20"/>
                    </a:lnTo>
                    <a:lnTo>
                      <a:pt x="9" y="20"/>
                    </a:lnTo>
                    <a:lnTo>
                      <a:pt x="10" y="19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3" y="10"/>
                    </a:lnTo>
                    <a:lnTo>
                      <a:pt x="1" y="6"/>
                    </a:lnTo>
                    <a:lnTo>
                      <a:pt x="3" y="4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9" y="0"/>
                    </a:lnTo>
                    <a:lnTo>
                      <a:pt x="10" y="1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7" y="3"/>
                    </a:lnTo>
                    <a:lnTo>
                      <a:pt x="20" y="3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9" y="9"/>
                    </a:lnTo>
                    <a:lnTo>
                      <a:pt x="33" y="16"/>
                    </a:lnTo>
                    <a:lnTo>
                      <a:pt x="33" y="16"/>
                    </a:lnTo>
                    <a:lnTo>
                      <a:pt x="38" y="20"/>
                    </a:lnTo>
                    <a:lnTo>
                      <a:pt x="42" y="25"/>
                    </a:lnTo>
                    <a:lnTo>
                      <a:pt x="46" y="29"/>
                    </a:lnTo>
                    <a:lnTo>
                      <a:pt x="48" y="30"/>
                    </a:lnTo>
                    <a:lnTo>
                      <a:pt x="46" y="3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44" name="Freeform 94"/>
              <p:cNvSpPr>
                <a:spLocks/>
              </p:cNvSpPr>
              <p:nvPr/>
            </p:nvSpPr>
            <p:spPr bwMode="auto">
              <a:xfrm>
                <a:off x="3585709" y="1754108"/>
                <a:ext cx="6925" cy="12860"/>
              </a:xfrm>
              <a:custGeom>
                <a:avLst/>
                <a:gdLst>
                  <a:gd name="T0" fmla="*/ 3 w 7"/>
                  <a:gd name="T1" fmla="*/ 13 h 13"/>
                  <a:gd name="T2" fmla="*/ 3 w 7"/>
                  <a:gd name="T3" fmla="*/ 13 h 13"/>
                  <a:gd name="T4" fmla="*/ 1 w 7"/>
                  <a:gd name="T5" fmla="*/ 13 h 13"/>
                  <a:gd name="T6" fmla="*/ 0 w 7"/>
                  <a:gd name="T7" fmla="*/ 10 h 13"/>
                  <a:gd name="T8" fmla="*/ 0 w 7"/>
                  <a:gd name="T9" fmla="*/ 8 h 13"/>
                  <a:gd name="T10" fmla="*/ 1 w 7"/>
                  <a:gd name="T11" fmla="*/ 5 h 13"/>
                  <a:gd name="T12" fmla="*/ 1 w 7"/>
                  <a:gd name="T13" fmla="*/ 5 h 13"/>
                  <a:gd name="T14" fmla="*/ 6 w 7"/>
                  <a:gd name="T15" fmla="*/ 0 h 13"/>
                  <a:gd name="T16" fmla="*/ 6 w 7"/>
                  <a:gd name="T17" fmla="*/ 0 h 13"/>
                  <a:gd name="T18" fmla="*/ 7 w 7"/>
                  <a:gd name="T19" fmla="*/ 0 h 13"/>
                  <a:gd name="T20" fmla="*/ 7 w 7"/>
                  <a:gd name="T21" fmla="*/ 0 h 13"/>
                  <a:gd name="T22" fmla="*/ 6 w 7"/>
                  <a:gd name="T23" fmla="*/ 8 h 13"/>
                  <a:gd name="T24" fmla="*/ 4 w 7"/>
                  <a:gd name="T25" fmla="*/ 12 h 13"/>
                  <a:gd name="T26" fmla="*/ 3 w 7"/>
                  <a:gd name="T27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3">
                    <a:moveTo>
                      <a:pt x="3" y="13"/>
                    </a:moveTo>
                    <a:lnTo>
                      <a:pt x="3" y="13"/>
                    </a:lnTo>
                    <a:lnTo>
                      <a:pt x="1" y="13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6" y="8"/>
                    </a:lnTo>
                    <a:lnTo>
                      <a:pt x="4" y="12"/>
                    </a:lnTo>
                    <a:lnTo>
                      <a:pt x="3" y="1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45" name="Freeform 95"/>
              <p:cNvSpPr>
                <a:spLocks/>
              </p:cNvSpPr>
              <p:nvPr/>
            </p:nvSpPr>
            <p:spPr bwMode="auto">
              <a:xfrm>
                <a:off x="3585709" y="1754108"/>
                <a:ext cx="6925" cy="12860"/>
              </a:xfrm>
              <a:custGeom>
                <a:avLst/>
                <a:gdLst>
                  <a:gd name="T0" fmla="*/ 3 w 7"/>
                  <a:gd name="T1" fmla="*/ 13 h 13"/>
                  <a:gd name="T2" fmla="*/ 3 w 7"/>
                  <a:gd name="T3" fmla="*/ 13 h 13"/>
                  <a:gd name="T4" fmla="*/ 1 w 7"/>
                  <a:gd name="T5" fmla="*/ 13 h 13"/>
                  <a:gd name="T6" fmla="*/ 0 w 7"/>
                  <a:gd name="T7" fmla="*/ 10 h 13"/>
                  <a:gd name="T8" fmla="*/ 0 w 7"/>
                  <a:gd name="T9" fmla="*/ 8 h 13"/>
                  <a:gd name="T10" fmla="*/ 1 w 7"/>
                  <a:gd name="T11" fmla="*/ 5 h 13"/>
                  <a:gd name="T12" fmla="*/ 1 w 7"/>
                  <a:gd name="T13" fmla="*/ 5 h 13"/>
                  <a:gd name="T14" fmla="*/ 6 w 7"/>
                  <a:gd name="T15" fmla="*/ 0 h 13"/>
                  <a:gd name="T16" fmla="*/ 6 w 7"/>
                  <a:gd name="T17" fmla="*/ 0 h 13"/>
                  <a:gd name="T18" fmla="*/ 7 w 7"/>
                  <a:gd name="T19" fmla="*/ 0 h 13"/>
                  <a:gd name="T20" fmla="*/ 7 w 7"/>
                  <a:gd name="T21" fmla="*/ 0 h 13"/>
                  <a:gd name="T22" fmla="*/ 6 w 7"/>
                  <a:gd name="T23" fmla="*/ 8 h 13"/>
                  <a:gd name="T24" fmla="*/ 4 w 7"/>
                  <a:gd name="T25" fmla="*/ 12 h 13"/>
                  <a:gd name="T26" fmla="*/ 3 w 7"/>
                  <a:gd name="T27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3">
                    <a:moveTo>
                      <a:pt x="3" y="13"/>
                    </a:moveTo>
                    <a:lnTo>
                      <a:pt x="3" y="13"/>
                    </a:lnTo>
                    <a:lnTo>
                      <a:pt x="1" y="13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6" y="8"/>
                    </a:lnTo>
                    <a:lnTo>
                      <a:pt x="4" y="12"/>
                    </a:lnTo>
                    <a:lnTo>
                      <a:pt x="3" y="1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46" name="Freeform 96"/>
              <p:cNvSpPr>
                <a:spLocks/>
              </p:cNvSpPr>
              <p:nvPr/>
            </p:nvSpPr>
            <p:spPr bwMode="auto">
              <a:xfrm>
                <a:off x="3589666" y="1775872"/>
                <a:ext cx="5936" cy="8903"/>
              </a:xfrm>
              <a:custGeom>
                <a:avLst/>
                <a:gdLst>
                  <a:gd name="T0" fmla="*/ 5 w 6"/>
                  <a:gd name="T1" fmla="*/ 9 h 9"/>
                  <a:gd name="T2" fmla="*/ 5 w 6"/>
                  <a:gd name="T3" fmla="*/ 9 h 9"/>
                  <a:gd name="T4" fmla="*/ 2 w 6"/>
                  <a:gd name="T5" fmla="*/ 9 h 9"/>
                  <a:gd name="T6" fmla="*/ 0 w 6"/>
                  <a:gd name="T7" fmla="*/ 6 h 9"/>
                  <a:gd name="T8" fmla="*/ 0 w 6"/>
                  <a:gd name="T9" fmla="*/ 3 h 9"/>
                  <a:gd name="T10" fmla="*/ 2 w 6"/>
                  <a:gd name="T11" fmla="*/ 0 h 9"/>
                  <a:gd name="T12" fmla="*/ 2 w 6"/>
                  <a:gd name="T13" fmla="*/ 0 h 9"/>
                  <a:gd name="T14" fmla="*/ 3 w 6"/>
                  <a:gd name="T15" fmla="*/ 1 h 9"/>
                  <a:gd name="T16" fmla="*/ 5 w 6"/>
                  <a:gd name="T17" fmla="*/ 3 h 9"/>
                  <a:gd name="T18" fmla="*/ 6 w 6"/>
                  <a:gd name="T19" fmla="*/ 6 h 9"/>
                  <a:gd name="T20" fmla="*/ 5 w 6"/>
                  <a:gd name="T2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9">
                    <a:moveTo>
                      <a:pt x="5" y="9"/>
                    </a:moveTo>
                    <a:lnTo>
                      <a:pt x="5" y="9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1"/>
                    </a:lnTo>
                    <a:lnTo>
                      <a:pt x="5" y="3"/>
                    </a:lnTo>
                    <a:lnTo>
                      <a:pt x="6" y="6"/>
                    </a:lnTo>
                    <a:lnTo>
                      <a:pt x="5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47" name="Freeform 97"/>
              <p:cNvSpPr>
                <a:spLocks/>
              </p:cNvSpPr>
              <p:nvPr/>
            </p:nvSpPr>
            <p:spPr bwMode="auto">
              <a:xfrm>
                <a:off x="3589666" y="1775872"/>
                <a:ext cx="5936" cy="8903"/>
              </a:xfrm>
              <a:custGeom>
                <a:avLst/>
                <a:gdLst>
                  <a:gd name="T0" fmla="*/ 5 w 6"/>
                  <a:gd name="T1" fmla="*/ 9 h 9"/>
                  <a:gd name="T2" fmla="*/ 5 w 6"/>
                  <a:gd name="T3" fmla="*/ 9 h 9"/>
                  <a:gd name="T4" fmla="*/ 2 w 6"/>
                  <a:gd name="T5" fmla="*/ 9 h 9"/>
                  <a:gd name="T6" fmla="*/ 0 w 6"/>
                  <a:gd name="T7" fmla="*/ 6 h 9"/>
                  <a:gd name="T8" fmla="*/ 0 w 6"/>
                  <a:gd name="T9" fmla="*/ 3 h 9"/>
                  <a:gd name="T10" fmla="*/ 2 w 6"/>
                  <a:gd name="T11" fmla="*/ 0 h 9"/>
                  <a:gd name="T12" fmla="*/ 2 w 6"/>
                  <a:gd name="T13" fmla="*/ 0 h 9"/>
                  <a:gd name="T14" fmla="*/ 3 w 6"/>
                  <a:gd name="T15" fmla="*/ 1 h 9"/>
                  <a:gd name="T16" fmla="*/ 5 w 6"/>
                  <a:gd name="T17" fmla="*/ 3 h 9"/>
                  <a:gd name="T18" fmla="*/ 6 w 6"/>
                  <a:gd name="T19" fmla="*/ 6 h 9"/>
                  <a:gd name="T20" fmla="*/ 5 w 6"/>
                  <a:gd name="T2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9">
                    <a:moveTo>
                      <a:pt x="5" y="9"/>
                    </a:moveTo>
                    <a:lnTo>
                      <a:pt x="5" y="9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1"/>
                    </a:lnTo>
                    <a:lnTo>
                      <a:pt x="5" y="3"/>
                    </a:lnTo>
                    <a:lnTo>
                      <a:pt x="6" y="6"/>
                    </a:lnTo>
                    <a:lnTo>
                      <a:pt x="5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48" name="Freeform 98"/>
              <p:cNvSpPr>
                <a:spLocks/>
              </p:cNvSpPr>
              <p:nvPr/>
            </p:nvSpPr>
            <p:spPr bwMode="auto">
              <a:xfrm>
                <a:off x="3560977" y="1813464"/>
                <a:ext cx="17807" cy="12860"/>
              </a:xfrm>
              <a:custGeom>
                <a:avLst/>
                <a:gdLst>
                  <a:gd name="T0" fmla="*/ 18 w 18"/>
                  <a:gd name="T1" fmla="*/ 10 h 13"/>
                  <a:gd name="T2" fmla="*/ 18 w 18"/>
                  <a:gd name="T3" fmla="*/ 10 h 13"/>
                  <a:gd name="T4" fmla="*/ 12 w 18"/>
                  <a:gd name="T5" fmla="*/ 11 h 13"/>
                  <a:gd name="T6" fmla="*/ 6 w 18"/>
                  <a:gd name="T7" fmla="*/ 13 h 13"/>
                  <a:gd name="T8" fmla="*/ 2 w 18"/>
                  <a:gd name="T9" fmla="*/ 11 h 13"/>
                  <a:gd name="T10" fmla="*/ 0 w 18"/>
                  <a:gd name="T11" fmla="*/ 10 h 13"/>
                  <a:gd name="T12" fmla="*/ 0 w 18"/>
                  <a:gd name="T13" fmla="*/ 8 h 13"/>
                  <a:gd name="T14" fmla="*/ 0 w 18"/>
                  <a:gd name="T15" fmla="*/ 8 h 13"/>
                  <a:gd name="T16" fmla="*/ 5 w 18"/>
                  <a:gd name="T17" fmla="*/ 4 h 13"/>
                  <a:gd name="T18" fmla="*/ 7 w 18"/>
                  <a:gd name="T19" fmla="*/ 1 h 13"/>
                  <a:gd name="T20" fmla="*/ 12 w 18"/>
                  <a:gd name="T21" fmla="*/ 0 h 13"/>
                  <a:gd name="T22" fmla="*/ 15 w 18"/>
                  <a:gd name="T23" fmla="*/ 0 h 13"/>
                  <a:gd name="T24" fmla="*/ 15 w 18"/>
                  <a:gd name="T25" fmla="*/ 0 h 13"/>
                  <a:gd name="T26" fmla="*/ 18 w 18"/>
                  <a:gd name="T27" fmla="*/ 6 h 13"/>
                  <a:gd name="T28" fmla="*/ 18 w 18"/>
                  <a:gd name="T29" fmla="*/ 8 h 13"/>
                  <a:gd name="T30" fmla="*/ 18 w 18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13">
                    <a:moveTo>
                      <a:pt x="18" y="10"/>
                    </a:moveTo>
                    <a:lnTo>
                      <a:pt x="18" y="10"/>
                    </a:lnTo>
                    <a:lnTo>
                      <a:pt x="12" y="11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5" y="4"/>
                    </a:lnTo>
                    <a:lnTo>
                      <a:pt x="7" y="1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8" y="6"/>
                    </a:lnTo>
                    <a:lnTo>
                      <a:pt x="18" y="8"/>
                    </a:lnTo>
                    <a:lnTo>
                      <a:pt x="18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49" name="Freeform 99"/>
              <p:cNvSpPr>
                <a:spLocks/>
              </p:cNvSpPr>
              <p:nvPr/>
            </p:nvSpPr>
            <p:spPr bwMode="auto">
              <a:xfrm>
                <a:off x="3560977" y="1813464"/>
                <a:ext cx="17807" cy="12860"/>
              </a:xfrm>
              <a:custGeom>
                <a:avLst/>
                <a:gdLst>
                  <a:gd name="T0" fmla="*/ 18 w 18"/>
                  <a:gd name="T1" fmla="*/ 10 h 13"/>
                  <a:gd name="T2" fmla="*/ 18 w 18"/>
                  <a:gd name="T3" fmla="*/ 10 h 13"/>
                  <a:gd name="T4" fmla="*/ 12 w 18"/>
                  <a:gd name="T5" fmla="*/ 11 h 13"/>
                  <a:gd name="T6" fmla="*/ 6 w 18"/>
                  <a:gd name="T7" fmla="*/ 13 h 13"/>
                  <a:gd name="T8" fmla="*/ 2 w 18"/>
                  <a:gd name="T9" fmla="*/ 11 h 13"/>
                  <a:gd name="T10" fmla="*/ 0 w 18"/>
                  <a:gd name="T11" fmla="*/ 10 h 13"/>
                  <a:gd name="T12" fmla="*/ 0 w 18"/>
                  <a:gd name="T13" fmla="*/ 8 h 13"/>
                  <a:gd name="T14" fmla="*/ 0 w 18"/>
                  <a:gd name="T15" fmla="*/ 8 h 13"/>
                  <a:gd name="T16" fmla="*/ 5 w 18"/>
                  <a:gd name="T17" fmla="*/ 4 h 13"/>
                  <a:gd name="T18" fmla="*/ 7 w 18"/>
                  <a:gd name="T19" fmla="*/ 1 h 13"/>
                  <a:gd name="T20" fmla="*/ 12 w 18"/>
                  <a:gd name="T21" fmla="*/ 0 h 13"/>
                  <a:gd name="T22" fmla="*/ 15 w 18"/>
                  <a:gd name="T23" fmla="*/ 0 h 13"/>
                  <a:gd name="T24" fmla="*/ 15 w 18"/>
                  <a:gd name="T25" fmla="*/ 0 h 13"/>
                  <a:gd name="T26" fmla="*/ 18 w 18"/>
                  <a:gd name="T27" fmla="*/ 6 h 13"/>
                  <a:gd name="T28" fmla="*/ 18 w 18"/>
                  <a:gd name="T29" fmla="*/ 8 h 13"/>
                  <a:gd name="T30" fmla="*/ 18 w 18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13">
                    <a:moveTo>
                      <a:pt x="18" y="10"/>
                    </a:moveTo>
                    <a:lnTo>
                      <a:pt x="18" y="10"/>
                    </a:lnTo>
                    <a:lnTo>
                      <a:pt x="12" y="11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5" y="4"/>
                    </a:lnTo>
                    <a:lnTo>
                      <a:pt x="7" y="1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8" y="6"/>
                    </a:lnTo>
                    <a:lnTo>
                      <a:pt x="18" y="8"/>
                    </a:lnTo>
                    <a:lnTo>
                      <a:pt x="18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50" name="Freeform 100"/>
              <p:cNvSpPr>
                <a:spLocks/>
              </p:cNvSpPr>
              <p:nvPr/>
            </p:nvSpPr>
            <p:spPr bwMode="auto">
              <a:xfrm>
                <a:off x="3547127" y="1833249"/>
                <a:ext cx="23742" cy="13850"/>
              </a:xfrm>
              <a:custGeom>
                <a:avLst/>
                <a:gdLst>
                  <a:gd name="T0" fmla="*/ 20 w 24"/>
                  <a:gd name="T1" fmla="*/ 0 h 14"/>
                  <a:gd name="T2" fmla="*/ 20 w 24"/>
                  <a:gd name="T3" fmla="*/ 0 h 14"/>
                  <a:gd name="T4" fmla="*/ 13 w 24"/>
                  <a:gd name="T5" fmla="*/ 3 h 14"/>
                  <a:gd name="T6" fmla="*/ 6 w 24"/>
                  <a:gd name="T7" fmla="*/ 9 h 14"/>
                  <a:gd name="T8" fmla="*/ 0 w 24"/>
                  <a:gd name="T9" fmla="*/ 13 h 14"/>
                  <a:gd name="T10" fmla="*/ 0 w 24"/>
                  <a:gd name="T11" fmla="*/ 14 h 14"/>
                  <a:gd name="T12" fmla="*/ 1 w 24"/>
                  <a:gd name="T13" fmla="*/ 14 h 14"/>
                  <a:gd name="T14" fmla="*/ 1 w 24"/>
                  <a:gd name="T15" fmla="*/ 14 h 14"/>
                  <a:gd name="T16" fmla="*/ 10 w 24"/>
                  <a:gd name="T17" fmla="*/ 12 h 14"/>
                  <a:gd name="T18" fmla="*/ 19 w 24"/>
                  <a:gd name="T19" fmla="*/ 9 h 14"/>
                  <a:gd name="T20" fmla="*/ 19 w 24"/>
                  <a:gd name="T21" fmla="*/ 9 h 14"/>
                  <a:gd name="T22" fmla="*/ 21 w 24"/>
                  <a:gd name="T23" fmla="*/ 6 h 14"/>
                  <a:gd name="T24" fmla="*/ 24 w 24"/>
                  <a:gd name="T25" fmla="*/ 3 h 14"/>
                  <a:gd name="T26" fmla="*/ 24 w 24"/>
                  <a:gd name="T27" fmla="*/ 1 h 14"/>
                  <a:gd name="T28" fmla="*/ 23 w 24"/>
                  <a:gd name="T29" fmla="*/ 0 h 14"/>
                  <a:gd name="T30" fmla="*/ 20 w 24"/>
                  <a:gd name="T3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4" h="14">
                    <a:moveTo>
                      <a:pt x="20" y="0"/>
                    </a:moveTo>
                    <a:lnTo>
                      <a:pt x="20" y="0"/>
                    </a:lnTo>
                    <a:lnTo>
                      <a:pt x="13" y="3"/>
                    </a:lnTo>
                    <a:lnTo>
                      <a:pt x="6" y="9"/>
                    </a:lnTo>
                    <a:lnTo>
                      <a:pt x="0" y="13"/>
                    </a:lnTo>
                    <a:lnTo>
                      <a:pt x="0" y="14"/>
                    </a:lnTo>
                    <a:lnTo>
                      <a:pt x="1" y="14"/>
                    </a:lnTo>
                    <a:lnTo>
                      <a:pt x="1" y="14"/>
                    </a:lnTo>
                    <a:lnTo>
                      <a:pt x="10" y="12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21" y="6"/>
                    </a:lnTo>
                    <a:lnTo>
                      <a:pt x="24" y="3"/>
                    </a:lnTo>
                    <a:lnTo>
                      <a:pt x="24" y="1"/>
                    </a:lnTo>
                    <a:lnTo>
                      <a:pt x="23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51" name="Freeform 101"/>
              <p:cNvSpPr>
                <a:spLocks/>
              </p:cNvSpPr>
              <p:nvPr/>
            </p:nvSpPr>
            <p:spPr bwMode="auto">
              <a:xfrm>
                <a:off x="3547127" y="1833249"/>
                <a:ext cx="23742" cy="13850"/>
              </a:xfrm>
              <a:custGeom>
                <a:avLst/>
                <a:gdLst>
                  <a:gd name="T0" fmla="*/ 20 w 24"/>
                  <a:gd name="T1" fmla="*/ 0 h 14"/>
                  <a:gd name="T2" fmla="*/ 20 w 24"/>
                  <a:gd name="T3" fmla="*/ 0 h 14"/>
                  <a:gd name="T4" fmla="*/ 13 w 24"/>
                  <a:gd name="T5" fmla="*/ 3 h 14"/>
                  <a:gd name="T6" fmla="*/ 6 w 24"/>
                  <a:gd name="T7" fmla="*/ 9 h 14"/>
                  <a:gd name="T8" fmla="*/ 0 w 24"/>
                  <a:gd name="T9" fmla="*/ 13 h 14"/>
                  <a:gd name="T10" fmla="*/ 0 w 24"/>
                  <a:gd name="T11" fmla="*/ 14 h 14"/>
                  <a:gd name="T12" fmla="*/ 1 w 24"/>
                  <a:gd name="T13" fmla="*/ 14 h 14"/>
                  <a:gd name="T14" fmla="*/ 1 w 24"/>
                  <a:gd name="T15" fmla="*/ 14 h 14"/>
                  <a:gd name="T16" fmla="*/ 10 w 24"/>
                  <a:gd name="T17" fmla="*/ 12 h 14"/>
                  <a:gd name="T18" fmla="*/ 19 w 24"/>
                  <a:gd name="T19" fmla="*/ 9 h 14"/>
                  <a:gd name="T20" fmla="*/ 19 w 24"/>
                  <a:gd name="T21" fmla="*/ 9 h 14"/>
                  <a:gd name="T22" fmla="*/ 21 w 24"/>
                  <a:gd name="T23" fmla="*/ 6 h 14"/>
                  <a:gd name="T24" fmla="*/ 24 w 24"/>
                  <a:gd name="T25" fmla="*/ 3 h 14"/>
                  <a:gd name="T26" fmla="*/ 24 w 24"/>
                  <a:gd name="T27" fmla="*/ 1 h 14"/>
                  <a:gd name="T28" fmla="*/ 23 w 24"/>
                  <a:gd name="T29" fmla="*/ 0 h 14"/>
                  <a:gd name="T30" fmla="*/ 20 w 24"/>
                  <a:gd name="T3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4" h="14">
                    <a:moveTo>
                      <a:pt x="20" y="0"/>
                    </a:moveTo>
                    <a:lnTo>
                      <a:pt x="20" y="0"/>
                    </a:lnTo>
                    <a:lnTo>
                      <a:pt x="13" y="3"/>
                    </a:lnTo>
                    <a:lnTo>
                      <a:pt x="6" y="9"/>
                    </a:lnTo>
                    <a:lnTo>
                      <a:pt x="0" y="13"/>
                    </a:lnTo>
                    <a:lnTo>
                      <a:pt x="0" y="14"/>
                    </a:lnTo>
                    <a:lnTo>
                      <a:pt x="1" y="14"/>
                    </a:lnTo>
                    <a:lnTo>
                      <a:pt x="1" y="14"/>
                    </a:lnTo>
                    <a:lnTo>
                      <a:pt x="10" y="12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21" y="6"/>
                    </a:lnTo>
                    <a:lnTo>
                      <a:pt x="24" y="3"/>
                    </a:lnTo>
                    <a:lnTo>
                      <a:pt x="24" y="1"/>
                    </a:lnTo>
                    <a:lnTo>
                      <a:pt x="23" y="0"/>
                    </a:lnTo>
                    <a:lnTo>
                      <a:pt x="2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52" name="Freeform 102"/>
              <p:cNvSpPr>
                <a:spLocks/>
              </p:cNvSpPr>
              <p:nvPr/>
            </p:nvSpPr>
            <p:spPr bwMode="auto">
              <a:xfrm>
                <a:off x="3559988" y="1686839"/>
                <a:ext cx="7914" cy="6925"/>
              </a:xfrm>
              <a:custGeom>
                <a:avLst/>
                <a:gdLst>
                  <a:gd name="T0" fmla="*/ 8 w 8"/>
                  <a:gd name="T1" fmla="*/ 5 h 7"/>
                  <a:gd name="T2" fmla="*/ 8 w 8"/>
                  <a:gd name="T3" fmla="*/ 5 h 7"/>
                  <a:gd name="T4" fmla="*/ 4 w 8"/>
                  <a:gd name="T5" fmla="*/ 7 h 7"/>
                  <a:gd name="T6" fmla="*/ 3 w 8"/>
                  <a:gd name="T7" fmla="*/ 7 h 7"/>
                  <a:gd name="T8" fmla="*/ 1 w 8"/>
                  <a:gd name="T9" fmla="*/ 6 h 7"/>
                  <a:gd name="T10" fmla="*/ 1 w 8"/>
                  <a:gd name="T11" fmla="*/ 6 h 7"/>
                  <a:gd name="T12" fmla="*/ 0 w 8"/>
                  <a:gd name="T13" fmla="*/ 2 h 7"/>
                  <a:gd name="T14" fmla="*/ 0 w 8"/>
                  <a:gd name="T15" fmla="*/ 0 h 7"/>
                  <a:gd name="T16" fmla="*/ 1 w 8"/>
                  <a:gd name="T17" fmla="*/ 0 h 7"/>
                  <a:gd name="T18" fmla="*/ 1 w 8"/>
                  <a:gd name="T19" fmla="*/ 0 h 7"/>
                  <a:gd name="T20" fmla="*/ 7 w 8"/>
                  <a:gd name="T21" fmla="*/ 2 h 7"/>
                  <a:gd name="T22" fmla="*/ 8 w 8"/>
                  <a:gd name="T23" fmla="*/ 3 h 7"/>
                  <a:gd name="T24" fmla="*/ 8 w 8"/>
                  <a:gd name="T25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7">
                    <a:moveTo>
                      <a:pt x="8" y="5"/>
                    </a:moveTo>
                    <a:lnTo>
                      <a:pt x="8" y="5"/>
                    </a:lnTo>
                    <a:lnTo>
                      <a:pt x="4" y="7"/>
                    </a:lnTo>
                    <a:lnTo>
                      <a:pt x="3" y="7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8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53" name="Freeform 103"/>
              <p:cNvSpPr>
                <a:spLocks/>
              </p:cNvSpPr>
              <p:nvPr/>
            </p:nvSpPr>
            <p:spPr bwMode="auto">
              <a:xfrm>
                <a:off x="3559988" y="1686839"/>
                <a:ext cx="7914" cy="6925"/>
              </a:xfrm>
              <a:custGeom>
                <a:avLst/>
                <a:gdLst>
                  <a:gd name="T0" fmla="*/ 8 w 8"/>
                  <a:gd name="T1" fmla="*/ 5 h 7"/>
                  <a:gd name="T2" fmla="*/ 8 w 8"/>
                  <a:gd name="T3" fmla="*/ 5 h 7"/>
                  <a:gd name="T4" fmla="*/ 4 w 8"/>
                  <a:gd name="T5" fmla="*/ 7 h 7"/>
                  <a:gd name="T6" fmla="*/ 3 w 8"/>
                  <a:gd name="T7" fmla="*/ 7 h 7"/>
                  <a:gd name="T8" fmla="*/ 1 w 8"/>
                  <a:gd name="T9" fmla="*/ 6 h 7"/>
                  <a:gd name="T10" fmla="*/ 1 w 8"/>
                  <a:gd name="T11" fmla="*/ 6 h 7"/>
                  <a:gd name="T12" fmla="*/ 0 w 8"/>
                  <a:gd name="T13" fmla="*/ 2 h 7"/>
                  <a:gd name="T14" fmla="*/ 0 w 8"/>
                  <a:gd name="T15" fmla="*/ 0 h 7"/>
                  <a:gd name="T16" fmla="*/ 1 w 8"/>
                  <a:gd name="T17" fmla="*/ 0 h 7"/>
                  <a:gd name="T18" fmla="*/ 1 w 8"/>
                  <a:gd name="T19" fmla="*/ 0 h 7"/>
                  <a:gd name="T20" fmla="*/ 7 w 8"/>
                  <a:gd name="T21" fmla="*/ 2 h 7"/>
                  <a:gd name="T22" fmla="*/ 8 w 8"/>
                  <a:gd name="T23" fmla="*/ 3 h 7"/>
                  <a:gd name="T24" fmla="*/ 8 w 8"/>
                  <a:gd name="T25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7">
                    <a:moveTo>
                      <a:pt x="8" y="5"/>
                    </a:moveTo>
                    <a:lnTo>
                      <a:pt x="8" y="5"/>
                    </a:lnTo>
                    <a:lnTo>
                      <a:pt x="4" y="7"/>
                    </a:lnTo>
                    <a:lnTo>
                      <a:pt x="3" y="7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8" y="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54" name="Freeform 104"/>
              <p:cNvSpPr>
                <a:spLocks/>
              </p:cNvSpPr>
              <p:nvPr/>
            </p:nvSpPr>
            <p:spPr bwMode="auto">
              <a:xfrm>
                <a:off x="3575816" y="1834238"/>
                <a:ext cx="16817" cy="10882"/>
              </a:xfrm>
              <a:custGeom>
                <a:avLst/>
                <a:gdLst>
                  <a:gd name="T0" fmla="*/ 16 w 17"/>
                  <a:gd name="T1" fmla="*/ 11 h 11"/>
                  <a:gd name="T2" fmla="*/ 16 w 17"/>
                  <a:gd name="T3" fmla="*/ 11 h 11"/>
                  <a:gd name="T4" fmla="*/ 7 w 17"/>
                  <a:gd name="T5" fmla="*/ 11 h 11"/>
                  <a:gd name="T6" fmla="*/ 7 w 17"/>
                  <a:gd name="T7" fmla="*/ 11 h 11"/>
                  <a:gd name="T8" fmla="*/ 1 w 17"/>
                  <a:gd name="T9" fmla="*/ 11 h 11"/>
                  <a:gd name="T10" fmla="*/ 0 w 17"/>
                  <a:gd name="T11" fmla="*/ 11 h 11"/>
                  <a:gd name="T12" fmla="*/ 0 w 17"/>
                  <a:gd name="T13" fmla="*/ 9 h 11"/>
                  <a:gd name="T14" fmla="*/ 0 w 17"/>
                  <a:gd name="T15" fmla="*/ 9 h 11"/>
                  <a:gd name="T16" fmla="*/ 4 w 17"/>
                  <a:gd name="T17" fmla="*/ 3 h 11"/>
                  <a:gd name="T18" fmla="*/ 7 w 17"/>
                  <a:gd name="T19" fmla="*/ 0 h 11"/>
                  <a:gd name="T20" fmla="*/ 10 w 17"/>
                  <a:gd name="T21" fmla="*/ 0 h 11"/>
                  <a:gd name="T22" fmla="*/ 10 w 17"/>
                  <a:gd name="T23" fmla="*/ 0 h 11"/>
                  <a:gd name="T24" fmla="*/ 16 w 17"/>
                  <a:gd name="T25" fmla="*/ 6 h 11"/>
                  <a:gd name="T26" fmla="*/ 17 w 17"/>
                  <a:gd name="T27" fmla="*/ 9 h 11"/>
                  <a:gd name="T28" fmla="*/ 17 w 17"/>
                  <a:gd name="T29" fmla="*/ 11 h 11"/>
                  <a:gd name="T30" fmla="*/ 16 w 17"/>
                  <a:gd name="T3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" h="11">
                    <a:moveTo>
                      <a:pt x="16" y="11"/>
                    </a:moveTo>
                    <a:lnTo>
                      <a:pt x="16" y="11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1" y="11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4" y="3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6" y="6"/>
                    </a:lnTo>
                    <a:lnTo>
                      <a:pt x="17" y="9"/>
                    </a:lnTo>
                    <a:lnTo>
                      <a:pt x="17" y="11"/>
                    </a:lnTo>
                    <a:lnTo>
                      <a:pt x="16" y="1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55" name="Freeform 105"/>
              <p:cNvSpPr>
                <a:spLocks/>
              </p:cNvSpPr>
              <p:nvPr/>
            </p:nvSpPr>
            <p:spPr bwMode="auto">
              <a:xfrm>
                <a:off x="3575816" y="1834238"/>
                <a:ext cx="16817" cy="10882"/>
              </a:xfrm>
              <a:custGeom>
                <a:avLst/>
                <a:gdLst>
                  <a:gd name="T0" fmla="*/ 16 w 17"/>
                  <a:gd name="T1" fmla="*/ 11 h 11"/>
                  <a:gd name="T2" fmla="*/ 16 w 17"/>
                  <a:gd name="T3" fmla="*/ 11 h 11"/>
                  <a:gd name="T4" fmla="*/ 7 w 17"/>
                  <a:gd name="T5" fmla="*/ 11 h 11"/>
                  <a:gd name="T6" fmla="*/ 7 w 17"/>
                  <a:gd name="T7" fmla="*/ 11 h 11"/>
                  <a:gd name="T8" fmla="*/ 1 w 17"/>
                  <a:gd name="T9" fmla="*/ 11 h 11"/>
                  <a:gd name="T10" fmla="*/ 0 w 17"/>
                  <a:gd name="T11" fmla="*/ 11 h 11"/>
                  <a:gd name="T12" fmla="*/ 0 w 17"/>
                  <a:gd name="T13" fmla="*/ 9 h 11"/>
                  <a:gd name="T14" fmla="*/ 0 w 17"/>
                  <a:gd name="T15" fmla="*/ 9 h 11"/>
                  <a:gd name="T16" fmla="*/ 4 w 17"/>
                  <a:gd name="T17" fmla="*/ 3 h 11"/>
                  <a:gd name="T18" fmla="*/ 7 w 17"/>
                  <a:gd name="T19" fmla="*/ 0 h 11"/>
                  <a:gd name="T20" fmla="*/ 10 w 17"/>
                  <a:gd name="T21" fmla="*/ 0 h 11"/>
                  <a:gd name="T22" fmla="*/ 10 w 17"/>
                  <a:gd name="T23" fmla="*/ 0 h 11"/>
                  <a:gd name="T24" fmla="*/ 16 w 17"/>
                  <a:gd name="T25" fmla="*/ 6 h 11"/>
                  <a:gd name="T26" fmla="*/ 17 w 17"/>
                  <a:gd name="T27" fmla="*/ 9 h 11"/>
                  <a:gd name="T28" fmla="*/ 17 w 17"/>
                  <a:gd name="T29" fmla="*/ 11 h 11"/>
                  <a:gd name="T30" fmla="*/ 16 w 17"/>
                  <a:gd name="T3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" h="11">
                    <a:moveTo>
                      <a:pt x="16" y="11"/>
                    </a:moveTo>
                    <a:lnTo>
                      <a:pt x="16" y="11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1" y="11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4" y="3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6" y="6"/>
                    </a:lnTo>
                    <a:lnTo>
                      <a:pt x="17" y="9"/>
                    </a:lnTo>
                    <a:lnTo>
                      <a:pt x="17" y="11"/>
                    </a:lnTo>
                    <a:lnTo>
                      <a:pt x="16" y="1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83" name="Freeform 234"/>
              <p:cNvSpPr>
                <a:spLocks/>
              </p:cNvSpPr>
              <p:nvPr/>
            </p:nvSpPr>
            <p:spPr bwMode="auto">
              <a:xfrm>
                <a:off x="4537376" y="2207189"/>
                <a:ext cx="43527" cy="79141"/>
              </a:xfrm>
              <a:custGeom>
                <a:avLst/>
                <a:gdLst>
                  <a:gd name="T0" fmla="*/ 26 w 44"/>
                  <a:gd name="T1" fmla="*/ 71 h 80"/>
                  <a:gd name="T2" fmla="*/ 30 w 44"/>
                  <a:gd name="T3" fmla="*/ 71 h 80"/>
                  <a:gd name="T4" fmla="*/ 39 w 44"/>
                  <a:gd name="T5" fmla="*/ 70 h 80"/>
                  <a:gd name="T6" fmla="*/ 40 w 44"/>
                  <a:gd name="T7" fmla="*/ 68 h 80"/>
                  <a:gd name="T8" fmla="*/ 36 w 44"/>
                  <a:gd name="T9" fmla="*/ 65 h 80"/>
                  <a:gd name="T10" fmla="*/ 27 w 44"/>
                  <a:gd name="T11" fmla="*/ 62 h 80"/>
                  <a:gd name="T12" fmla="*/ 26 w 44"/>
                  <a:gd name="T13" fmla="*/ 59 h 80"/>
                  <a:gd name="T14" fmla="*/ 36 w 44"/>
                  <a:gd name="T15" fmla="*/ 46 h 80"/>
                  <a:gd name="T16" fmla="*/ 42 w 44"/>
                  <a:gd name="T17" fmla="*/ 41 h 80"/>
                  <a:gd name="T18" fmla="*/ 44 w 44"/>
                  <a:gd name="T19" fmla="*/ 38 h 80"/>
                  <a:gd name="T20" fmla="*/ 44 w 44"/>
                  <a:gd name="T21" fmla="*/ 36 h 80"/>
                  <a:gd name="T22" fmla="*/ 40 w 44"/>
                  <a:gd name="T23" fmla="*/ 35 h 80"/>
                  <a:gd name="T24" fmla="*/ 36 w 44"/>
                  <a:gd name="T25" fmla="*/ 36 h 80"/>
                  <a:gd name="T26" fmla="*/ 33 w 44"/>
                  <a:gd name="T27" fmla="*/ 35 h 80"/>
                  <a:gd name="T28" fmla="*/ 33 w 44"/>
                  <a:gd name="T29" fmla="*/ 23 h 80"/>
                  <a:gd name="T30" fmla="*/ 34 w 44"/>
                  <a:gd name="T31" fmla="*/ 19 h 80"/>
                  <a:gd name="T32" fmla="*/ 36 w 44"/>
                  <a:gd name="T33" fmla="*/ 16 h 80"/>
                  <a:gd name="T34" fmla="*/ 37 w 44"/>
                  <a:gd name="T35" fmla="*/ 1 h 80"/>
                  <a:gd name="T36" fmla="*/ 37 w 44"/>
                  <a:gd name="T37" fmla="*/ 0 h 80"/>
                  <a:gd name="T38" fmla="*/ 33 w 44"/>
                  <a:gd name="T39" fmla="*/ 1 h 80"/>
                  <a:gd name="T40" fmla="*/ 27 w 44"/>
                  <a:gd name="T41" fmla="*/ 9 h 80"/>
                  <a:gd name="T42" fmla="*/ 21 w 44"/>
                  <a:gd name="T43" fmla="*/ 17 h 80"/>
                  <a:gd name="T44" fmla="*/ 23 w 44"/>
                  <a:gd name="T45" fmla="*/ 20 h 80"/>
                  <a:gd name="T46" fmla="*/ 24 w 44"/>
                  <a:gd name="T47" fmla="*/ 23 h 80"/>
                  <a:gd name="T48" fmla="*/ 17 w 44"/>
                  <a:gd name="T49" fmla="*/ 30 h 80"/>
                  <a:gd name="T50" fmla="*/ 14 w 44"/>
                  <a:gd name="T51" fmla="*/ 29 h 80"/>
                  <a:gd name="T52" fmla="*/ 10 w 44"/>
                  <a:gd name="T53" fmla="*/ 19 h 80"/>
                  <a:gd name="T54" fmla="*/ 8 w 44"/>
                  <a:gd name="T55" fmla="*/ 19 h 80"/>
                  <a:gd name="T56" fmla="*/ 2 w 44"/>
                  <a:gd name="T57" fmla="*/ 28 h 80"/>
                  <a:gd name="T58" fmla="*/ 2 w 44"/>
                  <a:gd name="T59" fmla="*/ 32 h 80"/>
                  <a:gd name="T60" fmla="*/ 1 w 44"/>
                  <a:gd name="T61" fmla="*/ 45 h 80"/>
                  <a:gd name="T62" fmla="*/ 1 w 44"/>
                  <a:gd name="T63" fmla="*/ 49 h 80"/>
                  <a:gd name="T64" fmla="*/ 1 w 44"/>
                  <a:gd name="T65" fmla="*/ 57 h 80"/>
                  <a:gd name="T66" fmla="*/ 4 w 44"/>
                  <a:gd name="T67" fmla="*/ 67 h 80"/>
                  <a:gd name="T68" fmla="*/ 30 w 44"/>
                  <a:gd name="T69" fmla="*/ 80 h 80"/>
                  <a:gd name="T70" fmla="*/ 26 w 44"/>
                  <a:gd name="T71" fmla="*/ 7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4" h="80">
                    <a:moveTo>
                      <a:pt x="26" y="71"/>
                    </a:moveTo>
                    <a:lnTo>
                      <a:pt x="26" y="71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4" y="71"/>
                    </a:lnTo>
                    <a:lnTo>
                      <a:pt x="39" y="70"/>
                    </a:lnTo>
                    <a:lnTo>
                      <a:pt x="39" y="70"/>
                    </a:lnTo>
                    <a:lnTo>
                      <a:pt x="40" y="68"/>
                    </a:lnTo>
                    <a:lnTo>
                      <a:pt x="40" y="67"/>
                    </a:lnTo>
                    <a:lnTo>
                      <a:pt x="36" y="65"/>
                    </a:lnTo>
                    <a:lnTo>
                      <a:pt x="27" y="62"/>
                    </a:lnTo>
                    <a:lnTo>
                      <a:pt x="27" y="62"/>
                    </a:lnTo>
                    <a:lnTo>
                      <a:pt x="26" y="61"/>
                    </a:lnTo>
                    <a:lnTo>
                      <a:pt x="26" y="59"/>
                    </a:lnTo>
                    <a:lnTo>
                      <a:pt x="27" y="57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42" y="41"/>
                    </a:lnTo>
                    <a:lnTo>
                      <a:pt x="43" y="39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6"/>
                    </a:lnTo>
                    <a:lnTo>
                      <a:pt x="43" y="35"/>
                    </a:lnTo>
                    <a:lnTo>
                      <a:pt x="40" y="35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4" y="36"/>
                    </a:lnTo>
                    <a:lnTo>
                      <a:pt x="33" y="35"/>
                    </a:lnTo>
                    <a:lnTo>
                      <a:pt x="33" y="29"/>
                    </a:lnTo>
                    <a:lnTo>
                      <a:pt x="33" y="23"/>
                    </a:lnTo>
                    <a:lnTo>
                      <a:pt x="33" y="20"/>
                    </a:lnTo>
                    <a:lnTo>
                      <a:pt x="34" y="19"/>
                    </a:lnTo>
                    <a:lnTo>
                      <a:pt x="34" y="19"/>
                    </a:lnTo>
                    <a:lnTo>
                      <a:pt x="36" y="16"/>
                    </a:lnTo>
                    <a:lnTo>
                      <a:pt x="37" y="1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7" y="0"/>
                    </a:lnTo>
                    <a:lnTo>
                      <a:pt x="36" y="0"/>
                    </a:lnTo>
                    <a:lnTo>
                      <a:pt x="33" y="1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1" y="15"/>
                    </a:lnTo>
                    <a:lnTo>
                      <a:pt x="21" y="17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4" y="22"/>
                    </a:lnTo>
                    <a:lnTo>
                      <a:pt x="24" y="23"/>
                    </a:lnTo>
                    <a:lnTo>
                      <a:pt x="21" y="26"/>
                    </a:lnTo>
                    <a:lnTo>
                      <a:pt x="17" y="30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3" y="26"/>
                    </a:lnTo>
                    <a:lnTo>
                      <a:pt x="10" y="19"/>
                    </a:lnTo>
                    <a:lnTo>
                      <a:pt x="10" y="19"/>
                    </a:lnTo>
                    <a:lnTo>
                      <a:pt x="8" y="19"/>
                    </a:lnTo>
                    <a:lnTo>
                      <a:pt x="7" y="20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32"/>
                    </a:lnTo>
                    <a:lnTo>
                      <a:pt x="1" y="38"/>
                    </a:lnTo>
                    <a:lnTo>
                      <a:pt x="1" y="45"/>
                    </a:lnTo>
                    <a:lnTo>
                      <a:pt x="1" y="49"/>
                    </a:lnTo>
                    <a:lnTo>
                      <a:pt x="1" y="49"/>
                    </a:lnTo>
                    <a:lnTo>
                      <a:pt x="0" y="52"/>
                    </a:lnTo>
                    <a:lnTo>
                      <a:pt x="1" y="57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7" y="80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26" y="75"/>
                    </a:lnTo>
                    <a:lnTo>
                      <a:pt x="26" y="7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84" name="Freeform 235"/>
              <p:cNvSpPr>
                <a:spLocks/>
              </p:cNvSpPr>
              <p:nvPr/>
            </p:nvSpPr>
            <p:spPr bwMode="auto">
              <a:xfrm>
                <a:off x="4537376" y="2207189"/>
                <a:ext cx="43527" cy="79141"/>
              </a:xfrm>
              <a:custGeom>
                <a:avLst/>
                <a:gdLst>
                  <a:gd name="T0" fmla="*/ 26 w 44"/>
                  <a:gd name="T1" fmla="*/ 71 h 80"/>
                  <a:gd name="T2" fmla="*/ 30 w 44"/>
                  <a:gd name="T3" fmla="*/ 71 h 80"/>
                  <a:gd name="T4" fmla="*/ 39 w 44"/>
                  <a:gd name="T5" fmla="*/ 70 h 80"/>
                  <a:gd name="T6" fmla="*/ 40 w 44"/>
                  <a:gd name="T7" fmla="*/ 68 h 80"/>
                  <a:gd name="T8" fmla="*/ 36 w 44"/>
                  <a:gd name="T9" fmla="*/ 65 h 80"/>
                  <a:gd name="T10" fmla="*/ 27 w 44"/>
                  <a:gd name="T11" fmla="*/ 62 h 80"/>
                  <a:gd name="T12" fmla="*/ 26 w 44"/>
                  <a:gd name="T13" fmla="*/ 59 h 80"/>
                  <a:gd name="T14" fmla="*/ 36 w 44"/>
                  <a:gd name="T15" fmla="*/ 46 h 80"/>
                  <a:gd name="T16" fmla="*/ 42 w 44"/>
                  <a:gd name="T17" fmla="*/ 41 h 80"/>
                  <a:gd name="T18" fmla="*/ 44 w 44"/>
                  <a:gd name="T19" fmla="*/ 38 h 80"/>
                  <a:gd name="T20" fmla="*/ 44 w 44"/>
                  <a:gd name="T21" fmla="*/ 36 h 80"/>
                  <a:gd name="T22" fmla="*/ 40 w 44"/>
                  <a:gd name="T23" fmla="*/ 35 h 80"/>
                  <a:gd name="T24" fmla="*/ 36 w 44"/>
                  <a:gd name="T25" fmla="*/ 36 h 80"/>
                  <a:gd name="T26" fmla="*/ 33 w 44"/>
                  <a:gd name="T27" fmla="*/ 35 h 80"/>
                  <a:gd name="T28" fmla="*/ 33 w 44"/>
                  <a:gd name="T29" fmla="*/ 23 h 80"/>
                  <a:gd name="T30" fmla="*/ 34 w 44"/>
                  <a:gd name="T31" fmla="*/ 19 h 80"/>
                  <a:gd name="T32" fmla="*/ 36 w 44"/>
                  <a:gd name="T33" fmla="*/ 16 h 80"/>
                  <a:gd name="T34" fmla="*/ 37 w 44"/>
                  <a:gd name="T35" fmla="*/ 1 h 80"/>
                  <a:gd name="T36" fmla="*/ 37 w 44"/>
                  <a:gd name="T37" fmla="*/ 0 h 80"/>
                  <a:gd name="T38" fmla="*/ 33 w 44"/>
                  <a:gd name="T39" fmla="*/ 1 h 80"/>
                  <a:gd name="T40" fmla="*/ 27 w 44"/>
                  <a:gd name="T41" fmla="*/ 9 h 80"/>
                  <a:gd name="T42" fmla="*/ 21 w 44"/>
                  <a:gd name="T43" fmla="*/ 17 h 80"/>
                  <a:gd name="T44" fmla="*/ 23 w 44"/>
                  <a:gd name="T45" fmla="*/ 20 h 80"/>
                  <a:gd name="T46" fmla="*/ 24 w 44"/>
                  <a:gd name="T47" fmla="*/ 23 h 80"/>
                  <a:gd name="T48" fmla="*/ 17 w 44"/>
                  <a:gd name="T49" fmla="*/ 30 h 80"/>
                  <a:gd name="T50" fmla="*/ 14 w 44"/>
                  <a:gd name="T51" fmla="*/ 29 h 80"/>
                  <a:gd name="T52" fmla="*/ 10 w 44"/>
                  <a:gd name="T53" fmla="*/ 19 h 80"/>
                  <a:gd name="T54" fmla="*/ 8 w 44"/>
                  <a:gd name="T55" fmla="*/ 19 h 80"/>
                  <a:gd name="T56" fmla="*/ 2 w 44"/>
                  <a:gd name="T57" fmla="*/ 28 h 80"/>
                  <a:gd name="T58" fmla="*/ 2 w 44"/>
                  <a:gd name="T59" fmla="*/ 32 h 80"/>
                  <a:gd name="T60" fmla="*/ 1 w 44"/>
                  <a:gd name="T61" fmla="*/ 45 h 80"/>
                  <a:gd name="T62" fmla="*/ 1 w 44"/>
                  <a:gd name="T63" fmla="*/ 49 h 80"/>
                  <a:gd name="T64" fmla="*/ 1 w 44"/>
                  <a:gd name="T65" fmla="*/ 57 h 80"/>
                  <a:gd name="T66" fmla="*/ 4 w 44"/>
                  <a:gd name="T67" fmla="*/ 67 h 80"/>
                  <a:gd name="T68" fmla="*/ 30 w 44"/>
                  <a:gd name="T69" fmla="*/ 80 h 80"/>
                  <a:gd name="T70" fmla="*/ 26 w 44"/>
                  <a:gd name="T71" fmla="*/ 7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4" h="80">
                    <a:moveTo>
                      <a:pt x="26" y="71"/>
                    </a:moveTo>
                    <a:lnTo>
                      <a:pt x="26" y="71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4" y="71"/>
                    </a:lnTo>
                    <a:lnTo>
                      <a:pt x="39" y="70"/>
                    </a:lnTo>
                    <a:lnTo>
                      <a:pt x="39" y="70"/>
                    </a:lnTo>
                    <a:lnTo>
                      <a:pt x="40" y="68"/>
                    </a:lnTo>
                    <a:lnTo>
                      <a:pt x="40" y="67"/>
                    </a:lnTo>
                    <a:lnTo>
                      <a:pt x="36" y="65"/>
                    </a:lnTo>
                    <a:lnTo>
                      <a:pt x="27" y="62"/>
                    </a:lnTo>
                    <a:lnTo>
                      <a:pt x="27" y="62"/>
                    </a:lnTo>
                    <a:lnTo>
                      <a:pt x="26" y="61"/>
                    </a:lnTo>
                    <a:lnTo>
                      <a:pt x="26" y="59"/>
                    </a:lnTo>
                    <a:lnTo>
                      <a:pt x="27" y="57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42" y="41"/>
                    </a:lnTo>
                    <a:lnTo>
                      <a:pt x="43" y="39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6"/>
                    </a:lnTo>
                    <a:lnTo>
                      <a:pt x="43" y="35"/>
                    </a:lnTo>
                    <a:lnTo>
                      <a:pt x="40" y="35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4" y="36"/>
                    </a:lnTo>
                    <a:lnTo>
                      <a:pt x="33" y="35"/>
                    </a:lnTo>
                    <a:lnTo>
                      <a:pt x="33" y="29"/>
                    </a:lnTo>
                    <a:lnTo>
                      <a:pt x="33" y="23"/>
                    </a:lnTo>
                    <a:lnTo>
                      <a:pt x="33" y="20"/>
                    </a:lnTo>
                    <a:lnTo>
                      <a:pt x="34" y="19"/>
                    </a:lnTo>
                    <a:lnTo>
                      <a:pt x="34" y="19"/>
                    </a:lnTo>
                    <a:lnTo>
                      <a:pt x="36" y="16"/>
                    </a:lnTo>
                    <a:lnTo>
                      <a:pt x="37" y="1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7" y="0"/>
                    </a:lnTo>
                    <a:lnTo>
                      <a:pt x="36" y="0"/>
                    </a:lnTo>
                    <a:lnTo>
                      <a:pt x="33" y="1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1" y="15"/>
                    </a:lnTo>
                    <a:lnTo>
                      <a:pt x="21" y="17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4" y="22"/>
                    </a:lnTo>
                    <a:lnTo>
                      <a:pt x="24" y="23"/>
                    </a:lnTo>
                    <a:lnTo>
                      <a:pt x="21" y="26"/>
                    </a:lnTo>
                    <a:lnTo>
                      <a:pt x="17" y="30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3" y="26"/>
                    </a:lnTo>
                    <a:lnTo>
                      <a:pt x="10" y="19"/>
                    </a:lnTo>
                    <a:lnTo>
                      <a:pt x="10" y="19"/>
                    </a:lnTo>
                    <a:lnTo>
                      <a:pt x="8" y="19"/>
                    </a:lnTo>
                    <a:lnTo>
                      <a:pt x="7" y="20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32"/>
                    </a:lnTo>
                    <a:lnTo>
                      <a:pt x="1" y="38"/>
                    </a:lnTo>
                    <a:lnTo>
                      <a:pt x="1" y="45"/>
                    </a:lnTo>
                    <a:lnTo>
                      <a:pt x="1" y="49"/>
                    </a:lnTo>
                    <a:lnTo>
                      <a:pt x="1" y="49"/>
                    </a:lnTo>
                    <a:lnTo>
                      <a:pt x="0" y="52"/>
                    </a:lnTo>
                    <a:lnTo>
                      <a:pt x="1" y="57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7" y="80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26" y="75"/>
                    </a:lnTo>
                    <a:lnTo>
                      <a:pt x="26" y="7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85" name="Freeform 236"/>
              <p:cNvSpPr>
                <a:spLocks/>
              </p:cNvSpPr>
              <p:nvPr/>
            </p:nvSpPr>
            <p:spPr bwMode="auto">
              <a:xfrm>
                <a:off x="4723357" y="2276437"/>
                <a:ext cx="49463" cy="17807"/>
              </a:xfrm>
              <a:custGeom>
                <a:avLst/>
                <a:gdLst>
                  <a:gd name="T0" fmla="*/ 50 w 50"/>
                  <a:gd name="T1" fmla="*/ 18 h 18"/>
                  <a:gd name="T2" fmla="*/ 50 w 50"/>
                  <a:gd name="T3" fmla="*/ 18 h 18"/>
                  <a:gd name="T4" fmla="*/ 48 w 50"/>
                  <a:gd name="T5" fmla="*/ 13 h 18"/>
                  <a:gd name="T6" fmla="*/ 48 w 50"/>
                  <a:gd name="T7" fmla="*/ 13 h 18"/>
                  <a:gd name="T8" fmla="*/ 43 w 50"/>
                  <a:gd name="T9" fmla="*/ 10 h 18"/>
                  <a:gd name="T10" fmla="*/ 35 w 50"/>
                  <a:gd name="T11" fmla="*/ 5 h 18"/>
                  <a:gd name="T12" fmla="*/ 24 w 50"/>
                  <a:gd name="T13" fmla="*/ 2 h 18"/>
                  <a:gd name="T14" fmla="*/ 13 w 50"/>
                  <a:gd name="T15" fmla="*/ 0 h 18"/>
                  <a:gd name="T16" fmla="*/ 13 w 50"/>
                  <a:gd name="T17" fmla="*/ 0 h 18"/>
                  <a:gd name="T18" fmla="*/ 6 w 50"/>
                  <a:gd name="T19" fmla="*/ 7 h 18"/>
                  <a:gd name="T20" fmla="*/ 4 w 50"/>
                  <a:gd name="T21" fmla="*/ 10 h 18"/>
                  <a:gd name="T22" fmla="*/ 3 w 50"/>
                  <a:gd name="T23" fmla="*/ 11 h 18"/>
                  <a:gd name="T24" fmla="*/ 3 w 50"/>
                  <a:gd name="T25" fmla="*/ 11 h 18"/>
                  <a:gd name="T26" fmla="*/ 0 w 50"/>
                  <a:gd name="T27" fmla="*/ 17 h 18"/>
                  <a:gd name="T28" fmla="*/ 0 w 50"/>
                  <a:gd name="T29" fmla="*/ 17 h 18"/>
                  <a:gd name="T30" fmla="*/ 11 w 50"/>
                  <a:gd name="T31" fmla="*/ 18 h 18"/>
                  <a:gd name="T32" fmla="*/ 24 w 50"/>
                  <a:gd name="T33" fmla="*/ 18 h 18"/>
                  <a:gd name="T34" fmla="*/ 50 w 50"/>
                  <a:gd name="T3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0" h="18">
                    <a:moveTo>
                      <a:pt x="50" y="18"/>
                    </a:moveTo>
                    <a:lnTo>
                      <a:pt x="50" y="18"/>
                    </a:lnTo>
                    <a:lnTo>
                      <a:pt x="48" y="13"/>
                    </a:lnTo>
                    <a:lnTo>
                      <a:pt x="48" y="13"/>
                    </a:lnTo>
                    <a:lnTo>
                      <a:pt x="43" y="10"/>
                    </a:lnTo>
                    <a:lnTo>
                      <a:pt x="35" y="5"/>
                    </a:lnTo>
                    <a:lnTo>
                      <a:pt x="24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6" y="7"/>
                    </a:lnTo>
                    <a:lnTo>
                      <a:pt x="4" y="10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11" y="18"/>
                    </a:lnTo>
                    <a:lnTo>
                      <a:pt x="24" y="18"/>
                    </a:lnTo>
                    <a:lnTo>
                      <a:pt x="50" y="1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86" name="Freeform 237"/>
              <p:cNvSpPr>
                <a:spLocks/>
              </p:cNvSpPr>
              <p:nvPr/>
            </p:nvSpPr>
            <p:spPr bwMode="auto">
              <a:xfrm>
                <a:off x="4723357" y="2276437"/>
                <a:ext cx="49463" cy="17807"/>
              </a:xfrm>
              <a:custGeom>
                <a:avLst/>
                <a:gdLst>
                  <a:gd name="T0" fmla="*/ 50 w 50"/>
                  <a:gd name="T1" fmla="*/ 18 h 18"/>
                  <a:gd name="T2" fmla="*/ 50 w 50"/>
                  <a:gd name="T3" fmla="*/ 18 h 18"/>
                  <a:gd name="T4" fmla="*/ 48 w 50"/>
                  <a:gd name="T5" fmla="*/ 13 h 18"/>
                  <a:gd name="T6" fmla="*/ 48 w 50"/>
                  <a:gd name="T7" fmla="*/ 13 h 18"/>
                  <a:gd name="T8" fmla="*/ 43 w 50"/>
                  <a:gd name="T9" fmla="*/ 10 h 18"/>
                  <a:gd name="T10" fmla="*/ 35 w 50"/>
                  <a:gd name="T11" fmla="*/ 5 h 18"/>
                  <a:gd name="T12" fmla="*/ 24 w 50"/>
                  <a:gd name="T13" fmla="*/ 2 h 18"/>
                  <a:gd name="T14" fmla="*/ 13 w 50"/>
                  <a:gd name="T15" fmla="*/ 0 h 18"/>
                  <a:gd name="T16" fmla="*/ 13 w 50"/>
                  <a:gd name="T17" fmla="*/ 0 h 18"/>
                  <a:gd name="T18" fmla="*/ 6 w 50"/>
                  <a:gd name="T19" fmla="*/ 7 h 18"/>
                  <a:gd name="T20" fmla="*/ 4 w 50"/>
                  <a:gd name="T21" fmla="*/ 10 h 18"/>
                  <a:gd name="T22" fmla="*/ 3 w 50"/>
                  <a:gd name="T23" fmla="*/ 11 h 18"/>
                  <a:gd name="T24" fmla="*/ 3 w 50"/>
                  <a:gd name="T25" fmla="*/ 11 h 18"/>
                  <a:gd name="T26" fmla="*/ 0 w 50"/>
                  <a:gd name="T27" fmla="*/ 17 h 18"/>
                  <a:gd name="T28" fmla="*/ 0 w 50"/>
                  <a:gd name="T29" fmla="*/ 17 h 18"/>
                  <a:gd name="T30" fmla="*/ 11 w 50"/>
                  <a:gd name="T31" fmla="*/ 18 h 18"/>
                  <a:gd name="T32" fmla="*/ 24 w 50"/>
                  <a:gd name="T33" fmla="*/ 18 h 18"/>
                  <a:gd name="T34" fmla="*/ 50 w 50"/>
                  <a:gd name="T3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0" h="18">
                    <a:moveTo>
                      <a:pt x="50" y="18"/>
                    </a:moveTo>
                    <a:lnTo>
                      <a:pt x="50" y="18"/>
                    </a:lnTo>
                    <a:lnTo>
                      <a:pt x="48" y="13"/>
                    </a:lnTo>
                    <a:lnTo>
                      <a:pt x="48" y="13"/>
                    </a:lnTo>
                    <a:lnTo>
                      <a:pt x="43" y="10"/>
                    </a:lnTo>
                    <a:lnTo>
                      <a:pt x="35" y="5"/>
                    </a:lnTo>
                    <a:lnTo>
                      <a:pt x="24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6" y="7"/>
                    </a:lnTo>
                    <a:lnTo>
                      <a:pt x="4" y="10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11" y="18"/>
                    </a:lnTo>
                    <a:lnTo>
                      <a:pt x="24" y="18"/>
                    </a:lnTo>
                    <a:lnTo>
                      <a:pt x="50" y="1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87" name="Freeform 238"/>
              <p:cNvSpPr>
                <a:spLocks/>
              </p:cNvSpPr>
              <p:nvPr/>
            </p:nvSpPr>
            <p:spPr bwMode="auto">
              <a:xfrm>
                <a:off x="4468128" y="2321943"/>
                <a:ext cx="54409" cy="63313"/>
              </a:xfrm>
              <a:custGeom>
                <a:avLst/>
                <a:gdLst>
                  <a:gd name="T0" fmla="*/ 41 w 55"/>
                  <a:gd name="T1" fmla="*/ 54 h 64"/>
                  <a:gd name="T2" fmla="*/ 41 w 55"/>
                  <a:gd name="T3" fmla="*/ 54 h 64"/>
                  <a:gd name="T4" fmla="*/ 41 w 55"/>
                  <a:gd name="T5" fmla="*/ 51 h 64"/>
                  <a:gd name="T6" fmla="*/ 41 w 55"/>
                  <a:gd name="T7" fmla="*/ 46 h 64"/>
                  <a:gd name="T8" fmla="*/ 42 w 55"/>
                  <a:gd name="T9" fmla="*/ 43 h 64"/>
                  <a:gd name="T10" fmla="*/ 45 w 55"/>
                  <a:gd name="T11" fmla="*/ 40 h 64"/>
                  <a:gd name="T12" fmla="*/ 45 w 55"/>
                  <a:gd name="T13" fmla="*/ 40 h 64"/>
                  <a:gd name="T14" fmla="*/ 48 w 55"/>
                  <a:gd name="T15" fmla="*/ 39 h 64"/>
                  <a:gd name="T16" fmla="*/ 49 w 55"/>
                  <a:gd name="T17" fmla="*/ 36 h 64"/>
                  <a:gd name="T18" fmla="*/ 51 w 55"/>
                  <a:gd name="T19" fmla="*/ 32 h 64"/>
                  <a:gd name="T20" fmla="*/ 52 w 55"/>
                  <a:gd name="T21" fmla="*/ 29 h 64"/>
                  <a:gd name="T22" fmla="*/ 52 w 55"/>
                  <a:gd name="T23" fmla="*/ 29 h 64"/>
                  <a:gd name="T24" fmla="*/ 54 w 55"/>
                  <a:gd name="T25" fmla="*/ 25 h 64"/>
                  <a:gd name="T26" fmla="*/ 55 w 55"/>
                  <a:gd name="T27" fmla="*/ 19 h 64"/>
                  <a:gd name="T28" fmla="*/ 54 w 55"/>
                  <a:gd name="T29" fmla="*/ 10 h 64"/>
                  <a:gd name="T30" fmla="*/ 52 w 55"/>
                  <a:gd name="T31" fmla="*/ 0 h 64"/>
                  <a:gd name="T32" fmla="*/ 52 w 55"/>
                  <a:gd name="T33" fmla="*/ 0 h 64"/>
                  <a:gd name="T34" fmla="*/ 46 w 55"/>
                  <a:gd name="T35" fmla="*/ 3 h 64"/>
                  <a:gd name="T36" fmla="*/ 42 w 55"/>
                  <a:gd name="T37" fmla="*/ 3 h 64"/>
                  <a:gd name="T38" fmla="*/ 42 w 55"/>
                  <a:gd name="T39" fmla="*/ 3 h 64"/>
                  <a:gd name="T40" fmla="*/ 35 w 55"/>
                  <a:gd name="T41" fmla="*/ 4 h 64"/>
                  <a:gd name="T42" fmla="*/ 32 w 55"/>
                  <a:gd name="T43" fmla="*/ 6 h 64"/>
                  <a:gd name="T44" fmla="*/ 28 w 55"/>
                  <a:gd name="T45" fmla="*/ 10 h 64"/>
                  <a:gd name="T46" fmla="*/ 28 w 55"/>
                  <a:gd name="T47" fmla="*/ 10 h 64"/>
                  <a:gd name="T48" fmla="*/ 23 w 55"/>
                  <a:gd name="T49" fmla="*/ 14 h 64"/>
                  <a:gd name="T50" fmla="*/ 19 w 55"/>
                  <a:gd name="T51" fmla="*/ 16 h 64"/>
                  <a:gd name="T52" fmla="*/ 19 w 55"/>
                  <a:gd name="T53" fmla="*/ 16 h 64"/>
                  <a:gd name="T54" fmla="*/ 17 w 55"/>
                  <a:gd name="T55" fmla="*/ 17 h 64"/>
                  <a:gd name="T56" fmla="*/ 16 w 55"/>
                  <a:gd name="T57" fmla="*/ 19 h 64"/>
                  <a:gd name="T58" fmla="*/ 12 w 55"/>
                  <a:gd name="T59" fmla="*/ 27 h 64"/>
                  <a:gd name="T60" fmla="*/ 7 w 55"/>
                  <a:gd name="T61" fmla="*/ 38 h 64"/>
                  <a:gd name="T62" fmla="*/ 4 w 55"/>
                  <a:gd name="T63" fmla="*/ 46 h 64"/>
                  <a:gd name="T64" fmla="*/ 4 w 55"/>
                  <a:gd name="T65" fmla="*/ 46 h 64"/>
                  <a:gd name="T66" fmla="*/ 3 w 55"/>
                  <a:gd name="T67" fmla="*/ 51 h 64"/>
                  <a:gd name="T68" fmla="*/ 0 w 55"/>
                  <a:gd name="T69" fmla="*/ 54 h 64"/>
                  <a:gd name="T70" fmla="*/ 0 w 55"/>
                  <a:gd name="T71" fmla="*/ 54 h 64"/>
                  <a:gd name="T72" fmla="*/ 6 w 55"/>
                  <a:gd name="T73" fmla="*/ 58 h 64"/>
                  <a:gd name="T74" fmla="*/ 12 w 55"/>
                  <a:gd name="T75" fmla="*/ 58 h 64"/>
                  <a:gd name="T76" fmla="*/ 12 w 55"/>
                  <a:gd name="T77" fmla="*/ 58 h 64"/>
                  <a:gd name="T78" fmla="*/ 22 w 55"/>
                  <a:gd name="T79" fmla="*/ 56 h 64"/>
                  <a:gd name="T80" fmla="*/ 28 w 55"/>
                  <a:gd name="T81" fmla="*/ 56 h 64"/>
                  <a:gd name="T82" fmla="*/ 32 w 55"/>
                  <a:gd name="T83" fmla="*/ 59 h 64"/>
                  <a:gd name="T84" fmla="*/ 32 w 55"/>
                  <a:gd name="T85" fmla="*/ 59 h 64"/>
                  <a:gd name="T86" fmla="*/ 36 w 55"/>
                  <a:gd name="T87" fmla="*/ 64 h 64"/>
                  <a:gd name="T88" fmla="*/ 36 w 55"/>
                  <a:gd name="T89" fmla="*/ 64 h 64"/>
                  <a:gd name="T90" fmla="*/ 39 w 55"/>
                  <a:gd name="T91" fmla="*/ 59 h 64"/>
                  <a:gd name="T92" fmla="*/ 41 w 55"/>
                  <a:gd name="T93" fmla="*/ 5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5" h="64">
                    <a:moveTo>
                      <a:pt x="41" y="54"/>
                    </a:moveTo>
                    <a:lnTo>
                      <a:pt x="41" y="54"/>
                    </a:lnTo>
                    <a:lnTo>
                      <a:pt x="41" y="51"/>
                    </a:lnTo>
                    <a:lnTo>
                      <a:pt x="41" y="46"/>
                    </a:lnTo>
                    <a:lnTo>
                      <a:pt x="42" y="43"/>
                    </a:lnTo>
                    <a:lnTo>
                      <a:pt x="45" y="40"/>
                    </a:lnTo>
                    <a:lnTo>
                      <a:pt x="45" y="40"/>
                    </a:lnTo>
                    <a:lnTo>
                      <a:pt x="48" y="39"/>
                    </a:lnTo>
                    <a:lnTo>
                      <a:pt x="49" y="36"/>
                    </a:lnTo>
                    <a:lnTo>
                      <a:pt x="51" y="32"/>
                    </a:lnTo>
                    <a:lnTo>
                      <a:pt x="52" y="29"/>
                    </a:lnTo>
                    <a:lnTo>
                      <a:pt x="52" y="29"/>
                    </a:lnTo>
                    <a:lnTo>
                      <a:pt x="54" y="25"/>
                    </a:lnTo>
                    <a:lnTo>
                      <a:pt x="55" y="19"/>
                    </a:lnTo>
                    <a:lnTo>
                      <a:pt x="54" y="1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6" y="3"/>
                    </a:lnTo>
                    <a:lnTo>
                      <a:pt x="42" y="3"/>
                    </a:lnTo>
                    <a:lnTo>
                      <a:pt x="42" y="3"/>
                    </a:lnTo>
                    <a:lnTo>
                      <a:pt x="35" y="4"/>
                    </a:lnTo>
                    <a:lnTo>
                      <a:pt x="32" y="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3" y="14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7" y="17"/>
                    </a:lnTo>
                    <a:lnTo>
                      <a:pt x="16" y="19"/>
                    </a:lnTo>
                    <a:lnTo>
                      <a:pt x="12" y="27"/>
                    </a:lnTo>
                    <a:lnTo>
                      <a:pt x="7" y="38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3" y="51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6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22" y="56"/>
                    </a:lnTo>
                    <a:lnTo>
                      <a:pt x="28" y="56"/>
                    </a:lnTo>
                    <a:lnTo>
                      <a:pt x="32" y="59"/>
                    </a:lnTo>
                    <a:lnTo>
                      <a:pt x="32" y="59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9" y="59"/>
                    </a:lnTo>
                    <a:lnTo>
                      <a:pt x="41" y="5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88" name="Freeform 239"/>
              <p:cNvSpPr>
                <a:spLocks/>
              </p:cNvSpPr>
              <p:nvPr/>
            </p:nvSpPr>
            <p:spPr bwMode="auto">
              <a:xfrm>
                <a:off x="4468128" y="2321943"/>
                <a:ext cx="54409" cy="63313"/>
              </a:xfrm>
              <a:custGeom>
                <a:avLst/>
                <a:gdLst>
                  <a:gd name="T0" fmla="*/ 41 w 55"/>
                  <a:gd name="T1" fmla="*/ 54 h 64"/>
                  <a:gd name="T2" fmla="*/ 41 w 55"/>
                  <a:gd name="T3" fmla="*/ 54 h 64"/>
                  <a:gd name="T4" fmla="*/ 41 w 55"/>
                  <a:gd name="T5" fmla="*/ 51 h 64"/>
                  <a:gd name="T6" fmla="*/ 41 w 55"/>
                  <a:gd name="T7" fmla="*/ 46 h 64"/>
                  <a:gd name="T8" fmla="*/ 42 w 55"/>
                  <a:gd name="T9" fmla="*/ 43 h 64"/>
                  <a:gd name="T10" fmla="*/ 45 w 55"/>
                  <a:gd name="T11" fmla="*/ 40 h 64"/>
                  <a:gd name="T12" fmla="*/ 45 w 55"/>
                  <a:gd name="T13" fmla="*/ 40 h 64"/>
                  <a:gd name="T14" fmla="*/ 48 w 55"/>
                  <a:gd name="T15" fmla="*/ 39 h 64"/>
                  <a:gd name="T16" fmla="*/ 49 w 55"/>
                  <a:gd name="T17" fmla="*/ 36 h 64"/>
                  <a:gd name="T18" fmla="*/ 51 w 55"/>
                  <a:gd name="T19" fmla="*/ 32 h 64"/>
                  <a:gd name="T20" fmla="*/ 52 w 55"/>
                  <a:gd name="T21" fmla="*/ 29 h 64"/>
                  <a:gd name="T22" fmla="*/ 52 w 55"/>
                  <a:gd name="T23" fmla="*/ 29 h 64"/>
                  <a:gd name="T24" fmla="*/ 54 w 55"/>
                  <a:gd name="T25" fmla="*/ 25 h 64"/>
                  <a:gd name="T26" fmla="*/ 55 w 55"/>
                  <a:gd name="T27" fmla="*/ 19 h 64"/>
                  <a:gd name="T28" fmla="*/ 54 w 55"/>
                  <a:gd name="T29" fmla="*/ 10 h 64"/>
                  <a:gd name="T30" fmla="*/ 52 w 55"/>
                  <a:gd name="T31" fmla="*/ 0 h 64"/>
                  <a:gd name="T32" fmla="*/ 52 w 55"/>
                  <a:gd name="T33" fmla="*/ 0 h 64"/>
                  <a:gd name="T34" fmla="*/ 46 w 55"/>
                  <a:gd name="T35" fmla="*/ 3 h 64"/>
                  <a:gd name="T36" fmla="*/ 42 w 55"/>
                  <a:gd name="T37" fmla="*/ 3 h 64"/>
                  <a:gd name="T38" fmla="*/ 42 w 55"/>
                  <a:gd name="T39" fmla="*/ 3 h 64"/>
                  <a:gd name="T40" fmla="*/ 35 w 55"/>
                  <a:gd name="T41" fmla="*/ 4 h 64"/>
                  <a:gd name="T42" fmla="*/ 32 w 55"/>
                  <a:gd name="T43" fmla="*/ 6 h 64"/>
                  <a:gd name="T44" fmla="*/ 28 w 55"/>
                  <a:gd name="T45" fmla="*/ 10 h 64"/>
                  <a:gd name="T46" fmla="*/ 28 w 55"/>
                  <a:gd name="T47" fmla="*/ 10 h 64"/>
                  <a:gd name="T48" fmla="*/ 23 w 55"/>
                  <a:gd name="T49" fmla="*/ 14 h 64"/>
                  <a:gd name="T50" fmla="*/ 19 w 55"/>
                  <a:gd name="T51" fmla="*/ 16 h 64"/>
                  <a:gd name="T52" fmla="*/ 19 w 55"/>
                  <a:gd name="T53" fmla="*/ 16 h 64"/>
                  <a:gd name="T54" fmla="*/ 17 w 55"/>
                  <a:gd name="T55" fmla="*/ 17 h 64"/>
                  <a:gd name="T56" fmla="*/ 16 w 55"/>
                  <a:gd name="T57" fmla="*/ 19 h 64"/>
                  <a:gd name="T58" fmla="*/ 12 w 55"/>
                  <a:gd name="T59" fmla="*/ 27 h 64"/>
                  <a:gd name="T60" fmla="*/ 7 w 55"/>
                  <a:gd name="T61" fmla="*/ 38 h 64"/>
                  <a:gd name="T62" fmla="*/ 4 w 55"/>
                  <a:gd name="T63" fmla="*/ 46 h 64"/>
                  <a:gd name="T64" fmla="*/ 4 w 55"/>
                  <a:gd name="T65" fmla="*/ 46 h 64"/>
                  <a:gd name="T66" fmla="*/ 3 w 55"/>
                  <a:gd name="T67" fmla="*/ 51 h 64"/>
                  <a:gd name="T68" fmla="*/ 0 w 55"/>
                  <a:gd name="T69" fmla="*/ 54 h 64"/>
                  <a:gd name="T70" fmla="*/ 0 w 55"/>
                  <a:gd name="T71" fmla="*/ 54 h 64"/>
                  <a:gd name="T72" fmla="*/ 6 w 55"/>
                  <a:gd name="T73" fmla="*/ 58 h 64"/>
                  <a:gd name="T74" fmla="*/ 12 w 55"/>
                  <a:gd name="T75" fmla="*/ 58 h 64"/>
                  <a:gd name="T76" fmla="*/ 12 w 55"/>
                  <a:gd name="T77" fmla="*/ 58 h 64"/>
                  <a:gd name="T78" fmla="*/ 22 w 55"/>
                  <a:gd name="T79" fmla="*/ 56 h 64"/>
                  <a:gd name="T80" fmla="*/ 28 w 55"/>
                  <a:gd name="T81" fmla="*/ 56 h 64"/>
                  <a:gd name="T82" fmla="*/ 32 w 55"/>
                  <a:gd name="T83" fmla="*/ 59 h 64"/>
                  <a:gd name="T84" fmla="*/ 32 w 55"/>
                  <a:gd name="T85" fmla="*/ 59 h 64"/>
                  <a:gd name="T86" fmla="*/ 36 w 55"/>
                  <a:gd name="T87" fmla="*/ 64 h 64"/>
                  <a:gd name="T88" fmla="*/ 36 w 55"/>
                  <a:gd name="T89" fmla="*/ 64 h 64"/>
                  <a:gd name="T90" fmla="*/ 39 w 55"/>
                  <a:gd name="T91" fmla="*/ 59 h 64"/>
                  <a:gd name="T92" fmla="*/ 41 w 55"/>
                  <a:gd name="T93" fmla="*/ 5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5" h="64">
                    <a:moveTo>
                      <a:pt x="41" y="54"/>
                    </a:moveTo>
                    <a:lnTo>
                      <a:pt x="41" y="54"/>
                    </a:lnTo>
                    <a:lnTo>
                      <a:pt x="41" y="51"/>
                    </a:lnTo>
                    <a:lnTo>
                      <a:pt x="41" y="46"/>
                    </a:lnTo>
                    <a:lnTo>
                      <a:pt x="42" y="43"/>
                    </a:lnTo>
                    <a:lnTo>
                      <a:pt x="45" y="40"/>
                    </a:lnTo>
                    <a:lnTo>
                      <a:pt x="45" y="40"/>
                    </a:lnTo>
                    <a:lnTo>
                      <a:pt x="48" y="39"/>
                    </a:lnTo>
                    <a:lnTo>
                      <a:pt x="49" y="36"/>
                    </a:lnTo>
                    <a:lnTo>
                      <a:pt x="51" y="32"/>
                    </a:lnTo>
                    <a:lnTo>
                      <a:pt x="52" y="29"/>
                    </a:lnTo>
                    <a:lnTo>
                      <a:pt x="52" y="29"/>
                    </a:lnTo>
                    <a:lnTo>
                      <a:pt x="54" y="25"/>
                    </a:lnTo>
                    <a:lnTo>
                      <a:pt x="55" y="19"/>
                    </a:lnTo>
                    <a:lnTo>
                      <a:pt x="54" y="1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6" y="3"/>
                    </a:lnTo>
                    <a:lnTo>
                      <a:pt x="42" y="3"/>
                    </a:lnTo>
                    <a:lnTo>
                      <a:pt x="42" y="3"/>
                    </a:lnTo>
                    <a:lnTo>
                      <a:pt x="35" y="4"/>
                    </a:lnTo>
                    <a:lnTo>
                      <a:pt x="32" y="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3" y="14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7" y="17"/>
                    </a:lnTo>
                    <a:lnTo>
                      <a:pt x="16" y="19"/>
                    </a:lnTo>
                    <a:lnTo>
                      <a:pt x="12" y="27"/>
                    </a:lnTo>
                    <a:lnTo>
                      <a:pt x="7" y="38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3" y="51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6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22" y="56"/>
                    </a:lnTo>
                    <a:lnTo>
                      <a:pt x="28" y="56"/>
                    </a:lnTo>
                    <a:lnTo>
                      <a:pt x="32" y="59"/>
                    </a:lnTo>
                    <a:lnTo>
                      <a:pt x="32" y="59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9" y="59"/>
                    </a:lnTo>
                    <a:lnTo>
                      <a:pt x="41" y="5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93" name="Freeform 244"/>
              <p:cNvSpPr>
                <a:spLocks/>
              </p:cNvSpPr>
              <p:nvPr/>
            </p:nvSpPr>
            <p:spPr bwMode="auto">
              <a:xfrm>
                <a:off x="4764905" y="2346674"/>
                <a:ext cx="285896" cy="192906"/>
              </a:xfrm>
              <a:custGeom>
                <a:avLst/>
                <a:gdLst>
                  <a:gd name="T0" fmla="*/ 281 w 289"/>
                  <a:gd name="T1" fmla="*/ 120 h 195"/>
                  <a:gd name="T2" fmla="*/ 288 w 289"/>
                  <a:gd name="T3" fmla="*/ 95 h 195"/>
                  <a:gd name="T4" fmla="*/ 285 w 289"/>
                  <a:gd name="T5" fmla="*/ 78 h 195"/>
                  <a:gd name="T6" fmla="*/ 272 w 289"/>
                  <a:gd name="T7" fmla="*/ 68 h 195"/>
                  <a:gd name="T8" fmla="*/ 252 w 289"/>
                  <a:gd name="T9" fmla="*/ 63 h 195"/>
                  <a:gd name="T10" fmla="*/ 221 w 289"/>
                  <a:gd name="T11" fmla="*/ 55 h 195"/>
                  <a:gd name="T12" fmla="*/ 198 w 289"/>
                  <a:gd name="T13" fmla="*/ 31 h 195"/>
                  <a:gd name="T14" fmla="*/ 187 w 289"/>
                  <a:gd name="T15" fmla="*/ 7 h 195"/>
                  <a:gd name="T16" fmla="*/ 181 w 289"/>
                  <a:gd name="T17" fmla="*/ 0 h 195"/>
                  <a:gd name="T18" fmla="*/ 171 w 289"/>
                  <a:gd name="T19" fmla="*/ 5 h 195"/>
                  <a:gd name="T20" fmla="*/ 146 w 289"/>
                  <a:gd name="T21" fmla="*/ 8 h 195"/>
                  <a:gd name="T22" fmla="*/ 130 w 289"/>
                  <a:gd name="T23" fmla="*/ 20 h 195"/>
                  <a:gd name="T24" fmla="*/ 75 w 289"/>
                  <a:gd name="T25" fmla="*/ 27 h 195"/>
                  <a:gd name="T26" fmla="*/ 24 w 289"/>
                  <a:gd name="T27" fmla="*/ 31 h 195"/>
                  <a:gd name="T28" fmla="*/ 26 w 289"/>
                  <a:gd name="T29" fmla="*/ 47 h 195"/>
                  <a:gd name="T30" fmla="*/ 11 w 289"/>
                  <a:gd name="T31" fmla="*/ 69 h 195"/>
                  <a:gd name="T32" fmla="*/ 6 w 289"/>
                  <a:gd name="T33" fmla="*/ 88 h 195"/>
                  <a:gd name="T34" fmla="*/ 1 w 289"/>
                  <a:gd name="T35" fmla="*/ 102 h 195"/>
                  <a:gd name="T36" fmla="*/ 13 w 289"/>
                  <a:gd name="T37" fmla="*/ 113 h 195"/>
                  <a:gd name="T38" fmla="*/ 32 w 289"/>
                  <a:gd name="T39" fmla="*/ 118 h 195"/>
                  <a:gd name="T40" fmla="*/ 52 w 289"/>
                  <a:gd name="T41" fmla="*/ 111 h 195"/>
                  <a:gd name="T42" fmla="*/ 68 w 289"/>
                  <a:gd name="T43" fmla="*/ 102 h 195"/>
                  <a:gd name="T44" fmla="*/ 90 w 289"/>
                  <a:gd name="T45" fmla="*/ 102 h 195"/>
                  <a:gd name="T46" fmla="*/ 111 w 289"/>
                  <a:gd name="T47" fmla="*/ 120 h 195"/>
                  <a:gd name="T48" fmla="*/ 113 w 289"/>
                  <a:gd name="T49" fmla="*/ 150 h 195"/>
                  <a:gd name="T50" fmla="*/ 104 w 289"/>
                  <a:gd name="T51" fmla="*/ 176 h 195"/>
                  <a:gd name="T52" fmla="*/ 110 w 289"/>
                  <a:gd name="T53" fmla="*/ 175 h 195"/>
                  <a:gd name="T54" fmla="*/ 123 w 289"/>
                  <a:gd name="T55" fmla="*/ 169 h 195"/>
                  <a:gd name="T56" fmla="*/ 134 w 289"/>
                  <a:gd name="T57" fmla="*/ 153 h 195"/>
                  <a:gd name="T58" fmla="*/ 142 w 289"/>
                  <a:gd name="T59" fmla="*/ 143 h 195"/>
                  <a:gd name="T60" fmla="*/ 159 w 289"/>
                  <a:gd name="T61" fmla="*/ 144 h 195"/>
                  <a:gd name="T62" fmla="*/ 163 w 289"/>
                  <a:gd name="T63" fmla="*/ 155 h 195"/>
                  <a:gd name="T64" fmla="*/ 185 w 289"/>
                  <a:gd name="T65" fmla="*/ 153 h 195"/>
                  <a:gd name="T66" fmla="*/ 178 w 289"/>
                  <a:gd name="T67" fmla="*/ 160 h 195"/>
                  <a:gd name="T68" fmla="*/ 165 w 289"/>
                  <a:gd name="T69" fmla="*/ 168 h 195"/>
                  <a:gd name="T70" fmla="*/ 169 w 289"/>
                  <a:gd name="T71" fmla="*/ 175 h 195"/>
                  <a:gd name="T72" fmla="*/ 185 w 289"/>
                  <a:gd name="T73" fmla="*/ 194 h 195"/>
                  <a:gd name="T74" fmla="*/ 194 w 289"/>
                  <a:gd name="T75" fmla="*/ 194 h 195"/>
                  <a:gd name="T76" fmla="*/ 211 w 289"/>
                  <a:gd name="T77" fmla="*/ 182 h 195"/>
                  <a:gd name="T78" fmla="*/ 217 w 289"/>
                  <a:gd name="T79" fmla="*/ 185 h 195"/>
                  <a:gd name="T80" fmla="*/ 226 w 289"/>
                  <a:gd name="T81" fmla="*/ 186 h 195"/>
                  <a:gd name="T82" fmla="*/ 230 w 289"/>
                  <a:gd name="T83" fmla="*/ 185 h 195"/>
                  <a:gd name="T84" fmla="*/ 227 w 289"/>
                  <a:gd name="T85" fmla="*/ 175 h 195"/>
                  <a:gd name="T86" fmla="*/ 221 w 289"/>
                  <a:gd name="T87" fmla="*/ 169 h 195"/>
                  <a:gd name="T88" fmla="*/ 208 w 289"/>
                  <a:gd name="T89" fmla="*/ 168 h 195"/>
                  <a:gd name="T90" fmla="*/ 203 w 289"/>
                  <a:gd name="T91" fmla="*/ 159 h 195"/>
                  <a:gd name="T92" fmla="*/ 208 w 289"/>
                  <a:gd name="T93" fmla="*/ 152 h 195"/>
                  <a:gd name="T94" fmla="*/ 227 w 289"/>
                  <a:gd name="T95" fmla="*/ 141 h 195"/>
                  <a:gd name="T96" fmla="*/ 242 w 289"/>
                  <a:gd name="T97" fmla="*/ 139 h 195"/>
                  <a:gd name="T98" fmla="*/ 256 w 289"/>
                  <a:gd name="T99" fmla="*/ 134 h 195"/>
                  <a:gd name="T100" fmla="*/ 266 w 289"/>
                  <a:gd name="T101" fmla="*/ 127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89" h="195">
                    <a:moveTo>
                      <a:pt x="268" y="126"/>
                    </a:moveTo>
                    <a:lnTo>
                      <a:pt x="268" y="126"/>
                    </a:lnTo>
                    <a:lnTo>
                      <a:pt x="275" y="124"/>
                    </a:lnTo>
                    <a:lnTo>
                      <a:pt x="281" y="120"/>
                    </a:lnTo>
                    <a:lnTo>
                      <a:pt x="285" y="115"/>
                    </a:lnTo>
                    <a:lnTo>
                      <a:pt x="287" y="110"/>
                    </a:lnTo>
                    <a:lnTo>
                      <a:pt x="287" y="110"/>
                    </a:lnTo>
                    <a:lnTo>
                      <a:pt x="288" y="95"/>
                    </a:lnTo>
                    <a:lnTo>
                      <a:pt x="289" y="88"/>
                    </a:lnTo>
                    <a:lnTo>
                      <a:pt x="288" y="84"/>
                    </a:lnTo>
                    <a:lnTo>
                      <a:pt x="288" y="84"/>
                    </a:lnTo>
                    <a:lnTo>
                      <a:pt x="285" y="78"/>
                    </a:lnTo>
                    <a:lnTo>
                      <a:pt x="282" y="73"/>
                    </a:lnTo>
                    <a:lnTo>
                      <a:pt x="278" y="69"/>
                    </a:lnTo>
                    <a:lnTo>
                      <a:pt x="275" y="68"/>
                    </a:lnTo>
                    <a:lnTo>
                      <a:pt x="272" y="68"/>
                    </a:lnTo>
                    <a:lnTo>
                      <a:pt x="272" y="68"/>
                    </a:lnTo>
                    <a:lnTo>
                      <a:pt x="262" y="66"/>
                    </a:lnTo>
                    <a:lnTo>
                      <a:pt x="252" y="63"/>
                    </a:lnTo>
                    <a:lnTo>
                      <a:pt x="252" y="63"/>
                    </a:lnTo>
                    <a:lnTo>
                      <a:pt x="245" y="60"/>
                    </a:lnTo>
                    <a:lnTo>
                      <a:pt x="234" y="59"/>
                    </a:lnTo>
                    <a:lnTo>
                      <a:pt x="226" y="56"/>
                    </a:lnTo>
                    <a:lnTo>
                      <a:pt x="221" y="55"/>
                    </a:lnTo>
                    <a:lnTo>
                      <a:pt x="220" y="53"/>
                    </a:lnTo>
                    <a:lnTo>
                      <a:pt x="220" y="53"/>
                    </a:lnTo>
                    <a:lnTo>
                      <a:pt x="210" y="42"/>
                    </a:lnTo>
                    <a:lnTo>
                      <a:pt x="198" y="31"/>
                    </a:lnTo>
                    <a:lnTo>
                      <a:pt x="198" y="31"/>
                    </a:lnTo>
                    <a:lnTo>
                      <a:pt x="195" y="27"/>
                    </a:lnTo>
                    <a:lnTo>
                      <a:pt x="192" y="20"/>
                    </a:lnTo>
                    <a:lnTo>
                      <a:pt x="187" y="7"/>
                    </a:lnTo>
                    <a:lnTo>
                      <a:pt x="187" y="7"/>
                    </a:lnTo>
                    <a:lnTo>
                      <a:pt x="185" y="2"/>
                    </a:lnTo>
                    <a:lnTo>
                      <a:pt x="184" y="0"/>
                    </a:lnTo>
                    <a:lnTo>
                      <a:pt x="181" y="0"/>
                    </a:lnTo>
                    <a:lnTo>
                      <a:pt x="178" y="1"/>
                    </a:lnTo>
                    <a:lnTo>
                      <a:pt x="178" y="1"/>
                    </a:lnTo>
                    <a:lnTo>
                      <a:pt x="175" y="4"/>
                    </a:lnTo>
                    <a:lnTo>
                      <a:pt x="171" y="5"/>
                    </a:lnTo>
                    <a:lnTo>
                      <a:pt x="162" y="7"/>
                    </a:lnTo>
                    <a:lnTo>
                      <a:pt x="162" y="7"/>
                    </a:lnTo>
                    <a:lnTo>
                      <a:pt x="152" y="7"/>
                    </a:lnTo>
                    <a:lnTo>
                      <a:pt x="146" y="8"/>
                    </a:lnTo>
                    <a:lnTo>
                      <a:pt x="142" y="11"/>
                    </a:lnTo>
                    <a:lnTo>
                      <a:pt x="142" y="11"/>
                    </a:lnTo>
                    <a:lnTo>
                      <a:pt x="137" y="15"/>
                    </a:lnTo>
                    <a:lnTo>
                      <a:pt x="130" y="20"/>
                    </a:lnTo>
                    <a:lnTo>
                      <a:pt x="123" y="24"/>
                    </a:lnTo>
                    <a:lnTo>
                      <a:pt x="114" y="27"/>
                    </a:lnTo>
                    <a:lnTo>
                      <a:pt x="114" y="27"/>
                    </a:lnTo>
                    <a:lnTo>
                      <a:pt x="75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4" y="31"/>
                    </a:lnTo>
                    <a:lnTo>
                      <a:pt x="24" y="31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7"/>
                    </a:lnTo>
                    <a:lnTo>
                      <a:pt x="26" y="47"/>
                    </a:lnTo>
                    <a:lnTo>
                      <a:pt x="26" y="49"/>
                    </a:lnTo>
                    <a:lnTo>
                      <a:pt x="24" y="52"/>
                    </a:lnTo>
                    <a:lnTo>
                      <a:pt x="19" y="60"/>
                    </a:lnTo>
                    <a:lnTo>
                      <a:pt x="11" y="69"/>
                    </a:lnTo>
                    <a:lnTo>
                      <a:pt x="10" y="73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6" y="88"/>
                    </a:lnTo>
                    <a:lnTo>
                      <a:pt x="1" y="95"/>
                    </a:lnTo>
                    <a:lnTo>
                      <a:pt x="1" y="95"/>
                    </a:lnTo>
                    <a:lnTo>
                      <a:pt x="0" y="98"/>
                    </a:lnTo>
                    <a:lnTo>
                      <a:pt x="1" y="102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11" y="113"/>
                    </a:lnTo>
                    <a:lnTo>
                      <a:pt x="13" y="113"/>
                    </a:lnTo>
                    <a:lnTo>
                      <a:pt x="13" y="113"/>
                    </a:lnTo>
                    <a:lnTo>
                      <a:pt x="23" y="117"/>
                    </a:lnTo>
                    <a:lnTo>
                      <a:pt x="32" y="118"/>
                    </a:lnTo>
                    <a:lnTo>
                      <a:pt x="32" y="118"/>
                    </a:lnTo>
                    <a:lnTo>
                      <a:pt x="36" y="117"/>
                    </a:lnTo>
                    <a:lnTo>
                      <a:pt x="43" y="115"/>
                    </a:lnTo>
                    <a:lnTo>
                      <a:pt x="52" y="111"/>
                    </a:lnTo>
                    <a:lnTo>
                      <a:pt x="52" y="111"/>
                    </a:lnTo>
                    <a:lnTo>
                      <a:pt x="53" y="111"/>
                    </a:lnTo>
                    <a:lnTo>
                      <a:pt x="53" y="111"/>
                    </a:lnTo>
                    <a:lnTo>
                      <a:pt x="61" y="105"/>
                    </a:lnTo>
                    <a:lnTo>
                      <a:pt x="68" y="102"/>
                    </a:lnTo>
                    <a:lnTo>
                      <a:pt x="77" y="101"/>
                    </a:lnTo>
                    <a:lnTo>
                      <a:pt x="82" y="99"/>
                    </a:lnTo>
                    <a:lnTo>
                      <a:pt x="82" y="99"/>
                    </a:lnTo>
                    <a:lnTo>
                      <a:pt x="90" y="102"/>
                    </a:lnTo>
                    <a:lnTo>
                      <a:pt x="98" y="107"/>
                    </a:lnTo>
                    <a:lnTo>
                      <a:pt x="107" y="114"/>
                    </a:lnTo>
                    <a:lnTo>
                      <a:pt x="111" y="120"/>
                    </a:lnTo>
                    <a:lnTo>
                      <a:pt x="111" y="120"/>
                    </a:lnTo>
                    <a:lnTo>
                      <a:pt x="114" y="127"/>
                    </a:lnTo>
                    <a:lnTo>
                      <a:pt x="116" y="136"/>
                    </a:lnTo>
                    <a:lnTo>
                      <a:pt x="116" y="144"/>
                    </a:lnTo>
                    <a:lnTo>
                      <a:pt x="113" y="150"/>
                    </a:lnTo>
                    <a:lnTo>
                      <a:pt x="113" y="150"/>
                    </a:lnTo>
                    <a:lnTo>
                      <a:pt x="110" y="155"/>
                    </a:lnTo>
                    <a:lnTo>
                      <a:pt x="107" y="162"/>
                    </a:lnTo>
                    <a:lnTo>
                      <a:pt x="104" y="176"/>
                    </a:lnTo>
                    <a:lnTo>
                      <a:pt x="104" y="176"/>
                    </a:lnTo>
                    <a:lnTo>
                      <a:pt x="107" y="176"/>
                    </a:lnTo>
                    <a:lnTo>
                      <a:pt x="110" y="175"/>
                    </a:lnTo>
                    <a:lnTo>
                      <a:pt x="110" y="175"/>
                    </a:lnTo>
                    <a:lnTo>
                      <a:pt x="116" y="173"/>
                    </a:lnTo>
                    <a:lnTo>
                      <a:pt x="121" y="172"/>
                    </a:lnTo>
                    <a:lnTo>
                      <a:pt x="121" y="172"/>
                    </a:lnTo>
                    <a:lnTo>
                      <a:pt x="123" y="169"/>
                    </a:lnTo>
                    <a:lnTo>
                      <a:pt x="124" y="166"/>
                    </a:lnTo>
                    <a:lnTo>
                      <a:pt x="129" y="160"/>
                    </a:lnTo>
                    <a:lnTo>
                      <a:pt x="129" y="160"/>
                    </a:lnTo>
                    <a:lnTo>
                      <a:pt x="134" y="153"/>
                    </a:lnTo>
                    <a:lnTo>
                      <a:pt x="137" y="146"/>
                    </a:lnTo>
                    <a:lnTo>
                      <a:pt x="137" y="146"/>
                    </a:lnTo>
                    <a:lnTo>
                      <a:pt x="139" y="144"/>
                    </a:lnTo>
                    <a:lnTo>
                      <a:pt x="142" y="143"/>
                    </a:lnTo>
                    <a:lnTo>
                      <a:pt x="148" y="143"/>
                    </a:lnTo>
                    <a:lnTo>
                      <a:pt x="158" y="143"/>
                    </a:lnTo>
                    <a:lnTo>
                      <a:pt x="158" y="143"/>
                    </a:lnTo>
                    <a:lnTo>
                      <a:pt x="159" y="144"/>
                    </a:lnTo>
                    <a:lnTo>
                      <a:pt x="159" y="147"/>
                    </a:lnTo>
                    <a:lnTo>
                      <a:pt x="162" y="153"/>
                    </a:lnTo>
                    <a:lnTo>
                      <a:pt x="162" y="153"/>
                    </a:lnTo>
                    <a:lnTo>
                      <a:pt x="163" y="155"/>
                    </a:lnTo>
                    <a:lnTo>
                      <a:pt x="165" y="155"/>
                    </a:lnTo>
                    <a:lnTo>
                      <a:pt x="172" y="155"/>
                    </a:lnTo>
                    <a:lnTo>
                      <a:pt x="185" y="153"/>
                    </a:lnTo>
                    <a:lnTo>
                      <a:pt x="185" y="153"/>
                    </a:lnTo>
                    <a:lnTo>
                      <a:pt x="187" y="155"/>
                    </a:lnTo>
                    <a:lnTo>
                      <a:pt x="187" y="155"/>
                    </a:lnTo>
                    <a:lnTo>
                      <a:pt x="184" y="157"/>
                    </a:lnTo>
                    <a:lnTo>
                      <a:pt x="178" y="160"/>
                    </a:lnTo>
                    <a:lnTo>
                      <a:pt x="172" y="163"/>
                    </a:lnTo>
                    <a:lnTo>
                      <a:pt x="172" y="163"/>
                    </a:lnTo>
                    <a:lnTo>
                      <a:pt x="168" y="166"/>
                    </a:lnTo>
                    <a:lnTo>
                      <a:pt x="165" y="168"/>
                    </a:lnTo>
                    <a:lnTo>
                      <a:pt x="165" y="170"/>
                    </a:lnTo>
                    <a:lnTo>
                      <a:pt x="166" y="172"/>
                    </a:lnTo>
                    <a:lnTo>
                      <a:pt x="166" y="172"/>
                    </a:lnTo>
                    <a:lnTo>
                      <a:pt x="169" y="175"/>
                    </a:lnTo>
                    <a:lnTo>
                      <a:pt x="174" y="179"/>
                    </a:lnTo>
                    <a:lnTo>
                      <a:pt x="179" y="188"/>
                    </a:lnTo>
                    <a:lnTo>
                      <a:pt x="179" y="188"/>
                    </a:lnTo>
                    <a:lnTo>
                      <a:pt x="185" y="194"/>
                    </a:lnTo>
                    <a:lnTo>
                      <a:pt x="188" y="195"/>
                    </a:lnTo>
                    <a:lnTo>
                      <a:pt x="191" y="195"/>
                    </a:lnTo>
                    <a:lnTo>
                      <a:pt x="191" y="195"/>
                    </a:lnTo>
                    <a:lnTo>
                      <a:pt x="194" y="194"/>
                    </a:lnTo>
                    <a:lnTo>
                      <a:pt x="197" y="192"/>
                    </a:lnTo>
                    <a:lnTo>
                      <a:pt x="201" y="188"/>
                    </a:lnTo>
                    <a:lnTo>
                      <a:pt x="201" y="188"/>
                    </a:lnTo>
                    <a:lnTo>
                      <a:pt x="211" y="182"/>
                    </a:lnTo>
                    <a:lnTo>
                      <a:pt x="211" y="182"/>
                    </a:lnTo>
                    <a:lnTo>
                      <a:pt x="213" y="182"/>
                    </a:lnTo>
                    <a:lnTo>
                      <a:pt x="214" y="183"/>
                    </a:lnTo>
                    <a:lnTo>
                      <a:pt x="217" y="185"/>
                    </a:lnTo>
                    <a:lnTo>
                      <a:pt x="218" y="186"/>
                    </a:lnTo>
                    <a:lnTo>
                      <a:pt x="218" y="186"/>
                    </a:lnTo>
                    <a:lnTo>
                      <a:pt x="223" y="186"/>
                    </a:lnTo>
                    <a:lnTo>
                      <a:pt x="226" y="186"/>
                    </a:lnTo>
                    <a:lnTo>
                      <a:pt x="229" y="188"/>
                    </a:lnTo>
                    <a:lnTo>
                      <a:pt x="229" y="188"/>
                    </a:lnTo>
                    <a:lnTo>
                      <a:pt x="230" y="188"/>
                    </a:lnTo>
                    <a:lnTo>
                      <a:pt x="230" y="185"/>
                    </a:lnTo>
                    <a:lnTo>
                      <a:pt x="227" y="178"/>
                    </a:lnTo>
                    <a:lnTo>
                      <a:pt x="227" y="178"/>
                    </a:lnTo>
                    <a:lnTo>
                      <a:pt x="227" y="176"/>
                    </a:lnTo>
                    <a:lnTo>
                      <a:pt x="227" y="175"/>
                    </a:lnTo>
                    <a:lnTo>
                      <a:pt x="226" y="173"/>
                    </a:lnTo>
                    <a:lnTo>
                      <a:pt x="224" y="172"/>
                    </a:lnTo>
                    <a:lnTo>
                      <a:pt x="224" y="172"/>
                    </a:lnTo>
                    <a:lnTo>
                      <a:pt x="221" y="169"/>
                    </a:lnTo>
                    <a:lnTo>
                      <a:pt x="218" y="169"/>
                    </a:lnTo>
                    <a:lnTo>
                      <a:pt x="211" y="170"/>
                    </a:lnTo>
                    <a:lnTo>
                      <a:pt x="211" y="170"/>
                    </a:lnTo>
                    <a:lnTo>
                      <a:pt x="208" y="168"/>
                    </a:lnTo>
                    <a:lnTo>
                      <a:pt x="207" y="165"/>
                    </a:lnTo>
                    <a:lnTo>
                      <a:pt x="205" y="162"/>
                    </a:lnTo>
                    <a:lnTo>
                      <a:pt x="203" y="159"/>
                    </a:lnTo>
                    <a:lnTo>
                      <a:pt x="203" y="159"/>
                    </a:lnTo>
                    <a:lnTo>
                      <a:pt x="203" y="157"/>
                    </a:lnTo>
                    <a:lnTo>
                      <a:pt x="204" y="156"/>
                    </a:lnTo>
                    <a:lnTo>
                      <a:pt x="208" y="152"/>
                    </a:lnTo>
                    <a:lnTo>
                      <a:pt x="208" y="152"/>
                    </a:lnTo>
                    <a:lnTo>
                      <a:pt x="221" y="143"/>
                    </a:lnTo>
                    <a:lnTo>
                      <a:pt x="221" y="143"/>
                    </a:lnTo>
                    <a:lnTo>
                      <a:pt x="224" y="141"/>
                    </a:lnTo>
                    <a:lnTo>
                      <a:pt x="227" y="141"/>
                    </a:lnTo>
                    <a:lnTo>
                      <a:pt x="234" y="141"/>
                    </a:lnTo>
                    <a:lnTo>
                      <a:pt x="234" y="141"/>
                    </a:lnTo>
                    <a:lnTo>
                      <a:pt x="237" y="140"/>
                    </a:lnTo>
                    <a:lnTo>
                      <a:pt x="242" y="139"/>
                    </a:lnTo>
                    <a:lnTo>
                      <a:pt x="245" y="136"/>
                    </a:lnTo>
                    <a:lnTo>
                      <a:pt x="249" y="134"/>
                    </a:lnTo>
                    <a:lnTo>
                      <a:pt x="249" y="134"/>
                    </a:lnTo>
                    <a:lnTo>
                      <a:pt x="256" y="134"/>
                    </a:lnTo>
                    <a:lnTo>
                      <a:pt x="263" y="131"/>
                    </a:lnTo>
                    <a:lnTo>
                      <a:pt x="263" y="131"/>
                    </a:lnTo>
                    <a:lnTo>
                      <a:pt x="265" y="128"/>
                    </a:lnTo>
                    <a:lnTo>
                      <a:pt x="266" y="127"/>
                    </a:lnTo>
                    <a:lnTo>
                      <a:pt x="268" y="12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94" name="Freeform 245"/>
              <p:cNvSpPr>
                <a:spLocks/>
              </p:cNvSpPr>
              <p:nvPr/>
            </p:nvSpPr>
            <p:spPr bwMode="auto">
              <a:xfrm>
                <a:off x="4764905" y="2346674"/>
                <a:ext cx="285896" cy="192906"/>
              </a:xfrm>
              <a:custGeom>
                <a:avLst/>
                <a:gdLst>
                  <a:gd name="T0" fmla="*/ 281 w 289"/>
                  <a:gd name="T1" fmla="*/ 120 h 195"/>
                  <a:gd name="T2" fmla="*/ 288 w 289"/>
                  <a:gd name="T3" fmla="*/ 95 h 195"/>
                  <a:gd name="T4" fmla="*/ 285 w 289"/>
                  <a:gd name="T5" fmla="*/ 78 h 195"/>
                  <a:gd name="T6" fmla="*/ 272 w 289"/>
                  <a:gd name="T7" fmla="*/ 68 h 195"/>
                  <a:gd name="T8" fmla="*/ 252 w 289"/>
                  <a:gd name="T9" fmla="*/ 63 h 195"/>
                  <a:gd name="T10" fmla="*/ 221 w 289"/>
                  <a:gd name="T11" fmla="*/ 55 h 195"/>
                  <a:gd name="T12" fmla="*/ 198 w 289"/>
                  <a:gd name="T13" fmla="*/ 31 h 195"/>
                  <a:gd name="T14" fmla="*/ 187 w 289"/>
                  <a:gd name="T15" fmla="*/ 7 h 195"/>
                  <a:gd name="T16" fmla="*/ 181 w 289"/>
                  <a:gd name="T17" fmla="*/ 0 h 195"/>
                  <a:gd name="T18" fmla="*/ 171 w 289"/>
                  <a:gd name="T19" fmla="*/ 5 h 195"/>
                  <a:gd name="T20" fmla="*/ 146 w 289"/>
                  <a:gd name="T21" fmla="*/ 8 h 195"/>
                  <a:gd name="T22" fmla="*/ 130 w 289"/>
                  <a:gd name="T23" fmla="*/ 20 h 195"/>
                  <a:gd name="T24" fmla="*/ 75 w 289"/>
                  <a:gd name="T25" fmla="*/ 27 h 195"/>
                  <a:gd name="T26" fmla="*/ 24 w 289"/>
                  <a:gd name="T27" fmla="*/ 31 h 195"/>
                  <a:gd name="T28" fmla="*/ 26 w 289"/>
                  <a:gd name="T29" fmla="*/ 47 h 195"/>
                  <a:gd name="T30" fmla="*/ 11 w 289"/>
                  <a:gd name="T31" fmla="*/ 69 h 195"/>
                  <a:gd name="T32" fmla="*/ 6 w 289"/>
                  <a:gd name="T33" fmla="*/ 88 h 195"/>
                  <a:gd name="T34" fmla="*/ 1 w 289"/>
                  <a:gd name="T35" fmla="*/ 102 h 195"/>
                  <a:gd name="T36" fmla="*/ 13 w 289"/>
                  <a:gd name="T37" fmla="*/ 113 h 195"/>
                  <a:gd name="T38" fmla="*/ 32 w 289"/>
                  <a:gd name="T39" fmla="*/ 118 h 195"/>
                  <a:gd name="T40" fmla="*/ 52 w 289"/>
                  <a:gd name="T41" fmla="*/ 111 h 195"/>
                  <a:gd name="T42" fmla="*/ 68 w 289"/>
                  <a:gd name="T43" fmla="*/ 102 h 195"/>
                  <a:gd name="T44" fmla="*/ 90 w 289"/>
                  <a:gd name="T45" fmla="*/ 102 h 195"/>
                  <a:gd name="T46" fmla="*/ 111 w 289"/>
                  <a:gd name="T47" fmla="*/ 120 h 195"/>
                  <a:gd name="T48" fmla="*/ 113 w 289"/>
                  <a:gd name="T49" fmla="*/ 150 h 195"/>
                  <a:gd name="T50" fmla="*/ 104 w 289"/>
                  <a:gd name="T51" fmla="*/ 176 h 195"/>
                  <a:gd name="T52" fmla="*/ 110 w 289"/>
                  <a:gd name="T53" fmla="*/ 175 h 195"/>
                  <a:gd name="T54" fmla="*/ 123 w 289"/>
                  <a:gd name="T55" fmla="*/ 169 h 195"/>
                  <a:gd name="T56" fmla="*/ 134 w 289"/>
                  <a:gd name="T57" fmla="*/ 153 h 195"/>
                  <a:gd name="T58" fmla="*/ 142 w 289"/>
                  <a:gd name="T59" fmla="*/ 143 h 195"/>
                  <a:gd name="T60" fmla="*/ 159 w 289"/>
                  <a:gd name="T61" fmla="*/ 144 h 195"/>
                  <a:gd name="T62" fmla="*/ 163 w 289"/>
                  <a:gd name="T63" fmla="*/ 155 h 195"/>
                  <a:gd name="T64" fmla="*/ 185 w 289"/>
                  <a:gd name="T65" fmla="*/ 153 h 195"/>
                  <a:gd name="T66" fmla="*/ 178 w 289"/>
                  <a:gd name="T67" fmla="*/ 160 h 195"/>
                  <a:gd name="T68" fmla="*/ 165 w 289"/>
                  <a:gd name="T69" fmla="*/ 168 h 195"/>
                  <a:gd name="T70" fmla="*/ 169 w 289"/>
                  <a:gd name="T71" fmla="*/ 175 h 195"/>
                  <a:gd name="T72" fmla="*/ 185 w 289"/>
                  <a:gd name="T73" fmla="*/ 194 h 195"/>
                  <a:gd name="T74" fmla="*/ 194 w 289"/>
                  <a:gd name="T75" fmla="*/ 194 h 195"/>
                  <a:gd name="T76" fmla="*/ 211 w 289"/>
                  <a:gd name="T77" fmla="*/ 182 h 195"/>
                  <a:gd name="T78" fmla="*/ 217 w 289"/>
                  <a:gd name="T79" fmla="*/ 185 h 195"/>
                  <a:gd name="T80" fmla="*/ 226 w 289"/>
                  <a:gd name="T81" fmla="*/ 186 h 195"/>
                  <a:gd name="T82" fmla="*/ 230 w 289"/>
                  <a:gd name="T83" fmla="*/ 185 h 195"/>
                  <a:gd name="T84" fmla="*/ 227 w 289"/>
                  <a:gd name="T85" fmla="*/ 175 h 195"/>
                  <a:gd name="T86" fmla="*/ 221 w 289"/>
                  <a:gd name="T87" fmla="*/ 169 h 195"/>
                  <a:gd name="T88" fmla="*/ 208 w 289"/>
                  <a:gd name="T89" fmla="*/ 168 h 195"/>
                  <a:gd name="T90" fmla="*/ 203 w 289"/>
                  <a:gd name="T91" fmla="*/ 159 h 195"/>
                  <a:gd name="T92" fmla="*/ 208 w 289"/>
                  <a:gd name="T93" fmla="*/ 152 h 195"/>
                  <a:gd name="T94" fmla="*/ 227 w 289"/>
                  <a:gd name="T95" fmla="*/ 141 h 195"/>
                  <a:gd name="T96" fmla="*/ 242 w 289"/>
                  <a:gd name="T97" fmla="*/ 139 h 195"/>
                  <a:gd name="T98" fmla="*/ 256 w 289"/>
                  <a:gd name="T99" fmla="*/ 134 h 195"/>
                  <a:gd name="T100" fmla="*/ 266 w 289"/>
                  <a:gd name="T101" fmla="*/ 127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89" h="195">
                    <a:moveTo>
                      <a:pt x="268" y="126"/>
                    </a:moveTo>
                    <a:lnTo>
                      <a:pt x="268" y="126"/>
                    </a:lnTo>
                    <a:lnTo>
                      <a:pt x="275" y="124"/>
                    </a:lnTo>
                    <a:lnTo>
                      <a:pt x="281" y="120"/>
                    </a:lnTo>
                    <a:lnTo>
                      <a:pt x="285" y="115"/>
                    </a:lnTo>
                    <a:lnTo>
                      <a:pt x="287" y="110"/>
                    </a:lnTo>
                    <a:lnTo>
                      <a:pt x="287" y="110"/>
                    </a:lnTo>
                    <a:lnTo>
                      <a:pt x="288" y="95"/>
                    </a:lnTo>
                    <a:lnTo>
                      <a:pt x="289" y="88"/>
                    </a:lnTo>
                    <a:lnTo>
                      <a:pt x="288" y="84"/>
                    </a:lnTo>
                    <a:lnTo>
                      <a:pt x="288" y="84"/>
                    </a:lnTo>
                    <a:lnTo>
                      <a:pt x="285" y="78"/>
                    </a:lnTo>
                    <a:lnTo>
                      <a:pt x="282" y="73"/>
                    </a:lnTo>
                    <a:lnTo>
                      <a:pt x="278" y="69"/>
                    </a:lnTo>
                    <a:lnTo>
                      <a:pt x="275" y="68"/>
                    </a:lnTo>
                    <a:lnTo>
                      <a:pt x="272" y="68"/>
                    </a:lnTo>
                    <a:lnTo>
                      <a:pt x="272" y="68"/>
                    </a:lnTo>
                    <a:lnTo>
                      <a:pt x="262" y="66"/>
                    </a:lnTo>
                    <a:lnTo>
                      <a:pt x="252" y="63"/>
                    </a:lnTo>
                    <a:lnTo>
                      <a:pt x="252" y="63"/>
                    </a:lnTo>
                    <a:lnTo>
                      <a:pt x="245" y="60"/>
                    </a:lnTo>
                    <a:lnTo>
                      <a:pt x="234" y="59"/>
                    </a:lnTo>
                    <a:lnTo>
                      <a:pt x="226" y="56"/>
                    </a:lnTo>
                    <a:lnTo>
                      <a:pt x="221" y="55"/>
                    </a:lnTo>
                    <a:lnTo>
                      <a:pt x="220" y="53"/>
                    </a:lnTo>
                    <a:lnTo>
                      <a:pt x="220" y="53"/>
                    </a:lnTo>
                    <a:lnTo>
                      <a:pt x="210" y="42"/>
                    </a:lnTo>
                    <a:lnTo>
                      <a:pt x="198" y="31"/>
                    </a:lnTo>
                    <a:lnTo>
                      <a:pt x="198" y="31"/>
                    </a:lnTo>
                    <a:lnTo>
                      <a:pt x="195" y="27"/>
                    </a:lnTo>
                    <a:lnTo>
                      <a:pt x="192" y="20"/>
                    </a:lnTo>
                    <a:lnTo>
                      <a:pt x="187" y="7"/>
                    </a:lnTo>
                    <a:lnTo>
                      <a:pt x="187" y="7"/>
                    </a:lnTo>
                    <a:lnTo>
                      <a:pt x="185" y="2"/>
                    </a:lnTo>
                    <a:lnTo>
                      <a:pt x="184" y="0"/>
                    </a:lnTo>
                    <a:lnTo>
                      <a:pt x="181" y="0"/>
                    </a:lnTo>
                    <a:lnTo>
                      <a:pt x="178" y="1"/>
                    </a:lnTo>
                    <a:lnTo>
                      <a:pt x="178" y="1"/>
                    </a:lnTo>
                    <a:lnTo>
                      <a:pt x="175" y="4"/>
                    </a:lnTo>
                    <a:lnTo>
                      <a:pt x="171" y="5"/>
                    </a:lnTo>
                    <a:lnTo>
                      <a:pt x="162" y="7"/>
                    </a:lnTo>
                    <a:lnTo>
                      <a:pt x="162" y="7"/>
                    </a:lnTo>
                    <a:lnTo>
                      <a:pt x="152" y="7"/>
                    </a:lnTo>
                    <a:lnTo>
                      <a:pt x="146" y="8"/>
                    </a:lnTo>
                    <a:lnTo>
                      <a:pt x="142" y="11"/>
                    </a:lnTo>
                    <a:lnTo>
                      <a:pt x="142" y="11"/>
                    </a:lnTo>
                    <a:lnTo>
                      <a:pt x="137" y="15"/>
                    </a:lnTo>
                    <a:lnTo>
                      <a:pt x="130" y="20"/>
                    </a:lnTo>
                    <a:lnTo>
                      <a:pt x="123" y="24"/>
                    </a:lnTo>
                    <a:lnTo>
                      <a:pt x="114" y="27"/>
                    </a:lnTo>
                    <a:lnTo>
                      <a:pt x="114" y="27"/>
                    </a:lnTo>
                    <a:lnTo>
                      <a:pt x="75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4" y="31"/>
                    </a:lnTo>
                    <a:lnTo>
                      <a:pt x="24" y="31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7"/>
                    </a:lnTo>
                    <a:lnTo>
                      <a:pt x="26" y="47"/>
                    </a:lnTo>
                    <a:lnTo>
                      <a:pt x="26" y="49"/>
                    </a:lnTo>
                    <a:lnTo>
                      <a:pt x="24" y="52"/>
                    </a:lnTo>
                    <a:lnTo>
                      <a:pt x="19" y="60"/>
                    </a:lnTo>
                    <a:lnTo>
                      <a:pt x="11" y="69"/>
                    </a:lnTo>
                    <a:lnTo>
                      <a:pt x="10" y="73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6" y="88"/>
                    </a:lnTo>
                    <a:lnTo>
                      <a:pt x="1" y="95"/>
                    </a:lnTo>
                    <a:lnTo>
                      <a:pt x="1" y="95"/>
                    </a:lnTo>
                    <a:lnTo>
                      <a:pt x="0" y="98"/>
                    </a:lnTo>
                    <a:lnTo>
                      <a:pt x="1" y="102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11" y="113"/>
                    </a:lnTo>
                    <a:lnTo>
                      <a:pt x="13" y="113"/>
                    </a:lnTo>
                    <a:lnTo>
                      <a:pt x="13" y="113"/>
                    </a:lnTo>
                    <a:lnTo>
                      <a:pt x="23" y="117"/>
                    </a:lnTo>
                    <a:lnTo>
                      <a:pt x="32" y="118"/>
                    </a:lnTo>
                    <a:lnTo>
                      <a:pt x="32" y="118"/>
                    </a:lnTo>
                    <a:lnTo>
                      <a:pt x="36" y="117"/>
                    </a:lnTo>
                    <a:lnTo>
                      <a:pt x="43" y="115"/>
                    </a:lnTo>
                    <a:lnTo>
                      <a:pt x="52" y="111"/>
                    </a:lnTo>
                    <a:lnTo>
                      <a:pt x="52" y="111"/>
                    </a:lnTo>
                    <a:lnTo>
                      <a:pt x="53" y="111"/>
                    </a:lnTo>
                    <a:lnTo>
                      <a:pt x="53" y="111"/>
                    </a:lnTo>
                    <a:lnTo>
                      <a:pt x="61" y="105"/>
                    </a:lnTo>
                    <a:lnTo>
                      <a:pt x="68" y="102"/>
                    </a:lnTo>
                    <a:lnTo>
                      <a:pt x="77" y="101"/>
                    </a:lnTo>
                    <a:lnTo>
                      <a:pt x="82" y="99"/>
                    </a:lnTo>
                    <a:lnTo>
                      <a:pt x="82" y="99"/>
                    </a:lnTo>
                    <a:lnTo>
                      <a:pt x="90" y="102"/>
                    </a:lnTo>
                    <a:lnTo>
                      <a:pt x="98" y="107"/>
                    </a:lnTo>
                    <a:lnTo>
                      <a:pt x="107" y="114"/>
                    </a:lnTo>
                    <a:lnTo>
                      <a:pt x="111" y="120"/>
                    </a:lnTo>
                    <a:lnTo>
                      <a:pt x="111" y="120"/>
                    </a:lnTo>
                    <a:lnTo>
                      <a:pt x="114" y="127"/>
                    </a:lnTo>
                    <a:lnTo>
                      <a:pt x="116" y="136"/>
                    </a:lnTo>
                    <a:lnTo>
                      <a:pt x="116" y="144"/>
                    </a:lnTo>
                    <a:lnTo>
                      <a:pt x="113" y="150"/>
                    </a:lnTo>
                    <a:lnTo>
                      <a:pt x="113" y="150"/>
                    </a:lnTo>
                    <a:lnTo>
                      <a:pt x="110" y="155"/>
                    </a:lnTo>
                    <a:lnTo>
                      <a:pt x="107" y="162"/>
                    </a:lnTo>
                    <a:lnTo>
                      <a:pt x="104" y="176"/>
                    </a:lnTo>
                    <a:lnTo>
                      <a:pt x="104" y="176"/>
                    </a:lnTo>
                    <a:lnTo>
                      <a:pt x="107" y="176"/>
                    </a:lnTo>
                    <a:lnTo>
                      <a:pt x="110" y="175"/>
                    </a:lnTo>
                    <a:lnTo>
                      <a:pt x="110" y="175"/>
                    </a:lnTo>
                    <a:lnTo>
                      <a:pt x="116" y="173"/>
                    </a:lnTo>
                    <a:lnTo>
                      <a:pt x="121" y="172"/>
                    </a:lnTo>
                    <a:lnTo>
                      <a:pt x="121" y="172"/>
                    </a:lnTo>
                    <a:lnTo>
                      <a:pt x="123" y="169"/>
                    </a:lnTo>
                    <a:lnTo>
                      <a:pt x="124" y="166"/>
                    </a:lnTo>
                    <a:lnTo>
                      <a:pt x="129" y="160"/>
                    </a:lnTo>
                    <a:lnTo>
                      <a:pt x="129" y="160"/>
                    </a:lnTo>
                    <a:lnTo>
                      <a:pt x="134" y="153"/>
                    </a:lnTo>
                    <a:lnTo>
                      <a:pt x="137" y="146"/>
                    </a:lnTo>
                    <a:lnTo>
                      <a:pt x="137" y="146"/>
                    </a:lnTo>
                    <a:lnTo>
                      <a:pt x="139" y="144"/>
                    </a:lnTo>
                    <a:lnTo>
                      <a:pt x="142" y="143"/>
                    </a:lnTo>
                    <a:lnTo>
                      <a:pt x="148" y="143"/>
                    </a:lnTo>
                    <a:lnTo>
                      <a:pt x="158" y="143"/>
                    </a:lnTo>
                    <a:lnTo>
                      <a:pt x="158" y="143"/>
                    </a:lnTo>
                    <a:lnTo>
                      <a:pt x="159" y="144"/>
                    </a:lnTo>
                    <a:lnTo>
                      <a:pt x="159" y="147"/>
                    </a:lnTo>
                    <a:lnTo>
                      <a:pt x="162" y="153"/>
                    </a:lnTo>
                    <a:lnTo>
                      <a:pt x="162" y="153"/>
                    </a:lnTo>
                    <a:lnTo>
                      <a:pt x="163" y="155"/>
                    </a:lnTo>
                    <a:lnTo>
                      <a:pt x="165" y="155"/>
                    </a:lnTo>
                    <a:lnTo>
                      <a:pt x="172" y="155"/>
                    </a:lnTo>
                    <a:lnTo>
                      <a:pt x="185" y="153"/>
                    </a:lnTo>
                    <a:lnTo>
                      <a:pt x="185" y="153"/>
                    </a:lnTo>
                    <a:lnTo>
                      <a:pt x="187" y="155"/>
                    </a:lnTo>
                    <a:lnTo>
                      <a:pt x="187" y="155"/>
                    </a:lnTo>
                    <a:lnTo>
                      <a:pt x="184" y="157"/>
                    </a:lnTo>
                    <a:lnTo>
                      <a:pt x="178" y="160"/>
                    </a:lnTo>
                    <a:lnTo>
                      <a:pt x="172" y="163"/>
                    </a:lnTo>
                    <a:lnTo>
                      <a:pt x="172" y="163"/>
                    </a:lnTo>
                    <a:lnTo>
                      <a:pt x="168" y="166"/>
                    </a:lnTo>
                    <a:lnTo>
                      <a:pt x="165" y="168"/>
                    </a:lnTo>
                    <a:lnTo>
                      <a:pt x="165" y="170"/>
                    </a:lnTo>
                    <a:lnTo>
                      <a:pt x="166" y="172"/>
                    </a:lnTo>
                    <a:lnTo>
                      <a:pt x="166" y="172"/>
                    </a:lnTo>
                    <a:lnTo>
                      <a:pt x="169" y="175"/>
                    </a:lnTo>
                    <a:lnTo>
                      <a:pt x="174" y="179"/>
                    </a:lnTo>
                    <a:lnTo>
                      <a:pt x="179" y="188"/>
                    </a:lnTo>
                    <a:lnTo>
                      <a:pt x="179" y="188"/>
                    </a:lnTo>
                    <a:lnTo>
                      <a:pt x="185" y="194"/>
                    </a:lnTo>
                    <a:lnTo>
                      <a:pt x="188" y="195"/>
                    </a:lnTo>
                    <a:lnTo>
                      <a:pt x="191" y="195"/>
                    </a:lnTo>
                    <a:lnTo>
                      <a:pt x="191" y="195"/>
                    </a:lnTo>
                    <a:lnTo>
                      <a:pt x="194" y="194"/>
                    </a:lnTo>
                    <a:lnTo>
                      <a:pt x="197" y="192"/>
                    </a:lnTo>
                    <a:lnTo>
                      <a:pt x="201" y="188"/>
                    </a:lnTo>
                    <a:lnTo>
                      <a:pt x="201" y="188"/>
                    </a:lnTo>
                    <a:lnTo>
                      <a:pt x="211" y="182"/>
                    </a:lnTo>
                    <a:lnTo>
                      <a:pt x="211" y="182"/>
                    </a:lnTo>
                    <a:lnTo>
                      <a:pt x="213" y="182"/>
                    </a:lnTo>
                    <a:lnTo>
                      <a:pt x="214" y="183"/>
                    </a:lnTo>
                    <a:lnTo>
                      <a:pt x="217" y="185"/>
                    </a:lnTo>
                    <a:lnTo>
                      <a:pt x="218" y="186"/>
                    </a:lnTo>
                    <a:lnTo>
                      <a:pt x="218" y="186"/>
                    </a:lnTo>
                    <a:lnTo>
                      <a:pt x="223" y="186"/>
                    </a:lnTo>
                    <a:lnTo>
                      <a:pt x="226" y="186"/>
                    </a:lnTo>
                    <a:lnTo>
                      <a:pt x="229" y="188"/>
                    </a:lnTo>
                    <a:lnTo>
                      <a:pt x="229" y="188"/>
                    </a:lnTo>
                    <a:lnTo>
                      <a:pt x="230" y="188"/>
                    </a:lnTo>
                    <a:lnTo>
                      <a:pt x="230" y="185"/>
                    </a:lnTo>
                    <a:lnTo>
                      <a:pt x="227" y="178"/>
                    </a:lnTo>
                    <a:lnTo>
                      <a:pt x="227" y="178"/>
                    </a:lnTo>
                    <a:lnTo>
                      <a:pt x="227" y="176"/>
                    </a:lnTo>
                    <a:lnTo>
                      <a:pt x="227" y="175"/>
                    </a:lnTo>
                    <a:lnTo>
                      <a:pt x="226" y="173"/>
                    </a:lnTo>
                    <a:lnTo>
                      <a:pt x="224" y="172"/>
                    </a:lnTo>
                    <a:lnTo>
                      <a:pt x="224" y="172"/>
                    </a:lnTo>
                    <a:lnTo>
                      <a:pt x="221" y="169"/>
                    </a:lnTo>
                    <a:lnTo>
                      <a:pt x="218" y="169"/>
                    </a:lnTo>
                    <a:lnTo>
                      <a:pt x="211" y="170"/>
                    </a:lnTo>
                    <a:lnTo>
                      <a:pt x="211" y="170"/>
                    </a:lnTo>
                    <a:lnTo>
                      <a:pt x="208" y="168"/>
                    </a:lnTo>
                    <a:lnTo>
                      <a:pt x="207" y="165"/>
                    </a:lnTo>
                    <a:lnTo>
                      <a:pt x="205" y="162"/>
                    </a:lnTo>
                    <a:lnTo>
                      <a:pt x="203" y="159"/>
                    </a:lnTo>
                    <a:lnTo>
                      <a:pt x="203" y="159"/>
                    </a:lnTo>
                    <a:lnTo>
                      <a:pt x="203" y="157"/>
                    </a:lnTo>
                    <a:lnTo>
                      <a:pt x="204" y="156"/>
                    </a:lnTo>
                    <a:lnTo>
                      <a:pt x="208" y="152"/>
                    </a:lnTo>
                    <a:lnTo>
                      <a:pt x="208" y="152"/>
                    </a:lnTo>
                    <a:lnTo>
                      <a:pt x="221" y="143"/>
                    </a:lnTo>
                    <a:lnTo>
                      <a:pt x="221" y="143"/>
                    </a:lnTo>
                    <a:lnTo>
                      <a:pt x="224" y="141"/>
                    </a:lnTo>
                    <a:lnTo>
                      <a:pt x="227" y="141"/>
                    </a:lnTo>
                    <a:lnTo>
                      <a:pt x="234" y="141"/>
                    </a:lnTo>
                    <a:lnTo>
                      <a:pt x="234" y="141"/>
                    </a:lnTo>
                    <a:lnTo>
                      <a:pt x="237" y="140"/>
                    </a:lnTo>
                    <a:lnTo>
                      <a:pt x="242" y="139"/>
                    </a:lnTo>
                    <a:lnTo>
                      <a:pt x="245" y="136"/>
                    </a:lnTo>
                    <a:lnTo>
                      <a:pt x="249" y="134"/>
                    </a:lnTo>
                    <a:lnTo>
                      <a:pt x="249" y="134"/>
                    </a:lnTo>
                    <a:lnTo>
                      <a:pt x="256" y="134"/>
                    </a:lnTo>
                    <a:lnTo>
                      <a:pt x="263" y="131"/>
                    </a:lnTo>
                    <a:lnTo>
                      <a:pt x="263" y="131"/>
                    </a:lnTo>
                    <a:lnTo>
                      <a:pt x="265" y="128"/>
                    </a:lnTo>
                    <a:lnTo>
                      <a:pt x="266" y="127"/>
                    </a:lnTo>
                    <a:lnTo>
                      <a:pt x="268" y="12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6" name="Freeform 709"/>
              <p:cNvSpPr>
                <a:spLocks/>
              </p:cNvSpPr>
              <p:nvPr/>
            </p:nvSpPr>
            <p:spPr bwMode="auto">
              <a:xfrm>
                <a:off x="4742152" y="2200264"/>
                <a:ext cx="115743" cy="64302"/>
              </a:xfrm>
              <a:custGeom>
                <a:avLst/>
                <a:gdLst>
                  <a:gd name="T0" fmla="*/ 110 w 117"/>
                  <a:gd name="T1" fmla="*/ 8 h 65"/>
                  <a:gd name="T2" fmla="*/ 85 w 117"/>
                  <a:gd name="T3" fmla="*/ 7 h 65"/>
                  <a:gd name="T4" fmla="*/ 79 w 117"/>
                  <a:gd name="T5" fmla="*/ 4 h 65"/>
                  <a:gd name="T6" fmla="*/ 71 w 117"/>
                  <a:gd name="T7" fmla="*/ 0 h 65"/>
                  <a:gd name="T8" fmla="*/ 66 w 117"/>
                  <a:gd name="T9" fmla="*/ 0 h 65"/>
                  <a:gd name="T10" fmla="*/ 55 w 117"/>
                  <a:gd name="T11" fmla="*/ 1 h 65"/>
                  <a:gd name="T12" fmla="*/ 55 w 117"/>
                  <a:gd name="T13" fmla="*/ 10 h 65"/>
                  <a:gd name="T14" fmla="*/ 50 w 117"/>
                  <a:gd name="T15" fmla="*/ 23 h 65"/>
                  <a:gd name="T16" fmla="*/ 45 w 117"/>
                  <a:gd name="T17" fmla="*/ 27 h 65"/>
                  <a:gd name="T18" fmla="*/ 43 w 117"/>
                  <a:gd name="T19" fmla="*/ 27 h 65"/>
                  <a:gd name="T20" fmla="*/ 31 w 117"/>
                  <a:gd name="T21" fmla="*/ 17 h 65"/>
                  <a:gd name="T22" fmla="*/ 21 w 117"/>
                  <a:gd name="T23" fmla="*/ 6 h 65"/>
                  <a:gd name="T24" fmla="*/ 18 w 117"/>
                  <a:gd name="T25" fmla="*/ 7 h 65"/>
                  <a:gd name="T26" fmla="*/ 10 w 117"/>
                  <a:gd name="T27" fmla="*/ 11 h 65"/>
                  <a:gd name="T28" fmla="*/ 8 w 117"/>
                  <a:gd name="T29" fmla="*/ 16 h 65"/>
                  <a:gd name="T30" fmla="*/ 3 w 117"/>
                  <a:gd name="T31" fmla="*/ 30 h 65"/>
                  <a:gd name="T32" fmla="*/ 1 w 117"/>
                  <a:gd name="T33" fmla="*/ 36 h 65"/>
                  <a:gd name="T34" fmla="*/ 0 w 117"/>
                  <a:gd name="T35" fmla="*/ 45 h 65"/>
                  <a:gd name="T36" fmla="*/ 20 w 117"/>
                  <a:gd name="T37" fmla="*/ 42 h 65"/>
                  <a:gd name="T38" fmla="*/ 30 w 117"/>
                  <a:gd name="T39" fmla="*/ 43 h 65"/>
                  <a:gd name="T40" fmla="*/ 47 w 117"/>
                  <a:gd name="T41" fmla="*/ 45 h 65"/>
                  <a:gd name="T42" fmla="*/ 65 w 117"/>
                  <a:gd name="T43" fmla="*/ 48 h 65"/>
                  <a:gd name="T44" fmla="*/ 69 w 117"/>
                  <a:gd name="T45" fmla="*/ 50 h 65"/>
                  <a:gd name="T46" fmla="*/ 85 w 117"/>
                  <a:gd name="T47" fmla="*/ 65 h 65"/>
                  <a:gd name="T48" fmla="*/ 87 w 117"/>
                  <a:gd name="T49" fmla="*/ 65 h 65"/>
                  <a:gd name="T50" fmla="*/ 94 w 117"/>
                  <a:gd name="T51" fmla="*/ 65 h 65"/>
                  <a:gd name="T52" fmla="*/ 111 w 117"/>
                  <a:gd name="T53" fmla="*/ 61 h 65"/>
                  <a:gd name="T54" fmla="*/ 115 w 117"/>
                  <a:gd name="T55" fmla="*/ 56 h 65"/>
                  <a:gd name="T56" fmla="*/ 117 w 117"/>
                  <a:gd name="T57" fmla="*/ 49 h 65"/>
                  <a:gd name="T58" fmla="*/ 117 w 117"/>
                  <a:gd name="T59" fmla="*/ 30 h 65"/>
                  <a:gd name="T60" fmla="*/ 114 w 117"/>
                  <a:gd name="T61" fmla="*/ 23 h 65"/>
                  <a:gd name="T62" fmla="*/ 110 w 117"/>
                  <a:gd name="T63" fmla="*/ 8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17" h="65">
                    <a:moveTo>
                      <a:pt x="110" y="8"/>
                    </a:moveTo>
                    <a:lnTo>
                      <a:pt x="110" y="8"/>
                    </a:lnTo>
                    <a:lnTo>
                      <a:pt x="95" y="8"/>
                    </a:lnTo>
                    <a:lnTo>
                      <a:pt x="85" y="7"/>
                    </a:lnTo>
                    <a:lnTo>
                      <a:pt x="85" y="7"/>
                    </a:lnTo>
                    <a:lnTo>
                      <a:pt x="79" y="4"/>
                    </a:lnTo>
                    <a:lnTo>
                      <a:pt x="75" y="1"/>
                    </a:lnTo>
                    <a:lnTo>
                      <a:pt x="71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55" y="1"/>
                    </a:lnTo>
                    <a:lnTo>
                      <a:pt x="55" y="1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3" y="17"/>
                    </a:lnTo>
                    <a:lnTo>
                      <a:pt x="50" y="23"/>
                    </a:lnTo>
                    <a:lnTo>
                      <a:pt x="47" y="27"/>
                    </a:lnTo>
                    <a:lnTo>
                      <a:pt x="45" y="27"/>
                    </a:lnTo>
                    <a:lnTo>
                      <a:pt x="43" y="27"/>
                    </a:lnTo>
                    <a:lnTo>
                      <a:pt x="43" y="27"/>
                    </a:lnTo>
                    <a:lnTo>
                      <a:pt x="39" y="24"/>
                    </a:lnTo>
                    <a:lnTo>
                      <a:pt x="31" y="17"/>
                    </a:lnTo>
                    <a:lnTo>
                      <a:pt x="26" y="10"/>
                    </a:lnTo>
                    <a:lnTo>
                      <a:pt x="21" y="6"/>
                    </a:lnTo>
                    <a:lnTo>
                      <a:pt x="21" y="6"/>
                    </a:lnTo>
                    <a:lnTo>
                      <a:pt x="18" y="7"/>
                    </a:lnTo>
                    <a:lnTo>
                      <a:pt x="13" y="8"/>
                    </a:lnTo>
                    <a:lnTo>
                      <a:pt x="10" y="11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5" y="23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1" y="36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11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30" y="43"/>
                    </a:lnTo>
                    <a:lnTo>
                      <a:pt x="30" y="43"/>
                    </a:lnTo>
                    <a:lnTo>
                      <a:pt x="47" y="45"/>
                    </a:lnTo>
                    <a:lnTo>
                      <a:pt x="58" y="46"/>
                    </a:lnTo>
                    <a:lnTo>
                      <a:pt x="65" y="48"/>
                    </a:lnTo>
                    <a:lnTo>
                      <a:pt x="65" y="48"/>
                    </a:lnTo>
                    <a:lnTo>
                      <a:pt x="69" y="50"/>
                    </a:lnTo>
                    <a:lnTo>
                      <a:pt x="75" y="55"/>
                    </a:lnTo>
                    <a:lnTo>
                      <a:pt x="85" y="65"/>
                    </a:lnTo>
                    <a:lnTo>
                      <a:pt x="85" y="65"/>
                    </a:lnTo>
                    <a:lnTo>
                      <a:pt x="87" y="65"/>
                    </a:lnTo>
                    <a:lnTo>
                      <a:pt x="87" y="65"/>
                    </a:lnTo>
                    <a:lnTo>
                      <a:pt x="94" y="65"/>
                    </a:lnTo>
                    <a:lnTo>
                      <a:pt x="102" y="64"/>
                    </a:lnTo>
                    <a:lnTo>
                      <a:pt x="111" y="61"/>
                    </a:lnTo>
                    <a:lnTo>
                      <a:pt x="114" y="59"/>
                    </a:lnTo>
                    <a:lnTo>
                      <a:pt x="115" y="56"/>
                    </a:lnTo>
                    <a:lnTo>
                      <a:pt x="115" y="56"/>
                    </a:lnTo>
                    <a:lnTo>
                      <a:pt x="117" y="49"/>
                    </a:lnTo>
                    <a:lnTo>
                      <a:pt x="117" y="40"/>
                    </a:lnTo>
                    <a:lnTo>
                      <a:pt x="117" y="30"/>
                    </a:lnTo>
                    <a:lnTo>
                      <a:pt x="114" y="23"/>
                    </a:lnTo>
                    <a:lnTo>
                      <a:pt x="114" y="23"/>
                    </a:lnTo>
                    <a:lnTo>
                      <a:pt x="113" y="17"/>
                    </a:lnTo>
                    <a:lnTo>
                      <a:pt x="110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7" name="Freeform 710"/>
              <p:cNvSpPr>
                <a:spLocks/>
              </p:cNvSpPr>
              <p:nvPr/>
            </p:nvSpPr>
            <p:spPr bwMode="auto">
              <a:xfrm>
                <a:off x="4742152" y="2200264"/>
                <a:ext cx="115743" cy="64302"/>
              </a:xfrm>
              <a:custGeom>
                <a:avLst/>
                <a:gdLst>
                  <a:gd name="T0" fmla="*/ 110 w 117"/>
                  <a:gd name="T1" fmla="*/ 8 h 65"/>
                  <a:gd name="T2" fmla="*/ 85 w 117"/>
                  <a:gd name="T3" fmla="*/ 7 h 65"/>
                  <a:gd name="T4" fmla="*/ 79 w 117"/>
                  <a:gd name="T5" fmla="*/ 4 h 65"/>
                  <a:gd name="T6" fmla="*/ 71 w 117"/>
                  <a:gd name="T7" fmla="*/ 0 h 65"/>
                  <a:gd name="T8" fmla="*/ 66 w 117"/>
                  <a:gd name="T9" fmla="*/ 0 h 65"/>
                  <a:gd name="T10" fmla="*/ 55 w 117"/>
                  <a:gd name="T11" fmla="*/ 1 h 65"/>
                  <a:gd name="T12" fmla="*/ 55 w 117"/>
                  <a:gd name="T13" fmla="*/ 10 h 65"/>
                  <a:gd name="T14" fmla="*/ 50 w 117"/>
                  <a:gd name="T15" fmla="*/ 23 h 65"/>
                  <a:gd name="T16" fmla="*/ 45 w 117"/>
                  <a:gd name="T17" fmla="*/ 27 h 65"/>
                  <a:gd name="T18" fmla="*/ 43 w 117"/>
                  <a:gd name="T19" fmla="*/ 27 h 65"/>
                  <a:gd name="T20" fmla="*/ 31 w 117"/>
                  <a:gd name="T21" fmla="*/ 17 h 65"/>
                  <a:gd name="T22" fmla="*/ 21 w 117"/>
                  <a:gd name="T23" fmla="*/ 6 h 65"/>
                  <a:gd name="T24" fmla="*/ 18 w 117"/>
                  <a:gd name="T25" fmla="*/ 7 h 65"/>
                  <a:gd name="T26" fmla="*/ 10 w 117"/>
                  <a:gd name="T27" fmla="*/ 11 h 65"/>
                  <a:gd name="T28" fmla="*/ 8 w 117"/>
                  <a:gd name="T29" fmla="*/ 16 h 65"/>
                  <a:gd name="T30" fmla="*/ 3 w 117"/>
                  <a:gd name="T31" fmla="*/ 30 h 65"/>
                  <a:gd name="T32" fmla="*/ 1 w 117"/>
                  <a:gd name="T33" fmla="*/ 36 h 65"/>
                  <a:gd name="T34" fmla="*/ 0 w 117"/>
                  <a:gd name="T35" fmla="*/ 45 h 65"/>
                  <a:gd name="T36" fmla="*/ 20 w 117"/>
                  <a:gd name="T37" fmla="*/ 42 h 65"/>
                  <a:gd name="T38" fmla="*/ 30 w 117"/>
                  <a:gd name="T39" fmla="*/ 43 h 65"/>
                  <a:gd name="T40" fmla="*/ 47 w 117"/>
                  <a:gd name="T41" fmla="*/ 45 h 65"/>
                  <a:gd name="T42" fmla="*/ 65 w 117"/>
                  <a:gd name="T43" fmla="*/ 48 h 65"/>
                  <a:gd name="T44" fmla="*/ 69 w 117"/>
                  <a:gd name="T45" fmla="*/ 50 h 65"/>
                  <a:gd name="T46" fmla="*/ 85 w 117"/>
                  <a:gd name="T47" fmla="*/ 65 h 65"/>
                  <a:gd name="T48" fmla="*/ 87 w 117"/>
                  <a:gd name="T49" fmla="*/ 65 h 65"/>
                  <a:gd name="T50" fmla="*/ 94 w 117"/>
                  <a:gd name="T51" fmla="*/ 65 h 65"/>
                  <a:gd name="T52" fmla="*/ 111 w 117"/>
                  <a:gd name="T53" fmla="*/ 61 h 65"/>
                  <a:gd name="T54" fmla="*/ 115 w 117"/>
                  <a:gd name="T55" fmla="*/ 56 h 65"/>
                  <a:gd name="T56" fmla="*/ 117 w 117"/>
                  <a:gd name="T57" fmla="*/ 49 h 65"/>
                  <a:gd name="T58" fmla="*/ 117 w 117"/>
                  <a:gd name="T59" fmla="*/ 30 h 65"/>
                  <a:gd name="T60" fmla="*/ 114 w 117"/>
                  <a:gd name="T61" fmla="*/ 23 h 65"/>
                  <a:gd name="T62" fmla="*/ 110 w 117"/>
                  <a:gd name="T63" fmla="*/ 8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17" h="65">
                    <a:moveTo>
                      <a:pt x="110" y="8"/>
                    </a:moveTo>
                    <a:lnTo>
                      <a:pt x="110" y="8"/>
                    </a:lnTo>
                    <a:lnTo>
                      <a:pt x="95" y="8"/>
                    </a:lnTo>
                    <a:lnTo>
                      <a:pt x="85" y="7"/>
                    </a:lnTo>
                    <a:lnTo>
                      <a:pt x="85" y="7"/>
                    </a:lnTo>
                    <a:lnTo>
                      <a:pt x="79" y="4"/>
                    </a:lnTo>
                    <a:lnTo>
                      <a:pt x="75" y="1"/>
                    </a:lnTo>
                    <a:lnTo>
                      <a:pt x="71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55" y="1"/>
                    </a:lnTo>
                    <a:lnTo>
                      <a:pt x="55" y="1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3" y="17"/>
                    </a:lnTo>
                    <a:lnTo>
                      <a:pt x="50" y="23"/>
                    </a:lnTo>
                    <a:lnTo>
                      <a:pt x="47" y="27"/>
                    </a:lnTo>
                    <a:lnTo>
                      <a:pt x="45" y="27"/>
                    </a:lnTo>
                    <a:lnTo>
                      <a:pt x="43" y="27"/>
                    </a:lnTo>
                    <a:lnTo>
                      <a:pt x="43" y="27"/>
                    </a:lnTo>
                    <a:lnTo>
                      <a:pt x="39" y="24"/>
                    </a:lnTo>
                    <a:lnTo>
                      <a:pt x="31" y="17"/>
                    </a:lnTo>
                    <a:lnTo>
                      <a:pt x="26" y="10"/>
                    </a:lnTo>
                    <a:lnTo>
                      <a:pt x="21" y="6"/>
                    </a:lnTo>
                    <a:lnTo>
                      <a:pt x="21" y="6"/>
                    </a:lnTo>
                    <a:lnTo>
                      <a:pt x="18" y="7"/>
                    </a:lnTo>
                    <a:lnTo>
                      <a:pt x="13" y="8"/>
                    </a:lnTo>
                    <a:lnTo>
                      <a:pt x="10" y="11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5" y="23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1" y="36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11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30" y="43"/>
                    </a:lnTo>
                    <a:lnTo>
                      <a:pt x="30" y="43"/>
                    </a:lnTo>
                    <a:lnTo>
                      <a:pt x="47" y="45"/>
                    </a:lnTo>
                    <a:lnTo>
                      <a:pt x="58" y="46"/>
                    </a:lnTo>
                    <a:lnTo>
                      <a:pt x="65" y="48"/>
                    </a:lnTo>
                    <a:lnTo>
                      <a:pt x="65" y="48"/>
                    </a:lnTo>
                    <a:lnTo>
                      <a:pt x="69" y="50"/>
                    </a:lnTo>
                    <a:lnTo>
                      <a:pt x="75" y="55"/>
                    </a:lnTo>
                    <a:lnTo>
                      <a:pt x="85" y="65"/>
                    </a:lnTo>
                    <a:lnTo>
                      <a:pt x="85" y="65"/>
                    </a:lnTo>
                    <a:lnTo>
                      <a:pt x="87" y="65"/>
                    </a:lnTo>
                    <a:lnTo>
                      <a:pt x="87" y="65"/>
                    </a:lnTo>
                    <a:lnTo>
                      <a:pt x="94" y="65"/>
                    </a:lnTo>
                    <a:lnTo>
                      <a:pt x="102" y="64"/>
                    </a:lnTo>
                    <a:lnTo>
                      <a:pt x="111" y="61"/>
                    </a:lnTo>
                    <a:lnTo>
                      <a:pt x="114" y="59"/>
                    </a:lnTo>
                    <a:lnTo>
                      <a:pt x="115" y="56"/>
                    </a:lnTo>
                    <a:lnTo>
                      <a:pt x="115" y="56"/>
                    </a:lnTo>
                    <a:lnTo>
                      <a:pt x="117" y="49"/>
                    </a:lnTo>
                    <a:lnTo>
                      <a:pt x="117" y="40"/>
                    </a:lnTo>
                    <a:lnTo>
                      <a:pt x="117" y="30"/>
                    </a:lnTo>
                    <a:lnTo>
                      <a:pt x="114" y="23"/>
                    </a:lnTo>
                    <a:lnTo>
                      <a:pt x="114" y="23"/>
                    </a:lnTo>
                    <a:lnTo>
                      <a:pt x="113" y="17"/>
                    </a:lnTo>
                    <a:lnTo>
                      <a:pt x="110" y="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8" name="Freeform 711"/>
              <p:cNvSpPr>
                <a:spLocks/>
              </p:cNvSpPr>
              <p:nvPr/>
            </p:nvSpPr>
            <p:spPr bwMode="auto">
              <a:xfrm>
                <a:off x="4736217" y="2241813"/>
                <a:ext cx="90023" cy="76173"/>
              </a:xfrm>
              <a:custGeom>
                <a:avLst/>
                <a:gdLst>
                  <a:gd name="T0" fmla="*/ 71 w 91"/>
                  <a:gd name="T1" fmla="*/ 6 h 77"/>
                  <a:gd name="T2" fmla="*/ 71 w 91"/>
                  <a:gd name="T3" fmla="*/ 6 h 77"/>
                  <a:gd name="T4" fmla="*/ 64 w 91"/>
                  <a:gd name="T5" fmla="*/ 4 h 77"/>
                  <a:gd name="T6" fmla="*/ 53 w 91"/>
                  <a:gd name="T7" fmla="*/ 3 h 77"/>
                  <a:gd name="T8" fmla="*/ 36 w 91"/>
                  <a:gd name="T9" fmla="*/ 1 h 77"/>
                  <a:gd name="T10" fmla="*/ 36 w 91"/>
                  <a:gd name="T11" fmla="*/ 1 h 77"/>
                  <a:gd name="T12" fmla="*/ 32 w 91"/>
                  <a:gd name="T13" fmla="*/ 0 h 77"/>
                  <a:gd name="T14" fmla="*/ 26 w 91"/>
                  <a:gd name="T15" fmla="*/ 0 h 77"/>
                  <a:gd name="T16" fmla="*/ 17 w 91"/>
                  <a:gd name="T17" fmla="*/ 0 h 77"/>
                  <a:gd name="T18" fmla="*/ 6 w 91"/>
                  <a:gd name="T19" fmla="*/ 3 h 77"/>
                  <a:gd name="T20" fmla="*/ 6 w 91"/>
                  <a:gd name="T21" fmla="*/ 3 h 77"/>
                  <a:gd name="T22" fmla="*/ 6 w 91"/>
                  <a:gd name="T23" fmla="*/ 13 h 77"/>
                  <a:gd name="T24" fmla="*/ 6 w 91"/>
                  <a:gd name="T25" fmla="*/ 23 h 77"/>
                  <a:gd name="T26" fmla="*/ 6 w 91"/>
                  <a:gd name="T27" fmla="*/ 23 h 77"/>
                  <a:gd name="T28" fmla="*/ 3 w 91"/>
                  <a:gd name="T29" fmla="*/ 30 h 77"/>
                  <a:gd name="T30" fmla="*/ 0 w 91"/>
                  <a:gd name="T31" fmla="*/ 35 h 77"/>
                  <a:gd name="T32" fmla="*/ 0 w 91"/>
                  <a:gd name="T33" fmla="*/ 35 h 77"/>
                  <a:gd name="T34" fmla="*/ 11 w 91"/>
                  <a:gd name="T35" fmla="*/ 37 h 77"/>
                  <a:gd name="T36" fmla="*/ 22 w 91"/>
                  <a:gd name="T37" fmla="*/ 40 h 77"/>
                  <a:gd name="T38" fmla="*/ 30 w 91"/>
                  <a:gd name="T39" fmla="*/ 45 h 77"/>
                  <a:gd name="T40" fmla="*/ 35 w 91"/>
                  <a:gd name="T41" fmla="*/ 48 h 77"/>
                  <a:gd name="T42" fmla="*/ 35 w 91"/>
                  <a:gd name="T43" fmla="*/ 48 h 77"/>
                  <a:gd name="T44" fmla="*/ 43 w 91"/>
                  <a:gd name="T45" fmla="*/ 62 h 77"/>
                  <a:gd name="T46" fmla="*/ 48 w 91"/>
                  <a:gd name="T47" fmla="*/ 69 h 77"/>
                  <a:gd name="T48" fmla="*/ 51 w 91"/>
                  <a:gd name="T49" fmla="*/ 77 h 77"/>
                  <a:gd name="T50" fmla="*/ 51 w 91"/>
                  <a:gd name="T51" fmla="*/ 77 h 77"/>
                  <a:gd name="T52" fmla="*/ 51 w 91"/>
                  <a:gd name="T53" fmla="*/ 77 h 77"/>
                  <a:gd name="T54" fmla="*/ 55 w 91"/>
                  <a:gd name="T55" fmla="*/ 72 h 77"/>
                  <a:gd name="T56" fmla="*/ 61 w 91"/>
                  <a:gd name="T57" fmla="*/ 69 h 77"/>
                  <a:gd name="T58" fmla="*/ 61 w 91"/>
                  <a:gd name="T59" fmla="*/ 69 h 77"/>
                  <a:gd name="T60" fmla="*/ 66 w 91"/>
                  <a:gd name="T61" fmla="*/ 68 h 77"/>
                  <a:gd name="T62" fmla="*/ 72 w 91"/>
                  <a:gd name="T63" fmla="*/ 66 h 77"/>
                  <a:gd name="T64" fmla="*/ 78 w 91"/>
                  <a:gd name="T65" fmla="*/ 62 h 77"/>
                  <a:gd name="T66" fmla="*/ 81 w 91"/>
                  <a:gd name="T67" fmla="*/ 58 h 77"/>
                  <a:gd name="T68" fmla="*/ 81 w 91"/>
                  <a:gd name="T69" fmla="*/ 58 h 77"/>
                  <a:gd name="T70" fmla="*/ 84 w 91"/>
                  <a:gd name="T71" fmla="*/ 39 h 77"/>
                  <a:gd name="T72" fmla="*/ 87 w 91"/>
                  <a:gd name="T73" fmla="*/ 29 h 77"/>
                  <a:gd name="T74" fmla="*/ 88 w 91"/>
                  <a:gd name="T75" fmla="*/ 26 h 77"/>
                  <a:gd name="T76" fmla="*/ 91 w 91"/>
                  <a:gd name="T77" fmla="*/ 23 h 77"/>
                  <a:gd name="T78" fmla="*/ 91 w 91"/>
                  <a:gd name="T79" fmla="*/ 23 h 77"/>
                  <a:gd name="T80" fmla="*/ 81 w 91"/>
                  <a:gd name="T81" fmla="*/ 13 h 77"/>
                  <a:gd name="T82" fmla="*/ 75 w 91"/>
                  <a:gd name="T83" fmla="*/ 8 h 77"/>
                  <a:gd name="T84" fmla="*/ 71 w 91"/>
                  <a:gd name="T85" fmla="*/ 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91" h="77">
                    <a:moveTo>
                      <a:pt x="71" y="6"/>
                    </a:moveTo>
                    <a:lnTo>
                      <a:pt x="71" y="6"/>
                    </a:lnTo>
                    <a:lnTo>
                      <a:pt x="64" y="4"/>
                    </a:lnTo>
                    <a:lnTo>
                      <a:pt x="53" y="3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17" y="0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13"/>
                    </a:lnTo>
                    <a:lnTo>
                      <a:pt x="6" y="23"/>
                    </a:lnTo>
                    <a:lnTo>
                      <a:pt x="6" y="23"/>
                    </a:lnTo>
                    <a:lnTo>
                      <a:pt x="3" y="30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11" y="37"/>
                    </a:lnTo>
                    <a:lnTo>
                      <a:pt x="22" y="40"/>
                    </a:lnTo>
                    <a:lnTo>
                      <a:pt x="30" y="45"/>
                    </a:lnTo>
                    <a:lnTo>
                      <a:pt x="35" y="48"/>
                    </a:lnTo>
                    <a:lnTo>
                      <a:pt x="35" y="48"/>
                    </a:lnTo>
                    <a:lnTo>
                      <a:pt x="43" y="62"/>
                    </a:lnTo>
                    <a:lnTo>
                      <a:pt x="48" y="69"/>
                    </a:lnTo>
                    <a:lnTo>
                      <a:pt x="51" y="77"/>
                    </a:lnTo>
                    <a:lnTo>
                      <a:pt x="51" y="77"/>
                    </a:lnTo>
                    <a:lnTo>
                      <a:pt x="51" y="77"/>
                    </a:lnTo>
                    <a:lnTo>
                      <a:pt x="55" y="72"/>
                    </a:lnTo>
                    <a:lnTo>
                      <a:pt x="61" y="69"/>
                    </a:lnTo>
                    <a:lnTo>
                      <a:pt x="61" y="69"/>
                    </a:lnTo>
                    <a:lnTo>
                      <a:pt x="66" y="68"/>
                    </a:lnTo>
                    <a:lnTo>
                      <a:pt x="72" y="66"/>
                    </a:lnTo>
                    <a:lnTo>
                      <a:pt x="78" y="62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4" y="39"/>
                    </a:lnTo>
                    <a:lnTo>
                      <a:pt x="87" y="29"/>
                    </a:lnTo>
                    <a:lnTo>
                      <a:pt x="88" y="26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81" y="13"/>
                    </a:lnTo>
                    <a:lnTo>
                      <a:pt x="75" y="8"/>
                    </a:lnTo>
                    <a:lnTo>
                      <a:pt x="71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9" name="Freeform 712"/>
              <p:cNvSpPr>
                <a:spLocks/>
              </p:cNvSpPr>
              <p:nvPr/>
            </p:nvSpPr>
            <p:spPr bwMode="auto">
              <a:xfrm>
                <a:off x="4736217" y="2241813"/>
                <a:ext cx="90023" cy="76173"/>
              </a:xfrm>
              <a:custGeom>
                <a:avLst/>
                <a:gdLst>
                  <a:gd name="T0" fmla="*/ 71 w 91"/>
                  <a:gd name="T1" fmla="*/ 6 h 77"/>
                  <a:gd name="T2" fmla="*/ 71 w 91"/>
                  <a:gd name="T3" fmla="*/ 6 h 77"/>
                  <a:gd name="T4" fmla="*/ 64 w 91"/>
                  <a:gd name="T5" fmla="*/ 4 h 77"/>
                  <a:gd name="T6" fmla="*/ 53 w 91"/>
                  <a:gd name="T7" fmla="*/ 3 h 77"/>
                  <a:gd name="T8" fmla="*/ 36 w 91"/>
                  <a:gd name="T9" fmla="*/ 1 h 77"/>
                  <a:gd name="T10" fmla="*/ 36 w 91"/>
                  <a:gd name="T11" fmla="*/ 1 h 77"/>
                  <a:gd name="T12" fmla="*/ 32 w 91"/>
                  <a:gd name="T13" fmla="*/ 0 h 77"/>
                  <a:gd name="T14" fmla="*/ 26 w 91"/>
                  <a:gd name="T15" fmla="*/ 0 h 77"/>
                  <a:gd name="T16" fmla="*/ 17 w 91"/>
                  <a:gd name="T17" fmla="*/ 0 h 77"/>
                  <a:gd name="T18" fmla="*/ 6 w 91"/>
                  <a:gd name="T19" fmla="*/ 3 h 77"/>
                  <a:gd name="T20" fmla="*/ 6 w 91"/>
                  <a:gd name="T21" fmla="*/ 3 h 77"/>
                  <a:gd name="T22" fmla="*/ 6 w 91"/>
                  <a:gd name="T23" fmla="*/ 13 h 77"/>
                  <a:gd name="T24" fmla="*/ 6 w 91"/>
                  <a:gd name="T25" fmla="*/ 23 h 77"/>
                  <a:gd name="T26" fmla="*/ 6 w 91"/>
                  <a:gd name="T27" fmla="*/ 23 h 77"/>
                  <a:gd name="T28" fmla="*/ 3 w 91"/>
                  <a:gd name="T29" fmla="*/ 30 h 77"/>
                  <a:gd name="T30" fmla="*/ 0 w 91"/>
                  <a:gd name="T31" fmla="*/ 35 h 77"/>
                  <a:gd name="T32" fmla="*/ 0 w 91"/>
                  <a:gd name="T33" fmla="*/ 35 h 77"/>
                  <a:gd name="T34" fmla="*/ 11 w 91"/>
                  <a:gd name="T35" fmla="*/ 37 h 77"/>
                  <a:gd name="T36" fmla="*/ 22 w 91"/>
                  <a:gd name="T37" fmla="*/ 40 h 77"/>
                  <a:gd name="T38" fmla="*/ 30 w 91"/>
                  <a:gd name="T39" fmla="*/ 45 h 77"/>
                  <a:gd name="T40" fmla="*/ 35 w 91"/>
                  <a:gd name="T41" fmla="*/ 48 h 77"/>
                  <a:gd name="T42" fmla="*/ 35 w 91"/>
                  <a:gd name="T43" fmla="*/ 48 h 77"/>
                  <a:gd name="T44" fmla="*/ 43 w 91"/>
                  <a:gd name="T45" fmla="*/ 62 h 77"/>
                  <a:gd name="T46" fmla="*/ 48 w 91"/>
                  <a:gd name="T47" fmla="*/ 69 h 77"/>
                  <a:gd name="T48" fmla="*/ 51 w 91"/>
                  <a:gd name="T49" fmla="*/ 77 h 77"/>
                  <a:gd name="T50" fmla="*/ 51 w 91"/>
                  <a:gd name="T51" fmla="*/ 77 h 77"/>
                  <a:gd name="T52" fmla="*/ 51 w 91"/>
                  <a:gd name="T53" fmla="*/ 77 h 77"/>
                  <a:gd name="T54" fmla="*/ 55 w 91"/>
                  <a:gd name="T55" fmla="*/ 72 h 77"/>
                  <a:gd name="T56" fmla="*/ 61 w 91"/>
                  <a:gd name="T57" fmla="*/ 69 h 77"/>
                  <a:gd name="T58" fmla="*/ 61 w 91"/>
                  <a:gd name="T59" fmla="*/ 69 h 77"/>
                  <a:gd name="T60" fmla="*/ 66 w 91"/>
                  <a:gd name="T61" fmla="*/ 68 h 77"/>
                  <a:gd name="T62" fmla="*/ 72 w 91"/>
                  <a:gd name="T63" fmla="*/ 66 h 77"/>
                  <a:gd name="T64" fmla="*/ 78 w 91"/>
                  <a:gd name="T65" fmla="*/ 62 h 77"/>
                  <a:gd name="T66" fmla="*/ 81 w 91"/>
                  <a:gd name="T67" fmla="*/ 58 h 77"/>
                  <a:gd name="T68" fmla="*/ 81 w 91"/>
                  <a:gd name="T69" fmla="*/ 58 h 77"/>
                  <a:gd name="T70" fmla="*/ 84 w 91"/>
                  <a:gd name="T71" fmla="*/ 39 h 77"/>
                  <a:gd name="T72" fmla="*/ 87 w 91"/>
                  <a:gd name="T73" fmla="*/ 29 h 77"/>
                  <a:gd name="T74" fmla="*/ 88 w 91"/>
                  <a:gd name="T75" fmla="*/ 26 h 77"/>
                  <a:gd name="T76" fmla="*/ 91 w 91"/>
                  <a:gd name="T77" fmla="*/ 23 h 77"/>
                  <a:gd name="T78" fmla="*/ 91 w 91"/>
                  <a:gd name="T79" fmla="*/ 23 h 77"/>
                  <a:gd name="T80" fmla="*/ 81 w 91"/>
                  <a:gd name="T81" fmla="*/ 13 h 77"/>
                  <a:gd name="T82" fmla="*/ 75 w 91"/>
                  <a:gd name="T83" fmla="*/ 8 h 77"/>
                  <a:gd name="T84" fmla="*/ 71 w 91"/>
                  <a:gd name="T85" fmla="*/ 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91" h="77">
                    <a:moveTo>
                      <a:pt x="71" y="6"/>
                    </a:moveTo>
                    <a:lnTo>
                      <a:pt x="71" y="6"/>
                    </a:lnTo>
                    <a:lnTo>
                      <a:pt x="64" y="4"/>
                    </a:lnTo>
                    <a:lnTo>
                      <a:pt x="53" y="3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17" y="0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13"/>
                    </a:lnTo>
                    <a:lnTo>
                      <a:pt x="6" y="23"/>
                    </a:lnTo>
                    <a:lnTo>
                      <a:pt x="6" y="23"/>
                    </a:lnTo>
                    <a:lnTo>
                      <a:pt x="3" y="30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11" y="37"/>
                    </a:lnTo>
                    <a:lnTo>
                      <a:pt x="22" y="40"/>
                    </a:lnTo>
                    <a:lnTo>
                      <a:pt x="30" y="45"/>
                    </a:lnTo>
                    <a:lnTo>
                      <a:pt x="35" y="48"/>
                    </a:lnTo>
                    <a:lnTo>
                      <a:pt x="35" y="48"/>
                    </a:lnTo>
                    <a:lnTo>
                      <a:pt x="43" y="62"/>
                    </a:lnTo>
                    <a:lnTo>
                      <a:pt x="48" y="69"/>
                    </a:lnTo>
                    <a:lnTo>
                      <a:pt x="51" y="77"/>
                    </a:lnTo>
                    <a:lnTo>
                      <a:pt x="51" y="77"/>
                    </a:lnTo>
                    <a:lnTo>
                      <a:pt x="51" y="77"/>
                    </a:lnTo>
                    <a:lnTo>
                      <a:pt x="55" y="72"/>
                    </a:lnTo>
                    <a:lnTo>
                      <a:pt x="61" y="69"/>
                    </a:lnTo>
                    <a:lnTo>
                      <a:pt x="61" y="69"/>
                    </a:lnTo>
                    <a:lnTo>
                      <a:pt x="66" y="68"/>
                    </a:lnTo>
                    <a:lnTo>
                      <a:pt x="72" y="66"/>
                    </a:lnTo>
                    <a:lnTo>
                      <a:pt x="78" y="62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4" y="39"/>
                    </a:lnTo>
                    <a:lnTo>
                      <a:pt x="87" y="29"/>
                    </a:lnTo>
                    <a:lnTo>
                      <a:pt x="88" y="26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81" y="13"/>
                    </a:lnTo>
                    <a:lnTo>
                      <a:pt x="75" y="8"/>
                    </a:lnTo>
                    <a:lnTo>
                      <a:pt x="71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0" name="Freeform 713"/>
              <p:cNvSpPr>
                <a:spLocks/>
              </p:cNvSpPr>
              <p:nvPr/>
            </p:nvSpPr>
            <p:spPr bwMode="auto">
              <a:xfrm>
                <a:off x="4784690" y="2248738"/>
                <a:ext cx="137507" cy="124647"/>
              </a:xfrm>
              <a:custGeom>
                <a:avLst/>
                <a:gdLst>
                  <a:gd name="T0" fmla="*/ 125 w 139"/>
                  <a:gd name="T1" fmla="*/ 88 h 126"/>
                  <a:gd name="T2" fmla="*/ 138 w 139"/>
                  <a:gd name="T3" fmla="*/ 74 h 126"/>
                  <a:gd name="T4" fmla="*/ 139 w 139"/>
                  <a:gd name="T5" fmla="*/ 67 h 126"/>
                  <a:gd name="T6" fmla="*/ 135 w 139"/>
                  <a:gd name="T7" fmla="*/ 62 h 126"/>
                  <a:gd name="T8" fmla="*/ 126 w 139"/>
                  <a:gd name="T9" fmla="*/ 55 h 126"/>
                  <a:gd name="T10" fmla="*/ 123 w 139"/>
                  <a:gd name="T11" fmla="*/ 49 h 126"/>
                  <a:gd name="T12" fmla="*/ 112 w 139"/>
                  <a:gd name="T13" fmla="*/ 13 h 126"/>
                  <a:gd name="T14" fmla="*/ 109 w 139"/>
                  <a:gd name="T15" fmla="*/ 7 h 126"/>
                  <a:gd name="T16" fmla="*/ 104 w 139"/>
                  <a:gd name="T17" fmla="*/ 7 h 126"/>
                  <a:gd name="T18" fmla="*/ 93 w 139"/>
                  <a:gd name="T19" fmla="*/ 10 h 126"/>
                  <a:gd name="T20" fmla="*/ 90 w 139"/>
                  <a:gd name="T21" fmla="*/ 9 h 126"/>
                  <a:gd name="T22" fmla="*/ 90 w 139"/>
                  <a:gd name="T23" fmla="*/ 1 h 126"/>
                  <a:gd name="T24" fmla="*/ 86 w 139"/>
                  <a:gd name="T25" fmla="*/ 0 h 126"/>
                  <a:gd name="T26" fmla="*/ 74 w 139"/>
                  <a:gd name="T27" fmla="*/ 1 h 126"/>
                  <a:gd name="T28" fmla="*/ 72 w 139"/>
                  <a:gd name="T29" fmla="*/ 7 h 126"/>
                  <a:gd name="T30" fmla="*/ 71 w 139"/>
                  <a:gd name="T31" fmla="*/ 10 h 126"/>
                  <a:gd name="T32" fmla="*/ 59 w 139"/>
                  <a:gd name="T33" fmla="*/ 15 h 126"/>
                  <a:gd name="T34" fmla="*/ 44 w 139"/>
                  <a:gd name="T35" fmla="*/ 16 h 126"/>
                  <a:gd name="T36" fmla="*/ 41 w 139"/>
                  <a:gd name="T37" fmla="*/ 17 h 126"/>
                  <a:gd name="T38" fmla="*/ 35 w 139"/>
                  <a:gd name="T39" fmla="*/ 30 h 126"/>
                  <a:gd name="T40" fmla="*/ 32 w 139"/>
                  <a:gd name="T41" fmla="*/ 51 h 126"/>
                  <a:gd name="T42" fmla="*/ 23 w 139"/>
                  <a:gd name="T43" fmla="*/ 59 h 126"/>
                  <a:gd name="T44" fmla="*/ 12 w 139"/>
                  <a:gd name="T45" fmla="*/ 62 h 126"/>
                  <a:gd name="T46" fmla="*/ 6 w 139"/>
                  <a:gd name="T47" fmla="*/ 65 h 126"/>
                  <a:gd name="T48" fmla="*/ 2 w 139"/>
                  <a:gd name="T49" fmla="*/ 70 h 126"/>
                  <a:gd name="T50" fmla="*/ 0 w 139"/>
                  <a:gd name="T51" fmla="*/ 116 h 126"/>
                  <a:gd name="T52" fmla="*/ 2 w 139"/>
                  <a:gd name="T53" fmla="*/ 126 h 126"/>
                  <a:gd name="T54" fmla="*/ 55 w 139"/>
                  <a:gd name="T55" fmla="*/ 126 h 126"/>
                  <a:gd name="T56" fmla="*/ 94 w 139"/>
                  <a:gd name="T57" fmla="*/ 126 h 126"/>
                  <a:gd name="T58" fmla="*/ 110 w 139"/>
                  <a:gd name="T59" fmla="*/ 119 h 126"/>
                  <a:gd name="T60" fmla="*/ 122 w 139"/>
                  <a:gd name="T61" fmla="*/ 110 h 126"/>
                  <a:gd name="T62" fmla="*/ 123 w 139"/>
                  <a:gd name="T63" fmla="*/ 109 h 126"/>
                  <a:gd name="T64" fmla="*/ 123 w 139"/>
                  <a:gd name="T65" fmla="*/ 97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9" h="126">
                    <a:moveTo>
                      <a:pt x="125" y="88"/>
                    </a:moveTo>
                    <a:lnTo>
                      <a:pt x="125" y="88"/>
                    </a:lnTo>
                    <a:lnTo>
                      <a:pt x="133" y="80"/>
                    </a:lnTo>
                    <a:lnTo>
                      <a:pt x="138" y="74"/>
                    </a:lnTo>
                    <a:lnTo>
                      <a:pt x="139" y="71"/>
                    </a:lnTo>
                    <a:lnTo>
                      <a:pt x="139" y="67"/>
                    </a:lnTo>
                    <a:lnTo>
                      <a:pt x="139" y="67"/>
                    </a:lnTo>
                    <a:lnTo>
                      <a:pt x="135" y="62"/>
                    </a:lnTo>
                    <a:lnTo>
                      <a:pt x="130" y="58"/>
                    </a:lnTo>
                    <a:lnTo>
                      <a:pt x="126" y="55"/>
                    </a:lnTo>
                    <a:lnTo>
                      <a:pt x="123" y="49"/>
                    </a:lnTo>
                    <a:lnTo>
                      <a:pt x="123" y="49"/>
                    </a:lnTo>
                    <a:lnTo>
                      <a:pt x="116" y="26"/>
                    </a:lnTo>
                    <a:lnTo>
                      <a:pt x="112" y="13"/>
                    </a:lnTo>
                    <a:lnTo>
                      <a:pt x="109" y="7"/>
                    </a:lnTo>
                    <a:lnTo>
                      <a:pt x="109" y="7"/>
                    </a:lnTo>
                    <a:lnTo>
                      <a:pt x="106" y="6"/>
                    </a:lnTo>
                    <a:lnTo>
                      <a:pt x="104" y="7"/>
                    </a:lnTo>
                    <a:lnTo>
                      <a:pt x="97" y="9"/>
                    </a:lnTo>
                    <a:lnTo>
                      <a:pt x="93" y="10"/>
                    </a:lnTo>
                    <a:lnTo>
                      <a:pt x="90" y="10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90" y="1"/>
                    </a:lnTo>
                    <a:lnTo>
                      <a:pt x="88" y="1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74" y="1"/>
                    </a:lnTo>
                    <a:lnTo>
                      <a:pt x="74" y="1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1" y="10"/>
                    </a:lnTo>
                    <a:lnTo>
                      <a:pt x="68" y="12"/>
                    </a:lnTo>
                    <a:lnTo>
                      <a:pt x="59" y="15"/>
                    </a:lnTo>
                    <a:lnTo>
                      <a:pt x="51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1" y="17"/>
                    </a:lnTo>
                    <a:lnTo>
                      <a:pt x="38" y="20"/>
                    </a:lnTo>
                    <a:lnTo>
                      <a:pt x="35" y="30"/>
                    </a:lnTo>
                    <a:lnTo>
                      <a:pt x="32" y="51"/>
                    </a:lnTo>
                    <a:lnTo>
                      <a:pt x="32" y="51"/>
                    </a:lnTo>
                    <a:lnTo>
                      <a:pt x="29" y="55"/>
                    </a:lnTo>
                    <a:lnTo>
                      <a:pt x="23" y="59"/>
                    </a:lnTo>
                    <a:lnTo>
                      <a:pt x="17" y="61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6" y="65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0" y="116"/>
                    </a:lnTo>
                    <a:lnTo>
                      <a:pt x="0" y="116"/>
                    </a:lnTo>
                    <a:lnTo>
                      <a:pt x="0" y="123"/>
                    </a:lnTo>
                    <a:lnTo>
                      <a:pt x="2" y="126"/>
                    </a:lnTo>
                    <a:lnTo>
                      <a:pt x="2" y="126"/>
                    </a:lnTo>
                    <a:lnTo>
                      <a:pt x="55" y="126"/>
                    </a:lnTo>
                    <a:lnTo>
                      <a:pt x="94" y="126"/>
                    </a:lnTo>
                    <a:lnTo>
                      <a:pt x="94" y="126"/>
                    </a:lnTo>
                    <a:lnTo>
                      <a:pt x="103" y="123"/>
                    </a:lnTo>
                    <a:lnTo>
                      <a:pt x="110" y="119"/>
                    </a:lnTo>
                    <a:lnTo>
                      <a:pt x="117" y="114"/>
                    </a:lnTo>
                    <a:lnTo>
                      <a:pt x="122" y="110"/>
                    </a:lnTo>
                    <a:lnTo>
                      <a:pt x="122" y="110"/>
                    </a:lnTo>
                    <a:lnTo>
                      <a:pt x="123" y="109"/>
                    </a:lnTo>
                    <a:lnTo>
                      <a:pt x="123" y="109"/>
                    </a:lnTo>
                    <a:lnTo>
                      <a:pt x="123" y="97"/>
                    </a:lnTo>
                    <a:lnTo>
                      <a:pt x="125" y="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1" name="Freeform 714"/>
              <p:cNvSpPr>
                <a:spLocks/>
              </p:cNvSpPr>
              <p:nvPr/>
            </p:nvSpPr>
            <p:spPr bwMode="auto">
              <a:xfrm>
                <a:off x="4784690" y="2248738"/>
                <a:ext cx="137507" cy="124647"/>
              </a:xfrm>
              <a:custGeom>
                <a:avLst/>
                <a:gdLst>
                  <a:gd name="T0" fmla="*/ 125 w 139"/>
                  <a:gd name="T1" fmla="*/ 88 h 126"/>
                  <a:gd name="T2" fmla="*/ 138 w 139"/>
                  <a:gd name="T3" fmla="*/ 74 h 126"/>
                  <a:gd name="T4" fmla="*/ 139 w 139"/>
                  <a:gd name="T5" fmla="*/ 67 h 126"/>
                  <a:gd name="T6" fmla="*/ 135 w 139"/>
                  <a:gd name="T7" fmla="*/ 62 h 126"/>
                  <a:gd name="T8" fmla="*/ 126 w 139"/>
                  <a:gd name="T9" fmla="*/ 55 h 126"/>
                  <a:gd name="T10" fmla="*/ 123 w 139"/>
                  <a:gd name="T11" fmla="*/ 49 h 126"/>
                  <a:gd name="T12" fmla="*/ 112 w 139"/>
                  <a:gd name="T13" fmla="*/ 13 h 126"/>
                  <a:gd name="T14" fmla="*/ 109 w 139"/>
                  <a:gd name="T15" fmla="*/ 7 h 126"/>
                  <a:gd name="T16" fmla="*/ 104 w 139"/>
                  <a:gd name="T17" fmla="*/ 7 h 126"/>
                  <a:gd name="T18" fmla="*/ 93 w 139"/>
                  <a:gd name="T19" fmla="*/ 10 h 126"/>
                  <a:gd name="T20" fmla="*/ 90 w 139"/>
                  <a:gd name="T21" fmla="*/ 9 h 126"/>
                  <a:gd name="T22" fmla="*/ 90 w 139"/>
                  <a:gd name="T23" fmla="*/ 1 h 126"/>
                  <a:gd name="T24" fmla="*/ 86 w 139"/>
                  <a:gd name="T25" fmla="*/ 0 h 126"/>
                  <a:gd name="T26" fmla="*/ 74 w 139"/>
                  <a:gd name="T27" fmla="*/ 1 h 126"/>
                  <a:gd name="T28" fmla="*/ 72 w 139"/>
                  <a:gd name="T29" fmla="*/ 7 h 126"/>
                  <a:gd name="T30" fmla="*/ 71 w 139"/>
                  <a:gd name="T31" fmla="*/ 10 h 126"/>
                  <a:gd name="T32" fmla="*/ 59 w 139"/>
                  <a:gd name="T33" fmla="*/ 15 h 126"/>
                  <a:gd name="T34" fmla="*/ 44 w 139"/>
                  <a:gd name="T35" fmla="*/ 16 h 126"/>
                  <a:gd name="T36" fmla="*/ 41 w 139"/>
                  <a:gd name="T37" fmla="*/ 17 h 126"/>
                  <a:gd name="T38" fmla="*/ 35 w 139"/>
                  <a:gd name="T39" fmla="*/ 30 h 126"/>
                  <a:gd name="T40" fmla="*/ 32 w 139"/>
                  <a:gd name="T41" fmla="*/ 51 h 126"/>
                  <a:gd name="T42" fmla="*/ 23 w 139"/>
                  <a:gd name="T43" fmla="*/ 59 h 126"/>
                  <a:gd name="T44" fmla="*/ 12 w 139"/>
                  <a:gd name="T45" fmla="*/ 62 h 126"/>
                  <a:gd name="T46" fmla="*/ 6 w 139"/>
                  <a:gd name="T47" fmla="*/ 65 h 126"/>
                  <a:gd name="T48" fmla="*/ 2 w 139"/>
                  <a:gd name="T49" fmla="*/ 70 h 126"/>
                  <a:gd name="T50" fmla="*/ 0 w 139"/>
                  <a:gd name="T51" fmla="*/ 116 h 126"/>
                  <a:gd name="T52" fmla="*/ 2 w 139"/>
                  <a:gd name="T53" fmla="*/ 126 h 126"/>
                  <a:gd name="T54" fmla="*/ 55 w 139"/>
                  <a:gd name="T55" fmla="*/ 126 h 126"/>
                  <a:gd name="T56" fmla="*/ 94 w 139"/>
                  <a:gd name="T57" fmla="*/ 126 h 126"/>
                  <a:gd name="T58" fmla="*/ 110 w 139"/>
                  <a:gd name="T59" fmla="*/ 119 h 126"/>
                  <a:gd name="T60" fmla="*/ 122 w 139"/>
                  <a:gd name="T61" fmla="*/ 110 h 126"/>
                  <a:gd name="T62" fmla="*/ 123 w 139"/>
                  <a:gd name="T63" fmla="*/ 109 h 126"/>
                  <a:gd name="T64" fmla="*/ 123 w 139"/>
                  <a:gd name="T65" fmla="*/ 97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9" h="126">
                    <a:moveTo>
                      <a:pt x="125" y="88"/>
                    </a:moveTo>
                    <a:lnTo>
                      <a:pt x="125" y="88"/>
                    </a:lnTo>
                    <a:lnTo>
                      <a:pt x="133" y="80"/>
                    </a:lnTo>
                    <a:lnTo>
                      <a:pt x="138" y="74"/>
                    </a:lnTo>
                    <a:lnTo>
                      <a:pt x="139" y="71"/>
                    </a:lnTo>
                    <a:lnTo>
                      <a:pt x="139" y="67"/>
                    </a:lnTo>
                    <a:lnTo>
                      <a:pt x="139" y="67"/>
                    </a:lnTo>
                    <a:lnTo>
                      <a:pt x="135" y="62"/>
                    </a:lnTo>
                    <a:lnTo>
                      <a:pt x="130" y="58"/>
                    </a:lnTo>
                    <a:lnTo>
                      <a:pt x="126" y="55"/>
                    </a:lnTo>
                    <a:lnTo>
                      <a:pt x="123" y="49"/>
                    </a:lnTo>
                    <a:lnTo>
                      <a:pt x="123" y="49"/>
                    </a:lnTo>
                    <a:lnTo>
                      <a:pt x="116" y="26"/>
                    </a:lnTo>
                    <a:lnTo>
                      <a:pt x="112" y="13"/>
                    </a:lnTo>
                    <a:lnTo>
                      <a:pt x="109" y="7"/>
                    </a:lnTo>
                    <a:lnTo>
                      <a:pt x="109" y="7"/>
                    </a:lnTo>
                    <a:lnTo>
                      <a:pt x="106" y="6"/>
                    </a:lnTo>
                    <a:lnTo>
                      <a:pt x="104" y="7"/>
                    </a:lnTo>
                    <a:lnTo>
                      <a:pt x="97" y="9"/>
                    </a:lnTo>
                    <a:lnTo>
                      <a:pt x="93" y="10"/>
                    </a:lnTo>
                    <a:lnTo>
                      <a:pt x="90" y="10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90" y="1"/>
                    </a:lnTo>
                    <a:lnTo>
                      <a:pt x="88" y="1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74" y="1"/>
                    </a:lnTo>
                    <a:lnTo>
                      <a:pt x="74" y="1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1" y="10"/>
                    </a:lnTo>
                    <a:lnTo>
                      <a:pt x="68" y="12"/>
                    </a:lnTo>
                    <a:lnTo>
                      <a:pt x="59" y="15"/>
                    </a:lnTo>
                    <a:lnTo>
                      <a:pt x="51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1" y="17"/>
                    </a:lnTo>
                    <a:lnTo>
                      <a:pt x="38" y="20"/>
                    </a:lnTo>
                    <a:lnTo>
                      <a:pt x="35" y="30"/>
                    </a:lnTo>
                    <a:lnTo>
                      <a:pt x="32" y="51"/>
                    </a:lnTo>
                    <a:lnTo>
                      <a:pt x="32" y="51"/>
                    </a:lnTo>
                    <a:lnTo>
                      <a:pt x="29" y="55"/>
                    </a:lnTo>
                    <a:lnTo>
                      <a:pt x="23" y="59"/>
                    </a:lnTo>
                    <a:lnTo>
                      <a:pt x="17" y="61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6" y="65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0" y="116"/>
                    </a:lnTo>
                    <a:lnTo>
                      <a:pt x="0" y="116"/>
                    </a:lnTo>
                    <a:lnTo>
                      <a:pt x="0" y="123"/>
                    </a:lnTo>
                    <a:lnTo>
                      <a:pt x="2" y="126"/>
                    </a:lnTo>
                    <a:lnTo>
                      <a:pt x="2" y="126"/>
                    </a:lnTo>
                    <a:lnTo>
                      <a:pt x="55" y="126"/>
                    </a:lnTo>
                    <a:lnTo>
                      <a:pt x="94" y="126"/>
                    </a:lnTo>
                    <a:lnTo>
                      <a:pt x="94" y="126"/>
                    </a:lnTo>
                    <a:lnTo>
                      <a:pt x="103" y="123"/>
                    </a:lnTo>
                    <a:lnTo>
                      <a:pt x="110" y="119"/>
                    </a:lnTo>
                    <a:lnTo>
                      <a:pt x="117" y="114"/>
                    </a:lnTo>
                    <a:lnTo>
                      <a:pt x="122" y="110"/>
                    </a:lnTo>
                    <a:lnTo>
                      <a:pt x="122" y="110"/>
                    </a:lnTo>
                    <a:lnTo>
                      <a:pt x="123" y="109"/>
                    </a:lnTo>
                    <a:lnTo>
                      <a:pt x="123" y="109"/>
                    </a:lnTo>
                    <a:lnTo>
                      <a:pt x="123" y="97"/>
                    </a:lnTo>
                    <a:lnTo>
                      <a:pt x="125" y="8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2" name="Freeform 715"/>
              <p:cNvSpPr>
                <a:spLocks/>
              </p:cNvSpPr>
              <p:nvPr/>
            </p:nvSpPr>
            <p:spPr bwMode="auto">
              <a:xfrm>
                <a:off x="4604645" y="2380309"/>
                <a:ext cx="103872" cy="66280"/>
              </a:xfrm>
              <a:custGeom>
                <a:avLst/>
                <a:gdLst>
                  <a:gd name="T0" fmla="*/ 98 w 105"/>
                  <a:gd name="T1" fmla="*/ 35 h 67"/>
                  <a:gd name="T2" fmla="*/ 98 w 105"/>
                  <a:gd name="T3" fmla="*/ 35 h 67"/>
                  <a:gd name="T4" fmla="*/ 68 w 105"/>
                  <a:gd name="T5" fmla="*/ 19 h 67"/>
                  <a:gd name="T6" fmla="*/ 68 w 105"/>
                  <a:gd name="T7" fmla="*/ 19 h 67"/>
                  <a:gd name="T8" fmla="*/ 63 w 105"/>
                  <a:gd name="T9" fmla="*/ 18 h 67"/>
                  <a:gd name="T10" fmla="*/ 60 w 105"/>
                  <a:gd name="T11" fmla="*/ 18 h 67"/>
                  <a:gd name="T12" fmla="*/ 59 w 105"/>
                  <a:gd name="T13" fmla="*/ 16 h 67"/>
                  <a:gd name="T14" fmla="*/ 59 w 105"/>
                  <a:gd name="T15" fmla="*/ 16 h 67"/>
                  <a:gd name="T16" fmla="*/ 56 w 105"/>
                  <a:gd name="T17" fmla="*/ 9 h 67"/>
                  <a:gd name="T18" fmla="*/ 55 w 105"/>
                  <a:gd name="T19" fmla="*/ 6 h 67"/>
                  <a:gd name="T20" fmla="*/ 52 w 105"/>
                  <a:gd name="T21" fmla="*/ 3 h 67"/>
                  <a:gd name="T22" fmla="*/ 52 w 105"/>
                  <a:gd name="T23" fmla="*/ 3 h 67"/>
                  <a:gd name="T24" fmla="*/ 39 w 105"/>
                  <a:gd name="T25" fmla="*/ 0 h 67"/>
                  <a:gd name="T26" fmla="*/ 39 w 105"/>
                  <a:gd name="T27" fmla="*/ 0 h 67"/>
                  <a:gd name="T28" fmla="*/ 27 w 105"/>
                  <a:gd name="T29" fmla="*/ 10 h 67"/>
                  <a:gd name="T30" fmla="*/ 27 w 105"/>
                  <a:gd name="T31" fmla="*/ 10 h 67"/>
                  <a:gd name="T32" fmla="*/ 20 w 105"/>
                  <a:gd name="T33" fmla="*/ 15 h 67"/>
                  <a:gd name="T34" fmla="*/ 13 w 105"/>
                  <a:gd name="T35" fmla="*/ 21 h 67"/>
                  <a:gd name="T36" fmla="*/ 5 w 105"/>
                  <a:gd name="T37" fmla="*/ 25 h 67"/>
                  <a:gd name="T38" fmla="*/ 1 w 105"/>
                  <a:gd name="T39" fmla="*/ 29 h 67"/>
                  <a:gd name="T40" fmla="*/ 1 w 105"/>
                  <a:gd name="T41" fmla="*/ 29 h 67"/>
                  <a:gd name="T42" fmla="*/ 0 w 105"/>
                  <a:gd name="T43" fmla="*/ 31 h 67"/>
                  <a:gd name="T44" fmla="*/ 1 w 105"/>
                  <a:gd name="T45" fmla="*/ 32 h 67"/>
                  <a:gd name="T46" fmla="*/ 4 w 105"/>
                  <a:gd name="T47" fmla="*/ 38 h 67"/>
                  <a:gd name="T48" fmla="*/ 16 w 105"/>
                  <a:gd name="T49" fmla="*/ 50 h 67"/>
                  <a:gd name="T50" fmla="*/ 16 w 105"/>
                  <a:gd name="T51" fmla="*/ 50 h 67"/>
                  <a:gd name="T52" fmla="*/ 21 w 105"/>
                  <a:gd name="T53" fmla="*/ 54 h 67"/>
                  <a:gd name="T54" fmla="*/ 27 w 105"/>
                  <a:gd name="T55" fmla="*/ 58 h 67"/>
                  <a:gd name="T56" fmla="*/ 33 w 105"/>
                  <a:gd name="T57" fmla="*/ 60 h 67"/>
                  <a:gd name="T58" fmla="*/ 40 w 105"/>
                  <a:gd name="T59" fmla="*/ 60 h 67"/>
                  <a:gd name="T60" fmla="*/ 40 w 105"/>
                  <a:gd name="T61" fmla="*/ 60 h 67"/>
                  <a:gd name="T62" fmla="*/ 47 w 105"/>
                  <a:gd name="T63" fmla="*/ 60 h 67"/>
                  <a:gd name="T64" fmla="*/ 55 w 105"/>
                  <a:gd name="T65" fmla="*/ 58 h 67"/>
                  <a:gd name="T66" fmla="*/ 60 w 105"/>
                  <a:gd name="T67" fmla="*/ 55 h 67"/>
                  <a:gd name="T68" fmla="*/ 65 w 105"/>
                  <a:gd name="T69" fmla="*/ 55 h 67"/>
                  <a:gd name="T70" fmla="*/ 65 w 105"/>
                  <a:gd name="T71" fmla="*/ 55 h 67"/>
                  <a:gd name="T72" fmla="*/ 66 w 105"/>
                  <a:gd name="T73" fmla="*/ 57 h 67"/>
                  <a:gd name="T74" fmla="*/ 69 w 105"/>
                  <a:gd name="T75" fmla="*/ 60 h 67"/>
                  <a:gd name="T76" fmla="*/ 72 w 105"/>
                  <a:gd name="T77" fmla="*/ 67 h 67"/>
                  <a:gd name="T78" fmla="*/ 72 w 105"/>
                  <a:gd name="T79" fmla="*/ 67 h 67"/>
                  <a:gd name="T80" fmla="*/ 82 w 105"/>
                  <a:gd name="T81" fmla="*/ 63 h 67"/>
                  <a:gd name="T82" fmla="*/ 89 w 105"/>
                  <a:gd name="T83" fmla="*/ 60 h 67"/>
                  <a:gd name="T84" fmla="*/ 89 w 105"/>
                  <a:gd name="T85" fmla="*/ 60 h 67"/>
                  <a:gd name="T86" fmla="*/ 97 w 105"/>
                  <a:gd name="T87" fmla="*/ 52 h 67"/>
                  <a:gd name="T88" fmla="*/ 101 w 105"/>
                  <a:gd name="T89" fmla="*/ 50 h 67"/>
                  <a:gd name="T90" fmla="*/ 104 w 105"/>
                  <a:gd name="T91" fmla="*/ 48 h 67"/>
                  <a:gd name="T92" fmla="*/ 105 w 105"/>
                  <a:gd name="T93" fmla="*/ 48 h 67"/>
                  <a:gd name="T94" fmla="*/ 105 w 105"/>
                  <a:gd name="T95" fmla="*/ 48 h 67"/>
                  <a:gd name="T96" fmla="*/ 102 w 105"/>
                  <a:gd name="T97" fmla="*/ 39 h 67"/>
                  <a:gd name="T98" fmla="*/ 101 w 105"/>
                  <a:gd name="T99" fmla="*/ 37 h 67"/>
                  <a:gd name="T100" fmla="*/ 98 w 105"/>
                  <a:gd name="T101" fmla="*/ 3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5" h="67">
                    <a:moveTo>
                      <a:pt x="98" y="35"/>
                    </a:moveTo>
                    <a:lnTo>
                      <a:pt x="98" y="35"/>
                    </a:lnTo>
                    <a:lnTo>
                      <a:pt x="68" y="19"/>
                    </a:lnTo>
                    <a:lnTo>
                      <a:pt x="68" y="19"/>
                    </a:lnTo>
                    <a:lnTo>
                      <a:pt x="63" y="18"/>
                    </a:lnTo>
                    <a:lnTo>
                      <a:pt x="60" y="18"/>
                    </a:lnTo>
                    <a:lnTo>
                      <a:pt x="59" y="16"/>
                    </a:lnTo>
                    <a:lnTo>
                      <a:pt x="59" y="16"/>
                    </a:lnTo>
                    <a:lnTo>
                      <a:pt x="56" y="9"/>
                    </a:lnTo>
                    <a:lnTo>
                      <a:pt x="55" y="6"/>
                    </a:lnTo>
                    <a:lnTo>
                      <a:pt x="52" y="3"/>
                    </a:lnTo>
                    <a:lnTo>
                      <a:pt x="52" y="3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27" y="10"/>
                    </a:lnTo>
                    <a:lnTo>
                      <a:pt x="27" y="10"/>
                    </a:lnTo>
                    <a:lnTo>
                      <a:pt x="20" y="15"/>
                    </a:lnTo>
                    <a:lnTo>
                      <a:pt x="13" y="21"/>
                    </a:lnTo>
                    <a:lnTo>
                      <a:pt x="5" y="25"/>
                    </a:lnTo>
                    <a:lnTo>
                      <a:pt x="1" y="29"/>
                    </a:lnTo>
                    <a:lnTo>
                      <a:pt x="1" y="29"/>
                    </a:lnTo>
                    <a:lnTo>
                      <a:pt x="0" y="31"/>
                    </a:lnTo>
                    <a:lnTo>
                      <a:pt x="1" y="32"/>
                    </a:lnTo>
                    <a:lnTo>
                      <a:pt x="4" y="38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21" y="54"/>
                    </a:lnTo>
                    <a:lnTo>
                      <a:pt x="27" y="58"/>
                    </a:lnTo>
                    <a:lnTo>
                      <a:pt x="33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7" y="60"/>
                    </a:lnTo>
                    <a:lnTo>
                      <a:pt x="55" y="58"/>
                    </a:lnTo>
                    <a:lnTo>
                      <a:pt x="60" y="55"/>
                    </a:lnTo>
                    <a:lnTo>
                      <a:pt x="65" y="55"/>
                    </a:lnTo>
                    <a:lnTo>
                      <a:pt x="65" y="55"/>
                    </a:lnTo>
                    <a:lnTo>
                      <a:pt x="66" y="57"/>
                    </a:lnTo>
                    <a:lnTo>
                      <a:pt x="69" y="60"/>
                    </a:lnTo>
                    <a:lnTo>
                      <a:pt x="72" y="67"/>
                    </a:lnTo>
                    <a:lnTo>
                      <a:pt x="72" y="67"/>
                    </a:lnTo>
                    <a:lnTo>
                      <a:pt x="82" y="63"/>
                    </a:lnTo>
                    <a:lnTo>
                      <a:pt x="89" y="60"/>
                    </a:lnTo>
                    <a:lnTo>
                      <a:pt x="89" y="60"/>
                    </a:lnTo>
                    <a:lnTo>
                      <a:pt x="97" y="52"/>
                    </a:lnTo>
                    <a:lnTo>
                      <a:pt x="101" y="50"/>
                    </a:lnTo>
                    <a:lnTo>
                      <a:pt x="104" y="48"/>
                    </a:lnTo>
                    <a:lnTo>
                      <a:pt x="105" y="48"/>
                    </a:lnTo>
                    <a:lnTo>
                      <a:pt x="105" y="48"/>
                    </a:lnTo>
                    <a:lnTo>
                      <a:pt x="102" y="39"/>
                    </a:lnTo>
                    <a:lnTo>
                      <a:pt x="101" y="37"/>
                    </a:lnTo>
                    <a:lnTo>
                      <a:pt x="98" y="3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3" name="Freeform 716"/>
              <p:cNvSpPr>
                <a:spLocks/>
              </p:cNvSpPr>
              <p:nvPr/>
            </p:nvSpPr>
            <p:spPr bwMode="auto">
              <a:xfrm>
                <a:off x="4604645" y="2380309"/>
                <a:ext cx="103872" cy="66280"/>
              </a:xfrm>
              <a:custGeom>
                <a:avLst/>
                <a:gdLst>
                  <a:gd name="T0" fmla="*/ 98 w 105"/>
                  <a:gd name="T1" fmla="*/ 35 h 67"/>
                  <a:gd name="T2" fmla="*/ 98 w 105"/>
                  <a:gd name="T3" fmla="*/ 35 h 67"/>
                  <a:gd name="T4" fmla="*/ 68 w 105"/>
                  <a:gd name="T5" fmla="*/ 19 h 67"/>
                  <a:gd name="T6" fmla="*/ 68 w 105"/>
                  <a:gd name="T7" fmla="*/ 19 h 67"/>
                  <a:gd name="T8" fmla="*/ 63 w 105"/>
                  <a:gd name="T9" fmla="*/ 18 h 67"/>
                  <a:gd name="T10" fmla="*/ 60 w 105"/>
                  <a:gd name="T11" fmla="*/ 18 h 67"/>
                  <a:gd name="T12" fmla="*/ 59 w 105"/>
                  <a:gd name="T13" fmla="*/ 16 h 67"/>
                  <a:gd name="T14" fmla="*/ 59 w 105"/>
                  <a:gd name="T15" fmla="*/ 16 h 67"/>
                  <a:gd name="T16" fmla="*/ 56 w 105"/>
                  <a:gd name="T17" fmla="*/ 9 h 67"/>
                  <a:gd name="T18" fmla="*/ 55 w 105"/>
                  <a:gd name="T19" fmla="*/ 6 h 67"/>
                  <a:gd name="T20" fmla="*/ 52 w 105"/>
                  <a:gd name="T21" fmla="*/ 3 h 67"/>
                  <a:gd name="T22" fmla="*/ 52 w 105"/>
                  <a:gd name="T23" fmla="*/ 3 h 67"/>
                  <a:gd name="T24" fmla="*/ 39 w 105"/>
                  <a:gd name="T25" fmla="*/ 0 h 67"/>
                  <a:gd name="T26" fmla="*/ 39 w 105"/>
                  <a:gd name="T27" fmla="*/ 0 h 67"/>
                  <a:gd name="T28" fmla="*/ 27 w 105"/>
                  <a:gd name="T29" fmla="*/ 10 h 67"/>
                  <a:gd name="T30" fmla="*/ 27 w 105"/>
                  <a:gd name="T31" fmla="*/ 10 h 67"/>
                  <a:gd name="T32" fmla="*/ 20 w 105"/>
                  <a:gd name="T33" fmla="*/ 15 h 67"/>
                  <a:gd name="T34" fmla="*/ 13 w 105"/>
                  <a:gd name="T35" fmla="*/ 21 h 67"/>
                  <a:gd name="T36" fmla="*/ 5 w 105"/>
                  <a:gd name="T37" fmla="*/ 25 h 67"/>
                  <a:gd name="T38" fmla="*/ 1 w 105"/>
                  <a:gd name="T39" fmla="*/ 29 h 67"/>
                  <a:gd name="T40" fmla="*/ 1 w 105"/>
                  <a:gd name="T41" fmla="*/ 29 h 67"/>
                  <a:gd name="T42" fmla="*/ 0 w 105"/>
                  <a:gd name="T43" fmla="*/ 31 h 67"/>
                  <a:gd name="T44" fmla="*/ 1 w 105"/>
                  <a:gd name="T45" fmla="*/ 32 h 67"/>
                  <a:gd name="T46" fmla="*/ 4 w 105"/>
                  <a:gd name="T47" fmla="*/ 38 h 67"/>
                  <a:gd name="T48" fmla="*/ 16 w 105"/>
                  <a:gd name="T49" fmla="*/ 50 h 67"/>
                  <a:gd name="T50" fmla="*/ 16 w 105"/>
                  <a:gd name="T51" fmla="*/ 50 h 67"/>
                  <a:gd name="T52" fmla="*/ 21 w 105"/>
                  <a:gd name="T53" fmla="*/ 54 h 67"/>
                  <a:gd name="T54" fmla="*/ 27 w 105"/>
                  <a:gd name="T55" fmla="*/ 58 h 67"/>
                  <a:gd name="T56" fmla="*/ 33 w 105"/>
                  <a:gd name="T57" fmla="*/ 60 h 67"/>
                  <a:gd name="T58" fmla="*/ 40 w 105"/>
                  <a:gd name="T59" fmla="*/ 60 h 67"/>
                  <a:gd name="T60" fmla="*/ 40 w 105"/>
                  <a:gd name="T61" fmla="*/ 60 h 67"/>
                  <a:gd name="T62" fmla="*/ 47 w 105"/>
                  <a:gd name="T63" fmla="*/ 60 h 67"/>
                  <a:gd name="T64" fmla="*/ 55 w 105"/>
                  <a:gd name="T65" fmla="*/ 58 h 67"/>
                  <a:gd name="T66" fmla="*/ 60 w 105"/>
                  <a:gd name="T67" fmla="*/ 55 h 67"/>
                  <a:gd name="T68" fmla="*/ 65 w 105"/>
                  <a:gd name="T69" fmla="*/ 55 h 67"/>
                  <a:gd name="T70" fmla="*/ 65 w 105"/>
                  <a:gd name="T71" fmla="*/ 55 h 67"/>
                  <a:gd name="T72" fmla="*/ 66 w 105"/>
                  <a:gd name="T73" fmla="*/ 57 h 67"/>
                  <a:gd name="T74" fmla="*/ 69 w 105"/>
                  <a:gd name="T75" fmla="*/ 60 h 67"/>
                  <a:gd name="T76" fmla="*/ 72 w 105"/>
                  <a:gd name="T77" fmla="*/ 67 h 67"/>
                  <a:gd name="T78" fmla="*/ 72 w 105"/>
                  <a:gd name="T79" fmla="*/ 67 h 67"/>
                  <a:gd name="T80" fmla="*/ 82 w 105"/>
                  <a:gd name="T81" fmla="*/ 63 h 67"/>
                  <a:gd name="T82" fmla="*/ 89 w 105"/>
                  <a:gd name="T83" fmla="*/ 60 h 67"/>
                  <a:gd name="T84" fmla="*/ 89 w 105"/>
                  <a:gd name="T85" fmla="*/ 60 h 67"/>
                  <a:gd name="T86" fmla="*/ 97 w 105"/>
                  <a:gd name="T87" fmla="*/ 52 h 67"/>
                  <a:gd name="T88" fmla="*/ 101 w 105"/>
                  <a:gd name="T89" fmla="*/ 50 h 67"/>
                  <a:gd name="T90" fmla="*/ 104 w 105"/>
                  <a:gd name="T91" fmla="*/ 48 h 67"/>
                  <a:gd name="T92" fmla="*/ 105 w 105"/>
                  <a:gd name="T93" fmla="*/ 48 h 67"/>
                  <a:gd name="T94" fmla="*/ 105 w 105"/>
                  <a:gd name="T95" fmla="*/ 48 h 67"/>
                  <a:gd name="T96" fmla="*/ 102 w 105"/>
                  <a:gd name="T97" fmla="*/ 39 h 67"/>
                  <a:gd name="T98" fmla="*/ 101 w 105"/>
                  <a:gd name="T99" fmla="*/ 37 h 67"/>
                  <a:gd name="T100" fmla="*/ 98 w 105"/>
                  <a:gd name="T101" fmla="*/ 3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5" h="67">
                    <a:moveTo>
                      <a:pt x="98" y="35"/>
                    </a:moveTo>
                    <a:lnTo>
                      <a:pt x="98" y="35"/>
                    </a:lnTo>
                    <a:lnTo>
                      <a:pt x="68" y="19"/>
                    </a:lnTo>
                    <a:lnTo>
                      <a:pt x="68" y="19"/>
                    </a:lnTo>
                    <a:lnTo>
                      <a:pt x="63" y="18"/>
                    </a:lnTo>
                    <a:lnTo>
                      <a:pt x="60" y="18"/>
                    </a:lnTo>
                    <a:lnTo>
                      <a:pt x="59" y="16"/>
                    </a:lnTo>
                    <a:lnTo>
                      <a:pt x="59" y="16"/>
                    </a:lnTo>
                    <a:lnTo>
                      <a:pt x="56" y="9"/>
                    </a:lnTo>
                    <a:lnTo>
                      <a:pt x="55" y="6"/>
                    </a:lnTo>
                    <a:lnTo>
                      <a:pt x="52" y="3"/>
                    </a:lnTo>
                    <a:lnTo>
                      <a:pt x="52" y="3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27" y="10"/>
                    </a:lnTo>
                    <a:lnTo>
                      <a:pt x="27" y="10"/>
                    </a:lnTo>
                    <a:lnTo>
                      <a:pt x="20" y="15"/>
                    </a:lnTo>
                    <a:lnTo>
                      <a:pt x="13" y="21"/>
                    </a:lnTo>
                    <a:lnTo>
                      <a:pt x="5" y="25"/>
                    </a:lnTo>
                    <a:lnTo>
                      <a:pt x="1" y="29"/>
                    </a:lnTo>
                    <a:lnTo>
                      <a:pt x="1" y="29"/>
                    </a:lnTo>
                    <a:lnTo>
                      <a:pt x="0" y="31"/>
                    </a:lnTo>
                    <a:lnTo>
                      <a:pt x="1" y="32"/>
                    </a:lnTo>
                    <a:lnTo>
                      <a:pt x="4" y="38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21" y="54"/>
                    </a:lnTo>
                    <a:lnTo>
                      <a:pt x="27" y="58"/>
                    </a:lnTo>
                    <a:lnTo>
                      <a:pt x="33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7" y="60"/>
                    </a:lnTo>
                    <a:lnTo>
                      <a:pt x="55" y="58"/>
                    </a:lnTo>
                    <a:lnTo>
                      <a:pt x="60" y="55"/>
                    </a:lnTo>
                    <a:lnTo>
                      <a:pt x="65" y="55"/>
                    </a:lnTo>
                    <a:lnTo>
                      <a:pt x="65" y="55"/>
                    </a:lnTo>
                    <a:lnTo>
                      <a:pt x="66" y="57"/>
                    </a:lnTo>
                    <a:lnTo>
                      <a:pt x="69" y="60"/>
                    </a:lnTo>
                    <a:lnTo>
                      <a:pt x="72" y="67"/>
                    </a:lnTo>
                    <a:lnTo>
                      <a:pt x="72" y="67"/>
                    </a:lnTo>
                    <a:lnTo>
                      <a:pt x="82" y="63"/>
                    </a:lnTo>
                    <a:lnTo>
                      <a:pt x="89" y="60"/>
                    </a:lnTo>
                    <a:lnTo>
                      <a:pt x="89" y="60"/>
                    </a:lnTo>
                    <a:lnTo>
                      <a:pt x="97" y="52"/>
                    </a:lnTo>
                    <a:lnTo>
                      <a:pt x="101" y="50"/>
                    </a:lnTo>
                    <a:lnTo>
                      <a:pt x="104" y="48"/>
                    </a:lnTo>
                    <a:lnTo>
                      <a:pt x="105" y="48"/>
                    </a:lnTo>
                    <a:lnTo>
                      <a:pt x="105" y="48"/>
                    </a:lnTo>
                    <a:lnTo>
                      <a:pt x="102" y="39"/>
                    </a:lnTo>
                    <a:lnTo>
                      <a:pt x="101" y="37"/>
                    </a:lnTo>
                    <a:lnTo>
                      <a:pt x="98" y="3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4" name="Freeform 717"/>
              <p:cNvSpPr>
                <a:spLocks/>
              </p:cNvSpPr>
              <p:nvPr/>
            </p:nvSpPr>
            <p:spPr bwMode="auto">
              <a:xfrm>
                <a:off x="4637291" y="2290287"/>
                <a:ext cx="153335" cy="143443"/>
              </a:xfrm>
              <a:custGeom>
                <a:avLst/>
                <a:gdLst>
                  <a:gd name="T0" fmla="*/ 155 w 155"/>
                  <a:gd name="T1" fmla="*/ 104 h 145"/>
                  <a:gd name="T2" fmla="*/ 155 w 155"/>
                  <a:gd name="T3" fmla="*/ 93 h 145"/>
                  <a:gd name="T4" fmla="*/ 153 w 155"/>
                  <a:gd name="T5" fmla="*/ 88 h 145"/>
                  <a:gd name="T6" fmla="*/ 149 w 155"/>
                  <a:gd name="T7" fmla="*/ 81 h 145"/>
                  <a:gd name="T8" fmla="*/ 149 w 155"/>
                  <a:gd name="T9" fmla="*/ 74 h 145"/>
                  <a:gd name="T10" fmla="*/ 151 w 155"/>
                  <a:gd name="T11" fmla="*/ 28 h 145"/>
                  <a:gd name="T12" fmla="*/ 146 w 155"/>
                  <a:gd name="T13" fmla="*/ 16 h 145"/>
                  <a:gd name="T14" fmla="*/ 137 w 155"/>
                  <a:gd name="T15" fmla="*/ 4 h 145"/>
                  <a:gd name="T16" fmla="*/ 98 w 155"/>
                  <a:gd name="T17" fmla="*/ 4 h 145"/>
                  <a:gd name="T18" fmla="*/ 87 w 155"/>
                  <a:gd name="T19" fmla="*/ 3 h 145"/>
                  <a:gd name="T20" fmla="*/ 77 w 155"/>
                  <a:gd name="T21" fmla="*/ 10 h 145"/>
                  <a:gd name="T22" fmla="*/ 74 w 155"/>
                  <a:gd name="T23" fmla="*/ 10 h 145"/>
                  <a:gd name="T24" fmla="*/ 71 w 155"/>
                  <a:gd name="T25" fmla="*/ 4 h 145"/>
                  <a:gd name="T26" fmla="*/ 67 w 155"/>
                  <a:gd name="T27" fmla="*/ 0 h 145"/>
                  <a:gd name="T28" fmla="*/ 64 w 155"/>
                  <a:gd name="T29" fmla="*/ 0 h 145"/>
                  <a:gd name="T30" fmla="*/ 42 w 155"/>
                  <a:gd name="T31" fmla="*/ 3 h 145"/>
                  <a:gd name="T32" fmla="*/ 22 w 155"/>
                  <a:gd name="T33" fmla="*/ 12 h 145"/>
                  <a:gd name="T34" fmla="*/ 16 w 155"/>
                  <a:gd name="T35" fmla="*/ 15 h 145"/>
                  <a:gd name="T36" fmla="*/ 0 w 155"/>
                  <a:gd name="T37" fmla="*/ 17 h 145"/>
                  <a:gd name="T38" fmla="*/ 0 w 155"/>
                  <a:gd name="T39" fmla="*/ 38 h 145"/>
                  <a:gd name="T40" fmla="*/ 1 w 155"/>
                  <a:gd name="T41" fmla="*/ 52 h 145"/>
                  <a:gd name="T42" fmla="*/ 6 w 155"/>
                  <a:gd name="T43" fmla="*/ 59 h 145"/>
                  <a:gd name="T44" fmla="*/ 9 w 155"/>
                  <a:gd name="T45" fmla="*/ 87 h 145"/>
                  <a:gd name="T46" fmla="*/ 7 w 155"/>
                  <a:gd name="T47" fmla="*/ 90 h 145"/>
                  <a:gd name="T48" fmla="*/ 6 w 155"/>
                  <a:gd name="T49" fmla="*/ 91 h 145"/>
                  <a:gd name="T50" fmla="*/ 19 w 155"/>
                  <a:gd name="T51" fmla="*/ 94 h 145"/>
                  <a:gd name="T52" fmla="*/ 23 w 155"/>
                  <a:gd name="T53" fmla="*/ 100 h 145"/>
                  <a:gd name="T54" fmla="*/ 26 w 155"/>
                  <a:gd name="T55" fmla="*/ 107 h 145"/>
                  <a:gd name="T56" fmla="*/ 30 w 155"/>
                  <a:gd name="T57" fmla="*/ 109 h 145"/>
                  <a:gd name="T58" fmla="*/ 35 w 155"/>
                  <a:gd name="T59" fmla="*/ 110 h 145"/>
                  <a:gd name="T60" fmla="*/ 65 w 155"/>
                  <a:gd name="T61" fmla="*/ 126 h 145"/>
                  <a:gd name="T62" fmla="*/ 68 w 155"/>
                  <a:gd name="T63" fmla="*/ 128 h 145"/>
                  <a:gd name="T64" fmla="*/ 72 w 155"/>
                  <a:gd name="T65" fmla="*/ 139 h 145"/>
                  <a:gd name="T66" fmla="*/ 81 w 155"/>
                  <a:gd name="T67" fmla="*/ 138 h 145"/>
                  <a:gd name="T68" fmla="*/ 88 w 155"/>
                  <a:gd name="T69" fmla="*/ 139 h 145"/>
                  <a:gd name="T70" fmla="*/ 93 w 155"/>
                  <a:gd name="T71" fmla="*/ 141 h 145"/>
                  <a:gd name="T72" fmla="*/ 104 w 155"/>
                  <a:gd name="T73" fmla="*/ 139 h 145"/>
                  <a:gd name="T74" fmla="*/ 110 w 155"/>
                  <a:gd name="T75" fmla="*/ 138 h 145"/>
                  <a:gd name="T76" fmla="*/ 119 w 155"/>
                  <a:gd name="T77" fmla="*/ 136 h 145"/>
                  <a:gd name="T78" fmla="*/ 135 w 155"/>
                  <a:gd name="T79" fmla="*/ 145 h 145"/>
                  <a:gd name="T80" fmla="*/ 136 w 155"/>
                  <a:gd name="T81" fmla="*/ 141 h 145"/>
                  <a:gd name="T82" fmla="*/ 137 w 155"/>
                  <a:gd name="T83" fmla="*/ 135 h 145"/>
                  <a:gd name="T84" fmla="*/ 140 w 155"/>
                  <a:gd name="T85" fmla="*/ 126 h 145"/>
                  <a:gd name="T86" fmla="*/ 153 w 155"/>
                  <a:gd name="T87" fmla="*/ 109 h 145"/>
                  <a:gd name="T88" fmla="*/ 155 w 155"/>
                  <a:gd name="T89" fmla="*/ 104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55" h="145">
                    <a:moveTo>
                      <a:pt x="155" y="104"/>
                    </a:moveTo>
                    <a:lnTo>
                      <a:pt x="155" y="104"/>
                    </a:lnTo>
                    <a:lnTo>
                      <a:pt x="155" y="97"/>
                    </a:lnTo>
                    <a:lnTo>
                      <a:pt x="155" y="93"/>
                    </a:lnTo>
                    <a:lnTo>
                      <a:pt x="153" y="88"/>
                    </a:lnTo>
                    <a:lnTo>
                      <a:pt x="153" y="88"/>
                    </a:lnTo>
                    <a:lnTo>
                      <a:pt x="151" y="84"/>
                    </a:lnTo>
                    <a:lnTo>
                      <a:pt x="149" y="81"/>
                    </a:lnTo>
                    <a:lnTo>
                      <a:pt x="149" y="74"/>
                    </a:lnTo>
                    <a:lnTo>
                      <a:pt x="149" y="74"/>
                    </a:lnTo>
                    <a:lnTo>
                      <a:pt x="151" y="28"/>
                    </a:lnTo>
                    <a:lnTo>
                      <a:pt x="151" y="28"/>
                    </a:lnTo>
                    <a:lnTo>
                      <a:pt x="149" y="22"/>
                    </a:lnTo>
                    <a:lnTo>
                      <a:pt x="146" y="16"/>
                    </a:lnTo>
                    <a:lnTo>
                      <a:pt x="137" y="4"/>
                    </a:lnTo>
                    <a:lnTo>
                      <a:pt x="137" y="4"/>
                    </a:lnTo>
                    <a:lnTo>
                      <a:pt x="111" y="4"/>
                    </a:lnTo>
                    <a:lnTo>
                      <a:pt x="98" y="4"/>
                    </a:lnTo>
                    <a:lnTo>
                      <a:pt x="87" y="3"/>
                    </a:lnTo>
                    <a:lnTo>
                      <a:pt x="87" y="3"/>
                    </a:lnTo>
                    <a:lnTo>
                      <a:pt x="82" y="7"/>
                    </a:lnTo>
                    <a:lnTo>
                      <a:pt x="77" y="10"/>
                    </a:lnTo>
                    <a:lnTo>
                      <a:pt x="77" y="10"/>
                    </a:lnTo>
                    <a:lnTo>
                      <a:pt x="74" y="10"/>
                    </a:lnTo>
                    <a:lnTo>
                      <a:pt x="72" y="9"/>
                    </a:lnTo>
                    <a:lnTo>
                      <a:pt x="71" y="4"/>
                    </a:lnTo>
                    <a:lnTo>
                      <a:pt x="68" y="1"/>
                    </a:lnTo>
                    <a:lnTo>
                      <a:pt x="67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53" y="1"/>
                    </a:lnTo>
                    <a:lnTo>
                      <a:pt x="42" y="3"/>
                    </a:lnTo>
                    <a:lnTo>
                      <a:pt x="30" y="7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16" y="15"/>
                    </a:lnTo>
                    <a:lnTo>
                      <a:pt x="10" y="16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1" y="52"/>
                    </a:lnTo>
                    <a:lnTo>
                      <a:pt x="1" y="52"/>
                    </a:lnTo>
                    <a:lnTo>
                      <a:pt x="6" y="59"/>
                    </a:lnTo>
                    <a:lnTo>
                      <a:pt x="7" y="70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7" y="90"/>
                    </a:lnTo>
                    <a:lnTo>
                      <a:pt x="6" y="91"/>
                    </a:lnTo>
                    <a:lnTo>
                      <a:pt x="6" y="91"/>
                    </a:lnTo>
                    <a:lnTo>
                      <a:pt x="19" y="94"/>
                    </a:lnTo>
                    <a:lnTo>
                      <a:pt x="19" y="94"/>
                    </a:lnTo>
                    <a:lnTo>
                      <a:pt x="22" y="97"/>
                    </a:lnTo>
                    <a:lnTo>
                      <a:pt x="23" y="100"/>
                    </a:lnTo>
                    <a:lnTo>
                      <a:pt x="26" y="107"/>
                    </a:lnTo>
                    <a:lnTo>
                      <a:pt x="26" y="107"/>
                    </a:lnTo>
                    <a:lnTo>
                      <a:pt x="27" y="109"/>
                    </a:lnTo>
                    <a:lnTo>
                      <a:pt x="30" y="109"/>
                    </a:lnTo>
                    <a:lnTo>
                      <a:pt x="35" y="110"/>
                    </a:lnTo>
                    <a:lnTo>
                      <a:pt x="35" y="110"/>
                    </a:lnTo>
                    <a:lnTo>
                      <a:pt x="49" y="117"/>
                    </a:lnTo>
                    <a:lnTo>
                      <a:pt x="65" y="126"/>
                    </a:lnTo>
                    <a:lnTo>
                      <a:pt x="65" y="126"/>
                    </a:lnTo>
                    <a:lnTo>
                      <a:pt x="68" y="128"/>
                    </a:lnTo>
                    <a:lnTo>
                      <a:pt x="69" y="130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81" y="138"/>
                    </a:lnTo>
                    <a:lnTo>
                      <a:pt x="85" y="138"/>
                    </a:lnTo>
                    <a:lnTo>
                      <a:pt x="88" y="139"/>
                    </a:lnTo>
                    <a:lnTo>
                      <a:pt x="88" y="139"/>
                    </a:lnTo>
                    <a:lnTo>
                      <a:pt x="93" y="141"/>
                    </a:lnTo>
                    <a:lnTo>
                      <a:pt x="97" y="139"/>
                    </a:lnTo>
                    <a:lnTo>
                      <a:pt x="104" y="139"/>
                    </a:lnTo>
                    <a:lnTo>
                      <a:pt x="104" y="139"/>
                    </a:lnTo>
                    <a:lnTo>
                      <a:pt x="110" y="138"/>
                    </a:lnTo>
                    <a:lnTo>
                      <a:pt x="119" y="136"/>
                    </a:lnTo>
                    <a:lnTo>
                      <a:pt x="119" y="136"/>
                    </a:lnTo>
                    <a:lnTo>
                      <a:pt x="124" y="139"/>
                    </a:lnTo>
                    <a:lnTo>
                      <a:pt x="135" y="145"/>
                    </a:lnTo>
                    <a:lnTo>
                      <a:pt x="135" y="145"/>
                    </a:lnTo>
                    <a:lnTo>
                      <a:pt x="136" y="141"/>
                    </a:lnTo>
                    <a:lnTo>
                      <a:pt x="137" y="135"/>
                    </a:lnTo>
                    <a:lnTo>
                      <a:pt x="137" y="135"/>
                    </a:lnTo>
                    <a:lnTo>
                      <a:pt x="139" y="130"/>
                    </a:lnTo>
                    <a:lnTo>
                      <a:pt x="140" y="126"/>
                    </a:lnTo>
                    <a:lnTo>
                      <a:pt x="148" y="117"/>
                    </a:lnTo>
                    <a:lnTo>
                      <a:pt x="153" y="109"/>
                    </a:lnTo>
                    <a:lnTo>
                      <a:pt x="155" y="106"/>
                    </a:lnTo>
                    <a:lnTo>
                      <a:pt x="155" y="10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5" name="Freeform 718"/>
              <p:cNvSpPr>
                <a:spLocks/>
              </p:cNvSpPr>
              <p:nvPr/>
            </p:nvSpPr>
            <p:spPr bwMode="auto">
              <a:xfrm>
                <a:off x="4637291" y="2290287"/>
                <a:ext cx="153335" cy="143443"/>
              </a:xfrm>
              <a:custGeom>
                <a:avLst/>
                <a:gdLst>
                  <a:gd name="T0" fmla="*/ 155 w 155"/>
                  <a:gd name="T1" fmla="*/ 104 h 145"/>
                  <a:gd name="T2" fmla="*/ 155 w 155"/>
                  <a:gd name="T3" fmla="*/ 93 h 145"/>
                  <a:gd name="T4" fmla="*/ 153 w 155"/>
                  <a:gd name="T5" fmla="*/ 88 h 145"/>
                  <a:gd name="T6" fmla="*/ 149 w 155"/>
                  <a:gd name="T7" fmla="*/ 81 h 145"/>
                  <a:gd name="T8" fmla="*/ 149 w 155"/>
                  <a:gd name="T9" fmla="*/ 74 h 145"/>
                  <a:gd name="T10" fmla="*/ 151 w 155"/>
                  <a:gd name="T11" fmla="*/ 28 h 145"/>
                  <a:gd name="T12" fmla="*/ 146 w 155"/>
                  <a:gd name="T13" fmla="*/ 16 h 145"/>
                  <a:gd name="T14" fmla="*/ 137 w 155"/>
                  <a:gd name="T15" fmla="*/ 4 h 145"/>
                  <a:gd name="T16" fmla="*/ 98 w 155"/>
                  <a:gd name="T17" fmla="*/ 4 h 145"/>
                  <a:gd name="T18" fmla="*/ 87 w 155"/>
                  <a:gd name="T19" fmla="*/ 3 h 145"/>
                  <a:gd name="T20" fmla="*/ 77 w 155"/>
                  <a:gd name="T21" fmla="*/ 10 h 145"/>
                  <a:gd name="T22" fmla="*/ 74 w 155"/>
                  <a:gd name="T23" fmla="*/ 10 h 145"/>
                  <a:gd name="T24" fmla="*/ 71 w 155"/>
                  <a:gd name="T25" fmla="*/ 4 h 145"/>
                  <a:gd name="T26" fmla="*/ 67 w 155"/>
                  <a:gd name="T27" fmla="*/ 0 h 145"/>
                  <a:gd name="T28" fmla="*/ 64 w 155"/>
                  <a:gd name="T29" fmla="*/ 0 h 145"/>
                  <a:gd name="T30" fmla="*/ 42 w 155"/>
                  <a:gd name="T31" fmla="*/ 3 h 145"/>
                  <a:gd name="T32" fmla="*/ 22 w 155"/>
                  <a:gd name="T33" fmla="*/ 12 h 145"/>
                  <a:gd name="T34" fmla="*/ 16 w 155"/>
                  <a:gd name="T35" fmla="*/ 15 h 145"/>
                  <a:gd name="T36" fmla="*/ 0 w 155"/>
                  <a:gd name="T37" fmla="*/ 17 h 145"/>
                  <a:gd name="T38" fmla="*/ 0 w 155"/>
                  <a:gd name="T39" fmla="*/ 38 h 145"/>
                  <a:gd name="T40" fmla="*/ 1 w 155"/>
                  <a:gd name="T41" fmla="*/ 52 h 145"/>
                  <a:gd name="T42" fmla="*/ 6 w 155"/>
                  <a:gd name="T43" fmla="*/ 59 h 145"/>
                  <a:gd name="T44" fmla="*/ 9 w 155"/>
                  <a:gd name="T45" fmla="*/ 87 h 145"/>
                  <a:gd name="T46" fmla="*/ 7 w 155"/>
                  <a:gd name="T47" fmla="*/ 90 h 145"/>
                  <a:gd name="T48" fmla="*/ 6 w 155"/>
                  <a:gd name="T49" fmla="*/ 91 h 145"/>
                  <a:gd name="T50" fmla="*/ 19 w 155"/>
                  <a:gd name="T51" fmla="*/ 94 h 145"/>
                  <a:gd name="T52" fmla="*/ 23 w 155"/>
                  <a:gd name="T53" fmla="*/ 100 h 145"/>
                  <a:gd name="T54" fmla="*/ 26 w 155"/>
                  <a:gd name="T55" fmla="*/ 107 h 145"/>
                  <a:gd name="T56" fmla="*/ 30 w 155"/>
                  <a:gd name="T57" fmla="*/ 109 h 145"/>
                  <a:gd name="T58" fmla="*/ 35 w 155"/>
                  <a:gd name="T59" fmla="*/ 110 h 145"/>
                  <a:gd name="T60" fmla="*/ 65 w 155"/>
                  <a:gd name="T61" fmla="*/ 126 h 145"/>
                  <a:gd name="T62" fmla="*/ 68 w 155"/>
                  <a:gd name="T63" fmla="*/ 128 h 145"/>
                  <a:gd name="T64" fmla="*/ 72 w 155"/>
                  <a:gd name="T65" fmla="*/ 139 h 145"/>
                  <a:gd name="T66" fmla="*/ 81 w 155"/>
                  <a:gd name="T67" fmla="*/ 138 h 145"/>
                  <a:gd name="T68" fmla="*/ 88 w 155"/>
                  <a:gd name="T69" fmla="*/ 139 h 145"/>
                  <a:gd name="T70" fmla="*/ 93 w 155"/>
                  <a:gd name="T71" fmla="*/ 141 h 145"/>
                  <a:gd name="T72" fmla="*/ 104 w 155"/>
                  <a:gd name="T73" fmla="*/ 139 h 145"/>
                  <a:gd name="T74" fmla="*/ 110 w 155"/>
                  <a:gd name="T75" fmla="*/ 138 h 145"/>
                  <a:gd name="T76" fmla="*/ 119 w 155"/>
                  <a:gd name="T77" fmla="*/ 136 h 145"/>
                  <a:gd name="T78" fmla="*/ 135 w 155"/>
                  <a:gd name="T79" fmla="*/ 145 h 145"/>
                  <a:gd name="T80" fmla="*/ 136 w 155"/>
                  <a:gd name="T81" fmla="*/ 141 h 145"/>
                  <a:gd name="T82" fmla="*/ 137 w 155"/>
                  <a:gd name="T83" fmla="*/ 135 h 145"/>
                  <a:gd name="T84" fmla="*/ 140 w 155"/>
                  <a:gd name="T85" fmla="*/ 126 h 145"/>
                  <a:gd name="T86" fmla="*/ 153 w 155"/>
                  <a:gd name="T87" fmla="*/ 109 h 145"/>
                  <a:gd name="T88" fmla="*/ 155 w 155"/>
                  <a:gd name="T89" fmla="*/ 104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55" h="145">
                    <a:moveTo>
                      <a:pt x="155" y="104"/>
                    </a:moveTo>
                    <a:lnTo>
                      <a:pt x="155" y="104"/>
                    </a:lnTo>
                    <a:lnTo>
                      <a:pt x="155" y="97"/>
                    </a:lnTo>
                    <a:lnTo>
                      <a:pt x="155" y="93"/>
                    </a:lnTo>
                    <a:lnTo>
                      <a:pt x="153" y="88"/>
                    </a:lnTo>
                    <a:lnTo>
                      <a:pt x="153" y="88"/>
                    </a:lnTo>
                    <a:lnTo>
                      <a:pt x="151" y="84"/>
                    </a:lnTo>
                    <a:lnTo>
                      <a:pt x="149" y="81"/>
                    </a:lnTo>
                    <a:lnTo>
                      <a:pt x="149" y="74"/>
                    </a:lnTo>
                    <a:lnTo>
                      <a:pt x="149" y="74"/>
                    </a:lnTo>
                    <a:lnTo>
                      <a:pt x="151" y="28"/>
                    </a:lnTo>
                    <a:lnTo>
                      <a:pt x="151" y="28"/>
                    </a:lnTo>
                    <a:lnTo>
                      <a:pt x="149" y="22"/>
                    </a:lnTo>
                    <a:lnTo>
                      <a:pt x="146" y="16"/>
                    </a:lnTo>
                    <a:lnTo>
                      <a:pt x="137" y="4"/>
                    </a:lnTo>
                    <a:lnTo>
                      <a:pt x="137" y="4"/>
                    </a:lnTo>
                    <a:lnTo>
                      <a:pt x="111" y="4"/>
                    </a:lnTo>
                    <a:lnTo>
                      <a:pt x="98" y="4"/>
                    </a:lnTo>
                    <a:lnTo>
                      <a:pt x="87" y="3"/>
                    </a:lnTo>
                    <a:lnTo>
                      <a:pt x="87" y="3"/>
                    </a:lnTo>
                    <a:lnTo>
                      <a:pt x="82" y="7"/>
                    </a:lnTo>
                    <a:lnTo>
                      <a:pt x="77" y="10"/>
                    </a:lnTo>
                    <a:lnTo>
                      <a:pt x="77" y="10"/>
                    </a:lnTo>
                    <a:lnTo>
                      <a:pt x="74" y="10"/>
                    </a:lnTo>
                    <a:lnTo>
                      <a:pt x="72" y="9"/>
                    </a:lnTo>
                    <a:lnTo>
                      <a:pt x="71" y="4"/>
                    </a:lnTo>
                    <a:lnTo>
                      <a:pt x="68" y="1"/>
                    </a:lnTo>
                    <a:lnTo>
                      <a:pt x="67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53" y="1"/>
                    </a:lnTo>
                    <a:lnTo>
                      <a:pt x="42" y="3"/>
                    </a:lnTo>
                    <a:lnTo>
                      <a:pt x="30" y="7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16" y="15"/>
                    </a:lnTo>
                    <a:lnTo>
                      <a:pt x="10" y="16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1" y="52"/>
                    </a:lnTo>
                    <a:lnTo>
                      <a:pt x="1" y="52"/>
                    </a:lnTo>
                    <a:lnTo>
                      <a:pt x="6" y="59"/>
                    </a:lnTo>
                    <a:lnTo>
                      <a:pt x="7" y="70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7" y="90"/>
                    </a:lnTo>
                    <a:lnTo>
                      <a:pt x="6" y="91"/>
                    </a:lnTo>
                    <a:lnTo>
                      <a:pt x="6" y="91"/>
                    </a:lnTo>
                    <a:lnTo>
                      <a:pt x="19" y="94"/>
                    </a:lnTo>
                    <a:lnTo>
                      <a:pt x="19" y="94"/>
                    </a:lnTo>
                    <a:lnTo>
                      <a:pt x="22" y="97"/>
                    </a:lnTo>
                    <a:lnTo>
                      <a:pt x="23" y="100"/>
                    </a:lnTo>
                    <a:lnTo>
                      <a:pt x="26" y="107"/>
                    </a:lnTo>
                    <a:lnTo>
                      <a:pt x="26" y="107"/>
                    </a:lnTo>
                    <a:lnTo>
                      <a:pt x="27" y="109"/>
                    </a:lnTo>
                    <a:lnTo>
                      <a:pt x="30" y="109"/>
                    </a:lnTo>
                    <a:lnTo>
                      <a:pt x="35" y="110"/>
                    </a:lnTo>
                    <a:lnTo>
                      <a:pt x="35" y="110"/>
                    </a:lnTo>
                    <a:lnTo>
                      <a:pt x="49" y="117"/>
                    </a:lnTo>
                    <a:lnTo>
                      <a:pt x="65" y="126"/>
                    </a:lnTo>
                    <a:lnTo>
                      <a:pt x="65" y="126"/>
                    </a:lnTo>
                    <a:lnTo>
                      <a:pt x="68" y="128"/>
                    </a:lnTo>
                    <a:lnTo>
                      <a:pt x="69" y="130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81" y="138"/>
                    </a:lnTo>
                    <a:lnTo>
                      <a:pt x="85" y="138"/>
                    </a:lnTo>
                    <a:lnTo>
                      <a:pt x="88" y="139"/>
                    </a:lnTo>
                    <a:lnTo>
                      <a:pt x="88" y="139"/>
                    </a:lnTo>
                    <a:lnTo>
                      <a:pt x="93" y="141"/>
                    </a:lnTo>
                    <a:lnTo>
                      <a:pt x="97" y="139"/>
                    </a:lnTo>
                    <a:lnTo>
                      <a:pt x="104" y="139"/>
                    </a:lnTo>
                    <a:lnTo>
                      <a:pt x="104" y="139"/>
                    </a:lnTo>
                    <a:lnTo>
                      <a:pt x="110" y="138"/>
                    </a:lnTo>
                    <a:lnTo>
                      <a:pt x="119" y="136"/>
                    </a:lnTo>
                    <a:lnTo>
                      <a:pt x="119" y="136"/>
                    </a:lnTo>
                    <a:lnTo>
                      <a:pt x="124" y="139"/>
                    </a:lnTo>
                    <a:lnTo>
                      <a:pt x="135" y="145"/>
                    </a:lnTo>
                    <a:lnTo>
                      <a:pt x="135" y="145"/>
                    </a:lnTo>
                    <a:lnTo>
                      <a:pt x="136" y="141"/>
                    </a:lnTo>
                    <a:lnTo>
                      <a:pt x="137" y="135"/>
                    </a:lnTo>
                    <a:lnTo>
                      <a:pt x="137" y="135"/>
                    </a:lnTo>
                    <a:lnTo>
                      <a:pt x="139" y="130"/>
                    </a:lnTo>
                    <a:lnTo>
                      <a:pt x="140" y="126"/>
                    </a:lnTo>
                    <a:lnTo>
                      <a:pt x="148" y="117"/>
                    </a:lnTo>
                    <a:lnTo>
                      <a:pt x="153" y="109"/>
                    </a:lnTo>
                    <a:lnTo>
                      <a:pt x="155" y="106"/>
                    </a:lnTo>
                    <a:lnTo>
                      <a:pt x="155" y="10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72" name="Freeform 725"/>
              <p:cNvSpPr>
                <a:spLocks/>
              </p:cNvSpPr>
              <p:nvPr/>
            </p:nvSpPr>
            <p:spPr bwMode="auto">
              <a:xfrm>
                <a:off x="4481977" y="1696731"/>
                <a:ext cx="414500" cy="500565"/>
              </a:xfrm>
              <a:custGeom>
                <a:avLst/>
                <a:gdLst>
                  <a:gd name="T0" fmla="*/ 126 w 419"/>
                  <a:gd name="T1" fmla="*/ 415 h 506"/>
                  <a:gd name="T2" fmla="*/ 124 w 419"/>
                  <a:gd name="T3" fmla="*/ 331 h 506"/>
                  <a:gd name="T4" fmla="*/ 151 w 419"/>
                  <a:gd name="T5" fmla="*/ 277 h 506"/>
                  <a:gd name="T6" fmla="*/ 168 w 419"/>
                  <a:gd name="T7" fmla="*/ 222 h 506"/>
                  <a:gd name="T8" fmla="*/ 200 w 419"/>
                  <a:gd name="T9" fmla="*/ 144 h 506"/>
                  <a:gd name="T10" fmla="*/ 216 w 419"/>
                  <a:gd name="T11" fmla="*/ 124 h 506"/>
                  <a:gd name="T12" fmla="*/ 261 w 419"/>
                  <a:gd name="T13" fmla="*/ 99 h 506"/>
                  <a:gd name="T14" fmla="*/ 286 w 419"/>
                  <a:gd name="T15" fmla="*/ 112 h 506"/>
                  <a:gd name="T16" fmla="*/ 331 w 419"/>
                  <a:gd name="T17" fmla="*/ 110 h 506"/>
                  <a:gd name="T18" fmla="*/ 360 w 419"/>
                  <a:gd name="T19" fmla="*/ 60 h 506"/>
                  <a:gd name="T20" fmla="*/ 393 w 419"/>
                  <a:gd name="T21" fmla="*/ 77 h 506"/>
                  <a:gd name="T22" fmla="*/ 397 w 419"/>
                  <a:gd name="T23" fmla="*/ 95 h 506"/>
                  <a:gd name="T24" fmla="*/ 402 w 419"/>
                  <a:gd name="T25" fmla="*/ 64 h 506"/>
                  <a:gd name="T26" fmla="*/ 396 w 419"/>
                  <a:gd name="T27" fmla="*/ 51 h 506"/>
                  <a:gd name="T28" fmla="*/ 415 w 419"/>
                  <a:gd name="T29" fmla="*/ 32 h 506"/>
                  <a:gd name="T30" fmla="*/ 392 w 419"/>
                  <a:gd name="T31" fmla="*/ 19 h 506"/>
                  <a:gd name="T32" fmla="*/ 371 w 419"/>
                  <a:gd name="T33" fmla="*/ 29 h 506"/>
                  <a:gd name="T34" fmla="*/ 374 w 419"/>
                  <a:gd name="T35" fmla="*/ 13 h 506"/>
                  <a:gd name="T36" fmla="*/ 358 w 419"/>
                  <a:gd name="T37" fmla="*/ 6 h 506"/>
                  <a:gd name="T38" fmla="*/ 351 w 419"/>
                  <a:gd name="T39" fmla="*/ 0 h 506"/>
                  <a:gd name="T40" fmla="*/ 322 w 419"/>
                  <a:gd name="T41" fmla="*/ 51 h 506"/>
                  <a:gd name="T42" fmla="*/ 335 w 419"/>
                  <a:gd name="T43" fmla="*/ 11 h 506"/>
                  <a:gd name="T44" fmla="*/ 315 w 419"/>
                  <a:gd name="T45" fmla="*/ 2 h 506"/>
                  <a:gd name="T46" fmla="*/ 309 w 419"/>
                  <a:gd name="T47" fmla="*/ 22 h 506"/>
                  <a:gd name="T48" fmla="*/ 297 w 419"/>
                  <a:gd name="T49" fmla="*/ 25 h 506"/>
                  <a:gd name="T50" fmla="*/ 294 w 419"/>
                  <a:gd name="T51" fmla="*/ 50 h 506"/>
                  <a:gd name="T52" fmla="*/ 286 w 419"/>
                  <a:gd name="T53" fmla="*/ 51 h 506"/>
                  <a:gd name="T54" fmla="*/ 271 w 419"/>
                  <a:gd name="T55" fmla="*/ 37 h 506"/>
                  <a:gd name="T56" fmla="*/ 274 w 419"/>
                  <a:gd name="T57" fmla="*/ 60 h 506"/>
                  <a:gd name="T58" fmla="*/ 261 w 419"/>
                  <a:gd name="T59" fmla="*/ 66 h 506"/>
                  <a:gd name="T60" fmla="*/ 250 w 419"/>
                  <a:gd name="T61" fmla="*/ 66 h 506"/>
                  <a:gd name="T62" fmla="*/ 239 w 419"/>
                  <a:gd name="T63" fmla="*/ 58 h 506"/>
                  <a:gd name="T64" fmla="*/ 221 w 419"/>
                  <a:gd name="T65" fmla="*/ 58 h 506"/>
                  <a:gd name="T66" fmla="*/ 221 w 419"/>
                  <a:gd name="T67" fmla="*/ 79 h 506"/>
                  <a:gd name="T68" fmla="*/ 209 w 419"/>
                  <a:gd name="T69" fmla="*/ 97 h 506"/>
                  <a:gd name="T70" fmla="*/ 197 w 419"/>
                  <a:gd name="T71" fmla="*/ 109 h 506"/>
                  <a:gd name="T72" fmla="*/ 173 w 419"/>
                  <a:gd name="T73" fmla="*/ 119 h 506"/>
                  <a:gd name="T74" fmla="*/ 174 w 419"/>
                  <a:gd name="T75" fmla="*/ 138 h 506"/>
                  <a:gd name="T76" fmla="*/ 167 w 419"/>
                  <a:gd name="T77" fmla="*/ 154 h 506"/>
                  <a:gd name="T78" fmla="*/ 161 w 419"/>
                  <a:gd name="T79" fmla="*/ 166 h 506"/>
                  <a:gd name="T80" fmla="*/ 154 w 419"/>
                  <a:gd name="T81" fmla="*/ 181 h 506"/>
                  <a:gd name="T82" fmla="*/ 132 w 419"/>
                  <a:gd name="T83" fmla="*/ 210 h 506"/>
                  <a:gd name="T84" fmla="*/ 131 w 419"/>
                  <a:gd name="T85" fmla="*/ 225 h 506"/>
                  <a:gd name="T86" fmla="*/ 125 w 419"/>
                  <a:gd name="T87" fmla="*/ 252 h 506"/>
                  <a:gd name="T88" fmla="*/ 112 w 419"/>
                  <a:gd name="T89" fmla="*/ 274 h 506"/>
                  <a:gd name="T90" fmla="*/ 86 w 419"/>
                  <a:gd name="T91" fmla="*/ 300 h 506"/>
                  <a:gd name="T92" fmla="*/ 99 w 419"/>
                  <a:gd name="T93" fmla="*/ 318 h 506"/>
                  <a:gd name="T94" fmla="*/ 76 w 419"/>
                  <a:gd name="T95" fmla="*/ 328 h 506"/>
                  <a:gd name="T96" fmla="*/ 61 w 419"/>
                  <a:gd name="T97" fmla="*/ 349 h 506"/>
                  <a:gd name="T98" fmla="*/ 40 w 419"/>
                  <a:gd name="T99" fmla="*/ 354 h 506"/>
                  <a:gd name="T100" fmla="*/ 24 w 419"/>
                  <a:gd name="T101" fmla="*/ 362 h 506"/>
                  <a:gd name="T102" fmla="*/ 12 w 419"/>
                  <a:gd name="T103" fmla="*/ 378 h 506"/>
                  <a:gd name="T104" fmla="*/ 15 w 419"/>
                  <a:gd name="T105" fmla="*/ 406 h 506"/>
                  <a:gd name="T106" fmla="*/ 0 w 419"/>
                  <a:gd name="T107" fmla="*/ 422 h 506"/>
                  <a:gd name="T108" fmla="*/ 9 w 419"/>
                  <a:gd name="T109" fmla="*/ 438 h 506"/>
                  <a:gd name="T110" fmla="*/ 16 w 419"/>
                  <a:gd name="T111" fmla="*/ 451 h 506"/>
                  <a:gd name="T112" fmla="*/ 11 w 419"/>
                  <a:gd name="T113" fmla="*/ 470 h 506"/>
                  <a:gd name="T114" fmla="*/ 24 w 419"/>
                  <a:gd name="T115" fmla="*/ 477 h 506"/>
                  <a:gd name="T116" fmla="*/ 31 w 419"/>
                  <a:gd name="T117" fmla="*/ 503 h 506"/>
                  <a:gd name="T118" fmla="*/ 76 w 419"/>
                  <a:gd name="T119" fmla="*/ 481 h 506"/>
                  <a:gd name="T120" fmla="*/ 95 w 419"/>
                  <a:gd name="T121" fmla="*/ 458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9" h="506">
                    <a:moveTo>
                      <a:pt x="118" y="460"/>
                    </a:moveTo>
                    <a:lnTo>
                      <a:pt x="118" y="460"/>
                    </a:lnTo>
                    <a:lnTo>
                      <a:pt x="119" y="454"/>
                    </a:lnTo>
                    <a:lnTo>
                      <a:pt x="121" y="449"/>
                    </a:lnTo>
                    <a:lnTo>
                      <a:pt x="126" y="441"/>
                    </a:lnTo>
                    <a:lnTo>
                      <a:pt x="126" y="441"/>
                    </a:lnTo>
                    <a:lnTo>
                      <a:pt x="128" y="438"/>
                    </a:lnTo>
                    <a:lnTo>
                      <a:pt x="129" y="435"/>
                    </a:lnTo>
                    <a:lnTo>
                      <a:pt x="128" y="429"/>
                    </a:lnTo>
                    <a:lnTo>
                      <a:pt x="126" y="422"/>
                    </a:lnTo>
                    <a:lnTo>
                      <a:pt x="126" y="415"/>
                    </a:lnTo>
                    <a:lnTo>
                      <a:pt x="126" y="415"/>
                    </a:lnTo>
                    <a:lnTo>
                      <a:pt x="126" y="410"/>
                    </a:lnTo>
                    <a:lnTo>
                      <a:pt x="128" y="409"/>
                    </a:lnTo>
                    <a:lnTo>
                      <a:pt x="132" y="406"/>
                    </a:lnTo>
                    <a:lnTo>
                      <a:pt x="132" y="406"/>
                    </a:lnTo>
                    <a:lnTo>
                      <a:pt x="132" y="406"/>
                    </a:lnTo>
                    <a:lnTo>
                      <a:pt x="132" y="405"/>
                    </a:lnTo>
                    <a:lnTo>
                      <a:pt x="131" y="400"/>
                    </a:lnTo>
                    <a:lnTo>
                      <a:pt x="125" y="394"/>
                    </a:lnTo>
                    <a:lnTo>
                      <a:pt x="125" y="394"/>
                    </a:lnTo>
                    <a:lnTo>
                      <a:pt x="124" y="384"/>
                    </a:lnTo>
                    <a:lnTo>
                      <a:pt x="124" y="365"/>
                    </a:lnTo>
                    <a:lnTo>
                      <a:pt x="124" y="331"/>
                    </a:lnTo>
                    <a:lnTo>
                      <a:pt x="124" y="331"/>
                    </a:lnTo>
                    <a:lnTo>
                      <a:pt x="125" y="322"/>
                    </a:lnTo>
                    <a:lnTo>
                      <a:pt x="126" y="313"/>
                    </a:lnTo>
                    <a:lnTo>
                      <a:pt x="131" y="303"/>
                    </a:lnTo>
                    <a:lnTo>
                      <a:pt x="131" y="303"/>
                    </a:lnTo>
                    <a:lnTo>
                      <a:pt x="138" y="299"/>
                    </a:lnTo>
                    <a:lnTo>
                      <a:pt x="150" y="293"/>
                    </a:lnTo>
                    <a:lnTo>
                      <a:pt x="150" y="293"/>
                    </a:lnTo>
                    <a:lnTo>
                      <a:pt x="153" y="292"/>
                    </a:lnTo>
                    <a:lnTo>
                      <a:pt x="154" y="289"/>
                    </a:lnTo>
                    <a:lnTo>
                      <a:pt x="153" y="283"/>
                    </a:lnTo>
                    <a:lnTo>
                      <a:pt x="151" y="277"/>
                    </a:lnTo>
                    <a:lnTo>
                      <a:pt x="151" y="274"/>
                    </a:lnTo>
                    <a:lnTo>
                      <a:pt x="151" y="271"/>
                    </a:lnTo>
                    <a:lnTo>
                      <a:pt x="151" y="271"/>
                    </a:lnTo>
                    <a:lnTo>
                      <a:pt x="154" y="267"/>
                    </a:lnTo>
                    <a:lnTo>
                      <a:pt x="155" y="258"/>
                    </a:lnTo>
                    <a:lnTo>
                      <a:pt x="157" y="242"/>
                    </a:lnTo>
                    <a:lnTo>
                      <a:pt x="157" y="242"/>
                    </a:lnTo>
                    <a:lnTo>
                      <a:pt x="160" y="234"/>
                    </a:lnTo>
                    <a:lnTo>
                      <a:pt x="161" y="229"/>
                    </a:lnTo>
                    <a:lnTo>
                      <a:pt x="166" y="226"/>
                    </a:lnTo>
                    <a:lnTo>
                      <a:pt x="166" y="226"/>
                    </a:lnTo>
                    <a:lnTo>
                      <a:pt x="168" y="222"/>
                    </a:lnTo>
                    <a:lnTo>
                      <a:pt x="171" y="218"/>
                    </a:lnTo>
                    <a:lnTo>
                      <a:pt x="176" y="209"/>
                    </a:lnTo>
                    <a:lnTo>
                      <a:pt x="176" y="209"/>
                    </a:lnTo>
                    <a:lnTo>
                      <a:pt x="179" y="200"/>
                    </a:lnTo>
                    <a:lnTo>
                      <a:pt x="182" y="187"/>
                    </a:lnTo>
                    <a:lnTo>
                      <a:pt x="184" y="174"/>
                    </a:lnTo>
                    <a:lnTo>
                      <a:pt x="186" y="167"/>
                    </a:lnTo>
                    <a:lnTo>
                      <a:pt x="186" y="167"/>
                    </a:lnTo>
                    <a:lnTo>
                      <a:pt x="192" y="155"/>
                    </a:lnTo>
                    <a:lnTo>
                      <a:pt x="196" y="150"/>
                    </a:lnTo>
                    <a:lnTo>
                      <a:pt x="200" y="144"/>
                    </a:lnTo>
                    <a:lnTo>
                      <a:pt x="200" y="144"/>
                    </a:lnTo>
                    <a:lnTo>
                      <a:pt x="203" y="141"/>
                    </a:lnTo>
                    <a:lnTo>
                      <a:pt x="206" y="142"/>
                    </a:lnTo>
                    <a:lnTo>
                      <a:pt x="208" y="144"/>
                    </a:lnTo>
                    <a:lnTo>
                      <a:pt x="212" y="144"/>
                    </a:lnTo>
                    <a:lnTo>
                      <a:pt x="212" y="144"/>
                    </a:lnTo>
                    <a:lnTo>
                      <a:pt x="215" y="144"/>
                    </a:lnTo>
                    <a:lnTo>
                      <a:pt x="216" y="141"/>
                    </a:lnTo>
                    <a:lnTo>
                      <a:pt x="216" y="134"/>
                    </a:lnTo>
                    <a:lnTo>
                      <a:pt x="216" y="128"/>
                    </a:lnTo>
                    <a:lnTo>
                      <a:pt x="216" y="125"/>
                    </a:lnTo>
                    <a:lnTo>
                      <a:pt x="216" y="124"/>
                    </a:lnTo>
                    <a:lnTo>
                      <a:pt x="216" y="124"/>
                    </a:lnTo>
                    <a:lnTo>
                      <a:pt x="222" y="122"/>
                    </a:lnTo>
                    <a:lnTo>
                      <a:pt x="229" y="125"/>
                    </a:lnTo>
                    <a:lnTo>
                      <a:pt x="245" y="129"/>
                    </a:lnTo>
                    <a:lnTo>
                      <a:pt x="245" y="129"/>
                    </a:lnTo>
                    <a:lnTo>
                      <a:pt x="248" y="128"/>
                    </a:lnTo>
                    <a:lnTo>
                      <a:pt x="250" y="125"/>
                    </a:lnTo>
                    <a:lnTo>
                      <a:pt x="250" y="115"/>
                    </a:lnTo>
                    <a:lnTo>
                      <a:pt x="250" y="100"/>
                    </a:lnTo>
                    <a:lnTo>
                      <a:pt x="250" y="100"/>
                    </a:lnTo>
                    <a:lnTo>
                      <a:pt x="252" y="100"/>
                    </a:lnTo>
                    <a:lnTo>
                      <a:pt x="261" y="99"/>
                    </a:lnTo>
                    <a:lnTo>
                      <a:pt x="261" y="99"/>
                    </a:lnTo>
                    <a:lnTo>
                      <a:pt x="263" y="99"/>
                    </a:lnTo>
                    <a:lnTo>
                      <a:pt x="264" y="97"/>
                    </a:lnTo>
                    <a:lnTo>
                      <a:pt x="264" y="93"/>
                    </a:lnTo>
                    <a:lnTo>
                      <a:pt x="264" y="90"/>
                    </a:lnTo>
                    <a:lnTo>
                      <a:pt x="264" y="90"/>
                    </a:lnTo>
                    <a:lnTo>
                      <a:pt x="266" y="90"/>
                    </a:lnTo>
                    <a:lnTo>
                      <a:pt x="266" y="90"/>
                    </a:lnTo>
                    <a:lnTo>
                      <a:pt x="270" y="95"/>
                    </a:lnTo>
                    <a:lnTo>
                      <a:pt x="276" y="100"/>
                    </a:lnTo>
                    <a:lnTo>
                      <a:pt x="280" y="108"/>
                    </a:lnTo>
                    <a:lnTo>
                      <a:pt x="286" y="112"/>
                    </a:lnTo>
                    <a:lnTo>
                      <a:pt x="286" y="112"/>
                    </a:lnTo>
                    <a:lnTo>
                      <a:pt x="289" y="113"/>
                    </a:lnTo>
                    <a:lnTo>
                      <a:pt x="292" y="113"/>
                    </a:lnTo>
                    <a:lnTo>
                      <a:pt x="299" y="112"/>
                    </a:lnTo>
                    <a:lnTo>
                      <a:pt x="309" y="109"/>
                    </a:lnTo>
                    <a:lnTo>
                      <a:pt x="309" y="109"/>
                    </a:lnTo>
                    <a:lnTo>
                      <a:pt x="312" y="109"/>
                    </a:lnTo>
                    <a:lnTo>
                      <a:pt x="315" y="112"/>
                    </a:lnTo>
                    <a:lnTo>
                      <a:pt x="319" y="113"/>
                    </a:lnTo>
                    <a:lnTo>
                      <a:pt x="323" y="115"/>
                    </a:lnTo>
                    <a:lnTo>
                      <a:pt x="323" y="115"/>
                    </a:lnTo>
                    <a:lnTo>
                      <a:pt x="326" y="113"/>
                    </a:lnTo>
                    <a:lnTo>
                      <a:pt x="331" y="110"/>
                    </a:lnTo>
                    <a:lnTo>
                      <a:pt x="336" y="105"/>
                    </a:lnTo>
                    <a:lnTo>
                      <a:pt x="336" y="105"/>
                    </a:lnTo>
                    <a:lnTo>
                      <a:pt x="338" y="102"/>
                    </a:lnTo>
                    <a:lnTo>
                      <a:pt x="341" y="95"/>
                    </a:lnTo>
                    <a:lnTo>
                      <a:pt x="344" y="80"/>
                    </a:lnTo>
                    <a:lnTo>
                      <a:pt x="344" y="80"/>
                    </a:lnTo>
                    <a:lnTo>
                      <a:pt x="347" y="68"/>
                    </a:lnTo>
                    <a:lnTo>
                      <a:pt x="350" y="63"/>
                    </a:lnTo>
                    <a:lnTo>
                      <a:pt x="352" y="61"/>
                    </a:lnTo>
                    <a:lnTo>
                      <a:pt x="352" y="61"/>
                    </a:lnTo>
                    <a:lnTo>
                      <a:pt x="355" y="61"/>
                    </a:lnTo>
                    <a:lnTo>
                      <a:pt x="360" y="60"/>
                    </a:lnTo>
                    <a:lnTo>
                      <a:pt x="364" y="57"/>
                    </a:lnTo>
                    <a:lnTo>
                      <a:pt x="364" y="57"/>
                    </a:lnTo>
                    <a:lnTo>
                      <a:pt x="368" y="57"/>
                    </a:lnTo>
                    <a:lnTo>
                      <a:pt x="371" y="58"/>
                    </a:lnTo>
                    <a:lnTo>
                      <a:pt x="376" y="61"/>
                    </a:lnTo>
                    <a:lnTo>
                      <a:pt x="378" y="64"/>
                    </a:lnTo>
                    <a:lnTo>
                      <a:pt x="378" y="64"/>
                    </a:lnTo>
                    <a:lnTo>
                      <a:pt x="381" y="67"/>
                    </a:lnTo>
                    <a:lnTo>
                      <a:pt x="386" y="70"/>
                    </a:lnTo>
                    <a:lnTo>
                      <a:pt x="390" y="71"/>
                    </a:lnTo>
                    <a:lnTo>
                      <a:pt x="392" y="74"/>
                    </a:lnTo>
                    <a:lnTo>
                      <a:pt x="393" y="77"/>
                    </a:lnTo>
                    <a:lnTo>
                      <a:pt x="393" y="77"/>
                    </a:lnTo>
                    <a:lnTo>
                      <a:pt x="393" y="83"/>
                    </a:lnTo>
                    <a:lnTo>
                      <a:pt x="392" y="87"/>
                    </a:lnTo>
                    <a:lnTo>
                      <a:pt x="387" y="95"/>
                    </a:lnTo>
                    <a:lnTo>
                      <a:pt x="387" y="95"/>
                    </a:lnTo>
                    <a:lnTo>
                      <a:pt x="386" y="96"/>
                    </a:lnTo>
                    <a:lnTo>
                      <a:pt x="386" y="100"/>
                    </a:lnTo>
                    <a:lnTo>
                      <a:pt x="387" y="106"/>
                    </a:lnTo>
                    <a:lnTo>
                      <a:pt x="387" y="106"/>
                    </a:lnTo>
                    <a:lnTo>
                      <a:pt x="393" y="100"/>
                    </a:lnTo>
                    <a:lnTo>
                      <a:pt x="397" y="95"/>
                    </a:lnTo>
                    <a:lnTo>
                      <a:pt x="397" y="95"/>
                    </a:lnTo>
                    <a:lnTo>
                      <a:pt x="400" y="89"/>
                    </a:lnTo>
                    <a:lnTo>
                      <a:pt x="403" y="87"/>
                    </a:lnTo>
                    <a:lnTo>
                      <a:pt x="406" y="86"/>
                    </a:lnTo>
                    <a:lnTo>
                      <a:pt x="406" y="86"/>
                    </a:lnTo>
                    <a:lnTo>
                      <a:pt x="409" y="83"/>
                    </a:lnTo>
                    <a:lnTo>
                      <a:pt x="410" y="79"/>
                    </a:lnTo>
                    <a:lnTo>
                      <a:pt x="416" y="67"/>
                    </a:lnTo>
                    <a:lnTo>
                      <a:pt x="416" y="67"/>
                    </a:lnTo>
                    <a:lnTo>
                      <a:pt x="413" y="67"/>
                    </a:lnTo>
                    <a:lnTo>
                      <a:pt x="413" y="67"/>
                    </a:lnTo>
                    <a:lnTo>
                      <a:pt x="407" y="66"/>
                    </a:lnTo>
                    <a:lnTo>
                      <a:pt x="402" y="64"/>
                    </a:lnTo>
                    <a:lnTo>
                      <a:pt x="399" y="61"/>
                    </a:lnTo>
                    <a:lnTo>
                      <a:pt x="397" y="60"/>
                    </a:lnTo>
                    <a:lnTo>
                      <a:pt x="397" y="60"/>
                    </a:lnTo>
                    <a:lnTo>
                      <a:pt x="396" y="57"/>
                    </a:lnTo>
                    <a:lnTo>
                      <a:pt x="392" y="55"/>
                    </a:lnTo>
                    <a:lnTo>
                      <a:pt x="386" y="53"/>
                    </a:lnTo>
                    <a:lnTo>
                      <a:pt x="381" y="51"/>
                    </a:lnTo>
                    <a:lnTo>
                      <a:pt x="381" y="51"/>
                    </a:lnTo>
                    <a:lnTo>
                      <a:pt x="381" y="50"/>
                    </a:lnTo>
                    <a:lnTo>
                      <a:pt x="381" y="50"/>
                    </a:lnTo>
                    <a:lnTo>
                      <a:pt x="386" y="50"/>
                    </a:lnTo>
                    <a:lnTo>
                      <a:pt x="396" y="51"/>
                    </a:lnTo>
                    <a:lnTo>
                      <a:pt x="396" y="51"/>
                    </a:lnTo>
                    <a:lnTo>
                      <a:pt x="403" y="51"/>
                    </a:lnTo>
                    <a:lnTo>
                      <a:pt x="407" y="50"/>
                    </a:lnTo>
                    <a:lnTo>
                      <a:pt x="407" y="50"/>
                    </a:lnTo>
                    <a:lnTo>
                      <a:pt x="413" y="45"/>
                    </a:lnTo>
                    <a:lnTo>
                      <a:pt x="419" y="39"/>
                    </a:lnTo>
                    <a:lnTo>
                      <a:pt x="419" y="39"/>
                    </a:lnTo>
                    <a:lnTo>
                      <a:pt x="419" y="37"/>
                    </a:lnTo>
                    <a:lnTo>
                      <a:pt x="419" y="35"/>
                    </a:lnTo>
                    <a:lnTo>
                      <a:pt x="418" y="32"/>
                    </a:lnTo>
                    <a:lnTo>
                      <a:pt x="415" y="32"/>
                    </a:lnTo>
                    <a:lnTo>
                      <a:pt x="415" y="32"/>
                    </a:lnTo>
                    <a:lnTo>
                      <a:pt x="412" y="31"/>
                    </a:lnTo>
                    <a:lnTo>
                      <a:pt x="409" y="29"/>
                    </a:lnTo>
                    <a:lnTo>
                      <a:pt x="406" y="26"/>
                    </a:lnTo>
                    <a:lnTo>
                      <a:pt x="403" y="25"/>
                    </a:lnTo>
                    <a:lnTo>
                      <a:pt x="403" y="25"/>
                    </a:lnTo>
                    <a:lnTo>
                      <a:pt x="400" y="24"/>
                    </a:lnTo>
                    <a:lnTo>
                      <a:pt x="399" y="22"/>
                    </a:lnTo>
                    <a:lnTo>
                      <a:pt x="397" y="22"/>
                    </a:lnTo>
                    <a:lnTo>
                      <a:pt x="394" y="22"/>
                    </a:lnTo>
                    <a:lnTo>
                      <a:pt x="394" y="22"/>
                    </a:lnTo>
                    <a:lnTo>
                      <a:pt x="393" y="22"/>
                    </a:lnTo>
                    <a:lnTo>
                      <a:pt x="392" y="19"/>
                    </a:lnTo>
                    <a:lnTo>
                      <a:pt x="392" y="16"/>
                    </a:lnTo>
                    <a:lnTo>
                      <a:pt x="389" y="12"/>
                    </a:lnTo>
                    <a:lnTo>
                      <a:pt x="389" y="12"/>
                    </a:lnTo>
                    <a:lnTo>
                      <a:pt x="386" y="11"/>
                    </a:lnTo>
                    <a:lnTo>
                      <a:pt x="383" y="12"/>
                    </a:lnTo>
                    <a:lnTo>
                      <a:pt x="380" y="18"/>
                    </a:lnTo>
                    <a:lnTo>
                      <a:pt x="380" y="18"/>
                    </a:lnTo>
                    <a:lnTo>
                      <a:pt x="377" y="24"/>
                    </a:lnTo>
                    <a:lnTo>
                      <a:pt x="376" y="26"/>
                    </a:lnTo>
                    <a:lnTo>
                      <a:pt x="374" y="29"/>
                    </a:lnTo>
                    <a:lnTo>
                      <a:pt x="374" y="29"/>
                    </a:lnTo>
                    <a:lnTo>
                      <a:pt x="371" y="29"/>
                    </a:lnTo>
                    <a:lnTo>
                      <a:pt x="371" y="28"/>
                    </a:lnTo>
                    <a:lnTo>
                      <a:pt x="374" y="24"/>
                    </a:lnTo>
                    <a:lnTo>
                      <a:pt x="374" y="24"/>
                    </a:lnTo>
                    <a:lnTo>
                      <a:pt x="374" y="24"/>
                    </a:lnTo>
                    <a:lnTo>
                      <a:pt x="373" y="22"/>
                    </a:lnTo>
                    <a:lnTo>
                      <a:pt x="370" y="24"/>
                    </a:lnTo>
                    <a:lnTo>
                      <a:pt x="370" y="24"/>
                    </a:lnTo>
                    <a:lnTo>
                      <a:pt x="368" y="22"/>
                    </a:lnTo>
                    <a:lnTo>
                      <a:pt x="367" y="22"/>
                    </a:lnTo>
                    <a:lnTo>
                      <a:pt x="370" y="18"/>
                    </a:lnTo>
                    <a:lnTo>
                      <a:pt x="370" y="18"/>
                    </a:lnTo>
                    <a:lnTo>
                      <a:pt x="374" y="13"/>
                    </a:lnTo>
                    <a:lnTo>
                      <a:pt x="377" y="8"/>
                    </a:lnTo>
                    <a:lnTo>
                      <a:pt x="377" y="8"/>
                    </a:lnTo>
                    <a:lnTo>
                      <a:pt x="374" y="3"/>
                    </a:lnTo>
                    <a:lnTo>
                      <a:pt x="373" y="2"/>
                    </a:lnTo>
                    <a:lnTo>
                      <a:pt x="371" y="2"/>
                    </a:lnTo>
                    <a:lnTo>
                      <a:pt x="371" y="2"/>
                    </a:lnTo>
                    <a:lnTo>
                      <a:pt x="368" y="3"/>
                    </a:lnTo>
                    <a:lnTo>
                      <a:pt x="365" y="2"/>
                    </a:lnTo>
                    <a:lnTo>
                      <a:pt x="363" y="2"/>
                    </a:lnTo>
                    <a:lnTo>
                      <a:pt x="361" y="3"/>
                    </a:lnTo>
                    <a:lnTo>
                      <a:pt x="361" y="3"/>
                    </a:lnTo>
                    <a:lnTo>
                      <a:pt x="358" y="6"/>
                    </a:lnTo>
                    <a:lnTo>
                      <a:pt x="357" y="12"/>
                    </a:lnTo>
                    <a:lnTo>
                      <a:pt x="354" y="24"/>
                    </a:lnTo>
                    <a:lnTo>
                      <a:pt x="354" y="24"/>
                    </a:lnTo>
                    <a:lnTo>
                      <a:pt x="354" y="26"/>
                    </a:lnTo>
                    <a:lnTo>
                      <a:pt x="352" y="28"/>
                    </a:lnTo>
                    <a:lnTo>
                      <a:pt x="348" y="29"/>
                    </a:lnTo>
                    <a:lnTo>
                      <a:pt x="348" y="29"/>
                    </a:lnTo>
                    <a:lnTo>
                      <a:pt x="347" y="28"/>
                    </a:lnTo>
                    <a:lnTo>
                      <a:pt x="347" y="25"/>
                    </a:lnTo>
                    <a:lnTo>
                      <a:pt x="348" y="16"/>
                    </a:lnTo>
                    <a:lnTo>
                      <a:pt x="351" y="0"/>
                    </a:lnTo>
                    <a:lnTo>
                      <a:pt x="351" y="0"/>
                    </a:lnTo>
                    <a:lnTo>
                      <a:pt x="351" y="0"/>
                    </a:lnTo>
                    <a:lnTo>
                      <a:pt x="348" y="2"/>
                    </a:lnTo>
                    <a:lnTo>
                      <a:pt x="342" y="9"/>
                    </a:lnTo>
                    <a:lnTo>
                      <a:pt x="342" y="9"/>
                    </a:lnTo>
                    <a:lnTo>
                      <a:pt x="336" y="18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28" y="38"/>
                    </a:lnTo>
                    <a:lnTo>
                      <a:pt x="326" y="44"/>
                    </a:lnTo>
                    <a:lnTo>
                      <a:pt x="323" y="50"/>
                    </a:lnTo>
                    <a:lnTo>
                      <a:pt x="323" y="50"/>
                    </a:lnTo>
                    <a:lnTo>
                      <a:pt x="322" y="51"/>
                    </a:lnTo>
                    <a:lnTo>
                      <a:pt x="321" y="50"/>
                    </a:lnTo>
                    <a:lnTo>
                      <a:pt x="321" y="45"/>
                    </a:lnTo>
                    <a:lnTo>
                      <a:pt x="322" y="39"/>
                    </a:lnTo>
                    <a:lnTo>
                      <a:pt x="323" y="35"/>
                    </a:lnTo>
                    <a:lnTo>
                      <a:pt x="323" y="35"/>
                    </a:lnTo>
                    <a:lnTo>
                      <a:pt x="325" y="32"/>
                    </a:lnTo>
                    <a:lnTo>
                      <a:pt x="326" y="28"/>
                    </a:lnTo>
                    <a:lnTo>
                      <a:pt x="328" y="22"/>
                    </a:lnTo>
                    <a:lnTo>
                      <a:pt x="329" y="19"/>
                    </a:lnTo>
                    <a:lnTo>
                      <a:pt x="329" y="19"/>
                    </a:lnTo>
                    <a:lnTo>
                      <a:pt x="334" y="13"/>
                    </a:lnTo>
                    <a:lnTo>
                      <a:pt x="335" y="11"/>
                    </a:lnTo>
                    <a:lnTo>
                      <a:pt x="334" y="9"/>
                    </a:lnTo>
                    <a:lnTo>
                      <a:pt x="334" y="9"/>
                    </a:lnTo>
                    <a:lnTo>
                      <a:pt x="334" y="9"/>
                    </a:lnTo>
                    <a:lnTo>
                      <a:pt x="329" y="9"/>
                    </a:lnTo>
                    <a:lnTo>
                      <a:pt x="328" y="6"/>
                    </a:lnTo>
                    <a:lnTo>
                      <a:pt x="325" y="5"/>
                    </a:lnTo>
                    <a:lnTo>
                      <a:pt x="322" y="6"/>
                    </a:lnTo>
                    <a:lnTo>
                      <a:pt x="322" y="6"/>
                    </a:lnTo>
                    <a:lnTo>
                      <a:pt x="319" y="6"/>
                    </a:lnTo>
                    <a:lnTo>
                      <a:pt x="318" y="6"/>
                    </a:lnTo>
                    <a:lnTo>
                      <a:pt x="315" y="2"/>
                    </a:lnTo>
                    <a:lnTo>
                      <a:pt x="315" y="2"/>
                    </a:lnTo>
                    <a:lnTo>
                      <a:pt x="313" y="2"/>
                    </a:lnTo>
                    <a:lnTo>
                      <a:pt x="312" y="3"/>
                    </a:lnTo>
                    <a:lnTo>
                      <a:pt x="312" y="5"/>
                    </a:lnTo>
                    <a:lnTo>
                      <a:pt x="313" y="12"/>
                    </a:lnTo>
                    <a:lnTo>
                      <a:pt x="313" y="12"/>
                    </a:lnTo>
                    <a:lnTo>
                      <a:pt x="313" y="13"/>
                    </a:lnTo>
                    <a:lnTo>
                      <a:pt x="312" y="16"/>
                    </a:lnTo>
                    <a:lnTo>
                      <a:pt x="310" y="18"/>
                    </a:lnTo>
                    <a:lnTo>
                      <a:pt x="310" y="21"/>
                    </a:lnTo>
                    <a:lnTo>
                      <a:pt x="310" y="21"/>
                    </a:lnTo>
                    <a:lnTo>
                      <a:pt x="310" y="22"/>
                    </a:lnTo>
                    <a:lnTo>
                      <a:pt x="309" y="22"/>
                    </a:lnTo>
                    <a:lnTo>
                      <a:pt x="306" y="19"/>
                    </a:lnTo>
                    <a:lnTo>
                      <a:pt x="306" y="19"/>
                    </a:lnTo>
                    <a:lnTo>
                      <a:pt x="305" y="21"/>
                    </a:lnTo>
                    <a:lnTo>
                      <a:pt x="305" y="24"/>
                    </a:lnTo>
                    <a:lnTo>
                      <a:pt x="306" y="29"/>
                    </a:lnTo>
                    <a:lnTo>
                      <a:pt x="306" y="29"/>
                    </a:lnTo>
                    <a:lnTo>
                      <a:pt x="306" y="31"/>
                    </a:lnTo>
                    <a:lnTo>
                      <a:pt x="305" y="29"/>
                    </a:lnTo>
                    <a:lnTo>
                      <a:pt x="300" y="25"/>
                    </a:lnTo>
                    <a:lnTo>
                      <a:pt x="300" y="25"/>
                    </a:lnTo>
                    <a:lnTo>
                      <a:pt x="299" y="24"/>
                    </a:lnTo>
                    <a:lnTo>
                      <a:pt x="297" y="25"/>
                    </a:lnTo>
                    <a:lnTo>
                      <a:pt x="293" y="26"/>
                    </a:lnTo>
                    <a:lnTo>
                      <a:pt x="293" y="26"/>
                    </a:lnTo>
                    <a:lnTo>
                      <a:pt x="290" y="26"/>
                    </a:lnTo>
                    <a:lnTo>
                      <a:pt x="290" y="28"/>
                    </a:lnTo>
                    <a:lnTo>
                      <a:pt x="289" y="32"/>
                    </a:lnTo>
                    <a:lnTo>
                      <a:pt x="289" y="32"/>
                    </a:lnTo>
                    <a:lnTo>
                      <a:pt x="290" y="37"/>
                    </a:lnTo>
                    <a:lnTo>
                      <a:pt x="293" y="39"/>
                    </a:lnTo>
                    <a:lnTo>
                      <a:pt x="296" y="42"/>
                    </a:lnTo>
                    <a:lnTo>
                      <a:pt x="296" y="44"/>
                    </a:lnTo>
                    <a:lnTo>
                      <a:pt x="296" y="44"/>
                    </a:lnTo>
                    <a:lnTo>
                      <a:pt x="294" y="50"/>
                    </a:lnTo>
                    <a:lnTo>
                      <a:pt x="294" y="58"/>
                    </a:lnTo>
                    <a:lnTo>
                      <a:pt x="294" y="58"/>
                    </a:lnTo>
                    <a:lnTo>
                      <a:pt x="294" y="60"/>
                    </a:lnTo>
                    <a:lnTo>
                      <a:pt x="294" y="60"/>
                    </a:lnTo>
                    <a:lnTo>
                      <a:pt x="292" y="57"/>
                    </a:lnTo>
                    <a:lnTo>
                      <a:pt x="289" y="54"/>
                    </a:lnTo>
                    <a:lnTo>
                      <a:pt x="289" y="54"/>
                    </a:lnTo>
                    <a:lnTo>
                      <a:pt x="287" y="54"/>
                    </a:lnTo>
                    <a:lnTo>
                      <a:pt x="287" y="54"/>
                    </a:lnTo>
                    <a:lnTo>
                      <a:pt x="287" y="55"/>
                    </a:lnTo>
                    <a:lnTo>
                      <a:pt x="286" y="54"/>
                    </a:lnTo>
                    <a:lnTo>
                      <a:pt x="286" y="51"/>
                    </a:lnTo>
                    <a:lnTo>
                      <a:pt x="284" y="48"/>
                    </a:lnTo>
                    <a:lnTo>
                      <a:pt x="286" y="45"/>
                    </a:lnTo>
                    <a:lnTo>
                      <a:pt x="286" y="45"/>
                    </a:lnTo>
                    <a:lnTo>
                      <a:pt x="287" y="42"/>
                    </a:lnTo>
                    <a:lnTo>
                      <a:pt x="286" y="39"/>
                    </a:lnTo>
                    <a:lnTo>
                      <a:pt x="284" y="38"/>
                    </a:lnTo>
                    <a:lnTo>
                      <a:pt x="281" y="39"/>
                    </a:lnTo>
                    <a:lnTo>
                      <a:pt x="281" y="39"/>
                    </a:lnTo>
                    <a:lnTo>
                      <a:pt x="279" y="41"/>
                    </a:lnTo>
                    <a:lnTo>
                      <a:pt x="277" y="39"/>
                    </a:lnTo>
                    <a:lnTo>
                      <a:pt x="276" y="37"/>
                    </a:lnTo>
                    <a:lnTo>
                      <a:pt x="271" y="37"/>
                    </a:lnTo>
                    <a:lnTo>
                      <a:pt x="271" y="37"/>
                    </a:lnTo>
                    <a:lnTo>
                      <a:pt x="261" y="41"/>
                    </a:lnTo>
                    <a:lnTo>
                      <a:pt x="258" y="42"/>
                    </a:lnTo>
                    <a:lnTo>
                      <a:pt x="257" y="45"/>
                    </a:lnTo>
                    <a:lnTo>
                      <a:pt x="257" y="45"/>
                    </a:lnTo>
                    <a:lnTo>
                      <a:pt x="257" y="47"/>
                    </a:lnTo>
                    <a:lnTo>
                      <a:pt x="258" y="48"/>
                    </a:lnTo>
                    <a:lnTo>
                      <a:pt x="263" y="50"/>
                    </a:lnTo>
                    <a:lnTo>
                      <a:pt x="271" y="54"/>
                    </a:lnTo>
                    <a:lnTo>
                      <a:pt x="271" y="54"/>
                    </a:lnTo>
                    <a:lnTo>
                      <a:pt x="274" y="57"/>
                    </a:lnTo>
                    <a:lnTo>
                      <a:pt x="274" y="60"/>
                    </a:lnTo>
                    <a:lnTo>
                      <a:pt x="274" y="63"/>
                    </a:lnTo>
                    <a:lnTo>
                      <a:pt x="274" y="64"/>
                    </a:lnTo>
                    <a:lnTo>
                      <a:pt x="274" y="64"/>
                    </a:lnTo>
                    <a:lnTo>
                      <a:pt x="270" y="61"/>
                    </a:lnTo>
                    <a:lnTo>
                      <a:pt x="266" y="58"/>
                    </a:lnTo>
                    <a:lnTo>
                      <a:pt x="263" y="55"/>
                    </a:lnTo>
                    <a:lnTo>
                      <a:pt x="263" y="55"/>
                    </a:lnTo>
                    <a:lnTo>
                      <a:pt x="260" y="57"/>
                    </a:lnTo>
                    <a:lnTo>
                      <a:pt x="260" y="58"/>
                    </a:lnTo>
                    <a:lnTo>
                      <a:pt x="261" y="66"/>
                    </a:lnTo>
                    <a:lnTo>
                      <a:pt x="261" y="66"/>
                    </a:lnTo>
                    <a:lnTo>
                      <a:pt x="261" y="66"/>
                    </a:lnTo>
                    <a:lnTo>
                      <a:pt x="260" y="64"/>
                    </a:lnTo>
                    <a:lnTo>
                      <a:pt x="257" y="60"/>
                    </a:lnTo>
                    <a:lnTo>
                      <a:pt x="257" y="60"/>
                    </a:lnTo>
                    <a:lnTo>
                      <a:pt x="255" y="58"/>
                    </a:lnTo>
                    <a:lnTo>
                      <a:pt x="255" y="60"/>
                    </a:lnTo>
                    <a:lnTo>
                      <a:pt x="254" y="63"/>
                    </a:lnTo>
                    <a:lnTo>
                      <a:pt x="254" y="67"/>
                    </a:lnTo>
                    <a:lnTo>
                      <a:pt x="251" y="70"/>
                    </a:lnTo>
                    <a:lnTo>
                      <a:pt x="251" y="70"/>
                    </a:lnTo>
                    <a:lnTo>
                      <a:pt x="250" y="70"/>
                    </a:lnTo>
                    <a:lnTo>
                      <a:pt x="250" y="68"/>
                    </a:lnTo>
                    <a:lnTo>
                      <a:pt x="250" y="66"/>
                    </a:lnTo>
                    <a:lnTo>
                      <a:pt x="250" y="60"/>
                    </a:lnTo>
                    <a:lnTo>
                      <a:pt x="250" y="60"/>
                    </a:lnTo>
                    <a:lnTo>
                      <a:pt x="250" y="58"/>
                    </a:lnTo>
                    <a:lnTo>
                      <a:pt x="248" y="61"/>
                    </a:lnTo>
                    <a:lnTo>
                      <a:pt x="244" y="67"/>
                    </a:lnTo>
                    <a:lnTo>
                      <a:pt x="244" y="67"/>
                    </a:lnTo>
                    <a:lnTo>
                      <a:pt x="242" y="70"/>
                    </a:lnTo>
                    <a:lnTo>
                      <a:pt x="241" y="68"/>
                    </a:lnTo>
                    <a:lnTo>
                      <a:pt x="242" y="63"/>
                    </a:lnTo>
                    <a:lnTo>
                      <a:pt x="242" y="63"/>
                    </a:lnTo>
                    <a:lnTo>
                      <a:pt x="241" y="60"/>
                    </a:lnTo>
                    <a:lnTo>
                      <a:pt x="239" y="58"/>
                    </a:lnTo>
                    <a:lnTo>
                      <a:pt x="237" y="57"/>
                    </a:lnTo>
                    <a:lnTo>
                      <a:pt x="232" y="57"/>
                    </a:lnTo>
                    <a:lnTo>
                      <a:pt x="232" y="57"/>
                    </a:lnTo>
                    <a:lnTo>
                      <a:pt x="229" y="55"/>
                    </a:lnTo>
                    <a:lnTo>
                      <a:pt x="229" y="53"/>
                    </a:lnTo>
                    <a:lnTo>
                      <a:pt x="231" y="45"/>
                    </a:lnTo>
                    <a:lnTo>
                      <a:pt x="231" y="45"/>
                    </a:lnTo>
                    <a:lnTo>
                      <a:pt x="229" y="44"/>
                    </a:lnTo>
                    <a:lnTo>
                      <a:pt x="228" y="45"/>
                    </a:lnTo>
                    <a:lnTo>
                      <a:pt x="224" y="53"/>
                    </a:lnTo>
                    <a:lnTo>
                      <a:pt x="224" y="53"/>
                    </a:lnTo>
                    <a:lnTo>
                      <a:pt x="221" y="58"/>
                    </a:lnTo>
                    <a:lnTo>
                      <a:pt x="222" y="64"/>
                    </a:lnTo>
                    <a:lnTo>
                      <a:pt x="222" y="64"/>
                    </a:lnTo>
                    <a:lnTo>
                      <a:pt x="222" y="67"/>
                    </a:lnTo>
                    <a:lnTo>
                      <a:pt x="222" y="68"/>
                    </a:lnTo>
                    <a:lnTo>
                      <a:pt x="219" y="70"/>
                    </a:lnTo>
                    <a:lnTo>
                      <a:pt x="216" y="70"/>
                    </a:lnTo>
                    <a:lnTo>
                      <a:pt x="213" y="71"/>
                    </a:lnTo>
                    <a:lnTo>
                      <a:pt x="213" y="71"/>
                    </a:lnTo>
                    <a:lnTo>
                      <a:pt x="213" y="74"/>
                    </a:lnTo>
                    <a:lnTo>
                      <a:pt x="215" y="76"/>
                    </a:lnTo>
                    <a:lnTo>
                      <a:pt x="221" y="79"/>
                    </a:lnTo>
                    <a:lnTo>
                      <a:pt x="221" y="79"/>
                    </a:lnTo>
                    <a:lnTo>
                      <a:pt x="222" y="81"/>
                    </a:lnTo>
                    <a:lnTo>
                      <a:pt x="224" y="84"/>
                    </a:lnTo>
                    <a:lnTo>
                      <a:pt x="224" y="90"/>
                    </a:lnTo>
                    <a:lnTo>
                      <a:pt x="224" y="90"/>
                    </a:lnTo>
                    <a:lnTo>
                      <a:pt x="222" y="90"/>
                    </a:lnTo>
                    <a:lnTo>
                      <a:pt x="219" y="90"/>
                    </a:lnTo>
                    <a:lnTo>
                      <a:pt x="215" y="90"/>
                    </a:lnTo>
                    <a:lnTo>
                      <a:pt x="213" y="92"/>
                    </a:lnTo>
                    <a:lnTo>
                      <a:pt x="212" y="92"/>
                    </a:lnTo>
                    <a:lnTo>
                      <a:pt x="212" y="92"/>
                    </a:lnTo>
                    <a:lnTo>
                      <a:pt x="212" y="95"/>
                    </a:lnTo>
                    <a:lnTo>
                      <a:pt x="209" y="97"/>
                    </a:lnTo>
                    <a:lnTo>
                      <a:pt x="205" y="99"/>
                    </a:lnTo>
                    <a:lnTo>
                      <a:pt x="205" y="99"/>
                    </a:lnTo>
                    <a:lnTo>
                      <a:pt x="202" y="100"/>
                    </a:lnTo>
                    <a:lnTo>
                      <a:pt x="202" y="102"/>
                    </a:lnTo>
                    <a:lnTo>
                      <a:pt x="205" y="105"/>
                    </a:lnTo>
                    <a:lnTo>
                      <a:pt x="205" y="105"/>
                    </a:lnTo>
                    <a:lnTo>
                      <a:pt x="206" y="108"/>
                    </a:lnTo>
                    <a:lnTo>
                      <a:pt x="206" y="108"/>
                    </a:lnTo>
                    <a:lnTo>
                      <a:pt x="202" y="108"/>
                    </a:lnTo>
                    <a:lnTo>
                      <a:pt x="202" y="108"/>
                    </a:lnTo>
                    <a:lnTo>
                      <a:pt x="200" y="108"/>
                    </a:lnTo>
                    <a:lnTo>
                      <a:pt x="197" y="109"/>
                    </a:lnTo>
                    <a:lnTo>
                      <a:pt x="192" y="113"/>
                    </a:lnTo>
                    <a:lnTo>
                      <a:pt x="192" y="113"/>
                    </a:lnTo>
                    <a:lnTo>
                      <a:pt x="186" y="115"/>
                    </a:lnTo>
                    <a:lnTo>
                      <a:pt x="184" y="115"/>
                    </a:lnTo>
                    <a:lnTo>
                      <a:pt x="182" y="113"/>
                    </a:lnTo>
                    <a:lnTo>
                      <a:pt x="182" y="113"/>
                    </a:lnTo>
                    <a:lnTo>
                      <a:pt x="180" y="112"/>
                    </a:lnTo>
                    <a:lnTo>
                      <a:pt x="177" y="112"/>
                    </a:lnTo>
                    <a:lnTo>
                      <a:pt x="174" y="113"/>
                    </a:lnTo>
                    <a:lnTo>
                      <a:pt x="174" y="116"/>
                    </a:lnTo>
                    <a:lnTo>
                      <a:pt x="174" y="116"/>
                    </a:lnTo>
                    <a:lnTo>
                      <a:pt x="173" y="119"/>
                    </a:lnTo>
                    <a:lnTo>
                      <a:pt x="171" y="122"/>
                    </a:lnTo>
                    <a:lnTo>
                      <a:pt x="168" y="125"/>
                    </a:lnTo>
                    <a:lnTo>
                      <a:pt x="167" y="128"/>
                    </a:lnTo>
                    <a:lnTo>
                      <a:pt x="167" y="128"/>
                    </a:lnTo>
                    <a:lnTo>
                      <a:pt x="168" y="129"/>
                    </a:lnTo>
                    <a:lnTo>
                      <a:pt x="171" y="129"/>
                    </a:lnTo>
                    <a:lnTo>
                      <a:pt x="179" y="128"/>
                    </a:lnTo>
                    <a:lnTo>
                      <a:pt x="179" y="128"/>
                    </a:lnTo>
                    <a:lnTo>
                      <a:pt x="180" y="129"/>
                    </a:lnTo>
                    <a:lnTo>
                      <a:pt x="180" y="131"/>
                    </a:lnTo>
                    <a:lnTo>
                      <a:pt x="174" y="138"/>
                    </a:lnTo>
                    <a:lnTo>
                      <a:pt x="174" y="138"/>
                    </a:lnTo>
                    <a:lnTo>
                      <a:pt x="173" y="141"/>
                    </a:lnTo>
                    <a:lnTo>
                      <a:pt x="174" y="141"/>
                    </a:lnTo>
                    <a:lnTo>
                      <a:pt x="180" y="139"/>
                    </a:lnTo>
                    <a:lnTo>
                      <a:pt x="180" y="139"/>
                    </a:lnTo>
                    <a:lnTo>
                      <a:pt x="183" y="139"/>
                    </a:lnTo>
                    <a:lnTo>
                      <a:pt x="183" y="141"/>
                    </a:lnTo>
                    <a:lnTo>
                      <a:pt x="182" y="144"/>
                    </a:lnTo>
                    <a:lnTo>
                      <a:pt x="179" y="145"/>
                    </a:lnTo>
                    <a:lnTo>
                      <a:pt x="179" y="145"/>
                    </a:lnTo>
                    <a:lnTo>
                      <a:pt x="171" y="148"/>
                    </a:lnTo>
                    <a:lnTo>
                      <a:pt x="168" y="150"/>
                    </a:lnTo>
                    <a:lnTo>
                      <a:pt x="167" y="154"/>
                    </a:lnTo>
                    <a:lnTo>
                      <a:pt x="167" y="154"/>
                    </a:lnTo>
                    <a:lnTo>
                      <a:pt x="166" y="155"/>
                    </a:lnTo>
                    <a:lnTo>
                      <a:pt x="166" y="157"/>
                    </a:lnTo>
                    <a:lnTo>
                      <a:pt x="168" y="158"/>
                    </a:lnTo>
                    <a:lnTo>
                      <a:pt x="179" y="160"/>
                    </a:lnTo>
                    <a:lnTo>
                      <a:pt x="179" y="160"/>
                    </a:lnTo>
                    <a:lnTo>
                      <a:pt x="171" y="160"/>
                    </a:lnTo>
                    <a:lnTo>
                      <a:pt x="163" y="160"/>
                    </a:lnTo>
                    <a:lnTo>
                      <a:pt x="161" y="161"/>
                    </a:lnTo>
                    <a:lnTo>
                      <a:pt x="160" y="163"/>
                    </a:lnTo>
                    <a:lnTo>
                      <a:pt x="160" y="163"/>
                    </a:lnTo>
                    <a:lnTo>
                      <a:pt x="161" y="166"/>
                    </a:lnTo>
                    <a:lnTo>
                      <a:pt x="158" y="168"/>
                    </a:lnTo>
                    <a:lnTo>
                      <a:pt x="157" y="171"/>
                    </a:lnTo>
                    <a:lnTo>
                      <a:pt x="155" y="174"/>
                    </a:lnTo>
                    <a:lnTo>
                      <a:pt x="155" y="174"/>
                    </a:lnTo>
                    <a:lnTo>
                      <a:pt x="157" y="176"/>
                    </a:lnTo>
                    <a:lnTo>
                      <a:pt x="160" y="176"/>
                    </a:lnTo>
                    <a:lnTo>
                      <a:pt x="166" y="176"/>
                    </a:lnTo>
                    <a:lnTo>
                      <a:pt x="166" y="176"/>
                    </a:lnTo>
                    <a:lnTo>
                      <a:pt x="167" y="176"/>
                    </a:lnTo>
                    <a:lnTo>
                      <a:pt x="166" y="177"/>
                    </a:lnTo>
                    <a:lnTo>
                      <a:pt x="163" y="179"/>
                    </a:lnTo>
                    <a:lnTo>
                      <a:pt x="154" y="181"/>
                    </a:lnTo>
                    <a:lnTo>
                      <a:pt x="154" y="181"/>
                    </a:lnTo>
                    <a:lnTo>
                      <a:pt x="151" y="183"/>
                    </a:lnTo>
                    <a:lnTo>
                      <a:pt x="148" y="186"/>
                    </a:lnTo>
                    <a:lnTo>
                      <a:pt x="145" y="189"/>
                    </a:lnTo>
                    <a:lnTo>
                      <a:pt x="145" y="192"/>
                    </a:lnTo>
                    <a:lnTo>
                      <a:pt x="145" y="192"/>
                    </a:lnTo>
                    <a:lnTo>
                      <a:pt x="144" y="196"/>
                    </a:lnTo>
                    <a:lnTo>
                      <a:pt x="142" y="199"/>
                    </a:lnTo>
                    <a:lnTo>
                      <a:pt x="137" y="203"/>
                    </a:lnTo>
                    <a:lnTo>
                      <a:pt x="137" y="203"/>
                    </a:lnTo>
                    <a:lnTo>
                      <a:pt x="134" y="206"/>
                    </a:lnTo>
                    <a:lnTo>
                      <a:pt x="132" y="210"/>
                    </a:lnTo>
                    <a:lnTo>
                      <a:pt x="131" y="218"/>
                    </a:lnTo>
                    <a:lnTo>
                      <a:pt x="131" y="218"/>
                    </a:lnTo>
                    <a:lnTo>
                      <a:pt x="132" y="219"/>
                    </a:lnTo>
                    <a:lnTo>
                      <a:pt x="134" y="219"/>
                    </a:lnTo>
                    <a:lnTo>
                      <a:pt x="137" y="221"/>
                    </a:lnTo>
                    <a:lnTo>
                      <a:pt x="141" y="223"/>
                    </a:lnTo>
                    <a:lnTo>
                      <a:pt x="141" y="223"/>
                    </a:lnTo>
                    <a:lnTo>
                      <a:pt x="144" y="226"/>
                    </a:lnTo>
                    <a:lnTo>
                      <a:pt x="141" y="225"/>
                    </a:lnTo>
                    <a:lnTo>
                      <a:pt x="135" y="225"/>
                    </a:lnTo>
                    <a:lnTo>
                      <a:pt x="131" y="225"/>
                    </a:lnTo>
                    <a:lnTo>
                      <a:pt x="131" y="225"/>
                    </a:lnTo>
                    <a:lnTo>
                      <a:pt x="128" y="226"/>
                    </a:lnTo>
                    <a:lnTo>
                      <a:pt x="126" y="228"/>
                    </a:lnTo>
                    <a:lnTo>
                      <a:pt x="125" y="231"/>
                    </a:lnTo>
                    <a:lnTo>
                      <a:pt x="126" y="234"/>
                    </a:lnTo>
                    <a:lnTo>
                      <a:pt x="126" y="234"/>
                    </a:lnTo>
                    <a:lnTo>
                      <a:pt x="129" y="235"/>
                    </a:lnTo>
                    <a:lnTo>
                      <a:pt x="129" y="236"/>
                    </a:lnTo>
                    <a:lnTo>
                      <a:pt x="128" y="239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28" y="248"/>
                    </a:lnTo>
                    <a:lnTo>
                      <a:pt x="125" y="252"/>
                    </a:lnTo>
                    <a:lnTo>
                      <a:pt x="119" y="260"/>
                    </a:lnTo>
                    <a:lnTo>
                      <a:pt x="119" y="260"/>
                    </a:lnTo>
                    <a:lnTo>
                      <a:pt x="118" y="261"/>
                    </a:lnTo>
                    <a:lnTo>
                      <a:pt x="121" y="263"/>
                    </a:lnTo>
                    <a:lnTo>
                      <a:pt x="126" y="260"/>
                    </a:lnTo>
                    <a:lnTo>
                      <a:pt x="126" y="260"/>
                    </a:lnTo>
                    <a:lnTo>
                      <a:pt x="128" y="260"/>
                    </a:lnTo>
                    <a:lnTo>
                      <a:pt x="126" y="261"/>
                    </a:lnTo>
                    <a:lnTo>
                      <a:pt x="124" y="264"/>
                    </a:lnTo>
                    <a:lnTo>
                      <a:pt x="116" y="271"/>
                    </a:lnTo>
                    <a:lnTo>
                      <a:pt x="116" y="271"/>
                    </a:lnTo>
                    <a:lnTo>
                      <a:pt x="112" y="274"/>
                    </a:lnTo>
                    <a:lnTo>
                      <a:pt x="111" y="277"/>
                    </a:lnTo>
                    <a:lnTo>
                      <a:pt x="109" y="280"/>
                    </a:lnTo>
                    <a:lnTo>
                      <a:pt x="109" y="280"/>
                    </a:lnTo>
                    <a:lnTo>
                      <a:pt x="109" y="283"/>
                    </a:lnTo>
                    <a:lnTo>
                      <a:pt x="106" y="283"/>
                    </a:lnTo>
                    <a:lnTo>
                      <a:pt x="103" y="281"/>
                    </a:lnTo>
                    <a:lnTo>
                      <a:pt x="99" y="281"/>
                    </a:lnTo>
                    <a:lnTo>
                      <a:pt x="99" y="281"/>
                    </a:lnTo>
                    <a:lnTo>
                      <a:pt x="98" y="281"/>
                    </a:lnTo>
                    <a:lnTo>
                      <a:pt x="96" y="284"/>
                    </a:lnTo>
                    <a:lnTo>
                      <a:pt x="92" y="290"/>
                    </a:lnTo>
                    <a:lnTo>
                      <a:pt x="86" y="300"/>
                    </a:lnTo>
                    <a:lnTo>
                      <a:pt x="86" y="300"/>
                    </a:lnTo>
                    <a:lnTo>
                      <a:pt x="77" y="312"/>
                    </a:lnTo>
                    <a:lnTo>
                      <a:pt x="77" y="312"/>
                    </a:lnTo>
                    <a:lnTo>
                      <a:pt x="79" y="315"/>
                    </a:lnTo>
                    <a:lnTo>
                      <a:pt x="82" y="316"/>
                    </a:lnTo>
                    <a:lnTo>
                      <a:pt x="89" y="318"/>
                    </a:lnTo>
                    <a:lnTo>
                      <a:pt x="89" y="318"/>
                    </a:lnTo>
                    <a:lnTo>
                      <a:pt x="92" y="318"/>
                    </a:lnTo>
                    <a:lnTo>
                      <a:pt x="96" y="316"/>
                    </a:lnTo>
                    <a:lnTo>
                      <a:pt x="103" y="312"/>
                    </a:lnTo>
                    <a:lnTo>
                      <a:pt x="103" y="312"/>
                    </a:lnTo>
                    <a:lnTo>
                      <a:pt x="99" y="318"/>
                    </a:lnTo>
                    <a:lnTo>
                      <a:pt x="93" y="322"/>
                    </a:lnTo>
                    <a:lnTo>
                      <a:pt x="89" y="325"/>
                    </a:lnTo>
                    <a:lnTo>
                      <a:pt x="89" y="325"/>
                    </a:lnTo>
                    <a:lnTo>
                      <a:pt x="86" y="325"/>
                    </a:lnTo>
                    <a:lnTo>
                      <a:pt x="84" y="323"/>
                    </a:lnTo>
                    <a:lnTo>
                      <a:pt x="83" y="322"/>
                    </a:lnTo>
                    <a:lnTo>
                      <a:pt x="82" y="320"/>
                    </a:lnTo>
                    <a:lnTo>
                      <a:pt x="82" y="320"/>
                    </a:lnTo>
                    <a:lnTo>
                      <a:pt x="80" y="322"/>
                    </a:lnTo>
                    <a:lnTo>
                      <a:pt x="79" y="323"/>
                    </a:lnTo>
                    <a:lnTo>
                      <a:pt x="76" y="328"/>
                    </a:lnTo>
                    <a:lnTo>
                      <a:pt x="76" y="328"/>
                    </a:lnTo>
                    <a:lnTo>
                      <a:pt x="74" y="328"/>
                    </a:lnTo>
                    <a:lnTo>
                      <a:pt x="70" y="329"/>
                    </a:lnTo>
                    <a:lnTo>
                      <a:pt x="67" y="329"/>
                    </a:lnTo>
                    <a:lnTo>
                      <a:pt x="63" y="329"/>
                    </a:lnTo>
                    <a:lnTo>
                      <a:pt x="63" y="329"/>
                    </a:lnTo>
                    <a:lnTo>
                      <a:pt x="60" y="334"/>
                    </a:lnTo>
                    <a:lnTo>
                      <a:pt x="58" y="336"/>
                    </a:lnTo>
                    <a:lnTo>
                      <a:pt x="60" y="339"/>
                    </a:lnTo>
                    <a:lnTo>
                      <a:pt x="60" y="339"/>
                    </a:lnTo>
                    <a:lnTo>
                      <a:pt x="61" y="342"/>
                    </a:lnTo>
                    <a:lnTo>
                      <a:pt x="61" y="344"/>
                    </a:lnTo>
                    <a:lnTo>
                      <a:pt x="61" y="349"/>
                    </a:lnTo>
                    <a:lnTo>
                      <a:pt x="61" y="349"/>
                    </a:lnTo>
                    <a:lnTo>
                      <a:pt x="61" y="351"/>
                    </a:lnTo>
                    <a:lnTo>
                      <a:pt x="60" y="351"/>
                    </a:lnTo>
                    <a:lnTo>
                      <a:pt x="57" y="348"/>
                    </a:lnTo>
                    <a:lnTo>
                      <a:pt x="53" y="347"/>
                    </a:lnTo>
                    <a:lnTo>
                      <a:pt x="53" y="347"/>
                    </a:lnTo>
                    <a:lnTo>
                      <a:pt x="50" y="347"/>
                    </a:lnTo>
                    <a:lnTo>
                      <a:pt x="47" y="348"/>
                    </a:lnTo>
                    <a:lnTo>
                      <a:pt x="45" y="349"/>
                    </a:lnTo>
                    <a:lnTo>
                      <a:pt x="44" y="352"/>
                    </a:lnTo>
                    <a:lnTo>
                      <a:pt x="44" y="352"/>
                    </a:lnTo>
                    <a:lnTo>
                      <a:pt x="40" y="354"/>
                    </a:lnTo>
                    <a:lnTo>
                      <a:pt x="35" y="354"/>
                    </a:lnTo>
                    <a:lnTo>
                      <a:pt x="31" y="355"/>
                    </a:lnTo>
                    <a:lnTo>
                      <a:pt x="28" y="355"/>
                    </a:lnTo>
                    <a:lnTo>
                      <a:pt x="28" y="355"/>
                    </a:lnTo>
                    <a:lnTo>
                      <a:pt x="27" y="357"/>
                    </a:lnTo>
                    <a:lnTo>
                      <a:pt x="28" y="358"/>
                    </a:lnTo>
                    <a:lnTo>
                      <a:pt x="32" y="362"/>
                    </a:lnTo>
                    <a:lnTo>
                      <a:pt x="32" y="362"/>
                    </a:lnTo>
                    <a:lnTo>
                      <a:pt x="34" y="364"/>
                    </a:lnTo>
                    <a:lnTo>
                      <a:pt x="32" y="364"/>
                    </a:lnTo>
                    <a:lnTo>
                      <a:pt x="24" y="362"/>
                    </a:lnTo>
                    <a:lnTo>
                      <a:pt x="24" y="362"/>
                    </a:lnTo>
                    <a:lnTo>
                      <a:pt x="21" y="362"/>
                    </a:lnTo>
                    <a:lnTo>
                      <a:pt x="19" y="364"/>
                    </a:lnTo>
                    <a:lnTo>
                      <a:pt x="19" y="370"/>
                    </a:lnTo>
                    <a:lnTo>
                      <a:pt x="19" y="370"/>
                    </a:lnTo>
                    <a:lnTo>
                      <a:pt x="18" y="371"/>
                    </a:lnTo>
                    <a:lnTo>
                      <a:pt x="15" y="373"/>
                    </a:lnTo>
                    <a:lnTo>
                      <a:pt x="12" y="373"/>
                    </a:lnTo>
                    <a:lnTo>
                      <a:pt x="9" y="374"/>
                    </a:lnTo>
                    <a:lnTo>
                      <a:pt x="9" y="374"/>
                    </a:lnTo>
                    <a:lnTo>
                      <a:pt x="9" y="376"/>
                    </a:lnTo>
                    <a:lnTo>
                      <a:pt x="11" y="377"/>
                    </a:lnTo>
                    <a:lnTo>
                      <a:pt x="12" y="378"/>
                    </a:lnTo>
                    <a:lnTo>
                      <a:pt x="11" y="378"/>
                    </a:lnTo>
                    <a:lnTo>
                      <a:pt x="11" y="378"/>
                    </a:lnTo>
                    <a:lnTo>
                      <a:pt x="8" y="380"/>
                    </a:lnTo>
                    <a:lnTo>
                      <a:pt x="5" y="381"/>
                    </a:lnTo>
                    <a:lnTo>
                      <a:pt x="2" y="383"/>
                    </a:lnTo>
                    <a:lnTo>
                      <a:pt x="3" y="386"/>
                    </a:lnTo>
                    <a:lnTo>
                      <a:pt x="3" y="386"/>
                    </a:lnTo>
                    <a:lnTo>
                      <a:pt x="8" y="391"/>
                    </a:lnTo>
                    <a:lnTo>
                      <a:pt x="11" y="400"/>
                    </a:lnTo>
                    <a:lnTo>
                      <a:pt x="11" y="400"/>
                    </a:lnTo>
                    <a:lnTo>
                      <a:pt x="14" y="405"/>
                    </a:lnTo>
                    <a:lnTo>
                      <a:pt x="15" y="406"/>
                    </a:lnTo>
                    <a:lnTo>
                      <a:pt x="12" y="406"/>
                    </a:lnTo>
                    <a:lnTo>
                      <a:pt x="12" y="406"/>
                    </a:lnTo>
                    <a:lnTo>
                      <a:pt x="8" y="406"/>
                    </a:lnTo>
                    <a:lnTo>
                      <a:pt x="6" y="407"/>
                    </a:lnTo>
                    <a:lnTo>
                      <a:pt x="8" y="410"/>
                    </a:lnTo>
                    <a:lnTo>
                      <a:pt x="9" y="413"/>
                    </a:lnTo>
                    <a:lnTo>
                      <a:pt x="9" y="413"/>
                    </a:lnTo>
                    <a:lnTo>
                      <a:pt x="11" y="416"/>
                    </a:lnTo>
                    <a:lnTo>
                      <a:pt x="11" y="418"/>
                    </a:lnTo>
                    <a:lnTo>
                      <a:pt x="3" y="419"/>
                    </a:lnTo>
                    <a:lnTo>
                      <a:pt x="3" y="419"/>
                    </a:lnTo>
                    <a:lnTo>
                      <a:pt x="0" y="422"/>
                    </a:lnTo>
                    <a:lnTo>
                      <a:pt x="2" y="423"/>
                    </a:lnTo>
                    <a:lnTo>
                      <a:pt x="5" y="425"/>
                    </a:lnTo>
                    <a:lnTo>
                      <a:pt x="8" y="426"/>
                    </a:lnTo>
                    <a:lnTo>
                      <a:pt x="8" y="426"/>
                    </a:lnTo>
                    <a:lnTo>
                      <a:pt x="9" y="429"/>
                    </a:lnTo>
                    <a:lnTo>
                      <a:pt x="8" y="431"/>
                    </a:lnTo>
                    <a:lnTo>
                      <a:pt x="8" y="432"/>
                    </a:lnTo>
                    <a:lnTo>
                      <a:pt x="9" y="433"/>
                    </a:lnTo>
                    <a:lnTo>
                      <a:pt x="9" y="433"/>
                    </a:lnTo>
                    <a:lnTo>
                      <a:pt x="11" y="435"/>
                    </a:lnTo>
                    <a:lnTo>
                      <a:pt x="11" y="435"/>
                    </a:lnTo>
                    <a:lnTo>
                      <a:pt x="9" y="438"/>
                    </a:lnTo>
                    <a:lnTo>
                      <a:pt x="8" y="441"/>
                    </a:lnTo>
                    <a:lnTo>
                      <a:pt x="8" y="444"/>
                    </a:lnTo>
                    <a:lnTo>
                      <a:pt x="9" y="445"/>
                    </a:lnTo>
                    <a:lnTo>
                      <a:pt x="9" y="445"/>
                    </a:lnTo>
                    <a:lnTo>
                      <a:pt x="12" y="447"/>
                    </a:lnTo>
                    <a:lnTo>
                      <a:pt x="15" y="445"/>
                    </a:lnTo>
                    <a:lnTo>
                      <a:pt x="19" y="439"/>
                    </a:lnTo>
                    <a:lnTo>
                      <a:pt x="19" y="439"/>
                    </a:lnTo>
                    <a:lnTo>
                      <a:pt x="21" y="438"/>
                    </a:lnTo>
                    <a:lnTo>
                      <a:pt x="21" y="441"/>
                    </a:lnTo>
                    <a:lnTo>
                      <a:pt x="16" y="451"/>
                    </a:lnTo>
                    <a:lnTo>
                      <a:pt x="16" y="451"/>
                    </a:lnTo>
                    <a:lnTo>
                      <a:pt x="14" y="452"/>
                    </a:lnTo>
                    <a:lnTo>
                      <a:pt x="12" y="452"/>
                    </a:lnTo>
                    <a:lnTo>
                      <a:pt x="9" y="451"/>
                    </a:lnTo>
                    <a:lnTo>
                      <a:pt x="6" y="451"/>
                    </a:lnTo>
                    <a:lnTo>
                      <a:pt x="6" y="451"/>
                    </a:lnTo>
                    <a:lnTo>
                      <a:pt x="3" y="451"/>
                    </a:lnTo>
                    <a:lnTo>
                      <a:pt x="3" y="452"/>
                    </a:lnTo>
                    <a:lnTo>
                      <a:pt x="5" y="455"/>
                    </a:lnTo>
                    <a:lnTo>
                      <a:pt x="8" y="460"/>
                    </a:lnTo>
                    <a:lnTo>
                      <a:pt x="9" y="464"/>
                    </a:lnTo>
                    <a:lnTo>
                      <a:pt x="9" y="464"/>
                    </a:lnTo>
                    <a:lnTo>
                      <a:pt x="11" y="470"/>
                    </a:lnTo>
                    <a:lnTo>
                      <a:pt x="15" y="470"/>
                    </a:lnTo>
                    <a:lnTo>
                      <a:pt x="15" y="470"/>
                    </a:lnTo>
                    <a:lnTo>
                      <a:pt x="18" y="468"/>
                    </a:lnTo>
                    <a:lnTo>
                      <a:pt x="19" y="468"/>
                    </a:lnTo>
                    <a:lnTo>
                      <a:pt x="22" y="464"/>
                    </a:lnTo>
                    <a:lnTo>
                      <a:pt x="22" y="464"/>
                    </a:lnTo>
                    <a:lnTo>
                      <a:pt x="24" y="462"/>
                    </a:lnTo>
                    <a:lnTo>
                      <a:pt x="24" y="464"/>
                    </a:lnTo>
                    <a:lnTo>
                      <a:pt x="24" y="467"/>
                    </a:lnTo>
                    <a:lnTo>
                      <a:pt x="22" y="471"/>
                    </a:lnTo>
                    <a:lnTo>
                      <a:pt x="24" y="477"/>
                    </a:lnTo>
                    <a:lnTo>
                      <a:pt x="24" y="477"/>
                    </a:lnTo>
                    <a:lnTo>
                      <a:pt x="24" y="478"/>
                    </a:lnTo>
                    <a:lnTo>
                      <a:pt x="21" y="478"/>
                    </a:lnTo>
                    <a:lnTo>
                      <a:pt x="18" y="477"/>
                    </a:lnTo>
                    <a:lnTo>
                      <a:pt x="15" y="478"/>
                    </a:lnTo>
                    <a:lnTo>
                      <a:pt x="15" y="478"/>
                    </a:lnTo>
                    <a:lnTo>
                      <a:pt x="12" y="481"/>
                    </a:lnTo>
                    <a:lnTo>
                      <a:pt x="14" y="484"/>
                    </a:lnTo>
                    <a:lnTo>
                      <a:pt x="15" y="487"/>
                    </a:lnTo>
                    <a:lnTo>
                      <a:pt x="16" y="490"/>
                    </a:lnTo>
                    <a:lnTo>
                      <a:pt x="16" y="490"/>
                    </a:lnTo>
                    <a:lnTo>
                      <a:pt x="31" y="503"/>
                    </a:lnTo>
                    <a:lnTo>
                      <a:pt x="31" y="503"/>
                    </a:lnTo>
                    <a:lnTo>
                      <a:pt x="35" y="504"/>
                    </a:lnTo>
                    <a:lnTo>
                      <a:pt x="40" y="506"/>
                    </a:lnTo>
                    <a:lnTo>
                      <a:pt x="48" y="503"/>
                    </a:lnTo>
                    <a:lnTo>
                      <a:pt x="48" y="503"/>
                    </a:lnTo>
                    <a:lnTo>
                      <a:pt x="51" y="503"/>
                    </a:lnTo>
                    <a:lnTo>
                      <a:pt x="54" y="503"/>
                    </a:lnTo>
                    <a:lnTo>
                      <a:pt x="56" y="504"/>
                    </a:lnTo>
                    <a:lnTo>
                      <a:pt x="58" y="503"/>
                    </a:lnTo>
                    <a:lnTo>
                      <a:pt x="58" y="503"/>
                    </a:lnTo>
                    <a:lnTo>
                      <a:pt x="66" y="494"/>
                    </a:lnTo>
                    <a:lnTo>
                      <a:pt x="71" y="489"/>
                    </a:lnTo>
                    <a:lnTo>
                      <a:pt x="76" y="481"/>
                    </a:lnTo>
                    <a:lnTo>
                      <a:pt x="76" y="481"/>
                    </a:lnTo>
                    <a:lnTo>
                      <a:pt x="80" y="475"/>
                    </a:lnTo>
                    <a:lnTo>
                      <a:pt x="83" y="471"/>
                    </a:lnTo>
                    <a:lnTo>
                      <a:pt x="86" y="471"/>
                    </a:lnTo>
                    <a:lnTo>
                      <a:pt x="89" y="470"/>
                    </a:lnTo>
                    <a:lnTo>
                      <a:pt x="89" y="470"/>
                    </a:lnTo>
                    <a:lnTo>
                      <a:pt x="92" y="470"/>
                    </a:lnTo>
                    <a:lnTo>
                      <a:pt x="95" y="467"/>
                    </a:lnTo>
                    <a:lnTo>
                      <a:pt x="95" y="460"/>
                    </a:lnTo>
                    <a:lnTo>
                      <a:pt x="95" y="460"/>
                    </a:lnTo>
                    <a:lnTo>
                      <a:pt x="95" y="458"/>
                    </a:lnTo>
                    <a:lnTo>
                      <a:pt x="95" y="458"/>
                    </a:lnTo>
                    <a:lnTo>
                      <a:pt x="96" y="462"/>
                    </a:lnTo>
                    <a:lnTo>
                      <a:pt x="100" y="474"/>
                    </a:lnTo>
                    <a:lnTo>
                      <a:pt x="100" y="474"/>
                    </a:lnTo>
                    <a:lnTo>
                      <a:pt x="111" y="478"/>
                    </a:lnTo>
                    <a:lnTo>
                      <a:pt x="111" y="478"/>
                    </a:lnTo>
                    <a:lnTo>
                      <a:pt x="113" y="478"/>
                    </a:lnTo>
                    <a:lnTo>
                      <a:pt x="115" y="477"/>
                    </a:lnTo>
                    <a:lnTo>
                      <a:pt x="116" y="473"/>
                    </a:lnTo>
                    <a:lnTo>
                      <a:pt x="118" y="46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73" name="Freeform 726"/>
              <p:cNvSpPr>
                <a:spLocks/>
              </p:cNvSpPr>
              <p:nvPr/>
            </p:nvSpPr>
            <p:spPr bwMode="auto">
              <a:xfrm>
                <a:off x="4481977" y="1696731"/>
                <a:ext cx="414500" cy="500565"/>
              </a:xfrm>
              <a:custGeom>
                <a:avLst/>
                <a:gdLst>
                  <a:gd name="T0" fmla="*/ 126 w 419"/>
                  <a:gd name="T1" fmla="*/ 415 h 506"/>
                  <a:gd name="T2" fmla="*/ 124 w 419"/>
                  <a:gd name="T3" fmla="*/ 331 h 506"/>
                  <a:gd name="T4" fmla="*/ 151 w 419"/>
                  <a:gd name="T5" fmla="*/ 277 h 506"/>
                  <a:gd name="T6" fmla="*/ 168 w 419"/>
                  <a:gd name="T7" fmla="*/ 222 h 506"/>
                  <a:gd name="T8" fmla="*/ 200 w 419"/>
                  <a:gd name="T9" fmla="*/ 144 h 506"/>
                  <a:gd name="T10" fmla="*/ 216 w 419"/>
                  <a:gd name="T11" fmla="*/ 124 h 506"/>
                  <a:gd name="T12" fmla="*/ 261 w 419"/>
                  <a:gd name="T13" fmla="*/ 99 h 506"/>
                  <a:gd name="T14" fmla="*/ 286 w 419"/>
                  <a:gd name="T15" fmla="*/ 112 h 506"/>
                  <a:gd name="T16" fmla="*/ 331 w 419"/>
                  <a:gd name="T17" fmla="*/ 110 h 506"/>
                  <a:gd name="T18" fmla="*/ 360 w 419"/>
                  <a:gd name="T19" fmla="*/ 60 h 506"/>
                  <a:gd name="T20" fmla="*/ 393 w 419"/>
                  <a:gd name="T21" fmla="*/ 77 h 506"/>
                  <a:gd name="T22" fmla="*/ 397 w 419"/>
                  <a:gd name="T23" fmla="*/ 95 h 506"/>
                  <a:gd name="T24" fmla="*/ 402 w 419"/>
                  <a:gd name="T25" fmla="*/ 64 h 506"/>
                  <a:gd name="T26" fmla="*/ 396 w 419"/>
                  <a:gd name="T27" fmla="*/ 51 h 506"/>
                  <a:gd name="T28" fmla="*/ 415 w 419"/>
                  <a:gd name="T29" fmla="*/ 32 h 506"/>
                  <a:gd name="T30" fmla="*/ 392 w 419"/>
                  <a:gd name="T31" fmla="*/ 19 h 506"/>
                  <a:gd name="T32" fmla="*/ 371 w 419"/>
                  <a:gd name="T33" fmla="*/ 29 h 506"/>
                  <a:gd name="T34" fmla="*/ 374 w 419"/>
                  <a:gd name="T35" fmla="*/ 13 h 506"/>
                  <a:gd name="T36" fmla="*/ 358 w 419"/>
                  <a:gd name="T37" fmla="*/ 6 h 506"/>
                  <a:gd name="T38" fmla="*/ 351 w 419"/>
                  <a:gd name="T39" fmla="*/ 0 h 506"/>
                  <a:gd name="T40" fmla="*/ 322 w 419"/>
                  <a:gd name="T41" fmla="*/ 51 h 506"/>
                  <a:gd name="T42" fmla="*/ 335 w 419"/>
                  <a:gd name="T43" fmla="*/ 11 h 506"/>
                  <a:gd name="T44" fmla="*/ 315 w 419"/>
                  <a:gd name="T45" fmla="*/ 2 h 506"/>
                  <a:gd name="T46" fmla="*/ 309 w 419"/>
                  <a:gd name="T47" fmla="*/ 22 h 506"/>
                  <a:gd name="T48" fmla="*/ 297 w 419"/>
                  <a:gd name="T49" fmla="*/ 25 h 506"/>
                  <a:gd name="T50" fmla="*/ 294 w 419"/>
                  <a:gd name="T51" fmla="*/ 50 h 506"/>
                  <a:gd name="T52" fmla="*/ 286 w 419"/>
                  <a:gd name="T53" fmla="*/ 51 h 506"/>
                  <a:gd name="T54" fmla="*/ 271 w 419"/>
                  <a:gd name="T55" fmla="*/ 37 h 506"/>
                  <a:gd name="T56" fmla="*/ 274 w 419"/>
                  <a:gd name="T57" fmla="*/ 60 h 506"/>
                  <a:gd name="T58" fmla="*/ 261 w 419"/>
                  <a:gd name="T59" fmla="*/ 66 h 506"/>
                  <a:gd name="T60" fmla="*/ 250 w 419"/>
                  <a:gd name="T61" fmla="*/ 66 h 506"/>
                  <a:gd name="T62" fmla="*/ 239 w 419"/>
                  <a:gd name="T63" fmla="*/ 58 h 506"/>
                  <a:gd name="T64" fmla="*/ 221 w 419"/>
                  <a:gd name="T65" fmla="*/ 58 h 506"/>
                  <a:gd name="T66" fmla="*/ 221 w 419"/>
                  <a:gd name="T67" fmla="*/ 79 h 506"/>
                  <a:gd name="T68" fmla="*/ 209 w 419"/>
                  <a:gd name="T69" fmla="*/ 97 h 506"/>
                  <a:gd name="T70" fmla="*/ 197 w 419"/>
                  <a:gd name="T71" fmla="*/ 109 h 506"/>
                  <a:gd name="T72" fmla="*/ 173 w 419"/>
                  <a:gd name="T73" fmla="*/ 119 h 506"/>
                  <a:gd name="T74" fmla="*/ 174 w 419"/>
                  <a:gd name="T75" fmla="*/ 138 h 506"/>
                  <a:gd name="T76" fmla="*/ 167 w 419"/>
                  <a:gd name="T77" fmla="*/ 154 h 506"/>
                  <a:gd name="T78" fmla="*/ 161 w 419"/>
                  <a:gd name="T79" fmla="*/ 166 h 506"/>
                  <a:gd name="T80" fmla="*/ 154 w 419"/>
                  <a:gd name="T81" fmla="*/ 181 h 506"/>
                  <a:gd name="T82" fmla="*/ 132 w 419"/>
                  <a:gd name="T83" fmla="*/ 210 h 506"/>
                  <a:gd name="T84" fmla="*/ 131 w 419"/>
                  <a:gd name="T85" fmla="*/ 225 h 506"/>
                  <a:gd name="T86" fmla="*/ 125 w 419"/>
                  <a:gd name="T87" fmla="*/ 252 h 506"/>
                  <a:gd name="T88" fmla="*/ 112 w 419"/>
                  <a:gd name="T89" fmla="*/ 274 h 506"/>
                  <a:gd name="T90" fmla="*/ 86 w 419"/>
                  <a:gd name="T91" fmla="*/ 300 h 506"/>
                  <a:gd name="T92" fmla="*/ 99 w 419"/>
                  <a:gd name="T93" fmla="*/ 318 h 506"/>
                  <a:gd name="T94" fmla="*/ 76 w 419"/>
                  <a:gd name="T95" fmla="*/ 328 h 506"/>
                  <a:gd name="T96" fmla="*/ 61 w 419"/>
                  <a:gd name="T97" fmla="*/ 349 h 506"/>
                  <a:gd name="T98" fmla="*/ 40 w 419"/>
                  <a:gd name="T99" fmla="*/ 354 h 506"/>
                  <a:gd name="T100" fmla="*/ 24 w 419"/>
                  <a:gd name="T101" fmla="*/ 362 h 506"/>
                  <a:gd name="T102" fmla="*/ 12 w 419"/>
                  <a:gd name="T103" fmla="*/ 378 h 506"/>
                  <a:gd name="T104" fmla="*/ 15 w 419"/>
                  <a:gd name="T105" fmla="*/ 406 h 506"/>
                  <a:gd name="T106" fmla="*/ 0 w 419"/>
                  <a:gd name="T107" fmla="*/ 422 h 506"/>
                  <a:gd name="T108" fmla="*/ 9 w 419"/>
                  <a:gd name="T109" fmla="*/ 438 h 506"/>
                  <a:gd name="T110" fmla="*/ 16 w 419"/>
                  <a:gd name="T111" fmla="*/ 451 h 506"/>
                  <a:gd name="T112" fmla="*/ 11 w 419"/>
                  <a:gd name="T113" fmla="*/ 470 h 506"/>
                  <a:gd name="T114" fmla="*/ 24 w 419"/>
                  <a:gd name="T115" fmla="*/ 477 h 506"/>
                  <a:gd name="T116" fmla="*/ 31 w 419"/>
                  <a:gd name="T117" fmla="*/ 503 h 506"/>
                  <a:gd name="T118" fmla="*/ 76 w 419"/>
                  <a:gd name="T119" fmla="*/ 481 h 506"/>
                  <a:gd name="T120" fmla="*/ 95 w 419"/>
                  <a:gd name="T121" fmla="*/ 458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9" h="506">
                    <a:moveTo>
                      <a:pt x="118" y="460"/>
                    </a:moveTo>
                    <a:lnTo>
                      <a:pt x="118" y="460"/>
                    </a:lnTo>
                    <a:lnTo>
                      <a:pt x="119" y="454"/>
                    </a:lnTo>
                    <a:lnTo>
                      <a:pt x="121" y="449"/>
                    </a:lnTo>
                    <a:lnTo>
                      <a:pt x="126" y="441"/>
                    </a:lnTo>
                    <a:lnTo>
                      <a:pt x="126" y="441"/>
                    </a:lnTo>
                    <a:lnTo>
                      <a:pt x="128" y="438"/>
                    </a:lnTo>
                    <a:lnTo>
                      <a:pt x="129" y="435"/>
                    </a:lnTo>
                    <a:lnTo>
                      <a:pt x="128" y="429"/>
                    </a:lnTo>
                    <a:lnTo>
                      <a:pt x="126" y="422"/>
                    </a:lnTo>
                    <a:lnTo>
                      <a:pt x="126" y="415"/>
                    </a:lnTo>
                    <a:lnTo>
                      <a:pt x="126" y="415"/>
                    </a:lnTo>
                    <a:lnTo>
                      <a:pt x="126" y="410"/>
                    </a:lnTo>
                    <a:lnTo>
                      <a:pt x="128" y="409"/>
                    </a:lnTo>
                    <a:lnTo>
                      <a:pt x="132" y="406"/>
                    </a:lnTo>
                    <a:lnTo>
                      <a:pt x="132" y="406"/>
                    </a:lnTo>
                    <a:lnTo>
                      <a:pt x="132" y="406"/>
                    </a:lnTo>
                    <a:lnTo>
                      <a:pt x="132" y="405"/>
                    </a:lnTo>
                    <a:lnTo>
                      <a:pt x="131" y="400"/>
                    </a:lnTo>
                    <a:lnTo>
                      <a:pt x="125" y="394"/>
                    </a:lnTo>
                    <a:lnTo>
                      <a:pt x="125" y="394"/>
                    </a:lnTo>
                    <a:lnTo>
                      <a:pt x="124" y="384"/>
                    </a:lnTo>
                    <a:lnTo>
                      <a:pt x="124" y="365"/>
                    </a:lnTo>
                    <a:lnTo>
                      <a:pt x="124" y="331"/>
                    </a:lnTo>
                    <a:lnTo>
                      <a:pt x="124" y="331"/>
                    </a:lnTo>
                    <a:lnTo>
                      <a:pt x="125" y="322"/>
                    </a:lnTo>
                    <a:lnTo>
                      <a:pt x="126" y="313"/>
                    </a:lnTo>
                    <a:lnTo>
                      <a:pt x="131" y="303"/>
                    </a:lnTo>
                    <a:lnTo>
                      <a:pt x="131" y="303"/>
                    </a:lnTo>
                    <a:lnTo>
                      <a:pt x="138" y="299"/>
                    </a:lnTo>
                    <a:lnTo>
                      <a:pt x="150" y="293"/>
                    </a:lnTo>
                    <a:lnTo>
                      <a:pt x="150" y="293"/>
                    </a:lnTo>
                    <a:lnTo>
                      <a:pt x="153" y="292"/>
                    </a:lnTo>
                    <a:lnTo>
                      <a:pt x="154" y="289"/>
                    </a:lnTo>
                    <a:lnTo>
                      <a:pt x="153" y="283"/>
                    </a:lnTo>
                    <a:lnTo>
                      <a:pt x="151" y="277"/>
                    </a:lnTo>
                    <a:lnTo>
                      <a:pt x="151" y="274"/>
                    </a:lnTo>
                    <a:lnTo>
                      <a:pt x="151" y="271"/>
                    </a:lnTo>
                    <a:lnTo>
                      <a:pt x="151" y="271"/>
                    </a:lnTo>
                    <a:lnTo>
                      <a:pt x="154" y="267"/>
                    </a:lnTo>
                    <a:lnTo>
                      <a:pt x="155" y="258"/>
                    </a:lnTo>
                    <a:lnTo>
                      <a:pt x="157" y="242"/>
                    </a:lnTo>
                    <a:lnTo>
                      <a:pt x="157" y="242"/>
                    </a:lnTo>
                    <a:lnTo>
                      <a:pt x="160" y="234"/>
                    </a:lnTo>
                    <a:lnTo>
                      <a:pt x="161" y="229"/>
                    </a:lnTo>
                    <a:lnTo>
                      <a:pt x="166" y="226"/>
                    </a:lnTo>
                    <a:lnTo>
                      <a:pt x="166" y="226"/>
                    </a:lnTo>
                    <a:lnTo>
                      <a:pt x="168" y="222"/>
                    </a:lnTo>
                    <a:lnTo>
                      <a:pt x="171" y="218"/>
                    </a:lnTo>
                    <a:lnTo>
                      <a:pt x="176" y="209"/>
                    </a:lnTo>
                    <a:lnTo>
                      <a:pt x="176" y="209"/>
                    </a:lnTo>
                    <a:lnTo>
                      <a:pt x="179" y="200"/>
                    </a:lnTo>
                    <a:lnTo>
                      <a:pt x="182" y="187"/>
                    </a:lnTo>
                    <a:lnTo>
                      <a:pt x="184" y="174"/>
                    </a:lnTo>
                    <a:lnTo>
                      <a:pt x="186" y="167"/>
                    </a:lnTo>
                    <a:lnTo>
                      <a:pt x="186" y="167"/>
                    </a:lnTo>
                    <a:lnTo>
                      <a:pt x="192" y="155"/>
                    </a:lnTo>
                    <a:lnTo>
                      <a:pt x="196" y="150"/>
                    </a:lnTo>
                    <a:lnTo>
                      <a:pt x="200" y="144"/>
                    </a:lnTo>
                    <a:lnTo>
                      <a:pt x="200" y="144"/>
                    </a:lnTo>
                    <a:lnTo>
                      <a:pt x="203" y="141"/>
                    </a:lnTo>
                    <a:lnTo>
                      <a:pt x="206" y="142"/>
                    </a:lnTo>
                    <a:lnTo>
                      <a:pt x="208" y="144"/>
                    </a:lnTo>
                    <a:lnTo>
                      <a:pt x="212" y="144"/>
                    </a:lnTo>
                    <a:lnTo>
                      <a:pt x="212" y="144"/>
                    </a:lnTo>
                    <a:lnTo>
                      <a:pt x="215" y="144"/>
                    </a:lnTo>
                    <a:lnTo>
                      <a:pt x="216" y="141"/>
                    </a:lnTo>
                    <a:lnTo>
                      <a:pt x="216" y="134"/>
                    </a:lnTo>
                    <a:lnTo>
                      <a:pt x="216" y="128"/>
                    </a:lnTo>
                    <a:lnTo>
                      <a:pt x="216" y="125"/>
                    </a:lnTo>
                    <a:lnTo>
                      <a:pt x="216" y="124"/>
                    </a:lnTo>
                    <a:lnTo>
                      <a:pt x="216" y="124"/>
                    </a:lnTo>
                    <a:lnTo>
                      <a:pt x="222" y="122"/>
                    </a:lnTo>
                    <a:lnTo>
                      <a:pt x="229" y="125"/>
                    </a:lnTo>
                    <a:lnTo>
                      <a:pt x="245" y="129"/>
                    </a:lnTo>
                    <a:lnTo>
                      <a:pt x="245" y="129"/>
                    </a:lnTo>
                    <a:lnTo>
                      <a:pt x="248" y="128"/>
                    </a:lnTo>
                    <a:lnTo>
                      <a:pt x="250" y="125"/>
                    </a:lnTo>
                    <a:lnTo>
                      <a:pt x="250" y="115"/>
                    </a:lnTo>
                    <a:lnTo>
                      <a:pt x="250" y="100"/>
                    </a:lnTo>
                    <a:lnTo>
                      <a:pt x="250" y="100"/>
                    </a:lnTo>
                    <a:lnTo>
                      <a:pt x="252" y="100"/>
                    </a:lnTo>
                    <a:lnTo>
                      <a:pt x="261" y="99"/>
                    </a:lnTo>
                    <a:lnTo>
                      <a:pt x="261" y="99"/>
                    </a:lnTo>
                    <a:lnTo>
                      <a:pt x="263" y="99"/>
                    </a:lnTo>
                    <a:lnTo>
                      <a:pt x="264" y="97"/>
                    </a:lnTo>
                    <a:lnTo>
                      <a:pt x="264" y="93"/>
                    </a:lnTo>
                    <a:lnTo>
                      <a:pt x="264" y="90"/>
                    </a:lnTo>
                    <a:lnTo>
                      <a:pt x="264" y="90"/>
                    </a:lnTo>
                    <a:lnTo>
                      <a:pt x="266" y="90"/>
                    </a:lnTo>
                    <a:lnTo>
                      <a:pt x="266" y="90"/>
                    </a:lnTo>
                    <a:lnTo>
                      <a:pt x="270" y="95"/>
                    </a:lnTo>
                    <a:lnTo>
                      <a:pt x="276" y="100"/>
                    </a:lnTo>
                    <a:lnTo>
                      <a:pt x="280" y="108"/>
                    </a:lnTo>
                    <a:lnTo>
                      <a:pt x="286" y="112"/>
                    </a:lnTo>
                    <a:lnTo>
                      <a:pt x="286" y="112"/>
                    </a:lnTo>
                    <a:lnTo>
                      <a:pt x="289" y="113"/>
                    </a:lnTo>
                    <a:lnTo>
                      <a:pt x="292" y="113"/>
                    </a:lnTo>
                    <a:lnTo>
                      <a:pt x="299" y="112"/>
                    </a:lnTo>
                    <a:lnTo>
                      <a:pt x="309" y="109"/>
                    </a:lnTo>
                    <a:lnTo>
                      <a:pt x="309" y="109"/>
                    </a:lnTo>
                    <a:lnTo>
                      <a:pt x="312" y="109"/>
                    </a:lnTo>
                    <a:lnTo>
                      <a:pt x="315" y="112"/>
                    </a:lnTo>
                    <a:lnTo>
                      <a:pt x="319" y="113"/>
                    </a:lnTo>
                    <a:lnTo>
                      <a:pt x="323" y="115"/>
                    </a:lnTo>
                    <a:lnTo>
                      <a:pt x="323" y="115"/>
                    </a:lnTo>
                    <a:lnTo>
                      <a:pt x="326" y="113"/>
                    </a:lnTo>
                    <a:lnTo>
                      <a:pt x="331" y="110"/>
                    </a:lnTo>
                    <a:lnTo>
                      <a:pt x="336" y="105"/>
                    </a:lnTo>
                    <a:lnTo>
                      <a:pt x="336" y="105"/>
                    </a:lnTo>
                    <a:lnTo>
                      <a:pt x="338" y="102"/>
                    </a:lnTo>
                    <a:lnTo>
                      <a:pt x="341" y="95"/>
                    </a:lnTo>
                    <a:lnTo>
                      <a:pt x="344" y="80"/>
                    </a:lnTo>
                    <a:lnTo>
                      <a:pt x="344" y="80"/>
                    </a:lnTo>
                    <a:lnTo>
                      <a:pt x="347" y="68"/>
                    </a:lnTo>
                    <a:lnTo>
                      <a:pt x="350" y="63"/>
                    </a:lnTo>
                    <a:lnTo>
                      <a:pt x="352" y="61"/>
                    </a:lnTo>
                    <a:lnTo>
                      <a:pt x="352" y="61"/>
                    </a:lnTo>
                    <a:lnTo>
                      <a:pt x="355" y="61"/>
                    </a:lnTo>
                    <a:lnTo>
                      <a:pt x="360" y="60"/>
                    </a:lnTo>
                    <a:lnTo>
                      <a:pt x="364" y="57"/>
                    </a:lnTo>
                    <a:lnTo>
                      <a:pt x="364" y="57"/>
                    </a:lnTo>
                    <a:lnTo>
                      <a:pt x="368" y="57"/>
                    </a:lnTo>
                    <a:lnTo>
                      <a:pt x="371" y="58"/>
                    </a:lnTo>
                    <a:lnTo>
                      <a:pt x="376" y="61"/>
                    </a:lnTo>
                    <a:lnTo>
                      <a:pt x="378" y="64"/>
                    </a:lnTo>
                    <a:lnTo>
                      <a:pt x="378" y="64"/>
                    </a:lnTo>
                    <a:lnTo>
                      <a:pt x="381" y="67"/>
                    </a:lnTo>
                    <a:lnTo>
                      <a:pt x="386" y="70"/>
                    </a:lnTo>
                    <a:lnTo>
                      <a:pt x="390" y="71"/>
                    </a:lnTo>
                    <a:lnTo>
                      <a:pt x="392" y="74"/>
                    </a:lnTo>
                    <a:lnTo>
                      <a:pt x="393" y="77"/>
                    </a:lnTo>
                    <a:lnTo>
                      <a:pt x="393" y="77"/>
                    </a:lnTo>
                    <a:lnTo>
                      <a:pt x="393" y="83"/>
                    </a:lnTo>
                    <a:lnTo>
                      <a:pt x="392" y="87"/>
                    </a:lnTo>
                    <a:lnTo>
                      <a:pt x="387" y="95"/>
                    </a:lnTo>
                    <a:lnTo>
                      <a:pt x="387" y="95"/>
                    </a:lnTo>
                    <a:lnTo>
                      <a:pt x="386" y="96"/>
                    </a:lnTo>
                    <a:lnTo>
                      <a:pt x="386" y="100"/>
                    </a:lnTo>
                    <a:lnTo>
                      <a:pt x="387" y="106"/>
                    </a:lnTo>
                    <a:lnTo>
                      <a:pt x="387" y="106"/>
                    </a:lnTo>
                    <a:lnTo>
                      <a:pt x="393" y="100"/>
                    </a:lnTo>
                    <a:lnTo>
                      <a:pt x="397" y="95"/>
                    </a:lnTo>
                    <a:lnTo>
                      <a:pt x="397" y="95"/>
                    </a:lnTo>
                    <a:lnTo>
                      <a:pt x="400" y="89"/>
                    </a:lnTo>
                    <a:lnTo>
                      <a:pt x="403" y="87"/>
                    </a:lnTo>
                    <a:lnTo>
                      <a:pt x="406" y="86"/>
                    </a:lnTo>
                    <a:lnTo>
                      <a:pt x="406" y="86"/>
                    </a:lnTo>
                    <a:lnTo>
                      <a:pt x="409" y="83"/>
                    </a:lnTo>
                    <a:lnTo>
                      <a:pt x="410" y="79"/>
                    </a:lnTo>
                    <a:lnTo>
                      <a:pt x="416" y="67"/>
                    </a:lnTo>
                    <a:lnTo>
                      <a:pt x="416" y="67"/>
                    </a:lnTo>
                    <a:lnTo>
                      <a:pt x="413" y="67"/>
                    </a:lnTo>
                    <a:lnTo>
                      <a:pt x="413" y="67"/>
                    </a:lnTo>
                    <a:lnTo>
                      <a:pt x="407" y="66"/>
                    </a:lnTo>
                    <a:lnTo>
                      <a:pt x="402" y="64"/>
                    </a:lnTo>
                    <a:lnTo>
                      <a:pt x="399" y="61"/>
                    </a:lnTo>
                    <a:lnTo>
                      <a:pt x="397" y="60"/>
                    </a:lnTo>
                    <a:lnTo>
                      <a:pt x="397" y="60"/>
                    </a:lnTo>
                    <a:lnTo>
                      <a:pt x="396" y="57"/>
                    </a:lnTo>
                    <a:lnTo>
                      <a:pt x="392" y="55"/>
                    </a:lnTo>
                    <a:lnTo>
                      <a:pt x="386" y="53"/>
                    </a:lnTo>
                    <a:lnTo>
                      <a:pt x="381" y="51"/>
                    </a:lnTo>
                    <a:lnTo>
                      <a:pt x="381" y="51"/>
                    </a:lnTo>
                    <a:lnTo>
                      <a:pt x="381" y="50"/>
                    </a:lnTo>
                    <a:lnTo>
                      <a:pt x="381" y="50"/>
                    </a:lnTo>
                    <a:lnTo>
                      <a:pt x="386" y="50"/>
                    </a:lnTo>
                    <a:lnTo>
                      <a:pt x="396" y="51"/>
                    </a:lnTo>
                    <a:lnTo>
                      <a:pt x="396" y="51"/>
                    </a:lnTo>
                    <a:lnTo>
                      <a:pt x="403" y="51"/>
                    </a:lnTo>
                    <a:lnTo>
                      <a:pt x="407" y="50"/>
                    </a:lnTo>
                    <a:lnTo>
                      <a:pt x="407" y="50"/>
                    </a:lnTo>
                    <a:lnTo>
                      <a:pt x="413" y="45"/>
                    </a:lnTo>
                    <a:lnTo>
                      <a:pt x="419" y="39"/>
                    </a:lnTo>
                    <a:lnTo>
                      <a:pt x="419" y="39"/>
                    </a:lnTo>
                    <a:lnTo>
                      <a:pt x="419" y="37"/>
                    </a:lnTo>
                    <a:lnTo>
                      <a:pt x="419" y="35"/>
                    </a:lnTo>
                    <a:lnTo>
                      <a:pt x="418" y="32"/>
                    </a:lnTo>
                    <a:lnTo>
                      <a:pt x="415" y="32"/>
                    </a:lnTo>
                    <a:lnTo>
                      <a:pt x="415" y="32"/>
                    </a:lnTo>
                    <a:lnTo>
                      <a:pt x="412" y="31"/>
                    </a:lnTo>
                    <a:lnTo>
                      <a:pt x="409" y="29"/>
                    </a:lnTo>
                    <a:lnTo>
                      <a:pt x="406" y="26"/>
                    </a:lnTo>
                    <a:lnTo>
                      <a:pt x="403" y="25"/>
                    </a:lnTo>
                    <a:lnTo>
                      <a:pt x="403" y="25"/>
                    </a:lnTo>
                    <a:lnTo>
                      <a:pt x="400" y="24"/>
                    </a:lnTo>
                    <a:lnTo>
                      <a:pt x="399" y="22"/>
                    </a:lnTo>
                    <a:lnTo>
                      <a:pt x="397" y="22"/>
                    </a:lnTo>
                    <a:lnTo>
                      <a:pt x="394" y="22"/>
                    </a:lnTo>
                    <a:lnTo>
                      <a:pt x="394" y="22"/>
                    </a:lnTo>
                    <a:lnTo>
                      <a:pt x="393" y="22"/>
                    </a:lnTo>
                    <a:lnTo>
                      <a:pt x="392" y="19"/>
                    </a:lnTo>
                    <a:lnTo>
                      <a:pt x="392" y="16"/>
                    </a:lnTo>
                    <a:lnTo>
                      <a:pt x="389" y="12"/>
                    </a:lnTo>
                    <a:lnTo>
                      <a:pt x="389" y="12"/>
                    </a:lnTo>
                    <a:lnTo>
                      <a:pt x="386" y="11"/>
                    </a:lnTo>
                    <a:lnTo>
                      <a:pt x="383" y="12"/>
                    </a:lnTo>
                    <a:lnTo>
                      <a:pt x="380" y="18"/>
                    </a:lnTo>
                    <a:lnTo>
                      <a:pt x="380" y="18"/>
                    </a:lnTo>
                    <a:lnTo>
                      <a:pt x="377" y="24"/>
                    </a:lnTo>
                    <a:lnTo>
                      <a:pt x="376" y="26"/>
                    </a:lnTo>
                    <a:lnTo>
                      <a:pt x="374" y="29"/>
                    </a:lnTo>
                    <a:lnTo>
                      <a:pt x="374" y="29"/>
                    </a:lnTo>
                    <a:lnTo>
                      <a:pt x="371" y="29"/>
                    </a:lnTo>
                    <a:lnTo>
                      <a:pt x="371" y="28"/>
                    </a:lnTo>
                    <a:lnTo>
                      <a:pt x="374" y="24"/>
                    </a:lnTo>
                    <a:lnTo>
                      <a:pt x="374" y="24"/>
                    </a:lnTo>
                    <a:lnTo>
                      <a:pt x="374" y="24"/>
                    </a:lnTo>
                    <a:lnTo>
                      <a:pt x="373" y="22"/>
                    </a:lnTo>
                    <a:lnTo>
                      <a:pt x="370" y="24"/>
                    </a:lnTo>
                    <a:lnTo>
                      <a:pt x="370" y="24"/>
                    </a:lnTo>
                    <a:lnTo>
                      <a:pt x="368" y="22"/>
                    </a:lnTo>
                    <a:lnTo>
                      <a:pt x="367" y="22"/>
                    </a:lnTo>
                    <a:lnTo>
                      <a:pt x="370" y="18"/>
                    </a:lnTo>
                    <a:lnTo>
                      <a:pt x="370" y="18"/>
                    </a:lnTo>
                    <a:lnTo>
                      <a:pt x="374" y="13"/>
                    </a:lnTo>
                    <a:lnTo>
                      <a:pt x="377" y="8"/>
                    </a:lnTo>
                    <a:lnTo>
                      <a:pt x="377" y="8"/>
                    </a:lnTo>
                    <a:lnTo>
                      <a:pt x="374" y="3"/>
                    </a:lnTo>
                    <a:lnTo>
                      <a:pt x="373" y="2"/>
                    </a:lnTo>
                    <a:lnTo>
                      <a:pt x="371" y="2"/>
                    </a:lnTo>
                    <a:lnTo>
                      <a:pt x="371" y="2"/>
                    </a:lnTo>
                    <a:lnTo>
                      <a:pt x="368" y="3"/>
                    </a:lnTo>
                    <a:lnTo>
                      <a:pt x="365" y="2"/>
                    </a:lnTo>
                    <a:lnTo>
                      <a:pt x="363" y="2"/>
                    </a:lnTo>
                    <a:lnTo>
                      <a:pt x="361" y="3"/>
                    </a:lnTo>
                    <a:lnTo>
                      <a:pt x="361" y="3"/>
                    </a:lnTo>
                    <a:lnTo>
                      <a:pt x="358" y="6"/>
                    </a:lnTo>
                    <a:lnTo>
                      <a:pt x="357" y="12"/>
                    </a:lnTo>
                    <a:lnTo>
                      <a:pt x="354" y="24"/>
                    </a:lnTo>
                    <a:lnTo>
                      <a:pt x="354" y="24"/>
                    </a:lnTo>
                    <a:lnTo>
                      <a:pt x="354" y="26"/>
                    </a:lnTo>
                    <a:lnTo>
                      <a:pt x="352" y="28"/>
                    </a:lnTo>
                    <a:lnTo>
                      <a:pt x="348" y="29"/>
                    </a:lnTo>
                    <a:lnTo>
                      <a:pt x="348" y="29"/>
                    </a:lnTo>
                    <a:lnTo>
                      <a:pt x="347" y="28"/>
                    </a:lnTo>
                    <a:lnTo>
                      <a:pt x="347" y="25"/>
                    </a:lnTo>
                    <a:lnTo>
                      <a:pt x="348" y="16"/>
                    </a:lnTo>
                    <a:lnTo>
                      <a:pt x="351" y="0"/>
                    </a:lnTo>
                    <a:lnTo>
                      <a:pt x="351" y="0"/>
                    </a:lnTo>
                    <a:lnTo>
                      <a:pt x="351" y="0"/>
                    </a:lnTo>
                    <a:lnTo>
                      <a:pt x="348" y="2"/>
                    </a:lnTo>
                    <a:lnTo>
                      <a:pt x="342" y="9"/>
                    </a:lnTo>
                    <a:lnTo>
                      <a:pt x="342" y="9"/>
                    </a:lnTo>
                    <a:lnTo>
                      <a:pt x="336" y="18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28" y="38"/>
                    </a:lnTo>
                    <a:lnTo>
                      <a:pt x="326" y="44"/>
                    </a:lnTo>
                    <a:lnTo>
                      <a:pt x="323" y="50"/>
                    </a:lnTo>
                    <a:lnTo>
                      <a:pt x="323" y="50"/>
                    </a:lnTo>
                    <a:lnTo>
                      <a:pt x="322" y="51"/>
                    </a:lnTo>
                    <a:lnTo>
                      <a:pt x="321" y="50"/>
                    </a:lnTo>
                    <a:lnTo>
                      <a:pt x="321" y="45"/>
                    </a:lnTo>
                    <a:lnTo>
                      <a:pt x="322" y="39"/>
                    </a:lnTo>
                    <a:lnTo>
                      <a:pt x="323" y="35"/>
                    </a:lnTo>
                    <a:lnTo>
                      <a:pt x="323" y="35"/>
                    </a:lnTo>
                    <a:lnTo>
                      <a:pt x="325" y="32"/>
                    </a:lnTo>
                    <a:lnTo>
                      <a:pt x="326" y="28"/>
                    </a:lnTo>
                    <a:lnTo>
                      <a:pt x="328" y="22"/>
                    </a:lnTo>
                    <a:lnTo>
                      <a:pt x="329" y="19"/>
                    </a:lnTo>
                    <a:lnTo>
                      <a:pt x="329" y="19"/>
                    </a:lnTo>
                    <a:lnTo>
                      <a:pt x="334" y="13"/>
                    </a:lnTo>
                    <a:lnTo>
                      <a:pt x="335" y="11"/>
                    </a:lnTo>
                    <a:lnTo>
                      <a:pt x="334" y="9"/>
                    </a:lnTo>
                    <a:lnTo>
                      <a:pt x="334" y="9"/>
                    </a:lnTo>
                    <a:lnTo>
                      <a:pt x="334" y="9"/>
                    </a:lnTo>
                    <a:lnTo>
                      <a:pt x="329" y="9"/>
                    </a:lnTo>
                    <a:lnTo>
                      <a:pt x="328" y="6"/>
                    </a:lnTo>
                    <a:lnTo>
                      <a:pt x="325" y="5"/>
                    </a:lnTo>
                    <a:lnTo>
                      <a:pt x="322" y="6"/>
                    </a:lnTo>
                    <a:lnTo>
                      <a:pt x="322" y="6"/>
                    </a:lnTo>
                    <a:lnTo>
                      <a:pt x="319" y="6"/>
                    </a:lnTo>
                    <a:lnTo>
                      <a:pt x="318" y="6"/>
                    </a:lnTo>
                    <a:lnTo>
                      <a:pt x="315" y="2"/>
                    </a:lnTo>
                    <a:lnTo>
                      <a:pt x="315" y="2"/>
                    </a:lnTo>
                    <a:lnTo>
                      <a:pt x="313" y="2"/>
                    </a:lnTo>
                    <a:lnTo>
                      <a:pt x="312" y="3"/>
                    </a:lnTo>
                    <a:lnTo>
                      <a:pt x="312" y="5"/>
                    </a:lnTo>
                    <a:lnTo>
                      <a:pt x="313" y="12"/>
                    </a:lnTo>
                    <a:lnTo>
                      <a:pt x="313" y="12"/>
                    </a:lnTo>
                    <a:lnTo>
                      <a:pt x="313" y="13"/>
                    </a:lnTo>
                    <a:lnTo>
                      <a:pt x="312" y="16"/>
                    </a:lnTo>
                    <a:lnTo>
                      <a:pt x="310" y="18"/>
                    </a:lnTo>
                    <a:lnTo>
                      <a:pt x="310" y="21"/>
                    </a:lnTo>
                    <a:lnTo>
                      <a:pt x="310" y="21"/>
                    </a:lnTo>
                    <a:lnTo>
                      <a:pt x="310" y="22"/>
                    </a:lnTo>
                    <a:lnTo>
                      <a:pt x="309" y="22"/>
                    </a:lnTo>
                    <a:lnTo>
                      <a:pt x="306" y="19"/>
                    </a:lnTo>
                    <a:lnTo>
                      <a:pt x="306" y="19"/>
                    </a:lnTo>
                    <a:lnTo>
                      <a:pt x="305" y="21"/>
                    </a:lnTo>
                    <a:lnTo>
                      <a:pt x="305" y="24"/>
                    </a:lnTo>
                    <a:lnTo>
                      <a:pt x="306" y="29"/>
                    </a:lnTo>
                    <a:lnTo>
                      <a:pt x="306" y="29"/>
                    </a:lnTo>
                    <a:lnTo>
                      <a:pt x="306" y="31"/>
                    </a:lnTo>
                    <a:lnTo>
                      <a:pt x="305" y="29"/>
                    </a:lnTo>
                    <a:lnTo>
                      <a:pt x="300" y="25"/>
                    </a:lnTo>
                    <a:lnTo>
                      <a:pt x="300" y="25"/>
                    </a:lnTo>
                    <a:lnTo>
                      <a:pt x="299" y="24"/>
                    </a:lnTo>
                    <a:lnTo>
                      <a:pt x="297" y="25"/>
                    </a:lnTo>
                    <a:lnTo>
                      <a:pt x="293" y="26"/>
                    </a:lnTo>
                    <a:lnTo>
                      <a:pt x="293" y="26"/>
                    </a:lnTo>
                    <a:lnTo>
                      <a:pt x="290" y="26"/>
                    </a:lnTo>
                    <a:lnTo>
                      <a:pt x="290" y="28"/>
                    </a:lnTo>
                    <a:lnTo>
                      <a:pt x="289" y="32"/>
                    </a:lnTo>
                    <a:lnTo>
                      <a:pt x="289" y="32"/>
                    </a:lnTo>
                    <a:lnTo>
                      <a:pt x="290" y="37"/>
                    </a:lnTo>
                    <a:lnTo>
                      <a:pt x="293" y="39"/>
                    </a:lnTo>
                    <a:lnTo>
                      <a:pt x="296" y="42"/>
                    </a:lnTo>
                    <a:lnTo>
                      <a:pt x="296" y="44"/>
                    </a:lnTo>
                    <a:lnTo>
                      <a:pt x="296" y="44"/>
                    </a:lnTo>
                    <a:lnTo>
                      <a:pt x="294" y="50"/>
                    </a:lnTo>
                    <a:lnTo>
                      <a:pt x="294" y="58"/>
                    </a:lnTo>
                    <a:lnTo>
                      <a:pt x="294" y="58"/>
                    </a:lnTo>
                    <a:lnTo>
                      <a:pt x="294" y="60"/>
                    </a:lnTo>
                    <a:lnTo>
                      <a:pt x="294" y="60"/>
                    </a:lnTo>
                    <a:lnTo>
                      <a:pt x="292" y="57"/>
                    </a:lnTo>
                    <a:lnTo>
                      <a:pt x="289" y="54"/>
                    </a:lnTo>
                    <a:lnTo>
                      <a:pt x="289" y="54"/>
                    </a:lnTo>
                    <a:lnTo>
                      <a:pt x="287" y="54"/>
                    </a:lnTo>
                    <a:lnTo>
                      <a:pt x="287" y="54"/>
                    </a:lnTo>
                    <a:lnTo>
                      <a:pt x="287" y="55"/>
                    </a:lnTo>
                    <a:lnTo>
                      <a:pt x="286" y="54"/>
                    </a:lnTo>
                    <a:lnTo>
                      <a:pt x="286" y="51"/>
                    </a:lnTo>
                    <a:lnTo>
                      <a:pt x="284" y="48"/>
                    </a:lnTo>
                    <a:lnTo>
                      <a:pt x="286" y="45"/>
                    </a:lnTo>
                    <a:lnTo>
                      <a:pt x="286" y="45"/>
                    </a:lnTo>
                    <a:lnTo>
                      <a:pt x="287" y="42"/>
                    </a:lnTo>
                    <a:lnTo>
                      <a:pt x="286" y="39"/>
                    </a:lnTo>
                    <a:lnTo>
                      <a:pt x="284" y="38"/>
                    </a:lnTo>
                    <a:lnTo>
                      <a:pt x="281" y="39"/>
                    </a:lnTo>
                    <a:lnTo>
                      <a:pt x="281" y="39"/>
                    </a:lnTo>
                    <a:lnTo>
                      <a:pt x="279" y="41"/>
                    </a:lnTo>
                    <a:lnTo>
                      <a:pt x="277" y="39"/>
                    </a:lnTo>
                    <a:lnTo>
                      <a:pt x="276" y="37"/>
                    </a:lnTo>
                    <a:lnTo>
                      <a:pt x="271" y="37"/>
                    </a:lnTo>
                    <a:lnTo>
                      <a:pt x="271" y="37"/>
                    </a:lnTo>
                    <a:lnTo>
                      <a:pt x="261" y="41"/>
                    </a:lnTo>
                    <a:lnTo>
                      <a:pt x="258" y="42"/>
                    </a:lnTo>
                    <a:lnTo>
                      <a:pt x="257" y="45"/>
                    </a:lnTo>
                    <a:lnTo>
                      <a:pt x="257" y="45"/>
                    </a:lnTo>
                    <a:lnTo>
                      <a:pt x="257" y="47"/>
                    </a:lnTo>
                    <a:lnTo>
                      <a:pt x="258" y="48"/>
                    </a:lnTo>
                    <a:lnTo>
                      <a:pt x="263" y="50"/>
                    </a:lnTo>
                    <a:lnTo>
                      <a:pt x="271" y="54"/>
                    </a:lnTo>
                    <a:lnTo>
                      <a:pt x="271" y="54"/>
                    </a:lnTo>
                    <a:lnTo>
                      <a:pt x="274" y="57"/>
                    </a:lnTo>
                    <a:lnTo>
                      <a:pt x="274" y="60"/>
                    </a:lnTo>
                    <a:lnTo>
                      <a:pt x="274" y="63"/>
                    </a:lnTo>
                    <a:lnTo>
                      <a:pt x="274" y="64"/>
                    </a:lnTo>
                    <a:lnTo>
                      <a:pt x="274" y="64"/>
                    </a:lnTo>
                    <a:lnTo>
                      <a:pt x="270" y="61"/>
                    </a:lnTo>
                    <a:lnTo>
                      <a:pt x="266" y="58"/>
                    </a:lnTo>
                    <a:lnTo>
                      <a:pt x="263" y="55"/>
                    </a:lnTo>
                    <a:lnTo>
                      <a:pt x="263" y="55"/>
                    </a:lnTo>
                    <a:lnTo>
                      <a:pt x="260" y="57"/>
                    </a:lnTo>
                    <a:lnTo>
                      <a:pt x="260" y="58"/>
                    </a:lnTo>
                    <a:lnTo>
                      <a:pt x="261" y="66"/>
                    </a:lnTo>
                    <a:lnTo>
                      <a:pt x="261" y="66"/>
                    </a:lnTo>
                    <a:lnTo>
                      <a:pt x="261" y="66"/>
                    </a:lnTo>
                    <a:lnTo>
                      <a:pt x="260" y="64"/>
                    </a:lnTo>
                    <a:lnTo>
                      <a:pt x="257" y="60"/>
                    </a:lnTo>
                    <a:lnTo>
                      <a:pt x="257" y="60"/>
                    </a:lnTo>
                    <a:lnTo>
                      <a:pt x="255" y="58"/>
                    </a:lnTo>
                    <a:lnTo>
                      <a:pt x="255" y="60"/>
                    </a:lnTo>
                    <a:lnTo>
                      <a:pt x="254" y="63"/>
                    </a:lnTo>
                    <a:lnTo>
                      <a:pt x="254" y="67"/>
                    </a:lnTo>
                    <a:lnTo>
                      <a:pt x="251" y="70"/>
                    </a:lnTo>
                    <a:lnTo>
                      <a:pt x="251" y="70"/>
                    </a:lnTo>
                    <a:lnTo>
                      <a:pt x="250" y="70"/>
                    </a:lnTo>
                    <a:lnTo>
                      <a:pt x="250" y="68"/>
                    </a:lnTo>
                    <a:lnTo>
                      <a:pt x="250" y="66"/>
                    </a:lnTo>
                    <a:lnTo>
                      <a:pt x="250" y="60"/>
                    </a:lnTo>
                    <a:lnTo>
                      <a:pt x="250" y="60"/>
                    </a:lnTo>
                    <a:lnTo>
                      <a:pt x="250" y="58"/>
                    </a:lnTo>
                    <a:lnTo>
                      <a:pt x="248" y="61"/>
                    </a:lnTo>
                    <a:lnTo>
                      <a:pt x="244" y="67"/>
                    </a:lnTo>
                    <a:lnTo>
                      <a:pt x="244" y="67"/>
                    </a:lnTo>
                    <a:lnTo>
                      <a:pt x="242" y="70"/>
                    </a:lnTo>
                    <a:lnTo>
                      <a:pt x="241" y="68"/>
                    </a:lnTo>
                    <a:lnTo>
                      <a:pt x="242" y="63"/>
                    </a:lnTo>
                    <a:lnTo>
                      <a:pt x="242" y="63"/>
                    </a:lnTo>
                    <a:lnTo>
                      <a:pt x="241" y="60"/>
                    </a:lnTo>
                    <a:lnTo>
                      <a:pt x="239" y="58"/>
                    </a:lnTo>
                    <a:lnTo>
                      <a:pt x="237" y="57"/>
                    </a:lnTo>
                    <a:lnTo>
                      <a:pt x="232" y="57"/>
                    </a:lnTo>
                    <a:lnTo>
                      <a:pt x="232" y="57"/>
                    </a:lnTo>
                    <a:lnTo>
                      <a:pt x="229" y="55"/>
                    </a:lnTo>
                    <a:lnTo>
                      <a:pt x="229" y="53"/>
                    </a:lnTo>
                    <a:lnTo>
                      <a:pt x="231" y="45"/>
                    </a:lnTo>
                    <a:lnTo>
                      <a:pt x="231" y="45"/>
                    </a:lnTo>
                    <a:lnTo>
                      <a:pt x="229" y="44"/>
                    </a:lnTo>
                    <a:lnTo>
                      <a:pt x="228" y="45"/>
                    </a:lnTo>
                    <a:lnTo>
                      <a:pt x="224" y="53"/>
                    </a:lnTo>
                    <a:lnTo>
                      <a:pt x="224" y="53"/>
                    </a:lnTo>
                    <a:lnTo>
                      <a:pt x="221" y="58"/>
                    </a:lnTo>
                    <a:lnTo>
                      <a:pt x="222" y="64"/>
                    </a:lnTo>
                    <a:lnTo>
                      <a:pt x="222" y="64"/>
                    </a:lnTo>
                    <a:lnTo>
                      <a:pt x="222" y="67"/>
                    </a:lnTo>
                    <a:lnTo>
                      <a:pt x="222" y="68"/>
                    </a:lnTo>
                    <a:lnTo>
                      <a:pt x="219" y="70"/>
                    </a:lnTo>
                    <a:lnTo>
                      <a:pt x="216" y="70"/>
                    </a:lnTo>
                    <a:lnTo>
                      <a:pt x="213" y="71"/>
                    </a:lnTo>
                    <a:lnTo>
                      <a:pt x="213" y="71"/>
                    </a:lnTo>
                    <a:lnTo>
                      <a:pt x="213" y="74"/>
                    </a:lnTo>
                    <a:lnTo>
                      <a:pt x="215" y="76"/>
                    </a:lnTo>
                    <a:lnTo>
                      <a:pt x="221" y="79"/>
                    </a:lnTo>
                    <a:lnTo>
                      <a:pt x="221" y="79"/>
                    </a:lnTo>
                    <a:lnTo>
                      <a:pt x="222" y="81"/>
                    </a:lnTo>
                    <a:lnTo>
                      <a:pt x="224" y="84"/>
                    </a:lnTo>
                    <a:lnTo>
                      <a:pt x="224" y="90"/>
                    </a:lnTo>
                    <a:lnTo>
                      <a:pt x="224" y="90"/>
                    </a:lnTo>
                    <a:lnTo>
                      <a:pt x="222" y="90"/>
                    </a:lnTo>
                    <a:lnTo>
                      <a:pt x="219" y="90"/>
                    </a:lnTo>
                    <a:lnTo>
                      <a:pt x="215" y="90"/>
                    </a:lnTo>
                    <a:lnTo>
                      <a:pt x="213" y="92"/>
                    </a:lnTo>
                    <a:lnTo>
                      <a:pt x="212" y="92"/>
                    </a:lnTo>
                    <a:lnTo>
                      <a:pt x="212" y="92"/>
                    </a:lnTo>
                    <a:lnTo>
                      <a:pt x="212" y="95"/>
                    </a:lnTo>
                    <a:lnTo>
                      <a:pt x="209" y="97"/>
                    </a:lnTo>
                    <a:lnTo>
                      <a:pt x="205" y="99"/>
                    </a:lnTo>
                    <a:lnTo>
                      <a:pt x="205" y="99"/>
                    </a:lnTo>
                    <a:lnTo>
                      <a:pt x="202" y="100"/>
                    </a:lnTo>
                    <a:lnTo>
                      <a:pt x="202" y="102"/>
                    </a:lnTo>
                    <a:lnTo>
                      <a:pt x="205" y="105"/>
                    </a:lnTo>
                    <a:lnTo>
                      <a:pt x="205" y="105"/>
                    </a:lnTo>
                    <a:lnTo>
                      <a:pt x="206" y="108"/>
                    </a:lnTo>
                    <a:lnTo>
                      <a:pt x="206" y="108"/>
                    </a:lnTo>
                    <a:lnTo>
                      <a:pt x="202" y="108"/>
                    </a:lnTo>
                    <a:lnTo>
                      <a:pt x="202" y="108"/>
                    </a:lnTo>
                    <a:lnTo>
                      <a:pt x="200" y="108"/>
                    </a:lnTo>
                    <a:lnTo>
                      <a:pt x="197" y="109"/>
                    </a:lnTo>
                    <a:lnTo>
                      <a:pt x="192" y="113"/>
                    </a:lnTo>
                    <a:lnTo>
                      <a:pt x="192" y="113"/>
                    </a:lnTo>
                    <a:lnTo>
                      <a:pt x="186" y="115"/>
                    </a:lnTo>
                    <a:lnTo>
                      <a:pt x="184" y="115"/>
                    </a:lnTo>
                    <a:lnTo>
                      <a:pt x="182" y="113"/>
                    </a:lnTo>
                    <a:lnTo>
                      <a:pt x="182" y="113"/>
                    </a:lnTo>
                    <a:lnTo>
                      <a:pt x="180" y="112"/>
                    </a:lnTo>
                    <a:lnTo>
                      <a:pt x="177" y="112"/>
                    </a:lnTo>
                    <a:lnTo>
                      <a:pt x="174" y="113"/>
                    </a:lnTo>
                    <a:lnTo>
                      <a:pt x="174" y="116"/>
                    </a:lnTo>
                    <a:lnTo>
                      <a:pt x="174" y="116"/>
                    </a:lnTo>
                    <a:lnTo>
                      <a:pt x="173" y="119"/>
                    </a:lnTo>
                    <a:lnTo>
                      <a:pt x="171" y="122"/>
                    </a:lnTo>
                    <a:lnTo>
                      <a:pt x="168" y="125"/>
                    </a:lnTo>
                    <a:lnTo>
                      <a:pt x="167" y="128"/>
                    </a:lnTo>
                    <a:lnTo>
                      <a:pt x="167" y="128"/>
                    </a:lnTo>
                    <a:lnTo>
                      <a:pt x="168" y="129"/>
                    </a:lnTo>
                    <a:lnTo>
                      <a:pt x="171" y="129"/>
                    </a:lnTo>
                    <a:lnTo>
                      <a:pt x="179" y="128"/>
                    </a:lnTo>
                    <a:lnTo>
                      <a:pt x="179" y="128"/>
                    </a:lnTo>
                    <a:lnTo>
                      <a:pt x="180" y="129"/>
                    </a:lnTo>
                    <a:lnTo>
                      <a:pt x="180" y="131"/>
                    </a:lnTo>
                    <a:lnTo>
                      <a:pt x="174" y="138"/>
                    </a:lnTo>
                    <a:lnTo>
                      <a:pt x="174" y="138"/>
                    </a:lnTo>
                    <a:lnTo>
                      <a:pt x="173" y="141"/>
                    </a:lnTo>
                    <a:lnTo>
                      <a:pt x="174" y="141"/>
                    </a:lnTo>
                    <a:lnTo>
                      <a:pt x="180" y="139"/>
                    </a:lnTo>
                    <a:lnTo>
                      <a:pt x="180" y="139"/>
                    </a:lnTo>
                    <a:lnTo>
                      <a:pt x="183" y="139"/>
                    </a:lnTo>
                    <a:lnTo>
                      <a:pt x="183" y="141"/>
                    </a:lnTo>
                    <a:lnTo>
                      <a:pt x="182" y="144"/>
                    </a:lnTo>
                    <a:lnTo>
                      <a:pt x="179" y="145"/>
                    </a:lnTo>
                    <a:lnTo>
                      <a:pt x="179" y="145"/>
                    </a:lnTo>
                    <a:lnTo>
                      <a:pt x="171" y="148"/>
                    </a:lnTo>
                    <a:lnTo>
                      <a:pt x="168" y="150"/>
                    </a:lnTo>
                    <a:lnTo>
                      <a:pt x="167" y="154"/>
                    </a:lnTo>
                    <a:lnTo>
                      <a:pt x="167" y="154"/>
                    </a:lnTo>
                    <a:lnTo>
                      <a:pt x="166" y="155"/>
                    </a:lnTo>
                    <a:lnTo>
                      <a:pt x="166" y="157"/>
                    </a:lnTo>
                    <a:lnTo>
                      <a:pt x="168" y="158"/>
                    </a:lnTo>
                    <a:lnTo>
                      <a:pt x="179" y="160"/>
                    </a:lnTo>
                    <a:lnTo>
                      <a:pt x="179" y="160"/>
                    </a:lnTo>
                    <a:lnTo>
                      <a:pt x="171" y="160"/>
                    </a:lnTo>
                    <a:lnTo>
                      <a:pt x="163" y="160"/>
                    </a:lnTo>
                    <a:lnTo>
                      <a:pt x="161" y="161"/>
                    </a:lnTo>
                    <a:lnTo>
                      <a:pt x="160" y="163"/>
                    </a:lnTo>
                    <a:lnTo>
                      <a:pt x="160" y="163"/>
                    </a:lnTo>
                    <a:lnTo>
                      <a:pt x="161" y="166"/>
                    </a:lnTo>
                    <a:lnTo>
                      <a:pt x="158" y="168"/>
                    </a:lnTo>
                    <a:lnTo>
                      <a:pt x="157" y="171"/>
                    </a:lnTo>
                    <a:lnTo>
                      <a:pt x="155" y="174"/>
                    </a:lnTo>
                    <a:lnTo>
                      <a:pt x="155" y="174"/>
                    </a:lnTo>
                    <a:lnTo>
                      <a:pt x="157" y="176"/>
                    </a:lnTo>
                    <a:lnTo>
                      <a:pt x="160" y="176"/>
                    </a:lnTo>
                    <a:lnTo>
                      <a:pt x="166" y="176"/>
                    </a:lnTo>
                    <a:lnTo>
                      <a:pt x="166" y="176"/>
                    </a:lnTo>
                    <a:lnTo>
                      <a:pt x="167" y="176"/>
                    </a:lnTo>
                    <a:lnTo>
                      <a:pt x="166" y="177"/>
                    </a:lnTo>
                    <a:lnTo>
                      <a:pt x="163" y="179"/>
                    </a:lnTo>
                    <a:lnTo>
                      <a:pt x="154" y="181"/>
                    </a:lnTo>
                    <a:lnTo>
                      <a:pt x="154" y="181"/>
                    </a:lnTo>
                    <a:lnTo>
                      <a:pt x="151" y="183"/>
                    </a:lnTo>
                    <a:lnTo>
                      <a:pt x="148" y="186"/>
                    </a:lnTo>
                    <a:lnTo>
                      <a:pt x="145" y="189"/>
                    </a:lnTo>
                    <a:lnTo>
                      <a:pt x="145" y="192"/>
                    </a:lnTo>
                    <a:lnTo>
                      <a:pt x="145" y="192"/>
                    </a:lnTo>
                    <a:lnTo>
                      <a:pt x="144" y="196"/>
                    </a:lnTo>
                    <a:lnTo>
                      <a:pt x="142" y="199"/>
                    </a:lnTo>
                    <a:lnTo>
                      <a:pt x="137" y="203"/>
                    </a:lnTo>
                    <a:lnTo>
                      <a:pt x="137" y="203"/>
                    </a:lnTo>
                    <a:lnTo>
                      <a:pt x="134" y="206"/>
                    </a:lnTo>
                    <a:lnTo>
                      <a:pt x="132" y="210"/>
                    </a:lnTo>
                    <a:lnTo>
                      <a:pt x="131" y="218"/>
                    </a:lnTo>
                    <a:lnTo>
                      <a:pt x="131" y="218"/>
                    </a:lnTo>
                    <a:lnTo>
                      <a:pt x="132" y="219"/>
                    </a:lnTo>
                    <a:lnTo>
                      <a:pt x="134" y="219"/>
                    </a:lnTo>
                    <a:lnTo>
                      <a:pt x="137" y="221"/>
                    </a:lnTo>
                    <a:lnTo>
                      <a:pt x="141" y="223"/>
                    </a:lnTo>
                    <a:lnTo>
                      <a:pt x="141" y="223"/>
                    </a:lnTo>
                    <a:lnTo>
                      <a:pt x="144" y="226"/>
                    </a:lnTo>
                    <a:lnTo>
                      <a:pt x="141" y="225"/>
                    </a:lnTo>
                    <a:lnTo>
                      <a:pt x="135" y="225"/>
                    </a:lnTo>
                    <a:lnTo>
                      <a:pt x="131" y="225"/>
                    </a:lnTo>
                    <a:lnTo>
                      <a:pt x="131" y="225"/>
                    </a:lnTo>
                    <a:lnTo>
                      <a:pt x="128" y="226"/>
                    </a:lnTo>
                    <a:lnTo>
                      <a:pt x="126" y="228"/>
                    </a:lnTo>
                    <a:lnTo>
                      <a:pt x="125" y="231"/>
                    </a:lnTo>
                    <a:lnTo>
                      <a:pt x="126" y="234"/>
                    </a:lnTo>
                    <a:lnTo>
                      <a:pt x="126" y="234"/>
                    </a:lnTo>
                    <a:lnTo>
                      <a:pt x="129" y="235"/>
                    </a:lnTo>
                    <a:lnTo>
                      <a:pt x="129" y="236"/>
                    </a:lnTo>
                    <a:lnTo>
                      <a:pt x="128" y="239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28" y="248"/>
                    </a:lnTo>
                    <a:lnTo>
                      <a:pt x="125" y="252"/>
                    </a:lnTo>
                    <a:lnTo>
                      <a:pt x="119" y="260"/>
                    </a:lnTo>
                    <a:lnTo>
                      <a:pt x="119" y="260"/>
                    </a:lnTo>
                    <a:lnTo>
                      <a:pt x="118" y="261"/>
                    </a:lnTo>
                    <a:lnTo>
                      <a:pt x="121" y="263"/>
                    </a:lnTo>
                    <a:lnTo>
                      <a:pt x="126" y="260"/>
                    </a:lnTo>
                    <a:lnTo>
                      <a:pt x="126" y="260"/>
                    </a:lnTo>
                    <a:lnTo>
                      <a:pt x="128" y="260"/>
                    </a:lnTo>
                    <a:lnTo>
                      <a:pt x="126" y="261"/>
                    </a:lnTo>
                    <a:lnTo>
                      <a:pt x="124" y="264"/>
                    </a:lnTo>
                    <a:lnTo>
                      <a:pt x="116" y="271"/>
                    </a:lnTo>
                    <a:lnTo>
                      <a:pt x="116" y="271"/>
                    </a:lnTo>
                    <a:lnTo>
                      <a:pt x="112" y="274"/>
                    </a:lnTo>
                    <a:lnTo>
                      <a:pt x="111" y="277"/>
                    </a:lnTo>
                    <a:lnTo>
                      <a:pt x="109" y="280"/>
                    </a:lnTo>
                    <a:lnTo>
                      <a:pt x="109" y="280"/>
                    </a:lnTo>
                    <a:lnTo>
                      <a:pt x="109" y="283"/>
                    </a:lnTo>
                    <a:lnTo>
                      <a:pt x="106" y="283"/>
                    </a:lnTo>
                    <a:lnTo>
                      <a:pt x="103" y="281"/>
                    </a:lnTo>
                    <a:lnTo>
                      <a:pt x="99" y="281"/>
                    </a:lnTo>
                    <a:lnTo>
                      <a:pt x="99" y="281"/>
                    </a:lnTo>
                    <a:lnTo>
                      <a:pt x="98" y="281"/>
                    </a:lnTo>
                    <a:lnTo>
                      <a:pt x="96" y="284"/>
                    </a:lnTo>
                    <a:lnTo>
                      <a:pt x="92" y="290"/>
                    </a:lnTo>
                    <a:lnTo>
                      <a:pt x="86" y="300"/>
                    </a:lnTo>
                    <a:lnTo>
                      <a:pt x="86" y="300"/>
                    </a:lnTo>
                    <a:lnTo>
                      <a:pt x="77" y="312"/>
                    </a:lnTo>
                    <a:lnTo>
                      <a:pt x="77" y="312"/>
                    </a:lnTo>
                    <a:lnTo>
                      <a:pt x="79" y="315"/>
                    </a:lnTo>
                    <a:lnTo>
                      <a:pt x="82" y="316"/>
                    </a:lnTo>
                    <a:lnTo>
                      <a:pt x="89" y="318"/>
                    </a:lnTo>
                    <a:lnTo>
                      <a:pt x="89" y="318"/>
                    </a:lnTo>
                    <a:lnTo>
                      <a:pt x="92" y="318"/>
                    </a:lnTo>
                    <a:lnTo>
                      <a:pt x="96" y="316"/>
                    </a:lnTo>
                    <a:lnTo>
                      <a:pt x="103" y="312"/>
                    </a:lnTo>
                    <a:lnTo>
                      <a:pt x="103" y="312"/>
                    </a:lnTo>
                    <a:lnTo>
                      <a:pt x="99" y="318"/>
                    </a:lnTo>
                    <a:lnTo>
                      <a:pt x="93" y="322"/>
                    </a:lnTo>
                    <a:lnTo>
                      <a:pt x="89" y="325"/>
                    </a:lnTo>
                    <a:lnTo>
                      <a:pt x="89" y="325"/>
                    </a:lnTo>
                    <a:lnTo>
                      <a:pt x="86" y="325"/>
                    </a:lnTo>
                    <a:lnTo>
                      <a:pt x="84" y="323"/>
                    </a:lnTo>
                    <a:lnTo>
                      <a:pt x="83" y="322"/>
                    </a:lnTo>
                    <a:lnTo>
                      <a:pt x="82" y="320"/>
                    </a:lnTo>
                    <a:lnTo>
                      <a:pt x="82" y="320"/>
                    </a:lnTo>
                    <a:lnTo>
                      <a:pt x="80" y="322"/>
                    </a:lnTo>
                    <a:lnTo>
                      <a:pt x="79" y="323"/>
                    </a:lnTo>
                    <a:lnTo>
                      <a:pt x="76" y="328"/>
                    </a:lnTo>
                    <a:lnTo>
                      <a:pt x="76" y="328"/>
                    </a:lnTo>
                    <a:lnTo>
                      <a:pt x="74" y="328"/>
                    </a:lnTo>
                    <a:lnTo>
                      <a:pt x="70" y="329"/>
                    </a:lnTo>
                    <a:lnTo>
                      <a:pt x="67" y="329"/>
                    </a:lnTo>
                    <a:lnTo>
                      <a:pt x="63" y="329"/>
                    </a:lnTo>
                    <a:lnTo>
                      <a:pt x="63" y="329"/>
                    </a:lnTo>
                    <a:lnTo>
                      <a:pt x="60" y="334"/>
                    </a:lnTo>
                    <a:lnTo>
                      <a:pt x="58" y="336"/>
                    </a:lnTo>
                    <a:lnTo>
                      <a:pt x="60" y="339"/>
                    </a:lnTo>
                    <a:lnTo>
                      <a:pt x="60" y="339"/>
                    </a:lnTo>
                    <a:lnTo>
                      <a:pt x="61" y="342"/>
                    </a:lnTo>
                    <a:lnTo>
                      <a:pt x="61" y="344"/>
                    </a:lnTo>
                    <a:lnTo>
                      <a:pt x="61" y="349"/>
                    </a:lnTo>
                    <a:lnTo>
                      <a:pt x="61" y="349"/>
                    </a:lnTo>
                    <a:lnTo>
                      <a:pt x="61" y="351"/>
                    </a:lnTo>
                    <a:lnTo>
                      <a:pt x="60" y="351"/>
                    </a:lnTo>
                    <a:lnTo>
                      <a:pt x="57" y="348"/>
                    </a:lnTo>
                    <a:lnTo>
                      <a:pt x="53" y="347"/>
                    </a:lnTo>
                    <a:lnTo>
                      <a:pt x="53" y="347"/>
                    </a:lnTo>
                    <a:lnTo>
                      <a:pt x="50" y="347"/>
                    </a:lnTo>
                    <a:lnTo>
                      <a:pt x="47" y="348"/>
                    </a:lnTo>
                    <a:lnTo>
                      <a:pt x="45" y="349"/>
                    </a:lnTo>
                    <a:lnTo>
                      <a:pt x="44" y="352"/>
                    </a:lnTo>
                    <a:lnTo>
                      <a:pt x="44" y="352"/>
                    </a:lnTo>
                    <a:lnTo>
                      <a:pt x="40" y="354"/>
                    </a:lnTo>
                    <a:lnTo>
                      <a:pt x="35" y="354"/>
                    </a:lnTo>
                    <a:lnTo>
                      <a:pt x="31" y="355"/>
                    </a:lnTo>
                    <a:lnTo>
                      <a:pt x="28" y="355"/>
                    </a:lnTo>
                    <a:lnTo>
                      <a:pt x="28" y="355"/>
                    </a:lnTo>
                    <a:lnTo>
                      <a:pt x="27" y="357"/>
                    </a:lnTo>
                    <a:lnTo>
                      <a:pt x="28" y="358"/>
                    </a:lnTo>
                    <a:lnTo>
                      <a:pt x="32" y="362"/>
                    </a:lnTo>
                    <a:lnTo>
                      <a:pt x="32" y="362"/>
                    </a:lnTo>
                    <a:lnTo>
                      <a:pt x="34" y="364"/>
                    </a:lnTo>
                    <a:lnTo>
                      <a:pt x="32" y="364"/>
                    </a:lnTo>
                    <a:lnTo>
                      <a:pt x="24" y="362"/>
                    </a:lnTo>
                    <a:lnTo>
                      <a:pt x="24" y="362"/>
                    </a:lnTo>
                    <a:lnTo>
                      <a:pt x="21" y="362"/>
                    </a:lnTo>
                    <a:lnTo>
                      <a:pt x="19" y="364"/>
                    </a:lnTo>
                    <a:lnTo>
                      <a:pt x="19" y="370"/>
                    </a:lnTo>
                    <a:lnTo>
                      <a:pt x="19" y="370"/>
                    </a:lnTo>
                    <a:lnTo>
                      <a:pt x="18" y="371"/>
                    </a:lnTo>
                    <a:lnTo>
                      <a:pt x="15" y="373"/>
                    </a:lnTo>
                    <a:lnTo>
                      <a:pt x="12" y="373"/>
                    </a:lnTo>
                    <a:lnTo>
                      <a:pt x="9" y="374"/>
                    </a:lnTo>
                    <a:lnTo>
                      <a:pt x="9" y="374"/>
                    </a:lnTo>
                    <a:lnTo>
                      <a:pt x="9" y="376"/>
                    </a:lnTo>
                    <a:lnTo>
                      <a:pt x="11" y="377"/>
                    </a:lnTo>
                    <a:lnTo>
                      <a:pt x="12" y="378"/>
                    </a:lnTo>
                    <a:lnTo>
                      <a:pt x="11" y="378"/>
                    </a:lnTo>
                    <a:lnTo>
                      <a:pt x="11" y="378"/>
                    </a:lnTo>
                    <a:lnTo>
                      <a:pt x="8" y="380"/>
                    </a:lnTo>
                    <a:lnTo>
                      <a:pt x="5" y="381"/>
                    </a:lnTo>
                    <a:lnTo>
                      <a:pt x="2" y="383"/>
                    </a:lnTo>
                    <a:lnTo>
                      <a:pt x="3" y="386"/>
                    </a:lnTo>
                    <a:lnTo>
                      <a:pt x="3" y="386"/>
                    </a:lnTo>
                    <a:lnTo>
                      <a:pt x="8" y="391"/>
                    </a:lnTo>
                    <a:lnTo>
                      <a:pt x="11" y="400"/>
                    </a:lnTo>
                    <a:lnTo>
                      <a:pt x="11" y="400"/>
                    </a:lnTo>
                    <a:lnTo>
                      <a:pt x="14" y="405"/>
                    </a:lnTo>
                    <a:lnTo>
                      <a:pt x="15" y="406"/>
                    </a:lnTo>
                    <a:lnTo>
                      <a:pt x="12" y="406"/>
                    </a:lnTo>
                    <a:lnTo>
                      <a:pt x="12" y="406"/>
                    </a:lnTo>
                    <a:lnTo>
                      <a:pt x="8" y="406"/>
                    </a:lnTo>
                    <a:lnTo>
                      <a:pt x="6" y="407"/>
                    </a:lnTo>
                    <a:lnTo>
                      <a:pt x="8" y="410"/>
                    </a:lnTo>
                    <a:lnTo>
                      <a:pt x="9" y="413"/>
                    </a:lnTo>
                    <a:lnTo>
                      <a:pt x="9" y="413"/>
                    </a:lnTo>
                    <a:lnTo>
                      <a:pt x="11" y="416"/>
                    </a:lnTo>
                    <a:lnTo>
                      <a:pt x="11" y="418"/>
                    </a:lnTo>
                    <a:lnTo>
                      <a:pt x="3" y="419"/>
                    </a:lnTo>
                    <a:lnTo>
                      <a:pt x="3" y="419"/>
                    </a:lnTo>
                    <a:lnTo>
                      <a:pt x="0" y="422"/>
                    </a:lnTo>
                    <a:lnTo>
                      <a:pt x="2" y="423"/>
                    </a:lnTo>
                    <a:lnTo>
                      <a:pt x="5" y="425"/>
                    </a:lnTo>
                    <a:lnTo>
                      <a:pt x="8" y="426"/>
                    </a:lnTo>
                    <a:lnTo>
                      <a:pt x="8" y="426"/>
                    </a:lnTo>
                    <a:lnTo>
                      <a:pt x="9" y="429"/>
                    </a:lnTo>
                    <a:lnTo>
                      <a:pt x="8" y="431"/>
                    </a:lnTo>
                    <a:lnTo>
                      <a:pt x="8" y="432"/>
                    </a:lnTo>
                    <a:lnTo>
                      <a:pt x="9" y="433"/>
                    </a:lnTo>
                    <a:lnTo>
                      <a:pt x="9" y="433"/>
                    </a:lnTo>
                    <a:lnTo>
                      <a:pt x="11" y="435"/>
                    </a:lnTo>
                    <a:lnTo>
                      <a:pt x="11" y="435"/>
                    </a:lnTo>
                    <a:lnTo>
                      <a:pt x="9" y="438"/>
                    </a:lnTo>
                    <a:lnTo>
                      <a:pt x="8" y="441"/>
                    </a:lnTo>
                    <a:lnTo>
                      <a:pt x="8" y="444"/>
                    </a:lnTo>
                    <a:lnTo>
                      <a:pt x="9" y="445"/>
                    </a:lnTo>
                    <a:lnTo>
                      <a:pt x="9" y="445"/>
                    </a:lnTo>
                    <a:lnTo>
                      <a:pt x="12" y="447"/>
                    </a:lnTo>
                    <a:lnTo>
                      <a:pt x="15" y="445"/>
                    </a:lnTo>
                    <a:lnTo>
                      <a:pt x="19" y="439"/>
                    </a:lnTo>
                    <a:lnTo>
                      <a:pt x="19" y="439"/>
                    </a:lnTo>
                    <a:lnTo>
                      <a:pt x="21" y="438"/>
                    </a:lnTo>
                    <a:lnTo>
                      <a:pt x="21" y="441"/>
                    </a:lnTo>
                    <a:lnTo>
                      <a:pt x="16" y="451"/>
                    </a:lnTo>
                    <a:lnTo>
                      <a:pt x="16" y="451"/>
                    </a:lnTo>
                    <a:lnTo>
                      <a:pt x="14" y="452"/>
                    </a:lnTo>
                    <a:lnTo>
                      <a:pt x="12" y="452"/>
                    </a:lnTo>
                    <a:lnTo>
                      <a:pt x="9" y="451"/>
                    </a:lnTo>
                    <a:lnTo>
                      <a:pt x="6" y="451"/>
                    </a:lnTo>
                    <a:lnTo>
                      <a:pt x="6" y="451"/>
                    </a:lnTo>
                    <a:lnTo>
                      <a:pt x="3" y="451"/>
                    </a:lnTo>
                    <a:lnTo>
                      <a:pt x="3" y="452"/>
                    </a:lnTo>
                    <a:lnTo>
                      <a:pt x="5" y="455"/>
                    </a:lnTo>
                    <a:lnTo>
                      <a:pt x="8" y="460"/>
                    </a:lnTo>
                    <a:lnTo>
                      <a:pt x="9" y="464"/>
                    </a:lnTo>
                    <a:lnTo>
                      <a:pt x="9" y="464"/>
                    </a:lnTo>
                    <a:lnTo>
                      <a:pt x="11" y="470"/>
                    </a:lnTo>
                    <a:lnTo>
                      <a:pt x="15" y="470"/>
                    </a:lnTo>
                    <a:lnTo>
                      <a:pt x="15" y="470"/>
                    </a:lnTo>
                    <a:lnTo>
                      <a:pt x="18" y="468"/>
                    </a:lnTo>
                    <a:lnTo>
                      <a:pt x="19" y="468"/>
                    </a:lnTo>
                    <a:lnTo>
                      <a:pt x="22" y="464"/>
                    </a:lnTo>
                    <a:lnTo>
                      <a:pt x="22" y="464"/>
                    </a:lnTo>
                    <a:lnTo>
                      <a:pt x="24" y="462"/>
                    </a:lnTo>
                    <a:lnTo>
                      <a:pt x="24" y="464"/>
                    </a:lnTo>
                    <a:lnTo>
                      <a:pt x="24" y="467"/>
                    </a:lnTo>
                    <a:lnTo>
                      <a:pt x="22" y="471"/>
                    </a:lnTo>
                    <a:lnTo>
                      <a:pt x="24" y="477"/>
                    </a:lnTo>
                    <a:lnTo>
                      <a:pt x="24" y="477"/>
                    </a:lnTo>
                    <a:lnTo>
                      <a:pt x="24" y="478"/>
                    </a:lnTo>
                    <a:lnTo>
                      <a:pt x="21" y="478"/>
                    </a:lnTo>
                    <a:lnTo>
                      <a:pt x="18" y="477"/>
                    </a:lnTo>
                    <a:lnTo>
                      <a:pt x="15" y="478"/>
                    </a:lnTo>
                    <a:lnTo>
                      <a:pt x="15" y="478"/>
                    </a:lnTo>
                    <a:lnTo>
                      <a:pt x="12" y="481"/>
                    </a:lnTo>
                    <a:lnTo>
                      <a:pt x="14" y="484"/>
                    </a:lnTo>
                    <a:lnTo>
                      <a:pt x="15" y="487"/>
                    </a:lnTo>
                    <a:lnTo>
                      <a:pt x="16" y="490"/>
                    </a:lnTo>
                    <a:lnTo>
                      <a:pt x="16" y="490"/>
                    </a:lnTo>
                    <a:lnTo>
                      <a:pt x="31" y="503"/>
                    </a:lnTo>
                    <a:lnTo>
                      <a:pt x="31" y="503"/>
                    </a:lnTo>
                    <a:lnTo>
                      <a:pt x="35" y="504"/>
                    </a:lnTo>
                    <a:lnTo>
                      <a:pt x="40" y="506"/>
                    </a:lnTo>
                    <a:lnTo>
                      <a:pt x="48" y="503"/>
                    </a:lnTo>
                    <a:lnTo>
                      <a:pt x="48" y="503"/>
                    </a:lnTo>
                    <a:lnTo>
                      <a:pt x="51" y="503"/>
                    </a:lnTo>
                    <a:lnTo>
                      <a:pt x="54" y="503"/>
                    </a:lnTo>
                    <a:lnTo>
                      <a:pt x="56" y="504"/>
                    </a:lnTo>
                    <a:lnTo>
                      <a:pt x="58" y="503"/>
                    </a:lnTo>
                    <a:lnTo>
                      <a:pt x="58" y="503"/>
                    </a:lnTo>
                    <a:lnTo>
                      <a:pt x="66" y="494"/>
                    </a:lnTo>
                    <a:lnTo>
                      <a:pt x="71" y="489"/>
                    </a:lnTo>
                    <a:lnTo>
                      <a:pt x="76" y="481"/>
                    </a:lnTo>
                    <a:lnTo>
                      <a:pt x="76" y="481"/>
                    </a:lnTo>
                    <a:lnTo>
                      <a:pt x="80" y="475"/>
                    </a:lnTo>
                    <a:lnTo>
                      <a:pt x="83" y="471"/>
                    </a:lnTo>
                    <a:lnTo>
                      <a:pt x="86" y="471"/>
                    </a:lnTo>
                    <a:lnTo>
                      <a:pt x="89" y="470"/>
                    </a:lnTo>
                    <a:lnTo>
                      <a:pt x="89" y="470"/>
                    </a:lnTo>
                    <a:lnTo>
                      <a:pt x="92" y="470"/>
                    </a:lnTo>
                    <a:lnTo>
                      <a:pt x="95" y="467"/>
                    </a:lnTo>
                    <a:lnTo>
                      <a:pt x="95" y="460"/>
                    </a:lnTo>
                    <a:lnTo>
                      <a:pt x="95" y="460"/>
                    </a:lnTo>
                    <a:lnTo>
                      <a:pt x="95" y="458"/>
                    </a:lnTo>
                    <a:lnTo>
                      <a:pt x="95" y="458"/>
                    </a:lnTo>
                    <a:lnTo>
                      <a:pt x="96" y="462"/>
                    </a:lnTo>
                    <a:lnTo>
                      <a:pt x="100" y="474"/>
                    </a:lnTo>
                    <a:lnTo>
                      <a:pt x="100" y="474"/>
                    </a:lnTo>
                    <a:lnTo>
                      <a:pt x="111" y="478"/>
                    </a:lnTo>
                    <a:lnTo>
                      <a:pt x="111" y="478"/>
                    </a:lnTo>
                    <a:lnTo>
                      <a:pt x="113" y="478"/>
                    </a:lnTo>
                    <a:lnTo>
                      <a:pt x="115" y="477"/>
                    </a:lnTo>
                    <a:lnTo>
                      <a:pt x="116" y="473"/>
                    </a:lnTo>
                    <a:lnTo>
                      <a:pt x="118" y="46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74" name="Freeform 727"/>
              <p:cNvSpPr>
                <a:spLocks/>
              </p:cNvSpPr>
              <p:nvPr/>
            </p:nvSpPr>
            <p:spPr bwMode="auto">
              <a:xfrm>
                <a:off x="4729292" y="1753119"/>
                <a:ext cx="171142" cy="382843"/>
              </a:xfrm>
              <a:custGeom>
                <a:avLst/>
                <a:gdLst>
                  <a:gd name="T0" fmla="*/ 163 w 173"/>
                  <a:gd name="T1" fmla="*/ 265 h 387"/>
                  <a:gd name="T2" fmla="*/ 166 w 173"/>
                  <a:gd name="T3" fmla="*/ 248 h 387"/>
                  <a:gd name="T4" fmla="*/ 160 w 173"/>
                  <a:gd name="T5" fmla="*/ 236 h 387"/>
                  <a:gd name="T6" fmla="*/ 156 w 173"/>
                  <a:gd name="T7" fmla="*/ 223 h 387"/>
                  <a:gd name="T8" fmla="*/ 153 w 173"/>
                  <a:gd name="T9" fmla="*/ 190 h 387"/>
                  <a:gd name="T10" fmla="*/ 160 w 173"/>
                  <a:gd name="T11" fmla="*/ 178 h 387"/>
                  <a:gd name="T12" fmla="*/ 142 w 173"/>
                  <a:gd name="T13" fmla="*/ 129 h 387"/>
                  <a:gd name="T14" fmla="*/ 152 w 173"/>
                  <a:gd name="T15" fmla="*/ 110 h 387"/>
                  <a:gd name="T16" fmla="*/ 149 w 173"/>
                  <a:gd name="T17" fmla="*/ 97 h 387"/>
                  <a:gd name="T18" fmla="*/ 130 w 173"/>
                  <a:gd name="T19" fmla="*/ 74 h 387"/>
                  <a:gd name="T20" fmla="*/ 136 w 173"/>
                  <a:gd name="T21" fmla="*/ 58 h 387"/>
                  <a:gd name="T22" fmla="*/ 137 w 173"/>
                  <a:gd name="T23" fmla="*/ 49 h 387"/>
                  <a:gd name="T24" fmla="*/ 137 w 173"/>
                  <a:gd name="T25" fmla="*/ 38 h 387"/>
                  <a:gd name="T26" fmla="*/ 143 w 173"/>
                  <a:gd name="T27" fmla="*/ 20 h 387"/>
                  <a:gd name="T28" fmla="*/ 131 w 173"/>
                  <a:gd name="T29" fmla="*/ 10 h 387"/>
                  <a:gd name="T30" fmla="*/ 121 w 173"/>
                  <a:gd name="T31" fmla="*/ 1 h 387"/>
                  <a:gd name="T32" fmla="*/ 110 w 173"/>
                  <a:gd name="T33" fmla="*/ 3 h 387"/>
                  <a:gd name="T34" fmla="*/ 100 w 173"/>
                  <a:gd name="T35" fmla="*/ 6 h 387"/>
                  <a:gd name="T36" fmla="*/ 91 w 173"/>
                  <a:gd name="T37" fmla="*/ 38 h 387"/>
                  <a:gd name="T38" fmla="*/ 81 w 173"/>
                  <a:gd name="T39" fmla="*/ 53 h 387"/>
                  <a:gd name="T40" fmla="*/ 69 w 173"/>
                  <a:gd name="T41" fmla="*/ 56 h 387"/>
                  <a:gd name="T42" fmla="*/ 59 w 173"/>
                  <a:gd name="T43" fmla="*/ 52 h 387"/>
                  <a:gd name="T44" fmla="*/ 36 w 173"/>
                  <a:gd name="T45" fmla="*/ 55 h 387"/>
                  <a:gd name="T46" fmla="*/ 16 w 173"/>
                  <a:gd name="T47" fmla="*/ 33 h 387"/>
                  <a:gd name="T48" fmla="*/ 14 w 173"/>
                  <a:gd name="T49" fmla="*/ 36 h 387"/>
                  <a:gd name="T50" fmla="*/ 11 w 173"/>
                  <a:gd name="T51" fmla="*/ 42 h 387"/>
                  <a:gd name="T52" fmla="*/ 0 w 173"/>
                  <a:gd name="T53" fmla="*/ 49 h 387"/>
                  <a:gd name="T54" fmla="*/ 21 w 173"/>
                  <a:gd name="T55" fmla="*/ 56 h 387"/>
                  <a:gd name="T56" fmla="*/ 42 w 173"/>
                  <a:gd name="T57" fmla="*/ 71 h 387"/>
                  <a:gd name="T58" fmla="*/ 53 w 173"/>
                  <a:gd name="T59" fmla="*/ 93 h 387"/>
                  <a:gd name="T60" fmla="*/ 53 w 173"/>
                  <a:gd name="T61" fmla="*/ 107 h 387"/>
                  <a:gd name="T62" fmla="*/ 55 w 173"/>
                  <a:gd name="T63" fmla="*/ 123 h 387"/>
                  <a:gd name="T64" fmla="*/ 62 w 173"/>
                  <a:gd name="T65" fmla="*/ 135 h 387"/>
                  <a:gd name="T66" fmla="*/ 59 w 173"/>
                  <a:gd name="T67" fmla="*/ 151 h 387"/>
                  <a:gd name="T68" fmla="*/ 58 w 173"/>
                  <a:gd name="T69" fmla="*/ 166 h 387"/>
                  <a:gd name="T70" fmla="*/ 63 w 173"/>
                  <a:gd name="T71" fmla="*/ 182 h 387"/>
                  <a:gd name="T72" fmla="*/ 75 w 173"/>
                  <a:gd name="T73" fmla="*/ 193 h 387"/>
                  <a:gd name="T74" fmla="*/ 75 w 173"/>
                  <a:gd name="T75" fmla="*/ 210 h 387"/>
                  <a:gd name="T76" fmla="*/ 63 w 173"/>
                  <a:gd name="T77" fmla="*/ 223 h 387"/>
                  <a:gd name="T78" fmla="*/ 46 w 173"/>
                  <a:gd name="T79" fmla="*/ 250 h 387"/>
                  <a:gd name="T80" fmla="*/ 31 w 173"/>
                  <a:gd name="T81" fmla="*/ 271 h 387"/>
                  <a:gd name="T82" fmla="*/ 13 w 173"/>
                  <a:gd name="T83" fmla="*/ 294 h 387"/>
                  <a:gd name="T84" fmla="*/ 20 w 173"/>
                  <a:gd name="T85" fmla="*/ 324 h 387"/>
                  <a:gd name="T86" fmla="*/ 18 w 173"/>
                  <a:gd name="T87" fmla="*/ 349 h 387"/>
                  <a:gd name="T88" fmla="*/ 20 w 173"/>
                  <a:gd name="T89" fmla="*/ 363 h 387"/>
                  <a:gd name="T90" fmla="*/ 29 w 173"/>
                  <a:gd name="T91" fmla="*/ 368 h 387"/>
                  <a:gd name="T92" fmla="*/ 36 w 173"/>
                  <a:gd name="T93" fmla="*/ 376 h 387"/>
                  <a:gd name="T94" fmla="*/ 42 w 173"/>
                  <a:gd name="T95" fmla="*/ 385 h 387"/>
                  <a:gd name="T96" fmla="*/ 60 w 173"/>
                  <a:gd name="T97" fmla="*/ 385 h 387"/>
                  <a:gd name="T98" fmla="*/ 76 w 173"/>
                  <a:gd name="T99" fmla="*/ 379 h 387"/>
                  <a:gd name="T100" fmla="*/ 101 w 173"/>
                  <a:gd name="T101" fmla="*/ 374 h 387"/>
                  <a:gd name="T102" fmla="*/ 111 w 173"/>
                  <a:gd name="T103" fmla="*/ 371 h 387"/>
                  <a:gd name="T104" fmla="*/ 121 w 173"/>
                  <a:gd name="T105" fmla="*/ 371 h 387"/>
                  <a:gd name="T106" fmla="*/ 166 w 173"/>
                  <a:gd name="T107" fmla="*/ 313 h 387"/>
                  <a:gd name="T108" fmla="*/ 172 w 173"/>
                  <a:gd name="T109" fmla="*/ 275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3" h="387">
                    <a:moveTo>
                      <a:pt x="170" y="271"/>
                    </a:moveTo>
                    <a:lnTo>
                      <a:pt x="170" y="271"/>
                    </a:lnTo>
                    <a:lnTo>
                      <a:pt x="168" y="268"/>
                    </a:lnTo>
                    <a:lnTo>
                      <a:pt x="163" y="265"/>
                    </a:lnTo>
                    <a:lnTo>
                      <a:pt x="162" y="262"/>
                    </a:lnTo>
                    <a:lnTo>
                      <a:pt x="162" y="256"/>
                    </a:lnTo>
                    <a:lnTo>
                      <a:pt x="162" y="256"/>
                    </a:lnTo>
                    <a:lnTo>
                      <a:pt x="166" y="248"/>
                    </a:lnTo>
                    <a:lnTo>
                      <a:pt x="168" y="243"/>
                    </a:lnTo>
                    <a:lnTo>
                      <a:pt x="165" y="240"/>
                    </a:lnTo>
                    <a:lnTo>
                      <a:pt x="165" y="240"/>
                    </a:lnTo>
                    <a:lnTo>
                      <a:pt x="160" y="236"/>
                    </a:lnTo>
                    <a:lnTo>
                      <a:pt x="159" y="233"/>
                    </a:lnTo>
                    <a:lnTo>
                      <a:pt x="157" y="227"/>
                    </a:lnTo>
                    <a:lnTo>
                      <a:pt x="156" y="223"/>
                    </a:lnTo>
                    <a:lnTo>
                      <a:pt x="156" y="223"/>
                    </a:lnTo>
                    <a:lnTo>
                      <a:pt x="153" y="207"/>
                    </a:lnTo>
                    <a:lnTo>
                      <a:pt x="152" y="197"/>
                    </a:lnTo>
                    <a:lnTo>
                      <a:pt x="152" y="193"/>
                    </a:lnTo>
                    <a:lnTo>
                      <a:pt x="153" y="190"/>
                    </a:lnTo>
                    <a:lnTo>
                      <a:pt x="153" y="190"/>
                    </a:lnTo>
                    <a:lnTo>
                      <a:pt x="157" y="184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56" y="168"/>
                    </a:lnTo>
                    <a:lnTo>
                      <a:pt x="149" y="152"/>
                    </a:lnTo>
                    <a:lnTo>
                      <a:pt x="143" y="136"/>
                    </a:lnTo>
                    <a:lnTo>
                      <a:pt x="142" y="129"/>
                    </a:lnTo>
                    <a:lnTo>
                      <a:pt x="142" y="126"/>
                    </a:lnTo>
                    <a:lnTo>
                      <a:pt x="142" y="126"/>
                    </a:lnTo>
                    <a:lnTo>
                      <a:pt x="149" y="116"/>
                    </a:lnTo>
                    <a:lnTo>
                      <a:pt x="152" y="110"/>
                    </a:lnTo>
                    <a:lnTo>
                      <a:pt x="152" y="104"/>
                    </a:lnTo>
                    <a:lnTo>
                      <a:pt x="152" y="104"/>
                    </a:lnTo>
                    <a:lnTo>
                      <a:pt x="150" y="101"/>
                    </a:lnTo>
                    <a:lnTo>
                      <a:pt x="149" y="97"/>
                    </a:lnTo>
                    <a:lnTo>
                      <a:pt x="140" y="90"/>
                    </a:lnTo>
                    <a:lnTo>
                      <a:pt x="133" y="81"/>
                    </a:lnTo>
                    <a:lnTo>
                      <a:pt x="131" y="78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1" y="68"/>
                    </a:lnTo>
                    <a:lnTo>
                      <a:pt x="134" y="62"/>
                    </a:lnTo>
                    <a:lnTo>
                      <a:pt x="136" y="58"/>
                    </a:lnTo>
                    <a:lnTo>
                      <a:pt x="137" y="53"/>
                    </a:lnTo>
                    <a:lnTo>
                      <a:pt x="137" y="53"/>
                    </a:lnTo>
                    <a:lnTo>
                      <a:pt x="137" y="49"/>
                    </a:lnTo>
                    <a:lnTo>
                      <a:pt x="137" y="49"/>
                    </a:lnTo>
                    <a:lnTo>
                      <a:pt x="136" y="43"/>
                    </a:lnTo>
                    <a:lnTo>
                      <a:pt x="136" y="39"/>
                    </a:lnTo>
                    <a:lnTo>
                      <a:pt x="137" y="38"/>
                    </a:lnTo>
                    <a:lnTo>
                      <a:pt x="137" y="38"/>
                    </a:lnTo>
                    <a:lnTo>
                      <a:pt x="142" y="30"/>
                    </a:lnTo>
                    <a:lnTo>
                      <a:pt x="143" y="26"/>
                    </a:lnTo>
                    <a:lnTo>
                      <a:pt x="143" y="20"/>
                    </a:lnTo>
                    <a:lnTo>
                      <a:pt x="143" y="20"/>
                    </a:lnTo>
                    <a:lnTo>
                      <a:pt x="142" y="17"/>
                    </a:lnTo>
                    <a:lnTo>
                      <a:pt x="140" y="14"/>
                    </a:lnTo>
                    <a:lnTo>
                      <a:pt x="136" y="13"/>
                    </a:lnTo>
                    <a:lnTo>
                      <a:pt x="131" y="10"/>
                    </a:lnTo>
                    <a:lnTo>
                      <a:pt x="128" y="7"/>
                    </a:lnTo>
                    <a:lnTo>
                      <a:pt x="128" y="7"/>
                    </a:lnTo>
                    <a:lnTo>
                      <a:pt x="126" y="4"/>
                    </a:lnTo>
                    <a:lnTo>
                      <a:pt x="121" y="1"/>
                    </a:lnTo>
                    <a:lnTo>
                      <a:pt x="118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10" y="3"/>
                    </a:lnTo>
                    <a:lnTo>
                      <a:pt x="105" y="4"/>
                    </a:lnTo>
                    <a:lnTo>
                      <a:pt x="102" y="4"/>
                    </a:lnTo>
                    <a:lnTo>
                      <a:pt x="102" y="4"/>
                    </a:lnTo>
                    <a:lnTo>
                      <a:pt x="100" y="6"/>
                    </a:lnTo>
                    <a:lnTo>
                      <a:pt x="97" y="11"/>
                    </a:lnTo>
                    <a:lnTo>
                      <a:pt x="94" y="23"/>
                    </a:lnTo>
                    <a:lnTo>
                      <a:pt x="94" y="23"/>
                    </a:lnTo>
                    <a:lnTo>
                      <a:pt x="91" y="38"/>
                    </a:lnTo>
                    <a:lnTo>
                      <a:pt x="88" y="45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1" y="53"/>
                    </a:lnTo>
                    <a:lnTo>
                      <a:pt x="76" y="56"/>
                    </a:lnTo>
                    <a:lnTo>
                      <a:pt x="73" y="58"/>
                    </a:lnTo>
                    <a:lnTo>
                      <a:pt x="73" y="58"/>
                    </a:lnTo>
                    <a:lnTo>
                      <a:pt x="69" y="56"/>
                    </a:lnTo>
                    <a:lnTo>
                      <a:pt x="65" y="55"/>
                    </a:lnTo>
                    <a:lnTo>
                      <a:pt x="62" y="52"/>
                    </a:lnTo>
                    <a:lnTo>
                      <a:pt x="59" y="52"/>
                    </a:lnTo>
                    <a:lnTo>
                      <a:pt x="59" y="52"/>
                    </a:lnTo>
                    <a:lnTo>
                      <a:pt x="49" y="55"/>
                    </a:lnTo>
                    <a:lnTo>
                      <a:pt x="42" y="56"/>
                    </a:lnTo>
                    <a:lnTo>
                      <a:pt x="36" y="55"/>
                    </a:lnTo>
                    <a:lnTo>
                      <a:pt x="36" y="55"/>
                    </a:lnTo>
                    <a:lnTo>
                      <a:pt x="30" y="51"/>
                    </a:lnTo>
                    <a:lnTo>
                      <a:pt x="26" y="43"/>
                    </a:lnTo>
                    <a:lnTo>
                      <a:pt x="20" y="38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14" y="33"/>
                    </a:lnTo>
                    <a:lnTo>
                      <a:pt x="14" y="33"/>
                    </a:lnTo>
                    <a:lnTo>
                      <a:pt x="14" y="36"/>
                    </a:lnTo>
                    <a:lnTo>
                      <a:pt x="14" y="40"/>
                    </a:lnTo>
                    <a:lnTo>
                      <a:pt x="13" y="42"/>
                    </a:lnTo>
                    <a:lnTo>
                      <a:pt x="11" y="42"/>
                    </a:lnTo>
                    <a:lnTo>
                      <a:pt x="11" y="42"/>
                    </a:lnTo>
                    <a:lnTo>
                      <a:pt x="2" y="43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13" y="53"/>
                    </a:lnTo>
                    <a:lnTo>
                      <a:pt x="21" y="56"/>
                    </a:lnTo>
                    <a:lnTo>
                      <a:pt x="21" y="56"/>
                    </a:lnTo>
                    <a:lnTo>
                      <a:pt x="30" y="62"/>
                    </a:lnTo>
                    <a:lnTo>
                      <a:pt x="37" y="67"/>
                    </a:lnTo>
                    <a:lnTo>
                      <a:pt x="37" y="67"/>
                    </a:lnTo>
                    <a:lnTo>
                      <a:pt x="42" y="71"/>
                    </a:lnTo>
                    <a:lnTo>
                      <a:pt x="44" y="77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3" y="93"/>
                    </a:lnTo>
                    <a:lnTo>
                      <a:pt x="53" y="95"/>
                    </a:lnTo>
                    <a:lnTo>
                      <a:pt x="53" y="101"/>
                    </a:lnTo>
                    <a:lnTo>
                      <a:pt x="53" y="101"/>
                    </a:lnTo>
                    <a:lnTo>
                      <a:pt x="53" y="107"/>
                    </a:lnTo>
                    <a:lnTo>
                      <a:pt x="55" y="113"/>
                    </a:lnTo>
                    <a:lnTo>
                      <a:pt x="55" y="113"/>
                    </a:lnTo>
                    <a:lnTo>
                      <a:pt x="56" y="117"/>
                    </a:lnTo>
                    <a:lnTo>
                      <a:pt x="55" y="123"/>
                    </a:lnTo>
                    <a:lnTo>
                      <a:pt x="55" y="123"/>
                    </a:lnTo>
                    <a:lnTo>
                      <a:pt x="56" y="127"/>
                    </a:lnTo>
                    <a:lnTo>
                      <a:pt x="59" y="130"/>
                    </a:lnTo>
                    <a:lnTo>
                      <a:pt x="62" y="135"/>
                    </a:lnTo>
                    <a:lnTo>
                      <a:pt x="63" y="139"/>
                    </a:lnTo>
                    <a:lnTo>
                      <a:pt x="63" y="139"/>
                    </a:lnTo>
                    <a:lnTo>
                      <a:pt x="62" y="145"/>
                    </a:lnTo>
                    <a:lnTo>
                      <a:pt x="59" y="151"/>
                    </a:lnTo>
                    <a:lnTo>
                      <a:pt x="56" y="161"/>
                    </a:lnTo>
                    <a:lnTo>
                      <a:pt x="56" y="161"/>
                    </a:lnTo>
                    <a:lnTo>
                      <a:pt x="58" y="164"/>
                    </a:lnTo>
                    <a:lnTo>
                      <a:pt x="58" y="166"/>
                    </a:lnTo>
                    <a:lnTo>
                      <a:pt x="58" y="166"/>
                    </a:lnTo>
                    <a:lnTo>
                      <a:pt x="62" y="182"/>
                    </a:lnTo>
                    <a:lnTo>
                      <a:pt x="62" y="182"/>
                    </a:lnTo>
                    <a:lnTo>
                      <a:pt x="63" y="182"/>
                    </a:lnTo>
                    <a:lnTo>
                      <a:pt x="63" y="182"/>
                    </a:lnTo>
                    <a:lnTo>
                      <a:pt x="68" y="182"/>
                    </a:lnTo>
                    <a:lnTo>
                      <a:pt x="71" y="185"/>
                    </a:lnTo>
                    <a:lnTo>
                      <a:pt x="75" y="193"/>
                    </a:lnTo>
                    <a:lnTo>
                      <a:pt x="75" y="193"/>
                    </a:lnTo>
                    <a:lnTo>
                      <a:pt x="76" y="198"/>
                    </a:lnTo>
                    <a:lnTo>
                      <a:pt x="76" y="204"/>
                    </a:lnTo>
                    <a:lnTo>
                      <a:pt x="75" y="210"/>
                    </a:lnTo>
                    <a:lnTo>
                      <a:pt x="72" y="213"/>
                    </a:lnTo>
                    <a:lnTo>
                      <a:pt x="72" y="213"/>
                    </a:lnTo>
                    <a:lnTo>
                      <a:pt x="68" y="216"/>
                    </a:lnTo>
                    <a:lnTo>
                      <a:pt x="63" y="223"/>
                    </a:lnTo>
                    <a:lnTo>
                      <a:pt x="56" y="236"/>
                    </a:lnTo>
                    <a:lnTo>
                      <a:pt x="56" y="236"/>
                    </a:lnTo>
                    <a:lnTo>
                      <a:pt x="52" y="242"/>
                    </a:lnTo>
                    <a:lnTo>
                      <a:pt x="46" y="250"/>
                    </a:lnTo>
                    <a:lnTo>
                      <a:pt x="39" y="258"/>
                    </a:lnTo>
                    <a:lnTo>
                      <a:pt x="36" y="263"/>
                    </a:lnTo>
                    <a:lnTo>
                      <a:pt x="36" y="263"/>
                    </a:lnTo>
                    <a:lnTo>
                      <a:pt x="31" y="271"/>
                    </a:lnTo>
                    <a:lnTo>
                      <a:pt x="26" y="278"/>
                    </a:lnTo>
                    <a:lnTo>
                      <a:pt x="14" y="291"/>
                    </a:lnTo>
                    <a:lnTo>
                      <a:pt x="14" y="291"/>
                    </a:lnTo>
                    <a:lnTo>
                      <a:pt x="13" y="294"/>
                    </a:lnTo>
                    <a:lnTo>
                      <a:pt x="13" y="297"/>
                    </a:lnTo>
                    <a:lnTo>
                      <a:pt x="16" y="304"/>
                    </a:lnTo>
                    <a:lnTo>
                      <a:pt x="16" y="304"/>
                    </a:lnTo>
                    <a:lnTo>
                      <a:pt x="20" y="324"/>
                    </a:lnTo>
                    <a:lnTo>
                      <a:pt x="21" y="333"/>
                    </a:lnTo>
                    <a:lnTo>
                      <a:pt x="21" y="340"/>
                    </a:lnTo>
                    <a:lnTo>
                      <a:pt x="21" y="340"/>
                    </a:lnTo>
                    <a:lnTo>
                      <a:pt x="18" y="349"/>
                    </a:lnTo>
                    <a:lnTo>
                      <a:pt x="17" y="358"/>
                    </a:lnTo>
                    <a:lnTo>
                      <a:pt x="17" y="358"/>
                    </a:lnTo>
                    <a:lnTo>
                      <a:pt x="18" y="361"/>
                    </a:lnTo>
                    <a:lnTo>
                      <a:pt x="20" y="363"/>
                    </a:lnTo>
                    <a:lnTo>
                      <a:pt x="21" y="366"/>
                    </a:lnTo>
                    <a:lnTo>
                      <a:pt x="24" y="368"/>
                    </a:lnTo>
                    <a:lnTo>
                      <a:pt x="24" y="368"/>
                    </a:lnTo>
                    <a:lnTo>
                      <a:pt x="29" y="368"/>
                    </a:lnTo>
                    <a:lnTo>
                      <a:pt x="31" y="371"/>
                    </a:lnTo>
                    <a:lnTo>
                      <a:pt x="34" y="374"/>
                    </a:lnTo>
                    <a:lnTo>
                      <a:pt x="36" y="376"/>
                    </a:lnTo>
                    <a:lnTo>
                      <a:pt x="36" y="376"/>
                    </a:lnTo>
                    <a:lnTo>
                      <a:pt x="37" y="381"/>
                    </a:lnTo>
                    <a:lnTo>
                      <a:pt x="39" y="384"/>
                    </a:lnTo>
                    <a:lnTo>
                      <a:pt x="42" y="385"/>
                    </a:lnTo>
                    <a:lnTo>
                      <a:pt x="42" y="385"/>
                    </a:lnTo>
                    <a:lnTo>
                      <a:pt x="46" y="387"/>
                    </a:lnTo>
                    <a:lnTo>
                      <a:pt x="52" y="387"/>
                    </a:lnTo>
                    <a:lnTo>
                      <a:pt x="58" y="387"/>
                    </a:lnTo>
                    <a:lnTo>
                      <a:pt x="60" y="385"/>
                    </a:lnTo>
                    <a:lnTo>
                      <a:pt x="60" y="385"/>
                    </a:lnTo>
                    <a:lnTo>
                      <a:pt x="66" y="382"/>
                    </a:lnTo>
                    <a:lnTo>
                      <a:pt x="71" y="381"/>
                    </a:lnTo>
                    <a:lnTo>
                      <a:pt x="76" y="379"/>
                    </a:lnTo>
                    <a:lnTo>
                      <a:pt x="76" y="379"/>
                    </a:lnTo>
                    <a:lnTo>
                      <a:pt x="91" y="376"/>
                    </a:lnTo>
                    <a:lnTo>
                      <a:pt x="97" y="375"/>
                    </a:lnTo>
                    <a:lnTo>
                      <a:pt x="101" y="374"/>
                    </a:lnTo>
                    <a:lnTo>
                      <a:pt x="101" y="374"/>
                    </a:lnTo>
                    <a:lnTo>
                      <a:pt x="104" y="371"/>
                    </a:lnTo>
                    <a:lnTo>
                      <a:pt x="107" y="371"/>
                    </a:lnTo>
                    <a:lnTo>
                      <a:pt x="111" y="371"/>
                    </a:lnTo>
                    <a:lnTo>
                      <a:pt x="111" y="371"/>
                    </a:lnTo>
                    <a:lnTo>
                      <a:pt x="115" y="372"/>
                    </a:lnTo>
                    <a:lnTo>
                      <a:pt x="121" y="371"/>
                    </a:lnTo>
                    <a:lnTo>
                      <a:pt x="121" y="371"/>
                    </a:lnTo>
                    <a:lnTo>
                      <a:pt x="149" y="339"/>
                    </a:lnTo>
                    <a:lnTo>
                      <a:pt x="160" y="324"/>
                    </a:lnTo>
                    <a:lnTo>
                      <a:pt x="166" y="313"/>
                    </a:lnTo>
                    <a:lnTo>
                      <a:pt x="166" y="313"/>
                    </a:lnTo>
                    <a:lnTo>
                      <a:pt x="170" y="303"/>
                    </a:lnTo>
                    <a:lnTo>
                      <a:pt x="172" y="290"/>
                    </a:lnTo>
                    <a:lnTo>
                      <a:pt x="173" y="279"/>
                    </a:lnTo>
                    <a:lnTo>
                      <a:pt x="172" y="275"/>
                    </a:lnTo>
                    <a:lnTo>
                      <a:pt x="170" y="27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75" name="Freeform 728"/>
              <p:cNvSpPr>
                <a:spLocks/>
              </p:cNvSpPr>
              <p:nvPr/>
            </p:nvSpPr>
            <p:spPr bwMode="auto">
              <a:xfrm>
                <a:off x="4729292" y="1753119"/>
                <a:ext cx="171142" cy="382843"/>
              </a:xfrm>
              <a:custGeom>
                <a:avLst/>
                <a:gdLst>
                  <a:gd name="T0" fmla="*/ 163 w 173"/>
                  <a:gd name="T1" fmla="*/ 265 h 387"/>
                  <a:gd name="T2" fmla="*/ 166 w 173"/>
                  <a:gd name="T3" fmla="*/ 248 h 387"/>
                  <a:gd name="T4" fmla="*/ 160 w 173"/>
                  <a:gd name="T5" fmla="*/ 236 h 387"/>
                  <a:gd name="T6" fmla="*/ 156 w 173"/>
                  <a:gd name="T7" fmla="*/ 223 h 387"/>
                  <a:gd name="T8" fmla="*/ 153 w 173"/>
                  <a:gd name="T9" fmla="*/ 190 h 387"/>
                  <a:gd name="T10" fmla="*/ 160 w 173"/>
                  <a:gd name="T11" fmla="*/ 178 h 387"/>
                  <a:gd name="T12" fmla="*/ 142 w 173"/>
                  <a:gd name="T13" fmla="*/ 129 h 387"/>
                  <a:gd name="T14" fmla="*/ 152 w 173"/>
                  <a:gd name="T15" fmla="*/ 110 h 387"/>
                  <a:gd name="T16" fmla="*/ 149 w 173"/>
                  <a:gd name="T17" fmla="*/ 97 h 387"/>
                  <a:gd name="T18" fmla="*/ 130 w 173"/>
                  <a:gd name="T19" fmla="*/ 74 h 387"/>
                  <a:gd name="T20" fmla="*/ 136 w 173"/>
                  <a:gd name="T21" fmla="*/ 58 h 387"/>
                  <a:gd name="T22" fmla="*/ 137 w 173"/>
                  <a:gd name="T23" fmla="*/ 49 h 387"/>
                  <a:gd name="T24" fmla="*/ 137 w 173"/>
                  <a:gd name="T25" fmla="*/ 38 h 387"/>
                  <a:gd name="T26" fmla="*/ 143 w 173"/>
                  <a:gd name="T27" fmla="*/ 20 h 387"/>
                  <a:gd name="T28" fmla="*/ 131 w 173"/>
                  <a:gd name="T29" fmla="*/ 10 h 387"/>
                  <a:gd name="T30" fmla="*/ 121 w 173"/>
                  <a:gd name="T31" fmla="*/ 1 h 387"/>
                  <a:gd name="T32" fmla="*/ 110 w 173"/>
                  <a:gd name="T33" fmla="*/ 3 h 387"/>
                  <a:gd name="T34" fmla="*/ 100 w 173"/>
                  <a:gd name="T35" fmla="*/ 6 h 387"/>
                  <a:gd name="T36" fmla="*/ 91 w 173"/>
                  <a:gd name="T37" fmla="*/ 38 h 387"/>
                  <a:gd name="T38" fmla="*/ 81 w 173"/>
                  <a:gd name="T39" fmla="*/ 53 h 387"/>
                  <a:gd name="T40" fmla="*/ 69 w 173"/>
                  <a:gd name="T41" fmla="*/ 56 h 387"/>
                  <a:gd name="T42" fmla="*/ 59 w 173"/>
                  <a:gd name="T43" fmla="*/ 52 h 387"/>
                  <a:gd name="T44" fmla="*/ 36 w 173"/>
                  <a:gd name="T45" fmla="*/ 55 h 387"/>
                  <a:gd name="T46" fmla="*/ 16 w 173"/>
                  <a:gd name="T47" fmla="*/ 33 h 387"/>
                  <a:gd name="T48" fmla="*/ 14 w 173"/>
                  <a:gd name="T49" fmla="*/ 36 h 387"/>
                  <a:gd name="T50" fmla="*/ 11 w 173"/>
                  <a:gd name="T51" fmla="*/ 42 h 387"/>
                  <a:gd name="T52" fmla="*/ 0 w 173"/>
                  <a:gd name="T53" fmla="*/ 49 h 387"/>
                  <a:gd name="T54" fmla="*/ 21 w 173"/>
                  <a:gd name="T55" fmla="*/ 56 h 387"/>
                  <a:gd name="T56" fmla="*/ 42 w 173"/>
                  <a:gd name="T57" fmla="*/ 71 h 387"/>
                  <a:gd name="T58" fmla="*/ 53 w 173"/>
                  <a:gd name="T59" fmla="*/ 93 h 387"/>
                  <a:gd name="T60" fmla="*/ 53 w 173"/>
                  <a:gd name="T61" fmla="*/ 107 h 387"/>
                  <a:gd name="T62" fmla="*/ 55 w 173"/>
                  <a:gd name="T63" fmla="*/ 123 h 387"/>
                  <a:gd name="T64" fmla="*/ 62 w 173"/>
                  <a:gd name="T65" fmla="*/ 135 h 387"/>
                  <a:gd name="T66" fmla="*/ 59 w 173"/>
                  <a:gd name="T67" fmla="*/ 151 h 387"/>
                  <a:gd name="T68" fmla="*/ 58 w 173"/>
                  <a:gd name="T69" fmla="*/ 166 h 387"/>
                  <a:gd name="T70" fmla="*/ 63 w 173"/>
                  <a:gd name="T71" fmla="*/ 182 h 387"/>
                  <a:gd name="T72" fmla="*/ 75 w 173"/>
                  <a:gd name="T73" fmla="*/ 193 h 387"/>
                  <a:gd name="T74" fmla="*/ 75 w 173"/>
                  <a:gd name="T75" fmla="*/ 210 h 387"/>
                  <a:gd name="T76" fmla="*/ 63 w 173"/>
                  <a:gd name="T77" fmla="*/ 223 h 387"/>
                  <a:gd name="T78" fmla="*/ 46 w 173"/>
                  <a:gd name="T79" fmla="*/ 250 h 387"/>
                  <a:gd name="T80" fmla="*/ 31 w 173"/>
                  <a:gd name="T81" fmla="*/ 271 h 387"/>
                  <a:gd name="T82" fmla="*/ 13 w 173"/>
                  <a:gd name="T83" fmla="*/ 294 h 387"/>
                  <a:gd name="T84" fmla="*/ 20 w 173"/>
                  <a:gd name="T85" fmla="*/ 324 h 387"/>
                  <a:gd name="T86" fmla="*/ 18 w 173"/>
                  <a:gd name="T87" fmla="*/ 349 h 387"/>
                  <a:gd name="T88" fmla="*/ 20 w 173"/>
                  <a:gd name="T89" fmla="*/ 363 h 387"/>
                  <a:gd name="T90" fmla="*/ 29 w 173"/>
                  <a:gd name="T91" fmla="*/ 368 h 387"/>
                  <a:gd name="T92" fmla="*/ 36 w 173"/>
                  <a:gd name="T93" fmla="*/ 376 h 387"/>
                  <a:gd name="T94" fmla="*/ 42 w 173"/>
                  <a:gd name="T95" fmla="*/ 385 h 387"/>
                  <a:gd name="T96" fmla="*/ 60 w 173"/>
                  <a:gd name="T97" fmla="*/ 385 h 387"/>
                  <a:gd name="T98" fmla="*/ 76 w 173"/>
                  <a:gd name="T99" fmla="*/ 379 h 387"/>
                  <a:gd name="T100" fmla="*/ 101 w 173"/>
                  <a:gd name="T101" fmla="*/ 374 h 387"/>
                  <a:gd name="T102" fmla="*/ 111 w 173"/>
                  <a:gd name="T103" fmla="*/ 371 h 387"/>
                  <a:gd name="T104" fmla="*/ 121 w 173"/>
                  <a:gd name="T105" fmla="*/ 371 h 387"/>
                  <a:gd name="T106" fmla="*/ 166 w 173"/>
                  <a:gd name="T107" fmla="*/ 313 h 387"/>
                  <a:gd name="T108" fmla="*/ 172 w 173"/>
                  <a:gd name="T109" fmla="*/ 275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3" h="387">
                    <a:moveTo>
                      <a:pt x="170" y="271"/>
                    </a:moveTo>
                    <a:lnTo>
                      <a:pt x="170" y="271"/>
                    </a:lnTo>
                    <a:lnTo>
                      <a:pt x="168" y="268"/>
                    </a:lnTo>
                    <a:lnTo>
                      <a:pt x="163" y="265"/>
                    </a:lnTo>
                    <a:lnTo>
                      <a:pt x="162" y="262"/>
                    </a:lnTo>
                    <a:lnTo>
                      <a:pt x="162" y="256"/>
                    </a:lnTo>
                    <a:lnTo>
                      <a:pt x="162" y="256"/>
                    </a:lnTo>
                    <a:lnTo>
                      <a:pt x="166" y="248"/>
                    </a:lnTo>
                    <a:lnTo>
                      <a:pt x="168" y="243"/>
                    </a:lnTo>
                    <a:lnTo>
                      <a:pt x="165" y="240"/>
                    </a:lnTo>
                    <a:lnTo>
                      <a:pt x="165" y="240"/>
                    </a:lnTo>
                    <a:lnTo>
                      <a:pt x="160" y="236"/>
                    </a:lnTo>
                    <a:lnTo>
                      <a:pt x="159" y="233"/>
                    </a:lnTo>
                    <a:lnTo>
                      <a:pt x="157" y="227"/>
                    </a:lnTo>
                    <a:lnTo>
                      <a:pt x="156" y="223"/>
                    </a:lnTo>
                    <a:lnTo>
                      <a:pt x="156" y="223"/>
                    </a:lnTo>
                    <a:lnTo>
                      <a:pt x="153" y="207"/>
                    </a:lnTo>
                    <a:lnTo>
                      <a:pt x="152" y="197"/>
                    </a:lnTo>
                    <a:lnTo>
                      <a:pt x="152" y="193"/>
                    </a:lnTo>
                    <a:lnTo>
                      <a:pt x="153" y="190"/>
                    </a:lnTo>
                    <a:lnTo>
                      <a:pt x="153" y="190"/>
                    </a:lnTo>
                    <a:lnTo>
                      <a:pt x="157" y="184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56" y="168"/>
                    </a:lnTo>
                    <a:lnTo>
                      <a:pt x="149" y="152"/>
                    </a:lnTo>
                    <a:lnTo>
                      <a:pt x="143" y="136"/>
                    </a:lnTo>
                    <a:lnTo>
                      <a:pt x="142" y="129"/>
                    </a:lnTo>
                    <a:lnTo>
                      <a:pt x="142" y="126"/>
                    </a:lnTo>
                    <a:lnTo>
                      <a:pt x="142" y="126"/>
                    </a:lnTo>
                    <a:lnTo>
                      <a:pt x="149" y="116"/>
                    </a:lnTo>
                    <a:lnTo>
                      <a:pt x="152" y="110"/>
                    </a:lnTo>
                    <a:lnTo>
                      <a:pt x="152" y="104"/>
                    </a:lnTo>
                    <a:lnTo>
                      <a:pt x="152" y="104"/>
                    </a:lnTo>
                    <a:lnTo>
                      <a:pt x="150" y="101"/>
                    </a:lnTo>
                    <a:lnTo>
                      <a:pt x="149" y="97"/>
                    </a:lnTo>
                    <a:lnTo>
                      <a:pt x="140" y="90"/>
                    </a:lnTo>
                    <a:lnTo>
                      <a:pt x="133" y="81"/>
                    </a:lnTo>
                    <a:lnTo>
                      <a:pt x="131" y="78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1" y="68"/>
                    </a:lnTo>
                    <a:lnTo>
                      <a:pt x="134" y="62"/>
                    </a:lnTo>
                    <a:lnTo>
                      <a:pt x="136" y="58"/>
                    </a:lnTo>
                    <a:lnTo>
                      <a:pt x="137" y="53"/>
                    </a:lnTo>
                    <a:lnTo>
                      <a:pt x="137" y="53"/>
                    </a:lnTo>
                    <a:lnTo>
                      <a:pt x="137" y="49"/>
                    </a:lnTo>
                    <a:lnTo>
                      <a:pt x="137" y="49"/>
                    </a:lnTo>
                    <a:lnTo>
                      <a:pt x="136" y="43"/>
                    </a:lnTo>
                    <a:lnTo>
                      <a:pt x="136" y="39"/>
                    </a:lnTo>
                    <a:lnTo>
                      <a:pt x="137" y="38"/>
                    </a:lnTo>
                    <a:lnTo>
                      <a:pt x="137" y="38"/>
                    </a:lnTo>
                    <a:lnTo>
                      <a:pt x="142" y="30"/>
                    </a:lnTo>
                    <a:lnTo>
                      <a:pt x="143" y="26"/>
                    </a:lnTo>
                    <a:lnTo>
                      <a:pt x="143" y="20"/>
                    </a:lnTo>
                    <a:lnTo>
                      <a:pt x="143" y="20"/>
                    </a:lnTo>
                    <a:lnTo>
                      <a:pt x="142" y="17"/>
                    </a:lnTo>
                    <a:lnTo>
                      <a:pt x="140" y="14"/>
                    </a:lnTo>
                    <a:lnTo>
                      <a:pt x="136" y="13"/>
                    </a:lnTo>
                    <a:lnTo>
                      <a:pt x="131" y="10"/>
                    </a:lnTo>
                    <a:lnTo>
                      <a:pt x="128" y="7"/>
                    </a:lnTo>
                    <a:lnTo>
                      <a:pt x="128" y="7"/>
                    </a:lnTo>
                    <a:lnTo>
                      <a:pt x="126" y="4"/>
                    </a:lnTo>
                    <a:lnTo>
                      <a:pt x="121" y="1"/>
                    </a:lnTo>
                    <a:lnTo>
                      <a:pt x="118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10" y="3"/>
                    </a:lnTo>
                    <a:lnTo>
                      <a:pt x="105" y="4"/>
                    </a:lnTo>
                    <a:lnTo>
                      <a:pt x="102" y="4"/>
                    </a:lnTo>
                    <a:lnTo>
                      <a:pt x="102" y="4"/>
                    </a:lnTo>
                    <a:lnTo>
                      <a:pt x="100" y="6"/>
                    </a:lnTo>
                    <a:lnTo>
                      <a:pt x="97" y="11"/>
                    </a:lnTo>
                    <a:lnTo>
                      <a:pt x="94" y="23"/>
                    </a:lnTo>
                    <a:lnTo>
                      <a:pt x="94" y="23"/>
                    </a:lnTo>
                    <a:lnTo>
                      <a:pt x="91" y="38"/>
                    </a:lnTo>
                    <a:lnTo>
                      <a:pt x="88" y="45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1" y="53"/>
                    </a:lnTo>
                    <a:lnTo>
                      <a:pt x="76" y="56"/>
                    </a:lnTo>
                    <a:lnTo>
                      <a:pt x="73" y="58"/>
                    </a:lnTo>
                    <a:lnTo>
                      <a:pt x="73" y="58"/>
                    </a:lnTo>
                    <a:lnTo>
                      <a:pt x="69" y="56"/>
                    </a:lnTo>
                    <a:lnTo>
                      <a:pt x="65" y="55"/>
                    </a:lnTo>
                    <a:lnTo>
                      <a:pt x="62" y="52"/>
                    </a:lnTo>
                    <a:lnTo>
                      <a:pt x="59" y="52"/>
                    </a:lnTo>
                    <a:lnTo>
                      <a:pt x="59" y="52"/>
                    </a:lnTo>
                    <a:lnTo>
                      <a:pt x="49" y="55"/>
                    </a:lnTo>
                    <a:lnTo>
                      <a:pt x="42" y="56"/>
                    </a:lnTo>
                    <a:lnTo>
                      <a:pt x="36" y="55"/>
                    </a:lnTo>
                    <a:lnTo>
                      <a:pt x="36" y="55"/>
                    </a:lnTo>
                    <a:lnTo>
                      <a:pt x="30" y="51"/>
                    </a:lnTo>
                    <a:lnTo>
                      <a:pt x="26" y="43"/>
                    </a:lnTo>
                    <a:lnTo>
                      <a:pt x="20" y="38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14" y="33"/>
                    </a:lnTo>
                    <a:lnTo>
                      <a:pt x="14" y="33"/>
                    </a:lnTo>
                    <a:lnTo>
                      <a:pt x="14" y="36"/>
                    </a:lnTo>
                    <a:lnTo>
                      <a:pt x="14" y="40"/>
                    </a:lnTo>
                    <a:lnTo>
                      <a:pt x="13" y="42"/>
                    </a:lnTo>
                    <a:lnTo>
                      <a:pt x="11" y="42"/>
                    </a:lnTo>
                    <a:lnTo>
                      <a:pt x="11" y="42"/>
                    </a:lnTo>
                    <a:lnTo>
                      <a:pt x="2" y="43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13" y="53"/>
                    </a:lnTo>
                    <a:lnTo>
                      <a:pt x="21" y="56"/>
                    </a:lnTo>
                    <a:lnTo>
                      <a:pt x="21" y="56"/>
                    </a:lnTo>
                    <a:lnTo>
                      <a:pt x="30" y="62"/>
                    </a:lnTo>
                    <a:lnTo>
                      <a:pt x="37" y="67"/>
                    </a:lnTo>
                    <a:lnTo>
                      <a:pt x="37" y="67"/>
                    </a:lnTo>
                    <a:lnTo>
                      <a:pt x="42" y="71"/>
                    </a:lnTo>
                    <a:lnTo>
                      <a:pt x="44" y="77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3" y="93"/>
                    </a:lnTo>
                    <a:lnTo>
                      <a:pt x="53" y="95"/>
                    </a:lnTo>
                    <a:lnTo>
                      <a:pt x="53" y="101"/>
                    </a:lnTo>
                    <a:lnTo>
                      <a:pt x="53" y="101"/>
                    </a:lnTo>
                    <a:lnTo>
                      <a:pt x="53" y="107"/>
                    </a:lnTo>
                    <a:lnTo>
                      <a:pt x="55" y="113"/>
                    </a:lnTo>
                    <a:lnTo>
                      <a:pt x="55" y="113"/>
                    </a:lnTo>
                    <a:lnTo>
                      <a:pt x="56" y="117"/>
                    </a:lnTo>
                    <a:lnTo>
                      <a:pt x="55" y="123"/>
                    </a:lnTo>
                    <a:lnTo>
                      <a:pt x="55" y="123"/>
                    </a:lnTo>
                    <a:lnTo>
                      <a:pt x="56" y="127"/>
                    </a:lnTo>
                    <a:lnTo>
                      <a:pt x="59" y="130"/>
                    </a:lnTo>
                    <a:lnTo>
                      <a:pt x="62" y="135"/>
                    </a:lnTo>
                    <a:lnTo>
                      <a:pt x="63" y="139"/>
                    </a:lnTo>
                    <a:lnTo>
                      <a:pt x="63" y="139"/>
                    </a:lnTo>
                    <a:lnTo>
                      <a:pt x="62" y="145"/>
                    </a:lnTo>
                    <a:lnTo>
                      <a:pt x="59" y="151"/>
                    </a:lnTo>
                    <a:lnTo>
                      <a:pt x="56" y="161"/>
                    </a:lnTo>
                    <a:lnTo>
                      <a:pt x="56" y="161"/>
                    </a:lnTo>
                    <a:lnTo>
                      <a:pt x="58" y="164"/>
                    </a:lnTo>
                    <a:lnTo>
                      <a:pt x="58" y="166"/>
                    </a:lnTo>
                    <a:lnTo>
                      <a:pt x="58" y="166"/>
                    </a:lnTo>
                    <a:lnTo>
                      <a:pt x="62" y="182"/>
                    </a:lnTo>
                    <a:lnTo>
                      <a:pt x="62" y="182"/>
                    </a:lnTo>
                    <a:lnTo>
                      <a:pt x="63" y="182"/>
                    </a:lnTo>
                    <a:lnTo>
                      <a:pt x="63" y="182"/>
                    </a:lnTo>
                    <a:lnTo>
                      <a:pt x="68" y="182"/>
                    </a:lnTo>
                    <a:lnTo>
                      <a:pt x="71" y="185"/>
                    </a:lnTo>
                    <a:lnTo>
                      <a:pt x="75" y="193"/>
                    </a:lnTo>
                    <a:lnTo>
                      <a:pt x="75" y="193"/>
                    </a:lnTo>
                    <a:lnTo>
                      <a:pt x="76" y="198"/>
                    </a:lnTo>
                    <a:lnTo>
                      <a:pt x="76" y="204"/>
                    </a:lnTo>
                    <a:lnTo>
                      <a:pt x="75" y="210"/>
                    </a:lnTo>
                    <a:lnTo>
                      <a:pt x="72" y="213"/>
                    </a:lnTo>
                    <a:lnTo>
                      <a:pt x="72" y="213"/>
                    </a:lnTo>
                    <a:lnTo>
                      <a:pt x="68" y="216"/>
                    </a:lnTo>
                    <a:lnTo>
                      <a:pt x="63" y="223"/>
                    </a:lnTo>
                    <a:lnTo>
                      <a:pt x="56" y="236"/>
                    </a:lnTo>
                    <a:lnTo>
                      <a:pt x="56" y="236"/>
                    </a:lnTo>
                    <a:lnTo>
                      <a:pt x="52" y="242"/>
                    </a:lnTo>
                    <a:lnTo>
                      <a:pt x="46" y="250"/>
                    </a:lnTo>
                    <a:lnTo>
                      <a:pt x="39" y="258"/>
                    </a:lnTo>
                    <a:lnTo>
                      <a:pt x="36" y="263"/>
                    </a:lnTo>
                    <a:lnTo>
                      <a:pt x="36" y="263"/>
                    </a:lnTo>
                    <a:lnTo>
                      <a:pt x="31" y="271"/>
                    </a:lnTo>
                    <a:lnTo>
                      <a:pt x="26" y="278"/>
                    </a:lnTo>
                    <a:lnTo>
                      <a:pt x="14" y="291"/>
                    </a:lnTo>
                    <a:lnTo>
                      <a:pt x="14" y="291"/>
                    </a:lnTo>
                    <a:lnTo>
                      <a:pt x="13" y="294"/>
                    </a:lnTo>
                    <a:lnTo>
                      <a:pt x="13" y="297"/>
                    </a:lnTo>
                    <a:lnTo>
                      <a:pt x="16" y="304"/>
                    </a:lnTo>
                    <a:lnTo>
                      <a:pt x="16" y="304"/>
                    </a:lnTo>
                    <a:lnTo>
                      <a:pt x="20" y="324"/>
                    </a:lnTo>
                    <a:lnTo>
                      <a:pt x="21" y="333"/>
                    </a:lnTo>
                    <a:lnTo>
                      <a:pt x="21" y="340"/>
                    </a:lnTo>
                    <a:lnTo>
                      <a:pt x="21" y="340"/>
                    </a:lnTo>
                    <a:lnTo>
                      <a:pt x="18" y="349"/>
                    </a:lnTo>
                    <a:lnTo>
                      <a:pt x="17" y="358"/>
                    </a:lnTo>
                    <a:lnTo>
                      <a:pt x="17" y="358"/>
                    </a:lnTo>
                    <a:lnTo>
                      <a:pt x="18" y="361"/>
                    </a:lnTo>
                    <a:lnTo>
                      <a:pt x="20" y="363"/>
                    </a:lnTo>
                    <a:lnTo>
                      <a:pt x="21" y="366"/>
                    </a:lnTo>
                    <a:lnTo>
                      <a:pt x="24" y="368"/>
                    </a:lnTo>
                    <a:lnTo>
                      <a:pt x="24" y="368"/>
                    </a:lnTo>
                    <a:lnTo>
                      <a:pt x="29" y="368"/>
                    </a:lnTo>
                    <a:lnTo>
                      <a:pt x="31" y="371"/>
                    </a:lnTo>
                    <a:lnTo>
                      <a:pt x="34" y="374"/>
                    </a:lnTo>
                    <a:lnTo>
                      <a:pt x="36" y="376"/>
                    </a:lnTo>
                    <a:lnTo>
                      <a:pt x="36" y="376"/>
                    </a:lnTo>
                    <a:lnTo>
                      <a:pt x="37" y="381"/>
                    </a:lnTo>
                    <a:lnTo>
                      <a:pt x="39" y="384"/>
                    </a:lnTo>
                    <a:lnTo>
                      <a:pt x="42" y="385"/>
                    </a:lnTo>
                    <a:lnTo>
                      <a:pt x="42" y="385"/>
                    </a:lnTo>
                    <a:lnTo>
                      <a:pt x="46" y="387"/>
                    </a:lnTo>
                    <a:lnTo>
                      <a:pt x="52" y="387"/>
                    </a:lnTo>
                    <a:lnTo>
                      <a:pt x="58" y="387"/>
                    </a:lnTo>
                    <a:lnTo>
                      <a:pt x="60" y="385"/>
                    </a:lnTo>
                    <a:lnTo>
                      <a:pt x="60" y="385"/>
                    </a:lnTo>
                    <a:lnTo>
                      <a:pt x="66" y="382"/>
                    </a:lnTo>
                    <a:lnTo>
                      <a:pt x="71" y="381"/>
                    </a:lnTo>
                    <a:lnTo>
                      <a:pt x="76" y="379"/>
                    </a:lnTo>
                    <a:lnTo>
                      <a:pt x="76" y="379"/>
                    </a:lnTo>
                    <a:lnTo>
                      <a:pt x="91" y="376"/>
                    </a:lnTo>
                    <a:lnTo>
                      <a:pt x="97" y="375"/>
                    </a:lnTo>
                    <a:lnTo>
                      <a:pt x="101" y="374"/>
                    </a:lnTo>
                    <a:lnTo>
                      <a:pt x="101" y="374"/>
                    </a:lnTo>
                    <a:lnTo>
                      <a:pt x="104" y="371"/>
                    </a:lnTo>
                    <a:lnTo>
                      <a:pt x="107" y="371"/>
                    </a:lnTo>
                    <a:lnTo>
                      <a:pt x="111" y="371"/>
                    </a:lnTo>
                    <a:lnTo>
                      <a:pt x="111" y="371"/>
                    </a:lnTo>
                    <a:lnTo>
                      <a:pt x="115" y="372"/>
                    </a:lnTo>
                    <a:lnTo>
                      <a:pt x="121" y="371"/>
                    </a:lnTo>
                    <a:lnTo>
                      <a:pt x="121" y="371"/>
                    </a:lnTo>
                    <a:lnTo>
                      <a:pt x="149" y="339"/>
                    </a:lnTo>
                    <a:lnTo>
                      <a:pt x="160" y="324"/>
                    </a:lnTo>
                    <a:lnTo>
                      <a:pt x="166" y="313"/>
                    </a:lnTo>
                    <a:lnTo>
                      <a:pt x="166" y="313"/>
                    </a:lnTo>
                    <a:lnTo>
                      <a:pt x="170" y="303"/>
                    </a:lnTo>
                    <a:lnTo>
                      <a:pt x="172" y="290"/>
                    </a:lnTo>
                    <a:lnTo>
                      <a:pt x="173" y="279"/>
                    </a:lnTo>
                    <a:lnTo>
                      <a:pt x="172" y="275"/>
                    </a:lnTo>
                    <a:lnTo>
                      <a:pt x="170" y="27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62" name="Freeform 816"/>
              <p:cNvSpPr>
                <a:spLocks/>
              </p:cNvSpPr>
              <p:nvPr/>
            </p:nvSpPr>
            <p:spPr bwMode="auto">
              <a:xfrm>
                <a:off x="4019993" y="1909422"/>
                <a:ext cx="173120" cy="114754"/>
              </a:xfrm>
              <a:custGeom>
                <a:avLst/>
                <a:gdLst>
                  <a:gd name="T0" fmla="*/ 74 w 175"/>
                  <a:gd name="T1" fmla="*/ 114 h 116"/>
                  <a:gd name="T2" fmla="*/ 58 w 175"/>
                  <a:gd name="T3" fmla="*/ 107 h 116"/>
                  <a:gd name="T4" fmla="*/ 27 w 175"/>
                  <a:gd name="T5" fmla="*/ 100 h 116"/>
                  <a:gd name="T6" fmla="*/ 26 w 175"/>
                  <a:gd name="T7" fmla="*/ 95 h 116"/>
                  <a:gd name="T8" fmla="*/ 43 w 175"/>
                  <a:gd name="T9" fmla="*/ 91 h 116"/>
                  <a:gd name="T10" fmla="*/ 42 w 175"/>
                  <a:gd name="T11" fmla="*/ 78 h 116"/>
                  <a:gd name="T12" fmla="*/ 36 w 175"/>
                  <a:gd name="T13" fmla="*/ 75 h 116"/>
                  <a:gd name="T14" fmla="*/ 27 w 175"/>
                  <a:gd name="T15" fmla="*/ 66 h 116"/>
                  <a:gd name="T16" fmla="*/ 10 w 175"/>
                  <a:gd name="T17" fmla="*/ 62 h 116"/>
                  <a:gd name="T18" fmla="*/ 30 w 175"/>
                  <a:gd name="T19" fmla="*/ 61 h 116"/>
                  <a:gd name="T20" fmla="*/ 45 w 175"/>
                  <a:gd name="T21" fmla="*/ 58 h 116"/>
                  <a:gd name="T22" fmla="*/ 37 w 175"/>
                  <a:gd name="T23" fmla="*/ 52 h 116"/>
                  <a:gd name="T24" fmla="*/ 36 w 175"/>
                  <a:gd name="T25" fmla="*/ 49 h 116"/>
                  <a:gd name="T26" fmla="*/ 39 w 175"/>
                  <a:gd name="T27" fmla="*/ 43 h 116"/>
                  <a:gd name="T28" fmla="*/ 11 w 175"/>
                  <a:gd name="T29" fmla="*/ 43 h 116"/>
                  <a:gd name="T30" fmla="*/ 1 w 175"/>
                  <a:gd name="T31" fmla="*/ 39 h 116"/>
                  <a:gd name="T32" fmla="*/ 11 w 175"/>
                  <a:gd name="T33" fmla="*/ 36 h 116"/>
                  <a:gd name="T34" fmla="*/ 10 w 175"/>
                  <a:gd name="T35" fmla="*/ 32 h 116"/>
                  <a:gd name="T36" fmla="*/ 7 w 175"/>
                  <a:gd name="T37" fmla="*/ 29 h 116"/>
                  <a:gd name="T38" fmla="*/ 20 w 175"/>
                  <a:gd name="T39" fmla="*/ 32 h 116"/>
                  <a:gd name="T40" fmla="*/ 17 w 175"/>
                  <a:gd name="T41" fmla="*/ 23 h 116"/>
                  <a:gd name="T42" fmla="*/ 18 w 175"/>
                  <a:gd name="T43" fmla="*/ 17 h 116"/>
                  <a:gd name="T44" fmla="*/ 33 w 175"/>
                  <a:gd name="T45" fmla="*/ 26 h 116"/>
                  <a:gd name="T46" fmla="*/ 32 w 175"/>
                  <a:gd name="T47" fmla="*/ 20 h 116"/>
                  <a:gd name="T48" fmla="*/ 23 w 175"/>
                  <a:gd name="T49" fmla="*/ 8 h 116"/>
                  <a:gd name="T50" fmla="*/ 39 w 175"/>
                  <a:gd name="T51" fmla="*/ 11 h 116"/>
                  <a:gd name="T52" fmla="*/ 46 w 175"/>
                  <a:gd name="T53" fmla="*/ 23 h 116"/>
                  <a:gd name="T54" fmla="*/ 50 w 175"/>
                  <a:gd name="T55" fmla="*/ 27 h 116"/>
                  <a:gd name="T56" fmla="*/ 55 w 175"/>
                  <a:gd name="T57" fmla="*/ 48 h 116"/>
                  <a:gd name="T58" fmla="*/ 59 w 175"/>
                  <a:gd name="T59" fmla="*/ 36 h 116"/>
                  <a:gd name="T60" fmla="*/ 63 w 175"/>
                  <a:gd name="T61" fmla="*/ 33 h 116"/>
                  <a:gd name="T62" fmla="*/ 66 w 175"/>
                  <a:gd name="T63" fmla="*/ 29 h 116"/>
                  <a:gd name="T64" fmla="*/ 68 w 175"/>
                  <a:gd name="T65" fmla="*/ 20 h 116"/>
                  <a:gd name="T66" fmla="*/ 79 w 175"/>
                  <a:gd name="T67" fmla="*/ 32 h 116"/>
                  <a:gd name="T68" fmla="*/ 84 w 175"/>
                  <a:gd name="T69" fmla="*/ 26 h 116"/>
                  <a:gd name="T70" fmla="*/ 87 w 175"/>
                  <a:gd name="T71" fmla="*/ 17 h 116"/>
                  <a:gd name="T72" fmla="*/ 97 w 175"/>
                  <a:gd name="T73" fmla="*/ 23 h 116"/>
                  <a:gd name="T74" fmla="*/ 104 w 175"/>
                  <a:gd name="T75" fmla="*/ 32 h 116"/>
                  <a:gd name="T76" fmla="*/ 103 w 175"/>
                  <a:gd name="T77" fmla="*/ 19 h 116"/>
                  <a:gd name="T78" fmla="*/ 110 w 175"/>
                  <a:gd name="T79" fmla="*/ 20 h 116"/>
                  <a:gd name="T80" fmla="*/ 117 w 175"/>
                  <a:gd name="T81" fmla="*/ 19 h 116"/>
                  <a:gd name="T82" fmla="*/ 121 w 175"/>
                  <a:gd name="T83" fmla="*/ 14 h 116"/>
                  <a:gd name="T84" fmla="*/ 127 w 175"/>
                  <a:gd name="T85" fmla="*/ 8 h 116"/>
                  <a:gd name="T86" fmla="*/ 130 w 175"/>
                  <a:gd name="T87" fmla="*/ 0 h 116"/>
                  <a:gd name="T88" fmla="*/ 136 w 175"/>
                  <a:gd name="T89" fmla="*/ 1 h 116"/>
                  <a:gd name="T90" fmla="*/ 142 w 175"/>
                  <a:gd name="T91" fmla="*/ 11 h 116"/>
                  <a:gd name="T92" fmla="*/ 147 w 175"/>
                  <a:gd name="T93" fmla="*/ 6 h 116"/>
                  <a:gd name="T94" fmla="*/ 155 w 175"/>
                  <a:gd name="T95" fmla="*/ 4 h 116"/>
                  <a:gd name="T96" fmla="*/ 150 w 175"/>
                  <a:gd name="T97" fmla="*/ 14 h 116"/>
                  <a:gd name="T98" fmla="*/ 155 w 175"/>
                  <a:gd name="T99" fmla="*/ 20 h 116"/>
                  <a:gd name="T100" fmla="*/ 159 w 175"/>
                  <a:gd name="T101" fmla="*/ 30 h 116"/>
                  <a:gd name="T102" fmla="*/ 169 w 175"/>
                  <a:gd name="T103" fmla="*/ 37 h 116"/>
                  <a:gd name="T104" fmla="*/ 173 w 175"/>
                  <a:gd name="T105" fmla="*/ 50 h 116"/>
                  <a:gd name="T106" fmla="*/ 173 w 175"/>
                  <a:gd name="T107" fmla="*/ 56 h 116"/>
                  <a:gd name="T108" fmla="*/ 159 w 175"/>
                  <a:gd name="T109" fmla="*/ 69 h 116"/>
                  <a:gd name="T110" fmla="*/ 150 w 175"/>
                  <a:gd name="T111" fmla="*/ 85 h 116"/>
                  <a:gd name="T112" fmla="*/ 133 w 175"/>
                  <a:gd name="T113" fmla="*/ 90 h 116"/>
                  <a:gd name="T114" fmla="*/ 118 w 175"/>
                  <a:gd name="T115" fmla="*/ 103 h 116"/>
                  <a:gd name="T116" fmla="*/ 103 w 175"/>
                  <a:gd name="T117" fmla="*/ 105 h 116"/>
                  <a:gd name="T118" fmla="*/ 91 w 175"/>
                  <a:gd name="T119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5" h="116">
                    <a:moveTo>
                      <a:pt x="91" y="116"/>
                    </a:moveTo>
                    <a:lnTo>
                      <a:pt x="91" y="116"/>
                    </a:lnTo>
                    <a:lnTo>
                      <a:pt x="82" y="116"/>
                    </a:lnTo>
                    <a:lnTo>
                      <a:pt x="74" y="114"/>
                    </a:lnTo>
                    <a:lnTo>
                      <a:pt x="66" y="113"/>
                    </a:lnTo>
                    <a:lnTo>
                      <a:pt x="62" y="110"/>
                    </a:lnTo>
                    <a:lnTo>
                      <a:pt x="62" y="110"/>
                    </a:lnTo>
                    <a:lnTo>
                      <a:pt x="58" y="107"/>
                    </a:lnTo>
                    <a:lnTo>
                      <a:pt x="50" y="105"/>
                    </a:lnTo>
                    <a:lnTo>
                      <a:pt x="39" y="103"/>
                    </a:lnTo>
                    <a:lnTo>
                      <a:pt x="39" y="103"/>
                    </a:lnTo>
                    <a:lnTo>
                      <a:pt x="27" y="100"/>
                    </a:lnTo>
                    <a:lnTo>
                      <a:pt x="24" y="97"/>
                    </a:lnTo>
                    <a:lnTo>
                      <a:pt x="24" y="95"/>
                    </a:lnTo>
                    <a:lnTo>
                      <a:pt x="26" y="95"/>
                    </a:lnTo>
                    <a:lnTo>
                      <a:pt x="26" y="95"/>
                    </a:lnTo>
                    <a:lnTo>
                      <a:pt x="32" y="94"/>
                    </a:lnTo>
                    <a:lnTo>
                      <a:pt x="39" y="94"/>
                    </a:lnTo>
                    <a:lnTo>
                      <a:pt x="42" y="92"/>
                    </a:lnTo>
                    <a:lnTo>
                      <a:pt x="43" y="91"/>
                    </a:lnTo>
                    <a:lnTo>
                      <a:pt x="45" y="90"/>
                    </a:lnTo>
                    <a:lnTo>
                      <a:pt x="43" y="87"/>
                    </a:lnTo>
                    <a:lnTo>
                      <a:pt x="43" y="87"/>
                    </a:lnTo>
                    <a:lnTo>
                      <a:pt x="42" y="78"/>
                    </a:lnTo>
                    <a:lnTo>
                      <a:pt x="40" y="77"/>
                    </a:lnTo>
                    <a:lnTo>
                      <a:pt x="39" y="77"/>
                    </a:lnTo>
                    <a:lnTo>
                      <a:pt x="39" y="77"/>
                    </a:lnTo>
                    <a:lnTo>
                      <a:pt x="36" y="75"/>
                    </a:lnTo>
                    <a:lnTo>
                      <a:pt x="33" y="72"/>
                    </a:lnTo>
                    <a:lnTo>
                      <a:pt x="30" y="68"/>
                    </a:lnTo>
                    <a:lnTo>
                      <a:pt x="27" y="66"/>
                    </a:lnTo>
                    <a:lnTo>
                      <a:pt x="27" y="66"/>
                    </a:lnTo>
                    <a:lnTo>
                      <a:pt x="14" y="66"/>
                    </a:lnTo>
                    <a:lnTo>
                      <a:pt x="10" y="65"/>
                    </a:lnTo>
                    <a:lnTo>
                      <a:pt x="8" y="65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3" y="61"/>
                    </a:lnTo>
                    <a:lnTo>
                      <a:pt x="18" y="61"/>
                    </a:lnTo>
                    <a:lnTo>
                      <a:pt x="30" y="61"/>
                    </a:lnTo>
                    <a:lnTo>
                      <a:pt x="40" y="59"/>
                    </a:lnTo>
                    <a:lnTo>
                      <a:pt x="43" y="59"/>
                    </a:lnTo>
                    <a:lnTo>
                      <a:pt x="45" y="58"/>
                    </a:lnTo>
                    <a:lnTo>
                      <a:pt x="45" y="58"/>
                    </a:lnTo>
                    <a:lnTo>
                      <a:pt x="43" y="55"/>
                    </a:lnTo>
                    <a:lnTo>
                      <a:pt x="42" y="53"/>
                    </a:lnTo>
                    <a:lnTo>
                      <a:pt x="37" y="52"/>
                    </a:lnTo>
                    <a:lnTo>
                      <a:pt x="37" y="52"/>
                    </a:lnTo>
                    <a:lnTo>
                      <a:pt x="33" y="52"/>
                    </a:lnTo>
                    <a:lnTo>
                      <a:pt x="33" y="50"/>
                    </a:lnTo>
                    <a:lnTo>
                      <a:pt x="36" y="49"/>
                    </a:lnTo>
                    <a:lnTo>
                      <a:pt x="36" y="49"/>
                    </a:lnTo>
                    <a:lnTo>
                      <a:pt x="42" y="45"/>
                    </a:lnTo>
                    <a:lnTo>
                      <a:pt x="42" y="45"/>
                    </a:lnTo>
                    <a:lnTo>
                      <a:pt x="39" y="43"/>
                    </a:lnTo>
                    <a:lnTo>
                      <a:pt x="39" y="43"/>
                    </a:lnTo>
                    <a:lnTo>
                      <a:pt x="33" y="42"/>
                    </a:lnTo>
                    <a:lnTo>
                      <a:pt x="26" y="42"/>
                    </a:lnTo>
                    <a:lnTo>
                      <a:pt x="11" y="43"/>
                    </a:lnTo>
                    <a:lnTo>
                      <a:pt x="11" y="43"/>
                    </a:lnTo>
                    <a:lnTo>
                      <a:pt x="3" y="43"/>
                    </a:lnTo>
                    <a:lnTo>
                      <a:pt x="0" y="42"/>
                    </a:lnTo>
                    <a:lnTo>
                      <a:pt x="0" y="40"/>
                    </a:lnTo>
                    <a:lnTo>
                      <a:pt x="1" y="39"/>
                    </a:lnTo>
                    <a:lnTo>
                      <a:pt x="1" y="39"/>
                    </a:lnTo>
                    <a:lnTo>
                      <a:pt x="4" y="37"/>
                    </a:lnTo>
                    <a:lnTo>
                      <a:pt x="8" y="36"/>
                    </a:lnTo>
                    <a:lnTo>
                      <a:pt x="11" y="36"/>
                    </a:lnTo>
                    <a:lnTo>
                      <a:pt x="13" y="35"/>
                    </a:lnTo>
                    <a:lnTo>
                      <a:pt x="11" y="35"/>
                    </a:lnTo>
                    <a:lnTo>
                      <a:pt x="11" y="35"/>
                    </a:lnTo>
                    <a:lnTo>
                      <a:pt x="10" y="32"/>
                    </a:lnTo>
                    <a:lnTo>
                      <a:pt x="7" y="30"/>
                    </a:lnTo>
                    <a:lnTo>
                      <a:pt x="4" y="30"/>
                    </a:lnTo>
                    <a:lnTo>
                      <a:pt x="7" y="29"/>
                    </a:lnTo>
                    <a:lnTo>
                      <a:pt x="7" y="29"/>
                    </a:lnTo>
                    <a:lnTo>
                      <a:pt x="11" y="29"/>
                    </a:lnTo>
                    <a:lnTo>
                      <a:pt x="16" y="30"/>
                    </a:lnTo>
                    <a:lnTo>
                      <a:pt x="18" y="32"/>
                    </a:lnTo>
                    <a:lnTo>
                      <a:pt x="20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7"/>
                    </a:lnTo>
                    <a:lnTo>
                      <a:pt x="17" y="23"/>
                    </a:lnTo>
                    <a:lnTo>
                      <a:pt x="17" y="20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8" y="17"/>
                    </a:lnTo>
                    <a:lnTo>
                      <a:pt x="21" y="19"/>
                    </a:lnTo>
                    <a:lnTo>
                      <a:pt x="27" y="21"/>
                    </a:lnTo>
                    <a:lnTo>
                      <a:pt x="32" y="26"/>
                    </a:lnTo>
                    <a:lnTo>
                      <a:pt x="33" y="26"/>
                    </a:lnTo>
                    <a:lnTo>
                      <a:pt x="33" y="24"/>
                    </a:lnTo>
                    <a:lnTo>
                      <a:pt x="33" y="24"/>
                    </a:lnTo>
                    <a:lnTo>
                      <a:pt x="33" y="23"/>
                    </a:lnTo>
                    <a:lnTo>
                      <a:pt x="32" y="20"/>
                    </a:lnTo>
                    <a:lnTo>
                      <a:pt x="26" y="16"/>
                    </a:lnTo>
                    <a:lnTo>
                      <a:pt x="23" y="11"/>
                    </a:lnTo>
                    <a:lnTo>
                      <a:pt x="23" y="10"/>
                    </a:lnTo>
                    <a:lnTo>
                      <a:pt x="23" y="8"/>
                    </a:lnTo>
                    <a:lnTo>
                      <a:pt x="23" y="8"/>
                    </a:lnTo>
                    <a:lnTo>
                      <a:pt x="29" y="7"/>
                    </a:lnTo>
                    <a:lnTo>
                      <a:pt x="34" y="8"/>
                    </a:lnTo>
                    <a:lnTo>
                      <a:pt x="39" y="11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5" y="20"/>
                    </a:lnTo>
                    <a:lnTo>
                      <a:pt x="46" y="23"/>
                    </a:lnTo>
                    <a:lnTo>
                      <a:pt x="49" y="23"/>
                    </a:lnTo>
                    <a:lnTo>
                      <a:pt x="49" y="23"/>
                    </a:lnTo>
                    <a:lnTo>
                      <a:pt x="50" y="24"/>
                    </a:lnTo>
                    <a:lnTo>
                      <a:pt x="50" y="27"/>
                    </a:lnTo>
                    <a:lnTo>
                      <a:pt x="52" y="36"/>
                    </a:lnTo>
                    <a:lnTo>
                      <a:pt x="52" y="45"/>
                    </a:lnTo>
                    <a:lnTo>
                      <a:pt x="53" y="48"/>
                    </a:lnTo>
                    <a:lnTo>
                      <a:pt x="55" y="48"/>
                    </a:lnTo>
                    <a:lnTo>
                      <a:pt x="55" y="48"/>
                    </a:lnTo>
                    <a:lnTo>
                      <a:pt x="56" y="46"/>
                    </a:lnTo>
                    <a:lnTo>
                      <a:pt x="58" y="40"/>
                    </a:lnTo>
                    <a:lnTo>
                      <a:pt x="59" y="36"/>
                    </a:lnTo>
                    <a:lnTo>
                      <a:pt x="60" y="33"/>
                    </a:lnTo>
                    <a:lnTo>
                      <a:pt x="60" y="33"/>
                    </a:lnTo>
                    <a:lnTo>
                      <a:pt x="62" y="32"/>
                    </a:lnTo>
                    <a:lnTo>
                      <a:pt x="63" y="33"/>
                    </a:lnTo>
                    <a:lnTo>
                      <a:pt x="65" y="33"/>
                    </a:lnTo>
                    <a:lnTo>
                      <a:pt x="66" y="32"/>
                    </a:lnTo>
                    <a:lnTo>
                      <a:pt x="66" y="32"/>
                    </a:lnTo>
                    <a:lnTo>
                      <a:pt x="66" y="29"/>
                    </a:lnTo>
                    <a:lnTo>
                      <a:pt x="66" y="24"/>
                    </a:lnTo>
                    <a:lnTo>
                      <a:pt x="66" y="21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9" y="20"/>
                    </a:lnTo>
                    <a:lnTo>
                      <a:pt x="72" y="23"/>
                    </a:lnTo>
                    <a:lnTo>
                      <a:pt x="75" y="27"/>
                    </a:lnTo>
                    <a:lnTo>
                      <a:pt x="79" y="32"/>
                    </a:lnTo>
                    <a:lnTo>
                      <a:pt x="81" y="32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4" y="26"/>
                    </a:lnTo>
                    <a:lnTo>
                      <a:pt x="84" y="23"/>
                    </a:lnTo>
                    <a:lnTo>
                      <a:pt x="84" y="20"/>
                    </a:lnTo>
                    <a:lnTo>
                      <a:pt x="87" y="17"/>
                    </a:lnTo>
                    <a:lnTo>
                      <a:pt x="87" y="17"/>
                    </a:lnTo>
                    <a:lnTo>
                      <a:pt x="89" y="16"/>
                    </a:lnTo>
                    <a:lnTo>
                      <a:pt x="92" y="17"/>
                    </a:lnTo>
                    <a:lnTo>
                      <a:pt x="94" y="19"/>
                    </a:lnTo>
                    <a:lnTo>
                      <a:pt x="97" y="23"/>
                    </a:lnTo>
                    <a:lnTo>
                      <a:pt x="97" y="23"/>
                    </a:lnTo>
                    <a:lnTo>
                      <a:pt x="100" y="27"/>
                    </a:lnTo>
                    <a:lnTo>
                      <a:pt x="103" y="30"/>
                    </a:lnTo>
                    <a:lnTo>
                      <a:pt x="104" y="32"/>
                    </a:lnTo>
                    <a:lnTo>
                      <a:pt x="105" y="30"/>
                    </a:lnTo>
                    <a:lnTo>
                      <a:pt x="105" y="30"/>
                    </a:lnTo>
                    <a:lnTo>
                      <a:pt x="103" y="21"/>
                    </a:lnTo>
                    <a:lnTo>
                      <a:pt x="103" y="19"/>
                    </a:lnTo>
                    <a:lnTo>
                      <a:pt x="104" y="17"/>
                    </a:lnTo>
                    <a:lnTo>
                      <a:pt x="104" y="17"/>
                    </a:lnTo>
                    <a:lnTo>
                      <a:pt x="107" y="19"/>
                    </a:lnTo>
                    <a:lnTo>
                      <a:pt x="110" y="20"/>
                    </a:lnTo>
                    <a:lnTo>
                      <a:pt x="113" y="21"/>
                    </a:lnTo>
                    <a:lnTo>
                      <a:pt x="116" y="21"/>
                    </a:lnTo>
                    <a:lnTo>
                      <a:pt x="116" y="21"/>
                    </a:lnTo>
                    <a:lnTo>
                      <a:pt x="117" y="19"/>
                    </a:lnTo>
                    <a:lnTo>
                      <a:pt x="117" y="17"/>
                    </a:lnTo>
                    <a:lnTo>
                      <a:pt x="118" y="16"/>
                    </a:lnTo>
                    <a:lnTo>
                      <a:pt x="121" y="14"/>
                    </a:lnTo>
                    <a:lnTo>
                      <a:pt x="121" y="14"/>
                    </a:lnTo>
                    <a:lnTo>
                      <a:pt x="124" y="14"/>
                    </a:lnTo>
                    <a:lnTo>
                      <a:pt x="127" y="13"/>
                    </a:lnTo>
                    <a:lnTo>
                      <a:pt x="129" y="11"/>
                    </a:lnTo>
                    <a:lnTo>
                      <a:pt x="127" y="8"/>
                    </a:lnTo>
                    <a:lnTo>
                      <a:pt x="127" y="8"/>
                    </a:lnTo>
                    <a:lnTo>
                      <a:pt x="127" y="6"/>
                    </a:lnTo>
                    <a:lnTo>
                      <a:pt x="129" y="3"/>
                    </a:lnTo>
                    <a:lnTo>
                      <a:pt x="130" y="0"/>
                    </a:lnTo>
                    <a:lnTo>
                      <a:pt x="133" y="0"/>
                    </a:lnTo>
                    <a:lnTo>
                      <a:pt x="133" y="0"/>
                    </a:lnTo>
                    <a:lnTo>
                      <a:pt x="134" y="0"/>
                    </a:lnTo>
                    <a:lnTo>
                      <a:pt x="136" y="1"/>
                    </a:lnTo>
                    <a:lnTo>
                      <a:pt x="137" y="6"/>
                    </a:lnTo>
                    <a:lnTo>
                      <a:pt x="139" y="10"/>
                    </a:lnTo>
                    <a:lnTo>
                      <a:pt x="140" y="11"/>
                    </a:lnTo>
                    <a:lnTo>
                      <a:pt x="142" y="11"/>
                    </a:lnTo>
                    <a:lnTo>
                      <a:pt x="142" y="11"/>
                    </a:lnTo>
                    <a:lnTo>
                      <a:pt x="143" y="10"/>
                    </a:lnTo>
                    <a:lnTo>
                      <a:pt x="146" y="8"/>
                    </a:lnTo>
                    <a:lnTo>
                      <a:pt x="147" y="6"/>
                    </a:lnTo>
                    <a:lnTo>
                      <a:pt x="150" y="4"/>
                    </a:lnTo>
                    <a:lnTo>
                      <a:pt x="150" y="4"/>
                    </a:lnTo>
                    <a:lnTo>
                      <a:pt x="153" y="4"/>
                    </a:lnTo>
                    <a:lnTo>
                      <a:pt x="155" y="4"/>
                    </a:lnTo>
                    <a:lnTo>
                      <a:pt x="155" y="7"/>
                    </a:lnTo>
                    <a:lnTo>
                      <a:pt x="153" y="10"/>
                    </a:lnTo>
                    <a:lnTo>
                      <a:pt x="153" y="10"/>
                    </a:lnTo>
                    <a:lnTo>
                      <a:pt x="150" y="14"/>
                    </a:lnTo>
                    <a:lnTo>
                      <a:pt x="150" y="16"/>
                    </a:lnTo>
                    <a:lnTo>
                      <a:pt x="153" y="19"/>
                    </a:lnTo>
                    <a:lnTo>
                      <a:pt x="153" y="19"/>
                    </a:lnTo>
                    <a:lnTo>
                      <a:pt x="155" y="20"/>
                    </a:lnTo>
                    <a:lnTo>
                      <a:pt x="155" y="24"/>
                    </a:lnTo>
                    <a:lnTo>
                      <a:pt x="156" y="27"/>
                    </a:lnTo>
                    <a:lnTo>
                      <a:pt x="158" y="29"/>
                    </a:lnTo>
                    <a:lnTo>
                      <a:pt x="159" y="30"/>
                    </a:lnTo>
                    <a:lnTo>
                      <a:pt x="159" y="30"/>
                    </a:lnTo>
                    <a:lnTo>
                      <a:pt x="163" y="32"/>
                    </a:lnTo>
                    <a:lnTo>
                      <a:pt x="168" y="35"/>
                    </a:lnTo>
                    <a:lnTo>
                      <a:pt x="169" y="37"/>
                    </a:lnTo>
                    <a:lnTo>
                      <a:pt x="171" y="42"/>
                    </a:lnTo>
                    <a:lnTo>
                      <a:pt x="171" y="42"/>
                    </a:lnTo>
                    <a:lnTo>
                      <a:pt x="172" y="46"/>
                    </a:lnTo>
                    <a:lnTo>
                      <a:pt x="173" y="50"/>
                    </a:lnTo>
                    <a:lnTo>
                      <a:pt x="175" y="53"/>
                    </a:lnTo>
                    <a:lnTo>
                      <a:pt x="175" y="55"/>
                    </a:lnTo>
                    <a:lnTo>
                      <a:pt x="173" y="56"/>
                    </a:lnTo>
                    <a:lnTo>
                      <a:pt x="173" y="56"/>
                    </a:lnTo>
                    <a:lnTo>
                      <a:pt x="168" y="58"/>
                    </a:lnTo>
                    <a:lnTo>
                      <a:pt x="163" y="62"/>
                    </a:lnTo>
                    <a:lnTo>
                      <a:pt x="160" y="65"/>
                    </a:lnTo>
                    <a:lnTo>
                      <a:pt x="159" y="69"/>
                    </a:lnTo>
                    <a:lnTo>
                      <a:pt x="159" y="69"/>
                    </a:lnTo>
                    <a:lnTo>
                      <a:pt x="156" y="79"/>
                    </a:lnTo>
                    <a:lnTo>
                      <a:pt x="153" y="82"/>
                    </a:lnTo>
                    <a:lnTo>
                      <a:pt x="150" y="85"/>
                    </a:lnTo>
                    <a:lnTo>
                      <a:pt x="150" y="85"/>
                    </a:lnTo>
                    <a:lnTo>
                      <a:pt x="142" y="85"/>
                    </a:lnTo>
                    <a:lnTo>
                      <a:pt x="137" y="87"/>
                    </a:lnTo>
                    <a:lnTo>
                      <a:pt x="133" y="90"/>
                    </a:lnTo>
                    <a:lnTo>
                      <a:pt x="133" y="90"/>
                    </a:lnTo>
                    <a:lnTo>
                      <a:pt x="127" y="97"/>
                    </a:lnTo>
                    <a:lnTo>
                      <a:pt x="123" y="101"/>
                    </a:lnTo>
                    <a:lnTo>
                      <a:pt x="118" y="103"/>
                    </a:lnTo>
                    <a:lnTo>
                      <a:pt x="118" y="103"/>
                    </a:lnTo>
                    <a:lnTo>
                      <a:pt x="110" y="103"/>
                    </a:lnTo>
                    <a:lnTo>
                      <a:pt x="105" y="104"/>
                    </a:lnTo>
                    <a:lnTo>
                      <a:pt x="103" y="105"/>
                    </a:lnTo>
                    <a:lnTo>
                      <a:pt x="103" y="105"/>
                    </a:lnTo>
                    <a:lnTo>
                      <a:pt x="97" y="111"/>
                    </a:lnTo>
                    <a:lnTo>
                      <a:pt x="94" y="114"/>
                    </a:lnTo>
                    <a:lnTo>
                      <a:pt x="91" y="1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63" name="Freeform 817"/>
              <p:cNvSpPr>
                <a:spLocks/>
              </p:cNvSpPr>
              <p:nvPr/>
            </p:nvSpPr>
            <p:spPr bwMode="auto">
              <a:xfrm>
                <a:off x="4019993" y="1909422"/>
                <a:ext cx="173120" cy="114754"/>
              </a:xfrm>
              <a:custGeom>
                <a:avLst/>
                <a:gdLst>
                  <a:gd name="T0" fmla="*/ 74 w 175"/>
                  <a:gd name="T1" fmla="*/ 114 h 116"/>
                  <a:gd name="T2" fmla="*/ 58 w 175"/>
                  <a:gd name="T3" fmla="*/ 107 h 116"/>
                  <a:gd name="T4" fmla="*/ 27 w 175"/>
                  <a:gd name="T5" fmla="*/ 100 h 116"/>
                  <a:gd name="T6" fmla="*/ 26 w 175"/>
                  <a:gd name="T7" fmla="*/ 95 h 116"/>
                  <a:gd name="T8" fmla="*/ 43 w 175"/>
                  <a:gd name="T9" fmla="*/ 91 h 116"/>
                  <a:gd name="T10" fmla="*/ 42 w 175"/>
                  <a:gd name="T11" fmla="*/ 78 h 116"/>
                  <a:gd name="T12" fmla="*/ 36 w 175"/>
                  <a:gd name="T13" fmla="*/ 75 h 116"/>
                  <a:gd name="T14" fmla="*/ 27 w 175"/>
                  <a:gd name="T15" fmla="*/ 66 h 116"/>
                  <a:gd name="T16" fmla="*/ 10 w 175"/>
                  <a:gd name="T17" fmla="*/ 62 h 116"/>
                  <a:gd name="T18" fmla="*/ 30 w 175"/>
                  <a:gd name="T19" fmla="*/ 61 h 116"/>
                  <a:gd name="T20" fmla="*/ 45 w 175"/>
                  <a:gd name="T21" fmla="*/ 58 h 116"/>
                  <a:gd name="T22" fmla="*/ 37 w 175"/>
                  <a:gd name="T23" fmla="*/ 52 h 116"/>
                  <a:gd name="T24" fmla="*/ 36 w 175"/>
                  <a:gd name="T25" fmla="*/ 49 h 116"/>
                  <a:gd name="T26" fmla="*/ 39 w 175"/>
                  <a:gd name="T27" fmla="*/ 43 h 116"/>
                  <a:gd name="T28" fmla="*/ 11 w 175"/>
                  <a:gd name="T29" fmla="*/ 43 h 116"/>
                  <a:gd name="T30" fmla="*/ 1 w 175"/>
                  <a:gd name="T31" fmla="*/ 39 h 116"/>
                  <a:gd name="T32" fmla="*/ 11 w 175"/>
                  <a:gd name="T33" fmla="*/ 36 h 116"/>
                  <a:gd name="T34" fmla="*/ 10 w 175"/>
                  <a:gd name="T35" fmla="*/ 32 h 116"/>
                  <a:gd name="T36" fmla="*/ 7 w 175"/>
                  <a:gd name="T37" fmla="*/ 29 h 116"/>
                  <a:gd name="T38" fmla="*/ 20 w 175"/>
                  <a:gd name="T39" fmla="*/ 32 h 116"/>
                  <a:gd name="T40" fmla="*/ 17 w 175"/>
                  <a:gd name="T41" fmla="*/ 23 h 116"/>
                  <a:gd name="T42" fmla="*/ 18 w 175"/>
                  <a:gd name="T43" fmla="*/ 17 h 116"/>
                  <a:gd name="T44" fmla="*/ 33 w 175"/>
                  <a:gd name="T45" fmla="*/ 26 h 116"/>
                  <a:gd name="T46" fmla="*/ 32 w 175"/>
                  <a:gd name="T47" fmla="*/ 20 h 116"/>
                  <a:gd name="T48" fmla="*/ 23 w 175"/>
                  <a:gd name="T49" fmla="*/ 8 h 116"/>
                  <a:gd name="T50" fmla="*/ 39 w 175"/>
                  <a:gd name="T51" fmla="*/ 11 h 116"/>
                  <a:gd name="T52" fmla="*/ 46 w 175"/>
                  <a:gd name="T53" fmla="*/ 23 h 116"/>
                  <a:gd name="T54" fmla="*/ 50 w 175"/>
                  <a:gd name="T55" fmla="*/ 27 h 116"/>
                  <a:gd name="T56" fmla="*/ 55 w 175"/>
                  <a:gd name="T57" fmla="*/ 48 h 116"/>
                  <a:gd name="T58" fmla="*/ 59 w 175"/>
                  <a:gd name="T59" fmla="*/ 36 h 116"/>
                  <a:gd name="T60" fmla="*/ 63 w 175"/>
                  <a:gd name="T61" fmla="*/ 33 h 116"/>
                  <a:gd name="T62" fmla="*/ 66 w 175"/>
                  <a:gd name="T63" fmla="*/ 29 h 116"/>
                  <a:gd name="T64" fmla="*/ 68 w 175"/>
                  <a:gd name="T65" fmla="*/ 20 h 116"/>
                  <a:gd name="T66" fmla="*/ 79 w 175"/>
                  <a:gd name="T67" fmla="*/ 32 h 116"/>
                  <a:gd name="T68" fmla="*/ 84 w 175"/>
                  <a:gd name="T69" fmla="*/ 26 h 116"/>
                  <a:gd name="T70" fmla="*/ 87 w 175"/>
                  <a:gd name="T71" fmla="*/ 17 h 116"/>
                  <a:gd name="T72" fmla="*/ 97 w 175"/>
                  <a:gd name="T73" fmla="*/ 23 h 116"/>
                  <a:gd name="T74" fmla="*/ 104 w 175"/>
                  <a:gd name="T75" fmla="*/ 32 h 116"/>
                  <a:gd name="T76" fmla="*/ 103 w 175"/>
                  <a:gd name="T77" fmla="*/ 19 h 116"/>
                  <a:gd name="T78" fmla="*/ 110 w 175"/>
                  <a:gd name="T79" fmla="*/ 20 h 116"/>
                  <a:gd name="T80" fmla="*/ 117 w 175"/>
                  <a:gd name="T81" fmla="*/ 19 h 116"/>
                  <a:gd name="T82" fmla="*/ 121 w 175"/>
                  <a:gd name="T83" fmla="*/ 14 h 116"/>
                  <a:gd name="T84" fmla="*/ 127 w 175"/>
                  <a:gd name="T85" fmla="*/ 8 h 116"/>
                  <a:gd name="T86" fmla="*/ 130 w 175"/>
                  <a:gd name="T87" fmla="*/ 0 h 116"/>
                  <a:gd name="T88" fmla="*/ 136 w 175"/>
                  <a:gd name="T89" fmla="*/ 1 h 116"/>
                  <a:gd name="T90" fmla="*/ 142 w 175"/>
                  <a:gd name="T91" fmla="*/ 11 h 116"/>
                  <a:gd name="T92" fmla="*/ 147 w 175"/>
                  <a:gd name="T93" fmla="*/ 6 h 116"/>
                  <a:gd name="T94" fmla="*/ 155 w 175"/>
                  <a:gd name="T95" fmla="*/ 4 h 116"/>
                  <a:gd name="T96" fmla="*/ 150 w 175"/>
                  <a:gd name="T97" fmla="*/ 14 h 116"/>
                  <a:gd name="T98" fmla="*/ 155 w 175"/>
                  <a:gd name="T99" fmla="*/ 20 h 116"/>
                  <a:gd name="T100" fmla="*/ 159 w 175"/>
                  <a:gd name="T101" fmla="*/ 30 h 116"/>
                  <a:gd name="T102" fmla="*/ 169 w 175"/>
                  <a:gd name="T103" fmla="*/ 37 h 116"/>
                  <a:gd name="T104" fmla="*/ 173 w 175"/>
                  <a:gd name="T105" fmla="*/ 50 h 116"/>
                  <a:gd name="T106" fmla="*/ 173 w 175"/>
                  <a:gd name="T107" fmla="*/ 56 h 116"/>
                  <a:gd name="T108" fmla="*/ 159 w 175"/>
                  <a:gd name="T109" fmla="*/ 69 h 116"/>
                  <a:gd name="T110" fmla="*/ 150 w 175"/>
                  <a:gd name="T111" fmla="*/ 85 h 116"/>
                  <a:gd name="T112" fmla="*/ 133 w 175"/>
                  <a:gd name="T113" fmla="*/ 90 h 116"/>
                  <a:gd name="T114" fmla="*/ 118 w 175"/>
                  <a:gd name="T115" fmla="*/ 103 h 116"/>
                  <a:gd name="T116" fmla="*/ 103 w 175"/>
                  <a:gd name="T117" fmla="*/ 105 h 116"/>
                  <a:gd name="T118" fmla="*/ 91 w 175"/>
                  <a:gd name="T119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5" h="116">
                    <a:moveTo>
                      <a:pt x="91" y="116"/>
                    </a:moveTo>
                    <a:lnTo>
                      <a:pt x="91" y="116"/>
                    </a:lnTo>
                    <a:lnTo>
                      <a:pt x="82" y="116"/>
                    </a:lnTo>
                    <a:lnTo>
                      <a:pt x="74" y="114"/>
                    </a:lnTo>
                    <a:lnTo>
                      <a:pt x="66" y="113"/>
                    </a:lnTo>
                    <a:lnTo>
                      <a:pt x="62" y="110"/>
                    </a:lnTo>
                    <a:lnTo>
                      <a:pt x="62" y="110"/>
                    </a:lnTo>
                    <a:lnTo>
                      <a:pt x="58" y="107"/>
                    </a:lnTo>
                    <a:lnTo>
                      <a:pt x="50" y="105"/>
                    </a:lnTo>
                    <a:lnTo>
                      <a:pt x="39" y="103"/>
                    </a:lnTo>
                    <a:lnTo>
                      <a:pt x="39" y="103"/>
                    </a:lnTo>
                    <a:lnTo>
                      <a:pt x="27" y="100"/>
                    </a:lnTo>
                    <a:lnTo>
                      <a:pt x="24" y="97"/>
                    </a:lnTo>
                    <a:lnTo>
                      <a:pt x="24" y="95"/>
                    </a:lnTo>
                    <a:lnTo>
                      <a:pt x="26" y="95"/>
                    </a:lnTo>
                    <a:lnTo>
                      <a:pt x="26" y="95"/>
                    </a:lnTo>
                    <a:lnTo>
                      <a:pt x="32" y="94"/>
                    </a:lnTo>
                    <a:lnTo>
                      <a:pt x="39" y="94"/>
                    </a:lnTo>
                    <a:lnTo>
                      <a:pt x="42" y="92"/>
                    </a:lnTo>
                    <a:lnTo>
                      <a:pt x="43" y="91"/>
                    </a:lnTo>
                    <a:lnTo>
                      <a:pt x="45" y="90"/>
                    </a:lnTo>
                    <a:lnTo>
                      <a:pt x="43" y="87"/>
                    </a:lnTo>
                    <a:lnTo>
                      <a:pt x="43" y="87"/>
                    </a:lnTo>
                    <a:lnTo>
                      <a:pt x="42" y="78"/>
                    </a:lnTo>
                    <a:lnTo>
                      <a:pt x="40" y="77"/>
                    </a:lnTo>
                    <a:lnTo>
                      <a:pt x="39" y="77"/>
                    </a:lnTo>
                    <a:lnTo>
                      <a:pt x="39" y="77"/>
                    </a:lnTo>
                    <a:lnTo>
                      <a:pt x="36" y="75"/>
                    </a:lnTo>
                    <a:lnTo>
                      <a:pt x="33" y="72"/>
                    </a:lnTo>
                    <a:lnTo>
                      <a:pt x="30" y="68"/>
                    </a:lnTo>
                    <a:lnTo>
                      <a:pt x="27" y="66"/>
                    </a:lnTo>
                    <a:lnTo>
                      <a:pt x="27" y="66"/>
                    </a:lnTo>
                    <a:lnTo>
                      <a:pt x="14" y="66"/>
                    </a:lnTo>
                    <a:lnTo>
                      <a:pt x="10" y="65"/>
                    </a:lnTo>
                    <a:lnTo>
                      <a:pt x="8" y="65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3" y="61"/>
                    </a:lnTo>
                    <a:lnTo>
                      <a:pt x="18" y="61"/>
                    </a:lnTo>
                    <a:lnTo>
                      <a:pt x="30" y="61"/>
                    </a:lnTo>
                    <a:lnTo>
                      <a:pt x="40" y="59"/>
                    </a:lnTo>
                    <a:lnTo>
                      <a:pt x="43" y="59"/>
                    </a:lnTo>
                    <a:lnTo>
                      <a:pt x="45" y="58"/>
                    </a:lnTo>
                    <a:lnTo>
                      <a:pt x="45" y="58"/>
                    </a:lnTo>
                    <a:lnTo>
                      <a:pt x="43" y="55"/>
                    </a:lnTo>
                    <a:lnTo>
                      <a:pt x="42" y="53"/>
                    </a:lnTo>
                    <a:lnTo>
                      <a:pt x="37" y="52"/>
                    </a:lnTo>
                    <a:lnTo>
                      <a:pt x="37" y="52"/>
                    </a:lnTo>
                    <a:lnTo>
                      <a:pt x="33" y="52"/>
                    </a:lnTo>
                    <a:lnTo>
                      <a:pt x="33" y="50"/>
                    </a:lnTo>
                    <a:lnTo>
                      <a:pt x="36" y="49"/>
                    </a:lnTo>
                    <a:lnTo>
                      <a:pt x="36" y="49"/>
                    </a:lnTo>
                    <a:lnTo>
                      <a:pt x="42" y="45"/>
                    </a:lnTo>
                    <a:lnTo>
                      <a:pt x="42" y="45"/>
                    </a:lnTo>
                    <a:lnTo>
                      <a:pt x="39" y="43"/>
                    </a:lnTo>
                    <a:lnTo>
                      <a:pt x="39" y="43"/>
                    </a:lnTo>
                    <a:lnTo>
                      <a:pt x="33" y="42"/>
                    </a:lnTo>
                    <a:lnTo>
                      <a:pt x="26" y="42"/>
                    </a:lnTo>
                    <a:lnTo>
                      <a:pt x="11" y="43"/>
                    </a:lnTo>
                    <a:lnTo>
                      <a:pt x="11" y="43"/>
                    </a:lnTo>
                    <a:lnTo>
                      <a:pt x="3" y="43"/>
                    </a:lnTo>
                    <a:lnTo>
                      <a:pt x="0" y="42"/>
                    </a:lnTo>
                    <a:lnTo>
                      <a:pt x="0" y="40"/>
                    </a:lnTo>
                    <a:lnTo>
                      <a:pt x="1" y="39"/>
                    </a:lnTo>
                    <a:lnTo>
                      <a:pt x="1" y="39"/>
                    </a:lnTo>
                    <a:lnTo>
                      <a:pt x="4" y="37"/>
                    </a:lnTo>
                    <a:lnTo>
                      <a:pt x="8" y="36"/>
                    </a:lnTo>
                    <a:lnTo>
                      <a:pt x="11" y="36"/>
                    </a:lnTo>
                    <a:lnTo>
                      <a:pt x="13" y="35"/>
                    </a:lnTo>
                    <a:lnTo>
                      <a:pt x="11" y="35"/>
                    </a:lnTo>
                    <a:lnTo>
                      <a:pt x="11" y="35"/>
                    </a:lnTo>
                    <a:lnTo>
                      <a:pt x="10" y="32"/>
                    </a:lnTo>
                    <a:lnTo>
                      <a:pt x="7" y="30"/>
                    </a:lnTo>
                    <a:lnTo>
                      <a:pt x="4" y="30"/>
                    </a:lnTo>
                    <a:lnTo>
                      <a:pt x="7" y="29"/>
                    </a:lnTo>
                    <a:lnTo>
                      <a:pt x="7" y="29"/>
                    </a:lnTo>
                    <a:lnTo>
                      <a:pt x="11" y="29"/>
                    </a:lnTo>
                    <a:lnTo>
                      <a:pt x="16" y="30"/>
                    </a:lnTo>
                    <a:lnTo>
                      <a:pt x="18" y="32"/>
                    </a:lnTo>
                    <a:lnTo>
                      <a:pt x="20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7"/>
                    </a:lnTo>
                    <a:lnTo>
                      <a:pt x="17" y="23"/>
                    </a:lnTo>
                    <a:lnTo>
                      <a:pt x="17" y="20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8" y="17"/>
                    </a:lnTo>
                    <a:lnTo>
                      <a:pt x="21" y="19"/>
                    </a:lnTo>
                    <a:lnTo>
                      <a:pt x="27" y="21"/>
                    </a:lnTo>
                    <a:lnTo>
                      <a:pt x="32" y="26"/>
                    </a:lnTo>
                    <a:lnTo>
                      <a:pt x="33" y="26"/>
                    </a:lnTo>
                    <a:lnTo>
                      <a:pt x="33" y="24"/>
                    </a:lnTo>
                    <a:lnTo>
                      <a:pt x="33" y="24"/>
                    </a:lnTo>
                    <a:lnTo>
                      <a:pt x="33" y="23"/>
                    </a:lnTo>
                    <a:lnTo>
                      <a:pt x="32" y="20"/>
                    </a:lnTo>
                    <a:lnTo>
                      <a:pt x="26" y="16"/>
                    </a:lnTo>
                    <a:lnTo>
                      <a:pt x="23" y="11"/>
                    </a:lnTo>
                    <a:lnTo>
                      <a:pt x="23" y="10"/>
                    </a:lnTo>
                    <a:lnTo>
                      <a:pt x="23" y="8"/>
                    </a:lnTo>
                    <a:lnTo>
                      <a:pt x="23" y="8"/>
                    </a:lnTo>
                    <a:lnTo>
                      <a:pt x="29" y="7"/>
                    </a:lnTo>
                    <a:lnTo>
                      <a:pt x="34" y="8"/>
                    </a:lnTo>
                    <a:lnTo>
                      <a:pt x="39" y="11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5" y="20"/>
                    </a:lnTo>
                    <a:lnTo>
                      <a:pt x="46" y="23"/>
                    </a:lnTo>
                    <a:lnTo>
                      <a:pt x="49" y="23"/>
                    </a:lnTo>
                    <a:lnTo>
                      <a:pt x="49" y="23"/>
                    </a:lnTo>
                    <a:lnTo>
                      <a:pt x="50" y="24"/>
                    </a:lnTo>
                    <a:lnTo>
                      <a:pt x="50" y="27"/>
                    </a:lnTo>
                    <a:lnTo>
                      <a:pt x="52" y="36"/>
                    </a:lnTo>
                    <a:lnTo>
                      <a:pt x="52" y="45"/>
                    </a:lnTo>
                    <a:lnTo>
                      <a:pt x="53" y="48"/>
                    </a:lnTo>
                    <a:lnTo>
                      <a:pt x="55" y="48"/>
                    </a:lnTo>
                    <a:lnTo>
                      <a:pt x="55" y="48"/>
                    </a:lnTo>
                    <a:lnTo>
                      <a:pt x="56" y="46"/>
                    </a:lnTo>
                    <a:lnTo>
                      <a:pt x="58" y="40"/>
                    </a:lnTo>
                    <a:lnTo>
                      <a:pt x="59" y="36"/>
                    </a:lnTo>
                    <a:lnTo>
                      <a:pt x="60" y="33"/>
                    </a:lnTo>
                    <a:lnTo>
                      <a:pt x="60" y="33"/>
                    </a:lnTo>
                    <a:lnTo>
                      <a:pt x="62" y="32"/>
                    </a:lnTo>
                    <a:lnTo>
                      <a:pt x="63" y="33"/>
                    </a:lnTo>
                    <a:lnTo>
                      <a:pt x="65" y="33"/>
                    </a:lnTo>
                    <a:lnTo>
                      <a:pt x="66" y="32"/>
                    </a:lnTo>
                    <a:lnTo>
                      <a:pt x="66" y="32"/>
                    </a:lnTo>
                    <a:lnTo>
                      <a:pt x="66" y="29"/>
                    </a:lnTo>
                    <a:lnTo>
                      <a:pt x="66" y="24"/>
                    </a:lnTo>
                    <a:lnTo>
                      <a:pt x="66" y="21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9" y="20"/>
                    </a:lnTo>
                    <a:lnTo>
                      <a:pt x="72" y="23"/>
                    </a:lnTo>
                    <a:lnTo>
                      <a:pt x="75" y="27"/>
                    </a:lnTo>
                    <a:lnTo>
                      <a:pt x="79" y="32"/>
                    </a:lnTo>
                    <a:lnTo>
                      <a:pt x="81" y="32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4" y="26"/>
                    </a:lnTo>
                    <a:lnTo>
                      <a:pt x="84" y="23"/>
                    </a:lnTo>
                    <a:lnTo>
                      <a:pt x="84" y="20"/>
                    </a:lnTo>
                    <a:lnTo>
                      <a:pt x="87" y="17"/>
                    </a:lnTo>
                    <a:lnTo>
                      <a:pt x="87" y="17"/>
                    </a:lnTo>
                    <a:lnTo>
                      <a:pt x="89" y="16"/>
                    </a:lnTo>
                    <a:lnTo>
                      <a:pt x="92" y="17"/>
                    </a:lnTo>
                    <a:lnTo>
                      <a:pt x="94" y="19"/>
                    </a:lnTo>
                    <a:lnTo>
                      <a:pt x="97" y="23"/>
                    </a:lnTo>
                    <a:lnTo>
                      <a:pt x="97" y="23"/>
                    </a:lnTo>
                    <a:lnTo>
                      <a:pt x="100" y="27"/>
                    </a:lnTo>
                    <a:lnTo>
                      <a:pt x="103" y="30"/>
                    </a:lnTo>
                    <a:lnTo>
                      <a:pt x="104" y="32"/>
                    </a:lnTo>
                    <a:lnTo>
                      <a:pt x="105" y="30"/>
                    </a:lnTo>
                    <a:lnTo>
                      <a:pt x="105" y="30"/>
                    </a:lnTo>
                    <a:lnTo>
                      <a:pt x="103" y="21"/>
                    </a:lnTo>
                    <a:lnTo>
                      <a:pt x="103" y="19"/>
                    </a:lnTo>
                    <a:lnTo>
                      <a:pt x="104" y="17"/>
                    </a:lnTo>
                    <a:lnTo>
                      <a:pt x="104" y="17"/>
                    </a:lnTo>
                    <a:lnTo>
                      <a:pt x="107" y="19"/>
                    </a:lnTo>
                    <a:lnTo>
                      <a:pt x="110" y="20"/>
                    </a:lnTo>
                    <a:lnTo>
                      <a:pt x="113" y="21"/>
                    </a:lnTo>
                    <a:lnTo>
                      <a:pt x="116" y="21"/>
                    </a:lnTo>
                    <a:lnTo>
                      <a:pt x="116" y="21"/>
                    </a:lnTo>
                    <a:lnTo>
                      <a:pt x="117" y="19"/>
                    </a:lnTo>
                    <a:lnTo>
                      <a:pt x="117" y="17"/>
                    </a:lnTo>
                    <a:lnTo>
                      <a:pt x="118" y="16"/>
                    </a:lnTo>
                    <a:lnTo>
                      <a:pt x="121" y="14"/>
                    </a:lnTo>
                    <a:lnTo>
                      <a:pt x="121" y="14"/>
                    </a:lnTo>
                    <a:lnTo>
                      <a:pt x="124" y="14"/>
                    </a:lnTo>
                    <a:lnTo>
                      <a:pt x="127" y="13"/>
                    </a:lnTo>
                    <a:lnTo>
                      <a:pt x="129" y="11"/>
                    </a:lnTo>
                    <a:lnTo>
                      <a:pt x="127" y="8"/>
                    </a:lnTo>
                    <a:lnTo>
                      <a:pt x="127" y="8"/>
                    </a:lnTo>
                    <a:lnTo>
                      <a:pt x="127" y="6"/>
                    </a:lnTo>
                    <a:lnTo>
                      <a:pt x="129" y="3"/>
                    </a:lnTo>
                    <a:lnTo>
                      <a:pt x="130" y="0"/>
                    </a:lnTo>
                    <a:lnTo>
                      <a:pt x="133" y="0"/>
                    </a:lnTo>
                    <a:lnTo>
                      <a:pt x="133" y="0"/>
                    </a:lnTo>
                    <a:lnTo>
                      <a:pt x="134" y="0"/>
                    </a:lnTo>
                    <a:lnTo>
                      <a:pt x="136" y="1"/>
                    </a:lnTo>
                    <a:lnTo>
                      <a:pt x="137" y="6"/>
                    </a:lnTo>
                    <a:lnTo>
                      <a:pt x="139" y="10"/>
                    </a:lnTo>
                    <a:lnTo>
                      <a:pt x="140" y="11"/>
                    </a:lnTo>
                    <a:lnTo>
                      <a:pt x="142" y="11"/>
                    </a:lnTo>
                    <a:lnTo>
                      <a:pt x="142" y="11"/>
                    </a:lnTo>
                    <a:lnTo>
                      <a:pt x="143" y="10"/>
                    </a:lnTo>
                    <a:lnTo>
                      <a:pt x="146" y="8"/>
                    </a:lnTo>
                    <a:lnTo>
                      <a:pt x="147" y="6"/>
                    </a:lnTo>
                    <a:lnTo>
                      <a:pt x="150" y="4"/>
                    </a:lnTo>
                    <a:lnTo>
                      <a:pt x="150" y="4"/>
                    </a:lnTo>
                    <a:lnTo>
                      <a:pt x="153" y="4"/>
                    </a:lnTo>
                    <a:lnTo>
                      <a:pt x="155" y="4"/>
                    </a:lnTo>
                    <a:lnTo>
                      <a:pt x="155" y="7"/>
                    </a:lnTo>
                    <a:lnTo>
                      <a:pt x="153" y="10"/>
                    </a:lnTo>
                    <a:lnTo>
                      <a:pt x="153" y="10"/>
                    </a:lnTo>
                    <a:lnTo>
                      <a:pt x="150" y="14"/>
                    </a:lnTo>
                    <a:lnTo>
                      <a:pt x="150" y="16"/>
                    </a:lnTo>
                    <a:lnTo>
                      <a:pt x="153" y="19"/>
                    </a:lnTo>
                    <a:lnTo>
                      <a:pt x="153" y="19"/>
                    </a:lnTo>
                    <a:lnTo>
                      <a:pt x="155" y="20"/>
                    </a:lnTo>
                    <a:lnTo>
                      <a:pt x="155" y="24"/>
                    </a:lnTo>
                    <a:lnTo>
                      <a:pt x="156" y="27"/>
                    </a:lnTo>
                    <a:lnTo>
                      <a:pt x="158" y="29"/>
                    </a:lnTo>
                    <a:lnTo>
                      <a:pt x="159" y="30"/>
                    </a:lnTo>
                    <a:lnTo>
                      <a:pt x="159" y="30"/>
                    </a:lnTo>
                    <a:lnTo>
                      <a:pt x="163" y="32"/>
                    </a:lnTo>
                    <a:lnTo>
                      <a:pt x="168" y="35"/>
                    </a:lnTo>
                    <a:lnTo>
                      <a:pt x="169" y="37"/>
                    </a:lnTo>
                    <a:lnTo>
                      <a:pt x="171" y="42"/>
                    </a:lnTo>
                    <a:lnTo>
                      <a:pt x="171" y="42"/>
                    </a:lnTo>
                    <a:lnTo>
                      <a:pt x="172" y="46"/>
                    </a:lnTo>
                    <a:lnTo>
                      <a:pt x="173" y="50"/>
                    </a:lnTo>
                    <a:lnTo>
                      <a:pt x="175" y="53"/>
                    </a:lnTo>
                    <a:lnTo>
                      <a:pt x="175" y="55"/>
                    </a:lnTo>
                    <a:lnTo>
                      <a:pt x="173" y="56"/>
                    </a:lnTo>
                    <a:lnTo>
                      <a:pt x="173" y="56"/>
                    </a:lnTo>
                    <a:lnTo>
                      <a:pt x="168" y="58"/>
                    </a:lnTo>
                    <a:lnTo>
                      <a:pt x="163" y="62"/>
                    </a:lnTo>
                    <a:lnTo>
                      <a:pt x="160" y="65"/>
                    </a:lnTo>
                    <a:lnTo>
                      <a:pt x="159" y="69"/>
                    </a:lnTo>
                    <a:lnTo>
                      <a:pt x="159" y="69"/>
                    </a:lnTo>
                    <a:lnTo>
                      <a:pt x="156" y="79"/>
                    </a:lnTo>
                    <a:lnTo>
                      <a:pt x="153" y="82"/>
                    </a:lnTo>
                    <a:lnTo>
                      <a:pt x="150" y="85"/>
                    </a:lnTo>
                    <a:lnTo>
                      <a:pt x="150" y="85"/>
                    </a:lnTo>
                    <a:lnTo>
                      <a:pt x="142" y="85"/>
                    </a:lnTo>
                    <a:lnTo>
                      <a:pt x="137" y="87"/>
                    </a:lnTo>
                    <a:lnTo>
                      <a:pt x="133" y="90"/>
                    </a:lnTo>
                    <a:lnTo>
                      <a:pt x="133" y="90"/>
                    </a:lnTo>
                    <a:lnTo>
                      <a:pt x="127" y="97"/>
                    </a:lnTo>
                    <a:lnTo>
                      <a:pt x="123" y="101"/>
                    </a:lnTo>
                    <a:lnTo>
                      <a:pt x="118" y="103"/>
                    </a:lnTo>
                    <a:lnTo>
                      <a:pt x="118" y="103"/>
                    </a:lnTo>
                    <a:lnTo>
                      <a:pt x="110" y="103"/>
                    </a:lnTo>
                    <a:lnTo>
                      <a:pt x="105" y="104"/>
                    </a:lnTo>
                    <a:lnTo>
                      <a:pt x="103" y="105"/>
                    </a:lnTo>
                    <a:lnTo>
                      <a:pt x="103" y="105"/>
                    </a:lnTo>
                    <a:lnTo>
                      <a:pt x="97" y="111"/>
                    </a:lnTo>
                    <a:lnTo>
                      <a:pt x="94" y="114"/>
                    </a:lnTo>
                    <a:lnTo>
                      <a:pt x="91" y="11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64" name="Freeform 818"/>
              <p:cNvSpPr>
                <a:spLocks/>
              </p:cNvSpPr>
              <p:nvPr/>
            </p:nvSpPr>
            <p:spPr bwMode="auto">
              <a:xfrm>
                <a:off x="4301932" y="2177511"/>
                <a:ext cx="136518" cy="234454"/>
              </a:xfrm>
              <a:custGeom>
                <a:avLst/>
                <a:gdLst>
                  <a:gd name="T0" fmla="*/ 58 w 138"/>
                  <a:gd name="T1" fmla="*/ 29 h 237"/>
                  <a:gd name="T2" fmla="*/ 39 w 138"/>
                  <a:gd name="T3" fmla="*/ 36 h 237"/>
                  <a:gd name="T4" fmla="*/ 42 w 138"/>
                  <a:gd name="T5" fmla="*/ 26 h 237"/>
                  <a:gd name="T6" fmla="*/ 55 w 138"/>
                  <a:gd name="T7" fmla="*/ 7 h 237"/>
                  <a:gd name="T8" fmla="*/ 55 w 138"/>
                  <a:gd name="T9" fmla="*/ 0 h 237"/>
                  <a:gd name="T10" fmla="*/ 30 w 138"/>
                  <a:gd name="T11" fmla="*/ 1 h 237"/>
                  <a:gd name="T12" fmla="*/ 19 w 138"/>
                  <a:gd name="T13" fmla="*/ 8 h 237"/>
                  <a:gd name="T14" fmla="*/ 17 w 138"/>
                  <a:gd name="T15" fmla="*/ 16 h 237"/>
                  <a:gd name="T16" fmla="*/ 22 w 138"/>
                  <a:gd name="T17" fmla="*/ 23 h 237"/>
                  <a:gd name="T18" fmla="*/ 13 w 138"/>
                  <a:gd name="T19" fmla="*/ 33 h 237"/>
                  <a:gd name="T20" fmla="*/ 13 w 138"/>
                  <a:gd name="T21" fmla="*/ 42 h 237"/>
                  <a:gd name="T22" fmla="*/ 7 w 138"/>
                  <a:gd name="T23" fmla="*/ 40 h 237"/>
                  <a:gd name="T24" fmla="*/ 1 w 138"/>
                  <a:gd name="T25" fmla="*/ 42 h 237"/>
                  <a:gd name="T26" fmla="*/ 4 w 138"/>
                  <a:gd name="T27" fmla="*/ 52 h 237"/>
                  <a:gd name="T28" fmla="*/ 16 w 138"/>
                  <a:gd name="T29" fmla="*/ 53 h 237"/>
                  <a:gd name="T30" fmla="*/ 17 w 138"/>
                  <a:gd name="T31" fmla="*/ 59 h 237"/>
                  <a:gd name="T32" fmla="*/ 12 w 138"/>
                  <a:gd name="T33" fmla="*/ 63 h 237"/>
                  <a:gd name="T34" fmla="*/ 10 w 138"/>
                  <a:gd name="T35" fmla="*/ 71 h 237"/>
                  <a:gd name="T36" fmla="*/ 22 w 138"/>
                  <a:gd name="T37" fmla="*/ 66 h 237"/>
                  <a:gd name="T38" fmla="*/ 23 w 138"/>
                  <a:gd name="T39" fmla="*/ 71 h 237"/>
                  <a:gd name="T40" fmla="*/ 28 w 138"/>
                  <a:gd name="T41" fmla="*/ 81 h 237"/>
                  <a:gd name="T42" fmla="*/ 26 w 138"/>
                  <a:gd name="T43" fmla="*/ 102 h 237"/>
                  <a:gd name="T44" fmla="*/ 33 w 138"/>
                  <a:gd name="T45" fmla="*/ 114 h 237"/>
                  <a:gd name="T46" fmla="*/ 46 w 138"/>
                  <a:gd name="T47" fmla="*/ 110 h 237"/>
                  <a:gd name="T48" fmla="*/ 49 w 138"/>
                  <a:gd name="T49" fmla="*/ 120 h 237"/>
                  <a:gd name="T50" fmla="*/ 58 w 138"/>
                  <a:gd name="T51" fmla="*/ 134 h 237"/>
                  <a:gd name="T52" fmla="*/ 56 w 138"/>
                  <a:gd name="T53" fmla="*/ 144 h 237"/>
                  <a:gd name="T54" fmla="*/ 45 w 138"/>
                  <a:gd name="T55" fmla="*/ 153 h 237"/>
                  <a:gd name="T56" fmla="*/ 32 w 138"/>
                  <a:gd name="T57" fmla="*/ 157 h 237"/>
                  <a:gd name="T58" fmla="*/ 36 w 138"/>
                  <a:gd name="T59" fmla="*/ 168 h 237"/>
                  <a:gd name="T60" fmla="*/ 42 w 138"/>
                  <a:gd name="T61" fmla="*/ 171 h 237"/>
                  <a:gd name="T62" fmla="*/ 29 w 138"/>
                  <a:gd name="T63" fmla="*/ 184 h 237"/>
                  <a:gd name="T64" fmla="*/ 25 w 138"/>
                  <a:gd name="T65" fmla="*/ 192 h 237"/>
                  <a:gd name="T66" fmla="*/ 51 w 138"/>
                  <a:gd name="T67" fmla="*/ 201 h 237"/>
                  <a:gd name="T68" fmla="*/ 48 w 138"/>
                  <a:gd name="T69" fmla="*/ 207 h 237"/>
                  <a:gd name="T70" fmla="*/ 33 w 138"/>
                  <a:gd name="T71" fmla="*/ 218 h 237"/>
                  <a:gd name="T72" fmla="*/ 20 w 138"/>
                  <a:gd name="T73" fmla="*/ 234 h 237"/>
                  <a:gd name="T74" fmla="*/ 26 w 138"/>
                  <a:gd name="T75" fmla="*/ 236 h 237"/>
                  <a:gd name="T76" fmla="*/ 41 w 138"/>
                  <a:gd name="T77" fmla="*/ 230 h 237"/>
                  <a:gd name="T78" fmla="*/ 54 w 138"/>
                  <a:gd name="T79" fmla="*/ 228 h 237"/>
                  <a:gd name="T80" fmla="*/ 64 w 138"/>
                  <a:gd name="T81" fmla="*/ 218 h 237"/>
                  <a:gd name="T82" fmla="*/ 81 w 138"/>
                  <a:gd name="T83" fmla="*/ 221 h 237"/>
                  <a:gd name="T84" fmla="*/ 106 w 138"/>
                  <a:gd name="T85" fmla="*/ 215 h 237"/>
                  <a:gd name="T86" fmla="*/ 129 w 138"/>
                  <a:gd name="T87" fmla="*/ 207 h 237"/>
                  <a:gd name="T88" fmla="*/ 120 w 138"/>
                  <a:gd name="T89" fmla="*/ 198 h 237"/>
                  <a:gd name="T90" fmla="*/ 136 w 138"/>
                  <a:gd name="T91" fmla="*/ 176 h 237"/>
                  <a:gd name="T92" fmla="*/ 130 w 138"/>
                  <a:gd name="T93" fmla="*/ 166 h 237"/>
                  <a:gd name="T94" fmla="*/ 114 w 138"/>
                  <a:gd name="T95" fmla="*/ 165 h 237"/>
                  <a:gd name="T96" fmla="*/ 113 w 138"/>
                  <a:gd name="T97" fmla="*/ 156 h 237"/>
                  <a:gd name="T98" fmla="*/ 107 w 138"/>
                  <a:gd name="T99" fmla="*/ 142 h 237"/>
                  <a:gd name="T100" fmla="*/ 97 w 138"/>
                  <a:gd name="T101" fmla="*/ 123 h 237"/>
                  <a:gd name="T102" fmla="*/ 80 w 138"/>
                  <a:gd name="T103" fmla="*/ 104 h 237"/>
                  <a:gd name="T104" fmla="*/ 71 w 138"/>
                  <a:gd name="T105" fmla="*/ 81 h 237"/>
                  <a:gd name="T106" fmla="*/ 62 w 138"/>
                  <a:gd name="T107" fmla="*/ 68 h 237"/>
                  <a:gd name="T108" fmla="*/ 74 w 138"/>
                  <a:gd name="T109" fmla="*/ 47 h 237"/>
                  <a:gd name="T110" fmla="*/ 78 w 138"/>
                  <a:gd name="T111" fmla="*/ 33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8" h="237">
                    <a:moveTo>
                      <a:pt x="75" y="31"/>
                    </a:moveTo>
                    <a:lnTo>
                      <a:pt x="75" y="31"/>
                    </a:lnTo>
                    <a:lnTo>
                      <a:pt x="67" y="29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4" y="30"/>
                    </a:lnTo>
                    <a:lnTo>
                      <a:pt x="46" y="33"/>
                    </a:lnTo>
                    <a:lnTo>
                      <a:pt x="39" y="36"/>
                    </a:lnTo>
                    <a:lnTo>
                      <a:pt x="38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6"/>
                    </a:lnTo>
                    <a:lnTo>
                      <a:pt x="48" y="17"/>
                    </a:lnTo>
                    <a:lnTo>
                      <a:pt x="48" y="17"/>
                    </a:lnTo>
                    <a:lnTo>
                      <a:pt x="54" y="10"/>
                    </a:lnTo>
                    <a:lnTo>
                      <a:pt x="55" y="7"/>
                    </a:lnTo>
                    <a:lnTo>
                      <a:pt x="56" y="3"/>
                    </a:lnTo>
                    <a:lnTo>
                      <a:pt x="56" y="3"/>
                    </a:lnTo>
                    <a:lnTo>
                      <a:pt x="56" y="1"/>
                    </a:lnTo>
                    <a:lnTo>
                      <a:pt x="55" y="0"/>
                    </a:lnTo>
                    <a:lnTo>
                      <a:pt x="52" y="0"/>
                    </a:lnTo>
                    <a:lnTo>
                      <a:pt x="42" y="1"/>
                    </a:lnTo>
                    <a:lnTo>
                      <a:pt x="42" y="1"/>
                    </a:lnTo>
                    <a:lnTo>
                      <a:pt x="30" y="1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9" y="4"/>
                    </a:lnTo>
                    <a:lnTo>
                      <a:pt x="19" y="8"/>
                    </a:lnTo>
                    <a:lnTo>
                      <a:pt x="17" y="11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7" y="16"/>
                    </a:lnTo>
                    <a:lnTo>
                      <a:pt x="19" y="17"/>
                    </a:lnTo>
                    <a:lnTo>
                      <a:pt x="22" y="20"/>
                    </a:lnTo>
                    <a:lnTo>
                      <a:pt x="22" y="21"/>
                    </a:lnTo>
                    <a:lnTo>
                      <a:pt x="22" y="23"/>
                    </a:lnTo>
                    <a:lnTo>
                      <a:pt x="22" y="23"/>
                    </a:lnTo>
                    <a:lnTo>
                      <a:pt x="16" y="29"/>
                    </a:lnTo>
                    <a:lnTo>
                      <a:pt x="13" y="31"/>
                    </a:lnTo>
                    <a:lnTo>
                      <a:pt x="13" y="33"/>
                    </a:lnTo>
                    <a:lnTo>
                      <a:pt x="13" y="33"/>
                    </a:lnTo>
                    <a:lnTo>
                      <a:pt x="14" y="36"/>
                    </a:lnTo>
                    <a:lnTo>
                      <a:pt x="14" y="39"/>
                    </a:lnTo>
                    <a:lnTo>
                      <a:pt x="13" y="42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9" y="42"/>
                    </a:lnTo>
                    <a:lnTo>
                      <a:pt x="7" y="40"/>
                    </a:lnTo>
                    <a:lnTo>
                      <a:pt x="6" y="37"/>
                    </a:lnTo>
                    <a:lnTo>
                      <a:pt x="4" y="37"/>
                    </a:lnTo>
                    <a:lnTo>
                      <a:pt x="4" y="37"/>
                    </a:lnTo>
                    <a:lnTo>
                      <a:pt x="1" y="42"/>
                    </a:lnTo>
                    <a:lnTo>
                      <a:pt x="0" y="45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4" y="52"/>
                    </a:lnTo>
                    <a:lnTo>
                      <a:pt x="7" y="55"/>
                    </a:lnTo>
                    <a:lnTo>
                      <a:pt x="10" y="55"/>
                    </a:lnTo>
                    <a:lnTo>
                      <a:pt x="10" y="55"/>
                    </a:lnTo>
                    <a:lnTo>
                      <a:pt x="16" y="53"/>
                    </a:lnTo>
                    <a:lnTo>
                      <a:pt x="17" y="53"/>
                    </a:lnTo>
                    <a:lnTo>
                      <a:pt x="17" y="55"/>
                    </a:lnTo>
                    <a:lnTo>
                      <a:pt x="17" y="55"/>
                    </a:lnTo>
                    <a:lnTo>
                      <a:pt x="17" y="59"/>
                    </a:lnTo>
                    <a:lnTo>
                      <a:pt x="16" y="60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2" y="63"/>
                    </a:lnTo>
                    <a:lnTo>
                      <a:pt x="10" y="66"/>
                    </a:lnTo>
                    <a:lnTo>
                      <a:pt x="9" y="69"/>
                    </a:lnTo>
                    <a:lnTo>
                      <a:pt x="10" y="71"/>
                    </a:lnTo>
                    <a:lnTo>
                      <a:pt x="10" y="71"/>
                    </a:lnTo>
                    <a:lnTo>
                      <a:pt x="13" y="71"/>
                    </a:lnTo>
                    <a:lnTo>
                      <a:pt x="17" y="68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9"/>
                    </a:lnTo>
                    <a:lnTo>
                      <a:pt x="23" y="71"/>
                    </a:lnTo>
                    <a:lnTo>
                      <a:pt x="26" y="75"/>
                    </a:lnTo>
                    <a:lnTo>
                      <a:pt x="26" y="75"/>
                    </a:lnTo>
                    <a:lnTo>
                      <a:pt x="26" y="78"/>
                    </a:lnTo>
                    <a:lnTo>
                      <a:pt x="28" y="81"/>
                    </a:lnTo>
                    <a:lnTo>
                      <a:pt x="28" y="87"/>
                    </a:lnTo>
                    <a:lnTo>
                      <a:pt x="28" y="87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5"/>
                    </a:lnTo>
                    <a:lnTo>
                      <a:pt x="28" y="110"/>
                    </a:lnTo>
                    <a:lnTo>
                      <a:pt x="29" y="113"/>
                    </a:lnTo>
                    <a:lnTo>
                      <a:pt x="33" y="114"/>
                    </a:lnTo>
                    <a:lnTo>
                      <a:pt x="33" y="114"/>
                    </a:lnTo>
                    <a:lnTo>
                      <a:pt x="38" y="113"/>
                    </a:lnTo>
                    <a:lnTo>
                      <a:pt x="42" y="111"/>
                    </a:lnTo>
                    <a:lnTo>
                      <a:pt x="46" y="110"/>
                    </a:lnTo>
                    <a:lnTo>
                      <a:pt x="48" y="110"/>
                    </a:lnTo>
                    <a:lnTo>
                      <a:pt x="48" y="111"/>
                    </a:lnTo>
                    <a:lnTo>
                      <a:pt x="48" y="111"/>
                    </a:lnTo>
                    <a:lnTo>
                      <a:pt x="49" y="120"/>
                    </a:lnTo>
                    <a:lnTo>
                      <a:pt x="51" y="124"/>
                    </a:lnTo>
                    <a:lnTo>
                      <a:pt x="54" y="129"/>
                    </a:lnTo>
                    <a:lnTo>
                      <a:pt x="54" y="129"/>
                    </a:lnTo>
                    <a:lnTo>
                      <a:pt x="58" y="134"/>
                    </a:lnTo>
                    <a:lnTo>
                      <a:pt x="59" y="137"/>
                    </a:lnTo>
                    <a:lnTo>
                      <a:pt x="58" y="142"/>
                    </a:lnTo>
                    <a:lnTo>
                      <a:pt x="58" y="142"/>
                    </a:lnTo>
                    <a:lnTo>
                      <a:pt x="56" y="144"/>
                    </a:lnTo>
                    <a:lnTo>
                      <a:pt x="52" y="149"/>
                    </a:lnTo>
                    <a:lnTo>
                      <a:pt x="48" y="152"/>
                    </a:lnTo>
                    <a:lnTo>
                      <a:pt x="45" y="153"/>
                    </a:lnTo>
                    <a:lnTo>
                      <a:pt x="45" y="153"/>
                    </a:lnTo>
                    <a:lnTo>
                      <a:pt x="38" y="155"/>
                    </a:lnTo>
                    <a:lnTo>
                      <a:pt x="35" y="155"/>
                    </a:lnTo>
                    <a:lnTo>
                      <a:pt x="32" y="157"/>
                    </a:lnTo>
                    <a:lnTo>
                      <a:pt x="32" y="157"/>
                    </a:lnTo>
                    <a:lnTo>
                      <a:pt x="32" y="160"/>
                    </a:lnTo>
                    <a:lnTo>
                      <a:pt x="33" y="165"/>
                    </a:lnTo>
                    <a:lnTo>
                      <a:pt x="35" y="168"/>
                    </a:lnTo>
                    <a:lnTo>
                      <a:pt x="36" y="168"/>
                    </a:lnTo>
                    <a:lnTo>
                      <a:pt x="36" y="168"/>
                    </a:lnTo>
                    <a:lnTo>
                      <a:pt x="39" y="168"/>
                    </a:lnTo>
                    <a:lnTo>
                      <a:pt x="42" y="168"/>
                    </a:lnTo>
                    <a:lnTo>
                      <a:pt x="42" y="171"/>
                    </a:lnTo>
                    <a:lnTo>
                      <a:pt x="41" y="175"/>
                    </a:lnTo>
                    <a:lnTo>
                      <a:pt x="41" y="175"/>
                    </a:lnTo>
                    <a:lnTo>
                      <a:pt x="35" y="179"/>
                    </a:lnTo>
                    <a:lnTo>
                      <a:pt x="29" y="184"/>
                    </a:lnTo>
                    <a:lnTo>
                      <a:pt x="25" y="188"/>
                    </a:lnTo>
                    <a:lnTo>
                      <a:pt x="23" y="189"/>
                    </a:lnTo>
                    <a:lnTo>
                      <a:pt x="23" y="189"/>
                    </a:lnTo>
                    <a:lnTo>
                      <a:pt x="25" y="192"/>
                    </a:lnTo>
                    <a:lnTo>
                      <a:pt x="29" y="194"/>
                    </a:lnTo>
                    <a:lnTo>
                      <a:pt x="41" y="198"/>
                    </a:lnTo>
                    <a:lnTo>
                      <a:pt x="41" y="198"/>
                    </a:lnTo>
                    <a:lnTo>
                      <a:pt x="51" y="201"/>
                    </a:lnTo>
                    <a:lnTo>
                      <a:pt x="55" y="202"/>
                    </a:lnTo>
                    <a:lnTo>
                      <a:pt x="56" y="202"/>
                    </a:lnTo>
                    <a:lnTo>
                      <a:pt x="56" y="202"/>
                    </a:lnTo>
                    <a:lnTo>
                      <a:pt x="48" y="207"/>
                    </a:lnTo>
                    <a:lnTo>
                      <a:pt x="42" y="208"/>
                    </a:lnTo>
                    <a:lnTo>
                      <a:pt x="38" y="211"/>
                    </a:lnTo>
                    <a:lnTo>
                      <a:pt x="38" y="211"/>
                    </a:lnTo>
                    <a:lnTo>
                      <a:pt x="33" y="218"/>
                    </a:lnTo>
                    <a:lnTo>
                      <a:pt x="30" y="226"/>
                    </a:lnTo>
                    <a:lnTo>
                      <a:pt x="30" y="226"/>
                    </a:lnTo>
                    <a:lnTo>
                      <a:pt x="23" y="231"/>
                    </a:lnTo>
                    <a:lnTo>
                      <a:pt x="20" y="234"/>
                    </a:lnTo>
                    <a:lnTo>
                      <a:pt x="20" y="236"/>
                    </a:lnTo>
                    <a:lnTo>
                      <a:pt x="22" y="237"/>
                    </a:lnTo>
                    <a:lnTo>
                      <a:pt x="22" y="237"/>
                    </a:lnTo>
                    <a:lnTo>
                      <a:pt x="26" y="236"/>
                    </a:lnTo>
                    <a:lnTo>
                      <a:pt x="32" y="234"/>
                    </a:lnTo>
                    <a:lnTo>
                      <a:pt x="36" y="231"/>
                    </a:lnTo>
                    <a:lnTo>
                      <a:pt x="41" y="230"/>
                    </a:lnTo>
                    <a:lnTo>
                      <a:pt x="41" y="230"/>
                    </a:lnTo>
                    <a:lnTo>
                      <a:pt x="48" y="231"/>
                    </a:lnTo>
                    <a:lnTo>
                      <a:pt x="51" y="231"/>
                    </a:lnTo>
                    <a:lnTo>
                      <a:pt x="54" y="228"/>
                    </a:lnTo>
                    <a:lnTo>
                      <a:pt x="54" y="228"/>
                    </a:lnTo>
                    <a:lnTo>
                      <a:pt x="59" y="221"/>
                    </a:lnTo>
                    <a:lnTo>
                      <a:pt x="62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71" y="223"/>
                    </a:lnTo>
                    <a:lnTo>
                      <a:pt x="75" y="223"/>
                    </a:lnTo>
                    <a:lnTo>
                      <a:pt x="81" y="221"/>
                    </a:lnTo>
                    <a:lnTo>
                      <a:pt x="81" y="221"/>
                    </a:lnTo>
                    <a:lnTo>
                      <a:pt x="87" y="217"/>
                    </a:lnTo>
                    <a:lnTo>
                      <a:pt x="94" y="215"/>
                    </a:lnTo>
                    <a:lnTo>
                      <a:pt x="106" y="215"/>
                    </a:lnTo>
                    <a:lnTo>
                      <a:pt x="106" y="215"/>
                    </a:lnTo>
                    <a:lnTo>
                      <a:pt x="122" y="211"/>
                    </a:lnTo>
                    <a:lnTo>
                      <a:pt x="127" y="208"/>
                    </a:lnTo>
                    <a:lnTo>
                      <a:pt x="129" y="208"/>
                    </a:lnTo>
                    <a:lnTo>
                      <a:pt x="129" y="207"/>
                    </a:lnTo>
                    <a:lnTo>
                      <a:pt x="129" y="207"/>
                    </a:lnTo>
                    <a:lnTo>
                      <a:pt x="122" y="202"/>
                    </a:lnTo>
                    <a:lnTo>
                      <a:pt x="119" y="200"/>
                    </a:lnTo>
                    <a:lnTo>
                      <a:pt x="120" y="198"/>
                    </a:lnTo>
                    <a:lnTo>
                      <a:pt x="120" y="195"/>
                    </a:lnTo>
                    <a:lnTo>
                      <a:pt x="120" y="195"/>
                    </a:lnTo>
                    <a:lnTo>
                      <a:pt x="132" y="184"/>
                    </a:lnTo>
                    <a:lnTo>
                      <a:pt x="136" y="176"/>
                    </a:lnTo>
                    <a:lnTo>
                      <a:pt x="138" y="173"/>
                    </a:lnTo>
                    <a:lnTo>
                      <a:pt x="136" y="171"/>
                    </a:lnTo>
                    <a:lnTo>
                      <a:pt x="136" y="171"/>
                    </a:lnTo>
                    <a:lnTo>
                      <a:pt x="130" y="166"/>
                    </a:lnTo>
                    <a:lnTo>
                      <a:pt x="125" y="165"/>
                    </a:lnTo>
                    <a:lnTo>
                      <a:pt x="119" y="163"/>
                    </a:lnTo>
                    <a:lnTo>
                      <a:pt x="114" y="165"/>
                    </a:lnTo>
                    <a:lnTo>
                      <a:pt x="114" y="165"/>
                    </a:lnTo>
                    <a:lnTo>
                      <a:pt x="112" y="165"/>
                    </a:lnTo>
                    <a:lnTo>
                      <a:pt x="112" y="162"/>
                    </a:lnTo>
                    <a:lnTo>
                      <a:pt x="112" y="159"/>
                    </a:lnTo>
                    <a:lnTo>
                      <a:pt x="113" y="156"/>
                    </a:lnTo>
                    <a:lnTo>
                      <a:pt x="113" y="156"/>
                    </a:lnTo>
                    <a:lnTo>
                      <a:pt x="110" y="150"/>
                    </a:lnTo>
                    <a:lnTo>
                      <a:pt x="107" y="142"/>
                    </a:lnTo>
                    <a:lnTo>
                      <a:pt x="107" y="142"/>
                    </a:lnTo>
                    <a:lnTo>
                      <a:pt x="107" y="137"/>
                    </a:lnTo>
                    <a:lnTo>
                      <a:pt x="104" y="131"/>
                    </a:lnTo>
                    <a:lnTo>
                      <a:pt x="100" y="126"/>
                    </a:lnTo>
                    <a:lnTo>
                      <a:pt x="97" y="123"/>
                    </a:lnTo>
                    <a:lnTo>
                      <a:pt x="97" y="123"/>
                    </a:lnTo>
                    <a:lnTo>
                      <a:pt x="87" y="115"/>
                    </a:lnTo>
                    <a:lnTo>
                      <a:pt x="83" y="110"/>
                    </a:lnTo>
                    <a:lnTo>
                      <a:pt x="80" y="104"/>
                    </a:lnTo>
                    <a:lnTo>
                      <a:pt x="80" y="104"/>
                    </a:lnTo>
                    <a:lnTo>
                      <a:pt x="77" y="91"/>
                    </a:lnTo>
                    <a:lnTo>
                      <a:pt x="75" y="85"/>
                    </a:lnTo>
                    <a:lnTo>
                      <a:pt x="71" y="81"/>
                    </a:lnTo>
                    <a:lnTo>
                      <a:pt x="71" y="81"/>
                    </a:lnTo>
                    <a:lnTo>
                      <a:pt x="62" y="75"/>
                    </a:lnTo>
                    <a:lnTo>
                      <a:pt x="61" y="72"/>
                    </a:lnTo>
                    <a:lnTo>
                      <a:pt x="62" y="68"/>
                    </a:lnTo>
                    <a:lnTo>
                      <a:pt x="62" y="68"/>
                    </a:lnTo>
                    <a:lnTo>
                      <a:pt x="65" y="63"/>
                    </a:lnTo>
                    <a:lnTo>
                      <a:pt x="70" y="58"/>
                    </a:lnTo>
                    <a:lnTo>
                      <a:pt x="74" y="47"/>
                    </a:lnTo>
                    <a:lnTo>
                      <a:pt x="74" y="47"/>
                    </a:lnTo>
                    <a:lnTo>
                      <a:pt x="78" y="37"/>
                    </a:lnTo>
                    <a:lnTo>
                      <a:pt x="80" y="34"/>
                    </a:lnTo>
                    <a:lnTo>
                      <a:pt x="78" y="33"/>
                    </a:lnTo>
                    <a:lnTo>
                      <a:pt x="75" y="3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65" name="Freeform 819"/>
              <p:cNvSpPr>
                <a:spLocks/>
              </p:cNvSpPr>
              <p:nvPr/>
            </p:nvSpPr>
            <p:spPr bwMode="auto">
              <a:xfrm>
                <a:off x="4301932" y="2177511"/>
                <a:ext cx="136518" cy="234454"/>
              </a:xfrm>
              <a:custGeom>
                <a:avLst/>
                <a:gdLst>
                  <a:gd name="T0" fmla="*/ 58 w 138"/>
                  <a:gd name="T1" fmla="*/ 29 h 237"/>
                  <a:gd name="T2" fmla="*/ 39 w 138"/>
                  <a:gd name="T3" fmla="*/ 36 h 237"/>
                  <a:gd name="T4" fmla="*/ 42 w 138"/>
                  <a:gd name="T5" fmla="*/ 26 h 237"/>
                  <a:gd name="T6" fmla="*/ 55 w 138"/>
                  <a:gd name="T7" fmla="*/ 7 h 237"/>
                  <a:gd name="T8" fmla="*/ 55 w 138"/>
                  <a:gd name="T9" fmla="*/ 0 h 237"/>
                  <a:gd name="T10" fmla="*/ 30 w 138"/>
                  <a:gd name="T11" fmla="*/ 1 h 237"/>
                  <a:gd name="T12" fmla="*/ 19 w 138"/>
                  <a:gd name="T13" fmla="*/ 8 h 237"/>
                  <a:gd name="T14" fmla="*/ 17 w 138"/>
                  <a:gd name="T15" fmla="*/ 16 h 237"/>
                  <a:gd name="T16" fmla="*/ 22 w 138"/>
                  <a:gd name="T17" fmla="*/ 23 h 237"/>
                  <a:gd name="T18" fmla="*/ 13 w 138"/>
                  <a:gd name="T19" fmla="*/ 33 h 237"/>
                  <a:gd name="T20" fmla="*/ 13 w 138"/>
                  <a:gd name="T21" fmla="*/ 42 h 237"/>
                  <a:gd name="T22" fmla="*/ 7 w 138"/>
                  <a:gd name="T23" fmla="*/ 40 h 237"/>
                  <a:gd name="T24" fmla="*/ 1 w 138"/>
                  <a:gd name="T25" fmla="*/ 42 h 237"/>
                  <a:gd name="T26" fmla="*/ 4 w 138"/>
                  <a:gd name="T27" fmla="*/ 52 h 237"/>
                  <a:gd name="T28" fmla="*/ 16 w 138"/>
                  <a:gd name="T29" fmla="*/ 53 h 237"/>
                  <a:gd name="T30" fmla="*/ 17 w 138"/>
                  <a:gd name="T31" fmla="*/ 59 h 237"/>
                  <a:gd name="T32" fmla="*/ 12 w 138"/>
                  <a:gd name="T33" fmla="*/ 63 h 237"/>
                  <a:gd name="T34" fmla="*/ 10 w 138"/>
                  <a:gd name="T35" fmla="*/ 71 h 237"/>
                  <a:gd name="T36" fmla="*/ 22 w 138"/>
                  <a:gd name="T37" fmla="*/ 66 h 237"/>
                  <a:gd name="T38" fmla="*/ 23 w 138"/>
                  <a:gd name="T39" fmla="*/ 71 h 237"/>
                  <a:gd name="T40" fmla="*/ 28 w 138"/>
                  <a:gd name="T41" fmla="*/ 81 h 237"/>
                  <a:gd name="T42" fmla="*/ 26 w 138"/>
                  <a:gd name="T43" fmla="*/ 102 h 237"/>
                  <a:gd name="T44" fmla="*/ 33 w 138"/>
                  <a:gd name="T45" fmla="*/ 114 h 237"/>
                  <a:gd name="T46" fmla="*/ 46 w 138"/>
                  <a:gd name="T47" fmla="*/ 110 h 237"/>
                  <a:gd name="T48" fmla="*/ 49 w 138"/>
                  <a:gd name="T49" fmla="*/ 120 h 237"/>
                  <a:gd name="T50" fmla="*/ 58 w 138"/>
                  <a:gd name="T51" fmla="*/ 134 h 237"/>
                  <a:gd name="T52" fmla="*/ 56 w 138"/>
                  <a:gd name="T53" fmla="*/ 144 h 237"/>
                  <a:gd name="T54" fmla="*/ 45 w 138"/>
                  <a:gd name="T55" fmla="*/ 153 h 237"/>
                  <a:gd name="T56" fmla="*/ 32 w 138"/>
                  <a:gd name="T57" fmla="*/ 157 h 237"/>
                  <a:gd name="T58" fmla="*/ 36 w 138"/>
                  <a:gd name="T59" fmla="*/ 168 h 237"/>
                  <a:gd name="T60" fmla="*/ 42 w 138"/>
                  <a:gd name="T61" fmla="*/ 171 h 237"/>
                  <a:gd name="T62" fmla="*/ 29 w 138"/>
                  <a:gd name="T63" fmla="*/ 184 h 237"/>
                  <a:gd name="T64" fmla="*/ 25 w 138"/>
                  <a:gd name="T65" fmla="*/ 192 h 237"/>
                  <a:gd name="T66" fmla="*/ 51 w 138"/>
                  <a:gd name="T67" fmla="*/ 201 h 237"/>
                  <a:gd name="T68" fmla="*/ 48 w 138"/>
                  <a:gd name="T69" fmla="*/ 207 h 237"/>
                  <a:gd name="T70" fmla="*/ 33 w 138"/>
                  <a:gd name="T71" fmla="*/ 218 h 237"/>
                  <a:gd name="T72" fmla="*/ 20 w 138"/>
                  <a:gd name="T73" fmla="*/ 234 h 237"/>
                  <a:gd name="T74" fmla="*/ 26 w 138"/>
                  <a:gd name="T75" fmla="*/ 236 h 237"/>
                  <a:gd name="T76" fmla="*/ 41 w 138"/>
                  <a:gd name="T77" fmla="*/ 230 h 237"/>
                  <a:gd name="T78" fmla="*/ 54 w 138"/>
                  <a:gd name="T79" fmla="*/ 228 h 237"/>
                  <a:gd name="T80" fmla="*/ 64 w 138"/>
                  <a:gd name="T81" fmla="*/ 218 h 237"/>
                  <a:gd name="T82" fmla="*/ 81 w 138"/>
                  <a:gd name="T83" fmla="*/ 221 h 237"/>
                  <a:gd name="T84" fmla="*/ 106 w 138"/>
                  <a:gd name="T85" fmla="*/ 215 h 237"/>
                  <a:gd name="T86" fmla="*/ 129 w 138"/>
                  <a:gd name="T87" fmla="*/ 207 h 237"/>
                  <a:gd name="T88" fmla="*/ 120 w 138"/>
                  <a:gd name="T89" fmla="*/ 198 h 237"/>
                  <a:gd name="T90" fmla="*/ 136 w 138"/>
                  <a:gd name="T91" fmla="*/ 176 h 237"/>
                  <a:gd name="T92" fmla="*/ 130 w 138"/>
                  <a:gd name="T93" fmla="*/ 166 h 237"/>
                  <a:gd name="T94" fmla="*/ 114 w 138"/>
                  <a:gd name="T95" fmla="*/ 165 h 237"/>
                  <a:gd name="T96" fmla="*/ 113 w 138"/>
                  <a:gd name="T97" fmla="*/ 156 h 237"/>
                  <a:gd name="T98" fmla="*/ 107 w 138"/>
                  <a:gd name="T99" fmla="*/ 142 h 237"/>
                  <a:gd name="T100" fmla="*/ 97 w 138"/>
                  <a:gd name="T101" fmla="*/ 123 h 237"/>
                  <a:gd name="T102" fmla="*/ 80 w 138"/>
                  <a:gd name="T103" fmla="*/ 104 h 237"/>
                  <a:gd name="T104" fmla="*/ 71 w 138"/>
                  <a:gd name="T105" fmla="*/ 81 h 237"/>
                  <a:gd name="T106" fmla="*/ 62 w 138"/>
                  <a:gd name="T107" fmla="*/ 68 h 237"/>
                  <a:gd name="T108" fmla="*/ 74 w 138"/>
                  <a:gd name="T109" fmla="*/ 47 h 237"/>
                  <a:gd name="T110" fmla="*/ 78 w 138"/>
                  <a:gd name="T111" fmla="*/ 33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8" h="237">
                    <a:moveTo>
                      <a:pt x="75" y="31"/>
                    </a:moveTo>
                    <a:lnTo>
                      <a:pt x="75" y="31"/>
                    </a:lnTo>
                    <a:lnTo>
                      <a:pt x="67" y="29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4" y="30"/>
                    </a:lnTo>
                    <a:lnTo>
                      <a:pt x="46" y="33"/>
                    </a:lnTo>
                    <a:lnTo>
                      <a:pt x="39" y="36"/>
                    </a:lnTo>
                    <a:lnTo>
                      <a:pt x="38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6"/>
                    </a:lnTo>
                    <a:lnTo>
                      <a:pt x="48" y="17"/>
                    </a:lnTo>
                    <a:lnTo>
                      <a:pt x="48" y="17"/>
                    </a:lnTo>
                    <a:lnTo>
                      <a:pt x="54" y="10"/>
                    </a:lnTo>
                    <a:lnTo>
                      <a:pt x="55" y="7"/>
                    </a:lnTo>
                    <a:lnTo>
                      <a:pt x="56" y="3"/>
                    </a:lnTo>
                    <a:lnTo>
                      <a:pt x="56" y="3"/>
                    </a:lnTo>
                    <a:lnTo>
                      <a:pt x="56" y="1"/>
                    </a:lnTo>
                    <a:lnTo>
                      <a:pt x="55" y="0"/>
                    </a:lnTo>
                    <a:lnTo>
                      <a:pt x="52" y="0"/>
                    </a:lnTo>
                    <a:lnTo>
                      <a:pt x="42" y="1"/>
                    </a:lnTo>
                    <a:lnTo>
                      <a:pt x="42" y="1"/>
                    </a:lnTo>
                    <a:lnTo>
                      <a:pt x="30" y="1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9" y="4"/>
                    </a:lnTo>
                    <a:lnTo>
                      <a:pt x="19" y="8"/>
                    </a:lnTo>
                    <a:lnTo>
                      <a:pt x="17" y="11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7" y="16"/>
                    </a:lnTo>
                    <a:lnTo>
                      <a:pt x="19" y="17"/>
                    </a:lnTo>
                    <a:lnTo>
                      <a:pt x="22" y="20"/>
                    </a:lnTo>
                    <a:lnTo>
                      <a:pt x="22" y="21"/>
                    </a:lnTo>
                    <a:lnTo>
                      <a:pt x="22" y="23"/>
                    </a:lnTo>
                    <a:lnTo>
                      <a:pt x="22" y="23"/>
                    </a:lnTo>
                    <a:lnTo>
                      <a:pt x="16" y="29"/>
                    </a:lnTo>
                    <a:lnTo>
                      <a:pt x="13" y="31"/>
                    </a:lnTo>
                    <a:lnTo>
                      <a:pt x="13" y="33"/>
                    </a:lnTo>
                    <a:lnTo>
                      <a:pt x="13" y="33"/>
                    </a:lnTo>
                    <a:lnTo>
                      <a:pt x="14" y="36"/>
                    </a:lnTo>
                    <a:lnTo>
                      <a:pt x="14" y="39"/>
                    </a:lnTo>
                    <a:lnTo>
                      <a:pt x="13" y="42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9" y="42"/>
                    </a:lnTo>
                    <a:lnTo>
                      <a:pt x="7" y="40"/>
                    </a:lnTo>
                    <a:lnTo>
                      <a:pt x="6" y="37"/>
                    </a:lnTo>
                    <a:lnTo>
                      <a:pt x="4" y="37"/>
                    </a:lnTo>
                    <a:lnTo>
                      <a:pt x="4" y="37"/>
                    </a:lnTo>
                    <a:lnTo>
                      <a:pt x="1" y="42"/>
                    </a:lnTo>
                    <a:lnTo>
                      <a:pt x="0" y="45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4" y="52"/>
                    </a:lnTo>
                    <a:lnTo>
                      <a:pt x="7" y="55"/>
                    </a:lnTo>
                    <a:lnTo>
                      <a:pt x="10" y="55"/>
                    </a:lnTo>
                    <a:lnTo>
                      <a:pt x="10" y="55"/>
                    </a:lnTo>
                    <a:lnTo>
                      <a:pt x="16" y="53"/>
                    </a:lnTo>
                    <a:lnTo>
                      <a:pt x="17" y="53"/>
                    </a:lnTo>
                    <a:lnTo>
                      <a:pt x="17" y="55"/>
                    </a:lnTo>
                    <a:lnTo>
                      <a:pt x="17" y="55"/>
                    </a:lnTo>
                    <a:lnTo>
                      <a:pt x="17" y="59"/>
                    </a:lnTo>
                    <a:lnTo>
                      <a:pt x="16" y="60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2" y="63"/>
                    </a:lnTo>
                    <a:lnTo>
                      <a:pt x="10" y="66"/>
                    </a:lnTo>
                    <a:lnTo>
                      <a:pt x="9" y="69"/>
                    </a:lnTo>
                    <a:lnTo>
                      <a:pt x="10" y="71"/>
                    </a:lnTo>
                    <a:lnTo>
                      <a:pt x="10" y="71"/>
                    </a:lnTo>
                    <a:lnTo>
                      <a:pt x="13" y="71"/>
                    </a:lnTo>
                    <a:lnTo>
                      <a:pt x="17" y="68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9"/>
                    </a:lnTo>
                    <a:lnTo>
                      <a:pt x="23" y="71"/>
                    </a:lnTo>
                    <a:lnTo>
                      <a:pt x="26" y="75"/>
                    </a:lnTo>
                    <a:lnTo>
                      <a:pt x="26" y="75"/>
                    </a:lnTo>
                    <a:lnTo>
                      <a:pt x="26" y="78"/>
                    </a:lnTo>
                    <a:lnTo>
                      <a:pt x="28" y="81"/>
                    </a:lnTo>
                    <a:lnTo>
                      <a:pt x="28" y="87"/>
                    </a:lnTo>
                    <a:lnTo>
                      <a:pt x="28" y="87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5"/>
                    </a:lnTo>
                    <a:lnTo>
                      <a:pt x="28" y="110"/>
                    </a:lnTo>
                    <a:lnTo>
                      <a:pt x="29" y="113"/>
                    </a:lnTo>
                    <a:lnTo>
                      <a:pt x="33" y="114"/>
                    </a:lnTo>
                    <a:lnTo>
                      <a:pt x="33" y="114"/>
                    </a:lnTo>
                    <a:lnTo>
                      <a:pt x="38" y="113"/>
                    </a:lnTo>
                    <a:lnTo>
                      <a:pt x="42" y="111"/>
                    </a:lnTo>
                    <a:lnTo>
                      <a:pt x="46" y="110"/>
                    </a:lnTo>
                    <a:lnTo>
                      <a:pt x="48" y="110"/>
                    </a:lnTo>
                    <a:lnTo>
                      <a:pt x="48" y="111"/>
                    </a:lnTo>
                    <a:lnTo>
                      <a:pt x="48" y="111"/>
                    </a:lnTo>
                    <a:lnTo>
                      <a:pt x="49" y="120"/>
                    </a:lnTo>
                    <a:lnTo>
                      <a:pt x="51" y="124"/>
                    </a:lnTo>
                    <a:lnTo>
                      <a:pt x="54" y="129"/>
                    </a:lnTo>
                    <a:lnTo>
                      <a:pt x="54" y="129"/>
                    </a:lnTo>
                    <a:lnTo>
                      <a:pt x="58" y="134"/>
                    </a:lnTo>
                    <a:lnTo>
                      <a:pt x="59" y="137"/>
                    </a:lnTo>
                    <a:lnTo>
                      <a:pt x="58" y="142"/>
                    </a:lnTo>
                    <a:lnTo>
                      <a:pt x="58" y="142"/>
                    </a:lnTo>
                    <a:lnTo>
                      <a:pt x="56" y="144"/>
                    </a:lnTo>
                    <a:lnTo>
                      <a:pt x="52" y="149"/>
                    </a:lnTo>
                    <a:lnTo>
                      <a:pt x="48" y="152"/>
                    </a:lnTo>
                    <a:lnTo>
                      <a:pt x="45" y="153"/>
                    </a:lnTo>
                    <a:lnTo>
                      <a:pt x="45" y="153"/>
                    </a:lnTo>
                    <a:lnTo>
                      <a:pt x="38" y="155"/>
                    </a:lnTo>
                    <a:lnTo>
                      <a:pt x="35" y="155"/>
                    </a:lnTo>
                    <a:lnTo>
                      <a:pt x="32" y="157"/>
                    </a:lnTo>
                    <a:lnTo>
                      <a:pt x="32" y="157"/>
                    </a:lnTo>
                    <a:lnTo>
                      <a:pt x="32" y="160"/>
                    </a:lnTo>
                    <a:lnTo>
                      <a:pt x="33" y="165"/>
                    </a:lnTo>
                    <a:lnTo>
                      <a:pt x="35" y="168"/>
                    </a:lnTo>
                    <a:lnTo>
                      <a:pt x="36" y="168"/>
                    </a:lnTo>
                    <a:lnTo>
                      <a:pt x="36" y="168"/>
                    </a:lnTo>
                    <a:lnTo>
                      <a:pt x="39" y="168"/>
                    </a:lnTo>
                    <a:lnTo>
                      <a:pt x="42" y="168"/>
                    </a:lnTo>
                    <a:lnTo>
                      <a:pt x="42" y="171"/>
                    </a:lnTo>
                    <a:lnTo>
                      <a:pt x="41" y="175"/>
                    </a:lnTo>
                    <a:lnTo>
                      <a:pt x="41" y="175"/>
                    </a:lnTo>
                    <a:lnTo>
                      <a:pt x="35" y="179"/>
                    </a:lnTo>
                    <a:lnTo>
                      <a:pt x="29" y="184"/>
                    </a:lnTo>
                    <a:lnTo>
                      <a:pt x="25" y="188"/>
                    </a:lnTo>
                    <a:lnTo>
                      <a:pt x="23" y="189"/>
                    </a:lnTo>
                    <a:lnTo>
                      <a:pt x="23" y="189"/>
                    </a:lnTo>
                    <a:lnTo>
                      <a:pt x="25" y="192"/>
                    </a:lnTo>
                    <a:lnTo>
                      <a:pt x="29" y="194"/>
                    </a:lnTo>
                    <a:lnTo>
                      <a:pt x="41" y="198"/>
                    </a:lnTo>
                    <a:lnTo>
                      <a:pt x="41" y="198"/>
                    </a:lnTo>
                    <a:lnTo>
                      <a:pt x="51" y="201"/>
                    </a:lnTo>
                    <a:lnTo>
                      <a:pt x="55" y="202"/>
                    </a:lnTo>
                    <a:lnTo>
                      <a:pt x="56" y="202"/>
                    </a:lnTo>
                    <a:lnTo>
                      <a:pt x="56" y="202"/>
                    </a:lnTo>
                    <a:lnTo>
                      <a:pt x="48" y="207"/>
                    </a:lnTo>
                    <a:lnTo>
                      <a:pt x="42" y="208"/>
                    </a:lnTo>
                    <a:lnTo>
                      <a:pt x="38" y="211"/>
                    </a:lnTo>
                    <a:lnTo>
                      <a:pt x="38" y="211"/>
                    </a:lnTo>
                    <a:lnTo>
                      <a:pt x="33" y="218"/>
                    </a:lnTo>
                    <a:lnTo>
                      <a:pt x="30" y="226"/>
                    </a:lnTo>
                    <a:lnTo>
                      <a:pt x="30" y="226"/>
                    </a:lnTo>
                    <a:lnTo>
                      <a:pt x="23" y="231"/>
                    </a:lnTo>
                    <a:lnTo>
                      <a:pt x="20" y="234"/>
                    </a:lnTo>
                    <a:lnTo>
                      <a:pt x="20" y="236"/>
                    </a:lnTo>
                    <a:lnTo>
                      <a:pt x="22" y="237"/>
                    </a:lnTo>
                    <a:lnTo>
                      <a:pt x="22" y="237"/>
                    </a:lnTo>
                    <a:lnTo>
                      <a:pt x="26" y="236"/>
                    </a:lnTo>
                    <a:lnTo>
                      <a:pt x="32" y="234"/>
                    </a:lnTo>
                    <a:lnTo>
                      <a:pt x="36" y="231"/>
                    </a:lnTo>
                    <a:lnTo>
                      <a:pt x="41" y="230"/>
                    </a:lnTo>
                    <a:lnTo>
                      <a:pt x="41" y="230"/>
                    </a:lnTo>
                    <a:lnTo>
                      <a:pt x="48" y="231"/>
                    </a:lnTo>
                    <a:lnTo>
                      <a:pt x="51" y="231"/>
                    </a:lnTo>
                    <a:lnTo>
                      <a:pt x="54" y="228"/>
                    </a:lnTo>
                    <a:lnTo>
                      <a:pt x="54" y="228"/>
                    </a:lnTo>
                    <a:lnTo>
                      <a:pt x="59" y="221"/>
                    </a:lnTo>
                    <a:lnTo>
                      <a:pt x="62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71" y="223"/>
                    </a:lnTo>
                    <a:lnTo>
                      <a:pt x="75" y="223"/>
                    </a:lnTo>
                    <a:lnTo>
                      <a:pt x="81" y="221"/>
                    </a:lnTo>
                    <a:lnTo>
                      <a:pt x="81" y="221"/>
                    </a:lnTo>
                    <a:lnTo>
                      <a:pt x="87" y="217"/>
                    </a:lnTo>
                    <a:lnTo>
                      <a:pt x="94" y="215"/>
                    </a:lnTo>
                    <a:lnTo>
                      <a:pt x="106" y="215"/>
                    </a:lnTo>
                    <a:lnTo>
                      <a:pt x="106" y="215"/>
                    </a:lnTo>
                    <a:lnTo>
                      <a:pt x="122" y="211"/>
                    </a:lnTo>
                    <a:lnTo>
                      <a:pt x="127" y="208"/>
                    </a:lnTo>
                    <a:lnTo>
                      <a:pt x="129" y="208"/>
                    </a:lnTo>
                    <a:lnTo>
                      <a:pt x="129" y="207"/>
                    </a:lnTo>
                    <a:lnTo>
                      <a:pt x="129" y="207"/>
                    </a:lnTo>
                    <a:lnTo>
                      <a:pt x="122" y="202"/>
                    </a:lnTo>
                    <a:lnTo>
                      <a:pt x="119" y="200"/>
                    </a:lnTo>
                    <a:lnTo>
                      <a:pt x="120" y="198"/>
                    </a:lnTo>
                    <a:lnTo>
                      <a:pt x="120" y="195"/>
                    </a:lnTo>
                    <a:lnTo>
                      <a:pt x="120" y="195"/>
                    </a:lnTo>
                    <a:lnTo>
                      <a:pt x="132" y="184"/>
                    </a:lnTo>
                    <a:lnTo>
                      <a:pt x="136" y="176"/>
                    </a:lnTo>
                    <a:lnTo>
                      <a:pt x="138" y="173"/>
                    </a:lnTo>
                    <a:lnTo>
                      <a:pt x="136" y="171"/>
                    </a:lnTo>
                    <a:lnTo>
                      <a:pt x="136" y="171"/>
                    </a:lnTo>
                    <a:lnTo>
                      <a:pt x="130" y="166"/>
                    </a:lnTo>
                    <a:lnTo>
                      <a:pt x="125" y="165"/>
                    </a:lnTo>
                    <a:lnTo>
                      <a:pt x="119" y="163"/>
                    </a:lnTo>
                    <a:lnTo>
                      <a:pt x="114" y="165"/>
                    </a:lnTo>
                    <a:lnTo>
                      <a:pt x="114" y="165"/>
                    </a:lnTo>
                    <a:lnTo>
                      <a:pt x="112" y="165"/>
                    </a:lnTo>
                    <a:lnTo>
                      <a:pt x="112" y="162"/>
                    </a:lnTo>
                    <a:lnTo>
                      <a:pt x="112" y="159"/>
                    </a:lnTo>
                    <a:lnTo>
                      <a:pt x="113" y="156"/>
                    </a:lnTo>
                    <a:lnTo>
                      <a:pt x="113" y="156"/>
                    </a:lnTo>
                    <a:lnTo>
                      <a:pt x="110" y="150"/>
                    </a:lnTo>
                    <a:lnTo>
                      <a:pt x="107" y="142"/>
                    </a:lnTo>
                    <a:lnTo>
                      <a:pt x="107" y="142"/>
                    </a:lnTo>
                    <a:lnTo>
                      <a:pt x="107" y="137"/>
                    </a:lnTo>
                    <a:lnTo>
                      <a:pt x="104" y="131"/>
                    </a:lnTo>
                    <a:lnTo>
                      <a:pt x="100" y="126"/>
                    </a:lnTo>
                    <a:lnTo>
                      <a:pt x="97" y="123"/>
                    </a:lnTo>
                    <a:lnTo>
                      <a:pt x="97" y="123"/>
                    </a:lnTo>
                    <a:lnTo>
                      <a:pt x="87" y="115"/>
                    </a:lnTo>
                    <a:lnTo>
                      <a:pt x="83" y="110"/>
                    </a:lnTo>
                    <a:lnTo>
                      <a:pt x="80" y="104"/>
                    </a:lnTo>
                    <a:lnTo>
                      <a:pt x="80" y="104"/>
                    </a:lnTo>
                    <a:lnTo>
                      <a:pt x="77" y="91"/>
                    </a:lnTo>
                    <a:lnTo>
                      <a:pt x="75" y="85"/>
                    </a:lnTo>
                    <a:lnTo>
                      <a:pt x="71" y="81"/>
                    </a:lnTo>
                    <a:lnTo>
                      <a:pt x="71" y="81"/>
                    </a:lnTo>
                    <a:lnTo>
                      <a:pt x="62" y="75"/>
                    </a:lnTo>
                    <a:lnTo>
                      <a:pt x="61" y="72"/>
                    </a:lnTo>
                    <a:lnTo>
                      <a:pt x="62" y="68"/>
                    </a:lnTo>
                    <a:lnTo>
                      <a:pt x="62" y="68"/>
                    </a:lnTo>
                    <a:lnTo>
                      <a:pt x="65" y="63"/>
                    </a:lnTo>
                    <a:lnTo>
                      <a:pt x="70" y="58"/>
                    </a:lnTo>
                    <a:lnTo>
                      <a:pt x="74" y="47"/>
                    </a:lnTo>
                    <a:lnTo>
                      <a:pt x="74" y="47"/>
                    </a:lnTo>
                    <a:lnTo>
                      <a:pt x="78" y="37"/>
                    </a:lnTo>
                    <a:lnTo>
                      <a:pt x="80" y="34"/>
                    </a:lnTo>
                    <a:lnTo>
                      <a:pt x="78" y="33"/>
                    </a:lnTo>
                    <a:lnTo>
                      <a:pt x="75" y="3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66" name="Freeform 820"/>
              <p:cNvSpPr>
                <a:spLocks/>
              </p:cNvSpPr>
              <p:nvPr/>
            </p:nvSpPr>
            <p:spPr bwMode="auto">
              <a:xfrm>
                <a:off x="4280168" y="2280394"/>
                <a:ext cx="34624" cy="29678"/>
              </a:xfrm>
              <a:custGeom>
                <a:avLst/>
                <a:gdLst>
                  <a:gd name="T0" fmla="*/ 9 w 35"/>
                  <a:gd name="T1" fmla="*/ 6 h 30"/>
                  <a:gd name="T2" fmla="*/ 9 w 35"/>
                  <a:gd name="T3" fmla="*/ 6 h 30"/>
                  <a:gd name="T4" fmla="*/ 8 w 35"/>
                  <a:gd name="T5" fmla="*/ 11 h 30"/>
                  <a:gd name="T6" fmla="*/ 6 w 35"/>
                  <a:gd name="T7" fmla="*/ 13 h 30"/>
                  <a:gd name="T8" fmla="*/ 3 w 35"/>
                  <a:gd name="T9" fmla="*/ 14 h 30"/>
                  <a:gd name="T10" fmla="*/ 0 w 35"/>
                  <a:gd name="T11" fmla="*/ 16 h 30"/>
                  <a:gd name="T12" fmla="*/ 0 w 35"/>
                  <a:gd name="T13" fmla="*/ 16 h 30"/>
                  <a:gd name="T14" fmla="*/ 0 w 35"/>
                  <a:gd name="T15" fmla="*/ 17 h 30"/>
                  <a:gd name="T16" fmla="*/ 2 w 35"/>
                  <a:gd name="T17" fmla="*/ 20 h 30"/>
                  <a:gd name="T18" fmla="*/ 6 w 35"/>
                  <a:gd name="T19" fmla="*/ 25 h 30"/>
                  <a:gd name="T20" fmla="*/ 13 w 35"/>
                  <a:gd name="T21" fmla="*/ 27 h 30"/>
                  <a:gd name="T22" fmla="*/ 19 w 35"/>
                  <a:gd name="T23" fmla="*/ 30 h 30"/>
                  <a:gd name="T24" fmla="*/ 19 w 35"/>
                  <a:gd name="T25" fmla="*/ 30 h 30"/>
                  <a:gd name="T26" fmla="*/ 25 w 35"/>
                  <a:gd name="T27" fmla="*/ 29 h 30"/>
                  <a:gd name="T28" fmla="*/ 32 w 35"/>
                  <a:gd name="T29" fmla="*/ 27 h 30"/>
                  <a:gd name="T30" fmla="*/ 32 w 35"/>
                  <a:gd name="T31" fmla="*/ 27 h 30"/>
                  <a:gd name="T32" fmla="*/ 35 w 35"/>
                  <a:gd name="T33" fmla="*/ 14 h 30"/>
                  <a:gd name="T34" fmla="*/ 35 w 35"/>
                  <a:gd name="T35" fmla="*/ 9 h 30"/>
                  <a:gd name="T36" fmla="*/ 35 w 35"/>
                  <a:gd name="T37" fmla="*/ 4 h 30"/>
                  <a:gd name="T38" fmla="*/ 35 w 35"/>
                  <a:gd name="T39" fmla="*/ 4 h 30"/>
                  <a:gd name="T40" fmla="*/ 31 w 35"/>
                  <a:gd name="T41" fmla="*/ 3 h 30"/>
                  <a:gd name="T42" fmla="*/ 25 w 35"/>
                  <a:gd name="T43" fmla="*/ 1 h 30"/>
                  <a:gd name="T44" fmla="*/ 9 w 35"/>
                  <a:gd name="T45" fmla="*/ 0 h 30"/>
                  <a:gd name="T46" fmla="*/ 9 w 35"/>
                  <a:gd name="T47" fmla="*/ 0 h 30"/>
                  <a:gd name="T48" fmla="*/ 9 w 35"/>
                  <a:gd name="T49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5" h="30">
                    <a:moveTo>
                      <a:pt x="9" y="6"/>
                    </a:moveTo>
                    <a:lnTo>
                      <a:pt x="9" y="6"/>
                    </a:lnTo>
                    <a:lnTo>
                      <a:pt x="8" y="11"/>
                    </a:lnTo>
                    <a:lnTo>
                      <a:pt x="6" y="13"/>
                    </a:lnTo>
                    <a:lnTo>
                      <a:pt x="3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7"/>
                    </a:lnTo>
                    <a:lnTo>
                      <a:pt x="2" y="20"/>
                    </a:lnTo>
                    <a:lnTo>
                      <a:pt x="6" y="25"/>
                    </a:lnTo>
                    <a:lnTo>
                      <a:pt x="13" y="27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5" y="29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5" y="14"/>
                    </a:lnTo>
                    <a:lnTo>
                      <a:pt x="35" y="9"/>
                    </a:lnTo>
                    <a:lnTo>
                      <a:pt x="35" y="4"/>
                    </a:lnTo>
                    <a:lnTo>
                      <a:pt x="35" y="4"/>
                    </a:lnTo>
                    <a:lnTo>
                      <a:pt x="31" y="3"/>
                    </a:lnTo>
                    <a:lnTo>
                      <a:pt x="25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67" name="Freeform 821"/>
              <p:cNvSpPr>
                <a:spLocks/>
              </p:cNvSpPr>
              <p:nvPr/>
            </p:nvSpPr>
            <p:spPr bwMode="auto">
              <a:xfrm>
                <a:off x="4280168" y="2280394"/>
                <a:ext cx="34624" cy="29678"/>
              </a:xfrm>
              <a:custGeom>
                <a:avLst/>
                <a:gdLst>
                  <a:gd name="T0" fmla="*/ 9 w 35"/>
                  <a:gd name="T1" fmla="*/ 6 h 30"/>
                  <a:gd name="T2" fmla="*/ 9 w 35"/>
                  <a:gd name="T3" fmla="*/ 6 h 30"/>
                  <a:gd name="T4" fmla="*/ 8 w 35"/>
                  <a:gd name="T5" fmla="*/ 11 h 30"/>
                  <a:gd name="T6" fmla="*/ 6 w 35"/>
                  <a:gd name="T7" fmla="*/ 13 h 30"/>
                  <a:gd name="T8" fmla="*/ 3 w 35"/>
                  <a:gd name="T9" fmla="*/ 14 h 30"/>
                  <a:gd name="T10" fmla="*/ 0 w 35"/>
                  <a:gd name="T11" fmla="*/ 16 h 30"/>
                  <a:gd name="T12" fmla="*/ 0 w 35"/>
                  <a:gd name="T13" fmla="*/ 16 h 30"/>
                  <a:gd name="T14" fmla="*/ 0 w 35"/>
                  <a:gd name="T15" fmla="*/ 17 h 30"/>
                  <a:gd name="T16" fmla="*/ 2 w 35"/>
                  <a:gd name="T17" fmla="*/ 20 h 30"/>
                  <a:gd name="T18" fmla="*/ 6 w 35"/>
                  <a:gd name="T19" fmla="*/ 25 h 30"/>
                  <a:gd name="T20" fmla="*/ 13 w 35"/>
                  <a:gd name="T21" fmla="*/ 27 h 30"/>
                  <a:gd name="T22" fmla="*/ 19 w 35"/>
                  <a:gd name="T23" fmla="*/ 30 h 30"/>
                  <a:gd name="T24" fmla="*/ 19 w 35"/>
                  <a:gd name="T25" fmla="*/ 30 h 30"/>
                  <a:gd name="T26" fmla="*/ 25 w 35"/>
                  <a:gd name="T27" fmla="*/ 29 h 30"/>
                  <a:gd name="T28" fmla="*/ 32 w 35"/>
                  <a:gd name="T29" fmla="*/ 27 h 30"/>
                  <a:gd name="T30" fmla="*/ 32 w 35"/>
                  <a:gd name="T31" fmla="*/ 27 h 30"/>
                  <a:gd name="T32" fmla="*/ 35 w 35"/>
                  <a:gd name="T33" fmla="*/ 14 h 30"/>
                  <a:gd name="T34" fmla="*/ 35 w 35"/>
                  <a:gd name="T35" fmla="*/ 9 h 30"/>
                  <a:gd name="T36" fmla="*/ 35 w 35"/>
                  <a:gd name="T37" fmla="*/ 4 h 30"/>
                  <a:gd name="T38" fmla="*/ 35 w 35"/>
                  <a:gd name="T39" fmla="*/ 4 h 30"/>
                  <a:gd name="T40" fmla="*/ 31 w 35"/>
                  <a:gd name="T41" fmla="*/ 3 h 30"/>
                  <a:gd name="T42" fmla="*/ 25 w 35"/>
                  <a:gd name="T43" fmla="*/ 1 h 30"/>
                  <a:gd name="T44" fmla="*/ 9 w 35"/>
                  <a:gd name="T45" fmla="*/ 0 h 30"/>
                  <a:gd name="T46" fmla="*/ 9 w 35"/>
                  <a:gd name="T47" fmla="*/ 0 h 30"/>
                  <a:gd name="T48" fmla="*/ 9 w 35"/>
                  <a:gd name="T49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5" h="30">
                    <a:moveTo>
                      <a:pt x="9" y="6"/>
                    </a:moveTo>
                    <a:lnTo>
                      <a:pt x="9" y="6"/>
                    </a:lnTo>
                    <a:lnTo>
                      <a:pt x="8" y="11"/>
                    </a:lnTo>
                    <a:lnTo>
                      <a:pt x="6" y="13"/>
                    </a:lnTo>
                    <a:lnTo>
                      <a:pt x="3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7"/>
                    </a:lnTo>
                    <a:lnTo>
                      <a:pt x="2" y="20"/>
                    </a:lnTo>
                    <a:lnTo>
                      <a:pt x="6" y="25"/>
                    </a:lnTo>
                    <a:lnTo>
                      <a:pt x="13" y="27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5" y="29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5" y="14"/>
                    </a:lnTo>
                    <a:lnTo>
                      <a:pt x="35" y="9"/>
                    </a:lnTo>
                    <a:lnTo>
                      <a:pt x="35" y="4"/>
                    </a:lnTo>
                    <a:lnTo>
                      <a:pt x="35" y="4"/>
                    </a:lnTo>
                    <a:lnTo>
                      <a:pt x="31" y="3"/>
                    </a:lnTo>
                    <a:lnTo>
                      <a:pt x="25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68" name="Freeform 822"/>
              <p:cNvSpPr>
                <a:spLocks/>
              </p:cNvSpPr>
              <p:nvPr/>
            </p:nvSpPr>
            <p:spPr bwMode="auto">
              <a:xfrm>
                <a:off x="4241587" y="2280394"/>
                <a:ext cx="73205" cy="92990"/>
              </a:xfrm>
              <a:custGeom>
                <a:avLst/>
                <a:gdLst>
                  <a:gd name="T0" fmla="*/ 70 w 74"/>
                  <a:gd name="T1" fmla="*/ 29 h 94"/>
                  <a:gd name="T2" fmla="*/ 71 w 74"/>
                  <a:gd name="T3" fmla="*/ 27 h 94"/>
                  <a:gd name="T4" fmla="*/ 58 w 74"/>
                  <a:gd name="T5" fmla="*/ 30 h 94"/>
                  <a:gd name="T6" fmla="*/ 52 w 74"/>
                  <a:gd name="T7" fmla="*/ 27 h 94"/>
                  <a:gd name="T8" fmla="*/ 41 w 74"/>
                  <a:gd name="T9" fmla="*/ 20 h 94"/>
                  <a:gd name="T10" fmla="*/ 39 w 74"/>
                  <a:gd name="T11" fmla="*/ 16 h 94"/>
                  <a:gd name="T12" fmla="*/ 42 w 74"/>
                  <a:gd name="T13" fmla="*/ 14 h 94"/>
                  <a:gd name="T14" fmla="*/ 47 w 74"/>
                  <a:gd name="T15" fmla="*/ 11 h 94"/>
                  <a:gd name="T16" fmla="*/ 48 w 74"/>
                  <a:gd name="T17" fmla="*/ 6 h 94"/>
                  <a:gd name="T18" fmla="*/ 48 w 74"/>
                  <a:gd name="T19" fmla="*/ 0 h 94"/>
                  <a:gd name="T20" fmla="*/ 45 w 74"/>
                  <a:gd name="T21" fmla="*/ 0 h 94"/>
                  <a:gd name="T22" fmla="*/ 35 w 74"/>
                  <a:gd name="T23" fmla="*/ 6 h 94"/>
                  <a:gd name="T24" fmla="*/ 29 w 74"/>
                  <a:gd name="T25" fmla="*/ 11 h 94"/>
                  <a:gd name="T26" fmla="*/ 31 w 74"/>
                  <a:gd name="T27" fmla="*/ 17 h 94"/>
                  <a:gd name="T28" fmla="*/ 32 w 74"/>
                  <a:gd name="T29" fmla="*/ 23 h 94"/>
                  <a:gd name="T30" fmla="*/ 29 w 74"/>
                  <a:gd name="T31" fmla="*/ 23 h 94"/>
                  <a:gd name="T32" fmla="*/ 10 w 74"/>
                  <a:gd name="T33" fmla="*/ 25 h 94"/>
                  <a:gd name="T34" fmla="*/ 6 w 74"/>
                  <a:gd name="T35" fmla="*/ 26 h 94"/>
                  <a:gd name="T36" fmla="*/ 12 w 74"/>
                  <a:gd name="T37" fmla="*/ 29 h 94"/>
                  <a:gd name="T38" fmla="*/ 16 w 74"/>
                  <a:gd name="T39" fmla="*/ 33 h 94"/>
                  <a:gd name="T40" fmla="*/ 18 w 74"/>
                  <a:gd name="T41" fmla="*/ 38 h 94"/>
                  <a:gd name="T42" fmla="*/ 10 w 74"/>
                  <a:gd name="T43" fmla="*/ 43 h 94"/>
                  <a:gd name="T44" fmla="*/ 7 w 74"/>
                  <a:gd name="T45" fmla="*/ 46 h 94"/>
                  <a:gd name="T46" fmla="*/ 18 w 74"/>
                  <a:gd name="T47" fmla="*/ 48 h 94"/>
                  <a:gd name="T48" fmla="*/ 23 w 74"/>
                  <a:gd name="T49" fmla="*/ 49 h 94"/>
                  <a:gd name="T50" fmla="*/ 25 w 74"/>
                  <a:gd name="T51" fmla="*/ 51 h 94"/>
                  <a:gd name="T52" fmla="*/ 22 w 74"/>
                  <a:gd name="T53" fmla="*/ 53 h 94"/>
                  <a:gd name="T54" fmla="*/ 18 w 74"/>
                  <a:gd name="T55" fmla="*/ 61 h 94"/>
                  <a:gd name="T56" fmla="*/ 16 w 74"/>
                  <a:gd name="T57" fmla="*/ 65 h 94"/>
                  <a:gd name="T58" fmla="*/ 18 w 74"/>
                  <a:gd name="T59" fmla="*/ 67 h 94"/>
                  <a:gd name="T60" fmla="*/ 22 w 74"/>
                  <a:gd name="T61" fmla="*/ 67 h 94"/>
                  <a:gd name="T62" fmla="*/ 20 w 74"/>
                  <a:gd name="T63" fmla="*/ 69 h 94"/>
                  <a:gd name="T64" fmla="*/ 3 w 74"/>
                  <a:gd name="T65" fmla="*/ 78 h 94"/>
                  <a:gd name="T66" fmla="*/ 0 w 74"/>
                  <a:gd name="T67" fmla="*/ 81 h 94"/>
                  <a:gd name="T68" fmla="*/ 3 w 74"/>
                  <a:gd name="T69" fmla="*/ 85 h 94"/>
                  <a:gd name="T70" fmla="*/ 13 w 74"/>
                  <a:gd name="T71" fmla="*/ 93 h 94"/>
                  <a:gd name="T72" fmla="*/ 20 w 74"/>
                  <a:gd name="T73" fmla="*/ 94 h 94"/>
                  <a:gd name="T74" fmla="*/ 35 w 74"/>
                  <a:gd name="T75" fmla="*/ 88 h 94"/>
                  <a:gd name="T76" fmla="*/ 45 w 74"/>
                  <a:gd name="T77" fmla="*/ 81 h 94"/>
                  <a:gd name="T78" fmla="*/ 55 w 74"/>
                  <a:gd name="T79" fmla="*/ 78 h 94"/>
                  <a:gd name="T80" fmla="*/ 65 w 74"/>
                  <a:gd name="T81" fmla="*/ 77 h 94"/>
                  <a:gd name="T82" fmla="*/ 68 w 74"/>
                  <a:gd name="T83" fmla="*/ 72 h 94"/>
                  <a:gd name="T84" fmla="*/ 73 w 74"/>
                  <a:gd name="T85" fmla="*/ 56 h 94"/>
                  <a:gd name="T86" fmla="*/ 74 w 74"/>
                  <a:gd name="T87" fmla="*/ 49 h 94"/>
                  <a:gd name="T88" fmla="*/ 70 w 74"/>
                  <a:gd name="T89" fmla="*/ 33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94">
                    <a:moveTo>
                      <a:pt x="70" y="29"/>
                    </a:moveTo>
                    <a:lnTo>
                      <a:pt x="70" y="29"/>
                    </a:lnTo>
                    <a:lnTo>
                      <a:pt x="71" y="27"/>
                    </a:lnTo>
                    <a:lnTo>
                      <a:pt x="71" y="27"/>
                    </a:lnTo>
                    <a:lnTo>
                      <a:pt x="64" y="29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2" y="27"/>
                    </a:lnTo>
                    <a:lnTo>
                      <a:pt x="45" y="25"/>
                    </a:lnTo>
                    <a:lnTo>
                      <a:pt x="41" y="20"/>
                    </a:lnTo>
                    <a:lnTo>
                      <a:pt x="39" y="17"/>
                    </a:lnTo>
                    <a:lnTo>
                      <a:pt x="39" y="16"/>
                    </a:lnTo>
                    <a:lnTo>
                      <a:pt x="39" y="16"/>
                    </a:lnTo>
                    <a:lnTo>
                      <a:pt x="42" y="14"/>
                    </a:lnTo>
                    <a:lnTo>
                      <a:pt x="45" y="13"/>
                    </a:lnTo>
                    <a:lnTo>
                      <a:pt x="47" y="11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9" y="1"/>
                    </a:lnTo>
                    <a:lnTo>
                      <a:pt x="35" y="6"/>
                    </a:lnTo>
                    <a:lnTo>
                      <a:pt x="29" y="11"/>
                    </a:lnTo>
                    <a:lnTo>
                      <a:pt x="29" y="11"/>
                    </a:lnTo>
                    <a:lnTo>
                      <a:pt x="29" y="14"/>
                    </a:lnTo>
                    <a:lnTo>
                      <a:pt x="31" y="17"/>
                    </a:lnTo>
                    <a:lnTo>
                      <a:pt x="32" y="20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29" y="23"/>
                    </a:lnTo>
                    <a:lnTo>
                      <a:pt x="23" y="23"/>
                    </a:lnTo>
                    <a:lnTo>
                      <a:pt x="10" y="25"/>
                    </a:lnTo>
                    <a:lnTo>
                      <a:pt x="10" y="25"/>
                    </a:lnTo>
                    <a:lnTo>
                      <a:pt x="6" y="26"/>
                    </a:lnTo>
                    <a:lnTo>
                      <a:pt x="7" y="27"/>
                    </a:lnTo>
                    <a:lnTo>
                      <a:pt x="12" y="29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18" y="36"/>
                    </a:lnTo>
                    <a:lnTo>
                      <a:pt x="18" y="38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7" y="46"/>
                    </a:lnTo>
                    <a:lnTo>
                      <a:pt x="7" y="46"/>
                    </a:lnTo>
                    <a:lnTo>
                      <a:pt x="9" y="46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3" y="49"/>
                    </a:lnTo>
                    <a:lnTo>
                      <a:pt x="25" y="49"/>
                    </a:lnTo>
                    <a:lnTo>
                      <a:pt x="25" y="51"/>
                    </a:lnTo>
                    <a:lnTo>
                      <a:pt x="22" y="53"/>
                    </a:lnTo>
                    <a:lnTo>
                      <a:pt x="22" y="53"/>
                    </a:lnTo>
                    <a:lnTo>
                      <a:pt x="19" y="56"/>
                    </a:lnTo>
                    <a:lnTo>
                      <a:pt x="18" y="61"/>
                    </a:lnTo>
                    <a:lnTo>
                      <a:pt x="16" y="65"/>
                    </a:lnTo>
                    <a:lnTo>
                      <a:pt x="16" y="65"/>
                    </a:lnTo>
                    <a:lnTo>
                      <a:pt x="18" y="67"/>
                    </a:lnTo>
                    <a:lnTo>
                      <a:pt x="18" y="67"/>
                    </a:lnTo>
                    <a:lnTo>
                      <a:pt x="20" y="67"/>
                    </a:lnTo>
                    <a:lnTo>
                      <a:pt x="22" y="67"/>
                    </a:lnTo>
                    <a:lnTo>
                      <a:pt x="22" y="68"/>
                    </a:lnTo>
                    <a:lnTo>
                      <a:pt x="20" y="69"/>
                    </a:lnTo>
                    <a:lnTo>
                      <a:pt x="20" y="69"/>
                    </a:lnTo>
                    <a:lnTo>
                      <a:pt x="3" y="78"/>
                    </a:lnTo>
                    <a:lnTo>
                      <a:pt x="3" y="78"/>
                    </a:lnTo>
                    <a:lnTo>
                      <a:pt x="0" y="81"/>
                    </a:lnTo>
                    <a:lnTo>
                      <a:pt x="2" y="82"/>
                    </a:lnTo>
                    <a:lnTo>
                      <a:pt x="3" y="85"/>
                    </a:lnTo>
                    <a:lnTo>
                      <a:pt x="6" y="88"/>
                    </a:lnTo>
                    <a:lnTo>
                      <a:pt x="13" y="93"/>
                    </a:lnTo>
                    <a:lnTo>
                      <a:pt x="20" y="94"/>
                    </a:lnTo>
                    <a:lnTo>
                      <a:pt x="20" y="94"/>
                    </a:lnTo>
                    <a:lnTo>
                      <a:pt x="28" y="93"/>
                    </a:lnTo>
                    <a:lnTo>
                      <a:pt x="35" y="88"/>
                    </a:lnTo>
                    <a:lnTo>
                      <a:pt x="45" y="81"/>
                    </a:lnTo>
                    <a:lnTo>
                      <a:pt x="45" y="81"/>
                    </a:lnTo>
                    <a:lnTo>
                      <a:pt x="49" y="80"/>
                    </a:lnTo>
                    <a:lnTo>
                      <a:pt x="55" y="78"/>
                    </a:lnTo>
                    <a:lnTo>
                      <a:pt x="65" y="77"/>
                    </a:lnTo>
                    <a:lnTo>
                      <a:pt x="65" y="77"/>
                    </a:lnTo>
                    <a:lnTo>
                      <a:pt x="67" y="75"/>
                    </a:lnTo>
                    <a:lnTo>
                      <a:pt x="68" y="72"/>
                    </a:lnTo>
                    <a:lnTo>
                      <a:pt x="71" y="65"/>
                    </a:lnTo>
                    <a:lnTo>
                      <a:pt x="73" y="56"/>
                    </a:lnTo>
                    <a:lnTo>
                      <a:pt x="74" y="49"/>
                    </a:lnTo>
                    <a:lnTo>
                      <a:pt x="74" y="49"/>
                    </a:lnTo>
                    <a:lnTo>
                      <a:pt x="71" y="39"/>
                    </a:lnTo>
                    <a:lnTo>
                      <a:pt x="70" y="33"/>
                    </a:lnTo>
                    <a:lnTo>
                      <a:pt x="70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69" name="Freeform 823"/>
              <p:cNvSpPr>
                <a:spLocks/>
              </p:cNvSpPr>
              <p:nvPr/>
            </p:nvSpPr>
            <p:spPr bwMode="auto">
              <a:xfrm>
                <a:off x="4241587" y="2280394"/>
                <a:ext cx="73205" cy="92990"/>
              </a:xfrm>
              <a:custGeom>
                <a:avLst/>
                <a:gdLst>
                  <a:gd name="T0" fmla="*/ 70 w 74"/>
                  <a:gd name="T1" fmla="*/ 29 h 94"/>
                  <a:gd name="T2" fmla="*/ 71 w 74"/>
                  <a:gd name="T3" fmla="*/ 27 h 94"/>
                  <a:gd name="T4" fmla="*/ 58 w 74"/>
                  <a:gd name="T5" fmla="*/ 30 h 94"/>
                  <a:gd name="T6" fmla="*/ 52 w 74"/>
                  <a:gd name="T7" fmla="*/ 27 h 94"/>
                  <a:gd name="T8" fmla="*/ 41 w 74"/>
                  <a:gd name="T9" fmla="*/ 20 h 94"/>
                  <a:gd name="T10" fmla="*/ 39 w 74"/>
                  <a:gd name="T11" fmla="*/ 16 h 94"/>
                  <a:gd name="T12" fmla="*/ 42 w 74"/>
                  <a:gd name="T13" fmla="*/ 14 h 94"/>
                  <a:gd name="T14" fmla="*/ 47 w 74"/>
                  <a:gd name="T15" fmla="*/ 11 h 94"/>
                  <a:gd name="T16" fmla="*/ 48 w 74"/>
                  <a:gd name="T17" fmla="*/ 6 h 94"/>
                  <a:gd name="T18" fmla="*/ 48 w 74"/>
                  <a:gd name="T19" fmla="*/ 0 h 94"/>
                  <a:gd name="T20" fmla="*/ 45 w 74"/>
                  <a:gd name="T21" fmla="*/ 0 h 94"/>
                  <a:gd name="T22" fmla="*/ 35 w 74"/>
                  <a:gd name="T23" fmla="*/ 6 h 94"/>
                  <a:gd name="T24" fmla="*/ 29 w 74"/>
                  <a:gd name="T25" fmla="*/ 11 h 94"/>
                  <a:gd name="T26" fmla="*/ 31 w 74"/>
                  <a:gd name="T27" fmla="*/ 17 h 94"/>
                  <a:gd name="T28" fmla="*/ 32 w 74"/>
                  <a:gd name="T29" fmla="*/ 23 h 94"/>
                  <a:gd name="T30" fmla="*/ 29 w 74"/>
                  <a:gd name="T31" fmla="*/ 23 h 94"/>
                  <a:gd name="T32" fmla="*/ 10 w 74"/>
                  <a:gd name="T33" fmla="*/ 25 h 94"/>
                  <a:gd name="T34" fmla="*/ 6 w 74"/>
                  <a:gd name="T35" fmla="*/ 26 h 94"/>
                  <a:gd name="T36" fmla="*/ 12 w 74"/>
                  <a:gd name="T37" fmla="*/ 29 h 94"/>
                  <a:gd name="T38" fmla="*/ 16 w 74"/>
                  <a:gd name="T39" fmla="*/ 33 h 94"/>
                  <a:gd name="T40" fmla="*/ 18 w 74"/>
                  <a:gd name="T41" fmla="*/ 38 h 94"/>
                  <a:gd name="T42" fmla="*/ 10 w 74"/>
                  <a:gd name="T43" fmla="*/ 43 h 94"/>
                  <a:gd name="T44" fmla="*/ 7 w 74"/>
                  <a:gd name="T45" fmla="*/ 46 h 94"/>
                  <a:gd name="T46" fmla="*/ 18 w 74"/>
                  <a:gd name="T47" fmla="*/ 48 h 94"/>
                  <a:gd name="T48" fmla="*/ 23 w 74"/>
                  <a:gd name="T49" fmla="*/ 49 h 94"/>
                  <a:gd name="T50" fmla="*/ 25 w 74"/>
                  <a:gd name="T51" fmla="*/ 51 h 94"/>
                  <a:gd name="T52" fmla="*/ 22 w 74"/>
                  <a:gd name="T53" fmla="*/ 53 h 94"/>
                  <a:gd name="T54" fmla="*/ 18 w 74"/>
                  <a:gd name="T55" fmla="*/ 61 h 94"/>
                  <a:gd name="T56" fmla="*/ 16 w 74"/>
                  <a:gd name="T57" fmla="*/ 65 h 94"/>
                  <a:gd name="T58" fmla="*/ 18 w 74"/>
                  <a:gd name="T59" fmla="*/ 67 h 94"/>
                  <a:gd name="T60" fmla="*/ 22 w 74"/>
                  <a:gd name="T61" fmla="*/ 67 h 94"/>
                  <a:gd name="T62" fmla="*/ 20 w 74"/>
                  <a:gd name="T63" fmla="*/ 69 h 94"/>
                  <a:gd name="T64" fmla="*/ 3 w 74"/>
                  <a:gd name="T65" fmla="*/ 78 h 94"/>
                  <a:gd name="T66" fmla="*/ 0 w 74"/>
                  <a:gd name="T67" fmla="*/ 81 h 94"/>
                  <a:gd name="T68" fmla="*/ 3 w 74"/>
                  <a:gd name="T69" fmla="*/ 85 h 94"/>
                  <a:gd name="T70" fmla="*/ 13 w 74"/>
                  <a:gd name="T71" fmla="*/ 93 h 94"/>
                  <a:gd name="T72" fmla="*/ 20 w 74"/>
                  <a:gd name="T73" fmla="*/ 94 h 94"/>
                  <a:gd name="T74" fmla="*/ 35 w 74"/>
                  <a:gd name="T75" fmla="*/ 88 h 94"/>
                  <a:gd name="T76" fmla="*/ 45 w 74"/>
                  <a:gd name="T77" fmla="*/ 81 h 94"/>
                  <a:gd name="T78" fmla="*/ 55 w 74"/>
                  <a:gd name="T79" fmla="*/ 78 h 94"/>
                  <a:gd name="T80" fmla="*/ 65 w 74"/>
                  <a:gd name="T81" fmla="*/ 77 h 94"/>
                  <a:gd name="T82" fmla="*/ 68 w 74"/>
                  <a:gd name="T83" fmla="*/ 72 h 94"/>
                  <a:gd name="T84" fmla="*/ 73 w 74"/>
                  <a:gd name="T85" fmla="*/ 56 h 94"/>
                  <a:gd name="T86" fmla="*/ 74 w 74"/>
                  <a:gd name="T87" fmla="*/ 49 h 94"/>
                  <a:gd name="T88" fmla="*/ 70 w 74"/>
                  <a:gd name="T89" fmla="*/ 33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94">
                    <a:moveTo>
                      <a:pt x="70" y="29"/>
                    </a:moveTo>
                    <a:lnTo>
                      <a:pt x="70" y="29"/>
                    </a:lnTo>
                    <a:lnTo>
                      <a:pt x="71" y="27"/>
                    </a:lnTo>
                    <a:lnTo>
                      <a:pt x="71" y="27"/>
                    </a:lnTo>
                    <a:lnTo>
                      <a:pt x="64" y="29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2" y="27"/>
                    </a:lnTo>
                    <a:lnTo>
                      <a:pt x="45" y="25"/>
                    </a:lnTo>
                    <a:lnTo>
                      <a:pt x="41" y="20"/>
                    </a:lnTo>
                    <a:lnTo>
                      <a:pt x="39" y="17"/>
                    </a:lnTo>
                    <a:lnTo>
                      <a:pt x="39" y="16"/>
                    </a:lnTo>
                    <a:lnTo>
                      <a:pt x="39" y="16"/>
                    </a:lnTo>
                    <a:lnTo>
                      <a:pt x="42" y="14"/>
                    </a:lnTo>
                    <a:lnTo>
                      <a:pt x="45" y="13"/>
                    </a:lnTo>
                    <a:lnTo>
                      <a:pt x="47" y="11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9" y="1"/>
                    </a:lnTo>
                    <a:lnTo>
                      <a:pt x="35" y="6"/>
                    </a:lnTo>
                    <a:lnTo>
                      <a:pt x="29" y="11"/>
                    </a:lnTo>
                    <a:lnTo>
                      <a:pt x="29" y="11"/>
                    </a:lnTo>
                    <a:lnTo>
                      <a:pt x="29" y="14"/>
                    </a:lnTo>
                    <a:lnTo>
                      <a:pt x="31" y="17"/>
                    </a:lnTo>
                    <a:lnTo>
                      <a:pt x="32" y="20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29" y="23"/>
                    </a:lnTo>
                    <a:lnTo>
                      <a:pt x="23" y="23"/>
                    </a:lnTo>
                    <a:lnTo>
                      <a:pt x="10" y="25"/>
                    </a:lnTo>
                    <a:lnTo>
                      <a:pt x="10" y="25"/>
                    </a:lnTo>
                    <a:lnTo>
                      <a:pt x="6" y="26"/>
                    </a:lnTo>
                    <a:lnTo>
                      <a:pt x="7" y="27"/>
                    </a:lnTo>
                    <a:lnTo>
                      <a:pt x="12" y="29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18" y="36"/>
                    </a:lnTo>
                    <a:lnTo>
                      <a:pt x="18" y="38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7" y="46"/>
                    </a:lnTo>
                    <a:lnTo>
                      <a:pt x="7" y="46"/>
                    </a:lnTo>
                    <a:lnTo>
                      <a:pt x="9" y="46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3" y="49"/>
                    </a:lnTo>
                    <a:lnTo>
                      <a:pt x="25" y="49"/>
                    </a:lnTo>
                    <a:lnTo>
                      <a:pt x="25" y="51"/>
                    </a:lnTo>
                    <a:lnTo>
                      <a:pt x="22" y="53"/>
                    </a:lnTo>
                    <a:lnTo>
                      <a:pt x="22" y="53"/>
                    </a:lnTo>
                    <a:lnTo>
                      <a:pt x="19" y="56"/>
                    </a:lnTo>
                    <a:lnTo>
                      <a:pt x="18" y="61"/>
                    </a:lnTo>
                    <a:lnTo>
                      <a:pt x="16" y="65"/>
                    </a:lnTo>
                    <a:lnTo>
                      <a:pt x="16" y="65"/>
                    </a:lnTo>
                    <a:lnTo>
                      <a:pt x="18" y="67"/>
                    </a:lnTo>
                    <a:lnTo>
                      <a:pt x="18" y="67"/>
                    </a:lnTo>
                    <a:lnTo>
                      <a:pt x="20" y="67"/>
                    </a:lnTo>
                    <a:lnTo>
                      <a:pt x="22" y="67"/>
                    </a:lnTo>
                    <a:lnTo>
                      <a:pt x="22" y="68"/>
                    </a:lnTo>
                    <a:lnTo>
                      <a:pt x="20" y="69"/>
                    </a:lnTo>
                    <a:lnTo>
                      <a:pt x="20" y="69"/>
                    </a:lnTo>
                    <a:lnTo>
                      <a:pt x="3" y="78"/>
                    </a:lnTo>
                    <a:lnTo>
                      <a:pt x="3" y="78"/>
                    </a:lnTo>
                    <a:lnTo>
                      <a:pt x="0" y="81"/>
                    </a:lnTo>
                    <a:lnTo>
                      <a:pt x="2" y="82"/>
                    </a:lnTo>
                    <a:lnTo>
                      <a:pt x="3" y="85"/>
                    </a:lnTo>
                    <a:lnTo>
                      <a:pt x="6" y="88"/>
                    </a:lnTo>
                    <a:lnTo>
                      <a:pt x="13" y="93"/>
                    </a:lnTo>
                    <a:lnTo>
                      <a:pt x="20" y="94"/>
                    </a:lnTo>
                    <a:lnTo>
                      <a:pt x="20" y="94"/>
                    </a:lnTo>
                    <a:lnTo>
                      <a:pt x="28" y="93"/>
                    </a:lnTo>
                    <a:lnTo>
                      <a:pt x="35" y="88"/>
                    </a:lnTo>
                    <a:lnTo>
                      <a:pt x="45" y="81"/>
                    </a:lnTo>
                    <a:lnTo>
                      <a:pt x="45" y="81"/>
                    </a:lnTo>
                    <a:lnTo>
                      <a:pt x="49" y="80"/>
                    </a:lnTo>
                    <a:lnTo>
                      <a:pt x="55" y="78"/>
                    </a:lnTo>
                    <a:lnTo>
                      <a:pt x="65" y="77"/>
                    </a:lnTo>
                    <a:lnTo>
                      <a:pt x="65" y="77"/>
                    </a:lnTo>
                    <a:lnTo>
                      <a:pt x="67" y="75"/>
                    </a:lnTo>
                    <a:lnTo>
                      <a:pt x="68" y="72"/>
                    </a:lnTo>
                    <a:lnTo>
                      <a:pt x="71" y="65"/>
                    </a:lnTo>
                    <a:lnTo>
                      <a:pt x="73" y="56"/>
                    </a:lnTo>
                    <a:lnTo>
                      <a:pt x="74" y="49"/>
                    </a:lnTo>
                    <a:lnTo>
                      <a:pt x="74" y="49"/>
                    </a:lnTo>
                    <a:lnTo>
                      <a:pt x="71" y="39"/>
                    </a:lnTo>
                    <a:lnTo>
                      <a:pt x="70" y="33"/>
                    </a:lnTo>
                    <a:lnTo>
                      <a:pt x="70" y="2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70" name="Freeform 824"/>
              <p:cNvSpPr>
                <a:spLocks/>
              </p:cNvSpPr>
              <p:nvPr/>
            </p:nvSpPr>
            <p:spPr bwMode="auto">
              <a:xfrm>
                <a:off x="4293028" y="2187404"/>
                <a:ext cx="15828" cy="19785"/>
              </a:xfrm>
              <a:custGeom>
                <a:avLst/>
                <a:gdLst>
                  <a:gd name="T0" fmla="*/ 16 w 16"/>
                  <a:gd name="T1" fmla="*/ 0 h 20"/>
                  <a:gd name="T2" fmla="*/ 16 w 16"/>
                  <a:gd name="T3" fmla="*/ 0 h 20"/>
                  <a:gd name="T4" fmla="*/ 6 w 16"/>
                  <a:gd name="T5" fmla="*/ 6 h 20"/>
                  <a:gd name="T6" fmla="*/ 2 w 16"/>
                  <a:gd name="T7" fmla="*/ 8 h 20"/>
                  <a:gd name="T8" fmla="*/ 0 w 16"/>
                  <a:gd name="T9" fmla="*/ 11 h 20"/>
                  <a:gd name="T10" fmla="*/ 0 w 16"/>
                  <a:gd name="T11" fmla="*/ 11 h 20"/>
                  <a:gd name="T12" fmla="*/ 2 w 16"/>
                  <a:gd name="T13" fmla="*/ 19 h 20"/>
                  <a:gd name="T14" fmla="*/ 3 w 16"/>
                  <a:gd name="T15" fmla="*/ 20 h 20"/>
                  <a:gd name="T16" fmla="*/ 6 w 16"/>
                  <a:gd name="T17" fmla="*/ 19 h 20"/>
                  <a:gd name="T18" fmla="*/ 6 w 16"/>
                  <a:gd name="T19" fmla="*/ 19 h 20"/>
                  <a:gd name="T20" fmla="*/ 10 w 16"/>
                  <a:gd name="T21" fmla="*/ 14 h 20"/>
                  <a:gd name="T22" fmla="*/ 15 w 16"/>
                  <a:gd name="T23" fmla="*/ 7 h 20"/>
                  <a:gd name="T24" fmla="*/ 16 w 16"/>
                  <a:gd name="T25" fmla="*/ 1 h 20"/>
                  <a:gd name="T26" fmla="*/ 16 w 16"/>
                  <a:gd name="T27" fmla="*/ 0 h 20"/>
                  <a:gd name="T28" fmla="*/ 16 w 16"/>
                  <a:gd name="T2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" h="20">
                    <a:moveTo>
                      <a:pt x="16" y="0"/>
                    </a:moveTo>
                    <a:lnTo>
                      <a:pt x="16" y="0"/>
                    </a:lnTo>
                    <a:lnTo>
                      <a:pt x="6" y="6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9"/>
                    </a:lnTo>
                    <a:lnTo>
                      <a:pt x="3" y="20"/>
                    </a:lnTo>
                    <a:lnTo>
                      <a:pt x="6" y="19"/>
                    </a:lnTo>
                    <a:lnTo>
                      <a:pt x="6" y="19"/>
                    </a:lnTo>
                    <a:lnTo>
                      <a:pt x="10" y="14"/>
                    </a:lnTo>
                    <a:lnTo>
                      <a:pt x="15" y="7"/>
                    </a:lnTo>
                    <a:lnTo>
                      <a:pt x="16" y="1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71" name="Freeform 825"/>
              <p:cNvSpPr>
                <a:spLocks/>
              </p:cNvSpPr>
              <p:nvPr/>
            </p:nvSpPr>
            <p:spPr bwMode="auto">
              <a:xfrm>
                <a:off x="4293028" y="2187404"/>
                <a:ext cx="15828" cy="19785"/>
              </a:xfrm>
              <a:custGeom>
                <a:avLst/>
                <a:gdLst>
                  <a:gd name="T0" fmla="*/ 16 w 16"/>
                  <a:gd name="T1" fmla="*/ 0 h 20"/>
                  <a:gd name="T2" fmla="*/ 16 w 16"/>
                  <a:gd name="T3" fmla="*/ 0 h 20"/>
                  <a:gd name="T4" fmla="*/ 6 w 16"/>
                  <a:gd name="T5" fmla="*/ 6 h 20"/>
                  <a:gd name="T6" fmla="*/ 2 w 16"/>
                  <a:gd name="T7" fmla="*/ 8 h 20"/>
                  <a:gd name="T8" fmla="*/ 0 w 16"/>
                  <a:gd name="T9" fmla="*/ 11 h 20"/>
                  <a:gd name="T10" fmla="*/ 0 w 16"/>
                  <a:gd name="T11" fmla="*/ 11 h 20"/>
                  <a:gd name="T12" fmla="*/ 2 w 16"/>
                  <a:gd name="T13" fmla="*/ 19 h 20"/>
                  <a:gd name="T14" fmla="*/ 3 w 16"/>
                  <a:gd name="T15" fmla="*/ 20 h 20"/>
                  <a:gd name="T16" fmla="*/ 6 w 16"/>
                  <a:gd name="T17" fmla="*/ 19 h 20"/>
                  <a:gd name="T18" fmla="*/ 6 w 16"/>
                  <a:gd name="T19" fmla="*/ 19 h 20"/>
                  <a:gd name="T20" fmla="*/ 10 w 16"/>
                  <a:gd name="T21" fmla="*/ 14 h 20"/>
                  <a:gd name="T22" fmla="*/ 15 w 16"/>
                  <a:gd name="T23" fmla="*/ 7 h 20"/>
                  <a:gd name="T24" fmla="*/ 16 w 16"/>
                  <a:gd name="T25" fmla="*/ 1 h 20"/>
                  <a:gd name="T26" fmla="*/ 16 w 16"/>
                  <a:gd name="T27" fmla="*/ 0 h 20"/>
                  <a:gd name="T28" fmla="*/ 16 w 16"/>
                  <a:gd name="T2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" h="20">
                    <a:moveTo>
                      <a:pt x="16" y="0"/>
                    </a:moveTo>
                    <a:lnTo>
                      <a:pt x="16" y="0"/>
                    </a:lnTo>
                    <a:lnTo>
                      <a:pt x="6" y="6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9"/>
                    </a:lnTo>
                    <a:lnTo>
                      <a:pt x="3" y="20"/>
                    </a:lnTo>
                    <a:lnTo>
                      <a:pt x="6" y="19"/>
                    </a:lnTo>
                    <a:lnTo>
                      <a:pt x="6" y="19"/>
                    </a:lnTo>
                    <a:lnTo>
                      <a:pt x="10" y="14"/>
                    </a:lnTo>
                    <a:lnTo>
                      <a:pt x="15" y="7"/>
                    </a:lnTo>
                    <a:lnTo>
                      <a:pt x="16" y="1"/>
                    </a:lnTo>
                    <a:lnTo>
                      <a:pt x="16" y="0"/>
                    </a:lnTo>
                    <a:lnTo>
                      <a:pt x="16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64" name="Freeform 1019"/>
              <p:cNvSpPr>
                <a:spLocks/>
              </p:cNvSpPr>
              <p:nvPr/>
            </p:nvSpPr>
            <p:spPr bwMode="auto">
              <a:xfrm>
                <a:off x="4753035" y="1702667"/>
                <a:ext cx="19785" cy="21764"/>
              </a:xfrm>
              <a:custGeom>
                <a:avLst/>
                <a:gdLst>
                  <a:gd name="T0" fmla="*/ 20 w 20"/>
                  <a:gd name="T1" fmla="*/ 9 h 22"/>
                  <a:gd name="T2" fmla="*/ 20 w 20"/>
                  <a:gd name="T3" fmla="*/ 9 h 22"/>
                  <a:gd name="T4" fmla="*/ 20 w 20"/>
                  <a:gd name="T5" fmla="*/ 2 h 22"/>
                  <a:gd name="T6" fmla="*/ 20 w 20"/>
                  <a:gd name="T7" fmla="*/ 0 h 22"/>
                  <a:gd name="T8" fmla="*/ 18 w 20"/>
                  <a:gd name="T9" fmla="*/ 0 h 22"/>
                  <a:gd name="T10" fmla="*/ 18 w 20"/>
                  <a:gd name="T11" fmla="*/ 0 h 22"/>
                  <a:gd name="T12" fmla="*/ 9 w 20"/>
                  <a:gd name="T13" fmla="*/ 6 h 22"/>
                  <a:gd name="T14" fmla="*/ 3 w 20"/>
                  <a:gd name="T15" fmla="*/ 9 h 22"/>
                  <a:gd name="T16" fmla="*/ 2 w 20"/>
                  <a:gd name="T17" fmla="*/ 12 h 22"/>
                  <a:gd name="T18" fmla="*/ 2 w 20"/>
                  <a:gd name="T19" fmla="*/ 12 h 22"/>
                  <a:gd name="T20" fmla="*/ 0 w 20"/>
                  <a:gd name="T21" fmla="*/ 18 h 22"/>
                  <a:gd name="T22" fmla="*/ 0 w 20"/>
                  <a:gd name="T23" fmla="*/ 20 h 22"/>
                  <a:gd name="T24" fmla="*/ 2 w 20"/>
                  <a:gd name="T25" fmla="*/ 22 h 22"/>
                  <a:gd name="T26" fmla="*/ 2 w 20"/>
                  <a:gd name="T27" fmla="*/ 22 h 22"/>
                  <a:gd name="T28" fmla="*/ 7 w 20"/>
                  <a:gd name="T29" fmla="*/ 20 h 22"/>
                  <a:gd name="T30" fmla="*/ 13 w 20"/>
                  <a:gd name="T31" fmla="*/ 16 h 22"/>
                  <a:gd name="T32" fmla="*/ 19 w 20"/>
                  <a:gd name="T33" fmla="*/ 13 h 22"/>
                  <a:gd name="T34" fmla="*/ 20 w 20"/>
                  <a:gd name="T35" fmla="*/ 12 h 22"/>
                  <a:gd name="T36" fmla="*/ 20 w 20"/>
                  <a:gd name="T37" fmla="*/ 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0" h="22">
                    <a:moveTo>
                      <a:pt x="20" y="9"/>
                    </a:moveTo>
                    <a:lnTo>
                      <a:pt x="20" y="9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9" y="6"/>
                    </a:lnTo>
                    <a:lnTo>
                      <a:pt x="3" y="9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7" y="20"/>
                    </a:lnTo>
                    <a:lnTo>
                      <a:pt x="13" y="16"/>
                    </a:lnTo>
                    <a:lnTo>
                      <a:pt x="19" y="13"/>
                    </a:lnTo>
                    <a:lnTo>
                      <a:pt x="20" y="12"/>
                    </a:lnTo>
                    <a:lnTo>
                      <a:pt x="20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65" name="Freeform 1020"/>
              <p:cNvSpPr>
                <a:spLocks/>
              </p:cNvSpPr>
              <p:nvPr/>
            </p:nvSpPr>
            <p:spPr bwMode="auto">
              <a:xfrm>
                <a:off x="4753035" y="1702667"/>
                <a:ext cx="19785" cy="21764"/>
              </a:xfrm>
              <a:custGeom>
                <a:avLst/>
                <a:gdLst>
                  <a:gd name="T0" fmla="*/ 20 w 20"/>
                  <a:gd name="T1" fmla="*/ 9 h 22"/>
                  <a:gd name="T2" fmla="*/ 20 w 20"/>
                  <a:gd name="T3" fmla="*/ 9 h 22"/>
                  <a:gd name="T4" fmla="*/ 20 w 20"/>
                  <a:gd name="T5" fmla="*/ 2 h 22"/>
                  <a:gd name="T6" fmla="*/ 20 w 20"/>
                  <a:gd name="T7" fmla="*/ 0 h 22"/>
                  <a:gd name="T8" fmla="*/ 18 w 20"/>
                  <a:gd name="T9" fmla="*/ 0 h 22"/>
                  <a:gd name="T10" fmla="*/ 18 w 20"/>
                  <a:gd name="T11" fmla="*/ 0 h 22"/>
                  <a:gd name="T12" fmla="*/ 9 w 20"/>
                  <a:gd name="T13" fmla="*/ 6 h 22"/>
                  <a:gd name="T14" fmla="*/ 3 w 20"/>
                  <a:gd name="T15" fmla="*/ 9 h 22"/>
                  <a:gd name="T16" fmla="*/ 2 w 20"/>
                  <a:gd name="T17" fmla="*/ 12 h 22"/>
                  <a:gd name="T18" fmla="*/ 2 w 20"/>
                  <a:gd name="T19" fmla="*/ 12 h 22"/>
                  <a:gd name="T20" fmla="*/ 0 w 20"/>
                  <a:gd name="T21" fmla="*/ 18 h 22"/>
                  <a:gd name="T22" fmla="*/ 0 w 20"/>
                  <a:gd name="T23" fmla="*/ 20 h 22"/>
                  <a:gd name="T24" fmla="*/ 2 w 20"/>
                  <a:gd name="T25" fmla="*/ 22 h 22"/>
                  <a:gd name="T26" fmla="*/ 2 w 20"/>
                  <a:gd name="T27" fmla="*/ 22 h 22"/>
                  <a:gd name="T28" fmla="*/ 7 w 20"/>
                  <a:gd name="T29" fmla="*/ 20 h 22"/>
                  <a:gd name="T30" fmla="*/ 13 w 20"/>
                  <a:gd name="T31" fmla="*/ 16 h 22"/>
                  <a:gd name="T32" fmla="*/ 19 w 20"/>
                  <a:gd name="T33" fmla="*/ 13 h 22"/>
                  <a:gd name="T34" fmla="*/ 20 w 20"/>
                  <a:gd name="T35" fmla="*/ 12 h 22"/>
                  <a:gd name="T36" fmla="*/ 20 w 20"/>
                  <a:gd name="T37" fmla="*/ 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0" h="22">
                    <a:moveTo>
                      <a:pt x="20" y="9"/>
                    </a:moveTo>
                    <a:lnTo>
                      <a:pt x="20" y="9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9" y="6"/>
                    </a:lnTo>
                    <a:lnTo>
                      <a:pt x="3" y="9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7" y="20"/>
                    </a:lnTo>
                    <a:lnTo>
                      <a:pt x="13" y="16"/>
                    </a:lnTo>
                    <a:lnTo>
                      <a:pt x="19" y="13"/>
                    </a:lnTo>
                    <a:lnTo>
                      <a:pt x="20" y="12"/>
                    </a:lnTo>
                    <a:lnTo>
                      <a:pt x="20" y="9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66" name="Freeform 1021"/>
              <p:cNvSpPr>
                <a:spLocks/>
              </p:cNvSpPr>
              <p:nvPr/>
            </p:nvSpPr>
            <p:spPr bwMode="auto">
              <a:xfrm>
                <a:off x="4671915" y="1771915"/>
                <a:ext cx="16817" cy="25721"/>
              </a:xfrm>
              <a:custGeom>
                <a:avLst/>
                <a:gdLst>
                  <a:gd name="T0" fmla="*/ 17 w 17"/>
                  <a:gd name="T1" fmla="*/ 8 h 26"/>
                  <a:gd name="T2" fmla="*/ 17 w 17"/>
                  <a:gd name="T3" fmla="*/ 8 h 26"/>
                  <a:gd name="T4" fmla="*/ 14 w 17"/>
                  <a:gd name="T5" fmla="*/ 3 h 26"/>
                  <a:gd name="T6" fmla="*/ 13 w 17"/>
                  <a:gd name="T7" fmla="*/ 0 h 26"/>
                  <a:gd name="T8" fmla="*/ 10 w 17"/>
                  <a:gd name="T9" fmla="*/ 0 h 26"/>
                  <a:gd name="T10" fmla="*/ 10 w 17"/>
                  <a:gd name="T11" fmla="*/ 0 h 26"/>
                  <a:gd name="T12" fmla="*/ 8 w 17"/>
                  <a:gd name="T13" fmla="*/ 3 h 26"/>
                  <a:gd name="T14" fmla="*/ 8 w 17"/>
                  <a:gd name="T15" fmla="*/ 7 h 26"/>
                  <a:gd name="T16" fmla="*/ 7 w 17"/>
                  <a:gd name="T17" fmla="*/ 11 h 26"/>
                  <a:gd name="T18" fmla="*/ 5 w 17"/>
                  <a:gd name="T19" fmla="*/ 14 h 26"/>
                  <a:gd name="T20" fmla="*/ 5 w 17"/>
                  <a:gd name="T21" fmla="*/ 14 h 26"/>
                  <a:gd name="T22" fmla="*/ 1 w 17"/>
                  <a:gd name="T23" fmla="*/ 23 h 26"/>
                  <a:gd name="T24" fmla="*/ 0 w 17"/>
                  <a:gd name="T25" fmla="*/ 26 h 26"/>
                  <a:gd name="T26" fmla="*/ 1 w 17"/>
                  <a:gd name="T27" fmla="*/ 24 h 26"/>
                  <a:gd name="T28" fmla="*/ 1 w 17"/>
                  <a:gd name="T29" fmla="*/ 24 h 26"/>
                  <a:gd name="T30" fmla="*/ 11 w 17"/>
                  <a:gd name="T31" fmla="*/ 16 h 26"/>
                  <a:gd name="T32" fmla="*/ 16 w 17"/>
                  <a:gd name="T33" fmla="*/ 11 h 26"/>
                  <a:gd name="T34" fmla="*/ 17 w 17"/>
                  <a:gd name="T35" fmla="*/ 8 h 26"/>
                  <a:gd name="T36" fmla="*/ 17 w 17"/>
                  <a:gd name="T37" fmla="*/ 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" h="26">
                    <a:moveTo>
                      <a:pt x="17" y="8"/>
                    </a:moveTo>
                    <a:lnTo>
                      <a:pt x="17" y="8"/>
                    </a:lnTo>
                    <a:lnTo>
                      <a:pt x="14" y="3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3"/>
                    </a:lnTo>
                    <a:lnTo>
                      <a:pt x="8" y="7"/>
                    </a:lnTo>
                    <a:lnTo>
                      <a:pt x="7" y="11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1" y="23"/>
                    </a:lnTo>
                    <a:lnTo>
                      <a:pt x="0" y="26"/>
                    </a:lnTo>
                    <a:lnTo>
                      <a:pt x="1" y="24"/>
                    </a:lnTo>
                    <a:lnTo>
                      <a:pt x="1" y="24"/>
                    </a:lnTo>
                    <a:lnTo>
                      <a:pt x="11" y="16"/>
                    </a:lnTo>
                    <a:lnTo>
                      <a:pt x="16" y="11"/>
                    </a:lnTo>
                    <a:lnTo>
                      <a:pt x="17" y="8"/>
                    </a:lnTo>
                    <a:lnTo>
                      <a:pt x="17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67" name="Freeform 1022"/>
              <p:cNvSpPr>
                <a:spLocks/>
              </p:cNvSpPr>
              <p:nvPr/>
            </p:nvSpPr>
            <p:spPr bwMode="auto">
              <a:xfrm>
                <a:off x="4671915" y="1771915"/>
                <a:ext cx="16817" cy="25721"/>
              </a:xfrm>
              <a:custGeom>
                <a:avLst/>
                <a:gdLst>
                  <a:gd name="T0" fmla="*/ 17 w 17"/>
                  <a:gd name="T1" fmla="*/ 8 h 26"/>
                  <a:gd name="T2" fmla="*/ 17 w 17"/>
                  <a:gd name="T3" fmla="*/ 8 h 26"/>
                  <a:gd name="T4" fmla="*/ 14 w 17"/>
                  <a:gd name="T5" fmla="*/ 3 h 26"/>
                  <a:gd name="T6" fmla="*/ 13 w 17"/>
                  <a:gd name="T7" fmla="*/ 0 h 26"/>
                  <a:gd name="T8" fmla="*/ 10 w 17"/>
                  <a:gd name="T9" fmla="*/ 0 h 26"/>
                  <a:gd name="T10" fmla="*/ 10 w 17"/>
                  <a:gd name="T11" fmla="*/ 0 h 26"/>
                  <a:gd name="T12" fmla="*/ 8 w 17"/>
                  <a:gd name="T13" fmla="*/ 3 h 26"/>
                  <a:gd name="T14" fmla="*/ 8 w 17"/>
                  <a:gd name="T15" fmla="*/ 7 h 26"/>
                  <a:gd name="T16" fmla="*/ 7 w 17"/>
                  <a:gd name="T17" fmla="*/ 11 h 26"/>
                  <a:gd name="T18" fmla="*/ 5 w 17"/>
                  <a:gd name="T19" fmla="*/ 14 h 26"/>
                  <a:gd name="T20" fmla="*/ 5 w 17"/>
                  <a:gd name="T21" fmla="*/ 14 h 26"/>
                  <a:gd name="T22" fmla="*/ 1 w 17"/>
                  <a:gd name="T23" fmla="*/ 23 h 26"/>
                  <a:gd name="T24" fmla="*/ 0 w 17"/>
                  <a:gd name="T25" fmla="*/ 26 h 26"/>
                  <a:gd name="T26" fmla="*/ 1 w 17"/>
                  <a:gd name="T27" fmla="*/ 24 h 26"/>
                  <a:gd name="T28" fmla="*/ 1 w 17"/>
                  <a:gd name="T29" fmla="*/ 24 h 26"/>
                  <a:gd name="T30" fmla="*/ 11 w 17"/>
                  <a:gd name="T31" fmla="*/ 16 h 26"/>
                  <a:gd name="T32" fmla="*/ 16 w 17"/>
                  <a:gd name="T33" fmla="*/ 11 h 26"/>
                  <a:gd name="T34" fmla="*/ 17 w 17"/>
                  <a:gd name="T35" fmla="*/ 8 h 26"/>
                  <a:gd name="T36" fmla="*/ 17 w 17"/>
                  <a:gd name="T37" fmla="*/ 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" h="26">
                    <a:moveTo>
                      <a:pt x="17" y="8"/>
                    </a:moveTo>
                    <a:lnTo>
                      <a:pt x="17" y="8"/>
                    </a:lnTo>
                    <a:lnTo>
                      <a:pt x="14" y="3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3"/>
                    </a:lnTo>
                    <a:lnTo>
                      <a:pt x="8" y="7"/>
                    </a:lnTo>
                    <a:lnTo>
                      <a:pt x="7" y="11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1" y="23"/>
                    </a:lnTo>
                    <a:lnTo>
                      <a:pt x="0" y="26"/>
                    </a:lnTo>
                    <a:lnTo>
                      <a:pt x="1" y="24"/>
                    </a:lnTo>
                    <a:lnTo>
                      <a:pt x="1" y="24"/>
                    </a:lnTo>
                    <a:lnTo>
                      <a:pt x="11" y="16"/>
                    </a:lnTo>
                    <a:lnTo>
                      <a:pt x="16" y="11"/>
                    </a:lnTo>
                    <a:lnTo>
                      <a:pt x="17" y="8"/>
                    </a:lnTo>
                    <a:lnTo>
                      <a:pt x="17" y="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10" name="Freeform 1065"/>
              <p:cNvSpPr>
                <a:spLocks/>
              </p:cNvSpPr>
              <p:nvPr/>
            </p:nvSpPr>
            <p:spPr bwMode="auto">
              <a:xfrm>
                <a:off x="4576946" y="2254674"/>
                <a:ext cx="27699" cy="26710"/>
              </a:xfrm>
              <a:custGeom>
                <a:avLst/>
                <a:gdLst>
                  <a:gd name="T0" fmla="*/ 17 w 28"/>
                  <a:gd name="T1" fmla="*/ 27 h 27"/>
                  <a:gd name="T2" fmla="*/ 17 w 28"/>
                  <a:gd name="T3" fmla="*/ 27 h 27"/>
                  <a:gd name="T4" fmla="*/ 15 w 28"/>
                  <a:gd name="T5" fmla="*/ 26 h 27"/>
                  <a:gd name="T6" fmla="*/ 13 w 28"/>
                  <a:gd name="T7" fmla="*/ 23 h 27"/>
                  <a:gd name="T8" fmla="*/ 12 w 28"/>
                  <a:gd name="T9" fmla="*/ 20 h 27"/>
                  <a:gd name="T10" fmla="*/ 7 w 28"/>
                  <a:gd name="T11" fmla="*/ 17 h 27"/>
                  <a:gd name="T12" fmla="*/ 7 w 28"/>
                  <a:gd name="T13" fmla="*/ 17 h 27"/>
                  <a:gd name="T14" fmla="*/ 3 w 28"/>
                  <a:gd name="T15" fmla="*/ 14 h 27"/>
                  <a:gd name="T16" fmla="*/ 0 w 28"/>
                  <a:gd name="T17" fmla="*/ 11 h 27"/>
                  <a:gd name="T18" fmla="*/ 0 w 28"/>
                  <a:gd name="T19" fmla="*/ 9 h 27"/>
                  <a:gd name="T20" fmla="*/ 2 w 28"/>
                  <a:gd name="T21" fmla="*/ 9 h 27"/>
                  <a:gd name="T22" fmla="*/ 2 w 28"/>
                  <a:gd name="T23" fmla="*/ 9 h 27"/>
                  <a:gd name="T24" fmla="*/ 9 w 28"/>
                  <a:gd name="T25" fmla="*/ 9 h 27"/>
                  <a:gd name="T26" fmla="*/ 12 w 28"/>
                  <a:gd name="T27" fmla="*/ 7 h 27"/>
                  <a:gd name="T28" fmla="*/ 15 w 28"/>
                  <a:gd name="T29" fmla="*/ 6 h 27"/>
                  <a:gd name="T30" fmla="*/ 15 w 28"/>
                  <a:gd name="T31" fmla="*/ 6 h 27"/>
                  <a:gd name="T32" fmla="*/ 23 w 28"/>
                  <a:gd name="T33" fmla="*/ 1 h 27"/>
                  <a:gd name="T34" fmla="*/ 26 w 28"/>
                  <a:gd name="T35" fmla="*/ 0 h 27"/>
                  <a:gd name="T36" fmla="*/ 28 w 28"/>
                  <a:gd name="T37" fmla="*/ 0 h 27"/>
                  <a:gd name="T38" fmla="*/ 28 w 28"/>
                  <a:gd name="T39" fmla="*/ 0 h 27"/>
                  <a:gd name="T40" fmla="*/ 28 w 28"/>
                  <a:gd name="T41" fmla="*/ 0 h 27"/>
                  <a:gd name="T42" fmla="*/ 25 w 28"/>
                  <a:gd name="T43" fmla="*/ 6 h 27"/>
                  <a:gd name="T44" fmla="*/ 25 w 28"/>
                  <a:gd name="T45" fmla="*/ 11 h 27"/>
                  <a:gd name="T46" fmla="*/ 25 w 28"/>
                  <a:gd name="T47" fmla="*/ 11 h 27"/>
                  <a:gd name="T48" fmla="*/ 28 w 28"/>
                  <a:gd name="T49" fmla="*/ 20 h 27"/>
                  <a:gd name="T50" fmla="*/ 28 w 28"/>
                  <a:gd name="T51" fmla="*/ 24 h 27"/>
                  <a:gd name="T52" fmla="*/ 28 w 28"/>
                  <a:gd name="T53" fmla="*/ 26 h 27"/>
                  <a:gd name="T54" fmla="*/ 26 w 28"/>
                  <a:gd name="T55" fmla="*/ 26 h 27"/>
                  <a:gd name="T56" fmla="*/ 26 w 28"/>
                  <a:gd name="T57" fmla="*/ 26 h 27"/>
                  <a:gd name="T58" fmla="*/ 23 w 28"/>
                  <a:gd name="T59" fmla="*/ 27 h 27"/>
                  <a:gd name="T60" fmla="*/ 20 w 28"/>
                  <a:gd name="T61" fmla="*/ 27 h 27"/>
                  <a:gd name="T62" fmla="*/ 17 w 28"/>
                  <a:gd name="T63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8" h="27">
                    <a:moveTo>
                      <a:pt x="17" y="27"/>
                    </a:moveTo>
                    <a:lnTo>
                      <a:pt x="17" y="27"/>
                    </a:lnTo>
                    <a:lnTo>
                      <a:pt x="15" y="26"/>
                    </a:lnTo>
                    <a:lnTo>
                      <a:pt x="13" y="23"/>
                    </a:lnTo>
                    <a:lnTo>
                      <a:pt x="12" y="20"/>
                    </a:lnTo>
                    <a:lnTo>
                      <a:pt x="7" y="17"/>
                    </a:lnTo>
                    <a:lnTo>
                      <a:pt x="7" y="17"/>
                    </a:lnTo>
                    <a:lnTo>
                      <a:pt x="3" y="14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9" y="9"/>
                    </a:lnTo>
                    <a:lnTo>
                      <a:pt x="12" y="7"/>
                    </a:lnTo>
                    <a:lnTo>
                      <a:pt x="15" y="6"/>
                    </a:lnTo>
                    <a:lnTo>
                      <a:pt x="15" y="6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5" y="6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28" y="20"/>
                    </a:lnTo>
                    <a:lnTo>
                      <a:pt x="28" y="24"/>
                    </a:lnTo>
                    <a:lnTo>
                      <a:pt x="28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3" y="27"/>
                    </a:lnTo>
                    <a:lnTo>
                      <a:pt x="20" y="27"/>
                    </a:lnTo>
                    <a:lnTo>
                      <a:pt x="17" y="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11" name="Freeform 1066"/>
              <p:cNvSpPr>
                <a:spLocks/>
              </p:cNvSpPr>
              <p:nvPr/>
            </p:nvSpPr>
            <p:spPr bwMode="auto">
              <a:xfrm>
                <a:off x="4576946" y="2254674"/>
                <a:ext cx="27699" cy="26710"/>
              </a:xfrm>
              <a:custGeom>
                <a:avLst/>
                <a:gdLst>
                  <a:gd name="T0" fmla="*/ 17 w 28"/>
                  <a:gd name="T1" fmla="*/ 27 h 27"/>
                  <a:gd name="T2" fmla="*/ 17 w 28"/>
                  <a:gd name="T3" fmla="*/ 27 h 27"/>
                  <a:gd name="T4" fmla="*/ 15 w 28"/>
                  <a:gd name="T5" fmla="*/ 26 h 27"/>
                  <a:gd name="T6" fmla="*/ 13 w 28"/>
                  <a:gd name="T7" fmla="*/ 23 h 27"/>
                  <a:gd name="T8" fmla="*/ 12 w 28"/>
                  <a:gd name="T9" fmla="*/ 20 h 27"/>
                  <a:gd name="T10" fmla="*/ 7 w 28"/>
                  <a:gd name="T11" fmla="*/ 17 h 27"/>
                  <a:gd name="T12" fmla="*/ 7 w 28"/>
                  <a:gd name="T13" fmla="*/ 17 h 27"/>
                  <a:gd name="T14" fmla="*/ 3 w 28"/>
                  <a:gd name="T15" fmla="*/ 14 h 27"/>
                  <a:gd name="T16" fmla="*/ 0 w 28"/>
                  <a:gd name="T17" fmla="*/ 11 h 27"/>
                  <a:gd name="T18" fmla="*/ 0 w 28"/>
                  <a:gd name="T19" fmla="*/ 9 h 27"/>
                  <a:gd name="T20" fmla="*/ 2 w 28"/>
                  <a:gd name="T21" fmla="*/ 9 h 27"/>
                  <a:gd name="T22" fmla="*/ 2 w 28"/>
                  <a:gd name="T23" fmla="*/ 9 h 27"/>
                  <a:gd name="T24" fmla="*/ 9 w 28"/>
                  <a:gd name="T25" fmla="*/ 9 h 27"/>
                  <a:gd name="T26" fmla="*/ 12 w 28"/>
                  <a:gd name="T27" fmla="*/ 7 h 27"/>
                  <a:gd name="T28" fmla="*/ 15 w 28"/>
                  <a:gd name="T29" fmla="*/ 6 h 27"/>
                  <a:gd name="T30" fmla="*/ 15 w 28"/>
                  <a:gd name="T31" fmla="*/ 6 h 27"/>
                  <a:gd name="T32" fmla="*/ 23 w 28"/>
                  <a:gd name="T33" fmla="*/ 1 h 27"/>
                  <a:gd name="T34" fmla="*/ 26 w 28"/>
                  <a:gd name="T35" fmla="*/ 0 h 27"/>
                  <a:gd name="T36" fmla="*/ 28 w 28"/>
                  <a:gd name="T37" fmla="*/ 0 h 27"/>
                  <a:gd name="T38" fmla="*/ 28 w 28"/>
                  <a:gd name="T39" fmla="*/ 0 h 27"/>
                  <a:gd name="T40" fmla="*/ 28 w 28"/>
                  <a:gd name="T41" fmla="*/ 0 h 27"/>
                  <a:gd name="T42" fmla="*/ 25 w 28"/>
                  <a:gd name="T43" fmla="*/ 6 h 27"/>
                  <a:gd name="T44" fmla="*/ 25 w 28"/>
                  <a:gd name="T45" fmla="*/ 11 h 27"/>
                  <a:gd name="T46" fmla="*/ 25 w 28"/>
                  <a:gd name="T47" fmla="*/ 11 h 27"/>
                  <a:gd name="T48" fmla="*/ 28 w 28"/>
                  <a:gd name="T49" fmla="*/ 20 h 27"/>
                  <a:gd name="T50" fmla="*/ 28 w 28"/>
                  <a:gd name="T51" fmla="*/ 24 h 27"/>
                  <a:gd name="T52" fmla="*/ 28 w 28"/>
                  <a:gd name="T53" fmla="*/ 26 h 27"/>
                  <a:gd name="T54" fmla="*/ 26 w 28"/>
                  <a:gd name="T55" fmla="*/ 26 h 27"/>
                  <a:gd name="T56" fmla="*/ 26 w 28"/>
                  <a:gd name="T57" fmla="*/ 26 h 27"/>
                  <a:gd name="T58" fmla="*/ 23 w 28"/>
                  <a:gd name="T59" fmla="*/ 27 h 27"/>
                  <a:gd name="T60" fmla="*/ 20 w 28"/>
                  <a:gd name="T61" fmla="*/ 27 h 27"/>
                  <a:gd name="T62" fmla="*/ 17 w 28"/>
                  <a:gd name="T63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8" h="27">
                    <a:moveTo>
                      <a:pt x="17" y="27"/>
                    </a:moveTo>
                    <a:lnTo>
                      <a:pt x="17" y="27"/>
                    </a:lnTo>
                    <a:lnTo>
                      <a:pt x="15" y="26"/>
                    </a:lnTo>
                    <a:lnTo>
                      <a:pt x="13" y="23"/>
                    </a:lnTo>
                    <a:lnTo>
                      <a:pt x="12" y="20"/>
                    </a:lnTo>
                    <a:lnTo>
                      <a:pt x="7" y="17"/>
                    </a:lnTo>
                    <a:lnTo>
                      <a:pt x="7" y="17"/>
                    </a:lnTo>
                    <a:lnTo>
                      <a:pt x="3" y="14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9" y="9"/>
                    </a:lnTo>
                    <a:lnTo>
                      <a:pt x="12" y="7"/>
                    </a:lnTo>
                    <a:lnTo>
                      <a:pt x="15" y="6"/>
                    </a:lnTo>
                    <a:lnTo>
                      <a:pt x="15" y="6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5" y="6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28" y="20"/>
                    </a:lnTo>
                    <a:lnTo>
                      <a:pt x="28" y="24"/>
                    </a:lnTo>
                    <a:lnTo>
                      <a:pt x="28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3" y="27"/>
                    </a:lnTo>
                    <a:lnTo>
                      <a:pt x="20" y="27"/>
                    </a:lnTo>
                    <a:lnTo>
                      <a:pt x="17" y="2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12" name="Freeform 1067"/>
              <p:cNvSpPr>
                <a:spLocks/>
              </p:cNvSpPr>
              <p:nvPr/>
            </p:nvSpPr>
            <p:spPr bwMode="auto">
              <a:xfrm>
                <a:off x="4697636" y="2201254"/>
                <a:ext cx="16817" cy="28689"/>
              </a:xfrm>
              <a:custGeom>
                <a:avLst/>
                <a:gdLst>
                  <a:gd name="T0" fmla="*/ 1 w 17"/>
                  <a:gd name="T1" fmla="*/ 28 h 29"/>
                  <a:gd name="T2" fmla="*/ 1 w 17"/>
                  <a:gd name="T3" fmla="*/ 28 h 29"/>
                  <a:gd name="T4" fmla="*/ 0 w 17"/>
                  <a:gd name="T5" fmla="*/ 23 h 29"/>
                  <a:gd name="T6" fmla="*/ 0 w 17"/>
                  <a:gd name="T7" fmla="*/ 18 h 29"/>
                  <a:gd name="T8" fmla="*/ 1 w 17"/>
                  <a:gd name="T9" fmla="*/ 12 h 29"/>
                  <a:gd name="T10" fmla="*/ 4 w 17"/>
                  <a:gd name="T11" fmla="*/ 7 h 29"/>
                  <a:gd name="T12" fmla="*/ 4 w 17"/>
                  <a:gd name="T13" fmla="*/ 7 h 29"/>
                  <a:gd name="T14" fmla="*/ 14 w 17"/>
                  <a:gd name="T15" fmla="*/ 2 h 29"/>
                  <a:gd name="T16" fmla="*/ 17 w 17"/>
                  <a:gd name="T17" fmla="*/ 0 h 29"/>
                  <a:gd name="T18" fmla="*/ 17 w 17"/>
                  <a:gd name="T19" fmla="*/ 0 h 29"/>
                  <a:gd name="T20" fmla="*/ 17 w 17"/>
                  <a:gd name="T21" fmla="*/ 2 h 29"/>
                  <a:gd name="T22" fmla="*/ 17 w 17"/>
                  <a:gd name="T23" fmla="*/ 2 h 29"/>
                  <a:gd name="T24" fmla="*/ 16 w 17"/>
                  <a:gd name="T25" fmla="*/ 6 h 29"/>
                  <a:gd name="T26" fmla="*/ 14 w 17"/>
                  <a:gd name="T27" fmla="*/ 9 h 29"/>
                  <a:gd name="T28" fmla="*/ 13 w 17"/>
                  <a:gd name="T29" fmla="*/ 16 h 29"/>
                  <a:gd name="T30" fmla="*/ 13 w 17"/>
                  <a:gd name="T31" fmla="*/ 16 h 29"/>
                  <a:gd name="T32" fmla="*/ 7 w 17"/>
                  <a:gd name="T33" fmla="*/ 23 h 29"/>
                  <a:gd name="T34" fmla="*/ 4 w 17"/>
                  <a:gd name="T35" fmla="*/ 28 h 29"/>
                  <a:gd name="T36" fmla="*/ 3 w 17"/>
                  <a:gd name="T37" fmla="*/ 29 h 29"/>
                  <a:gd name="T38" fmla="*/ 1 w 17"/>
                  <a:gd name="T39" fmla="*/ 2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" h="29">
                    <a:moveTo>
                      <a:pt x="1" y="28"/>
                    </a:moveTo>
                    <a:lnTo>
                      <a:pt x="1" y="28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" y="1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14" y="2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16" y="6"/>
                    </a:lnTo>
                    <a:lnTo>
                      <a:pt x="14" y="9"/>
                    </a:lnTo>
                    <a:lnTo>
                      <a:pt x="13" y="16"/>
                    </a:lnTo>
                    <a:lnTo>
                      <a:pt x="13" y="16"/>
                    </a:lnTo>
                    <a:lnTo>
                      <a:pt x="7" y="23"/>
                    </a:lnTo>
                    <a:lnTo>
                      <a:pt x="4" y="28"/>
                    </a:lnTo>
                    <a:lnTo>
                      <a:pt x="3" y="29"/>
                    </a:lnTo>
                    <a:lnTo>
                      <a:pt x="1" y="2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13" name="Freeform 1068"/>
              <p:cNvSpPr>
                <a:spLocks/>
              </p:cNvSpPr>
              <p:nvPr/>
            </p:nvSpPr>
            <p:spPr bwMode="auto">
              <a:xfrm>
                <a:off x="4697636" y="2201254"/>
                <a:ext cx="16817" cy="28689"/>
              </a:xfrm>
              <a:custGeom>
                <a:avLst/>
                <a:gdLst>
                  <a:gd name="T0" fmla="*/ 1 w 17"/>
                  <a:gd name="T1" fmla="*/ 28 h 29"/>
                  <a:gd name="T2" fmla="*/ 1 w 17"/>
                  <a:gd name="T3" fmla="*/ 28 h 29"/>
                  <a:gd name="T4" fmla="*/ 0 w 17"/>
                  <a:gd name="T5" fmla="*/ 23 h 29"/>
                  <a:gd name="T6" fmla="*/ 0 w 17"/>
                  <a:gd name="T7" fmla="*/ 18 h 29"/>
                  <a:gd name="T8" fmla="*/ 1 w 17"/>
                  <a:gd name="T9" fmla="*/ 12 h 29"/>
                  <a:gd name="T10" fmla="*/ 4 w 17"/>
                  <a:gd name="T11" fmla="*/ 7 h 29"/>
                  <a:gd name="T12" fmla="*/ 4 w 17"/>
                  <a:gd name="T13" fmla="*/ 7 h 29"/>
                  <a:gd name="T14" fmla="*/ 14 w 17"/>
                  <a:gd name="T15" fmla="*/ 2 h 29"/>
                  <a:gd name="T16" fmla="*/ 17 w 17"/>
                  <a:gd name="T17" fmla="*/ 0 h 29"/>
                  <a:gd name="T18" fmla="*/ 17 w 17"/>
                  <a:gd name="T19" fmla="*/ 0 h 29"/>
                  <a:gd name="T20" fmla="*/ 17 w 17"/>
                  <a:gd name="T21" fmla="*/ 2 h 29"/>
                  <a:gd name="T22" fmla="*/ 17 w 17"/>
                  <a:gd name="T23" fmla="*/ 2 h 29"/>
                  <a:gd name="T24" fmla="*/ 16 w 17"/>
                  <a:gd name="T25" fmla="*/ 6 h 29"/>
                  <a:gd name="T26" fmla="*/ 14 w 17"/>
                  <a:gd name="T27" fmla="*/ 9 h 29"/>
                  <a:gd name="T28" fmla="*/ 13 w 17"/>
                  <a:gd name="T29" fmla="*/ 16 h 29"/>
                  <a:gd name="T30" fmla="*/ 13 w 17"/>
                  <a:gd name="T31" fmla="*/ 16 h 29"/>
                  <a:gd name="T32" fmla="*/ 7 w 17"/>
                  <a:gd name="T33" fmla="*/ 23 h 29"/>
                  <a:gd name="T34" fmla="*/ 4 w 17"/>
                  <a:gd name="T35" fmla="*/ 28 h 29"/>
                  <a:gd name="T36" fmla="*/ 3 w 17"/>
                  <a:gd name="T37" fmla="*/ 29 h 29"/>
                  <a:gd name="T38" fmla="*/ 1 w 17"/>
                  <a:gd name="T39" fmla="*/ 2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" h="29">
                    <a:moveTo>
                      <a:pt x="1" y="28"/>
                    </a:moveTo>
                    <a:lnTo>
                      <a:pt x="1" y="28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" y="1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14" y="2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16" y="6"/>
                    </a:lnTo>
                    <a:lnTo>
                      <a:pt x="14" y="9"/>
                    </a:lnTo>
                    <a:lnTo>
                      <a:pt x="13" y="16"/>
                    </a:lnTo>
                    <a:lnTo>
                      <a:pt x="13" y="16"/>
                    </a:lnTo>
                    <a:lnTo>
                      <a:pt x="7" y="23"/>
                    </a:lnTo>
                    <a:lnTo>
                      <a:pt x="4" y="28"/>
                    </a:lnTo>
                    <a:lnTo>
                      <a:pt x="3" y="29"/>
                    </a:lnTo>
                    <a:lnTo>
                      <a:pt x="1" y="2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14" name="Freeform 1069"/>
              <p:cNvSpPr>
                <a:spLocks/>
              </p:cNvSpPr>
              <p:nvPr/>
            </p:nvSpPr>
            <p:spPr bwMode="auto">
              <a:xfrm>
                <a:off x="4753035" y="2180480"/>
                <a:ext cx="19785" cy="14839"/>
              </a:xfrm>
              <a:custGeom>
                <a:avLst/>
                <a:gdLst>
                  <a:gd name="T0" fmla="*/ 7 w 20"/>
                  <a:gd name="T1" fmla="*/ 15 h 15"/>
                  <a:gd name="T2" fmla="*/ 7 w 20"/>
                  <a:gd name="T3" fmla="*/ 15 h 15"/>
                  <a:gd name="T4" fmla="*/ 6 w 20"/>
                  <a:gd name="T5" fmla="*/ 14 h 15"/>
                  <a:gd name="T6" fmla="*/ 3 w 20"/>
                  <a:gd name="T7" fmla="*/ 14 h 15"/>
                  <a:gd name="T8" fmla="*/ 2 w 20"/>
                  <a:gd name="T9" fmla="*/ 10 h 15"/>
                  <a:gd name="T10" fmla="*/ 0 w 20"/>
                  <a:gd name="T11" fmla="*/ 5 h 15"/>
                  <a:gd name="T12" fmla="*/ 2 w 20"/>
                  <a:gd name="T13" fmla="*/ 2 h 15"/>
                  <a:gd name="T14" fmla="*/ 2 w 20"/>
                  <a:gd name="T15" fmla="*/ 2 h 15"/>
                  <a:gd name="T16" fmla="*/ 7 w 20"/>
                  <a:gd name="T17" fmla="*/ 1 h 15"/>
                  <a:gd name="T18" fmla="*/ 15 w 20"/>
                  <a:gd name="T19" fmla="*/ 0 h 15"/>
                  <a:gd name="T20" fmla="*/ 15 w 20"/>
                  <a:gd name="T21" fmla="*/ 0 h 15"/>
                  <a:gd name="T22" fmla="*/ 18 w 20"/>
                  <a:gd name="T23" fmla="*/ 0 h 15"/>
                  <a:gd name="T24" fmla="*/ 20 w 20"/>
                  <a:gd name="T25" fmla="*/ 0 h 15"/>
                  <a:gd name="T26" fmla="*/ 20 w 20"/>
                  <a:gd name="T27" fmla="*/ 1 h 15"/>
                  <a:gd name="T28" fmla="*/ 20 w 20"/>
                  <a:gd name="T29" fmla="*/ 4 h 15"/>
                  <a:gd name="T30" fmla="*/ 20 w 20"/>
                  <a:gd name="T31" fmla="*/ 4 h 15"/>
                  <a:gd name="T32" fmla="*/ 16 w 20"/>
                  <a:gd name="T33" fmla="*/ 10 h 15"/>
                  <a:gd name="T34" fmla="*/ 12 w 20"/>
                  <a:gd name="T35" fmla="*/ 13 h 15"/>
                  <a:gd name="T36" fmla="*/ 7 w 20"/>
                  <a:gd name="T3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0" h="15">
                    <a:moveTo>
                      <a:pt x="7" y="15"/>
                    </a:moveTo>
                    <a:lnTo>
                      <a:pt x="7" y="15"/>
                    </a:lnTo>
                    <a:lnTo>
                      <a:pt x="6" y="14"/>
                    </a:lnTo>
                    <a:lnTo>
                      <a:pt x="3" y="14"/>
                    </a:lnTo>
                    <a:lnTo>
                      <a:pt x="2" y="10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7" y="1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20" y="1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10"/>
                    </a:lnTo>
                    <a:lnTo>
                      <a:pt x="12" y="13"/>
                    </a:lnTo>
                    <a:lnTo>
                      <a:pt x="7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15" name="Freeform 1070"/>
              <p:cNvSpPr>
                <a:spLocks/>
              </p:cNvSpPr>
              <p:nvPr/>
            </p:nvSpPr>
            <p:spPr bwMode="auto">
              <a:xfrm>
                <a:off x="4753035" y="2180480"/>
                <a:ext cx="19785" cy="14839"/>
              </a:xfrm>
              <a:custGeom>
                <a:avLst/>
                <a:gdLst>
                  <a:gd name="T0" fmla="*/ 7 w 20"/>
                  <a:gd name="T1" fmla="*/ 15 h 15"/>
                  <a:gd name="T2" fmla="*/ 7 w 20"/>
                  <a:gd name="T3" fmla="*/ 15 h 15"/>
                  <a:gd name="T4" fmla="*/ 6 w 20"/>
                  <a:gd name="T5" fmla="*/ 14 h 15"/>
                  <a:gd name="T6" fmla="*/ 3 w 20"/>
                  <a:gd name="T7" fmla="*/ 14 h 15"/>
                  <a:gd name="T8" fmla="*/ 2 w 20"/>
                  <a:gd name="T9" fmla="*/ 10 h 15"/>
                  <a:gd name="T10" fmla="*/ 0 w 20"/>
                  <a:gd name="T11" fmla="*/ 5 h 15"/>
                  <a:gd name="T12" fmla="*/ 2 w 20"/>
                  <a:gd name="T13" fmla="*/ 2 h 15"/>
                  <a:gd name="T14" fmla="*/ 2 w 20"/>
                  <a:gd name="T15" fmla="*/ 2 h 15"/>
                  <a:gd name="T16" fmla="*/ 7 w 20"/>
                  <a:gd name="T17" fmla="*/ 1 h 15"/>
                  <a:gd name="T18" fmla="*/ 15 w 20"/>
                  <a:gd name="T19" fmla="*/ 0 h 15"/>
                  <a:gd name="T20" fmla="*/ 15 w 20"/>
                  <a:gd name="T21" fmla="*/ 0 h 15"/>
                  <a:gd name="T22" fmla="*/ 18 w 20"/>
                  <a:gd name="T23" fmla="*/ 0 h 15"/>
                  <a:gd name="T24" fmla="*/ 20 w 20"/>
                  <a:gd name="T25" fmla="*/ 0 h 15"/>
                  <a:gd name="T26" fmla="*/ 20 w 20"/>
                  <a:gd name="T27" fmla="*/ 1 h 15"/>
                  <a:gd name="T28" fmla="*/ 20 w 20"/>
                  <a:gd name="T29" fmla="*/ 4 h 15"/>
                  <a:gd name="T30" fmla="*/ 20 w 20"/>
                  <a:gd name="T31" fmla="*/ 4 h 15"/>
                  <a:gd name="T32" fmla="*/ 16 w 20"/>
                  <a:gd name="T33" fmla="*/ 10 h 15"/>
                  <a:gd name="T34" fmla="*/ 12 w 20"/>
                  <a:gd name="T35" fmla="*/ 13 h 15"/>
                  <a:gd name="T36" fmla="*/ 7 w 20"/>
                  <a:gd name="T3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0" h="15">
                    <a:moveTo>
                      <a:pt x="7" y="15"/>
                    </a:moveTo>
                    <a:lnTo>
                      <a:pt x="7" y="15"/>
                    </a:lnTo>
                    <a:lnTo>
                      <a:pt x="6" y="14"/>
                    </a:lnTo>
                    <a:lnTo>
                      <a:pt x="3" y="14"/>
                    </a:lnTo>
                    <a:lnTo>
                      <a:pt x="2" y="10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7" y="1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20" y="1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10"/>
                    </a:lnTo>
                    <a:lnTo>
                      <a:pt x="12" y="13"/>
                    </a:lnTo>
                    <a:lnTo>
                      <a:pt x="7" y="1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16" name="Freeform 1071"/>
              <p:cNvSpPr>
                <a:spLocks/>
              </p:cNvSpPr>
              <p:nvPr/>
            </p:nvSpPr>
            <p:spPr bwMode="auto">
              <a:xfrm>
                <a:off x="4759959" y="2165641"/>
                <a:ext cx="7914" cy="6925"/>
              </a:xfrm>
              <a:custGeom>
                <a:avLst/>
                <a:gdLst>
                  <a:gd name="T0" fmla="*/ 5 w 8"/>
                  <a:gd name="T1" fmla="*/ 0 h 7"/>
                  <a:gd name="T2" fmla="*/ 5 w 8"/>
                  <a:gd name="T3" fmla="*/ 0 h 7"/>
                  <a:gd name="T4" fmla="*/ 6 w 8"/>
                  <a:gd name="T5" fmla="*/ 1 h 7"/>
                  <a:gd name="T6" fmla="*/ 8 w 8"/>
                  <a:gd name="T7" fmla="*/ 3 h 7"/>
                  <a:gd name="T8" fmla="*/ 6 w 8"/>
                  <a:gd name="T9" fmla="*/ 6 h 7"/>
                  <a:gd name="T10" fmla="*/ 2 w 8"/>
                  <a:gd name="T11" fmla="*/ 7 h 7"/>
                  <a:gd name="T12" fmla="*/ 2 w 8"/>
                  <a:gd name="T13" fmla="*/ 7 h 7"/>
                  <a:gd name="T14" fmla="*/ 0 w 8"/>
                  <a:gd name="T15" fmla="*/ 6 h 7"/>
                  <a:gd name="T16" fmla="*/ 0 w 8"/>
                  <a:gd name="T17" fmla="*/ 4 h 7"/>
                  <a:gd name="T18" fmla="*/ 5 w 8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7">
                    <a:moveTo>
                      <a:pt x="5" y="0"/>
                    </a:moveTo>
                    <a:lnTo>
                      <a:pt x="5" y="0"/>
                    </a:lnTo>
                    <a:lnTo>
                      <a:pt x="6" y="1"/>
                    </a:lnTo>
                    <a:lnTo>
                      <a:pt x="8" y="3"/>
                    </a:lnTo>
                    <a:lnTo>
                      <a:pt x="6" y="6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17" name="Freeform 1072"/>
              <p:cNvSpPr>
                <a:spLocks/>
              </p:cNvSpPr>
              <p:nvPr/>
            </p:nvSpPr>
            <p:spPr bwMode="auto">
              <a:xfrm>
                <a:off x="4759959" y="2165641"/>
                <a:ext cx="7914" cy="6925"/>
              </a:xfrm>
              <a:custGeom>
                <a:avLst/>
                <a:gdLst>
                  <a:gd name="T0" fmla="*/ 5 w 8"/>
                  <a:gd name="T1" fmla="*/ 0 h 7"/>
                  <a:gd name="T2" fmla="*/ 5 w 8"/>
                  <a:gd name="T3" fmla="*/ 0 h 7"/>
                  <a:gd name="T4" fmla="*/ 6 w 8"/>
                  <a:gd name="T5" fmla="*/ 1 h 7"/>
                  <a:gd name="T6" fmla="*/ 8 w 8"/>
                  <a:gd name="T7" fmla="*/ 3 h 7"/>
                  <a:gd name="T8" fmla="*/ 6 w 8"/>
                  <a:gd name="T9" fmla="*/ 6 h 7"/>
                  <a:gd name="T10" fmla="*/ 2 w 8"/>
                  <a:gd name="T11" fmla="*/ 7 h 7"/>
                  <a:gd name="T12" fmla="*/ 2 w 8"/>
                  <a:gd name="T13" fmla="*/ 7 h 7"/>
                  <a:gd name="T14" fmla="*/ 0 w 8"/>
                  <a:gd name="T15" fmla="*/ 6 h 7"/>
                  <a:gd name="T16" fmla="*/ 0 w 8"/>
                  <a:gd name="T17" fmla="*/ 4 h 7"/>
                  <a:gd name="T18" fmla="*/ 5 w 8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7">
                    <a:moveTo>
                      <a:pt x="5" y="0"/>
                    </a:moveTo>
                    <a:lnTo>
                      <a:pt x="5" y="0"/>
                    </a:lnTo>
                    <a:lnTo>
                      <a:pt x="6" y="1"/>
                    </a:lnTo>
                    <a:lnTo>
                      <a:pt x="8" y="3"/>
                    </a:lnTo>
                    <a:lnTo>
                      <a:pt x="6" y="6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5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25" name="Freeform 1080"/>
              <p:cNvSpPr>
                <a:spLocks/>
              </p:cNvSpPr>
              <p:nvPr/>
            </p:nvSpPr>
            <p:spPr bwMode="auto">
              <a:xfrm>
                <a:off x="4443396" y="2375364"/>
                <a:ext cx="69248" cy="49463"/>
              </a:xfrm>
              <a:custGeom>
                <a:avLst/>
                <a:gdLst>
                  <a:gd name="T0" fmla="*/ 44 w 70"/>
                  <a:gd name="T1" fmla="*/ 47 h 50"/>
                  <a:gd name="T2" fmla="*/ 44 w 70"/>
                  <a:gd name="T3" fmla="*/ 47 h 50"/>
                  <a:gd name="T4" fmla="*/ 51 w 70"/>
                  <a:gd name="T5" fmla="*/ 50 h 50"/>
                  <a:gd name="T6" fmla="*/ 60 w 70"/>
                  <a:gd name="T7" fmla="*/ 50 h 50"/>
                  <a:gd name="T8" fmla="*/ 60 w 70"/>
                  <a:gd name="T9" fmla="*/ 50 h 50"/>
                  <a:gd name="T10" fmla="*/ 60 w 70"/>
                  <a:gd name="T11" fmla="*/ 50 h 50"/>
                  <a:gd name="T12" fmla="*/ 57 w 70"/>
                  <a:gd name="T13" fmla="*/ 47 h 50"/>
                  <a:gd name="T14" fmla="*/ 57 w 70"/>
                  <a:gd name="T15" fmla="*/ 46 h 50"/>
                  <a:gd name="T16" fmla="*/ 61 w 70"/>
                  <a:gd name="T17" fmla="*/ 42 h 50"/>
                  <a:gd name="T18" fmla="*/ 67 w 70"/>
                  <a:gd name="T19" fmla="*/ 36 h 50"/>
                  <a:gd name="T20" fmla="*/ 68 w 70"/>
                  <a:gd name="T21" fmla="*/ 31 h 50"/>
                  <a:gd name="T22" fmla="*/ 70 w 70"/>
                  <a:gd name="T23" fmla="*/ 28 h 50"/>
                  <a:gd name="T24" fmla="*/ 70 w 70"/>
                  <a:gd name="T25" fmla="*/ 28 h 50"/>
                  <a:gd name="T26" fmla="*/ 68 w 70"/>
                  <a:gd name="T27" fmla="*/ 21 h 50"/>
                  <a:gd name="T28" fmla="*/ 66 w 70"/>
                  <a:gd name="T29" fmla="*/ 14 h 50"/>
                  <a:gd name="T30" fmla="*/ 57 w 70"/>
                  <a:gd name="T31" fmla="*/ 5 h 50"/>
                  <a:gd name="T32" fmla="*/ 57 w 70"/>
                  <a:gd name="T33" fmla="*/ 5 h 50"/>
                  <a:gd name="T34" fmla="*/ 53 w 70"/>
                  <a:gd name="T35" fmla="*/ 2 h 50"/>
                  <a:gd name="T36" fmla="*/ 47 w 70"/>
                  <a:gd name="T37" fmla="*/ 2 h 50"/>
                  <a:gd name="T38" fmla="*/ 37 w 70"/>
                  <a:gd name="T39" fmla="*/ 4 h 50"/>
                  <a:gd name="T40" fmla="*/ 37 w 70"/>
                  <a:gd name="T41" fmla="*/ 4 h 50"/>
                  <a:gd name="T42" fmla="*/ 31 w 70"/>
                  <a:gd name="T43" fmla="*/ 4 h 50"/>
                  <a:gd name="T44" fmla="*/ 25 w 70"/>
                  <a:gd name="T45" fmla="*/ 0 h 50"/>
                  <a:gd name="T46" fmla="*/ 25 w 70"/>
                  <a:gd name="T47" fmla="*/ 0 h 50"/>
                  <a:gd name="T48" fmla="*/ 19 w 70"/>
                  <a:gd name="T49" fmla="*/ 2 h 50"/>
                  <a:gd name="T50" fmla="*/ 15 w 70"/>
                  <a:gd name="T51" fmla="*/ 4 h 50"/>
                  <a:gd name="T52" fmla="*/ 15 w 70"/>
                  <a:gd name="T53" fmla="*/ 4 h 50"/>
                  <a:gd name="T54" fmla="*/ 5 w 70"/>
                  <a:gd name="T55" fmla="*/ 4 h 50"/>
                  <a:gd name="T56" fmla="*/ 5 w 70"/>
                  <a:gd name="T57" fmla="*/ 4 h 50"/>
                  <a:gd name="T58" fmla="*/ 0 w 70"/>
                  <a:gd name="T59" fmla="*/ 4 h 50"/>
                  <a:gd name="T60" fmla="*/ 0 w 70"/>
                  <a:gd name="T61" fmla="*/ 4 h 50"/>
                  <a:gd name="T62" fmla="*/ 24 w 70"/>
                  <a:gd name="T63" fmla="*/ 30 h 50"/>
                  <a:gd name="T64" fmla="*/ 35 w 70"/>
                  <a:gd name="T65" fmla="*/ 40 h 50"/>
                  <a:gd name="T66" fmla="*/ 44 w 70"/>
                  <a:gd name="T67" fmla="*/ 4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0" h="50">
                    <a:moveTo>
                      <a:pt x="44" y="47"/>
                    </a:moveTo>
                    <a:lnTo>
                      <a:pt x="44" y="47"/>
                    </a:lnTo>
                    <a:lnTo>
                      <a:pt x="51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7" y="47"/>
                    </a:lnTo>
                    <a:lnTo>
                      <a:pt x="57" y="46"/>
                    </a:lnTo>
                    <a:lnTo>
                      <a:pt x="61" y="42"/>
                    </a:lnTo>
                    <a:lnTo>
                      <a:pt x="67" y="36"/>
                    </a:lnTo>
                    <a:lnTo>
                      <a:pt x="68" y="31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68" y="21"/>
                    </a:lnTo>
                    <a:lnTo>
                      <a:pt x="66" y="14"/>
                    </a:lnTo>
                    <a:lnTo>
                      <a:pt x="57" y="5"/>
                    </a:lnTo>
                    <a:lnTo>
                      <a:pt x="57" y="5"/>
                    </a:lnTo>
                    <a:lnTo>
                      <a:pt x="53" y="2"/>
                    </a:lnTo>
                    <a:lnTo>
                      <a:pt x="47" y="2"/>
                    </a:lnTo>
                    <a:lnTo>
                      <a:pt x="37" y="4"/>
                    </a:lnTo>
                    <a:lnTo>
                      <a:pt x="37" y="4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4" y="30"/>
                    </a:lnTo>
                    <a:lnTo>
                      <a:pt x="35" y="40"/>
                    </a:lnTo>
                    <a:lnTo>
                      <a:pt x="44" y="4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26" name="Freeform 1081"/>
              <p:cNvSpPr>
                <a:spLocks/>
              </p:cNvSpPr>
              <p:nvPr/>
            </p:nvSpPr>
            <p:spPr bwMode="auto">
              <a:xfrm>
                <a:off x="4443396" y="2375364"/>
                <a:ext cx="69248" cy="49463"/>
              </a:xfrm>
              <a:custGeom>
                <a:avLst/>
                <a:gdLst>
                  <a:gd name="T0" fmla="*/ 44 w 70"/>
                  <a:gd name="T1" fmla="*/ 47 h 50"/>
                  <a:gd name="T2" fmla="*/ 44 w 70"/>
                  <a:gd name="T3" fmla="*/ 47 h 50"/>
                  <a:gd name="T4" fmla="*/ 51 w 70"/>
                  <a:gd name="T5" fmla="*/ 50 h 50"/>
                  <a:gd name="T6" fmla="*/ 60 w 70"/>
                  <a:gd name="T7" fmla="*/ 50 h 50"/>
                  <a:gd name="T8" fmla="*/ 60 w 70"/>
                  <a:gd name="T9" fmla="*/ 50 h 50"/>
                  <a:gd name="T10" fmla="*/ 60 w 70"/>
                  <a:gd name="T11" fmla="*/ 50 h 50"/>
                  <a:gd name="T12" fmla="*/ 57 w 70"/>
                  <a:gd name="T13" fmla="*/ 47 h 50"/>
                  <a:gd name="T14" fmla="*/ 57 w 70"/>
                  <a:gd name="T15" fmla="*/ 46 h 50"/>
                  <a:gd name="T16" fmla="*/ 61 w 70"/>
                  <a:gd name="T17" fmla="*/ 42 h 50"/>
                  <a:gd name="T18" fmla="*/ 67 w 70"/>
                  <a:gd name="T19" fmla="*/ 36 h 50"/>
                  <a:gd name="T20" fmla="*/ 68 w 70"/>
                  <a:gd name="T21" fmla="*/ 31 h 50"/>
                  <a:gd name="T22" fmla="*/ 70 w 70"/>
                  <a:gd name="T23" fmla="*/ 28 h 50"/>
                  <a:gd name="T24" fmla="*/ 70 w 70"/>
                  <a:gd name="T25" fmla="*/ 28 h 50"/>
                  <a:gd name="T26" fmla="*/ 68 w 70"/>
                  <a:gd name="T27" fmla="*/ 21 h 50"/>
                  <a:gd name="T28" fmla="*/ 66 w 70"/>
                  <a:gd name="T29" fmla="*/ 14 h 50"/>
                  <a:gd name="T30" fmla="*/ 57 w 70"/>
                  <a:gd name="T31" fmla="*/ 5 h 50"/>
                  <a:gd name="T32" fmla="*/ 57 w 70"/>
                  <a:gd name="T33" fmla="*/ 5 h 50"/>
                  <a:gd name="T34" fmla="*/ 53 w 70"/>
                  <a:gd name="T35" fmla="*/ 2 h 50"/>
                  <a:gd name="T36" fmla="*/ 47 w 70"/>
                  <a:gd name="T37" fmla="*/ 2 h 50"/>
                  <a:gd name="T38" fmla="*/ 37 w 70"/>
                  <a:gd name="T39" fmla="*/ 4 h 50"/>
                  <a:gd name="T40" fmla="*/ 37 w 70"/>
                  <a:gd name="T41" fmla="*/ 4 h 50"/>
                  <a:gd name="T42" fmla="*/ 31 w 70"/>
                  <a:gd name="T43" fmla="*/ 4 h 50"/>
                  <a:gd name="T44" fmla="*/ 25 w 70"/>
                  <a:gd name="T45" fmla="*/ 0 h 50"/>
                  <a:gd name="T46" fmla="*/ 25 w 70"/>
                  <a:gd name="T47" fmla="*/ 0 h 50"/>
                  <a:gd name="T48" fmla="*/ 19 w 70"/>
                  <a:gd name="T49" fmla="*/ 2 h 50"/>
                  <a:gd name="T50" fmla="*/ 15 w 70"/>
                  <a:gd name="T51" fmla="*/ 4 h 50"/>
                  <a:gd name="T52" fmla="*/ 15 w 70"/>
                  <a:gd name="T53" fmla="*/ 4 h 50"/>
                  <a:gd name="T54" fmla="*/ 5 w 70"/>
                  <a:gd name="T55" fmla="*/ 4 h 50"/>
                  <a:gd name="T56" fmla="*/ 5 w 70"/>
                  <a:gd name="T57" fmla="*/ 4 h 50"/>
                  <a:gd name="T58" fmla="*/ 0 w 70"/>
                  <a:gd name="T59" fmla="*/ 4 h 50"/>
                  <a:gd name="T60" fmla="*/ 0 w 70"/>
                  <a:gd name="T61" fmla="*/ 4 h 50"/>
                  <a:gd name="T62" fmla="*/ 24 w 70"/>
                  <a:gd name="T63" fmla="*/ 30 h 50"/>
                  <a:gd name="T64" fmla="*/ 35 w 70"/>
                  <a:gd name="T65" fmla="*/ 40 h 50"/>
                  <a:gd name="T66" fmla="*/ 44 w 70"/>
                  <a:gd name="T67" fmla="*/ 4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0" h="50">
                    <a:moveTo>
                      <a:pt x="44" y="47"/>
                    </a:moveTo>
                    <a:lnTo>
                      <a:pt x="44" y="47"/>
                    </a:lnTo>
                    <a:lnTo>
                      <a:pt x="51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7" y="47"/>
                    </a:lnTo>
                    <a:lnTo>
                      <a:pt x="57" y="46"/>
                    </a:lnTo>
                    <a:lnTo>
                      <a:pt x="61" y="42"/>
                    </a:lnTo>
                    <a:lnTo>
                      <a:pt x="67" y="36"/>
                    </a:lnTo>
                    <a:lnTo>
                      <a:pt x="68" y="31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68" y="21"/>
                    </a:lnTo>
                    <a:lnTo>
                      <a:pt x="66" y="14"/>
                    </a:lnTo>
                    <a:lnTo>
                      <a:pt x="57" y="5"/>
                    </a:lnTo>
                    <a:lnTo>
                      <a:pt x="57" y="5"/>
                    </a:lnTo>
                    <a:lnTo>
                      <a:pt x="53" y="2"/>
                    </a:lnTo>
                    <a:lnTo>
                      <a:pt x="47" y="2"/>
                    </a:lnTo>
                    <a:lnTo>
                      <a:pt x="37" y="4"/>
                    </a:lnTo>
                    <a:lnTo>
                      <a:pt x="37" y="4"/>
                    </a:lnTo>
                    <a:lnTo>
                      <a:pt x="31" y="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4" y="30"/>
                    </a:lnTo>
                    <a:lnTo>
                      <a:pt x="35" y="40"/>
                    </a:lnTo>
                    <a:lnTo>
                      <a:pt x="44" y="4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43" name="Freeform 1098"/>
              <p:cNvSpPr>
                <a:spLocks/>
              </p:cNvSpPr>
              <p:nvPr/>
            </p:nvSpPr>
            <p:spPr bwMode="auto">
              <a:xfrm>
                <a:off x="4503741" y="2286330"/>
                <a:ext cx="142453" cy="191916"/>
              </a:xfrm>
              <a:custGeom>
                <a:avLst/>
                <a:gdLst>
                  <a:gd name="T0" fmla="*/ 139 w 144"/>
                  <a:gd name="T1" fmla="*/ 98 h 194"/>
                  <a:gd name="T2" fmla="*/ 144 w 144"/>
                  <a:gd name="T3" fmla="*/ 91 h 194"/>
                  <a:gd name="T4" fmla="*/ 136 w 144"/>
                  <a:gd name="T5" fmla="*/ 56 h 194"/>
                  <a:gd name="T6" fmla="*/ 135 w 144"/>
                  <a:gd name="T7" fmla="*/ 42 h 194"/>
                  <a:gd name="T8" fmla="*/ 132 w 144"/>
                  <a:gd name="T9" fmla="*/ 21 h 194"/>
                  <a:gd name="T10" fmla="*/ 129 w 144"/>
                  <a:gd name="T11" fmla="*/ 20 h 194"/>
                  <a:gd name="T12" fmla="*/ 125 w 144"/>
                  <a:gd name="T13" fmla="*/ 10 h 194"/>
                  <a:gd name="T14" fmla="*/ 119 w 144"/>
                  <a:gd name="T15" fmla="*/ 17 h 194"/>
                  <a:gd name="T16" fmla="*/ 118 w 144"/>
                  <a:gd name="T17" fmla="*/ 19 h 194"/>
                  <a:gd name="T18" fmla="*/ 107 w 144"/>
                  <a:gd name="T19" fmla="*/ 11 h 194"/>
                  <a:gd name="T20" fmla="*/ 97 w 144"/>
                  <a:gd name="T21" fmla="*/ 16 h 194"/>
                  <a:gd name="T22" fmla="*/ 87 w 144"/>
                  <a:gd name="T23" fmla="*/ 21 h 194"/>
                  <a:gd name="T24" fmla="*/ 84 w 144"/>
                  <a:gd name="T25" fmla="*/ 19 h 194"/>
                  <a:gd name="T26" fmla="*/ 84 w 144"/>
                  <a:gd name="T27" fmla="*/ 11 h 194"/>
                  <a:gd name="T28" fmla="*/ 77 w 144"/>
                  <a:gd name="T29" fmla="*/ 13 h 194"/>
                  <a:gd name="T30" fmla="*/ 68 w 144"/>
                  <a:gd name="T31" fmla="*/ 17 h 194"/>
                  <a:gd name="T32" fmla="*/ 67 w 144"/>
                  <a:gd name="T33" fmla="*/ 8 h 194"/>
                  <a:gd name="T34" fmla="*/ 67 w 144"/>
                  <a:gd name="T35" fmla="*/ 5 h 194"/>
                  <a:gd name="T36" fmla="*/ 41 w 144"/>
                  <a:gd name="T37" fmla="*/ 0 h 194"/>
                  <a:gd name="T38" fmla="*/ 45 w 144"/>
                  <a:gd name="T39" fmla="*/ 23 h 194"/>
                  <a:gd name="T40" fmla="*/ 41 w 144"/>
                  <a:gd name="T41" fmla="*/ 34 h 194"/>
                  <a:gd name="T42" fmla="*/ 36 w 144"/>
                  <a:gd name="T43" fmla="*/ 34 h 194"/>
                  <a:gd name="T44" fmla="*/ 23 w 144"/>
                  <a:gd name="T45" fmla="*/ 29 h 194"/>
                  <a:gd name="T46" fmla="*/ 16 w 144"/>
                  <a:gd name="T47" fmla="*/ 36 h 194"/>
                  <a:gd name="T48" fmla="*/ 19 w 144"/>
                  <a:gd name="T49" fmla="*/ 55 h 194"/>
                  <a:gd name="T50" fmla="*/ 16 w 144"/>
                  <a:gd name="T51" fmla="*/ 65 h 194"/>
                  <a:gd name="T52" fmla="*/ 12 w 144"/>
                  <a:gd name="T53" fmla="*/ 75 h 194"/>
                  <a:gd name="T54" fmla="*/ 6 w 144"/>
                  <a:gd name="T55" fmla="*/ 79 h 194"/>
                  <a:gd name="T56" fmla="*/ 5 w 144"/>
                  <a:gd name="T57" fmla="*/ 90 h 194"/>
                  <a:gd name="T58" fmla="*/ 0 w 144"/>
                  <a:gd name="T59" fmla="*/ 100 h 194"/>
                  <a:gd name="T60" fmla="*/ 7 w 144"/>
                  <a:gd name="T61" fmla="*/ 113 h 194"/>
                  <a:gd name="T62" fmla="*/ 7 w 144"/>
                  <a:gd name="T63" fmla="*/ 121 h 194"/>
                  <a:gd name="T64" fmla="*/ 7 w 144"/>
                  <a:gd name="T65" fmla="*/ 133 h 194"/>
                  <a:gd name="T66" fmla="*/ 12 w 144"/>
                  <a:gd name="T67" fmla="*/ 143 h 194"/>
                  <a:gd name="T68" fmla="*/ 26 w 144"/>
                  <a:gd name="T69" fmla="*/ 149 h 194"/>
                  <a:gd name="T70" fmla="*/ 35 w 144"/>
                  <a:gd name="T71" fmla="*/ 152 h 194"/>
                  <a:gd name="T72" fmla="*/ 32 w 144"/>
                  <a:gd name="T73" fmla="*/ 166 h 194"/>
                  <a:gd name="T74" fmla="*/ 28 w 144"/>
                  <a:gd name="T75" fmla="*/ 182 h 194"/>
                  <a:gd name="T76" fmla="*/ 47 w 144"/>
                  <a:gd name="T77" fmla="*/ 189 h 194"/>
                  <a:gd name="T78" fmla="*/ 71 w 144"/>
                  <a:gd name="T79" fmla="*/ 189 h 194"/>
                  <a:gd name="T80" fmla="*/ 100 w 144"/>
                  <a:gd name="T81" fmla="*/ 185 h 194"/>
                  <a:gd name="T82" fmla="*/ 116 w 144"/>
                  <a:gd name="T83" fmla="*/ 179 h 194"/>
                  <a:gd name="T84" fmla="*/ 123 w 144"/>
                  <a:gd name="T85" fmla="*/ 166 h 194"/>
                  <a:gd name="T86" fmla="*/ 133 w 144"/>
                  <a:gd name="T87" fmla="*/ 155 h 194"/>
                  <a:gd name="T88" fmla="*/ 118 w 144"/>
                  <a:gd name="T89" fmla="*/ 145 h 194"/>
                  <a:gd name="T90" fmla="*/ 103 w 144"/>
                  <a:gd name="T91" fmla="*/ 127 h 194"/>
                  <a:gd name="T92" fmla="*/ 103 w 144"/>
                  <a:gd name="T93" fmla="*/ 124 h 194"/>
                  <a:gd name="T94" fmla="*/ 122 w 144"/>
                  <a:gd name="T95" fmla="*/ 110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4" h="194">
                    <a:moveTo>
                      <a:pt x="129" y="105"/>
                    </a:moveTo>
                    <a:lnTo>
                      <a:pt x="129" y="105"/>
                    </a:lnTo>
                    <a:lnTo>
                      <a:pt x="139" y="98"/>
                    </a:lnTo>
                    <a:lnTo>
                      <a:pt x="142" y="94"/>
                    </a:lnTo>
                    <a:lnTo>
                      <a:pt x="144" y="91"/>
                    </a:lnTo>
                    <a:lnTo>
                      <a:pt x="144" y="91"/>
                    </a:lnTo>
                    <a:lnTo>
                      <a:pt x="142" y="74"/>
                    </a:lnTo>
                    <a:lnTo>
                      <a:pt x="141" y="63"/>
                    </a:lnTo>
                    <a:lnTo>
                      <a:pt x="136" y="56"/>
                    </a:lnTo>
                    <a:lnTo>
                      <a:pt x="136" y="56"/>
                    </a:lnTo>
                    <a:lnTo>
                      <a:pt x="135" y="50"/>
                    </a:lnTo>
                    <a:lnTo>
                      <a:pt x="135" y="42"/>
                    </a:lnTo>
                    <a:lnTo>
                      <a:pt x="135" y="21"/>
                    </a:lnTo>
                    <a:lnTo>
                      <a:pt x="135" y="21"/>
                    </a:lnTo>
                    <a:lnTo>
                      <a:pt x="132" y="21"/>
                    </a:lnTo>
                    <a:lnTo>
                      <a:pt x="132" y="21"/>
                    </a:lnTo>
                    <a:lnTo>
                      <a:pt x="131" y="21"/>
                    </a:lnTo>
                    <a:lnTo>
                      <a:pt x="129" y="20"/>
                    </a:lnTo>
                    <a:lnTo>
                      <a:pt x="126" y="17"/>
                    </a:lnTo>
                    <a:lnTo>
                      <a:pt x="125" y="10"/>
                    </a:lnTo>
                    <a:lnTo>
                      <a:pt x="125" y="10"/>
                    </a:lnTo>
                    <a:lnTo>
                      <a:pt x="125" y="10"/>
                    </a:lnTo>
                    <a:lnTo>
                      <a:pt x="123" y="13"/>
                    </a:lnTo>
                    <a:lnTo>
                      <a:pt x="119" y="17"/>
                    </a:lnTo>
                    <a:lnTo>
                      <a:pt x="119" y="17"/>
                    </a:lnTo>
                    <a:lnTo>
                      <a:pt x="118" y="19"/>
                    </a:lnTo>
                    <a:lnTo>
                      <a:pt x="118" y="19"/>
                    </a:lnTo>
                    <a:lnTo>
                      <a:pt x="115" y="16"/>
                    </a:lnTo>
                    <a:lnTo>
                      <a:pt x="112" y="13"/>
                    </a:lnTo>
                    <a:lnTo>
                      <a:pt x="107" y="11"/>
                    </a:lnTo>
                    <a:lnTo>
                      <a:pt x="107" y="11"/>
                    </a:lnTo>
                    <a:lnTo>
                      <a:pt x="102" y="13"/>
                    </a:lnTo>
                    <a:lnTo>
                      <a:pt x="97" y="16"/>
                    </a:lnTo>
                    <a:lnTo>
                      <a:pt x="91" y="20"/>
                    </a:lnTo>
                    <a:lnTo>
                      <a:pt x="87" y="21"/>
                    </a:lnTo>
                    <a:lnTo>
                      <a:pt x="87" y="21"/>
                    </a:lnTo>
                    <a:lnTo>
                      <a:pt x="86" y="21"/>
                    </a:lnTo>
                    <a:lnTo>
                      <a:pt x="84" y="21"/>
                    </a:lnTo>
                    <a:lnTo>
                      <a:pt x="84" y="19"/>
                    </a:lnTo>
                    <a:lnTo>
                      <a:pt x="86" y="14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1" y="11"/>
                    </a:lnTo>
                    <a:lnTo>
                      <a:pt x="77" y="13"/>
                    </a:lnTo>
                    <a:lnTo>
                      <a:pt x="71" y="16"/>
                    </a:lnTo>
                    <a:lnTo>
                      <a:pt x="68" y="17"/>
                    </a:lnTo>
                    <a:lnTo>
                      <a:pt x="68" y="17"/>
                    </a:lnTo>
                    <a:lnTo>
                      <a:pt x="65" y="13"/>
                    </a:lnTo>
                    <a:lnTo>
                      <a:pt x="65" y="10"/>
                    </a:lnTo>
                    <a:lnTo>
                      <a:pt x="67" y="8"/>
                    </a:lnTo>
                    <a:lnTo>
                      <a:pt x="67" y="8"/>
                    </a:lnTo>
                    <a:lnTo>
                      <a:pt x="67" y="7"/>
                    </a:lnTo>
                    <a:lnTo>
                      <a:pt x="67" y="5"/>
                    </a:lnTo>
                    <a:lnTo>
                      <a:pt x="64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4" y="1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9"/>
                    </a:lnTo>
                    <a:lnTo>
                      <a:pt x="42" y="32"/>
                    </a:lnTo>
                    <a:lnTo>
                      <a:pt x="41" y="34"/>
                    </a:lnTo>
                    <a:lnTo>
                      <a:pt x="41" y="34"/>
                    </a:lnTo>
                    <a:lnTo>
                      <a:pt x="39" y="34"/>
                    </a:lnTo>
                    <a:lnTo>
                      <a:pt x="36" y="34"/>
                    </a:lnTo>
                    <a:lnTo>
                      <a:pt x="31" y="32"/>
                    </a:lnTo>
                    <a:lnTo>
                      <a:pt x="25" y="29"/>
                    </a:lnTo>
                    <a:lnTo>
                      <a:pt x="23" y="29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8" y="46"/>
                    </a:lnTo>
                    <a:lnTo>
                      <a:pt x="19" y="55"/>
                    </a:lnTo>
                    <a:lnTo>
                      <a:pt x="18" y="61"/>
                    </a:lnTo>
                    <a:lnTo>
                      <a:pt x="16" y="65"/>
                    </a:lnTo>
                    <a:lnTo>
                      <a:pt x="16" y="65"/>
                    </a:lnTo>
                    <a:lnTo>
                      <a:pt x="15" y="68"/>
                    </a:lnTo>
                    <a:lnTo>
                      <a:pt x="13" y="72"/>
                    </a:lnTo>
                    <a:lnTo>
                      <a:pt x="12" y="75"/>
                    </a:lnTo>
                    <a:lnTo>
                      <a:pt x="9" y="76"/>
                    </a:lnTo>
                    <a:lnTo>
                      <a:pt x="9" y="76"/>
                    </a:lnTo>
                    <a:lnTo>
                      <a:pt x="6" y="79"/>
                    </a:lnTo>
                    <a:lnTo>
                      <a:pt x="5" y="82"/>
                    </a:lnTo>
                    <a:lnTo>
                      <a:pt x="5" y="87"/>
                    </a:lnTo>
                    <a:lnTo>
                      <a:pt x="5" y="90"/>
                    </a:lnTo>
                    <a:lnTo>
                      <a:pt x="5" y="90"/>
                    </a:lnTo>
                    <a:lnTo>
                      <a:pt x="3" y="95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6" y="108"/>
                    </a:lnTo>
                    <a:lnTo>
                      <a:pt x="7" y="113"/>
                    </a:lnTo>
                    <a:lnTo>
                      <a:pt x="9" y="118"/>
                    </a:lnTo>
                    <a:lnTo>
                      <a:pt x="9" y="118"/>
                    </a:lnTo>
                    <a:lnTo>
                      <a:pt x="7" y="121"/>
                    </a:lnTo>
                    <a:lnTo>
                      <a:pt x="5" y="126"/>
                    </a:lnTo>
                    <a:lnTo>
                      <a:pt x="5" y="126"/>
                    </a:lnTo>
                    <a:lnTo>
                      <a:pt x="7" y="133"/>
                    </a:lnTo>
                    <a:lnTo>
                      <a:pt x="6" y="142"/>
                    </a:lnTo>
                    <a:lnTo>
                      <a:pt x="6" y="142"/>
                    </a:lnTo>
                    <a:lnTo>
                      <a:pt x="12" y="143"/>
                    </a:lnTo>
                    <a:lnTo>
                      <a:pt x="16" y="145"/>
                    </a:lnTo>
                    <a:lnTo>
                      <a:pt x="16" y="145"/>
                    </a:lnTo>
                    <a:lnTo>
                      <a:pt x="26" y="149"/>
                    </a:lnTo>
                    <a:lnTo>
                      <a:pt x="31" y="150"/>
                    </a:lnTo>
                    <a:lnTo>
                      <a:pt x="35" y="152"/>
                    </a:lnTo>
                    <a:lnTo>
                      <a:pt x="35" y="152"/>
                    </a:lnTo>
                    <a:lnTo>
                      <a:pt x="35" y="155"/>
                    </a:lnTo>
                    <a:lnTo>
                      <a:pt x="35" y="158"/>
                    </a:lnTo>
                    <a:lnTo>
                      <a:pt x="32" y="166"/>
                    </a:lnTo>
                    <a:lnTo>
                      <a:pt x="29" y="176"/>
                    </a:lnTo>
                    <a:lnTo>
                      <a:pt x="28" y="182"/>
                    </a:lnTo>
                    <a:lnTo>
                      <a:pt x="28" y="182"/>
                    </a:lnTo>
                    <a:lnTo>
                      <a:pt x="26" y="187"/>
                    </a:lnTo>
                    <a:lnTo>
                      <a:pt x="26" y="187"/>
                    </a:lnTo>
                    <a:lnTo>
                      <a:pt x="47" y="189"/>
                    </a:lnTo>
                    <a:lnTo>
                      <a:pt x="62" y="194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80" y="188"/>
                    </a:lnTo>
                    <a:lnTo>
                      <a:pt x="80" y="188"/>
                    </a:lnTo>
                    <a:lnTo>
                      <a:pt x="100" y="185"/>
                    </a:lnTo>
                    <a:lnTo>
                      <a:pt x="110" y="182"/>
                    </a:lnTo>
                    <a:lnTo>
                      <a:pt x="116" y="179"/>
                    </a:lnTo>
                    <a:lnTo>
                      <a:pt x="116" y="179"/>
                    </a:lnTo>
                    <a:lnTo>
                      <a:pt x="118" y="174"/>
                    </a:lnTo>
                    <a:lnTo>
                      <a:pt x="120" y="169"/>
                    </a:lnTo>
                    <a:lnTo>
                      <a:pt x="123" y="166"/>
                    </a:lnTo>
                    <a:lnTo>
                      <a:pt x="123" y="166"/>
                    </a:lnTo>
                    <a:lnTo>
                      <a:pt x="129" y="162"/>
                    </a:lnTo>
                    <a:lnTo>
                      <a:pt x="133" y="155"/>
                    </a:lnTo>
                    <a:lnTo>
                      <a:pt x="133" y="155"/>
                    </a:lnTo>
                    <a:lnTo>
                      <a:pt x="125" y="150"/>
                    </a:lnTo>
                    <a:lnTo>
                      <a:pt x="118" y="145"/>
                    </a:lnTo>
                    <a:lnTo>
                      <a:pt x="118" y="145"/>
                    </a:lnTo>
                    <a:lnTo>
                      <a:pt x="106" y="133"/>
                    </a:lnTo>
                    <a:lnTo>
                      <a:pt x="103" y="127"/>
                    </a:lnTo>
                    <a:lnTo>
                      <a:pt x="102" y="126"/>
                    </a:lnTo>
                    <a:lnTo>
                      <a:pt x="103" y="124"/>
                    </a:lnTo>
                    <a:lnTo>
                      <a:pt x="103" y="124"/>
                    </a:lnTo>
                    <a:lnTo>
                      <a:pt x="107" y="120"/>
                    </a:lnTo>
                    <a:lnTo>
                      <a:pt x="115" y="116"/>
                    </a:lnTo>
                    <a:lnTo>
                      <a:pt x="122" y="110"/>
                    </a:lnTo>
                    <a:lnTo>
                      <a:pt x="129" y="10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44" name="Freeform 1099"/>
              <p:cNvSpPr>
                <a:spLocks/>
              </p:cNvSpPr>
              <p:nvPr/>
            </p:nvSpPr>
            <p:spPr bwMode="auto">
              <a:xfrm>
                <a:off x="4503741" y="2286330"/>
                <a:ext cx="142453" cy="191916"/>
              </a:xfrm>
              <a:custGeom>
                <a:avLst/>
                <a:gdLst>
                  <a:gd name="T0" fmla="*/ 139 w 144"/>
                  <a:gd name="T1" fmla="*/ 98 h 194"/>
                  <a:gd name="T2" fmla="*/ 144 w 144"/>
                  <a:gd name="T3" fmla="*/ 91 h 194"/>
                  <a:gd name="T4" fmla="*/ 136 w 144"/>
                  <a:gd name="T5" fmla="*/ 56 h 194"/>
                  <a:gd name="T6" fmla="*/ 135 w 144"/>
                  <a:gd name="T7" fmla="*/ 42 h 194"/>
                  <a:gd name="T8" fmla="*/ 132 w 144"/>
                  <a:gd name="T9" fmla="*/ 21 h 194"/>
                  <a:gd name="T10" fmla="*/ 129 w 144"/>
                  <a:gd name="T11" fmla="*/ 20 h 194"/>
                  <a:gd name="T12" fmla="*/ 125 w 144"/>
                  <a:gd name="T13" fmla="*/ 10 h 194"/>
                  <a:gd name="T14" fmla="*/ 119 w 144"/>
                  <a:gd name="T15" fmla="*/ 17 h 194"/>
                  <a:gd name="T16" fmla="*/ 118 w 144"/>
                  <a:gd name="T17" fmla="*/ 19 h 194"/>
                  <a:gd name="T18" fmla="*/ 107 w 144"/>
                  <a:gd name="T19" fmla="*/ 11 h 194"/>
                  <a:gd name="T20" fmla="*/ 97 w 144"/>
                  <a:gd name="T21" fmla="*/ 16 h 194"/>
                  <a:gd name="T22" fmla="*/ 87 w 144"/>
                  <a:gd name="T23" fmla="*/ 21 h 194"/>
                  <a:gd name="T24" fmla="*/ 84 w 144"/>
                  <a:gd name="T25" fmla="*/ 19 h 194"/>
                  <a:gd name="T26" fmla="*/ 84 w 144"/>
                  <a:gd name="T27" fmla="*/ 11 h 194"/>
                  <a:gd name="T28" fmla="*/ 77 w 144"/>
                  <a:gd name="T29" fmla="*/ 13 h 194"/>
                  <a:gd name="T30" fmla="*/ 68 w 144"/>
                  <a:gd name="T31" fmla="*/ 17 h 194"/>
                  <a:gd name="T32" fmla="*/ 67 w 144"/>
                  <a:gd name="T33" fmla="*/ 8 h 194"/>
                  <a:gd name="T34" fmla="*/ 67 w 144"/>
                  <a:gd name="T35" fmla="*/ 5 h 194"/>
                  <a:gd name="T36" fmla="*/ 41 w 144"/>
                  <a:gd name="T37" fmla="*/ 0 h 194"/>
                  <a:gd name="T38" fmla="*/ 45 w 144"/>
                  <a:gd name="T39" fmla="*/ 23 h 194"/>
                  <a:gd name="T40" fmla="*/ 41 w 144"/>
                  <a:gd name="T41" fmla="*/ 34 h 194"/>
                  <a:gd name="T42" fmla="*/ 36 w 144"/>
                  <a:gd name="T43" fmla="*/ 34 h 194"/>
                  <a:gd name="T44" fmla="*/ 23 w 144"/>
                  <a:gd name="T45" fmla="*/ 29 h 194"/>
                  <a:gd name="T46" fmla="*/ 16 w 144"/>
                  <a:gd name="T47" fmla="*/ 36 h 194"/>
                  <a:gd name="T48" fmla="*/ 19 w 144"/>
                  <a:gd name="T49" fmla="*/ 55 h 194"/>
                  <a:gd name="T50" fmla="*/ 16 w 144"/>
                  <a:gd name="T51" fmla="*/ 65 h 194"/>
                  <a:gd name="T52" fmla="*/ 12 w 144"/>
                  <a:gd name="T53" fmla="*/ 75 h 194"/>
                  <a:gd name="T54" fmla="*/ 6 w 144"/>
                  <a:gd name="T55" fmla="*/ 79 h 194"/>
                  <a:gd name="T56" fmla="*/ 5 w 144"/>
                  <a:gd name="T57" fmla="*/ 90 h 194"/>
                  <a:gd name="T58" fmla="*/ 0 w 144"/>
                  <a:gd name="T59" fmla="*/ 100 h 194"/>
                  <a:gd name="T60" fmla="*/ 7 w 144"/>
                  <a:gd name="T61" fmla="*/ 113 h 194"/>
                  <a:gd name="T62" fmla="*/ 7 w 144"/>
                  <a:gd name="T63" fmla="*/ 121 h 194"/>
                  <a:gd name="T64" fmla="*/ 7 w 144"/>
                  <a:gd name="T65" fmla="*/ 133 h 194"/>
                  <a:gd name="T66" fmla="*/ 12 w 144"/>
                  <a:gd name="T67" fmla="*/ 143 h 194"/>
                  <a:gd name="T68" fmla="*/ 26 w 144"/>
                  <a:gd name="T69" fmla="*/ 149 h 194"/>
                  <a:gd name="T70" fmla="*/ 35 w 144"/>
                  <a:gd name="T71" fmla="*/ 152 h 194"/>
                  <a:gd name="T72" fmla="*/ 32 w 144"/>
                  <a:gd name="T73" fmla="*/ 166 h 194"/>
                  <a:gd name="T74" fmla="*/ 28 w 144"/>
                  <a:gd name="T75" fmla="*/ 182 h 194"/>
                  <a:gd name="T76" fmla="*/ 47 w 144"/>
                  <a:gd name="T77" fmla="*/ 189 h 194"/>
                  <a:gd name="T78" fmla="*/ 71 w 144"/>
                  <a:gd name="T79" fmla="*/ 189 h 194"/>
                  <a:gd name="T80" fmla="*/ 100 w 144"/>
                  <a:gd name="T81" fmla="*/ 185 h 194"/>
                  <a:gd name="T82" fmla="*/ 116 w 144"/>
                  <a:gd name="T83" fmla="*/ 179 h 194"/>
                  <a:gd name="T84" fmla="*/ 123 w 144"/>
                  <a:gd name="T85" fmla="*/ 166 h 194"/>
                  <a:gd name="T86" fmla="*/ 133 w 144"/>
                  <a:gd name="T87" fmla="*/ 155 h 194"/>
                  <a:gd name="T88" fmla="*/ 118 w 144"/>
                  <a:gd name="T89" fmla="*/ 145 h 194"/>
                  <a:gd name="T90" fmla="*/ 103 w 144"/>
                  <a:gd name="T91" fmla="*/ 127 h 194"/>
                  <a:gd name="T92" fmla="*/ 103 w 144"/>
                  <a:gd name="T93" fmla="*/ 124 h 194"/>
                  <a:gd name="T94" fmla="*/ 122 w 144"/>
                  <a:gd name="T95" fmla="*/ 110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4" h="194">
                    <a:moveTo>
                      <a:pt x="129" y="105"/>
                    </a:moveTo>
                    <a:lnTo>
                      <a:pt x="129" y="105"/>
                    </a:lnTo>
                    <a:lnTo>
                      <a:pt x="139" y="98"/>
                    </a:lnTo>
                    <a:lnTo>
                      <a:pt x="142" y="94"/>
                    </a:lnTo>
                    <a:lnTo>
                      <a:pt x="144" y="91"/>
                    </a:lnTo>
                    <a:lnTo>
                      <a:pt x="144" y="91"/>
                    </a:lnTo>
                    <a:lnTo>
                      <a:pt x="142" y="74"/>
                    </a:lnTo>
                    <a:lnTo>
                      <a:pt x="141" y="63"/>
                    </a:lnTo>
                    <a:lnTo>
                      <a:pt x="136" y="56"/>
                    </a:lnTo>
                    <a:lnTo>
                      <a:pt x="136" y="56"/>
                    </a:lnTo>
                    <a:lnTo>
                      <a:pt x="135" y="50"/>
                    </a:lnTo>
                    <a:lnTo>
                      <a:pt x="135" y="42"/>
                    </a:lnTo>
                    <a:lnTo>
                      <a:pt x="135" y="21"/>
                    </a:lnTo>
                    <a:lnTo>
                      <a:pt x="135" y="21"/>
                    </a:lnTo>
                    <a:lnTo>
                      <a:pt x="132" y="21"/>
                    </a:lnTo>
                    <a:lnTo>
                      <a:pt x="132" y="21"/>
                    </a:lnTo>
                    <a:lnTo>
                      <a:pt x="131" y="21"/>
                    </a:lnTo>
                    <a:lnTo>
                      <a:pt x="129" y="20"/>
                    </a:lnTo>
                    <a:lnTo>
                      <a:pt x="126" y="17"/>
                    </a:lnTo>
                    <a:lnTo>
                      <a:pt x="125" y="10"/>
                    </a:lnTo>
                    <a:lnTo>
                      <a:pt x="125" y="10"/>
                    </a:lnTo>
                    <a:lnTo>
                      <a:pt x="125" y="10"/>
                    </a:lnTo>
                    <a:lnTo>
                      <a:pt x="123" y="13"/>
                    </a:lnTo>
                    <a:lnTo>
                      <a:pt x="119" y="17"/>
                    </a:lnTo>
                    <a:lnTo>
                      <a:pt x="119" y="17"/>
                    </a:lnTo>
                    <a:lnTo>
                      <a:pt x="118" y="19"/>
                    </a:lnTo>
                    <a:lnTo>
                      <a:pt x="118" y="19"/>
                    </a:lnTo>
                    <a:lnTo>
                      <a:pt x="115" y="16"/>
                    </a:lnTo>
                    <a:lnTo>
                      <a:pt x="112" y="13"/>
                    </a:lnTo>
                    <a:lnTo>
                      <a:pt x="107" y="11"/>
                    </a:lnTo>
                    <a:lnTo>
                      <a:pt x="107" y="11"/>
                    </a:lnTo>
                    <a:lnTo>
                      <a:pt x="102" y="13"/>
                    </a:lnTo>
                    <a:lnTo>
                      <a:pt x="97" y="16"/>
                    </a:lnTo>
                    <a:lnTo>
                      <a:pt x="91" y="20"/>
                    </a:lnTo>
                    <a:lnTo>
                      <a:pt x="87" y="21"/>
                    </a:lnTo>
                    <a:lnTo>
                      <a:pt x="87" y="21"/>
                    </a:lnTo>
                    <a:lnTo>
                      <a:pt x="86" y="21"/>
                    </a:lnTo>
                    <a:lnTo>
                      <a:pt x="84" y="21"/>
                    </a:lnTo>
                    <a:lnTo>
                      <a:pt x="84" y="19"/>
                    </a:lnTo>
                    <a:lnTo>
                      <a:pt x="86" y="14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1" y="11"/>
                    </a:lnTo>
                    <a:lnTo>
                      <a:pt x="77" y="13"/>
                    </a:lnTo>
                    <a:lnTo>
                      <a:pt x="71" y="16"/>
                    </a:lnTo>
                    <a:lnTo>
                      <a:pt x="68" y="17"/>
                    </a:lnTo>
                    <a:lnTo>
                      <a:pt x="68" y="17"/>
                    </a:lnTo>
                    <a:lnTo>
                      <a:pt x="65" y="13"/>
                    </a:lnTo>
                    <a:lnTo>
                      <a:pt x="65" y="10"/>
                    </a:lnTo>
                    <a:lnTo>
                      <a:pt x="67" y="8"/>
                    </a:lnTo>
                    <a:lnTo>
                      <a:pt x="67" y="8"/>
                    </a:lnTo>
                    <a:lnTo>
                      <a:pt x="67" y="7"/>
                    </a:lnTo>
                    <a:lnTo>
                      <a:pt x="67" y="5"/>
                    </a:lnTo>
                    <a:lnTo>
                      <a:pt x="64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4" y="1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9"/>
                    </a:lnTo>
                    <a:lnTo>
                      <a:pt x="42" y="32"/>
                    </a:lnTo>
                    <a:lnTo>
                      <a:pt x="41" y="34"/>
                    </a:lnTo>
                    <a:lnTo>
                      <a:pt x="41" y="34"/>
                    </a:lnTo>
                    <a:lnTo>
                      <a:pt x="39" y="34"/>
                    </a:lnTo>
                    <a:lnTo>
                      <a:pt x="36" y="34"/>
                    </a:lnTo>
                    <a:lnTo>
                      <a:pt x="31" y="32"/>
                    </a:lnTo>
                    <a:lnTo>
                      <a:pt x="25" y="29"/>
                    </a:lnTo>
                    <a:lnTo>
                      <a:pt x="23" y="29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8" y="46"/>
                    </a:lnTo>
                    <a:lnTo>
                      <a:pt x="19" y="55"/>
                    </a:lnTo>
                    <a:lnTo>
                      <a:pt x="18" y="61"/>
                    </a:lnTo>
                    <a:lnTo>
                      <a:pt x="16" y="65"/>
                    </a:lnTo>
                    <a:lnTo>
                      <a:pt x="16" y="65"/>
                    </a:lnTo>
                    <a:lnTo>
                      <a:pt x="15" y="68"/>
                    </a:lnTo>
                    <a:lnTo>
                      <a:pt x="13" y="72"/>
                    </a:lnTo>
                    <a:lnTo>
                      <a:pt x="12" y="75"/>
                    </a:lnTo>
                    <a:lnTo>
                      <a:pt x="9" y="76"/>
                    </a:lnTo>
                    <a:lnTo>
                      <a:pt x="9" y="76"/>
                    </a:lnTo>
                    <a:lnTo>
                      <a:pt x="6" y="79"/>
                    </a:lnTo>
                    <a:lnTo>
                      <a:pt x="5" y="82"/>
                    </a:lnTo>
                    <a:lnTo>
                      <a:pt x="5" y="87"/>
                    </a:lnTo>
                    <a:lnTo>
                      <a:pt x="5" y="90"/>
                    </a:lnTo>
                    <a:lnTo>
                      <a:pt x="5" y="90"/>
                    </a:lnTo>
                    <a:lnTo>
                      <a:pt x="3" y="95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6" y="108"/>
                    </a:lnTo>
                    <a:lnTo>
                      <a:pt x="7" y="113"/>
                    </a:lnTo>
                    <a:lnTo>
                      <a:pt x="9" y="118"/>
                    </a:lnTo>
                    <a:lnTo>
                      <a:pt x="9" y="118"/>
                    </a:lnTo>
                    <a:lnTo>
                      <a:pt x="7" y="121"/>
                    </a:lnTo>
                    <a:lnTo>
                      <a:pt x="5" y="126"/>
                    </a:lnTo>
                    <a:lnTo>
                      <a:pt x="5" y="126"/>
                    </a:lnTo>
                    <a:lnTo>
                      <a:pt x="7" y="133"/>
                    </a:lnTo>
                    <a:lnTo>
                      <a:pt x="6" y="142"/>
                    </a:lnTo>
                    <a:lnTo>
                      <a:pt x="6" y="142"/>
                    </a:lnTo>
                    <a:lnTo>
                      <a:pt x="12" y="143"/>
                    </a:lnTo>
                    <a:lnTo>
                      <a:pt x="16" y="145"/>
                    </a:lnTo>
                    <a:lnTo>
                      <a:pt x="16" y="145"/>
                    </a:lnTo>
                    <a:lnTo>
                      <a:pt x="26" y="149"/>
                    </a:lnTo>
                    <a:lnTo>
                      <a:pt x="31" y="150"/>
                    </a:lnTo>
                    <a:lnTo>
                      <a:pt x="35" y="152"/>
                    </a:lnTo>
                    <a:lnTo>
                      <a:pt x="35" y="152"/>
                    </a:lnTo>
                    <a:lnTo>
                      <a:pt x="35" y="155"/>
                    </a:lnTo>
                    <a:lnTo>
                      <a:pt x="35" y="158"/>
                    </a:lnTo>
                    <a:lnTo>
                      <a:pt x="32" y="166"/>
                    </a:lnTo>
                    <a:lnTo>
                      <a:pt x="29" y="176"/>
                    </a:lnTo>
                    <a:lnTo>
                      <a:pt x="28" y="182"/>
                    </a:lnTo>
                    <a:lnTo>
                      <a:pt x="28" y="182"/>
                    </a:lnTo>
                    <a:lnTo>
                      <a:pt x="26" y="187"/>
                    </a:lnTo>
                    <a:lnTo>
                      <a:pt x="26" y="187"/>
                    </a:lnTo>
                    <a:lnTo>
                      <a:pt x="47" y="189"/>
                    </a:lnTo>
                    <a:lnTo>
                      <a:pt x="62" y="194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80" y="188"/>
                    </a:lnTo>
                    <a:lnTo>
                      <a:pt x="80" y="188"/>
                    </a:lnTo>
                    <a:lnTo>
                      <a:pt x="100" y="185"/>
                    </a:lnTo>
                    <a:lnTo>
                      <a:pt x="110" y="182"/>
                    </a:lnTo>
                    <a:lnTo>
                      <a:pt x="116" y="179"/>
                    </a:lnTo>
                    <a:lnTo>
                      <a:pt x="116" y="179"/>
                    </a:lnTo>
                    <a:lnTo>
                      <a:pt x="118" y="174"/>
                    </a:lnTo>
                    <a:lnTo>
                      <a:pt x="120" y="169"/>
                    </a:lnTo>
                    <a:lnTo>
                      <a:pt x="123" y="166"/>
                    </a:lnTo>
                    <a:lnTo>
                      <a:pt x="123" y="166"/>
                    </a:lnTo>
                    <a:lnTo>
                      <a:pt x="129" y="162"/>
                    </a:lnTo>
                    <a:lnTo>
                      <a:pt x="133" y="155"/>
                    </a:lnTo>
                    <a:lnTo>
                      <a:pt x="133" y="155"/>
                    </a:lnTo>
                    <a:lnTo>
                      <a:pt x="125" y="150"/>
                    </a:lnTo>
                    <a:lnTo>
                      <a:pt x="118" y="145"/>
                    </a:lnTo>
                    <a:lnTo>
                      <a:pt x="118" y="145"/>
                    </a:lnTo>
                    <a:lnTo>
                      <a:pt x="106" y="133"/>
                    </a:lnTo>
                    <a:lnTo>
                      <a:pt x="103" y="127"/>
                    </a:lnTo>
                    <a:lnTo>
                      <a:pt x="102" y="126"/>
                    </a:lnTo>
                    <a:lnTo>
                      <a:pt x="103" y="124"/>
                    </a:lnTo>
                    <a:lnTo>
                      <a:pt x="103" y="124"/>
                    </a:lnTo>
                    <a:lnTo>
                      <a:pt x="107" y="120"/>
                    </a:lnTo>
                    <a:lnTo>
                      <a:pt x="115" y="116"/>
                    </a:lnTo>
                    <a:lnTo>
                      <a:pt x="122" y="110"/>
                    </a:lnTo>
                    <a:lnTo>
                      <a:pt x="129" y="10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49" name="Freeform 1104"/>
              <p:cNvSpPr>
                <a:spLocks/>
              </p:cNvSpPr>
              <p:nvPr/>
            </p:nvSpPr>
            <p:spPr bwMode="auto">
              <a:xfrm>
                <a:off x="4334578" y="2379321"/>
                <a:ext cx="203788" cy="210712"/>
              </a:xfrm>
              <a:custGeom>
                <a:avLst/>
                <a:gdLst>
                  <a:gd name="T0" fmla="*/ 200 w 206"/>
                  <a:gd name="T1" fmla="*/ 82 h 213"/>
                  <a:gd name="T2" fmla="*/ 206 w 206"/>
                  <a:gd name="T3" fmla="*/ 61 h 213"/>
                  <a:gd name="T4" fmla="*/ 202 w 206"/>
                  <a:gd name="T5" fmla="*/ 56 h 213"/>
                  <a:gd name="T6" fmla="*/ 187 w 206"/>
                  <a:gd name="T7" fmla="*/ 51 h 213"/>
                  <a:gd name="T8" fmla="*/ 170 w 206"/>
                  <a:gd name="T9" fmla="*/ 46 h 213"/>
                  <a:gd name="T10" fmla="*/ 154 w 206"/>
                  <a:gd name="T11" fmla="*/ 43 h 213"/>
                  <a:gd name="T12" fmla="*/ 134 w 206"/>
                  <a:gd name="T13" fmla="*/ 26 h 213"/>
                  <a:gd name="T14" fmla="*/ 106 w 206"/>
                  <a:gd name="T15" fmla="*/ 1 h 213"/>
                  <a:gd name="T16" fmla="*/ 102 w 206"/>
                  <a:gd name="T17" fmla="*/ 10 h 213"/>
                  <a:gd name="T18" fmla="*/ 102 w 206"/>
                  <a:gd name="T19" fmla="*/ 23 h 213"/>
                  <a:gd name="T20" fmla="*/ 94 w 206"/>
                  <a:gd name="T21" fmla="*/ 35 h 213"/>
                  <a:gd name="T22" fmla="*/ 86 w 206"/>
                  <a:gd name="T23" fmla="*/ 38 h 213"/>
                  <a:gd name="T24" fmla="*/ 80 w 206"/>
                  <a:gd name="T25" fmla="*/ 42 h 213"/>
                  <a:gd name="T26" fmla="*/ 73 w 206"/>
                  <a:gd name="T27" fmla="*/ 52 h 213"/>
                  <a:gd name="T28" fmla="*/ 64 w 206"/>
                  <a:gd name="T29" fmla="*/ 52 h 213"/>
                  <a:gd name="T30" fmla="*/ 52 w 206"/>
                  <a:gd name="T31" fmla="*/ 46 h 213"/>
                  <a:gd name="T32" fmla="*/ 48 w 206"/>
                  <a:gd name="T33" fmla="*/ 49 h 213"/>
                  <a:gd name="T34" fmla="*/ 54 w 206"/>
                  <a:gd name="T35" fmla="*/ 65 h 213"/>
                  <a:gd name="T36" fmla="*/ 42 w 206"/>
                  <a:gd name="T37" fmla="*/ 71 h 213"/>
                  <a:gd name="T38" fmla="*/ 31 w 206"/>
                  <a:gd name="T39" fmla="*/ 68 h 213"/>
                  <a:gd name="T40" fmla="*/ 19 w 206"/>
                  <a:gd name="T41" fmla="*/ 65 h 213"/>
                  <a:gd name="T42" fmla="*/ 3 w 206"/>
                  <a:gd name="T43" fmla="*/ 68 h 213"/>
                  <a:gd name="T44" fmla="*/ 0 w 206"/>
                  <a:gd name="T45" fmla="*/ 71 h 213"/>
                  <a:gd name="T46" fmla="*/ 5 w 206"/>
                  <a:gd name="T47" fmla="*/ 84 h 213"/>
                  <a:gd name="T48" fmla="*/ 10 w 206"/>
                  <a:gd name="T49" fmla="*/ 90 h 213"/>
                  <a:gd name="T50" fmla="*/ 39 w 206"/>
                  <a:gd name="T51" fmla="*/ 101 h 213"/>
                  <a:gd name="T52" fmla="*/ 42 w 206"/>
                  <a:gd name="T53" fmla="*/ 108 h 213"/>
                  <a:gd name="T54" fmla="*/ 45 w 206"/>
                  <a:gd name="T55" fmla="*/ 116 h 213"/>
                  <a:gd name="T56" fmla="*/ 58 w 206"/>
                  <a:gd name="T57" fmla="*/ 140 h 213"/>
                  <a:gd name="T58" fmla="*/ 58 w 206"/>
                  <a:gd name="T59" fmla="*/ 161 h 213"/>
                  <a:gd name="T60" fmla="*/ 55 w 206"/>
                  <a:gd name="T61" fmla="*/ 172 h 213"/>
                  <a:gd name="T62" fmla="*/ 51 w 206"/>
                  <a:gd name="T63" fmla="*/ 188 h 213"/>
                  <a:gd name="T64" fmla="*/ 60 w 206"/>
                  <a:gd name="T65" fmla="*/ 195 h 213"/>
                  <a:gd name="T66" fmla="*/ 83 w 206"/>
                  <a:gd name="T67" fmla="*/ 204 h 213"/>
                  <a:gd name="T68" fmla="*/ 99 w 206"/>
                  <a:gd name="T69" fmla="*/ 206 h 213"/>
                  <a:gd name="T70" fmla="*/ 105 w 206"/>
                  <a:gd name="T71" fmla="*/ 210 h 213"/>
                  <a:gd name="T72" fmla="*/ 113 w 206"/>
                  <a:gd name="T73" fmla="*/ 213 h 213"/>
                  <a:gd name="T74" fmla="*/ 125 w 206"/>
                  <a:gd name="T75" fmla="*/ 207 h 213"/>
                  <a:gd name="T76" fmla="*/ 134 w 206"/>
                  <a:gd name="T77" fmla="*/ 195 h 213"/>
                  <a:gd name="T78" fmla="*/ 145 w 206"/>
                  <a:gd name="T79" fmla="*/ 187 h 213"/>
                  <a:gd name="T80" fmla="*/ 160 w 206"/>
                  <a:gd name="T81" fmla="*/ 190 h 213"/>
                  <a:gd name="T82" fmla="*/ 176 w 206"/>
                  <a:gd name="T83" fmla="*/ 194 h 213"/>
                  <a:gd name="T84" fmla="*/ 181 w 206"/>
                  <a:gd name="T85" fmla="*/ 187 h 213"/>
                  <a:gd name="T86" fmla="*/ 183 w 206"/>
                  <a:gd name="T87" fmla="*/ 182 h 213"/>
                  <a:gd name="T88" fmla="*/ 190 w 206"/>
                  <a:gd name="T89" fmla="*/ 188 h 213"/>
                  <a:gd name="T90" fmla="*/ 194 w 206"/>
                  <a:gd name="T91" fmla="*/ 184 h 213"/>
                  <a:gd name="T92" fmla="*/ 189 w 206"/>
                  <a:gd name="T93" fmla="*/ 165 h 213"/>
                  <a:gd name="T94" fmla="*/ 181 w 206"/>
                  <a:gd name="T95" fmla="*/ 152 h 213"/>
                  <a:gd name="T96" fmla="*/ 187 w 206"/>
                  <a:gd name="T97" fmla="*/ 145 h 213"/>
                  <a:gd name="T98" fmla="*/ 190 w 206"/>
                  <a:gd name="T99" fmla="*/ 140 h 213"/>
                  <a:gd name="T100" fmla="*/ 186 w 206"/>
                  <a:gd name="T101" fmla="*/ 124 h 213"/>
                  <a:gd name="T102" fmla="*/ 176 w 206"/>
                  <a:gd name="T103" fmla="*/ 119 h 213"/>
                  <a:gd name="T104" fmla="*/ 189 w 206"/>
                  <a:gd name="T105" fmla="*/ 104 h 213"/>
                  <a:gd name="T106" fmla="*/ 199 w 206"/>
                  <a:gd name="T107" fmla="*/ 88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6" h="213">
                    <a:moveTo>
                      <a:pt x="199" y="88"/>
                    </a:moveTo>
                    <a:lnTo>
                      <a:pt x="199" y="88"/>
                    </a:lnTo>
                    <a:lnTo>
                      <a:pt x="200" y="82"/>
                    </a:lnTo>
                    <a:lnTo>
                      <a:pt x="203" y="72"/>
                    </a:lnTo>
                    <a:lnTo>
                      <a:pt x="206" y="64"/>
                    </a:lnTo>
                    <a:lnTo>
                      <a:pt x="206" y="61"/>
                    </a:lnTo>
                    <a:lnTo>
                      <a:pt x="206" y="58"/>
                    </a:lnTo>
                    <a:lnTo>
                      <a:pt x="206" y="58"/>
                    </a:lnTo>
                    <a:lnTo>
                      <a:pt x="202" y="56"/>
                    </a:lnTo>
                    <a:lnTo>
                      <a:pt x="197" y="55"/>
                    </a:lnTo>
                    <a:lnTo>
                      <a:pt x="187" y="51"/>
                    </a:lnTo>
                    <a:lnTo>
                      <a:pt x="187" y="51"/>
                    </a:lnTo>
                    <a:lnTo>
                      <a:pt x="184" y="49"/>
                    </a:lnTo>
                    <a:lnTo>
                      <a:pt x="181" y="49"/>
                    </a:lnTo>
                    <a:lnTo>
                      <a:pt x="170" y="46"/>
                    </a:lnTo>
                    <a:lnTo>
                      <a:pt x="170" y="46"/>
                    </a:lnTo>
                    <a:lnTo>
                      <a:pt x="161" y="46"/>
                    </a:lnTo>
                    <a:lnTo>
                      <a:pt x="154" y="43"/>
                    </a:lnTo>
                    <a:lnTo>
                      <a:pt x="154" y="43"/>
                    </a:lnTo>
                    <a:lnTo>
                      <a:pt x="145" y="36"/>
                    </a:lnTo>
                    <a:lnTo>
                      <a:pt x="134" y="26"/>
                    </a:lnTo>
                    <a:lnTo>
                      <a:pt x="110" y="0"/>
                    </a:lnTo>
                    <a:lnTo>
                      <a:pt x="110" y="0"/>
                    </a:lnTo>
                    <a:lnTo>
                      <a:pt x="106" y="1"/>
                    </a:lnTo>
                    <a:lnTo>
                      <a:pt x="103" y="6"/>
                    </a:lnTo>
                    <a:lnTo>
                      <a:pt x="103" y="6"/>
                    </a:lnTo>
                    <a:lnTo>
                      <a:pt x="102" y="10"/>
                    </a:lnTo>
                    <a:lnTo>
                      <a:pt x="102" y="16"/>
                    </a:lnTo>
                    <a:lnTo>
                      <a:pt x="102" y="23"/>
                    </a:lnTo>
                    <a:lnTo>
                      <a:pt x="102" y="23"/>
                    </a:lnTo>
                    <a:lnTo>
                      <a:pt x="99" y="29"/>
                    </a:lnTo>
                    <a:lnTo>
                      <a:pt x="94" y="35"/>
                    </a:lnTo>
                    <a:lnTo>
                      <a:pt x="94" y="35"/>
                    </a:lnTo>
                    <a:lnTo>
                      <a:pt x="92" y="36"/>
                    </a:lnTo>
                    <a:lnTo>
                      <a:pt x="89" y="36"/>
                    </a:lnTo>
                    <a:lnTo>
                      <a:pt x="86" y="38"/>
                    </a:lnTo>
                    <a:lnTo>
                      <a:pt x="81" y="39"/>
                    </a:lnTo>
                    <a:lnTo>
                      <a:pt x="81" y="39"/>
                    </a:lnTo>
                    <a:lnTo>
                      <a:pt x="80" y="42"/>
                    </a:lnTo>
                    <a:lnTo>
                      <a:pt x="79" y="45"/>
                    </a:lnTo>
                    <a:lnTo>
                      <a:pt x="76" y="49"/>
                    </a:lnTo>
                    <a:lnTo>
                      <a:pt x="73" y="52"/>
                    </a:lnTo>
                    <a:lnTo>
                      <a:pt x="73" y="52"/>
                    </a:lnTo>
                    <a:lnTo>
                      <a:pt x="68" y="53"/>
                    </a:lnTo>
                    <a:lnTo>
                      <a:pt x="64" y="52"/>
                    </a:lnTo>
                    <a:lnTo>
                      <a:pt x="55" y="48"/>
                    </a:lnTo>
                    <a:lnTo>
                      <a:pt x="55" y="48"/>
                    </a:lnTo>
                    <a:lnTo>
                      <a:pt x="52" y="46"/>
                    </a:lnTo>
                    <a:lnTo>
                      <a:pt x="50" y="46"/>
                    </a:lnTo>
                    <a:lnTo>
                      <a:pt x="48" y="46"/>
                    </a:lnTo>
                    <a:lnTo>
                      <a:pt x="48" y="49"/>
                    </a:lnTo>
                    <a:lnTo>
                      <a:pt x="48" y="49"/>
                    </a:lnTo>
                    <a:lnTo>
                      <a:pt x="54" y="65"/>
                    </a:lnTo>
                    <a:lnTo>
                      <a:pt x="54" y="65"/>
                    </a:lnTo>
                    <a:lnTo>
                      <a:pt x="52" y="66"/>
                    </a:lnTo>
                    <a:lnTo>
                      <a:pt x="51" y="69"/>
                    </a:lnTo>
                    <a:lnTo>
                      <a:pt x="42" y="71"/>
                    </a:lnTo>
                    <a:lnTo>
                      <a:pt x="42" y="71"/>
                    </a:lnTo>
                    <a:lnTo>
                      <a:pt x="37" y="71"/>
                    </a:lnTo>
                    <a:lnTo>
                      <a:pt x="31" y="68"/>
                    </a:lnTo>
                    <a:lnTo>
                      <a:pt x="31" y="68"/>
                    </a:lnTo>
                    <a:lnTo>
                      <a:pt x="23" y="66"/>
                    </a:lnTo>
                    <a:lnTo>
                      <a:pt x="19" y="65"/>
                    </a:lnTo>
                    <a:lnTo>
                      <a:pt x="15" y="65"/>
                    </a:lnTo>
                    <a:lnTo>
                      <a:pt x="15" y="65"/>
                    </a:lnTo>
                    <a:lnTo>
                      <a:pt x="3" y="68"/>
                    </a:lnTo>
                    <a:lnTo>
                      <a:pt x="0" y="69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2" y="72"/>
                    </a:lnTo>
                    <a:lnTo>
                      <a:pt x="2" y="77"/>
                    </a:lnTo>
                    <a:lnTo>
                      <a:pt x="5" y="84"/>
                    </a:lnTo>
                    <a:lnTo>
                      <a:pt x="5" y="84"/>
                    </a:lnTo>
                    <a:lnTo>
                      <a:pt x="6" y="87"/>
                    </a:lnTo>
                    <a:lnTo>
                      <a:pt x="10" y="90"/>
                    </a:lnTo>
                    <a:lnTo>
                      <a:pt x="21" y="94"/>
                    </a:lnTo>
                    <a:lnTo>
                      <a:pt x="39" y="101"/>
                    </a:lnTo>
                    <a:lnTo>
                      <a:pt x="39" y="101"/>
                    </a:lnTo>
                    <a:lnTo>
                      <a:pt x="42" y="103"/>
                    </a:lnTo>
                    <a:lnTo>
                      <a:pt x="42" y="106"/>
                    </a:lnTo>
                    <a:lnTo>
                      <a:pt x="42" y="108"/>
                    </a:lnTo>
                    <a:lnTo>
                      <a:pt x="44" y="113"/>
                    </a:lnTo>
                    <a:lnTo>
                      <a:pt x="44" y="113"/>
                    </a:lnTo>
                    <a:lnTo>
                      <a:pt x="45" y="116"/>
                    </a:lnTo>
                    <a:lnTo>
                      <a:pt x="50" y="120"/>
                    </a:lnTo>
                    <a:lnTo>
                      <a:pt x="55" y="129"/>
                    </a:lnTo>
                    <a:lnTo>
                      <a:pt x="58" y="140"/>
                    </a:lnTo>
                    <a:lnTo>
                      <a:pt x="58" y="140"/>
                    </a:lnTo>
                    <a:lnTo>
                      <a:pt x="60" y="153"/>
                    </a:lnTo>
                    <a:lnTo>
                      <a:pt x="58" y="161"/>
                    </a:lnTo>
                    <a:lnTo>
                      <a:pt x="57" y="166"/>
                    </a:lnTo>
                    <a:lnTo>
                      <a:pt x="55" y="172"/>
                    </a:lnTo>
                    <a:lnTo>
                      <a:pt x="55" y="172"/>
                    </a:lnTo>
                    <a:lnTo>
                      <a:pt x="55" y="181"/>
                    </a:lnTo>
                    <a:lnTo>
                      <a:pt x="54" y="185"/>
                    </a:lnTo>
                    <a:lnTo>
                      <a:pt x="51" y="188"/>
                    </a:lnTo>
                    <a:lnTo>
                      <a:pt x="51" y="188"/>
                    </a:lnTo>
                    <a:lnTo>
                      <a:pt x="60" y="195"/>
                    </a:lnTo>
                    <a:lnTo>
                      <a:pt x="60" y="195"/>
                    </a:lnTo>
                    <a:lnTo>
                      <a:pt x="65" y="198"/>
                    </a:lnTo>
                    <a:lnTo>
                      <a:pt x="74" y="201"/>
                    </a:lnTo>
                    <a:lnTo>
                      <a:pt x="83" y="204"/>
                    </a:lnTo>
                    <a:lnTo>
                      <a:pt x="93" y="204"/>
                    </a:lnTo>
                    <a:lnTo>
                      <a:pt x="93" y="204"/>
                    </a:lnTo>
                    <a:lnTo>
                      <a:pt x="99" y="206"/>
                    </a:lnTo>
                    <a:lnTo>
                      <a:pt x="100" y="207"/>
                    </a:lnTo>
                    <a:lnTo>
                      <a:pt x="102" y="208"/>
                    </a:lnTo>
                    <a:lnTo>
                      <a:pt x="105" y="210"/>
                    </a:lnTo>
                    <a:lnTo>
                      <a:pt x="105" y="210"/>
                    </a:lnTo>
                    <a:lnTo>
                      <a:pt x="107" y="211"/>
                    </a:lnTo>
                    <a:lnTo>
                      <a:pt x="113" y="213"/>
                    </a:lnTo>
                    <a:lnTo>
                      <a:pt x="128" y="213"/>
                    </a:lnTo>
                    <a:lnTo>
                      <a:pt x="128" y="213"/>
                    </a:lnTo>
                    <a:lnTo>
                      <a:pt x="125" y="207"/>
                    </a:lnTo>
                    <a:lnTo>
                      <a:pt x="125" y="207"/>
                    </a:lnTo>
                    <a:lnTo>
                      <a:pt x="128" y="203"/>
                    </a:lnTo>
                    <a:lnTo>
                      <a:pt x="134" y="195"/>
                    </a:lnTo>
                    <a:lnTo>
                      <a:pt x="139" y="190"/>
                    </a:lnTo>
                    <a:lnTo>
                      <a:pt x="145" y="187"/>
                    </a:lnTo>
                    <a:lnTo>
                      <a:pt x="145" y="187"/>
                    </a:lnTo>
                    <a:lnTo>
                      <a:pt x="151" y="187"/>
                    </a:lnTo>
                    <a:lnTo>
                      <a:pt x="160" y="190"/>
                    </a:lnTo>
                    <a:lnTo>
                      <a:pt x="160" y="190"/>
                    </a:lnTo>
                    <a:lnTo>
                      <a:pt x="168" y="192"/>
                    </a:lnTo>
                    <a:lnTo>
                      <a:pt x="176" y="194"/>
                    </a:lnTo>
                    <a:lnTo>
                      <a:pt x="176" y="194"/>
                    </a:lnTo>
                    <a:lnTo>
                      <a:pt x="181" y="192"/>
                    </a:lnTo>
                    <a:lnTo>
                      <a:pt x="181" y="192"/>
                    </a:lnTo>
                    <a:lnTo>
                      <a:pt x="181" y="187"/>
                    </a:lnTo>
                    <a:lnTo>
                      <a:pt x="181" y="184"/>
                    </a:lnTo>
                    <a:lnTo>
                      <a:pt x="183" y="182"/>
                    </a:lnTo>
                    <a:lnTo>
                      <a:pt x="183" y="182"/>
                    </a:lnTo>
                    <a:lnTo>
                      <a:pt x="184" y="182"/>
                    </a:lnTo>
                    <a:lnTo>
                      <a:pt x="186" y="184"/>
                    </a:lnTo>
                    <a:lnTo>
                      <a:pt x="190" y="188"/>
                    </a:lnTo>
                    <a:lnTo>
                      <a:pt x="190" y="188"/>
                    </a:lnTo>
                    <a:lnTo>
                      <a:pt x="194" y="184"/>
                    </a:lnTo>
                    <a:lnTo>
                      <a:pt x="194" y="184"/>
                    </a:lnTo>
                    <a:lnTo>
                      <a:pt x="191" y="171"/>
                    </a:lnTo>
                    <a:lnTo>
                      <a:pt x="191" y="171"/>
                    </a:lnTo>
                    <a:lnTo>
                      <a:pt x="189" y="165"/>
                    </a:lnTo>
                    <a:lnTo>
                      <a:pt x="184" y="159"/>
                    </a:lnTo>
                    <a:lnTo>
                      <a:pt x="183" y="155"/>
                    </a:lnTo>
                    <a:lnTo>
                      <a:pt x="181" y="152"/>
                    </a:lnTo>
                    <a:lnTo>
                      <a:pt x="183" y="150"/>
                    </a:lnTo>
                    <a:lnTo>
                      <a:pt x="183" y="150"/>
                    </a:lnTo>
                    <a:lnTo>
                      <a:pt x="187" y="145"/>
                    </a:lnTo>
                    <a:lnTo>
                      <a:pt x="190" y="143"/>
                    </a:lnTo>
                    <a:lnTo>
                      <a:pt x="190" y="140"/>
                    </a:lnTo>
                    <a:lnTo>
                      <a:pt x="190" y="140"/>
                    </a:lnTo>
                    <a:lnTo>
                      <a:pt x="189" y="132"/>
                    </a:lnTo>
                    <a:lnTo>
                      <a:pt x="189" y="127"/>
                    </a:lnTo>
                    <a:lnTo>
                      <a:pt x="186" y="124"/>
                    </a:lnTo>
                    <a:lnTo>
                      <a:pt x="186" y="124"/>
                    </a:lnTo>
                    <a:lnTo>
                      <a:pt x="177" y="122"/>
                    </a:lnTo>
                    <a:lnTo>
                      <a:pt x="176" y="119"/>
                    </a:lnTo>
                    <a:lnTo>
                      <a:pt x="177" y="117"/>
                    </a:lnTo>
                    <a:lnTo>
                      <a:pt x="177" y="117"/>
                    </a:lnTo>
                    <a:lnTo>
                      <a:pt x="189" y="104"/>
                    </a:lnTo>
                    <a:lnTo>
                      <a:pt x="196" y="95"/>
                    </a:lnTo>
                    <a:lnTo>
                      <a:pt x="197" y="91"/>
                    </a:lnTo>
                    <a:lnTo>
                      <a:pt x="199" y="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50" name="Freeform 1105"/>
              <p:cNvSpPr>
                <a:spLocks/>
              </p:cNvSpPr>
              <p:nvPr/>
            </p:nvSpPr>
            <p:spPr bwMode="auto">
              <a:xfrm>
                <a:off x="4334578" y="2379321"/>
                <a:ext cx="203788" cy="210712"/>
              </a:xfrm>
              <a:custGeom>
                <a:avLst/>
                <a:gdLst>
                  <a:gd name="T0" fmla="*/ 200 w 206"/>
                  <a:gd name="T1" fmla="*/ 82 h 213"/>
                  <a:gd name="T2" fmla="*/ 206 w 206"/>
                  <a:gd name="T3" fmla="*/ 61 h 213"/>
                  <a:gd name="T4" fmla="*/ 202 w 206"/>
                  <a:gd name="T5" fmla="*/ 56 h 213"/>
                  <a:gd name="T6" fmla="*/ 187 w 206"/>
                  <a:gd name="T7" fmla="*/ 51 h 213"/>
                  <a:gd name="T8" fmla="*/ 170 w 206"/>
                  <a:gd name="T9" fmla="*/ 46 h 213"/>
                  <a:gd name="T10" fmla="*/ 154 w 206"/>
                  <a:gd name="T11" fmla="*/ 43 h 213"/>
                  <a:gd name="T12" fmla="*/ 134 w 206"/>
                  <a:gd name="T13" fmla="*/ 26 h 213"/>
                  <a:gd name="T14" fmla="*/ 106 w 206"/>
                  <a:gd name="T15" fmla="*/ 1 h 213"/>
                  <a:gd name="T16" fmla="*/ 102 w 206"/>
                  <a:gd name="T17" fmla="*/ 10 h 213"/>
                  <a:gd name="T18" fmla="*/ 102 w 206"/>
                  <a:gd name="T19" fmla="*/ 23 h 213"/>
                  <a:gd name="T20" fmla="*/ 94 w 206"/>
                  <a:gd name="T21" fmla="*/ 35 h 213"/>
                  <a:gd name="T22" fmla="*/ 86 w 206"/>
                  <a:gd name="T23" fmla="*/ 38 h 213"/>
                  <a:gd name="T24" fmla="*/ 80 w 206"/>
                  <a:gd name="T25" fmla="*/ 42 h 213"/>
                  <a:gd name="T26" fmla="*/ 73 w 206"/>
                  <a:gd name="T27" fmla="*/ 52 h 213"/>
                  <a:gd name="T28" fmla="*/ 64 w 206"/>
                  <a:gd name="T29" fmla="*/ 52 h 213"/>
                  <a:gd name="T30" fmla="*/ 52 w 206"/>
                  <a:gd name="T31" fmla="*/ 46 h 213"/>
                  <a:gd name="T32" fmla="*/ 48 w 206"/>
                  <a:gd name="T33" fmla="*/ 49 h 213"/>
                  <a:gd name="T34" fmla="*/ 54 w 206"/>
                  <a:gd name="T35" fmla="*/ 65 h 213"/>
                  <a:gd name="T36" fmla="*/ 42 w 206"/>
                  <a:gd name="T37" fmla="*/ 71 h 213"/>
                  <a:gd name="T38" fmla="*/ 31 w 206"/>
                  <a:gd name="T39" fmla="*/ 68 h 213"/>
                  <a:gd name="T40" fmla="*/ 19 w 206"/>
                  <a:gd name="T41" fmla="*/ 65 h 213"/>
                  <a:gd name="T42" fmla="*/ 3 w 206"/>
                  <a:gd name="T43" fmla="*/ 68 h 213"/>
                  <a:gd name="T44" fmla="*/ 0 w 206"/>
                  <a:gd name="T45" fmla="*/ 71 h 213"/>
                  <a:gd name="T46" fmla="*/ 5 w 206"/>
                  <a:gd name="T47" fmla="*/ 84 h 213"/>
                  <a:gd name="T48" fmla="*/ 10 w 206"/>
                  <a:gd name="T49" fmla="*/ 90 h 213"/>
                  <a:gd name="T50" fmla="*/ 39 w 206"/>
                  <a:gd name="T51" fmla="*/ 101 h 213"/>
                  <a:gd name="T52" fmla="*/ 42 w 206"/>
                  <a:gd name="T53" fmla="*/ 108 h 213"/>
                  <a:gd name="T54" fmla="*/ 45 w 206"/>
                  <a:gd name="T55" fmla="*/ 116 h 213"/>
                  <a:gd name="T56" fmla="*/ 58 w 206"/>
                  <a:gd name="T57" fmla="*/ 140 h 213"/>
                  <a:gd name="T58" fmla="*/ 58 w 206"/>
                  <a:gd name="T59" fmla="*/ 161 h 213"/>
                  <a:gd name="T60" fmla="*/ 55 w 206"/>
                  <a:gd name="T61" fmla="*/ 172 h 213"/>
                  <a:gd name="T62" fmla="*/ 51 w 206"/>
                  <a:gd name="T63" fmla="*/ 188 h 213"/>
                  <a:gd name="T64" fmla="*/ 60 w 206"/>
                  <a:gd name="T65" fmla="*/ 195 h 213"/>
                  <a:gd name="T66" fmla="*/ 83 w 206"/>
                  <a:gd name="T67" fmla="*/ 204 h 213"/>
                  <a:gd name="T68" fmla="*/ 99 w 206"/>
                  <a:gd name="T69" fmla="*/ 206 h 213"/>
                  <a:gd name="T70" fmla="*/ 105 w 206"/>
                  <a:gd name="T71" fmla="*/ 210 h 213"/>
                  <a:gd name="T72" fmla="*/ 113 w 206"/>
                  <a:gd name="T73" fmla="*/ 213 h 213"/>
                  <a:gd name="T74" fmla="*/ 125 w 206"/>
                  <a:gd name="T75" fmla="*/ 207 h 213"/>
                  <a:gd name="T76" fmla="*/ 134 w 206"/>
                  <a:gd name="T77" fmla="*/ 195 h 213"/>
                  <a:gd name="T78" fmla="*/ 145 w 206"/>
                  <a:gd name="T79" fmla="*/ 187 h 213"/>
                  <a:gd name="T80" fmla="*/ 160 w 206"/>
                  <a:gd name="T81" fmla="*/ 190 h 213"/>
                  <a:gd name="T82" fmla="*/ 176 w 206"/>
                  <a:gd name="T83" fmla="*/ 194 h 213"/>
                  <a:gd name="T84" fmla="*/ 181 w 206"/>
                  <a:gd name="T85" fmla="*/ 187 h 213"/>
                  <a:gd name="T86" fmla="*/ 183 w 206"/>
                  <a:gd name="T87" fmla="*/ 182 h 213"/>
                  <a:gd name="T88" fmla="*/ 190 w 206"/>
                  <a:gd name="T89" fmla="*/ 188 h 213"/>
                  <a:gd name="T90" fmla="*/ 194 w 206"/>
                  <a:gd name="T91" fmla="*/ 184 h 213"/>
                  <a:gd name="T92" fmla="*/ 189 w 206"/>
                  <a:gd name="T93" fmla="*/ 165 h 213"/>
                  <a:gd name="T94" fmla="*/ 181 w 206"/>
                  <a:gd name="T95" fmla="*/ 152 h 213"/>
                  <a:gd name="T96" fmla="*/ 187 w 206"/>
                  <a:gd name="T97" fmla="*/ 145 h 213"/>
                  <a:gd name="T98" fmla="*/ 190 w 206"/>
                  <a:gd name="T99" fmla="*/ 140 h 213"/>
                  <a:gd name="T100" fmla="*/ 186 w 206"/>
                  <a:gd name="T101" fmla="*/ 124 h 213"/>
                  <a:gd name="T102" fmla="*/ 176 w 206"/>
                  <a:gd name="T103" fmla="*/ 119 h 213"/>
                  <a:gd name="T104" fmla="*/ 189 w 206"/>
                  <a:gd name="T105" fmla="*/ 104 h 213"/>
                  <a:gd name="T106" fmla="*/ 199 w 206"/>
                  <a:gd name="T107" fmla="*/ 88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6" h="213">
                    <a:moveTo>
                      <a:pt x="199" y="88"/>
                    </a:moveTo>
                    <a:lnTo>
                      <a:pt x="199" y="88"/>
                    </a:lnTo>
                    <a:lnTo>
                      <a:pt x="200" y="82"/>
                    </a:lnTo>
                    <a:lnTo>
                      <a:pt x="203" y="72"/>
                    </a:lnTo>
                    <a:lnTo>
                      <a:pt x="206" y="64"/>
                    </a:lnTo>
                    <a:lnTo>
                      <a:pt x="206" y="61"/>
                    </a:lnTo>
                    <a:lnTo>
                      <a:pt x="206" y="58"/>
                    </a:lnTo>
                    <a:lnTo>
                      <a:pt x="206" y="58"/>
                    </a:lnTo>
                    <a:lnTo>
                      <a:pt x="202" y="56"/>
                    </a:lnTo>
                    <a:lnTo>
                      <a:pt x="197" y="55"/>
                    </a:lnTo>
                    <a:lnTo>
                      <a:pt x="187" y="51"/>
                    </a:lnTo>
                    <a:lnTo>
                      <a:pt x="187" y="51"/>
                    </a:lnTo>
                    <a:lnTo>
                      <a:pt x="184" y="49"/>
                    </a:lnTo>
                    <a:lnTo>
                      <a:pt x="181" y="49"/>
                    </a:lnTo>
                    <a:lnTo>
                      <a:pt x="170" y="46"/>
                    </a:lnTo>
                    <a:lnTo>
                      <a:pt x="170" y="46"/>
                    </a:lnTo>
                    <a:lnTo>
                      <a:pt x="161" y="46"/>
                    </a:lnTo>
                    <a:lnTo>
                      <a:pt x="154" y="43"/>
                    </a:lnTo>
                    <a:lnTo>
                      <a:pt x="154" y="43"/>
                    </a:lnTo>
                    <a:lnTo>
                      <a:pt x="145" y="36"/>
                    </a:lnTo>
                    <a:lnTo>
                      <a:pt x="134" y="26"/>
                    </a:lnTo>
                    <a:lnTo>
                      <a:pt x="110" y="0"/>
                    </a:lnTo>
                    <a:lnTo>
                      <a:pt x="110" y="0"/>
                    </a:lnTo>
                    <a:lnTo>
                      <a:pt x="106" y="1"/>
                    </a:lnTo>
                    <a:lnTo>
                      <a:pt x="103" y="6"/>
                    </a:lnTo>
                    <a:lnTo>
                      <a:pt x="103" y="6"/>
                    </a:lnTo>
                    <a:lnTo>
                      <a:pt x="102" y="10"/>
                    </a:lnTo>
                    <a:lnTo>
                      <a:pt x="102" y="16"/>
                    </a:lnTo>
                    <a:lnTo>
                      <a:pt x="102" y="23"/>
                    </a:lnTo>
                    <a:lnTo>
                      <a:pt x="102" y="23"/>
                    </a:lnTo>
                    <a:lnTo>
                      <a:pt x="99" y="29"/>
                    </a:lnTo>
                    <a:lnTo>
                      <a:pt x="94" y="35"/>
                    </a:lnTo>
                    <a:lnTo>
                      <a:pt x="94" y="35"/>
                    </a:lnTo>
                    <a:lnTo>
                      <a:pt x="92" y="36"/>
                    </a:lnTo>
                    <a:lnTo>
                      <a:pt x="89" y="36"/>
                    </a:lnTo>
                    <a:lnTo>
                      <a:pt x="86" y="38"/>
                    </a:lnTo>
                    <a:lnTo>
                      <a:pt x="81" y="39"/>
                    </a:lnTo>
                    <a:lnTo>
                      <a:pt x="81" y="39"/>
                    </a:lnTo>
                    <a:lnTo>
                      <a:pt x="80" y="42"/>
                    </a:lnTo>
                    <a:lnTo>
                      <a:pt x="79" y="45"/>
                    </a:lnTo>
                    <a:lnTo>
                      <a:pt x="76" y="49"/>
                    </a:lnTo>
                    <a:lnTo>
                      <a:pt x="73" y="52"/>
                    </a:lnTo>
                    <a:lnTo>
                      <a:pt x="73" y="52"/>
                    </a:lnTo>
                    <a:lnTo>
                      <a:pt x="68" y="53"/>
                    </a:lnTo>
                    <a:lnTo>
                      <a:pt x="64" y="52"/>
                    </a:lnTo>
                    <a:lnTo>
                      <a:pt x="55" y="48"/>
                    </a:lnTo>
                    <a:lnTo>
                      <a:pt x="55" y="48"/>
                    </a:lnTo>
                    <a:lnTo>
                      <a:pt x="52" y="46"/>
                    </a:lnTo>
                    <a:lnTo>
                      <a:pt x="50" y="46"/>
                    </a:lnTo>
                    <a:lnTo>
                      <a:pt x="48" y="46"/>
                    </a:lnTo>
                    <a:lnTo>
                      <a:pt x="48" y="49"/>
                    </a:lnTo>
                    <a:lnTo>
                      <a:pt x="48" y="49"/>
                    </a:lnTo>
                    <a:lnTo>
                      <a:pt x="54" y="65"/>
                    </a:lnTo>
                    <a:lnTo>
                      <a:pt x="54" y="65"/>
                    </a:lnTo>
                    <a:lnTo>
                      <a:pt x="52" y="66"/>
                    </a:lnTo>
                    <a:lnTo>
                      <a:pt x="51" y="69"/>
                    </a:lnTo>
                    <a:lnTo>
                      <a:pt x="42" y="71"/>
                    </a:lnTo>
                    <a:lnTo>
                      <a:pt x="42" y="71"/>
                    </a:lnTo>
                    <a:lnTo>
                      <a:pt x="37" y="71"/>
                    </a:lnTo>
                    <a:lnTo>
                      <a:pt x="31" y="68"/>
                    </a:lnTo>
                    <a:lnTo>
                      <a:pt x="31" y="68"/>
                    </a:lnTo>
                    <a:lnTo>
                      <a:pt x="23" y="66"/>
                    </a:lnTo>
                    <a:lnTo>
                      <a:pt x="19" y="65"/>
                    </a:lnTo>
                    <a:lnTo>
                      <a:pt x="15" y="65"/>
                    </a:lnTo>
                    <a:lnTo>
                      <a:pt x="15" y="65"/>
                    </a:lnTo>
                    <a:lnTo>
                      <a:pt x="3" y="68"/>
                    </a:lnTo>
                    <a:lnTo>
                      <a:pt x="0" y="69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2" y="72"/>
                    </a:lnTo>
                    <a:lnTo>
                      <a:pt x="2" y="77"/>
                    </a:lnTo>
                    <a:lnTo>
                      <a:pt x="5" y="84"/>
                    </a:lnTo>
                    <a:lnTo>
                      <a:pt x="5" y="84"/>
                    </a:lnTo>
                    <a:lnTo>
                      <a:pt x="6" y="87"/>
                    </a:lnTo>
                    <a:lnTo>
                      <a:pt x="10" y="90"/>
                    </a:lnTo>
                    <a:lnTo>
                      <a:pt x="21" y="94"/>
                    </a:lnTo>
                    <a:lnTo>
                      <a:pt x="39" y="101"/>
                    </a:lnTo>
                    <a:lnTo>
                      <a:pt x="39" y="101"/>
                    </a:lnTo>
                    <a:lnTo>
                      <a:pt x="42" y="103"/>
                    </a:lnTo>
                    <a:lnTo>
                      <a:pt x="42" y="106"/>
                    </a:lnTo>
                    <a:lnTo>
                      <a:pt x="42" y="108"/>
                    </a:lnTo>
                    <a:lnTo>
                      <a:pt x="44" y="113"/>
                    </a:lnTo>
                    <a:lnTo>
                      <a:pt x="44" y="113"/>
                    </a:lnTo>
                    <a:lnTo>
                      <a:pt x="45" y="116"/>
                    </a:lnTo>
                    <a:lnTo>
                      <a:pt x="50" y="120"/>
                    </a:lnTo>
                    <a:lnTo>
                      <a:pt x="55" y="129"/>
                    </a:lnTo>
                    <a:lnTo>
                      <a:pt x="58" y="140"/>
                    </a:lnTo>
                    <a:lnTo>
                      <a:pt x="58" y="140"/>
                    </a:lnTo>
                    <a:lnTo>
                      <a:pt x="60" y="153"/>
                    </a:lnTo>
                    <a:lnTo>
                      <a:pt x="58" y="161"/>
                    </a:lnTo>
                    <a:lnTo>
                      <a:pt x="57" y="166"/>
                    </a:lnTo>
                    <a:lnTo>
                      <a:pt x="55" y="172"/>
                    </a:lnTo>
                    <a:lnTo>
                      <a:pt x="55" y="172"/>
                    </a:lnTo>
                    <a:lnTo>
                      <a:pt x="55" y="181"/>
                    </a:lnTo>
                    <a:lnTo>
                      <a:pt x="54" y="185"/>
                    </a:lnTo>
                    <a:lnTo>
                      <a:pt x="51" y="188"/>
                    </a:lnTo>
                    <a:lnTo>
                      <a:pt x="51" y="188"/>
                    </a:lnTo>
                    <a:lnTo>
                      <a:pt x="60" y="195"/>
                    </a:lnTo>
                    <a:lnTo>
                      <a:pt x="60" y="195"/>
                    </a:lnTo>
                    <a:lnTo>
                      <a:pt x="65" y="198"/>
                    </a:lnTo>
                    <a:lnTo>
                      <a:pt x="74" y="201"/>
                    </a:lnTo>
                    <a:lnTo>
                      <a:pt x="83" y="204"/>
                    </a:lnTo>
                    <a:lnTo>
                      <a:pt x="93" y="204"/>
                    </a:lnTo>
                    <a:lnTo>
                      <a:pt x="93" y="204"/>
                    </a:lnTo>
                    <a:lnTo>
                      <a:pt x="99" y="206"/>
                    </a:lnTo>
                    <a:lnTo>
                      <a:pt x="100" y="207"/>
                    </a:lnTo>
                    <a:lnTo>
                      <a:pt x="102" y="208"/>
                    </a:lnTo>
                    <a:lnTo>
                      <a:pt x="105" y="210"/>
                    </a:lnTo>
                    <a:lnTo>
                      <a:pt x="105" y="210"/>
                    </a:lnTo>
                    <a:lnTo>
                      <a:pt x="107" y="211"/>
                    </a:lnTo>
                    <a:lnTo>
                      <a:pt x="113" y="213"/>
                    </a:lnTo>
                    <a:lnTo>
                      <a:pt x="128" y="213"/>
                    </a:lnTo>
                    <a:lnTo>
                      <a:pt x="128" y="213"/>
                    </a:lnTo>
                    <a:lnTo>
                      <a:pt x="125" y="207"/>
                    </a:lnTo>
                    <a:lnTo>
                      <a:pt x="125" y="207"/>
                    </a:lnTo>
                    <a:lnTo>
                      <a:pt x="128" y="203"/>
                    </a:lnTo>
                    <a:lnTo>
                      <a:pt x="134" y="195"/>
                    </a:lnTo>
                    <a:lnTo>
                      <a:pt x="139" y="190"/>
                    </a:lnTo>
                    <a:lnTo>
                      <a:pt x="145" y="187"/>
                    </a:lnTo>
                    <a:lnTo>
                      <a:pt x="145" y="187"/>
                    </a:lnTo>
                    <a:lnTo>
                      <a:pt x="151" y="187"/>
                    </a:lnTo>
                    <a:lnTo>
                      <a:pt x="160" y="190"/>
                    </a:lnTo>
                    <a:lnTo>
                      <a:pt x="160" y="190"/>
                    </a:lnTo>
                    <a:lnTo>
                      <a:pt x="168" y="192"/>
                    </a:lnTo>
                    <a:lnTo>
                      <a:pt x="176" y="194"/>
                    </a:lnTo>
                    <a:lnTo>
                      <a:pt x="176" y="194"/>
                    </a:lnTo>
                    <a:lnTo>
                      <a:pt x="181" y="192"/>
                    </a:lnTo>
                    <a:lnTo>
                      <a:pt x="181" y="192"/>
                    </a:lnTo>
                    <a:lnTo>
                      <a:pt x="181" y="187"/>
                    </a:lnTo>
                    <a:lnTo>
                      <a:pt x="181" y="184"/>
                    </a:lnTo>
                    <a:lnTo>
                      <a:pt x="183" y="182"/>
                    </a:lnTo>
                    <a:lnTo>
                      <a:pt x="183" y="182"/>
                    </a:lnTo>
                    <a:lnTo>
                      <a:pt x="184" y="182"/>
                    </a:lnTo>
                    <a:lnTo>
                      <a:pt x="186" y="184"/>
                    </a:lnTo>
                    <a:lnTo>
                      <a:pt x="190" y="188"/>
                    </a:lnTo>
                    <a:lnTo>
                      <a:pt x="190" y="188"/>
                    </a:lnTo>
                    <a:lnTo>
                      <a:pt x="194" y="184"/>
                    </a:lnTo>
                    <a:lnTo>
                      <a:pt x="194" y="184"/>
                    </a:lnTo>
                    <a:lnTo>
                      <a:pt x="191" y="171"/>
                    </a:lnTo>
                    <a:lnTo>
                      <a:pt x="191" y="171"/>
                    </a:lnTo>
                    <a:lnTo>
                      <a:pt x="189" y="165"/>
                    </a:lnTo>
                    <a:lnTo>
                      <a:pt x="184" y="159"/>
                    </a:lnTo>
                    <a:lnTo>
                      <a:pt x="183" y="155"/>
                    </a:lnTo>
                    <a:lnTo>
                      <a:pt x="181" y="152"/>
                    </a:lnTo>
                    <a:lnTo>
                      <a:pt x="183" y="150"/>
                    </a:lnTo>
                    <a:lnTo>
                      <a:pt x="183" y="150"/>
                    </a:lnTo>
                    <a:lnTo>
                      <a:pt x="187" y="145"/>
                    </a:lnTo>
                    <a:lnTo>
                      <a:pt x="190" y="143"/>
                    </a:lnTo>
                    <a:lnTo>
                      <a:pt x="190" y="140"/>
                    </a:lnTo>
                    <a:lnTo>
                      <a:pt x="190" y="140"/>
                    </a:lnTo>
                    <a:lnTo>
                      <a:pt x="189" y="132"/>
                    </a:lnTo>
                    <a:lnTo>
                      <a:pt x="189" y="127"/>
                    </a:lnTo>
                    <a:lnTo>
                      <a:pt x="186" y="124"/>
                    </a:lnTo>
                    <a:lnTo>
                      <a:pt x="186" y="124"/>
                    </a:lnTo>
                    <a:lnTo>
                      <a:pt x="177" y="122"/>
                    </a:lnTo>
                    <a:lnTo>
                      <a:pt x="176" y="119"/>
                    </a:lnTo>
                    <a:lnTo>
                      <a:pt x="177" y="117"/>
                    </a:lnTo>
                    <a:lnTo>
                      <a:pt x="177" y="117"/>
                    </a:lnTo>
                    <a:lnTo>
                      <a:pt x="189" y="104"/>
                    </a:lnTo>
                    <a:lnTo>
                      <a:pt x="196" y="95"/>
                    </a:lnTo>
                    <a:lnTo>
                      <a:pt x="197" y="91"/>
                    </a:lnTo>
                    <a:lnTo>
                      <a:pt x="199" y="8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92" name="Freeform 1147"/>
              <p:cNvSpPr>
                <a:spLocks/>
              </p:cNvSpPr>
              <p:nvPr/>
            </p:nvSpPr>
            <p:spPr bwMode="auto">
              <a:xfrm>
                <a:off x="4781723" y="2149813"/>
                <a:ext cx="69248" cy="58366"/>
              </a:xfrm>
              <a:custGeom>
                <a:avLst/>
                <a:gdLst>
                  <a:gd name="T0" fmla="*/ 62 w 70"/>
                  <a:gd name="T1" fmla="*/ 38 h 59"/>
                  <a:gd name="T2" fmla="*/ 62 w 70"/>
                  <a:gd name="T3" fmla="*/ 38 h 59"/>
                  <a:gd name="T4" fmla="*/ 61 w 70"/>
                  <a:gd name="T5" fmla="*/ 35 h 59"/>
                  <a:gd name="T6" fmla="*/ 57 w 70"/>
                  <a:gd name="T7" fmla="*/ 29 h 59"/>
                  <a:gd name="T8" fmla="*/ 57 w 70"/>
                  <a:gd name="T9" fmla="*/ 29 h 59"/>
                  <a:gd name="T10" fmla="*/ 55 w 70"/>
                  <a:gd name="T11" fmla="*/ 26 h 59"/>
                  <a:gd name="T12" fmla="*/ 55 w 70"/>
                  <a:gd name="T13" fmla="*/ 22 h 59"/>
                  <a:gd name="T14" fmla="*/ 57 w 70"/>
                  <a:gd name="T15" fmla="*/ 19 h 59"/>
                  <a:gd name="T16" fmla="*/ 60 w 70"/>
                  <a:gd name="T17" fmla="*/ 17 h 59"/>
                  <a:gd name="T18" fmla="*/ 60 w 70"/>
                  <a:gd name="T19" fmla="*/ 17 h 59"/>
                  <a:gd name="T20" fmla="*/ 62 w 70"/>
                  <a:gd name="T21" fmla="*/ 17 h 59"/>
                  <a:gd name="T22" fmla="*/ 67 w 70"/>
                  <a:gd name="T23" fmla="*/ 19 h 59"/>
                  <a:gd name="T24" fmla="*/ 67 w 70"/>
                  <a:gd name="T25" fmla="*/ 19 h 59"/>
                  <a:gd name="T26" fmla="*/ 70 w 70"/>
                  <a:gd name="T27" fmla="*/ 2 h 59"/>
                  <a:gd name="T28" fmla="*/ 70 w 70"/>
                  <a:gd name="T29" fmla="*/ 2 h 59"/>
                  <a:gd name="T30" fmla="*/ 64 w 70"/>
                  <a:gd name="T31" fmla="*/ 2 h 59"/>
                  <a:gd name="T32" fmla="*/ 64 w 70"/>
                  <a:gd name="T33" fmla="*/ 2 h 59"/>
                  <a:gd name="T34" fmla="*/ 45 w 70"/>
                  <a:gd name="T35" fmla="*/ 2 h 59"/>
                  <a:gd name="T36" fmla="*/ 26 w 70"/>
                  <a:gd name="T37" fmla="*/ 0 h 59"/>
                  <a:gd name="T38" fmla="*/ 26 w 70"/>
                  <a:gd name="T39" fmla="*/ 0 h 59"/>
                  <a:gd name="T40" fmla="*/ 19 w 70"/>
                  <a:gd name="T41" fmla="*/ 2 h 59"/>
                  <a:gd name="T42" fmla="*/ 10 w 70"/>
                  <a:gd name="T43" fmla="*/ 6 h 59"/>
                  <a:gd name="T44" fmla="*/ 3 w 70"/>
                  <a:gd name="T45" fmla="*/ 10 h 59"/>
                  <a:gd name="T46" fmla="*/ 2 w 70"/>
                  <a:gd name="T47" fmla="*/ 13 h 59"/>
                  <a:gd name="T48" fmla="*/ 0 w 70"/>
                  <a:gd name="T49" fmla="*/ 16 h 59"/>
                  <a:gd name="T50" fmla="*/ 0 w 70"/>
                  <a:gd name="T51" fmla="*/ 16 h 59"/>
                  <a:gd name="T52" fmla="*/ 2 w 70"/>
                  <a:gd name="T53" fmla="*/ 22 h 59"/>
                  <a:gd name="T54" fmla="*/ 3 w 70"/>
                  <a:gd name="T55" fmla="*/ 28 h 59"/>
                  <a:gd name="T56" fmla="*/ 6 w 70"/>
                  <a:gd name="T57" fmla="*/ 32 h 59"/>
                  <a:gd name="T58" fmla="*/ 9 w 70"/>
                  <a:gd name="T59" fmla="*/ 36 h 59"/>
                  <a:gd name="T60" fmla="*/ 9 w 70"/>
                  <a:gd name="T61" fmla="*/ 36 h 59"/>
                  <a:gd name="T62" fmla="*/ 12 w 70"/>
                  <a:gd name="T63" fmla="*/ 39 h 59"/>
                  <a:gd name="T64" fmla="*/ 13 w 70"/>
                  <a:gd name="T65" fmla="*/ 42 h 59"/>
                  <a:gd name="T66" fmla="*/ 15 w 70"/>
                  <a:gd name="T67" fmla="*/ 52 h 59"/>
                  <a:gd name="T68" fmla="*/ 15 w 70"/>
                  <a:gd name="T69" fmla="*/ 52 h 59"/>
                  <a:gd name="T70" fmla="*/ 26 w 70"/>
                  <a:gd name="T71" fmla="*/ 51 h 59"/>
                  <a:gd name="T72" fmla="*/ 26 w 70"/>
                  <a:gd name="T73" fmla="*/ 51 h 59"/>
                  <a:gd name="T74" fmla="*/ 31 w 70"/>
                  <a:gd name="T75" fmla="*/ 51 h 59"/>
                  <a:gd name="T76" fmla="*/ 35 w 70"/>
                  <a:gd name="T77" fmla="*/ 52 h 59"/>
                  <a:gd name="T78" fmla="*/ 39 w 70"/>
                  <a:gd name="T79" fmla="*/ 55 h 59"/>
                  <a:gd name="T80" fmla="*/ 45 w 70"/>
                  <a:gd name="T81" fmla="*/ 58 h 59"/>
                  <a:gd name="T82" fmla="*/ 45 w 70"/>
                  <a:gd name="T83" fmla="*/ 58 h 59"/>
                  <a:gd name="T84" fmla="*/ 55 w 70"/>
                  <a:gd name="T85" fmla="*/ 59 h 59"/>
                  <a:gd name="T86" fmla="*/ 70 w 70"/>
                  <a:gd name="T87" fmla="*/ 59 h 59"/>
                  <a:gd name="T88" fmla="*/ 70 w 70"/>
                  <a:gd name="T89" fmla="*/ 59 h 59"/>
                  <a:gd name="T90" fmla="*/ 70 w 70"/>
                  <a:gd name="T91" fmla="*/ 59 h 59"/>
                  <a:gd name="T92" fmla="*/ 67 w 70"/>
                  <a:gd name="T93" fmla="*/ 36 h 59"/>
                  <a:gd name="T94" fmla="*/ 67 w 70"/>
                  <a:gd name="T95" fmla="*/ 36 h 59"/>
                  <a:gd name="T96" fmla="*/ 64 w 70"/>
                  <a:gd name="T97" fmla="*/ 38 h 59"/>
                  <a:gd name="T98" fmla="*/ 62 w 70"/>
                  <a:gd name="T99" fmla="*/ 38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0" h="59">
                    <a:moveTo>
                      <a:pt x="62" y="38"/>
                    </a:moveTo>
                    <a:lnTo>
                      <a:pt x="62" y="38"/>
                    </a:lnTo>
                    <a:lnTo>
                      <a:pt x="61" y="35"/>
                    </a:lnTo>
                    <a:lnTo>
                      <a:pt x="57" y="29"/>
                    </a:lnTo>
                    <a:lnTo>
                      <a:pt x="57" y="29"/>
                    </a:lnTo>
                    <a:lnTo>
                      <a:pt x="55" y="26"/>
                    </a:lnTo>
                    <a:lnTo>
                      <a:pt x="55" y="22"/>
                    </a:lnTo>
                    <a:lnTo>
                      <a:pt x="57" y="19"/>
                    </a:lnTo>
                    <a:lnTo>
                      <a:pt x="60" y="17"/>
                    </a:lnTo>
                    <a:lnTo>
                      <a:pt x="60" y="17"/>
                    </a:lnTo>
                    <a:lnTo>
                      <a:pt x="62" y="17"/>
                    </a:lnTo>
                    <a:lnTo>
                      <a:pt x="67" y="19"/>
                    </a:lnTo>
                    <a:lnTo>
                      <a:pt x="67" y="19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45" y="2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0" y="6"/>
                    </a:lnTo>
                    <a:lnTo>
                      <a:pt x="3" y="10"/>
                    </a:lnTo>
                    <a:lnTo>
                      <a:pt x="2" y="13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3" y="28"/>
                    </a:lnTo>
                    <a:lnTo>
                      <a:pt x="6" y="32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12" y="39"/>
                    </a:lnTo>
                    <a:lnTo>
                      <a:pt x="13" y="42"/>
                    </a:lnTo>
                    <a:lnTo>
                      <a:pt x="15" y="52"/>
                    </a:lnTo>
                    <a:lnTo>
                      <a:pt x="15" y="52"/>
                    </a:lnTo>
                    <a:lnTo>
                      <a:pt x="26" y="51"/>
                    </a:lnTo>
                    <a:lnTo>
                      <a:pt x="26" y="51"/>
                    </a:lnTo>
                    <a:lnTo>
                      <a:pt x="31" y="51"/>
                    </a:lnTo>
                    <a:lnTo>
                      <a:pt x="35" y="52"/>
                    </a:lnTo>
                    <a:lnTo>
                      <a:pt x="39" y="55"/>
                    </a:lnTo>
                    <a:lnTo>
                      <a:pt x="45" y="58"/>
                    </a:lnTo>
                    <a:lnTo>
                      <a:pt x="45" y="58"/>
                    </a:lnTo>
                    <a:lnTo>
                      <a:pt x="55" y="59"/>
                    </a:lnTo>
                    <a:lnTo>
                      <a:pt x="70" y="59"/>
                    </a:lnTo>
                    <a:lnTo>
                      <a:pt x="70" y="59"/>
                    </a:lnTo>
                    <a:lnTo>
                      <a:pt x="70" y="59"/>
                    </a:lnTo>
                    <a:lnTo>
                      <a:pt x="67" y="36"/>
                    </a:lnTo>
                    <a:lnTo>
                      <a:pt x="67" y="36"/>
                    </a:lnTo>
                    <a:lnTo>
                      <a:pt x="64" y="38"/>
                    </a:lnTo>
                    <a:lnTo>
                      <a:pt x="62" y="3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93" name="Freeform 1148"/>
              <p:cNvSpPr>
                <a:spLocks/>
              </p:cNvSpPr>
              <p:nvPr/>
            </p:nvSpPr>
            <p:spPr bwMode="auto">
              <a:xfrm>
                <a:off x="4781723" y="2149813"/>
                <a:ext cx="69248" cy="58366"/>
              </a:xfrm>
              <a:custGeom>
                <a:avLst/>
                <a:gdLst>
                  <a:gd name="T0" fmla="*/ 62 w 70"/>
                  <a:gd name="T1" fmla="*/ 38 h 59"/>
                  <a:gd name="T2" fmla="*/ 62 w 70"/>
                  <a:gd name="T3" fmla="*/ 38 h 59"/>
                  <a:gd name="T4" fmla="*/ 61 w 70"/>
                  <a:gd name="T5" fmla="*/ 35 h 59"/>
                  <a:gd name="T6" fmla="*/ 57 w 70"/>
                  <a:gd name="T7" fmla="*/ 29 h 59"/>
                  <a:gd name="T8" fmla="*/ 57 w 70"/>
                  <a:gd name="T9" fmla="*/ 29 h 59"/>
                  <a:gd name="T10" fmla="*/ 55 w 70"/>
                  <a:gd name="T11" fmla="*/ 26 h 59"/>
                  <a:gd name="T12" fmla="*/ 55 w 70"/>
                  <a:gd name="T13" fmla="*/ 22 h 59"/>
                  <a:gd name="T14" fmla="*/ 57 w 70"/>
                  <a:gd name="T15" fmla="*/ 19 h 59"/>
                  <a:gd name="T16" fmla="*/ 60 w 70"/>
                  <a:gd name="T17" fmla="*/ 17 h 59"/>
                  <a:gd name="T18" fmla="*/ 60 w 70"/>
                  <a:gd name="T19" fmla="*/ 17 h 59"/>
                  <a:gd name="T20" fmla="*/ 62 w 70"/>
                  <a:gd name="T21" fmla="*/ 17 h 59"/>
                  <a:gd name="T22" fmla="*/ 67 w 70"/>
                  <a:gd name="T23" fmla="*/ 19 h 59"/>
                  <a:gd name="T24" fmla="*/ 67 w 70"/>
                  <a:gd name="T25" fmla="*/ 19 h 59"/>
                  <a:gd name="T26" fmla="*/ 70 w 70"/>
                  <a:gd name="T27" fmla="*/ 2 h 59"/>
                  <a:gd name="T28" fmla="*/ 70 w 70"/>
                  <a:gd name="T29" fmla="*/ 2 h 59"/>
                  <a:gd name="T30" fmla="*/ 64 w 70"/>
                  <a:gd name="T31" fmla="*/ 2 h 59"/>
                  <a:gd name="T32" fmla="*/ 64 w 70"/>
                  <a:gd name="T33" fmla="*/ 2 h 59"/>
                  <a:gd name="T34" fmla="*/ 45 w 70"/>
                  <a:gd name="T35" fmla="*/ 2 h 59"/>
                  <a:gd name="T36" fmla="*/ 26 w 70"/>
                  <a:gd name="T37" fmla="*/ 0 h 59"/>
                  <a:gd name="T38" fmla="*/ 26 w 70"/>
                  <a:gd name="T39" fmla="*/ 0 h 59"/>
                  <a:gd name="T40" fmla="*/ 19 w 70"/>
                  <a:gd name="T41" fmla="*/ 2 h 59"/>
                  <a:gd name="T42" fmla="*/ 10 w 70"/>
                  <a:gd name="T43" fmla="*/ 6 h 59"/>
                  <a:gd name="T44" fmla="*/ 3 w 70"/>
                  <a:gd name="T45" fmla="*/ 10 h 59"/>
                  <a:gd name="T46" fmla="*/ 2 w 70"/>
                  <a:gd name="T47" fmla="*/ 13 h 59"/>
                  <a:gd name="T48" fmla="*/ 0 w 70"/>
                  <a:gd name="T49" fmla="*/ 16 h 59"/>
                  <a:gd name="T50" fmla="*/ 0 w 70"/>
                  <a:gd name="T51" fmla="*/ 16 h 59"/>
                  <a:gd name="T52" fmla="*/ 2 w 70"/>
                  <a:gd name="T53" fmla="*/ 22 h 59"/>
                  <a:gd name="T54" fmla="*/ 3 w 70"/>
                  <a:gd name="T55" fmla="*/ 28 h 59"/>
                  <a:gd name="T56" fmla="*/ 6 w 70"/>
                  <a:gd name="T57" fmla="*/ 32 h 59"/>
                  <a:gd name="T58" fmla="*/ 9 w 70"/>
                  <a:gd name="T59" fmla="*/ 36 h 59"/>
                  <a:gd name="T60" fmla="*/ 9 w 70"/>
                  <a:gd name="T61" fmla="*/ 36 h 59"/>
                  <a:gd name="T62" fmla="*/ 12 w 70"/>
                  <a:gd name="T63" fmla="*/ 39 h 59"/>
                  <a:gd name="T64" fmla="*/ 13 w 70"/>
                  <a:gd name="T65" fmla="*/ 42 h 59"/>
                  <a:gd name="T66" fmla="*/ 15 w 70"/>
                  <a:gd name="T67" fmla="*/ 52 h 59"/>
                  <a:gd name="T68" fmla="*/ 15 w 70"/>
                  <a:gd name="T69" fmla="*/ 52 h 59"/>
                  <a:gd name="T70" fmla="*/ 26 w 70"/>
                  <a:gd name="T71" fmla="*/ 51 h 59"/>
                  <a:gd name="T72" fmla="*/ 26 w 70"/>
                  <a:gd name="T73" fmla="*/ 51 h 59"/>
                  <a:gd name="T74" fmla="*/ 31 w 70"/>
                  <a:gd name="T75" fmla="*/ 51 h 59"/>
                  <a:gd name="T76" fmla="*/ 35 w 70"/>
                  <a:gd name="T77" fmla="*/ 52 h 59"/>
                  <a:gd name="T78" fmla="*/ 39 w 70"/>
                  <a:gd name="T79" fmla="*/ 55 h 59"/>
                  <a:gd name="T80" fmla="*/ 45 w 70"/>
                  <a:gd name="T81" fmla="*/ 58 h 59"/>
                  <a:gd name="T82" fmla="*/ 45 w 70"/>
                  <a:gd name="T83" fmla="*/ 58 h 59"/>
                  <a:gd name="T84" fmla="*/ 55 w 70"/>
                  <a:gd name="T85" fmla="*/ 59 h 59"/>
                  <a:gd name="T86" fmla="*/ 70 w 70"/>
                  <a:gd name="T87" fmla="*/ 59 h 59"/>
                  <a:gd name="T88" fmla="*/ 70 w 70"/>
                  <a:gd name="T89" fmla="*/ 59 h 59"/>
                  <a:gd name="T90" fmla="*/ 70 w 70"/>
                  <a:gd name="T91" fmla="*/ 59 h 59"/>
                  <a:gd name="T92" fmla="*/ 67 w 70"/>
                  <a:gd name="T93" fmla="*/ 36 h 59"/>
                  <a:gd name="T94" fmla="*/ 67 w 70"/>
                  <a:gd name="T95" fmla="*/ 36 h 59"/>
                  <a:gd name="T96" fmla="*/ 64 w 70"/>
                  <a:gd name="T97" fmla="*/ 38 h 59"/>
                  <a:gd name="T98" fmla="*/ 62 w 70"/>
                  <a:gd name="T99" fmla="*/ 38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0" h="59">
                    <a:moveTo>
                      <a:pt x="62" y="38"/>
                    </a:moveTo>
                    <a:lnTo>
                      <a:pt x="62" y="38"/>
                    </a:lnTo>
                    <a:lnTo>
                      <a:pt x="61" y="35"/>
                    </a:lnTo>
                    <a:lnTo>
                      <a:pt x="57" y="29"/>
                    </a:lnTo>
                    <a:lnTo>
                      <a:pt x="57" y="29"/>
                    </a:lnTo>
                    <a:lnTo>
                      <a:pt x="55" y="26"/>
                    </a:lnTo>
                    <a:lnTo>
                      <a:pt x="55" y="22"/>
                    </a:lnTo>
                    <a:lnTo>
                      <a:pt x="57" y="19"/>
                    </a:lnTo>
                    <a:lnTo>
                      <a:pt x="60" y="17"/>
                    </a:lnTo>
                    <a:lnTo>
                      <a:pt x="60" y="17"/>
                    </a:lnTo>
                    <a:lnTo>
                      <a:pt x="62" y="17"/>
                    </a:lnTo>
                    <a:lnTo>
                      <a:pt x="67" y="19"/>
                    </a:lnTo>
                    <a:lnTo>
                      <a:pt x="67" y="19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45" y="2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0" y="6"/>
                    </a:lnTo>
                    <a:lnTo>
                      <a:pt x="3" y="10"/>
                    </a:lnTo>
                    <a:lnTo>
                      <a:pt x="2" y="13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3" y="28"/>
                    </a:lnTo>
                    <a:lnTo>
                      <a:pt x="6" y="32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12" y="39"/>
                    </a:lnTo>
                    <a:lnTo>
                      <a:pt x="13" y="42"/>
                    </a:lnTo>
                    <a:lnTo>
                      <a:pt x="15" y="52"/>
                    </a:lnTo>
                    <a:lnTo>
                      <a:pt x="15" y="52"/>
                    </a:lnTo>
                    <a:lnTo>
                      <a:pt x="26" y="51"/>
                    </a:lnTo>
                    <a:lnTo>
                      <a:pt x="26" y="51"/>
                    </a:lnTo>
                    <a:lnTo>
                      <a:pt x="31" y="51"/>
                    </a:lnTo>
                    <a:lnTo>
                      <a:pt x="35" y="52"/>
                    </a:lnTo>
                    <a:lnTo>
                      <a:pt x="39" y="55"/>
                    </a:lnTo>
                    <a:lnTo>
                      <a:pt x="45" y="58"/>
                    </a:lnTo>
                    <a:lnTo>
                      <a:pt x="45" y="58"/>
                    </a:lnTo>
                    <a:lnTo>
                      <a:pt x="55" y="59"/>
                    </a:lnTo>
                    <a:lnTo>
                      <a:pt x="70" y="59"/>
                    </a:lnTo>
                    <a:lnTo>
                      <a:pt x="70" y="59"/>
                    </a:lnTo>
                    <a:lnTo>
                      <a:pt x="70" y="59"/>
                    </a:lnTo>
                    <a:lnTo>
                      <a:pt x="67" y="36"/>
                    </a:lnTo>
                    <a:lnTo>
                      <a:pt x="67" y="36"/>
                    </a:lnTo>
                    <a:lnTo>
                      <a:pt x="64" y="38"/>
                    </a:lnTo>
                    <a:lnTo>
                      <a:pt x="62" y="3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94" name="Freeform 1149"/>
              <p:cNvSpPr>
                <a:spLocks noEditPoints="1"/>
              </p:cNvSpPr>
              <p:nvPr/>
            </p:nvSpPr>
            <p:spPr bwMode="auto">
              <a:xfrm>
                <a:off x="4580903" y="1801593"/>
                <a:ext cx="210712" cy="472866"/>
              </a:xfrm>
              <a:custGeom>
                <a:avLst/>
                <a:gdLst>
                  <a:gd name="T0" fmla="*/ 209 w 213"/>
                  <a:gd name="T1" fmla="*/ 102 h 478"/>
                  <a:gd name="T2" fmla="*/ 206 w 213"/>
                  <a:gd name="T3" fmla="*/ 78 h 478"/>
                  <a:gd name="T4" fmla="*/ 203 w 213"/>
                  <a:gd name="T5" fmla="*/ 58 h 478"/>
                  <a:gd name="T6" fmla="*/ 202 w 213"/>
                  <a:gd name="T7" fmla="*/ 39 h 478"/>
                  <a:gd name="T8" fmla="*/ 171 w 213"/>
                  <a:gd name="T9" fmla="*/ 7 h 478"/>
                  <a:gd name="T10" fmla="*/ 148 w 213"/>
                  <a:gd name="T11" fmla="*/ 20 h 478"/>
                  <a:gd name="T12" fmla="*/ 116 w 213"/>
                  <a:gd name="T13" fmla="*/ 18 h 478"/>
                  <a:gd name="T14" fmla="*/ 115 w 213"/>
                  <a:gd name="T15" fmla="*/ 38 h 478"/>
                  <a:gd name="T16" fmla="*/ 100 w 213"/>
                  <a:gd name="T17" fmla="*/ 38 h 478"/>
                  <a:gd name="T18" fmla="*/ 84 w 213"/>
                  <a:gd name="T19" fmla="*/ 68 h 478"/>
                  <a:gd name="T20" fmla="*/ 68 w 213"/>
                  <a:gd name="T21" fmla="*/ 116 h 478"/>
                  <a:gd name="T22" fmla="*/ 57 w 213"/>
                  <a:gd name="T23" fmla="*/ 136 h 478"/>
                  <a:gd name="T24" fmla="*/ 51 w 213"/>
                  <a:gd name="T25" fmla="*/ 171 h 478"/>
                  <a:gd name="T26" fmla="*/ 38 w 213"/>
                  <a:gd name="T27" fmla="*/ 193 h 478"/>
                  <a:gd name="T28" fmla="*/ 24 w 213"/>
                  <a:gd name="T29" fmla="*/ 225 h 478"/>
                  <a:gd name="T30" fmla="*/ 32 w 213"/>
                  <a:gd name="T31" fmla="*/ 299 h 478"/>
                  <a:gd name="T32" fmla="*/ 26 w 213"/>
                  <a:gd name="T33" fmla="*/ 309 h 478"/>
                  <a:gd name="T34" fmla="*/ 26 w 213"/>
                  <a:gd name="T35" fmla="*/ 335 h 478"/>
                  <a:gd name="T36" fmla="*/ 16 w 213"/>
                  <a:gd name="T37" fmla="*/ 367 h 478"/>
                  <a:gd name="T38" fmla="*/ 0 w 213"/>
                  <a:gd name="T39" fmla="*/ 368 h 478"/>
                  <a:gd name="T40" fmla="*/ 6 w 213"/>
                  <a:gd name="T41" fmla="*/ 394 h 478"/>
                  <a:gd name="T42" fmla="*/ 16 w 213"/>
                  <a:gd name="T43" fmla="*/ 394 h 478"/>
                  <a:gd name="T44" fmla="*/ 15 w 213"/>
                  <a:gd name="T45" fmla="*/ 420 h 478"/>
                  <a:gd name="T46" fmla="*/ 31 w 213"/>
                  <a:gd name="T47" fmla="*/ 456 h 478"/>
                  <a:gd name="T48" fmla="*/ 29 w 213"/>
                  <a:gd name="T49" fmla="*/ 474 h 478"/>
                  <a:gd name="T50" fmla="*/ 54 w 213"/>
                  <a:gd name="T51" fmla="*/ 475 h 478"/>
                  <a:gd name="T52" fmla="*/ 64 w 213"/>
                  <a:gd name="T53" fmla="*/ 456 h 478"/>
                  <a:gd name="T54" fmla="*/ 83 w 213"/>
                  <a:gd name="T55" fmla="*/ 449 h 478"/>
                  <a:gd name="T56" fmla="*/ 95 w 213"/>
                  <a:gd name="T57" fmla="*/ 396 h 478"/>
                  <a:gd name="T58" fmla="*/ 112 w 213"/>
                  <a:gd name="T59" fmla="*/ 371 h 478"/>
                  <a:gd name="T60" fmla="*/ 121 w 213"/>
                  <a:gd name="T61" fmla="*/ 358 h 478"/>
                  <a:gd name="T62" fmla="*/ 128 w 213"/>
                  <a:gd name="T63" fmla="*/ 336 h 478"/>
                  <a:gd name="T64" fmla="*/ 110 w 213"/>
                  <a:gd name="T65" fmla="*/ 319 h 478"/>
                  <a:gd name="T66" fmla="*/ 97 w 213"/>
                  <a:gd name="T67" fmla="*/ 301 h 478"/>
                  <a:gd name="T68" fmla="*/ 105 w 213"/>
                  <a:gd name="T69" fmla="*/ 275 h 478"/>
                  <a:gd name="T70" fmla="*/ 99 w 213"/>
                  <a:gd name="T71" fmla="*/ 251 h 478"/>
                  <a:gd name="T72" fmla="*/ 110 w 213"/>
                  <a:gd name="T73" fmla="*/ 254 h 478"/>
                  <a:gd name="T74" fmla="*/ 131 w 213"/>
                  <a:gd name="T75" fmla="*/ 217 h 478"/>
                  <a:gd name="T76" fmla="*/ 154 w 213"/>
                  <a:gd name="T77" fmla="*/ 204 h 478"/>
                  <a:gd name="T78" fmla="*/ 171 w 213"/>
                  <a:gd name="T79" fmla="*/ 180 h 478"/>
                  <a:gd name="T80" fmla="*/ 164 w 213"/>
                  <a:gd name="T81" fmla="*/ 164 h 478"/>
                  <a:gd name="T82" fmla="*/ 171 w 213"/>
                  <a:gd name="T83" fmla="*/ 152 h 478"/>
                  <a:gd name="T84" fmla="*/ 181 w 213"/>
                  <a:gd name="T85" fmla="*/ 138 h 478"/>
                  <a:gd name="T86" fmla="*/ 196 w 213"/>
                  <a:gd name="T87" fmla="*/ 135 h 478"/>
                  <a:gd name="T88" fmla="*/ 38 w 213"/>
                  <a:gd name="T89" fmla="*/ 383 h 478"/>
                  <a:gd name="T90" fmla="*/ 28 w 213"/>
                  <a:gd name="T91" fmla="*/ 385 h 478"/>
                  <a:gd name="T92" fmla="*/ 29 w 213"/>
                  <a:gd name="T93" fmla="*/ 368 h 478"/>
                  <a:gd name="T94" fmla="*/ 37 w 213"/>
                  <a:gd name="T95" fmla="*/ 371 h 478"/>
                  <a:gd name="T96" fmla="*/ 45 w 213"/>
                  <a:gd name="T97" fmla="*/ 361 h 478"/>
                  <a:gd name="T98" fmla="*/ 51 w 213"/>
                  <a:gd name="T99" fmla="*/ 374 h 478"/>
                  <a:gd name="T100" fmla="*/ 66 w 213"/>
                  <a:gd name="T101" fmla="*/ 388 h 478"/>
                  <a:gd name="T102" fmla="*/ 53 w 213"/>
                  <a:gd name="T103" fmla="*/ 400 h 478"/>
                  <a:gd name="T104" fmla="*/ 64 w 213"/>
                  <a:gd name="T105" fmla="*/ 378 h 478"/>
                  <a:gd name="T106" fmla="*/ 105 w 213"/>
                  <a:gd name="T107" fmla="*/ 355 h 478"/>
                  <a:gd name="T108" fmla="*/ 112 w 213"/>
                  <a:gd name="T109" fmla="*/ 355 h 478"/>
                  <a:gd name="T110" fmla="*/ 103 w 213"/>
                  <a:gd name="T111" fmla="*/ 35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13" h="478">
                    <a:moveTo>
                      <a:pt x="208" y="117"/>
                    </a:moveTo>
                    <a:lnTo>
                      <a:pt x="208" y="117"/>
                    </a:lnTo>
                    <a:lnTo>
                      <a:pt x="208" y="115"/>
                    </a:lnTo>
                    <a:lnTo>
                      <a:pt x="206" y="112"/>
                    </a:lnTo>
                    <a:lnTo>
                      <a:pt x="206" y="112"/>
                    </a:lnTo>
                    <a:lnTo>
                      <a:pt x="209" y="102"/>
                    </a:lnTo>
                    <a:lnTo>
                      <a:pt x="212" y="96"/>
                    </a:lnTo>
                    <a:lnTo>
                      <a:pt x="213" y="90"/>
                    </a:lnTo>
                    <a:lnTo>
                      <a:pt x="213" y="90"/>
                    </a:lnTo>
                    <a:lnTo>
                      <a:pt x="212" y="86"/>
                    </a:lnTo>
                    <a:lnTo>
                      <a:pt x="209" y="81"/>
                    </a:lnTo>
                    <a:lnTo>
                      <a:pt x="206" y="78"/>
                    </a:lnTo>
                    <a:lnTo>
                      <a:pt x="205" y="74"/>
                    </a:lnTo>
                    <a:lnTo>
                      <a:pt x="205" y="74"/>
                    </a:lnTo>
                    <a:lnTo>
                      <a:pt x="206" y="68"/>
                    </a:lnTo>
                    <a:lnTo>
                      <a:pt x="205" y="64"/>
                    </a:lnTo>
                    <a:lnTo>
                      <a:pt x="205" y="64"/>
                    </a:lnTo>
                    <a:lnTo>
                      <a:pt x="203" y="58"/>
                    </a:lnTo>
                    <a:lnTo>
                      <a:pt x="203" y="52"/>
                    </a:lnTo>
                    <a:lnTo>
                      <a:pt x="203" y="52"/>
                    </a:lnTo>
                    <a:lnTo>
                      <a:pt x="203" y="46"/>
                    </a:lnTo>
                    <a:lnTo>
                      <a:pt x="203" y="44"/>
                    </a:lnTo>
                    <a:lnTo>
                      <a:pt x="202" y="39"/>
                    </a:lnTo>
                    <a:lnTo>
                      <a:pt x="202" y="39"/>
                    </a:lnTo>
                    <a:lnTo>
                      <a:pt x="194" y="28"/>
                    </a:lnTo>
                    <a:lnTo>
                      <a:pt x="192" y="22"/>
                    </a:lnTo>
                    <a:lnTo>
                      <a:pt x="187" y="18"/>
                    </a:lnTo>
                    <a:lnTo>
                      <a:pt x="187" y="18"/>
                    </a:lnTo>
                    <a:lnTo>
                      <a:pt x="180" y="13"/>
                    </a:lnTo>
                    <a:lnTo>
                      <a:pt x="171" y="7"/>
                    </a:lnTo>
                    <a:lnTo>
                      <a:pt x="171" y="7"/>
                    </a:lnTo>
                    <a:lnTo>
                      <a:pt x="163" y="4"/>
                    </a:lnTo>
                    <a:lnTo>
                      <a:pt x="150" y="0"/>
                    </a:lnTo>
                    <a:lnTo>
                      <a:pt x="150" y="0"/>
                    </a:lnTo>
                    <a:lnTo>
                      <a:pt x="150" y="15"/>
                    </a:lnTo>
                    <a:lnTo>
                      <a:pt x="148" y="20"/>
                    </a:lnTo>
                    <a:lnTo>
                      <a:pt x="147" y="22"/>
                    </a:lnTo>
                    <a:lnTo>
                      <a:pt x="145" y="23"/>
                    </a:lnTo>
                    <a:lnTo>
                      <a:pt x="145" y="23"/>
                    </a:lnTo>
                    <a:lnTo>
                      <a:pt x="129" y="19"/>
                    </a:lnTo>
                    <a:lnTo>
                      <a:pt x="122" y="16"/>
                    </a:lnTo>
                    <a:lnTo>
                      <a:pt x="116" y="18"/>
                    </a:lnTo>
                    <a:lnTo>
                      <a:pt x="116" y="18"/>
                    </a:lnTo>
                    <a:lnTo>
                      <a:pt x="116" y="19"/>
                    </a:lnTo>
                    <a:lnTo>
                      <a:pt x="116" y="22"/>
                    </a:lnTo>
                    <a:lnTo>
                      <a:pt x="116" y="28"/>
                    </a:lnTo>
                    <a:lnTo>
                      <a:pt x="116" y="35"/>
                    </a:lnTo>
                    <a:lnTo>
                      <a:pt x="115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08" y="38"/>
                    </a:lnTo>
                    <a:lnTo>
                      <a:pt x="106" y="36"/>
                    </a:lnTo>
                    <a:lnTo>
                      <a:pt x="103" y="35"/>
                    </a:lnTo>
                    <a:lnTo>
                      <a:pt x="100" y="38"/>
                    </a:lnTo>
                    <a:lnTo>
                      <a:pt x="100" y="38"/>
                    </a:lnTo>
                    <a:lnTo>
                      <a:pt x="96" y="44"/>
                    </a:lnTo>
                    <a:lnTo>
                      <a:pt x="92" y="49"/>
                    </a:lnTo>
                    <a:lnTo>
                      <a:pt x="86" y="61"/>
                    </a:lnTo>
                    <a:lnTo>
                      <a:pt x="86" y="61"/>
                    </a:lnTo>
                    <a:lnTo>
                      <a:pt x="84" y="68"/>
                    </a:lnTo>
                    <a:lnTo>
                      <a:pt x="82" y="81"/>
                    </a:lnTo>
                    <a:lnTo>
                      <a:pt x="79" y="94"/>
                    </a:lnTo>
                    <a:lnTo>
                      <a:pt x="76" y="103"/>
                    </a:lnTo>
                    <a:lnTo>
                      <a:pt x="76" y="103"/>
                    </a:lnTo>
                    <a:lnTo>
                      <a:pt x="71" y="112"/>
                    </a:lnTo>
                    <a:lnTo>
                      <a:pt x="68" y="116"/>
                    </a:lnTo>
                    <a:lnTo>
                      <a:pt x="66" y="120"/>
                    </a:lnTo>
                    <a:lnTo>
                      <a:pt x="66" y="120"/>
                    </a:lnTo>
                    <a:lnTo>
                      <a:pt x="61" y="123"/>
                    </a:lnTo>
                    <a:lnTo>
                      <a:pt x="60" y="128"/>
                    </a:lnTo>
                    <a:lnTo>
                      <a:pt x="57" y="136"/>
                    </a:lnTo>
                    <a:lnTo>
                      <a:pt x="57" y="136"/>
                    </a:lnTo>
                    <a:lnTo>
                      <a:pt x="55" y="152"/>
                    </a:lnTo>
                    <a:lnTo>
                      <a:pt x="54" y="161"/>
                    </a:lnTo>
                    <a:lnTo>
                      <a:pt x="51" y="165"/>
                    </a:lnTo>
                    <a:lnTo>
                      <a:pt x="51" y="165"/>
                    </a:lnTo>
                    <a:lnTo>
                      <a:pt x="51" y="168"/>
                    </a:lnTo>
                    <a:lnTo>
                      <a:pt x="51" y="171"/>
                    </a:lnTo>
                    <a:lnTo>
                      <a:pt x="53" y="177"/>
                    </a:lnTo>
                    <a:lnTo>
                      <a:pt x="54" y="183"/>
                    </a:lnTo>
                    <a:lnTo>
                      <a:pt x="53" y="186"/>
                    </a:lnTo>
                    <a:lnTo>
                      <a:pt x="50" y="187"/>
                    </a:lnTo>
                    <a:lnTo>
                      <a:pt x="50" y="187"/>
                    </a:lnTo>
                    <a:lnTo>
                      <a:pt x="38" y="193"/>
                    </a:lnTo>
                    <a:lnTo>
                      <a:pt x="31" y="197"/>
                    </a:lnTo>
                    <a:lnTo>
                      <a:pt x="31" y="197"/>
                    </a:lnTo>
                    <a:lnTo>
                      <a:pt x="26" y="207"/>
                    </a:lnTo>
                    <a:lnTo>
                      <a:pt x="25" y="216"/>
                    </a:lnTo>
                    <a:lnTo>
                      <a:pt x="24" y="225"/>
                    </a:lnTo>
                    <a:lnTo>
                      <a:pt x="24" y="225"/>
                    </a:lnTo>
                    <a:lnTo>
                      <a:pt x="24" y="259"/>
                    </a:lnTo>
                    <a:lnTo>
                      <a:pt x="24" y="278"/>
                    </a:lnTo>
                    <a:lnTo>
                      <a:pt x="25" y="288"/>
                    </a:lnTo>
                    <a:lnTo>
                      <a:pt x="25" y="288"/>
                    </a:lnTo>
                    <a:lnTo>
                      <a:pt x="31" y="294"/>
                    </a:lnTo>
                    <a:lnTo>
                      <a:pt x="32" y="299"/>
                    </a:lnTo>
                    <a:lnTo>
                      <a:pt x="32" y="300"/>
                    </a:lnTo>
                    <a:lnTo>
                      <a:pt x="32" y="300"/>
                    </a:lnTo>
                    <a:lnTo>
                      <a:pt x="32" y="300"/>
                    </a:lnTo>
                    <a:lnTo>
                      <a:pt x="28" y="303"/>
                    </a:lnTo>
                    <a:lnTo>
                      <a:pt x="26" y="304"/>
                    </a:lnTo>
                    <a:lnTo>
                      <a:pt x="26" y="309"/>
                    </a:lnTo>
                    <a:lnTo>
                      <a:pt x="26" y="309"/>
                    </a:lnTo>
                    <a:lnTo>
                      <a:pt x="26" y="316"/>
                    </a:lnTo>
                    <a:lnTo>
                      <a:pt x="28" y="323"/>
                    </a:lnTo>
                    <a:lnTo>
                      <a:pt x="29" y="329"/>
                    </a:lnTo>
                    <a:lnTo>
                      <a:pt x="28" y="332"/>
                    </a:lnTo>
                    <a:lnTo>
                      <a:pt x="26" y="335"/>
                    </a:lnTo>
                    <a:lnTo>
                      <a:pt x="26" y="335"/>
                    </a:lnTo>
                    <a:lnTo>
                      <a:pt x="21" y="343"/>
                    </a:lnTo>
                    <a:lnTo>
                      <a:pt x="19" y="348"/>
                    </a:lnTo>
                    <a:lnTo>
                      <a:pt x="18" y="354"/>
                    </a:lnTo>
                    <a:lnTo>
                      <a:pt x="18" y="354"/>
                    </a:lnTo>
                    <a:lnTo>
                      <a:pt x="16" y="367"/>
                    </a:lnTo>
                    <a:lnTo>
                      <a:pt x="15" y="371"/>
                    </a:lnTo>
                    <a:lnTo>
                      <a:pt x="13" y="372"/>
                    </a:lnTo>
                    <a:lnTo>
                      <a:pt x="11" y="372"/>
                    </a:lnTo>
                    <a:lnTo>
                      <a:pt x="11" y="372"/>
                    </a:lnTo>
                    <a:lnTo>
                      <a:pt x="0" y="368"/>
                    </a:lnTo>
                    <a:lnTo>
                      <a:pt x="0" y="368"/>
                    </a:lnTo>
                    <a:lnTo>
                      <a:pt x="2" y="371"/>
                    </a:lnTo>
                    <a:lnTo>
                      <a:pt x="2" y="371"/>
                    </a:lnTo>
                    <a:lnTo>
                      <a:pt x="3" y="377"/>
                    </a:lnTo>
                    <a:lnTo>
                      <a:pt x="5" y="383"/>
                    </a:lnTo>
                    <a:lnTo>
                      <a:pt x="5" y="390"/>
                    </a:lnTo>
                    <a:lnTo>
                      <a:pt x="6" y="394"/>
                    </a:lnTo>
                    <a:lnTo>
                      <a:pt x="6" y="394"/>
                    </a:lnTo>
                    <a:lnTo>
                      <a:pt x="8" y="396"/>
                    </a:lnTo>
                    <a:lnTo>
                      <a:pt x="11" y="397"/>
                    </a:lnTo>
                    <a:lnTo>
                      <a:pt x="13" y="397"/>
                    </a:lnTo>
                    <a:lnTo>
                      <a:pt x="16" y="394"/>
                    </a:lnTo>
                    <a:lnTo>
                      <a:pt x="16" y="394"/>
                    </a:lnTo>
                    <a:lnTo>
                      <a:pt x="18" y="394"/>
                    </a:lnTo>
                    <a:lnTo>
                      <a:pt x="18" y="396"/>
                    </a:lnTo>
                    <a:lnTo>
                      <a:pt x="16" y="401"/>
                    </a:lnTo>
                    <a:lnTo>
                      <a:pt x="13" y="414"/>
                    </a:lnTo>
                    <a:lnTo>
                      <a:pt x="13" y="414"/>
                    </a:lnTo>
                    <a:lnTo>
                      <a:pt x="15" y="420"/>
                    </a:lnTo>
                    <a:lnTo>
                      <a:pt x="18" y="426"/>
                    </a:lnTo>
                    <a:lnTo>
                      <a:pt x="25" y="438"/>
                    </a:lnTo>
                    <a:lnTo>
                      <a:pt x="25" y="438"/>
                    </a:lnTo>
                    <a:lnTo>
                      <a:pt x="28" y="448"/>
                    </a:lnTo>
                    <a:lnTo>
                      <a:pt x="31" y="456"/>
                    </a:lnTo>
                    <a:lnTo>
                      <a:pt x="31" y="456"/>
                    </a:lnTo>
                    <a:lnTo>
                      <a:pt x="31" y="461"/>
                    </a:lnTo>
                    <a:lnTo>
                      <a:pt x="29" y="467"/>
                    </a:lnTo>
                    <a:lnTo>
                      <a:pt x="29" y="471"/>
                    </a:lnTo>
                    <a:lnTo>
                      <a:pt x="29" y="472"/>
                    </a:lnTo>
                    <a:lnTo>
                      <a:pt x="29" y="474"/>
                    </a:lnTo>
                    <a:lnTo>
                      <a:pt x="29" y="474"/>
                    </a:lnTo>
                    <a:lnTo>
                      <a:pt x="37" y="475"/>
                    </a:lnTo>
                    <a:lnTo>
                      <a:pt x="41" y="477"/>
                    </a:lnTo>
                    <a:lnTo>
                      <a:pt x="47" y="478"/>
                    </a:lnTo>
                    <a:lnTo>
                      <a:pt x="47" y="478"/>
                    </a:lnTo>
                    <a:lnTo>
                      <a:pt x="53" y="477"/>
                    </a:lnTo>
                    <a:lnTo>
                      <a:pt x="54" y="475"/>
                    </a:lnTo>
                    <a:lnTo>
                      <a:pt x="55" y="472"/>
                    </a:lnTo>
                    <a:lnTo>
                      <a:pt x="55" y="472"/>
                    </a:lnTo>
                    <a:lnTo>
                      <a:pt x="57" y="465"/>
                    </a:lnTo>
                    <a:lnTo>
                      <a:pt x="60" y="461"/>
                    </a:lnTo>
                    <a:lnTo>
                      <a:pt x="64" y="456"/>
                    </a:lnTo>
                    <a:lnTo>
                      <a:pt x="64" y="456"/>
                    </a:lnTo>
                    <a:lnTo>
                      <a:pt x="70" y="453"/>
                    </a:lnTo>
                    <a:lnTo>
                      <a:pt x="74" y="453"/>
                    </a:lnTo>
                    <a:lnTo>
                      <a:pt x="77" y="453"/>
                    </a:lnTo>
                    <a:lnTo>
                      <a:pt x="80" y="453"/>
                    </a:lnTo>
                    <a:lnTo>
                      <a:pt x="80" y="453"/>
                    </a:lnTo>
                    <a:lnTo>
                      <a:pt x="83" y="449"/>
                    </a:lnTo>
                    <a:lnTo>
                      <a:pt x="87" y="438"/>
                    </a:lnTo>
                    <a:lnTo>
                      <a:pt x="95" y="417"/>
                    </a:lnTo>
                    <a:lnTo>
                      <a:pt x="95" y="417"/>
                    </a:lnTo>
                    <a:lnTo>
                      <a:pt x="95" y="410"/>
                    </a:lnTo>
                    <a:lnTo>
                      <a:pt x="95" y="404"/>
                    </a:lnTo>
                    <a:lnTo>
                      <a:pt x="95" y="396"/>
                    </a:lnTo>
                    <a:lnTo>
                      <a:pt x="95" y="396"/>
                    </a:lnTo>
                    <a:lnTo>
                      <a:pt x="100" y="383"/>
                    </a:lnTo>
                    <a:lnTo>
                      <a:pt x="108" y="371"/>
                    </a:lnTo>
                    <a:lnTo>
                      <a:pt x="108" y="371"/>
                    </a:lnTo>
                    <a:lnTo>
                      <a:pt x="110" y="371"/>
                    </a:lnTo>
                    <a:lnTo>
                      <a:pt x="112" y="371"/>
                    </a:lnTo>
                    <a:lnTo>
                      <a:pt x="113" y="371"/>
                    </a:lnTo>
                    <a:lnTo>
                      <a:pt x="115" y="371"/>
                    </a:lnTo>
                    <a:lnTo>
                      <a:pt x="115" y="371"/>
                    </a:lnTo>
                    <a:lnTo>
                      <a:pt x="116" y="369"/>
                    </a:lnTo>
                    <a:lnTo>
                      <a:pt x="119" y="364"/>
                    </a:lnTo>
                    <a:lnTo>
                      <a:pt x="121" y="358"/>
                    </a:lnTo>
                    <a:lnTo>
                      <a:pt x="124" y="355"/>
                    </a:lnTo>
                    <a:lnTo>
                      <a:pt x="124" y="355"/>
                    </a:lnTo>
                    <a:lnTo>
                      <a:pt x="128" y="351"/>
                    </a:lnTo>
                    <a:lnTo>
                      <a:pt x="129" y="345"/>
                    </a:lnTo>
                    <a:lnTo>
                      <a:pt x="129" y="345"/>
                    </a:lnTo>
                    <a:lnTo>
                      <a:pt x="128" y="336"/>
                    </a:lnTo>
                    <a:lnTo>
                      <a:pt x="125" y="327"/>
                    </a:lnTo>
                    <a:lnTo>
                      <a:pt x="125" y="327"/>
                    </a:lnTo>
                    <a:lnTo>
                      <a:pt x="122" y="323"/>
                    </a:lnTo>
                    <a:lnTo>
                      <a:pt x="119" y="320"/>
                    </a:lnTo>
                    <a:lnTo>
                      <a:pt x="115" y="319"/>
                    </a:lnTo>
                    <a:lnTo>
                      <a:pt x="110" y="319"/>
                    </a:lnTo>
                    <a:lnTo>
                      <a:pt x="110" y="319"/>
                    </a:lnTo>
                    <a:lnTo>
                      <a:pt x="106" y="317"/>
                    </a:lnTo>
                    <a:lnTo>
                      <a:pt x="103" y="316"/>
                    </a:lnTo>
                    <a:lnTo>
                      <a:pt x="99" y="307"/>
                    </a:lnTo>
                    <a:lnTo>
                      <a:pt x="99" y="307"/>
                    </a:lnTo>
                    <a:lnTo>
                      <a:pt x="97" y="301"/>
                    </a:lnTo>
                    <a:lnTo>
                      <a:pt x="99" y="296"/>
                    </a:lnTo>
                    <a:lnTo>
                      <a:pt x="100" y="290"/>
                    </a:lnTo>
                    <a:lnTo>
                      <a:pt x="103" y="287"/>
                    </a:lnTo>
                    <a:lnTo>
                      <a:pt x="103" y="287"/>
                    </a:lnTo>
                    <a:lnTo>
                      <a:pt x="105" y="283"/>
                    </a:lnTo>
                    <a:lnTo>
                      <a:pt x="105" y="275"/>
                    </a:lnTo>
                    <a:lnTo>
                      <a:pt x="105" y="264"/>
                    </a:lnTo>
                    <a:lnTo>
                      <a:pt x="105" y="264"/>
                    </a:lnTo>
                    <a:lnTo>
                      <a:pt x="105" y="261"/>
                    </a:lnTo>
                    <a:lnTo>
                      <a:pt x="103" y="258"/>
                    </a:lnTo>
                    <a:lnTo>
                      <a:pt x="100" y="254"/>
                    </a:lnTo>
                    <a:lnTo>
                      <a:pt x="99" y="251"/>
                    </a:lnTo>
                    <a:lnTo>
                      <a:pt x="99" y="251"/>
                    </a:lnTo>
                    <a:lnTo>
                      <a:pt x="100" y="249"/>
                    </a:lnTo>
                    <a:lnTo>
                      <a:pt x="102" y="251"/>
                    </a:lnTo>
                    <a:lnTo>
                      <a:pt x="109" y="254"/>
                    </a:lnTo>
                    <a:lnTo>
                      <a:pt x="109" y="254"/>
                    </a:lnTo>
                    <a:lnTo>
                      <a:pt x="110" y="254"/>
                    </a:lnTo>
                    <a:lnTo>
                      <a:pt x="112" y="252"/>
                    </a:lnTo>
                    <a:lnTo>
                      <a:pt x="116" y="246"/>
                    </a:lnTo>
                    <a:lnTo>
                      <a:pt x="125" y="235"/>
                    </a:lnTo>
                    <a:lnTo>
                      <a:pt x="125" y="235"/>
                    </a:lnTo>
                    <a:lnTo>
                      <a:pt x="128" y="226"/>
                    </a:lnTo>
                    <a:lnTo>
                      <a:pt x="131" y="217"/>
                    </a:lnTo>
                    <a:lnTo>
                      <a:pt x="131" y="217"/>
                    </a:lnTo>
                    <a:lnTo>
                      <a:pt x="134" y="216"/>
                    </a:lnTo>
                    <a:lnTo>
                      <a:pt x="138" y="213"/>
                    </a:lnTo>
                    <a:lnTo>
                      <a:pt x="147" y="209"/>
                    </a:lnTo>
                    <a:lnTo>
                      <a:pt x="147" y="209"/>
                    </a:lnTo>
                    <a:lnTo>
                      <a:pt x="154" y="204"/>
                    </a:lnTo>
                    <a:lnTo>
                      <a:pt x="157" y="201"/>
                    </a:lnTo>
                    <a:lnTo>
                      <a:pt x="158" y="197"/>
                    </a:lnTo>
                    <a:lnTo>
                      <a:pt x="158" y="197"/>
                    </a:lnTo>
                    <a:lnTo>
                      <a:pt x="161" y="193"/>
                    </a:lnTo>
                    <a:lnTo>
                      <a:pt x="164" y="187"/>
                    </a:lnTo>
                    <a:lnTo>
                      <a:pt x="171" y="180"/>
                    </a:lnTo>
                    <a:lnTo>
                      <a:pt x="171" y="180"/>
                    </a:lnTo>
                    <a:lnTo>
                      <a:pt x="171" y="177"/>
                    </a:lnTo>
                    <a:lnTo>
                      <a:pt x="170" y="174"/>
                    </a:lnTo>
                    <a:lnTo>
                      <a:pt x="166" y="168"/>
                    </a:lnTo>
                    <a:lnTo>
                      <a:pt x="166" y="168"/>
                    </a:lnTo>
                    <a:lnTo>
                      <a:pt x="164" y="164"/>
                    </a:lnTo>
                    <a:lnTo>
                      <a:pt x="164" y="162"/>
                    </a:lnTo>
                    <a:lnTo>
                      <a:pt x="168" y="159"/>
                    </a:lnTo>
                    <a:lnTo>
                      <a:pt x="168" y="159"/>
                    </a:lnTo>
                    <a:lnTo>
                      <a:pt x="170" y="155"/>
                    </a:lnTo>
                    <a:lnTo>
                      <a:pt x="171" y="152"/>
                    </a:lnTo>
                    <a:lnTo>
                      <a:pt x="171" y="152"/>
                    </a:lnTo>
                    <a:lnTo>
                      <a:pt x="174" y="149"/>
                    </a:lnTo>
                    <a:lnTo>
                      <a:pt x="180" y="144"/>
                    </a:lnTo>
                    <a:lnTo>
                      <a:pt x="180" y="144"/>
                    </a:lnTo>
                    <a:lnTo>
                      <a:pt x="183" y="142"/>
                    </a:lnTo>
                    <a:lnTo>
                      <a:pt x="183" y="139"/>
                    </a:lnTo>
                    <a:lnTo>
                      <a:pt x="181" y="138"/>
                    </a:lnTo>
                    <a:lnTo>
                      <a:pt x="181" y="135"/>
                    </a:lnTo>
                    <a:lnTo>
                      <a:pt x="181" y="135"/>
                    </a:lnTo>
                    <a:lnTo>
                      <a:pt x="183" y="133"/>
                    </a:lnTo>
                    <a:lnTo>
                      <a:pt x="187" y="133"/>
                    </a:lnTo>
                    <a:lnTo>
                      <a:pt x="196" y="135"/>
                    </a:lnTo>
                    <a:lnTo>
                      <a:pt x="196" y="135"/>
                    </a:lnTo>
                    <a:lnTo>
                      <a:pt x="200" y="135"/>
                    </a:lnTo>
                    <a:lnTo>
                      <a:pt x="203" y="135"/>
                    </a:lnTo>
                    <a:lnTo>
                      <a:pt x="212" y="133"/>
                    </a:lnTo>
                    <a:lnTo>
                      <a:pt x="212" y="133"/>
                    </a:lnTo>
                    <a:lnTo>
                      <a:pt x="208" y="117"/>
                    </a:lnTo>
                    <a:close/>
                    <a:moveTo>
                      <a:pt x="38" y="383"/>
                    </a:moveTo>
                    <a:lnTo>
                      <a:pt x="38" y="383"/>
                    </a:lnTo>
                    <a:lnTo>
                      <a:pt x="35" y="383"/>
                    </a:lnTo>
                    <a:lnTo>
                      <a:pt x="32" y="384"/>
                    </a:lnTo>
                    <a:lnTo>
                      <a:pt x="29" y="385"/>
                    </a:lnTo>
                    <a:lnTo>
                      <a:pt x="28" y="385"/>
                    </a:lnTo>
                    <a:lnTo>
                      <a:pt x="28" y="385"/>
                    </a:lnTo>
                    <a:lnTo>
                      <a:pt x="28" y="385"/>
                    </a:lnTo>
                    <a:lnTo>
                      <a:pt x="28" y="381"/>
                    </a:lnTo>
                    <a:lnTo>
                      <a:pt x="28" y="377"/>
                    </a:lnTo>
                    <a:lnTo>
                      <a:pt x="28" y="371"/>
                    </a:lnTo>
                    <a:lnTo>
                      <a:pt x="29" y="368"/>
                    </a:lnTo>
                    <a:lnTo>
                      <a:pt x="29" y="368"/>
                    </a:lnTo>
                    <a:lnTo>
                      <a:pt x="31" y="368"/>
                    </a:lnTo>
                    <a:lnTo>
                      <a:pt x="32" y="369"/>
                    </a:lnTo>
                    <a:lnTo>
                      <a:pt x="34" y="371"/>
                    </a:lnTo>
                    <a:lnTo>
                      <a:pt x="35" y="371"/>
                    </a:lnTo>
                    <a:lnTo>
                      <a:pt x="35" y="371"/>
                    </a:lnTo>
                    <a:lnTo>
                      <a:pt x="37" y="371"/>
                    </a:lnTo>
                    <a:lnTo>
                      <a:pt x="38" y="368"/>
                    </a:lnTo>
                    <a:lnTo>
                      <a:pt x="38" y="367"/>
                    </a:lnTo>
                    <a:lnTo>
                      <a:pt x="40" y="365"/>
                    </a:lnTo>
                    <a:lnTo>
                      <a:pt x="40" y="365"/>
                    </a:lnTo>
                    <a:lnTo>
                      <a:pt x="44" y="362"/>
                    </a:lnTo>
                    <a:lnTo>
                      <a:pt x="45" y="361"/>
                    </a:lnTo>
                    <a:lnTo>
                      <a:pt x="48" y="361"/>
                    </a:lnTo>
                    <a:lnTo>
                      <a:pt x="48" y="361"/>
                    </a:lnTo>
                    <a:lnTo>
                      <a:pt x="51" y="367"/>
                    </a:lnTo>
                    <a:lnTo>
                      <a:pt x="53" y="371"/>
                    </a:lnTo>
                    <a:lnTo>
                      <a:pt x="53" y="371"/>
                    </a:lnTo>
                    <a:lnTo>
                      <a:pt x="51" y="374"/>
                    </a:lnTo>
                    <a:lnTo>
                      <a:pt x="47" y="378"/>
                    </a:lnTo>
                    <a:lnTo>
                      <a:pt x="41" y="383"/>
                    </a:lnTo>
                    <a:lnTo>
                      <a:pt x="40" y="383"/>
                    </a:lnTo>
                    <a:lnTo>
                      <a:pt x="38" y="383"/>
                    </a:lnTo>
                    <a:close/>
                    <a:moveTo>
                      <a:pt x="66" y="388"/>
                    </a:moveTo>
                    <a:lnTo>
                      <a:pt x="66" y="388"/>
                    </a:lnTo>
                    <a:lnTo>
                      <a:pt x="64" y="393"/>
                    </a:lnTo>
                    <a:lnTo>
                      <a:pt x="61" y="397"/>
                    </a:lnTo>
                    <a:lnTo>
                      <a:pt x="58" y="401"/>
                    </a:lnTo>
                    <a:lnTo>
                      <a:pt x="55" y="401"/>
                    </a:lnTo>
                    <a:lnTo>
                      <a:pt x="55" y="401"/>
                    </a:lnTo>
                    <a:lnTo>
                      <a:pt x="53" y="400"/>
                    </a:lnTo>
                    <a:lnTo>
                      <a:pt x="53" y="398"/>
                    </a:lnTo>
                    <a:lnTo>
                      <a:pt x="57" y="391"/>
                    </a:lnTo>
                    <a:lnTo>
                      <a:pt x="57" y="391"/>
                    </a:lnTo>
                    <a:lnTo>
                      <a:pt x="60" y="383"/>
                    </a:lnTo>
                    <a:lnTo>
                      <a:pt x="61" y="380"/>
                    </a:lnTo>
                    <a:lnTo>
                      <a:pt x="64" y="378"/>
                    </a:lnTo>
                    <a:lnTo>
                      <a:pt x="64" y="378"/>
                    </a:lnTo>
                    <a:lnTo>
                      <a:pt x="66" y="378"/>
                    </a:lnTo>
                    <a:lnTo>
                      <a:pt x="66" y="381"/>
                    </a:lnTo>
                    <a:lnTo>
                      <a:pt x="66" y="388"/>
                    </a:lnTo>
                    <a:close/>
                    <a:moveTo>
                      <a:pt x="105" y="355"/>
                    </a:moveTo>
                    <a:lnTo>
                      <a:pt x="105" y="355"/>
                    </a:lnTo>
                    <a:lnTo>
                      <a:pt x="106" y="354"/>
                    </a:lnTo>
                    <a:lnTo>
                      <a:pt x="108" y="351"/>
                    </a:lnTo>
                    <a:lnTo>
                      <a:pt x="108" y="349"/>
                    </a:lnTo>
                    <a:lnTo>
                      <a:pt x="109" y="349"/>
                    </a:lnTo>
                    <a:lnTo>
                      <a:pt x="109" y="349"/>
                    </a:lnTo>
                    <a:lnTo>
                      <a:pt x="112" y="355"/>
                    </a:lnTo>
                    <a:lnTo>
                      <a:pt x="113" y="358"/>
                    </a:lnTo>
                    <a:lnTo>
                      <a:pt x="113" y="359"/>
                    </a:lnTo>
                    <a:lnTo>
                      <a:pt x="112" y="359"/>
                    </a:lnTo>
                    <a:lnTo>
                      <a:pt x="112" y="359"/>
                    </a:lnTo>
                    <a:lnTo>
                      <a:pt x="106" y="361"/>
                    </a:lnTo>
                    <a:lnTo>
                      <a:pt x="103" y="359"/>
                    </a:lnTo>
                    <a:lnTo>
                      <a:pt x="100" y="358"/>
                    </a:lnTo>
                    <a:lnTo>
                      <a:pt x="100" y="358"/>
                    </a:lnTo>
                    <a:lnTo>
                      <a:pt x="99" y="358"/>
                    </a:lnTo>
                    <a:lnTo>
                      <a:pt x="100" y="356"/>
                    </a:lnTo>
                    <a:lnTo>
                      <a:pt x="105" y="3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95" name="Freeform 1150"/>
              <p:cNvSpPr>
                <a:spLocks/>
              </p:cNvSpPr>
              <p:nvPr/>
            </p:nvSpPr>
            <p:spPr bwMode="auto">
              <a:xfrm>
                <a:off x="4580903" y="1801593"/>
                <a:ext cx="210712" cy="472866"/>
              </a:xfrm>
              <a:custGeom>
                <a:avLst/>
                <a:gdLst>
                  <a:gd name="T0" fmla="*/ 206 w 213"/>
                  <a:gd name="T1" fmla="*/ 112 h 478"/>
                  <a:gd name="T2" fmla="*/ 212 w 213"/>
                  <a:gd name="T3" fmla="*/ 86 h 478"/>
                  <a:gd name="T4" fmla="*/ 206 w 213"/>
                  <a:gd name="T5" fmla="*/ 68 h 478"/>
                  <a:gd name="T6" fmla="*/ 203 w 213"/>
                  <a:gd name="T7" fmla="*/ 52 h 478"/>
                  <a:gd name="T8" fmla="*/ 194 w 213"/>
                  <a:gd name="T9" fmla="*/ 28 h 478"/>
                  <a:gd name="T10" fmla="*/ 171 w 213"/>
                  <a:gd name="T11" fmla="*/ 7 h 478"/>
                  <a:gd name="T12" fmla="*/ 150 w 213"/>
                  <a:gd name="T13" fmla="*/ 15 h 478"/>
                  <a:gd name="T14" fmla="*/ 129 w 213"/>
                  <a:gd name="T15" fmla="*/ 19 h 478"/>
                  <a:gd name="T16" fmla="*/ 116 w 213"/>
                  <a:gd name="T17" fmla="*/ 22 h 478"/>
                  <a:gd name="T18" fmla="*/ 112 w 213"/>
                  <a:gd name="T19" fmla="*/ 38 h 478"/>
                  <a:gd name="T20" fmla="*/ 100 w 213"/>
                  <a:gd name="T21" fmla="*/ 38 h 478"/>
                  <a:gd name="T22" fmla="*/ 84 w 213"/>
                  <a:gd name="T23" fmla="*/ 68 h 478"/>
                  <a:gd name="T24" fmla="*/ 71 w 213"/>
                  <a:gd name="T25" fmla="*/ 112 h 478"/>
                  <a:gd name="T26" fmla="*/ 60 w 213"/>
                  <a:gd name="T27" fmla="*/ 128 h 478"/>
                  <a:gd name="T28" fmla="*/ 51 w 213"/>
                  <a:gd name="T29" fmla="*/ 165 h 478"/>
                  <a:gd name="T30" fmla="*/ 54 w 213"/>
                  <a:gd name="T31" fmla="*/ 183 h 478"/>
                  <a:gd name="T32" fmla="*/ 31 w 213"/>
                  <a:gd name="T33" fmla="*/ 197 h 478"/>
                  <a:gd name="T34" fmla="*/ 24 w 213"/>
                  <a:gd name="T35" fmla="*/ 225 h 478"/>
                  <a:gd name="T36" fmla="*/ 31 w 213"/>
                  <a:gd name="T37" fmla="*/ 294 h 478"/>
                  <a:gd name="T38" fmla="*/ 28 w 213"/>
                  <a:gd name="T39" fmla="*/ 303 h 478"/>
                  <a:gd name="T40" fmla="*/ 28 w 213"/>
                  <a:gd name="T41" fmla="*/ 323 h 478"/>
                  <a:gd name="T42" fmla="*/ 21 w 213"/>
                  <a:gd name="T43" fmla="*/ 343 h 478"/>
                  <a:gd name="T44" fmla="*/ 15 w 213"/>
                  <a:gd name="T45" fmla="*/ 371 h 478"/>
                  <a:gd name="T46" fmla="*/ 0 w 213"/>
                  <a:gd name="T47" fmla="*/ 368 h 478"/>
                  <a:gd name="T48" fmla="*/ 5 w 213"/>
                  <a:gd name="T49" fmla="*/ 390 h 478"/>
                  <a:gd name="T50" fmla="*/ 13 w 213"/>
                  <a:gd name="T51" fmla="*/ 397 h 478"/>
                  <a:gd name="T52" fmla="*/ 16 w 213"/>
                  <a:gd name="T53" fmla="*/ 401 h 478"/>
                  <a:gd name="T54" fmla="*/ 25 w 213"/>
                  <a:gd name="T55" fmla="*/ 438 h 478"/>
                  <a:gd name="T56" fmla="*/ 31 w 213"/>
                  <a:gd name="T57" fmla="*/ 461 h 478"/>
                  <a:gd name="T58" fmla="*/ 29 w 213"/>
                  <a:gd name="T59" fmla="*/ 474 h 478"/>
                  <a:gd name="T60" fmla="*/ 53 w 213"/>
                  <a:gd name="T61" fmla="*/ 477 h 478"/>
                  <a:gd name="T62" fmla="*/ 60 w 213"/>
                  <a:gd name="T63" fmla="*/ 461 h 478"/>
                  <a:gd name="T64" fmla="*/ 77 w 213"/>
                  <a:gd name="T65" fmla="*/ 453 h 478"/>
                  <a:gd name="T66" fmla="*/ 95 w 213"/>
                  <a:gd name="T67" fmla="*/ 417 h 478"/>
                  <a:gd name="T68" fmla="*/ 95 w 213"/>
                  <a:gd name="T69" fmla="*/ 396 h 478"/>
                  <a:gd name="T70" fmla="*/ 112 w 213"/>
                  <a:gd name="T71" fmla="*/ 371 h 478"/>
                  <a:gd name="T72" fmla="*/ 119 w 213"/>
                  <a:gd name="T73" fmla="*/ 364 h 478"/>
                  <a:gd name="T74" fmla="*/ 129 w 213"/>
                  <a:gd name="T75" fmla="*/ 345 h 478"/>
                  <a:gd name="T76" fmla="*/ 122 w 213"/>
                  <a:gd name="T77" fmla="*/ 323 h 478"/>
                  <a:gd name="T78" fmla="*/ 106 w 213"/>
                  <a:gd name="T79" fmla="*/ 317 h 478"/>
                  <a:gd name="T80" fmla="*/ 99 w 213"/>
                  <a:gd name="T81" fmla="*/ 296 h 478"/>
                  <a:gd name="T82" fmla="*/ 105 w 213"/>
                  <a:gd name="T83" fmla="*/ 275 h 478"/>
                  <a:gd name="T84" fmla="*/ 100 w 213"/>
                  <a:gd name="T85" fmla="*/ 254 h 478"/>
                  <a:gd name="T86" fmla="*/ 109 w 213"/>
                  <a:gd name="T87" fmla="*/ 254 h 478"/>
                  <a:gd name="T88" fmla="*/ 125 w 213"/>
                  <a:gd name="T89" fmla="*/ 235 h 478"/>
                  <a:gd name="T90" fmla="*/ 134 w 213"/>
                  <a:gd name="T91" fmla="*/ 216 h 478"/>
                  <a:gd name="T92" fmla="*/ 157 w 213"/>
                  <a:gd name="T93" fmla="*/ 201 h 478"/>
                  <a:gd name="T94" fmla="*/ 171 w 213"/>
                  <a:gd name="T95" fmla="*/ 180 h 478"/>
                  <a:gd name="T96" fmla="*/ 166 w 213"/>
                  <a:gd name="T97" fmla="*/ 168 h 478"/>
                  <a:gd name="T98" fmla="*/ 170 w 213"/>
                  <a:gd name="T99" fmla="*/ 155 h 478"/>
                  <a:gd name="T100" fmla="*/ 180 w 213"/>
                  <a:gd name="T101" fmla="*/ 144 h 478"/>
                  <a:gd name="T102" fmla="*/ 181 w 213"/>
                  <a:gd name="T103" fmla="*/ 135 h 478"/>
                  <a:gd name="T104" fmla="*/ 200 w 213"/>
                  <a:gd name="T105" fmla="*/ 135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3" h="478">
                    <a:moveTo>
                      <a:pt x="208" y="117"/>
                    </a:moveTo>
                    <a:lnTo>
                      <a:pt x="208" y="117"/>
                    </a:lnTo>
                    <a:lnTo>
                      <a:pt x="208" y="115"/>
                    </a:lnTo>
                    <a:lnTo>
                      <a:pt x="206" y="112"/>
                    </a:lnTo>
                    <a:lnTo>
                      <a:pt x="206" y="112"/>
                    </a:lnTo>
                    <a:lnTo>
                      <a:pt x="209" y="102"/>
                    </a:lnTo>
                    <a:lnTo>
                      <a:pt x="212" y="96"/>
                    </a:lnTo>
                    <a:lnTo>
                      <a:pt x="213" y="90"/>
                    </a:lnTo>
                    <a:lnTo>
                      <a:pt x="213" y="90"/>
                    </a:lnTo>
                    <a:lnTo>
                      <a:pt x="212" y="86"/>
                    </a:lnTo>
                    <a:lnTo>
                      <a:pt x="209" y="81"/>
                    </a:lnTo>
                    <a:lnTo>
                      <a:pt x="206" y="78"/>
                    </a:lnTo>
                    <a:lnTo>
                      <a:pt x="205" y="74"/>
                    </a:lnTo>
                    <a:lnTo>
                      <a:pt x="205" y="74"/>
                    </a:lnTo>
                    <a:lnTo>
                      <a:pt x="206" y="68"/>
                    </a:lnTo>
                    <a:lnTo>
                      <a:pt x="205" y="64"/>
                    </a:lnTo>
                    <a:lnTo>
                      <a:pt x="205" y="64"/>
                    </a:lnTo>
                    <a:lnTo>
                      <a:pt x="203" y="58"/>
                    </a:lnTo>
                    <a:lnTo>
                      <a:pt x="203" y="52"/>
                    </a:lnTo>
                    <a:lnTo>
                      <a:pt x="203" y="52"/>
                    </a:lnTo>
                    <a:lnTo>
                      <a:pt x="203" y="46"/>
                    </a:lnTo>
                    <a:lnTo>
                      <a:pt x="203" y="44"/>
                    </a:lnTo>
                    <a:lnTo>
                      <a:pt x="202" y="39"/>
                    </a:lnTo>
                    <a:lnTo>
                      <a:pt x="202" y="39"/>
                    </a:lnTo>
                    <a:lnTo>
                      <a:pt x="194" y="28"/>
                    </a:lnTo>
                    <a:lnTo>
                      <a:pt x="192" y="22"/>
                    </a:lnTo>
                    <a:lnTo>
                      <a:pt x="187" y="18"/>
                    </a:lnTo>
                    <a:lnTo>
                      <a:pt x="187" y="18"/>
                    </a:lnTo>
                    <a:lnTo>
                      <a:pt x="180" y="13"/>
                    </a:lnTo>
                    <a:lnTo>
                      <a:pt x="171" y="7"/>
                    </a:lnTo>
                    <a:lnTo>
                      <a:pt x="171" y="7"/>
                    </a:lnTo>
                    <a:lnTo>
                      <a:pt x="163" y="4"/>
                    </a:lnTo>
                    <a:lnTo>
                      <a:pt x="150" y="0"/>
                    </a:lnTo>
                    <a:lnTo>
                      <a:pt x="150" y="0"/>
                    </a:lnTo>
                    <a:lnTo>
                      <a:pt x="150" y="15"/>
                    </a:lnTo>
                    <a:lnTo>
                      <a:pt x="148" y="20"/>
                    </a:lnTo>
                    <a:lnTo>
                      <a:pt x="147" y="22"/>
                    </a:lnTo>
                    <a:lnTo>
                      <a:pt x="145" y="23"/>
                    </a:lnTo>
                    <a:lnTo>
                      <a:pt x="145" y="23"/>
                    </a:lnTo>
                    <a:lnTo>
                      <a:pt x="129" y="19"/>
                    </a:lnTo>
                    <a:lnTo>
                      <a:pt x="122" y="16"/>
                    </a:lnTo>
                    <a:lnTo>
                      <a:pt x="116" y="18"/>
                    </a:lnTo>
                    <a:lnTo>
                      <a:pt x="116" y="18"/>
                    </a:lnTo>
                    <a:lnTo>
                      <a:pt x="116" y="19"/>
                    </a:lnTo>
                    <a:lnTo>
                      <a:pt x="116" y="22"/>
                    </a:lnTo>
                    <a:lnTo>
                      <a:pt x="116" y="28"/>
                    </a:lnTo>
                    <a:lnTo>
                      <a:pt x="116" y="35"/>
                    </a:lnTo>
                    <a:lnTo>
                      <a:pt x="115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08" y="38"/>
                    </a:lnTo>
                    <a:lnTo>
                      <a:pt x="106" y="36"/>
                    </a:lnTo>
                    <a:lnTo>
                      <a:pt x="103" y="35"/>
                    </a:lnTo>
                    <a:lnTo>
                      <a:pt x="100" y="38"/>
                    </a:lnTo>
                    <a:lnTo>
                      <a:pt x="100" y="38"/>
                    </a:lnTo>
                    <a:lnTo>
                      <a:pt x="96" y="44"/>
                    </a:lnTo>
                    <a:lnTo>
                      <a:pt x="92" y="49"/>
                    </a:lnTo>
                    <a:lnTo>
                      <a:pt x="86" y="61"/>
                    </a:lnTo>
                    <a:lnTo>
                      <a:pt x="86" y="61"/>
                    </a:lnTo>
                    <a:lnTo>
                      <a:pt x="84" y="68"/>
                    </a:lnTo>
                    <a:lnTo>
                      <a:pt x="82" y="81"/>
                    </a:lnTo>
                    <a:lnTo>
                      <a:pt x="79" y="94"/>
                    </a:lnTo>
                    <a:lnTo>
                      <a:pt x="76" y="103"/>
                    </a:lnTo>
                    <a:lnTo>
                      <a:pt x="76" y="103"/>
                    </a:lnTo>
                    <a:lnTo>
                      <a:pt x="71" y="112"/>
                    </a:lnTo>
                    <a:lnTo>
                      <a:pt x="68" y="116"/>
                    </a:lnTo>
                    <a:lnTo>
                      <a:pt x="66" y="120"/>
                    </a:lnTo>
                    <a:lnTo>
                      <a:pt x="66" y="120"/>
                    </a:lnTo>
                    <a:lnTo>
                      <a:pt x="61" y="123"/>
                    </a:lnTo>
                    <a:lnTo>
                      <a:pt x="60" y="128"/>
                    </a:lnTo>
                    <a:lnTo>
                      <a:pt x="57" y="136"/>
                    </a:lnTo>
                    <a:lnTo>
                      <a:pt x="57" y="136"/>
                    </a:lnTo>
                    <a:lnTo>
                      <a:pt x="55" y="152"/>
                    </a:lnTo>
                    <a:lnTo>
                      <a:pt x="54" y="161"/>
                    </a:lnTo>
                    <a:lnTo>
                      <a:pt x="51" y="165"/>
                    </a:lnTo>
                    <a:lnTo>
                      <a:pt x="51" y="165"/>
                    </a:lnTo>
                    <a:lnTo>
                      <a:pt x="51" y="168"/>
                    </a:lnTo>
                    <a:lnTo>
                      <a:pt x="51" y="171"/>
                    </a:lnTo>
                    <a:lnTo>
                      <a:pt x="53" y="177"/>
                    </a:lnTo>
                    <a:lnTo>
                      <a:pt x="54" y="183"/>
                    </a:lnTo>
                    <a:lnTo>
                      <a:pt x="53" y="186"/>
                    </a:lnTo>
                    <a:lnTo>
                      <a:pt x="50" y="187"/>
                    </a:lnTo>
                    <a:lnTo>
                      <a:pt x="50" y="187"/>
                    </a:lnTo>
                    <a:lnTo>
                      <a:pt x="38" y="193"/>
                    </a:lnTo>
                    <a:lnTo>
                      <a:pt x="31" y="197"/>
                    </a:lnTo>
                    <a:lnTo>
                      <a:pt x="31" y="197"/>
                    </a:lnTo>
                    <a:lnTo>
                      <a:pt x="26" y="207"/>
                    </a:lnTo>
                    <a:lnTo>
                      <a:pt x="25" y="216"/>
                    </a:lnTo>
                    <a:lnTo>
                      <a:pt x="24" y="225"/>
                    </a:lnTo>
                    <a:lnTo>
                      <a:pt x="24" y="225"/>
                    </a:lnTo>
                    <a:lnTo>
                      <a:pt x="24" y="259"/>
                    </a:lnTo>
                    <a:lnTo>
                      <a:pt x="24" y="278"/>
                    </a:lnTo>
                    <a:lnTo>
                      <a:pt x="25" y="288"/>
                    </a:lnTo>
                    <a:lnTo>
                      <a:pt x="25" y="288"/>
                    </a:lnTo>
                    <a:lnTo>
                      <a:pt x="31" y="294"/>
                    </a:lnTo>
                    <a:lnTo>
                      <a:pt x="32" y="299"/>
                    </a:lnTo>
                    <a:lnTo>
                      <a:pt x="32" y="300"/>
                    </a:lnTo>
                    <a:lnTo>
                      <a:pt x="32" y="300"/>
                    </a:lnTo>
                    <a:lnTo>
                      <a:pt x="32" y="300"/>
                    </a:lnTo>
                    <a:lnTo>
                      <a:pt x="28" y="303"/>
                    </a:lnTo>
                    <a:lnTo>
                      <a:pt x="26" y="304"/>
                    </a:lnTo>
                    <a:lnTo>
                      <a:pt x="26" y="309"/>
                    </a:lnTo>
                    <a:lnTo>
                      <a:pt x="26" y="309"/>
                    </a:lnTo>
                    <a:lnTo>
                      <a:pt x="26" y="316"/>
                    </a:lnTo>
                    <a:lnTo>
                      <a:pt x="28" y="323"/>
                    </a:lnTo>
                    <a:lnTo>
                      <a:pt x="29" y="329"/>
                    </a:lnTo>
                    <a:lnTo>
                      <a:pt x="28" y="332"/>
                    </a:lnTo>
                    <a:lnTo>
                      <a:pt x="26" y="335"/>
                    </a:lnTo>
                    <a:lnTo>
                      <a:pt x="26" y="335"/>
                    </a:lnTo>
                    <a:lnTo>
                      <a:pt x="21" y="343"/>
                    </a:lnTo>
                    <a:lnTo>
                      <a:pt x="19" y="348"/>
                    </a:lnTo>
                    <a:lnTo>
                      <a:pt x="18" y="354"/>
                    </a:lnTo>
                    <a:lnTo>
                      <a:pt x="18" y="354"/>
                    </a:lnTo>
                    <a:lnTo>
                      <a:pt x="16" y="367"/>
                    </a:lnTo>
                    <a:lnTo>
                      <a:pt x="15" y="371"/>
                    </a:lnTo>
                    <a:lnTo>
                      <a:pt x="13" y="372"/>
                    </a:lnTo>
                    <a:lnTo>
                      <a:pt x="11" y="372"/>
                    </a:lnTo>
                    <a:lnTo>
                      <a:pt x="11" y="372"/>
                    </a:lnTo>
                    <a:lnTo>
                      <a:pt x="0" y="368"/>
                    </a:lnTo>
                    <a:lnTo>
                      <a:pt x="0" y="368"/>
                    </a:lnTo>
                    <a:lnTo>
                      <a:pt x="2" y="371"/>
                    </a:lnTo>
                    <a:lnTo>
                      <a:pt x="2" y="371"/>
                    </a:lnTo>
                    <a:lnTo>
                      <a:pt x="3" y="377"/>
                    </a:lnTo>
                    <a:lnTo>
                      <a:pt x="5" y="383"/>
                    </a:lnTo>
                    <a:lnTo>
                      <a:pt x="5" y="390"/>
                    </a:lnTo>
                    <a:lnTo>
                      <a:pt x="6" y="394"/>
                    </a:lnTo>
                    <a:lnTo>
                      <a:pt x="6" y="394"/>
                    </a:lnTo>
                    <a:lnTo>
                      <a:pt x="8" y="396"/>
                    </a:lnTo>
                    <a:lnTo>
                      <a:pt x="11" y="397"/>
                    </a:lnTo>
                    <a:lnTo>
                      <a:pt x="13" y="397"/>
                    </a:lnTo>
                    <a:lnTo>
                      <a:pt x="16" y="394"/>
                    </a:lnTo>
                    <a:lnTo>
                      <a:pt x="16" y="394"/>
                    </a:lnTo>
                    <a:lnTo>
                      <a:pt x="18" y="394"/>
                    </a:lnTo>
                    <a:lnTo>
                      <a:pt x="18" y="396"/>
                    </a:lnTo>
                    <a:lnTo>
                      <a:pt x="16" y="401"/>
                    </a:lnTo>
                    <a:lnTo>
                      <a:pt x="13" y="414"/>
                    </a:lnTo>
                    <a:lnTo>
                      <a:pt x="13" y="414"/>
                    </a:lnTo>
                    <a:lnTo>
                      <a:pt x="15" y="420"/>
                    </a:lnTo>
                    <a:lnTo>
                      <a:pt x="18" y="426"/>
                    </a:lnTo>
                    <a:lnTo>
                      <a:pt x="25" y="438"/>
                    </a:lnTo>
                    <a:lnTo>
                      <a:pt x="25" y="438"/>
                    </a:lnTo>
                    <a:lnTo>
                      <a:pt x="28" y="448"/>
                    </a:lnTo>
                    <a:lnTo>
                      <a:pt x="31" y="456"/>
                    </a:lnTo>
                    <a:lnTo>
                      <a:pt x="31" y="456"/>
                    </a:lnTo>
                    <a:lnTo>
                      <a:pt x="31" y="461"/>
                    </a:lnTo>
                    <a:lnTo>
                      <a:pt x="29" y="467"/>
                    </a:lnTo>
                    <a:lnTo>
                      <a:pt x="29" y="471"/>
                    </a:lnTo>
                    <a:lnTo>
                      <a:pt x="29" y="472"/>
                    </a:lnTo>
                    <a:lnTo>
                      <a:pt x="29" y="474"/>
                    </a:lnTo>
                    <a:lnTo>
                      <a:pt x="29" y="474"/>
                    </a:lnTo>
                    <a:lnTo>
                      <a:pt x="37" y="475"/>
                    </a:lnTo>
                    <a:lnTo>
                      <a:pt x="41" y="477"/>
                    </a:lnTo>
                    <a:lnTo>
                      <a:pt x="47" y="478"/>
                    </a:lnTo>
                    <a:lnTo>
                      <a:pt x="47" y="478"/>
                    </a:lnTo>
                    <a:lnTo>
                      <a:pt x="53" y="477"/>
                    </a:lnTo>
                    <a:lnTo>
                      <a:pt x="54" y="475"/>
                    </a:lnTo>
                    <a:lnTo>
                      <a:pt x="55" y="472"/>
                    </a:lnTo>
                    <a:lnTo>
                      <a:pt x="55" y="472"/>
                    </a:lnTo>
                    <a:lnTo>
                      <a:pt x="57" y="465"/>
                    </a:lnTo>
                    <a:lnTo>
                      <a:pt x="60" y="461"/>
                    </a:lnTo>
                    <a:lnTo>
                      <a:pt x="64" y="456"/>
                    </a:lnTo>
                    <a:lnTo>
                      <a:pt x="64" y="456"/>
                    </a:lnTo>
                    <a:lnTo>
                      <a:pt x="70" y="453"/>
                    </a:lnTo>
                    <a:lnTo>
                      <a:pt x="74" y="453"/>
                    </a:lnTo>
                    <a:lnTo>
                      <a:pt x="77" y="453"/>
                    </a:lnTo>
                    <a:lnTo>
                      <a:pt x="80" y="453"/>
                    </a:lnTo>
                    <a:lnTo>
                      <a:pt x="80" y="453"/>
                    </a:lnTo>
                    <a:lnTo>
                      <a:pt x="83" y="449"/>
                    </a:lnTo>
                    <a:lnTo>
                      <a:pt x="87" y="438"/>
                    </a:lnTo>
                    <a:lnTo>
                      <a:pt x="95" y="417"/>
                    </a:lnTo>
                    <a:lnTo>
                      <a:pt x="95" y="417"/>
                    </a:lnTo>
                    <a:lnTo>
                      <a:pt x="95" y="410"/>
                    </a:lnTo>
                    <a:lnTo>
                      <a:pt x="95" y="404"/>
                    </a:lnTo>
                    <a:lnTo>
                      <a:pt x="95" y="396"/>
                    </a:lnTo>
                    <a:lnTo>
                      <a:pt x="95" y="396"/>
                    </a:lnTo>
                    <a:lnTo>
                      <a:pt x="100" y="383"/>
                    </a:lnTo>
                    <a:lnTo>
                      <a:pt x="108" y="371"/>
                    </a:lnTo>
                    <a:lnTo>
                      <a:pt x="108" y="371"/>
                    </a:lnTo>
                    <a:lnTo>
                      <a:pt x="110" y="371"/>
                    </a:lnTo>
                    <a:lnTo>
                      <a:pt x="112" y="371"/>
                    </a:lnTo>
                    <a:lnTo>
                      <a:pt x="113" y="371"/>
                    </a:lnTo>
                    <a:lnTo>
                      <a:pt x="115" y="371"/>
                    </a:lnTo>
                    <a:lnTo>
                      <a:pt x="115" y="371"/>
                    </a:lnTo>
                    <a:lnTo>
                      <a:pt x="116" y="369"/>
                    </a:lnTo>
                    <a:lnTo>
                      <a:pt x="119" y="364"/>
                    </a:lnTo>
                    <a:lnTo>
                      <a:pt x="121" y="358"/>
                    </a:lnTo>
                    <a:lnTo>
                      <a:pt x="124" y="355"/>
                    </a:lnTo>
                    <a:lnTo>
                      <a:pt x="124" y="355"/>
                    </a:lnTo>
                    <a:lnTo>
                      <a:pt x="128" y="351"/>
                    </a:lnTo>
                    <a:lnTo>
                      <a:pt x="129" y="345"/>
                    </a:lnTo>
                    <a:lnTo>
                      <a:pt x="129" y="345"/>
                    </a:lnTo>
                    <a:lnTo>
                      <a:pt x="128" y="336"/>
                    </a:lnTo>
                    <a:lnTo>
                      <a:pt x="125" y="327"/>
                    </a:lnTo>
                    <a:lnTo>
                      <a:pt x="125" y="327"/>
                    </a:lnTo>
                    <a:lnTo>
                      <a:pt x="122" y="323"/>
                    </a:lnTo>
                    <a:lnTo>
                      <a:pt x="119" y="320"/>
                    </a:lnTo>
                    <a:lnTo>
                      <a:pt x="115" y="319"/>
                    </a:lnTo>
                    <a:lnTo>
                      <a:pt x="110" y="319"/>
                    </a:lnTo>
                    <a:lnTo>
                      <a:pt x="110" y="319"/>
                    </a:lnTo>
                    <a:lnTo>
                      <a:pt x="106" y="317"/>
                    </a:lnTo>
                    <a:lnTo>
                      <a:pt x="103" y="316"/>
                    </a:lnTo>
                    <a:lnTo>
                      <a:pt x="99" y="307"/>
                    </a:lnTo>
                    <a:lnTo>
                      <a:pt x="99" y="307"/>
                    </a:lnTo>
                    <a:lnTo>
                      <a:pt x="97" y="301"/>
                    </a:lnTo>
                    <a:lnTo>
                      <a:pt x="99" y="296"/>
                    </a:lnTo>
                    <a:lnTo>
                      <a:pt x="100" y="290"/>
                    </a:lnTo>
                    <a:lnTo>
                      <a:pt x="103" y="287"/>
                    </a:lnTo>
                    <a:lnTo>
                      <a:pt x="103" y="287"/>
                    </a:lnTo>
                    <a:lnTo>
                      <a:pt x="105" y="283"/>
                    </a:lnTo>
                    <a:lnTo>
                      <a:pt x="105" y="275"/>
                    </a:lnTo>
                    <a:lnTo>
                      <a:pt x="105" y="264"/>
                    </a:lnTo>
                    <a:lnTo>
                      <a:pt x="105" y="264"/>
                    </a:lnTo>
                    <a:lnTo>
                      <a:pt x="105" y="261"/>
                    </a:lnTo>
                    <a:lnTo>
                      <a:pt x="103" y="258"/>
                    </a:lnTo>
                    <a:lnTo>
                      <a:pt x="100" y="254"/>
                    </a:lnTo>
                    <a:lnTo>
                      <a:pt x="99" y="251"/>
                    </a:lnTo>
                    <a:lnTo>
                      <a:pt x="99" y="251"/>
                    </a:lnTo>
                    <a:lnTo>
                      <a:pt x="100" y="249"/>
                    </a:lnTo>
                    <a:lnTo>
                      <a:pt x="102" y="251"/>
                    </a:lnTo>
                    <a:lnTo>
                      <a:pt x="109" y="254"/>
                    </a:lnTo>
                    <a:lnTo>
                      <a:pt x="109" y="254"/>
                    </a:lnTo>
                    <a:lnTo>
                      <a:pt x="110" y="254"/>
                    </a:lnTo>
                    <a:lnTo>
                      <a:pt x="112" y="252"/>
                    </a:lnTo>
                    <a:lnTo>
                      <a:pt x="116" y="246"/>
                    </a:lnTo>
                    <a:lnTo>
                      <a:pt x="125" y="235"/>
                    </a:lnTo>
                    <a:lnTo>
                      <a:pt x="125" y="235"/>
                    </a:lnTo>
                    <a:lnTo>
                      <a:pt x="128" y="226"/>
                    </a:lnTo>
                    <a:lnTo>
                      <a:pt x="131" y="217"/>
                    </a:lnTo>
                    <a:lnTo>
                      <a:pt x="131" y="217"/>
                    </a:lnTo>
                    <a:lnTo>
                      <a:pt x="134" y="216"/>
                    </a:lnTo>
                    <a:lnTo>
                      <a:pt x="138" y="213"/>
                    </a:lnTo>
                    <a:lnTo>
                      <a:pt x="147" y="209"/>
                    </a:lnTo>
                    <a:lnTo>
                      <a:pt x="147" y="209"/>
                    </a:lnTo>
                    <a:lnTo>
                      <a:pt x="154" y="204"/>
                    </a:lnTo>
                    <a:lnTo>
                      <a:pt x="157" y="201"/>
                    </a:lnTo>
                    <a:lnTo>
                      <a:pt x="158" y="197"/>
                    </a:lnTo>
                    <a:lnTo>
                      <a:pt x="158" y="197"/>
                    </a:lnTo>
                    <a:lnTo>
                      <a:pt x="161" y="193"/>
                    </a:lnTo>
                    <a:lnTo>
                      <a:pt x="164" y="187"/>
                    </a:lnTo>
                    <a:lnTo>
                      <a:pt x="171" y="180"/>
                    </a:lnTo>
                    <a:lnTo>
                      <a:pt x="171" y="180"/>
                    </a:lnTo>
                    <a:lnTo>
                      <a:pt x="171" y="177"/>
                    </a:lnTo>
                    <a:lnTo>
                      <a:pt x="170" y="174"/>
                    </a:lnTo>
                    <a:lnTo>
                      <a:pt x="166" y="168"/>
                    </a:lnTo>
                    <a:lnTo>
                      <a:pt x="166" y="168"/>
                    </a:lnTo>
                    <a:lnTo>
                      <a:pt x="164" y="164"/>
                    </a:lnTo>
                    <a:lnTo>
                      <a:pt x="164" y="162"/>
                    </a:lnTo>
                    <a:lnTo>
                      <a:pt x="168" y="159"/>
                    </a:lnTo>
                    <a:lnTo>
                      <a:pt x="168" y="159"/>
                    </a:lnTo>
                    <a:lnTo>
                      <a:pt x="170" y="155"/>
                    </a:lnTo>
                    <a:lnTo>
                      <a:pt x="171" y="152"/>
                    </a:lnTo>
                    <a:lnTo>
                      <a:pt x="171" y="152"/>
                    </a:lnTo>
                    <a:lnTo>
                      <a:pt x="174" y="149"/>
                    </a:lnTo>
                    <a:lnTo>
                      <a:pt x="180" y="144"/>
                    </a:lnTo>
                    <a:lnTo>
                      <a:pt x="180" y="144"/>
                    </a:lnTo>
                    <a:lnTo>
                      <a:pt x="183" y="142"/>
                    </a:lnTo>
                    <a:lnTo>
                      <a:pt x="183" y="139"/>
                    </a:lnTo>
                    <a:lnTo>
                      <a:pt x="181" y="138"/>
                    </a:lnTo>
                    <a:lnTo>
                      <a:pt x="181" y="135"/>
                    </a:lnTo>
                    <a:lnTo>
                      <a:pt x="181" y="135"/>
                    </a:lnTo>
                    <a:lnTo>
                      <a:pt x="183" y="133"/>
                    </a:lnTo>
                    <a:lnTo>
                      <a:pt x="187" y="133"/>
                    </a:lnTo>
                    <a:lnTo>
                      <a:pt x="196" y="135"/>
                    </a:lnTo>
                    <a:lnTo>
                      <a:pt x="196" y="135"/>
                    </a:lnTo>
                    <a:lnTo>
                      <a:pt x="200" y="135"/>
                    </a:lnTo>
                    <a:lnTo>
                      <a:pt x="203" y="135"/>
                    </a:lnTo>
                    <a:lnTo>
                      <a:pt x="212" y="133"/>
                    </a:lnTo>
                    <a:lnTo>
                      <a:pt x="212" y="133"/>
                    </a:lnTo>
                    <a:lnTo>
                      <a:pt x="208" y="1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96" name="Freeform 1151"/>
              <p:cNvSpPr>
                <a:spLocks/>
              </p:cNvSpPr>
              <p:nvPr/>
            </p:nvSpPr>
            <p:spPr bwMode="auto">
              <a:xfrm>
                <a:off x="4608603" y="2158716"/>
                <a:ext cx="24731" cy="23742"/>
              </a:xfrm>
              <a:custGeom>
                <a:avLst/>
                <a:gdLst>
                  <a:gd name="T0" fmla="*/ 10 w 25"/>
                  <a:gd name="T1" fmla="*/ 22 h 24"/>
                  <a:gd name="T2" fmla="*/ 10 w 25"/>
                  <a:gd name="T3" fmla="*/ 22 h 24"/>
                  <a:gd name="T4" fmla="*/ 7 w 25"/>
                  <a:gd name="T5" fmla="*/ 22 h 24"/>
                  <a:gd name="T6" fmla="*/ 4 w 25"/>
                  <a:gd name="T7" fmla="*/ 23 h 24"/>
                  <a:gd name="T8" fmla="*/ 1 w 25"/>
                  <a:gd name="T9" fmla="*/ 24 h 24"/>
                  <a:gd name="T10" fmla="*/ 0 w 25"/>
                  <a:gd name="T11" fmla="*/ 24 h 24"/>
                  <a:gd name="T12" fmla="*/ 0 w 25"/>
                  <a:gd name="T13" fmla="*/ 24 h 24"/>
                  <a:gd name="T14" fmla="*/ 0 w 25"/>
                  <a:gd name="T15" fmla="*/ 24 h 24"/>
                  <a:gd name="T16" fmla="*/ 0 w 25"/>
                  <a:gd name="T17" fmla="*/ 20 h 24"/>
                  <a:gd name="T18" fmla="*/ 0 w 25"/>
                  <a:gd name="T19" fmla="*/ 16 h 24"/>
                  <a:gd name="T20" fmla="*/ 0 w 25"/>
                  <a:gd name="T21" fmla="*/ 10 h 24"/>
                  <a:gd name="T22" fmla="*/ 1 w 25"/>
                  <a:gd name="T23" fmla="*/ 7 h 24"/>
                  <a:gd name="T24" fmla="*/ 1 w 25"/>
                  <a:gd name="T25" fmla="*/ 7 h 24"/>
                  <a:gd name="T26" fmla="*/ 3 w 25"/>
                  <a:gd name="T27" fmla="*/ 7 h 24"/>
                  <a:gd name="T28" fmla="*/ 4 w 25"/>
                  <a:gd name="T29" fmla="*/ 8 h 24"/>
                  <a:gd name="T30" fmla="*/ 6 w 25"/>
                  <a:gd name="T31" fmla="*/ 10 h 24"/>
                  <a:gd name="T32" fmla="*/ 7 w 25"/>
                  <a:gd name="T33" fmla="*/ 10 h 24"/>
                  <a:gd name="T34" fmla="*/ 7 w 25"/>
                  <a:gd name="T35" fmla="*/ 10 h 24"/>
                  <a:gd name="T36" fmla="*/ 9 w 25"/>
                  <a:gd name="T37" fmla="*/ 10 h 24"/>
                  <a:gd name="T38" fmla="*/ 10 w 25"/>
                  <a:gd name="T39" fmla="*/ 7 h 24"/>
                  <a:gd name="T40" fmla="*/ 10 w 25"/>
                  <a:gd name="T41" fmla="*/ 6 h 24"/>
                  <a:gd name="T42" fmla="*/ 12 w 25"/>
                  <a:gd name="T43" fmla="*/ 4 h 24"/>
                  <a:gd name="T44" fmla="*/ 12 w 25"/>
                  <a:gd name="T45" fmla="*/ 4 h 24"/>
                  <a:gd name="T46" fmla="*/ 16 w 25"/>
                  <a:gd name="T47" fmla="*/ 1 h 24"/>
                  <a:gd name="T48" fmla="*/ 17 w 25"/>
                  <a:gd name="T49" fmla="*/ 0 h 24"/>
                  <a:gd name="T50" fmla="*/ 20 w 25"/>
                  <a:gd name="T51" fmla="*/ 0 h 24"/>
                  <a:gd name="T52" fmla="*/ 20 w 25"/>
                  <a:gd name="T53" fmla="*/ 0 h 24"/>
                  <a:gd name="T54" fmla="*/ 23 w 25"/>
                  <a:gd name="T55" fmla="*/ 6 h 24"/>
                  <a:gd name="T56" fmla="*/ 25 w 25"/>
                  <a:gd name="T57" fmla="*/ 10 h 24"/>
                  <a:gd name="T58" fmla="*/ 25 w 25"/>
                  <a:gd name="T59" fmla="*/ 10 h 24"/>
                  <a:gd name="T60" fmla="*/ 23 w 25"/>
                  <a:gd name="T61" fmla="*/ 13 h 24"/>
                  <a:gd name="T62" fmla="*/ 19 w 25"/>
                  <a:gd name="T63" fmla="*/ 17 h 24"/>
                  <a:gd name="T64" fmla="*/ 13 w 25"/>
                  <a:gd name="T65" fmla="*/ 22 h 24"/>
                  <a:gd name="T66" fmla="*/ 12 w 25"/>
                  <a:gd name="T67" fmla="*/ 22 h 24"/>
                  <a:gd name="T68" fmla="*/ 10 w 25"/>
                  <a:gd name="T69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5" h="24">
                    <a:moveTo>
                      <a:pt x="10" y="22"/>
                    </a:moveTo>
                    <a:lnTo>
                      <a:pt x="10" y="22"/>
                    </a:lnTo>
                    <a:lnTo>
                      <a:pt x="7" y="22"/>
                    </a:lnTo>
                    <a:lnTo>
                      <a:pt x="4" y="23"/>
                    </a:lnTo>
                    <a:lnTo>
                      <a:pt x="1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3" y="7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9" y="10"/>
                    </a:lnTo>
                    <a:lnTo>
                      <a:pt x="10" y="7"/>
                    </a:lnTo>
                    <a:lnTo>
                      <a:pt x="10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1"/>
                    </a:lnTo>
                    <a:lnTo>
                      <a:pt x="17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3" y="6"/>
                    </a:lnTo>
                    <a:lnTo>
                      <a:pt x="25" y="10"/>
                    </a:lnTo>
                    <a:lnTo>
                      <a:pt x="25" y="10"/>
                    </a:lnTo>
                    <a:lnTo>
                      <a:pt x="23" y="13"/>
                    </a:lnTo>
                    <a:lnTo>
                      <a:pt x="19" y="17"/>
                    </a:lnTo>
                    <a:lnTo>
                      <a:pt x="13" y="22"/>
                    </a:lnTo>
                    <a:lnTo>
                      <a:pt x="12" y="22"/>
                    </a:lnTo>
                    <a:lnTo>
                      <a:pt x="10" y="2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97" name="Freeform 1152"/>
              <p:cNvSpPr>
                <a:spLocks/>
              </p:cNvSpPr>
              <p:nvPr/>
            </p:nvSpPr>
            <p:spPr bwMode="auto">
              <a:xfrm>
                <a:off x="4633334" y="2175533"/>
                <a:ext cx="12860" cy="22753"/>
              </a:xfrm>
              <a:custGeom>
                <a:avLst/>
                <a:gdLst>
                  <a:gd name="T0" fmla="*/ 13 w 13"/>
                  <a:gd name="T1" fmla="*/ 10 h 23"/>
                  <a:gd name="T2" fmla="*/ 13 w 13"/>
                  <a:gd name="T3" fmla="*/ 10 h 23"/>
                  <a:gd name="T4" fmla="*/ 11 w 13"/>
                  <a:gd name="T5" fmla="*/ 15 h 23"/>
                  <a:gd name="T6" fmla="*/ 8 w 13"/>
                  <a:gd name="T7" fmla="*/ 19 h 23"/>
                  <a:gd name="T8" fmla="*/ 5 w 13"/>
                  <a:gd name="T9" fmla="*/ 23 h 23"/>
                  <a:gd name="T10" fmla="*/ 2 w 13"/>
                  <a:gd name="T11" fmla="*/ 23 h 23"/>
                  <a:gd name="T12" fmla="*/ 2 w 13"/>
                  <a:gd name="T13" fmla="*/ 23 h 23"/>
                  <a:gd name="T14" fmla="*/ 0 w 13"/>
                  <a:gd name="T15" fmla="*/ 22 h 23"/>
                  <a:gd name="T16" fmla="*/ 0 w 13"/>
                  <a:gd name="T17" fmla="*/ 20 h 23"/>
                  <a:gd name="T18" fmla="*/ 4 w 13"/>
                  <a:gd name="T19" fmla="*/ 13 h 23"/>
                  <a:gd name="T20" fmla="*/ 4 w 13"/>
                  <a:gd name="T21" fmla="*/ 13 h 23"/>
                  <a:gd name="T22" fmla="*/ 7 w 13"/>
                  <a:gd name="T23" fmla="*/ 5 h 23"/>
                  <a:gd name="T24" fmla="*/ 8 w 13"/>
                  <a:gd name="T25" fmla="*/ 2 h 23"/>
                  <a:gd name="T26" fmla="*/ 11 w 13"/>
                  <a:gd name="T27" fmla="*/ 0 h 23"/>
                  <a:gd name="T28" fmla="*/ 11 w 13"/>
                  <a:gd name="T29" fmla="*/ 0 h 23"/>
                  <a:gd name="T30" fmla="*/ 13 w 13"/>
                  <a:gd name="T31" fmla="*/ 0 h 23"/>
                  <a:gd name="T32" fmla="*/ 13 w 13"/>
                  <a:gd name="T33" fmla="*/ 3 h 23"/>
                  <a:gd name="T34" fmla="*/ 13 w 13"/>
                  <a:gd name="T35" fmla="*/ 1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" h="23">
                    <a:moveTo>
                      <a:pt x="13" y="10"/>
                    </a:moveTo>
                    <a:lnTo>
                      <a:pt x="13" y="10"/>
                    </a:lnTo>
                    <a:lnTo>
                      <a:pt x="11" y="15"/>
                    </a:lnTo>
                    <a:lnTo>
                      <a:pt x="8" y="19"/>
                    </a:lnTo>
                    <a:lnTo>
                      <a:pt x="5" y="23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7" y="5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3" y="3"/>
                    </a:lnTo>
                    <a:lnTo>
                      <a:pt x="13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98" name="Freeform 1153"/>
              <p:cNvSpPr>
                <a:spLocks/>
              </p:cNvSpPr>
              <p:nvPr/>
            </p:nvSpPr>
            <p:spPr bwMode="auto">
              <a:xfrm>
                <a:off x="4678840" y="2146845"/>
                <a:ext cx="13850" cy="11871"/>
              </a:xfrm>
              <a:custGeom>
                <a:avLst/>
                <a:gdLst>
                  <a:gd name="T0" fmla="*/ 6 w 14"/>
                  <a:gd name="T1" fmla="*/ 6 h 12"/>
                  <a:gd name="T2" fmla="*/ 6 w 14"/>
                  <a:gd name="T3" fmla="*/ 6 h 12"/>
                  <a:gd name="T4" fmla="*/ 7 w 14"/>
                  <a:gd name="T5" fmla="*/ 5 h 12"/>
                  <a:gd name="T6" fmla="*/ 9 w 14"/>
                  <a:gd name="T7" fmla="*/ 2 h 12"/>
                  <a:gd name="T8" fmla="*/ 9 w 14"/>
                  <a:gd name="T9" fmla="*/ 0 h 12"/>
                  <a:gd name="T10" fmla="*/ 10 w 14"/>
                  <a:gd name="T11" fmla="*/ 0 h 12"/>
                  <a:gd name="T12" fmla="*/ 10 w 14"/>
                  <a:gd name="T13" fmla="*/ 0 h 12"/>
                  <a:gd name="T14" fmla="*/ 13 w 14"/>
                  <a:gd name="T15" fmla="*/ 6 h 12"/>
                  <a:gd name="T16" fmla="*/ 14 w 14"/>
                  <a:gd name="T17" fmla="*/ 9 h 12"/>
                  <a:gd name="T18" fmla="*/ 14 w 14"/>
                  <a:gd name="T19" fmla="*/ 10 h 12"/>
                  <a:gd name="T20" fmla="*/ 13 w 14"/>
                  <a:gd name="T21" fmla="*/ 10 h 12"/>
                  <a:gd name="T22" fmla="*/ 13 w 14"/>
                  <a:gd name="T23" fmla="*/ 10 h 12"/>
                  <a:gd name="T24" fmla="*/ 7 w 14"/>
                  <a:gd name="T25" fmla="*/ 12 h 12"/>
                  <a:gd name="T26" fmla="*/ 4 w 14"/>
                  <a:gd name="T27" fmla="*/ 10 h 12"/>
                  <a:gd name="T28" fmla="*/ 1 w 14"/>
                  <a:gd name="T29" fmla="*/ 9 h 12"/>
                  <a:gd name="T30" fmla="*/ 1 w 14"/>
                  <a:gd name="T31" fmla="*/ 9 h 12"/>
                  <a:gd name="T32" fmla="*/ 0 w 14"/>
                  <a:gd name="T33" fmla="*/ 9 h 12"/>
                  <a:gd name="T34" fmla="*/ 1 w 14"/>
                  <a:gd name="T35" fmla="*/ 7 h 12"/>
                  <a:gd name="T36" fmla="*/ 6 w 14"/>
                  <a:gd name="T3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" h="12">
                    <a:moveTo>
                      <a:pt x="6" y="6"/>
                    </a:moveTo>
                    <a:lnTo>
                      <a:pt x="6" y="6"/>
                    </a:lnTo>
                    <a:lnTo>
                      <a:pt x="7" y="5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3" y="6"/>
                    </a:lnTo>
                    <a:lnTo>
                      <a:pt x="14" y="9"/>
                    </a:lnTo>
                    <a:lnTo>
                      <a:pt x="14" y="10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7" y="12"/>
                    </a:lnTo>
                    <a:lnTo>
                      <a:pt x="4" y="10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0" y="9"/>
                    </a:lnTo>
                    <a:lnTo>
                      <a:pt x="1" y="7"/>
                    </a:lnTo>
                    <a:lnTo>
                      <a:pt x="6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03" name="Freeform 1158"/>
              <p:cNvSpPr>
                <a:spLocks/>
              </p:cNvSpPr>
              <p:nvPr/>
            </p:nvSpPr>
            <p:spPr bwMode="auto">
              <a:xfrm>
                <a:off x="4900434" y="2182458"/>
                <a:ext cx="10882" cy="8903"/>
              </a:xfrm>
              <a:custGeom>
                <a:avLst/>
                <a:gdLst>
                  <a:gd name="T0" fmla="*/ 0 w 11"/>
                  <a:gd name="T1" fmla="*/ 8 h 9"/>
                  <a:gd name="T2" fmla="*/ 0 w 11"/>
                  <a:gd name="T3" fmla="*/ 8 h 9"/>
                  <a:gd name="T4" fmla="*/ 0 w 11"/>
                  <a:gd name="T5" fmla="*/ 6 h 9"/>
                  <a:gd name="T6" fmla="*/ 0 w 11"/>
                  <a:gd name="T7" fmla="*/ 5 h 9"/>
                  <a:gd name="T8" fmla="*/ 6 w 11"/>
                  <a:gd name="T9" fmla="*/ 0 h 9"/>
                  <a:gd name="T10" fmla="*/ 6 w 11"/>
                  <a:gd name="T11" fmla="*/ 0 h 9"/>
                  <a:gd name="T12" fmla="*/ 8 w 11"/>
                  <a:gd name="T13" fmla="*/ 0 h 9"/>
                  <a:gd name="T14" fmla="*/ 9 w 11"/>
                  <a:gd name="T15" fmla="*/ 2 h 9"/>
                  <a:gd name="T16" fmla="*/ 11 w 11"/>
                  <a:gd name="T17" fmla="*/ 3 h 9"/>
                  <a:gd name="T18" fmla="*/ 11 w 11"/>
                  <a:gd name="T19" fmla="*/ 3 h 9"/>
                  <a:gd name="T20" fmla="*/ 9 w 11"/>
                  <a:gd name="T21" fmla="*/ 6 h 9"/>
                  <a:gd name="T22" fmla="*/ 6 w 11"/>
                  <a:gd name="T23" fmla="*/ 8 h 9"/>
                  <a:gd name="T24" fmla="*/ 3 w 11"/>
                  <a:gd name="T25" fmla="*/ 9 h 9"/>
                  <a:gd name="T26" fmla="*/ 0 w 11"/>
                  <a:gd name="T27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8"/>
                    </a:move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9" y="2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9" y="6"/>
                    </a:lnTo>
                    <a:lnTo>
                      <a:pt x="6" y="8"/>
                    </a:lnTo>
                    <a:lnTo>
                      <a:pt x="3" y="9"/>
                    </a:lnTo>
                    <a:lnTo>
                      <a:pt x="0" y="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04" name="Freeform 1159"/>
              <p:cNvSpPr>
                <a:spLocks/>
              </p:cNvSpPr>
              <p:nvPr/>
            </p:nvSpPr>
            <p:spPr bwMode="auto">
              <a:xfrm>
                <a:off x="4883617" y="2079575"/>
                <a:ext cx="47484" cy="54409"/>
              </a:xfrm>
              <a:custGeom>
                <a:avLst/>
                <a:gdLst>
                  <a:gd name="T0" fmla="*/ 46 w 48"/>
                  <a:gd name="T1" fmla="*/ 41 h 55"/>
                  <a:gd name="T2" fmla="*/ 46 w 48"/>
                  <a:gd name="T3" fmla="*/ 41 h 55"/>
                  <a:gd name="T4" fmla="*/ 45 w 48"/>
                  <a:gd name="T5" fmla="*/ 42 h 55"/>
                  <a:gd name="T6" fmla="*/ 43 w 48"/>
                  <a:gd name="T7" fmla="*/ 46 h 55"/>
                  <a:gd name="T8" fmla="*/ 42 w 48"/>
                  <a:gd name="T9" fmla="*/ 51 h 55"/>
                  <a:gd name="T10" fmla="*/ 42 w 48"/>
                  <a:gd name="T11" fmla="*/ 51 h 55"/>
                  <a:gd name="T12" fmla="*/ 39 w 48"/>
                  <a:gd name="T13" fmla="*/ 49 h 55"/>
                  <a:gd name="T14" fmla="*/ 38 w 48"/>
                  <a:gd name="T15" fmla="*/ 48 h 55"/>
                  <a:gd name="T16" fmla="*/ 36 w 48"/>
                  <a:gd name="T17" fmla="*/ 48 h 55"/>
                  <a:gd name="T18" fmla="*/ 36 w 48"/>
                  <a:gd name="T19" fmla="*/ 48 h 55"/>
                  <a:gd name="T20" fmla="*/ 30 w 48"/>
                  <a:gd name="T21" fmla="*/ 48 h 55"/>
                  <a:gd name="T22" fmla="*/ 29 w 48"/>
                  <a:gd name="T23" fmla="*/ 49 h 55"/>
                  <a:gd name="T24" fmla="*/ 28 w 48"/>
                  <a:gd name="T25" fmla="*/ 52 h 55"/>
                  <a:gd name="T26" fmla="*/ 28 w 48"/>
                  <a:gd name="T27" fmla="*/ 52 h 55"/>
                  <a:gd name="T28" fmla="*/ 28 w 48"/>
                  <a:gd name="T29" fmla="*/ 54 h 55"/>
                  <a:gd name="T30" fmla="*/ 26 w 48"/>
                  <a:gd name="T31" fmla="*/ 55 h 55"/>
                  <a:gd name="T32" fmla="*/ 25 w 48"/>
                  <a:gd name="T33" fmla="*/ 55 h 55"/>
                  <a:gd name="T34" fmla="*/ 22 w 48"/>
                  <a:gd name="T35" fmla="*/ 55 h 55"/>
                  <a:gd name="T36" fmla="*/ 22 w 48"/>
                  <a:gd name="T37" fmla="*/ 55 h 55"/>
                  <a:gd name="T38" fmla="*/ 17 w 48"/>
                  <a:gd name="T39" fmla="*/ 51 h 55"/>
                  <a:gd name="T40" fmla="*/ 16 w 48"/>
                  <a:gd name="T41" fmla="*/ 48 h 55"/>
                  <a:gd name="T42" fmla="*/ 14 w 48"/>
                  <a:gd name="T43" fmla="*/ 45 h 55"/>
                  <a:gd name="T44" fmla="*/ 14 w 48"/>
                  <a:gd name="T45" fmla="*/ 45 h 55"/>
                  <a:gd name="T46" fmla="*/ 13 w 48"/>
                  <a:gd name="T47" fmla="*/ 39 h 55"/>
                  <a:gd name="T48" fmla="*/ 7 w 48"/>
                  <a:gd name="T49" fmla="*/ 32 h 55"/>
                  <a:gd name="T50" fmla="*/ 3 w 48"/>
                  <a:gd name="T51" fmla="*/ 26 h 55"/>
                  <a:gd name="T52" fmla="*/ 0 w 48"/>
                  <a:gd name="T53" fmla="*/ 22 h 55"/>
                  <a:gd name="T54" fmla="*/ 0 w 48"/>
                  <a:gd name="T55" fmla="*/ 22 h 55"/>
                  <a:gd name="T56" fmla="*/ 1 w 48"/>
                  <a:gd name="T57" fmla="*/ 13 h 55"/>
                  <a:gd name="T58" fmla="*/ 3 w 48"/>
                  <a:gd name="T59" fmla="*/ 9 h 55"/>
                  <a:gd name="T60" fmla="*/ 4 w 48"/>
                  <a:gd name="T61" fmla="*/ 6 h 55"/>
                  <a:gd name="T62" fmla="*/ 4 w 48"/>
                  <a:gd name="T63" fmla="*/ 6 h 55"/>
                  <a:gd name="T64" fmla="*/ 10 w 48"/>
                  <a:gd name="T65" fmla="*/ 2 h 55"/>
                  <a:gd name="T66" fmla="*/ 13 w 48"/>
                  <a:gd name="T67" fmla="*/ 0 h 55"/>
                  <a:gd name="T68" fmla="*/ 16 w 48"/>
                  <a:gd name="T69" fmla="*/ 0 h 55"/>
                  <a:gd name="T70" fmla="*/ 16 w 48"/>
                  <a:gd name="T71" fmla="*/ 0 h 55"/>
                  <a:gd name="T72" fmla="*/ 20 w 48"/>
                  <a:gd name="T73" fmla="*/ 2 h 55"/>
                  <a:gd name="T74" fmla="*/ 25 w 48"/>
                  <a:gd name="T75" fmla="*/ 4 h 55"/>
                  <a:gd name="T76" fmla="*/ 32 w 48"/>
                  <a:gd name="T77" fmla="*/ 10 h 55"/>
                  <a:gd name="T78" fmla="*/ 32 w 48"/>
                  <a:gd name="T79" fmla="*/ 10 h 55"/>
                  <a:gd name="T80" fmla="*/ 41 w 48"/>
                  <a:gd name="T81" fmla="*/ 23 h 55"/>
                  <a:gd name="T82" fmla="*/ 48 w 48"/>
                  <a:gd name="T83" fmla="*/ 35 h 55"/>
                  <a:gd name="T84" fmla="*/ 48 w 48"/>
                  <a:gd name="T85" fmla="*/ 35 h 55"/>
                  <a:gd name="T86" fmla="*/ 48 w 48"/>
                  <a:gd name="T87" fmla="*/ 39 h 55"/>
                  <a:gd name="T88" fmla="*/ 46 w 48"/>
                  <a:gd name="T89" fmla="*/ 4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8" h="55">
                    <a:moveTo>
                      <a:pt x="46" y="41"/>
                    </a:moveTo>
                    <a:lnTo>
                      <a:pt x="46" y="41"/>
                    </a:lnTo>
                    <a:lnTo>
                      <a:pt x="45" y="42"/>
                    </a:lnTo>
                    <a:lnTo>
                      <a:pt x="43" y="46"/>
                    </a:lnTo>
                    <a:lnTo>
                      <a:pt x="42" y="51"/>
                    </a:lnTo>
                    <a:lnTo>
                      <a:pt x="42" y="51"/>
                    </a:lnTo>
                    <a:lnTo>
                      <a:pt x="39" y="49"/>
                    </a:lnTo>
                    <a:lnTo>
                      <a:pt x="38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0" y="48"/>
                    </a:lnTo>
                    <a:lnTo>
                      <a:pt x="29" y="49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28" y="54"/>
                    </a:lnTo>
                    <a:lnTo>
                      <a:pt x="26" y="55"/>
                    </a:lnTo>
                    <a:lnTo>
                      <a:pt x="25" y="55"/>
                    </a:lnTo>
                    <a:lnTo>
                      <a:pt x="22" y="55"/>
                    </a:lnTo>
                    <a:lnTo>
                      <a:pt x="22" y="55"/>
                    </a:lnTo>
                    <a:lnTo>
                      <a:pt x="17" y="51"/>
                    </a:lnTo>
                    <a:lnTo>
                      <a:pt x="16" y="48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3" y="39"/>
                    </a:lnTo>
                    <a:lnTo>
                      <a:pt x="7" y="32"/>
                    </a:lnTo>
                    <a:lnTo>
                      <a:pt x="3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1" y="13"/>
                    </a:lnTo>
                    <a:lnTo>
                      <a:pt x="3" y="9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2"/>
                    </a:lnTo>
                    <a:lnTo>
                      <a:pt x="25" y="4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41" y="23"/>
                    </a:lnTo>
                    <a:lnTo>
                      <a:pt x="48" y="35"/>
                    </a:lnTo>
                    <a:lnTo>
                      <a:pt x="48" y="35"/>
                    </a:lnTo>
                    <a:lnTo>
                      <a:pt x="48" y="39"/>
                    </a:lnTo>
                    <a:lnTo>
                      <a:pt x="46" y="41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05" name="Freeform 1160"/>
              <p:cNvSpPr>
                <a:spLocks/>
              </p:cNvSpPr>
              <p:nvPr/>
            </p:nvSpPr>
            <p:spPr bwMode="auto">
              <a:xfrm>
                <a:off x="5018156" y="2086500"/>
                <a:ext cx="8903" cy="8903"/>
              </a:xfrm>
              <a:custGeom>
                <a:avLst/>
                <a:gdLst>
                  <a:gd name="T0" fmla="*/ 9 w 9"/>
                  <a:gd name="T1" fmla="*/ 2 h 9"/>
                  <a:gd name="T2" fmla="*/ 9 w 9"/>
                  <a:gd name="T3" fmla="*/ 2 h 9"/>
                  <a:gd name="T4" fmla="*/ 9 w 9"/>
                  <a:gd name="T5" fmla="*/ 3 h 9"/>
                  <a:gd name="T6" fmla="*/ 7 w 9"/>
                  <a:gd name="T7" fmla="*/ 6 h 9"/>
                  <a:gd name="T8" fmla="*/ 4 w 9"/>
                  <a:gd name="T9" fmla="*/ 8 h 9"/>
                  <a:gd name="T10" fmla="*/ 3 w 9"/>
                  <a:gd name="T11" fmla="*/ 9 h 9"/>
                  <a:gd name="T12" fmla="*/ 3 w 9"/>
                  <a:gd name="T13" fmla="*/ 9 h 9"/>
                  <a:gd name="T14" fmla="*/ 2 w 9"/>
                  <a:gd name="T15" fmla="*/ 6 h 9"/>
                  <a:gd name="T16" fmla="*/ 0 w 9"/>
                  <a:gd name="T17" fmla="*/ 2 h 9"/>
                  <a:gd name="T18" fmla="*/ 2 w 9"/>
                  <a:gd name="T19" fmla="*/ 0 h 9"/>
                  <a:gd name="T20" fmla="*/ 3 w 9"/>
                  <a:gd name="T21" fmla="*/ 0 h 9"/>
                  <a:gd name="T22" fmla="*/ 4 w 9"/>
                  <a:gd name="T23" fmla="*/ 0 h 9"/>
                  <a:gd name="T24" fmla="*/ 9 w 9"/>
                  <a:gd name="T25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9">
                    <a:moveTo>
                      <a:pt x="9" y="2"/>
                    </a:moveTo>
                    <a:lnTo>
                      <a:pt x="9" y="2"/>
                    </a:lnTo>
                    <a:lnTo>
                      <a:pt x="9" y="3"/>
                    </a:lnTo>
                    <a:lnTo>
                      <a:pt x="7" y="6"/>
                    </a:lnTo>
                    <a:lnTo>
                      <a:pt x="4" y="8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6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9" y="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06" name="Freeform 1161"/>
              <p:cNvSpPr>
                <a:spLocks/>
              </p:cNvSpPr>
              <p:nvPr/>
            </p:nvSpPr>
            <p:spPr bwMode="auto">
              <a:xfrm>
                <a:off x="4938026" y="2015273"/>
                <a:ext cx="12860" cy="9893"/>
              </a:xfrm>
              <a:custGeom>
                <a:avLst/>
                <a:gdLst>
                  <a:gd name="T0" fmla="*/ 3 w 13"/>
                  <a:gd name="T1" fmla="*/ 10 h 10"/>
                  <a:gd name="T2" fmla="*/ 3 w 13"/>
                  <a:gd name="T3" fmla="*/ 10 h 10"/>
                  <a:gd name="T4" fmla="*/ 0 w 13"/>
                  <a:gd name="T5" fmla="*/ 7 h 10"/>
                  <a:gd name="T6" fmla="*/ 0 w 13"/>
                  <a:gd name="T7" fmla="*/ 3 h 10"/>
                  <a:gd name="T8" fmla="*/ 0 w 13"/>
                  <a:gd name="T9" fmla="*/ 3 h 10"/>
                  <a:gd name="T10" fmla="*/ 0 w 13"/>
                  <a:gd name="T11" fmla="*/ 1 h 10"/>
                  <a:gd name="T12" fmla="*/ 1 w 13"/>
                  <a:gd name="T13" fmla="*/ 0 h 10"/>
                  <a:gd name="T14" fmla="*/ 6 w 13"/>
                  <a:gd name="T15" fmla="*/ 0 h 10"/>
                  <a:gd name="T16" fmla="*/ 6 w 13"/>
                  <a:gd name="T17" fmla="*/ 0 h 10"/>
                  <a:gd name="T18" fmla="*/ 10 w 13"/>
                  <a:gd name="T19" fmla="*/ 3 h 10"/>
                  <a:gd name="T20" fmla="*/ 13 w 13"/>
                  <a:gd name="T21" fmla="*/ 6 h 10"/>
                  <a:gd name="T22" fmla="*/ 13 w 13"/>
                  <a:gd name="T23" fmla="*/ 6 h 10"/>
                  <a:gd name="T24" fmla="*/ 9 w 13"/>
                  <a:gd name="T25" fmla="*/ 9 h 10"/>
                  <a:gd name="T26" fmla="*/ 6 w 13"/>
                  <a:gd name="T27" fmla="*/ 10 h 10"/>
                  <a:gd name="T28" fmla="*/ 3 w 13"/>
                  <a:gd name="T2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10">
                    <a:moveTo>
                      <a:pt x="3" y="10"/>
                    </a:moveTo>
                    <a:lnTo>
                      <a:pt x="3" y="10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3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9" y="9"/>
                    </a:lnTo>
                    <a:lnTo>
                      <a:pt x="6" y="10"/>
                    </a:lnTo>
                    <a:lnTo>
                      <a:pt x="3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07" name="Freeform 1162"/>
              <p:cNvSpPr>
                <a:spLocks/>
              </p:cNvSpPr>
              <p:nvPr/>
            </p:nvSpPr>
            <p:spPr bwMode="auto">
              <a:xfrm>
                <a:off x="4949897" y="2040005"/>
                <a:ext cx="36603" cy="64302"/>
              </a:xfrm>
              <a:custGeom>
                <a:avLst/>
                <a:gdLst>
                  <a:gd name="T0" fmla="*/ 36 w 37"/>
                  <a:gd name="T1" fmla="*/ 53 h 65"/>
                  <a:gd name="T2" fmla="*/ 36 w 37"/>
                  <a:gd name="T3" fmla="*/ 53 h 65"/>
                  <a:gd name="T4" fmla="*/ 30 w 37"/>
                  <a:gd name="T5" fmla="*/ 62 h 65"/>
                  <a:gd name="T6" fmla="*/ 26 w 37"/>
                  <a:gd name="T7" fmla="*/ 65 h 65"/>
                  <a:gd name="T8" fmla="*/ 26 w 37"/>
                  <a:gd name="T9" fmla="*/ 65 h 65"/>
                  <a:gd name="T10" fmla="*/ 24 w 37"/>
                  <a:gd name="T11" fmla="*/ 65 h 65"/>
                  <a:gd name="T12" fmla="*/ 23 w 37"/>
                  <a:gd name="T13" fmla="*/ 63 h 65"/>
                  <a:gd name="T14" fmla="*/ 23 w 37"/>
                  <a:gd name="T15" fmla="*/ 59 h 65"/>
                  <a:gd name="T16" fmla="*/ 23 w 37"/>
                  <a:gd name="T17" fmla="*/ 59 h 65"/>
                  <a:gd name="T18" fmla="*/ 23 w 37"/>
                  <a:gd name="T19" fmla="*/ 56 h 65"/>
                  <a:gd name="T20" fmla="*/ 21 w 37"/>
                  <a:gd name="T21" fmla="*/ 53 h 65"/>
                  <a:gd name="T22" fmla="*/ 18 w 37"/>
                  <a:gd name="T23" fmla="*/ 50 h 65"/>
                  <a:gd name="T24" fmla="*/ 14 w 37"/>
                  <a:gd name="T25" fmla="*/ 47 h 65"/>
                  <a:gd name="T26" fmla="*/ 14 w 37"/>
                  <a:gd name="T27" fmla="*/ 47 h 65"/>
                  <a:gd name="T28" fmla="*/ 4 w 37"/>
                  <a:gd name="T29" fmla="*/ 40 h 65"/>
                  <a:gd name="T30" fmla="*/ 0 w 37"/>
                  <a:gd name="T31" fmla="*/ 37 h 65"/>
                  <a:gd name="T32" fmla="*/ 0 w 37"/>
                  <a:gd name="T33" fmla="*/ 36 h 65"/>
                  <a:gd name="T34" fmla="*/ 0 w 37"/>
                  <a:gd name="T35" fmla="*/ 34 h 65"/>
                  <a:gd name="T36" fmla="*/ 0 w 37"/>
                  <a:gd name="T37" fmla="*/ 34 h 65"/>
                  <a:gd name="T38" fmla="*/ 1 w 37"/>
                  <a:gd name="T39" fmla="*/ 33 h 65"/>
                  <a:gd name="T40" fmla="*/ 3 w 37"/>
                  <a:gd name="T41" fmla="*/ 33 h 65"/>
                  <a:gd name="T42" fmla="*/ 4 w 37"/>
                  <a:gd name="T43" fmla="*/ 33 h 65"/>
                  <a:gd name="T44" fmla="*/ 5 w 37"/>
                  <a:gd name="T45" fmla="*/ 30 h 65"/>
                  <a:gd name="T46" fmla="*/ 5 w 37"/>
                  <a:gd name="T47" fmla="*/ 30 h 65"/>
                  <a:gd name="T48" fmla="*/ 5 w 37"/>
                  <a:gd name="T49" fmla="*/ 27 h 65"/>
                  <a:gd name="T50" fmla="*/ 4 w 37"/>
                  <a:gd name="T51" fmla="*/ 24 h 65"/>
                  <a:gd name="T52" fmla="*/ 3 w 37"/>
                  <a:gd name="T53" fmla="*/ 23 h 65"/>
                  <a:gd name="T54" fmla="*/ 3 w 37"/>
                  <a:gd name="T55" fmla="*/ 20 h 65"/>
                  <a:gd name="T56" fmla="*/ 3 w 37"/>
                  <a:gd name="T57" fmla="*/ 20 h 65"/>
                  <a:gd name="T58" fmla="*/ 3 w 37"/>
                  <a:gd name="T59" fmla="*/ 18 h 65"/>
                  <a:gd name="T60" fmla="*/ 5 w 37"/>
                  <a:gd name="T61" fmla="*/ 17 h 65"/>
                  <a:gd name="T62" fmla="*/ 8 w 37"/>
                  <a:gd name="T63" fmla="*/ 15 h 65"/>
                  <a:gd name="T64" fmla="*/ 8 w 37"/>
                  <a:gd name="T65" fmla="*/ 15 h 65"/>
                  <a:gd name="T66" fmla="*/ 7 w 37"/>
                  <a:gd name="T67" fmla="*/ 11 h 65"/>
                  <a:gd name="T68" fmla="*/ 7 w 37"/>
                  <a:gd name="T69" fmla="*/ 10 h 65"/>
                  <a:gd name="T70" fmla="*/ 8 w 37"/>
                  <a:gd name="T71" fmla="*/ 10 h 65"/>
                  <a:gd name="T72" fmla="*/ 8 w 37"/>
                  <a:gd name="T73" fmla="*/ 10 h 65"/>
                  <a:gd name="T74" fmla="*/ 11 w 37"/>
                  <a:gd name="T75" fmla="*/ 13 h 65"/>
                  <a:gd name="T76" fmla="*/ 16 w 37"/>
                  <a:gd name="T77" fmla="*/ 17 h 65"/>
                  <a:gd name="T78" fmla="*/ 20 w 37"/>
                  <a:gd name="T79" fmla="*/ 20 h 65"/>
                  <a:gd name="T80" fmla="*/ 21 w 37"/>
                  <a:gd name="T81" fmla="*/ 21 h 65"/>
                  <a:gd name="T82" fmla="*/ 21 w 37"/>
                  <a:gd name="T83" fmla="*/ 20 h 65"/>
                  <a:gd name="T84" fmla="*/ 21 w 37"/>
                  <a:gd name="T85" fmla="*/ 20 h 65"/>
                  <a:gd name="T86" fmla="*/ 21 w 37"/>
                  <a:gd name="T87" fmla="*/ 17 h 65"/>
                  <a:gd name="T88" fmla="*/ 18 w 37"/>
                  <a:gd name="T89" fmla="*/ 14 h 65"/>
                  <a:gd name="T90" fmla="*/ 14 w 37"/>
                  <a:gd name="T91" fmla="*/ 8 h 65"/>
                  <a:gd name="T92" fmla="*/ 10 w 37"/>
                  <a:gd name="T93" fmla="*/ 2 h 65"/>
                  <a:gd name="T94" fmla="*/ 8 w 37"/>
                  <a:gd name="T95" fmla="*/ 0 h 65"/>
                  <a:gd name="T96" fmla="*/ 8 w 37"/>
                  <a:gd name="T97" fmla="*/ 0 h 65"/>
                  <a:gd name="T98" fmla="*/ 8 w 37"/>
                  <a:gd name="T99" fmla="*/ 0 h 65"/>
                  <a:gd name="T100" fmla="*/ 13 w 37"/>
                  <a:gd name="T101" fmla="*/ 1 h 65"/>
                  <a:gd name="T102" fmla="*/ 20 w 37"/>
                  <a:gd name="T103" fmla="*/ 7 h 65"/>
                  <a:gd name="T104" fmla="*/ 26 w 37"/>
                  <a:gd name="T105" fmla="*/ 14 h 65"/>
                  <a:gd name="T106" fmla="*/ 29 w 37"/>
                  <a:gd name="T107" fmla="*/ 18 h 65"/>
                  <a:gd name="T108" fmla="*/ 29 w 37"/>
                  <a:gd name="T109" fmla="*/ 18 h 65"/>
                  <a:gd name="T110" fmla="*/ 26 w 37"/>
                  <a:gd name="T111" fmla="*/ 24 h 65"/>
                  <a:gd name="T112" fmla="*/ 26 w 37"/>
                  <a:gd name="T113" fmla="*/ 27 h 65"/>
                  <a:gd name="T114" fmla="*/ 27 w 37"/>
                  <a:gd name="T115" fmla="*/ 31 h 65"/>
                  <a:gd name="T116" fmla="*/ 27 w 37"/>
                  <a:gd name="T117" fmla="*/ 31 h 65"/>
                  <a:gd name="T118" fmla="*/ 34 w 37"/>
                  <a:gd name="T119" fmla="*/ 43 h 65"/>
                  <a:gd name="T120" fmla="*/ 36 w 37"/>
                  <a:gd name="T121" fmla="*/ 49 h 65"/>
                  <a:gd name="T122" fmla="*/ 37 w 37"/>
                  <a:gd name="T123" fmla="*/ 50 h 65"/>
                  <a:gd name="T124" fmla="*/ 36 w 37"/>
                  <a:gd name="T125" fmla="*/ 53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" h="65">
                    <a:moveTo>
                      <a:pt x="36" y="53"/>
                    </a:moveTo>
                    <a:lnTo>
                      <a:pt x="36" y="53"/>
                    </a:lnTo>
                    <a:lnTo>
                      <a:pt x="30" y="62"/>
                    </a:lnTo>
                    <a:lnTo>
                      <a:pt x="26" y="65"/>
                    </a:lnTo>
                    <a:lnTo>
                      <a:pt x="26" y="65"/>
                    </a:lnTo>
                    <a:lnTo>
                      <a:pt x="24" y="65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6"/>
                    </a:lnTo>
                    <a:lnTo>
                      <a:pt x="21" y="53"/>
                    </a:lnTo>
                    <a:lnTo>
                      <a:pt x="18" y="50"/>
                    </a:lnTo>
                    <a:lnTo>
                      <a:pt x="14" y="47"/>
                    </a:lnTo>
                    <a:lnTo>
                      <a:pt x="14" y="47"/>
                    </a:lnTo>
                    <a:lnTo>
                      <a:pt x="4" y="40"/>
                    </a:lnTo>
                    <a:lnTo>
                      <a:pt x="0" y="37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33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5" y="30"/>
                    </a:lnTo>
                    <a:lnTo>
                      <a:pt x="5" y="30"/>
                    </a:lnTo>
                    <a:lnTo>
                      <a:pt x="5" y="27"/>
                    </a:lnTo>
                    <a:lnTo>
                      <a:pt x="4" y="24"/>
                    </a:lnTo>
                    <a:lnTo>
                      <a:pt x="3" y="23"/>
                    </a:lnTo>
                    <a:lnTo>
                      <a:pt x="3" y="20"/>
                    </a:lnTo>
                    <a:lnTo>
                      <a:pt x="3" y="20"/>
                    </a:lnTo>
                    <a:lnTo>
                      <a:pt x="3" y="18"/>
                    </a:lnTo>
                    <a:lnTo>
                      <a:pt x="5" y="17"/>
                    </a:lnTo>
                    <a:lnTo>
                      <a:pt x="8" y="15"/>
                    </a:lnTo>
                    <a:lnTo>
                      <a:pt x="8" y="15"/>
                    </a:lnTo>
                    <a:lnTo>
                      <a:pt x="7" y="11"/>
                    </a:lnTo>
                    <a:lnTo>
                      <a:pt x="7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1" y="13"/>
                    </a:lnTo>
                    <a:lnTo>
                      <a:pt x="16" y="17"/>
                    </a:lnTo>
                    <a:lnTo>
                      <a:pt x="20" y="20"/>
                    </a:lnTo>
                    <a:lnTo>
                      <a:pt x="21" y="21"/>
                    </a:lnTo>
                    <a:lnTo>
                      <a:pt x="21" y="20"/>
                    </a:lnTo>
                    <a:lnTo>
                      <a:pt x="21" y="20"/>
                    </a:lnTo>
                    <a:lnTo>
                      <a:pt x="21" y="17"/>
                    </a:lnTo>
                    <a:lnTo>
                      <a:pt x="18" y="14"/>
                    </a:lnTo>
                    <a:lnTo>
                      <a:pt x="14" y="8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3" y="1"/>
                    </a:lnTo>
                    <a:lnTo>
                      <a:pt x="20" y="7"/>
                    </a:lnTo>
                    <a:lnTo>
                      <a:pt x="26" y="14"/>
                    </a:lnTo>
                    <a:lnTo>
                      <a:pt x="29" y="18"/>
                    </a:lnTo>
                    <a:lnTo>
                      <a:pt x="29" y="18"/>
                    </a:lnTo>
                    <a:lnTo>
                      <a:pt x="26" y="24"/>
                    </a:lnTo>
                    <a:lnTo>
                      <a:pt x="26" y="27"/>
                    </a:lnTo>
                    <a:lnTo>
                      <a:pt x="27" y="31"/>
                    </a:lnTo>
                    <a:lnTo>
                      <a:pt x="27" y="31"/>
                    </a:lnTo>
                    <a:lnTo>
                      <a:pt x="34" y="43"/>
                    </a:lnTo>
                    <a:lnTo>
                      <a:pt x="36" y="49"/>
                    </a:lnTo>
                    <a:lnTo>
                      <a:pt x="37" y="50"/>
                    </a:lnTo>
                    <a:lnTo>
                      <a:pt x="36" y="5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08" name="Freeform 1163"/>
              <p:cNvSpPr>
                <a:spLocks/>
              </p:cNvSpPr>
              <p:nvPr/>
            </p:nvSpPr>
            <p:spPr bwMode="auto">
              <a:xfrm>
                <a:off x="4998371" y="2125081"/>
                <a:ext cx="12860" cy="7914"/>
              </a:xfrm>
              <a:custGeom>
                <a:avLst/>
                <a:gdLst>
                  <a:gd name="T0" fmla="*/ 6 w 13"/>
                  <a:gd name="T1" fmla="*/ 0 h 8"/>
                  <a:gd name="T2" fmla="*/ 6 w 13"/>
                  <a:gd name="T3" fmla="*/ 0 h 8"/>
                  <a:gd name="T4" fmla="*/ 10 w 13"/>
                  <a:gd name="T5" fmla="*/ 3 h 8"/>
                  <a:gd name="T6" fmla="*/ 13 w 13"/>
                  <a:gd name="T7" fmla="*/ 6 h 8"/>
                  <a:gd name="T8" fmla="*/ 13 w 13"/>
                  <a:gd name="T9" fmla="*/ 8 h 8"/>
                  <a:gd name="T10" fmla="*/ 13 w 13"/>
                  <a:gd name="T11" fmla="*/ 8 h 8"/>
                  <a:gd name="T12" fmla="*/ 10 w 13"/>
                  <a:gd name="T13" fmla="*/ 8 h 8"/>
                  <a:gd name="T14" fmla="*/ 7 w 13"/>
                  <a:gd name="T15" fmla="*/ 8 h 8"/>
                  <a:gd name="T16" fmla="*/ 0 w 13"/>
                  <a:gd name="T17" fmla="*/ 5 h 8"/>
                  <a:gd name="T18" fmla="*/ 0 w 13"/>
                  <a:gd name="T19" fmla="*/ 5 h 8"/>
                  <a:gd name="T20" fmla="*/ 0 w 13"/>
                  <a:gd name="T21" fmla="*/ 3 h 8"/>
                  <a:gd name="T22" fmla="*/ 1 w 13"/>
                  <a:gd name="T23" fmla="*/ 2 h 8"/>
                  <a:gd name="T24" fmla="*/ 6 w 13"/>
                  <a:gd name="T2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" h="8">
                    <a:moveTo>
                      <a:pt x="6" y="0"/>
                    </a:moveTo>
                    <a:lnTo>
                      <a:pt x="6" y="0"/>
                    </a:lnTo>
                    <a:lnTo>
                      <a:pt x="10" y="3"/>
                    </a:lnTo>
                    <a:lnTo>
                      <a:pt x="13" y="6"/>
                    </a:lnTo>
                    <a:lnTo>
                      <a:pt x="13" y="8"/>
                    </a:lnTo>
                    <a:lnTo>
                      <a:pt x="13" y="8"/>
                    </a:lnTo>
                    <a:lnTo>
                      <a:pt x="10" y="8"/>
                    </a:lnTo>
                    <a:lnTo>
                      <a:pt x="7" y="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6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09" name="Freeform 1164"/>
              <p:cNvSpPr>
                <a:spLocks/>
              </p:cNvSpPr>
              <p:nvPr/>
            </p:nvSpPr>
            <p:spPr bwMode="auto">
              <a:xfrm>
                <a:off x="5002328" y="2159705"/>
                <a:ext cx="33635" cy="37592"/>
              </a:xfrm>
              <a:custGeom>
                <a:avLst/>
                <a:gdLst>
                  <a:gd name="T0" fmla="*/ 34 w 34"/>
                  <a:gd name="T1" fmla="*/ 26 h 38"/>
                  <a:gd name="T2" fmla="*/ 34 w 34"/>
                  <a:gd name="T3" fmla="*/ 26 h 38"/>
                  <a:gd name="T4" fmla="*/ 31 w 34"/>
                  <a:gd name="T5" fmla="*/ 26 h 38"/>
                  <a:gd name="T6" fmla="*/ 28 w 34"/>
                  <a:gd name="T7" fmla="*/ 26 h 38"/>
                  <a:gd name="T8" fmla="*/ 23 w 34"/>
                  <a:gd name="T9" fmla="*/ 28 h 38"/>
                  <a:gd name="T10" fmla="*/ 19 w 34"/>
                  <a:gd name="T11" fmla="*/ 29 h 38"/>
                  <a:gd name="T12" fmla="*/ 19 w 34"/>
                  <a:gd name="T13" fmla="*/ 29 h 38"/>
                  <a:gd name="T14" fmla="*/ 16 w 34"/>
                  <a:gd name="T15" fmla="*/ 34 h 38"/>
                  <a:gd name="T16" fmla="*/ 15 w 34"/>
                  <a:gd name="T17" fmla="*/ 36 h 38"/>
                  <a:gd name="T18" fmla="*/ 15 w 34"/>
                  <a:gd name="T19" fmla="*/ 38 h 38"/>
                  <a:gd name="T20" fmla="*/ 12 w 34"/>
                  <a:gd name="T21" fmla="*/ 38 h 38"/>
                  <a:gd name="T22" fmla="*/ 12 w 34"/>
                  <a:gd name="T23" fmla="*/ 38 h 38"/>
                  <a:gd name="T24" fmla="*/ 10 w 34"/>
                  <a:gd name="T25" fmla="*/ 35 h 38"/>
                  <a:gd name="T26" fmla="*/ 10 w 34"/>
                  <a:gd name="T27" fmla="*/ 32 h 38"/>
                  <a:gd name="T28" fmla="*/ 10 w 34"/>
                  <a:gd name="T29" fmla="*/ 29 h 38"/>
                  <a:gd name="T30" fmla="*/ 9 w 34"/>
                  <a:gd name="T31" fmla="*/ 26 h 38"/>
                  <a:gd name="T32" fmla="*/ 9 w 34"/>
                  <a:gd name="T33" fmla="*/ 26 h 38"/>
                  <a:gd name="T34" fmla="*/ 3 w 34"/>
                  <a:gd name="T35" fmla="*/ 22 h 38"/>
                  <a:gd name="T36" fmla="*/ 0 w 34"/>
                  <a:gd name="T37" fmla="*/ 19 h 38"/>
                  <a:gd name="T38" fmla="*/ 0 w 34"/>
                  <a:gd name="T39" fmla="*/ 18 h 38"/>
                  <a:gd name="T40" fmla="*/ 0 w 34"/>
                  <a:gd name="T41" fmla="*/ 16 h 38"/>
                  <a:gd name="T42" fmla="*/ 0 w 34"/>
                  <a:gd name="T43" fmla="*/ 16 h 38"/>
                  <a:gd name="T44" fmla="*/ 2 w 34"/>
                  <a:gd name="T45" fmla="*/ 16 h 38"/>
                  <a:gd name="T46" fmla="*/ 3 w 34"/>
                  <a:gd name="T47" fmla="*/ 16 h 38"/>
                  <a:gd name="T48" fmla="*/ 6 w 34"/>
                  <a:gd name="T49" fmla="*/ 18 h 38"/>
                  <a:gd name="T50" fmla="*/ 9 w 34"/>
                  <a:gd name="T51" fmla="*/ 19 h 38"/>
                  <a:gd name="T52" fmla="*/ 10 w 34"/>
                  <a:gd name="T53" fmla="*/ 19 h 38"/>
                  <a:gd name="T54" fmla="*/ 12 w 34"/>
                  <a:gd name="T55" fmla="*/ 18 h 38"/>
                  <a:gd name="T56" fmla="*/ 12 w 34"/>
                  <a:gd name="T57" fmla="*/ 18 h 38"/>
                  <a:gd name="T58" fmla="*/ 15 w 34"/>
                  <a:gd name="T59" fmla="*/ 15 h 38"/>
                  <a:gd name="T60" fmla="*/ 15 w 34"/>
                  <a:gd name="T61" fmla="*/ 12 h 38"/>
                  <a:gd name="T62" fmla="*/ 13 w 34"/>
                  <a:gd name="T63" fmla="*/ 9 h 38"/>
                  <a:gd name="T64" fmla="*/ 12 w 34"/>
                  <a:gd name="T65" fmla="*/ 7 h 38"/>
                  <a:gd name="T66" fmla="*/ 12 w 34"/>
                  <a:gd name="T67" fmla="*/ 7 h 38"/>
                  <a:gd name="T68" fmla="*/ 9 w 34"/>
                  <a:gd name="T69" fmla="*/ 6 h 38"/>
                  <a:gd name="T70" fmla="*/ 7 w 34"/>
                  <a:gd name="T71" fmla="*/ 3 h 38"/>
                  <a:gd name="T72" fmla="*/ 9 w 34"/>
                  <a:gd name="T73" fmla="*/ 0 h 38"/>
                  <a:gd name="T74" fmla="*/ 12 w 34"/>
                  <a:gd name="T75" fmla="*/ 0 h 38"/>
                  <a:gd name="T76" fmla="*/ 12 w 34"/>
                  <a:gd name="T77" fmla="*/ 0 h 38"/>
                  <a:gd name="T78" fmla="*/ 15 w 34"/>
                  <a:gd name="T79" fmla="*/ 0 h 38"/>
                  <a:gd name="T80" fmla="*/ 18 w 34"/>
                  <a:gd name="T81" fmla="*/ 3 h 38"/>
                  <a:gd name="T82" fmla="*/ 26 w 34"/>
                  <a:gd name="T83" fmla="*/ 12 h 38"/>
                  <a:gd name="T84" fmla="*/ 32 w 34"/>
                  <a:gd name="T85" fmla="*/ 21 h 38"/>
                  <a:gd name="T86" fmla="*/ 34 w 34"/>
                  <a:gd name="T87" fmla="*/ 23 h 38"/>
                  <a:gd name="T88" fmla="*/ 34 w 34"/>
                  <a:gd name="T89" fmla="*/ 2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" h="38">
                    <a:moveTo>
                      <a:pt x="34" y="26"/>
                    </a:moveTo>
                    <a:lnTo>
                      <a:pt x="34" y="26"/>
                    </a:lnTo>
                    <a:lnTo>
                      <a:pt x="31" y="26"/>
                    </a:lnTo>
                    <a:lnTo>
                      <a:pt x="28" y="26"/>
                    </a:lnTo>
                    <a:lnTo>
                      <a:pt x="23" y="28"/>
                    </a:lnTo>
                    <a:lnTo>
                      <a:pt x="19" y="29"/>
                    </a:lnTo>
                    <a:lnTo>
                      <a:pt x="19" y="29"/>
                    </a:lnTo>
                    <a:lnTo>
                      <a:pt x="16" y="34"/>
                    </a:lnTo>
                    <a:lnTo>
                      <a:pt x="15" y="36"/>
                    </a:lnTo>
                    <a:lnTo>
                      <a:pt x="15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0" y="35"/>
                    </a:lnTo>
                    <a:lnTo>
                      <a:pt x="10" y="32"/>
                    </a:lnTo>
                    <a:lnTo>
                      <a:pt x="10" y="29"/>
                    </a:lnTo>
                    <a:lnTo>
                      <a:pt x="9" y="26"/>
                    </a:lnTo>
                    <a:lnTo>
                      <a:pt x="9" y="26"/>
                    </a:lnTo>
                    <a:lnTo>
                      <a:pt x="3" y="22"/>
                    </a:lnTo>
                    <a:lnTo>
                      <a:pt x="0" y="19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3" y="16"/>
                    </a:lnTo>
                    <a:lnTo>
                      <a:pt x="6" y="18"/>
                    </a:lnTo>
                    <a:lnTo>
                      <a:pt x="9" y="19"/>
                    </a:lnTo>
                    <a:lnTo>
                      <a:pt x="10" y="19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5" y="15"/>
                    </a:lnTo>
                    <a:lnTo>
                      <a:pt x="15" y="12"/>
                    </a:lnTo>
                    <a:lnTo>
                      <a:pt x="13" y="9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9" y="6"/>
                    </a:lnTo>
                    <a:lnTo>
                      <a:pt x="7" y="3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8" y="3"/>
                    </a:lnTo>
                    <a:lnTo>
                      <a:pt x="26" y="12"/>
                    </a:lnTo>
                    <a:lnTo>
                      <a:pt x="32" y="21"/>
                    </a:lnTo>
                    <a:lnTo>
                      <a:pt x="34" y="23"/>
                    </a:lnTo>
                    <a:lnTo>
                      <a:pt x="34" y="2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94" name="Freeform 1247"/>
              <p:cNvSpPr>
                <a:spLocks/>
              </p:cNvSpPr>
              <p:nvPr/>
            </p:nvSpPr>
            <p:spPr bwMode="auto">
              <a:xfrm>
                <a:off x="3963605" y="1711570"/>
                <a:ext cx="44517" cy="26710"/>
              </a:xfrm>
              <a:custGeom>
                <a:avLst/>
                <a:gdLst>
                  <a:gd name="T0" fmla="*/ 45 w 45"/>
                  <a:gd name="T1" fmla="*/ 17 h 27"/>
                  <a:gd name="T2" fmla="*/ 45 w 45"/>
                  <a:gd name="T3" fmla="*/ 17 h 27"/>
                  <a:gd name="T4" fmla="*/ 45 w 45"/>
                  <a:gd name="T5" fmla="*/ 14 h 27"/>
                  <a:gd name="T6" fmla="*/ 44 w 45"/>
                  <a:gd name="T7" fmla="*/ 11 h 27"/>
                  <a:gd name="T8" fmla="*/ 42 w 45"/>
                  <a:gd name="T9" fmla="*/ 10 h 27"/>
                  <a:gd name="T10" fmla="*/ 42 w 45"/>
                  <a:gd name="T11" fmla="*/ 7 h 27"/>
                  <a:gd name="T12" fmla="*/ 42 w 45"/>
                  <a:gd name="T13" fmla="*/ 7 h 27"/>
                  <a:gd name="T14" fmla="*/ 42 w 45"/>
                  <a:gd name="T15" fmla="*/ 4 h 27"/>
                  <a:gd name="T16" fmla="*/ 41 w 45"/>
                  <a:gd name="T17" fmla="*/ 1 h 27"/>
                  <a:gd name="T18" fmla="*/ 39 w 45"/>
                  <a:gd name="T19" fmla="*/ 0 h 27"/>
                  <a:gd name="T20" fmla="*/ 36 w 45"/>
                  <a:gd name="T21" fmla="*/ 0 h 27"/>
                  <a:gd name="T22" fmla="*/ 36 w 45"/>
                  <a:gd name="T23" fmla="*/ 0 h 27"/>
                  <a:gd name="T24" fmla="*/ 26 w 45"/>
                  <a:gd name="T25" fmla="*/ 4 h 27"/>
                  <a:gd name="T26" fmla="*/ 15 w 45"/>
                  <a:gd name="T27" fmla="*/ 9 h 27"/>
                  <a:gd name="T28" fmla="*/ 15 w 45"/>
                  <a:gd name="T29" fmla="*/ 9 h 27"/>
                  <a:gd name="T30" fmla="*/ 12 w 45"/>
                  <a:gd name="T31" fmla="*/ 11 h 27"/>
                  <a:gd name="T32" fmla="*/ 9 w 45"/>
                  <a:gd name="T33" fmla="*/ 14 h 27"/>
                  <a:gd name="T34" fmla="*/ 6 w 45"/>
                  <a:gd name="T35" fmla="*/ 19 h 27"/>
                  <a:gd name="T36" fmla="*/ 6 w 45"/>
                  <a:gd name="T37" fmla="*/ 19 h 27"/>
                  <a:gd name="T38" fmla="*/ 2 w 45"/>
                  <a:gd name="T39" fmla="*/ 22 h 27"/>
                  <a:gd name="T40" fmla="*/ 0 w 45"/>
                  <a:gd name="T41" fmla="*/ 23 h 27"/>
                  <a:gd name="T42" fmla="*/ 0 w 45"/>
                  <a:gd name="T43" fmla="*/ 24 h 27"/>
                  <a:gd name="T44" fmla="*/ 0 w 45"/>
                  <a:gd name="T45" fmla="*/ 24 h 27"/>
                  <a:gd name="T46" fmla="*/ 3 w 45"/>
                  <a:gd name="T47" fmla="*/ 26 h 27"/>
                  <a:gd name="T48" fmla="*/ 7 w 45"/>
                  <a:gd name="T49" fmla="*/ 26 h 27"/>
                  <a:gd name="T50" fmla="*/ 13 w 45"/>
                  <a:gd name="T51" fmla="*/ 27 h 27"/>
                  <a:gd name="T52" fmla="*/ 18 w 45"/>
                  <a:gd name="T53" fmla="*/ 26 h 27"/>
                  <a:gd name="T54" fmla="*/ 18 w 45"/>
                  <a:gd name="T55" fmla="*/ 26 h 27"/>
                  <a:gd name="T56" fmla="*/ 25 w 45"/>
                  <a:gd name="T57" fmla="*/ 23 h 27"/>
                  <a:gd name="T58" fmla="*/ 29 w 45"/>
                  <a:gd name="T59" fmla="*/ 22 h 27"/>
                  <a:gd name="T60" fmla="*/ 32 w 45"/>
                  <a:gd name="T61" fmla="*/ 20 h 27"/>
                  <a:gd name="T62" fmla="*/ 32 w 45"/>
                  <a:gd name="T63" fmla="*/ 20 h 27"/>
                  <a:gd name="T64" fmla="*/ 41 w 45"/>
                  <a:gd name="T65" fmla="*/ 20 h 27"/>
                  <a:gd name="T66" fmla="*/ 44 w 45"/>
                  <a:gd name="T67" fmla="*/ 19 h 27"/>
                  <a:gd name="T68" fmla="*/ 45 w 45"/>
                  <a:gd name="T69" fmla="*/ 1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" h="27">
                    <a:moveTo>
                      <a:pt x="45" y="17"/>
                    </a:moveTo>
                    <a:lnTo>
                      <a:pt x="45" y="17"/>
                    </a:lnTo>
                    <a:lnTo>
                      <a:pt x="45" y="14"/>
                    </a:lnTo>
                    <a:lnTo>
                      <a:pt x="44" y="11"/>
                    </a:lnTo>
                    <a:lnTo>
                      <a:pt x="42" y="10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2" y="4"/>
                    </a:lnTo>
                    <a:lnTo>
                      <a:pt x="41" y="1"/>
                    </a:lnTo>
                    <a:lnTo>
                      <a:pt x="39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6" y="4"/>
                    </a:lnTo>
                    <a:lnTo>
                      <a:pt x="15" y="9"/>
                    </a:lnTo>
                    <a:lnTo>
                      <a:pt x="15" y="9"/>
                    </a:lnTo>
                    <a:lnTo>
                      <a:pt x="12" y="11"/>
                    </a:lnTo>
                    <a:lnTo>
                      <a:pt x="9" y="14"/>
                    </a:lnTo>
                    <a:lnTo>
                      <a:pt x="6" y="19"/>
                    </a:lnTo>
                    <a:lnTo>
                      <a:pt x="6" y="19"/>
                    </a:lnTo>
                    <a:lnTo>
                      <a:pt x="2" y="22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3" y="26"/>
                    </a:lnTo>
                    <a:lnTo>
                      <a:pt x="7" y="26"/>
                    </a:lnTo>
                    <a:lnTo>
                      <a:pt x="13" y="27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5" y="23"/>
                    </a:lnTo>
                    <a:lnTo>
                      <a:pt x="29" y="22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41" y="20"/>
                    </a:lnTo>
                    <a:lnTo>
                      <a:pt x="44" y="19"/>
                    </a:lnTo>
                    <a:lnTo>
                      <a:pt x="45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95" name="Freeform 1248"/>
              <p:cNvSpPr>
                <a:spLocks/>
              </p:cNvSpPr>
              <p:nvPr/>
            </p:nvSpPr>
            <p:spPr bwMode="auto">
              <a:xfrm>
                <a:off x="3963605" y="1711570"/>
                <a:ext cx="44517" cy="26710"/>
              </a:xfrm>
              <a:custGeom>
                <a:avLst/>
                <a:gdLst>
                  <a:gd name="T0" fmla="*/ 45 w 45"/>
                  <a:gd name="T1" fmla="*/ 17 h 27"/>
                  <a:gd name="T2" fmla="*/ 45 w 45"/>
                  <a:gd name="T3" fmla="*/ 17 h 27"/>
                  <a:gd name="T4" fmla="*/ 45 w 45"/>
                  <a:gd name="T5" fmla="*/ 14 h 27"/>
                  <a:gd name="T6" fmla="*/ 44 w 45"/>
                  <a:gd name="T7" fmla="*/ 11 h 27"/>
                  <a:gd name="T8" fmla="*/ 42 w 45"/>
                  <a:gd name="T9" fmla="*/ 10 h 27"/>
                  <a:gd name="T10" fmla="*/ 42 w 45"/>
                  <a:gd name="T11" fmla="*/ 7 h 27"/>
                  <a:gd name="T12" fmla="*/ 42 w 45"/>
                  <a:gd name="T13" fmla="*/ 7 h 27"/>
                  <a:gd name="T14" fmla="*/ 42 w 45"/>
                  <a:gd name="T15" fmla="*/ 4 h 27"/>
                  <a:gd name="T16" fmla="*/ 41 w 45"/>
                  <a:gd name="T17" fmla="*/ 1 h 27"/>
                  <a:gd name="T18" fmla="*/ 39 w 45"/>
                  <a:gd name="T19" fmla="*/ 0 h 27"/>
                  <a:gd name="T20" fmla="*/ 36 w 45"/>
                  <a:gd name="T21" fmla="*/ 0 h 27"/>
                  <a:gd name="T22" fmla="*/ 36 w 45"/>
                  <a:gd name="T23" fmla="*/ 0 h 27"/>
                  <a:gd name="T24" fmla="*/ 26 w 45"/>
                  <a:gd name="T25" fmla="*/ 4 h 27"/>
                  <a:gd name="T26" fmla="*/ 15 w 45"/>
                  <a:gd name="T27" fmla="*/ 9 h 27"/>
                  <a:gd name="T28" fmla="*/ 15 w 45"/>
                  <a:gd name="T29" fmla="*/ 9 h 27"/>
                  <a:gd name="T30" fmla="*/ 12 w 45"/>
                  <a:gd name="T31" fmla="*/ 11 h 27"/>
                  <a:gd name="T32" fmla="*/ 9 w 45"/>
                  <a:gd name="T33" fmla="*/ 14 h 27"/>
                  <a:gd name="T34" fmla="*/ 6 w 45"/>
                  <a:gd name="T35" fmla="*/ 19 h 27"/>
                  <a:gd name="T36" fmla="*/ 6 w 45"/>
                  <a:gd name="T37" fmla="*/ 19 h 27"/>
                  <a:gd name="T38" fmla="*/ 2 w 45"/>
                  <a:gd name="T39" fmla="*/ 22 h 27"/>
                  <a:gd name="T40" fmla="*/ 0 w 45"/>
                  <a:gd name="T41" fmla="*/ 23 h 27"/>
                  <a:gd name="T42" fmla="*/ 0 w 45"/>
                  <a:gd name="T43" fmla="*/ 24 h 27"/>
                  <a:gd name="T44" fmla="*/ 0 w 45"/>
                  <a:gd name="T45" fmla="*/ 24 h 27"/>
                  <a:gd name="T46" fmla="*/ 3 w 45"/>
                  <a:gd name="T47" fmla="*/ 26 h 27"/>
                  <a:gd name="T48" fmla="*/ 7 w 45"/>
                  <a:gd name="T49" fmla="*/ 26 h 27"/>
                  <a:gd name="T50" fmla="*/ 13 w 45"/>
                  <a:gd name="T51" fmla="*/ 27 h 27"/>
                  <a:gd name="T52" fmla="*/ 18 w 45"/>
                  <a:gd name="T53" fmla="*/ 26 h 27"/>
                  <a:gd name="T54" fmla="*/ 18 w 45"/>
                  <a:gd name="T55" fmla="*/ 26 h 27"/>
                  <a:gd name="T56" fmla="*/ 25 w 45"/>
                  <a:gd name="T57" fmla="*/ 23 h 27"/>
                  <a:gd name="T58" fmla="*/ 29 w 45"/>
                  <a:gd name="T59" fmla="*/ 22 h 27"/>
                  <a:gd name="T60" fmla="*/ 32 w 45"/>
                  <a:gd name="T61" fmla="*/ 20 h 27"/>
                  <a:gd name="T62" fmla="*/ 32 w 45"/>
                  <a:gd name="T63" fmla="*/ 20 h 27"/>
                  <a:gd name="T64" fmla="*/ 41 w 45"/>
                  <a:gd name="T65" fmla="*/ 20 h 27"/>
                  <a:gd name="T66" fmla="*/ 44 w 45"/>
                  <a:gd name="T67" fmla="*/ 19 h 27"/>
                  <a:gd name="T68" fmla="*/ 45 w 45"/>
                  <a:gd name="T69" fmla="*/ 1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" h="27">
                    <a:moveTo>
                      <a:pt x="45" y="17"/>
                    </a:moveTo>
                    <a:lnTo>
                      <a:pt x="45" y="17"/>
                    </a:lnTo>
                    <a:lnTo>
                      <a:pt x="45" y="14"/>
                    </a:lnTo>
                    <a:lnTo>
                      <a:pt x="44" y="11"/>
                    </a:lnTo>
                    <a:lnTo>
                      <a:pt x="42" y="10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2" y="4"/>
                    </a:lnTo>
                    <a:lnTo>
                      <a:pt x="41" y="1"/>
                    </a:lnTo>
                    <a:lnTo>
                      <a:pt x="39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6" y="4"/>
                    </a:lnTo>
                    <a:lnTo>
                      <a:pt x="15" y="9"/>
                    </a:lnTo>
                    <a:lnTo>
                      <a:pt x="15" y="9"/>
                    </a:lnTo>
                    <a:lnTo>
                      <a:pt x="12" y="11"/>
                    </a:lnTo>
                    <a:lnTo>
                      <a:pt x="9" y="14"/>
                    </a:lnTo>
                    <a:lnTo>
                      <a:pt x="6" y="19"/>
                    </a:lnTo>
                    <a:lnTo>
                      <a:pt x="6" y="19"/>
                    </a:lnTo>
                    <a:lnTo>
                      <a:pt x="2" y="22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3" y="26"/>
                    </a:lnTo>
                    <a:lnTo>
                      <a:pt x="7" y="26"/>
                    </a:lnTo>
                    <a:lnTo>
                      <a:pt x="13" y="27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5" y="23"/>
                    </a:lnTo>
                    <a:lnTo>
                      <a:pt x="29" y="22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41" y="20"/>
                    </a:lnTo>
                    <a:lnTo>
                      <a:pt x="44" y="19"/>
                    </a:lnTo>
                    <a:lnTo>
                      <a:pt x="45" y="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96" name="Freeform 1249"/>
              <p:cNvSpPr>
                <a:spLocks/>
              </p:cNvSpPr>
              <p:nvPr/>
            </p:nvSpPr>
            <p:spPr bwMode="auto">
              <a:xfrm>
                <a:off x="3965583" y="1692774"/>
                <a:ext cx="35613" cy="21764"/>
              </a:xfrm>
              <a:custGeom>
                <a:avLst/>
                <a:gdLst>
                  <a:gd name="T0" fmla="*/ 34 w 36"/>
                  <a:gd name="T1" fmla="*/ 12 h 22"/>
                  <a:gd name="T2" fmla="*/ 34 w 36"/>
                  <a:gd name="T3" fmla="*/ 12 h 22"/>
                  <a:gd name="T4" fmla="*/ 21 w 36"/>
                  <a:gd name="T5" fmla="*/ 19 h 22"/>
                  <a:gd name="T6" fmla="*/ 13 w 36"/>
                  <a:gd name="T7" fmla="*/ 22 h 22"/>
                  <a:gd name="T8" fmla="*/ 10 w 36"/>
                  <a:gd name="T9" fmla="*/ 22 h 22"/>
                  <a:gd name="T10" fmla="*/ 7 w 36"/>
                  <a:gd name="T11" fmla="*/ 22 h 22"/>
                  <a:gd name="T12" fmla="*/ 7 w 36"/>
                  <a:gd name="T13" fmla="*/ 22 h 22"/>
                  <a:gd name="T14" fmla="*/ 3 w 36"/>
                  <a:gd name="T15" fmla="*/ 19 h 22"/>
                  <a:gd name="T16" fmla="*/ 1 w 36"/>
                  <a:gd name="T17" fmla="*/ 16 h 22"/>
                  <a:gd name="T18" fmla="*/ 0 w 36"/>
                  <a:gd name="T19" fmla="*/ 13 h 22"/>
                  <a:gd name="T20" fmla="*/ 3 w 36"/>
                  <a:gd name="T21" fmla="*/ 12 h 22"/>
                  <a:gd name="T22" fmla="*/ 3 w 36"/>
                  <a:gd name="T23" fmla="*/ 12 h 22"/>
                  <a:gd name="T24" fmla="*/ 5 w 36"/>
                  <a:gd name="T25" fmla="*/ 9 h 22"/>
                  <a:gd name="T26" fmla="*/ 7 w 36"/>
                  <a:gd name="T27" fmla="*/ 7 h 22"/>
                  <a:gd name="T28" fmla="*/ 7 w 36"/>
                  <a:gd name="T29" fmla="*/ 7 h 22"/>
                  <a:gd name="T30" fmla="*/ 13 w 36"/>
                  <a:gd name="T31" fmla="*/ 1 h 22"/>
                  <a:gd name="T32" fmla="*/ 16 w 36"/>
                  <a:gd name="T33" fmla="*/ 0 h 22"/>
                  <a:gd name="T34" fmla="*/ 20 w 36"/>
                  <a:gd name="T35" fmla="*/ 0 h 22"/>
                  <a:gd name="T36" fmla="*/ 20 w 36"/>
                  <a:gd name="T37" fmla="*/ 0 h 22"/>
                  <a:gd name="T38" fmla="*/ 30 w 36"/>
                  <a:gd name="T39" fmla="*/ 4 h 22"/>
                  <a:gd name="T40" fmla="*/ 34 w 36"/>
                  <a:gd name="T41" fmla="*/ 9 h 22"/>
                  <a:gd name="T42" fmla="*/ 36 w 36"/>
                  <a:gd name="T43" fmla="*/ 10 h 22"/>
                  <a:gd name="T44" fmla="*/ 34 w 36"/>
                  <a:gd name="T45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6" h="22">
                    <a:moveTo>
                      <a:pt x="34" y="12"/>
                    </a:moveTo>
                    <a:lnTo>
                      <a:pt x="34" y="12"/>
                    </a:lnTo>
                    <a:lnTo>
                      <a:pt x="21" y="19"/>
                    </a:lnTo>
                    <a:lnTo>
                      <a:pt x="13" y="22"/>
                    </a:lnTo>
                    <a:lnTo>
                      <a:pt x="10" y="22"/>
                    </a:lnTo>
                    <a:lnTo>
                      <a:pt x="7" y="22"/>
                    </a:lnTo>
                    <a:lnTo>
                      <a:pt x="7" y="22"/>
                    </a:lnTo>
                    <a:lnTo>
                      <a:pt x="3" y="19"/>
                    </a:lnTo>
                    <a:lnTo>
                      <a:pt x="1" y="16"/>
                    </a:lnTo>
                    <a:lnTo>
                      <a:pt x="0" y="13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9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13" y="1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30" y="4"/>
                    </a:lnTo>
                    <a:lnTo>
                      <a:pt x="34" y="9"/>
                    </a:lnTo>
                    <a:lnTo>
                      <a:pt x="36" y="10"/>
                    </a:lnTo>
                    <a:lnTo>
                      <a:pt x="34" y="1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97" name="Freeform 1250"/>
              <p:cNvSpPr>
                <a:spLocks/>
              </p:cNvSpPr>
              <p:nvPr/>
            </p:nvSpPr>
            <p:spPr bwMode="auto">
              <a:xfrm>
                <a:off x="3965583" y="1692774"/>
                <a:ext cx="35613" cy="21764"/>
              </a:xfrm>
              <a:custGeom>
                <a:avLst/>
                <a:gdLst>
                  <a:gd name="T0" fmla="*/ 34 w 36"/>
                  <a:gd name="T1" fmla="*/ 12 h 22"/>
                  <a:gd name="T2" fmla="*/ 34 w 36"/>
                  <a:gd name="T3" fmla="*/ 12 h 22"/>
                  <a:gd name="T4" fmla="*/ 21 w 36"/>
                  <a:gd name="T5" fmla="*/ 19 h 22"/>
                  <a:gd name="T6" fmla="*/ 13 w 36"/>
                  <a:gd name="T7" fmla="*/ 22 h 22"/>
                  <a:gd name="T8" fmla="*/ 10 w 36"/>
                  <a:gd name="T9" fmla="*/ 22 h 22"/>
                  <a:gd name="T10" fmla="*/ 7 w 36"/>
                  <a:gd name="T11" fmla="*/ 22 h 22"/>
                  <a:gd name="T12" fmla="*/ 7 w 36"/>
                  <a:gd name="T13" fmla="*/ 22 h 22"/>
                  <a:gd name="T14" fmla="*/ 3 w 36"/>
                  <a:gd name="T15" fmla="*/ 19 h 22"/>
                  <a:gd name="T16" fmla="*/ 1 w 36"/>
                  <a:gd name="T17" fmla="*/ 16 h 22"/>
                  <a:gd name="T18" fmla="*/ 0 w 36"/>
                  <a:gd name="T19" fmla="*/ 13 h 22"/>
                  <a:gd name="T20" fmla="*/ 3 w 36"/>
                  <a:gd name="T21" fmla="*/ 12 h 22"/>
                  <a:gd name="T22" fmla="*/ 3 w 36"/>
                  <a:gd name="T23" fmla="*/ 12 h 22"/>
                  <a:gd name="T24" fmla="*/ 5 w 36"/>
                  <a:gd name="T25" fmla="*/ 9 h 22"/>
                  <a:gd name="T26" fmla="*/ 7 w 36"/>
                  <a:gd name="T27" fmla="*/ 7 h 22"/>
                  <a:gd name="T28" fmla="*/ 7 w 36"/>
                  <a:gd name="T29" fmla="*/ 7 h 22"/>
                  <a:gd name="T30" fmla="*/ 13 w 36"/>
                  <a:gd name="T31" fmla="*/ 1 h 22"/>
                  <a:gd name="T32" fmla="*/ 16 w 36"/>
                  <a:gd name="T33" fmla="*/ 0 h 22"/>
                  <a:gd name="T34" fmla="*/ 20 w 36"/>
                  <a:gd name="T35" fmla="*/ 0 h 22"/>
                  <a:gd name="T36" fmla="*/ 20 w 36"/>
                  <a:gd name="T37" fmla="*/ 0 h 22"/>
                  <a:gd name="T38" fmla="*/ 30 w 36"/>
                  <a:gd name="T39" fmla="*/ 4 h 22"/>
                  <a:gd name="T40" fmla="*/ 34 w 36"/>
                  <a:gd name="T41" fmla="*/ 9 h 22"/>
                  <a:gd name="T42" fmla="*/ 36 w 36"/>
                  <a:gd name="T43" fmla="*/ 10 h 22"/>
                  <a:gd name="T44" fmla="*/ 34 w 36"/>
                  <a:gd name="T45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6" h="22">
                    <a:moveTo>
                      <a:pt x="34" y="12"/>
                    </a:moveTo>
                    <a:lnTo>
                      <a:pt x="34" y="12"/>
                    </a:lnTo>
                    <a:lnTo>
                      <a:pt x="21" y="19"/>
                    </a:lnTo>
                    <a:lnTo>
                      <a:pt x="13" y="22"/>
                    </a:lnTo>
                    <a:lnTo>
                      <a:pt x="10" y="22"/>
                    </a:lnTo>
                    <a:lnTo>
                      <a:pt x="7" y="22"/>
                    </a:lnTo>
                    <a:lnTo>
                      <a:pt x="7" y="22"/>
                    </a:lnTo>
                    <a:lnTo>
                      <a:pt x="3" y="19"/>
                    </a:lnTo>
                    <a:lnTo>
                      <a:pt x="1" y="16"/>
                    </a:lnTo>
                    <a:lnTo>
                      <a:pt x="0" y="13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9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13" y="1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30" y="4"/>
                    </a:lnTo>
                    <a:lnTo>
                      <a:pt x="34" y="9"/>
                    </a:lnTo>
                    <a:lnTo>
                      <a:pt x="36" y="10"/>
                    </a:lnTo>
                    <a:lnTo>
                      <a:pt x="34" y="12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98" name="Freeform 1251"/>
              <p:cNvSpPr>
                <a:spLocks/>
              </p:cNvSpPr>
              <p:nvPr/>
            </p:nvSpPr>
            <p:spPr bwMode="auto">
              <a:xfrm>
                <a:off x="4018014" y="1599784"/>
                <a:ext cx="37592" cy="47484"/>
              </a:xfrm>
              <a:custGeom>
                <a:avLst/>
                <a:gdLst>
                  <a:gd name="T0" fmla="*/ 35 w 38"/>
                  <a:gd name="T1" fmla="*/ 48 h 48"/>
                  <a:gd name="T2" fmla="*/ 35 w 38"/>
                  <a:gd name="T3" fmla="*/ 48 h 48"/>
                  <a:gd name="T4" fmla="*/ 28 w 38"/>
                  <a:gd name="T5" fmla="*/ 43 h 48"/>
                  <a:gd name="T6" fmla="*/ 18 w 38"/>
                  <a:gd name="T7" fmla="*/ 38 h 48"/>
                  <a:gd name="T8" fmla="*/ 7 w 38"/>
                  <a:gd name="T9" fmla="*/ 30 h 48"/>
                  <a:gd name="T10" fmla="*/ 3 w 38"/>
                  <a:gd name="T11" fmla="*/ 25 h 48"/>
                  <a:gd name="T12" fmla="*/ 3 w 38"/>
                  <a:gd name="T13" fmla="*/ 25 h 48"/>
                  <a:gd name="T14" fmla="*/ 2 w 38"/>
                  <a:gd name="T15" fmla="*/ 16 h 48"/>
                  <a:gd name="T16" fmla="*/ 0 w 38"/>
                  <a:gd name="T17" fmla="*/ 11 h 48"/>
                  <a:gd name="T18" fmla="*/ 0 w 38"/>
                  <a:gd name="T19" fmla="*/ 10 h 48"/>
                  <a:gd name="T20" fmla="*/ 0 w 38"/>
                  <a:gd name="T21" fmla="*/ 10 h 48"/>
                  <a:gd name="T22" fmla="*/ 5 w 38"/>
                  <a:gd name="T23" fmla="*/ 9 h 48"/>
                  <a:gd name="T24" fmla="*/ 6 w 38"/>
                  <a:gd name="T25" fmla="*/ 7 h 48"/>
                  <a:gd name="T26" fmla="*/ 6 w 38"/>
                  <a:gd name="T27" fmla="*/ 7 h 48"/>
                  <a:gd name="T28" fmla="*/ 6 w 38"/>
                  <a:gd name="T29" fmla="*/ 7 h 48"/>
                  <a:gd name="T30" fmla="*/ 2 w 38"/>
                  <a:gd name="T31" fmla="*/ 4 h 48"/>
                  <a:gd name="T32" fmla="*/ 0 w 38"/>
                  <a:gd name="T33" fmla="*/ 3 h 48"/>
                  <a:gd name="T34" fmla="*/ 3 w 38"/>
                  <a:gd name="T35" fmla="*/ 3 h 48"/>
                  <a:gd name="T36" fmla="*/ 3 w 38"/>
                  <a:gd name="T37" fmla="*/ 3 h 48"/>
                  <a:gd name="T38" fmla="*/ 9 w 38"/>
                  <a:gd name="T39" fmla="*/ 0 h 48"/>
                  <a:gd name="T40" fmla="*/ 19 w 38"/>
                  <a:gd name="T41" fmla="*/ 0 h 48"/>
                  <a:gd name="T42" fmla="*/ 29 w 38"/>
                  <a:gd name="T43" fmla="*/ 0 h 48"/>
                  <a:gd name="T44" fmla="*/ 32 w 38"/>
                  <a:gd name="T45" fmla="*/ 0 h 48"/>
                  <a:gd name="T46" fmla="*/ 34 w 38"/>
                  <a:gd name="T47" fmla="*/ 1 h 48"/>
                  <a:gd name="T48" fmla="*/ 34 w 38"/>
                  <a:gd name="T49" fmla="*/ 1 h 48"/>
                  <a:gd name="T50" fmla="*/ 35 w 38"/>
                  <a:gd name="T51" fmla="*/ 10 h 48"/>
                  <a:gd name="T52" fmla="*/ 34 w 38"/>
                  <a:gd name="T53" fmla="*/ 14 h 48"/>
                  <a:gd name="T54" fmla="*/ 32 w 38"/>
                  <a:gd name="T55" fmla="*/ 14 h 48"/>
                  <a:gd name="T56" fmla="*/ 31 w 38"/>
                  <a:gd name="T57" fmla="*/ 16 h 48"/>
                  <a:gd name="T58" fmla="*/ 31 w 38"/>
                  <a:gd name="T59" fmla="*/ 16 h 48"/>
                  <a:gd name="T60" fmla="*/ 26 w 38"/>
                  <a:gd name="T61" fmla="*/ 11 h 48"/>
                  <a:gd name="T62" fmla="*/ 22 w 38"/>
                  <a:gd name="T63" fmla="*/ 10 h 48"/>
                  <a:gd name="T64" fmla="*/ 22 w 38"/>
                  <a:gd name="T65" fmla="*/ 10 h 48"/>
                  <a:gd name="T66" fmla="*/ 18 w 38"/>
                  <a:gd name="T67" fmla="*/ 9 h 48"/>
                  <a:gd name="T68" fmla="*/ 15 w 38"/>
                  <a:gd name="T69" fmla="*/ 9 h 48"/>
                  <a:gd name="T70" fmla="*/ 13 w 38"/>
                  <a:gd name="T71" fmla="*/ 10 h 48"/>
                  <a:gd name="T72" fmla="*/ 13 w 38"/>
                  <a:gd name="T73" fmla="*/ 10 h 48"/>
                  <a:gd name="T74" fmla="*/ 15 w 38"/>
                  <a:gd name="T75" fmla="*/ 11 h 48"/>
                  <a:gd name="T76" fmla="*/ 18 w 38"/>
                  <a:gd name="T77" fmla="*/ 14 h 48"/>
                  <a:gd name="T78" fmla="*/ 23 w 38"/>
                  <a:gd name="T79" fmla="*/ 20 h 48"/>
                  <a:gd name="T80" fmla="*/ 23 w 38"/>
                  <a:gd name="T81" fmla="*/ 20 h 48"/>
                  <a:gd name="T82" fmla="*/ 32 w 38"/>
                  <a:gd name="T83" fmla="*/ 29 h 48"/>
                  <a:gd name="T84" fmla="*/ 35 w 38"/>
                  <a:gd name="T85" fmla="*/ 33 h 48"/>
                  <a:gd name="T86" fmla="*/ 36 w 38"/>
                  <a:gd name="T87" fmla="*/ 36 h 48"/>
                  <a:gd name="T88" fmla="*/ 36 w 38"/>
                  <a:gd name="T89" fmla="*/ 36 h 48"/>
                  <a:gd name="T90" fmla="*/ 32 w 38"/>
                  <a:gd name="T91" fmla="*/ 36 h 48"/>
                  <a:gd name="T92" fmla="*/ 31 w 38"/>
                  <a:gd name="T93" fmla="*/ 36 h 48"/>
                  <a:gd name="T94" fmla="*/ 31 w 38"/>
                  <a:gd name="T95" fmla="*/ 38 h 48"/>
                  <a:gd name="T96" fmla="*/ 31 w 38"/>
                  <a:gd name="T97" fmla="*/ 38 h 48"/>
                  <a:gd name="T98" fmla="*/ 36 w 38"/>
                  <a:gd name="T99" fmla="*/ 43 h 48"/>
                  <a:gd name="T100" fmla="*/ 38 w 38"/>
                  <a:gd name="T101" fmla="*/ 46 h 48"/>
                  <a:gd name="T102" fmla="*/ 38 w 38"/>
                  <a:gd name="T103" fmla="*/ 48 h 48"/>
                  <a:gd name="T104" fmla="*/ 35 w 38"/>
                  <a:gd name="T10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8" h="48">
                    <a:moveTo>
                      <a:pt x="35" y="48"/>
                    </a:moveTo>
                    <a:lnTo>
                      <a:pt x="35" y="48"/>
                    </a:lnTo>
                    <a:lnTo>
                      <a:pt x="28" y="43"/>
                    </a:lnTo>
                    <a:lnTo>
                      <a:pt x="18" y="38"/>
                    </a:lnTo>
                    <a:lnTo>
                      <a:pt x="7" y="30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9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9" y="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32" y="0"/>
                    </a:lnTo>
                    <a:lnTo>
                      <a:pt x="34" y="1"/>
                    </a:lnTo>
                    <a:lnTo>
                      <a:pt x="34" y="1"/>
                    </a:lnTo>
                    <a:lnTo>
                      <a:pt x="35" y="10"/>
                    </a:lnTo>
                    <a:lnTo>
                      <a:pt x="34" y="14"/>
                    </a:lnTo>
                    <a:lnTo>
                      <a:pt x="32" y="14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26" y="11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9"/>
                    </a:lnTo>
                    <a:lnTo>
                      <a:pt x="15" y="9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5" y="11"/>
                    </a:lnTo>
                    <a:lnTo>
                      <a:pt x="18" y="14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32" y="29"/>
                    </a:lnTo>
                    <a:lnTo>
                      <a:pt x="35" y="33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1" y="36"/>
                    </a:lnTo>
                    <a:lnTo>
                      <a:pt x="31" y="38"/>
                    </a:lnTo>
                    <a:lnTo>
                      <a:pt x="31" y="38"/>
                    </a:lnTo>
                    <a:lnTo>
                      <a:pt x="36" y="43"/>
                    </a:lnTo>
                    <a:lnTo>
                      <a:pt x="38" y="46"/>
                    </a:lnTo>
                    <a:lnTo>
                      <a:pt x="38" y="48"/>
                    </a:lnTo>
                    <a:lnTo>
                      <a:pt x="35" y="4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99" name="Freeform 1252"/>
              <p:cNvSpPr>
                <a:spLocks/>
              </p:cNvSpPr>
              <p:nvPr/>
            </p:nvSpPr>
            <p:spPr bwMode="auto">
              <a:xfrm>
                <a:off x="4018014" y="1599784"/>
                <a:ext cx="37592" cy="47484"/>
              </a:xfrm>
              <a:custGeom>
                <a:avLst/>
                <a:gdLst>
                  <a:gd name="T0" fmla="*/ 35 w 38"/>
                  <a:gd name="T1" fmla="*/ 48 h 48"/>
                  <a:gd name="T2" fmla="*/ 35 w 38"/>
                  <a:gd name="T3" fmla="*/ 48 h 48"/>
                  <a:gd name="T4" fmla="*/ 28 w 38"/>
                  <a:gd name="T5" fmla="*/ 43 h 48"/>
                  <a:gd name="T6" fmla="*/ 18 w 38"/>
                  <a:gd name="T7" fmla="*/ 38 h 48"/>
                  <a:gd name="T8" fmla="*/ 7 w 38"/>
                  <a:gd name="T9" fmla="*/ 30 h 48"/>
                  <a:gd name="T10" fmla="*/ 3 w 38"/>
                  <a:gd name="T11" fmla="*/ 25 h 48"/>
                  <a:gd name="T12" fmla="*/ 3 w 38"/>
                  <a:gd name="T13" fmla="*/ 25 h 48"/>
                  <a:gd name="T14" fmla="*/ 2 w 38"/>
                  <a:gd name="T15" fmla="*/ 16 h 48"/>
                  <a:gd name="T16" fmla="*/ 0 w 38"/>
                  <a:gd name="T17" fmla="*/ 11 h 48"/>
                  <a:gd name="T18" fmla="*/ 0 w 38"/>
                  <a:gd name="T19" fmla="*/ 10 h 48"/>
                  <a:gd name="T20" fmla="*/ 0 w 38"/>
                  <a:gd name="T21" fmla="*/ 10 h 48"/>
                  <a:gd name="T22" fmla="*/ 5 w 38"/>
                  <a:gd name="T23" fmla="*/ 9 h 48"/>
                  <a:gd name="T24" fmla="*/ 6 w 38"/>
                  <a:gd name="T25" fmla="*/ 7 h 48"/>
                  <a:gd name="T26" fmla="*/ 6 w 38"/>
                  <a:gd name="T27" fmla="*/ 7 h 48"/>
                  <a:gd name="T28" fmla="*/ 6 w 38"/>
                  <a:gd name="T29" fmla="*/ 7 h 48"/>
                  <a:gd name="T30" fmla="*/ 2 w 38"/>
                  <a:gd name="T31" fmla="*/ 4 h 48"/>
                  <a:gd name="T32" fmla="*/ 0 w 38"/>
                  <a:gd name="T33" fmla="*/ 3 h 48"/>
                  <a:gd name="T34" fmla="*/ 3 w 38"/>
                  <a:gd name="T35" fmla="*/ 3 h 48"/>
                  <a:gd name="T36" fmla="*/ 3 w 38"/>
                  <a:gd name="T37" fmla="*/ 3 h 48"/>
                  <a:gd name="T38" fmla="*/ 9 w 38"/>
                  <a:gd name="T39" fmla="*/ 0 h 48"/>
                  <a:gd name="T40" fmla="*/ 19 w 38"/>
                  <a:gd name="T41" fmla="*/ 0 h 48"/>
                  <a:gd name="T42" fmla="*/ 29 w 38"/>
                  <a:gd name="T43" fmla="*/ 0 h 48"/>
                  <a:gd name="T44" fmla="*/ 32 w 38"/>
                  <a:gd name="T45" fmla="*/ 0 h 48"/>
                  <a:gd name="T46" fmla="*/ 34 w 38"/>
                  <a:gd name="T47" fmla="*/ 1 h 48"/>
                  <a:gd name="T48" fmla="*/ 34 w 38"/>
                  <a:gd name="T49" fmla="*/ 1 h 48"/>
                  <a:gd name="T50" fmla="*/ 35 w 38"/>
                  <a:gd name="T51" fmla="*/ 10 h 48"/>
                  <a:gd name="T52" fmla="*/ 34 w 38"/>
                  <a:gd name="T53" fmla="*/ 14 h 48"/>
                  <a:gd name="T54" fmla="*/ 32 w 38"/>
                  <a:gd name="T55" fmla="*/ 14 h 48"/>
                  <a:gd name="T56" fmla="*/ 31 w 38"/>
                  <a:gd name="T57" fmla="*/ 16 h 48"/>
                  <a:gd name="T58" fmla="*/ 31 w 38"/>
                  <a:gd name="T59" fmla="*/ 16 h 48"/>
                  <a:gd name="T60" fmla="*/ 26 w 38"/>
                  <a:gd name="T61" fmla="*/ 11 h 48"/>
                  <a:gd name="T62" fmla="*/ 22 w 38"/>
                  <a:gd name="T63" fmla="*/ 10 h 48"/>
                  <a:gd name="T64" fmla="*/ 22 w 38"/>
                  <a:gd name="T65" fmla="*/ 10 h 48"/>
                  <a:gd name="T66" fmla="*/ 18 w 38"/>
                  <a:gd name="T67" fmla="*/ 9 h 48"/>
                  <a:gd name="T68" fmla="*/ 15 w 38"/>
                  <a:gd name="T69" fmla="*/ 9 h 48"/>
                  <a:gd name="T70" fmla="*/ 13 w 38"/>
                  <a:gd name="T71" fmla="*/ 10 h 48"/>
                  <a:gd name="T72" fmla="*/ 13 w 38"/>
                  <a:gd name="T73" fmla="*/ 10 h 48"/>
                  <a:gd name="T74" fmla="*/ 15 w 38"/>
                  <a:gd name="T75" fmla="*/ 11 h 48"/>
                  <a:gd name="T76" fmla="*/ 18 w 38"/>
                  <a:gd name="T77" fmla="*/ 14 h 48"/>
                  <a:gd name="T78" fmla="*/ 23 w 38"/>
                  <a:gd name="T79" fmla="*/ 20 h 48"/>
                  <a:gd name="T80" fmla="*/ 23 w 38"/>
                  <a:gd name="T81" fmla="*/ 20 h 48"/>
                  <a:gd name="T82" fmla="*/ 32 w 38"/>
                  <a:gd name="T83" fmla="*/ 29 h 48"/>
                  <a:gd name="T84" fmla="*/ 35 w 38"/>
                  <a:gd name="T85" fmla="*/ 33 h 48"/>
                  <a:gd name="T86" fmla="*/ 36 w 38"/>
                  <a:gd name="T87" fmla="*/ 36 h 48"/>
                  <a:gd name="T88" fmla="*/ 36 w 38"/>
                  <a:gd name="T89" fmla="*/ 36 h 48"/>
                  <a:gd name="T90" fmla="*/ 32 w 38"/>
                  <a:gd name="T91" fmla="*/ 36 h 48"/>
                  <a:gd name="T92" fmla="*/ 31 w 38"/>
                  <a:gd name="T93" fmla="*/ 36 h 48"/>
                  <a:gd name="T94" fmla="*/ 31 w 38"/>
                  <a:gd name="T95" fmla="*/ 38 h 48"/>
                  <a:gd name="T96" fmla="*/ 31 w 38"/>
                  <a:gd name="T97" fmla="*/ 38 h 48"/>
                  <a:gd name="T98" fmla="*/ 36 w 38"/>
                  <a:gd name="T99" fmla="*/ 43 h 48"/>
                  <a:gd name="T100" fmla="*/ 38 w 38"/>
                  <a:gd name="T101" fmla="*/ 46 h 48"/>
                  <a:gd name="T102" fmla="*/ 38 w 38"/>
                  <a:gd name="T103" fmla="*/ 48 h 48"/>
                  <a:gd name="T104" fmla="*/ 35 w 38"/>
                  <a:gd name="T10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8" h="48">
                    <a:moveTo>
                      <a:pt x="35" y="48"/>
                    </a:moveTo>
                    <a:lnTo>
                      <a:pt x="35" y="48"/>
                    </a:lnTo>
                    <a:lnTo>
                      <a:pt x="28" y="43"/>
                    </a:lnTo>
                    <a:lnTo>
                      <a:pt x="18" y="38"/>
                    </a:lnTo>
                    <a:lnTo>
                      <a:pt x="7" y="30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5" y="9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9" y="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32" y="0"/>
                    </a:lnTo>
                    <a:lnTo>
                      <a:pt x="34" y="1"/>
                    </a:lnTo>
                    <a:lnTo>
                      <a:pt x="34" y="1"/>
                    </a:lnTo>
                    <a:lnTo>
                      <a:pt x="35" y="10"/>
                    </a:lnTo>
                    <a:lnTo>
                      <a:pt x="34" y="14"/>
                    </a:lnTo>
                    <a:lnTo>
                      <a:pt x="32" y="14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26" y="11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9"/>
                    </a:lnTo>
                    <a:lnTo>
                      <a:pt x="15" y="9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5" y="11"/>
                    </a:lnTo>
                    <a:lnTo>
                      <a:pt x="18" y="14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32" y="29"/>
                    </a:lnTo>
                    <a:lnTo>
                      <a:pt x="35" y="33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1" y="36"/>
                    </a:lnTo>
                    <a:lnTo>
                      <a:pt x="31" y="38"/>
                    </a:lnTo>
                    <a:lnTo>
                      <a:pt x="31" y="38"/>
                    </a:lnTo>
                    <a:lnTo>
                      <a:pt x="36" y="43"/>
                    </a:lnTo>
                    <a:lnTo>
                      <a:pt x="38" y="46"/>
                    </a:lnTo>
                    <a:lnTo>
                      <a:pt x="38" y="48"/>
                    </a:lnTo>
                    <a:lnTo>
                      <a:pt x="35" y="4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00" name="Freeform 1253"/>
              <p:cNvSpPr>
                <a:spLocks/>
              </p:cNvSpPr>
              <p:nvPr/>
            </p:nvSpPr>
            <p:spPr bwMode="auto">
              <a:xfrm>
                <a:off x="4004164" y="1577031"/>
                <a:ext cx="41549" cy="16817"/>
              </a:xfrm>
              <a:custGeom>
                <a:avLst/>
                <a:gdLst>
                  <a:gd name="T0" fmla="*/ 42 w 42"/>
                  <a:gd name="T1" fmla="*/ 13 h 17"/>
                  <a:gd name="T2" fmla="*/ 42 w 42"/>
                  <a:gd name="T3" fmla="*/ 13 h 17"/>
                  <a:gd name="T4" fmla="*/ 29 w 42"/>
                  <a:gd name="T5" fmla="*/ 16 h 17"/>
                  <a:gd name="T6" fmla="*/ 21 w 42"/>
                  <a:gd name="T7" fmla="*/ 17 h 17"/>
                  <a:gd name="T8" fmla="*/ 16 w 42"/>
                  <a:gd name="T9" fmla="*/ 17 h 17"/>
                  <a:gd name="T10" fmla="*/ 16 w 42"/>
                  <a:gd name="T11" fmla="*/ 17 h 17"/>
                  <a:gd name="T12" fmla="*/ 6 w 42"/>
                  <a:gd name="T13" fmla="*/ 14 h 17"/>
                  <a:gd name="T14" fmla="*/ 1 w 42"/>
                  <a:gd name="T15" fmla="*/ 13 h 17"/>
                  <a:gd name="T16" fmla="*/ 0 w 42"/>
                  <a:gd name="T17" fmla="*/ 11 h 17"/>
                  <a:gd name="T18" fmla="*/ 0 w 42"/>
                  <a:gd name="T19" fmla="*/ 10 h 17"/>
                  <a:gd name="T20" fmla="*/ 0 w 42"/>
                  <a:gd name="T21" fmla="*/ 10 h 17"/>
                  <a:gd name="T22" fmla="*/ 7 w 42"/>
                  <a:gd name="T23" fmla="*/ 1 h 17"/>
                  <a:gd name="T24" fmla="*/ 7 w 42"/>
                  <a:gd name="T25" fmla="*/ 1 h 17"/>
                  <a:gd name="T26" fmla="*/ 10 w 42"/>
                  <a:gd name="T27" fmla="*/ 0 h 17"/>
                  <a:gd name="T28" fmla="*/ 14 w 42"/>
                  <a:gd name="T29" fmla="*/ 0 h 17"/>
                  <a:gd name="T30" fmla="*/ 19 w 42"/>
                  <a:gd name="T31" fmla="*/ 0 h 17"/>
                  <a:gd name="T32" fmla="*/ 23 w 42"/>
                  <a:gd name="T33" fmla="*/ 1 h 17"/>
                  <a:gd name="T34" fmla="*/ 23 w 42"/>
                  <a:gd name="T35" fmla="*/ 1 h 17"/>
                  <a:gd name="T36" fmla="*/ 36 w 42"/>
                  <a:gd name="T37" fmla="*/ 7 h 17"/>
                  <a:gd name="T38" fmla="*/ 40 w 42"/>
                  <a:gd name="T39" fmla="*/ 10 h 17"/>
                  <a:gd name="T40" fmla="*/ 42 w 42"/>
                  <a:gd name="T41" fmla="*/ 11 h 17"/>
                  <a:gd name="T42" fmla="*/ 42 w 42"/>
                  <a:gd name="T43" fmla="*/ 1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17">
                    <a:moveTo>
                      <a:pt x="42" y="13"/>
                    </a:moveTo>
                    <a:lnTo>
                      <a:pt x="42" y="13"/>
                    </a:lnTo>
                    <a:lnTo>
                      <a:pt x="29" y="16"/>
                    </a:lnTo>
                    <a:lnTo>
                      <a:pt x="21" y="17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6" y="14"/>
                    </a:lnTo>
                    <a:lnTo>
                      <a:pt x="1" y="13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36" y="7"/>
                    </a:lnTo>
                    <a:lnTo>
                      <a:pt x="40" y="10"/>
                    </a:lnTo>
                    <a:lnTo>
                      <a:pt x="42" y="11"/>
                    </a:lnTo>
                    <a:lnTo>
                      <a:pt x="42" y="1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01" name="Freeform 1254"/>
              <p:cNvSpPr>
                <a:spLocks/>
              </p:cNvSpPr>
              <p:nvPr/>
            </p:nvSpPr>
            <p:spPr bwMode="auto">
              <a:xfrm>
                <a:off x="4004164" y="1577031"/>
                <a:ext cx="41549" cy="16817"/>
              </a:xfrm>
              <a:custGeom>
                <a:avLst/>
                <a:gdLst>
                  <a:gd name="T0" fmla="*/ 42 w 42"/>
                  <a:gd name="T1" fmla="*/ 13 h 17"/>
                  <a:gd name="T2" fmla="*/ 42 w 42"/>
                  <a:gd name="T3" fmla="*/ 13 h 17"/>
                  <a:gd name="T4" fmla="*/ 29 w 42"/>
                  <a:gd name="T5" fmla="*/ 16 h 17"/>
                  <a:gd name="T6" fmla="*/ 21 w 42"/>
                  <a:gd name="T7" fmla="*/ 17 h 17"/>
                  <a:gd name="T8" fmla="*/ 16 w 42"/>
                  <a:gd name="T9" fmla="*/ 17 h 17"/>
                  <a:gd name="T10" fmla="*/ 16 w 42"/>
                  <a:gd name="T11" fmla="*/ 17 h 17"/>
                  <a:gd name="T12" fmla="*/ 6 w 42"/>
                  <a:gd name="T13" fmla="*/ 14 h 17"/>
                  <a:gd name="T14" fmla="*/ 1 w 42"/>
                  <a:gd name="T15" fmla="*/ 13 h 17"/>
                  <a:gd name="T16" fmla="*/ 0 w 42"/>
                  <a:gd name="T17" fmla="*/ 11 h 17"/>
                  <a:gd name="T18" fmla="*/ 0 w 42"/>
                  <a:gd name="T19" fmla="*/ 10 h 17"/>
                  <a:gd name="T20" fmla="*/ 0 w 42"/>
                  <a:gd name="T21" fmla="*/ 10 h 17"/>
                  <a:gd name="T22" fmla="*/ 7 w 42"/>
                  <a:gd name="T23" fmla="*/ 1 h 17"/>
                  <a:gd name="T24" fmla="*/ 7 w 42"/>
                  <a:gd name="T25" fmla="*/ 1 h 17"/>
                  <a:gd name="T26" fmla="*/ 10 w 42"/>
                  <a:gd name="T27" fmla="*/ 0 h 17"/>
                  <a:gd name="T28" fmla="*/ 14 w 42"/>
                  <a:gd name="T29" fmla="*/ 0 h 17"/>
                  <a:gd name="T30" fmla="*/ 19 w 42"/>
                  <a:gd name="T31" fmla="*/ 0 h 17"/>
                  <a:gd name="T32" fmla="*/ 23 w 42"/>
                  <a:gd name="T33" fmla="*/ 1 h 17"/>
                  <a:gd name="T34" fmla="*/ 23 w 42"/>
                  <a:gd name="T35" fmla="*/ 1 h 17"/>
                  <a:gd name="T36" fmla="*/ 36 w 42"/>
                  <a:gd name="T37" fmla="*/ 7 h 17"/>
                  <a:gd name="T38" fmla="*/ 40 w 42"/>
                  <a:gd name="T39" fmla="*/ 10 h 17"/>
                  <a:gd name="T40" fmla="*/ 42 w 42"/>
                  <a:gd name="T41" fmla="*/ 11 h 17"/>
                  <a:gd name="T42" fmla="*/ 42 w 42"/>
                  <a:gd name="T43" fmla="*/ 1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17">
                    <a:moveTo>
                      <a:pt x="42" y="13"/>
                    </a:moveTo>
                    <a:lnTo>
                      <a:pt x="42" y="13"/>
                    </a:lnTo>
                    <a:lnTo>
                      <a:pt x="29" y="16"/>
                    </a:lnTo>
                    <a:lnTo>
                      <a:pt x="21" y="17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6" y="14"/>
                    </a:lnTo>
                    <a:lnTo>
                      <a:pt x="1" y="13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36" y="7"/>
                    </a:lnTo>
                    <a:lnTo>
                      <a:pt x="40" y="10"/>
                    </a:lnTo>
                    <a:lnTo>
                      <a:pt x="42" y="11"/>
                    </a:lnTo>
                    <a:lnTo>
                      <a:pt x="42" y="1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02" name="Freeform 1255"/>
              <p:cNvSpPr>
                <a:spLocks/>
              </p:cNvSpPr>
              <p:nvPr/>
            </p:nvSpPr>
            <p:spPr bwMode="auto">
              <a:xfrm>
                <a:off x="4082316" y="1487998"/>
                <a:ext cx="10882" cy="16817"/>
              </a:xfrm>
              <a:custGeom>
                <a:avLst/>
                <a:gdLst>
                  <a:gd name="T0" fmla="*/ 5 w 11"/>
                  <a:gd name="T1" fmla="*/ 17 h 17"/>
                  <a:gd name="T2" fmla="*/ 5 w 11"/>
                  <a:gd name="T3" fmla="*/ 17 h 17"/>
                  <a:gd name="T4" fmla="*/ 3 w 11"/>
                  <a:gd name="T5" fmla="*/ 17 h 17"/>
                  <a:gd name="T6" fmla="*/ 2 w 11"/>
                  <a:gd name="T7" fmla="*/ 16 h 17"/>
                  <a:gd name="T8" fmla="*/ 0 w 11"/>
                  <a:gd name="T9" fmla="*/ 9 h 17"/>
                  <a:gd name="T10" fmla="*/ 0 w 11"/>
                  <a:gd name="T11" fmla="*/ 3 h 17"/>
                  <a:gd name="T12" fmla="*/ 0 w 11"/>
                  <a:gd name="T13" fmla="*/ 0 h 17"/>
                  <a:gd name="T14" fmla="*/ 0 w 11"/>
                  <a:gd name="T15" fmla="*/ 0 h 17"/>
                  <a:gd name="T16" fmla="*/ 0 w 11"/>
                  <a:gd name="T17" fmla="*/ 0 h 17"/>
                  <a:gd name="T18" fmla="*/ 6 w 11"/>
                  <a:gd name="T19" fmla="*/ 0 h 17"/>
                  <a:gd name="T20" fmla="*/ 8 w 11"/>
                  <a:gd name="T21" fmla="*/ 1 h 17"/>
                  <a:gd name="T22" fmla="*/ 8 w 11"/>
                  <a:gd name="T23" fmla="*/ 3 h 17"/>
                  <a:gd name="T24" fmla="*/ 8 w 11"/>
                  <a:gd name="T25" fmla="*/ 3 h 17"/>
                  <a:gd name="T26" fmla="*/ 8 w 11"/>
                  <a:gd name="T27" fmla="*/ 4 h 17"/>
                  <a:gd name="T28" fmla="*/ 9 w 11"/>
                  <a:gd name="T29" fmla="*/ 7 h 17"/>
                  <a:gd name="T30" fmla="*/ 11 w 11"/>
                  <a:gd name="T31" fmla="*/ 11 h 17"/>
                  <a:gd name="T32" fmla="*/ 11 w 11"/>
                  <a:gd name="T33" fmla="*/ 11 h 17"/>
                  <a:gd name="T34" fmla="*/ 9 w 11"/>
                  <a:gd name="T35" fmla="*/ 16 h 17"/>
                  <a:gd name="T36" fmla="*/ 8 w 11"/>
                  <a:gd name="T37" fmla="*/ 17 h 17"/>
                  <a:gd name="T38" fmla="*/ 5 w 11"/>
                  <a:gd name="T3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" h="17">
                    <a:moveTo>
                      <a:pt x="5" y="17"/>
                    </a:moveTo>
                    <a:lnTo>
                      <a:pt x="5" y="17"/>
                    </a:lnTo>
                    <a:lnTo>
                      <a:pt x="3" y="17"/>
                    </a:lnTo>
                    <a:lnTo>
                      <a:pt x="2" y="16"/>
                    </a:lnTo>
                    <a:lnTo>
                      <a:pt x="0" y="9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1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4"/>
                    </a:lnTo>
                    <a:lnTo>
                      <a:pt x="9" y="7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9" y="16"/>
                    </a:lnTo>
                    <a:lnTo>
                      <a:pt x="8" y="17"/>
                    </a:lnTo>
                    <a:lnTo>
                      <a:pt x="5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03" name="Freeform 1256"/>
              <p:cNvSpPr>
                <a:spLocks/>
              </p:cNvSpPr>
              <p:nvPr/>
            </p:nvSpPr>
            <p:spPr bwMode="auto">
              <a:xfrm>
                <a:off x="4082316" y="1487998"/>
                <a:ext cx="10882" cy="16817"/>
              </a:xfrm>
              <a:custGeom>
                <a:avLst/>
                <a:gdLst>
                  <a:gd name="T0" fmla="*/ 5 w 11"/>
                  <a:gd name="T1" fmla="*/ 17 h 17"/>
                  <a:gd name="T2" fmla="*/ 5 w 11"/>
                  <a:gd name="T3" fmla="*/ 17 h 17"/>
                  <a:gd name="T4" fmla="*/ 3 w 11"/>
                  <a:gd name="T5" fmla="*/ 17 h 17"/>
                  <a:gd name="T6" fmla="*/ 2 w 11"/>
                  <a:gd name="T7" fmla="*/ 16 h 17"/>
                  <a:gd name="T8" fmla="*/ 0 w 11"/>
                  <a:gd name="T9" fmla="*/ 9 h 17"/>
                  <a:gd name="T10" fmla="*/ 0 w 11"/>
                  <a:gd name="T11" fmla="*/ 3 h 17"/>
                  <a:gd name="T12" fmla="*/ 0 w 11"/>
                  <a:gd name="T13" fmla="*/ 0 h 17"/>
                  <a:gd name="T14" fmla="*/ 0 w 11"/>
                  <a:gd name="T15" fmla="*/ 0 h 17"/>
                  <a:gd name="T16" fmla="*/ 0 w 11"/>
                  <a:gd name="T17" fmla="*/ 0 h 17"/>
                  <a:gd name="T18" fmla="*/ 6 w 11"/>
                  <a:gd name="T19" fmla="*/ 0 h 17"/>
                  <a:gd name="T20" fmla="*/ 8 w 11"/>
                  <a:gd name="T21" fmla="*/ 1 h 17"/>
                  <a:gd name="T22" fmla="*/ 8 w 11"/>
                  <a:gd name="T23" fmla="*/ 3 h 17"/>
                  <a:gd name="T24" fmla="*/ 8 w 11"/>
                  <a:gd name="T25" fmla="*/ 3 h 17"/>
                  <a:gd name="T26" fmla="*/ 8 w 11"/>
                  <a:gd name="T27" fmla="*/ 4 h 17"/>
                  <a:gd name="T28" fmla="*/ 9 w 11"/>
                  <a:gd name="T29" fmla="*/ 7 h 17"/>
                  <a:gd name="T30" fmla="*/ 11 w 11"/>
                  <a:gd name="T31" fmla="*/ 11 h 17"/>
                  <a:gd name="T32" fmla="*/ 11 w 11"/>
                  <a:gd name="T33" fmla="*/ 11 h 17"/>
                  <a:gd name="T34" fmla="*/ 9 w 11"/>
                  <a:gd name="T35" fmla="*/ 16 h 17"/>
                  <a:gd name="T36" fmla="*/ 8 w 11"/>
                  <a:gd name="T37" fmla="*/ 17 h 17"/>
                  <a:gd name="T38" fmla="*/ 5 w 11"/>
                  <a:gd name="T3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" h="17">
                    <a:moveTo>
                      <a:pt x="5" y="17"/>
                    </a:moveTo>
                    <a:lnTo>
                      <a:pt x="5" y="17"/>
                    </a:lnTo>
                    <a:lnTo>
                      <a:pt x="3" y="17"/>
                    </a:lnTo>
                    <a:lnTo>
                      <a:pt x="2" y="16"/>
                    </a:lnTo>
                    <a:lnTo>
                      <a:pt x="0" y="9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1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4"/>
                    </a:lnTo>
                    <a:lnTo>
                      <a:pt x="9" y="7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9" y="16"/>
                    </a:lnTo>
                    <a:lnTo>
                      <a:pt x="8" y="17"/>
                    </a:lnTo>
                    <a:lnTo>
                      <a:pt x="5" y="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04" name="Freeform 1257"/>
              <p:cNvSpPr>
                <a:spLocks/>
              </p:cNvSpPr>
              <p:nvPr/>
            </p:nvSpPr>
            <p:spPr bwMode="auto">
              <a:xfrm>
                <a:off x="4104080" y="1462277"/>
                <a:ext cx="25721" cy="31656"/>
              </a:xfrm>
              <a:custGeom>
                <a:avLst/>
                <a:gdLst>
                  <a:gd name="T0" fmla="*/ 23 w 26"/>
                  <a:gd name="T1" fmla="*/ 27 h 32"/>
                  <a:gd name="T2" fmla="*/ 23 w 26"/>
                  <a:gd name="T3" fmla="*/ 27 h 32"/>
                  <a:gd name="T4" fmla="*/ 18 w 26"/>
                  <a:gd name="T5" fmla="*/ 30 h 32"/>
                  <a:gd name="T6" fmla="*/ 9 w 26"/>
                  <a:gd name="T7" fmla="*/ 32 h 32"/>
                  <a:gd name="T8" fmla="*/ 9 w 26"/>
                  <a:gd name="T9" fmla="*/ 32 h 32"/>
                  <a:gd name="T10" fmla="*/ 6 w 26"/>
                  <a:gd name="T11" fmla="*/ 30 h 32"/>
                  <a:gd name="T12" fmla="*/ 2 w 26"/>
                  <a:gd name="T13" fmla="*/ 29 h 32"/>
                  <a:gd name="T14" fmla="*/ 0 w 26"/>
                  <a:gd name="T15" fmla="*/ 26 h 32"/>
                  <a:gd name="T16" fmla="*/ 0 w 26"/>
                  <a:gd name="T17" fmla="*/ 24 h 32"/>
                  <a:gd name="T18" fmla="*/ 0 w 26"/>
                  <a:gd name="T19" fmla="*/ 23 h 32"/>
                  <a:gd name="T20" fmla="*/ 0 w 26"/>
                  <a:gd name="T21" fmla="*/ 23 h 32"/>
                  <a:gd name="T22" fmla="*/ 2 w 26"/>
                  <a:gd name="T23" fmla="*/ 19 h 32"/>
                  <a:gd name="T24" fmla="*/ 3 w 26"/>
                  <a:gd name="T25" fmla="*/ 13 h 32"/>
                  <a:gd name="T26" fmla="*/ 3 w 26"/>
                  <a:gd name="T27" fmla="*/ 7 h 32"/>
                  <a:gd name="T28" fmla="*/ 4 w 26"/>
                  <a:gd name="T29" fmla="*/ 4 h 32"/>
                  <a:gd name="T30" fmla="*/ 4 w 26"/>
                  <a:gd name="T31" fmla="*/ 4 h 32"/>
                  <a:gd name="T32" fmla="*/ 6 w 26"/>
                  <a:gd name="T33" fmla="*/ 3 h 32"/>
                  <a:gd name="T34" fmla="*/ 9 w 26"/>
                  <a:gd name="T35" fmla="*/ 1 h 32"/>
                  <a:gd name="T36" fmla="*/ 12 w 26"/>
                  <a:gd name="T37" fmla="*/ 3 h 32"/>
                  <a:gd name="T38" fmla="*/ 15 w 26"/>
                  <a:gd name="T39" fmla="*/ 1 h 32"/>
                  <a:gd name="T40" fmla="*/ 15 w 26"/>
                  <a:gd name="T41" fmla="*/ 1 h 32"/>
                  <a:gd name="T42" fmla="*/ 19 w 26"/>
                  <a:gd name="T43" fmla="*/ 0 h 32"/>
                  <a:gd name="T44" fmla="*/ 20 w 26"/>
                  <a:gd name="T45" fmla="*/ 0 h 32"/>
                  <a:gd name="T46" fmla="*/ 22 w 26"/>
                  <a:gd name="T47" fmla="*/ 1 h 32"/>
                  <a:gd name="T48" fmla="*/ 22 w 26"/>
                  <a:gd name="T49" fmla="*/ 1 h 32"/>
                  <a:gd name="T50" fmla="*/ 23 w 26"/>
                  <a:gd name="T51" fmla="*/ 3 h 32"/>
                  <a:gd name="T52" fmla="*/ 23 w 26"/>
                  <a:gd name="T53" fmla="*/ 4 h 32"/>
                  <a:gd name="T54" fmla="*/ 22 w 26"/>
                  <a:gd name="T55" fmla="*/ 7 h 32"/>
                  <a:gd name="T56" fmla="*/ 20 w 26"/>
                  <a:gd name="T57" fmla="*/ 10 h 32"/>
                  <a:gd name="T58" fmla="*/ 20 w 26"/>
                  <a:gd name="T59" fmla="*/ 10 h 32"/>
                  <a:gd name="T60" fmla="*/ 18 w 26"/>
                  <a:gd name="T61" fmla="*/ 13 h 32"/>
                  <a:gd name="T62" fmla="*/ 18 w 26"/>
                  <a:gd name="T63" fmla="*/ 14 h 32"/>
                  <a:gd name="T64" fmla="*/ 19 w 26"/>
                  <a:gd name="T65" fmla="*/ 17 h 32"/>
                  <a:gd name="T66" fmla="*/ 23 w 26"/>
                  <a:gd name="T67" fmla="*/ 17 h 32"/>
                  <a:gd name="T68" fmla="*/ 23 w 26"/>
                  <a:gd name="T69" fmla="*/ 17 h 32"/>
                  <a:gd name="T70" fmla="*/ 26 w 26"/>
                  <a:gd name="T71" fmla="*/ 19 h 32"/>
                  <a:gd name="T72" fmla="*/ 26 w 26"/>
                  <a:gd name="T73" fmla="*/ 22 h 32"/>
                  <a:gd name="T74" fmla="*/ 26 w 26"/>
                  <a:gd name="T75" fmla="*/ 24 h 32"/>
                  <a:gd name="T76" fmla="*/ 23 w 26"/>
                  <a:gd name="T77" fmla="*/ 2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6" h="32">
                    <a:moveTo>
                      <a:pt x="23" y="27"/>
                    </a:moveTo>
                    <a:lnTo>
                      <a:pt x="23" y="27"/>
                    </a:lnTo>
                    <a:lnTo>
                      <a:pt x="18" y="30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6" y="30"/>
                    </a:lnTo>
                    <a:lnTo>
                      <a:pt x="2" y="29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2" y="19"/>
                    </a:lnTo>
                    <a:lnTo>
                      <a:pt x="3" y="13"/>
                    </a:lnTo>
                    <a:lnTo>
                      <a:pt x="3" y="7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9" y="1"/>
                    </a:lnTo>
                    <a:lnTo>
                      <a:pt x="12" y="3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9" y="0"/>
                    </a:lnTo>
                    <a:lnTo>
                      <a:pt x="20" y="0"/>
                    </a:lnTo>
                    <a:lnTo>
                      <a:pt x="22" y="1"/>
                    </a:lnTo>
                    <a:lnTo>
                      <a:pt x="22" y="1"/>
                    </a:lnTo>
                    <a:lnTo>
                      <a:pt x="23" y="3"/>
                    </a:lnTo>
                    <a:lnTo>
                      <a:pt x="23" y="4"/>
                    </a:lnTo>
                    <a:lnTo>
                      <a:pt x="22" y="7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8" y="13"/>
                    </a:lnTo>
                    <a:lnTo>
                      <a:pt x="18" y="14"/>
                    </a:lnTo>
                    <a:lnTo>
                      <a:pt x="19" y="17"/>
                    </a:lnTo>
                    <a:lnTo>
                      <a:pt x="23" y="17"/>
                    </a:lnTo>
                    <a:lnTo>
                      <a:pt x="23" y="17"/>
                    </a:lnTo>
                    <a:lnTo>
                      <a:pt x="26" y="19"/>
                    </a:lnTo>
                    <a:lnTo>
                      <a:pt x="26" y="22"/>
                    </a:lnTo>
                    <a:lnTo>
                      <a:pt x="26" y="24"/>
                    </a:lnTo>
                    <a:lnTo>
                      <a:pt x="23" y="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05" name="Freeform 1258"/>
              <p:cNvSpPr>
                <a:spLocks/>
              </p:cNvSpPr>
              <p:nvPr/>
            </p:nvSpPr>
            <p:spPr bwMode="auto">
              <a:xfrm>
                <a:off x="4104080" y="1462277"/>
                <a:ext cx="25721" cy="31656"/>
              </a:xfrm>
              <a:custGeom>
                <a:avLst/>
                <a:gdLst>
                  <a:gd name="T0" fmla="*/ 23 w 26"/>
                  <a:gd name="T1" fmla="*/ 27 h 32"/>
                  <a:gd name="T2" fmla="*/ 23 w 26"/>
                  <a:gd name="T3" fmla="*/ 27 h 32"/>
                  <a:gd name="T4" fmla="*/ 18 w 26"/>
                  <a:gd name="T5" fmla="*/ 30 h 32"/>
                  <a:gd name="T6" fmla="*/ 9 w 26"/>
                  <a:gd name="T7" fmla="*/ 32 h 32"/>
                  <a:gd name="T8" fmla="*/ 9 w 26"/>
                  <a:gd name="T9" fmla="*/ 32 h 32"/>
                  <a:gd name="T10" fmla="*/ 6 w 26"/>
                  <a:gd name="T11" fmla="*/ 30 h 32"/>
                  <a:gd name="T12" fmla="*/ 2 w 26"/>
                  <a:gd name="T13" fmla="*/ 29 h 32"/>
                  <a:gd name="T14" fmla="*/ 0 w 26"/>
                  <a:gd name="T15" fmla="*/ 26 h 32"/>
                  <a:gd name="T16" fmla="*/ 0 w 26"/>
                  <a:gd name="T17" fmla="*/ 24 h 32"/>
                  <a:gd name="T18" fmla="*/ 0 w 26"/>
                  <a:gd name="T19" fmla="*/ 23 h 32"/>
                  <a:gd name="T20" fmla="*/ 0 w 26"/>
                  <a:gd name="T21" fmla="*/ 23 h 32"/>
                  <a:gd name="T22" fmla="*/ 2 w 26"/>
                  <a:gd name="T23" fmla="*/ 19 h 32"/>
                  <a:gd name="T24" fmla="*/ 3 w 26"/>
                  <a:gd name="T25" fmla="*/ 13 h 32"/>
                  <a:gd name="T26" fmla="*/ 3 w 26"/>
                  <a:gd name="T27" fmla="*/ 7 h 32"/>
                  <a:gd name="T28" fmla="*/ 4 w 26"/>
                  <a:gd name="T29" fmla="*/ 4 h 32"/>
                  <a:gd name="T30" fmla="*/ 4 w 26"/>
                  <a:gd name="T31" fmla="*/ 4 h 32"/>
                  <a:gd name="T32" fmla="*/ 6 w 26"/>
                  <a:gd name="T33" fmla="*/ 3 h 32"/>
                  <a:gd name="T34" fmla="*/ 9 w 26"/>
                  <a:gd name="T35" fmla="*/ 1 h 32"/>
                  <a:gd name="T36" fmla="*/ 12 w 26"/>
                  <a:gd name="T37" fmla="*/ 3 h 32"/>
                  <a:gd name="T38" fmla="*/ 15 w 26"/>
                  <a:gd name="T39" fmla="*/ 1 h 32"/>
                  <a:gd name="T40" fmla="*/ 15 w 26"/>
                  <a:gd name="T41" fmla="*/ 1 h 32"/>
                  <a:gd name="T42" fmla="*/ 19 w 26"/>
                  <a:gd name="T43" fmla="*/ 0 h 32"/>
                  <a:gd name="T44" fmla="*/ 20 w 26"/>
                  <a:gd name="T45" fmla="*/ 0 h 32"/>
                  <a:gd name="T46" fmla="*/ 22 w 26"/>
                  <a:gd name="T47" fmla="*/ 1 h 32"/>
                  <a:gd name="T48" fmla="*/ 22 w 26"/>
                  <a:gd name="T49" fmla="*/ 1 h 32"/>
                  <a:gd name="T50" fmla="*/ 23 w 26"/>
                  <a:gd name="T51" fmla="*/ 3 h 32"/>
                  <a:gd name="T52" fmla="*/ 23 w 26"/>
                  <a:gd name="T53" fmla="*/ 4 h 32"/>
                  <a:gd name="T54" fmla="*/ 22 w 26"/>
                  <a:gd name="T55" fmla="*/ 7 h 32"/>
                  <a:gd name="T56" fmla="*/ 20 w 26"/>
                  <a:gd name="T57" fmla="*/ 10 h 32"/>
                  <a:gd name="T58" fmla="*/ 20 w 26"/>
                  <a:gd name="T59" fmla="*/ 10 h 32"/>
                  <a:gd name="T60" fmla="*/ 18 w 26"/>
                  <a:gd name="T61" fmla="*/ 13 h 32"/>
                  <a:gd name="T62" fmla="*/ 18 w 26"/>
                  <a:gd name="T63" fmla="*/ 14 h 32"/>
                  <a:gd name="T64" fmla="*/ 19 w 26"/>
                  <a:gd name="T65" fmla="*/ 17 h 32"/>
                  <a:gd name="T66" fmla="*/ 23 w 26"/>
                  <a:gd name="T67" fmla="*/ 17 h 32"/>
                  <a:gd name="T68" fmla="*/ 23 w 26"/>
                  <a:gd name="T69" fmla="*/ 17 h 32"/>
                  <a:gd name="T70" fmla="*/ 26 w 26"/>
                  <a:gd name="T71" fmla="*/ 19 h 32"/>
                  <a:gd name="T72" fmla="*/ 26 w 26"/>
                  <a:gd name="T73" fmla="*/ 22 h 32"/>
                  <a:gd name="T74" fmla="*/ 26 w 26"/>
                  <a:gd name="T75" fmla="*/ 24 h 32"/>
                  <a:gd name="T76" fmla="*/ 23 w 26"/>
                  <a:gd name="T77" fmla="*/ 2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6" h="32">
                    <a:moveTo>
                      <a:pt x="23" y="27"/>
                    </a:moveTo>
                    <a:lnTo>
                      <a:pt x="23" y="27"/>
                    </a:lnTo>
                    <a:lnTo>
                      <a:pt x="18" y="30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6" y="30"/>
                    </a:lnTo>
                    <a:lnTo>
                      <a:pt x="2" y="29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2" y="19"/>
                    </a:lnTo>
                    <a:lnTo>
                      <a:pt x="3" y="13"/>
                    </a:lnTo>
                    <a:lnTo>
                      <a:pt x="3" y="7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9" y="1"/>
                    </a:lnTo>
                    <a:lnTo>
                      <a:pt x="12" y="3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9" y="0"/>
                    </a:lnTo>
                    <a:lnTo>
                      <a:pt x="20" y="0"/>
                    </a:lnTo>
                    <a:lnTo>
                      <a:pt x="22" y="1"/>
                    </a:lnTo>
                    <a:lnTo>
                      <a:pt x="22" y="1"/>
                    </a:lnTo>
                    <a:lnTo>
                      <a:pt x="23" y="3"/>
                    </a:lnTo>
                    <a:lnTo>
                      <a:pt x="23" y="4"/>
                    </a:lnTo>
                    <a:lnTo>
                      <a:pt x="22" y="7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8" y="13"/>
                    </a:lnTo>
                    <a:lnTo>
                      <a:pt x="18" y="14"/>
                    </a:lnTo>
                    <a:lnTo>
                      <a:pt x="19" y="17"/>
                    </a:lnTo>
                    <a:lnTo>
                      <a:pt x="23" y="17"/>
                    </a:lnTo>
                    <a:lnTo>
                      <a:pt x="23" y="17"/>
                    </a:lnTo>
                    <a:lnTo>
                      <a:pt x="26" y="19"/>
                    </a:lnTo>
                    <a:lnTo>
                      <a:pt x="26" y="22"/>
                    </a:lnTo>
                    <a:lnTo>
                      <a:pt x="26" y="24"/>
                    </a:lnTo>
                    <a:lnTo>
                      <a:pt x="23" y="2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06" name="Freeform 1259"/>
              <p:cNvSpPr>
                <a:spLocks/>
              </p:cNvSpPr>
              <p:nvPr/>
            </p:nvSpPr>
            <p:spPr bwMode="auto">
              <a:xfrm>
                <a:off x="4103090" y="1388082"/>
                <a:ext cx="10882" cy="32646"/>
              </a:xfrm>
              <a:custGeom>
                <a:avLst/>
                <a:gdLst>
                  <a:gd name="T0" fmla="*/ 11 w 11"/>
                  <a:gd name="T1" fmla="*/ 33 h 33"/>
                  <a:gd name="T2" fmla="*/ 11 w 11"/>
                  <a:gd name="T3" fmla="*/ 33 h 33"/>
                  <a:gd name="T4" fmla="*/ 8 w 11"/>
                  <a:gd name="T5" fmla="*/ 28 h 33"/>
                  <a:gd name="T6" fmla="*/ 3 w 11"/>
                  <a:gd name="T7" fmla="*/ 17 h 33"/>
                  <a:gd name="T8" fmla="*/ 0 w 11"/>
                  <a:gd name="T9" fmla="*/ 5 h 33"/>
                  <a:gd name="T10" fmla="*/ 0 w 11"/>
                  <a:gd name="T11" fmla="*/ 1 h 33"/>
                  <a:gd name="T12" fmla="*/ 0 w 11"/>
                  <a:gd name="T13" fmla="*/ 0 h 33"/>
                  <a:gd name="T14" fmla="*/ 1 w 11"/>
                  <a:gd name="T15" fmla="*/ 0 h 33"/>
                  <a:gd name="T16" fmla="*/ 1 w 11"/>
                  <a:gd name="T17" fmla="*/ 0 h 33"/>
                  <a:gd name="T18" fmla="*/ 4 w 11"/>
                  <a:gd name="T19" fmla="*/ 1 h 33"/>
                  <a:gd name="T20" fmla="*/ 7 w 11"/>
                  <a:gd name="T21" fmla="*/ 5 h 33"/>
                  <a:gd name="T22" fmla="*/ 10 w 11"/>
                  <a:gd name="T23" fmla="*/ 15 h 33"/>
                  <a:gd name="T24" fmla="*/ 11 w 11"/>
                  <a:gd name="T25" fmla="*/ 27 h 33"/>
                  <a:gd name="T26" fmla="*/ 11 w 11"/>
                  <a:gd name="T27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33">
                    <a:moveTo>
                      <a:pt x="11" y="33"/>
                    </a:moveTo>
                    <a:lnTo>
                      <a:pt x="11" y="33"/>
                    </a:lnTo>
                    <a:lnTo>
                      <a:pt x="8" y="28"/>
                    </a:lnTo>
                    <a:lnTo>
                      <a:pt x="3" y="17"/>
                    </a:lnTo>
                    <a:lnTo>
                      <a:pt x="0" y="5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4" y="1"/>
                    </a:lnTo>
                    <a:lnTo>
                      <a:pt x="7" y="5"/>
                    </a:lnTo>
                    <a:lnTo>
                      <a:pt x="10" y="15"/>
                    </a:lnTo>
                    <a:lnTo>
                      <a:pt x="11" y="27"/>
                    </a:lnTo>
                    <a:lnTo>
                      <a:pt x="11" y="3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07" name="Freeform 1260"/>
              <p:cNvSpPr>
                <a:spLocks/>
              </p:cNvSpPr>
              <p:nvPr/>
            </p:nvSpPr>
            <p:spPr bwMode="auto">
              <a:xfrm>
                <a:off x="4103090" y="1388082"/>
                <a:ext cx="10882" cy="32646"/>
              </a:xfrm>
              <a:custGeom>
                <a:avLst/>
                <a:gdLst>
                  <a:gd name="T0" fmla="*/ 11 w 11"/>
                  <a:gd name="T1" fmla="*/ 33 h 33"/>
                  <a:gd name="T2" fmla="*/ 11 w 11"/>
                  <a:gd name="T3" fmla="*/ 33 h 33"/>
                  <a:gd name="T4" fmla="*/ 8 w 11"/>
                  <a:gd name="T5" fmla="*/ 28 h 33"/>
                  <a:gd name="T6" fmla="*/ 3 w 11"/>
                  <a:gd name="T7" fmla="*/ 17 h 33"/>
                  <a:gd name="T8" fmla="*/ 0 w 11"/>
                  <a:gd name="T9" fmla="*/ 5 h 33"/>
                  <a:gd name="T10" fmla="*/ 0 w 11"/>
                  <a:gd name="T11" fmla="*/ 1 h 33"/>
                  <a:gd name="T12" fmla="*/ 0 w 11"/>
                  <a:gd name="T13" fmla="*/ 0 h 33"/>
                  <a:gd name="T14" fmla="*/ 1 w 11"/>
                  <a:gd name="T15" fmla="*/ 0 h 33"/>
                  <a:gd name="T16" fmla="*/ 1 w 11"/>
                  <a:gd name="T17" fmla="*/ 0 h 33"/>
                  <a:gd name="T18" fmla="*/ 4 w 11"/>
                  <a:gd name="T19" fmla="*/ 1 h 33"/>
                  <a:gd name="T20" fmla="*/ 7 w 11"/>
                  <a:gd name="T21" fmla="*/ 5 h 33"/>
                  <a:gd name="T22" fmla="*/ 10 w 11"/>
                  <a:gd name="T23" fmla="*/ 15 h 33"/>
                  <a:gd name="T24" fmla="*/ 11 w 11"/>
                  <a:gd name="T25" fmla="*/ 27 h 33"/>
                  <a:gd name="T26" fmla="*/ 11 w 11"/>
                  <a:gd name="T27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33">
                    <a:moveTo>
                      <a:pt x="11" y="33"/>
                    </a:moveTo>
                    <a:lnTo>
                      <a:pt x="11" y="33"/>
                    </a:lnTo>
                    <a:lnTo>
                      <a:pt x="8" y="28"/>
                    </a:lnTo>
                    <a:lnTo>
                      <a:pt x="3" y="17"/>
                    </a:lnTo>
                    <a:lnTo>
                      <a:pt x="0" y="5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4" y="1"/>
                    </a:lnTo>
                    <a:lnTo>
                      <a:pt x="7" y="5"/>
                    </a:lnTo>
                    <a:lnTo>
                      <a:pt x="10" y="15"/>
                    </a:lnTo>
                    <a:lnTo>
                      <a:pt x="11" y="27"/>
                    </a:lnTo>
                    <a:lnTo>
                      <a:pt x="11" y="3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08" name="Freeform 1261"/>
              <p:cNvSpPr>
                <a:spLocks/>
              </p:cNvSpPr>
              <p:nvPr/>
            </p:nvSpPr>
            <p:spPr bwMode="auto">
              <a:xfrm>
                <a:off x="4119908" y="1303006"/>
                <a:ext cx="6925" cy="16817"/>
              </a:xfrm>
              <a:custGeom>
                <a:avLst/>
                <a:gdLst>
                  <a:gd name="T0" fmla="*/ 0 w 7"/>
                  <a:gd name="T1" fmla="*/ 17 h 17"/>
                  <a:gd name="T2" fmla="*/ 0 w 7"/>
                  <a:gd name="T3" fmla="*/ 17 h 17"/>
                  <a:gd name="T4" fmla="*/ 0 w 7"/>
                  <a:gd name="T5" fmla="*/ 15 h 17"/>
                  <a:gd name="T6" fmla="*/ 0 w 7"/>
                  <a:gd name="T7" fmla="*/ 7 h 17"/>
                  <a:gd name="T8" fmla="*/ 2 w 7"/>
                  <a:gd name="T9" fmla="*/ 2 h 17"/>
                  <a:gd name="T10" fmla="*/ 3 w 7"/>
                  <a:gd name="T11" fmla="*/ 0 h 17"/>
                  <a:gd name="T12" fmla="*/ 6 w 7"/>
                  <a:gd name="T13" fmla="*/ 0 h 17"/>
                  <a:gd name="T14" fmla="*/ 6 w 7"/>
                  <a:gd name="T15" fmla="*/ 0 h 17"/>
                  <a:gd name="T16" fmla="*/ 7 w 7"/>
                  <a:gd name="T17" fmla="*/ 0 h 17"/>
                  <a:gd name="T18" fmla="*/ 7 w 7"/>
                  <a:gd name="T19" fmla="*/ 3 h 17"/>
                  <a:gd name="T20" fmla="*/ 6 w 7"/>
                  <a:gd name="T21" fmla="*/ 9 h 17"/>
                  <a:gd name="T22" fmla="*/ 3 w 7"/>
                  <a:gd name="T23" fmla="*/ 15 h 17"/>
                  <a:gd name="T24" fmla="*/ 2 w 7"/>
                  <a:gd name="T25" fmla="*/ 17 h 17"/>
                  <a:gd name="T26" fmla="*/ 0 w 7"/>
                  <a:gd name="T2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7">
                    <a:moveTo>
                      <a:pt x="0" y="17"/>
                    </a:moveTo>
                    <a:lnTo>
                      <a:pt x="0" y="17"/>
                    </a:lnTo>
                    <a:lnTo>
                      <a:pt x="0" y="15"/>
                    </a:lnTo>
                    <a:lnTo>
                      <a:pt x="0" y="7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7" y="3"/>
                    </a:lnTo>
                    <a:lnTo>
                      <a:pt x="6" y="9"/>
                    </a:lnTo>
                    <a:lnTo>
                      <a:pt x="3" y="15"/>
                    </a:lnTo>
                    <a:lnTo>
                      <a:pt x="2" y="17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09" name="Freeform 1262"/>
              <p:cNvSpPr>
                <a:spLocks/>
              </p:cNvSpPr>
              <p:nvPr/>
            </p:nvSpPr>
            <p:spPr bwMode="auto">
              <a:xfrm>
                <a:off x="4119908" y="1303006"/>
                <a:ext cx="6925" cy="16817"/>
              </a:xfrm>
              <a:custGeom>
                <a:avLst/>
                <a:gdLst>
                  <a:gd name="T0" fmla="*/ 0 w 7"/>
                  <a:gd name="T1" fmla="*/ 17 h 17"/>
                  <a:gd name="T2" fmla="*/ 0 w 7"/>
                  <a:gd name="T3" fmla="*/ 17 h 17"/>
                  <a:gd name="T4" fmla="*/ 0 w 7"/>
                  <a:gd name="T5" fmla="*/ 15 h 17"/>
                  <a:gd name="T6" fmla="*/ 0 w 7"/>
                  <a:gd name="T7" fmla="*/ 7 h 17"/>
                  <a:gd name="T8" fmla="*/ 2 w 7"/>
                  <a:gd name="T9" fmla="*/ 2 h 17"/>
                  <a:gd name="T10" fmla="*/ 3 w 7"/>
                  <a:gd name="T11" fmla="*/ 0 h 17"/>
                  <a:gd name="T12" fmla="*/ 6 w 7"/>
                  <a:gd name="T13" fmla="*/ 0 h 17"/>
                  <a:gd name="T14" fmla="*/ 6 w 7"/>
                  <a:gd name="T15" fmla="*/ 0 h 17"/>
                  <a:gd name="T16" fmla="*/ 7 w 7"/>
                  <a:gd name="T17" fmla="*/ 0 h 17"/>
                  <a:gd name="T18" fmla="*/ 7 w 7"/>
                  <a:gd name="T19" fmla="*/ 3 h 17"/>
                  <a:gd name="T20" fmla="*/ 6 w 7"/>
                  <a:gd name="T21" fmla="*/ 9 h 17"/>
                  <a:gd name="T22" fmla="*/ 3 w 7"/>
                  <a:gd name="T23" fmla="*/ 15 h 17"/>
                  <a:gd name="T24" fmla="*/ 2 w 7"/>
                  <a:gd name="T25" fmla="*/ 17 h 17"/>
                  <a:gd name="T26" fmla="*/ 0 w 7"/>
                  <a:gd name="T2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7">
                    <a:moveTo>
                      <a:pt x="0" y="17"/>
                    </a:moveTo>
                    <a:lnTo>
                      <a:pt x="0" y="17"/>
                    </a:lnTo>
                    <a:lnTo>
                      <a:pt x="0" y="15"/>
                    </a:lnTo>
                    <a:lnTo>
                      <a:pt x="0" y="7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7" y="3"/>
                    </a:lnTo>
                    <a:lnTo>
                      <a:pt x="6" y="9"/>
                    </a:lnTo>
                    <a:lnTo>
                      <a:pt x="3" y="15"/>
                    </a:lnTo>
                    <a:lnTo>
                      <a:pt x="2" y="17"/>
                    </a:lnTo>
                    <a:lnTo>
                      <a:pt x="0" y="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10" name="Freeform 1263"/>
              <p:cNvSpPr>
                <a:spLocks/>
              </p:cNvSpPr>
              <p:nvPr/>
            </p:nvSpPr>
            <p:spPr bwMode="auto">
              <a:xfrm>
                <a:off x="4121886" y="1203091"/>
                <a:ext cx="7914" cy="12860"/>
              </a:xfrm>
              <a:custGeom>
                <a:avLst/>
                <a:gdLst>
                  <a:gd name="T0" fmla="*/ 1 w 8"/>
                  <a:gd name="T1" fmla="*/ 13 h 13"/>
                  <a:gd name="T2" fmla="*/ 1 w 8"/>
                  <a:gd name="T3" fmla="*/ 13 h 13"/>
                  <a:gd name="T4" fmla="*/ 0 w 8"/>
                  <a:gd name="T5" fmla="*/ 10 h 13"/>
                  <a:gd name="T6" fmla="*/ 0 w 8"/>
                  <a:gd name="T7" fmla="*/ 5 h 13"/>
                  <a:gd name="T8" fmla="*/ 1 w 8"/>
                  <a:gd name="T9" fmla="*/ 0 h 13"/>
                  <a:gd name="T10" fmla="*/ 2 w 8"/>
                  <a:gd name="T11" fmla="*/ 0 h 13"/>
                  <a:gd name="T12" fmla="*/ 4 w 8"/>
                  <a:gd name="T13" fmla="*/ 0 h 13"/>
                  <a:gd name="T14" fmla="*/ 4 w 8"/>
                  <a:gd name="T15" fmla="*/ 0 h 13"/>
                  <a:gd name="T16" fmla="*/ 7 w 8"/>
                  <a:gd name="T17" fmla="*/ 0 h 13"/>
                  <a:gd name="T18" fmla="*/ 8 w 8"/>
                  <a:gd name="T19" fmla="*/ 3 h 13"/>
                  <a:gd name="T20" fmla="*/ 7 w 8"/>
                  <a:gd name="T21" fmla="*/ 5 h 13"/>
                  <a:gd name="T22" fmla="*/ 5 w 8"/>
                  <a:gd name="T23" fmla="*/ 10 h 13"/>
                  <a:gd name="T24" fmla="*/ 1 w 8"/>
                  <a:gd name="T2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13">
                    <a:moveTo>
                      <a:pt x="1" y="13"/>
                    </a:moveTo>
                    <a:lnTo>
                      <a:pt x="1" y="13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8" y="3"/>
                    </a:lnTo>
                    <a:lnTo>
                      <a:pt x="7" y="5"/>
                    </a:lnTo>
                    <a:lnTo>
                      <a:pt x="5" y="10"/>
                    </a:lnTo>
                    <a:lnTo>
                      <a:pt x="1" y="1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11" name="Freeform 1264"/>
              <p:cNvSpPr>
                <a:spLocks/>
              </p:cNvSpPr>
              <p:nvPr/>
            </p:nvSpPr>
            <p:spPr bwMode="auto">
              <a:xfrm>
                <a:off x="4121886" y="1203091"/>
                <a:ext cx="7914" cy="12860"/>
              </a:xfrm>
              <a:custGeom>
                <a:avLst/>
                <a:gdLst>
                  <a:gd name="T0" fmla="*/ 1 w 8"/>
                  <a:gd name="T1" fmla="*/ 13 h 13"/>
                  <a:gd name="T2" fmla="*/ 1 w 8"/>
                  <a:gd name="T3" fmla="*/ 13 h 13"/>
                  <a:gd name="T4" fmla="*/ 0 w 8"/>
                  <a:gd name="T5" fmla="*/ 10 h 13"/>
                  <a:gd name="T6" fmla="*/ 0 w 8"/>
                  <a:gd name="T7" fmla="*/ 5 h 13"/>
                  <a:gd name="T8" fmla="*/ 1 w 8"/>
                  <a:gd name="T9" fmla="*/ 0 h 13"/>
                  <a:gd name="T10" fmla="*/ 2 w 8"/>
                  <a:gd name="T11" fmla="*/ 0 h 13"/>
                  <a:gd name="T12" fmla="*/ 4 w 8"/>
                  <a:gd name="T13" fmla="*/ 0 h 13"/>
                  <a:gd name="T14" fmla="*/ 4 w 8"/>
                  <a:gd name="T15" fmla="*/ 0 h 13"/>
                  <a:gd name="T16" fmla="*/ 7 w 8"/>
                  <a:gd name="T17" fmla="*/ 0 h 13"/>
                  <a:gd name="T18" fmla="*/ 8 w 8"/>
                  <a:gd name="T19" fmla="*/ 3 h 13"/>
                  <a:gd name="T20" fmla="*/ 7 w 8"/>
                  <a:gd name="T21" fmla="*/ 5 h 13"/>
                  <a:gd name="T22" fmla="*/ 5 w 8"/>
                  <a:gd name="T23" fmla="*/ 10 h 13"/>
                  <a:gd name="T24" fmla="*/ 1 w 8"/>
                  <a:gd name="T2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13">
                    <a:moveTo>
                      <a:pt x="1" y="13"/>
                    </a:moveTo>
                    <a:lnTo>
                      <a:pt x="1" y="13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8" y="3"/>
                    </a:lnTo>
                    <a:lnTo>
                      <a:pt x="7" y="5"/>
                    </a:lnTo>
                    <a:lnTo>
                      <a:pt x="5" y="10"/>
                    </a:lnTo>
                    <a:lnTo>
                      <a:pt x="1" y="1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12" name="Freeform 1265"/>
              <p:cNvSpPr>
                <a:spLocks/>
              </p:cNvSpPr>
              <p:nvPr/>
            </p:nvSpPr>
            <p:spPr bwMode="auto">
              <a:xfrm>
                <a:off x="4097155" y="1226833"/>
                <a:ext cx="5936" cy="9893"/>
              </a:xfrm>
              <a:custGeom>
                <a:avLst/>
                <a:gdLst>
                  <a:gd name="T0" fmla="*/ 1 w 6"/>
                  <a:gd name="T1" fmla="*/ 10 h 10"/>
                  <a:gd name="T2" fmla="*/ 1 w 6"/>
                  <a:gd name="T3" fmla="*/ 10 h 10"/>
                  <a:gd name="T4" fmla="*/ 0 w 6"/>
                  <a:gd name="T5" fmla="*/ 9 h 10"/>
                  <a:gd name="T6" fmla="*/ 0 w 6"/>
                  <a:gd name="T7" fmla="*/ 8 h 10"/>
                  <a:gd name="T8" fmla="*/ 0 w 6"/>
                  <a:gd name="T9" fmla="*/ 5 h 10"/>
                  <a:gd name="T10" fmla="*/ 3 w 6"/>
                  <a:gd name="T11" fmla="*/ 0 h 10"/>
                  <a:gd name="T12" fmla="*/ 6 w 6"/>
                  <a:gd name="T13" fmla="*/ 0 h 10"/>
                  <a:gd name="T14" fmla="*/ 6 w 6"/>
                  <a:gd name="T15" fmla="*/ 0 h 10"/>
                  <a:gd name="T16" fmla="*/ 6 w 6"/>
                  <a:gd name="T17" fmla="*/ 0 h 10"/>
                  <a:gd name="T18" fmla="*/ 6 w 6"/>
                  <a:gd name="T19" fmla="*/ 2 h 10"/>
                  <a:gd name="T20" fmla="*/ 6 w 6"/>
                  <a:gd name="T21" fmla="*/ 6 h 10"/>
                  <a:gd name="T22" fmla="*/ 4 w 6"/>
                  <a:gd name="T23" fmla="*/ 10 h 10"/>
                  <a:gd name="T24" fmla="*/ 3 w 6"/>
                  <a:gd name="T25" fmla="*/ 10 h 10"/>
                  <a:gd name="T26" fmla="*/ 1 w 6"/>
                  <a:gd name="T2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10">
                    <a:moveTo>
                      <a:pt x="1" y="10"/>
                    </a:moveTo>
                    <a:lnTo>
                      <a:pt x="1" y="10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4" y="10"/>
                    </a:lnTo>
                    <a:lnTo>
                      <a:pt x="3" y="10"/>
                    </a:lnTo>
                    <a:lnTo>
                      <a:pt x="1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13" name="Freeform 1266"/>
              <p:cNvSpPr>
                <a:spLocks/>
              </p:cNvSpPr>
              <p:nvPr/>
            </p:nvSpPr>
            <p:spPr bwMode="auto">
              <a:xfrm>
                <a:off x="4097155" y="1226833"/>
                <a:ext cx="5936" cy="9893"/>
              </a:xfrm>
              <a:custGeom>
                <a:avLst/>
                <a:gdLst>
                  <a:gd name="T0" fmla="*/ 1 w 6"/>
                  <a:gd name="T1" fmla="*/ 10 h 10"/>
                  <a:gd name="T2" fmla="*/ 1 w 6"/>
                  <a:gd name="T3" fmla="*/ 10 h 10"/>
                  <a:gd name="T4" fmla="*/ 0 w 6"/>
                  <a:gd name="T5" fmla="*/ 9 h 10"/>
                  <a:gd name="T6" fmla="*/ 0 w 6"/>
                  <a:gd name="T7" fmla="*/ 8 h 10"/>
                  <a:gd name="T8" fmla="*/ 0 w 6"/>
                  <a:gd name="T9" fmla="*/ 5 h 10"/>
                  <a:gd name="T10" fmla="*/ 3 w 6"/>
                  <a:gd name="T11" fmla="*/ 0 h 10"/>
                  <a:gd name="T12" fmla="*/ 6 w 6"/>
                  <a:gd name="T13" fmla="*/ 0 h 10"/>
                  <a:gd name="T14" fmla="*/ 6 w 6"/>
                  <a:gd name="T15" fmla="*/ 0 h 10"/>
                  <a:gd name="T16" fmla="*/ 6 w 6"/>
                  <a:gd name="T17" fmla="*/ 0 h 10"/>
                  <a:gd name="T18" fmla="*/ 6 w 6"/>
                  <a:gd name="T19" fmla="*/ 2 h 10"/>
                  <a:gd name="T20" fmla="*/ 6 w 6"/>
                  <a:gd name="T21" fmla="*/ 6 h 10"/>
                  <a:gd name="T22" fmla="*/ 4 w 6"/>
                  <a:gd name="T23" fmla="*/ 10 h 10"/>
                  <a:gd name="T24" fmla="*/ 3 w 6"/>
                  <a:gd name="T25" fmla="*/ 10 h 10"/>
                  <a:gd name="T26" fmla="*/ 1 w 6"/>
                  <a:gd name="T2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10">
                    <a:moveTo>
                      <a:pt x="1" y="10"/>
                    </a:moveTo>
                    <a:lnTo>
                      <a:pt x="1" y="10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4" y="10"/>
                    </a:lnTo>
                    <a:lnTo>
                      <a:pt x="3" y="10"/>
                    </a:lnTo>
                    <a:lnTo>
                      <a:pt x="1" y="1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14" name="Freeform 1267"/>
              <p:cNvSpPr>
                <a:spLocks/>
              </p:cNvSpPr>
              <p:nvPr/>
            </p:nvSpPr>
            <p:spPr bwMode="auto">
              <a:xfrm>
                <a:off x="4293028" y="2187404"/>
                <a:ext cx="15828" cy="19785"/>
              </a:xfrm>
              <a:custGeom>
                <a:avLst/>
                <a:gdLst>
                  <a:gd name="T0" fmla="*/ 16 w 16"/>
                  <a:gd name="T1" fmla="*/ 0 h 20"/>
                  <a:gd name="T2" fmla="*/ 16 w 16"/>
                  <a:gd name="T3" fmla="*/ 0 h 20"/>
                  <a:gd name="T4" fmla="*/ 6 w 16"/>
                  <a:gd name="T5" fmla="*/ 6 h 20"/>
                  <a:gd name="T6" fmla="*/ 2 w 16"/>
                  <a:gd name="T7" fmla="*/ 8 h 20"/>
                  <a:gd name="T8" fmla="*/ 0 w 16"/>
                  <a:gd name="T9" fmla="*/ 11 h 20"/>
                  <a:gd name="T10" fmla="*/ 0 w 16"/>
                  <a:gd name="T11" fmla="*/ 11 h 20"/>
                  <a:gd name="T12" fmla="*/ 2 w 16"/>
                  <a:gd name="T13" fmla="*/ 19 h 20"/>
                  <a:gd name="T14" fmla="*/ 3 w 16"/>
                  <a:gd name="T15" fmla="*/ 20 h 20"/>
                  <a:gd name="T16" fmla="*/ 6 w 16"/>
                  <a:gd name="T17" fmla="*/ 19 h 20"/>
                  <a:gd name="T18" fmla="*/ 6 w 16"/>
                  <a:gd name="T19" fmla="*/ 19 h 20"/>
                  <a:gd name="T20" fmla="*/ 10 w 16"/>
                  <a:gd name="T21" fmla="*/ 14 h 20"/>
                  <a:gd name="T22" fmla="*/ 15 w 16"/>
                  <a:gd name="T23" fmla="*/ 7 h 20"/>
                  <a:gd name="T24" fmla="*/ 16 w 16"/>
                  <a:gd name="T25" fmla="*/ 1 h 20"/>
                  <a:gd name="T26" fmla="*/ 16 w 16"/>
                  <a:gd name="T27" fmla="*/ 0 h 20"/>
                  <a:gd name="T28" fmla="*/ 16 w 16"/>
                  <a:gd name="T2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" h="20">
                    <a:moveTo>
                      <a:pt x="16" y="0"/>
                    </a:moveTo>
                    <a:lnTo>
                      <a:pt x="16" y="0"/>
                    </a:lnTo>
                    <a:lnTo>
                      <a:pt x="6" y="6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9"/>
                    </a:lnTo>
                    <a:lnTo>
                      <a:pt x="3" y="20"/>
                    </a:lnTo>
                    <a:lnTo>
                      <a:pt x="6" y="19"/>
                    </a:lnTo>
                    <a:lnTo>
                      <a:pt x="6" y="19"/>
                    </a:lnTo>
                    <a:lnTo>
                      <a:pt x="10" y="14"/>
                    </a:lnTo>
                    <a:lnTo>
                      <a:pt x="15" y="7"/>
                    </a:lnTo>
                    <a:lnTo>
                      <a:pt x="16" y="1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15" name="Freeform 1268"/>
              <p:cNvSpPr>
                <a:spLocks/>
              </p:cNvSpPr>
              <p:nvPr/>
            </p:nvSpPr>
            <p:spPr bwMode="auto">
              <a:xfrm>
                <a:off x="4293028" y="2187404"/>
                <a:ext cx="15828" cy="19785"/>
              </a:xfrm>
              <a:custGeom>
                <a:avLst/>
                <a:gdLst>
                  <a:gd name="T0" fmla="*/ 16 w 16"/>
                  <a:gd name="T1" fmla="*/ 0 h 20"/>
                  <a:gd name="T2" fmla="*/ 16 w 16"/>
                  <a:gd name="T3" fmla="*/ 0 h 20"/>
                  <a:gd name="T4" fmla="*/ 6 w 16"/>
                  <a:gd name="T5" fmla="*/ 6 h 20"/>
                  <a:gd name="T6" fmla="*/ 2 w 16"/>
                  <a:gd name="T7" fmla="*/ 8 h 20"/>
                  <a:gd name="T8" fmla="*/ 0 w 16"/>
                  <a:gd name="T9" fmla="*/ 11 h 20"/>
                  <a:gd name="T10" fmla="*/ 0 w 16"/>
                  <a:gd name="T11" fmla="*/ 11 h 20"/>
                  <a:gd name="T12" fmla="*/ 2 w 16"/>
                  <a:gd name="T13" fmla="*/ 19 h 20"/>
                  <a:gd name="T14" fmla="*/ 3 w 16"/>
                  <a:gd name="T15" fmla="*/ 20 h 20"/>
                  <a:gd name="T16" fmla="*/ 6 w 16"/>
                  <a:gd name="T17" fmla="*/ 19 h 20"/>
                  <a:gd name="T18" fmla="*/ 6 w 16"/>
                  <a:gd name="T19" fmla="*/ 19 h 20"/>
                  <a:gd name="T20" fmla="*/ 10 w 16"/>
                  <a:gd name="T21" fmla="*/ 14 h 20"/>
                  <a:gd name="T22" fmla="*/ 15 w 16"/>
                  <a:gd name="T23" fmla="*/ 7 h 20"/>
                  <a:gd name="T24" fmla="*/ 16 w 16"/>
                  <a:gd name="T25" fmla="*/ 1 h 20"/>
                  <a:gd name="T26" fmla="*/ 16 w 16"/>
                  <a:gd name="T27" fmla="*/ 0 h 20"/>
                  <a:gd name="T28" fmla="*/ 16 w 16"/>
                  <a:gd name="T2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" h="20">
                    <a:moveTo>
                      <a:pt x="16" y="0"/>
                    </a:moveTo>
                    <a:lnTo>
                      <a:pt x="16" y="0"/>
                    </a:lnTo>
                    <a:lnTo>
                      <a:pt x="6" y="6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9"/>
                    </a:lnTo>
                    <a:lnTo>
                      <a:pt x="3" y="20"/>
                    </a:lnTo>
                    <a:lnTo>
                      <a:pt x="6" y="19"/>
                    </a:lnTo>
                    <a:lnTo>
                      <a:pt x="6" y="19"/>
                    </a:lnTo>
                    <a:lnTo>
                      <a:pt x="10" y="14"/>
                    </a:lnTo>
                    <a:lnTo>
                      <a:pt x="15" y="7"/>
                    </a:lnTo>
                    <a:lnTo>
                      <a:pt x="16" y="1"/>
                    </a:lnTo>
                    <a:lnTo>
                      <a:pt x="16" y="0"/>
                    </a:lnTo>
                    <a:lnTo>
                      <a:pt x="16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38" name="Freeform 1489"/>
              <p:cNvSpPr>
                <a:spLocks/>
              </p:cNvSpPr>
              <p:nvPr/>
            </p:nvSpPr>
            <p:spPr bwMode="auto">
              <a:xfrm>
                <a:off x="3256285" y="1124939"/>
                <a:ext cx="872527" cy="1003109"/>
              </a:xfrm>
              <a:custGeom>
                <a:avLst/>
                <a:gdLst>
                  <a:gd name="T0" fmla="*/ 596 w 882"/>
                  <a:gd name="T1" fmla="*/ 800 h 1014"/>
                  <a:gd name="T2" fmla="*/ 565 w 882"/>
                  <a:gd name="T3" fmla="*/ 810 h 1014"/>
                  <a:gd name="T4" fmla="*/ 525 w 882"/>
                  <a:gd name="T5" fmla="*/ 836 h 1014"/>
                  <a:gd name="T6" fmla="*/ 491 w 882"/>
                  <a:gd name="T7" fmla="*/ 920 h 1014"/>
                  <a:gd name="T8" fmla="*/ 479 w 882"/>
                  <a:gd name="T9" fmla="*/ 969 h 1014"/>
                  <a:gd name="T10" fmla="*/ 462 w 882"/>
                  <a:gd name="T11" fmla="*/ 1013 h 1014"/>
                  <a:gd name="T12" fmla="*/ 421 w 882"/>
                  <a:gd name="T13" fmla="*/ 1000 h 1014"/>
                  <a:gd name="T14" fmla="*/ 368 w 882"/>
                  <a:gd name="T15" fmla="*/ 965 h 1014"/>
                  <a:gd name="T16" fmla="*/ 346 w 882"/>
                  <a:gd name="T17" fmla="*/ 919 h 1014"/>
                  <a:gd name="T18" fmla="*/ 334 w 882"/>
                  <a:gd name="T19" fmla="*/ 891 h 1014"/>
                  <a:gd name="T20" fmla="*/ 336 w 882"/>
                  <a:gd name="T21" fmla="*/ 856 h 1014"/>
                  <a:gd name="T22" fmla="*/ 308 w 882"/>
                  <a:gd name="T23" fmla="*/ 820 h 1014"/>
                  <a:gd name="T24" fmla="*/ 321 w 882"/>
                  <a:gd name="T25" fmla="*/ 784 h 1014"/>
                  <a:gd name="T26" fmla="*/ 311 w 882"/>
                  <a:gd name="T27" fmla="*/ 770 h 1014"/>
                  <a:gd name="T28" fmla="*/ 300 w 882"/>
                  <a:gd name="T29" fmla="*/ 738 h 1014"/>
                  <a:gd name="T30" fmla="*/ 347 w 882"/>
                  <a:gd name="T31" fmla="*/ 728 h 1014"/>
                  <a:gd name="T32" fmla="*/ 339 w 882"/>
                  <a:gd name="T33" fmla="*/ 688 h 1014"/>
                  <a:gd name="T34" fmla="*/ 346 w 882"/>
                  <a:gd name="T35" fmla="*/ 651 h 1014"/>
                  <a:gd name="T36" fmla="*/ 315 w 882"/>
                  <a:gd name="T37" fmla="*/ 626 h 1014"/>
                  <a:gd name="T38" fmla="*/ 340 w 882"/>
                  <a:gd name="T39" fmla="*/ 613 h 1014"/>
                  <a:gd name="T40" fmla="*/ 343 w 882"/>
                  <a:gd name="T41" fmla="*/ 583 h 1014"/>
                  <a:gd name="T42" fmla="*/ 310 w 882"/>
                  <a:gd name="T43" fmla="*/ 560 h 1014"/>
                  <a:gd name="T44" fmla="*/ 294 w 882"/>
                  <a:gd name="T45" fmla="*/ 531 h 1014"/>
                  <a:gd name="T46" fmla="*/ 263 w 882"/>
                  <a:gd name="T47" fmla="*/ 549 h 1014"/>
                  <a:gd name="T48" fmla="*/ 278 w 882"/>
                  <a:gd name="T49" fmla="*/ 513 h 1014"/>
                  <a:gd name="T50" fmla="*/ 295 w 882"/>
                  <a:gd name="T51" fmla="*/ 502 h 1014"/>
                  <a:gd name="T52" fmla="*/ 256 w 882"/>
                  <a:gd name="T53" fmla="*/ 381 h 1014"/>
                  <a:gd name="T54" fmla="*/ 227 w 882"/>
                  <a:gd name="T55" fmla="*/ 310 h 1014"/>
                  <a:gd name="T56" fmla="*/ 145 w 882"/>
                  <a:gd name="T57" fmla="*/ 281 h 1014"/>
                  <a:gd name="T58" fmla="*/ 59 w 882"/>
                  <a:gd name="T59" fmla="*/ 294 h 1014"/>
                  <a:gd name="T60" fmla="*/ 24 w 882"/>
                  <a:gd name="T61" fmla="*/ 235 h 1014"/>
                  <a:gd name="T62" fmla="*/ 63 w 882"/>
                  <a:gd name="T63" fmla="*/ 218 h 1014"/>
                  <a:gd name="T64" fmla="*/ 94 w 882"/>
                  <a:gd name="T65" fmla="*/ 186 h 1014"/>
                  <a:gd name="T66" fmla="*/ 50 w 882"/>
                  <a:gd name="T67" fmla="*/ 190 h 1014"/>
                  <a:gd name="T68" fmla="*/ 20 w 882"/>
                  <a:gd name="T69" fmla="*/ 171 h 1014"/>
                  <a:gd name="T70" fmla="*/ 14 w 882"/>
                  <a:gd name="T71" fmla="*/ 118 h 1014"/>
                  <a:gd name="T72" fmla="*/ 84 w 882"/>
                  <a:gd name="T73" fmla="*/ 76 h 1014"/>
                  <a:gd name="T74" fmla="*/ 126 w 882"/>
                  <a:gd name="T75" fmla="*/ 11 h 1014"/>
                  <a:gd name="T76" fmla="*/ 882 w 882"/>
                  <a:gd name="T77" fmla="*/ 8 h 1014"/>
                  <a:gd name="T78" fmla="*/ 850 w 882"/>
                  <a:gd name="T79" fmla="*/ 82 h 1014"/>
                  <a:gd name="T80" fmla="*/ 825 w 882"/>
                  <a:gd name="T81" fmla="*/ 134 h 1014"/>
                  <a:gd name="T82" fmla="*/ 846 w 882"/>
                  <a:gd name="T83" fmla="*/ 187 h 1014"/>
                  <a:gd name="T84" fmla="*/ 834 w 882"/>
                  <a:gd name="T85" fmla="*/ 209 h 1014"/>
                  <a:gd name="T86" fmla="*/ 870 w 882"/>
                  <a:gd name="T87" fmla="*/ 258 h 1014"/>
                  <a:gd name="T88" fmla="*/ 832 w 882"/>
                  <a:gd name="T89" fmla="*/ 267 h 1014"/>
                  <a:gd name="T90" fmla="*/ 846 w 882"/>
                  <a:gd name="T91" fmla="*/ 323 h 1014"/>
                  <a:gd name="T92" fmla="*/ 819 w 882"/>
                  <a:gd name="T93" fmla="*/ 339 h 1014"/>
                  <a:gd name="T94" fmla="*/ 846 w 882"/>
                  <a:gd name="T95" fmla="*/ 393 h 1014"/>
                  <a:gd name="T96" fmla="*/ 838 w 882"/>
                  <a:gd name="T97" fmla="*/ 416 h 1014"/>
                  <a:gd name="T98" fmla="*/ 811 w 882"/>
                  <a:gd name="T99" fmla="*/ 396 h 1014"/>
                  <a:gd name="T100" fmla="*/ 834 w 882"/>
                  <a:gd name="T101" fmla="*/ 436 h 1014"/>
                  <a:gd name="T102" fmla="*/ 786 w 882"/>
                  <a:gd name="T103" fmla="*/ 451 h 1014"/>
                  <a:gd name="T104" fmla="*/ 762 w 882"/>
                  <a:gd name="T105" fmla="*/ 438 h 1014"/>
                  <a:gd name="T106" fmla="*/ 760 w 882"/>
                  <a:gd name="T107" fmla="*/ 481 h 1014"/>
                  <a:gd name="T108" fmla="*/ 753 w 882"/>
                  <a:gd name="T109" fmla="*/ 509 h 1014"/>
                  <a:gd name="T110" fmla="*/ 792 w 882"/>
                  <a:gd name="T111" fmla="*/ 548 h 1014"/>
                  <a:gd name="T112" fmla="*/ 809 w 882"/>
                  <a:gd name="T113" fmla="*/ 570 h 1014"/>
                  <a:gd name="T114" fmla="*/ 786 w 882"/>
                  <a:gd name="T115" fmla="*/ 620 h 1014"/>
                  <a:gd name="T116" fmla="*/ 725 w 882"/>
                  <a:gd name="T117" fmla="*/ 571 h 1014"/>
                  <a:gd name="T118" fmla="*/ 741 w 882"/>
                  <a:gd name="T119" fmla="*/ 623 h 1014"/>
                  <a:gd name="T120" fmla="*/ 725 w 882"/>
                  <a:gd name="T121" fmla="*/ 639 h 1014"/>
                  <a:gd name="T122" fmla="*/ 805 w 882"/>
                  <a:gd name="T123" fmla="*/ 636 h 1014"/>
                  <a:gd name="T124" fmla="*/ 686 w 882"/>
                  <a:gd name="T125" fmla="*/ 72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82" h="1014">
                    <a:moveTo>
                      <a:pt x="653" y="717"/>
                    </a:moveTo>
                    <a:lnTo>
                      <a:pt x="653" y="717"/>
                    </a:lnTo>
                    <a:lnTo>
                      <a:pt x="650" y="715"/>
                    </a:lnTo>
                    <a:lnTo>
                      <a:pt x="649" y="713"/>
                    </a:lnTo>
                    <a:lnTo>
                      <a:pt x="647" y="715"/>
                    </a:lnTo>
                    <a:lnTo>
                      <a:pt x="647" y="715"/>
                    </a:lnTo>
                    <a:lnTo>
                      <a:pt x="646" y="723"/>
                    </a:lnTo>
                    <a:lnTo>
                      <a:pt x="643" y="729"/>
                    </a:lnTo>
                    <a:lnTo>
                      <a:pt x="640" y="732"/>
                    </a:lnTo>
                    <a:lnTo>
                      <a:pt x="640" y="732"/>
                    </a:lnTo>
                    <a:lnTo>
                      <a:pt x="637" y="736"/>
                    </a:lnTo>
                    <a:lnTo>
                      <a:pt x="633" y="744"/>
                    </a:lnTo>
                    <a:lnTo>
                      <a:pt x="628" y="755"/>
                    </a:lnTo>
                    <a:lnTo>
                      <a:pt x="628" y="755"/>
                    </a:lnTo>
                    <a:lnTo>
                      <a:pt x="627" y="761"/>
                    </a:lnTo>
                    <a:lnTo>
                      <a:pt x="622" y="768"/>
                    </a:lnTo>
                    <a:lnTo>
                      <a:pt x="614" y="778"/>
                    </a:lnTo>
                    <a:lnTo>
                      <a:pt x="614" y="778"/>
                    </a:lnTo>
                    <a:lnTo>
                      <a:pt x="609" y="784"/>
                    </a:lnTo>
                    <a:lnTo>
                      <a:pt x="604" y="790"/>
                    </a:lnTo>
                    <a:lnTo>
                      <a:pt x="604" y="790"/>
                    </a:lnTo>
                    <a:lnTo>
                      <a:pt x="602" y="793"/>
                    </a:lnTo>
                    <a:lnTo>
                      <a:pt x="601" y="797"/>
                    </a:lnTo>
                    <a:lnTo>
                      <a:pt x="599" y="800"/>
                    </a:lnTo>
                    <a:lnTo>
                      <a:pt x="599" y="801"/>
                    </a:lnTo>
                    <a:lnTo>
                      <a:pt x="596" y="800"/>
                    </a:lnTo>
                    <a:lnTo>
                      <a:pt x="596" y="800"/>
                    </a:lnTo>
                    <a:lnTo>
                      <a:pt x="592" y="797"/>
                    </a:lnTo>
                    <a:lnTo>
                      <a:pt x="589" y="794"/>
                    </a:lnTo>
                    <a:lnTo>
                      <a:pt x="586" y="791"/>
                    </a:lnTo>
                    <a:lnTo>
                      <a:pt x="586" y="791"/>
                    </a:lnTo>
                    <a:lnTo>
                      <a:pt x="586" y="791"/>
                    </a:lnTo>
                    <a:lnTo>
                      <a:pt x="586" y="791"/>
                    </a:lnTo>
                    <a:lnTo>
                      <a:pt x="588" y="797"/>
                    </a:lnTo>
                    <a:lnTo>
                      <a:pt x="589" y="800"/>
                    </a:lnTo>
                    <a:lnTo>
                      <a:pt x="588" y="803"/>
                    </a:lnTo>
                    <a:lnTo>
                      <a:pt x="588" y="803"/>
                    </a:lnTo>
                    <a:lnTo>
                      <a:pt x="582" y="810"/>
                    </a:lnTo>
                    <a:lnTo>
                      <a:pt x="579" y="814"/>
                    </a:lnTo>
                    <a:lnTo>
                      <a:pt x="578" y="814"/>
                    </a:lnTo>
                    <a:lnTo>
                      <a:pt x="576" y="814"/>
                    </a:lnTo>
                    <a:lnTo>
                      <a:pt x="576" y="814"/>
                    </a:lnTo>
                    <a:lnTo>
                      <a:pt x="576" y="812"/>
                    </a:lnTo>
                    <a:lnTo>
                      <a:pt x="575" y="807"/>
                    </a:lnTo>
                    <a:lnTo>
                      <a:pt x="575" y="804"/>
                    </a:lnTo>
                    <a:lnTo>
                      <a:pt x="575" y="804"/>
                    </a:lnTo>
                    <a:lnTo>
                      <a:pt x="573" y="804"/>
                    </a:lnTo>
                    <a:lnTo>
                      <a:pt x="573" y="804"/>
                    </a:lnTo>
                    <a:lnTo>
                      <a:pt x="570" y="807"/>
                    </a:lnTo>
                    <a:lnTo>
                      <a:pt x="567" y="809"/>
                    </a:lnTo>
                    <a:lnTo>
                      <a:pt x="565" y="810"/>
                    </a:lnTo>
                    <a:lnTo>
                      <a:pt x="565" y="810"/>
                    </a:lnTo>
                    <a:lnTo>
                      <a:pt x="560" y="801"/>
                    </a:lnTo>
                    <a:lnTo>
                      <a:pt x="560" y="801"/>
                    </a:lnTo>
                    <a:lnTo>
                      <a:pt x="560" y="799"/>
                    </a:lnTo>
                    <a:lnTo>
                      <a:pt x="560" y="797"/>
                    </a:lnTo>
                    <a:lnTo>
                      <a:pt x="562" y="796"/>
                    </a:lnTo>
                    <a:lnTo>
                      <a:pt x="560" y="796"/>
                    </a:lnTo>
                    <a:lnTo>
                      <a:pt x="560" y="796"/>
                    </a:lnTo>
                    <a:lnTo>
                      <a:pt x="557" y="796"/>
                    </a:lnTo>
                    <a:lnTo>
                      <a:pt x="556" y="797"/>
                    </a:lnTo>
                    <a:lnTo>
                      <a:pt x="554" y="806"/>
                    </a:lnTo>
                    <a:lnTo>
                      <a:pt x="554" y="806"/>
                    </a:lnTo>
                    <a:lnTo>
                      <a:pt x="553" y="816"/>
                    </a:lnTo>
                    <a:lnTo>
                      <a:pt x="552" y="819"/>
                    </a:lnTo>
                    <a:lnTo>
                      <a:pt x="550" y="820"/>
                    </a:lnTo>
                    <a:lnTo>
                      <a:pt x="550" y="820"/>
                    </a:lnTo>
                    <a:lnTo>
                      <a:pt x="543" y="825"/>
                    </a:lnTo>
                    <a:lnTo>
                      <a:pt x="538" y="828"/>
                    </a:lnTo>
                    <a:lnTo>
                      <a:pt x="536" y="829"/>
                    </a:lnTo>
                    <a:lnTo>
                      <a:pt x="536" y="829"/>
                    </a:lnTo>
                    <a:lnTo>
                      <a:pt x="534" y="826"/>
                    </a:lnTo>
                    <a:lnTo>
                      <a:pt x="534" y="825"/>
                    </a:lnTo>
                    <a:lnTo>
                      <a:pt x="533" y="825"/>
                    </a:lnTo>
                    <a:lnTo>
                      <a:pt x="530" y="826"/>
                    </a:lnTo>
                    <a:lnTo>
                      <a:pt x="530" y="826"/>
                    </a:lnTo>
                    <a:lnTo>
                      <a:pt x="528" y="830"/>
                    </a:lnTo>
                    <a:lnTo>
                      <a:pt x="525" y="836"/>
                    </a:lnTo>
                    <a:lnTo>
                      <a:pt x="523" y="842"/>
                    </a:lnTo>
                    <a:lnTo>
                      <a:pt x="520" y="846"/>
                    </a:lnTo>
                    <a:lnTo>
                      <a:pt x="520" y="846"/>
                    </a:lnTo>
                    <a:lnTo>
                      <a:pt x="517" y="849"/>
                    </a:lnTo>
                    <a:lnTo>
                      <a:pt x="515" y="852"/>
                    </a:lnTo>
                    <a:lnTo>
                      <a:pt x="514" y="859"/>
                    </a:lnTo>
                    <a:lnTo>
                      <a:pt x="514" y="867"/>
                    </a:lnTo>
                    <a:lnTo>
                      <a:pt x="512" y="870"/>
                    </a:lnTo>
                    <a:lnTo>
                      <a:pt x="512" y="870"/>
                    </a:lnTo>
                    <a:lnTo>
                      <a:pt x="512" y="870"/>
                    </a:lnTo>
                    <a:lnTo>
                      <a:pt x="507" y="871"/>
                    </a:lnTo>
                    <a:lnTo>
                      <a:pt x="504" y="872"/>
                    </a:lnTo>
                    <a:lnTo>
                      <a:pt x="504" y="874"/>
                    </a:lnTo>
                    <a:lnTo>
                      <a:pt x="504" y="874"/>
                    </a:lnTo>
                    <a:lnTo>
                      <a:pt x="505" y="875"/>
                    </a:lnTo>
                    <a:lnTo>
                      <a:pt x="507" y="877"/>
                    </a:lnTo>
                    <a:lnTo>
                      <a:pt x="508" y="878"/>
                    </a:lnTo>
                    <a:lnTo>
                      <a:pt x="507" y="883"/>
                    </a:lnTo>
                    <a:lnTo>
                      <a:pt x="507" y="883"/>
                    </a:lnTo>
                    <a:lnTo>
                      <a:pt x="501" y="894"/>
                    </a:lnTo>
                    <a:lnTo>
                      <a:pt x="498" y="900"/>
                    </a:lnTo>
                    <a:lnTo>
                      <a:pt x="498" y="906"/>
                    </a:lnTo>
                    <a:lnTo>
                      <a:pt x="498" y="906"/>
                    </a:lnTo>
                    <a:lnTo>
                      <a:pt x="495" y="914"/>
                    </a:lnTo>
                    <a:lnTo>
                      <a:pt x="494" y="917"/>
                    </a:lnTo>
                    <a:lnTo>
                      <a:pt x="491" y="920"/>
                    </a:lnTo>
                    <a:lnTo>
                      <a:pt x="491" y="920"/>
                    </a:lnTo>
                    <a:lnTo>
                      <a:pt x="489" y="922"/>
                    </a:lnTo>
                    <a:lnTo>
                      <a:pt x="489" y="923"/>
                    </a:lnTo>
                    <a:lnTo>
                      <a:pt x="489" y="926"/>
                    </a:lnTo>
                    <a:lnTo>
                      <a:pt x="489" y="927"/>
                    </a:lnTo>
                    <a:lnTo>
                      <a:pt x="489" y="927"/>
                    </a:lnTo>
                    <a:lnTo>
                      <a:pt x="485" y="930"/>
                    </a:lnTo>
                    <a:lnTo>
                      <a:pt x="483" y="933"/>
                    </a:lnTo>
                    <a:lnTo>
                      <a:pt x="483" y="936"/>
                    </a:lnTo>
                    <a:lnTo>
                      <a:pt x="483" y="936"/>
                    </a:lnTo>
                    <a:lnTo>
                      <a:pt x="482" y="940"/>
                    </a:lnTo>
                    <a:lnTo>
                      <a:pt x="481" y="945"/>
                    </a:lnTo>
                    <a:lnTo>
                      <a:pt x="481" y="949"/>
                    </a:lnTo>
                    <a:lnTo>
                      <a:pt x="481" y="949"/>
                    </a:lnTo>
                    <a:lnTo>
                      <a:pt x="482" y="951"/>
                    </a:lnTo>
                    <a:lnTo>
                      <a:pt x="482" y="951"/>
                    </a:lnTo>
                    <a:lnTo>
                      <a:pt x="488" y="951"/>
                    </a:lnTo>
                    <a:lnTo>
                      <a:pt x="488" y="952"/>
                    </a:lnTo>
                    <a:lnTo>
                      <a:pt x="489" y="954"/>
                    </a:lnTo>
                    <a:lnTo>
                      <a:pt x="489" y="954"/>
                    </a:lnTo>
                    <a:lnTo>
                      <a:pt x="488" y="962"/>
                    </a:lnTo>
                    <a:lnTo>
                      <a:pt x="486" y="967"/>
                    </a:lnTo>
                    <a:lnTo>
                      <a:pt x="485" y="969"/>
                    </a:lnTo>
                    <a:lnTo>
                      <a:pt x="485" y="969"/>
                    </a:lnTo>
                    <a:lnTo>
                      <a:pt x="481" y="969"/>
                    </a:lnTo>
                    <a:lnTo>
                      <a:pt x="479" y="969"/>
                    </a:lnTo>
                    <a:lnTo>
                      <a:pt x="479" y="971"/>
                    </a:lnTo>
                    <a:lnTo>
                      <a:pt x="479" y="971"/>
                    </a:lnTo>
                    <a:lnTo>
                      <a:pt x="481" y="972"/>
                    </a:lnTo>
                    <a:lnTo>
                      <a:pt x="481" y="972"/>
                    </a:lnTo>
                    <a:lnTo>
                      <a:pt x="482" y="974"/>
                    </a:lnTo>
                    <a:lnTo>
                      <a:pt x="481" y="975"/>
                    </a:lnTo>
                    <a:lnTo>
                      <a:pt x="481" y="975"/>
                    </a:lnTo>
                    <a:lnTo>
                      <a:pt x="479" y="978"/>
                    </a:lnTo>
                    <a:lnTo>
                      <a:pt x="475" y="980"/>
                    </a:lnTo>
                    <a:lnTo>
                      <a:pt x="473" y="983"/>
                    </a:lnTo>
                    <a:lnTo>
                      <a:pt x="472" y="984"/>
                    </a:lnTo>
                    <a:lnTo>
                      <a:pt x="472" y="984"/>
                    </a:lnTo>
                    <a:lnTo>
                      <a:pt x="473" y="988"/>
                    </a:lnTo>
                    <a:lnTo>
                      <a:pt x="473" y="991"/>
                    </a:lnTo>
                    <a:lnTo>
                      <a:pt x="472" y="993"/>
                    </a:lnTo>
                    <a:lnTo>
                      <a:pt x="472" y="993"/>
                    </a:lnTo>
                    <a:lnTo>
                      <a:pt x="463" y="1007"/>
                    </a:lnTo>
                    <a:lnTo>
                      <a:pt x="463" y="1007"/>
                    </a:lnTo>
                    <a:lnTo>
                      <a:pt x="462" y="1004"/>
                    </a:lnTo>
                    <a:lnTo>
                      <a:pt x="462" y="1004"/>
                    </a:lnTo>
                    <a:lnTo>
                      <a:pt x="462" y="1006"/>
                    </a:lnTo>
                    <a:lnTo>
                      <a:pt x="462" y="1006"/>
                    </a:lnTo>
                    <a:lnTo>
                      <a:pt x="463" y="1010"/>
                    </a:lnTo>
                    <a:lnTo>
                      <a:pt x="463" y="1011"/>
                    </a:lnTo>
                    <a:lnTo>
                      <a:pt x="462" y="1013"/>
                    </a:lnTo>
                    <a:lnTo>
                      <a:pt x="462" y="1013"/>
                    </a:lnTo>
                    <a:lnTo>
                      <a:pt x="460" y="1014"/>
                    </a:lnTo>
                    <a:lnTo>
                      <a:pt x="459" y="1014"/>
                    </a:lnTo>
                    <a:lnTo>
                      <a:pt x="454" y="1013"/>
                    </a:lnTo>
                    <a:lnTo>
                      <a:pt x="452" y="1011"/>
                    </a:lnTo>
                    <a:lnTo>
                      <a:pt x="450" y="1010"/>
                    </a:lnTo>
                    <a:lnTo>
                      <a:pt x="449" y="1011"/>
                    </a:lnTo>
                    <a:lnTo>
                      <a:pt x="449" y="1011"/>
                    </a:lnTo>
                    <a:lnTo>
                      <a:pt x="446" y="1014"/>
                    </a:lnTo>
                    <a:lnTo>
                      <a:pt x="444" y="1014"/>
                    </a:lnTo>
                    <a:lnTo>
                      <a:pt x="441" y="1013"/>
                    </a:lnTo>
                    <a:lnTo>
                      <a:pt x="441" y="1013"/>
                    </a:lnTo>
                    <a:lnTo>
                      <a:pt x="440" y="1009"/>
                    </a:lnTo>
                    <a:lnTo>
                      <a:pt x="440" y="1006"/>
                    </a:lnTo>
                    <a:lnTo>
                      <a:pt x="439" y="1003"/>
                    </a:lnTo>
                    <a:lnTo>
                      <a:pt x="437" y="1003"/>
                    </a:lnTo>
                    <a:lnTo>
                      <a:pt x="437" y="1003"/>
                    </a:lnTo>
                    <a:lnTo>
                      <a:pt x="434" y="1004"/>
                    </a:lnTo>
                    <a:lnTo>
                      <a:pt x="433" y="1006"/>
                    </a:lnTo>
                    <a:lnTo>
                      <a:pt x="430" y="1004"/>
                    </a:lnTo>
                    <a:lnTo>
                      <a:pt x="428" y="1003"/>
                    </a:lnTo>
                    <a:lnTo>
                      <a:pt x="428" y="1003"/>
                    </a:lnTo>
                    <a:lnTo>
                      <a:pt x="427" y="1001"/>
                    </a:lnTo>
                    <a:lnTo>
                      <a:pt x="424" y="1001"/>
                    </a:lnTo>
                    <a:lnTo>
                      <a:pt x="421" y="1001"/>
                    </a:lnTo>
                    <a:lnTo>
                      <a:pt x="421" y="1000"/>
                    </a:lnTo>
                    <a:lnTo>
                      <a:pt x="421" y="1000"/>
                    </a:lnTo>
                    <a:lnTo>
                      <a:pt x="421" y="994"/>
                    </a:lnTo>
                    <a:lnTo>
                      <a:pt x="421" y="993"/>
                    </a:lnTo>
                    <a:lnTo>
                      <a:pt x="420" y="991"/>
                    </a:lnTo>
                    <a:lnTo>
                      <a:pt x="420" y="991"/>
                    </a:lnTo>
                    <a:lnTo>
                      <a:pt x="417" y="993"/>
                    </a:lnTo>
                    <a:lnTo>
                      <a:pt x="412" y="993"/>
                    </a:lnTo>
                    <a:lnTo>
                      <a:pt x="412" y="993"/>
                    </a:lnTo>
                    <a:lnTo>
                      <a:pt x="401" y="993"/>
                    </a:lnTo>
                    <a:lnTo>
                      <a:pt x="395" y="991"/>
                    </a:lnTo>
                    <a:lnTo>
                      <a:pt x="392" y="988"/>
                    </a:lnTo>
                    <a:lnTo>
                      <a:pt x="392" y="988"/>
                    </a:lnTo>
                    <a:lnTo>
                      <a:pt x="391" y="985"/>
                    </a:lnTo>
                    <a:lnTo>
                      <a:pt x="392" y="984"/>
                    </a:lnTo>
                    <a:lnTo>
                      <a:pt x="392" y="981"/>
                    </a:lnTo>
                    <a:lnTo>
                      <a:pt x="389" y="978"/>
                    </a:lnTo>
                    <a:lnTo>
                      <a:pt x="389" y="978"/>
                    </a:lnTo>
                    <a:lnTo>
                      <a:pt x="385" y="971"/>
                    </a:lnTo>
                    <a:lnTo>
                      <a:pt x="382" y="969"/>
                    </a:lnTo>
                    <a:lnTo>
                      <a:pt x="379" y="969"/>
                    </a:lnTo>
                    <a:lnTo>
                      <a:pt x="379" y="969"/>
                    </a:lnTo>
                    <a:lnTo>
                      <a:pt x="373" y="972"/>
                    </a:lnTo>
                    <a:lnTo>
                      <a:pt x="370" y="974"/>
                    </a:lnTo>
                    <a:lnTo>
                      <a:pt x="369" y="971"/>
                    </a:lnTo>
                    <a:lnTo>
                      <a:pt x="369" y="971"/>
                    </a:lnTo>
                    <a:lnTo>
                      <a:pt x="368" y="968"/>
                    </a:lnTo>
                    <a:lnTo>
                      <a:pt x="368" y="965"/>
                    </a:lnTo>
                    <a:lnTo>
                      <a:pt x="369" y="964"/>
                    </a:lnTo>
                    <a:lnTo>
                      <a:pt x="366" y="962"/>
                    </a:lnTo>
                    <a:lnTo>
                      <a:pt x="366" y="962"/>
                    </a:lnTo>
                    <a:lnTo>
                      <a:pt x="366" y="959"/>
                    </a:lnTo>
                    <a:lnTo>
                      <a:pt x="368" y="958"/>
                    </a:lnTo>
                    <a:lnTo>
                      <a:pt x="369" y="958"/>
                    </a:lnTo>
                    <a:lnTo>
                      <a:pt x="370" y="956"/>
                    </a:lnTo>
                    <a:lnTo>
                      <a:pt x="370" y="956"/>
                    </a:lnTo>
                    <a:lnTo>
                      <a:pt x="370" y="946"/>
                    </a:lnTo>
                    <a:lnTo>
                      <a:pt x="370" y="939"/>
                    </a:lnTo>
                    <a:lnTo>
                      <a:pt x="368" y="933"/>
                    </a:lnTo>
                    <a:lnTo>
                      <a:pt x="368" y="933"/>
                    </a:lnTo>
                    <a:lnTo>
                      <a:pt x="365" y="925"/>
                    </a:lnTo>
                    <a:lnTo>
                      <a:pt x="363" y="922"/>
                    </a:lnTo>
                    <a:lnTo>
                      <a:pt x="362" y="922"/>
                    </a:lnTo>
                    <a:lnTo>
                      <a:pt x="362" y="922"/>
                    </a:lnTo>
                    <a:lnTo>
                      <a:pt x="362" y="922"/>
                    </a:lnTo>
                    <a:lnTo>
                      <a:pt x="357" y="929"/>
                    </a:lnTo>
                    <a:lnTo>
                      <a:pt x="355" y="932"/>
                    </a:lnTo>
                    <a:lnTo>
                      <a:pt x="352" y="932"/>
                    </a:lnTo>
                    <a:lnTo>
                      <a:pt x="352" y="932"/>
                    </a:lnTo>
                    <a:lnTo>
                      <a:pt x="349" y="930"/>
                    </a:lnTo>
                    <a:lnTo>
                      <a:pt x="349" y="929"/>
                    </a:lnTo>
                    <a:lnTo>
                      <a:pt x="346" y="923"/>
                    </a:lnTo>
                    <a:lnTo>
                      <a:pt x="346" y="923"/>
                    </a:lnTo>
                    <a:lnTo>
                      <a:pt x="346" y="919"/>
                    </a:lnTo>
                    <a:lnTo>
                      <a:pt x="347" y="916"/>
                    </a:lnTo>
                    <a:lnTo>
                      <a:pt x="349" y="914"/>
                    </a:lnTo>
                    <a:lnTo>
                      <a:pt x="347" y="913"/>
                    </a:lnTo>
                    <a:lnTo>
                      <a:pt x="347" y="913"/>
                    </a:lnTo>
                    <a:lnTo>
                      <a:pt x="342" y="910"/>
                    </a:lnTo>
                    <a:lnTo>
                      <a:pt x="340" y="909"/>
                    </a:lnTo>
                    <a:lnTo>
                      <a:pt x="342" y="909"/>
                    </a:lnTo>
                    <a:lnTo>
                      <a:pt x="342" y="909"/>
                    </a:lnTo>
                    <a:lnTo>
                      <a:pt x="346" y="907"/>
                    </a:lnTo>
                    <a:lnTo>
                      <a:pt x="347" y="907"/>
                    </a:lnTo>
                    <a:lnTo>
                      <a:pt x="346" y="906"/>
                    </a:lnTo>
                    <a:lnTo>
                      <a:pt x="346" y="906"/>
                    </a:lnTo>
                    <a:lnTo>
                      <a:pt x="342" y="904"/>
                    </a:lnTo>
                    <a:lnTo>
                      <a:pt x="339" y="903"/>
                    </a:lnTo>
                    <a:lnTo>
                      <a:pt x="340" y="901"/>
                    </a:lnTo>
                    <a:lnTo>
                      <a:pt x="340" y="901"/>
                    </a:lnTo>
                    <a:lnTo>
                      <a:pt x="346" y="898"/>
                    </a:lnTo>
                    <a:lnTo>
                      <a:pt x="346" y="897"/>
                    </a:lnTo>
                    <a:lnTo>
                      <a:pt x="344" y="897"/>
                    </a:lnTo>
                    <a:lnTo>
                      <a:pt x="344" y="897"/>
                    </a:lnTo>
                    <a:lnTo>
                      <a:pt x="336" y="896"/>
                    </a:lnTo>
                    <a:lnTo>
                      <a:pt x="331" y="896"/>
                    </a:lnTo>
                    <a:lnTo>
                      <a:pt x="331" y="894"/>
                    </a:lnTo>
                    <a:lnTo>
                      <a:pt x="331" y="894"/>
                    </a:lnTo>
                    <a:lnTo>
                      <a:pt x="331" y="894"/>
                    </a:lnTo>
                    <a:lnTo>
                      <a:pt x="334" y="891"/>
                    </a:lnTo>
                    <a:lnTo>
                      <a:pt x="336" y="890"/>
                    </a:lnTo>
                    <a:lnTo>
                      <a:pt x="334" y="887"/>
                    </a:lnTo>
                    <a:lnTo>
                      <a:pt x="334" y="887"/>
                    </a:lnTo>
                    <a:lnTo>
                      <a:pt x="330" y="884"/>
                    </a:lnTo>
                    <a:lnTo>
                      <a:pt x="328" y="881"/>
                    </a:lnTo>
                    <a:lnTo>
                      <a:pt x="330" y="881"/>
                    </a:lnTo>
                    <a:lnTo>
                      <a:pt x="330" y="881"/>
                    </a:lnTo>
                    <a:lnTo>
                      <a:pt x="343" y="877"/>
                    </a:lnTo>
                    <a:lnTo>
                      <a:pt x="349" y="874"/>
                    </a:lnTo>
                    <a:lnTo>
                      <a:pt x="350" y="872"/>
                    </a:lnTo>
                    <a:lnTo>
                      <a:pt x="350" y="872"/>
                    </a:lnTo>
                    <a:lnTo>
                      <a:pt x="350" y="872"/>
                    </a:lnTo>
                    <a:lnTo>
                      <a:pt x="344" y="870"/>
                    </a:lnTo>
                    <a:lnTo>
                      <a:pt x="342" y="868"/>
                    </a:lnTo>
                    <a:lnTo>
                      <a:pt x="342" y="867"/>
                    </a:lnTo>
                    <a:lnTo>
                      <a:pt x="342" y="867"/>
                    </a:lnTo>
                    <a:lnTo>
                      <a:pt x="342" y="864"/>
                    </a:lnTo>
                    <a:lnTo>
                      <a:pt x="346" y="859"/>
                    </a:lnTo>
                    <a:lnTo>
                      <a:pt x="346" y="859"/>
                    </a:lnTo>
                    <a:lnTo>
                      <a:pt x="347" y="856"/>
                    </a:lnTo>
                    <a:lnTo>
                      <a:pt x="347" y="854"/>
                    </a:lnTo>
                    <a:lnTo>
                      <a:pt x="346" y="851"/>
                    </a:lnTo>
                    <a:lnTo>
                      <a:pt x="344" y="851"/>
                    </a:lnTo>
                    <a:lnTo>
                      <a:pt x="344" y="851"/>
                    </a:lnTo>
                    <a:lnTo>
                      <a:pt x="340" y="855"/>
                    </a:lnTo>
                    <a:lnTo>
                      <a:pt x="336" y="856"/>
                    </a:lnTo>
                    <a:lnTo>
                      <a:pt x="336" y="856"/>
                    </a:lnTo>
                    <a:lnTo>
                      <a:pt x="334" y="855"/>
                    </a:lnTo>
                    <a:lnTo>
                      <a:pt x="333" y="855"/>
                    </a:lnTo>
                    <a:lnTo>
                      <a:pt x="331" y="855"/>
                    </a:lnTo>
                    <a:lnTo>
                      <a:pt x="331" y="855"/>
                    </a:lnTo>
                    <a:lnTo>
                      <a:pt x="328" y="861"/>
                    </a:lnTo>
                    <a:lnTo>
                      <a:pt x="327" y="862"/>
                    </a:lnTo>
                    <a:lnTo>
                      <a:pt x="326" y="862"/>
                    </a:lnTo>
                    <a:lnTo>
                      <a:pt x="326" y="862"/>
                    </a:lnTo>
                    <a:lnTo>
                      <a:pt x="321" y="858"/>
                    </a:lnTo>
                    <a:lnTo>
                      <a:pt x="321" y="856"/>
                    </a:lnTo>
                    <a:lnTo>
                      <a:pt x="321" y="854"/>
                    </a:lnTo>
                    <a:lnTo>
                      <a:pt x="321" y="854"/>
                    </a:lnTo>
                    <a:lnTo>
                      <a:pt x="327" y="848"/>
                    </a:lnTo>
                    <a:lnTo>
                      <a:pt x="328" y="846"/>
                    </a:lnTo>
                    <a:lnTo>
                      <a:pt x="328" y="845"/>
                    </a:lnTo>
                    <a:lnTo>
                      <a:pt x="328" y="845"/>
                    </a:lnTo>
                    <a:lnTo>
                      <a:pt x="326" y="842"/>
                    </a:lnTo>
                    <a:lnTo>
                      <a:pt x="323" y="839"/>
                    </a:lnTo>
                    <a:lnTo>
                      <a:pt x="323" y="839"/>
                    </a:lnTo>
                    <a:lnTo>
                      <a:pt x="321" y="836"/>
                    </a:lnTo>
                    <a:lnTo>
                      <a:pt x="315" y="829"/>
                    </a:lnTo>
                    <a:lnTo>
                      <a:pt x="315" y="829"/>
                    </a:lnTo>
                    <a:lnTo>
                      <a:pt x="310" y="825"/>
                    </a:lnTo>
                    <a:lnTo>
                      <a:pt x="308" y="822"/>
                    </a:lnTo>
                    <a:lnTo>
                      <a:pt x="308" y="820"/>
                    </a:lnTo>
                    <a:lnTo>
                      <a:pt x="308" y="820"/>
                    </a:lnTo>
                    <a:lnTo>
                      <a:pt x="310" y="816"/>
                    </a:lnTo>
                    <a:lnTo>
                      <a:pt x="311" y="813"/>
                    </a:lnTo>
                    <a:lnTo>
                      <a:pt x="314" y="813"/>
                    </a:lnTo>
                    <a:lnTo>
                      <a:pt x="314" y="813"/>
                    </a:lnTo>
                    <a:lnTo>
                      <a:pt x="318" y="814"/>
                    </a:lnTo>
                    <a:lnTo>
                      <a:pt x="320" y="814"/>
                    </a:lnTo>
                    <a:lnTo>
                      <a:pt x="321" y="814"/>
                    </a:lnTo>
                    <a:lnTo>
                      <a:pt x="321" y="814"/>
                    </a:lnTo>
                    <a:lnTo>
                      <a:pt x="323" y="813"/>
                    </a:lnTo>
                    <a:lnTo>
                      <a:pt x="321" y="810"/>
                    </a:lnTo>
                    <a:lnTo>
                      <a:pt x="320" y="809"/>
                    </a:lnTo>
                    <a:lnTo>
                      <a:pt x="318" y="807"/>
                    </a:lnTo>
                    <a:lnTo>
                      <a:pt x="318" y="807"/>
                    </a:lnTo>
                    <a:lnTo>
                      <a:pt x="313" y="810"/>
                    </a:lnTo>
                    <a:lnTo>
                      <a:pt x="308" y="810"/>
                    </a:lnTo>
                    <a:lnTo>
                      <a:pt x="305" y="810"/>
                    </a:lnTo>
                    <a:lnTo>
                      <a:pt x="305" y="810"/>
                    </a:lnTo>
                    <a:lnTo>
                      <a:pt x="302" y="809"/>
                    </a:lnTo>
                    <a:lnTo>
                      <a:pt x="302" y="807"/>
                    </a:lnTo>
                    <a:lnTo>
                      <a:pt x="305" y="803"/>
                    </a:lnTo>
                    <a:lnTo>
                      <a:pt x="305" y="803"/>
                    </a:lnTo>
                    <a:lnTo>
                      <a:pt x="315" y="793"/>
                    </a:lnTo>
                    <a:lnTo>
                      <a:pt x="321" y="787"/>
                    </a:lnTo>
                    <a:lnTo>
                      <a:pt x="323" y="786"/>
                    </a:lnTo>
                    <a:lnTo>
                      <a:pt x="321" y="784"/>
                    </a:lnTo>
                    <a:lnTo>
                      <a:pt x="321" y="784"/>
                    </a:lnTo>
                    <a:lnTo>
                      <a:pt x="317" y="787"/>
                    </a:lnTo>
                    <a:lnTo>
                      <a:pt x="313" y="791"/>
                    </a:lnTo>
                    <a:lnTo>
                      <a:pt x="307" y="796"/>
                    </a:lnTo>
                    <a:lnTo>
                      <a:pt x="304" y="797"/>
                    </a:lnTo>
                    <a:lnTo>
                      <a:pt x="304" y="797"/>
                    </a:lnTo>
                    <a:lnTo>
                      <a:pt x="300" y="797"/>
                    </a:lnTo>
                    <a:lnTo>
                      <a:pt x="295" y="794"/>
                    </a:lnTo>
                    <a:lnTo>
                      <a:pt x="291" y="791"/>
                    </a:lnTo>
                    <a:lnTo>
                      <a:pt x="292" y="790"/>
                    </a:lnTo>
                    <a:lnTo>
                      <a:pt x="294" y="788"/>
                    </a:lnTo>
                    <a:lnTo>
                      <a:pt x="294" y="788"/>
                    </a:lnTo>
                    <a:lnTo>
                      <a:pt x="300" y="786"/>
                    </a:lnTo>
                    <a:lnTo>
                      <a:pt x="305" y="784"/>
                    </a:lnTo>
                    <a:lnTo>
                      <a:pt x="305" y="784"/>
                    </a:lnTo>
                    <a:lnTo>
                      <a:pt x="305" y="783"/>
                    </a:lnTo>
                    <a:lnTo>
                      <a:pt x="305" y="783"/>
                    </a:lnTo>
                    <a:lnTo>
                      <a:pt x="302" y="781"/>
                    </a:lnTo>
                    <a:lnTo>
                      <a:pt x="300" y="778"/>
                    </a:lnTo>
                    <a:lnTo>
                      <a:pt x="301" y="777"/>
                    </a:lnTo>
                    <a:lnTo>
                      <a:pt x="302" y="775"/>
                    </a:lnTo>
                    <a:lnTo>
                      <a:pt x="302" y="775"/>
                    </a:lnTo>
                    <a:lnTo>
                      <a:pt x="310" y="772"/>
                    </a:lnTo>
                    <a:lnTo>
                      <a:pt x="311" y="771"/>
                    </a:lnTo>
                    <a:lnTo>
                      <a:pt x="311" y="770"/>
                    </a:lnTo>
                    <a:lnTo>
                      <a:pt x="311" y="770"/>
                    </a:lnTo>
                    <a:lnTo>
                      <a:pt x="310" y="768"/>
                    </a:lnTo>
                    <a:lnTo>
                      <a:pt x="305" y="767"/>
                    </a:lnTo>
                    <a:lnTo>
                      <a:pt x="305" y="767"/>
                    </a:lnTo>
                    <a:lnTo>
                      <a:pt x="302" y="765"/>
                    </a:lnTo>
                    <a:lnTo>
                      <a:pt x="298" y="764"/>
                    </a:lnTo>
                    <a:lnTo>
                      <a:pt x="298" y="764"/>
                    </a:lnTo>
                    <a:lnTo>
                      <a:pt x="295" y="761"/>
                    </a:lnTo>
                    <a:lnTo>
                      <a:pt x="295" y="758"/>
                    </a:lnTo>
                    <a:lnTo>
                      <a:pt x="295" y="754"/>
                    </a:lnTo>
                    <a:lnTo>
                      <a:pt x="295" y="754"/>
                    </a:lnTo>
                    <a:lnTo>
                      <a:pt x="302" y="752"/>
                    </a:lnTo>
                    <a:lnTo>
                      <a:pt x="315" y="752"/>
                    </a:lnTo>
                    <a:lnTo>
                      <a:pt x="326" y="752"/>
                    </a:lnTo>
                    <a:lnTo>
                      <a:pt x="328" y="751"/>
                    </a:lnTo>
                    <a:lnTo>
                      <a:pt x="327" y="751"/>
                    </a:lnTo>
                    <a:lnTo>
                      <a:pt x="327" y="751"/>
                    </a:lnTo>
                    <a:lnTo>
                      <a:pt x="321" y="748"/>
                    </a:lnTo>
                    <a:lnTo>
                      <a:pt x="315" y="746"/>
                    </a:lnTo>
                    <a:lnTo>
                      <a:pt x="315" y="746"/>
                    </a:lnTo>
                    <a:lnTo>
                      <a:pt x="302" y="748"/>
                    </a:lnTo>
                    <a:lnTo>
                      <a:pt x="297" y="749"/>
                    </a:lnTo>
                    <a:lnTo>
                      <a:pt x="295" y="748"/>
                    </a:lnTo>
                    <a:lnTo>
                      <a:pt x="294" y="748"/>
                    </a:lnTo>
                    <a:lnTo>
                      <a:pt x="294" y="748"/>
                    </a:lnTo>
                    <a:lnTo>
                      <a:pt x="297" y="744"/>
                    </a:lnTo>
                    <a:lnTo>
                      <a:pt x="300" y="738"/>
                    </a:lnTo>
                    <a:lnTo>
                      <a:pt x="300" y="738"/>
                    </a:lnTo>
                    <a:lnTo>
                      <a:pt x="301" y="736"/>
                    </a:lnTo>
                    <a:lnTo>
                      <a:pt x="304" y="733"/>
                    </a:lnTo>
                    <a:lnTo>
                      <a:pt x="308" y="732"/>
                    </a:lnTo>
                    <a:lnTo>
                      <a:pt x="313" y="732"/>
                    </a:lnTo>
                    <a:lnTo>
                      <a:pt x="313" y="732"/>
                    </a:lnTo>
                    <a:lnTo>
                      <a:pt x="321" y="733"/>
                    </a:lnTo>
                    <a:lnTo>
                      <a:pt x="327" y="733"/>
                    </a:lnTo>
                    <a:lnTo>
                      <a:pt x="327" y="733"/>
                    </a:lnTo>
                    <a:lnTo>
                      <a:pt x="331" y="735"/>
                    </a:lnTo>
                    <a:lnTo>
                      <a:pt x="333" y="736"/>
                    </a:lnTo>
                    <a:lnTo>
                      <a:pt x="336" y="739"/>
                    </a:lnTo>
                    <a:lnTo>
                      <a:pt x="340" y="741"/>
                    </a:lnTo>
                    <a:lnTo>
                      <a:pt x="340" y="741"/>
                    </a:lnTo>
                    <a:lnTo>
                      <a:pt x="349" y="744"/>
                    </a:lnTo>
                    <a:lnTo>
                      <a:pt x="352" y="744"/>
                    </a:lnTo>
                    <a:lnTo>
                      <a:pt x="350" y="741"/>
                    </a:lnTo>
                    <a:lnTo>
                      <a:pt x="350" y="741"/>
                    </a:lnTo>
                    <a:lnTo>
                      <a:pt x="343" y="735"/>
                    </a:lnTo>
                    <a:lnTo>
                      <a:pt x="342" y="733"/>
                    </a:lnTo>
                    <a:lnTo>
                      <a:pt x="342" y="732"/>
                    </a:lnTo>
                    <a:lnTo>
                      <a:pt x="342" y="732"/>
                    </a:lnTo>
                    <a:lnTo>
                      <a:pt x="347" y="730"/>
                    </a:lnTo>
                    <a:lnTo>
                      <a:pt x="349" y="729"/>
                    </a:lnTo>
                    <a:lnTo>
                      <a:pt x="347" y="728"/>
                    </a:lnTo>
                    <a:lnTo>
                      <a:pt x="347" y="728"/>
                    </a:lnTo>
                    <a:lnTo>
                      <a:pt x="347" y="726"/>
                    </a:lnTo>
                    <a:lnTo>
                      <a:pt x="347" y="725"/>
                    </a:lnTo>
                    <a:lnTo>
                      <a:pt x="346" y="722"/>
                    </a:lnTo>
                    <a:lnTo>
                      <a:pt x="342" y="720"/>
                    </a:lnTo>
                    <a:lnTo>
                      <a:pt x="342" y="720"/>
                    </a:lnTo>
                    <a:lnTo>
                      <a:pt x="339" y="717"/>
                    </a:lnTo>
                    <a:lnTo>
                      <a:pt x="337" y="715"/>
                    </a:lnTo>
                    <a:lnTo>
                      <a:pt x="337" y="713"/>
                    </a:lnTo>
                    <a:lnTo>
                      <a:pt x="336" y="712"/>
                    </a:lnTo>
                    <a:lnTo>
                      <a:pt x="336" y="712"/>
                    </a:lnTo>
                    <a:lnTo>
                      <a:pt x="334" y="712"/>
                    </a:lnTo>
                    <a:lnTo>
                      <a:pt x="334" y="710"/>
                    </a:lnTo>
                    <a:lnTo>
                      <a:pt x="336" y="706"/>
                    </a:lnTo>
                    <a:lnTo>
                      <a:pt x="339" y="702"/>
                    </a:lnTo>
                    <a:lnTo>
                      <a:pt x="339" y="699"/>
                    </a:lnTo>
                    <a:lnTo>
                      <a:pt x="339" y="699"/>
                    </a:lnTo>
                    <a:lnTo>
                      <a:pt x="331" y="699"/>
                    </a:lnTo>
                    <a:lnTo>
                      <a:pt x="328" y="699"/>
                    </a:lnTo>
                    <a:lnTo>
                      <a:pt x="328" y="699"/>
                    </a:lnTo>
                    <a:lnTo>
                      <a:pt x="330" y="697"/>
                    </a:lnTo>
                    <a:lnTo>
                      <a:pt x="330" y="697"/>
                    </a:lnTo>
                    <a:lnTo>
                      <a:pt x="337" y="693"/>
                    </a:lnTo>
                    <a:lnTo>
                      <a:pt x="339" y="690"/>
                    </a:lnTo>
                    <a:lnTo>
                      <a:pt x="339" y="690"/>
                    </a:lnTo>
                    <a:lnTo>
                      <a:pt x="339" y="688"/>
                    </a:lnTo>
                    <a:lnTo>
                      <a:pt x="339" y="688"/>
                    </a:lnTo>
                    <a:lnTo>
                      <a:pt x="333" y="687"/>
                    </a:lnTo>
                    <a:lnTo>
                      <a:pt x="333" y="686"/>
                    </a:lnTo>
                    <a:lnTo>
                      <a:pt x="334" y="683"/>
                    </a:lnTo>
                    <a:lnTo>
                      <a:pt x="334" y="683"/>
                    </a:lnTo>
                    <a:lnTo>
                      <a:pt x="336" y="680"/>
                    </a:lnTo>
                    <a:lnTo>
                      <a:pt x="336" y="675"/>
                    </a:lnTo>
                    <a:lnTo>
                      <a:pt x="337" y="674"/>
                    </a:lnTo>
                    <a:lnTo>
                      <a:pt x="339" y="674"/>
                    </a:lnTo>
                    <a:lnTo>
                      <a:pt x="339" y="674"/>
                    </a:lnTo>
                    <a:lnTo>
                      <a:pt x="343" y="677"/>
                    </a:lnTo>
                    <a:lnTo>
                      <a:pt x="344" y="680"/>
                    </a:lnTo>
                    <a:lnTo>
                      <a:pt x="346" y="683"/>
                    </a:lnTo>
                    <a:lnTo>
                      <a:pt x="347" y="683"/>
                    </a:lnTo>
                    <a:lnTo>
                      <a:pt x="347" y="681"/>
                    </a:lnTo>
                    <a:lnTo>
                      <a:pt x="347" y="681"/>
                    </a:lnTo>
                    <a:lnTo>
                      <a:pt x="347" y="680"/>
                    </a:lnTo>
                    <a:lnTo>
                      <a:pt x="346" y="678"/>
                    </a:lnTo>
                    <a:lnTo>
                      <a:pt x="346" y="675"/>
                    </a:lnTo>
                    <a:lnTo>
                      <a:pt x="347" y="674"/>
                    </a:lnTo>
                    <a:lnTo>
                      <a:pt x="347" y="674"/>
                    </a:lnTo>
                    <a:lnTo>
                      <a:pt x="350" y="673"/>
                    </a:lnTo>
                    <a:lnTo>
                      <a:pt x="350" y="670"/>
                    </a:lnTo>
                    <a:lnTo>
                      <a:pt x="350" y="664"/>
                    </a:lnTo>
                    <a:lnTo>
                      <a:pt x="350" y="664"/>
                    </a:lnTo>
                    <a:lnTo>
                      <a:pt x="349" y="658"/>
                    </a:lnTo>
                    <a:lnTo>
                      <a:pt x="346" y="651"/>
                    </a:lnTo>
                    <a:lnTo>
                      <a:pt x="346" y="651"/>
                    </a:lnTo>
                    <a:lnTo>
                      <a:pt x="343" y="644"/>
                    </a:lnTo>
                    <a:lnTo>
                      <a:pt x="343" y="641"/>
                    </a:lnTo>
                    <a:lnTo>
                      <a:pt x="346" y="641"/>
                    </a:lnTo>
                    <a:lnTo>
                      <a:pt x="346" y="641"/>
                    </a:lnTo>
                    <a:lnTo>
                      <a:pt x="349" y="638"/>
                    </a:lnTo>
                    <a:lnTo>
                      <a:pt x="350" y="635"/>
                    </a:lnTo>
                    <a:lnTo>
                      <a:pt x="349" y="631"/>
                    </a:lnTo>
                    <a:lnTo>
                      <a:pt x="349" y="629"/>
                    </a:lnTo>
                    <a:lnTo>
                      <a:pt x="349" y="629"/>
                    </a:lnTo>
                    <a:lnTo>
                      <a:pt x="344" y="632"/>
                    </a:lnTo>
                    <a:lnTo>
                      <a:pt x="343" y="633"/>
                    </a:lnTo>
                    <a:lnTo>
                      <a:pt x="340" y="631"/>
                    </a:lnTo>
                    <a:lnTo>
                      <a:pt x="340" y="631"/>
                    </a:lnTo>
                    <a:lnTo>
                      <a:pt x="339" y="628"/>
                    </a:lnTo>
                    <a:lnTo>
                      <a:pt x="339" y="626"/>
                    </a:lnTo>
                    <a:lnTo>
                      <a:pt x="339" y="626"/>
                    </a:lnTo>
                    <a:lnTo>
                      <a:pt x="336" y="626"/>
                    </a:lnTo>
                    <a:lnTo>
                      <a:pt x="336" y="626"/>
                    </a:lnTo>
                    <a:lnTo>
                      <a:pt x="331" y="629"/>
                    </a:lnTo>
                    <a:lnTo>
                      <a:pt x="326" y="631"/>
                    </a:lnTo>
                    <a:lnTo>
                      <a:pt x="326" y="631"/>
                    </a:lnTo>
                    <a:lnTo>
                      <a:pt x="320" y="631"/>
                    </a:lnTo>
                    <a:lnTo>
                      <a:pt x="317" y="629"/>
                    </a:lnTo>
                    <a:lnTo>
                      <a:pt x="315" y="626"/>
                    </a:lnTo>
                    <a:lnTo>
                      <a:pt x="315" y="626"/>
                    </a:lnTo>
                    <a:lnTo>
                      <a:pt x="314" y="623"/>
                    </a:lnTo>
                    <a:lnTo>
                      <a:pt x="313" y="622"/>
                    </a:lnTo>
                    <a:lnTo>
                      <a:pt x="307" y="617"/>
                    </a:lnTo>
                    <a:lnTo>
                      <a:pt x="307" y="617"/>
                    </a:lnTo>
                    <a:lnTo>
                      <a:pt x="302" y="616"/>
                    </a:lnTo>
                    <a:lnTo>
                      <a:pt x="298" y="615"/>
                    </a:lnTo>
                    <a:lnTo>
                      <a:pt x="289" y="613"/>
                    </a:lnTo>
                    <a:lnTo>
                      <a:pt x="289" y="613"/>
                    </a:lnTo>
                    <a:lnTo>
                      <a:pt x="286" y="610"/>
                    </a:lnTo>
                    <a:lnTo>
                      <a:pt x="285" y="607"/>
                    </a:lnTo>
                    <a:lnTo>
                      <a:pt x="285" y="600"/>
                    </a:lnTo>
                    <a:lnTo>
                      <a:pt x="285" y="600"/>
                    </a:lnTo>
                    <a:lnTo>
                      <a:pt x="284" y="593"/>
                    </a:lnTo>
                    <a:lnTo>
                      <a:pt x="285" y="591"/>
                    </a:lnTo>
                    <a:lnTo>
                      <a:pt x="286" y="591"/>
                    </a:lnTo>
                    <a:lnTo>
                      <a:pt x="286" y="591"/>
                    </a:lnTo>
                    <a:lnTo>
                      <a:pt x="295" y="591"/>
                    </a:lnTo>
                    <a:lnTo>
                      <a:pt x="300" y="591"/>
                    </a:lnTo>
                    <a:lnTo>
                      <a:pt x="305" y="593"/>
                    </a:lnTo>
                    <a:lnTo>
                      <a:pt x="305" y="593"/>
                    </a:lnTo>
                    <a:lnTo>
                      <a:pt x="310" y="594"/>
                    </a:lnTo>
                    <a:lnTo>
                      <a:pt x="314" y="599"/>
                    </a:lnTo>
                    <a:lnTo>
                      <a:pt x="323" y="604"/>
                    </a:lnTo>
                    <a:lnTo>
                      <a:pt x="323" y="604"/>
                    </a:lnTo>
                    <a:lnTo>
                      <a:pt x="336" y="612"/>
                    </a:lnTo>
                    <a:lnTo>
                      <a:pt x="340" y="613"/>
                    </a:lnTo>
                    <a:lnTo>
                      <a:pt x="342" y="613"/>
                    </a:lnTo>
                    <a:lnTo>
                      <a:pt x="342" y="612"/>
                    </a:lnTo>
                    <a:lnTo>
                      <a:pt x="342" y="612"/>
                    </a:lnTo>
                    <a:lnTo>
                      <a:pt x="340" y="609"/>
                    </a:lnTo>
                    <a:lnTo>
                      <a:pt x="337" y="606"/>
                    </a:lnTo>
                    <a:lnTo>
                      <a:pt x="333" y="600"/>
                    </a:lnTo>
                    <a:lnTo>
                      <a:pt x="333" y="600"/>
                    </a:lnTo>
                    <a:lnTo>
                      <a:pt x="333" y="600"/>
                    </a:lnTo>
                    <a:lnTo>
                      <a:pt x="334" y="600"/>
                    </a:lnTo>
                    <a:lnTo>
                      <a:pt x="339" y="602"/>
                    </a:lnTo>
                    <a:lnTo>
                      <a:pt x="343" y="603"/>
                    </a:lnTo>
                    <a:lnTo>
                      <a:pt x="346" y="603"/>
                    </a:lnTo>
                    <a:lnTo>
                      <a:pt x="346" y="603"/>
                    </a:lnTo>
                    <a:lnTo>
                      <a:pt x="346" y="603"/>
                    </a:lnTo>
                    <a:lnTo>
                      <a:pt x="344" y="597"/>
                    </a:lnTo>
                    <a:lnTo>
                      <a:pt x="340" y="593"/>
                    </a:lnTo>
                    <a:lnTo>
                      <a:pt x="340" y="593"/>
                    </a:lnTo>
                    <a:lnTo>
                      <a:pt x="339" y="591"/>
                    </a:lnTo>
                    <a:lnTo>
                      <a:pt x="339" y="590"/>
                    </a:lnTo>
                    <a:lnTo>
                      <a:pt x="342" y="587"/>
                    </a:lnTo>
                    <a:lnTo>
                      <a:pt x="344" y="586"/>
                    </a:lnTo>
                    <a:lnTo>
                      <a:pt x="346" y="586"/>
                    </a:lnTo>
                    <a:lnTo>
                      <a:pt x="344" y="586"/>
                    </a:lnTo>
                    <a:lnTo>
                      <a:pt x="344" y="586"/>
                    </a:lnTo>
                    <a:lnTo>
                      <a:pt x="343" y="584"/>
                    </a:lnTo>
                    <a:lnTo>
                      <a:pt x="343" y="583"/>
                    </a:lnTo>
                    <a:lnTo>
                      <a:pt x="343" y="581"/>
                    </a:lnTo>
                    <a:lnTo>
                      <a:pt x="342" y="581"/>
                    </a:lnTo>
                    <a:lnTo>
                      <a:pt x="342" y="581"/>
                    </a:lnTo>
                    <a:lnTo>
                      <a:pt x="340" y="581"/>
                    </a:lnTo>
                    <a:lnTo>
                      <a:pt x="339" y="580"/>
                    </a:lnTo>
                    <a:lnTo>
                      <a:pt x="331" y="578"/>
                    </a:lnTo>
                    <a:lnTo>
                      <a:pt x="331" y="578"/>
                    </a:lnTo>
                    <a:lnTo>
                      <a:pt x="327" y="577"/>
                    </a:lnTo>
                    <a:lnTo>
                      <a:pt x="323" y="578"/>
                    </a:lnTo>
                    <a:lnTo>
                      <a:pt x="320" y="578"/>
                    </a:lnTo>
                    <a:lnTo>
                      <a:pt x="321" y="575"/>
                    </a:lnTo>
                    <a:lnTo>
                      <a:pt x="321" y="575"/>
                    </a:lnTo>
                    <a:lnTo>
                      <a:pt x="328" y="573"/>
                    </a:lnTo>
                    <a:lnTo>
                      <a:pt x="330" y="571"/>
                    </a:lnTo>
                    <a:lnTo>
                      <a:pt x="330" y="570"/>
                    </a:lnTo>
                    <a:lnTo>
                      <a:pt x="330" y="570"/>
                    </a:lnTo>
                    <a:lnTo>
                      <a:pt x="328" y="567"/>
                    </a:lnTo>
                    <a:lnTo>
                      <a:pt x="328" y="567"/>
                    </a:lnTo>
                    <a:lnTo>
                      <a:pt x="327" y="565"/>
                    </a:lnTo>
                    <a:lnTo>
                      <a:pt x="321" y="564"/>
                    </a:lnTo>
                    <a:lnTo>
                      <a:pt x="321" y="564"/>
                    </a:lnTo>
                    <a:lnTo>
                      <a:pt x="310" y="562"/>
                    </a:lnTo>
                    <a:lnTo>
                      <a:pt x="307" y="561"/>
                    </a:lnTo>
                    <a:lnTo>
                      <a:pt x="307" y="560"/>
                    </a:lnTo>
                    <a:lnTo>
                      <a:pt x="310" y="560"/>
                    </a:lnTo>
                    <a:lnTo>
                      <a:pt x="310" y="560"/>
                    </a:lnTo>
                    <a:lnTo>
                      <a:pt x="321" y="554"/>
                    </a:lnTo>
                    <a:lnTo>
                      <a:pt x="324" y="551"/>
                    </a:lnTo>
                    <a:lnTo>
                      <a:pt x="324" y="549"/>
                    </a:lnTo>
                    <a:lnTo>
                      <a:pt x="324" y="549"/>
                    </a:lnTo>
                    <a:lnTo>
                      <a:pt x="324" y="549"/>
                    </a:lnTo>
                    <a:lnTo>
                      <a:pt x="320" y="549"/>
                    </a:lnTo>
                    <a:lnTo>
                      <a:pt x="318" y="548"/>
                    </a:lnTo>
                    <a:lnTo>
                      <a:pt x="315" y="548"/>
                    </a:lnTo>
                    <a:lnTo>
                      <a:pt x="314" y="549"/>
                    </a:lnTo>
                    <a:lnTo>
                      <a:pt x="314" y="549"/>
                    </a:lnTo>
                    <a:lnTo>
                      <a:pt x="313" y="554"/>
                    </a:lnTo>
                    <a:lnTo>
                      <a:pt x="310" y="554"/>
                    </a:lnTo>
                    <a:lnTo>
                      <a:pt x="307" y="552"/>
                    </a:lnTo>
                    <a:lnTo>
                      <a:pt x="307" y="552"/>
                    </a:lnTo>
                    <a:lnTo>
                      <a:pt x="304" y="549"/>
                    </a:lnTo>
                    <a:lnTo>
                      <a:pt x="302" y="548"/>
                    </a:lnTo>
                    <a:lnTo>
                      <a:pt x="301" y="542"/>
                    </a:lnTo>
                    <a:lnTo>
                      <a:pt x="301" y="532"/>
                    </a:lnTo>
                    <a:lnTo>
                      <a:pt x="301" y="532"/>
                    </a:lnTo>
                    <a:lnTo>
                      <a:pt x="298" y="523"/>
                    </a:lnTo>
                    <a:lnTo>
                      <a:pt x="297" y="520"/>
                    </a:lnTo>
                    <a:lnTo>
                      <a:pt x="295" y="519"/>
                    </a:lnTo>
                    <a:lnTo>
                      <a:pt x="295" y="519"/>
                    </a:lnTo>
                    <a:lnTo>
                      <a:pt x="294" y="525"/>
                    </a:lnTo>
                    <a:lnTo>
                      <a:pt x="294" y="531"/>
                    </a:lnTo>
                    <a:lnTo>
                      <a:pt x="294" y="531"/>
                    </a:lnTo>
                    <a:lnTo>
                      <a:pt x="294" y="536"/>
                    </a:lnTo>
                    <a:lnTo>
                      <a:pt x="294" y="541"/>
                    </a:lnTo>
                    <a:lnTo>
                      <a:pt x="294" y="541"/>
                    </a:lnTo>
                    <a:lnTo>
                      <a:pt x="291" y="548"/>
                    </a:lnTo>
                    <a:lnTo>
                      <a:pt x="289" y="552"/>
                    </a:lnTo>
                    <a:lnTo>
                      <a:pt x="289" y="555"/>
                    </a:lnTo>
                    <a:lnTo>
                      <a:pt x="289" y="555"/>
                    </a:lnTo>
                    <a:lnTo>
                      <a:pt x="291" y="560"/>
                    </a:lnTo>
                    <a:lnTo>
                      <a:pt x="291" y="561"/>
                    </a:lnTo>
                    <a:lnTo>
                      <a:pt x="289" y="564"/>
                    </a:lnTo>
                    <a:lnTo>
                      <a:pt x="289" y="564"/>
                    </a:lnTo>
                    <a:lnTo>
                      <a:pt x="284" y="567"/>
                    </a:lnTo>
                    <a:lnTo>
                      <a:pt x="281" y="568"/>
                    </a:lnTo>
                    <a:lnTo>
                      <a:pt x="279" y="565"/>
                    </a:lnTo>
                    <a:lnTo>
                      <a:pt x="279" y="565"/>
                    </a:lnTo>
                    <a:lnTo>
                      <a:pt x="275" y="560"/>
                    </a:lnTo>
                    <a:lnTo>
                      <a:pt x="273" y="558"/>
                    </a:lnTo>
                    <a:lnTo>
                      <a:pt x="272" y="560"/>
                    </a:lnTo>
                    <a:lnTo>
                      <a:pt x="272" y="560"/>
                    </a:lnTo>
                    <a:lnTo>
                      <a:pt x="272" y="564"/>
                    </a:lnTo>
                    <a:lnTo>
                      <a:pt x="268" y="564"/>
                    </a:lnTo>
                    <a:lnTo>
                      <a:pt x="268" y="564"/>
                    </a:lnTo>
                    <a:lnTo>
                      <a:pt x="266" y="561"/>
                    </a:lnTo>
                    <a:lnTo>
                      <a:pt x="265" y="557"/>
                    </a:lnTo>
                    <a:lnTo>
                      <a:pt x="263" y="549"/>
                    </a:lnTo>
                    <a:lnTo>
                      <a:pt x="263" y="549"/>
                    </a:lnTo>
                    <a:lnTo>
                      <a:pt x="263" y="547"/>
                    </a:lnTo>
                    <a:lnTo>
                      <a:pt x="265" y="547"/>
                    </a:lnTo>
                    <a:lnTo>
                      <a:pt x="269" y="547"/>
                    </a:lnTo>
                    <a:lnTo>
                      <a:pt x="272" y="544"/>
                    </a:lnTo>
                    <a:lnTo>
                      <a:pt x="272" y="544"/>
                    </a:lnTo>
                    <a:lnTo>
                      <a:pt x="281" y="539"/>
                    </a:lnTo>
                    <a:lnTo>
                      <a:pt x="284" y="538"/>
                    </a:lnTo>
                    <a:lnTo>
                      <a:pt x="284" y="536"/>
                    </a:lnTo>
                    <a:lnTo>
                      <a:pt x="284" y="536"/>
                    </a:lnTo>
                    <a:lnTo>
                      <a:pt x="281" y="536"/>
                    </a:lnTo>
                    <a:lnTo>
                      <a:pt x="278" y="536"/>
                    </a:lnTo>
                    <a:lnTo>
                      <a:pt x="273" y="538"/>
                    </a:lnTo>
                    <a:lnTo>
                      <a:pt x="273" y="538"/>
                    </a:lnTo>
                    <a:lnTo>
                      <a:pt x="268" y="538"/>
                    </a:lnTo>
                    <a:lnTo>
                      <a:pt x="263" y="536"/>
                    </a:lnTo>
                    <a:lnTo>
                      <a:pt x="263" y="535"/>
                    </a:lnTo>
                    <a:lnTo>
                      <a:pt x="265" y="533"/>
                    </a:lnTo>
                    <a:lnTo>
                      <a:pt x="265" y="533"/>
                    </a:lnTo>
                    <a:lnTo>
                      <a:pt x="271" y="528"/>
                    </a:lnTo>
                    <a:lnTo>
                      <a:pt x="273" y="523"/>
                    </a:lnTo>
                    <a:lnTo>
                      <a:pt x="275" y="520"/>
                    </a:lnTo>
                    <a:lnTo>
                      <a:pt x="275" y="520"/>
                    </a:lnTo>
                    <a:lnTo>
                      <a:pt x="275" y="518"/>
                    </a:lnTo>
                    <a:lnTo>
                      <a:pt x="276" y="515"/>
                    </a:lnTo>
                    <a:lnTo>
                      <a:pt x="278" y="513"/>
                    </a:lnTo>
                    <a:lnTo>
                      <a:pt x="278" y="513"/>
                    </a:lnTo>
                    <a:lnTo>
                      <a:pt x="278" y="513"/>
                    </a:lnTo>
                    <a:lnTo>
                      <a:pt x="275" y="509"/>
                    </a:lnTo>
                    <a:lnTo>
                      <a:pt x="273" y="507"/>
                    </a:lnTo>
                    <a:lnTo>
                      <a:pt x="276" y="506"/>
                    </a:lnTo>
                    <a:lnTo>
                      <a:pt x="276" y="506"/>
                    </a:lnTo>
                    <a:lnTo>
                      <a:pt x="282" y="506"/>
                    </a:lnTo>
                    <a:lnTo>
                      <a:pt x="284" y="505"/>
                    </a:lnTo>
                    <a:lnTo>
                      <a:pt x="282" y="503"/>
                    </a:lnTo>
                    <a:lnTo>
                      <a:pt x="282" y="503"/>
                    </a:lnTo>
                    <a:lnTo>
                      <a:pt x="279" y="494"/>
                    </a:lnTo>
                    <a:lnTo>
                      <a:pt x="278" y="493"/>
                    </a:lnTo>
                    <a:lnTo>
                      <a:pt x="279" y="491"/>
                    </a:lnTo>
                    <a:lnTo>
                      <a:pt x="281" y="491"/>
                    </a:lnTo>
                    <a:lnTo>
                      <a:pt x="281" y="491"/>
                    </a:lnTo>
                    <a:lnTo>
                      <a:pt x="284" y="491"/>
                    </a:lnTo>
                    <a:lnTo>
                      <a:pt x="285" y="493"/>
                    </a:lnTo>
                    <a:lnTo>
                      <a:pt x="286" y="497"/>
                    </a:lnTo>
                    <a:lnTo>
                      <a:pt x="286" y="497"/>
                    </a:lnTo>
                    <a:lnTo>
                      <a:pt x="288" y="502"/>
                    </a:lnTo>
                    <a:lnTo>
                      <a:pt x="289" y="503"/>
                    </a:lnTo>
                    <a:lnTo>
                      <a:pt x="291" y="503"/>
                    </a:lnTo>
                    <a:lnTo>
                      <a:pt x="291" y="503"/>
                    </a:lnTo>
                    <a:lnTo>
                      <a:pt x="294" y="503"/>
                    </a:lnTo>
                    <a:lnTo>
                      <a:pt x="295" y="503"/>
                    </a:lnTo>
                    <a:lnTo>
                      <a:pt x="297" y="503"/>
                    </a:lnTo>
                    <a:lnTo>
                      <a:pt x="295" y="502"/>
                    </a:lnTo>
                    <a:lnTo>
                      <a:pt x="295" y="502"/>
                    </a:lnTo>
                    <a:lnTo>
                      <a:pt x="292" y="496"/>
                    </a:lnTo>
                    <a:lnTo>
                      <a:pt x="288" y="491"/>
                    </a:lnTo>
                    <a:lnTo>
                      <a:pt x="288" y="491"/>
                    </a:lnTo>
                    <a:lnTo>
                      <a:pt x="285" y="487"/>
                    </a:lnTo>
                    <a:lnTo>
                      <a:pt x="284" y="481"/>
                    </a:lnTo>
                    <a:lnTo>
                      <a:pt x="282" y="473"/>
                    </a:lnTo>
                    <a:lnTo>
                      <a:pt x="282" y="473"/>
                    </a:lnTo>
                    <a:lnTo>
                      <a:pt x="279" y="465"/>
                    </a:lnTo>
                    <a:lnTo>
                      <a:pt x="278" y="461"/>
                    </a:lnTo>
                    <a:lnTo>
                      <a:pt x="278" y="458"/>
                    </a:lnTo>
                    <a:lnTo>
                      <a:pt x="278" y="458"/>
                    </a:lnTo>
                    <a:lnTo>
                      <a:pt x="275" y="447"/>
                    </a:lnTo>
                    <a:lnTo>
                      <a:pt x="271" y="435"/>
                    </a:lnTo>
                    <a:lnTo>
                      <a:pt x="271" y="435"/>
                    </a:lnTo>
                    <a:lnTo>
                      <a:pt x="266" y="426"/>
                    </a:lnTo>
                    <a:lnTo>
                      <a:pt x="265" y="423"/>
                    </a:lnTo>
                    <a:lnTo>
                      <a:pt x="265" y="421"/>
                    </a:lnTo>
                    <a:lnTo>
                      <a:pt x="265" y="421"/>
                    </a:lnTo>
                    <a:lnTo>
                      <a:pt x="266" y="416"/>
                    </a:lnTo>
                    <a:lnTo>
                      <a:pt x="265" y="409"/>
                    </a:lnTo>
                    <a:lnTo>
                      <a:pt x="263" y="400"/>
                    </a:lnTo>
                    <a:lnTo>
                      <a:pt x="260" y="393"/>
                    </a:lnTo>
                    <a:lnTo>
                      <a:pt x="260" y="393"/>
                    </a:lnTo>
                    <a:lnTo>
                      <a:pt x="258" y="387"/>
                    </a:lnTo>
                    <a:lnTo>
                      <a:pt x="256" y="381"/>
                    </a:lnTo>
                    <a:lnTo>
                      <a:pt x="255" y="376"/>
                    </a:lnTo>
                    <a:lnTo>
                      <a:pt x="253" y="373"/>
                    </a:lnTo>
                    <a:lnTo>
                      <a:pt x="253" y="373"/>
                    </a:lnTo>
                    <a:lnTo>
                      <a:pt x="244" y="365"/>
                    </a:lnTo>
                    <a:lnTo>
                      <a:pt x="240" y="360"/>
                    </a:lnTo>
                    <a:lnTo>
                      <a:pt x="239" y="357"/>
                    </a:lnTo>
                    <a:lnTo>
                      <a:pt x="239" y="357"/>
                    </a:lnTo>
                    <a:lnTo>
                      <a:pt x="239" y="352"/>
                    </a:lnTo>
                    <a:lnTo>
                      <a:pt x="239" y="348"/>
                    </a:lnTo>
                    <a:lnTo>
                      <a:pt x="239" y="348"/>
                    </a:lnTo>
                    <a:lnTo>
                      <a:pt x="231" y="341"/>
                    </a:lnTo>
                    <a:lnTo>
                      <a:pt x="229" y="336"/>
                    </a:lnTo>
                    <a:lnTo>
                      <a:pt x="227" y="335"/>
                    </a:lnTo>
                    <a:lnTo>
                      <a:pt x="229" y="334"/>
                    </a:lnTo>
                    <a:lnTo>
                      <a:pt x="229" y="334"/>
                    </a:lnTo>
                    <a:lnTo>
                      <a:pt x="234" y="328"/>
                    </a:lnTo>
                    <a:lnTo>
                      <a:pt x="236" y="323"/>
                    </a:lnTo>
                    <a:lnTo>
                      <a:pt x="236" y="322"/>
                    </a:lnTo>
                    <a:lnTo>
                      <a:pt x="234" y="319"/>
                    </a:lnTo>
                    <a:lnTo>
                      <a:pt x="234" y="319"/>
                    </a:lnTo>
                    <a:lnTo>
                      <a:pt x="231" y="318"/>
                    </a:lnTo>
                    <a:lnTo>
                      <a:pt x="230" y="316"/>
                    </a:lnTo>
                    <a:lnTo>
                      <a:pt x="229" y="316"/>
                    </a:lnTo>
                    <a:lnTo>
                      <a:pt x="229" y="315"/>
                    </a:lnTo>
                    <a:lnTo>
                      <a:pt x="229" y="315"/>
                    </a:lnTo>
                    <a:lnTo>
                      <a:pt x="227" y="310"/>
                    </a:lnTo>
                    <a:lnTo>
                      <a:pt x="227" y="308"/>
                    </a:lnTo>
                    <a:lnTo>
                      <a:pt x="226" y="308"/>
                    </a:lnTo>
                    <a:lnTo>
                      <a:pt x="226" y="308"/>
                    </a:lnTo>
                    <a:lnTo>
                      <a:pt x="218" y="309"/>
                    </a:lnTo>
                    <a:lnTo>
                      <a:pt x="214" y="310"/>
                    </a:lnTo>
                    <a:lnTo>
                      <a:pt x="211" y="309"/>
                    </a:lnTo>
                    <a:lnTo>
                      <a:pt x="211" y="309"/>
                    </a:lnTo>
                    <a:lnTo>
                      <a:pt x="211" y="308"/>
                    </a:lnTo>
                    <a:lnTo>
                      <a:pt x="211" y="305"/>
                    </a:lnTo>
                    <a:lnTo>
                      <a:pt x="211" y="302"/>
                    </a:lnTo>
                    <a:lnTo>
                      <a:pt x="210" y="302"/>
                    </a:lnTo>
                    <a:lnTo>
                      <a:pt x="210" y="302"/>
                    </a:lnTo>
                    <a:lnTo>
                      <a:pt x="201" y="300"/>
                    </a:lnTo>
                    <a:lnTo>
                      <a:pt x="194" y="297"/>
                    </a:lnTo>
                    <a:lnTo>
                      <a:pt x="194" y="297"/>
                    </a:lnTo>
                    <a:lnTo>
                      <a:pt x="185" y="297"/>
                    </a:lnTo>
                    <a:lnTo>
                      <a:pt x="181" y="297"/>
                    </a:lnTo>
                    <a:lnTo>
                      <a:pt x="176" y="294"/>
                    </a:lnTo>
                    <a:lnTo>
                      <a:pt x="176" y="294"/>
                    </a:lnTo>
                    <a:lnTo>
                      <a:pt x="166" y="287"/>
                    </a:lnTo>
                    <a:lnTo>
                      <a:pt x="160" y="284"/>
                    </a:lnTo>
                    <a:lnTo>
                      <a:pt x="155" y="281"/>
                    </a:lnTo>
                    <a:lnTo>
                      <a:pt x="155" y="281"/>
                    </a:lnTo>
                    <a:lnTo>
                      <a:pt x="147" y="280"/>
                    </a:lnTo>
                    <a:lnTo>
                      <a:pt x="146" y="280"/>
                    </a:lnTo>
                    <a:lnTo>
                      <a:pt x="145" y="281"/>
                    </a:lnTo>
                    <a:lnTo>
                      <a:pt x="145" y="281"/>
                    </a:lnTo>
                    <a:lnTo>
                      <a:pt x="139" y="287"/>
                    </a:lnTo>
                    <a:lnTo>
                      <a:pt x="136" y="292"/>
                    </a:lnTo>
                    <a:lnTo>
                      <a:pt x="133" y="293"/>
                    </a:lnTo>
                    <a:lnTo>
                      <a:pt x="133" y="293"/>
                    </a:lnTo>
                    <a:lnTo>
                      <a:pt x="130" y="293"/>
                    </a:lnTo>
                    <a:lnTo>
                      <a:pt x="126" y="292"/>
                    </a:lnTo>
                    <a:lnTo>
                      <a:pt x="123" y="289"/>
                    </a:lnTo>
                    <a:lnTo>
                      <a:pt x="117" y="289"/>
                    </a:lnTo>
                    <a:lnTo>
                      <a:pt x="117" y="289"/>
                    </a:lnTo>
                    <a:lnTo>
                      <a:pt x="113" y="290"/>
                    </a:lnTo>
                    <a:lnTo>
                      <a:pt x="108" y="292"/>
                    </a:lnTo>
                    <a:lnTo>
                      <a:pt x="103" y="296"/>
                    </a:lnTo>
                    <a:lnTo>
                      <a:pt x="103" y="296"/>
                    </a:lnTo>
                    <a:lnTo>
                      <a:pt x="97" y="297"/>
                    </a:lnTo>
                    <a:lnTo>
                      <a:pt x="92" y="299"/>
                    </a:lnTo>
                    <a:lnTo>
                      <a:pt x="91" y="300"/>
                    </a:lnTo>
                    <a:lnTo>
                      <a:pt x="91" y="300"/>
                    </a:lnTo>
                    <a:lnTo>
                      <a:pt x="91" y="303"/>
                    </a:lnTo>
                    <a:lnTo>
                      <a:pt x="90" y="305"/>
                    </a:lnTo>
                    <a:lnTo>
                      <a:pt x="88" y="306"/>
                    </a:lnTo>
                    <a:lnTo>
                      <a:pt x="85" y="305"/>
                    </a:lnTo>
                    <a:lnTo>
                      <a:pt x="85" y="305"/>
                    </a:lnTo>
                    <a:lnTo>
                      <a:pt x="72" y="302"/>
                    </a:lnTo>
                    <a:lnTo>
                      <a:pt x="65" y="299"/>
                    </a:lnTo>
                    <a:lnTo>
                      <a:pt x="59" y="294"/>
                    </a:lnTo>
                    <a:lnTo>
                      <a:pt x="59" y="294"/>
                    </a:lnTo>
                    <a:lnTo>
                      <a:pt x="56" y="293"/>
                    </a:lnTo>
                    <a:lnTo>
                      <a:pt x="52" y="292"/>
                    </a:lnTo>
                    <a:lnTo>
                      <a:pt x="49" y="289"/>
                    </a:lnTo>
                    <a:lnTo>
                      <a:pt x="46" y="287"/>
                    </a:lnTo>
                    <a:lnTo>
                      <a:pt x="46" y="287"/>
                    </a:lnTo>
                    <a:lnTo>
                      <a:pt x="43" y="283"/>
                    </a:lnTo>
                    <a:lnTo>
                      <a:pt x="40" y="280"/>
                    </a:lnTo>
                    <a:lnTo>
                      <a:pt x="40" y="280"/>
                    </a:lnTo>
                    <a:lnTo>
                      <a:pt x="32" y="274"/>
                    </a:lnTo>
                    <a:lnTo>
                      <a:pt x="29" y="270"/>
                    </a:lnTo>
                    <a:lnTo>
                      <a:pt x="29" y="268"/>
                    </a:lnTo>
                    <a:lnTo>
                      <a:pt x="30" y="267"/>
                    </a:lnTo>
                    <a:lnTo>
                      <a:pt x="30" y="267"/>
                    </a:lnTo>
                    <a:lnTo>
                      <a:pt x="39" y="266"/>
                    </a:lnTo>
                    <a:lnTo>
                      <a:pt x="42" y="264"/>
                    </a:lnTo>
                    <a:lnTo>
                      <a:pt x="43" y="261"/>
                    </a:lnTo>
                    <a:lnTo>
                      <a:pt x="43" y="261"/>
                    </a:lnTo>
                    <a:lnTo>
                      <a:pt x="43" y="258"/>
                    </a:lnTo>
                    <a:lnTo>
                      <a:pt x="40" y="257"/>
                    </a:lnTo>
                    <a:lnTo>
                      <a:pt x="36" y="251"/>
                    </a:lnTo>
                    <a:lnTo>
                      <a:pt x="36" y="251"/>
                    </a:lnTo>
                    <a:lnTo>
                      <a:pt x="32" y="245"/>
                    </a:lnTo>
                    <a:lnTo>
                      <a:pt x="26" y="238"/>
                    </a:lnTo>
                    <a:lnTo>
                      <a:pt x="26" y="238"/>
                    </a:lnTo>
                    <a:lnTo>
                      <a:pt x="24" y="235"/>
                    </a:lnTo>
                    <a:lnTo>
                      <a:pt x="24" y="232"/>
                    </a:lnTo>
                    <a:lnTo>
                      <a:pt x="26" y="229"/>
                    </a:lnTo>
                    <a:lnTo>
                      <a:pt x="30" y="228"/>
                    </a:lnTo>
                    <a:lnTo>
                      <a:pt x="30" y="228"/>
                    </a:lnTo>
                    <a:lnTo>
                      <a:pt x="45" y="225"/>
                    </a:lnTo>
                    <a:lnTo>
                      <a:pt x="56" y="224"/>
                    </a:lnTo>
                    <a:lnTo>
                      <a:pt x="56" y="224"/>
                    </a:lnTo>
                    <a:lnTo>
                      <a:pt x="66" y="225"/>
                    </a:lnTo>
                    <a:lnTo>
                      <a:pt x="76" y="225"/>
                    </a:lnTo>
                    <a:lnTo>
                      <a:pt x="76" y="225"/>
                    </a:lnTo>
                    <a:lnTo>
                      <a:pt x="79" y="225"/>
                    </a:lnTo>
                    <a:lnTo>
                      <a:pt x="84" y="225"/>
                    </a:lnTo>
                    <a:lnTo>
                      <a:pt x="84" y="225"/>
                    </a:lnTo>
                    <a:lnTo>
                      <a:pt x="94" y="226"/>
                    </a:lnTo>
                    <a:lnTo>
                      <a:pt x="98" y="226"/>
                    </a:lnTo>
                    <a:lnTo>
                      <a:pt x="100" y="226"/>
                    </a:lnTo>
                    <a:lnTo>
                      <a:pt x="100" y="226"/>
                    </a:lnTo>
                    <a:lnTo>
                      <a:pt x="97" y="224"/>
                    </a:lnTo>
                    <a:lnTo>
                      <a:pt x="92" y="222"/>
                    </a:lnTo>
                    <a:lnTo>
                      <a:pt x="87" y="219"/>
                    </a:lnTo>
                    <a:lnTo>
                      <a:pt x="82" y="218"/>
                    </a:lnTo>
                    <a:lnTo>
                      <a:pt x="82" y="218"/>
                    </a:lnTo>
                    <a:lnTo>
                      <a:pt x="71" y="219"/>
                    </a:lnTo>
                    <a:lnTo>
                      <a:pt x="65" y="219"/>
                    </a:lnTo>
                    <a:lnTo>
                      <a:pt x="63" y="218"/>
                    </a:lnTo>
                    <a:lnTo>
                      <a:pt x="63" y="218"/>
                    </a:lnTo>
                    <a:lnTo>
                      <a:pt x="66" y="213"/>
                    </a:lnTo>
                    <a:lnTo>
                      <a:pt x="69" y="212"/>
                    </a:lnTo>
                    <a:lnTo>
                      <a:pt x="74" y="212"/>
                    </a:lnTo>
                    <a:lnTo>
                      <a:pt x="74" y="212"/>
                    </a:lnTo>
                    <a:lnTo>
                      <a:pt x="85" y="210"/>
                    </a:lnTo>
                    <a:lnTo>
                      <a:pt x="92" y="210"/>
                    </a:lnTo>
                    <a:lnTo>
                      <a:pt x="97" y="212"/>
                    </a:lnTo>
                    <a:lnTo>
                      <a:pt x="97" y="212"/>
                    </a:lnTo>
                    <a:lnTo>
                      <a:pt x="98" y="212"/>
                    </a:lnTo>
                    <a:lnTo>
                      <a:pt x="101" y="212"/>
                    </a:lnTo>
                    <a:lnTo>
                      <a:pt x="105" y="209"/>
                    </a:lnTo>
                    <a:lnTo>
                      <a:pt x="105" y="209"/>
                    </a:lnTo>
                    <a:lnTo>
                      <a:pt x="107" y="206"/>
                    </a:lnTo>
                    <a:lnTo>
                      <a:pt x="110" y="203"/>
                    </a:lnTo>
                    <a:lnTo>
                      <a:pt x="110" y="199"/>
                    </a:lnTo>
                    <a:lnTo>
                      <a:pt x="110" y="195"/>
                    </a:lnTo>
                    <a:lnTo>
                      <a:pt x="110" y="195"/>
                    </a:lnTo>
                    <a:lnTo>
                      <a:pt x="107" y="190"/>
                    </a:lnTo>
                    <a:lnTo>
                      <a:pt x="105" y="189"/>
                    </a:lnTo>
                    <a:lnTo>
                      <a:pt x="103" y="189"/>
                    </a:lnTo>
                    <a:lnTo>
                      <a:pt x="103" y="189"/>
                    </a:lnTo>
                    <a:lnTo>
                      <a:pt x="101" y="189"/>
                    </a:lnTo>
                    <a:lnTo>
                      <a:pt x="98" y="186"/>
                    </a:lnTo>
                    <a:lnTo>
                      <a:pt x="95" y="184"/>
                    </a:lnTo>
                    <a:lnTo>
                      <a:pt x="94" y="184"/>
                    </a:lnTo>
                    <a:lnTo>
                      <a:pt x="94" y="186"/>
                    </a:lnTo>
                    <a:lnTo>
                      <a:pt x="94" y="186"/>
                    </a:lnTo>
                    <a:lnTo>
                      <a:pt x="88" y="193"/>
                    </a:lnTo>
                    <a:lnTo>
                      <a:pt x="84" y="197"/>
                    </a:lnTo>
                    <a:lnTo>
                      <a:pt x="78" y="199"/>
                    </a:lnTo>
                    <a:lnTo>
                      <a:pt x="78" y="199"/>
                    </a:lnTo>
                    <a:lnTo>
                      <a:pt x="76" y="199"/>
                    </a:lnTo>
                    <a:lnTo>
                      <a:pt x="74" y="197"/>
                    </a:lnTo>
                    <a:lnTo>
                      <a:pt x="69" y="193"/>
                    </a:lnTo>
                    <a:lnTo>
                      <a:pt x="66" y="190"/>
                    </a:lnTo>
                    <a:lnTo>
                      <a:pt x="66" y="190"/>
                    </a:lnTo>
                    <a:lnTo>
                      <a:pt x="66" y="190"/>
                    </a:lnTo>
                    <a:lnTo>
                      <a:pt x="66" y="190"/>
                    </a:lnTo>
                    <a:lnTo>
                      <a:pt x="63" y="195"/>
                    </a:lnTo>
                    <a:lnTo>
                      <a:pt x="62" y="197"/>
                    </a:lnTo>
                    <a:lnTo>
                      <a:pt x="61" y="199"/>
                    </a:lnTo>
                    <a:lnTo>
                      <a:pt x="61" y="199"/>
                    </a:lnTo>
                    <a:lnTo>
                      <a:pt x="56" y="199"/>
                    </a:lnTo>
                    <a:lnTo>
                      <a:pt x="50" y="199"/>
                    </a:lnTo>
                    <a:lnTo>
                      <a:pt x="45" y="196"/>
                    </a:lnTo>
                    <a:lnTo>
                      <a:pt x="42" y="195"/>
                    </a:lnTo>
                    <a:lnTo>
                      <a:pt x="42" y="195"/>
                    </a:lnTo>
                    <a:lnTo>
                      <a:pt x="42" y="193"/>
                    </a:lnTo>
                    <a:lnTo>
                      <a:pt x="42" y="193"/>
                    </a:lnTo>
                    <a:lnTo>
                      <a:pt x="45" y="192"/>
                    </a:lnTo>
                    <a:lnTo>
                      <a:pt x="49" y="192"/>
                    </a:lnTo>
                    <a:lnTo>
                      <a:pt x="50" y="190"/>
                    </a:lnTo>
                    <a:lnTo>
                      <a:pt x="50" y="189"/>
                    </a:lnTo>
                    <a:lnTo>
                      <a:pt x="50" y="189"/>
                    </a:lnTo>
                    <a:lnTo>
                      <a:pt x="50" y="184"/>
                    </a:lnTo>
                    <a:lnTo>
                      <a:pt x="49" y="184"/>
                    </a:lnTo>
                    <a:lnTo>
                      <a:pt x="46" y="184"/>
                    </a:lnTo>
                    <a:lnTo>
                      <a:pt x="46" y="184"/>
                    </a:lnTo>
                    <a:lnTo>
                      <a:pt x="39" y="187"/>
                    </a:lnTo>
                    <a:lnTo>
                      <a:pt x="34" y="187"/>
                    </a:lnTo>
                    <a:lnTo>
                      <a:pt x="34" y="187"/>
                    </a:lnTo>
                    <a:lnTo>
                      <a:pt x="33" y="186"/>
                    </a:lnTo>
                    <a:lnTo>
                      <a:pt x="33" y="186"/>
                    </a:lnTo>
                    <a:lnTo>
                      <a:pt x="34" y="183"/>
                    </a:lnTo>
                    <a:lnTo>
                      <a:pt x="37" y="179"/>
                    </a:lnTo>
                    <a:lnTo>
                      <a:pt x="40" y="176"/>
                    </a:lnTo>
                    <a:lnTo>
                      <a:pt x="40" y="176"/>
                    </a:lnTo>
                    <a:lnTo>
                      <a:pt x="40" y="176"/>
                    </a:lnTo>
                    <a:lnTo>
                      <a:pt x="40" y="176"/>
                    </a:lnTo>
                    <a:lnTo>
                      <a:pt x="32" y="179"/>
                    </a:lnTo>
                    <a:lnTo>
                      <a:pt x="26" y="180"/>
                    </a:lnTo>
                    <a:lnTo>
                      <a:pt x="21" y="180"/>
                    </a:lnTo>
                    <a:lnTo>
                      <a:pt x="21" y="180"/>
                    </a:lnTo>
                    <a:lnTo>
                      <a:pt x="21" y="179"/>
                    </a:lnTo>
                    <a:lnTo>
                      <a:pt x="21" y="176"/>
                    </a:lnTo>
                    <a:lnTo>
                      <a:pt x="23" y="173"/>
                    </a:lnTo>
                    <a:lnTo>
                      <a:pt x="21" y="171"/>
                    </a:lnTo>
                    <a:lnTo>
                      <a:pt x="20" y="171"/>
                    </a:lnTo>
                    <a:lnTo>
                      <a:pt x="20" y="171"/>
                    </a:lnTo>
                    <a:lnTo>
                      <a:pt x="17" y="171"/>
                    </a:lnTo>
                    <a:lnTo>
                      <a:pt x="13" y="170"/>
                    </a:lnTo>
                    <a:lnTo>
                      <a:pt x="10" y="167"/>
                    </a:lnTo>
                    <a:lnTo>
                      <a:pt x="10" y="164"/>
                    </a:lnTo>
                    <a:lnTo>
                      <a:pt x="10" y="164"/>
                    </a:lnTo>
                    <a:lnTo>
                      <a:pt x="8" y="163"/>
                    </a:lnTo>
                    <a:lnTo>
                      <a:pt x="8" y="161"/>
                    </a:lnTo>
                    <a:lnTo>
                      <a:pt x="6" y="160"/>
                    </a:lnTo>
                    <a:lnTo>
                      <a:pt x="1" y="158"/>
                    </a:lnTo>
                    <a:lnTo>
                      <a:pt x="1" y="157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0"/>
                    </a:lnTo>
                    <a:lnTo>
                      <a:pt x="4" y="147"/>
                    </a:lnTo>
                    <a:lnTo>
                      <a:pt x="4" y="144"/>
                    </a:lnTo>
                    <a:lnTo>
                      <a:pt x="4" y="141"/>
                    </a:lnTo>
                    <a:lnTo>
                      <a:pt x="4" y="141"/>
                    </a:lnTo>
                    <a:lnTo>
                      <a:pt x="1" y="138"/>
                    </a:lnTo>
                    <a:lnTo>
                      <a:pt x="3" y="134"/>
                    </a:lnTo>
                    <a:lnTo>
                      <a:pt x="4" y="129"/>
                    </a:lnTo>
                    <a:lnTo>
                      <a:pt x="7" y="126"/>
                    </a:lnTo>
                    <a:lnTo>
                      <a:pt x="7" y="126"/>
                    </a:lnTo>
                    <a:lnTo>
                      <a:pt x="10" y="124"/>
                    </a:lnTo>
                    <a:lnTo>
                      <a:pt x="11" y="121"/>
                    </a:lnTo>
                    <a:lnTo>
                      <a:pt x="14" y="118"/>
                    </a:lnTo>
                    <a:lnTo>
                      <a:pt x="19" y="115"/>
                    </a:lnTo>
                    <a:lnTo>
                      <a:pt x="19" y="115"/>
                    </a:lnTo>
                    <a:lnTo>
                      <a:pt x="21" y="113"/>
                    </a:lnTo>
                    <a:lnTo>
                      <a:pt x="24" y="115"/>
                    </a:lnTo>
                    <a:lnTo>
                      <a:pt x="26" y="113"/>
                    </a:lnTo>
                    <a:lnTo>
                      <a:pt x="30" y="112"/>
                    </a:lnTo>
                    <a:lnTo>
                      <a:pt x="30" y="112"/>
                    </a:lnTo>
                    <a:lnTo>
                      <a:pt x="36" y="106"/>
                    </a:lnTo>
                    <a:lnTo>
                      <a:pt x="39" y="103"/>
                    </a:lnTo>
                    <a:lnTo>
                      <a:pt x="43" y="103"/>
                    </a:lnTo>
                    <a:lnTo>
                      <a:pt x="43" y="103"/>
                    </a:lnTo>
                    <a:lnTo>
                      <a:pt x="49" y="103"/>
                    </a:lnTo>
                    <a:lnTo>
                      <a:pt x="53" y="102"/>
                    </a:lnTo>
                    <a:lnTo>
                      <a:pt x="56" y="99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2"/>
                    </a:lnTo>
                    <a:lnTo>
                      <a:pt x="55" y="89"/>
                    </a:lnTo>
                    <a:lnTo>
                      <a:pt x="55" y="87"/>
                    </a:lnTo>
                    <a:lnTo>
                      <a:pt x="59" y="84"/>
                    </a:lnTo>
                    <a:lnTo>
                      <a:pt x="59" y="84"/>
                    </a:lnTo>
                    <a:lnTo>
                      <a:pt x="65" y="82"/>
                    </a:lnTo>
                    <a:lnTo>
                      <a:pt x="71" y="80"/>
                    </a:lnTo>
                    <a:lnTo>
                      <a:pt x="78" y="79"/>
                    </a:lnTo>
                    <a:lnTo>
                      <a:pt x="78" y="79"/>
                    </a:lnTo>
                    <a:lnTo>
                      <a:pt x="84" y="76"/>
                    </a:lnTo>
                    <a:lnTo>
                      <a:pt x="88" y="74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8" y="77"/>
                    </a:lnTo>
                    <a:lnTo>
                      <a:pt x="103" y="77"/>
                    </a:lnTo>
                    <a:lnTo>
                      <a:pt x="105" y="77"/>
                    </a:lnTo>
                    <a:lnTo>
                      <a:pt x="105" y="77"/>
                    </a:lnTo>
                    <a:lnTo>
                      <a:pt x="114" y="63"/>
                    </a:lnTo>
                    <a:lnTo>
                      <a:pt x="120" y="51"/>
                    </a:lnTo>
                    <a:lnTo>
                      <a:pt x="121" y="47"/>
                    </a:lnTo>
                    <a:lnTo>
                      <a:pt x="121" y="42"/>
                    </a:lnTo>
                    <a:lnTo>
                      <a:pt x="121" y="42"/>
                    </a:lnTo>
                    <a:lnTo>
                      <a:pt x="121" y="37"/>
                    </a:lnTo>
                    <a:lnTo>
                      <a:pt x="120" y="34"/>
                    </a:lnTo>
                    <a:lnTo>
                      <a:pt x="117" y="28"/>
                    </a:lnTo>
                    <a:lnTo>
                      <a:pt x="117" y="28"/>
                    </a:lnTo>
                    <a:lnTo>
                      <a:pt x="117" y="24"/>
                    </a:lnTo>
                    <a:lnTo>
                      <a:pt x="118" y="21"/>
                    </a:lnTo>
                    <a:lnTo>
                      <a:pt x="120" y="18"/>
                    </a:lnTo>
                    <a:lnTo>
                      <a:pt x="121" y="16"/>
                    </a:lnTo>
                    <a:lnTo>
                      <a:pt x="121" y="16"/>
                    </a:lnTo>
                    <a:lnTo>
                      <a:pt x="127" y="16"/>
                    </a:lnTo>
                    <a:lnTo>
                      <a:pt x="130" y="15"/>
                    </a:lnTo>
                    <a:lnTo>
                      <a:pt x="129" y="13"/>
                    </a:lnTo>
                    <a:lnTo>
                      <a:pt x="129" y="13"/>
                    </a:lnTo>
                    <a:lnTo>
                      <a:pt x="126" y="11"/>
                    </a:lnTo>
                    <a:lnTo>
                      <a:pt x="123" y="9"/>
                    </a:lnTo>
                    <a:lnTo>
                      <a:pt x="118" y="6"/>
                    </a:lnTo>
                    <a:lnTo>
                      <a:pt x="118" y="3"/>
                    </a:lnTo>
                    <a:lnTo>
                      <a:pt x="117" y="0"/>
                    </a:lnTo>
                    <a:lnTo>
                      <a:pt x="835" y="0"/>
                    </a:lnTo>
                    <a:lnTo>
                      <a:pt x="835" y="0"/>
                    </a:lnTo>
                    <a:lnTo>
                      <a:pt x="837" y="6"/>
                    </a:lnTo>
                    <a:lnTo>
                      <a:pt x="837" y="11"/>
                    </a:lnTo>
                    <a:lnTo>
                      <a:pt x="834" y="16"/>
                    </a:lnTo>
                    <a:lnTo>
                      <a:pt x="834" y="16"/>
                    </a:lnTo>
                    <a:lnTo>
                      <a:pt x="832" y="19"/>
                    </a:lnTo>
                    <a:lnTo>
                      <a:pt x="834" y="24"/>
                    </a:lnTo>
                    <a:lnTo>
                      <a:pt x="837" y="27"/>
                    </a:lnTo>
                    <a:lnTo>
                      <a:pt x="838" y="28"/>
                    </a:lnTo>
                    <a:lnTo>
                      <a:pt x="838" y="28"/>
                    </a:lnTo>
                    <a:lnTo>
                      <a:pt x="841" y="28"/>
                    </a:lnTo>
                    <a:lnTo>
                      <a:pt x="844" y="27"/>
                    </a:lnTo>
                    <a:lnTo>
                      <a:pt x="846" y="24"/>
                    </a:lnTo>
                    <a:lnTo>
                      <a:pt x="844" y="22"/>
                    </a:lnTo>
                    <a:lnTo>
                      <a:pt x="844" y="22"/>
                    </a:lnTo>
                    <a:lnTo>
                      <a:pt x="843" y="19"/>
                    </a:lnTo>
                    <a:lnTo>
                      <a:pt x="843" y="15"/>
                    </a:lnTo>
                    <a:lnTo>
                      <a:pt x="844" y="0"/>
                    </a:lnTo>
                    <a:lnTo>
                      <a:pt x="882" y="0"/>
                    </a:lnTo>
                    <a:lnTo>
                      <a:pt x="882" y="0"/>
                    </a:lnTo>
                    <a:lnTo>
                      <a:pt x="882" y="8"/>
                    </a:lnTo>
                    <a:lnTo>
                      <a:pt x="882" y="15"/>
                    </a:lnTo>
                    <a:lnTo>
                      <a:pt x="877" y="27"/>
                    </a:lnTo>
                    <a:lnTo>
                      <a:pt x="877" y="27"/>
                    </a:lnTo>
                    <a:lnTo>
                      <a:pt x="876" y="28"/>
                    </a:lnTo>
                    <a:lnTo>
                      <a:pt x="875" y="28"/>
                    </a:lnTo>
                    <a:lnTo>
                      <a:pt x="870" y="29"/>
                    </a:lnTo>
                    <a:lnTo>
                      <a:pt x="864" y="29"/>
                    </a:lnTo>
                    <a:lnTo>
                      <a:pt x="860" y="28"/>
                    </a:lnTo>
                    <a:lnTo>
                      <a:pt x="860" y="28"/>
                    </a:lnTo>
                    <a:lnTo>
                      <a:pt x="857" y="28"/>
                    </a:lnTo>
                    <a:lnTo>
                      <a:pt x="853" y="31"/>
                    </a:lnTo>
                    <a:lnTo>
                      <a:pt x="850" y="35"/>
                    </a:lnTo>
                    <a:lnTo>
                      <a:pt x="848" y="40"/>
                    </a:lnTo>
                    <a:lnTo>
                      <a:pt x="848" y="40"/>
                    </a:lnTo>
                    <a:lnTo>
                      <a:pt x="848" y="51"/>
                    </a:lnTo>
                    <a:lnTo>
                      <a:pt x="848" y="64"/>
                    </a:lnTo>
                    <a:lnTo>
                      <a:pt x="848" y="64"/>
                    </a:lnTo>
                    <a:lnTo>
                      <a:pt x="850" y="67"/>
                    </a:lnTo>
                    <a:lnTo>
                      <a:pt x="851" y="69"/>
                    </a:lnTo>
                    <a:lnTo>
                      <a:pt x="854" y="69"/>
                    </a:lnTo>
                    <a:lnTo>
                      <a:pt x="857" y="69"/>
                    </a:lnTo>
                    <a:lnTo>
                      <a:pt x="857" y="69"/>
                    </a:lnTo>
                    <a:lnTo>
                      <a:pt x="857" y="69"/>
                    </a:lnTo>
                    <a:lnTo>
                      <a:pt x="857" y="70"/>
                    </a:lnTo>
                    <a:lnTo>
                      <a:pt x="856" y="74"/>
                    </a:lnTo>
                    <a:lnTo>
                      <a:pt x="850" y="82"/>
                    </a:lnTo>
                    <a:lnTo>
                      <a:pt x="850" y="82"/>
                    </a:lnTo>
                    <a:lnTo>
                      <a:pt x="844" y="86"/>
                    </a:lnTo>
                    <a:lnTo>
                      <a:pt x="843" y="89"/>
                    </a:lnTo>
                    <a:lnTo>
                      <a:pt x="843" y="90"/>
                    </a:lnTo>
                    <a:lnTo>
                      <a:pt x="843" y="90"/>
                    </a:lnTo>
                    <a:lnTo>
                      <a:pt x="844" y="97"/>
                    </a:lnTo>
                    <a:lnTo>
                      <a:pt x="843" y="102"/>
                    </a:lnTo>
                    <a:lnTo>
                      <a:pt x="841" y="105"/>
                    </a:lnTo>
                    <a:lnTo>
                      <a:pt x="841" y="105"/>
                    </a:lnTo>
                    <a:lnTo>
                      <a:pt x="832" y="106"/>
                    </a:lnTo>
                    <a:lnTo>
                      <a:pt x="831" y="108"/>
                    </a:lnTo>
                    <a:lnTo>
                      <a:pt x="830" y="108"/>
                    </a:lnTo>
                    <a:lnTo>
                      <a:pt x="830" y="108"/>
                    </a:lnTo>
                    <a:lnTo>
                      <a:pt x="831" y="111"/>
                    </a:lnTo>
                    <a:lnTo>
                      <a:pt x="830" y="112"/>
                    </a:lnTo>
                    <a:lnTo>
                      <a:pt x="828" y="115"/>
                    </a:lnTo>
                    <a:lnTo>
                      <a:pt x="825" y="118"/>
                    </a:lnTo>
                    <a:lnTo>
                      <a:pt x="825" y="118"/>
                    </a:lnTo>
                    <a:lnTo>
                      <a:pt x="822" y="119"/>
                    </a:lnTo>
                    <a:lnTo>
                      <a:pt x="822" y="121"/>
                    </a:lnTo>
                    <a:lnTo>
                      <a:pt x="827" y="124"/>
                    </a:lnTo>
                    <a:lnTo>
                      <a:pt x="827" y="124"/>
                    </a:lnTo>
                    <a:lnTo>
                      <a:pt x="830" y="124"/>
                    </a:lnTo>
                    <a:lnTo>
                      <a:pt x="830" y="125"/>
                    </a:lnTo>
                    <a:lnTo>
                      <a:pt x="825" y="134"/>
                    </a:lnTo>
                    <a:lnTo>
                      <a:pt x="825" y="134"/>
                    </a:lnTo>
                    <a:lnTo>
                      <a:pt x="822" y="141"/>
                    </a:lnTo>
                    <a:lnTo>
                      <a:pt x="822" y="150"/>
                    </a:lnTo>
                    <a:lnTo>
                      <a:pt x="822" y="164"/>
                    </a:lnTo>
                    <a:lnTo>
                      <a:pt x="822" y="164"/>
                    </a:lnTo>
                    <a:lnTo>
                      <a:pt x="822" y="168"/>
                    </a:lnTo>
                    <a:lnTo>
                      <a:pt x="821" y="173"/>
                    </a:lnTo>
                    <a:lnTo>
                      <a:pt x="818" y="176"/>
                    </a:lnTo>
                    <a:lnTo>
                      <a:pt x="818" y="179"/>
                    </a:lnTo>
                    <a:lnTo>
                      <a:pt x="818" y="179"/>
                    </a:lnTo>
                    <a:lnTo>
                      <a:pt x="817" y="184"/>
                    </a:lnTo>
                    <a:lnTo>
                      <a:pt x="815" y="189"/>
                    </a:lnTo>
                    <a:lnTo>
                      <a:pt x="814" y="193"/>
                    </a:lnTo>
                    <a:lnTo>
                      <a:pt x="815" y="195"/>
                    </a:lnTo>
                    <a:lnTo>
                      <a:pt x="817" y="196"/>
                    </a:lnTo>
                    <a:lnTo>
                      <a:pt x="817" y="196"/>
                    </a:lnTo>
                    <a:lnTo>
                      <a:pt x="818" y="196"/>
                    </a:lnTo>
                    <a:lnTo>
                      <a:pt x="819" y="195"/>
                    </a:lnTo>
                    <a:lnTo>
                      <a:pt x="822" y="187"/>
                    </a:lnTo>
                    <a:lnTo>
                      <a:pt x="827" y="174"/>
                    </a:lnTo>
                    <a:lnTo>
                      <a:pt x="827" y="174"/>
                    </a:lnTo>
                    <a:lnTo>
                      <a:pt x="827" y="174"/>
                    </a:lnTo>
                    <a:lnTo>
                      <a:pt x="828" y="176"/>
                    </a:lnTo>
                    <a:lnTo>
                      <a:pt x="834" y="180"/>
                    </a:lnTo>
                    <a:lnTo>
                      <a:pt x="840" y="184"/>
                    </a:lnTo>
                    <a:lnTo>
                      <a:pt x="846" y="187"/>
                    </a:lnTo>
                    <a:lnTo>
                      <a:pt x="846" y="187"/>
                    </a:lnTo>
                    <a:lnTo>
                      <a:pt x="850" y="190"/>
                    </a:lnTo>
                    <a:lnTo>
                      <a:pt x="854" y="195"/>
                    </a:lnTo>
                    <a:lnTo>
                      <a:pt x="857" y="199"/>
                    </a:lnTo>
                    <a:lnTo>
                      <a:pt x="857" y="200"/>
                    </a:lnTo>
                    <a:lnTo>
                      <a:pt x="856" y="202"/>
                    </a:lnTo>
                    <a:lnTo>
                      <a:pt x="856" y="202"/>
                    </a:lnTo>
                    <a:lnTo>
                      <a:pt x="854" y="203"/>
                    </a:lnTo>
                    <a:lnTo>
                      <a:pt x="853" y="202"/>
                    </a:lnTo>
                    <a:lnTo>
                      <a:pt x="848" y="199"/>
                    </a:lnTo>
                    <a:lnTo>
                      <a:pt x="843" y="195"/>
                    </a:lnTo>
                    <a:lnTo>
                      <a:pt x="838" y="193"/>
                    </a:lnTo>
                    <a:lnTo>
                      <a:pt x="834" y="192"/>
                    </a:lnTo>
                    <a:lnTo>
                      <a:pt x="834" y="192"/>
                    </a:lnTo>
                    <a:lnTo>
                      <a:pt x="831" y="192"/>
                    </a:lnTo>
                    <a:lnTo>
                      <a:pt x="830" y="193"/>
                    </a:lnTo>
                    <a:lnTo>
                      <a:pt x="830" y="195"/>
                    </a:lnTo>
                    <a:lnTo>
                      <a:pt x="830" y="196"/>
                    </a:lnTo>
                    <a:lnTo>
                      <a:pt x="837" y="203"/>
                    </a:lnTo>
                    <a:lnTo>
                      <a:pt x="837" y="203"/>
                    </a:lnTo>
                    <a:lnTo>
                      <a:pt x="838" y="205"/>
                    </a:lnTo>
                    <a:lnTo>
                      <a:pt x="837" y="206"/>
                    </a:lnTo>
                    <a:lnTo>
                      <a:pt x="835" y="206"/>
                    </a:lnTo>
                    <a:lnTo>
                      <a:pt x="832" y="208"/>
                    </a:lnTo>
                    <a:lnTo>
                      <a:pt x="832" y="208"/>
                    </a:lnTo>
                    <a:lnTo>
                      <a:pt x="832" y="208"/>
                    </a:lnTo>
                    <a:lnTo>
                      <a:pt x="834" y="209"/>
                    </a:lnTo>
                    <a:lnTo>
                      <a:pt x="838" y="212"/>
                    </a:lnTo>
                    <a:lnTo>
                      <a:pt x="838" y="212"/>
                    </a:lnTo>
                    <a:lnTo>
                      <a:pt x="840" y="212"/>
                    </a:lnTo>
                    <a:lnTo>
                      <a:pt x="840" y="212"/>
                    </a:lnTo>
                    <a:lnTo>
                      <a:pt x="837" y="213"/>
                    </a:lnTo>
                    <a:lnTo>
                      <a:pt x="835" y="216"/>
                    </a:lnTo>
                    <a:lnTo>
                      <a:pt x="838" y="216"/>
                    </a:lnTo>
                    <a:lnTo>
                      <a:pt x="838" y="216"/>
                    </a:lnTo>
                    <a:lnTo>
                      <a:pt x="843" y="219"/>
                    </a:lnTo>
                    <a:lnTo>
                      <a:pt x="847" y="222"/>
                    </a:lnTo>
                    <a:lnTo>
                      <a:pt x="854" y="228"/>
                    </a:lnTo>
                    <a:lnTo>
                      <a:pt x="854" y="228"/>
                    </a:lnTo>
                    <a:lnTo>
                      <a:pt x="854" y="228"/>
                    </a:lnTo>
                    <a:lnTo>
                      <a:pt x="856" y="228"/>
                    </a:lnTo>
                    <a:lnTo>
                      <a:pt x="856" y="224"/>
                    </a:lnTo>
                    <a:lnTo>
                      <a:pt x="857" y="222"/>
                    </a:lnTo>
                    <a:lnTo>
                      <a:pt x="859" y="221"/>
                    </a:lnTo>
                    <a:lnTo>
                      <a:pt x="861" y="221"/>
                    </a:lnTo>
                    <a:lnTo>
                      <a:pt x="864" y="221"/>
                    </a:lnTo>
                    <a:lnTo>
                      <a:pt x="864" y="221"/>
                    </a:lnTo>
                    <a:lnTo>
                      <a:pt x="869" y="224"/>
                    </a:lnTo>
                    <a:lnTo>
                      <a:pt x="870" y="229"/>
                    </a:lnTo>
                    <a:lnTo>
                      <a:pt x="872" y="235"/>
                    </a:lnTo>
                    <a:lnTo>
                      <a:pt x="873" y="241"/>
                    </a:lnTo>
                    <a:lnTo>
                      <a:pt x="872" y="252"/>
                    </a:lnTo>
                    <a:lnTo>
                      <a:pt x="870" y="258"/>
                    </a:lnTo>
                    <a:lnTo>
                      <a:pt x="870" y="258"/>
                    </a:lnTo>
                    <a:lnTo>
                      <a:pt x="869" y="260"/>
                    </a:lnTo>
                    <a:lnTo>
                      <a:pt x="866" y="260"/>
                    </a:lnTo>
                    <a:lnTo>
                      <a:pt x="860" y="257"/>
                    </a:lnTo>
                    <a:lnTo>
                      <a:pt x="854" y="252"/>
                    </a:lnTo>
                    <a:lnTo>
                      <a:pt x="848" y="251"/>
                    </a:lnTo>
                    <a:lnTo>
                      <a:pt x="848" y="251"/>
                    </a:lnTo>
                    <a:lnTo>
                      <a:pt x="834" y="248"/>
                    </a:lnTo>
                    <a:lnTo>
                      <a:pt x="821" y="245"/>
                    </a:lnTo>
                    <a:lnTo>
                      <a:pt x="821" y="245"/>
                    </a:lnTo>
                    <a:lnTo>
                      <a:pt x="821" y="247"/>
                    </a:lnTo>
                    <a:lnTo>
                      <a:pt x="827" y="248"/>
                    </a:lnTo>
                    <a:lnTo>
                      <a:pt x="832" y="251"/>
                    </a:lnTo>
                    <a:lnTo>
                      <a:pt x="835" y="252"/>
                    </a:lnTo>
                    <a:lnTo>
                      <a:pt x="835" y="252"/>
                    </a:lnTo>
                    <a:lnTo>
                      <a:pt x="832" y="252"/>
                    </a:lnTo>
                    <a:lnTo>
                      <a:pt x="828" y="252"/>
                    </a:lnTo>
                    <a:lnTo>
                      <a:pt x="821" y="252"/>
                    </a:lnTo>
                    <a:lnTo>
                      <a:pt x="821" y="252"/>
                    </a:lnTo>
                    <a:lnTo>
                      <a:pt x="822" y="254"/>
                    </a:lnTo>
                    <a:lnTo>
                      <a:pt x="827" y="257"/>
                    </a:lnTo>
                    <a:lnTo>
                      <a:pt x="831" y="260"/>
                    </a:lnTo>
                    <a:lnTo>
                      <a:pt x="834" y="264"/>
                    </a:lnTo>
                    <a:lnTo>
                      <a:pt x="834" y="264"/>
                    </a:lnTo>
                    <a:lnTo>
                      <a:pt x="832" y="266"/>
                    </a:lnTo>
                    <a:lnTo>
                      <a:pt x="832" y="267"/>
                    </a:lnTo>
                    <a:lnTo>
                      <a:pt x="830" y="268"/>
                    </a:lnTo>
                    <a:lnTo>
                      <a:pt x="828" y="270"/>
                    </a:lnTo>
                    <a:lnTo>
                      <a:pt x="831" y="274"/>
                    </a:lnTo>
                    <a:lnTo>
                      <a:pt x="831" y="274"/>
                    </a:lnTo>
                    <a:lnTo>
                      <a:pt x="838" y="279"/>
                    </a:lnTo>
                    <a:lnTo>
                      <a:pt x="840" y="281"/>
                    </a:lnTo>
                    <a:lnTo>
                      <a:pt x="840" y="284"/>
                    </a:lnTo>
                    <a:lnTo>
                      <a:pt x="840" y="284"/>
                    </a:lnTo>
                    <a:lnTo>
                      <a:pt x="840" y="289"/>
                    </a:lnTo>
                    <a:lnTo>
                      <a:pt x="843" y="292"/>
                    </a:lnTo>
                    <a:lnTo>
                      <a:pt x="847" y="294"/>
                    </a:lnTo>
                    <a:lnTo>
                      <a:pt x="848" y="297"/>
                    </a:lnTo>
                    <a:lnTo>
                      <a:pt x="848" y="297"/>
                    </a:lnTo>
                    <a:lnTo>
                      <a:pt x="848" y="300"/>
                    </a:lnTo>
                    <a:lnTo>
                      <a:pt x="847" y="302"/>
                    </a:lnTo>
                    <a:lnTo>
                      <a:pt x="844" y="305"/>
                    </a:lnTo>
                    <a:lnTo>
                      <a:pt x="835" y="309"/>
                    </a:lnTo>
                    <a:lnTo>
                      <a:pt x="835" y="309"/>
                    </a:lnTo>
                    <a:lnTo>
                      <a:pt x="835" y="309"/>
                    </a:lnTo>
                    <a:lnTo>
                      <a:pt x="835" y="310"/>
                    </a:lnTo>
                    <a:lnTo>
                      <a:pt x="841" y="315"/>
                    </a:lnTo>
                    <a:lnTo>
                      <a:pt x="846" y="319"/>
                    </a:lnTo>
                    <a:lnTo>
                      <a:pt x="847" y="321"/>
                    </a:lnTo>
                    <a:lnTo>
                      <a:pt x="847" y="322"/>
                    </a:lnTo>
                    <a:lnTo>
                      <a:pt x="847" y="322"/>
                    </a:lnTo>
                    <a:lnTo>
                      <a:pt x="846" y="323"/>
                    </a:lnTo>
                    <a:lnTo>
                      <a:pt x="847" y="326"/>
                    </a:lnTo>
                    <a:lnTo>
                      <a:pt x="850" y="332"/>
                    </a:lnTo>
                    <a:lnTo>
                      <a:pt x="850" y="332"/>
                    </a:lnTo>
                    <a:lnTo>
                      <a:pt x="853" y="336"/>
                    </a:lnTo>
                    <a:lnTo>
                      <a:pt x="853" y="345"/>
                    </a:lnTo>
                    <a:lnTo>
                      <a:pt x="853" y="352"/>
                    </a:lnTo>
                    <a:lnTo>
                      <a:pt x="851" y="355"/>
                    </a:lnTo>
                    <a:lnTo>
                      <a:pt x="850" y="357"/>
                    </a:lnTo>
                    <a:lnTo>
                      <a:pt x="850" y="357"/>
                    </a:lnTo>
                    <a:lnTo>
                      <a:pt x="847" y="357"/>
                    </a:lnTo>
                    <a:lnTo>
                      <a:pt x="846" y="357"/>
                    </a:lnTo>
                    <a:lnTo>
                      <a:pt x="843" y="352"/>
                    </a:lnTo>
                    <a:lnTo>
                      <a:pt x="841" y="345"/>
                    </a:lnTo>
                    <a:lnTo>
                      <a:pt x="841" y="345"/>
                    </a:lnTo>
                    <a:lnTo>
                      <a:pt x="840" y="344"/>
                    </a:lnTo>
                    <a:lnTo>
                      <a:pt x="838" y="344"/>
                    </a:lnTo>
                    <a:lnTo>
                      <a:pt x="832" y="347"/>
                    </a:lnTo>
                    <a:lnTo>
                      <a:pt x="832" y="347"/>
                    </a:lnTo>
                    <a:lnTo>
                      <a:pt x="832" y="345"/>
                    </a:lnTo>
                    <a:lnTo>
                      <a:pt x="831" y="345"/>
                    </a:lnTo>
                    <a:lnTo>
                      <a:pt x="827" y="341"/>
                    </a:lnTo>
                    <a:lnTo>
                      <a:pt x="824" y="336"/>
                    </a:lnTo>
                    <a:lnTo>
                      <a:pt x="822" y="336"/>
                    </a:lnTo>
                    <a:lnTo>
                      <a:pt x="819" y="338"/>
                    </a:lnTo>
                    <a:lnTo>
                      <a:pt x="819" y="338"/>
                    </a:lnTo>
                    <a:lnTo>
                      <a:pt x="819" y="339"/>
                    </a:lnTo>
                    <a:lnTo>
                      <a:pt x="819" y="342"/>
                    </a:lnTo>
                    <a:lnTo>
                      <a:pt x="822" y="348"/>
                    </a:lnTo>
                    <a:lnTo>
                      <a:pt x="827" y="354"/>
                    </a:lnTo>
                    <a:lnTo>
                      <a:pt x="830" y="358"/>
                    </a:lnTo>
                    <a:lnTo>
                      <a:pt x="830" y="358"/>
                    </a:lnTo>
                    <a:lnTo>
                      <a:pt x="830" y="360"/>
                    </a:lnTo>
                    <a:lnTo>
                      <a:pt x="828" y="361"/>
                    </a:lnTo>
                    <a:lnTo>
                      <a:pt x="824" y="361"/>
                    </a:lnTo>
                    <a:lnTo>
                      <a:pt x="819" y="361"/>
                    </a:lnTo>
                    <a:lnTo>
                      <a:pt x="815" y="361"/>
                    </a:lnTo>
                    <a:lnTo>
                      <a:pt x="815" y="361"/>
                    </a:lnTo>
                    <a:lnTo>
                      <a:pt x="815" y="363"/>
                    </a:lnTo>
                    <a:lnTo>
                      <a:pt x="815" y="364"/>
                    </a:lnTo>
                    <a:lnTo>
                      <a:pt x="818" y="365"/>
                    </a:lnTo>
                    <a:lnTo>
                      <a:pt x="828" y="367"/>
                    </a:lnTo>
                    <a:lnTo>
                      <a:pt x="828" y="367"/>
                    </a:lnTo>
                    <a:lnTo>
                      <a:pt x="830" y="368"/>
                    </a:lnTo>
                    <a:lnTo>
                      <a:pt x="830" y="371"/>
                    </a:lnTo>
                    <a:lnTo>
                      <a:pt x="830" y="378"/>
                    </a:lnTo>
                    <a:lnTo>
                      <a:pt x="830" y="384"/>
                    </a:lnTo>
                    <a:lnTo>
                      <a:pt x="831" y="390"/>
                    </a:lnTo>
                    <a:lnTo>
                      <a:pt x="831" y="390"/>
                    </a:lnTo>
                    <a:lnTo>
                      <a:pt x="834" y="392"/>
                    </a:lnTo>
                    <a:lnTo>
                      <a:pt x="837" y="393"/>
                    </a:lnTo>
                    <a:lnTo>
                      <a:pt x="841" y="393"/>
                    </a:lnTo>
                    <a:lnTo>
                      <a:pt x="846" y="393"/>
                    </a:lnTo>
                    <a:lnTo>
                      <a:pt x="846" y="393"/>
                    </a:lnTo>
                    <a:lnTo>
                      <a:pt x="850" y="392"/>
                    </a:lnTo>
                    <a:lnTo>
                      <a:pt x="853" y="393"/>
                    </a:lnTo>
                    <a:lnTo>
                      <a:pt x="854" y="396"/>
                    </a:lnTo>
                    <a:lnTo>
                      <a:pt x="856" y="399"/>
                    </a:lnTo>
                    <a:lnTo>
                      <a:pt x="856" y="399"/>
                    </a:lnTo>
                    <a:lnTo>
                      <a:pt x="857" y="403"/>
                    </a:lnTo>
                    <a:lnTo>
                      <a:pt x="857" y="406"/>
                    </a:lnTo>
                    <a:lnTo>
                      <a:pt x="854" y="407"/>
                    </a:lnTo>
                    <a:lnTo>
                      <a:pt x="850" y="409"/>
                    </a:lnTo>
                    <a:lnTo>
                      <a:pt x="850" y="409"/>
                    </a:lnTo>
                    <a:lnTo>
                      <a:pt x="846" y="407"/>
                    </a:lnTo>
                    <a:lnTo>
                      <a:pt x="840" y="405"/>
                    </a:lnTo>
                    <a:lnTo>
                      <a:pt x="837" y="403"/>
                    </a:lnTo>
                    <a:lnTo>
                      <a:pt x="835" y="402"/>
                    </a:lnTo>
                    <a:lnTo>
                      <a:pt x="834" y="402"/>
                    </a:lnTo>
                    <a:lnTo>
                      <a:pt x="834" y="402"/>
                    </a:lnTo>
                    <a:lnTo>
                      <a:pt x="832" y="403"/>
                    </a:lnTo>
                    <a:lnTo>
                      <a:pt x="832" y="405"/>
                    </a:lnTo>
                    <a:lnTo>
                      <a:pt x="835" y="406"/>
                    </a:lnTo>
                    <a:lnTo>
                      <a:pt x="838" y="410"/>
                    </a:lnTo>
                    <a:lnTo>
                      <a:pt x="841" y="415"/>
                    </a:lnTo>
                    <a:lnTo>
                      <a:pt x="841" y="415"/>
                    </a:lnTo>
                    <a:lnTo>
                      <a:pt x="843" y="416"/>
                    </a:lnTo>
                    <a:lnTo>
                      <a:pt x="843" y="418"/>
                    </a:lnTo>
                    <a:lnTo>
                      <a:pt x="838" y="416"/>
                    </a:lnTo>
                    <a:lnTo>
                      <a:pt x="834" y="415"/>
                    </a:lnTo>
                    <a:lnTo>
                      <a:pt x="828" y="415"/>
                    </a:lnTo>
                    <a:lnTo>
                      <a:pt x="828" y="415"/>
                    </a:lnTo>
                    <a:lnTo>
                      <a:pt x="825" y="416"/>
                    </a:lnTo>
                    <a:lnTo>
                      <a:pt x="827" y="418"/>
                    </a:lnTo>
                    <a:lnTo>
                      <a:pt x="830" y="419"/>
                    </a:lnTo>
                    <a:lnTo>
                      <a:pt x="831" y="422"/>
                    </a:lnTo>
                    <a:lnTo>
                      <a:pt x="831" y="422"/>
                    </a:lnTo>
                    <a:lnTo>
                      <a:pt x="831" y="423"/>
                    </a:lnTo>
                    <a:lnTo>
                      <a:pt x="830" y="423"/>
                    </a:lnTo>
                    <a:lnTo>
                      <a:pt x="824" y="421"/>
                    </a:lnTo>
                    <a:lnTo>
                      <a:pt x="817" y="416"/>
                    </a:lnTo>
                    <a:lnTo>
                      <a:pt x="817" y="416"/>
                    </a:lnTo>
                    <a:lnTo>
                      <a:pt x="817" y="413"/>
                    </a:lnTo>
                    <a:lnTo>
                      <a:pt x="818" y="410"/>
                    </a:lnTo>
                    <a:lnTo>
                      <a:pt x="824" y="403"/>
                    </a:lnTo>
                    <a:lnTo>
                      <a:pt x="824" y="403"/>
                    </a:lnTo>
                    <a:lnTo>
                      <a:pt x="825" y="402"/>
                    </a:lnTo>
                    <a:lnTo>
                      <a:pt x="824" y="400"/>
                    </a:lnTo>
                    <a:lnTo>
                      <a:pt x="822" y="399"/>
                    </a:lnTo>
                    <a:lnTo>
                      <a:pt x="819" y="400"/>
                    </a:lnTo>
                    <a:lnTo>
                      <a:pt x="819" y="400"/>
                    </a:lnTo>
                    <a:lnTo>
                      <a:pt x="817" y="400"/>
                    </a:lnTo>
                    <a:lnTo>
                      <a:pt x="815" y="400"/>
                    </a:lnTo>
                    <a:lnTo>
                      <a:pt x="811" y="396"/>
                    </a:lnTo>
                    <a:lnTo>
                      <a:pt x="811" y="396"/>
                    </a:lnTo>
                    <a:lnTo>
                      <a:pt x="808" y="394"/>
                    </a:lnTo>
                    <a:lnTo>
                      <a:pt x="805" y="394"/>
                    </a:lnTo>
                    <a:lnTo>
                      <a:pt x="805" y="397"/>
                    </a:lnTo>
                    <a:lnTo>
                      <a:pt x="806" y="403"/>
                    </a:lnTo>
                    <a:lnTo>
                      <a:pt x="806" y="403"/>
                    </a:lnTo>
                    <a:lnTo>
                      <a:pt x="809" y="409"/>
                    </a:lnTo>
                    <a:lnTo>
                      <a:pt x="811" y="412"/>
                    </a:lnTo>
                    <a:lnTo>
                      <a:pt x="809" y="413"/>
                    </a:lnTo>
                    <a:lnTo>
                      <a:pt x="806" y="413"/>
                    </a:lnTo>
                    <a:lnTo>
                      <a:pt x="806" y="413"/>
                    </a:lnTo>
                    <a:lnTo>
                      <a:pt x="802" y="413"/>
                    </a:lnTo>
                    <a:lnTo>
                      <a:pt x="798" y="413"/>
                    </a:lnTo>
                    <a:lnTo>
                      <a:pt x="796" y="415"/>
                    </a:lnTo>
                    <a:lnTo>
                      <a:pt x="795" y="418"/>
                    </a:lnTo>
                    <a:lnTo>
                      <a:pt x="795" y="418"/>
                    </a:lnTo>
                    <a:lnTo>
                      <a:pt x="796" y="421"/>
                    </a:lnTo>
                    <a:lnTo>
                      <a:pt x="799" y="422"/>
                    </a:lnTo>
                    <a:lnTo>
                      <a:pt x="805" y="423"/>
                    </a:lnTo>
                    <a:lnTo>
                      <a:pt x="818" y="425"/>
                    </a:lnTo>
                    <a:lnTo>
                      <a:pt x="818" y="425"/>
                    </a:lnTo>
                    <a:lnTo>
                      <a:pt x="831" y="429"/>
                    </a:lnTo>
                    <a:lnTo>
                      <a:pt x="835" y="431"/>
                    </a:lnTo>
                    <a:lnTo>
                      <a:pt x="837" y="432"/>
                    </a:lnTo>
                    <a:lnTo>
                      <a:pt x="835" y="432"/>
                    </a:lnTo>
                    <a:lnTo>
                      <a:pt x="835" y="432"/>
                    </a:lnTo>
                    <a:lnTo>
                      <a:pt x="834" y="436"/>
                    </a:lnTo>
                    <a:lnTo>
                      <a:pt x="834" y="442"/>
                    </a:lnTo>
                    <a:lnTo>
                      <a:pt x="834" y="449"/>
                    </a:lnTo>
                    <a:lnTo>
                      <a:pt x="837" y="455"/>
                    </a:lnTo>
                    <a:lnTo>
                      <a:pt x="837" y="455"/>
                    </a:lnTo>
                    <a:lnTo>
                      <a:pt x="837" y="457"/>
                    </a:lnTo>
                    <a:lnTo>
                      <a:pt x="835" y="457"/>
                    </a:lnTo>
                    <a:lnTo>
                      <a:pt x="832" y="457"/>
                    </a:lnTo>
                    <a:lnTo>
                      <a:pt x="822" y="455"/>
                    </a:lnTo>
                    <a:lnTo>
                      <a:pt x="822" y="455"/>
                    </a:lnTo>
                    <a:lnTo>
                      <a:pt x="821" y="455"/>
                    </a:lnTo>
                    <a:lnTo>
                      <a:pt x="819" y="457"/>
                    </a:lnTo>
                    <a:lnTo>
                      <a:pt x="817" y="460"/>
                    </a:lnTo>
                    <a:lnTo>
                      <a:pt x="817" y="460"/>
                    </a:lnTo>
                    <a:lnTo>
                      <a:pt x="817" y="460"/>
                    </a:lnTo>
                    <a:lnTo>
                      <a:pt x="815" y="460"/>
                    </a:lnTo>
                    <a:lnTo>
                      <a:pt x="809" y="457"/>
                    </a:lnTo>
                    <a:lnTo>
                      <a:pt x="809" y="457"/>
                    </a:lnTo>
                    <a:lnTo>
                      <a:pt x="808" y="457"/>
                    </a:lnTo>
                    <a:lnTo>
                      <a:pt x="806" y="458"/>
                    </a:lnTo>
                    <a:lnTo>
                      <a:pt x="805" y="464"/>
                    </a:lnTo>
                    <a:lnTo>
                      <a:pt x="805" y="464"/>
                    </a:lnTo>
                    <a:lnTo>
                      <a:pt x="804" y="464"/>
                    </a:lnTo>
                    <a:lnTo>
                      <a:pt x="802" y="464"/>
                    </a:lnTo>
                    <a:lnTo>
                      <a:pt x="798" y="460"/>
                    </a:lnTo>
                    <a:lnTo>
                      <a:pt x="792" y="455"/>
                    </a:lnTo>
                    <a:lnTo>
                      <a:pt x="786" y="451"/>
                    </a:lnTo>
                    <a:lnTo>
                      <a:pt x="786" y="451"/>
                    </a:lnTo>
                    <a:lnTo>
                      <a:pt x="783" y="449"/>
                    </a:lnTo>
                    <a:lnTo>
                      <a:pt x="780" y="445"/>
                    </a:lnTo>
                    <a:lnTo>
                      <a:pt x="779" y="444"/>
                    </a:lnTo>
                    <a:lnTo>
                      <a:pt x="779" y="441"/>
                    </a:lnTo>
                    <a:lnTo>
                      <a:pt x="779" y="441"/>
                    </a:lnTo>
                    <a:lnTo>
                      <a:pt x="782" y="441"/>
                    </a:lnTo>
                    <a:lnTo>
                      <a:pt x="786" y="441"/>
                    </a:lnTo>
                    <a:lnTo>
                      <a:pt x="796" y="442"/>
                    </a:lnTo>
                    <a:lnTo>
                      <a:pt x="796" y="442"/>
                    </a:lnTo>
                    <a:lnTo>
                      <a:pt x="796" y="442"/>
                    </a:lnTo>
                    <a:lnTo>
                      <a:pt x="795" y="441"/>
                    </a:lnTo>
                    <a:lnTo>
                      <a:pt x="788" y="436"/>
                    </a:lnTo>
                    <a:lnTo>
                      <a:pt x="779" y="434"/>
                    </a:lnTo>
                    <a:lnTo>
                      <a:pt x="772" y="432"/>
                    </a:lnTo>
                    <a:lnTo>
                      <a:pt x="772" y="432"/>
                    </a:lnTo>
                    <a:lnTo>
                      <a:pt x="769" y="432"/>
                    </a:lnTo>
                    <a:lnTo>
                      <a:pt x="769" y="432"/>
                    </a:lnTo>
                    <a:lnTo>
                      <a:pt x="769" y="436"/>
                    </a:lnTo>
                    <a:lnTo>
                      <a:pt x="770" y="441"/>
                    </a:lnTo>
                    <a:lnTo>
                      <a:pt x="770" y="445"/>
                    </a:lnTo>
                    <a:lnTo>
                      <a:pt x="770" y="445"/>
                    </a:lnTo>
                    <a:lnTo>
                      <a:pt x="770" y="447"/>
                    </a:lnTo>
                    <a:lnTo>
                      <a:pt x="769" y="447"/>
                    </a:lnTo>
                    <a:lnTo>
                      <a:pt x="766" y="444"/>
                    </a:lnTo>
                    <a:lnTo>
                      <a:pt x="762" y="438"/>
                    </a:lnTo>
                    <a:lnTo>
                      <a:pt x="762" y="438"/>
                    </a:lnTo>
                    <a:lnTo>
                      <a:pt x="760" y="438"/>
                    </a:lnTo>
                    <a:lnTo>
                      <a:pt x="759" y="441"/>
                    </a:lnTo>
                    <a:lnTo>
                      <a:pt x="760" y="448"/>
                    </a:lnTo>
                    <a:lnTo>
                      <a:pt x="760" y="448"/>
                    </a:lnTo>
                    <a:lnTo>
                      <a:pt x="759" y="451"/>
                    </a:lnTo>
                    <a:lnTo>
                      <a:pt x="757" y="457"/>
                    </a:lnTo>
                    <a:lnTo>
                      <a:pt x="753" y="461"/>
                    </a:lnTo>
                    <a:lnTo>
                      <a:pt x="750" y="465"/>
                    </a:lnTo>
                    <a:lnTo>
                      <a:pt x="750" y="465"/>
                    </a:lnTo>
                    <a:lnTo>
                      <a:pt x="746" y="467"/>
                    </a:lnTo>
                    <a:lnTo>
                      <a:pt x="740" y="467"/>
                    </a:lnTo>
                    <a:lnTo>
                      <a:pt x="735" y="467"/>
                    </a:lnTo>
                    <a:lnTo>
                      <a:pt x="733" y="470"/>
                    </a:lnTo>
                    <a:lnTo>
                      <a:pt x="733" y="470"/>
                    </a:lnTo>
                    <a:lnTo>
                      <a:pt x="733" y="471"/>
                    </a:lnTo>
                    <a:lnTo>
                      <a:pt x="733" y="471"/>
                    </a:lnTo>
                    <a:lnTo>
                      <a:pt x="735" y="473"/>
                    </a:lnTo>
                    <a:lnTo>
                      <a:pt x="746" y="473"/>
                    </a:lnTo>
                    <a:lnTo>
                      <a:pt x="746" y="473"/>
                    </a:lnTo>
                    <a:lnTo>
                      <a:pt x="751" y="473"/>
                    </a:lnTo>
                    <a:lnTo>
                      <a:pt x="754" y="476"/>
                    </a:lnTo>
                    <a:lnTo>
                      <a:pt x="760" y="480"/>
                    </a:lnTo>
                    <a:lnTo>
                      <a:pt x="760" y="480"/>
                    </a:lnTo>
                    <a:lnTo>
                      <a:pt x="760" y="480"/>
                    </a:lnTo>
                    <a:lnTo>
                      <a:pt x="760" y="481"/>
                    </a:lnTo>
                    <a:lnTo>
                      <a:pt x="757" y="483"/>
                    </a:lnTo>
                    <a:lnTo>
                      <a:pt x="751" y="486"/>
                    </a:lnTo>
                    <a:lnTo>
                      <a:pt x="751" y="486"/>
                    </a:lnTo>
                    <a:lnTo>
                      <a:pt x="746" y="489"/>
                    </a:lnTo>
                    <a:lnTo>
                      <a:pt x="738" y="491"/>
                    </a:lnTo>
                    <a:lnTo>
                      <a:pt x="738" y="491"/>
                    </a:lnTo>
                    <a:lnTo>
                      <a:pt x="737" y="493"/>
                    </a:lnTo>
                    <a:lnTo>
                      <a:pt x="735" y="496"/>
                    </a:lnTo>
                    <a:lnTo>
                      <a:pt x="735" y="499"/>
                    </a:lnTo>
                    <a:lnTo>
                      <a:pt x="737" y="502"/>
                    </a:lnTo>
                    <a:lnTo>
                      <a:pt x="737" y="502"/>
                    </a:lnTo>
                    <a:lnTo>
                      <a:pt x="738" y="503"/>
                    </a:lnTo>
                    <a:lnTo>
                      <a:pt x="741" y="503"/>
                    </a:lnTo>
                    <a:lnTo>
                      <a:pt x="746" y="499"/>
                    </a:lnTo>
                    <a:lnTo>
                      <a:pt x="753" y="494"/>
                    </a:lnTo>
                    <a:lnTo>
                      <a:pt x="759" y="491"/>
                    </a:lnTo>
                    <a:lnTo>
                      <a:pt x="759" y="491"/>
                    </a:lnTo>
                    <a:lnTo>
                      <a:pt x="760" y="491"/>
                    </a:lnTo>
                    <a:lnTo>
                      <a:pt x="763" y="493"/>
                    </a:lnTo>
                    <a:lnTo>
                      <a:pt x="764" y="497"/>
                    </a:lnTo>
                    <a:lnTo>
                      <a:pt x="769" y="506"/>
                    </a:lnTo>
                    <a:lnTo>
                      <a:pt x="769" y="506"/>
                    </a:lnTo>
                    <a:lnTo>
                      <a:pt x="769" y="507"/>
                    </a:lnTo>
                    <a:lnTo>
                      <a:pt x="766" y="509"/>
                    </a:lnTo>
                    <a:lnTo>
                      <a:pt x="760" y="509"/>
                    </a:lnTo>
                    <a:lnTo>
                      <a:pt x="753" y="509"/>
                    </a:lnTo>
                    <a:lnTo>
                      <a:pt x="747" y="509"/>
                    </a:lnTo>
                    <a:lnTo>
                      <a:pt x="747" y="509"/>
                    </a:lnTo>
                    <a:lnTo>
                      <a:pt x="746" y="510"/>
                    </a:lnTo>
                    <a:lnTo>
                      <a:pt x="747" y="510"/>
                    </a:lnTo>
                    <a:lnTo>
                      <a:pt x="753" y="513"/>
                    </a:lnTo>
                    <a:lnTo>
                      <a:pt x="753" y="513"/>
                    </a:lnTo>
                    <a:lnTo>
                      <a:pt x="754" y="515"/>
                    </a:lnTo>
                    <a:lnTo>
                      <a:pt x="754" y="516"/>
                    </a:lnTo>
                    <a:lnTo>
                      <a:pt x="753" y="520"/>
                    </a:lnTo>
                    <a:lnTo>
                      <a:pt x="751" y="523"/>
                    </a:lnTo>
                    <a:lnTo>
                      <a:pt x="751" y="525"/>
                    </a:lnTo>
                    <a:lnTo>
                      <a:pt x="751" y="525"/>
                    </a:lnTo>
                    <a:lnTo>
                      <a:pt x="751" y="525"/>
                    </a:lnTo>
                    <a:lnTo>
                      <a:pt x="756" y="523"/>
                    </a:lnTo>
                    <a:lnTo>
                      <a:pt x="760" y="520"/>
                    </a:lnTo>
                    <a:lnTo>
                      <a:pt x="766" y="516"/>
                    </a:lnTo>
                    <a:lnTo>
                      <a:pt x="770" y="515"/>
                    </a:lnTo>
                    <a:lnTo>
                      <a:pt x="770" y="515"/>
                    </a:lnTo>
                    <a:lnTo>
                      <a:pt x="776" y="519"/>
                    </a:lnTo>
                    <a:lnTo>
                      <a:pt x="785" y="526"/>
                    </a:lnTo>
                    <a:lnTo>
                      <a:pt x="798" y="539"/>
                    </a:lnTo>
                    <a:lnTo>
                      <a:pt x="798" y="539"/>
                    </a:lnTo>
                    <a:lnTo>
                      <a:pt x="798" y="541"/>
                    </a:lnTo>
                    <a:lnTo>
                      <a:pt x="796" y="544"/>
                    </a:lnTo>
                    <a:lnTo>
                      <a:pt x="792" y="548"/>
                    </a:lnTo>
                    <a:lnTo>
                      <a:pt x="792" y="548"/>
                    </a:lnTo>
                    <a:lnTo>
                      <a:pt x="790" y="551"/>
                    </a:lnTo>
                    <a:lnTo>
                      <a:pt x="792" y="552"/>
                    </a:lnTo>
                    <a:lnTo>
                      <a:pt x="796" y="557"/>
                    </a:lnTo>
                    <a:lnTo>
                      <a:pt x="796" y="557"/>
                    </a:lnTo>
                    <a:lnTo>
                      <a:pt x="798" y="557"/>
                    </a:lnTo>
                    <a:lnTo>
                      <a:pt x="799" y="555"/>
                    </a:lnTo>
                    <a:lnTo>
                      <a:pt x="804" y="552"/>
                    </a:lnTo>
                    <a:lnTo>
                      <a:pt x="806" y="549"/>
                    </a:lnTo>
                    <a:lnTo>
                      <a:pt x="809" y="548"/>
                    </a:lnTo>
                    <a:lnTo>
                      <a:pt x="811" y="549"/>
                    </a:lnTo>
                    <a:lnTo>
                      <a:pt x="811" y="549"/>
                    </a:lnTo>
                    <a:lnTo>
                      <a:pt x="811" y="551"/>
                    </a:lnTo>
                    <a:lnTo>
                      <a:pt x="811" y="552"/>
                    </a:lnTo>
                    <a:lnTo>
                      <a:pt x="808" y="557"/>
                    </a:lnTo>
                    <a:lnTo>
                      <a:pt x="799" y="564"/>
                    </a:lnTo>
                    <a:lnTo>
                      <a:pt x="799" y="564"/>
                    </a:lnTo>
                    <a:lnTo>
                      <a:pt x="798" y="567"/>
                    </a:lnTo>
                    <a:lnTo>
                      <a:pt x="796" y="570"/>
                    </a:lnTo>
                    <a:lnTo>
                      <a:pt x="798" y="573"/>
                    </a:lnTo>
                    <a:lnTo>
                      <a:pt x="801" y="575"/>
                    </a:lnTo>
                    <a:lnTo>
                      <a:pt x="801" y="575"/>
                    </a:lnTo>
                    <a:lnTo>
                      <a:pt x="805" y="577"/>
                    </a:lnTo>
                    <a:lnTo>
                      <a:pt x="806" y="575"/>
                    </a:lnTo>
                    <a:lnTo>
                      <a:pt x="808" y="573"/>
                    </a:lnTo>
                    <a:lnTo>
                      <a:pt x="809" y="570"/>
                    </a:lnTo>
                    <a:lnTo>
                      <a:pt x="809" y="570"/>
                    </a:lnTo>
                    <a:lnTo>
                      <a:pt x="812" y="565"/>
                    </a:lnTo>
                    <a:lnTo>
                      <a:pt x="815" y="561"/>
                    </a:lnTo>
                    <a:lnTo>
                      <a:pt x="815" y="561"/>
                    </a:lnTo>
                    <a:lnTo>
                      <a:pt x="817" y="562"/>
                    </a:lnTo>
                    <a:lnTo>
                      <a:pt x="817" y="565"/>
                    </a:lnTo>
                    <a:lnTo>
                      <a:pt x="815" y="577"/>
                    </a:lnTo>
                    <a:lnTo>
                      <a:pt x="812" y="600"/>
                    </a:lnTo>
                    <a:lnTo>
                      <a:pt x="812" y="600"/>
                    </a:lnTo>
                    <a:lnTo>
                      <a:pt x="814" y="606"/>
                    </a:lnTo>
                    <a:lnTo>
                      <a:pt x="815" y="610"/>
                    </a:lnTo>
                    <a:lnTo>
                      <a:pt x="817" y="615"/>
                    </a:lnTo>
                    <a:lnTo>
                      <a:pt x="814" y="617"/>
                    </a:lnTo>
                    <a:lnTo>
                      <a:pt x="814" y="617"/>
                    </a:lnTo>
                    <a:lnTo>
                      <a:pt x="811" y="619"/>
                    </a:lnTo>
                    <a:lnTo>
                      <a:pt x="808" y="617"/>
                    </a:lnTo>
                    <a:lnTo>
                      <a:pt x="805" y="616"/>
                    </a:lnTo>
                    <a:lnTo>
                      <a:pt x="802" y="613"/>
                    </a:lnTo>
                    <a:lnTo>
                      <a:pt x="802" y="613"/>
                    </a:lnTo>
                    <a:lnTo>
                      <a:pt x="801" y="613"/>
                    </a:lnTo>
                    <a:lnTo>
                      <a:pt x="799" y="613"/>
                    </a:lnTo>
                    <a:lnTo>
                      <a:pt x="798" y="616"/>
                    </a:lnTo>
                    <a:lnTo>
                      <a:pt x="795" y="619"/>
                    </a:lnTo>
                    <a:lnTo>
                      <a:pt x="793" y="620"/>
                    </a:lnTo>
                    <a:lnTo>
                      <a:pt x="790" y="622"/>
                    </a:lnTo>
                    <a:lnTo>
                      <a:pt x="790" y="622"/>
                    </a:lnTo>
                    <a:lnTo>
                      <a:pt x="786" y="620"/>
                    </a:lnTo>
                    <a:lnTo>
                      <a:pt x="783" y="616"/>
                    </a:lnTo>
                    <a:lnTo>
                      <a:pt x="777" y="604"/>
                    </a:lnTo>
                    <a:lnTo>
                      <a:pt x="772" y="581"/>
                    </a:lnTo>
                    <a:lnTo>
                      <a:pt x="772" y="581"/>
                    </a:lnTo>
                    <a:lnTo>
                      <a:pt x="772" y="578"/>
                    </a:lnTo>
                    <a:lnTo>
                      <a:pt x="770" y="578"/>
                    </a:lnTo>
                    <a:lnTo>
                      <a:pt x="767" y="578"/>
                    </a:lnTo>
                    <a:lnTo>
                      <a:pt x="766" y="580"/>
                    </a:lnTo>
                    <a:lnTo>
                      <a:pt x="763" y="580"/>
                    </a:lnTo>
                    <a:lnTo>
                      <a:pt x="763" y="580"/>
                    </a:lnTo>
                    <a:lnTo>
                      <a:pt x="753" y="574"/>
                    </a:lnTo>
                    <a:lnTo>
                      <a:pt x="747" y="571"/>
                    </a:lnTo>
                    <a:lnTo>
                      <a:pt x="741" y="570"/>
                    </a:lnTo>
                    <a:lnTo>
                      <a:pt x="741" y="570"/>
                    </a:lnTo>
                    <a:lnTo>
                      <a:pt x="737" y="568"/>
                    </a:lnTo>
                    <a:lnTo>
                      <a:pt x="730" y="562"/>
                    </a:lnTo>
                    <a:lnTo>
                      <a:pt x="724" y="557"/>
                    </a:lnTo>
                    <a:lnTo>
                      <a:pt x="720" y="554"/>
                    </a:lnTo>
                    <a:lnTo>
                      <a:pt x="720" y="554"/>
                    </a:lnTo>
                    <a:lnTo>
                      <a:pt x="720" y="554"/>
                    </a:lnTo>
                    <a:lnTo>
                      <a:pt x="720" y="555"/>
                    </a:lnTo>
                    <a:lnTo>
                      <a:pt x="722" y="560"/>
                    </a:lnTo>
                    <a:lnTo>
                      <a:pt x="725" y="565"/>
                    </a:lnTo>
                    <a:lnTo>
                      <a:pt x="727" y="570"/>
                    </a:lnTo>
                    <a:lnTo>
                      <a:pt x="727" y="570"/>
                    </a:lnTo>
                    <a:lnTo>
                      <a:pt x="725" y="571"/>
                    </a:lnTo>
                    <a:lnTo>
                      <a:pt x="724" y="573"/>
                    </a:lnTo>
                    <a:lnTo>
                      <a:pt x="718" y="577"/>
                    </a:lnTo>
                    <a:lnTo>
                      <a:pt x="712" y="581"/>
                    </a:lnTo>
                    <a:lnTo>
                      <a:pt x="709" y="584"/>
                    </a:lnTo>
                    <a:lnTo>
                      <a:pt x="709" y="584"/>
                    </a:lnTo>
                    <a:lnTo>
                      <a:pt x="708" y="587"/>
                    </a:lnTo>
                    <a:lnTo>
                      <a:pt x="709" y="589"/>
                    </a:lnTo>
                    <a:lnTo>
                      <a:pt x="712" y="594"/>
                    </a:lnTo>
                    <a:lnTo>
                      <a:pt x="715" y="600"/>
                    </a:lnTo>
                    <a:lnTo>
                      <a:pt x="718" y="606"/>
                    </a:lnTo>
                    <a:lnTo>
                      <a:pt x="718" y="606"/>
                    </a:lnTo>
                    <a:lnTo>
                      <a:pt x="718" y="607"/>
                    </a:lnTo>
                    <a:lnTo>
                      <a:pt x="717" y="609"/>
                    </a:lnTo>
                    <a:lnTo>
                      <a:pt x="714" y="610"/>
                    </a:lnTo>
                    <a:lnTo>
                      <a:pt x="708" y="612"/>
                    </a:lnTo>
                    <a:lnTo>
                      <a:pt x="702" y="612"/>
                    </a:lnTo>
                    <a:lnTo>
                      <a:pt x="702" y="612"/>
                    </a:lnTo>
                    <a:lnTo>
                      <a:pt x="701" y="613"/>
                    </a:lnTo>
                    <a:lnTo>
                      <a:pt x="701" y="615"/>
                    </a:lnTo>
                    <a:lnTo>
                      <a:pt x="704" y="617"/>
                    </a:lnTo>
                    <a:lnTo>
                      <a:pt x="711" y="623"/>
                    </a:lnTo>
                    <a:lnTo>
                      <a:pt x="711" y="623"/>
                    </a:lnTo>
                    <a:lnTo>
                      <a:pt x="715" y="625"/>
                    </a:lnTo>
                    <a:lnTo>
                      <a:pt x="725" y="625"/>
                    </a:lnTo>
                    <a:lnTo>
                      <a:pt x="741" y="623"/>
                    </a:lnTo>
                    <a:lnTo>
                      <a:pt x="741" y="623"/>
                    </a:lnTo>
                    <a:lnTo>
                      <a:pt x="743" y="623"/>
                    </a:lnTo>
                    <a:lnTo>
                      <a:pt x="740" y="623"/>
                    </a:lnTo>
                    <a:lnTo>
                      <a:pt x="734" y="625"/>
                    </a:lnTo>
                    <a:lnTo>
                      <a:pt x="728" y="628"/>
                    </a:lnTo>
                    <a:lnTo>
                      <a:pt x="728" y="628"/>
                    </a:lnTo>
                    <a:lnTo>
                      <a:pt x="727" y="631"/>
                    </a:lnTo>
                    <a:lnTo>
                      <a:pt x="724" y="632"/>
                    </a:lnTo>
                    <a:lnTo>
                      <a:pt x="715" y="633"/>
                    </a:lnTo>
                    <a:lnTo>
                      <a:pt x="709" y="635"/>
                    </a:lnTo>
                    <a:lnTo>
                      <a:pt x="706" y="636"/>
                    </a:lnTo>
                    <a:lnTo>
                      <a:pt x="706" y="636"/>
                    </a:lnTo>
                    <a:lnTo>
                      <a:pt x="706" y="636"/>
                    </a:lnTo>
                    <a:lnTo>
                      <a:pt x="708" y="636"/>
                    </a:lnTo>
                    <a:lnTo>
                      <a:pt x="712" y="635"/>
                    </a:lnTo>
                    <a:lnTo>
                      <a:pt x="712" y="635"/>
                    </a:lnTo>
                    <a:lnTo>
                      <a:pt x="715" y="635"/>
                    </a:lnTo>
                    <a:lnTo>
                      <a:pt x="715" y="635"/>
                    </a:lnTo>
                    <a:lnTo>
                      <a:pt x="715" y="639"/>
                    </a:lnTo>
                    <a:lnTo>
                      <a:pt x="715" y="639"/>
                    </a:lnTo>
                    <a:lnTo>
                      <a:pt x="717" y="639"/>
                    </a:lnTo>
                    <a:lnTo>
                      <a:pt x="718" y="639"/>
                    </a:lnTo>
                    <a:lnTo>
                      <a:pt x="721" y="636"/>
                    </a:lnTo>
                    <a:lnTo>
                      <a:pt x="721" y="636"/>
                    </a:lnTo>
                    <a:lnTo>
                      <a:pt x="722" y="636"/>
                    </a:lnTo>
                    <a:lnTo>
                      <a:pt x="722" y="636"/>
                    </a:lnTo>
                    <a:lnTo>
                      <a:pt x="725" y="639"/>
                    </a:lnTo>
                    <a:lnTo>
                      <a:pt x="725" y="639"/>
                    </a:lnTo>
                    <a:lnTo>
                      <a:pt x="727" y="639"/>
                    </a:lnTo>
                    <a:lnTo>
                      <a:pt x="728" y="636"/>
                    </a:lnTo>
                    <a:lnTo>
                      <a:pt x="731" y="635"/>
                    </a:lnTo>
                    <a:lnTo>
                      <a:pt x="734" y="632"/>
                    </a:lnTo>
                    <a:lnTo>
                      <a:pt x="734" y="632"/>
                    </a:lnTo>
                    <a:lnTo>
                      <a:pt x="735" y="632"/>
                    </a:lnTo>
                    <a:lnTo>
                      <a:pt x="738" y="632"/>
                    </a:lnTo>
                    <a:lnTo>
                      <a:pt x="744" y="633"/>
                    </a:lnTo>
                    <a:lnTo>
                      <a:pt x="744" y="633"/>
                    </a:lnTo>
                    <a:lnTo>
                      <a:pt x="747" y="632"/>
                    </a:lnTo>
                    <a:lnTo>
                      <a:pt x="751" y="628"/>
                    </a:lnTo>
                    <a:lnTo>
                      <a:pt x="759" y="622"/>
                    </a:lnTo>
                    <a:lnTo>
                      <a:pt x="759" y="622"/>
                    </a:lnTo>
                    <a:lnTo>
                      <a:pt x="762" y="622"/>
                    </a:lnTo>
                    <a:lnTo>
                      <a:pt x="769" y="625"/>
                    </a:lnTo>
                    <a:lnTo>
                      <a:pt x="780" y="631"/>
                    </a:lnTo>
                    <a:lnTo>
                      <a:pt x="780" y="631"/>
                    </a:lnTo>
                    <a:lnTo>
                      <a:pt x="786" y="632"/>
                    </a:lnTo>
                    <a:lnTo>
                      <a:pt x="796" y="632"/>
                    </a:lnTo>
                    <a:lnTo>
                      <a:pt x="806" y="632"/>
                    </a:lnTo>
                    <a:lnTo>
                      <a:pt x="811" y="633"/>
                    </a:lnTo>
                    <a:lnTo>
                      <a:pt x="811" y="633"/>
                    </a:lnTo>
                    <a:lnTo>
                      <a:pt x="811" y="635"/>
                    </a:lnTo>
                    <a:lnTo>
                      <a:pt x="809" y="635"/>
                    </a:lnTo>
                    <a:lnTo>
                      <a:pt x="805" y="636"/>
                    </a:lnTo>
                    <a:lnTo>
                      <a:pt x="798" y="638"/>
                    </a:lnTo>
                    <a:lnTo>
                      <a:pt x="795" y="639"/>
                    </a:lnTo>
                    <a:lnTo>
                      <a:pt x="795" y="639"/>
                    </a:lnTo>
                    <a:lnTo>
                      <a:pt x="793" y="642"/>
                    </a:lnTo>
                    <a:lnTo>
                      <a:pt x="792" y="646"/>
                    </a:lnTo>
                    <a:lnTo>
                      <a:pt x="790" y="651"/>
                    </a:lnTo>
                    <a:lnTo>
                      <a:pt x="788" y="655"/>
                    </a:lnTo>
                    <a:lnTo>
                      <a:pt x="788" y="655"/>
                    </a:lnTo>
                    <a:lnTo>
                      <a:pt x="783" y="659"/>
                    </a:lnTo>
                    <a:lnTo>
                      <a:pt x="779" y="662"/>
                    </a:lnTo>
                    <a:lnTo>
                      <a:pt x="776" y="665"/>
                    </a:lnTo>
                    <a:lnTo>
                      <a:pt x="772" y="665"/>
                    </a:lnTo>
                    <a:lnTo>
                      <a:pt x="772" y="665"/>
                    </a:lnTo>
                    <a:lnTo>
                      <a:pt x="769" y="668"/>
                    </a:lnTo>
                    <a:lnTo>
                      <a:pt x="766" y="671"/>
                    </a:lnTo>
                    <a:lnTo>
                      <a:pt x="762" y="686"/>
                    </a:lnTo>
                    <a:lnTo>
                      <a:pt x="762" y="686"/>
                    </a:lnTo>
                    <a:lnTo>
                      <a:pt x="759" y="690"/>
                    </a:lnTo>
                    <a:lnTo>
                      <a:pt x="753" y="694"/>
                    </a:lnTo>
                    <a:lnTo>
                      <a:pt x="738" y="702"/>
                    </a:lnTo>
                    <a:lnTo>
                      <a:pt x="722" y="707"/>
                    </a:lnTo>
                    <a:lnTo>
                      <a:pt x="711" y="710"/>
                    </a:lnTo>
                    <a:lnTo>
                      <a:pt x="711" y="710"/>
                    </a:lnTo>
                    <a:lnTo>
                      <a:pt x="698" y="716"/>
                    </a:lnTo>
                    <a:lnTo>
                      <a:pt x="686" y="723"/>
                    </a:lnTo>
                    <a:lnTo>
                      <a:pt x="686" y="723"/>
                    </a:lnTo>
                    <a:lnTo>
                      <a:pt x="683" y="725"/>
                    </a:lnTo>
                    <a:lnTo>
                      <a:pt x="682" y="725"/>
                    </a:lnTo>
                    <a:lnTo>
                      <a:pt x="680" y="725"/>
                    </a:lnTo>
                    <a:lnTo>
                      <a:pt x="679" y="725"/>
                    </a:lnTo>
                    <a:lnTo>
                      <a:pt x="679" y="725"/>
                    </a:lnTo>
                    <a:lnTo>
                      <a:pt x="675" y="726"/>
                    </a:lnTo>
                    <a:lnTo>
                      <a:pt x="669" y="725"/>
                    </a:lnTo>
                    <a:lnTo>
                      <a:pt x="669" y="725"/>
                    </a:lnTo>
                    <a:lnTo>
                      <a:pt x="666" y="722"/>
                    </a:lnTo>
                    <a:lnTo>
                      <a:pt x="662" y="723"/>
                    </a:lnTo>
                    <a:lnTo>
                      <a:pt x="662" y="723"/>
                    </a:lnTo>
                    <a:lnTo>
                      <a:pt x="659" y="725"/>
                    </a:lnTo>
                    <a:lnTo>
                      <a:pt x="656" y="725"/>
                    </a:lnTo>
                    <a:lnTo>
                      <a:pt x="653" y="725"/>
                    </a:lnTo>
                    <a:lnTo>
                      <a:pt x="653" y="725"/>
                    </a:lnTo>
                    <a:lnTo>
                      <a:pt x="653" y="722"/>
                    </a:lnTo>
                    <a:lnTo>
                      <a:pt x="654" y="719"/>
                    </a:lnTo>
                    <a:lnTo>
                      <a:pt x="653" y="7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39" name="Freeform 1490"/>
              <p:cNvSpPr>
                <a:spLocks/>
              </p:cNvSpPr>
              <p:nvPr/>
            </p:nvSpPr>
            <p:spPr bwMode="auto">
              <a:xfrm>
                <a:off x="3256285" y="1124939"/>
                <a:ext cx="872527" cy="1003109"/>
              </a:xfrm>
              <a:custGeom>
                <a:avLst/>
                <a:gdLst>
                  <a:gd name="T0" fmla="*/ 596 w 882"/>
                  <a:gd name="T1" fmla="*/ 800 h 1014"/>
                  <a:gd name="T2" fmla="*/ 565 w 882"/>
                  <a:gd name="T3" fmla="*/ 810 h 1014"/>
                  <a:gd name="T4" fmla="*/ 525 w 882"/>
                  <a:gd name="T5" fmla="*/ 836 h 1014"/>
                  <a:gd name="T6" fmla="*/ 491 w 882"/>
                  <a:gd name="T7" fmla="*/ 920 h 1014"/>
                  <a:gd name="T8" fmla="*/ 479 w 882"/>
                  <a:gd name="T9" fmla="*/ 969 h 1014"/>
                  <a:gd name="T10" fmla="*/ 462 w 882"/>
                  <a:gd name="T11" fmla="*/ 1013 h 1014"/>
                  <a:gd name="T12" fmla="*/ 421 w 882"/>
                  <a:gd name="T13" fmla="*/ 1000 h 1014"/>
                  <a:gd name="T14" fmla="*/ 368 w 882"/>
                  <a:gd name="T15" fmla="*/ 965 h 1014"/>
                  <a:gd name="T16" fmla="*/ 346 w 882"/>
                  <a:gd name="T17" fmla="*/ 919 h 1014"/>
                  <a:gd name="T18" fmla="*/ 334 w 882"/>
                  <a:gd name="T19" fmla="*/ 891 h 1014"/>
                  <a:gd name="T20" fmla="*/ 336 w 882"/>
                  <a:gd name="T21" fmla="*/ 856 h 1014"/>
                  <a:gd name="T22" fmla="*/ 308 w 882"/>
                  <a:gd name="T23" fmla="*/ 820 h 1014"/>
                  <a:gd name="T24" fmla="*/ 321 w 882"/>
                  <a:gd name="T25" fmla="*/ 784 h 1014"/>
                  <a:gd name="T26" fmla="*/ 311 w 882"/>
                  <a:gd name="T27" fmla="*/ 770 h 1014"/>
                  <a:gd name="T28" fmla="*/ 300 w 882"/>
                  <a:gd name="T29" fmla="*/ 738 h 1014"/>
                  <a:gd name="T30" fmla="*/ 347 w 882"/>
                  <a:gd name="T31" fmla="*/ 728 h 1014"/>
                  <a:gd name="T32" fmla="*/ 339 w 882"/>
                  <a:gd name="T33" fmla="*/ 688 h 1014"/>
                  <a:gd name="T34" fmla="*/ 346 w 882"/>
                  <a:gd name="T35" fmla="*/ 651 h 1014"/>
                  <a:gd name="T36" fmla="*/ 315 w 882"/>
                  <a:gd name="T37" fmla="*/ 626 h 1014"/>
                  <a:gd name="T38" fmla="*/ 340 w 882"/>
                  <a:gd name="T39" fmla="*/ 613 h 1014"/>
                  <a:gd name="T40" fmla="*/ 343 w 882"/>
                  <a:gd name="T41" fmla="*/ 583 h 1014"/>
                  <a:gd name="T42" fmla="*/ 310 w 882"/>
                  <a:gd name="T43" fmla="*/ 560 h 1014"/>
                  <a:gd name="T44" fmla="*/ 294 w 882"/>
                  <a:gd name="T45" fmla="*/ 531 h 1014"/>
                  <a:gd name="T46" fmla="*/ 263 w 882"/>
                  <a:gd name="T47" fmla="*/ 549 h 1014"/>
                  <a:gd name="T48" fmla="*/ 278 w 882"/>
                  <a:gd name="T49" fmla="*/ 513 h 1014"/>
                  <a:gd name="T50" fmla="*/ 295 w 882"/>
                  <a:gd name="T51" fmla="*/ 502 h 1014"/>
                  <a:gd name="T52" fmla="*/ 256 w 882"/>
                  <a:gd name="T53" fmla="*/ 381 h 1014"/>
                  <a:gd name="T54" fmla="*/ 227 w 882"/>
                  <a:gd name="T55" fmla="*/ 310 h 1014"/>
                  <a:gd name="T56" fmla="*/ 145 w 882"/>
                  <a:gd name="T57" fmla="*/ 281 h 1014"/>
                  <a:gd name="T58" fmla="*/ 59 w 882"/>
                  <a:gd name="T59" fmla="*/ 294 h 1014"/>
                  <a:gd name="T60" fmla="*/ 24 w 882"/>
                  <a:gd name="T61" fmla="*/ 235 h 1014"/>
                  <a:gd name="T62" fmla="*/ 63 w 882"/>
                  <a:gd name="T63" fmla="*/ 218 h 1014"/>
                  <a:gd name="T64" fmla="*/ 94 w 882"/>
                  <a:gd name="T65" fmla="*/ 186 h 1014"/>
                  <a:gd name="T66" fmla="*/ 50 w 882"/>
                  <a:gd name="T67" fmla="*/ 190 h 1014"/>
                  <a:gd name="T68" fmla="*/ 20 w 882"/>
                  <a:gd name="T69" fmla="*/ 171 h 1014"/>
                  <a:gd name="T70" fmla="*/ 14 w 882"/>
                  <a:gd name="T71" fmla="*/ 118 h 1014"/>
                  <a:gd name="T72" fmla="*/ 84 w 882"/>
                  <a:gd name="T73" fmla="*/ 76 h 1014"/>
                  <a:gd name="T74" fmla="*/ 126 w 882"/>
                  <a:gd name="T75" fmla="*/ 11 h 1014"/>
                  <a:gd name="T76" fmla="*/ 882 w 882"/>
                  <a:gd name="T77" fmla="*/ 8 h 1014"/>
                  <a:gd name="T78" fmla="*/ 850 w 882"/>
                  <a:gd name="T79" fmla="*/ 82 h 1014"/>
                  <a:gd name="T80" fmla="*/ 825 w 882"/>
                  <a:gd name="T81" fmla="*/ 134 h 1014"/>
                  <a:gd name="T82" fmla="*/ 846 w 882"/>
                  <a:gd name="T83" fmla="*/ 187 h 1014"/>
                  <a:gd name="T84" fmla="*/ 834 w 882"/>
                  <a:gd name="T85" fmla="*/ 209 h 1014"/>
                  <a:gd name="T86" fmla="*/ 870 w 882"/>
                  <a:gd name="T87" fmla="*/ 258 h 1014"/>
                  <a:gd name="T88" fmla="*/ 832 w 882"/>
                  <a:gd name="T89" fmla="*/ 267 h 1014"/>
                  <a:gd name="T90" fmla="*/ 846 w 882"/>
                  <a:gd name="T91" fmla="*/ 323 h 1014"/>
                  <a:gd name="T92" fmla="*/ 819 w 882"/>
                  <a:gd name="T93" fmla="*/ 339 h 1014"/>
                  <a:gd name="T94" fmla="*/ 846 w 882"/>
                  <a:gd name="T95" fmla="*/ 393 h 1014"/>
                  <a:gd name="T96" fmla="*/ 838 w 882"/>
                  <a:gd name="T97" fmla="*/ 416 h 1014"/>
                  <a:gd name="T98" fmla="*/ 811 w 882"/>
                  <a:gd name="T99" fmla="*/ 396 h 1014"/>
                  <a:gd name="T100" fmla="*/ 834 w 882"/>
                  <a:gd name="T101" fmla="*/ 436 h 1014"/>
                  <a:gd name="T102" fmla="*/ 786 w 882"/>
                  <a:gd name="T103" fmla="*/ 451 h 1014"/>
                  <a:gd name="T104" fmla="*/ 762 w 882"/>
                  <a:gd name="T105" fmla="*/ 438 h 1014"/>
                  <a:gd name="T106" fmla="*/ 760 w 882"/>
                  <a:gd name="T107" fmla="*/ 481 h 1014"/>
                  <a:gd name="T108" fmla="*/ 753 w 882"/>
                  <a:gd name="T109" fmla="*/ 509 h 1014"/>
                  <a:gd name="T110" fmla="*/ 792 w 882"/>
                  <a:gd name="T111" fmla="*/ 548 h 1014"/>
                  <a:gd name="T112" fmla="*/ 809 w 882"/>
                  <a:gd name="T113" fmla="*/ 570 h 1014"/>
                  <a:gd name="T114" fmla="*/ 786 w 882"/>
                  <a:gd name="T115" fmla="*/ 620 h 1014"/>
                  <a:gd name="T116" fmla="*/ 725 w 882"/>
                  <a:gd name="T117" fmla="*/ 571 h 1014"/>
                  <a:gd name="T118" fmla="*/ 741 w 882"/>
                  <a:gd name="T119" fmla="*/ 623 h 1014"/>
                  <a:gd name="T120" fmla="*/ 725 w 882"/>
                  <a:gd name="T121" fmla="*/ 639 h 1014"/>
                  <a:gd name="T122" fmla="*/ 805 w 882"/>
                  <a:gd name="T123" fmla="*/ 636 h 1014"/>
                  <a:gd name="T124" fmla="*/ 686 w 882"/>
                  <a:gd name="T125" fmla="*/ 72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82" h="1014">
                    <a:moveTo>
                      <a:pt x="653" y="717"/>
                    </a:moveTo>
                    <a:lnTo>
                      <a:pt x="653" y="717"/>
                    </a:lnTo>
                    <a:lnTo>
                      <a:pt x="650" y="715"/>
                    </a:lnTo>
                    <a:lnTo>
                      <a:pt x="649" y="713"/>
                    </a:lnTo>
                    <a:lnTo>
                      <a:pt x="647" y="715"/>
                    </a:lnTo>
                    <a:lnTo>
                      <a:pt x="647" y="715"/>
                    </a:lnTo>
                    <a:lnTo>
                      <a:pt x="646" y="723"/>
                    </a:lnTo>
                    <a:lnTo>
                      <a:pt x="643" y="729"/>
                    </a:lnTo>
                    <a:lnTo>
                      <a:pt x="640" y="732"/>
                    </a:lnTo>
                    <a:lnTo>
                      <a:pt x="640" y="732"/>
                    </a:lnTo>
                    <a:lnTo>
                      <a:pt x="637" y="736"/>
                    </a:lnTo>
                    <a:lnTo>
                      <a:pt x="633" y="744"/>
                    </a:lnTo>
                    <a:lnTo>
                      <a:pt x="628" y="755"/>
                    </a:lnTo>
                    <a:lnTo>
                      <a:pt x="628" y="755"/>
                    </a:lnTo>
                    <a:lnTo>
                      <a:pt x="627" y="761"/>
                    </a:lnTo>
                    <a:lnTo>
                      <a:pt x="622" y="768"/>
                    </a:lnTo>
                    <a:lnTo>
                      <a:pt x="614" y="778"/>
                    </a:lnTo>
                    <a:lnTo>
                      <a:pt x="614" y="778"/>
                    </a:lnTo>
                    <a:lnTo>
                      <a:pt x="609" y="784"/>
                    </a:lnTo>
                    <a:lnTo>
                      <a:pt x="604" y="790"/>
                    </a:lnTo>
                    <a:lnTo>
                      <a:pt x="604" y="790"/>
                    </a:lnTo>
                    <a:lnTo>
                      <a:pt x="602" y="793"/>
                    </a:lnTo>
                    <a:lnTo>
                      <a:pt x="601" y="797"/>
                    </a:lnTo>
                    <a:lnTo>
                      <a:pt x="599" y="800"/>
                    </a:lnTo>
                    <a:lnTo>
                      <a:pt x="599" y="801"/>
                    </a:lnTo>
                    <a:lnTo>
                      <a:pt x="596" y="800"/>
                    </a:lnTo>
                    <a:lnTo>
                      <a:pt x="596" y="800"/>
                    </a:lnTo>
                    <a:lnTo>
                      <a:pt x="592" y="797"/>
                    </a:lnTo>
                    <a:lnTo>
                      <a:pt x="589" y="794"/>
                    </a:lnTo>
                    <a:lnTo>
                      <a:pt x="586" y="791"/>
                    </a:lnTo>
                    <a:lnTo>
                      <a:pt x="586" y="791"/>
                    </a:lnTo>
                    <a:lnTo>
                      <a:pt x="586" y="791"/>
                    </a:lnTo>
                    <a:lnTo>
                      <a:pt x="586" y="791"/>
                    </a:lnTo>
                    <a:lnTo>
                      <a:pt x="588" y="797"/>
                    </a:lnTo>
                    <a:lnTo>
                      <a:pt x="589" y="800"/>
                    </a:lnTo>
                    <a:lnTo>
                      <a:pt x="588" y="803"/>
                    </a:lnTo>
                    <a:lnTo>
                      <a:pt x="588" y="803"/>
                    </a:lnTo>
                    <a:lnTo>
                      <a:pt x="582" y="810"/>
                    </a:lnTo>
                    <a:lnTo>
                      <a:pt x="579" y="814"/>
                    </a:lnTo>
                    <a:lnTo>
                      <a:pt x="578" y="814"/>
                    </a:lnTo>
                    <a:lnTo>
                      <a:pt x="576" y="814"/>
                    </a:lnTo>
                    <a:lnTo>
                      <a:pt x="576" y="814"/>
                    </a:lnTo>
                    <a:lnTo>
                      <a:pt x="576" y="812"/>
                    </a:lnTo>
                    <a:lnTo>
                      <a:pt x="575" y="807"/>
                    </a:lnTo>
                    <a:lnTo>
                      <a:pt x="575" y="804"/>
                    </a:lnTo>
                    <a:lnTo>
                      <a:pt x="575" y="804"/>
                    </a:lnTo>
                    <a:lnTo>
                      <a:pt x="573" y="804"/>
                    </a:lnTo>
                    <a:lnTo>
                      <a:pt x="573" y="804"/>
                    </a:lnTo>
                    <a:lnTo>
                      <a:pt x="570" y="807"/>
                    </a:lnTo>
                    <a:lnTo>
                      <a:pt x="567" y="809"/>
                    </a:lnTo>
                    <a:lnTo>
                      <a:pt x="565" y="810"/>
                    </a:lnTo>
                    <a:lnTo>
                      <a:pt x="565" y="810"/>
                    </a:lnTo>
                    <a:lnTo>
                      <a:pt x="560" y="801"/>
                    </a:lnTo>
                    <a:lnTo>
                      <a:pt x="560" y="801"/>
                    </a:lnTo>
                    <a:lnTo>
                      <a:pt x="560" y="799"/>
                    </a:lnTo>
                    <a:lnTo>
                      <a:pt x="560" y="797"/>
                    </a:lnTo>
                    <a:lnTo>
                      <a:pt x="562" y="796"/>
                    </a:lnTo>
                    <a:lnTo>
                      <a:pt x="560" y="796"/>
                    </a:lnTo>
                    <a:lnTo>
                      <a:pt x="560" y="796"/>
                    </a:lnTo>
                    <a:lnTo>
                      <a:pt x="557" y="796"/>
                    </a:lnTo>
                    <a:lnTo>
                      <a:pt x="556" y="797"/>
                    </a:lnTo>
                    <a:lnTo>
                      <a:pt x="554" y="806"/>
                    </a:lnTo>
                    <a:lnTo>
                      <a:pt x="554" y="806"/>
                    </a:lnTo>
                    <a:lnTo>
                      <a:pt x="553" y="816"/>
                    </a:lnTo>
                    <a:lnTo>
                      <a:pt x="552" y="819"/>
                    </a:lnTo>
                    <a:lnTo>
                      <a:pt x="550" y="820"/>
                    </a:lnTo>
                    <a:lnTo>
                      <a:pt x="550" y="820"/>
                    </a:lnTo>
                    <a:lnTo>
                      <a:pt x="543" y="825"/>
                    </a:lnTo>
                    <a:lnTo>
                      <a:pt x="538" y="828"/>
                    </a:lnTo>
                    <a:lnTo>
                      <a:pt x="536" y="829"/>
                    </a:lnTo>
                    <a:lnTo>
                      <a:pt x="536" y="829"/>
                    </a:lnTo>
                    <a:lnTo>
                      <a:pt x="534" y="826"/>
                    </a:lnTo>
                    <a:lnTo>
                      <a:pt x="534" y="825"/>
                    </a:lnTo>
                    <a:lnTo>
                      <a:pt x="533" y="825"/>
                    </a:lnTo>
                    <a:lnTo>
                      <a:pt x="530" y="826"/>
                    </a:lnTo>
                    <a:lnTo>
                      <a:pt x="530" y="826"/>
                    </a:lnTo>
                    <a:lnTo>
                      <a:pt x="528" y="830"/>
                    </a:lnTo>
                    <a:lnTo>
                      <a:pt x="525" y="836"/>
                    </a:lnTo>
                    <a:lnTo>
                      <a:pt x="523" y="842"/>
                    </a:lnTo>
                    <a:lnTo>
                      <a:pt x="520" y="846"/>
                    </a:lnTo>
                    <a:lnTo>
                      <a:pt x="520" y="846"/>
                    </a:lnTo>
                    <a:lnTo>
                      <a:pt x="517" y="849"/>
                    </a:lnTo>
                    <a:lnTo>
                      <a:pt x="515" y="852"/>
                    </a:lnTo>
                    <a:lnTo>
                      <a:pt x="514" y="859"/>
                    </a:lnTo>
                    <a:lnTo>
                      <a:pt x="514" y="867"/>
                    </a:lnTo>
                    <a:lnTo>
                      <a:pt x="512" y="870"/>
                    </a:lnTo>
                    <a:lnTo>
                      <a:pt x="512" y="870"/>
                    </a:lnTo>
                    <a:lnTo>
                      <a:pt x="512" y="870"/>
                    </a:lnTo>
                    <a:lnTo>
                      <a:pt x="507" y="871"/>
                    </a:lnTo>
                    <a:lnTo>
                      <a:pt x="504" y="872"/>
                    </a:lnTo>
                    <a:lnTo>
                      <a:pt x="504" y="874"/>
                    </a:lnTo>
                    <a:lnTo>
                      <a:pt x="504" y="874"/>
                    </a:lnTo>
                    <a:lnTo>
                      <a:pt x="505" y="875"/>
                    </a:lnTo>
                    <a:lnTo>
                      <a:pt x="507" y="877"/>
                    </a:lnTo>
                    <a:lnTo>
                      <a:pt x="508" y="878"/>
                    </a:lnTo>
                    <a:lnTo>
                      <a:pt x="507" y="883"/>
                    </a:lnTo>
                    <a:lnTo>
                      <a:pt x="507" y="883"/>
                    </a:lnTo>
                    <a:lnTo>
                      <a:pt x="501" y="894"/>
                    </a:lnTo>
                    <a:lnTo>
                      <a:pt x="498" y="900"/>
                    </a:lnTo>
                    <a:lnTo>
                      <a:pt x="498" y="906"/>
                    </a:lnTo>
                    <a:lnTo>
                      <a:pt x="498" y="906"/>
                    </a:lnTo>
                    <a:lnTo>
                      <a:pt x="495" y="914"/>
                    </a:lnTo>
                    <a:lnTo>
                      <a:pt x="494" y="917"/>
                    </a:lnTo>
                    <a:lnTo>
                      <a:pt x="491" y="920"/>
                    </a:lnTo>
                    <a:lnTo>
                      <a:pt x="491" y="920"/>
                    </a:lnTo>
                    <a:lnTo>
                      <a:pt x="489" y="922"/>
                    </a:lnTo>
                    <a:lnTo>
                      <a:pt x="489" y="923"/>
                    </a:lnTo>
                    <a:lnTo>
                      <a:pt x="489" y="926"/>
                    </a:lnTo>
                    <a:lnTo>
                      <a:pt x="489" y="927"/>
                    </a:lnTo>
                    <a:lnTo>
                      <a:pt x="489" y="927"/>
                    </a:lnTo>
                    <a:lnTo>
                      <a:pt x="485" y="930"/>
                    </a:lnTo>
                    <a:lnTo>
                      <a:pt x="483" y="933"/>
                    </a:lnTo>
                    <a:lnTo>
                      <a:pt x="483" y="936"/>
                    </a:lnTo>
                    <a:lnTo>
                      <a:pt x="483" y="936"/>
                    </a:lnTo>
                    <a:lnTo>
                      <a:pt x="482" y="940"/>
                    </a:lnTo>
                    <a:lnTo>
                      <a:pt x="481" y="945"/>
                    </a:lnTo>
                    <a:lnTo>
                      <a:pt x="481" y="949"/>
                    </a:lnTo>
                    <a:lnTo>
                      <a:pt x="481" y="949"/>
                    </a:lnTo>
                    <a:lnTo>
                      <a:pt x="482" y="951"/>
                    </a:lnTo>
                    <a:lnTo>
                      <a:pt x="482" y="951"/>
                    </a:lnTo>
                    <a:lnTo>
                      <a:pt x="488" y="951"/>
                    </a:lnTo>
                    <a:lnTo>
                      <a:pt x="488" y="952"/>
                    </a:lnTo>
                    <a:lnTo>
                      <a:pt x="489" y="954"/>
                    </a:lnTo>
                    <a:lnTo>
                      <a:pt x="489" y="954"/>
                    </a:lnTo>
                    <a:lnTo>
                      <a:pt x="488" y="962"/>
                    </a:lnTo>
                    <a:lnTo>
                      <a:pt x="486" y="967"/>
                    </a:lnTo>
                    <a:lnTo>
                      <a:pt x="485" y="969"/>
                    </a:lnTo>
                    <a:lnTo>
                      <a:pt x="485" y="969"/>
                    </a:lnTo>
                    <a:lnTo>
                      <a:pt x="481" y="969"/>
                    </a:lnTo>
                    <a:lnTo>
                      <a:pt x="479" y="969"/>
                    </a:lnTo>
                    <a:lnTo>
                      <a:pt x="479" y="971"/>
                    </a:lnTo>
                    <a:lnTo>
                      <a:pt x="479" y="971"/>
                    </a:lnTo>
                    <a:lnTo>
                      <a:pt x="481" y="972"/>
                    </a:lnTo>
                    <a:lnTo>
                      <a:pt x="481" y="972"/>
                    </a:lnTo>
                    <a:lnTo>
                      <a:pt x="482" y="974"/>
                    </a:lnTo>
                    <a:lnTo>
                      <a:pt x="481" y="975"/>
                    </a:lnTo>
                    <a:lnTo>
                      <a:pt x="481" y="975"/>
                    </a:lnTo>
                    <a:lnTo>
                      <a:pt x="479" y="978"/>
                    </a:lnTo>
                    <a:lnTo>
                      <a:pt x="475" y="980"/>
                    </a:lnTo>
                    <a:lnTo>
                      <a:pt x="473" y="983"/>
                    </a:lnTo>
                    <a:lnTo>
                      <a:pt x="472" y="984"/>
                    </a:lnTo>
                    <a:lnTo>
                      <a:pt x="472" y="984"/>
                    </a:lnTo>
                    <a:lnTo>
                      <a:pt x="473" y="988"/>
                    </a:lnTo>
                    <a:lnTo>
                      <a:pt x="473" y="991"/>
                    </a:lnTo>
                    <a:lnTo>
                      <a:pt x="472" y="993"/>
                    </a:lnTo>
                    <a:lnTo>
                      <a:pt x="472" y="993"/>
                    </a:lnTo>
                    <a:lnTo>
                      <a:pt x="463" y="1007"/>
                    </a:lnTo>
                    <a:lnTo>
                      <a:pt x="463" y="1007"/>
                    </a:lnTo>
                    <a:lnTo>
                      <a:pt x="462" y="1004"/>
                    </a:lnTo>
                    <a:lnTo>
                      <a:pt x="462" y="1004"/>
                    </a:lnTo>
                    <a:lnTo>
                      <a:pt x="462" y="1006"/>
                    </a:lnTo>
                    <a:lnTo>
                      <a:pt x="462" y="1006"/>
                    </a:lnTo>
                    <a:lnTo>
                      <a:pt x="463" y="1010"/>
                    </a:lnTo>
                    <a:lnTo>
                      <a:pt x="463" y="1011"/>
                    </a:lnTo>
                    <a:lnTo>
                      <a:pt x="462" y="1013"/>
                    </a:lnTo>
                    <a:lnTo>
                      <a:pt x="462" y="1013"/>
                    </a:lnTo>
                    <a:lnTo>
                      <a:pt x="460" y="1014"/>
                    </a:lnTo>
                    <a:lnTo>
                      <a:pt x="459" y="1014"/>
                    </a:lnTo>
                    <a:lnTo>
                      <a:pt x="454" y="1013"/>
                    </a:lnTo>
                    <a:lnTo>
                      <a:pt x="452" y="1011"/>
                    </a:lnTo>
                    <a:lnTo>
                      <a:pt x="450" y="1010"/>
                    </a:lnTo>
                    <a:lnTo>
                      <a:pt x="449" y="1011"/>
                    </a:lnTo>
                    <a:lnTo>
                      <a:pt x="449" y="1011"/>
                    </a:lnTo>
                    <a:lnTo>
                      <a:pt x="446" y="1014"/>
                    </a:lnTo>
                    <a:lnTo>
                      <a:pt x="444" y="1014"/>
                    </a:lnTo>
                    <a:lnTo>
                      <a:pt x="441" y="1013"/>
                    </a:lnTo>
                    <a:lnTo>
                      <a:pt x="441" y="1013"/>
                    </a:lnTo>
                    <a:lnTo>
                      <a:pt x="440" y="1009"/>
                    </a:lnTo>
                    <a:lnTo>
                      <a:pt x="440" y="1006"/>
                    </a:lnTo>
                    <a:lnTo>
                      <a:pt x="439" y="1003"/>
                    </a:lnTo>
                    <a:lnTo>
                      <a:pt x="437" y="1003"/>
                    </a:lnTo>
                    <a:lnTo>
                      <a:pt x="437" y="1003"/>
                    </a:lnTo>
                    <a:lnTo>
                      <a:pt x="434" y="1004"/>
                    </a:lnTo>
                    <a:lnTo>
                      <a:pt x="433" y="1006"/>
                    </a:lnTo>
                    <a:lnTo>
                      <a:pt x="430" y="1004"/>
                    </a:lnTo>
                    <a:lnTo>
                      <a:pt x="428" y="1003"/>
                    </a:lnTo>
                    <a:lnTo>
                      <a:pt x="428" y="1003"/>
                    </a:lnTo>
                    <a:lnTo>
                      <a:pt x="427" y="1001"/>
                    </a:lnTo>
                    <a:lnTo>
                      <a:pt x="424" y="1001"/>
                    </a:lnTo>
                    <a:lnTo>
                      <a:pt x="421" y="1001"/>
                    </a:lnTo>
                    <a:lnTo>
                      <a:pt x="421" y="1000"/>
                    </a:lnTo>
                    <a:lnTo>
                      <a:pt x="421" y="1000"/>
                    </a:lnTo>
                    <a:lnTo>
                      <a:pt x="421" y="994"/>
                    </a:lnTo>
                    <a:lnTo>
                      <a:pt x="421" y="993"/>
                    </a:lnTo>
                    <a:lnTo>
                      <a:pt x="420" y="991"/>
                    </a:lnTo>
                    <a:lnTo>
                      <a:pt x="420" y="991"/>
                    </a:lnTo>
                    <a:lnTo>
                      <a:pt x="417" y="993"/>
                    </a:lnTo>
                    <a:lnTo>
                      <a:pt x="412" y="993"/>
                    </a:lnTo>
                    <a:lnTo>
                      <a:pt x="412" y="993"/>
                    </a:lnTo>
                    <a:lnTo>
                      <a:pt x="401" y="993"/>
                    </a:lnTo>
                    <a:lnTo>
                      <a:pt x="395" y="991"/>
                    </a:lnTo>
                    <a:lnTo>
                      <a:pt x="392" y="988"/>
                    </a:lnTo>
                    <a:lnTo>
                      <a:pt x="392" y="988"/>
                    </a:lnTo>
                    <a:lnTo>
                      <a:pt x="391" y="985"/>
                    </a:lnTo>
                    <a:lnTo>
                      <a:pt x="392" y="984"/>
                    </a:lnTo>
                    <a:lnTo>
                      <a:pt x="392" y="981"/>
                    </a:lnTo>
                    <a:lnTo>
                      <a:pt x="389" y="978"/>
                    </a:lnTo>
                    <a:lnTo>
                      <a:pt x="389" y="978"/>
                    </a:lnTo>
                    <a:lnTo>
                      <a:pt x="385" y="971"/>
                    </a:lnTo>
                    <a:lnTo>
                      <a:pt x="382" y="969"/>
                    </a:lnTo>
                    <a:lnTo>
                      <a:pt x="379" y="969"/>
                    </a:lnTo>
                    <a:lnTo>
                      <a:pt x="379" y="969"/>
                    </a:lnTo>
                    <a:lnTo>
                      <a:pt x="373" y="972"/>
                    </a:lnTo>
                    <a:lnTo>
                      <a:pt x="370" y="974"/>
                    </a:lnTo>
                    <a:lnTo>
                      <a:pt x="369" y="971"/>
                    </a:lnTo>
                    <a:lnTo>
                      <a:pt x="369" y="971"/>
                    </a:lnTo>
                    <a:lnTo>
                      <a:pt x="368" y="968"/>
                    </a:lnTo>
                    <a:lnTo>
                      <a:pt x="368" y="965"/>
                    </a:lnTo>
                    <a:lnTo>
                      <a:pt x="369" y="964"/>
                    </a:lnTo>
                    <a:lnTo>
                      <a:pt x="366" y="962"/>
                    </a:lnTo>
                    <a:lnTo>
                      <a:pt x="366" y="962"/>
                    </a:lnTo>
                    <a:lnTo>
                      <a:pt x="366" y="959"/>
                    </a:lnTo>
                    <a:lnTo>
                      <a:pt x="368" y="958"/>
                    </a:lnTo>
                    <a:lnTo>
                      <a:pt x="369" y="958"/>
                    </a:lnTo>
                    <a:lnTo>
                      <a:pt x="370" y="956"/>
                    </a:lnTo>
                    <a:lnTo>
                      <a:pt x="370" y="956"/>
                    </a:lnTo>
                    <a:lnTo>
                      <a:pt x="370" y="946"/>
                    </a:lnTo>
                    <a:lnTo>
                      <a:pt x="370" y="939"/>
                    </a:lnTo>
                    <a:lnTo>
                      <a:pt x="368" y="933"/>
                    </a:lnTo>
                    <a:lnTo>
                      <a:pt x="368" y="933"/>
                    </a:lnTo>
                    <a:lnTo>
                      <a:pt x="365" y="925"/>
                    </a:lnTo>
                    <a:lnTo>
                      <a:pt x="363" y="922"/>
                    </a:lnTo>
                    <a:lnTo>
                      <a:pt x="362" y="922"/>
                    </a:lnTo>
                    <a:lnTo>
                      <a:pt x="362" y="922"/>
                    </a:lnTo>
                    <a:lnTo>
                      <a:pt x="362" y="922"/>
                    </a:lnTo>
                    <a:lnTo>
                      <a:pt x="357" y="929"/>
                    </a:lnTo>
                    <a:lnTo>
                      <a:pt x="355" y="932"/>
                    </a:lnTo>
                    <a:lnTo>
                      <a:pt x="352" y="932"/>
                    </a:lnTo>
                    <a:lnTo>
                      <a:pt x="352" y="932"/>
                    </a:lnTo>
                    <a:lnTo>
                      <a:pt x="349" y="930"/>
                    </a:lnTo>
                    <a:lnTo>
                      <a:pt x="349" y="929"/>
                    </a:lnTo>
                    <a:lnTo>
                      <a:pt x="346" y="923"/>
                    </a:lnTo>
                    <a:lnTo>
                      <a:pt x="346" y="923"/>
                    </a:lnTo>
                    <a:lnTo>
                      <a:pt x="346" y="919"/>
                    </a:lnTo>
                    <a:lnTo>
                      <a:pt x="347" y="916"/>
                    </a:lnTo>
                    <a:lnTo>
                      <a:pt x="349" y="914"/>
                    </a:lnTo>
                    <a:lnTo>
                      <a:pt x="347" y="913"/>
                    </a:lnTo>
                    <a:lnTo>
                      <a:pt x="347" y="913"/>
                    </a:lnTo>
                    <a:lnTo>
                      <a:pt x="342" y="910"/>
                    </a:lnTo>
                    <a:lnTo>
                      <a:pt x="340" y="909"/>
                    </a:lnTo>
                    <a:lnTo>
                      <a:pt x="342" y="909"/>
                    </a:lnTo>
                    <a:lnTo>
                      <a:pt x="342" y="909"/>
                    </a:lnTo>
                    <a:lnTo>
                      <a:pt x="346" y="907"/>
                    </a:lnTo>
                    <a:lnTo>
                      <a:pt x="347" y="907"/>
                    </a:lnTo>
                    <a:lnTo>
                      <a:pt x="346" y="906"/>
                    </a:lnTo>
                    <a:lnTo>
                      <a:pt x="346" y="906"/>
                    </a:lnTo>
                    <a:lnTo>
                      <a:pt x="342" y="904"/>
                    </a:lnTo>
                    <a:lnTo>
                      <a:pt x="339" y="903"/>
                    </a:lnTo>
                    <a:lnTo>
                      <a:pt x="340" y="901"/>
                    </a:lnTo>
                    <a:lnTo>
                      <a:pt x="340" y="901"/>
                    </a:lnTo>
                    <a:lnTo>
                      <a:pt x="346" y="898"/>
                    </a:lnTo>
                    <a:lnTo>
                      <a:pt x="346" y="897"/>
                    </a:lnTo>
                    <a:lnTo>
                      <a:pt x="344" y="897"/>
                    </a:lnTo>
                    <a:lnTo>
                      <a:pt x="344" y="897"/>
                    </a:lnTo>
                    <a:lnTo>
                      <a:pt x="336" y="896"/>
                    </a:lnTo>
                    <a:lnTo>
                      <a:pt x="331" y="896"/>
                    </a:lnTo>
                    <a:lnTo>
                      <a:pt x="331" y="894"/>
                    </a:lnTo>
                    <a:lnTo>
                      <a:pt x="331" y="894"/>
                    </a:lnTo>
                    <a:lnTo>
                      <a:pt x="331" y="894"/>
                    </a:lnTo>
                    <a:lnTo>
                      <a:pt x="334" y="891"/>
                    </a:lnTo>
                    <a:lnTo>
                      <a:pt x="336" y="890"/>
                    </a:lnTo>
                    <a:lnTo>
                      <a:pt x="334" y="887"/>
                    </a:lnTo>
                    <a:lnTo>
                      <a:pt x="334" y="887"/>
                    </a:lnTo>
                    <a:lnTo>
                      <a:pt x="330" y="884"/>
                    </a:lnTo>
                    <a:lnTo>
                      <a:pt x="328" y="881"/>
                    </a:lnTo>
                    <a:lnTo>
                      <a:pt x="330" y="881"/>
                    </a:lnTo>
                    <a:lnTo>
                      <a:pt x="330" y="881"/>
                    </a:lnTo>
                    <a:lnTo>
                      <a:pt x="343" y="877"/>
                    </a:lnTo>
                    <a:lnTo>
                      <a:pt x="349" y="874"/>
                    </a:lnTo>
                    <a:lnTo>
                      <a:pt x="350" y="872"/>
                    </a:lnTo>
                    <a:lnTo>
                      <a:pt x="350" y="872"/>
                    </a:lnTo>
                    <a:lnTo>
                      <a:pt x="350" y="872"/>
                    </a:lnTo>
                    <a:lnTo>
                      <a:pt x="344" y="870"/>
                    </a:lnTo>
                    <a:lnTo>
                      <a:pt x="342" y="868"/>
                    </a:lnTo>
                    <a:lnTo>
                      <a:pt x="342" y="867"/>
                    </a:lnTo>
                    <a:lnTo>
                      <a:pt x="342" y="867"/>
                    </a:lnTo>
                    <a:lnTo>
                      <a:pt x="342" y="864"/>
                    </a:lnTo>
                    <a:lnTo>
                      <a:pt x="346" y="859"/>
                    </a:lnTo>
                    <a:lnTo>
                      <a:pt x="346" y="859"/>
                    </a:lnTo>
                    <a:lnTo>
                      <a:pt x="347" y="856"/>
                    </a:lnTo>
                    <a:lnTo>
                      <a:pt x="347" y="854"/>
                    </a:lnTo>
                    <a:lnTo>
                      <a:pt x="346" y="851"/>
                    </a:lnTo>
                    <a:lnTo>
                      <a:pt x="344" y="851"/>
                    </a:lnTo>
                    <a:lnTo>
                      <a:pt x="344" y="851"/>
                    </a:lnTo>
                    <a:lnTo>
                      <a:pt x="340" y="855"/>
                    </a:lnTo>
                    <a:lnTo>
                      <a:pt x="336" y="856"/>
                    </a:lnTo>
                    <a:lnTo>
                      <a:pt x="336" y="856"/>
                    </a:lnTo>
                    <a:lnTo>
                      <a:pt x="334" y="855"/>
                    </a:lnTo>
                    <a:lnTo>
                      <a:pt x="333" y="855"/>
                    </a:lnTo>
                    <a:lnTo>
                      <a:pt x="331" y="855"/>
                    </a:lnTo>
                    <a:lnTo>
                      <a:pt x="331" y="855"/>
                    </a:lnTo>
                    <a:lnTo>
                      <a:pt x="328" y="861"/>
                    </a:lnTo>
                    <a:lnTo>
                      <a:pt x="327" y="862"/>
                    </a:lnTo>
                    <a:lnTo>
                      <a:pt x="326" y="862"/>
                    </a:lnTo>
                    <a:lnTo>
                      <a:pt x="326" y="862"/>
                    </a:lnTo>
                    <a:lnTo>
                      <a:pt x="321" y="858"/>
                    </a:lnTo>
                    <a:lnTo>
                      <a:pt x="321" y="856"/>
                    </a:lnTo>
                    <a:lnTo>
                      <a:pt x="321" y="854"/>
                    </a:lnTo>
                    <a:lnTo>
                      <a:pt x="321" y="854"/>
                    </a:lnTo>
                    <a:lnTo>
                      <a:pt x="327" y="848"/>
                    </a:lnTo>
                    <a:lnTo>
                      <a:pt x="328" y="846"/>
                    </a:lnTo>
                    <a:lnTo>
                      <a:pt x="328" y="845"/>
                    </a:lnTo>
                    <a:lnTo>
                      <a:pt x="328" y="845"/>
                    </a:lnTo>
                    <a:lnTo>
                      <a:pt x="326" y="842"/>
                    </a:lnTo>
                    <a:lnTo>
                      <a:pt x="323" y="839"/>
                    </a:lnTo>
                    <a:lnTo>
                      <a:pt x="323" y="839"/>
                    </a:lnTo>
                    <a:lnTo>
                      <a:pt x="321" y="836"/>
                    </a:lnTo>
                    <a:lnTo>
                      <a:pt x="315" y="829"/>
                    </a:lnTo>
                    <a:lnTo>
                      <a:pt x="315" y="829"/>
                    </a:lnTo>
                    <a:lnTo>
                      <a:pt x="310" y="825"/>
                    </a:lnTo>
                    <a:lnTo>
                      <a:pt x="308" y="822"/>
                    </a:lnTo>
                    <a:lnTo>
                      <a:pt x="308" y="820"/>
                    </a:lnTo>
                    <a:lnTo>
                      <a:pt x="308" y="820"/>
                    </a:lnTo>
                    <a:lnTo>
                      <a:pt x="310" y="816"/>
                    </a:lnTo>
                    <a:lnTo>
                      <a:pt x="311" y="813"/>
                    </a:lnTo>
                    <a:lnTo>
                      <a:pt x="314" y="813"/>
                    </a:lnTo>
                    <a:lnTo>
                      <a:pt x="314" y="813"/>
                    </a:lnTo>
                    <a:lnTo>
                      <a:pt x="318" y="814"/>
                    </a:lnTo>
                    <a:lnTo>
                      <a:pt x="320" y="814"/>
                    </a:lnTo>
                    <a:lnTo>
                      <a:pt x="321" y="814"/>
                    </a:lnTo>
                    <a:lnTo>
                      <a:pt x="321" y="814"/>
                    </a:lnTo>
                    <a:lnTo>
                      <a:pt x="323" y="813"/>
                    </a:lnTo>
                    <a:lnTo>
                      <a:pt x="321" y="810"/>
                    </a:lnTo>
                    <a:lnTo>
                      <a:pt x="320" y="809"/>
                    </a:lnTo>
                    <a:lnTo>
                      <a:pt x="318" y="807"/>
                    </a:lnTo>
                    <a:lnTo>
                      <a:pt x="318" y="807"/>
                    </a:lnTo>
                    <a:lnTo>
                      <a:pt x="313" y="810"/>
                    </a:lnTo>
                    <a:lnTo>
                      <a:pt x="308" y="810"/>
                    </a:lnTo>
                    <a:lnTo>
                      <a:pt x="305" y="810"/>
                    </a:lnTo>
                    <a:lnTo>
                      <a:pt x="305" y="810"/>
                    </a:lnTo>
                    <a:lnTo>
                      <a:pt x="302" y="809"/>
                    </a:lnTo>
                    <a:lnTo>
                      <a:pt x="302" y="807"/>
                    </a:lnTo>
                    <a:lnTo>
                      <a:pt x="305" y="803"/>
                    </a:lnTo>
                    <a:lnTo>
                      <a:pt x="305" y="803"/>
                    </a:lnTo>
                    <a:lnTo>
                      <a:pt x="315" y="793"/>
                    </a:lnTo>
                    <a:lnTo>
                      <a:pt x="321" y="787"/>
                    </a:lnTo>
                    <a:lnTo>
                      <a:pt x="323" y="786"/>
                    </a:lnTo>
                    <a:lnTo>
                      <a:pt x="321" y="784"/>
                    </a:lnTo>
                    <a:lnTo>
                      <a:pt x="321" y="784"/>
                    </a:lnTo>
                    <a:lnTo>
                      <a:pt x="317" y="787"/>
                    </a:lnTo>
                    <a:lnTo>
                      <a:pt x="313" y="791"/>
                    </a:lnTo>
                    <a:lnTo>
                      <a:pt x="307" y="796"/>
                    </a:lnTo>
                    <a:lnTo>
                      <a:pt x="304" y="797"/>
                    </a:lnTo>
                    <a:lnTo>
                      <a:pt x="304" y="797"/>
                    </a:lnTo>
                    <a:lnTo>
                      <a:pt x="300" y="797"/>
                    </a:lnTo>
                    <a:lnTo>
                      <a:pt x="295" y="794"/>
                    </a:lnTo>
                    <a:lnTo>
                      <a:pt x="291" y="791"/>
                    </a:lnTo>
                    <a:lnTo>
                      <a:pt x="292" y="790"/>
                    </a:lnTo>
                    <a:lnTo>
                      <a:pt x="294" y="788"/>
                    </a:lnTo>
                    <a:lnTo>
                      <a:pt x="294" y="788"/>
                    </a:lnTo>
                    <a:lnTo>
                      <a:pt x="300" y="786"/>
                    </a:lnTo>
                    <a:lnTo>
                      <a:pt x="305" y="784"/>
                    </a:lnTo>
                    <a:lnTo>
                      <a:pt x="305" y="784"/>
                    </a:lnTo>
                    <a:lnTo>
                      <a:pt x="305" y="783"/>
                    </a:lnTo>
                    <a:lnTo>
                      <a:pt x="305" y="783"/>
                    </a:lnTo>
                    <a:lnTo>
                      <a:pt x="302" y="781"/>
                    </a:lnTo>
                    <a:lnTo>
                      <a:pt x="300" y="778"/>
                    </a:lnTo>
                    <a:lnTo>
                      <a:pt x="301" y="777"/>
                    </a:lnTo>
                    <a:lnTo>
                      <a:pt x="302" y="775"/>
                    </a:lnTo>
                    <a:lnTo>
                      <a:pt x="302" y="775"/>
                    </a:lnTo>
                    <a:lnTo>
                      <a:pt x="310" y="772"/>
                    </a:lnTo>
                    <a:lnTo>
                      <a:pt x="311" y="771"/>
                    </a:lnTo>
                    <a:lnTo>
                      <a:pt x="311" y="770"/>
                    </a:lnTo>
                    <a:lnTo>
                      <a:pt x="311" y="770"/>
                    </a:lnTo>
                    <a:lnTo>
                      <a:pt x="310" y="768"/>
                    </a:lnTo>
                    <a:lnTo>
                      <a:pt x="305" y="767"/>
                    </a:lnTo>
                    <a:lnTo>
                      <a:pt x="305" y="767"/>
                    </a:lnTo>
                    <a:lnTo>
                      <a:pt x="302" y="765"/>
                    </a:lnTo>
                    <a:lnTo>
                      <a:pt x="298" y="764"/>
                    </a:lnTo>
                    <a:lnTo>
                      <a:pt x="298" y="764"/>
                    </a:lnTo>
                    <a:lnTo>
                      <a:pt x="295" y="761"/>
                    </a:lnTo>
                    <a:lnTo>
                      <a:pt x="295" y="758"/>
                    </a:lnTo>
                    <a:lnTo>
                      <a:pt x="295" y="754"/>
                    </a:lnTo>
                    <a:lnTo>
                      <a:pt x="295" y="754"/>
                    </a:lnTo>
                    <a:lnTo>
                      <a:pt x="302" y="752"/>
                    </a:lnTo>
                    <a:lnTo>
                      <a:pt x="315" y="752"/>
                    </a:lnTo>
                    <a:lnTo>
                      <a:pt x="326" y="752"/>
                    </a:lnTo>
                    <a:lnTo>
                      <a:pt x="328" y="751"/>
                    </a:lnTo>
                    <a:lnTo>
                      <a:pt x="327" y="751"/>
                    </a:lnTo>
                    <a:lnTo>
                      <a:pt x="327" y="751"/>
                    </a:lnTo>
                    <a:lnTo>
                      <a:pt x="321" y="748"/>
                    </a:lnTo>
                    <a:lnTo>
                      <a:pt x="315" y="746"/>
                    </a:lnTo>
                    <a:lnTo>
                      <a:pt x="315" y="746"/>
                    </a:lnTo>
                    <a:lnTo>
                      <a:pt x="302" y="748"/>
                    </a:lnTo>
                    <a:lnTo>
                      <a:pt x="297" y="749"/>
                    </a:lnTo>
                    <a:lnTo>
                      <a:pt x="295" y="748"/>
                    </a:lnTo>
                    <a:lnTo>
                      <a:pt x="294" y="748"/>
                    </a:lnTo>
                    <a:lnTo>
                      <a:pt x="294" y="748"/>
                    </a:lnTo>
                    <a:lnTo>
                      <a:pt x="297" y="744"/>
                    </a:lnTo>
                    <a:lnTo>
                      <a:pt x="300" y="738"/>
                    </a:lnTo>
                    <a:lnTo>
                      <a:pt x="300" y="738"/>
                    </a:lnTo>
                    <a:lnTo>
                      <a:pt x="301" y="736"/>
                    </a:lnTo>
                    <a:lnTo>
                      <a:pt x="304" y="733"/>
                    </a:lnTo>
                    <a:lnTo>
                      <a:pt x="308" y="732"/>
                    </a:lnTo>
                    <a:lnTo>
                      <a:pt x="313" y="732"/>
                    </a:lnTo>
                    <a:lnTo>
                      <a:pt x="313" y="732"/>
                    </a:lnTo>
                    <a:lnTo>
                      <a:pt x="321" y="733"/>
                    </a:lnTo>
                    <a:lnTo>
                      <a:pt x="327" y="733"/>
                    </a:lnTo>
                    <a:lnTo>
                      <a:pt x="327" y="733"/>
                    </a:lnTo>
                    <a:lnTo>
                      <a:pt x="331" y="735"/>
                    </a:lnTo>
                    <a:lnTo>
                      <a:pt x="333" y="736"/>
                    </a:lnTo>
                    <a:lnTo>
                      <a:pt x="336" y="739"/>
                    </a:lnTo>
                    <a:lnTo>
                      <a:pt x="340" y="741"/>
                    </a:lnTo>
                    <a:lnTo>
                      <a:pt x="340" y="741"/>
                    </a:lnTo>
                    <a:lnTo>
                      <a:pt x="349" y="744"/>
                    </a:lnTo>
                    <a:lnTo>
                      <a:pt x="352" y="744"/>
                    </a:lnTo>
                    <a:lnTo>
                      <a:pt x="350" y="741"/>
                    </a:lnTo>
                    <a:lnTo>
                      <a:pt x="350" y="741"/>
                    </a:lnTo>
                    <a:lnTo>
                      <a:pt x="343" y="735"/>
                    </a:lnTo>
                    <a:lnTo>
                      <a:pt x="342" y="733"/>
                    </a:lnTo>
                    <a:lnTo>
                      <a:pt x="342" y="732"/>
                    </a:lnTo>
                    <a:lnTo>
                      <a:pt x="342" y="732"/>
                    </a:lnTo>
                    <a:lnTo>
                      <a:pt x="347" y="730"/>
                    </a:lnTo>
                    <a:lnTo>
                      <a:pt x="349" y="729"/>
                    </a:lnTo>
                    <a:lnTo>
                      <a:pt x="347" y="728"/>
                    </a:lnTo>
                    <a:lnTo>
                      <a:pt x="347" y="728"/>
                    </a:lnTo>
                    <a:lnTo>
                      <a:pt x="347" y="726"/>
                    </a:lnTo>
                    <a:lnTo>
                      <a:pt x="347" y="725"/>
                    </a:lnTo>
                    <a:lnTo>
                      <a:pt x="346" y="722"/>
                    </a:lnTo>
                    <a:lnTo>
                      <a:pt x="342" y="720"/>
                    </a:lnTo>
                    <a:lnTo>
                      <a:pt x="342" y="720"/>
                    </a:lnTo>
                    <a:lnTo>
                      <a:pt x="339" y="717"/>
                    </a:lnTo>
                    <a:lnTo>
                      <a:pt x="337" y="715"/>
                    </a:lnTo>
                    <a:lnTo>
                      <a:pt x="337" y="713"/>
                    </a:lnTo>
                    <a:lnTo>
                      <a:pt x="336" y="712"/>
                    </a:lnTo>
                    <a:lnTo>
                      <a:pt x="336" y="712"/>
                    </a:lnTo>
                    <a:lnTo>
                      <a:pt x="334" y="712"/>
                    </a:lnTo>
                    <a:lnTo>
                      <a:pt x="334" y="710"/>
                    </a:lnTo>
                    <a:lnTo>
                      <a:pt x="336" y="706"/>
                    </a:lnTo>
                    <a:lnTo>
                      <a:pt x="339" y="702"/>
                    </a:lnTo>
                    <a:lnTo>
                      <a:pt x="339" y="699"/>
                    </a:lnTo>
                    <a:lnTo>
                      <a:pt x="339" y="699"/>
                    </a:lnTo>
                    <a:lnTo>
                      <a:pt x="331" y="699"/>
                    </a:lnTo>
                    <a:lnTo>
                      <a:pt x="328" y="699"/>
                    </a:lnTo>
                    <a:lnTo>
                      <a:pt x="328" y="699"/>
                    </a:lnTo>
                    <a:lnTo>
                      <a:pt x="330" y="697"/>
                    </a:lnTo>
                    <a:lnTo>
                      <a:pt x="330" y="697"/>
                    </a:lnTo>
                    <a:lnTo>
                      <a:pt x="337" y="693"/>
                    </a:lnTo>
                    <a:lnTo>
                      <a:pt x="339" y="690"/>
                    </a:lnTo>
                    <a:lnTo>
                      <a:pt x="339" y="690"/>
                    </a:lnTo>
                    <a:lnTo>
                      <a:pt x="339" y="688"/>
                    </a:lnTo>
                    <a:lnTo>
                      <a:pt x="339" y="688"/>
                    </a:lnTo>
                    <a:lnTo>
                      <a:pt x="333" y="687"/>
                    </a:lnTo>
                    <a:lnTo>
                      <a:pt x="333" y="686"/>
                    </a:lnTo>
                    <a:lnTo>
                      <a:pt x="334" y="683"/>
                    </a:lnTo>
                    <a:lnTo>
                      <a:pt x="334" y="683"/>
                    </a:lnTo>
                    <a:lnTo>
                      <a:pt x="336" y="680"/>
                    </a:lnTo>
                    <a:lnTo>
                      <a:pt x="336" y="675"/>
                    </a:lnTo>
                    <a:lnTo>
                      <a:pt x="337" y="674"/>
                    </a:lnTo>
                    <a:lnTo>
                      <a:pt x="339" y="674"/>
                    </a:lnTo>
                    <a:lnTo>
                      <a:pt x="339" y="674"/>
                    </a:lnTo>
                    <a:lnTo>
                      <a:pt x="343" y="677"/>
                    </a:lnTo>
                    <a:lnTo>
                      <a:pt x="344" y="680"/>
                    </a:lnTo>
                    <a:lnTo>
                      <a:pt x="346" y="683"/>
                    </a:lnTo>
                    <a:lnTo>
                      <a:pt x="347" y="683"/>
                    </a:lnTo>
                    <a:lnTo>
                      <a:pt x="347" y="681"/>
                    </a:lnTo>
                    <a:lnTo>
                      <a:pt x="347" y="681"/>
                    </a:lnTo>
                    <a:lnTo>
                      <a:pt x="347" y="680"/>
                    </a:lnTo>
                    <a:lnTo>
                      <a:pt x="346" y="678"/>
                    </a:lnTo>
                    <a:lnTo>
                      <a:pt x="346" y="675"/>
                    </a:lnTo>
                    <a:lnTo>
                      <a:pt x="347" y="674"/>
                    </a:lnTo>
                    <a:lnTo>
                      <a:pt x="347" y="674"/>
                    </a:lnTo>
                    <a:lnTo>
                      <a:pt x="350" y="673"/>
                    </a:lnTo>
                    <a:lnTo>
                      <a:pt x="350" y="670"/>
                    </a:lnTo>
                    <a:lnTo>
                      <a:pt x="350" y="664"/>
                    </a:lnTo>
                    <a:lnTo>
                      <a:pt x="350" y="664"/>
                    </a:lnTo>
                    <a:lnTo>
                      <a:pt x="349" y="658"/>
                    </a:lnTo>
                    <a:lnTo>
                      <a:pt x="346" y="651"/>
                    </a:lnTo>
                    <a:lnTo>
                      <a:pt x="346" y="651"/>
                    </a:lnTo>
                    <a:lnTo>
                      <a:pt x="343" y="644"/>
                    </a:lnTo>
                    <a:lnTo>
                      <a:pt x="343" y="641"/>
                    </a:lnTo>
                    <a:lnTo>
                      <a:pt x="346" y="641"/>
                    </a:lnTo>
                    <a:lnTo>
                      <a:pt x="346" y="641"/>
                    </a:lnTo>
                    <a:lnTo>
                      <a:pt x="349" y="638"/>
                    </a:lnTo>
                    <a:lnTo>
                      <a:pt x="350" y="635"/>
                    </a:lnTo>
                    <a:lnTo>
                      <a:pt x="349" y="631"/>
                    </a:lnTo>
                    <a:lnTo>
                      <a:pt x="349" y="629"/>
                    </a:lnTo>
                    <a:lnTo>
                      <a:pt x="349" y="629"/>
                    </a:lnTo>
                    <a:lnTo>
                      <a:pt x="344" y="632"/>
                    </a:lnTo>
                    <a:lnTo>
                      <a:pt x="343" y="633"/>
                    </a:lnTo>
                    <a:lnTo>
                      <a:pt x="340" y="631"/>
                    </a:lnTo>
                    <a:lnTo>
                      <a:pt x="340" y="631"/>
                    </a:lnTo>
                    <a:lnTo>
                      <a:pt x="339" y="628"/>
                    </a:lnTo>
                    <a:lnTo>
                      <a:pt x="339" y="626"/>
                    </a:lnTo>
                    <a:lnTo>
                      <a:pt x="339" y="626"/>
                    </a:lnTo>
                    <a:lnTo>
                      <a:pt x="336" y="626"/>
                    </a:lnTo>
                    <a:lnTo>
                      <a:pt x="336" y="626"/>
                    </a:lnTo>
                    <a:lnTo>
                      <a:pt x="331" y="629"/>
                    </a:lnTo>
                    <a:lnTo>
                      <a:pt x="326" y="631"/>
                    </a:lnTo>
                    <a:lnTo>
                      <a:pt x="326" y="631"/>
                    </a:lnTo>
                    <a:lnTo>
                      <a:pt x="320" y="631"/>
                    </a:lnTo>
                    <a:lnTo>
                      <a:pt x="317" y="629"/>
                    </a:lnTo>
                    <a:lnTo>
                      <a:pt x="315" y="626"/>
                    </a:lnTo>
                    <a:lnTo>
                      <a:pt x="315" y="626"/>
                    </a:lnTo>
                    <a:lnTo>
                      <a:pt x="314" y="623"/>
                    </a:lnTo>
                    <a:lnTo>
                      <a:pt x="313" y="622"/>
                    </a:lnTo>
                    <a:lnTo>
                      <a:pt x="307" y="617"/>
                    </a:lnTo>
                    <a:lnTo>
                      <a:pt x="307" y="617"/>
                    </a:lnTo>
                    <a:lnTo>
                      <a:pt x="302" y="616"/>
                    </a:lnTo>
                    <a:lnTo>
                      <a:pt x="298" y="615"/>
                    </a:lnTo>
                    <a:lnTo>
                      <a:pt x="289" y="613"/>
                    </a:lnTo>
                    <a:lnTo>
                      <a:pt x="289" y="613"/>
                    </a:lnTo>
                    <a:lnTo>
                      <a:pt x="286" y="610"/>
                    </a:lnTo>
                    <a:lnTo>
                      <a:pt x="285" y="607"/>
                    </a:lnTo>
                    <a:lnTo>
                      <a:pt x="285" y="600"/>
                    </a:lnTo>
                    <a:lnTo>
                      <a:pt x="285" y="600"/>
                    </a:lnTo>
                    <a:lnTo>
                      <a:pt x="284" y="593"/>
                    </a:lnTo>
                    <a:lnTo>
                      <a:pt x="285" y="591"/>
                    </a:lnTo>
                    <a:lnTo>
                      <a:pt x="286" y="591"/>
                    </a:lnTo>
                    <a:lnTo>
                      <a:pt x="286" y="591"/>
                    </a:lnTo>
                    <a:lnTo>
                      <a:pt x="295" y="591"/>
                    </a:lnTo>
                    <a:lnTo>
                      <a:pt x="300" y="591"/>
                    </a:lnTo>
                    <a:lnTo>
                      <a:pt x="305" y="593"/>
                    </a:lnTo>
                    <a:lnTo>
                      <a:pt x="305" y="593"/>
                    </a:lnTo>
                    <a:lnTo>
                      <a:pt x="310" y="594"/>
                    </a:lnTo>
                    <a:lnTo>
                      <a:pt x="314" y="599"/>
                    </a:lnTo>
                    <a:lnTo>
                      <a:pt x="323" y="604"/>
                    </a:lnTo>
                    <a:lnTo>
                      <a:pt x="323" y="604"/>
                    </a:lnTo>
                    <a:lnTo>
                      <a:pt x="336" y="612"/>
                    </a:lnTo>
                    <a:lnTo>
                      <a:pt x="340" y="613"/>
                    </a:lnTo>
                    <a:lnTo>
                      <a:pt x="342" y="613"/>
                    </a:lnTo>
                    <a:lnTo>
                      <a:pt x="342" y="612"/>
                    </a:lnTo>
                    <a:lnTo>
                      <a:pt x="342" y="612"/>
                    </a:lnTo>
                    <a:lnTo>
                      <a:pt x="340" y="609"/>
                    </a:lnTo>
                    <a:lnTo>
                      <a:pt x="337" y="606"/>
                    </a:lnTo>
                    <a:lnTo>
                      <a:pt x="333" y="600"/>
                    </a:lnTo>
                    <a:lnTo>
                      <a:pt x="333" y="600"/>
                    </a:lnTo>
                    <a:lnTo>
                      <a:pt x="333" y="600"/>
                    </a:lnTo>
                    <a:lnTo>
                      <a:pt x="334" y="600"/>
                    </a:lnTo>
                    <a:lnTo>
                      <a:pt x="339" y="602"/>
                    </a:lnTo>
                    <a:lnTo>
                      <a:pt x="343" y="603"/>
                    </a:lnTo>
                    <a:lnTo>
                      <a:pt x="346" y="603"/>
                    </a:lnTo>
                    <a:lnTo>
                      <a:pt x="346" y="603"/>
                    </a:lnTo>
                    <a:lnTo>
                      <a:pt x="346" y="603"/>
                    </a:lnTo>
                    <a:lnTo>
                      <a:pt x="344" y="597"/>
                    </a:lnTo>
                    <a:lnTo>
                      <a:pt x="340" y="593"/>
                    </a:lnTo>
                    <a:lnTo>
                      <a:pt x="340" y="593"/>
                    </a:lnTo>
                    <a:lnTo>
                      <a:pt x="339" y="591"/>
                    </a:lnTo>
                    <a:lnTo>
                      <a:pt x="339" y="590"/>
                    </a:lnTo>
                    <a:lnTo>
                      <a:pt x="342" y="587"/>
                    </a:lnTo>
                    <a:lnTo>
                      <a:pt x="344" y="586"/>
                    </a:lnTo>
                    <a:lnTo>
                      <a:pt x="346" y="586"/>
                    </a:lnTo>
                    <a:lnTo>
                      <a:pt x="344" y="586"/>
                    </a:lnTo>
                    <a:lnTo>
                      <a:pt x="344" y="586"/>
                    </a:lnTo>
                    <a:lnTo>
                      <a:pt x="343" y="584"/>
                    </a:lnTo>
                    <a:lnTo>
                      <a:pt x="343" y="583"/>
                    </a:lnTo>
                    <a:lnTo>
                      <a:pt x="343" y="581"/>
                    </a:lnTo>
                    <a:lnTo>
                      <a:pt x="342" y="581"/>
                    </a:lnTo>
                    <a:lnTo>
                      <a:pt x="342" y="581"/>
                    </a:lnTo>
                    <a:lnTo>
                      <a:pt x="340" y="581"/>
                    </a:lnTo>
                    <a:lnTo>
                      <a:pt x="339" y="580"/>
                    </a:lnTo>
                    <a:lnTo>
                      <a:pt x="331" y="578"/>
                    </a:lnTo>
                    <a:lnTo>
                      <a:pt x="331" y="578"/>
                    </a:lnTo>
                    <a:lnTo>
                      <a:pt x="327" y="577"/>
                    </a:lnTo>
                    <a:lnTo>
                      <a:pt x="323" y="578"/>
                    </a:lnTo>
                    <a:lnTo>
                      <a:pt x="320" y="578"/>
                    </a:lnTo>
                    <a:lnTo>
                      <a:pt x="321" y="575"/>
                    </a:lnTo>
                    <a:lnTo>
                      <a:pt x="321" y="575"/>
                    </a:lnTo>
                    <a:lnTo>
                      <a:pt x="328" y="573"/>
                    </a:lnTo>
                    <a:lnTo>
                      <a:pt x="330" y="571"/>
                    </a:lnTo>
                    <a:lnTo>
                      <a:pt x="330" y="570"/>
                    </a:lnTo>
                    <a:lnTo>
                      <a:pt x="330" y="570"/>
                    </a:lnTo>
                    <a:lnTo>
                      <a:pt x="328" y="567"/>
                    </a:lnTo>
                    <a:lnTo>
                      <a:pt x="328" y="567"/>
                    </a:lnTo>
                    <a:lnTo>
                      <a:pt x="327" y="565"/>
                    </a:lnTo>
                    <a:lnTo>
                      <a:pt x="321" y="564"/>
                    </a:lnTo>
                    <a:lnTo>
                      <a:pt x="321" y="564"/>
                    </a:lnTo>
                    <a:lnTo>
                      <a:pt x="310" y="562"/>
                    </a:lnTo>
                    <a:lnTo>
                      <a:pt x="307" y="561"/>
                    </a:lnTo>
                    <a:lnTo>
                      <a:pt x="307" y="560"/>
                    </a:lnTo>
                    <a:lnTo>
                      <a:pt x="310" y="560"/>
                    </a:lnTo>
                    <a:lnTo>
                      <a:pt x="310" y="560"/>
                    </a:lnTo>
                    <a:lnTo>
                      <a:pt x="321" y="554"/>
                    </a:lnTo>
                    <a:lnTo>
                      <a:pt x="324" y="551"/>
                    </a:lnTo>
                    <a:lnTo>
                      <a:pt x="324" y="549"/>
                    </a:lnTo>
                    <a:lnTo>
                      <a:pt x="324" y="549"/>
                    </a:lnTo>
                    <a:lnTo>
                      <a:pt x="324" y="549"/>
                    </a:lnTo>
                    <a:lnTo>
                      <a:pt x="320" y="549"/>
                    </a:lnTo>
                    <a:lnTo>
                      <a:pt x="318" y="548"/>
                    </a:lnTo>
                    <a:lnTo>
                      <a:pt x="315" y="548"/>
                    </a:lnTo>
                    <a:lnTo>
                      <a:pt x="314" y="549"/>
                    </a:lnTo>
                    <a:lnTo>
                      <a:pt x="314" y="549"/>
                    </a:lnTo>
                    <a:lnTo>
                      <a:pt x="313" y="554"/>
                    </a:lnTo>
                    <a:lnTo>
                      <a:pt x="310" y="554"/>
                    </a:lnTo>
                    <a:lnTo>
                      <a:pt x="307" y="552"/>
                    </a:lnTo>
                    <a:lnTo>
                      <a:pt x="307" y="552"/>
                    </a:lnTo>
                    <a:lnTo>
                      <a:pt x="304" y="549"/>
                    </a:lnTo>
                    <a:lnTo>
                      <a:pt x="302" y="548"/>
                    </a:lnTo>
                    <a:lnTo>
                      <a:pt x="301" y="542"/>
                    </a:lnTo>
                    <a:lnTo>
                      <a:pt x="301" y="532"/>
                    </a:lnTo>
                    <a:lnTo>
                      <a:pt x="301" y="532"/>
                    </a:lnTo>
                    <a:lnTo>
                      <a:pt x="298" y="523"/>
                    </a:lnTo>
                    <a:lnTo>
                      <a:pt x="297" y="520"/>
                    </a:lnTo>
                    <a:lnTo>
                      <a:pt x="295" y="519"/>
                    </a:lnTo>
                    <a:lnTo>
                      <a:pt x="295" y="519"/>
                    </a:lnTo>
                    <a:lnTo>
                      <a:pt x="294" y="525"/>
                    </a:lnTo>
                    <a:lnTo>
                      <a:pt x="294" y="531"/>
                    </a:lnTo>
                    <a:lnTo>
                      <a:pt x="294" y="531"/>
                    </a:lnTo>
                    <a:lnTo>
                      <a:pt x="294" y="536"/>
                    </a:lnTo>
                    <a:lnTo>
                      <a:pt x="294" y="541"/>
                    </a:lnTo>
                    <a:lnTo>
                      <a:pt x="294" y="541"/>
                    </a:lnTo>
                    <a:lnTo>
                      <a:pt x="291" y="548"/>
                    </a:lnTo>
                    <a:lnTo>
                      <a:pt x="289" y="552"/>
                    </a:lnTo>
                    <a:lnTo>
                      <a:pt x="289" y="555"/>
                    </a:lnTo>
                    <a:lnTo>
                      <a:pt x="289" y="555"/>
                    </a:lnTo>
                    <a:lnTo>
                      <a:pt x="291" y="560"/>
                    </a:lnTo>
                    <a:lnTo>
                      <a:pt x="291" y="561"/>
                    </a:lnTo>
                    <a:lnTo>
                      <a:pt x="289" y="564"/>
                    </a:lnTo>
                    <a:lnTo>
                      <a:pt x="289" y="564"/>
                    </a:lnTo>
                    <a:lnTo>
                      <a:pt x="284" y="567"/>
                    </a:lnTo>
                    <a:lnTo>
                      <a:pt x="281" y="568"/>
                    </a:lnTo>
                    <a:lnTo>
                      <a:pt x="279" y="565"/>
                    </a:lnTo>
                    <a:lnTo>
                      <a:pt x="279" y="565"/>
                    </a:lnTo>
                    <a:lnTo>
                      <a:pt x="275" y="560"/>
                    </a:lnTo>
                    <a:lnTo>
                      <a:pt x="273" y="558"/>
                    </a:lnTo>
                    <a:lnTo>
                      <a:pt x="272" y="560"/>
                    </a:lnTo>
                    <a:lnTo>
                      <a:pt x="272" y="560"/>
                    </a:lnTo>
                    <a:lnTo>
                      <a:pt x="272" y="564"/>
                    </a:lnTo>
                    <a:lnTo>
                      <a:pt x="268" y="564"/>
                    </a:lnTo>
                    <a:lnTo>
                      <a:pt x="268" y="564"/>
                    </a:lnTo>
                    <a:lnTo>
                      <a:pt x="266" y="561"/>
                    </a:lnTo>
                    <a:lnTo>
                      <a:pt x="265" y="557"/>
                    </a:lnTo>
                    <a:lnTo>
                      <a:pt x="263" y="549"/>
                    </a:lnTo>
                    <a:lnTo>
                      <a:pt x="263" y="549"/>
                    </a:lnTo>
                    <a:lnTo>
                      <a:pt x="263" y="547"/>
                    </a:lnTo>
                    <a:lnTo>
                      <a:pt x="265" y="547"/>
                    </a:lnTo>
                    <a:lnTo>
                      <a:pt x="269" y="547"/>
                    </a:lnTo>
                    <a:lnTo>
                      <a:pt x="272" y="544"/>
                    </a:lnTo>
                    <a:lnTo>
                      <a:pt x="272" y="544"/>
                    </a:lnTo>
                    <a:lnTo>
                      <a:pt x="281" y="539"/>
                    </a:lnTo>
                    <a:lnTo>
                      <a:pt x="284" y="538"/>
                    </a:lnTo>
                    <a:lnTo>
                      <a:pt x="284" y="536"/>
                    </a:lnTo>
                    <a:lnTo>
                      <a:pt x="284" y="536"/>
                    </a:lnTo>
                    <a:lnTo>
                      <a:pt x="281" y="536"/>
                    </a:lnTo>
                    <a:lnTo>
                      <a:pt x="278" y="536"/>
                    </a:lnTo>
                    <a:lnTo>
                      <a:pt x="273" y="538"/>
                    </a:lnTo>
                    <a:lnTo>
                      <a:pt x="273" y="538"/>
                    </a:lnTo>
                    <a:lnTo>
                      <a:pt x="268" y="538"/>
                    </a:lnTo>
                    <a:lnTo>
                      <a:pt x="263" y="536"/>
                    </a:lnTo>
                    <a:lnTo>
                      <a:pt x="263" y="535"/>
                    </a:lnTo>
                    <a:lnTo>
                      <a:pt x="265" y="533"/>
                    </a:lnTo>
                    <a:lnTo>
                      <a:pt x="265" y="533"/>
                    </a:lnTo>
                    <a:lnTo>
                      <a:pt x="271" y="528"/>
                    </a:lnTo>
                    <a:lnTo>
                      <a:pt x="273" y="523"/>
                    </a:lnTo>
                    <a:lnTo>
                      <a:pt x="275" y="520"/>
                    </a:lnTo>
                    <a:lnTo>
                      <a:pt x="275" y="520"/>
                    </a:lnTo>
                    <a:lnTo>
                      <a:pt x="275" y="518"/>
                    </a:lnTo>
                    <a:lnTo>
                      <a:pt x="276" y="515"/>
                    </a:lnTo>
                    <a:lnTo>
                      <a:pt x="278" y="513"/>
                    </a:lnTo>
                    <a:lnTo>
                      <a:pt x="278" y="513"/>
                    </a:lnTo>
                    <a:lnTo>
                      <a:pt x="278" y="513"/>
                    </a:lnTo>
                    <a:lnTo>
                      <a:pt x="275" y="509"/>
                    </a:lnTo>
                    <a:lnTo>
                      <a:pt x="273" y="507"/>
                    </a:lnTo>
                    <a:lnTo>
                      <a:pt x="276" y="506"/>
                    </a:lnTo>
                    <a:lnTo>
                      <a:pt x="276" y="506"/>
                    </a:lnTo>
                    <a:lnTo>
                      <a:pt x="282" y="506"/>
                    </a:lnTo>
                    <a:lnTo>
                      <a:pt x="284" y="505"/>
                    </a:lnTo>
                    <a:lnTo>
                      <a:pt x="282" y="503"/>
                    </a:lnTo>
                    <a:lnTo>
                      <a:pt x="282" y="503"/>
                    </a:lnTo>
                    <a:lnTo>
                      <a:pt x="279" y="494"/>
                    </a:lnTo>
                    <a:lnTo>
                      <a:pt x="278" y="493"/>
                    </a:lnTo>
                    <a:lnTo>
                      <a:pt x="279" y="491"/>
                    </a:lnTo>
                    <a:lnTo>
                      <a:pt x="281" y="491"/>
                    </a:lnTo>
                    <a:lnTo>
                      <a:pt x="281" y="491"/>
                    </a:lnTo>
                    <a:lnTo>
                      <a:pt x="284" y="491"/>
                    </a:lnTo>
                    <a:lnTo>
                      <a:pt x="285" y="493"/>
                    </a:lnTo>
                    <a:lnTo>
                      <a:pt x="286" y="497"/>
                    </a:lnTo>
                    <a:lnTo>
                      <a:pt x="286" y="497"/>
                    </a:lnTo>
                    <a:lnTo>
                      <a:pt x="288" y="502"/>
                    </a:lnTo>
                    <a:lnTo>
                      <a:pt x="289" y="503"/>
                    </a:lnTo>
                    <a:lnTo>
                      <a:pt x="291" y="503"/>
                    </a:lnTo>
                    <a:lnTo>
                      <a:pt x="291" y="503"/>
                    </a:lnTo>
                    <a:lnTo>
                      <a:pt x="294" y="503"/>
                    </a:lnTo>
                    <a:lnTo>
                      <a:pt x="295" y="503"/>
                    </a:lnTo>
                    <a:lnTo>
                      <a:pt x="297" y="503"/>
                    </a:lnTo>
                    <a:lnTo>
                      <a:pt x="295" y="502"/>
                    </a:lnTo>
                    <a:lnTo>
                      <a:pt x="295" y="502"/>
                    </a:lnTo>
                    <a:lnTo>
                      <a:pt x="292" y="496"/>
                    </a:lnTo>
                    <a:lnTo>
                      <a:pt x="288" y="491"/>
                    </a:lnTo>
                    <a:lnTo>
                      <a:pt x="288" y="491"/>
                    </a:lnTo>
                    <a:lnTo>
                      <a:pt x="285" y="487"/>
                    </a:lnTo>
                    <a:lnTo>
                      <a:pt x="284" y="481"/>
                    </a:lnTo>
                    <a:lnTo>
                      <a:pt x="282" y="473"/>
                    </a:lnTo>
                    <a:lnTo>
                      <a:pt x="282" y="473"/>
                    </a:lnTo>
                    <a:lnTo>
                      <a:pt x="279" y="465"/>
                    </a:lnTo>
                    <a:lnTo>
                      <a:pt x="278" y="461"/>
                    </a:lnTo>
                    <a:lnTo>
                      <a:pt x="278" y="458"/>
                    </a:lnTo>
                    <a:lnTo>
                      <a:pt x="278" y="458"/>
                    </a:lnTo>
                    <a:lnTo>
                      <a:pt x="275" y="447"/>
                    </a:lnTo>
                    <a:lnTo>
                      <a:pt x="271" y="435"/>
                    </a:lnTo>
                    <a:lnTo>
                      <a:pt x="271" y="435"/>
                    </a:lnTo>
                    <a:lnTo>
                      <a:pt x="266" y="426"/>
                    </a:lnTo>
                    <a:lnTo>
                      <a:pt x="265" y="423"/>
                    </a:lnTo>
                    <a:lnTo>
                      <a:pt x="265" y="421"/>
                    </a:lnTo>
                    <a:lnTo>
                      <a:pt x="265" y="421"/>
                    </a:lnTo>
                    <a:lnTo>
                      <a:pt x="266" y="416"/>
                    </a:lnTo>
                    <a:lnTo>
                      <a:pt x="265" y="409"/>
                    </a:lnTo>
                    <a:lnTo>
                      <a:pt x="263" y="400"/>
                    </a:lnTo>
                    <a:lnTo>
                      <a:pt x="260" y="393"/>
                    </a:lnTo>
                    <a:lnTo>
                      <a:pt x="260" y="393"/>
                    </a:lnTo>
                    <a:lnTo>
                      <a:pt x="258" y="387"/>
                    </a:lnTo>
                    <a:lnTo>
                      <a:pt x="256" y="381"/>
                    </a:lnTo>
                    <a:lnTo>
                      <a:pt x="255" y="376"/>
                    </a:lnTo>
                    <a:lnTo>
                      <a:pt x="253" y="373"/>
                    </a:lnTo>
                    <a:lnTo>
                      <a:pt x="253" y="373"/>
                    </a:lnTo>
                    <a:lnTo>
                      <a:pt x="244" y="365"/>
                    </a:lnTo>
                    <a:lnTo>
                      <a:pt x="240" y="360"/>
                    </a:lnTo>
                    <a:lnTo>
                      <a:pt x="239" y="357"/>
                    </a:lnTo>
                    <a:lnTo>
                      <a:pt x="239" y="357"/>
                    </a:lnTo>
                    <a:lnTo>
                      <a:pt x="239" y="352"/>
                    </a:lnTo>
                    <a:lnTo>
                      <a:pt x="239" y="348"/>
                    </a:lnTo>
                    <a:lnTo>
                      <a:pt x="239" y="348"/>
                    </a:lnTo>
                    <a:lnTo>
                      <a:pt x="231" y="341"/>
                    </a:lnTo>
                    <a:lnTo>
                      <a:pt x="229" y="336"/>
                    </a:lnTo>
                    <a:lnTo>
                      <a:pt x="227" y="335"/>
                    </a:lnTo>
                    <a:lnTo>
                      <a:pt x="229" y="334"/>
                    </a:lnTo>
                    <a:lnTo>
                      <a:pt x="229" y="334"/>
                    </a:lnTo>
                    <a:lnTo>
                      <a:pt x="234" y="328"/>
                    </a:lnTo>
                    <a:lnTo>
                      <a:pt x="236" y="323"/>
                    </a:lnTo>
                    <a:lnTo>
                      <a:pt x="236" y="322"/>
                    </a:lnTo>
                    <a:lnTo>
                      <a:pt x="234" y="319"/>
                    </a:lnTo>
                    <a:lnTo>
                      <a:pt x="234" y="319"/>
                    </a:lnTo>
                    <a:lnTo>
                      <a:pt x="231" y="318"/>
                    </a:lnTo>
                    <a:lnTo>
                      <a:pt x="230" y="316"/>
                    </a:lnTo>
                    <a:lnTo>
                      <a:pt x="229" y="316"/>
                    </a:lnTo>
                    <a:lnTo>
                      <a:pt x="229" y="315"/>
                    </a:lnTo>
                    <a:lnTo>
                      <a:pt x="229" y="315"/>
                    </a:lnTo>
                    <a:lnTo>
                      <a:pt x="227" y="310"/>
                    </a:lnTo>
                    <a:lnTo>
                      <a:pt x="227" y="308"/>
                    </a:lnTo>
                    <a:lnTo>
                      <a:pt x="226" y="308"/>
                    </a:lnTo>
                    <a:lnTo>
                      <a:pt x="226" y="308"/>
                    </a:lnTo>
                    <a:lnTo>
                      <a:pt x="218" y="309"/>
                    </a:lnTo>
                    <a:lnTo>
                      <a:pt x="214" y="310"/>
                    </a:lnTo>
                    <a:lnTo>
                      <a:pt x="211" y="309"/>
                    </a:lnTo>
                    <a:lnTo>
                      <a:pt x="211" y="309"/>
                    </a:lnTo>
                    <a:lnTo>
                      <a:pt x="211" y="308"/>
                    </a:lnTo>
                    <a:lnTo>
                      <a:pt x="211" y="305"/>
                    </a:lnTo>
                    <a:lnTo>
                      <a:pt x="211" y="302"/>
                    </a:lnTo>
                    <a:lnTo>
                      <a:pt x="210" y="302"/>
                    </a:lnTo>
                    <a:lnTo>
                      <a:pt x="210" y="302"/>
                    </a:lnTo>
                    <a:lnTo>
                      <a:pt x="201" y="300"/>
                    </a:lnTo>
                    <a:lnTo>
                      <a:pt x="194" y="297"/>
                    </a:lnTo>
                    <a:lnTo>
                      <a:pt x="194" y="297"/>
                    </a:lnTo>
                    <a:lnTo>
                      <a:pt x="185" y="297"/>
                    </a:lnTo>
                    <a:lnTo>
                      <a:pt x="181" y="297"/>
                    </a:lnTo>
                    <a:lnTo>
                      <a:pt x="176" y="294"/>
                    </a:lnTo>
                    <a:lnTo>
                      <a:pt x="176" y="294"/>
                    </a:lnTo>
                    <a:lnTo>
                      <a:pt x="166" y="287"/>
                    </a:lnTo>
                    <a:lnTo>
                      <a:pt x="160" y="284"/>
                    </a:lnTo>
                    <a:lnTo>
                      <a:pt x="155" y="281"/>
                    </a:lnTo>
                    <a:lnTo>
                      <a:pt x="155" y="281"/>
                    </a:lnTo>
                    <a:lnTo>
                      <a:pt x="147" y="280"/>
                    </a:lnTo>
                    <a:lnTo>
                      <a:pt x="146" y="280"/>
                    </a:lnTo>
                    <a:lnTo>
                      <a:pt x="145" y="281"/>
                    </a:lnTo>
                    <a:lnTo>
                      <a:pt x="145" y="281"/>
                    </a:lnTo>
                    <a:lnTo>
                      <a:pt x="139" y="287"/>
                    </a:lnTo>
                    <a:lnTo>
                      <a:pt x="136" y="292"/>
                    </a:lnTo>
                    <a:lnTo>
                      <a:pt x="133" y="293"/>
                    </a:lnTo>
                    <a:lnTo>
                      <a:pt x="133" y="293"/>
                    </a:lnTo>
                    <a:lnTo>
                      <a:pt x="130" y="293"/>
                    </a:lnTo>
                    <a:lnTo>
                      <a:pt x="126" y="292"/>
                    </a:lnTo>
                    <a:lnTo>
                      <a:pt x="123" y="289"/>
                    </a:lnTo>
                    <a:lnTo>
                      <a:pt x="117" y="289"/>
                    </a:lnTo>
                    <a:lnTo>
                      <a:pt x="117" y="289"/>
                    </a:lnTo>
                    <a:lnTo>
                      <a:pt x="113" y="290"/>
                    </a:lnTo>
                    <a:lnTo>
                      <a:pt x="108" y="292"/>
                    </a:lnTo>
                    <a:lnTo>
                      <a:pt x="103" y="296"/>
                    </a:lnTo>
                    <a:lnTo>
                      <a:pt x="103" y="296"/>
                    </a:lnTo>
                    <a:lnTo>
                      <a:pt x="97" y="297"/>
                    </a:lnTo>
                    <a:lnTo>
                      <a:pt x="92" y="299"/>
                    </a:lnTo>
                    <a:lnTo>
                      <a:pt x="91" y="300"/>
                    </a:lnTo>
                    <a:lnTo>
                      <a:pt x="91" y="300"/>
                    </a:lnTo>
                    <a:lnTo>
                      <a:pt x="91" y="303"/>
                    </a:lnTo>
                    <a:lnTo>
                      <a:pt x="90" y="305"/>
                    </a:lnTo>
                    <a:lnTo>
                      <a:pt x="88" y="306"/>
                    </a:lnTo>
                    <a:lnTo>
                      <a:pt x="85" y="305"/>
                    </a:lnTo>
                    <a:lnTo>
                      <a:pt x="85" y="305"/>
                    </a:lnTo>
                    <a:lnTo>
                      <a:pt x="72" y="302"/>
                    </a:lnTo>
                    <a:lnTo>
                      <a:pt x="65" y="299"/>
                    </a:lnTo>
                    <a:lnTo>
                      <a:pt x="59" y="294"/>
                    </a:lnTo>
                    <a:lnTo>
                      <a:pt x="59" y="294"/>
                    </a:lnTo>
                    <a:lnTo>
                      <a:pt x="56" y="293"/>
                    </a:lnTo>
                    <a:lnTo>
                      <a:pt x="52" y="292"/>
                    </a:lnTo>
                    <a:lnTo>
                      <a:pt x="49" y="289"/>
                    </a:lnTo>
                    <a:lnTo>
                      <a:pt x="46" y="287"/>
                    </a:lnTo>
                    <a:lnTo>
                      <a:pt x="46" y="287"/>
                    </a:lnTo>
                    <a:lnTo>
                      <a:pt x="43" y="283"/>
                    </a:lnTo>
                    <a:lnTo>
                      <a:pt x="40" y="280"/>
                    </a:lnTo>
                    <a:lnTo>
                      <a:pt x="40" y="280"/>
                    </a:lnTo>
                    <a:lnTo>
                      <a:pt x="32" y="274"/>
                    </a:lnTo>
                    <a:lnTo>
                      <a:pt x="29" y="270"/>
                    </a:lnTo>
                    <a:lnTo>
                      <a:pt x="29" y="268"/>
                    </a:lnTo>
                    <a:lnTo>
                      <a:pt x="30" y="267"/>
                    </a:lnTo>
                    <a:lnTo>
                      <a:pt x="30" y="267"/>
                    </a:lnTo>
                    <a:lnTo>
                      <a:pt x="39" y="266"/>
                    </a:lnTo>
                    <a:lnTo>
                      <a:pt x="42" y="264"/>
                    </a:lnTo>
                    <a:lnTo>
                      <a:pt x="43" y="261"/>
                    </a:lnTo>
                    <a:lnTo>
                      <a:pt x="43" y="261"/>
                    </a:lnTo>
                    <a:lnTo>
                      <a:pt x="43" y="258"/>
                    </a:lnTo>
                    <a:lnTo>
                      <a:pt x="40" y="257"/>
                    </a:lnTo>
                    <a:lnTo>
                      <a:pt x="36" y="251"/>
                    </a:lnTo>
                    <a:lnTo>
                      <a:pt x="36" y="251"/>
                    </a:lnTo>
                    <a:lnTo>
                      <a:pt x="32" y="245"/>
                    </a:lnTo>
                    <a:lnTo>
                      <a:pt x="26" y="238"/>
                    </a:lnTo>
                    <a:lnTo>
                      <a:pt x="26" y="238"/>
                    </a:lnTo>
                    <a:lnTo>
                      <a:pt x="24" y="235"/>
                    </a:lnTo>
                    <a:lnTo>
                      <a:pt x="24" y="232"/>
                    </a:lnTo>
                    <a:lnTo>
                      <a:pt x="26" y="229"/>
                    </a:lnTo>
                    <a:lnTo>
                      <a:pt x="30" y="228"/>
                    </a:lnTo>
                    <a:lnTo>
                      <a:pt x="30" y="228"/>
                    </a:lnTo>
                    <a:lnTo>
                      <a:pt x="45" y="225"/>
                    </a:lnTo>
                    <a:lnTo>
                      <a:pt x="56" y="224"/>
                    </a:lnTo>
                    <a:lnTo>
                      <a:pt x="56" y="224"/>
                    </a:lnTo>
                    <a:lnTo>
                      <a:pt x="66" y="225"/>
                    </a:lnTo>
                    <a:lnTo>
                      <a:pt x="76" y="225"/>
                    </a:lnTo>
                    <a:lnTo>
                      <a:pt x="76" y="225"/>
                    </a:lnTo>
                    <a:lnTo>
                      <a:pt x="79" y="225"/>
                    </a:lnTo>
                    <a:lnTo>
                      <a:pt x="84" y="225"/>
                    </a:lnTo>
                    <a:lnTo>
                      <a:pt x="84" y="225"/>
                    </a:lnTo>
                    <a:lnTo>
                      <a:pt x="94" y="226"/>
                    </a:lnTo>
                    <a:lnTo>
                      <a:pt x="98" y="226"/>
                    </a:lnTo>
                    <a:lnTo>
                      <a:pt x="100" y="226"/>
                    </a:lnTo>
                    <a:lnTo>
                      <a:pt x="100" y="226"/>
                    </a:lnTo>
                    <a:lnTo>
                      <a:pt x="97" y="224"/>
                    </a:lnTo>
                    <a:lnTo>
                      <a:pt x="92" y="222"/>
                    </a:lnTo>
                    <a:lnTo>
                      <a:pt x="87" y="219"/>
                    </a:lnTo>
                    <a:lnTo>
                      <a:pt x="82" y="218"/>
                    </a:lnTo>
                    <a:lnTo>
                      <a:pt x="82" y="218"/>
                    </a:lnTo>
                    <a:lnTo>
                      <a:pt x="71" y="219"/>
                    </a:lnTo>
                    <a:lnTo>
                      <a:pt x="65" y="219"/>
                    </a:lnTo>
                    <a:lnTo>
                      <a:pt x="63" y="218"/>
                    </a:lnTo>
                    <a:lnTo>
                      <a:pt x="63" y="218"/>
                    </a:lnTo>
                    <a:lnTo>
                      <a:pt x="66" y="213"/>
                    </a:lnTo>
                    <a:lnTo>
                      <a:pt x="69" y="212"/>
                    </a:lnTo>
                    <a:lnTo>
                      <a:pt x="74" y="212"/>
                    </a:lnTo>
                    <a:lnTo>
                      <a:pt x="74" y="212"/>
                    </a:lnTo>
                    <a:lnTo>
                      <a:pt x="85" y="210"/>
                    </a:lnTo>
                    <a:lnTo>
                      <a:pt x="92" y="210"/>
                    </a:lnTo>
                    <a:lnTo>
                      <a:pt x="97" y="212"/>
                    </a:lnTo>
                    <a:lnTo>
                      <a:pt x="97" y="212"/>
                    </a:lnTo>
                    <a:lnTo>
                      <a:pt x="98" y="212"/>
                    </a:lnTo>
                    <a:lnTo>
                      <a:pt x="101" y="212"/>
                    </a:lnTo>
                    <a:lnTo>
                      <a:pt x="105" y="209"/>
                    </a:lnTo>
                    <a:lnTo>
                      <a:pt x="105" y="209"/>
                    </a:lnTo>
                    <a:lnTo>
                      <a:pt x="107" y="206"/>
                    </a:lnTo>
                    <a:lnTo>
                      <a:pt x="110" y="203"/>
                    </a:lnTo>
                    <a:lnTo>
                      <a:pt x="110" y="199"/>
                    </a:lnTo>
                    <a:lnTo>
                      <a:pt x="110" y="195"/>
                    </a:lnTo>
                    <a:lnTo>
                      <a:pt x="110" y="195"/>
                    </a:lnTo>
                    <a:lnTo>
                      <a:pt x="107" y="190"/>
                    </a:lnTo>
                    <a:lnTo>
                      <a:pt x="105" y="189"/>
                    </a:lnTo>
                    <a:lnTo>
                      <a:pt x="103" y="189"/>
                    </a:lnTo>
                    <a:lnTo>
                      <a:pt x="103" y="189"/>
                    </a:lnTo>
                    <a:lnTo>
                      <a:pt x="101" y="189"/>
                    </a:lnTo>
                    <a:lnTo>
                      <a:pt x="98" y="186"/>
                    </a:lnTo>
                    <a:lnTo>
                      <a:pt x="95" y="184"/>
                    </a:lnTo>
                    <a:lnTo>
                      <a:pt x="94" y="184"/>
                    </a:lnTo>
                    <a:lnTo>
                      <a:pt x="94" y="186"/>
                    </a:lnTo>
                    <a:lnTo>
                      <a:pt x="94" y="186"/>
                    </a:lnTo>
                    <a:lnTo>
                      <a:pt x="88" y="193"/>
                    </a:lnTo>
                    <a:lnTo>
                      <a:pt x="84" y="197"/>
                    </a:lnTo>
                    <a:lnTo>
                      <a:pt x="78" y="199"/>
                    </a:lnTo>
                    <a:lnTo>
                      <a:pt x="78" y="199"/>
                    </a:lnTo>
                    <a:lnTo>
                      <a:pt x="76" y="199"/>
                    </a:lnTo>
                    <a:lnTo>
                      <a:pt x="74" y="197"/>
                    </a:lnTo>
                    <a:lnTo>
                      <a:pt x="69" y="193"/>
                    </a:lnTo>
                    <a:lnTo>
                      <a:pt x="66" y="190"/>
                    </a:lnTo>
                    <a:lnTo>
                      <a:pt x="66" y="190"/>
                    </a:lnTo>
                    <a:lnTo>
                      <a:pt x="66" y="190"/>
                    </a:lnTo>
                    <a:lnTo>
                      <a:pt x="66" y="190"/>
                    </a:lnTo>
                    <a:lnTo>
                      <a:pt x="63" y="195"/>
                    </a:lnTo>
                    <a:lnTo>
                      <a:pt x="62" y="197"/>
                    </a:lnTo>
                    <a:lnTo>
                      <a:pt x="61" y="199"/>
                    </a:lnTo>
                    <a:lnTo>
                      <a:pt x="61" y="199"/>
                    </a:lnTo>
                    <a:lnTo>
                      <a:pt x="56" y="199"/>
                    </a:lnTo>
                    <a:lnTo>
                      <a:pt x="50" y="199"/>
                    </a:lnTo>
                    <a:lnTo>
                      <a:pt x="45" y="196"/>
                    </a:lnTo>
                    <a:lnTo>
                      <a:pt x="42" y="195"/>
                    </a:lnTo>
                    <a:lnTo>
                      <a:pt x="42" y="195"/>
                    </a:lnTo>
                    <a:lnTo>
                      <a:pt x="42" y="193"/>
                    </a:lnTo>
                    <a:lnTo>
                      <a:pt x="42" y="193"/>
                    </a:lnTo>
                    <a:lnTo>
                      <a:pt x="45" y="192"/>
                    </a:lnTo>
                    <a:lnTo>
                      <a:pt x="49" y="192"/>
                    </a:lnTo>
                    <a:lnTo>
                      <a:pt x="50" y="190"/>
                    </a:lnTo>
                    <a:lnTo>
                      <a:pt x="50" y="189"/>
                    </a:lnTo>
                    <a:lnTo>
                      <a:pt x="50" y="189"/>
                    </a:lnTo>
                    <a:lnTo>
                      <a:pt x="50" y="184"/>
                    </a:lnTo>
                    <a:lnTo>
                      <a:pt x="49" y="184"/>
                    </a:lnTo>
                    <a:lnTo>
                      <a:pt x="46" y="184"/>
                    </a:lnTo>
                    <a:lnTo>
                      <a:pt x="46" y="184"/>
                    </a:lnTo>
                    <a:lnTo>
                      <a:pt x="39" y="187"/>
                    </a:lnTo>
                    <a:lnTo>
                      <a:pt x="34" y="187"/>
                    </a:lnTo>
                    <a:lnTo>
                      <a:pt x="34" y="187"/>
                    </a:lnTo>
                    <a:lnTo>
                      <a:pt x="33" y="186"/>
                    </a:lnTo>
                    <a:lnTo>
                      <a:pt x="33" y="186"/>
                    </a:lnTo>
                    <a:lnTo>
                      <a:pt x="34" y="183"/>
                    </a:lnTo>
                    <a:lnTo>
                      <a:pt x="37" y="179"/>
                    </a:lnTo>
                    <a:lnTo>
                      <a:pt x="40" y="176"/>
                    </a:lnTo>
                    <a:lnTo>
                      <a:pt x="40" y="176"/>
                    </a:lnTo>
                    <a:lnTo>
                      <a:pt x="40" y="176"/>
                    </a:lnTo>
                    <a:lnTo>
                      <a:pt x="40" y="176"/>
                    </a:lnTo>
                    <a:lnTo>
                      <a:pt x="32" y="179"/>
                    </a:lnTo>
                    <a:lnTo>
                      <a:pt x="26" y="180"/>
                    </a:lnTo>
                    <a:lnTo>
                      <a:pt x="21" y="180"/>
                    </a:lnTo>
                    <a:lnTo>
                      <a:pt x="21" y="180"/>
                    </a:lnTo>
                    <a:lnTo>
                      <a:pt x="21" y="179"/>
                    </a:lnTo>
                    <a:lnTo>
                      <a:pt x="21" y="176"/>
                    </a:lnTo>
                    <a:lnTo>
                      <a:pt x="23" y="173"/>
                    </a:lnTo>
                    <a:lnTo>
                      <a:pt x="21" y="171"/>
                    </a:lnTo>
                    <a:lnTo>
                      <a:pt x="20" y="171"/>
                    </a:lnTo>
                    <a:lnTo>
                      <a:pt x="20" y="171"/>
                    </a:lnTo>
                    <a:lnTo>
                      <a:pt x="17" y="171"/>
                    </a:lnTo>
                    <a:lnTo>
                      <a:pt x="13" y="170"/>
                    </a:lnTo>
                    <a:lnTo>
                      <a:pt x="10" y="167"/>
                    </a:lnTo>
                    <a:lnTo>
                      <a:pt x="10" y="164"/>
                    </a:lnTo>
                    <a:lnTo>
                      <a:pt x="10" y="164"/>
                    </a:lnTo>
                    <a:lnTo>
                      <a:pt x="8" y="163"/>
                    </a:lnTo>
                    <a:lnTo>
                      <a:pt x="8" y="161"/>
                    </a:lnTo>
                    <a:lnTo>
                      <a:pt x="6" y="160"/>
                    </a:lnTo>
                    <a:lnTo>
                      <a:pt x="1" y="158"/>
                    </a:lnTo>
                    <a:lnTo>
                      <a:pt x="1" y="157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0"/>
                    </a:lnTo>
                    <a:lnTo>
                      <a:pt x="4" y="147"/>
                    </a:lnTo>
                    <a:lnTo>
                      <a:pt x="4" y="144"/>
                    </a:lnTo>
                    <a:lnTo>
                      <a:pt x="4" y="141"/>
                    </a:lnTo>
                    <a:lnTo>
                      <a:pt x="4" y="141"/>
                    </a:lnTo>
                    <a:lnTo>
                      <a:pt x="1" y="138"/>
                    </a:lnTo>
                    <a:lnTo>
                      <a:pt x="3" y="134"/>
                    </a:lnTo>
                    <a:lnTo>
                      <a:pt x="4" y="129"/>
                    </a:lnTo>
                    <a:lnTo>
                      <a:pt x="7" y="126"/>
                    </a:lnTo>
                    <a:lnTo>
                      <a:pt x="7" y="126"/>
                    </a:lnTo>
                    <a:lnTo>
                      <a:pt x="10" y="124"/>
                    </a:lnTo>
                    <a:lnTo>
                      <a:pt x="11" y="121"/>
                    </a:lnTo>
                    <a:lnTo>
                      <a:pt x="14" y="118"/>
                    </a:lnTo>
                    <a:lnTo>
                      <a:pt x="19" y="115"/>
                    </a:lnTo>
                    <a:lnTo>
                      <a:pt x="19" y="115"/>
                    </a:lnTo>
                    <a:lnTo>
                      <a:pt x="21" y="113"/>
                    </a:lnTo>
                    <a:lnTo>
                      <a:pt x="24" y="115"/>
                    </a:lnTo>
                    <a:lnTo>
                      <a:pt x="26" y="113"/>
                    </a:lnTo>
                    <a:lnTo>
                      <a:pt x="30" y="112"/>
                    </a:lnTo>
                    <a:lnTo>
                      <a:pt x="30" y="112"/>
                    </a:lnTo>
                    <a:lnTo>
                      <a:pt x="36" y="106"/>
                    </a:lnTo>
                    <a:lnTo>
                      <a:pt x="39" y="103"/>
                    </a:lnTo>
                    <a:lnTo>
                      <a:pt x="43" y="103"/>
                    </a:lnTo>
                    <a:lnTo>
                      <a:pt x="43" y="103"/>
                    </a:lnTo>
                    <a:lnTo>
                      <a:pt x="49" y="103"/>
                    </a:lnTo>
                    <a:lnTo>
                      <a:pt x="53" y="102"/>
                    </a:lnTo>
                    <a:lnTo>
                      <a:pt x="56" y="99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2"/>
                    </a:lnTo>
                    <a:lnTo>
                      <a:pt x="55" y="89"/>
                    </a:lnTo>
                    <a:lnTo>
                      <a:pt x="55" y="87"/>
                    </a:lnTo>
                    <a:lnTo>
                      <a:pt x="59" y="84"/>
                    </a:lnTo>
                    <a:lnTo>
                      <a:pt x="59" y="84"/>
                    </a:lnTo>
                    <a:lnTo>
                      <a:pt x="65" y="82"/>
                    </a:lnTo>
                    <a:lnTo>
                      <a:pt x="71" y="80"/>
                    </a:lnTo>
                    <a:lnTo>
                      <a:pt x="78" y="79"/>
                    </a:lnTo>
                    <a:lnTo>
                      <a:pt x="78" y="79"/>
                    </a:lnTo>
                    <a:lnTo>
                      <a:pt x="84" y="76"/>
                    </a:lnTo>
                    <a:lnTo>
                      <a:pt x="88" y="74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8" y="77"/>
                    </a:lnTo>
                    <a:lnTo>
                      <a:pt x="103" y="77"/>
                    </a:lnTo>
                    <a:lnTo>
                      <a:pt x="105" y="77"/>
                    </a:lnTo>
                    <a:lnTo>
                      <a:pt x="105" y="77"/>
                    </a:lnTo>
                    <a:lnTo>
                      <a:pt x="114" y="63"/>
                    </a:lnTo>
                    <a:lnTo>
                      <a:pt x="120" y="51"/>
                    </a:lnTo>
                    <a:lnTo>
                      <a:pt x="121" y="47"/>
                    </a:lnTo>
                    <a:lnTo>
                      <a:pt x="121" y="42"/>
                    </a:lnTo>
                    <a:lnTo>
                      <a:pt x="121" y="42"/>
                    </a:lnTo>
                    <a:lnTo>
                      <a:pt x="121" y="37"/>
                    </a:lnTo>
                    <a:lnTo>
                      <a:pt x="120" y="34"/>
                    </a:lnTo>
                    <a:lnTo>
                      <a:pt x="117" y="28"/>
                    </a:lnTo>
                    <a:lnTo>
                      <a:pt x="117" y="28"/>
                    </a:lnTo>
                    <a:lnTo>
                      <a:pt x="117" y="24"/>
                    </a:lnTo>
                    <a:lnTo>
                      <a:pt x="118" y="21"/>
                    </a:lnTo>
                    <a:lnTo>
                      <a:pt x="120" y="18"/>
                    </a:lnTo>
                    <a:lnTo>
                      <a:pt x="121" y="16"/>
                    </a:lnTo>
                    <a:lnTo>
                      <a:pt x="121" y="16"/>
                    </a:lnTo>
                    <a:lnTo>
                      <a:pt x="127" y="16"/>
                    </a:lnTo>
                    <a:lnTo>
                      <a:pt x="130" y="15"/>
                    </a:lnTo>
                    <a:lnTo>
                      <a:pt x="129" y="13"/>
                    </a:lnTo>
                    <a:lnTo>
                      <a:pt x="129" y="13"/>
                    </a:lnTo>
                    <a:lnTo>
                      <a:pt x="126" y="11"/>
                    </a:lnTo>
                    <a:lnTo>
                      <a:pt x="123" y="9"/>
                    </a:lnTo>
                    <a:lnTo>
                      <a:pt x="118" y="6"/>
                    </a:lnTo>
                    <a:lnTo>
                      <a:pt x="118" y="3"/>
                    </a:lnTo>
                    <a:lnTo>
                      <a:pt x="117" y="0"/>
                    </a:lnTo>
                    <a:lnTo>
                      <a:pt x="835" y="0"/>
                    </a:lnTo>
                    <a:lnTo>
                      <a:pt x="835" y="0"/>
                    </a:lnTo>
                    <a:lnTo>
                      <a:pt x="837" y="6"/>
                    </a:lnTo>
                    <a:lnTo>
                      <a:pt x="837" y="11"/>
                    </a:lnTo>
                    <a:lnTo>
                      <a:pt x="834" y="16"/>
                    </a:lnTo>
                    <a:lnTo>
                      <a:pt x="834" y="16"/>
                    </a:lnTo>
                    <a:lnTo>
                      <a:pt x="832" y="19"/>
                    </a:lnTo>
                    <a:lnTo>
                      <a:pt x="834" y="24"/>
                    </a:lnTo>
                    <a:lnTo>
                      <a:pt x="837" y="27"/>
                    </a:lnTo>
                    <a:lnTo>
                      <a:pt x="838" y="28"/>
                    </a:lnTo>
                    <a:lnTo>
                      <a:pt x="838" y="28"/>
                    </a:lnTo>
                    <a:lnTo>
                      <a:pt x="841" y="28"/>
                    </a:lnTo>
                    <a:lnTo>
                      <a:pt x="844" y="27"/>
                    </a:lnTo>
                    <a:lnTo>
                      <a:pt x="846" y="24"/>
                    </a:lnTo>
                    <a:lnTo>
                      <a:pt x="844" y="22"/>
                    </a:lnTo>
                    <a:lnTo>
                      <a:pt x="844" y="22"/>
                    </a:lnTo>
                    <a:lnTo>
                      <a:pt x="843" y="19"/>
                    </a:lnTo>
                    <a:lnTo>
                      <a:pt x="843" y="15"/>
                    </a:lnTo>
                    <a:lnTo>
                      <a:pt x="844" y="0"/>
                    </a:lnTo>
                    <a:lnTo>
                      <a:pt x="882" y="0"/>
                    </a:lnTo>
                    <a:lnTo>
                      <a:pt x="882" y="0"/>
                    </a:lnTo>
                    <a:lnTo>
                      <a:pt x="882" y="8"/>
                    </a:lnTo>
                    <a:lnTo>
                      <a:pt x="882" y="15"/>
                    </a:lnTo>
                    <a:lnTo>
                      <a:pt x="877" y="27"/>
                    </a:lnTo>
                    <a:lnTo>
                      <a:pt x="877" y="27"/>
                    </a:lnTo>
                    <a:lnTo>
                      <a:pt x="876" y="28"/>
                    </a:lnTo>
                    <a:lnTo>
                      <a:pt x="875" y="28"/>
                    </a:lnTo>
                    <a:lnTo>
                      <a:pt x="870" y="29"/>
                    </a:lnTo>
                    <a:lnTo>
                      <a:pt x="864" y="29"/>
                    </a:lnTo>
                    <a:lnTo>
                      <a:pt x="860" y="28"/>
                    </a:lnTo>
                    <a:lnTo>
                      <a:pt x="860" y="28"/>
                    </a:lnTo>
                    <a:lnTo>
                      <a:pt x="857" y="28"/>
                    </a:lnTo>
                    <a:lnTo>
                      <a:pt x="853" y="31"/>
                    </a:lnTo>
                    <a:lnTo>
                      <a:pt x="850" y="35"/>
                    </a:lnTo>
                    <a:lnTo>
                      <a:pt x="848" y="40"/>
                    </a:lnTo>
                    <a:lnTo>
                      <a:pt x="848" y="40"/>
                    </a:lnTo>
                    <a:lnTo>
                      <a:pt x="848" y="51"/>
                    </a:lnTo>
                    <a:lnTo>
                      <a:pt x="848" y="64"/>
                    </a:lnTo>
                    <a:lnTo>
                      <a:pt x="848" y="64"/>
                    </a:lnTo>
                    <a:lnTo>
                      <a:pt x="850" y="67"/>
                    </a:lnTo>
                    <a:lnTo>
                      <a:pt x="851" y="69"/>
                    </a:lnTo>
                    <a:lnTo>
                      <a:pt x="854" y="69"/>
                    </a:lnTo>
                    <a:lnTo>
                      <a:pt x="857" y="69"/>
                    </a:lnTo>
                    <a:lnTo>
                      <a:pt x="857" y="69"/>
                    </a:lnTo>
                    <a:lnTo>
                      <a:pt x="857" y="69"/>
                    </a:lnTo>
                    <a:lnTo>
                      <a:pt x="857" y="70"/>
                    </a:lnTo>
                    <a:lnTo>
                      <a:pt x="856" y="74"/>
                    </a:lnTo>
                    <a:lnTo>
                      <a:pt x="850" y="82"/>
                    </a:lnTo>
                    <a:lnTo>
                      <a:pt x="850" y="82"/>
                    </a:lnTo>
                    <a:lnTo>
                      <a:pt x="844" y="86"/>
                    </a:lnTo>
                    <a:lnTo>
                      <a:pt x="843" y="89"/>
                    </a:lnTo>
                    <a:lnTo>
                      <a:pt x="843" y="90"/>
                    </a:lnTo>
                    <a:lnTo>
                      <a:pt x="843" y="90"/>
                    </a:lnTo>
                    <a:lnTo>
                      <a:pt x="844" y="97"/>
                    </a:lnTo>
                    <a:lnTo>
                      <a:pt x="843" y="102"/>
                    </a:lnTo>
                    <a:lnTo>
                      <a:pt x="841" y="105"/>
                    </a:lnTo>
                    <a:lnTo>
                      <a:pt x="841" y="105"/>
                    </a:lnTo>
                    <a:lnTo>
                      <a:pt x="832" y="106"/>
                    </a:lnTo>
                    <a:lnTo>
                      <a:pt x="831" y="108"/>
                    </a:lnTo>
                    <a:lnTo>
                      <a:pt x="830" y="108"/>
                    </a:lnTo>
                    <a:lnTo>
                      <a:pt x="830" y="108"/>
                    </a:lnTo>
                    <a:lnTo>
                      <a:pt x="831" y="111"/>
                    </a:lnTo>
                    <a:lnTo>
                      <a:pt x="830" y="112"/>
                    </a:lnTo>
                    <a:lnTo>
                      <a:pt x="828" y="115"/>
                    </a:lnTo>
                    <a:lnTo>
                      <a:pt x="825" y="118"/>
                    </a:lnTo>
                    <a:lnTo>
                      <a:pt x="825" y="118"/>
                    </a:lnTo>
                    <a:lnTo>
                      <a:pt x="822" y="119"/>
                    </a:lnTo>
                    <a:lnTo>
                      <a:pt x="822" y="121"/>
                    </a:lnTo>
                    <a:lnTo>
                      <a:pt x="827" y="124"/>
                    </a:lnTo>
                    <a:lnTo>
                      <a:pt x="827" y="124"/>
                    </a:lnTo>
                    <a:lnTo>
                      <a:pt x="830" y="124"/>
                    </a:lnTo>
                    <a:lnTo>
                      <a:pt x="830" y="125"/>
                    </a:lnTo>
                    <a:lnTo>
                      <a:pt x="825" y="134"/>
                    </a:lnTo>
                    <a:lnTo>
                      <a:pt x="825" y="134"/>
                    </a:lnTo>
                    <a:lnTo>
                      <a:pt x="822" y="141"/>
                    </a:lnTo>
                    <a:lnTo>
                      <a:pt x="822" y="150"/>
                    </a:lnTo>
                    <a:lnTo>
                      <a:pt x="822" y="164"/>
                    </a:lnTo>
                    <a:lnTo>
                      <a:pt x="822" y="164"/>
                    </a:lnTo>
                    <a:lnTo>
                      <a:pt x="822" y="168"/>
                    </a:lnTo>
                    <a:lnTo>
                      <a:pt x="821" y="173"/>
                    </a:lnTo>
                    <a:lnTo>
                      <a:pt x="818" y="176"/>
                    </a:lnTo>
                    <a:lnTo>
                      <a:pt x="818" y="179"/>
                    </a:lnTo>
                    <a:lnTo>
                      <a:pt x="818" y="179"/>
                    </a:lnTo>
                    <a:lnTo>
                      <a:pt x="817" y="184"/>
                    </a:lnTo>
                    <a:lnTo>
                      <a:pt x="815" y="189"/>
                    </a:lnTo>
                    <a:lnTo>
                      <a:pt x="814" y="193"/>
                    </a:lnTo>
                    <a:lnTo>
                      <a:pt x="815" y="195"/>
                    </a:lnTo>
                    <a:lnTo>
                      <a:pt x="817" y="196"/>
                    </a:lnTo>
                    <a:lnTo>
                      <a:pt x="817" y="196"/>
                    </a:lnTo>
                    <a:lnTo>
                      <a:pt x="818" y="196"/>
                    </a:lnTo>
                    <a:lnTo>
                      <a:pt x="819" y="195"/>
                    </a:lnTo>
                    <a:lnTo>
                      <a:pt x="822" y="187"/>
                    </a:lnTo>
                    <a:lnTo>
                      <a:pt x="827" y="174"/>
                    </a:lnTo>
                    <a:lnTo>
                      <a:pt x="827" y="174"/>
                    </a:lnTo>
                    <a:lnTo>
                      <a:pt x="827" y="174"/>
                    </a:lnTo>
                    <a:lnTo>
                      <a:pt x="828" y="176"/>
                    </a:lnTo>
                    <a:lnTo>
                      <a:pt x="834" y="180"/>
                    </a:lnTo>
                    <a:lnTo>
                      <a:pt x="840" y="184"/>
                    </a:lnTo>
                    <a:lnTo>
                      <a:pt x="846" y="187"/>
                    </a:lnTo>
                    <a:lnTo>
                      <a:pt x="846" y="187"/>
                    </a:lnTo>
                    <a:lnTo>
                      <a:pt x="850" y="190"/>
                    </a:lnTo>
                    <a:lnTo>
                      <a:pt x="854" y="195"/>
                    </a:lnTo>
                    <a:lnTo>
                      <a:pt x="857" y="199"/>
                    </a:lnTo>
                    <a:lnTo>
                      <a:pt x="857" y="200"/>
                    </a:lnTo>
                    <a:lnTo>
                      <a:pt x="856" y="202"/>
                    </a:lnTo>
                    <a:lnTo>
                      <a:pt x="856" y="202"/>
                    </a:lnTo>
                    <a:lnTo>
                      <a:pt x="854" y="203"/>
                    </a:lnTo>
                    <a:lnTo>
                      <a:pt x="853" y="202"/>
                    </a:lnTo>
                    <a:lnTo>
                      <a:pt x="848" y="199"/>
                    </a:lnTo>
                    <a:lnTo>
                      <a:pt x="843" y="195"/>
                    </a:lnTo>
                    <a:lnTo>
                      <a:pt x="838" y="193"/>
                    </a:lnTo>
                    <a:lnTo>
                      <a:pt x="834" y="192"/>
                    </a:lnTo>
                    <a:lnTo>
                      <a:pt x="834" y="192"/>
                    </a:lnTo>
                    <a:lnTo>
                      <a:pt x="831" y="192"/>
                    </a:lnTo>
                    <a:lnTo>
                      <a:pt x="830" y="193"/>
                    </a:lnTo>
                    <a:lnTo>
                      <a:pt x="830" y="195"/>
                    </a:lnTo>
                    <a:lnTo>
                      <a:pt x="830" y="196"/>
                    </a:lnTo>
                    <a:lnTo>
                      <a:pt x="837" y="203"/>
                    </a:lnTo>
                    <a:lnTo>
                      <a:pt x="837" y="203"/>
                    </a:lnTo>
                    <a:lnTo>
                      <a:pt x="838" y="205"/>
                    </a:lnTo>
                    <a:lnTo>
                      <a:pt x="837" y="206"/>
                    </a:lnTo>
                    <a:lnTo>
                      <a:pt x="835" y="206"/>
                    </a:lnTo>
                    <a:lnTo>
                      <a:pt x="832" y="208"/>
                    </a:lnTo>
                    <a:lnTo>
                      <a:pt x="832" y="208"/>
                    </a:lnTo>
                    <a:lnTo>
                      <a:pt x="832" y="208"/>
                    </a:lnTo>
                    <a:lnTo>
                      <a:pt x="834" y="209"/>
                    </a:lnTo>
                    <a:lnTo>
                      <a:pt x="838" y="212"/>
                    </a:lnTo>
                    <a:lnTo>
                      <a:pt x="838" y="212"/>
                    </a:lnTo>
                    <a:lnTo>
                      <a:pt x="840" y="212"/>
                    </a:lnTo>
                    <a:lnTo>
                      <a:pt x="840" y="212"/>
                    </a:lnTo>
                    <a:lnTo>
                      <a:pt x="837" y="213"/>
                    </a:lnTo>
                    <a:lnTo>
                      <a:pt x="835" y="216"/>
                    </a:lnTo>
                    <a:lnTo>
                      <a:pt x="838" y="216"/>
                    </a:lnTo>
                    <a:lnTo>
                      <a:pt x="838" y="216"/>
                    </a:lnTo>
                    <a:lnTo>
                      <a:pt x="843" y="219"/>
                    </a:lnTo>
                    <a:lnTo>
                      <a:pt x="847" y="222"/>
                    </a:lnTo>
                    <a:lnTo>
                      <a:pt x="854" y="228"/>
                    </a:lnTo>
                    <a:lnTo>
                      <a:pt x="854" y="228"/>
                    </a:lnTo>
                    <a:lnTo>
                      <a:pt x="854" y="228"/>
                    </a:lnTo>
                    <a:lnTo>
                      <a:pt x="856" y="228"/>
                    </a:lnTo>
                    <a:lnTo>
                      <a:pt x="856" y="224"/>
                    </a:lnTo>
                    <a:lnTo>
                      <a:pt x="857" y="222"/>
                    </a:lnTo>
                    <a:lnTo>
                      <a:pt x="859" y="221"/>
                    </a:lnTo>
                    <a:lnTo>
                      <a:pt x="861" y="221"/>
                    </a:lnTo>
                    <a:lnTo>
                      <a:pt x="864" y="221"/>
                    </a:lnTo>
                    <a:lnTo>
                      <a:pt x="864" y="221"/>
                    </a:lnTo>
                    <a:lnTo>
                      <a:pt x="869" y="224"/>
                    </a:lnTo>
                    <a:lnTo>
                      <a:pt x="870" y="229"/>
                    </a:lnTo>
                    <a:lnTo>
                      <a:pt x="872" y="235"/>
                    </a:lnTo>
                    <a:lnTo>
                      <a:pt x="873" y="241"/>
                    </a:lnTo>
                    <a:lnTo>
                      <a:pt x="872" y="252"/>
                    </a:lnTo>
                    <a:lnTo>
                      <a:pt x="870" y="258"/>
                    </a:lnTo>
                    <a:lnTo>
                      <a:pt x="870" y="258"/>
                    </a:lnTo>
                    <a:lnTo>
                      <a:pt x="869" y="260"/>
                    </a:lnTo>
                    <a:lnTo>
                      <a:pt x="866" y="260"/>
                    </a:lnTo>
                    <a:lnTo>
                      <a:pt x="860" y="257"/>
                    </a:lnTo>
                    <a:lnTo>
                      <a:pt x="854" y="252"/>
                    </a:lnTo>
                    <a:lnTo>
                      <a:pt x="848" y="251"/>
                    </a:lnTo>
                    <a:lnTo>
                      <a:pt x="848" y="251"/>
                    </a:lnTo>
                    <a:lnTo>
                      <a:pt x="834" y="248"/>
                    </a:lnTo>
                    <a:lnTo>
                      <a:pt x="821" y="245"/>
                    </a:lnTo>
                    <a:lnTo>
                      <a:pt x="821" y="245"/>
                    </a:lnTo>
                    <a:lnTo>
                      <a:pt x="821" y="247"/>
                    </a:lnTo>
                    <a:lnTo>
                      <a:pt x="827" y="248"/>
                    </a:lnTo>
                    <a:lnTo>
                      <a:pt x="832" y="251"/>
                    </a:lnTo>
                    <a:lnTo>
                      <a:pt x="835" y="252"/>
                    </a:lnTo>
                    <a:lnTo>
                      <a:pt x="835" y="252"/>
                    </a:lnTo>
                    <a:lnTo>
                      <a:pt x="832" y="252"/>
                    </a:lnTo>
                    <a:lnTo>
                      <a:pt x="828" y="252"/>
                    </a:lnTo>
                    <a:lnTo>
                      <a:pt x="821" y="252"/>
                    </a:lnTo>
                    <a:lnTo>
                      <a:pt x="821" y="252"/>
                    </a:lnTo>
                    <a:lnTo>
                      <a:pt x="822" y="254"/>
                    </a:lnTo>
                    <a:lnTo>
                      <a:pt x="827" y="257"/>
                    </a:lnTo>
                    <a:lnTo>
                      <a:pt x="831" y="260"/>
                    </a:lnTo>
                    <a:lnTo>
                      <a:pt x="834" y="264"/>
                    </a:lnTo>
                    <a:lnTo>
                      <a:pt x="834" y="264"/>
                    </a:lnTo>
                    <a:lnTo>
                      <a:pt x="832" y="266"/>
                    </a:lnTo>
                    <a:lnTo>
                      <a:pt x="832" y="267"/>
                    </a:lnTo>
                    <a:lnTo>
                      <a:pt x="830" y="268"/>
                    </a:lnTo>
                    <a:lnTo>
                      <a:pt x="828" y="270"/>
                    </a:lnTo>
                    <a:lnTo>
                      <a:pt x="831" y="274"/>
                    </a:lnTo>
                    <a:lnTo>
                      <a:pt x="831" y="274"/>
                    </a:lnTo>
                    <a:lnTo>
                      <a:pt x="838" y="279"/>
                    </a:lnTo>
                    <a:lnTo>
                      <a:pt x="840" y="281"/>
                    </a:lnTo>
                    <a:lnTo>
                      <a:pt x="840" y="284"/>
                    </a:lnTo>
                    <a:lnTo>
                      <a:pt x="840" y="284"/>
                    </a:lnTo>
                    <a:lnTo>
                      <a:pt x="840" y="289"/>
                    </a:lnTo>
                    <a:lnTo>
                      <a:pt x="843" y="292"/>
                    </a:lnTo>
                    <a:lnTo>
                      <a:pt x="847" y="294"/>
                    </a:lnTo>
                    <a:lnTo>
                      <a:pt x="848" y="297"/>
                    </a:lnTo>
                    <a:lnTo>
                      <a:pt x="848" y="297"/>
                    </a:lnTo>
                    <a:lnTo>
                      <a:pt x="848" y="300"/>
                    </a:lnTo>
                    <a:lnTo>
                      <a:pt x="847" y="302"/>
                    </a:lnTo>
                    <a:lnTo>
                      <a:pt x="844" y="305"/>
                    </a:lnTo>
                    <a:lnTo>
                      <a:pt x="835" y="309"/>
                    </a:lnTo>
                    <a:lnTo>
                      <a:pt x="835" y="309"/>
                    </a:lnTo>
                    <a:lnTo>
                      <a:pt x="835" y="309"/>
                    </a:lnTo>
                    <a:lnTo>
                      <a:pt x="835" y="310"/>
                    </a:lnTo>
                    <a:lnTo>
                      <a:pt x="841" y="315"/>
                    </a:lnTo>
                    <a:lnTo>
                      <a:pt x="846" y="319"/>
                    </a:lnTo>
                    <a:lnTo>
                      <a:pt x="847" y="321"/>
                    </a:lnTo>
                    <a:lnTo>
                      <a:pt x="847" y="322"/>
                    </a:lnTo>
                    <a:lnTo>
                      <a:pt x="847" y="322"/>
                    </a:lnTo>
                    <a:lnTo>
                      <a:pt x="846" y="323"/>
                    </a:lnTo>
                    <a:lnTo>
                      <a:pt x="847" y="326"/>
                    </a:lnTo>
                    <a:lnTo>
                      <a:pt x="850" y="332"/>
                    </a:lnTo>
                    <a:lnTo>
                      <a:pt x="850" y="332"/>
                    </a:lnTo>
                    <a:lnTo>
                      <a:pt x="853" y="336"/>
                    </a:lnTo>
                    <a:lnTo>
                      <a:pt x="853" y="345"/>
                    </a:lnTo>
                    <a:lnTo>
                      <a:pt x="853" y="352"/>
                    </a:lnTo>
                    <a:lnTo>
                      <a:pt x="851" y="355"/>
                    </a:lnTo>
                    <a:lnTo>
                      <a:pt x="850" y="357"/>
                    </a:lnTo>
                    <a:lnTo>
                      <a:pt x="850" y="357"/>
                    </a:lnTo>
                    <a:lnTo>
                      <a:pt x="847" y="357"/>
                    </a:lnTo>
                    <a:lnTo>
                      <a:pt x="846" y="357"/>
                    </a:lnTo>
                    <a:lnTo>
                      <a:pt x="843" y="352"/>
                    </a:lnTo>
                    <a:lnTo>
                      <a:pt x="841" y="345"/>
                    </a:lnTo>
                    <a:lnTo>
                      <a:pt x="841" y="345"/>
                    </a:lnTo>
                    <a:lnTo>
                      <a:pt x="840" y="344"/>
                    </a:lnTo>
                    <a:lnTo>
                      <a:pt x="838" y="344"/>
                    </a:lnTo>
                    <a:lnTo>
                      <a:pt x="832" y="347"/>
                    </a:lnTo>
                    <a:lnTo>
                      <a:pt x="832" y="347"/>
                    </a:lnTo>
                    <a:lnTo>
                      <a:pt x="832" y="345"/>
                    </a:lnTo>
                    <a:lnTo>
                      <a:pt x="831" y="345"/>
                    </a:lnTo>
                    <a:lnTo>
                      <a:pt x="827" y="341"/>
                    </a:lnTo>
                    <a:lnTo>
                      <a:pt x="824" y="336"/>
                    </a:lnTo>
                    <a:lnTo>
                      <a:pt x="822" y="336"/>
                    </a:lnTo>
                    <a:lnTo>
                      <a:pt x="819" y="338"/>
                    </a:lnTo>
                    <a:lnTo>
                      <a:pt x="819" y="338"/>
                    </a:lnTo>
                    <a:lnTo>
                      <a:pt x="819" y="339"/>
                    </a:lnTo>
                    <a:lnTo>
                      <a:pt x="819" y="342"/>
                    </a:lnTo>
                    <a:lnTo>
                      <a:pt x="822" y="348"/>
                    </a:lnTo>
                    <a:lnTo>
                      <a:pt x="827" y="354"/>
                    </a:lnTo>
                    <a:lnTo>
                      <a:pt x="830" y="358"/>
                    </a:lnTo>
                    <a:lnTo>
                      <a:pt x="830" y="358"/>
                    </a:lnTo>
                    <a:lnTo>
                      <a:pt x="830" y="360"/>
                    </a:lnTo>
                    <a:lnTo>
                      <a:pt x="828" y="361"/>
                    </a:lnTo>
                    <a:lnTo>
                      <a:pt x="824" y="361"/>
                    </a:lnTo>
                    <a:lnTo>
                      <a:pt x="819" y="361"/>
                    </a:lnTo>
                    <a:lnTo>
                      <a:pt x="815" y="361"/>
                    </a:lnTo>
                    <a:lnTo>
                      <a:pt x="815" y="361"/>
                    </a:lnTo>
                    <a:lnTo>
                      <a:pt x="815" y="363"/>
                    </a:lnTo>
                    <a:lnTo>
                      <a:pt x="815" y="364"/>
                    </a:lnTo>
                    <a:lnTo>
                      <a:pt x="818" y="365"/>
                    </a:lnTo>
                    <a:lnTo>
                      <a:pt x="828" y="367"/>
                    </a:lnTo>
                    <a:lnTo>
                      <a:pt x="828" y="367"/>
                    </a:lnTo>
                    <a:lnTo>
                      <a:pt x="830" y="368"/>
                    </a:lnTo>
                    <a:lnTo>
                      <a:pt x="830" y="371"/>
                    </a:lnTo>
                    <a:lnTo>
                      <a:pt x="830" y="378"/>
                    </a:lnTo>
                    <a:lnTo>
                      <a:pt x="830" y="384"/>
                    </a:lnTo>
                    <a:lnTo>
                      <a:pt x="831" y="390"/>
                    </a:lnTo>
                    <a:lnTo>
                      <a:pt x="831" y="390"/>
                    </a:lnTo>
                    <a:lnTo>
                      <a:pt x="834" y="392"/>
                    </a:lnTo>
                    <a:lnTo>
                      <a:pt x="837" y="393"/>
                    </a:lnTo>
                    <a:lnTo>
                      <a:pt x="841" y="393"/>
                    </a:lnTo>
                    <a:lnTo>
                      <a:pt x="846" y="393"/>
                    </a:lnTo>
                    <a:lnTo>
                      <a:pt x="846" y="393"/>
                    </a:lnTo>
                    <a:lnTo>
                      <a:pt x="850" y="392"/>
                    </a:lnTo>
                    <a:lnTo>
                      <a:pt x="853" y="393"/>
                    </a:lnTo>
                    <a:lnTo>
                      <a:pt x="854" y="396"/>
                    </a:lnTo>
                    <a:lnTo>
                      <a:pt x="856" y="399"/>
                    </a:lnTo>
                    <a:lnTo>
                      <a:pt x="856" y="399"/>
                    </a:lnTo>
                    <a:lnTo>
                      <a:pt x="857" y="403"/>
                    </a:lnTo>
                    <a:lnTo>
                      <a:pt x="857" y="406"/>
                    </a:lnTo>
                    <a:lnTo>
                      <a:pt x="854" y="407"/>
                    </a:lnTo>
                    <a:lnTo>
                      <a:pt x="850" y="409"/>
                    </a:lnTo>
                    <a:lnTo>
                      <a:pt x="850" y="409"/>
                    </a:lnTo>
                    <a:lnTo>
                      <a:pt x="846" y="407"/>
                    </a:lnTo>
                    <a:lnTo>
                      <a:pt x="840" y="405"/>
                    </a:lnTo>
                    <a:lnTo>
                      <a:pt x="837" y="403"/>
                    </a:lnTo>
                    <a:lnTo>
                      <a:pt x="835" y="402"/>
                    </a:lnTo>
                    <a:lnTo>
                      <a:pt x="834" y="402"/>
                    </a:lnTo>
                    <a:lnTo>
                      <a:pt x="834" y="402"/>
                    </a:lnTo>
                    <a:lnTo>
                      <a:pt x="832" y="403"/>
                    </a:lnTo>
                    <a:lnTo>
                      <a:pt x="832" y="405"/>
                    </a:lnTo>
                    <a:lnTo>
                      <a:pt x="835" y="406"/>
                    </a:lnTo>
                    <a:lnTo>
                      <a:pt x="838" y="410"/>
                    </a:lnTo>
                    <a:lnTo>
                      <a:pt x="841" y="415"/>
                    </a:lnTo>
                    <a:lnTo>
                      <a:pt x="841" y="415"/>
                    </a:lnTo>
                    <a:lnTo>
                      <a:pt x="843" y="416"/>
                    </a:lnTo>
                    <a:lnTo>
                      <a:pt x="843" y="418"/>
                    </a:lnTo>
                    <a:lnTo>
                      <a:pt x="838" y="416"/>
                    </a:lnTo>
                    <a:lnTo>
                      <a:pt x="834" y="415"/>
                    </a:lnTo>
                    <a:lnTo>
                      <a:pt x="828" y="415"/>
                    </a:lnTo>
                    <a:lnTo>
                      <a:pt x="828" y="415"/>
                    </a:lnTo>
                    <a:lnTo>
                      <a:pt x="825" y="416"/>
                    </a:lnTo>
                    <a:lnTo>
                      <a:pt x="827" y="418"/>
                    </a:lnTo>
                    <a:lnTo>
                      <a:pt x="830" y="419"/>
                    </a:lnTo>
                    <a:lnTo>
                      <a:pt x="831" y="422"/>
                    </a:lnTo>
                    <a:lnTo>
                      <a:pt x="831" y="422"/>
                    </a:lnTo>
                    <a:lnTo>
                      <a:pt x="831" y="423"/>
                    </a:lnTo>
                    <a:lnTo>
                      <a:pt x="830" y="423"/>
                    </a:lnTo>
                    <a:lnTo>
                      <a:pt x="824" y="421"/>
                    </a:lnTo>
                    <a:lnTo>
                      <a:pt x="817" y="416"/>
                    </a:lnTo>
                    <a:lnTo>
                      <a:pt x="817" y="416"/>
                    </a:lnTo>
                    <a:lnTo>
                      <a:pt x="817" y="413"/>
                    </a:lnTo>
                    <a:lnTo>
                      <a:pt x="818" y="410"/>
                    </a:lnTo>
                    <a:lnTo>
                      <a:pt x="824" y="403"/>
                    </a:lnTo>
                    <a:lnTo>
                      <a:pt x="824" y="403"/>
                    </a:lnTo>
                    <a:lnTo>
                      <a:pt x="825" y="402"/>
                    </a:lnTo>
                    <a:lnTo>
                      <a:pt x="824" y="400"/>
                    </a:lnTo>
                    <a:lnTo>
                      <a:pt x="822" y="399"/>
                    </a:lnTo>
                    <a:lnTo>
                      <a:pt x="819" y="400"/>
                    </a:lnTo>
                    <a:lnTo>
                      <a:pt x="819" y="400"/>
                    </a:lnTo>
                    <a:lnTo>
                      <a:pt x="817" y="400"/>
                    </a:lnTo>
                    <a:lnTo>
                      <a:pt x="815" y="400"/>
                    </a:lnTo>
                    <a:lnTo>
                      <a:pt x="811" y="396"/>
                    </a:lnTo>
                    <a:lnTo>
                      <a:pt x="811" y="396"/>
                    </a:lnTo>
                    <a:lnTo>
                      <a:pt x="808" y="394"/>
                    </a:lnTo>
                    <a:lnTo>
                      <a:pt x="805" y="394"/>
                    </a:lnTo>
                    <a:lnTo>
                      <a:pt x="805" y="397"/>
                    </a:lnTo>
                    <a:lnTo>
                      <a:pt x="806" y="403"/>
                    </a:lnTo>
                    <a:lnTo>
                      <a:pt x="806" y="403"/>
                    </a:lnTo>
                    <a:lnTo>
                      <a:pt x="809" y="409"/>
                    </a:lnTo>
                    <a:lnTo>
                      <a:pt x="811" y="412"/>
                    </a:lnTo>
                    <a:lnTo>
                      <a:pt x="809" y="413"/>
                    </a:lnTo>
                    <a:lnTo>
                      <a:pt x="806" y="413"/>
                    </a:lnTo>
                    <a:lnTo>
                      <a:pt x="806" y="413"/>
                    </a:lnTo>
                    <a:lnTo>
                      <a:pt x="802" y="413"/>
                    </a:lnTo>
                    <a:lnTo>
                      <a:pt x="798" y="413"/>
                    </a:lnTo>
                    <a:lnTo>
                      <a:pt x="796" y="415"/>
                    </a:lnTo>
                    <a:lnTo>
                      <a:pt x="795" y="418"/>
                    </a:lnTo>
                    <a:lnTo>
                      <a:pt x="795" y="418"/>
                    </a:lnTo>
                    <a:lnTo>
                      <a:pt x="796" y="421"/>
                    </a:lnTo>
                    <a:lnTo>
                      <a:pt x="799" y="422"/>
                    </a:lnTo>
                    <a:lnTo>
                      <a:pt x="805" y="423"/>
                    </a:lnTo>
                    <a:lnTo>
                      <a:pt x="818" y="425"/>
                    </a:lnTo>
                    <a:lnTo>
                      <a:pt x="818" y="425"/>
                    </a:lnTo>
                    <a:lnTo>
                      <a:pt x="831" y="429"/>
                    </a:lnTo>
                    <a:lnTo>
                      <a:pt x="835" y="431"/>
                    </a:lnTo>
                    <a:lnTo>
                      <a:pt x="837" y="432"/>
                    </a:lnTo>
                    <a:lnTo>
                      <a:pt x="835" y="432"/>
                    </a:lnTo>
                    <a:lnTo>
                      <a:pt x="835" y="432"/>
                    </a:lnTo>
                    <a:lnTo>
                      <a:pt x="834" y="436"/>
                    </a:lnTo>
                    <a:lnTo>
                      <a:pt x="834" y="442"/>
                    </a:lnTo>
                    <a:lnTo>
                      <a:pt x="834" y="449"/>
                    </a:lnTo>
                    <a:lnTo>
                      <a:pt x="837" y="455"/>
                    </a:lnTo>
                    <a:lnTo>
                      <a:pt x="837" y="455"/>
                    </a:lnTo>
                    <a:lnTo>
                      <a:pt x="837" y="457"/>
                    </a:lnTo>
                    <a:lnTo>
                      <a:pt x="835" y="457"/>
                    </a:lnTo>
                    <a:lnTo>
                      <a:pt x="832" y="457"/>
                    </a:lnTo>
                    <a:lnTo>
                      <a:pt x="822" y="455"/>
                    </a:lnTo>
                    <a:lnTo>
                      <a:pt x="822" y="455"/>
                    </a:lnTo>
                    <a:lnTo>
                      <a:pt x="821" y="455"/>
                    </a:lnTo>
                    <a:lnTo>
                      <a:pt x="819" y="457"/>
                    </a:lnTo>
                    <a:lnTo>
                      <a:pt x="817" y="460"/>
                    </a:lnTo>
                    <a:lnTo>
                      <a:pt x="817" y="460"/>
                    </a:lnTo>
                    <a:lnTo>
                      <a:pt x="817" y="460"/>
                    </a:lnTo>
                    <a:lnTo>
                      <a:pt x="815" y="460"/>
                    </a:lnTo>
                    <a:lnTo>
                      <a:pt x="809" y="457"/>
                    </a:lnTo>
                    <a:lnTo>
                      <a:pt x="809" y="457"/>
                    </a:lnTo>
                    <a:lnTo>
                      <a:pt x="808" y="457"/>
                    </a:lnTo>
                    <a:lnTo>
                      <a:pt x="806" y="458"/>
                    </a:lnTo>
                    <a:lnTo>
                      <a:pt x="805" y="464"/>
                    </a:lnTo>
                    <a:lnTo>
                      <a:pt x="805" y="464"/>
                    </a:lnTo>
                    <a:lnTo>
                      <a:pt x="804" y="464"/>
                    </a:lnTo>
                    <a:lnTo>
                      <a:pt x="802" y="464"/>
                    </a:lnTo>
                    <a:lnTo>
                      <a:pt x="798" y="460"/>
                    </a:lnTo>
                    <a:lnTo>
                      <a:pt x="792" y="455"/>
                    </a:lnTo>
                    <a:lnTo>
                      <a:pt x="786" y="451"/>
                    </a:lnTo>
                    <a:lnTo>
                      <a:pt x="786" y="451"/>
                    </a:lnTo>
                    <a:lnTo>
                      <a:pt x="783" y="449"/>
                    </a:lnTo>
                    <a:lnTo>
                      <a:pt x="780" y="445"/>
                    </a:lnTo>
                    <a:lnTo>
                      <a:pt x="779" y="444"/>
                    </a:lnTo>
                    <a:lnTo>
                      <a:pt x="779" y="441"/>
                    </a:lnTo>
                    <a:lnTo>
                      <a:pt x="779" y="441"/>
                    </a:lnTo>
                    <a:lnTo>
                      <a:pt x="782" y="441"/>
                    </a:lnTo>
                    <a:lnTo>
                      <a:pt x="786" y="441"/>
                    </a:lnTo>
                    <a:lnTo>
                      <a:pt x="796" y="442"/>
                    </a:lnTo>
                    <a:lnTo>
                      <a:pt x="796" y="442"/>
                    </a:lnTo>
                    <a:lnTo>
                      <a:pt x="796" y="442"/>
                    </a:lnTo>
                    <a:lnTo>
                      <a:pt x="795" y="441"/>
                    </a:lnTo>
                    <a:lnTo>
                      <a:pt x="788" y="436"/>
                    </a:lnTo>
                    <a:lnTo>
                      <a:pt x="779" y="434"/>
                    </a:lnTo>
                    <a:lnTo>
                      <a:pt x="772" y="432"/>
                    </a:lnTo>
                    <a:lnTo>
                      <a:pt x="772" y="432"/>
                    </a:lnTo>
                    <a:lnTo>
                      <a:pt x="769" y="432"/>
                    </a:lnTo>
                    <a:lnTo>
                      <a:pt x="769" y="432"/>
                    </a:lnTo>
                    <a:lnTo>
                      <a:pt x="769" y="436"/>
                    </a:lnTo>
                    <a:lnTo>
                      <a:pt x="770" y="441"/>
                    </a:lnTo>
                    <a:lnTo>
                      <a:pt x="770" y="445"/>
                    </a:lnTo>
                    <a:lnTo>
                      <a:pt x="770" y="445"/>
                    </a:lnTo>
                    <a:lnTo>
                      <a:pt x="770" y="447"/>
                    </a:lnTo>
                    <a:lnTo>
                      <a:pt x="769" y="447"/>
                    </a:lnTo>
                    <a:lnTo>
                      <a:pt x="766" y="444"/>
                    </a:lnTo>
                    <a:lnTo>
                      <a:pt x="762" y="438"/>
                    </a:lnTo>
                    <a:lnTo>
                      <a:pt x="762" y="438"/>
                    </a:lnTo>
                    <a:lnTo>
                      <a:pt x="760" y="438"/>
                    </a:lnTo>
                    <a:lnTo>
                      <a:pt x="759" y="441"/>
                    </a:lnTo>
                    <a:lnTo>
                      <a:pt x="760" y="448"/>
                    </a:lnTo>
                    <a:lnTo>
                      <a:pt x="760" y="448"/>
                    </a:lnTo>
                    <a:lnTo>
                      <a:pt x="759" y="451"/>
                    </a:lnTo>
                    <a:lnTo>
                      <a:pt x="757" y="457"/>
                    </a:lnTo>
                    <a:lnTo>
                      <a:pt x="753" y="461"/>
                    </a:lnTo>
                    <a:lnTo>
                      <a:pt x="750" y="465"/>
                    </a:lnTo>
                    <a:lnTo>
                      <a:pt x="750" y="465"/>
                    </a:lnTo>
                    <a:lnTo>
                      <a:pt x="746" y="467"/>
                    </a:lnTo>
                    <a:lnTo>
                      <a:pt x="740" y="467"/>
                    </a:lnTo>
                    <a:lnTo>
                      <a:pt x="735" y="467"/>
                    </a:lnTo>
                    <a:lnTo>
                      <a:pt x="733" y="470"/>
                    </a:lnTo>
                    <a:lnTo>
                      <a:pt x="733" y="470"/>
                    </a:lnTo>
                    <a:lnTo>
                      <a:pt x="733" y="471"/>
                    </a:lnTo>
                    <a:lnTo>
                      <a:pt x="733" y="471"/>
                    </a:lnTo>
                    <a:lnTo>
                      <a:pt x="735" y="473"/>
                    </a:lnTo>
                    <a:lnTo>
                      <a:pt x="746" y="473"/>
                    </a:lnTo>
                    <a:lnTo>
                      <a:pt x="746" y="473"/>
                    </a:lnTo>
                    <a:lnTo>
                      <a:pt x="751" y="473"/>
                    </a:lnTo>
                    <a:lnTo>
                      <a:pt x="754" y="476"/>
                    </a:lnTo>
                    <a:lnTo>
                      <a:pt x="760" y="480"/>
                    </a:lnTo>
                    <a:lnTo>
                      <a:pt x="760" y="480"/>
                    </a:lnTo>
                    <a:lnTo>
                      <a:pt x="760" y="480"/>
                    </a:lnTo>
                    <a:lnTo>
                      <a:pt x="760" y="481"/>
                    </a:lnTo>
                    <a:lnTo>
                      <a:pt x="757" y="483"/>
                    </a:lnTo>
                    <a:lnTo>
                      <a:pt x="751" y="486"/>
                    </a:lnTo>
                    <a:lnTo>
                      <a:pt x="751" y="486"/>
                    </a:lnTo>
                    <a:lnTo>
                      <a:pt x="746" y="489"/>
                    </a:lnTo>
                    <a:lnTo>
                      <a:pt x="738" y="491"/>
                    </a:lnTo>
                    <a:lnTo>
                      <a:pt x="738" y="491"/>
                    </a:lnTo>
                    <a:lnTo>
                      <a:pt x="737" y="493"/>
                    </a:lnTo>
                    <a:lnTo>
                      <a:pt x="735" y="496"/>
                    </a:lnTo>
                    <a:lnTo>
                      <a:pt x="735" y="499"/>
                    </a:lnTo>
                    <a:lnTo>
                      <a:pt x="737" y="502"/>
                    </a:lnTo>
                    <a:lnTo>
                      <a:pt x="737" y="502"/>
                    </a:lnTo>
                    <a:lnTo>
                      <a:pt x="738" y="503"/>
                    </a:lnTo>
                    <a:lnTo>
                      <a:pt x="741" y="503"/>
                    </a:lnTo>
                    <a:lnTo>
                      <a:pt x="746" y="499"/>
                    </a:lnTo>
                    <a:lnTo>
                      <a:pt x="753" y="494"/>
                    </a:lnTo>
                    <a:lnTo>
                      <a:pt x="759" y="491"/>
                    </a:lnTo>
                    <a:lnTo>
                      <a:pt x="759" y="491"/>
                    </a:lnTo>
                    <a:lnTo>
                      <a:pt x="760" y="491"/>
                    </a:lnTo>
                    <a:lnTo>
                      <a:pt x="763" y="493"/>
                    </a:lnTo>
                    <a:lnTo>
                      <a:pt x="764" y="497"/>
                    </a:lnTo>
                    <a:lnTo>
                      <a:pt x="769" y="506"/>
                    </a:lnTo>
                    <a:lnTo>
                      <a:pt x="769" y="506"/>
                    </a:lnTo>
                    <a:lnTo>
                      <a:pt x="769" y="507"/>
                    </a:lnTo>
                    <a:lnTo>
                      <a:pt x="766" y="509"/>
                    </a:lnTo>
                    <a:lnTo>
                      <a:pt x="760" y="509"/>
                    </a:lnTo>
                    <a:lnTo>
                      <a:pt x="753" y="509"/>
                    </a:lnTo>
                    <a:lnTo>
                      <a:pt x="747" y="509"/>
                    </a:lnTo>
                    <a:lnTo>
                      <a:pt x="747" y="509"/>
                    </a:lnTo>
                    <a:lnTo>
                      <a:pt x="746" y="510"/>
                    </a:lnTo>
                    <a:lnTo>
                      <a:pt x="747" y="510"/>
                    </a:lnTo>
                    <a:lnTo>
                      <a:pt x="753" y="513"/>
                    </a:lnTo>
                    <a:lnTo>
                      <a:pt x="753" y="513"/>
                    </a:lnTo>
                    <a:lnTo>
                      <a:pt x="754" y="515"/>
                    </a:lnTo>
                    <a:lnTo>
                      <a:pt x="754" y="516"/>
                    </a:lnTo>
                    <a:lnTo>
                      <a:pt x="753" y="520"/>
                    </a:lnTo>
                    <a:lnTo>
                      <a:pt x="751" y="523"/>
                    </a:lnTo>
                    <a:lnTo>
                      <a:pt x="751" y="525"/>
                    </a:lnTo>
                    <a:lnTo>
                      <a:pt x="751" y="525"/>
                    </a:lnTo>
                    <a:lnTo>
                      <a:pt x="751" y="525"/>
                    </a:lnTo>
                    <a:lnTo>
                      <a:pt x="756" y="523"/>
                    </a:lnTo>
                    <a:lnTo>
                      <a:pt x="760" y="520"/>
                    </a:lnTo>
                    <a:lnTo>
                      <a:pt x="766" y="516"/>
                    </a:lnTo>
                    <a:lnTo>
                      <a:pt x="770" y="515"/>
                    </a:lnTo>
                    <a:lnTo>
                      <a:pt x="770" y="515"/>
                    </a:lnTo>
                    <a:lnTo>
                      <a:pt x="776" y="519"/>
                    </a:lnTo>
                    <a:lnTo>
                      <a:pt x="785" y="526"/>
                    </a:lnTo>
                    <a:lnTo>
                      <a:pt x="798" y="539"/>
                    </a:lnTo>
                    <a:lnTo>
                      <a:pt x="798" y="539"/>
                    </a:lnTo>
                    <a:lnTo>
                      <a:pt x="798" y="541"/>
                    </a:lnTo>
                    <a:lnTo>
                      <a:pt x="796" y="544"/>
                    </a:lnTo>
                    <a:lnTo>
                      <a:pt x="792" y="548"/>
                    </a:lnTo>
                    <a:lnTo>
                      <a:pt x="792" y="548"/>
                    </a:lnTo>
                    <a:lnTo>
                      <a:pt x="790" y="551"/>
                    </a:lnTo>
                    <a:lnTo>
                      <a:pt x="792" y="552"/>
                    </a:lnTo>
                    <a:lnTo>
                      <a:pt x="796" y="557"/>
                    </a:lnTo>
                    <a:lnTo>
                      <a:pt x="796" y="557"/>
                    </a:lnTo>
                    <a:lnTo>
                      <a:pt x="798" y="557"/>
                    </a:lnTo>
                    <a:lnTo>
                      <a:pt x="799" y="555"/>
                    </a:lnTo>
                    <a:lnTo>
                      <a:pt x="804" y="552"/>
                    </a:lnTo>
                    <a:lnTo>
                      <a:pt x="806" y="549"/>
                    </a:lnTo>
                    <a:lnTo>
                      <a:pt x="809" y="548"/>
                    </a:lnTo>
                    <a:lnTo>
                      <a:pt x="811" y="549"/>
                    </a:lnTo>
                    <a:lnTo>
                      <a:pt x="811" y="549"/>
                    </a:lnTo>
                    <a:lnTo>
                      <a:pt x="811" y="551"/>
                    </a:lnTo>
                    <a:lnTo>
                      <a:pt x="811" y="552"/>
                    </a:lnTo>
                    <a:lnTo>
                      <a:pt x="808" y="557"/>
                    </a:lnTo>
                    <a:lnTo>
                      <a:pt x="799" y="564"/>
                    </a:lnTo>
                    <a:lnTo>
                      <a:pt x="799" y="564"/>
                    </a:lnTo>
                    <a:lnTo>
                      <a:pt x="798" y="567"/>
                    </a:lnTo>
                    <a:lnTo>
                      <a:pt x="796" y="570"/>
                    </a:lnTo>
                    <a:lnTo>
                      <a:pt x="798" y="573"/>
                    </a:lnTo>
                    <a:lnTo>
                      <a:pt x="801" y="575"/>
                    </a:lnTo>
                    <a:lnTo>
                      <a:pt x="801" y="575"/>
                    </a:lnTo>
                    <a:lnTo>
                      <a:pt x="805" y="577"/>
                    </a:lnTo>
                    <a:lnTo>
                      <a:pt x="806" y="575"/>
                    </a:lnTo>
                    <a:lnTo>
                      <a:pt x="808" y="573"/>
                    </a:lnTo>
                    <a:lnTo>
                      <a:pt x="809" y="570"/>
                    </a:lnTo>
                    <a:lnTo>
                      <a:pt x="809" y="570"/>
                    </a:lnTo>
                    <a:lnTo>
                      <a:pt x="812" y="565"/>
                    </a:lnTo>
                    <a:lnTo>
                      <a:pt x="815" y="561"/>
                    </a:lnTo>
                    <a:lnTo>
                      <a:pt x="815" y="561"/>
                    </a:lnTo>
                    <a:lnTo>
                      <a:pt x="817" y="562"/>
                    </a:lnTo>
                    <a:lnTo>
                      <a:pt x="817" y="565"/>
                    </a:lnTo>
                    <a:lnTo>
                      <a:pt x="815" y="577"/>
                    </a:lnTo>
                    <a:lnTo>
                      <a:pt x="812" y="600"/>
                    </a:lnTo>
                    <a:lnTo>
                      <a:pt x="812" y="600"/>
                    </a:lnTo>
                    <a:lnTo>
                      <a:pt x="814" y="606"/>
                    </a:lnTo>
                    <a:lnTo>
                      <a:pt x="815" y="610"/>
                    </a:lnTo>
                    <a:lnTo>
                      <a:pt x="817" y="615"/>
                    </a:lnTo>
                    <a:lnTo>
                      <a:pt x="814" y="617"/>
                    </a:lnTo>
                    <a:lnTo>
                      <a:pt x="814" y="617"/>
                    </a:lnTo>
                    <a:lnTo>
                      <a:pt x="811" y="619"/>
                    </a:lnTo>
                    <a:lnTo>
                      <a:pt x="808" y="617"/>
                    </a:lnTo>
                    <a:lnTo>
                      <a:pt x="805" y="616"/>
                    </a:lnTo>
                    <a:lnTo>
                      <a:pt x="802" y="613"/>
                    </a:lnTo>
                    <a:lnTo>
                      <a:pt x="802" y="613"/>
                    </a:lnTo>
                    <a:lnTo>
                      <a:pt x="801" y="613"/>
                    </a:lnTo>
                    <a:lnTo>
                      <a:pt x="799" y="613"/>
                    </a:lnTo>
                    <a:lnTo>
                      <a:pt x="798" y="616"/>
                    </a:lnTo>
                    <a:lnTo>
                      <a:pt x="795" y="619"/>
                    </a:lnTo>
                    <a:lnTo>
                      <a:pt x="793" y="620"/>
                    </a:lnTo>
                    <a:lnTo>
                      <a:pt x="790" y="622"/>
                    </a:lnTo>
                    <a:lnTo>
                      <a:pt x="790" y="622"/>
                    </a:lnTo>
                    <a:lnTo>
                      <a:pt x="786" y="620"/>
                    </a:lnTo>
                    <a:lnTo>
                      <a:pt x="783" y="616"/>
                    </a:lnTo>
                    <a:lnTo>
                      <a:pt x="777" y="604"/>
                    </a:lnTo>
                    <a:lnTo>
                      <a:pt x="772" y="581"/>
                    </a:lnTo>
                    <a:lnTo>
                      <a:pt x="772" y="581"/>
                    </a:lnTo>
                    <a:lnTo>
                      <a:pt x="772" y="578"/>
                    </a:lnTo>
                    <a:lnTo>
                      <a:pt x="770" y="578"/>
                    </a:lnTo>
                    <a:lnTo>
                      <a:pt x="767" y="578"/>
                    </a:lnTo>
                    <a:lnTo>
                      <a:pt x="766" y="580"/>
                    </a:lnTo>
                    <a:lnTo>
                      <a:pt x="763" y="580"/>
                    </a:lnTo>
                    <a:lnTo>
                      <a:pt x="763" y="580"/>
                    </a:lnTo>
                    <a:lnTo>
                      <a:pt x="753" y="574"/>
                    </a:lnTo>
                    <a:lnTo>
                      <a:pt x="747" y="571"/>
                    </a:lnTo>
                    <a:lnTo>
                      <a:pt x="741" y="570"/>
                    </a:lnTo>
                    <a:lnTo>
                      <a:pt x="741" y="570"/>
                    </a:lnTo>
                    <a:lnTo>
                      <a:pt x="737" y="568"/>
                    </a:lnTo>
                    <a:lnTo>
                      <a:pt x="730" y="562"/>
                    </a:lnTo>
                    <a:lnTo>
                      <a:pt x="724" y="557"/>
                    </a:lnTo>
                    <a:lnTo>
                      <a:pt x="720" y="554"/>
                    </a:lnTo>
                    <a:lnTo>
                      <a:pt x="720" y="554"/>
                    </a:lnTo>
                    <a:lnTo>
                      <a:pt x="720" y="554"/>
                    </a:lnTo>
                    <a:lnTo>
                      <a:pt x="720" y="555"/>
                    </a:lnTo>
                    <a:lnTo>
                      <a:pt x="722" y="560"/>
                    </a:lnTo>
                    <a:lnTo>
                      <a:pt x="725" y="565"/>
                    </a:lnTo>
                    <a:lnTo>
                      <a:pt x="727" y="570"/>
                    </a:lnTo>
                    <a:lnTo>
                      <a:pt x="727" y="570"/>
                    </a:lnTo>
                    <a:lnTo>
                      <a:pt x="725" y="571"/>
                    </a:lnTo>
                    <a:lnTo>
                      <a:pt x="724" y="573"/>
                    </a:lnTo>
                    <a:lnTo>
                      <a:pt x="718" y="577"/>
                    </a:lnTo>
                    <a:lnTo>
                      <a:pt x="712" y="581"/>
                    </a:lnTo>
                    <a:lnTo>
                      <a:pt x="709" y="584"/>
                    </a:lnTo>
                    <a:lnTo>
                      <a:pt x="709" y="584"/>
                    </a:lnTo>
                    <a:lnTo>
                      <a:pt x="708" y="587"/>
                    </a:lnTo>
                    <a:lnTo>
                      <a:pt x="709" y="589"/>
                    </a:lnTo>
                    <a:lnTo>
                      <a:pt x="712" y="594"/>
                    </a:lnTo>
                    <a:lnTo>
                      <a:pt x="715" y="600"/>
                    </a:lnTo>
                    <a:lnTo>
                      <a:pt x="718" y="606"/>
                    </a:lnTo>
                    <a:lnTo>
                      <a:pt x="718" y="606"/>
                    </a:lnTo>
                    <a:lnTo>
                      <a:pt x="718" y="607"/>
                    </a:lnTo>
                    <a:lnTo>
                      <a:pt x="717" y="609"/>
                    </a:lnTo>
                    <a:lnTo>
                      <a:pt x="714" y="610"/>
                    </a:lnTo>
                    <a:lnTo>
                      <a:pt x="708" y="612"/>
                    </a:lnTo>
                    <a:lnTo>
                      <a:pt x="702" y="612"/>
                    </a:lnTo>
                    <a:lnTo>
                      <a:pt x="702" y="612"/>
                    </a:lnTo>
                    <a:lnTo>
                      <a:pt x="701" y="613"/>
                    </a:lnTo>
                    <a:lnTo>
                      <a:pt x="701" y="615"/>
                    </a:lnTo>
                    <a:lnTo>
                      <a:pt x="704" y="617"/>
                    </a:lnTo>
                    <a:lnTo>
                      <a:pt x="711" y="623"/>
                    </a:lnTo>
                    <a:lnTo>
                      <a:pt x="711" y="623"/>
                    </a:lnTo>
                    <a:lnTo>
                      <a:pt x="715" y="625"/>
                    </a:lnTo>
                    <a:lnTo>
                      <a:pt x="725" y="625"/>
                    </a:lnTo>
                    <a:lnTo>
                      <a:pt x="741" y="623"/>
                    </a:lnTo>
                    <a:lnTo>
                      <a:pt x="741" y="623"/>
                    </a:lnTo>
                    <a:lnTo>
                      <a:pt x="743" y="623"/>
                    </a:lnTo>
                    <a:lnTo>
                      <a:pt x="740" y="623"/>
                    </a:lnTo>
                    <a:lnTo>
                      <a:pt x="734" y="625"/>
                    </a:lnTo>
                    <a:lnTo>
                      <a:pt x="728" y="628"/>
                    </a:lnTo>
                    <a:lnTo>
                      <a:pt x="728" y="628"/>
                    </a:lnTo>
                    <a:lnTo>
                      <a:pt x="727" y="631"/>
                    </a:lnTo>
                    <a:lnTo>
                      <a:pt x="724" y="632"/>
                    </a:lnTo>
                    <a:lnTo>
                      <a:pt x="715" y="633"/>
                    </a:lnTo>
                    <a:lnTo>
                      <a:pt x="709" y="635"/>
                    </a:lnTo>
                    <a:lnTo>
                      <a:pt x="706" y="636"/>
                    </a:lnTo>
                    <a:lnTo>
                      <a:pt x="706" y="636"/>
                    </a:lnTo>
                    <a:lnTo>
                      <a:pt x="706" y="636"/>
                    </a:lnTo>
                    <a:lnTo>
                      <a:pt x="708" y="636"/>
                    </a:lnTo>
                    <a:lnTo>
                      <a:pt x="712" y="635"/>
                    </a:lnTo>
                    <a:lnTo>
                      <a:pt x="712" y="635"/>
                    </a:lnTo>
                    <a:lnTo>
                      <a:pt x="715" y="635"/>
                    </a:lnTo>
                    <a:lnTo>
                      <a:pt x="715" y="635"/>
                    </a:lnTo>
                    <a:lnTo>
                      <a:pt x="715" y="639"/>
                    </a:lnTo>
                    <a:lnTo>
                      <a:pt x="715" y="639"/>
                    </a:lnTo>
                    <a:lnTo>
                      <a:pt x="717" y="639"/>
                    </a:lnTo>
                    <a:lnTo>
                      <a:pt x="718" y="639"/>
                    </a:lnTo>
                    <a:lnTo>
                      <a:pt x="721" y="636"/>
                    </a:lnTo>
                    <a:lnTo>
                      <a:pt x="721" y="636"/>
                    </a:lnTo>
                    <a:lnTo>
                      <a:pt x="722" y="636"/>
                    </a:lnTo>
                    <a:lnTo>
                      <a:pt x="722" y="636"/>
                    </a:lnTo>
                    <a:lnTo>
                      <a:pt x="725" y="639"/>
                    </a:lnTo>
                    <a:lnTo>
                      <a:pt x="725" y="639"/>
                    </a:lnTo>
                    <a:lnTo>
                      <a:pt x="727" y="639"/>
                    </a:lnTo>
                    <a:lnTo>
                      <a:pt x="728" y="636"/>
                    </a:lnTo>
                    <a:lnTo>
                      <a:pt x="731" y="635"/>
                    </a:lnTo>
                    <a:lnTo>
                      <a:pt x="734" y="632"/>
                    </a:lnTo>
                    <a:lnTo>
                      <a:pt x="734" y="632"/>
                    </a:lnTo>
                    <a:lnTo>
                      <a:pt x="735" y="632"/>
                    </a:lnTo>
                    <a:lnTo>
                      <a:pt x="738" y="632"/>
                    </a:lnTo>
                    <a:lnTo>
                      <a:pt x="744" y="633"/>
                    </a:lnTo>
                    <a:lnTo>
                      <a:pt x="744" y="633"/>
                    </a:lnTo>
                    <a:lnTo>
                      <a:pt x="747" y="632"/>
                    </a:lnTo>
                    <a:lnTo>
                      <a:pt x="751" y="628"/>
                    </a:lnTo>
                    <a:lnTo>
                      <a:pt x="759" y="622"/>
                    </a:lnTo>
                    <a:lnTo>
                      <a:pt x="759" y="622"/>
                    </a:lnTo>
                    <a:lnTo>
                      <a:pt x="762" y="622"/>
                    </a:lnTo>
                    <a:lnTo>
                      <a:pt x="769" y="625"/>
                    </a:lnTo>
                    <a:lnTo>
                      <a:pt x="780" y="631"/>
                    </a:lnTo>
                    <a:lnTo>
                      <a:pt x="780" y="631"/>
                    </a:lnTo>
                    <a:lnTo>
                      <a:pt x="786" y="632"/>
                    </a:lnTo>
                    <a:lnTo>
                      <a:pt x="796" y="632"/>
                    </a:lnTo>
                    <a:lnTo>
                      <a:pt x="806" y="632"/>
                    </a:lnTo>
                    <a:lnTo>
                      <a:pt x="811" y="633"/>
                    </a:lnTo>
                    <a:lnTo>
                      <a:pt x="811" y="633"/>
                    </a:lnTo>
                    <a:lnTo>
                      <a:pt x="811" y="635"/>
                    </a:lnTo>
                    <a:lnTo>
                      <a:pt x="809" y="635"/>
                    </a:lnTo>
                    <a:lnTo>
                      <a:pt x="805" y="636"/>
                    </a:lnTo>
                    <a:lnTo>
                      <a:pt x="798" y="638"/>
                    </a:lnTo>
                    <a:lnTo>
                      <a:pt x="795" y="639"/>
                    </a:lnTo>
                    <a:lnTo>
                      <a:pt x="795" y="639"/>
                    </a:lnTo>
                    <a:lnTo>
                      <a:pt x="793" y="642"/>
                    </a:lnTo>
                    <a:lnTo>
                      <a:pt x="792" y="646"/>
                    </a:lnTo>
                    <a:lnTo>
                      <a:pt x="790" y="651"/>
                    </a:lnTo>
                    <a:lnTo>
                      <a:pt x="788" y="655"/>
                    </a:lnTo>
                    <a:lnTo>
                      <a:pt x="788" y="655"/>
                    </a:lnTo>
                    <a:lnTo>
                      <a:pt x="783" y="659"/>
                    </a:lnTo>
                    <a:lnTo>
                      <a:pt x="779" y="662"/>
                    </a:lnTo>
                    <a:lnTo>
                      <a:pt x="776" y="665"/>
                    </a:lnTo>
                    <a:lnTo>
                      <a:pt x="772" y="665"/>
                    </a:lnTo>
                    <a:lnTo>
                      <a:pt x="772" y="665"/>
                    </a:lnTo>
                    <a:lnTo>
                      <a:pt x="769" y="668"/>
                    </a:lnTo>
                    <a:lnTo>
                      <a:pt x="766" y="671"/>
                    </a:lnTo>
                    <a:lnTo>
                      <a:pt x="762" y="686"/>
                    </a:lnTo>
                    <a:lnTo>
                      <a:pt x="762" y="686"/>
                    </a:lnTo>
                    <a:lnTo>
                      <a:pt x="759" y="690"/>
                    </a:lnTo>
                    <a:lnTo>
                      <a:pt x="753" y="694"/>
                    </a:lnTo>
                    <a:lnTo>
                      <a:pt x="738" y="702"/>
                    </a:lnTo>
                    <a:lnTo>
                      <a:pt x="722" y="707"/>
                    </a:lnTo>
                    <a:lnTo>
                      <a:pt x="711" y="710"/>
                    </a:lnTo>
                    <a:lnTo>
                      <a:pt x="711" y="710"/>
                    </a:lnTo>
                    <a:lnTo>
                      <a:pt x="698" y="716"/>
                    </a:lnTo>
                    <a:lnTo>
                      <a:pt x="686" y="723"/>
                    </a:lnTo>
                    <a:lnTo>
                      <a:pt x="686" y="723"/>
                    </a:lnTo>
                    <a:lnTo>
                      <a:pt x="683" y="725"/>
                    </a:lnTo>
                    <a:lnTo>
                      <a:pt x="682" y="725"/>
                    </a:lnTo>
                    <a:lnTo>
                      <a:pt x="680" y="725"/>
                    </a:lnTo>
                    <a:lnTo>
                      <a:pt x="679" y="725"/>
                    </a:lnTo>
                    <a:lnTo>
                      <a:pt x="679" y="725"/>
                    </a:lnTo>
                    <a:lnTo>
                      <a:pt x="675" y="726"/>
                    </a:lnTo>
                    <a:lnTo>
                      <a:pt x="669" y="725"/>
                    </a:lnTo>
                    <a:lnTo>
                      <a:pt x="669" y="725"/>
                    </a:lnTo>
                    <a:lnTo>
                      <a:pt x="666" y="722"/>
                    </a:lnTo>
                    <a:lnTo>
                      <a:pt x="662" y="723"/>
                    </a:lnTo>
                    <a:lnTo>
                      <a:pt x="662" y="723"/>
                    </a:lnTo>
                    <a:lnTo>
                      <a:pt x="659" y="725"/>
                    </a:lnTo>
                    <a:lnTo>
                      <a:pt x="656" y="725"/>
                    </a:lnTo>
                    <a:lnTo>
                      <a:pt x="653" y="725"/>
                    </a:lnTo>
                    <a:lnTo>
                      <a:pt x="653" y="725"/>
                    </a:lnTo>
                    <a:lnTo>
                      <a:pt x="653" y="722"/>
                    </a:lnTo>
                    <a:lnTo>
                      <a:pt x="654" y="719"/>
                    </a:lnTo>
                    <a:lnTo>
                      <a:pt x="653" y="71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52" name="Freeform 1503"/>
              <p:cNvSpPr>
                <a:spLocks/>
              </p:cNvSpPr>
              <p:nvPr/>
            </p:nvSpPr>
            <p:spPr bwMode="auto">
              <a:xfrm>
                <a:off x="4573979" y="2251705"/>
                <a:ext cx="32646" cy="32646"/>
              </a:xfrm>
              <a:custGeom>
                <a:avLst/>
                <a:gdLst>
                  <a:gd name="T0" fmla="*/ 20 w 33"/>
                  <a:gd name="T1" fmla="*/ 29 h 33"/>
                  <a:gd name="T2" fmla="*/ 18 w 33"/>
                  <a:gd name="T3" fmla="*/ 23 h 33"/>
                  <a:gd name="T4" fmla="*/ 12 w 33"/>
                  <a:gd name="T5" fmla="*/ 17 h 33"/>
                  <a:gd name="T6" fmla="*/ 7 w 33"/>
                  <a:gd name="T7" fmla="*/ 14 h 33"/>
                  <a:gd name="T8" fmla="*/ 6 w 33"/>
                  <a:gd name="T9" fmla="*/ 12 h 33"/>
                  <a:gd name="T10" fmla="*/ 6 w 33"/>
                  <a:gd name="T11" fmla="*/ 12 h 33"/>
                  <a:gd name="T12" fmla="*/ 3 w 33"/>
                  <a:gd name="T13" fmla="*/ 12 h 33"/>
                  <a:gd name="T14" fmla="*/ 6 w 33"/>
                  <a:gd name="T15" fmla="*/ 12 h 33"/>
                  <a:gd name="T16" fmla="*/ 5 w 33"/>
                  <a:gd name="T17" fmla="*/ 12 h 33"/>
                  <a:gd name="T18" fmla="*/ 5 w 33"/>
                  <a:gd name="T19" fmla="*/ 12 h 33"/>
                  <a:gd name="T20" fmla="*/ 5 w 33"/>
                  <a:gd name="T21" fmla="*/ 13 h 33"/>
                  <a:gd name="T22" fmla="*/ 5 w 33"/>
                  <a:gd name="T23" fmla="*/ 13 h 33"/>
                  <a:gd name="T24" fmla="*/ 9 w 33"/>
                  <a:gd name="T25" fmla="*/ 14 h 33"/>
                  <a:gd name="T26" fmla="*/ 18 w 33"/>
                  <a:gd name="T27" fmla="*/ 12 h 33"/>
                  <a:gd name="T28" fmla="*/ 22 w 33"/>
                  <a:gd name="T29" fmla="*/ 9 h 33"/>
                  <a:gd name="T30" fmla="*/ 28 w 33"/>
                  <a:gd name="T31" fmla="*/ 6 h 33"/>
                  <a:gd name="T32" fmla="*/ 31 w 33"/>
                  <a:gd name="T33" fmla="*/ 4 h 33"/>
                  <a:gd name="T34" fmla="*/ 31 w 33"/>
                  <a:gd name="T35" fmla="*/ 4 h 33"/>
                  <a:gd name="T36" fmla="*/ 31 w 33"/>
                  <a:gd name="T37" fmla="*/ 3 h 33"/>
                  <a:gd name="T38" fmla="*/ 31 w 33"/>
                  <a:gd name="T39" fmla="*/ 4 h 33"/>
                  <a:gd name="T40" fmla="*/ 31 w 33"/>
                  <a:gd name="T41" fmla="*/ 3 h 33"/>
                  <a:gd name="T42" fmla="*/ 31 w 33"/>
                  <a:gd name="T43" fmla="*/ 3 h 33"/>
                  <a:gd name="T44" fmla="*/ 28 w 33"/>
                  <a:gd name="T45" fmla="*/ 3 h 33"/>
                  <a:gd name="T46" fmla="*/ 28 w 33"/>
                  <a:gd name="T47" fmla="*/ 3 h 33"/>
                  <a:gd name="T48" fmla="*/ 28 w 33"/>
                  <a:gd name="T49" fmla="*/ 1 h 33"/>
                  <a:gd name="T50" fmla="*/ 28 w 33"/>
                  <a:gd name="T51" fmla="*/ 1 h 33"/>
                  <a:gd name="T52" fmla="*/ 26 w 33"/>
                  <a:gd name="T53" fmla="*/ 6 h 33"/>
                  <a:gd name="T54" fmla="*/ 25 w 33"/>
                  <a:gd name="T55" fmla="*/ 13 h 33"/>
                  <a:gd name="T56" fmla="*/ 28 w 33"/>
                  <a:gd name="T57" fmla="*/ 22 h 33"/>
                  <a:gd name="T58" fmla="*/ 28 w 33"/>
                  <a:gd name="T59" fmla="*/ 25 h 33"/>
                  <a:gd name="T60" fmla="*/ 29 w 33"/>
                  <a:gd name="T61" fmla="*/ 27 h 33"/>
                  <a:gd name="T62" fmla="*/ 29 w 33"/>
                  <a:gd name="T63" fmla="*/ 27 h 33"/>
                  <a:gd name="T64" fmla="*/ 29 w 33"/>
                  <a:gd name="T65" fmla="*/ 26 h 33"/>
                  <a:gd name="T66" fmla="*/ 29 w 33"/>
                  <a:gd name="T67" fmla="*/ 26 h 33"/>
                  <a:gd name="T68" fmla="*/ 29 w 33"/>
                  <a:gd name="T69" fmla="*/ 26 h 33"/>
                  <a:gd name="T70" fmla="*/ 29 w 33"/>
                  <a:gd name="T71" fmla="*/ 27 h 33"/>
                  <a:gd name="T72" fmla="*/ 29 w 33"/>
                  <a:gd name="T73" fmla="*/ 27 h 33"/>
                  <a:gd name="T74" fmla="*/ 25 w 33"/>
                  <a:gd name="T75" fmla="*/ 27 h 33"/>
                  <a:gd name="T76" fmla="*/ 23 w 33"/>
                  <a:gd name="T77" fmla="*/ 29 h 33"/>
                  <a:gd name="T78" fmla="*/ 19 w 33"/>
                  <a:gd name="T79" fmla="*/ 33 h 33"/>
                  <a:gd name="T80" fmla="*/ 23 w 33"/>
                  <a:gd name="T81" fmla="*/ 33 h 33"/>
                  <a:gd name="T82" fmla="*/ 31 w 33"/>
                  <a:gd name="T83" fmla="*/ 32 h 33"/>
                  <a:gd name="T84" fmla="*/ 33 w 33"/>
                  <a:gd name="T85" fmla="*/ 30 h 33"/>
                  <a:gd name="T86" fmla="*/ 33 w 33"/>
                  <a:gd name="T87" fmla="*/ 23 h 33"/>
                  <a:gd name="T88" fmla="*/ 31 w 33"/>
                  <a:gd name="T89" fmla="*/ 19 h 33"/>
                  <a:gd name="T90" fmla="*/ 31 w 33"/>
                  <a:gd name="T91" fmla="*/ 13 h 33"/>
                  <a:gd name="T92" fmla="*/ 31 w 33"/>
                  <a:gd name="T93" fmla="*/ 9 h 33"/>
                  <a:gd name="T94" fmla="*/ 32 w 33"/>
                  <a:gd name="T95" fmla="*/ 4 h 33"/>
                  <a:gd name="T96" fmla="*/ 32 w 33"/>
                  <a:gd name="T97" fmla="*/ 1 h 33"/>
                  <a:gd name="T98" fmla="*/ 31 w 33"/>
                  <a:gd name="T99" fmla="*/ 0 h 33"/>
                  <a:gd name="T100" fmla="*/ 22 w 33"/>
                  <a:gd name="T101" fmla="*/ 3 h 33"/>
                  <a:gd name="T102" fmla="*/ 16 w 33"/>
                  <a:gd name="T103" fmla="*/ 7 h 33"/>
                  <a:gd name="T104" fmla="*/ 9 w 33"/>
                  <a:gd name="T105" fmla="*/ 9 h 33"/>
                  <a:gd name="T106" fmla="*/ 5 w 33"/>
                  <a:gd name="T107" fmla="*/ 9 h 33"/>
                  <a:gd name="T108" fmla="*/ 2 w 33"/>
                  <a:gd name="T109" fmla="*/ 9 h 33"/>
                  <a:gd name="T110" fmla="*/ 2 w 33"/>
                  <a:gd name="T111" fmla="*/ 14 h 33"/>
                  <a:gd name="T112" fmla="*/ 9 w 33"/>
                  <a:gd name="T113" fmla="*/ 23 h 33"/>
                  <a:gd name="T114" fmla="*/ 13 w 33"/>
                  <a:gd name="T115" fmla="*/ 27 h 33"/>
                  <a:gd name="T116" fmla="*/ 16 w 33"/>
                  <a:gd name="T117" fmla="*/ 30 h 33"/>
                  <a:gd name="T118" fmla="*/ 20 w 33"/>
                  <a:gd name="T119" fmla="*/ 3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3" h="33">
                    <a:moveTo>
                      <a:pt x="20" y="30"/>
                    </a:moveTo>
                    <a:lnTo>
                      <a:pt x="20" y="29"/>
                    </a:lnTo>
                    <a:lnTo>
                      <a:pt x="20" y="29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5" y="20"/>
                    </a:lnTo>
                    <a:lnTo>
                      <a:pt x="12" y="17"/>
                    </a:lnTo>
                    <a:lnTo>
                      <a:pt x="12" y="17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6" y="13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3" y="12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6" y="12"/>
                    </a:lnTo>
                    <a:lnTo>
                      <a:pt x="3" y="12"/>
                    </a:lnTo>
                    <a:lnTo>
                      <a:pt x="5" y="13"/>
                    </a:lnTo>
                    <a:lnTo>
                      <a:pt x="5" y="12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12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15" y="13"/>
                    </a:lnTo>
                    <a:lnTo>
                      <a:pt x="15" y="13"/>
                    </a:lnTo>
                    <a:lnTo>
                      <a:pt x="18" y="12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9" y="4"/>
                    </a:lnTo>
                    <a:lnTo>
                      <a:pt x="31" y="4"/>
                    </a:lnTo>
                    <a:lnTo>
                      <a:pt x="31" y="4"/>
                    </a:lnTo>
                    <a:lnTo>
                      <a:pt x="31" y="4"/>
                    </a:lnTo>
                    <a:lnTo>
                      <a:pt x="31" y="4"/>
                    </a:lnTo>
                    <a:lnTo>
                      <a:pt x="31" y="4"/>
                    </a:lnTo>
                    <a:lnTo>
                      <a:pt x="31" y="4"/>
                    </a:lnTo>
                    <a:lnTo>
                      <a:pt x="31" y="4"/>
                    </a:lnTo>
                    <a:lnTo>
                      <a:pt x="31" y="3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31" y="4"/>
                    </a:lnTo>
                    <a:lnTo>
                      <a:pt x="31" y="3"/>
                    </a:lnTo>
                    <a:lnTo>
                      <a:pt x="29" y="4"/>
                    </a:lnTo>
                    <a:lnTo>
                      <a:pt x="31" y="3"/>
                    </a:lnTo>
                    <a:lnTo>
                      <a:pt x="28" y="4"/>
                    </a:lnTo>
                    <a:lnTo>
                      <a:pt x="29" y="4"/>
                    </a:lnTo>
                    <a:lnTo>
                      <a:pt x="31" y="3"/>
                    </a:lnTo>
                    <a:lnTo>
                      <a:pt x="28" y="4"/>
                    </a:lnTo>
                    <a:lnTo>
                      <a:pt x="31" y="3"/>
                    </a:lnTo>
                    <a:lnTo>
                      <a:pt x="28" y="3"/>
                    </a:lnTo>
                    <a:lnTo>
                      <a:pt x="28" y="4"/>
                    </a:lnTo>
                    <a:lnTo>
                      <a:pt x="31" y="3"/>
                    </a:lnTo>
                    <a:lnTo>
                      <a:pt x="28" y="3"/>
                    </a:lnTo>
                    <a:lnTo>
                      <a:pt x="31" y="3"/>
                    </a:lnTo>
                    <a:lnTo>
                      <a:pt x="28" y="1"/>
                    </a:lnTo>
                    <a:lnTo>
                      <a:pt x="28" y="1"/>
                    </a:lnTo>
                    <a:lnTo>
                      <a:pt x="28" y="3"/>
                    </a:lnTo>
                    <a:lnTo>
                      <a:pt x="31" y="3"/>
                    </a:lnTo>
                    <a:lnTo>
                      <a:pt x="28" y="1"/>
                    </a:lnTo>
                    <a:lnTo>
                      <a:pt x="28" y="1"/>
                    </a:lnTo>
                    <a:lnTo>
                      <a:pt x="28" y="1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5" y="13"/>
                    </a:lnTo>
                    <a:lnTo>
                      <a:pt x="25" y="13"/>
                    </a:lnTo>
                    <a:lnTo>
                      <a:pt x="25" y="16"/>
                    </a:lnTo>
                    <a:lnTo>
                      <a:pt x="25" y="16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5"/>
                    </a:lnTo>
                    <a:lnTo>
                      <a:pt x="28" y="25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9" y="26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9" y="26"/>
                    </a:lnTo>
                    <a:lnTo>
                      <a:pt x="29" y="27"/>
                    </a:lnTo>
                    <a:lnTo>
                      <a:pt x="29" y="26"/>
                    </a:lnTo>
                    <a:lnTo>
                      <a:pt x="29" y="26"/>
                    </a:lnTo>
                    <a:lnTo>
                      <a:pt x="29" y="27"/>
                    </a:lnTo>
                    <a:lnTo>
                      <a:pt x="29" y="26"/>
                    </a:lnTo>
                    <a:lnTo>
                      <a:pt x="29" y="27"/>
                    </a:lnTo>
                    <a:lnTo>
                      <a:pt x="29" y="26"/>
                    </a:lnTo>
                    <a:lnTo>
                      <a:pt x="29" y="26"/>
                    </a:lnTo>
                    <a:lnTo>
                      <a:pt x="29" y="27"/>
                    </a:lnTo>
                    <a:lnTo>
                      <a:pt x="29" y="26"/>
                    </a:lnTo>
                    <a:lnTo>
                      <a:pt x="29" y="26"/>
                    </a:lnTo>
                    <a:lnTo>
                      <a:pt x="25" y="27"/>
                    </a:lnTo>
                    <a:lnTo>
                      <a:pt x="25" y="27"/>
                    </a:lnTo>
                    <a:lnTo>
                      <a:pt x="23" y="29"/>
                    </a:lnTo>
                    <a:lnTo>
                      <a:pt x="23" y="29"/>
                    </a:lnTo>
                    <a:lnTo>
                      <a:pt x="20" y="29"/>
                    </a:lnTo>
                    <a:lnTo>
                      <a:pt x="20" y="30"/>
                    </a:lnTo>
                    <a:lnTo>
                      <a:pt x="19" y="33"/>
                    </a:lnTo>
                    <a:lnTo>
                      <a:pt x="19" y="33"/>
                    </a:lnTo>
                    <a:lnTo>
                      <a:pt x="23" y="33"/>
                    </a:lnTo>
                    <a:lnTo>
                      <a:pt x="23" y="33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1" y="32"/>
                    </a:lnTo>
                    <a:lnTo>
                      <a:pt x="31" y="32"/>
                    </a:lnTo>
                    <a:lnTo>
                      <a:pt x="33" y="30"/>
                    </a:lnTo>
                    <a:lnTo>
                      <a:pt x="33" y="30"/>
                    </a:lnTo>
                    <a:lnTo>
                      <a:pt x="33" y="27"/>
                    </a:lnTo>
                    <a:lnTo>
                      <a:pt x="33" y="27"/>
                    </a:lnTo>
                    <a:lnTo>
                      <a:pt x="33" y="23"/>
                    </a:lnTo>
                    <a:lnTo>
                      <a:pt x="33" y="23"/>
                    </a:lnTo>
                    <a:lnTo>
                      <a:pt x="31" y="19"/>
                    </a:lnTo>
                    <a:lnTo>
                      <a:pt x="31" y="19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3" y="3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5" y="19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2" y="25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8" y="32"/>
                    </a:lnTo>
                    <a:lnTo>
                      <a:pt x="19" y="33"/>
                    </a:lnTo>
                    <a:lnTo>
                      <a:pt x="20" y="3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53" name="Freeform 1504"/>
              <p:cNvSpPr>
                <a:spLocks/>
              </p:cNvSpPr>
              <p:nvPr/>
            </p:nvSpPr>
            <p:spPr bwMode="auto">
              <a:xfrm>
                <a:off x="4697636" y="2201253"/>
                <a:ext cx="16817" cy="28689"/>
              </a:xfrm>
              <a:custGeom>
                <a:avLst/>
                <a:gdLst>
                  <a:gd name="T0" fmla="*/ 1 w 17"/>
                  <a:gd name="T1" fmla="*/ 28 h 29"/>
                  <a:gd name="T2" fmla="*/ 1 w 17"/>
                  <a:gd name="T3" fmla="*/ 28 h 29"/>
                  <a:gd name="T4" fmla="*/ 0 w 17"/>
                  <a:gd name="T5" fmla="*/ 23 h 29"/>
                  <a:gd name="T6" fmla="*/ 0 w 17"/>
                  <a:gd name="T7" fmla="*/ 18 h 29"/>
                  <a:gd name="T8" fmla="*/ 1 w 17"/>
                  <a:gd name="T9" fmla="*/ 12 h 29"/>
                  <a:gd name="T10" fmla="*/ 4 w 17"/>
                  <a:gd name="T11" fmla="*/ 7 h 29"/>
                  <a:gd name="T12" fmla="*/ 4 w 17"/>
                  <a:gd name="T13" fmla="*/ 7 h 29"/>
                  <a:gd name="T14" fmla="*/ 14 w 17"/>
                  <a:gd name="T15" fmla="*/ 2 h 29"/>
                  <a:gd name="T16" fmla="*/ 17 w 17"/>
                  <a:gd name="T17" fmla="*/ 0 h 29"/>
                  <a:gd name="T18" fmla="*/ 17 w 17"/>
                  <a:gd name="T19" fmla="*/ 0 h 29"/>
                  <a:gd name="T20" fmla="*/ 17 w 17"/>
                  <a:gd name="T21" fmla="*/ 2 h 29"/>
                  <a:gd name="T22" fmla="*/ 17 w 17"/>
                  <a:gd name="T23" fmla="*/ 2 h 29"/>
                  <a:gd name="T24" fmla="*/ 16 w 17"/>
                  <a:gd name="T25" fmla="*/ 6 h 29"/>
                  <a:gd name="T26" fmla="*/ 14 w 17"/>
                  <a:gd name="T27" fmla="*/ 9 h 29"/>
                  <a:gd name="T28" fmla="*/ 13 w 17"/>
                  <a:gd name="T29" fmla="*/ 16 h 29"/>
                  <a:gd name="T30" fmla="*/ 13 w 17"/>
                  <a:gd name="T31" fmla="*/ 16 h 29"/>
                  <a:gd name="T32" fmla="*/ 7 w 17"/>
                  <a:gd name="T33" fmla="*/ 23 h 29"/>
                  <a:gd name="T34" fmla="*/ 4 w 17"/>
                  <a:gd name="T35" fmla="*/ 28 h 29"/>
                  <a:gd name="T36" fmla="*/ 3 w 17"/>
                  <a:gd name="T37" fmla="*/ 29 h 29"/>
                  <a:gd name="T38" fmla="*/ 1 w 17"/>
                  <a:gd name="T39" fmla="*/ 2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" h="29">
                    <a:moveTo>
                      <a:pt x="1" y="28"/>
                    </a:moveTo>
                    <a:lnTo>
                      <a:pt x="1" y="28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" y="1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14" y="2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16" y="6"/>
                    </a:lnTo>
                    <a:lnTo>
                      <a:pt x="14" y="9"/>
                    </a:lnTo>
                    <a:lnTo>
                      <a:pt x="13" y="16"/>
                    </a:lnTo>
                    <a:lnTo>
                      <a:pt x="13" y="16"/>
                    </a:lnTo>
                    <a:lnTo>
                      <a:pt x="7" y="23"/>
                    </a:lnTo>
                    <a:lnTo>
                      <a:pt x="4" y="28"/>
                    </a:lnTo>
                    <a:lnTo>
                      <a:pt x="3" y="29"/>
                    </a:lnTo>
                    <a:lnTo>
                      <a:pt x="1" y="2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54" name="Freeform 1505"/>
              <p:cNvSpPr>
                <a:spLocks/>
              </p:cNvSpPr>
              <p:nvPr/>
            </p:nvSpPr>
            <p:spPr bwMode="auto">
              <a:xfrm>
                <a:off x="4697636" y="2201253"/>
                <a:ext cx="16817" cy="28689"/>
              </a:xfrm>
              <a:custGeom>
                <a:avLst/>
                <a:gdLst>
                  <a:gd name="T0" fmla="*/ 1 w 17"/>
                  <a:gd name="T1" fmla="*/ 28 h 29"/>
                  <a:gd name="T2" fmla="*/ 1 w 17"/>
                  <a:gd name="T3" fmla="*/ 28 h 29"/>
                  <a:gd name="T4" fmla="*/ 0 w 17"/>
                  <a:gd name="T5" fmla="*/ 23 h 29"/>
                  <a:gd name="T6" fmla="*/ 0 w 17"/>
                  <a:gd name="T7" fmla="*/ 18 h 29"/>
                  <a:gd name="T8" fmla="*/ 1 w 17"/>
                  <a:gd name="T9" fmla="*/ 12 h 29"/>
                  <a:gd name="T10" fmla="*/ 4 w 17"/>
                  <a:gd name="T11" fmla="*/ 7 h 29"/>
                  <a:gd name="T12" fmla="*/ 4 w 17"/>
                  <a:gd name="T13" fmla="*/ 7 h 29"/>
                  <a:gd name="T14" fmla="*/ 14 w 17"/>
                  <a:gd name="T15" fmla="*/ 2 h 29"/>
                  <a:gd name="T16" fmla="*/ 17 w 17"/>
                  <a:gd name="T17" fmla="*/ 0 h 29"/>
                  <a:gd name="T18" fmla="*/ 17 w 17"/>
                  <a:gd name="T19" fmla="*/ 0 h 29"/>
                  <a:gd name="T20" fmla="*/ 17 w 17"/>
                  <a:gd name="T21" fmla="*/ 2 h 29"/>
                  <a:gd name="T22" fmla="*/ 17 w 17"/>
                  <a:gd name="T23" fmla="*/ 2 h 29"/>
                  <a:gd name="T24" fmla="*/ 16 w 17"/>
                  <a:gd name="T25" fmla="*/ 6 h 29"/>
                  <a:gd name="T26" fmla="*/ 14 w 17"/>
                  <a:gd name="T27" fmla="*/ 9 h 29"/>
                  <a:gd name="T28" fmla="*/ 13 w 17"/>
                  <a:gd name="T29" fmla="*/ 16 h 29"/>
                  <a:gd name="T30" fmla="*/ 13 w 17"/>
                  <a:gd name="T31" fmla="*/ 16 h 29"/>
                  <a:gd name="T32" fmla="*/ 7 w 17"/>
                  <a:gd name="T33" fmla="*/ 23 h 29"/>
                  <a:gd name="T34" fmla="*/ 4 w 17"/>
                  <a:gd name="T35" fmla="*/ 28 h 29"/>
                  <a:gd name="T36" fmla="*/ 3 w 17"/>
                  <a:gd name="T37" fmla="*/ 29 h 29"/>
                  <a:gd name="T38" fmla="*/ 1 w 17"/>
                  <a:gd name="T39" fmla="*/ 2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" h="29">
                    <a:moveTo>
                      <a:pt x="1" y="28"/>
                    </a:moveTo>
                    <a:lnTo>
                      <a:pt x="1" y="28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" y="1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14" y="2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16" y="6"/>
                    </a:lnTo>
                    <a:lnTo>
                      <a:pt x="14" y="9"/>
                    </a:lnTo>
                    <a:lnTo>
                      <a:pt x="13" y="16"/>
                    </a:lnTo>
                    <a:lnTo>
                      <a:pt x="13" y="16"/>
                    </a:lnTo>
                    <a:lnTo>
                      <a:pt x="7" y="23"/>
                    </a:lnTo>
                    <a:lnTo>
                      <a:pt x="4" y="28"/>
                    </a:lnTo>
                    <a:lnTo>
                      <a:pt x="3" y="29"/>
                    </a:lnTo>
                    <a:lnTo>
                      <a:pt x="1" y="2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55" name="Freeform 1508"/>
              <p:cNvSpPr>
                <a:spLocks/>
              </p:cNvSpPr>
              <p:nvPr/>
            </p:nvSpPr>
            <p:spPr bwMode="auto">
              <a:xfrm>
                <a:off x="4759959" y="2165640"/>
                <a:ext cx="7914" cy="6925"/>
              </a:xfrm>
              <a:custGeom>
                <a:avLst/>
                <a:gdLst>
                  <a:gd name="T0" fmla="*/ 2 w 8"/>
                  <a:gd name="T1" fmla="*/ 7 h 7"/>
                  <a:gd name="T2" fmla="*/ 2 w 8"/>
                  <a:gd name="T3" fmla="*/ 7 h 7"/>
                  <a:gd name="T4" fmla="*/ 0 w 8"/>
                  <a:gd name="T5" fmla="*/ 6 h 7"/>
                  <a:gd name="T6" fmla="*/ 0 w 8"/>
                  <a:gd name="T7" fmla="*/ 4 h 7"/>
                  <a:gd name="T8" fmla="*/ 5 w 8"/>
                  <a:gd name="T9" fmla="*/ 0 h 7"/>
                  <a:gd name="T10" fmla="*/ 5 w 8"/>
                  <a:gd name="T11" fmla="*/ 0 h 7"/>
                  <a:gd name="T12" fmla="*/ 6 w 8"/>
                  <a:gd name="T13" fmla="*/ 1 h 7"/>
                  <a:gd name="T14" fmla="*/ 8 w 8"/>
                  <a:gd name="T15" fmla="*/ 3 h 7"/>
                  <a:gd name="T16" fmla="*/ 6 w 8"/>
                  <a:gd name="T17" fmla="*/ 6 h 7"/>
                  <a:gd name="T18" fmla="*/ 2 w 8"/>
                  <a:gd name="T1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7">
                    <a:moveTo>
                      <a:pt x="2" y="7"/>
                    </a:moveTo>
                    <a:lnTo>
                      <a:pt x="2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6" y="1"/>
                    </a:lnTo>
                    <a:lnTo>
                      <a:pt x="8" y="3"/>
                    </a:lnTo>
                    <a:lnTo>
                      <a:pt x="6" y="6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56" name="Freeform 1509"/>
              <p:cNvSpPr>
                <a:spLocks/>
              </p:cNvSpPr>
              <p:nvPr/>
            </p:nvSpPr>
            <p:spPr bwMode="auto">
              <a:xfrm>
                <a:off x="4759959" y="2165640"/>
                <a:ext cx="7914" cy="6925"/>
              </a:xfrm>
              <a:custGeom>
                <a:avLst/>
                <a:gdLst>
                  <a:gd name="T0" fmla="*/ 2 w 8"/>
                  <a:gd name="T1" fmla="*/ 7 h 7"/>
                  <a:gd name="T2" fmla="*/ 2 w 8"/>
                  <a:gd name="T3" fmla="*/ 7 h 7"/>
                  <a:gd name="T4" fmla="*/ 0 w 8"/>
                  <a:gd name="T5" fmla="*/ 6 h 7"/>
                  <a:gd name="T6" fmla="*/ 0 w 8"/>
                  <a:gd name="T7" fmla="*/ 4 h 7"/>
                  <a:gd name="T8" fmla="*/ 5 w 8"/>
                  <a:gd name="T9" fmla="*/ 0 h 7"/>
                  <a:gd name="T10" fmla="*/ 5 w 8"/>
                  <a:gd name="T11" fmla="*/ 0 h 7"/>
                  <a:gd name="T12" fmla="*/ 6 w 8"/>
                  <a:gd name="T13" fmla="*/ 1 h 7"/>
                  <a:gd name="T14" fmla="*/ 8 w 8"/>
                  <a:gd name="T15" fmla="*/ 3 h 7"/>
                  <a:gd name="T16" fmla="*/ 6 w 8"/>
                  <a:gd name="T17" fmla="*/ 6 h 7"/>
                  <a:gd name="T18" fmla="*/ 2 w 8"/>
                  <a:gd name="T1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7">
                    <a:moveTo>
                      <a:pt x="2" y="7"/>
                    </a:moveTo>
                    <a:lnTo>
                      <a:pt x="2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6" y="1"/>
                    </a:lnTo>
                    <a:lnTo>
                      <a:pt x="8" y="3"/>
                    </a:lnTo>
                    <a:lnTo>
                      <a:pt x="6" y="6"/>
                    </a:lnTo>
                    <a:lnTo>
                      <a:pt x="2" y="7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97" name="Freeform 1550"/>
              <p:cNvSpPr>
                <a:spLocks/>
              </p:cNvSpPr>
              <p:nvPr/>
            </p:nvSpPr>
            <p:spPr bwMode="auto">
              <a:xfrm>
                <a:off x="4995403" y="2123102"/>
                <a:ext cx="18796" cy="12860"/>
              </a:xfrm>
              <a:custGeom>
                <a:avLst/>
                <a:gdLst>
                  <a:gd name="T0" fmla="*/ 14 w 19"/>
                  <a:gd name="T1" fmla="*/ 7 h 13"/>
                  <a:gd name="T2" fmla="*/ 14 w 19"/>
                  <a:gd name="T3" fmla="*/ 7 h 13"/>
                  <a:gd name="T4" fmla="*/ 14 w 19"/>
                  <a:gd name="T5" fmla="*/ 8 h 13"/>
                  <a:gd name="T6" fmla="*/ 14 w 19"/>
                  <a:gd name="T7" fmla="*/ 7 h 13"/>
                  <a:gd name="T8" fmla="*/ 14 w 19"/>
                  <a:gd name="T9" fmla="*/ 7 h 13"/>
                  <a:gd name="T10" fmla="*/ 14 w 19"/>
                  <a:gd name="T11" fmla="*/ 7 h 13"/>
                  <a:gd name="T12" fmla="*/ 14 w 19"/>
                  <a:gd name="T13" fmla="*/ 7 h 13"/>
                  <a:gd name="T14" fmla="*/ 9 w 19"/>
                  <a:gd name="T15" fmla="*/ 7 h 13"/>
                  <a:gd name="T16" fmla="*/ 6 w 19"/>
                  <a:gd name="T17" fmla="*/ 5 h 13"/>
                  <a:gd name="T18" fmla="*/ 4 w 19"/>
                  <a:gd name="T19" fmla="*/ 5 h 13"/>
                  <a:gd name="T20" fmla="*/ 6 w 19"/>
                  <a:gd name="T21" fmla="*/ 7 h 13"/>
                  <a:gd name="T22" fmla="*/ 4 w 19"/>
                  <a:gd name="T23" fmla="*/ 7 h 13"/>
                  <a:gd name="T24" fmla="*/ 4 w 19"/>
                  <a:gd name="T25" fmla="*/ 7 h 13"/>
                  <a:gd name="T26" fmla="*/ 6 w 19"/>
                  <a:gd name="T27" fmla="*/ 7 h 13"/>
                  <a:gd name="T28" fmla="*/ 6 w 19"/>
                  <a:gd name="T29" fmla="*/ 7 h 13"/>
                  <a:gd name="T30" fmla="*/ 7 w 19"/>
                  <a:gd name="T31" fmla="*/ 5 h 13"/>
                  <a:gd name="T32" fmla="*/ 9 w 19"/>
                  <a:gd name="T33" fmla="*/ 4 h 13"/>
                  <a:gd name="T34" fmla="*/ 9 w 19"/>
                  <a:gd name="T35" fmla="*/ 4 h 13"/>
                  <a:gd name="T36" fmla="*/ 9 w 19"/>
                  <a:gd name="T37" fmla="*/ 4 h 13"/>
                  <a:gd name="T38" fmla="*/ 9 w 19"/>
                  <a:gd name="T39" fmla="*/ 4 h 13"/>
                  <a:gd name="T40" fmla="*/ 9 w 19"/>
                  <a:gd name="T41" fmla="*/ 4 h 13"/>
                  <a:gd name="T42" fmla="*/ 9 w 19"/>
                  <a:gd name="T43" fmla="*/ 4 h 13"/>
                  <a:gd name="T44" fmla="*/ 9 w 19"/>
                  <a:gd name="T45" fmla="*/ 4 h 13"/>
                  <a:gd name="T46" fmla="*/ 9 w 19"/>
                  <a:gd name="T47" fmla="*/ 4 h 13"/>
                  <a:gd name="T48" fmla="*/ 9 w 19"/>
                  <a:gd name="T49" fmla="*/ 4 h 13"/>
                  <a:gd name="T50" fmla="*/ 10 w 19"/>
                  <a:gd name="T51" fmla="*/ 5 h 13"/>
                  <a:gd name="T52" fmla="*/ 13 w 19"/>
                  <a:gd name="T53" fmla="*/ 8 h 13"/>
                  <a:gd name="T54" fmla="*/ 13 w 19"/>
                  <a:gd name="T55" fmla="*/ 8 h 13"/>
                  <a:gd name="T56" fmla="*/ 14 w 19"/>
                  <a:gd name="T57" fmla="*/ 8 h 13"/>
                  <a:gd name="T58" fmla="*/ 13 w 19"/>
                  <a:gd name="T59" fmla="*/ 10 h 13"/>
                  <a:gd name="T60" fmla="*/ 13 w 19"/>
                  <a:gd name="T61" fmla="*/ 8 h 13"/>
                  <a:gd name="T62" fmla="*/ 14 w 19"/>
                  <a:gd name="T63" fmla="*/ 7 h 13"/>
                  <a:gd name="T64" fmla="*/ 13 w 19"/>
                  <a:gd name="T65" fmla="*/ 8 h 13"/>
                  <a:gd name="T66" fmla="*/ 14 w 19"/>
                  <a:gd name="T67" fmla="*/ 7 h 13"/>
                  <a:gd name="T68" fmla="*/ 17 w 19"/>
                  <a:gd name="T69" fmla="*/ 11 h 13"/>
                  <a:gd name="T70" fmla="*/ 19 w 19"/>
                  <a:gd name="T71" fmla="*/ 8 h 13"/>
                  <a:gd name="T72" fmla="*/ 19 w 19"/>
                  <a:gd name="T73" fmla="*/ 7 h 13"/>
                  <a:gd name="T74" fmla="*/ 14 w 19"/>
                  <a:gd name="T75" fmla="*/ 2 h 13"/>
                  <a:gd name="T76" fmla="*/ 12 w 19"/>
                  <a:gd name="T77" fmla="*/ 1 h 13"/>
                  <a:gd name="T78" fmla="*/ 9 w 19"/>
                  <a:gd name="T79" fmla="*/ 0 h 13"/>
                  <a:gd name="T80" fmla="*/ 9 w 19"/>
                  <a:gd name="T81" fmla="*/ 0 h 13"/>
                  <a:gd name="T82" fmla="*/ 6 w 19"/>
                  <a:gd name="T83" fmla="*/ 0 h 13"/>
                  <a:gd name="T84" fmla="*/ 3 w 19"/>
                  <a:gd name="T85" fmla="*/ 2 h 13"/>
                  <a:gd name="T86" fmla="*/ 1 w 19"/>
                  <a:gd name="T87" fmla="*/ 4 h 13"/>
                  <a:gd name="T88" fmla="*/ 0 w 19"/>
                  <a:gd name="T89" fmla="*/ 7 h 13"/>
                  <a:gd name="T90" fmla="*/ 1 w 19"/>
                  <a:gd name="T91" fmla="*/ 10 h 13"/>
                  <a:gd name="T92" fmla="*/ 4 w 19"/>
                  <a:gd name="T93" fmla="*/ 10 h 13"/>
                  <a:gd name="T94" fmla="*/ 14 w 19"/>
                  <a:gd name="T95" fmla="*/ 13 h 13"/>
                  <a:gd name="T96" fmla="*/ 16 w 19"/>
                  <a:gd name="T97" fmla="*/ 13 h 13"/>
                  <a:gd name="T98" fmla="*/ 16 w 19"/>
                  <a:gd name="T99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9" h="13">
                    <a:moveTo>
                      <a:pt x="16" y="10"/>
                    </a:moveTo>
                    <a:lnTo>
                      <a:pt x="14" y="7"/>
                    </a:lnTo>
                    <a:lnTo>
                      <a:pt x="14" y="8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8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4" y="5"/>
                    </a:lnTo>
                    <a:lnTo>
                      <a:pt x="4" y="7"/>
                    </a:lnTo>
                    <a:lnTo>
                      <a:pt x="6" y="7"/>
                    </a:lnTo>
                    <a:lnTo>
                      <a:pt x="4" y="5"/>
                    </a:lnTo>
                    <a:lnTo>
                      <a:pt x="4" y="7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7" y="5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10" y="5"/>
                    </a:lnTo>
                    <a:lnTo>
                      <a:pt x="10" y="5"/>
                    </a:lnTo>
                    <a:lnTo>
                      <a:pt x="13" y="8"/>
                    </a:lnTo>
                    <a:lnTo>
                      <a:pt x="13" y="8"/>
                    </a:lnTo>
                    <a:lnTo>
                      <a:pt x="13" y="8"/>
                    </a:lnTo>
                    <a:lnTo>
                      <a:pt x="13" y="10"/>
                    </a:lnTo>
                    <a:lnTo>
                      <a:pt x="14" y="8"/>
                    </a:lnTo>
                    <a:lnTo>
                      <a:pt x="13" y="8"/>
                    </a:lnTo>
                    <a:lnTo>
                      <a:pt x="13" y="10"/>
                    </a:lnTo>
                    <a:lnTo>
                      <a:pt x="14" y="8"/>
                    </a:lnTo>
                    <a:lnTo>
                      <a:pt x="13" y="8"/>
                    </a:lnTo>
                    <a:lnTo>
                      <a:pt x="16" y="8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3" y="8"/>
                    </a:lnTo>
                    <a:lnTo>
                      <a:pt x="16" y="8"/>
                    </a:lnTo>
                    <a:lnTo>
                      <a:pt x="14" y="7"/>
                    </a:lnTo>
                    <a:lnTo>
                      <a:pt x="16" y="10"/>
                    </a:lnTo>
                    <a:lnTo>
                      <a:pt x="17" y="11"/>
                    </a:lnTo>
                    <a:lnTo>
                      <a:pt x="17" y="11"/>
                    </a:lnTo>
                    <a:lnTo>
                      <a:pt x="19" y="8"/>
                    </a:lnTo>
                    <a:lnTo>
                      <a:pt x="19" y="8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1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10"/>
                    </a:lnTo>
                    <a:lnTo>
                      <a:pt x="1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7" y="11"/>
                    </a:lnTo>
                    <a:lnTo>
                      <a:pt x="16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98" name="Freeform 1551"/>
              <p:cNvSpPr>
                <a:spLocks/>
              </p:cNvSpPr>
              <p:nvPr/>
            </p:nvSpPr>
            <p:spPr bwMode="auto">
              <a:xfrm>
                <a:off x="5017167" y="2083531"/>
                <a:ext cx="10882" cy="13850"/>
              </a:xfrm>
              <a:custGeom>
                <a:avLst/>
                <a:gdLst>
                  <a:gd name="T0" fmla="*/ 8 w 11"/>
                  <a:gd name="T1" fmla="*/ 8 h 14"/>
                  <a:gd name="T2" fmla="*/ 7 w 11"/>
                  <a:gd name="T3" fmla="*/ 6 h 14"/>
                  <a:gd name="T4" fmla="*/ 8 w 11"/>
                  <a:gd name="T5" fmla="*/ 5 h 14"/>
                  <a:gd name="T6" fmla="*/ 8 w 11"/>
                  <a:gd name="T7" fmla="*/ 6 h 14"/>
                  <a:gd name="T8" fmla="*/ 7 w 11"/>
                  <a:gd name="T9" fmla="*/ 6 h 14"/>
                  <a:gd name="T10" fmla="*/ 7 w 11"/>
                  <a:gd name="T11" fmla="*/ 6 h 14"/>
                  <a:gd name="T12" fmla="*/ 7 w 11"/>
                  <a:gd name="T13" fmla="*/ 5 h 14"/>
                  <a:gd name="T14" fmla="*/ 8 w 11"/>
                  <a:gd name="T15" fmla="*/ 6 h 14"/>
                  <a:gd name="T16" fmla="*/ 7 w 11"/>
                  <a:gd name="T17" fmla="*/ 6 h 14"/>
                  <a:gd name="T18" fmla="*/ 5 w 11"/>
                  <a:gd name="T19" fmla="*/ 8 h 14"/>
                  <a:gd name="T20" fmla="*/ 4 w 11"/>
                  <a:gd name="T21" fmla="*/ 9 h 14"/>
                  <a:gd name="T22" fmla="*/ 4 w 11"/>
                  <a:gd name="T23" fmla="*/ 9 h 14"/>
                  <a:gd name="T24" fmla="*/ 4 w 11"/>
                  <a:gd name="T25" fmla="*/ 9 h 14"/>
                  <a:gd name="T26" fmla="*/ 4 w 11"/>
                  <a:gd name="T27" fmla="*/ 11 h 14"/>
                  <a:gd name="T28" fmla="*/ 4 w 11"/>
                  <a:gd name="T29" fmla="*/ 9 h 14"/>
                  <a:gd name="T30" fmla="*/ 4 w 11"/>
                  <a:gd name="T31" fmla="*/ 9 h 14"/>
                  <a:gd name="T32" fmla="*/ 5 w 11"/>
                  <a:gd name="T33" fmla="*/ 9 h 14"/>
                  <a:gd name="T34" fmla="*/ 4 w 11"/>
                  <a:gd name="T35" fmla="*/ 11 h 14"/>
                  <a:gd name="T36" fmla="*/ 5 w 11"/>
                  <a:gd name="T37" fmla="*/ 9 h 14"/>
                  <a:gd name="T38" fmla="*/ 5 w 11"/>
                  <a:gd name="T39" fmla="*/ 9 h 14"/>
                  <a:gd name="T40" fmla="*/ 5 w 11"/>
                  <a:gd name="T41" fmla="*/ 9 h 14"/>
                  <a:gd name="T42" fmla="*/ 4 w 11"/>
                  <a:gd name="T43" fmla="*/ 8 h 14"/>
                  <a:gd name="T44" fmla="*/ 4 w 11"/>
                  <a:gd name="T45" fmla="*/ 6 h 14"/>
                  <a:gd name="T46" fmla="*/ 4 w 11"/>
                  <a:gd name="T47" fmla="*/ 5 h 14"/>
                  <a:gd name="T48" fmla="*/ 4 w 11"/>
                  <a:gd name="T49" fmla="*/ 5 h 14"/>
                  <a:gd name="T50" fmla="*/ 4 w 11"/>
                  <a:gd name="T51" fmla="*/ 5 h 14"/>
                  <a:gd name="T52" fmla="*/ 4 w 11"/>
                  <a:gd name="T53" fmla="*/ 5 h 14"/>
                  <a:gd name="T54" fmla="*/ 4 w 11"/>
                  <a:gd name="T55" fmla="*/ 5 h 14"/>
                  <a:gd name="T56" fmla="*/ 4 w 11"/>
                  <a:gd name="T57" fmla="*/ 5 h 14"/>
                  <a:gd name="T58" fmla="*/ 4 w 11"/>
                  <a:gd name="T59" fmla="*/ 5 h 14"/>
                  <a:gd name="T60" fmla="*/ 4 w 11"/>
                  <a:gd name="T61" fmla="*/ 5 h 14"/>
                  <a:gd name="T62" fmla="*/ 4 w 11"/>
                  <a:gd name="T63" fmla="*/ 5 h 14"/>
                  <a:gd name="T64" fmla="*/ 8 w 11"/>
                  <a:gd name="T65" fmla="*/ 8 h 14"/>
                  <a:gd name="T66" fmla="*/ 11 w 11"/>
                  <a:gd name="T67" fmla="*/ 3 h 14"/>
                  <a:gd name="T68" fmla="*/ 7 w 11"/>
                  <a:gd name="T69" fmla="*/ 0 h 14"/>
                  <a:gd name="T70" fmla="*/ 4 w 11"/>
                  <a:gd name="T71" fmla="*/ 0 h 14"/>
                  <a:gd name="T72" fmla="*/ 0 w 11"/>
                  <a:gd name="T73" fmla="*/ 2 h 14"/>
                  <a:gd name="T74" fmla="*/ 0 w 11"/>
                  <a:gd name="T75" fmla="*/ 6 h 14"/>
                  <a:gd name="T76" fmla="*/ 0 w 11"/>
                  <a:gd name="T77" fmla="*/ 11 h 14"/>
                  <a:gd name="T78" fmla="*/ 1 w 11"/>
                  <a:gd name="T79" fmla="*/ 12 h 14"/>
                  <a:gd name="T80" fmla="*/ 4 w 11"/>
                  <a:gd name="T81" fmla="*/ 14 h 14"/>
                  <a:gd name="T82" fmla="*/ 4 w 11"/>
                  <a:gd name="T83" fmla="*/ 14 h 14"/>
                  <a:gd name="T84" fmla="*/ 7 w 11"/>
                  <a:gd name="T85" fmla="*/ 12 h 14"/>
                  <a:gd name="T86" fmla="*/ 10 w 11"/>
                  <a:gd name="T87" fmla="*/ 9 h 14"/>
                  <a:gd name="T88" fmla="*/ 11 w 11"/>
                  <a:gd name="T89" fmla="*/ 8 h 14"/>
                  <a:gd name="T90" fmla="*/ 11 w 11"/>
                  <a:gd name="T91" fmla="*/ 6 h 14"/>
                  <a:gd name="T92" fmla="*/ 11 w 11"/>
                  <a:gd name="T93" fmla="*/ 5 h 14"/>
                  <a:gd name="T94" fmla="*/ 11 w 11"/>
                  <a:gd name="T95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" h="14">
                    <a:moveTo>
                      <a:pt x="10" y="5"/>
                    </a:moveTo>
                    <a:lnTo>
                      <a:pt x="8" y="8"/>
                    </a:lnTo>
                    <a:lnTo>
                      <a:pt x="8" y="5"/>
                    </a:lnTo>
                    <a:lnTo>
                      <a:pt x="7" y="6"/>
                    </a:lnTo>
                    <a:lnTo>
                      <a:pt x="8" y="8"/>
                    </a:lnTo>
                    <a:lnTo>
                      <a:pt x="8" y="5"/>
                    </a:lnTo>
                    <a:lnTo>
                      <a:pt x="7" y="6"/>
                    </a:lnTo>
                    <a:lnTo>
                      <a:pt x="8" y="6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8" y="6"/>
                    </a:lnTo>
                    <a:lnTo>
                      <a:pt x="7" y="6"/>
                    </a:lnTo>
                    <a:lnTo>
                      <a:pt x="8" y="6"/>
                    </a:lnTo>
                    <a:lnTo>
                      <a:pt x="7" y="5"/>
                    </a:lnTo>
                    <a:lnTo>
                      <a:pt x="7" y="6"/>
                    </a:lnTo>
                    <a:lnTo>
                      <a:pt x="8" y="6"/>
                    </a:lnTo>
                    <a:lnTo>
                      <a:pt x="7" y="5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5" y="8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5" y="9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8" y="8"/>
                    </a:lnTo>
                    <a:lnTo>
                      <a:pt x="10" y="5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0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99" name="Freeform 1552"/>
              <p:cNvSpPr>
                <a:spLocks/>
              </p:cNvSpPr>
              <p:nvPr/>
            </p:nvSpPr>
            <p:spPr bwMode="auto">
              <a:xfrm>
                <a:off x="4833165" y="2164651"/>
                <a:ext cx="20774" cy="25721"/>
              </a:xfrm>
              <a:custGeom>
                <a:avLst/>
                <a:gdLst>
                  <a:gd name="T0" fmla="*/ 16 w 21"/>
                  <a:gd name="T1" fmla="*/ 17 h 26"/>
                  <a:gd name="T2" fmla="*/ 13 w 21"/>
                  <a:gd name="T3" fmla="*/ 20 h 26"/>
                  <a:gd name="T4" fmla="*/ 12 w 21"/>
                  <a:gd name="T5" fmla="*/ 20 h 26"/>
                  <a:gd name="T6" fmla="*/ 12 w 21"/>
                  <a:gd name="T7" fmla="*/ 20 h 26"/>
                  <a:gd name="T8" fmla="*/ 12 w 21"/>
                  <a:gd name="T9" fmla="*/ 21 h 26"/>
                  <a:gd name="T10" fmla="*/ 12 w 21"/>
                  <a:gd name="T11" fmla="*/ 20 h 26"/>
                  <a:gd name="T12" fmla="*/ 12 w 21"/>
                  <a:gd name="T13" fmla="*/ 21 h 26"/>
                  <a:gd name="T14" fmla="*/ 12 w 21"/>
                  <a:gd name="T15" fmla="*/ 21 h 26"/>
                  <a:gd name="T16" fmla="*/ 12 w 21"/>
                  <a:gd name="T17" fmla="*/ 20 h 26"/>
                  <a:gd name="T18" fmla="*/ 6 w 21"/>
                  <a:gd name="T19" fmla="*/ 13 h 26"/>
                  <a:gd name="T20" fmla="*/ 6 w 21"/>
                  <a:gd name="T21" fmla="*/ 10 h 26"/>
                  <a:gd name="T22" fmla="*/ 6 w 21"/>
                  <a:gd name="T23" fmla="*/ 7 h 26"/>
                  <a:gd name="T24" fmla="*/ 8 w 21"/>
                  <a:gd name="T25" fmla="*/ 5 h 26"/>
                  <a:gd name="T26" fmla="*/ 8 w 21"/>
                  <a:gd name="T27" fmla="*/ 5 h 26"/>
                  <a:gd name="T28" fmla="*/ 8 w 21"/>
                  <a:gd name="T29" fmla="*/ 5 h 26"/>
                  <a:gd name="T30" fmla="*/ 8 w 21"/>
                  <a:gd name="T31" fmla="*/ 5 h 26"/>
                  <a:gd name="T32" fmla="*/ 9 w 21"/>
                  <a:gd name="T33" fmla="*/ 5 h 26"/>
                  <a:gd name="T34" fmla="*/ 13 w 21"/>
                  <a:gd name="T35" fmla="*/ 5 h 26"/>
                  <a:gd name="T36" fmla="*/ 15 w 21"/>
                  <a:gd name="T37" fmla="*/ 7 h 26"/>
                  <a:gd name="T38" fmla="*/ 15 w 21"/>
                  <a:gd name="T39" fmla="*/ 7 h 26"/>
                  <a:gd name="T40" fmla="*/ 15 w 21"/>
                  <a:gd name="T41" fmla="*/ 7 h 26"/>
                  <a:gd name="T42" fmla="*/ 15 w 21"/>
                  <a:gd name="T43" fmla="*/ 7 h 26"/>
                  <a:gd name="T44" fmla="*/ 16 w 21"/>
                  <a:gd name="T45" fmla="*/ 16 h 26"/>
                  <a:gd name="T46" fmla="*/ 15 w 21"/>
                  <a:gd name="T47" fmla="*/ 17 h 26"/>
                  <a:gd name="T48" fmla="*/ 18 w 21"/>
                  <a:gd name="T49" fmla="*/ 17 h 26"/>
                  <a:gd name="T50" fmla="*/ 21 w 21"/>
                  <a:gd name="T51" fmla="*/ 18 h 26"/>
                  <a:gd name="T52" fmla="*/ 21 w 21"/>
                  <a:gd name="T53" fmla="*/ 16 h 26"/>
                  <a:gd name="T54" fmla="*/ 21 w 21"/>
                  <a:gd name="T55" fmla="*/ 7 h 26"/>
                  <a:gd name="T56" fmla="*/ 21 w 21"/>
                  <a:gd name="T57" fmla="*/ 7 h 26"/>
                  <a:gd name="T58" fmla="*/ 19 w 21"/>
                  <a:gd name="T59" fmla="*/ 2 h 26"/>
                  <a:gd name="T60" fmla="*/ 15 w 21"/>
                  <a:gd name="T61" fmla="*/ 1 h 26"/>
                  <a:gd name="T62" fmla="*/ 9 w 21"/>
                  <a:gd name="T63" fmla="*/ 0 h 26"/>
                  <a:gd name="T64" fmla="*/ 6 w 21"/>
                  <a:gd name="T65" fmla="*/ 1 h 26"/>
                  <a:gd name="T66" fmla="*/ 2 w 21"/>
                  <a:gd name="T67" fmla="*/ 4 h 26"/>
                  <a:gd name="T68" fmla="*/ 2 w 21"/>
                  <a:gd name="T69" fmla="*/ 7 h 26"/>
                  <a:gd name="T70" fmla="*/ 0 w 21"/>
                  <a:gd name="T71" fmla="*/ 10 h 26"/>
                  <a:gd name="T72" fmla="*/ 3 w 21"/>
                  <a:gd name="T73" fmla="*/ 16 h 26"/>
                  <a:gd name="T74" fmla="*/ 6 w 21"/>
                  <a:gd name="T75" fmla="*/ 20 h 26"/>
                  <a:gd name="T76" fmla="*/ 8 w 21"/>
                  <a:gd name="T77" fmla="*/ 23 h 26"/>
                  <a:gd name="T78" fmla="*/ 8 w 21"/>
                  <a:gd name="T79" fmla="*/ 24 h 26"/>
                  <a:gd name="T80" fmla="*/ 8 w 21"/>
                  <a:gd name="T81" fmla="*/ 24 h 26"/>
                  <a:gd name="T82" fmla="*/ 12 w 21"/>
                  <a:gd name="T83" fmla="*/ 26 h 26"/>
                  <a:gd name="T84" fmla="*/ 15 w 21"/>
                  <a:gd name="T85" fmla="*/ 24 h 26"/>
                  <a:gd name="T86" fmla="*/ 18 w 21"/>
                  <a:gd name="T87" fmla="*/ 23 h 26"/>
                  <a:gd name="T88" fmla="*/ 18 w 21"/>
                  <a:gd name="T89" fmla="*/ 17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1" h="26">
                    <a:moveTo>
                      <a:pt x="18" y="17"/>
                    </a:moveTo>
                    <a:lnTo>
                      <a:pt x="16" y="17"/>
                    </a:lnTo>
                    <a:lnTo>
                      <a:pt x="16" y="17"/>
                    </a:lnTo>
                    <a:lnTo>
                      <a:pt x="13" y="20"/>
                    </a:lnTo>
                    <a:lnTo>
                      <a:pt x="13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1"/>
                    </a:lnTo>
                    <a:lnTo>
                      <a:pt x="12" y="21"/>
                    </a:lnTo>
                    <a:lnTo>
                      <a:pt x="12" y="20"/>
                    </a:lnTo>
                    <a:lnTo>
                      <a:pt x="12" y="21"/>
                    </a:lnTo>
                    <a:lnTo>
                      <a:pt x="12" y="21"/>
                    </a:lnTo>
                    <a:lnTo>
                      <a:pt x="12" y="21"/>
                    </a:lnTo>
                    <a:lnTo>
                      <a:pt x="12" y="21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0" y="17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7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5" y="7"/>
                    </a:lnTo>
                    <a:lnTo>
                      <a:pt x="15" y="7"/>
                    </a:lnTo>
                    <a:lnTo>
                      <a:pt x="15" y="7"/>
                    </a:lnTo>
                    <a:lnTo>
                      <a:pt x="18" y="7"/>
                    </a:lnTo>
                    <a:lnTo>
                      <a:pt x="15" y="7"/>
                    </a:lnTo>
                    <a:lnTo>
                      <a:pt x="15" y="7"/>
                    </a:lnTo>
                    <a:lnTo>
                      <a:pt x="15" y="7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7"/>
                    </a:lnTo>
                    <a:lnTo>
                      <a:pt x="15" y="17"/>
                    </a:lnTo>
                    <a:lnTo>
                      <a:pt x="16" y="17"/>
                    </a:lnTo>
                    <a:lnTo>
                      <a:pt x="18" y="17"/>
                    </a:lnTo>
                    <a:lnTo>
                      <a:pt x="21" y="18"/>
                    </a:lnTo>
                    <a:lnTo>
                      <a:pt x="21" y="18"/>
                    </a:lnTo>
                    <a:lnTo>
                      <a:pt x="21" y="16"/>
                    </a:lnTo>
                    <a:lnTo>
                      <a:pt x="21" y="16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3"/>
                    </a:lnTo>
                    <a:lnTo>
                      <a:pt x="8" y="23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1" y="18"/>
                    </a:lnTo>
                    <a:lnTo>
                      <a:pt x="18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00" name="Freeform 1553"/>
              <p:cNvSpPr>
                <a:spLocks/>
              </p:cNvSpPr>
              <p:nvPr/>
            </p:nvSpPr>
            <p:spPr bwMode="auto">
              <a:xfrm>
                <a:off x="4897466" y="2180479"/>
                <a:ext cx="14839" cy="12860"/>
              </a:xfrm>
              <a:custGeom>
                <a:avLst/>
                <a:gdLst>
                  <a:gd name="T0" fmla="*/ 11 w 15"/>
                  <a:gd name="T1" fmla="*/ 5 h 13"/>
                  <a:gd name="T2" fmla="*/ 11 w 15"/>
                  <a:gd name="T3" fmla="*/ 5 h 13"/>
                  <a:gd name="T4" fmla="*/ 11 w 15"/>
                  <a:gd name="T5" fmla="*/ 5 h 13"/>
                  <a:gd name="T6" fmla="*/ 11 w 15"/>
                  <a:gd name="T7" fmla="*/ 5 h 13"/>
                  <a:gd name="T8" fmla="*/ 9 w 15"/>
                  <a:gd name="T9" fmla="*/ 7 h 13"/>
                  <a:gd name="T10" fmla="*/ 5 w 15"/>
                  <a:gd name="T11" fmla="*/ 8 h 13"/>
                  <a:gd name="T12" fmla="*/ 5 w 15"/>
                  <a:gd name="T13" fmla="*/ 8 h 13"/>
                  <a:gd name="T14" fmla="*/ 5 w 15"/>
                  <a:gd name="T15" fmla="*/ 8 h 13"/>
                  <a:gd name="T16" fmla="*/ 5 w 15"/>
                  <a:gd name="T17" fmla="*/ 8 h 13"/>
                  <a:gd name="T18" fmla="*/ 5 w 15"/>
                  <a:gd name="T19" fmla="*/ 8 h 13"/>
                  <a:gd name="T20" fmla="*/ 5 w 15"/>
                  <a:gd name="T21" fmla="*/ 8 h 13"/>
                  <a:gd name="T22" fmla="*/ 5 w 15"/>
                  <a:gd name="T23" fmla="*/ 8 h 13"/>
                  <a:gd name="T24" fmla="*/ 6 w 15"/>
                  <a:gd name="T25" fmla="*/ 7 h 13"/>
                  <a:gd name="T26" fmla="*/ 11 w 15"/>
                  <a:gd name="T27" fmla="*/ 5 h 13"/>
                  <a:gd name="T28" fmla="*/ 11 w 15"/>
                  <a:gd name="T29" fmla="*/ 5 h 13"/>
                  <a:gd name="T30" fmla="*/ 11 w 15"/>
                  <a:gd name="T31" fmla="*/ 5 h 13"/>
                  <a:gd name="T32" fmla="*/ 11 w 15"/>
                  <a:gd name="T33" fmla="*/ 5 h 13"/>
                  <a:gd name="T34" fmla="*/ 11 w 15"/>
                  <a:gd name="T35" fmla="*/ 5 h 13"/>
                  <a:gd name="T36" fmla="*/ 11 w 15"/>
                  <a:gd name="T37" fmla="*/ 5 h 13"/>
                  <a:gd name="T38" fmla="*/ 11 w 15"/>
                  <a:gd name="T39" fmla="*/ 5 h 13"/>
                  <a:gd name="T40" fmla="*/ 14 w 15"/>
                  <a:gd name="T41" fmla="*/ 5 h 13"/>
                  <a:gd name="T42" fmla="*/ 15 w 15"/>
                  <a:gd name="T43" fmla="*/ 5 h 13"/>
                  <a:gd name="T44" fmla="*/ 15 w 15"/>
                  <a:gd name="T45" fmla="*/ 2 h 13"/>
                  <a:gd name="T46" fmla="*/ 11 w 15"/>
                  <a:gd name="T47" fmla="*/ 0 h 13"/>
                  <a:gd name="T48" fmla="*/ 8 w 15"/>
                  <a:gd name="T49" fmla="*/ 1 h 13"/>
                  <a:gd name="T50" fmla="*/ 3 w 15"/>
                  <a:gd name="T51" fmla="*/ 4 h 13"/>
                  <a:gd name="T52" fmla="*/ 2 w 15"/>
                  <a:gd name="T53" fmla="*/ 5 h 13"/>
                  <a:gd name="T54" fmla="*/ 0 w 15"/>
                  <a:gd name="T55" fmla="*/ 8 h 13"/>
                  <a:gd name="T56" fmla="*/ 0 w 15"/>
                  <a:gd name="T57" fmla="*/ 11 h 13"/>
                  <a:gd name="T58" fmla="*/ 2 w 15"/>
                  <a:gd name="T59" fmla="*/ 13 h 13"/>
                  <a:gd name="T60" fmla="*/ 6 w 15"/>
                  <a:gd name="T61" fmla="*/ 13 h 13"/>
                  <a:gd name="T62" fmla="*/ 12 w 15"/>
                  <a:gd name="T63" fmla="*/ 11 h 13"/>
                  <a:gd name="T64" fmla="*/ 14 w 15"/>
                  <a:gd name="T65" fmla="*/ 8 h 13"/>
                  <a:gd name="T66" fmla="*/ 15 w 15"/>
                  <a:gd name="T67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" h="13">
                    <a:moveTo>
                      <a:pt x="14" y="5"/>
                    </a:move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6" y="8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9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4" y="5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2" y="1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9" y="13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5" y="5"/>
                    </a:lnTo>
                    <a:lnTo>
                      <a:pt x="14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01" name="Freeform 1554"/>
              <p:cNvSpPr>
                <a:spLocks/>
              </p:cNvSpPr>
              <p:nvPr/>
            </p:nvSpPr>
            <p:spPr bwMode="auto">
              <a:xfrm>
                <a:off x="4935058" y="2012305"/>
                <a:ext cx="18796" cy="15828"/>
              </a:xfrm>
              <a:custGeom>
                <a:avLst/>
                <a:gdLst>
                  <a:gd name="T0" fmla="*/ 15 w 19"/>
                  <a:gd name="T1" fmla="*/ 7 h 16"/>
                  <a:gd name="T2" fmla="*/ 10 w 19"/>
                  <a:gd name="T3" fmla="*/ 9 h 16"/>
                  <a:gd name="T4" fmla="*/ 7 w 19"/>
                  <a:gd name="T5" fmla="*/ 10 h 16"/>
                  <a:gd name="T6" fmla="*/ 7 w 19"/>
                  <a:gd name="T7" fmla="*/ 10 h 16"/>
                  <a:gd name="T8" fmla="*/ 6 w 19"/>
                  <a:gd name="T9" fmla="*/ 9 h 16"/>
                  <a:gd name="T10" fmla="*/ 4 w 19"/>
                  <a:gd name="T11" fmla="*/ 6 h 16"/>
                  <a:gd name="T12" fmla="*/ 4 w 19"/>
                  <a:gd name="T13" fmla="*/ 6 h 16"/>
                  <a:gd name="T14" fmla="*/ 4 w 19"/>
                  <a:gd name="T15" fmla="*/ 6 h 16"/>
                  <a:gd name="T16" fmla="*/ 4 w 19"/>
                  <a:gd name="T17" fmla="*/ 6 h 16"/>
                  <a:gd name="T18" fmla="*/ 4 w 19"/>
                  <a:gd name="T19" fmla="*/ 6 h 16"/>
                  <a:gd name="T20" fmla="*/ 4 w 19"/>
                  <a:gd name="T21" fmla="*/ 6 h 16"/>
                  <a:gd name="T22" fmla="*/ 4 w 19"/>
                  <a:gd name="T23" fmla="*/ 6 h 16"/>
                  <a:gd name="T24" fmla="*/ 4 w 19"/>
                  <a:gd name="T25" fmla="*/ 6 h 16"/>
                  <a:gd name="T26" fmla="*/ 4 w 19"/>
                  <a:gd name="T27" fmla="*/ 6 h 16"/>
                  <a:gd name="T28" fmla="*/ 7 w 19"/>
                  <a:gd name="T29" fmla="*/ 6 h 16"/>
                  <a:gd name="T30" fmla="*/ 7 w 19"/>
                  <a:gd name="T31" fmla="*/ 6 h 16"/>
                  <a:gd name="T32" fmla="*/ 9 w 19"/>
                  <a:gd name="T33" fmla="*/ 4 h 16"/>
                  <a:gd name="T34" fmla="*/ 7 w 19"/>
                  <a:gd name="T35" fmla="*/ 4 h 16"/>
                  <a:gd name="T36" fmla="*/ 7 w 19"/>
                  <a:gd name="T37" fmla="*/ 6 h 16"/>
                  <a:gd name="T38" fmla="*/ 7 w 19"/>
                  <a:gd name="T39" fmla="*/ 6 h 16"/>
                  <a:gd name="T40" fmla="*/ 9 w 19"/>
                  <a:gd name="T41" fmla="*/ 6 h 16"/>
                  <a:gd name="T42" fmla="*/ 12 w 19"/>
                  <a:gd name="T43" fmla="*/ 9 h 16"/>
                  <a:gd name="T44" fmla="*/ 13 w 19"/>
                  <a:gd name="T45" fmla="*/ 10 h 16"/>
                  <a:gd name="T46" fmla="*/ 13 w 19"/>
                  <a:gd name="T47" fmla="*/ 10 h 16"/>
                  <a:gd name="T48" fmla="*/ 13 w 19"/>
                  <a:gd name="T49" fmla="*/ 10 h 16"/>
                  <a:gd name="T50" fmla="*/ 15 w 19"/>
                  <a:gd name="T51" fmla="*/ 9 h 16"/>
                  <a:gd name="T52" fmla="*/ 16 w 19"/>
                  <a:gd name="T53" fmla="*/ 9 h 16"/>
                  <a:gd name="T54" fmla="*/ 13 w 19"/>
                  <a:gd name="T55" fmla="*/ 9 h 16"/>
                  <a:gd name="T56" fmla="*/ 16 w 19"/>
                  <a:gd name="T57" fmla="*/ 9 h 16"/>
                  <a:gd name="T58" fmla="*/ 16 w 19"/>
                  <a:gd name="T59" fmla="*/ 9 h 16"/>
                  <a:gd name="T60" fmla="*/ 15 w 19"/>
                  <a:gd name="T61" fmla="*/ 7 h 16"/>
                  <a:gd name="T62" fmla="*/ 16 w 19"/>
                  <a:gd name="T63" fmla="*/ 9 h 16"/>
                  <a:gd name="T64" fmla="*/ 16 w 19"/>
                  <a:gd name="T65" fmla="*/ 9 h 16"/>
                  <a:gd name="T66" fmla="*/ 16 w 19"/>
                  <a:gd name="T67" fmla="*/ 9 h 16"/>
                  <a:gd name="T68" fmla="*/ 18 w 19"/>
                  <a:gd name="T69" fmla="*/ 12 h 16"/>
                  <a:gd name="T70" fmla="*/ 19 w 19"/>
                  <a:gd name="T71" fmla="*/ 9 h 16"/>
                  <a:gd name="T72" fmla="*/ 18 w 19"/>
                  <a:gd name="T73" fmla="*/ 7 h 16"/>
                  <a:gd name="T74" fmla="*/ 18 w 19"/>
                  <a:gd name="T75" fmla="*/ 6 h 16"/>
                  <a:gd name="T76" fmla="*/ 13 w 19"/>
                  <a:gd name="T77" fmla="*/ 3 h 16"/>
                  <a:gd name="T78" fmla="*/ 10 w 19"/>
                  <a:gd name="T79" fmla="*/ 1 h 16"/>
                  <a:gd name="T80" fmla="*/ 10 w 19"/>
                  <a:gd name="T81" fmla="*/ 1 h 16"/>
                  <a:gd name="T82" fmla="*/ 7 w 19"/>
                  <a:gd name="T83" fmla="*/ 0 h 16"/>
                  <a:gd name="T84" fmla="*/ 3 w 19"/>
                  <a:gd name="T85" fmla="*/ 1 h 16"/>
                  <a:gd name="T86" fmla="*/ 2 w 19"/>
                  <a:gd name="T87" fmla="*/ 3 h 16"/>
                  <a:gd name="T88" fmla="*/ 0 w 19"/>
                  <a:gd name="T89" fmla="*/ 6 h 16"/>
                  <a:gd name="T90" fmla="*/ 0 w 19"/>
                  <a:gd name="T91" fmla="*/ 7 h 16"/>
                  <a:gd name="T92" fmla="*/ 2 w 19"/>
                  <a:gd name="T93" fmla="*/ 12 h 16"/>
                  <a:gd name="T94" fmla="*/ 4 w 19"/>
                  <a:gd name="T95" fmla="*/ 15 h 16"/>
                  <a:gd name="T96" fmla="*/ 7 w 19"/>
                  <a:gd name="T97" fmla="*/ 16 h 16"/>
                  <a:gd name="T98" fmla="*/ 10 w 19"/>
                  <a:gd name="T99" fmla="*/ 15 h 16"/>
                  <a:gd name="T100" fmla="*/ 13 w 19"/>
                  <a:gd name="T101" fmla="*/ 13 h 16"/>
                  <a:gd name="T102" fmla="*/ 18 w 19"/>
                  <a:gd name="T103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9" h="16">
                    <a:moveTo>
                      <a:pt x="16" y="9"/>
                    </a:moveTo>
                    <a:lnTo>
                      <a:pt x="15" y="7"/>
                    </a:lnTo>
                    <a:lnTo>
                      <a:pt x="15" y="7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9" y="4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9" y="4"/>
                    </a:lnTo>
                    <a:lnTo>
                      <a:pt x="7" y="6"/>
                    </a:lnTo>
                    <a:lnTo>
                      <a:pt x="7" y="4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7" y="4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2" y="9"/>
                    </a:lnTo>
                    <a:lnTo>
                      <a:pt x="12" y="9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5" y="9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5" y="9"/>
                    </a:lnTo>
                    <a:lnTo>
                      <a:pt x="13" y="10"/>
                    </a:lnTo>
                    <a:lnTo>
                      <a:pt x="16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10"/>
                    </a:lnTo>
                    <a:lnTo>
                      <a:pt x="16" y="9"/>
                    </a:lnTo>
                    <a:lnTo>
                      <a:pt x="13" y="9"/>
                    </a:lnTo>
                    <a:lnTo>
                      <a:pt x="16" y="9"/>
                    </a:lnTo>
                    <a:lnTo>
                      <a:pt x="15" y="7"/>
                    </a:lnTo>
                    <a:lnTo>
                      <a:pt x="15" y="7"/>
                    </a:lnTo>
                    <a:lnTo>
                      <a:pt x="13" y="9"/>
                    </a:lnTo>
                    <a:lnTo>
                      <a:pt x="16" y="9"/>
                    </a:lnTo>
                    <a:lnTo>
                      <a:pt x="15" y="7"/>
                    </a:lnTo>
                    <a:lnTo>
                      <a:pt x="16" y="9"/>
                    </a:lnTo>
                    <a:lnTo>
                      <a:pt x="15" y="7"/>
                    </a:lnTo>
                    <a:lnTo>
                      <a:pt x="16" y="9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10" y="1"/>
                    </a:lnTo>
                    <a:lnTo>
                      <a:pt x="10" y="1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5"/>
                    </a:lnTo>
                    <a:lnTo>
                      <a:pt x="4" y="15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10" y="15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6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1" name="Freeform 1629"/>
              <p:cNvSpPr>
                <a:spLocks noEditPoints="1"/>
              </p:cNvSpPr>
              <p:nvPr/>
            </p:nvSpPr>
            <p:spPr bwMode="auto">
              <a:xfrm>
                <a:off x="4279179" y="2283362"/>
                <a:ext cx="32646" cy="26710"/>
              </a:xfrm>
              <a:custGeom>
                <a:avLst/>
                <a:gdLst>
                  <a:gd name="T0" fmla="*/ 9 w 33"/>
                  <a:gd name="T1" fmla="*/ 10 h 27"/>
                  <a:gd name="T2" fmla="*/ 9 w 33"/>
                  <a:gd name="T3" fmla="*/ 10 h 27"/>
                  <a:gd name="T4" fmla="*/ 10 w 33"/>
                  <a:gd name="T5" fmla="*/ 7 h 27"/>
                  <a:gd name="T6" fmla="*/ 11 w 33"/>
                  <a:gd name="T7" fmla="*/ 3 h 27"/>
                  <a:gd name="T8" fmla="*/ 11 w 33"/>
                  <a:gd name="T9" fmla="*/ 3 h 27"/>
                  <a:gd name="T10" fmla="*/ 11 w 33"/>
                  <a:gd name="T11" fmla="*/ 0 h 27"/>
                  <a:gd name="T12" fmla="*/ 9 w 33"/>
                  <a:gd name="T13" fmla="*/ 0 h 27"/>
                  <a:gd name="T14" fmla="*/ 9 w 33"/>
                  <a:gd name="T15" fmla="*/ 0 h 27"/>
                  <a:gd name="T16" fmla="*/ 9 w 33"/>
                  <a:gd name="T17" fmla="*/ 3 h 27"/>
                  <a:gd name="T18" fmla="*/ 9 w 33"/>
                  <a:gd name="T19" fmla="*/ 3 h 27"/>
                  <a:gd name="T20" fmla="*/ 9 w 33"/>
                  <a:gd name="T21" fmla="*/ 7 h 27"/>
                  <a:gd name="T22" fmla="*/ 7 w 33"/>
                  <a:gd name="T23" fmla="*/ 8 h 27"/>
                  <a:gd name="T24" fmla="*/ 9 w 33"/>
                  <a:gd name="T25" fmla="*/ 10 h 27"/>
                  <a:gd name="T26" fmla="*/ 6 w 33"/>
                  <a:gd name="T27" fmla="*/ 19 h 27"/>
                  <a:gd name="T28" fmla="*/ 6 w 33"/>
                  <a:gd name="T29" fmla="*/ 19 h 27"/>
                  <a:gd name="T30" fmla="*/ 3 w 33"/>
                  <a:gd name="T31" fmla="*/ 16 h 27"/>
                  <a:gd name="T32" fmla="*/ 3 w 33"/>
                  <a:gd name="T33" fmla="*/ 16 h 27"/>
                  <a:gd name="T34" fmla="*/ 3 w 33"/>
                  <a:gd name="T35" fmla="*/ 14 h 27"/>
                  <a:gd name="T36" fmla="*/ 1 w 33"/>
                  <a:gd name="T37" fmla="*/ 14 h 27"/>
                  <a:gd name="T38" fmla="*/ 3 w 33"/>
                  <a:gd name="T39" fmla="*/ 14 h 27"/>
                  <a:gd name="T40" fmla="*/ 3 w 33"/>
                  <a:gd name="T41" fmla="*/ 14 h 27"/>
                  <a:gd name="T42" fmla="*/ 1 w 33"/>
                  <a:gd name="T43" fmla="*/ 14 h 27"/>
                  <a:gd name="T44" fmla="*/ 3 w 33"/>
                  <a:gd name="T45" fmla="*/ 14 h 27"/>
                  <a:gd name="T46" fmla="*/ 3 w 33"/>
                  <a:gd name="T47" fmla="*/ 14 h 27"/>
                  <a:gd name="T48" fmla="*/ 4 w 33"/>
                  <a:gd name="T49" fmla="*/ 13 h 27"/>
                  <a:gd name="T50" fmla="*/ 3 w 33"/>
                  <a:gd name="T51" fmla="*/ 11 h 27"/>
                  <a:gd name="T52" fmla="*/ 3 w 33"/>
                  <a:gd name="T53" fmla="*/ 11 h 27"/>
                  <a:gd name="T54" fmla="*/ 0 w 33"/>
                  <a:gd name="T55" fmla="*/ 13 h 27"/>
                  <a:gd name="T56" fmla="*/ 0 w 33"/>
                  <a:gd name="T57" fmla="*/ 13 h 27"/>
                  <a:gd name="T58" fmla="*/ 0 w 33"/>
                  <a:gd name="T59" fmla="*/ 14 h 27"/>
                  <a:gd name="T60" fmla="*/ 0 w 33"/>
                  <a:gd name="T61" fmla="*/ 14 h 27"/>
                  <a:gd name="T62" fmla="*/ 1 w 33"/>
                  <a:gd name="T63" fmla="*/ 17 h 27"/>
                  <a:gd name="T64" fmla="*/ 1 w 33"/>
                  <a:gd name="T65" fmla="*/ 17 h 27"/>
                  <a:gd name="T66" fmla="*/ 4 w 33"/>
                  <a:gd name="T67" fmla="*/ 20 h 27"/>
                  <a:gd name="T68" fmla="*/ 6 w 33"/>
                  <a:gd name="T69" fmla="*/ 19 h 27"/>
                  <a:gd name="T70" fmla="*/ 19 w 33"/>
                  <a:gd name="T71" fmla="*/ 26 h 27"/>
                  <a:gd name="T72" fmla="*/ 19 w 33"/>
                  <a:gd name="T73" fmla="*/ 26 h 27"/>
                  <a:gd name="T74" fmla="*/ 10 w 33"/>
                  <a:gd name="T75" fmla="*/ 22 h 27"/>
                  <a:gd name="T76" fmla="*/ 9 w 33"/>
                  <a:gd name="T77" fmla="*/ 23 h 27"/>
                  <a:gd name="T78" fmla="*/ 9 w 33"/>
                  <a:gd name="T79" fmla="*/ 23 h 27"/>
                  <a:gd name="T80" fmla="*/ 19 w 33"/>
                  <a:gd name="T81" fmla="*/ 27 h 27"/>
                  <a:gd name="T82" fmla="*/ 19 w 33"/>
                  <a:gd name="T83" fmla="*/ 26 h 27"/>
                  <a:gd name="T84" fmla="*/ 33 w 33"/>
                  <a:gd name="T85" fmla="*/ 23 h 27"/>
                  <a:gd name="T86" fmla="*/ 33 w 33"/>
                  <a:gd name="T87" fmla="*/ 23 h 27"/>
                  <a:gd name="T88" fmla="*/ 23 w 33"/>
                  <a:gd name="T89" fmla="*/ 26 h 27"/>
                  <a:gd name="T90" fmla="*/ 23 w 33"/>
                  <a:gd name="T91" fmla="*/ 27 h 27"/>
                  <a:gd name="T92" fmla="*/ 23 w 33"/>
                  <a:gd name="T93" fmla="*/ 27 h 27"/>
                  <a:gd name="T94" fmla="*/ 33 w 33"/>
                  <a:gd name="T95" fmla="*/ 26 h 27"/>
                  <a:gd name="T96" fmla="*/ 33 w 33"/>
                  <a:gd name="T97" fmla="*/ 2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3" h="27">
                    <a:moveTo>
                      <a:pt x="9" y="10"/>
                    </a:moveTo>
                    <a:lnTo>
                      <a:pt x="9" y="10"/>
                    </a:lnTo>
                    <a:lnTo>
                      <a:pt x="10" y="7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3"/>
                    </a:lnTo>
                    <a:lnTo>
                      <a:pt x="9" y="3"/>
                    </a:lnTo>
                    <a:lnTo>
                      <a:pt x="9" y="7"/>
                    </a:lnTo>
                    <a:lnTo>
                      <a:pt x="7" y="8"/>
                    </a:lnTo>
                    <a:lnTo>
                      <a:pt x="9" y="10"/>
                    </a:lnTo>
                    <a:close/>
                    <a:moveTo>
                      <a:pt x="6" y="19"/>
                    </a:moveTo>
                    <a:lnTo>
                      <a:pt x="6" y="19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3" y="14"/>
                    </a:lnTo>
                    <a:lnTo>
                      <a:pt x="1" y="14"/>
                    </a:lnTo>
                    <a:lnTo>
                      <a:pt x="3" y="14"/>
                    </a:lnTo>
                    <a:lnTo>
                      <a:pt x="3" y="14"/>
                    </a:lnTo>
                    <a:lnTo>
                      <a:pt x="1" y="14"/>
                    </a:lnTo>
                    <a:lnTo>
                      <a:pt x="3" y="14"/>
                    </a:lnTo>
                    <a:lnTo>
                      <a:pt x="3" y="14"/>
                    </a:lnTo>
                    <a:lnTo>
                      <a:pt x="4" y="13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1" y="17"/>
                    </a:lnTo>
                    <a:lnTo>
                      <a:pt x="4" y="20"/>
                    </a:lnTo>
                    <a:lnTo>
                      <a:pt x="6" y="19"/>
                    </a:lnTo>
                    <a:close/>
                    <a:moveTo>
                      <a:pt x="19" y="26"/>
                    </a:moveTo>
                    <a:lnTo>
                      <a:pt x="19" y="26"/>
                    </a:lnTo>
                    <a:lnTo>
                      <a:pt x="10" y="22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9" y="27"/>
                    </a:lnTo>
                    <a:lnTo>
                      <a:pt x="19" y="26"/>
                    </a:lnTo>
                    <a:close/>
                    <a:moveTo>
                      <a:pt x="33" y="23"/>
                    </a:moveTo>
                    <a:lnTo>
                      <a:pt x="33" y="23"/>
                    </a:lnTo>
                    <a:lnTo>
                      <a:pt x="23" y="26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33" y="26"/>
                    </a:lnTo>
                    <a:lnTo>
                      <a:pt x="33" y="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0" name="Freeform 1668"/>
              <p:cNvSpPr>
                <a:spLocks noEditPoints="1"/>
              </p:cNvSpPr>
              <p:nvPr/>
            </p:nvSpPr>
            <p:spPr bwMode="auto">
              <a:xfrm>
                <a:off x="4467138" y="2375363"/>
                <a:ext cx="72216" cy="185981"/>
              </a:xfrm>
              <a:custGeom>
                <a:avLst/>
                <a:gdLst>
                  <a:gd name="T0" fmla="*/ 0 w 73"/>
                  <a:gd name="T1" fmla="*/ 1 h 188"/>
                  <a:gd name="T2" fmla="*/ 17 w 73"/>
                  <a:gd name="T3" fmla="*/ 2 h 188"/>
                  <a:gd name="T4" fmla="*/ 13 w 73"/>
                  <a:gd name="T5" fmla="*/ 4 h 188"/>
                  <a:gd name="T6" fmla="*/ 13 w 73"/>
                  <a:gd name="T7" fmla="*/ 5 h 188"/>
                  <a:gd name="T8" fmla="*/ 17 w 73"/>
                  <a:gd name="T9" fmla="*/ 5 h 188"/>
                  <a:gd name="T10" fmla="*/ 29 w 73"/>
                  <a:gd name="T11" fmla="*/ 1 h 188"/>
                  <a:gd name="T12" fmla="*/ 21 w 73"/>
                  <a:gd name="T13" fmla="*/ 4 h 188"/>
                  <a:gd name="T14" fmla="*/ 31 w 73"/>
                  <a:gd name="T15" fmla="*/ 5 h 188"/>
                  <a:gd name="T16" fmla="*/ 36 w 73"/>
                  <a:gd name="T17" fmla="*/ 7 h 188"/>
                  <a:gd name="T18" fmla="*/ 43 w 73"/>
                  <a:gd name="T19" fmla="*/ 14 h 188"/>
                  <a:gd name="T20" fmla="*/ 47 w 73"/>
                  <a:gd name="T21" fmla="*/ 28 h 188"/>
                  <a:gd name="T22" fmla="*/ 43 w 73"/>
                  <a:gd name="T23" fmla="*/ 20 h 188"/>
                  <a:gd name="T24" fmla="*/ 46 w 73"/>
                  <a:gd name="T25" fmla="*/ 30 h 188"/>
                  <a:gd name="T26" fmla="*/ 42 w 73"/>
                  <a:gd name="T27" fmla="*/ 33 h 188"/>
                  <a:gd name="T28" fmla="*/ 40 w 73"/>
                  <a:gd name="T29" fmla="*/ 50 h 188"/>
                  <a:gd name="T30" fmla="*/ 34 w 73"/>
                  <a:gd name="T31" fmla="*/ 47 h 188"/>
                  <a:gd name="T32" fmla="*/ 31 w 73"/>
                  <a:gd name="T33" fmla="*/ 44 h 188"/>
                  <a:gd name="T34" fmla="*/ 33 w 73"/>
                  <a:gd name="T35" fmla="*/ 49 h 188"/>
                  <a:gd name="T36" fmla="*/ 40 w 73"/>
                  <a:gd name="T37" fmla="*/ 50 h 188"/>
                  <a:gd name="T38" fmla="*/ 50 w 73"/>
                  <a:gd name="T39" fmla="*/ 52 h 188"/>
                  <a:gd name="T40" fmla="*/ 49 w 73"/>
                  <a:gd name="T41" fmla="*/ 55 h 188"/>
                  <a:gd name="T42" fmla="*/ 69 w 73"/>
                  <a:gd name="T43" fmla="*/ 59 h 188"/>
                  <a:gd name="T44" fmla="*/ 59 w 73"/>
                  <a:gd name="T45" fmla="*/ 59 h 188"/>
                  <a:gd name="T46" fmla="*/ 72 w 73"/>
                  <a:gd name="T47" fmla="*/ 73 h 188"/>
                  <a:gd name="T48" fmla="*/ 71 w 73"/>
                  <a:gd name="T49" fmla="*/ 63 h 188"/>
                  <a:gd name="T50" fmla="*/ 69 w 73"/>
                  <a:gd name="T51" fmla="*/ 73 h 188"/>
                  <a:gd name="T52" fmla="*/ 71 w 73"/>
                  <a:gd name="T53" fmla="*/ 79 h 188"/>
                  <a:gd name="T54" fmla="*/ 66 w 73"/>
                  <a:gd name="T55" fmla="*/ 88 h 188"/>
                  <a:gd name="T56" fmla="*/ 65 w 73"/>
                  <a:gd name="T57" fmla="*/ 97 h 188"/>
                  <a:gd name="T58" fmla="*/ 63 w 73"/>
                  <a:gd name="T59" fmla="*/ 92 h 188"/>
                  <a:gd name="T60" fmla="*/ 59 w 73"/>
                  <a:gd name="T61" fmla="*/ 101 h 188"/>
                  <a:gd name="T62" fmla="*/ 57 w 73"/>
                  <a:gd name="T63" fmla="*/ 107 h 188"/>
                  <a:gd name="T64" fmla="*/ 52 w 73"/>
                  <a:gd name="T65" fmla="*/ 114 h 188"/>
                  <a:gd name="T66" fmla="*/ 43 w 73"/>
                  <a:gd name="T67" fmla="*/ 123 h 188"/>
                  <a:gd name="T68" fmla="*/ 46 w 73"/>
                  <a:gd name="T69" fmla="*/ 115 h 188"/>
                  <a:gd name="T70" fmla="*/ 40 w 73"/>
                  <a:gd name="T71" fmla="*/ 123 h 188"/>
                  <a:gd name="T72" fmla="*/ 43 w 73"/>
                  <a:gd name="T73" fmla="*/ 124 h 188"/>
                  <a:gd name="T74" fmla="*/ 52 w 73"/>
                  <a:gd name="T75" fmla="*/ 127 h 188"/>
                  <a:gd name="T76" fmla="*/ 46 w 73"/>
                  <a:gd name="T77" fmla="*/ 128 h 188"/>
                  <a:gd name="T78" fmla="*/ 53 w 73"/>
                  <a:gd name="T79" fmla="*/ 133 h 188"/>
                  <a:gd name="T80" fmla="*/ 57 w 73"/>
                  <a:gd name="T81" fmla="*/ 146 h 188"/>
                  <a:gd name="T82" fmla="*/ 56 w 73"/>
                  <a:gd name="T83" fmla="*/ 139 h 188"/>
                  <a:gd name="T84" fmla="*/ 55 w 73"/>
                  <a:gd name="T85" fmla="*/ 146 h 188"/>
                  <a:gd name="T86" fmla="*/ 50 w 73"/>
                  <a:gd name="T87" fmla="*/ 160 h 188"/>
                  <a:gd name="T88" fmla="*/ 50 w 73"/>
                  <a:gd name="T89" fmla="*/ 156 h 188"/>
                  <a:gd name="T90" fmla="*/ 50 w 73"/>
                  <a:gd name="T91" fmla="*/ 150 h 188"/>
                  <a:gd name="T92" fmla="*/ 47 w 73"/>
                  <a:gd name="T93" fmla="*/ 157 h 188"/>
                  <a:gd name="T94" fmla="*/ 57 w 73"/>
                  <a:gd name="T95" fmla="*/ 173 h 188"/>
                  <a:gd name="T96" fmla="*/ 50 w 73"/>
                  <a:gd name="T97" fmla="*/ 166 h 188"/>
                  <a:gd name="T98" fmla="*/ 62 w 73"/>
                  <a:gd name="T99" fmla="*/ 188 h 188"/>
                  <a:gd name="T100" fmla="*/ 59 w 73"/>
                  <a:gd name="T101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3" h="188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0"/>
                    </a:lnTo>
                    <a:close/>
                    <a:moveTo>
                      <a:pt x="17" y="2"/>
                    </a:moveTo>
                    <a:lnTo>
                      <a:pt x="17" y="2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7" y="5"/>
                    </a:lnTo>
                    <a:lnTo>
                      <a:pt x="17" y="2"/>
                    </a:lnTo>
                    <a:close/>
                    <a:moveTo>
                      <a:pt x="31" y="2"/>
                    </a:moveTo>
                    <a:lnTo>
                      <a:pt x="31" y="2"/>
                    </a:lnTo>
                    <a:lnTo>
                      <a:pt x="29" y="1"/>
                    </a:lnTo>
                    <a:lnTo>
                      <a:pt x="26" y="1"/>
                    </a:lnTo>
                    <a:lnTo>
                      <a:pt x="26" y="1"/>
                    </a:lnTo>
                    <a:lnTo>
                      <a:pt x="21" y="1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1" y="5"/>
                    </a:lnTo>
                    <a:lnTo>
                      <a:pt x="31" y="2"/>
                    </a:lnTo>
                    <a:close/>
                    <a:moveTo>
                      <a:pt x="43" y="14"/>
                    </a:moveTo>
                    <a:lnTo>
                      <a:pt x="43" y="14"/>
                    </a:lnTo>
                    <a:lnTo>
                      <a:pt x="36" y="7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40" y="15"/>
                    </a:lnTo>
                    <a:lnTo>
                      <a:pt x="43" y="14"/>
                    </a:lnTo>
                    <a:close/>
                    <a:moveTo>
                      <a:pt x="46" y="30"/>
                    </a:moveTo>
                    <a:lnTo>
                      <a:pt x="46" y="30"/>
                    </a:lnTo>
                    <a:lnTo>
                      <a:pt x="47" y="28"/>
                    </a:lnTo>
                    <a:lnTo>
                      <a:pt x="47" y="28"/>
                    </a:lnTo>
                    <a:lnTo>
                      <a:pt x="46" y="24"/>
                    </a:lnTo>
                    <a:lnTo>
                      <a:pt x="44" y="20"/>
                    </a:lnTo>
                    <a:lnTo>
                      <a:pt x="43" y="20"/>
                    </a:lnTo>
                    <a:lnTo>
                      <a:pt x="43" y="20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6" y="30"/>
                    </a:lnTo>
                    <a:close/>
                    <a:moveTo>
                      <a:pt x="37" y="43"/>
                    </a:moveTo>
                    <a:lnTo>
                      <a:pt x="37" y="43"/>
                    </a:lnTo>
                    <a:lnTo>
                      <a:pt x="44" y="34"/>
                    </a:lnTo>
                    <a:lnTo>
                      <a:pt x="42" y="33"/>
                    </a:lnTo>
                    <a:lnTo>
                      <a:pt x="42" y="33"/>
                    </a:lnTo>
                    <a:lnTo>
                      <a:pt x="36" y="40"/>
                    </a:lnTo>
                    <a:lnTo>
                      <a:pt x="37" y="43"/>
                    </a:lnTo>
                    <a:close/>
                    <a:moveTo>
                      <a:pt x="40" y="50"/>
                    </a:moveTo>
                    <a:lnTo>
                      <a:pt x="40" y="50"/>
                    </a:lnTo>
                    <a:lnTo>
                      <a:pt x="36" y="49"/>
                    </a:lnTo>
                    <a:lnTo>
                      <a:pt x="36" y="49"/>
                    </a:lnTo>
                    <a:lnTo>
                      <a:pt x="34" y="47"/>
                    </a:lnTo>
                    <a:lnTo>
                      <a:pt x="34" y="47"/>
                    </a:lnTo>
                    <a:lnTo>
                      <a:pt x="34" y="46"/>
                    </a:lnTo>
                    <a:lnTo>
                      <a:pt x="31" y="44"/>
                    </a:lnTo>
                    <a:lnTo>
                      <a:pt x="31" y="44"/>
                    </a:lnTo>
                    <a:lnTo>
                      <a:pt x="31" y="47"/>
                    </a:lnTo>
                    <a:lnTo>
                      <a:pt x="31" y="47"/>
                    </a:lnTo>
                    <a:lnTo>
                      <a:pt x="33" y="49"/>
                    </a:lnTo>
                    <a:lnTo>
                      <a:pt x="33" y="49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9" y="52"/>
                    </a:lnTo>
                    <a:lnTo>
                      <a:pt x="40" y="50"/>
                    </a:lnTo>
                    <a:close/>
                    <a:moveTo>
                      <a:pt x="55" y="55"/>
                    </a:moveTo>
                    <a:lnTo>
                      <a:pt x="55" y="55"/>
                    </a:lnTo>
                    <a:lnTo>
                      <a:pt x="55" y="55"/>
                    </a:lnTo>
                    <a:lnTo>
                      <a:pt x="50" y="52"/>
                    </a:lnTo>
                    <a:lnTo>
                      <a:pt x="44" y="52"/>
                    </a:lnTo>
                    <a:lnTo>
                      <a:pt x="44" y="53"/>
                    </a:lnTo>
                    <a:lnTo>
                      <a:pt x="44" y="53"/>
                    </a:lnTo>
                    <a:lnTo>
                      <a:pt x="49" y="55"/>
                    </a:lnTo>
                    <a:lnTo>
                      <a:pt x="53" y="56"/>
                    </a:lnTo>
                    <a:lnTo>
                      <a:pt x="53" y="56"/>
                    </a:lnTo>
                    <a:lnTo>
                      <a:pt x="55" y="55"/>
                    </a:lnTo>
                    <a:close/>
                    <a:moveTo>
                      <a:pt x="69" y="59"/>
                    </a:moveTo>
                    <a:lnTo>
                      <a:pt x="69" y="59"/>
                    </a:lnTo>
                    <a:lnTo>
                      <a:pt x="59" y="56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68" y="62"/>
                    </a:lnTo>
                    <a:lnTo>
                      <a:pt x="69" y="59"/>
                    </a:lnTo>
                    <a:close/>
                    <a:moveTo>
                      <a:pt x="72" y="73"/>
                    </a:moveTo>
                    <a:lnTo>
                      <a:pt x="72" y="73"/>
                    </a:lnTo>
                    <a:lnTo>
                      <a:pt x="73" y="65"/>
                    </a:lnTo>
                    <a:lnTo>
                      <a:pt x="73" y="65"/>
                    </a:lnTo>
                    <a:lnTo>
                      <a:pt x="73" y="63"/>
                    </a:lnTo>
                    <a:lnTo>
                      <a:pt x="71" y="63"/>
                    </a:lnTo>
                    <a:lnTo>
                      <a:pt x="71" y="63"/>
                    </a:lnTo>
                    <a:lnTo>
                      <a:pt x="71" y="65"/>
                    </a:lnTo>
                    <a:lnTo>
                      <a:pt x="71" y="65"/>
                    </a:lnTo>
                    <a:lnTo>
                      <a:pt x="69" y="73"/>
                    </a:lnTo>
                    <a:lnTo>
                      <a:pt x="72" y="73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71" y="79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5" y="88"/>
                    </a:lnTo>
                    <a:lnTo>
                      <a:pt x="66" y="88"/>
                    </a:lnTo>
                    <a:close/>
                    <a:moveTo>
                      <a:pt x="60" y="102"/>
                    </a:moveTo>
                    <a:lnTo>
                      <a:pt x="60" y="102"/>
                    </a:lnTo>
                    <a:lnTo>
                      <a:pt x="65" y="97"/>
                    </a:lnTo>
                    <a:lnTo>
                      <a:pt x="65" y="97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3" y="92"/>
                    </a:lnTo>
                    <a:lnTo>
                      <a:pt x="63" y="92"/>
                    </a:lnTo>
                    <a:lnTo>
                      <a:pt x="63" y="92"/>
                    </a:lnTo>
                    <a:lnTo>
                      <a:pt x="62" y="97"/>
                    </a:lnTo>
                    <a:lnTo>
                      <a:pt x="62" y="97"/>
                    </a:lnTo>
                    <a:lnTo>
                      <a:pt x="59" y="101"/>
                    </a:lnTo>
                    <a:lnTo>
                      <a:pt x="60" y="102"/>
                    </a:lnTo>
                    <a:close/>
                    <a:moveTo>
                      <a:pt x="52" y="114"/>
                    </a:moveTo>
                    <a:lnTo>
                      <a:pt x="52" y="114"/>
                    </a:lnTo>
                    <a:lnTo>
                      <a:pt x="57" y="107"/>
                    </a:lnTo>
                    <a:lnTo>
                      <a:pt x="56" y="105"/>
                    </a:lnTo>
                    <a:lnTo>
                      <a:pt x="56" y="105"/>
                    </a:lnTo>
                    <a:lnTo>
                      <a:pt x="49" y="112"/>
                    </a:lnTo>
                    <a:lnTo>
                      <a:pt x="52" y="114"/>
                    </a:lnTo>
                    <a:close/>
                    <a:moveTo>
                      <a:pt x="43" y="124"/>
                    </a:moveTo>
                    <a:lnTo>
                      <a:pt x="43" y="123"/>
                    </a:lnTo>
                    <a:lnTo>
                      <a:pt x="43" y="123"/>
                    </a:lnTo>
                    <a:lnTo>
                      <a:pt x="43" y="123"/>
                    </a:lnTo>
                    <a:lnTo>
                      <a:pt x="43" y="123"/>
                    </a:lnTo>
                    <a:lnTo>
                      <a:pt x="43" y="123"/>
                    </a:lnTo>
                    <a:lnTo>
                      <a:pt x="47" y="118"/>
                    </a:lnTo>
                    <a:lnTo>
                      <a:pt x="46" y="115"/>
                    </a:lnTo>
                    <a:lnTo>
                      <a:pt x="46" y="115"/>
                    </a:lnTo>
                    <a:lnTo>
                      <a:pt x="42" y="120"/>
                    </a:lnTo>
                    <a:lnTo>
                      <a:pt x="42" y="120"/>
                    </a:lnTo>
                    <a:lnTo>
                      <a:pt x="40" y="123"/>
                    </a:lnTo>
                    <a:lnTo>
                      <a:pt x="40" y="123"/>
                    </a:lnTo>
                    <a:lnTo>
                      <a:pt x="40" y="124"/>
                    </a:lnTo>
                    <a:lnTo>
                      <a:pt x="42" y="126"/>
                    </a:lnTo>
                    <a:lnTo>
                      <a:pt x="43" y="124"/>
                    </a:lnTo>
                    <a:close/>
                    <a:moveTo>
                      <a:pt x="56" y="133"/>
                    </a:moveTo>
                    <a:lnTo>
                      <a:pt x="56" y="133"/>
                    </a:lnTo>
                    <a:lnTo>
                      <a:pt x="55" y="130"/>
                    </a:lnTo>
                    <a:lnTo>
                      <a:pt x="52" y="127"/>
                    </a:lnTo>
                    <a:lnTo>
                      <a:pt x="52" y="127"/>
                    </a:lnTo>
                    <a:lnTo>
                      <a:pt x="47" y="126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50" y="130"/>
                    </a:lnTo>
                    <a:lnTo>
                      <a:pt x="50" y="130"/>
                    </a:lnTo>
                    <a:lnTo>
                      <a:pt x="52" y="131"/>
                    </a:lnTo>
                    <a:lnTo>
                      <a:pt x="53" y="133"/>
                    </a:lnTo>
                    <a:lnTo>
                      <a:pt x="56" y="133"/>
                    </a:lnTo>
                    <a:close/>
                    <a:moveTo>
                      <a:pt x="56" y="149"/>
                    </a:moveTo>
                    <a:lnTo>
                      <a:pt x="56" y="149"/>
                    </a:lnTo>
                    <a:lnTo>
                      <a:pt x="57" y="146"/>
                    </a:lnTo>
                    <a:lnTo>
                      <a:pt x="57" y="146"/>
                    </a:lnTo>
                    <a:lnTo>
                      <a:pt x="57" y="143"/>
                    </a:lnTo>
                    <a:lnTo>
                      <a:pt x="57" y="143"/>
                    </a:lnTo>
                    <a:lnTo>
                      <a:pt x="56" y="139"/>
                    </a:lnTo>
                    <a:lnTo>
                      <a:pt x="53" y="139"/>
                    </a:lnTo>
                    <a:lnTo>
                      <a:pt x="53" y="139"/>
                    </a:lnTo>
                    <a:lnTo>
                      <a:pt x="55" y="144"/>
                    </a:lnTo>
                    <a:lnTo>
                      <a:pt x="55" y="146"/>
                    </a:lnTo>
                    <a:lnTo>
                      <a:pt x="55" y="146"/>
                    </a:lnTo>
                    <a:lnTo>
                      <a:pt x="55" y="147"/>
                    </a:lnTo>
                    <a:lnTo>
                      <a:pt x="56" y="149"/>
                    </a:lnTo>
                    <a:close/>
                    <a:moveTo>
                      <a:pt x="50" y="160"/>
                    </a:moveTo>
                    <a:lnTo>
                      <a:pt x="50" y="160"/>
                    </a:lnTo>
                    <a:lnTo>
                      <a:pt x="49" y="157"/>
                    </a:lnTo>
                    <a:lnTo>
                      <a:pt x="49" y="157"/>
                    </a:lnTo>
                    <a:lnTo>
                      <a:pt x="50" y="156"/>
                    </a:lnTo>
                    <a:lnTo>
                      <a:pt x="50" y="156"/>
                    </a:lnTo>
                    <a:lnTo>
                      <a:pt x="52" y="153"/>
                    </a:lnTo>
                    <a:lnTo>
                      <a:pt x="50" y="150"/>
                    </a:lnTo>
                    <a:lnTo>
                      <a:pt x="50" y="150"/>
                    </a:lnTo>
                    <a:lnTo>
                      <a:pt x="47" y="154"/>
                    </a:lnTo>
                    <a:lnTo>
                      <a:pt x="47" y="154"/>
                    </a:lnTo>
                    <a:lnTo>
                      <a:pt x="47" y="157"/>
                    </a:lnTo>
                    <a:lnTo>
                      <a:pt x="47" y="157"/>
                    </a:lnTo>
                    <a:lnTo>
                      <a:pt x="47" y="160"/>
                    </a:lnTo>
                    <a:lnTo>
                      <a:pt x="50" y="160"/>
                    </a:lnTo>
                    <a:close/>
                    <a:moveTo>
                      <a:pt x="57" y="173"/>
                    </a:moveTo>
                    <a:lnTo>
                      <a:pt x="57" y="173"/>
                    </a:lnTo>
                    <a:lnTo>
                      <a:pt x="56" y="169"/>
                    </a:lnTo>
                    <a:lnTo>
                      <a:pt x="53" y="165"/>
                    </a:lnTo>
                    <a:lnTo>
                      <a:pt x="50" y="166"/>
                    </a:lnTo>
                    <a:lnTo>
                      <a:pt x="50" y="166"/>
                    </a:lnTo>
                    <a:lnTo>
                      <a:pt x="56" y="173"/>
                    </a:lnTo>
                    <a:lnTo>
                      <a:pt x="57" y="173"/>
                    </a:lnTo>
                    <a:close/>
                    <a:moveTo>
                      <a:pt x="62" y="188"/>
                    </a:moveTo>
                    <a:lnTo>
                      <a:pt x="62" y="188"/>
                    </a:lnTo>
                    <a:lnTo>
                      <a:pt x="59" y="178"/>
                    </a:lnTo>
                    <a:lnTo>
                      <a:pt x="57" y="179"/>
                    </a:lnTo>
                    <a:lnTo>
                      <a:pt x="57" y="179"/>
                    </a:lnTo>
                    <a:lnTo>
                      <a:pt x="59" y="188"/>
                    </a:lnTo>
                    <a:lnTo>
                      <a:pt x="62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" name="Freeform 1669"/>
              <p:cNvSpPr>
                <a:spLocks noEditPoints="1"/>
              </p:cNvSpPr>
              <p:nvPr/>
            </p:nvSpPr>
            <p:spPr bwMode="auto">
              <a:xfrm>
                <a:off x="4503741" y="2319964"/>
                <a:ext cx="19785" cy="66280"/>
              </a:xfrm>
              <a:custGeom>
                <a:avLst/>
                <a:gdLst>
                  <a:gd name="T0" fmla="*/ 19 w 20"/>
                  <a:gd name="T1" fmla="*/ 11 h 67"/>
                  <a:gd name="T2" fmla="*/ 19 w 20"/>
                  <a:gd name="T3" fmla="*/ 11 h 67"/>
                  <a:gd name="T4" fmla="*/ 16 w 20"/>
                  <a:gd name="T5" fmla="*/ 0 h 67"/>
                  <a:gd name="T6" fmla="*/ 15 w 20"/>
                  <a:gd name="T7" fmla="*/ 2 h 67"/>
                  <a:gd name="T8" fmla="*/ 15 w 20"/>
                  <a:gd name="T9" fmla="*/ 2 h 67"/>
                  <a:gd name="T10" fmla="*/ 16 w 20"/>
                  <a:gd name="T11" fmla="*/ 12 h 67"/>
                  <a:gd name="T12" fmla="*/ 19 w 20"/>
                  <a:gd name="T13" fmla="*/ 11 h 67"/>
                  <a:gd name="T14" fmla="*/ 19 w 20"/>
                  <a:gd name="T15" fmla="*/ 27 h 67"/>
                  <a:gd name="T16" fmla="*/ 19 w 20"/>
                  <a:gd name="T17" fmla="*/ 27 h 67"/>
                  <a:gd name="T18" fmla="*/ 20 w 20"/>
                  <a:gd name="T19" fmla="*/ 21 h 67"/>
                  <a:gd name="T20" fmla="*/ 20 w 20"/>
                  <a:gd name="T21" fmla="*/ 21 h 67"/>
                  <a:gd name="T22" fmla="*/ 20 w 20"/>
                  <a:gd name="T23" fmla="*/ 16 h 67"/>
                  <a:gd name="T24" fmla="*/ 18 w 20"/>
                  <a:gd name="T25" fmla="*/ 16 h 67"/>
                  <a:gd name="T26" fmla="*/ 18 w 20"/>
                  <a:gd name="T27" fmla="*/ 16 h 67"/>
                  <a:gd name="T28" fmla="*/ 18 w 20"/>
                  <a:gd name="T29" fmla="*/ 21 h 67"/>
                  <a:gd name="T30" fmla="*/ 18 w 20"/>
                  <a:gd name="T31" fmla="*/ 21 h 67"/>
                  <a:gd name="T32" fmla="*/ 18 w 20"/>
                  <a:gd name="T33" fmla="*/ 27 h 67"/>
                  <a:gd name="T34" fmla="*/ 19 w 20"/>
                  <a:gd name="T35" fmla="*/ 27 h 67"/>
                  <a:gd name="T36" fmla="*/ 13 w 20"/>
                  <a:gd name="T37" fmla="*/ 41 h 67"/>
                  <a:gd name="T38" fmla="*/ 13 w 20"/>
                  <a:gd name="T39" fmla="*/ 41 h 67"/>
                  <a:gd name="T40" fmla="*/ 16 w 20"/>
                  <a:gd name="T41" fmla="*/ 35 h 67"/>
                  <a:gd name="T42" fmla="*/ 18 w 20"/>
                  <a:gd name="T43" fmla="*/ 32 h 67"/>
                  <a:gd name="T44" fmla="*/ 16 w 20"/>
                  <a:gd name="T45" fmla="*/ 29 h 67"/>
                  <a:gd name="T46" fmla="*/ 16 w 20"/>
                  <a:gd name="T47" fmla="*/ 29 h 67"/>
                  <a:gd name="T48" fmla="*/ 13 w 20"/>
                  <a:gd name="T49" fmla="*/ 35 h 67"/>
                  <a:gd name="T50" fmla="*/ 12 w 20"/>
                  <a:gd name="T51" fmla="*/ 40 h 67"/>
                  <a:gd name="T52" fmla="*/ 13 w 20"/>
                  <a:gd name="T53" fmla="*/ 41 h 67"/>
                  <a:gd name="T54" fmla="*/ 5 w 20"/>
                  <a:gd name="T55" fmla="*/ 51 h 67"/>
                  <a:gd name="T56" fmla="*/ 5 w 20"/>
                  <a:gd name="T57" fmla="*/ 51 h 67"/>
                  <a:gd name="T58" fmla="*/ 6 w 20"/>
                  <a:gd name="T59" fmla="*/ 47 h 67"/>
                  <a:gd name="T60" fmla="*/ 9 w 20"/>
                  <a:gd name="T61" fmla="*/ 44 h 67"/>
                  <a:gd name="T62" fmla="*/ 7 w 20"/>
                  <a:gd name="T63" fmla="*/ 42 h 67"/>
                  <a:gd name="T64" fmla="*/ 7 w 20"/>
                  <a:gd name="T65" fmla="*/ 42 h 67"/>
                  <a:gd name="T66" fmla="*/ 6 w 20"/>
                  <a:gd name="T67" fmla="*/ 44 h 67"/>
                  <a:gd name="T68" fmla="*/ 5 w 20"/>
                  <a:gd name="T69" fmla="*/ 47 h 67"/>
                  <a:gd name="T70" fmla="*/ 3 w 20"/>
                  <a:gd name="T71" fmla="*/ 51 h 67"/>
                  <a:gd name="T72" fmla="*/ 5 w 20"/>
                  <a:gd name="T73" fmla="*/ 51 h 67"/>
                  <a:gd name="T74" fmla="*/ 2 w 20"/>
                  <a:gd name="T75" fmla="*/ 67 h 67"/>
                  <a:gd name="T76" fmla="*/ 2 w 20"/>
                  <a:gd name="T77" fmla="*/ 67 h 67"/>
                  <a:gd name="T78" fmla="*/ 5 w 20"/>
                  <a:gd name="T79" fmla="*/ 61 h 67"/>
                  <a:gd name="T80" fmla="*/ 6 w 20"/>
                  <a:gd name="T81" fmla="*/ 57 h 67"/>
                  <a:gd name="T82" fmla="*/ 6 w 20"/>
                  <a:gd name="T83" fmla="*/ 57 h 67"/>
                  <a:gd name="T84" fmla="*/ 3 w 20"/>
                  <a:gd name="T85" fmla="*/ 57 h 67"/>
                  <a:gd name="T86" fmla="*/ 3 w 20"/>
                  <a:gd name="T87" fmla="*/ 57 h 67"/>
                  <a:gd name="T88" fmla="*/ 3 w 20"/>
                  <a:gd name="T89" fmla="*/ 57 h 67"/>
                  <a:gd name="T90" fmla="*/ 2 w 20"/>
                  <a:gd name="T91" fmla="*/ 61 h 67"/>
                  <a:gd name="T92" fmla="*/ 0 w 20"/>
                  <a:gd name="T93" fmla="*/ 66 h 67"/>
                  <a:gd name="T94" fmla="*/ 2 w 20"/>
                  <a:gd name="T9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" h="67">
                    <a:moveTo>
                      <a:pt x="19" y="11"/>
                    </a:moveTo>
                    <a:lnTo>
                      <a:pt x="19" y="11"/>
                    </a:lnTo>
                    <a:lnTo>
                      <a:pt x="16" y="0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6" y="12"/>
                    </a:lnTo>
                    <a:lnTo>
                      <a:pt x="19" y="11"/>
                    </a:lnTo>
                    <a:close/>
                    <a:moveTo>
                      <a:pt x="19" y="27"/>
                    </a:moveTo>
                    <a:lnTo>
                      <a:pt x="19" y="27"/>
                    </a:lnTo>
                    <a:lnTo>
                      <a:pt x="20" y="21"/>
                    </a:lnTo>
                    <a:lnTo>
                      <a:pt x="20" y="21"/>
                    </a:lnTo>
                    <a:lnTo>
                      <a:pt x="20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21"/>
                    </a:lnTo>
                    <a:lnTo>
                      <a:pt x="18" y="21"/>
                    </a:lnTo>
                    <a:lnTo>
                      <a:pt x="18" y="27"/>
                    </a:lnTo>
                    <a:lnTo>
                      <a:pt x="19" y="27"/>
                    </a:lnTo>
                    <a:close/>
                    <a:moveTo>
                      <a:pt x="13" y="41"/>
                    </a:moveTo>
                    <a:lnTo>
                      <a:pt x="13" y="41"/>
                    </a:lnTo>
                    <a:lnTo>
                      <a:pt x="16" y="35"/>
                    </a:lnTo>
                    <a:lnTo>
                      <a:pt x="18" y="32"/>
                    </a:lnTo>
                    <a:lnTo>
                      <a:pt x="16" y="29"/>
                    </a:lnTo>
                    <a:lnTo>
                      <a:pt x="16" y="29"/>
                    </a:lnTo>
                    <a:lnTo>
                      <a:pt x="13" y="35"/>
                    </a:lnTo>
                    <a:lnTo>
                      <a:pt x="12" y="40"/>
                    </a:lnTo>
                    <a:lnTo>
                      <a:pt x="13" y="41"/>
                    </a:lnTo>
                    <a:close/>
                    <a:moveTo>
                      <a:pt x="5" y="51"/>
                    </a:moveTo>
                    <a:lnTo>
                      <a:pt x="5" y="51"/>
                    </a:lnTo>
                    <a:lnTo>
                      <a:pt x="6" y="47"/>
                    </a:lnTo>
                    <a:lnTo>
                      <a:pt x="9" y="44"/>
                    </a:lnTo>
                    <a:lnTo>
                      <a:pt x="7" y="42"/>
                    </a:lnTo>
                    <a:lnTo>
                      <a:pt x="7" y="42"/>
                    </a:lnTo>
                    <a:lnTo>
                      <a:pt x="6" y="44"/>
                    </a:lnTo>
                    <a:lnTo>
                      <a:pt x="5" y="47"/>
                    </a:lnTo>
                    <a:lnTo>
                      <a:pt x="3" y="51"/>
                    </a:lnTo>
                    <a:lnTo>
                      <a:pt x="5" y="51"/>
                    </a:lnTo>
                    <a:close/>
                    <a:moveTo>
                      <a:pt x="2" y="67"/>
                    </a:moveTo>
                    <a:lnTo>
                      <a:pt x="2" y="67"/>
                    </a:lnTo>
                    <a:lnTo>
                      <a:pt x="5" y="61"/>
                    </a:lnTo>
                    <a:lnTo>
                      <a:pt x="6" y="57"/>
                    </a:lnTo>
                    <a:lnTo>
                      <a:pt x="6" y="57"/>
                    </a:lnTo>
                    <a:lnTo>
                      <a:pt x="3" y="57"/>
                    </a:lnTo>
                    <a:lnTo>
                      <a:pt x="3" y="57"/>
                    </a:lnTo>
                    <a:lnTo>
                      <a:pt x="3" y="57"/>
                    </a:lnTo>
                    <a:lnTo>
                      <a:pt x="2" y="61"/>
                    </a:lnTo>
                    <a:lnTo>
                      <a:pt x="0" y="66"/>
                    </a:lnTo>
                    <a:lnTo>
                      <a:pt x="2" y="6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2" name="Freeform 1670"/>
              <p:cNvSpPr>
                <a:spLocks noEditPoints="1"/>
              </p:cNvSpPr>
              <p:nvPr/>
            </p:nvSpPr>
            <p:spPr bwMode="auto">
              <a:xfrm>
                <a:off x="4544300" y="2284351"/>
                <a:ext cx="22753" cy="2968"/>
              </a:xfrm>
              <a:custGeom>
                <a:avLst/>
                <a:gdLst>
                  <a:gd name="T0" fmla="*/ 7 w 23"/>
                  <a:gd name="T1" fmla="*/ 0 h 3"/>
                  <a:gd name="T2" fmla="*/ 0 w 23"/>
                  <a:gd name="T3" fmla="*/ 0 h 3"/>
                  <a:gd name="T4" fmla="*/ 0 w 23"/>
                  <a:gd name="T5" fmla="*/ 3 h 3"/>
                  <a:gd name="T6" fmla="*/ 7 w 23"/>
                  <a:gd name="T7" fmla="*/ 3 h 3"/>
                  <a:gd name="T8" fmla="*/ 7 w 23"/>
                  <a:gd name="T9" fmla="*/ 0 h 3"/>
                  <a:gd name="T10" fmla="*/ 23 w 23"/>
                  <a:gd name="T11" fmla="*/ 0 h 3"/>
                  <a:gd name="T12" fmla="*/ 13 w 23"/>
                  <a:gd name="T13" fmla="*/ 0 h 3"/>
                  <a:gd name="T14" fmla="*/ 13 w 23"/>
                  <a:gd name="T15" fmla="*/ 3 h 3"/>
                  <a:gd name="T16" fmla="*/ 23 w 23"/>
                  <a:gd name="T17" fmla="*/ 3 h 3"/>
                  <a:gd name="T18" fmla="*/ 23 w 23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3">
                    <a:moveTo>
                      <a:pt x="7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7" y="3"/>
                    </a:lnTo>
                    <a:lnTo>
                      <a:pt x="7" y="0"/>
                    </a:lnTo>
                    <a:close/>
                    <a:moveTo>
                      <a:pt x="23" y="0"/>
                    </a:moveTo>
                    <a:lnTo>
                      <a:pt x="13" y="0"/>
                    </a:lnTo>
                    <a:lnTo>
                      <a:pt x="13" y="3"/>
                    </a:lnTo>
                    <a:lnTo>
                      <a:pt x="23" y="3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9" name="Freeform 1677"/>
              <p:cNvSpPr>
                <a:spLocks noEditPoints="1"/>
              </p:cNvSpPr>
              <p:nvPr/>
            </p:nvSpPr>
            <p:spPr bwMode="auto">
              <a:xfrm>
                <a:off x="4737206" y="2276437"/>
                <a:ext cx="54409" cy="183013"/>
              </a:xfrm>
              <a:custGeom>
                <a:avLst/>
                <a:gdLst>
                  <a:gd name="T0" fmla="*/ 0 w 55"/>
                  <a:gd name="T1" fmla="*/ 0 h 185"/>
                  <a:gd name="T2" fmla="*/ 9 w 55"/>
                  <a:gd name="T3" fmla="*/ 4 h 185"/>
                  <a:gd name="T4" fmla="*/ 25 w 55"/>
                  <a:gd name="T5" fmla="*/ 5 h 185"/>
                  <a:gd name="T6" fmla="*/ 15 w 55"/>
                  <a:gd name="T7" fmla="*/ 4 h 185"/>
                  <a:gd name="T8" fmla="*/ 36 w 55"/>
                  <a:gd name="T9" fmla="*/ 15 h 185"/>
                  <a:gd name="T10" fmla="*/ 35 w 55"/>
                  <a:gd name="T11" fmla="*/ 13 h 185"/>
                  <a:gd name="T12" fmla="*/ 28 w 55"/>
                  <a:gd name="T13" fmla="*/ 10 h 185"/>
                  <a:gd name="T14" fmla="*/ 32 w 55"/>
                  <a:gd name="T15" fmla="*/ 14 h 185"/>
                  <a:gd name="T16" fmla="*/ 45 w 55"/>
                  <a:gd name="T17" fmla="*/ 29 h 185"/>
                  <a:gd name="T18" fmla="*/ 38 w 55"/>
                  <a:gd name="T19" fmla="*/ 21 h 185"/>
                  <a:gd name="T20" fmla="*/ 45 w 55"/>
                  <a:gd name="T21" fmla="*/ 29 h 185"/>
                  <a:gd name="T22" fmla="*/ 50 w 55"/>
                  <a:gd name="T23" fmla="*/ 42 h 185"/>
                  <a:gd name="T24" fmla="*/ 48 w 55"/>
                  <a:gd name="T25" fmla="*/ 33 h 185"/>
                  <a:gd name="T26" fmla="*/ 48 w 55"/>
                  <a:gd name="T27" fmla="*/ 42 h 185"/>
                  <a:gd name="T28" fmla="*/ 50 w 55"/>
                  <a:gd name="T29" fmla="*/ 43 h 185"/>
                  <a:gd name="T30" fmla="*/ 50 w 55"/>
                  <a:gd name="T31" fmla="*/ 49 h 185"/>
                  <a:gd name="T32" fmla="*/ 48 w 55"/>
                  <a:gd name="T33" fmla="*/ 59 h 185"/>
                  <a:gd name="T34" fmla="*/ 50 w 55"/>
                  <a:gd name="T35" fmla="*/ 73 h 185"/>
                  <a:gd name="T36" fmla="*/ 48 w 55"/>
                  <a:gd name="T37" fmla="*/ 63 h 185"/>
                  <a:gd name="T38" fmla="*/ 50 w 55"/>
                  <a:gd name="T39" fmla="*/ 89 h 185"/>
                  <a:gd name="T40" fmla="*/ 50 w 55"/>
                  <a:gd name="T41" fmla="*/ 79 h 185"/>
                  <a:gd name="T42" fmla="*/ 47 w 55"/>
                  <a:gd name="T43" fmla="*/ 88 h 185"/>
                  <a:gd name="T44" fmla="*/ 54 w 55"/>
                  <a:gd name="T45" fmla="*/ 102 h 185"/>
                  <a:gd name="T46" fmla="*/ 51 w 55"/>
                  <a:gd name="T47" fmla="*/ 98 h 185"/>
                  <a:gd name="T48" fmla="*/ 50 w 55"/>
                  <a:gd name="T49" fmla="*/ 97 h 185"/>
                  <a:gd name="T50" fmla="*/ 47 w 55"/>
                  <a:gd name="T51" fmla="*/ 94 h 185"/>
                  <a:gd name="T52" fmla="*/ 50 w 55"/>
                  <a:gd name="T53" fmla="*/ 100 h 185"/>
                  <a:gd name="T54" fmla="*/ 51 w 55"/>
                  <a:gd name="T55" fmla="*/ 104 h 185"/>
                  <a:gd name="T56" fmla="*/ 55 w 55"/>
                  <a:gd name="T57" fmla="*/ 117 h 185"/>
                  <a:gd name="T58" fmla="*/ 55 w 55"/>
                  <a:gd name="T59" fmla="*/ 114 h 185"/>
                  <a:gd name="T60" fmla="*/ 55 w 55"/>
                  <a:gd name="T61" fmla="*/ 108 h 185"/>
                  <a:gd name="T62" fmla="*/ 52 w 55"/>
                  <a:gd name="T63" fmla="*/ 111 h 185"/>
                  <a:gd name="T64" fmla="*/ 52 w 55"/>
                  <a:gd name="T65" fmla="*/ 114 h 185"/>
                  <a:gd name="T66" fmla="*/ 52 w 55"/>
                  <a:gd name="T67" fmla="*/ 118 h 185"/>
                  <a:gd name="T68" fmla="*/ 52 w 55"/>
                  <a:gd name="T69" fmla="*/ 118 h 185"/>
                  <a:gd name="T70" fmla="*/ 47 w 55"/>
                  <a:gd name="T71" fmla="*/ 131 h 185"/>
                  <a:gd name="T72" fmla="*/ 51 w 55"/>
                  <a:gd name="T73" fmla="*/ 121 h 185"/>
                  <a:gd name="T74" fmla="*/ 47 w 55"/>
                  <a:gd name="T75" fmla="*/ 131 h 185"/>
                  <a:gd name="T76" fmla="*/ 44 w 55"/>
                  <a:gd name="T77" fmla="*/ 136 h 185"/>
                  <a:gd name="T78" fmla="*/ 36 w 55"/>
                  <a:gd name="T79" fmla="*/ 143 h 185"/>
                  <a:gd name="T80" fmla="*/ 35 w 55"/>
                  <a:gd name="T81" fmla="*/ 159 h 185"/>
                  <a:gd name="T82" fmla="*/ 35 w 55"/>
                  <a:gd name="T83" fmla="*/ 149 h 185"/>
                  <a:gd name="T84" fmla="*/ 29 w 55"/>
                  <a:gd name="T85" fmla="*/ 170 h 185"/>
                  <a:gd name="T86" fmla="*/ 29 w 55"/>
                  <a:gd name="T87" fmla="*/ 169 h 185"/>
                  <a:gd name="T88" fmla="*/ 32 w 55"/>
                  <a:gd name="T89" fmla="*/ 163 h 185"/>
                  <a:gd name="T90" fmla="*/ 28 w 55"/>
                  <a:gd name="T91" fmla="*/ 165 h 185"/>
                  <a:gd name="T92" fmla="*/ 26 w 55"/>
                  <a:gd name="T93" fmla="*/ 169 h 185"/>
                  <a:gd name="T94" fmla="*/ 38 w 55"/>
                  <a:gd name="T95" fmla="*/ 184 h 185"/>
                  <a:gd name="T96" fmla="*/ 29 w 55"/>
                  <a:gd name="T97" fmla="*/ 176 h 185"/>
                  <a:gd name="T98" fmla="*/ 38 w 55"/>
                  <a:gd name="T99" fmla="*/ 184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5" h="185">
                    <a:moveTo>
                      <a:pt x="10" y="1"/>
                    </a:moveTo>
                    <a:lnTo>
                      <a:pt x="10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9" y="4"/>
                    </a:lnTo>
                    <a:lnTo>
                      <a:pt x="10" y="1"/>
                    </a:lnTo>
                    <a:close/>
                    <a:moveTo>
                      <a:pt x="25" y="5"/>
                    </a:moveTo>
                    <a:lnTo>
                      <a:pt x="25" y="5"/>
                    </a:lnTo>
                    <a:lnTo>
                      <a:pt x="15" y="2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23" y="8"/>
                    </a:lnTo>
                    <a:lnTo>
                      <a:pt x="25" y="5"/>
                    </a:lnTo>
                    <a:close/>
                    <a:moveTo>
                      <a:pt x="36" y="15"/>
                    </a:moveTo>
                    <a:lnTo>
                      <a:pt x="36" y="15"/>
                    </a:lnTo>
                    <a:lnTo>
                      <a:pt x="35" y="13"/>
                    </a:lnTo>
                    <a:lnTo>
                      <a:pt x="35" y="13"/>
                    </a:lnTo>
                    <a:lnTo>
                      <a:pt x="32" y="10"/>
                    </a:lnTo>
                    <a:lnTo>
                      <a:pt x="29" y="8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5" y="17"/>
                    </a:lnTo>
                    <a:lnTo>
                      <a:pt x="36" y="15"/>
                    </a:lnTo>
                    <a:close/>
                    <a:moveTo>
                      <a:pt x="45" y="29"/>
                    </a:moveTo>
                    <a:lnTo>
                      <a:pt x="45" y="29"/>
                    </a:lnTo>
                    <a:lnTo>
                      <a:pt x="39" y="20"/>
                    </a:lnTo>
                    <a:lnTo>
                      <a:pt x="38" y="21"/>
                    </a:lnTo>
                    <a:lnTo>
                      <a:pt x="38" y="21"/>
                    </a:lnTo>
                    <a:lnTo>
                      <a:pt x="44" y="30"/>
                    </a:lnTo>
                    <a:lnTo>
                      <a:pt x="45" y="29"/>
                    </a:lnTo>
                    <a:close/>
                    <a:moveTo>
                      <a:pt x="50" y="43"/>
                    </a:moveTo>
                    <a:lnTo>
                      <a:pt x="50" y="43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37"/>
                    </a:lnTo>
                    <a:lnTo>
                      <a:pt x="48" y="33"/>
                    </a:lnTo>
                    <a:lnTo>
                      <a:pt x="45" y="34"/>
                    </a:lnTo>
                    <a:lnTo>
                      <a:pt x="45" y="34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3"/>
                    </a:lnTo>
                    <a:lnTo>
                      <a:pt x="50" y="43"/>
                    </a:lnTo>
                    <a:close/>
                    <a:moveTo>
                      <a:pt x="50" y="59"/>
                    </a:moveTo>
                    <a:lnTo>
                      <a:pt x="50" y="59"/>
                    </a:lnTo>
                    <a:lnTo>
                      <a:pt x="50" y="49"/>
                    </a:lnTo>
                    <a:lnTo>
                      <a:pt x="48" y="49"/>
                    </a:lnTo>
                    <a:lnTo>
                      <a:pt x="48" y="49"/>
                    </a:lnTo>
                    <a:lnTo>
                      <a:pt x="48" y="59"/>
                    </a:lnTo>
                    <a:lnTo>
                      <a:pt x="50" y="59"/>
                    </a:lnTo>
                    <a:close/>
                    <a:moveTo>
                      <a:pt x="50" y="73"/>
                    </a:moveTo>
                    <a:lnTo>
                      <a:pt x="50" y="73"/>
                    </a:lnTo>
                    <a:lnTo>
                      <a:pt x="50" y="63"/>
                    </a:lnTo>
                    <a:lnTo>
                      <a:pt x="48" y="63"/>
                    </a:lnTo>
                    <a:lnTo>
                      <a:pt x="48" y="63"/>
                    </a:lnTo>
                    <a:lnTo>
                      <a:pt x="47" y="73"/>
                    </a:lnTo>
                    <a:lnTo>
                      <a:pt x="50" y="73"/>
                    </a:lnTo>
                    <a:close/>
                    <a:moveTo>
                      <a:pt x="50" y="89"/>
                    </a:moveTo>
                    <a:lnTo>
                      <a:pt x="50" y="88"/>
                    </a:lnTo>
                    <a:lnTo>
                      <a:pt x="50" y="88"/>
                    </a:lnTo>
                    <a:lnTo>
                      <a:pt x="50" y="79"/>
                    </a:lnTo>
                    <a:lnTo>
                      <a:pt x="47" y="79"/>
                    </a:lnTo>
                    <a:lnTo>
                      <a:pt x="47" y="79"/>
                    </a:lnTo>
                    <a:lnTo>
                      <a:pt x="47" y="88"/>
                    </a:lnTo>
                    <a:lnTo>
                      <a:pt x="47" y="89"/>
                    </a:lnTo>
                    <a:lnTo>
                      <a:pt x="50" y="89"/>
                    </a:lnTo>
                    <a:close/>
                    <a:moveTo>
                      <a:pt x="54" y="102"/>
                    </a:moveTo>
                    <a:lnTo>
                      <a:pt x="54" y="102"/>
                    </a:lnTo>
                    <a:lnTo>
                      <a:pt x="54" y="102"/>
                    </a:lnTo>
                    <a:lnTo>
                      <a:pt x="51" y="98"/>
                    </a:lnTo>
                    <a:lnTo>
                      <a:pt x="51" y="98"/>
                    </a:lnTo>
                    <a:lnTo>
                      <a:pt x="50" y="97"/>
                    </a:lnTo>
                    <a:lnTo>
                      <a:pt x="50" y="97"/>
                    </a:lnTo>
                    <a:lnTo>
                      <a:pt x="50" y="94"/>
                    </a:lnTo>
                    <a:lnTo>
                      <a:pt x="47" y="94"/>
                    </a:lnTo>
                    <a:lnTo>
                      <a:pt x="47" y="94"/>
                    </a:lnTo>
                    <a:lnTo>
                      <a:pt x="48" y="97"/>
                    </a:lnTo>
                    <a:lnTo>
                      <a:pt x="48" y="97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1" y="102"/>
                    </a:lnTo>
                    <a:lnTo>
                      <a:pt x="51" y="104"/>
                    </a:lnTo>
                    <a:lnTo>
                      <a:pt x="54" y="102"/>
                    </a:lnTo>
                    <a:close/>
                    <a:moveTo>
                      <a:pt x="55" y="118"/>
                    </a:moveTo>
                    <a:lnTo>
                      <a:pt x="55" y="117"/>
                    </a:lnTo>
                    <a:lnTo>
                      <a:pt x="55" y="117"/>
                    </a:lnTo>
                    <a:lnTo>
                      <a:pt x="55" y="114"/>
                    </a:lnTo>
                    <a:lnTo>
                      <a:pt x="55" y="114"/>
                    </a:lnTo>
                    <a:lnTo>
                      <a:pt x="55" y="111"/>
                    </a:lnTo>
                    <a:lnTo>
                      <a:pt x="55" y="111"/>
                    </a:lnTo>
                    <a:lnTo>
                      <a:pt x="55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11"/>
                    </a:lnTo>
                    <a:lnTo>
                      <a:pt x="52" y="111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5" y="118"/>
                    </a:lnTo>
                    <a:close/>
                    <a:moveTo>
                      <a:pt x="47" y="131"/>
                    </a:moveTo>
                    <a:lnTo>
                      <a:pt x="47" y="131"/>
                    </a:lnTo>
                    <a:lnTo>
                      <a:pt x="54" y="123"/>
                    </a:lnTo>
                    <a:lnTo>
                      <a:pt x="51" y="121"/>
                    </a:lnTo>
                    <a:lnTo>
                      <a:pt x="51" y="121"/>
                    </a:lnTo>
                    <a:lnTo>
                      <a:pt x="45" y="130"/>
                    </a:lnTo>
                    <a:lnTo>
                      <a:pt x="47" y="131"/>
                    </a:lnTo>
                    <a:close/>
                    <a:moveTo>
                      <a:pt x="39" y="144"/>
                    </a:moveTo>
                    <a:lnTo>
                      <a:pt x="39" y="144"/>
                    </a:lnTo>
                    <a:lnTo>
                      <a:pt x="44" y="136"/>
                    </a:lnTo>
                    <a:lnTo>
                      <a:pt x="42" y="134"/>
                    </a:lnTo>
                    <a:lnTo>
                      <a:pt x="42" y="134"/>
                    </a:lnTo>
                    <a:lnTo>
                      <a:pt x="36" y="143"/>
                    </a:lnTo>
                    <a:lnTo>
                      <a:pt x="39" y="144"/>
                    </a:lnTo>
                    <a:close/>
                    <a:moveTo>
                      <a:pt x="35" y="159"/>
                    </a:moveTo>
                    <a:lnTo>
                      <a:pt x="35" y="159"/>
                    </a:lnTo>
                    <a:lnTo>
                      <a:pt x="38" y="149"/>
                    </a:lnTo>
                    <a:lnTo>
                      <a:pt x="35" y="149"/>
                    </a:lnTo>
                    <a:lnTo>
                      <a:pt x="35" y="149"/>
                    </a:lnTo>
                    <a:lnTo>
                      <a:pt x="32" y="157"/>
                    </a:lnTo>
                    <a:lnTo>
                      <a:pt x="35" y="159"/>
                    </a:lnTo>
                    <a:close/>
                    <a:moveTo>
                      <a:pt x="29" y="170"/>
                    </a:moveTo>
                    <a:lnTo>
                      <a:pt x="29" y="170"/>
                    </a:lnTo>
                    <a:lnTo>
                      <a:pt x="29" y="169"/>
                    </a:lnTo>
                    <a:lnTo>
                      <a:pt x="29" y="169"/>
                    </a:lnTo>
                    <a:lnTo>
                      <a:pt x="29" y="166"/>
                    </a:lnTo>
                    <a:lnTo>
                      <a:pt x="29" y="166"/>
                    </a:lnTo>
                    <a:lnTo>
                      <a:pt x="32" y="163"/>
                    </a:lnTo>
                    <a:lnTo>
                      <a:pt x="31" y="162"/>
                    </a:lnTo>
                    <a:lnTo>
                      <a:pt x="31" y="162"/>
                    </a:lnTo>
                    <a:lnTo>
                      <a:pt x="28" y="165"/>
                    </a:lnTo>
                    <a:lnTo>
                      <a:pt x="28" y="165"/>
                    </a:lnTo>
                    <a:lnTo>
                      <a:pt x="26" y="169"/>
                    </a:lnTo>
                    <a:lnTo>
                      <a:pt x="26" y="169"/>
                    </a:lnTo>
                    <a:lnTo>
                      <a:pt x="28" y="172"/>
                    </a:lnTo>
                    <a:lnTo>
                      <a:pt x="29" y="170"/>
                    </a:lnTo>
                    <a:close/>
                    <a:moveTo>
                      <a:pt x="38" y="184"/>
                    </a:moveTo>
                    <a:lnTo>
                      <a:pt x="38" y="184"/>
                    </a:lnTo>
                    <a:lnTo>
                      <a:pt x="32" y="175"/>
                    </a:lnTo>
                    <a:lnTo>
                      <a:pt x="29" y="176"/>
                    </a:lnTo>
                    <a:lnTo>
                      <a:pt x="29" y="176"/>
                    </a:lnTo>
                    <a:lnTo>
                      <a:pt x="35" y="185"/>
                    </a:lnTo>
                    <a:lnTo>
                      <a:pt x="38" y="18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0" name="Freeform 1678"/>
              <p:cNvSpPr>
                <a:spLocks noEditPoints="1"/>
              </p:cNvSpPr>
              <p:nvPr/>
            </p:nvSpPr>
            <p:spPr bwMode="auto">
              <a:xfrm>
                <a:off x="4723356" y="2291276"/>
                <a:ext cx="49463" cy="4946"/>
              </a:xfrm>
              <a:custGeom>
                <a:avLst/>
                <a:gdLst>
                  <a:gd name="T0" fmla="*/ 6 w 50"/>
                  <a:gd name="T1" fmla="*/ 2 h 5"/>
                  <a:gd name="T2" fmla="*/ 6 w 50"/>
                  <a:gd name="T3" fmla="*/ 2 h 5"/>
                  <a:gd name="T4" fmla="*/ 0 w 50"/>
                  <a:gd name="T5" fmla="*/ 0 h 5"/>
                  <a:gd name="T6" fmla="*/ 0 w 50"/>
                  <a:gd name="T7" fmla="*/ 3 h 5"/>
                  <a:gd name="T8" fmla="*/ 0 w 50"/>
                  <a:gd name="T9" fmla="*/ 3 h 5"/>
                  <a:gd name="T10" fmla="*/ 6 w 50"/>
                  <a:gd name="T11" fmla="*/ 5 h 5"/>
                  <a:gd name="T12" fmla="*/ 6 w 50"/>
                  <a:gd name="T13" fmla="*/ 2 h 5"/>
                  <a:gd name="T14" fmla="*/ 20 w 50"/>
                  <a:gd name="T15" fmla="*/ 2 h 5"/>
                  <a:gd name="T16" fmla="*/ 20 w 50"/>
                  <a:gd name="T17" fmla="*/ 2 h 5"/>
                  <a:gd name="T18" fmla="*/ 10 w 50"/>
                  <a:gd name="T19" fmla="*/ 2 h 5"/>
                  <a:gd name="T20" fmla="*/ 10 w 50"/>
                  <a:gd name="T21" fmla="*/ 5 h 5"/>
                  <a:gd name="T22" fmla="*/ 10 w 50"/>
                  <a:gd name="T23" fmla="*/ 5 h 5"/>
                  <a:gd name="T24" fmla="*/ 20 w 50"/>
                  <a:gd name="T25" fmla="*/ 5 h 5"/>
                  <a:gd name="T26" fmla="*/ 20 w 50"/>
                  <a:gd name="T27" fmla="*/ 2 h 5"/>
                  <a:gd name="T28" fmla="*/ 36 w 50"/>
                  <a:gd name="T29" fmla="*/ 2 h 5"/>
                  <a:gd name="T30" fmla="*/ 36 w 50"/>
                  <a:gd name="T31" fmla="*/ 2 h 5"/>
                  <a:gd name="T32" fmla="*/ 27 w 50"/>
                  <a:gd name="T33" fmla="*/ 2 h 5"/>
                  <a:gd name="T34" fmla="*/ 27 w 50"/>
                  <a:gd name="T35" fmla="*/ 2 h 5"/>
                  <a:gd name="T36" fmla="*/ 26 w 50"/>
                  <a:gd name="T37" fmla="*/ 2 h 5"/>
                  <a:gd name="T38" fmla="*/ 26 w 50"/>
                  <a:gd name="T39" fmla="*/ 5 h 5"/>
                  <a:gd name="T40" fmla="*/ 26 w 50"/>
                  <a:gd name="T41" fmla="*/ 5 h 5"/>
                  <a:gd name="T42" fmla="*/ 27 w 50"/>
                  <a:gd name="T43" fmla="*/ 5 h 5"/>
                  <a:gd name="T44" fmla="*/ 27 w 50"/>
                  <a:gd name="T45" fmla="*/ 5 h 5"/>
                  <a:gd name="T46" fmla="*/ 36 w 50"/>
                  <a:gd name="T47" fmla="*/ 5 h 5"/>
                  <a:gd name="T48" fmla="*/ 36 w 50"/>
                  <a:gd name="T49" fmla="*/ 2 h 5"/>
                  <a:gd name="T50" fmla="*/ 50 w 50"/>
                  <a:gd name="T51" fmla="*/ 2 h 5"/>
                  <a:gd name="T52" fmla="*/ 50 w 50"/>
                  <a:gd name="T53" fmla="*/ 2 h 5"/>
                  <a:gd name="T54" fmla="*/ 40 w 50"/>
                  <a:gd name="T55" fmla="*/ 2 h 5"/>
                  <a:gd name="T56" fmla="*/ 40 w 50"/>
                  <a:gd name="T57" fmla="*/ 5 h 5"/>
                  <a:gd name="T58" fmla="*/ 40 w 50"/>
                  <a:gd name="T59" fmla="*/ 5 h 5"/>
                  <a:gd name="T60" fmla="*/ 50 w 50"/>
                  <a:gd name="T61" fmla="*/ 5 h 5"/>
                  <a:gd name="T62" fmla="*/ 50 w 50"/>
                  <a:gd name="T63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0" h="5">
                    <a:moveTo>
                      <a:pt x="6" y="2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6" y="5"/>
                    </a:lnTo>
                    <a:lnTo>
                      <a:pt x="6" y="2"/>
                    </a:lnTo>
                    <a:close/>
                    <a:moveTo>
                      <a:pt x="20" y="2"/>
                    </a:moveTo>
                    <a:lnTo>
                      <a:pt x="20" y="2"/>
                    </a:lnTo>
                    <a:lnTo>
                      <a:pt x="10" y="2"/>
                    </a:lnTo>
                    <a:lnTo>
                      <a:pt x="10" y="5"/>
                    </a:lnTo>
                    <a:lnTo>
                      <a:pt x="10" y="5"/>
                    </a:lnTo>
                    <a:lnTo>
                      <a:pt x="20" y="5"/>
                    </a:lnTo>
                    <a:lnTo>
                      <a:pt x="20" y="2"/>
                    </a:lnTo>
                    <a:close/>
                    <a:moveTo>
                      <a:pt x="36" y="2"/>
                    </a:moveTo>
                    <a:lnTo>
                      <a:pt x="36" y="2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26" y="2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36" y="5"/>
                    </a:lnTo>
                    <a:lnTo>
                      <a:pt x="36" y="2"/>
                    </a:lnTo>
                    <a:close/>
                    <a:moveTo>
                      <a:pt x="50" y="2"/>
                    </a:moveTo>
                    <a:lnTo>
                      <a:pt x="50" y="2"/>
                    </a:lnTo>
                    <a:lnTo>
                      <a:pt x="40" y="2"/>
                    </a:lnTo>
                    <a:lnTo>
                      <a:pt x="40" y="5"/>
                    </a:lnTo>
                    <a:lnTo>
                      <a:pt x="40" y="5"/>
                    </a:lnTo>
                    <a:lnTo>
                      <a:pt x="50" y="5"/>
                    </a:lnTo>
                    <a:lnTo>
                      <a:pt x="50" y="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2" name="Freeform 1680"/>
              <p:cNvSpPr>
                <a:spLocks noEditPoints="1"/>
              </p:cNvSpPr>
              <p:nvPr/>
            </p:nvSpPr>
            <p:spPr bwMode="auto">
              <a:xfrm>
                <a:off x="4784690" y="2151790"/>
                <a:ext cx="74194" cy="167185"/>
              </a:xfrm>
              <a:custGeom>
                <a:avLst/>
                <a:gdLst>
                  <a:gd name="T0" fmla="*/ 68 w 75"/>
                  <a:gd name="T1" fmla="*/ 0 h 169"/>
                  <a:gd name="T2" fmla="*/ 65 w 75"/>
                  <a:gd name="T3" fmla="*/ 1 h 169"/>
                  <a:gd name="T4" fmla="*/ 65 w 75"/>
                  <a:gd name="T5" fmla="*/ 17 h 169"/>
                  <a:gd name="T6" fmla="*/ 64 w 75"/>
                  <a:gd name="T7" fmla="*/ 7 h 169"/>
                  <a:gd name="T8" fmla="*/ 65 w 75"/>
                  <a:gd name="T9" fmla="*/ 17 h 169"/>
                  <a:gd name="T10" fmla="*/ 65 w 75"/>
                  <a:gd name="T11" fmla="*/ 31 h 169"/>
                  <a:gd name="T12" fmla="*/ 65 w 75"/>
                  <a:gd name="T13" fmla="*/ 21 h 169"/>
                  <a:gd name="T14" fmla="*/ 62 w 75"/>
                  <a:gd name="T15" fmla="*/ 26 h 169"/>
                  <a:gd name="T16" fmla="*/ 62 w 75"/>
                  <a:gd name="T17" fmla="*/ 31 h 169"/>
                  <a:gd name="T18" fmla="*/ 67 w 75"/>
                  <a:gd name="T19" fmla="*/ 47 h 169"/>
                  <a:gd name="T20" fmla="*/ 62 w 75"/>
                  <a:gd name="T21" fmla="*/ 37 h 169"/>
                  <a:gd name="T22" fmla="*/ 70 w 75"/>
                  <a:gd name="T23" fmla="*/ 62 h 169"/>
                  <a:gd name="T24" fmla="*/ 65 w 75"/>
                  <a:gd name="T25" fmla="*/ 52 h 169"/>
                  <a:gd name="T26" fmla="*/ 70 w 75"/>
                  <a:gd name="T27" fmla="*/ 62 h 169"/>
                  <a:gd name="T28" fmla="*/ 72 w 75"/>
                  <a:gd name="T29" fmla="*/ 71 h 169"/>
                  <a:gd name="T30" fmla="*/ 68 w 75"/>
                  <a:gd name="T31" fmla="*/ 68 h 169"/>
                  <a:gd name="T32" fmla="*/ 70 w 75"/>
                  <a:gd name="T33" fmla="*/ 72 h 169"/>
                  <a:gd name="T34" fmla="*/ 75 w 75"/>
                  <a:gd name="T35" fmla="*/ 91 h 169"/>
                  <a:gd name="T36" fmla="*/ 75 w 75"/>
                  <a:gd name="T37" fmla="*/ 88 h 169"/>
                  <a:gd name="T38" fmla="*/ 72 w 75"/>
                  <a:gd name="T39" fmla="*/ 81 h 169"/>
                  <a:gd name="T40" fmla="*/ 72 w 75"/>
                  <a:gd name="T41" fmla="*/ 91 h 169"/>
                  <a:gd name="T42" fmla="*/ 72 w 75"/>
                  <a:gd name="T43" fmla="*/ 107 h 169"/>
                  <a:gd name="T44" fmla="*/ 72 w 75"/>
                  <a:gd name="T45" fmla="*/ 97 h 169"/>
                  <a:gd name="T46" fmla="*/ 71 w 75"/>
                  <a:gd name="T47" fmla="*/ 105 h 169"/>
                  <a:gd name="T48" fmla="*/ 58 w 75"/>
                  <a:gd name="T49" fmla="*/ 114 h 169"/>
                  <a:gd name="T50" fmla="*/ 67 w 75"/>
                  <a:gd name="T51" fmla="*/ 108 h 169"/>
                  <a:gd name="T52" fmla="*/ 44 w 75"/>
                  <a:gd name="T53" fmla="*/ 115 h 169"/>
                  <a:gd name="T54" fmla="*/ 54 w 75"/>
                  <a:gd name="T55" fmla="*/ 114 h 169"/>
                  <a:gd name="T56" fmla="*/ 44 w 75"/>
                  <a:gd name="T57" fmla="*/ 113 h 169"/>
                  <a:gd name="T58" fmla="*/ 36 w 75"/>
                  <a:gd name="T59" fmla="*/ 126 h 169"/>
                  <a:gd name="T60" fmla="*/ 41 w 75"/>
                  <a:gd name="T61" fmla="*/ 117 h 169"/>
                  <a:gd name="T62" fmla="*/ 36 w 75"/>
                  <a:gd name="T63" fmla="*/ 120 h 169"/>
                  <a:gd name="T64" fmla="*/ 33 w 75"/>
                  <a:gd name="T65" fmla="*/ 141 h 169"/>
                  <a:gd name="T66" fmla="*/ 33 w 75"/>
                  <a:gd name="T67" fmla="*/ 131 h 169"/>
                  <a:gd name="T68" fmla="*/ 33 w 75"/>
                  <a:gd name="T69" fmla="*/ 141 h 169"/>
                  <a:gd name="T70" fmla="*/ 30 w 75"/>
                  <a:gd name="T71" fmla="*/ 153 h 169"/>
                  <a:gd name="T72" fmla="*/ 33 w 75"/>
                  <a:gd name="T73" fmla="*/ 146 h 169"/>
                  <a:gd name="T74" fmla="*/ 30 w 75"/>
                  <a:gd name="T75" fmla="*/ 149 h 169"/>
                  <a:gd name="T76" fmla="*/ 26 w 75"/>
                  <a:gd name="T77" fmla="*/ 153 h 169"/>
                  <a:gd name="T78" fmla="*/ 13 w 75"/>
                  <a:gd name="T79" fmla="*/ 162 h 169"/>
                  <a:gd name="T80" fmla="*/ 23 w 75"/>
                  <a:gd name="T81" fmla="*/ 156 h 169"/>
                  <a:gd name="T82" fmla="*/ 2 w 75"/>
                  <a:gd name="T83" fmla="*/ 169 h 169"/>
                  <a:gd name="T84" fmla="*/ 9 w 75"/>
                  <a:gd name="T85" fmla="*/ 163 h 169"/>
                  <a:gd name="T86" fmla="*/ 3 w 75"/>
                  <a:gd name="T87" fmla="*/ 163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5" h="169">
                    <a:moveTo>
                      <a:pt x="68" y="1"/>
                    </a:moveTo>
                    <a:lnTo>
                      <a:pt x="68" y="1"/>
                    </a:lnTo>
                    <a:lnTo>
                      <a:pt x="68" y="0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65" y="1"/>
                    </a:lnTo>
                    <a:lnTo>
                      <a:pt x="68" y="1"/>
                    </a:lnTo>
                    <a:lnTo>
                      <a:pt x="68" y="1"/>
                    </a:lnTo>
                    <a:close/>
                    <a:moveTo>
                      <a:pt x="65" y="17"/>
                    </a:moveTo>
                    <a:lnTo>
                      <a:pt x="65" y="17"/>
                    </a:lnTo>
                    <a:lnTo>
                      <a:pt x="67" y="7"/>
                    </a:lnTo>
                    <a:lnTo>
                      <a:pt x="64" y="7"/>
                    </a:lnTo>
                    <a:lnTo>
                      <a:pt x="64" y="7"/>
                    </a:lnTo>
                    <a:lnTo>
                      <a:pt x="62" y="17"/>
                    </a:lnTo>
                    <a:lnTo>
                      <a:pt x="65" y="17"/>
                    </a:lnTo>
                    <a:close/>
                    <a:moveTo>
                      <a:pt x="65" y="31"/>
                    </a:moveTo>
                    <a:lnTo>
                      <a:pt x="65" y="31"/>
                    </a:lnTo>
                    <a:lnTo>
                      <a:pt x="65" y="31"/>
                    </a:lnTo>
                    <a:lnTo>
                      <a:pt x="65" y="26"/>
                    </a:lnTo>
                    <a:lnTo>
                      <a:pt x="65" y="26"/>
                    </a:lnTo>
                    <a:lnTo>
                      <a:pt x="65" y="21"/>
                    </a:lnTo>
                    <a:lnTo>
                      <a:pt x="62" y="21"/>
                    </a:lnTo>
                    <a:lnTo>
                      <a:pt x="62" y="21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31"/>
                    </a:lnTo>
                    <a:lnTo>
                      <a:pt x="62" y="31"/>
                    </a:lnTo>
                    <a:lnTo>
                      <a:pt x="65" y="31"/>
                    </a:lnTo>
                    <a:close/>
                    <a:moveTo>
                      <a:pt x="67" y="47"/>
                    </a:moveTo>
                    <a:lnTo>
                      <a:pt x="67" y="47"/>
                    </a:lnTo>
                    <a:lnTo>
                      <a:pt x="65" y="37"/>
                    </a:lnTo>
                    <a:lnTo>
                      <a:pt x="62" y="37"/>
                    </a:lnTo>
                    <a:lnTo>
                      <a:pt x="62" y="37"/>
                    </a:lnTo>
                    <a:lnTo>
                      <a:pt x="64" y="47"/>
                    </a:lnTo>
                    <a:lnTo>
                      <a:pt x="67" y="47"/>
                    </a:lnTo>
                    <a:close/>
                    <a:moveTo>
                      <a:pt x="70" y="62"/>
                    </a:moveTo>
                    <a:lnTo>
                      <a:pt x="70" y="62"/>
                    </a:lnTo>
                    <a:lnTo>
                      <a:pt x="67" y="52"/>
                    </a:lnTo>
                    <a:lnTo>
                      <a:pt x="65" y="52"/>
                    </a:lnTo>
                    <a:lnTo>
                      <a:pt x="65" y="52"/>
                    </a:lnTo>
                    <a:lnTo>
                      <a:pt x="67" y="62"/>
                    </a:lnTo>
                    <a:lnTo>
                      <a:pt x="70" y="62"/>
                    </a:lnTo>
                    <a:close/>
                    <a:moveTo>
                      <a:pt x="74" y="76"/>
                    </a:moveTo>
                    <a:lnTo>
                      <a:pt x="74" y="76"/>
                    </a:lnTo>
                    <a:lnTo>
                      <a:pt x="72" y="71"/>
                    </a:lnTo>
                    <a:lnTo>
                      <a:pt x="72" y="71"/>
                    </a:lnTo>
                    <a:lnTo>
                      <a:pt x="71" y="66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0" y="72"/>
                    </a:lnTo>
                    <a:lnTo>
                      <a:pt x="70" y="72"/>
                    </a:lnTo>
                    <a:lnTo>
                      <a:pt x="72" y="76"/>
                    </a:lnTo>
                    <a:lnTo>
                      <a:pt x="74" y="76"/>
                    </a:lnTo>
                    <a:close/>
                    <a:moveTo>
                      <a:pt x="75" y="91"/>
                    </a:moveTo>
                    <a:lnTo>
                      <a:pt x="75" y="91"/>
                    </a:lnTo>
                    <a:lnTo>
                      <a:pt x="75" y="88"/>
                    </a:lnTo>
                    <a:lnTo>
                      <a:pt x="75" y="88"/>
                    </a:lnTo>
                    <a:lnTo>
                      <a:pt x="75" y="81"/>
                    </a:lnTo>
                    <a:lnTo>
                      <a:pt x="72" y="81"/>
                    </a:lnTo>
                    <a:lnTo>
                      <a:pt x="72" y="81"/>
                    </a:lnTo>
                    <a:lnTo>
                      <a:pt x="72" y="88"/>
                    </a:lnTo>
                    <a:lnTo>
                      <a:pt x="72" y="88"/>
                    </a:lnTo>
                    <a:lnTo>
                      <a:pt x="72" y="91"/>
                    </a:lnTo>
                    <a:lnTo>
                      <a:pt x="75" y="91"/>
                    </a:lnTo>
                    <a:close/>
                    <a:moveTo>
                      <a:pt x="72" y="107"/>
                    </a:moveTo>
                    <a:lnTo>
                      <a:pt x="72" y="107"/>
                    </a:lnTo>
                    <a:lnTo>
                      <a:pt x="72" y="107"/>
                    </a:lnTo>
                    <a:lnTo>
                      <a:pt x="75" y="97"/>
                    </a:lnTo>
                    <a:lnTo>
                      <a:pt x="72" y="97"/>
                    </a:lnTo>
                    <a:lnTo>
                      <a:pt x="72" y="97"/>
                    </a:lnTo>
                    <a:lnTo>
                      <a:pt x="71" y="105"/>
                    </a:lnTo>
                    <a:lnTo>
                      <a:pt x="71" y="105"/>
                    </a:lnTo>
                    <a:lnTo>
                      <a:pt x="72" y="107"/>
                    </a:lnTo>
                    <a:close/>
                    <a:moveTo>
                      <a:pt x="58" y="114"/>
                    </a:moveTo>
                    <a:lnTo>
                      <a:pt x="58" y="114"/>
                    </a:lnTo>
                    <a:lnTo>
                      <a:pt x="68" y="111"/>
                    </a:lnTo>
                    <a:lnTo>
                      <a:pt x="67" y="108"/>
                    </a:lnTo>
                    <a:lnTo>
                      <a:pt x="67" y="108"/>
                    </a:lnTo>
                    <a:lnTo>
                      <a:pt x="58" y="111"/>
                    </a:lnTo>
                    <a:lnTo>
                      <a:pt x="58" y="114"/>
                    </a:lnTo>
                    <a:close/>
                    <a:moveTo>
                      <a:pt x="44" y="115"/>
                    </a:moveTo>
                    <a:lnTo>
                      <a:pt x="44" y="115"/>
                    </a:lnTo>
                    <a:lnTo>
                      <a:pt x="44" y="115"/>
                    </a:lnTo>
                    <a:lnTo>
                      <a:pt x="54" y="114"/>
                    </a:lnTo>
                    <a:lnTo>
                      <a:pt x="54" y="113"/>
                    </a:lnTo>
                    <a:lnTo>
                      <a:pt x="54" y="113"/>
                    </a:lnTo>
                    <a:lnTo>
                      <a:pt x="44" y="113"/>
                    </a:lnTo>
                    <a:lnTo>
                      <a:pt x="44" y="113"/>
                    </a:lnTo>
                    <a:lnTo>
                      <a:pt x="44" y="115"/>
                    </a:lnTo>
                    <a:close/>
                    <a:moveTo>
                      <a:pt x="36" y="126"/>
                    </a:moveTo>
                    <a:lnTo>
                      <a:pt x="36" y="126"/>
                    </a:lnTo>
                    <a:lnTo>
                      <a:pt x="38" y="121"/>
                    </a:lnTo>
                    <a:lnTo>
                      <a:pt x="41" y="117"/>
                    </a:lnTo>
                    <a:lnTo>
                      <a:pt x="38" y="115"/>
                    </a:lnTo>
                    <a:lnTo>
                      <a:pt x="38" y="115"/>
                    </a:lnTo>
                    <a:lnTo>
                      <a:pt x="36" y="120"/>
                    </a:lnTo>
                    <a:lnTo>
                      <a:pt x="33" y="126"/>
                    </a:lnTo>
                    <a:lnTo>
                      <a:pt x="36" y="126"/>
                    </a:lnTo>
                    <a:close/>
                    <a:moveTo>
                      <a:pt x="33" y="141"/>
                    </a:moveTo>
                    <a:lnTo>
                      <a:pt x="33" y="141"/>
                    </a:lnTo>
                    <a:lnTo>
                      <a:pt x="35" y="131"/>
                    </a:lnTo>
                    <a:lnTo>
                      <a:pt x="33" y="131"/>
                    </a:lnTo>
                    <a:lnTo>
                      <a:pt x="33" y="131"/>
                    </a:lnTo>
                    <a:lnTo>
                      <a:pt x="32" y="141"/>
                    </a:lnTo>
                    <a:lnTo>
                      <a:pt x="33" y="141"/>
                    </a:lnTo>
                    <a:close/>
                    <a:moveTo>
                      <a:pt x="28" y="156"/>
                    </a:moveTo>
                    <a:lnTo>
                      <a:pt x="28" y="156"/>
                    </a:lnTo>
                    <a:lnTo>
                      <a:pt x="30" y="153"/>
                    </a:lnTo>
                    <a:lnTo>
                      <a:pt x="32" y="149"/>
                    </a:lnTo>
                    <a:lnTo>
                      <a:pt x="32" y="149"/>
                    </a:lnTo>
                    <a:lnTo>
                      <a:pt x="33" y="146"/>
                    </a:lnTo>
                    <a:lnTo>
                      <a:pt x="30" y="146"/>
                    </a:lnTo>
                    <a:lnTo>
                      <a:pt x="30" y="146"/>
                    </a:lnTo>
                    <a:lnTo>
                      <a:pt x="30" y="149"/>
                    </a:lnTo>
                    <a:lnTo>
                      <a:pt x="30" y="149"/>
                    </a:lnTo>
                    <a:lnTo>
                      <a:pt x="29" y="152"/>
                    </a:lnTo>
                    <a:lnTo>
                      <a:pt x="26" y="153"/>
                    </a:lnTo>
                    <a:lnTo>
                      <a:pt x="28" y="156"/>
                    </a:lnTo>
                    <a:close/>
                    <a:moveTo>
                      <a:pt x="13" y="162"/>
                    </a:moveTo>
                    <a:lnTo>
                      <a:pt x="13" y="162"/>
                    </a:lnTo>
                    <a:lnTo>
                      <a:pt x="23" y="159"/>
                    </a:lnTo>
                    <a:lnTo>
                      <a:pt x="23" y="156"/>
                    </a:lnTo>
                    <a:lnTo>
                      <a:pt x="23" y="156"/>
                    </a:lnTo>
                    <a:lnTo>
                      <a:pt x="13" y="159"/>
                    </a:lnTo>
                    <a:lnTo>
                      <a:pt x="13" y="162"/>
                    </a:lnTo>
                    <a:close/>
                    <a:moveTo>
                      <a:pt x="2" y="169"/>
                    </a:moveTo>
                    <a:lnTo>
                      <a:pt x="2" y="169"/>
                    </a:lnTo>
                    <a:lnTo>
                      <a:pt x="6" y="165"/>
                    </a:lnTo>
                    <a:lnTo>
                      <a:pt x="9" y="163"/>
                    </a:lnTo>
                    <a:lnTo>
                      <a:pt x="7" y="160"/>
                    </a:lnTo>
                    <a:lnTo>
                      <a:pt x="7" y="160"/>
                    </a:lnTo>
                    <a:lnTo>
                      <a:pt x="3" y="163"/>
                    </a:lnTo>
                    <a:lnTo>
                      <a:pt x="0" y="168"/>
                    </a:lnTo>
                    <a:lnTo>
                      <a:pt x="2" y="16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3" name="Freeform 1681"/>
              <p:cNvSpPr>
                <a:spLocks noEditPoints="1"/>
              </p:cNvSpPr>
              <p:nvPr/>
            </p:nvSpPr>
            <p:spPr bwMode="auto">
              <a:xfrm>
                <a:off x="4797551" y="2198285"/>
                <a:ext cx="53420" cy="11871"/>
              </a:xfrm>
              <a:custGeom>
                <a:avLst/>
                <a:gdLst>
                  <a:gd name="T0" fmla="*/ 10 w 54"/>
                  <a:gd name="T1" fmla="*/ 0 h 12"/>
                  <a:gd name="T2" fmla="*/ 10 w 54"/>
                  <a:gd name="T3" fmla="*/ 0 h 12"/>
                  <a:gd name="T4" fmla="*/ 10 w 54"/>
                  <a:gd name="T5" fmla="*/ 0 h 12"/>
                  <a:gd name="T6" fmla="*/ 0 w 54"/>
                  <a:gd name="T7" fmla="*/ 2 h 12"/>
                  <a:gd name="T8" fmla="*/ 0 w 54"/>
                  <a:gd name="T9" fmla="*/ 5 h 12"/>
                  <a:gd name="T10" fmla="*/ 0 w 54"/>
                  <a:gd name="T11" fmla="*/ 5 h 12"/>
                  <a:gd name="T12" fmla="*/ 10 w 54"/>
                  <a:gd name="T13" fmla="*/ 3 h 12"/>
                  <a:gd name="T14" fmla="*/ 10 w 54"/>
                  <a:gd name="T15" fmla="*/ 3 h 12"/>
                  <a:gd name="T16" fmla="*/ 10 w 54"/>
                  <a:gd name="T17" fmla="*/ 0 h 12"/>
                  <a:gd name="T18" fmla="*/ 25 w 54"/>
                  <a:gd name="T19" fmla="*/ 5 h 12"/>
                  <a:gd name="T20" fmla="*/ 25 w 54"/>
                  <a:gd name="T21" fmla="*/ 5 h 12"/>
                  <a:gd name="T22" fmla="*/ 20 w 54"/>
                  <a:gd name="T23" fmla="*/ 2 h 12"/>
                  <a:gd name="T24" fmla="*/ 16 w 54"/>
                  <a:gd name="T25" fmla="*/ 0 h 12"/>
                  <a:gd name="T26" fmla="*/ 15 w 54"/>
                  <a:gd name="T27" fmla="*/ 3 h 12"/>
                  <a:gd name="T28" fmla="*/ 15 w 54"/>
                  <a:gd name="T29" fmla="*/ 3 h 12"/>
                  <a:gd name="T30" fmla="*/ 19 w 54"/>
                  <a:gd name="T31" fmla="*/ 5 h 12"/>
                  <a:gd name="T32" fmla="*/ 23 w 54"/>
                  <a:gd name="T33" fmla="*/ 8 h 12"/>
                  <a:gd name="T34" fmla="*/ 25 w 54"/>
                  <a:gd name="T35" fmla="*/ 5 h 12"/>
                  <a:gd name="T36" fmla="*/ 39 w 54"/>
                  <a:gd name="T37" fmla="*/ 9 h 12"/>
                  <a:gd name="T38" fmla="*/ 39 w 54"/>
                  <a:gd name="T39" fmla="*/ 9 h 12"/>
                  <a:gd name="T40" fmla="*/ 29 w 54"/>
                  <a:gd name="T41" fmla="*/ 8 h 12"/>
                  <a:gd name="T42" fmla="*/ 29 w 54"/>
                  <a:gd name="T43" fmla="*/ 8 h 12"/>
                  <a:gd name="T44" fmla="*/ 29 w 54"/>
                  <a:gd name="T45" fmla="*/ 9 h 12"/>
                  <a:gd name="T46" fmla="*/ 29 w 54"/>
                  <a:gd name="T47" fmla="*/ 9 h 12"/>
                  <a:gd name="T48" fmla="*/ 29 w 54"/>
                  <a:gd name="T49" fmla="*/ 9 h 12"/>
                  <a:gd name="T50" fmla="*/ 39 w 54"/>
                  <a:gd name="T51" fmla="*/ 12 h 12"/>
                  <a:gd name="T52" fmla="*/ 39 w 54"/>
                  <a:gd name="T53" fmla="*/ 9 h 12"/>
                  <a:gd name="T54" fmla="*/ 54 w 54"/>
                  <a:gd name="T55" fmla="*/ 10 h 12"/>
                  <a:gd name="T56" fmla="*/ 54 w 54"/>
                  <a:gd name="T57" fmla="*/ 10 h 12"/>
                  <a:gd name="T58" fmla="*/ 52 w 54"/>
                  <a:gd name="T59" fmla="*/ 10 h 12"/>
                  <a:gd name="T60" fmla="*/ 52 w 54"/>
                  <a:gd name="T61" fmla="*/ 10 h 12"/>
                  <a:gd name="T62" fmla="*/ 44 w 54"/>
                  <a:gd name="T63" fmla="*/ 9 h 12"/>
                  <a:gd name="T64" fmla="*/ 44 w 54"/>
                  <a:gd name="T65" fmla="*/ 12 h 12"/>
                  <a:gd name="T66" fmla="*/ 44 w 54"/>
                  <a:gd name="T67" fmla="*/ 12 h 12"/>
                  <a:gd name="T68" fmla="*/ 52 w 54"/>
                  <a:gd name="T69" fmla="*/ 12 h 12"/>
                  <a:gd name="T70" fmla="*/ 52 w 54"/>
                  <a:gd name="T71" fmla="*/ 12 h 12"/>
                  <a:gd name="T72" fmla="*/ 54 w 54"/>
                  <a:gd name="T73" fmla="*/ 12 h 12"/>
                  <a:gd name="T74" fmla="*/ 54 w 54"/>
                  <a:gd name="T7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4" h="12">
                    <a:moveTo>
                      <a:pt x="1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10" y="3"/>
                    </a:lnTo>
                    <a:lnTo>
                      <a:pt x="10" y="3"/>
                    </a:lnTo>
                    <a:lnTo>
                      <a:pt x="10" y="0"/>
                    </a:lnTo>
                    <a:close/>
                    <a:moveTo>
                      <a:pt x="25" y="5"/>
                    </a:moveTo>
                    <a:lnTo>
                      <a:pt x="25" y="5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5" y="3"/>
                    </a:lnTo>
                    <a:lnTo>
                      <a:pt x="15" y="3"/>
                    </a:lnTo>
                    <a:lnTo>
                      <a:pt x="19" y="5"/>
                    </a:lnTo>
                    <a:lnTo>
                      <a:pt x="23" y="8"/>
                    </a:lnTo>
                    <a:lnTo>
                      <a:pt x="25" y="5"/>
                    </a:lnTo>
                    <a:close/>
                    <a:moveTo>
                      <a:pt x="39" y="9"/>
                    </a:moveTo>
                    <a:lnTo>
                      <a:pt x="39" y="9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9"/>
                    </a:lnTo>
                    <a:lnTo>
                      <a:pt x="29" y="9"/>
                    </a:lnTo>
                    <a:lnTo>
                      <a:pt x="29" y="9"/>
                    </a:lnTo>
                    <a:lnTo>
                      <a:pt x="39" y="12"/>
                    </a:lnTo>
                    <a:lnTo>
                      <a:pt x="39" y="9"/>
                    </a:lnTo>
                    <a:close/>
                    <a:moveTo>
                      <a:pt x="54" y="10"/>
                    </a:moveTo>
                    <a:lnTo>
                      <a:pt x="54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44" y="9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4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4" name="Freeform 1682"/>
              <p:cNvSpPr>
                <a:spLocks noEditPoints="1"/>
              </p:cNvSpPr>
              <p:nvPr/>
            </p:nvSpPr>
            <p:spPr bwMode="auto">
              <a:xfrm>
                <a:off x="4742152" y="2239834"/>
                <a:ext cx="84087" cy="25721"/>
              </a:xfrm>
              <a:custGeom>
                <a:avLst/>
                <a:gdLst>
                  <a:gd name="T0" fmla="*/ 1 w 85"/>
                  <a:gd name="T1" fmla="*/ 3 h 26"/>
                  <a:gd name="T2" fmla="*/ 0 w 85"/>
                  <a:gd name="T3" fmla="*/ 3 h 26"/>
                  <a:gd name="T4" fmla="*/ 1 w 85"/>
                  <a:gd name="T5" fmla="*/ 6 h 26"/>
                  <a:gd name="T6" fmla="*/ 1 w 85"/>
                  <a:gd name="T7" fmla="*/ 6 h 26"/>
                  <a:gd name="T8" fmla="*/ 1 w 85"/>
                  <a:gd name="T9" fmla="*/ 3 h 26"/>
                  <a:gd name="T10" fmla="*/ 16 w 85"/>
                  <a:gd name="T11" fmla="*/ 0 h 26"/>
                  <a:gd name="T12" fmla="*/ 16 w 85"/>
                  <a:gd name="T13" fmla="*/ 0 h 26"/>
                  <a:gd name="T14" fmla="*/ 5 w 85"/>
                  <a:gd name="T15" fmla="*/ 2 h 26"/>
                  <a:gd name="T16" fmla="*/ 5 w 85"/>
                  <a:gd name="T17" fmla="*/ 5 h 26"/>
                  <a:gd name="T18" fmla="*/ 5 w 85"/>
                  <a:gd name="T19" fmla="*/ 5 h 26"/>
                  <a:gd name="T20" fmla="*/ 16 w 85"/>
                  <a:gd name="T21" fmla="*/ 3 h 26"/>
                  <a:gd name="T22" fmla="*/ 16 w 85"/>
                  <a:gd name="T23" fmla="*/ 0 h 26"/>
                  <a:gd name="T24" fmla="*/ 31 w 85"/>
                  <a:gd name="T25" fmla="*/ 2 h 26"/>
                  <a:gd name="T26" fmla="*/ 31 w 85"/>
                  <a:gd name="T27" fmla="*/ 2 h 26"/>
                  <a:gd name="T28" fmla="*/ 21 w 85"/>
                  <a:gd name="T29" fmla="*/ 0 h 26"/>
                  <a:gd name="T30" fmla="*/ 20 w 85"/>
                  <a:gd name="T31" fmla="*/ 3 h 26"/>
                  <a:gd name="T32" fmla="*/ 20 w 85"/>
                  <a:gd name="T33" fmla="*/ 3 h 26"/>
                  <a:gd name="T34" fmla="*/ 30 w 85"/>
                  <a:gd name="T35" fmla="*/ 5 h 26"/>
                  <a:gd name="T36" fmla="*/ 31 w 85"/>
                  <a:gd name="T37" fmla="*/ 2 h 26"/>
                  <a:gd name="T38" fmla="*/ 46 w 85"/>
                  <a:gd name="T39" fmla="*/ 3 h 26"/>
                  <a:gd name="T40" fmla="*/ 46 w 85"/>
                  <a:gd name="T41" fmla="*/ 3 h 26"/>
                  <a:gd name="T42" fmla="*/ 36 w 85"/>
                  <a:gd name="T43" fmla="*/ 3 h 26"/>
                  <a:gd name="T44" fmla="*/ 36 w 85"/>
                  <a:gd name="T45" fmla="*/ 5 h 26"/>
                  <a:gd name="T46" fmla="*/ 36 w 85"/>
                  <a:gd name="T47" fmla="*/ 5 h 26"/>
                  <a:gd name="T48" fmla="*/ 46 w 85"/>
                  <a:gd name="T49" fmla="*/ 6 h 26"/>
                  <a:gd name="T50" fmla="*/ 46 w 85"/>
                  <a:gd name="T51" fmla="*/ 3 h 26"/>
                  <a:gd name="T52" fmla="*/ 60 w 85"/>
                  <a:gd name="T53" fmla="*/ 6 h 26"/>
                  <a:gd name="T54" fmla="*/ 60 w 85"/>
                  <a:gd name="T55" fmla="*/ 6 h 26"/>
                  <a:gd name="T56" fmla="*/ 50 w 85"/>
                  <a:gd name="T57" fmla="*/ 5 h 26"/>
                  <a:gd name="T58" fmla="*/ 50 w 85"/>
                  <a:gd name="T59" fmla="*/ 8 h 26"/>
                  <a:gd name="T60" fmla="*/ 50 w 85"/>
                  <a:gd name="T61" fmla="*/ 8 h 26"/>
                  <a:gd name="T62" fmla="*/ 60 w 85"/>
                  <a:gd name="T63" fmla="*/ 9 h 26"/>
                  <a:gd name="T64" fmla="*/ 60 w 85"/>
                  <a:gd name="T65" fmla="*/ 6 h 26"/>
                  <a:gd name="T66" fmla="*/ 75 w 85"/>
                  <a:gd name="T67" fmla="*/ 13 h 26"/>
                  <a:gd name="T68" fmla="*/ 75 w 85"/>
                  <a:gd name="T69" fmla="*/ 13 h 26"/>
                  <a:gd name="T70" fmla="*/ 66 w 85"/>
                  <a:gd name="T71" fmla="*/ 8 h 26"/>
                  <a:gd name="T72" fmla="*/ 65 w 85"/>
                  <a:gd name="T73" fmla="*/ 10 h 26"/>
                  <a:gd name="T74" fmla="*/ 65 w 85"/>
                  <a:gd name="T75" fmla="*/ 10 h 26"/>
                  <a:gd name="T76" fmla="*/ 73 w 85"/>
                  <a:gd name="T77" fmla="*/ 15 h 26"/>
                  <a:gd name="T78" fmla="*/ 75 w 85"/>
                  <a:gd name="T79" fmla="*/ 13 h 26"/>
                  <a:gd name="T80" fmla="*/ 85 w 85"/>
                  <a:gd name="T81" fmla="*/ 25 h 26"/>
                  <a:gd name="T82" fmla="*/ 85 w 85"/>
                  <a:gd name="T83" fmla="*/ 25 h 26"/>
                  <a:gd name="T84" fmla="*/ 78 w 85"/>
                  <a:gd name="T85" fmla="*/ 16 h 26"/>
                  <a:gd name="T86" fmla="*/ 76 w 85"/>
                  <a:gd name="T87" fmla="*/ 19 h 26"/>
                  <a:gd name="T88" fmla="*/ 76 w 85"/>
                  <a:gd name="T89" fmla="*/ 19 h 26"/>
                  <a:gd name="T90" fmla="*/ 84 w 85"/>
                  <a:gd name="T91" fmla="*/ 26 h 26"/>
                  <a:gd name="T92" fmla="*/ 85 w 85"/>
                  <a:gd name="T93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5" h="26">
                    <a:moveTo>
                      <a:pt x="1" y="3"/>
                    </a:moveTo>
                    <a:lnTo>
                      <a:pt x="0" y="3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3"/>
                    </a:lnTo>
                    <a:close/>
                    <a:moveTo>
                      <a:pt x="16" y="0"/>
                    </a:moveTo>
                    <a:lnTo>
                      <a:pt x="16" y="0"/>
                    </a:lnTo>
                    <a:lnTo>
                      <a:pt x="5" y="2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16" y="3"/>
                    </a:lnTo>
                    <a:lnTo>
                      <a:pt x="16" y="0"/>
                    </a:lnTo>
                    <a:close/>
                    <a:moveTo>
                      <a:pt x="31" y="2"/>
                    </a:moveTo>
                    <a:lnTo>
                      <a:pt x="31" y="2"/>
                    </a:lnTo>
                    <a:lnTo>
                      <a:pt x="21" y="0"/>
                    </a:lnTo>
                    <a:lnTo>
                      <a:pt x="20" y="3"/>
                    </a:lnTo>
                    <a:lnTo>
                      <a:pt x="20" y="3"/>
                    </a:lnTo>
                    <a:lnTo>
                      <a:pt x="30" y="5"/>
                    </a:lnTo>
                    <a:lnTo>
                      <a:pt x="31" y="2"/>
                    </a:lnTo>
                    <a:close/>
                    <a:moveTo>
                      <a:pt x="46" y="3"/>
                    </a:moveTo>
                    <a:lnTo>
                      <a:pt x="46" y="3"/>
                    </a:lnTo>
                    <a:lnTo>
                      <a:pt x="36" y="3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46" y="6"/>
                    </a:lnTo>
                    <a:lnTo>
                      <a:pt x="46" y="3"/>
                    </a:lnTo>
                    <a:close/>
                    <a:moveTo>
                      <a:pt x="60" y="6"/>
                    </a:moveTo>
                    <a:lnTo>
                      <a:pt x="60" y="6"/>
                    </a:lnTo>
                    <a:lnTo>
                      <a:pt x="50" y="5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60" y="9"/>
                    </a:lnTo>
                    <a:lnTo>
                      <a:pt x="60" y="6"/>
                    </a:lnTo>
                    <a:close/>
                    <a:moveTo>
                      <a:pt x="75" y="13"/>
                    </a:moveTo>
                    <a:lnTo>
                      <a:pt x="75" y="13"/>
                    </a:lnTo>
                    <a:lnTo>
                      <a:pt x="66" y="8"/>
                    </a:lnTo>
                    <a:lnTo>
                      <a:pt x="65" y="10"/>
                    </a:lnTo>
                    <a:lnTo>
                      <a:pt x="65" y="10"/>
                    </a:lnTo>
                    <a:lnTo>
                      <a:pt x="73" y="15"/>
                    </a:lnTo>
                    <a:lnTo>
                      <a:pt x="75" y="13"/>
                    </a:lnTo>
                    <a:close/>
                    <a:moveTo>
                      <a:pt x="85" y="25"/>
                    </a:moveTo>
                    <a:lnTo>
                      <a:pt x="85" y="25"/>
                    </a:lnTo>
                    <a:lnTo>
                      <a:pt x="78" y="16"/>
                    </a:lnTo>
                    <a:lnTo>
                      <a:pt x="76" y="19"/>
                    </a:lnTo>
                    <a:lnTo>
                      <a:pt x="76" y="19"/>
                    </a:lnTo>
                    <a:lnTo>
                      <a:pt x="84" y="26"/>
                    </a:lnTo>
                    <a:lnTo>
                      <a:pt x="85" y="2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5" name="Freeform 1683"/>
              <p:cNvSpPr>
                <a:spLocks noEditPoints="1"/>
              </p:cNvSpPr>
              <p:nvPr/>
            </p:nvSpPr>
            <p:spPr bwMode="auto">
              <a:xfrm>
                <a:off x="4786669" y="2344696"/>
                <a:ext cx="264132" cy="131572"/>
              </a:xfrm>
              <a:custGeom>
                <a:avLst/>
                <a:gdLst>
                  <a:gd name="T0" fmla="*/ 0 w 267"/>
                  <a:gd name="T1" fmla="*/ 31 h 133"/>
                  <a:gd name="T2" fmla="*/ 26 w 267"/>
                  <a:gd name="T3" fmla="*/ 28 h 133"/>
                  <a:gd name="T4" fmla="*/ 15 w 267"/>
                  <a:gd name="T5" fmla="*/ 31 h 133"/>
                  <a:gd name="T6" fmla="*/ 40 w 267"/>
                  <a:gd name="T7" fmla="*/ 29 h 133"/>
                  <a:gd name="T8" fmla="*/ 40 w 267"/>
                  <a:gd name="T9" fmla="*/ 31 h 133"/>
                  <a:gd name="T10" fmla="*/ 46 w 267"/>
                  <a:gd name="T11" fmla="*/ 29 h 133"/>
                  <a:gd name="T12" fmla="*/ 56 w 267"/>
                  <a:gd name="T13" fmla="*/ 29 h 133"/>
                  <a:gd name="T14" fmla="*/ 60 w 267"/>
                  <a:gd name="T15" fmla="*/ 29 h 133"/>
                  <a:gd name="T16" fmla="*/ 70 w 267"/>
                  <a:gd name="T17" fmla="*/ 31 h 133"/>
                  <a:gd name="T18" fmla="*/ 76 w 267"/>
                  <a:gd name="T19" fmla="*/ 29 h 133"/>
                  <a:gd name="T20" fmla="*/ 86 w 267"/>
                  <a:gd name="T21" fmla="*/ 28 h 133"/>
                  <a:gd name="T22" fmla="*/ 92 w 267"/>
                  <a:gd name="T23" fmla="*/ 28 h 133"/>
                  <a:gd name="T24" fmla="*/ 94 w 267"/>
                  <a:gd name="T25" fmla="*/ 31 h 133"/>
                  <a:gd name="T26" fmla="*/ 112 w 267"/>
                  <a:gd name="T27" fmla="*/ 17 h 133"/>
                  <a:gd name="T28" fmla="*/ 107 w 267"/>
                  <a:gd name="T29" fmla="*/ 26 h 133"/>
                  <a:gd name="T30" fmla="*/ 126 w 267"/>
                  <a:gd name="T31" fmla="*/ 9 h 133"/>
                  <a:gd name="T32" fmla="*/ 117 w 267"/>
                  <a:gd name="T33" fmla="*/ 15 h 133"/>
                  <a:gd name="T34" fmla="*/ 121 w 267"/>
                  <a:gd name="T35" fmla="*/ 15 h 133"/>
                  <a:gd name="T36" fmla="*/ 141 w 267"/>
                  <a:gd name="T37" fmla="*/ 7 h 133"/>
                  <a:gd name="T38" fmla="*/ 131 w 267"/>
                  <a:gd name="T39" fmla="*/ 10 h 133"/>
                  <a:gd name="T40" fmla="*/ 141 w 267"/>
                  <a:gd name="T41" fmla="*/ 7 h 133"/>
                  <a:gd name="T42" fmla="*/ 146 w 267"/>
                  <a:gd name="T43" fmla="*/ 6 h 133"/>
                  <a:gd name="T44" fmla="*/ 156 w 267"/>
                  <a:gd name="T45" fmla="*/ 4 h 133"/>
                  <a:gd name="T46" fmla="*/ 166 w 267"/>
                  <a:gd name="T47" fmla="*/ 7 h 133"/>
                  <a:gd name="T48" fmla="*/ 160 w 267"/>
                  <a:gd name="T49" fmla="*/ 0 h 133"/>
                  <a:gd name="T50" fmla="*/ 160 w 267"/>
                  <a:gd name="T51" fmla="*/ 3 h 133"/>
                  <a:gd name="T52" fmla="*/ 165 w 267"/>
                  <a:gd name="T53" fmla="*/ 9 h 133"/>
                  <a:gd name="T54" fmla="*/ 168 w 267"/>
                  <a:gd name="T55" fmla="*/ 13 h 133"/>
                  <a:gd name="T56" fmla="*/ 172 w 267"/>
                  <a:gd name="T57" fmla="*/ 23 h 133"/>
                  <a:gd name="T58" fmla="*/ 178 w 267"/>
                  <a:gd name="T59" fmla="*/ 32 h 133"/>
                  <a:gd name="T60" fmla="*/ 176 w 267"/>
                  <a:gd name="T61" fmla="*/ 33 h 133"/>
                  <a:gd name="T62" fmla="*/ 191 w 267"/>
                  <a:gd name="T63" fmla="*/ 45 h 133"/>
                  <a:gd name="T64" fmla="*/ 182 w 267"/>
                  <a:gd name="T65" fmla="*/ 39 h 133"/>
                  <a:gd name="T66" fmla="*/ 201 w 267"/>
                  <a:gd name="T67" fmla="*/ 57 h 133"/>
                  <a:gd name="T68" fmla="*/ 192 w 267"/>
                  <a:gd name="T69" fmla="*/ 51 h 133"/>
                  <a:gd name="T70" fmla="*/ 199 w 267"/>
                  <a:gd name="T71" fmla="*/ 58 h 133"/>
                  <a:gd name="T72" fmla="*/ 205 w 267"/>
                  <a:gd name="T73" fmla="*/ 58 h 133"/>
                  <a:gd name="T74" fmla="*/ 215 w 267"/>
                  <a:gd name="T75" fmla="*/ 59 h 133"/>
                  <a:gd name="T76" fmla="*/ 220 w 267"/>
                  <a:gd name="T77" fmla="*/ 64 h 133"/>
                  <a:gd name="T78" fmla="*/ 244 w 267"/>
                  <a:gd name="T79" fmla="*/ 68 h 133"/>
                  <a:gd name="T80" fmla="*/ 234 w 267"/>
                  <a:gd name="T81" fmla="*/ 68 h 133"/>
                  <a:gd name="T82" fmla="*/ 244 w 267"/>
                  <a:gd name="T83" fmla="*/ 68 h 133"/>
                  <a:gd name="T84" fmla="*/ 250 w 267"/>
                  <a:gd name="T85" fmla="*/ 68 h 133"/>
                  <a:gd name="T86" fmla="*/ 250 w 267"/>
                  <a:gd name="T87" fmla="*/ 71 h 133"/>
                  <a:gd name="T88" fmla="*/ 267 w 267"/>
                  <a:gd name="T89" fmla="*/ 86 h 133"/>
                  <a:gd name="T90" fmla="*/ 260 w 267"/>
                  <a:gd name="T91" fmla="*/ 77 h 133"/>
                  <a:gd name="T92" fmla="*/ 267 w 267"/>
                  <a:gd name="T93" fmla="*/ 86 h 133"/>
                  <a:gd name="T94" fmla="*/ 267 w 267"/>
                  <a:gd name="T95" fmla="*/ 91 h 133"/>
                  <a:gd name="T96" fmla="*/ 265 w 267"/>
                  <a:gd name="T97" fmla="*/ 100 h 133"/>
                  <a:gd name="T98" fmla="*/ 266 w 267"/>
                  <a:gd name="T99" fmla="*/ 112 h 133"/>
                  <a:gd name="T100" fmla="*/ 265 w 267"/>
                  <a:gd name="T101" fmla="*/ 106 h 133"/>
                  <a:gd name="T102" fmla="*/ 265 w 267"/>
                  <a:gd name="T103" fmla="*/ 116 h 133"/>
                  <a:gd name="T104" fmla="*/ 262 w 267"/>
                  <a:gd name="T105" fmla="*/ 120 h 133"/>
                  <a:gd name="T106" fmla="*/ 252 w 267"/>
                  <a:gd name="T107" fmla="*/ 125 h 133"/>
                  <a:gd name="T108" fmla="*/ 243 w 267"/>
                  <a:gd name="T109" fmla="*/ 132 h 133"/>
                  <a:gd name="T110" fmla="*/ 246 w 267"/>
                  <a:gd name="T111" fmla="*/ 129 h 133"/>
                  <a:gd name="T112" fmla="*/ 246 w 267"/>
                  <a:gd name="T113" fmla="*/ 126 h 133"/>
                  <a:gd name="T114" fmla="*/ 241 w 267"/>
                  <a:gd name="T115" fmla="*/ 129 h 133"/>
                  <a:gd name="T116" fmla="*/ 243 w 267"/>
                  <a:gd name="T117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7" h="133">
                    <a:moveTo>
                      <a:pt x="10" y="28"/>
                    </a:moveTo>
                    <a:lnTo>
                      <a:pt x="10" y="28"/>
                    </a:lnTo>
                    <a:lnTo>
                      <a:pt x="0" y="28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10" y="31"/>
                    </a:lnTo>
                    <a:lnTo>
                      <a:pt x="10" y="28"/>
                    </a:lnTo>
                    <a:close/>
                    <a:moveTo>
                      <a:pt x="26" y="28"/>
                    </a:moveTo>
                    <a:lnTo>
                      <a:pt x="26" y="28"/>
                    </a:lnTo>
                    <a:lnTo>
                      <a:pt x="15" y="28"/>
                    </a:lnTo>
                    <a:lnTo>
                      <a:pt x="15" y="31"/>
                    </a:lnTo>
                    <a:lnTo>
                      <a:pt x="15" y="31"/>
                    </a:lnTo>
                    <a:lnTo>
                      <a:pt x="26" y="31"/>
                    </a:lnTo>
                    <a:lnTo>
                      <a:pt x="26" y="28"/>
                    </a:lnTo>
                    <a:close/>
                    <a:moveTo>
                      <a:pt x="40" y="29"/>
                    </a:moveTo>
                    <a:lnTo>
                      <a:pt x="40" y="29"/>
                    </a:lnTo>
                    <a:lnTo>
                      <a:pt x="30" y="28"/>
                    </a:lnTo>
                    <a:lnTo>
                      <a:pt x="30" y="31"/>
                    </a:lnTo>
                    <a:lnTo>
                      <a:pt x="30" y="31"/>
                    </a:lnTo>
                    <a:lnTo>
                      <a:pt x="40" y="31"/>
                    </a:lnTo>
                    <a:lnTo>
                      <a:pt x="40" y="29"/>
                    </a:lnTo>
                    <a:close/>
                    <a:moveTo>
                      <a:pt x="56" y="29"/>
                    </a:moveTo>
                    <a:lnTo>
                      <a:pt x="56" y="29"/>
                    </a:lnTo>
                    <a:lnTo>
                      <a:pt x="46" y="29"/>
                    </a:lnTo>
                    <a:lnTo>
                      <a:pt x="46" y="31"/>
                    </a:lnTo>
                    <a:lnTo>
                      <a:pt x="46" y="31"/>
                    </a:lnTo>
                    <a:lnTo>
                      <a:pt x="56" y="31"/>
                    </a:lnTo>
                    <a:lnTo>
                      <a:pt x="56" y="29"/>
                    </a:lnTo>
                    <a:close/>
                    <a:moveTo>
                      <a:pt x="70" y="29"/>
                    </a:moveTo>
                    <a:lnTo>
                      <a:pt x="70" y="29"/>
                    </a:lnTo>
                    <a:lnTo>
                      <a:pt x="62" y="29"/>
                    </a:lnTo>
                    <a:lnTo>
                      <a:pt x="60" y="29"/>
                    </a:lnTo>
                    <a:lnTo>
                      <a:pt x="60" y="31"/>
                    </a:lnTo>
                    <a:lnTo>
                      <a:pt x="62" y="31"/>
                    </a:lnTo>
                    <a:lnTo>
                      <a:pt x="62" y="31"/>
                    </a:lnTo>
                    <a:lnTo>
                      <a:pt x="70" y="31"/>
                    </a:lnTo>
                    <a:lnTo>
                      <a:pt x="70" y="29"/>
                    </a:lnTo>
                    <a:close/>
                    <a:moveTo>
                      <a:pt x="86" y="28"/>
                    </a:moveTo>
                    <a:lnTo>
                      <a:pt x="86" y="28"/>
                    </a:lnTo>
                    <a:lnTo>
                      <a:pt x="76" y="29"/>
                    </a:lnTo>
                    <a:lnTo>
                      <a:pt x="76" y="31"/>
                    </a:lnTo>
                    <a:lnTo>
                      <a:pt x="76" y="31"/>
                    </a:lnTo>
                    <a:lnTo>
                      <a:pt x="86" y="31"/>
                    </a:lnTo>
                    <a:lnTo>
                      <a:pt x="86" y="28"/>
                    </a:lnTo>
                    <a:close/>
                    <a:moveTo>
                      <a:pt x="101" y="26"/>
                    </a:moveTo>
                    <a:lnTo>
                      <a:pt x="101" y="26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1" y="28"/>
                    </a:lnTo>
                    <a:lnTo>
                      <a:pt x="91" y="31"/>
                    </a:lnTo>
                    <a:lnTo>
                      <a:pt x="91" y="31"/>
                    </a:lnTo>
                    <a:lnTo>
                      <a:pt x="94" y="31"/>
                    </a:lnTo>
                    <a:lnTo>
                      <a:pt x="94" y="31"/>
                    </a:lnTo>
                    <a:lnTo>
                      <a:pt x="101" y="28"/>
                    </a:lnTo>
                    <a:lnTo>
                      <a:pt x="101" y="26"/>
                    </a:lnTo>
                    <a:close/>
                    <a:moveTo>
                      <a:pt x="112" y="17"/>
                    </a:moveTo>
                    <a:lnTo>
                      <a:pt x="112" y="17"/>
                    </a:lnTo>
                    <a:lnTo>
                      <a:pt x="105" y="23"/>
                    </a:lnTo>
                    <a:lnTo>
                      <a:pt x="107" y="26"/>
                    </a:lnTo>
                    <a:lnTo>
                      <a:pt x="107" y="26"/>
                    </a:lnTo>
                    <a:lnTo>
                      <a:pt x="115" y="20"/>
                    </a:lnTo>
                    <a:lnTo>
                      <a:pt x="112" y="17"/>
                    </a:lnTo>
                    <a:close/>
                    <a:moveTo>
                      <a:pt x="126" y="9"/>
                    </a:moveTo>
                    <a:lnTo>
                      <a:pt x="126" y="9"/>
                    </a:lnTo>
                    <a:lnTo>
                      <a:pt x="121" y="10"/>
                    </a:lnTo>
                    <a:lnTo>
                      <a:pt x="118" y="13"/>
                    </a:lnTo>
                    <a:lnTo>
                      <a:pt x="118" y="13"/>
                    </a:lnTo>
                    <a:lnTo>
                      <a:pt x="117" y="15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21" y="15"/>
                    </a:lnTo>
                    <a:lnTo>
                      <a:pt x="121" y="15"/>
                    </a:lnTo>
                    <a:lnTo>
                      <a:pt x="123" y="12"/>
                    </a:lnTo>
                    <a:lnTo>
                      <a:pt x="127" y="12"/>
                    </a:lnTo>
                    <a:lnTo>
                      <a:pt x="126" y="9"/>
                    </a:lnTo>
                    <a:close/>
                    <a:moveTo>
                      <a:pt x="141" y="7"/>
                    </a:moveTo>
                    <a:lnTo>
                      <a:pt x="140" y="7"/>
                    </a:lnTo>
                    <a:lnTo>
                      <a:pt x="140" y="7"/>
                    </a:lnTo>
                    <a:lnTo>
                      <a:pt x="131" y="7"/>
                    </a:lnTo>
                    <a:lnTo>
                      <a:pt x="131" y="10"/>
                    </a:lnTo>
                    <a:lnTo>
                      <a:pt x="131" y="10"/>
                    </a:lnTo>
                    <a:lnTo>
                      <a:pt x="140" y="9"/>
                    </a:lnTo>
                    <a:lnTo>
                      <a:pt x="141" y="9"/>
                    </a:lnTo>
                    <a:lnTo>
                      <a:pt x="141" y="7"/>
                    </a:lnTo>
                    <a:close/>
                    <a:moveTo>
                      <a:pt x="154" y="3"/>
                    </a:moveTo>
                    <a:lnTo>
                      <a:pt x="154" y="3"/>
                    </a:lnTo>
                    <a:lnTo>
                      <a:pt x="150" y="4"/>
                    </a:lnTo>
                    <a:lnTo>
                      <a:pt x="146" y="6"/>
                    </a:lnTo>
                    <a:lnTo>
                      <a:pt x="146" y="9"/>
                    </a:lnTo>
                    <a:lnTo>
                      <a:pt x="146" y="9"/>
                    </a:lnTo>
                    <a:lnTo>
                      <a:pt x="152" y="7"/>
                    </a:lnTo>
                    <a:lnTo>
                      <a:pt x="156" y="4"/>
                    </a:lnTo>
                    <a:lnTo>
                      <a:pt x="154" y="3"/>
                    </a:lnTo>
                    <a:close/>
                    <a:moveTo>
                      <a:pt x="166" y="9"/>
                    </a:moveTo>
                    <a:lnTo>
                      <a:pt x="166" y="7"/>
                    </a:lnTo>
                    <a:lnTo>
                      <a:pt x="166" y="7"/>
                    </a:lnTo>
                    <a:lnTo>
                      <a:pt x="163" y="2"/>
                    </a:lnTo>
                    <a:lnTo>
                      <a:pt x="163" y="2"/>
                    </a:lnTo>
                    <a:lnTo>
                      <a:pt x="162" y="0"/>
                    </a:lnTo>
                    <a:lnTo>
                      <a:pt x="160" y="0"/>
                    </a:lnTo>
                    <a:lnTo>
                      <a:pt x="160" y="0"/>
                    </a:lnTo>
                    <a:lnTo>
                      <a:pt x="160" y="3"/>
                    </a:lnTo>
                    <a:lnTo>
                      <a:pt x="160" y="3"/>
                    </a:lnTo>
                    <a:lnTo>
                      <a:pt x="160" y="3"/>
                    </a:lnTo>
                    <a:lnTo>
                      <a:pt x="162" y="3"/>
                    </a:lnTo>
                    <a:lnTo>
                      <a:pt x="162" y="3"/>
                    </a:lnTo>
                    <a:lnTo>
                      <a:pt x="163" y="9"/>
                    </a:lnTo>
                    <a:lnTo>
                      <a:pt x="165" y="9"/>
                    </a:lnTo>
                    <a:lnTo>
                      <a:pt x="166" y="9"/>
                    </a:lnTo>
                    <a:close/>
                    <a:moveTo>
                      <a:pt x="172" y="23"/>
                    </a:moveTo>
                    <a:lnTo>
                      <a:pt x="172" y="23"/>
                    </a:lnTo>
                    <a:lnTo>
                      <a:pt x="168" y="13"/>
                    </a:lnTo>
                    <a:lnTo>
                      <a:pt x="166" y="15"/>
                    </a:lnTo>
                    <a:lnTo>
                      <a:pt x="166" y="15"/>
                    </a:lnTo>
                    <a:lnTo>
                      <a:pt x="169" y="23"/>
                    </a:lnTo>
                    <a:lnTo>
                      <a:pt x="172" y="23"/>
                    </a:lnTo>
                    <a:close/>
                    <a:moveTo>
                      <a:pt x="181" y="35"/>
                    </a:moveTo>
                    <a:lnTo>
                      <a:pt x="181" y="35"/>
                    </a:lnTo>
                    <a:lnTo>
                      <a:pt x="178" y="32"/>
                    </a:lnTo>
                    <a:lnTo>
                      <a:pt x="178" y="32"/>
                    </a:lnTo>
                    <a:lnTo>
                      <a:pt x="173" y="28"/>
                    </a:lnTo>
                    <a:lnTo>
                      <a:pt x="172" y="29"/>
                    </a:lnTo>
                    <a:lnTo>
                      <a:pt x="172" y="29"/>
                    </a:lnTo>
                    <a:lnTo>
                      <a:pt x="176" y="33"/>
                    </a:lnTo>
                    <a:lnTo>
                      <a:pt x="176" y="33"/>
                    </a:lnTo>
                    <a:lnTo>
                      <a:pt x="179" y="36"/>
                    </a:lnTo>
                    <a:lnTo>
                      <a:pt x="181" y="35"/>
                    </a:lnTo>
                    <a:close/>
                    <a:moveTo>
                      <a:pt x="191" y="45"/>
                    </a:moveTo>
                    <a:lnTo>
                      <a:pt x="191" y="45"/>
                    </a:lnTo>
                    <a:lnTo>
                      <a:pt x="183" y="38"/>
                    </a:lnTo>
                    <a:lnTo>
                      <a:pt x="182" y="39"/>
                    </a:lnTo>
                    <a:lnTo>
                      <a:pt x="182" y="39"/>
                    </a:lnTo>
                    <a:lnTo>
                      <a:pt x="189" y="48"/>
                    </a:lnTo>
                    <a:lnTo>
                      <a:pt x="191" y="45"/>
                    </a:lnTo>
                    <a:close/>
                    <a:moveTo>
                      <a:pt x="201" y="57"/>
                    </a:moveTo>
                    <a:lnTo>
                      <a:pt x="201" y="57"/>
                    </a:lnTo>
                    <a:lnTo>
                      <a:pt x="198" y="54"/>
                    </a:lnTo>
                    <a:lnTo>
                      <a:pt x="198" y="54"/>
                    </a:lnTo>
                    <a:lnTo>
                      <a:pt x="194" y="49"/>
                    </a:lnTo>
                    <a:lnTo>
                      <a:pt x="192" y="51"/>
                    </a:lnTo>
                    <a:lnTo>
                      <a:pt x="192" y="51"/>
                    </a:lnTo>
                    <a:lnTo>
                      <a:pt x="196" y="57"/>
                    </a:lnTo>
                    <a:lnTo>
                      <a:pt x="196" y="57"/>
                    </a:lnTo>
                    <a:lnTo>
                      <a:pt x="199" y="58"/>
                    </a:lnTo>
                    <a:lnTo>
                      <a:pt x="201" y="57"/>
                    </a:lnTo>
                    <a:close/>
                    <a:moveTo>
                      <a:pt x="215" y="59"/>
                    </a:moveTo>
                    <a:lnTo>
                      <a:pt x="215" y="59"/>
                    </a:lnTo>
                    <a:lnTo>
                      <a:pt x="205" y="58"/>
                    </a:lnTo>
                    <a:lnTo>
                      <a:pt x="205" y="59"/>
                    </a:lnTo>
                    <a:lnTo>
                      <a:pt x="205" y="59"/>
                    </a:lnTo>
                    <a:lnTo>
                      <a:pt x="215" y="62"/>
                    </a:lnTo>
                    <a:lnTo>
                      <a:pt x="215" y="59"/>
                    </a:lnTo>
                    <a:close/>
                    <a:moveTo>
                      <a:pt x="230" y="64"/>
                    </a:moveTo>
                    <a:lnTo>
                      <a:pt x="230" y="64"/>
                    </a:lnTo>
                    <a:lnTo>
                      <a:pt x="220" y="61"/>
                    </a:lnTo>
                    <a:lnTo>
                      <a:pt x="220" y="64"/>
                    </a:lnTo>
                    <a:lnTo>
                      <a:pt x="220" y="64"/>
                    </a:lnTo>
                    <a:lnTo>
                      <a:pt x="230" y="67"/>
                    </a:lnTo>
                    <a:lnTo>
                      <a:pt x="230" y="64"/>
                    </a:lnTo>
                    <a:close/>
                    <a:moveTo>
                      <a:pt x="244" y="68"/>
                    </a:moveTo>
                    <a:lnTo>
                      <a:pt x="244" y="68"/>
                    </a:lnTo>
                    <a:lnTo>
                      <a:pt x="240" y="67"/>
                    </a:lnTo>
                    <a:lnTo>
                      <a:pt x="234" y="67"/>
                    </a:lnTo>
                    <a:lnTo>
                      <a:pt x="234" y="68"/>
                    </a:lnTo>
                    <a:lnTo>
                      <a:pt x="234" y="68"/>
                    </a:lnTo>
                    <a:lnTo>
                      <a:pt x="238" y="70"/>
                    </a:lnTo>
                    <a:lnTo>
                      <a:pt x="244" y="70"/>
                    </a:lnTo>
                    <a:lnTo>
                      <a:pt x="244" y="68"/>
                    </a:lnTo>
                    <a:close/>
                    <a:moveTo>
                      <a:pt x="259" y="73"/>
                    </a:moveTo>
                    <a:lnTo>
                      <a:pt x="259" y="73"/>
                    </a:lnTo>
                    <a:lnTo>
                      <a:pt x="256" y="70"/>
                    </a:lnTo>
                    <a:lnTo>
                      <a:pt x="250" y="68"/>
                    </a:lnTo>
                    <a:lnTo>
                      <a:pt x="250" y="68"/>
                    </a:lnTo>
                    <a:lnTo>
                      <a:pt x="250" y="71"/>
                    </a:lnTo>
                    <a:lnTo>
                      <a:pt x="250" y="71"/>
                    </a:lnTo>
                    <a:lnTo>
                      <a:pt x="250" y="71"/>
                    </a:lnTo>
                    <a:lnTo>
                      <a:pt x="254" y="71"/>
                    </a:lnTo>
                    <a:lnTo>
                      <a:pt x="257" y="74"/>
                    </a:lnTo>
                    <a:lnTo>
                      <a:pt x="259" y="73"/>
                    </a:lnTo>
                    <a:close/>
                    <a:moveTo>
                      <a:pt x="267" y="86"/>
                    </a:moveTo>
                    <a:lnTo>
                      <a:pt x="267" y="84"/>
                    </a:lnTo>
                    <a:lnTo>
                      <a:pt x="267" y="84"/>
                    </a:lnTo>
                    <a:lnTo>
                      <a:pt x="263" y="75"/>
                    </a:lnTo>
                    <a:lnTo>
                      <a:pt x="260" y="77"/>
                    </a:lnTo>
                    <a:lnTo>
                      <a:pt x="260" y="77"/>
                    </a:lnTo>
                    <a:lnTo>
                      <a:pt x="265" y="86"/>
                    </a:lnTo>
                    <a:lnTo>
                      <a:pt x="265" y="86"/>
                    </a:lnTo>
                    <a:lnTo>
                      <a:pt x="267" y="86"/>
                    </a:lnTo>
                    <a:close/>
                    <a:moveTo>
                      <a:pt x="267" y="101"/>
                    </a:moveTo>
                    <a:lnTo>
                      <a:pt x="267" y="101"/>
                    </a:lnTo>
                    <a:lnTo>
                      <a:pt x="267" y="91"/>
                    </a:lnTo>
                    <a:lnTo>
                      <a:pt x="267" y="91"/>
                    </a:lnTo>
                    <a:lnTo>
                      <a:pt x="266" y="91"/>
                    </a:lnTo>
                    <a:lnTo>
                      <a:pt x="266" y="91"/>
                    </a:lnTo>
                    <a:lnTo>
                      <a:pt x="266" y="91"/>
                    </a:lnTo>
                    <a:lnTo>
                      <a:pt x="265" y="100"/>
                    </a:lnTo>
                    <a:lnTo>
                      <a:pt x="267" y="101"/>
                    </a:lnTo>
                    <a:close/>
                    <a:moveTo>
                      <a:pt x="265" y="116"/>
                    </a:moveTo>
                    <a:lnTo>
                      <a:pt x="265" y="116"/>
                    </a:lnTo>
                    <a:lnTo>
                      <a:pt x="266" y="112"/>
                    </a:lnTo>
                    <a:lnTo>
                      <a:pt x="266" y="112"/>
                    </a:lnTo>
                    <a:lnTo>
                      <a:pt x="266" y="106"/>
                    </a:lnTo>
                    <a:lnTo>
                      <a:pt x="265" y="106"/>
                    </a:lnTo>
                    <a:lnTo>
                      <a:pt x="265" y="106"/>
                    </a:lnTo>
                    <a:lnTo>
                      <a:pt x="263" y="112"/>
                    </a:lnTo>
                    <a:lnTo>
                      <a:pt x="263" y="112"/>
                    </a:lnTo>
                    <a:lnTo>
                      <a:pt x="263" y="116"/>
                    </a:lnTo>
                    <a:lnTo>
                      <a:pt x="265" y="116"/>
                    </a:lnTo>
                    <a:close/>
                    <a:moveTo>
                      <a:pt x="253" y="128"/>
                    </a:moveTo>
                    <a:lnTo>
                      <a:pt x="253" y="128"/>
                    </a:lnTo>
                    <a:lnTo>
                      <a:pt x="257" y="125"/>
                    </a:lnTo>
                    <a:lnTo>
                      <a:pt x="262" y="120"/>
                    </a:lnTo>
                    <a:lnTo>
                      <a:pt x="260" y="119"/>
                    </a:lnTo>
                    <a:lnTo>
                      <a:pt x="260" y="119"/>
                    </a:lnTo>
                    <a:lnTo>
                      <a:pt x="256" y="122"/>
                    </a:lnTo>
                    <a:lnTo>
                      <a:pt x="252" y="125"/>
                    </a:lnTo>
                    <a:lnTo>
                      <a:pt x="253" y="128"/>
                    </a:lnTo>
                    <a:close/>
                    <a:moveTo>
                      <a:pt x="243" y="133"/>
                    </a:moveTo>
                    <a:lnTo>
                      <a:pt x="243" y="132"/>
                    </a:lnTo>
                    <a:lnTo>
                      <a:pt x="243" y="132"/>
                    </a:lnTo>
                    <a:lnTo>
                      <a:pt x="244" y="130"/>
                    </a:lnTo>
                    <a:lnTo>
                      <a:pt x="244" y="130"/>
                    </a:lnTo>
                    <a:lnTo>
                      <a:pt x="246" y="129"/>
                    </a:lnTo>
                    <a:lnTo>
                      <a:pt x="246" y="129"/>
                    </a:lnTo>
                    <a:lnTo>
                      <a:pt x="249" y="129"/>
                    </a:lnTo>
                    <a:lnTo>
                      <a:pt x="247" y="126"/>
                    </a:lnTo>
                    <a:lnTo>
                      <a:pt x="247" y="126"/>
                    </a:lnTo>
                    <a:lnTo>
                      <a:pt x="246" y="126"/>
                    </a:lnTo>
                    <a:lnTo>
                      <a:pt x="246" y="126"/>
                    </a:lnTo>
                    <a:lnTo>
                      <a:pt x="243" y="128"/>
                    </a:lnTo>
                    <a:lnTo>
                      <a:pt x="241" y="129"/>
                    </a:lnTo>
                    <a:lnTo>
                      <a:pt x="241" y="129"/>
                    </a:lnTo>
                    <a:lnTo>
                      <a:pt x="240" y="132"/>
                    </a:lnTo>
                    <a:lnTo>
                      <a:pt x="240" y="132"/>
                    </a:lnTo>
                    <a:lnTo>
                      <a:pt x="241" y="133"/>
                    </a:lnTo>
                    <a:lnTo>
                      <a:pt x="243" y="13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6" name="Freeform 1684"/>
              <p:cNvSpPr>
                <a:spLocks noEditPoints="1"/>
              </p:cNvSpPr>
              <p:nvPr/>
            </p:nvSpPr>
            <p:spPr bwMode="auto">
              <a:xfrm>
                <a:off x="4857895" y="2247748"/>
                <a:ext cx="66280" cy="108819"/>
              </a:xfrm>
              <a:custGeom>
                <a:avLst/>
                <a:gdLst>
                  <a:gd name="T0" fmla="*/ 7 w 67"/>
                  <a:gd name="T1" fmla="*/ 1 h 110"/>
                  <a:gd name="T2" fmla="*/ 0 w 67"/>
                  <a:gd name="T3" fmla="*/ 4 h 110"/>
                  <a:gd name="T4" fmla="*/ 7 w 67"/>
                  <a:gd name="T5" fmla="*/ 2 h 110"/>
                  <a:gd name="T6" fmla="*/ 17 w 67"/>
                  <a:gd name="T7" fmla="*/ 8 h 110"/>
                  <a:gd name="T8" fmla="*/ 17 w 67"/>
                  <a:gd name="T9" fmla="*/ 7 h 110"/>
                  <a:gd name="T10" fmla="*/ 17 w 67"/>
                  <a:gd name="T11" fmla="*/ 4 h 110"/>
                  <a:gd name="T12" fmla="*/ 17 w 67"/>
                  <a:gd name="T13" fmla="*/ 2 h 110"/>
                  <a:gd name="T14" fmla="*/ 16 w 67"/>
                  <a:gd name="T15" fmla="*/ 1 h 110"/>
                  <a:gd name="T16" fmla="*/ 12 w 67"/>
                  <a:gd name="T17" fmla="*/ 0 h 110"/>
                  <a:gd name="T18" fmla="*/ 12 w 67"/>
                  <a:gd name="T19" fmla="*/ 2 h 110"/>
                  <a:gd name="T20" fmla="*/ 14 w 67"/>
                  <a:gd name="T21" fmla="*/ 2 h 110"/>
                  <a:gd name="T22" fmla="*/ 14 w 67"/>
                  <a:gd name="T23" fmla="*/ 2 h 110"/>
                  <a:gd name="T24" fmla="*/ 14 w 67"/>
                  <a:gd name="T25" fmla="*/ 2 h 110"/>
                  <a:gd name="T26" fmla="*/ 14 w 67"/>
                  <a:gd name="T27" fmla="*/ 4 h 110"/>
                  <a:gd name="T28" fmla="*/ 14 w 67"/>
                  <a:gd name="T29" fmla="*/ 7 h 110"/>
                  <a:gd name="T30" fmla="*/ 14 w 67"/>
                  <a:gd name="T31" fmla="*/ 8 h 110"/>
                  <a:gd name="T32" fmla="*/ 27 w 67"/>
                  <a:gd name="T33" fmla="*/ 7 h 110"/>
                  <a:gd name="T34" fmla="*/ 19 w 67"/>
                  <a:gd name="T35" fmla="*/ 10 h 110"/>
                  <a:gd name="T36" fmla="*/ 19 w 67"/>
                  <a:gd name="T37" fmla="*/ 13 h 110"/>
                  <a:gd name="T38" fmla="*/ 29 w 67"/>
                  <a:gd name="T39" fmla="*/ 10 h 110"/>
                  <a:gd name="T40" fmla="*/ 39 w 67"/>
                  <a:gd name="T41" fmla="*/ 16 h 110"/>
                  <a:gd name="T42" fmla="*/ 38 w 67"/>
                  <a:gd name="T43" fmla="*/ 10 h 110"/>
                  <a:gd name="T44" fmla="*/ 35 w 67"/>
                  <a:gd name="T45" fmla="*/ 7 h 110"/>
                  <a:gd name="T46" fmla="*/ 33 w 67"/>
                  <a:gd name="T47" fmla="*/ 7 h 110"/>
                  <a:gd name="T48" fmla="*/ 33 w 67"/>
                  <a:gd name="T49" fmla="*/ 8 h 110"/>
                  <a:gd name="T50" fmla="*/ 35 w 67"/>
                  <a:gd name="T51" fmla="*/ 11 h 110"/>
                  <a:gd name="T52" fmla="*/ 38 w 67"/>
                  <a:gd name="T53" fmla="*/ 17 h 110"/>
                  <a:gd name="T54" fmla="*/ 45 w 67"/>
                  <a:gd name="T55" fmla="*/ 30 h 110"/>
                  <a:gd name="T56" fmla="*/ 40 w 67"/>
                  <a:gd name="T57" fmla="*/ 20 h 110"/>
                  <a:gd name="T58" fmla="*/ 39 w 67"/>
                  <a:gd name="T59" fmla="*/ 21 h 110"/>
                  <a:gd name="T60" fmla="*/ 45 w 67"/>
                  <a:gd name="T61" fmla="*/ 30 h 110"/>
                  <a:gd name="T62" fmla="*/ 49 w 67"/>
                  <a:gd name="T63" fmla="*/ 44 h 110"/>
                  <a:gd name="T64" fmla="*/ 43 w 67"/>
                  <a:gd name="T65" fmla="*/ 36 h 110"/>
                  <a:gd name="T66" fmla="*/ 46 w 67"/>
                  <a:gd name="T67" fmla="*/ 46 h 110"/>
                  <a:gd name="T68" fmla="*/ 56 w 67"/>
                  <a:gd name="T69" fmla="*/ 58 h 110"/>
                  <a:gd name="T70" fmla="*/ 52 w 67"/>
                  <a:gd name="T71" fmla="*/ 55 h 110"/>
                  <a:gd name="T72" fmla="*/ 51 w 67"/>
                  <a:gd name="T73" fmla="*/ 49 h 110"/>
                  <a:gd name="T74" fmla="*/ 48 w 67"/>
                  <a:gd name="T75" fmla="*/ 50 h 110"/>
                  <a:gd name="T76" fmla="*/ 51 w 67"/>
                  <a:gd name="T77" fmla="*/ 56 h 110"/>
                  <a:gd name="T78" fmla="*/ 56 w 67"/>
                  <a:gd name="T79" fmla="*/ 58 h 110"/>
                  <a:gd name="T80" fmla="*/ 67 w 67"/>
                  <a:gd name="T81" fmla="*/ 69 h 110"/>
                  <a:gd name="T82" fmla="*/ 65 w 67"/>
                  <a:gd name="T83" fmla="*/ 68 h 110"/>
                  <a:gd name="T84" fmla="*/ 59 w 67"/>
                  <a:gd name="T85" fmla="*/ 60 h 110"/>
                  <a:gd name="T86" fmla="*/ 58 w 67"/>
                  <a:gd name="T87" fmla="*/ 62 h 110"/>
                  <a:gd name="T88" fmla="*/ 64 w 67"/>
                  <a:gd name="T89" fmla="*/ 69 h 110"/>
                  <a:gd name="T90" fmla="*/ 67 w 67"/>
                  <a:gd name="T91" fmla="*/ 69 h 110"/>
                  <a:gd name="T92" fmla="*/ 59 w 67"/>
                  <a:gd name="T93" fmla="*/ 84 h 110"/>
                  <a:gd name="T94" fmla="*/ 65 w 67"/>
                  <a:gd name="T95" fmla="*/ 75 h 110"/>
                  <a:gd name="T96" fmla="*/ 64 w 67"/>
                  <a:gd name="T97" fmla="*/ 73 h 110"/>
                  <a:gd name="T98" fmla="*/ 58 w 67"/>
                  <a:gd name="T99" fmla="*/ 82 h 110"/>
                  <a:gd name="T100" fmla="*/ 51 w 67"/>
                  <a:gd name="T101" fmla="*/ 95 h 110"/>
                  <a:gd name="T102" fmla="*/ 52 w 67"/>
                  <a:gd name="T103" fmla="*/ 91 h 110"/>
                  <a:gd name="T104" fmla="*/ 56 w 67"/>
                  <a:gd name="T105" fmla="*/ 86 h 110"/>
                  <a:gd name="T106" fmla="*/ 54 w 67"/>
                  <a:gd name="T107" fmla="*/ 85 h 110"/>
                  <a:gd name="T108" fmla="*/ 51 w 67"/>
                  <a:gd name="T109" fmla="*/ 89 h 110"/>
                  <a:gd name="T110" fmla="*/ 51 w 67"/>
                  <a:gd name="T111" fmla="*/ 95 h 110"/>
                  <a:gd name="T112" fmla="*/ 51 w 67"/>
                  <a:gd name="T113" fmla="*/ 110 h 110"/>
                  <a:gd name="T114" fmla="*/ 51 w 67"/>
                  <a:gd name="T115" fmla="*/ 105 h 110"/>
                  <a:gd name="T116" fmla="*/ 48 w 67"/>
                  <a:gd name="T117" fmla="*/ 100 h 110"/>
                  <a:gd name="T118" fmla="*/ 48 w 67"/>
                  <a:gd name="T119" fmla="*/ 105 h 110"/>
                  <a:gd name="T120" fmla="*/ 48 w 67"/>
                  <a:gd name="T121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7" h="110">
                    <a:moveTo>
                      <a:pt x="7" y="1"/>
                    </a:moveTo>
                    <a:lnTo>
                      <a:pt x="7" y="1"/>
                    </a:lnTo>
                    <a:lnTo>
                      <a:pt x="0" y="1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7" y="2"/>
                    </a:lnTo>
                    <a:lnTo>
                      <a:pt x="7" y="1"/>
                    </a:lnTo>
                    <a:close/>
                    <a:moveTo>
                      <a:pt x="17" y="8"/>
                    </a:moveTo>
                    <a:lnTo>
                      <a:pt x="17" y="8"/>
                    </a:lnTo>
                    <a:lnTo>
                      <a:pt x="17" y="7"/>
                    </a:lnTo>
                    <a:lnTo>
                      <a:pt x="17" y="7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7" y="2"/>
                    </a:lnTo>
                    <a:lnTo>
                      <a:pt x="16" y="1"/>
                    </a:lnTo>
                    <a:lnTo>
                      <a:pt x="16" y="1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8"/>
                    </a:lnTo>
                    <a:lnTo>
                      <a:pt x="17" y="8"/>
                    </a:lnTo>
                    <a:close/>
                    <a:moveTo>
                      <a:pt x="27" y="7"/>
                    </a:moveTo>
                    <a:lnTo>
                      <a:pt x="27" y="7"/>
                    </a:lnTo>
                    <a:lnTo>
                      <a:pt x="19" y="10"/>
                    </a:lnTo>
                    <a:lnTo>
                      <a:pt x="19" y="13"/>
                    </a:lnTo>
                    <a:lnTo>
                      <a:pt x="19" y="13"/>
                    </a:lnTo>
                    <a:lnTo>
                      <a:pt x="23" y="11"/>
                    </a:lnTo>
                    <a:lnTo>
                      <a:pt x="29" y="10"/>
                    </a:lnTo>
                    <a:lnTo>
                      <a:pt x="27" y="7"/>
                    </a:lnTo>
                    <a:close/>
                    <a:moveTo>
                      <a:pt x="39" y="16"/>
                    </a:moveTo>
                    <a:lnTo>
                      <a:pt x="39" y="1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33" y="7"/>
                    </a:lnTo>
                    <a:lnTo>
                      <a:pt x="33" y="8"/>
                    </a:lnTo>
                    <a:lnTo>
                      <a:pt x="33" y="8"/>
                    </a:lnTo>
                    <a:lnTo>
                      <a:pt x="33" y="8"/>
                    </a:lnTo>
                    <a:lnTo>
                      <a:pt x="35" y="11"/>
                    </a:lnTo>
                    <a:lnTo>
                      <a:pt x="35" y="11"/>
                    </a:lnTo>
                    <a:lnTo>
                      <a:pt x="38" y="17"/>
                    </a:lnTo>
                    <a:lnTo>
                      <a:pt x="39" y="16"/>
                    </a:lnTo>
                    <a:close/>
                    <a:moveTo>
                      <a:pt x="45" y="30"/>
                    </a:moveTo>
                    <a:lnTo>
                      <a:pt x="45" y="30"/>
                    </a:lnTo>
                    <a:lnTo>
                      <a:pt x="40" y="20"/>
                    </a:lnTo>
                    <a:lnTo>
                      <a:pt x="39" y="21"/>
                    </a:lnTo>
                    <a:lnTo>
                      <a:pt x="39" y="21"/>
                    </a:lnTo>
                    <a:lnTo>
                      <a:pt x="42" y="31"/>
                    </a:lnTo>
                    <a:lnTo>
                      <a:pt x="45" y="30"/>
                    </a:lnTo>
                    <a:close/>
                    <a:moveTo>
                      <a:pt x="49" y="44"/>
                    </a:moveTo>
                    <a:lnTo>
                      <a:pt x="49" y="44"/>
                    </a:lnTo>
                    <a:lnTo>
                      <a:pt x="46" y="34"/>
                    </a:lnTo>
                    <a:lnTo>
                      <a:pt x="43" y="36"/>
                    </a:lnTo>
                    <a:lnTo>
                      <a:pt x="43" y="36"/>
                    </a:lnTo>
                    <a:lnTo>
                      <a:pt x="46" y="46"/>
                    </a:lnTo>
                    <a:lnTo>
                      <a:pt x="49" y="44"/>
                    </a:lnTo>
                    <a:close/>
                    <a:moveTo>
                      <a:pt x="56" y="58"/>
                    </a:moveTo>
                    <a:lnTo>
                      <a:pt x="56" y="58"/>
                    </a:lnTo>
                    <a:lnTo>
                      <a:pt x="52" y="55"/>
                    </a:lnTo>
                    <a:lnTo>
                      <a:pt x="51" y="50"/>
                    </a:lnTo>
                    <a:lnTo>
                      <a:pt x="51" y="49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1" y="56"/>
                    </a:lnTo>
                    <a:lnTo>
                      <a:pt x="55" y="59"/>
                    </a:lnTo>
                    <a:lnTo>
                      <a:pt x="56" y="58"/>
                    </a:lnTo>
                    <a:lnTo>
                      <a:pt x="56" y="58"/>
                    </a:lnTo>
                    <a:close/>
                    <a:moveTo>
                      <a:pt x="67" y="69"/>
                    </a:moveTo>
                    <a:lnTo>
                      <a:pt x="65" y="68"/>
                    </a:lnTo>
                    <a:lnTo>
                      <a:pt x="65" y="68"/>
                    </a:lnTo>
                    <a:lnTo>
                      <a:pt x="64" y="63"/>
                    </a:lnTo>
                    <a:lnTo>
                      <a:pt x="59" y="60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61" y="65"/>
                    </a:lnTo>
                    <a:lnTo>
                      <a:pt x="64" y="69"/>
                    </a:lnTo>
                    <a:lnTo>
                      <a:pt x="64" y="69"/>
                    </a:lnTo>
                    <a:lnTo>
                      <a:pt x="67" y="69"/>
                    </a:lnTo>
                    <a:close/>
                    <a:moveTo>
                      <a:pt x="59" y="84"/>
                    </a:moveTo>
                    <a:lnTo>
                      <a:pt x="59" y="84"/>
                    </a:lnTo>
                    <a:lnTo>
                      <a:pt x="64" y="79"/>
                    </a:lnTo>
                    <a:lnTo>
                      <a:pt x="65" y="75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61" y="78"/>
                    </a:lnTo>
                    <a:lnTo>
                      <a:pt x="58" y="82"/>
                    </a:lnTo>
                    <a:lnTo>
                      <a:pt x="59" y="84"/>
                    </a:lnTo>
                    <a:close/>
                    <a:moveTo>
                      <a:pt x="51" y="95"/>
                    </a:moveTo>
                    <a:lnTo>
                      <a:pt x="51" y="95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86"/>
                    </a:lnTo>
                    <a:lnTo>
                      <a:pt x="54" y="85"/>
                    </a:lnTo>
                    <a:lnTo>
                      <a:pt x="54" y="85"/>
                    </a:lnTo>
                    <a:lnTo>
                      <a:pt x="51" y="89"/>
                    </a:lnTo>
                    <a:lnTo>
                      <a:pt x="51" y="89"/>
                    </a:lnTo>
                    <a:lnTo>
                      <a:pt x="49" y="94"/>
                    </a:lnTo>
                    <a:lnTo>
                      <a:pt x="51" y="95"/>
                    </a:lnTo>
                    <a:close/>
                    <a:moveTo>
                      <a:pt x="51" y="110"/>
                    </a:moveTo>
                    <a:lnTo>
                      <a:pt x="51" y="110"/>
                    </a:lnTo>
                    <a:lnTo>
                      <a:pt x="51" y="105"/>
                    </a:lnTo>
                    <a:lnTo>
                      <a:pt x="51" y="105"/>
                    </a:lnTo>
                    <a:lnTo>
                      <a:pt x="51" y="100"/>
                    </a:lnTo>
                    <a:lnTo>
                      <a:pt x="48" y="100"/>
                    </a:lnTo>
                    <a:lnTo>
                      <a:pt x="48" y="100"/>
                    </a:lnTo>
                    <a:lnTo>
                      <a:pt x="48" y="105"/>
                    </a:lnTo>
                    <a:lnTo>
                      <a:pt x="48" y="105"/>
                    </a:lnTo>
                    <a:lnTo>
                      <a:pt x="48" y="110"/>
                    </a:lnTo>
                    <a:lnTo>
                      <a:pt x="51" y="1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8" name="Freeform 1686"/>
              <p:cNvSpPr>
                <a:spLocks noEditPoints="1"/>
              </p:cNvSpPr>
              <p:nvPr/>
            </p:nvSpPr>
            <p:spPr bwMode="auto">
              <a:xfrm>
                <a:off x="4604645" y="2307104"/>
                <a:ext cx="113765" cy="207744"/>
              </a:xfrm>
              <a:custGeom>
                <a:avLst/>
                <a:gdLst>
                  <a:gd name="T0" fmla="*/ 31 w 115"/>
                  <a:gd name="T1" fmla="*/ 0 h 210"/>
                  <a:gd name="T2" fmla="*/ 34 w 115"/>
                  <a:gd name="T3" fmla="*/ 18 h 210"/>
                  <a:gd name="T4" fmla="*/ 31 w 115"/>
                  <a:gd name="T5" fmla="*/ 8 h 210"/>
                  <a:gd name="T6" fmla="*/ 34 w 115"/>
                  <a:gd name="T7" fmla="*/ 32 h 210"/>
                  <a:gd name="T8" fmla="*/ 33 w 115"/>
                  <a:gd name="T9" fmla="*/ 34 h 210"/>
                  <a:gd name="T10" fmla="*/ 37 w 115"/>
                  <a:gd name="T11" fmla="*/ 37 h 210"/>
                  <a:gd name="T12" fmla="*/ 40 w 115"/>
                  <a:gd name="T13" fmla="*/ 47 h 210"/>
                  <a:gd name="T14" fmla="*/ 39 w 115"/>
                  <a:gd name="T15" fmla="*/ 53 h 210"/>
                  <a:gd name="T16" fmla="*/ 39 w 115"/>
                  <a:gd name="T17" fmla="*/ 77 h 210"/>
                  <a:gd name="T18" fmla="*/ 42 w 115"/>
                  <a:gd name="T19" fmla="*/ 70 h 210"/>
                  <a:gd name="T20" fmla="*/ 40 w 115"/>
                  <a:gd name="T21" fmla="*/ 70 h 210"/>
                  <a:gd name="T22" fmla="*/ 39 w 115"/>
                  <a:gd name="T23" fmla="*/ 77 h 210"/>
                  <a:gd name="T24" fmla="*/ 29 w 115"/>
                  <a:gd name="T25" fmla="*/ 86 h 210"/>
                  <a:gd name="T26" fmla="*/ 26 w 115"/>
                  <a:gd name="T27" fmla="*/ 83 h 210"/>
                  <a:gd name="T28" fmla="*/ 13 w 115"/>
                  <a:gd name="T29" fmla="*/ 95 h 210"/>
                  <a:gd name="T30" fmla="*/ 20 w 115"/>
                  <a:gd name="T31" fmla="*/ 87 h 210"/>
                  <a:gd name="T32" fmla="*/ 2 w 115"/>
                  <a:gd name="T33" fmla="*/ 103 h 210"/>
                  <a:gd name="T34" fmla="*/ 8 w 115"/>
                  <a:gd name="T35" fmla="*/ 96 h 210"/>
                  <a:gd name="T36" fmla="*/ 1 w 115"/>
                  <a:gd name="T37" fmla="*/ 103 h 210"/>
                  <a:gd name="T38" fmla="*/ 0 w 115"/>
                  <a:gd name="T39" fmla="*/ 109 h 210"/>
                  <a:gd name="T40" fmla="*/ 8 w 115"/>
                  <a:gd name="T41" fmla="*/ 115 h 210"/>
                  <a:gd name="T42" fmla="*/ 17 w 115"/>
                  <a:gd name="T43" fmla="*/ 122 h 210"/>
                  <a:gd name="T44" fmla="*/ 11 w 115"/>
                  <a:gd name="T45" fmla="*/ 121 h 210"/>
                  <a:gd name="T46" fmla="*/ 20 w 115"/>
                  <a:gd name="T47" fmla="*/ 125 h 210"/>
                  <a:gd name="T48" fmla="*/ 23 w 115"/>
                  <a:gd name="T49" fmla="*/ 131 h 210"/>
                  <a:gd name="T50" fmla="*/ 33 w 115"/>
                  <a:gd name="T51" fmla="*/ 132 h 210"/>
                  <a:gd name="T52" fmla="*/ 40 w 115"/>
                  <a:gd name="T53" fmla="*/ 134 h 210"/>
                  <a:gd name="T54" fmla="*/ 40 w 115"/>
                  <a:gd name="T55" fmla="*/ 135 h 210"/>
                  <a:gd name="T56" fmla="*/ 62 w 115"/>
                  <a:gd name="T57" fmla="*/ 128 h 210"/>
                  <a:gd name="T58" fmla="*/ 52 w 115"/>
                  <a:gd name="T59" fmla="*/ 134 h 210"/>
                  <a:gd name="T60" fmla="*/ 72 w 115"/>
                  <a:gd name="T61" fmla="*/ 138 h 210"/>
                  <a:gd name="T62" fmla="*/ 66 w 115"/>
                  <a:gd name="T63" fmla="*/ 131 h 210"/>
                  <a:gd name="T64" fmla="*/ 73 w 115"/>
                  <a:gd name="T65" fmla="*/ 154 h 210"/>
                  <a:gd name="T66" fmla="*/ 75 w 115"/>
                  <a:gd name="T67" fmla="*/ 147 h 210"/>
                  <a:gd name="T68" fmla="*/ 72 w 115"/>
                  <a:gd name="T69" fmla="*/ 144 h 210"/>
                  <a:gd name="T70" fmla="*/ 72 w 115"/>
                  <a:gd name="T71" fmla="*/ 148 h 210"/>
                  <a:gd name="T72" fmla="*/ 69 w 115"/>
                  <a:gd name="T73" fmla="*/ 168 h 210"/>
                  <a:gd name="T74" fmla="*/ 66 w 115"/>
                  <a:gd name="T75" fmla="*/ 168 h 210"/>
                  <a:gd name="T76" fmla="*/ 65 w 115"/>
                  <a:gd name="T77" fmla="*/ 177 h 210"/>
                  <a:gd name="T78" fmla="*/ 66 w 115"/>
                  <a:gd name="T79" fmla="*/ 173 h 210"/>
                  <a:gd name="T80" fmla="*/ 63 w 115"/>
                  <a:gd name="T81" fmla="*/ 174 h 210"/>
                  <a:gd name="T82" fmla="*/ 66 w 115"/>
                  <a:gd name="T83" fmla="*/ 181 h 210"/>
                  <a:gd name="T84" fmla="*/ 73 w 115"/>
                  <a:gd name="T85" fmla="*/ 192 h 210"/>
                  <a:gd name="T86" fmla="*/ 72 w 115"/>
                  <a:gd name="T87" fmla="*/ 193 h 210"/>
                  <a:gd name="T88" fmla="*/ 88 w 115"/>
                  <a:gd name="T89" fmla="*/ 202 h 210"/>
                  <a:gd name="T90" fmla="*/ 78 w 115"/>
                  <a:gd name="T91" fmla="*/ 199 h 210"/>
                  <a:gd name="T92" fmla="*/ 101 w 115"/>
                  <a:gd name="T93" fmla="*/ 208 h 210"/>
                  <a:gd name="T94" fmla="*/ 101 w 115"/>
                  <a:gd name="T95" fmla="*/ 210 h 210"/>
                  <a:gd name="T96" fmla="*/ 114 w 115"/>
                  <a:gd name="T97" fmla="*/ 205 h 210"/>
                  <a:gd name="T98" fmla="*/ 107 w 115"/>
                  <a:gd name="T99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5" h="210">
                    <a:moveTo>
                      <a:pt x="34" y="3"/>
                    </a:moveTo>
                    <a:lnTo>
                      <a:pt x="34" y="3"/>
                    </a:lnTo>
                    <a:lnTo>
                      <a:pt x="34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1" y="2"/>
                    </a:lnTo>
                    <a:lnTo>
                      <a:pt x="34" y="3"/>
                    </a:lnTo>
                    <a:close/>
                    <a:moveTo>
                      <a:pt x="34" y="18"/>
                    </a:moveTo>
                    <a:lnTo>
                      <a:pt x="34" y="18"/>
                    </a:lnTo>
                    <a:lnTo>
                      <a:pt x="34" y="8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1" y="18"/>
                    </a:lnTo>
                    <a:lnTo>
                      <a:pt x="34" y="18"/>
                    </a:lnTo>
                    <a:close/>
                    <a:moveTo>
                      <a:pt x="34" y="32"/>
                    </a:moveTo>
                    <a:lnTo>
                      <a:pt x="34" y="32"/>
                    </a:lnTo>
                    <a:lnTo>
                      <a:pt x="34" y="24"/>
                    </a:lnTo>
                    <a:lnTo>
                      <a:pt x="31" y="24"/>
                    </a:lnTo>
                    <a:lnTo>
                      <a:pt x="31" y="24"/>
                    </a:lnTo>
                    <a:lnTo>
                      <a:pt x="33" y="34"/>
                    </a:lnTo>
                    <a:lnTo>
                      <a:pt x="34" y="32"/>
                    </a:lnTo>
                    <a:close/>
                    <a:moveTo>
                      <a:pt x="40" y="47"/>
                    </a:moveTo>
                    <a:lnTo>
                      <a:pt x="40" y="47"/>
                    </a:lnTo>
                    <a:lnTo>
                      <a:pt x="37" y="37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7" y="47"/>
                    </a:lnTo>
                    <a:lnTo>
                      <a:pt x="40" y="47"/>
                    </a:lnTo>
                    <a:close/>
                    <a:moveTo>
                      <a:pt x="42" y="63"/>
                    </a:moveTo>
                    <a:lnTo>
                      <a:pt x="42" y="63"/>
                    </a:lnTo>
                    <a:lnTo>
                      <a:pt x="42" y="53"/>
                    </a:lnTo>
                    <a:lnTo>
                      <a:pt x="39" y="53"/>
                    </a:lnTo>
                    <a:lnTo>
                      <a:pt x="39" y="53"/>
                    </a:lnTo>
                    <a:lnTo>
                      <a:pt x="40" y="63"/>
                    </a:lnTo>
                    <a:lnTo>
                      <a:pt x="42" y="63"/>
                    </a:lnTo>
                    <a:close/>
                    <a:moveTo>
                      <a:pt x="39" y="77"/>
                    </a:moveTo>
                    <a:lnTo>
                      <a:pt x="39" y="77"/>
                    </a:lnTo>
                    <a:lnTo>
                      <a:pt x="42" y="74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2" y="67"/>
                    </a:lnTo>
                    <a:lnTo>
                      <a:pt x="40" y="67"/>
                    </a:lnTo>
                    <a:lnTo>
                      <a:pt x="40" y="67"/>
                    </a:lnTo>
                    <a:lnTo>
                      <a:pt x="40" y="70"/>
                    </a:lnTo>
                    <a:lnTo>
                      <a:pt x="40" y="70"/>
                    </a:lnTo>
                    <a:lnTo>
                      <a:pt x="39" y="73"/>
                    </a:lnTo>
                    <a:lnTo>
                      <a:pt x="36" y="76"/>
                    </a:lnTo>
                    <a:lnTo>
                      <a:pt x="39" y="77"/>
                    </a:lnTo>
                    <a:close/>
                    <a:moveTo>
                      <a:pt x="26" y="87"/>
                    </a:moveTo>
                    <a:lnTo>
                      <a:pt x="26" y="87"/>
                    </a:lnTo>
                    <a:lnTo>
                      <a:pt x="29" y="86"/>
                    </a:lnTo>
                    <a:lnTo>
                      <a:pt x="29" y="86"/>
                    </a:lnTo>
                    <a:lnTo>
                      <a:pt x="34" y="80"/>
                    </a:lnTo>
                    <a:lnTo>
                      <a:pt x="33" y="79"/>
                    </a:lnTo>
                    <a:lnTo>
                      <a:pt x="33" y="79"/>
                    </a:lnTo>
                    <a:lnTo>
                      <a:pt x="26" y="83"/>
                    </a:lnTo>
                    <a:lnTo>
                      <a:pt x="26" y="83"/>
                    </a:lnTo>
                    <a:lnTo>
                      <a:pt x="24" y="84"/>
                    </a:lnTo>
                    <a:lnTo>
                      <a:pt x="26" y="87"/>
                    </a:lnTo>
                    <a:close/>
                    <a:moveTo>
                      <a:pt x="13" y="95"/>
                    </a:moveTo>
                    <a:lnTo>
                      <a:pt x="13" y="95"/>
                    </a:lnTo>
                    <a:lnTo>
                      <a:pt x="21" y="90"/>
                    </a:lnTo>
                    <a:lnTo>
                      <a:pt x="20" y="87"/>
                    </a:lnTo>
                    <a:lnTo>
                      <a:pt x="20" y="87"/>
                    </a:lnTo>
                    <a:lnTo>
                      <a:pt x="13" y="93"/>
                    </a:lnTo>
                    <a:lnTo>
                      <a:pt x="13" y="95"/>
                    </a:lnTo>
                    <a:close/>
                    <a:moveTo>
                      <a:pt x="1" y="103"/>
                    </a:moveTo>
                    <a:lnTo>
                      <a:pt x="2" y="103"/>
                    </a:lnTo>
                    <a:lnTo>
                      <a:pt x="2" y="103"/>
                    </a:lnTo>
                    <a:lnTo>
                      <a:pt x="10" y="97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2" y="99"/>
                    </a:lnTo>
                    <a:lnTo>
                      <a:pt x="0" y="102"/>
                    </a:lnTo>
                    <a:lnTo>
                      <a:pt x="0" y="103"/>
                    </a:lnTo>
                    <a:lnTo>
                      <a:pt x="1" y="103"/>
                    </a:lnTo>
                    <a:close/>
                    <a:moveTo>
                      <a:pt x="8" y="115"/>
                    </a:moveTo>
                    <a:lnTo>
                      <a:pt x="8" y="115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0" y="109"/>
                    </a:lnTo>
                    <a:lnTo>
                      <a:pt x="2" y="112"/>
                    </a:lnTo>
                    <a:lnTo>
                      <a:pt x="7" y="116"/>
                    </a:lnTo>
                    <a:lnTo>
                      <a:pt x="8" y="115"/>
                    </a:lnTo>
                    <a:lnTo>
                      <a:pt x="8" y="115"/>
                    </a:lnTo>
                    <a:close/>
                    <a:moveTo>
                      <a:pt x="20" y="125"/>
                    </a:moveTo>
                    <a:lnTo>
                      <a:pt x="20" y="125"/>
                    </a:lnTo>
                    <a:lnTo>
                      <a:pt x="17" y="122"/>
                    </a:lnTo>
                    <a:lnTo>
                      <a:pt x="17" y="122"/>
                    </a:lnTo>
                    <a:lnTo>
                      <a:pt x="13" y="118"/>
                    </a:lnTo>
                    <a:lnTo>
                      <a:pt x="11" y="121"/>
                    </a:lnTo>
                    <a:lnTo>
                      <a:pt x="11" y="121"/>
                    </a:lnTo>
                    <a:lnTo>
                      <a:pt x="14" y="124"/>
                    </a:lnTo>
                    <a:lnTo>
                      <a:pt x="14" y="124"/>
                    </a:lnTo>
                    <a:lnTo>
                      <a:pt x="18" y="126"/>
                    </a:lnTo>
                    <a:lnTo>
                      <a:pt x="20" y="125"/>
                    </a:lnTo>
                    <a:close/>
                    <a:moveTo>
                      <a:pt x="33" y="132"/>
                    </a:moveTo>
                    <a:lnTo>
                      <a:pt x="33" y="132"/>
                    </a:lnTo>
                    <a:lnTo>
                      <a:pt x="24" y="128"/>
                    </a:lnTo>
                    <a:lnTo>
                      <a:pt x="23" y="131"/>
                    </a:lnTo>
                    <a:lnTo>
                      <a:pt x="23" y="131"/>
                    </a:lnTo>
                    <a:lnTo>
                      <a:pt x="27" y="132"/>
                    </a:lnTo>
                    <a:lnTo>
                      <a:pt x="31" y="135"/>
                    </a:lnTo>
                    <a:lnTo>
                      <a:pt x="33" y="132"/>
                    </a:lnTo>
                    <a:close/>
                    <a:moveTo>
                      <a:pt x="47" y="132"/>
                    </a:moveTo>
                    <a:lnTo>
                      <a:pt x="47" y="132"/>
                    </a:lnTo>
                    <a:lnTo>
                      <a:pt x="40" y="134"/>
                    </a:lnTo>
                    <a:lnTo>
                      <a:pt x="40" y="134"/>
                    </a:lnTo>
                    <a:lnTo>
                      <a:pt x="37" y="132"/>
                    </a:lnTo>
                    <a:lnTo>
                      <a:pt x="37" y="135"/>
                    </a:lnTo>
                    <a:lnTo>
                      <a:pt x="37" y="135"/>
                    </a:lnTo>
                    <a:lnTo>
                      <a:pt x="40" y="135"/>
                    </a:lnTo>
                    <a:lnTo>
                      <a:pt x="40" y="135"/>
                    </a:lnTo>
                    <a:lnTo>
                      <a:pt x="47" y="135"/>
                    </a:lnTo>
                    <a:lnTo>
                      <a:pt x="47" y="132"/>
                    </a:lnTo>
                    <a:close/>
                    <a:moveTo>
                      <a:pt x="62" y="128"/>
                    </a:moveTo>
                    <a:lnTo>
                      <a:pt x="62" y="128"/>
                    </a:lnTo>
                    <a:lnTo>
                      <a:pt x="52" y="131"/>
                    </a:lnTo>
                    <a:lnTo>
                      <a:pt x="52" y="134"/>
                    </a:lnTo>
                    <a:lnTo>
                      <a:pt x="52" y="134"/>
                    </a:lnTo>
                    <a:lnTo>
                      <a:pt x="62" y="131"/>
                    </a:lnTo>
                    <a:lnTo>
                      <a:pt x="62" y="128"/>
                    </a:lnTo>
                    <a:close/>
                    <a:moveTo>
                      <a:pt x="72" y="138"/>
                    </a:moveTo>
                    <a:lnTo>
                      <a:pt x="72" y="138"/>
                    </a:lnTo>
                    <a:lnTo>
                      <a:pt x="71" y="134"/>
                    </a:lnTo>
                    <a:lnTo>
                      <a:pt x="68" y="129"/>
                    </a:lnTo>
                    <a:lnTo>
                      <a:pt x="66" y="131"/>
                    </a:lnTo>
                    <a:lnTo>
                      <a:pt x="66" y="131"/>
                    </a:lnTo>
                    <a:lnTo>
                      <a:pt x="68" y="135"/>
                    </a:lnTo>
                    <a:lnTo>
                      <a:pt x="71" y="139"/>
                    </a:lnTo>
                    <a:lnTo>
                      <a:pt x="72" y="138"/>
                    </a:lnTo>
                    <a:close/>
                    <a:moveTo>
                      <a:pt x="73" y="154"/>
                    </a:moveTo>
                    <a:lnTo>
                      <a:pt x="73" y="154"/>
                    </a:lnTo>
                    <a:lnTo>
                      <a:pt x="75" y="148"/>
                    </a:lnTo>
                    <a:lnTo>
                      <a:pt x="75" y="148"/>
                    </a:lnTo>
                    <a:lnTo>
                      <a:pt x="75" y="147"/>
                    </a:lnTo>
                    <a:lnTo>
                      <a:pt x="75" y="147"/>
                    </a:lnTo>
                    <a:lnTo>
                      <a:pt x="73" y="144"/>
                    </a:lnTo>
                    <a:lnTo>
                      <a:pt x="72" y="144"/>
                    </a:lnTo>
                    <a:lnTo>
                      <a:pt x="72" y="144"/>
                    </a:lnTo>
                    <a:lnTo>
                      <a:pt x="72" y="147"/>
                    </a:lnTo>
                    <a:lnTo>
                      <a:pt x="72" y="147"/>
                    </a:lnTo>
                    <a:lnTo>
                      <a:pt x="72" y="148"/>
                    </a:lnTo>
                    <a:lnTo>
                      <a:pt x="72" y="148"/>
                    </a:lnTo>
                    <a:lnTo>
                      <a:pt x="72" y="154"/>
                    </a:lnTo>
                    <a:lnTo>
                      <a:pt x="73" y="154"/>
                    </a:lnTo>
                    <a:close/>
                    <a:moveTo>
                      <a:pt x="69" y="168"/>
                    </a:moveTo>
                    <a:lnTo>
                      <a:pt x="69" y="168"/>
                    </a:lnTo>
                    <a:lnTo>
                      <a:pt x="72" y="160"/>
                    </a:lnTo>
                    <a:lnTo>
                      <a:pt x="71" y="158"/>
                    </a:lnTo>
                    <a:lnTo>
                      <a:pt x="71" y="158"/>
                    </a:lnTo>
                    <a:lnTo>
                      <a:pt x="66" y="168"/>
                    </a:lnTo>
                    <a:lnTo>
                      <a:pt x="69" y="168"/>
                    </a:lnTo>
                    <a:close/>
                    <a:moveTo>
                      <a:pt x="66" y="181"/>
                    </a:moveTo>
                    <a:lnTo>
                      <a:pt x="66" y="181"/>
                    </a:lnTo>
                    <a:lnTo>
                      <a:pt x="65" y="177"/>
                    </a:lnTo>
                    <a:lnTo>
                      <a:pt x="65" y="177"/>
                    </a:lnTo>
                    <a:lnTo>
                      <a:pt x="66" y="176"/>
                    </a:lnTo>
                    <a:lnTo>
                      <a:pt x="66" y="176"/>
                    </a:lnTo>
                    <a:lnTo>
                      <a:pt x="66" y="173"/>
                    </a:lnTo>
                    <a:lnTo>
                      <a:pt x="65" y="173"/>
                    </a:lnTo>
                    <a:lnTo>
                      <a:pt x="65" y="173"/>
                    </a:lnTo>
                    <a:lnTo>
                      <a:pt x="63" y="174"/>
                    </a:lnTo>
                    <a:lnTo>
                      <a:pt x="63" y="174"/>
                    </a:lnTo>
                    <a:lnTo>
                      <a:pt x="62" y="177"/>
                    </a:lnTo>
                    <a:lnTo>
                      <a:pt x="62" y="177"/>
                    </a:lnTo>
                    <a:lnTo>
                      <a:pt x="63" y="183"/>
                    </a:lnTo>
                    <a:lnTo>
                      <a:pt x="66" y="181"/>
                    </a:lnTo>
                    <a:close/>
                    <a:moveTo>
                      <a:pt x="75" y="193"/>
                    </a:moveTo>
                    <a:lnTo>
                      <a:pt x="75" y="193"/>
                    </a:lnTo>
                    <a:lnTo>
                      <a:pt x="73" y="192"/>
                    </a:lnTo>
                    <a:lnTo>
                      <a:pt x="73" y="192"/>
                    </a:lnTo>
                    <a:lnTo>
                      <a:pt x="69" y="186"/>
                    </a:lnTo>
                    <a:lnTo>
                      <a:pt x="66" y="187"/>
                    </a:lnTo>
                    <a:lnTo>
                      <a:pt x="66" y="187"/>
                    </a:lnTo>
                    <a:lnTo>
                      <a:pt x="72" y="193"/>
                    </a:lnTo>
                    <a:lnTo>
                      <a:pt x="72" y="193"/>
                    </a:lnTo>
                    <a:lnTo>
                      <a:pt x="73" y="196"/>
                    </a:lnTo>
                    <a:lnTo>
                      <a:pt x="75" y="193"/>
                    </a:lnTo>
                    <a:close/>
                    <a:moveTo>
                      <a:pt x="88" y="202"/>
                    </a:moveTo>
                    <a:lnTo>
                      <a:pt x="88" y="202"/>
                    </a:lnTo>
                    <a:lnTo>
                      <a:pt x="79" y="197"/>
                    </a:lnTo>
                    <a:lnTo>
                      <a:pt x="78" y="199"/>
                    </a:lnTo>
                    <a:lnTo>
                      <a:pt x="78" y="199"/>
                    </a:lnTo>
                    <a:lnTo>
                      <a:pt x="86" y="205"/>
                    </a:lnTo>
                    <a:lnTo>
                      <a:pt x="88" y="202"/>
                    </a:lnTo>
                    <a:close/>
                    <a:moveTo>
                      <a:pt x="101" y="208"/>
                    </a:moveTo>
                    <a:lnTo>
                      <a:pt x="101" y="208"/>
                    </a:lnTo>
                    <a:lnTo>
                      <a:pt x="92" y="205"/>
                    </a:lnTo>
                    <a:lnTo>
                      <a:pt x="91" y="208"/>
                    </a:lnTo>
                    <a:lnTo>
                      <a:pt x="91" y="208"/>
                    </a:lnTo>
                    <a:lnTo>
                      <a:pt x="101" y="210"/>
                    </a:lnTo>
                    <a:lnTo>
                      <a:pt x="101" y="208"/>
                    </a:lnTo>
                    <a:close/>
                    <a:moveTo>
                      <a:pt x="114" y="203"/>
                    </a:moveTo>
                    <a:lnTo>
                      <a:pt x="114" y="203"/>
                    </a:lnTo>
                    <a:lnTo>
                      <a:pt x="114" y="205"/>
                    </a:lnTo>
                    <a:lnTo>
                      <a:pt x="114" y="205"/>
                    </a:lnTo>
                    <a:lnTo>
                      <a:pt x="105" y="208"/>
                    </a:lnTo>
                    <a:lnTo>
                      <a:pt x="107" y="210"/>
                    </a:lnTo>
                    <a:lnTo>
                      <a:pt x="107" y="210"/>
                    </a:lnTo>
                    <a:lnTo>
                      <a:pt x="113" y="208"/>
                    </a:lnTo>
                    <a:lnTo>
                      <a:pt x="115" y="206"/>
                    </a:lnTo>
                    <a:lnTo>
                      <a:pt x="114" y="2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0" name="Freeform 1688"/>
              <p:cNvSpPr>
                <a:spLocks noEditPoints="1"/>
              </p:cNvSpPr>
              <p:nvPr/>
            </p:nvSpPr>
            <p:spPr bwMode="auto">
              <a:xfrm>
                <a:off x="4643226" y="2380309"/>
                <a:ext cx="67270" cy="47484"/>
              </a:xfrm>
              <a:custGeom>
                <a:avLst/>
                <a:gdLst>
                  <a:gd name="T0" fmla="*/ 11 w 68"/>
                  <a:gd name="T1" fmla="*/ 2 h 48"/>
                  <a:gd name="T2" fmla="*/ 11 w 68"/>
                  <a:gd name="T3" fmla="*/ 2 h 48"/>
                  <a:gd name="T4" fmla="*/ 1 w 68"/>
                  <a:gd name="T5" fmla="*/ 0 h 48"/>
                  <a:gd name="T6" fmla="*/ 0 w 68"/>
                  <a:gd name="T7" fmla="*/ 2 h 48"/>
                  <a:gd name="T8" fmla="*/ 0 w 68"/>
                  <a:gd name="T9" fmla="*/ 2 h 48"/>
                  <a:gd name="T10" fmla="*/ 10 w 68"/>
                  <a:gd name="T11" fmla="*/ 5 h 48"/>
                  <a:gd name="T12" fmla="*/ 11 w 68"/>
                  <a:gd name="T13" fmla="*/ 2 h 48"/>
                  <a:gd name="T14" fmla="*/ 20 w 68"/>
                  <a:gd name="T15" fmla="*/ 15 h 48"/>
                  <a:gd name="T16" fmla="*/ 20 w 68"/>
                  <a:gd name="T17" fmla="*/ 15 h 48"/>
                  <a:gd name="T18" fmla="*/ 19 w 68"/>
                  <a:gd name="T19" fmla="*/ 9 h 48"/>
                  <a:gd name="T20" fmla="*/ 19 w 68"/>
                  <a:gd name="T21" fmla="*/ 9 h 48"/>
                  <a:gd name="T22" fmla="*/ 16 w 68"/>
                  <a:gd name="T23" fmla="*/ 5 h 48"/>
                  <a:gd name="T24" fmla="*/ 14 w 68"/>
                  <a:gd name="T25" fmla="*/ 6 h 48"/>
                  <a:gd name="T26" fmla="*/ 14 w 68"/>
                  <a:gd name="T27" fmla="*/ 6 h 48"/>
                  <a:gd name="T28" fmla="*/ 16 w 68"/>
                  <a:gd name="T29" fmla="*/ 10 h 48"/>
                  <a:gd name="T30" fmla="*/ 16 w 68"/>
                  <a:gd name="T31" fmla="*/ 10 h 48"/>
                  <a:gd name="T32" fmla="*/ 17 w 68"/>
                  <a:gd name="T33" fmla="*/ 15 h 48"/>
                  <a:gd name="T34" fmla="*/ 20 w 68"/>
                  <a:gd name="T35" fmla="*/ 15 h 48"/>
                  <a:gd name="T36" fmla="*/ 33 w 68"/>
                  <a:gd name="T37" fmla="*/ 19 h 48"/>
                  <a:gd name="T38" fmla="*/ 33 w 68"/>
                  <a:gd name="T39" fmla="*/ 19 h 48"/>
                  <a:gd name="T40" fmla="*/ 30 w 68"/>
                  <a:gd name="T41" fmla="*/ 18 h 48"/>
                  <a:gd name="T42" fmla="*/ 30 w 68"/>
                  <a:gd name="T43" fmla="*/ 18 h 48"/>
                  <a:gd name="T44" fmla="*/ 23 w 68"/>
                  <a:gd name="T45" fmla="*/ 16 h 48"/>
                  <a:gd name="T46" fmla="*/ 23 w 68"/>
                  <a:gd name="T47" fmla="*/ 19 h 48"/>
                  <a:gd name="T48" fmla="*/ 23 w 68"/>
                  <a:gd name="T49" fmla="*/ 19 h 48"/>
                  <a:gd name="T50" fmla="*/ 29 w 68"/>
                  <a:gd name="T51" fmla="*/ 21 h 48"/>
                  <a:gd name="T52" fmla="*/ 29 w 68"/>
                  <a:gd name="T53" fmla="*/ 21 h 48"/>
                  <a:gd name="T54" fmla="*/ 32 w 68"/>
                  <a:gd name="T55" fmla="*/ 22 h 48"/>
                  <a:gd name="T56" fmla="*/ 33 w 68"/>
                  <a:gd name="T57" fmla="*/ 19 h 48"/>
                  <a:gd name="T58" fmla="*/ 46 w 68"/>
                  <a:gd name="T59" fmla="*/ 26 h 48"/>
                  <a:gd name="T60" fmla="*/ 46 w 68"/>
                  <a:gd name="T61" fmla="*/ 26 h 48"/>
                  <a:gd name="T62" fmla="*/ 37 w 68"/>
                  <a:gd name="T63" fmla="*/ 22 h 48"/>
                  <a:gd name="T64" fmla="*/ 36 w 68"/>
                  <a:gd name="T65" fmla="*/ 23 h 48"/>
                  <a:gd name="T66" fmla="*/ 36 w 68"/>
                  <a:gd name="T67" fmla="*/ 23 h 48"/>
                  <a:gd name="T68" fmla="*/ 46 w 68"/>
                  <a:gd name="T69" fmla="*/ 28 h 48"/>
                  <a:gd name="T70" fmla="*/ 46 w 68"/>
                  <a:gd name="T71" fmla="*/ 26 h 48"/>
                  <a:gd name="T72" fmla="*/ 61 w 68"/>
                  <a:gd name="T73" fmla="*/ 34 h 48"/>
                  <a:gd name="T74" fmla="*/ 61 w 68"/>
                  <a:gd name="T75" fmla="*/ 34 h 48"/>
                  <a:gd name="T76" fmla="*/ 52 w 68"/>
                  <a:gd name="T77" fmla="*/ 28 h 48"/>
                  <a:gd name="T78" fmla="*/ 50 w 68"/>
                  <a:gd name="T79" fmla="*/ 31 h 48"/>
                  <a:gd name="T80" fmla="*/ 50 w 68"/>
                  <a:gd name="T81" fmla="*/ 31 h 48"/>
                  <a:gd name="T82" fmla="*/ 59 w 68"/>
                  <a:gd name="T83" fmla="*/ 35 h 48"/>
                  <a:gd name="T84" fmla="*/ 61 w 68"/>
                  <a:gd name="T85" fmla="*/ 34 h 48"/>
                  <a:gd name="T86" fmla="*/ 68 w 68"/>
                  <a:gd name="T87" fmla="*/ 47 h 48"/>
                  <a:gd name="T88" fmla="*/ 68 w 68"/>
                  <a:gd name="T89" fmla="*/ 47 h 48"/>
                  <a:gd name="T90" fmla="*/ 66 w 68"/>
                  <a:gd name="T91" fmla="*/ 42 h 48"/>
                  <a:gd name="T92" fmla="*/ 63 w 68"/>
                  <a:gd name="T93" fmla="*/ 38 h 48"/>
                  <a:gd name="T94" fmla="*/ 62 w 68"/>
                  <a:gd name="T95" fmla="*/ 38 h 48"/>
                  <a:gd name="T96" fmla="*/ 62 w 68"/>
                  <a:gd name="T97" fmla="*/ 38 h 48"/>
                  <a:gd name="T98" fmla="*/ 65 w 68"/>
                  <a:gd name="T99" fmla="*/ 48 h 48"/>
                  <a:gd name="T100" fmla="*/ 68 w 68"/>
                  <a:gd name="T101" fmla="*/ 4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8" h="48">
                    <a:moveTo>
                      <a:pt x="11" y="2"/>
                    </a:moveTo>
                    <a:lnTo>
                      <a:pt x="11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0" y="5"/>
                    </a:lnTo>
                    <a:lnTo>
                      <a:pt x="11" y="2"/>
                    </a:lnTo>
                    <a:close/>
                    <a:moveTo>
                      <a:pt x="20" y="15"/>
                    </a:moveTo>
                    <a:lnTo>
                      <a:pt x="20" y="15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16" y="5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7" y="15"/>
                    </a:lnTo>
                    <a:lnTo>
                      <a:pt x="20" y="15"/>
                    </a:lnTo>
                    <a:close/>
                    <a:moveTo>
                      <a:pt x="33" y="19"/>
                    </a:moveTo>
                    <a:lnTo>
                      <a:pt x="33" y="19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23" y="16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32" y="22"/>
                    </a:lnTo>
                    <a:lnTo>
                      <a:pt x="33" y="19"/>
                    </a:lnTo>
                    <a:close/>
                    <a:moveTo>
                      <a:pt x="46" y="26"/>
                    </a:moveTo>
                    <a:lnTo>
                      <a:pt x="46" y="26"/>
                    </a:lnTo>
                    <a:lnTo>
                      <a:pt x="37" y="22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46" y="28"/>
                    </a:lnTo>
                    <a:lnTo>
                      <a:pt x="46" y="26"/>
                    </a:lnTo>
                    <a:close/>
                    <a:moveTo>
                      <a:pt x="61" y="34"/>
                    </a:moveTo>
                    <a:lnTo>
                      <a:pt x="61" y="34"/>
                    </a:lnTo>
                    <a:lnTo>
                      <a:pt x="52" y="28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59" y="35"/>
                    </a:lnTo>
                    <a:lnTo>
                      <a:pt x="61" y="34"/>
                    </a:lnTo>
                    <a:close/>
                    <a:moveTo>
                      <a:pt x="68" y="47"/>
                    </a:moveTo>
                    <a:lnTo>
                      <a:pt x="68" y="47"/>
                    </a:lnTo>
                    <a:lnTo>
                      <a:pt x="66" y="42"/>
                    </a:lnTo>
                    <a:lnTo>
                      <a:pt x="63" y="38"/>
                    </a:lnTo>
                    <a:lnTo>
                      <a:pt x="62" y="38"/>
                    </a:lnTo>
                    <a:lnTo>
                      <a:pt x="62" y="38"/>
                    </a:lnTo>
                    <a:lnTo>
                      <a:pt x="65" y="48"/>
                    </a:lnTo>
                    <a:lnTo>
                      <a:pt x="68" y="4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5" name="Freeform 1693"/>
              <p:cNvSpPr>
                <a:spLocks noEditPoints="1"/>
              </p:cNvSpPr>
              <p:nvPr/>
            </p:nvSpPr>
            <p:spPr bwMode="auto">
              <a:xfrm>
                <a:off x="4848003" y="1763011"/>
                <a:ext cx="54409" cy="358112"/>
              </a:xfrm>
              <a:custGeom>
                <a:avLst/>
                <a:gdLst>
                  <a:gd name="T0" fmla="*/ 45 w 55"/>
                  <a:gd name="T1" fmla="*/ 0 h 362"/>
                  <a:gd name="T2" fmla="*/ 39 w 55"/>
                  <a:gd name="T3" fmla="*/ 19 h 362"/>
                  <a:gd name="T4" fmla="*/ 42 w 55"/>
                  <a:gd name="T5" fmla="*/ 9 h 362"/>
                  <a:gd name="T6" fmla="*/ 29 w 55"/>
                  <a:gd name="T7" fmla="*/ 29 h 362"/>
                  <a:gd name="T8" fmla="*/ 33 w 55"/>
                  <a:gd name="T9" fmla="*/ 19 h 362"/>
                  <a:gd name="T10" fmla="*/ 29 w 55"/>
                  <a:gd name="T11" fmla="*/ 29 h 362"/>
                  <a:gd name="T12" fmla="*/ 24 w 55"/>
                  <a:gd name="T13" fmla="*/ 33 h 362"/>
                  <a:gd name="T14" fmla="*/ 16 w 55"/>
                  <a:gd name="T15" fmla="*/ 39 h 362"/>
                  <a:gd name="T16" fmla="*/ 17 w 55"/>
                  <a:gd name="T17" fmla="*/ 49 h 362"/>
                  <a:gd name="T18" fmla="*/ 14 w 55"/>
                  <a:gd name="T19" fmla="*/ 48 h 362"/>
                  <a:gd name="T20" fmla="*/ 13 w 55"/>
                  <a:gd name="T21" fmla="*/ 68 h 362"/>
                  <a:gd name="T22" fmla="*/ 10 w 55"/>
                  <a:gd name="T23" fmla="*/ 58 h 362"/>
                  <a:gd name="T24" fmla="*/ 10 w 55"/>
                  <a:gd name="T25" fmla="*/ 70 h 362"/>
                  <a:gd name="T26" fmla="*/ 16 w 55"/>
                  <a:gd name="T27" fmla="*/ 71 h 362"/>
                  <a:gd name="T28" fmla="*/ 22 w 55"/>
                  <a:gd name="T29" fmla="*/ 78 h 362"/>
                  <a:gd name="T30" fmla="*/ 24 w 55"/>
                  <a:gd name="T31" fmla="*/ 84 h 362"/>
                  <a:gd name="T32" fmla="*/ 29 w 55"/>
                  <a:gd name="T33" fmla="*/ 106 h 362"/>
                  <a:gd name="T34" fmla="*/ 30 w 55"/>
                  <a:gd name="T35" fmla="*/ 96 h 362"/>
                  <a:gd name="T36" fmla="*/ 29 w 55"/>
                  <a:gd name="T37" fmla="*/ 106 h 362"/>
                  <a:gd name="T38" fmla="*/ 23 w 55"/>
                  <a:gd name="T39" fmla="*/ 116 h 362"/>
                  <a:gd name="T40" fmla="*/ 24 w 55"/>
                  <a:gd name="T41" fmla="*/ 109 h 362"/>
                  <a:gd name="T42" fmla="*/ 20 w 55"/>
                  <a:gd name="T43" fmla="*/ 114 h 362"/>
                  <a:gd name="T44" fmla="*/ 26 w 55"/>
                  <a:gd name="T45" fmla="*/ 132 h 362"/>
                  <a:gd name="T46" fmla="*/ 20 w 55"/>
                  <a:gd name="T47" fmla="*/ 123 h 362"/>
                  <a:gd name="T48" fmla="*/ 32 w 55"/>
                  <a:gd name="T49" fmla="*/ 146 h 362"/>
                  <a:gd name="T50" fmla="*/ 30 w 55"/>
                  <a:gd name="T51" fmla="*/ 148 h 362"/>
                  <a:gd name="T52" fmla="*/ 35 w 55"/>
                  <a:gd name="T53" fmla="*/ 151 h 362"/>
                  <a:gd name="T54" fmla="*/ 39 w 55"/>
                  <a:gd name="T55" fmla="*/ 161 h 362"/>
                  <a:gd name="T56" fmla="*/ 40 w 55"/>
                  <a:gd name="T57" fmla="*/ 168 h 362"/>
                  <a:gd name="T58" fmla="*/ 39 w 55"/>
                  <a:gd name="T59" fmla="*/ 167 h 362"/>
                  <a:gd name="T60" fmla="*/ 37 w 55"/>
                  <a:gd name="T61" fmla="*/ 171 h 362"/>
                  <a:gd name="T62" fmla="*/ 33 w 55"/>
                  <a:gd name="T63" fmla="*/ 188 h 362"/>
                  <a:gd name="T64" fmla="*/ 35 w 55"/>
                  <a:gd name="T65" fmla="*/ 180 h 362"/>
                  <a:gd name="T66" fmla="*/ 32 w 55"/>
                  <a:gd name="T67" fmla="*/ 183 h 362"/>
                  <a:gd name="T68" fmla="*/ 33 w 55"/>
                  <a:gd name="T69" fmla="*/ 188 h 362"/>
                  <a:gd name="T70" fmla="*/ 32 w 55"/>
                  <a:gd name="T71" fmla="*/ 194 h 362"/>
                  <a:gd name="T72" fmla="*/ 39 w 55"/>
                  <a:gd name="T73" fmla="*/ 219 h 362"/>
                  <a:gd name="T74" fmla="*/ 37 w 55"/>
                  <a:gd name="T75" fmla="*/ 209 h 362"/>
                  <a:gd name="T76" fmla="*/ 35 w 55"/>
                  <a:gd name="T77" fmla="*/ 213 h 362"/>
                  <a:gd name="T78" fmla="*/ 46 w 55"/>
                  <a:gd name="T79" fmla="*/ 230 h 362"/>
                  <a:gd name="T80" fmla="*/ 40 w 55"/>
                  <a:gd name="T81" fmla="*/ 223 h 362"/>
                  <a:gd name="T82" fmla="*/ 43 w 55"/>
                  <a:gd name="T83" fmla="*/ 232 h 362"/>
                  <a:gd name="T84" fmla="*/ 45 w 55"/>
                  <a:gd name="T85" fmla="*/ 246 h 362"/>
                  <a:gd name="T86" fmla="*/ 42 w 55"/>
                  <a:gd name="T87" fmla="*/ 245 h 362"/>
                  <a:gd name="T88" fmla="*/ 45 w 55"/>
                  <a:gd name="T89" fmla="*/ 253 h 362"/>
                  <a:gd name="T90" fmla="*/ 40 w 55"/>
                  <a:gd name="T91" fmla="*/ 251 h 362"/>
                  <a:gd name="T92" fmla="*/ 46 w 55"/>
                  <a:gd name="T93" fmla="*/ 259 h 362"/>
                  <a:gd name="T94" fmla="*/ 55 w 55"/>
                  <a:gd name="T95" fmla="*/ 271 h 362"/>
                  <a:gd name="T96" fmla="*/ 50 w 55"/>
                  <a:gd name="T97" fmla="*/ 262 h 362"/>
                  <a:gd name="T98" fmla="*/ 55 w 55"/>
                  <a:gd name="T99" fmla="*/ 271 h 362"/>
                  <a:gd name="T100" fmla="*/ 52 w 55"/>
                  <a:gd name="T101" fmla="*/ 277 h 362"/>
                  <a:gd name="T102" fmla="*/ 49 w 55"/>
                  <a:gd name="T103" fmla="*/ 301 h 362"/>
                  <a:gd name="T104" fmla="*/ 49 w 55"/>
                  <a:gd name="T105" fmla="*/ 291 h 362"/>
                  <a:gd name="T106" fmla="*/ 40 w 55"/>
                  <a:gd name="T107" fmla="*/ 314 h 362"/>
                  <a:gd name="T108" fmla="*/ 39 w 55"/>
                  <a:gd name="T109" fmla="*/ 313 h 362"/>
                  <a:gd name="T110" fmla="*/ 37 w 55"/>
                  <a:gd name="T111" fmla="*/ 319 h 362"/>
                  <a:gd name="T112" fmla="*/ 32 w 55"/>
                  <a:gd name="T113" fmla="*/ 327 h 362"/>
                  <a:gd name="T114" fmla="*/ 26 w 55"/>
                  <a:gd name="T115" fmla="*/ 329 h 362"/>
                  <a:gd name="T116" fmla="*/ 11 w 55"/>
                  <a:gd name="T117" fmla="*/ 351 h 362"/>
                  <a:gd name="T118" fmla="*/ 17 w 55"/>
                  <a:gd name="T119" fmla="*/ 342 h 362"/>
                  <a:gd name="T120" fmla="*/ 1 w 55"/>
                  <a:gd name="T121" fmla="*/ 362 h 362"/>
                  <a:gd name="T122" fmla="*/ 0 w 55"/>
                  <a:gd name="T123" fmla="*/ 361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5" h="362">
                    <a:moveTo>
                      <a:pt x="46" y="4"/>
                    </a:moveTo>
                    <a:lnTo>
                      <a:pt x="46" y="4"/>
                    </a:lnTo>
                    <a:lnTo>
                      <a:pt x="48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3" y="4"/>
                    </a:lnTo>
                    <a:lnTo>
                      <a:pt x="46" y="4"/>
                    </a:lnTo>
                    <a:close/>
                    <a:moveTo>
                      <a:pt x="39" y="19"/>
                    </a:moveTo>
                    <a:lnTo>
                      <a:pt x="39" y="19"/>
                    </a:lnTo>
                    <a:lnTo>
                      <a:pt x="42" y="14"/>
                    </a:lnTo>
                    <a:lnTo>
                      <a:pt x="43" y="9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37" y="17"/>
                    </a:lnTo>
                    <a:lnTo>
                      <a:pt x="39" y="19"/>
                    </a:lnTo>
                    <a:close/>
                    <a:moveTo>
                      <a:pt x="29" y="29"/>
                    </a:moveTo>
                    <a:lnTo>
                      <a:pt x="29" y="29"/>
                    </a:lnTo>
                    <a:lnTo>
                      <a:pt x="30" y="25"/>
                    </a:lnTo>
                    <a:lnTo>
                      <a:pt x="35" y="22"/>
                    </a:lnTo>
                    <a:lnTo>
                      <a:pt x="33" y="19"/>
                    </a:lnTo>
                    <a:lnTo>
                      <a:pt x="33" y="19"/>
                    </a:lnTo>
                    <a:lnTo>
                      <a:pt x="29" y="23"/>
                    </a:lnTo>
                    <a:lnTo>
                      <a:pt x="26" y="28"/>
                    </a:lnTo>
                    <a:lnTo>
                      <a:pt x="29" y="29"/>
                    </a:lnTo>
                    <a:close/>
                    <a:moveTo>
                      <a:pt x="19" y="41"/>
                    </a:moveTo>
                    <a:lnTo>
                      <a:pt x="19" y="41"/>
                    </a:lnTo>
                    <a:lnTo>
                      <a:pt x="22" y="36"/>
                    </a:lnTo>
                    <a:lnTo>
                      <a:pt x="24" y="33"/>
                    </a:lnTo>
                    <a:lnTo>
                      <a:pt x="23" y="30"/>
                    </a:lnTo>
                    <a:lnTo>
                      <a:pt x="23" y="30"/>
                    </a:lnTo>
                    <a:lnTo>
                      <a:pt x="20" y="35"/>
                    </a:lnTo>
                    <a:lnTo>
                      <a:pt x="16" y="39"/>
                    </a:lnTo>
                    <a:lnTo>
                      <a:pt x="19" y="41"/>
                    </a:lnTo>
                    <a:close/>
                    <a:moveTo>
                      <a:pt x="14" y="55"/>
                    </a:moveTo>
                    <a:lnTo>
                      <a:pt x="14" y="55"/>
                    </a:lnTo>
                    <a:lnTo>
                      <a:pt x="17" y="49"/>
                    </a:lnTo>
                    <a:lnTo>
                      <a:pt x="19" y="45"/>
                    </a:lnTo>
                    <a:lnTo>
                      <a:pt x="16" y="45"/>
                    </a:lnTo>
                    <a:lnTo>
                      <a:pt x="16" y="45"/>
                    </a:lnTo>
                    <a:lnTo>
                      <a:pt x="14" y="48"/>
                    </a:lnTo>
                    <a:lnTo>
                      <a:pt x="11" y="54"/>
                    </a:lnTo>
                    <a:lnTo>
                      <a:pt x="14" y="55"/>
                    </a:lnTo>
                    <a:close/>
                    <a:moveTo>
                      <a:pt x="13" y="68"/>
                    </a:moveTo>
                    <a:lnTo>
                      <a:pt x="13" y="68"/>
                    </a:lnTo>
                    <a:lnTo>
                      <a:pt x="11" y="64"/>
                    </a:lnTo>
                    <a:lnTo>
                      <a:pt x="11" y="64"/>
                    </a:lnTo>
                    <a:lnTo>
                      <a:pt x="13" y="59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10" y="70"/>
                    </a:lnTo>
                    <a:lnTo>
                      <a:pt x="13" y="68"/>
                    </a:lnTo>
                    <a:close/>
                    <a:moveTo>
                      <a:pt x="22" y="78"/>
                    </a:moveTo>
                    <a:lnTo>
                      <a:pt x="22" y="78"/>
                    </a:lnTo>
                    <a:lnTo>
                      <a:pt x="16" y="71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20" y="81"/>
                    </a:lnTo>
                    <a:lnTo>
                      <a:pt x="22" y="78"/>
                    </a:lnTo>
                    <a:close/>
                    <a:moveTo>
                      <a:pt x="32" y="91"/>
                    </a:moveTo>
                    <a:lnTo>
                      <a:pt x="32" y="91"/>
                    </a:lnTo>
                    <a:lnTo>
                      <a:pt x="26" y="83"/>
                    </a:lnTo>
                    <a:lnTo>
                      <a:pt x="24" y="84"/>
                    </a:lnTo>
                    <a:lnTo>
                      <a:pt x="24" y="84"/>
                    </a:lnTo>
                    <a:lnTo>
                      <a:pt x="30" y="91"/>
                    </a:lnTo>
                    <a:lnTo>
                      <a:pt x="32" y="91"/>
                    </a:lnTo>
                    <a:close/>
                    <a:moveTo>
                      <a:pt x="29" y="106"/>
                    </a:moveTo>
                    <a:lnTo>
                      <a:pt x="29" y="106"/>
                    </a:lnTo>
                    <a:lnTo>
                      <a:pt x="32" y="101"/>
                    </a:lnTo>
                    <a:lnTo>
                      <a:pt x="33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100"/>
                    </a:lnTo>
                    <a:lnTo>
                      <a:pt x="27" y="104"/>
                    </a:lnTo>
                    <a:lnTo>
                      <a:pt x="29" y="106"/>
                    </a:lnTo>
                    <a:close/>
                    <a:moveTo>
                      <a:pt x="22" y="119"/>
                    </a:moveTo>
                    <a:lnTo>
                      <a:pt x="22" y="117"/>
                    </a:lnTo>
                    <a:lnTo>
                      <a:pt x="22" y="117"/>
                    </a:lnTo>
                    <a:lnTo>
                      <a:pt x="23" y="116"/>
                    </a:lnTo>
                    <a:lnTo>
                      <a:pt x="23" y="116"/>
                    </a:lnTo>
                    <a:lnTo>
                      <a:pt x="23" y="116"/>
                    </a:lnTo>
                    <a:lnTo>
                      <a:pt x="26" y="110"/>
                    </a:lnTo>
                    <a:lnTo>
                      <a:pt x="24" y="109"/>
                    </a:lnTo>
                    <a:lnTo>
                      <a:pt x="24" y="109"/>
                    </a:lnTo>
                    <a:lnTo>
                      <a:pt x="20" y="114"/>
                    </a:lnTo>
                    <a:lnTo>
                      <a:pt x="20" y="114"/>
                    </a:lnTo>
                    <a:lnTo>
                      <a:pt x="20" y="114"/>
                    </a:lnTo>
                    <a:lnTo>
                      <a:pt x="20" y="117"/>
                    </a:lnTo>
                    <a:lnTo>
                      <a:pt x="20" y="119"/>
                    </a:lnTo>
                    <a:lnTo>
                      <a:pt x="22" y="119"/>
                    </a:lnTo>
                    <a:close/>
                    <a:moveTo>
                      <a:pt x="26" y="132"/>
                    </a:moveTo>
                    <a:lnTo>
                      <a:pt x="26" y="132"/>
                    </a:lnTo>
                    <a:lnTo>
                      <a:pt x="23" y="123"/>
                    </a:lnTo>
                    <a:lnTo>
                      <a:pt x="20" y="123"/>
                    </a:lnTo>
                    <a:lnTo>
                      <a:pt x="20" y="123"/>
                    </a:lnTo>
                    <a:lnTo>
                      <a:pt x="24" y="133"/>
                    </a:lnTo>
                    <a:lnTo>
                      <a:pt x="26" y="132"/>
                    </a:lnTo>
                    <a:close/>
                    <a:moveTo>
                      <a:pt x="32" y="146"/>
                    </a:moveTo>
                    <a:lnTo>
                      <a:pt x="32" y="146"/>
                    </a:lnTo>
                    <a:lnTo>
                      <a:pt x="29" y="138"/>
                    </a:lnTo>
                    <a:lnTo>
                      <a:pt x="26" y="138"/>
                    </a:lnTo>
                    <a:lnTo>
                      <a:pt x="26" y="138"/>
                    </a:lnTo>
                    <a:lnTo>
                      <a:pt x="30" y="148"/>
                    </a:lnTo>
                    <a:lnTo>
                      <a:pt x="32" y="146"/>
                    </a:lnTo>
                    <a:close/>
                    <a:moveTo>
                      <a:pt x="39" y="161"/>
                    </a:moveTo>
                    <a:lnTo>
                      <a:pt x="39" y="161"/>
                    </a:lnTo>
                    <a:lnTo>
                      <a:pt x="35" y="151"/>
                    </a:lnTo>
                    <a:lnTo>
                      <a:pt x="32" y="152"/>
                    </a:lnTo>
                    <a:lnTo>
                      <a:pt x="32" y="152"/>
                    </a:lnTo>
                    <a:lnTo>
                      <a:pt x="36" y="161"/>
                    </a:lnTo>
                    <a:lnTo>
                      <a:pt x="39" y="161"/>
                    </a:lnTo>
                    <a:close/>
                    <a:moveTo>
                      <a:pt x="37" y="175"/>
                    </a:moveTo>
                    <a:lnTo>
                      <a:pt x="37" y="175"/>
                    </a:lnTo>
                    <a:lnTo>
                      <a:pt x="40" y="172"/>
                    </a:lnTo>
                    <a:lnTo>
                      <a:pt x="40" y="168"/>
                    </a:lnTo>
                    <a:lnTo>
                      <a:pt x="40" y="168"/>
                    </a:lnTo>
                    <a:lnTo>
                      <a:pt x="40" y="165"/>
                    </a:lnTo>
                    <a:lnTo>
                      <a:pt x="37" y="167"/>
                    </a:lnTo>
                    <a:lnTo>
                      <a:pt x="39" y="167"/>
                    </a:lnTo>
                    <a:lnTo>
                      <a:pt x="39" y="168"/>
                    </a:lnTo>
                    <a:lnTo>
                      <a:pt x="39" y="168"/>
                    </a:lnTo>
                    <a:lnTo>
                      <a:pt x="39" y="168"/>
                    </a:lnTo>
                    <a:lnTo>
                      <a:pt x="37" y="171"/>
                    </a:lnTo>
                    <a:lnTo>
                      <a:pt x="36" y="174"/>
                    </a:lnTo>
                    <a:lnTo>
                      <a:pt x="37" y="175"/>
                    </a:lnTo>
                    <a:close/>
                    <a:moveTo>
                      <a:pt x="33" y="188"/>
                    </a:moveTo>
                    <a:lnTo>
                      <a:pt x="33" y="188"/>
                    </a:lnTo>
                    <a:lnTo>
                      <a:pt x="33" y="185"/>
                    </a:lnTo>
                    <a:lnTo>
                      <a:pt x="33" y="185"/>
                    </a:lnTo>
                    <a:lnTo>
                      <a:pt x="35" y="181"/>
                    </a:lnTo>
                    <a:lnTo>
                      <a:pt x="35" y="180"/>
                    </a:lnTo>
                    <a:lnTo>
                      <a:pt x="33" y="178"/>
                    </a:lnTo>
                    <a:lnTo>
                      <a:pt x="32" y="180"/>
                    </a:lnTo>
                    <a:lnTo>
                      <a:pt x="32" y="180"/>
                    </a:lnTo>
                    <a:lnTo>
                      <a:pt x="32" y="183"/>
                    </a:lnTo>
                    <a:lnTo>
                      <a:pt x="32" y="185"/>
                    </a:lnTo>
                    <a:lnTo>
                      <a:pt x="32" y="185"/>
                    </a:lnTo>
                    <a:lnTo>
                      <a:pt x="32" y="190"/>
                    </a:lnTo>
                    <a:lnTo>
                      <a:pt x="33" y="188"/>
                    </a:lnTo>
                    <a:close/>
                    <a:moveTo>
                      <a:pt x="36" y="204"/>
                    </a:moveTo>
                    <a:lnTo>
                      <a:pt x="36" y="204"/>
                    </a:lnTo>
                    <a:lnTo>
                      <a:pt x="35" y="194"/>
                    </a:lnTo>
                    <a:lnTo>
                      <a:pt x="32" y="194"/>
                    </a:lnTo>
                    <a:lnTo>
                      <a:pt x="32" y="194"/>
                    </a:lnTo>
                    <a:lnTo>
                      <a:pt x="33" y="204"/>
                    </a:lnTo>
                    <a:lnTo>
                      <a:pt x="36" y="204"/>
                    </a:lnTo>
                    <a:close/>
                    <a:moveTo>
                      <a:pt x="39" y="219"/>
                    </a:moveTo>
                    <a:lnTo>
                      <a:pt x="39" y="219"/>
                    </a:lnTo>
                    <a:lnTo>
                      <a:pt x="37" y="213"/>
                    </a:lnTo>
                    <a:lnTo>
                      <a:pt x="37" y="213"/>
                    </a:lnTo>
                    <a:lnTo>
                      <a:pt x="37" y="209"/>
                    </a:lnTo>
                    <a:lnTo>
                      <a:pt x="35" y="209"/>
                    </a:lnTo>
                    <a:lnTo>
                      <a:pt x="35" y="209"/>
                    </a:lnTo>
                    <a:lnTo>
                      <a:pt x="35" y="213"/>
                    </a:lnTo>
                    <a:lnTo>
                      <a:pt x="35" y="213"/>
                    </a:lnTo>
                    <a:lnTo>
                      <a:pt x="36" y="219"/>
                    </a:lnTo>
                    <a:lnTo>
                      <a:pt x="39" y="219"/>
                    </a:lnTo>
                    <a:close/>
                    <a:moveTo>
                      <a:pt x="46" y="230"/>
                    </a:moveTo>
                    <a:lnTo>
                      <a:pt x="46" y="230"/>
                    </a:lnTo>
                    <a:lnTo>
                      <a:pt x="46" y="229"/>
                    </a:lnTo>
                    <a:lnTo>
                      <a:pt x="46" y="229"/>
                    </a:lnTo>
                    <a:lnTo>
                      <a:pt x="42" y="226"/>
                    </a:lnTo>
                    <a:lnTo>
                      <a:pt x="40" y="223"/>
                    </a:lnTo>
                    <a:lnTo>
                      <a:pt x="37" y="225"/>
                    </a:lnTo>
                    <a:lnTo>
                      <a:pt x="37" y="225"/>
                    </a:lnTo>
                    <a:lnTo>
                      <a:pt x="40" y="227"/>
                    </a:lnTo>
                    <a:lnTo>
                      <a:pt x="43" y="232"/>
                    </a:lnTo>
                    <a:lnTo>
                      <a:pt x="45" y="232"/>
                    </a:lnTo>
                    <a:lnTo>
                      <a:pt x="46" y="230"/>
                    </a:lnTo>
                    <a:close/>
                    <a:moveTo>
                      <a:pt x="45" y="246"/>
                    </a:moveTo>
                    <a:lnTo>
                      <a:pt x="45" y="246"/>
                    </a:lnTo>
                    <a:lnTo>
                      <a:pt x="48" y="236"/>
                    </a:lnTo>
                    <a:lnTo>
                      <a:pt x="46" y="236"/>
                    </a:lnTo>
                    <a:lnTo>
                      <a:pt x="46" y="236"/>
                    </a:lnTo>
                    <a:lnTo>
                      <a:pt x="42" y="245"/>
                    </a:lnTo>
                    <a:lnTo>
                      <a:pt x="45" y="246"/>
                    </a:lnTo>
                    <a:close/>
                    <a:moveTo>
                      <a:pt x="49" y="256"/>
                    </a:moveTo>
                    <a:lnTo>
                      <a:pt x="49" y="256"/>
                    </a:lnTo>
                    <a:lnTo>
                      <a:pt x="45" y="253"/>
                    </a:lnTo>
                    <a:lnTo>
                      <a:pt x="45" y="253"/>
                    </a:lnTo>
                    <a:lnTo>
                      <a:pt x="43" y="251"/>
                    </a:lnTo>
                    <a:lnTo>
                      <a:pt x="40" y="251"/>
                    </a:lnTo>
                    <a:lnTo>
                      <a:pt x="40" y="251"/>
                    </a:lnTo>
                    <a:lnTo>
                      <a:pt x="40" y="253"/>
                    </a:lnTo>
                    <a:lnTo>
                      <a:pt x="43" y="255"/>
                    </a:lnTo>
                    <a:lnTo>
                      <a:pt x="43" y="255"/>
                    </a:lnTo>
                    <a:lnTo>
                      <a:pt x="46" y="259"/>
                    </a:lnTo>
                    <a:lnTo>
                      <a:pt x="49" y="256"/>
                    </a:lnTo>
                    <a:close/>
                    <a:moveTo>
                      <a:pt x="55" y="271"/>
                    </a:moveTo>
                    <a:lnTo>
                      <a:pt x="55" y="271"/>
                    </a:lnTo>
                    <a:lnTo>
                      <a:pt x="55" y="271"/>
                    </a:lnTo>
                    <a:lnTo>
                      <a:pt x="53" y="265"/>
                    </a:lnTo>
                    <a:lnTo>
                      <a:pt x="52" y="261"/>
                    </a:lnTo>
                    <a:lnTo>
                      <a:pt x="50" y="262"/>
                    </a:lnTo>
                    <a:lnTo>
                      <a:pt x="50" y="262"/>
                    </a:lnTo>
                    <a:lnTo>
                      <a:pt x="52" y="265"/>
                    </a:lnTo>
                    <a:lnTo>
                      <a:pt x="52" y="271"/>
                    </a:lnTo>
                    <a:lnTo>
                      <a:pt x="52" y="271"/>
                    </a:lnTo>
                    <a:lnTo>
                      <a:pt x="55" y="271"/>
                    </a:lnTo>
                    <a:close/>
                    <a:moveTo>
                      <a:pt x="52" y="287"/>
                    </a:moveTo>
                    <a:lnTo>
                      <a:pt x="52" y="287"/>
                    </a:lnTo>
                    <a:lnTo>
                      <a:pt x="55" y="277"/>
                    </a:lnTo>
                    <a:lnTo>
                      <a:pt x="52" y="277"/>
                    </a:lnTo>
                    <a:lnTo>
                      <a:pt x="52" y="277"/>
                    </a:lnTo>
                    <a:lnTo>
                      <a:pt x="50" y="285"/>
                    </a:lnTo>
                    <a:lnTo>
                      <a:pt x="52" y="287"/>
                    </a:lnTo>
                    <a:close/>
                    <a:moveTo>
                      <a:pt x="49" y="301"/>
                    </a:moveTo>
                    <a:lnTo>
                      <a:pt x="49" y="301"/>
                    </a:lnTo>
                    <a:lnTo>
                      <a:pt x="52" y="291"/>
                    </a:lnTo>
                    <a:lnTo>
                      <a:pt x="49" y="291"/>
                    </a:lnTo>
                    <a:lnTo>
                      <a:pt x="49" y="291"/>
                    </a:lnTo>
                    <a:lnTo>
                      <a:pt x="46" y="301"/>
                    </a:lnTo>
                    <a:lnTo>
                      <a:pt x="49" y="301"/>
                    </a:lnTo>
                    <a:close/>
                    <a:moveTo>
                      <a:pt x="40" y="314"/>
                    </a:moveTo>
                    <a:lnTo>
                      <a:pt x="40" y="314"/>
                    </a:lnTo>
                    <a:lnTo>
                      <a:pt x="46" y="307"/>
                    </a:lnTo>
                    <a:lnTo>
                      <a:pt x="45" y="306"/>
                    </a:lnTo>
                    <a:lnTo>
                      <a:pt x="45" y="306"/>
                    </a:lnTo>
                    <a:lnTo>
                      <a:pt x="39" y="313"/>
                    </a:lnTo>
                    <a:lnTo>
                      <a:pt x="40" y="314"/>
                    </a:lnTo>
                    <a:close/>
                    <a:moveTo>
                      <a:pt x="32" y="327"/>
                    </a:moveTo>
                    <a:lnTo>
                      <a:pt x="32" y="327"/>
                    </a:lnTo>
                    <a:lnTo>
                      <a:pt x="37" y="319"/>
                    </a:lnTo>
                    <a:lnTo>
                      <a:pt x="36" y="317"/>
                    </a:lnTo>
                    <a:lnTo>
                      <a:pt x="36" y="317"/>
                    </a:lnTo>
                    <a:lnTo>
                      <a:pt x="30" y="326"/>
                    </a:lnTo>
                    <a:lnTo>
                      <a:pt x="32" y="327"/>
                    </a:lnTo>
                    <a:close/>
                    <a:moveTo>
                      <a:pt x="22" y="339"/>
                    </a:moveTo>
                    <a:lnTo>
                      <a:pt x="22" y="339"/>
                    </a:lnTo>
                    <a:lnTo>
                      <a:pt x="29" y="332"/>
                    </a:lnTo>
                    <a:lnTo>
                      <a:pt x="26" y="329"/>
                    </a:lnTo>
                    <a:lnTo>
                      <a:pt x="26" y="329"/>
                    </a:lnTo>
                    <a:lnTo>
                      <a:pt x="20" y="338"/>
                    </a:lnTo>
                    <a:lnTo>
                      <a:pt x="22" y="339"/>
                    </a:lnTo>
                    <a:close/>
                    <a:moveTo>
                      <a:pt x="11" y="351"/>
                    </a:moveTo>
                    <a:lnTo>
                      <a:pt x="11" y="351"/>
                    </a:lnTo>
                    <a:lnTo>
                      <a:pt x="19" y="343"/>
                    </a:lnTo>
                    <a:lnTo>
                      <a:pt x="17" y="342"/>
                    </a:lnTo>
                    <a:lnTo>
                      <a:pt x="17" y="342"/>
                    </a:lnTo>
                    <a:lnTo>
                      <a:pt x="10" y="349"/>
                    </a:lnTo>
                    <a:lnTo>
                      <a:pt x="11" y="351"/>
                    </a:lnTo>
                    <a:close/>
                    <a:moveTo>
                      <a:pt x="1" y="362"/>
                    </a:moveTo>
                    <a:lnTo>
                      <a:pt x="1" y="362"/>
                    </a:lnTo>
                    <a:lnTo>
                      <a:pt x="8" y="355"/>
                    </a:lnTo>
                    <a:lnTo>
                      <a:pt x="7" y="352"/>
                    </a:lnTo>
                    <a:lnTo>
                      <a:pt x="7" y="352"/>
                    </a:lnTo>
                    <a:lnTo>
                      <a:pt x="0" y="361"/>
                    </a:lnTo>
                    <a:lnTo>
                      <a:pt x="1" y="36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6" name="Freeform 1694"/>
              <p:cNvSpPr>
                <a:spLocks noEditPoints="1"/>
              </p:cNvSpPr>
              <p:nvPr/>
            </p:nvSpPr>
            <p:spPr bwMode="auto">
              <a:xfrm>
                <a:off x="4580903" y="1751140"/>
                <a:ext cx="290842" cy="420435"/>
              </a:xfrm>
              <a:custGeom>
                <a:avLst/>
                <a:gdLst>
                  <a:gd name="T0" fmla="*/ 16 w 294"/>
                  <a:gd name="T1" fmla="*/ 415 h 425"/>
                  <a:gd name="T2" fmla="*/ 18 w 294"/>
                  <a:gd name="T3" fmla="*/ 415 h 425"/>
                  <a:gd name="T4" fmla="*/ 19 w 294"/>
                  <a:gd name="T5" fmla="*/ 405 h 425"/>
                  <a:gd name="T6" fmla="*/ 28 w 294"/>
                  <a:gd name="T7" fmla="*/ 387 h 425"/>
                  <a:gd name="T8" fmla="*/ 31 w 294"/>
                  <a:gd name="T9" fmla="*/ 378 h 425"/>
                  <a:gd name="T10" fmla="*/ 28 w 294"/>
                  <a:gd name="T11" fmla="*/ 367 h 425"/>
                  <a:gd name="T12" fmla="*/ 31 w 294"/>
                  <a:gd name="T13" fmla="*/ 351 h 425"/>
                  <a:gd name="T14" fmla="*/ 34 w 294"/>
                  <a:gd name="T15" fmla="*/ 347 h 425"/>
                  <a:gd name="T16" fmla="*/ 24 w 294"/>
                  <a:gd name="T17" fmla="*/ 341 h 425"/>
                  <a:gd name="T18" fmla="*/ 25 w 294"/>
                  <a:gd name="T19" fmla="*/ 338 h 425"/>
                  <a:gd name="T20" fmla="*/ 22 w 294"/>
                  <a:gd name="T21" fmla="*/ 319 h 425"/>
                  <a:gd name="T22" fmla="*/ 22 w 294"/>
                  <a:gd name="T23" fmla="*/ 302 h 425"/>
                  <a:gd name="T24" fmla="*/ 22 w 294"/>
                  <a:gd name="T25" fmla="*/ 297 h 425"/>
                  <a:gd name="T26" fmla="*/ 22 w 294"/>
                  <a:gd name="T27" fmla="*/ 281 h 425"/>
                  <a:gd name="T28" fmla="*/ 24 w 294"/>
                  <a:gd name="T29" fmla="*/ 267 h 425"/>
                  <a:gd name="T30" fmla="*/ 28 w 294"/>
                  <a:gd name="T31" fmla="*/ 251 h 425"/>
                  <a:gd name="T32" fmla="*/ 40 w 294"/>
                  <a:gd name="T33" fmla="*/ 241 h 425"/>
                  <a:gd name="T34" fmla="*/ 53 w 294"/>
                  <a:gd name="T35" fmla="*/ 235 h 425"/>
                  <a:gd name="T36" fmla="*/ 51 w 294"/>
                  <a:gd name="T37" fmla="*/ 216 h 425"/>
                  <a:gd name="T38" fmla="*/ 55 w 294"/>
                  <a:gd name="T39" fmla="*/ 210 h 425"/>
                  <a:gd name="T40" fmla="*/ 57 w 294"/>
                  <a:gd name="T41" fmla="*/ 180 h 425"/>
                  <a:gd name="T42" fmla="*/ 60 w 294"/>
                  <a:gd name="T43" fmla="*/ 181 h 425"/>
                  <a:gd name="T44" fmla="*/ 61 w 294"/>
                  <a:gd name="T45" fmla="*/ 177 h 425"/>
                  <a:gd name="T46" fmla="*/ 71 w 294"/>
                  <a:gd name="T47" fmla="*/ 166 h 425"/>
                  <a:gd name="T48" fmla="*/ 79 w 294"/>
                  <a:gd name="T49" fmla="*/ 141 h 425"/>
                  <a:gd name="T50" fmla="*/ 86 w 294"/>
                  <a:gd name="T51" fmla="*/ 111 h 425"/>
                  <a:gd name="T52" fmla="*/ 87 w 294"/>
                  <a:gd name="T53" fmla="*/ 112 h 425"/>
                  <a:gd name="T54" fmla="*/ 92 w 294"/>
                  <a:gd name="T55" fmla="*/ 97 h 425"/>
                  <a:gd name="T56" fmla="*/ 100 w 294"/>
                  <a:gd name="T57" fmla="*/ 90 h 425"/>
                  <a:gd name="T58" fmla="*/ 109 w 294"/>
                  <a:gd name="T59" fmla="*/ 87 h 425"/>
                  <a:gd name="T60" fmla="*/ 115 w 294"/>
                  <a:gd name="T61" fmla="*/ 70 h 425"/>
                  <a:gd name="T62" fmla="*/ 118 w 294"/>
                  <a:gd name="T63" fmla="*/ 70 h 425"/>
                  <a:gd name="T64" fmla="*/ 144 w 294"/>
                  <a:gd name="T65" fmla="*/ 71 h 425"/>
                  <a:gd name="T66" fmla="*/ 148 w 294"/>
                  <a:gd name="T67" fmla="*/ 67 h 425"/>
                  <a:gd name="T68" fmla="*/ 148 w 294"/>
                  <a:gd name="T69" fmla="*/ 57 h 425"/>
                  <a:gd name="T70" fmla="*/ 152 w 294"/>
                  <a:gd name="T71" fmla="*/ 44 h 425"/>
                  <a:gd name="T72" fmla="*/ 167 w 294"/>
                  <a:gd name="T73" fmla="*/ 34 h 425"/>
                  <a:gd name="T74" fmla="*/ 166 w 294"/>
                  <a:gd name="T75" fmla="*/ 38 h 425"/>
                  <a:gd name="T76" fmla="*/ 164 w 294"/>
                  <a:gd name="T77" fmla="*/ 35 h 425"/>
                  <a:gd name="T78" fmla="*/ 164 w 294"/>
                  <a:gd name="T79" fmla="*/ 35 h 425"/>
                  <a:gd name="T80" fmla="*/ 171 w 294"/>
                  <a:gd name="T81" fmla="*/ 42 h 425"/>
                  <a:gd name="T82" fmla="*/ 180 w 294"/>
                  <a:gd name="T83" fmla="*/ 54 h 425"/>
                  <a:gd name="T84" fmla="*/ 196 w 294"/>
                  <a:gd name="T85" fmla="*/ 60 h 425"/>
                  <a:gd name="T86" fmla="*/ 209 w 294"/>
                  <a:gd name="T87" fmla="*/ 53 h 425"/>
                  <a:gd name="T88" fmla="*/ 231 w 294"/>
                  <a:gd name="T89" fmla="*/ 54 h 425"/>
                  <a:gd name="T90" fmla="*/ 228 w 294"/>
                  <a:gd name="T91" fmla="*/ 60 h 425"/>
                  <a:gd name="T92" fmla="*/ 236 w 294"/>
                  <a:gd name="T93" fmla="*/ 48 h 425"/>
                  <a:gd name="T94" fmla="*/ 236 w 294"/>
                  <a:gd name="T95" fmla="*/ 51 h 425"/>
                  <a:gd name="T96" fmla="*/ 238 w 294"/>
                  <a:gd name="T97" fmla="*/ 50 h 425"/>
                  <a:gd name="T98" fmla="*/ 244 w 294"/>
                  <a:gd name="T99" fmla="*/ 28 h 425"/>
                  <a:gd name="T100" fmla="*/ 258 w 294"/>
                  <a:gd name="T101" fmla="*/ 3 h 425"/>
                  <a:gd name="T102" fmla="*/ 252 w 294"/>
                  <a:gd name="T103" fmla="*/ 8 h 425"/>
                  <a:gd name="T104" fmla="*/ 264 w 294"/>
                  <a:gd name="T105" fmla="*/ 0 h 425"/>
                  <a:gd name="T106" fmla="*/ 284 w 294"/>
                  <a:gd name="T107" fmla="*/ 12 h 425"/>
                  <a:gd name="T108" fmla="*/ 277 w 294"/>
                  <a:gd name="T109" fmla="*/ 11 h 425"/>
                  <a:gd name="T110" fmla="*/ 289 w 294"/>
                  <a:gd name="T111" fmla="*/ 15 h 425"/>
                  <a:gd name="T112" fmla="*/ 290 w 294"/>
                  <a:gd name="T113" fmla="*/ 38 h 425"/>
                  <a:gd name="T114" fmla="*/ 289 w 294"/>
                  <a:gd name="T115" fmla="*/ 51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94" h="425">
                    <a:moveTo>
                      <a:pt x="9" y="422"/>
                    </a:moveTo>
                    <a:lnTo>
                      <a:pt x="9" y="422"/>
                    </a:lnTo>
                    <a:lnTo>
                      <a:pt x="2" y="419"/>
                    </a:lnTo>
                    <a:lnTo>
                      <a:pt x="0" y="420"/>
                    </a:lnTo>
                    <a:lnTo>
                      <a:pt x="0" y="420"/>
                    </a:lnTo>
                    <a:lnTo>
                      <a:pt x="8" y="423"/>
                    </a:lnTo>
                    <a:lnTo>
                      <a:pt x="9" y="422"/>
                    </a:lnTo>
                    <a:close/>
                    <a:moveTo>
                      <a:pt x="16" y="415"/>
                    </a:moveTo>
                    <a:lnTo>
                      <a:pt x="16" y="415"/>
                    </a:lnTo>
                    <a:lnTo>
                      <a:pt x="15" y="420"/>
                    </a:lnTo>
                    <a:lnTo>
                      <a:pt x="15" y="420"/>
                    </a:lnTo>
                    <a:lnTo>
                      <a:pt x="13" y="422"/>
                    </a:lnTo>
                    <a:lnTo>
                      <a:pt x="13" y="425"/>
                    </a:lnTo>
                    <a:lnTo>
                      <a:pt x="13" y="425"/>
                    </a:lnTo>
                    <a:lnTo>
                      <a:pt x="16" y="423"/>
                    </a:lnTo>
                    <a:lnTo>
                      <a:pt x="16" y="420"/>
                    </a:lnTo>
                    <a:lnTo>
                      <a:pt x="16" y="420"/>
                    </a:lnTo>
                    <a:lnTo>
                      <a:pt x="18" y="415"/>
                    </a:lnTo>
                    <a:lnTo>
                      <a:pt x="16" y="415"/>
                    </a:lnTo>
                    <a:close/>
                    <a:moveTo>
                      <a:pt x="18" y="399"/>
                    </a:moveTo>
                    <a:lnTo>
                      <a:pt x="18" y="399"/>
                    </a:lnTo>
                    <a:lnTo>
                      <a:pt x="16" y="405"/>
                    </a:lnTo>
                    <a:lnTo>
                      <a:pt x="16" y="405"/>
                    </a:lnTo>
                    <a:lnTo>
                      <a:pt x="16" y="409"/>
                    </a:lnTo>
                    <a:lnTo>
                      <a:pt x="19" y="410"/>
                    </a:lnTo>
                    <a:lnTo>
                      <a:pt x="19" y="410"/>
                    </a:lnTo>
                    <a:lnTo>
                      <a:pt x="19" y="405"/>
                    </a:lnTo>
                    <a:lnTo>
                      <a:pt x="19" y="405"/>
                    </a:lnTo>
                    <a:lnTo>
                      <a:pt x="21" y="400"/>
                    </a:lnTo>
                    <a:lnTo>
                      <a:pt x="18" y="399"/>
                    </a:lnTo>
                    <a:close/>
                    <a:moveTo>
                      <a:pt x="25" y="386"/>
                    </a:moveTo>
                    <a:lnTo>
                      <a:pt x="25" y="386"/>
                    </a:lnTo>
                    <a:lnTo>
                      <a:pt x="19" y="394"/>
                    </a:lnTo>
                    <a:lnTo>
                      <a:pt x="22" y="396"/>
                    </a:lnTo>
                    <a:lnTo>
                      <a:pt x="22" y="396"/>
                    </a:lnTo>
                    <a:lnTo>
                      <a:pt x="28" y="387"/>
                    </a:lnTo>
                    <a:lnTo>
                      <a:pt x="25" y="386"/>
                    </a:lnTo>
                    <a:close/>
                    <a:moveTo>
                      <a:pt x="26" y="373"/>
                    </a:moveTo>
                    <a:lnTo>
                      <a:pt x="26" y="373"/>
                    </a:lnTo>
                    <a:lnTo>
                      <a:pt x="28" y="378"/>
                    </a:lnTo>
                    <a:lnTo>
                      <a:pt x="28" y="378"/>
                    </a:lnTo>
                    <a:lnTo>
                      <a:pt x="28" y="381"/>
                    </a:lnTo>
                    <a:lnTo>
                      <a:pt x="29" y="383"/>
                    </a:lnTo>
                    <a:lnTo>
                      <a:pt x="29" y="383"/>
                    </a:lnTo>
                    <a:lnTo>
                      <a:pt x="31" y="378"/>
                    </a:lnTo>
                    <a:lnTo>
                      <a:pt x="31" y="378"/>
                    </a:lnTo>
                    <a:lnTo>
                      <a:pt x="29" y="371"/>
                    </a:lnTo>
                    <a:lnTo>
                      <a:pt x="26" y="373"/>
                    </a:lnTo>
                    <a:close/>
                    <a:moveTo>
                      <a:pt x="25" y="357"/>
                    </a:moveTo>
                    <a:lnTo>
                      <a:pt x="25" y="357"/>
                    </a:lnTo>
                    <a:lnTo>
                      <a:pt x="25" y="360"/>
                    </a:lnTo>
                    <a:lnTo>
                      <a:pt x="25" y="360"/>
                    </a:lnTo>
                    <a:lnTo>
                      <a:pt x="26" y="367"/>
                    </a:lnTo>
                    <a:lnTo>
                      <a:pt x="28" y="367"/>
                    </a:lnTo>
                    <a:lnTo>
                      <a:pt x="28" y="367"/>
                    </a:lnTo>
                    <a:lnTo>
                      <a:pt x="28" y="360"/>
                    </a:lnTo>
                    <a:lnTo>
                      <a:pt x="28" y="360"/>
                    </a:lnTo>
                    <a:lnTo>
                      <a:pt x="28" y="357"/>
                    </a:lnTo>
                    <a:lnTo>
                      <a:pt x="25" y="357"/>
                    </a:lnTo>
                    <a:close/>
                    <a:moveTo>
                      <a:pt x="29" y="347"/>
                    </a:moveTo>
                    <a:lnTo>
                      <a:pt x="29" y="347"/>
                    </a:lnTo>
                    <a:lnTo>
                      <a:pt x="31" y="350"/>
                    </a:lnTo>
                    <a:lnTo>
                      <a:pt x="31" y="351"/>
                    </a:lnTo>
                    <a:lnTo>
                      <a:pt x="31" y="351"/>
                    </a:lnTo>
                    <a:lnTo>
                      <a:pt x="29" y="352"/>
                    </a:lnTo>
                    <a:lnTo>
                      <a:pt x="29" y="354"/>
                    </a:lnTo>
                    <a:lnTo>
                      <a:pt x="29" y="354"/>
                    </a:lnTo>
                    <a:lnTo>
                      <a:pt x="32" y="352"/>
                    </a:lnTo>
                    <a:lnTo>
                      <a:pt x="32" y="352"/>
                    </a:lnTo>
                    <a:lnTo>
                      <a:pt x="34" y="350"/>
                    </a:lnTo>
                    <a:lnTo>
                      <a:pt x="34" y="350"/>
                    </a:lnTo>
                    <a:lnTo>
                      <a:pt x="34" y="347"/>
                    </a:lnTo>
                    <a:lnTo>
                      <a:pt x="31" y="345"/>
                    </a:lnTo>
                    <a:lnTo>
                      <a:pt x="29" y="347"/>
                    </a:lnTo>
                    <a:close/>
                    <a:moveTo>
                      <a:pt x="22" y="332"/>
                    </a:moveTo>
                    <a:lnTo>
                      <a:pt x="22" y="332"/>
                    </a:lnTo>
                    <a:lnTo>
                      <a:pt x="22" y="338"/>
                    </a:lnTo>
                    <a:lnTo>
                      <a:pt x="22" y="338"/>
                    </a:lnTo>
                    <a:lnTo>
                      <a:pt x="22" y="339"/>
                    </a:lnTo>
                    <a:lnTo>
                      <a:pt x="24" y="341"/>
                    </a:lnTo>
                    <a:lnTo>
                      <a:pt x="24" y="341"/>
                    </a:lnTo>
                    <a:lnTo>
                      <a:pt x="26" y="342"/>
                    </a:lnTo>
                    <a:lnTo>
                      <a:pt x="28" y="341"/>
                    </a:lnTo>
                    <a:lnTo>
                      <a:pt x="28" y="341"/>
                    </a:lnTo>
                    <a:lnTo>
                      <a:pt x="25" y="338"/>
                    </a:lnTo>
                    <a:lnTo>
                      <a:pt x="25" y="339"/>
                    </a:lnTo>
                    <a:lnTo>
                      <a:pt x="25" y="338"/>
                    </a:lnTo>
                    <a:lnTo>
                      <a:pt x="25" y="338"/>
                    </a:lnTo>
                    <a:lnTo>
                      <a:pt x="25" y="339"/>
                    </a:lnTo>
                    <a:lnTo>
                      <a:pt x="25" y="338"/>
                    </a:lnTo>
                    <a:lnTo>
                      <a:pt x="25" y="338"/>
                    </a:lnTo>
                    <a:lnTo>
                      <a:pt x="25" y="338"/>
                    </a:lnTo>
                    <a:lnTo>
                      <a:pt x="25" y="336"/>
                    </a:lnTo>
                    <a:lnTo>
                      <a:pt x="25" y="336"/>
                    </a:lnTo>
                    <a:lnTo>
                      <a:pt x="25" y="332"/>
                    </a:lnTo>
                    <a:lnTo>
                      <a:pt x="22" y="332"/>
                    </a:lnTo>
                    <a:close/>
                    <a:moveTo>
                      <a:pt x="22" y="318"/>
                    </a:moveTo>
                    <a:lnTo>
                      <a:pt x="22" y="318"/>
                    </a:lnTo>
                    <a:lnTo>
                      <a:pt x="22" y="319"/>
                    </a:lnTo>
                    <a:lnTo>
                      <a:pt x="22" y="319"/>
                    </a:lnTo>
                    <a:lnTo>
                      <a:pt x="22" y="328"/>
                    </a:lnTo>
                    <a:lnTo>
                      <a:pt x="25" y="328"/>
                    </a:lnTo>
                    <a:lnTo>
                      <a:pt x="25" y="328"/>
                    </a:lnTo>
                    <a:lnTo>
                      <a:pt x="24" y="319"/>
                    </a:lnTo>
                    <a:lnTo>
                      <a:pt x="24" y="319"/>
                    </a:lnTo>
                    <a:lnTo>
                      <a:pt x="24" y="318"/>
                    </a:lnTo>
                    <a:lnTo>
                      <a:pt x="22" y="318"/>
                    </a:lnTo>
                    <a:close/>
                    <a:moveTo>
                      <a:pt x="22" y="302"/>
                    </a:moveTo>
                    <a:lnTo>
                      <a:pt x="22" y="302"/>
                    </a:lnTo>
                    <a:lnTo>
                      <a:pt x="22" y="312"/>
                    </a:lnTo>
                    <a:lnTo>
                      <a:pt x="25" y="312"/>
                    </a:lnTo>
                    <a:lnTo>
                      <a:pt x="25" y="312"/>
                    </a:lnTo>
                    <a:lnTo>
                      <a:pt x="25" y="302"/>
                    </a:lnTo>
                    <a:lnTo>
                      <a:pt x="22" y="302"/>
                    </a:lnTo>
                    <a:close/>
                    <a:moveTo>
                      <a:pt x="22" y="287"/>
                    </a:moveTo>
                    <a:lnTo>
                      <a:pt x="22" y="287"/>
                    </a:lnTo>
                    <a:lnTo>
                      <a:pt x="22" y="297"/>
                    </a:lnTo>
                    <a:lnTo>
                      <a:pt x="25" y="297"/>
                    </a:lnTo>
                    <a:lnTo>
                      <a:pt x="25" y="297"/>
                    </a:lnTo>
                    <a:lnTo>
                      <a:pt x="25" y="287"/>
                    </a:lnTo>
                    <a:lnTo>
                      <a:pt x="22" y="287"/>
                    </a:lnTo>
                    <a:close/>
                    <a:moveTo>
                      <a:pt x="22" y="271"/>
                    </a:moveTo>
                    <a:lnTo>
                      <a:pt x="22" y="271"/>
                    </a:lnTo>
                    <a:lnTo>
                      <a:pt x="22" y="276"/>
                    </a:lnTo>
                    <a:lnTo>
                      <a:pt x="22" y="276"/>
                    </a:lnTo>
                    <a:lnTo>
                      <a:pt x="22" y="281"/>
                    </a:lnTo>
                    <a:lnTo>
                      <a:pt x="25" y="281"/>
                    </a:lnTo>
                    <a:lnTo>
                      <a:pt x="25" y="281"/>
                    </a:lnTo>
                    <a:lnTo>
                      <a:pt x="25" y="276"/>
                    </a:lnTo>
                    <a:lnTo>
                      <a:pt x="25" y="276"/>
                    </a:lnTo>
                    <a:lnTo>
                      <a:pt x="25" y="271"/>
                    </a:lnTo>
                    <a:lnTo>
                      <a:pt x="22" y="271"/>
                    </a:lnTo>
                    <a:close/>
                    <a:moveTo>
                      <a:pt x="26" y="257"/>
                    </a:moveTo>
                    <a:lnTo>
                      <a:pt x="26" y="257"/>
                    </a:lnTo>
                    <a:lnTo>
                      <a:pt x="24" y="267"/>
                    </a:lnTo>
                    <a:lnTo>
                      <a:pt x="26" y="267"/>
                    </a:lnTo>
                    <a:lnTo>
                      <a:pt x="26" y="267"/>
                    </a:lnTo>
                    <a:lnTo>
                      <a:pt x="28" y="257"/>
                    </a:lnTo>
                    <a:lnTo>
                      <a:pt x="26" y="257"/>
                    </a:lnTo>
                    <a:close/>
                    <a:moveTo>
                      <a:pt x="35" y="244"/>
                    </a:moveTo>
                    <a:lnTo>
                      <a:pt x="35" y="244"/>
                    </a:lnTo>
                    <a:lnTo>
                      <a:pt x="31" y="247"/>
                    </a:lnTo>
                    <a:lnTo>
                      <a:pt x="31" y="247"/>
                    </a:lnTo>
                    <a:lnTo>
                      <a:pt x="28" y="251"/>
                    </a:lnTo>
                    <a:lnTo>
                      <a:pt x="31" y="252"/>
                    </a:lnTo>
                    <a:lnTo>
                      <a:pt x="31" y="252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37" y="247"/>
                    </a:lnTo>
                    <a:lnTo>
                      <a:pt x="35" y="244"/>
                    </a:lnTo>
                    <a:close/>
                    <a:moveTo>
                      <a:pt x="48" y="237"/>
                    </a:moveTo>
                    <a:lnTo>
                      <a:pt x="48" y="237"/>
                    </a:lnTo>
                    <a:lnTo>
                      <a:pt x="40" y="241"/>
                    </a:lnTo>
                    <a:lnTo>
                      <a:pt x="41" y="244"/>
                    </a:lnTo>
                    <a:lnTo>
                      <a:pt x="41" y="244"/>
                    </a:lnTo>
                    <a:lnTo>
                      <a:pt x="50" y="239"/>
                    </a:lnTo>
                    <a:lnTo>
                      <a:pt x="48" y="237"/>
                    </a:lnTo>
                    <a:close/>
                    <a:moveTo>
                      <a:pt x="51" y="225"/>
                    </a:moveTo>
                    <a:lnTo>
                      <a:pt x="51" y="225"/>
                    </a:lnTo>
                    <a:lnTo>
                      <a:pt x="53" y="232"/>
                    </a:lnTo>
                    <a:lnTo>
                      <a:pt x="53" y="232"/>
                    </a:lnTo>
                    <a:lnTo>
                      <a:pt x="53" y="235"/>
                    </a:lnTo>
                    <a:lnTo>
                      <a:pt x="54" y="235"/>
                    </a:lnTo>
                    <a:lnTo>
                      <a:pt x="54" y="235"/>
                    </a:lnTo>
                    <a:lnTo>
                      <a:pt x="55" y="232"/>
                    </a:lnTo>
                    <a:lnTo>
                      <a:pt x="55" y="232"/>
                    </a:lnTo>
                    <a:lnTo>
                      <a:pt x="54" y="225"/>
                    </a:lnTo>
                    <a:lnTo>
                      <a:pt x="51" y="225"/>
                    </a:lnTo>
                    <a:close/>
                    <a:moveTo>
                      <a:pt x="53" y="210"/>
                    </a:moveTo>
                    <a:lnTo>
                      <a:pt x="53" y="210"/>
                    </a:lnTo>
                    <a:lnTo>
                      <a:pt x="51" y="216"/>
                    </a:lnTo>
                    <a:lnTo>
                      <a:pt x="51" y="216"/>
                    </a:lnTo>
                    <a:lnTo>
                      <a:pt x="50" y="219"/>
                    </a:lnTo>
                    <a:lnTo>
                      <a:pt x="50" y="221"/>
                    </a:lnTo>
                    <a:lnTo>
                      <a:pt x="53" y="221"/>
                    </a:lnTo>
                    <a:lnTo>
                      <a:pt x="53" y="219"/>
                    </a:lnTo>
                    <a:lnTo>
                      <a:pt x="53" y="219"/>
                    </a:lnTo>
                    <a:lnTo>
                      <a:pt x="53" y="218"/>
                    </a:lnTo>
                    <a:lnTo>
                      <a:pt x="53" y="218"/>
                    </a:lnTo>
                    <a:lnTo>
                      <a:pt x="55" y="210"/>
                    </a:lnTo>
                    <a:lnTo>
                      <a:pt x="53" y="210"/>
                    </a:lnTo>
                    <a:close/>
                    <a:moveTo>
                      <a:pt x="55" y="196"/>
                    </a:moveTo>
                    <a:lnTo>
                      <a:pt x="55" y="196"/>
                    </a:lnTo>
                    <a:lnTo>
                      <a:pt x="54" y="206"/>
                    </a:lnTo>
                    <a:lnTo>
                      <a:pt x="57" y="206"/>
                    </a:lnTo>
                    <a:lnTo>
                      <a:pt x="57" y="206"/>
                    </a:lnTo>
                    <a:lnTo>
                      <a:pt x="58" y="196"/>
                    </a:lnTo>
                    <a:lnTo>
                      <a:pt x="55" y="196"/>
                    </a:lnTo>
                    <a:close/>
                    <a:moveTo>
                      <a:pt x="57" y="180"/>
                    </a:moveTo>
                    <a:lnTo>
                      <a:pt x="57" y="180"/>
                    </a:lnTo>
                    <a:lnTo>
                      <a:pt x="55" y="187"/>
                    </a:lnTo>
                    <a:lnTo>
                      <a:pt x="55" y="187"/>
                    </a:lnTo>
                    <a:lnTo>
                      <a:pt x="55" y="190"/>
                    </a:lnTo>
                    <a:lnTo>
                      <a:pt x="58" y="190"/>
                    </a:lnTo>
                    <a:lnTo>
                      <a:pt x="58" y="190"/>
                    </a:lnTo>
                    <a:lnTo>
                      <a:pt x="58" y="187"/>
                    </a:lnTo>
                    <a:lnTo>
                      <a:pt x="58" y="187"/>
                    </a:lnTo>
                    <a:lnTo>
                      <a:pt x="60" y="181"/>
                    </a:lnTo>
                    <a:lnTo>
                      <a:pt x="57" y="180"/>
                    </a:lnTo>
                    <a:close/>
                    <a:moveTo>
                      <a:pt x="67" y="168"/>
                    </a:moveTo>
                    <a:lnTo>
                      <a:pt x="67" y="168"/>
                    </a:lnTo>
                    <a:lnTo>
                      <a:pt x="64" y="170"/>
                    </a:lnTo>
                    <a:lnTo>
                      <a:pt x="64" y="170"/>
                    </a:lnTo>
                    <a:lnTo>
                      <a:pt x="61" y="173"/>
                    </a:lnTo>
                    <a:lnTo>
                      <a:pt x="60" y="176"/>
                    </a:lnTo>
                    <a:lnTo>
                      <a:pt x="61" y="177"/>
                    </a:lnTo>
                    <a:lnTo>
                      <a:pt x="61" y="177"/>
                    </a:lnTo>
                    <a:lnTo>
                      <a:pt x="66" y="171"/>
                    </a:lnTo>
                    <a:lnTo>
                      <a:pt x="66" y="171"/>
                    </a:lnTo>
                    <a:lnTo>
                      <a:pt x="68" y="170"/>
                    </a:lnTo>
                    <a:lnTo>
                      <a:pt x="67" y="168"/>
                    </a:lnTo>
                    <a:close/>
                    <a:moveTo>
                      <a:pt x="73" y="154"/>
                    </a:moveTo>
                    <a:lnTo>
                      <a:pt x="73" y="154"/>
                    </a:lnTo>
                    <a:lnTo>
                      <a:pt x="68" y="164"/>
                    </a:lnTo>
                    <a:lnTo>
                      <a:pt x="71" y="166"/>
                    </a:lnTo>
                    <a:lnTo>
                      <a:pt x="71" y="166"/>
                    </a:lnTo>
                    <a:lnTo>
                      <a:pt x="76" y="155"/>
                    </a:lnTo>
                    <a:lnTo>
                      <a:pt x="73" y="154"/>
                    </a:lnTo>
                    <a:close/>
                    <a:moveTo>
                      <a:pt x="79" y="141"/>
                    </a:moveTo>
                    <a:lnTo>
                      <a:pt x="79" y="141"/>
                    </a:lnTo>
                    <a:lnTo>
                      <a:pt x="76" y="151"/>
                    </a:lnTo>
                    <a:lnTo>
                      <a:pt x="79" y="151"/>
                    </a:lnTo>
                    <a:lnTo>
                      <a:pt x="79" y="151"/>
                    </a:lnTo>
                    <a:lnTo>
                      <a:pt x="82" y="141"/>
                    </a:lnTo>
                    <a:lnTo>
                      <a:pt x="79" y="141"/>
                    </a:lnTo>
                    <a:close/>
                    <a:moveTo>
                      <a:pt x="82" y="126"/>
                    </a:moveTo>
                    <a:lnTo>
                      <a:pt x="82" y="126"/>
                    </a:lnTo>
                    <a:lnTo>
                      <a:pt x="80" y="135"/>
                    </a:lnTo>
                    <a:lnTo>
                      <a:pt x="82" y="137"/>
                    </a:lnTo>
                    <a:lnTo>
                      <a:pt x="82" y="137"/>
                    </a:lnTo>
                    <a:lnTo>
                      <a:pt x="84" y="126"/>
                    </a:lnTo>
                    <a:lnTo>
                      <a:pt x="82" y="126"/>
                    </a:lnTo>
                    <a:close/>
                    <a:moveTo>
                      <a:pt x="86" y="111"/>
                    </a:moveTo>
                    <a:lnTo>
                      <a:pt x="86" y="111"/>
                    </a:lnTo>
                    <a:lnTo>
                      <a:pt x="86" y="111"/>
                    </a:lnTo>
                    <a:lnTo>
                      <a:pt x="84" y="115"/>
                    </a:lnTo>
                    <a:lnTo>
                      <a:pt x="84" y="115"/>
                    </a:lnTo>
                    <a:lnTo>
                      <a:pt x="83" y="121"/>
                    </a:lnTo>
                    <a:lnTo>
                      <a:pt x="84" y="122"/>
                    </a:lnTo>
                    <a:lnTo>
                      <a:pt x="84" y="122"/>
                    </a:lnTo>
                    <a:lnTo>
                      <a:pt x="86" y="116"/>
                    </a:lnTo>
                    <a:lnTo>
                      <a:pt x="86" y="116"/>
                    </a:lnTo>
                    <a:lnTo>
                      <a:pt x="87" y="112"/>
                    </a:lnTo>
                    <a:lnTo>
                      <a:pt x="87" y="112"/>
                    </a:lnTo>
                    <a:lnTo>
                      <a:pt x="86" y="111"/>
                    </a:lnTo>
                    <a:close/>
                    <a:moveTo>
                      <a:pt x="92" y="97"/>
                    </a:moveTo>
                    <a:lnTo>
                      <a:pt x="92" y="97"/>
                    </a:lnTo>
                    <a:lnTo>
                      <a:pt x="87" y="106"/>
                    </a:lnTo>
                    <a:lnTo>
                      <a:pt x="90" y="108"/>
                    </a:lnTo>
                    <a:lnTo>
                      <a:pt x="90" y="108"/>
                    </a:lnTo>
                    <a:lnTo>
                      <a:pt x="95" y="99"/>
                    </a:lnTo>
                    <a:lnTo>
                      <a:pt x="92" y="97"/>
                    </a:lnTo>
                    <a:close/>
                    <a:moveTo>
                      <a:pt x="103" y="86"/>
                    </a:moveTo>
                    <a:lnTo>
                      <a:pt x="103" y="86"/>
                    </a:lnTo>
                    <a:lnTo>
                      <a:pt x="99" y="87"/>
                    </a:lnTo>
                    <a:lnTo>
                      <a:pt x="99" y="87"/>
                    </a:lnTo>
                    <a:lnTo>
                      <a:pt x="95" y="93"/>
                    </a:lnTo>
                    <a:lnTo>
                      <a:pt x="97" y="95"/>
                    </a:lnTo>
                    <a:lnTo>
                      <a:pt x="97" y="95"/>
                    </a:lnTo>
                    <a:lnTo>
                      <a:pt x="100" y="90"/>
                    </a:lnTo>
                    <a:lnTo>
                      <a:pt x="100" y="90"/>
                    </a:lnTo>
                    <a:lnTo>
                      <a:pt x="103" y="87"/>
                    </a:lnTo>
                    <a:lnTo>
                      <a:pt x="103" y="86"/>
                    </a:lnTo>
                    <a:close/>
                    <a:moveTo>
                      <a:pt x="115" y="86"/>
                    </a:moveTo>
                    <a:lnTo>
                      <a:pt x="115" y="86"/>
                    </a:lnTo>
                    <a:lnTo>
                      <a:pt x="113" y="87"/>
                    </a:lnTo>
                    <a:lnTo>
                      <a:pt x="113" y="87"/>
                    </a:lnTo>
                    <a:lnTo>
                      <a:pt x="112" y="87"/>
                    </a:lnTo>
                    <a:lnTo>
                      <a:pt x="112" y="87"/>
                    </a:lnTo>
                    <a:lnTo>
                      <a:pt x="109" y="87"/>
                    </a:lnTo>
                    <a:lnTo>
                      <a:pt x="108" y="89"/>
                    </a:lnTo>
                    <a:lnTo>
                      <a:pt x="108" y="89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6" y="89"/>
                    </a:lnTo>
                    <a:lnTo>
                      <a:pt x="116" y="89"/>
                    </a:lnTo>
                    <a:lnTo>
                      <a:pt x="118" y="86"/>
                    </a:lnTo>
                    <a:lnTo>
                      <a:pt x="115" y="86"/>
                    </a:lnTo>
                    <a:close/>
                    <a:moveTo>
                      <a:pt x="115" y="70"/>
                    </a:moveTo>
                    <a:lnTo>
                      <a:pt x="115" y="70"/>
                    </a:lnTo>
                    <a:lnTo>
                      <a:pt x="115" y="71"/>
                    </a:lnTo>
                    <a:lnTo>
                      <a:pt x="115" y="71"/>
                    </a:lnTo>
                    <a:lnTo>
                      <a:pt x="115" y="80"/>
                    </a:lnTo>
                    <a:lnTo>
                      <a:pt x="118" y="80"/>
                    </a:lnTo>
                    <a:lnTo>
                      <a:pt x="118" y="80"/>
                    </a:lnTo>
                    <a:lnTo>
                      <a:pt x="118" y="71"/>
                    </a:lnTo>
                    <a:lnTo>
                      <a:pt x="118" y="71"/>
                    </a:lnTo>
                    <a:lnTo>
                      <a:pt x="118" y="70"/>
                    </a:lnTo>
                    <a:lnTo>
                      <a:pt x="115" y="70"/>
                    </a:lnTo>
                    <a:close/>
                    <a:moveTo>
                      <a:pt x="129" y="69"/>
                    </a:moveTo>
                    <a:lnTo>
                      <a:pt x="129" y="69"/>
                    </a:lnTo>
                    <a:lnTo>
                      <a:pt x="119" y="66"/>
                    </a:lnTo>
                    <a:lnTo>
                      <a:pt x="119" y="69"/>
                    </a:lnTo>
                    <a:lnTo>
                      <a:pt x="119" y="69"/>
                    </a:lnTo>
                    <a:lnTo>
                      <a:pt x="129" y="70"/>
                    </a:lnTo>
                    <a:lnTo>
                      <a:pt x="129" y="69"/>
                    </a:lnTo>
                    <a:close/>
                    <a:moveTo>
                      <a:pt x="144" y="71"/>
                    </a:moveTo>
                    <a:lnTo>
                      <a:pt x="144" y="71"/>
                    </a:lnTo>
                    <a:lnTo>
                      <a:pt x="135" y="70"/>
                    </a:lnTo>
                    <a:lnTo>
                      <a:pt x="134" y="71"/>
                    </a:lnTo>
                    <a:lnTo>
                      <a:pt x="134" y="71"/>
                    </a:lnTo>
                    <a:lnTo>
                      <a:pt x="144" y="74"/>
                    </a:lnTo>
                    <a:lnTo>
                      <a:pt x="144" y="71"/>
                    </a:lnTo>
                    <a:close/>
                    <a:moveTo>
                      <a:pt x="148" y="61"/>
                    </a:moveTo>
                    <a:lnTo>
                      <a:pt x="148" y="61"/>
                    </a:lnTo>
                    <a:lnTo>
                      <a:pt x="148" y="67"/>
                    </a:lnTo>
                    <a:lnTo>
                      <a:pt x="147" y="71"/>
                    </a:lnTo>
                    <a:lnTo>
                      <a:pt x="150" y="73"/>
                    </a:lnTo>
                    <a:lnTo>
                      <a:pt x="150" y="73"/>
                    </a:lnTo>
                    <a:lnTo>
                      <a:pt x="151" y="69"/>
                    </a:lnTo>
                    <a:lnTo>
                      <a:pt x="151" y="63"/>
                    </a:lnTo>
                    <a:lnTo>
                      <a:pt x="148" y="61"/>
                    </a:lnTo>
                    <a:close/>
                    <a:moveTo>
                      <a:pt x="148" y="47"/>
                    </a:moveTo>
                    <a:lnTo>
                      <a:pt x="148" y="47"/>
                    </a:lnTo>
                    <a:lnTo>
                      <a:pt x="148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47"/>
                    </a:lnTo>
                    <a:lnTo>
                      <a:pt x="148" y="47"/>
                    </a:lnTo>
                    <a:close/>
                    <a:moveTo>
                      <a:pt x="163" y="42"/>
                    </a:moveTo>
                    <a:lnTo>
                      <a:pt x="163" y="42"/>
                    </a:lnTo>
                    <a:lnTo>
                      <a:pt x="161" y="42"/>
                    </a:lnTo>
                    <a:lnTo>
                      <a:pt x="161" y="42"/>
                    </a:lnTo>
                    <a:lnTo>
                      <a:pt x="152" y="44"/>
                    </a:lnTo>
                    <a:lnTo>
                      <a:pt x="154" y="45"/>
                    </a:lnTo>
                    <a:lnTo>
                      <a:pt x="154" y="45"/>
                    </a:lnTo>
                    <a:lnTo>
                      <a:pt x="161" y="45"/>
                    </a:lnTo>
                    <a:lnTo>
                      <a:pt x="161" y="45"/>
                    </a:lnTo>
                    <a:lnTo>
                      <a:pt x="164" y="44"/>
                    </a:lnTo>
                    <a:lnTo>
                      <a:pt x="163" y="42"/>
                    </a:lnTo>
                    <a:close/>
                    <a:moveTo>
                      <a:pt x="170" y="37"/>
                    </a:moveTo>
                    <a:lnTo>
                      <a:pt x="170" y="37"/>
                    </a:lnTo>
                    <a:lnTo>
                      <a:pt x="167" y="34"/>
                    </a:lnTo>
                    <a:lnTo>
                      <a:pt x="167" y="34"/>
                    </a:lnTo>
                    <a:lnTo>
                      <a:pt x="164" y="34"/>
                    </a:lnTo>
                    <a:lnTo>
                      <a:pt x="164" y="34"/>
                    </a:lnTo>
                    <a:lnTo>
                      <a:pt x="163" y="34"/>
                    </a:lnTo>
                    <a:lnTo>
                      <a:pt x="163" y="34"/>
                    </a:lnTo>
                    <a:lnTo>
                      <a:pt x="163" y="35"/>
                    </a:lnTo>
                    <a:lnTo>
                      <a:pt x="163" y="35"/>
                    </a:lnTo>
                    <a:lnTo>
                      <a:pt x="163" y="40"/>
                    </a:lnTo>
                    <a:lnTo>
                      <a:pt x="166" y="38"/>
                    </a:lnTo>
                    <a:lnTo>
                      <a:pt x="166" y="38"/>
                    </a:lnTo>
                    <a:lnTo>
                      <a:pt x="166" y="35"/>
                    </a:lnTo>
                    <a:lnTo>
                      <a:pt x="166" y="35"/>
                    </a:lnTo>
                    <a:lnTo>
                      <a:pt x="164" y="35"/>
                    </a:lnTo>
                    <a:lnTo>
                      <a:pt x="166" y="35"/>
                    </a:lnTo>
                    <a:lnTo>
                      <a:pt x="166" y="35"/>
                    </a:lnTo>
                    <a:lnTo>
                      <a:pt x="164" y="35"/>
                    </a:lnTo>
                    <a:lnTo>
                      <a:pt x="166" y="35"/>
                    </a:lnTo>
                    <a:lnTo>
                      <a:pt x="164" y="35"/>
                    </a:lnTo>
                    <a:lnTo>
                      <a:pt x="164" y="35"/>
                    </a:lnTo>
                    <a:lnTo>
                      <a:pt x="166" y="35"/>
                    </a:lnTo>
                    <a:lnTo>
                      <a:pt x="164" y="35"/>
                    </a:lnTo>
                    <a:lnTo>
                      <a:pt x="164" y="35"/>
                    </a:lnTo>
                    <a:lnTo>
                      <a:pt x="164" y="35"/>
                    </a:lnTo>
                    <a:lnTo>
                      <a:pt x="164" y="35"/>
                    </a:lnTo>
                    <a:lnTo>
                      <a:pt x="164" y="35"/>
                    </a:lnTo>
                    <a:lnTo>
                      <a:pt x="164" y="35"/>
                    </a:lnTo>
                    <a:lnTo>
                      <a:pt x="164" y="35"/>
                    </a:lnTo>
                    <a:lnTo>
                      <a:pt x="164" y="35"/>
                    </a:lnTo>
                    <a:lnTo>
                      <a:pt x="166" y="37"/>
                    </a:lnTo>
                    <a:lnTo>
                      <a:pt x="166" y="37"/>
                    </a:lnTo>
                    <a:lnTo>
                      <a:pt x="168" y="38"/>
                    </a:lnTo>
                    <a:lnTo>
                      <a:pt x="170" y="37"/>
                    </a:lnTo>
                    <a:close/>
                    <a:moveTo>
                      <a:pt x="179" y="48"/>
                    </a:moveTo>
                    <a:lnTo>
                      <a:pt x="179" y="48"/>
                    </a:lnTo>
                    <a:lnTo>
                      <a:pt x="173" y="41"/>
                    </a:lnTo>
                    <a:lnTo>
                      <a:pt x="171" y="42"/>
                    </a:lnTo>
                    <a:lnTo>
                      <a:pt x="171" y="42"/>
                    </a:lnTo>
                    <a:lnTo>
                      <a:pt x="177" y="51"/>
                    </a:lnTo>
                    <a:lnTo>
                      <a:pt x="179" y="48"/>
                    </a:lnTo>
                    <a:close/>
                    <a:moveTo>
                      <a:pt x="190" y="57"/>
                    </a:moveTo>
                    <a:lnTo>
                      <a:pt x="190" y="57"/>
                    </a:lnTo>
                    <a:lnTo>
                      <a:pt x="187" y="55"/>
                    </a:lnTo>
                    <a:lnTo>
                      <a:pt x="187" y="55"/>
                    </a:lnTo>
                    <a:lnTo>
                      <a:pt x="183" y="53"/>
                    </a:lnTo>
                    <a:lnTo>
                      <a:pt x="180" y="54"/>
                    </a:lnTo>
                    <a:lnTo>
                      <a:pt x="180" y="54"/>
                    </a:lnTo>
                    <a:lnTo>
                      <a:pt x="186" y="58"/>
                    </a:lnTo>
                    <a:lnTo>
                      <a:pt x="186" y="58"/>
                    </a:lnTo>
                    <a:lnTo>
                      <a:pt x="190" y="60"/>
                    </a:lnTo>
                    <a:lnTo>
                      <a:pt x="190" y="57"/>
                    </a:lnTo>
                    <a:close/>
                    <a:moveTo>
                      <a:pt x="205" y="54"/>
                    </a:moveTo>
                    <a:lnTo>
                      <a:pt x="205" y="54"/>
                    </a:lnTo>
                    <a:lnTo>
                      <a:pt x="194" y="57"/>
                    </a:lnTo>
                    <a:lnTo>
                      <a:pt x="196" y="60"/>
                    </a:lnTo>
                    <a:lnTo>
                      <a:pt x="196" y="60"/>
                    </a:lnTo>
                    <a:lnTo>
                      <a:pt x="205" y="55"/>
                    </a:lnTo>
                    <a:lnTo>
                      <a:pt x="205" y="54"/>
                    </a:lnTo>
                    <a:close/>
                    <a:moveTo>
                      <a:pt x="219" y="57"/>
                    </a:moveTo>
                    <a:lnTo>
                      <a:pt x="219" y="57"/>
                    </a:lnTo>
                    <a:lnTo>
                      <a:pt x="215" y="54"/>
                    </a:lnTo>
                    <a:lnTo>
                      <a:pt x="215" y="54"/>
                    </a:lnTo>
                    <a:lnTo>
                      <a:pt x="212" y="53"/>
                    </a:lnTo>
                    <a:lnTo>
                      <a:pt x="209" y="53"/>
                    </a:lnTo>
                    <a:lnTo>
                      <a:pt x="209" y="53"/>
                    </a:lnTo>
                    <a:lnTo>
                      <a:pt x="209" y="54"/>
                    </a:lnTo>
                    <a:lnTo>
                      <a:pt x="209" y="54"/>
                    </a:lnTo>
                    <a:lnTo>
                      <a:pt x="209" y="54"/>
                    </a:lnTo>
                    <a:lnTo>
                      <a:pt x="213" y="55"/>
                    </a:lnTo>
                    <a:lnTo>
                      <a:pt x="213" y="55"/>
                    </a:lnTo>
                    <a:lnTo>
                      <a:pt x="218" y="60"/>
                    </a:lnTo>
                    <a:lnTo>
                      <a:pt x="219" y="57"/>
                    </a:lnTo>
                    <a:close/>
                    <a:moveTo>
                      <a:pt x="231" y="54"/>
                    </a:moveTo>
                    <a:lnTo>
                      <a:pt x="231" y="54"/>
                    </a:lnTo>
                    <a:lnTo>
                      <a:pt x="226" y="58"/>
                    </a:lnTo>
                    <a:lnTo>
                      <a:pt x="223" y="58"/>
                    </a:lnTo>
                    <a:lnTo>
                      <a:pt x="222" y="58"/>
                    </a:lnTo>
                    <a:lnTo>
                      <a:pt x="222" y="61"/>
                    </a:lnTo>
                    <a:lnTo>
                      <a:pt x="223" y="61"/>
                    </a:lnTo>
                    <a:lnTo>
                      <a:pt x="223" y="61"/>
                    </a:lnTo>
                    <a:lnTo>
                      <a:pt x="225" y="61"/>
                    </a:lnTo>
                    <a:lnTo>
                      <a:pt x="228" y="60"/>
                    </a:lnTo>
                    <a:lnTo>
                      <a:pt x="232" y="55"/>
                    </a:lnTo>
                    <a:lnTo>
                      <a:pt x="231" y="54"/>
                    </a:lnTo>
                    <a:close/>
                    <a:moveTo>
                      <a:pt x="238" y="42"/>
                    </a:moveTo>
                    <a:lnTo>
                      <a:pt x="238" y="42"/>
                    </a:lnTo>
                    <a:lnTo>
                      <a:pt x="236" y="47"/>
                    </a:lnTo>
                    <a:lnTo>
                      <a:pt x="236" y="47"/>
                    </a:lnTo>
                    <a:lnTo>
                      <a:pt x="235" y="48"/>
                    </a:lnTo>
                    <a:lnTo>
                      <a:pt x="235" y="48"/>
                    </a:lnTo>
                    <a:lnTo>
                      <a:pt x="236" y="48"/>
                    </a:lnTo>
                    <a:lnTo>
                      <a:pt x="235" y="48"/>
                    </a:lnTo>
                    <a:lnTo>
                      <a:pt x="235" y="48"/>
                    </a:lnTo>
                    <a:lnTo>
                      <a:pt x="236" y="48"/>
                    </a:lnTo>
                    <a:lnTo>
                      <a:pt x="235" y="48"/>
                    </a:lnTo>
                    <a:lnTo>
                      <a:pt x="235" y="48"/>
                    </a:lnTo>
                    <a:lnTo>
                      <a:pt x="235" y="50"/>
                    </a:lnTo>
                    <a:lnTo>
                      <a:pt x="234" y="50"/>
                    </a:lnTo>
                    <a:lnTo>
                      <a:pt x="235" y="53"/>
                    </a:lnTo>
                    <a:lnTo>
                      <a:pt x="236" y="51"/>
                    </a:lnTo>
                    <a:lnTo>
                      <a:pt x="236" y="51"/>
                    </a:lnTo>
                    <a:lnTo>
                      <a:pt x="236" y="51"/>
                    </a:lnTo>
                    <a:lnTo>
                      <a:pt x="236" y="51"/>
                    </a:lnTo>
                    <a:lnTo>
                      <a:pt x="236" y="51"/>
                    </a:lnTo>
                    <a:lnTo>
                      <a:pt x="236" y="51"/>
                    </a:lnTo>
                    <a:lnTo>
                      <a:pt x="236" y="51"/>
                    </a:lnTo>
                    <a:lnTo>
                      <a:pt x="236" y="51"/>
                    </a:lnTo>
                    <a:lnTo>
                      <a:pt x="236" y="51"/>
                    </a:lnTo>
                    <a:lnTo>
                      <a:pt x="238" y="50"/>
                    </a:lnTo>
                    <a:lnTo>
                      <a:pt x="238" y="50"/>
                    </a:lnTo>
                    <a:lnTo>
                      <a:pt x="241" y="42"/>
                    </a:lnTo>
                    <a:lnTo>
                      <a:pt x="238" y="42"/>
                    </a:lnTo>
                    <a:close/>
                    <a:moveTo>
                      <a:pt x="242" y="28"/>
                    </a:moveTo>
                    <a:lnTo>
                      <a:pt x="242" y="28"/>
                    </a:lnTo>
                    <a:lnTo>
                      <a:pt x="239" y="38"/>
                    </a:lnTo>
                    <a:lnTo>
                      <a:pt x="242" y="38"/>
                    </a:lnTo>
                    <a:lnTo>
                      <a:pt x="242" y="38"/>
                    </a:lnTo>
                    <a:lnTo>
                      <a:pt x="244" y="28"/>
                    </a:lnTo>
                    <a:lnTo>
                      <a:pt x="242" y="28"/>
                    </a:lnTo>
                    <a:close/>
                    <a:moveTo>
                      <a:pt x="245" y="12"/>
                    </a:moveTo>
                    <a:lnTo>
                      <a:pt x="245" y="12"/>
                    </a:lnTo>
                    <a:lnTo>
                      <a:pt x="242" y="22"/>
                    </a:lnTo>
                    <a:lnTo>
                      <a:pt x="245" y="24"/>
                    </a:lnTo>
                    <a:lnTo>
                      <a:pt x="245" y="24"/>
                    </a:lnTo>
                    <a:lnTo>
                      <a:pt x="248" y="13"/>
                    </a:lnTo>
                    <a:lnTo>
                      <a:pt x="245" y="12"/>
                    </a:lnTo>
                    <a:close/>
                    <a:moveTo>
                      <a:pt x="258" y="3"/>
                    </a:moveTo>
                    <a:lnTo>
                      <a:pt x="258" y="3"/>
                    </a:lnTo>
                    <a:lnTo>
                      <a:pt x="252" y="5"/>
                    </a:lnTo>
                    <a:lnTo>
                      <a:pt x="252" y="5"/>
                    </a:lnTo>
                    <a:lnTo>
                      <a:pt x="250" y="6"/>
                    </a:lnTo>
                    <a:lnTo>
                      <a:pt x="248" y="8"/>
                    </a:lnTo>
                    <a:lnTo>
                      <a:pt x="250" y="9"/>
                    </a:lnTo>
                    <a:lnTo>
                      <a:pt x="250" y="9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55" y="8"/>
                    </a:lnTo>
                    <a:lnTo>
                      <a:pt x="258" y="6"/>
                    </a:lnTo>
                    <a:lnTo>
                      <a:pt x="258" y="3"/>
                    </a:lnTo>
                    <a:close/>
                    <a:moveTo>
                      <a:pt x="273" y="3"/>
                    </a:moveTo>
                    <a:lnTo>
                      <a:pt x="273" y="3"/>
                    </a:lnTo>
                    <a:lnTo>
                      <a:pt x="268" y="0"/>
                    </a:lnTo>
                    <a:lnTo>
                      <a:pt x="265" y="0"/>
                    </a:lnTo>
                    <a:lnTo>
                      <a:pt x="264" y="0"/>
                    </a:lnTo>
                    <a:lnTo>
                      <a:pt x="264" y="0"/>
                    </a:lnTo>
                    <a:lnTo>
                      <a:pt x="263" y="0"/>
                    </a:lnTo>
                    <a:lnTo>
                      <a:pt x="263" y="3"/>
                    </a:lnTo>
                    <a:lnTo>
                      <a:pt x="263" y="3"/>
                    </a:lnTo>
                    <a:lnTo>
                      <a:pt x="265" y="3"/>
                    </a:lnTo>
                    <a:lnTo>
                      <a:pt x="265" y="2"/>
                    </a:lnTo>
                    <a:lnTo>
                      <a:pt x="265" y="2"/>
                    </a:lnTo>
                    <a:lnTo>
                      <a:pt x="271" y="5"/>
                    </a:lnTo>
                    <a:lnTo>
                      <a:pt x="273" y="3"/>
                    </a:lnTo>
                    <a:close/>
                    <a:moveTo>
                      <a:pt x="284" y="12"/>
                    </a:moveTo>
                    <a:lnTo>
                      <a:pt x="284" y="12"/>
                    </a:lnTo>
                    <a:lnTo>
                      <a:pt x="281" y="11"/>
                    </a:lnTo>
                    <a:lnTo>
                      <a:pt x="278" y="9"/>
                    </a:lnTo>
                    <a:lnTo>
                      <a:pt x="278" y="9"/>
                    </a:lnTo>
                    <a:lnTo>
                      <a:pt x="277" y="6"/>
                    </a:lnTo>
                    <a:lnTo>
                      <a:pt x="276" y="8"/>
                    </a:lnTo>
                    <a:lnTo>
                      <a:pt x="276" y="8"/>
                    </a:lnTo>
                    <a:lnTo>
                      <a:pt x="277" y="11"/>
                    </a:lnTo>
                    <a:lnTo>
                      <a:pt x="277" y="11"/>
                    </a:lnTo>
                    <a:lnTo>
                      <a:pt x="280" y="13"/>
                    </a:lnTo>
                    <a:lnTo>
                      <a:pt x="283" y="15"/>
                    </a:lnTo>
                    <a:lnTo>
                      <a:pt x="284" y="12"/>
                    </a:lnTo>
                    <a:close/>
                    <a:moveTo>
                      <a:pt x="294" y="24"/>
                    </a:moveTo>
                    <a:lnTo>
                      <a:pt x="294" y="24"/>
                    </a:lnTo>
                    <a:lnTo>
                      <a:pt x="294" y="21"/>
                    </a:lnTo>
                    <a:lnTo>
                      <a:pt x="294" y="21"/>
                    </a:lnTo>
                    <a:lnTo>
                      <a:pt x="292" y="18"/>
                    </a:lnTo>
                    <a:lnTo>
                      <a:pt x="289" y="15"/>
                    </a:lnTo>
                    <a:lnTo>
                      <a:pt x="287" y="16"/>
                    </a:lnTo>
                    <a:lnTo>
                      <a:pt x="287" y="16"/>
                    </a:lnTo>
                    <a:lnTo>
                      <a:pt x="290" y="19"/>
                    </a:lnTo>
                    <a:lnTo>
                      <a:pt x="292" y="22"/>
                    </a:lnTo>
                    <a:lnTo>
                      <a:pt x="292" y="22"/>
                    </a:lnTo>
                    <a:lnTo>
                      <a:pt x="293" y="24"/>
                    </a:lnTo>
                    <a:lnTo>
                      <a:pt x="294" y="24"/>
                    </a:lnTo>
                    <a:close/>
                    <a:moveTo>
                      <a:pt x="290" y="38"/>
                    </a:moveTo>
                    <a:lnTo>
                      <a:pt x="290" y="38"/>
                    </a:lnTo>
                    <a:lnTo>
                      <a:pt x="293" y="34"/>
                    </a:lnTo>
                    <a:lnTo>
                      <a:pt x="294" y="29"/>
                    </a:lnTo>
                    <a:lnTo>
                      <a:pt x="292" y="28"/>
                    </a:lnTo>
                    <a:lnTo>
                      <a:pt x="292" y="28"/>
                    </a:lnTo>
                    <a:lnTo>
                      <a:pt x="290" y="32"/>
                    </a:lnTo>
                    <a:lnTo>
                      <a:pt x="287" y="37"/>
                    </a:lnTo>
                    <a:lnTo>
                      <a:pt x="290" y="38"/>
                    </a:lnTo>
                    <a:close/>
                    <a:moveTo>
                      <a:pt x="289" y="51"/>
                    </a:moveTo>
                    <a:lnTo>
                      <a:pt x="289" y="51"/>
                    </a:lnTo>
                    <a:lnTo>
                      <a:pt x="287" y="42"/>
                    </a:lnTo>
                    <a:lnTo>
                      <a:pt x="287" y="42"/>
                    </a:lnTo>
                    <a:lnTo>
                      <a:pt x="284" y="41"/>
                    </a:lnTo>
                    <a:lnTo>
                      <a:pt x="284" y="41"/>
                    </a:lnTo>
                    <a:lnTo>
                      <a:pt x="284" y="42"/>
                    </a:lnTo>
                    <a:lnTo>
                      <a:pt x="284" y="42"/>
                    </a:lnTo>
                    <a:lnTo>
                      <a:pt x="286" y="53"/>
                    </a:lnTo>
                    <a:lnTo>
                      <a:pt x="289" y="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7" name="Freeform 1695"/>
              <p:cNvSpPr>
                <a:spLocks noEditPoints="1"/>
              </p:cNvSpPr>
              <p:nvPr/>
            </p:nvSpPr>
            <p:spPr bwMode="auto">
              <a:xfrm>
                <a:off x="4733249" y="1801592"/>
                <a:ext cx="58366" cy="131572"/>
              </a:xfrm>
              <a:custGeom>
                <a:avLst/>
                <a:gdLst>
                  <a:gd name="T0" fmla="*/ 10 w 59"/>
                  <a:gd name="T1" fmla="*/ 3 h 133"/>
                  <a:gd name="T2" fmla="*/ 0 w 59"/>
                  <a:gd name="T3" fmla="*/ 3 h 133"/>
                  <a:gd name="T4" fmla="*/ 9 w 59"/>
                  <a:gd name="T5" fmla="*/ 6 h 133"/>
                  <a:gd name="T6" fmla="*/ 23 w 59"/>
                  <a:gd name="T7" fmla="*/ 10 h 133"/>
                  <a:gd name="T8" fmla="*/ 19 w 59"/>
                  <a:gd name="T9" fmla="*/ 7 h 133"/>
                  <a:gd name="T10" fmla="*/ 14 w 59"/>
                  <a:gd name="T11" fmla="*/ 4 h 133"/>
                  <a:gd name="T12" fmla="*/ 14 w 59"/>
                  <a:gd name="T13" fmla="*/ 7 h 133"/>
                  <a:gd name="T14" fmla="*/ 17 w 59"/>
                  <a:gd name="T15" fmla="*/ 9 h 133"/>
                  <a:gd name="T16" fmla="*/ 23 w 59"/>
                  <a:gd name="T17" fmla="*/ 10 h 133"/>
                  <a:gd name="T18" fmla="*/ 36 w 59"/>
                  <a:gd name="T19" fmla="*/ 19 h 133"/>
                  <a:gd name="T20" fmla="*/ 35 w 59"/>
                  <a:gd name="T21" fmla="*/ 16 h 133"/>
                  <a:gd name="T22" fmla="*/ 26 w 59"/>
                  <a:gd name="T23" fmla="*/ 16 h 133"/>
                  <a:gd name="T24" fmla="*/ 33 w 59"/>
                  <a:gd name="T25" fmla="*/ 19 h 133"/>
                  <a:gd name="T26" fmla="*/ 35 w 59"/>
                  <a:gd name="T27" fmla="*/ 20 h 133"/>
                  <a:gd name="T28" fmla="*/ 45 w 59"/>
                  <a:gd name="T29" fmla="*/ 32 h 133"/>
                  <a:gd name="T30" fmla="*/ 39 w 59"/>
                  <a:gd name="T31" fmla="*/ 23 h 133"/>
                  <a:gd name="T32" fmla="*/ 38 w 59"/>
                  <a:gd name="T33" fmla="*/ 25 h 133"/>
                  <a:gd name="T34" fmla="*/ 45 w 59"/>
                  <a:gd name="T35" fmla="*/ 32 h 133"/>
                  <a:gd name="T36" fmla="*/ 51 w 59"/>
                  <a:gd name="T37" fmla="*/ 46 h 133"/>
                  <a:gd name="T38" fmla="*/ 51 w 59"/>
                  <a:gd name="T39" fmla="*/ 42 h 133"/>
                  <a:gd name="T40" fmla="*/ 48 w 59"/>
                  <a:gd name="T41" fmla="*/ 39 h 133"/>
                  <a:gd name="T42" fmla="*/ 45 w 59"/>
                  <a:gd name="T43" fmla="*/ 38 h 133"/>
                  <a:gd name="T44" fmla="*/ 46 w 59"/>
                  <a:gd name="T45" fmla="*/ 41 h 133"/>
                  <a:gd name="T46" fmla="*/ 48 w 59"/>
                  <a:gd name="T47" fmla="*/ 44 h 133"/>
                  <a:gd name="T48" fmla="*/ 49 w 59"/>
                  <a:gd name="T49" fmla="*/ 46 h 133"/>
                  <a:gd name="T50" fmla="*/ 52 w 59"/>
                  <a:gd name="T51" fmla="*/ 61 h 133"/>
                  <a:gd name="T52" fmla="*/ 51 w 59"/>
                  <a:gd name="T53" fmla="*/ 54 h 133"/>
                  <a:gd name="T54" fmla="*/ 51 w 59"/>
                  <a:gd name="T55" fmla="*/ 52 h 133"/>
                  <a:gd name="T56" fmla="*/ 48 w 59"/>
                  <a:gd name="T57" fmla="*/ 51 h 133"/>
                  <a:gd name="T58" fmla="*/ 48 w 59"/>
                  <a:gd name="T59" fmla="*/ 52 h 133"/>
                  <a:gd name="T60" fmla="*/ 48 w 59"/>
                  <a:gd name="T61" fmla="*/ 54 h 133"/>
                  <a:gd name="T62" fmla="*/ 52 w 59"/>
                  <a:gd name="T63" fmla="*/ 61 h 133"/>
                  <a:gd name="T64" fmla="*/ 52 w 59"/>
                  <a:gd name="T65" fmla="*/ 75 h 133"/>
                  <a:gd name="T66" fmla="*/ 52 w 59"/>
                  <a:gd name="T67" fmla="*/ 74 h 133"/>
                  <a:gd name="T68" fmla="*/ 54 w 59"/>
                  <a:gd name="T69" fmla="*/ 67 h 133"/>
                  <a:gd name="T70" fmla="*/ 51 w 59"/>
                  <a:gd name="T71" fmla="*/ 67 h 133"/>
                  <a:gd name="T72" fmla="*/ 49 w 59"/>
                  <a:gd name="T73" fmla="*/ 74 h 133"/>
                  <a:gd name="T74" fmla="*/ 51 w 59"/>
                  <a:gd name="T75" fmla="*/ 77 h 133"/>
                  <a:gd name="T76" fmla="*/ 59 w 59"/>
                  <a:gd name="T77" fmla="*/ 90 h 133"/>
                  <a:gd name="T78" fmla="*/ 58 w 59"/>
                  <a:gd name="T79" fmla="*/ 84 h 133"/>
                  <a:gd name="T80" fmla="*/ 54 w 59"/>
                  <a:gd name="T81" fmla="*/ 81 h 133"/>
                  <a:gd name="T82" fmla="*/ 56 w 59"/>
                  <a:gd name="T83" fmla="*/ 86 h 133"/>
                  <a:gd name="T84" fmla="*/ 59 w 59"/>
                  <a:gd name="T85" fmla="*/ 90 h 133"/>
                  <a:gd name="T86" fmla="*/ 56 w 59"/>
                  <a:gd name="T87" fmla="*/ 104 h 133"/>
                  <a:gd name="T88" fmla="*/ 56 w 59"/>
                  <a:gd name="T89" fmla="*/ 94 h 133"/>
                  <a:gd name="T90" fmla="*/ 54 w 59"/>
                  <a:gd name="T91" fmla="*/ 104 h 133"/>
                  <a:gd name="T92" fmla="*/ 55 w 59"/>
                  <a:gd name="T93" fmla="*/ 119 h 133"/>
                  <a:gd name="T94" fmla="*/ 55 w 59"/>
                  <a:gd name="T95" fmla="*/ 117 h 133"/>
                  <a:gd name="T96" fmla="*/ 55 w 59"/>
                  <a:gd name="T97" fmla="*/ 113 h 133"/>
                  <a:gd name="T98" fmla="*/ 54 w 59"/>
                  <a:gd name="T99" fmla="*/ 112 h 133"/>
                  <a:gd name="T100" fmla="*/ 54 w 59"/>
                  <a:gd name="T101" fmla="*/ 109 h 133"/>
                  <a:gd name="T102" fmla="*/ 52 w 59"/>
                  <a:gd name="T103" fmla="*/ 109 h 133"/>
                  <a:gd name="T104" fmla="*/ 51 w 59"/>
                  <a:gd name="T105" fmla="*/ 112 h 133"/>
                  <a:gd name="T106" fmla="*/ 52 w 59"/>
                  <a:gd name="T107" fmla="*/ 115 h 133"/>
                  <a:gd name="T108" fmla="*/ 54 w 59"/>
                  <a:gd name="T109" fmla="*/ 117 h 133"/>
                  <a:gd name="T110" fmla="*/ 55 w 59"/>
                  <a:gd name="T111" fmla="*/ 119 h 133"/>
                  <a:gd name="T112" fmla="*/ 58 w 59"/>
                  <a:gd name="T113" fmla="*/ 133 h 133"/>
                  <a:gd name="T114" fmla="*/ 54 w 59"/>
                  <a:gd name="T115" fmla="*/ 123 h 133"/>
                  <a:gd name="T116" fmla="*/ 56 w 59"/>
                  <a:gd name="T117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9" h="133">
                    <a:moveTo>
                      <a:pt x="10" y="3"/>
                    </a:moveTo>
                    <a:lnTo>
                      <a:pt x="1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9" y="6"/>
                    </a:lnTo>
                    <a:lnTo>
                      <a:pt x="10" y="3"/>
                    </a:lnTo>
                    <a:close/>
                    <a:moveTo>
                      <a:pt x="23" y="10"/>
                    </a:moveTo>
                    <a:lnTo>
                      <a:pt x="23" y="10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14" y="4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22" y="13"/>
                    </a:lnTo>
                    <a:lnTo>
                      <a:pt x="23" y="10"/>
                    </a:lnTo>
                    <a:close/>
                    <a:moveTo>
                      <a:pt x="36" y="19"/>
                    </a:moveTo>
                    <a:lnTo>
                      <a:pt x="36" y="19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27" y="13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3" y="19"/>
                    </a:lnTo>
                    <a:lnTo>
                      <a:pt x="33" y="19"/>
                    </a:lnTo>
                    <a:lnTo>
                      <a:pt x="35" y="20"/>
                    </a:lnTo>
                    <a:lnTo>
                      <a:pt x="36" y="19"/>
                    </a:lnTo>
                    <a:close/>
                    <a:moveTo>
                      <a:pt x="45" y="32"/>
                    </a:moveTo>
                    <a:lnTo>
                      <a:pt x="45" y="32"/>
                    </a:lnTo>
                    <a:lnTo>
                      <a:pt x="39" y="23"/>
                    </a:lnTo>
                    <a:lnTo>
                      <a:pt x="38" y="25"/>
                    </a:lnTo>
                    <a:lnTo>
                      <a:pt x="38" y="25"/>
                    </a:lnTo>
                    <a:lnTo>
                      <a:pt x="42" y="33"/>
                    </a:lnTo>
                    <a:lnTo>
                      <a:pt x="45" y="32"/>
                    </a:lnTo>
                    <a:close/>
                    <a:moveTo>
                      <a:pt x="51" y="46"/>
                    </a:moveTo>
                    <a:lnTo>
                      <a:pt x="51" y="46"/>
                    </a:lnTo>
                    <a:lnTo>
                      <a:pt x="51" y="46"/>
                    </a:lnTo>
                    <a:lnTo>
                      <a:pt x="51" y="42"/>
                    </a:lnTo>
                    <a:lnTo>
                      <a:pt x="48" y="39"/>
                    </a:lnTo>
                    <a:lnTo>
                      <a:pt x="48" y="39"/>
                    </a:lnTo>
                    <a:lnTo>
                      <a:pt x="46" y="36"/>
                    </a:lnTo>
                    <a:lnTo>
                      <a:pt x="45" y="38"/>
                    </a:lnTo>
                    <a:lnTo>
                      <a:pt x="45" y="38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48" y="44"/>
                    </a:lnTo>
                    <a:lnTo>
                      <a:pt x="49" y="46"/>
                    </a:lnTo>
                    <a:lnTo>
                      <a:pt x="49" y="46"/>
                    </a:lnTo>
                    <a:lnTo>
                      <a:pt x="51" y="46"/>
                    </a:lnTo>
                    <a:close/>
                    <a:moveTo>
                      <a:pt x="52" y="61"/>
                    </a:moveTo>
                    <a:lnTo>
                      <a:pt x="52" y="61"/>
                    </a:lnTo>
                    <a:lnTo>
                      <a:pt x="51" y="54"/>
                    </a:lnTo>
                    <a:lnTo>
                      <a:pt x="51" y="54"/>
                    </a:lnTo>
                    <a:lnTo>
                      <a:pt x="51" y="52"/>
                    </a:lnTo>
                    <a:lnTo>
                      <a:pt x="51" y="52"/>
                    </a:lnTo>
                    <a:lnTo>
                      <a:pt x="48" y="51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9" y="62"/>
                    </a:lnTo>
                    <a:lnTo>
                      <a:pt x="52" y="61"/>
                    </a:lnTo>
                    <a:close/>
                    <a:moveTo>
                      <a:pt x="52" y="75"/>
                    </a:moveTo>
                    <a:lnTo>
                      <a:pt x="52" y="75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4" y="67"/>
                    </a:lnTo>
                    <a:lnTo>
                      <a:pt x="54" y="67"/>
                    </a:lnTo>
                    <a:lnTo>
                      <a:pt x="51" y="67"/>
                    </a:lnTo>
                    <a:lnTo>
                      <a:pt x="51" y="67"/>
                    </a:lnTo>
                    <a:lnTo>
                      <a:pt x="51" y="67"/>
                    </a:lnTo>
                    <a:lnTo>
                      <a:pt x="49" y="74"/>
                    </a:lnTo>
                    <a:lnTo>
                      <a:pt x="49" y="74"/>
                    </a:lnTo>
                    <a:lnTo>
                      <a:pt x="51" y="77"/>
                    </a:lnTo>
                    <a:lnTo>
                      <a:pt x="52" y="75"/>
                    </a:lnTo>
                    <a:close/>
                    <a:moveTo>
                      <a:pt x="59" y="90"/>
                    </a:moveTo>
                    <a:lnTo>
                      <a:pt x="59" y="90"/>
                    </a:lnTo>
                    <a:lnTo>
                      <a:pt x="58" y="84"/>
                    </a:lnTo>
                    <a:lnTo>
                      <a:pt x="55" y="80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6" y="86"/>
                    </a:lnTo>
                    <a:lnTo>
                      <a:pt x="58" y="90"/>
                    </a:lnTo>
                    <a:lnTo>
                      <a:pt x="59" y="90"/>
                    </a:lnTo>
                    <a:close/>
                    <a:moveTo>
                      <a:pt x="56" y="104"/>
                    </a:moveTo>
                    <a:lnTo>
                      <a:pt x="56" y="104"/>
                    </a:lnTo>
                    <a:lnTo>
                      <a:pt x="59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4" y="104"/>
                    </a:lnTo>
                    <a:lnTo>
                      <a:pt x="56" y="104"/>
                    </a:lnTo>
                    <a:close/>
                    <a:moveTo>
                      <a:pt x="55" y="119"/>
                    </a:moveTo>
                    <a:lnTo>
                      <a:pt x="55" y="119"/>
                    </a:lnTo>
                    <a:lnTo>
                      <a:pt x="55" y="117"/>
                    </a:lnTo>
                    <a:lnTo>
                      <a:pt x="55" y="117"/>
                    </a:lnTo>
                    <a:lnTo>
                      <a:pt x="55" y="113"/>
                    </a:lnTo>
                    <a:lnTo>
                      <a:pt x="55" y="113"/>
                    </a:lnTo>
                    <a:lnTo>
                      <a:pt x="54" y="112"/>
                    </a:lnTo>
                    <a:lnTo>
                      <a:pt x="54" y="112"/>
                    </a:lnTo>
                    <a:lnTo>
                      <a:pt x="54" y="109"/>
                    </a:lnTo>
                    <a:lnTo>
                      <a:pt x="52" y="109"/>
                    </a:lnTo>
                    <a:lnTo>
                      <a:pt x="52" y="109"/>
                    </a:lnTo>
                    <a:lnTo>
                      <a:pt x="51" y="112"/>
                    </a:lnTo>
                    <a:lnTo>
                      <a:pt x="51" y="112"/>
                    </a:lnTo>
                    <a:lnTo>
                      <a:pt x="52" y="115"/>
                    </a:lnTo>
                    <a:lnTo>
                      <a:pt x="52" y="115"/>
                    </a:lnTo>
                    <a:lnTo>
                      <a:pt x="54" y="117"/>
                    </a:lnTo>
                    <a:lnTo>
                      <a:pt x="54" y="117"/>
                    </a:lnTo>
                    <a:lnTo>
                      <a:pt x="54" y="119"/>
                    </a:lnTo>
                    <a:lnTo>
                      <a:pt x="55" y="119"/>
                    </a:lnTo>
                    <a:close/>
                    <a:moveTo>
                      <a:pt x="58" y="133"/>
                    </a:moveTo>
                    <a:lnTo>
                      <a:pt x="58" y="133"/>
                    </a:lnTo>
                    <a:lnTo>
                      <a:pt x="56" y="123"/>
                    </a:lnTo>
                    <a:lnTo>
                      <a:pt x="54" y="123"/>
                    </a:lnTo>
                    <a:lnTo>
                      <a:pt x="54" y="123"/>
                    </a:lnTo>
                    <a:lnTo>
                      <a:pt x="56" y="133"/>
                    </a:lnTo>
                    <a:lnTo>
                      <a:pt x="58" y="13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4" name="Freeform 1734"/>
              <p:cNvSpPr>
                <a:spLocks noEditPoints="1"/>
              </p:cNvSpPr>
              <p:nvPr/>
            </p:nvSpPr>
            <p:spPr bwMode="auto">
              <a:xfrm>
                <a:off x="4442406" y="2377341"/>
                <a:ext cx="61334" cy="49463"/>
              </a:xfrm>
              <a:custGeom>
                <a:avLst/>
                <a:gdLst>
                  <a:gd name="T0" fmla="*/ 4 w 62"/>
                  <a:gd name="T1" fmla="*/ 3 h 50"/>
                  <a:gd name="T2" fmla="*/ 4 w 62"/>
                  <a:gd name="T3" fmla="*/ 3 h 50"/>
                  <a:gd name="T4" fmla="*/ 3 w 62"/>
                  <a:gd name="T5" fmla="*/ 0 h 50"/>
                  <a:gd name="T6" fmla="*/ 0 w 62"/>
                  <a:gd name="T7" fmla="*/ 2 h 50"/>
                  <a:gd name="T8" fmla="*/ 0 w 62"/>
                  <a:gd name="T9" fmla="*/ 2 h 50"/>
                  <a:gd name="T10" fmla="*/ 3 w 62"/>
                  <a:gd name="T11" fmla="*/ 5 h 50"/>
                  <a:gd name="T12" fmla="*/ 4 w 62"/>
                  <a:gd name="T13" fmla="*/ 3 h 50"/>
                  <a:gd name="T14" fmla="*/ 14 w 62"/>
                  <a:gd name="T15" fmla="*/ 15 h 50"/>
                  <a:gd name="T16" fmla="*/ 14 w 62"/>
                  <a:gd name="T17" fmla="*/ 15 h 50"/>
                  <a:gd name="T18" fmla="*/ 7 w 62"/>
                  <a:gd name="T19" fmla="*/ 8 h 50"/>
                  <a:gd name="T20" fmla="*/ 6 w 62"/>
                  <a:gd name="T21" fmla="*/ 9 h 50"/>
                  <a:gd name="T22" fmla="*/ 6 w 62"/>
                  <a:gd name="T23" fmla="*/ 9 h 50"/>
                  <a:gd name="T24" fmla="*/ 13 w 62"/>
                  <a:gd name="T25" fmla="*/ 16 h 50"/>
                  <a:gd name="T26" fmla="*/ 14 w 62"/>
                  <a:gd name="T27" fmla="*/ 15 h 50"/>
                  <a:gd name="T28" fmla="*/ 25 w 62"/>
                  <a:gd name="T29" fmla="*/ 26 h 50"/>
                  <a:gd name="T30" fmla="*/ 25 w 62"/>
                  <a:gd name="T31" fmla="*/ 26 h 50"/>
                  <a:gd name="T32" fmla="*/ 17 w 62"/>
                  <a:gd name="T33" fmla="*/ 19 h 50"/>
                  <a:gd name="T34" fmla="*/ 16 w 62"/>
                  <a:gd name="T35" fmla="*/ 21 h 50"/>
                  <a:gd name="T36" fmla="*/ 16 w 62"/>
                  <a:gd name="T37" fmla="*/ 21 h 50"/>
                  <a:gd name="T38" fmla="*/ 23 w 62"/>
                  <a:gd name="T39" fmla="*/ 28 h 50"/>
                  <a:gd name="T40" fmla="*/ 25 w 62"/>
                  <a:gd name="T41" fmla="*/ 26 h 50"/>
                  <a:gd name="T42" fmla="*/ 35 w 62"/>
                  <a:gd name="T43" fmla="*/ 37 h 50"/>
                  <a:gd name="T44" fmla="*/ 35 w 62"/>
                  <a:gd name="T45" fmla="*/ 37 h 50"/>
                  <a:gd name="T46" fmla="*/ 27 w 62"/>
                  <a:gd name="T47" fmla="*/ 29 h 50"/>
                  <a:gd name="T48" fmla="*/ 26 w 62"/>
                  <a:gd name="T49" fmla="*/ 31 h 50"/>
                  <a:gd name="T50" fmla="*/ 26 w 62"/>
                  <a:gd name="T51" fmla="*/ 31 h 50"/>
                  <a:gd name="T52" fmla="*/ 33 w 62"/>
                  <a:gd name="T53" fmla="*/ 38 h 50"/>
                  <a:gd name="T54" fmla="*/ 35 w 62"/>
                  <a:gd name="T55" fmla="*/ 37 h 50"/>
                  <a:gd name="T56" fmla="*/ 48 w 62"/>
                  <a:gd name="T57" fmla="*/ 45 h 50"/>
                  <a:gd name="T58" fmla="*/ 48 w 62"/>
                  <a:gd name="T59" fmla="*/ 45 h 50"/>
                  <a:gd name="T60" fmla="*/ 45 w 62"/>
                  <a:gd name="T61" fmla="*/ 44 h 50"/>
                  <a:gd name="T62" fmla="*/ 45 w 62"/>
                  <a:gd name="T63" fmla="*/ 44 h 50"/>
                  <a:gd name="T64" fmla="*/ 39 w 62"/>
                  <a:gd name="T65" fmla="*/ 40 h 50"/>
                  <a:gd name="T66" fmla="*/ 38 w 62"/>
                  <a:gd name="T67" fmla="*/ 42 h 50"/>
                  <a:gd name="T68" fmla="*/ 38 w 62"/>
                  <a:gd name="T69" fmla="*/ 42 h 50"/>
                  <a:gd name="T70" fmla="*/ 45 w 62"/>
                  <a:gd name="T71" fmla="*/ 47 h 50"/>
                  <a:gd name="T72" fmla="*/ 45 w 62"/>
                  <a:gd name="T73" fmla="*/ 47 h 50"/>
                  <a:gd name="T74" fmla="*/ 46 w 62"/>
                  <a:gd name="T75" fmla="*/ 48 h 50"/>
                  <a:gd name="T76" fmla="*/ 48 w 62"/>
                  <a:gd name="T77" fmla="*/ 45 h 50"/>
                  <a:gd name="T78" fmla="*/ 62 w 62"/>
                  <a:gd name="T79" fmla="*/ 47 h 50"/>
                  <a:gd name="T80" fmla="*/ 62 w 62"/>
                  <a:gd name="T81" fmla="*/ 47 h 50"/>
                  <a:gd name="T82" fmla="*/ 56 w 62"/>
                  <a:gd name="T83" fmla="*/ 47 h 50"/>
                  <a:gd name="T84" fmla="*/ 56 w 62"/>
                  <a:gd name="T85" fmla="*/ 47 h 50"/>
                  <a:gd name="T86" fmla="*/ 52 w 62"/>
                  <a:gd name="T87" fmla="*/ 47 h 50"/>
                  <a:gd name="T88" fmla="*/ 52 w 62"/>
                  <a:gd name="T89" fmla="*/ 50 h 50"/>
                  <a:gd name="T90" fmla="*/ 52 w 62"/>
                  <a:gd name="T91" fmla="*/ 50 h 50"/>
                  <a:gd name="T92" fmla="*/ 56 w 62"/>
                  <a:gd name="T93" fmla="*/ 50 h 50"/>
                  <a:gd name="T94" fmla="*/ 56 w 62"/>
                  <a:gd name="T95" fmla="*/ 50 h 50"/>
                  <a:gd name="T96" fmla="*/ 62 w 62"/>
                  <a:gd name="T97" fmla="*/ 50 h 50"/>
                  <a:gd name="T98" fmla="*/ 62 w 62"/>
                  <a:gd name="T99" fmla="*/ 4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2" h="50">
                    <a:moveTo>
                      <a:pt x="4" y="3"/>
                    </a:moveTo>
                    <a:lnTo>
                      <a:pt x="4" y="3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5"/>
                    </a:lnTo>
                    <a:lnTo>
                      <a:pt x="4" y="3"/>
                    </a:lnTo>
                    <a:close/>
                    <a:moveTo>
                      <a:pt x="14" y="15"/>
                    </a:moveTo>
                    <a:lnTo>
                      <a:pt x="14" y="15"/>
                    </a:lnTo>
                    <a:lnTo>
                      <a:pt x="7" y="8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13" y="16"/>
                    </a:lnTo>
                    <a:lnTo>
                      <a:pt x="14" y="15"/>
                    </a:lnTo>
                    <a:close/>
                    <a:moveTo>
                      <a:pt x="25" y="26"/>
                    </a:moveTo>
                    <a:lnTo>
                      <a:pt x="25" y="26"/>
                    </a:lnTo>
                    <a:lnTo>
                      <a:pt x="17" y="19"/>
                    </a:lnTo>
                    <a:lnTo>
                      <a:pt x="16" y="21"/>
                    </a:lnTo>
                    <a:lnTo>
                      <a:pt x="16" y="21"/>
                    </a:lnTo>
                    <a:lnTo>
                      <a:pt x="23" y="28"/>
                    </a:lnTo>
                    <a:lnTo>
                      <a:pt x="25" y="26"/>
                    </a:lnTo>
                    <a:close/>
                    <a:moveTo>
                      <a:pt x="35" y="37"/>
                    </a:moveTo>
                    <a:lnTo>
                      <a:pt x="35" y="37"/>
                    </a:lnTo>
                    <a:lnTo>
                      <a:pt x="27" y="29"/>
                    </a:lnTo>
                    <a:lnTo>
                      <a:pt x="26" y="31"/>
                    </a:lnTo>
                    <a:lnTo>
                      <a:pt x="26" y="31"/>
                    </a:lnTo>
                    <a:lnTo>
                      <a:pt x="33" y="38"/>
                    </a:lnTo>
                    <a:lnTo>
                      <a:pt x="35" y="37"/>
                    </a:lnTo>
                    <a:close/>
                    <a:moveTo>
                      <a:pt x="48" y="45"/>
                    </a:moveTo>
                    <a:lnTo>
                      <a:pt x="48" y="45"/>
                    </a:lnTo>
                    <a:lnTo>
                      <a:pt x="45" y="44"/>
                    </a:lnTo>
                    <a:lnTo>
                      <a:pt x="45" y="44"/>
                    </a:lnTo>
                    <a:lnTo>
                      <a:pt x="39" y="40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5" y="47"/>
                    </a:lnTo>
                    <a:lnTo>
                      <a:pt x="45" y="47"/>
                    </a:lnTo>
                    <a:lnTo>
                      <a:pt x="46" y="48"/>
                    </a:lnTo>
                    <a:lnTo>
                      <a:pt x="48" y="45"/>
                    </a:lnTo>
                    <a:close/>
                    <a:moveTo>
                      <a:pt x="62" y="47"/>
                    </a:moveTo>
                    <a:lnTo>
                      <a:pt x="62" y="47"/>
                    </a:lnTo>
                    <a:lnTo>
                      <a:pt x="56" y="47"/>
                    </a:lnTo>
                    <a:lnTo>
                      <a:pt x="56" y="47"/>
                    </a:lnTo>
                    <a:lnTo>
                      <a:pt x="52" y="47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62" y="50"/>
                    </a:lnTo>
                    <a:lnTo>
                      <a:pt x="62" y="4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grpSp>
            <p:nvGrpSpPr>
              <p:cNvPr id="1866" name="Group 1865">
                <a:extLst>
                  <a:ext uri="{FF2B5EF4-FFF2-40B4-BE49-F238E27FC236}">
                    <a16:creationId xmlns:a16="http://schemas.microsoft.com/office/drawing/2014/main" id="{62428731-82B5-5043-B0ED-9217506E7754}"/>
                  </a:ext>
                </a:extLst>
              </p:cNvPr>
              <p:cNvGrpSpPr/>
              <p:nvPr/>
            </p:nvGrpSpPr>
            <p:grpSpPr>
              <a:xfrm>
                <a:off x="4123865" y="2408998"/>
                <a:ext cx="1565999" cy="1504664"/>
                <a:chOff x="4123865" y="2408998"/>
                <a:chExt cx="1565999" cy="1504664"/>
              </a:xfrm>
              <a:grpFill/>
            </p:grpSpPr>
            <p:sp>
              <p:nvSpPr>
                <p:cNvPr id="1756" name="Freeform 106"/>
                <p:cNvSpPr>
                  <a:spLocks/>
                </p:cNvSpPr>
                <p:nvPr/>
              </p:nvSpPr>
              <p:spPr bwMode="auto">
                <a:xfrm>
                  <a:off x="4215867" y="2926380"/>
                  <a:ext cx="265122" cy="241379"/>
                </a:xfrm>
                <a:custGeom>
                  <a:avLst/>
                  <a:gdLst>
                    <a:gd name="T0" fmla="*/ 87 w 268"/>
                    <a:gd name="T1" fmla="*/ 244 h 244"/>
                    <a:gd name="T2" fmla="*/ 77 w 268"/>
                    <a:gd name="T3" fmla="*/ 236 h 244"/>
                    <a:gd name="T4" fmla="*/ 61 w 268"/>
                    <a:gd name="T5" fmla="*/ 219 h 244"/>
                    <a:gd name="T6" fmla="*/ 45 w 268"/>
                    <a:gd name="T7" fmla="*/ 217 h 244"/>
                    <a:gd name="T8" fmla="*/ 45 w 268"/>
                    <a:gd name="T9" fmla="*/ 217 h 244"/>
                    <a:gd name="T10" fmla="*/ 36 w 268"/>
                    <a:gd name="T11" fmla="*/ 213 h 244"/>
                    <a:gd name="T12" fmla="*/ 31 w 268"/>
                    <a:gd name="T13" fmla="*/ 210 h 244"/>
                    <a:gd name="T14" fmla="*/ 26 w 268"/>
                    <a:gd name="T15" fmla="*/ 222 h 244"/>
                    <a:gd name="T16" fmla="*/ 23 w 268"/>
                    <a:gd name="T17" fmla="*/ 223 h 244"/>
                    <a:gd name="T18" fmla="*/ 20 w 268"/>
                    <a:gd name="T19" fmla="*/ 222 h 244"/>
                    <a:gd name="T20" fmla="*/ 20 w 268"/>
                    <a:gd name="T21" fmla="*/ 222 h 244"/>
                    <a:gd name="T22" fmla="*/ 17 w 268"/>
                    <a:gd name="T23" fmla="*/ 217 h 244"/>
                    <a:gd name="T24" fmla="*/ 15 w 268"/>
                    <a:gd name="T25" fmla="*/ 200 h 244"/>
                    <a:gd name="T26" fmla="*/ 9 w 268"/>
                    <a:gd name="T27" fmla="*/ 191 h 244"/>
                    <a:gd name="T28" fmla="*/ 0 w 268"/>
                    <a:gd name="T29" fmla="*/ 164 h 244"/>
                    <a:gd name="T30" fmla="*/ 9 w 268"/>
                    <a:gd name="T31" fmla="*/ 151 h 244"/>
                    <a:gd name="T32" fmla="*/ 9 w 268"/>
                    <a:gd name="T33" fmla="*/ 151 h 244"/>
                    <a:gd name="T34" fmla="*/ 10 w 268"/>
                    <a:gd name="T35" fmla="*/ 149 h 244"/>
                    <a:gd name="T36" fmla="*/ 16 w 268"/>
                    <a:gd name="T37" fmla="*/ 155 h 244"/>
                    <a:gd name="T38" fmla="*/ 19 w 268"/>
                    <a:gd name="T39" fmla="*/ 158 h 244"/>
                    <a:gd name="T40" fmla="*/ 19 w 268"/>
                    <a:gd name="T41" fmla="*/ 158 h 244"/>
                    <a:gd name="T42" fmla="*/ 19 w 268"/>
                    <a:gd name="T43" fmla="*/ 158 h 244"/>
                    <a:gd name="T44" fmla="*/ 19 w 268"/>
                    <a:gd name="T45" fmla="*/ 159 h 244"/>
                    <a:gd name="T46" fmla="*/ 20 w 268"/>
                    <a:gd name="T47" fmla="*/ 159 h 244"/>
                    <a:gd name="T48" fmla="*/ 25 w 268"/>
                    <a:gd name="T49" fmla="*/ 152 h 244"/>
                    <a:gd name="T50" fmla="*/ 25 w 268"/>
                    <a:gd name="T51" fmla="*/ 151 h 244"/>
                    <a:gd name="T52" fmla="*/ 32 w 268"/>
                    <a:gd name="T53" fmla="*/ 149 h 244"/>
                    <a:gd name="T54" fmla="*/ 41 w 268"/>
                    <a:gd name="T55" fmla="*/ 149 h 244"/>
                    <a:gd name="T56" fmla="*/ 46 w 268"/>
                    <a:gd name="T57" fmla="*/ 152 h 244"/>
                    <a:gd name="T58" fmla="*/ 51 w 268"/>
                    <a:gd name="T59" fmla="*/ 154 h 244"/>
                    <a:gd name="T60" fmla="*/ 51 w 268"/>
                    <a:gd name="T61" fmla="*/ 154 h 244"/>
                    <a:gd name="T62" fmla="*/ 52 w 268"/>
                    <a:gd name="T63" fmla="*/ 154 h 244"/>
                    <a:gd name="T64" fmla="*/ 54 w 268"/>
                    <a:gd name="T65" fmla="*/ 154 h 244"/>
                    <a:gd name="T66" fmla="*/ 103 w 268"/>
                    <a:gd name="T67" fmla="*/ 152 h 244"/>
                    <a:gd name="T68" fmla="*/ 142 w 268"/>
                    <a:gd name="T69" fmla="*/ 0 h 244"/>
                    <a:gd name="T70" fmla="*/ 255 w 268"/>
                    <a:gd name="T71" fmla="*/ 87 h 244"/>
                    <a:gd name="T72" fmla="*/ 252 w 268"/>
                    <a:gd name="T73" fmla="*/ 93 h 244"/>
                    <a:gd name="T74" fmla="*/ 248 w 268"/>
                    <a:gd name="T75" fmla="*/ 99 h 244"/>
                    <a:gd name="T76" fmla="*/ 268 w 268"/>
                    <a:gd name="T77" fmla="*/ 97 h 244"/>
                    <a:gd name="T78" fmla="*/ 262 w 268"/>
                    <a:gd name="T79" fmla="*/ 145 h 244"/>
                    <a:gd name="T80" fmla="*/ 212 w 268"/>
                    <a:gd name="T81" fmla="*/ 164 h 244"/>
                    <a:gd name="T82" fmla="*/ 196 w 268"/>
                    <a:gd name="T83" fmla="*/ 159 h 244"/>
                    <a:gd name="T84" fmla="*/ 190 w 268"/>
                    <a:gd name="T85" fmla="*/ 158 h 244"/>
                    <a:gd name="T86" fmla="*/ 168 w 268"/>
                    <a:gd name="T87" fmla="*/ 173 h 244"/>
                    <a:gd name="T88" fmla="*/ 167 w 268"/>
                    <a:gd name="T89" fmla="*/ 173 h 244"/>
                    <a:gd name="T90" fmla="*/ 167 w 268"/>
                    <a:gd name="T91" fmla="*/ 174 h 244"/>
                    <a:gd name="T92" fmla="*/ 167 w 268"/>
                    <a:gd name="T93" fmla="*/ 174 h 244"/>
                    <a:gd name="T94" fmla="*/ 142 w 268"/>
                    <a:gd name="T95" fmla="*/ 191 h 244"/>
                    <a:gd name="T96" fmla="*/ 122 w 268"/>
                    <a:gd name="T97" fmla="*/ 215 h 244"/>
                    <a:gd name="T98" fmla="*/ 107 w 268"/>
                    <a:gd name="T99" fmla="*/ 223 h 244"/>
                    <a:gd name="T100" fmla="*/ 107 w 268"/>
                    <a:gd name="T101" fmla="*/ 225 h 244"/>
                    <a:gd name="T102" fmla="*/ 107 w 268"/>
                    <a:gd name="T103" fmla="*/ 225 h 244"/>
                    <a:gd name="T104" fmla="*/ 107 w 268"/>
                    <a:gd name="T105" fmla="*/ 225 h 244"/>
                    <a:gd name="T106" fmla="*/ 113 w 268"/>
                    <a:gd name="T107" fmla="*/ 236 h 244"/>
                    <a:gd name="T108" fmla="*/ 112 w 268"/>
                    <a:gd name="T109" fmla="*/ 236 h 244"/>
                    <a:gd name="T110" fmla="*/ 112 w 268"/>
                    <a:gd name="T111" fmla="*/ 236 h 244"/>
                    <a:gd name="T112" fmla="*/ 109 w 268"/>
                    <a:gd name="T113" fmla="*/ 238 h 244"/>
                    <a:gd name="T114" fmla="*/ 91 w 268"/>
                    <a:gd name="T115" fmla="*/ 244 h 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68" h="244">
                      <a:moveTo>
                        <a:pt x="91" y="244"/>
                      </a:moveTo>
                      <a:lnTo>
                        <a:pt x="91" y="244"/>
                      </a:lnTo>
                      <a:lnTo>
                        <a:pt x="91" y="244"/>
                      </a:lnTo>
                      <a:lnTo>
                        <a:pt x="87" y="244"/>
                      </a:lnTo>
                      <a:lnTo>
                        <a:pt x="87" y="244"/>
                      </a:lnTo>
                      <a:lnTo>
                        <a:pt x="87" y="244"/>
                      </a:lnTo>
                      <a:lnTo>
                        <a:pt x="87" y="244"/>
                      </a:lnTo>
                      <a:lnTo>
                        <a:pt x="83" y="241"/>
                      </a:lnTo>
                      <a:lnTo>
                        <a:pt x="83" y="241"/>
                      </a:lnTo>
                      <a:lnTo>
                        <a:pt x="77" y="236"/>
                      </a:lnTo>
                      <a:lnTo>
                        <a:pt x="74" y="229"/>
                      </a:lnTo>
                      <a:lnTo>
                        <a:pt x="71" y="220"/>
                      </a:lnTo>
                      <a:lnTo>
                        <a:pt x="71" y="220"/>
                      </a:lnTo>
                      <a:lnTo>
                        <a:pt x="68" y="219"/>
                      </a:lnTo>
                      <a:lnTo>
                        <a:pt x="61" y="219"/>
                      </a:lnTo>
                      <a:lnTo>
                        <a:pt x="52" y="219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4" y="217"/>
                      </a:lnTo>
                      <a:lnTo>
                        <a:pt x="44" y="217"/>
                      </a:lnTo>
                      <a:lnTo>
                        <a:pt x="39" y="216"/>
                      </a:lnTo>
                      <a:lnTo>
                        <a:pt x="36" y="213"/>
                      </a:lnTo>
                      <a:lnTo>
                        <a:pt x="33" y="210"/>
                      </a:lnTo>
                      <a:lnTo>
                        <a:pt x="31" y="210"/>
                      </a:lnTo>
                      <a:lnTo>
                        <a:pt x="31" y="210"/>
                      </a:lnTo>
                      <a:lnTo>
                        <a:pt x="31" y="210"/>
                      </a:lnTo>
                      <a:lnTo>
                        <a:pt x="31" y="210"/>
                      </a:lnTo>
                      <a:lnTo>
                        <a:pt x="31" y="210"/>
                      </a:lnTo>
                      <a:lnTo>
                        <a:pt x="31" y="210"/>
                      </a:lnTo>
                      <a:lnTo>
                        <a:pt x="29" y="213"/>
                      </a:lnTo>
                      <a:lnTo>
                        <a:pt x="28" y="217"/>
                      </a:lnTo>
                      <a:lnTo>
                        <a:pt x="26" y="222"/>
                      </a:lnTo>
                      <a:lnTo>
                        <a:pt x="23" y="223"/>
                      </a:lnTo>
                      <a:lnTo>
                        <a:pt x="23" y="223"/>
                      </a:lnTo>
                      <a:lnTo>
                        <a:pt x="23" y="223"/>
                      </a:lnTo>
                      <a:lnTo>
                        <a:pt x="23" y="223"/>
                      </a:lnTo>
                      <a:lnTo>
                        <a:pt x="23" y="223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17" y="217"/>
                      </a:lnTo>
                      <a:lnTo>
                        <a:pt x="16" y="212"/>
                      </a:lnTo>
                      <a:lnTo>
                        <a:pt x="16" y="206"/>
                      </a:lnTo>
                      <a:lnTo>
                        <a:pt x="15" y="200"/>
                      </a:lnTo>
                      <a:lnTo>
                        <a:pt x="15" y="200"/>
                      </a:lnTo>
                      <a:lnTo>
                        <a:pt x="15" y="200"/>
                      </a:lnTo>
                      <a:lnTo>
                        <a:pt x="15" y="200"/>
                      </a:lnTo>
                      <a:lnTo>
                        <a:pt x="15" y="200"/>
                      </a:lnTo>
                      <a:lnTo>
                        <a:pt x="15" y="200"/>
                      </a:lnTo>
                      <a:lnTo>
                        <a:pt x="12" y="196"/>
                      </a:lnTo>
                      <a:lnTo>
                        <a:pt x="9" y="191"/>
                      </a:lnTo>
                      <a:lnTo>
                        <a:pt x="6" y="187"/>
                      </a:lnTo>
                      <a:lnTo>
                        <a:pt x="3" y="181"/>
                      </a:lnTo>
                      <a:lnTo>
                        <a:pt x="3" y="181"/>
                      </a:lnTo>
                      <a:lnTo>
                        <a:pt x="0" y="164"/>
                      </a:lnTo>
                      <a:lnTo>
                        <a:pt x="0" y="164"/>
                      </a:lnTo>
                      <a:lnTo>
                        <a:pt x="3" y="162"/>
                      </a:lnTo>
                      <a:lnTo>
                        <a:pt x="4" y="158"/>
                      </a:lnTo>
                      <a:lnTo>
                        <a:pt x="7" y="152"/>
                      </a:lnTo>
                      <a:lnTo>
                        <a:pt x="7" y="152"/>
                      </a:lnTo>
                      <a:lnTo>
                        <a:pt x="9" y="151"/>
                      </a:lnTo>
                      <a:lnTo>
                        <a:pt x="9" y="151"/>
                      </a:lnTo>
                      <a:lnTo>
                        <a:pt x="9" y="151"/>
                      </a:lnTo>
                      <a:lnTo>
                        <a:pt x="9" y="151"/>
                      </a:lnTo>
                      <a:lnTo>
                        <a:pt x="9" y="151"/>
                      </a:lnTo>
                      <a:lnTo>
                        <a:pt x="9" y="151"/>
                      </a:lnTo>
                      <a:lnTo>
                        <a:pt x="10" y="149"/>
                      </a:lnTo>
                      <a:lnTo>
                        <a:pt x="10" y="149"/>
                      </a:lnTo>
                      <a:lnTo>
                        <a:pt x="10" y="149"/>
                      </a:lnTo>
                      <a:lnTo>
                        <a:pt x="10" y="149"/>
                      </a:lnTo>
                      <a:lnTo>
                        <a:pt x="10" y="149"/>
                      </a:lnTo>
                      <a:lnTo>
                        <a:pt x="10" y="149"/>
                      </a:lnTo>
                      <a:lnTo>
                        <a:pt x="13" y="151"/>
                      </a:lnTo>
                      <a:lnTo>
                        <a:pt x="16" y="155"/>
                      </a:lnTo>
                      <a:lnTo>
                        <a:pt x="16" y="155"/>
                      </a:lnTo>
                      <a:lnTo>
                        <a:pt x="16" y="155"/>
                      </a:lnTo>
                      <a:lnTo>
                        <a:pt x="16" y="155"/>
                      </a:lnTo>
                      <a:lnTo>
                        <a:pt x="16" y="155"/>
                      </a:lnTo>
                      <a:lnTo>
                        <a:pt x="16" y="155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9"/>
                      </a:lnTo>
                      <a:lnTo>
                        <a:pt x="19" y="159"/>
                      </a:lnTo>
                      <a:lnTo>
                        <a:pt x="19" y="159"/>
                      </a:lnTo>
                      <a:lnTo>
                        <a:pt x="19" y="159"/>
                      </a:lnTo>
                      <a:lnTo>
                        <a:pt x="20" y="159"/>
                      </a:lnTo>
                      <a:lnTo>
                        <a:pt x="20" y="159"/>
                      </a:lnTo>
                      <a:lnTo>
                        <a:pt x="20" y="159"/>
                      </a:lnTo>
                      <a:lnTo>
                        <a:pt x="20" y="159"/>
                      </a:lnTo>
                      <a:lnTo>
                        <a:pt x="22" y="158"/>
                      </a:lnTo>
                      <a:lnTo>
                        <a:pt x="23" y="157"/>
                      </a:lnTo>
                      <a:lnTo>
                        <a:pt x="25" y="152"/>
                      </a:lnTo>
                      <a:lnTo>
                        <a:pt x="25" y="152"/>
                      </a:lnTo>
                      <a:lnTo>
                        <a:pt x="25" y="152"/>
                      </a:lnTo>
                      <a:lnTo>
                        <a:pt x="25" y="152"/>
                      </a:lnTo>
                      <a:lnTo>
                        <a:pt x="25" y="152"/>
                      </a:lnTo>
                      <a:lnTo>
                        <a:pt x="25" y="151"/>
                      </a:lnTo>
                      <a:lnTo>
                        <a:pt x="25" y="151"/>
                      </a:lnTo>
                      <a:lnTo>
                        <a:pt x="25" y="151"/>
                      </a:lnTo>
                      <a:lnTo>
                        <a:pt x="25" y="151"/>
                      </a:lnTo>
                      <a:lnTo>
                        <a:pt x="25" y="151"/>
                      </a:lnTo>
                      <a:lnTo>
                        <a:pt x="25" y="151"/>
                      </a:lnTo>
                      <a:lnTo>
                        <a:pt x="28" y="151"/>
                      </a:lnTo>
                      <a:lnTo>
                        <a:pt x="32" y="149"/>
                      </a:lnTo>
                      <a:lnTo>
                        <a:pt x="39" y="149"/>
                      </a:lnTo>
                      <a:lnTo>
                        <a:pt x="39" y="149"/>
                      </a:lnTo>
                      <a:lnTo>
                        <a:pt x="39" y="149"/>
                      </a:lnTo>
                      <a:lnTo>
                        <a:pt x="39" y="149"/>
                      </a:lnTo>
                      <a:lnTo>
                        <a:pt x="41" y="149"/>
                      </a:lnTo>
                      <a:lnTo>
                        <a:pt x="41" y="149"/>
                      </a:lnTo>
                      <a:lnTo>
                        <a:pt x="41" y="149"/>
                      </a:lnTo>
                      <a:lnTo>
                        <a:pt x="44" y="151"/>
                      </a:lnTo>
                      <a:lnTo>
                        <a:pt x="46" y="152"/>
                      </a:lnTo>
                      <a:lnTo>
                        <a:pt x="46" y="152"/>
                      </a:lnTo>
                      <a:lnTo>
                        <a:pt x="49" y="154"/>
                      </a:lnTo>
                      <a:lnTo>
                        <a:pt x="49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2" y="154"/>
                      </a:lnTo>
                      <a:lnTo>
                        <a:pt x="52" y="154"/>
                      </a:lnTo>
                      <a:lnTo>
                        <a:pt x="52" y="154"/>
                      </a:lnTo>
                      <a:lnTo>
                        <a:pt x="52" y="154"/>
                      </a:lnTo>
                      <a:lnTo>
                        <a:pt x="52" y="154"/>
                      </a:lnTo>
                      <a:lnTo>
                        <a:pt x="52" y="154"/>
                      </a:lnTo>
                      <a:lnTo>
                        <a:pt x="54" y="154"/>
                      </a:lnTo>
                      <a:lnTo>
                        <a:pt x="54" y="154"/>
                      </a:lnTo>
                      <a:lnTo>
                        <a:pt x="54" y="154"/>
                      </a:lnTo>
                      <a:lnTo>
                        <a:pt x="54" y="154"/>
                      </a:lnTo>
                      <a:lnTo>
                        <a:pt x="58" y="154"/>
                      </a:lnTo>
                      <a:lnTo>
                        <a:pt x="58" y="154"/>
                      </a:lnTo>
                      <a:lnTo>
                        <a:pt x="62" y="152"/>
                      </a:lnTo>
                      <a:lnTo>
                        <a:pt x="62" y="152"/>
                      </a:lnTo>
                      <a:lnTo>
                        <a:pt x="103" y="152"/>
                      </a:lnTo>
                      <a:lnTo>
                        <a:pt x="113" y="132"/>
                      </a:lnTo>
                      <a:lnTo>
                        <a:pt x="107" y="128"/>
                      </a:lnTo>
                      <a:lnTo>
                        <a:pt x="100" y="0"/>
                      </a:lnTo>
                      <a:lnTo>
                        <a:pt x="142" y="0"/>
                      </a:lnTo>
                      <a:lnTo>
                        <a:pt x="142" y="0"/>
                      </a:lnTo>
                      <a:lnTo>
                        <a:pt x="168" y="18"/>
                      </a:lnTo>
                      <a:lnTo>
                        <a:pt x="168" y="18"/>
                      </a:lnTo>
                      <a:lnTo>
                        <a:pt x="199" y="39"/>
                      </a:lnTo>
                      <a:lnTo>
                        <a:pt x="225" y="61"/>
                      </a:lnTo>
                      <a:lnTo>
                        <a:pt x="255" y="87"/>
                      </a:lnTo>
                      <a:lnTo>
                        <a:pt x="255" y="87"/>
                      </a:lnTo>
                      <a:lnTo>
                        <a:pt x="256" y="90"/>
                      </a:lnTo>
                      <a:lnTo>
                        <a:pt x="256" y="90"/>
                      </a:lnTo>
                      <a:lnTo>
                        <a:pt x="255" y="91"/>
                      </a:lnTo>
                      <a:lnTo>
                        <a:pt x="252" y="93"/>
                      </a:lnTo>
                      <a:lnTo>
                        <a:pt x="249" y="96"/>
                      </a:lnTo>
                      <a:lnTo>
                        <a:pt x="248" y="97"/>
                      </a:lnTo>
                      <a:lnTo>
                        <a:pt x="248" y="97"/>
                      </a:lnTo>
                      <a:lnTo>
                        <a:pt x="248" y="99"/>
                      </a:lnTo>
                      <a:lnTo>
                        <a:pt x="248" y="99"/>
                      </a:lnTo>
                      <a:lnTo>
                        <a:pt x="249" y="99"/>
                      </a:lnTo>
                      <a:lnTo>
                        <a:pt x="249" y="99"/>
                      </a:lnTo>
                      <a:lnTo>
                        <a:pt x="252" y="99"/>
                      </a:lnTo>
                      <a:lnTo>
                        <a:pt x="252" y="99"/>
                      </a:lnTo>
                      <a:lnTo>
                        <a:pt x="268" y="97"/>
                      </a:lnTo>
                      <a:lnTo>
                        <a:pt x="268" y="120"/>
                      </a:lnTo>
                      <a:lnTo>
                        <a:pt x="268" y="120"/>
                      </a:lnTo>
                      <a:lnTo>
                        <a:pt x="268" y="126"/>
                      </a:lnTo>
                      <a:lnTo>
                        <a:pt x="267" y="132"/>
                      </a:lnTo>
                      <a:lnTo>
                        <a:pt x="262" y="145"/>
                      </a:lnTo>
                      <a:lnTo>
                        <a:pt x="256" y="157"/>
                      </a:lnTo>
                      <a:lnTo>
                        <a:pt x="217" y="157"/>
                      </a:lnTo>
                      <a:lnTo>
                        <a:pt x="217" y="164"/>
                      </a:lnTo>
                      <a:lnTo>
                        <a:pt x="217" y="164"/>
                      </a:lnTo>
                      <a:lnTo>
                        <a:pt x="212" y="164"/>
                      </a:lnTo>
                      <a:lnTo>
                        <a:pt x="204" y="162"/>
                      </a:lnTo>
                      <a:lnTo>
                        <a:pt x="196" y="159"/>
                      </a:lnTo>
                      <a:lnTo>
                        <a:pt x="196" y="159"/>
                      </a:lnTo>
                      <a:lnTo>
                        <a:pt x="196" y="159"/>
                      </a:lnTo>
                      <a:lnTo>
                        <a:pt x="196" y="159"/>
                      </a:lnTo>
                      <a:lnTo>
                        <a:pt x="194" y="158"/>
                      </a:lnTo>
                      <a:lnTo>
                        <a:pt x="194" y="158"/>
                      </a:lnTo>
                      <a:lnTo>
                        <a:pt x="190" y="158"/>
                      </a:lnTo>
                      <a:lnTo>
                        <a:pt x="190" y="158"/>
                      </a:lnTo>
                      <a:lnTo>
                        <a:pt x="190" y="158"/>
                      </a:lnTo>
                      <a:lnTo>
                        <a:pt x="190" y="158"/>
                      </a:lnTo>
                      <a:lnTo>
                        <a:pt x="183" y="159"/>
                      </a:lnTo>
                      <a:lnTo>
                        <a:pt x="177" y="164"/>
                      </a:lnTo>
                      <a:lnTo>
                        <a:pt x="168" y="173"/>
                      </a:lnTo>
                      <a:lnTo>
                        <a:pt x="168" y="173"/>
                      </a:lnTo>
                      <a:lnTo>
                        <a:pt x="168" y="173"/>
                      </a:lnTo>
                      <a:lnTo>
                        <a:pt x="168" y="173"/>
                      </a:lnTo>
                      <a:lnTo>
                        <a:pt x="168" y="173"/>
                      </a:lnTo>
                      <a:lnTo>
                        <a:pt x="168" y="173"/>
                      </a:lnTo>
                      <a:lnTo>
                        <a:pt x="167" y="173"/>
                      </a:lnTo>
                      <a:lnTo>
                        <a:pt x="167" y="173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55" y="183"/>
                      </a:lnTo>
                      <a:lnTo>
                        <a:pt x="149" y="187"/>
                      </a:lnTo>
                      <a:lnTo>
                        <a:pt x="142" y="191"/>
                      </a:lnTo>
                      <a:lnTo>
                        <a:pt x="142" y="191"/>
                      </a:lnTo>
                      <a:lnTo>
                        <a:pt x="136" y="194"/>
                      </a:lnTo>
                      <a:lnTo>
                        <a:pt x="132" y="199"/>
                      </a:lnTo>
                      <a:lnTo>
                        <a:pt x="125" y="209"/>
                      </a:lnTo>
                      <a:lnTo>
                        <a:pt x="125" y="209"/>
                      </a:lnTo>
                      <a:lnTo>
                        <a:pt x="122" y="215"/>
                      </a:lnTo>
                      <a:lnTo>
                        <a:pt x="117" y="217"/>
                      </a:lnTo>
                      <a:lnTo>
                        <a:pt x="107" y="223"/>
                      </a:lnTo>
                      <a:lnTo>
                        <a:pt x="107" y="223"/>
                      </a:lnTo>
                      <a:lnTo>
                        <a:pt x="107" y="223"/>
                      </a:lnTo>
                      <a:lnTo>
                        <a:pt x="107" y="223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8"/>
                      </a:lnTo>
                      <a:lnTo>
                        <a:pt x="107" y="230"/>
                      </a:lnTo>
                      <a:lnTo>
                        <a:pt x="113" y="236"/>
                      </a:lnTo>
                      <a:lnTo>
                        <a:pt x="113" y="236"/>
                      </a:lnTo>
                      <a:lnTo>
                        <a:pt x="113" y="236"/>
                      </a:lnTo>
                      <a:lnTo>
                        <a:pt x="113" y="236"/>
                      </a:lnTo>
                      <a:lnTo>
                        <a:pt x="112" y="236"/>
                      </a:lnTo>
                      <a:lnTo>
                        <a:pt x="112" y="236"/>
                      </a:lnTo>
                      <a:lnTo>
                        <a:pt x="112" y="236"/>
                      </a:lnTo>
                      <a:lnTo>
                        <a:pt x="112" y="236"/>
                      </a:lnTo>
                      <a:lnTo>
                        <a:pt x="112" y="236"/>
                      </a:lnTo>
                      <a:lnTo>
                        <a:pt x="112" y="236"/>
                      </a:lnTo>
                      <a:lnTo>
                        <a:pt x="112" y="236"/>
                      </a:lnTo>
                      <a:lnTo>
                        <a:pt x="109" y="238"/>
                      </a:lnTo>
                      <a:lnTo>
                        <a:pt x="109" y="238"/>
                      </a:lnTo>
                      <a:lnTo>
                        <a:pt x="109" y="238"/>
                      </a:lnTo>
                      <a:lnTo>
                        <a:pt x="109" y="238"/>
                      </a:lnTo>
                      <a:lnTo>
                        <a:pt x="109" y="238"/>
                      </a:lnTo>
                      <a:lnTo>
                        <a:pt x="109" y="238"/>
                      </a:lnTo>
                      <a:lnTo>
                        <a:pt x="109" y="238"/>
                      </a:lnTo>
                      <a:lnTo>
                        <a:pt x="109" y="238"/>
                      </a:lnTo>
                      <a:lnTo>
                        <a:pt x="99" y="242"/>
                      </a:lnTo>
                      <a:lnTo>
                        <a:pt x="91" y="244"/>
                      </a:lnTo>
                      <a:lnTo>
                        <a:pt x="91" y="24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57" name="Freeform 107"/>
                <p:cNvSpPr>
                  <a:spLocks/>
                </p:cNvSpPr>
                <p:nvPr/>
              </p:nvSpPr>
              <p:spPr bwMode="auto">
                <a:xfrm>
                  <a:off x="4215867" y="2926380"/>
                  <a:ext cx="265122" cy="241379"/>
                </a:xfrm>
                <a:custGeom>
                  <a:avLst/>
                  <a:gdLst>
                    <a:gd name="T0" fmla="*/ 87 w 268"/>
                    <a:gd name="T1" fmla="*/ 244 h 244"/>
                    <a:gd name="T2" fmla="*/ 77 w 268"/>
                    <a:gd name="T3" fmla="*/ 236 h 244"/>
                    <a:gd name="T4" fmla="*/ 61 w 268"/>
                    <a:gd name="T5" fmla="*/ 219 h 244"/>
                    <a:gd name="T6" fmla="*/ 45 w 268"/>
                    <a:gd name="T7" fmla="*/ 217 h 244"/>
                    <a:gd name="T8" fmla="*/ 45 w 268"/>
                    <a:gd name="T9" fmla="*/ 217 h 244"/>
                    <a:gd name="T10" fmla="*/ 36 w 268"/>
                    <a:gd name="T11" fmla="*/ 213 h 244"/>
                    <a:gd name="T12" fmla="*/ 31 w 268"/>
                    <a:gd name="T13" fmla="*/ 210 h 244"/>
                    <a:gd name="T14" fmla="*/ 26 w 268"/>
                    <a:gd name="T15" fmla="*/ 222 h 244"/>
                    <a:gd name="T16" fmla="*/ 23 w 268"/>
                    <a:gd name="T17" fmla="*/ 223 h 244"/>
                    <a:gd name="T18" fmla="*/ 20 w 268"/>
                    <a:gd name="T19" fmla="*/ 222 h 244"/>
                    <a:gd name="T20" fmla="*/ 20 w 268"/>
                    <a:gd name="T21" fmla="*/ 222 h 244"/>
                    <a:gd name="T22" fmla="*/ 17 w 268"/>
                    <a:gd name="T23" fmla="*/ 217 h 244"/>
                    <a:gd name="T24" fmla="*/ 15 w 268"/>
                    <a:gd name="T25" fmla="*/ 200 h 244"/>
                    <a:gd name="T26" fmla="*/ 9 w 268"/>
                    <a:gd name="T27" fmla="*/ 191 h 244"/>
                    <a:gd name="T28" fmla="*/ 0 w 268"/>
                    <a:gd name="T29" fmla="*/ 164 h 244"/>
                    <a:gd name="T30" fmla="*/ 9 w 268"/>
                    <a:gd name="T31" fmla="*/ 151 h 244"/>
                    <a:gd name="T32" fmla="*/ 9 w 268"/>
                    <a:gd name="T33" fmla="*/ 151 h 244"/>
                    <a:gd name="T34" fmla="*/ 10 w 268"/>
                    <a:gd name="T35" fmla="*/ 149 h 244"/>
                    <a:gd name="T36" fmla="*/ 16 w 268"/>
                    <a:gd name="T37" fmla="*/ 155 h 244"/>
                    <a:gd name="T38" fmla="*/ 19 w 268"/>
                    <a:gd name="T39" fmla="*/ 158 h 244"/>
                    <a:gd name="T40" fmla="*/ 19 w 268"/>
                    <a:gd name="T41" fmla="*/ 158 h 244"/>
                    <a:gd name="T42" fmla="*/ 19 w 268"/>
                    <a:gd name="T43" fmla="*/ 158 h 244"/>
                    <a:gd name="T44" fmla="*/ 19 w 268"/>
                    <a:gd name="T45" fmla="*/ 159 h 244"/>
                    <a:gd name="T46" fmla="*/ 20 w 268"/>
                    <a:gd name="T47" fmla="*/ 159 h 244"/>
                    <a:gd name="T48" fmla="*/ 25 w 268"/>
                    <a:gd name="T49" fmla="*/ 152 h 244"/>
                    <a:gd name="T50" fmla="*/ 25 w 268"/>
                    <a:gd name="T51" fmla="*/ 151 h 244"/>
                    <a:gd name="T52" fmla="*/ 32 w 268"/>
                    <a:gd name="T53" fmla="*/ 149 h 244"/>
                    <a:gd name="T54" fmla="*/ 41 w 268"/>
                    <a:gd name="T55" fmla="*/ 149 h 244"/>
                    <a:gd name="T56" fmla="*/ 46 w 268"/>
                    <a:gd name="T57" fmla="*/ 152 h 244"/>
                    <a:gd name="T58" fmla="*/ 51 w 268"/>
                    <a:gd name="T59" fmla="*/ 154 h 244"/>
                    <a:gd name="T60" fmla="*/ 51 w 268"/>
                    <a:gd name="T61" fmla="*/ 154 h 244"/>
                    <a:gd name="T62" fmla="*/ 52 w 268"/>
                    <a:gd name="T63" fmla="*/ 154 h 244"/>
                    <a:gd name="T64" fmla="*/ 54 w 268"/>
                    <a:gd name="T65" fmla="*/ 154 h 244"/>
                    <a:gd name="T66" fmla="*/ 103 w 268"/>
                    <a:gd name="T67" fmla="*/ 152 h 244"/>
                    <a:gd name="T68" fmla="*/ 142 w 268"/>
                    <a:gd name="T69" fmla="*/ 0 h 244"/>
                    <a:gd name="T70" fmla="*/ 255 w 268"/>
                    <a:gd name="T71" fmla="*/ 87 h 244"/>
                    <a:gd name="T72" fmla="*/ 252 w 268"/>
                    <a:gd name="T73" fmla="*/ 93 h 244"/>
                    <a:gd name="T74" fmla="*/ 248 w 268"/>
                    <a:gd name="T75" fmla="*/ 99 h 244"/>
                    <a:gd name="T76" fmla="*/ 268 w 268"/>
                    <a:gd name="T77" fmla="*/ 97 h 244"/>
                    <a:gd name="T78" fmla="*/ 262 w 268"/>
                    <a:gd name="T79" fmla="*/ 145 h 244"/>
                    <a:gd name="T80" fmla="*/ 212 w 268"/>
                    <a:gd name="T81" fmla="*/ 164 h 244"/>
                    <a:gd name="T82" fmla="*/ 196 w 268"/>
                    <a:gd name="T83" fmla="*/ 159 h 244"/>
                    <a:gd name="T84" fmla="*/ 190 w 268"/>
                    <a:gd name="T85" fmla="*/ 158 h 244"/>
                    <a:gd name="T86" fmla="*/ 168 w 268"/>
                    <a:gd name="T87" fmla="*/ 173 h 244"/>
                    <a:gd name="T88" fmla="*/ 167 w 268"/>
                    <a:gd name="T89" fmla="*/ 173 h 244"/>
                    <a:gd name="T90" fmla="*/ 167 w 268"/>
                    <a:gd name="T91" fmla="*/ 174 h 244"/>
                    <a:gd name="T92" fmla="*/ 167 w 268"/>
                    <a:gd name="T93" fmla="*/ 174 h 244"/>
                    <a:gd name="T94" fmla="*/ 142 w 268"/>
                    <a:gd name="T95" fmla="*/ 191 h 244"/>
                    <a:gd name="T96" fmla="*/ 122 w 268"/>
                    <a:gd name="T97" fmla="*/ 215 h 244"/>
                    <a:gd name="T98" fmla="*/ 107 w 268"/>
                    <a:gd name="T99" fmla="*/ 223 h 244"/>
                    <a:gd name="T100" fmla="*/ 107 w 268"/>
                    <a:gd name="T101" fmla="*/ 225 h 244"/>
                    <a:gd name="T102" fmla="*/ 107 w 268"/>
                    <a:gd name="T103" fmla="*/ 225 h 244"/>
                    <a:gd name="T104" fmla="*/ 107 w 268"/>
                    <a:gd name="T105" fmla="*/ 225 h 244"/>
                    <a:gd name="T106" fmla="*/ 113 w 268"/>
                    <a:gd name="T107" fmla="*/ 236 h 244"/>
                    <a:gd name="T108" fmla="*/ 112 w 268"/>
                    <a:gd name="T109" fmla="*/ 236 h 244"/>
                    <a:gd name="T110" fmla="*/ 112 w 268"/>
                    <a:gd name="T111" fmla="*/ 236 h 244"/>
                    <a:gd name="T112" fmla="*/ 109 w 268"/>
                    <a:gd name="T113" fmla="*/ 238 h 244"/>
                    <a:gd name="T114" fmla="*/ 91 w 268"/>
                    <a:gd name="T115" fmla="*/ 244 h 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68" h="244">
                      <a:moveTo>
                        <a:pt x="91" y="244"/>
                      </a:moveTo>
                      <a:lnTo>
                        <a:pt x="91" y="244"/>
                      </a:lnTo>
                      <a:lnTo>
                        <a:pt x="91" y="244"/>
                      </a:lnTo>
                      <a:lnTo>
                        <a:pt x="87" y="244"/>
                      </a:lnTo>
                      <a:lnTo>
                        <a:pt x="87" y="244"/>
                      </a:lnTo>
                      <a:lnTo>
                        <a:pt x="87" y="244"/>
                      </a:lnTo>
                      <a:lnTo>
                        <a:pt x="87" y="244"/>
                      </a:lnTo>
                      <a:lnTo>
                        <a:pt x="83" y="241"/>
                      </a:lnTo>
                      <a:lnTo>
                        <a:pt x="83" y="241"/>
                      </a:lnTo>
                      <a:lnTo>
                        <a:pt x="77" y="236"/>
                      </a:lnTo>
                      <a:lnTo>
                        <a:pt x="74" y="229"/>
                      </a:lnTo>
                      <a:lnTo>
                        <a:pt x="71" y="220"/>
                      </a:lnTo>
                      <a:lnTo>
                        <a:pt x="71" y="220"/>
                      </a:lnTo>
                      <a:lnTo>
                        <a:pt x="68" y="219"/>
                      </a:lnTo>
                      <a:lnTo>
                        <a:pt x="61" y="219"/>
                      </a:lnTo>
                      <a:lnTo>
                        <a:pt x="52" y="219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4" y="217"/>
                      </a:lnTo>
                      <a:lnTo>
                        <a:pt x="44" y="217"/>
                      </a:lnTo>
                      <a:lnTo>
                        <a:pt x="39" y="216"/>
                      </a:lnTo>
                      <a:lnTo>
                        <a:pt x="36" y="213"/>
                      </a:lnTo>
                      <a:lnTo>
                        <a:pt x="33" y="210"/>
                      </a:lnTo>
                      <a:lnTo>
                        <a:pt x="31" y="210"/>
                      </a:lnTo>
                      <a:lnTo>
                        <a:pt x="31" y="210"/>
                      </a:lnTo>
                      <a:lnTo>
                        <a:pt x="31" y="210"/>
                      </a:lnTo>
                      <a:lnTo>
                        <a:pt x="31" y="210"/>
                      </a:lnTo>
                      <a:lnTo>
                        <a:pt x="31" y="210"/>
                      </a:lnTo>
                      <a:lnTo>
                        <a:pt x="31" y="210"/>
                      </a:lnTo>
                      <a:lnTo>
                        <a:pt x="29" y="213"/>
                      </a:lnTo>
                      <a:lnTo>
                        <a:pt x="28" y="217"/>
                      </a:lnTo>
                      <a:lnTo>
                        <a:pt x="26" y="222"/>
                      </a:lnTo>
                      <a:lnTo>
                        <a:pt x="23" y="223"/>
                      </a:lnTo>
                      <a:lnTo>
                        <a:pt x="23" y="223"/>
                      </a:lnTo>
                      <a:lnTo>
                        <a:pt x="23" y="223"/>
                      </a:lnTo>
                      <a:lnTo>
                        <a:pt x="23" y="223"/>
                      </a:lnTo>
                      <a:lnTo>
                        <a:pt x="23" y="223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20" y="222"/>
                      </a:lnTo>
                      <a:lnTo>
                        <a:pt x="17" y="217"/>
                      </a:lnTo>
                      <a:lnTo>
                        <a:pt x="16" y="212"/>
                      </a:lnTo>
                      <a:lnTo>
                        <a:pt x="16" y="206"/>
                      </a:lnTo>
                      <a:lnTo>
                        <a:pt x="15" y="200"/>
                      </a:lnTo>
                      <a:lnTo>
                        <a:pt x="15" y="200"/>
                      </a:lnTo>
                      <a:lnTo>
                        <a:pt x="15" y="200"/>
                      </a:lnTo>
                      <a:lnTo>
                        <a:pt x="15" y="200"/>
                      </a:lnTo>
                      <a:lnTo>
                        <a:pt x="15" y="200"/>
                      </a:lnTo>
                      <a:lnTo>
                        <a:pt x="15" y="200"/>
                      </a:lnTo>
                      <a:lnTo>
                        <a:pt x="12" y="196"/>
                      </a:lnTo>
                      <a:lnTo>
                        <a:pt x="9" y="191"/>
                      </a:lnTo>
                      <a:lnTo>
                        <a:pt x="6" y="187"/>
                      </a:lnTo>
                      <a:lnTo>
                        <a:pt x="3" y="181"/>
                      </a:lnTo>
                      <a:lnTo>
                        <a:pt x="3" y="181"/>
                      </a:lnTo>
                      <a:lnTo>
                        <a:pt x="0" y="164"/>
                      </a:lnTo>
                      <a:lnTo>
                        <a:pt x="0" y="164"/>
                      </a:lnTo>
                      <a:lnTo>
                        <a:pt x="3" y="162"/>
                      </a:lnTo>
                      <a:lnTo>
                        <a:pt x="4" y="158"/>
                      </a:lnTo>
                      <a:lnTo>
                        <a:pt x="7" y="152"/>
                      </a:lnTo>
                      <a:lnTo>
                        <a:pt x="7" y="152"/>
                      </a:lnTo>
                      <a:lnTo>
                        <a:pt x="9" y="151"/>
                      </a:lnTo>
                      <a:lnTo>
                        <a:pt x="9" y="151"/>
                      </a:lnTo>
                      <a:lnTo>
                        <a:pt x="9" y="151"/>
                      </a:lnTo>
                      <a:lnTo>
                        <a:pt x="9" y="151"/>
                      </a:lnTo>
                      <a:lnTo>
                        <a:pt x="9" y="151"/>
                      </a:lnTo>
                      <a:lnTo>
                        <a:pt x="9" y="151"/>
                      </a:lnTo>
                      <a:lnTo>
                        <a:pt x="10" y="149"/>
                      </a:lnTo>
                      <a:lnTo>
                        <a:pt x="10" y="149"/>
                      </a:lnTo>
                      <a:lnTo>
                        <a:pt x="10" y="149"/>
                      </a:lnTo>
                      <a:lnTo>
                        <a:pt x="10" y="149"/>
                      </a:lnTo>
                      <a:lnTo>
                        <a:pt x="10" y="149"/>
                      </a:lnTo>
                      <a:lnTo>
                        <a:pt x="10" y="149"/>
                      </a:lnTo>
                      <a:lnTo>
                        <a:pt x="13" y="151"/>
                      </a:lnTo>
                      <a:lnTo>
                        <a:pt x="16" y="155"/>
                      </a:lnTo>
                      <a:lnTo>
                        <a:pt x="16" y="155"/>
                      </a:lnTo>
                      <a:lnTo>
                        <a:pt x="16" y="155"/>
                      </a:lnTo>
                      <a:lnTo>
                        <a:pt x="16" y="155"/>
                      </a:lnTo>
                      <a:lnTo>
                        <a:pt x="16" y="155"/>
                      </a:lnTo>
                      <a:lnTo>
                        <a:pt x="16" y="155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9"/>
                      </a:lnTo>
                      <a:lnTo>
                        <a:pt x="19" y="159"/>
                      </a:lnTo>
                      <a:lnTo>
                        <a:pt x="19" y="159"/>
                      </a:lnTo>
                      <a:lnTo>
                        <a:pt x="19" y="159"/>
                      </a:lnTo>
                      <a:lnTo>
                        <a:pt x="20" y="159"/>
                      </a:lnTo>
                      <a:lnTo>
                        <a:pt x="20" y="159"/>
                      </a:lnTo>
                      <a:lnTo>
                        <a:pt x="20" y="159"/>
                      </a:lnTo>
                      <a:lnTo>
                        <a:pt x="20" y="159"/>
                      </a:lnTo>
                      <a:lnTo>
                        <a:pt x="22" y="158"/>
                      </a:lnTo>
                      <a:lnTo>
                        <a:pt x="23" y="157"/>
                      </a:lnTo>
                      <a:lnTo>
                        <a:pt x="25" y="152"/>
                      </a:lnTo>
                      <a:lnTo>
                        <a:pt x="25" y="152"/>
                      </a:lnTo>
                      <a:lnTo>
                        <a:pt x="25" y="152"/>
                      </a:lnTo>
                      <a:lnTo>
                        <a:pt x="25" y="152"/>
                      </a:lnTo>
                      <a:lnTo>
                        <a:pt x="25" y="152"/>
                      </a:lnTo>
                      <a:lnTo>
                        <a:pt x="25" y="151"/>
                      </a:lnTo>
                      <a:lnTo>
                        <a:pt x="25" y="151"/>
                      </a:lnTo>
                      <a:lnTo>
                        <a:pt x="25" y="151"/>
                      </a:lnTo>
                      <a:lnTo>
                        <a:pt x="25" y="151"/>
                      </a:lnTo>
                      <a:lnTo>
                        <a:pt x="25" y="151"/>
                      </a:lnTo>
                      <a:lnTo>
                        <a:pt x="25" y="151"/>
                      </a:lnTo>
                      <a:lnTo>
                        <a:pt x="28" y="151"/>
                      </a:lnTo>
                      <a:lnTo>
                        <a:pt x="32" y="149"/>
                      </a:lnTo>
                      <a:lnTo>
                        <a:pt x="39" y="149"/>
                      </a:lnTo>
                      <a:lnTo>
                        <a:pt x="39" y="149"/>
                      </a:lnTo>
                      <a:lnTo>
                        <a:pt x="39" y="149"/>
                      </a:lnTo>
                      <a:lnTo>
                        <a:pt x="39" y="149"/>
                      </a:lnTo>
                      <a:lnTo>
                        <a:pt x="41" y="149"/>
                      </a:lnTo>
                      <a:lnTo>
                        <a:pt x="41" y="149"/>
                      </a:lnTo>
                      <a:lnTo>
                        <a:pt x="41" y="149"/>
                      </a:lnTo>
                      <a:lnTo>
                        <a:pt x="44" y="151"/>
                      </a:lnTo>
                      <a:lnTo>
                        <a:pt x="46" y="152"/>
                      </a:lnTo>
                      <a:lnTo>
                        <a:pt x="46" y="152"/>
                      </a:lnTo>
                      <a:lnTo>
                        <a:pt x="49" y="154"/>
                      </a:lnTo>
                      <a:lnTo>
                        <a:pt x="49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2" y="154"/>
                      </a:lnTo>
                      <a:lnTo>
                        <a:pt x="52" y="154"/>
                      </a:lnTo>
                      <a:lnTo>
                        <a:pt x="52" y="154"/>
                      </a:lnTo>
                      <a:lnTo>
                        <a:pt x="52" y="154"/>
                      </a:lnTo>
                      <a:lnTo>
                        <a:pt x="52" y="154"/>
                      </a:lnTo>
                      <a:lnTo>
                        <a:pt x="52" y="154"/>
                      </a:lnTo>
                      <a:lnTo>
                        <a:pt x="54" y="154"/>
                      </a:lnTo>
                      <a:lnTo>
                        <a:pt x="54" y="154"/>
                      </a:lnTo>
                      <a:lnTo>
                        <a:pt x="54" y="154"/>
                      </a:lnTo>
                      <a:lnTo>
                        <a:pt x="54" y="154"/>
                      </a:lnTo>
                      <a:lnTo>
                        <a:pt x="58" y="154"/>
                      </a:lnTo>
                      <a:lnTo>
                        <a:pt x="58" y="154"/>
                      </a:lnTo>
                      <a:lnTo>
                        <a:pt x="62" y="152"/>
                      </a:lnTo>
                      <a:lnTo>
                        <a:pt x="62" y="152"/>
                      </a:lnTo>
                      <a:lnTo>
                        <a:pt x="103" y="152"/>
                      </a:lnTo>
                      <a:lnTo>
                        <a:pt x="113" y="132"/>
                      </a:lnTo>
                      <a:lnTo>
                        <a:pt x="107" y="128"/>
                      </a:lnTo>
                      <a:lnTo>
                        <a:pt x="100" y="0"/>
                      </a:lnTo>
                      <a:lnTo>
                        <a:pt x="142" y="0"/>
                      </a:lnTo>
                      <a:lnTo>
                        <a:pt x="142" y="0"/>
                      </a:lnTo>
                      <a:lnTo>
                        <a:pt x="168" y="18"/>
                      </a:lnTo>
                      <a:lnTo>
                        <a:pt x="168" y="18"/>
                      </a:lnTo>
                      <a:lnTo>
                        <a:pt x="199" y="39"/>
                      </a:lnTo>
                      <a:lnTo>
                        <a:pt x="225" y="61"/>
                      </a:lnTo>
                      <a:lnTo>
                        <a:pt x="255" y="87"/>
                      </a:lnTo>
                      <a:lnTo>
                        <a:pt x="255" y="87"/>
                      </a:lnTo>
                      <a:lnTo>
                        <a:pt x="256" y="90"/>
                      </a:lnTo>
                      <a:lnTo>
                        <a:pt x="256" y="90"/>
                      </a:lnTo>
                      <a:lnTo>
                        <a:pt x="255" y="91"/>
                      </a:lnTo>
                      <a:lnTo>
                        <a:pt x="252" y="93"/>
                      </a:lnTo>
                      <a:lnTo>
                        <a:pt x="249" y="96"/>
                      </a:lnTo>
                      <a:lnTo>
                        <a:pt x="248" y="97"/>
                      </a:lnTo>
                      <a:lnTo>
                        <a:pt x="248" y="97"/>
                      </a:lnTo>
                      <a:lnTo>
                        <a:pt x="248" y="99"/>
                      </a:lnTo>
                      <a:lnTo>
                        <a:pt x="248" y="99"/>
                      </a:lnTo>
                      <a:lnTo>
                        <a:pt x="249" y="99"/>
                      </a:lnTo>
                      <a:lnTo>
                        <a:pt x="249" y="99"/>
                      </a:lnTo>
                      <a:lnTo>
                        <a:pt x="252" y="99"/>
                      </a:lnTo>
                      <a:lnTo>
                        <a:pt x="252" y="99"/>
                      </a:lnTo>
                      <a:lnTo>
                        <a:pt x="268" y="97"/>
                      </a:lnTo>
                      <a:lnTo>
                        <a:pt x="268" y="120"/>
                      </a:lnTo>
                      <a:lnTo>
                        <a:pt x="268" y="120"/>
                      </a:lnTo>
                      <a:lnTo>
                        <a:pt x="268" y="126"/>
                      </a:lnTo>
                      <a:lnTo>
                        <a:pt x="267" y="132"/>
                      </a:lnTo>
                      <a:lnTo>
                        <a:pt x="262" y="145"/>
                      </a:lnTo>
                      <a:lnTo>
                        <a:pt x="256" y="157"/>
                      </a:lnTo>
                      <a:lnTo>
                        <a:pt x="217" y="157"/>
                      </a:lnTo>
                      <a:lnTo>
                        <a:pt x="217" y="164"/>
                      </a:lnTo>
                      <a:lnTo>
                        <a:pt x="217" y="164"/>
                      </a:lnTo>
                      <a:lnTo>
                        <a:pt x="212" y="164"/>
                      </a:lnTo>
                      <a:lnTo>
                        <a:pt x="204" y="162"/>
                      </a:lnTo>
                      <a:lnTo>
                        <a:pt x="196" y="159"/>
                      </a:lnTo>
                      <a:lnTo>
                        <a:pt x="196" y="159"/>
                      </a:lnTo>
                      <a:lnTo>
                        <a:pt x="196" y="159"/>
                      </a:lnTo>
                      <a:lnTo>
                        <a:pt x="196" y="159"/>
                      </a:lnTo>
                      <a:lnTo>
                        <a:pt x="194" y="158"/>
                      </a:lnTo>
                      <a:lnTo>
                        <a:pt x="194" y="158"/>
                      </a:lnTo>
                      <a:lnTo>
                        <a:pt x="190" y="158"/>
                      </a:lnTo>
                      <a:lnTo>
                        <a:pt x="190" y="158"/>
                      </a:lnTo>
                      <a:lnTo>
                        <a:pt x="190" y="158"/>
                      </a:lnTo>
                      <a:lnTo>
                        <a:pt x="190" y="158"/>
                      </a:lnTo>
                      <a:lnTo>
                        <a:pt x="183" y="159"/>
                      </a:lnTo>
                      <a:lnTo>
                        <a:pt x="177" y="164"/>
                      </a:lnTo>
                      <a:lnTo>
                        <a:pt x="168" y="173"/>
                      </a:lnTo>
                      <a:lnTo>
                        <a:pt x="168" y="173"/>
                      </a:lnTo>
                      <a:lnTo>
                        <a:pt x="168" y="173"/>
                      </a:lnTo>
                      <a:lnTo>
                        <a:pt x="168" y="173"/>
                      </a:lnTo>
                      <a:lnTo>
                        <a:pt x="168" y="173"/>
                      </a:lnTo>
                      <a:lnTo>
                        <a:pt x="168" y="173"/>
                      </a:lnTo>
                      <a:lnTo>
                        <a:pt x="167" y="173"/>
                      </a:lnTo>
                      <a:lnTo>
                        <a:pt x="167" y="173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67" y="174"/>
                      </a:lnTo>
                      <a:lnTo>
                        <a:pt x="155" y="183"/>
                      </a:lnTo>
                      <a:lnTo>
                        <a:pt x="149" y="187"/>
                      </a:lnTo>
                      <a:lnTo>
                        <a:pt x="142" y="191"/>
                      </a:lnTo>
                      <a:lnTo>
                        <a:pt x="142" y="191"/>
                      </a:lnTo>
                      <a:lnTo>
                        <a:pt x="136" y="194"/>
                      </a:lnTo>
                      <a:lnTo>
                        <a:pt x="132" y="199"/>
                      </a:lnTo>
                      <a:lnTo>
                        <a:pt x="125" y="209"/>
                      </a:lnTo>
                      <a:lnTo>
                        <a:pt x="125" y="209"/>
                      </a:lnTo>
                      <a:lnTo>
                        <a:pt x="122" y="215"/>
                      </a:lnTo>
                      <a:lnTo>
                        <a:pt x="117" y="217"/>
                      </a:lnTo>
                      <a:lnTo>
                        <a:pt x="107" y="223"/>
                      </a:lnTo>
                      <a:lnTo>
                        <a:pt x="107" y="223"/>
                      </a:lnTo>
                      <a:lnTo>
                        <a:pt x="107" y="223"/>
                      </a:lnTo>
                      <a:lnTo>
                        <a:pt x="107" y="223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7" y="228"/>
                      </a:lnTo>
                      <a:lnTo>
                        <a:pt x="107" y="230"/>
                      </a:lnTo>
                      <a:lnTo>
                        <a:pt x="113" y="236"/>
                      </a:lnTo>
                      <a:lnTo>
                        <a:pt x="113" y="236"/>
                      </a:lnTo>
                      <a:lnTo>
                        <a:pt x="113" y="236"/>
                      </a:lnTo>
                      <a:lnTo>
                        <a:pt x="113" y="236"/>
                      </a:lnTo>
                      <a:lnTo>
                        <a:pt x="112" y="236"/>
                      </a:lnTo>
                      <a:lnTo>
                        <a:pt x="112" y="236"/>
                      </a:lnTo>
                      <a:lnTo>
                        <a:pt x="112" y="236"/>
                      </a:lnTo>
                      <a:lnTo>
                        <a:pt x="112" y="236"/>
                      </a:lnTo>
                      <a:lnTo>
                        <a:pt x="112" y="236"/>
                      </a:lnTo>
                      <a:lnTo>
                        <a:pt x="112" y="236"/>
                      </a:lnTo>
                      <a:lnTo>
                        <a:pt x="112" y="236"/>
                      </a:lnTo>
                      <a:lnTo>
                        <a:pt x="109" y="238"/>
                      </a:lnTo>
                      <a:lnTo>
                        <a:pt x="109" y="238"/>
                      </a:lnTo>
                      <a:lnTo>
                        <a:pt x="109" y="238"/>
                      </a:lnTo>
                      <a:lnTo>
                        <a:pt x="109" y="238"/>
                      </a:lnTo>
                      <a:lnTo>
                        <a:pt x="109" y="238"/>
                      </a:lnTo>
                      <a:lnTo>
                        <a:pt x="109" y="238"/>
                      </a:lnTo>
                      <a:lnTo>
                        <a:pt x="109" y="238"/>
                      </a:lnTo>
                      <a:lnTo>
                        <a:pt x="109" y="238"/>
                      </a:lnTo>
                      <a:lnTo>
                        <a:pt x="99" y="242"/>
                      </a:lnTo>
                      <a:lnTo>
                        <a:pt x="91" y="244"/>
                      </a:lnTo>
                      <a:lnTo>
                        <a:pt x="91" y="24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58" name="Freeform 108"/>
                <p:cNvSpPr>
                  <a:spLocks/>
                </p:cNvSpPr>
                <p:nvPr/>
              </p:nvSpPr>
              <p:spPr bwMode="auto">
                <a:xfrm>
                  <a:off x="4151565" y="3107415"/>
                  <a:ext cx="39570" cy="13850"/>
                </a:xfrm>
                <a:custGeom>
                  <a:avLst/>
                  <a:gdLst>
                    <a:gd name="T0" fmla="*/ 1 w 40"/>
                    <a:gd name="T1" fmla="*/ 14 h 14"/>
                    <a:gd name="T2" fmla="*/ 1 w 40"/>
                    <a:gd name="T3" fmla="*/ 14 h 14"/>
                    <a:gd name="T4" fmla="*/ 1 w 40"/>
                    <a:gd name="T5" fmla="*/ 13 h 14"/>
                    <a:gd name="T6" fmla="*/ 1 w 40"/>
                    <a:gd name="T7" fmla="*/ 13 h 14"/>
                    <a:gd name="T8" fmla="*/ 0 w 40"/>
                    <a:gd name="T9" fmla="*/ 7 h 14"/>
                    <a:gd name="T10" fmla="*/ 0 w 40"/>
                    <a:gd name="T11" fmla="*/ 7 h 14"/>
                    <a:gd name="T12" fmla="*/ 3 w 40"/>
                    <a:gd name="T13" fmla="*/ 7 h 14"/>
                    <a:gd name="T14" fmla="*/ 3 w 40"/>
                    <a:gd name="T15" fmla="*/ 7 h 14"/>
                    <a:gd name="T16" fmla="*/ 3 w 40"/>
                    <a:gd name="T17" fmla="*/ 7 h 14"/>
                    <a:gd name="T18" fmla="*/ 3 w 40"/>
                    <a:gd name="T19" fmla="*/ 7 h 14"/>
                    <a:gd name="T20" fmla="*/ 10 w 40"/>
                    <a:gd name="T21" fmla="*/ 7 h 14"/>
                    <a:gd name="T22" fmla="*/ 17 w 40"/>
                    <a:gd name="T23" fmla="*/ 4 h 14"/>
                    <a:gd name="T24" fmla="*/ 26 w 40"/>
                    <a:gd name="T25" fmla="*/ 0 h 14"/>
                    <a:gd name="T26" fmla="*/ 26 w 40"/>
                    <a:gd name="T27" fmla="*/ 0 h 14"/>
                    <a:gd name="T28" fmla="*/ 26 w 40"/>
                    <a:gd name="T29" fmla="*/ 0 h 14"/>
                    <a:gd name="T30" fmla="*/ 26 w 40"/>
                    <a:gd name="T31" fmla="*/ 0 h 14"/>
                    <a:gd name="T32" fmla="*/ 26 w 40"/>
                    <a:gd name="T33" fmla="*/ 0 h 14"/>
                    <a:gd name="T34" fmla="*/ 27 w 40"/>
                    <a:gd name="T35" fmla="*/ 0 h 14"/>
                    <a:gd name="T36" fmla="*/ 27 w 40"/>
                    <a:gd name="T37" fmla="*/ 0 h 14"/>
                    <a:gd name="T38" fmla="*/ 27 w 40"/>
                    <a:gd name="T39" fmla="*/ 0 h 14"/>
                    <a:gd name="T40" fmla="*/ 27 w 40"/>
                    <a:gd name="T41" fmla="*/ 0 h 14"/>
                    <a:gd name="T42" fmla="*/ 27 w 40"/>
                    <a:gd name="T43" fmla="*/ 0 h 14"/>
                    <a:gd name="T44" fmla="*/ 29 w 40"/>
                    <a:gd name="T45" fmla="*/ 0 h 14"/>
                    <a:gd name="T46" fmla="*/ 29 w 40"/>
                    <a:gd name="T47" fmla="*/ 0 h 14"/>
                    <a:gd name="T48" fmla="*/ 33 w 40"/>
                    <a:gd name="T49" fmla="*/ 1 h 14"/>
                    <a:gd name="T50" fmla="*/ 33 w 40"/>
                    <a:gd name="T51" fmla="*/ 1 h 14"/>
                    <a:gd name="T52" fmla="*/ 33 w 40"/>
                    <a:gd name="T53" fmla="*/ 1 h 14"/>
                    <a:gd name="T54" fmla="*/ 33 w 40"/>
                    <a:gd name="T55" fmla="*/ 1 h 14"/>
                    <a:gd name="T56" fmla="*/ 33 w 40"/>
                    <a:gd name="T57" fmla="*/ 1 h 14"/>
                    <a:gd name="T58" fmla="*/ 33 w 40"/>
                    <a:gd name="T59" fmla="*/ 1 h 14"/>
                    <a:gd name="T60" fmla="*/ 39 w 40"/>
                    <a:gd name="T61" fmla="*/ 7 h 14"/>
                    <a:gd name="T62" fmla="*/ 40 w 40"/>
                    <a:gd name="T63" fmla="*/ 10 h 14"/>
                    <a:gd name="T64" fmla="*/ 39 w 40"/>
                    <a:gd name="T65" fmla="*/ 11 h 14"/>
                    <a:gd name="T66" fmla="*/ 39 w 40"/>
                    <a:gd name="T67" fmla="*/ 11 h 14"/>
                    <a:gd name="T68" fmla="*/ 39 w 40"/>
                    <a:gd name="T69" fmla="*/ 13 h 14"/>
                    <a:gd name="T70" fmla="*/ 39 w 40"/>
                    <a:gd name="T71" fmla="*/ 13 h 14"/>
                    <a:gd name="T72" fmla="*/ 39 w 40"/>
                    <a:gd name="T73" fmla="*/ 13 h 14"/>
                    <a:gd name="T74" fmla="*/ 39 w 40"/>
                    <a:gd name="T75" fmla="*/ 13 h 14"/>
                    <a:gd name="T76" fmla="*/ 36 w 40"/>
                    <a:gd name="T77" fmla="*/ 13 h 14"/>
                    <a:gd name="T78" fmla="*/ 33 w 40"/>
                    <a:gd name="T79" fmla="*/ 14 h 14"/>
                    <a:gd name="T80" fmla="*/ 33 w 40"/>
                    <a:gd name="T81" fmla="*/ 14 h 14"/>
                    <a:gd name="T82" fmla="*/ 33 w 40"/>
                    <a:gd name="T83" fmla="*/ 14 h 14"/>
                    <a:gd name="T84" fmla="*/ 33 w 40"/>
                    <a:gd name="T85" fmla="*/ 14 h 14"/>
                    <a:gd name="T86" fmla="*/ 26 w 40"/>
                    <a:gd name="T87" fmla="*/ 13 h 14"/>
                    <a:gd name="T88" fmla="*/ 26 w 40"/>
                    <a:gd name="T89" fmla="*/ 13 h 14"/>
                    <a:gd name="T90" fmla="*/ 19 w 40"/>
                    <a:gd name="T91" fmla="*/ 13 h 14"/>
                    <a:gd name="T92" fmla="*/ 19 w 40"/>
                    <a:gd name="T93" fmla="*/ 13 h 14"/>
                    <a:gd name="T94" fmla="*/ 1 w 40"/>
                    <a:gd name="T95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40" h="14">
                      <a:moveTo>
                        <a:pt x="1" y="14"/>
                      </a:moveTo>
                      <a:lnTo>
                        <a:pt x="1" y="14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3" y="7"/>
                      </a:lnTo>
                      <a:lnTo>
                        <a:pt x="3" y="7"/>
                      </a:lnTo>
                      <a:lnTo>
                        <a:pt x="3" y="7"/>
                      </a:lnTo>
                      <a:lnTo>
                        <a:pt x="3" y="7"/>
                      </a:lnTo>
                      <a:lnTo>
                        <a:pt x="10" y="7"/>
                      </a:lnTo>
                      <a:lnTo>
                        <a:pt x="17" y="4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7" y="0"/>
                      </a:lnTo>
                      <a:lnTo>
                        <a:pt x="27" y="0"/>
                      </a:lnTo>
                      <a:lnTo>
                        <a:pt x="27" y="0"/>
                      </a:lnTo>
                      <a:lnTo>
                        <a:pt x="27" y="0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33" y="1"/>
                      </a:lnTo>
                      <a:lnTo>
                        <a:pt x="33" y="1"/>
                      </a:lnTo>
                      <a:lnTo>
                        <a:pt x="33" y="1"/>
                      </a:lnTo>
                      <a:lnTo>
                        <a:pt x="33" y="1"/>
                      </a:lnTo>
                      <a:lnTo>
                        <a:pt x="33" y="1"/>
                      </a:lnTo>
                      <a:lnTo>
                        <a:pt x="33" y="1"/>
                      </a:lnTo>
                      <a:lnTo>
                        <a:pt x="39" y="7"/>
                      </a:lnTo>
                      <a:lnTo>
                        <a:pt x="40" y="10"/>
                      </a:lnTo>
                      <a:lnTo>
                        <a:pt x="39" y="11"/>
                      </a:lnTo>
                      <a:lnTo>
                        <a:pt x="39" y="11"/>
                      </a:lnTo>
                      <a:lnTo>
                        <a:pt x="39" y="13"/>
                      </a:lnTo>
                      <a:lnTo>
                        <a:pt x="39" y="13"/>
                      </a:lnTo>
                      <a:lnTo>
                        <a:pt x="39" y="13"/>
                      </a:lnTo>
                      <a:lnTo>
                        <a:pt x="39" y="13"/>
                      </a:lnTo>
                      <a:lnTo>
                        <a:pt x="36" y="13"/>
                      </a:lnTo>
                      <a:lnTo>
                        <a:pt x="33" y="14"/>
                      </a:lnTo>
                      <a:lnTo>
                        <a:pt x="33" y="14"/>
                      </a:lnTo>
                      <a:lnTo>
                        <a:pt x="33" y="14"/>
                      </a:lnTo>
                      <a:lnTo>
                        <a:pt x="33" y="14"/>
                      </a:lnTo>
                      <a:lnTo>
                        <a:pt x="26" y="13"/>
                      </a:lnTo>
                      <a:lnTo>
                        <a:pt x="26" y="13"/>
                      </a:lnTo>
                      <a:lnTo>
                        <a:pt x="19" y="13"/>
                      </a:lnTo>
                      <a:lnTo>
                        <a:pt x="19" y="13"/>
                      </a:lnTo>
                      <a:lnTo>
                        <a:pt x="1" y="1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59" name="Freeform 109"/>
                <p:cNvSpPr>
                  <a:spLocks/>
                </p:cNvSpPr>
                <p:nvPr/>
              </p:nvSpPr>
              <p:spPr bwMode="auto">
                <a:xfrm>
                  <a:off x="4151565" y="3107415"/>
                  <a:ext cx="39570" cy="13850"/>
                </a:xfrm>
                <a:custGeom>
                  <a:avLst/>
                  <a:gdLst>
                    <a:gd name="T0" fmla="*/ 1 w 40"/>
                    <a:gd name="T1" fmla="*/ 14 h 14"/>
                    <a:gd name="T2" fmla="*/ 1 w 40"/>
                    <a:gd name="T3" fmla="*/ 14 h 14"/>
                    <a:gd name="T4" fmla="*/ 1 w 40"/>
                    <a:gd name="T5" fmla="*/ 13 h 14"/>
                    <a:gd name="T6" fmla="*/ 1 w 40"/>
                    <a:gd name="T7" fmla="*/ 13 h 14"/>
                    <a:gd name="T8" fmla="*/ 0 w 40"/>
                    <a:gd name="T9" fmla="*/ 7 h 14"/>
                    <a:gd name="T10" fmla="*/ 0 w 40"/>
                    <a:gd name="T11" fmla="*/ 7 h 14"/>
                    <a:gd name="T12" fmla="*/ 3 w 40"/>
                    <a:gd name="T13" fmla="*/ 7 h 14"/>
                    <a:gd name="T14" fmla="*/ 3 w 40"/>
                    <a:gd name="T15" fmla="*/ 7 h 14"/>
                    <a:gd name="T16" fmla="*/ 3 w 40"/>
                    <a:gd name="T17" fmla="*/ 7 h 14"/>
                    <a:gd name="T18" fmla="*/ 3 w 40"/>
                    <a:gd name="T19" fmla="*/ 7 h 14"/>
                    <a:gd name="T20" fmla="*/ 10 w 40"/>
                    <a:gd name="T21" fmla="*/ 7 h 14"/>
                    <a:gd name="T22" fmla="*/ 17 w 40"/>
                    <a:gd name="T23" fmla="*/ 4 h 14"/>
                    <a:gd name="T24" fmla="*/ 26 w 40"/>
                    <a:gd name="T25" fmla="*/ 0 h 14"/>
                    <a:gd name="T26" fmla="*/ 26 w 40"/>
                    <a:gd name="T27" fmla="*/ 0 h 14"/>
                    <a:gd name="T28" fmla="*/ 26 w 40"/>
                    <a:gd name="T29" fmla="*/ 0 h 14"/>
                    <a:gd name="T30" fmla="*/ 26 w 40"/>
                    <a:gd name="T31" fmla="*/ 0 h 14"/>
                    <a:gd name="T32" fmla="*/ 26 w 40"/>
                    <a:gd name="T33" fmla="*/ 0 h 14"/>
                    <a:gd name="T34" fmla="*/ 27 w 40"/>
                    <a:gd name="T35" fmla="*/ 0 h 14"/>
                    <a:gd name="T36" fmla="*/ 27 w 40"/>
                    <a:gd name="T37" fmla="*/ 0 h 14"/>
                    <a:gd name="T38" fmla="*/ 27 w 40"/>
                    <a:gd name="T39" fmla="*/ 0 h 14"/>
                    <a:gd name="T40" fmla="*/ 27 w 40"/>
                    <a:gd name="T41" fmla="*/ 0 h 14"/>
                    <a:gd name="T42" fmla="*/ 27 w 40"/>
                    <a:gd name="T43" fmla="*/ 0 h 14"/>
                    <a:gd name="T44" fmla="*/ 29 w 40"/>
                    <a:gd name="T45" fmla="*/ 0 h 14"/>
                    <a:gd name="T46" fmla="*/ 29 w 40"/>
                    <a:gd name="T47" fmla="*/ 0 h 14"/>
                    <a:gd name="T48" fmla="*/ 33 w 40"/>
                    <a:gd name="T49" fmla="*/ 1 h 14"/>
                    <a:gd name="T50" fmla="*/ 33 w 40"/>
                    <a:gd name="T51" fmla="*/ 1 h 14"/>
                    <a:gd name="T52" fmla="*/ 33 w 40"/>
                    <a:gd name="T53" fmla="*/ 1 h 14"/>
                    <a:gd name="T54" fmla="*/ 33 w 40"/>
                    <a:gd name="T55" fmla="*/ 1 h 14"/>
                    <a:gd name="T56" fmla="*/ 33 w 40"/>
                    <a:gd name="T57" fmla="*/ 1 h 14"/>
                    <a:gd name="T58" fmla="*/ 33 w 40"/>
                    <a:gd name="T59" fmla="*/ 1 h 14"/>
                    <a:gd name="T60" fmla="*/ 39 w 40"/>
                    <a:gd name="T61" fmla="*/ 7 h 14"/>
                    <a:gd name="T62" fmla="*/ 40 w 40"/>
                    <a:gd name="T63" fmla="*/ 10 h 14"/>
                    <a:gd name="T64" fmla="*/ 39 w 40"/>
                    <a:gd name="T65" fmla="*/ 11 h 14"/>
                    <a:gd name="T66" fmla="*/ 39 w 40"/>
                    <a:gd name="T67" fmla="*/ 11 h 14"/>
                    <a:gd name="T68" fmla="*/ 39 w 40"/>
                    <a:gd name="T69" fmla="*/ 13 h 14"/>
                    <a:gd name="T70" fmla="*/ 39 w 40"/>
                    <a:gd name="T71" fmla="*/ 13 h 14"/>
                    <a:gd name="T72" fmla="*/ 39 w 40"/>
                    <a:gd name="T73" fmla="*/ 13 h 14"/>
                    <a:gd name="T74" fmla="*/ 39 w 40"/>
                    <a:gd name="T75" fmla="*/ 13 h 14"/>
                    <a:gd name="T76" fmla="*/ 36 w 40"/>
                    <a:gd name="T77" fmla="*/ 13 h 14"/>
                    <a:gd name="T78" fmla="*/ 33 w 40"/>
                    <a:gd name="T79" fmla="*/ 14 h 14"/>
                    <a:gd name="T80" fmla="*/ 33 w 40"/>
                    <a:gd name="T81" fmla="*/ 14 h 14"/>
                    <a:gd name="T82" fmla="*/ 33 w 40"/>
                    <a:gd name="T83" fmla="*/ 14 h 14"/>
                    <a:gd name="T84" fmla="*/ 33 w 40"/>
                    <a:gd name="T85" fmla="*/ 14 h 14"/>
                    <a:gd name="T86" fmla="*/ 26 w 40"/>
                    <a:gd name="T87" fmla="*/ 13 h 14"/>
                    <a:gd name="T88" fmla="*/ 26 w 40"/>
                    <a:gd name="T89" fmla="*/ 13 h 14"/>
                    <a:gd name="T90" fmla="*/ 19 w 40"/>
                    <a:gd name="T91" fmla="*/ 13 h 14"/>
                    <a:gd name="T92" fmla="*/ 19 w 40"/>
                    <a:gd name="T93" fmla="*/ 13 h 14"/>
                    <a:gd name="T94" fmla="*/ 1 w 40"/>
                    <a:gd name="T95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40" h="14">
                      <a:moveTo>
                        <a:pt x="1" y="14"/>
                      </a:moveTo>
                      <a:lnTo>
                        <a:pt x="1" y="14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3" y="7"/>
                      </a:lnTo>
                      <a:lnTo>
                        <a:pt x="3" y="7"/>
                      </a:lnTo>
                      <a:lnTo>
                        <a:pt x="3" y="7"/>
                      </a:lnTo>
                      <a:lnTo>
                        <a:pt x="3" y="7"/>
                      </a:lnTo>
                      <a:lnTo>
                        <a:pt x="10" y="7"/>
                      </a:lnTo>
                      <a:lnTo>
                        <a:pt x="17" y="4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7" y="0"/>
                      </a:lnTo>
                      <a:lnTo>
                        <a:pt x="27" y="0"/>
                      </a:lnTo>
                      <a:lnTo>
                        <a:pt x="27" y="0"/>
                      </a:lnTo>
                      <a:lnTo>
                        <a:pt x="27" y="0"/>
                      </a:lnTo>
                      <a:lnTo>
                        <a:pt x="27" y="0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33" y="1"/>
                      </a:lnTo>
                      <a:lnTo>
                        <a:pt x="33" y="1"/>
                      </a:lnTo>
                      <a:lnTo>
                        <a:pt x="33" y="1"/>
                      </a:lnTo>
                      <a:lnTo>
                        <a:pt x="33" y="1"/>
                      </a:lnTo>
                      <a:lnTo>
                        <a:pt x="33" y="1"/>
                      </a:lnTo>
                      <a:lnTo>
                        <a:pt x="33" y="1"/>
                      </a:lnTo>
                      <a:lnTo>
                        <a:pt x="39" y="7"/>
                      </a:lnTo>
                      <a:lnTo>
                        <a:pt x="40" y="10"/>
                      </a:lnTo>
                      <a:lnTo>
                        <a:pt x="39" y="11"/>
                      </a:lnTo>
                      <a:lnTo>
                        <a:pt x="39" y="11"/>
                      </a:lnTo>
                      <a:lnTo>
                        <a:pt x="39" y="13"/>
                      </a:lnTo>
                      <a:lnTo>
                        <a:pt x="39" y="13"/>
                      </a:lnTo>
                      <a:lnTo>
                        <a:pt x="39" y="13"/>
                      </a:lnTo>
                      <a:lnTo>
                        <a:pt x="39" y="13"/>
                      </a:lnTo>
                      <a:lnTo>
                        <a:pt x="36" y="13"/>
                      </a:lnTo>
                      <a:lnTo>
                        <a:pt x="33" y="14"/>
                      </a:lnTo>
                      <a:lnTo>
                        <a:pt x="33" y="14"/>
                      </a:lnTo>
                      <a:lnTo>
                        <a:pt x="33" y="14"/>
                      </a:lnTo>
                      <a:lnTo>
                        <a:pt x="33" y="14"/>
                      </a:lnTo>
                      <a:lnTo>
                        <a:pt x="26" y="13"/>
                      </a:lnTo>
                      <a:lnTo>
                        <a:pt x="26" y="13"/>
                      </a:lnTo>
                      <a:lnTo>
                        <a:pt x="19" y="13"/>
                      </a:lnTo>
                      <a:lnTo>
                        <a:pt x="19" y="13"/>
                      </a:lnTo>
                      <a:lnTo>
                        <a:pt x="1" y="1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60" name="Freeform 110"/>
                <p:cNvSpPr>
                  <a:spLocks/>
                </p:cNvSpPr>
                <p:nvPr/>
              </p:nvSpPr>
              <p:spPr bwMode="auto">
                <a:xfrm>
                  <a:off x="4142662" y="2875928"/>
                  <a:ext cx="213680" cy="212691"/>
                </a:xfrm>
                <a:custGeom>
                  <a:avLst/>
                  <a:gdLst>
                    <a:gd name="T0" fmla="*/ 71 w 216"/>
                    <a:gd name="T1" fmla="*/ 215 h 215"/>
                    <a:gd name="T2" fmla="*/ 65 w 216"/>
                    <a:gd name="T3" fmla="*/ 209 h 215"/>
                    <a:gd name="T4" fmla="*/ 63 w 216"/>
                    <a:gd name="T5" fmla="*/ 200 h 215"/>
                    <a:gd name="T6" fmla="*/ 52 w 216"/>
                    <a:gd name="T7" fmla="*/ 197 h 215"/>
                    <a:gd name="T8" fmla="*/ 47 w 216"/>
                    <a:gd name="T9" fmla="*/ 195 h 215"/>
                    <a:gd name="T10" fmla="*/ 44 w 216"/>
                    <a:gd name="T11" fmla="*/ 193 h 215"/>
                    <a:gd name="T12" fmla="*/ 44 w 216"/>
                    <a:gd name="T13" fmla="*/ 193 h 215"/>
                    <a:gd name="T14" fmla="*/ 36 w 216"/>
                    <a:gd name="T15" fmla="*/ 192 h 215"/>
                    <a:gd name="T16" fmla="*/ 13 w 216"/>
                    <a:gd name="T17" fmla="*/ 195 h 215"/>
                    <a:gd name="T18" fmla="*/ 15 w 216"/>
                    <a:gd name="T19" fmla="*/ 187 h 215"/>
                    <a:gd name="T20" fmla="*/ 15 w 216"/>
                    <a:gd name="T21" fmla="*/ 182 h 215"/>
                    <a:gd name="T22" fmla="*/ 19 w 216"/>
                    <a:gd name="T23" fmla="*/ 171 h 215"/>
                    <a:gd name="T24" fmla="*/ 19 w 216"/>
                    <a:gd name="T25" fmla="*/ 161 h 215"/>
                    <a:gd name="T26" fmla="*/ 15 w 216"/>
                    <a:gd name="T27" fmla="*/ 151 h 215"/>
                    <a:gd name="T28" fmla="*/ 12 w 216"/>
                    <a:gd name="T29" fmla="*/ 145 h 215"/>
                    <a:gd name="T30" fmla="*/ 13 w 216"/>
                    <a:gd name="T31" fmla="*/ 138 h 215"/>
                    <a:gd name="T32" fmla="*/ 15 w 216"/>
                    <a:gd name="T33" fmla="*/ 134 h 215"/>
                    <a:gd name="T34" fmla="*/ 6 w 216"/>
                    <a:gd name="T35" fmla="*/ 122 h 215"/>
                    <a:gd name="T36" fmla="*/ 3 w 216"/>
                    <a:gd name="T37" fmla="*/ 118 h 215"/>
                    <a:gd name="T38" fmla="*/ 0 w 216"/>
                    <a:gd name="T39" fmla="*/ 112 h 215"/>
                    <a:gd name="T40" fmla="*/ 78 w 216"/>
                    <a:gd name="T41" fmla="*/ 74 h 215"/>
                    <a:gd name="T42" fmla="*/ 139 w 216"/>
                    <a:gd name="T43" fmla="*/ 0 h 215"/>
                    <a:gd name="T44" fmla="*/ 216 w 216"/>
                    <a:gd name="T45" fmla="*/ 51 h 215"/>
                    <a:gd name="T46" fmla="*/ 187 w 216"/>
                    <a:gd name="T47" fmla="*/ 183 h 215"/>
                    <a:gd name="T48" fmla="*/ 136 w 216"/>
                    <a:gd name="T49" fmla="*/ 203 h 215"/>
                    <a:gd name="T50" fmla="*/ 132 w 216"/>
                    <a:gd name="T51" fmla="*/ 205 h 215"/>
                    <a:gd name="T52" fmla="*/ 128 w 216"/>
                    <a:gd name="T53" fmla="*/ 205 h 215"/>
                    <a:gd name="T54" fmla="*/ 126 w 216"/>
                    <a:gd name="T55" fmla="*/ 205 h 215"/>
                    <a:gd name="T56" fmla="*/ 126 w 216"/>
                    <a:gd name="T57" fmla="*/ 205 h 215"/>
                    <a:gd name="T58" fmla="*/ 125 w 216"/>
                    <a:gd name="T59" fmla="*/ 205 h 215"/>
                    <a:gd name="T60" fmla="*/ 125 w 216"/>
                    <a:gd name="T61" fmla="*/ 205 h 215"/>
                    <a:gd name="T62" fmla="*/ 125 w 216"/>
                    <a:gd name="T63" fmla="*/ 205 h 215"/>
                    <a:gd name="T64" fmla="*/ 120 w 216"/>
                    <a:gd name="T65" fmla="*/ 203 h 215"/>
                    <a:gd name="T66" fmla="*/ 115 w 216"/>
                    <a:gd name="T67" fmla="*/ 200 h 215"/>
                    <a:gd name="T68" fmla="*/ 113 w 216"/>
                    <a:gd name="T69" fmla="*/ 200 h 215"/>
                    <a:gd name="T70" fmla="*/ 113 w 216"/>
                    <a:gd name="T71" fmla="*/ 200 h 215"/>
                    <a:gd name="T72" fmla="*/ 99 w 216"/>
                    <a:gd name="T73" fmla="*/ 202 h 215"/>
                    <a:gd name="T74" fmla="*/ 99 w 216"/>
                    <a:gd name="T75" fmla="*/ 202 h 215"/>
                    <a:gd name="T76" fmla="*/ 99 w 216"/>
                    <a:gd name="T77" fmla="*/ 203 h 215"/>
                    <a:gd name="T78" fmla="*/ 99 w 216"/>
                    <a:gd name="T79" fmla="*/ 203 h 215"/>
                    <a:gd name="T80" fmla="*/ 94 w 216"/>
                    <a:gd name="T81" fmla="*/ 210 h 215"/>
                    <a:gd name="T82" fmla="*/ 94 w 216"/>
                    <a:gd name="T83" fmla="*/ 210 h 215"/>
                    <a:gd name="T84" fmla="*/ 93 w 216"/>
                    <a:gd name="T85" fmla="*/ 210 h 215"/>
                    <a:gd name="T86" fmla="*/ 93 w 216"/>
                    <a:gd name="T87" fmla="*/ 209 h 215"/>
                    <a:gd name="T88" fmla="*/ 93 w 216"/>
                    <a:gd name="T89" fmla="*/ 209 h 215"/>
                    <a:gd name="T90" fmla="*/ 93 w 216"/>
                    <a:gd name="T91" fmla="*/ 209 h 215"/>
                    <a:gd name="T92" fmla="*/ 93 w 216"/>
                    <a:gd name="T93" fmla="*/ 209 h 215"/>
                    <a:gd name="T94" fmla="*/ 93 w 216"/>
                    <a:gd name="T95" fmla="*/ 209 h 215"/>
                    <a:gd name="T96" fmla="*/ 90 w 216"/>
                    <a:gd name="T97" fmla="*/ 206 h 215"/>
                    <a:gd name="T98" fmla="*/ 90 w 216"/>
                    <a:gd name="T99" fmla="*/ 206 h 215"/>
                    <a:gd name="T100" fmla="*/ 84 w 216"/>
                    <a:gd name="T101" fmla="*/ 200 h 215"/>
                    <a:gd name="T102" fmla="*/ 84 w 216"/>
                    <a:gd name="T103" fmla="*/ 200 h 215"/>
                    <a:gd name="T104" fmla="*/ 83 w 216"/>
                    <a:gd name="T105" fmla="*/ 202 h 215"/>
                    <a:gd name="T106" fmla="*/ 83 w 216"/>
                    <a:gd name="T107" fmla="*/ 202 h 215"/>
                    <a:gd name="T108" fmla="*/ 81 w 216"/>
                    <a:gd name="T109" fmla="*/ 203 h 215"/>
                    <a:gd name="T110" fmla="*/ 74 w 216"/>
                    <a:gd name="T111" fmla="*/ 215 h 215"/>
                    <a:gd name="T112" fmla="*/ 74 w 216"/>
                    <a:gd name="T113" fmla="*/ 215 h 215"/>
                    <a:gd name="T114" fmla="*/ 73 w 216"/>
                    <a:gd name="T115" fmla="*/ 215 h 2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16" h="215">
                      <a:moveTo>
                        <a:pt x="73" y="215"/>
                      </a:moveTo>
                      <a:lnTo>
                        <a:pt x="73" y="215"/>
                      </a:lnTo>
                      <a:lnTo>
                        <a:pt x="71" y="215"/>
                      </a:lnTo>
                      <a:lnTo>
                        <a:pt x="68" y="213"/>
                      </a:lnTo>
                      <a:lnTo>
                        <a:pt x="68" y="213"/>
                      </a:lnTo>
                      <a:lnTo>
                        <a:pt x="65" y="209"/>
                      </a:lnTo>
                      <a:lnTo>
                        <a:pt x="64" y="206"/>
                      </a:lnTo>
                      <a:lnTo>
                        <a:pt x="63" y="200"/>
                      </a:lnTo>
                      <a:lnTo>
                        <a:pt x="63" y="200"/>
                      </a:lnTo>
                      <a:lnTo>
                        <a:pt x="63" y="197"/>
                      </a:lnTo>
                      <a:lnTo>
                        <a:pt x="52" y="197"/>
                      </a:lnTo>
                      <a:lnTo>
                        <a:pt x="52" y="197"/>
                      </a:lnTo>
                      <a:lnTo>
                        <a:pt x="49" y="197"/>
                      </a:lnTo>
                      <a:lnTo>
                        <a:pt x="48" y="196"/>
                      </a:lnTo>
                      <a:lnTo>
                        <a:pt x="47" y="195"/>
                      </a:lnTo>
                      <a:lnTo>
                        <a:pt x="44" y="193"/>
                      </a:lnTo>
                      <a:lnTo>
                        <a:pt x="44" y="193"/>
                      </a:lnTo>
                      <a:lnTo>
                        <a:pt x="44" y="193"/>
                      </a:lnTo>
                      <a:lnTo>
                        <a:pt x="44" y="193"/>
                      </a:lnTo>
                      <a:lnTo>
                        <a:pt x="44" y="193"/>
                      </a:lnTo>
                      <a:lnTo>
                        <a:pt x="44" y="193"/>
                      </a:lnTo>
                      <a:lnTo>
                        <a:pt x="36" y="192"/>
                      </a:lnTo>
                      <a:lnTo>
                        <a:pt x="36" y="192"/>
                      </a:lnTo>
                      <a:lnTo>
                        <a:pt x="36" y="192"/>
                      </a:lnTo>
                      <a:lnTo>
                        <a:pt x="35" y="192"/>
                      </a:lnTo>
                      <a:lnTo>
                        <a:pt x="35" y="192"/>
                      </a:lnTo>
                      <a:lnTo>
                        <a:pt x="13" y="195"/>
                      </a:lnTo>
                      <a:lnTo>
                        <a:pt x="13" y="195"/>
                      </a:lnTo>
                      <a:lnTo>
                        <a:pt x="15" y="189"/>
                      </a:lnTo>
                      <a:lnTo>
                        <a:pt x="15" y="187"/>
                      </a:lnTo>
                      <a:lnTo>
                        <a:pt x="15" y="187"/>
                      </a:lnTo>
                      <a:lnTo>
                        <a:pt x="15" y="187"/>
                      </a:lnTo>
                      <a:lnTo>
                        <a:pt x="15" y="182"/>
                      </a:lnTo>
                      <a:lnTo>
                        <a:pt x="18" y="177"/>
                      </a:lnTo>
                      <a:lnTo>
                        <a:pt x="18" y="177"/>
                      </a:lnTo>
                      <a:lnTo>
                        <a:pt x="19" y="171"/>
                      </a:lnTo>
                      <a:lnTo>
                        <a:pt x="21" y="166"/>
                      </a:lnTo>
                      <a:lnTo>
                        <a:pt x="21" y="166"/>
                      </a:lnTo>
                      <a:lnTo>
                        <a:pt x="19" y="161"/>
                      </a:lnTo>
                      <a:lnTo>
                        <a:pt x="19" y="161"/>
                      </a:lnTo>
                      <a:lnTo>
                        <a:pt x="16" y="155"/>
                      </a:lnTo>
                      <a:lnTo>
                        <a:pt x="15" y="151"/>
                      </a:lnTo>
                      <a:lnTo>
                        <a:pt x="15" y="151"/>
                      </a:lnTo>
                      <a:lnTo>
                        <a:pt x="12" y="148"/>
                      </a:lnTo>
                      <a:lnTo>
                        <a:pt x="12" y="145"/>
                      </a:lnTo>
                      <a:lnTo>
                        <a:pt x="12" y="144"/>
                      </a:lnTo>
                      <a:lnTo>
                        <a:pt x="12" y="144"/>
                      </a:lnTo>
                      <a:lnTo>
                        <a:pt x="13" y="138"/>
                      </a:lnTo>
                      <a:lnTo>
                        <a:pt x="13" y="138"/>
                      </a:lnTo>
                      <a:lnTo>
                        <a:pt x="15" y="134"/>
                      </a:lnTo>
                      <a:lnTo>
                        <a:pt x="15" y="134"/>
                      </a:lnTo>
                      <a:lnTo>
                        <a:pt x="13" y="129"/>
                      </a:lnTo>
                      <a:lnTo>
                        <a:pt x="13" y="129"/>
                      </a:lnTo>
                      <a:lnTo>
                        <a:pt x="6" y="122"/>
                      </a:lnTo>
                      <a:lnTo>
                        <a:pt x="6" y="122"/>
                      </a:lnTo>
                      <a:lnTo>
                        <a:pt x="3" y="118"/>
                      </a:lnTo>
                      <a:lnTo>
                        <a:pt x="3" y="118"/>
                      </a:lnTo>
                      <a:lnTo>
                        <a:pt x="0" y="116"/>
                      </a:lnTo>
                      <a:lnTo>
                        <a:pt x="0" y="116"/>
                      </a:lnTo>
                      <a:lnTo>
                        <a:pt x="0" y="112"/>
                      </a:lnTo>
                      <a:lnTo>
                        <a:pt x="65" y="112"/>
                      </a:lnTo>
                      <a:lnTo>
                        <a:pt x="67" y="90"/>
                      </a:lnTo>
                      <a:lnTo>
                        <a:pt x="78" y="74"/>
                      </a:lnTo>
                      <a:lnTo>
                        <a:pt x="78" y="31"/>
                      </a:lnTo>
                      <a:lnTo>
                        <a:pt x="139" y="31"/>
                      </a:lnTo>
                      <a:lnTo>
                        <a:pt x="139" y="0"/>
                      </a:lnTo>
                      <a:lnTo>
                        <a:pt x="139" y="0"/>
                      </a:lnTo>
                      <a:lnTo>
                        <a:pt x="164" y="16"/>
                      </a:lnTo>
                      <a:lnTo>
                        <a:pt x="216" y="51"/>
                      </a:lnTo>
                      <a:lnTo>
                        <a:pt x="174" y="51"/>
                      </a:lnTo>
                      <a:lnTo>
                        <a:pt x="181" y="179"/>
                      </a:lnTo>
                      <a:lnTo>
                        <a:pt x="187" y="183"/>
                      </a:lnTo>
                      <a:lnTo>
                        <a:pt x="177" y="203"/>
                      </a:lnTo>
                      <a:lnTo>
                        <a:pt x="177" y="203"/>
                      </a:lnTo>
                      <a:lnTo>
                        <a:pt x="136" y="203"/>
                      </a:lnTo>
                      <a:lnTo>
                        <a:pt x="136" y="203"/>
                      </a:lnTo>
                      <a:lnTo>
                        <a:pt x="132" y="205"/>
                      </a:lnTo>
                      <a:lnTo>
                        <a:pt x="132" y="205"/>
                      </a:lnTo>
                      <a:lnTo>
                        <a:pt x="128" y="205"/>
                      </a:lnTo>
                      <a:lnTo>
                        <a:pt x="128" y="205"/>
                      </a:lnTo>
                      <a:lnTo>
                        <a:pt x="128" y="205"/>
                      </a:lnTo>
                      <a:lnTo>
                        <a:pt x="128" y="205"/>
                      </a:lnTo>
                      <a:lnTo>
                        <a:pt x="126" y="205"/>
                      </a:lnTo>
                      <a:lnTo>
                        <a:pt x="126" y="205"/>
                      </a:lnTo>
                      <a:lnTo>
                        <a:pt x="126" y="205"/>
                      </a:lnTo>
                      <a:lnTo>
                        <a:pt x="126" y="205"/>
                      </a:lnTo>
                      <a:lnTo>
                        <a:pt x="126" y="205"/>
                      </a:lnTo>
                      <a:lnTo>
                        <a:pt x="126" y="205"/>
                      </a:lnTo>
                      <a:lnTo>
                        <a:pt x="125" y="205"/>
                      </a:lnTo>
                      <a:lnTo>
                        <a:pt x="125" y="205"/>
                      </a:lnTo>
                      <a:lnTo>
                        <a:pt x="125" y="205"/>
                      </a:lnTo>
                      <a:lnTo>
                        <a:pt x="125" y="205"/>
                      </a:lnTo>
                      <a:lnTo>
                        <a:pt x="125" y="205"/>
                      </a:lnTo>
                      <a:lnTo>
                        <a:pt x="125" y="205"/>
                      </a:lnTo>
                      <a:lnTo>
                        <a:pt x="125" y="205"/>
                      </a:lnTo>
                      <a:lnTo>
                        <a:pt x="125" y="205"/>
                      </a:lnTo>
                      <a:lnTo>
                        <a:pt x="123" y="205"/>
                      </a:lnTo>
                      <a:lnTo>
                        <a:pt x="123" y="205"/>
                      </a:lnTo>
                      <a:lnTo>
                        <a:pt x="120" y="203"/>
                      </a:lnTo>
                      <a:lnTo>
                        <a:pt x="120" y="203"/>
                      </a:lnTo>
                      <a:lnTo>
                        <a:pt x="118" y="202"/>
                      </a:lnTo>
                      <a:lnTo>
                        <a:pt x="115" y="200"/>
                      </a:lnTo>
                      <a:lnTo>
                        <a:pt x="115" y="200"/>
                      </a:lnTo>
                      <a:lnTo>
                        <a:pt x="115" y="200"/>
                      </a:lnTo>
                      <a:lnTo>
                        <a:pt x="113" y="200"/>
                      </a:lnTo>
                      <a:lnTo>
                        <a:pt x="113" y="200"/>
                      </a:lnTo>
                      <a:lnTo>
                        <a:pt x="113" y="200"/>
                      </a:lnTo>
                      <a:lnTo>
                        <a:pt x="113" y="200"/>
                      </a:lnTo>
                      <a:lnTo>
                        <a:pt x="106" y="200"/>
                      </a:lnTo>
                      <a:lnTo>
                        <a:pt x="102" y="202"/>
                      </a:lnTo>
                      <a:lnTo>
                        <a:pt x="99" y="202"/>
                      </a:lnTo>
                      <a:lnTo>
                        <a:pt x="99" y="202"/>
                      </a:lnTo>
                      <a:lnTo>
                        <a:pt x="99" y="202"/>
                      </a:lnTo>
                      <a:lnTo>
                        <a:pt x="99" y="202"/>
                      </a:lnTo>
                      <a:lnTo>
                        <a:pt x="99" y="202"/>
                      </a:lnTo>
                      <a:lnTo>
                        <a:pt x="99" y="202"/>
                      </a:lnTo>
                      <a:lnTo>
                        <a:pt x="99" y="203"/>
                      </a:lnTo>
                      <a:lnTo>
                        <a:pt x="99" y="203"/>
                      </a:lnTo>
                      <a:lnTo>
                        <a:pt x="99" y="203"/>
                      </a:lnTo>
                      <a:lnTo>
                        <a:pt x="99" y="203"/>
                      </a:lnTo>
                      <a:lnTo>
                        <a:pt x="97" y="208"/>
                      </a:lnTo>
                      <a:lnTo>
                        <a:pt x="96" y="209"/>
                      </a:lnTo>
                      <a:lnTo>
                        <a:pt x="94" y="210"/>
                      </a:lnTo>
                      <a:lnTo>
                        <a:pt x="94" y="210"/>
                      </a:lnTo>
                      <a:lnTo>
                        <a:pt x="94" y="210"/>
                      </a:lnTo>
                      <a:lnTo>
                        <a:pt x="94" y="210"/>
                      </a:lnTo>
                      <a:lnTo>
                        <a:pt x="93" y="210"/>
                      </a:lnTo>
                      <a:lnTo>
                        <a:pt x="93" y="210"/>
                      </a:lnTo>
                      <a:lnTo>
                        <a:pt x="93" y="210"/>
                      </a:lnTo>
                      <a:lnTo>
                        <a:pt x="93" y="210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0" y="206"/>
                      </a:lnTo>
                      <a:lnTo>
                        <a:pt x="90" y="206"/>
                      </a:lnTo>
                      <a:lnTo>
                        <a:pt x="90" y="206"/>
                      </a:lnTo>
                      <a:lnTo>
                        <a:pt x="90" y="206"/>
                      </a:lnTo>
                      <a:lnTo>
                        <a:pt x="90" y="206"/>
                      </a:lnTo>
                      <a:lnTo>
                        <a:pt x="90" y="206"/>
                      </a:lnTo>
                      <a:lnTo>
                        <a:pt x="87" y="202"/>
                      </a:lnTo>
                      <a:lnTo>
                        <a:pt x="84" y="200"/>
                      </a:lnTo>
                      <a:lnTo>
                        <a:pt x="84" y="200"/>
                      </a:lnTo>
                      <a:lnTo>
                        <a:pt x="84" y="200"/>
                      </a:lnTo>
                      <a:lnTo>
                        <a:pt x="84" y="200"/>
                      </a:lnTo>
                      <a:lnTo>
                        <a:pt x="84" y="200"/>
                      </a:lnTo>
                      <a:lnTo>
                        <a:pt x="84" y="200"/>
                      </a:lnTo>
                      <a:lnTo>
                        <a:pt x="83" y="202"/>
                      </a:lnTo>
                      <a:lnTo>
                        <a:pt x="83" y="202"/>
                      </a:lnTo>
                      <a:lnTo>
                        <a:pt x="83" y="202"/>
                      </a:lnTo>
                      <a:lnTo>
                        <a:pt x="83" y="202"/>
                      </a:lnTo>
                      <a:lnTo>
                        <a:pt x="83" y="202"/>
                      </a:lnTo>
                      <a:lnTo>
                        <a:pt x="81" y="203"/>
                      </a:lnTo>
                      <a:lnTo>
                        <a:pt x="81" y="203"/>
                      </a:lnTo>
                      <a:lnTo>
                        <a:pt x="78" y="209"/>
                      </a:lnTo>
                      <a:lnTo>
                        <a:pt x="77" y="213"/>
                      </a:lnTo>
                      <a:lnTo>
                        <a:pt x="74" y="215"/>
                      </a:lnTo>
                      <a:lnTo>
                        <a:pt x="74" y="215"/>
                      </a:lnTo>
                      <a:lnTo>
                        <a:pt x="74" y="215"/>
                      </a:lnTo>
                      <a:lnTo>
                        <a:pt x="74" y="215"/>
                      </a:lnTo>
                      <a:lnTo>
                        <a:pt x="74" y="215"/>
                      </a:lnTo>
                      <a:lnTo>
                        <a:pt x="74" y="215"/>
                      </a:lnTo>
                      <a:lnTo>
                        <a:pt x="73" y="21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61" name="Freeform 111"/>
                <p:cNvSpPr>
                  <a:spLocks/>
                </p:cNvSpPr>
                <p:nvPr/>
              </p:nvSpPr>
              <p:spPr bwMode="auto">
                <a:xfrm>
                  <a:off x="4142662" y="2875928"/>
                  <a:ext cx="213680" cy="212691"/>
                </a:xfrm>
                <a:custGeom>
                  <a:avLst/>
                  <a:gdLst>
                    <a:gd name="T0" fmla="*/ 71 w 216"/>
                    <a:gd name="T1" fmla="*/ 215 h 215"/>
                    <a:gd name="T2" fmla="*/ 65 w 216"/>
                    <a:gd name="T3" fmla="*/ 209 h 215"/>
                    <a:gd name="T4" fmla="*/ 63 w 216"/>
                    <a:gd name="T5" fmla="*/ 200 h 215"/>
                    <a:gd name="T6" fmla="*/ 52 w 216"/>
                    <a:gd name="T7" fmla="*/ 197 h 215"/>
                    <a:gd name="T8" fmla="*/ 47 w 216"/>
                    <a:gd name="T9" fmla="*/ 195 h 215"/>
                    <a:gd name="T10" fmla="*/ 44 w 216"/>
                    <a:gd name="T11" fmla="*/ 193 h 215"/>
                    <a:gd name="T12" fmla="*/ 44 w 216"/>
                    <a:gd name="T13" fmla="*/ 193 h 215"/>
                    <a:gd name="T14" fmla="*/ 36 w 216"/>
                    <a:gd name="T15" fmla="*/ 192 h 215"/>
                    <a:gd name="T16" fmla="*/ 13 w 216"/>
                    <a:gd name="T17" fmla="*/ 195 h 215"/>
                    <a:gd name="T18" fmla="*/ 15 w 216"/>
                    <a:gd name="T19" fmla="*/ 187 h 215"/>
                    <a:gd name="T20" fmla="*/ 15 w 216"/>
                    <a:gd name="T21" fmla="*/ 182 h 215"/>
                    <a:gd name="T22" fmla="*/ 19 w 216"/>
                    <a:gd name="T23" fmla="*/ 171 h 215"/>
                    <a:gd name="T24" fmla="*/ 19 w 216"/>
                    <a:gd name="T25" fmla="*/ 161 h 215"/>
                    <a:gd name="T26" fmla="*/ 15 w 216"/>
                    <a:gd name="T27" fmla="*/ 151 h 215"/>
                    <a:gd name="T28" fmla="*/ 12 w 216"/>
                    <a:gd name="T29" fmla="*/ 145 h 215"/>
                    <a:gd name="T30" fmla="*/ 13 w 216"/>
                    <a:gd name="T31" fmla="*/ 138 h 215"/>
                    <a:gd name="T32" fmla="*/ 15 w 216"/>
                    <a:gd name="T33" fmla="*/ 134 h 215"/>
                    <a:gd name="T34" fmla="*/ 6 w 216"/>
                    <a:gd name="T35" fmla="*/ 122 h 215"/>
                    <a:gd name="T36" fmla="*/ 3 w 216"/>
                    <a:gd name="T37" fmla="*/ 118 h 215"/>
                    <a:gd name="T38" fmla="*/ 0 w 216"/>
                    <a:gd name="T39" fmla="*/ 112 h 215"/>
                    <a:gd name="T40" fmla="*/ 78 w 216"/>
                    <a:gd name="T41" fmla="*/ 74 h 215"/>
                    <a:gd name="T42" fmla="*/ 139 w 216"/>
                    <a:gd name="T43" fmla="*/ 0 h 215"/>
                    <a:gd name="T44" fmla="*/ 216 w 216"/>
                    <a:gd name="T45" fmla="*/ 51 h 215"/>
                    <a:gd name="T46" fmla="*/ 187 w 216"/>
                    <a:gd name="T47" fmla="*/ 183 h 215"/>
                    <a:gd name="T48" fmla="*/ 136 w 216"/>
                    <a:gd name="T49" fmla="*/ 203 h 215"/>
                    <a:gd name="T50" fmla="*/ 132 w 216"/>
                    <a:gd name="T51" fmla="*/ 205 h 215"/>
                    <a:gd name="T52" fmla="*/ 128 w 216"/>
                    <a:gd name="T53" fmla="*/ 205 h 215"/>
                    <a:gd name="T54" fmla="*/ 126 w 216"/>
                    <a:gd name="T55" fmla="*/ 205 h 215"/>
                    <a:gd name="T56" fmla="*/ 126 w 216"/>
                    <a:gd name="T57" fmla="*/ 205 h 215"/>
                    <a:gd name="T58" fmla="*/ 125 w 216"/>
                    <a:gd name="T59" fmla="*/ 205 h 215"/>
                    <a:gd name="T60" fmla="*/ 125 w 216"/>
                    <a:gd name="T61" fmla="*/ 205 h 215"/>
                    <a:gd name="T62" fmla="*/ 125 w 216"/>
                    <a:gd name="T63" fmla="*/ 205 h 215"/>
                    <a:gd name="T64" fmla="*/ 120 w 216"/>
                    <a:gd name="T65" fmla="*/ 203 h 215"/>
                    <a:gd name="T66" fmla="*/ 115 w 216"/>
                    <a:gd name="T67" fmla="*/ 200 h 215"/>
                    <a:gd name="T68" fmla="*/ 113 w 216"/>
                    <a:gd name="T69" fmla="*/ 200 h 215"/>
                    <a:gd name="T70" fmla="*/ 113 w 216"/>
                    <a:gd name="T71" fmla="*/ 200 h 215"/>
                    <a:gd name="T72" fmla="*/ 99 w 216"/>
                    <a:gd name="T73" fmla="*/ 202 h 215"/>
                    <a:gd name="T74" fmla="*/ 99 w 216"/>
                    <a:gd name="T75" fmla="*/ 202 h 215"/>
                    <a:gd name="T76" fmla="*/ 99 w 216"/>
                    <a:gd name="T77" fmla="*/ 203 h 215"/>
                    <a:gd name="T78" fmla="*/ 99 w 216"/>
                    <a:gd name="T79" fmla="*/ 203 h 215"/>
                    <a:gd name="T80" fmla="*/ 94 w 216"/>
                    <a:gd name="T81" fmla="*/ 210 h 215"/>
                    <a:gd name="T82" fmla="*/ 94 w 216"/>
                    <a:gd name="T83" fmla="*/ 210 h 215"/>
                    <a:gd name="T84" fmla="*/ 93 w 216"/>
                    <a:gd name="T85" fmla="*/ 210 h 215"/>
                    <a:gd name="T86" fmla="*/ 93 w 216"/>
                    <a:gd name="T87" fmla="*/ 209 h 215"/>
                    <a:gd name="T88" fmla="*/ 93 w 216"/>
                    <a:gd name="T89" fmla="*/ 209 h 215"/>
                    <a:gd name="T90" fmla="*/ 93 w 216"/>
                    <a:gd name="T91" fmla="*/ 209 h 215"/>
                    <a:gd name="T92" fmla="*/ 93 w 216"/>
                    <a:gd name="T93" fmla="*/ 209 h 215"/>
                    <a:gd name="T94" fmla="*/ 93 w 216"/>
                    <a:gd name="T95" fmla="*/ 209 h 215"/>
                    <a:gd name="T96" fmla="*/ 90 w 216"/>
                    <a:gd name="T97" fmla="*/ 206 h 215"/>
                    <a:gd name="T98" fmla="*/ 90 w 216"/>
                    <a:gd name="T99" fmla="*/ 206 h 215"/>
                    <a:gd name="T100" fmla="*/ 84 w 216"/>
                    <a:gd name="T101" fmla="*/ 200 h 215"/>
                    <a:gd name="T102" fmla="*/ 84 w 216"/>
                    <a:gd name="T103" fmla="*/ 200 h 215"/>
                    <a:gd name="T104" fmla="*/ 83 w 216"/>
                    <a:gd name="T105" fmla="*/ 202 h 215"/>
                    <a:gd name="T106" fmla="*/ 83 w 216"/>
                    <a:gd name="T107" fmla="*/ 202 h 215"/>
                    <a:gd name="T108" fmla="*/ 81 w 216"/>
                    <a:gd name="T109" fmla="*/ 203 h 215"/>
                    <a:gd name="T110" fmla="*/ 74 w 216"/>
                    <a:gd name="T111" fmla="*/ 215 h 215"/>
                    <a:gd name="T112" fmla="*/ 74 w 216"/>
                    <a:gd name="T113" fmla="*/ 215 h 215"/>
                    <a:gd name="T114" fmla="*/ 73 w 216"/>
                    <a:gd name="T115" fmla="*/ 215 h 2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16" h="215">
                      <a:moveTo>
                        <a:pt x="73" y="215"/>
                      </a:moveTo>
                      <a:lnTo>
                        <a:pt x="73" y="215"/>
                      </a:lnTo>
                      <a:lnTo>
                        <a:pt x="71" y="215"/>
                      </a:lnTo>
                      <a:lnTo>
                        <a:pt x="68" y="213"/>
                      </a:lnTo>
                      <a:lnTo>
                        <a:pt x="68" y="213"/>
                      </a:lnTo>
                      <a:lnTo>
                        <a:pt x="65" y="209"/>
                      </a:lnTo>
                      <a:lnTo>
                        <a:pt x="64" y="206"/>
                      </a:lnTo>
                      <a:lnTo>
                        <a:pt x="63" y="200"/>
                      </a:lnTo>
                      <a:lnTo>
                        <a:pt x="63" y="200"/>
                      </a:lnTo>
                      <a:lnTo>
                        <a:pt x="63" y="197"/>
                      </a:lnTo>
                      <a:lnTo>
                        <a:pt x="52" y="197"/>
                      </a:lnTo>
                      <a:lnTo>
                        <a:pt x="52" y="197"/>
                      </a:lnTo>
                      <a:lnTo>
                        <a:pt x="49" y="197"/>
                      </a:lnTo>
                      <a:lnTo>
                        <a:pt x="48" y="196"/>
                      </a:lnTo>
                      <a:lnTo>
                        <a:pt x="47" y="195"/>
                      </a:lnTo>
                      <a:lnTo>
                        <a:pt x="44" y="193"/>
                      </a:lnTo>
                      <a:lnTo>
                        <a:pt x="44" y="193"/>
                      </a:lnTo>
                      <a:lnTo>
                        <a:pt x="44" y="193"/>
                      </a:lnTo>
                      <a:lnTo>
                        <a:pt x="44" y="193"/>
                      </a:lnTo>
                      <a:lnTo>
                        <a:pt x="44" y="193"/>
                      </a:lnTo>
                      <a:lnTo>
                        <a:pt x="44" y="193"/>
                      </a:lnTo>
                      <a:lnTo>
                        <a:pt x="36" y="192"/>
                      </a:lnTo>
                      <a:lnTo>
                        <a:pt x="36" y="192"/>
                      </a:lnTo>
                      <a:lnTo>
                        <a:pt x="36" y="192"/>
                      </a:lnTo>
                      <a:lnTo>
                        <a:pt x="35" y="192"/>
                      </a:lnTo>
                      <a:lnTo>
                        <a:pt x="35" y="192"/>
                      </a:lnTo>
                      <a:lnTo>
                        <a:pt x="13" y="195"/>
                      </a:lnTo>
                      <a:lnTo>
                        <a:pt x="13" y="195"/>
                      </a:lnTo>
                      <a:lnTo>
                        <a:pt x="15" y="189"/>
                      </a:lnTo>
                      <a:lnTo>
                        <a:pt x="15" y="187"/>
                      </a:lnTo>
                      <a:lnTo>
                        <a:pt x="15" y="187"/>
                      </a:lnTo>
                      <a:lnTo>
                        <a:pt x="15" y="187"/>
                      </a:lnTo>
                      <a:lnTo>
                        <a:pt x="15" y="182"/>
                      </a:lnTo>
                      <a:lnTo>
                        <a:pt x="18" y="177"/>
                      </a:lnTo>
                      <a:lnTo>
                        <a:pt x="18" y="177"/>
                      </a:lnTo>
                      <a:lnTo>
                        <a:pt x="19" y="171"/>
                      </a:lnTo>
                      <a:lnTo>
                        <a:pt x="21" y="166"/>
                      </a:lnTo>
                      <a:lnTo>
                        <a:pt x="21" y="166"/>
                      </a:lnTo>
                      <a:lnTo>
                        <a:pt x="19" y="161"/>
                      </a:lnTo>
                      <a:lnTo>
                        <a:pt x="19" y="161"/>
                      </a:lnTo>
                      <a:lnTo>
                        <a:pt x="16" y="155"/>
                      </a:lnTo>
                      <a:lnTo>
                        <a:pt x="15" y="151"/>
                      </a:lnTo>
                      <a:lnTo>
                        <a:pt x="15" y="151"/>
                      </a:lnTo>
                      <a:lnTo>
                        <a:pt x="12" y="148"/>
                      </a:lnTo>
                      <a:lnTo>
                        <a:pt x="12" y="145"/>
                      </a:lnTo>
                      <a:lnTo>
                        <a:pt x="12" y="144"/>
                      </a:lnTo>
                      <a:lnTo>
                        <a:pt x="12" y="144"/>
                      </a:lnTo>
                      <a:lnTo>
                        <a:pt x="13" y="138"/>
                      </a:lnTo>
                      <a:lnTo>
                        <a:pt x="13" y="138"/>
                      </a:lnTo>
                      <a:lnTo>
                        <a:pt x="15" y="134"/>
                      </a:lnTo>
                      <a:lnTo>
                        <a:pt x="15" y="134"/>
                      </a:lnTo>
                      <a:lnTo>
                        <a:pt x="13" y="129"/>
                      </a:lnTo>
                      <a:lnTo>
                        <a:pt x="13" y="129"/>
                      </a:lnTo>
                      <a:lnTo>
                        <a:pt x="6" y="122"/>
                      </a:lnTo>
                      <a:lnTo>
                        <a:pt x="6" y="122"/>
                      </a:lnTo>
                      <a:lnTo>
                        <a:pt x="3" y="118"/>
                      </a:lnTo>
                      <a:lnTo>
                        <a:pt x="3" y="118"/>
                      </a:lnTo>
                      <a:lnTo>
                        <a:pt x="0" y="116"/>
                      </a:lnTo>
                      <a:lnTo>
                        <a:pt x="0" y="116"/>
                      </a:lnTo>
                      <a:lnTo>
                        <a:pt x="0" y="112"/>
                      </a:lnTo>
                      <a:lnTo>
                        <a:pt x="65" y="112"/>
                      </a:lnTo>
                      <a:lnTo>
                        <a:pt x="67" y="90"/>
                      </a:lnTo>
                      <a:lnTo>
                        <a:pt x="78" y="74"/>
                      </a:lnTo>
                      <a:lnTo>
                        <a:pt x="78" y="31"/>
                      </a:lnTo>
                      <a:lnTo>
                        <a:pt x="139" y="31"/>
                      </a:lnTo>
                      <a:lnTo>
                        <a:pt x="139" y="0"/>
                      </a:lnTo>
                      <a:lnTo>
                        <a:pt x="139" y="0"/>
                      </a:lnTo>
                      <a:lnTo>
                        <a:pt x="164" y="16"/>
                      </a:lnTo>
                      <a:lnTo>
                        <a:pt x="216" y="51"/>
                      </a:lnTo>
                      <a:lnTo>
                        <a:pt x="174" y="51"/>
                      </a:lnTo>
                      <a:lnTo>
                        <a:pt x="181" y="179"/>
                      </a:lnTo>
                      <a:lnTo>
                        <a:pt x="187" y="183"/>
                      </a:lnTo>
                      <a:lnTo>
                        <a:pt x="177" y="203"/>
                      </a:lnTo>
                      <a:lnTo>
                        <a:pt x="177" y="203"/>
                      </a:lnTo>
                      <a:lnTo>
                        <a:pt x="136" y="203"/>
                      </a:lnTo>
                      <a:lnTo>
                        <a:pt x="136" y="203"/>
                      </a:lnTo>
                      <a:lnTo>
                        <a:pt x="132" y="205"/>
                      </a:lnTo>
                      <a:lnTo>
                        <a:pt x="132" y="205"/>
                      </a:lnTo>
                      <a:lnTo>
                        <a:pt x="128" y="205"/>
                      </a:lnTo>
                      <a:lnTo>
                        <a:pt x="128" y="205"/>
                      </a:lnTo>
                      <a:lnTo>
                        <a:pt x="128" y="205"/>
                      </a:lnTo>
                      <a:lnTo>
                        <a:pt x="128" y="205"/>
                      </a:lnTo>
                      <a:lnTo>
                        <a:pt x="126" y="205"/>
                      </a:lnTo>
                      <a:lnTo>
                        <a:pt x="126" y="205"/>
                      </a:lnTo>
                      <a:lnTo>
                        <a:pt x="126" y="205"/>
                      </a:lnTo>
                      <a:lnTo>
                        <a:pt x="126" y="205"/>
                      </a:lnTo>
                      <a:lnTo>
                        <a:pt x="126" y="205"/>
                      </a:lnTo>
                      <a:lnTo>
                        <a:pt x="126" y="205"/>
                      </a:lnTo>
                      <a:lnTo>
                        <a:pt x="125" y="205"/>
                      </a:lnTo>
                      <a:lnTo>
                        <a:pt x="125" y="205"/>
                      </a:lnTo>
                      <a:lnTo>
                        <a:pt x="125" y="205"/>
                      </a:lnTo>
                      <a:lnTo>
                        <a:pt x="125" y="205"/>
                      </a:lnTo>
                      <a:lnTo>
                        <a:pt x="125" y="205"/>
                      </a:lnTo>
                      <a:lnTo>
                        <a:pt x="125" y="205"/>
                      </a:lnTo>
                      <a:lnTo>
                        <a:pt x="125" y="205"/>
                      </a:lnTo>
                      <a:lnTo>
                        <a:pt x="125" y="205"/>
                      </a:lnTo>
                      <a:lnTo>
                        <a:pt x="123" y="205"/>
                      </a:lnTo>
                      <a:lnTo>
                        <a:pt x="123" y="205"/>
                      </a:lnTo>
                      <a:lnTo>
                        <a:pt x="120" y="203"/>
                      </a:lnTo>
                      <a:lnTo>
                        <a:pt x="120" y="203"/>
                      </a:lnTo>
                      <a:lnTo>
                        <a:pt x="118" y="202"/>
                      </a:lnTo>
                      <a:lnTo>
                        <a:pt x="115" y="200"/>
                      </a:lnTo>
                      <a:lnTo>
                        <a:pt x="115" y="200"/>
                      </a:lnTo>
                      <a:lnTo>
                        <a:pt x="115" y="200"/>
                      </a:lnTo>
                      <a:lnTo>
                        <a:pt x="113" y="200"/>
                      </a:lnTo>
                      <a:lnTo>
                        <a:pt x="113" y="200"/>
                      </a:lnTo>
                      <a:lnTo>
                        <a:pt x="113" y="200"/>
                      </a:lnTo>
                      <a:lnTo>
                        <a:pt x="113" y="200"/>
                      </a:lnTo>
                      <a:lnTo>
                        <a:pt x="106" y="200"/>
                      </a:lnTo>
                      <a:lnTo>
                        <a:pt x="102" y="202"/>
                      </a:lnTo>
                      <a:lnTo>
                        <a:pt x="99" y="202"/>
                      </a:lnTo>
                      <a:lnTo>
                        <a:pt x="99" y="202"/>
                      </a:lnTo>
                      <a:lnTo>
                        <a:pt x="99" y="202"/>
                      </a:lnTo>
                      <a:lnTo>
                        <a:pt x="99" y="202"/>
                      </a:lnTo>
                      <a:lnTo>
                        <a:pt x="99" y="202"/>
                      </a:lnTo>
                      <a:lnTo>
                        <a:pt x="99" y="202"/>
                      </a:lnTo>
                      <a:lnTo>
                        <a:pt x="99" y="203"/>
                      </a:lnTo>
                      <a:lnTo>
                        <a:pt x="99" y="203"/>
                      </a:lnTo>
                      <a:lnTo>
                        <a:pt x="99" y="203"/>
                      </a:lnTo>
                      <a:lnTo>
                        <a:pt x="99" y="203"/>
                      </a:lnTo>
                      <a:lnTo>
                        <a:pt x="97" y="208"/>
                      </a:lnTo>
                      <a:lnTo>
                        <a:pt x="96" y="209"/>
                      </a:lnTo>
                      <a:lnTo>
                        <a:pt x="94" y="210"/>
                      </a:lnTo>
                      <a:lnTo>
                        <a:pt x="94" y="210"/>
                      </a:lnTo>
                      <a:lnTo>
                        <a:pt x="94" y="210"/>
                      </a:lnTo>
                      <a:lnTo>
                        <a:pt x="94" y="210"/>
                      </a:lnTo>
                      <a:lnTo>
                        <a:pt x="93" y="210"/>
                      </a:lnTo>
                      <a:lnTo>
                        <a:pt x="93" y="210"/>
                      </a:lnTo>
                      <a:lnTo>
                        <a:pt x="93" y="210"/>
                      </a:lnTo>
                      <a:lnTo>
                        <a:pt x="93" y="210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3" y="209"/>
                      </a:lnTo>
                      <a:lnTo>
                        <a:pt x="90" y="206"/>
                      </a:lnTo>
                      <a:lnTo>
                        <a:pt x="90" y="206"/>
                      </a:lnTo>
                      <a:lnTo>
                        <a:pt x="90" y="206"/>
                      </a:lnTo>
                      <a:lnTo>
                        <a:pt x="90" y="206"/>
                      </a:lnTo>
                      <a:lnTo>
                        <a:pt x="90" y="206"/>
                      </a:lnTo>
                      <a:lnTo>
                        <a:pt x="90" y="206"/>
                      </a:lnTo>
                      <a:lnTo>
                        <a:pt x="87" y="202"/>
                      </a:lnTo>
                      <a:lnTo>
                        <a:pt x="84" y="200"/>
                      </a:lnTo>
                      <a:lnTo>
                        <a:pt x="84" y="200"/>
                      </a:lnTo>
                      <a:lnTo>
                        <a:pt x="84" y="200"/>
                      </a:lnTo>
                      <a:lnTo>
                        <a:pt x="84" y="200"/>
                      </a:lnTo>
                      <a:lnTo>
                        <a:pt x="84" y="200"/>
                      </a:lnTo>
                      <a:lnTo>
                        <a:pt x="84" y="200"/>
                      </a:lnTo>
                      <a:lnTo>
                        <a:pt x="83" y="202"/>
                      </a:lnTo>
                      <a:lnTo>
                        <a:pt x="83" y="202"/>
                      </a:lnTo>
                      <a:lnTo>
                        <a:pt x="83" y="202"/>
                      </a:lnTo>
                      <a:lnTo>
                        <a:pt x="83" y="202"/>
                      </a:lnTo>
                      <a:lnTo>
                        <a:pt x="83" y="202"/>
                      </a:lnTo>
                      <a:lnTo>
                        <a:pt x="81" y="203"/>
                      </a:lnTo>
                      <a:lnTo>
                        <a:pt x="81" y="203"/>
                      </a:lnTo>
                      <a:lnTo>
                        <a:pt x="78" y="209"/>
                      </a:lnTo>
                      <a:lnTo>
                        <a:pt x="77" y="213"/>
                      </a:lnTo>
                      <a:lnTo>
                        <a:pt x="74" y="215"/>
                      </a:lnTo>
                      <a:lnTo>
                        <a:pt x="74" y="215"/>
                      </a:lnTo>
                      <a:lnTo>
                        <a:pt x="74" y="215"/>
                      </a:lnTo>
                      <a:lnTo>
                        <a:pt x="74" y="215"/>
                      </a:lnTo>
                      <a:lnTo>
                        <a:pt x="74" y="215"/>
                      </a:lnTo>
                      <a:lnTo>
                        <a:pt x="74" y="215"/>
                      </a:lnTo>
                      <a:lnTo>
                        <a:pt x="73" y="21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62" name="Freeform 112"/>
                <p:cNvSpPr>
                  <a:spLocks noEditPoints="1"/>
                </p:cNvSpPr>
                <p:nvPr/>
              </p:nvSpPr>
              <p:spPr bwMode="auto">
                <a:xfrm>
                  <a:off x="4215867" y="2926380"/>
                  <a:ext cx="140475" cy="162239"/>
                </a:xfrm>
                <a:custGeom>
                  <a:avLst/>
                  <a:gdLst>
                    <a:gd name="T0" fmla="*/ 142 w 142"/>
                    <a:gd name="T1" fmla="*/ 0 h 164"/>
                    <a:gd name="T2" fmla="*/ 41 w 142"/>
                    <a:gd name="T3" fmla="*/ 149 h 164"/>
                    <a:gd name="T4" fmla="*/ 41 w 142"/>
                    <a:gd name="T5" fmla="*/ 149 h 164"/>
                    <a:gd name="T6" fmla="*/ 10 w 142"/>
                    <a:gd name="T7" fmla="*/ 149 h 164"/>
                    <a:gd name="T8" fmla="*/ 10 w 142"/>
                    <a:gd name="T9" fmla="*/ 149 h 164"/>
                    <a:gd name="T10" fmla="*/ 9 w 142"/>
                    <a:gd name="T11" fmla="*/ 151 h 164"/>
                    <a:gd name="T12" fmla="*/ 9 w 142"/>
                    <a:gd name="T13" fmla="*/ 151 h 164"/>
                    <a:gd name="T14" fmla="*/ 9 w 142"/>
                    <a:gd name="T15" fmla="*/ 151 h 164"/>
                    <a:gd name="T16" fmla="*/ 9 w 142"/>
                    <a:gd name="T17" fmla="*/ 151 h 164"/>
                    <a:gd name="T18" fmla="*/ 25 w 142"/>
                    <a:gd name="T19" fmla="*/ 151 h 164"/>
                    <a:gd name="T20" fmla="*/ 39 w 142"/>
                    <a:gd name="T21" fmla="*/ 149 h 164"/>
                    <a:gd name="T22" fmla="*/ 28 w 142"/>
                    <a:gd name="T23" fmla="*/ 151 h 164"/>
                    <a:gd name="T24" fmla="*/ 25 w 142"/>
                    <a:gd name="T25" fmla="*/ 151 h 164"/>
                    <a:gd name="T26" fmla="*/ 25 w 142"/>
                    <a:gd name="T27" fmla="*/ 151 h 164"/>
                    <a:gd name="T28" fmla="*/ 25 w 142"/>
                    <a:gd name="T29" fmla="*/ 152 h 164"/>
                    <a:gd name="T30" fmla="*/ 62 w 142"/>
                    <a:gd name="T31" fmla="*/ 152 h 164"/>
                    <a:gd name="T32" fmla="*/ 103 w 142"/>
                    <a:gd name="T33" fmla="*/ 152 h 164"/>
                    <a:gd name="T34" fmla="*/ 103 w 142"/>
                    <a:gd name="T35" fmla="*/ 152 h 164"/>
                    <a:gd name="T36" fmla="*/ 49 w 142"/>
                    <a:gd name="T37" fmla="*/ 154 h 164"/>
                    <a:gd name="T38" fmla="*/ 49 w 142"/>
                    <a:gd name="T39" fmla="*/ 154 h 164"/>
                    <a:gd name="T40" fmla="*/ 51 w 142"/>
                    <a:gd name="T41" fmla="*/ 154 h 164"/>
                    <a:gd name="T42" fmla="*/ 52 w 142"/>
                    <a:gd name="T43" fmla="*/ 154 h 164"/>
                    <a:gd name="T44" fmla="*/ 51 w 142"/>
                    <a:gd name="T45" fmla="*/ 154 h 164"/>
                    <a:gd name="T46" fmla="*/ 51 w 142"/>
                    <a:gd name="T47" fmla="*/ 154 h 164"/>
                    <a:gd name="T48" fmla="*/ 52 w 142"/>
                    <a:gd name="T49" fmla="*/ 154 h 164"/>
                    <a:gd name="T50" fmla="*/ 52 w 142"/>
                    <a:gd name="T51" fmla="*/ 154 h 164"/>
                    <a:gd name="T52" fmla="*/ 54 w 142"/>
                    <a:gd name="T53" fmla="*/ 154 h 164"/>
                    <a:gd name="T54" fmla="*/ 54 w 142"/>
                    <a:gd name="T55" fmla="*/ 154 h 164"/>
                    <a:gd name="T56" fmla="*/ 54 w 142"/>
                    <a:gd name="T57" fmla="*/ 154 h 164"/>
                    <a:gd name="T58" fmla="*/ 16 w 142"/>
                    <a:gd name="T59" fmla="*/ 155 h 164"/>
                    <a:gd name="T60" fmla="*/ 19 w 142"/>
                    <a:gd name="T61" fmla="*/ 158 h 164"/>
                    <a:gd name="T62" fmla="*/ 16 w 142"/>
                    <a:gd name="T63" fmla="*/ 155 h 164"/>
                    <a:gd name="T64" fmla="*/ 19 w 142"/>
                    <a:gd name="T65" fmla="*/ 158 h 164"/>
                    <a:gd name="T66" fmla="*/ 19 w 142"/>
                    <a:gd name="T67" fmla="*/ 158 h 164"/>
                    <a:gd name="T68" fmla="*/ 19 w 142"/>
                    <a:gd name="T69" fmla="*/ 158 h 164"/>
                    <a:gd name="T70" fmla="*/ 19 w 142"/>
                    <a:gd name="T71" fmla="*/ 158 h 164"/>
                    <a:gd name="T72" fmla="*/ 19 w 142"/>
                    <a:gd name="T73" fmla="*/ 158 h 164"/>
                    <a:gd name="T74" fmla="*/ 19 w 142"/>
                    <a:gd name="T75" fmla="*/ 158 h 164"/>
                    <a:gd name="T76" fmla="*/ 19 w 142"/>
                    <a:gd name="T77" fmla="*/ 158 h 164"/>
                    <a:gd name="T78" fmla="*/ 19 w 142"/>
                    <a:gd name="T79" fmla="*/ 159 h 164"/>
                    <a:gd name="T80" fmla="*/ 19 w 142"/>
                    <a:gd name="T81" fmla="*/ 159 h 164"/>
                    <a:gd name="T82" fmla="*/ 22 w 142"/>
                    <a:gd name="T83" fmla="*/ 158 h 164"/>
                    <a:gd name="T84" fmla="*/ 25 w 142"/>
                    <a:gd name="T85" fmla="*/ 152 h 164"/>
                    <a:gd name="T86" fmla="*/ 20 w 142"/>
                    <a:gd name="T87" fmla="*/ 159 h 164"/>
                    <a:gd name="T88" fmla="*/ 20 w 142"/>
                    <a:gd name="T89" fmla="*/ 159 h 164"/>
                    <a:gd name="T90" fmla="*/ 0 w 142"/>
                    <a:gd name="T91" fmla="*/ 164 h 164"/>
                    <a:gd name="T92" fmla="*/ 4 w 142"/>
                    <a:gd name="T93" fmla="*/ 158 h 164"/>
                    <a:gd name="T94" fmla="*/ 4 w 142"/>
                    <a:gd name="T95" fmla="*/ 158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42" h="164">
                      <a:moveTo>
                        <a:pt x="142" y="0"/>
                      </a:moveTo>
                      <a:lnTo>
                        <a:pt x="100" y="0"/>
                      </a:lnTo>
                      <a:lnTo>
                        <a:pt x="142" y="0"/>
                      </a:lnTo>
                      <a:close/>
                      <a:moveTo>
                        <a:pt x="41" y="149"/>
                      </a:moveTo>
                      <a:lnTo>
                        <a:pt x="41" y="149"/>
                      </a:lnTo>
                      <a:lnTo>
                        <a:pt x="41" y="149"/>
                      </a:lnTo>
                      <a:close/>
                      <a:moveTo>
                        <a:pt x="39" y="149"/>
                      </a:moveTo>
                      <a:lnTo>
                        <a:pt x="39" y="149"/>
                      </a:lnTo>
                      <a:lnTo>
                        <a:pt x="41" y="149"/>
                      </a:lnTo>
                      <a:lnTo>
                        <a:pt x="41" y="149"/>
                      </a:lnTo>
                      <a:lnTo>
                        <a:pt x="39" y="149"/>
                      </a:lnTo>
                      <a:close/>
                      <a:moveTo>
                        <a:pt x="10" y="149"/>
                      </a:moveTo>
                      <a:lnTo>
                        <a:pt x="10" y="149"/>
                      </a:lnTo>
                      <a:lnTo>
                        <a:pt x="10" y="149"/>
                      </a:lnTo>
                      <a:lnTo>
                        <a:pt x="10" y="149"/>
                      </a:lnTo>
                      <a:lnTo>
                        <a:pt x="10" y="149"/>
                      </a:lnTo>
                      <a:close/>
                      <a:moveTo>
                        <a:pt x="9" y="151"/>
                      </a:moveTo>
                      <a:lnTo>
                        <a:pt x="9" y="151"/>
                      </a:lnTo>
                      <a:lnTo>
                        <a:pt x="10" y="149"/>
                      </a:lnTo>
                      <a:lnTo>
                        <a:pt x="10" y="149"/>
                      </a:lnTo>
                      <a:lnTo>
                        <a:pt x="9" y="151"/>
                      </a:lnTo>
                      <a:close/>
                      <a:moveTo>
                        <a:pt x="9" y="151"/>
                      </a:moveTo>
                      <a:lnTo>
                        <a:pt x="9" y="151"/>
                      </a:lnTo>
                      <a:lnTo>
                        <a:pt x="9" y="151"/>
                      </a:lnTo>
                      <a:lnTo>
                        <a:pt x="9" y="151"/>
                      </a:lnTo>
                      <a:lnTo>
                        <a:pt x="9" y="151"/>
                      </a:lnTo>
                      <a:lnTo>
                        <a:pt x="9" y="151"/>
                      </a:lnTo>
                      <a:close/>
                      <a:moveTo>
                        <a:pt x="25" y="151"/>
                      </a:moveTo>
                      <a:lnTo>
                        <a:pt x="25" y="151"/>
                      </a:lnTo>
                      <a:lnTo>
                        <a:pt x="25" y="151"/>
                      </a:lnTo>
                      <a:lnTo>
                        <a:pt x="28" y="151"/>
                      </a:lnTo>
                      <a:lnTo>
                        <a:pt x="32" y="149"/>
                      </a:lnTo>
                      <a:lnTo>
                        <a:pt x="39" y="149"/>
                      </a:lnTo>
                      <a:lnTo>
                        <a:pt x="39" y="149"/>
                      </a:lnTo>
                      <a:lnTo>
                        <a:pt x="32" y="149"/>
                      </a:lnTo>
                      <a:lnTo>
                        <a:pt x="28" y="151"/>
                      </a:lnTo>
                      <a:lnTo>
                        <a:pt x="25" y="151"/>
                      </a:lnTo>
                      <a:close/>
                      <a:moveTo>
                        <a:pt x="25" y="151"/>
                      </a:moveTo>
                      <a:lnTo>
                        <a:pt x="25" y="151"/>
                      </a:lnTo>
                      <a:lnTo>
                        <a:pt x="25" y="151"/>
                      </a:lnTo>
                      <a:lnTo>
                        <a:pt x="25" y="151"/>
                      </a:lnTo>
                      <a:lnTo>
                        <a:pt x="25" y="151"/>
                      </a:lnTo>
                      <a:close/>
                      <a:moveTo>
                        <a:pt x="25" y="152"/>
                      </a:moveTo>
                      <a:lnTo>
                        <a:pt x="25" y="152"/>
                      </a:lnTo>
                      <a:lnTo>
                        <a:pt x="25" y="152"/>
                      </a:lnTo>
                      <a:lnTo>
                        <a:pt x="25" y="152"/>
                      </a:lnTo>
                      <a:lnTo>
                        <a:pt x="25" y="152"/>
                      </a:lnTo>
                      <a:close/>
                      <a:moveTo>
                        <a:pt x="62" y="152"/>
                      </a:moveTo>
                      <a:lnTo>
                        <a:pt x="62" y="152"/>
                      </a:lnTo>
                      <a:lnTo>
                        <a:pt x="62" y="152"/>
                      </a:lnTo>
                      <a:lnTo>
                        <a:pt x="103" y="152"/>
                      </a:lnTo>
                      <a:lnTo>
                        <a:pt x="113" y="132"/>
                      </a:lnTo>
                      <a:lnTo>
                        <a:pt x="103" y="152"/>
                      </a:lnTo>
                      <a:lnTo>
                        <a:pt x="103" y="152"/>
                      </a:lnTo>
                      <a:lnTo>
                        <a:pt x="62" y="152"/>
                      </a:lnTo>
                      <a:close/>
                      <a:moveTo>
                        <a:pt x="49" y="154"/>
                      </a:moveTo>
                      <a:lnTo>
                        <a:pt x="49" y="154"/>
                      </a:lnTo>
                      <a:lnTo>
                        <a:pt x="46" y="152"/>
                      </a:lnTo>
                      <a:lnTo>
                        <a:pt x="46" y="152"/>
                      </a:lnTo>
                      <a:lnTo>
                        <a:pt x="49" y="154"/>
                      </a:lnTo>
                      <a:close/>
                      <a:moveTo>
                        <a:pt x="51" y="154"/>
                      </a:move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close/>
                      <a:moveTo>
                        <a:pt x="52" y="154"/>
                      </a:moveTo>
                      <a:lnTo>
                        <a:pt x="52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1" y="154"/>
                      </a:lnTo>
                      <a:lnTo>
                        <a:pt x="52" y="154"/>
                      </a:lnTo>
                      <a:close/>
                      <a:moveTo>
                        <a:pt x="52" y="154"/>
                      </a:moveTo>
                      <a:lnTo>
                        <a:pt x="52" y="154"/>
                      </a:lnTo>
                      <a:lnTo>
                        <a:pt x="52" y="154"/>
                      </a:lnTo>
                      <a:lnTo>
                        <a:pt x="52" y="154"/>
                      </a:lnTo>
                      <a:lnTo>
                        <a:pt x="52" y="154"/>
                      </a:lnTo>
                      <a:close/>
                      <a:moveTo>
                        <a:pt x="54" y="154"/>
                      </a:moveTo>
                      <a:lnTo>
                        <a:pt x="54" y="154"/>
                      </a:lnTo>
                      <a:lnTo>
                        <a:pt x="58" y="154"/>
                      </a:lnTo>
                      <a:lnTo>
                        <a:pt x="58" y="154"/>
                      </a:lnTo>
                      <a:lnTo>
                        <a:pt x="54" y="154"/>
                      </a:lnTo>
                      <a:close/>
                      <a:moveTo>
                        <a:pt x="54" y="154"/>
                      </a:moveTo>
                      <a:lnTo>
                        <a:pt x="54" y="154"/>
                      </a:lnTo>
                      <a:lnTo>
                        <a:pt x="54" y="154"/>
                      </a:lnTo>
                      <a:close/>
                      <a:moveTo>
                        <a:pt x="16" y="155"/>
                      </a:moveTo>
                      <a:lnTo>
                        <a:pt x="16" y="155"/>
                      </a:lnTo>
                      <a:lnTo>
                        <a:pt x="16" y="155"/>
                      </a:lnTo>
                      <a:lnTo>
                        <a:pt x="16" y="155"/>
                      </a:lnTo>
                      <a:lnTo>
                        <a:pt x="16" y="155"/>
                      </a:lnTo>
                      <a:close/>
                      <a:moveTo>
                        <a:pt x="19" y="158"/>
                      </a:moveTo>
                      <a:lnTo>
                        <a:pt x="19" y="158"/>
                      </a:lnTo>
                      <a:lnTo>
                        <a:pt x="16" y="155"/>
                      </a:lnTo>
                      <a:lnTo>
                        <a:pt x="16" y="155"/>
                      </a:lnTo>
                      <a:lnTo>
                        <a:pt x="19" y="158"/>
                      </a:lnTo>
                      <a:close/>
                      <a:moveTo>
                        <a:pt x="19" y="158"/>
                      </a:move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close/>
                      <a:moveTo>
                        <a:pt x="19" y="158"/>
                      </a:move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close/>
                      <a:moveTo>
                        <a:pt x="19" y="158"/>
                      </a:move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close/>
                      <a:moveTo>
                        <a:pt x="19" y="158"/>
                      </a:move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lnTo>
                        <a:pt x="19" y="158"/>
                      </a:lnTo>
                      <a:close/>
                      <a:moveTo>
                        <a:pt x="19" y="159"/>
                      </a:moveTo>
                      <a:lnTo>
                        <a:pt x="19" y="159"/>
                      </a:lnTo>
                      <a:lnTo>
                        <a:pt x="19" y="159"/>
                      </a:lnTo>
                      <a:lnTo>
                        <a:pt x="19" y="159"/>
                      </a:lnTo>
                      <a:lnTo>
                        <a:pt x="19" y="159"/>
                      </a:lnTo>
                      <a:close/>
                      <a:moveTo>
                        <a:pt x="20" y="159"/>
                      </a:moveTo>
                      <a:lnTo>
                        <a:pt x="20" y="159"/>
                      </a:lnTo>
                      <a:lnTo>
                        <a:pt x="22" y="158"/>
                      </a:lnTo>
                      <a:lnTo>
                        <a:pt x="23" y="157"/>
                      </a:lnTo>
                      <a:lnTo>
                        <a:pt x="25" y="152"/>
                      </a:lnTo>
                      <a:lnTo>
                        <a:pt x="25" y="152"/>
                      </a:lnTo>
                      <a:lnTo>
                        <a:pt x="23" y="157"/>
                      </a:lnTo>
                      <a:lnTo>
                        <a:pt x="22" y="158"/>
                      </a:lnTo>
                      <a:lnTo>
                        <a:pt x="20" y="159"/>
                      </a:lnTo>
                      <a:close/>
                      <a:moveTo>
                        <a:pt x="20" y="159"/>
                      </a:moveTo>
                      <a:lnTo>
                        <a:pt x="20" y="159"/>
                      </a:lnTo>
                      <a:lnTo>
                        <a:pt x="20" y="159"/>
                      </a:lnTo>
                      <a:close/>
                      <a:moveTo>
                        <a:pt x="0" y="164"/>
                      </a:moveTo>
                      <a:lnTo>
                        <a:pt x="0" y="164"/>
                      </a:lnTo>
                      <a:lnTo>
                        <a:pt x="0" y="164"/>
                      </a:lnTo>
                      <a:lnTo>
                        <a:pt x="0" y="164"/>
                      </a:lnTo>
                      <a:lnTo>
                        <a:pt x="3" y="162"/>
                      </a:lnTo>
                      <a:lnTo>
                        <a:pt x="4" y="158"/>
                      </a:lnTo>
                      <a:lnTo>
                        <a:pt x="7" y="152"/>
                      </a:lnTo>
                      <a:lnTo>
                        <a:pt x="7" y="152"/>
                      </a:lnTo>
                      <a:lnTo>
                        <a:pt x="4" y="158"/>
                      </a:lnTo>
                      <a:lnTo>
                        <a:pt x="3" y="162"/>
                      </a:lnTo>
                      <a:lnTo>
                        <a:pt x="0" y="16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63" name="Freeform 113"/>
                <p:cNvSpPr>
                  <a:spLocks/>
                </p:cNvSpPr>
                <p:nvPr/>
              </p:nvSpPr>
              <p:spPr bwMode="auto">
                <a:xfrm>
                  <a:off x="4314793" y="2926380"/>
                  <a:ext cx="41549" cy="0"/>
                </a:xfrm>
                <a:custGeom>
                  <a:avLst/>
                  <a:gdLst>
                    <a:gd name="T0" fmla="*/ 42 w 42"/>
                    <a:gd name="T1" fmla="*/ 0 w 42"/>
                    <a:gd name="T2" fmla="*/ 42 w 4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42">
                      <a:moveTo>
                        <a:pt x="42" y="0"/>
                      </a:moveTo>
                      <a:lnTo>
                        <a:pt x="0" y="0"/>
                      </a:lnTo>
                      <a:lnTo>
                        <a:pt x="42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64" name="Freeform 114"/>
                <p:cNvSpPr>
                  <a:spLocks/>
                </p:cNvSpPr>
                <p:nvPr/>
              </p:nvSpPr>
              <p:spPr bwMode="auto">
                <a:xfrm>
                  <a:off x="4256427" y="3073780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65" name="Rectangle 115"/>
                <p:cNvSpPr>
                  <a:spLocks noChangeArrowheads="1"/>
                </p:cNvSpPr>
                <p:nvPr/>
              </p:nvSpPr>
              <p:spPr bwMode="auto">
                <a:xfrm>
                  <a:off x="4254448" y="3073780"/>
                  <a:ext cx="197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66" name="Rectangle 116"/>
                <p:cNvSpPr>
                  <a:spLocks noChangeArrowheads="1"/>
                </p:cNvSpPr>
                <p:nvPr/>
              </p:nvSpPr>
              <p:spPr bwMode="auto">
                <a:xfrm>
                  <a:off x="4225760" y="3073780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67" name="Freeform 117"/>
                <p:cNvSpPr>
                  <a:spLocks/>
                </p:cNvSpPr>
                <p:nvPr/>
              </p:nvSpPr>
              <p:spPr bwMode="auto">
                <a:xfrm>
                  <a:off x="4224770" y="3073780"/>
                  <a:ext cx="989" cy="1979"/>
                </a:xfrm>
                <a:custGeom>
                  <a:avLst/>
                  <a:gdLst>
                    <a:gd name="T0" fmla="*/ 0 w 1"/>
                    <a:gd name="T1" fmla="*/ 2 h 2"/>
                    <a:gd name="T2" fmla="*/ 0 w 1"/>
                    <a:gd name="T3" fmla="*/ 2 h 2"/>
                    <a:gd name="T4" fmla="*/ 1 w 1"/>
                    <a:gd name="T5" fmla="*/ 0 h 2"/>
                    <a:gd name="T6" fmla="*/ 1 w 1"/>
                    <a:gd name="T7" fmla="*/ 0 h 2"/>
                    <a:gd name="T8" fmla="*/ 0 w 1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2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68" name="Freeform 118"/>
                <p:cNvSpPr>
                  <a:spLocks/>
                </p:cNvSpPr>
                <p:nvPr/>
              </p:nvSpPr>
              <p:spPr bwMode="auto">
                <a:xfrm>
                  <a:off x="4224770" y="307575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69" name="Freeform 119"/>
                <p:cNvSpPr>
                  <a:spLocks/>
                </p:cNvSpPr>
                <p:nvPr/>
              </p:nvSpPr>
              <p:spPr bwMode="auto">
                <a:xfrm>
                  <a:off x="4240599" y="3073780"/>
                  <a:ext cx="13850" cy="1979"/>
                </a:xfrm>
                <a:custGeom>
                  <a:avLst/>
                  <a:gdLst>
                    <a:gd name="T0" fmla="*/ 0 w 14"/>
                    <a:gd name="T1" fmla="*/ 2 h 2"/>
                    <a:gd name="T2" fmla="*/ 0 w 14"/>
                    <a:gd name="T3" fmla="*/ 2 h 2"/>
                    <a:gd name="T4" fmla="*/ 0 w 14"/>
                    <a:gd name="T5" fmla="*/ 2 h 2"/>
                    <a:gd name="T6" fmla="*/ 3 w 14"/>
                    <a:gd name="T7" fmla="*/ 2 h 2"/>
                    <a:gd name="T8" fmla="*/ 7 w 14"/>
                    <a:gd name="T9" fmla="*/ 0 h 2"/>
                    <a:gd name="T10" fmla="*/ 14 w 14"/>
                    <a:gd name="T11" fmla="*/ 0 h 2"/>
                    <a:gd name="T12" fmla="*/ 14 w 14"/>
                    <a:gd name="T13" fmla="*/ 0 h 2"/>
                    <a:gd name="T14" fmla="*/ 7 w 14"/>
                    <a:gd name="T15" fmla="*/ 0 h 2"/>
                    <a:gd name="T16" fmla="*/ 3 w 14"/>
                    <a:gd name="T17" fmla="*/ 2 h 2"/>
                    <a:gd name="T18" fmla="*/ 0 w 14"/>
                    <a:gd name="T1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4" h="2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7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3" y="2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70" name="Rectangle 120"/>
                <p:cNvSpPr>
                  <a:spLocks noChangeArrowheads="1"/>
                </p:cNvSpPr>
                <p:nvPr/>
              </p:nvSpPr>
              <p:spPr bwMode="auto">
                <a:xfrm>
                  <a:off x="4240599" y="3075759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71" name="Rectangle 121"/>
                <p:cNvSpPr>
                  <a:spLocks noChangeArrowheads="1"/>
                </p:cNvSpPr>
                <p:nvPr/>
              </p:nvSpPr>
              <p:spPr bwMode="auto">
                <a:xfrm>
                  <a:off x="4240599" y="3076748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72" name="Freeform 122"/>
                <p:cNvSpPr>
                  <a:spLocks/>
                </p:cNvSpPr>
                <p:nvPr/>
              </p:nvSpPr>
              <p:spPr bwMode="auto">
                <a:xfrm>
                  <a:off x="4277201" y="3056963"/>
                  <a:ext cx="50452" cy="19785"/>
                </a:xfrm>
                <a:custGeom>
                  <a:avLst/>
                  <a:gdLst>
                    <a:gd name="T0" fmla="*/ 0 w 51"/>
                    <a:gd name="T1" fmla="*/ 20 h 20"/>
                    <a:gd name="T2" fmla="*/ 0 w 51"/>
                    <a:gd name="T3" fmla="*/ 20 h 20"/>
                    <a:gd name="T4" fmla="*/ 0 w 51"/>
                    <a:gd name="T5" fmla="*/ 20 h 20"/>
                    <a:gd name="T6" fmla="*/ 41 w 51"/>
                    <a:gd name="T7" fmla="*/ 20 h 20"/>
                    <a:gd name="T8" fmla="*/ 51 w 51"/>
                    <a:gd name="T9" fmla="*/ 0 h 20"/>
                    <a:gd name="T10" fmla="*/ 41 w 51"/>
                    <a:gd name="T11" fmla="*/ 20 h 20"/>
                    <a:gd name="T12" fmla="*/ 41 w 51"/>
                    <a:gd name="T13" fmla="*/ 20 h 20"/>
                    <a:gd name="T14" fmla="*/ 0 w 51"/>
                    <a:gd name="T15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1" h="20">
                      <a:moveTo>
                        <a:pt x="0" y="20"/>
                      </a:move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41" y="20"/>
                      </a:lnTo>
                      <a:lnTo>
                        <a:pt x="51" y="0"/>
                      </a:lnTo>
                      <a:lnTo>
                        <a:pt x="41" y="20"/>
                      </a:lnTo>
                      <a:lnTo>
                        <a:pt x="41" y="20"/>
                      </a:lnTo>
                      <a:lnTo>
                        <a:pt x="0" y="2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73" name="Freeform 123"/>
                <p:cNvSpPr>
                  <a:spLocks/>
                </p:cNvSpPr>
                <p:nvPr/>
              </p:nvSpPr>
              <p:spPr bwMode="auto">
                <a:xfrm>
                  <a:off x="4261373" y="3076748"/>
                  <a:ext cx="2968" cy="1979"/>
                </a:xfrm>
                <a:custGeom>
                  <a:avLst/>
                  <a:gdLst>
                    <a:gd name="T0" fmla="*/ 3 w 3"/>
                    <a:gd name="T1" fmla="*/ 2 h 2"/>
                    <a:gd name="T2" fmla="*/ 3 w 3"/>
                    <a:gd name="T3" fmla="*/ 2 h 2"/>
                    <a:gd name="T4" fmla="*/ 0 w 3"/>
                    <a:gd name="T5" fmla="*/ 0 h 2"/>
                    <a:gd name="T6" fmla="*/ 0 w 3"/>
                    <a:gd name="T7" fmla="*/ 0 h 2"/>
                    <a:gd name="T8" fmla="*/ 3 w 3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2">
                      <a:moveTo>
                        <a:pt x="3" y="2"/>
                      </a:moveTo>
                      <a:lnTo>
                        <a:pt x="3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3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74" name="Rectangle 124"/>
                <p:cNvSpPr>
                  <a:spLocks noChangeArrowheads="1"/>
                </p:cNvSpPr>
                <p:nvPr/>
              </p:nvSpPr>
              <p:spPr bwMode="auto">
                <a:xfrm>
                  <a:off x="4266319" y="3078726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75" name="Freeform 125"/>
                <p:cNvSpPr>
                  <a:spLocks/>
                </p:cNvSpPr>
                <p:nvPr/>
              </p:nvSpPr>
              <p:spPr bwMode="auto">
                <a:xfrm>
                  <a:off x="4266319" y="3078726"/>
                  <a:ext cx="989" cy="0"/>
                </a:xfrm>
                <a:custGeom>
                  <a:avLst/>
                  <a:gdLst>
                    <a:gd name="T0" fmla="*/ 1 w 1"/>
                    <a:gd name="T1" fmla="*/ 1 w 1"/>
                    <a:gd name="T2" fmla="*/ 0 w 1"/>
                    <a:gd name="T3" fmla="*/ 0 w 1"/>
                    <a:gd name="T4" fmla="*/ 0 w 1"/>
                    <a:gd name="T5" fmla="*/ 0 w 1"/>
                    <a:gd name="T6" fmla="*/ 0 w 1"/>
                    <a:gd name="T7" fmla="*/ 0 w 1"/>
                    <a:gd name="T8" fmla="*/ 1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76" name="Rectangle 126"/>
                <p:cNvSpPr>
                  <a:spLocks noChangeArrowheads="1"/>
                </p:cNvSpPr>
                <p:nvPr/>
              </p:nvSpPr>
              <p:spPr bwMode="auto">
                <a:xfrm>
                  <a:off x="4267309" y="3078726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77" name="Rectangle 127"/>
                <p:cNvSpPr>
                  <a:spLocks noChangeArrowheads="1"/>
                </p:cNvSpPr>
                <p:nvPr/>
              </p:nvSpPr>
              <p:spPr bwMode="auto">
                <a:xfrm>
                  <a:off x="4269287" y="3078726"/>
                  <a:ext cx="3957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78" name="Freeform 128"/>
                <p:cNvSpPr>
                  <a:spLocks/>
                </p:cNvSpPr>
                <p:nvPr/>
              </p:nvSpPr>
              <p:spPr bwMode="auto">
                <a:xfrm>
                  <a:off x="4269287" y="307872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79" name="Rectangle 129"/>
                <p:cNvSpPr>
                  <a:spLocks noChangeArrowheads="1"/>
                </p:cNvSpPr>
                <p:nvPr/>
              </p:nvSpPr>
              <p:spPr bwMode="auto">
                <a:xfrm>
                  <a:off x="4231695" y="3079716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80" name="Freeform 130"/>
                <p:cNvSpPr>
                  <a:spLocks/>
                </p:cNvSpPr>
                <p:nvPr/>
              </p:nvSpPr>
              <p:spPr bwMode="auto">
                <a:xfrm>
                  <a:off x="4231695" y="3079716"/>
                  <a:ext cx="2968" cy="2968"/>
                </a:xfrm>
                <a:custGeom>
                  <a:avLst/>
                  <a:gdLst>
                    <a:gd name="T0" fmla="*/ 3 w 3"/>
                    <a:gd name="T1" fmla="*/ 3 h 3"/>
                    <a:gd name="T2" fmla="*/ 3 w 3"/>
                    <a:gd name="T3" fmla="*/ 3 h 3"/>
                    <a:gd name="T4" fmla="*/ 0 w 3"/>
                    <a:gd name="T5" fmla="*/ 0 h 3"/>
                    <a:gd name="T6" fmla="*/ 0 w 3"/>
                    <a:gd name="T7" fmla="*/ 0 h 3"/>
                    <a:gd name="T8" fmla="*/ 3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3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81" name="Rectangle 131"/>
                <p:cNvSpPr>
                  <a:spLocks noChangeArrowheads="1"/>
                </p:cNvSpPr>
                <p:nvPr/>
              </p:nvSpPr>
              <p:spPr bwMode="auto">
                <a:xfrm>
                  <a:off x="4234663" y="3082683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82" name="Rectangle 132"/>
                <p:cNvSpPr>
                  <a:spLocks noChangeArrowheads="1"/>
                </p:cNvSpPr>
                <p:nvPr/>
              </p:nvSpPr>
              <p:spPr bwMode="auto">
                <a:xfrm>
                  <a:off x="4234663" y="3082683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83" name="Rectangle 133"/>
                <p:cNvSpPr>
                  <a:spLocks noChangeArrowheads="1"/>
                </p:cNvSpPr>
                <p:nvPr/>
              </p:nvSpPr>
              <p:spPr bwMode="auto">
                <a:xfrm>
                  <a:off x="4234663" y="3082683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84" name="Freeform 134"/>
                <p:cNvSpPr>
                  <a:spLocks/>
                </p:cNvSpPr>
                <p:nvPr/>
              </p:nvSpPr>
              <p:spPr bwMode="auto">
                <a:xfrm>
                  <a:off x="4234663" y="308268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85" name="Rectangle 135"/>
                <p:cNvSpPr>
                  <a:spLocks noChangeArrowheads="1"/>
                </p:cNvSpPr>
                <p:nvPr/>
              </p:nvSpPr>
              <p:spPr bwMode="auto">
                <a:xfrm>
                  <a:off x="4234663" y="3083673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86" name="Freeform 136"/>
                <p:cNvSpPr>
                  <a:spLocks/>
                </p:cNvSpPr>
                <p:nvPr/>
              </p:nvSpPr>
              <p:spPr bwMode="auto">
                <a:xfrm>
                  <a:off x="4235652" y="3076748"/>
                  <a:ext cx="4946" cy="6925"/>
                </a:xfrm>
                <a:custGeom>
                  <a:avLst/>
                  <a:gdLst>
                    <a:gd name="T0" fmla="*/ 0 w 5"/>
                    <a:gd name="T1" fmla="*/ 7 h 7"/>
                    <a:gd name="T2" fmla="*/ 0 w 5"/>
                    <a:gd name="T3" fmla="*/ 7 h 7"/>
                    <a:gd name="T4" fmla="*/ 2 w 5"/>
                    <a:gd name="T5" fmla="*/ 6 h 7"/>
                    <a:gd name="T6" fmla="*/ 3 w 5"/>
                    <a:gd name="T7" fmla="*/ 5 h 7"/>
                    <a:gd name="T8" fmla="*/ 5 w 5"/>
                    <a:gd name="T9" fmla="*/ 0 h 7"/>
                    <a:gd name="T10" fmla="*/ 5 w 5"/>
                    <a:gd name="T11" fmla="*/ 0 h 7"/>
                    <a:gd name="T12" fmla="*/ 3 w 5"/>
                    <a:gd name="T13" fmla="*/ 5 h 7"/>
                    <a:gd name="T14" fmla="*/ 2 w 5"/>
                    <a:gd name="T15" fmla="*/ 6 h 7"/>
                    <a:gd name="T16" fmla="*/ 0 w 5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7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6"/>
                      </a:lnTo>
                      <a:lnTo>
                        <a:pt x="3" y="5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3" y="5"/>
                      </a:lnTo>
                      <a:lnTo>
                        <a:pt x="2" y="6"/>
                      </a:lnTo>
                      <a:lnTo>
                        <a:pt x="0" y="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87" name="Freeform 137"/>
                <p:cNvSpPr>
                  <a:spLocks/>
                </p:cNvSpPr>
                <p:nvPr/>
              </p:nvSpPr>
              <p:spPr bwMode="auto">
                <a:xfrm>
                  <a:off x="4235652" y="308367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88" name="Freeform 138"/>
                <p:cNvSpPr>
                  <a:spLocks/>
                </p:cNvSpPr>
                <p:nvPr/>
              </p:nvSpPr>
              <p:spPr bwMode="auto">
                <a:xfrm>
                  <a:off x="4215867" y="3076748"/>
                  <a:ext cx="6925" cy="11871"/>
                </a:xfrm>
                <a:custGeom>
                  <a:avLst/>
                  <a:gdLst>
                    <a:gd name="T0" fmla="*/ 0 w 7"/>
                    <a:gd name="T1" fmla="*/ 12 h 12"/>
                    <a:gd name="T2" fmla="*/ 0 w 7"/>
                    <a:gd name="T3" fmla="*/ 12 h 12"/>
                    <a:gd name="T4" fmla="*/ 0 w 7"/>
                    <a:gd name="T5" fmla="*/ 12 h 12"/>
                    <a:gd name="T6" fmla="*/ 0 w 7"/>
                    <a:gd name="T7" fmla="*/ 12 h 12"/>
                    <a:gd name="T8" fmla="*/ 3 w 7"/>
                    <a:gd name="T9" fmla="*/ 10 h 12"/>
                    <a:gd name="T10" fmla="*/ 4 w 7"/>
                    <a:gd name="T11" fmla="*/ 6 h 12"/>
                    <a:gd name="T12" fmla="*/ 7 w 7"/>
                    <a:gd name="T13" fmla="*/ 0 h 12"/>
                    <a:gd name="T14" fmla="*/ 7 w 7"/>
                    <a:gd name="T15" fmla="*/ 0 h 12"/>
                    <a:gd name="T16" fmla="*/ 4 w 7"/>
                    <a:gd name="T17" fmla="*/ 6 h 12"/>
                    <a:gd name="T18" fmla="*/ 3 w 7"/>
                    <a:gd name="T19" fmla="*/ 10 h 12"/>
                    <a:gd name="T20" fmla="*/ 0 w 7"/>
                    <a:gd name="T21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12">
                      <a:moveTo>
                        <a:pt x="0" y="12"/>
                      </a:move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3" y="10"/>
                      </a:lnTo>
                      <a:lnTo>
                        <a:pt x="4" y="6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4" y="6"/>
                      </a:lnTo>
                      <a:lnTo>
                        <a:pt x="3" y="10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89" name="Freeform 139"/>
                <p:cNvSpPr>
                  <a:spLocks/>
                </p:cNvSpPr>
                <p:nvPr/>
              </p:nvSpPr>
              <p:spPr bwMode="auto">
                <a:xfrm>
                  <a:off x="4625421" y="2949133"/>
                  <a:ext cx="172131" cy="271057"/>
                </a:xfrm>
                <a:custGeom>
                  <a:avLst/>
                  <a:gdLst>
                    <a:gd name="T0" fmla="*/ 34 w 174"/>
                    <a:gd name="T1" fmla="*/ 267 h 274"/>
                    <a:gd name="T2" fmla="*/ 26 w 174"/>
                    <a:gd name="T3" fmla="*/ 254 h 274"/>
                    <a:gd name="T4" fmla="*/ 13 w 174"/>
                    <a:gd name="T5" fmla="*/ 239 h 274"/>
                    <a:gd name="T6" fmla="*/ 34 w 174"/>
                    <a:gd name="T7" fmla="*/ 228 h 274"/>
                    <a:gd name="T8" fmla="*/ 29 w 174"/>
                    <a:gd name="T9" fmla="*/ 221 h 274"/>
                    <a:gd name="T10" fmla="*/ 28 w 174"/>
                    <a:gd name="T11" fmla="*/ 197 h 274"/>
                    <a:gd name="T12" fmla="*/ 21 w 174"/>
                    <a:gd name="T13" fmla="*/ 181 h 274"/>
                    <a:gd name="T14" fmla="*/ 12 w 174"/>
                    <a:gd name="T15" fmla="*/ 173 h 274"/>
                    <a:gd name="T16" fmla="*/ 3 w 174"/>
                    <a:gd name="T17" fmla="*/ 161 h 274"/>
                    <a:gd name="T18" fmla="*/ 0 w 174"/>
                    <a:gd name="T19" fmla="*/ 154 h 274"/>
                    <a:gd name="T20" fmla="*/ 9 w 174"/>
                    <a:gd name="T21" fmla="*/ 136 h 274"/>
                    <a:gd name="T22" fmla="*/ 16 w 174"/>
                    <a:gd name="T23" fmla="*/ 118 h 274"/>
                    <a:gd name="T24" fmla="*/ 12 w 174"/>
                    <a:gd name="T25" fmla="*/ 77 h 274"/>
                    <a:gd name="T26" fmla="*/ 13 w 174"/>
                    <a:gd name="T27" fmla="*/ 68 h 274"/>
                    <a:gd name="T28" fmla="*/ 23 w 174"/>
                    <a:gd name="T29" fmla="*/ 50 h 274"/>
                    <a:gd name="T30" fmla="*/ 22 w 174"/>
                    <a:gd name="T31" fmla="*/ 47 h 274"/>
                    <a:gd name="T32" fmla="*/ 10 w 174"/>
                    <a:gd name="T33" fmla="*/ 8 h 274"/>
                    <a:gd name="T34" fmla="*/ 174 w 174"/>
                    <a:gd name="T35" fmla="*/ 64 h 274"/>
                    <a:gd name="T36" fmla="*/ 174 w 174"/>
                    <a:gd name="T37" fmla="*/ 119 h 274"/>
                    <a:gd name="T38" fmla="*/ 174 w 174"/>
                    <a:gd name="T39" fmla="*/ 119 h 274"/>
                    <a:gd name="T40" fmla="*/ 173 w 174"/>
                    <a:gd name="T41" fmla="*/ 121 h 274"/>
                    <a:gd name="T42" fmla="*/ 171 w 174"/>
                    <a:gd name="T43" fmla="*/ 122 h 274"/>
                    <a:gd name="T44" fmla="*/ 163 w 174"/>
                    <a:gd name="T45" fmla="*/ 116 h 274"/>
                    <a:gd name="T46" fmla="*/ 161 w 174"/>
                    <a:gd name="T47" fmla="*/ 116 h 274"/>
                    <a:gd name="T48" fmla="*/ 161 w 174"/>
                    <a:gd name="T49" fmla="*/ 116 h 274"/>
                    <a:gd name="T50" fmla="*/ 158 w 174"/>
                    <a:gd name="T51" fmla="*/ 116 h 274"/>
                    <a:gd name="T52" fmla="*/ 158 w 174"/>
                    <a:gd name="T53" fmla="*/ 116 h 274"/>
                    <a:gd name="T54" fmla="*/ 155 w 174"/>
                    <a:gd name="T55" fmla="*/ 125 h 274"/>
                    <a:gd name="T56" fmla="*/ 149 w 174"/>
                    <a:gd name="T57" fmla="*/ 134 h 274"/>
                    <a:gd name="T58" fmla="*/ 138 w 174"/>
                    <a:gd name="T59" fmla="*/ 150 h 274"/>
                    <a:gd name="T60" fmla="*/ 135 w 174"/>
                    <a:gd name="T61" fmla="*/ 168 h 274"/>
                    <a:gd name="T62" fmla="*/ 135 w 174"/>
                    <a:gd name="T63" fmla="*/ 178 h 274"/>
                    <a:gd name="T64" fmla="*/ 138 w 174"/>
                    <a:gd name="T65" fmla="*/ 180 h 274"/>
                    <a:gd name="T66" fmla="*/ 155 w 174"/>
                    <a:gd name="T67" fmla="*/ 200 h 274"/>
                    <a:gd name="T68" fmla="*/ 155 w 174"/>
                    <a:gd name="T69" fmla="*/ 200 h 274"/>
                    <a:gd name="T70" fmla="*/ 155 w 174"/>
                    <a:gd name="T71" fmla="*/ 200 h 274"/>
                    <a:gd name="T72" fmla="*/ 155 w 174"/>
                    <a:gd name="T73" fmla="*/ 205 h 274"/>
                    <a:gd name="T74" fmla="*/ 151 w 174"/>
                    <a:gd name="T75" fmla="*/ 212 h 274"/>
                    <a:gd name="T76" fmla="*/ 138 w 174"/>
                    <a:gd name="T77" fmla="*/ 225 h 274"/>
                    <a:gd name="T78" fmla="*/ 109 w 174"/>
                    <a:gd name="T79" fmla="*/ 235 h 274"/>
                    <a:gd name="T80" fmla="*/ 96 w 174"/>
                    <a:gd name="T81" fmla="*/ 236 h 274"/>
                    <a:gd name="T82" fmla="*/ 93 w 174"/>
                    <a:gd name="T83" fmla="*/ 244 h 274"/>
                    <a:gd name="T84" fmla="*/ 86 w 174"/>
                    <a:gd name="T85" fmla="*/ 249 h 274"/>
                    <a:gd name="T86" fmla="*/ 74 w 174"/>
                    <a:gd name="T87" fmla="*/ 252 h 274"/>
                    <a:gd name="T88" fmla="*/ 45 w 174"/>
                    <a:gd name="T89" fmla="*/ 267 h 274"/>
                    <a:gd name="T90" fmla="*/ 32 w 174"/>
                    <a:gd name="T91" fmla="*/ 274 h 2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74" h="274">
                      <a:moveTo>
                        <a:pt x="32" y="274"/>
                      </a:moveTo>
                      <a:lnTo>
                        <a:pt x="32" y="274"/>
                      </a:lnTo>
                      <a:lnTo>
                        <a:pt x="34" y="267"/>
                      </a:lnTo>
                      <a:lnTo>
                        <a:pt x="32" y="261"/>
                      </a:lnTo>
                      <a:lnTo>
                        <a:pt x="32" y="261"/>
                      </a:lnTo>
                      <a:lnTo>
                        <a:pt x="26" y="254"/>
                      </a:lnTo>
                      <a:lnTo>
                        <a:pt x="21" y="248"/>
                      </a:lnTo>
                      <a:lnTo>
                        <a:pt x="16" y="242"/>
                      </a:lnTo>
                      <a:lnTo>
                        <a:pt x="13" y="239"/>
                      </a:lnTo>
                      <a:lnTo>
                        <a:pt x="13" y="235"/>
                      </a:lnTo>
                      <a:lnTo>
                        <a:pt x="13" y="228"/>
                      </a:lnTo>
                      <a:lnTo>
                        <a:pt x="34" y="228"/>
                      </a:lnTo>
                      <a:lnTo>
                        <a:pt x="34" y="228"/>
                      </a:lnTo>
                      <a:lnTo>
                        <a:pt x="31" y="225"/>
                      </a:lnTo>
                      <a:lnTo>
                        <a:pt x="29" y="221"/>
                      </a:lnTo>
                      <a:lnTo>
                        <a:pt x="28" y="215"/>
                      </a:lnTo>
                      <a:lnTo>
                        <a:pt x="28" y="215"/>
                      </a:lnTo>
                      <a:lnTo>
                        <a:pt x="28" y="197"/>
                      </a:lnTo>
                      <a:lnTo>
                        <a:pt x="26" y="189"/>
                      </a:lnTo>
                      <a:lnTo>
                        <a:pt x="23" y="184"/>
                      </a:lnTo>
                      <a:lnTo>
                        <a:pt x="21" y="181"/>
                      </a:lnTo>
                      <a:lnTo>
                        <a:pt x="21" y="181"/>
                      </a:lnTo>
                      <a:lnTo>
                        <a:pt x="12" y="173"/>
                      </a:lnTo>
                      <a:lnTo>
                        <a:pt x="12" y="173"/>
                      </a:lnTo>
                      <a:lnTo>
                        <a:pt x="12" y="173"/>
                      </a:lnTo>
                      <a:lnTo>
                        <a:pt x="3" y="161"/>
                      </a:lnTo>
                      <a:lnTo>
                        <a:pt x="3" y="161"/>
                      </a:lnTo>
                      <a:lnTo>
                        <a:pt x="2" y="158"/>
                      </a:lnTo>
                      <a:lnTo>
                        <a:pt x="0" y="154"/>
                      </a:lnTo>
                      <a:lnTo>
                        <a:pt x="0" y="154"/>
                      </a:lnTo>
                      <a:lnTo>
                        <a:pt x="0" y="154"/>
                      </a:lnTo>
                      <a:lnTo>
                        <a:pt x="3" y="147"/>
                      </a:lnTo>
                      <a:lnTo>
                        <a:pt x="9" y="136"/>
                      </a:lnTo>
                      <a:lnTo>
                        <a:pt x="13" y="126"/>
                      </a:lnTo>
                      <a:lnTo>
                        <a:pt x="16" y="118"/>
                      </a:lnTo>
                      <a:lnTo>
                        <a:pt x="16" y="118"/>
                      </a:lnTo>
                      <a:lnTo>
                        <a:pt x="13" y="100"/>
                      </a:lnTo>
                      <a:lnTo>
                        <a:pt x="12" y="77"/>
                      </a:lnTo>
                      <a:lnTo>
                        <a:pt x="12" y="77"/>
                      </a:lnTo>
                      <a:lnTo>
                        <a:pt x="12" y="73"/>
                      </a:lnTo>
                      <a:lnTo>
                        <a:pt x="13" y="68"/>
                      </a:lnTo>
                      <a:lnTo>
                        <a:pt x="13" y="68"/>
                      </a:lnTo>
                      <a:lnTo>
                        <a:pt x="19" y="60"/>
                      </a:lnTo>
                      <a:lnTo>
                        <a:pt x="22" y="54"/>
                      </a:lnTo>
                      <a:lnTo>
                        <a:pt x="23" y="50"/>
                      </a:lnTo>
                      <a:lnTo>
                        <a:pt x="23" y="50"/>
                      </a:lnTo>
                      <a:lnTo>
                        <a:pt x="22" y="47"/>
                      </a:lnTo>
                      <a:lnTo>
                        <a:pt x="22" y="47"/>
                      </a:lnTo>
                      <a:lnTo>
                        <a:pt x="18" y="31"/>
                      </a:lnTo>
                      <a:lnTo>
                        <a:pt x="13" y="21"/>
                      </a:lnTo>
                      <a:lnTo>
                        <a:pt x="10" y="8"/>
                      </a:lnTo>
                      <a:lnTo>
                        <a:pt x="31" y="0"/>
                      </a:lnTo>
                      <a:lnTo>
                        <a:pt x="174" y="64"/>
                      </a:lnTo>
                      <a:lnTo>
                        <a:pt x="174" y="64"/>
                      </a:lnTo>
                      <a:lnTo>
                        <a:pt x="174" y="71"/>
                      </a:lnTo>
                      <a:lnTo>
                        <a:pt x="174" y="71"/>
                      </a:lnTo>
                      <a:lnTo>
                        <a:pt x="174" y="119"/>
                      </a:lnTo>
                      <a:lnTo>
                        <a:pt x="174" y="119"/>
                      </a:lnTo>
                      <a:lnTo>
                        <a:pt x="174" y="119"/>
                      </a:lnTo>
                      <a:lnTo>
                        <a:pt x="174" y="119"/>
                      </a:lnTo>
                      <a:lnTo>
                        <a:pt x="174" y="119"/>
                      </a:lnTo>
                      <a:lnTo>
                        <a:pt x="174" y="119"/>
                      </a:lnTo>
                      <a:lnTo>
                        <a:pt x="173" y="121"/>
                      </a:lnTo>
                      <a:lnTo>
                        <a:pt x="171" y="122"/>
                      </a:lnTo>
                      <a:lnTo>
                        <a:pt x="171" y="122"/>
                      </a:lnTo>
                      <a:lnTo>
                        <a:pt x="171" y="122"/>
                      </a:lnTo>
                      <a:lnTo>
                        <a:pt x="167" y="119"/>
                      </a:lnTo>
                      <a:lnTo>
                        <a:pt x="163" y="116"/>
                      </a:lnTo>
                      <a:lnTo>
                        <a:pt x="163" y="116"/>
                      </a:lnTo>
                      <a:lnTo>
                        <a:pt x="161" y="116"/>
                      </a:lnTo>
                      <a:lnTo>
                        <a:pt x="161" y="116"/>
                      </a:lnTo>
                      <a:lnTo>
                        <a:pt x="161" y="116"/>
                      </a:lnTo>
                      <a:lnTo>
                        <a:pt x="161" y="116"/>
                      </a:lnTo>
                      <a:lnTo>
                        <a:pt x="161" y="116"/>
                      </a:lnTo>
                      <a:lnTo>
                        <a:pt x="161" y="116"/>
                      </a:lnTo>
                      <a:lnTo>
                        <a:pt x="161" y="116"/>
                      </a:lnTo>
                      <a:lnTo>
                        <a:pt x="161" y="116"/>
                      </a:lnTo>
                      <a:lnTo>
                        <a:pt x="158" y="116"/>
                      </a:lnTo>
                      <a:lnTo>
                        <a:pt x="158" y="116"/>
                      </a:lnTo>
                      <a:lnTo>
                        <a:pt x="158" y="116"/>
                      </a:lnTo>
                      <a:lnTo>
                        <a:pt x="158" y="116"/>
                      </a:lnTo>
                      <a:lnTo>
                        <a:pt x="157" y="116"/>
                      </a:lnTo>
                      <a:lnTo>
                        <a:pt x="155" y="119"/>
                      </a:lnTo>
                      <a:lnTo>
                        <a:pt x="155" y="125"/>
                      </a:lnTo>
                      <a:lnTo>
                        <a:pt x="155" y="125"/>
                      </a:lnTo>
                      <a:lnTo>
                        <a:pt x="152" y="129"/>
                      </a:lnTo>
                      <a:lnTo>
                        <a:pt x="149" y="134"/>
                      </a:lnTo>
                      <a:lnTo>
                        <a:pt x="141" y="144"/>
                      </a:lnTo>
                      <a:lnTo>
                        <a:pt x="141" y="144"/>
                      </a:lnTo>
                      <a:lnTo>
                        <a:pt x="138" y="150"/>
                      </a:lnTo>
                      <a:lnTo>
                        <a:pt x="136" y="157"/>
                      </a:lnTo>
                      <a:lnTo>
                        <a:pt x="135" y="168"/>
                      </a:lnTo>
                      <a:lnTo>
                        <a:pt x="135" y="168"/>
                      </a:lnTo>
                      <a:lnTo>
                        <a:pt x="134" y="174"/>
                      </a:lnTo>
                      <a:lnTo>
                        <a:pt x="134" y="174"/>
                      </a:lnTo>
                      <a:lnTo>
                        <a:pt x="135" y="178"/>
                      </a:lnTo>
                      <a:lnTo>
                        <a:pt x="136" y="180"/>
                      </a:lnTo>
                      <a:lnTo>
                        <a:pt x="138" y="180"/>
                      </a:lnTo>
                      <a:lnTo>
                        <a:pt x="138" y="180"/>
                      </a:lnTo>
                      <a:lnTo>
                        <a:pt x="142" y="183"/>
                      </a:lnTo>
                      <a:lnTo>
                        <a:pt x="147" y="187"/>
                      </a:lnTo>
                      <a:lnTo>
                        <a:pt x="155" y="200"/>
                      </a:lnTo>
                      <a:lnTo>
                        <a:pt x="155" y="200"/>
                      </a:lnTo>
                      <a:lnTo>
                        <a:pt x="155" y="200"/>
                      </a:lnTo>
                      <a:lnTo>
                        <a:pt x="155" y="200"/>
                      </a:lnTo>
                      <a:lnTo>
                        <a:pt x="155" y="200"/>
                      </a:lnTo>
                      <a:lnTo>
                        <a:pt x="155" y="200"/>
                      </a:lnTo>
                      <a:lnTo>
                        <a:pt x="155" y="200"/>
                      </a:lnTo>
                      <a:lnTo>
                        <a:pt x="155" y="205"/>
                      </a:lnTo>
                      <a:lnTo>
                        <a:pt x="155" y="205"/>
                      </a:lnTo>
                      <a:lnTo>
                        <a:pt x="155" y="205"/>
                      </a:lnTo>
                      <a:lnTo>
                        <a:pt x="155" y="205"/>
                      </a:lnTo>
                      <a:lnTo>
                        <a:pt x="154" y="209"/>
                      </a:lnTo>
                      <a:lnTo>
                        <a:pt x="151" y="212"/>
                      </a:lnTo>
                      <a:lnTo>
                        <a:pt x="145" y="219"/>
                      </a:lnTo>
                      <a:lnTo>
                        <a:pt x="145" y="219"/>
                      </a:lnTo>
                      <a:lnTo>
                        <a:pt x="138" y="225"/>
                      </a:lnTo>
                      <a:lnTo>
                        <a:pt x="129" y="229"/>
                      </a:lnTo>
                      <a:lnTo>
                        <a:pt x="119" y="234"/>
                      </a:lnTo>
                      <a:lnTo>
                        <a:pt x="109" y="235"/>
                      </a:lnTo>
                      <a:lnTo>
                        <a:pt x="109" y="235"/>
                      </a:lnTo>
                      <a:lnTo>
                        <a:pt x="102" y="235"/>
                      </a:lnTo>
                      <a:lnTo>
                        <a:pt x="96" y="236"/>
                      </a:lnTo>
                      <a:lnTo>
                        <a:pt x="94" y="239"/>
                      </a:lnTo>
                      <a:lnTo>
                        <a:pt x="93" y="244"/>
                      </a:lnTo>
                      <a:lnTo>
                        <a:pt x="93" y="244"/>
                      </a:lnTo>
                      <a:lnTo>
                        <a:pt x="93" y="247"/>
                      </a:lnTo>
                      <a:lnTo>
                        <a:pt x="92" y="248"/>
                      </a:lnTo>
                      <a:lnTo>
                        <a:pt x="86" y="249"/>
                      </a:lnTo>
                      <a:lnTo>
                        <a:pt x="80" y="251"/>
                      </a:lnTo>
                      <a:lnTo>
                        <a:pt x="74" y="252"/>
                      </a:lnTo>
                      <a:lnTo>
                        <a:pt x="74" y="252"/>
                      </a:lnTo>
                      <a:lnTo>
                        <a:pt x="63" y="260"/>
                      </a:lnTo>
                      <a:lnTo>
                        <a:pt x="54" y="264"/>
                      </a:lnTo>
                      <a:lnTo>
                        <a:pt x="45" y="267"/>
                      </a:lnTo>
                      <a:lnTo>
                        <a:pt x="45" y="267"/>
                      </a:lnTo>
                      <a:lnTo>
                        <a:pt x="39" y="270"/>
                      </a:lnTo>
                      <a:lnTo>
                        <a:pt x="32" y="27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90" name="Freeform 140"/>
                <p:cNvSpPr>
                  <a:spLocks/>
                </p:cNvSpPr>
                <p:nvPr/>
              </p:nvSpPr>
              <p:spPr bwMode="auto">
                <a:xfrm>
                  <a:off x="4625421" y="2949133"/>
                  <a:ext cx="172131" cy="271057"/>
                </a:xfrm>
                <a:custGeom>
                  <a:avLst/>
                  <a:gdLst>
                    <a:gd name="T0" fmla="*/ 34 w 174"/>
                    <a:gd name="T1" fmla="*/ 267 h 274"/>
                    <a:gd name="T2" fmla="*/ 26 w 174"/>
                    <a:gd name="T3" fmla="*/ 254 h 274"/>
                    <a:gd name="T4" fmla="*/ 13 w 174"/>
                    <a:gd name="T5" fmla="*/ 239 h 274"/>
                    <a:gd name="T6" fmla="*/ 34 w 174"/>
                    <a:gd name="T7" fmla="*/ 228 h 274"/>
                    <a:gd name="T8" fmla="*/ 29 w 174"/>
                    <a:gd name="T9" fmla="*/ 221 h 274"/>
                    <a:gd name="T10" fmla="*/ 28 w 174"/>
                    <a:gd name="T11" fmla="*/ 197 h 274"/>
                    <a:gd name="T12" fmla="*/ 21 w 174"/>
                    <a:gd name="T13" fmla="*/ 181 h 274"/>
                    <a:gd name="T14" fmla="*/ 12 w 174"/>
                    <a:gd name="T15" fmla="*/ 173 h 274"/>
                    <a:gd name="T16" fmla="*/ 3 w 174"/>
                    <a:gd name="T17" fmla="*/ 161 h 274"/>
                    <a:gd name="T18" fmla="*/ 0 w 174"/>
                    <a:gd name="T19" fmla="*/ 154 h 274"/>
                    <a:gd name="T20" fmla="*/ 9 w 174"/>
                    <a:gd name="T21" fmla="*/ 136 h 274"/>
                    <a:gd name="T22" fmla="*/ 16 w 174"/>
                    <a:gd name="T23" fmla="*/ 118 h 274"/>
                    <a:gd name="T24" fmla="*/ 12 w 174"/>
                    <a:gd name="T25" fmla="*/ 77 h 274"/>
                    <a:gd name="T26" fmla="*/ 13 w 174"/>
                    <a:gd name="T27" fmla="*/ 68 h 274"/>
                    <a:gd name="T28" fmla="*/ 23 w 174"/>
                    <a:gd name="T29" fmla="*/ 50 h 274"/>
                    <a:gd name="T30" fmla="*/ 22 w 174"/>
                    <a:gd name="T31" fmla="*/ 47 h 274"/>
                    <a:gd name="T32" fmla="*/ 10 w 174"/>
                    <a:gd name="T33" fmla="*/ 8 h 274"/>
                    <a:gd name="T34" fmla="*/ 174 w 174"/>
                    <a:gd name="T35" fmla="*/ 64 h 274"/>
                    <a:gd name="T36" fmla="*/ 174 w 174"/>
                    <a:gd name="T37" fmla="*/ 119 h 274"/>
                    <a:gd name="T38" fmla="*/ 174 w 174"/>
                    <a:gd name="T39" fmla="*/ 119 h 274"/>
                    <a:gd name="T40" fmla="*/ 173 w 174"/>
                    <a:gd name="T41" fmla="*/ 121 h 274"/>
                    <a:gd name="T42" fmla="*/ 171 w 174"/>
                    <a:gd name="T43" fmla="*/ 122 h 274"/>
                    <a:gd name="T44" fmla="*/ 163 w 174"/>
                    <a:gd name="T45" fmla="*/ 116 h 274"/>
                    <a:gd name="T46" fmla="*/ 161 w 174"/>
                    <a:gd name="T47" fmla="*/ 116 h 274"/>
                    <a:gd name="T48" fmla="*/ 161 w 174"/>
                    <a:gd name="T49" fmla="*/ 116 h 274"/>
                    <a:gd name="T50" fmla="*/ 158 w 174"/>
                    <a:gd name="T51" fmla="*/ 116 h 274"/>
                    <a:gd name="T52" fmla="*/ 158 w 174"/>
                    <a:gd name="T53" fmla="*/ 116 h 274"/>
                    <a:gd name="T54" fmla="*/ 155 w 174"/>
                    <a:gd name="T55" fmla="*/ 125 h 274"/>
                    <a:gd name="T56" fmla="*/ 149 w 174"/>
                    <a:gd name="T57" fmla="*/ 134 h 274"/>
                    <a:gd name="T58" fmla="*/ 138 w 174"/>
                    <a:gd name="T59" fmla="*/ 150 h 274"/>
                    <a:gd name="T60" fmla="*/ 135 w 174"/>
                    <a:gd name="T61" fmla="*/ 168 h 274"/>
                    <a:gd name="T62" fmla="*/ 135 w 174"/>
                    <a:gd name="T63" fmla="*/ 178 h 274"/>
                    <a:gd name="T64" fmla="*/ 138 w 174"/>
                    <a:gd name="T65" fmla="*/ 180 h 274"/>
                    <a:gd name="T66" fmla="*/ 155 w 174"/>
                    <a:gd name="T67" fmla="*/ 200 h 274"/>
                    <a:gd name="T68" fmla="*/ 155 w 174"/>
                    <a:gd name="T69" fmla="*/ 200 h 274"/>
                    <a:gd name="T70" fmla="*/ 155 w 174"/>
                    <a:gd name="T71" fmla="*/ 200 h 274"/>
                    <a:gd name="T72" fmla="*/ 155 w 174"/>
                    <a:gd name="T73" fmla="*/ 205 h 274"/>
                    <a:gd name="T74" fmla="*/ 151 w 174"/>
                    <a:gd name="T75" fmla="*/ 212 h 274"/>
                    <a:gd name="T76" fmla="*/ 138 w 174"/>
                    <a:gd name="T77" fmla="*/ 225 h 274"/>
                    <a:gd name="T78" fmla="*/ 109 w 174"/>
                    <a:gd name="T79" fmla="*/ 235 h 274"/>
                    <a:gd name="T80" fmla="*/ 96 w 174"/>
                    <a:gd name="T81" fmla="*/ 236 h 274"/>
                    <a:gd name="T82" fmla="*/ 93 w 174"/>
                    <a:gd name="T83" fmla="*/ 244 h 274"/>
                    <a:gd name="T84" fmla="*/ 86 w 174"/>
                    <a:gd name="T85" fmla="*/ 249 h 274"/>
                    <a:gd name="T86" fmla="*/ 74 w 174"/>
                    <a:gd name="T87" fmla="*/ 252 h 274"/>
                    <a:gd name="T88" fmla="*/ 45 w 174"/>
                    <a:gd name="T89" fmla="*/ 267 h 274"/>
                    <a:gd name="T90" fmla="*/ 32 w 174"/>
                    <a:gd name="T91" fmla="*/ 274 h 2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74" h="274">
                      <a:moveTo>
                        <a:pt x="32" y="274"/>
                      </a:moveTo>
                      <a:lnTo>
                        <a:pt x="32" y="274"/>
                      </a:lnTo>
                      <a:lnTo>
                        <a:pt x="34" y="267"/>
                      </a:lnTo>
                      <a:lnTo>
                        <a:pt x="32" y="261"/>
                      </a:lnTo>
                      <a:lnTo>
                        <a:pt x="32" y="261"/>
                      </a:lnTo>
                      <a:lnTo>
                        <a:pt x="26" y="254"/>
                      </a:lnTo>
                      <a:lnTo>
                        <a:pt x="21" y="248"/>
                      </a:lnTo>
                      <a:lnTo>
                        <a:pt x="16" y="242"/>
                      </a:lnTo>
                      <a:lnTo>
                        <a:pt x="13" y="239"/>
                      </a:lnTo>
                      <a:lnTo>
                        <a:pt x="13" y="235"/>
                      </a:lnTo>
                      <a:lnTo>
                        <a:pt x="13" y="228"/>
                      </a:lnTo>
                      <a:lnTo>
                        <a:pt x="34" y="228"/>
                      </a:lnTo>
                      <a:lnTo>
                        <a:pt x="34" y="228"/>
                      </a:lnTo>
                      <a:lnTo>
                        <a:pt x="31" y="225"/>
                      </a:lnTo>
                      <a:lnTo>
                        <a:pt x="29" y="221"/>
                      </a:lnTo>
                      <a:lnTo>
                        <a:pt x="28" y="215"/>
                      </a:lnTo>
                      <a:lnTo>
                        <a:pt x="28" y="215"/>
                      </a:lnTo>
                      <a:lnTo>
                        <a:pt x="28" y="197"/>
                      </a:lnTo>
                      <a:lnTo>
                        <a:pt x="26" y="189"/>
                      </a:lnTo>
                      <a:lnTo>
                        <a:pt x="23" y="184"/>
                      </a:lnTo>
                      <a:lnTo>
                        <a:pt x="21" y="181"/>
                      </a:lnTo>
                      <a:lnTo>
                        <a:pt x="21" y="181"/>
                      </a:lnTo>
                      <a:lnTo>
                        <a:pt x="12" y="173"/>
                      </a:lnTo>
                      <a:lnTo>
                        <a:pt x="12" y="173"/>
                      </a:lnTo>
                      <a:lnTo>
                        <a:pt x="12" y="173"/>
                      </a:lnTo>
                      <a:lnTo>
                        <a:pt x="3" y="161"/>
                      </a:lnTo>
                      <a:lnTo>
                        <a:pt x="3" y="161"/>
                      </a:lnTo>
                      <a:lnTo>
                        <a:pt x="2" y="158"/>
                      </a:lnTo>
                      <a:lnTo>
                        <a:pt x="0" y="154"/>
                      </a:lnTo>
                      <a:lnTo>
                        <a:pt x="0" y="154"/>
                      </a:lnTo>
                      <a:lnTo>
                        <a:pt x="0" y="154"/>
                      </a:lnTo>
                      <a:lnTo>
                        <a:pt x="3" y="147"/>
                      </a:lnTo>
                      <a:lnTo>
                        <a:pt x="9" y="136"/>
                      </a:lnTo>
                      <a:lnTo>
                        <a:pt x="13" y="126"/>
                      </a:lnTo>
                      <a:lnTo>
                        <a:pt x="16" y="118"/>
                      </a:lnTo>
                      <a:lnTo>
                        <a:pt x="16" y="118"/>
                      </a:lnTo>
                      <a:lnTo>
                        <a:pt x="13" y="100"/>
                      </a:lnTo>
                      <a:lnTo>
                        <a:pt x="12" y="77"/>
                      </a:lnTo>
                      <a:lnTo>
                        <a:pt x="12" y="77"/>
                      </a:lnTo>
                      <a:lnTo>
                        <a:pt x="12" y="73"/>
                      </a:lnTo>
                      <a:lnTo>
                        <a:pt x="13" y="68"/>
                      </a:lnTo>
                      <a:lnTo>
                        <a:pt x="13" y="68"/>
                      </a:lnTo>
                      <a:lnTo>
                        <a:pt x="19" y="60"/>
                      </a:lnTo>
                      <a:lnTo>
                        <a:pt x="22" y="54"/>
                      </a:lnTo>
                      <a:lnTo>
                        <a:pt x="23" y="50"/>
                      </a:lnTo>
                      <a:lnTo>
                        <a:pt x="23" y="50"/>
                      </a:lnTo>
                      <a:lnTo>
                        <a:pt x="22" y="47"/>
                      </a:lnTo>
                      <a:lnTo>
                        <a:pt x="22" y="47"/>
                      </a:lnTo>
                      <a:lnTo>
                        <a:pt x="18" y="31"/>
                      </a:lnTo>
                      <a:lnTo>
                        <a:pt x="13" y="21"/>
                      </a:lnTo>
                      <a:lnTo>
                        <a:pt x="10" y="8"/>
                      </a:lnTo>
                      <a:lnTo>
                        <a:pt x="31" y="0"/>
                      </a:lnTo>
                      <a:lnTo>
                        <a:pt x="174" y="64"/>
                      </a:lnTo>
                      <a:lnTo>
                        <a:pt x="174" y="64"/>
                      </a:lnTo>
                      <a:lnTo>
                        <a:pt x="174" y="71"/>
                      </a:lnTo>
                      <a:lnTo>
                        <a:pt x="174" y="71"/>
                      </a:lnTo>
                      <a:lnTo>
                        <a:pt x="174" y="119"/>
                      </a:lnTo>
                      <a:lnTo>
                        <a:pt x="174" y="119"/>
                      </a:lnTo>
                      <a:lnTo>
                        <a:pt x="174" y="119"/>
                      </a:lnTo>
                      <a:lnTo>
                        <a:pt x="174" y="119"/>
                      </a:lnTo>
                      <a:lnTo>
                        <a:pt x="174" y="119"/>
                      </a:lnTo>
                      <a:lnTo>
                        <a:pt x="174" y="119"/>
                      </a:lnTo>
                      <a:lnTo>
                        <a:pt x="173" y="121"/>
                      </a:lnTo>
                      <a:lnTo>
                        <a:pt x="171" y="122"/>
                      </a:lnTo>
                      <a:lnTo>
                        <a:pt x="171" y="122"/>
                      </a:lnTo>
                      <a:lnTo>
                        <a:pt x="171" y="122"/>
                      </a:lnTo>
                      <a:lnTo>
                        <a:pt x="167" y="119"/>
                      </a:lnTo>
                      <a:lnTo>
                        <a:pt x="163" y="116"/>
                      </a:lnTo>
                      <a:lnTo>
                        <a:pt x="163" y="116"/>
                      </a:lnTo>
                      <a:lnTo>
                        <a:pt x="161" y="116"/>
                      </a:lnTo>
                      <a:lnTo>
                        <a:pt x="161" y="116"/>
                      </a:lnTo>
                      <a:lnTo>
                        <a:pt x="161" y="116"/>
                      </a:lnTo>
                      <a:lnTo>
                        <a:pt x="161" y="116"/>
                      </a:lnTo>
                      <a:lnTo>
                        <a:pt x="161" y="116"/>
                      </a:lnTo>
                      <a:lnTo>
                        <a:pt x="161" y="116"/>
                      </a:lnTo>
                      <a:lnTo>
                        <a:pt x="161" y="116"/>
                      </a:lnTo>
                      <a:lnTo>
                        <a:pt x="161" y="116"/>
                      </a:lnTo>
                      <a:lnTo>
                        <a:pt x="158" y="116"/>
                      </a:lnTo>
                      <a:lnTo>
                        <a:pt x="158" y="116"/>
                      </a:lnTo>
                      <a:lnTo>
                        <a:pt x="158" y="116"/>
                      </a:lnTo>
                      <a:lnTo>
                        <a:pt x="158" y="116"/>
                      </a:lnTo>
                      <a:lnTo>
                        <a:pt x="157" y="116"/>
                      </a:lnTo>
                      <a:lnTo>
                        <a:pt x="155" y="119"/>
                      </a:lnTo>
                      <a:lnTo>
                        <a:pt x="155" y="125"/>
                      </a:lnTo>
                      <a:lnTo>
                        <a:pt x="155" y="125"/>
                      </a:lnTo>
                      <a:lnTo>
                        <a:pt x="152" y="129"/>
                      </a:lnTo>
                      <a:lnTo>
                        <a:pt x="149" y="134"/>
                      </a:lnTo>
                      <a:lnTo>
                        <a:pt x="141" y="144"/>
                      </a:lnTo>
                      <a:lnTo>
                        <a:pt x="141" y="144"/>
                      </a:lnTo>
                      <a:lnTo>
                        <a:pt x="138" y="150"/>
                      </a:lnTo>
                      <a:lnTo>
                        <a:pt x="136" y="157"/>
                      </a:lnTo>
                      <a:lnTo>
                        <a:pt x="135" y="168"/>
                      </a:lnTo>
                      <a:lnTo>
                        <a:pt x="135" y="168"/>
                      </a:lnTo>
                      <a:lnTo>
                        <a:pt x="134" y="174"/>
                      </a:lnTo>
                      <a:lnTo>
                        <a:pt x="134" y="174"/>
                      </a:lnTo>
                      <a:lnTo>
                        <a:pt x="135" y="178"/>
                      </a:lnTo>
                      <a:lnTo>
                        <a:pt x="136" y="180"/>
                      </a:lnTo>
                      <a:lnTo>
                        <a:pt x="138" y="180"/>
                      </a:lnTo>
                      <a:lnTo>
                        <a:pt x="138" y="180"/>
                      </a:lnTo>
                      <a:lnTo>
                        <a:pt x="142" y="183"/>
                      </a:lnTo>
                      <a:lnTo>
                        <a:pt x="147" y="187"/>
                      </a:lnTo>
                      <a:lnTo>
                        <a:pt x="155" y="200"/>
                      </a:lnTo>
                      <a:lnTo>
                        <a:pt x="155" y="200"/>
                      </a:lnTo>
                      <a:lnTo>
                        <a:pt x="155" y="200"/>
                      </a:lnTo>
                      <a:lnTo>
                        <a:pt x="155" y="200"/>
                      </a:lnTo>
                      <a:lnTo>
                        <a:pt x="155" y="200"/>
                      </a:lnTo>
                      <a:lnTo>
                        <a:pt x="155" y="200"/>
                      </a:lnTo>
                      <a:lnTo>
                        <a:pt x="155" y="200"/>
                      </a:lnTo>
                      <a:lnTo>
                        <a:pt x="155" y="205"/>
                      </a:lnTo>
                      <a:lnTo>
                        <a:pt x="155" y="205"/>
                      </a:lnTo>
                      <a:lnTo>
                        <a:pt x="155" y="205"/>
                      </a:lnTo>
                      <a:lnTo>
                        <a:pt x="155" y="205"/>
                      </a:lnTo>
                      <a:lnTo>
                        <a:pt x="154" y="209"/>
                      </a:lnTo>
                      <a:lnTo>
                        <a:pt x="151" y="212"/>
                      </a:lnTo>
                      <a:lnTo>
                        <a:pt x="145" y="219"/>
                      </a:lnTo>
                      <a:lnTo>
                        <a:pt x="145" y="219"/>
                      </a:lnTo>
                      <a:lnTo>
                        <a:pt x="138" y="225"/>
                      </a:lnTo>
                      <a:lnTo>
                        <a:pt x="129" y="229"/>
                      </a:lnTo>
                      <a:lnTo>
                        <a:pt x="119" y="234"/>
                      </a:lnTo>
                      <a:lnTo>
                        <a:pt x="109" y="235"/>
                      </a:lnTo>
                      <a:lnTo>
                        <a:pt x="109" y="235"/>
                      </a:lnTo>
                      <a:lnTo>
                        <a:pt x="102" y="235"/>
                      </a:lnTo>
                      <a:lnTo>
                        <a:pt x="96" y="236"/>
                      </a:lnTo>
                      <a:lnTo>
                        <a:pt x="94" y="239"/>
                      </a:lnTo>
                      <a:lnTo>
                        <a:pt x="93" y="244"/>
                      </a:lnTo>
                      <a:lnTo>
                        <a:pt x="93" y="244"/>
                      </a:lnTo>
                      <a:lnTo>
                        <a:pt x="93" y="247"/>
                      </a:lnTo>
                      <a:lnTo>
                        <a:pt x="92" y="248"/>
                      </a:lnTo>
                      <a:lnTo>
                        <a:pt x="86" y="249"/>
                      </a:lnTo>
                      <a:lnTo>
                        <a:pt x="80" y="251"/>
                      </a:lnTo>
                      <a:lnTo>
                        <a:pt x="74" y="252"/>
                      </a:lnTo>
                      <a:lnTo>
                        <a:pt x="74" y="252"/>
                      </a:lnTo>
                      <a:lnTo>
                        <a:pt x="63" y="260"/>
                      </a:lnTo>
                      <a:lnTo>
                        <a:pt x="54" y="264"/>
                      </a:lnTo>
                      <a:lnTo>
                        <a:pt x="45" y="267"/>
                      </a:lnTo>
                      <a:lnTo>
                        <a:pt x="45" y="267"/>
                      </a:lnTo>
                      <a:lnTo>
                        <a:pt x="39" y="270"/>
                      </a:lnTo>
                      <a:lnTo>
                        <a:pt x="32" y="27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91" name="Freeform 141"/>
                <p:cNvSpPr>
                  <a:spLocks/>
                </p:cNvSpPr>
                <p:nvPr/>
              </p:nvSpPr>
              <p:spPr bwMode="auto">
                <a:xfrm>
                  <a:off x="4555183" y="3297353"/>
                  <a:ext cx="89033" cy="85076"/>
                </a:xfrm>
                <a:custGeom>
                  <a:avLst/>
                  <a:gdLst>
                    <a:gd name="T0" fmla="*/ 28 w 90"/>
                    <a:gd name="T1" fmla="*/ 86 h 86"/>
                    <a:gd name="T2" fmla="*/ 26 w 90"/>
                    <a:gd name="T3" fmla="*/ 84 h 86"/>
                    <a:gd name="T4" fmla="*/ 16 w 90"/>
                    <a:gd name="T5" fmla="*/ 74 h 86"/>
                    <a:gd name="T6" fmla="*/ 13 w 90"/>
                    <a:gd name="T7" fmla="*/ 70 h 86"/>
                    <a:gd name="T8" fmla="*/ 12 w 90"/>
                    <a:gd name="T9" fmla="*/ 67 h 86"/>
                    <a:gd name="T10" fmla="*/ 12 w 90"/>
                    <a:gd name="T11" fmla="*/ 63 h 86"/>
                    <a:gd name="T12" fmla="*/ 10 w 90"/>
                    <a:gd name="T13" fmla="*/ 60 h 86"/>
                    <a:gd name="T14" fmla="*/ 8 w 90"/>
                    <a:gd name="T15" fmla="*/ 57 h 86"/>
                    <a:gd name="T16" fmla="*/ 2 w 90"/>
                    <a:gd name="T17" fmla="*/ 51 h 86"/>
                    <a:gd name="T18" fmla="*/ 0 w 90"/>
                    <a:gd name="T19" fmla="*/ 50 h 86"/>
                    <a:gd name="T20" fmla="*/ 2 w 90"/>
                    <a:gd name="T21" fmla="*/ 48 h 86"/>
                    <a:gd name="T22" fmla="*/ 5 w 90"/>
                    <a:gd name="T23" fmla="*/ 47 h 86"/>
                    <a:gd name="T24" fmla="*/ 8 w 90"/>
                    <a:gd name="T25" fmla="*/ 42 h 86"/>
                    <a:gd name="T26" fmla="*/ 9 w 90"/>
                    <a:gd name="T27" fmla="*/ 39 h 86"/>
                    <a:gd name="T28" fmla="*/ 10 w 90"/>
                    <a:gd name="T29" fmla="*/ 34 h 86"/>
                    <a:gd name="T30" fmla="*/ 12 w 90"/>
                    <a:gd name="T31" fmla="*/ 21 h 86"/>
                    <a:gd name="T32" fmla="*/ 42 w 90"/>
                    <a:gd name="T33" fmla="*/ 0 h 86"/>
                    <a:gd name="T34" fmla="*/ 55 w 90"/>
                    <a:gd name="T35" fmla="*/ 0 h 86"/>
                    <a:gd name="T36" fmla="*/ 71 w 90"/>
                    <a:gd name="T37" fmla="*/ 0 h 86"/>
                    <a:gd name="T38" fmla="*/ 84 w 90"/>
                    <a:gd name="T39" fmla="*/ 3 h 86"/>
                    <a:gd name="T40" fmla="*/ 87 w 90"/>
                    <a:gd name="T41" fmla="*/ 12 h 86"/>
                    <a:gd name="T42" fmla="*/ 90 w 90"/>
                    <a:gd name="T43" fmla="*/ 19 h 86"/>
                    <a:gd name="T44" fmla="*/ 87 w 90"/>
                    <a:gd name="T45" fmla="*/ 28 h 86"/>
                    <a:gd name="T46" fmla="*/ 81 w 90"/>
                    <a:gd name="T47" fmla="*/ 35 h 86"/>
                    <a:gd name="T48" fmla="*/ 80 w 90"/>
                    <a:gd name="T49" fmla="*/ 39 h 86"/>
                    <a:gd name="T50" fmla="*/ 86 w 90"/>
                    <a:gd name="T51" fmla="*/ 54 h 86"/>
                    <a:gd name="T52" fmla="*/ 87 w 90"/>
                    <a:gd name="T53" fmla="*/ 60 h 86"/>
                    <a:gd name="T54" fmla="*/ 87 w 90"/>
                    <a:gd name="T55" fmla="*/ 64 h 86"/>
                    <a:gd name="T56" fmla="*/ 83 w 90"/>
                    <a:gd name="T57" fmla="*/ 71 h 86"/>
                    <a:gd name="T58" fmla="*/ 79 w 90"/>
                    <a:gd name="T59" fmla="*/ 73 h 86"/>
                    <a:gd name="T60" fmla="*/ 79 w 90"/>
                    <a:gd name="T61" fmla="*/ 73 h 86"/>
                    <a:gd name="T62" fmla="*/ 79 w 90"/>
                    <a:gd name="T63" fmla="*/ 73 h 86"/>
                    <a:gd name="T64" fmla="*/ 79 w 90"/>
                    <a:gd name="T65" fmla="*/ 73 h 86"/>
                    <a:gd name="T66" fmla="*/ 74 w 90"/>
                    <a:gd name="T67" fmla="*/ 74 h 86"/>
                    <a:gd name="T68" fmla="*/ 74 w 90"/>
                    <a:gd name="T69" fmla="*/ 74 h 86"/>
                    <a:gd name="T70" fmla="*/ 64 w 90"/>
                    <a:gd name="T71" fmla="*/ 70 h 86"/>
                    <a:gd name="T72" fmla="*/ 64 w 90"/>
                    <a:gd name="T73" fmla="*/ 70 h 86"/>
                    <a:gd name="T74" fmla="*/ 63 w 90"/>
                    <a:gd name="T75" fmla="*/ 70 h 86"/>
                    <a:gd name="T76" fmla="*/ 63 w 90"/>
                    <a:gd name="T77" fmla="*/ 70 h 86"/>
                    <a:gd name="T78" fmla="*/ 61 w 90"/>
                    <a:gd name="T79" fmla="*/ 71 h 86"/>
                    <a:gd name="T80" fmla="*/ 57 w 90"/>
                    <a:gd name="T81" fmla="*/ 81 h 86"/>
                    <a:gd name="T82" fmla="*/ 57 w 90"/>
                    <a:gd name="T83" fmla="*/ 81 h 86"/>
                    <a:gd name="T84" fmla="*/ 55 w 90"/>
                    <a:gd name="T85" fmla="*/ 81 h 86"/>
                    <a:gd name="T86" fmla="*/ 55 w 90"/>
                    <a:gd name="T87" fmla="*/ 81 h 86"/>
                    <a:gd name="T88" fmla="*/ 55 w 90"/>
                    <a:gd name="T89" fmla="*/ 81 h 86"/>
                    <a:gd name="T90" fmla="*/ 55 w 90"/>
                    <a:gd name="T91" fmla="*/ 81 h 86"/>
                    <a:gd name="T92" fmla="*/ 55 w 90"/>
                    <a:gd name="T93" fmla="*/ 81 h 86"/>
                    <a:gd name="T94" fmla="*/ 55 w 90"/>
                    <a:gd name="T95" fmla="*/ 81 h 86"/>
                    <a:gd name="T96" fmla="*/ 55 w 90"/>
                    <a:gd name="T97" fmla="*/ 83 h 86"/>
                    <a:gd name="T98" fmla="*/ 55 w 90"/>
                    <a:gd name="T99" fmla="*/ 83 h 86"/>
                    <a:gd name="T100" fmla="*/ 55 w 90"/>
                    <a:gd name="T101" fmla="*/ 83 h 86"/>
                    <a:gd name="T102" fmla="*/ 55 w 90"/>
                    <a:gd name="T103" fmla="*/ 83 h 86"/>
                    <a:gd name="T104" fmla="*/ 50 w 90"/>
                    <a:gd name="T105" fmla="*/ 83 h 86"/>
                    <a:gd name="T106" fmla="*/ 42 w 90"/>
                    <a:gd name="T107" fmla="*/ 84 h 86"/>
                    <a:gd name="T108" fmla="*/ 41 w 90"/>
                    <a:gd name="T109" fmla="*/ 84 h 86"/>
                    <a:gd name="T110" fmla="*/ 37 w 90"/>
                    <a:gd name="T111" fmla="*/ 84 h 86"/>
                    <a:gd name="T112" fmla="*/ 35 w 90"/>
                    <a:gd name="T113" fmla="*/ 84 h 86"/>
                    <a:gd name="T114" fmla="*/ 35 w 90"/>
                    <a:gd name="T115" fmla="*/ 84 h 86"/>
                    <a:gd name="T116" fmla="*/ 34 w 90"/>
                    <a:gd name="T117" fmla="*/ 84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90" h="86">
                      <a:moveTo>
                        <a:pt x="28" y="86"/>
                      </a:moveTo>
                      <a:lnTo>
                        <a:pt x="28" y="86"/>
                      </a:lnTo>
                      <a:lnTo>
                        <a:pt x="26" y="84"/>
                      </a:lnTo>
                      <a:lnTo>
                        <a:pt x="26" y="84"/>
                      </a:lnTo>
                      <a:lnTo>
                        <a:pt x="16" y="74"/>
                      </a:lnTo>
                      <a:lnTo>
                        <a:pt x="16" y="74"/>
                      </a:lnTo>
                      <a:lnTo>
                        <a:pt x="13" y="70"/>
                      </a:lnTo>
                      <a:lnTo>
                        <a:pt x="13" y="70"/>
                      </a:lnTo>
                      <a:lnTo>
                        <a:pt x="12" y="67"/>
                      </a:lnTo>
                      <a:lnTo>
                        <a:pt x="12" y="67"/>
                      </a:lnTo>
                      <a:lnTo>
                        <a:pt x="12" y="63"/>
                      </a:lnTo>
                      <a:lnTo>
                        <a:pt x="12" y="63"/>
                      </a:lnTo>
                      <a:lnTo>
                        <a:pt x="10" y="60"/>
                      </a:lnTo>
                      <a:lnTo>
                        <a:pt x="10" y="60"/>
                      </a:lnTo>
                      <a:lnTo>
                        <a:pt x="8" y="57"/>
                      </a:lnTo>
                      <a:lnTo>
                        <a:pt x="8" y="57"/>
                      </a:lnTo>
                      <a:lnTo>
                        <a:pt x="2" y="51"/>
                      </a:lnTo>
                      <a:lnTo>
                        <a:pt x="2" y="51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2" y="48"/>
                      </a:lnTo>
                      <a:lnTo>
                        <a:pt x="2" y="48"/>
                      </a:lnTo>
                      <a:lnTo>
                        <a:pt x="5" y="47"/>
                      </a:lnTo>
                      <a:lnTo>
                        <a:pt x="5" y="47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9" y="39"/>
                      </a:lnTo>
                      <a:lnTo>
                        <a:pt x="9" y="39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2" y="21"/>
                      </a:lnTo>
                      <a:lnTo>
                        <a:pt x="42" y="21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55" y="0"/>
                      </a:lnTo>
                      <a:lnTo>
                        <a:pt x="55" y="0"/>
                      </a:lnTo>
                      <a:lnTo>
                        <a:pt x="71" y="0"/>
                      </a:lnTo>
                      <a:lnTo>
                        <a:pt x="71" y="0"/>
                      </a:lnTo>
                      <a:lnTo>
                        <a:pt x="84" y="3"/>
                      </a:lnTo>
                      <a:lnTo>
                        <a:pt x="84" y="3"/>
                      </a:lnTo>
                      <a:lnTo>
                        <a:pt x="87" y="12"/>
                      </a:lnTo>
                      <a:lnTo>
                        <a:pt x="90" y="19"/>
                      </a:lnTo>
                      <a:lnTo>
                        <a:pt x="90" y="19"/>
                      </a:lnTo>
                      <a:lnTo>
                        <a:pt x="89" y="23"/>
                      </a:lnTo>
                      <a:lnTo>
                        <a:pt x="87" y="28"/>
                      </a:lnTo>
                      <a:lnTo>
                        <a:pt x="81" y="35"/>
                      </a:lnTo>
                      <a:lnTo>
                        <a:pt x="81" y="35"/>
                      </a:lnTo>
                      <a:lnTo>
                        <a:pt x="80" y="39"/>
                      </a:lnTo>
                      <a:lnTo>
                        <a:pt x="80" y="39"/>
                      </a:lnTo>
                      <a:lnTo>
                        <a:pt x="81" y="45"/>
                      </a:lnTo>
                      <a:lnTo>
                        <a:pt x="86" y="54"/>
                      </a:lnTo>
                      <a:lnTo>
                        <a:pt x="86" y="54"/>
                      </a:lnTo>
                      <a:lnTo>
                        <a:pt x="87" y="60"/>
                      </a:lnTo>
                      <a:lnTo>
                        <a:pt x="87" y="60"/>
                      </a:lnTo>
                      <a:lnTo>
                        <a:pt x="87" y="64"/>
                      </a:lnTo>
                      <a:lnTo>
                        <a:pt x="86" y="68"/>
                      </a:lnTo>
                      <a:lnTo>
                        <a:pt x="83" y="71"/>
                      </a:lnTo>
                      <a:lnTo>
                        <a:pt x="79" y="73"/>
                      </a:lnTo>
                      <a:lnTo>
                        <a:pt x="79" y="73"/>
                      </a:lnTo>
                      <a:lnTo>
                        <a:pt x="79" y="73"/>
                      </a:lnTo>
                      <a:lnTo>
                        <a:pt x="79" y="73"/>
                      </a:lnTo>
                      <a:lnTo>
                        <a:pt x="79" y="73"/>
                      </a:lnTo>
                      <a:lnTo>
                        <a:pt x="79" y="73"/>
                      </a:lnTo>
                      <a:lnTo>
                        <a:pt x="79" y="73"/>
                      </a:lnTo>
                      <a:lnTo>
                        <a:pt x="79" y="73"/>
                      </a:lnTo>
                      <a:lnTo>
                        <a:pt x="74" y="74"/>
                      </a:lnTo>
                      <a:lnTo>
                        <a:pt x="74" y="74"/>
                      </a:lnTo>
                      <a:lnTo>
                        <a:pt x="74" y="74"/>
                      </a:lnTo>
                      <a:lnTo>
                        <a:pt x="74" y="74"/>
                      </a:lnTo>
                      <a:lnTo>
                        <a:pt x="68" y="73"/>
                      </a:lnTo>
                      <a:lnTo>
                        <a:pt x="64" y="70"/>
                      </a:lnTo>
                      <a:lnTo>
                        <a:pt x="64" y="70"/>
                      </a:lnTo>
                      <a:lnTo>
                        <a:pt x="64" y="70"/>
                      </a:lnTo>
                      <a:lnTo>
                        <a:pt x="64" y="70"/>
                      </a:lnTo>
                      <a:lnTo>
                        <a:pt x="63" y="70"/>
                      </a:lnTo>
                      <a:lnTo>
                        <a:pt x="63" y="70"/>
                      </a:lnTo>
                      <a:lnTo>
                        <a:pt x="63" y="70"/>
                      </a:lnTo>
                      <a:lnTo>
                        <a:pt x="63" y="70"/>
                      </a:lnTo>
                      <a:lnTo>
                        <a:pt x="61" y="71"/>
                      </a:lnTo>
                      <a:lnTo>
                        <a:pt x="58" y="74"/>
                      </a:lnTo>
                      <a:lnTo>
                        <a:pt x="57" y="81"/>
                      </a:lnTo>
                      <a:lnTo>
                        <a:pt x="57" y="81"/>
                      </a:lnTo>
                      <a:lnTo>
                        <a:pt x="57" y="81"/>
                      </a:lnTo>
                      <a:lnTo>
                        <a:pt x="57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3"/>
                      </a:lnTo>
                      <a:lnTo>
                        <a:pt x="55" y="83"/>
                      </a:lnTo>
                      <a:lnTo>
                        <a:pt x="55" y="83"/>
                      </a:lnTo>
                      <a:lnTo>
                        <a:pt x="55" y="83"/>
                      </a:lnTo>
                      <a:lnTo>
                        <a:pt x="55" y="83"/>
                      </a:lnTo>
                      <a:lnTo>
                        <a:pt x="55" y="83"/>
                      </a:lnTo>
                      <a:lnTo>
                        <a:pt x="55" y="83"/>
                      </a:lnTo>
                      <a:lnTo>
                        <a:pt x="55" y="83"/>
                      </a:lnTo>
                      <a:lnTo>
                        <a:pt x="50" y="83"/>
                      </a:lnTo>
                      <a:lnTo>
                        <a:pt x="42" y="84"/>
                      </a:lnTo>
                      <a:lnTo>
                        <a:pt x="42" y="84"/>
                      </a:lnTo>
                      <a:lnTo>
                        <a:pt x="41" y="84"/>
                      </a:lnTo>
                      <a:lnTo>
                        <a:pt x="41" y="84"/>
                      </a:lnTo>
                      <a:lnTo>
                        <a:pt x="41" y="84"/>
                      </a:lnTo>
                      <a:lnTo>
                        <a:pt x="37" y="84"/>
                      </a:lnTo>
                      <a:lnTo>
                        <a:pt x="37" y="84"/>
                      </a:lnTo>
                      <a:lnTo>
                        <a:pt x="35" y="84"/>
                      </a:lnTo>
                      <a:lnTo>
                        <a:pt x="35" y="84"/>
                      </a:lnTo>
                      <a:lnTo>
                        <a:pt x="35" y="84"/>
                      </a:lnTo>
                      <a:lnTo>
                        <a:pt x="34" y="84"/>
                      </a:lnTo>
                      <a:lnTo>
                        <a:pt x="34" y="84"/>
                      </a:lnTo>
                      <a:lnTo>
                        <a:pt x="28" y="8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92" name="Freeform 142"/>
                <p:cNvSpPr>
                  <a:spLocks/>
                </p:cNvSpPr>
                <p:nvPr/>
              </p:nvSpPr>
              <p:spPr bwMode="auto">
                <a:xfrm>
                  <a:off x="4555183" y="3297353"/>
                  <a:ext cx="89033" cy="85076"/>
                </a:xfrm>
                <a:custGeom>
                  <a:avLst/>
                  <a:gdLst>
                    <a:gd name="T0" fmla="*/ 28 w 90"/>
                    <a:gd name="T1" fmla="*/ 86 h 86"/>
                    <a:gd name="T2" fmla="*/ 26 w 90"/>
                    <a:gd name="T3" fmla="*/ 84 h 86"/>
                    <a:gd name="T4" fmla="*/ 16 w 90"/>
                    <a:gd name="T5" fmla="*/ 74 h 86"/>
                    <a:gd name="T6" fmla="*/ 13 w 90"/>
                    <a:gd name="T7" fmla="*/ 70 h 86"/>
                    <a:gd name="T8" fmla="*/ 12 w 90"/>
                    <a:gd name="T9" fmla="*/ 67 h 86"/>
                    <a:gd name="T10" fmla="*/ 12 w 90"/>
                    <a:gd name="T11" fmla="*/ 63 h 86"/>
                    <a:gd name="T12" fmla="*/ 10 w 90"/>
                    <a:gd name="T13" fmla="*/ 60 h 86"/>
                    <a:gd name="T14" fmla="*/ 8 w 90"/>
                    <a:gd name="T15" fmla="*/ 57 h 86"/>
                    <a:gd name="T16" fmla="*/ 2 w 90"/>
                    <a:gd name="T17" fmla="*/ 51 h 86"/>
                    <a:gd name="T18" fmla="*/ 0 w 90"/>
                    <a:gd name="T19" fmla="*/ 50 h 86"/>
                    <a:gd name="T20" fmla="*/ 2 w 90"/>
                    <a:gd name="T21" fmla="*/ 48 h 86"/>
                    <a:gd name="T22" fmla="*/ 5 w 90"/>
                    <a:gd name="T23" fmla="*/ 47 h 86"/>
                    <a:gd name="T24" fmla="*/ 8 w 90"/>
                    <a:gd name="T25" fmla="*/ 42 h 86"/>
                    <a:gd name="T26" fmla="*/ 9 w 90"/>
                    <a:gd name="T27" fmla="*/ 39 h 86"/>
                    <a:gd name="T28" fmla="*/ 10 w 90"/>
                    <a:gd name="T29" fmla="*/ 34 h 86"/>
                    <a:gd name="T30" fmla="*/ 12 w 90"/>
                    <a:gd name="T31" fmla="*/ 21 h 86"/>
                    <a:gd name="T32" fmla="*/ 42 w 90"/>
                    <a:gd name="T33" fmla="*/ 0 h 86"/>
                    <a:gd name="T34" fmla="*/ 55 w 90"/>
                    <a:gd name="T35" fmla="*/ 0 h 86"/>
                    <a:gd name="T36" fmla="*/ 71 w 90"/>
                    <a:gd name="T37" fmla="*/ 0 h 86"/>
                    <a:gd name="T38" fmla="*/ 84 w 90"/>
                    <a:gd name="T39" fmla="*/ 3 h 86"/>
                    <a:gd name="T40" fmla="*/ 87 w 90"/>
                    <a:gd name="T41" fmla="*/ 12 h 86"/>
                    <a:gd name="T42" fmla="*/ 90 w 90"/>
                    <a:gd name="T43" fmla="*/ 19 h 86"/>
                    <a:gd name="T44" fmla="*/ 87 w 90"/>
                    <a:gd name="T45" fmla="*/ 28 h 86"/>
                    <a:gd name="T46" fmla="*/ 81 w 90"/>
                    <a:gd name="T47" fmla="*/ 35 h 86"/>
                    <a:gd name="T48" fmla="*/ 80 w 90"/>
                    <a:gd name="T49" fmla="*/ 39 h 86"/>
                    <a:gd name="T50" fmla="*/ 86 w 90"/>
                    <a:gd name="T51" fmla="*/ 54 h 86"/>
                    <a:gd name="T52" fmla="*/ 87 w 90"/>
                    <a:gd name="T53" fmla="*/ 60 h 86"/>
                    <a:gd name="T54" fmla="*/ 87 w 90"/>
                    <a:gd name="T55" fmla="*/ 64 h 86"/>
                    <a:gd name="T56" fmla="*/ 83 w 90"/>
                    <a:gd name="T57" fmla="*/ 71 h 86"/>
                    <a:gd name="T58" fmla="*/ 79 w 90"/>
                    <a:gd name="T59" fmla="*/ 73 h 86"/>
                    <a:gd name="T60" fmla="*/ 79 w 90"/>
                    <a:gd name="T61" fmla="*/ 73 h 86"/>
                    <a:gd name="T62" fmla="*/ 79 w 90"/>
                    <a:gd name="T63" fmla="*/ 73 h 86"/>
                    <a:gd name="T64" fmla="*/ 79 w 90"/>
                    <a:gd name="T65" fmla="*/ 73 h 86"/>
                    <a:gd name="T66" fmla="*/ 74 w 90"/>
                    <a:gd name="T67" fmla="*/ 74 h 86"/>
                    <a:gd name="T68" fmla="*/ 74 w 90"/>
                    <a:gd name="T69" fmla="*/ 74 h 86"/>
                    <a:gd name="T70" fmla="*/ 64 w 90"/>
                    <a:gd name="T71" fmla="*/ 70 h 86"/>
                    <a:gd name="T72" fmla="*/ 64 w 90"/>
                    <a:gd name="T73" fmla="*/ 70 h 86"/>
                    <a:gd name="T74" fmla="*/ 63 w 90"/>
                    <a:gd name="T75" fmla="*/ 70 h 86"/>
                    <a:gd name="T76" fmla="*/ 63 w 90"/>
                    <a:gd name="T77" fmla="*/ 70 h 86"/>
                    <a:gd name="T78" fmla="*/ 61 w 90"/>
                    <a:gd name="T79" fmla="*/ 71 h 86"/>
                    <a:gd name="T80" fmla="*/ 57 w 90"/>
                    <a:gd name="T81" fmla="*/ 81 h 86"/>
                    <a:gd name="T82" fmla="*/ 57 w 90"/>
                    <a:gd name="T83" fmla="*/ 81 h 86"/>
                    <a:gd name="T84" fmla="*/ 55 w 90"/>
                    <a:gd name="T85" fmla="*/ 81 h 86"/>
                    <a:gd name="T86" fmla="*/ 55 w 90"/>
                    <a:gd name="T87" fmla="*/ 81 h 86"/>
                    <a:gd name="T88" fmla="*/ 55 w 90"/>
                    <a:gd name="T89" fmla="*/ 81 h 86"/>
                    <a:gd name="T90" fmla="*/ 55 w 90"/>
                    <a:gd name="T91" fmla="*/ 81 h 86"/>
                    <a:gd name="T92" fmla="*/ 55 w 90"/>
                    <a:gd name="T93" fmla="*/ 81 h 86"/>
                    <a:gd name="T94" fmla="*/ 55 w 90"/>
                    <a:gd name="T95" fmla="*/ 81 h 86"/>
                    <a:gd name="T96" fmla="*/ 55 w 90"/>
                    <a:gd name="T97" fmla="*/ 83 h 86"/>
                    <a:gd name="T98" fmla="*/ 55 w 90"/>
                    <a:gd name="T99" fmla="*/ 83 h 86"/>
                    <a:gd name="T100" fmla="*/ 55 w 90"/>
                    <a:gd name="T101" fmla="*/ 83 h 86"/>
                    <a:gd name="T102" fmla="*/ 55 w 90"/>
                    <a:gd name="T103" fmla="*/ 83 h 86"/>
                    <a:gd name="T104" fmla="*/ 50 w 90"/>
                    <a:gd name="T105" fmla="*/ 83 h 86"/>
                    <a:gd name="T106" fmla="*/ 42 w 90"/>
                    <a:gd name="T107" fmla="*/ 84 h 86"/>
                    <a:gd name="T108" fmla="*/ 41 w 90"/>
                    <a:gd name="T109" fmla="*/ 84 h 86"/>
                    <a:gd name="T110" fmla="*/ 37 w 90"/>
                    <a:gd name="T111" fmla="*/ 84 h 86"/>
                    <a:gd name="T112" fmla="*/ 35 w 90"/>
                    <a:gd name="T113" fmla="*/ 84 h 86"/>
                    <a:gd name="T114" fmla="*/ 35 w 90"/>
                    <a:gd name="T115" fmla="*/ 84 h 86"/>
                    <a:gd name="T116" fmla="*/ 34 w 90"/>
                    <a:gd name="T117" fmla="*/ 84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90" h="86">
                      <a:moveTo>
                        <a:pt x="28" y="86"/>
                      </a:moveTo>
                      <a:lnTo>
                        <a:pt x="28" y="86"/>
                      </a:lnTo>
                      <a:lnTo>
                        <a:pt x="26" y="84"/>
                      </a:lnTo>
                      <a:lnTo>
                        <a:pt x="26" y="84"/>
                      </a:lnTo>
                      <a:lnTo>
                        <a:pt x="16" y="74"/>
                      </a:lnTo>
                      <a:lnTo>
                        <a:pt x="16" y="74"/>
                      </a:lnTo>
                      <a:lnTo>
                        <a:pt x="13" y="70"/>
                      </a:lnTo>
                      <a:lnTo>
                        <a:pt x="13" y="70"/>
                      </a:lnTo>
                      <a:lnTo>
                        <a:pt x="12" y="67"/>
                      </a:lnTo>
                      <a:lnTo>
                        <a:pt x="12" y="67"/>
                      </a:lnTo>
                      <a:lnTo>
                        <a:pt x="12" y="63"/>
                      </a:lnTo>
                      <a:lnTo>
                        <a:pt x="12" y="63"/>
                      </a:lnTo>
                      <a:lnTo>
                        <a:pt x="10" y="60"/>
                      </a:lnTo>
                      <a:lnTo>
                        <a:pt x="10" y="60"/>
                      </a:lnTo>
                      <a:lnTo>
                        <a:pt x="8" y="57"/>
                      </a:lnTo>
                      <a:lnTo>
                        <a:pt x="8" y="57"/>
                      </a:lnTo>
                      <a:lnTo>
                        <a:pt x="2" y="51"/>
                      </a:lnTo>
                      <a:lnTo>
                        <a:pt x="2" y="51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2" y="48"/>
                      </a:lnTo>
                      <a:lnTo>
                        <a:pt x="2" y="48"/>
                      </a:lnTo>
                      <a:lnTo>
                        <a:pt x="5" y="47"/>
                      </a:lnTo>
                      <a:lnTo>
                        <a:pt x="5" y="47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9" y="39"/>
                      </a:lnTo>
                      <a:lnTo>
                        <a:pt x="9" y="39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2" y="21"/>
                      </a:lnTo>
                      <a:lnTo>
                        <a:pt x="42" y="21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55" y="0"/>
                      </a:lnTo>
                      <a:lnTo>
                        <a:pt x="55" y="0"/>
                      </a:lnTo>
                      <a:lnTo>
                        <a:pt x="71" y="0"/>
                      </a:lnTo>
                      <a:lnTo>
                        <a:pt x="71" y="0"/>
                      </a:lnTo>
                      <a:lnTo>
                        <a:pt x="84" y="3"/>
                      </a:lnTo>
                      <a:lnTo>
                        <a:pt x="84" y="3"/>
                      </a:lnTo>
                      <a:lnTo>
                        <a:pt x="87" y="12"/>
                      </a:lnTo>
                      <a:lnTo>
                        <a:pt x="90" y="19"/>
                      </a:lnTo>
                      <a:lnTo>
                        <a:pt x="90" y="19"/>
                      </a:lnTo>
                      <a:lnTo>
                        <a:pt x="89" y="23"/>
                      </a:lnTo>
                      <a:lnTo>
                        <a:pt x="87" y="28"/>
                      </a:lnTo>
                      <a:lnTo>
                        <a:pt x="81" y="35"/>
                      </a:lnTo>
                      <a:lnTo>
                        <a:pt x="81" y="35"/>
                      </a:lnTo>
                      <a:lnTo>
                        <a:pt x="80" y="39"/>
                      </a:lnTo>
                      <a:lnTo>
                        <a:pt x="80" y="39"/>
                      </a:lnTo>
                      <a:lnTo>
                        <a:pt x="81" y="45"/>
                      </a:lnTo>
                      <a:lnTo>
                        <a:pt x="86" y="54"/>
                      </a:lnTo>
                      <a:lnTo>
                        <a:pt x="86" y="54"/>
                      </a:lnTo>
                      <a:lnTo>
                        <a:pt x="87" y="60"/>
                      </a:lnTo>
                      <a:lnTo>
                        <a:pt x="87" y="60"/>
                      </a:lnTo>
                      <a:lnTo>
                        <a:pt x="87" y="64"/>
                      </a:lnTo>
                      <a:lnTo>
                        <a:pt x="86" y="68"/>
                      </a:lnTo>
                      <a:lnTo>
                        <a:pt x="83" y="71"/>
                      </a:lnTo>
                      <a:lnTo>
                        <a:pt x="79" y="73"/>
                      </a:lnTo>
                      <a:lnTo>
                        <a:pt x="79" y="73"/>
                      </a:lnTo>
                      <a:lnTo>
                        <a:pt x="79" y="73"/>
                      </a:lnTo>
                      <a:lnTo>
                        <a:pt x="79" y="73"/>
                      </a:lnTo>
                      <a:lnTo>
                        <a:pt x="79" y="73"/>
                      </a:lnTo>
                      <a:lnTo>
                        <a:pt x="79" y="73"/>
                      </a:lnTo>
                      <a:lnTo>
                        <a:pt x="79" y="73"/>
                      </a:lnTo>
                      <a:lnTo>
                        <a:pt x="79" y="73"/>
                      </a:lnTo>
                      <a:lnTo>
                        <a:pt x="74" y="74"/>
                      </a:lnTo>
                      <a:lnTo>
                        <a:pt x="74" y="74"/>
                      </a:lnTo>
                      <a:lnTo>
                        <a:pt x="74" y="74"/>
                      </a:lnTo>
                      <a:lnTo>
                        <a:pt x="74" y="74"/>
                      </a:lnTo>
                      <a:lnTo>
                        <a:pt x="68" y="73"/>
                      </a:lnTo>
                      <a:lnTo>
                        <a:pt x="64" y="70"/>
                      </a:lnTo>
                      <a:lnTo>
                        <a:pt x="64" y="70"/>
                      </a:lnTo>
                      <a:lnTo>
                        <a:pt x="64" y="70"/>
                      </a:lnTo>
                      <a:lnTo>
                        <a:pt x="64" y="70"/>
                      </a:lnTo>
                      <a:lnTo>
                        <a:pt x="63" y="70"/>
                      </a:lnTo>
                      <a:lnTo>
                        <a:pt x="63" y="70"/>
                      </a:lnTo>
                      <a:lnTo>
                        <a:pt x="63" y="70"/>
                      </a:lnTo>
                      <a:lnTo>
                        <a:pt x="63" y="70"/>
                      </a:lnTo>
                      <a:lnTo>
                        <a:pt x="61" y="71"/>
                      </a:lnTo>
                      <a:lnTo>
                        <a:pt x="58" y="74"/>
                      </a:lnTo>
                      <a:lnTo>
                        <a:pt x="57" y="81"/>
                      </a:lnTo>
                      <a:lnTo>
                        <a:pt x="57" y="81"/>
                      </a:lnTo>
                      <a:lnTo>
                        <a:pt x="57" y="81"/>
                      </a:lnTo>
                      <a:lnTo>
                        <a:pt x="57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1"/>
                      </a:lnTo>
                      <a:lnTo>
                        <a:pt x="55" y="83"/>
                      </a:lnTo>
                      <a:lnTo>
                        <a:pt x="55" y="83"/>
                      </a:lnTo>
                      <a:lnTo>
                        <a:pt x="55" y="83"/>
                      </a:lnTo>
                      <a:lnTo>
                        <a:pt x="55" y="83"/>
                      </a:lnTo>
                      <a:lnTo>
                        <a:pt x="55" y="83"/>
                      </a:lnTo>
                      <a:lnTo>
                        <a:pt x="55" y="83"/>
                      </a:lnTo>
                      <a:lnTo>
                        <a:pt x="55" y="83"/>
                      </a:lnTo>
                      <a:lnTo>
                        <a:pt x="55" y="83"/>
                      </a:lnTo>
                      <a:lnTo>
                        <a:pt x="50" y="83"/>
                      </a:lnTo>
                      <a:lnTo>
                        <a:pt x="42" y="84"/>
                      </a:lnTo>
                      <a:lnTo>
                        <a:pt x="42" y="84"/>
                      </a:lnTo>
                      <a:lnTo>
                        <a:pt x="41" y="84"/>
                      </a:lnTo>
                      <a:lnTo>
                        <a:pt x="41" y="84"/>
                      </a:lnTo>
                      <a:lnTo>
                        <a:pt x="41" y="84"/>
                      </a:lnTo>
                      <a:lnTo>
                        <a:pt x="37" y="84"/>
                      </a:lnTo>
                      <a:lnTo>
                        <a:pt x="37" y="84"/>
                      </a:lnTo>
                      <a:lnTo>
                        <a:pt x="35" y="84"/>
                      </a:lnTo>
                      <a:lnTo>
                        <a:pt x="35" y="84"/>
                      </a:lnTo>
                      <a:lnTo>
                        <a:pt x="35" y="84"/>
                      </a:lnTo>
                      <a:lnTo>
                        <a:pt x="34" y="84"/>
                      </a:lnTo>
                      <a:lnTo>
                        <a:pt x="34" y="84"/>
                      </a:lnTo>
                      <a:lnTo>
                        <a:pt x="28" y="8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93" name="Freeform 143"/>
                <p:cNvSpPr>
                  <a:spLocks/>
                </p:cNvSpPr>
                <p:nvPr/>
              </p:nvSpPr>
              <p:spPr bwMode="auto">
                <a:xfrm>
                  <a:off x="4564086" y="3297353"/>
                  <a:ext cx="32646" cy="20774"/>
                </a:xfrm>
                <a:custGeom>
                  <a:avLst/>
                  <a:gdLst>
                    <a:gd name="T0" fmla="*/ 33 w 33"/>
                    <a:gd name="T1" fmla="*/ 0 h 21"/>
                    <a:gd name="T2" fmla="*/ 33 w 33"/>
                    <a:gd name="T3" fmla="*/ 0 h 21"/>
                    <a:gd name="T4" fmla="*/ 4 w 33"/>
                    <a:gd name="T5" fmla="*/ 0 h 21"/>
                    <a:gd name="T6" fmla="*/ 4 w 33"/>
                    <a:gd name="T7" fmla="*/ 0 h 21"/>
                    <a:gd name="T8" fmla="*/ 1 w 33"/>
                    <a:gd name="T9" fmla="*/ 8 h 21"/>
                    <a:gd name="T10" fmla="*/ 0 w 33"/>
                    <a:gd name="T11" fmla="*/ 13 h 21"/>
                    <a:gd name="T12" fmla="*/ 0 w 33"/>
                    <a:gd name="T13" fmla="*/ 13 h 21"/>
                    <a:gd name="T14" fmla="*/ 0 w 33"/>
                    <a:gd name="T15" fmla="*/ 21 h 21"/>
                    <a:gd name="T16" fmla="*/ 33 w 33"/>
                    <a:gd name="T17" fmla="*/ 21 h 21"/>
                    <a:gd name="T18" fmla="*/ 33 w 33"/>
                    <a:gd name="T19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3" h="21">
                      <a:moveTo>
                        <a:pt x="33" y="0"/>
                      </a:moveTo>
                      <a:lnTo>
                        <a:pt x="33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8"/>
                      </a:lnTo>
                      <a:lnTo>
                        <a:pt x="0" y="13"/>
                      </a:lnTo>
                      <a:lnTo>
                        <a:pt x="0" y="13"/>
                      </a:lnTo>
                      <a:lnTo>
                        <a:pt x="0" y="21"/>
                      </a:lnTo>
                      <a:lnTo>
                        <a:pt x="33" y="21"/>
                      </a:lnTo>
                      <a:lnTo>
                        <a:pt x="33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94" name="Freeform 144"/>
                <p:cNvSpPr>
                  <a:spLocks/>
                </p:cNvSpPr>
                <p:nvPr/>
              </p:nvSpPr>
              <p:spPr bwMode="auto">
                <a:xfrm>
                  <a:off x="4817337" y="2798766"/>
                  <a:ext cx="175099" cy="181034"/>
                </a:xfrm>
                <a:custGeom>
                  <a:avLst/>
                  <a:gdLst>
                    <a:gd name="T0" fmla="*/ 148 w 177"/>
                    <a:gd name="T1" fmla="*/ 183 h 183"/>
                    <a:gd name="T2" fmla="*/ 154 w 177"/>
                    <a:gd name="T3" fmla="*/ 181 h 183"/>
                    <a:gd name="T4" fmla="*/ 167 w 177"/>
                    <a:gd name="T5" fmla="*/ 168 h 183"/>
                    <a:gd name="T6" fmla="*/ 177 w 177"/>
                    <a:gd name="T7" fmla="*/ 164 h 183"/>
                    <a:gd name="T8" fmla="*/ 177 w 177"/>
                    <a:gd name="T9" fmla="*/ 164 h 183"/>
                    <a:gd name="T10" fmla="*/ 167 w 177"/>
                    <a:gd name="T11" fmla="*/ 157 h 183"/>
                    <a:gd name="T12" fmla="*/ 161 w 177"/>
                    <a:gd name="T13" fmla="*/ 148 h 183"/>
                    <a:gd name="T14" fmla="*/ 163 w 177"/>
                    <a:gd name="T15" fmla="*/ 144 h 183"/>
                    <a:gd name="T16" fmla="*/ 164 w 177"/>
                    <a:gd name="T17" fmla="*/ 138 h 183"/>
                    <a:gd name="T18" fmla="*/ 151 w 177"/>
                    <a:gd name="T19" fmla="*/ 112 h 183"/>
                    <a:gd name="T20" fmla="*/ 135 w 177"/>
                    <a:gd name="T21" fmla="*/ 81 h 183"/>
                    <a:gd name="T22" fmla="*/ 132 w 177"/>
                    <a:gd name="T23" fmla="*/ 76 h 183"/>
                    <a:gd name="T24" fmla="*/ 132 w 177"/>
                    <a:gd name="T25" fmla="*/ 68 h 183"/>
                    <a:gd name="T26" fmla="*/ 131 w 177"/>
                    <a:gd name="T27" fmla="*/ 65 h 183"/>
                    <a:gd name="T28" fmla="*/ 123 w 177"/>
                    <a:gd name="T29" fmla="*/ 58 h 183"/>
                    <a:gd name="T30" fmla="*/ 122 w 177"/>
                    <a:gd name="T31" fmla="*/ 54 h 183"/>
                    <a:gd name="T32" fmla="*/ 123 w 177"/>
                    <a:gd name="T33" fmla="*/ 54 h 183"/>
                    <a:gd name="T34" fmla="*/ 141 w 177"/>
                    <a:gd name="T35" fmla="*/ 68 h 183"/>
                    <a:gd name="T36" fmla="*/ 142 w 177"/>
                    <a:gd name="T37" fmla="*/ 68 h 183"/>
                    <a:gd name="T38" fmla="*/ 148 w 177"/>
                    <a:gd name="T39" fmla="*/ 65 h 183"/>
                    <a:gd name="T40" fmla="*/ 151 w 177"/>
                    <a:gd name="T41" fmla="*/ 65 h 183"/>
                    <a:gd name="T42" fmla="*/ 152 w 177"/>
                    <a:gd name="T43" fmla="*/ 29 h 183"/>
                    <a:gd name="T44" fmla="*/ 152 w 177"/>
                    <a:gd name="T45" fmla="*/ 23 h 183"/>
                    <a:gd name="T46" fmla="*/ 141 w 177"/>
                    <a:gd name="T47" fmla="*/ 6 h 183"/>
                    <a:gd name="T48" fmla="*/ 139 w 177"/>
                    <a:gd name="T49" fmla="*/ 9 h 183"/>
                    <a:gd name="T50" fmla="*/ 137 w 177"/>
                    <a:gd name="T51" fmla="*/ 10 h 183"/>
                    <a:gd name="T52" fmla="*/ 125 w 177"/>
                    <a:gd name="T53" fmla="*/ 10 h 183"/>
                    <a:gd name="T54" fmla="*/ 109 w 177"/>
                    <a:gd name="T55" fmla="*/ 9 h 183"/>
                    <a:gd name="T56" fmla="*/ 103 w 177"/>
                    <a:gd name="T57" fmla="*/ 7 h 183"/>
                    <a:gd name="T58" fmla="*/ 97 w 177"/>
                    <a:gd name="T59" fmla="*/ 2 h 183"/>
                    <a:gd name="T60" fmla="*/ 93 w 177"/>
                    <a:gd name="T61" fmla="*/ 2 h 183"/>
                    <a:gd name="T62" fmla="*/ 89 w 177"/>
                    <a:gd name="T63" fmla="*/ 2 h 183"/>
                    <a:gd name="T64" fmla="*/ 86 w 177"/>
                    <a:gd name="T65" fmla="*/ 0 h 183"/>
                    <a:gd name="T66" fmla="*/ 81 w 177"/>
                    <a:gd name="T67" fmla="*/ 3 h 183"/>
                    <a:gd name="T68" fmla="*/ 71 w 177"/>
                    <a:gd name="T69" fmla="*/ 10 h 183"/>
                    <a:gd name="T70" fmla="*/ 63 w 177"/>
                    <a:gd name="T71" fmla="*/ 16 h 183"/>
                    <a:gd name="T72" fmla="*/ 47 w 177"/>
                    <a:gd name="T73" fmla="*/ 15 h 183"/>
                    <a:gd name="T74" fmla="*/ 31 w 177"/>
                    <a:gd name="T75" fmla="*/ 10 h 183"/>
                    <a:gd name="T76" fmla="*/ 2 w 177"/>
                    <a:gd name="T77" fmla="*/ 3 h 183"/>
                    <a:gd name="T78" fmla="*/ 0 w 177"/>
                    <a:gd name="T79" fmla="*/ 174 h 183"/>
                    <a:gd name="T80" fmla="*/ 100 w 177"/>
                    <a:gd name="T81" fmla="*/ 174 h 183"/>
                    <a:gd name="T82" fmla="*/ 129 w 177"/>
                    <a:gd name="T83" fmla="*/ 178 h 183"/>
                    <a:gd name="T84" fmla="*/ 148 w 177"/>
                    <a:gd name="T85" fmla="*/ 183 h 1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7" h="183">
                      <a:moveTo>
                        <a:pt x="148" y="183"/>
                      </a:moveTo>
                      <a:lnTo>
                        <a:pt x="148" y="183"/>
                      </a:lnTo>
                      <a:lnTo>
                        <a:pt x="151" y="183"/>
                      </a:lnTo>
                      <a:lnTo>
                        <a:pt x="154" y="181"/>
                      </a:lnTo>
                      <a:lnTo>
                        <a:pt x="158" y="176"/>
                      </a:lnTo>
                      <a:lnTo>
                        <a:pt x="167" y="168"/>
                      </a:lnTo>
                      <a:lnTo>
                        <a:pt x="167" y="168"/>
                      </a:lnTo>
                      <a:lnTo>
                        <a:pt x="177" y="164"/>
                      </a:lnTo>
                      <a:lnTo>
                        <a:pt x="177" y="164"/>
                      </a:lnTo>
                      <a:lnTo>
                        <a:pt x="177" y="164"/>
                      </a:lnTo>
                      <a:lnTo>
                        <a:pt x="171" y="161"/>
                      </a:lnTo>
                      <a:lnTo>
                        <a:pt x="167" y="157"/>
                      </a:lnTo>
                      <a:lnTo>
                        <a:pt x="161" y="148"/>
                      </a:lnTo>
                      <a:lnTo>
                        <a:pt x="161" y="148"/>
                      </a:lnTo>
                      <a:lnTo>
                        <a:pt x="161" y="147"/>
                      </a:lnTo>
                      <a:lnTo>
                        <a:pt x="163" y="144"/>
                      </a:lnTo>
                      <a:lnTo>
                        <a:pt x="164" y="141"/>
                      </a:lnTo>
                      <a:lnTo>
                        <a:pt x="164" y="138"/>
                      </a:lnTo>
                      <a:lnTo>
                        <a:pt x="164" y="138"/>
                      </a:lnTo>
                      <a:lnTo>
                        <a:pt x="151" y="112"/>
                      </a:lnTo>
                      <a:lnTo>
                        <a:pt x="142" y="94"/>
                      </a:lnTo>
                      <a:lnTo>
                        <a:pt x="135" y="81"/>
                      </a:lnTo>
                      <a:lnTo>
                        <a:pt x="135" y="81"/>
                      </a:lnTo>
                      <a:lnTo>
                        <a:pt x="132" y="76"/>
                      </a:lnTo>
                      <a:lnTo>
                        <a:pt x="131" y="73"/>
                      </a:lnTo>
                      <a:lnTo>
                        <a:pt x="132" y="68"/>
                      </a:lnTo>
                      <a:lnTo>
                        <a:pt x="132" y="68"/>
                      </a:lnTo>
                      <a:lnTo>
                        <a:pt x="131" y="65"/>
                      </a:lnTo>
                      <a:lnTo>
                        <a:pt x="128" y="61"/>
                      </a:lnTo>
                      <a:lnTo>
                        <a:pt x="123" y="58"/>
                      </a:lnTo>
                      <a:lnTo>
                        <a:pt x="122" y="54"/>
                      </a:lnTo>
                      <a:lnTo>
                        <a:pt x="122" y="54"/>
                      </a:lnTo>
                      <a:lnTo>
                        <a:pt x="122" y="54"/>
                      </a:lnTo>
                      <a:lnTo>
                        <a:pt x="123" y="54"/>
                      </a:lnTo>
                      <a:lnTo>
                        <a:pt x="129" y="60"/>
                      </a:lnTo>
                      <a:lnTo>
                        <a:pt x="141" y="68"/>
                      </a:lnTo>
                      <a:lnTo>
                        <a:pt x="141" y="68"/>
                      </a:lnTo>
                      <a:lnTo>
                        <a:pt x="142" y="68"/>
                      </a:lnTo>
                      <a:lnTo>
                        <a:pt x="145" y="67"/>
                      </a:lnTo>
                      <a:lnTo>
                        <a:pt x="148" y="65"/>
                      </a:lnTo>
                      <a:lnTo>
                        <a:pt x="151" y="65"/>
                      </a:lnTo>
                      <a:lnTo>
                        <a:pt x="151" y="65"/>
                      </a:lnTo>
                      <a:lnTo>
                        <a:pt x="152" y="41"/>
                      </a:lnTo>
                      <a:lnTo>
                        <a:pt x="152" y="29"/>
                      </a:lnTo>
                      <a:lnTo>
                        <a:pt x="152" y="23"/>
                      </a:lnTo>
                      <a:lnTo>
                        <a:pt x="152" y="23"/>
                      </a:lnTo>
                      <a:lnTo>
                        <a:pt x="148" y="15"/>
                      </a:lnTo>
                      <a:lnTo>
                        <a:pt x="141" y="6"/>
                      </a:lnTo>
                      <a:lnTo>
                        <a:pt x="141" y="6"/>
                      </a:lnTo>
                      <a:lnTo>
                        <a:pt x="139" y="9"/>
                      </a:lnTo>
                      <a:lnTo>
                        <a:pt x="139" y="9"/>
                      </a:lnTo>
                      <a:lnTo>
                        <a:pt x="137" y="10"/>
                      </a:lnTo>
                      <a:lnTo>
                        <a:pt x="134" y="10"/>
                      </a:lnTo>
                      <a:lnTo>
                        <a:pt x="125" y="10"/>
                      </a:lnTo>
                      <a:lnTo>
                        <a:pt x="109" y="9"/>
                      </a:lnTo>
                      <a:lnTo>
                        <a:pt x="109" y="9"/>
                      </a:lnTo>
                      <a:lnTo>
                        <a:pt x="106" y="9"/>
                      </a:lnTo>
                      <a:lnTo>
                        <a:pt x="103" y="7"/>
                      </a:lnTo>
                      <a:lnTo>
                        <a:pt x="97" y="2"/>
                      </a:lnTo>
                      <a:lnTo>
                        <a:pt x="97" y="2"/>
                      </a:lnTo>
                      <a:lnTo>
                        <a:pt x="95" y="0"/>
                      </a:lnTo>
                      <a:lnTo>
                        <a:pt x="93" y="2"/>
                      </a:lnTo>
                      <a:lnTo>
                        <a:pt x="92" y="3"/>
                      </a:lnTo>
                      <a:lnTo>
                        <a:pt x="89" y="2"/>
                      </a:lnTo>
                      <a:lnTo>
                        <a:pt x="89" y="2"/>
                      </a:lnTo>
                      <a:lnTo>
                        <a:pt x="86" y="0"/>
                      </a:lnTo>
                      <a:lnTo>
                        <a:pt x="86" y="0"/>
                      </a:lnTo>
                      <a:lnTo>
                        <a:pt x="81" y="3"/>
                      </a:lnTo>
                      <a:lnTo>
                        <a:pt x="81" y="3"/>
                      </a:lnTo>
                      <a:lnTo>
                        <a:pt x="71" y="10"/>
                      </a:lnTo>
                      <a:lnTo>
                        <a:pt x="63" y="16"/>
                      </a:lnTo>
                      <a:lnTo>
                        <a:pt x="63" y="16"/>
                      </a:lnTo>
                      <a:lnTo>
                        <a:pt x="57" y="18"/>
                      </a:lnTo>
                      <a:lnTo>
                        <a:pt x="47" y="15"/>
                      </a:lnTo>
                      <a:lnTo>
                        <a:pt x="31" y="10"/>
                      </a:lnTo>
                      <a:lnTo>
                        <a:pt x="31" y="10"/>
                      </a:lnTo>
                      <a:lnTo>
                        <a:pt x="15" y="6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74"/>
                      </a:lnTo>
                      <a:lnTo>
                        <a:pt x="100" y="174"/>
                      </a:lnTo>
                      <a:lnTo>
                        <a:pt x="100" y="174"/>
                      </a:lnTo>
                      <a:lnTo>
                        <a:pt x="115" y="176"/>
                      </a:lnTo>
                      <a:lnTo>
                        <a:pt x="129" y="178"/>
                      </a:lnTo>
                      <a:lnTo>
                        <a:pt x="141" y="181"/>
                      </a:lnTo>
                      <a:lnTo>
                        <a:pt x="148" y="18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95" name="Freeform 145"/>
                <p:cNvSpPr>
                  <a:spLocks/>
                </p:cNvSpPr>
                <p:nvPr/>
              </p:nvSpPr>
              <p:spPr bwMode="auto">
                <a:xfrm>
                  <a:off x="4817337" y="2798766"/>
                  <a:ext cx="175099" cy="181034"/>
                </a:xfrm>
                <a:custGeom>
                  <a:avLst/>
                  <a:gdLst>
                    <a:gd name="T0" fmla="*/ 148 w 177"/>
                    <a:gd name="T1" fmla="*/ 183 h 183"/>
                    <a:gd name="T2" fmla="*/ 154 w 177"/>
                    <a:gd name="T3" fmla="*/ 181 h 183"/>
                    <a:gd name="T4" fmla="*/ 167 w 177"/>
                    <a:gd name="T5" fmla="*/ 168 h 183"/>
                    <a:gd name="T6" fmla="*/ 177 w 177"/>
                    <a:gd name="T7" fmla="*/ 164 h 183"/>
                    <a:gd name="T8" fmla="*/ 177 w 177"/>
                    <a:gd name="T9" fmla="*/ 164 h 183"/>
                    <a:gd name="T10" fmla="*/ 167 w 177"/>
                    <a:gd name="T11" fmla="*/ 157 h 183"/>
                    <a:gd name="T12" fmla="*/ 161 w 177"/>
                    <a:gd name="T13" fmla="*/ 148 h 183"/>
                    <a:gd name="T14" fmla="*/ 163 w 177"/>
                    <a:gd name="T15" fmla="*/ 144 h 183"/>
                    <a:gd name="T16" fmla="*/ 164 w 177"/>
                    <a:gd name="T17" fmla="*/ 138 h 183"/>
                    <a:gd name="T18" fmla="*/ 151 w 177"/>
                    <a:gd name="T19" fmla="*/ 112 h 183"/>
                    <a:gd name="T20" fmla="*/ 135 w 177"/>
                    <a:gd name="T21" fmla="*/ 81 h 183"/>
                    <a:gd name="T22" fmla="*/ 132 w 177"/>
                    <a:gd name="T23" fmla="*/ 76 h 183"/>
                    <a:gd name="T24" fmla="*/ 132 w 177"/>
                    <a:gd name="T25" fmla="*/ 68 h 183"/>
                    <a:gd name="T26" fmla="*/ 131 w 177"/>
                    <a:gd name="T27" fmla="*/ 65 h 183"/>
                    <a:gd name="T28" fmla="*/ 123 w 177"/>
                    <a:gd name="T29" fmla="*/ 58 h 183"/>
                    <a:gd name="T30" fmla="*/ 122 w 177"/>
                    <a:gd name="T31" fmla="*/ 54 h 183"/>
                    <a:gd name="T32" fmla="*/ 123 w 177"/>
                    <a:gd name="T33" fmla="*/ 54 h 183"/>
                    <a:gd name="T34" fmla="*/ 141 w 177"/>
                    <a:gd name="T35" fmla="*/ 68 h 183"/>
                    <a:gd name="T36" fmla="*/ 142 w 177"/>
                    <a:gd name="T37" fmla="*/ 68 h 183"/>
                    <a:gd name="T38" fmla="*/ 148 w 177"/>
                    <a:gd name="T39" fmla="*/ 65 h 183"/>
                    <a:gd name="T40" fmla="*/ 151 w 177"/>
                    <a:gd name="T41" fmla="*/ 65 h 183"/>
                    <a:gd name="T42" fmla="*/ 152 w 177"/>
                    <a:gd name="T43" fmla="*/ 29 h 183"/>
                    <a:gd name="T44" fmla="*/ 152 w 177"/>
                    <a:gd name="T45" fmla="*/ 23 h 183"/>
                    <a:gd name="T46" fmla="*/ 141 w 177"/>
                    <a:gd name="T47" fmla="*/ 6 h 183"/>
                    <a:gd name="T48" fmla="*/ 139 w 177"/>
                    <a:gd name="T49" fmla="*/ 9 h 183"/>
                    <a:gd name="T50" fmla="*/ 137 w 177"/>
                    <a:gd name="T51" fmla="*/ 10 h 183"/>
                    <a:gd name="T52" fmla="*/ 125 w 177"/>
                    <a:gd name="T53" fmla="*/ 10 h 183"/>
                    <a:gd name="T54" fmla="*/ 109 w 177"/>
                    <a:gd name="T55" fmla="*/ 9 h 183"/>
                    <a:gd name="T56" fmla="*/ 103 w 177"/>
                    <a:gd name="T57" fmla="*/ 7 h 183"/>
                    <a:gd name="T58" fmla="*/ 97 w 177"/>
                    <a:gd name="T59" fmla="*/ 2 h 183"/>
                    <a:gd name="T60" fmla="*/ 93 w 177"/>
                    <a:gd name="T61" fmla="*/ 2 h 183"/>
                    <a:gd name="T62" fmla="*/ 89 w 177"/>
                    <a:gd name="T63" fmla="*/ 2 h 183"/>
                    <a:gd name="T64" fmla="*/ 86 w 177"/>
                    <a:gd name="T65" fmla="*/ 0 h 183"/>
                    <a:gd name="T66" fmla="*/ 81 w 177"/>
                    <a:gd name="T67" fmla="*/ 3 h 183"/>
                    <a:gd name="T68" fmla="*/ 71 w 177"/>
                    <a:gd name="T69" fmla="*/ 10 h 183"/>
                    <a:gd name="T70" fmla="*/ 63 w 177"/>
                    <a:gd name="T71" fmla="*/ 16 h 183"/>
                    <a:gd name="T72" fmla="*/ 47 w 177"/>
                    <a:gd name="T73" fmla="*/ 15 h 183"/>
                    <a:gd name="T74" fmla="*/ 31 w 177"/>
                    <a:gd name="T75" fmla="*/ 10 h 183"/>
                    <a:gd name="T76" fmla="*/ 2 w 177"/>
                    <a:gd name="T77" fmla="*/ 3 h 183"/>
                    <a:gd name="T78" fmla="*/ 0 w 177"/>
                    <a:gd name="T79" fmla="*/ 174 h 183"/>
                    <a:gd name="T80" fmla="*/ 100 w 177"/>
                    <a:gd name="T81" fmla="*/ 174 h 183"/>
                    <a:gd name="T82" fmla="*/ 129 w 177"/>
                    <a:gd name="T83" fmla="*/ 178 h 183"/>
                    <a:gd name="T84" fmla="*/ 148 w 177"/>
                    <a:gd name="T85" fmla="*/ 183 h 1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7" h="183">
                      <a:moveTo>
                        <a:pt x="148" y="183"/>
                      </a:moveTo>
                      <a:lnTo>
                        <a:pt x="148" y="183"/>
                      </a:lnTo>
                      <a:lnTo>
                        <a:pt x="151" y="183"/>
                      </a:lnTo>
                      <a:lnTo>
                        <a:pt x="154" y="181"/>
                      </a:lnTo>
                      <a:lnTo>
                        <a:pt x="158" y="176"/>
                      </a:lnTo>
                      <a:lnTo>
                        <a:pt x="167" y="168"/>
                      </a:lnTo>
                      <a:lnTo>
                        <a:pt x="167" y="168"/>
                      </a:lnTo>
                      <a:lnTo>
                        <a:pt x="177" y="164"/>
                      </a:lnTo>
                      <a:lnTo>
                        <a:pt x="177" y="164"/>
                      </a:lnTo>
                      <a:lnTo>
                        <a:pt x="177" y="164"/>
                      </a:lnTo>
                      <a:lnTo>
                        <a:pt x="171" y="161"/>
                      </a:lnTo>
                      <a:lnTo>
                        <a:pt x="167" y="157"/>
                      </a:lnTo>
                      <a:lnTo>
                        <a:pt x="161" y="148"/>
                      </a:lnTo>
                      <a:lnTo>
                        <a:pt x="161" y="148"/>
                      </a:lnTo>
                      <a:lnTo>
                        <a:pt x="161" y="147"/>
                      </a:lnTo>
                      <a:lnTo>
                        <a:pt x="163" y="144"/>
                      </a:lnTo>
                      <a:lnTo>
                        <a:pt x="164" y="141"/>
                      </a:lnTo>
                      <a:lnTo>
                        <a:pt x="164" y="138"/>
                      </a:lnTo>
                      <a:lnTo>
                        <a:pt x="164" y="138"/>
                      </a:lnTo>
                      <a:lnTo>
                        <a:pt x="151" y="112"/>
                      </a:lnTo>
                      <a:lnTo>
                        <a:pt x="142" y="94"/>
                      </a:lnTo>
                      <a:lnTo>
                        <a:pt x="135" y="81"/>
                      </a:lnTo>
                      <a:lnTo>
                        <a:pt x="135" y="81"/>
                      </a:lnTo>
                      <a:lnTo>
                        <a:pt x="132" y="76"/>
                      </a:lnTo>
                      <a:lnTo>
                        <a:pt x="131" y="73"/>
                      </a:lnTo>
                      <a:lnTo>
                        <a:pt x="132" y="68"/>
                      </a:lnTo>
                      <a:lnTo>
                        <a:pt x="132" y="68"/>
                      </a:lnTo>
                      <a:lnTo>
                        <a:pt x="131" y="65"/>
                      </a:lnTo>
                      <a:lnTo>
                        <a:pt x="128" y="61"/>
                      </a:lnTo>
                      <a:lnTo>
                        <a:pt x="123" y="58"/>
                      </a:lnTo>
                      <a:lnTo>
                        <a:pt x="122" y="54"/>
                      </a:lnTo>
                      <a:lnTo>
                        <a:pt x="122" y="54"/>
                      </a:lnTo>
                      <a:lnTo>
                        <a:pt x="122" y="54"/>
                      </a:lnTo>
                      <a:lnTo>
                        <a:pt x="123" y="54"/>
                      </a:lnTo>
                      <a:lnTo>
                        <a:pt x="129" y="60"/>
                      </a:lnTo>
                      <a:lnTo>
                        <a:pt x="141" y="68"/>
                      </a:lnTo>
                      <a:lnTo>
                        <a:pt x="141" y="68"/>
                      </a:lnTo>
                      <a:lnTo>
                        <a:pt x="142" y="68"/>
                      </a:lnTo>
                      <a:lnTo>
                        <a:pt x="145" y="67"/>
                      </a:lnTo>
                      <a:lnTo>
                        <a:pt x="148" y="65"/>
                      </a:lnTo>
                      <a:lnTo>
                        <a:pt x="151" y="65"/>
                      </a:lnTo>
                      <a:lnTo>
                        <a:pt x="151" y="65"/>
                      </a:lnTo>
                      <a:lnTo>
                        <a:pt x="152" y="41"/>
                      </a:lnTo>
                      <a:lnTo>
                        <a:pt x="152" y="29"/>
                      </a:lnTo>
                      <a:lnTo>
                        <a:pt x="152" y="23"/>
                      </a:lnTo>
                      <a:lnTo>
                        <a:pt x="152" y="23"/>
                      </a:lnTo>
                      <a:lnTo>
                        <a:pt x="148" y="15"/>
                      </a:lnTo>
                      <a:lnTo>
                        <a:pt x="141" y="6"/>
                      </a:lnTo>
                      <a:lnTo>
                        <a:pt x="141" y="6"/>
                      </a:lnTo>
                      <a:lnTo>
                        <a:pt x="139" y="9"/>
                      </a:lnTo>
                      <a:lnTo>
                        <a:pt x="139" y="9"/>
                      </a:lnTo>
                      <a:lnTo>
                        <a:pt x="137" y="10"/>
                      </a:lnTo>
                      <a:lnTo>
                        <a:pt x="134" y="10"/>
                      </a:lnTo>
                      <a:lnTo>
                        <a:pt x="125" y="10"/>
                      </a:lnTo>
                      <a:lnTo>
                        <a:pt x="109" y="9"/>
                      </a:lnTo>
                      <a:lnTo>
                        <a:pt x="109" y="9"/>
                      </a:lnTo>
                      <a:lnTo>
                        <a:pt x="106" y="9"/>
                      </a:lnTo>
                      <a:lnTo>
                        <a:pt x="103" y="7"/>
                      </a:lnTo>
                      <a:lnTo>
                        <a:pt x="97" y="2"/>
                      </a:lnTo>
                      <a:lnTo>
                        <a:pt x="97" y="2"/>
                      </a:lnTo>
                      <a:lnTo>
                        <a:pt x="95" y="0"/>
                      </a:lnTo>
                      <a:lnTo>
                        <a:pt x="93" y="2"/>
                      </a:lnTo>
                      <a:lnTo>
                        <a:pt x="92" y="3"/>
                      </a:lnTo>
                      <a:lnTo>
                        <a:pt x="89" y="2"/>
                      </a:lnTo>
                      <a:lnTo>
                        <a:pt x="89" y="2"/>
                      </a:lnTo>
                      <a:lnTo>
                        <a:pt x="86" y="0"/>
                      </a:lnTo>
                      <a:lnTo>
                        <a:pt x="86" y="0"/>
                      </a:lnTo>
                      <a:lnTo>
                        <a:pt x="81" y="3"/>
                      </a:lnTo>
                      <a:lnTo>
                        <a:pt x="81" y="3"/>
                      </a:lnTo>
                      <a:lnTo>
                        <a:pt x="71" y="10"/>
                      </a:lnTo>
                      <a:lnTo>
                        <a:pt x="63" y="16"/>
                      </a:lnTo>
                      <a:lnTo>
                        <a:pt x="63" y="16"/>
                      </a:lnTo>
                      <a:lnTo>
                        <a:pt x="57" y="18"/>
                      </a:lnTo>
                      <a:lnTo>
                        <a:pt x="47" y="15"/>
                      </a:lnTo>
                      <a:lnTo>
                        <a:pt x="31" y="10"/>
                      </a:lnTo>
                      <a:lnTo>
                        <a:pt x="31" y="10"/>
                      </a:lnTo>
                      <a:lnTo>
                        <a:pt x="15" y="6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74"/>
                      </a:lnTo>
                      <a:lnTo>
                        <a:pt x="100" y="174"/>
                      </a:lnTo>
                      <a:lnTo>
                        <a:pt x="100" y="174"/>
                      </a:lnTo>
                      <a:lnTo>
                        <a:pt x="115" y="176"/>
                      </a:lnTo>
                      <a:lnTo>
                        <a:pt x="129" y="178"/>
                      </a:lnTo>
                      <a:lnTo>
                        <a:pt x="141" y="181"/>
                      </a:lnTo>
                      <a:lnTo>
                        <a:pt x="148" y="18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96" name="Freeform 146"/>
                <p:cNvSpPr>
                  <a:spLocks/>
                </p:cNvSpPr>
                <p:nvPr/>
              </p:nvSpPr>
              <p:spPr bwMode="auto">
                <a:xfrm>
                  <a:off x="4757981" y="2961005"/>
                  <a:ext cx="270068" cy="307660"/>
                </a:xfrm>
                <a:custGeom>
                  <a:avLst/>
                  <a:gdLst>
                    <a:gd name="T0" fmla="*/ 186 w 273"/>
                    <a:gd name="T1" fmla="*/ 245 h 311"/>
                    <a:gd name="T2" fmla="*/ 202 w 273"/>
                    <a:gd name="T3" fmla="*/ 233 h 311"/>
                    <a:gd name="T4" fmla="*/ 208 w 273"/>
                    <a:gd name="T5" fmla="*/ 203 h 311"/>
                    <a:gd name="T6" fmla="*/ 214 w 273"/>
                    <a:gd name="T7" fmla="*/ 197 h 311"/>
                    <a:gd name="T8" fmla="*/ 220 w 273"/>
                    <a:gd name="T9" fmla="*/ 181 h 311"/>
                    <a:gd name="T10" fmla="*/ 228 w 273"/>
                    <a:gd name="T11" fmla="*/ 174 h 311"/>
                    <a:gd name="T12" fmla="*/ 236 w 273"/>
                    <a:gd name="T13" fmla="*/ 165 h 311"/>
                    <a:gd name="T14" fmla="*/ 239 w 273"/>
                    <a:gd name="T15" fmla="*/ 145 h 311"/>
                    <a:gd name="T16" fmla="*/ 241 w 273"/>
                    <a:gd name="T17" fmla="*/ 130 h 311"/>
                    <a:gd name="T18" fmla="*/ 247 w 273"/>
                    <a:gd name="T19" fmla="*/ 98 h 311"/>
                    <a:gd name="T20" fmla="*/ 256 w 273"/>
                    <a:gd name="T21" fmla="*/ 91 h 311"/>
                    <a:gd name="T22" fmla="*/ 270 w 273"/>
                    <a:gd name="T23" fmla="*/ 82 h 311"/>
                    <a:gd name="T24" fmla="*/ 273 w 273"/>
                    <a:gd name="T25" fmla="*/ 78 h 311"/>
                    <a:gd name="T26" fmla="*/ 263 w 273"/>
                    <a:gd name="T27" fmla="*/ 67 h 311"/>
                    <a:gd name="T28" fmla="*/ 250 w 273"/>
                    <a:gd name="T29" fmla="*/ 46 h 311"/>
                    <a:gd name="T30" fmla="*/ 246 w 273"/>
                    <a:gd name="T31" fmla="*/ 25 h 311"/>
                    <a:gd name="T32" fmla="*/ 244 w 273"/>
                    <a:gd name="T33" fmla="*/ 7 h 311"/>
                    <a:gd name="T34" fmla="*/ 237 w 273"/>
                    <a:gd name="T35" fmla="*/ 0 h 311"/>
                    <a:gd name="T36" fmla="*/ 227 w 273"/>
                    <a:gd name="T37" fmla="*/ 4 h 311"/>
                    <a:gd name="T38" fmla="*/ 211 w 273"/>
                    <a:gd name="T39" fmla="*/ 19 h 311"/>
                    <a:gd name="T40" fmla="*/ 201 w 273"/>
                    <a:gd name="T41" fmla="*/ 17 h 311"/>
                    <a:gd name="T42" fmla="*/ 160 w 273"/>
                    <a:gd name="T43" fmla="*/ 10 h 311"/>
                    <a:gd name="T44" fmla="*/ 40 w 273"/>
                    <a:gd name="T45" fmla="*/ 45 h 311"/>
                    <a:gd name="T46" fmla="*/ 40 w 273"/>
                    <a:gd name="T47" fmla="*/ 107 h 311"/>
                    <a:gd name="T48" fmla="*/ 39 w 273"/>
                    <a:gd name="T49" fmla="*/ 109 h 311"/>
                    <a:gd name="T50" fmla="*/ 27 w 273"/>
                    <a:gd name="T51" fmla="*/ 104 h 311"/>
                    <a:gd name="T52" fmla="*/ 21 w 273"/>
                    <a:gd name="T53" fmla="*/ 113 h 311"/>
                    <a:gd name="T54" fmla="*/ 15 w 273"/>
                    <a:gd name="T55" fmla="*/ 122 h 311"/>
                    <a:gd name="T56" fmla="*/ 4 w 273"/>
                    <a:gd name="T57" fmla="*/ 138 h 311"/>
                    <a:gd name="T58" fmla="*/ 1 w 273"/>
                    <a:gd name="T59" fmla="*/ 156 h 311"/>
                    <a:gd name="T60" fmla="*/ 1 w 273"/>
                    <a:gd name="T61" fmla="*/ 166 h 311"/>
                    <a:gd name="T62" fmla="*/ 8 w 273"/>
                    <a:gd name="T63" fmla="*/ 171 h 311"/>
                    <a:gd name="T64" fmla="*/ 21 w 273"/>
                    <a:gd name="T65" fmla="*/ 188 h 311"/>
                    <a:gd name="T66" fmla="*/ 30 w 273"/>
                    <a:gd name="T67" fmla="*/ 195 h 311"/>
                    <a:gd name="T68" fmla="*/ 44 w 273"/>
                    <a:gd name="T69" fmla="*/ 211 h 311"/>
                    <a:gd name="T70" fmla="*/ 42 w 273"/>
                    <a:gd name="T71" fmla="*/ 222 h 311"/>
                    <a:gd name="T72" fmla="*/ 37 w 273"/>
                    <a:gd name="T73" fmla="*/ 233 h 311"/>
                    <a:gd name="T74" fmla="*/ 43 w 273"/>
                    <a:gd name="T75" fmla="*/ 235 h 311"/>
                    <a:gd name="T76" fmla="*/ 52 w 273"/>
                    <a:gd name="T77" fmla="*/ 235 h 311"/>
                    <a:gd name="T78" fmla="*/ 73 w 273"/>
                    <a:gd name="T79" fmla="*/ 259 h 311"/>
                    <a:gd name="T80" fmla="*/ 81 w 273"/>
                    <a:gd name="T81" fmla="*/ 274 h 311"/>
                    <a:gd name="T82" fmla="*/ 91 w 273"/>
                    <a:gd name="T83" fmla="*/ 282 h 311"/>
                    <a:gd name="T84" fmla="*/ 92 w 273"/>
                    <a:gd name="T85" fmla="*/ 294 h 311"/>
                    <a:gd name="T86" fmla="*/ 102 w 273"/>
                    <a:gd name="T87" fmla="*/ 298 h 311"/>
                    <a:gd name="T88" fmla="*/ 114 w 273"/>
                    <a:gd name="T89" fmla="*/ 304 h 311"/>
                    <a:gd name="T90" fmla="*/ 128 w 273"/>
                    <a:gd name="T91" fmla="*/ 297 h 311"/>
                    <a:gd name="T92" fmla="*/ 134 w 273"/>
                    <a:gd name="T93" fmla="*/ 298 h 311"/>
                    <a:gd name="T94" fmla="*/ 144 w 273"/>
                    <a:gd name="T95" fmla="*/ 310 h 311"/>
                    <a:gd name="T96" fmla="*/ 166 w 273"/>
                    <a:gd name="T97" fmla="*/ 311 h 311"/>
                    <a:gd name="T98" fmla="*/ 186 w 273"/>
                    <a:gd name="T99" fmla="*/ 310 h 311"/>
                    <a:gd name="T100" fmla="*/ 197 w 273"/>
                    <a:gd name="T101" fmla="*/ 306 h 311"/>
                    <a:gd name="T102" fmla="*/ 221 w 273"/>
                    <a:gd name="T103" fmla="*/ 298 h 311"/>
                    <a:gd name="T104" fmla="*/ 215 w 273"/>
                    <a:gd name="T105" fmla="*/ 272 h 3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73" h="311">
                      <a:moveTo>
                        <a:pt x="201" y="253"/>
                      </a:moveTo>
                      <a:lnTo>
                        <a:pt x="201" y="253"/>
                      </a:lnTo>
                      <a:lnTo>
                        <a:pt x="186" y="245"/>
                      </a:lnTo>
                      <a:lnTo>
                        <a:pt x="186" y="233"/>
                      </a:lnTo>
                      <a:lnTo>
                        <a:pt x="202" y="233"/>
                      </a:lnTo>
                      <a:lnTo>
                        <a:pt x="202" y="233"/>
                      </a:lnTo>
                      <a:lnTo>
                        <a:pt x="204" y="219"/>
                      </a:lnTo>
                      <a:lnTo>
                        <a:pt x="207" y="207"/>
                      </a:lnTo>
                      <a:lnTo>
                        <a:pt x="208" y="203"/>
                      </a:lnTo>
                      <a:lnTo>
                        <a:pt x="211" y="201"/>
                      </a:lnTo>
                      <a:lnTo>
                        <a:pt x="211" y="201"/>
                      </a:lnTo>
                      <a:lnTo>
                        <a:pt x="214" y="197"/>
                      </a:lnTo>
                      <a:lnTo>
                        <a:pt x="215" y="191"/>
                      </a:lnTo>
                      <a:lnTo>
                        <a:pt x="217" y="187"/>
                      </a:lnTo>
                      <a:lnTo>
                        <a:pt x="220" y="181"/>
                      </a:lnTo>
                      <a:lnTo>
                        <a:pt x="220" y="181"/>
                      </a:lnTo>
                      <a:lnTo>
                        <a:pt x="224" y="177"/>
                      </a:lnTo>
                      <a:lnTo>
                        <a:pt x="228" y="174"/>
                      </a:lnTo>
                      <a:lnTo>
                        <a:pt x="233" y="169"/>
                      </a:lnTo>
                      <a:lnTo>
                        <a:pt x="236" y="165"/>
                      </a:lnTo>
                      <a:lnTo>
                        <a:pt x="236" y="165"/>
                      </a:lnTo>
                      <a:lnTo>
                        <a:pt x="237" y="159"/>
                      </a:lnTo>
                      <a:lnTo>
                        <a:pt x="239" y="152"/>
                      </a:lnTo>
                      <a:lnTo>
                        <a:pt x="239" y="145"/>
                      </a:lnTo>
                      <a:lnTo>
                        <a:pt x="240" y="139"/>
                      </a:lnTo>
                      <a:lnTo>
                        <a:pt x="240" y="139"/>
                      </a:lnTo>
                      <a:lnTo>
                        <a:pt x="241" y="130"/>
                      </a:lnTo>
                      <a:lnTo>
                        <a:pt x="243" y="116"/>
                      </a:lnTo>
                      <a:lnTo>
                        <a:pt x="246" y="103"/>
                      </a:lnTo>
                      <a:lnTo>
                        <a:pt x="247" y="98"/>
                      </a:lnTo>
                      <a:lnTo>
                        <a:pt x="250" y="96"/>
                      </a:lnTo>
                      <a:lnTo>
                        <a:pt x="250" y="96"/>
                      </a:lnTo>
                      <a:lnTo>
                        <a:pt x="256" y="91"/>
                      </a:lnTo>
                      <a:lnTo>
                        <a:pt x="262" y="88"/>
                      </a:lnTo>
                      <a:lnTo>
                        <a:pt x="266" y="85"/>
                      </a:lnTo>
                      <a:lnTo>
                        <a:pt x="270" y="82"/>
                      </a:lnTo>
                      <a:lnTo>
                        <a:pt x="270" y="82"/>
                      </a:lnTo>
                      <a:lnTo>
                        <a:pt x="273" y="78"/>
                      </a:lnTo>
                      <a:lnTo>
                        <a:pt x="273" y="78"/>
                      </a:lnTo>
                      <a:lnTo>
                        <a:pt x="267" y="71"/>
                      </a:lnTo>
                      <a:lnTo>
                        <a:pt x="263" y="67"/>
                      </a:lnTo>
                      <a:lnTo>
                        <a:pt x="263" y="67"/>
                      </a:lnTo>
                      <a:lnTo>
                        <a:pt x="259" y="62"/>
                      </a:lnTo>
                      <a:lnTo>
                        <a:pt x="254" y="55"/>
                      </a:lnTo>
                      <a:lnTo>
                        <a:pt x="250" y="46"/>
                      </a:lnTo>
                      <a:lnTo>
                        <a:pt x="249" y="39"/>
                      </a:lnTo>
                      <a:lnTo>
                        <a:pt x="249" y="39"/>
                      </a:lnTo>
                      <a:lnTo>
                        <a:pt x="246" y="25"/>
                      </a:lnTo>
                      <a:lnTo>
                        <a:pt x="244" y="12"/>
                      </a:lnTo>
                      <a:lnTo>
                        <a:pt x="244" y="12"/>
                      </a:lnTo>
                      <a:lnTo>
                        <a:pt x="244" y="7"/>
                      </a:lnTo>
                      <a:lnTo>
                        <a:pt x="244" y="4"/>
                      </a:lnTo>
                      <a:lnTo>
                        <a:pt x="241" y="3"/>
                      </a:lnTo>
                      <a:lnTo>
                        <a:pt x="237" y="0"/>
                      </a:lnTo>
                      <a:lnTo>
                        <a:pt x="237" y="0"/>
                      </a:lnTo>
                      <a:lnTo>
                        <a:pt x="227" y="4"/>
                      </a:lnTo>
                      <a:lnTo>
                        <a:pt x="227" y="4"/>
                      </a:lnTo>
                      <a:lnTo>
                        <a:pt x="218" y="12"/>
                      </a:lnTo>
                      <a:lnTo>
                        <a:pt x="214" y="17"/>
                      </a:lnTo>
                      <a:lnTo>
                        <a:pt x="211" y="19"/>
                      </a:lnTo>
                      <a:lnTo>
                        <a:pt x="208" y="19"/>
                      </a:lnTo>
                      <a:lnTo>
                        <a:pt x="208" y="19"/>
                      </a:lnTo>
                      <a:lnTo>
                        <a:pt x="201" y="17"/>
                      </a:lnTo>
                      <a:lnTo>
                        <a:pt x="189" y="14"/>
                      </a:lnTo>
                      <a:lnTo>
                        <a:pt x="175" y="12"/>
                      </a:lnTo>
                      <a:lnTo>
                        <a:pt x="160" y="10"/>
                      </a:lnTo>
                      <a:lnTo>
                        <a:pt x="60" y="10"/>
                      </a:lnTo>
                      <a:lnTo>
                        <a:pt x="60" y="45"/>
                      </a:lnTo>
                      <a:lnTo>
                        <a:pt x="40" y="45"/>
                      </a:lnTo>
                      <a:lnTo>
                        <a:pt x="40" y="45"/>
                      </a:lnTo>
                      <a:lnTo>
                        <a:pt x="40" y="74"/>
                      </a:lnTo>
                      <a:lnTo>
                        <a:pt x="40" y="107"/>
                      </a:lnTo>
                      <a:lnTo>
                        <a:pt x="40" y="107"/>
                      </a:lnTo>
                      <a:lnTo>
                        <a:pt x="40" y="109"/>
                      </a:lnTo>
                      <a:lnTo>
                        <a:pt x="39" y="109"/>
                      </a:lnTo>
                      <a:lnTo>
                        <a:pt x="36" y="109"/>
                      </a:lnTo>
                      <a:lnTo>
                        <a:pt x="27" y="104"/>
                      </a:lnTo>
                      <a:lnTo>
                        <a:pt x="27" y="104"/>
                      </a:lnTo>
                      <a:lnTo>
                        <a:pt x="24" y="104"/>
                      </a:lnTo>
                      <a:lnTo>
                        <a:pt x="23" y="106"/>
                      </a:lnTo>
                      <a:lnTo>
                        <a:pt x="21" y="113"/>
                      </a:lnTo>
                      <a:lnTo>
                        <a:pt x="21" y="113"/>
                      </a:lnTo>
                      <a:lnTo>
                        <a:pt x="18" y="117"/>
                      </a:lnTo>
                      <a:lnTo>
                        <a:pt x="15" y="122"/>
                      </a:lnTo>
                      <a:lnTo>
                        <a:pt x="7" y="132"/>
                      </a:lnTo>
                      <a:lnTo>
                        <a:pt x="7" y="132"/>
                      </a:lnTo>
                      <a:lnTo>
                        <a:pt x="4" y="138"/>
                      </a:lnTo>
                      <a:lnTo>
                        <a:pt x="2" y="145"/>
                      </a:lnTo>
                      <a:lnTo>
                        <a:pt x="1" y="156"/>
                      </a:lnTo>
                      <a:lnTo>
                        <a:pt x="1" y="156"/>
                      </a:lnTo>
                      <a:lnTo>
                        <a:pt x="0" y="159"/>
                      </a:lnTo>
                      <a:lnTo>
                        <a:pt x="0" y="164"/>
                      </a:lnTo>
                      <a:lnTo>
                        <a:pt x="1" y="166"/>
                      </a:lnTo>
                      <a:lnTo>
                        <a:pt x="4" y="168"/>
                      </a:lnTo>
                      <a:lnTo>
                        <a:pt x="4" y="168"/>
                      </a:lnTo>
                      <a:lnTo>
                        <a:pt x="8" y="171"/>
                      </a:lnTo>
                      <a:lnTo>
                        <a:pt x="13" y="175"/>
                      </a:lnTo>
                      <a:lnTo>
                        <a:pt x="21" y="188"/>
                      </a:lnTo>
                      <a:lnTo>
                        <a:pt x="21" y="188"/>
                      </a:lnTo>
                      <a:lnTo>
                        <a:pt x="21" y="193"/>
                      </a:lnTo>
                      <a:lnTo>
                        <a:pt x="21" y="193"/>
                      </a:lnTo>
                      <a:lnTo>
                        <a:pt x="30" y="195"/>
                      </a:lnTo>
                      <a:lnTo>
                        <a:pt x="37" y="200"/>
                      </a:lnTo>
                      <a:lnTo>
                        <a:pt x="42" y="206"/>
                      </a:lnTo>
                      <a:lnTo>
                        <a:pt x="44" y="211"/>
                      </a:lnTo>
                      <a:lnTo>
                        <a:pt x="44" y="211"/>
                      </a:lnTo>
                      <a:lnTo>
                        <a:pt x="43" y="217"/>
                      </a:lnTo>
                      <a:lnTo>
                        <a:pt x="42" y="222"/>
                      </a:lnTo>
                      <a:lnTo>
                        <a:pt x="39" y="227"/>
                      </a:lnTo>
                      <a:lnTo>
                        <a:pt x="37" y="233"/>
                      </a:lnTo>
                      <a:lnTo>
                        <a:pt x="37" y="233"/>
                      </a:lnTo>
                      <a:lnTo>
                        <a:pt x="39" y="236"/>
                      </a:lnTo>
                      <a:lnTo>
                        <a:pt x="40" y="236"/>
                      </a:lnTo>
                      <a:lnTo>
                        <a:pt x="43" y="235"/>
                      </a:lnTo>
                      <a:lnTo>
                        <a:pt x="49" y="233"/>
                      </a:lnTo>
                      <a:lnTo>
                        <a:pt x="49" y="233"/>
                      </a:lnTo>
                      <a:lnTo>
                        <a:pt x="52" y="235"/>
                      </a:lnTo>
                      <a:lnTo>
                        <a:pt x="56" y="237"/>
                      </a:lnTo>
                      <a:lnTo>
                        <a:pt x="65" y="248"/>
                      </a:lnTo>
                      <a:lnTo>
                        <a:pt x="73" y="259"/>
                      </a:lnTo>
                      <a:lnTo>
                        <a:pt x="78" y="268"/>
                      </a:lnTo>
                      <a:lnTo>
                        <a:pt x="78" y="268"/>
                      </a:lnTo>
                      <a:lnTo>
                        <a:pt x="81" y="274"/>
                      </a:lnTo>
                      <a:lnTo>
                        <a:pt x="84" y="275"/>
                      </a:lnTo>
                      <a:lnTo>
                        <a:pt x="88" y="278"/>
                      </a:lnTo>
                      <a:lnTo>
                        <a:pt x="91" y="282"/>
                      </a:lnTo>
                      <a:lnTo>
                        <a:pt x="91" y="282"/>
                      </a:lnTo>
                      <a:lnTo>
                        <a:pt x="92" y="287"/>
                      </a:lnTo>
                      <a:lnTo>
                        <a:pt x="92" y="294"/>
                      </a:lnTo>
                      <a:lnTo>
                        <a:pt x="92" y="294"/>
                      </a:lnTo>
                      <a:lnTo>
                        <a:pt x="102" y="298"/>
                      </a:lnTo>
                      <a:lnTo>
                        <a:pt x="102" y="298"/>
                      </a:lnTo>
                      <a:lnTo>
                        <a:pt x="108" y="304"/>
                      </a:lnTo>
                      <a:lnTo>
                        <a:pt x="111" y="304"/>
                      </a:lnTo>
                      <a:lnTo>
                        <a:pt x="114" y="304"/>
                      </a:lnTo>
                      <a:lnTo>
                        <a:pt x="114" y="304"/>
                      </a:lnTo>
                      <a:lnTo>
                        <a:pt x="123" y="298"/>
                      </a:lnTo>
                      <a:lnTo>
                        <a:pt x="128" y="297"/>
                      </a:lnTo>
                      <a:lnTo>
                        <a:pt x="131" y="297"/>
                      </a:lnTo>
                      <a:lnTo>
                        <a:pt x="134" y="298"/>
                      </a:lnTo>
                      <a:lnTo>
                        <a:pt x="134" y="298"/>
                      </a:lnTo>
                      <a:lnTo>
                        <a:pt x="139" y="303"/>
                      </a:lnTo>
                      <a:lnTo>
                        <a:pt x="141" y="307"/>
                      </a:lnTo>
                      <a:lnTo>
                        <a:pt x="144" y="310"/>
                      </a:lnTo>
                      <a:lnTo>
                        <a:pt x="150" y="310"/>
                      </a:lnTo>
                      <a:lnTo>
                        <a:pt x="150" y="310"/>
                      </a:lnTo>
                      <a:lnTo>
                        <a:pt x="166" y="311"/>
                      </a:lnTo>
                      <a:lnTo>
                        <a:pt x="166" y="311"/>
                      </a:lnTo>
                      <a:lnTo>
                        <a:pt x="181" y="311"/>
                      </a:lnTo>
                      <a:lnTo>
                        <a:pt x="186" y="310"/>
                      </a:lnTo>
                      <a:lnTo>
                        <a:pt x="189" y="308"/>
                      </a:lnTo>
                      <a:lnTo>
                        <a:pt x="189" y="308"/>
                      </a:lnTo>
                      <a:lnTo>
                        <a:pt x="197" y="306"/>
                      </a:lnTo>
                      <a:lnTo>
                        <a:pt x="205" y="303"/>
                      </a:lnTo>
                      <a:lnTo>
                        <a:pt x="221" y="298"/>
                      </a:lnTo>
                      <a:lnTo>
                        <a:pt x="221" y="298"/>
                      </a:lnTo>
                      <a:lnTo>
                        <a:pt x="230" y="297"/>
                      </a:lnTo>
                      <a:lnTo>
                        <a:pt x="230" y="297"/>
                      </a:lnTo>
                      <a:lnTo>
                        <a:pt x="215" y="272"/>
                      </a:lnTo>
                      <a:lnTo>
                        <a:pt x="207" y="261"/>
                      </a:lnTo>
                      <a:lnTo>
                        <a:pt x="201" y="25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97" name="Freeform 147"/>
                <p:cNvSpPr>
                  <a:spLocks/>
                </p:cNvSpPr>
                <p:nvPr/>
              </p:nvSpPr>
              <p:spPr bwMode="auto">
                <a:xfrm>
                  <a:off x="4757981" y="2961005"/>
                  <a:ext cx="270068" cy="307660"/>
                </a:xfrm>
                <a:custGeom>
                  <a:avLst/>
                  <a:gdLst>
                    <a:gd name="T0" fmla="*/ 186 w 273"/>
                    <a:gd name="T1" fmla="*/ 245 h 311"/>
                    <a:gd name="T2" fmla="*/ 202 w 273"/>
                    <a:gd name="T3" fmla="*/ 233 h 311"/>
                    <a:gd name="T4" fmla="*/ 208 w 273"/>
                    <a:gd name="T5" fmla="*/ 203 h 311"/>
                    <a:gd name="T6" fmla="*/ 214 w 273"/>
                    <a:gd name="T7" fmla="*/ 197 h 311"/>
                    <a:gd name="T8" fmla="*/ 220 w 273"/>
                    <a:gd name="T9" fmla="*/ 181 h 311"/>
                    <a:gd name="T10" fmla="*/ 228 w 273"/>
                    <a:gd name="T11" fmla="*/ 174 h 311"/>
                    <a:gd name="T12" fmla="*/ 236 w 273"/>
                    <a:gd name="T13" fmla="*/ 165 h 311"/>
                    <a:gd name="T14" fmla="*/ 239 w 273"/>
                    <a:gd name="T15" fmla="*/ 145 h 311"/>
                    <a:gd name="T16" fmla="*/ 241 w 273"/>
                    <a:gd name="T17" fmla="*/ 130 h 311"/>
                    <a:gd name="T18" fmla="*/ 247 w 273"/>
                    <a:gd name="T19" fmla="*/ 98 h 311"/>
                    <a:gd name="T20" fmla="*/ 256 w 273"/>
                    <a:gd name="T21" fmla="*/ 91 h 311"/>
                    <a:gd name="T22" fmla="*/ 270 w 273"/>
                    <a:gd name="T23" fmla="*/ 82 h 311"/>
                    <a:gd name="T24" fmla="*/ 273 w 273"/>
                    <a:gd name="T25" fmla="*/ 78 h 311"/>
                    <a:gd name="T26" fmla="*/ 263 w 273"/>
                    <a:gd name="T27" fmla="*/ 67 h 311"/>
                    <a:gd name="T28" fmla="*/ 250 w 273"/>
                    <a:gd name="T29" fmla="*/ 46 h 311"/>
                    <a:gd name="T30" fmla="*/ 246 w 273"/>
                    <a:gd name="T31" fmla="*/ 25 h 311"/>
                    <a:gd name="T32" fmla="*/ 244 w 273"/>
                    <a:gd name="T33" fmla="*/ 7 h 311"/>
                    <a:gd name="T34" fmla="*/ 237 w 273"/>
                    <a:gd name="T35" fmla="*/ 0 h 311"/>
                    <a:gd name="T36" fmla="*/ 227 w 273"/>
                    <a:gd name="T37" fmla="*/ 4 h 311"/>
                    <a:gd name="T38" fmla="*/ 211 w 273"/>
                    <a:gd name="T39" fmla="*/ 19 h 311"/>
                    <a:gd name="T40" fmla="*/ 201 w 273"/>
                    <a:gd name="T41" fmla="*/ 17 h 311"/>
                    <a:gd name="T42" fmla="*/ 160 w 273"/>
                    <a:gd name="T43" fmla="*/ 10 h 311"/>
                    <a:gd name="T44" fmla="*/ 40 w 273"/>
                    <a:gd name="T45" fmla="*/ 45 h 311"/>
                    <a:gd name="T46" fmla="*/ 40 w 273"/>
                    <a:gd name="T47" fmla="*/ 107 h 311"/>
                    <a:gd name="T48" fmla="*/ 39 w 273"/>
                    <a:gd name="T49" fmla="*/ 109 h 311"/>
                    <a:gd name="T50" fmla="*/ 27 w 273"/>
                    <a:gd name="T51" fmla="*/ 104 h 311"/>
                    <a:gd name="T52" fmla="*/ 21 w 273"/>
                    <a:gd name="T53" fmla="*/ 113 h 311"/>
                    <a:gd name="T54" fmla="*/ 15 w 273"/>
                    <a:gd name="T55" fmla="*/ 122 h 311"/>
                    <a:gd name="T56" fmla="*/ 4 w 273"/>
                    <a:gd name="T57" fmla="*/ 138 h 311"/>
                    <a:gd name="T58" fmla="*/ 1 w 273"/>
                    <a:gd name="T59" fmla="*/ 156 h 311"/>
                    <a:gd name="T60" fmla="*/ 1 w 273"/>
                    <a:gd name="T61" fmla="*/ 166 h 311"/>
                    <a:gd name="T62" fmla="*/ 8 w 273"/>
                    <a:gd name="T63" fmla="*/ 171 h 311"/>
                    <a:gd name="T64" fmla="*/ 21 w 273"/>
                    <a:gd name="T65" fmla="*/ 188 h 311"/>
                    <a:gd name="T66" fmla="*/ 30 w 273"/>
                    <a:gd name="T67" fmla="*/ 195 h 311"/>
                    <a:gd name="T68" fmla="*/ 44 w 273"/>
                    <a:gd name="T69" fmla="*/ 211 h 311"/>
                    <a:gd name="T70" fmla="*/ 42 w 273"/>
                    <a:gd name="T71" fmla="*/ 222 h 311"/>
                    <a:gd name="T72" fmla="*/ 37 w 273"/>
                    <a:gd name="T73" fmla="*/ 233 h 311"/>
                    <a:gd name="T74" fmla="*/ 43 w 273"/>
                    <a:gd name="T75" fmla="*/ 235 h 311"/>
                    <a:gd name="T76" fmla="*/ 52 w 273"/>
                    <a:gd name="T77" fmla="*/ 235 h 311"/>
                    <a:gd name="T78" fmla="*/ 73 w 273"/>
                    <a:gd name="T79" fmla="*/ 259 h 311"/>
                    <a:gd name="T80" fmla="*/ 81 w 273"/>
                    <a:gd name="T81" fmla="*/ 274 h 311"/>
                    <a:gd name="T82" fmla="*/ 91 w 273"/>
                    <a:gd name="T83" fmla="*/ 282 h 311"/>
                    <a:gd name="T84" fmla="*/ 92 w 273"/>
                    <a:gd name="T85" fmla="*/ 294 h 311"/>
                    <a:gd name="T86" fmla="*/ 102 w 273"/>
                    <a:gd name="T87" fmla="*/ 298 h 311"/>
                    <a:gd name="T88" fmla="*/ 114 w 273"/>
                    <a:gd name="T89" fmla="*/ 304 h 311"/>
                    <a:gd name="T90" fmla="*/ 128 w 273"/>
                    <a:gd name="T91" fmla="*/ 297 h 311"/>
                    <a:gd name="T92" fmla="*/ 134 w 273"/>
                    <a:gd name="T93" fmla="*/ 298 h 311"/>
                    <a:gd name="T94" fmla="*/ 144 w 273"/>
                    <a:gd name="T95" fmla="*/ 310 h 311"/>
                    <a:gd name="T96" fmla="*/ 166 w 273"/>
                    <a:gd name="T97" fmla="*/ 311 h 311"/>
                    <a:gd name="T98" fmla="*/ 186 w 273"/>
                    <a:gd name="T99" fmla="*/ 310 h 311"/>
                    <a:gd name="T100" fmla="*/ 197 w 273"/>
                    <a:gd name="T101" fmla="*/ 306 h 311"/>
                    <a:gd name="T102" fmla="*/ 221 w 273"/>
                    <a:gd name="T103" fmla="*/ 298 h 311"/>
                    <a:gd name="T104" fmla="*/ 215 w 273"/>
                    <a:gd name="T105" fmla="*/ 272 h 3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73" h="311">
                      <a:moveTo>
                        <a:pt x="201" y="253"/>
                      </a:moveTo>
                      <a:lnTo>
                        <a:pt x="201" y="253"/>
                      </a:lnTo>
                      <a:lnTo>
                        <a:pt x="186" y="245"/>
                      </a:lnTo>
                      <a:lnTo>
                        <a:pt x="186" y="233"/>
                      </a:lnTo>
                      <a:lnTo>
                        <a:pt x="202" y="233"/>
                      </a:lnTo>
                      <a:lnTo>
                        <a:pt x="202" y="233"/>
                      </a:lnTo>
                      <a:lnTo>
                        <a:pt x="204" y="219"/>
                      </a:lnTo>
                      <a:lnTo>
                        <a:pt x="207" y="207"/>
                      </a:lnTo>
                      <a:lnTo>
                        <a:pt x="208" y="203"/>
                      </a:lnTo>
                      <a:lnTo>
                        <a:pt x="211" y="201"/>
                      </a:lnTo>
                      <a:lnTo>
                        <a:pt x="211" y="201"/>
                      </a:lnTo>
                      <a:lnTo>
                        <a:pt x="214" y="197"/>
                      </a:lnTo>
                      <a:lnTo>
                        <a:pt x="215" y="191"/>
                      </a:lnTo>
                      <a:lnTo>
                        <a:pt x="217" y="187"/>
                      </a:lnTo>
                      <a:lnTo>
                        <a:pt x="220" y="181"/>
                      </a:lnTo>
                      <a:lnTo>
                        <a:pt x="220" y="181"/>
                      </a:lnTo>
                      <a:lnTo>
                        <a:pt x="224" y="177"/>
                      </a:lnTo>
                      <a:lnTo>
                        <a:pt x="228" y="174"/>
                      </a:lnTo>
                      <a:lnTo>
                        <a:pt x="233" y="169"/>
                      </a:lnTo>
                      <a:lnTo>
                        <a:pt x="236" y="165"/>
                      </a:lnTo>
                      <a:lnTo>
                        <a:pt x="236" y="165"/>
                      </a:lnTo>
                      <a:lnTo>
                        <a:pt x="237" y="159"/>
                      </a:lnTo>
                      <a:lnTo>
                        <a:pt x="239" y="152"/>
                      </a:lnTo>
                      <a:lnTo>
                        <a:pt x="239" y="145"/>
                      </a:lnTo>
                      <a:lnTo>
                        <a:pt x="240" y="139"/>
                      </a:lnTo>
                      <a:lnTo>
                        <a:pt x="240" y="139"/>
                      </a:lnTo>
                      <a:lnTo>
                        <a:pt x="241" y="130"/>
                      </a:lnTo>
                      <a:lnTo>
                        <a:pt x="243" y="116"/>
                      </a:lnTo>
                      <a:lnTo>
                        <a:pt x="246" y="103"/>
                      </a:lnTo>
                      <a:lnTo>
                        <a:pt x="247" y="98"/>
                      </a:lnTo>
                      <a:lnTo>
                        <a:pt x="250" y="96"/>
                      </a:lnTo>
                      <a:lnTo>
                        <a:pt x="250" y="96"/>
                      </a:lnTo>
                      <a:lnTo>
                        <a:pt x="256" y="91"/>
                      </a:lnTo>
                      <a:lnTo>
                        <a:pt x="262" y="88"/>
                      </a:lnTo>
                      <a:lnTo>
                        <a:pt x="266" y="85"/>
                      </a:lnTo>
                      <a:lnTo>
                        <a:pt x="270" y="82"/>
                      </a:lnTo>
                      <a:lnTo>
                        <a:pt x="270" y="82"/>
                      </a:lnTo>
                      <a:lnTo>
                        <a:pt x="273" y="78"/>
                      </a:lnTo>
                      <a:lnTo>
                        <a:pt x="273" y="78"/>
                      </a:lnTo>
                      <a:lnTo>
                        <a:pt x="267" y="71"/>
                      </a:lnTo>
                      <a:lnTo>
                        <a:pt x="263" y="67"/>
                      </a:lnTo>
                      <a:lnTo>
                        <a:pt x="263" y="67"/>
                      </a:lnTo>
                      <a:lnTo>
                        <a:pt x="259" y="62"/>
                      </a:lnTo>
                      <a:lnTo>
                        <a:pt x="254" y="55"/>
                      </a:lnTo>
                      <a:lnTo>
                        <a:pt x="250" y="46"/>
                      </a:lnTo>
                      <a:lnTo>
                        <a:pt x="249" y="39"/>
                      </a:lnTo>
                      <a:lnTo>
                        <a:pt x="249" y="39"/>
                      </a:lnTo>
                      <a:lnTo>
                        <a:pt x="246" y="25"/>
                      </a:lnTo>
                      <a:lnTo>
                        <a:pt x="244" y="12"/>
                      </a:lnTo>
                      <a:lnTo>
                        <a:pt x="244" y="12"/>
                      </a:lnTo>
                      <a:lnTo>
                        <a:pt x="244" y="7"/>
                      </a:lnTo>
                      <a:lnTo>
                        <a:pt x="244" y="4"/>
                      </a:lnTo>
                      <a:lnTo>
                        <a:pt x="241" y="3"/>
                      </a:lnTo>
                      <a:lnTo>
                        <a:pt x="237" y="0"/>
                      </a:lnTo>
                      <a:lnTo>
                        <a:pt x="237" y="0"/>
                      </a:lnTo>
                      <a:lnTo>
                        <a:pt x="227" y="4"/>
                      </a:lnTo>
                      <a:lnTo>
                        <a:pt x="227" y="4"/>
                      </a:lnTo>
                      <a:lnTo>
                        <a:pt x="218" y="12"/>
                      </a:lnTo>
                      <a:lnTo>
                        <a:pt x="214" y="17"/>
                      </a:lnTo>
                      <a:lnTo>
                        <a:pt x="211" y="19"/>
                      </a:lnTo>
                      <a:lnTo>
                        <a:pt x="208" y="19"/>
                      </a:lnTo>
                      <a:lnTo>
                        <a:pt x="208" y="19"/>
                      </a:lnTo>
                      <a:lnTo>
                        <a:pt x="201" y="17"/>
                      </a:lnTo>
                      <a:lnTo>
                        <a:pt x="189" y="14"/>
                      </a:lnTo>
                      <a:lnTo>
                        <a:pt x="175" y="12"/>
                      </a:lnTo>
                      <a:lnTo>
                        <a:pt x="160" y="10"/>
                      </a:lnTo>
                      <a:lnTo>
                        <a:pt x="60" y="10"/>
                      </a:lnTo>
                      <a:lnTo>
                        <a:pt x="60" y="45"/>
                      </a:lnTo>
                      <a:lnTo>
                        <a:pt x="40" y="45"/>
                      </a:lnTo>
                      <a:lnTo>
                        <a:pt x="40" y="45"/>
                      </a:lnTo>
                      <a:lnTo>
                        <a:pt x="40" y="74"/>
                      </a:lnTo>
                      <a:lnTo>
                        <a:pt x="40" y="107"/>
                      </a:lnTo>
                      <a:lnTo>
                        <a:pt x="40" y="107"/>
                      </a:lnTo>
                      <a:lnTo>
                        <a:pt x="40" y="109"/>
                      </a:lnTo>
                      <a:lnTo>
                        <a:pt x="39" y="109"/>
                      </a:lnTo>
                      <a:lnTo>
                        <a:pt x="36" y="109"/>
                      </a:lnTo>
                      <a:lnTo>
                        <a:pt x="27" y="104"/>
                      </a:lnTo>
                      <a:lnTo>
                        <a:pt x="27" y="104"/>
                      </a:lnTo>
                      <a:lnTo>
                        <a:pt x="24" y="104"/>
                      </a:lnTo>
                      <a:lnTo>
                        <a:pt x="23" y="106"/>
                      </a:lnTo>
                      <a:lnTo>
                        <a:pt x="21" y="113"/>
                      </a:lnTo>
                      <a:lnTo>
                        <a:pt x="21" y="113"/>
                      </a:lnTo>
                      <a:lnTo>
                        <a:pt x="18" y="117"/>
                      </a:lnTo>
                      <a:lnTo>
                        <a:pt x="15" y="122"/>
                      </a:lnTo>
                      <a:lnTo>
                        <a:pt x="7" y="132"/>
                      </a:lnTo>
                      <a:lnTo>
                        <a:pt x="7" y="132"/>
                      </a:lnTo>
                      <a:lnTo>
                        <a:pt x="4" y="138"/>
                      </a:lnTo>
                      <a:lnTo>
                        <a:pt x="2" y="145"/>
                      </a:lnTo>
                      <a:lnTo>
                        <a:pt x="1" y="156"/>
                      </a:lnTo>
                      <a:lnTo>
                        <a:pt x="1" y="156"/>
                      </a:lnTo>
                      <a:lnTo>
                        <a:pt x="0" y="159"/>
                      </a:lnTo>
                      <a:lnTo>
                        <a:pt x="0" y="164"/>
                      </a:lnTo>
                      <a:lnTo>
                        <a:pt x="1" y="166"/>
                      </a:lnTo>
                      <a:lnTo>
                        <a:pt x="4" y="168"/>
                      </a:lnTo>
                      <a:lnTo>
                        <a:pt x="4" y="168"/>
                      </a:lnTo>
                      <a:lnTo>
                        <a:pt x="8" y="171"/>
                      </a:lnTo>
                      <a:lnTo>
                        <a:pt x="13" y="175"/>
                      </a:lnTo>
                      <a:lnTo>
                        <a:pt x="21" y="188"/>
                      </a:lnTo>
                      <a:lnTo>
                        <a:pt x="21" y="188"/>
                      </a:lnTo>
                      <a:lnTo>
                        <a:pt x="21" y="193"/>
                      </a:lnTo>
                      <a:lnTo>
                        <a:pt x="21" y="193"/>
                      </a:lnTo>
                      <a:lnTo>
                        <a:pt x="30" y="195"/>
                      </a:lnTo>
                      <a:lnTo>
                        <a:pt x="37" y="200"/>
                      </a:lnTo>
                      <a:lnTo>
                        <a:pt x="42" y="206"/>
                      </a:lnTo>
                      <a:lnTo>
                        <a:pt x="44" y="211"/>
                      </a:lnTo>
                      <a:lnTo>
                        <a:pt x="44" y="211"/>
                      </a:lnTo>
                      <a:lnTo>
                        <a:pt x="43" y="217"/>
                      </a:lnTo>
                      <a:lnTo>
                        <a:pt x="42" y="222"/>
                      </a:lnTo>
                      <a:lnTo>
                        <a:pt x="39" y="227"/>
                      </a:lnTo>
                      <a:lnTo>
                        <a:pt x="37" y="233"/>
                      </a:lnTo>
                      <a:lnTo>
                        <a:pt x="37" y="233"/>
                      </a:lnTo>
                      <a:lnTo>
                        <a:pt x="39" y="236"/>
                      </a:lnTo>
                      <a:lnTo>
                        <a:pt x="40" y="236"/>
                      </a:lnTo>
                      <a:lnTo>
                        <a:pt x="43" y="235"/>
                      </a:lnTo>
                      <a:lnTo>
                        <a:pt x="49" y="233"/>
                      </a:lnTo>
                      <a:lnTo>
                        <a:pt x="49" y="233"/>
                      </a:lnTo>
                      <a:lnTo>
                        <a:pt x="52" y="235"/>
                      </a:lnTo>
                      <a:lnTo>
                        <a:pt x="56" y="237"/>
                      </a:lnTo>
                      <a:lnTo>
                        <a:pt x="65" y="248"/>
                      </a:lnTo>
                      <a:lnTo>
                        <a:pt x="73" y="259"/>
                      </a:lnTo>
                      <a:lnTo>
                        <a:pt x="78" y="268"/>
                      </a:lnTo>
                      <a:lnTo>
                        <a:pt x="78" y="268"/>
                      </a:lnTo>
                      <a:lnTo>
                        <a:pt x="81" y="274"/>
                      </a:lnTo>
                      <a:lnTo>
                        <a:pt x="84" y="275"/>
                      </a:lnTo>
                      <a:lnTo>
                        <a:pt x="88" y="278"/>
                      </a:lnTo>
                      <a:lnTo>
                        <a:pt x="91" y="282"/>
                      </a:lnTo>
                      <a:lnTo>
                        <a:pt x="91" y="282"/>
                      </a:lnTo>
                      <a:lnTo>
                        <a:pt x="92" y="287"/>
                      </a:lnTo>
                      <a:lnTo>
                        <a:pt x="92" y="294"/>
                      </a:lnTo>
                      <a:lnTo>
                        <a:pt x="92" y="294"/>
                      </a:lnTo>
                      <a:lnTo>
                        <a:pt x="102" y="298"/>
                      </a:lnTo>
                      <a:lnTo>
                        <a:pt x="102" y="298"/>
                      </a:lnTo>
                      <a:lnTo>
                        <a:pt x="108" y="304"/>
                      </a:lnTo>
                      <a:lnTo>
                        <a:pt x="111" y="304"/>
                      </a:lnTo>
                      <a:lnTo>
                        <a:pt x="114" y="304"/>
                      </a:lnTo>
                      <a:lnTo>
                        <a:pt x="114" y="304"/>
                      </a:lnTo>
                      <a:lnTo>
                        <a:pt x="123" y="298"/>
                      </a:lnTo>
                      <a:lnTo>
                        <a:pt x="128" y="297"/>
                      </a:lnTo>
                      <a:lnTo>
                        <a:pt x="131" y="297"/>
                      </a:lnTo>
                      <a:lnTo>
                        <a:pt x="134" y="298"/>
                      </a:lnTo>
                      <a:lnTo>
                        <a:pt x="134" y="298"/>
                      </a:lnTo>
                      <a:lnTo>
                        <a:pt x="139" y="303"/>
                      </a:lnTo>
                      <a:lnTo>
                        <a:pt x="141" y="307"/>
                      </a:lnTo>
                      <a:lnTo>
                        <a:pt x="144" y="310"/>
                      </a:lnTo>
                      <a:lnTo>
                        <a:pt x="150" y="310"/>
                      </a:lnTo>
                      <a:lnTo>
                        <a:pt x="150" y="310"/>
                      </a:lnTo>
                      <a:lnTo>
                        <a:pt x="166" y="311"/>
                      </a:lnTo>
                      <a:lnTo>
                        <a:pt x="166" y="311"/>
                      </a:lnTo>
                      <a:lnTo>
                        <a:pt x="181" y="311"/>
                      </a:lnTo>
                      <a:lnTo>
                        <a:pt x="186" y="310"/>
                      </a:lnTo>
                      <a:lnTo>
                        <a:pt x="189" y="308"/>
                      </a:lnTo>
                      <a:lnTo>
                        <a:pt x="189" y="308"/>
                      </a:lnTo>
                      <a:lnTo>
                        <a:pt x="197" y="306"/>
                      </a:lnTo>
                      <a:lnTo>
                        <a:pt x="205" y="303"/>
                      </a:lnTo>
                      <a:lnTo>
                        <a:pt x="221" y="298"/>
                      </a:lnTo>
                      <a:lnTo>
                        <a:pt x="221" y="298"/>
                      </a:lnTo>
                      <a:lnTo>
                        <a:pt x="230" y="297"/>
                      </a:lnTo>
                      <a:lnTo>
                        <a:pt x="230" y="297"/>
                      </a:lnTo>
                      <a:lnTo>
                        <a:pt x="215" y="272"/>
                      </a:lnTo>
                      <a:lnTo>
                        <a:pt x="207" y="261"/>
                      </a:lnTo>
                      <a:lnTo>
                        <a:pt x="201" y="25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98" name="Freeform 148"/>
                <p:cNvSpPr>
                  <a:spLocks/>
                </p:cNvSpPr>
                <p:nvPr/>
              </p:nvSpPr>
              <p:spPr bwMode="auto">
                <a:xfrm>
                  <a:off x="4641249" y="3151932"/>
                  <a:ext cx="207745" cy="131571"/>
                </a:xfrm>
                <a:custGeom>
                  <a:avLst/>
                  <a:gdLst>
                    <a:gd name="T0" fmla="*/ 6 w 210"/>
                    <a:gd name="T1" fmla="*/ 114 h 133"/>
                    <a:gd name="T2" fmla="*/ 0 w 210"/>
                    <a:gd name="T3" fmla="*/ 95 h 133"/>
                    <a:gd name="T4" fmla="*/ 10 w 210"/>
                    <a:gd name="T5" fmla="*/ 76 h 133"/>
                    <a:gd name="T6" fmla="*/ 16 w 210"/>
                    <a:gd name="T7" fmla="*/ 69 h 133"/>
                    <a:gd name="T8" fmla="*/ 29 w 210"/>
                    <a:gd name="T9" fmla="*/ 62 h 133"/>
                    <a:gd name="T10" fmla="*/ 47 w 210"/>
                    <a:gd name="T11" fmla="*/ 55 h 133"/>
                    <a:gd name="T12" fmla="*/ 64 w 210"/>
                    <a:gd name="T13" fmla="*/ 46 h 133"/>
                    <a:gd name="T14" fmla="*/ 77 w 210"/>
                    <a:gd name="T15" fmla="*/ 42 h 133"/>
                    <a:gd name="T16" fmla="*/ 78 w 210"/>
                    <a:gd name="T17" fmla="*/ 34 h 133"/>
                    <a:gd name="T18" fmla="*/ 93 w 210"/>
                    <a:gd name="T19" fmla="*/ 30 h 133"/>
                    <a:gd name="T20" fmla="*/ 113 w 210"/>
                    <a:gd name="T21" fmla="*/ 24 h 133"/>
                    <a:gd name="T22" fmla="*/ 128 w 210"/>
                    <a:gd name="T23" fmla="*/ 14 h 133"/>
                    <a:gd name="T24" fmla="*/ 139 w 210"/>
                    <a:gd name="T25" fmla="*/ 0 h 133"/>
                    <a:gd name="T26" fmla="*/ 155 w 210"/>
                    <a:gd name="T27" fmla="*/ 7 h 133"/>
                    <a:gd name="T28" fmla="*/ 162 w 210"/>
                    <a:gd name="T29" fmla="*/ 18 h 133"/>
                    <a:gd name="T30" fmla="*/ 161 w 210"/>
                    <a:gd name="T31" fmla="*/ 24 h 133"/>
                    <a:gd name="T32" fmla="*/ 155 w 210"/>
                    <a:gd name="T33" fmla="*/ 39 h 133"/>
                    <a:gd name="T34" fmla="*/ 155 w 210"/>
                    <a:gd name="T35" fmla="*/ 40 h 133"/>
                    <a:gd name="T36" fmla="*/ 157 w 210"/>
                    <a:gd name="T37" fmla="*/ 44 h 133"/>
                    <a:gd name="T38" fmla="*/ 162 w 210"/>
                    <a:gd name="T39" fmla="*/ 42 h 133"/>
                    <a:gd name="T40" fmla="*/ 170 w 210"/>
                    <a:gd name="T41" fmla="*/ 42 h 133"/>
                    <a:gd name="T42" fmla="*/ 191 w 210"/>
                    <a:gd name="T43" fmla="*/ 66 h 133"/>
                    <a:gd name="T44" fmla="*/ 199 w 210"/>
                    <a:gd name="T45" fmla="*/ 81 h 133"/>
                    <a:gd name="T46" fmla="*/ 209 w 210"/>
                    <a:gd name="T47" fmla="*/ 89 h 133"/>
                    <a:gd name="T48" fmla="*/ 210 w 210"/>
                    <a:gd name="T49" fmla="*/ 100 h 133"/>
                    <a:gd name="T50" fmla="*/ 199 w 210"/>
                    <a:gd name="T51" fmla="*/ 97 h 133"/>
                    <a:gd name="T52" fmla="*/ 190 w 210"/>
                    <a:gd name="T53" fmla="*/ 95 h 133"/>
                    <a:gd name="T54" fmla="*/ 190 w 210"/>
                    <a:gd name="T55" fmla="*/ 95 h 133"/>
                    <a:gd name="T56" fmla="*/ 190 w 210"/>
                    <a:gd name="T57" fmla="*/ 95 h 133"/>
                    <a:gd name="T58" fmla="*/ 190 w 210"/>
                    <a:gd name="T59" fmla="*/ 95 h 133"/>
                    <a:gd name="T60" fmla="*/ 183 w 210"/>
                    <a:gd name="T61" fmla="*/ 100 h 133"/>
                    <a:gd name="T62" fmla="*/ 175 w 210"/>
                    <a:gd name="T63" fmla="*/ 102 h 133"/>
                    <a:gd name="T64" fmla="*/ 173 w 210"/>
                    <a:gd name="T65" fmla="*/ 104 h 133"/>
                    <a:gd name="T66" fmla="*/ 167 w 210"/>
                    <a:gd name="T67" fmla="*/ 102 h 133"/>
                    <a:gd name="T68" fmla="*/ 152 w 210"/>
                    <a:gd name="T69" fmla="*/ 101 h 133"/>
                    <a:gd name="T70" fmla="*/ 145 w 210"/>
                    <a:gd name="T71" fmla="*/ 105 h 133"/>
                    <a:gd name="T72" fmla="*/ 138 w 210"/>
                    <a:gd name="T73" fmla="*/ 110 h 133"/>
                    <a:gd name="T74" fmla="*/ 119 w 210"/>
                    <a:gd name="T75" fmla="*/ 114 h 133"/>
                    <a:gd name="T76" fmla="*/ 90 w 210"/>
                    <a:gd name="T77" fmla="*/ 107 h 133"/>
                    <a:gd name="T78" fmla="*/ 83 w 210"/>
                    <a:gd name="T79" fmla="*/ 104 h 133"/>
                    <a:gd name="T80" fmla="*/ 83 w 210"/>
                    <a:gd name="T81" fmla="*/ 104 h 133"/>
                    <a:gd name="T82" fmla="*/ 78 w 210"/>
                    <a:gd name="T83" fmla="*/ 104 h 133"/>
                    <a:gd name="T84" fmla="*/ 78 w 210"/>
                    <a:gd name="T85" fmla="*/ 104 h 133"/>
                    <a:gd name="T86" fmla="*/ 71 w 210"/>
                    <a:gd name="T87" fmla="*/ 120 h 133"/>
                    <a:gd name="T88" fmla="*/ 54 w 210"/>
                    <a:gd name="T89" fmla="*/ 124 h 133"/>
                    <a:gd name="T90" fmla="*/ 19 w 210"/>
                    <a:gd name="T91" fmla="*/ 133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10" h="133">
                      <a:moveTo>
                        <a:pt x="19" y="133"/>
                      </a:moveTo>
                      <a:lnTo>
                        <a:pt x="19" y="133"/>
                      </a:lnTo>
                      <a:lnTo>
                        <a:pt x="6" y="114"/>
                      </a:lnTo>
                      <a:lnTo>
                        <a:pt x="2" y="104"/>
                      </a:lnTo>
                      <a:lnTo>
                        <a:pt x="0" y="95"/>
                      </a:lnTo>
                      <a:lnTo>
                        <a:pt x="0" y="95"/>
                      </a:lnTo>
                      <a:lnTo>
                        <a:pt x="2" y="89"/>
                      </a:lnTo>
                      <a:lnTo>
                        <a:pt x="6" y="82"/>
                      </a:lnTo>
                      <a:lnTo>
                        <a:pt x="10" y="76"/>
                      </a:lnTo>
                      <a:lnTo>
                        <a:pt x="16" y="69"/>
                      </a:lnTo>
                      <a:lnTo>
                        <a:pt x="16" y="69"/>
                      </a:lnTo>
                      <a:lnTo>
                        <a:pt x="16" y="69"/>
                      </a:lnTo>
                      <a:lnTo>
                        <a:pt x="16" y="69"/>
                      </a:lnTo>
                      <a:lnTo>
                        <a:pt x="23" y="65"/>
                      </a:lnTo>
                      <a:lnTo>
                        <a:pt x="29" y="62"/>
                      </a:lnTo>
                      <a:lnTo>
                        <a:pt x="29" y="62"/>
                      </a:lnTo>
                      <a:lnTo>
                        <a:pt x="38" y="59"/>
                      </a:lnTo>
                      <a:lnTo>
                        <a:pt x="47" y="55"/>
                      </a:lnTo>
                      <a:lnTo>
                        <a:pt x="58" y="47"/>
                      </a:lnTo>
                      <a:lnTo>
                        <a:pt x="58" y="47"/>
                      </a:lnTo>
                      <a:lnTo>
                        <a:pt x="64" y="46"/>
                      </a:lnTo>
                      <a:lnTo>
                        <a:pt x="70" y="44"/>
                      </a:lnTo>
                      <a:lnTo>
                        <a:pt x="76" y="43"/>
                      </a:lnTo>
                      <a:lnTo>
                        <a:pt x="77" y="42"/>
                      </a:lnTo>
                      <a:lnTo>
                        <a:pt x="77" y="39"/>
                      </a:lnTo>
                      <a:lnTo>
                        <a:pt x="77" y="39"/>
                      </a:lnTo>
                      <a:lnTo>
                        <a:pt x="78" y="34"/>
                      </a:lnTo>
                      <a:lnTo>
                        <a:pt x="80" y="31"/>
                      </a:lnTo>
                      <a:lnTo>
                        <a:pt x="86" y="30"/>
                      </a:lnTo>
                      <a:lnTo>
                        <a:pt x="93" y="30"/>
                      </a:lnTo>
                      <a:lnTo>
                        <a:pt x="93" y="30"/>
                      </a:lnTo>
                      <a:lnTo>
                        <a:pt x="103" y="29"/>
                      </a:lnTo>
                      <a:lnTo>
                        <a:pt x="113" y="24"/>
                      </a:lnTo>
                      <a:lnTo>
                        <a:pt x="122" y="20"/>
                      </a:lnTo>
                      <a:lnTo>
                        <a:pt x="128" y="14"/>
                      </a:lnTo>
                      <a:lnTo>
                        <a:pt x="128" y="14"/>
                      </a:lnTo>
                      <a:lnTo>
                        <a:pt x="135" y="7"/>
                      </a:lnTo>
                      <a:lnTo>
                        <a:pt x="138" y="4"/>
                      </a:lnTo>
                      <a:lnTo>
                        <a:pt x="139" y="0"/>
                      </a:lnTo>
                      <a:lnTo>
                        <a:pt x="139" y="0"/>
                      </a:lnTo>
                      <a:lnTo>
                        <a:pt x="148" y="2"/>
                      </a:lnTo>
                      <a:lnTo>
                        <a:pt x="155" y="7"/>
                      </a:lnTo>
                      <a:lnTo>
                        <a:pt x="160" y="13"/>
                      </a:lnTo>
                      <a:lnTo>
                        <a:pt x="162" y="18"/>
                      </a:lnTo>
                      <a:lnTo>
                        <a:pt x="162" y="18"/>
                      </a:lnTo>
                      <a:lnTo>
                        <a:pt x="162" y="18"/>
                      </a:lnTo>
                      <a:lnTo>
                        <a:pt x="162" y="18"/>
                      </a:lnTo>
                      <a:lnTo>
                        <a:pt x="161" y="24"/>
                      </a:lnTo>
                      <a:lnTo>
                        <a:pt x="160" y="29"/>
                      </a:lnTo>
                      <a:lnTo>
                        <a:pt x="157" y="33"/>
                      </a:lnTo>
                      <a:lnTo>
                        <a:pt x="155" y="39"/>
                      </a:lnTo>
                      <a:lnTo>
                        <a:pt x="155" y="39"/>
                      </a:lnTo>
                      <a:lnTo>
                        <a:pt x="155" y="40"/>
                      </a:lnTo>
                      <a:lnTo>
                        <a:pt x="155" y="40"/>
                      </a:lnTo>
                      <a:lnTo>
                        <a:pt x="157" y="43"/>
                      </a:lnTo>
                      <a:lnTo>
                        <a:pt x="157" y="44"/>
                      </a:lnTo>
                      <a:lnTo>
                        <a:pt x="157" y="44"/>
                      </a:lnTo>
                      <a:lnTo>
                        <a:pt x="157" y="44"/>
                      </a:lnTo>
                      <a:lnTo>
                        <a:pt x="161" y="42"/>
                      </a:lnTo>
                      <a:lnTo>
                        <a:pt x="162" y="42"/>
                      </a:lnTo>
                      <a:lnTo>
                        <a:pt x="167" y="40"/>
                      </a:lnTo>
                      <a:lnTo>
                        <a:pt x="167" y="40"/>
                      </a:lnTo>
                      <a:lnTo>
                        <a:pt x="170" y="42"/>
                      </a:lnTo>
                      <a:lnTo>
                        <a:pt x="174" y="44"/>
                      </a:lnTo>
                      <a:lnTo>
                        <a:pt x="183" y="55"/>
                      </a:lnTo>
                      <a:lnTo>
                        <a:pt x="191" y="66"/>
                      </a:lnTo>
                      <a:lnTo>
                        <a:pt x="196" y="75"/>
                      </a:lnTo>
                      <a:lnTo>
                        <a:pt x="196" y="75"/>
                      </a:lnTo>
                      <a:lnTo>
                        <a:pt x="199" y="81"/>
                      </a:lnTo>
                      <a:lnTo>
                        <a:pt x="202" y="82"/>
                      </a:lnTo>
                      <a:lnTo>
                        <a:pt x="206" y="85"/>
                      </a:lnTo>
                      <a:lnTo>
                        <a:pt x="209" y="89"/>
                      </a:lnTo>
                      <a:lnTo>
                        <a:pt x="209" y="89"/>
                      </a:lnTo>
                      <a:lnTo>
                        <a:pt x="210" y="94"/>
                      </a:lnTo>
                      <a:lnTo>
                        <a:pt x="210" y="100"/>
                      </a:lnTo>
                      <a:lnTo>
                        <a:pt x="210" y="101"/>
                      </a:lnTo>
                      <a:lnTo>
                        <a:pt x="210" y="101"/>
                      </a:lnTo>
                      <a:lnTo>
                        <a:pt x="199" y="97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86" y="97"/>
                      </a:lnTo>
                      <a:lnTo>
                        <a:pt x="184" y="97"/>
                      </a:lnTo>
                      <a:lnTo>
                        <a:pt x="183" y="100"/>
                      </a:lnTo>
                      <a:lnTo>
                        <a:pt x="180" y="101"/>
                      </a:lnTo>
                      <a:lnTo>
                        <a:pt x="180" y="101"/>
                      </a:lnTo>
                      <a:lnTo>
                        <a:pt x="175" y="102"/>
                      </a:lnTo>
                      <a:lnTo>
                        <a:pt x="173" y="104"/>
                      </a:lnTo>
                      <a:lnTo>
                        <a:pt x="173" y="104"/>
                      </a:lnTo>
                      <a:lnTo>
                        <a:pt x="173" y="104"/>
                      </a:lnTo>
                      <a:lnTo>
                        <a:pt x="173" y="104"/>
                      </a:lnTo>
                      <a:lnTo>
                        <a:pt x="167" y="102"/>
                      </a:lnTo>
                      <a:lnTo>
                        <a:pt x="167" y="102"/>
                      </a:lnTo>
                      <a:lnTo>
                        <a:pt x="160" y="101"/>
                      </a:lnTo>
                      <a:lnTo>
                        <a:pt x="152" y="101"/>
                      </a:lnTo>
                      <a:lnTo>
                        <a:pt x="152" y="101"/>
                      </a:lnTo>
                      <a:lnTo>
                        <a:pt x="148" y="101"/>
                      </a:lnTo>
                      <a:lnTo>
                        <a:pt x="145" y="102"/>
                      </a:lnTo>
                      <a:lnTo>
                        <a:pt x="145" y="105"/>
                      </a:lnTo>
                      <a:lnTo>
                        <a:pt x="142" y="107"/>
                      </a:lnTo>
                      <a:lnTo>
                        <a:pt x="142" y="107"/>
                      </a:lnTo>
                      <a:lnTo>
                        <a:pt x="138" y="110"/>
                      </a:lnTo>
                      <a:lnTo>
                        <a:pt x="131" y="111"/>
                      </a:lnTo>
                      <a:lnTo>
                        <a:pt x="119" y="114"/>
                      </a:lnTo>
                      <a:lnTo>
                        <a:pt x="119" y="114"/>
                      </a:lnTo>
                      <a:lnTo>
                        <a:pt x="105" y="111"/>
                      </a:lnTo>
                      <a:lnTo>
                        <a:pt x="96" y="110"/>
                      </a:lnTo>
                      <a:lnTo>
                        <a:pt x="90" y="107"/>
                      </a:lnTo>
                      <a:lnTo>
                        <a:pt x="90" y="107"/>
                      </a:lnTo>
                      <a:lnTo>
                        <a:pt x="87" y="105"/>
                      </a:lnTo>
                      <a:lnTo>
                        <a:pt x="83" y="104"/>
                      </a:lnTo>
                      <a:lnTo>
                        <a:pt x="83" y="104"/>
                      </a:lnTo>
                      <a:lnTo>
                        <a:pt x="83" y="104"/>
                      </a:lnTo>
                      <a:lnTo>
                        <a:pt x="83" y="104"/>
                      </a:lnTo>
                      <a:lnTo>
                        <a:pt x="78" y="104"/>
                      </a:lnTo>
                      <a:lnTo>
                        <a:pt x="78" y="104"/>
                      </a:lnTo>
                      <a:lnTo>
                        <a:pt x="78" y="104"/>
                      </a:lnTo>
                      <a:lnTo>
                        <a:pt x="78" y="104"/>
                      </a:lnTo>
                      <a:lnTo>
                        <a:pt x="78" y="104"/>
                      </a:lnTo>
                      <a:lnTo>
                        <a:pt x="78" y="104"/>
                      </a:lnTo>
                      <a:lnTo>
                        <a:pt x="77" y="105"/>
                      </a:lnTo>
                      <a:lnTo>
                        <a:pt x="74" y="110"/>
                      </a:lnTo>
                      <a:lnTo>
                        <a:pt x="71" y="120"/>
                      </a:lnTo>
                      <a:lnTo>
                        <a:pt x="71" y="120"/>
                      </a:lnTo>
                      <a:lnTo>
                        <a:pt x="61" y="121"/>
                      </a:lnTo>
                      <a:lnTo>
                        <a:pt x="54" y="124"/>
                      </a:lnTo>
                      <a:lnTo>
                        <a:pt x="54" y="124"/>
                      </a:lnTo>
                      <a:lnTo>
                        <a:pt x="39" y="128"/>
                      </a:lnTo>
                      <a:lnTo>
                        <a:pt x="19" y="13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99" name="Freeform 149"/>
                <p:cNvSpPr>
                  <a:spLocks/>
                </p:cNvSpPr>
                <p:nvPr/>
              </p:nvSpPr>
              <p:spPr bwMode="auto">
                <a:xfrm>
                  <a:off x="4641249" y="3151932"/>
                  <a:ext cx="207745" cy="131571"/>
                </a:xfrm>
                <a:custGeom>
                  <a:avLst/>
                  <a:gdLst>
                    <a:gd name="T0" fmla="*/ 6 w 210"/>
                    <a:gd name="T1" fmla="*/ 114 h 133"/>
                    <a:gd name="T2" fmla="*/ 0 w 210"/>
                    <a:gd name="T3" fmla="*/ 95 h 133"/>
                    <a:gd name="T4" fmla="*/ 10 w 210"/>
                    <a:gd name="T5" fmla="*/ 76 h 133"/>
                    <a:gd name="T6" fmla="*/ 16 w 210"/>
                    <a:gd name="T7" fmla="*/ 69 h 133"/>
                    <a:gd name="T8" fmla="*/ 29 w 210"/>
                    <a:gd name="T9" fmla="*/ 62 h 133"/>
                    <a:gd name="T10" fmla="*/ 47 w 210"/>
                    <a:gd name="T11" fmla="*/ 55 h 133"/>
                    <a:gd name="T12" fmla="*/ 64 w 210"/>
                    <a:gd name="T13" fmla="*/ 46 h 133"/>
                    <a:gd name="T14" fmla="*/ 77 w 210"/>
                    <a:gd name="T15" fmla="*/ 42 h 133"/>
                    <a:gd name="T16" fmla="*/ 78 w 210"/>
                    <a:gd name="T17" fmla="*/ 34 h 133"/>
                    <a:gd name="T18" fmla="*/ 93 w 210"/>
                    <a:gd name="T19" fmla="*/ 30 h 133"/>
                    <a:gd name="T20" fmla="*/ 113 w 210"/>
                    <a:gd name="T21" fmla="*/ 24 h 133"/>
                    <a:gd name="T22" fmla="*/ 128 w 210"/>
                    <a:gd name="T23" fmla="*/ 14 h 133"/>
                    <a:gd name="T24" fmla="*/ 139 w 210"/>
                    <a:gd name="T25" fmla="*/ 0 h 133"/>
                    <a:gd name="T26" fmla="*/ 155 w 210"/>
                    <a:gd name="T27" fmla="*/ 7 h 133"/>
                    <a:gd name="T28" fmla="*/ 162 w 210"/>
                    <a:gd name="T29" fmla="*/ 18 h 133"/>
                    <a:gd name="T30" fmla="*/ 161 w 210"/>
                    <a:gd name="T31" fmla="*/ 24 h 133"/>
                    <a:gd name="T32" fmla="*/ 155 w 210"/>
                    <a:gd name="T33" fmla="*/ 39 h 133"/>
                    <a:gd name="T34" fmla="*/ 155 w 210"/>
                    <a:gd name="T35" fmla="*/ 40 h 133"/>
                    <a:gd name="T36" fmla="*/ 157 w 210"/>
                    <a:gd name="T37" fmla="*/ 44 h 133"/>
                    <a:gd name="T38" fmla="*/ 162 w 210"/>
                    <a:gd name="T39" fmla="*/ 42 h 133"/>
                    <a:gd name="T40" fmla="*/ 170 w 210"/>
                    <a:gd name="T41" fmla="*/ 42 h 133"/>
                    <a:gd name="T42" fmla="*/ 191 w 210"/>
                    <a:gd name="T43" fmla="*/ 66 h 133"/>
                    <a:gd name="T44" fmla="*/ 199 w 210"/>
                    <a:gd name="T45" fmla="*/ 81 h 133"/>
                    <a:gd name="T46" fmla="*/ 209 w 210"/>
                    <a:gd name="T47" fmla="*/ 89 h 133"/>
                    <a:gd name="T48" fmla="*/ 210 w 210"/>
                    <a:gd name="T49" fmla="*/ 100 h 133"/>
                    <a:gd name="T50" fmla="*/ 199 w 210"/>
                    <a:gd name="T51" fmla="*/ 97 h 133"/>
                    <a:gd name="T52" fmla="*/ 190 w 210"/>
                    <a:gd name="T53" fmla="*/ 95 h 133"/>
                    <a:gd name="T54" fmla="*/ 190 w 210"/>
                    <a:gd name="T55" fmla="*/ 95 h 133"/>
                    <a:gd name="T56" fmla="*/ 190 w 210"/>
                    <a:gd name="T57" fmla="*/ 95 h 133"/>
                    <a:gd name="T58" fmla="*/ 190 w 210"/>
                    <a:gd name="T59" fmla="*/ 95 h 133"/>
                    <a:gd name="T60" fmla="*/ 183 w 210"/>
                    <a:gd name="T61" fmla="*/ 100 h 133"/>
                    <a:gd name="T62" fmla="*/ 175 w 210"/>
                    <a:gd name="T63" fmla="*/ 102 h 133"/>
                    <a:gd name="T64" fmla="*/ 173 w 210"/>
                    <a:gd name="T65" fmla="*/ 104 h 133"/>
                    <a:gd name="T66" fmla="*/ 167 w 210"/>
                    <a:gd name="T67" fmla="*/ 102 h 133"/>
                    <a:gd name="T68" fmla="*/ 152 w 210"/>
                    <a:gd name="T69" fmla="*/ 101 h 133"/>
                    <a:gd name="T70" fmla="*/ 145 w 210"/>
                    <a:gd name="T71" fmla="*/ 105 h 133"/>
                    <a:gd name="T72" fmla="*/ 138 w 210"/>
                    <a:gd name="T73" fmla="*/ 110 h 133"/>
                    <a:gd name="T74" fmla="*/ 119 w 210"/>
                    <a:gd name="T75" fmla="*/ 114 h 133"/>
                    <a:gd name="T76" fmla="*/ 90 w 210"/>
                    <a:gd name="T77" fmla="*/ 107 h 133"/>
                    <a:gd name="T78" fmla="*/ 83 w 210"/>
                    <a:gd name="T79" fmla="*/ 104 h 133"/>
                    <a:gd name="T80" fmla="*/ 83 w 210"/>
                    <a:gd name="T81" fmla="*/ 104 h 133"/>
                    <a:gd name="T82" fmla="*/ 78 w 210"/>
                    <a:gd name="T83" fmla="*/ 104 h 133"/>
                    <a:gd name="T84" fmla="*/ 78 w 210"/>
                    <a:gd name="T85" fmla="*/ 104 h 133"/>
                    <a:gd name="T86" fmla="*/ 71 w 210"/>
                    <a:gd name="T87" fmla="*/ 120 h 133"/>
                    <a:gd name="T88" fmla="*/ 54 w 210"/>
                    <a:gd name="T89" fmla="*/ 124 h 133"/>
                    <a:gd name="T90" fmla="*/ 19 w 210"/>
                    <a:gd name="T91" fmla="*/ 133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10" h="133">
                      <a:moveTo>
                        <a:pt x="19" y="133"/>
                      </a:moveTo>
                      <a:lnTo>
                        <a:pt x="19" y="133"/>
                      </a:lnTo>
                      <a:lnTo>
                        <a:pt x="6" y="114"/>
                      </a:lnTo>
                      <a:lnTo>
                        <a:pt x="2" y="104"/>
                      </a:lnTo>
                      <a:lnTo>
                        <a:pt x="0" y="95"/>
                      </a:lnTo>
                      <a:lnTo>
                        <a:pt x="0" y="95"/>
                      </a:lnTo>
                      <a:lnTo>
                        <a:pt x="2" y="89"/>
                      </a:lnTo>
                      <a:lnTo>
                        <a:pt x="6" y="82"/>
                      </a:lnTo>
                      <a:lnTo>
                        <a:pt x="10" y="76"/>
                      </a:lnTo>
                      <a:lnTo>
                        <a:pt x="16" y="69"/>
                      </a:lnTo>
                      <a:lnTo>
                        <a:pt x="16" y="69"/>
                      </a:lnTo>
                      <a:lnTo>
                        <a:pt x="16" y="69"/>
                      </a:lnTo>
                      <a:lnTo>
                        <a:pt x="16" y="69"/>
                      </a:lnTo>
                      <a:lnTo>
                        <a:pt x="23" y="65"/>
                      </a:lnTo>
                      <a:lnTo>
                        <a:pt x="29" y="62"/>
                      </a:lnTo>
                      <a:lnTo>
                        <a:pt x="29" y="62"/>
                      </a:lnTo>
                      <a:lnTo>
                        <a:pt x="38" y="59"/>
                      </a:lnTo>
                      <a:lnTo>
                        <a:pt x="47" y="55"/>
                      </a:lnTo>
                      <a:lnTo>
                        <a:pt x="58" y="47"/>
                      </a:lnTo>
                      <a:lnTo>
                        <a:pt x="58" y="47"/>
                      </a:lnTo>
                      <a:lnTo>
                        <a:pt x="64" y="46"/>
                      </a:lnTo>
                      <a:lnTo>
                        <a:pt x="70" y="44"/>
                      </a:lnTo>
                      <a:lnTo>
                        <a:pt x="76" y="43"/>
                      </a:lnTo>
                      <a:lnTo>
                        <a:pt x="77" y="42"/>
                      </a:lnTo>
                      <a:lnTo>
                        <a:pt x="77" y="39"/>
                      </a:lnTo>
                      <a:lnTo>
                        <a:pt x="77" y="39"/>
                      </a:lnTo>
                      <a:lnTo>
                        <a:pt x="78" y="34"/>
                      </a:lnTo>
                      <a:lnTo>
                        <a:pt x="80" y="31"/>
                      </a:lnTo>
                      <a:lnTo>
                        <a:pt x="86" y="30"/>
                      </a:lnTo>
                      <a:lnTo>
                        <a:pt x="93" y="30"/>
                      </a:lnTo>
                      <a:lnTo>
                        <a:pt x="93" y="30"/>
                      </a:lnTo>
                      <a:lnTo>
                        <a:pt x="103" y="29"/>
                      </a:lnTo>
                      <a:lnTo>
                        <a:pt x="113" y="24"/>
                      </a:lnTo>
                      <a:lnTo>
                        <a:pt x="122" y="20"/>
                      </a:lnTo>
                      <a:lnTo>
                        <a:pt x="128" y="14"/>
                      </a:lnTo>
                      <a:lnTo>
                        <a:pt x="128" y="14"/>
                      </a:lnTo>
                      <a:lnTo>
                        <a:pt x="135" y="7"/>
                      </a:lnTo>
                      <a:lnTo>
                        <a:pt x="138" y="4"/>
                      </a:lnTo>
                      <a:lnTo>
                        <a:pt x="139" y="0"/>
                      </a:lnTo>
                      <a:lnTo>
                        <a:pt x="139" y="0"/>
                      </a:lnTo>
                      <a:lnTo>
                        <a:pt x="148" y="2"/>
                      </a:lnTo>
                      <a:lnTo>
                        <a:pt x="155" y="7"/>
                      </a:lnTo>
                      <a:lnTo>
                        <a:pt x="160" y="13"/>
                      </a:lnTo>
                      <a:lnTo>
                        <a:pt x="162" y="18"/>
                      </a:lnTo>
                      <a:lnTo>
                        <a:pt x="162" y="18"/>
                      </a:lnTo>
                      <a:lnTo>
                        <a:pt x="162" y="18"/>
                      </a:lnTo>
                      <a:lnTo>
                        <a:pt x="162" y="18"/>
                      </a:lnTo>
                      <a:lnTo>
                        <a:pt x="161" y="24"/>
                      </a:lnTo>
                      <a:lnTo>
                        <a:pt x="160" y="29"/>
                      </a:lnTo>
                      <a:lnTo>
                        <a:pt x="157" y="33"/>
                      </a:lnTo>
                      <a:lnTo>
                        <a:pt x="155" y="39"/>
                      </a:lnTo>
                      <a:lnTo>
                        <a:pt x="155" y="39"/>
                      </a:lnTo>
                      <a:lnTo>
                        <a:pt x="155" y="40"/>
                      </a:lnTo>
                      <a:lnTo>
                        <a:pt x="155" y="40"/>
                      </a:lnTo>
                      <a:lnTo>
                        <a:pt x="157" y="43"/>
                      </a:lnTo>
                      <a:lnTo>
                        <a:pt x="157" y="44"/>
                      </a:lnTo>
                      <a:lnTo>
                        <a:pt x="157" y="44"/>
                      </a:lnTo>
                      <a:lnTo>
                        <a:pt x="157" y="44"/>
                      </a:lnTo>
                      <a:lnTo>
                        <a:pt x="161" y="42"/>
                      </a:lnTo>
                      <a:lnTo>
                        <a:pt x="162" y="42"/>
                      </a:lnTo>
                      <a:lnTo>
                        <a:pt x="167" y="40"/>
                      </a:lnTo>
                      <a:lnTo>
                        <a:pt x="167" y="40"/>
                      </a:lnTo>
                      <a:lnTo>
                        <a:pt x="170" y="42"/>
                      </a:lnTo>
                      <a:lnTo>
                        <a:pt x="174" y="44"/>
                      </a:lnTo>
                      <a:lnTo>
                        <a:pt x="183" y="55"/>
                      </a:lnTo>
                      <a:lnTo>
                        <a:pt x="191" y="66"/>
                      </a:lnTo>
                      <a:lnTo>
                        <a:pt x="196" y="75"/>
                      </a:lnTo>
                      <a:lnTo>
                        <a:pt x="196" y="75"/>
                      </a:lnTo>
                      <a:lnTo>
                        <a:pt x="199" y="81"/>
                      </a:lnTo>
                      <a:lnTo>
                        <a:pt x="202" y="82"/>
                      </a:lnTo>
                      <a:lnTo>
                        <a:pt x="206" y="85"/>
                      </a:lnTo>
                      <a:lnTo>
                        <a:pt x="209" y="89"/>
                      </a:lnTo>
                      <a:lnTo>
                        <a:pt x="209" y="89"/>
                      </a:lnTo>
                      <a:lnTo>
                        <a:pt x="210" y="94"/>
                      </a:lnTo>
                      <a:lnTo>
                        <a:pt x="210" y="100"/>
                      </a:lnTo>
                      <a:lnTo>
                        <a:pt x="210" y="101"/>
                      </a:lnTo>
                      <a:lnTo>
                        <a:pt x="210" y="101"/>
                      </a:lnTo>
                      <a:lnTo>
                        <a:pt x="199" y="97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90" y="95"/>
                      </a:lnTo>
                      <a:lnTo>
                        <a:pt x="186" y="97"/>
                      </a:lnTo>
                      <a:lnTo>
                        <a:pt x="184" y="97"/>
                      </a:lnTo>
                      <a:lnTo>
                        <a:pt x="183" y="100"/>
                      </a:lnTo>
                      <a:lnTo>
                        <a:pt x="180" y="101"/>
                      </a:lnTo>
                      <a:lnTo>
                        <a:pt x="180" y="101"/>
                      </a:lnTo>
                      <a:lnTo>
                        <a:pt x="175" y="102"/>
                      </a:lnTo>
                      <a:lnTo>
                        <a:pt x="173" y="104"/>
                      </a:lnTo>
                      <a:lnTo>
                        <a:pt x="173" y="104"/>
                      </a:lnTo>
                      <a:lnTo>
                        <a:pt x="173" y="104"/>
                      </a:lnTo>
                      <a:lnTo>
                        <a:pt x="173" y="104"/>
                      </a:lnTo>
                      <a:lnTo>
                        <a:pt x="167" y="102"/>
                      </a:lnTo>
                      <a:lnTo>
                        <a:pt x="167" y="102"/>
                      </a:lnTo>
                      <a:lnTo>
                        <a:pt x="160" y="101"/>
                      </a:lnTo>
                      <a:lnTo>
                        <a:pt x="152" y="101"/>
                      </a:lnTo>
                      <a:lnTo>
                        <a:pt x="152" y="101"/>
                      </a:lnTo>
                      <a:lnTo>
                        <a:pt x="148" y="101"/>
                      </a:lnTo>
                      <a:lnTo>
                        <a:pt x="145" y="102"/>
                      </a:lnTo>
                      <a:lnTo>
                        <a:pt x="145" y="105"/>
                      </a:lnTo>
                      <a:lnTo>
                        <a:pt x="142" y="107"/>
                      </a:lnTo>
                      <a:lnTo>
                        <a:pt x="142" y="107"/>
                      </a:lnTo>
                      <a:lnTo>
                        <a:pt x="138" y="110"/>
                      </a:lnTo>
                      <a:lnTo>
                        <a:pt x="131" y="111"/>
                      </a:lnTo>
                      <a:lnTo>
                        <a:pt x="119" y="114"/>
                      </a:lnTo>
                      <a:lnTo>
                        <a:pt x="119" y="114"/>
                      </a:lnTo>
                      <a:lnTo>
                        <a:pt x="105" y="111"/>
                      </a:lnTo>
                      <a:lnTo>
                        <a:pt x="96" y="110"/>
                      </a:lnTo>
                      <a:lnTo>
                        <a:pt x="90" y="107"/>
                      </a:lnTo>
                      <a:lnTo>
                        <a:pt x="90" y="107"/>
                      </a:lnTo>
                      <a:lnTo>
                        <a:pt x="87" y="105"/>
                      </a:lnTo>
                      <a:lnTo>
                        <a:pt x="83" y="104"/>
                      </a:lnTo>
                      <a:lnTo>
                        <a:pt x="83" y="104"/>
                      </a:lnTo>
                      <a:lnTo>
                        <a:pt x="83" y="104"/>
                      </a:lnTo>
                      <a:lnTo>
                        <a:pt x="83" y="104"/>
                      </a:lnTo>
                      <a:lnTo>
                        <a:pt x="78" y="104"/>
                      </a:lnTo>
                      <a:lnTo>
                        <a:pt x="78" y="104"/>
                      </a:lnTo>
                      <a:lnTo>
                        <a:pt x="78" y="104"/>
                      </a:lnTo>
                      <a:lnTo>
                        <a:pt x="78" y="104"/>
                      </a:lnTo>
                      <a:lnTo>
                        <a:pt x="78" y="104"/>
                      </a:lnTo>
                      <a:lnTo>
                        <a:pt x="78" y="104"/>
                      </a:lnTo>
                      <a:lnTo>
                        <a:pt x="77" y="105"/>
                      </a:lnTo>
                      <a:lnTo>
                        <a:pt x="74" y="110"/>
                      </a:lnTo>
                      <a:lnTo>
                        <a:pt x="71" y="120"/>
                      </a:lnTo>
                      <a:lnTo>
                        <a:pt x="71" y="120"/>
                      </a:lnTo>
                      <a:lnTo>
                        <a:pt x="61" y="121"/>
                      </a:lnTo>
                      <a:lnTo>
                        <a:pt x="54" y="124"/>
                      </a:lnTo>
                      <a:lnTo>
                        <a:pt x="54" y="124"/>
                      </a:lnTo>
                      <a:lnTo>
                        <a:pt x="39" y="128"/>
                      </a:lnTo>
                      <a:lnTo>
                        <a:pt x="19" y="13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00" name="Freeform 150"/>
                <p:cNvSpPr>
                  <a:spLocks noEditPoints="1"/>
                </p:cNvSpPr>
                <p:nvPr/>
              </p:nvSpPr>
              <p:spPr bwMode="auto">
                <a:xfrm>
                  <a:off x="4657077" y="3151932"/>
                  <a:ext cx="121679" cy="68259"/>
                </a:xfrm>
                <a:custGeom>
                  <a:avLst/>
                  <a:gdLst>
                    <a:gd name="T0" fmla="*/ 112 w 123"/>
                    <a:gd name="T1" fmla="*/ 14 h 69"/>
                    <a:gd name="T2" fmla="*/ 112 w 123"/>
                    <a:gd name="T3" fmla="*/ 14 h 69"/>
                    <a:gd name="T4" fmla="*/ 119 w 123"/>
                    <a:gd name="T5" fmla="*/ 7 h 69"/>
                    <a:gd name="T6" fmla="*/ 122 w 123"/>
                    <a:gd name="T7" fmla="*/ 4 h 69"/>
                    <a:gd name="T8" fmla="*/ 123 w 123"/>
                    <a:gd name="T9" fmla="*/ 0 h 69"/>
                    <a:gd name="T10" fmla="*/ 123 w 123"/>
                    <a:gd name="T11" fmla="*/ 0 h 69"/>
                    <a:gd name="T12" fmla="*/ 123 w 123"/>
                    <a:gd name="T13" fmla="*/ 0 h 69"/>
                    <a:gd name="T14" fmla="*/ 123 w 123"/>
                    <a:gd name="T15" fmla="*/ 0 h 69"/>
                    <a:gd name="T16" fmla="*/ 122 w 123"/>
                    <a:gd name="T17" fmla="*/ 4 h 69"/>
                    <a:gd name="T18" fmla="*/ 119 w 123"/>
                    <a:gd name="T19" fmla="*/ 7 h 69"/>
                    <a:gd name="T20" fmla="*/ 112 w 123"/>
                    <a:gd name="T21" fmla="*/ 14 h 69"/>
                    <a:gd name="T22" fmla="*/ 0 w 123"/>
                    <a:gd name="T23" fmla="*/ 69 h 69"/>
                    <a:gd name="T24" fmla="*/ 0 w 123"/>
                    <a:gd name="T25" fmla="*/ 69 h 69"/>
                    <a:gd name="T26" fmla="*/ 0 w 123"/>
                    <a:gd name="T27" fmla="*/ 69 h 69"/>
                    <a:gd name="T28" fmla="*/ 0 w 123"/>
                    <a:gd name="T29" fmla="*/ 69 h 69"/>
                    <a:gd name="T30" fmla="*/ 7 w 123"/>
                    <a:gd name="T31" fmla="*/ 65 h 69"/>
                    <a:gd name="T32" fmla="*/ 13 w 123"/>
                    <a:gd name="T33" fmla="*/ 62 h 69"/>
                    <a:gd name="T34" fmla="*/ 13 w 123"/>
                    <a:gd name="T35" fmla="*/ 62 h 69"/>
                    <a:gd name="T36" fmla="*/ 7 w 123"/>
                    <a:gd name="T37" fmla="*/ 65 h 69"/>
                    <a:gd name="T38" fmla="*/ 0 w 123"/>
                    <a:gd name="T3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23" h="69">
                      <a:moveTo>
                        <a:pt x="112" y="14"/>
                      </a:moveTo>
                      <a:lnTo>
                        <a:pt x="112" y="14"/>
                      </a:lnTo>
                      <a:lnTo>
                        <a:pt x="119" y="7"/>
                      </a:lnTo>
                      <a:lnTo>
                        <a:pt x="122" y="4"/>
                      </a:lnTo>
                      <a:lnTo>
                        <a:pt x="123" y="0"/>
                      </a:lnTo>
                      <a:lnTo>
                        <a:pt x="123" y="0"/>
                      </a:lnTo>
                      <a:lnTo>
                        <a:pt x="123" y="0"/>
                      </a:lnTo>
                      <a:lnTo>
                        <a:pt x="123" y="0"/>
                      </a:lnTo>
                      <a:lnTo>
                        <a:pt x="122" y="4"/>
                      </a:lnTo>
                      <a:lnTo>
                        <a:pt x="119" y="7"/>
                      </a:lnTo>
                      <a:lnTo>
                        <a:pt x="112" y="14"/>
                      </a:lnTo>
                      <a:close/>
                      <a:moveTo>
                        <a:pt x="0" y="69"/>
                      </a:moveTo>
                      <a:lnTo>
                        <a:pt x="0" y="69"/>
                      </a:lnTo>
                      <a:lnTo>
                        <a:pt x="0" y="69"/>
                      </a:lnTo>
                      <a:lnTo>
                        <a:pt x="0" y="69"/>
                      </a:lnTo>
                      <a:lnTo>
                        <a:pt x="7" y="65"/>
                      </a:lnTo>
                      <a:lnTo>
                        <a:pt x="13" y="62"/>
                      </a:lnTo>
                      <a:lnTo>
                        <a:pt x="13" y="62"/>
                      </a:lnTo>
                      <a:lnTo>
                        <a:pt x="7" y="65"/>
                      </a:lnTo>
                      <a:lnTo>
                        <a:pt x="0" y="6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01" name="Freeform 151"/>
                <p:cNvSpPr>
                  <a:spLocks/>
                </p:cNvSpPr>
                <p:nvPr/>
              </p:nvSpPr>
              <p:spPr bwMode="auto">
                <a:xfrm>
                  <a:off x="4767874" y="3151932"/>
                  <a:ext cx="10882" cy="13850"/>
                </a:xfrm>
                <a:custGeom>
                  <a:avLst/>
                  <a:gdLst>
                    <a:gd name="T0" fmla="*/ 0 w 11"/>
                    <a:gd name="T1" fmla="*/ 14 h 14"/>
                    <a:gd name="T2" fmla="*/ 0 w 11"/>
                    <a:gd name="T3" fmla="*/ 14 h 14"/>
                    <a:gd name="T4" fmla="*/ 7 w 11"/>
                    <a:gd name="T5" fmla="*/ 7 h 14"/>
                    <a:gd name="T6" fmla="*/ 10 w 11"/>
                    <a:gd name="T7" fmla="*/ 4 h 14"/>
                    <a:gd name="T8" fmla="*/ 11 w 11"/>
                    <a:gd name="T9" fmla="*/ 0 h 14"/>
                    <a:gd name="T10" fmla="*/ 11 w 11"/>
                    <a:gd name="T11" fmla="*/ 0 h 14"/>
                    <a:gd name="T12" fmla="*/ 11 w 11"/>
                    <a:gd name="T13" fmla="*/ 0 h 14"/>
                    <a:gd name="T14" fmla="*/ 11 w 11"/>
                    <a:gd name="T15" fmla="*/ 0 h 14"/>
                    <a:gd name="T16" fmla="*/ 10 w 11"/>
                    <a:gd name="T17" fmla="*/ 4 h 14"/>
                    <a:gd name="T18" fmla="*/ 7 w 11"/>
                    <a:gd name="T19" fmla="*/ 7 h 14"/>
                    <a:gd name="T20" fmla="*/ 0 w 11"/>
                    <a:gd name="T21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14">
                      <a:moveTo>
                        <a:pt x="0" y="14"/>
                      </a:moveTo>
                      <a:lnTo>
                        <a:pt x="0" y="14"/>
                      </a:lnTo>
                      <a:lnTo>
                        <a:pt x="7" y="7"/>
                      </a:lnTo>
                      <a:lnTo>
                        <a:pt x="10" y="4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10" y="4"/>
                      </a:lnTo>
                      <a:lnTo>
                        <a:pt x="7" y="7"/>
                      </a:lnTo>
                      <a:lnTo>
                        <a:pt x="0" y="1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02" name="Freeform 152"/>
                <p:cNvSpPr>
                  <a:spLocks/>
                </p:cNvSpPr>
                <p:nvPr/>
              </p:nvSpPr>
              <p:spPr bwMode="auto">
                <a:xfrm>
                  <a:off x="4657077" y="3213266"/>
                  <a:ext cx="12860" cy="6925"/>
                </a:xfrm>
                <a:custGeom>
                  <a:avLst/>
                  <a:gdLst>
                    <a:gd name="T0" fmla="*/ 0 w 13"/>
                    <a:gd name="T1" fmla="*/ 7 h 7"/>
                    <a:gd name="T2" fmla="*/ 0 w 13"/>
                    <a:gd name="T3" fmla="*/ 7 h 7"/>
                    <a:gd name="T4" fmla="*/ 0 w 13"/>
                    <a:gd name="T5" fmla="*/ 7 h 7"/>
                    <a:gd name="T6" fmla="*/ 0 w 13"/>
                    <a:gd name="T7" fmla="*/ 7 h 7"/>
                    <a:gd name="T8" fmla="*/ 7 w 13"/>
                    <a:gd name="T9" fmla="*/ 3 h 7"/>
                    <a:gd name="T10" fmla="*/ 13 w 13"/>
                    <a:gd name="T11" fmla="*/ 0 h 7"/>
                    <a:gd name="T12" fmla="*/ 13 w 13"/>
                    <a:gd name="T13" fmla="*/ 0 h 7"/>
                    <a:gd name="T14" fmla="*/ 7 w 13"/>
                    <a:gd name="T15" fmla="*/ 3 h 7"/>
                    <a:gd name="T16" fmla="*/ 0 w 13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" h="7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7" y="3"/>
                      </a:lnTo>
                      <a:lnTo>
                        <a:pt x="13" y="0"/>
                      </a:lnTo>
                      <a:lnTo>
                        <a:pt x="13" y="0"/>
                      </a:lnTo>
                      <a:lnTo>
                        <a:pt x="7" y="3"/>
                      </a:lnTo>
                      <a:lnTo>
                        <a:pt x="0" y="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03" name="Freeform 153"/>
                <p:cNvSpPr>
                  <a:spLocks/>
                </p:cNvSpPr>
                <p:nvPr/>
              </p:nvSpPr>
              <p:spPr bwMode="auto">
                <a:xfrm>
                  <a:off x="4565076" y="3270643"/>
                  <a:ext cx="128604" cy="135529"/>
                </a:xfrm>
                <a:custGeom>
                  <a:avLst/>
                  <a:gdLst>
                    <a:gd name="T0" fmla="*/ 59 w 130"/>
                    <a:gd name="T1" fmla="*/ 137 h 137"/>
                    <a:gd name="T2" fmla="*/ 46 w 130"/>
                    <a:gd name="T3" fmla="*/ 137 h 137"/>
                    <a:gd name="T4" fmla="*/ 46 w 130"/>
                    <a:gd name="T5" fmla="*/ 137 h 137"/>
                    <a:gd name="T6" fmla="*/ 46 w 130"/>
                    <a:gd name="T7" fmla="*/ 137 h 137"/>
                    <a:gd name="T8" fmla="*/ 46 w 130"/>
                    <a:gd name="T9" fmla="*/ 137 h 137"/>
                    <a:gd name="T10" fmla="*/ 46 w 130"/>
                    <a:gd name="T11" fmla="*/ 137 h 137"/>
                    <a:gd name="T12" fmla="*/ 46 w 130"/>
                    <a:gd name="T13" fmla="*/ 137 h 137"/>
                    <a:gd name="T14" fmla="*/ 29 w 130"/>
                    <a:gd name="T15" fmla="*/ 130 h 137"/>
                    <a:gd name="T16" fmla="*/ 27 w 130"/>
                    <a:gd name="T17" fmla="*/ 129 h 137"/>
                    <a:gd name="T18" fmla="*/ 22 w 130"/>
                    <a:gd name="T19" fmla="*/ 137 h 137"/>
                    <a:gd name="T20" fmla="*/ 22 w 130"/>
                    <a:gd name="T21" fmla="*/ 136 h 137"/>
                    <a:gd name="T22" fmla="*/ 0 w 130"/>
                    <a:gd name="T23" fmla="*/ 113 h 137"/>
                    <a:gd name="T24" fmla="*/ 6 w 130"/>
                    <a:gd name="T25" fmla="*/ 111 h 137"/>
                    <a:gd name="T26" fmla="*/ 7 w 130"/>
                    <a:gd name="T27" fmla="*/ 111 h 137"/>
                    <a:gd name="T28" fmla="*/ 13 w 130"/>
                    <a:gd name="T29" fmla="*/ 111 h 137"/>
                    <a:gd name="T30" fmla="*/ 14 w 130"/>
                    <a:gd name="T31" fmla="*/ 111 h 137"/>
                    <a:gd name="T32" fmla="*/ 27 w 130"/>
                    <a:gd name="T33" fmla="*/ 110 h 137"/>
                    <a:gd name="T34" fmla="*/ 27 w 130"/>
                    <a:gd name="T35" fmla="*/ 110 h 137"/>
                    <a:gd name="T36" fmla="*/ 27 w 130"/>
                    <a:gd name="T37" fmla="*/ 110 h 137"/>
                    <a:gd name="T38" fmla="*/ 27 w 130"/>
                    <a:gd name="T39" fmla="*/ 108 h 137"/>
                    <a:gd name="T40" fmla="*/ 27 w 130"/>
                    <a:gd name="T41" fmla="*/ 108 h 137"/>
                    <a:gd name="T42" fmla="*/ 27 w 130"/>
                    <a:gd name="T43" fmla="*/ 108 h 137"/>
                    <a:gd name="T44" fmla="*/ 27 w 130"/>
                    <a:gd name="T45" fmla="*/ 108 h 137"/>
                    <a:gd name="T46" fmla="*/ 29 w 130"/>
                    <a:gd name="T47" fmla="*/ 108 h 137"/>
                    <a:gd name="T48" fmla="*/ 30 w 130"/>
                    <a:gd name="T49" fmla="*/ 101 h 137"/>
                    <a:gd name="T50" fmla="*/ 35 w 130"/>
                    <a:gd name="T51" fmla="*/ 97 h 137"/>
                    <a:gd name="T52" fmla="*/ 36 w 130"/>
                    <a:gd name="T53" fmla="*/ 97 h 137"/>
                    <a:gd name="T54" fmla="*/ 40 w 130"/>
                    <a:gd name="T55" fmla="*/ 100 h 137"/>
                    <a:gd name="T56" fmla="*/ 46 w 130"/>
                    <a:gd name="T57" fmla="*/ 101 h 137"/>
                    <a:gd name="T58" fmla="*/ 51 w 130"/>
                    <a:gd name="T59" fmla="*/ 100 h 137"/>
                    <a:gd name="T60" fmla="*/ 51 w 130"/>
                    <a:gd name="T61" fmla="*/ 100 h 137"/>
                    <a:gd name="T62" fmla="*/ 51 w 130"/>
                    <a:gd name="T63" fmla="*/ 100 h 137"/>
                    <a:gd name="T64" fmla="*/ 59 w 130"/>
                    <a:gd name="T65" fmla="*/ 91 h 137"/>
                    <a:gd name="T66" fmla="*/ 58 w 130"/>
                    <a:gd name="T67" fmla="*/ 81 h 137"/>
                    <a:gd name="T68" fmla="*/ 52 w 130"/>
                    <a:gd name="T69" fmla="*/ 66 h 137"/>
                    <a:gd name="T70" fmla="*/ 53 w 130"/>
                    <a:gd name="T71" fmla="*/ 62 h 137"/>
                    <a:gd name="T72" fmla="*/ 62 w 130"/>
                    <a:gd name="T73" fmla="*/ 46 h 137"/>
                    <a:gd name="T74" fmla="*/ 56 w 130"/>
                    <a:gd name="T75" fmla="*/ 30 h 137"/>
                    <a:gd name="T76" fmla="*/ 77 w 130"/>
                    <a:gd name="T77" fmla="*/ 35 h 137"/>
                    <a:gd name="T78" fmla="*/ 78 w 130"/>
                    <a:gd name="T79" fmla="*/ 35 h 137"/>
                    <a:gd name="T80" fmla="*/ 87 w 130"/>
                    <a:gd name="T81" fmla="*/ 24 h 137"/>
                    <a:gd name="T82" fmla="*/ 78 w 130"/>
                    <a:gd name="T83" fmla="*/ 13 h 137"/>
                    <a:gd name="T84" fmla="*/ 113 w 130"/>
                    <a:gd name="T85" fmla="*/ 4 h 137"/>
                    <a:gd name="T86" fmla="*/ 130 w 130"/>
                    <a:gd name="T87" fmla="*/ 0 h 137"/>
                    <a:gd name="T88" fmla="*/ 123 w 130"/>
                    <a:gd name="T89" fmla="*/ 23 h 137"/>
                    <a:gd name="T90" fmla="*/ 119 w 130"/>
                    <a:gd name="T91" fmla="*/ 39 h 137"/>
                    <a:gd name="T92" fmla="*/ 117 w 130"/>
                    <a:gd name="T93" fmla="*/ 62 h 137"/>
                    <a:gd name="T94" fmla="*/ 104 w 130"/>
                    <a:gd name="T95" fmla="*/ 77 h 137"/>
                    <a:gd name="T96" fmla="*/ 93 w 130"/>
                    <a:gd name="T97" fmla="*/ 84 h 137"/>
                    <a:gd name="T98" fmla="*/ 88 w 130"/>
                    <a:gd name="T99" fmla="*/ 90 h 137"/>
                    <a:gd name="T100" fmla="*/ 84 w 130"/>
                    <a:gd name="T101" fmla="*/ 113 h 137"/>
                    <a:gd name="T102" fmla="*/ 72 w 130"/>
                    <a:gd name="T103" fmla="*/ 130 h 137"/>
                    <a:gd name="T104" fmla="*/ 68 w 130"/>
                    <a:gd name="T105" fmla="*/ 136 h 137"/>
                    <a:gd name="T106" fmla="*/ 59 w 130"/>
                    <a:gd name="T107" fmla="*/ 137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30" h="137">
                      <a:moveTo>
                        <a:pt x="59" y="137"/>
                      </a:moveTo>
                      <a:lnTo>
                        <a:pt x="59" y="137"/>
                      </a:lnTo>
                      <a:lnTo>
                        <a:pt x="59" y="137"/>
                      </a:lnTo>
                      <a:lnTo>
                        <a:pt x="51" y="137"/>
                      </a:lnTo>
                      <a:lnTo>
                        <a:pt x="51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2" y="136"/>
                      </a:lnTo>
                      <a:lnTo>
                        <a:pt x="36" y="133"/>
                      </a:lnTo>
                      <a:lnTo>
                        <a:pt x="29" y="130"/>
                      </a:lnTo>
                      <a:lnTo>
                        <a:pt x="29" y="130"/>
                      </a:lnTo>
                      <a:lnTo>
                        <a:pt x="27" y="129"/>
                      </a:lnTo>
                      <a:lnTo>
                        <a:pt x="27" y="129"/>
                      </a:lnTo>
                      <a:lnTo>
                        <a:pt x="26" y="130"/>
                      </a:lnTo>
                      <a:lnTo>
                        <a:pt x="24" y="132"/>
                      </a:lnTo>
                      <a:lnTo>
                        <a:pt x="22" y="137"/>
                      </a:lnTo>
                      <a:lnTo>
                        <a:pt x="22" y="137"/>
                      </a:lnTo>
                      <a:lnTo>
                        <a:pt x="22" y="136"/>
                      </a:lnTo>
                      <a:lnTo>
                        <a:pt x="22" y="136"/>
                      </a:lnTo>
                      <a:lnTo>
                        <a:pt x="19" y="133"/>
                      </a:lnTo>
                      <a:lnTo>
                        <a:pt x="19" y="133"/>
                      </a:lnTo>
                      <a:lnTo>
                        <a:pt x="0" y="113"/>
                      </a:lnTo>
                      <a:lnTo>
                        <a:pt x="0" y="113"/>
                      </a:lnTo>
                      <a:lnTo>
                        <a:pt x="6" y="111"/>
                      </a:lnTo>
                      <a:lnTo>
                        <a:pt x="6" y="111"/>
                      </a:lnTo>
                      <a:lnTo>
                        <a:pt x="7" y="111"/>
                      </a:lnTo>
                      <a:lnTo>
                        <a:pt x="7" y="111"/>
                      </a:lnTo>
                      <a:lnTo>
                        <a:pt x="7" y="111"/>
                      </a:lnTo>
                      <a:lnTo>
                        <a:pt x="9" y="111"/>
                      </a:lnTo>
                      <a:lnTo>
                        <a:pt x="9" y="111"/>
                      </a:lnTo>
                      <a:lnTo>
                        <a:pt x="13" y="111"/>
                      </a:lnTo>
                      <a:lnTo>
                        <a:pt x="13" y="111"/>
                      </a:lnTo>
                      <a:lnTo>
                        <a:pt x="13" y="111"/>
                      </a:lnTo>
                      <a:lnTo>
                        <a:pt x="14" y="111"/>
                      </a:lnTo>
                      <a:lnTo>
                        <a:pt x="14" y="111"/>
                      </a:lnTo>
                      <a:lnTo>
                        <a:pt x="22" y="110"/>
                      </a:lnTo>
                      <a:lnTo>
                        <a:pt x="27" y="110"/>
                      </a:lnTo>
                      <a:lnTo>
                        <a:pt x="27" y="110"/>
                      </a:lnTo>
                      <a:lnTo>
                        <a:pt x="27" y="110"/>
                      </a:lnTo>
                      <a:lnTo>
                        <a:pt x="27" y="110"/>
                      </a:lnTo>
                      <a:lnTo>
                        <a:pt x="27" y="110"/>
                      </a:lnTo>
                      <a:lnTo>
                        <a:pt x="27" y="110"/>
                      </a:lnTo>
                      <a:lnTo>
                        <a:pt x="27" y="110"/>
                      </a:lnTo>
                      <a:lnTo>
                        <a:pt x="27" y="110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9" y="108"/>
                      </a:lnTo>
                      <a:lnTo>
                        <a:pt x="29" y="108"/>
                      </a:lnTo>
                      <a:lnTo>
                        <a:pt x="29" y="108"/>
                      </a:lnTo>
                      <a:lnTo>
                        <a:pt x="29" y="108"/>
                      </a:lnTo>
                      <a:lnTo>
                        <a:pt x="30" y="101"/>
                      </a:lnTo>
                      <a:lnTo>
                        <a:pt x="33" y="98"/>
                      </a:lnTo>
                      <a:lnTo>
                        <a:pt x="35" y="97"/>
                      </a:lnTo>
                      <a:lnTo>
                        <a:pt x="35" y="97"/>
                      </a:lnTo>
                      <a:lnTo>
                        <a:pt x="35" y="97"/>
                      </a:lnTo>
                      <a:lnTo>
                        <a:pt x="36" y="97"/>
                      </a:lnTo>
                      <a:lnTo>
                        <a:pt x="36" y="97"/>
                      </a:lnTo>
                      <a:lnTo>
                        <a:pt x="36" y="97"/>
                      </a:lnTo>
                      <a:lnTo>
                        <a:pt x="36" y="97"/>
                      </a:lnTo>
                      <a:lnTo>
                        <a:pt x="40" y="100"/>
                      </a:lnTo>
                      <a:lnTo>
                        <a:pt x="46" y="101"/>
                      </a:lnTo>
                      <a:lnTo>
                        <a:pt x="46" y="101"/>
                      </a:lnTo>
                      <a:lnTo>
                        <a:pt x="46" y="101"/>
                      </a:lnTo>
                      <a:lnTo>
                        <a:pt x="46" y="101"/>
                      </a:lnTo>
                      <a:lnTo>
                        <a:pt x="51" y="100"/>
                      </a:lnTo>
                      <a:lnTo>
                        <a:pt x="51" y="100"/>
                      </a:lnTo>
                      <a:lnTo>
                        <a:pt x="51" y="100"/>
                      </a:lnTo>
                      <a:lnTo>
                        <a:pt x="51" y="100"/>
                      </a:lnTo>
                      <a:lnTo>
                        <a:pt x="51" y="100"/>
                      </a:lnTo>
                      <a:lnTo>
                        <a:pt x="51" y="100"/>
                      </a:lnTo>
                      <a:lnTo>
                        <a:pt x="51" y="100"/>
                      </a:lnTo>
                      <a:lnTo>
                        <a:pt x="51" y="100"/>
                      </a:lnTo>
                      <a:lnTo>
                        <a:pt x="55" y="98"/>
                      </a:lnTo>
                      <a:lnTo>
                        <a:pt x="58" y="95"/>
                      </a:lnTo>
                      <a:lnTo>
                        <a:pt x="59" y="91"/>
                      </a:lnTo>
                      <a:lnTo>
                        <a:pt x="59" y="87"/>
                      </a:lnTo>
                      <a:lnTo>
                        <a:pt x="59" y="87"/>
                      </a:lnTo>
                      <a:lnTo>
                        <a:pt x="58" y="81"/>
                      </a:lnTo>
                      <a:lnTo>
                        <a:pt x="58" y="81"/>
                      </a:lnTo>
                      <a:lnTo>
                        <a:pt x="53" y="72"/>
                      </a:lnTo>
                      <a:lnTo>
                        <a:pt x="52" y="66"/>
                      </a:lnTo>
                      <a:lnTo>
                        <a:pt x="52" y="66"/>
                      </a:lnTo>
                      <a:lnTo>
                        <a:pt x="53" y="62"/>
                      </a:lnTo>
                      <a:lnTo>
                        <a:pt x="53" y="62"/>
                      </a:lnTo>
                      <a:lnTo>
                        <a:pt x="59" y="55"/>
                      </a:lnTo>
                      <a:lnTo>
                        <a:pt x="61" y="50"/>
                      </a:lnTo>
                      <a:lnTo>
                        <a:pt x="62" y="46"/>
                      </a:lnTo>
                      <a:lnTo>
                        <a:pt x="62" y="46"/>
                      </a:lnTo>
                      <a:lnTo>
                        <a:pt x="59" y="39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66" y="33"/>
                      </a:lnTo>
                      <a:lnTo>
                        <a:pt x="77" y="35"/>
                      </a:lnTo>
                      <a:lnTo>
                        <a:pt x="77" y="35"/>
                      </a:lnTo>
                      <a:lnTo>
                        <a:pt x="78" y="35"/>
                      </a:lnTo>
                      <a:lnTo>
                        <a:pt x="78" y="35"/>
                      </a:lnTo>
                      <a:lnTo>
                        <a:pt x="84" y="32"/>
                      </a:lnTo>
                      <a:lnTo>
                        <a:pt x="87" y="29"/>
                      </a:lnTo>
                      <a:lnTo>
                        <a:pt x="87" y="24"/>
                      </a:lnTo>
                      <a:lnTo>
                        <a:pt x="84" y="20"/>
                      </a:lnTo>
                      <a:lnTo>
                        <a:pt x="84" y="20"/>
                      </a:lnTo>
                      <a:lnTo>
                        <a:pt x="78" y="13"/>
                      </a:lnTo>
                      <a:lnTo>
                        <a:pt x="78" y="13"/>
                      </a:lnTo>
                      <a:lnTo>
                        <a:pt x="98" y="8"/>
                      </a:lnTo>
                      <a:lnTo>
                        <a:pt x="113" y="4"/>
                      </a:lnTo>
                      <a:lnTo>
                        <a:pt x="113" y="4"/>
                      </a:lnTo>
                      <a:lnTo>
                        <a:pt x="120" y="1"/>
                      </a:lnTo>
                      <a:lnTo>
                        <a:pt x="130" y="0"/>
                      </a:lnTo>
                      <a:lnTo>
                        <a:pt x="130" y="0"/>
                      </a:lnTo>
                      <a:lnTo>
                        <a:pt x="126" y="14"/>
                      </a:lnTo>
                      <a:lnTo>
                        <a:pt x="123" y="23"/>
                      </a:lnTo>
                      <a:lnTo>
                        <a:pt x="123" y="23"/>
                      </a:lnTo>
                      <a:lnTo>
                        <a:pt x="120" y="30"/>
                      </a:lnTo>
                      <a:lnTo>
                        <a:pt x="119" y="39"/>
                      </a:lnTo>
                      <a:lnTo>
                        <a:pt x="119" y="56"/>
                      </a:lnTo>
                      <a:lnTo>
                        <a:pt x="119" y="56"/>
                      </a:lnTo>
                      <a:lnTo>
                        <a:pt x="117" y="62"/>
                      </a:lnTo>
                      <a:lnTo>
                        <a:pt x="114" y="68"/>
                      </a:lnTo>
                      <a:lnTo>
                        <a:pt x="110" y="72"/>
                      </a:lnTo>
                      <a:lnTo>
                        <a:pt x="104" y="77"/>
                      </a:lnTo>
                      <a:lnTo>
                        <a:pt x="104" y="77"/>
                      </a:lnTo>
                      <a:lnTo>
                        <a:pt x="95" y="81"/>
                      </a:lnTo>
                      <a:lnTo>
                        <a:pt x="93" y="84"/>
                      </a:lnTo>
                      <a:lnTo>
                        <a:pt x="90" y="85"/>
                      </a:lnTo>
                      <a:lnTo>
                        <a:pt x="90" y="85"/>
                      </a:lnTo>
                      <a:lnTo>
                        <a:pt x="88" y="90"/>
                      </a:lnTo>
                      <a:lnTo>
                        <a:pt x="88" y="97"/>
                      </a:lnTo>
                      <a:lnTo>
                        <a:pt x="87" y="104"/>
                      </a:lnTo>
                      <a:lnTo>
                        <a:pt x="84" y="113"/>
                      </a:lnTo>
                      <a:lnTo>
                        <a:pt x="84" y="113"/>
                      </a:lnTo>
                      <a:lnTo>
                        <a:pt x="75" y="126"/>
                      </a:lnTo>
                      <a:lnTo>
                        <a:pt x="72" y="130"/>
                      </a:lnTo>
                      <a:lnTo>
                        <a:pt x="69" y="134"/>
                      </a:lnTo>
                      <a:lnTo>
                        <a:pt x="69" y="134"/>
                      </a:lnTo>
                      <a:lnTo>
                        <a:pt x="68" y="136"/>
                      </a:lnTo>
                      <a:lnTo>
                        <a:pt x="66" y="137"/>
                      </a:lnTo>
                      <a:lnTo>
                        <a:pt x="59" y="137"/>
                      </a:lnTo>
                      <a:lnTo>
                        <a:pt x="59" y="13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04" name="Freeform 154"/>
                <p:cNvSpPr>
                  <a:spLocks/>
                </p:cNvSpPr>
                <p:nvPr/>
              </p:nvSpPr>
              <p:spPr bwMode="auto">
                <a:xfrm>
                  <a:off x="4582882" y="3270643"/>
                  <a:ext cx="128604" cy="135529"/>
                </a:xfrm>
                <a:custGeom>
                  <a:avLst/>
                  <a:gdLst>
                    <a:gd name="T0" fmla="*/ 59 w 130"/>
                    <a:gd name="T1" fmla="*/ 137 h 137"/>
                    <a:gd name="T2" fmla="*/ 46 w 130"/>
                    <a:gd name="T3" fmla="*/ 137 h 137"/>
                    <a:gd name="T4" fmla="*/ 46 w 130"/>
                    <a:gd name="T5" fmla="*/ 137 h 137"/>
                    <a:gd name="T6" fmla="*/ 46 w 130"/>
                    <a:gd name="T7" fmla="*/ 137 h 137"/>
                    <a:gd name="T8" fmla="*/ 46 w 130"/>
                    <a:gd name="T9" fmla="*/ 137 h 137"/>
                    <a:gd name="T10" fmla="*/ 46 w 130"/>
                    <a:gd name="T11" fmla="*/ 137 h 137"/>
                    <a:gd name="T12" fmla="*/ 46 w 130"/>
                    <a:gd name="T13" fmla="*/ 137 h 137"/>
                    <a:gd name="T14" fmla="*/ 29 w 130"/>
                    <a:gd name="T15" fmla="*/ 130 h 137"/>
                    <a:gd name="T16" fmla="*/ 27 w 130"/>
                    <a:gd name="T17" fmla="*/ 129 h 137"/>
                    <a:gd name="T18" fmla="*/ 22 w 130"/>
                    <a:gd name="T19" fmla="*/ 137 h 137"/>
                    <a:gd name="T20" fmla="*/ 22 w 130"/>
                    <a:gd name="T21" fmla="*/ 136 h 137"/>
                    <a:gd name="T22" fmla="*/ 0 w 130"/>
                    <a:gd name="T23" fmla="*/ 113 h 137"/>
                    <a:gd name="T24" fmla="*/ 6 w 130"/>
                    <a:gd name="T25" fmla="*/ 111 h 137"/>
                    <a:gd name="T26" fmla="*/ 7 w 130"/>
                    <a:gd name="T27" fmla="*/ 111 h 137"/>
                    <a:gd name="T28" fmla="*/ 13 w 130"/>
                    <a:gd name="T29" fmla="*/ 111 h 137"/>
                    <a:gd name="T30" fmla="*/ 14 w 130"/>
                    <a:gd name="T31" fmla="*/ 111 h 137"/>
                    <a:gd name="T32" fmla="*/ 27 w 130"/>
                    <a:gd name="T33" fmla="*/ 110 h 137"/>
                    <a:gd name="T34" fmla="*/ 27 w 130"/>
                    <a:gd name="T35" fmla="*/ 110 h 137"/>
                    <a:gd name="T36" fmla="*/ 27 w 130"/>
                    <a:gd name="T37" fmla="*/ 110 h 137"/>
                    <a:gd name="T38" fmla="*/ 27 w 130"/>
                    <a:gd name="T39" fmla="*/ 108 h 137"/>
                    <a:gd name="T40" fmla="*/ 27 w 130"/>
                    <a:gd name="T41" fmla="*/ 108 h 137"/>
                    <a:gd name="T42" fmla="*/ 27 w 130"/>
                    <a:gd name="T43" fmla="*/ 108 h 137"/>
                    <a:gd name="T44" fmla="*/ 27 w 130"/>
                    <a:gd name="T45" fmla="*/ 108 h 137"/>
                    <a:gd name="T46" fmla="*/ 29 w 130"/>
                    <a:gd name="T47" fmla="*/ 108 h 137"/>
                    <a:gd name="T48" fmla="*/ 30 w 130"/>
                    <a:gd name="T49" fmla="*/ 101 h 137"/>
                    <a:gd name="T50" fmla="*/ 35 w 130"/>
                    <a:gd name="T51" fmla="*/ 97 h 137"/>
                    <a:gd name="T52" fmla="*/ 36 w 130"/>
                    <a:gd name="T53" fmla="*/ 97 h 137"/>
                    <a:gd name="T54" fmla="*/ 40 w 130"/>
                    <a:gd name="T55" fmla="*/ 100 h 137"/>
                    <a:gd name="T56" fmla="*/ 46 w 130"/>
                    <a:gd name="T57" fmla="*/ 101 h 137"/>
                    <a:gd name="T58" fmla="*/ 51 w 130"/>
                    <a:gd name="T59" fmla="*/ 100 h 137"/>
                    <a:gd name="T60" fmla="*/ 51 w 130"/>
                    <a:gd name="T61" fmla="*/ 100 h 137"/>
                    <a:gd name="T62" fmla="*/ 51 w 130"/>
                    <a:gd name="T63" fmla="*/ 100 h 137"/>
                    <a:gd name="T64" fmla="*/ 59 w 130"/>
                    <a:gd name="T65" fmla="*/ 91 h 137"/>
                    <a:gd name="T66" fmla="*/ 58 w 130"/>
                    <a:gd name="T67" fmla="*/ 81 h 137"/>
                    <a:gd name="T68" fmla="*/ 52 w 130"/>
                    <a:gd name="T69" fmla="*/ 66 h 137"/>
                    <a:gd name="T70" fmla="*/ 53 w 130"/>
                    <a:gd name="T71" fmla="*/ 62 h 137"/>
                    <a:gd name="T72" fmla="*/ 62 w 130"/>
                    <a:gd name="T73" fmla="*/ 46 h 137"/>
                    <a:gd name="T74" fmla="*/ 56 w 130"/>
                    <a:gd name="T75" fmla="*/ 30 h 137"/>
                    <a:gd name="T76" fmla="*/ 77 w 130"/>
                    <a:gd name="T77" fmla="*/ 35 h 137"/>
                    <a:gd name="T78" fmla="*/ 78 w 130"/>
                    <a:gd name="T79" fmla="*/ 35 h 137"/>
                    <a:gd name="T80" fmla="*/ 87 w 130"/>
                    <a:gd name="T81" fmla="*/ 24 h 137"/>
                    <a:gd name="T82" fmla="*/ 78 w 130"/>
                    <a:gd name="T83" fmla="*/ 13 h 137"/>
                    <a:gd name="T84" fmla="*/ 113 w 130"/>
                    <a:gd name="T85" fmla="*/ 4 h 137"/>
                    <a:gd name="T86" fmla="*/ 130 w 130"/>
                    <a:gd name="T87" fmla="*/ 0 h 137"/>
                    <a:gd name="T88" fmla="*/ 123 w 130"/>
                    <a:gd name="T89" fmla="*/ 23 h 137"/>
                    <a:gd name="T90" fmla="*/ 119 w 130"/>
                    <a:gd name="T91" fmla="*/ 39 h 137"/>
                    <a:gd name="T92" fmla="*/ 117 w 130"/>
                    <a:gd name="T93" fmla="*/ 62 h 137"/>
                    <a:gd name="T94" fmla="*/ 104 w 130"/>
                    <a:gd name="T95" fmla="*/ 77 h 137"/>
                    <a:gd name="T96" fmla="*/ 93 w 130"/>
                    <a:gd name="T97" fmla="*/ 84 h 137"/>
                    <a:gd name="T98" fmla="*/ 88 w 130"/>
                    <a:gd name="T99" fmla="*/ 90 h 137"/>
                    <a:gd name="T100" fmla="*/ 84 w 130"/>
                    <a:gd name="T101" fmla="*/ 113 h 137"/>
                    <a:gd name="T102" fmla="*/ 72 w 130"/>
                    <a:gd name="T103" fmla="*/ 130 h 137"/>
                    <a:gd name="T104" fmla="*/ 68 w 130"/>
                    <a:gd name="T105" fmla="*/ 136 h 137"/>
                    <a:gd name="T106" fmla="*/ 59 w 130"/>
                    <a:gd name="T107" fmla="*/ 137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30" h="137">
                      <a:moveTo>
                        <a:pt x="59" y="137"/>
                      </a:moveTo>
                      <a:lnTo>
                        <a:pt x="59" y="137"/>
                      </a:lnTo>
                      <a:lnTo>
                        <a:pt x="59" y="137"/>
                      </a:lnTo>
                      <a:lnTo>
                        <a:pt x="51" y="137"/>
                      </a:lnTo>
                      <a:lnTo>
                        <a:pt x="51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2" y="136"/>
                      </a:lnTo>
                      <a:lnTo>
                        <a:pt x="36" y="133"/>
                      </a:lnTo>
                      <a:lnTo>
                        <a:pt x="29" y="130"/>
                      </a:lnTo>
                      <a:lnTo>
                        <a:pt x="29" y="130"/>
                      </a:lnTo>
                      <a:lnTo>
                        <a:pt x="27" y="129"/>
                      </a:lnTo>
                      <a:lnTo>
                        <a:pt x="27" y="129"/>
                      </a:lnTo>
                      <a:lnTo>
                        <a:pt x="26" y="130"/>
                      </a:lnTo>
                      <a:lnTo>
                        <a:pt x="24" y="132"/>
                      </a:lnTo>
                      <a:lnTo>
                        <a:pt x="22" y="137"/>
                      </a:lnTo>
                      <a:lnTo>
                        <a:pt x="22" y="137"/>
                      </a:lnTo>
                      <a:lnTo>
                        <a:pt x="22" y="136"/>
                      </a:lnTo>
                      <a:lnTo>
                        <a:pt x="22" y="136"/>
                      </a:lnTo>
                      <a:lnTo>
                        <a:pt x="19" y="133"/>
                      </a:lnTo>
                      <a:lnTo>
                        <a:pt x="19" y="133"/>
                      </a:lnTo>
                      <a:lnTo>
                        <a:pt x="0" y="113"/>
                      </a:lnTo>
                      <a:lnTo>
                        <a:pt x="0" y="113"/>
                      </a:lnTo>
                      <a:lnTo>
                        <a:pt x="6" y="111"/>
                      </a:lnTo>
                      <a:lnTo>
                        <a:pt x="6" y="111"/>
                      </a:lnTo>
                      <a:lnTo>
                        <a:pt x="7" y="111"/>
                      </a:lnTo>
                      <a:lnTo>
                        <a:pt x="7" y="111"/>
                      </a:lnTo>
                      <a:lnTo>
                        <a:pt x="7" y="111"/>
                      </a:lnTo>
                      <a:lnTo>
                        <a:pt x="9" y="111"/>
                      </a:lnTo>
                      <a:lnTo>
                        <a:pt x="9" y="111"/>
                      </a:lnTo>
                      <a:lnTo>
                        <a:pt x="13" y="111"/>
                      </a:lnTo>
                      <a:lnTo>
                        <a:pt x="13" y="111"/>
                      </a:lnTo>
                      <a:lnTo>
                        <a:pt x="13" y="111"/>
                      </a:lnTo>
                      <a:lnTo>
                        <a:pt x="14" y="111"/>
                      </a:lnTo>
                      <a:lnTo>
                        <a:pt x="14" y="111"/>
                      </a:lnTo>
                      <a:lnTo>
                        <a:pt x="22" y="110"/>
                      </a:lnTo>
                      <a:lnTo>
                        <a:pt x="27" y="110"/>
                      </a:lnTo>
                      <a:lnTo>
                        <a:pt x="27" y="110"/>
                      </a:lnTo>
                      <a:lnTo>
                        <a:pt x="27" y="110"/>
                      </a:lnTo>
                      <a:lnTo>
                        <a:pt x="27" y="110"/>
                      </a:lnTo>
                      <a:lnTo>
                        <a:pt x="27" y="110"/>
                      </a:lnTo>
                      <a:lnTo>
                        <a:pt x="27" y="110"/>
                      </a:lnTo>
                      <a:lnTo>
                        <a:pt x="27" y="110"/>
                      </a:lnTo>
                      <a:lnTo>
                        <a:pt x="27" y="110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7" y="108"/>
                      </a:lnTo>
                      <a:lnTo>
                        <a:pt x="29" y="108"/>
                      </a:lnTo>
                      <a:lnTo>
                        <a:pt x="29" y="108"/>
                      </a:lnTo>
                      <a:lnTo>
                        <a:pt x="29" y="108"/>
                      </a:lnTo>
                      <a:lnTo>
                        <a:pt x="29" y="108"/>
                      </a:lnTo>
                      <a:lnTo>
                        <a:pt x="30" y="101"/>
                      </a:lnTo>
                      <a:lnTo>
                        <a:pt x="33" y="98"/>
                      </a:lnTo>
                      <a:lnTo>
                        <a:pt x="35" y="97"/>
                      </a:lnTo>
                      <a:lnTo>
                        <a:pt x="35" y="97"/>
                      </a:lnTo>
                      <a:lnTo>
                        <a:pt x="35" y="97"/>
                      </a:lnTo>
                      <a:lnTo>
                        <a:pt x="36" y="97"/>
                      </a:lnTo>
                      <a:lnTo>
                        <a:pt x="36" y="97"/>
                      </a:lnTo>
                      <a:lnTo>
                        <a:pt x="36" y="97"/>
                      </a:lnTo>
                      <a:lnTo>
                        <a:pt x="36" y="97"/>
                      </a:lnTo>
                      <a:lnTo>
                        <a:pt x="40" y="100"/>
                      </a:lnTo>
                      <a:lnTo>
                        <a:pt x="46" y="101"/>
                      </a:lnTo>
                      <a:lnTo>
                        <a:pt x="46" y="101"/>
                      </a:lnTo>
                      <a:lnTo>
                        <a:pt x="46" y="101"/>
                      </a:lnTo>
                      <a:lnTo>
                        <a:pt x="46" y="101"/>
                      </a:lnTo>
                      <a:lnTo>
                        <a:pt x="51" y="100"/>
                      </a:lnTo>
                      <a:lnTo>
                        <a:pt x="51" y="100"/>
                      </a:lnTo>
                      <a:lnTo>
                        <a:pt x="51" y="100"/>
                      </a:lnTo>
                      <a:lnTo>
                        <a:pt x="51" y="100"/>
                      </a:lnTo>
                      <a:lnTo>
                        <a:pt x="51" y="100"/>
                      </a:lnTo>
                      <a:lnTo>
                        <a:pt x="51" y="100"/>
                      </a:lnTo>
                      <a:lnTo>
                        <a:pt x="51" y="100"/>
                      </a:lnTo>
                      <a:lnTo>
                        <a:pt x="51" y="100"/>
                      </a:lnTo>
                      <a:lnTo>
                        <a:pt x="55" y="98"/>
                      </a:lnTo>
                      <a:lnTo>
                        <a:pt x="58" y="95"/>
                      </a:lnTo>
                      <a:lnTo>
                        <a:pt x="59" y="91"/>
                      </a:lnTo>
                      <a:lnTo>
                        <a:pt x="59" y="87"/>
                      </a:lnTo>
                      <a:lnTo>
                        <a:pt x="59" y="87"/>
                      </a:lnTo>
                      <a:lnTo>
                        <a:pt x="58" y="81"/>
                      </a:lnTo>
                      <a:lnTo>
                        <a:pt x="58" y="81"/>
                      </a:lnTo>
                      <a:lnTo>
                        <a:pt x="53" y="72"/>
                      </a:lnTo>
                      <a:lnTo>
                        <a:pt x="52" y="66"/>
                      </a:lnTo>
                      <a:lnTo>
                        <a:pt x="52" y="66"/>
                      </a:lnTo>
                      <a:lnTo>
                        <a:pt x="53" y="62"/>
                      </a:lnTo>
                      <a:lnTo>
                        <a:pt x="53" y="62"/>
                      </a:lnTo>
                      <a:lnTo>
                        <a:pt x="59" y="55"/>
                      </a:lnTo>
                      <a:lnTo>
                        <a:pt x="61" y="50"/>
                      </a:lnTo>
                      <a:lnTo>
                        <a:pt x="62" y="46"/>
                      </a:lnTo>
                      <a:lnTo>
                        <a:pt x="62" y="46"/>
                      </a:lnTo>
                      <a:lnTo>
                        <a:pt x="59" y="39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66" y="33"/>
                      </a:lnTo>
                      <a:lnTo>
                        <a:pt x="77" y="35"/>
                      </a:lnTo>
                      <a:lnTo>
                        <a:pt x="77" y="35"/>
                      </a:lnTo>
                      <a:lnTo>
                        <a:pt x="78" y="35"/>
                      </a:lnTo>
                      <a:lnTo>
                        <a:pt x="78" y="35"/>
                      </a:lnTo>
                      <a:lnTo>
                        <a:pt x="84" y="32"/>
                      </a:lnTo>
                      <a:lnTo>
                        <a:pt x="87" y="29"/>
                      </a:lnTo>
                      <a:lnTo>
                        <a:pt x="87" y="24"/>
                      </a:lnTo>
                      <a:lnTo>
                        <a:pt x="84" y="20"/>
                      </a:lnTo>
                      <a:lnTo>
                        <a:pt x="84" y="20"/>
                      </a:lnTo>
                      <a:lnTo>
                        <a:pt x="78" y="13"/>
                      </a:lnTo>
                      <a:lnTo>
                        <a:pt x="78" y="13"/>
                      </a:lnTo>
                      <a:lnTo>
                        <a:pt x="98" y="8"/>
                      </a:lnTo>
                      <a:lnTo>
                        <a:pt x="113" y="4"/>
                      </a:lnTo>
                      <a:lnTo>
                        <a:pt x="113" y="4"/>
                      </a:lnTo>
                      <a:lnTo>
                        <a:pt x="120" y="1"/>
                      </a:lnTo>
                      <a:lnTo>
                        <a:pt x="130" y="0"/>
                      </a:lnTo>
                      <a:lnTo>
                        <a:pt x="130" y="0"/>
                      </a:lnTo>
                      <a:lnTo>
                        <a:pt x="126" y="14"/>
                      </a:lnTo>
                      <a:lnTo>
                        <a:pt x="123" y="23"/>
                      </a:lnTo>
                      <a:lnTo>
                        <a:pt x="123" y="23"/>
                      </a:lnTo>
                      <a:lnTo>
                        <a:pt x="120" y="30"/>
                      </a:lnTo>
                      <a:lnTo>
                        <a:pt x="119" y="39"/>
                      </a:lnTo>
                      <a:lnTo>
                        <a:pt x="119" y="56"/>
                      </a:lnTo>
                      <a:lnTo>
                        <a:pt x="119" y="56"/>
                      </a:lnTo>
                      <a:lnTo>
                        <a:pt x="117" y="62"/>
                      </a:lnTo>
                      <a:lnTo>
                        <a:pt x="114" y="68"/>
                      </a:lnTo>
                      <a:lnTo>
                        <a:pt x="110" y="72"/>
                      </a:lnTo>
                      <a:lnTo>
                        <a:pt x="104" y="77"/>
                      </a:lnTo>
                      <a:lnTo>
                        <a:pt x="104" y="77"/>
                      </a:lnTo>
                      <a:lnTo>
                        <a:pt x="95" y="81"/>
                      </a:lnTo>
                      <a:lnTo>
                        <a:pt x="93" y="84"/>
                      </a:lnTo>
                      <a:lnTo>
                        <a:pt x="90" y="85"/>
                      </a:lnTo>
                      <a:lnTo>
                        <a:pt x="90" y="85"/>
                      </a:lnTo>
                      <a:lnTo>
                        <a:pt x="88" y="90"/>
                      </a:lnTo>
                      <a:lnTo>
                        <a:pt x="88" y="97"/>
                      </a:lnTo>
                      <a:lnTo>
                        <a:pt x="87" y="104"/>
                      </a:lnTo>
                      <a:lnTo>
                        <a:pt x="84" y="113"/>
                      </a:lnTo>
                      <a:lnTo>
                        <a:pt x="84" y="113"/>
                      </a:lnTo>
                      <a:lnTo>
                        <a:pt x="75" y="126"/>
                      </a:lnTo>
                      <a:lnTo>
                        <a:pt x="72" y="130"/>
                      </a:lnTo>
                      <a:lnTo>
                        <a:pt x="69" y="134"/>
                      </a:lnTo>
                      <a:lnTo>
                        <a:pt x="69" y="134"/>
                      </a:lnTo>
                      <a:lnTo>
                        <a:pt x="68" y="136"/>
                      </a:lnTo>
                      <a:lnTo>
                        <a:pt x="66" y="137"/>
                      </a:lnTo>
                      <a:lnTo>
                        <a:pt x="59" y="137"/>
                      </a:lnTo>
                      <a:lnTo>
                        <a:pt x="59" y="13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05" name="Freeform 155"/>
                <p:cNvSpPr>
                  <a:spLocks noEditPoints="1"/>
                </p:cNvSpPr>
                <p:nvPr/>
              </p:nvSpPr>
              <p:spPr bwMode="auto">
                <a:xfrm>
                  <a:off x="4582882" y="3300320"/>
                  <a:ext cx="61334" cy="82109"/>
                </a:xfrm>
                <a:custGeom>
                  <a:avLst/>
                  <a:gdLst>
                    <a:gd name="T0" fmla="*/ 62 w 62"/>
                    <a:gd name="T1" fmla="*/ 16 h 83"/>
                    <a:gd name="T2" fmla="*/ 56 w 62"/>
                    <a:gd name="T3" fmla="*/ 0 h 83"/>
                    <a:gd name="T4" fmla="*/ 59 w 62"/>
                    <a:gd name="T5" fmla="*/ 9 h 83"/>
                    <a:gd name="T6" fmla="*/ 59 w 62"/>
                    <a:gd name="T7" fmla="*/ 57 h 83"/>
                    <a:gd name="T8" fmla="*/ 58 w 62"/>
                    <a:gd name="T9" fmla="*/ 51 h 83"/>
                    <a:gd name="T10" fmla="*/ 53 w 62"/>
                    <a:gd name="T11" fmla="*/ 42 h 83"/>
                    <a:gd name="T12" fmla="*/ 52 w 62"/>
                    <a:gd name="T13" fmla="*/ 36 h 83"/>
                    <a:gd name="T14" fmla="*/ 58 w 62"/>
                    <a:gd name="T15" fmla="*/ 51 h 83"/>
                    <a:gd name="T16" fmla="*/ 59 w 62"/>
                    <a:gd name="T17" fmla="*/ 57 h 83"/>
                    <a:gd name="T18" fmla="*/ 35 w 62"/>
                    <a:gd name="T19" fmla="*/ 67 h 83"/>
                    <a:gd name="T20" fmla="*/ 36 w 62"/>
                    <a:gd name="T21" fmla="*/ 67 h 83"/>
                    <a:gd name="T22" fmla="*/ 36 w 62"/>
                    <a:gd name="T23" fmla="*/ 67 h 83"/>
                    <a:gd name="T24" fmla="*/ 36 w 62"/>
                    <a:gd name="T25" fmla="*/ 67 h 83"/>
                    <a:gd name="T26" fmla="*/ 51 w 62"/>
                    <a:gd name="T27" fmla="*/ 70 h 83"/>
                    <a:gd name="T28" fmla="*/ 51 w 62"/>
                    <a:gd name="T29" fmla="*/ 70 h 83"/>
                    <a:gd name="T30" fmla="*/ 46 w 62"/>
                    <a:gd name="T31" fmla="*/ 71 h 83"/>
                    <a:gd name="T32" fmla="*/ 51 w 62"/>
                    <a:gd name="T33" fmla="*/ 70 h 83"/>
                    <a:gd name="T34" fmla="*/ 46 w 62"/>
                    <a:gd name="T35" fmla="*/ 71 h 83"/>
                    <a:gd name="T36" fmla="*/ 46 w 62"/>
                    <a:gd name="T37" fmla="*/ 71 h 83"/>
                    <a:gd name="T38" fmla="*/ 29 w 62"/>
                    <a:gd name="T39" fmla="*/ 78 h 83"/>
                    <a:gd name="T40" fmla="*/ 30 w 62"/>
                    <a:gd name="T41" fmla="*/ 71 h 83"/>
                    <a:gd name="T42" fmla="*/ 35 w 62"/>
                    <a:gd name="T43" fmla="*/ 67 h 83"/>
                    <a:gd name="T44" fmla="*/ 33 w 62"/>
                    <a:gd name="T45" fmla="*/ 68 h 83"/>
                    <a:gd name="T46" fmla="*/ 29 w 62"/>
                    <a:gd name="T47" fmla="*/ 78 h 83"/>
                    <a:gd name="T48" fmla="*/ 27 w 62"/>
                    <a:gd name="T49" fmla="*/ 78 h 83"/>
                    <a:gd name="T50" fmla="*/ 29 w 62"/>
                    <a:gd name="T51" fmla="*/ 78 h 83"/>
                    <a:gd name="T52" fmla="*/ 27 w 62"/>
                    <a:gd name="T53" fmla="*/ 78 h 83"/>
                    <a:gd name="T54" fmla="*/ 27 w 62"/>
                    <a:gd name="T55" fmla="*/ 78 h 83"/>
                    <a:gd name="T56" fmla="*/ 27 w 62"/>
                    <a:gd name="T57" fmla="*/ 78 h 83"/>
                    <a:gd name="T58" fmla="*/ 27 w 62"/>
                    <a:gd name="T59" fmla="*/ 78 h 83"/>
                    <a:gd name="T60" fmla="*/ 27 w 62"/>
                    <a:gd name="T61" fmla="*/ 78 h 83"/>
                    <a:gd name="T62" fmla="*/ 27 w 62"/>
                    <a:gd name="T63" fmla="*/ 78 h 83"/>
                    <a:gd name="T64" fmla="*/ 27 w 62"/>
                    <a:gd name="T65" fmla="*/ 80 h 83"/>
                    <a:gd name="T66" fmla="*/ 27 w 62"/>
                    <a:gd name="T67" fmla="*/ 80 h 83"/>
                    <a:gd name="T68" fmla="*/ 27 w 62"/>
                    <a:gd name="T69" fmla="*/ 80 h 83"/>
                    <a:gd name="T70" fmla="*/ 7 w 62"/>
                    <a:gd name="T71" fmla="*/ 81 h 83"/>
                    <a:gd name="T72" fmla="*/ 14 w 62"/>
                    <a:gd name="T73" fmla="*/ 81 h 83"/>
                    <a:gd name="T74" fmla="*/ 22 w 62"/>
                    <a:gd name="T75" fmla="*/ 80 h 83"/>
                    <a:gd name="T76" fmla="*/ 27 w 62"/>
                    <a:gd name="T77" fmla="*/ 80 h 83"/>
                    <a:gd name="T78" fmla="*/ 14 w 62"/>
                    <a:gd name="T79" fmla="*/ 81 h 83"/>
                    <a:gd name="T80" fmla="*/ 13 w 62"/>
                    <a:gd name="T81" fmla="*/ 81 h 83"/>
                    <a:gd name="T82" fmla="*/ 0 w 62"/>
                    <a:gd name="T83" fmla="*/ 83 h 83"/>
                    <a:gd name="T84" fmla="*/ 0 w 62"/>
                    <a:gd name="T85" fmla="*/ 83 h 83"/>
                    <a:gd name="T86" fmla="*/ 6 w 62"/>
                    <a:gd name="T87" fmla="*/ 81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62" h="83">
                      <a:moveTo>
                        <a:pt x="62" y="16"/>
                      </a:moveTo>
                      <a:lnTo>
                        <a:pt x="62" y="16"/>
                      </a:lnTo>
                      <a:lnTo>
                        <a:pt x="59" y="9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9" y="9"/>
                      </a:lnTo>
                      <a:lnTo>
                        <a:pt x="62" y="16"/>
                      </a:lnTo>
                      <a:close/>
                      <a:moveTo>
                        <a:pt x="59" y="57"/>
                      </a:moveTo>
                      <a:lnTo>
                        <a:pt x="59" y="57"/>
                      </a:lnTo>
                      <a:lnTo>
                        <a:pt x="58" y="51"/>
                      </a:lnTo>
                      <a:lnTo>
                        <a:pt x="58" y="51"/>
                      </a:lnTo>
                      <a:lnTo>
                        <a:pt x="53" y="42"/>
                      </a:lnTo>
                      <a:lnTo>
                        <a:pt x="52" y="36"/>
                      </a:lnTo>
                      <a:lnTo>
                        <a:pt x="52" y="36"/>
                      </a:lnTo>
                      <a:lnTo>
                        <a:pt x="53" y="42"/>
                      </a:lnTo>
                      <a:lnTo>
                        <a:pt x="58" y="51"/>
                      </a:lnTo>
                      <a:lnTo>
                        <a:pt x="58" y="51"/>
                      </a:lnTo>
                      <a:lnTo>
                        <a:pt x="59" y="57"/>
                      </a:lnTo>
                      <a:close/>
                      <a:moveTo>
                        <a:pt x="35" y="67"/>
                      </a:moveTo>
                      <a:lnTo>
                        <a:pt x="35" y="67"/>
                      </a:lnTo>
                      <a:lnTo>
                        <a:pt x="35" y="67"/>
                      </a:lnTo>
                      <a:close/>
                      <a:moveTo>
                        <a:pt x="36" y="67"/>
                      </a:moveTo>
                      <a:lnTo>
                        <a:pt x="36" y="67"/>
                      </a:lnTo>
                      <a:lnTo>
                        <a:pt x="36" y="67"/>
                      </a:lnTo>
                      <a:lnTo>
                        <a:pt x="36" y="67"/>
                      </a:lnTo>
                      <a:lnTo>
                        <a:pt x="36" y="67"/>
                      </a:lnTo>
                      <a:close/>
                      <a:moveTo>
                        <a:pt x="51" y="70"/>
                      </a:moveTo>
                      <a:lnTo>
                        <a:pt x="51" y="70"/>
                      </a:lnTo>
                      <a:lnTo>
                        <a:pt x="51" y="70"/>
                      </a:lnTo>
                      <a:lnTo>
                        <a:pt x="51" y="70"/>
                      </a:lnTo>
                      <a:lnTo>
                        <a:pt x="51" y="70"/>
                      </a:lnTo>
                      <a:close/>
                      <a:moveTo>
                        <a:pt x="46" y="71"/>
                      </a:moveTo>
                      <a:lnTo>
                        <a:pt x="46" y="71"/>
                      </a:lnTo>
                      <a:lnTo>
                        <a:pt x="51" y="70"/>
                      </a:lnTo>
                      <a:lnTo>
                        <a:pt x="51" y="70"/>
                      </a:lnTo>
                      <a:lnTo>
                        <a:pt x="46" y="71"/>
                      </a:lnTo>
                      <a:close/>
                      <a:moveTo>
                        <a:pt x="46" y="71"/>
                      </a:moveTo>
                      <a:lnTo>
                        <a:pt x="46" y="71"/>
                      </a:lnTo>
                      <a:lnTo>
                        <a:pt x="46" y="71"/>
                      </a:lnTo>
                      <a:close/>
                      <a:moveTo>
                        <a:pt x="29" y="78"/>
                      </a:moveTo>
                      <a:lnTo>
                        <a:pt x="29" y="78"/>
                      </a:lnTo>
                      <a:lnTo>
                        <a:pt x="30" y="71"/>
                      </a:lnTo>
                      <a:lnTo>
                        <a:pt x="33" y="68"/>
                      </a:lnTo>
                      <a:lnTo>
                        <a:pt x="35" y="67"/>
                      </a:lnTo>
                      <a:lnTo>
                        <a:pt x="35" y="67"/>
                      </a:lnTo>
                      <a:lnTo>
                        <a:pt x="33" y="68"/>
                      </a:lnTo>
                      <a:lnTo>
                        <a:pt x="30" y="71"/>
                      </a:lnTo>
                      <a:lnTo>
                        <a:pt x="29" y="78"/>
                      </a:lnTo>
                      <a:close/>
                      <a:moveTo>
                        <a:pt x="27" y="78"/>
                      </a:moveTo>
                      <a:lnTo>
                        <a:pt x="27" y="78"/>
                      </a:lnTo>
                      <a:lnTo>
                        <a:pt x="29" y="78"/>
                      </a:lnTo>
                      <a:lnTo>
                        <a:pt x="29" y="78"/>
                      </a:lnTo>
                      <a:lnTo>
                        <a:pt x="27" y="78"/>
                      </a:lnTo>
                      <a:close/>
                      <a:moveTo>
                        <a:pt x="27" y="78"/>
                      </a:moveTo>
                      <a:lnTo>
                        <a:pt x="27" y="78"/>
                      </a:lnTo>
                      <a:lnTo>
                        <a:pt x="27" y="78"/>
                      </a:lnTo>
                      <a:lnTo>
                        <a:pt x="27" y="78"/>
                      </a:lnTo>
                      <a:lnTo>
                        <a:pt x="27" y="78"/>
                      </a:lnTo>
                      <a:close/>
                      <a:moveTo>
                        <a:pt x="27" y="78"/>
                      </a:moveTo>
                      <a:lnTo>
                        <a:pt x="27" y="78"/>
                      </a:lnTo>
                      <a:close/>
                      <a:moveTo>
                        <a:pt x="27" y="78"/>
                      </a:moveTo>
                      <a:lnTo>
                        <a:pt x="27" y="78"/>
                      </a:lnTo>
                      <a:lnTo>
                        <a:pt x="27" y="78"/>
                      </a:lnTo>
                      <a:lnTo>
                        <a:pt x="27" y="78"/>
                      </a:lnTo>
                      <a:lnTo>
                        <a:pt x="27" y="78"/>
                      </a:lnTo>
                      <a:close/>
                      <a:moveTo>
                        <a:pt x="27" y="80"/>
                      </a:moveTo>
                      <a:lnTo>
                        <a:pt x="27" y="80"/>
                      </a:lnTo>
                      <a:lnTo>
                        <a:pt x="27" y="80"/>
                      </a:lnTo>
                      <a:lnTo>
                        <a:pt x="27" y="80"/>
                      </a:lnTo>
                      <a:lnTo>
                        <a:pt x="27" y="80"/>
                      </a:lnTo>
                      <a:close/>
                      <a:moveTo>
                        <a:pt x="7" y="81"/>
                      </a:moveTo>
                      <a:lnTo>
                        <a:pt x="7" y="81"/>
                      </a:lnTo>
                      <a:lnTo>
                        <a:pt x="7" y="81"/>
                      </a:lnTo>
                      <a:close/>
                      <a:moveTo>
                        <a:pt x="14" y="81"/>
                      </a:moveTo>
                      <a:lnTo>
                        <a:pt x="14" y="81"/>
                      </a:lnTo>
                      <a:lnTo>
                        <a:pt x="22" y="80"/>
                      </a:lnTo>
                      <a:lnTo>
                        <a:pt x="27" y="80"/>
                      </a:lnTo>
                      <a:lnTo>
                        <a:pt x="27" y="80"/>
                      </a:lnTo>
                      <a:lnTo>
                        <a:pt x="22" y="80"/>
                      </a:lnTo>
                      <a:lnTo>
                        <a:pt x="14" y="81"/>
                      </a:lnTo>
                      <a:close/>
                      <a:moveTo>
                        <a:pt x="13" y="81"/>
                      </a:moveTo>
                      <a:lnTo>
                        <a:pt x="13" y="81"/>
                      </a:lnTo>
                      <a:lnTo>
                        <a:pt x="13" y="81"/>
                      </a:lnTo>
                      <a:close/>
                      <a:moveTo>
                        <a:pt x="0" y="83"/>
                      </a:moveTo>
                      <a:lnTo>
                        <a:pt x="0" y="83"/>
                      </a:lnTo>
                      <a:lnTo>
                        <a:pt x="0" y="83"/>
                      </a:lnTo>
                      <a:lnTo>
                        <a:pt x="6" y="81"/>
                      </a:lnTo>
                      <a:lnTo>
                        <a:pt x="6" y="81"/>
                      </a:lnTo>
                      <a:lnTo>
                        <a:pt x="0" y="8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06" name="Freeform 156"/>
                <p:cNvSpPr>
                  <a:spLocks/>
                </p:cNvSpPr>
                <p:nvPr/>
              </p:nvSpPr>
              <p:spPr bwMode="auto">
                <a:xfrm>
                  <a:off x="4638281" y="3300320"/>
                  <a:ext cx="5936" cy="15828"/>
                </a:xfrm>
                <a:custGeom>
                  <a:avLst/>
                  <a:gdLst>
                    <a:gd name="T0" fmla="*/ 6 w 6"/>
                    <a:gd name="T1" fmla="*/ 16 h 16"/>
                    <a:gd name="T2" fmla="*/ 6 w 6"/>
                    <a:gd name="T3" fmla="*/ 16 h 16"/>
                    <a:gd name="T4" fmla="*/ 3 w 6"/>
                    <a:gd name="T5" fmla="*/ 9 h 16"/>
                    <a:gd name="T6" fmla="*/ 0 w 6"/>
                    <a:gd name="T7" fmla="*/ 0 h 16"/>
                    <a:gd name="T8" fmla="*/ 0 w 6"/>
                    <a:gd name="T9" fmla="*/ 0 h 16"/>
                    <a:gd name="T10" fmla="*/ 3 w 6"/>
                    <a:gd name="T11" fmla="*/ 9 h 16"/>
                    <a:gd name="T12" fmla="*/ 6 w 6"/>
                    <a:gd name="T13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16">
                      <a:moveTo>
                        <a:pt x="6" y="16"/>
                      </a:moveTo>
                      <a:lnTo>
                        <a:pt x="6" y="16"/>
                      </a:lnTo>
                      <a:lnTo>
                        <a:pt x="3" y="9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3" y="9"/>
                      </a:lnTo>
                      <a:lnTo>
                        <a:pt x="6" y="1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07" name="Freeform 157"/>
                <p:cNvSpPr>
                  <a:spLocks/>
                </p:cNvSpPr>
                <p:nvPr/>
              </p:nvSpPr>
              <p:spPr bwMode="auto">
                <a:xfrm>
                  <a:off x="4634324" y="3335934"/>
                  <a:ext cx="6925" cy="20774"/>
                </a:xfrm>
                <a:custGeom>
                  <a:avLst/>
                  <a:gdLst>
                    <a:gd name="T0" fmla="*/ 7 w 7"/>
                    <a:gd name="T1" fmla="*/ 21 h 21"/>
                    <a:gd name="T2" fmla="*/ 7 w 7"/>
                    <a:gd name="T3" fmla="*/ 21 h 21"/>
                    <a:gd name="T4" fmla="*/ 6 w 7"/>
                    <a:gd name="T5" fmla="*/ 15 h 21"/>
                    <a:gd name="T6" fmla="*/ 6 w 7"/>
                    <a:gd name="T7" fmla="*/ 15 h 21"/>
                    <a:gd name="T8" fmla="*/ 1 w 7"/>
                    <a:gd name="T9" fmla="*/ 6 h 21"/>
                    <a:gd name="T10" fmla="*/ 0 w 7"/>
                    <a:gd name="T11" fmla="*/ 0 h 21"/>
                    <a:gd name="T12" fmla="*/ 0 w 7"/>
                    <a:gd name="T13" fmla="*/ 0 h 21"/>
                    <a:gd name="T14" fmla="*/ 1 w 7"/>
                    <a:gd name="T15" fmla="*/ 6 h 21"/>
                    <a:gd name="T16" fmla="*/ 6 w 7"/>
                    <a:gd name="T17" fmla="*/ 15 h 21"/>
                    <a:gd name="T18" fmla="*/ 6 w 7"/>
                    <a:gd name="T19" fmla="*/ 15 h 21"/>
                    <a:gd name="T20" fmla="*/ 7 w 7"/>
                    <a:gd name="T21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21">
                      <a:moveTo>
                        <a:pt x="7" y="21"/>
                      </a:moveTo>
                      <a:lnTo>
                        <a:pt x="7" y="21"/>
                      </a:lnTo>
                      <a:lnTo>
                        <a:pt x="6" y="15"/>
                      </a:lnTo>
                      <a:lnTo>
                        <a:pt x="6" y="15"/>
                      </a:lnTo>
                      <a:lnTo>
                        <a:pt x="1" y="6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6"/>
                      </a:lnTo>
                      <a:lnTo>
                        <a:pt x="6" y="15"/>
                      </a:lnTo>
                      <a:lnTo>
                        <a:pt x="6" y="15"/>
                      </a:lnTo>
                      <a:lnTo>
                        <a:pt x="7" y="2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08" name="Freeform 158"/>
                <p:cNvSpPr>
                  <a:spLocks/>
                </p:cNvSpPr>
                <p:nvPr/>
              </p:nvSpPr>
              <p:spPr bwMode="auto">
                <a:xfrm>
                  <a:off x="4617507" y="33666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09" name="Rectangle 159"/>
                <p:cNvSpPr>
                  <a:spLocks noChangeArrowheads="1"/>
                </p:cNvSpPr>
                <p:nvPr/>
              </p:nvSpPr>
              <p:spPr bwMode="auto">
                <a:xfrm>
                  <a:off x="4618496" y="3366601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10" name="Rectangle 160"/>
                <p:cNvSpPr>
                  <a:spLocks noChangeArrowheads="1"/>
                </p:cNvSpPr>
                <p:nvPr/>
              </p:nvSpPr>
              <p:spPr bwMode="auto">
                <a:xfrm>
                  <a:off x="4633335" y="3369569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11" name="Freeform 161"/>
                <p:cNvSpPr>
                  <a:spLocks/>
                </p:cNvSpPr>
                <p:nvPr/>
              </p:nvSpPr>
              <p:spPr bwMode="auto">
                <a:xfrm>
                  <a:off x="4628388" y="3369569"/>
                  <a:ext cx="4946" cy="989"/>
                </a:xfrm>
                <a:custGeom>
                  <a:avLst/>
                  <a:gdLst>
                    <a:gd name="T0" fmla="*/ 0 w 5"/>
                    <a:gd name="T1" fmla="*/ 1 h 1"/>
                    <a:gd name="T2" fmla="*/ 0 w 5"/>
                    <a:gd name="T3" fmla="*/ 1 h 1"/>
                    <a:gd name="T4" fmla="*/ 5 w 5"/>
                    <a:gd name="T5" fmla="*/ 0 h 1"/>
                    <a:gd name="T6" fmla="*/ 5 w 5"/>
                    <a:gd name="T7" fmla="*/ 0 h 1"/>
                    <a:gd name="T8" fmla="*/ 0 w 5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1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12" name="Freeform 162"/>
                <p:cNvSpPr>
                  <a:spLocks/>
                </p:cNvSpPr>
                <p:nvPr/>
              </p:nvSpPr>
              <p:spPr bwMode="auto">
                <a:xfrm>
                  <a:off x="4628388" y="337055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13" name="Freeform 163"/>
                <p:cNvSpPr>
                  <a:spLocks/>
                </p:cNvSpPr>
                <p:nvPr/>
              </p:nvSpPr>
              <p:spPr bwMode="auto">
                <a:xfrm>
                  <a:off x="4611571" y="3366601"/>
                  <a:ext cx="5936" cy="10882"/>
                </a:xfrm>
                <a:custGeom>
                  <a:avLst/>
                  <a:gdLst>
                    <a:gd name="T0" fmla="*/ 0 w 6"/>
                    <a:gd name="T1" fmla="*/ 11 h 11"/>
                    <a:gd name="T2" fmla="*/ 0 w 6"/>
                    <a:gd name="T3" fmla="*/ 11 h 11"/>
                    <a:gd name="T4" fmla="*/ 1 w 6"/>
                    <a:gd name="T5" fmla="*/ 4 h 11"/>
                    <a:gd name="T6" fmla="*/ 4 w 6"/>
                    <a:gd name="T7" fmla="*/ 1 h 11"/>
                    <a:gd name="T8" fmla="*/ 6 w 6"/>
                    <a:gd name="T9" fmla="*/ 0 h 11"/>
                    <a:gd name="T10" fmla="*/ 6 w 6"/>
                    <a:gd name="T11" fmla="*/ 0 h 11"/>
                    <a:gd name="T12" fmla="*/ 4 w 6"/>
                    <a:gd name="T13" fmla="*/ 1 h 11"/>
                    <a:gd name="T14" fmla="*/ 1 w 6"/>
                    <a:gd name="T15" fmla="*/ 4 h 11"/>
                    <a:gd name="T16" fmla="*/ 0 w 6"/>
                    <a:gd name="T17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11">
                      <a:moveTo>
                        <a:pt x="0" y="11"/>
                      </a:moveTo>
                      <a:lnTo>
                        <a:pt x="0" y="11"/>
                      </a:lnTo>
                      <a:lnTo>
                        <a:pt x="1" y="4"/>
                      </a:ln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4" y="1"/>
                      </a:lnTo>
                      <a:lnTo>
                        <a:pt x="1" y="4"/>
                      </a:lnTo>
                      <a:lnTo>
                        <a:pt x="0" y="1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14" name="Rectangle 164"/>
                <p:cNvSpPr>
                  <a:spLocks noChangeArrowheads="1"/>
                </p:cNvSpPr>
                <p:nvPr/>
              </p:nvSpPr>
              <p:spPr bwMode="auto">
                <a:xfrm>
                  <a:off x="4609592" y="3377483"/>
                  <a:ext cx="197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15" name="Rectangle 165"/>
                <p:cNvSpPr>
                  <a:spLocks noChangeArrowheads="1"/>
                </p:cNvSpPr>
                <p:nvPr/>
              </p:nvSpPr>
              <p:spPr bwMode="auto">
                <a:xfrm>
                  <a:off x="4609592" y="3377483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16" name="Line 166"/>
                <p:cNvSpPr>
                  <a:spLocks noChangeShapeType="1"/>
                </p:cNvSpPr>
                <p:nvPr/>
              </p:nvSpPr>
              <p:spPr bwMode="auto">
                <a:xfrm>
                  <a:off x="4609592" y="3377483"/>
                  <a:ext cx="0" cy="0"/>
                </a:xfrm>
                <a:prstGeom prst="line">
                  <a:avLst/>
                </a:pr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17" name="Rectangle 167"/>
                <p:cNvSpPr>
                  <a:spLocks noChangeArrowheads="1"/>
                </p:cNvSpPr>
                <p:nvPr/>
              </p:nvSpPr>
              <p:spPr bwMode="auto">
                <a:xfrm>
                  <a:off x="4609592" y="3377483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18" name="Rectangle 168"/>
                <p:cNvSpPr>
                  <a:spLocks noChangeArrowheads="1"/>
                </p:cNvSpPr>
                <p:nvPr/>
              </p:nvSpPr>
              <p:spPr bwMode="auto">
                <a:xfrm>
                  <a:off x="4609592" y="3379461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19" name="Freeform 169"/>
                <p:cNvSpPr>
                  <a:spLocks/>
                </p:cNvSpPr>
                <p:nvPr/>
              </p:nvSpPr>
              <p:spPr bwMode="auto">
                <a:xfrm>
                  <a:off x="4589807" y="3380450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20" name="Freeform 170"/>
                <p:cNvSpPr>
                  <a:spLocks/>
                </p:cNvSpPr>
                <p:nvPr/>
              </p:nvSpPr>
              <p:spPr bwMode="auto">
                <a:xfrm>
                  <a:off x="4596732" y="3379461"/>
                  <a:ext cx="12860" cy="989"/>
                </a:xfrm>
                <a:custGeom>
                  <a:avLst/>
                  <a:gdLst>
                    <a:gd name="T0" fmla="*/ 0 w 13"/>
                    <a:gd name="T1" fmla="*/ 1 h 1"/>
                    <a:gd name="T2" fmla="*/ 0 w 13"/>
                    <a:gd name="T3" fmla="*/ 1 h 1"/>
                    <a:gd name="T4" fmla="*/ 8 w 13"/>
                    <a:gd name="T5" fmla="*/ 0 h 1"/>
                    <a:gd name="T6" fmla="*/ 13 w 13"/>
                    <a:gd name="T7" fmla="*/ 0 h 1"/>
                    <a:gd name="T8" fmla="*/ 13 w 13"/>
                    <a:gd name="T9" fmla="*/ 0 h 1"/>
                    <a:gd name="T10" fmla="*/ 8 w 13"/>
                    <a:gd name="T11" fmla="*/ 0 h 1"/>
                    <a:gd name="T12" fmla="*/ 0 w 13"/>
                    <a:gd name="T1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1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8" y="0"/>
                      </a:lnTo>
                      <a:lnTo>
                        <a:pt x="13" y="0"/>
                      </a:lnTo>
                      <a:lnTo>
                        <a:pt x="13" y="0"/>
                      </a:lnTo>
                      <a:lnTo>
                        <a:pt x="8" y="0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21" name="Freeform 171"/>
                <p:cNvSpPr>
                  <a:spLocks/>
                </p:cNvSpPr>
                <p:nvPr/>
              </p:nvSpPr>
              <p:spPr bwMode="auto">
                <a:xfrm>
                  <a:off x="4595743" y="3380450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22" name="Freeform 172"/>
                <p:cNvSpPr>
                  <a:spLocks/>
                </p:cNvSpPr>
                <p:nvPr/>
              </p:nvSpPr>
              <p:spPr bwMode="auto">
                <a:xfrm>
                  <a:off x="4582882" y="3380450"/>
                  <a:ext cx="5936" cy="1979"/>
                </a:xfrm>
                <a:custGeom>
                  <a:avLst/>
                  <a:gdLst>
                    <a:gd name="T0" fmla="*/ 0 w 6"/>
                    <a:gd name="T1" fmla="*/ 2 h 2"/>
                    <a:gd name="T2" fmla="*/ 0 w 6"/>
                    <a:gd name="T3" fmla="*/ 2 h 2"/>
                    <a:gd name="T4" fmla="*/ 0 w 6"/>
                    <a:gd name="T5" fmla="*/ 2 h 2"/>
                    <a:gd name="T6" fmla="*/ 6 w 6"/>
                    <a:gd name="T7" fmla="*/ 0 h 2"/>
                    <a:gd name="T8" fmla="*/ 6 w 6"/>
                    <a:gd name="T9" fmla="*/ 0 h 2"/>
                    <a:gd name="T10" fmla="*/ 0 w 6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23" name="Freeform 173"/>
                <p:cNvSpPr>
                  <a:spLocks/>
                </p:cNvSpPr>
                <p:nvPr/>
              </p:nvSpPr>
              <p:spPr bwMode="auto">
                <a:xfrm>
                  <a:off x="4608603" y="3245911"/>
                  <a:ext cx="304692" cy="296778"/>
                </a:xfrm>
                <a:custGeom>
                  <a:avLst/>
                  <a:gdLst>
                    <a:gd name="T0" fmla="*/ 265 w 308"/>
                    <a:gd name="T1" fmla="*/ 293 h 300"/>
                    <a:gd name="T2" fmla="*/ 256 w 308"/>
                    <a:gd name="T3" fmla="*/ 284 h 300"/>
                    <a:gd name="T4" fmla="*/ 211 w 308"/>
                    <a:gd name="T5" fmla="*/ 265 h 300"/>
                    <a:gd name="T6" fmla="*/ 211 w 308"/>
                    <a:gd name="T7" fmla="*/ 265 h 300"/>
                    <a:gd name="T8" fmla="*/ 206 w 308"/>
                    <a:gd name="T9" fmla="*/ 265 h 300"/>
                    <a:gd name="T10" fmla="*/ 200 w 308"/>
                    <a:gd name="T11" fmla="*/ 267 h 300"/>
                    <a:gd name="T12" fmla="*/ 198 w 308"/>
                    <a:gd name="T13" fmla="*/ 267 h 300"/>
                    <a:gd name="T14" fmla="*/ 185 w 308"/>
                    <a:gd name="T15" fmla="*/ 259 h 300"/>
                    <a:gd name="T16" fmla="*/ 181 w 308"/>
                    <a:gd name="T17" fmla="*/ 259 h 300"/>
                    <a:gd name="T18" fmla="*/ 180 w 308"/>
                    <a:gd name="T19" fmla="*/ 259 h 300"/>
                    <a:gd name="T20" fmla="*/ 161 w 308"/>
                    <a:gd name="T21" fmla="*/ 259 h 300"/>
                    <a:gd name="T22" fmla="*/ 159 w 308"/>
                    <a:gd name="T23" fmla="*/ 255 h 300"/>
                    <a:gd name="T24" fmla="*/ 153 w 308"/>
                    <a:gd name="T25" fmla="*/ 228 h 300"/>
                    <a:gd name="T26" fmla="*/ 156 w 308"/>
                    <a:gd name="T27" fmla="*/ 202 h 300"/>
                    <a:gd name="T28" fmla="*/ 155 w 308"/>
                    <a:gd name="T29" fmla="*/ 202 h 300"/>
                    <a:gd name="T30" fmla="*/ 143 w 308"/>
                    <a:gd name="T31" fmla="*/ 203 h 300"/>
                    <a:gd name="T32" fmla="*/ 138 w 308"/>
                    <a:gd name="T33" fmla="*/ 202 h 300"/>
                    <a:gd name="T34" fmla="*/ 138 w 308"/>
                    <a:gd name="T35" fmla="*/ 200 h 300"/>
                    <a:gd name="T36" fmla="*/ 130 w 308"/>
                    <a:gd name="T37" fmla="*/ 197 h 300"/>
                    <a:gd name="T38" fmla="*/ 119 w 308"/>
                    <a:gd name="T39" fmla="*/ 194 h 300"/>
                    <a:gd name="T40" fmla="*/ 113 w 308"/>
                    <a:gd name="T41" fmla="*/ 203 h 300"/>
                    <a:gd name="T42" fmla="*/ 90 w 308"/>
                    <a:gd name="T43" fmla="*/ 215 h 300"/>
                    <a:gd name="T44" fmla="*/ 74 w 308"/>
                    <a:gd name="T45" fmla="*/ 188 h 300"/>
                    <a:gd name="T46" fmla="*/ 14 w 308"/>
                    <a:gd name="T47" fmla="*/ 181 h 300"/>
                    <a:gd name="T48" fmla="*/ 0 w 308"/>
                    <a:gd name="T49" fmla="*/ 175 h 300"/>
                    <a:gd name="T50" fmla="*/ 20 w 308"/>
                    <a:gd name="T51" fmla="*/ 162 h 300"/>
                    <a:gd name="T52" fmla="*/ 20 w 308"/>
                    <a:gd name="T53" fmla="*/ 162 h 300"/>
                    <a:gd name="T54" fmla="*/ 25 w 308"/>
                    <a:gd name="T55" fmla="*/ 162 h 300"/>
                    <a:gd name="T56" fmla="*/ 43 w 308"/>
                    <a:gd name="T57" fmla="*/ 159 h 300"/>
                    <a:gd name="T58" fmla="*/ 64 w 308"/>
                    <a:gd name="T59" fmla="*/ 110 h 300"/>
                    <a:gd name="T60" fmla="*/ 91 w 308"/>
                    <a:gd name="T61" fmla="*/ 87 h 300"/>
                    <a:gd name="T62" fmla="*/ 104 w 308"/>
                    <a:gd name="T63" fmla="*/ 25 h 300"/>
                    <a:gd name="T64" fmla="*/ 111 w 308"/>
                    <a:gd name="T65" fmla="*/ 9 h 300"/>
                    <a:gd name="T66" fmla="*/ 123 w 308"/>
                    <a:gd name="T67" fmla="*/ 12 h 300"/>
                    <a:gd name="T68" fmla="*/ 175 w 308"/>
                    <a:gd name="T69" fmla="*/ 12 h 300"/>
                    <a:gd name="T70" fmla="*/ 200 w 308"/>
                    <a:gd name="T71" fmla="*/ 7 h 300"/>
                    <a:gd name="T72" fmla="*/ 216 w 308"/>
                    <a:gd name="T73" fmla="*/ 5 h 300"/>
                    <a:gd name="T74" fmla="*/ 223 w 308"/>
                    <a:gd name="T75" fmla="*/ 0 h 300"/>
                    <a:gd name="T76" fmla="*/ 243 w 308"/>
                    <a:gd name="T77" fmla="*/ 6 h 300"/>
                    <a:gd name="T78" fmla="*/ 255 w 308"/>
                    <a:gd name="T79" fmla="*/ 12 h 300"/>
                    <a:gd name="T80" fmla="*/ 265 w 308"/>
                    <a:gd name="T81" fmla="*/ 16 h 300"/>
                    <a:gd name="T82" fmla="*/ 265 w 308"/>
                    <a:gd name="T83" fmla="*/ 16 h 300"/>
                    <a:gd name="T84" fmla="*/ 275 w 308"/>
                    <a:gd name="T85" fmla="*/ 9 h 300"/>
                    <a:gd name="T86" fmla="*/ 285 w 308"/>
                    <a:gd name="T87" fmla="*/ 10 h 300"/>
                    <a:gd name="T88" fmla="*/ 290 w 308"/>
                    <a:gd name="T89" fmla="*/ 16 h 300"/>
                    <a:gd name="T90" fmla="*/ 306 w 308"/>
                    <a:gd name="T91" fmla="*/ 22 h 300"/>
                    <a:gd name="T92" fmla="*/ 298 w 308"/>
                    <a:gd name="T93" fmla="*/ 61 h 300"/>
                    <a:gd name="T94" fmla="*/ 284 w 308"/>
                    <a:gd name="T95" fmla="*/ 86 h 300"/>
                    <a:gd name="T96" fmla="*/ 269 w 308"/>
                    <a:gd name="T97" fmla="*/ 122 h 300"/>
                    <a:gd name="T98" fmla="*/ 269 w 308"/>
                    <a:gd name="T99" fmla="*/ 125 h 300"/>
                    <a:gd name="T100" fmla="*/ 271 w 308"/>
                    <a:gd name="T101" fmla="*/ 149 h 300"/>
                    <a:gd name="T102" fmla="*/ 282 w 308"/>
                    <a:gd name="T103" fmla="*/ 191 h 300"/>
                    <a:gd name="T104" fmla="*/ 295 w 308"/>
                    <a:gd name="T105" fmla="*/ 215 h 300"/>
                    <a:gd name="T106" fmla="*/ 275 w 308"/>
                    <a:gd name="T107" fmla="*/ 217 h 300"/>
                    <a:gd name="T108" fmla="*/ 264 w 308"/>
                    <a:gd name="T109" fmla="*/ 242 h 300"/>
                    <a:gd name="T110" fmla="*/ 266 w 308"/>
                    <a:gd name="T111" fmla="*/ 274 h 300"/>
                    <a:gd name="T112" fmla="*/ 279 w 308"/>
                    <a:gd name="T113" fmla="*/ 286 h 300"/>
                    <a:gd name="T114" fmla="*/ 285 w 308"/>
                    <a:gd name="T115" fmla="*/ 284 h 300"/>
                    <a:gd name="T116" fmla="*/ 290 w 308"/>
                    <a:gd name="T117" fmla="*/ 284 h 300"/>
                    <a:gd name="T118" fmla="*/ 287 w 308"/>
                    <a:gd name="T119" fmla="*/ 294 h 300"/>
                    <a:gd name="T120" fmla="*/ 277 w 308"/>
                    <a:gd name="T121" fmla="*/ 300 h 3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308" h="300">
                      <a:moveTo>
                        <a:pt x="277" y="300"/>
                      </a:moveTo>
                      <a:lnTo>
                        <a:pt x="277" y="300"/>
                      </a:lnTo>
                      <a:lnTo>
                        <a:pt x="277" y="300"/>
                      </a:lnTo>
                      <a:lnTo>
                        <a:pt x="269" y="299"/>
                      </a:lnTo>
                      <a:lnTo>
                        <a:pt x="266" y="297"/>
                      </a:lnTo>
                      <a:lnTo>
                        <a:pt x="265" y="294"/>
                      </a:lnTo>
                      <a:lnTo>
                        <a:pt x="265" y="294"/>
                      </a:lnTo>
                      <a:lnTo>
                        <a:pt x="265" y="293"/>
                      </a:lnTo>
                      <a:lnTo>
                        <a:pt x="265" y="293"/>
                      </a:lnTo>
                      <a:lnTo>
                        <a:pt x="265" y="293"/>
                      </a:lnTo>
                      <a:lnTo>
                        <a:pt x="264" y="293"/>
                      </a:lnTo>
                      <a:lnTo>
                        <a:pt x="264" y="293"/>
                      </a:lnTo>
                      <a:lnTo>
                        <a:pt x="264" y="293"/>
                      </a:lnTo>
                      <a:lnTo>
                        <a:pt x="264" y="293"/>
                      </a:lnTo>
                      <a:lnTo>
                        <a:pt x="261" y="287"/>
                      </a:lnTo>
                      <a:lnTo>
                        <a:pt x="256" y="284"/>
                      </a:lnTo>
                      <a:lnTo>
                        <a:pt x="245" y="277"/>
                      </a:lnTo>
                      <a:lnTo>
                        <a:pt x="245" y="277"/>
                      </a:lnTo>
                      <a:lnTo>
                        <a:pt x="227" y="271"/>
                      </a:lnTo>
                      <a:lnTo>
                        <a:pt x="213" y="265"/>
                      </a:lnTo>
                      <a:lnTo>
                        <a:pt x="213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0" y="265"/>
                      </a:lnTo>
                      <a:lnTo>
                        <a:pt x="210" y="265"/>
                      </a:lnTo>
                      <a:lnTo>
                        <a:pt x="206" y="265"/>
                      </a:lnTo>
                      <a:lnTo>
                        <a:pt x="206" y="265"/>
                      </a:lnTo>
                      <a:lnTo>
                        <a:pt x="201" y="267"/>
                      </a:lnTo>
                      <a:lnTo>
                        <a:pt x="201" y="267"/>
                      </a:lnTo>
                      <a:lnTo>
                        <a:pt x="200" y="267"/>
                      </a:lnTo>
                      <a:lnTo>
                        <a:pt x="200" y="267"/>
                      </a:lnTo>
                      <a:lnTo>
                        <a:pt x="200" y="267"/>
                      </a:lnTo>
                      <a:lnTo>
                        <a:pt x="200" y="267"/>
                      </a:lnTo>
                      <a:lnTo>
                        <a:pt x="200" y="267"/>
                      </a:lnTo>
                      <a:lnTo>
                        <a:pt x="200" y="267"/>
                      </a:lnTo>
                      <a:lnTo>
                        <a:pt x="200" y="267"/>
                      </a:lnTo>
                      <a:lnTo>
                        <a:pt x="198" y="267"/>
                      </a:lnTo>
                      <a:lnTo>
                        <a:pt x="198" y="267"/>
                      </a:lnTo>
                      <a:lnTo>
                        <a:pt x="198" y="267"/>
                      </a:lnTo>
                      <a:lnTo>
                        <a:pt x="198" y="267"/>
                      </a:lnTo>
                      <a:lnTo>
                        <a:pt x="198" y="267"/>
                      </a:lnTo>
                      <a:lnTo>
                        <a:pt x="198" y="267"/>
                      </a:lnTo>
                      <a:lnTo>
                        <a:pt x="198" y="267"/>
                      </a:lnTo>
                      <a:lnTo>
                        <a:pt x="193" y="262"/>
                      </a:lnTo>
                      <a:lnTo>
                        <a:pt x="190" y="259"/>
                      </a:lnTo>
                      <a:lnTo>
                        <a:pt x="190" y="259"/>
                      </a:lnTo>
                      <a:lnTo>
                        <a:pt x="185" y="259"/>
                      </a:lnTo>
                      <a:lnTo>
                        <a:pt x="185" y="259"/>
                      </a:lnTo>
                      <a:lnTo>
                        <a:pt x="185" y="259"/>
                      </a:lnTo>
                      <a:lnTo>
                        <a:pt x="185" y="259"/>
                      </a:lnTo>
                      <a:lnTo>
                        <a:pt x="185" y="259"/>
                      </a:lnTo>
                      <a:lnTo>
                        <a:pt x="185" y="259"/>
                      </a:lnTo>
                      <a:lnTo>
                        <a:pt x="185" y="259"/>
                      </a:lnTo>
                      <a:lnTo>
                        <a:pt x="185" y="259"/>
                      </a:lnTo>
                      <a:lnTo>
                        <a:pt x="182" y="259"/>
                      </a:lnTo>
                      <a:lnTo>
                        <a:pt x="182" y="259"/>
                      </a:lnTo>
                      <a:lnTo>
                        <a:pt x="181" y="259"/>
                      </a:lnTo>
                      <a:lnTo>
                        <a:pt x="181" y="259"/>
                      </a:lnTo>
                      <a:lnTo>
                        <a:pt x="181" y="259"/>
                      </a:lnTo>
                      <a:lnTo>
                        <a:pt x="181" y="259"/>
                      </a:lnTo>
                      <a:lnTo>
                        <a:pt x="181" y="259"/>
                      </a:lnTo>
                      <a:lnTo>
                        <a:pt x="181" y="259"/>
                      </a:lnTo>
                      <a:lnTo>
                        <a:pt x="181" y="259"/>
                      </a:lnTo>
                      <a:lnTo>
                        <a:pt x="181" y="259"/>
                      </a:lnTo>
                      <a:lnTo>
                        <a:pt x="181" y="259"/>
                      </a:lnTo>
                      <a:lnTo>
                        <a:pt x="180" y="259"/>
                      </a:lnTo>
                      <a:lnTo>
                        <a:pt x="180" y="259"/>
                      </a:lnTo>
                      <a:lnTo>
                        <a:pt x="180" y="259"/>
                      </a:lnTo>
                      <a:lnTo>
                        <a:pt x="180" y="259"/>
                      </a:lnTo>
                      <a:lnTo>
                        <a:pt x="168" y="259"/>
                      </a:lnTo>
                      <a:lnTo>
                        <a:pt x="168" y="259"/>
                      </a:lnTo>
                      <a:lnTo>
                        <a:pt x="168" y="259"/>
                      </a:lnTo>
                      <a:lnTo>
                        <a:pt x="168" y="259"/>
                      </a:lnTo>
                      <a:lnTo>
                        <a:pt x="161" y="259"/>
                      </a:lnTo>
                      <a:lnTo>
                        <a:pt x="158" y="259"/>
                      </a:lnTo>
                      <a:lnTo>
                        <a:pt x="158" y="258"/>
                      </a:lnTo>
                      <a:lnTo>
                        <a:pt x="158" y="258"/>
                      </a:lnTo>
                      <a:lnTo>
                        <a:pt x="158" y="258"/>
                      </a:lnTo>
                      <a:lnTo>
                        <a:pt x="158" y="258"/>
                      </a:lnTo>
                      <a:lnTo>
                        <a:pt x="158" y="258"/>
                      </a:lnTo>
                      <a:lnTo>
                        <a:pt x="158" y="258"/>
                      </a:lnTo>
                      <a:lnTo>
                        <a:pt x="159" y="255"/>
                      </a:lnTo>
                      <a:lnTo>
                        <a:pt x="162" y="252"/>
                      </a:lnTo>
                      <a:lnTo>
                        <a:pt x="165" y="249"/>
                      </a:lnTo>
                      <a:lnTo>
                        <a:pt x="166" y="246"/>
                      </a:lnTo>
                      <a:lnTo>
                        <a:pt x="166" y="246"/>
                      </a:lnTo>
                      <a:lnTo>
                        <a:pt x="165" y="244"/>
                      </a:lnTo>
                      <a:lnTo>
                        <a:pt x="161" y="238"/>
                      </a:lnTo>
                      <a:lnTo>
                        <a:pt x="156" y="232"/>
                      </a:lnTo>
                      <a:lnTo>
                        <a:pt x="153" y="228"/>
                      </a:lnTo>
                      <a:lnTo>
                        <a:pt x="153" y="228"/>
                      </a:lnTo>
                      <a:lnTo>
                        <a:pt x="153" y="228"/>
                      </a:lnTo>
                      <a:lnTo>
                        <a:pt x="153" y="228"/>
                      </a:lnTo>
                      <a:lnTo>
                        <a:pt x="153" y="228"/>
                      </a:lnTo>
                      <a:lnTo>
                        <a:pt x="153" y="228"/>
                      </a:lnTo>
                      <a:lnTo>
                        <a:pt x="156" y="212"/>
                      </a:lnTo>
                      <a:lnTo>
                        <a:pt x="156" y="204"/>
                      </a:lnTo>
                      <a:lnTo>
                        <a:pt x="156" y="202"/>
                      </a:lnTo>
                      <a:lnTo>
                        <a:pt x="156" y="202"/>
                      </a:lnTo>
                      <a:lnTo>
                        <a:pt x="156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43" y="203"/>
                      </a:lnTo>
                      <a:lnTo>
                        <a:pt x="143" y="203"/>
                      </a:lnTo>
                      <a:lnTo>
                        <a:pt x="143" y="203"/>
                      </a:lnTo>
                      <a:lnTo>
                        <a:pt x="143" y="203"/>
                      </a:lnTo>
                      <a:lnTo>
                        <a:pt x="140" y="203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0"/>
                      </a:lnTo>
                      <a:lnTo>
                        <a:pt x="138" y="200"/>
                      </a:lnTo>
                      <a:lnTo>
                        <a:pt x="138" y="200"/>
                      </a:lnTo>
                      <a:lnTo>
                        <a:pt x="138" y="200"/>
                      </a:lnTo>
                      <a:lnTo>
                        <a:pt x="132" y="197"/>
                      </a:lnTo>
                      <a:lnTo>
                        <a:pt x="132" y="197"/>
                      </a:lnTo>
                      <a:lnTo>
                        <a:pt x="132" y="197"/>
                      </a:lnTo>
                      <a:lnTo>
                        <a:pt x="130" y="197"/>
                      </a:lnTo>
                      <a:lnTo>
                        <a:pt x="130" y="197"/>
                      </a:lnTo>
                      <a:lnTo>
                        <a:pt x="130" y="197"/>
                      </a:lnTo>
                      <a:lnTo>
                        <a:pt x="130" y="197"/>
                      </a:lnTo>
                      <a:lnTo>
                        <a:pt x="129" y="197"/>
                      </a:lnTo>
                      <a:lnTo>
                        <a:pt x="129" y="197"/>
                      </a:lnTo>
                      <a:lnTo>
                        <a:pt x="119" y="194"/>
                      </a:lnTo>
                      <a:lnTo>
                        <a:pt x="119" y="194"/>
                      </a:lnTo>
                      <a:lnTo>
                        <a:pt x="119" y="194"/>
                      </a:lnTo>
                      <a:lnTo>
                        <a:pt x="119" y="194"/>
                      </a:lnTo>
                      <a:lnTo>
                        <a:pt x="117" y="194"/>
                      </a:lnTo>
                      <a:lnTo>
                        <a:pt x="117" y="194"/>
                      </a:lnTo>
                      <a:lnTo>
                        <a:pt x="114" y="196"/>
                      </a:lnTo>
                      <a:lnTo>
                        <a:pt x="114" y="196"/>
                      </a:lnTo>
                      <a:lnTo>
                        <a:pt x="114" y="196"/>
                      </a:lnTo>
                      <a:lnTo>
                        <a:pt x="114" y="196"/>
                      </a:lnTo>
                      <a:lnTo>
                        <a:pt x="114" y="199"/>
                      </a:lnTo>
                      <a:lnTo>
                        <a:pt x="113" y="203"/>
                      </a:lnTo>
                      <a:lnTo>
                        <a:pt x="113" y="209"/>
                      </a:lnTo>
                      <a:lnTo>
                        <a:pt x="111" y="210"/>
                      </a:lnTo>
                      <a:lnTo>
                        <a:pt x="110" y="210"/>
                      </a:lnTo>
                      <a:lnTo>
                        <a:pt x="110" y="210"/>
                      </a:lnTo>
                      <a:lnTo>
                        <a:pt x="101" y="212"/>
                      </a:lnTo>
                      <a:lnTo>
                        <a:pt x="90" y="215"/>
                      </a:lnTo>
                      <a:lnTo>
                        <a:pt x="90" y="215"/>
                      </a:lnTo>
                      <a:lnTo>
                        <a:pt x="90" y="215"/>
                      </a:lnTo>
                      <a:lnTo>
                        <a:pt x="87" y="213"/>
                      </a:lnTo>
                      <a:lnTo>
                        <a:pt x="84" y="212"/>
                      </a:lnTo>
                      <a:lnTo>
                        <a:pt x="84" y="212"/>
                      </a:lnTo>
                      <a:lnTo>
                        <a:pt x="84" y="212"/>
                      </a:lnTo>
                      <a:lnTo>
                        <a:pt x="84" y="212"/>
                      </a:lnTo>
                      <a:lnTo>
                        <a:pt x="78" y="202"/>
                      </a:lnTo>
                      <a:lnTo>
                        <a:pt x="75" y="194"/>
                      </a:lnTo>
                      <a:lnTo>
                        <a:pt x="74" y="188"/>
                      </a:lnTo>
                      <a:lnTo>
                        <a:pt x="74" y="173"/>
                      </a:lnTo>
                      <a:lnTo>
                        <a:pt x="23" y="173"/>
                      </a:lnTo>
                      <a:lnTo>
                        <a:pt x="23" y="173"/>
                      </a:lnTo>
                      <a:lnTo>
                        <a:pt x="20" y="174"/>
                      </a:lnTo>
                      <a:lnTo>
                        <a:pt x="19" y="174"/>
                      </a:lnTo>
                      <a:lnTo>
                        <a:pt x="17" y="177"/>
                      </a:lnTo>
                      <a:lnTo>
                        <a:pt x="16" y="180"/>
                      </a:lnTo>
                      <a:lnTo>
                        <a:pt x="14" y="181"/>
                      </a:lnTo>
                      <a:lnTo>
                        <a:pt x="14" y="181"/>
                      </a:lnTo>
                      <a:lnTo>
                        <a:pt x="1" y="184"/>
                      </a:lnTo>
                      <a:lnTo>
                        <a:pt x="1" y="184"/>
                      </a:lnTo>
                      <a:lnTo>
                        <a:pt x="0" y="181"/>
                      </a:lnTo>
                      <a:lnTo>
                        <a:pt x="0" y="178"/>
                      </a:lnTo>
                      <a:lnTo>
                        <a:pt x="0" y="178"/>
                      </a:lnTo>
                      <a:lnTo>
                        <a:pt x="0" y="175"/>
                      </a:lnTo>
                      <a:lnTo>
                        <a:pt x="0" y="175"/>
                      </a:lnTo>
                      <a:lnTo>
                        <a:pt x="1" y="174"/>
                      </a:lnTo>
                      <a:lnTo>
                        <a:pt x="3" y="173"/>
                      </a:lnTo>
                      <a:lnTo>
                        <a:pt x="3" y="173"/>
                      </a:lnTo>
                      <a:lnTo>
                        <a:pt x="10" y="158"/>
                      </a:lnTo>
                      <a:lnTo>
                        <a:pt x="10" y="158"/>
                      </a:lnTo>
                      <a:lnTo>
                        <a:pt x="16" y="161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5" y="162"/>
                      </a:lnTo>
                      <a:lnTo>
                        <a:pt x="25" y="162"/>
                      </a:lnTo>
                      <a:lnTo>
                        <a:pt x="33" y="162"/>
                      </a:lnTo>
                      <a:lnTo>
                        <a:pt x="33" y="162"/>
                      </a:lnTo>
                      <a:lnTo>
                        <a:pt x="33" y="162"/>
                      </a:lnTo>
                      <a:lnTo>
                        <a:pt x="33" y="162"/>
                      </a:lnTo>
                      <a:lnTo>
                        <a:pt x="40" y="162"/>
                      </a:lnTo>
                      <a:lnTo>
                        <a:pt x="42" y="161"/>
                      </a:lnTo>
                      <a:lnTo>
                        <a:pt x="43" y="159"/>
                      </a:lnTo>
                      <a:lnTo>
                        <a:pt x="43" y="159"/>
                      </a:lnTo>
                      <a:lnTo>
                        <a:pt x="46" y="155"/>
                      </a:lnTo>
                      <a:lnTo>
                        <a:pt x="49" y="151"/>
                      </a:lnTo>
                      <a:lnTo>
                        <a:pt x="58" y="138"/>
                      </a:lnTo>
                      <a:lnTo>
                        <a:pt x="58" y="138"/>
                      </a:lnTo>
                      <a:lnTo>
                        <a:pt x="61" y="129"/>
                      </a:lnTo>
                      <a:lnTo>
                        <a:pt x="62" y="122"/>
                      </a:lnTo>
                      <a:lnTo>
                        <a:pt x="62" y="115"/>
                      </a:lnTo>
                      <a:lnTo>
                        <a:pt x="64" y="110"/>
                      </a:lnTo>
                      <a:lnTo>
                        <a:pt x="64" y="110"/>
                      </a:lnTo>
                      <a:lnTo>
                        <a:pt x="67" y="109"/>
                      </a:lnTo>
                      <a:lnTo>
                        <a:pt x="69" y="106"/>
                      </a:lnTo>
                      <a:lnTo>
                        <a:pt x="78" y="102"/>
                      </a:lnTo>
                      <a:lnTo>
                        <a:pt x="78" y="102"/>
                      </a:lnTo>
                      <a:lnTo>
                        <a:pt x="84" y="97"/>
                      </a:lnTo>
                      <a:lnTo>
                        <a:pt x="88" y="93"/>
                      </a:lnTo>
                      <a:lnTo>
                        <a:pt x="91" y="87"/>
                      </a:lnTo>
                      <a:lnTo>
                        <a:pt x="93" y="81"/>
                      </a:lnTo>
                      <a:lnTo>
                        <a:pt x="93" y="81"/>
                      </a:lnTo>
                      <a:lnTo>
                        <a:pt x="93" y="64"/>
                      </a:lnTo>
                      <a:lnTo>
                        <a:pt x="94" y="55"/>
                      </a:lnTo>
                      <a:lnTo>
                        <a:pt x="97" y="48"/>
                      </a:lnTo>
                      <a:lnTo>
                        <a:pt x="97" y="48"/>
                      </a:lnTo>
                      <a:lnTo>
                        <a:pt x="100" y="39"/>
                      </a:lnTo>
                      <a:lnTo>
                        <a:pt x="104" y="25"/>
                      </a:lnTo>
                      <a:lnTo>
                        <a:pt x="104" y="25"/>
                      </a:lnTo>
                      <a:lnTo>
                        <a:pt x="107" y="15"/>
                      </a:lnTo>
                      <a:lnTo>
                        <a:pt x="110" y="10"/>
                      </a:lnTo>
                      <a:lnTo>
                        <a:pt x="111" y="9"/>
                      </a:lnTo>
                      <a:lnTo>
                        <a:pt x="111" y="9"/>
                      </a:lnTo>
                      <a:lnTo>
                        <a:pt x="111" y="9"/>
                      </a:lnTo>
                      <a:lnTo>
                        <a:pt x="111" y="9"/>
                      </a:lnTo>
                      <a:lnTo>
                        <a:pt x="111" y="9"/>
                      </a:lnTo>
                      <a:lnTo>
                        <a:pt x="111" y="9"/>
                      </a:lnTo>
                      <a:lnTo>
                        <a:pt x="116" y="9"/>
                      </a:lnTo>
                      <a:lnTo>
                        <a:pt x="116" y="9"/>
                      </a:lnTo>
                      <a:lnTo>
                        <a:pt x="116" y="9"/>
                      </a:lnTo>
                      <a:lnTo>
                        <a:pt x="116" y="9"/>
                      </a:lnTo>
                      <a:lnTo>
                        <a:pt x="120" y="10"/>
                      </a:lnTo>
                      <a:lnTo>
                        <a:pt x="123" y="12"/>
                      </a:lnTo>
                      <a:lnTo>
                        <a:pt x="123" y="12"/>
                      </a:lnTo>
                      <a:lnTo>
                        <a:pt x="129" y="15"/>
                      </a:lnTo>
                      <a:lnTo>
                        <a:pt x="138" y="16"/>
                      </a:lnTo>
                      <a:lnTo>
                        <a:pt x="152" y="19"/>
                      </a:lnTo>
                      <a:lnTo>
                        <a:pt x="152" y="19"/>
                      </a:lnTo>
                      <a:lnTo>
                        <a:pt x="164" y="16"/>
                      </a:lnTo>
                      <a:lnTo>
                        <a:pt x="171" y="15"/>
                      </a:lnTo>
                      <a:lnTo>
                        <a:pt x="175" y="12"/>
                      </a:lnTo>
                      <a:lnTo>
                        <a:pt x="175" y="12"/>
                      </a:lnTo>
                      <a:lnTo>
                        <a:pt x="178" y="10"/>
                      </a:lnTo>
                      <a:lnTo>
                        <a:pt x="178" y="7"/>
                      </a:lnTo>
                      <a:lnTo>
                        <a:pt x="181" y="6"/>
                      </a:lnTo>
                      <a:lnTo>
                        <a:pt x="185" y="6"/>
                      </a:lnTo>
                      <a:lnTo>
                        <a:pt x="185" y="6"/>
                      </a:lnTo>
                      <a:lnTo>
                        <a:pt x="193" y="6"/>
                      </a:lnTo>
                      <a:lnTo>
                        <a:pt x="200" y="7"/>
                      </a:lnTo>
                      <a:lnTo>
                        <a:pt x="200" y="7"/>
                      </a:lnTo>
                      <a:lnTo>
                        <a:pt x="206" y="9"/>
                      </a:lnTo>
                      <a:lnTo>
                        <a:pt x="206" y="9"/>
                      </a:lnTo>
                      <a:lnTo>
                        <a:pt x="206" y="9"/>
                      </a:lnTo>
                      <a:lnTo>
                        <a:pt x="206" y="9"/>
                      </a:lnTo>
                      <a:lnTo>
                        <a:pt x="208" y="7"/>
                      </a:lnTo>
                      <a:lnTo>
                        <a:pt x="213" y="6"/>
                      </a:lnTo>
                      <a:lnTo>
                        <a:pt x="213" y="6"/>
                      </a:lnTo>
                      <a:lnTo>
                        <a:pt x="216" y="5"/>
                      </a:lnTo>
                      <a:lnTo>
                        <a:pt x="217" y="2"/>
                      </a:lnTo>
                      <a:lnTo>
                        <a:pt x="219" y="2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32" y="2"/>
                      </a:lnTo>
                      <a:lnTo>
                        <a:pt x="243" y="6"/>
                      </a:lnTo>
                      <a:lnTo>
                        <a:pt x="243" y="6"/>
                      </a:lnTo>
                      <a:lnTo>
                        <a:pt x="253" y="10"/>
                      </a:lnTo>
                      <a:lnTo>
                        <a:pt x="253" y="10"/>
                      </a:lnTo>
                      <a:lnTo>
                        <a:pt x="253" y="10"/>
                      </a:lnTo>
                      <a:lnTo>
                        <a:pt x="253" y="10"/>
                      </a:lnTo>
                      <a:lnTo>
                        <a:pt x="253" y="10"/>
                      </a:lnTo>
                      <a:lnTo>
                        <a:pt x="253" y="12"/>
                      </a:lnTo>
                      <a:lnTo>
                        <a:pt x="253" y="12"/>
                      </a:lnTo>
                      <a:lnTo>
                        <a:pt x="255" y="12"/>
                      </a:lnTo>
                      <a:lnTo>
                        <a:pt x="255" y="12"/>
                      </a:lnTo>
                      <a:lnTo>
                        <a:pt x="259" y="15"/>
                      </a:lnTo>
                      <a:lnTo>
                        <a:pt x="262" y="16"/>
                      </a:lnTo>
                      <a:lnTo>
                        <a:pt x="262" y="16"/>
                      </a:lnTo>
                      <a:lnTo>
                        <a:pt x="262" y="16"/>
                      </a:lnTo>
                      <a:lnTo>
                        <a:pt x="262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6" y="16"/>
                      </a:lnTo>
                      <a:lnTo>
                        <a:pt x="266" y="16"/>
                      </a:lnTo>
                      <a:lnTo>
                        <a:pt x="266" y="16"/>
                      </a:lnTo>
                      <a:lnTo>
                        <a:pt x="266" y="16"/>
                      </a:lnTo>
                      <a:lnTo>
                        <a:pt x="272" y="12"/>
                      </a:lnTo>
                      <a:lnTo>
                        <a:pt x="275" y="9"/>
                      </a:lnTo>
                      <a:lnTo>
                        <a:pt x="279" y="9"/>
                      </a:lnTo>
                      <a:lnTo>
                        <a:pt x="279" y="9"/>
                      </a:lnTo>
                      <a:lnTo>
                        <a:pt x="279" y="9"/>
                      </a:lnTo>
                      <a:lnTo>
                        <a:pt x="279" y="9"/>
                      </a:lnTo>
                      <a:lnTo>
                        <a:pt x="282" y="9"/>
                      </a:lnTo>
                      <a:lnTo>
                        <a:pt x="285" y="10"/>
                      </a:lnTo>
                      <a:lnTo>
                        <a:pt x="285" y="10"/>
                      </a:lnTo>
                      <a:lnTo>
                        <a:pt x="285" y="10"/>
                      </a:lnTo>
                      <a:lnTo>
                        <a:pt x="285" y="10"/>
                      </a:lnTo>
                      <a:lnTo>
                        <a:pt x="287" y="12"/>
                      </a:lnTo>
                      <a:lnTo>
                        <a:pt x="287" y="12"/>
                      </a:lnTo>
                      <a:lnTo>
                        <a:pt x="287" y="12"/>
                      </a:lnTo>
                      <a:lnTo>
                        <a:pt x="287" y="12"/>
                      </a:lnTo>
                      <a:lnTo>
                        <a:pt x="287" y="12"/>
                      </a:lnTo>
                      <a:lnTo>
                        <a:pt x="287" y="12"/>
                      </a:lnTo>
                      <a:lnTo>
                        <a:pt x="290" y="16"/>
                      </a:lnTo>
                      <a:lnTo>
                        <a:pt x="292" y="19"/>
                      </a:lnTo>
                      <a:lnTo>
                        <a:pt x="295" y="22"/>
                      </a:lnTo>
                      <a:lnTo>
                        <a:pt x="300" y="23"/>
                      </a:lnTo>
                      <a:lnTo>
                        <a:pt x="300" y="23"/>
                      </a:lnTo>
                      <a:lnTo>
                        <a:pt x="300" y="23"/>
                      </a:lnTo>
                      <a:lnTo>
                        <a:pt x="301" y="22"/>
                      </a:lnTo>
                      <a:lnTo>
                        <a:pt x="301" y="22"/>
                      </a:lnTo>
                      <a:lnTo>
                        <a:pt x="306" y="22"/>
                      </a:lnTo>
                      <a:lnTo>
                        <a:pt x="306" y="22"/>
                      </a:lnTo>
                      <a:lnTo>
                        <a:pt x="308" y="22"/>
                      </a:lnTo>
                      <a:lnTo>
                        <a:pt x="308" y="22"/>
                      </a:lnTo>
                      <a:lnTo>
                        <a:pt x="307" y="41"/>
                      </a:lnTo>
                      <a:lnTo>
                        <a:pt x="307" y="41"/>
                      </a:lnTo>
                      <a:lnTo>
                        <a:pt x="306" y="48"/>
                      </a:lnTo>
                      <a:lnTo>
                        <a:pt x="303" y="55"/>
                      </a:lnTo>
                      <a:lnTo>
                        <a:pt x="298" y="61"/>
                      </a:lnTo>
                      <a:lnTo>
                        <a:pt x="291" y="67"/>
                      </a:lnTo>
                      <a:lnTo>
                        <a:pt x="291" y="67"/>
                      </a:lnTo>
                      <a:lnTo>
                        <a:pt x="287" y="71"/>
                      </a:lnTo>
                      <a:lnTo>
                        <a:pt x="284" y="74"/>
                      </a:lnTo>
                      <a:lnTo>
                        <a:pt x="284" y="78"/>
                      </a:lnTo>
                      <a:lnTo>
                        <a:pt x="284" y="83"/>
                      </a:lnTo>
                      <a:lnTo>
                        <a:pt x="284" y="83"/>
                      </a:lnTo>
                      <a:lnTo>
                        <a:pt x="284" y="86"/>
                      </a:lnTo>
                      <a:lnTo>
                        <a:pt x="281" y="87"/>
                      </a:lnTo>
                      <a:lnTo>
                        <a:pt x="278" y="90"/>
                      </a:lnTo>
                      <a:lnTo>
                        <a:pt x="275" y="94"/>
                      </a:lnTo>
                      <a:lnTo>
                        <a:pt x="275" y="94"/>
                      </a:lnTo>
                      <a:lnTo>
                        <a:pt x="272" y="102"/>
                      </a:lnTo>
                      <a:lnTo>
                        <a:pt x="271" y="110"/>
                      </a:lnTo>
                      <a:lnTo>
                        <a:pt x="271" y="110"/>
                      </a:lnTo>
                      <a:lnTo>
                        <a:pt x="269" y="122"/>
                      </a:lnTo>
                      <a:lnTo>
                        <a:pt x="269" y="122"/>
                      </a:lnTo>
                      <a:lnTo>
                        <a:pt x="271" y="122"/>
                      </a:lnTo>
                      <a:lnTo>
                        <a:pt x="271" y="122"/>
                      </a:lnTo>
                      <a:lnTo>
                        <a:pt x="269" y="122"/>
                      </a:lnTo>
                      <a:lnTo>
                        <a:pt x="269" y="122"/>
                      </a:lnTo>
                      <a:lnTo>
                        <a:pt x="269" y="125"/>
                      </a:lnTo>
                      <a:lnTo>
                        <a:pt x="269" y="125"/>
                      </a:lnTo>
                      <a:lnTo>
                        <a:pt x="269" y="125"/>
                      </a:lnTo>
                      <a:lnTo>
                        <a:pt x="269" y="125"/>
                      </a:lnTo>
                      <a:lnTo>
                        <a:pt x="269" y="128"/>
                      </a:lnTo>
                      <a:lnTo>
                        <a:pt x="269" y="128"/>
                      </a:lnTo>
                      <a:lnTo>
                        <a:pt x="271" y="133"/>
                      </a:lnTo>
                      <a:lnTo>
                        <a:pt x="272" y="141"/>
                      </a:lnTo>
                      <a:lnTo>
                        <a:pt x="272" y="141"/>
                      </a:lnTo>
                      <a:lnTo>
                        <a:pt x="271" y="149"/>
                      </a:lnTo>
                      <a:lnTo>
                        <a:pt x="271" y="149"/>
                      </a:lnTo>
                      <a:lnTo>
                        <a:pt x="272" y="159"/>
                      </a:lnTo>
                      <a:lnTo>
                        <a:pt x="277" y="170"/>
                      </a:lnTo>
                      <a:lnTo>
                        <a:pt x="277" y="170"/>
                      </a:lnTo>
                      <a:lnTo>
                        <a:pt x="278" y="174"/>
                      </a:lnTo>
                      <a:lnTo>
                        <a:pt x="278" y="180"/>
                      </a:lnTo>
                      <a:lnTo>
                        <a:pt x="279" y="186"/>
                      </a:lnTo>
                      <a:lnTo>
                        <a:pt x="282" y="191"/>
                      </a:lnTo>
                      <a:lnTo>
                        <a:pt x="282" y="191"/>
                      </a:lnTo>
                      <a:lnTo>
                        <a:pt x="290" y="200"/>
                      </a:lnTo>
                      <a:lnTo>
                        <a:pt x="294" y="206"/>
                      </a:lnTo>
                      <a:lnTo>
                        <a:pt x="294" y="206"/>
                      </a:lnTo>
                      <a:lnTo>
                        <a:pt x="295" y="212"/>
                      </a:lnTo>
                      <a:lnTo>
                        <a:pt x="295" y="215"/>
                      </a:lnTo>
                      <a:lnTo>
                        <a:pt x="295" y="215"/>
                      </a:lnTo>
                      <a:lnTo>
                        <a:pt x="295" y="215"/>
                      </a:lnTo>
                      <a:lnTo>
                        <a:pt x="295" y="215"/>
                      </a:lnTo>
                      <a:lnTo>
                        <a:pt x="295" y="215"/>
                      </a:lnTo>
                      <a:lnTo>
                        <a:pt x="295" y="215"/>
                      </a:lnTo>
                      <a:lnTo>
                        <a:pt x="290" y="215"/>
                      </a:lnTo>
                      <a:lnTo>
                        <a:pt x="290" y="215"/>
                      </a:lnTo>
                      <a:lnTo>
                        <a:pt x="290" y="215"/>
                      </a:lnTo>
                      <a:lnTo>
                        <a:pt x="290" y="215"/>
                      </a:lnTo>
                      <a:lnTo>
                        <a:pt x="281" y="216"/>
                      </a:lnTo>
                      <a:lnTo>
                        <a:pt x="275" y="217"/>
                      </a:lnTo>
                      <a:lnTo>
                        <a:pt x="275" y="217"/>
                      </a:lnTo>
                      <a:lnTo>
                        <a:pt x="275" y="217"/>
                      </a:lnTo>
                      <a:lnTo>
                        <a:pt x="275" y="217"/>
                      </a:lnTo>
                      <a:lnTo>
                        <a:pt x="269" y="223"/>
                      </a:lnTo>
                      <a:lnTo>
                        <a:pt x="266" y="229"/>
                      </a:lnTo>
                      <a:lnTo>
                        <a:pt x="264" y="236"/>
                      </a:lnTo>
                      <a:lnTo>
                        <a:pt x="264" y="242"/>
                      </a:lnTo>
                      <a:lnTo>
                        <a:pt x="264" y="242"/>
                      </a:lnTo>
                      <a:lnTo>
                        <a:pt x="262" y="251"/>
                      </a:lnTo>
                      <a:lnTo>
                        <a:pt x="259" y="259"/>
                      </a:lnTo>
                      <a:lnTo>
                        <a:pt x="259" y="259"/>
                      </a:lnTo>
                      <a:lnTo>
                        <a:pt x="258" y="261"/>
                      </a:lnTo>
                      <a:lnTo>
                        <a:pt x="258" y="261"/>
                      </a:lnTo>
                      <a:lnTo>
                        <a:pt x="259" y="264"/>
                      </a:lnTo>
                      <a:lnTo>
                        <a:pt x="261" y="267"/>
                      </a:lnTo>
                      <a:lnTo>
                        <a:pt x="266" y="274"/>
                      </a:lnTo>
                      <a:lnTo>
                        <a:pt x="274" y="281"/>
                      </a:lnTo>
                      <a:lnTo>
                        <a:pt x="279" y="284"/>
                      </a:lnTo>
                      <a:lnTo>
                        <a:pt x="279" y="284"/>
                      </a:lnTo>
                      <a:lnTo>
                        <a:pt x="279" y="284"/>
                      </a:lnTo>
                      <a:lnTo>
                        <a:pt x="279" y="284"/>
                      </a:lnTo>
                      <a:lnTo>
                        <a:pt x="279" y="284"/>
                      </a:lnTo>
                      <a:lnTo>
                        <a:pt x="279" y="286"/>
                      </a:lnTo>
                      <a:lnTo>
                        <a:pt x="279" y="286"/>
                      </a:lnTo>
                      <a:lnTo>
                        <a:pt x="282" y="286"/>
                      </a:lnTo>
                      <a:lnTo>
                        <a:pt x="282" y="286"/>
                      </a:lnTo>
                      <a:lnTo>
                        <a:pt x="282" y="286"/>
                      </a:lnTo>
                      <a:lnTo>
                        <a:pt x="282" y="286"/>
                      </a:lnTo>
                      <a:lnTo>
                        <a:pt x="285" y="284"/>
                      </a:lnTo>
                      <a:lnTo>
                        <a:pt x="285" y="284"/>
                      </a:lnTo>
                      <a:lnTo>
                        <a:pt x="285" y="284"/>
                      </a:lnTo>
                      <a:lnTo>
                        <a:pt x="285" y="284"/>
                      </a:lnTo>
                      <a:lnTo>
                        <a:pt x="285" y="284"/>
                      </a:lnTo>
                      <a:lnTo>
                        <a:pt x="285" y="284"/>
                      </a:lnTo>
                      <a:lnTo>
                        <a:pt x="285" y="284"/>
                      </a:lnTo>
                      <a:lnTo>
                        <a:pt x="285" y="284"/>
                      </a:lnTo>
                      <a:lnTo>
                        <a:pt x="288" y="283"/>
                      </a:lnTo>
                      <a:lnTo>
                        <a:pt x="288" y="283"/>
                      </a:lnTo>
                      <a:lnTo>
                        <a:pt x="290" y="284"/>
                      </a:lnTo>
                      <a:lnTo>
                        <a:pt x="290" y="284"/>
                      </a:lnTo>
                      <a:lnTo>
                        <a:pt x="290" y="284"/>
                      </a:lnTo>
                      <a:lnTo>
                        <a:pt x="290" y="284"/>
                      </a:lnTo>
                      <a:lnTo>
                        <a:pt x="290" y="284"/>
                      </a:lnTo>
                      <a:lnTo>
                        <a:pt x="290" y="284"/>
                      </a:lnTo>
                      <a:lnTo>
                        <a:pt x="291" y="287"/>
                      </a:lnTo>
                      <a:lnTo>
                        <a:pt x="291" y="287"/>
                      </a:lnTo>
                      <a:lnTo>
                        <a:pt x="290" y="290"/>
                      </a:lnTo>
                      <a:lnTo>
                        <a:pt x="287" y="294"/>
                      </a:lnTo>
                      <a:lnTo>
                        <a:pt x="284" y="299"/>
                      </a:lnTo>
                      <a:lnTo>
                        <a:pt x="279" y="300"/>
                      </a:lnTo>
                      <a:lnTo>
                        <a:pt x="279" y="300"/>
                      </a:lnTo>
                      <a:lnTo>
                        <a:pt x="279" y="300"/>
                      </a:lnTo>
                      <a:lnTo>
                        <a:pt x="279" y="300"/>
                      </a:lnTo>
                      <a:lnTo>
                        <a:pt x="279" y="300"/>
                      </a:lnTo>
                      <a:lnTo>
                        <a:pt x="279" y="300"/>
                      </a:lnTo>
                      <a:lnTo>
                        <a:pt x="277" y="300"/>
                      </a:lnTo>
                      <a:lnTo>
                        <a:pt x="277" y="30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24" name="Freeform 174"/>
                <p:cNvSpPr>
                  <a:spLocks/>
                </p:cNvSpPr>
                <p:nvPr/>
              </p:nvSpPr>
              <p:spPr bwMode="auto">
                <a:xfrm>
                  <a:off x="4608603" y="3245911"/>
                  <a:ext cx="304692" cy="296778"/>
                </a:xfrm>
                <a:custGeom>
                  <a:avLst/>
                  <a:gdLst>
                    <a:gd name="T0" fmla="*/ 265 w 308"/>
                    <a:gd name="T1" fmla="*/ 293 h 300"/>
                    <a:gd name="T2" fmla="*/ 256 w 308"/>
                    <a:gd name="T3" fmla="*/ 284 h 300"/>
                    <a:gd name="T4" fmla="*/ 211 w 308"/>
                    <a:gd name="T5" fmla="*/ 265 h 300"/>
                    <a:gd name="T6" fmla="*/ 211 w 308"/>
                    <a:gd name="T7" fmla="*/ 265 h 300"/>
                    <a:gd name="T8" fmla="*/ 206 w 308"/>
                    <a:gd name="T9" fmla="*/ 265 h 300"/>
                    <a:gd name="T10" fmla="*/ 200 w 308"/>
                    <a:gd name="T11" fmla="*/ 267 h 300"/>
                    <a:gd name="T12" fmla="*/ 198 w 308"/>
                    <a:gd name="T13" fmla="*/ 267 h 300"/>
                    <a:gd name="T14" fmla="*/ 185 w 308"/>
                    <a:gd name="T15" fmla="*/ 259 h 300"/>
                    <a:gd name="T16" fmla="*/ 181 w 308"/>
                    <a:gd name="T17" fmla="*/ 259 h 300"/>
                    <a:gd name="T18" fmla="*/ 180 w 308"/>
                    <a:gd name="T19" fmla="*/ 259 h 300"/>
                    <a:gd name="T20" fmla="*/ 161 w 308"/>
                    <a:gd name="T21" fmla="*/ 259 h 300"/>
                    <a:gd name="T22" fmla="*/ 159 w 308"/>
                    <a:gd name="T23" fmla="*/ 255 h 300"/>
                    <a:gd name="T24" fmla="*/ 153 w 308"/>
                    <a:gd name="T25" fmla="*/ 228 h 300"/>
                    <a:gd name="T26" fmla="*/ 156 w 308"/>
                    <a:gd name="T27" fmla="*/ 202 h 300"/>
                    <a:gd name="T28" fmla="*/ 155 w 308"/>
                    <a:gd name="T29" fmla="*/ 202 h 300"/>
                    <a:gd name="T30" fmla="*/ 143 w 308"/>
                    <a:gd name="T31" fmla="*/ 203 h 300"/>
                    <a:gd name="T32" fmla="*/ 138 w 308"/>
                    <a:gd name="T33" fmla="*/ 202 h 300"/>
                    <a:gd name="T34" fmla="*/ 138 w 308"/>
                    <a:gd name="T35" fmla="*/ 200 h 300"/>
                    <a:gd name="T36" fmla="*/ 130 w 308"/>
                    <a:gd name="T37" fmla="*/ 197 h 300"/>
                    <a:gd name="T38" fmla="*/ 119 w 308"/>
                    <a:gd name="T39" fmla="*/ 194 h 300"/>
                    <a:gd name="T40" fmla="*/ 113 w 308"/>
                    <a:gd name="T41" fmla="*/ 203 h 300"/>
                    <a:gd name="T42" fmla="*/ 90 w 308"/>
                    <a:gd name="T43" fmla="*/ 215 h 300"/>
                    <a:gd name="T44" fmla="*/ 74 w 308"/>
                    <a:gd name="T45" fmla="*/ 188 h 300"/>
                    <a:gd name="T46" fmla="*/ 14 w 308"/>
                    <a:gd name="T47" fmla="*/ 181 h 300"/>
                    <a:gd name="T48" fmla="*/ 0 w 308"/>
                    <a:gd name="T49" fmla="*/ 175 h 300"/>
                    <a:gd name="T50" fmla="*/ 20 w 308"/>
                    <a:gd name="T51" fmla="*/ 162 h 300"/>
                    <a:gd name="T52" fmla="*/ 20 w 308"/>
                    <a:gd name="T53" fmla="*/ 162 h 300"/>
                    <a:gd name="T54" fmla="*/ 25 w 308"/>
                    <a:gd name="T55" fmla="*/ 162 h 300"/>
                    <a:gd name="T56" fmla="*/ 43 w 308"/>
                    <a:gd name="T57" fmla="*/ 159 h 300"/>
                    <a:gd name="T58" fmla="*/ 64 w 308"/>
                    <a:gd name="T59" fmla="*/ 110 h 300"/>
                    <a:gd name="T60" fmla="*/ 91 w 308"/>
                    <a:gd name="T61" fmla="*/ 87 h 300"/>
                    <a:gd name="T62" fmla="*/ 104 w 308"/>
                    <a:gd name="T63" fmla="*/ 25 h 300"/>
                    <a:gd name="T64" fmla="*/ 111 w 308"/>
                    <a:gd name="T65" fmla="*/ 9 h 300"/>
                    <a:gd name="T66" fmla="*/ 123 w 308"/>
                    <a:gd name="T67" fmla="*/ 12 h 300"/>
                    <a:gd name="T68" fmla="*/ 175 w 308"/>
                    <a:gd name="T69" fmla="*/ 12 h 300"/>
                    <a:gd name="T70" fmla="*/ 200 w 308"/>
                    <a:gd name="T71" fmla="*/ 7 h 300"/>
                    <a:gd name="T72" fmla="*/ 216 w 308"/>
                    <a:gd name="T73" fmla="*/ 5 h 300"/>
                    <a:gd name="T74" fmla="*/ 223 w 308"/>
                    <a:gd name="T75" fmla="*/ 0 h 300"/>
                    <a:gd name="T76" fmla="*/ 243 w 308"/>
                    <a:gd name="T77" fmla="*/ 6 h 300"/>
                    <a:gd name="T78" fmla="*/ 255 w 308"/>
                    <a:gd name="T79" fmla="*/ 12 h 300"/>
                    <a:gd name="T80" fmla="*/ 265 w 308"/>
                    <a:gd name="T81" fmla="*/ 16 h 300"/>
                    <a:gd name="T82" fmla="*/ 265 w 308"/>
                    <a:gd name="T83" fmla="*/ 16 h 300"/>
                    <a:gd name="T84" fmla="*/ 275 w 308"/>
                    <a:gd name="T85" fmla="*/ 9 h 300"/>
                    <a:gd name="T86" fmla="*/ 285 w 308"/>
                    <a:gd name="T87" fmla="*/ 10 h 300"/>
                    <a:gd name="T88" fmla="*/ 290 w 308"/>
                    <a:gd name="T89" fmla="*/ 16 h 300"/>
                    <a:gd name="T90" fmla="*/ 306 w 308"/>
                    <a:gd name="T91" fmla="*/ 22 h 300"/>
                    <a:gd name="T92" fmla="*/ 298 w 308"/>
                    <a:gd name="T93" fmla="*/ 61 h 300"/>
                    <a:gd name="T94" fmla="*/ 284 w 308"/>
                    <a:gd name="T95" fmla="*/ 86 h 300"/>
                    <a:gd name="T96" fmla="*/ 269 w 308"/>
                    <a:gd name="T97" fmla="*/ 122 h 300"/>
                    <a:gd name="T98" fmla="*/ 269 w 308"/>
                    <a:gd name="T99" fmla="*/ 125 h 300"/>
                    <a:gd name="T100" fmla="*/ 271 w 308"/>
                    <a:gd name="T101" fmla="*/ 149 h 300"/>
                    <a:gd name="T102" fmla="*/ 282 w 308"/>
                    <a:gd name="T103" fmla="*/ 191 h 300"/>
                    <a:gd name="T104" fmla="*/ 295 w 308"/>
                    <a:gd name="T105" fmla="*/ 215 h 300"/>
                    <a:gd name="T106" fmla="*/ 275 w 308"/>
                    <a:gd name="T107" fmla="*/ 217 h 300"/>
                    <a:gd name="T108" fmla="*/ 264 w 308"/>
                    <a:gd name="T109" fmla="*/ 242 h 300"/>
                    <a:gd name="T110" fmla="*/ 266 w 308"/>
                    <a:gd name="T111" fmla="*/ 274 h 300"/>
                    <a:gd name="T112" fmla="*/ 279 w 308"/>
                    <a:gd name="T113" fmla="*/ 286 h 300"/>
                    <a:gd name="T114" fmla="*/ 285 w 308"/>
                    <a:gd name="T115" fmla="*/ 284 h 300"/>
                    <a:gd name="T116" fmla="*/ 290 w 308"/>
                    <a:gd name="T117" fmla="*/ 284 h 300"/>
                    <a:gd name="T118" fmla="*/ 287 w 308"/>
                    <a:gd name="T119" fmla="*/ 294 h 300"/>
                    <a:gd name="T120" fmla="*/ 277 w 308"/>
                    <a:gd name="T121" fmla="*/ 300 h 3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308" h="300">
                      <a:moveTo>
                        <a:pt x="277" y="300"/>
                      </a:moveTo>
                      <a:lnTo>
                        <a:pt x="277" y="300"/>
                      </a:lnTo>
                      <a:lnTo>
                        <a:pt x="277" y="300"/>
                      </a:lnTo>
                      <a:lnTo>
                        <a:pt x="269" y="299"/>
                      </a:lnTo>
                      <a:lnTo>
                        <a:pt x="266" y="297"/>
                      </a:lnTo>
                      <a:lnTo>
                        <a:pt x="265" y="294"/>
                      </a:lnTo>
                      <a:lnTo>
                        <a:pt x="265" y="294"/>
                      </a:lnTo>
                      <a:lnTo>
                        <a:pt x="265" y="293"/>
                      </a:lnTo>
                      <a:lnTo>
                        <a:pt x="265" y="293"/>
                      </a:lnTo>
                      <a:lnTo>
                        <a:pt x="265" y="293"/>
                      </a:lnTo>
                      <a:lnTo>
                        <a:pt x="264" y="293"/>
                      </a:lnTo>
                      <a:lnTo>
                        <a:pt x="264" y="293"/>
                      </a:lnTo>
                      <a:lnTo>
                        <a:pt x="264" y="293"/>
                      </a:lnTo>
                      <a:lnTo>
                        <a:pt x="264" y="293"/>
                      </a:lnTo>
                      <a:lnTo>
                        <a:pt x="261" y="287"/>
                      </a:lnTo>
                      <a:lnTo>
                        <a:pt x="256" y="284"/>
                      </a:lnTo>
                      <a:lnTo>
                        <a:pt x="245" y="277"/>
                      </a:lnTo>
                      <a:lnTo>
                        <a:pt x="245" y="277"/>
                      </a:lnTo>
                      <a:lnTo>
                        <a:pt x="227" y="271"/>
                      </a:lnTo>
                      <a:lnTo>
                        <a:pt x="213" y="265"/>
                      </a:lnTo>
                      <a:lnTo>
                        <a:pt x="213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1" y="265"/>
                      </a:lnTo>
                      <a:lnTo>
                        <a:pt x="210" y="265"/>
                      </a:lnTo>
                      <a:lnTo>
                        <a:pt x="210" y="265"/>
                      </a:lnTo>
                      <a:lnTo>
                        <a:pt x="206" y="265"/>
                      </a:lnTo>
                      <a:lnTo>
                        <a:pt x="206" y="265"/>
                      </a:lnTo>
                      <a:lnTo>
                        <a:pt x="201" y="267"/>
                      </a:lnTo>
                      <a:lnTo>
                        <a:pt x="201" y="267"/>
                      </a:lnTo>
                      <a:lnTo>
                        <a:pt x="200" y="267"/>
                      </a:lnTo>
                      <a:lnTo>
                        <a:pt x="200" y="267"/>
                      </a:lnTo>
                      <a:lnTo>
                        <a:pt x="200" y="267"/>
                      </a:lnTo>
                      <a:lnTo>
                        <a:pt x="200" y="267"/>
                      </a:lnTo>
                      <a:lnTo>
                        <a:pt x="200" y="267"/>
                      </a:lnTo>
                      <a:lnTo>
                        <a:pt x="200" y="267"/>
                      </a:lnTo>
                      <a:lnTo>
                        <a:pt x="200" y="267"/>
                      </a:lnTo>
                      <a:lnTo>
                        <a:pt x="198" y="267"/>
                      </a:lnTo>
                      <a:lnTo>
                        <a:pt x="198" y="267"/>
                      </a:lnTo>
                      <a:lnTo>
                        <a:pt x="198" y="267"/>
                      </a:lnTo>
                      <a:lnTo>
                        <a:pt x="198" y="267"/>
                      </a:lnTo>
                      <a:lnTo>
                        <a:pt x="198" y="267"/>
                      </a:lnTo>
                      <a:lnTo>
                        <a:pt x="198" y="267"/>
                      </a:lnTo>
                      <a:lnTo>
                        <a:pt x="198" y="267"/>
                      </a:lnTo>
                      <a:lnTo>
                        <a:pt x="193" y="262"/>
                      </a:lnTo>
                      <a:lnTo>
                        <a:pt x="190" y="259"/>
                      </a:lnTo>
                      <a:lnTo>
                        <a:pt x="190" y="259"/>
                      </a:lnTo>
                      <a:lnTo>
                        <a:pt x="185" y="259"/>
                      </a:lnTo>
                      <a:lnTo>
                        <a:pt x="185" y="259"/>
                      </a:lnTo>
                      <a:lnTo>
                        <a:pt x="185" y="259"/>
                      </a:lnTo>
                      <a:lnTo>
                        <a:pt x="185" y="259"/>
                      </a:lnTo>
                      <a:lnTo>
                        <a:pt x="185" y="259"/>
                      </a:lnTo>
                      <a:lnTo>
                        <a:pt x="185" y="259"/>
                      </a:lnTo>
                      <a:lnTo>
                        <a:pt x="185" y="259"/>
                      </a:lnTo>
                      <a:lnTo>
                        <a:pt x="185" y="259"/>
                      </a:lnTo>
                      <a:lnTo>
                        <a:pt x="182" y="259"/>
                      </a:lnTo>
                      <a:lnTo>
                        <a:pt x="182" y="259"/>
                      </a:lnTo>
                      <a:lnTo>
                        <a:pt x="181" y="259"/>
                      </a:lnTo>
                      <a:lnTo>
                        <a:pt x="181" y="259"/>
                      </a:lnTo>
                      <a:lnTo>
                        <a:pt x="181" y="259"/>
                      </a:lnTo>
                      <a:lnTo>
                        <a:pt x="181" y="259"/>
                      </a:lnTo>
                      <a:lnTo>
                        <a:pt x="181" y="259"/>
                      </a:lnTo>
                      <a:lnTo>
                        <a:pt x="181" y="259"/>
                      </a:lnTo>
                      <a:lnTo>
                        <a:pt x="181" y="259"/>
                      </a:lnTo>
                      <a:lnTo>
                        <a:pt x="181" y="259"/>
                      </a:lnTo>
                      <a:lnTo>
                        <a:pt x="181" y="259"/>
                      </a:lnTo>
                      <a:lnTo>
                        <a:pt x="180" y="259"/>
                      </a:lnTo>
                      <a:lnTo>
                        <a:pt x="180" y="259"/>
                      </a:lnTo>
                      <a:lnTo>
                        <a:pt x="180" y="259"/>
                      </a:lnTo>
                      <a:lnTo>
                        <a:pt x="180" y="259"/>
                      </a:lnTo>
                      <a:lnTo>
                        <a:pt x="168" y="259"/>
                      </a:lnTo>
                      <a:lnTo>
                        <a:pt x="168" y="259"/>
                      </a:lnTo>
                      <a:lnTo>
                        <a:pt x="168" y="259"/>
                      </a:lnTo>
                      <a:lnTo>
                        <a:pt x="168" y="259"/>
                      </a:lnTo>
                      <a:lnTo>
                        <a:pt x="161" y="259"/>
                      </a:lnTo>
                      <a:lnTo>
                        <a:pt x="158" y="259"/>
                      </a:lnTo>
                      <a:lnTo>
                        <a:pt x="158" y="258"/>
                      </a:lnTo>
                      <a:lnTo>
                        <a:pt x="158" y="258"/>
                      </a:lnTo>
                      <a:lnTo>
                        <a:pt x="158" y="258"/>
                      </a:lnTo>
                      <a:lnTo>
                        <a:pt x="158" y="258"/>
                      </a:lnTo>
                      <a:lnTo>
                        <a:pt x="158" y="258"/>
                      </a:lnTo>
                      <a:lnTo>
                        <a:pt x="158" y="258"/>
                      </a:lnTo>
                      <a:lnTo>
                        <a:pt x="159" y="255"/>
                      </a:lnTo>
                      <a:lnTo>
                        <a:pt x="162" y="252"/>
                      </a:lnTo>
                      <a:lnTo>
                        <a:pt x="165" y="249"/>
                      </a:lnTo>
                      <a:lnTo>
                        <a:pt x="166" y="246"/>
                      </a:lnTo>
                      <a:lnTo>
                        <a:pt x="166" y="246"/>
                      </a:lnTo>
                      <a:lnTo>
                        <a:pt x="165" y="244"/>
                      </a:lnTo>
                      <a:lnTo>
                        <a:pt x="161" y="238"/>
                      </a:lnTo>
                      <a:lnTo>
                        <a:pt x="156" y="232"/>
                      </a:lnTo>
                      <a:lnTo>
                        <a:pt x="153" y="228"/>
                      </a:lnTo>
                      <a:lnTo>
                        <a:pt x="153" y="228"/>
                      </a:lnTo>
                      <a:lnTo>
                        <a:pt x="153" y="228"/>
                      </a:lnTo>
                      <a:lnTo>
                        <a:pt x="153" y="228"/>
                      </a:lnTo>
                      <a:lnTo>
                        <a:pt x="153" y="228"/>
                      </a:lnTo>
                      <a:lnTo>
                        <a:pt x="153" y="228"/>
                      </a:lnTo>
                      <a:lnTo>
                        <a:pt x="156" y="212"/>
                      </a:lnTo>
                      <a:lnTo>
                        <a:pt x="156" y="204"/>
                      </a:lnTo>
                      <a:lnTo>
                        <a:pt x="156" y="202"/>
                      </a:lnTo>
                      <a:lnTo>
                        <a:pt x="156" y="202"/>
                      </a:lnTo>
                      <a:lnTo>
                        <a:pt x="156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55" y="202"/>
                      </a:lnTo>
                      <a:lnTo>
                        <a:pt x="143" y="203"/>
                      </a:lnTo>
                      <a:lnTo>
                        <a:pt x="143" y="203"/>
                      </a:lnTo>
                      <a:lnTo>
                        <a:pt x="143" y="203"/>
                      </a:lnTo>
                      <a:lnTo>
                        <a:pt x="143" y="203"/>
                      </a:lnTo>
                      <a:lnTo>
                        <a:pt x="140" y="203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2"/>
                      </a:lnTo>
                      <a:lnTo>
                        <a:pt x="138" y="200"/>
                      </a:lnTo>
                      <a:lnTo>
                        <a:pt x="138" y="200"/>
                      </a:lnTo>
                      <a:lnTo>
                        <a:pt x="138" y="200"/>
                      </a:lnTo>
                      <a:lnTo>
                        <a:pt x="138" y="200"/>
                      </a:lnTo>
                      <a:lnTo>
                        <a:pt x="132" y="197"/>
                      </a:lnTo>
                      <a:lnTo>
                        <a:pt x="132" y="197"/>
                      </a:lnTo>
                      <a:lnTo>
                        <a:pt x="132" y="197"/>
                      </a:lnTo>
                      <a:lnTo>
                        <a:pt x="130" y="197"/>
                      </a:lnTo>
                      <a:lnTo>
                        <a:pt x="130" y="197"/>
                      </a:lnTo>
                      <a:lnTo>
                        <a:pt x="130" y="197"/>
                      </a:lnTo>
                      <a:lnTo>
                        <a:pt x="130" y="197"/>
                      </a:lnTo>
                      <a:lnTo>
                        <a:pt x="129" y="197"/>
                      </a:lnTo>
                      <a:lnTo>
                        <a:pt x="129" y="197"/>
                      </a:lnTo>
                      <a:lnTo>
                        <a:pt x="119" y="194"/>
                      </a:lnTo>
                      <a:lnTo>
                        <a:pt x="119" y="194"/>
                      </a:lnTo>
                      <a:lnTo>
                        <a:pt x="119" y="194"/>
                      </a:lnTo>
                      <a:lnTo>
                        <a:pt x="119" y="194"/>
                      </a:lnTo>
                      <a:lnTo>
                        <a:pt x="117" y="194"/>
                      </a:lnTo>
                      <a:lnTo>
                        <a:pt x="117" y="194"/>
                      </a:lnTo>
                      <a:lnTo>
                        <a:pt x="114" y="196"/>
                      </a:lnTo>
                      <a:lnTo>
                        <a:pt x="114" y="196"/>
                      </a:lnTo>
                      <a:lnTo>
                        <a:pt x="114" y="196"/>
                      </a:lnTo>
                      <a:lnTo>
                        <a:pt x="114" y="196"/>
                      </a:lnTo>
                      <a:lnTo>
                        <a:pt x="114" y="199"/>
                      </a:lnTo>
                      <a:lnTo>
                        <a:pt x="113" y="203"/>
                      </a:lnTo>
                      <a:lnTo>
                        <a:pt x="113" y="209"/>
                      </a:lnTo>
                      <a:lnTo>
                        <a:pt x="111" y="210"/>
                      </a:lnTo>
                      <a:lnTo>
                        <a:pt x="110" y="210"/>
                      </a:lnTo>
                      <a:lnTo>
                        <a:pt x="110" y="210"/>
                      </a:lnTo>
                      <a:lnTo>
                        <a:pt x="101" y="212"/>
                      </a:lnTo>
                      <a:lnTo>
                        <a:pt x="90" y="215"/>
                      </a:lnTo>
                      <a:lnTo>
                        <a:pt x="90" y="215"/>
                      </a:lnTo>
                      <a:lnTo>
                        <a:pt x="90" y="215"/>
                      </a:lnTo>
                      <a:lnTo>
                        <a:pt x="87" y="213"/>
                      </a:lnTo>
                      <a:lnTo>
                        <a:pt x="84" y="212"/>
                      </a:lnTo>
                      <a:lnTo>
                        <a:pt x="84" y="212"/>
                      </a:lnTo>
                      <a:lnTo>
                        <a:pt x="84" y="212"/>
                      </a:lnTo>
                      <a:lnTo>
                        <a:pt x="84" y="212"/>
                      </a:lnTo>
                      <a:lnTo>
                        <a:pt x="78" y="202"/>
                      </a:lnTo>
                      <a:lnTo>
                        <a:pt x="75" y="194"/>
                      </a:lnTo>
                      <a:lnTo>
                        <a:pt x="74" y="188"/>
                      </a:lnTo>
                      <a:lnTo>
                        <a:pt x="74" y="173"/>
                      </a:lnTo>
                      <a:lnTo>
                        <a:pt x="23" y="173"/>
                      </a:lnTo>
                      <a:lnTo>
                        <a:pt x="23" y="173"/>
                      </a:lnTo>
                      <a:lnTo>
                        <a:pt x="20" y="174"/>
                      </a:lnTo>
                      <a:lnTo>
                        <a:pt x="19" y="174"/>
                      </a:lnTo>
                      <a:lnTo>
                        <a:pt x="17" y="177"/>
                      </a:lnTo>
                      <a:lnTo>
                        <a:pt x="16" y="180"/>
                      </a:lnTo>
                      <a:lnTo>
                        <a:pt x="14" y="181"/>
                      </a:lnTo>
                      <a:lnTo>
                        <a:pt x="14" y="181"/>
                      </a:lnTo>
                      <a:lnTo>
                        <a:pt x="1" y="184"/>
                      </a:lnTo>
                      <a:lnTo>
                        <a:pt x="1" y="184"/>
                      </a:lnTo>
                      <a:lnTo>
                        <a:pt x="0" y="181"/>
                      </a:lnTo>
                      <a:lnTo>
                        <a:pt x="0" y="178"/>
                      </a:lnTo>
                      <a:lnTo>
                        <a:pt x="0" y="178"/>
                      </a:lnTo>
                      <a:lnTo>
                        <a:pt x="0" y="175"/>
                      </a:lnTo>
                      <a:lnTo>
                        <a:pt x="0" y="175"/>
                      </a:lnTo>
                      <a:lnTo>
                        <a:pt x="1" y="174"/>
                      </a:lnTo>
                      <a:lnTo>
                        <a:pt x="3" y="173"/>
                      </a:lnTo>
                      <a:lnTo>
                        <a:pt x="3" y="173"/>
                      </a:lnTo>
                      <a:lnTo>
                        <a:pt x="10" y="158"/>
                      </a:lnTo>
                      <a:lnTo>
                        <a:pt x="10" y="158"/>
                      </a:lnTo>
                      <a:lnTo>
                        <a:pt x="16" y="161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0" y="162"/>
                      </a:lnTo>
                      <a:lnTo>
                        <a:pt x="25" y="162"/>
                      </a:lnTo>
                      <a:lnTo>
                        <a:pt x="25" y="162"/>
                      </a:lnTo>
                      <a:lnTo>
                        <a:pt x="33" y="162"/>
                      </a:lnTo>
                      <a:lnTo>
                        <a:pt x="33" y="162"/>
                      </a:lnTo>
                      <a:lnTo>
                        <a:pt x="33" y="162"/>
                      </a:lnTo>
                      <a:lnTo>
                        <a:pt x="33" y="162"/>
                      </a:lnTo>
                      <a:lnTo>
                        <a:pt x="40" y="162"/>
                      </a:lnTo>
                      <a:lnTo>
                        <a:pt x="42" y="161"/>
                      </a:lnTo>
                      <a:lnTo>
                        <a:pt x="43" y="159"/>
                      </a:lnTo>
                      <a:lnTo>
                        <a:pt x="43" y="159"/>
                      </a:lnTo>
                      <a:lnTo>
                        <a:pt x="46" y="155"/>
                      </a:lnTo>
                      <a:lnTo>
                        <a:pt x="49" y="151"/>
                      </a:lnTo>
                      <a:lnTo>
                        <a:pt x="58" y="138"/>
                      </a:lnTo>
                      <a:lnTo>
                        <a:pt x="58" y="138"/>
                      </a:lnTo>
                      <a:lnTo>
                        <a:pt x="61" y="129"/>
                      </a:lnTo>
                      <a:lnTo>
                        <a:pt x="62" y="122"/>
                      </a:lnTo>
                      <a:lnTo>
                        <a:pt x="62" y="115"/>
                      </a:lnTo>
                      <a:lnTo>
                        <a:pt x="64" y="110"/>
                      </a:lnTo>
                      <a:lnTo>
                        <a:pt x="64" y="110"/>
                      </a:lnTo>
                      <a:lnTo>
                        <a:pt x="67" y="109"/>
                      </a:lnTo>
                      <a:lnTo>
                        <a:pt x="69" y="106"/>
                      </a:lnTo>
                      <a:lnTo>
                        <a:pt x="78" y="102"/>
                      </a:lnTo>
                      <a:lnTo>
                        <a:pt x="78" y="102"/>
                      </a:lnTo>
                      <a:lnTo>
                        <a:pt x="84" y="97"/>
                      </a:lnTo>
                      <a:lnTo>
                        <a:pt x="88" y="93"/>
                      </a:lnTo>
                      <a:lnTo>
                        <a:pt x="91" y="87"/>
                      </a:lnTo>
                      <a:lnTo>
                        <a:pt x="93" y="81"/>
                      </a:lnTo>
                      <a:lnTo>
                        <a:pt x="93" y="81"/>
                      </a:lnTo>
                      <a:lnTo>
                        <a:pt x="93" y="64"/>
                      </a:lnTo>
                      <a:lnTo>
                        <a:pt x="94" y="55"/>
                      </a:lnTo>
                      <a:lnTo>
                        <a:pt x="97" y="48"/>
                      </a:lnTo>
                      <a:lnTo>
                        <a:pt x="97" y="48"/>
                      </a:lnTo>
                      <a:lnTo>
                        <a:pt x="100" y="39"/>
                      </a:lnTo>
                      <a:lnTo>
                        <a:pt x="104" y="25"/>
                      </a:lnTo>
                      <a:lnTo>
                        <a:pt x="104" y="25"/>
                      </a:lnTo>
                      <a:lnTo>
                        <a:pt x="107" y="15"/>
                      </a:lnTo>
                      <a:lnTo>
                        <a:pt x="110" y="10"/>
                      </a:lnTo>
                      <a:lnTo>
                        <a:pt x="111" y="9"/>
                      </a:lnTo>
                      <a:lnTo>
                        <a:pt x="111" y="9"/>
                      </a:lnTo>
                      <a:lnTo>
                        <a:pt x="111" y="9"/>
                      </a:lnTo>
                      <a:lnTo>
                        <a:pt x="111" y="9"/>
                      </a:lnTo>
                      <a:lnTo>
                        <a:pt x="111" y="9"/>
                      </a:lnTo>
                      <a:lnTo>
                        <a:pt x="111" y="9"/>
                      </a:lnTo>
                      <a:lnTo>
                        <a:pt x="116" y="9"/>
                      </a:lnTo>
                      <a:lnTo>
                        <a:pt x="116" y="9"/>
                      </a:lnTo>
                      <a:lnTo>
                        <a:pt x="116" y="9"/>
                      </a:lnTo>
                      <a:lnTo>
                        <a:pt x="116" y="9"/>
                      </a:lnTo>
                      <a:lnTo>
                        <a:pt x="120" y="10"/>
                      </a:lnTo>
                      <a:lnTo>
                        <a:pt x="123" y="12"/>
                      </a:lnTo>
                      <a:lnTo>
                        <a:pt x="123" y="12"/>
                      </a:lnTo>
                      <a:lnTo>
                        <a:pt x="129" y="15"/>
                      </a:lnTo>
                      <a:lnTo>
                        <a:pt x="138" y="16"/>
                      </a:lnTo>
                      <a:lnTo>
                        <a:pt x="152" y="19"/>
                      </a:lnTo>
                      <a:lnTo>
                        <a:pt x="152" y="19"/>
                      </a:lnTo>
                      <a:lnTo>
                        <a:pt x="164" y="16"/>
                      </a:lnTo>
                      <a:lnTo>
                        <a:pt x="171" y="15"/>
                      </a:lnTo>
                      <a:lnTo>
                        <a:pt x="175" y="12"/>
                      </a:lnTo>
                      <a:lnTo>
                        <a:pt x="175" y="12"/>
                      </a:lnTo>
                      <a:lnTo>
                        <a:pt x="178" y="10"/>
                      </a:lnTo>
                      <a:lnTo>
                        <a:pt x="178" y="7"/>
                      </a:lnTo>
                      <a:lnTo>
                        <a:pt x="181" y="6"/>
                      </a:lnTo>
                      <a:lnTo>
                        <a:pt x="185" y="6"/>
                      </a:lnTo>
                      <a:lnTo>
                        <a:pt x="185" y="6"/>
                      </a:lnTo>
                      <a:lnTo>
                        <a:pt x="193" y="6"/>
                      </a:lnTo>
                      <a:lnTo>
                        <a:pt x="200" y="7"/>
                      </a:lnTo>
                      <a:lnTo>
                        <a:pt x="200" y="7"/>
                      </a:lnTo>
                      <a:lnTo>
                        <a:pt x="206" y="9"/>
                      </a:lnTo>
                      <a:lnTo>
                        <a:pt x="206" y="9"/>
                      </a:lnTo>
                      <a:lnTo>
                        <a:pt x="206" y="9"/>
                      </a:lnTo>
                      <a:lnTo>
                        <a:pt x="206" y="9"/>
                      </a:lnTo>
                      <a:lnTo>
                        <a:pt x="208" y="7"/>
                      </a:lnTo>
                      <a:lnTo>
                        <a:pt x="213" y="6"/>
                      </a:lnTo>
                      <a:lnTo>
                        <a:pt x="213" y="6"/>
                      </a:lnTo>
                      <a:lnTo>
                        <a:pt x="216" y="5"/>
                      </a:lnTo>
                      <a:lnTo>
                        <a:pt x="217" y="2"/>
                      </a:lnTo>
                      <a:lnTo>
                        <a:pt x="219" y="2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23" y="0"/>
                      </a:lnTo>
                      <a:lnTo>
                        <a:pt x="232" y="2"/>
                      </a:lnTo>
                      <a:lnTo>
                        <a:pt x="243" y="6"/>
                      </a:lnTo>
                      <a:lnTo>
                        <a:pt x="243" y="6"/>
                      </a:lnTo>
                      <a:lnTo>
                        <a:pt x="253" y="10"/>
                      </a:lnTo>
                      <a:lnTo>
                        <a:pt x="253" y="10"/>
                      </a:lnTo>
                      <a:lnTo>
                        <a:pt x="253" y="10"/>
                      </a:lnTo>
                      <a:lnTo>
                        <a:pt x="253" y="10"/>
                      </a:lnTo>
                      <a:lnTo>
                        <a:pt x="253" y="10"/>
                      </a:lnTo>
                      <a:lnTo>
                        <a:pt x="253" y="12"/>
                      </a:lnTo>
                      <a:lnTo>
                        <a:pt x="253" y="12"/>
                      </a:lnTo>
                      <a:lnTo>
                        <a:pt x="255" y="12"/>
                      </a:lnTo>
                      <a:lnTo>
                        <a:pt x="255" y="12"/>
                      </a:lnTo>
                      <a:lnTo>
                        <a:pt x="259" y="15"/>
                      </a:lnTo>
                      <a:lnTo>
                        <a:pt x="262" y="16"/>
                      </a:lnTo>
                      <a:lnTo>
                        <a:pt x="262" y="16"/>
                      </a:lnTo>
                      <a:lnTo>
                        <a:pt x="262" y="16"/>
                      </a:lnTo>
                      <a:lnTo>
                        <a:pt x="262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5" y="16"/>
                      </a:lnTo>
                      <a:lnTo>
                        <a:pt x="266" y="16"/>
                      </a:lnTo>
                      <a:lnTo>
                        <a:pt x="266" y="16"/>
                      </a:lnTo>
                      <a:lnTo>
                        <a:pt x="266" y="16"/>
                      </a:lnTo>
                      <a:lnTo>
                        <a:pt x="266" y="16"/>
                      </a:lnTo>
                      <a:lnTo>
                        <a:pt x="272" y="12"/>
                      </a:lnTo>
                      <a:lnTo>
                        <a:pt x="275" y="9"/>
                      </a:lnTo>
                      <a:lnTo>
                        <a:pt x="279" y="9"/>
                      </a:lnTo>
                      <a:lnTo>
                        <a:pt x="279" y="9"/>
                      </a:lnTo>
                      <a:lnTo>
                        <a:pt x="279" y="9"/>
                      </a:lnTo>
                      <a:lnTo>
                        <a:pt x="279" y="9"/>
                      </a:lnTo>
                      <a:lnTo>
                        <a:pt x="282" y="9"/>
                      </a:lnTo>
                      <a:lnTo>
                        <a:pt x="285" y="10"/>
                      </a:lnTo>
                      <a:lnTo>
                        <a:pt x="285" y="10"/>
                      </a:lnTo>
                      <a:lnTo>
                        <a:pt x="285" y="10"/>
                      </a:lnTo>
                      <a:lnTo>
                        <a:pt x="285" y="10"/>
                      </a:lnTo>
                      <a:lnTo>
                        <a:pt x="287" y="12"/>
                      </a:lnTo>
                      <a:lnTo>
                        <a:pt x="287" y="12"/>
                      </a:lnTo>
                      <a:lnTo>
                        <a:pt x="287" y="12"/>
                      </a:lnTo>
                      <a:lnTo>
                        <a:pt x="287" y="12"/>
                      </a:lnTo>
                      <a:lnTo>
                        <a:pt x="287" y="12"/>
                      </a:lnTo>
                      <a:lnTo>
                        <a:pt x="287" y="12"/>
                      </a:lnTo>
                      <a:lnTo>
                        <a:pt x="290" y="16"/>
                      </a:lnTo>
                      <a:lnTo>
                        <a:pt x="292" y="19"/>
                      </a:lnTo>
                      <a:lnTo>
                        <a:pt x="295" y="22"/>
                      </a:lnTo>
                      <a:lnTo>
                        <a:pt x="300" y="23"/>
                      </a:lnTo>
                      <a:lnTo>
                        <a:pt x="300" y="23"/>
                      </a:lnTo>
                      <a:lnTo>
                        <a:pt x="300" y="23"/>
                      </a:lnTo>
                      <a:lnTo>
                        <a:pt x="301" y="22"/>
                      </a:lnTo>
                      <a:lnTo>
                        <a:pt x="301" y="22"/>
                      </a:lnTo>
                      <a:lnTo>
                        <a:pt x="306" y="22"/>
                      </a:lnTo>
                      <a:lnTo>
                        <a:pt x="306" y="22"/>
                      </a:lnTo>
                      <a:lnTo>
                        <a:pt x="308" y="22"/>
                      </a:lnTo>
                      <a:lnTo>
                        <a:pt x="308" y="22"/>
                      </a:lnTo>
                      <a:lnTo>
                        <a:pt x="307" y="41"/>
                      </a:lnTo>
                      <a:lnTo>
                        <a:pt x="307" y="41"/>
                      </a:lnTo>
                      <a:lnTo>
                        <a:pt x="306" y="48"/>
                      </a:lnTo>
                      <a:lnTo>
                        <a:pt x="303" y="55"/>
                      </a:lnTo>
                      <a:lnTo>
                        <a:pt x="298" y="61"/>
                      </a:lnTo>
                      <a:lnTo>
                        <a:pt x="291" y="67"/>
                      </a:lnTo>
                      <a:lnTo>
                        <a:pt x="291" y="67"/>
                      </a:lnTo>
                      <a:lnTo>
                        <a:pt x="287" y="71"/>
                      </a:lnTo>
                      <a:lnTo>
                        <a:pt x="284" y="74"/>
                      </a:lnTo>
                      <a:lnTo>
                        <a:pt x="284" y="78"/>
                      </a:lnTo>
                      <a:lnTo>
                        <a:pt x="284" y="83"/>
                      </a:lnTo>
                      <a:lnTo>
                        <a:pt x="284" y="83"/>
                      </a:lnTo>
                      <a:lnTo>
                        <a:pt x="284" y="86"/>
                      </a:lnTo>
                      <a:lnTo>
                        <a:pt x="281" y="87"/>
                      </a:lnTo>
                      <a:lnTo>
                        <a:pt x="278" y="90"/>
                      </a:lnTo>
                      <a:lnTo>
                        <a:pt x="275" y="94"/>
                      </a:lnTo>
                      <a:lnTo>
                        <a:pt x="275" y="94"/>
                      </a:lnTo>
                      <a:lnTo>
                        <a:pt x="272" y="102"/>
                      </a:lnTo>
                      <a:lnTo>
                        <a:pt x="271" y="110"/>
                      </a:lnTo>
                      <a:lnTo>
                        <a:pt x="271" y="110"/>
                      </a:lnTo>
                      <a:lnTo>
                        <a:pt x="269" y="122"/>
                      </a:lnTo>
                      <a:lnTo>
                        <a:pt x="269" y="122"/>
                      </a:lnTo>
                      <a:lnTo>
                        <a:pt x="271" y="122"/>
                      </a:lnTo>
                      <a:lnTo>
                        <a:pt x="271" y="122"/>
                      </a:lnTo>
                      <a:lnTo>
                        <a:pt x="269" y="122"/>
                      </a:lnTo>
                      <a:lnTo>
                        <a:pt x="269" y="122"/>
                      </a:lnTo>
                      <a:lnTo>
                        <a:pt x="269" y="125"/>
                      </a:lnTo>
                      <a:lnTo>
                        <a:pt x="269" y="125"/>
                      </a:lnTo>
                      <a:lnTo>
                        <a:pt x="269" y="125"/>
                      </a:lnTo>
                      <a:lnTo>
                        <a:pt x="269" y="125"/>
                      </a:lnTo>
                      <a:lnTo>
                        <a:pt x="269" y="128"/>
                      </a:lnTo>
                      <a:lnTo>
                        <a:pt x="269" y="128"/>
                      </a:lnTo>
                      <a:lnTo>
                        <a:pt x="271" y="133"/>
                      </a:lnTo>
                      <a:lnTo>
                        <a:pt x="272" y="141"/>
                      </a:lnTo>
                      <a:lnTo>
                        <a:pt x="272" y="141"/>
                      </a:lnTo>
                      <a:lnTo>
                        <a:pt x="271" y="149"/>
                      </a:lnTo>
                      <a:lnTo>
                        <a:pt x="271" y="149"/>
                      </a:lnTo>
                      <a:lnTo>
                        <a:pt x="272" y="159"/>
                      </a:lnTo>
                      <a:lnTo>
                        <a:pt x="277" y="170"/>
                      </a:lnTo>
                      <a:lnTo>
                        <a:pt x="277" y="170"/>
                      </a:lnTo>
                      <a:lnTo>
                        <a:pt x="278" y="174"/>
                      </a:lnTo>
                      <a:lnTo>
                        <a:pt x="278" y="180"/>
                      </a:lnTo>
                      <a:lnTo>
                        <a:pt x="279" y="186"/>
                      </a:lnTo>
                      <a:lnTo>
                        <a:pt x="282" y="191"/>
                      </a:lnTo>
                      <a:lnTo>
                        <a:pt x="282" y="191"/>
                      </a:lnTo>
                      <a:lnTo>
                        <a:pt x="290" y="200"/>
                      </a:lnTo>
                      <a:lnTo>
                        <a:pt x="294" y="206"/>
                      </a:lnTo>
                      <a:lnTo>
                        <a:pt x="294" y="206"/>
                      </a:lnTo>
                      <a:lnTo>
                        <a:pt x="295" y="212"/>
                      </a:lnTo>
                      <a:lnTo>
                        <a:pt x="295" y="215"/>
                      </a:lnTo>
                      <a:lnTo>
                        <a:pt x="295" y="215"/>
                      </a:lnTo>
                      <a:lnTo>
                        <a:pt x="295" y="215"/>
                      </a:lnTo>
                      <a:lnTo>
                        <a:pt x="295" y="215"/>
                      </a:lnTo>
                      <a:lnTo>
                        <a:pt x="295" y="215"/>
                      </a:lnTo>
                      <a:lnTo>
                        <a:pt x="295" y="215"/>
                      </a:lnTo>
                      <a:lnTo>
                        <a:pt x="290" y="215"/>
                      </a:lnTo>
                      <a:lnTo>
                        <a:pt x="290" y="215"/>
                      </a:lnTo>
                      <a:lnTo>
                        <a:pt x="290" y="215"/>
                      </a:lnTo>
                      <a:lnTo>
                        <a:pt x="290" y="215"/>
                      </a:lnTo>
                      <a:lnTo>
                        <a:pt x="281" y="216"/>
                      </a:lnTo>
                      <a:lnTo>
                        <a:pt x="275" y="217"/>
                      </a:lnTo>
                      <a:lnTo>
                        <a:pt x="275" y="217"/>
                      </a:lnTo>
                      <a:lnTo>
                        <a:pt x="275" y="217"/>
                      </a:lnTo>
                      <a:lnTo>
                        <a:pt x="275" y="217"/>
                      </a:lnTo>
                      <a:lnTo>
                        <a:pt x="269" y="223"/>
                      </a:lnTo>
                      <a:lnTo>
                        <a:pt x="266" y="229"/>
                      </a:lnTo>
                      <a:lnTo>
                        <a:pt x="264" y="236"/>
                      </a:lnTo>
                      <a:lnTo>
                        <a:pt x="264" y="242"/>
                      </a:lnTo>
                      <a:lnTo>
                        <a:pt x="264" y="242"/>
                      </a:lnTo>
                      <a:lnTo>
                        <a:pt x="262" y="251"/>
                      </a:lnTo>
                      <a:lnTo>
                        <a:pt x="259" y="259"/>
                      </a:lnTo>
                      <a:lnTo>
                        <a:pt x="259" y="259"/>
                      </a:lnTo>
                      <a:lnTo>
                        <a:pt x="258" y="261"/>
                      </a:lnTo>
                      <a:lnTo>
                        <a:pt x="258" y="261"/>
                      </a:lnTo>
                      <a:lnTo>
                        <a:pt x="259" y="264"/>
                      </a:lnTo>
                      <a:lnTo>
                        <a:pt x="261" y="267"/>
                      </a:lnTo>
                      <a:lnTo>
                        <a:pt x="266" y="274"/>
                      </a:lnTo>
                      <a:lnTo>
                        <a:pt x="274" y="281"/>
                      </a:lnTo>
                      <a:lnTo>
                        <a:pt x="279" y="284"/>
                      </a:lnTo>
                      <a:lnTo>
                        <a:pt x="279" y="284"/>
                      </a:lnTo>
                      <a:lnTo>
                        <a:pt x="279" y="284"/>
                      </a:lnTo>
                      <a:lnTo>
                        <a:pt x="279" y="284"/>
                      </a:lnTo>
                      <a:lnTo>
                        <a:pt x="279" y="284"/>
                      </a:lnTo>
                      <a:lnTo>
                        <a:pt x="279" y="286"/>
                      </a:lnTo>
                      <a:lnTo>
                        <a:pt x="279" y="286"/>
                      </a:lnTo>
                      <a:lnTo>
                        <a:pt x="282" y="286"/>
                      </a:lnTo>
                      <a:lnTo>
                        <a:pt x="282" y="286"/>
                      </a:lnTo>
                      <a:lnTo>
                        <a:pt x="282" y="286"/>
                      </a:lnTo>
                      <a:lnTo>
                        <a:pt x="282" y="286"/>
                      </a:lnTo>
                      <a:lnTo>
                        <a:pt x="285" y="284"/>
                      </a:lnTo>
                      <a:lnTo>
                        <a:pt x="285" y="284"/>
                      </a:lnTo>
                      <a:lnTo>
                        <a:pt x="285" y="284"/>
                      </a:lnTo>
                      <a:lnTo>
                        <a:pt x="285" y="284"/>
                      </a:lnTo>
                      <a:lnTo>
                        <a:pt x="285" y="284"/>
                      </a:lnTo>
                      <a:lnTo>
                        <a:pt x="285" y="284"/>
                      </a:lnTo>
                      <a:lnTo>
                        <a:pt x="285" y="284"/>
                      </a:lnTo>
                      <a:lnTo>
                        <a:pt x="285" y="284"/>
                      </a:lnTo>
                      <a:lnTo>
                        <a:pt x="288" y="283"/>
                      </a:lnTo>
                      <a:lnTo>
                        <a:pt x="288" y="283"/>
                      </a:lnTo>
                      <a:lnTo>
                        <a:pt x="290" y="284"/>
                      </a:lnTo>
                      <a:lnTo>
                        <a:pt x="290" y="284"/>
                      </a:lnTo>
                      <a:lnTo>
                        <a:pt x="290" y="284"/>
                      </a:lnTo>
                      <a:lnTo>
                        <a:pt x="290" y="284"/>
                      </a:lnTo>
                      <a:lnTo>
                        <a:pt x="290" y="284"/>
                      </a:lnTo>
                      <a:lnTo>
                        <a:pt x="290" y="284"/>
                      </a:lnTo>
                      <a:lnTo>
                        <a:pt x="291" y="287"/>
                      </a:lnTo>
                      <a:lnTo>
                        <a:pt x="291" y="287"/>
                      </a:lnTo>
                      <a:lnTo>
                        <a:pt x="290" y="290"/>
                      </a:lnTo>
                      <a:lnTo>
                        <a:pt x="287" y="294"/>
                      </a:lnTo>
                      <a:lnTo>
                        <a:pt x="284" y="299"/>
                      </a:lnTo>
                      <a:lnTo>
                        <a:pt x="279" y="300"/>
                      </a:lnTo>
                      <a:lnTo>
                        <a:pt x="279" y="300"/>
                      </a:lnTo>
                      <a:lnTo>
                        <a:pt x="279" y="300"/>
                      </a:lnTo>
                      <a:lnTo>
                        <a:pt x="279" y="300"/>
                      </a:lnTo>
                      <a:lnTo>
                        <a:pt x="279" y="300"/>
                      </a:lnTo>
                      <a:lnTo>
                        <a:pt x="279" y="300"/>
                      </a:lnTo>
                      <a:lnTo>
                        <a:pt x="277" y="300"/>
                      </a:lnTo>
                      <a:lnTo>
                        <a:pt x="277" y="30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25" name="Freeform 175"/>
                <p:cNvSpPr>
                  <a:spLocks noEditPoints="1"/>
                </p:cNvSpPr>
                <p:nvPr/>
              </p:nvSpPr>
              <p:spPr bwMode="auto">
                <a:xfrm>
                  <a:off x="4848993" y="3251847"/>
                  <a:ext cx="57377" cy="16817"/>
                </a:xfrm>
                <a:custGeom>
                  <a:avLst/>
                  <a:gdLst>
                    <a:gd name="T0" fmla="*/ 36 w 58"/>
                    <a:gd name="T1" fmla="*/ 3 h 17"/>
                    <a:gd name="T2" fmla="*/ 10 w 58"/>
                    <a:gd name="T3" fmla="*/ 4 h 17"/>
                    <a:gd name="T4" fmla="*/ 0 w 58"/>
                    <a:gd name="T5" fmla="*/ 0 h 17"/>
                    <a:gd name="T6" fmla="*/ 0 w 58"/>
                    <a:gd name="T7" fmla="*/ 0 h 17"/>
                    <a:gd name="T8" fmla="*/ 10 w 58"/>
                    <a:gd name="T9" fmla="*/ 4 h 17"/>
                    <a:gd name="T10" fmla="*/ 10 w 58"/>
                    <a:gd name="T11" fmla="*/ 4 h 17"/>
                    <a:gd name="T12" fmla="*/ 10 w 58"/>
                    <a:gd name="T13" fmla="*/ 4 h 17"/>
                    <a:gd name="T14" fmla="*/ 42 w 58"/>
                    <a:gd name="T15" fmla="*/ 4 h 17"/>
                    <a:gd name="T16" fmla="*/ 42 w 58"/>
                    <a:gd name="T17" fmla="*/ 4 h 17"/>
                    <a:gd name="T18" fmla="*/ 42 w 58"/>
                    <a:gd name="T19" fmla="*/ 4 h 17"/>
                    <a:gd name="T20" fmla="*/ 12 w 58"/>
                    <a:gd name="T21" fmla="*/ 6 h 17"/>
                    <a:gd name="T22" fmla="*/ 10 w 58"/>
                    <a:gd name="T23" fmla="*/ 6 h 17"/>
                    <a:gd name="T24" fmla="*/ 44 w 58"/>
                    <a:gd name="T25" fmla="*/ 6 h 17"/>
                    <a:gd name="T26" fmla="*/ 42 w 58"/>
                    <a:gd name="T27" fmla="*/ 4 h 17"/>
                    <a:gd name="T28" fmla="*/ 44 w 58"/>
                    <a:gd name="T29" fmla="*/ 6 h 17"/>
                    <a:gd name="T30" fmla="*/ 44 w 58"/>
                    <a:gd name="T31" fmla="*/ 6 h 17"/>
                    <a:gd name="T32" fmla="*/ 44 w 58"/>
                    <a:gd name="T33" fmla="*/ 6 h 17"/>
                    <a:gd name="T34" fmla="*/ 23 w 58"/>
                    <a:gd name="T35" fmla="*/ 10 h 17"/>
                    <a:gd name="T36" fmla="*/ 29 w 58"/>
                    <a:gd name="T37" fmla="*/ 6 h 17"/>
                    <a:gd name="T38" fmla="*/ 36 w 58"/>
                    <a:gd name="T39" fmla="*/ 3 h 17"/>
                    <a:gd name="T40" fmla="*/ 32 w 58"/>
                    <a:gd name="T41" fmla="*/ 3 h 17"/>
                    <a:gd name="T42" fmla="*/ 23 w 58"/>
                    <a:gd name="T43" fmla="*/ 10 h 17"/>
                    <a:gd name="T44" fmla="*/ 23 w 58"/>
                    <a:gd name="T45" fmla="*/ 10 h 17"/>
                    <a:gd name="T46" fmla="*/ 23 w 58"/>
                    <a:gd name="T47" fmla="*/ 10 h 17"/>
                    <a:gd name="T48" fmla="*/ 22 w 58"/>
                    <a:gd name="T49" fmla="*/ 10 h 17"/>
                    <a:gd name="T50" fmla="*/ 22 w 58"/>
                    <a:gd name="T51" fmla="*/ 10 h 17"/>
                    <a:gd name="T52" fmla="*/ 22 w 58"/>
                    <a:gd name="T53" fmla="*/ 10 h 17"/>
                    <a:gd name="T54" fmla="*/ 22 w 58"/>
                    <a:gd name="T55" fmla="*/ 10 h 17"/>
                    <a:gd name="T56" fmla="*/ 22 w 58"/>
                    <a:gd name="T57" fmla="*/ 10 h 17"/>
                    <a:gd name="T58" fmla="*/ 19 w 58"/>
                    <a:gd name="T59" fmla="*/ 10 h 17"/>
                    <a:gd name="T60" fmla="*/ 22 w 58"/>
                    <a:gd name="T61" fmla="*/ 10 h 17"/>
                    <a:gd name="T62" fmla="*/ 19 w 58"/>
                    <a:gd name="T63" fmla="*/ 10 h 17"/>
                    <a:gd name="T64" fmla="*/ 19 w 58"/>
                    <a:gd name="T65" fmla="*/ 10 h 17"/>
                    <a:gd name="T66" fmla="*/ 57 w 58"/>
                    <a:gd name="T67" fmla="*/ 17 h 17"/>
                    <a:gd name="T68" fmla="*/ 58 w 58"/>
                    <a:gd name="T69" fmla="*/ 16 h 17"/>
                    <a:gd name="T70" fmla="*/ 57 w 58"/>
                    <a:gd name="T71" fmla="*/ 17 h 17"/>
                    <a:gd name="T72" fmla="*/ 57 w 58"/>
                    <a:gd name="T73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8" h="17">
                      <a:moveTo>
                        <a:pt x="36" y="3"/>
                      </a:moveTo>
                      <a:lnTo>
                        <a:pt x="36" y="3"/>
                      </a:lnTo>
                      <a:lnTo>
                        <a:pt x="36" y="3"/>
                      </a:lnTo>
                      <a:close/>
                      <a:moveTo>
                        <a:pt x="10" y="4"/>
                      </a:moveTo>
                      <a:lnTo>
                        <a:pt x="1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6" y="1"/>
                      </a:lnTo>
                      <a:lnTo>
                        <a:pt x="10" y="4"/>
                      </a:lnTo>
                      <a:close/>
                      <a:moveTo>
                        <a:pt x="10" y="4"/>
                      </a:move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close/>
                      <a:moveTo>
                        <a:pt x="42" y="4"/>
                      </a:move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close/>
                      <a:moveTo>
                        <a:pt x="12" y="6"/>
                      </a:moveTo>
                      <a:lnTo>
                        <a:pt x="12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2" y="6"/>
                      </a:lnTo>
                      <a:close/>
                      <a:moveTo>
                        <a:pt x="44" y="6"/>
                      </a:moveTo>
                      <a:lnTo>
                        <a:pt x="44" y="6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4" y="6"/>
                      </a:lnTo>
                      <a:close/>
                      <a:moveTo>
                        <a:pt x="44" y="6"/>
                      </a:moveTo>
                      <a:lnTo>
                        <a:pt x="44" y="6"/>
                      </a:lnTo>
                      <a:lnTo>
                        <a:pt x="44" y="6"/>
                      </a:lnTo>
                      <a:lnTo>
                        <a:pt x="44" y="6"/>
                      </a:lnTo>
                      <a:lnTo>
                        <a:pt x="44" y="6"/>
                      </a:lnTo>
                      <a:close/>
                      <a:moveTo>
                        <a:pt x="23" y="10"/>
                      </a:moveTo>
                      <a:lnTo>
                        <a:pt x="23" y="10"/>
                      </a:lnTo>
                      <a:lnTo>
                        <a:pt x="29" y="6"/>
                      </a:lnTo>
                      <a:lnTo>
                        <a:pt x="32" y="3"/>
                      </a:lnTo>
                      <a:lnTo>
                        <a:pt x="36" y="3"/>
                      </a:lnTo>
                      <a:lnTo>
                        <a:pt x="36" y="3"/>
                      </a:lnTo>
                      <a:lnTo>
                        <a:pt x="32" y="3"/>
                      </a:lnTo>
                      <a:lnTo>
                        <a:pt x="29" y="6"/>
                      </a:lnTo>
                      <a:lnTo>
                        <a:pt x="23" y="10"/>
                      </a:lnTo>
                      <a:close/>
                      <a:moveTo>
                        <a:pt x="23" y="10"/>
                      </a:moveTo>
                      <a:lnTo>
                        <a:pt x="23" y="10"/>
                      </a:lnTo>
                      <a:lnTo>
                        <a:pt x="23" y="10"/>
                      </a:lnTo>
                      <a:lnTo>
                        <a:pt x="23" y="10"/>
                      </a:lnTo>
                      <a:lnTo>
                        <a:pt x="23" y="10"/>
                      </a:lnTo>
                      <a:close/>
                      <a:moveTo>
                        <a:pt x="22" y="10"/>
                      </a:move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close/>
                      <a:moveTo>
                        <a:pt x="22" y="10"/>
                      </a:move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close/>
                      <a:moveTo>
                        <a:pt x="19" y="10"/>
                      </a:moveTo>
                      <a:lnTo>
                        <a:pt x="19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19" y="10"/>
                      </a:lnTo>
                      <a:close/>
                      <a:moveTo>
                        <a:pt x="19" y="10"/>
                      </a:moveTo>
                      <a:lnTo>
                        <a:pt x="19" y="10"/>
                      </a:lnTo>
                      <a:lnTo>
                        <a:pt x="19" y="10"/>
                      </a:lnTo>
                      <a:close/>
                      <a:moveTo>
                        <a:pt x="57" y="17"/>
                      </a:moveTo>
                      <a:lnTo>
                        <a:pt x="57" y="17"/>
                      </a:lnTo>
                      <a:lnTo>
                        <a:pt x="58" y="16"/>
                      </a:lnTo>
                      <a:lnTo>
                        <a:pt x="58" y="16"/>
                      </a:lnTo>
                      <a:lnTo>
                        <a:pt x="57" y="17"/>
                      </a:lnTo>
                      <a:close/>
                      <a:moveTo>
                        <a:pt x="57" y="17"/>
                      </a:moveTo>
                      <a:lnTo>
                        <a:pt x="57" y="17"/>
                      </a:lnTo>
                      <a:lnTo>
                        <a:pt x="57" y="1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26" name="Freeform 176"/>
                <p:cNvSpPr>
                  <a:spLocks/>
                </p:cNvSpPr>
                <p:nvPr/>
              </p:nvSpPr>
              <p:spPr bwMode="auto">
                <a:xfrm>
                  <a:off x="4884607" y="325481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27" name="Freeform 177"/>
                <p:cNvSpPr>
                  <a:spLocks/>
                </p:cNvSpPr>
                <p:nvPr/>
              </p:nvSpPr>
              <p:spPr bwMode="auto">
                <a:xfrm>
                  <a:off x="4848993" y="3251847"/>
                  <a:ext cx="9893" cy="3957"/>
                </a:xfrm>
                <a:custGeom>
                  <a:avLst/>
                  <a:gdLst>
                    <a:gd name="T0" fmla="*/ 10 w 10"/>
                    <a:gd name="T1" fmla="*/ 4 h 4"/>
                    <a:gd name="T2" fmla="*/ 10 w 10"/>
                    <a:gd name="T3" fmla="*/ 4 h 4"/>
                    <a:gd name="T4" fmla="*/ 0 w 10"/>
                    <a:gd name="T5" fmla="*/ 0 h 4"/>
                    <a:gd name="T6" fmla="*/ 0 w 10"/>
                    <a:gd name="T7" fmla="*/ 0 h 4"/>
                    <a:gd name="T8" fmla="*/ 0 w 10"/>
                    <a:gd name="T9" fmla="*/ 0 h 4"/>
                    <a:gd name="T10" fmla="*/ 6 w 10"/>
                    <a:gd name="T11" fmla="*/ 1 h 4"/>
                    <a:gd name="T12" fmla="*/ 10 w 10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4">
                      <a:moveTo>
                        <a:pt x="10" y="4"/>
                      </a:moveTo>
                      <a:lnTo>
                        <a:pt x="1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6" y="1"/>
                      </a:lnTo>
                      <a:lnTo>
                        <a:pt x="10" y="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28" name="Rectangle 178"/>
                <p:cNvSpPr>
                  <a:spLocks noChangeArrowheads="1"/>
                </p:cNvSpPr>
                <p:nvPr/>
              </p:nvSpPr>
              <p:spPr bwMode="auto">
                <a:xfrm>
                  <a:off x="4858886" y="3255804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29" name="Rectangle 179"/>
                <p:cNvSpPr>
                  <a:spLocks noChangeArrowheads="1"/>
                </p:cNvSpPr>
                <p:nvPr/>
              </p:nvSpPr>
              <p:spPr bwMode="auto">
                <a:xfrm>
                  <a:off x="4890542" y="3255804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30" name="Rectangle 180"/>
                <p:cNvSpPr>
                  <a:spLocks noChangeArrowheads="1"/>
                </p:cNvSpPr>
                <p:nvPr/>
              </p:nvSpPr>
              <p:spPr bwMode="auto">
                <a:xfrm>
                  <a:off x="4858886" y="3257782"/>
                  <a:ext cx="197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31" name="Freeform 181"/>
                <p:cNvSpPr>
                  <a:spLocks/>
                </p:cNvSpPr>
                <p:nvPr/>
              </p:nvSpPr>
              <p:spPr bwMode="auto">
                <a:xfrm>
                  <a:off x="4890542" y="3255804"/>
                  <a:ext cx="1979" cy="1979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2 h 2"/>
                    <a:gd name="T4" fmla="*/ 0 w 2"/>
                    <a:gd name="T5" fmla="*/ 0 h 2"/>
                    <a:gd name="T6" fmla="*/ 0 w 2"/>
                    <a:gd name="T7" fmla="*/ 0 h 2"/>
                    <a:gd name="T8" fmla="*/ 2 w 2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32" name="Rectangle 182"/>
                <p:cNvSpPr>
                  <a:spLocks noChangeArrowheads="1"/>
                </p:cNvSpPr>
                <p:nvPr/>
              </p:nvSpPr>
              <p:spPr bwMode="auto">
                <a:xfrm>
                  <a:off x="4892521" y="3257782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33" name="Freeform 183"/>
                <p:cNvSpPr>
                  <a:spLocks/>
                </p:cNvSpPr>
                <p:nvPr/>
              </p:nvSpPr>
              <p:spPr bwMode="auto">
                <a:xfrm>
                  <a:off x="4871746" y="3254815"/>
                  <a:ext cx="12860" cy="6925"/>
                </a:xfrm>
                <a:custGeom>
                  <a:avLst/>
                  <a:gdLst>
                    <a:gd name="T0" fmla="*/ 0 w 13"/>
                    <a:gd name="T1" fmla="*/ 7 h 7"/>
                    <a:gd name="T2" fmla="*/ 0 w 13"/>
                    <a:gd name="T3" fmla="*/ 7 h 7"/>
                    <a:gd name="T4" fmla="*/ 6 w 13"/>
                    <a:gd name="T5" fmla="*/ 3 h 7"/>
                    <a:gd name="T6" fmla="*/ 9 w 13"/>
                    <a:gd name="T7" fmla="*/ 0 h 7"/>
                    <a:gd name="T8" fmla="*/ 13 w 13"/>
                    <a:gd name="T9" fmla="*/ 0 h 7"/>
                    <a:gd name="T10" fmla="*/ 13 w 13"/>
                    <a:gd name="T11" fmla="*/ 0 h 7"/>
                    <a:gd name="T12" fmla="*/ 9 w 13"/>
                    <a:gd name="T13" fmla="*/ 0 h 7"/>
                    <a:gd name="T14" fmla="*/ 6 w 13"/>
                    <a:gd name="T15" fmla="*/ 3 h 7"/>
                    <a:gd name="T16" fmla="*/ 0 w 13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" h="7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6" y="3"/>
                      </a:lnTo>
                      <a:lnTo>
                        <a:pt x="9" y="0"/>
                      </a:lnTo>
                      <a:lnTo>
                        <a:pt x="13" y="0"/>
                      </a:lnTo>
                      <a:lnTo>
                        <a:pt x="13" y="0"/>
                      </a:lnTo>
                      <a:lnTo>
                        <a:pt x="9" y="0"/>
                      </a:lnTo>
                      <a:lnTo>
                        <a:pt x="6" y="3"/>
                      </a:lnTo>
                      <a:lnTo>
                        <a:pt x="0" y="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34" name="Rectangle 184"/>
                <p:cNvSpPr>
                  <a:spLocks noChangeArrowheads="1"/>
                </p:cNvSpPr>
                <p:nvPr/>
              </p:nvSpPr>
              <p:spPr bwMode="auto">
                <a:xfrm>
                  <a:off x="4871746" y="3261739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35" name="Rectangle 185"/>
                <p:cNvSpPr>
                  <a:spLocks noChangeArrowheads="1"/>
                </p:cNvSpPr>
                <p:nvPr/>
              </p:nvSpPr>
              <p:spPr bwMode="auto">
                <a:xfrm>
                  <a:off x="4870757" y="3261739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36" name="Rectangle 186"/>
                <p:cNvSpPr>
                  <a:spLocks noChangeArrowheads="1"/>
                </p:cNvSpPr>
                <p:nvPr/>
              </p:nvSpPr>
              <p:spPr bwMode="auto">
                <a:xfrm>
                  <a:off x="4870757" y="3261739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37" name="Rectangle 187"/>
                <p:cNvSpPr>
                  <a:spLocks noChangeArrowheads="1"/>
                </p:cNvSpPr>
                <p:nvPr/>
              </p:nvSpPr>
              <p:spPr bwMode="auto">
                <a:xfrm>
                  <a:off x="4867789" y="3261739"/>
                  <a:ext cx="2968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38" name="Freeform 188"/>
                <p:cNvSpPr>
                  <a:spLocks/>
                </p:cNvSpPr>
                <p:nvPr/>
              </p:nvSpPr>
              <p:spPr bwMode="auto">
                <a:xfrm>
                  <a:off x="4867789" y="326173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39" name="Freeform 189"/>
                <p:cNvSpPr>
                  <a:spLocks/>
                </p:cNvSpPr>
                <p:nvPr/>
              </p:nvSpPr>
              <p:spPr bwMode="auto">
                <a:xfrm>
                  <a:off x="4905381" y="3267675"/>
                  <a:ext cx="989" cy="989"/>
                </a:xfrm>
                <a:custGeom>
                  <a:avLst/>
                  <a:gdLst>
                    <a:gd name="T0" fmla="*/ 0 w 1"/>
                    <a:gd name="T1" fmla="*/ 1 h 1"/>
                    <a:gd name="T2" fmla="*/ 0 w 1"/>
                    <a:gd name="T3" fmla="*/ 1 h 1"/>
                    <a:gd name="T4" fmla="*/ 1 w 1"/>
                    <a:gd name="T5" fmla="*/ 0 h 1"/>
                    <a:gd name="T6" fmla="*/ 1 w 1"/>
                    <a:gd name="T7" fmla="*/ 0 h 1"/>
                    <a:gd name="T8" fmla="*/ 0 w 1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40" name="Freeform 190"/>
                <p:cNvSpPr>
                  <a:spLocks/>
                </p:cNvSpPr>
                <p:nvPr/>
              </p:nvSpPr>
              <p:spPr bwMode="auto">
                <a:xfrm>
                  <a:off x="4905381" y="3268664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41" name="Freeform 191"/>
                <p:cNvSpPr>
                  <a:spLocks noEditPoints="1"/>
                </p:cNvSpPr>
                <p:nvPr/>
              </p:nvSpPr>
              <p:spPr bwMode="auto">
                <a:xfrm>
                  <a:off x="4711486" y="3245911"/>
                  <a:ext cx="137507" cy="24731"/>
                </a:xfrm>
                <a:custGeom>
                  <a:avLst/>
                  <a:gdLst>
                    <a:gd name="T0" fmla="*/ 139 w 139"/>
                    <a:gd name="T1" fmla="*/ 6 h 25"/>
                    <a:gd name="T2" fmla="*/ 139 w 139"/>
                    <a:gd name="T3" fmla="*/ 6 h 25"/>
                    <a:gd name="T4" fmla="*/ 128 w 139"/>
                    <a:gd name="T5" fmla="*/ 2 h 25"/>
                    <a:gd name="T6" fmla="*/ 119 w 139"/>
                    <a:gd name="T7" fmla="*/ 0 h 25"/>
                    <a:gd name="T8" fmla="*/ 119 w 139"/>
                    <a:gd name="T9" fmla="*/ 0 h 25"/>
                    <a:gd name="T10" fmla="*/ 128 w 139"/>
                    <a:gd name="T11" fmla="*/ 2 h 25"/>
                    <a:gd name="T12" fmla="*/ 139 w 139"/>
                    <a:gd name="T13" fmla="*/ 6 h 25"/>
                    <a:gd name="T14" fmla="*/ 139 w 139"/>
                    <a:gd name="T15" fmla="*/ 6 h 25"/>
                    <a:gd name="T16" fmla="*/ 96 w 139"/>
                    <a:gd name="T17" fmla="*/ 7 h 25"/>
                    <a:gd name="T18" fmla="*/ 96 w 139"/>
                    <a:gd name="T19" fmla="*/ 7 h 25"/>
                    <a:gd name="T20" fmla="*/ 89 w 139"/>
                    <a:gd name="T21" fmla="*/ 6 h 25"/>
                    <a:gd name="T22" fmla="*/ 81 w 139"/>
                    <a:gd name="T23" fmla="*/ 6 h 25"/>
                    <a:gd name="T24" fmla="*/ 81 w 139"/>
                    <a:gd name="T25" fmla="*/ 6 h 25"/>
                    <a:gd name="T26" fmla="*/ 89 w 139"/>
                    <a:gd name="T27" fmla="*/ 6 h 25"/>
                    <a:gd name="T28" fmla="*/ 96 w 139"/>
                    <a:gd name="T29" fmla="*/ 7 h 25"/>
                    <a:gd name="T30" fmla="*/ 102 w 139"/>
                    <a:gd name="T31" fmla="*/ 9 h 25"/>
                    <a:gd name="T32" fmla="*/ 102 w 139"/>
                    <a:gd name="T33" fmla="*/ 9 h 25"/>
                    <a:gd name="T34" fmla="*/ 104 w 139"/>
                    <a:gd name="T35" fmla="*/ 7 h 25"/>
                    <a:gd name="T36" fmla="*/ 109 w 139"/>
                    <a:gd name="T37" fmla="*/ 6 h 25"/>
                    <a:gd name="T38" fmla="*/ 109 w 139"/>
                    <a:gd name="T39" fmla="*/ 6 h 25"/>
                    <a:gd name="T40" fmla="*/ 104 w 139"/>
                    <a:gd name="T41" fmla="*/ 7 h 25"/>
                    <a:gd name="T42" fmla="*/ 102 w 139"/>
                    <a:gd name="T43" fmla="*/ 9 h 25"/>
                    <a:gd name="T44" fmla="*/ 102 w 139"/>
                    <a:gd name="T45" fmla="*/ 9 h 25"/>
                    <a:gd name="T46" fmla="*/ 102 w 139"/>
                    <a:gd name="T47" fmla="*/ 9 h 25"/>
                    <a:gd name="T48" fmla="*/ 102 w 139"/>
                    <a:gd name="T49" fmla="*/ 9 h 25"/>
                    <a:gd name="T50" fmla="*/ 12 w 139"/>
                    <a:gd name="T51" fmla="*/ 9 h 25"/>
                    <a:gd name="T52" fmla="*/ 12 w 139"/>
                    <a:gd name="T53" fmla="*/ 9 h 25"/>
                    <a:gd name="T54" fmla="*/ 12 w 139"/>
                    <a:gd name="T55" fmla="*/ 9 h 25"/>
                    <a:gd name="T56" fmla="*/ 7 w 139"/>
                    <a:gd name="T57" fmla="*/ 9 h 25"/>
                    <a:gd name="T58" fmla="*/ 7 w 139"/>
                    <a:gd name="T59" fmla="*/ 9 h 25"/>
                    <a:gd name="T60" fmla="*/ 12 w 139"/>
                    <a:gd name="T61" fmla="*/ 9 h 25"/>
                    <a:gd name="T62" fmla="*/ 12 w 139"/>
                    <a:gd name="T63" fmla="*/ 9 h 25"/>
                    <a:gd name="T64" fmla="*/ 7 w 139"/>
                    <a:gd name="T65" fmla="*/ 9 h 25"/>
                    <a:gd name="T66" fmla="*/ 7 w 139"/>
                    <a:gd name="T67" fmla="*/ 9 h 25"/>
                    <a:gd name="T68" fmla="*/ 7 w 139"/>
                    <a:gd name="T69" fmla="*/ 9 h 25"/>
                    <a:gd name="T70" fmla="*/ 7 w 139"/>
                    <a:gd name="T71" fmla="*/ 9 h 25"/>
                    <a:gd name="T72" fmla="*/ 7 w 139"/>
                    <a:gd name="T73" fmla="*/ 9 h 25"/>
                    <a:gd name="T74" fmla="*/ 7 w 139"/>
                    <a:gd name="T75" fmla="*/ 9 h 25"/>
                    <a:gd name="T76" fmla="*/ 0 w 139"/>
                    <a:gd name="T77" fmla="*/ 25 h 25"/>
                    <a:gd name="T78" fmla="*/ 0 w 139"/>
                    <a:gd name="T79" fmla="*/ 25 h 25"/>
                    <a:gd name="T80" fmla="*/ 3 w 139"/>
                    <a:gd name="T81" fmla="*/ 15 h 25"/>
                    <a:gd name="T82" fmla="*/ 6 w 139"/>
                    <a:gd name="T83" fmla="*/ 10 h 25"/>
                    <a:gd name="T84" fmla="*/ 7 w 139"/>
                    <a:gd name="T85" fmla="*/ 9 h 25"/>
                    <a:gd name="T86" fmla="*/ 7 w 139"/>
                    <a:gd name="T87" fmla="*/ 9 h 25"/>
                    <a:gd name="T88" fmla="*/ 6 w 139"/>
                    <a:gd name="T89" fmla="*/ 10 h 25"/>
                    <a:gd name="T90" fmla="*/ 3 w 139"/>
                    <a:gd name="T91" fmla="*/ 15 h 25"/>
                    <a:gd name="T92" fmla="*/ 0 w 139"/>
                    <a:gd name="T93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39" h="25">
                      <a:moveTo>
                        <a:pt x="139" y="6"/>
                      </a:moveTo>
                      <a:lnTo>
                        <a:pt x="139" y="6"/>
                      </a:lnTo>
                      <a:lnTo>
                        <a:pt x="128" y="2"/>
                      </a:lnTo>
                      <a:lnTo>
                        <a:pt x="119" y="0"/>
                      </a:lnTo>
                      <a:lnTo>
                        <a:pt x="119" y="0"/>
                      </a:lnTo>
                      <a:lnTo>
                        <a:pt x="128" y="2"/>
                      </a:lnTo>
                      <a:lnTo>
                        <a:pt x="139" y="6"/>
                      </a:lnTo>
                      <a:lnTo>
                        <a:pt x="139" y="6"/>
                      </a:lnTo>
                      <a:close/>
                      <a:moveTo>
                        <a:pt x="96" y="7"/>
                      </a:moveTo>
                      <a:lnTo>
                        <a:pt x="96" y="7"/>
                      </a:lnTo>
                      <a:lnTo>
                        <a:pt x="89" y="6"/>
                      </a:lnTo>
                      <a:lnTo>
                        <a:pt x="81" y="6"/>
                      </a:lnTo>
                      <a:lnTo>
                        <a:pt x="81" y="6"/>
                      </a:lnTo>
                      <a:lnTo>
                        <a:pt x="89" y="6"/>
                      </a:lnTo>
                      <a:lnTo>
                        <a:pt x="96" y="7"/>
                      </a:lnTo>
                      <a:close/>
                      <a:moveTo>
                        <a:pt x="102" y="9"/>
                      </a:moveTo>
                      <a:lnTo>
                        <a:pt x="102" y="9"/>
                      </a:lnTo>
                      <a:lnTo>
                        <a:pt x="104" y="7"/>
                      </a:lnTo>
                      <a:lnTo>
                        <a:pt x="109" y="6"/>
                      </a:lnTo>
                      <a:lnTo>
                        <a:pt x="109" y="6"/>
                      </a:lnTo>
                      <a:lnTo>
                        <a:pt x="104" y="7"/>
                      </a:lnTo>
                      <a:lnTo>
                        <a:pt x="102" y="9"/>
                      </a:lnTo>
                      <a:close/>
                      <a:moveTo>
                        <a:pt x="102" y="9"/>
                      </a:moveTo>
                      <a:lnTo>
                        <a:pt x="102" y="9"/>
                      </a:lnTo>
                      <a:lnTo>
                        <a:pt x="102" y="9"/>
                      </a:lnTo>
                      <a:close/>
                      <a:moveTo>
                        <a:pt x="12" y="9"/>
                      </a:moveTo>
                      <a:lnTo>
                        <a:pt x="12" y="9"/>
                      </a:lnTo>
                      <a:lnTo>
                        <a:pt x="12" y="9"/>
                      </a:lnTo>
                      <a:close/>
                      <a:moveTo>
                        <a:pt x="7" y="9"/>
                      </a:moveTo>
                      <a:lnTo>
                        <a:pt x="7" y="9"/>
                      </a:lnTo>
                      <a:lnTo>
                        <a:pt x="12" y="9"/>
                      </a:lnTo>
                      <a:lnTo>
                        <a:pt x="12" y="9"/>
                      </a:lnTo>
                      <a:lnTo>
                        <a:pt x="7" y="9"/>
                      </a:lnTo>
                      <a:close/>
                      <a:moveTo>
                        <a:pt x="7" y="9"/>
                      </a:move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7" y="9"/>
                      </a:lnTo>
                      <a:close/>
                      <a:moveTo>
                        <a:pt x="0" y="25"/>
                      </a:moveTo>
                      <a:lnTo>
                        <a:pt x="0" y="25"/>
                      </a:lnTo>
                      <a:lnTo>
                        <a:pt x="3" y="15"/>
                      </a:lnTo>
                      <a:lnTo>
                        <a:pt x="6" y="10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6" y="10"/>
                      </a:lnTo>
                      <a:lnTo>
                        <a:pt x="3" y="15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42" name="Freeform 192"/>
                <p:cNvSpPr>
                  <a:spLocks/>
                </p:cNvSpPr>
                <p:nvPr/>
              </p:nvSpPr>
              <p:spPr bwMode="auto">
                <a:xfrm>
                  <a:off x="4829208" y="3245911"/>
                  <a:ext cx="19785" cy="5936"/>
                </a:xfrm>
                <a:custGeom>
                  <a:avLst/>
                  <a:gdLst>
                    <a:gd name="T0" fmla="*/ 20 w 20"/>
                    <a:gd name="T1" fmla="*/ 6 h 6"/>
                    <a:gd name="T2" fmla="*/ 20 w 20"/>
                    <a:gd name="T3" fmla="*/ 6 h 6"/>
                    <a:gd name="T4" fmla="*/ 9 w 20"/>
                    <a:gd name="T5" fmla="*/ 2 h 6"/>
                    <a:gd name="T6" fmla="*/ 0 w 20"/>
                    <a:gd name="T7" fmla="*/ 0 h 6"/>
                    <a:gd name="T8" fmla="*/ 0 w 20"/>
                    <a:gd name="T9" fmla="*/ 0 h 6"/>
                    <a:gd name="T10" fmla="*/ 9 w 20"/>
                    <a:gd name="T11" fmla="*/ 2 h 6"/>
                    <a:gd name="T12" fmla="*/ 20 w 20"/>
                    <a:gd name="T13" fmla="*/ 6 h 6"/>
                    <a:gd name="T14" fmla="*/ 20 w 20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" h="6">
                      <a:moveTo>
                        <a:pt x="20" y="6"/>
                      </a:moveTo>
                      <a:lnTo>
                        <a:pt x="20" y="6"/>
                      </a:lnTo>
                      <a:lnTo>
                        <a:pt x="9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9" y="2"/>
                      </a:lnTo>
                      <a:lnTo>
                        <a:pt x="20" y="6"/>
                      </a:lnTo>
                      <a:lnTo>
                        <a:pt x="20" y="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43" name="Freeform 193"/>
                <p:cNvSpPr>
                  <a:spLocks/>
                </p:cNvSpPr>
                <p:nvPr/>
              </p:nvSpPr>
              <p:spPr bwMode="auto">
                <a:xfrm>
                  <a:off x="4791616" y="3251847"/>
                  <a:ext cx="14839" cy="989"/>
                </a:xfrm>
                <a:custGeom>
                  <a:avLst/>
                  <a:gdLst>
                    <a:gd name="T0" fmla="*/ 15 w 15"/>
                    <a:gd name="T1" fmla="*/ 1 h 1"/>
                    <a:gd name="T2" fmla="*/ 15 w 15"/>
                    <a:gd name="T3" fmla="*/ 1 h 1"/>
                    <a:gd name="T4" fmla="*/ 8 w 15"/>
                    <a:gd name="T5" fmla="*/ 0 h 1"/>
                    <a:gd name="T6" fmla="*/ 0 w 15"/>
                    <a:gd name="T7" fmla="*/ 0 h 1"/>
                    <a:gd name="T8" fmla="*/ 0 w 15"/>
                    <a:gd name="T9" fmla="*/ 0 h 1"/>
                    <a:gd name="T10" fmla="*/ 8 w 15"/>
                    <a:gd name="T11" fmla="*/ 0 h 1"/>
                    <a:gd name="T12" fmla="*/ 15 w 15"/>
                    <a:gd name="T1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1">
                      <a:moveTo>
                        <a:pt x="15" y="1"/>
                      </a:moveTo>
                      <a:lnTo>
                        <a:pt x="15" y="1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5" y="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44" name="Freeform 194"/>
                <p:cNvSpPr>
                  <a:spLocks/>
                </p:cNvSpPr>
                <p:nvPr/>
              </p:nvSpPr>
              <p:spPr bwMode="auto">
                <a:xfrm>
                  <a:off x="4812391" y="3251847"/>
                  <a:ext cx="6925" cy="2968"/>
                </a:xfrm>
                <a:custGeom>
                  <a:avLst/>
                  <a:gdLst>
                    <a:gd name="T0" fmla="*/ 0 w 7"/>
                    <a:gd name="T1" fmla="*/ 3 h 3"/>
                    <a:gd name="T2" fmla="*/ 0 w 7"/>
                    <a:gd name="T3" fmla="*/ 3 h 3"/>
                    <a:gd name="T4" fmla="*/ 2 w 7"/>
                    <a:gd name="T5" fmla="*/ 1 h 3"/>
                    <a:gd name="T6" fmla="*/ 7 w 7"/>
                    <a:gd name="T7" fmla="*/ 0 h 3"/>
                    <a:gd name="T8" fmla="*/ 7 w 7"/>
                    <a:gd name="T9" fmla="*/ 0 h 3"/>
                    <a:gd name="T10" fmla="*/ 2 w 7"/>
                    <a:gd name="T11" fmla="*/ 1 h 3"/>
                    <a:gd name="T12" fmla="*/ 0 w 7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3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2" y="1"/>
                      </a:lnTo>
                      <a:lnTo>
                        <a:pt x="0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45" name="Freeform 195"/>
                <p:cNvSpPr>
                  <a:spLocks/>
                </p:cNvSpPr>
                <p:nvPr/>
              </p:nvSpPr>
              <p:spPr bwMode="auto">
                <a:xfrm>
                  <a:off x="4812391" y="325481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46" name="Freeform 196"/>
                <p:cNvSpPr>
                  <a:spLocks/>
                </p:cNvSpPr>
                <p:nvPr/>
              </p:nvSpPr>
              <p:spPr bwMode="auto">
                <a:xfrm>
                  <a:off x="4723357" y="325481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47" name="Rectangle 197"/>
                <p:cNvSpPr>
                  <a:spLocks noChangeArrowheads="1"/>
                </p:cNvSpPr>
                <p:nvPr/>
              </p:nvSpPr>
              <p:spPr bwMode="auto">
                <a:xfrm>
                  <a:off x="4718411" y="3254815"/>
                  <a:ext cx="4946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48" name="Rectangle 198"/>
                <p:cNvSpPr>
                  <a:spLocks noChangeArrowheads="1"/>
                </p:cNvSpPr>
                <p:nvPr/>
              </p:nvSpPr>
              <p:spPr bwMode="auto">
                <a:xfrm>
                  <a:off x="4718411" y="3254815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49" name="Freeform 199"/>
                <p:cNvSpPr>
                  <a:spLocks/>
                </p:cNvSpPr>
                <p:nvPr/>
              </p:nvSpPr>
              <p:spPr bwMode="auto">
                <a:xfrm>
                  <a:off x="4711486" y="3254815"/>
                  <a:ext cx="6925" cy="15828"/>
                </a:xfrm>
                <a:custGeom>
                  <a:avLst/>
                  <a:gdLst>
                    <a:gd name="T0" fmla="*/ 0 w 7"/>
                    <a:gd name="T1" fmla="*/ 16 h 16"/>
                    <a:gd name="T2" fmla="*/ 0 w 7"/>
                    <a:gd name="T3" fmla="*/ 16 h 16"/>
                    <a:gd name="T4" fmla="*/ 3 w 7"/>
                    <a:gd name="T5" fmla="*/ 6 h 16"/>
                    <a:gd name="T6" fmla="*/ 6 w 7"/>
                    <a:gd name="T7" fmla="*/ 1 h 16"/>
                    <a:gd name="T8" fmla="*/ 7 w 7"/>
                    <a:gd name="T9" fmla="*/ 0 h 16"/>
                    <a:gd name="T10" fmla="*/ 7 w 7"/>
                    <a:gd name="T11" fmla="*/ 0 h 16"/>
                    <a:gd name="T12" fmla="*/ 6 w 7"/>
                    <a:gd name="T13" fmla="*/ 1 h 16"/>
                    <a:gd name="T14" fmla="*/ 3 w 7"/>
                    <a:gd name="T15" fmla="*/ 6 h 16"/>
                    <a:gd name="T16" fmla="*/ 0 w 7"/>
                    <a:gd name="T17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16">
                      <a:moveTo>
                        <a:pt x="0" y="16"/>
                      </a:moveTo>
                      <a:lnTo>
                        <a:pt x="0" y="16"/>
                      </a:lnTo>
                      <a:lnTo>
                        <a:pt x="3" y="6"/>
                      </a:lnTo>
                      <a:lnTo>
                        <a:pt x="6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6" y="1"/>
                      </a:lnTo>
                      <a:lnTo>
                        <a:pt x="3" y="6"/>
                      </a:lnTo>
                      <a:lnTo>
                        <a:pt x="0" y="1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50" name="Freeform 200"/>
                <p:cNvSpPr>
                  <a:spLocks noEditPoints="1"/>
                </p:cNvSpPr>
                <p:nvPr/>
              </p:nvSpPr>
              <p:spPr bwMode="auto">
                <a:xfrm>
                  <a:off x="4829208" y="324591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51" name="Freeform 201"/>
                <p:cNvSpPr>
                  <a:spLocks/>
                </p:cNvSpPr>
                <p:nvPr/>
              </p:nvSpPr>
              <p:spPr bwMode="auto">
                <a:xfrm>
                  <a:off x="4829208" y="324591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52" name="Freeform 202"/>
                <p:cNvSpPr>
                  <a:spLocks/>
                </p:cNvSpPr>
                <p:nvPr/>
              </p:nvSpPr>
              <p:spPr bwMode="auto">
                <a:xfrm>
                  <a:off x="4829208" y="324591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53" name="Freeform 203"/>
                <p:cNvSpPr>
                  <a:spLocks/>
                </p:cNvSpPr>
                <p:nvPr/>
              </p:nvSpPr>
              <p:spPr bwMode="auto">
                <a:xfrm>
                  <a:off x="4829208" y="324591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54" name="Freeform 204"/>
                <p:cNvSpPr>
                  <a:spLocks/>
                </p:cNvSpPr>
                <p:nvPr/>
              </p:nvSpPr>
              <p:spPr bwMode="auto">
                <a:xfrm>
                  <a:off x="4829208" y="324591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55" name="Freeform 206"/>
                <p:cNvSpPr>
                  <a:spLocks noEditPoints="1"/>
                </p:cNvSpPr>
                <p:nvPr/>
              </p:nvSpPr>
              <p:spPr bwMode="auto">
                <a:xfrm>
                  <a:off x="4628388" y="3270643"/>
                  <a:ext cx="83098" cy="135529"/>
                </a:xfrm>
                <a:custGeom>
                  <a:avLst/>
                  <a:gdLst>
                    <a:gd name="T0" fmla="*/ 77 w 84"/>
                    <a:gd name="T1" fmla="*/ 23 h 137"/>
                    <a:gd name="T2" fmla="*/ 77 w 84"/>
                    <a:gd name="T3" fmla="*/ 23 h 137"/>
                    <a:gd name="T4" fmla="*/ 80 w 84"/>
                    <a:gd name="T5" fmla="*/ 14 h 137"/>
                    <a:gd name="T6" fmla="*/ 84 w 84"/>
                    <a:gd name="T7" fmla="*/ 0 h 137"/>
                    <a:gd name="T8" fmla="*/ 84 w 84"/>
                    <a:gd name="T9" fmla="*/ 0 h 137"/>
                    <a:gd name="T10" fmla="*/ 80 w 84"/>
                    <a:gd name="T11" fmla="*/ 14 h 137"/>
                    <a:gd name="T12" fmla="*/ 77 w 84"/>
                    <a:gd name="T13" fmla="*/ 23 h 137"/>
                    <a:gd name="T14" fmla="*/ 0 w 84"/>
                    <a:gd name="T15" fmla="*/ 137 h 137"/>
                    <a:gd name="T16" fmla="*/ 0 w 84"/>
                    <a:gd name="T17" fmla="*/ 137 h 137"/>
                    <a:gd name="T18" fmla="*/ 0 w 84"/>
                    <a:gd name="T19" fmla="*/ 137 h 137"/>
                    <a:gd name="T20" fmla="*/ 0 w 84"/>
                    <a:gd name="T21" fmla="*/ 137 h 137"/>
                    <a:gd name="T22" fmla="*/ 0 w 84"/>
                    <a:gd name="T23" fmla="*/ 137 h 137"/>
                    <a:gd name="T24" fmla="*/ 0 w 84"/>
                    <a:gd name="T25" fmla="*/ 137 h 137"/>
                    <a:gd name="T26" fmla="*/ 0 w 84"/>
                    <a:gd name="T27" fmla="*/ 137 h 137"/>
                    <a:gd name="T28" fmla="*/ 0 w 84"/>
                    <a:gd name="T29" fmla="*/ 137 h 137"/>
                    <a:gd name="T30" fmla="*/ 0 w 84"/>
                    <a:gd name="T31" fmla="*/ 137 h 137"/>
                    <a:gd name="T32" fmla="*/ 0 w 84"/>
                    <a:gd name="T33" fmla="*/ 137 h 137"/>
                    <a:gd name="T34" fmla="*/ 0 w 84"/>
                    <a:gd name="T35" fmla="*/ 137 h 137"/>
                    <a:gd name="T36" fmla="*/ 0 w 84"/>
                    <a:gd name="T37" fmla="*/ 137 h 137"/>
                    <a:gd name="T38" fmla="*/ 0 w 84"/>
                    <a:gd name="T39" fmla="*/ 137 h 137"/>
                    <a:gd name="T40" fmla="*/ 0 w 84"/>
                    <a:gd name="T41" fmla="*/ 137 h 137"/>
                    <a:gd name="T42" fmla="*/ 0 w 84"/>
                    <a:gd name="T43" fmla="*/ 137 h 137"/>
                    <a:gd name="T44" fmla="*/ 0 w 84"/>
                    <a:gd name="T45" fmla="*/ 137 h 137"/>
                    <a:gd name="T46" fmla="*/ 0 w 84"/>
                    <a:gd name="T47" fmla="*/ 137 h 137"/>
                    <a:gd name="T48" fmla="*/ 0 w 84"/>
                    <a:gd name="T49" fmla="*/ 137 h 137"/>
                    <a:gd name="T50" fmla="*/ 0 w 84"/>
                    <a:gd name="T51" fmla="*/ 137 h 137"/>
                    <a:gd name="T52" fmla="*/ 5 w 84"/>
                    <a:gd name="T53" fmla="*/ 137 h 137"/>
                    <a:gd name="T54" fmla="*/ 5 w 84"/>
                    <a:gd name="T55" fmla="*/ 137 h 137"/>
                    <a:gd name="T56" fmla="*/ 0 w 84"/>
                    <a:gd name="T57" fmla="*/ 137 h 137"/>
                    <a:gd name="T58" fmla="*/ 0 w 84"/>
                    <a:gd name="T59" fmla="*/ 137 h 137"/>
                    <a:gd name="T60" fmla="*/ 5 w 84"/>
                    <a:gd name="T61" fmla="*/ 137 h 137"/>
                    <a:gd name="T62" fmla="*/ 13 w 84"/>
                    <a:gd name="T63" fmla="*/ 137 h 137"/>
                    <a:gd name="T64" fmla="*/ 13 w 84"/>
                    <a:gd name="T65" fmla="*/ 137 h 137"/>
                    <a:gd name="T66" fmla="*/ 20 w 84"/>
                    <a:gd name="T67" fmla="*/ 137 h 137"/>
                    <a:gd name="T68" fmla="*/ 22 w 84"/>
                    <a:gd name="T69" fmla="*/ 136 h 137"/>
                    <a:gd name="T70" fmla="*/ 23 w 84"/>
                    <a:gd name="T71" fmla="*/ 134 h 137"/>
                    <a:gd name="T72" fmla="*/ 23 w 84"/>
                    <a:gd name="T73" fmla="*/ 134 h 137"/>
                    <a:gd name="T74" fmla="*/ 22 w 84"/>
                    <a:gd name="T75" fmla="*/ 136 h 137"/>
                    <a:gd name="T76" fmla="*/ 20 w 84"/>
                    <a:gd name="T77" fmla="*/ 137 h 137"/>
                    <a:gd name="T78" fmla="*/ 13 w 84"/>
                    <a:gd name="T79" fmla="*/ 137 h 137"/>
                    <a:gd name="T80" fmla="*/ 13 w 84"/>
                    <a:gd name="T81" fmla="*/ 137 h 137"/>
                    <a:gd name="T82" fmla="*/ 13 w 84"/>
                    <a:gd name="T83" fmla="*/ 137 h 137"/>
                    <a:gd name="T84" fmla="*/ 13 w 84"/>
                    <a:gd name="T85" fmla="*/ 137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84" h="137">
                      <a:moveTo>
                        <a:pt x="77" y="23"/>
                      </a:moveTo>
                      <a:lnTo>
                        <a:pt x="77" y="23"/>
                      </a:lnTo>
                      <a:lnTo>
                        <a:pt x="80" y="14"/>
                      </a:lnTo>
                      <a:lnTo>
                        <a:pt x="84" y="0"/>
                      </a:lnTo>
                      <a:lnTo>
                        <a:pt x="84" y="0"/>
                      </a:lnTo>
                      <a:lnTo>
                        <a:pt x="80" y="14"/>
                      </a:lnTo>
                      <a:lnTo>
                        <a:pt x="77" y="23"/>
                      </a:lnTo>
                      <a:close/>
                      <a:moveTo>
                        <a:pt x="0" y="137"/>
                      </a:moveTo>
                      <a:lnTo>
                        <a:pt x="0" y="137"/>
                      </a:lnTo>
                      <a:close/>
                      <a:moveTo>
                        <a:pt x="0" y="137"/>
                      </a:moveTo>
                      <a:lnTo>
                        <a:pt x="0" y="137"/>
                      </a:lnTo>
                      <a:lnTo>
                        <a:pt x="0" y="137"/>
                      </a:lnTo>
                      <a:close/>
                      <a:moveTo>
                        <a:pt x="0" y="137"/>
                      </a:moveTo>
                      <a:lnTo>
                        <a:pt x="0" y="137"/>
                      </a:lnTo>
                      <a:close/>
                      <a:moveTo>
                        <a:pt x="0" y="137"/>
                      </a:moveTo>
                      <a:lnTo>
                        <a:pt x="0" y="137"/>
                      </a:lnTo>
                      <a:lnTo>
                        <a:pt x="0" y="137"/>
                      </a:lnTo>
                      <a:close/>
                      <a:moveTo>
                        <a:pt x="0" y="137"/>
                      </a:moveTo>
                      <a:lnTo>
                        <a:pt x="0" y="137"/>
                      </a:lnTo>
                      <a:lnTo>
                        <a:pt x="0" y="137"/>
                      </a:lnTo>
                      <a:close/>
                      <a:moveTo>
                        <a:pt x="0" y="137"/>
                      </a:moveTo>
                      <a:lnTo>
                        <a:pt x="0" y="137"/>
                      </a:lnTo>
                      <a:lnTo>
                        <a:pt x="0" y="137"/>
                      </a:lnTo>
                      <a:close/>
                      <a:moveTo>
                        <a:pt x="0" y="137"/>
                      </a:moveTo>
                      <a:lnTo>
                        <a:pt x="0" y="137"/>
                      </a:lnTo>
                      <a:lnTo>
                        <a:pt x="0" y="137"/>
                      </a:lnTo>
                      <a:close/>
                      <a:moveTo>
                        <a:pt x="5" y="137"/>
                      </a:moveTo>
                      <a:lnTo>
                        <a:pt x="5" y="137"/>
                      </a:lnTo>
                      <a:lnTo>
                        <a:pt x="0" y="137"/>
                      </a:lnTo>
                      <a:lnTo>
                        <a:pt x="0" y="137"/>
                      </a:lnTo>
                      <a:lnTo>
                        <a:pt x="5" y="137"/>
                      </a:lnTo>
                      <a:close/>
                      <a:moveTo>
                        <a:pt x="13" y="137"/>
                      </a:moveTo>
                      <a:lnTo>
                        <a:pt x="13" y="137"/>
                      </a:lnTo>
                      <a:lnTo>
                        <a:pt x="20" y="137"/>
                      </a:lnTo>
                      <a:lnTo>
                        <a:pt x="22" y="136"/>
                      </a:lnTo>
                      <a:lnTo>
                        <a:pt x="23" y="134"/>
                      </a:lnTo>
                      <a:lnTo>
                        <a:pt x="23" y="134"/>
                      </a:lnTo>
                      <a:lnTo>
                        <a:pt x="22" y="136"/>
                      </a:lnTo>
                      <a:lnTo>
                        <a:pt x="20" y="137"/>
                      </a:lnTo>
                      <a:lnTo>
                        <a:pt x="13" y="137"/>
                      </a:lnTo>
                      <a:close/>
                      <a:moveTo>
                        <a:pt x="13" y="137"/>
                      </a:moveTo>
                      <a:lnTo>
                        <a:pt x="13" y="137"/>
                      </a:lnTo>
                      <a:lnTo>
                        <a:pt x="13" y="13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56" name="Freeform 207"/>
                <p:cNvSpPr>
                  <a:spLocks/>
                </p:cNvSpPr>
                <p:nvPr/>
              </p:nvSpPr>
              <p:spPr bwMode="auto">
                <a:xfrm>
                  <a:off x="4704561" y="3270643"/>
                  <a:ext cx="6925" cy="22753"/>
                </a:xfrm>
                <a:custGeom>
                  <a:avLst/>
                  <a:gdLst>
                    <a:gd name="T0" fmla="*/ 0 w 7"/>
                    <a:gd name="T1" fmla="*/ 23 h 23"/>
                    <a:gd name="T2" fmla="*/ 0 w 7"/>
                    <a:gd name="T3" fmla="*/ 23 h 23"/>
                    <a:gd name="T4" fmla="*/ 3 w 7"/>
                    <a:gd name="T5" fmla="*/ 14 h 23"/>
                    <a:gd name="T6" fmla="*/ 7 w 7"/>
                    <a:gd name="T7" fmla="*/ 0 h 23"/>
                    <a:gd name="T8" fmla="*/ 7 w 7"/>
                    <a:gd name="T9" fmla="*/ 0 h 23"/>
                    <a:gd name="T10" fmla="*/ 3 w 7"/>
                    <a:gd name="T11" fmla="*/ 14 h 23"/>
                    <a:gd name="T12" fmla="*/ 0 w 7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23">
                      <a:moveTo>
                        <a:pt x="0" y="23"/>
                      </a:moveTo>
                      <a:lnTo>
                        <a:pt x="0" y="23"/>
                      </a:lnTo>
                      <a:lnTo>
                        <a:pt x="3" y="14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3" y="14"/>
                      </a:lnTo>
                      <a:lnTo>
                        <a:pt x="0" y="2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57" name="Line 208"/>
                <p:cNvSpPr>
                  <a:spLocks noChangeShapeType="1"/>
                </p:cNvSpPr>
                <p:nvPr/>
              </p:nvSpPr>
              <p:spPr bwMode="auto">
                <a:xfrm>
                  <a:off x="4628388" y="3406171"/>
                  <a:ext cx="0" cy="0"/>
                </a:xfrm>
                <a:prstGeom prst="line">
                  <a:avLst/>
                </a:pr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58" name="Freeform 209"/>
                <p:cNvSpPr>
                  <a:spLocks/>
                </p:cNvSpPr>
                <p:nvPr/>
              </p:nvSpPr>
              <p:spPr bwMode="auto">
                <a:xfrm>
                  <a:off x="4628388" y="340617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59" name="Line 210"/>
                <p:cNvSpPr>
                  <a:spLocks noChangeShapeType="1"/>
                </p:cNvSpPr>
                <p:nvPr/>
              </p:nvSpPr>
              <p:spPr bwMode="auto">
                <a:xfrm>
                  <a:off x="4628388" y="3406171"/>
                  <a:ext cx="0" cy="0"/>
                </a:xfrm>
                <a:prstGeom prst="line">
                  <a:avLst/>
                </a:pr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60" name="Freeform 211"/>
                <p:cNvSpPr>
                  <a:spLocks/>
                </p:cNvSpPr>
                <p:nvPr/>
              </p:nvSpPr>
              <p:spPr bwMode="auto">
                <a:xfrm>
                  <a:off x="4628388" y="340617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61" name="Freeform 212"/>
                <p:cNvSpPr>
                  <a:spLocks/>
                </p:cNvSpPr>
                <p:nvPr/>
              </p:nvSpPr>
              <p:spPr bwMode="auto">
                <a:xfrm>
                  <a:off x="4628388" y="340617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62" name="Freeform 213"/>
                <p:cNvSpPr>
                  <a:spLocks/>
                </p:cNvSpPr>
                <p:nvPr/>
              </p:nvSpPr>
              <p:spPr bwMode="auto">
                <a:xfrm>
                  <a:off x="4628388" y="340617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63" name="Freeform 214"/>
                <p:cNvSpPr>
                  <a:spLocks/>
                </p:cNvSpPr>
                <p:nvPr/>
              </p:nvSpPr>
              <p:spPr bwMode="auto">
                <a:xfrm>
                  <a:off x="4628388" y="340617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64" name="Rectangle 215"/>
                <p:cNvSpPr>
                  <a:spLocks noChangeArrowheads="1"/>
                </p:cNvSpPr>
                <p:nvPr/>
              </p:nvSpPr>
              <p:spPr bwMode="auto">
                <a:xfrm>
                  <a:off x="4628388" y="3406171"/>
                  <a:ext cx="4946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65" name="Freeform 216"/>
                <p:cNvSpPr>
                  <a:spLocks/>
                </p:cNvSpPr>
                <p:nvPr/>
              </p:nvSpPr>
              <p:spPr bwMode="auto">
                <a:xfrm>
                  <a:off x="4641248" y="3403204"/>
                  <a:ext cx="9893" cy="2968"/>
                </a:xfrm>
                <a:custGeom>
                  <a:avLst/>
                  <a:gdLst>
                    <a:gd name="T0" fmla="*/ 0 w 10"/>
                    <a:gd name="T1" fmla="*/ 3 h 3"/>
                    <a:gd name="T2" fmla="*/ 0 w 10"/>
                    <a:gd name="T3" fmla="*/ 3 h 3"/>
                    <a:gd name="T4" fmla="*/ 7 w 10"/>
                    <a:gd name="T5" fmla="*/ 3 h 3"/>
                    <a:gd name="T6" fmla="*/ 9 w 10"/>
                    <a:gd name="T7" fmla="*/ 2 h 3"/>
                    <a:gd name="T8" fmla="*/ 10 w 10"/>
                    <a:gd name="T9" fmla="*/ 0 h 3"/>
                    <a:gd name="T10" fmla="*/ 10 w 10"/>
                    <a:gd name="T11" fmla="*/ 0 h 3"/>
                    <a:gd name="T12" fmla="*/ 9 w 10"/>
                    <a:gd name="T13" fmla="*/ 2 h 3"/>
                    <a:gd name="T14" fmla="*/ 7 w 10"/>
                    <a:gd name="T15" fmla="*/ 3 h 3"/>
                    <a:gd name="T16" fmla="*/ 0 w 10"/>
                    <a:gd name="T1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" h="3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7" y="3"/>
                      </a:lnTo>
                      <a:lnTo>
                        <a:pt x="9" y="2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9" y="2"/>
                      </a:lnTo>
                      <a:lnTo>
                        <a:pt x="7" y="3"/>
                      </a:lnTo>
                      <a:lnTo>
                        <a:pt x="0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66" name="Freeform 217"/>
                <p:cNvSpPr>
                  <a:spLocks/>
                </p:cNvSpPr>
                <p:nvPr/>
              </p:nvSpPr>
              <p:spPr bwMode="auto">
                <a:xfrm>
                  <a:off x="4641248" y="340617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67" name="Freeform 218"/>
                <p:cNvSpPr>
                  <a:spLocks/>
                </p:cNvSpPr>
                <p:nvPr/>
              </p:nvSpPr>
              <p:spPr bwMode="auto">
                <a:xfrm>
                  <a:off x="4899445" y="3492237"/>
                  <a:ext cx="169163" cy="275014"/>
                </a:xfrm>
                <a:custGeom>
                  <a:avLst/>
                  <a:gdLst>
                    <a:gd name="T0" fmla="*/ 126 w 171"/>
                    <a:gd name="T1" fmla="*/ 13 h 278"/>
                    <a:gd name="T2" fmla="*/ 123 w 171"/>
                    <a:gd name="T3" fmla="*/ 19 h 278"/>
                    <a:gd name="T4" fmla="*/ 120 w 171"/>
                    <a:gd name="T5" fmla="*/ 22 h 278"/>
                    <a:gd name="T6" fmla="*/ 113 w 171"/>
                    <a:gd name="T7" fmla="*/ 22 h 278"/>
                    <a:gd name="T8" fmla="*/ 107 w 171"/>
                    <a:gd name="T9" fmla="*/ 23 h 278"/>
                    <a:gd name="T10" fmla="*/ 97 w 171"/>
                    <a:gd name="T11" fmla="*/ 21 h 278"/>
                    <a:gd name="T12" fmla="*/ 82 w 171"/>
                    <a:gd name="T13" fmla="*/ 19 h 278"/>
                    <a:gd name="T14" fmla="*/ 72 w 171"/>
                    <a:gd name="T15" fmla="*/ 19 h 278"/>
                    <a:gd name="T16" fmla="*/ 71 w 171"/>
                    <a:gd name="T17" fmla="*/ 35 h 278"/>
                    <a:gd name="T18" fmla="*/ 74 w 171"/>
                    <a:gd name="T19" fmla="*/ 47 h 278"/>
                    <a:gd name="T20" fmla="*/ 77 w 171"/>
                    <a:gd name="T21" fmla="*/ 63 h 278"/>
                    <a:gd name="T22" fmla="*/ 78 w 171"/>
                    <a:gd name="T23" fmla="*/ 64 h 278"/>
                    <a:gd name="T24" fmla="*/ 82 w 171"/>
                    <a:gd name="T25" fmla="*/ 102 h 278"/>
                    <a:gd name="T26" fmla="*/ 80 w 171"/>
                    <a:gd name="T27" fmla="*/ 103 h 278"/>
                    <a:gd name="T28" fmla="*/ 67 w 171"/>
                    <a:gd name="T29" fmla="*/ 89 h 278"/>
                    <a:gd name="T30" fmla="*/ 67 w 171"/>
                    <a:gd name="T31" fmla="*/ 70 h 278"/>
                    <a:gd name="T32" fmla="*/ 64 w 171"/>
                    <a:gd name="T33" fmla="*/ 67 h 278"/>
                    <a:gd name="T34" fmla="*/ 54 w 171"/>
                    <a:gd name="T35" fmla="*/ 68 h 278"/>
                    <a:gd name="T36" fmla="*/ 43 w 171"/>
                    <a:gd name="T37" fmla="*/ 60 h 278"/>
                    <a:gd name="T38" fmla="*/ 26 w 171"/>
                    <a:gd name="T39" fmla="*/ 63 h 278"/>
                    <a:gd name="T40" fmla="*/ 7 w 171"/>
                    <a:gd name="T41" fmla="*/ 68 h 278"/>
                    <a:gd name="T42" fmla="*/ 0 w 171"/>
                    <a:gd name="T43" fmla="*/ 86 h 278"/>
                    <a:gd name="T44" fmla="*/ 22 w 171"/>
                    <a:gd name="T45" fmla="*/ 90 h 278"/>
                    <a:gd name="T46" fmla="*/ 40 w 171"/>
                    <a:gd name="T47" fmla="*/ 103 h 278"/>
                    <a:gd name="T48" fmla="*/ 43 w 171"/>
                    <a:gd name="T49" fmla="*/ 128 h 278"/>
                    <a:gd name="T50" fmla="*/ 42 w 171"/>
                    <a:gd name="T51" fmla="*/ 160 h 278"/>
                    <a:gd name="T52" fmla="*/ 30 w 171"/>
                    <a:gd name="T53" fmla="*/ 183 h 278"/>
                    <a:gd name="T54" fmla="*/ 25 w 171"/>
                    <a:gd name="T55" fmla="*/ 187 h 278"/>
                    <a:gd name="T56" fmla="*/ 20 w 171"/>
                    <a:gd name="T57" fmla="*/ 205 h 278"/>
                    <a:gd name="T58" fmla="*/ 27 w 171"/>
                    <a:gd name="T59" fmla="*/ 216 h 278"/>
                    <a:gd name="T60" fmla="*/ 27 w 171"/>
                    <a:gd name="T61" fmla="*/ 249 h 278"/>
                    <a:gd name="T62" fmla="*/ 30 w 171"/>
                    <a:gd name="T63" fmla="*/ 264 h 278"/>
                    <a:gd name="T64" fmla="*/ 40 w 171"/>
                    <a:gd name="T65" fmla="*/ 278 h 278"/>
                    <a:gd name="T66" fmla="*/ 40 w 171"/>
                    <a:gd name="T67" fmla="*/ 262 h 278"/>
                    <a:gd name="T68" fmla="*/ 51 w 171"/>
                    <a:gd name="T69" fmla="*/ 249 h 278"/>
                    <a:gd name="T70" fmla="*/ 78 w 171"/>
                    <a:gd name="T71" fmla="*/ 234 h 278"/>
                    <a:gd name="T72" fmla="*/ 82 w 171"/>
                    <a:gd name="T73" fmla="*/ 228 h 278"/>
                    <a:gd name="T74" fmla="*/ 81 w 171"/>
                    <a:gd name="T75" fmla="*/ 189 h 278"/>
                    <a:gd name="T76" fmla="*/ 77 w 171"/>
                    <a:gd name="T77" fmla="*/ 170 h 278"/>
                    <a:gd name="T78" fmla="*/ 75 w 171"/>
                    <a:gd name="T79" fmla="*/ 165 h 278"/>
                    <a:gd name="T80" fmla="*/ 72 w 171"/>
                    <a:gd name="T81" fmla="*/ 160 h 278"/>
                    <a:gd name="T82" fmla="*/ 82 w 171"/>
                    <a:gd name="T83" fmla="*/ 147 h 278"/>
                    <a:gd name="T84" fmla="*/ 122 w 171"/>
                    <a:gd name="T85" fmla="*/ 113 h 278"/>
                    <a:gd name="T86" fmla="*/ 146 w 171"/>
                    <a:gd name="T87" fmla="*/ 102 h 278"/>
                    <a:gd name="T88" fmla="*/ 169 w 171"/>
                    <a:gd name="T89" fmla="*/ 79 h 278"/>
                    <a:gd name="T90" fmla="*/ 171 w 171"/>
                    <a:gd name="T91" fmla="*/ 76 h 278"/>
                    <a:gd name="T92" fmla="*/ 165 w 171"/>
                    <a:gd name="T93" fmla="*/ 58 h 278"/>
                    <a:gd name="T94" fmla="*/ 162 w 171"/>
                    <a:gd name="T95" fmla="*/ 28 h 278"/>
                    <a:gd name="T96" fmla="*/ 164 w 171"/>
                    <a:gd name="T97" fmla="*/ 10 h 278"/>
                    <a:gd name="T98" fmla="*/ 152 w 171"/>
                    <a:gd name="T99" fmla="*/ 8 h 278"/>
                    <a:gd name="T100" fmla="*/ 133 w 171"/>
                    <a:gd name="T101" fmla="*/ 12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71" h="278">
                      <a:moveTo>
                        <a:pt x="129" y="12"/>
                      </a:moveTo>
                      <a:lnTo>
                        <a:pt x="129" y="12"/>
                      </a:lnTo>
                      <a:lnTo>
                        <a:pt x="126" y="13"/>
                      </a:lnTo>
                      <a:lnTo>
                        <a:pt x="126" y="15"/>
                      </a:lnTo>
                      <a:lnTo>
                        <a:pt x="124" y="16"/>
                      </a:lnTo>
                      <a:lnTo>
                        <a:pt x="123" y="19"/>
                      </a:lnTo>
                      <a:lnTo>
                        <a:pt x="123" y="19"/>
                      </a:lnTo>
                      <a:lnTo>
                        <a:pt x="122" y="21"/>
                      </a:lnTo>
                      <a:lnTo>
                        <a:pt x="120" y="22"/>
                      </a:lnTo>
                      <a:lnTo>
                        <a:pt x="117" y="22"/>
                      </a:lnTo>
                      <a:lnTo>
                        <a:pt x="117" y="22"/>
                      </a:lnTo>
                      <a:lnTo>
                        <a:pt x="113" y="22"/>
                      </a:lnTo>
                      <a:lnTo>
                        <a:pt x="109" y="23"/>
                      </a:lnTo>
                      <a:lnTo>
                        <a:pt x="109" y="23"/>
                      </a:lnTo>
                      <a:lnTo>
                        <a:pt x="107" y="23"/>
                      </a:lnTo>
                      <a:lnTo>
                        <a:pt x="106" y="25"/>
                      </a:lnTo>
                      <a:lnTo>
                        <a:pt x="101" y="23"/>
                      </a:lnTo>
                      <a:lnTo>
                        <a:pt x="97" y="21"/>
                      </a:lnTo>
                      <a:lnTo>
                        <a:pt x="93" y="19"/>
                      </a:lnTo>
                      <a:lnTo>
                        <a:pt x="93" y="19"/>
                      </a:lnTo>
                      <a:lnTo>
                        <a:pt x="82" y="19"/>
                      </a:lnTo>
                      <a:lnTo>
                        <a:pt x="82" y="19"/>
                      </a:lnTo>
                      <a:lnTo>
                        <a:pt x="72" y="19"/>
                      </a:lnTo>
                      <a:lnTo>
                        <a:pt x="72" y="19"/>
                      </a:lnTo>
                      <a:lnTo>
                        <a:pt x="72" y="23"/>
                      </a:lnTo>
                      <a:lnTo>
                        <a:pt x="72" y="23"/>
                      </a:lnTo>
                      <a:lnTo>
                        <a:pt x="71" y="35"/>
                      </a:lnTo>
                      <a:lnTo>
                        <a:pt x="72" y="42"/>
                      </a:lnTo>
                      <a:lnTo>
                        <a:pt x="74" y="47"/>
                      </a:lnTo>
                      <a:lnTo>
                        <a:pt x="74" y="47"/>
                      </a:lnTo>
                      <a:lnTo>
                        <a:pt x="77" y="55"/>
                      </a:lnTo>
                      <a:lnTo>
                        <a:pt x="78" y="60"/>
                      </a:lnTo>
                      <a:lnTo>
                        <a:pt x="77" y="63"/>
                      </a:lnTo>
                      <a:lnTo>
                        <a:pt x="77" y="63"/>
                      </a:lnTo>
                      <a:lnTo>
                        <a:pt x="78" y="64"/>
                      </a:lnTo>
                      <a:lnTo>
                        <a:pt x="78" y="64"/>
                      </a:lnTo>
                      <a:lnTo>
                        <a:pt x="81" y="73"/>
                      </a:lnTo>
                      <a:lnTo>
                        <a:pt x="82" y="83"/>
                      </a:lnTo>
                      <a:lnTo>
                        <a:pt x="82" y="102"/>
                      </a:lnTo>
                      <a:lnTo>
                        <a:pt x="82" y="102"/>
                      </a:lnTo>
                      <a:lnTo>
                        <a:pt x="82" y="105"/>
                      </a:lnTo>
                      <a:lnTo>
                        <a:pt x="80" y="103"/>
                      </a:lnTo>
                      <a:lnTo>
                        <a:pt x="71" y="94"/>
                      </a:lnTo>
                      <a:lnTo>
                        <a:pt x="71" y="94"/>
                      </a:lnTo>
                      <a:lnTo>
                        <a:pt x="67" y="89"/>
                      </a:lnTo>
                      <a:lnTo>
                        <a:pt x="65" y="83"/>
                      </a:lnTo>
                      <a:lnTo>
                        <a:pt x="65" y="76"/>
                      </a:lnTo>
                      <a:lnTo>
                        <a:pt x="67" y="70"/>
                      </a:lnTo>
                      <a:lnTo>
                        <a:pt x="67" y="70"/>
                      </a:lnTo>
                      <a:lnTo>
                        <a:pt x="65" y="67"/>
                      </a:lnTo>
                      <a:lnTo>
                        <a:pt x="64" y="67"/>
                      </a:lnTo>
                      <a:lnTo>
                        <a:pt x="58" y="70"/>
                      </a:lnTo>
                      <a:lnTo>
                        <a:pt x="58" y="70"/>
                      </a:lnTo>
                      <a:lnTo>
                        <a:pt x="54" y="68"/>
                      </a:lnTo>
                      <a:lnTo>
                        <a:pt x="51" y="65"/>
                      </a:lnTo>
                      <a:lnTo>
                        <a:pt x="46" y="63"/>
                      </a:lnTo>
                      <a:lnTo>
                        <a:pt x="43" y="60"/>
                      </a:lnTo>
                      <a:lnTo>
                        <a:pt x="43" y="60"/>
                      </a:lnTo>
                      <a:lnTo>
                        <a:pt x="38" y="60"/>
                      </a:lnTo>
                      <a:lnTo>
                        <a:pt x="26" y="63"/>
                      </a:lnTo>
                      <a:lnTo>
                        <a:pt x="16" y="65"/>
                      </a:lnTo>
                      <a:lnTo>
                        <a:pt x="7" y="68"/>
                      </a:lnTo>
                      <a:lnTo>
                        <a:pt x="7" y="68"/>
                      </a:lnTo>
                      <a:lnTo>
                        <a:pt x="6" y="71"/>
                      </a:lnTo>
                      <a:lnTo>
                        <a:pt x="3" y="7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22" y="90"/>
                      </a:lnTo>
                      <a:lnTo>
                        <a:pt x="22" y="90"/>
                      </a:lnTo>
                      <a:lnTo>
                        <a:pt x="29" y="93"/>
                      </a:lnTo>
                      <a:lnTo>
                        <a:pt x="36" y="99"/>
                      </a:lnTo>
                      <a:lnTo>
                        <a:pt x="40" y="103"/>
                      </a:lnTo>
                      <a:lnTo>
                        <a:pt x="43" y="107"/>
                      </a:lnTo>
                      <a:lnTo>
                        <a:pt x="43" y="107"/>
                      </a:lnTo>
                      <a:lnTo>
                        <a:pt x="43" y="128"/>
                      </a:lnTo>
                      <a:lnTo>
                        <a:pt x="43" y="151"/>
                      </a:lnTo>
                      <a:lnTo>
                        <a:pt x="43" y="151"/>
                      </a:lnTo>
                      <a:lnTo>
                        <a:pt x="42" y="160"/>
                      </a:lnTo>
                      <a:lnTo>
                        <a:pt x="38" y="170"/>
                      </a:lnTo>
                      <a:lnTo>
                        <a:pt x="33" y="178"/>
                      </a:lnTo>
                      <a:lnTo>
                        <a:pt x="30" y="183"/>
                      </a:lnTo>
                      <a:lnTo>
                        <a:pt x="27" y="184"/>
                      </a:lnTo>
                      <a:lnTo>
                        <a:pt x="27" y="184"/>
                      </a:lnTo>
                      <a:lnTo>
                        <a:pt x="25" y="187"/>
                      </a:lnTo>
                      <a:lnTo>
                        <a:pt x="23" y="193"/>
                      </a:lnTo>
                      <a:lnTo>
                        <a:pt x="20" y="205"/>
                      </a:lnTo>
                      <a:lnTo>
                        <a:pt x="20" y="205"/>
                      </a:lnTo>
                      <a:lnTo>
                        <a:pt x="26" y="212"/>
                      </a:lnTo>
                      <a:lnTo>
                        <a:pt x="26" y="212"/>
                      </a:lnTo>
                      <a:lnTo>
                        <a:pt x="27" y="216"/>
                      </a:lnTo>
                      <a:lnTo>
                        <a:pt x="27" y="220"/>
                      </a:lnTo>
                      <a:lnTo>
                        <a:pt x="27" y="235"/>
                      </a:lnTo>
                      <a:lnTo>
                        <a:pt x="27" y="249"/>
                      </a:lnTo>
                      <a:lnTo>
                        <a:pt x="27" y="260"/>
                      </a:lnTo>
                      <a:lnTo>
                        <a:pt x="27" y="260"/>
                      </a:lnTo>
                      <a:lnTo>
                        <a:pt x="30" y="264"/>
                      </a:lnTo>
                      <a:lnTo>
                        <a:pt x="33" y="270"/>
                      </a:lnTo>
                      <a:lnTo>
                        <a:pt x="40" y="278"/>
                      </a:lnTo>
                      <a:lnTo>
                        <a:pt x="40" y="278"/>
                      </a:lnTo>
                      <a:lnTo>
                        <a:pt x="40" y="265"/>
                      </a:lnTo>
                      <a:lnTo>
                        <a:pt x="40" y="265"/>
                      </a:lnTo>
                      <a:lnTo>
                        <a:pt x="40" y="262"/>
                      </a:lnTo>
                      <a:lnTo>
                        <a:pt x="43" y="258"/>
                      </a:lnTo>
                      <a:lnTo>
                        <a:pt x="46" y="254"/>
                      </a:lnTo>
                      <a:lnTo>
                        <a:pt x="51" y="249"/>
                      </a:lnTo>
                      <a:lnTo>
                        <a:pt x="51" y="249"/>
                      </a:lnTo>
                      <a:lnTo>
                        <a:pt x="69" y="241"/>
                      </a:lnTo>
                      <a:lnTo>
                        <a:pt x="78" y="234"/>
                      </a:lnTo>
                      <a:lnTo>
                        <a:pt x="81" y="231"/>
                      </a:lnTo>
                      <a:lnTo>
                        <a:pt x="82" y="228"/>
                      </a:lnTo>
                      <a:lnTo>
                        <a:pt x="82" y="228"/>
                      </a:lnTo>
                      <a:lnTo>
                        <a:pt x="84" y="219"/>
                      </a:lnTo>
                      <a:lnTo>
                        <a:pt x="82" y="206"/>
                      </a:lnTo>
                      <a:lnTo>
                        <a:pt x="81" y="189"/>
                      </a:lnTo>
                      <a:lnTo>
                        <a:pt x="81" y="189"/>
                      </a:lnTo>
                      <a:lnTo>
                        <a:pt x="78" y="176"/>
                      </a:lnTo>
                      <a:lnTo>
                        <a:pt x="77" y="170"/>
                      </a:lnTo>
                      <a:lnTo>
                        <a:pt x="77" y="167"/>
                      </a:lnTo>
                      <a:lnTo>
                        <a:pt x="75" y="165"/>
                      </a:lnTo>
                      <a:lnTo>
                        <a:pt x="75" y="165"/>
                      </a:lnTo>
                      <a:lnTo>
                        <a:pt x="72" y="165"/>
                      </a:lnTo>
                      <a:lnTo>
                        <a:pt x="72" y="163"/>
                      </a:lnTo>
                      <a:lnTo>
                        <a:pt x="72" y="160"/>
                      </a:lnTo>
                      <a:lnTo>
                        <a:pt x="75" y="154"/>
                      </a:lnTo>
                      <a:lnTo>
                        <a:pt x="75" y="154"/>
                      </a:lnTo>
                      <a:lnTo>
                        <a:pt x="82" y="147"/>
                      </a:lnTo>
                      <a:lnTo>
                        <a:pt x="96" y="134"/>
                      </a:lnTo>
                      <a:lnTo>
                        <a:pt x="122" y="113"/>
                      </a:lnTo>
                      <a:lnTo>
                        <a:pt x="122" y="113"/>
                      </a:lnTo>
                      <a:lnTo>
                        <a:pt x="129" y="109"/>
                      </a:lnTo>
                      <a:lnTo>
                        <a:pt x="136" y="106"/>
                      </a:lnTo>
                      <a:lnTo>
                        <a:pt x="146" y="102"/>
                      </a:lnTo>
                      <a:lnTo>
                        <a:pt x="146" y="102"/>
                      </a:lnTo>
                      <a:lnTo>
                        <a:pt x="158" y="90"/>
                      </a:lnTo>
                      <a:lnTo>
                        <a:pt x="169" y="79"/>
                      </a:lnTo>
                      <a:lnTo>
                        <a:pt x="169" y="79"/>
                      </a:lnTo>
                      <a:lnTo>
                        <a:pt x="171" y="77"/>
                      </a:lnTo>
                      <a:lnTo>
                        <a:pt x="171" y="76"/>
                      </a:lnTo>
                      <a:lnTo>
                        <a:pt x="169" y="70"/>
                      </a:lnTo>
                      <a:lnTo>
                        <a:pt x="165" y="58"/>
                      </a:lnTo>
                      <a:lnTo>
                        <a:pt x="165" y="58"/>
                      </a:lnTo>
                      <a:lnTo>
                        <a:pt x="164" y="51"/>
                      </a:lnTo>
                      <a:lnTo>
                        <a:pt x="162" y="39"/>
                      </a:lnTo>
                      <a:lnTo>
                        <a:pt x="162" y="28"/>
                      </a:lnTo>
                      <a:lnTo>
                        <a:pt x="162" y="21"/>
                      </a:lnTo>
                      <a:lnTo>
                        <a:pt x="162" y="21"/>
                      </a:lnTo>
                      <a:lnTo>
                        <a:pt x="164" y="10"/>
                      </a:lnTo>
                      <a:lnTo>
                        <a:pt x="162" y="0"/>
                      </a:lnTo>
                      <a:lnTo>
                        <a:pt x="162" y="0"/>
                      </a:lnTo>
                      <a:lnTo>
                        <a:pt x="152" y="8"/>
                      </a:lnTo>
                      <a:lnTo>
                        <a:pt x="143" y="10"/>
                      </a:lnTo>
                      <a:lnTo>
                        <a:pt x="138" y="12"/>
                      </a:lnTo>
                      <a:lnTo>
                        <a:pt x="133" y="12"/>
                      </a:lnTo>
                      <a:lnTo>
                        <a:pt x="133" y="12"/>
                      </a:lnTo>
                      <a:lnTo>
                        <a:pt x="129" y="1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68" name="Freeform 219"/>
                <p:cNvSpPr>
                  <a:spLocks/>
                </p:cNvSpPr>
                <p:nvPr/>
              </p:nvSpPr>
              <p:spPr bwMode="auto">
                <a:xfrm>
                  <a:off x="4899445" y="3492237"/>
                  <a:ext cx="169163" cy="275014"/>
                </a:xfrm>
                <a:custGeom>
                  <a:avLst/>
                  <a:gdLst>
                    <a:gd name="T0" fmla="*/ 126 w 171"/>
                    <a:gd name="T1" fmla="*/ 13 h 278"/>
                    <a:gd name="T2" fmla="*/ 123 w 171"/>
                    <a:gd name="T3" fmla="*/ 19 h 278"/>
                    <a:gd name="T4" fmla="*/ 120 w 171"/>
                    <a:gd name="T5" fmla="*/ 22 h 278"/>
                    <a:gd name="T6" fmla="*/ 113 w 171"/>
                    <a:gd name="T7" fmla="*/ 22 h 278"/>
                    <a:gd name="T8" fmla="*/ 107 w 171"/>
                    <a:gd name="T9" fmla="*/ 23 h 278"/>
                    <a:gd name="T10" fmla="*/ 97 w 171"/>
                    <a:gd name="T11" fmla="*/ 21 h 278"/>
                    <a:gd name="T12" fmla="*/ 82 w 171"/>
                    <a:gd name="T13" fmla="*/ 19 h 278"/>
                    <a:gd name="T14" fmla="*/ 72 w 171"/>
                    <a:gd name="T15" fmla="*/ 19 h 278"/>
                    <a:gd name="T16" fmla="*/ 71 w 171"/>
                    <a:gd name="T17" fmla="*/ 35 h 278"/>
                    <a:gd name="T18" fmla="*/ 74 w 171"/>
                    <a:gd name="T19" fmla="*/ 47 h 278"/>
                    <a:gd name="T20" fmla="*/ 77 w 171"/>
                    <a:gd name="T21" fmla="*/ 63 h 278"/>
                    <a:gd name="T22" fmla="*/ 78 w 171"/>
                    <a:gd name="T23" fmla="*/ 64 h 278"/>
                    <a:gd name="T24" fmla="*/ 82 w 171"/>
                    <a:gd name="T25" fmla="*/ 102 h 278"/>
                    <a:gd name="T26" fmla="*/ 80 w 171"/>
                    <a:gd name="T27" fmla="*/ 103 h 278"/>
                    <a:gd name="T28" fmla="*/ 67 w 171"/>
                    <a:gd name="T29" fmla="*/ 89 h 278"/>
                    <a:gd name="T30" fmla="*/ 67 w 171"/>
                    <a:gd name="T31" fmla="*/ 70 h 278"/>
                    <a:gd name="T32" fmla="*/ 64 w 171"/>
                    <a:gd name="T33" fmla="*/ 67 h 278"/>
                    <a:gd name="T34" fmla="*/ 54 w 171"/>
                    <a:gd name="T35" fmla="*/ 68 h 278"/>
                    <a:gd name="T36" fmla="*/ 43 w 171"/>
                    <a:gd name="T37" fmla="*/ 60 h 278"/>
                    <a:gd name="T38" fmla="*/ 26 w 171"/>
                    <a:gd name="T39" fmla="*/ 63 h 278"/>
                    <a:gd name="T40" fmla="*/ 7 w 171"/>
                    <a:gd name="T41" fmla="*/ 68 h 278"/>
                    <a:gd name="T42" fmla="*/ 0 w 171"/>
                    <a:gd name="T43" fmla="*/ 86 h 278"/>
                    <a:gd name="T44" fmla="*/ 22 w 171"/>
                    <a:gd name="T45" fmla="*/ 90 h 278"/>
                    <a:gd name="T46" fmla="*/ 40 w 171"/>
                    <a:gd name="T47" fmla="*/ 103 h 278"/>
                    <a:gd name="T48" fmla="*/ 43 w 171"/>
                    <a:gd name="T49" fmla="*/ 128 h 278"/>
                    <a:gd name="T50" fmla="*/ 42 w 171"/>
                    <a:gd name="T51" fmla="*/ 160 h 278"/>
                    <a:gd name="T52" fmla="*/ 30 w 171"/>
                    <a:gd name="T53" fmla="*/ 183 h 278"/>
                    <a:gd name="T54" fmla="*/ 25 w 171"/>
                    <a:gd name="T55" fmla="*/ 187 h 278"/>
                    <a:gd name="T56" fmla="*/ 20 w 171"/>
                    <a:gd name="T57" fmla="*/ 205 h 278"/>
                    <a:gd name="T58" fmla="*/ 27 w 171"/>
                    <a:gd name="T59" fmla="*/ 216 h 278"/>
                    <a:gd name="T60" fmla="*/ 27 w 171"/>
                    <a:gd name="T61" fmla="*/ 249 h 278"/>
                    <a:gd name="T62" fmla="*/ 30 w 171"/>
                    <a:gd name="T63" fmla="*/ 264 h 278"/>
                    <a:gd name="T64" fmla="*/ 40 w 171"/>
                    <a:gd name="T65" fmla="*/ 278 h 278"/>
                    <a:gd name="T66" fmla="*/ 40 w 171"/>
                    <a:gd name="T67" fmla="*/ 262 h 278"/>
                    <a:gd name="T68" fmla="*/ 51 w 171"/>
                    <a:gd name="T69" fmla="*/ 249 h 278"/>
                    <a:gd name="T70" fmla="*/ 78 w 171"/>
                    <a:gd name="T71" fmla="*/ 234 h 278"/>
                    <a:gd name="T72" fmla="*/ 82 w 171"/>
                    <a:gd name="T73" fmla="*/ 228 h 278"/>
                    <a:gd name="T74" fmla="*/ 81 w 171"/>
                    <a:gd name="T75" fmla="*/ 189 h 278"/>
                    <a:gd name="T76" fmla="*/ 77 w 171"/>
                    <a:gd name="T77" fmla="*/ 170 h 278"/>
                    <a:gd name="T78" fmla="*/ 75 w 171"/>
                    <a:gd name="T79" fmla="*/ 165 h 278"/>
                    <a:gd name="T80" fmla="*/ 72 w 171"/>
                    <a:gd name="T81" fmla="*/ 160 h 278"/>
                    <a:gd name="T82" fmla="*/ 82 w 171"/>
                    <a:gd name="T83" fmla="*/ 147 h 278"/>
                    <a:gd name="T84" fmla="*/ 122 w 171"/>
                    <a:gd name="T85" fmla="*/ 113 h 278"/>
                    <a:gd name="T86" fmla="*/ 146 w 171"/>
                    <a:gd name="T87" fmla="*/ 102 h 278"/>
                    <a:gd name="T88" fmla="*/ 169 w 171"/>
                    <a:gd name="T89" fmla="*/ 79 h 278"/>
                    <a:gd name="T90" fmla="*/ 171 w 171"/>
                    <a:gd name="T91" fmla="*/ 76 h 278"/>
                    <a:gd name="T92" fmla="*/ 165 w 171"/>
                    <a:gd name="T93" fmla="*/ 58 h 278"/>
                    <a:gd name="T94" fmla="*/ 162 w 171"/>
                    <a:gd name="T95" fmla="*/ 28 h 278"/>
                    <a:gd name="T96" fmla="*/ 164 w 171"/>
                    <a:gd name="T97" fmla="*/ 10 h 278"/>
                    <a:gd name="T98" fmla="*/ 152 w 171"/>
                    <a:gd name="T99" fmla="*/ 8 h 278"/>
                    <a:gd name="T100" fmla="*/ 133 w 171"/>
                    <a:gd name="T101" fmla="*/ 12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71" h="278">
                      <a:moveTo>
                        <a:pt x="129" y="12"/>
                      </a:moveTo>
                      <a:lnTo>
                        <a:pt x="129" y="12"/>
                      </a:lnTo>
                      <a:lnTo>
                        <a:pt x="126" y="13"/>
                      </a:lnTo>
                      <a:lnTo>
                        <a:pt x="126" y="15"/>
                      </a:lnTo>
                      <a:lnTo>
                        <a:pt x="124" y="16"/>
                      </a:lnTo>
                      <a:lnTo>
                        <a:pt x="123" y="19"/>
                      </a:lnTo>
                      <a:lnTo>
                        <a:pt x="123" y="19"/>
                      </a:lnTo>
                      <a:lnTo>
                        <a:pt x="122" y="21"/>
                      </a:lnTo>
                      <a:lnTo>
                        <a:pt x="120" y="22"/>
                      </a:lnTo>
                      <a:lnTo>
                        <a:pt x="117" y="22"/>
                      </a:lnTo>
                      <a:lnTo>
                        <a:pt x="117" y="22"/>
                      </a:lnTo>
                      <a:lnTo>
                        <a:pt x="113" y="22"/>
                      </a:lnTo>
                      <a:lnTo>
                        <a:pt x="109" y="23"/>
                      </a:lnTo>
                      <a:lnTo>
                        <a:pt x="109" y="23"/>
                      </a:lnTo>
                      <a:lnTo>
                        <a:pt x="107" y="23"/>
                      </a:lnTo>
                      <a:lnTo>
                        <a:pt x="106" y="25"/>
                      </a:lnTo>
                      <a:lnTo>
                        <a:pt x="101" y="23"/>
                      </a:lnTo>
                      <a:lnTo>
                        <a:pt x="97" y="21"/>
                      </a:lnTo>
                      <a:lnTo>
                        <a:pt x="93" y="19"/>
                      </a:lnTo>
                      <a:lnTo>
                        <a:pt x="93" y="19"/>
                      </a:lnTo>
                      <a:lnTo>
                        <a:pt x="82" y="19"/>
                      </a:lnTo>
                      <a:lnTo>
                        <a:pt x="82" y="19"/>
                      </a:lnTo>
                      <a:lnTo>
                        <a:pt x="72" y="19"/>
                      </a:lnTo>
                      <a:lnTo>
                        <a:pt x="72" y="19"/>
                      </a:lnTo>
                      <a:lnTo>
                        <a:pt x="72" y="23"/>
                      </a:lnTo>
                      <a:lnTo>
                        <a:pt x="72" y="23"/>
                      </a:lnTo>
                      <a:lnTo>
                        <a:pt x="71" y="35"/>
                      </a:lnTo>
                      <a:lnTo>
                        <a:pt x="72" y="42"/>
                      </a:lnTo>
                      <a:lnTo>
                        <a:pt x="74" y="47"/>
                      </a:lnTo>
                      <a:lnTo>
                        <a:pt x="74" y="47"/>
                      </a:lnTo>
                      <a:lnTo>
                        <a:pt x="77" y="55"/>
                      </a:lnTo>
                      <a:lnTo>
                        <a:pt x="78" y="60"/>
                      </a:lnTo>
                      <a:lnTo>
                        <a:pt x="77" y="63"/>
                      </a:lnTo>
                      <a:lnTo>
                        <a:pt x="77" y="63"/>
                      </a:lnTo>
                      <a:lnTo>
                        <a:pt x="78" y="64"/>
                      </a:lnTo>
                      <a:lnTo>
                        <a:pt x="78" y="64"/>
                      </a:lnTo>
                      <a:lnTo>
                        <a:pt x="81" y="73"/>
                      </a:lnTo>
                      <a:lnTo>
                        <a:pt x="82" y="83"/>
                      </a:lnTo>
                      <a:lnTo>
                        <a:pt x="82" y="102"/>
                      </a:lnTo>
                      <a:lnTo>
                        <a:pt x="82" y="102"/>
                      </a:lnTo>
                      <a:lnTo>
                        <a:pt x="82" y="105"/>
                      </a:lnTo>
                      <a:lnTo>
                        <a:pt x="80" y="103"/>
                      </a:lnTo>
                      <a:lnTo>
                        <a:pt x="71" y="94"/>
                      </a:lnTo>
                      <a:lnTo>
                        <a:pt x="71" y="94"/>
                      </a:lnTo>
                      <a:lnTo>
                        <a:pt x="67" y="89"/>
                      </a:lnTo>
                      <a:lnTo>
                        <a:pt x="65" y="83"/>
                      </a:lnTo>
                      <a:lnTo>
                        <a:pt x="65" y="76"/>
                      </a:lnTo>
                      <a:lnTo>
                        <a:pt x="67" y="70"/>
                      </a:lnTo>
                      <a:lnTo>
                        <a:pt x="67" y="70"/>
                      </a:lnTo>
                      <a:lnTo>
                        <a:pt x="65" y="67"/>
                      </a:lnTo>
                      <a:lnTo>
                        <a:pt x="64" y="67"/>
                      </a:lnTo>
                      <a:lnTo>
                        <a:pt x="58" y="70"/>
                      </a:lnTo>
                      <a:lnTo>
                        <a:pt x="58" y="70"/>
                      </a:lnTo>
                      <a:lnTo>
                        <a:pt x="54" y="68"/>
                      </a:lnTo>
                      <a:lnTo>
                        <a:pt x="51" y="65"/>
                      </a:lnTo>
                      <a:lnTo>
                        <a:pt x="46" y="63"/>
                      </a:lnTo>
                      <a:lnTo>
                        <a:pt x="43" y="60"/>
                      </a:lnTo>
                      <a:lnTo>
                        <a:pt x="43" y="60"/>
                      </a:lnTo>
                      <a:lnTo>
                        <a:pt x="38" y="60"/>
                      </a:lnTo>
                      <a:lnTo>
                        <a:pt x="26" y="63"/>
                      </a:lnTo>
                      <a:lnTo>
                        <a:pt x="16" y="65"/>
                      </a:lnTo>
                      <a:lnTo>
                        <a:pt x="7" y="68"/>
                      </a:lnTo>
                      <a:lnTo>
                        <a:pt x="7" y="68"/>
                      </a:lnTo>
                      <a:lnTo>
                        <a:pt x="6" y="71"/>
                      </a:lnTo>
                      <a:lnTo>
                        <a:pt x="3" y="7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22" y="90"/>
                      </a:lnTo>
                      <a:lnTo>
                        <a:pt x="22" y="90"/>
                      </a:lnTo>
                      <a:lnTo>
                        <a:pt x="29" y="93"/>
                      </a:lnTo>
                      <a:lnTo>
                        <a:pt x="36" y="99"/>
                      </a:lnTo>
                      <a:lnTo>
                        <a:pt x="40" y="103"/>
                      </a:lnTo>
                      <a:lnTo>
                        <a:pt x="43" y="107"/>
                      </a:lnTo>
                      <a:lnTo>
                        <a:pt x="43" y="107"/>
                      </a:lnTo>
                      <a:lnTo>
                        <a:pt x="43" y="128"/>
                      </a:lnTo>
                      <a:lnTo>
                        <a:pt x="43" y="151"/>
                      </a:lnTo>
                      <a:lnTo>
                        <a:pt x="43" y="151"/>
                      </a:lnTo>
                      <a:lnTo>
                        <a:pt x="42" y="160"/>
                      </a:lnTo>
                      <a:lnTo>
                        <a:pt x="38" y="170"/>
                      </a:lnTo>
                      <a:lnTo>
                        <a:pt x="33" y="178"/>
                      </a:lnTo>
                      <a:lnTo>
                        <a:pt x="30" y="183"/>
                      </a:lnTo>
                      <a:lnTo>
                        <a:pt x="27" y="184"/>
                      </a:lnTo>
                      <a:lnTo>
                        <a:pt x="27" y="184"/>
                      </a:lnTo>
                      <a:lnTo>
                        <a:pt x="25" y="187"/>
                      </a:lnTo>
                      <a:lnTo>
                        <a:pt x="23" y="193"/>
                      </a:lnTo>
                      <a:lnTo>
                        <a:pt x="20" y="205"/>
                      </a:lnTo>
                      <a:lnTo>
                        <a:pt x="20" y="205"/>
                      </a:lnTo>
                      <a:lnTo>
                        <a:pt x="26" y="212"/>
                      </a:lnTo>
                      <a:lnTo>
                        <a:pt x="26" y="212"/>
                      </a:lnTo>
                      <a:lnTo>
                        <a:pt x="27" y="216"/>
                      </a:lnTo>
                      <a:lnTo>
                        <a:pt x="27" y="220"/>
                      </a:lnTo>
                      <a:lnTo>
                        <a:pt x="27" y="235"/>
                      </a:lnTo>
                      <a:lnTo>
                        <a:pt x="27" y="249"/>
                      </a:lnTo>
                      <a:lnTo>
                        <a:pt x="27" y="260"/>
                      </a:lnTo>
                      <a:lnTo>
                        <a:pt x="27" y="260"/>
                      </a:lnTo>
                      <a:lnTo>
                        <a:pt x="30" y="264"/>
                      </a:lnTo>
                      <a:lnTo>
                        <a:pt x="33" y="270"/>
                      </a:lnTo>
                      <a:lnTo>
                        <a:pt x="40" y="278"/>
                      </a:lnTo>
                      <a:lnTo>
                        <a:pt x="40" y="278"/>
                      </a:lnTo>
                      <a:lnTo>
                        <a:pt x="40" y="265"/>
                      </a:lnTo>
                      <a:lnTo>
                        <a:pt x="40" y="265"/>
                      </a:lnTo>
                      <a:lnTo>
                        <a:pt x="40" y="262"/>
                      </a:lnTo>
                      <a:lnTo>
                        <a:pt x="43" y="258"/>
                      </a:lnTo>
                      <a:lnTo>
                        <a:pt x="46" y="254"/>
                      </a:lnTo>
                      <a:lnTo>
                        <a:pt x="51" y="249"/>
                      </a:lnTo>
                      <a:lnTo>
                        <a:pt x="51" y="249"/>
                      </a:lnTo>
                      <a:lnTo>
                        <a:pt x="69" y="241"/>
                      </a:lnTo>
                      <a:lnTo>
                        <a:pt x="78" y="234"/>
                      </a:lnTo>
                      <a:lnTo>
                        <a:pt x="81" y="231"/>
                      </a:lnTo>
                      <a:lnTo>
                        <a:pt x="82" y="228"/>
                      </a:lnTo>
                      <a:lnTo>
                        <a:pt x="82" y="228"/>
                      </a:lnTo>
                      <a:lnTo>
                        <a:pt x="84" y="219"/>
                      </a:lnTo>
                      <a:lnTo>
                        <a:pt x="82" y="206"/>
                      </a:lnTo>
                      <a:lnTo>
                        <a:pt x="81" y="189"/>
                      </a:lnTo>
                      <a:lnTo>
                        <a:pt x="81" y="189"/>
                      </a:lnTo>
                      <a:lnTo>
                        <a:pt x="78" y="176"/>
                      </a:lnTo>
                      <a:lnTo>
                        <a:pt x="77" y="170"/>
                      </a:lnTo>
                      <a:lnTo>
                        <a:pt x="77" y="167"/>
                      </a:lnTo>
                      <a:lnTo>
                        <a:pt x="75" y="165"/>
                      </a:lnTo>
                      <a:lnTo>
                        <a:pt x="75" y="165"/>
                      </a:lnTo>
                      <a:lnTo>
                        <a:pt x="72" y="165"/>
                      </a:lnTo>
                      <a:lnTo>
                        <a:pt x="72" y="163"/>
                      </a:lnTo>
                      <a:lnTo>
                        <a:pt x="72" y="160"/>
                      </a:lnTo>
                      <a:lnTo>
                        <a:pt x="75" y="154"/>
                      </a:lnTo>
                      <a:lnTo>
                        <a:pt x="75" y="154"/>
                      </a:lnTo>
                      <a:lnTo>
                        <a:pt x="82" y="147"/>
                      </a:lnTo>
                      <a:lnTo>
                        <a:pt x="96" y="134"/>
                      </a:lnTo>
                      <a:lnTo>
                        <a:pt x="122" y="113"/>
                      </a:lnTo>
                      <a:lnTo>
                        <a:pt x="122" y="113"/>
                      </a:lnTo>
                      <a:lnTo>
                        <a:pt x="129" y="109"/>
                      </a:lnTo>
                      <a:lnTo>
                        <a:pt x="136" y="106"/>
                      </a:lnTo>
                      <a:lnTo>
                        <a:pt x="146" y="102"/>
                      </a:lnTo>
                      <a:lnTo>
                        <a:pt x="146" y="102"/>
                      </a:lnTo>
                      <a:lnTo>
                        <a:pt x="158" y="90"/>
                      </a:lnTo>
                      <a:lnTo>
                        <a:pt x="169" y="79"/>
                      </a:lnTo>
                      <a:lnTo>
                        <a:pt x="169" y="79"/>
                      </a:lnTo>
                      <a:lnTo>
                        <a:pt x="171" y="77"/>
                      </a:lnTo>
                      <a:lnTo>
                        <a:pt x="171" y="76"/>
                      </a:lnTo>
                      <a:lnTo>
                        <a:pt x="169" y="70"/>
                      </a:lnTo>
                      <a:lnTo>
                        <a:pt x="165" y="58"/>
                      </a:lnTo>
                      <a:lnTo>
                        <a:pt x="165" y="58"/>
                      </a:lnTo>
                      <a:lnTo>
                        <a:pt x="164" y="51"/>
                      </a:lnTo>
                      <a:lnTo>
                        <a:pt x="162" y="39"/>
                      </a:lnTo>
                      <a:lnTo>
                        <a:pt x="162" y="28"/>
                      </a:lnTo>
                      <a:lnTo>
                        <a:pt x="162" y="21"/>
                      </a:lnTo>
                      <a:lnTo>
                        <a:pt x="162" y="21"/>
                      </a:lnTo>
                      <a:lnTo>
                        <a:pt x="164" y="10"/>
                      </a:lnTo>
                      <a:lnTo>
                        <a:pt x="162" y="0"/>
                      </a:lnTo>
                      <a:lnTo>
                        <a:pt x="162" y="0"/>
                      </a:lnTo>
                      <a:lnTo>
                        <a:pt x="152" y="8"/>
                      </a:lnTo>
                      <a:lnTo>
                        <a:pt x="143" y="10"/>
                      </a:lnTo>
                      <a:lnTo>
                        <a:pt x="138" y="12"/>
                      </a:lnTo>
                      <a:lnTo>
                        <a:pt x="133" y="12"/>
                      </a:lnTo>
                      <a:lnTo>
                        <a:pt x="133" y="12"/>
                      </a:lnTo>
                      <a:lnTo>
                        <a:pt x="129" y="1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69" name="Freeform 220"/>
                <p:cNvSpPr>
                  <a:spLocks/>
                </p:cNvSpPr>
                <p:nvPr/>
              </p:nvSpPr>
              <p:spPr bwMode="auto">
                <a:xfrm>
                  <a:off x="4794583" y="3575335"/>
                  <a:ext cx="147400" cy="119700"/>
                </a:xfrm>
                <a:custGeom>
                  <a:avLst/>
                  <a:gdLst>
                    <a:gd name="T0" fmla="*/ 126 w 149"/>
                    <a:gd name="T1" fmla="*/ 121 h 121"/>
                    <a:gd name="T2" fmla="*/ 119 w 149"/>
                    <a:gd name="T3" fmla="*/ 115 h 121"/>
                    <a:gd name="T4" fmla="*/ 118 w 149"/>
                    <a:gd name="T5" fmla="*/ 113 h 121"/>
                    <a:gd name="T6" fmla="*/ 116 w 149"/>
                    <a:gd name="T7" fmla="*/ 115 h 121"/>
                    <a:gd name="T8" fmla="*/ 115 w 149"/>
                    <a:gd name="T9" fmla="*/ 115 h 121"/>
                    <a:gd name="T10" fmla="*/ 112 w 149"/>
                    <a:gd name="T11" fmla="*/ 115 h 121"/>
                    <a:gd name="T12" fmla="*/ 94 w 149"/>
                    <a:gd name="T13" fmla="*/ 110 h 121"/>
                    <a:gd name="T14" fmla="*/ 94 w 149"/>
                    <a:gd name="T15" fmla="*/ 112 h 121"/>
                    <a:gd name="T16" fmla="*/ 94 w 149"/>
                    <a:gd name="T17" fmla="*/ 110 h 121"/>
                    <a:gd name="T18" fmla="*/ 90 w 149"/>
                    <a:gd name="T19" fmla="*/ 109 h 121"/>
                    <a:gd name="T20" fmla="*/ 84 w 149"/>
                    <a:gd name="T21" fmla="*/ 106 h 121"/>
                    <a:gd name="T22" fmla="*/ 71 w 149"/>
                    <a:gd name="T23" fmla="*/ 102 h 121"/>
                    <a:gd name="T24" fmla="*/ 68 w 149"/>
                    <a:gd name="T25" fmla="*/ 97 h 121"/>
                    <a:gd name="T26" fmla="*/ 58 w 149"/>
                    <a:gd name="T27" fmla="*/ 76 h 121"/>
                    <a:gd name="T28" fmla="*/ 54 w 149"/>
                    <a:gd name="T29" fmla="*/ 70 h 121"/>
                    <a:gd name="T30" fmla="*/ 48 w 149"/>
                    <a:gd name="T31" fmla="*/ 67 h 121"/>
                    <a:gd name="T32" fmla="*/ 42 w 149"/>
                    <a:gd name="T33" fmla="*/ 63 h 121"/>
                    <a:gd name="T34" fmla="*/ 36 w 149"/>
                    <a:gd name="T35" fmla="*/ 57 h 121"/>
                    <a:gd name="T36" fmla="*/ 20 w 149"/>
                    <a:gd name="T37" fmla="*/ 39 h 121"/>
                    <a:gd name="T38" fmla="*/ 10 w 149"/>
                    <a:gd name="T39" fmla="*/ 37 h 121"/>
                    <a:gd name="T40" fmla="*/ 0 w 149"/>
                    <a:gd name="T41" fmla="*/ 34 h 121"/>
                    <a:gd name="T42" fmla="*/ 2 w 149"/>
                    <a:gd name="T43" fmla="*/ 34 h 121"/>
                    <a:gd name="T44" fmla="*/ 5 w 149"/>
                    <a:gd name="T45" fmla="*/ 34 h 121"/>
                    <a:gd name="T46" fmla="*/ 9 w 149"/>
                    <a:gd name="T47" fmla="*/ 34 h 121"/>
                    <a:gd name="T48" fmla="*/ 9 w 149"/>
                    <a:gd name="T49" fmla="*/ 34 h 121"/>
                    <a:gd name="T50" fmla="*/ 20 w 149"/>
                    <a:gd name="T51" fmla="*/ 34 h 121"/>
                    <a:gd name="T52" fmla="*/ 20 w 149"/>
                    <a:gd name="T53" fmla="*/ 34 h 121"/>
                    <a:gd name="T54" fmla="*/ 39 w 149"/>
                    <a:gd name="T55" fmla="*/ 37 h 121"/>
                    <a:gd name="T56" fmla="*/ 57 w 149"/>
                    <a:gd name="T57" fmla="*/ 38 h 121"/>
                    <a:gd name="T58" fmla="*/ 61 w 149"/>
                    <a:gd name="T59" fmla="*/ 35 h 121"/>
                    <a:gd name="T60" fmla="*/ 71 w 149"/>
                    <a:gd name="T61" fmla="*/ 22 h 121"/>
                    <a:gd name="T62" fmla="*/ 76 w 149"/>
                    <a:gd name="T63" fmla="*/ 16 h 121"/>
                    <a:gd name="T64" fmla="*/ 90 w 149"/>
                    <a:gd name="T65" fmla="*/ 3 h 121"/>
                    <a:gd name="T66" fmla="*/ 96 w 149"/>
                    <a:gd name="T67" fmla="*/ 0 h 121"/>
                    <a:gd name="T68" fmla="*/ 97 w 149"/>
                    <a:gd name="T69" fmla="*/ 0 h 121"/>
                    <a:gd name="T70" fmla="*/ 97 w 149"/>
                    <a:gd name="T71" fmla="*/ 0 h 121"/>
                    <a:gd name="T72" fmla="*/ 106 w 149"/>
                    <a:gd name="T73" fmla="*/ 2 h 121"/>
                    <a:gd name="T74" fmla="*/ 126 w 149"/>
                    <a:gd name="T75" fmla="*/ 6 h 121"/>
                    <a:gd name="T76" fmla="*/ 128 w 149"/>
                    <a:gd name="T77" fmla="*/ 6 h 121"/>
                    <a:gd name="T78" fmla="*/ 142 w 149"/>
                    <a:gd name="T79" fmla="*/ 15 h 121"/>
                    <a:gd name="T80" fmla="*/ 149 w 149"/>
                    <a:gd name="T81" fmla="*/ 23 h 121"/>
                    <a:gd name="T82" fmla="*/ 149 w 149"/>
                    <a:gd name="T83" fmla="*/ 44 h 121"/>
                    <a:gd name="T84" fmla="*/ 149 w 149"/>
                    <a:gd name="T85" fmla="*/ 67 h 121"/>
                    <a:gd name="T86" fmla="*/ 148 w 149"/>
                    <a:gd name="T87" fmla="*/ 76 h 121"/>
                    <a:gd name="T88" fmla="*/ 139 w 149"/>
                    <a:gd name="T89" fmla="*/ 94 h 121"/>
                    <a:gd name="T90" fmla="*/ 133 w 149"/>
                    <a:gd name="T91" fmla="*/ 100 h 121"/>
                    <a:gd name="T92" fmla="*/ 131 w 149"/>
                    <a:gd name="T93" fmla="*/ 103 h 121"/>
                    <a:gd name="T94" fmla="*/ 126 w 149"/>
                    <a:gd name="T95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49" h="121">
                      <a:moveTo>
                        <a:pt x="126" y="121"/>
                      </a:moveTo>
                      <a:lnTo>
                        <a:pt x="126" y="121"/>
                      </a:lnTo>
                      <a:lnTo>
                        <a:pt x="122" y="116"/>
                      </a:lnTo>
                      <a:lnTo>
                        <a:pt x="119" y="115"/>
                      </a:lnTo>
                      <a:lnTo>
                        <a:pt x="118" y="113"/>
                      </a:lnTo>
                      <a:lnTo>
                        <a:pt x="118" y="113"/>
                      </a:lnTo>
                      <a:lnTo>
                        <a:pt x="116" y="115"/>
                      </a:lnTo>
                      <a:lnTo>
                        <a:pt x="116" y="115"/>
                      </a:lnTo>
                      <a:lnTo>
                        <a:pt x="115" y="115"/>
                      </a:lnTo>
                      <a:lnTo>
                        <a:pt x="115" y="115"/>
                      </a:lnTo>
                      <a:lnTo>
                        <a:pt x="112" y="115"/>
                      </a:lnTo>
                      <a:lnTo>
                        <a:pt x="112" y="115"/>
                      </a:lnTo>
                      <a:lnTo>
                        <a:pt x="103" y="113"/>
                      </a:lnTo>
                      <a:lnTo>
                        <a:pt x="94" y="110"/>
                      </a:lnTo>
                      <a:lnTo>
                        <a:pt x="94" y="110"/>
                      </a:lnTo>
                      <a:lnTo>
                        <a:pt x="94" y="112"/>
                      </a:lnTo>
                      <a:lnTo>
                        <a:pt x="94" y="112"/>
                      </a:lnTo>
                      <a:lnTo>
                        <a:pt x="94" y="110"/>
                      </a:lnTo>
                      <a:lnTo>
                        <a:pt x="94" y="110"/>
                      </a:lnTo>
                      <a:lnTo>
                        <a:pt x="90" y="109"/>
                      </a:lnTo>
                      <a:lnTo>
                        <a:pt x="90" y="109"/>
                      </a:lnTo>
                      <a:lnTo>
                        <a:pt x="84" y="106"/>
                      </a:lnTo>
                      <a:lnTo>
                        <a:pt x="77" y="103"/>
                      </a:lnTo>
                      <a:lnTo>
                        <a:pt x="71" y="102"/>
                      </a:lnTo>
                      <a:lnTo>
                        <a:pt x="68" y="97"/>
                      </a:lnTo>
                      <a:lnTo>
                        <a:pt x="68" y="97"/>
                      </a:lnTo>
                      <a:lnTo>
                        <a:pt x="62" y="84"/>
                      </a:lnTo>
                      <a:lnTo>
                        <a:pt x="58" y="76"/>
                      </a:lnTo>
                      <a:lnTo>
                        <a:pt x="54" y="70"/>
                      </a:lnTo>
                      <a:lnTo>
                        <a:pt x="54" y="70"/>
                      </a:lnTo>
                      <a:lnTo>
                        <a:pt x="49" y="68"/>
                      </a:lnTo>
                      <a:lnTo>
                        <a:pt x="48" y="67"/>
                      </a:lnTo>
                      <a:lnTo>
                        <a:pt x="45" y="67"/>
                      </a:lnTo>
                      <a:lnTo>
                        <a:pt x="42" y="63"/>
                      </a:lnTo>
                      <a:lnTo>
                        <a:pt x="42" y="63"/>
                      </a:lnTo>
                      <a:lnTo>
                        <a:pt x="36" y="57"/>
                      </a:lnTo>
                      <a:lnTo>
                        <a:pt x="29" y="48"/>
                      </a:lnTo>
                      <a:lnTo>
                        <a:pt x="20" y="39"/>
                      </a:lnTo>
                      <a:lnTo>
                        <a:pt x="16" y="38"/>
                      </a:lnTo>
                      <a:lnTo>
                        <a:pt x="10" y="37"/>
                      </a:lnTo>
                      <a:lnTo>
                        <a:pt x="10" y="37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2" y="34"/>
                      </a:lnTo>
                      <a:lnTo>
                        <a:pt x="2" y="34"/>
                      </a:lnTo>
                      <a:lnTo>
                        <a:pt x="5" y="34"/>
                      </a:lnTo>
                      <a:lnTo>
                        <a:pt x="5" y="34"/>
                      </a:lnTo>
                      <a:lnTo>
                        <a:pt x="9" y="34"/>
                      </a:lnTo>
                      <a:lnTo>
                        <a:pt x="9" y="34"/>
                      </a:lnTo>
                      <a:lnTo>
                        <a:pt x="9" y="34"/>
                      </a:lnTo>
                      <a:lnTo>
                        <a:pt x="9" y="34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39" y="37"/>
                      </a:lnTo>
                      <a:lnTo>
                        <a:pt x="57" y="38"/>
                      </a:lnTo>
                      <a:lnTo>
                        <a:pt x="57" y="38"/>
                      </a:lnTo>
                      <a:lnTo>
                        <a:pt x="58" y="37"/>
                      </a:lnTo>
                      <a:lnTo>
                        <a:pt x="61" y="35"/>
                      </a:lnTo>
                      <a:lnTo>
                        <a:pt x="65" y="29"/>
                      </a:lnTo>
                      <a:lnTo>
                        <a:pt x="71" y="22"/>
                      </a:lnTo>
                      <a:lnTo>
                        <a:pt x="76" y="16"/>
                      </a:lnTo>
                      <a:lnTo>
                        <a:pt x="76" y="16"/>
                      </a:lnTo>
                      <a:lnTo>
                        <a:pt x="84" y="6"/>
                      </a:lnTo>
                      <a:lnTo>
                        <a:pt x="90" y="3"/>
                      </a:lnTo>
                      <a:lnTo>
                        <a:pt x="96" y="0"/>
                      </a:lnTo>
                      <a:lnTo>
                        <a:pt x="96" y="0"/>
                      </a:lnTo>
                      <a:lnTo>
                        <a:pt x="97" y="0"/>
                      </a:lnTo>
                      <a:lnTo>
                        <a:pt x="97" y="0"/>
                      </a:lnTo>
                      <a:lnTo>
                        <a:pt x="97" y="0"/>
                      </a:lnTo>
                      <a:lnTo>
                        <a:pt x="97" y="0"/>
                      </a:lnTo>
                      <a:lnTo>
                        <a:pt x="106" y="2"/>
                      </a:lnTo>
                      <a:lnTo>
                        <a:pt x="106" y="2"/>
                      </a:lnTo>
                      <a:lnTo>
                        <a:pt x="126" y="6"/>
                      </a:lnTo>
                      <a:lnTo>
                        <a:pt x="126" y="6"/>
                      </a:lnTo>
                      <a:lnTo>
                        <a:pt x="128" y="6"/>
                      </a:lnTo>
                      <a:lnTo>
                        <a:pt x="128" y="6"/>
                      </a:lnTo>
                      <a:lnTo>
                        <a:pt x="135" y="9"/>
                      </a:lnTo>
                      <a:lnTo>
                        <a:pt x="142" y="15"/>
                      </a:lnTo>
                      <a:lnTo>
                        <a:pt x="146" y="19"/>
                      </a:lnTo>
                      <a:lnTo>
                        <a:pt x="149" y="23"/>
                      </a:lnTo>
                      <a:lnTo>
                        <a:pt x="149" y="23"/>
                      </a:lnTo>
                      <a:lnTo>
                        <a:pt x="149" y="44"/>
                      </a:lnTo>
                      <a:lnTo>
                        <a:pt x="149" y="44"/>
                      </a:lnTo>
                      <a:lnTo>
                        <a:pt x="149" y="67"/>
                      </a:lnTo>
                      <a:lnTo>
                        <a:pt x="149" y="67"/>
                      </a:lnTo>
                      <a:lnTo>
                        <a:pt x="148" y="76"/>
                      </a:lnTo>
                      <a:lnTo>
                        <a:pt x="144" y="86"/>
                      </a:lnTo>
                      <a:lnTo>
                        <a:pt x="139" y="94"/>
                      </a:lnTo>
                      <a:lnTo>
                        <a:pt x="136" y="99"/>
                      </a:lnTo>
                      <a:lnTo>
                        <a:pt x="133" y="100"/>
                      </a:lnTo>
                      <a:lnTo>
                        <a:pt x="133" y="100"/>
                      </a:lnTo>
                      <a:lnTo>
                        <a:pt x="131" y="103"/>
                      </a:lnTo>
                      <a:lnTo>
                        <a:pt x="129" y="109"/>
                      </a:lnTo>
                      <a:lnTo>
                        <a:pt x="126" y="12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70" name="Freeform 221"/>
                <p:cNvSpPr>
                  <a:spLocks/>
                </p:cNvSpPr>
                <p:nvPr/>
              </p:nvSpPr>
              <p:spPr bwMode="auto">
                <a:xfrm>
                  <a:off x="4794583" y="3575335"/>
                  <a:ext cx="147400" cy="119700"/>
                </a:xfrm>
                <a:custGeom>
                  <a:avLst/>
                  <a:gdLst>
                    <a:gd name="T0" fmla="*/ 126 w 149"/>
                    <a:gd name="T1" fmla="*/ 121 h 121"/>
                    <a:gd name="T2" fmla="*/ 119 w 149"/>
                    <a:gd name="T3" fmla="*/ 115 h 121"/>
                    <a:gd name="T4" fmla="*/ 118 w 149"/>
                    <a:gd name="T5" fmla="*/ 113 h 121"/>
                    <a:gd name="T6" fmla="*/ 116 w 149"/>
                    <a:gd name="T7" fmla="*/ 115 h 121"/>
                    <a:gd name="T8" fmla="*/ 115 w 149"/>
                    <a:gd name="T9" fmla="*/ 115 h 121"/>
                    <a:gd name="T10" fmla="*/ 112 w 149"/>
                    <a:gd name="T11" fmla="*/ 115 h 121"/>
                    <a:gd name="T12" fmla="*/ 94 w 149"/>
                    <a:gd name="T13" fmla="*/ 110 h 121"/>
                    <a:gd name="T14" fmla="*/ 94 w 149"/>
                    <a:gd name="T15" fmla="*/ 112 h 121"/>
                    <a:gd name="T16" fmla="*/ 94 w 149"/>
                    <a:gd name="T17" fmla="*/ 110 h 121"/>
                    <a:gd name="T18" fmla="*/ 90 w 149"/>
                    <a:gd name="T19" fmla="*/ 109 h 121"/>
                    <a:gd name="T20" fmla="*/ 84 w 149"/>
                    <a:gd name="T21" fmla="*/ 106 h 121"/>
                    <a:gd name="T22" fmla="*/ 71 w 149"/>
                    <a:gd name="T23" fmla="*/ 102 h 121"/>
                    <a:gd name="T24" fmla="*/ 68 w 149"/>
                    <a:gd name="T25" fmla="*/ 97 h 121"/>
                    <a:gd name="T26" fmla="*/ 58 w 149"/>
                    <a:gd name="T27" fmla="*/ 76 h 121"/>
                    <a:gd name="T28" fmla="*/ 54 w 149"/>
                    <a:gd name="T29" fmla="*/ 70 h 121"/>
                    <a:gd name="T30" fmla="*/ 48 w 149"/>
                    <a:gd name="T31" fmla="*/ 67 h 121"/>
                    <a:gd name="T32" fmla="*/ 42 w 149"/>
                    <a:gd name="T33" fmla="*/ 63 h 121"/>
                    <a:gd name="T34" fmla="*/ 36 w 149"/>
                    <a:gd name="T35" fmla="*/ 57 h 121"/>
                    <a:gd name="T36" fmla="*/ 20 w 149"/>
                    <a:gd name="T37" fmla="*/ 39 h 121"/>
                    <a:gd name="T38" fmla="*/ 10 w 149"/>
                    <a:gd name="T39" fmla="*/ 37 h 121"/>
                    <a:gd name="T40" fmla="*/ 0 w 149"/>
                    <a:gd name="T41" fmla="*/ 34 h 121"/>
                    <a:gd name="T42" fmla="*/ 2 w 149"/>
                    <a:gd name="T43" fmla="*/ 34 h 121"/>
                    <a:gd name="T44" fmla="*/ 5 w 149"/>
                    <a:gd name="T45" fmla="*/ 34 h 121"/>
                    <a:gd name="T46" fmla="*/ 9 w 149"/>
                    <a:gd name="T47" fmla="*/ 34 h 121"/>
                    <a:gd name="T48" fmla="*/ 9 w 149"/>
                    <a:gd name="T49" fmla="*/ 34 h 121"/>
                    <a:gd name="T50" fmla="*/ 20 w 149"/>
                    <a:gd name="T51" fmla="*/ 34 h 121"/>
                    <a:gd name="T52" fmla="*/ 20 w 149"/>
                    <a:gd name="T53" fmla="*/ 34 h 121"/>
                    <a:gd name="T54" fmla="*/ 39 w 149"/>
                    <a:gd name="T55" fmla="*/ 37 h 121"/>
                    <a:gd name="T56" fmla="*/ 57 w 149"/>
                    <a:gd name="T57" fmla="*/ 38 h 121"/>
                    <a:gd name="T58" fmla="*/ 61 w 149"/>
                    <a:gd name="T59" fmla="*/ 35 h 121"/>
                    <a:gd name="T60" fmla="*/ 71 w 149"/>
                    <a:gd name="T61" fmla="*/ 22 h 121"/>
                    <a:gd name="T62" fmla="*/ 76 w 149"/>
                    <a:gd name="T63" fmla="*/ 16 h 121"/>
                    <a:gd name="T64" fmla="*/ 90 w 149"/>
                    <a:gd name="T65" fmla="*/ 3 h 121"/>
                    <a:gd name="T66" fmla="*/ 96 w 149"/>
                    <a:gd name="T67" fmla="*/ 0 h 121"/>
                    <a:gd name="T68" fmla="*/ 97 w 149"/>
                    <a:gd name="T69" fmla="*/ 0 h 121"/>
                    <a:gd name="T70" fmla="*/ 97 w 149"/>
                    <a:gd name="T71" fmla="*/ 0 h 121"/>
                    <a:gd name="T72" fmla="*/ 106 w 149"/>
                    <a:gd name="T73" fmla="*/ 2 h 121"/>
                    <a:gd name="T74" fmla="*/ 126 w 149"/>
                    <a:gd name="T75" fmla="*/ 6 h 121"/>
                    <a:gd name="T76" fmla="*/ 128 w 149"/>
                    <a:gd name="T77" fmla="*/ 6 h 121"/>
                    <a:gd name="T78" fmla="*/ 142 w 149"/>
                    <a:gd name="T79" fmla="*/ 15 h 121"/>
                    <a:gd name="T80" fmla="*/ 149 w 149"/>
                    <a:gd name="T81" fmla="*/ 23 h 121"/>
                    <a:gd name="T82" fmla="*/ 149 w 149"/>
                    <a:gd name="T83" fmla="*/ 44 h 121"/>
                    <a:gd name="T84" fmla="*/ 149 w 149"/>
                    <a:gd name="T85" fmla="*/ 67 h 121"/>
                    <a:gd name="T86" fmla="*/ 148 w 149"/>
                    <a:gd name="T87" fmla="*/ 76 h 121"/>
                    <a:gd name="T88" fmla="*/ 139 w 149"/>
                    <a:gd name="T89" fmla="*/ 94 h 121"/>
                    <a:gd name="T90" fmla="*/ 133 w 149"/>
                    <a:gd name="T91" fmla="*/ 100 h 121"/>
                    <a:gd name="T92" fmla="*/ 131 w 149"/>
                    <a:gd name="T93" fmla="*/ 103 h 121"/>
                    <a:gd name="T94" fmla="*/ 126 w 149"/>
                    <a:gd name="T95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49" h="121">
                      <a:moveTo>
                        <a:pt x="126" y="121"/>
                      </a:moveTo>
                      <a:lnTo>
                        <a:pt x="126" y="121"/>
                      </a:lnTo>
                      <a:lnTo>
                        <a:pt x="122" y="116"/>
                      </a:lnTo>
                      <a:lnTo>
                        <a:pt x="119" y="115"/>
                      </a:lnTo>
                      <a:lnTo>
                        <a:pt x="118" y="113"/>
                      </a:lnTo>
                      <a:lnTo>
                        <a:pt x="118" y="113"/>
                      </a:lnTo>
                      <a:lnTo>
                        <a:pt x="116" y="115"/>
                      </a:lnTo>
                      <a:lnTo>
                        <a:pt x="116" y="115"/>
                      </a:lnTo>
                      <a:lnTo>
                        <a:pt x="115" y="115"/>
                      </a:lnTo>
                      <a:lnTo>
                        <a:pt x="115" y="115"/>
                      </a:lnTo>
                      <a:lnTo>
                        <a:pt x="112" y="115"/>
                      </a:lnTo>
                      <a:lnTo>
                        <a:pt x="112" y="115"/>
                      </a:lnTo>
                      <a:lnTo>
                        <a:pt x="103" y="113"/>
                      </a:lnTo>
                      <a:lnTo>
                        <a:pt x="94" y="110"/>
                      </a:lnTo>
                      <a:lnTo>
                        <a:pt x="94" y="110"/>
                      </a:lnTo>
                      <a:lnTo>
                        <a:pt x="94" y="112"/>
                      </a:lnTo>
                      <a:lnTo>
                        <a:pt x="94" y="112"/>
                      </a:lnTo>
                      <a:lnTo>
                        <a:pt x="94" y="110"/>
                      </a:lnTo>
                      <a:lnTo>
                        <a:pt x="94" y="110"/>
                      </a:lnTo>
                      <a:lnTo>
                        <a:pt x="90" y="109"/>
                      </a:lnTo>
                      <a:lnTo>
                        <a:pt x="90" y="109"/>
                      </a:lnTo>
                      <a:lnTo>
                        <a:pt x="84" y="106"/>
                      </a:lnTo>
                      <a:lnTo>
                        <a:pt x="77" y="103"/>
                      </a:lnTo>
                      <a:lnTo>
                        <a:pt x="71" y="102"/>
                      </a:lnTo>
                      <a:lnTo>
                        <a:pt x="68" y="97"/>
                      </a:lnTo>
                      <a:lnTo>
                        <a:pt x="68" y="97"/>
                      </a:lnTo>
                      <a:lnTo>
                        <a:pt x="62" y="84"/>
                      </a:lnTo>
                      <a:lnTo>
                        <a:pt x="58" y="76"/>
                      </a:lnTo>
                      <a:lnTo>
                        <a:pt x="54" y="70"/>
                      </a:lnTo>
                      <a:lnTo>
                        <a:pt x="54" y="70"/>
                      </a:lnTo>
                      <a:lnTo>
                        <a:pt x="49" y="68"/>
                      </a:lnTo>
                      <a:lnTo>
                        <a:pt x="48" y="67"/>
                      </a:lnTo>
                      <a:lnTo>
                        <a:pt x="45" y="67"/>
                      </a:lnTo>
                      <a:lnTo>
                        <a:pt x="42" y="63"/>
                      </a:lnTo>
                      <a:lnTo>
                        <a:pt x="42" y="63"/>
                      </a:lnTo>
                      <a:lnTo>
                        <a:pt x="36" y="57"/>
                      </a:lnTo>
                      <a:lnTo>
                        <a:pt x="29" y="48"/>
                      </a:lnTo>
                      <a:lnTo>
                        <a:pt x="20" y="39"/>
                      </a:lnTo>
                      <a:lnTo>
                        <a:pt x="16" y="38"/>
                      </a:lnTo>
                      <a:lnTo>
                        <a:pt x="10" y="37"/>
                      </a:lnTo>
                      <a:lnTo>
                        <a:pt x="10" y="37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2" y="34"/>
                      </a:lnTo>
                      <a:lnTo>
                        <a:pt x="2" y="34"/>
                      </a:lnTo>
                      <a:lnTo>
                        <a:pt x="5" y="34"/>
                      </a:lnTo>
                      <a:lnTo>
                        <a:pt x="5" y="34"/>
                      </a:lnTo>
                      <a:lnTo>
                        <a:pt x="9" y="34"/>
                      </a:lnTo>
                      <a:lnTo>
                        <a:pt x="9" y="34"/>
                      </a:lnTo>
                      <a:lnTo>
                        <a:pt x="9" y="34"/>
                      </a:lnTo>
                      <a:lnTo>
                        <a:pt x="9" y="34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39" y="37"/>
                      </a:lnTo>
                      <a:lnTo>
                        <a:pt x="57" y="38"/>
                      </a:lnTo>
                      <a:lnTo>
                        <a:pt x="57" y="38"/>
                      </a:lnTo>
                      <a:lnTo>
                        <a:pt x="58" y="37"/>
                      </a:lnTo>
                      <a:lnTo>
                        <a:pt x="61" y="35"/>
                      </a:lnTo>
                      <a:lnTo>
                        <a:pt x="65" y="29"/>
                      </a:lnTo>
                      <a:lnTo>
                        <a:pt x="71" y="22"/>
                      </a:lnTo>
                      <a:lnTo>
                        <a:pt x="76" y="16"/>
                      </a:lnTo>
                      <a:lnTo>
                        <a:pt x="76" y="16"/>
                      </a:lnTo>
                      <a:lnTo>
                        <a:pt x="84" y="6"/>
                      </a:lnTo>
                      <a:lnTo>
                        <a:pt x="90" y="3"/>
                      </a:lnTo>
                      <a:lnTo>
                        <a:pt x="96" y="0"/>
                      </a:lnTo>
                      <a:lnTo>
                        <a:pt x="96" y="0"/>
                      </a:lnTo>
                      <a:lnTo>
                        <a:pt x="97" y="0"/>
                      </a:lnTo>
                      <a:lnTo>
                        <a:pt x="97" y="0"/>
                      </a:lnTo>
                      <a:lnTo>
                        <a:pt x="97" y="0"/>
                      </a:lnTo>
                      <a:lnTo>
                        <a:pt x="97" y="0"/>
                      </a:lnTo>
                      <a:lnTo>
                        <a:pt x="106" y="2"/>
                      </a:lnTo>
                      <a:lnTo>
                        <a:pt x="106" y="2"/>
                      </a:lnTo>
                      <a:lnTo>
                        <a:pt x="126" y="6"/>
                      </a:lnTo>
                      <a:lnTo>
                        <a:pt x="126" y="6"/>
                      </a:lnTo>
                      <a:lnTo>
                        <a:pt x="128" y="6"/>
                      </a:lnTo>
                      <a:lnTo>
                        <a:pt x="128" y="6"/>
                      </a:lnTo>
                      <a:lnTo>
                        <a:pt x="135" y="9"/>
                      </a:lnTo>
                      <a:lnTo>
                        <a:pt x="142" y="15"/>
                      </a:lnTo>
                      <a:lnTo>
                        <a:pt x="146" y="19"/>
                      </a:lnTo>
                      <a:lnTo>
                        <a:pt x="149" y="23"/>
                      </a:lnTo>
                      <a:lnTo>
                        <a:pt x="149" y="23"/>
                      </a:lnTo>
                      <a:lnTo>
                        <a:pt x="149" y="44"/>
                      </a:lnTo>
                      <a:lnTo>
                        <a:pt x="149" y="44"/>
                      </a:lnTo>
                      <a:lnTo>
                        <a:pt x="149" y="67"/>
                      </a:lnTo>
                      <a:lnTo>
                        <a:pt x="149" y="67"/>
                      </a:lnTo>
                      <a:lnTo>
                        <a:pt x="148" y="76"/>
                      </a:lnTo>
                      <a:lnTo>
                        <a:pt x="144" y="86"/>
                      </a:lnTo>
                      <a:lnTo>
                        <a:pt x="139" y="94"/>
                      </a:lnTo>
                      <a:lnTo>
                        <a:pt x="136" y="99"/>
                      </a:lnTo>
                      <a:lnTo>
                        <a:pt x="133" y="100"/>
                      </a:lnTo>
                      <a:lnTo>
                        <a:pt x="133" y="100"/>
                      </a:lnTo>
                      <a:lnTo>
                        <a:pt x="131" y="103"/>
                      </a:lnTo>
                      <a:lnTo>
                        <a:pt x="129" y="109"/>
                      </a:lnTo>
                      <a:lnTo>
                        <a:pt x="126" y="12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71" name="Freeform 222"/>
                <p:cNvSpPr>
                  <a:spLocks noEditPoints="1"/>
                </p:cNvSpPr>
                <p:nvPr/>
              </p:nvSpPr>
              <p:spPr bwMode="auto">
                <a:xfrm>
                  <a:off x="4899445" y="3577313"/>
                  <a:ext cx="42538" cy="117722"/>
                </a:xfrm>
                <a:custGeom>
                  <a:avLst/>
                  <a:gdLst>
                    <a:gd name="T0" fmla="*/ 20 w 43"/>
                    <a:gd name="T1" fmla="*/ 4 h 119"/>
                    <a:gd name="T2" fmla="*/ 20 w 43"/>
                    <a:gd name="T3" fmla="*/ 4 h 119"/>
                    <a:gd name="T4" fmla="*/ 0 w 43"/>
                    <a:gd name="T5" fmla="*/ 0 h 119"/>
                    <a:gd name="T6" fmla="*/ 0 w 43"/>
                    <a:gd name="T7" fmla="*/ 0 h 119"/>
                    <a:gd name="T8" fmla="*/ 0 w 43"/>
                    <a:gd name="T9" fmla="*/ 0 h 119"/>
                    <a:gd name="T10" fmla="*/ 0 w 43"/>
                    <a:gd name="T11" fmla="*/ 0 h 119"/>
                    <a:gd name="T12" fmla="*/ 20 w 43"/>
                    <a:gd name="T13" fmla="*/ 4 h 119"/>
                    <a:gd name="T14" fmla="*/ 20 w 43"/>
                    <a:gd name="T15" fmla="*/ 119 h 119"/>
                    <a:gd name="T16" fmla="*/ 20 w 43"/>
                    <a:gd name="T17" fmla="*/ 119 h 119"/>
                    <a:gd name="T18" fmla="*/ 20 w 43"/>
                    <a:gd name="T19" fmla="*/ 119 h 119"/>
                    <a:gd name="T20" fmla="*/ 23 w 43"/>
                    <a:gd name="T21" fmla="*/ 107 h 119"/>
                    <a:gd name="T22" fmla="*/ 25 w 43"/>
                    <a:gd name="T23" fmla="*/ 101 h 119"/>
                    <a:gd name="T24" fmla="*/ 27 w 43"/>
                    <a:gd name="T25" fmla="*/ 98 h 119"/>
                    <a:gd name="T26" fmla="*/ 27 w 43"/>
                    <a:gd name="T27" fmla="*/ 98 h 119"/>
                    <a:gd name="T28" fmla="*/ 30 w 43"/>
                    <a:gd name="T29" fmla="*/ 97 h 119"/>
                    <a:gd name="T30" fmla="*/ 33 w 43"/>
                    <a:gd name="T31" fmla="*/ 92 h 119"/>
                    <a:gd name="T32" fmla="*/ 38 w 43"/>
                    <a:gd name="T33" fmla="*/ 84 h 119"/>
                    <a:gd name="T34" fmla="*/ 42 w 43"/>
                    <a:gd name="T35" fmla="*/ 74 h 119"/>
                    <a:gd name="T36" fmla="*/ 43 w 43"/>
                    <a:gd name="T37" fmla="*/ 65 h 119"/>
                    <a:gd name="T38" fmla="*/ 43 w 43"/>
                    <a:gd name="T39" fmla="*/ 65 h 119"/>
                    <a:gd name="T40" fmla="*/ 43 w 43"/>
                    <a:gd name="T41" fmla="*/ 42 h 119"/>
                    <a:gd name="T42" fmla="*/ 43 w 43"/>
                    <a:gd name="T43" fmla="*/ 42 h 119"/>
                    <a:gd name="T44" fmla="*/ 43 w 43"/>
                    <a:gd name="T45" fmla="*/ 65 h 119"/>
                    <a:gd name="T46" fmla="*/ 43 w 43"/>
                    <a:gd name="T47" fmla="*/ 65 h 119"/>
                    <a:gd name="T48" fmla="*/ 42 w 43"/>
                    <a:gd name="T49" fmla="*/ 74 h 119"/>
                    <a:gd name="T50" fmla="*/ 38 w 43"/>
                    <a:gd name="T51" fmla="*/ 84 h 119"/>
                    <a:gd name="T52" fmla="*/ 33 w 43"/>
                    <a:gd name="T53" fmla="*/ 92 h 119"/>
                    <a:gd name="T54" fmla="*/ 30 w 43"/>
                    <a:gd name="T55" fmla="*/ 97 h 119"/>
                    <a:gd name="T56" fmla="*/ 27 w 43"/>
                    <a:gd name="T57" fmla="*/ 98 h 119"/>
                    <a:gd name="T58" fmla="*/ 27 w 43"/>
                    <a:gd name="T59" fmla="*/ 98 h 119"/>
                    <a:gd name="T60" fmla="*/ 25 w 43"/>
                    <a:gd name="T61" fmla="*/ 101 h 119"/>
                    <a:gd name="T62" fmla="*/ 23 w 43"/>
                    <a:gd name="T63" fmla="*/ 107 h 119"/>
                    <a:gd name="T64" fmla="*/ 20 w 43"/>
                    <a:gd name="T65" fmla="*/ 119 h 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3" h="119">
                      <a:moveTo>
                        <a:pt x="20" y="4"/>
                      </a:moveTo>
                      <a:lnTo>
                        <a:pt x="2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0" y="4"/>
                      </a:lnTo>
                      <a:close/>
                      <a:moveTo>
                        <a:pt x="20" y="119"/>
                      </a:moveTo>
                      <a:lnTo>
                        <a:pt x="20" y="119"/>
                      </a:lnTo>
                      <a:lnTo>
                        <a:pt x="20" y="119"/>
                      </a:lnTo>
                      <a:lnTo>
                        <a:pt x="23" y="107"/>
                      </a:lnTo>
                      <a:lnTo>
                        <a:pt x="25" y="101"/>
                      </a:lnTo>
                      <a:lnTo>
                        <a:pt x="27" y="98"/>
                      </a:lnTo>
                      <a:lnTo>
                        <a:pt x="27" y="98"/>
                      </a:lnTo>
                      <a:lnTo>
                        <a:pt x="30" y="97"/>
                      </a:lnTo>
                      <a:lnTo>
                        <a:pt x="33" y="92"/>
                      </a:lnTo>
                      <a:lnTo>
                        <a:pt x="38" y="84"/>
                      </a:lnTo>
                      <a:lnTo>
                        <a:pt x="42" y="74"/>
                      </a:lnTo>
                      <a:lnTo>
                        <a:pt x="43" y="65"/>
                      </a:lnTo>
                      <a:lnTo>
                        <a:pt x="43" y="65"/>
                      </a:lnTo>
                      <a:lnTo>
                        <a:pt x="43" y="42"/>
                      </a:lnTo>
                      <a:lnTo>
                        <a:pt x="43" y="42"/>
                      </a:lnTo>
                      <a:lnTo>
                        <a:pt x="43" y="65"/>
                      </a:lnTo>
                      <a:lnTo>
                        <a:pt x="43" y="65"/>
                      </a:lnTo>
                      <a:lnTo>
                        <a:pt x="42" y="74"/>
                      </a:lnTo>
                      <a:lnTo>
                        <a:pt x="38" y="84"/>
                      </a:lnTo>
                      <a:lnTo>
                        <a:pt x="33" y="92"/>
                      </a:lnTo>
                      <a:lnTo>
                        <a:pt x="30" y="97"/>
                      </a:lnTo>
                      <a:lnTo>
                        <a:pt x="27" y="98"/>
                      </a:lnTo>
                      <a:lnTo>
                        <a:pt x="27" y="98"/>
                      </a:lnTo>
                      <a:lnTo>
                        <a:pt x="25" y="101"/>
                      </a:lnTo>
                      <a:lnTo>
                        <a:pt x="23" y="107"/>
                      </a:lnTo>
                      <a:lnTo>
                        <a:pt x="20" y="11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72" name="Freeform 223"/>
                <p:cNvSpPr>
                  <a:spLocks/>
                </p:cNvSpPr>
                <p:nvPr/>
              </p:nvSpPr>
              <p:spPr bwMode="auto">
                <a:xfrm>
                  <a:off x="4899445" y="3577313"/>
                  <a:ext cx="19785" cy="3957"/>
                </a:xfrm>
                <a:custGeom>
                  <a:avLst/>
                  <a:gdLst>
                    <a:gd name="T0" fmla="*/ 20 w 20"/>
                    <a:gd name="T1" fmla="*/ 4 h 4"/>
                    <a:gd name="T2" fmla="*/ 20 w 20"/>
                    <a:gd name="T3" fmla="*/ 4 h 4"/>
                    <a:gd name="T4" fmla="*/ 0 w 20"/>
                    <a:gd name="T5" fmla="*/ 0 h 4"/>
                    <a:gd name="T6" fmla="*/ 0 w 20"/>
                    <a:gd name="T7" fmla="*/ 0 h 4"/>
                    <a:gd name="T8" fmla="*/ 0 w 20"/>
                    <a:gd name="T9" fmla="*/ 0 h 4"/>
                    <a:gd name="T10" fmla="*/ 0 w 20"/>
                    <a:gd name="T11" fmla="*/ 0 h 4"/>
                    <a:gd name="T12" fmla="*/ 20 w 20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4">
                      <a:moveTo>
                        <a:pt x="20" y="4"/>
                      </a:moveTo>
                      <a:lnTo>
                        <a:pt x="2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0" y="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73" name="Freeform 224"/>
                <p:cNvSpPr>
                  <a:spLocks/>
                </p:cNvSpPr>
                <p:nvPr/>
              </p:nvSpPr>
              <p:spPr bwMode="auto">
                <a:xfrm>
                  <a:off x="4919230" y="3618862"/>
                  <a:ext cx="22753" cy="76173"/>
                </a:xfrm>
                <a:custGeom>
                  <a:avLst/>
                  <a:gdLst>
                    <a:gd name="T0" fmla="*/ 0 w 23"/>
                    <a:gd name="T1" fmla="*/ 77 h 77"/>
                    <a:gd name="T2" fmla="*/ 0 w 23"/>
                    <a:gd name="T3" fmla="*/ 77 h 77"/>
                    <a:gd name="T4" fmla="*/ 0 w 23"/>
                    <a:gd name="T5" fmla="*/ 77 h 77"/>
                    <a:gd name="T6" fmla="*/ 3 w 23"/>
                    <a:gd name="T7" fmla="*/ 65 h 77"/>
                    <a:gd name="T8" fmla="*/ 5 w 23"/>
                    <a:gd name="T9" fmla="*/ 59 h 77"/>
                    <a:gd name="T10" fmla="*/ 7 w 23"/>
                    <a:gd name="T11" fmla="*/ 56 h 77"/>
                    <a:gd name="T12" fmla="*/ 7 w 23"/>
                    <a:gd name="T13" fmla="*/ 56 h 77"/>
                    <a:gd name="T14" fmla="*/ 10 w 23"/>
                    <a:gd name="T15" fmla="*/ 55 h 77"/>
                    <a:gd name="T16" fmla="*/ 13 w 23"/>
                    <a:gd name="T17" fmla="*/ 50 h 77"/>
                    <a:gd name="T18" fmla="*/ 18 w 23"/>
                    <a:gd name="T19" fmla="*/ 42 h 77"/>
                    <a:gd name="T20" fmla="*/ 22 w 23"/>
                    <a:gd name="T21" fmla="*/ 32 h 77"/>
                    <a:gd name="T22" fmla="*/ 23 w 23"/>
                    <a:gd name="T23" fmla="*/ 23 h 77"/>
                    <a:gd name="T24" fmla="*/ 23 w 23"/>
                    <a:gd name="T25" fmla="*/ 23 h 77"/>
                    <a:gd name="T26" fmla="*/ 23 w 23"/>
                    <a:gd name="T27" fmla="*/ 0 h 77"/>
                    <a:gd name="T28" fmla="*/ 23 w 23"/>
                    <a:gd name="T29" fmla="*/ 0 h 77"/>
                    <a:gd name="T30" fmla="*/ 23 w 23"/>
                    <a:gd name="T31" fmla="*/ 23 h 77"/>
                    <a:gd name="T32" fmla="*/ 23 w 23"/>
                    <a:gd name="T33" fmla="*/ 23 h 77"/>
                    <a:gd name="T34" fmla="*/ 22 w 23"/>
                    <a:gd name="T35" fmla="*/ 32 h 77"/>
                    <a:gd name="T36" fmla="*/ 18 w 23"/>
                    <a:gd name="T37" fmla="*/ 42 h 77"/>
                    <a:gd name="T38" fmla="*/ 13 w 23"/>
                    <a:gd name="T39" fmla="*/ 50 h 77"/>
                    <a:gd name="T40" fmla="*/ 10 w 23"/>
                    <a:gd name="T41" fmla="*/ 55 h 77"/>
                    <a:gd name="T42" fmla="*/ 7 w 23"/>
                    <a:gd name="T43" fmla="*/ 56 h 77"/>
                    <a:gd name="T44" fmla="*/ 7 w 23"/>
                    <a:gd name="T45" fmla="*/ 56 h 77"/>
                    <a:gd name="T46" fmla="*/ 5 w 23"/>
                    <a:gd name="T47" fmla="*/ 59 h 77"/>
                    <a:gd name="T48" fmla="*/ 3 w 23"/>
                    <a:gd name="T49" fmla="*/ 65 h 77"/>
                    <a:gd name="T50" fmla="*/ 0 w 23"/>
                    <a:gd name="T51" fmla="*/ 77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3" h="77">
                      <a:moveTo>
                        <a:pt x="0" y="77"/>
                      </a:moveTo>
                      <a:lnTo>
                        <a:pt x="0" y="77"/>
                      </a:lnTo>
                      <a:lnTo>
                        <a:pt x="0" y="77"/>
                      </a:lnTo>
                      <a:lnTo>
                        <a:pt x="3" y="65"/>
                      </a:lnTo>
                      <a:lnTo>
                        <a:pt x="5" y="59"/>
                      </a:lnTo>
                      <a:lnTo>
                        <a:pt x="7" y="56"/>
                      </a:lnTo>
                      <a:lnTo>
                        <a:pt x="7" y="56"/>
                      </a:lnTo>
                      <a:lnTo>
                        <a:pt x="10" y="55"/>
                      </a:lnTo>
                      <a:lnTo>
                        <a:pt x="13" y="50"/>
                      </a:lnTo>
                      <a:lnTo>
                        <a:pt x="18" y="42"/>
                      </a:lnTo>
                      <a:lnTo>
                        <a:pt x="22" y="32"/>
                      </a:lnTo>
                      <a:lnTo>
                        <a:pt x="23" y="23"/>
                      </a:lnTo>
                      <a:lnTo>
                        <a:pt x="23" y="23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3" y="23"/>
                      </a:lnTo>
                      <a:lnTo>
                        <a:pt x="23" y="23"/>
                      </a:lnTo>
                      <a:lnTo>
                        <a:pt x="22" y="32"/>
                      </a:lnTo>
                      <a:lnTo>
                        <a:pt x="18" y="42"/>
                      </a:lnTo>
                      <a:lnTo>
                        <a:pt x="13" y="50"/>
                      </a:lnTo>
                      <a:lnTo>
                        <a:pt x="10" y="55"/>
                      </a:lnTo>
                      <a:lnTo>
                        <a:pt x="7" y="56"/>
                      </a:lnTo>
                      <a:lnTo>
                        <a:pt x="7" y="56"/>
                      </a:lnTo>
                      <a:lnTo>
                        <a:pt x="5" y="59"/>
                      </a:lnTo>
                      <a:lnTo>
                        <a:pt x="3" y="65"/>
                      </a:lnTo>
                      <a:lnTo>
                        <a:pt x="0" y="7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74" name="Freeform 225"/>
                <p:cNvSpPr>
                  <a:spLocks/>
                </p:cNvSpPr>
                <p:nvPr/>
              </p:nvSpPr>
              <p:spPr bwMode="auto">
                <a:xfrm>
                  <a:off x="4602667" y="3399247"/>
                  <a:ext cx="15828" cy="19785"/>
                </a:xfrm>
                <a:custGeom>
                  <a:avLst/>
                  <a:gdLst>
                    <a:gd name="T0" fmla="*/ 9 w 16"/>
                    <a:gd name="T1" fmla="*/ 18 h 20"/>
                    <a:gd name="T2" fmla="*/ 9 w 16"/>
                    <a:gd name="T3" fmla="*/ 18 h 20"/>
                    <a:gd name="T4" fmla="*/ 16 w 16"/>
                    <a:gd name="T5" fmla="*/ 3 h 20"/>
                    <a:gd name="T6" fmla="*/ 16 w 16"/>
                    <a:gd name="T7" fmla="*/ 3 h 20"/>
                    <a:gd name="T8" fmla="*/ 9 w 16"/>
                    <a:gd name="T9" fmla="*/ 0 h 20"/>
                    <a:gd name="T10" fmla="*/ 9 w 16"/>
                    <a:gd name="T11" fmla="*/ 0 h 20"/>
                    <a:gd name="T12" fmla="*/ 6 w 16"/>
                    <a:gd name="T13" fmla="*/ 0 h 20"/>
                    <a:gd name="T14" fmla="*/ 4 w 16"/>
                    <a:gd name="T15" fmla="*/ 3 h 20"/>
                    <a:gd name="T16" fmla="*/ 0 w 16"/>
                    <a:gd name="T17" fmla="*/ 10 h 20"/>
                    <a:gd name="T18" fmla="*/ 0 w 16"/>
                    <a:gd name="T19" fmla="*/ 10 h 20"/>
                    <a:gd name="T20" fmla="*/ 3 w 16"/>
                    <a:gd name="T21" fmla="*/ 20 h 20"/>
                    <a:gd name="T22" fmla="*/ 3 w 16"/>
                    <a:gd name="T23" fmla="*/ 20 h 20"/>
                    <a:gd name="T24" fmla="*/ 7 w 16"/>
                    <a:gd name="T25" fmla="*/ 19 h 20"/>
                    <a:gd name="T26" fmla="*/ 9 w 16"/>
                    <a:gd name="T27" fmla="*/ 18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" h="20">
                      <a:moveTo>
                        <a:pt x="9" y="18"/>
                      </a:moveTo>
                      <a:lnTo>
                        <a:pt x="9" y="18"/>
                      </a:lnTo>
                      <a:lnTo>
                        <a:pt x="16" y="3"/>
                      </a:lnTo>
                      <a:lnTo>
                        <a:pt x="16" y="3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6" y="0"/>
                      </a:lnTo>
                      <a:lnTo>
                        <a:pt x="4" y="3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3" y="20"/>
                      </a:lnTo>
                      <a:lnTo>
                        <a:pt x="3" y="20"/>
                      </a:lnTo>
                      <a:lnTo>
                        <a:pt x="7" y="19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75" name="Freeform 226"/>
                <p:cNvSpPr>
                  <a:spLocks/>
                </p:cNvSpPr>
                <p:nvPr/>
              </p:nvSpPr>
              <p:spPr bwMode="auto">
                <a:xfrm>
                  <a:off x="4602667" y="3399247"/>
                  <a:ext cx="15828" cy="19785"/>
                </a:xfrm>
                <a:custGeom>
                  <a:avLst/>
                  <a:gdLst>
                    <a:gd name="T0" fmla="*/ 9 w 16"/>
                    <a:gd name="T1" fmla="*/ 18 h 20"/>
                    <a:gd name="T2" fmla="*/ 9 w 16"/>
                    <a:gd name="T3" fmla="*/ 18 h 20"/>
                    <a:gd name="T4" fmla="*/ 16 w 16"/>
                    <a:gd name="T5" fmla="*/ 3 h 20"/>
                    <a:gd name="T6" fmla="*/ 16 w 16"/>
                    <a:gd name="T7" fmla="*/ 3 h 20"/>
                    <a:gd name="T8" fmla="*/ 9 w 16"/>
                    <a:gd name="T9" fmla="*/ 0 h 20"/>
                    <a:gd name="T10" fmla="*/ 9 w 16"/>
                    <a:gd name="T11" fmla="*/ 0 h 20"/>
                    <a:gd name="T12" fmla="*/ 6 w 16"/>
                    <a:gd name="T13" fmla="*/ 0 h 20"/>
                    <a:gd name="T14" fmla="*/ 4 w 16"/>
                    <a:gd name="T15" fmla="*/ 3 h 20"/>
                    <a:gd name="T16" fmla="*/ 0 w 16"/>
                    <a:gd name="T17" fmla="*/ 10 h 20"/>
                    <a:gd name="T18" fmla="*/ 0 w 16"/>
                    <a:gd name="T19" fmla="*/ 10 h 20"/>
                    <a:gd name="T20" fmla="*/ 3 w 16"/>
                    <a:gd name="T21" fmla="*/ 20 h 20"/>
                    <a:gd name="T22" fmla="*/ 3 w 16"/>
                    <a:gd name="T23" fmla="*/ 20 h 20"/>
                    <a:gd name="T24" fmla="*/ 7 w 16"/>
                    <a:gd name="T25" fmla="*/ 19 h 20"/>
                    <a:gd name="T26" fmla="*/ 9 w 16"/>
                    <a:gd name="T27" fmla="*/ 18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" h="20">
                      <a:moveTo>
                        <a:pt x="9" y="18"/>
                      </a:moveTo>
                      <a:lnTo>
                        <a:pt x="9" y="18"/>
                      </a:lnTo>
                      <a:lnTo>
                        <a:pt x="16" y="3"/>
                      </a:lnTo>
                      <a:lnTo>
                        <a:pt x="16" y="3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6" y="0"/>
                      </a:lnTo>
                      <a:lnTo>
                        <a:pt x="4" y="3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3" y="20"/>
                      </a:lnTo>
                      <a:lnTo>
                        <a:pt x="3" y="20"/>
                      </a:lnTo>
                      <a:lnTo>
                        <a:pt x="7" y="19"/>
                      </a:lnTo>
                      <a:lnTo>
                        <a:pt x="9" y="1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76" name="Freeform 227"/>
                <p:cNvSpPr>
                  <a:spLocks/>
                </p:cNvSpPr>
                <p:nvPr/>
              </p:nvSpPr>
              <p:spPr bwMode="auto">
                <a:xfrm>
                  <a:off x="5149728" y="2834379"/>
                  <a:ext cx="37592" cy="30667"/>
                </a:xfrm>
                <a:custGeom>
                  <a:avLst/>
                  <a:gdLst>
                    <a:gd name="T0" fmla="*/ 0 w 38"/>
                    <a:gd name="T1" fmla="*/ 12 h 31"/>
                    <a:gd name="T2" fmla="*/ 0 w 38"/>
                    <a:gd name="T3" fmla="*/ 12 h 31"/>
                    <a:gd name="T4" fmla="*/ 9 w 38"/>
                    <a:gd name="T5" fmla="*/ 13 h 31"/>
                    <a:gd name="T6" fmla="*/ 9 w 38"/>
                    <a:gd name="T7" fmla="*/ 13 h 31"/>
                    <a:gd name="T8" fmla="*/ 12 w 38"/>
                    <a:gd name="T9" fmla="*/ 16 h 31"/>
                    <a:gd name="T10" fmla="*/ 13 w 38"/>
                    <a:gd name="T11" fmla="*/ 19 h 31"/>
                    <a:gd name="T12" fmla="*/ 18 w 38"/>
                    <a:gd name="T13" fmla="*/ 29 h 31"/>
                    <a:gd name="T14" fmla="*/ 18 w 38"/>
                    <a:gd name="T15" fmla="*/ 29 h 31"/>
                    <a:gd name="T16" fmla="*/ 21 w 38"/>
                    <a:gd name="T17" fmla="*/ 31 h 31"/>
                    <a:gd name="T18" fmla="*/ 24 w 38"/>
                    <a:gd name="T19" fmla="*/ 29 h 31"/>
                    <a:gd name="T20" fmla="*/ 29 w 38"/>
                    <a:gd name="T21" fmla="*/ 27 h 31"/>
                    <a:gd name="T22" fmla="*/ 29 w 38"/>
                    <a:gd name="T23" fmla="*/ 27 h 31"/>
                    <a:gd name="T24" fmla="*/ 38 w 38"/>
                    <a:gd name="T25" fmla="*/ 22 h 31"/>
                    <a:gd name="T26" fmla="*/ 38 w 38"/>
                    <a:gd name="T27" fmla="*/ 22 h 31"/>
                    <a:gd name="T28" fmla="*/ 28 w 38"/>
                    <a:gd name="T29" fmla="*/ 9 h 31"/>
                    <a:gd name="T30" fmla="*/ 28 w 38"/>
                    <a:gd name="T31" fmla="*/ 9 h 31"/>
                    <a:gd name="T32" fmla="*/ 26 w 38"/>
                    <a:gd name="T33" fmla="*/ 6 h 31"/>
                    <a:gd name="T34" fmla="*/ 26 w 38"/>
                    <a:gd name="T35" fmla="*/ 5 h 31"/>
                    <a:gd name="T36" fmla="*/ 29 w 38"/>
                    <a:gd name="T37" fmla="*/ 2 h 31"/>
                    <a:gd name="T38" fmla="*/ 29 w 38"/>
                    <a:gd name="T39" fmla="*/ 2 h 31"/>
                    <a:gd name="T40" fmla="*/ 12 w 38"/>
                    <a:gd name="T41" fmla="*/ 0 h 31"/>
                    <a:gd name="T42" fmla="*/ 0 w 38"/>
                    <a:gd name="T43" fmla="*/ 12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8" h="31">
                      <a:moveTo>
                        <a:pt x="0" y="12"/>
                      </a:moveTo>
                      <a:lnTo>
                        <a:pt x="0" y="12"/>
                      </a:lnTo>
                      <a:lnTo>
                        <a:pt x="9" y="13"/>
                      </a:lnTo>
                      <a:lnTo>
                        <a:pt x="9" y="13"/>
                      </a:lnTo>
                      <a:lnTo>
                        <a:pt x="12" y="16"/>
                      </a:lnTo>
                      <a:lnTo>
                        <a:pt x="13" y="19"/>
                      </a:lnTo>
                      <a:lnTo>
                        <a:pt x="18" y="29"/>
                      </a:lnTo>
                      <a:lnTo>
                        <a:pt x="18" y="29"/>
                      </a:lnTo>
                      <a:lnTo>
                        <a:pt x="21" y="31"/>
                      </a:lnTo>
                      <a:lnTo>
                        <a:pt x="24" y="29"/>
                      </a:lnTo>
                      <a:lnTo>
                        <a:pt x="29" y="27"/>
                      </a:lnTo>
                      <a:lnTo>
                        <a:pt x="29" y="27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28" y="9"/>
                      </a:lnTo>
                      <a:lnTo>
                        <a:pt x="28" y="9"/>
                      </a:lnTo>
                      <a:lnTo>
                        <a:pt x="26" y="6"/>
                      </a:lnTo>
                      <a:lnTo>
                        <a:pt x="26" y="5"/>
                      </a:lnTo>
                      <a:lnTo>
                        <a:pt x="29" y="2"/>
                      </a:lnTo>
                      <a:lnTo>
                        <a:pt x="29" y="2"/>
                      </a:lnTo>
                      <a:lnTo>
                        <a:pt x="12" y="0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77" name="Freeform 228"/>
                <p:cNvSpPr>
                  <a:spLocks/>
                </p:cNvSpPr>
                <p:nvPr/>
              </p:nvSpPr>
              <p:spPr bwMode="auto">
                <a:xfrm>
                  <a:off x="5216997" y="2897692"/>
                  <a:ext cx="21764" cy="27699"/>
                </a:xfrm>
                <a:custGeom>
                  <a:avLst/>
                  <a:gdLst>
                    <a:gd name="T0" fmla="*/ 0 w 22"/>
                    <a:gd name="T1" fmla="*/ 19 h 28"/>
                    <a:gd name="T2" fmla="*/ 0 w 22"/>
                    <a:gd name="T3" fmla="*/ 19 h 28"/>
                    <a:gd name="T4" fmla="*/ 3 w 22"/>
                    <a:gd name="T5" fmla="*/ 22 h 28"/>
                    <a:gd name="T6" fmla="*/ 6 w 22"/>
                    <a:gd name="T7" fmla="*/ 25 h 28"/>
                    <a:gd name="T8" fmla="*/ 11 w 22"/>
                    <a:gd name="T9" fmla="*/ 26 h 28"/>
                    <a:gd name="T10" fmla="*/ 14 w 22"/>
                    <a:gd name="T11" fmla="*/ 28 h 28"/>
                    <a:gd name="T12" fmla="*/ 14 w 22"/>
                    <a:gd name="T13" fmla="*/ 28 h 28"/>
                    <a:gd name="T14" fmla="*/ 12 w 22"/>
                    <a:gd name="T15" fmla="*/ 26 h 28"/>
                    <a:gd name="T16" fmla="*/ 12 w 22"/>
                    <a:gd name="T17" fmla="*/ 26 h 28"/>
                    <a:gd name="T18" fmla="*/ 14 w 22"/>
                    <a:gd name="T19" fmla="*/ 23 h 28"/>
                    <a:gd name="T20" fmla="*/ 16 w 22"/>
                    <a:gd name="T21" fmla="*/ 20 h 28"/>
                    <a:gd name="T22" fmla="*/ 21 w 22"/>
                    <a:gd name="T23" fmla="*/ 18 h 28"/>
                    <a:gd name="T24" fmla="*/ 22 w 22"/>
                    <a:gd name="T25" fmla="*/ 15 h 28"/>
                    <a:gd name="T26" fmla="*/ 22 w 22"/>
                    <a:gd name="T27" fmla="*/ 15 h 28"/>
                    <a:gd name="T28" fmla="*/ 19 w 22"/>
                    <a:gd name="T29" fmla="*/ 6 h 28"/>
                    <a:gd name="T30" fmla="*/ 16 w 22"/>
                    <a:gd name="T31" fmla="*/ 2 h 28"/>
                    <a:gd name="T32" fmla="*/ 14 w 22"/>
                    <a:gd name="T33" fmla="*/ 0 h 28"/>
                    <a:gd name="T34" fmla="*/ 14 w 22"/>
                    <a:gd name="T35" fmla="*/ 0 h 28"/>
                    <a:gd name="T36" fmla="*/ 12 w 22"/>
                    <a:gd name="T37" fmla="*/ 2 h 28"/>
                    <a:gd name="T38" fmla="*/ 9 w 22"/>
                    <a:gd name="T39" fmla="*/ 5 h 28"/>
                    <a:gd name="T40" fmla="*/ 8 w 22"/>
                    <a:gd name="T41" fmla="*/ 7 h 28"/>
                    <a:gd name="T42" fmla="*/ 6 w 22"/>
                    <a:gd name="T43" fmla="*/ 10 h 28"/>
                    <a:gd name="T44" fmla="*/ 6 w 22"/>
                    <a:gd name="T45" fmla="*/ 10 h 28"/>
                    <a:gd name="T46" fmla="*/ 5 w 22"/>
                    <a:gd name="T47" fmla="*/ 10 h 28"/>
                    <a:gd name="T48" fmla="*/ 3 w 22"/>
                    <a:gd name="T49" fmla="*/ 9 h 28"/>
                    <a:gd name="T50" fmla="*/ 0 w 22"/>
                    <a:gd name="T51" fmla="*/ 7 h 28"/>
                    <a:gd name="T52" fmla="*/ 0 w 22"/>
                    <a:gd name="T53" fmla="*/ 7 h 28"/>
                    <a:gd name="T54" fmla="*/ 0 w 22"/>
                    <a:gd name="T55" fmla="*/ 13 h 28"/>
                    <a:gd name="T56" fmla="*/ 0 w 22"/>
                    <a:gd name="T57" fmla="*/ 19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2" h="28">
                      <a:moveTo>
                        <a:pt x="0" y="19"/>
                      </a:moveTo>
                      <a:lnTo>
                        <a:pt x="0" y="19"/>
                      </a:lnTo>
                      <a:lnTo>
                        <a:pt x="3" y="22"/>
                      </a:lnTo>
                      <a:lnTo>
                        <a:pt x="6" y="25"/>
                      </a:lnTo>
                      <a:lnTo>
                        <a:pt x="11" y="26"/>
                      </a:lnTo>
                      <a:lnTo>
                        <a:pt x="14" y="28"/>
                      </a:lnTo>
                      <a:lnTo>
                        <a:pt x="14" y="28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4" y="23"/>
                      </a:lnTo>
                      <a:lnTo>
                        <a:pt x="16" y="20"/>
                      </a:lnTo>
                      <a:lnTo>
                        <a:pt x="21" y="18"/>
                      </a:lnTo>
                      <a:lnTo>
                        <a:pt x="22" y="15"/>
                      </a:lnTo>
                      <a:lnTo>
                        <a:pt x="22" y="15"/>
                      </a:lnTo>
                      <a:lnTo>
                        <a:pt x="19" y="6"/>
                      </a:lnTo>
                      <a:lnTo>
                        <a:pt x="16" y="2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2" y="2"/>
                      </a:lnTo>
                      <a:lnTo>
                        <a:pt x="9" y="5"/>
                      </a:lnTo>
                      <a:lnTo>
                        <a:pt x="8" y="7"/>
                      </a:lnTo>
                      <a:lnTo>
                        <a:pt x="6" y="10"/>
                      </a:lnTo>
                      <a:lnTo>
                        <a:pt x="6" y="10"/>
                      </a:lnTo>
                      <a:lnTo>
                        <a:pt x="5" y="10"/>
                      </a:lnTo>
                      <a:lnTo>
                        <a:pt x="3" y="9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0" y="13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78" name="Freeform 229"/>
                <p:cNvSpPr>
                  <a:spLocks/>
                </p:cNvSpPr>
                <p:nvPr/>
              </p:nvSpPr>
              <p:spPr bwMode="auto">
                <a:xfrm>
                  <a:off x="5216997" y="2897692"/>
                  <a:ext cx="21764" cy="27699"/>
                </a:xfrm>
                <a:custGeom>
                  <a:avLst/>
                  <a:gdLst>
                    <a:gd name="T0" fmla="*/ 0 w 22"/>
                    <a:gd name="T1" fmla="*/ 19 h 28"/>
                    <a:gd name="T2" fmla="*/ 0 w 22"/>
                    <a:gd name="T3" fmla="*/ 19 h 28"/>
                    <a:gd name="T4" fmla="*/ 3 w 22"/>
                    <a:gd name="T5" fmla="*/ 22 h 28"/>
                    <a:gd name="T6" fmla="*/ 6 w 22"/>
                    <a:gd name="T7" fmla="*/ 25 h 28"/>
                    <a:gd name="T8" fmla="*/ 11 w 22"/>
                    <a:gd name="T9" fmla="*/ 26 h 28"/>
                    <a:gd name="T10" fmla="*/ 14 w 22"/>
                    <a:gd name="T11" fmla="*/ 28 h 28"/>
                    <a:gd name="T12" fmla="*/ 14 w 22"/>
                    <a:gd name="T13" fmla="*/ 28 h 28"/>
                    <a:gd name="T14" fmla="*/ 12 w 22"/>
                    <a:gd name="T15" fmla="*/ 26 h 28"/>
                    <a:gd name="T16" fmla="*/ 12 w 22"/>
                    <a:gd name="T17" fmla="*/ 26 h 28"/>
                    <a:gd name="T18" fmla="*/ 14 w 22"/>
                    <a:gd name="T19" fmla="*/ 23 h 28"/>
                    <a:gd name="T20" fmla="*/ 16 w 22"/>
                    <a:gd name="T21" fmla="*/ 20 h 28"/>
                    <a:gd name="T22" fmla="*/ 21 w 22"/>
                    <a:gd name="T23" fmla="*/ 18 h 28"/>
                    <a:gd name="T24" fmla="*/ 22 w 22"/>
                    <a:gd name="T25" fmla="*/ 15 h 28"/>
                    <a:gd name="T26" fmla="*/ 22 w 22"/>
                    <a:gd name="T27" fmla="*/ 15 h 28"/>
                    <a:gd name="T28" fmla="*/ 19 w 22"/>
                    <a:gd name="T29" fmla="*/ 6 h 28"/>
                    <a:gd name="T30" fmla="*/ 16 w 22"/>
                    <a:gd name="T31" fmla="*/ 2 h 28"/>
                    <a:gd name="T32" fmla="*/ 14 w 22"/>
                    <a:gd name="T33" fmla="*/ 0 h 28"/>
                    <a:gd name="T34" fmla="*/ 14 w 22"/>
                    <a:gd name="T35" fmla="*/ 0 h 28"/>
                    <a:gd name="T36" fmla="*/ 12 w 22"/>
                    <a:gd name="T37" fmla="*/ 2 h 28"/>
                    <a:gd name="T38" fmla="*/ 9 w 22"/>
                    <a:gd name="T39" fmla="*/ 5 h 28"/>
                    <a:gd name="T40" fmla="*/ 8 w 22"/>
                    <a:gd name="T41" fmla="*/ 7 h 28"/>
                    <a:gd name="T42" fmla="*/ 6 w 22"/>
                    <a:gd name="T43" fmla="*/ 10 h 28"/>
                    <a:gd name="T44" fmla="*/ 6 w 22"/>
                    <a:gd name="T45" fmla="*/ 10 h 28"/>
                    <a:gd name="T46" fmla="*/ 5 w 22"/>
                    <a:gd name="T47" fmla="*/ 10 h 28"/>
                    <a:gd name="T48" fmla="*/ 3 w 22"/>
                    <a:gd name="T49" fmla="*/ 9 h 28"/>
                    <a:gd name="T50" fmla="*/ 0 w 22"/>
                    <a:gd name="T51" fmla="*/ 7 h 28"/>
                    <a:gd name="T52" fmla="*/ 0 w 22"/>
                    <a:gd name="T53" fmla="*/ 7 h 28"/>
                    <a:gd name="T54" fmla="*/ 0 w 22"/>
                    <a:gd name="T55" fmla="*/ 13 h 28"/>
                    <a:gd name="T56" fmla="*/ 0 w 22"/>
                    <a:gd name="T57" fmla="*/ 19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2" h="28">
                      <a:moveTo>
                        <a:pt x="0" y="19"/>
                      </a:moveTo>
                      <a:lnTo>
                        <a:pt x="0" y="19"/>
                      </a:lnTo>
                      <a:lnTo>
                        <a:pt x="3" y="22"/>
                      </a:lnTo>
                      <a:lnTo>
                        <a:pt x="6" y="25"/>
                      </a:lnTo>
                      <a:lnTo>
                        <a:pt x="11" y="26"/>
                      </a:lnTo>
                      <a:lnTo>
                        <a:pt x="14" y="28"/>
                      </a:lnTo>
                      <a:lnTo>
                        <a:pt x="14" y="28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4" y="23"/>
                      </a:lnTo>
                      <a:lnTo>
                        <a:pt x="16" y="20"/>
                      </a:lnTo>
                      <a:lnTo>
                        <a:pt x="21" y="18"/>
                      </a:lnTo>
                      <a:lnTo>
                        <a:pt x="22" y="15"/>
                      </a:lnTo>
                      <a:lnTo>
                        <a:pt x="22" y="15"/>
                      </a:lnTo>
                      <a:lnTo>
                        <a:pt x="19" y="6"/>
                      </a:lnTo>
                      <a:lnTo>
                        <a:pt x="16" y="2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2" y="2"/>
                      </a:lnTo>
                      <a:lnTo>
                        <a:pt x="9" y="5"/>
                      </a:lnTo>
                      <a:lnTo>
                        <a:pt x="8" y="7"/>
                      </a:lnTo>
                      <a:lnTo>
                        <a:pt x="6" y="10"/>
                      </a:lnTo>
                      <a:lnTo>
                        <a:pt x="6" y="10"/>
                      </a:lnTo>
                      <a:lnTo>
                        <a:pt x="5" y="10"/>
                      </a:lnTo>
                      <a:lnTo>
                        <a:pt x="3" y="9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0" y="13"/>
                      </a:lnTo>
                      <a:lnTo>
                        <a:pt x="0" y="19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79" name="Freeform 230"/>
                <p:cNvSpPr>
                  <a:spLocks/>
                </p:cNvSpPr>
                <p:nvPr/>
              </p:nvSpPr>
              <p:spPr bwMode="auto">
                <a:xfrm>
                  <a:off x="4739185" y="2456482"/>
                  <a:ext cx="145421" cy="110797"/>
                </a:xfrm>
                <a:custGeom>
                  <a:avLst/>
                  <a:gdLst>
                    <a:gd name="T0" fmla="*/ 147 w 147"/>
                    <a:gd name="T1" fmla="*/ 61 h 112"/>
                    <a:gd name="T2" fmla="*/ 142 w 147"/>
                    <a:gd name="T3" fmla="*/ 62 h 112"/>
                    <a:gd name="T4" fmla="*/ 136 w 147"/>
                    <a:gd name="T5" fmla="*/ 64 h 112"/>
                    <a:gd name="T6" fmla="*/ 130 w 147"/>
                    <a:gd name="T7" fmla="*/ 65 h 112"/>
                    <a:gd name="T8" fmla="*/ 124 w 147"/>
                    <a:gd name="T9" fmla="*/ 64 h 112"/>
                    <a:gd name="T10" fmla="*/ 121 w 147"/>
                    <a:gd name="T11" fmla="*/ 51 h 112"/>
                    <a:gd name="T12" fmla="*/ 121 w 147"/>
                    <a:gd name="T13" fmla="*/ 38 h 112"/>
                    <a:gd name="T14" fmla="*/ 121 w 147"/>
                    <a:gd name="T15" fmla="*/ 33 h 112"/>
                    <a:gd name="T16" fmla="*/ 118 w 147"/>
                    <a:gd name="T17" fmla="*/ 25 h 112"/>
                    <a:gd name="T18" fmla="*/ 114 w 147"/>
                    <a:gd name="T19" fmla="*/ 20 h 112"/>
                    <a:gd name="T20" fmla="*/ 107 w 147"/>
                    <a:gd name="T21" fmla="*/ 9 h 112"/>
                    <a:gd name="T22" fmla="*/ 101 w 147"/>
                    <a:gd name="T23" fmla="*/ 2 h 112"/>
                    <a:gd name="T24" fmla="*/ 100 w 147"/>
                    <a:gd name="T25" fmla="*/ 2 h 112"/>
                    <a:gd name="T26" fmla="*/ 82 w 147"/>
                    <a:gd name="T27" fmla="*/ 0 h 112"/>
                    <a:gd name="T28" fmla="*/ 78 w 147"/>
                    <a:gd name="T29" fmla="*/ 0 h 112"/>
                    <a:gd name="T30" fmla="*/ 62 w 147"/>
                    <a:gd name="T31" fmla="*/ 6 h 112"/>
                    <a:gd name="T32" fmla="*/ 58 w 147"/>
                    <a:gd name="T33" fmla="*/ 7 h 112"/>
                    <a:gd name="T34" fmla="*/ 39 w 147"/>
                    <a:gd name="T35" fmla="*/ 2 h 112"/>
                    <a:gd name="T36" fmla="*/ 36 w 147"/>
                    <a:gd name="T37" fmla="*/ 2 h 112"/>
                    <a:gd name="T38" fmla="*/ 29 w 147"/>
                    <a:gd name="T39" fmla="*/ 12 h 112"/>
                    <a:gd name="T40" fmla="*/ 17 w 147"/>
                    <a:gd name="T41" fmla="*/ 29 h 112"/>
                    <a:gd name="T42" fmla="*/ 3 w 147"/>
                    <a:gd name="T43" fmla="*/ 44 h 112"/>
                    <a:gd name="T44" fmla="*/ 0 w 147"/>
                    <a:gd name="T45" fmla="*/ 46 h 112"/>
                    <a:gd name="T46" fmla="*/ 1 w 147"/>
                    <a:gd name="T47" fmla="*/ 55 h 112"/>
                    <a:gd name="T48" fmla="*/ 8 w 147"/>
                    <a:gd name="T49" fmla="*/ 67 h 112"/>
                    <a:gd name="T50" fmla="*/ 11 w 147"/>
                    <a:gd name="T51" fmla="*/ 70 h 112"/>
                    <a:gd name="T52" fmla="*/ 17 w 147"/>
                    <a:gd name="T53" fmla="*/ 75 h 112"/>
                    <a:gd name="T54" fmla="*/ 23 w 147"/>
                    <a:gd name="T55" fmla="*/ 81 h 112"/>
                    <a:gd name="T56" fmla="*/ 26 w 147"/>
                    <a:gd name="T57" fmla="*/ 83 h 112"/>
                    <a:gd name="T58" fmla="*/ 37 w 147"/>
                    <a:gd name="T59" fmla="*/ 80 h 112"/>
                    <a:gd name="T60" fmla="*/ 39 w 147"/>
                    <a:gd name="T61" fmla="*/ 81 h 112"/>
                    <a:gd name="T62" fmla="*/ 39 w 147"/>
                    <a:gd name="T63" fmla="*/ 86 h 112"/>
                    <a:gd name="T64" fmla="*/ 42 w 147"/>
                    <a:gd name="T65" fmla="*/ 90 h 112"/>
                    <a:gd name="T66" fmla="*/ 46 w 147"/>
                    <a:gd name="T67" fmla="*/ 99 h 112"/>
                    <a:gd name="T68" fmla="*/ 62 w 147"/>
                    <a:gd name="T69" fmla="*/ 101 h 112"/>
                    <a:gd name="T70" fmla="*/ 76 w 147"/>
                    <a:gd name="T71" fmla="*/ 101 h 112"/>
                    <a:gd name="T72" fmla="*/ 81 w 147"/>
                    <a:gd name="T73" fmla="*/ 99 h 112"/>
                    <a:gd name="T74" fmla="*/ 92 w 147"/>
                    <a:gd name="T75" fmla="*/ 94 h 112"/>
                    <a:gd name="T76" fmla="*/ 98 w 147"/>
                    <a:gd name="T77" fmla="*/ 96 h 112"/>
                    <a:gd name="T78" fmla="*/ 120 w 147"/>
                    <a:gd name="T79" fmla="*/ 112 h 112"/>
                    <a:gd name="T80" fmla="*/ 124 w 147"/>
                    <a:gd name="T81" fmla="*/ 106 h 112"/>
                    <a:gd name="T82" fmla="*/ 127 w 147"/>
                    <a:gd name="T83" fmla="*/ 99 h 112"/>
                    <a:gd name="T84" fmla="*/ 129 w 147"/>
                    <a:gd name="T85" fmla="*/ 88 h 112"/>
                    <a:gd name="T86" fmla="*/ 133 w 147"/>
                    <a:gd name="T87" fmla="*/ 80 h 112"/>
                    <a:gd name="T88" fmla="*/ 142 w 147"/>
                    <a:gd name="T89" fmla="*/ 74 h 112"/>
                    <a:gd name="T90" fmla="*/ 146 w 147"/>
                    <a:gd name="T91" fmla="*/ 71 h 112"/>
                    <a:gd name="T92" fmla="*/ 147 w 147"/>
                    <a:gd name="T93" fmla="*/ 65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47" h="112">
                      <a:moveTo>
                        <a:pt x="147" y="61"/>
                      </a:moveTo>
                      <a:lnTo>
                        <a:pt x="147" y="61"/>
                      </a:lnTo>
                      <a:lnTo>
                        <a:pt x="147" y="61"/>
                      </a:lnTo>
                      <a:lnTo>
                        <a:pt x="142" y="62"/>
                      </a:lnTo>
                      <a:lnTo>
                        <a:pt x="136" y="64"/>
                      </a:lnTo>
                      <a:lnTo>
                        <a:pt x="136" y="64"/>
                      </a:lnTo>
                      <a:lnTo>
                        <a:pt x="133" y="65"/>
                      </a:lnTo>
                      <a:lnTo>
                        <a:pt x="130" y="65"/>
                      </a:lnTo>
                      <a:lnTo>
                        <a:pt x="124" y="64"/>
                      </a:lnTo>
                      <a:lnTo>
                        <a:pt x="124" y="64"/>
                      </a:lnTo>
                      <a:lnTo>
                        <a:pt x="123" y="59"/>
                      </a:lnTo>
                      <a:lnTo>
                        <a:pt x="121" y="51"/>
                      </a:lnTo>
                      <a:lnTo>
                        <a:pt x="120" y="42"/>
                      </a:lnTo>
                      <a:lnTo>
                        <a:pt x="121" y="38"/>
                      </a:lnTo>
                      <a:lnTo>
                        <a:pt x="121" y="38"/>
                      </a:lnTo>
                      <a:lnTo>
                        <a:pt x="121" y="33"/>
                      </a:lnTo>
                      <a:lnTo>
                        <a:pt x="121" y="29"/>
                      </a:lnTo>
                      <a:lnTo>
                        <a:pt x="118" y="25"/>
                      </a:lnTo>
                      <a:lnTo>
                        <a:pt x="114" y="20"/>
                      </a:lnTo>
                      <a:lnTo>
                        <a:pt x="114" y="20"/>
                      </a:lnTo>
                      <a:lnTo>
                        <a:pt x="110" y="16"/>
                      </a:lnTo>
                      <a:lnTo>
                        <a:pt x="107" y="9"/>
                      </a:lnTo>
                      <a:lnTo>
                        <a:pt x="103" y="3"/>
                      </a:lnTo>
                      <a:lnTo>
                        <a:pt x="101" y="2"/>
                      </a:lnTo>
                      <a:lnTo>
                        <a:pt x="100" y="2"/>
                      </a:lnTo>
                      <a:lnTo>
                        <a:pt x="100" y="2"/>
                      </a:lnTo>
                      <a:lnTo>
                        <a:pt x="88" y="0"/>
                      </a:lnTo>
                      <a:lnTo>
                        <a:pt x="82" y="0"/>
                      </a:lnTo>
                      <a:lnTo>
                        <a:pt x="78" y="0"/>
                      </a:lnTo>
                      <a:lnTo>
                        <a:pt x="78" y="0"/>
                      </a:lnTo>
                      <a:lnTo>
                        <a:pt x="69" y="4"/>
                      </a:lnTo>
                      <a:lnTo>
                        <a:pt x="62" y="6"/>
                      </a:lnTo>
                      <a:lnTo>
                        <a:pt x="58" y="7"/>
                      </a:lnTo>
                      <a:lnTo>
                        <a:pt x="58" y="7"/>
                      </a:lnTo>
                      <a:lnTo>
                        <a:pt x="49" y="6"/>
                      </a:lnTo>
                      <a:lnTo>
                        <a:pt x="39" y="2"/>
                      </a:lnTo>
                      <a:lnTo>
                        <a:pt x="39" y="2"/>
                      </a:lnTo>
                      <a:lnTo>
                        <a:pt x="36" y="2"/>
                      </a:lnTo>
                      <a:lnTo>
                        <a:pt x="34" y="3"/>
                      </a:lnTo>
                      <a:lnTo>
                        <a:pt x="29" y="12"/>
                      </a:lnTo>
                      <a:lnTo>
                        <a:pt x="29" y="12"/>
                      </a:lnTo>
                      <a:lnTo>
                        <a:pt x="17" y="29"/>
                      </a:lnTo>
                      <a:lnTo>
                        <a:pt x="8" y="38"/>
                      </a:lnTo>
                      <a:lnTo>
                        <a:pt x="3" y="44"/>
                      </a:lnTo>
                      <a:lnTo>
                        <a:pt x="3" y="44"/>
                      </a:lnTo>
                      <a:lnTo>
                        <a:pt x="0" y="46"/>
                      </a:lnTo>
                      <a:lnTo>
                        <a:pt x="0" y="46"/>
                      </a:lnTo>
                      <a:lnTo>
                        <a:pt x="1" y="55"/>
                      </a:lnTo>
                      <a:lnTo>
                        <a:pt x="6" y="61"/>
                      </a:lnTo>
                      <a:lnTo>
                        <a:pt x="8" y="67"/>
                      </a:lnTo>
                      <a:lnTo>
                        <a:pt x="11" y="70"/>
                      </a:lnTo>
                      <a:lnTo>
                        <a:pt x="11" y="70"/>
                      </a:lnTo>
                      <a:lnTo>
                        <a:pt x="14" y="72"/>
                      </a:lnTo>
                      <a:lnTo>
                        <a:pt x="17" y="75"/>
                      </a:lnTo>
                      <a:lnTo>
                        <a:pt x="19" y="78"/>
                      </a:lnTo>
                      <a:lnTo>
                        <a:pt x="23" y="81"/>
                      </a:lnTo>
                      <a:lnTo>
                        <a:pt x="23" y="81"/>
                      </a:lnTo>
                      <a:lnTo>
                        <a:pt x="26" y="83"/>
                      </a:lnTo>
                      <a:lnTo>
                        <a:pt x="30" y="83"/>
                      </a:lnTo>
                      <a:lnTo>
                        <a:pt x="37" y="80"/>
                      </a:lnTo>
                      <a:lnTo>
                        <a:pt x="37" y="80"/>
                      </a:lnTo>
                      <a:lnTo>
                        <a:pt x="39" y="81"/>
                      </a:lnTo>
                      <a:lnTo>
                        <a:pt x="39" y="83"/>
                      </a:lnTo>
                      <a:lnTo>
                        <a:pt x="39" y="86"/>
                      </a:lnTo>
                      <a:lnTo>
                        <a:pt x="42" y="90"/>
                      </a:lnTo>
                      <a:lnTo>
                        <a:pt x="42" y="90"/>
                      </a:lnTo>
                      <a:lnTo>
                        <a:pt x="45" y="93"/>
                      </a:lnTo>
                      <a:lnTo>
                        <a:pt x="46" y="99"/>
                      </a:lnTo>
                      <a:lnTo>
                        <a:pt x="46" y="99"/>
                      </a:lnTo>
                      <a:lnTo>
                        <a:pt x="62" y="101"/>
                      </a:lnTo>
                      <a:lnTo>
                        <a:pt x="71" y="101"/>
                      </a:lnTo>
                      <a:lnTo>
                        <a:pt x="76" y="101"/>
                      </a:lnTo>
                      <a:lnTo>
                        <a:pt x="76" y="101"/>
                      </a:lnTo>
                      <a:lnTo>
                        <a:pt x="81" y="99"/>
                      </a:lnTo>
                      <a:lnTo>
                        <a:pt x="87" y="96"/>
                      </a:lnTo>
                      <a:lnTo>
                        <a:pt x="92" y="94"/>
                      </a:lnTo>
                      <a:lnTo>
                        <a:pt x="95" y="94"/>
                      </a:lnTo>
                      <a:lnTo>
                        <a:pt x="98" y="96"/>
                      </a:lnTo>
                      <a:lnTo>
                        <a:pt x="98" y="96"/>
                      </a:lnTo>
                      <a:lnTo>
                        <a:pt x="120" y="112"/>
                      </a:lnTo>
                      <a:lnTo>
                        <a:pt x="120" y="112"/>
                      </a:lnTo>
                      <a:lnTo>
                        <a:pt x="124" y="106"/>
                      </a:lnTo>
                      <a:lnTo>
                        <a:pt x="124" y="106"/>
                      </a:lnTo>
                      <a:lnTo>
                        <a:pt x="127" y="99"/>
                      </a:lnTo>
                      <a:lnTo>
                        <a:pt x="129" y="88"/>
                      </a:lnTo>
                      <a:lnTo>
                        <a:pt x="129" y="88"/>
                      </a:lnTo>
                      <a:lnTo>
                        <a:pt x="130" y="84"/>
                      </a:lnTo>
                      <a:lnTo>
                        <a:pt x="133" y="80"/>
                      </a:lnTo>
                      <a:lnTo>
                        <a:pt x="137" y="77"/>
                      </a:lnTo>
                      <a:lnTo>
                        <a:pt x="142" y="74"/>
                      </a:lnTo>
                      <a:lnTo>
                        <a:pt x="142" y="74"/>
                      </a:lnTo>
                      <a:lnTo>
                        <a:pt x="146" y="71"/>
                      </a:lnTo>
                      <a:lnTo>
                        <a:pt x="147" y="68"/>
                      </a:lnTo>
                      <a:lnTo>
                        <a:pt x="147" y="65"/>
                      </a:lnTo>
                      <a:lnTo>
                        <a:pt x="147" y="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80" name="Freeform 231"/>
                <p:cNvSpPr>
                  <a:spLocks/>
                </p:cNvSpPr>
                <p:nvPr/>
              </p:nvSpPr>
              <p:spPr bwMode="auto">
                <a:xfrm>
                  <a:off x="4739185" y="2456482"/>
                  <a:ext cx="145421" cy="110797"/>
                </a:xfrm>
                <a:custGeom>
                  <a:avLst/>
                  <a:gdLst>
                    <a:gd name="T0" fmla="*/ 147 w 147"/>
                    <a:gd name="T1" fmla="*/ 61 h 112"/>
                    <a:gd name="T2" fmla="*/ 142 w 147"/>
                    <a:gd name="T3" fmla="*/ 62 h 112"/>
                    <a:gd name="T4" fmla="*/ 136 w 147"/>
                    <a:gd name="T5" fmla="*/ 64 h 112"/>
                    <a:gd name="T6" fmla="*/ 130 w 147"/>
                    <a:gd name="T7" fmla="*/ 65 h 112"/>
                    <a:gd name="T8" fmla="*/ 124 w 147"/>
                    <a:gd name="T9" fmla="*/ 64 h 112"/>
                    <a:gd name="T10" fmla="*/ 121 w 147"/>
                    <a:gd name="T11" fmla="*/ 51 h 112"/>
                    <a:gd name="T12" fmla="*/ 121 w 147"/>
                    <a:gd name="T13" fmla="*/ 38 h 112"/>
                    <a:gd name="T14" fmla="*/ 121 w 147"/>
                    <a:gd name="T15" fmla="*/ 33 h 112"/>
                    <a:gd name="T16" fmla="*/ 118 w 147"/>
                    <a:gd name="T17" fmla="*/ 25 h 112"/>
                    <a:gd name="T18" fmla="*/ 114 w 147"/>
                    <a:gd name="T19" fmla="*/ 20 h 112"/>
                    <a:gd name="T20" fmla="*/ 107 w 147"/>
                    <a:gd name="T21" fmla="*/ 9 h 112"/>
                    <a:gd name="T22" fmla="*/ 101 w 147"/>
                    <a:gd name="T23" fmla="*/ 2 h 112"/>
                    <a:gd name="T24" fmla="*/ 100 w 147"/>
                    <a:gd name="T25" fmla="*/ 2 h 112"/>
                    <a:gd name="T26" fmla="*/ 82 w 147"/>
                    <a:gd name="T27" fmla="*/ 0 h 112"/>
                    <a:gd name="T28" fmla="*/ 78 w 147"/>
                    <a:gd name="T29" fmla="*/ 0 h 112"/>
                    <a:gd name="T30" fmla="*/ 62 w 147"/>
                    <a:gd name="T31" fmla="*/ 6 h 112"/>
                    <a:gd name="T32" fmla="*/ 58 w 147"/>
                    <a:gd name="T33" fmla="*/ 7 h 112"/>
                    <a:gd name="T34" fmla="*/ 39 w 147"/>
                    <a:gd name="T35" fmla="*/ 2 h 112"/>
                    <a:gd name="T36" fmla="*/ 36 w 147"/>
                    <a:gd name="T37" fmla="*/ 2 h 112"/>
                    <a:gd name="T38" fmla="*/ 29 w 147"/>
                    <a:gd name="T39" fmla="*/ 12 h 112"/>
                    <a:gd name="T40" fmla="*/ 17 w 147"/>
                    <a:gd name="T41" fmla="*/ 29 h 112"/>
                    <a:gd name="T42" fmla="*/ 3 w 147"/>
                    <a:gd name="T43" fmla="*/ 44 h 112"/>
                    <a:gd name="T44" fmla="*/ 0 w 147"/>
                    <a:gd name="T45" fmla="*/ 46 h 112"/>
                    <a:gd name="T46" fmla="*/ 1 w 147"/>
                    <a:gd name="T47" fmla="*/ 55 h 112"/>
                    <a:gd name="T48" fmla="*/ 8 w 147"/>
                    <a:gd name="T49" fmla="*/ 67 h 112"/>
                    <a:gd name="T50" fmla="*/ 11 w 147"/>
                    <a:gd name="T51" fmla="*/ 70 h 112"/>
                    <a:gd name="T52" fmla="*/ 17 w 147"/>
                    <a:gd name="T53" fmla="*/ 75 h 112"/>
                    <a:gd name="T54" fmla="*/ 23 w 147"/>
                    <a:gd name="T55" fmla="*/ 81 h 112"/>
                    <a:gd name="T56" fmla="*/ 26 w 147"/>
                    <a:gd name="T57" fmla="*/ 83 h 112"/>
                    <a:gd name="T58" fmla="*/ 37 w 147"/>
                    <a:gd name="T59" fmla="*/ 80 h 112"/>
                    <a:gd name="T60" fmla="*/ 39 w 147"/>
                    <a:gd name="T61" fmla="*/ 81 h 112"/>
                    <a:gd name="T62" fmla="*/ 39 w 147"/>
                    <a:gd name="T63" fmla="*/ 86 h 112"/>
                    <a:gd name="T64" fmla="*/ 42 w 147"/>
                    <a:gd name="T65" fmla="*/ 90 h 112"/>
                    <a:gd name="T66" fmla="*/ 46 w 147"/>
                    <a:gd name="T67" fmla="*/ 99 h 112"/>
                    <a:gd name="T68" fmla="*/ 62 w 147"/>
                    <a:gd name="T69" fmla="*/ 101 h 112"/>
                    <a:gd name="T70" fmla="*/ 76 w 147"/>
                    <a:gd name="T71" fmla="*/ 101 h 112"/>
                    <a:gd name="T72" fmla="*/ 81 w 147"/>
                    <a:gd name="T73" fmla="*/ 99 h 112"/>
                    <a:gd name="T74" fmla="*/ 92 w 147"/>
                    <a:gd name="T75" fmla="*/ 94 h 112"/>
                    <a:gd name="T76" fmla="*/ 98 w 147"/>
                    <a:gd name="T77" fmla="*/ 96 h 112"/>
                    <a:gd name="T78" fmla="*/ 120 w 147"/>
                    <a:gd name="T79" fmla="*/ 112 h 112"/>
                    <a:gd name="T80" fmla="*/ 124 w 147"/>
                    <a:gd name="T81" fmla="*/ 106 h 112"/>
                    <a:gd name="T82" fmla="*/ 127 w 147"/>
                    <a:gd name="T83" fmla="*/ 99 h 112"/>
                    <a:gd name="T84" fmla="*/ 129 w 147"/>
                    <a:gd name="T85" fmla="*/ 88 h 112"/>
                    <a:gd name="T86" fmla="*/ 133 w 147"/>
                    <a:gd name="T87" fmla="*/ 80 h 112"/>
                    <a:gd name="T88" fmla="*/ 142 w 147"/>
                    <a:gd name="T89" fmla="*/ 74 h 112"/>
                    <a:gd name="T90" fmla="*/ 146 w 147"/>
                    <a:gd name="T91" fmla="*/ 71 h 112"/>
                    <a:gd name="T92" fmla="*/ 147 w 147"/>
                    <a:gd name="T93" fmla="*/ 65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47" h="112">
                      <a:moveTo>
                        <a:pt x="147" y="61"/>
                      </a:moveTo>
                      <a:lnTo>
                        <a:pt x="147" y="61"/>
                      </a:lnTo>
                      <a:lnTo>
                        <a:pt x="147" y="61"/>
                      </a:lnTo>
                      <a:lnTo>
                        <a:pt x="142" y="62"/>
                      </a:lnTo>
                      <a:lnTo>
                        <a:pt x="136" y="64"/>
                      </a:lnTo>
                      <a:lnTo>
                        <a:pt x="136" y="64"/>
                      </a:lnTo>
                      <a:lnTo>
                        <a:pt x="133" y="65"/>
                      </a:lnTo>
                      <a:lnTo>
                        <a:pt x="130" y="65"/>
                      </a:lnTo>
                      <a:lnTo>
                        <a:pt x="124" y="64"/>
                      </a:lnTo>
                      <a:lnTo>
                        <a:pt x="124" y="64"/>
                      </a:lnTo>
                      <a:lnTo>
                        <a:pt x="123" y="59"/>
                      </a:lnTo>
                      <a:lnTo>
                        <a:pt x="121" y="51"/>
                      </a:lnTo>
                      <a:lnTo>
                        <a:pt x="120" y="42"/>
                      </a:lnTo>
                      <a:lnTo>
                        <a:pt x="121" y="38"/>
                      </a:lnTo>
                      <a:lnTo>
                        <a:pt x="121" y="38"/>
                      </a:lnTo>
                      <a:lnTo>
                        <a:pt x="121" y="33"/>
                      </a:lnTo>
                      <a:lnTo>
                        <a:pt x="121" y="29"/>
                      </a:lnTo>
                      <a:lnTo>
                        <a:pt x="118" y="25"/>
                      </a:lnTo>
                      <a:lnTo>
                        <a:pt x="114" y="20"/>
                      </a:lnTo>
                      <a:lnTo>
                        <a:pt x="114" y="20"/>
                      </a:lnTo>
                      <a:lnTo>
                        <a:pt x="110" y="16"/>
                      </a:lnTo>
                      <a:lnTo>
                        <a:pt x="107" y="9"/>
                      </a:lnTo>
                      <a:lnTo>
                        <a:pt x="103" y="3"/>
                      </a:lnTo>
                      <a:lnTo>
                        <a:pt x="101" y="2"/>
                      </a:lnTo>
                      <a:lnTo>
                        <a:pt x="100" y="2"/>
                      </a:lnTo>
                      <a:lnTo>
                        <a:pt x="100" y="2"/>
                      </a:lnTo>
                      <a:lnTo>
                        <a:pt x="88" y="0"/>
                      </a:lnTo>
                      <a:lnTo>
                        <a:pt x="82" y="0"/>
                      </a:lnTo>
                      <a:lnTo>
                        <a:pt x="78" y="0"/>
                      </a:lnTo>
                      <a:lnTo>
                        <a:pt x="78" y="0"/>
                      </a:lnTo>
                      <a:lnTo>
                        <a:pt x="69" y="4"/>
                      </a:lnTo>
                      <a:lnTo>
                        <a:pt x="62" y="6"/>
                      </a:lnTo>
                      <a:lnTo>
                        <a:pt x="58" y="7"/>
                      </a:lnTo>
                      <a:lnTo>
                        <a:pt x="58" y="7"/>
                      </a:lnTo>
                      <a:lnTo>
                        <a:pt x="49" y="6"/>
                      </a:lnTo>
                      <a:lnTo>
                        <a:pt x="39" y="2"/>
                      </a:lnTo>
                      <a:lnTo>
                        <a:pt x="39" y="2"/>
                      </a:lnTo>
                      <a:lnTo>
                        <a:pt x="36" y="2"/>
                      </a:lnTo>
                      <a:lnTo>
                        <a:pt x="34" y="3"/>
                      </a:lnTo>
                      <a:lnTo>
                        <a:pt x="29" y="12"/>
                      </a:lnTo>
                      <a:lnTo>
                        <a:pt x="29" y="12"/>
                      </a:lnTo>
                      <a:lnTo>
                        <a:pt x="17" y="29"/>
                      </a:lnTo>
                      <a:lnTo>
                        <a:pt x="8" y="38"/>
                      </a:lnTo>
                      <a:lnTo>
                        <a:pt x="3" y="44"/>
                      </a:lnTo>
                      <a:lnTo>
                        <a:pt x="3" y="44"/>
                      </a:lnTo>
                      <a:lnTo>
                        <a:pt x="0" y="46"/>
                      </a:lnTo>
                      <a:lnTo>
                        <a:pt x="0" y="46"/>
                      </a:lnTo>
                      <a:lnTo>
                        <a:pt x="1" y="55"/>
                      </a:lnTo>
                      <a:lnTo>
                        <a:pt x="6" y="61"/>
                      </a:lnTo>
                      <a:lnTo>
                        <a:pt x="8" y="67"/>
                      </a:lnTo>
                      <a:lnTo>
                        <a:pt x="11" y="70"/>
                      </a:lnTo>
                      <a:lnTo>
                        <a:pt x="11" y="70"/>
                      </a:lnTo>
                      <a:lnTo>
                        <a:pt x="14" y="72"/>
                      </a:lnTo>
                      <a:lnTo>
                        <a:pt x="17" y="75"/>
                      </a:lnTo>
                      <a:lnTo>
                        <a:pt x="19" y="78"/>
                      </a:lnTo>
                      <a:lnTo>
                        <a:pt x="23" y="81"/>
                      </a:lnTo>
                      <a:lnTo>
                        <a:pt x="23" y="81"/>
                      </a:lnTo>
                      <a:lnTo>
                        <a:pt x="26" y="83"/>
                      </a:lnTo>
                      <a:lnTo>
                        <a:pt x="30" y="83"/>
                      </a:lnTo>
                      <a:lnTo>
                        <a:pt x="37" y="80"/>
                      </a:lnTo>
                      <a:lnTo>
                        <a:pt x="37" y="80"/>
                      </a:lnTo>
                      <a:lnTo>
                        <a:pt x="39" y="81"/>
                      </a:lnTo>
                      <a:lnTo>
                        <a:pt x="39" y="83"/>
                      </a:lnTo>
                      <a:lnTo>
                        <a:pt x="39" y="86"/>
                      </a:lnTo>
                      <a:lnTo>
                        <a:pt x="42" y="90"/>
                      </a:lnTo>
                      <a:lnTo>
                        <a:pt x="42" y="90"/>
                      </a:lnTo>
                      <a:lnTo>
                        <a:pt x="45" y="93"/>
                      </a:lnTo>
                      <a:lnTo>
                        <a:pt x="46" y="99"/>
                      </a:lnTo>
                      <a:lnTo>
                        <a:pt x="46" y="99"/>
                      </a:lnTo>
                      <a:lnTo>
                        <a:pt x="62" y="101"/>
                      </a:lnTo>
                      <a:lnTo>
                        <a:pt x="71" y="101"/>
                      </a:lnTo>
                      <a:lnTo>
                        <a:pt x="76" y="101"/>
                      </a:lnTo>
                      <a:lnTo>
                        <a:pt x="76" y="101"/>
                      </a:lnTo>
                      <a:lnTo>
                        <a:pt x="81" y="99"/>
                      </a:lnTo>
                      <a:lnTo>
                        <a:pt x="87" y="96"/>
                      </a:lnTo>
                      <a:lnTo>
                        <a:pt x="92" y="94"/>
                      </a:lnTo>
                      <a:lnTo>
                        <a:pt x="95" y="94"/>
                      </a:lnTo>
                      <a:lnTo>
                        <a:pt x="98" y="96"/>
                      </a:lnTo>
                      <a:lnTo>
                        <a:pt x="98" y="96"/>
                      </a:lnTo>
                      <a:lnTo>
                        <a:pt x="120" y="112"/>
                      </a:lnTo>
                      <a:lnTo>
                        <a:pt x="120" y="112"/>
                      </a:lnTo>
                      <a:lnTo>
                        <a:pt x="124" y="106"/>
                      </a:lnTo>
                      <a:lnTo>
                        <a:pt x="124" y="106"/>
                      </a:lnTo>
                      <a:lnTo>
                        <a:pt x="127" y="99"/>
                      </a:lnTo>
                      <a:lnTo>
                        <a:pt x="129" y="88"/>
                      </a:lnTo>
                      <a:lnTo>
                        <a:pt x="129" y="88"/>
                      </a:lnTo>
                      <a:lnTo>
                        <a:pt x="130" y="84"/>
                      </a:lnTo>
                      <a:lnTo>
                        <a:pt x="133" y="80"/>
                      </a:lnTo>
                      <a:lnTo>
                        <a:pt x="137" y="77"/>
                      </a:lnTo>
                      <a:lnTo>
                        <a:pt x="142" y="74"/>
                      </a:lnTo>
                      <a:lnTo>
                        <a:pt x="142" y="74"/>
                      </a:lnTo>
                      <a:lnTo>
                        <a:pt x="146" y="71"/>
                      </a:lnTo>
                      <a:lnTo>
                        <a:pt x="147" y="68"/>
                      </a:lnTo>
                      <a:lnTo>
                        <a:pt x="147" y="65"/>
                      </a:lnTo>
                      <a:lnTo>
                        <a:pt x="147" y="61"/>
                      </a:ln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81" name="Freeform 232"/>
                <p:cNvSpPr>
                  <a:spLocks/>
                </p:cNvSpPr>
                <p:nvPr/>
              </p:nvSpPr>
              <p:spPr bwMode="auto">
                <a:xfrm>
                  <a:off x="4826240" y="2593989"/>
                  <a:ext cx="40560" cy="28689"/>
                </a:xfrm>
                <a:custGeom>
                  <a:avLst/>
                  <a:gdLst>
                    <a:gd name="T0" fmla="*/ 2 w 41"/>
                    <a:gd name="T1" fmla="*/ 6 h 29"/>
                    <a:gd name="T2" fmla="*/ 2 w 41"/>
                    <a:gd name="T3" fmla="*/ 6 h 29"/>
                    <a:gd name="T4" fmla="*/ 0 w 41"/>
                    <a:gd name="T5" fmla="*/ 10 h 29"/>
                    <a:gd name="T6" fmla="*/ 2 w 41"/>
                    <a:gd name="T7" fmla="*/ 16 h 29"/>
                    <a:gd name="T8" fmla="*/ 6 w 41"/>
                    <a:gd name="T9" fmla="*/ 29 h 29"/>
                    <a:gd name="T10" fmla="*/ 6 w 41"/>
                    <a:gd name="T11" fmla="*/ 29 h 29"/>
                    <a:gd name="T12" fmla="*/ 9 w 41"/>
                    <a:gd name="T13" fmla="*/ 29 h 29"/>
                    <a:gd name="T14" fmla="*/ 9 w 41"/>
                    <a:gd name="T15" fmla="*/ 29 h 29"/>
                    <a:gd name="T16" fmla="*/ 13 w 41"/>
                    <a:gd name="T17" fmla="*/ 29 h 29"/>
                    <a:gd name="T18" fmla="*/ 16 w 41"/>
                    <a:gd name="T19" fmla="*/ 29 h 29"/>
                    <a:gd name="T20" fmla="*/ 20 w 41"/>
                    <a:gd name="T21" fmla="*/ 26 h 29"/>
                    <a:gd name="T22" fmla="*/ 20 w 41"/>
                    <a:gd name="T23" fmla="*/ 26 h 29"/>
                    <a:gd name="T24" fmla="*/ 26 w 41"/>
                    <a:gd name="T25" fmla="*/ 26 h 29"/>
                    <a:gd name="T26" fmla="*/ 33 w 41"/>
                    <a:gd name="T27" fmla="*/ 20 h 29"/>
                    <a:gd name="T28" fmla="*/ 33 w 41"/>
                    <a:gd name="T29" fmla="*/ 20 h 29"/>
                    <a:gd name="T30" fmla="*/ 41 w 41"/>
                    <a:gd name="T31" fmla="*/ 16 h 29"/>
                    <a:gd name="T32" fmla="*/ 36 w 41"/>
                    <a:gd name="T33" fmla="*/ 15 h 29"/>
                    <a:gd name="T34" fmla="*/ 36 w 41"/>
                    <a:gd name="T35" fmla="*/ 15 h 29"/>
                    <a:gd name="T36" fmla="*/ 33 w 41"/>
                    <a:gd name="T37" fmla="*/ 12 h 29"/>
                    <a:gd name="T38" fmla="*/ 33 w 41"/>
                    <a:gd name="T39" fmla="*/ 7 h 29"/>
                    <a:gd name="T40" fmla="*/ 35 w 41"/>
                    <a:gd name="T41" fmla="*/ 4 h 29"/>
                    <a:gd name="T42" fmla="*/ 35 w 41"/>
                    <a:gd name="T43" fmla="*/ 0 h 29"/>
                    <a:gd name="T44" fmla="*/ 35 w 41"/>
                    <a:gd name="T45" fmla="*/ 0 h 29"/>
                    <a:gd name="T46" fmla="*/ 13 w 41"/>
                    <a:gd name="T47" fmla="*/ 0 h 29"/>
                    <a:gd name="T48" fmla="*/ 4 w 41"/>
                    <a:gd name="T49" fmla="*/ 3 h 29"/>
                    <a:gd name="T50" fmla="*/ 3 w 41"/>
                    <a:gd name="T51" fmla="*/ 4 h 29"/>
                    <a:gd name="T52" fmla="*/ 2 w 41"/>
                    <a:gd name="T53" fmla="*/ 6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1" h="29">
                      <a:moveTo>
                        <a:pt x="2" y="6"/>
                      </a:moveTo>
                      <a:lnTo>
                        <a:pt x="2" y="6"/>
                      </a:lnTo>
                      <a:lnTo>
                        <a:pt x="0" y="10"/>
                      </a:lnTo>
                      <a:lnTo>
                        <a:pt x="2" y="16"/>
                      </a:lnTo>
                      <a:lnTo>
                        <a:pt x="6" y="29"/>
                      </a:lnTo>
                      <a:lnTo>
                        <a:pt x="6" y="29"/>
                      </a:lnTo>
                      <a:lnTo>
                        <a:pt x="9" y="29"/>
                      </a:lnTo>
                      <a:lnTo>
                        <a:pt x="9" y="29"/>
                      </a:lnTo>
                      <a:lnTo>
                        <a:pt x="13" y="29"/>
                      </a:lnTo>
                      <a:lnTo>
                        <a:pt x="16" y="29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6" y="26"/>
                      </a:lnTo>
                      <a:lnTo>
                        <a:pt x="33" y="20"/>
                      </a:lnTo>
                      <a:lnTo>
                        <a:pt x="33" y="20"/>
                      </a:lnTo>
                      <a:lnTo>
                        <a:pt x="41" y="16"/>
                      </a:lnTo>
                      <a:lnTo>
                        <a:pt x="36" y="15"/>
                      </a:lnTo>
                      <a:lnTo>
                        <a:pt x="36" y="15"/>
                      </a:lnTo>
                      <a:lnTo>
                        <a:pt x="33" y="12"/>
                      </a:lnTo>
                      <a:lnTo>
                        <a:pt x="33" y="7"/>
                      </a:lnTo>
                      <a:lnTo>
                        <a:pt x="35" y="4"/>
                      </a:lnTo>
                      <a:lnTo>
                        <a:pt x="35" y="0"/>
                      </a:lnTo>
                      <a:lnTo>
                        <a:pt x="35" y="0"/>
                      </a:lnTo>
                      <a:lnTo>
                        <a:pt x="13" y="0"/>
                      </a:lnTo>
                      <a:lnTo>
                        <a:pt x="4" y="3"/>
                      </a:lnTo>
                      <a:lnTo>
                        <a:pt x="3" y="4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82" name="Freeform 233"/>
                <p:cNvSpPr>
                  <a:spLocks/>
                </p:cNvSpPr>
                <p:nvPr/>
              </p:nvSpPr>
              <p:spPr bwMode="auto">
                <a:xfrm>
                  <a:off x="4826240" y="2593989"/>
                  <a:ext cx="40560" cy="28689"/>
                </a:xfrm>
                <a:custGeom>
                  <a:avLst/>
                  <a:gdLst>
                    <a:gd name="T0" fmla="*/ 2 w 41"/>
                    <a:gd name="T1" fmla="*/ 6 h 29"/>
                    <a:gd name="T2" fmla="*/ 2 w 41"/>
                    <a:gd name="T3" fmla="*/ 6 h 29"/>
                    <a:gd name="T4" fmla="*/ 0 w 41"/>
                    <a:gd name="T5" fmla="*/ 10 h 29"/>
                    <a:gd name="T6" fmla="*/ 2 w 41"/>
                    <a:gd name="T7" fmla="*/ 16 h 29"/>
                    <a:gd name="T8" fmla="*/ 6 w 41"/>
                    <a:gd name="T9" fmla="*/ 29 h 29"/>
                    <a:gd name="T10" fmla="*/ 6 w 41"/>
                    <a:gd name="T11" fmla="*/ 29 h 29"/>
                    <a:gd name="T12" fmla="*/ 9 w 41"/>
                    <a:gd name="T13" fmla="*/ 29 h 29"/>
                    <a:gd name="T14" fmla="*/ 9 w 41"/>
                    <a:gd name="T15" fmla="*/ 29 h 29"/>
                    <a:gd name="T16" fmla="*/ 13 w 41"/>
                    <a:gd name="T17" fmla="*/ 29 h 29"/>
                    <a:gd name="T18" fmla="*/ 16 w 41"/>
                    <a:gd name="T19" fmla="*/ 29 h 29"/>
                    <a:gd name="T20" fmla="*/ 20 w 41"/>
                    <a:gd name="T21" fmla="*/ 26 h 29"/>
                    <a:gd name="T22" fmla="*/ 20 w 41"/>
                    <a:gd name="T23" fmla="*/ 26 h 29"/>
                    <a:gd name="T24" fmla="*/ 26 w 41"/>
                    <a:gd name="T25" fmla="*/ 26 h 29"/>
                    <a:gd name="T26" fmla="*/ 33 w 41"/>
                    <a:gd name="T27" fmla="*/ 20 h 29"/>
                    <a:gd name="T28" fmla="*/ 33 w 41"/>
                    <a:gd name="T29" fmla="*/ 20 h 29"/>
                    <a:gd name="T30" fmla="*/ 41 w 41"/>
                    <a:gd name="T31" fmla="*/ 16 h 29"/>
                    <a:gd name="T32" fmla="*/ 36 w 41"/>
                    <a:gd name="T33" fmla="*/ 15 h 29"/>
                    <a:gd name="T34" fmla="*/ 36 w 41"/>
                    <a:gd name="T35" fmla="*/ 15 h 29"/>
                    <a:gd name="T36" fmla="*/ 33 w 41"/>
                    <a:gd name="T37" fmla="*/ 12 h 29"/>
                    <a:gd name="T38" fmla="*/ 33 w 41"/>
                    <a:gd name="T39" fmla="*/ 7 h 29"/>
                    <a:gd name="T40" fmla="*/ 35 w 41"/>
                    <a:gd name="T41" fmla="*/ 4 h 29"/>
                    <a:gd name="T42" fmla="*/ 35 w 41"/>
                    <a:gd name="T43" fmla="*/ 0 h 29"/>
                    <a:gd name="T44" fmla="*/ 35 w 41"/>
                    <a:gd name="T45" fmla="*/ 0 h 29"/>
                    <a:gd name="T46" fmla="*/ 13 w 41"/>
                    <a:gd name="T47" fmla="*/ 0 h 29"/>
                    <a:gd name="T48" fmla="*/ 4 w 41"/>
                    <a:gd name="T49" fmla="*/ 3 h 29"/>
                    <a:gd name="T50" fmla="*/ 3 w 41"/>
                    <a:gd name="T51" fmla="*/ 4 h 29"/>
                    <a:gd name="T52" fmla="*/ 2 w 41"/>
                    <a:gd name="T53" fmla="*/ 6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1" h="29">
                      <a:moveTo>
                        <a:pt x="2" y="6"/>
                      </a:moveTo>
                      <a:lnTo>
                        <a:pt x="2" y="6"/>
                      </a:lnTo>
                      <a:lnTo>
                        <a:pt x="0" y="10"/>
                      </a:lnTo>
                      <a:lnTo>
                        <a:pt x="2" y="16"/>
                      </a:lnTo>
                      <a:lnTo>
                        <a:pt x="6" y="29"/>
                      </a:lnTo>
                      <a:lnTo>
                        <a:pt x="6" y="29"/>
                      </a:lnTo>
                      <a:lnTo>
                        <a:pt x="9" y="29"/>
                      </a:lnTo>
                      <a:lnTo>
                        <a:pt x="9" y="29"/>
                      </a:lnTo>
                      <a:lnTo>
                        <a:pt x="13" y="29"/>
                      </a:lnTo>
                      <a:lnTo>
                        <a:pt x="16" y="29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6" y="26"/>
                      </a:lnTo>
                      <a:lnTo>
                        <a:pt x="33" y="20"/>
                      </a:lnTo>
                      <a:lnTo>
                        <a:pt x="33" y="20"/>
                      </a:lnTo>
                      <a:lnTo>
                        <a:pt x="41" y="16"/>
                      </a:lnTo>
                      <a:lnTo>
                        <a:pt x="36" y="15"/>
                      </a:lnTo>
                      <a:lnTo>
                        <a:pt x="36" y="15"/>
                      </a:lnTo>
                      <a:lnTo>
                        <a:pt x="33" y="12"/>
                      </a:lnTo>
                      <a:lnTo>
                        <a:pt x="33" y="7"/>
                      </a:lnTo>
                      <a:lnTo>
                        <a:pt x="35" y="4"/>
                      </a:lnTo>
                      <a:lnTo>
                        <a:pt x="35" y="0"/>
                      </a:lnTo>
                      <a:lnTo>
                        <a:pt x="35" y="0"/>
                      </a:lnTo>
                      <a:lnTo>
                        <a:pt x="13" y="0"/>
                      </a:lnTo>
                      <a:lnTo>
                        <a:pt x="4" y="3"/>
                      </a:lnTo>
                      <a:lnTo>
                        <a:pt x="3" y="4"/>
                      </a:lnTo>
                      <a:lnTo>
                        <a:pt x="2" y="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89" name="Freeform 240"/>
                <p:cNvSpPr>
                  <a:spLocks/>
                </p:cNvSpPr>
                <p:nvPr/>
              </p:nvSpPr>
              <p:spPr bwMode="auto">
                <a:xfrm>
                  <a:off x="4663012" y="2523752"/>
                  <a:ext cx="61334" cy="57377"/>
                </a:xfrm>
                <a:custGeom>
                  <a:avLst/>
                  <a:gdLst>
                    <a:gd name="T0" fmla="*/ 14 w 62"/>
                    <a:gd name="T1" fmla="*/ 2 h 58"/>
                    <a:gd name="T2" fmla="*/ 14 w 62"/>
                    <a:gd name="T3" fmla="*/ 2 h 58"/>
                    <a:gd name="T4" fmla="*/ 7 w 62"/>
                    <a:gd name="T5" fmla="*/ 3 h 58"/>
                    <a:gd name="T6" fmla="*/ 3 w 62"/>
                    <a:gd name="T7" fmla="*/ 6 h 58"/>
                    <a:gd name="T8" fmla="*/ 0 w 62"/>
                    <a:gd name="T9" fmla="*/ 12 h 58"/>
                    <a:gd name="T10" fmla="*/ 0 w 62"/>
                    <a:gd name="T11" fmla="*/ 16 h 58"/>
                    <a:gd name="T12" fmla="*/ 0 w 62"/>
                    <a:gd name="T13" fmla="*/ 16 h 58"/>
                    <a:gd name="T14" fmla="*/ 3 w 62"/>
                    <a:gd name="T15" fmla="*/ 23 h 58"/>
                    <a:gd name="T16" fmla="*/ 10 w 62"/>
                    <a:gd name="T17" fmla="*/ 33 h 58"/>
                    <a:gd name="T18" fmla="*/ 23 w 62"/>
                    <a:gd name="T19" fmla="*/ 52 h 58"/>
                    <a:gd name="T20" fmla="*/ 23 w 62"/>
                    <a:gd name="T21" fmla="*/ 52 h 58"/>
                    <a:gd name="T22" fmla="*/ 27 w 62"/>
                    <a:gd name="T23" fmla="*/ 54 h 58"/>
                    <a:gd name="T24" fmla="*/ 32 w 62"/>
                    <a:gd name="T25" fmla="*/ 55 h 58"/>
                    <a:gd name="T26" fmla="*/ 32 w 62"/>
                    <a:gd name="T27" fmla="*/ 55 h 58"/>
                    <a:gd name="T28" fmla="*/ 36 w 62"/>
                    <a:gd name="T29" fmla="*/ 58 h 58"/>
                    <a:gd name="T30" fmla="*/ 36 w 62"/>
                    <a:gd name="T31" fmla="*/ 58 h 58"/>
                    <a:gd name="T32" fmla="*/ 45 w 62"/>
                    <a:gd name="T33" fmla="*/ 46 h 58"/>
                    <a:gd name="T34" fmla="*/ 51 w 62"/>
                    <a:gd name="T35" fmla="*/ 38 h 58"/>
                    <a:gd name="T36" fmla="*/ 51 w 62"/>
                    <a:gd name="T37" fmla="*/ 38 h 58"/>
                    <a:gd name="T38" fmla="*/ 59 w 62"/>
                    <a:gd name="T39" fmla="*/ 29 h 58"/>
                    <a:gd name="T40" fmla="*/ 61 w 62"/>
                    <a:gd name="T41" fmla="*/ 23 h 58"/>
                    <a:gd name="T42" fmla="*/ 62 w 62"/>
                    <a:gd name="T43" fmla="*/ 18 h 58"/>
                    <a:gd name="T44" fmla="*/ 62 w 62"/>
                    <a:gd name="T45" fmla="*/ 18 h 58"/>
                    <a:gd name="T46" fmla="*/ 61 w 62"/>
                    <a:gd name="T47" fmla="*/ 9 h 58"/>
                    <a:gd name="T48" fmla="*/ 59 w 62"/>
                    <a:gd name="T49" fmla="*/ 0 h 58"/>
                    <a:gd name="T50" fmla="*/ 59 w 62"/>
                    <a:gd name="T51" fmla="*/ 0 h 58"/>
                    <a:gd name="T52" fmla="*/ 45 w 62"/>
                    <a:gd name="T53" fmla="*/ 3 h 58"/>
                    <a:gd name="T54" fmla="*/ 45 w 62"/>
                    <a:gd name="T55" fmla="*/ 3 h 58"/>
                    <a:gd name="T56" fmla="*/ 14 w 62"/>
                    <a:gd name="T57" fmla="*/ 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2" h="58">
                      <a:moveTo>
                        <a:pt x="14" y="2"/>
                      </a:moveTo>
                      <a:lnTo>
                        <a:pt x="14" y="2"/>
                      </a:lnTo>
                      <a:lnTo>
                        <a:pt x="7" y="3"/>
                      </a:lnTo>
                      <a:lnTo>
                        <a:pt x="3" y="6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3" y="23"/>
                      </a:lnTo>
                      <a:lnTo>
                        <a:pt x="10" y="33"/>
                      </a:lnTo>
                      <a:lnTo>
                        <a:pt x="23" y="52"/>
                      </a:lnTo>
                      <a:lnTo>
                        <a:pt x="23" y="52"/>
                      </a:lnTo>
                      <a:lnTo>
                        <a:pt x="27" y="54"/>
                      </a:lnTo>
                      <a:lnTo>
                        <a:pt x="32" y="55"/>
                      </a:lnTo>
                      <a:lnTo>
                        <a:pt x="32" y="55"/>
                      </a:lnTo>
                      <a:lnTo>
                        <a:pt x="36" y="58"/>
                      </a:lnTo>
                      <a:lnTo>
                        <a:pt x="36" y="58"/>
                      </a:lnTo>
                      <a:lnTo>
                        <a:pt x="45" y="46"/>
                      </a:lnTo>
                      <a:lnTo>
                        <a:pt x="51" y="38"/>
                      </a:lnTo>
                      <a:lnTo>
                        <a:pt x="51" y="38"/>
                      </a:lnTo>
                      <a:lnTo>
                        <a:pt x="59" y="29"/>
                      </a:lnTo>
                      <a:lnTo>
                        <a:pt x="61" y="23"/>
                      </a:lnTo>
                      <a:lnTo>
                        <a:pt x="62" y="18"/>
                      </a:lnTo>
                      <a:lnTo>
                        <a:pt x="62" y="18"/>
                      </a:lnTo>
                      <a:lnTo>
                        <a:pt x="61" y="9"/>
                      </a:lnTo>
                      <a:lnTo>
                        <a:pt x="59" y="0"/>
                      </a:lnTo>
                      <a:lnTo>
                        <a:pt x="59" y="0"/>
                      </a:lnTo>
                      <a:lnTo>
                        <a:pt x="45" y="3"/>
                      </a:lnTo>
                      <a:lnTo>
                        <a:pt x="45" y="3"/>
                      </a:lnTo>
                      <a:lnTo>
                        <a:pt x="14" y="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90" name="Freeform 241"/>
                <p:cNvSpPr>
                  <a:spLocks/>
                </p:cNvSpPr>
                <p:nvPr/>
              </p:nvSpPr>
              <p:spPr bwMode="auto">
                <a:xfrm>
                  <a:off x="4663012" y="2523752"/>
                  <a:ext cx="61334" cy="57377"/>
                </a:xfrm>
                <a:custGeom>
                  <a:avLst/>
                  <a:gdLst>
                    <a:gd name="T0" fmla="*/ 14 w 62"/>
                    <a:gd name="T1" fmla="*/ 2 h 58"/>
                    <a:gd name="T2" fmla="*/ 14 w 62"/>
                    <a:gd name="T3" fmla="*/ 2 h 58"/>
                    <a:gd name="T4" fmla="*/ 7 w 62"/>
                    <a:gd name="T5" fmla="*/ 3 h 58"/>
                    <a:gd name="T6" fmla="*/ 3 w 62"/>
                    <a:gd name="T7" fmla="*/ 6 h 58"/>
                    <a:gd name="T8" fmla="*/ 0 w 62"/>
                    <a:gd name="T9" fmla="*/ 12 h 58"/>
                    <a:gd name="T10" fmla="*/ 0 w 62"/>
                    <a:gd name="T11" fmla="*/ 16 h 58"/>
                    <a:gd name="T12" fmla="*/ 0 w 62"/>
                    <a:gd name="T13" fmla="*/ 16 h 58"/>
                    <a:gd name="T14" fmla="*/ 3 w 62"/>
                    <a:gd name="T15" fmla="*/ 23 h 58"/>
                    <a:gd name="T16" fmla="*/ 10 w 62"/>
                    <a:gd name="T17" fmla="*/ 33 h 58"/>
                    <a:gd name="T18" fmla="*/ 23 w 62"/>
                    <a:gd name="T19" fmla="*/ 52 h 58"/>
                    <a:gd name="T20" fmla="*/ 23 w 62"/>
                    <a:gd name="T21" fmla="*/ 52 h 58"/>
                    <a:gd name="T22" fmla="*/ 27 w 62"/>
                    <a:gd name="T23" fmla="*/ 54 h 58"/>
                    <a:gd name="T24" fmla="*/ 32 w 62"/>
                    <a:gd name="T25" fmla="*/ 55 h 58"/>
                    <a:gd name="T26" fmla="*/ 32 w 62"/>
                    <a:gd name="T27" fmla="*/ 55 h 58"/>
                    <a:gd name="T28" fmla="*/ 36 w 62"/>
                    <a:gd name="T29" fmla="*/ 58 h 58"/>
                    <a:gd name="T30" fmla="*/ 36 w 62"/>
                    <a:gd name="T31" fmla="*/ 58 h 58"/>
                    <a:gd name="T32" fmla="*/ 45 w 62"/>
                    <a:gd name="T33" fmla="*/ 46 h 58"/>
                    <a:gd name="T34" fmla="*/ 51 w 62"/>
                    <a:gd name="T35" fmla="*/ 38 h 58"/>
                    <a:gd name="T36" fmla="*/ 51 w 62"/>
                    <a:gd name="T37" fmla="*/ 38 h 58"/>
                    <a:gd name="T38" fmla="*/ 59 w 62"/>
                    <a:gd name="T39" fmla="*/ 29 h 58"/>
                    <a:gd name="T40" fmla="*/ 61 w 62"/>
                    <a:gd name="T41" fmla="*/ 23 h 58"/>
                    <a:gd name="T42" fmla="*/ 62 w 62"/>
                    <a:gd name="T43" fmla="*/ 18 h 58"/>
                    <a:gd name="T44" fmla="*/ 62 w 62"/>
                    <a:gd name="T45" fmla="*/ 18 h 58"/>
                    <a:gd name="T46" fmla="*/ 61 w 62"/>
                    <a:gd name="T47" fmla="*/ 9 h 58"/>
                    <a:gd name="T48" fmla="*/ 59 w 62"/>
                    <a:gd name="T49" fmla="*/ 0 h 58"/>
                    <a:gd name="T50" fmla="*/ 59 w 62"/>
                    <a:gd name="T51" fmla="*/ 0 h 58"/>
                    <a:gd name="T52" fmla="*/ 45 w 62"/>
                    <a:gd name="T53" fmla="*/ 3 h 58"/>
                    <a:gd name="T54" fmla="*/ 45 w 62"/>
                    <a:gd name="T55" fmla="*/ 3 h 58"/>
                    <a:gd name="T56" fmla="*/ 14 w 62"/>
                    <a:gd name="T57" fmla="*/ 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2" h="58">
                      <a:moveTo>
                        <a:pt x="14" y="2"/>
                      </a:moveTo>
                      <a:lnTo>
                        <a:pt x="14" y="2"/>
                      </a:lnTo>
                      <a:lnTo>
                        <a:pt x="7" y="3"/>
                      </a:lnTo>
                      <a:lnTo>
                        <a:pt x="3" y="6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3" y="23"/>
                      </a:lnTo>
                      <a:lnTo>
                        <a:pt x="10" y="33"/>
                      </a:lnTo>
                      <a:lnTo>
                        <a:pt x="23" y="52"/>
                      </a:lnTo>
                      <a:lnTo>
                        <a:pt x="23" y="52"/>
                      </a:lnTo>
                      <a:lnTo>
                        <a:pt x="27" y="54"/>
                      </a:lnTo>
                      <a:lnTo>
                        <a:pt x="32" y="55"/>
                      </a:lnTo>
                      <a:lnTo>
                        <a:pt x="32" y="55"/>
                      </a:lnTo>
                      <a:lnTo>
                        <a:pt x="36" y="58"/>
                      </a:lnTo>
                      <a:lnTo>
                        <a:pt x="36" y="58"/>
                      </a:lnTo>
                      <a:lnTo>
                        <a:pt x="45" y="46"/>
                      </a:lnTo>
                      <a:lnTo>
                        <a:pt x="51" y="38"/>
                      </a:lnTo>
                      <a:lnTo>
                        <a:pt x="51" y="38"/>
                      </a:lnTo>
                      <a:lnTo>
                        <a:pt x="59" y="29"/>
                      </a:lnTo>
                      <a:lnTo>
                        <a:pt x="61" y="23"/>
                      </a:lnTo>
                      <a:lnTo>
                        <a:pt x="62" y="18"/>
                      </a:lnTo>
                      <a:lnTo>
                        <a:pt x="62" y="18"/>
                      </a:lnTo>
                      <a:lnTo>
                        <a:pt x="61" y="9"/>
                      </a:lnTo>
                      <a:lnTo>
                        <a:pt x="59" y="0"/>
                      </a:lnTo>
                      <a:lnTo>
                        <a:pt x="59" y="0"/>
                      </a:lnTo>
                      <a:lnTo>
                        <a:pt x="45" y="3"/>
                      </a:lnTo>
                      <a:lnTo>
                        <a:pt x="45" y="3"/>
                      </a:lnTo>
                      <a:lnTo>
                        <a:pt x="14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91" name="Freeform 242"/>
                <p:cNvSpPr>
                  <a:spLocks/>
                </p:cNvSpPr>
                <p:nvPr/>
              </p:nvSpPr>
              <p:spPr bwMode="auto">
                <a:xfrm>
                  <a:off x="4817336" y="2444611"/>
                  <a:ext cx="62323" cy="76173"/>
                </a:xfrm>
                <a:custGeom>
                  <a:avLst/>
                  <a:gdLst>
                    <a:gd name="T0" fmla="*/ 58 w 63"/>
                    <a:gd name="T1" fmla="*/ 21 h 77"/>
                    <a:gd name="T2" fmla="*/ 58 w 63"/>
                    <a:gd name="T3" fmla="*/ 21 h 77"/>
                    <a:gd name="T4" fmla="*/ 54 w 63"/>
                    <a:gd name="T5" fmla="*/ 15 h 77"/>
                    <a:gd name="T6" fmla="*/ 45 w 63"/>
                    <a:gd name="T7" fmla="*/ 8 h 77"/>
                    <a:gd name="T8" fmla="*/ 37 w 63"/>
                    <a:gd name="T9" fmla="*/ 3 h 77"/>
                    <a:gd name="T10" fmla="*/ 29 w 63"/>
                    <a:gd name="T11" fmla="*/ 0 h 77"/>
                    <a:gd name="T12" fmla="*/ 29 w 63"/>
                    <a:gd name="T13" fmla="*/ 0 h 77"/>
                    <a:gd name="T14" fmla="*/ 24 w 63"/>
                    <a:gd name="T15" fmla="*/ 2 h 77"/>
                    <a:gd name="T16" fmla="*/ 15 w 63"/>
                    <a:gd name="T17" fmla="*/ 3 h 77"/>
                    <a:gd name="T18" fmla="*/ 8 w 63"/>
                    <a:gd name="T19" fmla="*/ 6 h 77"/>
                    <a:gd name="T20" fmla="*/ 0 w 63"/>
                    <a:gd name="T21" fmla="*/ 12 h 77"/>
                    <a:gd name="T22" fmla="*/ 0 w 63"/>
                    <a:gd name="T23" fmla="*/ 12 h 77"/>
                    <a:gd name="T24" fmla="*/ 11 w 63"/>
                    <a:gd name="T25" fmla="*/ 12 h 77"/>
                    <a:gd name="T26" fmla="*/ 21 w 63"/>
                    <a:gd name="T27" fmla="*/ 14 h 77"/>
                    <a:gd name="T28" fmla="*/ 21 w 63"/>
                    <a:gd name="T29" fmla="*/ 14 h 77"/>
                    <a:gd name="T30" fmla="*/ 22 w 63"/>
                    <a:gd name="T31" fmla="*/ 14 h 77"/>
                    <a:gd name="T32" fmla="*/ 24 w 63"/>
                    <a:gd name="T33" fmla="*/ 15 h 77"/>
                    <a:gd name="T34" fmla="*/ 28 w 63"/>
                    <a:gd name="T35" fmla="*/ 21 h 77"/>
                    <a:gd name="T36" fmla="*/ 31 w 63"/>
                    <a:gd name="T37" fmla="*/ 28 h 77"/>
                    <a:gd name="T38" fmla="*/ 35 w 63"/>
                    <a:gd name="T39" fmla="*/ 32 h 77"/>
                    <a:gd name="T40" fmla="*/ 35 w 63"/>
                    <a:gd name="T41" fmla="*/ 32 h 77"/>
                    <a:gd name="T42" fmla="*/ 39 w 63"/>
                    <a:gd name="T43" fmla="*/ 37 h 77"/>
                    <a:gd name="T44" fmla="*/ 42 w 63"/>
                    <a:gd name="T45" fmla="*/ 41 h 77"/>
                    <a:gd name="T46" fmla="*/ 42 w 63"/>
                    <a:gd name="T47" fmla="*/ 45 h 77"/>
                    <a:gd name="T48" fmla="*/ 42 w 63"/>
                    <a:gd name="T49" fmla="*/ 50 h 77"/>
                    <a:gd name="T50" fmla="*/ 42 w 63"/>
                    <a:gd name="T51" fmla="*/ 50 h 77"/>
                    <a:gd name="T52" fmla="*/ 41 w 63"/>
                    <a:gd name="T53" fmla="*/ 54 h 77"/>
                    <a:gd name="T54" fmla="*/ 42 w 63"/>
                    <a:gd name="T55" fmla="*/ 63 h 77"/>
                    <a:gd name="T56" fmla="*/ 44 w 63"/>
                    <a:gd name="T57" fmla="*/ 71 h 77"/>
                    <a:gd name="T58" fmla="*/ 45 w 63"/>
                    <a:gd name="T59" fmla="*/ 76 h 77"/>
                    <a:gd name="T60" fmla="*/ 45 w 63"/>
                    <a:gd name="T61" fmla="*/ 76 h 77"/>
                    <a:gd name="T62" fmla="*/ 51 w 63"/>
                    <a:gd name="T63" fmla="*/ 77 h 77"/>
                    <a:gd name="T64" fmla="*/ 51 w 63"/>
                    <a:gd name="T65" fmla="*/ 77 h 77"/>
                    <a:gd name="T66" fmla="*/ 54 w 63"/>
                    <a:gd name="T67" fmla="*/ 63 h 77"/>
                    <a:gd name="T68" fmla="*/ 57 w 63"/>
                    <a:gd name="T69" fmla="*/ 56 h 77"/>
                    <a:gd name="T70" fmla="*/ 60 w 63"/>
                    <a:gd name="T71" fmla="*/ 51 h 77"/>
                    <a:gd name="T72" fmla="*/ 60 w 63"/>
                    <a:gd name="T73" fmla="*/ 51 h 77"/>
                    <a:gd name="T74" fmla="*/ 63 w 63"/>
                    <a:gd name="T75" fmla="*/ 45 h 77"/>
                    <a:gd name="T76" fmla="*/ 63 w 63"/>
                    <a:gd name="T77" fmla="*/ 37 h 77"/>
                    <a:gd name="T78" fmla="*/ 61 w 63"/>
                    <a:gd name="T79" fmla="*/ 28 h 77"/>
                    <a:gd name="T80" fmla="*/ 58 w 63"/>
                    <a:gd name="T81" fmla="*/ 21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3" h="77">
                      <a:moveTo>
                        <a:pt x="58" y="21"/>
                      </a:moveTo>
                      <a:lnTo>
                        <a:pt x="58" y="21"/>
                      </a:lnTo>
                      <a:lnTo>
                        <a:pt x="54" y="15"/>
                      </a:lnTo>
                      <a:lnTo>
                        <a:pt x="45" y="8"/>
                      </a:lnTo>
                      <a:lnTo>
                        <a:pt x="37" y="3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24" y="2"/>
                      </a:lnTo>
                      <a:lnTo>
                        <a:pt x="15" y="3"/>
                      </a:lnTo>
                      <a:lnTo>
                        <a:pt x="8" y="6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11" y="12"/>
                      </a:lnTo>
                      <a:lnTo>
                        <a:pt x="21" y="14"/>
                      </a:lnTo>
                      <a:lnTo>
                        <a:pt x="21" y="14"/>
                      </a:lnTo>
                      <a:lnTo>
                        <a:pt x="22" y="14"/>
                      </a:lnTo>
                      <a:lnTo>
                        <a:pt x="24" y="15"/>
                      </a:lnTo>
                      <a:lnTo>
                        <a:pt x="28" y="21"/>
                      </a:lnTo>
                      <a:lnTo>
                        <a:pt x="31" y="28"/>
                      </a:lnTo>
                      <a:lnTo>
                        <a:pt x="35" y="32"/>
                      </a:lnTo>
                      <a:lnTo>
                        <a:pt x="35" y="32"/>
                      </a:lnTo>
                      <a:lnTo>
                        <a:pt x="39" y="37"/>
                      </a:lnTo>
                      <a:lnTo>
                        <a:pt x="42" y="41"/>
                      </a:lnTo>
                      <a:lnTo>
                        <a:pt x="42" y="45"/>
                      </a:lnTo>
                      <a:lnTo>
                        <a:pt x="42" y="50"/>
                      </a:lnTo>
                      <a:lnTo>
                        <a:pt x="42" y="50"/>
                      </a:lnTo>
                      <a:lnTo>
                        <a:pt x="41" y="54"/>
                      </a:lnTo>
                      <a:lnTo>
                        <a:pt x="42" y="63"/>
                      </a:lnTo>
                      <a:lnTo>
                        <a:pt x="44" y="71"/>
                      </a:lnTo>
                      <a:lnTo>
                        <a:pt x="45" y="76"/>
                      </a:lnTo>
                      <a:lnTo>
                        <a:pt x="45" y="76"/>
                      </a:lnTo>
                      <a:lnTo>
                        <a:pt x="51" y="77"/>
                      </a:lnTo>
                      <a:lnTo>
                        <a:pt x="51" y="77"/>
                      </a:lnTo>
                      <a:lnTo>
                        <a:pt x="54" y="63"/>
                      </a:lnTo>
                      <a:lnTo>
                        <a:pt x="57" y="56"/>
                      </a:lnTo>
                      <a:lnTo>
                        <a:pt x="60" y="51"/>
                      </a:lnTo>
                      <a:lnTo>
                        <a:pt x="60" y="51"/>
                      </a:lnTo>
                      <a:lnTo>
                        <a:pt x="63" y="45"/>
                      </a:lnTo>
                      <a:lnTo>
                        <a:pt x="63" y="37"/>
                      </a:lnTo>
                      <a:lnTo>
                        <a:pt x="61" y="28"/>
                      </a:lnTo>
                      <a:lnTo>
                        <a:pt x="58" y="2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92" name="Freeform 243"/>
                <p:cNvSpPr>
                  <a:spLocks/>
                </p:cNvSpPr>
                <p:nvPr/>
              </p:nvSpPr>
              <p:spPr bwMode="auto">
                <a:xfrm>
                  <a:off x="4817336" y="2444611"/>
                  <a:ext cx="62323" cy="76173"/>
                </a:xfrm>
                <a:custGeom>
                  <a:avLst/>
                  <a:gdLst>
                    <a:gd name="T0" fmla="*/ 58 w 63"/>
                    <a:gd name="T1" fmla="*/ 21 h 77"/>
                    <a:gd name="T2" fmla="*/ 58 w 63"/>
                    <a:gd name="T3" fmla="*/ 21 h 77"/>
                    <a:gd name="T4" fmla="*/ 54 w 63"/>
                    <a:gd name="T5" fmla="*/ 15 h 77"/>
                    <a:gd name="T6" fmla="*/ 45 w 63"/>
                    <a:gd name="T7" fmla="*/ 8 h 77"/>
                    <a:gd name="T8" fmla="*/ 37 w 63"/>
                    <a:gd name="T9" fmla="*/ 3 h 77"/>
                    <a:gd name="T10" fmla="*/ 29 w 63"/>
                    <a:gd name="T11" fmla="*/ 0 h 77"/>
                    <a:gd name="T12" fmla="*/ 29 w 63"/>
                    <a:gd name="T13" fmla="*/ 0 h 77"/>
                    <a:gd name="T14" fmla="*/ 24 w 63"/>
                    <a:gd name="T15" fmla="*/ 2 h 77"/>
                    <a:gd name="T16" fmla="*/ 15 w 63"/>
                    <a:gd name="T17" fmla="*/ 3 h 77"/>
                    <a:gd name="T18" fmla="*/ 8 w 63"/>
                    <a:gd name="T19" fmla="*/ 6 h 77"/>
                    <a:gd name="T20" fmla="*/ 0 w 63"/>
                    <a:gd name="T21" fmla="*/ 12 h 77"/>
                    <a:gd name="T22" fmla="*/ 0 w 63"/>
                    <a:gd name="T23" fmla="*/ 12 h 77"/>
                    <a:gd name="T24" fmla="*/ 11 w 63"/>
                    <a:gd name="T25" fmla="*/ 12 h 77"/>
                    <a:gd name="T26" fmla="*/ 21 w 63"/>
                    <a:gd name="T27" fmla="*/ 14 h 77"/>
                    <a:gd name="T28" fmla="*/ 21 w 63"/>
                    <a:gd name="T29" fmla="*/ 14 h 77"/>
                    <a:gd name="T30" fmla="*/ 22 w 63"/>
                    <a:gd name="T31" fmla="*/ 14 h 77"/>
                    <a:gd name="T32" fmla="*/ 24 w 63"/>
                    <a:gd name="T33" fmla="*/ 15 h 77"/>
                    <a:gd name="T34" fmla="*/ 28 w 63"/>
                    <a:gd name="T35" fmla="*/ 21 h 77"/>
                    <a:gd name="T36" fmla="*/ 31 w 63"/>
                    <a:gd name="T37" fmla="*/ 28 h 77"/>
                    <a:gd name="T38" fmla="*/ 35 w 63"/>
                    <a:gd name="T39" fmla="*/ 32 h 77"/>
                    <a:gd name="T40" fmla="*/ 35 w 63"/>
                    <a:gd name="T41" fmla="*/ 32 h 77"/>
                    <a:gd name="T42" fmla="*/ 39 w 63"/>
                    <a:gd name="T43" fmla="*/ 37 h 77"/>
                    <a:gd name="T44" fmla="*/ 42 w 63"/>
                    <a:gd name="T45" fmla="*/ 41 h 77"/>
                    <a:gd name="T46" fmla="*/ 42 w 63"/>
                    <a:gd name="T47" fmla="*/ 45 h 77"/>
                    <a:gd name="T48" fmla="*/ 42 w 63"/>
                    <a:gd name="T49" fmla="*/ 50 h 77"/>
                    <a:gd name="T50" fmla="*/ 42 w 63"/>
                    <a:gd name="T51" fmla="*/ 50 h 77"/>
                    <a:gd name="T52" fmla="*/ 41 w 63"/>
                    <a:gd name="T53" fmla="*/ 54 h 77"/>
                    <a:gd name="T54" fmla="*/ 42 w 63"/>
                    <a:gd name="T55" fmla="*/ 63 h 77"/>
                    <a:gd name="T56" fmla="*/ 44 w 63"/>
                    <a:gd name="T57" fmla="*/ 71 h 77"/>
                    <a:gd name="T58" fmla="*/ 45 w 63"/>
                    <a:gd name="T59" fmla="*/ 76 h 77"/>
                    <a:gd name="T60" fmla="*/ 45 w 63"/>
                    <a:gd name="T61" fmla="*/ 76 h 77"/>
                    <a:gd name="T62" fmla="*/ 51 w 63"/>
                    <a:gd name="T63" fmla="*/ 77 h 77"/>
                    <a:gd name="T64" fmla="*/ 51 w 63"/>
                    <a:gd name="T65" fmla="*/ 77 h 77"/>
                    <a:gd name="T66" fmla="*/ 54 w 63"/>
                    <a:gd name="T67" fmla="*/ 63 h 77"/>
                    <a:gd name="T68" fmla="*/ 57 w 63"/>
                    <a:gd name="T69" fmla="*/ 56 h 77"/>
                    <a:gd name="T70" fmla="*/ 60 w 63"/>
                    <a:gd name="T71" fmla="*/ 51 h 77"/>
                    <a:gd name="T72" fmla="*/ 60 w 63"/>
                    <a:gd name="T73" fmla="*/ 51 h 77"/>
                    <a:gd name="T74" fmla="*/ 63 w 63"/>
                    <a:gd name="T75" fmla="*/ 45 h 77"/>
                    <a:gd name="T76" fmla="*/ 63 w 63"/>
                    <a:gd name="T77" fmla="*/ 37 h 77"/>
                    <a:gd name="T78" fmla="*/ 61 w 63"/>
                    <a:gd name="T79" fmla="*/ 28 h 77"/>
                    <a:gd name="T80" fmla="*/ 58 w 63"/>
                    <a:gd name="T81" fmla="*/ 21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3" h="77">
                      <a:moveTo>
                        <a:pt x="58" y="21"/>
                      </a:moveTo>
                      <a:lnTo>
                        <a:pt x="58" y="21"/>
                      </a:lnTo>
                      <a:lnTo>
                        <a:pt x="54" y="15"/>
                      </a:lnTo>
                      <a:lnTo>
                        <a:pt x="45" y="8"/>
                      </a:lnTo>
                      <a:lnTo>
                        <a:pt x="37" y="3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24" y="2"/>
                      </a:lnTo>
                      <a:lnTo>
                        <a:pt x="15" y="3"/>
                      </a:lnTo>
                      <a:lnTo>
                        <a:pt x="8" y="6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11" y="12"/>
                      </a:lnTo>
                      <a:lnTo>
                        <a:pt x="21" y="14"/>
                      </a:lnTo>
                      <a:lnTo>
                        <a:pt x="21" y="14"/>
                      </a:lnTo>
                      <a:lnTo>
                        <a:pt x="22" y="14"/>
                      </a:lnTo>
                      <a:lnTo>
                        <a:pt x="24" y="15"/>
                      </a:lnTo>
                      <a:lnTo>
                        <a:pt x="28" y="21"/>
                      </a:lnTo>
                      <a:lnTo>
                        <a:pt x="31" y="28"/>
                      </a:lnTo>
                      <a:lnTo>
                        <a:pt x="35" y="32"/>
                      </a:lnTo>
                      <a:lnTo>
                        <a:pt x="35" y="32"/>
                      </a:lnTo>
                      <a:lnTo>
                        <a:pt x="39" y="37"/>
                      </a:lnTo>
                      <a:lnTo>
                        <a:pt x="42" y="41"/>
                      </a:lnTo>
                      <a:lnTo>
                        <a:pt x="42" y="45"/>
                      </a:lnTo>
                      <a:lnTo>
                        <a:pt x="42" y="50"/>
                      </a:lnTo>
                      <a:lnTo>
                        <a:pt x="42" y="50"/>
                      </a:lnTo>
                      <a:lnTo>
                        <a:pt x="41" y="54"/>
                      </a:lnTo>
                      <a:lnTo>
                        <a:pt x="42" y="63"/>
                      </a:lnTo>
                      <a:lnTo>
                        <a:pt x="44" y="71"/>
                      </a:lnTo>
                      <a:lnTo>
                        <a:pt x="45" y="76"/>
                      </a:lnTo>
                      <a:lnTo>
                        <a:pt x="45" y="76"/>
                      </a:lnTo>
                      <a:lnTo>
                        <a:pt x="51" y="77"/>
                      </a:lnTo>
                      <a:lnTo>
                        <a:pt x="51" y="77"/>
                      </a:lnTo>
                      <a:lnTo>
                        <a:pt x="54" y="63"/>
                      </a:lnTo>
                      <a:lnTo>
                        <a:pt x="57" y="56"/>
                      </a:lnTo>
                      <a:lnTo>
                        <a:pt x="60" y="51"/>
                      </a:lnTo>
                      <a:lnTo>
                        <a:pt x="60" y="51"/>
                      </a:lnTo>
                      <a:lnTo>
                        <a:pt x="63" y="45"/>
                      </a:lnTo>
                      <a:lnTo>
                        <a:pt x="63" y="37"/>
                      </a:lnTo>
                      <a:lnTo>
                        <a:pt x="61" y="28"/>
                      </a:lnTo>
                      <a:lnTo>
                        <a:pt x="58" y="21"/>
                      </a:ln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15" name="Freeform 266"/>
                <p:cNvSpPr>
                  <a:spLocks/>
                </p:cNvSpPr>
                <p:nvPr/>
              </p:nvSpPr>
              <p:spPr bwMode="auto">
                <a:xfrm>
                  <a:off x="5248654" y="2578161"/>
                  <a:ext cx="216648" cy="152346"/>
                </a:xfrm>
                <a:custGeom>
                  <a:avLst/>
                  <a:gdLst>
                    <a:gd name="T0" fmla="*/ 174 w 219"/>
                    <a:gd name="T1" fmla="*/ 144 h 154"/>
                    <a:gd name="T2" fmla="*/ 192 w 219"/>
                    <a:gd name="T3" fmla="*/ 133 h 154"/>
                    <a:gd name="T4" fmla="*/ 196 w 219"/>
                    <a:gd name="T5" fmla="*/ 120 h 154"/>
                    <a:gd name="T6" fmla="*/ 202 w 219"/>
                    <a:gd name="T7" fmla="*/ 115 h 154"/>
                    <a:gd name="T8" fmla="*/ 216 w 219"/>
                    <a:gd name="T9" fmla="*/ 112 h 154"/>
                    <a:gd name="T10" fmla="*/ 219 w 219"/>
                    <a:gd name="T11" fmla="*/ 106 h 154"/>
                    <a:gd name="T12" fmla="*/ 209 w 219"/>
                    <a:gd name="T13" fmla="*/ 94 h 154"/>
                    <a:gd name="T14" fmla="*/ 181 w 219"/>
                    <a:gd name="T15" fmla="*/ 80 h 154"/>
                    <a:gd name="T16" fmla="*/ 161 w 219"/>
                    <a:gd name="T17" fmla="*/ 73 h 154"/>
                    <a:gd name="T18" fmla="*/ 151 w 219"/>
                    <a:gd name="T19" fmla="*/ 55 h 154"/>
                    <a:gd name="T20" fmla="*/ 142 w 219"/>
                    <a:gd name="T21" fmla="*/ 42 h 154"/>
                    <a:gd name="T22" fmla="*/ 129 w 219"/>
                    <a:gd name="T23" fmla="*/ 31 h 154"/>
                    <a:gd name="T24" fmla="*/ 106 w 219"/>
                    <a:gd name="T25" fmla="*/ 2 h 154"/>
                    <a:gd name="T26" fmla="*/ 102 w 219"/>
                    <a:gd name="T27" fmla="*/ 0 h 154"/>
                    <a:gd name="T28" fmla="*/ 90 w 219"/>
                    <a:gd name="T29" fmla="*/ 5 h 154"/>
                    <a:gd name="T30" fmla="*/ 77 w 219"/>
                    <a:gd name="T31" fmla="*/ 20 h 154"/>
                    <a:gd name="T32" fmla="*/ 73 w 219"/>
                    <a:gd name="T33" fmla="*/ 31 h 154"/>
                    <a:gd name="T34" fmla="*/ 68 w 219"/>
                    <a:gd name="T35" fmla="*/ 38 h 154"/>
                    <a:gd name="T36" fmla="*/ 55 w 219"/>
                    <a:gd name="T37" fmla="*/ 35 h 154"/>
                    <a:gd name="T38" fmla="*/ 45 w 219"/>
                    <a:gd name="T39" fmla="*/ 28 h 154"/>
                    <a:gd name="T40" fmla="*/ 28 w 219"/>
                    <a:gd name="T41" fmla="*/ 9 h 154"/>
                    <a:gd name="T42" fmla="*/ 24 w 219"/>
                    <a:gd name="T43" fmla="*/ 12 h 154"/>
                    <a:gd name="T44" fmla="*/ 26 w 219"/>
                    <a:gd name="T45" fmla="*/ 26 h 154"/>
                    <a:gd name="T46" fmla="*/ 31 w 219"/>
                    <a:gd name="T47" fmla="*/ 35 h 154"/>
                    <a:gd name="T48" fmla="*/ 28 w 219"/>
                    <a:gd name="T49" fmla="*/ 42 h 154"/>
                    <a:gd name="T50" fmla="*/ 15 w 219"/>
                    <a:gd name="T51" fmla="*/ 45 h 154"/>
                    <a:gd name="T52" fmla="*/ 9 w 219"/>
                    <a:gd name="T53" fmla="*/ 35 h 154"/>
                    <a:gd name="T54" fmla="*/ 8 w 219"/>
                    <a:gd name="T55" fmla="*/ 36 h 154"/>
                    <a:gd name="T56" fmla="*/ 0 w 219"/>
                    <a:gd name="T57" fmla="*/ 45 h 154"/>
                    <a:gd name="T58" fmla="*/ 2 w 219"/>
                    <a:gd name="T59" fmla="*/ 52 h 154"/>
                    <a:gd name="T60" fmla="*/ 9 w 219"/>
                    <a:gd name="T61" fmla="*/ 62 h 154"/>
                    <a:gd name="T62" fmla="*/ 13 w 219"/>
                    <a:gd name="T63" fmla="*/ 67 h 154"/>
                    <a:gd name="T64" fmla="*/ 18 w 219"/>
                    <a:gd name="T65" fmla="*/ 74 h 154"/>
                    <a:gd name="T66" fmla="*/ 22 w 219"/>
                    <a:gd name="T67" fmla="*/ 83 h 154"/>
                    <a:gd name="T68" fmla="*/ 24 w 219"/>
                    <a:gd name="T69" fmla="*/ 104 h 154"/>
                    <a:gd name="T70" fmla="*/ 25 w 219"/>
                    <a:gd name="T71" fmla="*/ 112 h 154"/>
                    <a:gd name="T72" fmla="*/ 39 w 219"/>
                    <a:gd name="T73" fmla="*/ 103 h 154"/>
                    <a:gd name="T74" fmla="*/ 68 w 219"/>
                    <a:gd name="T75" fmla="*/ 97 h 154"/>
                    <a:gd name="T76" fmla="*/ 79 w 219"/>
                    <a:gd name="T77" fmla="*/ 99 h 154"/>
                    <a:gd name="T78" fmla="*/ 92 w 219"/>
                    <a:gd name="T79" fmla="*/ 104 h 154"/>
                    <a:gd name="T80" fmla="*/ 108 w 219"/>
                    <a:gd name="T81" fmla="*/ 106 h 154"/>
                    <a:gd name="T82" fmla="*/ 112 w 219"/>
                    <a:gd name="T83" fmla="*/ 112 h 154"/>
                    <a:gd name="T84" fmla="*/ 122 w 219"/>
                    <a:gd name="T85" fmla="*/ 123 h 154"/>
                    <a:gd name="T86" fmla="*/ 135 w 219"/>
                    <a:gd name="T87" fmla="*/ 129 h 154"/>
                    <a:gd name="T88" fmla="*/ 138 w 219"/>
                    <a:gd name="T89" fmla="*/ 131 h 154"/>
                    <a:gd name="T90" fmla="*/ 151 w 219"/>
                    <a:gd name="T91" fmla="*/ 151 h 154"/>
                    <a:gd name="T92" fmla="*/ 164 w 219"/>
                    <a:gd name="T93" fmla="*/ 152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19" h="154">
                      <a:moveTo>
                        <a:pt x="171" y="146"/>
                      </a:moveTo>
                      <a:lnTo>
                        <a:pt x="171" y="146"/>
                      </a:lnTo>
                      <a:lnTo>
                        <a:pt x="174" y="144"/>
                      </a:lnTo>
                      <a:lnTo>
                        <a:pt x="181" y="139"/>
                      </a:lnTo>
                      <a:lnTo>
                        <a:pt x="192" y="133"/>
                      </a:lnTo>
                      <a:lnTo>
                        <a:pt x="192" y="133"/>
                      </a:lnTo>
                      <a:lnTo>
                        <a:pt x="193" y="131"/>
                      </a:lnTo>
                      <a:lnTo>
                        <a:pt x="194" y="125"/>
                      </a:lnTo>
                      <a:lnTo>
                        <a:pt x="196" y="120"/>
                      </a:lnTo>
                      <a:lnTo>
                        <a:pt x="199" y="116"/>
                      </a:lnTo>
                      <a:lnTo>
                        <a:pt x="199" y="116"/>
                      </a:lnTo>
                      <a:lnTo>
                        <a:pt x="202" y="115"/>
                      </a:lnTo>
                      <a:lnTo>
                        <a:pt x="207" y="113"/>
                      </a:lnTo>
                      <a:lnTo>
                        <a:pt x="216" y="112"/>
                      </a:lnTo>
                      <a:lnTo>
                        <a:pt x="216" y="112"/>
                      </a:lnTo>
                      <a:lnTo>
                        <a:pt x="218" y="112"/>
                      </a:lnTo>
                      <a:lnTo>
                        <a:pt x="219" y="110"/>
                      </a:lnTo>
                      <a:lnTo>
                        <a:pt x="219" y="106"/>
                      </a:lnTo>
                      <a:lnTo>
                        <a:pt x="215" y="99"/>
                      </a:lnTo>
                      <a:lnTo>
                        <a:pt x="215" y="99"/>
                      </a:lnTo>
                      <a:lnTo>
                        <a:pt x="209" y="94"/>
                      </a:lnTo>
                      <a:lnTo>
                        <a:pt x="200" y="89"/>
                      </a:lnTo>
                      <a:lnTo>
                        <a:pt x="181" y="80"/>
                      </a:lnTo>
                      <a:lnTo>
                        <a:pt x="181" y="80"/>
                      </a:lnTo>
                      <a:lnTo>
                        <a:pt x="171" y="76"/>
                      </a:lnTo>
                      <a:lnTo>
                        <a:pt x="161" y="73"/>
                      </a:lnTo>
                      <a:lnTo>
                        <a:pt x="161" y="73"/>
                      </a:lnTo>
                      <a:lnTo>
                        <a:pt x="158" y="68"/>
                      </a:lnTo>
                      <a:lnTo>
                        <a:pt x="155" y="62"/>
                      </a:lnTo>
                      <a:lnTo>
                        <a:pt x="151" y="55"/>
                      </a:lnTo>
                      <a:lnTo>
                        <a:pt x="147" y="47"/>
                      </a:lnTo>
                      <a:lnTo>
                        <a:pt x="147" y="47"/>
                      </a:lnTo>
                      <a:lnTo>
                        <a:pt x="142" y="42"/>
                      </a:lnTo>
                      <a:lnTo>
                        <a:pt x="138" y="38"/>
                      </a:lnTo>
                      <a:lnTo>
                        <a:pt x="129" y="31"/>
                      </a:lnTo>
                      <a:lnTo>
                        <a:pt x="129" y="31"/>
                      </a:lnTo>
                      <a:lnTo>
                        <a:pt x="123" y="23"/>
                      </a:lnTo>
                      <a:lnTo>
                        <a:pt x="116" y="15"/>
                      </a:lnTo>
                      <a:lnTo>
                        <a:pt x="106" y="2"/>
                      </a:lnTo>
                      <a:lnTo>
                        <a:pt x="106" y="2"/>
                      </a:lnTo>
                      <a:lnTo>
                        <a:pt x="105" y="0"/>
                      </a:lnTo>
                      <a:lnTo>
                        <a:pt x="102" y="0"/>
                      </a:lnTo>
                      <a:lnTo>
                        <a:pt x="97" y="0"/>
                      </a:lnTo>
                      <a:lnTo>
                        <a:pt x="93" y="3"/>
                      </a:lnTo>
                      <a:lnTo>
                        <a:pt x="90" y="5"/>
                      </a:lnTo>
                      <a:lnTo>
                        <a:pt x="90" y="5"/>
                      </a:lnTo>
                      <a:lnTo>
                        <a:pt x="84" y="12"/>
                      </a:lnTo>
                      <a:lnTo>
                        <a:pt x="77" y="20"/>
                      </a:lnTo>
                      <a:lnTo>
                        <a:pt x="77" y="20"/>
                      </a:lnTo>
                      <a:lnTo>
                        <a:pt x="74" y="25"/>
                      </a:lnTo>
                      <a:lnTo>
                        <a:pt x="73" y="31"/>
                      </a:lnTo>
                      <a:lnTo>
                        <a:pt x="71" y="35"/>
                      </a:lnTo>
                      <a:lnTo>
                        <a:pt x="68" y="38"/>
                      </a:lnTo>
                      <a:lnTo>
                        <a:pt x="68" y="38"/>
                      </a:lnTo>
                      <a:lnTo>
                        <a:pt x="66" y="38"/>
                      </a:lnTo>
                      <a:lnTo>
                        <a:pt x="63" y="38"/>
                      </a:lnTo>
                      <a:lnTo>
                        <a:pt x="55" y="35"/>
                      </a:lnTo>
                      <a:lnTo>
                        <a:pt x="48" y="31"/>
                      </a:lnTo>
                      <a:lnTo>
                        <a:pt x="45" y="28"/>
                      </a:lnTo>
                      <a:lnTo>
                        <a:pt x="45" y="28"/>
                      </a:lnTo>
                      <a:lnTo>
                        <a:pt x="37" y="18"/>
                      </a:lnTo>
                      <a:lnTo>
                        <a:pt x="32" y="12"/>
                      </a:lnTo>
                      <a:lnTo>
                        <a:pt x="28" y="9"/>
                      </a:lnTo>
                      <a:lnTo>
                        <a:pt x="28" y="9"/>
                      </a:lnTo>
                      <a:lnTo>
                        <a:pt x="26" y="10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5" y="19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9" y="31"/>
                      </a:lnTo>
                      <a:lnTo>
                        <a:pt x="31" y="35"/>
                      </a:lnTo>
                      <a:lnTo>
                        <a:pt x="29" y="39"/>
                      </a:lnTo>
                      <a:lnTo>
                        <a:pt x="28" y="42"/>
                      </a:lnTo>
                      <a:lnTo>
                        <a:pt x="28" y="42"/>
                      </a:lnTo>
                      <a:lnTo>
                        <a:pt x="21" y="47"/>
                      </a:lnTo>
                      <a:lnTo>
                        <a:pt x="18" y="47"/>
                      </a:lnTo>
                      <a:lnTo>
                        <a:pt x="15" y="45"/>
                      </a:lnTo>
                      <a:lnTo>
                        <a:pt x="15" y="45"/>
                      </a:lnTo>
                      <a:lnTo>
                        <a:pt x="10" y="38"/>
                      </a:lnTo>
                      <a:lnTo>
                        <a:pt x="9" y="35"/>
                      </a:lnTo>
                      <a:lnTo>
                        <a:pt x="9" y="35"/>
                      </a:ln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3" y="39"/>
                      </a:lnTo>
                      <a:lnTo>
                        <a:pt x="2" y="41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0" y="48"/>
                      </a:lnTo>
                      <a:lnTo>
                        <a:pt x="2" y="52"/>
                      </a:lnTo>
                      <a:lnTo>
                        <a:pt x="6" y="61"/>
                      </a:lnTo>
                      <a:lnTo>
                        <a:pt x="6" y="61"/>
                      </a:lnTo>
                      <a:lnTo>
                        <a:pt x="9" y="62"/>
                      </a:lnTo>
                      <a:lnTo>
                        <a:pt x="10" y="64"/>
                      </a:lnTo>
                      <a:lnTo>
                        <a:pt x="12" y="64"/>
                      </a:lnTo>
                      <a:lnTo>
                        <a:pt x="13" y="67"/>
                      </a:lnTo>
                      <a:lnTo>
                        <a:pt x="13" y="67"/>
                      </a:lnTo>
                      <a:lnTo>
                        <a:pt x="15" y="71"/>
                      </a:lnTo>
                      <a:lnTo>
                        <a:pt x="18" y="74"/>
                      </a:lnTo>
                      <a:lnTo>
                        <a:pt x="21" y="78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4" y="96"/>
                      </a:lnTo>
                      <a:lnTo>
                        <a:pt x="24" y="102"/>
                      </a:lnTo>
                      <a:lnTo>
                        <a:pt x="24" y="104"/>
                      </a:lnTo>
                      <a:lnTo>
                        <a:pt x="24" y="104"/>
                      </a:lnTo>
                      <a:lnTo>
                        <a:pt x="25" y="106"/>
                      </a:lnTo>
                      <a:lnTo>
                        <a:pt x="25" y="112"/>
                      </a:lnTo>
                      <a:lnTo>
                        <a:pt x="25" y="112"/>
                      </a:lnTo>
                      <a:lnTo>
                        <a:pt x="35" y="106"/>
                      </a:lnTo>
                      <a:lnTo>
                        <a:pt x="39" y="103"/>
                      </a:lnTo>
                      <a:lnTo>
                        <a:pt x="39" y="103"/>
                      </a:lnTo>
                      <a:lnTo>
                        <a:pt x="51" y="100"/>
                      </a:lnTo>
                      <a:lnTo>
                        <a:pt x="68" y="97"/>
                      </a:lnTo>
                      <a:lnTo>
                        <a:pt x="68" y="97"/>
                      </a:lnTo>
                      <a:lnTo>
                        <a:pt x="74" y="97"/>
                      </a:lnTo>
                      <a:lnTo>
                        <a:pt x="79" y="99"/>
                      </a:lnTo>
                      <a:lnTo>
                        <a:pt x="86" y="103"/>
                      </a:lnTo>
                      <a:lnTo>
                        <a:pt x="86" y="103"/>
                      </a:lnTo>
                      <a:lnTo>
                        <a:pt x="92" y="104"/>
                      </a:lnTo>
                      <a:lnTo>
                        <a:pt x="99" y="104"/>
                      </a:lnTo>
                      <a:lnTo>
                        <a:pt x="105" y="104"/>
                      </a:lnTo>
                      <a:lnTo>
                        <a:pt x="108" y="106"/>
                      </a:lnTo>
                      <a:lnTo>
                        <a:pt x="109" y="107"/>
                      </a:lnTo>
                      <a:lnTo>
                        <a:pt x="109" y="107"/>
                      </a:lnTo>
                      <a:lnTo>
                        <a:pt x="112" y="112"/>
                      </a:lnTo>
                      <a:lnTo>
                        <a:pt x="116" y="116"/>
                      </a:lnTo>
                      <a:lnTo>
                        <a:pt x="122" y="123"/>
                      </a:lnTo>
                      <a:lnTo>
                        <a:pt x="122" y="123"/>
                      </a:lnTo>
                      <a:lnTo>
                        <a:pt x="125" y="125"/>
                      </a:lnTo>
                      <a:lnTo>
                        <a:pt x="131" y="126"/>
                      </a:lnTo>
                      <a:lnTo>
                        <a:pt x="135" y="129"/>
                      </a:lnTo>
                      <a:lnTo>
                        <a:pt x="136" y="129"/>
                      </a:lnTo>
                      <a:lnTo>
                        <a:pt x="138" y="131"/>
                      </a:lnTo>
                      <a:lnTo>
                        <a:pt x="138" y="131"/>
                      </a:lnTo>
                      <a:lnTo>
                        <a:pt x="139" y="146"/>
                      </a:lnTo>
                      <a:lnTo>
                        <a:pt x="139" y="146"/>
                      </a:lnTo>
                      <a:lnTo>
                        <a:pt x="151" y="151"/>
                      </a:lnTo>
                      <a:lnTo>
                        <a:pt x="160" y="154"/>
                      </a:lnTo>
                      <a:lnTo>
                        <a:pt x="160" y="154"/>
                      </a:lnTo>
                      <a:lnTo>
                        <a:pt x="164" y="152"/>
                      </a:lnTo>
                      <a:lnTo>
                        <a:pt x="167" y="152"/>
                      </a:lnTo>
                      <a:lnTo>
                        <a:pt x="171" y="14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16" name="Freeform 267"/>
                <p:cNvSpPr>
                  <a:spLocks/>
                </p:cNvSpPr>
                <p:nvPr/>
              </p:nvSpPr>
              <p:spPr bwMode="auto">
                <a:xfrm>
                  <a:off x="5248654" y="2578161"/>
                  <a:ext cx="216648" cy="152346"/>
                </a:xfrm>
                <a:custGeom>
                  <a:avLst/>
                  <a:gdLst>
                    <a:gd name="T0" fmla="*/ 174 w 219"/>
                    <a:gd name="T1" fmla="*/ 144 h 154"/>
                    <a:gd name="T2" fmla="*/ 192 w 219"/>
                    <a:gd name="T3" fmla="*/ 133 h 154"/>
                    <a:gd name="T4" fmla="*/ 196 w 219"/>
                    <a:gd name="T5" fmla="*/ 120 h 154"/>
                    <a:gd name="T6" fmla="*/ 202 w 219"/>
                    <a:gd name="T7" fmla="*/ 115 h 154"/>
                    <a:gd name="T8" fmla="*/ 216 w 219"/>
                    <a:gd name="T9" fmla="*/ 112 h 154"/>
                    <a:gd name="T10" fmla="*/ 219 w 219"/>
                    <a:gd name="T11" fmla="*/ 106 h 154"/>
                    <a:gd name="T12" fmla="*/ 209 w 219"/>
                    <a:gd name="T13" fmla="*/ 94 h 154"/>
                    <a:gd name="T14" fmla="*/ 181 w 219"/>
                    <a:gd name="T15" fmla="*/ 80 h 154"/>
                    <a:gd name="T16" fmla="*/ 161 w 219"/>
                    <a:gd name="T17" fmla="*/ 73 h 154"/>
                    <a:gd name="T18" fmla="*/ 151 w 219"/>
                    <a:gd name="T19" fmla="*/ 55 h 154"/>
                    <a:gd name="T20" fmla="*/ 142 w 219"/>
                    <a:gd name="T21" fmla="*/ 42 h 154"/>
                    <a:gd name="T22" fmla="*/ 129 w 219"/>
                    <a:gd name="T23" fmla="*/ 31 h 154"/>
                    <a:gd name="T24" fmla="*/ 106 w 219"/>
                    <a:gd name="T25" fmla="*/ 2 h 154"/>
                    <a:gd name="T26" fmla="*/ 102 w 219"/>
                    <a:gd name="T27" fmla="*/ 0 h 154"/>
                    <a:gd name="T28" fmla="*/ 90 w 219"/>
                    <a:gd name="T29" fmla="*/ 5 h 154"/>
                    <a:gd name="T30" fmla="*/ 77 w 219"/>
                    <a:gd name="T31" fmla="*/ 20 h 154"/>
                    <a:gd name="T32" fmla="*/ 73 w 219"/>
                    <a:gd name="T33" fmla="*/ 31 h 154"/>
                    <a:gd name="T34" fmla="*/ 68 w 219"/>
                    <a:gd name="T35" fmla="*/ 38 h 154"/>
                    <a:gd name="T36" fmla="*/ 55 w 219"/>
                    <a:gd name="T37" fmla="*/ 35 h 154"/>
                    <a:gd name="T38" fmla="*/ 45 w 219"/>
                    <a:gd name="T39" fmla="*/ 28 h 154"/>
                    <a:gd name="T40" fmla="*/ 28 w 219"/>
                    <a:gd name="T41" fmla="*/ 9 h 154"/>
                    <a:gd name="T42" fmla="*/ 24 w 219"/>
                    <a:gd name="T43" fmla="*/ 12 h 154"/>
                    <a:gd name="T44" fmla="*/ 26 w 219"/>
                    <a:gd name="T45" fmla="*/ 26 h 154"/>
                    <a:gd name="T46" fmla="*/ 31 w 219"/>
                    <a:gd name="T47" fmla="*/ 35 h 154"/>
                    <a:gd name="T48" fmla="*/ 28 w 219"/>
                    <a:gd name="T49" fmla="*/ 42 h 154"/>
                    <a:gd name="T50" fmla="*/ 15 w 219"/>
                    <a:gd name="T51" fmla="*/ 45 h 154"/>
                    <a:gd name="T52" fmla="*/ 9 w 219"/>
                    <a:gd name="T53" fmla="*/ 35 h 154"/>
                    <a:gd name="T54" fmla="*/ 8 w 219"/>
                    <a:gd name="T55" fmla="*/ 36 h 154"/>
                    <a:gd name="T56" fmla="*/ 0 w 219"/>
                    <a:gd name="T57" fmla="*/ 45 h 154"/>
                    <a:gd name="T58" fmla="*/ 2 w 219"/>
                    <a:gd name="T59" fmla="*/ 52 h 154"/>
                    <a:gd name="T60" fmla="*/ 9 w 219"/>
                    <a:gd name="T61" fmla="*/ 62 h 154"/>
                    <a:gd name="T62" fmla="*/ 13 w 219"/>
                    <a:gd name="T63" fmla="*/ 67 h 154"/>
                    <a:gd name="T64" fmla="*/ 18 w 219"/>
                    <a:gd name="T65" fmla="*/ 74 h 154"/>
                    <a:gd name="T66" fmla="*/ 22 w 219"/>
                    <a:gd name="T67" fmla="*/ 83 h 154"/>
                    <a:gd name="T68" fmla="*/ 24 w 219"/>
                    <a:gd name="T69" fmla="*/ 104 h 154"/>
                    <a:gd name="T70" fmla="*/ 25 w 219"/>
                    <a:gd name="T71" fmla="*/ 112 h 154"/>
                    <a:gd name="T72" fmla="*/ 39 w 219"/>
                    <a:gd name="T73" fmla="*/ 103 h 154"/>
                    <a:gd name="T74" fmla="*/ 68 w 219"/>
                    <a:gd name="T75" fmla="*/ 97 h 154"/>
                    <a:gd name="T76" fmla="*/ 79 w 219"/>
                    <a:gd name="T77" fmla="*/ 99 h 154"/>
                    <a:gd name="T78" fmla="*/ 92 w 219"/>
                    <a:gd name="T79" fmla="*/ 104 h 154"/>
                    <a:gd name="T80" fmla="*/ 108 w 219"/>
                    <a:gd name="T81" fmla="*/ 106 h 154"/>
                    <a:gd name="T82" fmla="*/ 112 w 219"/>
                    <a:gd name="T83" fmla="*/ 112 h 154"/>
                    <a:gd name="T84" fmla="*/ 122 w 219"/>
                    <a:gd name="T85" fmla="*/ 123 h 154"/>
                    <a:gd name="T86" fmla="*/ 135 w 219"/>
                    <a:gd name="T87" fmla="*/ 129 h 154"/>
                    <a:gd name="T88" fmla="*/ 138 w 219"/>
                    <a:gd name="T89" fmla="*/ 131 h 154"/>
                    <a:gd name="T90" fmla="*/ 151 w 219"/>
                    <a:gd name="T91" fmla="*/ 151 h 154"/>
                    <a:gd name="T92" fmla="*/ 164 w 219"/>
                    <a:gd name="T93" fmla="*/ 152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19" h="154">
                      <a:moveTo>
                        <a:pt x="171" y="146"/>
                      </a:moveTo>
                      <a:lnTo>
                        <a:pt x="171" y="146"/>
                      </a:lnTo>
                      <a:lnTo>
                        <a:pt x="174" y="144"/>
                      </a:lnTo>
                      <a:lnTo>
                        <a:pt x="181" y="139"/>
                      </a:lnTo>
                      <a:lnTo>
                        <a:pt x="192" y="133"/>
                      </a:lnTo>
                      <a:lnTo>
                        <a:pt x="192" y="133"/>
                      </a:lnTo>
                      <a:lnTo>
                        <a:pt x="193" y="131"/>
                      </a:lnTo>
                      <a:lnTo>
                        <a:pt x="194" y="125"/>
                      </a:lnTo>
                      <a:lnTo>
                        <a:pt x="196" y="120"/>
                      </a:lnTo>
                      <a:lnTo>
                        <a:pt x="199" y="116"/>
                      </a:lnTo>
                      <a:lnTo>
                        <a:pt x="199" y="116"/>
                      </a:lnTo>
                      <a:lnTo>
                        <a:pt x="202" y="115"/>
                      </a:lnTo>
                      <a:lnTo>
                        <a:pt x="207" y="113"/>
                      </a:lnTo>
                      <a:lnTo>
                        <a:pt x="216" y="112"/>
                      </a:lnTo>
                      <a:lnTo>
                        <a:pt x="216" y="112"/>
                      </a:lnTo>
                      <a:lnTo>
                        <a:pt x="218" y="112"/>
                      </a:lnTo>
                      <a:lnTo>
                        <a:pt x="219" y="110"/>
                      </a:lnTo>
                      <a:lnTo>
                        <a:pt x="219" y="106"/>
                      </a:lnTo>
                      <a:lnTo>
                        <a:pt x="215" y="99"/>
                      </a:lnTo>
                      <a:lnTo>
                        <a:pt x="215" y="99"/>
                      </a:lnTo>
                      <a:lnTo>
                        <a:pt x="209" y="94"/>
                      </a:lnTo>
                      <a:lnTo>
                        <a:pt x="200" y="89"/>
                      </a:lnTo>
                      <a:lnTo>
                        <a:pt x="181" y="80"/>
                      </a:lnTo>
                      <a:lnTo>
                        <a:pt x="181" y="80"/>
                      </a:lnTo>
                      <a:lnTo>
                        <a:pt x="171" y="76"/>
                      </a:lnTo>
                      <a:lnTo>
                        <a:pt x="161" y="73"/>
                      </a:lnTo>
                      <a:lnTo>
                        <a:pt x="161" y="73"/>
                      </a:lnTo>
                      <a:lnTo>
                        <a:pt x="158" y="68"/>
                      </a:lnTo>
                      <a:lnTo>
                        <a:pt x="155" y="62"/>
                      </a:lnTo>
                      <a:lnTo>
                        <a:pt x="151" y="55"/>
                      </a:lnTo>
                      <a:lnTo>
                        <a:pt x="147" y="47"/>
                      </a:lnTo>
                      <a:lnTo>
                        <a:pt x="147" y="47"/>
                      </a:lnTo>
                      <a:lnTo>
                        <a:pt x="142" y="42"/>
                      </a:lnTo>
                      <a:lnTo>
                        <a:pt x="138" y="38"/>
                      </a:lnTo>
                      <a:lnTo>
                        <a:pt x="129" y="31"/>
                      </a:lnTo>
                      <a:lnTo>
                        <a:pt x="129" y="31"/>
                      </a:lnTo>
                      <a:lnTo>
                        <a:pt x="123" y="23"/>
                      </a:lnTo>
                      <a:lnTo>
                        <a:pt x="116" y="15"/>
                      </a:lnTo>
                      <a:lnTo>
                        <a:pt x="106" y="2"/>
                      </a:lnTo>
                      <a:lnTo>
                        <a:pt x="106" y="2"/>
                      </a:lnTo>
                      <a:lnTo>
                        <a:pt x="105" y="0"/>
                      </a:lnTo>
                      <a:lnTo>
                        <a:pt x="102" y="0"/>
                      </a:lnTo>
                      <a:lnTo>
                        <a:pt x="97" y="0"/>
                      </a:lnTo>
                      <a:lnTo>
                        <a:pt x="93" y="3"/>
                      </a:lnTo>
                      <a:lnTo>
                        <a:pt x="90" y="5"/>
                      </a:lnTo>
                      <a:lnTo>
                        <a:pt x="90" y="5"/>
                      </a:lnTo>
                      <a:lnTo>
                        <a:pt x="84" y="12"/>
                      </a:lnTo>
                      <a:lnTo>
                        <a:pt x="77" y="20"/>
                      </a:lnTo>
                      <a:lnTo>
                        <a:pt x="77" y="20"/>
                      </a:lnTo>
                      <a:lnTo>
                        <a:pt x="74" y="25"/>
                      </a:lnTo>
                      <a:lnTo>
                        <a:pt x="73" y="31"/>
                      </a:lnTo>
                      <a:lnTo>
                        <a:pt x="71" y="35"/>
                      </a:lnTo>
                      <a:lnTo>
                        <a:pt x="68" y="38"/>
                      </a:lnTo>
                      <a:lnTo>
                        <a:pt x="68" y="38"/>
                      </a:lnTo>
                      <a:lnTo>
                        <a:pt x="66" y="38"/>
                      </a:lnTo>
                      <a:lnTo>
                        <a:pt x="63" y="38"/>
                      </a:lnTo>
                      <a:lnTo>
                        <a:pt x="55" y="35"/>
                      </a:lnTo>
                      <a:lnTo>
                        <a:pt x="48" y="31"/>
                      </a:lnTo>
                      <a:lnTo>
                        <a:pt x="45" y="28"/>
                      </a:lnTo>
                      <a:lnTo>
                        <a:pt x="45" y="28"/>
                      </a:lnTo>
                      <a:lnTo>
                        <a:pt x="37" y="18"/>
                      </a:lnTo>
                      <a:lnTo>
                        <a:pt x="32" y="12"/>
                      </a:lnTo>
                      <a:lnTo>
                        <a:pt x="28" y="9"/>
                      </a:lnTo>
                      <a:lnTo>
                        <a:pt x="28" y="9"/>
                      </a:lnTo>
                      <a:lnTo>
                        <a:pt x="26" y="10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5" y="19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9" y="31"/>
                      </a:lnTo>
                      <a:lnTo>
                        <a:pt x="31" y="35"/>
                      </a:lnTo>
                      <a:lnTo>
                        <a:pt x="29" y="39"/>
                      </a:lnTo>
                      <a:lnTo>
                        <a:pt x="28" y="42"/>
                      </a:lnTo>
                      <a:lnTo>
                        <a:pt x="28" y="42"/>
                      </a:lnTo>
                      <a:lnTo>
                        <a:pt x="21" y="47"/>
                      </a:lnTo>
                      <a:lnTo>
                        <a:pt x="18" y="47"/>
                      </a:lnTo>
                      <a:lnTo>
                        <a:pt x="15" y="45"/>
                      </a:lnTo>
                      <a:lnTo>
                        <a:pt x="15" y="45"/>
                      </a:lnTo>
                      <a:lnTo>
                        <a:pt x="10" y="38"/>
                      </a:lnTo>
                      <a:lnTo>
                        <a:pt x="9" y="35"/>
                      </a:lnTo>
                      <a:lnTo>
                        <a:pt x="9" y="35"/>
                      </a:ln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3" y="39"/>
                      </a:lnTo>
                      <a:lnTo>
                        <a:pt x="2" y="41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0" y="48"/>
                      </a:lnTo>
                      <a:lnTo>
                        <a:pt x="2" y="52"/>
                      </a:lnTo>
                      <a:lnTo>
                        <a:pt x="6" y="61"/>
                      </a:lnTo>
                      <a:lnTo>
                        <a:pt x="6" y="61"/>
                      </a:lnTo>
                      <a:lnTo>
                        <a:pt x="9" y="62"/>
                      </a:lnTo>
                      <a:lnTo>
                        <a:pt x="10" y="64"/>
                      </a:lnTo>
                      <a:lnTo>
                        <a:pt x="12" y="64"/>
                      </a:lnTo>
                      <a:lnTo>
                        <a:pt x="13" y="67"/>
                      </a:lnTo>
                      <a:lnTo>
                        <a:pt x="13" y="67"/>
                      </a:lnTo>
                      <a:lnTo>
                        <a:pt x="15" y="71"/>
                      </a:lnTo>
                      <a:lnTo>
                        <a:pt x="18" y="74"/>
                      </a:lnTo>
                      <a:lnTo>
                        <a:pt x="21" y="78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4" y="96"/>
                      </a:lnTo>
                      <a:lnTo>
                        <a:pt x="24" y="102"/>
                      </a:lnTo>
                      <a:lnTo>
                        <a:pt x="24" y="104"/>
                      </a:lnTo>
                      <a:lnTo>
                        <a:pt x="24" y="104"/>
                      </a:lnTo>
                      <a:lnTo>
                        <a:pt x="25" y="106"/>
                      </a:lnTo>
                      <a:lnTo>
                        <a:pt x="25" y="112"/>
                      </a:lnTo>
                      <a:lnTo>
                        <a:pt x="25" y="112"/>
                      </a:lnTo>
                      <a:lnTo>
                        <a:pt x="35" y="106"/>
                      </a:lnTo>
                      <a:lnTo>
                        <a:pt x="39" y="103"/>
                      </a:lnTo>
                      <a:lnTo>
                        <a:pt x="39" y="103"/>
                      </a:lnTo>
                      <a:lnTo>
                        <a:pt x="51" y="100"/>
                      </a:lnTo>
                      <a:lnTo>
                        <a:pt x="68" y="97"/>
                      </a:lnTo>
                      <a:lnTo>
                        <a:pt x="68" y="97"/>
                      </a:lnTo>
                      <a:lnTo>
                        <a:pt x="74" y="97"/>
                      </a:lnTo>
                      <a:lnTo>
                        <a:pt x="79" y="99"/>
                      </a:lnTo>
                      <a:lnTo>
                        <a:pt x="86" y="103"/>
                      </a:lnTo>
                      <a:lnTo>
                        <a:pt x="86" y="103"/>
                      </a:lnTo>
                      <a:lnTo>
                        <a:pt x="92" y="104"/>
                      </a:lnTo>
                      <a:lnTo>
                        <a:pt x="99" y="104"/>
                      </a:lnTo>
                      <a:lnTo>
                        <a:pt x="105" y="104"/>
                      </a:lnTo>
                      <a:lnTo>
                        <a:pt x="108" y="106"/>
                      </a:lnTo>
                      <a:lnTo>
                        <a:pt x="109" y="107"/>
                      </a:lnTo>
                      <a:lnTo>
                        <a:pt x="109" y="107"/>
                      </a:lnTo>
                      <a:lnTo>
                        <a:pt x="112" y="112"/>
                      </a:lnTo>
                      <a:lnTo>
                        <a:pt x="116" y="116"/>
                      </a:lnTo>
                      <a:lnTo>
                        <a:pt x="122" y="123"/>
                      </a:lnTo>
                      <a:lnTo>
                        <a:pt x="122" y="123"/>
                      </a:lnTo>
                      <a:lnTo>
                        <a:pt x="125" y="125"/>
                      </a:lnTo>
                      <a:lnTo>
                        <a:pt x="131" y="126"/>
                      </a:lnTo>
                      <a:lnTo>
                        <a:pt x="135" y="129"/>
                      </a:lnTo>
                      <a:lnTo>
                        <a:pt x="136" y="129"/>
                      </a:lnTo>
                      <a:lnTo>
                        <a:pt x="138" y="131"/>
                      </a:lnTo>
                      <a:lnTo>
                        <a:pt x="138" y="131"/>
                      </a:lnTo>
                      <a:lnTo>
                        <a:pt x="139" y="146"/>
                      </a:lnTo>
                      <a:lnTo>
                        <a:pt x="139" y="146"/>
                      </a:lnTo>
                      <a:lnTo>
                        <a:pt x="151" y="151"/>
                      </a:lnTo>
                      <a:lnTo>
                        <a:pt x="160" y="154"/>
                      </a:lnTo>
                      <a:lnTo>
                        <a:pt x="160" y="154"/>
                      </a:lnTo>
                      <a:lnTo>
                        <a:pt x="164" y="152"/>
                      </a:lnTo>
                      <a:lnTo>
                        <a:pt x="167" y="152"/>
                      </a:lnTo>
                      <a:lnTo>
                        <a:pt x="171" y="14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17" name="Freeform 268"/>
                <p:cNvSpPr>
                  <a:spLocks/>
                </p:cNvSpPr>
                <p:nvPr/>
              </p:nvSpPr>
              <p:spPr bwMode="auto">
                <a:xfrm>
                  <a:off x="5116093" y="2638506"/>
                  <a:ext cx="300735" cy="274025"/>
                </a:xfrm>
                <a:custGeom>
                  <a:avLst/>
                  <a:gdLst>
                    <a:gd name="T0" fmla="*/ 265 w 304"/>
                    <a:gd name="T1" fmla="*/ 274 h 277"/>
                    <a:gd name="T2" fmla="*/ 215 w 304"/>
                    <a:gd name="T3" fmla="*/ 268 h 277"/>
                    <a:gd name="T4" fmla="*/ 207 w 304"/>
                    <a:gd name="T5" fmla="*/ 262 h 277"/>
                    <a:gd name="T6" fmla="*/ 198 w 304"/>
                    <a:gd name="T7" fmla="*/ 242 h 277"/>
                    <a:gd name="T8" fmla="*/ 192 w 304"/>
                    <a:gd name="T9" fmla="*/ 240 h 277"/>
                    <a:gd name="T10" fmla="*/ 178 w 304"/>
                    <a:gd name="T11" fmla="*/ 251 h 277"/>
                    <a:gd name="T12" fmla="*/ 168 w 304"/>
                    <a:gd name="T13" fmla="*/ 251 h 277"/>
                    <a:gd name="T14" fmla="*/ 143 w 304"/>
                    <a:gd name="T15" fmla="*/ 243 h 277"/>
                    <a:gd name="T16" fmla="*/ 131 w 304"/>
                    <a:gd name="T17" fmla="*/ 230 h 277"/>
                    <a:gd name="T18" fmla="*/ 117 w 304"/>
                    <a:gd name="T19" fmla="*/ 225 h 277"/>
                    <a:gd name="T20" fmla="*/ 101 w 304"/>
                    <a:gd name="T21" fmla="*/ 200 h 277"/>
                    <a:gd name="T22" fmla="*/ 97 w 304"/>
                    <a:gd name="T23" fmla="*/ 197 h 277"/>
                    <a:gd name="T24" fmla="*/ 85 w 304"/>
                    <a:gd name="T25" fmla="*/ 190 h 277"/>
                    <a:gd name="T26" fmla="*/ 78 w 304"/>
                    <a:gd name="T27" fmla="*/ 188 h 277"/>
                    <a:gd name="T28" fmla="*/ 75 w 304"/>
                    <a:gd name="T29" fmla="*/ 191 h 277"/>
                    <a:gd name="T30" fmla="*/ 68 w 304"/>
                    <a:gd name="T31" fmla="*/ 162 h 277"/>
                    <a:gd name="T32" fmla="*/ 23 w 304"/>
                    <a:gd name="T33" fmla="*/ 106 h 277"/>
                    <a:gd name="T34" fmla="*/ 34 w 304"/>
                    <a:gd name="T35" fmla="*/ 88 h 277"/>
                    <a:gd name="T36" fmla="*/ 11 w 304"/>
                    <a:gd name="T37" fmla="*/ 59 h 277"/>
                    <a:gd name="T38" fmla="*/ 1 w 304"/>
                    <a:gd name="T39" fmla="*/ 0 h 277"/>
                    <a:gd name="T40" fmla="*/ 11 w 304"/>
                    <a:gd name="T41" fmla="*/ 10 h 277"/>
                    <a:gd name="T42" fmla="*/ 42 w 304"/>
                    <a:gd name="T43" fmla="*/ 22 h 277"/>
                    <a:gd name="T44" fmla="*/ 65 w 304"/>
                    <a:gd name="T45" fmla="*/ 9 h 277"/>
                    <a:gd name="T46" fmla="*/ 66 w 304"/>
                    <a:gd name="T47" fmla="*/ 26 h 277"/>
                    <a:gd name="T48" fmla="*/ 78 w 304"/>
                    <a:gd name="T49" fmla="*/ 30 h 277"/>
                    <a:gd name="T50" fmla="*/ 85 w 304"/>
                    <a:gd name="T51" fmla="*/ 49 h 277"/>
                    <a:gd name="T52" fmla="*/ 105 w 304"/>
                    <a:gd name="T53" fmla="*/ 59 h 277"/>
                    <a:gd name="T54" fmla="*/ 121 w 304"/>
                    <a:gd name="T55" fmla="*/ 59 h 277"/>
                    <a:gd name="T56" fmla="*/ 137 w 304"/>
                    <a:gd name="T57" fmla="*/ 61 h 277"/>
                    <a:gd name="T58" fmla="*/ 159 w 304"/>
                    <a:gd name="T59" fmla="*/ 51 h 277"/>
                    <a:gd name="T60" fmla="*/ 202 w 304"/>
                    <a:gd name="T61" fmla="*/ 36 h 277"/>
                    <a:gd name="T62" fmla="*/ 202 w 304"/>
                    <a:gd name="T63" fmla="*/ 36 h 277"/>
                    <a:gd name="T64" fmla="*/ 210 w 304"/>
                    <a:gd name="T65" fmla="*/ 36 h 277"/>
                    <a:gd name="T66" fmla="*/ 239 w 304"/>
                    <a:gd name="T67" fmla="*/ 43 h 277"/>
                    <a:gd name="T68" fmla="*/ 256 w 304"/>
                    <a:gd name="T69" fmla="*/ 62 h 277"/>
                    <a:gd name="T70" fmla="*/ 272 w 304"/>
                    <a:gd name="T71" fmla="*/ 70 h 277"/>
                    <a:gd name="T72" fmla="*/ 272 w 304"/>
                    <a:gd name="T73" fmla="*/ 71 h 277"/>
                    <a:gd name="T74" fmla="*/ 272 w 304"/>
                    <a:gd name="T75" fmla="*/ 71 h 277"/>
                    <a:gd name="T76" fmla="*/ 272 w 304"/>
                    <a:gd name="T77" fmla="*/ 71 h 277"/>
                    <a:gd name="T78" fmla="*/ 273 w 304"/>
                    <a:gd name="T79" fmla="*/ 85 h 277"/>
                    <a:gd name="T80" fmla="*/ 273 w 304"/>
                    <a:gd name="T81" fmla="*/ 94 h 277"/>
                    <a:gd name="T82" fmla="*/ 263 w 304"/>
                    <a:gd name="T83" fmla="*/ 109 h 277"/>
                    <a:gd name="T84" fmla="*/ 269 w 304"/>
                    <a:gd name="T85" fmla="*/ 130 h 277"/>
                    <a:gd name="T86" fmla="*/ 266 w 304"/>
                    <a:gd name="T87" fmla="*/ 162 h 277"/>
                    <a:gd name="T88" fmla="*/ 281 w 304"/>
                    <a:gd name="T89" fmla="*/ 175 h 277"/>
                    <a:gd name="T90" fmla="*/ 270 w 304"/>
                    <a:gd name="T91" fmla="*/ 194 h 277"/>
                    <a:gd name="T92" fmla="*/ 270 w 304"/>
                    <a:gd name="T93" fmla="*/ 194 h 277"/>
                    <a:gd name="T94" fmla="*/ 270 w 304"/>
                    <a:gd name="T95" fmla="*/ 194 h 277"/>
                    <a:gd name="T96" fmla="*/ 276 w 304"/>
                    <a:gd name="T97" fmla="*/ 210 h 277"/>
                    <a:gd name="T98" fmla="*/ 297 w 304"/>
                    <a:gd name="T99" fmla="*/ 238 h 277"/>
                    <a:gd name="T100" fmla="*/ 304 w 304"/>
                    <a:gd name="T101" fmla="*/ 249 h 277"/>
                    <a:gd name="T102" fmla="*/ 304 w 304"/>
                    <a:gd name="T103" fmla="*/ 251 h 277"/>
                    <a:gd name="T104" fmla="*/ 299 w 304"/>
                    <a:gd name="T105" fmla="*/ 252 h 277"/>
                    <a:gd name="T106" fmla="*/ 298 w 304"/>
                    <a:gd name="T107" fmla="*/ 252 h 277"/>
                    <a:gd name="T108" fmla="*/ 291 w 304"/>
                    <a:gd name="T109" fmla="*/ 252 h 277"/>
                    <a:gd name="T110" fmla="*/ 286 w 304"/>
                    <a:gd name="T111" fmla="*/ 256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304" h="277">
                      <a:moveTo>
                        <a:pt x="279" y="277"/>
                      </a:moveTo>
                      <a:lnTo>
                        <a:pt x="279" y="277"/>
                      </a:lnTo>
                      <a:lnTo>
                        <a:pt x="275" y="277"/>
                      </a:lnTo>
                      <a:lnTo>
                        <a:pt x="275" y="277"/>
                      </a:lnTo>
                      <a:lnTo>
                        <a:pt x="265" y="274"/>
                      </a:lnTo>
                      <a:lnTo>
                        <a:pt x="265" y="274"/>
                      </a:lnTo>
                      <a:lnTo>
                        <a:pt x="262" y="274"/>
                      </a:lnTo>
                      <a:lnTo>
                        <a:pt x="262" y="274"/>
                      </a:lnTo>
                      <a:lnTo>
                        <a:pt x="239" y="271"/>
                      </a:lnTo>
                      <a:lnTo>
                        <a:pt x="239" y="271"/>
                      </a:lnTo>
                      <a:lnTo>
                        <a:pt x="226" y="269"/>
                      </a:lnTo>
                      <a:lnTo>
                        <a:pt x="215" y="268"/>
                      </a:lnTo>
                      <a:lnTo>
                        <a:pt x="215" y="268"/>
                      </a:lnTo>
                      <a:lnTo>
                        <a:pt x="211" y="267"/>
                      </a:lnTo>
                      <a:lnTo>
                        <a:pt x="211" y="267"/>
                      </a:lnTo>
                      <a:lnTo>
                        <a:pt x="208" y="264"/>
                      </a:lnTo>
                      <a:lnTo>
                        <a:pt x="207" y="262"/>
                      </a:lnTo>
                      <a:lnTo>
                        <a:pt x="207" y="262"/>
                      </a:lnTo>
                      <a:lnTo>
                        <a:pt x="205" y="256"/>
                      </a:lnTo>
                      <a:lnTo>
                        <a:pt x="205" y="256"/>
                      </a:lnTo>
                      <a:lnTo>
                        <a:pt x="201" y="246"/>
                      </a:lnTo>
                      <a:lnTo>
                        <a:pt x="201" y="246"/>
                      </a:lnTo>
                      <a:lnTo>
                        <a:pt x="198" y="242"/>
                      </a:lnTo>
                      <a:lnTo>
                        <a:pt x="198" y="242"/>
                      </a:lnTo>
                      <a:lnTo>
                        <a:pt x="197" y="240"/>
                      </a:lnTo>
                      <a:lnTo>
                        <a:pt x="197" y="240"/>
                      </a:lnTo>
                      <a:lnTo>
                        <a:pt x="194" y="240"/>
                      </a:lnTo>
                      <a:lnTo>
                        <a:pt x="194" y="240"/>
                      </a:lnTo>
                      <a:lnTo>
                        <a:pt x="194" y="240"/>
                      </a:lnTo>
                      <a:lnTo>
                        <a:pt x="192" y="240"/>
                      </a:lnTo>
                      <a:lnTo>
                        <a:pt x="192" y="240"/>
                      </a:lnTo>
                      <a:lnTo>
                        <a:pt x="192" y="240"/>
                      </a:lnTo>
                      <a:lnTo>
                        <a:pt x="184" y="248"/>
                      </a:lnTo>
                      <a:lnTo>
                        <a:pt x="184" y="248"/>
                      </a:lnTo>
                      <a:lnTo>
                        <a:pt x="178" y="251"/>
                      </a:lnTo>
                      <a:lnTo>
                        <a:pt x="178" y="251"/>
                      </a:lnTo>
                      <a:lnTo>
                        <a:pt x="175" y="252"/>
                      </a:lnTo>
                      <a:lnTo>
                        <a:pt x="175" y="252"/>
                      </a:lnTo>
                      <a:lnTo>
                        <a:pt x="173" y="252"/>
                      </a:lnTo>
                      <a:lnTo>
                        <a:pt x="173" y="252"/>
                      </a:lnTo>
                      <a:lnTo>
                        <a:pt x="173" y="252"/>
                      </a:lnTo>
                      <a:lnTo>
                        <a:pt x="168" y="251"/>
                      </a:lnTo>
                      <a:lnTo>
                        <a:pt x="168" y="251"/>
                      </a:lnTo>
                      <a:lnTo>
                        <a:pt x="158" y="248"/>
                      </a:lnTo>
                      <a:lnTo>
                        <a:pt x="158" y="248"/>
                      </a:lnTo>
                      <a:lnTo>
                        <a:pt x="149" y="245"/>
                      </a:lnTo>
                      <a:lnTo>
                        <a:pt x="149" y="245"/>
                      </a:lnTo>
                      <a:lnTo>
                        <a:pt x="143" y="243"/>
                      </a:lnTo>
                      <a:lnTo>
                        <a:pt x="139" y="240"/>
                      </a:lnTo>
                      <a:lnTo>
                        <a:pt x="139" y="240"/>
                      </a:lnTo>
                      <a:lnTo>
                        <a:pt x="137" y="238"/>
                      </a:lnTo>
                      <a:lnTo>
                        <a:pt x="134" y="233"/>
                      </a:lnTo>
                      <a:lnTo>
                        <a:pt x="134" y="233"/>
                      </a:lnTo>
                      <a:lnTo>
                        <a:pt x="131" y="230"/>
                      </a:lnTo>
                      <a:lnTo>
                        <a:pt x="131" y="230"/>
                      </a:lnTo>
                      <a:lnTo>
                        <a:pt x="126" y="227"/>
                      </a:lnTo>
                      <a:lnTo>
                        <a:pt x="126" y="227"/>
                      </a:lnTo>
                      <a:lnTo>
                        <a:pt x="120" y="226"/>
                      </a:lnTo>
                      <a:lnTo>
                        <a:pt x="117" y="225"/>
                      </a:lnTo>
                      <a:lnTo>
                        <a:pt x="117" y="225"/>
                      </a:lnTo>
                      <a:lnTo>
                        <a:pt x="114" y="222"/>
                      </a:lnTo>
                      <a:lnTo>
                        <a:pt x="111" y="217"/>
                      </a:lnTo>
                      <a:lnTo>
                        <a:pt x="111" y="217"/>
                      </a:lnTo>
                      <a:lnTo>
                        <a:pt x="104" y="204"/>
                      </a:lnTo>
                      <a:lnTo>
                        <a:pt x="104" y="204"/>
                      </a:lnTo>
                      <a:lnTo>
                        <a:pt x="101" y="200"/>
                      </a:lnTo>
                      <a:lnTo>
                        <a:pt x="101" y="200"/>
                      </a:lnTo>
                      <a:lnTo>
                        <a:pt x="100" y="197"/>
                      </a:lnTo>
                      <a:lnTo>
                        <a:pt x="100" y="197"/>
                      </a:lnTo>
                      <a:lnTo>
                        <a:pt x="97" y="197"/>
                      </a:lnTo>
                      <a:lnTo>
                        <a:pt x="97" y="197"/>
                      </a:lnTo>
                      <a:lnTo>
                        <a:pt x="97" y="197"/>
                      </a:lnTo>
                      <a:lnTo>
                        <a:pt x="92" y="196"/>
                      </a:lnTo>
                      <a:lnTo>
                        <a:pt x="92" y="196"/>
                      </a:lnTo>
                      <a:lnTo>
                        <a:pt x="88" y="193"/>
                      </a:lnTo>
                      <a:lnTo>
                        <a:pt x="88" y="193"/>
                      </a:lnTo>
                      <a:lnTo>
                        <a:pt x="85" y="190"/>
                      </a:lnTo>
                      <a:lnTo>
                        <a:pt x="85" y="190"/>
                      </a:lnTo>
                      <a:lnTo>
                        <a:pt x="82" y="188"/>
                      </a:lnTo>
                      <a:lnTo>
                        <a:pt x="82" y="188"/>
                      </a:lnTo>
                      <a:lnTo>
                        <a:pt x="81" y="187"/>
                      </a:lnTo>
                      <a:lnTo>
                        <a:pt x="81" y="187"/>
                      </a:lnTo>
                      <a:lnTo>
                        <a:pt x="81" y="187"/>
                      </a:lnTo>
                      <a:lnTo>
                        <a:pt x="78" y="188"/>
                      </a:lnTo>
                      <a:lnTo>
                        <a:pt x="78" y="188"/>
                      </a:lnTo>
                      <a:lnTo>
                        <a:pt x="76" y="191"/>
                      </a:lnTo>
                      <a:lnTo>
                        <a:pt x="76" y="191"/>
                      </a:lnTo>
                      <a:lnTo>
                        <a:pt x="76" y="191"/>
                      </a:lnTo>
                      <a:lnTo>
                        <a:pt x="76" y="191"/>
                      </a:lnTo>
                      <a:lnTo>
                        <a:pt x="75" y="191"/>
                      </a:lnTo>
                      <a:lnTo>
                        <a:pt x="75" y="191"/>
                      </a:lnTo>
                      <a:lnTo>
                        <a:pt x="69" y="184"/>
                      </a:lnTo>
                      <a:lnTo>
                        <a:pt x="66" y="177"/>
                      </a:lnTo>
                      <a:lnTo>
                        <a:pt x="66" y="177"/>
                      </a:lnTo>
                      <a:lnTo>
                        <a:pt x="68" y="168"/>
                      </a:lnTo>
                      <a:lnTo>
                        <a:pt x="68" y="162"/>
                      </a:lnTo>
                      <a:lnTo>
                        <a:pt x="65" y="158"/>
                      </a:lnTo>
                      <a:lnTo>
                        <a:pt x="65" y="158"/>
                      </a:lnTo>
                      <a:lnTo>
                        <a:pt x="42" y="132"/>
                      </a:lnTo>
                      <a:lnTo>
                        <a:pt x="29" y="116"/>
                      </a:lnTo>
                      <a:lnTo>
                        <a:pt x="24" y="109"/>
                      </a:lnTo>
                      <a:lnTo>
                        <a:pt x="23" y="106"/>
                      </a:lnTo>
                      <a:lnTo>
                        <a:pt x="23" y="106"/>
                      </a:lnTo>
                      <a:lnTo>
                        <a:pt x="26" y="101"/>
                      </a:lnTo>
                      <a:lnTo>
                        <a:pt x="30" y="97"/>
                      </a:lnTo>
                      <a:lnTo>
                        <a:pt x="33" y="93"/>
                      </a:lnTo>
                      <a:lnTo>
                        <a:pt x="34" y="90"/>
                      </a:lnTo>
                      <a:lnTo>
                        <a:pt x="34" y="88"/>
                      </a:lnTo>
                      <a:lnTo>
                        <a:pt x="34" y="88"/>
                      </a:lnTo>
                      <a:lnTo>
                        <a:pt x="30" y="84"/>
                      </a:lnTo>
                      <a:lnTo>
                        <a:pt x="24" y="77"/>
                      </a:lnTo>
                      <a:lnTo>
                        <a:pt x="17" y="68"/>
                      </a:lnTo>
                      <a:lnTo>
                        <a:pt x="11" y="59"/>
                      </a:lnTo>
                      <a:lnTo>
                        <a:pt x="11" y="59"/>
                      </a:lnTo>
                      <a:lnTo>
                        <a:pt x="7" y="49"/>
                      </a:lnTo>
                      <a:lnTo>
                        <a:pt x="4" y="36"/>
                      </a:lnTo>
                      <a:lnTo>
                        <a:pt x="1" y="25"/>
                      </a:lnTo>
                      <a:lnTo>
                        <a:pt x="0" y="17"/>
                      </a:lnTo>
                      <a:lnTo>
                        <a:pt x="0" y="17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5" y="4"/>
                      </a:lnTo>
                      <a:lnTo>
                        <a:pt x="5" y="4"/>
                      </a:lnTo>
                      <a:lnTo>
                        <a:pt x="11" y="10"/>
                      </a:lnTo>
                      <a:lnTo>
                        <a:pt x="20" y="16"/>
                      </a:lnTo>
                      <a:lnTo>
                        <a:pt x="34" y="23"/>
                      </a:lnTo>
                      <a:lnTo>
                        <a:pt x="34" y="23"/>
                      </a:lnTo>
                      <a:lnTo>
                        <a:pt x="36" y="23"/>
                      </a:lnTo>
                      <a:lnTo>
                        <a:pt x="36" y="23"/>
                      </a:lnTo>
                      <a:lnTo>
                        <a:pt x="42" y="22"/>
                      </a:lnTo>
                      <a:lnTo>
                        <a:pt x="49" y="17"/>
                      </a:lnTo>
                      <a:lnTo>
                        <a:pt x="56" y="13"/>
                      </a:lnTo>
                      <a:lnTo>
                        <a:pt x="63" y="10"/>
                      </a:lnTo>
                      <a:lnTo>
                        <a:pt x="63" y="10"/>
                      </a:lnTo>
                      <a:lnTo>
                        <a:pt x="65" y="9"/>
                      </a:lnTo>
                      <a:lnTo>
                        <a:pt x="65" y="9"/>
                      </a:lnTo>
                      <a:lnTo>
                        <a:pt x="66" y="10"/>
                      </a:lnTo>
                      <a:lnTo>
                        <a:pt x="66" y="10"/>
                      </a:lnTo>
                      <a:lnTo>
                        <a:pt x="66" y="15"/>
                      </a:lnTo>
                      <a:lnTo>
                        <a:pt x="66" y="20"/>
                      </a:lnTo>
                      <a:lnTo>
                        <a:pt x="66" y="26"/>
                      </a:lnTo>
                      <a:lnTo>
                        <a:pt x="66" y="26"/>
                      </a:lnTo>
                      <a:lnTo>
                        <a:pt x="69" y="28"/>
                      </a:lnTo>
                      <a:lnTo>
                        <a:pt x="71" y="29"/>
                      </a:lnTo>
                      <a:lnTo>
                        <a:pt x="76" y="30"/>
                      </a:lnTo>
                      <a:lnTo>
                        <a:pt x="76" y="30"/>
                      </a:lnTo>
                      <a:lnTo>
                        <a:pt x="78" y="30"/>
                      </a:lnTo>
                      <a:lnTo>
                        <a:pt x="78" y="30"/>
                      </a:lnTo>
                      <a:lnTo>
                        <a:pt x="79" y="39"/>
                      </a:lnTo>
                      <a:lnTo>
                        <a:pt x="82" y="46"/>
                      </a:lnTo>
                      <a:lnTo>
                        <a:pt x="82" y="46"/>
                      </a:lnTo>
                      <a:lnTo>
                        <a:pt x="84" y="48"/>
                      </a:lnTo>
                      <a:lnTo>
                        <a:pt x="85" y="49"/>
                      </a:lnTo>
                      <a:lnTo>
                        <a:pt x="85" y="49"/>
                      </a:lnTo>
                      <a:lnTo>
                        <a:pt x="88" y="48"/>
                      </a:lnTo>
                      <a:lnTo>
                        <a:pt x="92" y="48"/>
                      </a:lnTo>
                      <a:lnTo>
                        <a:pt x="92" y="48"/>
                      </a:lnTo>
                      <a:lnTo>
                        <a:pt x="97" y="48"/>
                      </a:lnTo>
                      <a:lnTo>
                        <a:pt x="100" y="52"/>
                      </a:lnTo>
                      <a:lnTo>
                        <a:pt x="105" y="59"/>
                      </a:lnTo>
                      <a:lnTo>
                        <a:pt x="105" y="59"/>
                      </a:lnTo>
                      <a:lnTo>
                        <a:pt x="108" y="61"/>
                      </a:lnTo>
                      <a:lnTo>
                        <a:pt x="111" y="61"/>
                      </a:lnTo>
                      <a:lnTo>
                        <a:pt x="111" y="61"/>
                      </a:lnTo>
                      <a:lnTo>
                        <a:pt x="121" y="59"/>
                      </a:lnTo>
                      <a:lnTo>
                        <a:pt x="121" y="59"/>
                      </a:lnTo>
                      <a:lnTo>
                        <a:pt x="123" y="59"/>
                      </a:lnTo>
                      <a:lnTo>
                        <a:pt x="123" y="59"/>
                      </a:lnTo>
                      <a:lnTo>
                        <a:pt x="134" y="61"/>
                      </a:lnTo>
                      <a:lnTo>
                        <a:pt x="134" y="61"/>
                      </a:lnTo>
                      <a:lnTo>
                        <a:pt x="137" y="61"/>
                      </a:lnTo>
                      <a:lnTo>
                        <a:pt x="137" y="61"/>
                      </a:lnTo>
                      <a:lnTo>
                        <a:pt x="147" y="61"/>
                      </a:lnTo>
                      <a:lnTo>
                        <a:pt x="156" y="58"/>
                      </a:lnTo>
                      <a:lnTo>
                        <a:pt x="156" y="58"/>
                      </a:lnTo>
                      <a:lnTo>
                        <a:pt x="158" y="58"/>
                      </a:lnTo>
                      <a:lnTo>
                        <a:pt x="159" y="55"/>
                      </a:lnTo>
                      <a:lnTo>
                        <a:pt x="159" y="51"/>
                      </a:lnTo>
                      <a:lnTo>
                        <a:pt x="159" y="51"/>
                      </a:lnTo>
                      <a:lnTo>
                        <a:pt x="169" y="45"/>
                      </a:lnTo>
                      <a:lnTo>
                        <a:pt x="173" y="42"/>
                      </a:lnTo>
                      <a:lnTo>
                        <a:pt x="173" y="42"/>
                      </a:lnTo>
                      <a:lnTo>
                        <a:pt x="185" y="39"/>
                      </a:lnTo>
                      <a:lnTo>
                        <a:pt x="202" y="36"/>
                      </a:lnTo>
                      <a:lnTo>
                        <a:pt x="202" y="36"/>
                      </a:lnTo>
                      <a:lnTo>
                        <a:pt x="202" y="36"/>
                      </a:lnTo>
                      <a:lnTo>
                        <a:pt x="202" y="36"/>
                      </a:lnTo>
                      <a:lnTo>
                        <a:pt x="202" y="36"/>
                      </a:lnTo>
                      <a:lnTo>
                        <a:pt x="202" y="36"/>
                      </a:lnTo>
                      <a:lnTo>
                        <a:pt x="202" y="36"/>
                      </a:lnTo>
                      <a:lnTo>
                        <a:pt x="202" y="36"/>
                      </a:lnTo>
                      <a:lnTo>
                        <a:pt x="205" y="36"/>
                      </a:lnTo>
                      <a:lnTo>
                        <a:pt x="205" y="36"/>
                      </a:lnTo>
                      <a:lnTo>
                        <a:pt x="205" y="36"/>
                      </a:lnTo>
                      <a:lnTo>
                        <a:pt x="205" y="36"/>
                      </a:lnTo>
                      <a:lnTo>
                        <a:pt x="210" y="36"/>
                      </a:lnTo>
                      <a:lnTo>
                        <a:pt x="213" y="38"/>
                      </a:lnTo>
                      <a:lnTo>
                        <a:pt x="220" y="42"/>
                      </a:lnTo>
                      <a:lnTo>
                        <a:pt x="220" y="42"/>
                      </a:lnTo>
                      <a:lnTo>
                        <a:pt x="226" y="43"/>
                      </a:lnTo>
                      <a:lnTo>
                        <a:pt x="233" y="43"/>
                      </a:lnTo>
                      <a:lnTo>
                        <a:pt x="239" y="43"/>
                      </a:lnTo>
                      <a:lnTo>
                        <a:pt x="242" y="45"/>
                      </a:lnTo>
                      <a:lnTo>
                        <a:pt x="243" y="46"/>
                      </a:lnTo>
                      <a:lnTo>
                        <a:pt x="243" y="46"/>
                      </a:lnTo>
                      <a:lnTo>
                        <a:pt x="246" y="51"/>
                      </a:lnTo>
                      <a:lnTo>
                        <a:pt x="250" y="55"/>
                      </a:lnTo>
                      <a:lnTo>
                        <a:pt x="256" y="62"/>
                      </a:lnTo>
                      <a:lnTo>
                        <a:pt x="256" y="62"/>
                      </a:lnTo>
                      <a:lnTo>
                        <a:pt x="259" y="64"/>
                      </a:lnTo>
                      <a:lnTo>
                        <a:pt x="265" y="65"/>
                      </a:lnTo>
                      <a:lnTo>
                        <a:pt x="269" y="68"/>
                      </a:lnTo>
                      <a:lnTo>
                        <a:pt x="270" y="68"/>
                      </a:lnTo>
                      <a:lnTo>
                        <a:pt x="272" y="70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3" y="85"/>
                      </a:lnTo>
                      <a:lnTo>
                        <a:pt x="273" y="85"/>
                      </a:lnTo>
                      <a:lnTo>
                        <a:pt x="273" y="85"/>
                      </a:lnTo>
                      <a:lnTo>
                        <a:pt x="273" y="85"/>
                      </a:lnTo>
                      <a:lnTo>
                        <a:pt x="273" y="85"/>
                      </a:lnTo>
                      <a:lnTo>
                        <a:pt x="273" y="85"/>
                      </a:lnTo>
                      <a:lnTo>
                        <a:pt x="273" y="94"/>
                      </a:lnTo>
                      <a:lnTo>
                        <a:pt x="273" y="94"/>
                      </a:lnTo>
                      <a:lnTo>
                        <a:pt x="273" y="94"/>
                      </a:lnTo>
                      <a:lnTo>
                        <a:pt x="273" y="94"/>
                      </a:lnTo>
                      <a:lnTo>
                        <a:pt x="273" y="94"/>
                      </a:lnTo>
                      <a:lnTo>
                        <a:pt x="273" y="96"/>
                      </a:lnTo>
                      <a:lnTo>
                        <a:pt x="273" y="96"/>
                      </a:lnTo>
                      <a:lnTo>
                        <a:pt x="270" y="101"/>
                      </a:lnTo>
                      <a:lnTo>
                        <a:pt x="265" y="107"/>
                      </a:lnTo>
                      <a:lnTo>
                        <a:pt x="265" y="107"/>
                      </a:lnTo>
                      <a:lnTo>
                        <a:pt x="263" y="109"/>
                      </a:lnTo>
                      <a:lnTo>
                        <a:pt x="263" y="109"/>
                      </a:lnTo>
                      <a:lnTo>
                        <a:pt x="265" y="114"/>
                      </a:lnTo>
                      <a:lnTo>
                        <a:pt x="266" y="119"/>
                      </a:lnTo>
                      <a:lnTo>
                        <a:pt x="269" y="129"/>
                      </a:lnTo>
                      <a:lnTo>
                        <a:pt x="269" y="129"/>
                      </a:lnTo>
                      <a:lnTo>
                        <a:pt x="269" y="130"/>
                      </a:lnTo>
                      <a:lnTo>
                        <a:pt x="269" y="130"/>
                      </a:lnTo>
                      <a:lnTo>
                        <a:pt x="266" y="139"/>
                      </a:lnTo>
                      <a:lnTo>
                        <a:pt x="265" y="154"/>
                      </a:lnTo>
                      <a:lnTo>
                        <a:pt x="265" y="154"/>
                      </a:lnTo>
                      <a:lnTo>
                        <a:pt x="265" y="158"/>
                      </a:lnTo>
                      <a:lnTo>
                        <a:pt x="266" y="162"/>
                      </a:lnTo>
                      <a:lnTo>
                        <a:pt x="266" y="162"/>
                      </a:lnTo>
                      <a:lnTo>
                        <a:pt x="270" y="167"/>
                      </a:lnTo>
                      <a:lnTo>
                        <a:pt x="273" y="169"/>
                      </a:lnTo>
                      <a:lnTo>
                        <a:pt x="279" y="174"/>
                      </a:lnTo>
                      <a:lnTo>
                        <a:pt x="279" y="174"/>
                      </a:lnTo>
                      <a:lnTo>
                        <a:pt x="281" y="175"/>
                      </a:lnTo>
                      <a:lnTo>
                        <a:pt x="281" y="177"/>
                      </a:lnTo>
                      <a:lnTo>
                        <a:pt x="281" y="177"/>
                      </a:lnTo>
                      <a:lnTo>
                        <a:pt x="279" y="181"/>
                      </a:lnTo>
                      <a:lnTo>
                        <a:pt x="276" y="185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7"/>
                      </a:lnTo>
                      <a:lnTo>
                        <a:pt x="272" y="201"/>
                      </a:lnTo>
                      <a:lnTo>
                        <a:pt x="276" y="209"/>
                      </a:lnTo>
                      <a:lnTo>
                        <a:pt x="276" y="209"/>
                      </a:lnTo>
                      <a:lnTo>
                        <a:pt x="276" y="210"/>
                      </a:lnTo>
                      <a:lnTo>
                        <a:pt x="276" y="210"/>
                      </a:lnTo>
                      <a:lnTo>
                        <a:pt x="281" y="216"/>
                      </a:lnTo>
                      <a:lnTo>
                        <a:pt x="291" y="223"/>
                      </a:lnTo>
                      <a:lnTo>
                        <a:pt x="291" y="223"/>
                      </a:lnTo>
                      <a:lnTo>
                        <a:pt x="294" y="227"/>
                      </a:lnTo>
                      <a:lnTo>
                        <a:pt x="295" y="230"/>
                      </a:lnTo>
                      <a:lnTo>
                        <a:pt x="297" y="238"/>
                      </a:lnTo>
                      <a:lnTo>
                        <a:pt x="297" y="238"/>
                      </a:lnTo>
                      <a:lnTo>
                        <a:pt x="298" y="242"/>
                      </a:lnTo>
                      <a:lnTo>
                        <a:pt x="301" y="245"/>
                      </a:lnTo>
                      <a:lnTo>
                        <a:pt x="302" y="248"/>
                      </a:lnTo>
                      <a:lnTo>
                        <a:pt x="304" y="249"/>
                      </a:lnTo>
                      <a:lnTo>
                        <a:pt x="304" y="249"/>
                      </a:lnTo>
                      <a:lnTo>
                        <a:pt x="304" y="251"/>
                      </a:lnTo>
                      <a:lnTo>
                        <a:pt x="304" y="251"/>
                      </a:lnTo>
                      <a:lnTo>
                        <a:pt x="304" y="251"/>
                      </a:lnTo>
                      <a:lnTo>
                        <a:pt x="304" y="251"/>
                      </a:lnTo>
                      <a:lnTo>
                        <a:pt x="304" y="251"/>
                      </a:lnTo>
                      <a:lnTo>
                        <a:pt x="304" y="251"/>
                      </a:lnTo>
                      <a:lnTo>
                        <a:pt x="304" y="251"/>
                      </a:lnTo>
                      <a:lnTo>
                        <a:pt x="304" y="251"/>
                      </a:lnTo>
                      <a:lnTo>
                        <a:pt x="304" y="251"/>
                      </a:lnTo>
                      <a:lnTo>
                        <a:pt x="301" y="252"/>
                      </a:lnTo>
                      <a:lnTo>
                        <a:pt x="301" y="252"/>
                      </a:lnTo>
                      <a:lnTo>
                        <a:pt x="299" y="252"/>
                      </a:lnTo>
                      <a:lnTo>
                        <a:pt x="299" y="252"/>
                      </a:lnTo>
                      <a:lnTo>
                        <a:pt x="298" y="252"/>
                      </a:lnTo>
                      <a:lnTo>
                        <a:pt x="298" y="252"/>
                      </a:lnTo>
                      <a:lnTo>
                        <a:pt x="298" y="252"/>
                      </a:lnTo>
                      <a:lnTo>
                        <a:pt x="298" y="252"/>
                      </a:lnTo>
                      <a:lnTo>
                        <a:pt x="298" y="252"/>
                      </a:lnTo>
                      <a:lnTo>
                        <a:pt x="298" y="252"/>
                      </a:lnTo>
                      <a:lnTo>
                        <a:pt x="291" y="252"/>
                      </a:lnTo>
                      <a:lnTo>
                        <a:pt x="291" y="252"/>
                      </a:lnTo>
                      <a:lnTo>
                        <a:pt x="291" y="252"/>
                      </a:lnTo>
                      <a:lnTo>
                        <a:pt x="291" y="252"/>
                      </a:lnTo>
                      <a:lnTo>
                        <a:pt x="291" y="252"/>
                      </a:lnTo>
                      <a:lnTo>
                        <a:pt x="291" y="252"/>
                      </a:lnTo>
                      <a:lnTo>
                        <a:pt x="291" y="252"/>
                      </a:lnTo>
                      <a:lnTo>
                        <a:pt x="291" y="252"/>
                      </a:lnTo>
                      <a:lnTo>
                        <a:pt x="291" y="254"/>
                      </a:lnTo>
                      <a:lnTo>
                        <a:pt x="291" y="254"/>
                      </a:lnTo>
                      <a:lnTo>
                        <a:pt x="286" y="256"/>
                      </a:lnTo>
                      <a:lnTo>
                        <a:pt x="284" y="262"/>
                      </a:lnTo>
                      <a:lnTo>
                        <a:pt x="279" y="27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18" name="Freeform 269"/>
                <p:cNvSpPr>
                  <a:spLocks/>
                </p:cNvSpPr>
                <p:nvPr/>
              </p:nvSpPr>
              <p:spPr bwMode="auto">
                <a:xfrm>
                  <a:off x="5116093" y="2638506"/>
                  <a:ext cx="300735" cy="274025"/>
                </a:xfrm>
                <a:custGeom>
                  <a:avLst/>
                  <a:gdLst>
                    <a:gd name="T0" fmla="*/ 265 w 304"/>
                    <a:gd name="T1" fmla="*/ 274 h 277"/>
                    <a:gd name="T2" fmla="*/ 215 w 304"/>
                    <a:gd name="T3" fmla="*/ 268 h 277"/>
                    <a:gd name="T4" fmla="*/ 207 w 304"/>
                    <a:gd name="T5" fmla="*/ 262 h 277"/>
                    <a:gd name="T6" fmla="*/ 198 w 304"/>
                    <a:gd name="T7" fmla="*/ 242 h 277"/>
                    <a:gd name="T8" fmla="*/ 192 w 304"/>
                    <a:gd name="T9" fmla="*/ 240 h 277"/>
                    <a:gd name="T10" fmla="*/ 178 w 304"/>
                    <a:gd name="T11" fmla="*/ 251 h 277"/>
                    <a:gd name="T12" fmla="*/ 168 w 304"/>
                    <a:gd name="T13" fmla="*/ 251 h 277"/>
                    <a:gd name="T14" fmla="*/ 143 w 304"/>
                    <a:gd name="T15" fmla="*/ 243 h 277"/>
                    <a:gd name="T16" fmla="*/ 131 w 304"/>
                    <a:gd name="T17" fmla="*/ 230 h 277"/>
                    <a:gd name="T18" fmla="*/ 117 w 304"/>
                    <a:gd name="T19" fmla="*/ 225 h 277"/>
                    <a:gd name="T20" fmla="*/ 101 w 304"/>
                    <a:gd name="T21" fmla="*/ 200 h 277"/>
                    <a:gd name="T22" fmla="*/ 97 w 304"/>
                    <a:gd name="T23" fmla="*/ 197 h 277"/>
                    <a:gd name="T24" fmla="*/ 85 w 304"/>
                    <a:gd name="T25" fmla="*/ 190 h 277"/>
                    <a:gd name="T26" fmla="*/ 78 w 304"/>
                    <a:gd name="T27" fmla="*/ 188 h 277"/>
                    <a:gd name="T28" fmla="*/ 75 w 304"/>
                    <a:gd name="T29" fmla="*/ 191 h 277"/>
                    <a:gd name="T30" fmla="*/ 68 w 304"/>
                    <a:gd name="T31" fmla="*/ 162 h 277"/>
                    <a:gd name="T32" fmla="*/ 23 w 304"/>
                    <a:gd name="T33" fmla="*/ 106 h 277"/>
                    <a:gd name="T34" fmla="*/ 34 w 304"/>
                    <a:gd name="T35" fmla="*/ 88 h 277"/>
                    <a:gd name="T36" fmla="*/ 11 w 304"/>
                    <a:gd name="T37" fmla="*/ 59 h 277"/>
                    <a:gd name="T38" fmla="*/ 1 w 304"/>
                    <a:gd name="T39" fmla="*/ 0 h 277"/>
                    <a:gd name="T40" fmla="*/ 11 w 304"/>
                    <a:gd name="T41" fmla="*/ 10 h 277"/>
                    <a:gd name="T42" fmla="*/ 42 w 304"/>
                    <a:gd name="T43" fmla="*/ 22 h 277"/>
                    <a:gd name="T44" fmla="*/ 65 w 304"/>
                    <a:gd name="T45" fmla="*/ 9 h 277"/>
                    <a:gd name="T46" fmla="*/ 66 w 304"/>
                    <a:gd name="T47" fmla="*/ 26 h 277"/>
                    <a:gd name="T48" fmla="*/ 78 w 304"/>
                    <a:gd name="T49" fmla="*/ 30 h 277"/>
                    <a:gd name="T50" fmla="*/ 85 w 304"/>
                    <a:gd name="T51" fmla="*/ 49 h 277"/>
                    <a:gd name="T52" fmla="*/ 105 w 304"/>
                    <a:gd name="T53" fmla="*/ 59 h 277"/>
                    <a:gd name="T54" fmla="*/ 121 w 304"/>
                    <a:gd name="T55" fmla="*/ 59 h 277"/>
                    <a:gd name="T56" fmla="*/ 137 w 304"/>
                    <a:gd name="T57" fmla="*/ 61 h 277"/>
                    <a:gd name="T58" fmla="*/ 159 w 304"/>
                    <a:gd name="T59" fmla="*/ 51 h 277"/>
                    <a:gd name="T60" fmla="*/ 202 w 304"/>
                    <a:gd name="T61" fmla="*/ 36 h 277"/>
                    <a:gd name="T62" fmla="*/ 202 w 304"/>
                    <a:gd name="T63" fmla="*/ 36 h 277"/>
                    <a:gd name="T64" fmla="*/ 210 w 304"/>
                    <a:gd name="T65" fmla="*/ 36 h 277"/>
                    <a:gd name="T66" fmla="*/ 239 w 304"/>
                    <a:gd name="T67" fmla="*/ 43 h 277"/>
                    <a:gd name="T68" fmla="*/ 256 w 304"/>
                    <a:gd name="T69" fmla="*/ 62 h 277"/>
                    <a:gd name="T70" fmla="*/ 272 w 304"/>
                    <a:gd name="T71" fmla="*/ 70 h 277"/>
                    <a:gd name="T72" fmla="*/ 272 w 304"/>
                    <a:gd name="T73" fmla="*/ 71 h 277"/>
                    <a:gd name="T74" fmla="*/ 272 w 304"/>
                    <a:gd name="T75" fmla="*/ 71 h 277"/>
                    <a:gd name="T76" fmla="*/ 272 w 304"/>
                    <a:gd name="T77" fmla="*/ 71 h 277"/>
                    <a:gd name="T78" fmla="*/ 273 w 304"/>
                    <a:gd name="T79" fmla="*/ 85 h 277"/>
                    <a:gd name="T80" fmla="*/ 273 w 304"/>
                    <a:gd name="T81" fmla="*/ 94 h 277"/>
                    <a:gd name="T82" fmla="*/ 263 w 304"/>
                    <a:gd name="T83" fmla="*/ 109 h 277"/>
                    <a:gd name="T84" fmla="*/ 269 w 304"/>
                    <a:gd name="T85" fmla="*/ 130 h 277"/>
                    <a:gd name="T86" fmla="*/ 266 w 304"/>
                    <a:gd name="T87" fmla="*/ 162 h 277"/>
                    <a:gd name="T88" fmla="*/ 281 w 304"/>
                    <a:gd name="T89" fmla="*/ 175 h 277"/>
                    <a:gd name="T90" fmla="*/ 270 w 304"/>
                    <a:gd name="T91" fmla="*/ 194 h 277"/>
                    <a:gd name="T92" fmla="*/ 270 w 304"/>
                    <a:gd name="T93" fmla="*/ 194 h 277"/>
                    <a:gd name="T94" fmla="*/ 270 w 304"/>
                    <a:gd name="T95" fmla="*/ 194 h 277"/>
                    <a:gd name="T96" fmla="*/ 276 w 304"/>
                    <a:gd name="T97" fmla="*/ 210 h 277"/>
                    <a:gd name="T98" fmla="*/ 297 w 304"/>
                    <a:gd name="T99" fmla="*/ 238 h 277"/>
                    <a:gd name="T100" fmla="*/ 304 w 304"/>
                    <a:gd name="T101" fmla="*/ 249 h 277"/>
                    <a:gd name="T102" fmla="*/ 304 w 304"/>
                    <a:gd name="T103" fmla="*/ 251 h 277"/>
                    <a:gd name="T104" fmla="*/ 299 w 304"/>
                    <a:gd name="T105" fmla="*/ 252 h 277"/>
                    <a:gd name="T106" fmla="*/ 298 w 304"/>
                    <a:gd name="T107" fmla="*/ 252 h 277"/>
                    <a:gd name="T108" fmla="*/ 291 w 304"/>
                    <a:gd name="T109" fmla="*/ 252 h 277"/>
                    <a:gd name="T110" fmla="*/ 286 w 304"/>
                    <a:gd name="T111" fmla="*/ 256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304" h="277">
                      <a:moveTo>
                        <a:pt x="279" y="277"/>
                      </a:moveTo>
                      <a:lnTo>
                        <a:pt x="279" y="277"/>
                      </a:lnTo>
                      <a:lnTo>
                        <a:pt x="275" y="277"/>
                      </a:lnTo>
                      <a:lnTo>
                        <a:pt x="275" y="277"/>
                      </a:lnTo>
                      <a:lnTo>
                        <a:pt x="265" y="274"/>
                      </a:lnTo>
                      <a:lnTo>
                        <a:pt x="265" y="274"/>
                      </a:lnTo>
                      <a:lnTo>
                        <a:pt x="262" y="274"/>
                      </a:lnTo>
                      <a:lnTo>
                        <a:pt x="262" y="274"/>
                      </a:lnTo>
                      <a:lnTo>
                        <a:pt x="239" y="271"/>
                      </a:lnTo>
                      <a:lnTo>
                        <a:pt x="239" y="271"/>
                      </a:lnTo>
                      <a:lnTo>
                        <a:pt x="226" y="269"/>
                      </a:lnTo>
                      <a:lnTo>
                        <a:pt x="215" y="268"/>
                      </a:lnTo>
                      <a:lnTo>
                        <a:pt x="215" y="268"/>
                      </a:lnTo>
                      <a:lnTo>
                        <a:pt x="211" y="267"/>
                      </a:lnTo>
                      <a:lnTo>
                        <a:pt x="211" y="267"/>
                      </a:lnTo>
                      <a:lnTo>
                        <a:pt x="208" y="264"/>
                      </a:lnTo>
                      <a:lnTo>
                        <a:pt x="207" y="262"/>
                      </a:lnTo>
                      <a:lnTo>
                        <a:pt x="207" y="262"/>
                      </a:lnTo>
                      <a:lnTo>
                        <a:pt x="205" y="256"/>
                      </a:lnTo>
                      <a:lnTo>
                        <a:pt x="205" y="256"/>
                      </a:lnTo>
                      <a:lnTo>
                        <a:pt x="201" y="246"/>
                      </a:lnTo>
                      <a:lnTo>
                        <a:pt x="201" y="246"/>
                      </a:lnTo>
                      <a:lnTo>
                        <a:pt x="198" y="242"/>
                      </a:lnTo>
                      <a:lnTo>
                        <a:pt x="198" y="242"/>
                      </a:lnTo>
                      <a:lnTo>
                        <a:pt x="197" y="240"/>
                      </a:lnTo>
                      <a:lnTo>
                        <a:pt x="197" y="240"/>
                      </a:lnTo>
                      <a:lnTo>
                        <a:pt x="194" y="240"/>
                      </a:lnTo>
                      <a:lnTo>
                        <a:pt x="194" y="240"/>
                      </a:lnTo>
                      <a:lnTo>
                        <a:pt x="194" y="240"/>
                      </a:lnTo>
                      <a:lnTo>
                        <a:pt x="192" y="240"/>
                      </a:lnTo>
                      <a:lnTo>
                        <a:pt x="192" y="240"/>
                      </a:lnTo>
                      <a:lnTo>
                        <a:pt x="192" y="240"/>
                      </a:lnTo>
                      <a:lnTo>
                        <a:pt x="184" y="248"/>
                      </a:lnTo>
                      <a:lnTo>
                        <a:pt x="184" y="248"/>
                      </a:lnTo>
                      <a:lnTo>
                        <a:pt x="178" y="251"/>
                      </a:lnTo>
                      <a:lnTo>
                        <a:pt x="178" y="251"/>
                      </a:lnTo>
                      <a:lnTo>
                        <a:pt x="175" y="252"/>
                      </a:lnTo>
                      <a:lnTo>
                        <a:pt x="175" y="252"/>
                      </a:lnTo>
                      <a:lnTo>
                        <a:pt x="173" y="252"/>
                      </a:lnTo>
                      <a:lnTo>
                        <a:pt x="173" y="252"/>
                      </a:lnTo>
                      <a:lnTo>
                        <a:pt x="173" y="252"/>
                      </a:lnTo>
                      <a:lnTo>
                        <a:pt x="168" y="251"/>
                      </a:lnTo>
                      <a:lnTo>
                        <a:pt x="168" y="251"/>
                      </a:lnTo>
                      <a:lnTo>
                        <a:pt x="158" y="248"/>
                      </a:lnTo>
                      <a:lnTo>
                        <a:pt x="158" y="248"/>
                      </a:lnTo>
                      <a:lnTo>
                        <a:pt x="149" y="245"/>
                      </a:lnTo>
                      <a:lnTo>
                        <a:pt x="149" y="245"/>
                      </a:lnTo>
                      <a:lnTo>
                        <a:pt x="143" y="243"/>
                      </a:lnTo>
                      <a:lnTo>
                        <a:pt x="139" y="240"/>
                      </a:lnTo>
                      <a:lnTo>
                        <a:pt x="139" y="240"/>
                      </a:lnTo>
                      <a:lnTo>
                        <a:pt x="137" y="238"/>
                      </a:lnTo>
                      <a:lnTo>
                        <a:pt x="134" y="233"/>
                      </a:lnTo>
                      <a:lnTo>
                        <a:pt x="134" y="233"/>
                      </a:lnTo>
                      <a:lnTo>
                        <a:pt x="131" y="230"/>
                      </a:lnTo>
                      <a:lnTo>
                        <a:pt x="131" y="230"/>
                      </a:lnTo>
                      <a:lnTo>
                        <a:pt x="126" y="227"/>
                      </a:lnTo>
                      <a:lnTo>
                        <a:pt x="126" y="227"/>
                      </a:lnTo>
                      <a:lnTo>
                        <a:pt x="120" y="226"/>
                      </a:lnTo>
                      <a:lnTo>
                        <a:pt x="117" y="225"/>
                      </a:lnTo>
                      <a:lnTo>
                        <a:pt x="117" y="225"/>
                      </a:lnTo>
                      <a:lnTo>
                        <a:pt x="114" y="222"/>
                      </a:lnTo>
                      <a:lnTo>
                        <a:pt x="111" y="217"/>
                      </a:lnTo>
                      <a:lnTo>
                        <a:pt x="111" y="217"/>
                      </a:lnTo>
                      <a:lnTo>
                        <a:pt x="104" y="204"/>
                      </a:lnTo>
                      <a:lnTo>
                        <a:pt x="104" y="204"/>
                      </a:lnTo>
                      <a:lnTo>
                        <a:pt x="101" y="200"/>
                      </a:lnTo>
                      <a:lnTo>
                        <a:pt x="101" y="200"/>
                      </a:lnTo>
                      <a:lnTo>
                        <a:pt x="100" y="197"/>
                      </a:lnTo>
                      <a:lnTo>
                        <a:pt x="100" y="197"/>
                      </a:lnTo>
                      <a:lnTo>
                        <a:pt x="97" y="197"/>
                      </a:lnTo>
                      <a:lnTo>
                        <a:pt x="97" y="197"/>
                      </a:lnTo>
                      <a:lnTo>
                        <a:pt x="97" y="197"/>
                      </a:lnTo>
                      <a:lnTo>
                        <a:pt x="92" y="196"/>
                      </a:lnTo>
                      <a:lnTo>
                        <a:pt x="92" y="196"/>
                      </a:lnTo>
                      <a:lnTo>
                        <a:pt x="88" y="193"/>
                      </a:lnTo>
                      <a:lnTo>
                        <a:pt x="88" y="193"/>
                      </a:lnTo>
                      <a:lnTo>
                        <a:pt x="85" y="190"/>
                      </a:lnTo>
                      <a:lnTo>
                        <a:pt x="85" y="190"/>
                      </a:lnTo>
                      <a:lnTo>
                        <a:pt x="82" y="188"/>
                      </a:lnTo>
                      <a:lnTo>
                        <a:pt x="82" y="188"/>
                      </a:lnTo>
                      <a:lnTo>
                        <a:pt x="81" y="187"/>
                      </a:lnTo>
                      <a:lnTo>
                        <a:pt x="81" y="187"/>
                      </a:lnTo>
                      <a:lnTo>
                        <a:pt x="81" y="187"/>
                      </a:lnTo>
                      <a:lnTo>
                        <a:pt x="78" y="188"/>
                      </a:lnTo>
                      <a:lnTo>
                        <a:pt x="78" y="188"/>
                      </a:lnTo>
                      <a:lnTo>
                        <a:pt x="76" y="191"/>
                      </a:lnTo>
                      <a:lnTo>
                        <a:pt x="76" y="191"/>
                      </a:lnTo>
                      <a:lnTo>
                        <a:pt x="76" y="191"/>
                      </a:lnTo>
                      <a:lnTo>
                        <a:pt x="76" y="191"/>
                      </a:lnTo>
                      <a:lnTo>
                        <a:pt x="75" y="191"/>
                      </a:lnTo>
                      <a:lnTo>
                        <a:pt x="75" y="191"/>
                      </a:lnTo>
                      <a:lnTo>
                        <a:pt x="69" y="184"/>
                      </a:lnTo>
                      <a:lnTo>
                        <a:pt x="66" y="177"/>
                      </a:lnTo>
                      <a:lnTo>
                        <a:pt x="66" y="177"/>
                      </a:lnTo>
                      <a:lnTo>
                        <a:pt x="68" y="168"/>
                      </a:lnTo>
                      <a:lnTo>
                        <a:pt x="68" y="162"/>
                      </a:lnTo>
                      <a:lnTo>
                        <a:pt x="65" y="158"/>
                      </a:lnTo>
                      <a:lnTo>
                        <a:pt x="65" y="158"/>
                      </a:lnTo>
                      <a:lnTo>
                        <a:pt x="42" y="132"/>
                      </a:lnTo>
                      <a:lnTo>
                        <a:pt x="29" y="116"/>
                      </a:lnTo>
                      <a:lnTo>
                        <a:pt x="24" y="109"/>
                      </a:lnTo>
                      <a:lnTo>
                        <a:pt x="23" y="106"/>
                      </a:lnTo>
                      <a:lnTo>
                        <a:pt x="23" y="106"/>
                      </a:lnTo>
                      <a:lnTo>
                        <a:pt x="26" y="101"/>
                      </a:lnTo>
                      <a:lnTo>
                        <a:pt x="30" y="97"/>
                      </a:lnTo>
                      <a:lnTo>
                        <a:pt x="33" y="93"/>
                      </a:lnTo>
                      <a:lnTo>
                        <a:pt x="34" y="90"/>
                      </a:lnTo>
                      <a:lnTo>
                        <a:pt x="34" y="88"/>
                      </a:lnTo>
                      <a:lnTo>
                        <a:pt x="34" y="88"/>
                      </a:lnTo>
                      <a:lnTo>
                        <a:pt x="30" y="84"/>
                      </a:lnTo>
                      <a:lnTo>
                        <a:pt x="24" y="77"/>
                      </a:lnTo>
                      <a:lnTo>
                        <a:pt x="17" y="68"/>
                      </a:lnTo>
                      <a:lnTo>
                        <a:pt x="11" y="59"/>
                      </a:lnTo>
                      <a:lnTo>
                        <a:pt x="11" y="59"/>
                      </a:lnTo>
                      <a:lnTo>
                        <a:pt x="7" y="49"/>
                      </a:lnTo>
                      <a:lnTo>
                        <a:pt x="4" y="36"/>
                      </a:lnTo>
                      <a:lnTo>
                        <a:pt x="1" y="25"/>
                      </a:lnTo>
                      <a:lnTo>
                        <a:pt x="0" y="17"/>
                      </a:lnTo>
                      <a:lnTo>
                        <a:pt x="0" y="17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5" y="4"/>
                      </a:lnTo>
                      <a:lnTo>
                        <a:pt x="5" y="4"/>
                      </a:lnTo>
                      <a:lnTo>
                        <a:pt x="11" y="10"/>
                      </a:lnTo>
                      <a:lnTo>
                        <a:pt x="20" y="16"/>
                      </a:lnTo>
                      <a:lnTo>
                        <a:pt x="34" y="23"/>
                      </a:lnTo>
                      <a:lnTo>
                        <a:pt x="34" y="23"/>
                      </a:lnTo>
                      <a:lnTo>
                        <a:pt x="36" y="23"/>
                      </a:lnTo>
                      <a:lnTo>
                        <a:pt x="36" y="23"/>
                      </a:lnTo>
                      <a:lnTo>
                        <a:pt x="42" y="22"/>
                      </a:lnTo>
                      <a:lnTo>
                        <a:pt x="49" y="17"/>
                      </a:lnTo>
                      <a:lnTo>
                        <a:pt x="56" y="13"/>
                      </a:lnTo>
                      <a:lnTo>
                        <a:pt x="63" y="10"/>
                      </a:lnTo>
                      <a:lnTo>
                        <a:pt x="63" y="10"/>
                      </a:lnTo>
                      <a:lnTo>
                        <a:pt x="65" y="9"/>
                      </a:lnTo>
                      <a:lnTo>
                        <a:pt x="65" y="9"/>
                      </a:lnTo>
                      <a:lnTo>
                        <a:pt x="66" y="10"/>
                      </a:lnTo>
                      <a:lnTo>
                        <a:pt x="66" y="10"/>
                      </a:lnTo>
                      <a:lnTo>
                        <a:pt x="66" y="15"/>
                      </a:lnTo>
                      <a:lnTo>
                        <a:pt x="66" y="20"/>
                      </a:lnTo>
                      <a:lnTo>
                        <a:pt x="66" y="26"/>
                      </a:lnTo>
                      <a:lnTo>
                        <a:pt x="66" y="26"/>
                      </a:lnTo>
                      <a:lnTo>
                        <a:pt x="69" y="28"/>
                      </a:lnTo>
                      <a:lnTo>
                        <a:pt x="71" y="29"/>
                      </a:lnTo>
                      <a:lnTo>
                        <a:pt x="76" y="30"/>
                      </a:lnTo>
                      <a:lnTo>
                        <a:pt x="76" y="30"/>
                      </a:lnTo>
                      <a:lnTo>
                        <a:pt x="78" y="30"/>
                      </a:lnTo>
                      <a:lnTo>
                        <a:pt x="78" y="30"/>
                      </a:lnTo>
                      <a:lnTo>
                        <a:pt x="79" y="39"/>
                      </a:lnTo>
                      <a:lnTo>
                        <a:pt x="82" y="46"/>
                      </a:lnTo>
                      <a:lnTo>
                        <a:pt x="82" y="46"/>
                      </a:lnTo>
                      <a:lnTo>
                        <a:pt x="84" y="48"/>
                      </a:lnTo>
                      <a:lnTo>
                        <a:pt x="85" y="49"/>
                      </a:lnTo>
                      <a:lnTo>
                        <a:pt x="85" y="49"/>
                      </a:lnTo>
                      <a:lnTo>
                        <a:pt x="88" y="48"/>
                      </a:lnTo>
                      <a:lnTo>
                        <a:pt x="92" y="48"/>
                      </a:lnTo>
                      <a:lnTo>
                        <a:pt x="92" y="48"/>
                      </a:lnTo>
                      <a:lnTo>
                        <a:pt x="97" y="48"/>
                      </a:lnTo>
                      <a:lnTo>
                        <a:pt x="100" y="52"/>
                      </a:lnTo>
                      <a:lnTo>
                        <a:pt x="105" y="59"/>
                      </a:lnTo>
                      <a:lnTo>
                        <a:pt x="105" y="59"/>
                      </a:lnTo>
                      <a:lnTo>
                        <a:pt x="108" y="61"/>
                      </a:lnTo>
                      <a:lnTo>
                        <a:pt x="111" y="61"/>
                      </a:lnTo>
                      <a:lnTo>
                        <a:pt x="111" y="61"/>
                      </a:lnTo>
                      <a:lnTo>
                        <a:pt x="121" y="59"/>
                      </a:lnTo>
                      <a:lnTo>
                        <a:pt x="121" y="59"/>
                      </a:lnTo>
                      <a:lnTo>
                        <a:pt x="123" y="59"/>
                      </a:lnTo>
                      <a:lnTo>
                        <a:pt x="123" y="59"/>
                      </a:lnTo>
                      <a:lnTo>
                        <a:pt x="134" y="61"/>
                      </a:lnTo>
                      <a:lnTo>
                        <a:pt x="134" y="61"/>
                      </a:lnTo>
                      <a:lnTo>
                        <a:pt x="137" y="61"/>
                      </a:lnTo>
                      <a:lnTo>
                        <a:pt x="137" y="61"/>
                      </a:lnTo>
                      <a:lnTo>
                        <a:pt x="147" y="61"/>
                      </a:lnTo>
                      <a:lnTo>
                        <a:pt x="156" y="58"/>
                      </a:lnTo>
                      <a:lnTo>
                        <a:pt x="156" y="58"/>
                      </a:lnTo>
                      <a:lnTo>
                        <a:pt x="158" y="58"/>
                      </a:lnTo>
                      <a:lnTo>
                        <a:pt x="159" y="55"/>
                      </a:lnTo>
                      <a:lnTo>
                        <a:pt x="159" y="51"/>
                      </a:lnTo>
                      <a:lnTo>
                        <a:pt x="159" y="51"/>
                      </a:lnTo>
                      <a:lnTo>
                        <a:pt x="169" y="45"/>
                      </a:lnTo>
                      <a:lnTo>
                        <a:pt x="173" y="42"/>
                      </a:lnTo>
                      <a:lnTo>
                        <a:pt x="173" y="42"/>
                      </a:lnTo>
                      <a:lnTo>
                        <a:pt x="185" y="39"/>
                      </a:lnTo>
                      <a:lnTo>
                        <a:pt x="202" y="36"/>
                      </a:lnTo>
                      <a:lnTo>
                        <a:pt x="202" y="36"/>
                      </a:lnTo>
                      <a:lnTo>
                        <a:pt x="202" y="36"/>
                      </a:lnTo>
                      <a:lnTo>
                        <a:pt x="202" y="36"/>
                      </a:lnTo>
                      <a:lnTo>
                        <a:pt x="202" y="36"/>
                      </a:lnTo>
                      <a:lnTo>
                        <a:pt x="202" y="36"/>
                      </a:lnTo>
                      <a:lnTo>
                        <a:pt x="202" y="36"/>
                      </a:lnTo>
                      <a:lnTo>
                        <a:pt x="202" y="36"/>
                      </a:lnTo>
                      <a:lnTo>
                        <a:pt x="205" y="36"/>
                      </a:lnTo>
                      <a:lnTo>
                        <a:pt x="205" y="36"/>
                      </a:lnTo>
                      <a:lnTo>
                        <a:pt x="205" y="36"/>
                      </a:lnTo>
                      <a:lnTo>
                        <a:pt x="205" y="36"/>
                      </a:lnTo>
                      <a:lnTo>
                        <a:pt x="210" y="36"/>
                      </a:lnTo>
                      <a:lnTo>
                        <a:pt x="213" y="38"/>
                      </a:lnTo>
                      <a:lnTo>
                        <a:pt x="220" y="42"/>
                      </a:lnTo>
                      <a:lnTo>
                        <a:pt x="220" y="42"/>
                      </a:lnTo>
                      <a:lnTo>
                        <a:pt x="226" y="43"/>
                      </a:lnTo>
                      <a:lnTo>
                        <a:pt x="233" y="43"/>
                      </a:lnTo>
                      <a:lnTo>
                        <a:pt x="239" y="43"/>
                      </a:lnTo>
                      <a:lnTo>
                        <a:pt x="242" y="45"/>
                      </a:lnTo>
                      <a:lnTo>
                        <a:pt x="243" y="46"/>
                      </a:lnTo>
                      <a:lnTo>
                        <a:pt x="243" y="46"/>
                      </a:lnTo>
                      <a:lnTo>
                        <a:pt x="246" y="51"/>
                      </a:lnTo>
                      <a:lnTo>
                        <a:pt x="250" y="55"/>
                      </a:lnTo>
                      <a:lnTo>
                        <a:pt x="256" y="62"/>
                      </a:lnTo>
                      <a:lnTo>
                        <a:pt x="256" y="62"/>
                      </a:lnTo>
                      <a:lnTo>
                        <a:pt x="259" y="64"/>
                      </a:lnTo>
                      <a:lnTo>
                        <a:pt x="265" y="65"/>
                      </a:lnTo>
                      <a:lnTo>
                        <a:pt x="269" y="68"/>
                      </a:lnTo>
                      <a:lnTo>
                        <a:pt x="270" y="68"/>
                      </a:lnTo>
                      <a:lnTo>
                        <a:pt x="272" y="70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2" y="71"/>
                      </a:lnTo>
                      <a:lnTo>
                        <a:pt x="273" y="85"/>
                      </a:lnTo>
                      <a:lnTo>
                        <a:pt x="273" y="85"/>
                      </a:lnTo>
                      <a:lnTo>
                        <a:pt x="273" y="85"/>
                      </a:lnTo>
                      <a:lnTo>
                        <a:pt x="273" y="85"/>
                      </a:lnTo>
                      <a:lnTo>
                        <a:pt x="273" y="85"/>
                      </a:lnTo>
                      <a:lnTo>
                        <a:pt x="273" y="85"/>
                      </a:lnTo>
                      <a:lnTo>
                        <a:pt x="273" y="94"/>
                      </a:lnTo>
                      <a:lnTo>
                        <a:pt x="273" y="94"/>
                      </a:lnTo>
                      <a:lnTo>
                        <a:pt x="273" y="94"/>
                      </a:lnTo>
                      <a:lnTo>
                        <a:pt x="273" y="94"/>
                      </a:lnTo>
                      <a:lnTo>
                        <a:pt x="273" y="94"/>
                      </a:lnTo>
                      <a:lnTo>
                        <a:pt x="273" y="96"/>
                      </a:lnTo>
                      <a:lnTo>
                        <a:pt x="273" y="96"/>
                      </a:lnTo>
                      <a:lnTo>
                        <a:pt x="270" y="101"/>
                      </a:lnTo>
                      <a:lnTo>
                        <a:pt x="265" y="107"/>
                      </a:lnTo>
                      <a:lnTo>
                        <a:pt x="265" y="107"/>
                      </a:lnTo>
                      <a:lnTo>
                        <a:pt x="263" y="109"/>
                      </a:lnTo>
                      <a:lnTo>
                        <a:pt x="263" y="109"/>
                      </a:lnTo>
                      <a:lnTo>
                        <a:pt x="265" y="114"/>
                      </a:lnTo>
                      <a:lnTo>
                        <a:pt x="266" y="119"/>
                      </a:lnTo>
                      <a:lnTo>
                        <a:pt x="269" y="129"/>
                      </a:lnTo>
                      <a:lnTo>
                        <a:pt x="269" y="129"/>
                      </a:lnTo>
                      <a:lnTo>
                        <a:pt x="269" y="130"/>
                      </a:lnTo>
                      <a:lnTo>
                        <a:pt x="269" y="130"/>
                      </a:lnTo>
                      <a:lnTo>
                        <a:pt x="266" y="139"/>
                      </a:lnTo>
                      <a:lnTo>
                        <a:pt x="265" y="154"/>
                      </a:lnTo>
                      <a:lnTo>
                        <a:pt x="265" y="154"/>
                      </a:lnTo>
                      <a:lnTo>
                        <a:pt x="265" y="158"/>
                      </a:lnTo>
                      <a:lnTo>
                        <a:pt x="266" y="162"/>
                      </a:lnTo>
                      <a:lnTo>
                        <a:pt x="266" y="162"/>
                      </a:lnTo>
                      <a:lnTo>
                        <a:pt x="270" y="167"/>
                      </a:lnTo>
                      <a:lnTo>
                        <a:pt x="273" y="169"/>
                      </a:lnTo>
                      <a:lnTo>
                        <a:pt x="279" y="174"/>
                      </a:lnTo>
                      <a:lnTo>
                        <a:pt x="279" y="174"/>
                      </a:lnTo>
                      <a:lnTo>
                        <a:pt x="281" y="175"/>
                      </a:lnTo>
                      <a:lnTo>
                        <a:pt x="281" y="177"/>
                      </a:lnTo>
                      <a:lnTo>
                        <a:pt x="281" y="177"/>
                      </a:lnTo>
                      <a:lnTo>
                        <a:pt x="279" y="181"/>
                      </a:lnTo>
                      <a:lnTo>
                        <a:pt x="276" y="185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4"/>
                      </a:lnTo>
                      <a:lnTo>
                        <a:pt x="270" y="197"/>
                      </a:lnTo>
                      <a:lnTo>
                        <a:pt x="272" y="201"/>
                      </a:lnTo>
                      <a:lnTo>
                        <a:pt x="276" y="209"/>
                      </a:lnTo>
                      <a:lnTo>
                        <a:pt x="276" y="209"/>
                      </a:lnTo>
                      <a:lnTo>
                        <a:pt x="276" y="210"/>
                      </a:lnTo>
                      <a:lnTo>
                        <a:pt x="276" y="210"/>
                      </a:lnTo>
                      <a:lnTo>
                        <a:pt x="281" y="216"/>
                      </a:lnTo>
                      <a:lnTo>
                        <a:pt x="291" y="223"/>
                      </a:lnTo>
                      <a:lnTo>
                        <a:pt x="291" y="223"/>
                      </a:lnTo>
                      <a:lnTo>
                        <a:pt x="294" y="227"/>
                      </a:lnTo>
                      <a:lnTo>
                        <a:pt x="295" y="230"/>
                      </a:lnTo>
                      <a:lnTo>
                        <a:pt x="297" y="238"/>
                      </a:lnTo>
                      <a:lnTo>
                        <a:pt x="297" y="238"/>
                      </a:lnTo>
                      <a:lnTo>
                        <a:pt x="298" y="242"/>
                      </a:lnTo>
                      <a:lnTo>
                        <a:pt x="301" y="245"/>
                      </a:lnTo>
                      <a:lnTo>
                        <a:pt x="302" y="248"/>
                      </a:lnTo>
                      <a:lnTo>
                        <a:pt x="304" y="249"/>
                      </a:lnTo>
                      <a:lnTo>
                        <a:pt x="304" y="249"/>
                      </a:lnTo>
                      <a:lnTo>
                        <a:pt x="304" y="251"/>
                      </a:lnTo>
                      <a:lnTo>
                        <a:pt x="304" y="251"/>
                      </a:lnTo>
                      <a:lnTo>
                        <a:pt x="304" y="251"/>
                      </a:lnTo>
                      <a:lnTo>
                        <a:pt x="304" y="251"/>
                      </a:lnTo>
                      <a:lnTo>
                        <a:pt x="304" y="251"/>
                      </a:lnTo>
                      <a:lnTo>
                        <a:pt x="304" y="251"/>
                      </a:lnTo>
                      <a:lnTo>
                        <a:pt x="304" y="251"/>
                      </a:lnTo>
                      <a:lnTo>
                        <a:pt x="304" y="251"/>
                      </a:lnTo>
                      <a:lnTo>
                        <a:pt x="304" y="251"/>
                      </a:lnTo>
                      <a:lnTo>
                        <a:pt x="301" y="252"/>
                      </a:lnTo>
                      <a:lnTo>
                        <a:pt x="301" y="252"/>
                      </a:lnTo>
                      <a:lnTo>
                        <a:pt x="299" y="252"/>
                      </a:lnTo>
                      <a:lnTo>
                        <a:pt x="299" y="252"/>
                      </a:lnTo>
                      <a:lnTo>
                        <a:pt x="298" y="252"/>
                      </a:lnTo>
                      <a:lnTo>
                        <a:pt x="298" y="252"/>
                      </a:lnTo>
                      <a:lnTo>
                        <a:pt x="298" y="252"/>
                      </a:lnTo>
                      <a:lnTo>
                        <a:pt x="298" y="252"/>
                      </a:lnTo>
                      <a:lnTo>
                        <a:pt x="298" y="252"/>
                      </a:lnTo>
                      <a:lnTo>
                        <a:pt x="298" y="252"/>
                      </a:lnTo>
                      <a:lnTo>
                        <a:pt x="291" y="252"/>
                      </a:lnTo>
                      <a:lnTo>
                        <a:pt x="291" y="252"/>
                      </a:lnTo>
                      <a:lnTo>
                        <a:pt x="291" y="252"/>
                      </a:lnTo>
                      <a:lnTo>
                        <a:pt x="291" y="252"/>
                      </a:lnTo>
                      <a:lnTo>
                        <a:pt x="291" y="252"/>
                      </a:lnTo>
                      <a:lnTo>
                        <a:pt x="291" y="252"/>
                      </a:lnTo>
                      <a:lnTo>
                        <a:pt x="291" y="252"/>
                      </a:lnTo>
                      <a:lnTo>
                        <a:pt x="291" y="252"/>
                      </a:lnTo>
                      <a:lnTo>
                        <a:pt x="291" y="254"/>
                      </a:lnTo>
                      <a:lnTo>
                        <a:pt x="291" y="254"/>
                      </a:lnTo>
                      <a:lnTo>
                        <a:pt x="286" y="256"/>
                      </a:lnTo>
                      <a:lnTo>
                        <a:pt x="284" y="262"/>
                      </a:lnTo>
                      <a:lnTo>
                        <a:pt x="279" y="27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19" name="Freeform 270"/>
                <p:cNvSpPr>
                  <a:spLocks noEditPoints="1"/>
                </p:cNvSpPr>
                <p:nvPr/>
              </p:nvSpPr>
              <p:spPr bwMode="auto">
                <a:xfrm>
                  <a:off x="5315923" y="2674119"/>
                  <a:ext cx="70237" cy="48474"/>
                </a:xfrm>
                <a:custGeom>
                  <a:avLst/>
                  <a:gdLst>
                    <a:gd name="T0" fmla="*/ 3 w 71"/>
                    <a:gd name="T1" fmla="*/ 0 h 49"/>
                    <a:gd name="T2" fmla="*/ 3 w 71"/>
                    <a:gd name="T3" fmla="*/ 0 h 49"/>
                    <a:gd name="T4" fmla="*/ 3 w 71"/>
                    <a:gd name="T5" fmla="*/ 0 h 49"/>
                    <a:gd name="T6" fmla="*/ 0 w 71"/>
                    <a:gd name="T7" fmla="*/ 0 h 49"/>
                    <a:gd name="T8" fmla="*/ 0 w 71"/>
                    <a:gd name="T9" fmla="*/ 0 h 49"/>
                    <a:gd name="T10" fmla="*/ 3 w 71"/>
                    <a:gd name="T11" fmla="*/ 0 h 49"/>
                    <a:gd name="T12" fmla="*/ 3 w 71"/>
                    <a:gd name="T13" fmla="*/ 0 h 49"/>
                    <a:gd name="T14" fmla="*/ 0 w 71"/>
                    <a:gd name="T15" fmla="*/ 0 h 49"/>
                    <a:gd name="T16" fmla="*/ 0 w 71"/>
                    <a:gd name="T17" fmla="*/ 0 h 49"/>
                    <a:gd name="T18" fmla="*/ 0 w 71"/>
                    <a:gd name="T19" fmla="*/ 0 h 49"/>
                    <a:gd name="T20" fmla="*/ 0 w 71"/>
                    <a:gd name="T21" fmla="*/ 0 h 49"/>
                    <a:gd name="T22" fmla="*/ 0 w 71"/>
                    <a:gd name="T23" fmla="*/ 0 h 49"/>
                    <a:gd name="T24" fmla="*/ 0 w 71"/>
                    <a:gd name="T25" fmla="*/ 0 h 49"/>
                    <a:gd name="T26" fmla="*/ 0 w 71"/>
                    <a:gd name="T27" fmla="*/ 0 h 49"/>
                    <a:gd name="T28" fmla="*/ 0 w 71"/>
                    <a:gd name="T29" fmla="*/ 0 h 49"/>
                    <a:gd name="T30" fmla="*/ 0 w 71"/>
                    <a:gd name="T31" fmla="*/ 0 h 49"/>
                    <a:gd name="T32" fmla="*/ 70 w 71"/>
                    <a:gd name="T33" fmla="*/ 35 h 49"/>
                    <a:gd name="T34" fmla="*/ 70 w 71"/>
                    <a:gd name="T35" fmla="*/ 35 h 49"/>
                    <a:gd name="T36" fmla="*/ 70 w 71"/>
                    <a:gd name="T37" fmla="*/ 35 h 49"/>
                    <a:gd name="T38" fmla="*/ 70 w 71"/>
                    <a:gd name="T39" fmla="*/ 35 h 49"/>
                    <a:gd name="T40" fmla="*/ 70 w 71"/>
                    <a:gd name="T41" fmla="*/ 35 h 49"/>
                    <a:gd name="T42" fmla="*/ 70 w 71"/>
                    <a:gd name="T43" fmla="*/ 35 h 49"/>
                    <a:gd name="T44" fmla="*/ 70 w 71"/>
                    <a:gd name="T45" fmla="*/ 35 h 49"/>
                    <a:gd name="T46" fmla="*/ 70 w 71"/>
                    <a:gd name="T47" fmla="*/ 35 h 49"/>
                    <a:gd name="T48" fmla="*/ 70 w 71"/>
                    <a:gd name="T49" fmla="*/ 35 h 49"/>
                    <a:gd name="T50" fmla="*/ 70 w 71"/>
                    <a:gd name="T51" fmla="*/ 35 h 49"/>
                    <a:gd name="T52" fmla="*/ 70 w 71"/>
                    <a:gd name="T53" fmla="*/ 35 h 49"/>
                    <a:gd name="T54" fmla="*/ 70 w 71"/>
                    <a:gd name="T55" fmla="*/ 35 h 49"/>
                    <a:gd name="T56" fmla="*/ 70 w 71"/>
                    <a:gd name="T57" fmla="*/ 35 h 49"/>
                    <a:gd name="T58" fmla="*/ 70 w 71"/>
                    <a:gd name="T59" fmla="*/ 35 h 49"/>
                    <a:gd name="T60" fmla="*/ 70 w 71"/>
                    <a:gd name="T61" fmla="*/ 35 h 49"/>
                    <a:gd name="T62" fmla="*/ 70 w 71"/>
                    <a:gd name="T63" fmla="*/ 35 h 49"/>
                    <a:gd name="T64" fmla="*/ 70 w 71"/>
                    <a:gd name="T65" fmla="*/ 35 h 49"/>
                    <a:gd name="T66" fmla="*/ 70 w 71"/>
                    <a:gd name="T67" fmla="*/ 35 h 49"/>
                    <a:gd name="T68" fmla="*/ 70 w 71"/>
                    <a:gd name="T69" fmla="*/ 35 h 49"/>
                    <a:gd name="T70" fmla="*/ 70 w 71"/>
                    <a:gd name="T71" fmla="*/ 35 h 49"/>
                    <a:gd name="T72" fmla="*/ 70 w 71"/>
                    <a:gd name="T73" fmla="*/ 35 h 49"/>
                    <a:gd name="T74" fmla="*/ 70 w 71"/>
                    <a:gd name="T75" fmla="*/ 35 h 49"/>
                    <a:gd name="T76" fmla="*/ 70 w 71"/>
                    <a:gd name="T77" fmla="*/ 35 h 49"/>
                    <a:gd name="T78" fmla="*/ 70 w 71"/>
                    <a:gd name="T79" fmla="*/ 35 h 49"/>
                    <a:gd name="T80" fmla="*/ 70 w 71"/>
                    <a:gd name="T81" fmla="*/ 35 h 49"/>
                    <a:gd name="T82" fmla="*/ 70 w 71"/>
                    <a:gd name="T83" fmla="*/ 35 h 49"/>
                    <a:gd name="T84" fmla="*/ 70 w 71"/>
                    <a:gd name="T85" fmla="*/ 35 h 49"/>
                    <a:gd name="T86" fmla="*/ 71 w 71"/>
                    <a:gd name="T87" fmla="*/ 49 h 49"/>
                    <a:gd name="T88" fmla="*/ 71 w 71"/>
                    <a:gd name="T89" fmla="*/ 49 h 49"/>
                    <a:gd name="T90" fmla="*/ 71 w 71"/>
                    <a:gd name="T91" fmla="*/ 49 h 49"/>
                    <a:gd name="T92" fmla="*/ 71 w 71"/>
                    <a:gd name="T93" fmla="*/ 49 h 49"/>
                    <a:gd name="T94" fmla="*/ 70 w 71"/>
                    <a:gd name="T95" fmla="*/ 35 h 49"/>
                    <a:gd name="T96" fmla="*/ 70 w 71"/>
                    <a:gd name="T97" fmla="*/ 35 h 49"/>
                    <a:gd name="T98" fmla="*/ 71 w 71"/>
                    <a:gd name="T99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71" h="49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3" y="0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  <a:moveTo>
                        <a:pt x="70" y="35"/>
                      </a:moveTo>
                      <a:lnTo>
                        <a:pt x="70" y="35"/>
                      </a:lnTo>
                      <a:lnTo>
                        <a:pt x="70" y="35"/>
                      </a:lnTo>
                      <a:lnTo>
                        <a:pt x="70" y="35"/>
                      </a:lnTo>
                      <a:lnTo>
                        <a:pt x="70" y="35"/>
                      </a:lnTo>
                      <a:close/>
                      <a:moveTo>
                        <a:pt x="70" y="35"/>
                      </a:moveTo>
                      <a:lnTo>
                        <a:pt x="70" y="35"/>
                      </a:lnTo>
                      <a:lnTo>
                        <a:pt x="70" y="35"/>
                      </a:lnTo>
                      <a:close/>
                      <a:moveTo>
                        <a:pt x="70" y="35"/>
                      </a:moveTo>
                      <a:lnTo>
                        <a:pt x="70" y="35"/>
                      </a:lnTo>
                      <a:lnTo>
                        <a:pt x="70" y="35"/>
                      </a:lnTo>
                      <a:close/>
                      <a:moveTo>
                        <a:pt x="70" y="35"/>
                      </a:moveTo>
                      <a:lnTo>
                        <a:pt x="70" y="35"/>
                      </a:lnTo>
                      <a:lnTo>
                        <a:pt x="70" y="35"/>
                      </a:lnTo>
                      <a:close/>
                      <a:moveTo>
                        <a:pt x="70" y="35"/>
                      </a:moveTo>
                      <a:lnTo>
                        <a:pt x="70" y="35"/>
                      </a:lnTo>
                      <a:lnTo>
                        <a:pt x="70" y="35"/>
                      </a:lnTo>
                      <a:close/>
                      <a:moveTo>
                        <a:pt x="70" y="35"/>
                      </a:moveTo>
                      <a:lnTo>
                        <a:pt x="70" y="35"/>
                      </a:lnTo>
                      <a:lnTo>
                        <a:pt x="70" y="35"/>
                      </a:lnTo>
                      <a:lnTo>
                        <a:pt x="70" y="35"/>
                      </a:lnTo>
                      <a:lnTo>
                        <a:pt x="70" y="35"/>
                      </a:lnTo>
                      <a:close/>
                      <a:moveTo>
                        <a:pt x="70" y="35"/>
                      </a:moveTo>
                      <a:lnTo>
                        <a:pt x="70" y="35"/>
                      </a:lnTo>
                      <a:lnTo>
                        <a:pt x="70" y="35"/>
                      </a:lnTo>
                      <a:lnTo>
                        <a:pt x="70" y="35"/>
                      </a:lnTo>
                      <a:lnTo>
                        <a:pt x="70" y="35"/>
                      </a:lnTo>
                      <a:close/>
                      <a:moveTo>
                        <a:pt x="71" y="49"/>
                      </a:moveTo>
                      <a:lnTo>
                        <a:pt x="71" y="49"/>
                      </a:lnTo>
                      <a:lnTo>
                        <a:pt x="71" y="49"/>
                      </a:lnTo>
                      <a:lnTo>
                        <a:pt x="71" y="49"/>
                      </a:lnTo>
                      <a:lnTo>
                        <a:pt x="70" y="35"/>
                      </a:lnTo>
                      <a:lnTo>
                        <a:pt x="70" y="35"/>
                      </a:lnTo>
                      <a:lnTo>
                        <a:pt x="71" y="4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20" name="Freeform 271"/>
                <p:cNvSpPr>
                  <a:spLocks/>
                </p:cNvSpPr>
                <p:nvPr/>
              </p:nvSpPr>
              <p:spPr bwMode="auto">
                <a:xfrm>
                  <a:off x="5318891" y="267411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21" name="Rectangle 272"/>
                <p:cNvSpPr>
                  <a:spLocks noChangeArrowheads="1"/>
                </p:cNvSpPr>
                <p:nvPr/>
              </p:nvSpPr>
              <p:spPr bwMode="auto">
                <a:xfrm>
                  <a:off x="5315923" y="2674119"/>
                  <a:ext cx="2968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22" name="Freeform 273"/>
                <p:cNvSpPr>
                  <a:spLocks/>
                </p:cNvSpPr>
                <p:nvPr/>
              </p:nvSpPr>
              <p:spPr bwMode="auto">
                <a:xfrm>
                  <a:off x="5315923" y="267411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23" name="Rectangle 274"/>
                <p:cNvSpPr>
                  <a:spLocks noChangeArrowheads="1"/>
                </p:cNvSpPr>
                <p:nvPr/>
              </p:nvSpPr>
              <p:spPr bwMode="auto">
                <a:xfrm>
                  <a:off x="5315923" y="2674119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24" name="Rectangle 275"/>
                <p:cNvSpPr>
                  <a:spLocks noChangeArrowheads="1"/>
                </p:cNvSpPr>
                <p:nvPr/>
              </p:nvSpPr>
              <p:spPr bwMode="auto">
                <a:xfrm>
                  <a:off x="5385171" y="2708743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25" name="Freeform 276"/>
                <p:cNvSpPr>
                  <a:spLocks/>
                </p:cNvSpPr>
                <p:nvPr/>
              </p:nvSpPr>
              <p:spPr bwMode="auto">
                <a:xfrm>
                  <a:off x="5385171" y="270874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26" name="Freeform 277"/>
                <p:cNvSpPr>
                  <a:spLocks/>
                </p:cNvSpPr>
                <p:nvPr/>
              </p:nvSpPr>
              <p:spPr bwMode="auto">
                <a:xfrm>
                  <a:off x="5385171" y="270874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27" name="Freeform 278"/>
                <p:cNvSpPr>
                  <a:spLocks/>
                </p:cNvSpPr>
                <p:nvPr/>
              </p:nvSpPr>
              <p:spPr bwMode="auto">
                <a:xfrm>
                  <a:off x="5385171" y="270874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28" name="Freeform 279"/>
                <p:cNvSpPr>
                  <a:spLocks/>
                </p:cNvSpPr>
                <p:nvPr/>
              </p:nvSpPr>
              <p:spPr bwMode="auto">
                <a:xfrm>
                  <a:off x="5385171" y="270874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29" name="Rectangle 280"/>
                <p:cNvSpPr>
                  <a:spLocks noChangeArrowheads="1"/>
                </p:cNvSpPr>
                <p:nvPr/>
              </p:nvSpPr>
              <p:spPr bwMode="auto">
                <a:xfrm>
                  <a:off x="5385171" y="2708743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30" name="Rectangle 281"/>
                <p:cNvSpPr>
                  <a:spLocks noChangeArrowheads="1"/>
                </p:cNvSpPr>
                <p:nvPr/>
              </p:nvSpPr>
              <p:spPr bwMode="auto">
                <a:xfrm>
                  <a:off x="5385171" y="2708743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31" name="Freeform 282"/>
                <p:cNvSpPr>
                  <a:spLocks/>
                </p:cNvSpPr>
                <p:nvPr/>
              </p:nvSpPr>
              <p:spPr bwMode="auto">
                <a:xfrm>
                  <a:off x="5385171" y="2708743"/>
                  <a:ext cx="989" cy="13850"/>
                </a:xfrm>
                <a:custGeom>
                  <a:avLst/>
                  <a:gdLst>
                    <a:gd name="T0" fmla="*/ 1 w 1"/>
                    <a:gd name="T1" fmla="*/ 14 h 14"/>
                    <a:gd name="T2" fmla="*/ 1 w 1"/>
                    <a:gd name="T3" fmla="*/ 14 h 14"/>
                    <a:gd name="T4" fmla="*/ 1 w 1"/>
                    <a:gd name="T5" fmla="*/ 14 h 14"/>
                    <a:gd name="T6" fmla="*/ 1 w 1"/>
                    <a:gd name="T7" fmla="*/ 14 h 14"/>
                    <a:gd name="T8" fmla="*/ 0 w 1"/>
                    <a:gd name="T9" fmla="*/ 0 h 14"/>
                    <a:gd name="T10" fmla="*/ 0 w 1"/>
                    <a:gd name="T11" fmla="*/ 0 h 14"/>
                    <a:gd name="T12" fmla="*/ 1 w 1"/>
                    <a:gd name="T13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" h="14">
                      <a:moveTo>
                        <a:pt x="1" y="14"/>
                      </a:moveTo>
                      <a:lnTo>
                        <a:pt x="1" y="14"/>
                      </a:lnTo>
                      <a:lnTo>
                        <a:pt x="1" y="14"/>
                      </a:lnTo>
                      <a:lnTo>
                        <a:pt x="1" y="1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1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83" name="Freeform 334"/>
                <p:cNvSpPr>
                  <a:spLocks/>
                </p:cNvSpPr>
                <p:nvPr/>
              </p:nvSpPr>
              <p:spPr bwMode="auto">
                <a:xfrm>
                  <a:off x="4605635" y="3417053"/>
                  <a:ext cx="190927" cy="195873"/>
                </a:xfrm>
                <a:custGeom>
                  <a:avLst/>
                  <a:gdLst>
                    <a:gd name="T0" fmla="*/ 38 w 193"/>
                    <a:gd name="T1" fmla="*/ 188 h 198"/>
                    <a:gd name="T2" fmla="*/ 45 w 193"/>
                    <a:gd name="T3" fmla="*/ 185 h 198"/>
                    <a:gd name="T4" fmla="*/ 71 w 193"/>
                    <a:gd name="T5" fmla="*/ 186 h 198"/>
                    <a:gd name="T6" fmla="*/ 107 w 193"/>
                    <a:gd name="T7" fmla="*/ 192 h 198"/>
                    <a:gd name="T8" fmla="*/ 126 w 193"/>
                    <a:gd name="T9" fmla="*/ 198 h 198"/>
                    <a:gd name="T10" fmla="*/ 162 w 193"/>
                    <a:gd name="T11" fmla="*/ 195 h 198"/>
                    <a:gd name="T12" fmla="*/ 183 w 193"/>
                    <a:gd name="T13" fmla="*/ 189 h 198"/>
                    <a:gd name="T14" fmla="*/ 167 w 193"/>
                    <a:gd name="T15" fmla="*/ 175 h 198"/>
                    <a:gd name="T16" fmla="*/ 154 w 193"/>
                    <a:gd name="T17" fmla="*/ 150 h 198"/>
                    <a:gd name="T18" fmla="*/ 151 w 193"/>
                    <a:gd name="T19" fmla="*/ 134 h 198"/>
                    <a:gd name="T20" fmla="*/ 149 w 193"/>
                    <a:gd name="T21" fmla="*/ 118 h 198"/>
                    <a:gd name="T22" fmla="*/ 158 w 193"/>
                    <a:gd name="T23" fmla="*/ 110 h 198"/>
                    <a:gd name="T24" fmla="*/ 193 w 193"/>
                    <a:gd name="T25" fmla="*/ 107 h 198"/>
                    <a:gd name="T26" fmla="*/ 190 w 193"/>
                    <a:gd name="T27" fmla="*/ 86 h 198"/>
                    <a:gd name="T28" fmla="*/ 169 w 193"/>
                    <a:gd name="T29" fmla="*/ 86 h 198"/>
                    <a:gd name="T30" fmla="*/ 161 w 193"/>
                    <a:gd name="T31" fmla="*/ 85 h 198"/>
                    <a:gd name="T32" fmla="*/ 165 w 193"/>
                    <a:gd name="T33" fmla="*/ 79 h 198"/>
                    <a:gd name="T34" fmla="*/ 169 w 193"/>
                    <a:gd name="T35" fmla="*/ 73 h 198"/>
                    <a:gd name="T36" fmla="*/ 158 w 193"/>
                    <a:gd name="T37" fmla="*/ 59 h 198"/>
                    <a:gd name="T38" fmla="*/ 156 w 193"/>
                    <a:gd name="T39" fmla="*/ 55 h 198"/>
                    <a:gd name="T40" fmla="*/ 159 w 193"/>
                    <a:gd name="T41" fmla="*/ 29 h 198"/>
                    <a:gd name="T42" fmla="*/ 149 w 193"/>
                    <a:gd name="T43" fmla="*/ 30 h 198"/>
                    <a:gd name="T44" fmla="*/ 141 w 193"/>
                    <a:gd name="T45" fmla="*/ 29 h 198"/>
                    <a:gd name="T46" fmla="*/ 122 w 193"/>
                    <a:gd name="T47" fmla="*/ 21 h 198"/>
                    <a:gd name="T48" fmla="*/ 117 w 193"/>
                    <a:gd name="T49" fmla="*/ 26 h 198"/>
                    <a:gd name="T50" fmla="*/ 114 w 193"/>
                    <a:gd name="T51" fmla="*/ 37 h 198"/>
                    <a:gd name="T52" fmla="*/ 100 w 193"/>
                    <a:gd name="T53" fmla="*/ 40 h 198"/>
                    <a:gd name="T54" fmla="*/ 87 w 193"/>
                    <a:gd name="T55" fmla="*/ 39 h 198"/>
                    <a:gd name="T56" fmla="*/ 78 w 193"/>
                    <a:gd name="T57" fmla="*/ 21 h 198"/>
                    <a:gd name="T58" fmla="*/ 26 w 193"/>
                    <a:gd name="T59" fmla="*/ 0 h 198"/>
                    <a:gd name="T60" fmla="*/ 22 w 193"/>
                    <a:gd name="T61" fmla="*/ 1 h 198"/>
                    <a:gd name="T62" fmla="*/ 17 w 193"/>
                    <a:gd name="T63" fmla="*/ 8 h 198"/>
                    <a:gd name="T64" fmla="*/ 3 w 193"/>
                    <a:gd name="T65" fmla="*/ 11 h 198"/>
                    <a:gd name="T66" fmla="*/ 10 w 193"/>
                    <a:gd name="T67" fmla="*/ 20 h 198"/>
                    <a:gd name="T68" fmla="*/ 16 w 193"/>
                    <a:gd name="T69" fmla="*/ 42 h 198"/>
                    <a:gd name="T70" fmla="*/ 19 w 193"/>
                    <a:gd name="T71" fmla="*/ 68 h 198"/>
                    <a:gd name="T72" fmla="*/ 23 w 193"/>
                    <a:gd name="T73" fmla="*/ 79 h 198"/>
                    <a:gd name="T74" fmla="*/ 28 w 193"/>
                    <a:gd name="T75" fmla="*/ 101 h 198"/>
                    <a:gd name="T76" fmla="*/ 22 w 193"/>
                    <a:gd name="T77" fmla="*/ 113 h 198"/>
                    <a:gd name="T78" fmla="*/ 12 w 193"/>
                    <a:gd name="T79" fmla="*/ 123 h 198"/>
                    <a:gd name="T80" fmla="*/ 6 w 193"/>
                    <a:gd name="T81" fmla="*/ 146 h 198"/>
                    <a:gd name="T82" fmla="*/ 0 w 193"/>
                    <a:gd name="T83" fmla="*/ 176 h 198"/>
                    <a:gd name="T84" fmla="*/ 12 w 193"/>
                    <a:gd name="T85" fmla="*/ 185 h 198"/>
                    <a:gd name="T86" fmla="*/ 25 w 193"/>
                    <a:gd name="T87" fmla="*/ 183 h 198"/>
                    <a:gd name="T88" fmla="*/ 33 w 193"/>
                    <a:gd name="T89" fmla="*/ 188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93" h="198">
                      <a:moveTo>
                        <a:pt x="33" y="188"/>
                      </a:moveTo>
                      <a:lnTo>
                        <a:pt x="33" y="188"/>
                      </a:lnTo>
                      <a:lnTo>
                        <a:pt x="38" y="188"/>
                      </a:lnTo>
                      <a:lnTo>
                        <a:pt x="41" y="188"/>
                      </a:lnTo>
                      <a:lnTo>
                        <a:pt x="45" y="185"/>
                      </a:lnTo>
                      <a:lnTo>
                        <a:pt x="45" y="185"/>
                      </a:lnTo>
                      <a:lnTo>
                        <a:pt x="48" y="183"/>
                      </a:lnTo>
                      <a:lnTo>
                        <a:pt x="54" y="185"/>
                      </a:lnTo>
                      <a:lnTo>
                        <a:pt x="71" y="186"/>
                      </a:lnTo>
                      <a:lnTo>
                        <a:pt x="100" y="191"/>
                      </a:lnTo>
                      <a:lnTo>
                        <a:pt x="100" y="191"/>
                      </a:lnTo>
                      <a:lnTo>
                        <a:pt x="107" y="192"/>
                      </a:lnTo>
                      <a:lnTo>
                        <a:pt x="120" y="197"/>
                      </a:lnTo>
                      <a:lnTo>
                        <a:pt x="120" y="197"/>
                      </a:lnTo>
                      <a:lnTo>
                        <a:pt x="126" y="198"/>
                      </a:lnTo>
                      <a:lnTo>
                        <a:pt x="130" y="198"/>
                      </a:lnTo>
                      <a:lnTo>
                        <a:pt x="142" y="198"/>
                      </a:lnTo>
                      <a:lnTo>
                        <a:pt x="162" y="195"/>
                      </a:lnTo>
                      <a:lnTo>
                        <a:pt x="162" y="195"/>
                      </a:lnTo>
                      <a:lnTo>
                        <a:pt x="171" y="192"/>
                      </a:lnTo>
                      <a:lnTo>
                        <a:pt x="183" y="189"/>
                      </a:lnTo>
                      <a:lnTo>
                        <a:pt x="183" y="189"/>
                      </a:lnTo>
                      <a:lnTo>
                        <a:pt x="172" y="182"/>
                      </a:lnTo>
                      <a:lnTo>
                        <a:pt x="167" y="175"/>
                      </a:lnTo>
                      <a:lnTo>
                        <a:pt x="167" y="175"/>
                      </a:lnTo>
                      <a:lnTo>
                        <a:pt x="158" y="159"/>
                      </a:lnTo>
                      <a:lnTo>
                        <a:pt x="154" y="150"/>
                      </a:lnTo>
                      <a:lnTo>
                        <a:pt x="152" y="141"/>
                      </a:lnTo>
                      <a:lnTo>
                        <a:pt x="152" y="141"/>
                      </a:lnTo>
                      <a:lnTo>
                        <a:pt x="151" y="134"/>
                      </a:lnTo>
                      <a:lnTo>
                        <a:pt x="149" y="127"/>
                      </a:lnTo>
                      <a:lnTo>
                        <a:pt x="149" y="120"/>
                      </a:lnTo>
                      <a:lnTo>
                        <a:pt x="149" y="118"/>
                      </a:lnTo>
                      <a:lnTo>
                        <a:pt x="151" y="115"/>
                      </a:lnTo>
                      <a:lnTo>
                        <a:pt x="151" y="115"/>
                      </a:lnTo>
                      <a:lnTo>
                        <a:pt x="158" y="110"/>
                      </a:lnTo>
                      <a:lnTo>
                        <a:pt x="162" y="108"/>
                      </a:lnTo>
                      <a:lnTo>
                        <a:pt x="167" y="107"/>
                      </a:lnTo>
                      <a:lnTo>
                        <a:pt x="193" y="107"/>
                      </a:lnTo>
                      <a:lnTo>
                        <a:pt x="193" y="86"/>
                      </a:lnTo>
                      <a:lnTo>
                        <a:pt x="193" y="86"/>
                      </a:lnTo>
                      <a:lnTo>
                        <a:pt x="190" y="86"/>
                      </a:lnTo>
                      <a:lnTo>
                        <a:pt x="184" y="86"/>
                      </a:lnTo>
                      <a:lnTo>
                        <a:pt x="184" y="86"/>
                      </a:lnTo>
                      <a:lnTo>
                        <a:pt x="169" y="86"/>
                      </a:lnTo>
                      <a:lnTo>
                        <a:pt x="162" y="86"/>
                      </a:lnTo>
                      <a:lnTo>
                        <a:pt x="161" y="85"/>
                      </a:lnTo>
                      <a:lnTo>
                        <a:pt x="161" y="85"/>
                      </a:lnTo>
                      <a:lnTo>
                        <a:pt x="161" y="85"/>
                      </a:lnTo>
                      <a:lnTo>
                        <a:pt x="162" y="82"/>
                      </a:lnTo>
                      <a:lnTo>
                        <a:pt x="165" y="79"/>
                      </a:lnTo>
                      <a:lnTo>
                        <a:pt x="168" y="76"/>
                      </a:lnTo>
                      <a:lnTo>
                        <a:pt x="169" y="73"/>
                      </a:lnTo>
                      <a:lnTo>
                        <a:pt x="169" y="73"/>
                      </a:lnTo>
                      <a:lnTo>
                        <a:pt x="168" y="69"/>
                      </a:lnTo>
                      <a:lnTo>
                        <a:pt x="162" y="65"/>
                      </a:lnTo>
                      <a:lnTo>
                        <a:pt x="158" y="59"/>
                      </a:lnTo>
                      <a:lnTo>
                        <a:pt x="156" y="56"/>
                      </a:lnTo>
                      <a:lnTo>
                        <a:pt x="156" y="55"/>
                      </a:lnTo>
                      <a:lnTo>
                        <a:pt x="156" y="55"/>
                      </a:lnTo>
                      <a:lnTo>
                        <a:pt x="159" y="39"/>
                      </a:lnTo>
                      <a:lnTo>
                        <a:pt x="159" y="31"/>
                      </a:lnTo>
                      <a:lnTo>
                        <a:pt x="159" y="29"/>
                      </a:lnTo>
                      <a:lnTo>
                        <a:pt x="158" y="29"/>
                      </a:lnTo>
                      <a:lnTo>
                        <a:pt x="158" y="29"/>
                      </a:lnTo>
                      <a:lnTo>
                        <a:pt x="149" y="30"/>
                      </a:lnTo>
                      <a:lnTo>
                        <a:pt x="143" y="30"/>
                      </a:lnTo>
                      <a:lnTo>
                        <a:pt x="141" y="29"/>
                      </a:lnTo>
                      <a:lnTo>
                        <a:pt x="141" y="29"/>
                      </a:lnTo>
                      <a:lnTo>
                        <a:pt x="136" y="26"/>
                      </a:lnTo>
                      <a:lnTo>
                        <a:pt x="129" y="23"/>
                      </a:lnTo>
                      <a:lnTo>
                        <a:pt x="122" y="21"/>
                      </a:lnTo>
                      <a:lnTo>
                        <a:pt x="117" y="23"/>
                      </a:lnTo>
                      <a:lnTo>
                        <a:pt x="117" y="23"/>
                      </a:lnTo>
                      <a:lnTo>
                        <a:pt x="117" y="26"/>
                      </a:lnTo>
                      <a:lnTo>
                        <a:pt x="116" y="30"/>
                      </a:lnTo>
                      <a:lnTo>
                        <a:pt x="116" y="36"/>
                      </a:lnTo>
                      <a:lnTo>
                        <a:pt x="114" y="37"/>
                      </a:lnTo>
                      <a:lnTo>
                        <a:pt x="113" y="37"/>
                      </a:lnTo>
                      <a:lnTo>
                        <a:pt x="113" y="37"/>
                      </a:lnTo>
                      <a:lnTo>
                        <a:pt x="100" y="40"/>
                      </a:lnTo>
                      <a:lnTo>
                        <a:pt x="93" y="42"/>
                      </a:lnTo>
                      <a:lnTo>
                        <a:pt x="90" y="40"/>
                      </a:lnTo>
                      <a:lnTo>
                        <a:pt x="87" y="39"/>
                      </a:lnTo>
                      <a:lnTo>
                        <a:pt x="87" y="39"/>
                      </a:lnTo>
                      <a:lnTo>
                        <a:pt x="81" y="29"/>
                      </a:lnTo>
                      <a:lnTo>
                        <a:pt x="78" y="21"/>
                      </a:lnTo>
                      <a:lnTo>
                        <a:pt x="77" y="15"/>
                      </a:lnTo>
                      <a:lnTo>
                        <a:pt x="77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3" y="1"/>
                      </a:lnTo>
                      <a:lnTo>
                        <a:pt x="22" y="1"/>
                      </a:lnTo>
                      <a:lnTo>
                        <a:pt x="20" y="4"/>
                      </a:lnTo>
                      <a:lnTo>
                        <a:pt x="19" y="7"/>
                      </a:lnTo>
                      <a:lnTo>
                        <a:pt x="17" y="8"/>
                      </a:lnTo>
                      <a:lnTo>
                        <a:pt x="17" y="8"/>
                      </a:lnTo>
                      <a:lnTo>
                        <a:pt x="3" y="11"/>
                      </a:lnTo>
                      <a:lnTo>
                        <a:pt x="3" y="11"/>
                      </a:lnTo>
                      <a:lnTo>
                        <a:pt x="7" y="17"/>
                      </a:lnTo>
                      <a:lnTo>
                        <a:pt x="10" y="20"/>
                      </a:lnTo>
                      <a:lnTo>
                        <a:pt x="10" y="20"/>
                      </a:lnTo>
                      <a:lnTo>
                        <a:pt x="12" y="29"/>
                      </a:lnTo>
                      <a:lnTo>
                        <a:pt x="16" y="42"/>
                      </a:lnTo>
                      <a:lnTo>
                        <a:pt x="16" y="42"/>
                      </a:lnTo>
                      <a:lnTo>
                        <a:pt x="17" y="49"/>
                      </a:lnTo>
                      <a:lnTo>
                        <a:pt x="17" y="57"/>
                      </a:lnTo>
                      <a:lnTo>
                        <a:pt x="19" y="68"/>
                      </a:lnTo>
                      <a:lnTo>
                        <a:pt x="20" y="73"/>
                      </a:lnTo>
                      <a:lnTo>
                        <a:pt x="20" y="73"/>
                      </a:lnTo>
                      <a:lnTo>
                        <a:pt x="23" y="79"/>
                      </a:lnTo>
                      <a:lnTo>
                        <a:pt x="25" y="88"/>
                      </a:lnTo>
                      <a:lnTo>
                        <a:pt x="28" y="101"/>
                      </a:lnTo>
                      <a:lnTo>
                        <a:pt x="28" y="101"/>
                      </a:lnTo>
                      <a:lnTo>
                        <a:pt x="26" y="108"/>
                      </a:lnTo>
                      <a:lnTo>
                        <a:pt x="22" y="113"/>
                      </a:lnTo>
                      <a:lnTo>
                        <a:pt x="22" y="113"/>
                      </a:lnTo>
                      <a:lnTo>
                        <a:pt x="16" y="118"/>
                      </a:lnTo>
                      <a:lnTo>
                        <a:pt x="13" y="120"/>
                      </a:lnTo>
                      <a:lnTo>
                        <a:pt x="12" y="123"/>
                      </a:lnTo>
                      <a:lnTo>
                        <a:pt x="12" y="123"/>
                      </a:lnTo>
                      <a:lnTo>
                        <a:pt x="9" y="131"/>
                      </a:lnTo>
                      <a:lnTo>
                        <a:pt x="6" y="146"/>
                      </a:lnTo>
                      <a:lnTo>
                        <a:pt x="1" y="169"/>
                      </a:lnTo>
                      <a:lnTo>
                        <a:pt x="1" y="169"/>
                      </a:lnTo>
                      <a:lnTo>
                        <a:pt x="0" y="176"/>
                      </a:lnTo>
                      <a:lnTo>
                        <a:pt x="0" y="191"/>
                      </a:lnTo>
                      <a:lnTo>
                        <a:pt x="0" y="191"/>
                      </a:lnTo>
                      <a:lnTo>
                        <a:pt x="12" y="185"/>
                      </a:lnTo>
                      <a:lnTo>
                        <a:pt x="20" y="182"/>
                      </a:lnTo>
                      <a:lnTo>
                        <a:pt x="20" y="182"/>
                      </a:lnTo>
                      <a:lnTo>
                        <a:pt x="25" y="183"/>
                      </a:lnTo>
                      <a:lnTo>
                        <a:pt x="26" y="185"/>
                      </a:lnTo>
                      <a:lnTo>
                        <a:pt x="29" y="186"/>
                      </a:lnTo>
                      <a:lnTo>
                        <a:pt x="33" y="18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84" name="Freeform 335"/>
                <p:cNvSpPr>
                  <a:spLocks/>
                </p:cNvSpPr>
                <p:nvPr/>
              </p:nvSpPr>
              <p:spPr bwMode="auto">
                <a:xfrm>
                  <a:off x="4605635" y="3417053"/>
                  <a:ext cx="190927" cy="195873"/>
                </a:xfrm>
                <a:custGeom>
                  <a:avLst/>
                  <a:gdLst>
                    <a:gd name="T0" fmla="*/ 38 w 193"/>
                    <a:gd name="T1" fmla="*/ 188 h 198"/>
                    <a:gd name="T2" fmla="*/ 45 w 193"/>
                    <a:gd name="T3" fmla="*/ 185 h 198"/>
                    <a:gd name="T4" fmla="*/ 71 w 193"/>
                    <a:gd name="T5" fmla="*/ 186 h 198"/>
                    <a:gd name="T6" fmla="*/ 107 w 193"/>
                    <a:gd name="T7" fmla="*/ 192 h 198"/>
                    <a:gd name="T8" fmla="*/ 126 w 193"/>
                    <a:gd name="T9" fmla="*/ 198 h 198"/>
                    <a:gd name="T10" fmla="*/ 162 w 193"/>
                    <a:gd name="T11" fmla="*/ 195 h 198"/>
                    <a:gd name="T12" fmla="*/ 183 w 193"/>
                    <a:gd name="T13" fmla="*/ 189 h 198"/>
                    <a:gd name="T14" fmla="*/ 167 w 193"/>
                    <a:gd name="T15" fmla="*/ 175 h 198"/>
                    <a:gd name="T16" fmla="*/ 154 w 193"/>
                    <a:gd name="T17" fmla="*/ 150 h 198"/>
                    <a:gd name="T18" fmla="*/ 151 w 193"/>
                    <a:gd name="T19" fmla="*/ 134 h 198"/>
                    <a:gd name="T20" fmla="*/ 149 w 193"/>
                    <a:gd name="T21" fmla="*/ 118 h 198"/>
                    <a:gd name="T22" fmla="*/ 158 w 193"/>
                    <a:gd name="T23" fmla="*/ 110 h 198"/>
                    <a:gd name="T24" fmla="*/ 193 w 193"/>
                    <a:gd name="T25" fmla="*/ 107 h 198"/>
                    <a:gd name="T26" fmla="*/ 190 w 193"/>
                    <a:gd name="T27" fmla="*/ 86 h 198"/>
                    <a:gd name="T28" fmla="*/ 169 w 193"/>
                    <a:gd name="T29" fmla="*/ 86 h 198"/>
                    <a:gd name="T30" fmla="*/ 161 w 193"/>
                    <a:gd name="T31" fmla="*/ 85 h 198"/>
                    <a:gd name="T32" fmla="*/ 165 w 193"/>
                    <a:gd name="T33" fmla="*/ 79 h 198"/>
                    <a:gd name="T34" fmla="*/ 169 w 193"/>
                    <a:gd name="T35" fmla="*/ 73 h 198"/>
                    <a:gd name="T36" fmla="*/ 158 w 193"/>
                    <a:gd name="T37" fmla="*/ 59 h 198"/>
                    <a:gd name="T38" fmla="*/ 156 w 193"/>
                    <a:gd name="T39" fmla="*/ 55 h 198"/>
                    <a:gd name="T40" fmla="*/ 159 w 193"/>
                    <a:gd name="T41" fmla="*/ 29 h 198"/>
                    <a:gd name="T42" fmla="*/ 149 w 193"/>
                    <a:gd name="T43" fmla="*/ 30 h 198"/>
                    <a:gd name="T44" fmla="*/ 141 w 193"/>
                    <a:gd name="T45" fmla="*/ 29 h 198"/>
                    <a:gd name="T46" fmla="*/ 122 w 193"/>
                    <a:gd name="T47" fmla="*/ 21 h 198"/>
                    <a:gd name="T48" fmla="*/ 117 w 193"/>
                    <a:gd name="T49" fmla="*/ 26 h 198"/>
                    <a:gd name="T50" fmla="*/ 114 w 193"/>
                    <a:gd name="T51" fmla="*/ 37 h 198"/>
                    <a:gd name="T52" fmla="*/ 100 w 193"/>
                    <a:gd name="T53" fmla="*/ 40 h 198"/>
                    <a:gd name="T54" fmla="*/ 87 w 193"/>
                    <a:gd name="T55" fmla="*/ 39 h 198"/>
                    <a:gd name="T56" fmla="*/ 78 w 193"/>
                    <a:gd name="T57" fmla="*/ 21 h 198"/>
                    <a:gd name="T58" fmla="*/ 26 w 193"/>
                    <a:gd name="T59" fmla="*/ 0 h 198"/>
                    <a:gd name="T60" fmla="*/ 22 w 193"/>
                    <a:gd name="T61" fmla="*/ 1 h 198"/>
                    <a:gd name="T62" fmla="*/ 17 w 193"/>
                    <a:gd name="T63" fmla="*/ 8 h 198"/>
                    <a:gd name="T64" fmla="*/ 3 w 193"/>
                    <a:gd name="T65" fmla="*/ 11 h 198"/>
                    <a:gd name="T66" fmla="*/ 10 w 193"/>
                    <a:gd name="T67" fmla="*/ 20 h 198"/>
                    <a:gd name="T68" fmla="*/ 16 w 193"/>
                    <a:gd name="T69" fmla="*/ 42 h 198"/>
                    <a:gd name="T70" fmla="*/ 19 w 193"/>
                    <a:gd name="T71" fmla="*/ 68 h 198"/>
                    <a:gd name="T72" fmla="*/ 23 w 193"/>
                    <a:gd name="T73" fmla="*/ 79 h 198"/>
                    <a:gd name="T74" fmla="*/ 28 w 193"/>
                    <a:gd name="T75" fmla="*/ 101 h 198"/>
                    <a:gd name="T76" fmla="*/ 22 w 193"/>
                    <a:gd name="T77" fmla="*/ 113 h 198"/>
                    <a:gd name="T78" fmla="*/ 12 w 193"/>
                    <a:gd name="T79" fmla="*/ 123 h 198"/>
                    <a:gd name="T80" fmla="*/ 6 w 193"/>
                    <a:gd name="T81" fmla="*/ 146 h 198"/>
                    <a:gd name="T82" fmla="*/ 0 w 193"/>
                    <a:gd name="T83" fmla="*/ 176 h 198"/>
                    <a:gd name="T84" fmla="*/ 12 w 193"/>
                    <a:gd name="T85" fmla="*/ 185 h 198"/>
                    <a:gd name="T86" fmla="*/ 25 w 193"/>
                    <a:gd name="T87" fmla="*/ 183 h 198"/>
                    <a:gd name="T88" fmla="*/ 33 w 193"/>
                    <a:gd name="T89" fmla="*/ 188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93" h="198">
                      <a:moveTo>
                        <a:pt x="33" y="188"/>
                      </a:moveTo>
                      <a:lnTo>
                        <a:pt x="33" y="188"/>
                      </a:lnTo>
                      <a:lnTo>
                        <a:pt x="38" y="188"/>
                      </a:lnTo>
                      <a:lnTo>
                        <a:pt x="41" y="188"/>
                      </a:lnTo>
                      <a:lnTo>
                        <a:pt x="45" y="185"/>
                      </a:lnTo>
                      <a:lnTo>
                        <a:pt x="45" y="185"/>
                      </a:lnTo>
                      <a:lnTo>
                        <a:pt x="48" y="183"/>
                      </a:lnTo>
                      <a:lnTo>
                        <a:pt x="54" y="185"/>
                      </a:lnTo>
                      <a:lnTo>
                        <a:pt x="71" y="186"/>
                      </a:lnTo>
                      <a:lnTo>
                        <a:pt x="100" y="191"/>
                      </a:lnTo>
                      <a:lnTo>
                        <a:pt x="100" y="191"/>
                      </a:lnTo>
                      <a:lnTo>
                        <a:pt x="107" y="192"/>
                      </a:lnTo>
                      <a:lnTo>
                        <a:pt x="120" y="197"/>
                      </a:lnTo>
                      <a:lnTo>
                        <a:pt x="120" y="197"/>
                      </a:lnTo>
                      <a:lnTo>
                        <a:pt x="126" y="198"/>
                      </a:lnTo>
                      <a:lnTo>
                        <a:pt x="130" y="198"/>
                      </a:lnTo>
                      <a:lnTo>
                        <a:pt x="142" y="198"/>
                      </a:lnTo>
                      <a:lnTo>
                        <a:pt x="162" y="195"/>
                      </a:lnTo>
                      <a:lnTo>
                        <a:pt x="162" y="195"/>
                      </a:lnTo>
                      <a:lnTo>
                        <a:pt x="171" y="192"/>
                      </a:lnTo>
                      <a:lnTo>
                        <a:pt x="183" y="189"/>
                      </a:lnTo>
                      <a:lnTo>
                        <a:pt x="183" y="189"/>
                      </a:lnTo>
                      <a:lnTo>
                        <a:pt x="172" y="182"/>
                      </a:lnTo>
                      <a:lnTo>
                        <a:pt x="167" y="175"/>
                      </a:lnTo>
                      <a:lnTo>
                        <a:pt x="167" y="175"/>
                      </a:lnTo>
                      <a:lnTo>
                        <a:pt x="158" y="159"/>
                      </a:lnTo>
                      <a:lnTo>
                        <a:pt x="154" y="150"/>
                      </a:lnTo>
                      <a:lnTo>
                        <a:pt x="152" y="141"/>
                      </a:lnTo>
                      <a:lnTo>
                        <a:pt x="152" y="141"/>
                      </a:lnTo>
                      <a:lnTo>
                        <a:pt x="151" y="134"/>
                      </a:lnTo>
                      <a:lnTo>
                        <a:pt x="149" y="127"/>
                      </a:lnTo>
                      <a:lnTo>
                        <a:pt x="149" y="120"/>
                      </a:lnTo>
                      <a:lnTo>
                        <a:pt x="149" y="118"/>
                      </a:lnTo>
                      <a:lnTo>
                        <a:pt x="151" y="115"/>
                      </a:lnTo>
                      <a:lnTo>
                        <a:pt x="151" y="115"/>
                      </a:lnTo>
                      <a:lnTo>
                        <a:pt x="158" y="110"/>
                      </a:lnTo>
                      <a:lnTo>
                        <a:pt x="162" y="108"/>
                      </a:lnTo>
                      <a:lnTo>
                        <a:pt x="167" y="107"/>
                      </a:lnTo>
                      <a:lnTo>
                        <a:pt x="193" y="107"/>
                      </a:lnTo>
                      <a:lnTo>
                        <a:pt x="193" y="86"/>
                      </a:lnTo>
                      <a:lnTo>
                        <a:pt x="193" y="86"/>
                      </a:lnTo>
                      <a:lnTo>
                        <a:pt x="190" y="86"/>
                      </a:lnTo>
                      <a:lnTo>
                        <a:pt x="184" y="86"/>
                      </a:lnTo>
                      <a:lnTo>
                        <a:pt x="184" y="86"/>
                      </a:lnTo>
                      <a:lnTo>
                        <a:pt x="169" y="86"/>
                      </a:lnTo>
                      <a:lnTo>
                        <a:pt x="162" y="86"/>
                      </a:lnTo>
                      <a:lnTo>
                        <a:pt x="161" y="85"/>
                      </a:lnTo>
                      <a:lnTo>
                        <a:pt x="161" y="85"/>
                      </a:lnTo>
                      <a:lnTo>
                        <a:pt x="161" y="85"/>
                      </a:lnTo>
                      <a:lnTo>
                        <a:pt x="162" y="82"/>
                      </a:lnTo>
                      <a:lnTo>
                        <a:pt x="165" y="79"/>
                      </a:lnTo>
                      <a:lnTo>
                        <a:pt x="168" y="76"/>
                      </a:lnTo>
                      <a:lnTo>
                        <a:pt x="169" y="73"/>
                      </a:lnTo>
                      <a:lnTo>
                        <a:pt x="169" y="73"/>
                      </a:lnTo>
                      <a:lnTo>
                        <a:pt x="168" y="69"/>
                      </a:lnTo>
                      <a:lnTo>
                        <a:pt x="162" y="65"/>
                      </a:lnTo>
                      <a:lnTo>
                        <a:pt x="158" y="59"/>
                      </a:lnTo>
                      <a:lnTo>
                        <a:pt x="156" y="56"/>
                      </a:lnTo>
                      <a:lnTo>
                        <a:pt x="156" y="55"/>
                      </a:lnTo>
                      <a:lnTo>
                        <a:pt x="156" y="55"/>
                      </a:lnTo>
                      <a:lnTo>
                        <a:pt x="159" y="39"/>
                      </a:lnTo>
                      <a:lnTo>
                        <a:pt x="159" y="31"/>
                      </a:lnTo>
                      <a:lnTo>
                        <a:pt x="159" y="29"/>
                      </a:lnTo>
                      <a:lnTo>
                        <a:pt x="158" y="29"/>
                      </a:lnTo>
                      <a:lnTo>
                        <a:pt x="158" y="29"/>
                      </a:lnTo>
                      <a:lnTo>
                        <a:pt x="149" y="30"/>
                      </a:lnTo>
                      <a:lnTo>
                        <a:pt x="143" y="30"/>
                      </a:lnTo>
                      <a:lnTo>
                        <a:pt x="141" y="29"/>
                      </a:lnTo>
                      <a:lnTo>
                        <a:pt x="141" y="29"/>
                      </a:lnTo>
                      <a:lnTo>
                        <a:pt x="136" y="26"/>
                      </a:lnTo>
                      <a:lnTo>
                        <a:pt x="129" y="23"/>
                      </a:lnTo>
                      <a:lnTo>
                        <a:pt x="122" y="21"/>
                      </a:lnTo>
                      <a:lnTo>
                        <a:pt x="117" y="23"/>
                      </a:lnTo>
                      <a:lnTo>
                        <a:pt x="117" y="23"/>
                      </a:lnTo>
                      <a:lnTo>
                        <a:pt x="117" y="26"/>
                      </a:lnTo>
                      <a:lnTo>
                        <a:pt x="116" y="30"/>
                      </a:lnTo>
                      <a:lnTo>
                        <a:pt x="116" y="36"/>
                      </a:lnTo>
                      <a:lnTo>
                        <a:pt x="114" y="37"/>
                      </a:lnTo>
                      <a:lnTo>
                        <a:pt x="113" y="37"/>
                      </a:lnTo>
                      <a:lnTo>
                        <a:pt x="113" y="37"/>
                      </a:lnTo>
                      <a:lnTo>
                        <a:pt x="100" y="40"/>
                      </a:lnTo>
                      <a:lnTo>
                        <a:pt x="93" y="42"/>
                      </a:lnTo>
                      <a:lnTo>
                        <a:pt x="90" y="40"/>
                      </a:lnTo>
                      <a:lnTo>
                        <a:pt x="87" y="39"/>
                      </a:lnTo>
                      <a:lnTo>
                        <a:pt x="87" y="39"/>
                      </a:lnTo>
                      <a:lnTo>
                        <a:pt x="81" y="29"/>
                      </a:lnTo>
                      <a:lnTo>
                        <a:pt x="78" y="21"/>
                      </a:lnTo>
                      <a:lnTo>
                        <a:pt x="77" y="15"/>
                      </a:lnTo>
                      <a:lnTo>
                        <a:pt x="77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3" y="1"/>
                      </a:lnTo>
                      <a:lnTo>
                        <a:pt x="22" y="1"/>
                      </a:lnTo>
                      <a:lnTo>
                        <a:pt x="20" y="4"/>
                      </a:lnTo>
                      <a:lnTo>
                        <a:pt x="19" y="7"/>
                      </a:lnTo>
                      <a:lnTo>
                        <a:pt x="17" y="8"/>
                      </a:lnTo>
                      <a:lnTo>
                        <a:pt x="17" y="8"/>
                      </a:lnTo>
                      <a:lnTo>
                        <a:pt x="3" y="11"/>
                      </a:lnTo>
                      <a:lnTo>
                        <a:pt x="3" y="11"/>
                      </a:lnTo>
                      <a:lnTo>
                        <a:pt x="7" y="17"/>
                      </a:lnTo>
                      <a:lnTo>
                        <a:pt x="10" y="20"/>
                      </a:lnTo>
                      <a:lnTo>
                        <a:pt x="10" y="20"/>
                      </a:lnTo>
                      <a:lnTo>
                        <a:pt x="12" y="29"/>
                      </a:lnTo>
                      <a:lnTo>
                        <a:pt x="16" y="42"/>
                      </a:lnTo>
                      <a:lnTo>
                        <a:pt x="16" y="42"/>
                      </a:lnTo>
                      <a:lnTo>
                        <a:pt x="17" y="49"/>
                      </a:lnTo>
                      <a:lnTo>
                        <a:pt x="17" y="57"/>
                      </a:lnTo>
                      <a:lnTo>
                        <a:pt x="19" y="68"/>
                      </a:lnTo>
                      <a:lnTo>
                        <a:pt x="20" y="73"/>
                      </a:lnTo>
                      <a:lnTo>
                        <a:pt x="20" y="73"/>
                      </a:lnTo>
                      <a:lnTo>
                        <a:pt x="23" y="79"/>
                      </a:lnTo>
                      <a:lnTo>
                        <a:pt x="25" y="88"/>
                      </a:lnTo>
                      <a:lnTo>
                        <a:pt x="28" y="101"/>
                      </a:lnTo>
                      <a:lnTo>
                        <a:pt x="28" y="101"/>
                      </a:lnTo>
                      <a:lnTo>
                        <a:pt x="26" y="108"/>
                      </a:lnTo>
                      <a:lnTo>
                        <a:pt x="22" y="113"/>
                      </a:lnTo>
                      <a:lnTo>
                        <a:pt x="22" y="113"/>
                      </a:lnTo>
                      <a:lnTo>
                        <a:pt x="16" y="118"/>
                      </a:lnTo>
                      <a:lnTo>
                        <a:pt x="13" y="120"/>
                      </a:lnTo>
                      <a:lnTo>
                        <a:pt x="12" y="123"/>
                      </a:lnTo>
                      <a:lnTo>
                        <a:pt x="12" y="123"/>
                      </a:lnTo>
                      <a:lnTo>
                        <a:pt x="9" y="131"/>
                      </a:lnTo>
                      <a:lnTo>
                        <a:pt x="6" y="146"/>
                      </a:lnTo>
                      <a:lnTo>
                        <a:pt x="1" y="169"/>
                      </a:lnTo>
                      <a:lnTo>
                        <a:pt x="1" y="169"/>
                      </a:lnTo>
                      <a:lnTo>
                        <a:pt x="0" y="176"/>
                      </a:lnTo>
                      <a:lnTo>
                        <a:pt x="0" y="191"/>
                      </a:lnTo>
                      <a:lnTo>
                        <a:pt x="0" y="191"/>
                      </a:lnTo>
                      <a:lnTo>
                        <a:pt x="12" y="185"/>
                      </a:lnTo>
                      <a:lnTo>
                        <a:pt x="20" y="182"/>
                      </a:lnTo>
                      <a:lnTo>
                        <a:pt x="20" y="182"/>
                      </a:lnTo>
                      <a:lnTo>
                        <a:pt x="25" y="183"/>
                      </a:lnTo>
                      <a:lnTo>
                        <a:pt x="26" y="185"/>
                      </a:lnTo>
                      <a:lnTo>
                        <a:pt x="29" y="186"/>
                      </a:lnTo>
                      <a:lnTo>
                        <a:pt x="33" y="18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85" name="Freeform 336"/>
                <p:cNvSpPr>
                  <a:spLocks/>
                </p:cNvSpPr>
                <p:nvPr/>
              </p:nvSpPr>
              <p:spPr bwMode="auto">
                <a:xfrm>
                  <a:off x="4605635" y="3597099"/>
                  <a:ext cx="188949" cy="207745"/>
                </a:xfrm>
                <a:custGeom>
                  <a:avLst/>
                  <a:gdLst>
                    <a:gd name="T0" fmla="*/ 110 w 191"/>
                    <a:gd name="T1" fmla="*/ 210 h 210"/>
                    <a:gd name="T2" fmla="*/ 117 w 191"/>
                    <a:gd name="T3" fmla="*/ 209 h 210"/>
                    <a:gd name="T4" fmla="*/ 129 w 191"/>
                    <a:gd name="T5" fmla="*/ 198 h 210"/>
                    <a:gd name="T6" fmla="*/ 130 w 191"/>
                    <a:gd name="T7" fmla="*/ 85 h 210"/>
                    <a:gd name="T8" fmla="*/ 148 w 191"/>
                    <a:gd name="T9" fmla="*/ 25 h 210"/>
                    <a:gd name="T10" fmla="*/ 178 w 191"/>
                    <a:gd name="T11" fmla="*/ 19 h 210"/>
                    <a:gd name="T12" fmla="*/ 184 w 191"/>
                    <a:gd name="T13" fmla="*/ 16 h 210"/>
                    <a:gd name="T14" fmla="*/ 191 w 191"/>
                    <a:gd name="T15" fmla="*/ 12 h 210"/>
                    <a:gd name="T16" fmla="*/ 183 w 191"/>
                    <a:gd name="T17" fmla="*/ 7 h 210"/>
                    <a:gd name="T18" fmla="*/ 162 w 191"/>
                    <a:gd name="T19" fmla="*/ 13 h 210"/>
                    <a:gd name="T20" fmla="*/ 142 w 191"/>
                    <a:gd name="T21" fmla="*/ 16 h 210"/>
                    <a:gd name="T22" fmla="*/ 126 w 191"/>
                    <a:gd name="T23" fmla="*/ 16 h 210"/>
                    <a:gd name="T24" fmla="*/ 120 w 191"/>
                    <a:gd name="T25" fmla="*/ 15 h 210"/>
                    <a:gd name="T26" fmla="*/ 100 w 191"/>
                    <a:gd name="T27" fmla="*/ 9 h 210"/>
                    <a:gd name="T28" fmla="*/ 71 w 191"/>
                    <a:gd name="T29" fmla="*/ 4 h 210"/>
                    <a:gd name="T30" fmla="*/ 48 w 191"/>
                    <a:gd name="T31" fmla="*/ 1 h 210"/>
                    <a:gd name="T32" fmla="*/ 45 w 191"/>
                    <a:gd name="T33" fmla="*/ 3 h 210"/>
                    <a:gd name="T34" fmla="*/ 38 w 191"/>
                    <a:gd name="T35" fmla="*/ 6 h 210"/>
                    <a:gd name="T36" fmla="*/ 33 w 191"/>
                    <a:gd name="T37" fmla="*/ 6 h 210"/>
                    <a:gd name="T38" fmla="*/ 26 w 191"/>
                    <a:gd name="T39" fmla="*/ 3 h 210"/>
                    <a:gd name="T40" fmla="*/ 20 w 191"/>
                    <a:gd name="T41" fmla="*/ 0 h 210"/>
                    <a:gd name="T42" fmla="*/ 12 w 191"/>
                    <a:gd name="T43" fmla="*/ 3 h 210"/>
                    <a:gd name="T44" fmla="*/ 0 w 191"/>
                    <a:gd name="T45" fmla="*/ 9 h 210"/>
                    <a:gd name="T46" fmla="*/ 4 w 191"/>
                    <a:gd name="T47" fmla="*/ 26 h 210"/>
                    <a:gd name="T48" fmla="*/ 15 w 191"/>
                    <a:gd name="T49" fmla="*/ 42 h 210"/>
                    <a:gd name="T50" fmla="*/ 22 w 191"/>
                    <a:gd name="T51" fmla="*/ 61 h 210"/>
                    <a:gd name="T52" fmla="*/ 25 w 191"/>
                    <a:gd name="T53" fmla="*/ 70 h 210"/>
                    <a:gd name="T54" fmla="*/ 39 w 191"/>
                    <a:gd name="T55" fmla="*/ 91 h 210"/>
                    <a:gd name="T56" fmla="*/ 41 w 191"/>
                    <a:gd name="T57" fmla="*/ 96 h 210"/>
                    <a:gd name="T58" fmla="*/ 43 w 191"/>
                    <a:gd name="T59" fmla="*/ 112 h 210"/>
                    <a:gd name="T60" fmla="*/ 45 w 191"/>
                    <a:gd name="T61" fmla="*/ 135 h 210"/>
                    <a:gd name="T62" fmla="*/ 49 w 191"/>
                    <a:gd name="T63" fmla="*/ 151 h 210"/>
                    <a:gd name="T64" fmla="*/ 51 w 191"/>
                    <a:gd name="T65" fmla="*/ 170 h 210"/>
                    <a:gd name="T66" fmla="*/ 52 w 191"/>
                    <a:gd name="T67" fmla="*/ 174 h 210"/>
                    <a:gd name="T68" fmla="*/ 58 w 191"/>
                    <a:gd name="T69" fmla="*/ 187 h 210"/>
                    <a:gd name="T70" fmla="*/ 72 w 191"/>
                    <a:gd name="T71" fmla="*/ 203 h 210"/>
                    <a:gd name="T72" fmla="*/ 78 w 191"/>
                    <a:gd name="T73" fmla="*/ 198 h 210"/>
                    <a:gd name="T74" fmla="*/ 84 w 191"/>
                    <a:gd name="T75" fmla="*/ 197 h 210"/>
                    <a:gd name="T76" fmla="*/ 97 w 191"/>
                    <a:gd name="T77" fmla="*/ 203 h 210"/>
                    <a:gd name="T78" fmla="*/ 110 w 191"/>
                    <a:gd name="T79" fmla="*/ 21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91" h="210">
                      <a:moveTo>
                        <a:pt x="110" y="210"/>
                      </a:moveTo>
                      <a:lnTo>
                        <a:pt x="110" y="210"/>
                      </a:lnTo>
                      <a:lnTo>
                        <a:pt x="113" y="210"/>
                      </a:lnTo>
                      <a:lnTo>
                        <a:pt x="117" y="209"/>
                      </a:lnTo>
                      <a:lnTo>
                        <a:pt x="123" y="204"/>
                      </a:lnTo>
                      <a:lnTo>
                        <a:pt x="129" y="198"/>
                      </a:lnTo>
                      <a:lnTo>
                        <a:pt x="130" y="194"/>
                      </a:lnTo>
                      <a:lnTo>
                        <a:pt x="130" y="85"/>
                      </a:lnTo>
                      <a:lnTo>
                        <a:pt x="148" y="85"/>
                      </a:lnTo>
                      <a:lnTo>
                        <a:pt x="148" y="25"/>
                      </a:lnTo>
                      <a:lnTo>
                        <a:pt x="148" y="25"/>
                      </a:lnTo>
                      <a:lnTo>
                        <a:pt x="178" y="19"/>
                      </a:lnTo>
                      <a:lnTo>
                        <a:pt x="178" y="19"/>
                      </a:lnTo>
                      <a:lnTo>
                        <a:pt x="184" y="16"/>
                      </a:lnTo>
                      <a:lnTo>
                        <a:pt x="191" y="12"/>
                      </a:lnTo>
                      <a:lnTo>
                        <a:pt x="191" y="12"/>
                      </a:lnTo>
                      <a:lnTo>
                        <a:pt x="183" y="7"/>
                      </a:lnTo>
                      <a:lnTo>
                        <a:pt x="183" y="7"/>
                      </a:lnTo>
                      <a:lnTo>
                        <a:pt x="171" y="10"/>
                      </a:lnTo>
                      <a:lnTo>
                        <a:pt x="162" y="13"/>
                      </a:lnTo>
                      <a:lnTo>
                        <a:pt x="162" y="13"/>
                      </a:lnTo>
                      <a:lnTo>
                        <a:pt x="142" y="16"/>
                      </a:lnTo>
                      <a:lnTo>
                        <a:pt x="130" y="16"/>
                      </a:lnTo>
                      <a:lnTo>
                        <a:pt x="126" y="16"/>
                      </a:lnTo>
                      <a:lnTo>
                        <a:pt x="120" y="15"/>
                      </a:lnTo>
                      <a:lnTo>
                        <a:pt x="120" y="15"/>
                      </a:lnTo>
                      <a:lnTo>
                        <a:pt x="107" y="10"/>
                      </a:lnTo>
                      <a:lnTo>
                        <a:pt x="100" y="9"/>
                      </a:lnTo>
                      <a:lnTo>
                        <a:pt x="100" y="9"/>
                      </a:lnTo>
                      <a:lnTo>
                        <a:pt x="71" y="4"/>
                      </a:lnTo>
                      <a:lnTo>
                        <a:pt x="54" y="3"/>
                      </a:lnTo>
                      <a:lnTo>
                        <a:pt x="48" y="1"/>
                      </a:lnTo>
                      <a:lnTo>
                        <a:pt x="45" y="3"/>
                      </a:lnTo>
                      <a:lnTo>
                        <a:pt x="45" y="3"/>
                      </a:lnTo>
                      <a:lnTo>
                        <a:pt x="41" y="6"/>
                      </a:lnTo>
                      <a:lnTo>
                        <a:pt x="38" y="6"/>
                      </a:lnTo>
                      <a:lnTo>
                        <a:pt x="33" y="6"/>
                      </a:lnTo>
                      <a:lnTo>
                        <a:pt x="33" y="6"/>
                      </a:lnTo>
                      <a:lnTo>
                        <a:pt x="29" y="4"/>
                      </a:lnTo>
                      <a:lnTo>
                        <a:pt x="26" y="3"/>
                      </a:lnTo>
                      <a:lnTo>
                        <a:pt x="25" y="1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12" y="3"/>
                      </a:lnTo>
                      <a:lnTo>
                        <a:pt x="0" y="9"/>
                      </a:lnTo>
                      <a:lnTo>
                        <a:pt x="0" y="9"/>
                      </a:lnTo>
                      <a:lnTo>
                        <a:pt x="1" y="19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15" y="42"/>
                      </a:lnTo>
                      <a:lnTo>
                        <a:pt x="20" y="52"/>
                      </a:lnTo>
                      <a:lnTo>
                        <a:pt x="22" y="61"/>
                      </a:lnTo>
                      <a:lnTo>
                        <a:pt x="22" y="61"/>
                      </a:lnTo>
                      <a:lnTo>
                        <a:pt x="25" y="70"/>
                      </a:lnTo>
                      <a:lnTo>
                        <a:pt x="29" y="77"/>
                      </a:lnTo>
                      <a:lnTo>
                        <a:pt x="39" y="91"/>
                      </a:lnTo>
                      <a:lnTo>
                        <a:pt x="39" y="91"/>
                      </a:lnTo>
                      <a:lnTo>
                        <a:pt x="41" y="96"/>
                      </a:lnTo>
                      <a:lnTo>
                        <a:pt x="42" y="100"/>
                      </a:lnTo>
                      <a:lnTo>
                        <a:pt x="43" y="112"/>
                      </a:lnTo>
                      <a:lnTo>
                        <a:pt x="43" y="125"/>
                      </a:lnTo>
                      <a:lnTo>
                        <a:pt x="45" y="135"/>
                      </a:lnTo>
                      <a:lnTo>
                        <a:pt x="45" y="135"/>
                      </a:lnTo>
                      <a:lnTo>
                        <a:pt x="49" y="151"/>
                      </a:lnTo>
                      <a:lnTo>
                        <a:pt x="51" y="159"/>
                      </a:lnTo>
                      <a:lnTo>
                        <a:pt x="51" y="170"/>
                      </a:lnTo>
                      <a:lnTo>
                        <a:pt x="51" y="170"/>
                      </a:lnTo>
                      <a:lnTo>
                        <a:pt x="52" y="174"/>
                      </a:lnTo>
                      <a:lnTo>
                        <a:pt x="54" y="178"/>
                      </a:lnTo>
                      <a:lnTo>
                        <a:pt x="58" y="187"/>
                      </a:lnTo>
                      <a:lnTo>
                        <a:pt x="65" y="196"/>
                      </a:lnTo>
                      <a:lnTo>
                        <a:pt x="72" y="203"/>
                      </a:lnTo>
                      <a:lnTo>
                        <a:pt x="72" y="203"/>
                      </a:lnTo>
                      <a:lnTo>
                        <a:pt x="78" y="198"/>
                      </a:lnTo>
                      <a:lnTo>
                        <a:pt x="84" y="197"/>
                      </a:lnTo>
                      <a:lnTo>
                        <a:pt x="84" y="197"/>
                      </a:lnTo>
                      <a:lnTo>
                        <a:pt x="90" y="198"/>
                      </a:lnTo>
                      <a:lnTo>
                        <a:pt x="97" y="203"/>
                      </a:lnTo>
                      <a:lnTo>
                        <a:pt x="104" y="207"/>
                      </a:lnTo>
                      <a:lnTo>
                        <a:pt x="110" y="21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86" name="Freeform 337"/>
                <p:cNvSpPr>
                  <a:spLocks/>
                </p:cNvSpPr>
                <p:nvPr/>
              </p:nvSpPr>
              <p:spPr bwMode="auto">
                <a:xfrm>
                  <a:off x="4605635" y="3597099"/>
                  <a:ext cx="188949" cy="207745"/>
                </a:xfrm>
                <a:custGeom>
                  <a:avLst/>
                  <a:gdLst>
                    <a:gd name="T0" fmla="*/ 110 w 191"/>
                    <a:gd name="T1" fmla="*/ 210 h 210"/>
                    <a:gd name="T2" fmla="*/ 117 w 191"/>
                    <a:gd name="T3" fmla="*/ 209 h 210"/>
                    <a:gd name="T4" fmla="*/ 129 w 191"/>
                    <a:gd name="T5" fmla="*/ 198 h 210"/>
                    <a:gd name="T6" fmla="*/ 130 w 191"/>
                    <a:gd name="T7" fmla="*/ 85 h 210"/>
                    <a:gd name="T8" fmla="*/ 148 w 191"/>
                    <a:gd name="T9" fmla="*/ 25 h 210"/>
                    <a:gd name="T10" fmla="*/ 178 w 191"/>
                    <a:gd name="T11" fmla="*/ 19 h 210"/>
                    <a:gd name="T12" fmla="*/ 184 w 191"/>
                    <a:gd name="T13" fmla="*/ 16 h 210"/>
                    <a:gd name="T14" fmla="*/ 191 w 191"/>
                    <a:gd name="T15" fmla="*/ 12 h 210"/>
                    <a:gd name="T16" fmla="*/ 183 w 191"/>
                    <a:gd name="T17" fmla="*/ 7 h 210"/>
                    <a:gd name="T18" fmla="*/ 162 w 191"/>
                    <a:gd name="T19" fmla="*/ 13 h 210"/>
                    <a:gd name="T20" fmla="*/ 142 w 191"/>
                    <a:gd name="T21" fmla="*/ 16 h 210"/>
                    <a:gd name="T22" fmla="*/ 126 w 191"/>
                    <a:gd name="T23" fmla="*/ 16 h 210"/>
                    <a:gd name="T24" fmla="*/ 120 w 191"/>
                    <a:gd name="T25" fmla="*/ 15 h 210"/>
                    <a:gd name="T26" fmla="*/ 100 w 191"/>
                    <a:gd name="T27" fmla="*/ 9 h 210"/>
                    <a:gd name="T28" fmla="*/ 71 w 191"/>
                    <a:gd name="T29" fmla="*/ 4 h 210"/>
                    <a:gd name="T30" fmla="*/ 48 w 191"/>
                    <a:gd name="T31" fmla="*/ 1 h 210"/>
                    <a:gd name="T32" fmla="*/ 45 w 191"/>
                    <a:gd name="T33" fmla="*/ 3 h 210"/>
                    <a:gd name="T34" fmla="*/ 38 w 191"/>
                    <a:gd name="T35" fmla="*/ 6 h 210"/>
                    <a:gd name="T36" fmla="*/ 33 w 191"/>
                    <a:gd name="T37" fmla="*/ 6 h 210"/>
                    <a:gd name="T38" fmla="*/ 26 w 191"/>
                    <a:gd name="T39" fmla="*/ 3 h 210"/>
                    <a:gd name="T40" fmla="*/ 20 w 191"/>
                    <a:gd name="T41" fmla="*/ 0 h 210"/>
                    <a:gd name="T42" fmla="*/ 12 w 191"/>
                    <a:gd name="T43" fmla="*/ 3 h 210"/>
                    <a:gd name="T44" fmla="*/ 0 w 191"/>
                    <a:gd name="T45" fmla="*/ 9 h 210"/>
                    <a:gd name="T46" fmla="*/ 4 w 191"/>
                    <a:gd name="T47" fmla="*/ 26 h 210"/>
                    <a:gd name="T48" fmla="*/ 15 w 191"/>
                    <a:gd name="T49" fmla="*/ 42 h 210"/>
                    <a:gd name="T50" fmla="*/ 22 w 191"/>
                    <a:gd name="T51" fmla="*/ 61 h 210"/>
                    <a:gd name="T52" fmla="*/ 25 w 191"/>
                    <a:gd name="T53" fmla="*/ 70 h 210"/>
                    <a:gd name="T54" fmla="*/ 39 w 191"/>
                    <a:gd name="T55" fmla="*/ 91 h 210"/>
                    <a:gd name="T56" fmla="*/ 41 w 191"/>
                    <a:gd name="T57" fmla="*/ 96 h 210"/>
                    <a:gd name="T58" fmla="*/ 43 w 191"/>
                    <a:gd name="T59" fmla="*/ 112 h 210"/>
                    <a:gd name="T60" fmla="*/ 45 w 191"/>
                    <a:gd name="T61" fmla="*/ 135 h 210"/>
                    <a:gd name="T62" fmla="*/ 49 w 191"/>
                    <a:gd name="T63" fmla="*/ 151 h 210"/>
                    <a:gd name="T64" fmla="*/ 51 w 191"/>
                    <a:gd name="T65" fmla="*/ 170 h 210"/>
                    <a:gd name="T66" fmla="*/ 52 w 191"/>
                    <a:gd name="T67" fmla="*/ 174 h 210"/>
                    <a:gd name="T68" fmla="*/ 58 w 191"/>
                    <a:gd name="T69" fmla="*/ 187 h 210"/>
                    <a:gd name="T70" fmla="*/ 72 w 191"/>
                    <a:gd name="T71" fmla="*/ 203 h 210"/>
                    <a:gd name="T72" fmla="*/ 78 w 191"/>
                    <a:gd name="T73" fmla="*/ 198 h 210"/>
                    <a:gd name="T74" fmla="*/ 84 w 191"/>
                    <a:gd name="T75" fmla="*/ 197 h 210"/>
                    <a:gd name="T76" fmla="*/ 97 w 191"/>
                    <a:gd name="T77" fmla="*/ 203 h 210"/>
                    <a:gd name="T78" fmla="*/ 110 w 191"/>
                    <a:gd name="T79" fmla="*/ 21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91" h="210">
                      <a:moveTo>
                        <a:pt x="110" y="210"/>
                      </a:moveTo>
                      <a:lnTo>
                        <a:pt x="110" y="210"/>
                      </a:lnTo>
                      <a:lnTo>
                        <a:pt x="113" y="210"/>
                      </a:lnTo>
                      <a:lnTo>
                        <a:pt x="117" y="209"/>
                      </a:lnTo>
                      <a:lnTo>
                        <a:pt x="123" y="204"/>
                      </a:lnTo>
                      <a:lnTo>
                        <a:pt x="129" y="198"/>
                      </a:lnTo>
                      <a:lnTo>
                        <a:pt x="130" y="194"/>
                      </a:lnTo>
                      <a:lnTo>
                        <a:pt x="130" y="85"/>
                      </a:lnTo>
                      <a:lnTo>
                        <a:pt x="148" y="85"/>
                      </a:lnTo>
                      <a:lnTo>
                        <a:pt x="148" y="25"/>
                      </a:lnTo>
                      <a:lnTo>
                        <a:pt x="148" y="25"/>
                      </a:lnTo>
                      <a:lnTo>
                        <a:pt x="178" y="19"/>
                      </a:lnTo>
                      <a:lnTo>
                        <a:pt x="178" y="19"/>
                      </a:lnTo>
                      <a:lnTo>
                        <a:pt x="184" y="16"/>
                      </a:lnTo>
                      <a:lnTo>
                        <a:pt x="191" y="12"/>
                      </a:lnTo>
                      <a:lnTo>
                        <a:pt x="191" y="12"/>
                      </a:lnTo>
                      <a:lnTo>
                        <a:pt x="183" y="7"/>
                      </a:lnTo>
                      <a:lnTo>
                        <a:pt x="183" y="7"/>
                      </a:lnTo>
                      <a:lnTo>
                        <a:pt x="171" y="10"/>
                      </a:lnTo>
                      <a:lnTo>
                        <a:pt x="162" y="13"/>
                      </a:lnTo>
                      <a:lnTo>
                        <a:pt x="162" y="13"/>
                      </a:lnTo>
                      <a:lnTo>
                        <a:pt x="142" y="16"/>
                      </a:lnTo>
                      <a:lnTo>
                        <a:pt x="130" y="16"/>
                      </a:lnTo>
                      <a:lnTo>
                        <a:pt x="126" y="16"/>
                      </a:lnTo>
                      <a:lnTo>
                        <a:pt x="120" y="15"/>
                      </a:lnTo>
                      <a:lnTo>
                        <a:pt x="120" y="15"/>
                      </a:lnTo>
                      <a:lnTo>
                        <a:pt x="107" y="10"/>
                      </a:lnTo>
                      <a:lnTo>
                        <a:pt x="100" y="9"/>
                      </a:lnTo>
                      <a:lnTo>
                        <a:pt x="100" y="9"/>
                      </a:lnTo>
                      <a:lnTo>
                        <a:pt x="71" y="4"/>
                      </a:lnTo>
                      <a:lnTo>
                        <a:pt x="54" y="3"/>
                      </a:lnTo>
                      <a:lnTo>
                        <a:pt x="48" y="1"/>
                      </a:lnTo>
                      <a:lnTo>
                        <a:pt x="45" y="3"/>
                      </a:lnTo>
                      <a:lnTo>
                        <a:pt x="45" y="3"/>
                      </a:lnTo>
                      <a:lnTo>
                        <a:pt x="41" y="6"/>
                      </a:lnTo>
                      <a:lnTo>
                        <a:pt x="38" y="6"/>
                      </a:lnTo>
                      <a:lnTo>
                        <a:pt x="33" y="6"/>
                      </a:lnTo>
                      <a:lnTo>
                        <a:pt x="33" y="6"/>
                      </a:lnTo>
                      <a:lnTo>
                        <a:pt x="29" y="4"/>
                      </a:lnTo>
                      <a:lnTo>
                        <a:pt x="26" y="3"/>
                      </a:lnTo>
                      <a:lnTo>
                        <a:pt x="25" y="1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12" y="3"/>
                      </a:lnTo>
                      <a:lnTo>
                        <a:pt x="0" y="9"/>
                      </a:lnTo>
                      <a:lnTo>
                        <a:pt x="0" y="9"/>
                      </a:lnTo>
                      <a:lnTo>
                        <a:pt x="1" y="19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15" y="42"/>
                      </a:lnTo>
                      <a:lnTo>
                        <a:pt x="20" y="52"/>
                      </a:lnTo>
                      <a:lnTo>
                        <a:pt x="22" y="61"/>
                      </a:lnTo>
                      <a:lnTo>
                        <a:pt x="22" y="61"/>
                      </a:lnTo>
                      <a:lnTo>
                        <a:pt x="25" y="70"/>
                      </a:lnTo>
                      <a:lnTo>
                        <a:pt x="29" y="77"/>
                      </a:lnTo>
                      <a:lnTo>
                        <a:pt x="39" y="91"/>
                      </a:lnTo>
                      <a:lnTo>
                        <a:pt x="39" y="91"/>
                      </a:lnTo>
                      <a:lnTo>
                        <a:pt x="41" y="96"/>
                      </a:lnTo>
                      <a:lnTo>
                        <a:pt x="42" y="100"/>
                      </a:lnTo>
                      <a:lnTo>
                        <a:pt x="43" y="112"/>
                      </a:lnTo>
                      <a:lnTo>
                        <a:pt x="43" y="125"/>
                      </a:lnTo>
                      <a:lnTo>
                        <a:pt x="45" y="135"/>
                      </a:lnTo>
                      <a:lnTo>
                        <a:pt x="45" y="135"/>
                      </a:lnTo>
                      <a:lnTo>
                        <a:pt x="49" y="151"/>
                      </a:lnTo>
                      <a:lnTo>
                        <a:pt x="51" y="159"/>
                      </a:lnTo>
                      <a:lnTo>
                        <a:pt x="51" y="170"/>
                      </a:lnTo>
                      <a:lnTo>
                        <a:pt x="51" y="170"/>
                      </a:lnTo>
                      <a:lnTo>
                        <a:pt x="52" y="174"/>
                      </a:lnTo>
                      <a:lnTo>
                        <a:pt x="54" y="178"/>
                      </a:lnTo>
                      <a:lnTo>
                        <a:pt x="58" y="187"/>
                      </a:lnTo>
                      <a:lnTo>
                        <a:pt x="65" y="196"/>
                      </a:lnTo>
                      <a:lnTo>
                        <a:pt x="72" y="203"/>
                      </a:lnTo>
                      <a:lnTo>
                        <a:pt x="72" y="203"/>
                      </a:lnTo>
                      <a:lnTo>
                        <a:pt x="78" y="198"/>
                      </a:lnTo>
                      <a:lnTo>
                        <a:pt x="84" y="197"/>
                      </a:lnTo>
                      <a:lnTo>
                        <a:pt x="84" y="197"/>
                      </a:lnTo>
                      <a:lnTo>
                        <a:pt x="90" y="198"/>
                      </a:lnTo>
                      <a:lnTo>
                        <a:pt x="97" y="203"/>
                      </a:lnTo>
                      <a:lnTo>
                        <a:pt x="104" y="207"/>
                      </a:lnTo>
                      <a:lnTo>
                        <a:pt x="110" y="21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87" name="Freeform 338"/>
                <p:cNvSpPr>
                  <a:spLocks/>
                </p:cNvSpPr>
                <p:nvPr/>
              </p:nvSpPr>
              <p:spPr bwMode="auto">
                <a:xfrm>
                  <a:off x="4734238" y="3608970"/>
                  <a:ext cx="153335" cy="156303"/>
                </a:xfrm>
                <a:custGeom>
                  <a:avLst/>
                  <a:gdLst>
                    <a:gd name="T0" fmla="*/ 32 w 155"/>
                    <a:gd name="T1" fmla="*/ 158 h 158"/>
                    <a:gd name="T2" fmla="*/ 18 w 155"/>
                    <a:gd name="T3" fmla="*/ 155 h 158"/>
                    <a:gd name="T4" fmla="*/ 15 w 155"/>
                    <a:gd name="T5" fmla="*/ 152 h 158"/>
                    <a:gd name="T6" fmla="*/ 0 w 155"/>
                    <a:gd name="T7" fmla="*/ 131 h 158"/>
                    <a:gd name="T8" fmla="*/ 18 w 155"/>
                    <a:gd name="T9" fmla="*/ 73 h 158"/>
                    <a:gd name="T10" fmla="*/ 18 w 155"/>
                    <a:gd name="T11" fmla="*/ 13 h 158"/>
                    <a:gd name="T12" fmla="*/ 48 w 155"/>
                    <a:gd name="T13" fmla="*/ 7 h 158"/>
                    <a:gd name="T14" fmla="*/ 61 w 155"/>
                    <a:gd name="T15" fmla="*/ 0 h 158"/>
                    <a:gd name="T16" fmla="*/ 71 w 155"/>
                    <a:gd name="T17" fmla="*/ 3 h 158"/>
                    <a:gd name="T18" fmla="*/ 77 w 155"/>
                    <a:gd name="T19" fmla="*/ 4 h 158"/>
                    <a:gd name="T20" fmla="*/ 90 w 155"/>
                    <a:gd name="T21" fmla="*/ 14 h 158"/>
                    <a:gd name="T22" fmla="*/ 103 w 155"/>
                    <a:gd name="T23" fmla="*/ 29 h 158"/>
                    <a:gd name="T24" fmla="*/ 106 w 155"/>
                    <a:gd name="T25" fmla="*/ 33 h 158"/>
                    <a:gd name="T26" fmla="*/ 110 w 155"/>
                    <a:gd name="T27" fmla="*/ 34 h 158"/>
                    <a:gd name="T28" fmla="*/ 115 w 155"/>
                    <a:gd name="T29" fmla="*/ 36 h 158"/>
                    <a:gd name="T30" fmla="*/ 123 w 155"/>
                    <a:gd name="T31" fmla="*/ 50 h 158"/>
                    <a:gd name="T32" fmla="*/ 129 w 155"/>
                    <a:gd name="T33" fmla="*/ 63 h 158"/>
                    <a:gd name="T34" fmla="*/ 138 w 155"/>
                    <a:gd name="T35" fmla="*/ 69 h 158"/>
                    <a:gd name="T36" fmla="*/ 151 w 155"/>
                    <a:gd name="T37" fmla="*/ 75 h 158"/>
                    <a:gd name="T38" fmla="*/ 155 w 155"/>
                    <a:gd name="T39" fmla="*/ 78 h 158"/>
                    <a:gd name="T40" fmla="*/ 132 w 155"/>
                    <a:gd name="T41" fmla="*/ 88 h 158"/>
                    <a:gd name="T42" fmla="*/ 118 w 155"/>
                    <a:gd name="T43" fmla="*/ 97 h 158"/>
                    <a:gd name="T44" fmla="*/ 105 w 155"/>
                    <a:gd name="T45" fmla="*/ 118 h 158"/>
                    <a:gd name="T46" fmla="*/ 92 w 155"/>
                    <a:gd name="T47" fmla="*/ 139 h 158"/>
                    <a:gd name="T48" fmla="*/ 92 w 155"/>
                    <a:gd name="T49" fmla="*/ 139 h 158"/>
                    <a:gd name="T50" fmla="*/ 90 w 155"/>
                    <a:gd name="T51" fmla="*/ 139 h 158"/>
                    <a:gd name="T52" fmla="*/ 90 w 155"/>
                    <a:gd name="T53" fmla="*/ 139 h 158"/>
                    <a:gd name="T54" fmla="*/ 84 w 155"/>
                    <a:gd name="T55" fmla="*/ 140 h 158"/>
                    <a:gd name="T56" fmla="*/ 76 w 155"/>
                    <a:gd name="T57" fmla="*/ 140 h 158"/>
                    <a:gd name="T58" fmla="*/ 76 w 155"/>
                    <a:gd name="T59" fmla="*/ 140 h 158"/>
                    <a:gd name="T60" fmla="*/ 66 w 155"/>
                    <a:gd name="T61" fmla="*/ 139 h 158"/>
                    <a:gd name="T62" fmla="*/ 61 w 155"/>
                    <a:gd name="T63" fmla="*/ 134 h 158"/>
                    <a:gd name="T64" fmla="*/ 57 w 155"/>
                    <a:gd name="T65" fmla="*/ 133 h 158"/>
                    <a:gd name="T66" fmla="*/ 57 w 155"/>
                    <a:gd name="T67" fmla="*/ 133 h 158"/>
                    <a:gd name="T68" fmla="*/ 55 w 155"/>
                    <a:gd name="T69" fmla="*/ 133 h 158"/>
                    <a:gd name="T70" fmla="*/ 55 w 155"/>
                    <a:gd name="T71" fmla="*/ 133 h 158"/>
                    <a:gd name="T72" fmla="*/ 55 w 155"/>
                    <a:gd name="T73" fmla="*/ 133 h 158"/>
                    <a:gd name="T74" fmla="*/ 54 w 155"/>
                    <a:gd name="T75" fmla="*/ 134 h 158"/>
                    <a:gd name="T76" fmla="*/ 44 w 155"/>
                    <a:gd name="T77" fmla="*/ 146 h 158"/>
                    <a:gd name="T78" fmla="*/ 35 w 155"/>
                    <a:gd name="T79" fmla="*/ 156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55" h="158">
                      <a:moveTo>
                        <a:pt x="32" y="158"/>
                      </a:moveTo>
                      <a:lnTo>
                        <a:pt x="32" y="158"/>
                      </a:lnTo>
                      <a:lnTo>
                        <a:pt x="22" y="158"/>
                      </a:lnTo>
                      <a:lnTo>
                        <a:pt x="18" y="155"/>
                      </a:lnTo>
                      <a:lnTo>
                        <a:pt x="15" y="152"/>
                      </a:lnTo>
                      <a:lnTo>
                        <a:pt x="15" y="152"/>
                      </a:lnTo>
                      <a:lnTo>
                        <a:pt x="9" y="142"/>
                      </a:lnTo>
                      <a:lnTo>
                        <a:pt x="0" y="131"/>
                      </a:lnTo>
                      <a:lnTo>
                        <a:pt x="0" y="73"/>
                      </a:lnTo>
                      <a:lnTo>
                        <a:pt x="18" y="73"/>
                      </a:lnTo>
                      <a:lnTo>
                        <a:pt x="18" y="13"/>
                      </a:lnTo>
                      <a:lnTo>
                        <a:pt x="18" y="13"/>
                      </a:lnTo>
                      <a:lnTo>
                        <a:pt x="48" y="7"/>
                      </a:lnTo>
                      <a:lnTo>
                        <a:pt x="48" y="7"/>
                      </a:lnTo>
                      <a:lnTo>
                        <a:pt x="54" y="4"/>
                      </a:lnTo>
                      <a:lnTo>
                        <a:pt x="61" y="0"/>
                      </a:lnTo>
                      <a:lnTo>
                        <a:pt x="61" y="0"/>
                      </a:lnTo>
                      <a:lnTo>
                        <a:pt x="71" y="3"/>
                      </a:lnTo>
                      <a:lnTo>
                        <a:pt x="71" y="3"/>
                      </a:lnTo>
                      <a:lnTo>
                        <a:pt x="77" y="4"/>
                      </a:lnTo>
                      <a:lnTo>
                        <a:pt x="81" y="5"/>
                      </a:lnTo>
                      <a:lnTo>
                        <a:pt x="90" y="14"/>
                      </a:lnTo>
                      <a:lnTo>
                        <a:pt x="97" y="23"/>
                      </a:lnTo>
                      <a:lnTo>
                        <a:pt x="103" y="29"/>
                      </a:lnTo>
                      <a:lnTo>
                        <a:pt x="103" y="29"/>
                      </a:lnTo>
                      <a:lnTo>
                        <a:pt x="106" y="33"/>
                      </a:lnTo>
                      <a:lnTo>
                        <a:pt x="109" y="33"/>
                      </a:lnTo>
                      <a:lnTo>
                        <a:pt x="110" y="34"/>
                      </a:lnTo>
                      <a:lnTo>
                        <a:pt x="115" y="36"/>
                      </a:lnTo>
                      <a:lnTo>
                        <a:pt x="115" y="36"/>
                      </a:lnTo>
                      <a:lnTo>
                        <a:pt x="119" y="42"/>
                      </a:lnTo>
                      <a:lnTo>
                        <a:pt x="123" y="50"/>
                      </a:lnTo>
                      <a:lnTo>
                        <a:pt x="129" y="63"/>
                      </a:lnTo>
                      <a:lnTo>
                        <a:pt x="129" y="63"/>
                      </a:lnTo>
                      <a:lnTo>
                        <a:pt x="132" y="68"/>
                      </a:lnTo>
                      <a:lnTo>
                        <a:pt x="138" y="69"/>
                      </a:lnTo>
                      <a:lnTo>
                        <a:pt x="145" y="72"/>
                      </a:lnTo>
                      <a:lnTo>
                        <a:pt x="151" y="75"/>
                      </a:lnTo>
                      <a:lnTo>
                        <a:pt x="151" y="75"/>
                      </a:lnTo>
                      <a:lnTo>
                        <a:pt x="155" y="78"/>
                      </a:lnTo>
                      <a:lnTo>
                        <a:pt x="155" y="78"/>
                      </a:lnTo>
                      <a:lnTo>
                        <a:pt x="132" y="88"/>
                      </a:lnTo>
                      <a:lnTo>
                        <a:pt x="118" y="97"/>
                      </a:lnTo>
                      <a:lnTo>
                        <a:pt x="118" y="97"/>
                      </a:lnTo>
                      <a:lnTo>
                        <a:pt x="112" y="104"/>
                      </a:lnTo>
                      <a:lnTo>
                        <a:pt x="105" y="118"/>
                      </a:lnTo>
                      <a:lnTo>
                        <a:pt x="96" y="131"/>
                      </a:lnTo>
                      <a:lnTo>
                        <a:pt x="92" y="139"/>
                      </a:lnTo>
                      <a:lnTo>
                        <a:pt x="92" y="139"/>
                      </a:lnTo>
                      <a:lnTo>
                        <a:pt x="92" y="139"/>
                      </a:lnTo>
                      <a:lnTo>
                        <a:pt x="92" y="139"/>
                      </a:lnTo>
                      <a:lnTo>
                        <a:pt x="90" y="139"/>
                      </a:lnTo>
                      <a:lnTo>
                        <a:pt x="90" y="139"/>
                      </a:lnTo>
                      <a:lnTo>
                        <a:pt x="90" y="139"/>
                      </a:lnTo>
                      <a:lnTo>
                        <a:pt x="90" y="139"/>
                      </a:lnTo>
                      <a:lnTo>
                        <a:pt x="84" y="140"/>
                      </a:lnTo>
                      <a:lnTo>
                        <a:pt x="76" y="140"/>
                      </a:lnTo>
                      <a:lnTo>
                        <a:pt x="76" y="140"/>
                      </a:lnTo>
                      <a:lnTo>
                        <a:pt x="76" y="140"/>
                      </a:lnTo>
                      <a:lnTo>
                        <a:pt x="76" y="140"/>
                      </a:lnTo>
                      <a:lnTo>
                        <a:pt x="68" y="140"/>
                      </a:lnTo>
                      <a:lnTo>
                        <a:pt x="66" y="139"/>
                      </a:lnTo>
                      <a:lnTo>
                        <a:pt x="66" y="139"/>
                      </a:lnTo>
                      <a:lnTo>
                        <a:pt x="61" y="134"/>
                      </a:lnTo>
                      <a:lnTo>
                        <a:pt x="60" y="133"/>
                      </a:lnTo>
                      <a:lnTo>
                        <a:pt x="57" y="133"/>
                      </a:lnTo>
                      <a:lnTo>
                        <a:pt x="57" y="133"/>
                      </a:lnTo>
                      <a:lnTo>
                        <a:pt x="57" y="133"/>
                      </a:lnTo>
                      <a:lnTo>
                        <a:pt x="55" y="133"/>
                      </a:lnTo>
                      <a:lnTo>
                        <a:pt x="55" y="133"/>
                      </a:lnTo>
                      <a:lnTo>
                        <a:pt x="55" y="133"/>
                      </a:lnTo>
                      <a:lnTo>
                        <a:pt x="55" y="133"/>
                      </a:lnTo>
                      <a:lnTo>
                        <a:pt x="55" y="133"/>
                      </a:lnTo>
                      <a:lnTo>
                        <a:pt x="55" y="133"/>
                      </a:lnTo>
                      <a:lnTo>
                        <a:pt x="55" y="133"/>
                      </a:lnTo>
                      <a:lnTo>
                        <a:pt x="54" y="134"/>
                      </a:lnTo>
                      <a:lnTo>
                        <a:pt x="51" y="137"/>
                      </a:lnTo>
                      <a:lnTo>
                        <a:pt x="44" y="146"/>
                      </a:lnTo>
                      <a:lnTo>
                        <a:pt x="38" y="155"/>
                      </a:lnTo>
                      <a:lnTo>
                        <a:pt x="35" y="156"/>
                      </a:lnTo>
                      <a:lnTo>
                        <a:pt x="32" y="15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88" name="Freeform 339"/>
                <p:cNvSpPr>
                  <a:spLocks/>
                </p:cNvSpPr>
                <p:nvPr/>
              </p:nvSpPr>
              <p:spPr bwMode="auto">
                <a:xfrm>
                  <a:off x="4734238" y="3608970"/>
                  <a:ext cx="153335" cy="156303"/>
                </a:xfrm>
                <a:custGeom>
                  <a:avLst/>
                  <a:gdLst>
                    <a:gd name="T0" fmla="*/ 32 w 155"/>
                    <a:gd name="T1" fmla="*/ 158 h 158"/>
                    <a:gd name="T2" fmla="*/ 18 w 155"/>
                    <a:gd name="T3" fmla="*/ 155 h 158"/>
                    <a:gd name="T4" fmla="*/ 15 w 155"/>
                    <a:gd name="T5" fmla="*/ 152 h 158"/>
                    <a:gd name="T6" fmla="*/ 0 w 155"/>
                    <a:gd name="T7" fmla="*/ 131 h 158"/>
                    <a:gd name="T8" fmla="*/ 18 w 155"/>
                    <a:gd name="T9" fmla="*/ 73 h 158"/>
                    <a:gd name="T10" fmla="*/ 18 w 155"/>
                    <a:gd name="T11" fmla="*/ 13 h 158"/>
                    <a:gd name="T12" fmla="*/ 48 w 155"/>
                    <a:gd name="T13" fmla="*/ 7 h 158"/>
                    <a:gd name="T14" fmla="*/ 61 w 155"/>
                    <a:gd name="T15" fmla="*/ 0 h 158"/>
                    <a:gd name="T16" fmla="*/ 71 w 155"/>
                    <a:gd name="T17" fmla="*/ 3 h 158"/>
                    <a:gd name="T18" fmla="*/ 77 w 155"/>
                    <a:gd name="T19" fmla="*/ 4 h 158"/>
                    <a:gd name="T20" fmla="*/ 90 w 155"/>
                    <a:gd name="T21" fmla="*/ 14 h 158"/>
                    <a:gd name="T22" fmla="*/ 103 w 155"/>
                    <a:gd name="T23" fmla="*/ 29 h 158"/>
                    <a:gd name="T24" fmla="*/ 106 w 155"/>
                    <a:gd name="T25" fmla="*/ 33 h 158"/>
                    <a:gd name="T26" fmla="*/ 110 w 155"/>
                    <a:gd name="T27" fmla="*/ 34 h 158"/>
                    <a:gd name="T28" fmla="*/ 115 w 155"/>
                    <a:gd name="T29" fmla="*/ 36 h 158"/>
                    <a:gd name="T30" fmla="*/ 123 w 155"/>
                    <a:gd name="T31" fmla="*/ 50 h 158"/>
                    <a:gd name="T32" fmla="*/ 129 w 155"/>
                    <a:gd name="T33" fmla="*/ 63 h 158"/>
                    <a:gd name="T34" fmla="*/ 138 w 155"/>
                    <a:gd name="T35" fmla="*/ 69 h 158"/>
                    <a:gd name="T36" fmla="*/ 151 w 155"/>
                    <a:gd name="T37" fmla="*/ 75 h 158"/>
                    <a:gd name="T38" fmla="*/ 155 w 155"/>
                    <a:gd name="T39" fmla="*/ 78 h 158"/>
                    <a:gd name="T40" fmla="*/ 132 w 155"/>
                    <a:gd name="T41" fmla="*/ 88 h 158"/>
                    <a:gd name="T42" fmla="*/ 118 w 155"/>
                    <a:gd name="T43" fmla="*/ 97 h 158"/>
                    <a:gd name="T44" fmla="*/ 105 w 155"/>
                    <a:gd name="T45" fmla="*/ 118 h 158"/>
                    <a:gd name="T46" fmla="*/ 92 w 155"/>
                    <a:gd name="T47" fmla="*/ 139 h 158"/>
                    <a:gd name="T48" fmla="*/ 92 w 155"/>
                    <a:gd name="T49" fmla="*/ 139 h 158"/>
                    <a:gd name="T50" fmla="*/ 90 w 155"/>
                    <a:gd name="T51" fmla="*/ 139 h 158"/>
                    <a:gd name="T52" fmla="*/ 90 w 155"/>
                    <a:gd name="T53" fmla="*/ 139 h 158"/>
                    <a:gd name="T54" fmla="*/ 84 w 155"/>
                    <a:gd name="T55" fmla="*/ 140 h 158"/>
                    <a:gd name="T56" fmla="*/ 76 w 155"/>
                    <a:gd name="T57" fmla="*/ 140 h 158"/>
                    <a:gd name="T58" fmla="*/ 76 w 155"/>
                    <a:gd name="T59" fmla="*/ 140 h 158"/>
                    <a:gd name="T60" fmla="*/ 66 w 155"/>
                    <a:gd name="T61" fmla="*/ 139 h 158"/>
                    <a:gd name="T62" fmla="*/ 61 w 155"/>
                    <a:gd name="T63" fmla="*/ 134 h 158"/>
                    <a:gd name="T64" fmla="*/ 57 w 155"/>
                    <a:gd name="T65" fmla="*/ 133 h 158"/>
                    <a:gd name="T66" fmla="*/ 57 w 155"/>
                    <a:gd name="T67" fmla="*/ 133 h 158"/>
                    <a:gd name="T68" fmla="*/ 55 w 155"/>
                    <a:gd name="T69" fmla="*/ 133 h 158"/>
                    <a:gd name="T70" fmla="*/ 55 w 155"/>
                    <a:gd name="T71" fmla="*/ 133 h 158"/>
                    <a:gd name="T72" fmla="*/ 55 w 155"/>
                    <a:gd name="T73" fmla="*/ 133 h 158"/>
                    <a:gd name="T74" fmla="*/ 54 w 155"/>
                    <a:gd name="T75" fmla="*/ 134 h 158"/>
                    <a:gd name="T76" fmla="*/ 44 w 155"/>
                    <a:gd name="T77" fmla="*/ 146 h 158"/>
                    <a:gd name="T78" fmla="*/ 35 w 155"/>
                    <a:gd name="T79" fmla="*/ 156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55" h="158">
                      <a:moveTo>
                        <a:pt x="32" y="158"/>
                      </a:moveTo>
                      <a:lnTo>
                        <a:pt x="32" y="158"/>
                      </a:lnTo>
                      <a:lnTo>
                        <a:pt x="22" y="158"/>
                      </a:lnTo>
                      <a:lnTo>
                        <a:pt x="18" y="155"/>
                      </a:lnTo>
                      <a:lnTo>
                        <a:pt x="15" y="152"/>
                      </a:lnTo>
                      <a:lnTo>
                        <a:pt x="15" y="152"/>
                      </a:lnTo>
                      <a:lnTo>
                        <a:pt x="9" y="142"/>
                      </a:lnTo>
                      <a:lnTo>
                        <a:pt x="0" y="131"/>
                      </a:lnTo>
                      <a:lnTo>
                        <a:pt x="0" y="73"/>
                      </a:lnTo>
                      <a:lnTo>
                        <a:pt x="18" y="73"/>
                      </a:lnTo>
                      <a:lnTo>
                        <a:pt x="18" y="13"/>
                      </a:lnTo>
                      <a:lnTo>
                        <a:pt x="18" y="13"/>
                      </a:lnTo>
                      <a:lnTo>
                        <a:pt x="48" y="7"/>
                      </a:lnTo>
                      <a:lnTo>
                        <a:pt x="48" y="7"/>
                      </a:lnTo>
                      <a:lnTo>
                        <a:pt x="54" y="4"/>
                      </a:lnTo>
                      <a:lnTo>
                        <a:pt x="61" y="0"/>
                      </a:lnTo>
                      <a:lnTo>
                        <a:pt x="61" y="0"/>
                      </a:lnTo>
                      <a:lnTo>
                        <a:pt x="71" y="3"/>
                      </a:lnTo>
                      <a:lnTo>
                        <a:pt x="71" y="3"/>
                      </a:lnTo>
                      <a:lnTo>
                        <a:pt x="77" y="4"/>
                      </a:lnTo>
                      <a:lnTo>
                        <a:pt x="81" y="5"/>
                      </a:lnTo>
                      <a:lnTo>
                        <a:pt x="90" y="14"/>
                      </a:lnTo>
                      <a:lnTo>
                        <a:pt x="97" y="23"/>
                      </a:lnTo>
                      <a:lnTo>
                        <a:pt x="103" y="29"/>
                      </a:lnTo>
                      <a:lnTo>
                        <a:pt x="103" y="29"/>
                      </a:lnTo>
                      <a:lnTo>
                        <a:pt x="106" y="33"/>
                      </a:lnTo>
                      <a:lnTo>
                        <a:pt x="109" y="33"/>
                      </a:lnTo>
                      <a:lnTo>
                        <a:pt x="110" y="34"/>
                      </a:lnTo>
                      <a:lnTo>
                        <a:pt x="115" y="36"/>
                      </a:lnTo>
                      <a:lnTo>
                        <a:pt x="115" y="36"/>
                      </a:lnTo>
                      <a:lnTo>
                        <a:pt x="119" y="42"/>
                      </a:lnTo>
                      <a:lnTo>
                        <a:pt x="123" y="50"/>
                      </a:lnTo>
                      <a:lnTo>
                        <a:pt x="129" y="63"/>
                      </a:lnTo>
                      <a:lnTo>
                        <a:pt x="129" y="63"/>
                      </a:lnTo>
                      <a:lnTo>
                        <a:pt x="132" y="68"/>
                      </a:lnTo>
                      <a:lnTo>
                        <a:pt x="138" y="69"/>
                      </a:lnTo>
                      <a:lnTo>
                        <a:pt x="145" y="72"/>
                      </a:lnTo>
                      <a:lnTo>
                        <a:pt x="151" y="75"/>
                      </a:lnTo>
                      <a:lnTo>
                        <a:pt x="151" y="75"/>
                      </a:lnTo>
                      <a:lnTo>
                        <a:pt x="155" y="78"/>
                      </a:lnTo>
                      <a:lnTo>
                        <a:pt x="155" y="78"/>
                      </a:lnTo>
                      <a:lnTo>
                        <a:pt x="132" y="88"/>
                      </a:lnTo>
                      <a:lnTo>
                        <a:pt x="118" y="97"/>
                      </a:lnTo>
                      <a:lnTo>
                        <a:pt x="118" y="97"/>
                      </a:lnTo>
                      <a:lnTo>
                        <a:pt x="112" y="104"/>
                      </a:lnTo>
                      <a:lnTo>
                        <a:pt x="105" y="118"/>
                      </a:lnTo>
                      <a:lnTo>
                        <a:pt x="96" y="131"/>
                      </a:lnTo>
                      <a:lnTo>
                        <a:pt x="92" y="139"/>
                      </a:lnTo>
                      <a:lnTo>
                        <a:pt x="92" y="139"/>
                      </a:lnTo>
                      <a:lnTo>
                        <a:pt x="92" y="139"/>
                      </a:lnTo>
                      <a:lnTo>
                        <a:pt x="92" y="139"/>
                      </a:lnTo>
                      <a:lnTo>
                        <a:pt x="90" y="139"/>
                      </a:lnTo>
                      <a:lnTo>
                        <a:pt x="90" y="139"/>
                      </a:lnTo>
                      <a:lnTo>
                        <a:pt x="90" y="139"/>
                      </a:lnTo>
                      <a:lnTo>
                        <a:pt x="90" y="139"/>
                      </a:lnTo>
                      <a:lnTo>
                        <a:pt x="84" y="140"/>
                      </a:lnTo>
                      <a:lnTo>
                        <a:pt x="76" y="140"/>
                      </a:lnTo>
                      <a:lnTo>
                        <a:pt x="76" y="140"/>
                      </a:lnTo>
                      <a:lnTo>
                        <a:pt x="76" y="140"/>
                      </a:lnTo>
                      <a:lnTo>
                        <a:pt x="76" y="140"/>
                      </a:lnTo>
                      <a:lnTo>
                        <a:pt x="68" y="140"/>
                      </a:lnTo>
                      <a:lnTo>
                        <a:pt x="66" y="139"/>
                      </a:lnTo>
                      <a:lnTo>
                        <a:pt x="66" y="139"/>
                      </a:lnTo>
                      <a:lnTo>
                        <a:pt x="61" y="134"/>
                      </a:lnTo>
                      <a:lnTo>
                        <a:pt x="60" y="133"/>
                      </a:lnTo>
                      <a:lnTo>
                        <a:pt x="57" y="133"/>
                      </a:lnTo>
                      <a:lnTo>
                        <a:pt x="57" y="133"/>
                      </a:lnTo>
                      <a:lnTo>
                        <a:pt x="57" y="133"/>
                      </a:lnTo>
                      <a:lnTo>
                        <a:pt x="55" y="133"/>
                      </a:lnTo>
                      <a:lnTo>
                        <a:pt x="55" y="133"/>
                      </a:lnTo>
                      <a:lnTo>
                        <a:pt x="55" y="133"/>
                      </a:lnTo>
                      <a:lnTo>
                        <a:pt x="55" y="133"/>
                      </a:lnTo>
                      <a:lnTo>
                        <a:pt x="55" y="133"/>
                      </a:lnTo>
                      <a:lnTo>
                        <a:pt x="55" y="133"/>
                      </a:lnTo>
                      <a:lnTo>
                        <a:pt x="55" y="133"/>
                      </a:lnTo>
                      <a:lnTo>
                        <a:pt x="54" y="134"/>
                      </a:lnTo>
                      <a:lnTo>
                        <a:pt x="51" y="137"/>
                      </a:lnTo>
                      <a:lnTo>
                        <a:pt x="44" y="146"/>
                      </a:lnTo>
                      <a:lnTo>
                        <a:pt x="38" y="155"/>
                      </a:lnTo>
                      <a:lnTo>
                        <a:pt x="35" y="156"/>
                      </a:lnTo>
                      <a:lnTo>
                        <a:pt x="32" y="15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89" name="Freeform 340"/>
                <p:cNvSpPr>
                  <a:spLocks/>
                </p:cNvSpPr>
                <p:nvPr/>
              </p:nvSpPr>
              <p:spPr bwMode="auto">
                <a:xfrm>
                  <a:off x="4883617" y="3683164"/>
                  <a:ext cx="3957" cy="2968"/>
                </a:xfrm>
                <a:custGeom>
                  <a:avLst/>
                  <a:gdLst>
                    <a:gd name="T0" fmla="*/ 4 w 4"/>
                    <a:gd name="T1" fmla="*/ 3 h 3"/>
                    <a:gd name="T2" fmla="*/ 4 w 4"/>
                    <a:gd name="T3" fmla="*/ 3 h 3"/>
                    <a:gd name="T4" fmla="*/ 0 w 4"/>
                    <a:gd name="T5" fmla="*/ 0 h 3"/>
                    <a:gd name="T6" fmla="*/ 0 w 4"/>
                    <a:gd name="T7" fmla="*/ 0 h 3"/>
                    <a:gd name="T8" fmla="*/ 4 w 4"/>
                    <a:gd name="T9" fmla="*/ 1 h 3"/>
                    <a:gd name="T10" fmla="*/ 4 w 4"/>
                    <a:gd name="T11" fmla="*/ 1 h 3"/>
                    <a:gd name="T12" fmla="*/ 4 w 4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3">
                      <a:moveTo>
                        <a:pt x="4" y="3"/>
                      </a:move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90" name="Freeform 341"/>
                <p:cNvSpPr>
                  <a:spLocks/>
                </p:cNvSpPr>
                <p:nvPr/>
              </p:nvSpPr>
              <p:spPr bwMode="auto">
                <a:xfrm>
                  <a:off x="4883617" y="3683164"/>
                  <a:ext cx="3957" cy="2968"/>
                </a:xfrm>
                <a:custGeom>
                  <a:avLst/>
                  <a:gdLst>
                    <a:gd name="T0" fmla="*/ 4 w 4"/>
                    <a:gd name="T1" fmla="*/ 3 h 3"/>
                    <a:gd name="T2" fmla="*/ 4 w 4"/>
                    <a:gd name="T3" fmla="*/ 3 h 3"/>
                    <a:gd name="T4" fmla="*/ 0 w 4"/>
                    <a:gd name="T5" fmla="*/ 0 h 3"/>
                    <a:gd name="T6" fmla="*/ 0 w 4"/>
                    <a:gd name="T7" fmla="*/ 0 h 3"/>
                    <a:gd name="T8" fmla="*/ 4 w 4"/>
                    <a:gd name="T9" fmla="*/ 1 h 3"/>
                    <a:gd name="T10" fmla="*/ 4 w 4"/>
                    <a:gd name="T11" fmla="*/ 1 h 3"/>
                    <a:gd name="T12" fmla="*/ 4 w 4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3">
                      <a:moveTo>
                        <a:pt x="4" y="3"/>
                      </a:move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91" name="Freeform 342"/>
                <p:cNvSpPr>
                  <a:spLocks/>
                </p:cNvSpPr>
                <p:nvPr/>
              </p:nvSpPr>
              <p:spPr bwMode="auto">
                <a:xfrm>
                  <a:off x="4753034" y="3458602"/>
                  <a:ext cx="194884" cy="154324"/>
                </a:xfrm>
                <a:custGeom>
                  <a:avLst/>
                  <a:gdLst>
                    <a:gd name="T0" fmla="*/ 62 w 197"/>
                    <a:gd name="T1" fmla="*/ 152 h 156"/>
                    <a:gd name="T2" fmla="*/ 51 w 197"/>
                    <a:gd name="T3" fmla="*/ 152 h 156"/>
                    <a:gd name="T4" fmla="*/ 47 w 197"/>
                    <a:gd name="T5" fmla="*/ 152 h 156"/>
                    <a:gd name="T6" fmla="*/ 42 w 197"/>
                    <a:gd name="T7" fmla="*/ 152 h 156"/>
                    <a:gd name="T8" fmla="*/ 34 w 197"/>
                    <a:gd name="T9" fmla="*/ 147 h 156"/>
                    <a:gd name="T10" fmla="*/ 34 w 197"/>
                    <a:gd name="T11" fmla="*/ 147 h 156"/>
                    <a:gd name="T12" fmla="*/ 18 w 197"/>
                    <a:gd name="T13" fmla="*/ 133 h 156"/>
                    <a:gd name="T14" fmla="*/ 9 w 197"/>
                    <a:gd name="T15" fmla="*/ 117 h 156"/>
                    <a:gd name="T16" fmla="*/ 2 w 197"/>
                    <a:gd name="T17" fmla="*/ 88 h 156"/>
                    <a:gd name="T18" fmla="*/ 2 w 197"/>
                    <a:gd name="T19" fmla="*/ 73 h 156"/>
                    <a:gd name="T20" fmla="*/ 18 w 197"/>
                    <a:gd name="T21" fmla="*/ 65 h 156"/>
                    <a:gd name="T22" fmla="*/ 52 w 197"/>
                    <a:gd name="T23" fmla="*/ 52 h 156"/>
                    <a:gd name="T24" fmla="*/ 52 w 197"/>
                    <a:gd name="T25" fmla="*/ 52 h 156"/>
                    <a:gd name="T26" fmla="*/ 54 w 197"/>
                    <a:gd name="T27" fmla="*/ 52 h 156"/>
                    <a:gd name="T28" fmla="*/ 54 w 197"/>
                    <a:gd name="T29" fmla="*/ 52 h 156"/>
                    <a:gd name="T30" fmla="*/ 55 w 197"/>
                    <a:gd name="T31" fmla="*/ 52 h 156"/>
                    <a:gd name="T32" fmla="*/ 64 w 197"/>
                    <a:gd name="T33" fmla="*/ 50 h 156"/>
                    <a:gd name="T34" fmla="*/ 65 w 197"/>
                    <a:gd name="T35" fmla="*/ 50 h 156"/>
                    <a:gd name="T36" fmla="*/ 65 w 197"/>
                    <a:gd name="T37" fmla="*/ 50 h 156"/>
                    <a:gd name="T38" fmla="*/ 65 w 197"/>
                    <a:gd name="T39" fmla="*/ 50 h 156"/>
                    <a:gd name="T40" fmla="*/ 67 w 197"/>
                    <a:gd name="T41" fmla="*/ 50 h 156"/>
                    <a:gd name="T42" fmla="*/ 99 w 197"/>
                    <a:gd name="T43" fmla="*/ 62 h 156"/>
                    <a:gd name="T44" fmla="*/ 118 w 197"/>
                    <a:gd name="T45" fmla="*/ 78 h 156"/>
                    <a:gd name="T46" fmla="*/ 119 w 197"/>
                    <a:gd name="T47" fmla="*/ 78 h 156"/>
                    <a:gd name="T48" fmla="*/ 119 w 197"/>
                    <a:gd name="T49" fmla="*/ 78 h 156"/>
                    <a:gd name="T50" fmla="*/ 131 w 197"/>
                    <a:gd name="T51" fmla="*/ 85 h 156"/>
                    <a:gd name="T52" fmla="*/ 133 w 197"/>
                    <a:gd name="T53" fmla="*/ 85 h 156"/>
                    <a:gd name="T54" fmla="*/ 133 w 197"/>
                    <a:gd name="T55" fmla="*/ 85 h 156"/>
                    <a:gd name="T56" fmla="*/ 145 w 197"/>
                    <a:gd name="T57" fmla="*/ 71 h 156"/>
                    <a:gd name="T58" fmla="*/ 144 w 197"/>
                    <a:gd name="T59" fmla="*/ 69 h 156"/>
                    <a:gd name="T60" fmla="*/ 142 w 197"/>
                    <a:gd name="T61" fmla="*/ 68 h 156"/>
                    <a:gd name="T62" fmla="*/ 139 w 197"/>
                    <a:gd name="T63" fmla="*/ 69 h 156"/>
                    <a:gd name="T64" fmla="*/ 139 w 197"/>
                    <a:gd name="T65" fmla="*/ 69 h 156"/>
                    <a:gd name="T66" fmla="*/ 136 w 197"/>
                    <a:gd name="T67" fmla="*/ 71 h 156"/>
                    <a:gd name="T68" fmla="*/ 133 w 197"/>
                    <a:gd name="T69" fmla="*/ 69 h 156"/>
                    <a:gd name="T70" fmla="*/ 133 w 197"/>
                    <a:gd name="T71" fmla="*/ 69 h 156"/>
                    <a:gd name="T72" fmla="*/ 113 w 197"/>
                    <a:gd name="T73" fmla="*/ 49 h 156"/>
                    <a:gd name="T74" fmla="*/ 113 w 197"/>
                    <a:gd name="T75" fmla="*/ 44 h 156"/>
                    <a:gd name="T76" fmla="*/ 118 w 197"/>
                    <a:gd name="T77" fmla="*/ 21 h 156"/>
                    <a:gd name="T78" fmla="*/ 129 w 197"/>
                    <a:gd name="T79" fmla="*/ 2 h 156"/>
                    <a:gd name="T80" fmla="*/ 144 w 197"/>
                    <a:gd name="T81" fmla="*/ 0 h 156"/>
                    <a:gd name="T82" fmla="*/ 149 w 197"/>
                    <a:gd name="T83" fmla="*/ 0 h 156"/>
                    <a:gd name="T84" fmla="*/ 149 w 197"/>
                    <a:gd name="T85" fmla="*/ 0 h 156"/>
                    <a:gd name="T86" fmla="*/ 154 w 197"/>
                    <a:gd name="T87" fmla="*/ 4 h 156"/>
                    <a:gd name="T88" fmla="*/ 161 w 197"/>
                    <a:gd name="T89" fmla="*/ 7 h 156"/>
                    <a:gd name="T90" fmla="*/ 165 w 197"/>
                    <a:gd name="T91" fmla="*/ 2 h 156"/>
                    <a:gd name="T92" fmla="*/ 190 w 197"/>
                    <a:gd name="T93" fmla="*/ 18 h 156"/>
                    <a:gd name="T94" fmla="*/ 193 w 197"/>
                    <a:gd name="T95" fmla="*/ 42 h 156"/>
                    <a:gd name="T96" fmla="*/ 190 w 197"/>
                    <a:gd name="T97" fmla="*/ 66 h 156"/>
                    <a:gd name="T98" fmla="*/ 184 w 197"/>
                    <a:gd name="T99" fmla="*/ 82 h 156"/>
                    <a:gd name="T100" fmla="*/ 187 w 197"/>
                    <a:gd name="T101" fmla="*/ 94 h 156"/>
                    <a:gd name="T102" fmla="*/ 155 w 197"/>
                    <a:gd name="T103" fmla="*/ 102 h 156"/>
                    <a:gd name="T104" fmla="*/ 148 w 197"/>
                    <a:gd name="T105" fmla="*/ 120 h 156"/>
                    <a:gd name="T106" fmla="*/ 139 w 197"/>
                    <a:gd name="T107" fmla="*/ 118 h 156"/>
                    <a:gd name="T108" fmla="*/ 126 w 197"/>
                    <a:gd name="T109" fmla="*/ 124 h 156"/>
                    <a:gd name="T110" fmla="*/ 107 w 197"/>
                    <a:gd name="T111" fmla="*/ 147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97" h="156">
                      <a:moveTo>
                        <a:pt x="99" y="156"/>
                      </a:moveTo>
                      <a:lnTo>
                        <a:pt x="99" y="156"/>
                      </a:lnTo>
                      <a:lnTo>
                        <a:pt x="81" y="155"/>
                      </a:lnTo>
                      <a:lnTo>
                        <a:pt x="62" y="152"/>
                      </a:lnTo>
                      <a:lnTo>
                        <a:pt x="62" y="152"/>
                      </a:lnTo>
                      <a:lnTo>
                        <a:pt x="62" y="152"/>
                      </a:lnTo>
                      <a:lnTo>
                        <a:pt x="62" y="152"/>
                      </a:lnTo>
                      <a:lnTo>
                        <a:pt x="51" y="152"/>
                      </a:lnTo>
                      <a:lnTo>
                        <a:pt x="51" y="152"/>
                      </a:lnTo>
                      <a:lnTo>
                        <a:pt x="51" y="152"/>
                      </a:lnTo>
                      <a:lnTo>
                        <a:pt x="51" y="152"/>
                      </a:lnTo>
                      <a:lnTo>
                        <a:pt x="47" y="152"/>
                      </a:lnTo>
                      <a:lnTo>
                        <a:pt x="47" y="152"/>
                      </a:lnTo>
                      <a:lnTo>
                        <a:pt x="44" y="152"/>
                      </a:lnTo>
                      <a:lnTo>
                        <a:pt x="44" y="152"/>
                      </a:lnTo>
                      <a:lnTo>
                        <a:pt x="42" y="152"/>
                      </a:lnTo>
                      <a:lnTo>
                        <a:pt x="42" y="152"/>
                      </a:lnTo>
                      <a:lnTo>
                        <a:pt x="39" y="150"/>
                      </a:lnTo>
                      <a:lnTo>
                        <a:pt x="39" y="150"/>
                      </a:lnTo>
                      <a:lnTo>
                        <a:pt x="34" y="147"/>
                      </a:lnTo>
                      <a:lnTo>
                        <a:pt x="34" y="147"/>
                      </a:lnTo>
                      <a:lnTo>
                        <a:pt x="34" y="147"/>
                      </a:lnTo>
                      <a:lnTo>
                        <a:pt x="34" y="147"/>
                      </a:lnTo>
                      <a:lnTo>
                        <a:pt x="34" y="147"/>
                      </a:lnTo>
                      <a:lnTo>
                        <a:pt x="34" y="147"/>
                      </a:lnTo>
                      <a:lnTo>
                        <a:pt x="23" y="140"/>
                      </a:lnTo>
                      <a:lnTo>
                        <a:pt x="18" y="133"/>
                      </a:lnTo>
                      <a:lnTo>
                        <a:pt x="18" y="133"/>
                      </a:lnTo>
                      <a:lnTo>
                        <a:pt x="18" y="133"/>
                      </a:lnTo>
                      <a:lnTo>
                        <a:pt x="18" y="133"/>
                      </a:lnTo>
                      <a:lnTo>
                        <a:pt x="18" y="133"/>
                      </a:lnTo>
                      <a:lnTo>
                        <a:pt x="9" y="117"/>
                      </a:lnTo>
                      <a:lnTo>
                        <a:pt x="5" y="108"/>
                      </a:lnTo>
                      <a:lnTo>
                        <a:pt x="3" y="99"/>
                      </a:lnTo>
                      <a:lnTo>
                        <a:pt x="3" y="99"/>
                      </a:lnTo>
                      <a:lnTo>
                        <a:pt x="2" y="88"/>
                      </a:lnTo>
                      <a:lnTo>
                        <a:pt x="0" y="79"/>
                      </a:lnTo>
                      <a:lnTo>
                        <a:pt x="0" y="79"/>
                      </a:lnTo>
                      <a:lnTo>
                        <a:pt x="0" y="76"/>
                      </a:lnTo>
                      <a:lnTo>
                        <a:pt x="2" y="73"/>
                      </a:lnTo>
                      <a:lnTo>
                        <a:pt x="2" y="73"/>
                      </a:lnTo>
                      <a:lnTo>
                        <a:pt x="9" y="68"/>
                      </a:lnTo>
                      <a:lnTo>
                        <a:pt x="13" y="66"/>
                      </a:lnTo>
                      <a:lnTo>
                        <a:pt x="18" y="65"/>
                      </a:lnTo>
                      <a:lnTo>
                        <a:pt x="44" y="65"/>
                      </a:lnTo>
                      <a:lnTo>
                        <a:pt x="44" y="44"/>
                      </a:lnTo>
                      <a:lnTo>
                        <a:pt x="44" y="44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5" y="52"/>
                      </a:lnTo>
                      <a:lnTo>
                        <a:pt x="55" y="52"/>
                      </a:lnTo>
                      <a:lnTo>
                        <a:pt x="60" y="50"/>
                      </a:lnTo>
                      <a:lnTo>
                        <a:pt x="60" y="50"/>
                      </a:lnTo>
                      <a:lnTo>
                        <a:pt x="64" y="50"/>
                      </a:lnTo>
                      <a:lnTo>
                        <a:pt x="64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7" y="50"/>
                      </a:lnTo>
                      <a:lnTo>
                        <a:pt x="67" y="50"/>
                      </a:lnTo>
                      <a:lnTo>
                        <a:pt x="81" y="56"/>
                      </a:lnTo>
                      <a:lnTo>
                        <a:pt x="99" y="62"/>
                      </a:lnTo>
                      <a:lnTo>
                        <a:pt x="99" y="62"/>
                      </a:lnTo>
                      <a:lnTo>
                        <a:pt x="110" y="69"/>
                      </a:lnTo>
                      <a:lnTo>
                        <a:pt x="115" y="72"/>
                      </a:lnTo>
                      <a:lnTo>
                        <a:pt x="118" y="78"/>
                      </a:lnTo>
                      <a:lnTo>
                        <a:pt x="118" y="78"/>
                      </a:lnTo>
                      <a:lnTo>
                        <a:pt x="118" y="78"/>
                      </a:lnTo>
                      <a:lnTo>
                        <a:pt x="118" y="78"/>
                      </a:lnTo>
                      <a:lnTo>
                        <a:pt x="119" y="78"/>
                      </a:lnTo>
                      <a:lnTo>
                        <a:pt x="119" y="78"/>
                      </a:lnTo>
                      <a:lnTo>
                        <a:pt x="119" y="78"/>
                      </a:lnTo>
                      <a:lnTo>
                        <a:pt x="119" y="78"/>
                      </a:lnTo>
                      <a:lnTo>
                        <a:pt x="119" y="78"/>
                      </a:lnTo>
                      <a:lnTo>
                        <a:pt x="119" y="78"/>
                      </a:lnTo>
                      <a:lnTo>
                        <a:pt x="120" y="82"/>
                      </a:lnTo>
                      <a:lnTo>
                        <a:pt x="123" y="84"/>
                      </a:lnTo>
                      <a:lnTo>
                        <a:pt x="131" y="85"/>
                      </a:lnTo>
                      <a:lnTo>
                        <a:pt x="131" y="85"/>
                      </a:lnTo>
                      <a:lnTo>
                        <a:pt x="131" y="85"/>
                      </a:lnTo>
                      <a:lnTo>
                        <a:pt x="131" y="85"/>
                      </a:lnTo>
                      <a:lnTo>
                        <a:pt x="133" y="85"/>
                      </a:lnTo>
                      <a:lnTo>
                        <a:pt x="133" y="85"/>
                      </a:lnTo>
                      <a:lnTo>
                        <a:pt x="133" y="85"/>
                      </a:lnTo>
                      <a:lnTo>
                        <a:pt x="133" y="85"/>
                      </a:lnTo>
                      <a:lnTo>
                        <a:pt x="133" y="85"/>
                      </a:lnTo>
                      <a:lnTo>
                        <a:pt x="133" y="85"/>
                      </a:lnTo>
                      <a:lnTo>
                        <a:pt x="138" y="84"/>
                      </a:lnTo>
                      <a:lnTo>
                        <a:pt x="141" y="79"/>
                      </a:lnTo>
                      <a:lnTo>
                        <a:pt x="144" y="75"/>
                      </a:lnTo>
                      <a:lnTo>
                        <a:pt x="145" y="71"/>
                      </a:lnTo>
                      <a:lnTo>
                        <a:pt x="145" y="71"/>
                      </a:lnTo>
                      <a:lnTo>
                        <a:pt x="144" y="69"/>
                      </a:lnTo>
                      <a:lnTo>
                        <a:pt x="144" y="69"/>
                      </a:lnTo>
                      <a:lnTo>
                        <a:pt x="144" y="69"/>
                      </a:lnTo>
                      <a:lnTo>
                        <a:pt x="144" y="69"/>
                      </a:lnTo>
                      <a:lnTo>
                        <a:pt x="144" y="69"/>
                      </a:lnTo>
                      <a:lnTo>
                        <a:pt x="144" y="69"/>
                      </a:lnTo>
                      <a:lnTo>
                        <a:pt x="142" y="68"/>
                      </a:lnTo>
                      <a:lnTo>
                        <a:pt x="142" y="68"/>
                      </a:lnTo>
                      <a:lnTo>
                        <a:pt x="139" y="69"/>
                      </a:lnTo>
                      <a:lnTo>
                        <a:pt x="139" y="69"/>
                      </a:lnTo>
                      <a:lnTo>
                        <a:pt x="139" y="69"/>
                      </a:lnTo>
                      <a:lnTo>
                        <a:pt x="139" y="69"/>
                      </a:lnTo>
                      <a:lnTo>
                        <a:pt x="139" y="69"/>
                      </a:lnTo>
                      <a:lnTo>
                        <a:pt x="139" y="69"/>
                      </a:lnTo>
                      <a:lnTo>
                        <a:pt x="139" y="69"/>
                      </a:lnTo>
                      <a:lnTo>
                        <a:pt x="139" y="69"/>
                      </a:lnTo>
                      <a:lnTo>
                        <a:pt x="136" y="71"/>
                      </a:lnTo>
                      <a:lnTo>
                        <a:pt x="136" y="71"/>
                      </a:lnTo>
                      <a:lnTo>
                        <a:pt x="136" y="71"/>
                      </a:lnTo>
                      <a:lnTo>
                        <a:pt x="136" y="71"/>
                      </a:lnTo>
                      <a:lnTo>
                        <a:pt x="133" y="71"/>
                      </a:lnTo>
                      <a:lnTo>
                        <a:pt x="133" y="71"/>
                      </a:lnTo>
                      <a:lnTo>
                        <a:pt x="133" y="69"/>
                      </a:lnTo>
                      <a:lnTo>
                        <a:pt x="133" y="69"/>
                      </a:lnTo>
                      <a:lnTo>
                        <a:pt x="133" y="69"/>
                      </a:lnTo>
                      <a:lnTo>
                        <a:pt x="133" y="69"/>
                      </a:lnTo>
                      <a:lnTo>
                        <a:pt x="133" y="69"/>
                      </a:lnTo>
                      <a:lnTo>
                        <a:pt x="128" y="66"/>
                      </a:lnTo>
                      <a:lnTo>
                        <a:pt x="120" y="59"/>
                      </a:lnTo>
                      <a:lnTo>
                        <a:pt x="115" y="52"/>
                      </a:lnTo>
                      <a:lnTo>
                        <a:pt x="113" y="49"/>
                      </a:lnTo>
                      <a:lnTo>
                        <a:pt x="112" y="46"/>
                      </a:lnTo>
                      <a:lnTo>
                        <a:pt x="112" y="46"/>
                      </a:lnTo>
                      <a:lnTo>
                        <a:pt x="113" y="44"/>
                      </a:lnTo>
                      <a:lnTo>
                        <a:pt x="113" y="44"/>
                      </a:lnTo>
                      <a:lnTo>
                        <a:pt x="116" y="36"/>
                      </a:lnTo>
                      <a:lnTo>
                        <a:pt x="118" y="27"/>
                      </a:lnTo>
                      <a:lnTo>
                        <a:pt x="118" y="27"/>
                      </a:lnTo>
                      <a:lnTo>
                        <a:pt x="118" y="21"/>
                      </a:lnTo>
                      <a:lnTo>
                        <a:pt x="120" y="14"/>
                      </a:lnTo>
                      <a:lnTo>
                        <a:pt x="123" y="8"/>
                      </a:lnTo>
                      <a:lnTo>
                        <a:pt x="129" y="2"/>
                      </a:lnTo>
                      <a:lnTo>
                        <a:pt x="129" y="2"/>
                      </a:lnTo>
                      <a:lnTo>
                        <a:pt x="129" y="2"/>
                      </a:lnTo>
                      <a:lnTo>
                        <a:pt x="129" y="2"/>
                      </a:lnTo>
                      <a:lnTo>
                        <a:pt x="135" y="1"/>
                      </a:lnTo>
                      <a:lnTo>
                        <a:pt x="144" y="0"/>
                      </a:lnTo>
                      <a:lnTo>
                        <a:pt x="144" y="0"/>
                      </a:lnTo>
                      <a:lnTo>
                        <a:pt x="144" y="0"/>
                      </a:lnTo>
                      <a:lnTo>
                        <a:pt x="144" y="0"/>
                      </a:lnTo>
                      <a:lnTo>
                        <a:pt x="149" y="0"/>
                      </a:lnTo>
                      <a:lnTo>
                        <a:pt x="149" y="0"/>
                      </a:lnTo>
                      <a:lnTo>
                        <a:pt x="149" y="0"/>
                      </a:lnTo>
                      <a:lnTo>
                        <a:pt x="149" y="0"/>
                      </a:lnTo>
                      <a:lnTo>
                        <a:pt x="149" y="0"/>
                      </a:lnTo>
                      <a:lnTo>
                        <a:pt x="149" y="0"/>
                      </a:lnTo>
                      <a:lnTo>
                        <a:pt x="151" y="2"/>
                      </a:lnTo>
                      <a:lnTo>
                        <a:pt x="154" y="4"/>
                      </a:lnTo>
                      <a:lnTo>
                        <a:pt x="154" y="4"/>
                      </a:lnTo>
                      <a:lnTo>
                        <a:pt x="160" y="10"/>
                      </a:lnTo>
                      <a:lnTo>
                        <a:pt x="160" y="10"/>
                      </a:lnTo>
                      <a:lnTo>
                        <a:pt x="161" y="7"/>
                      </a:lnTo>
                      <a:lnTo>
                        <a:pt x="161" y="7"/>
                      </a:lnTo>
                      <a:lnTo>
                        <a:pt x="161" y="4"/>
                      </a:lnTo>
                      <a:lnTo>
                        <a:pt x="160" y="1"/>
                      </a:lnTo>
                      <a:lnTo>
                        <a:pt x="160" y="1"/>
                      </a:lnTo>
                      <a:lnTo>
                        <a:pt x="165" y="2"/>
                      </a:lnTo>
                      <a:lnTo>
                        <a:pt x="165" y="2"/>
                      </a:lnTo>
                      <a:lnTo>
                        <a:pt x="173" y="7"/>
                      </a:lnTo>
                      <a:lnTo>
                        <a:pt x="181" y="13"/>
                      </a:lnTo>
                      <a:lnTo>
                        <a:pt x="190" y="18"/>
                      </a:lnTo>
                      <a:lnTo>
                        <a:pt x="197" y="23"/>
                      </a:lnTo>
                      <a:lnTo>
                        <a:pt x="197" y="23"/>
                      </a:lnTo>
                      <a:lnTo>
                        <a:pt x="194" y="33"/>
                      </a:lnTo>
                      <a:lnTo>
                        <a:pt x="193" y="42"/>
                      </a:lnTo>
                      <a:lnTo>
                        <a:pt x="193" y="42"/>
                      </a:lnTo>
                      <a:lnTo>
                        <a:pt x="191" y="50"/>
                      </a:lnTo>
                      <a:lnTo>
                        <a:pt x="191" y="59"/>
                      </a:lnTo>
                      <a:lnTo>
                        <a:pt x="190" y="66"/>
                      </a:lnTo>
                      <a:lnTo>
                        <a:pt x="186" y="75"/>
                      </a:lnTo>
                      <a:lnTo>
                        <a:pt x="186" y="75"/>
                      </a:lnTo>
                      <a:lnTo>
                        <a:pt x="184" y="79"/>
                      </a:lnTo>
                      <a:lnTo>
                        <a:pt x="184" y="82"/>
                      </a:lnTo>
                      <a:lnTo>
                        <a:pt x="184" y="82"/>
                      </a:lnTo>
                      <a:lnTo>
                        <a:pt x="186" y="88"/>
                      </a:lnTo>
                      <a:lnTo>
                        <a:pt x="187" y="94"/>
                      </a:lnTo>
                      <a:lnTo>
                        <a:pt x="187" y="94"/>
                      </a:lnTo>
                      <a:lnTo>
                        <a:pt x="171" y="97"/>
                      </a:lnTo>
                      <a:lnTo>
                        <a:pt x="162" y="99"/>
                      </a:lnTo>
                      <a:lnTo>
                        <a:pt x="155" y="102"/>
                      </a:lnTo>
                      <a:lnTo>
                        <a:pt x="155" y="102"/>
                      </a:lnTo>
                      <a:lnTo>
                        <a:pt x="154" y="105"/>
                      </a:lnTo>
                      <a:lnTo>
                        <a:pt x="151" y="110"/>
                      </a:lnTo>
                      <a:lnTo>
                        <a:pt x="148" y="120"/>
                      </a:lnTo>
                      <a:lnTo>
                        <a:pt x="148" y="120"/>
                      </a:lnTo>
                      <a:lnTo>
                        <a:pt x="141" y="118"/>
                      </a:lnTo>
                      <a:lnTo>
                        <a:pt x="141" y="118"/>
                      </a:lnTo>
                      <a:lnTo>
                        <a:pt x="139" y="118"/>
                      </a:lnTo>
                      <a:lnTo>
                        <a:pt x="139" y="118"/>
                      </a:lnTo>
                      <a:lnTo>
                        <a:pt x="138" y="118"/>
                      </a:lnTo>
                      <a:lnTo>
                        <a:pt x="138" y="118"/>
                      </a:lnTo>
                      <a:lnTo>
                        <a:pt x="132" y="121"/>
                      </a:lnTo>
                      <a:lnTo>
                        <a:pt x="126" y="124"/>
                      </a:lnTo>
                      <a:lnTo>
                        <a:pt x="118" y="134"/>
                      </a:lnTo>
                      <a:lnTo>
                        <a:pt x="118" y="134"/>
                      </a:lnTo>
                      <a:lnTo>
                        <a:pt x="113" y="140"/>
                      </a:lnTo>
                      <a:lnTo>
                        <a:pt x="107" y="147"/>
                      </a:lnTo>
                      <a:lnTo>
                        <a:pt x="103" y="153"/>
                      </a:lnTo>
                      <a:lnTo>
                        <a:pt x="100" y="155"/>
                      </a:lnTo>
                      <a:lnTo>
                        <a:pt x="99" y="15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92" name="Freeform 343"/>
                <p:cNvSpPr>
                  <a:spLocks/>
                </p:cNvSpPr>
                <p:nvPr/>
              </p:nvSpPr>
              <p:spPr bwMode="auto">
                <a:xfrm>
                  <a:off x="4753034" y="3458602"/>
                  <a:ext cx="194884" cy="154324"/>
                </a:xfrm>
                <a:custGeom>
                  <a:avLst/>
                  <a:gdLst>
                    <a:gd name="T0" fmla="*/ 62 w 197"/>
                    <a:gd name="T1" fmla="*/ 152 h 156"/>
                    <a:gd name="T2" fmla="*/ 51 w 197"/>
                    <a:gd name="T3" fmla="*/ 152 h 156"/>
                    <a:gd name="T4" fmla="*/ 47 w 197"/>
                    <a:gd name="T5" fmla="*/ 152 h 156"/>
                    <a:gd name="T6" fmla="*/ 42 w 197"/>
                    <a:gd name="T7" fmla="*/ 152 h 156"/>
                    <a:gd name="T8" fmla="*/ 34 w 197"/>
                    <a:gd name="T9" fmla="*/ 147 h 156"/>
                    <a:gd name="T10" fmla="*/ 34 w 197"/>
                    <a:gd name="T11" fmla="*/ 147 h 156"/>
                    <a:gd name="T12" fmla="*/ 18 w 197"/>
                    <a:gd name="T13" fmla="*/ 133 h 156"/>
                    <a:gd name="T14" fmla="*/ 9 w 197"/>
                    <a:gd name="T15" fmla="*/ 117 h 156"/>
                    <a:gd name="T16" fmla="*/ 2 w 197"/>
                    <a:gd name="T17" fmla="*/ 88 h 156"/>
                    <a:gd name="T18" fmla="*/ 2 w 197"/>
                    <a:gd name="T19" fmla="*/ 73 h 156"/>
                    <a:gd name="T20" fmla="*/ 18 w 197"/>
                    <a:gd name="T21" fmla="*/ 65 h 156"/>
                    <a:gd name="T22" fmla="*/ 52 w 197"/>
                    <a:gd name="T23" fmla="*/ 52 h 156"/>
                    <a:gd name="T24" fmla="*/ 52 w 197"/>
                    <a:gd name="T25" fmla="*/ 52 h 156"/>
                    <a:gd name="T26" fmla="*/ 54 w 197"/>
                    <a:gd name="T27" fmla="*/ 52 h 156"/>
                    <a:gd name="T28" fmla="*/ 54 w 197"/>
                    <a:gd name="T29" fmla="*/ 52 h 156"/>
                    <a:gd name="T30" fmla="*/ 55 w 197"/>
                    <a:gd name="T31" fmla="*/ 52 h 156"/>
                    <a:gd name="T32" fmla="*/ 64 w 197"/>
                    <a:gd name="T33" fmla="*/ 50 h 156"/>
                    <a:gd name="T34" fmla="*/ 65 w 197"/>
                    <a:gd name="T35" fmla="*/ 50 h 156"/>
                    <a:gd name="T36" fmla="*/ 65 w 197"/>
                    <a:gd name="T37" fmla="*/ 50 h 156"/>
                    <a:gd name="T38" fmla="*/ 65 w 197"/>
                    <a:gd name="T39" fmla="*/ 50 h 156"/>
                    <a:gd name="T40" fmla="*/ 67 w 197"/>
                    <a:gd name="T41" fmla="*/ 50 h 156"/>
                    <a:gd name="T42" fmla="*/ 99 w 197"/>
                    <a:gd name="T43" fmla="*/ 62 h 156"/>
                    <a:gd name="T44" fmla="*/ 118 w 197"/>
                    <a:gd name="T45" fmla="*/ 78 h 156"/>
                    <a:gd name="T46" fmla="*/ 119 w 197"/>
                    <a:gd name="T47" fmla="*/ 78 h 156"/>
                    <a:gd name="T48" fmla="*/ 119 w 197"/>
                    <a:gd name="T49" fmla="*/ 78 h 156"/>
                    <a:gd name="T50" fmla="*/ 131 w 197"/>
                    <a:gd name="T51" fmla="*/ 85 h 156"/>
                    <a:gd name="T52" fmla="*/ 133 w 197"/>
                    <a:gd name="T53" fmla="*/ 85 h 156"/>
                    <a:gd name="T54" fmla="*/ 133 w 197"/>
                    <a:gd name="T55" fmla="*/ 85 h 156"/>
                    <a:gd name="T56" fmla="*/ 145 w 197"/>
                    <a:gd name="T57" fmla="*/ 71 h 156"/>
                    <a:gd name="T58" fmla="*/ 144 w 197"/>
                    <a:gd name="T59" fmla="*/ 69 h 156"/>
                    <a:gd name="T60" fmla="*/ 142 w 197"/>
                    <a:gd name="T61" fmla="*/ 68 h 156"/>
                    <a:gd name="T62" fmla="*/ 139 w 197"/>
                    <a:gd name="T63" fmla="*/ 69 h 156"/>
                    <a:gd name="T64" fmla="*/ 139 w 197"/>
                    <a:gd name="T65" fmla="*/ 69 h 156"/>
                    <a:gd name="T66" fmla="*/ 136 w 197"/>
                    <a:gd name="T67" fmla="*/ 71 h 156"/>
                    <a:gd name="T68" fmla="*/ 133 w 197"/>
                    <a:gd name="T69" fmla="*/ 69 h 156"/>
                    <a:gd name="T70" fmla="*/ 133 w 197"/>
                    <a:gd name="T71" fmla="*/ 69 h 156"/>
                    <a:gd name="T72" fmla="*/ 113 w 197"/>
                    <a:gd name="T73" fmla="*/ 49 h 156"/>
                    <a:gd name="T74" fmla="*/ 113 w 197"/>
                    <a:gd name="T75" fmla="*/ 44 h 156"/>
                    <a:gd name="T76" fmla="*/ 118 w 197"/>
                    <a:gd name="T77" fmla="*/ 21 h 156"/>
                    <a:gd name="T78" fmla="*/ 129 w 197"/>
                    <a:gd name="T79" fmla="*/ 2 h 156"/>
                    <a:gd name="T80" fmla="*/ 144 w 197"/>
                    <a:gd name="T81" fmla="*/ 0 h 156"/>
                    <a:gd name="T82" fmla="*/ 149 w 197"/>
                    <a:gd name="T83" fmla="*/ 0 h 156"/>
                    <a:gd name="T84" fmla="*/ 149 w 197"/>
                    <a:gd name="T85" fmla="*/ 0 h 156"/>
                    <a:gd name="T86" fmla="*/ 154 w 197"/>
                    <a:gd name="T87" fmla="*/ 4 h 156"/>
                    <a:gd name="T88" fmla="*/ 161 w 197"/>
                    <a:gd name="T89" fmla="*/ 7 h 156"/>
                    <a:gd name="T90" fmla="*/ 165 w 197"/>
                    <a:gd name="T91" fmla="*/ 2 h 156"/>
                    <a:gd name="T92" fmla="*/ 190 w 197"/>
                    <a:gd name="T93" fmla="*/ 18 h 156"/>
                    <a:gd name="T94" fmla="*/ 193 w 197"/>
                    <a:gd name="T95" fmla="*/ 42 h 156"/>
                    <a:gd name="T96" fmla="*/ 190 w 197"/>
                    <a:gd name="T97" fmla="*/ 66 h 156"/>
                    <a:gd name="T98" fmla="*/ 184 w 197"/>
                    <a:gd name="T99" fmla="*/ 82 h 156"/>
                    <a:gd name="T100" fmla="*/ 187 w 197"/>
                    <a:gd name="T101" fmla="*/ 94 h 156"/>
                    <a:gd name="T102" fmla="*/ 155 w 197"/>
                    <a:gd name="T103" fmla="*/ 102 h 156"/>
                    <a:gd name="T104" fmla="*/ 148 w 197"/>
                    <a:gd name="T105" fmla="*/ 120 h 156"/>
                    <a:gd name="T106" fmla="*/ 139 w 197"/>
                    <a:gd name="T107" fmla="*/ 118 h 156"/>
                    <a:gd name="T108" fmla="*/ 126 w 197"/>
                    <a:gd name="T109" fmla="*/ 124 h 156"/>
                    <a:gd name="T110" fmla="*/ 107 w 197"/>
                    <a:gd name="T111" fmla="*/ 147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97" h="156">
                      <a:moveTo>
                        <a:pt x="99" y="156"/>
                      </a:moveTo>
                      <a:lnTo>
                        <a:pt x="99" y="156"/>
                      </a:lnTo>
                      <a:lnTo>
                        <a:pt x="81" y="155"/>
                      </a:lnTo>
                      <a:lnTo>
                        <a:pt x="62" y="152"/>
                      </a:lnTo>
                      <a:lnTo>
                        <a:pt x="62" y="152"/>
                      </a:lnTo>
                      <a:lnTo>
                        <a:pt x="62" y="152"/>
                      </a:lnTo>
                      <a:lnTo>
                        <a:pt x="62" y="152"/>
                      </a:lnTo>
                      <a:lnTo>
                        <a:pt x="51" y="152"/>
                      </a:lnTo>
                      <a:lnTo>
                        <a:pt x="51" y="152"/>
                      </a:lnTo>
                      <a:lnTo>
                        <a:pt x="51" y="152"/>
                      </a:lnTo>
                      <a:lnTo>
                        <a:pt x="51" y="152"/>
                      </a:lnTo>
                      <a:lnTo>
                        <a:pt x="47" y="152"/>
                      </a:lnTo>
                      <a:lnTo>
                        <a:pt x="47" y="152"/>
                      </a:lnTo>
                      <a:lnTo>
                        <a:pt x="44" y="152"/>
                      </a:lnTo>
                      <a:lnTo>
                        <a:pt x="44" y="152"/>
                      </a:lnTo>
                      <a:lnTo>
                        <a:pt x="42" y="152"/>
                      </a:lnTo>
                      <a:lnTo>
                        <a:pt x="42" y="152"/>
                      </a:lnTo>
                      <a:lnTo>
                        <a:pt x="39" y="150"/>
                      </a:lnTo>
                      <a:lnTo>
                        <a:pt x="39" y="150"/>
                      </a:lnTo>
                      <a:lnTo>
                        <a:pt x="34" y="147"/>
                      </a:lnTo>
                      <a:lnTo>
                        <a:pt x="34" y="147"/>
                      </a:lnTo>
                      <a:lnTo>
                        <a:pt x="34" y="147"/>
                      </a:lnTo>
                      <a:lnTo>
                        <a:pt x="34" y="147"/>
                      </a:lnTo>
                      <a:lnTo>
                        <a:pt x="34" y="147"/>
                      </a:lnTo>
                      <a:lnTo>
                        <a:pt x="34" y="147"/>
                      </a:lnTo>
                      <a:lnTo>
                        <a:pt x="23" y="140"/>
                      </a:lnTo>
                      <a:lnTo>
                        <a:pt x="18" y="133"/>
                      </a:lnTo>
                      <a:lnTo>
                        <a:pt x="18" y="133"/>
                      </a:lnTo>
                      <a:lnTo>
                        <a:pt x="18" y="133"/>
                      </a:lnTo>
                      <a:lnTo>
                        <a:pt x="18" y="133"/>
                      </a:lnTo>
                      <a:lnTo>
                        <a:pt x="18" y="133"/>
                      </a:lnTo>
                      <a:lnTo>
                        <a:pt x="9" y="117"/>
                      </a:lnTo>
                      <a:lnTo>
                        <a:pt x="5" y="108"/>
                      </a:lnTo>
                      <a:lnTo>
                        <a:pt x="3" y="99"/>
                      </a:lnTo>
                      <a:lnTo>
                        <a:pt x="3" y="99"/>
                      </a:lnTo>
                      <a:lnTo>
                        <a:pt x="2" y="88"/>
                      </a:lnTo>
                      <a:lnTo>
                        <a:pt x="0" y="79"/>
                      </a:lnTo>
                      <a:lnTo>
                        <a:pt x="0" y="79"/>
                      </a:lnTo>
                      <a:lnTo>
                        <a:pt x="0" y="76"/>
                      </a:lnTo>
                      <a:lnTo>
                        <a:pt x="2" y="73"/>
                      </a:lnTo>
                      <a:lnTo>
                        <a:pt x="2" y="73"/>
                      </a:lnTo>
                      <a:lnTo>
                        <a:pt x="9" y="68"/>
                      </a:lnTo>
                      <a:lnTo>
                        <a:pt x="13" y="66"/>
                      </a:lnTo>
                      <a:lnTo>
                        <a:pt x="18" y="65"/>
                      </a:lnTo>
                      <a:lnTo>
                        <a:pt x="44" y="65"/>
                      </a:lnTo>
                      <a:lnTo>
                        <a:pt x="44" y="44"/>
                      </a:lnTo>
                      <a:lnTo>
                        <a:pt x="44" y="44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5" y="52"/>
                      </a:lnTo>
                      <a:lnTo>
                        <a:pt x="55" y="52"/>
                      </a:lnTo>
                      <a:lnTo>
                        <a:pt x="60" y="50"/>
                      </a:lnTo>
                      <a:lnTo>
                        <a:pt x="60" y="50"/>
                      </a:lnTo>
                      <a:lnTo>
                        <a:pt x="64" y="50"/>
                      </a:lnTo>
                      <a:lnTo>
                        <a:pt x="64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5" y="50"/>
                      </a:lnTo>
                      <a:lnTo>
                        <a:pt x="67" y="50"/>
                      </a:lnTo>
                      <a:lnTo>
                        <a:pt x="67" y="50"/>
                      </a:lnTo>
                      <a:lnTo>
                        <a:pt x="81" y="56"/>
                      </a:lnTo>
                      <a:lnTo>
                        <a:pt x="99" y="62"/>
                      </a:lnTo>
                      <a:lnTo>
                        <a:pt x="99" y="62"/>
                      </a:lnTo>
                      <a:lnTo>
                        <a:pt x="110" y="69"/>
                      </a:lnTo>
                      <a:lnTo>
                        <a:pt x="115" y="72"/>
                      </a:lnTo>
                      <a:lnTo>
                        <a:pt x="118" y="78"/>
                      </a:lnTo>
                      <a:lnTo>
                        <a:pt x="118" y="78"/>
                      </a:lnTo>
                      <a:lnTo>
                        <a:pt x="118" y="78"/>
                      </a:lnTo>
                      <a:lnTo>
                        <a:pt x="118" y="78"/>
                      </a:lnTo>
                      <a:lnTo>
                        <a:pt x="119" y="78"/>
                      </a:lnTo>
                      <a:lnTo>
                        <a:pt x="119" y="78"/>
                      </a:lnTo>
                      <a:lnTo>
                        <a:pt x="119" y="78"/>
                      </a:lnTo>
                      <a:lnTo>
                        <a:pt x="119" y="78"/>
                      </a:lnTo>
                      <a:lnTo>
                        <a:pt x="119" y="78"/>
                      </a:lnTo>
                      <a:lnTo>
                        <a:pt x="119" y="78"/>
                      </a:lnTo>
                      <a:lnTo>
                        <a:pt x="120" y="82"/>
                      </a:lnTo>
                      <a:lnTo>
                        <a:pt x="123" y="84"/>
                      </a:lnTo>
                      <a:lnTo>
                        <a:pt x="131" y="85"/>
                      </a:lnTo>
                      <a:lnTo>
                        <a:pt x="131" y="85"/>
                      </a:lnTo>
                      <a:lnTo>
                        <a:pt x="131" y="85"/>
                      </a:lnTo>
                      <a:lnTo>
                        <a:pt x="131" y="85"/>
                      </a:lnTo>
                      <a:lnTo>
                        <a:pt x="133" y="85"/>
                      </a:lnTo>
                      <a:lnTo>
                        <a:pt x="133" y="85"/>
                      </a:lnTo>
                      <a:lnTo>
                        <a:pt x="133" y="85"/>
                      </a:lnTo>
                      <a:lnTo>
                        <a:pt x="133" y="85"/>
                      </a:lnTo>
                      <a:lnTo>
                        <a:pt x="133" y="85"/>
                      </a:lnTo>
                      <a:lnTo>
                        <a:pt x="133" y="85"/>
                      </a:lnTo>
                      <a:lnTo>
                        <a:pt x="138" y="84"/>
                      </a:lnTo>
                      <a:lnTo>
                        <a:pt x="141" y="79"/>
                      </a:lnTo>
                      <a:lnTo>
                        <a:pt x="144" y="75"/>
                      </a:lnTo>
                      <a:lnTo>
                        <a:pt x="145" y="71"/>
                      </a:lnTo>
                      <a:lnTo>
                        <a:pt x="145" y="71"/>
                      </a:lnTo>
                      <a:lnTo>
                        <a:pt x="144" y="69"/>
                      </a:lnTo>
                      <a:lnTo>
                        <a:pt x="144" y="69"/>
                      </a:lnTo>
                      <a:lnTo>
                        <a:pt x="144" y="69"/>
                      </a:lnTo>
                      <a:lnTo>
                        <a:pt x="144" y="69"/>
                      </a:lnTo>
                      <a:lnTo>
                        <a:pt x="144" y="69"/>
                      </a:lnTo>
                      <a:lnTo>
                        <a:pt x="144" y="69"/>
                      </a:lnTo>
                      <a:lnTo>
                        <a:pt x="142" y="68"/>
                      </a:lnTo>
                      <a:lnTo>
                        <a:pt x="142" y="68"/>
                      </a:lnTo>
                      <a:lnTo>
                        <a:pt x="139" y="69"/>
                      </a:lnTo>
                      <a:lnTo>
                        <a:pt x="139" y="69"/>
                      </a:lnTo>
                      <a:lnTo>
                        <a:pt x="139" y="69"/>
                      </a:lnTo>
                      <a:lnTo>
                        <a:pt x="139" y="69"/>
                      </a:lnTo>
                      <a:lnTo>
                        <a:pt x="139" y="69"/>
                      </a:lnTo>
                      <a:lnTo>
                        <a:pt x="139" y="69"/>
                      </a:lnTo>
                      <a:lnTo>
                        <a:pt x="139" y="69"/>
                      </a:lnTo>
                      <a:lnTo>
                        <a:pt x="139" y="69"/>
                      </a:lnTo>
                      <a:lnTo>
                        <a:pt x="136" y="71"/>
                      </a:lnTo>
                      <a:lnTo>
                        <a:pt x="136" y="71"/>
                      </a:lnTo>
                      <a:lnTo>
                        <a:pt x="136" y="71"/>
                      </a:lnTo>
                      <a:lnTo>
                        <a:pt x="136" y="71"/>
                      </a:lnTo>
                      <a:lnTo>
                        <a:pt x="133" y="71"/>
                      </a:lnTo>
                      <a:lnTo>
                        <a:pt x="133" y="71"/>
                      </a:lnTo>
                      <a:lnTo>
                        <a:pt x="133" y="69"/>
                      </a:lnTo>
                      <a:lnTo>
                        <a:pt x="133" y="69"/>
                      </a:lnTo>
                      <a:lnTo>
                        <a:pt x="133" y="69"/>
                      </a:lnTo>
                      <a:lnTo>
                        <a:pt x="133" y="69"/>
                      </a:lnTo>
                      <a:lnTo>
                        <a:pt x="133" y="69"/>
                      </a:lnTo>
                      <a:lnTo>
                        <a:pt x="128" y="66"/>
                      </a:lnTo>
                      <a:lnTo>
                        <a:pt x="120" y="59"/>
                      </a:lnTo>
                      <a:lnTo>
                        <a:pt x="115" y="52"/>
                      </a:lnTo>
                      <a:lnTo>
                        <a:pt x="113" y="49"/>
                      </a:lnTo>
                      <a:lnTo>
                        <a:pt x="112" y="46"/>
                      </a:lnTo>
                      <a:lnTo>
                        <a:pt x="112" y="46"/>
                      </a:lnTo>
                      <a:lnTo>
                        <a:pt x="113" y="44"/>
                      </a:lnTo>
                      <a:lnTo>
                        <a:pt x="113" y="44"/>
                      </a:lnTo>
                      <a:lnTo>
                        <a:pt x="116" y="36"/>
                      </a:lnTo>
                      <a:lnTo>
                        <a:pt x="118" y="27"/>
                      </a:lnTo>
                      <a:lnTo>
                        <a:pt x="118" y="27"/>
                      </a:lnTo>
                      <a:lnTo>
                        <a:pt x="118" y="21"/>
                      </a:lnTo>
                      <a:lnTo>
                        <a:pt x="120" y="14"/>
                      </a:lnTo>
                      <a:lnTo>
                        <a:pt x="123" y="8"/>
                      </a:lnTo>
                      <a:lnTo>
                        <a:pt x="129" y="2"/>
                      </a:lnTo>
                      <a:lnTo>
                        <a:pt x="129" y="2"/>
                      </a:lnTo>
                      <a:lnTo>
                        <a:pt x="129" y="2"/>
                      </a:lnTo>
                      <a:lnTo>
                        <a:pt x="129" y="2"/>
                      </a:lnTo>
                      <a:lnTo>
                        <a:pt x="135" y="1"/>
                      </a:lnTo>
                      <a:lnTo>
                        <a:pt x="144" y="0"/>
                      </a:lnTo>
                      <a:lnTo>
                        <a:pt x="144" y="0"/>
                      </a:lnTo>
                      <a:lnTo>
                        <a:pt x="144" y="0"/>
                      </a:lnTo>
                      <a:lnTo>
                        <a:pt x="144" y="0"/>
                      </a:lnTo>
                      <a:lnTo>
                        <a:pt x="149" y="0"/>
                      </a:lnTo>
                      <a:lnTo>
                        <a:pt x="149" y="0"/>
                      </a:lnTo>
                      <a:lnTo>
                        <a:pt x="149" y="0"/>
                      </a:lnTo>
                      <a:lnTo>
                        <a:pt x="149" y="0"/>
                      </a:lnTo>
                      <a:lnTo>
                        <a:pt x="149" y="0"/>
                      </a:lnTo>
                      <a:lnTo>
                        <a:pt x="149" y="0"/>
                      </a:lnTo>
                      <a:lnTo>
                        <a:pt x="151" y="2"/>
                      </a:lnTo>
                      <a:lnTo>
                        <a:pt x="154" y="4"/>
                      </a:lnTo>
                      <a:lnTo>
                        <a:pt x="154" y="4"/>
                      </a:lnTo>
                      <a:lnTo>
                        <a:pt x="160" y="10"/>
                      </a:lnTo>
                      <a:lnTo>
                        <a:pt x="160" y="10"/>
                      </a:lnTo>
                      <a:lnTo>
                        <a:pt x="161" y="7"/>
                      </a:lnTo>
                      <a:lnTo>
                        <a:pt x="161" y="7"/>
                      </a:lnTo>
                      <a:lnTo>
                        <a:pt x="161" y="4"/>
                      </a:lnTo>
                      <a:lnTo>
                        <a:pt x="160" y="1"/>
                      </a:lnTo>
                      <a:lnTo>
                        <a:pt x="160" y="1"/>
                      </a:lnTo>
                      <a:lnTo>
                        <a:pt x="165" y="2"/>
                      </a:lnTo>
                      <a:lnTo>
                        <a:pt x="165" y="2"/>
                      </a:lnTo>
                      <a:lnTo>
                        <a:pt x="173" y="7"/>
                      </a:lnTo>
                      <a:lnTo>
                        <a:pt x="181" y="13"/>
                      </a:lnTo>
                      <a:lnTo>
                        <a:pt x="190" y="18"/>
                      </a:lnTo>
                      <a:lnTo>
                        <a:pt x="197" y="23"/>
                      </a:lnTo>
                      <a:lnTo>
                        <a:pt x="197" y="23"/>
                      </a:lnTo>
                      <a:lnTo>
                        <a:pt x="194" y="33"/>
                      </a:lnTo>
                      <a:lnTo>
                        <a:pt x="193" y="42"/>
                      </a:lnTo>
                      <a:lnTo>
                        <a:pt x="193" y="42"/>
                      </a:lnTo>
                      <a:lnTo>
                        <a:pt x="191" y="50"/>
                      </a:lnTo>
                      <a:lnTo>
                        <a:pt x="191" y="59"/>
                      </a:lnTo>
                      <a:lnTo>
                        <a:pt x="190" y="66"/>
                      </a:lnTo>
                      <a:lnTo>
                        <a:pt x="186" y="75"/>
                      </a:lnTo>
                      <a:lnTo>
                        <a:pt x="186" y="75"/>
                      </a:lnTo>
                      <a:lnTo>
                        <a:pt x="184" y="79"/>
                      </a:lnTo>
                      <a:lnTo>
                        <a:pt x="184" y="82"/>
                      </a:lnTo>
                      <a:lnTo>
                        <a:pt x="184" y="82"/>
                      </a:lnTo>
                      <a:lnTo>
                        <a:pt x="186" y="88"/>
                      </a:lnTo>
                      <a:lnTo>
                        <a:pt x="187" y="94"/>
                      </a:lnTo>
                      <a:lnTo>
                        <a:pt x="187" y="94"/>
                      </a:lnTo>
                      <a:lnTo>
                        <a:pt x="171" y="97"/>
                      </a:lnTo>
                      <a:lnTo>
                        <a:pt x="162" y="99"/>
                      </a:lnTo>
                      <a:lnTo>
                        <a:pt x="155" y="102"/>
                      </a:lnTo>
                      <a:lnTo>
                        <a:pt x="155" y="102"/>
                      </a:lnTo>
                      <a:lnTo>
                        <a:pt x="154" y="105"/>
                      </a:lnTo>
                      <a:lnTo>
                        <a:pt x="151" y="110"/>
                      </a:lnTo>
                      <a:lnTo>
                        <a:pt x="148" y="120"/>
                      </a:lnTo>
                      <a:lnTo>
                        <a:pt x="148" y="120"/>
                      </a:lnTo>
                      <a:lnTo>
                        <a:pt x="141" y="118"/>
                      </a:lnTo>
                      <a:lnTo>
                        <a:pt x="141" y="118"/>
                      </a:lnTo>
                      <a:lnTo>
                        <a:pt x="139" y="118"/>
                      </a:lnTo>
                      <a:lnTo>
                        <a:pt x="139" y="118"/>
                      </a:lnTo>
                      <a:lnTo>
                        <a:pt x="138" y="118"/>
                      </a:lnTo>
                      <a:lnTo>
                        <a:pt x="138" y="118"/>
                      </a:lnTo>
                      <a:lnTo>
                        <a:pt x="132" y="121"/>
                      </a:lnTo>
                      <a:lnTo>
                        <a:pt x="126" y="124"/>
                      </a:lnTo>
                      <a:lnTo>
                        <a:pt x="118" y="134"/>
                      </a:lnTo>
                      <a:lnTo>
                        <a:pt x="118" y="134"/>
                      </a:lnTo>
                      <a:lnTo>
                        <a:pt x="113" y="140"/>
                      </a:lnTo>
                      <a:lnTo>
                        <a:pt x="107" y="147"/>
                      </a:lnTo>
                      <a:lnTo>
                        <a:pt x="103" y="153"/>
                      </a:lnTo>
                      <a:lnTo>
                        <a:pt x="100" y="155"/>
                      </a:lnTo>
                      <a:lnTo>
                        <a:pt x="99" y="15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93" name="Freeform 344"/>
                <p:cNvSpPr>
                  <a:spLocks noEditPoints="1"/>
                </p:cNvSpPr>
                <p:nvPr/>
              </p:nvSpPr>
              <p:spPr bwMode="auto">
                <a:xfrm>
                  <a:off x="4804476" y="3458602"/>
                  <a:ext cx="95958" cy="84087"/>
                </a:xfrm>
                <a:custGeom>
                  <a:avLst/>
                  <a:gdLst>
                    <a:gd name="T0" fmla="*/ 92 w 97"/>
                    <a:gd name="T1" fmla="*/ 0 h 85"/>
                    <a:gd name="T2" fmla="*/ 97 w 97"/>
                    <a:gd name="T3" fmla="*/ 0 h 85"/>
                    <a:gd name="T4" fmla="*/ 77 w 97"/>
                    <a:gd name="T5" fmla="*/ 2 h 85"/>
                    <a:gd name="T6" fmla="*/ 92 w 97"/>
                    <a:gd name="T7" fmla="*/ 0 h 85"/>
                    <a:gd name="T8" fmla="*/ 77 w 97"/>
                    <a:gd name="T9" fmla="*/ 2 h 85"/>
                    <a:gd name="T10" fmla="*/ 13 w 97"/>
                    <a:gd name="T11" fmla="*/ 50 h 85"/>
                    <a:gd name="T12" fmla="*/ 13 w 97"/>
                    <a:gd name="T13" fmla="*/ 50 h 85"/>
                    <a:gd name="T14" fmla="*/ 13 w 97"/>
                    <a:gd name="T15" fmla="*/ 50 h 85"/>
                    <a:gd name="T16" fmla="*/ 13 w 97"/>
                    <a:gd name="T17" fmla="*/ 50 h 85"/>
                    <a:gd name="T18" fmla="*/ 13 w 97"/>
                    <a:gd name="T19" fmla="*/ 50 h 85"/>
                    <a:gd name="T20" fmla="*/ 13 w 97"/>
                    <a:gd name="T21" fmla="*/ 50 h 85"/>
                    <a:gd name="T22" fmla="*/ 0 w 97"/>
                    <a:gd name="T23" fmla="*/ 52 h 85"/>
                    <a:gd name="T24" fmla="*/ 0 w 97"/>
                    <a:gd name="T25" fmla="*/ 52 h 85"/>
                    <a:gd name="T26" fmla="*/ 0 w 97"/>
                    <a:gd name="T27" fmla="*/ 52 h 85"/>
                    <a:gd name="T28" fmla="*/ 2 w 97"/>
                    <a:gd name="T29" fmla="*/ 52 h 85"/>
                    <a:gd name="T30" fmla="*/ 2 w 97"/>
                    <a:gd name="T31" fmla="*/ 52 h 85"/>
                    <a:gd name="T32" fmla="*/ 2 w 97"/>
                    <a:gd name="T33" fmla="*/ 52 h 85"/>
                    <a:gd name="T34" fmla="*/ 3 w 97"/>
                    <a:gd name="T35" fmla="*/ 52 h 85"/>
                    <a:gd name="T36" fmla="*/ 12 w 97"/>
                    <a:gd name="T37" fmla="*/ 50 h 85"/>
                    <a:gd name="T38" fmla="*/ 13 w 97"/>
                    <a:gd name="T39" fmla="*/ 50 h 85"/>
                    <a:gd name="T40" fmla="*/ 8 w 97"/>
                    <a:gd name="T41" fmla="*/ 50 h 85"/>
                    <a:gd name="T42" fmla="*/ 92 w 97"/>
                    <a:gd name="T43" fmla="*/ 69 h 85"/>
                    <a:gd name="T44" fmla="*/ 90 w 97"/>
                    <a:gd name="T45" fmla="*/ 68 h 85"/>
                    <a:gd name="T46" fmla="*/ 87 w 97"/>
                    <a:gd name="T47" fmla="*/ 69 h 85"/>
                    <a:gd name="T48" fmla="*/ 87 w 97"/>
                    <a:gd name="T49" fmla="*/ 69 h 85"/>
                    <a:gd name="T50" fmla="*/ 87 w 97"/>
                    <a:gd name="T51" fmla="*/ 69 h 85"/>
                    <a:gd name="T52" fmla="*/ 81 w 97"/>
                    <a:gd name="T53" fmla="*/ 69 h 85"/>
                    <a:gd name="T54" fmla="*/ 81 w 97"/>
                    <a:gd name="T55" fmla="*/ 69 h 85"/>
                    <a:gd name="T56" fmla="*/ 63 w 97"/>
                    <a:gd name="T57" fmla="*/ 52 h 85"/>
                    <a:gd name="T58" fmla="*/ 60 w 97"/>
                    <a:gd name="T59" fmla="*/ 46 h 85"/>
                    <a:gd name="T60" fmla="*/ 68 w 97"/>
                    <a:gd name="T61" fmla="*/ 59 h 85"/>
                    <a:gd name="T62" fmla="*/ 81 w 97"/>
                    <a:gd name="T63" fmla="*/ 69 h 85"/>
                    <a:gd name="T64" fmla="*/ 81 w 97"/>
                    <a:gd name="T65" fmla="*/ 71 h 85"/>
                    <a:gd name="T66" fmla="*/ 81 w 97"/>
                    <a:gd name="T67" fmla="*/ 71 h 85"/>
                    <a:gd name="T68" fmla="*/ 87 w 97"/>
                    <a:gd name="T69" fmla="*/ 69 h 85"/>
                    <a:gd name="T70" fmla="*/ 84 w 97"/>
                    <a:gd name="T71" fmla="*/ 71 h 85"/>
                    <a:gd name="T72" fmla="*/ 93 w 97"/>
                    <a:gd name="T73" fmla="*/ 72 h 85"/>
                    <a:gd name="T74" fmla="*/ 92 w 97"/>
                    <a:gd name="T75" fmla="*/ 69 h 85"/>
                    <a:gd name="T76" fmla="*/ 92 w 97"/>
                    <a:gd name="T77" fmla="*/ 69 h 85"/>
                    <a:gd name="T78" fmla="*/ 67 w 97"/>
                    <a:gd name="T79" fmla="*/ 78 h 85"/>
                    <a:gd name="T80" fmla="*/ 66 w 97"/>
                    <a:gd name="T81" fmla="*/ 78 h 85"/>
                    <a:gd name="T82" fmla="*/ 67 w 97"/>
                    <a:gd name="T83" fmla="*/ 79 h 85"/>
                    <a:gd name="T84" fmla="*/ 67 w 97"/>
                    <a:gd name="T85" fmla="*/ 79 h 85"/>
                    <a:gd name="T86" fmla="*/ 81 w 97"/>
                    <a:gd name="T87" fmla="*/ 85 h 85"/>
                    <a:gd name="T88" fmla="*/ 79 w 97"/>
                    <a:gd name="T89" fmla="*/ 85 h 85"/>
                    <a:gd name="T90" fmla="*/ 81 w 97"/>
                    <a:gd name="T91" fmla="*/ 85 h 85"/>
                    <a:gd name="T92" fmla="*/ 79 w 97"/>
                    <a:gd name="T93" fmla="*/ 85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97" h="85">
                      <a:moveTo>
                        <a:pt x="92" y="0"/>
                      </a:moveTo>
                      <a:lnTo>
                        <a:pt x="92" y="0"/>
                      </a:lnTo>
                      <a:lnTo>
                        <a:pt x="92" y="0"/>
                      </a:lnTo>
                      <a:close/>
                      <a:moveTo>
                        <a:pt x="97" y="0"/>
                      </a:moveTo>
                      <a:lnTo>
                        <a:pt x="97" y="0"/>
                      </a:lnTo>
                      <a:lnTo>
                        <a:pt x="97" y="0"/>
                      </a:lnTo>
                      <a:lnTo>
                        <a:pt x="97" y="0"/>
                      </a:lnTo>
                      <a:lnTo>
                        <a:pt x="97" y="0"/>
                      </a:lnTo>
                      <a:close/>
                      <a:moveTo>
                        <a:pt x="77" y="2"/>
                      </a:moveTo>
                      <a:lnTo>
                        <a:pt x="77" y="2"/>
                      </a:lnTo>
                      <a:lnTo>
                        <a:pt x="83" y="1"/>
                      </a:lnTo>
                      <a:lnTo>
                        <a:pt x="92" y="0"/>
                      </a:lnTo>
                      <a:lnTo>
                        <a:pt x="92" y="0"/>
                      </a:lnTo>
                      <a:lnTo>
                        <a:pt x="83" y="1"/>
                      </a:lnTo>
                      <a:lnTo>
                        <a:pt x="77" y="2"/>
                      </a:lnTo>
                      <a:close/>
                      <a:moveTo>
                        <a:pt x="13" y="50"/>
                      </a:moveTo>
                      <a:lnTo>
                        <a:pt x="13" y="50"/>
                      </a:lnTo>
                      <a:lnTo>
                        <a:pt x="13" y="50"/>
                      </a:lnTo>
                      <a:lnTo>
                        <a:pt x="13" y="50"/>
                      </a:lnTo>
                      <a:lnTo>
                        <a:pt x="13" y="50"/>
                      </a:lnTo>
                      <a:close/>
                      <a:moveTo>
                        <a:pt x="13" y="50"/>
                      </a:moveTo>
                      <a:lnTo>
                        <a:pt x="13" y="50"/>
                      </a:lnTo>
                      <a:lnTo>
                        <a:pt x="13" y="50"/>
                      </a:lnTo>
                      <a:lnTo>
                        <a:pt x="13" y="50"/>
                      </a:lnTo>
                      <a:lnTo>
                        <a:pt x="13" y="50"/>
                      </a:lnTo>
                      <a:close/>
                      <a:moveTo>
                        <a:pt x="13" y="50"/>
                      </a:moveTo>
                      <a:lnTo>
                        <a:pt x="13" y="50"/>
                      </a:lnTo>
                      <a:lnTo>
                        <a:pt x="13" y="50"/>
                      </a:lnTo>
                      <a:lnTo>
                        <a:pt x="13" y="50"/>
                      </a:lnTo>
                      <a:lnTo>
                        <a:pt x="13" y="50"/>
                      </a:lnTo>
                      <a:close/>
                      <a:moveTo>
                        <a:pt x="15" y="50"/>
                      </a:moveTo>
                      <a:lnTo>
                        <a:pt x="15" y="50"/>
                      </a:lnTo>
                      <a:lnTo>
                        <a:pt x="13" y="50"/>
                      </a:lnTo>
                      <a:lnTo>
                        <a:pt x="13" y="50"/>
                      </a:lnTo>
                      <a:lnTo>
                        <a:pt x="15" y="50"/>
                      </a:lnTo>
                      <a:close/>
                      <a:moveTo>
                        <a:pt x="0" y="52"/>
                      </a:moveTo>
                      <a:lnTo>
                        <a:pt x="0" y="52"/>
                      </a:lnTo>
                      <a:lnTo>
                        <a:pt x="0" y="52"/>
                      </a:lnTo>
                      <a:lnTo>
                        <a:pt x="0" y="52"/>
                      </a:lnTo>
                      <a:lnTo>
                        <a:pt x="0" y="52"/>
                      </a:lnTo>
                      <a:close/>
                      <a:moveTo>
                        <a:pt x="0" y="52"/>
                      </a:moveTo>
                      <a:lnTo>
                        <a:pt x="0" y="52"/>
                      </a:lnTo>
                      <a:close/>
                      <a:moveTo>
                        <a:pt x="2" y="52"/>
                      </a:moveTo>
                      <a:lnTo>
                        <a:pt x="2" y="52"/>
                      </a:lnTo>
                      <a:lnTo>
                        <a:pt x="2" y="52"/>
                      </a:lnTo>
                      <a:close/>
                      <a:moveTo>
                        <a:pt x="2" y="52"/>
                      </a:moveTo>
                      <a:lnTo>
                        <a:pt x="2" y="52"/>
                      </a:lnTo>
                      <a:lnTo>
                        <a:pt x="2" y="52"/>
                      </a:lnTo>
                      <a:close/>
                      <a:moveTo>
                        <a:pt x="3" y="52"/>
                      </a:moveTo>
                      <a:lnTo>
                        <a:pt x="3" y="52"/>
                      </a:lnTo>
                      <a:lnTo>
                        <a:pt x="2" y="52"/>
                      </a:lnTo>
                      <a:lnTo>
                        <a:pt x="2" y="52"/>
                      </a:lnTo>
                      <a:lnTo>
                        <a:pt x="3" y="52"/>
                      </a:lnTo>
                      <a:lnTo>
                        <a:pt x="3" y="52"/>
                      </a:lnTo>
                      <a:lnTo>
                        <a:pt x="8" y="50"/>
                      </a:lnTo>
                      <a:lnTo>
                        <a:pt x="8" y="50"/>
                      </a:lnTo>
                      <a:lnTo>
                        <a:pt x="12" y="50"/>
                      </a:lnTo>
                      <a:lnTo>
                        <a:pt x="12" y="50"/>
                      </a:lnTo>
                      <a:lnTo>
                        <a:pt x="13" y="50"/>
                      </a:lnTo>
                      <a:lnTo>
                        <a:pt x="13" y="50"/>
                      </a:lnTo>
                      <a:lnTo>
                        <a:pt x="12" y="50"/>
                      </a:lnTo>
                      <a:lnTo>
                        <a:pt x="12" y="50"/>
                      </a:lnTo>
                      <a:lnTo>
                        <a:pt x="8" y="50"/>
                      </a:lnTo>
                      <a:lnTo>
                        <a:pt x="8" y="50"/>
                      </a:lnTo>
                      <a:lnTo>
                        <a:pt x="3" y="52"/>
                      </a:lnTo>
                      <a:close/>
                      <a:moveTo>
                        <a:pt x="92" y="69"/>
                      </a:moveTo>
                      <a:lnTo>
                        <a:pt x="92" y="69"/>
                      </a:lnTo>
                      <a:lnTo>
                        <a:pt x="90" y="68"/>
                      </a:lnTo>
                      <a:lnTo>
                        <a:pt x="90" y="68"/>
                      </a:lnTo>
                      <a:lnTo>
                        <a:pt x="92" y="69"/>
                      </a:lnTo>
                      <a:close/>
                      <a:moveTo>
                        <a:pt x="87" y="69"/>
                      </a:moveTo>
                      <a:lnTo>
                        <a:pt x="87" y="69"/>
                      </a:lnTo>
                      <a:lnTo>
                        <a:pt x="87" y="69"/>
                      </a:lnTo>
                      <a:lnTo>
                        <a:pt x="87" y="69"/>
                      </a:lnTo>
                      <a:lnTo>
                        <a:pt x="87" y="69"/>
                      </a:lnTo>
                      <a:close/>
                      <a:moveTo>
                        <a:pt x="87" y="69"/>
                      </a:moveTo>
                      <a:lnTo>
                        <a:pt x="87" y="69"/>
                      </a:lnTo>
                      <a:lnTo>
                        <a:pt x="87" y="69"/>
                      </a:lnTo>
                      <a:lnTo>
                        <a:pt x="87" y="69"/>
                      </a:lnTo>
                      <a:lnTo>
                        <a:pt x="87" y="69"/>
                      </a:lnTo>
                      <a:close/>
                      <a:moveTo>
                        <a:pt x="81" y="69"/>
                      </a:moveTo>
                      <a:lnTo>
                        <a:pt x="81" y="69"/>
                      </a:lnTo>
                      <a:lnTo>
                        <a:pt x="81" y="69"/>
                      </a:lnTo>
                      <a:lnTo>
                        <a:pt x="81" y="69"/>
                      </a:lnTo>
                      <a:lnTo>
                        <a:pt x="76" y="66"/>
                      </a:lnTo>
                      <a:lnTo>
                        <a:pt x="68" y="59"/>
                      </a:lnTo>
                      <a:lnTo>
                        <a:pt x="63" y="52"/>
                      </a:lnTo>
                      <a:lnTo>
                        <a:pt x="61" y="49"/>
                      </a:lnTo>
                      <a:lnTo>
                        <a:pt x="60" y="46"/>
                      </a:lnTo>
                      <a:lnTo>
                        <a:pt x="60" y="46"/>
                      </a:lnTo>
                      <a:lnTo>
                        <a:pt x="61" y="49"/>
                      </a:lnTo>
                      <a:lnTo>
                        <a:pt x="63" y="52"/>
                      </a:lnTo>
                      <a:lnTo>
                        <a:pt x="68" y="59"/>
                      </a:lnTo>
                      <a:lnTo>
                        <a:pt x="76" y="66"/>
                      </a:lnTo>
                      <a:lnTo>
                        <a:pt x="81" y="69"/>
                      </a:lnTo>
                      <a:lnTo>
                        <a:pt x="81" y="69"/>
                      </a:lnTo>
                      <a:lnTo>
                        <a:pt x="81" y="69"/>
                      </a:lnTo>
                      <a:close/>
                      <a:moveTo>
                        <a:pt x="81" y="71"/>
                      </a:moveTo>
                      <a:lnTo>
                        <a:pt x="81" y="71"/>
                      </a:lnTo>
                      <a:lnTo>
                        <a:pt x="81" y="69"/>
                      </a:lnTo>
                      <a:lnTo>
                        <a:pt x="81" y="69"/>
                      </a:lnTo>
                      <a:lnTo>
                        <a:pt x="81" y="71"/>
                      </a:lnTo>
                      <a:close/>
                      <a:moveTo>
                        <a:pt x="84" y="71"/>
                      </a:moveTo>
                      <a:lnTo>
                        <a:pt x="84" y="71"/>
                      </a:lnTo>
                      <a:lnTo>
                        <a:pt x="87" y="69"/>
                      </a:lnTo>
                      <a:lnTo>
                        <a:pt x="87" y="69"/>
                      </a:lnTo>
                      <a:lnTo>
                        <a:pt x="84" y="71"/>
                      </a:lnTo>
                      <a:close/>
                      <a:moveTo>
                        <a:pt x="84" y="71"/>
                      </a:moveTo>
                      <a:lnTo>
                        <a:pt x="84" y="71"/>
                      </a:lnTo>
                      <a:lnTo>
                        <a:pt x="84" y="71"/>
                      </a:lnTo>
                      <a:close/>
                      <a:moveTo>
                        <a:pt x="93" y="72"/>
                      </a:moveTo>
                      <a:lnTo>
                        <a:pt x="93" y="72"/>
                      </a:lnTo>
                      <a:lnTo>
                        <a:pt x="92" y="69"/>
                      </a:lnTo>
                      <a:lnTo>
                        <a:pt x="92" y="69"/>
                      </a:lnTo>
                      <a:lnTo>
                        <a:pt x="92" y="69"/>
                      </a:lnTo>
                      <a:lnTo>
                        <a:pt x="92" y="69"/>
                      </a:lnTo>
                      <a:lnTo>
                        <a:pt x="92" y="69"/>
                      </a:lnTo>
                      <a:lnTo>
                        <a:pt x="92" y="69"/>
                      </a:lnTo>
                      <a:lnTo>
                        <a:pt x="93" y="72"/>
                      </a:lnTo>
                      <a:close/>
                      <a:moveTo>
                        <a:pt x="67" y="78"/>
                      </a:moveTo>
                      <a:lnTo>
                        <a:pt x="67" y="78"/>
                      </a:lnTo>
                      <a:lnTo>
                        <a:pt x="66" y="78"/>
                      </a:lnTo>
                      <a:lnTo>
                        <a:pt x="66" y="78"/>
                      </a:lnTo>
                      <a:lnTo>
                        <a:pt x="67" y="78"/>
                      </a:lnTo>
                      <a:close/>
                      <a:moveTo>
                        <a:pt x="67" y="79"/>
                      </a:moveTo>
                      <a:lnTo>
                        <a:pt x="67" y="79"/>
                      </a:lnTo>
                      <a:lnTo>
                        <a:pt x="67" y="78"/>
                      </a:lnTo>
                      <a:lnTo>
                        <a:pt x="67" y="78"/>
                      </a:lnTo>
                      <a:lnTo>
                        <a:pt x="67" y="79"/>
                      </a:lnTo>
                      <a:close/>
                      <a:moveTo>
                        <a:pt x="81" y="85"/>
                      </a:moveTo>
                      <a:lnTo>
                        <a:pt x="81" y="85"/>
                      </a:lnTo>
                      <a:lnTo>
                        <a:pt x="81" y="85"/>
                      </a:lnTo>
                      <a:lnTo>
                        <a:pt x="81" y="85"/>
                      </a:lnTo>
                      <a:lnTo>
                        <a:pt x="81" y="85"/>
                      </a:lnTo>
                      <a:close/>
                      <a:moveTo>
                        <a:pt x="79" y="85"/>
                      </a:moveTo>
                      <a:lnTo>
                        <a:pt x="79" y="85"/>
                      </a:lnTo>
                      <a:lnTo>
                        <a:pt x="81" y="85"/>
                      </a:lnTo>
                      <a:lnTo>
                        <a:pt x="81" y="85"/>
                      </a:lnTo>
                      <a:lnTo>
                        <a:pt x="79" y="85"/>
                      </a:lnTo>
                      <a:close/>
                      <a:moveTo>
                        <a:pt x="79" y="85"/>
                      </a:moveTo>
                      <a:lnTo>
                        <a:pt x="79" y="85"/>
                      </a:lnTo>
                      <a:lnTo>
                        <a:pt x="79" y="8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94" name="Freeform 345"/>
                <p:cNvSpPr>
                  <a:spLocks/>
                </p:cNvSpPr>
                <p:nvPr/>
              </p:nvSpPr>
              <p:spPr bwMode="auto">
                <a:xfrm>
                  <a:off x="4895488" y="3458602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95" name="Rectangle 346"/>
                <p:cNvSpPr>
                  <a:spLocks noChangeArrowheads="1"/>
                </p:cNvSpPr>
                <p:nvPr/>
              </p:nvSpPr>
              <p:spPr bwMode="auto">
                <a:xfrm>
                  <a:off x="4900434" y="3458602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96" name="Freeform 347"/>
                <p:cNvSpPr>
                  <a:spLocks/>
                </p:cNvSpPr>
                <p:nvPr/>
              </p:nvSpPr>
              <p:spPr bwMode="auto">
                <a:xfrm>
                  <a:off x="4880649" y="3458602"/>
                  <a:ext cx="14839" cy="1979"/>
                </a:xfrm>
                <a:custGeom>
                  <a:avLst/>
                  <a:gdLst>
                    <a:gd name="T0" fmla="*/ 0 w 15"/>
                    <a:gd name="T1" fmla="*/ 2 h 2"/>
                    <a:gd name="T2" fmla="*/ 0 w 15"/>
                    <a:gd name="T3" fmla="*/ 2 h 2"/>
                    <a:gd name="T4" fmla="*/ 6 w 15"/>
                    <a:gd name="T5" fmla="*/ 1 h 2"/>
                    <a:gd name="T6" fmla="*/ 15 w 15"/>
                    <a:gd name="T7" fmla="*/ 0 h 2"/>
                    <a:gd name="T8" fmla="*/ 15 w 15"/>
                    <a:gd name="T9" fmla="*/ 0 h 2"/>
                    <a:gd name="T10" fmla="*/ 6 w 15"/>
                    <a:gd name="T11" fmla="*/ 1 h 2"/>
                    <a:gd name="T12" fmla="*/ 0 w 15"/>
                    <a:gd name="T1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2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6" y="1"/>
                      </a:lnTo>
                      <a:lnTo>
                        <a:pt x="15" y="0"/>
                      </a:lnTo>
                      <a:lnTo>
                        <a:pt x="15" y="0"/>
                      </a:lnTo>
                      <a:lnTo>
                        <a:pt x="6" y="1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97" name="Rectangle 348"/>
                <p:cNvSpPr>
                  <a:spLocks noChangeArrowheads="1"/>
                </p:cNvSpPr>
                <p:nvPr/>
              </p:nvSpPr>
              <p:spPr bwMode="auto">
                <a:xfrm>
                  <a:off x="4817336" y="3508065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98" name="Rectangle 349"/>
                <p:cNvSpPr>
                  <a:spLocks noChangeArrowheads="1"/>
                </p:cNvSpPr>
                <p:nvPr/>
              </p:nvSpPr>
              <p:spPr bwMode="auto">
                <a:xfrm>
                  <a:off x="4817336" y="3508065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99" name="Rectangle 350"/>
                <p:cNvSpPr>
                  <a:spLocks noChangeArrowheads="1"/>
                </p:cNvSpPr>
                <p:nvPr/>
              </p:nvSpPr>
              <p:spPr bwMode="auto">
                <a:xfrm>
                  <a:off x="4817336" y="3508065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00" name="Rectangle 351"/>
                <p:cNvSpPr>
                  <a:spLocks noChangeArrowheads="1"/>
                </p:cNvSpPr>
                <p:nvPr/>
              </p:nvSpPr>
              <p:spPr bwMode="auto">
                <a:xfrm>
                  <a:off x="4817336" y="3508065"/>
                  <a:ext cx="197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01" name="Rectangle 352"/>
                <p:cNvSpPr>
                  <a:spLocks noChangeArrowheads="1"/>
                </p:cNvSpPr>
                <p:nvPr/>
              </p:nvSpPr>
              <p:spPr bwMode="auto">
                <a:xfrm>
                  <a:off x="4804476" y="3510044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02" name="Line 353"/>
                <p:cNvSpPr>
                  <a:spLocks noChangeShapeType="1"/>
                </p:cNvSpPr>
                <p:nvPr/>
              </p:nvSpPr>
              <p:spPr bwMode="auto">
                <a:xfrm>
                  <a:off x="4804476" y="3510044"/>
                  <a:ext cx="0" cy="0"/>
                </a:xfrm>
                <a:prstGeom prst="line">
                  <a:avLst/>
                </a:pr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03" name="Freeform 354"/>
                <p:cNvSpPr>
                  <a:spLocks/>
                </p:cNvSpPr>
                <p:nvPr/>
              </p:nvSpPr>
              <p:spPr bwMode="auto">
                <a:xfrm>
                  <a:off x="4806454" y="3510044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04" name="Freeform 355"/>
                <p:cNvSpPr>
                  <a:spLocks/>
                </p:cNvSpPr>
                <p:nvPr/>
              </p:nvSpPr>
              <p:spPr bwMode="auto">
                <a:xfrm>
                  <a:off x="4806454" y="3510044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05" name="Freeform 356"/>
                <p:cNvSpPr>
                  <a:spLocks/>
                </p:cNvSpPr>
                <p:nvPr/>
              </p:nvSpPr>
              <p:spPr bwMode="auto">
                <a:xfrm>
                  <a:off x="4806454" y="3508065"/>
                  <a:ext cx="10882" cy="1979"/>
                </a:xfrm>
                <a:custGeom>
                  <a:avLst/>
                  <a:gdLst>
                    <a:gd name="T0" fmla="*/ 1 w 11"/>
                    <a:gd name="T1" fmla="*/ 2 h 2"/>
                    <a:gd name="T2" fmla="*/ 1 w 11"/>
                    <a:gd name="T3" fmla="*/ 2 h 2"/>
                    <a:gd name="T4" fmla="*/ 0 w 11"/>
                    <a:gd name="T5" fmla="*/ 2 h 2"/>
                    <a:gd name="T6" fmla="*/ 0 w 11"/>
                    <a:gd name="T7" fmla="*/ 2 h 2"/>
                    <a:gd name="T8" fmla="*/ 1 w 11"/>
                    <a:gd name="T9" fmla="*/ 2 h 2"/>
                    <a:gd name="T10" fmla="*/ 1 w 11"/>
                    <a:gd name="T11" fmla="*/ 2 h 2"/>
                    <a:gd name="T12" fmla="*/ 6 w 11"/>
                    <a:gd name="T13" fmla="*/ 0 h 2"/>
                    <a:gd name="T14" fmla="*/ 6 w 11"/>
                    <a:gd name="T15" fmla="*/ 0 h 2"/>
                    <a:gd name="T16" fmla="*/ 10 w 11"/>
                    <a:gd name="T17" fmla="*/ 0 h 2"/>
                    <a:gd name="T18" fmla="*/ 10 w 11"/>
                    <a:gd name="T19" fmla="*/ 0 h 2"/>
                    <a:gd name="T20" fmla="*/ 11 w 11"/>
                    <a:gd name="T21" fmla="*/ 0 h 2"/>
                    <a:gd name="T22" fmla="*/ 11 w 11"/>
                    <a:gd name="T23" fmla="*/ 0 h 2"/>
                    <a:gd name="T24" fmla="*/ 10 w 11"/>
                    <a:gd name="T25" fmla="*/ 0 h 2"/>
                    <a:gd name="T26" fmla="*/ 10 w 11"/>
                    <a:gd name="T27" fmla="*/ 0 h 2"/>
                    <a:gd name="T28" fmla="*/ 6 w 11"/>
                    <a:gd name="T29" fmla="*/ 0 h 2"/>
                    <a:gd name="T30" fmla="*/ 6 w 11"/>
                    <a:gd name="T31" fmla="*/ 0 h 2"/>
                    <a:gd name="T32" fmla="*/ 1 w 11"/>
                    <a:gd name="T3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" h="2">
                      <a:moveTo>
                        <a:pt x="1" y="2"/>
                      </a:move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1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06" name="Freeform 357"/>
                <p:cNvSpPr>
                  <a:spLocks/>
                </p:cNvSpPr>
                <p:nvPr/>
              </p:nvSpPr>
              <p:spPr bwMode="auto">
                <a:xfrm>
                  <a:off x="4893509" y="3525872"/>
                  <a:ext cx="1979" cy="989"/>
                </a:xfrm>
                <a:custGeom>
                  <a:avLst/>
                  <a:gdLst>
                    <a:gd name="T0" fmla="*/ 2 w 2"/>
                    <a:gd name="T1" fmla="*/ 1 h 1"/>
                    <a:gd name="T2" fmla="*/ 2 w 2"/>
                    <a:gd name="T3" fmla="*/ 1 h 1"/>
                    <a:gd name="T4" fmla="*/ 0 w 2"/>
                    <a:gd name="T5" fmla="*/ 0 h 1"/>
                    <a:gd name="T6" fmla="*/ 0 w 2"/>
                    <a:gd name="T7" fmla="*/ 0 h 1"/>
                    <a:gd name="T8" fmla="*/ 2 w 2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07" name="Rectangle 358"/>
                <p:cNvSpPr>
                  <a:spLocks noChangeArrowheads="1"/>
                </p:cNvSpPr>
                <p:nvPr/>
              </p:nvSpPr>
              <p:spPr bwMode="auto">
                <a:xfrm>
                  <a:off x="4890541" y="3526861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08" name="Rectangle 359"/>
                <p:cNvSpPr>
                  <a:spLocks noChangeArrowheads="1"/>
                </p:cNvSpPr>
                <p:nvPr/>
              </p:nvSpPr>
              <p:spPr bwMode="auto">
                <a:xfrm>
                  <a:off x="4890541" y="3526861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09" name="Freeform 360"/>
                <p:cNvSpPr>
                  <a:spLocks/>
                </p:cNvSpPr>
                <p:nvPr/>
              </p:nvSpPr>
              <p:spPr bwMode="auto">
                <a:xfrm>
                  <a:off x="4863831" y="3504108"/>
                  <a:ext cx="20774" cy="22753"/>
                </a:xfrm>
                <a:custGeom>
                  <a:avLst/>
                  <a:gdLst>
                    <a:gd name="T0" fmla="*/ 21 w 21"/>
                    <a:gd name="T1" fmla="*/ 23 h 23"/>
                    <a:gd name="T2" fmla="*/ 21 w 21"/>
                    <a:gd name="T3" fmla="*/ 23 h 23"/>
                    <a:gd name="T4" fmla="*/ 21 w 21"/>
                    <a:gd name="T5" fmla="*/ 23 h 23"/>
                    <a:gd name="T6" fmla="*/ 21 w 21"/>
                    <a:gd name="T7" fmla="*/ 23 h 23"/>
                    <a:gd name="T8" fmla="*/ 16 w 21"/>
                    <a:gd name="T9" fmla="*/ 20 h 23"/>
                    <a:gd name="T10" fmla="*/ 8 w 21"/>
                    <a:gd name="T11" fmla="*/ 13 h 23"/>
                    <a:gd name="T12" fmla="*/ 3 w 21"/>
                    <a:gd name="T13" fmla="*/ 6 h 23"/>
                    <a:gd name="T14" fmla="*/ 1 w 21"/>
                    <a:gd name="T15" fmla="*/ 3 h 23"/>
                    <a:gd name="T16" fmla="*/ 0 w 21"/>
                    <a:gd name="T17" fmla="*/ 0 h 23"/>
                    <a:gd name="T18" fmla="*/ 0 w 21"/>
                    <a:gd name="T19" fmla="*/ 0 h 23"/>
                    <a:gd name="T20" fmla="*/ 1 w 21"/>
                    <a:gd name="T21" fmla="*/ 3 h 23"/>
                    <a:gd name="T22" fmla="*/ 3 w 21"/>
                    <a:gd name="T23" fmla="*/ 6 h 23"/>
                    <a:gd name="T24" fmla="*/ 8 w 21"/>
                    <a:gd name="T25" fmla="*/ 13 h 23"/>
                    <a:gd name="T26" fmla="*/ 16 w 21"/>
                    <a:gd name="T27" fmla="*/ 20 h 23"/>
                    <a:gd name="T28" fmla="*/ 21 w 21"/>
                    <a:gd name="T29" fmla="*/ 23 h 23"/>
                    <a:gd name="T30" fmla="*/ 21 w 21"/>
                    <a:gd name="T31" fmla="*/ 23 h 23"/>
                    <a:gd name="T32" fmla="*/ 21 w 21"/>
                    <a:gd name="T3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1" h="23">
                      <a:moveTo>
                        <a:pt x="21" y="23"/>
                      </a:moveTo>
                      <a:lnTo>
                        <a:pt x="21" y="23"/>
                      </a:lnTo>
                      <a:lnTo>
                        <a:pt x="21" y="23"/>
                      </a:lnTo>
                      <a:lnTo>
                        <a:pt x="21" y="23"/>
                      </a:lnTo>
                      <a:lnTo>
                        <a:pt x="16" y="20"/>
                      </a:lnTo>
                      <a:lnTo>
                        <a:pt x="8" y="13"/>
                      </a:lnTo>
                      <a:lnTo>
                        <a:pt x="3" y="6"/>
                      </a:lnTo>
                      <a:lnTo>
                        <a:pt x="1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3"/>
                      </a:lnTo>
                      <a:lnTo>
                        <a:pt x="3" y="6"/>
                      </a:lnTo>
                      <a:lnTo>
                        <a:pt x="8" y="13"/>
                      </a:lnTo>
                      <a:lnTo>
                        <a:pt x="16" y="20"/>
                      </a:lnTo>
                      <a:lnTo>
                        <a:pt x="21" y="23"/>
                      </a:lnTo>
                      <a:lnTo>
                        <a:pt x="21" y="23"/>
                      </a:lnTo>
                      <a:lnTo>
                        <a:pt x="21" y="2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10" name="Rectangle 361"/>
                <p:cNvSpPr>
                  <a:spLocks noChangeArrowheads="1"/>
                </p:cNvSpPr>
                <p:nvPr/>
              </p:nvSpPr>
              <p:spPr bwMode="auto">
                <a:xfrm>
                  <a:off x="4884606" y="3526861"/>
                  <a:ext cx="989" cy="197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11" name="Freeform 362"/>
                <p:cNvSpPr>
                  <a:spLocks/>
                </p:cNvSpPr>
                <p:nvPr/>
              </p:nvSpPr>
              <p:spPr bwMode="auto">
                <a:xfrm>
                  <a:off x="4887574" y="3526861"/>
                  <a:ext cx="2968" cy="1979"/>
                </a:xfrm>
                <a:custGeom>
                  <a:avLst/>
                  <a:gdLst>
                    <a:gd name="T0" fmla="*/ 0 w 3"/>
                    <a:gd name="T1" fmla="*/ 2 h 2"/>
                    <a:gd name="T2" fmla="*/ 0 w 3"/>
                    <a:gd name="T3" fmla="*/ 2 h 2"/>
                    <a:gd name="T4" fmla="*/ 3 w 3"/>
                    <a:gd name="T5" fmla="*/ 0 h 2"/>
                    <a:gd name="T6" fmla="*/ 3 w 3"/>
                    <a:gd name="T7" fmla="*/ 0 h 2"/>
                    <a:gd name="T8" fmla="*/ 0 w 3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2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12" name="Freeform 363"/>
                <p:cNvSpPr>
                  <a:spLocks/>
                </p:cNvSpPr>
                <p:nvPr/>
              </p:nvSpPr>
              <p:spPr bwMode="auto">
                <a:xfrm>
                  <a:off x="4887574" y="3528840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13" name="Freeform 364"/>
                <p:cNvSpPr>
                  <a:spLocks/>
                </p:cNvSpPr>
                <p:nvPr/>
              </p:nvSpPr>
              <p:spPr bwMode="auto">
                <a:xfrm>
                  <a:off x="4895488" y="3526861"/>
                  <a:ext cx="989" cy="2968"/>
                </a:xfrm>
                <a:custGeom>
                  <a:avLst/>
                  <a:gdLst>
                    <a:gd name="T0" fmla="*/ 1 w 1"/>
                    <a:gd name="T1" fmla="*/ 3 h 3"/>
                    <a:gd name="T2" fmla="*/ 1 w 1"/>
                    <a:gd name="T3" fmla="*/ 3 h 3"/>
                    <a:gd name="T4" fmla="*/ 0 w 1"/>
                    <a:gd name="T5" fmla="*/ 0 h 3"/>
                    <a:gd name="T6" fmla="*/ 0 w 1"/>
                    <a:gd name="T7" fmla="*/ 0 h 3"/>
                    <a:gd name="T8" fmla="*/ 0 w 1"/>
                    <a:gd name="T9" fmla="*/ 0 h 3"/>
                    <a:gd name="T10" fmla="*/ 0 w 1"/>
                    <a:gd name="T11" fmla="*/ 0 h 3"/>
                    <a:gd name="T12" fmla="*/ 0 w 1"/>
                    <a:gd name="T13" fmla="*/ 0 h 3"/>
                    <a:gd name="T14" fmla="*/ 0 w 1"/>
                    <a:gd name="T15" fmla="*/ 0 h 3"/>
                    <a:gd name="T16" fmla="*/ 1 w 1"/>
                    <a:gd name="T1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" h="3">
                      <a:moveTo>
                        <a:pt x="1" y="3"/>
                      </a:moveTo>
                      <a:lnTo>
                        <a:pt x="1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14" name="Rectangle 365"/>
                <p:cNvSpPr>
                  <a:spLocks noChangeArrowheads="1"/>
                </p:cNvSpPr>
                <p:nvPr/>
              </p:nvSpPr>
              <p:spPr bwMode="auto">
                <a:xfrm>
                  <a:off x="4869767" y="3535764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15" name="Rectangle 366"/>
                <p:cNvSpPr>
                  <a:spLocks noChangeArrowheads="1"/>
                </p:cNvSpPr>
                <p:nvPr/>
              </p:nvSpPr>
              <p:spPr bwMode="auto">
                <a:xfrm>
                  <a:off x="4870756" y="3535764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16" name="Rectangle 367"/>
                <p:cNvSpPr>
                  <a:spLocks noChangeArrowheads="1"/>
                </p:cNvSpPr>
                <p:nvPr/>
              </p:nvSpPr>
              <p:spPr bwMode="auto">
                <a:xfrm>
                  <a:off x="4884606" y="3542689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17" name="Rectangle 368"/>
                <p:cNvSpPr>
                  <a:spLocks noChangeArrowheads="1"/>
                </p:cNvSpPr>
                <p:nvPr/>
              </p:nvSpPr>
              <p:spPr bwMode="auto">
                <a:xfrm>
                  <a:off x="4882627" y="3542689"/>
                  <a:ext cx="197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18" name="Freeform 369"/>
                <p:cNvSpPr>
                  <a:spLocks/>
                </p:cNvSpPr>
                <p:nvPr/>
              </p:nvSpPr>
              <p:spPr bwMode="auto">
                <a:xfrm>
                  <a:off x="4882627" y="354268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19" name="Freeform 370"/>
                <p:cNvSpPr>
                  <a:spLocks/>
                </p:cNvSpPr>
                <p:nvPr/>
              </p:nvSpPr>
              <p:spPr bwMode="auto">
                <a:xfrm>
                  <a:off x="4899445" y="3551593"/>
                  <a:ext cx="38581" cy="25721"/>
                </a:xfrm>
                <a:custGeom>
                  <a:avLst/>
                  <a:gdLst>
                    <a:gd name="T0" fmla="*/ 0 w 39"/>
                    <a:gd name="T1" fmla="*/ 26 h 26"/>
                    <a:gd name="T2" fmla="*/ 0 w 39"/>
                    <a:gd name="T3" fmla="*/ 26 h 26"/>
                    <a:gd name="T4" fmla="*/ 0 w 39"/>
                    <a:gd name="T5" fmla="*/ 26 h 26"/>
                    <a:gd name="T6" fmla="*/ 3 w 39"/>
                    <a:gd name="T7" fmla="*/ 16 h 26"/>
                    <a:gd name="T8" fmla="*/ 6 w 39"/>
                    <a:gd name="T9" fmla="*/ 11 h 26"/>
                    <a:gd name="T10" fmla="*/ 7 w 39"/>
                    <a:gd name="T11" fmla="*/ 8 h 26"/>
                    <a:gd name="T12" fmla="*/ 7 w 39"/>
                    <a:gd name="T13" fmla="*/ 8 h 26"/>
                    <a:gd name="T14" fmla="*/ 14 w 39"/>
                    <a:gd name="T15" fmla="*/ 5 h 26"/>
                    <a:gd name="T16" fmla="*/ 23 w 39"/>
                    <a:gd name="T17" fmla="*/ 3 h 26"/>
                    <a:gd name="T18" fmla="*/ 39 w 39"/>
                    <a:gd name="T19" fmla="*/ 0 h 26"/>
                    <a:gd name="T20" fmla="*/ 39 w 39"/>
                    <a:gd name="T21" fmla="*/ 0 h 26"/>
                    <a:gd name="T22" fmla="*/ 39 w 39"/>
                    <a:gd name="T23" fmla="*/ 0 h 26"/>
                    <a:gd name="T24" fmla="*/ 39 w 39"/>
                    <a:gd name="T25" fmla="*/ 0 h 26"/>
                    <a:gd name="T26" fmla="*/ 23 w 39"/>
                    <a:gd name="T27" fmla="*/ 3 h 26"/>
                    <a:gd name="T28" fmla="*/ 14 w 39"/>
                    <a:gd name="T29" fmla="*/ 5 h 26"/>
                    <a:gd name="T30" fmla="*/ 7 w 39"/>
                    <a:gd name="T31" fmla="*/ 8 h 26"/>
                    <a:gd name="T32" fmla="*/ 7 w 39"/>
                    <a:gd name="T33" fmla="*/ 8 h 26"/>
                    <a:gd name="T34" fmla="*/ 6 w 39"/>
                    <a:gd name="T35" fmla="*/ 11 h 26"/>
                    <a:gd name="T36" fmla="*/ 3 w 39"/>
                    <a:gd name="T37" fmla="*/ 16 h 26"/>
                    <a:gd name="T38" fmla="*/ 0 w 39"/>
                    <a:gd name="T39" fmla="*/ 2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9" h="26">
                      <a:moveTo>
                        <a:pt x="0" y="26"/>
                      </a:move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3" y="16"/>
                      </a:lnTo>
                      <a:lnTo>
                        <a:pt x="6" y="11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14" y="5"/>
                      </a:lnTo>
                      <a:lnTo>
                        <a:pt x="23" y="3"/>
                      </a:lnTo>
                      <a:lnTo>
                        <a:pt x="39" y="0"/>
                      </a:lnTo>
                      <a:lnTo>
                        <a:pt x="39" y="0"/>
                      </a:lnTo>
                      <a:lnTo>
                        <a:pt x="39" y="0"/>
                      </a:lnTo>
                      <a:lnTo>
                        <a:pt x="39" y="0"/>
                      </a:lnTo>
                      <a:lnTo>
                        <a:pt x="23" y="3"/>
                      </a:lnTo>
                      <a:lnTo>
                        <a:pt x="14" y="5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6" y="11"/>
                      </a:lnTo>
                      <a:lnTo>
                        <a:pt x="3" y="16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20" name="Freeform 371"/>
                <p:cNvSpPr>
                  <a:spLocks/>
                </p:cNvSpPr>
                <p:nvPr/>
              </p:nvSpPr>
              <p:spPr bwMode="auto">
                <a:xfrm>
                  <a:off x="4899445" y="3551593"/>
                  <a:ext cx="38581" cy="25721"/>
                </a:xfrm>
                <a:custGeom>
                  <a:avLst/>
                  <a:gdLst>
                    <a:gd name="T0" fmla="*/ 0 w 39"/>
                    <a:gd name="T1" fmla="*/ 26 h 26"/>
                    <a:gd name="T2" fmla="*/ 0 w 39"/>
                    <a:gd name="T3" fmla="*/ 26 h 26"/>
                    <a:gd name="T4" fmla="*/ 0 w 39"/>
                    <a:gd name="T5" fmla="*/ 26 h 26"/>
                    <a:gd name="T6" fmla="*/ 3 w 39"/>
                    <a:gd name="T7" fmla="*/ 16 h 26"/>
                    <a:gd name="T8" fmla="*/ 6 w 39"/>
                    <a:gd name="T9" fmla="*/ 11 h 26"/>
                    <a:gd name="T10" fmla="*/ 7 w 39"/>
                    <a:gd name="T11" fmla="*/ 8 h 26"/>
                    <a:gd name="T12" fmla="*/ 7 w 39"/>
                    <a:gd name="T13" fmla="*/ 8 h 26"/>
                    <a:gd name="T14" fmla="*/ 14 w 39"/>
                    <a:gd name="T15" fmla="*/ 5 h 26"/>
                    <a:gd name="T16" fmla="*/ 23 w 39"/>
                    <a:gd name="T17" fmla="*/ 3 h 26"/>
                    <a:gd name="T18" fmla="*/ 39 w 39"/>
                    <a:gd name="T19" fmla="*/ 0 h 26"/>
                    <a:gd name="T20" fmla="*/ 39 w 39"/>
                    <a:gd name="T21" fmla="*/ 0 h 26"/>
                    <a:gd name="T22" fmla="*/ 39 w 39"/>
                    <a:gd name="T23" fmla="*/ 0 h 26"/>
                    <a:gd name="T24" fmla="*/ 39 w 39"/>
                    <a:gd name="T25" fmla="*/ 0 h 26"/>
                    <a:gd name="T26" fmla="*/ 23 w 39"/>
                    <a:gd name="T27" fmla="*/ 3 h 26"/>
                    <a:gd name="T28" fmla="*/ 14 w 39"/>
                    <a:gd name="T29" fmla="*/ 5 h 26"/>
                    <a:gd name="T30" fmla="*/ 7 w 39"/>
                    <a:gd name="T31" fmla="*/ 8 h 26"/>
                    <a:gd name="T32" fmla="*/ 7 w 39"/>
                    <a:gd name="T33" fmla="*/ 8 h 26"/>
                    <a:gd name="T34" fmla="*/ 6 w 39"/>
                    <a:gd name="T35" fmla="*/ 11 h 26"/>
                    <a:gd name="T36" fmla="*/ 3 w 39"/>
                    <a:gd name="T37" fmla="*/ 16 h 26"/>
                    <a:gd name="T38" fmla="*/ 0 w 39"/>
                    <a:gd name="T39" fmla="*/ 2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9" h="26">
                      <a:moveTo>
                        <a:pt x="0" y="26"/>
                      </a:move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3" y="16"/>
                      </a:lnTo>
                      <a:lnTo>
                        <a:pt x="6" y="11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14" y="5"/>
                      </a:lnTo>
                      <a:lnTo>
                        <a:pt x="23" y="3"/>
                      </a:lnTo>
                      <a:lnTo>
                        <a:pt x="39" y="0"/>
                      </a:lnTo>
                      <a:lnTo>
                        <a:pt x="39" y="0"/>
                      </a:lnTo>
                      <a:lnTo>
                        <a:pt x="39" y="0"/>
                      </a:lnTo>
                      <a:lnTo>
                        <a:pt x="39" y="0"/>
                      </a:lnTo>
                      <a:lnTo>
                        <a:pt x="23" y="3"/>
                      </a:lnTo>
                      <a:lnTo>
                        <a:pt x="14" y="5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6" y="11"/>
                      </a:lnTo>
                      <a:lnTo>
                        <a:pt x="3" y="16"/>
                      </a:lnTo>
                      <a:lnTo>
                        <a:pt x="0" y="2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21" name="Freeform 372"/>
                <p:cNvSpPr>
                  <a:spLocks noEditPoints="1"/>
                </p:cNvSpPr>
                <p:nvPr/>
              </p:nvSpPr>
              <p:spPr bwMode="auto">
                <a:xfrm>
                  <a:off x="4794583" y="3575335"/>
                  <a:ext cx="104862" cy="37592"/>
                </a:xfrm>
                <a:custGeom>
                  <a:avLst/>
                  <a:gdLst>
                    <a:gd name="T0" fmla="*/ 106 w 106"/>
                    <a:gd name="T1" fmla="*/ 2 h 38"/>
                    <a:gd name="T2" fmla="*/ 106 w 106"/>
                    <a:gd name="T3" fmla="*/ 2 h 38"/>
                    <a:gd name="T4" fmla="*/ 97 w 106"/>
                    <a:gd name="T5" fmla="*/ 0 h 38"/>
                    <a:gd name="T6" fmla="*/ 97 w 106"/>
                    <a:gd name="T7" fmla="*/ 0 h 38"/>
                    <a:gd name="T8" fmla="*/ 97 w 106"/>
                    <a:gd name="T9" fmla="*/ 0 h 38"/>
                    <a:gd name="T10" fmla="*/ 97 w 106"/>
                    <a:gd name="T11" fmla="*/ 0 h 38"/>
                    <a:gd name="T12" fmla="*/ 99 w 106"/>
                    <a:gd name="T13" fmla="*/ 0 h 38"/>
                    <a:gd name="T14" fmla="*/ 99 w 106"/>
                    <a:gd name="T15" fmla="*/ 0 h 38"/>
                    <a:gd name="T16" fmla="*/ 106 w 106"/>
                    <a:gd name="T17" fmla="*/ 2 h 38"/>
                    <a:gd name="T18" fmla="*/ 106 w 106"/>
                    <a:gd name="T19" fmla="*/ 2 h 38"/>
                    <a:gd name="T20" fmla="*/ 9 w 106"/>
                    <a:gd name="T21" fmla="*/ 34 h 38"/>
                    <a:gd name="T22" fmla="*/ 9 w 106"/>
                    <a:gd name="T23" fmla="*/ 34 h 38"/>
                    <a:gd name="T24" fmla="*/ 9 w 106"/>
                    <a:gd name="T25" fmla="*/ 34 h 38"/>
                    <a:gd name="T26" fmla="*/ 5 w 106"/>
                    <a:gd name="T27" fmla="*/ 34 h 38"/>
                    <a:gd name="T28" fmla="*/ 5 w 106"/>
                    <a:gd name="T29" fmla="*/ 34 h 38"/>
                    <a:gd name="T30" fmla="*/ 9 w 106"/>
                    <a:gd name="T31" fmla="*/ 34 h 38"/>
                    <a:gd name="T32" fmla="*/ 9 w 106"/>
                    <a:gd name="T33" fmla="*/ 34 h 38"/>
                    <a:gd name="T34" fmla="*/ 5 w 106"/>
                    <a:gd name="T35" fmla="*/ 34 h 38"/>
                    <a:gd name="T36" fmla="*/ 0 w 106"/>
                    <a:gd name="T37" fmla="*/ 34 h 38"/>
                    <a:gd name="T38" fmla="*/ 0 w 106"/>
                    <a:gd name="T39" fmla="*/ 34 h 38"/>
                    <a:gd name="T40" fmla="*/ 0 w 106"/>
                    <a:gd name="T41" fmla="*/ 34 h 38"/>
                    <a:gd name="T42" fmla="*/ 2 w 106"/>
                    <a:gd name="T43" fmla="*/ 34 h 38"/>
                    <a:gd name="T44" fmla="*/ 2 w 106"/>
                    <a:gd name="T45" fmla="*/ 34 h 38"/>
                    <a:gd name="T46" fmla="*/ 0 w 106"/>
                    <a:gd name="T47" fmla="*/ 34 h 38"/>
                    <a:gd name="T48" fmla="*/ 57 w 106"/>
                    <a:gd name="T49" fmla="*/ 38 h 38"/>
                    <a:gd name="T50" fmla="*/ 57 w 106"/>
                    <a:gd name="T51" fmla="*/ 38 h 38"/>
                    <a:gd name="T52" fmla="*/ 39 w 106"/>
                    <a:gd name="T53" fmla="*/ 37 h 38"/>
                    <a:gd name="T54" fmla="*/ 20 w 106"/>
                    <a:gd name="T55" fmla="*/ 34 h 38"/>
                    <a:gd name="T56" fmla="*/ 20 w 106"/>
                    <a:gd name="T57" fmla="*/ 34 h 38"/>
                    <a:gd name="T58" fmla="*/ 20 w 106"/>
                    <a:gd name="T59" fmla="*/ 34 h 38"/>
                    <a:gd name="T60" fmla="*/ 20 w 106"/>
                    <a:gd name="T61" fmla="*/ 34 h 38"/>
                    <a:gd name="T62" fmla="*/ 20 w 106"/>
                    <a:gd name="T63" fmla="*/ 34 h 38"/>
                    <a:gd name="T64" fmla="*/ 20 w 106"/>
                    <a:gd name="T65" fmla="*/ 34 h 38"/>
                    <a:gd name="T66" fmla="*/ 39 w 106"/>
                    <a:gd name="T67" fmla="*/ 37 h 38"/>
                    <a:gd name="T68" fmla="*/ 57 w 106"/>
                    <a:gd name="T69" fmla="*/ 38 h 38"/>
                    <a:gd name="T70" fmla="*/ 57 w 106"/>
                    <a:gd name="T71" fmla="*/ 38 h 38"/>
                    <a:gd name="T72" fmla="*/ 58 w 106"/>
                    <a:gd name="T73" fmla="*/ 37 h 38"/>
                    <a:gd name="T74" fmla="*/ 61 w 106"/>
                    <a:gd name="T75" fmla="*/ 35 h 38"/>
                    <a:gd name="T76" fmla="*/ 65 w 106"/>
                    <a:gd name="T77" fmla="*/ 29 h 38"/>
                    <a:gd name="T78" fmla="*/ 71 w 106"/>
                    <a:gd name="T79" fmla="*/ 22 h 38"/>
                    <a:gd name="T80" fmla="*/ 76 w 106"/>
                    <a:gd name="T81" fmla="*/ 16 h 38"/>
                    <a:gd name="T82" fmla="*/ 76 w 106"/>
                    <a:gd name="T83" fmla="*/ 16 h 38"/>
                    <a:gd name="T84" fmla="*/ 84 w 106"/>
                    <a:gd name="T85" fmla="*/ 6 h 38"/>
                    <a:gd name="T86" fmla="*/ 90 w 106"/>
                    <a:gd name="T87" fmla="*/ 3 h 38"/>
                    <a:gd name="T88" fmla="*/ 96 w 106"/>
                    <a:gd name="T89" fmla="*/ 0 h 38"/>
                    <a:gd name="T90" fmla="*/ 96 w 106"/>
                    <a:gd name="T91" fmla="*/ 0 h 38"/>
                    <a:gd name="T92" fmla="*/ 90 w 106"/>
                    <a:gd name="T93" fmla="*/ 3 h 38"/>
                    <a:gd name="T94" fmla="*/ 84 w 106"/>
                    <a:gd name="T95" fmla="*/ 6 h 38"/>
                    <a:gd name="T96" fmla="*/ 76 w 106"/>
                    <a:gd name="T97" fmla="*/ 16 h 38"/>
                    <a:gd name="T98" fmla="*/ 76 w 106"/>
                    <a:gd name="T99" fmla="*/ 16 h 38"/>
                    <a:gd name="T100" fmla="*/ 71 w 106"/>
                    <a:gd name="T101" fmla="*/ 22 h 38"/>
                    <a:gd name="T102" fmla="*/ 65 w 106"/>
                    <a:gd name="T103" fmla="*/ 29 h 38"/>
                    <a:gd name="T104" fmla="*/ 61 w 106"/>
                    <a:gd name="T105" fmla="*/ 35 h 38"/>
                    <a:gd name="T106" fmla="*/ 58 w 106"/>
                    <a:gd name="T107" fmla="*/ 37 h 38"/>
                    <a:gd name="T108" fmla="*/ 57 w 106"/>
                    <a:gd name="T109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06" h="38">
                      <a:moveTo>
                        <a:pt x="106" y="2"/>
                      </a:moveTo>
                      <a:lnTo>
                        <a:pt x="106" y="2"/>
                      </a:lnTo>
                      <a:lnTo>
                        <a:pt x="97" y="0"/>
                      </a:lnTo>
                      <a:lnTo>
                        <a:pt x="97" y="0"/>
                      </a:lnTo>
                      <a:lnTo>
                        <a:pt x="97" y="0"/>
                      </a:lnTo>
                      <a:lnTo>
                        <a:pt x="97" y="0"/>
                      </a:lnTo>
                      <a:lnTo>
                        <a:pt x="99" y="0"/>
                      </a:lnTo>
                      <a:lnTo>
                        <a:pt x="99" y="0"/>
                      </a:lnTo>
                      <a:lnTo>
                        <a:pt x="106" y="2"/>
                      </a:lnTo>
                      <a:lnTo>
                        <a:pt x="106" y="2"/>
                      </a:lnTo>
                      <a:close/>
                      <a:moveTo>
                        <a:pt x="9" y="34"/>
                      </a:moveTo>
                      <a:lnTo>
                        <a:pt x="9" y="34"/>
                      </a:lnTo>
                      <a:lnTo>
                        <a:pt x="9" y="34"/>
                      </a:lnTo>
                      <a:close/>
                      <a:moveTo>
                        <a:pt x="5" y="34"/>
                      </a:moveTo>
                      <a:lnTo>
                        <a:pt x="5" y="34"/>
                      </a:lnTo>
                      <a:lnTo>
                        <a:pt x="9" y="34"/>
                      </a:lnTo>
                      <a:lnTo>
                        <a:pt x="9" y="34"/>
                      </a:lnTo>
                      <a:lnTo>
                        <a:pt x="5" y="34"/>
                      </a:lnTo>
                      <a:close/>
                      <a:moveTo>
                        <a:pt x="0" y="34"/>
                      </a:move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2" y="34"/>
                      </a:lnTo>
                      <a:lnTo>
                        <a:pt x="2" y="34"/>
                      </a:lnTo>
                      <a:lnTo>
                        <a:pt x="0" y="34"/>
                      </a:lnTo>
                      <a:close/>
                      <a:moveTo>
                        <a:pt x="57" y="38"/>
                      </a:moveTo>
                      <a:lnTo>
                        <a:pt x="57" y="38"/>
                      </a:lnTo>
                      <a:lnTo>
                        <a:pt x="39" y="37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39" y="37"/>
                      </a:lnTo>
                      <a:lnTo>
                        <a:pt x="57" y="38"/>
                      </a:lnTo>
                      <a:lnTo>
                        <a:pt x="57" y="38"/>
                      </a:lnTo>
                      <a:lnTo>
                        <a:pt x="58" y="37"/>
                      </a:lnTo>
                      <a:lnTo>
                        <a:pt x="61" y="35"/>
                      </a:lnTo>
                      <a:lnTo>
                        <a:pt x="65" y="29"/>
                      </a:lnTo>
                      <a:lnTo>
                        <a:pt x="71" y="22"/>
                      </a:lnTo>
                      <a:lnTo>
                        <a:pt x="76" y="16"/>
                      </a:lnTo>
                      <a:lnTo>
                        <a:pt x="76" y="16"/>
                      </a:lnTo>
                      <a:lnTo>
                        <a:pt x="84" y="6"/>
                      </a:lnTo>
                      <a:lnTo>
                        <a:pt x="90" y="3"/>
                      </a:lnTo>
                      <a:lnTo>
                        <a:pt x="96" y="0"/>
                      </a:lnTo>
                      <a:lnTo>
                        <a:pt x="96" y="0"/>
                      </a:lnTo>
                      <a:lnTo>
                        <a:pt x="90" y="3"/>
                      </a:lnTo>
                      <a:lnTo>
                        <a:pt x="84" y="6"/>
                      </a:lnTo>
                      <a:lnTo>
                        <a:pt x="76" y="16"/>
                      </a:lnTo>
                      <a:lnTo>
                        <a:pt x="76" y="16"/>
                      </a:lnTo>
                      <a:lnTo>
                        <a:pt x="71" y="22"/>
                      </a:lnTo>
                      <a:lnTo>
                        <a:pt x="65" y="29"/>
                      </a:lnTo>
                      <a:lnTo>
                        <a:pt x="61" y="35"/>
                      </a:lnTo>
                      <a:lnTo>
                        <a:pt x="58" y="37"/>
                      </a:lnTo>
                      <a:lnTo>
                        <a:pt x="57" y="3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22" name="Freeform 373"/>
                <p:cNvSpPr>
                  <a:spLocks/>
                </p:cNvSpPr>
                <p:nvPr/>
              </p:nvSpPr>
              <p:spPr bwMode="auto">
                <a:xfrm>
                  <a:off x="4890541" y="3575335"/>
                  <a:ext cx="8903" cy="1979"/>
                </a:xfrm>
                <a:custGeom>
                  <a:avLst/>
                  <a:gdLst>
                    <a:gd name="T0" fmla="*/ 9 w 9"/>
                    <a:gd name="T1" fmla="*/ 2 h 2"/>
                    <a:gd name="T2" fmla="*/ 9 w 9"/>
                    <a:gd name="T3" fmla="*/ 2 h 2"/>
                    <a:gd name="T4" fmla="*/ 0 w 9"/>
                    <a:gd name="T5" fmla="*/ 0 h 2"/>
                    <a:gd name="T6" fmla="*/ 0 w 9"/>
                    <a:gd name="T7" fmla="*/ 0 h 2"/>
                    <a:gd name="T8" fmla="*/ 0 w 9"/>
                    <a:gd name="T9" fmla="*/ 0 h 2"/>
                    <a:gd name="T10" fmla="*/ 0 w 9"/>
                    <a:gd name="T11" fmla="*/ 0 h 2"/>
                    <a:gd name="T12" fmla="*/ 2 w 9"/>
                    <a:gd name="T13" fmla="*/ 0 h 2"/>
                    <a:gd name="T14" fmla="*/ 2 w 9"/>
                    <a:gd name="T15" fmla="*/ 0 h 2"/>
                    <a:gd name="T16" fmla="*/ 9 w 9"/>
                    <a:gd name="T17" fmla="*/ 2 h 2"/>
                    <a:gd name="T18" fmla="*/ 9 w 9"/>
                    <a:gd name="T1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" h="2">
                      <a:moveTo>
                        <a:pt x="9" y="2"/>
                      </a:moveTo>
                      <a:lnTo>
                        <a:pt x="9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9" y="2"/>
                      </a:lnTo>
                      <a:lnTo>
                        <a:pt x="9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23" name="Freeform 374"/>
                <p:cNvSpPr>
                  <a:spLocks/>
                </p:cNvSpPr>
                <p:nvPr/>
              </p:nvSpPr>
              <p:spPr bwMode="auto">
                <a:xfrm>
                  <a:off x="4803487" y="3608970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24" name="Rectangle 375"/>
                <p:cNvSpPr>
                  <a:spLocks noChangeArrowheads="1"/>
                </p:cNvSpPr>
                <p:nvPr/>
              </p:nvSpPr>
              <p:spPr bwMode="auto">
                <a:xfrm>
                  <a:off x="4799530" y="3608970"/>
                  <a:ext cx="3957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25" name="Freeform 376"/>
                <p:cNvSpPr>
                  <a:spLocks/>
                </p:cNvSpPr>
                <p:nvPr/>
              </p:nvSpPr>
              <p:spPr bwMode="auto">
                <a:xfrm>
                  <a:off x="4794583" y="3608970"/>
                  <a:ext cx="1979" cy="0"/>
                </a:xfrm>
                <a:custGeom>
                  <a:avLst/>
                  <a:gdLst>
                    <a:gd name="T0" fmla="*/ 0 w 2"/>
                    <a:gd name="T1" fmla="*/ 0 w 2"/>
                    <a:gd name="T2" fmla="*/ 0 w 2"/>
                    <a:gd name="T3" fmla="*/ 2 w 2"/>
                    <a:gd name="T4" fmla="*/ 2 w 2"/>
                    <a:gd name="T5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26" name="Freeform 377"/>
                <p:cNvSpPr>
                  <a:spLocks/>
                </p:cNvSpPr>
                <p:nvPr/>
              </p:nvSpPr>
              <p:spPr bwMode="auto">
                <a:xfrm>
                  <a:off x="4814368" y="3575335"/>
                  <a:ext cx="75184" cy="37592"/>
                </a:xfrm>
                <a:custGeom>
                  <a:avLst/>
                  <a:gdLst>
                    <a:gd name="T0" fmla="*/ 37 w 76"/>
                    <a:gd name="T1" fmla="*/ 38 h 38"/>
                    <a:gd name="T2" fmla="*/ 37 w 76"/>
                    <a:gd name="T3" fmla="*/ 38 h 38"/>
                    <a:gd name="T4" fmla="*/ 19 w 76"/>
                    <a:gd name="T5" fmla="*/ 37 h 38"/>
                    <a:gd name="T6" fmla="*/ 0 w 76"/>
                    <a:gd name="T7" fmla="*/ 34 h 38"/>
                    <a:gd name="T8" fmla="*/ 0 w 76"/>
                    <a:gd name="T9" fmla="*/ 34 h 38"/>
                    <a:gd name="T10" fmla="*/ 0 w 76"/>
                    <a:gd name="T11" fmla="*/ 34 h 38"/>
                    <a:gd name="T12" fmla="*/ 0 w 76"/>
                    <a:gd name="T13" fmla="*/ 34 h 38"/>
                    <a:gd name="T14" fmla="*/ 0 w 76"/>
                    <a:gd name="T15" fmla="*/ 34 h 38"/>
                    <a:gd name="T16" fmla="*/ 0 w 76"/>
                    <a:gd name="T17" fmla="*/ 34 h 38"/>
                    <a:gd name="T18" fmla="*/ 19 w 76"/>
                    <a:gd name="T19" fmla="*/ 37 h 38"/>
                    <a:gd name="T20" fmla="*/ 37 w 76"/>
                    <a:gd name="T21" fmla="*/ 38 h 38"/>
                    <a:gd name="T22" fmla="*/ 37 w 76"/>
                    <a:gd name="T23" fmla="*/ 38 h 38"/>
                    <a:gd name="T24" fmla="*/ 38 w 76"/>
                    <a:gd name="T25" fmla="*/ 37 h 38"/>
                    <a:gd name="T26" fmla="*/ 41 w 76"/>
                    <a:gd name="T27" fmla="*/ 35 h 38"/>
                    <a:gd name="T28" fmla="*/ 45 w 76"/>
                    <a:gd name="T29" fmla="*/ 29 h 38"/>
                    <a:gd name="T30" fmla="*/ 51 w 76"/>
                    <a:gd name="T31" fmla="*/ 22 h 38"/>
                    <a:gd name="T32" fmla="*/ 56 w 76"/>
                    <a:gd name="T33" fmla="*/ 16 h 38"/>
                    <a:gd name="T34" fmla="*/ 56 w 76"/>
                    <a:gd name="T35" fmla="*/ 16 h 38"/>
                    <a:gd name="T36" fmla="*/ 64 w 76"/>
                    <a:gd name="T37" fmla="*/ 6 h 38"/>
                    <a:gd name="T38" fmla="*/ 70 w 76"/>
                    <a:gd name="T39" fmla="*/ 3 h 38"/>
                    <a:gd name="T40" fmla="*/ 76 w 76"/>
                    <a:gd name="T41" fmla="*/ 0 h 38"/>
                    <a:gd name="T42" fmla="*/ 76 w 76"/>
                    <a:gd name="T43" fmla="*/ 0 h 38"/>
                    <a:gd name="T44" fmla="*/ 70 w 76"/>
                    <a:gd name="T45" fmla="*/ 3 h 38"/>
                    <a:gd name="T46" fmla="*/ 64 w 76"/>
                    <a:gd name="T47" fmla="*/ 6 h 38"/>
                    <a:gd name="T48" fmla="*/ 56 w 76"/>
                    <a:gd name="T49" fmla="*/ 16 h 38"/>
                    <a:gd name="T50" fmla="*/ 56 w 76"/>
                    <a:gd name="T51" fmla="*/ 16 h 38"/>
                    <a:gd name="T52" fmla="*/ 51 w 76"/>
                    <a:gd name="T53" fmla="*/ 22 h 38"/>
                    <a:gd name="T54" fmla="*/ 45 w 76"/>
                    <a:gd name="T55" fmla="*/ 29 h 38"/>
                    <a:gd name="T56" fmla="*/ 41 w 76"/>
                    <a:gd name="T57" fmla="*/ 35 h 38"/>
                    <a:gd name="T58" fmla="*/ 38 w 76"/>
                    <a:gd name="T59" fmla="*/ 37 h 38"/>
                    <a:gd name="T60" fmla="*/ 37 w 76"/>
                    <a:gd name="T61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76" h="38">
                      <a:moveTo>
                        <a:pt x="37" y="38"/>
                      </a:moveTo>
                      <a:lnTo>
                        <a:pt x="37" y="38"/>
                      </a:lnTo>
                      <a:lnTo>
                        <a:pt x="19" y="37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19" y="37"/>
                      </a:lnTo>
                      <a:lnTo>
                        <a:pt x="37" y="38"/>
                      </a:lnTo>
                      <a:lnTo>
                        <a:pt x="37" y="38"/>
                      </a:lnTo>
                      <a:lnTo>
                        <a:pt x="38" y="37"/>
                      </a:lnTo>
                      <a:lnTo>
                        <a:pt x="41" y="35"/>
                      </a:lnTo>
                      <a:lnTo>
                        <a:pt x="45" y="29"/>
                      </a:lnTo>
                      <a:lnTo>
                        <a:pt x="51" y="22"/>
                      </a:lnTo>
                      <a:lnTo>
                        <a:pt x="56" y="16"/>
                      </a:lnTo>
                      <a:lnTo>
                        <a:pt x="56" y="16"/>
                      </a:lnTo>
                      <a:lnTo>
                        <a:pt x="64" y="6"/>
                      </a:lnTo>
                      <a:lnTo>
                        <a:pt x="70" y="3"/>
                      </a:lnTo>
                      <a:lnTo>
                        <a:pt x="76" y="0"/>
                      </a:lnTo>
                      <a:lnTo>
                        <a:pt x="76" y="0"/>
                      </a:lnTo>
                      <a:lnTo>
                        <a:pt x="70" y="3"/>
                      </a:lnTo>
                      <a:lnTo>
                        <a:pt x="64" y="6"/>
                      </a:lnTo>
                      <a:lnTo>
                        <a:pt x="56" y="16"/>
                      </a:lnTo>
                      <a:lnTo>
                        <a:pt x="56" y="16"/>
                      </a:lnTo>
                      <a:lnTo>
                        <a:pt x="51" y="22"/>
                      </a:lnTo>
                      <a:lnTo>
                        <a:pt x="45" y="29"/>
                      </a:lnTo>
                      <a:lnTo>
                        <a:pt x="41" y="35"/>
                      </a:lnTo>
                      <a:lnTo>
                        <a:pt x="38" y="37"/>
                      </a:lnTo>
                      <a:lnTo>
                        <a:pt x="37" y="3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27" name="Freeform 378"/>
                <p:cNvSpPr>
                  <a:spLocks noEditPoints="1"/>
                </p:cNvSpPr>
                <p:nvPr/>
              </p:nvSpPr>
              <p:spPr bwMode="auto">
                <a:xfrm>
                  <a:off x="4753034" y="3536754"/>
                  <a:ext cx="33635" cy="67270"/>
                </a:xfrm>
                <a:custGeom>
                  <a:avLst/>
                  <a:gdLst>
                    <a:gd name="T0" fmla="*/ 18 w 34"/>
                    <a:gd name="T1" fmla="*/ 54 h 68"/>
                    <a:gd name="T2" fmla="*/ 18 w 34"/>
                    <a:gd name="T3" fmla="*/ 54 h 68"/>
                    <a:gd name="T4" fmla="*/ 18 w 34"/>
                    <a:gd name="T5" fmla="*/ 54 h 68"/>
                    <a:gd name="T6" fmla="*/ 18 w 34"/>
                    <a:gd name="T7" fmla="*/ 54 h 68"/>
                    <a:gd name="T8" fmla="*/ 9 w 34"/>
                    <a:gd name="T9" fmla="*/ 38 h 68"/>
                    <a:gd name="T10" fmla="*/ 5 w 34"/>
                    <a:gd name="T11" fmla="*/ 29 h 68"/>
                    <a:gd name="T12" fmla="*/ 3 w 34"/>
                    <a:gd name="T13" fmla="*/ 20 h 68"/>
                    <a:gd name="T14" fmla="*/ 3 w 34"/>
                    <a:gd name="T15" fmla="*/ 20 h 68"/>
                    <a:gd name="T16" fmla="*/ 2 w 34"/>
                    <a:gd name="T17" fmla="*/ 9 h 68"/>
                    <a:gd name="T18" fmla="*/ 0 w 34"/>
                    <a:gd name="T19" fmla="*/ 0 h 68"/>
                    <a:gd name="T20" fmla="*/ 0 w 34"/>
                    <a:gd name="T21" fmla="*/ 0 h 68"/>
                    <a:gd name="T22" fmla="*/ 2 w 34"/>
                    <a:gd name="T23" fmla="*/ 9 h 68"/>
                    <a:gd name="T24" fmla="*/ 3 w 34"/>
                    <a:gd name="T25" fmla="*/ 20 h 68"/>
                    <a:gd name="T26" fmla="*/ 3 w 34"/>
                    <a:gd name="T27" fmla="*/ 20 h 68"/>
                    <a:gd name="T28" fmla="*/ 5 w 34"/>
                    <a:gd name="T29" fmla="*/ 29 h 68"/>
                    <a:gd name="T30" fmla="*/ 9 w 34"/>
                    <a:gd name="T31" fmla="*/ 38 h 68"/>
                    <a:gd name="T32" fmla="*/ 18 w 34"/>
                    <a:gd name="T33" fmla="*/ 54 h 68"/>
                    <a:gd name="T34" fmla="*/ 18 w 34"/>
                    <a:gd name="T35" fmla="*/ 54 h 68"/>
                    <a:gd name="T36" fmla="*/ 18 w 34"/>
                    <a:gd name="T37" fmla="*/ 54 h 68"/>
                    <a:gd name="T38" fmla="*/ 34 w 34"/>
                    <a:gd name="T39" fmla="*/ 68 h 68"/>
                    <a:gd name="T40" fmla="*/ 34 w 34"/>
                    <a:gd name="T41" fmla="*/ 68 h 68"/>
                    <a:gd name="T42" fmla="*/ 23 w 34"/>
                    <a:gd name="T43" fmla="*/ 61 h 68"/>
                    <a:gd name="T44" fmla="*/ 18 w 34"/>
                    <a:gd name="T45" fmla="*/ 54 h 68"/>
                    <a:gd name="T46" fmla="*/ 18 w 34"/>
                    <a:gd name="T47" fmla="*/ 54 h 68"/>
                    <a:gd name="T48" fmla="*/ 23 w 34"/>
                    <a:gd name="T49" fmla="*/ 61 h 68"/>
                    <a:gd name="T50" fmla="*/ 34 w 34"/>
                    <a:gd name="T51" fmla="*/ 68 h 68"/>
                    <a:gd name="T52" fmla="*/ 34 w 34"/>
                    <a:gd name="T53" fmla="*/ 68 h 68"/>
                    <a:gd name="T54" fmla="*/ 34 w 34"/>
                    <a:gd name="T55" fmla="*/ 68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4" h="68">
                      <a:moveTo>
                        <a:pt x="18" y="54"/>
                      </a:moveTo>
                      <a:lnTo>
                        <a:pt x="18" y="54"/>
                      </a:lnTo>
                      <a:lnTo>
                        <a:pt x="18" y="54"/>
                      </a:lnTo>
                      <a:lnTo>
                        <a:pt x="18" y="54"/>
                      </a:lnTo>
                      <a:lnTo>
                        <a:pt x="9" y="38"/>
                      </a:lnTo>
                      <a:lnTo>
                        <a:pt x="5" y="29"/>
                      </a:lnTo>
                      <a:lnTo>
                        <a:pt x="3" y="20"/>
                      </a:lnTo>
                      <a:lnTo>
                        <a:pt x="3" y="20"/>
                      </a:lnTo>
                      <a:lnTo>
                        <a:pt x="2" y="9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3" y="20"/>
                      </a:lnTo>
                      <a:lnTo>
                        <a:pt x="3" y="20"/>
                      </a:lnTo>
                      <a:lnTo>
                        <a:pt x="5" y="29"/>
                      </a:lnTo>
                      <a:lnTo>
                        <a:pt x="9" y="38"/>
                      </a:lnTo>
                      <a:lnTo>
                        <a:pt x="18" y="54"/>
                      </a:lnTo>
                      <a:lnTo>
                        <a:pt x="18" y="54"/>
                      </a:lnTo>
                      <a:lnTo>
                        <a:pt x="18" y="54"/>
                      </a:lnTo>
                      <a:close/>
                      <a:moveTo>
                        <a:pt x="34" y="68"/>
                      </a:moveTo>
                      <a:lnTo>
                        <a:pt x="34" y="68"/>
                      </a:lnTo>
                      <a:lnTo>
                        <a:pt x="23" y="61"/>
                      </a:lnTo>
                      <a:lnTo>
                        <a:pt x="18" y="54"/>
                      </a:lnTo>
                      <a:lnTo>
                        <a:pt x="18" y="54"/>
                      </a:lnTo>
                      <a:lnTo>
                        <a:pt x="23" y="61"/>
                      </a:lnTo>
                      <a:lnTo>
                        <a:pt x="34" y="68"/>
                      </a:lnTo>
                      <a:lnTo>
                        <a:pt x="34" y="68"/>
                      </a:lnTo>
                      <a:lnTo>
                        <a:pt x="34" y="6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28" name="Freeform 379"/>
                <p:cNvSpPr>
                  <a:spLocks/>
                </p:cNvSpPr>
                <p:nvPr/>
              </p:nvSpPr>
              <p:spPr bwMode="auto">
                <a:xfrm>
                  <a:off x="4753034" y="3536754"/>
                  <a:ext cx="17807" cy="53420"/>
                </a:xfrm>
                <a:custGeom>
                  <a:avLst/>
                  <a:gdLst>
                    <a:gd name="T0" fmla="*/ 18 w 18"/>
                    <a:gd name="T1" fmla="*/ 54 h 54"/>
                    <a:gd name="T2" fmla="*/ 18 w 18"/>
                    <a:gd name="T3" fmla="*/ 54 h 54"/>
                    <a:gd name="T4" fmla="*/ 18 w 18"/>
                    <a:gd name="T5" fmla="*/ 54 h 54"/>
                    <a:gd name="T6" fmla="*/ 18 w 18"/>
                    <a:gd name="T7" fmla="*/ 54 h 54"/>
                    <a:gd name="T8" fmla="*/ 9 w 18"/>
                    <a:gd name="T9" fmla="*/ 38 h 54"/>
                    <a:gd name="T10" fmla="*/ 5 w 18"/>
                    <a:gd name="T11" fmla="*/ 29 h 54"/>
                    <a:gd name="T12" fmla="*/ 3 w 18"/>
                    <a:gd name="T13" fmla="*/ 20 h 54"/>
                    <a:gd name="T14" fmla="*/ 3 w 18"/>
                    <a:gd name="T15" fmla="*/ 20 h 54"/>
                    <a:gd name="T16" fmla="*/ 2 w 18"/>
                    <a:gd name="T17" fmla="*/ 9 h 54"/>
                    <a:gd name="T18" fmla="*/ 0 w 18"/>
                    <a:gd name="T19" fmla="*/ 0 h 54"/>
                    <a:gd name="T20" fmla="*/ 0 w 18"/>
                    <a:gd name="T21" fmla="*/ 0 h 54"/>
                    <a:gd name="T22" fmla="*/ 2 w 18"/>
                    <a:gd name="T23" fmla="*/ 9 h 54"/>
                    <a:gd name="T24" fmla="*/ 3 w 18"/>
                    <a:gd name="T25" fmla="*/ 20 h 54"/>
                    <a:gd name="T26" fmla="*/ 3 w 18"/>
                    <a:gd name="T27" fmla="*/ 20 h 54"/>
                    <a:gd name="T28" fmla="*/ 5 w 18"/>
                    <a:gd name="T29" fmla="*/ 29 h 54"/>
                    <a:gd name="T30" fmla="*/ 9 w 18"/>
                    <a:gd name="T31" fmla="*/ 38 h 54"/>
                    <a:gd name="T32" fmla="*/ 18 w 18"/>
                    <a:gd name="T33" fmla="*/ 54 h 54"/>
                    <a:gd name="T34" fmla="*/ 18 w 18"/>
                    <a:gd name="T35" fmla="*/ 54 h 54"/>
                    <a:gd name="T36" fmla="*/ 18 w 18"/>
                    <a:gd name="T37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8" h="54">
                      <a:moveTo>
                        <a:pt x="18" y="54"/>
                      </a:moveTo>
                      <a:lnTo>
                        <a:pt x="18" y="54"/>
                      </a:lnTo>
                      <a:lnTo>
                        <a:pt x="18" y="54"/>
                      </a:lnTo>
                      <a:lnTo>
                        <a:pt x="18" y="54"/>
                      </a:lnTo>
                      <a:lnTo>
                        <a:pt x="9" y="38"/>
                      </a:lnTo>
                      <a:lnTo>
                        <a:pt x="5" y="29"/>
                      </a:lnTo>
                      <a:lnTo>
                        <a:pt x="3" y="20"/>
                      </a:lnTo>
                      <a:lnTo>
                        <a:pt x="3" y="20"/>
                      </a:lnTo>
                      <a:lnTo>
                        <a:pt x="2" y="9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3" y="20"/>
                      </a:lnTo>
                      <a:lnTo>
                        <a:pt x="3" y="20"/>
                      </a:lnTo>
                      <a:lnTo>
                        <a:pt x="5" y="29"/>
                      </a:lnTo>
                      <a:lnTo>
                        <a:pt x="9" y="38"/>
                      </a:lnTo>
                      <a:lnTo>
                        <a:pt x="18" y="54"/>
                      </a:lnTo>
                      <a:lnTo>
                        <a:pt x="18" y="54"/>
                      </a:lnTo>
                      <a:lnTo>
                        <a:pt x="18" y="5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29" name="Freeform 380"/>
                <p:cNvSpPr>
                  <a:spLocks/>
                </p:cNvSpPr>
                <p:nvPr/>
              </p:nvSpPr>
              <p:spPr bwMode="auto">
                <a:xfrm>
                  <a:off x="4770841" y="3590174"/>
                  <a:ext cx="15828" cy="13850"/>
                </a:xfrm>
                <a:custGeom>
                  <a:avLst/>
                  <a:gdLst>
                    <a:gd name="T0" fmla="*/ 16 w 16"/>
                    <a:gd name="T1" fmla="*/ 14 h 14"/>
                    <a:gd name="T2" fmla="*/ 16 w 16"/>
                    <a:gd name="T3" fmla="*/ 14 h 14"/>
                    <a:gd name="T4" fmla="*/ 5 w 16"/>
                    <a:gd name="T5" fmla="*/ 7 h 14"/>
                    <a:gd name="T6" fmla="*/ 0 w 16"/>
                    <a:gd name="T7" fmla="*/ 0 h 14"/>
                    <a:gd name="T8" fmla="*/ 0 w 16"/>
                    <a:gd name="T9" fmla="*/ 0 h 14"/>
                    <a:gd name="T10" fmla="*/ 5 w 16"/>
                    <a:gd name="T11" fmla="*/ 7 h 14"/>
                    <a:gd name="T12" fmla="*/ 16 w 16"/>
                    <a:gd name="T13" fmla="*/ 14 h 14"/>
                    <a:gd name="T14" fmla="*/ 16 w 16"/>
                    <a:gd name="T15" fmla="*/ 14 h 14"/>
                    <a:gd name="T16" fmla="*/ 16 w 16"/>
                    <a:gd name="T17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6" h="14">
                      <a:moveTo>
                        <a:pt x="16" y="14"/>
                      </a:moveTo>
                      <a:lnTo>
                        <a:pt x="16" y="14"/>
                      </a:lnTo>
                      <a:lnTo>
                        <a:pt x="5" y="7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5" y="7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16" y="1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30" name="Freeform 381"/>
                <p:cNvSpPr>
                  <a:spLocks/>
                </p:cNvSpPr>
                <p:nvPr/>
              </p:nvSpPr>
              <p:spPr bwMode="auto">
                <a:xfrm>
                  <a:off x="4786669" y="3604023"/>
                  <a:ext cx="4946" cy="2968"/>
                </a:xfrm>
                <a:custGeom>
                  <a:avLst/>
                  <a:gdLst>
                    <a:gd name="T0" fmla="*/ 5 w 5"/>
                    <a:gd name="T1" fmla="*/ 3 h 3"/>
                    <a:gd name="T2" fmla="*/ 5 w 5"/>
                    <a:gd name="T3" fmla="*/ 3 h 3"/>
                    <a:gd name="T4" fmla="*/ 0 w 5"/>
                    <a:gd name="T5" fmla="*/ 0 h 3"/>
                    <a:gd name="T6" fmla="*/ 0 w 5"/>
                    <a:gd name="T7" fmla="*/ 0 h 3"/>
                    <a:gd name="T8" fmla="*/ 0 w 5"/>
                    <a:gd name="T9" fmla="*/ 0 h 3"/>
                    <a:gd name="T10" fmla="*/ 0 w 5"/>
                    <a:gd name="T11" fmla="*/ 0 h 3"/>
                    <a:gd name="T12" fmla="*/ 5 w 5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3">
                      <a:moveTo>
                        <a:pt x="5" y="3"/>
                      </a:moveTo>
                      <a:lnTo>
                        <a:pt x="5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31" name="Freeform 382"/>
                <p:cNvSpPr>
                  <a:spLocks/>
                </p:cNvSpPr>
                <p:nvPr/>
              </p:nvSpPr>
              <p:spPr bwMode="auto">
                <a:xfrm>
                  <a:off x="4786669" y="3604023"/>
                  <a:ext cx="4946" cy="2968"/>
                </a:xfrm>
                <a:custGeom>
                  <a:avLst/>
                  <a:gdLst>
                    <a:gd name="T0" fmla="*/ 5 w 5"/>
                    <a:gd name="T1" fmla="*/ 3 h 3"/>
                    <a:gd name="T2" fmla="*/ 5 w 5"/>
                    <a:gd name="T3" fmla="*/ 3 h 3"/>
                    <a:gd name="T4" fmla="*/ 0 w 5"/>
                    <a:gd name="T5" fmla="*/ 0 h 3"/>
                    <a:gd name="T6" fmla="*/ 0 w 5"/>
                    <a:gd name="T7" fmla="*/ 0 h 3"/>
                    <a:gd name="T8" fmla="*/ 0 w 5"/>
                    <a:gd name="T9" fmla="*/ 0 h 3"/>
                    <a:gd name="T10" fmla="*/ 0 w 5"/>
                    <a:gd name="T11" fmla="*/ 0 h 3"/>
                    <a:gd name="T12" fmla="*/ 5 w 5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3">
                      <a:moveTo>
                        <a:pt x="5" y="3"/>
                      </a:moveTo>
                      <a:lnTo>
                        <a:pt x="5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5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32" name="Freeform 383"/>
                <p:cNvSpPr>
                  <a:spLocks/>
                </p:cNvSpPr>
                <p:nvPr/>
              </p:nvSpPr>
              <p:spPr bwMode="auto">
                <a:xfrm>
                  <a:off x="4935058" y="3479377"/>
                  <a:ext cx="45506" cy="116733"/>
                </a:xfrm>
                <a:custGeom>
                  <a:avLst/>
                  <a:gdLst>
                    <a:gd name="T0" fmla="*/ 45 w 46"/>
                    <a:gd name="T1" fmla="*/ 118 h 118"/>
                    <a:gd name="T2" fmla="*/ 45 w 46"/>
                    <a:gd name="T3" fmla="*/ 118 h 118"/>
                    <a:gd name="T4" fmla="*/ 36 w 46"/>
                    <a:gd name="T5" fmla="*/ 109 h 118"/>
                    <a:gd name="T6" fmla="*/ 36 w 46"/>
                    <a:gd name="T7" fmla="*/ 109 h 118"/>
                    <a:gd name="T8" fmla="*/ 36 w 46"/>
                    <a:gd name="T9" fmla="*/ 109 h 118"/>
                    <a:gd name="T10" fmla="*/ 36 w 46"/>
                    <a:gd name="T11" fmla="*/ 109 h 118"/>
                    <a:gd name="T12" fmla="*/ 36 w 46"/>
                    <a:gd name="T13" fmla="*/ 109 h 118"/>
                    <a:gd name="T14" fmla="*/ 35 w 46"/>
                    <a:gd name="T15" fmla="*/ 109 h 118"/>
                    <a:gd name="T16" fmla="*/ 35 w 46"/>
                    <a:gd name="T17" fmla="*/ 107 h 118"/>
                    <a:gd name="T18" fmla="*/ 35 w 46"/>
                    <a:gd name="T19" fmla="*/ 107 h 118"/>
                    <a:gd name="T20" fmla="*/ 31 w 46"/>
                    <a:gd name="T21" fmla="*/ 100 h 118"/>
                    <a:gd name="T22" fmla="*/ 31 w 46"/>
                    <a:gd name="T23" fmla="*/ 83 h 118"/>
                    <a:gd name="T24" fmla="*/ 31 w 46"/>
                    <a:gd name="T25" fmla="*/ 83 h 118"/>
                    <a:gd name="T26" fmla="*/ 29 w 46"/>
                    <a:gd name="T27" fmla="*/ 80 h 118"/>
                    <a:gd name="T28" fmla="*/ 28 w 46"/>
                    <a:gd name="T29" fmla="*/ 80 h 118"/>
                    <a:gd name="T30" fmla="*/ 26 w 46"/>
                    <a:gd name="T31" fmla="*/ 80 h 118"/>
                    <a:gd name="T32" fmla="*/ 26 w 46"/>
                    <a:gd name="T33" fmla="*/ 80 h 118"/>
                    <a:gd name="T34" fmla="*/ 22 w 46"/>
                    <a:gd name="T35" fmla="*/ 83 h 118"/>
                    <a:gd name="T36" fmla="*/ 22 w 46"/>
                    <a:gd name="T37" fmla="*/ 83 h 118"/>
                    <a:gd name="T38" fmla="*/ 22 w 46"/>
                    <a:gd name="T39" fmla="*/ 83 h 118"/>
                    <a:gd name="T40" fmla="*/ 20 w 46"/>
                    <a:gd name="T41" fmla="*/ 83 h 118"/>
                    <a:gd name="T42" fmla="*/ 15 w 46"/>
                    <a:gd name="T43" fmla="*/ 80 h 118"/>
                    <a:gd name="T44" fmla="*/ 15 w 46"/>
                    <a:gd name="T45" fmla="*/ 80 h 118"/>
                    <a:gd name="T46" fmla="*/ 12 w 46"/>
                    <a:gd name="T47" fmla="*/ 76 h 118"/>
                    <a:gd name="T48" fmla="*/ 7 w 46"/>
                    <a:gd name="T49" fmla="*/ 73 h 118"/>
                    <a:gd name="T50" fmla="*/ 7 w 46"/>
                    <a:gd name="T51" fmla="*/ 73 h 118"/>
                    <a:gd name="T52" fmla="*/ 3 w 46"/>
                    <a:gd name="T53" fmla="*/ 73 h 118"/>
                    <a:gd name="T54" fmla="*/ 0 w 46"/>
                    <a:gd name="T55" fmla="*/ 61 h 118"/>
                    <a:gd name="T56" fmla="*/ 2 w 46"/>
                    <a:gd name="T57" fmla="*/ 54 h 118"/>
                    <a:gd name="T58" fmla="*/ 7 w 46"/>
                    <a:gd name="T59" fmla="*/ 38 h 118"/>
                    <a:gd name="T60" fmla="*/ 10 w 46"/>
                    <a:gd name="T61" fmla="*/ 12 h 118"/>
                    <a:gd name="T62" fmla="*/ 15 w 46"/>
                    <a:gd name="T63" fmla="*/ 2 h 118"/>
                    <a:gd name="T64" fmla="*/ 15 w 46"/>
                    <a:gd name="T65" fmla="*/ 2 h 118"/>
                    <a:gd name="T66" fmla="*/ 16 w 46"/>
                    <a:gd name="T67" fmla="*/ 2 h 118"/>
                    <a:gd name="T68" fmla="*/ 19 w 46"/>
                    <a:gd name="T69" fmla="*/ 0 h 118"/>
                    <a:gd name="T70" fmla="*/ 20 w 46"/>
                    <a:gd name="T71" fmla="*/ 0 h 118"/>
                    <a:gd name="T72" fmla="*/ 20 w 46"/>
                    <a:gd name="T73" fmla="*/ 0 h 118"/>
                    <a:gd name="T74" fmla="*/ 22 w 46"/>
                    <a:gd name="T75" fmla="*/ 0 h 118"/>
                    <a:gd name="T76" fmla="*/ 25 w 46"/>
                    <a:gd name="T77" fmla="*/ 5 h 118"/>
                    <a:gd name="T78" fmla="*/ 25 w 46"/>
                    <a:gd name="T79" fmla="*/ 5 h 118"/>
                    <a:gd name="T80" fmla="*/ 28 w 46"/>
                    <a:gd name="T81" fmla="*/ 29 h 118"/>
                    <a:gd name="T82" fmla="*/ 25 w 46"/>
                    <a:gd name="T83" fmla="*/ 39 h 118"/>
                    <a:gd name="T84" fmla="*/ 26 w 46"/>
                    <a:gd name="T85" fmla="*/ 48 h 118"/>
                    <a:gd name="T86" fmla="*/ 35 w 46"/>
                    <a:gd name="T87" fmla="*/ 71 h 118"/>
                    <a:gd name="T88" fmla="*/ 39 w 46"/>
                    <a:gd name="T89" fmla="*/ 76 h 118"/>
                    <a:gd name="T90" fmla="*/ 41 w 46"/>
                    <a:gd name="T91" fmla="*/ 76 h 118"/>
                    <a:gd name="T92" fmla="*/ 42 w 46"/>
                    <a:gd name="T93" fmla="*/ 77 h 118"/>
                    <a:gd name="T94" fmla="*/ 46 w 46"/>
                    <a:gd name="T95" fmla="*/ 110 h 118"/>
                    <a:gd name="T96" fmla="*/ 46 w 46"/>
                    <a:gd name="T97" fmla="*/ 115 h 118"/>
                    <a:gd name="T98" fmla="*/ 46 w 46"/>
                    <a:gd name="T99" fmla="*/ 115 h 118"/>
                    <a:gd name="T100" fmla="*/ 45 w 46"/>
                    <a:gd name="T101" fmla="*/ 118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46" h="118">
                      <a:moveTo>
                        <a:pt x="45" y="118"/>
                      </a:moveTo>
                      <a:lnTo>
                        <a:pt x="45" y="118"/>
                      </a:lnTo>
                      <a:lnTo>
                        <a:pt x="45" y="118"/>
                      </a:lnTo>
                      <a:lnTo>
                        <a:pt x="45" y="118"/>
                      </a:lnTo>
                      <a:lnTo>
                        <a:pt x="45" y="118"/>
                      </a:lnTo>
                      <a:lnTo>
                        <a:pt x="45" y="118"/>
                      </a:lnTo>
                      <a:lnTo>
                        <a:pt x="42" y="115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5" y="109"/>
                      </a:lnTo>
                      <a:lnTo>
                        <a:pt x="35" y="109"/>
                      </a:lnTo>
                      <a:lnTo>
                        <a:pt x="35" y="107"/>
                      </a:lnTo>
                      <a:lnTo>
                        <a:pt x="35" y="107"/>
                      </a:lnTo>
                      <a:lnTo>
                        <a:pt x="35" y="107"/>
                      </a:lnTo>
                      <a:lnTo>
                        <a:pt x="35" y="107"/>
                      </a:lnTo>
                      <a:lnTo>
                        <a:pt x="35" y="107"/>
                      </a:lnTo>
                      <a:lnTo>
                        <a:pt x="35" y="107"/>
                      </a:lnTo>
                      <a:lnTo>
                        <a:pt x="32" y="105"/>
                      </a:lnTo>
                      <a:lnTo>
                        <a:pt x="31" y="100"/>
                      </a:lnTo>
                      <a:lnTo>
                        <a:pt x="29" y="93"/>
                      </a:lnTo>
                      <a:lnTo>
                        <a:pt x="29" y="93"/>
                      </a:lnTo>
                      <a:lnTo>
                        <a:pt x="31" y="83"/>
                      </a:lnTo>
                      <a:lnTo>
                        <a:pt x="31" y="83"/>
                      </a:lnTo>
                      <a:lnTo>
                        <a:pt x="31" y="83"/>
                      </a:lnTo>
                      <a:lnTo>
                        <a:pt x="31" y="83"/>
                      </a:lnTo>
                      <a:lnTo>
                        <a:pt x="31" y="80"/>
                      </a:lnTo>
                      <a:lnTo>
                        <a:pt x="29" y="80"/>
                      </a:lnTo>
                      <a:lnTo>
                        <a:pt x="29" y="80"/>
                      </a:lnTo>
                      <a:lnTo>
                        <a:pt x="29" y="80"/>
                      </a:lnTo>
                      <a:lnTo>
                        <a:pt x="28" y="80"/>
                      </a:lnTo>
                      <a:lnTo>
                        <a:pt x="28" y="80"/>
                      </a:lnTo>
                      <a:lnTo>
                        <a:pt x="28" y="80"/>
                      </a:lnTo>
                      <a:lnTo>
                        <a:pt x="28" y="80"/>
                      </a:lnTo>
                      <a:lnTo>
                        <a:pt x="26" y="80"/>
                      </a:lnTo>
                      <a:lnTo>
                        <a:pt x="26" y="80"/>
                      </a:lnTo>
                      <a:lnTo>
                        <a:pt x="26" y="80"/>
                      </a:lnTo>
                      <a:lnTo>
                        <a:pt x="26" y="80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0" y="83"/>
                      </a:lnTo>
                      <a:lnTo>
                        <a:pt x="20" y="83"/>
                      </a:lnTo>
                      <a:lnTo>
                        <a:pt x="20" y="83"/>
                      </a:lnTo>
                      <a:lnTo>
                        <a:pt x="20" y="83"/>
                      </a:lnTo>
                      <a:lnTo>
                        <a:pt x="15" y="80"/>
                      </a:lnTo>
                      <a:lnTo>
                        <a:pt x="15" y="80"/>
                      </a:lnTo>
                      <a:lnTo>
                        <a:pt x="15" y="80"/>
                      </a:lnTo>
                      <a:lnTo>
                        <a:pt x="15" y="80"/>
                      </a:lnTo>
                      <a:lnTo>
                        <a:pt x="15" y="80"/>
                      </a:lnTo>
                      <a:lnTo>
                        <a:pt x="15" y="80"/>
                      </a:lnTo>
                      <a:lnTo>
                        <a:pt x="12" y="76"/>
                      </a:lnTo>
                      <a:lnTo>
                        <a:pt x="7" y="73"/>
                      </a:lnTo>
                      <a:lnTo>
                        <a:pt x="7" y="73"/>
                      </a:lnTo>
                      <a:lnTo>
                        <a:pt x="7" y="73"/>
                      </a:lnTo>
                      <a:lnTo>
                        <a:pt x="7" y="73"/>
                      </a:lnTo>
                      <a:lnTo>
                        <a:pt x="7" y="73"/>
                      </a:lnTo>
                      <a:lnTo>
                        <a:pt x="7" y="73"/>
                      </a:lnTo>
                      <a:lnTo>
                        <a:pt x="4" y="73"/>
                      </a:lnTo>
                      <a:lnTo>
                        <a:pt x="4" y="73"/>
                      </a:lnTo>
                      <a:lnTo>
                        <a:pt x="3" y="73"/>
                      </a:lnTo>
                      <a:lnTo>
                        <a:pt x="3" y="73"/>
                      </a:lnTo>
                      <a:lnTo>
                        <a:pt x="2" y="67"/>
                      </a:lnTo>
                      <a:lnTo>
                        <a:pt x="0" y="61"/>
                      </a:lnTo>
                      <a:lnTo>
                        <a:pt x="0" y="61"/>
                      </a:lnTo>
                      <a:lnTo>
                        <a:pt x="0" y="58"/>
                      </a:lnTo>
                      <a:lnTo>
                        <a:pt x="2" y="54"/>
                      </a:lnTo>
                      <a:lnTo>
                        <a:pt x="2" y="54"/>
                      </a:lnTo>
                      <a:lnTo>
                        <a:pt x="6" y="45"/>
                      </a:lnTo>
                      <a:lnTo>
                        <a:pt x="7" y="38"/>
                      </a:lnTo>
                      <a:lnTo>
                        <a:pt x="7" y="21"/>
                      </a:lnTo>
                      <a:lnTo>
                        <a:pt x="7" y="21"/>
                      </a:lnTo>
                      <a:lnTo>
                        <a:pt x="10" y="12"/>
                      </a:lnTo>
                      <a:lnTo>
                        <a:pt x="13" y="2"/>
                      </a:lnTo>
                      <a:lnTo>
                        <a:pt x="13" y="2"/>
                      </a:lnTo>
                      <a:lnTo>
                        <a:pt x="15" y="2"/>
                      </a:lnTo>
                      <a:lnTo>
                        <a:pt x="15" y="2"/>
                      </a:lnTo>
                      <a:lnTo>
                        <a:pt x="15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9" y="0"/>
                      </a:lnTo>
                      <a:lnTo>
                        <a:pt x="19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5"/>
                      </a:lnTo>
                      <a:lnTo>
                        <a:pt x="25" y="5"/>
                      </a:lnTo>
                      <a:lnTo>
                        <a:pt x="25" y="5"/>
                      </a:lnTo>
                      <a:lnTo>
                        <a:pt x="25" y="5"/>
                      </a:lnTo>
                      <a:lnTo>
                        <a:pt x="25" y="19"/>
                      </a:lnTo>
                      <a:lnTo>
                        <a:pt x="26" y="26"/>
                      </a:lnTo>
                      <a:lnTo>
                        <a:pt x="28" y="29"/>
                      </a:lnTo>
                      <a:lnTo>
                        <a:pt x="29" y="31"/>
                      </a:lnTo>
                      <a:lnTo>
                        <a:pt x="29" y="31"/>
                      </a:lnTo>
                      <a:lnTo>
                        <a:pt x="25" y="39"/>
                      </a:lnTo>
                      <a:lnTo>
                        <a:pt x="25" y="39"/>
                      </a:lnTo>
                      <a:lnTo>
                        <a:pt x="25" y="42"/>
                      </a:lnTo>
                      <a:lnTo>
                        <a:pt x="26" y="48"/>
                      </a:lnTo>
                      <a:lnTo>
                        <a:pt x="32" y="61"/>
                      </a:lnTo>
                      <a:lnTo>
                        <a:pt x="32" y="61"/>
                      </a:lnTo>
                      <a:lnTo>
                        <a:pt x="35" y="71"/>
                      </a:lnTo>
                      <a:lnTo>
                        <a:pt x="36" y="74"/>
                      </a:lnTo>
                      <a:lnTo>
                        <a:pt x="39" y="76"/>
                      </a:lnTo>
                      <a:lnTo>
                        <a:pt x="39" y="76"/>
                      </a:lnTo>
                      <a:lnTo>
                        <a:pt x="41" y="76"/>
                      </a:lnTo>
                      <a:lnTo>
                        <a:pt x="41" y="76"/>
                      </a:lnTo>
                      <a:lnTo>
                        <a:pt x="41" y="76"/>
                      </a:lnTo>
                      <a:lnTo>
                        <a:pt x="41" y="76"/>
                      </a:lnTo>
                      <a:lnTo>
                        <a:pt x="42" y="77"/>
                      </a:lnTo>
                      <a:lnTo>
                        <a:pt x="42" y="77"/>
                      </a:lnTo>
                      <a:lnTo>
                        <a:pt x="45" y="84"/>
                      </a:lnTo>
                      <a:lnTo>
                        <a:pt x="46" y="93"/>
                      </a:lnTo>
                      <a:lnTo>
                        <a:pt x="46" y="110"/>
                      </a:lnTo>
                      <a:lnTo>
                        <a:pt x="46" y="110"/>
                      </a:lnTo>
                      <a:lnTo>
                        <a:pt x="46" y="115"/>
                      </a:lnTo>
                      <a:lnTo>
                        <a:pt x="46" y="115"/>
                      </a:lnTo>
                      <a:lnTo>
                        <a:pt x="46" y="115"/>
                      </a:lnTo>
                      <a:lnTo>
                        <a:pt x="46" y="115"/>
                      </a:lnTo>
                      <a:lnTo>
                        <a:pt x="46" y="115"/>
                      </a:lnTo>
                      <a:lnTo>
                        <a:pt x="46" y="115"/>
                      </a:lnTo>
                      <a:lnTo>
                        <a:pt x="46" y="118"/>
                      </a:lnTo>
                      <a:lnTo>
                        <a:pt x="45" y="118"/>
                      </a:lnTo>
                      <a:lnTo>
                        <a:pt x="45" y="11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33" name="Freeform 384"/>
                <p:cNvSpPr>
                  <a:spLocks/>
                </p:cNvSpPr>
                <p:nvPr/>
              </p:nvSpPr>
              <p:spPr bwMode="auto">
                <a:xfrm>
                  <a:off x="4935058" y="3479377"/>
                  <a:ext cx="45506" cy="116733"/>
                </a:xfrm>
                <a:custGeom>
                  <a:avLst/>
                  <a:gdLst>
                    <a:gd name="T0" fmla="*/ 45 w 46"/>
                    <a:gd name="T1" fmla="*/ 118 h 118"/>
                    <a:gd name="T2" fmla="*/ 45 w 46"/>
                    <a:gd name="T3" fmla="*/ 118 h 118"/>
                    <a:gd name="T4" fmla="*/ 36 w 46"/>
                    <a:gd name="T5" fmla="*/ 109 h 118"/>
                    <a:gd name="T6" fmla="*/ 36 w 46"/>
                    <a:gd name="T7" fmla="*/ 109 h 118"/>
                    <a:gd name="T8" fmla="*/ 36 w 46"/>
                    <a:gd name="T9" fmla="*/ 109 h 118"/>
                    <a:gd name="T10" fmla="*/ 36 w 46"/>
                    <a:gd name="T11" fmla="*/ 109 h 118"/>
                    <a:gd name="T12" fmla="*/ 36 w 46"/>
                    <a:gd name="T13" fmla="*/ 109 h 118"/>
                    <a:gd name="T14" fmla="*/ 35 w 46"/>
                    <a:gd name="T15" fmla="*/ 109 h 118"/>
                    <a:gd name="T16" fmla="*/ 35 w 46"/>
                    <a:gd name="T17" fmla="*/ 107 h 118"/>
                    <a:gd name="T18" fmla="*/ 35 w 46"/>
                    <a:gd name="T19" fmla="*/ 107 h 118"/>
                    <a:gd name="T20" fmla="*/ 31 w 46"/>
                    <a:gd name="T21" fmla="*/ 100 h 118"/>
                    <a:gd name="T22" fmla="*/ 31 w 46"/>
                    <a:gd name="T23" fmla="*/ 83 h 118"/>
                    <a:gd name="T24" fmla="*/ 31 w 46"/>
                    <a:gd name="T25" fmla="*/ 83 h 118"/>
                    <a:gd name="T26" fmla="*/ 29 w 46"/>
                    <a:gd name="T27" fmla="*/ 80 h 118"/>
                    <a:gd name="T28" fmla="*/ 28 w 46"/>
                    <a:gd name="T29" fmla="*/ 80 h 118"/>
                    <a:gd name="T30" fmla="*/ 26 w 46"/>
                    <a:gd name="T31" fmla="*/ 80 h 118"/>
                    <a:gd name="T32" fmla="*/ 26 w 46"/>
                    <a:gd name="T33" fmla="*/ 80 h 118"/>
                    <a:gd name="T34" fmla="*/ 22 w 46"/>
                    <a:gd name="T35" fmla="*/ 83 h 118"/>
                    <a:gd name="T36" fmla="*/ 22 w 46"/>
                    <a:gd name="T37" fmla="*/ 83 h 118"/>
                    <a:gd name="T38" fmla="*/ 22 w 46"/>
                    <a:gd name="T39" fmla="*/ 83 h 118"/>
                    <a:gd name="T40" fmla="*/ 20 w 46"/>
                    <a:gd name="T41" fmla="*/ 83 h 118"/>
                    <a:gd name="T42" fmla="*/ 15 w 46"/>
                    <a:gd name="T43" fmla="*/ 80 h 118"/>
                    <a:gd name="T44" fmla="*/ 15 w 46"/>
                    <a:gd name="T45" fmla="*/ 80 h 118"/>
                    <a:gd name="T46" fmla="*/ 12 w 46"/>
                    <a:gd name="T47" fmla="*/ 76 h 118"/>
                    <a:gd name="T48" fmla="*/ 7 w 46"/>
                    <a:gd name="T49" fmla="*/ 73 h 118"/>
                    <a:gd name="T50" fmla="*/ 7 w 46"/>
                    <a:gd name="T51" fmla="*/ 73 h 118"/>
                    <a:gd name="T52" fmla="*/ 3 w 46"/>
                    <a:gd name="T53" fmla="*/ 73 h 118"/>
                    <a:gd name="T54" fmla="*/ 0 w 46"/>
                    <a:gd name="T55" fmla="*/ 61 h 118"/>
                    <a:gd name="T56" fmla="*/ 2 w 46"/>
                    <a:gd name="T57" fmla="*/ 54 h 118"/>
                    <a:gd name="T58" fmla="*/ 7 w 46"/>
                    <a:gd name="T59" fmla="*/ 38 h 118"/>
                    <a:gd name="T60" fmla="*/ 10 w 46"/>
                    <a:gd name="T61" fmla="*/ 12 h 118"/>
                    <a:gd name="T62" fmla="*/ 15 w 46"/>
                    <a:gd name="T63" fmla="*/ 2 h 118"/>
                    <a:gd name="T64" fmla="*/ 15 w 46"/>
                    <a:gd name="T65" fmla="*/ 2 h 118"/>
                    <a:gd name="T66" fmla="*/ 16 w 46"/>
                    <a:gd name="T67" fmla="*/ 2 h 118"/>
                    <a:gd name="T68" fmla="*/ 19 w 46"/>
                    <a:gd name="T69" fmla="*/ 0 h 118"/>
                    <a:gd name="T70" fmla="*/ 20 w 46"/>
                    <a:gd name="T71" fmla="*/ 0 h 118"/>
                    <a:gd name="T72" fmla="*/ 20 w 46"/>
                    <a:gd name="T73" fmla="*/ 0 h 118"/>
                    <a:gd name="T74" fmla="*/ 22 w 46"/>
                    <a:gd name="T75" fmla="*/ 0 h 118"/>
                    <a:gd name="T76" fmla="*/ 25 w 46"/>
                    <a:gd name="T77" fmla="*/ 5 h 118"/>
                    <a:gd name="T78" fmla="*/ 25 w 46"/>
                    <a:gd name="T79" fmla="*/ 5 h 118"/>
                    <a:gd name="T80" fmla="*/ 28 w 46"/>
                    <a:gd name="T81" fmla="*/ 29 h 118"/>
                    <a:gd name="T82" fmla="*/ 25 w 46"/>
                    <a:gd name="T83" fmla="*/ 39 h 118"/>
                    <a:gd name="T84" fmla="*/ 26 w 46"/>
                    <a:gd name="T85" fmla="*/ 48 h 118"/>
                    <a:gd name="T86" fmla="*/ 35 w 46"/>
                    <a:gd name="T87" fmla="*/ 71 h 118"/>
                    <a:gd name="T88" fmla="*/ 39 w 46"/>
                    <a:gd name="T89" fmla="*/ 76 h 118"/>
                    <a:gd name="T90" fmla="*/ 41 w 46"/>
                    <a:gd name="T91" fmla="*/ 76 h 118"/>
                    <a:gd name="T92" fmla="*/ 42 w 46"/>
                    <a:gd name="T93" fmla="*/ 77 h 118"/>
                    <a:gd name="T94" fmla="*/ 46 w 46"/>
                    <a:gd name="T95" fmla="*/ 110 h 118"/>
                    <a:gd name="T96" fmla="*/ 46 w 46"/>
                    <a:gd name="T97" fmla="*/ 115 h 118"/>
                    <a:gd name="T98" fmla="*/ 46 w 46"/>
                    <a:gd name="T99" fmla="*/ 115 h 118"/>
                    <a:gd name="T100" fmla="*/ 45 w 46"/>
                    <a:gd name="T101" fmla="*/ 118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46" h="118">
                      <a:moveTo>
                        <a:pt x="45" y="118"/>
                      </a:moveTo>
                      <a:lnTo>
                        <a:pt x="45" y="118"/>
                      </a:lnTo>
                      <a:lnTo>
                        <a:pt x="45" y="118"/>
                      </a:lnTo>
                      <a:lnTo>
                        <a:pt x="45" y="118"/>
                      </a:lnTo>
                      <a:lnTo>
                        <a:pt x="45" y="118"/>
                      </a:lnTo>
                      <a:lnTo>
                        <a:pt x="45" y="118"/>
                      </a:lnTo>
                      <a:lnTo>
                        <a:pt x="42" y="115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6" y="109"/>
                      </a:lnTo>
                      <a:lnTo>
                        <a:pt x="35" y="109"/>
                      </a:lnTo>
                      <a:lnTo>
                        <a:pt x="35" y="109"/>
                      </a:lnTo>
                      <a:lnTo>
                        <a:pt x="35" y="107"/>
                      </a:lnTo>
                      <a:lnTo>
                        <a:pt x="35" y="107"/>
                      </a:lnTo>
                      <a:lnTo>
                        <a:pt x="35" y="107"/>
                      </a:lnTo>
                      <a:lnTo>
                        <a:pt x="35" y="107"/>
                      </a:lnTo>
                      <a:lnTo>
                        <a:pt x="35" y="107"/>
                      </a:lnTo>
                      <a:lnTo>
                        <a:pt x="35" y="107"/>
                      </a:lnTo>
                      <a:lnTo>
                        <a:pt x="32" y="105"/>
                      </a:lnTo>
                      <a:lnTo>
                        <a:pt x="31" y="100"/>
                      </a:lnTo>
                      <a:lnTo>
                        <a:pt x="29" y="93"/>
                      </a:lnTo>
                      <a:lnTo>
                        <a:pt x="29" y="93"/>
                      </a:lnTo>
                      <a:lnTo>
                        <a:pt x="31" y="83"/>
                      </a:lnTo>
                      <a:lnTo>
                        <a:pt x="31" y="83"/>
                      </a:lnTo>
                      <a:lnTo>
                        <a:pt x="31" y="83"/>
                      </a:lnTo>
                      <a:lnTo>
                        <a:pt x="31" y="83"/>
                      </a:lnTo>
                      <a:lnTo>
                        <a:pt x="31" y="80"/>
                      </a:lnTo>
                      <a:lnTo>
                        <a:pt x="29" y="80"/>
                      </a:lnTo>
                      <a:lnTo>
                        <a:pt x="29" y="80"/>
                      </a:lnTo>
                      <a:lnTo>
                        <a:pt x="29" y="80"/>
                      </a:lnTo>
                      <a:lnTo>
                        <a:pt x="28" y="80"/>
                      </a:lnTo>
                      <a:lnTo>
                        <a:pt x="28" y="80"/>
                      </a:lnTo>
                      <a:lnTo>
                        <a:pt x="28" y="80"/>
                      </a:lnTo>
                      <a:lnTo>
                        <a:pt x="28" y="80"/>
                      </a:lnTo>
                      <a:lnTo>
                        <a:pt x="26" y="80"/>
                      </a:lnTo>
                      <a:lnTo>
                        <a:pt x="26" y="80"/>
                      </a:lnTo>
                      <a:lnTo>
                        <a:pt x="26" y="80"/>
                      </a:lnTo>
                      <a:lnTo>
                        <a:pt x="26" y="80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0" y="83"/>
                      </a:lnTo>
                      <a:lnTo>
                        <a:pt x="20" y="83"/>
                      </a:lnTo>
                      <a:lnTo>
                        <a:pt x="20" y="83"/>
                      </a:lnTo>
                      <a:lnTo>
                        <a:pt x="20" y="83"/>
                      </a:lnTo>
                      <a:lnTo>
                        <a:pt x="15" y="80"/>
                      </a:lnTo>
                      <a:lnTo>
                        <a:pt x="15" y="80"/>
                      </a:lnTo>
                      <a:lnTo>
                        <a:pt x="15" y="80"/>
                      </a:lnTo>
                      <a:lnTo>
                        <a:pt x="15" y="80"/>
                      </a:lnTo>
                      <a:lnTo>
                        <a:pt x="15" y="80"/>
                      </a:lnTo>
                      <a:lnTo>
                        <a:pt x="15" y="80"/>
                      </a:lnTo>
                      <a:lnTo>
                        <a:pt x="12" y="76"/>
                      </a:lnTo>
                      <a:lnTo>
                        <a:pt x="7" y="73"/>
                      </a:lnTo>
                      <a:lnTo>
                        <a:pt x="7" y="73"/>
                      </a:lnTo>
                      <a:lnTo>
                        <a:pt x="7" y="73"/>
                      </a:lnTo>
                      <a:lnTo>
                        <a:pt x="7" y="73"/>
                      </a:lnTo>
                      <a:lnTo>
                        <a:pt x="7" y="73"/>
                      </a:lnTo>
                      <a:lnTo>
                        <a:pt x="7" y="73"/>
                      </a:lnTo>
                      <a:lnTo>
                        <a:pt x="4" y="73"/>
                      </a:lnTo>
                      <a:lnTo>
                        <a:pt x="4" y="73"/>
                      </a:lnTo>
                      <a:lnTo>
                        <a:pt x="3" y="73"/>
                      </a:lnTo>
                      <a:lnTo>
                        <a:pt x="3" y="73"/>
                      </a:lnTo>
                      <a:lnTo>
                        <a:pt x="2" y="67"/>
                      </a:lnTo>
                      <a:lnTo>
                        <a:pt x="0" y="61"/>
                      </a:lnTo>
                      <a:lnTo>
                        <a:pt x="0" y="61"/>
                      </a:lnTo>
                      <a:lnTo>
                        <a:pt x="0" y="58"/>
                      </a:lnTo>
                      <a:lnTo>
                        <a:pt x="2" y="54"/>
                      </a:lnTo>
                      <a:lnTo>
                        <a:pt x="2" y="54"/>
                      </a:lnTo>
                      <a:lnTo>
                        <a:pt x="6" y="45"/>
                      </a:lnTo>
                      <a:lnTo>
                        <a:pt x="7" y="38"/>
                      </a:lnTo>
                      <a:lnTo>
                        <a:pt x="7" y="21"/>
                      </a:lnTo>
                      <a:lnTo>
                        <a:pt x="7" y="21"/>
                      </a:lnTo>
                      <a:lnTo>
                        <a:pt x="10" y="12"/>
                      </a:lnTo>
                      <a:lnTo>
                        <a:pt x="13" y="2"/>
                      </a:lnTo>
                      <a:lnTo>
                        <a:pt x="13" y="2"/>
                      </a:lnTo>
                      <a:lnTo>
                        <a:pt x="15" y="2"/>
                      </a:lnTo>
                      <a:lnTo>
                        <a:pt x="15" y="2"/>
                      </a:lnTo>
                      <a:lnTo>
                        <a:pt x="15" y="2"/>
                      </a:lnTo>
                      <a:lnTo>
                        <a:pt x="15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9" y="0"/>
                      </a:lnTo>
                      <a:lnTo>
                        <a:pt x="19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3" y="0"/>
                      </a:lnTo>
                      <a:lnTo>
                        <a:pt x="25" y="5"/>
                      </a:lnTo>
                      <a:lnTo>
                        <a:pt x="25" y="5"/>
                      </a:lnTo>
                      <a:lnTo>
                        <a:pt x="25" y="5"/>
                      </a:lnTo>
                      <a:lnTo>
                        <a:pt x="25" y="5"/>
                      </a:lnTo>
                      <a:lnTo>
                        <a:pt x="25" y="19"/>
                      </a:lnTo>
                      <a:lnTo>
                        <a:pt x="26" y="26"/>
                      </a:lnTo>
                      <a:lnTo>
                        <a:pt x="28" y="29"/>
                      </a:lnTo>
                      <a:lnTo>
                        <a:pt x="29" y="31"/>
                      </a:lnTo>
                      <a:lnTo>
                        <a:pt x="29" y="31"/>
                      </a:lnTo>
                      <a:lnTo>
                        <a:pt x="25" y="39"/>
                      </a:lnTo>
                      <a:lnTo>
                        <a:pt x="25" y="39"/>
                      </a:lnTo>
                      <a:lnTo>
                        <a:pt x="25" y="42"/>
                      </a:lnTo>
                      <a:lnTo>
                        <a:pt x="26" y="48"/>
                      </a:lnTo>
                      <a:lnTo>
                        <a:pt x="32" y="61"/>
                      </a:lnTo>
                      <a:lnTo>
                        <a:pt x="32" y="61"/>
                      </a:lnTo>
                      <a:lnTo>
                        <a:pt x="35" y="71"/>
                      </a:lnTo>
                      <a:lnTo>
                        <a:pt x="36" y="74"/>
                      </a:lnTo>
                      <a:lnTo>
                        <a:pt x="39" y="76"/>
                      </a:lnTo>
                      <a:lnTo>
                        <a:pt x="39" y="76"/>
                      </a:lnTo>
                      <a:lnTo>
                        <a:pt x="41" y="76"/>
                      </a:lnTo>
                      <a:lnTo>
                        <a:pt x="41" y="76"/>
                      </a:lnTo>
                      <a:lnTo>
                        <a:pt x="41" y="76"/>
                      </a:lnTo>
                      <a:lnTo>
                        <a:pt x="41" y="76"/>
                      </a:lnTo>
                      <a:lnTo>
                        <a:pt x="42" y="77"/>
                      </a:lnTo>
                      <a:lnTo>
                        <a:pt x="42" y="77"/>
                      </a:lnTo>
                      <a:lnTo>
                        <a:pt x="45" y="84"/>
                      </a:lnTo>
                      <a:lnTo>
                        <a:pt x="46" y="93"/>
                      </a:lnTo>
                      <a:lnTo>
                        <a:pt x="46" y="110"/>
                      </a:lnTo>
                      <a:lnTo>
                        <a:pt x="46" y="110"/>
                      </a:lnTo>
                      <a:lnTo>
                        <a:pt x="46" y="115"/>
                      </a:lnTo>
                      <a:lnTo>
                        <a:pt x="46" y="115"/>
                      </a:lnTo>
                      <a:lnTo>
                        <a:pt x="46" y="115"/>
                      </a:lnTo>
                      <a:lnTo>
                        <a:pt x="46" y="115"/>
                      </a:lnTo>
                      <a:lnTo>
                        <a:pt x="46" y="115"/>
                      </a:lnTo>
                      <a:lnTo>
                        <a:pt x="46" y="115"/>
                      </a:lnTo>
                      <a:lnTo>
                        <a:pt x="46" y="118"/>
                      </a:lnTo>
                      <a:lnTo>
                        <a:pt x="45" y="118"/>
                      </a:lnTo>
                      <a:lnTo>
                        <a:pt x="45" y="11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34" name="Freeform 385"/>
                <p:cNvSpPr>
                  <a:spLocks noEditPoints="1"/>
                </p:cNvSpPr>
                <p:nvPr/>
              </p:nvSpPr>
              <p:spPr bwMode="auto">
                <a:xfrm>
                  <a:off x="4938026" y="3551593"/>
                  <a:ext cx="42538" cy="44517"/>
                </a:xfrm>
                <a:custGeom>
                  <a:avLst/>
                  <a:gdLst>
                    <a:gd name="T0" fmla="*/ 4 w 43"/>
                    <a:gd name="T1" fmla="*/ 0 h 45"/>
                    <a:gd name="T2" fmla="*/ 1 w 43"/>
                    <a:gd name="T3" fmla="*/ 0 h 45"/>
                    <a:gd name="T4" fmla="*/ 0 w 43"/>
                    <a:gd name="T5" fmla="*/ 0 h 45"/>
                    <a:gd name="T6" fmla="*/ 4 w 43"/>
                    <a:gd name="T7" fmla="*/ 0 h 45"/>
                    <a:gd name="T8" fmla="*/ 12 w 43"/>
                    <a:gd name="T9" fmla="*/ 7 h 45"/>
                    <a:gd name="T10" fmla="*/ 4 w 43"/>
                    <a:gd name="T11" fmla="*/ 0 h 45"/>
                    <a:gd name="T12" fmla="*/ 12 w 43"/>
                    <a:gd name="T13" fmla="*/ 7 h 45"/>
                    <a:gd name="T14" fmla="*/ 12 w 43"/>
                    <a:gd name="T15" fmla="*/ 7 h 45"/>
                    <a:gd name="T16" fmla="*/ 26 w 43"/>
                    <a:gd name="T17" fmla="*/ 7 h 45"/>
                    <a:gd name="T18" fmla="*/ 25 w 43"/>
                    <a:gd name="T19" fmla="*/ 7 h 45"/>
                    <a:gd name="T20" fmla="*/ 25 w 43"/>
                    <a:gd name="T21" fmla="*/ 7 h 45"/>
                    <a:gd name="T22" fmla="*/ 23 w 43"/>
                    <a:gd name="T23" fmla="*/ 7 h 45"/>
                    <a:gd name="T24" fmla="*/ 23 w 43"/>
                    <a:gd name="T25" fmla="*/ 7 h 45"/>
                    <a:gd name="T26" fmla="*/ 19 w 43"/>
                    <a:gd name="T27" fmla="*/ 10 h 45"/>
                    <a:gd name="T28" fmla="*/ 19 w 43"/>
                    <a:gd name="T29" fmla="*/ 10 h 45"/>
                    <a:gd name="T30" fmla="*/ 19 w 43"/>
                    <a:gd name="T31" fmla="*/ 10 h 45"/>
                    <a:gd name="T32" fmla="*/ 17 w 43"/>
                    <a:gd name="T33" fmla="*/ 10 h 45"/>
                    <a:gd name="T34" fmla="*/ 19 w 43"/>
                    <a:gd name="T35" fmla="*/ 10 h 45"/>
                    <a:gd name="T36" fmla="*/ 17 w 43"/>
                    <a:gd name="T37" fmla="*/ 10 h 45"/>
                    <a:gd name="T38" fmla="*/ 17 w 43"/>
                    <a:gd name="T39" fmla="*/ 10 h 45"/>
                    <a:gd name="T40" fmla="*/ 28 w 43"/>
                    <a:gd name="T41" fmla="*/ 10 h 45"/>
                    <a:gd name="T42" fmla="*/ 32 w 43"/>
                    <a:gd name="T43" fmla="*/ 34 h 45"/>
                    <a:gd name="T44" fmla="*/ 29 w 43"/>
                    <a:gd name="T45" fmla="*/ 32 h 45"/>
                    <a:gd name="T46" fmla="*/ 26 w 43"/>
                    <a:gd name="T47" fmla="*/ 20 h 45"/>
                    <a:gd name="T48" fmla="*/ 32 w 43"/>
                    <a:gd name="T49" fmla="*/ 34 h 45"/>
                    <a:gd name="T50" fmla="*/ 32 w 43"/>
                    <a:gd name="T51" fmla="*/ 34 h 45"/>
                    <a:gd name="T52" fmla="*/ 33 w 43"/>
                    <a:gd name="T53" fmla="*/ 36 h 45"/>
                    <a:gd name="T54" fmla="*/ 32 w 43"/>
                    <a:gd name="T55" fmla="*/ 36 h 45"/>
                    <a:gd name="T56" fmla="*/ 33 w 43"/>
                    <a:gd name="T57" fmla="*/ 36 h 45"/>
                    <a:gd name="T58" fmla="*/ 33 w 43"/>
                    <a:gd name="T59" fmla="*/ 36 h 45"/>
                    <a:gd name="T60" fmla="*/ 33 w 43"/>
                    <a:gd name="T61" fmla="*/ 36 h 45"/>
                    <a:gd name="T62" fmla="*/ 33 w 43"/>
                    <a:gd name="T63" fmla="*/ 36 h 45"/>
                    <a:gd name="T64" fmla="*/ 33 w 43"/>
                    <a:gd name="T65" fmla="*/ 36 h 45"/>
                    <a:gd name="T66" fmla="*/ 43 w 43"/>
                    <a:gd name="T67" fmla="*/ 42 h 45"/>
                    <a:gd name="T68" fmla="*/ 43 w 43"/>
                    <a:gd name="T69" fmla="*/ 37 h 45"/>
                    <a:gd name="T70" fmla="*/ 43 w 43"/>
                    <a:gd name="T71" fmla="*/ 42 h 45"/>
                    <a:gd name="T72" fmla="*/ 42 w 43"/>
                    <a:gd name="T73" fmla="*/ 45 h 45"/>
                    <a:gd name="T74" fmla="*/ 33 w 43"/>
                    <a:gd name="T75" fmla="*/ 36 h 45"/>
                    <a:gd name="T76" fmla="*/ 42 w 43"/>
                    <a:gd name="T77" fmla="*/ 45 h 45"/>
                    <a:gd name="T78" fmla="*/ 43 w 43"/>
                    <a:gd name="T79" fmla="*/ 42 h 45"/>
                    <a:gd name="T80" fmla="*/ 42 w 43"/>
                    <a:gd name="T81" fmla="*/ 45 h 45"/>
                    <a:gd name="T82" fmla="*/ 42 w 43"/>
                    <a:gd name="T83" fmla="*/ 45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43" h="45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  <a:moveTo>
                        <a:pt x="12" y="7"/>
                      </a:moveTo>
                      <a:lnTo>
                        <a:pt x="12" y="7"/>
                      </a:lnTo>
                      <a:lnTo>
                        <a:pt x="9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9" y="3"/>
                      </a:lnTo>
                      <a:lnTo>
                        <a:pt x="12" y="7"/>
                      </a:lnTo>
                      <a:close/>
                      <a:moveTo>
                        <a:pt x="12" y="7"/>
                      </a:move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2" y="7"/>
                      </a:lnTo>
                      <a:close/>
                      <a:moveTo>
                        <a:pt x="26" y="7"/>
                      </a:moveTo>
                      <a:lnTo>
                        <a:pt x="26" y="7"/>
                      </a:lnTo>
                      <a:lnTo>
                        <a:pt x="26" y="7"/>
                      </a:lnTo>
                      <a:close/>
                      <a:moveTo>
                        <a:pt x="25" y="7"/>
                      </a:moveTo>
                      <a:lnTo>
                        <a:pt x="25" y="7"/>
                      </a:lnTo>
                      <a:lnTo>
                        <a:pt x="25" y="7"/>
                      </a:lnTo>
                      <a:lnTo>
                        <a:pt x="25" y="7"/>
                      </a:lnTo>
                      <a:lnTo>
                        <a:pt x="25" y="7"/>
                      </a:lnTo>
                      <a:close/>
                      <a:moveTo>
                        <a:pt x="23" y="7"/>
                      </a:moveTo>
                      <a:lnTo>
                        <a:pt x="23" y="7"/>
                      </a:lnTo>
                      <a:lnTo>
                        <a:pt x="23" y="7"/>
                      </a:lnTo>
                      <a:lnTo>
                        <a:pt x="23" y="7"/>
                      </a:lnTo>
                      <a:lnTo>
                        <a:pt x="23" y="7"/>
                      </a:lnTo>
                      <a:close/>
                      <a:moveTo>
                        <a:pt x="19" y="10"/>
                      </a:moveTo>
                      <a:lnTo>
                        <a:pt x="19" y="10"/>
                      </a:lnTo>
                      <a:lnTo>
                        <a:pt x="19" y="10"/>
                      </a:lnTo>
                      <a:lnTo>
                        <a:pt x="19" y="10"/>
                      </a:lnTo>
                      <a:lnTo>
                        <a:pt x="19" y="10"/>
                      </a:lnTo>
                      <a:close/>
                      <a:moveTo>
                        <a:pt x="19" y="10"/>
                      </a:moveTo>
                      <a:lnTo>
                        <a:pt x="19" y="10"/>
                      </a:lnTo>
                      <a:lnTo>
                        <a:pt x="19" y="10"/>
                      </a:lnTo>
                      <a:lnTo>
                        <a:pt x="19" y="10"/>
                      </a:lnTo>
                      <a:lnTo>
                        <a:pt x="19" y="10"/>
                      </a:lnTo>
                      <a:lnTo>
                        <a:pt x="19" y="10"/>
                      </a:lnTo>
                      <a:close/>
                      <a:moveTo>
                        <a:pt x="17" y="10"/>
                      </a:moveTo>
                      <a:lnTo>
                        <a:pt x="17" y="10"/>
                      </a:lnTo>
                      <a:lnTo>
                        <a:pt x="19" y="10"/>
                      </a:lnTo>
                      <a:lnTo>
                        <a:pt x="19" y="10"/>
                      </a:lnTo>
                      <a:lnTo>
                        <a:pt x="17" y="10"/>
                      </a:lnTo>
                      <a:close/>
                      <a:moveTo>
                        <a:pt x="17" y="10"/>
                      </a:moveTo>
                      <a:lnTo>
                        <a:pt x="17" y="10"/>
                      </a:lnTo>
                      <a:lnTo>
                        <a:pt x="17" y="10"/>
                      </a:lnTo>
                      <a:lnTo>
                        <a:pt x="17" y="10"/>
                      </a:lnTo>
                      <a:lnTo>
                        <a:pt x="17" y="10"/>
                      </a:lnTo>
                      <a:close/>
                      <a:moveTo>
                        <a:pt x="28" y="10"/>
                      </a:moveTo>
                      <a:lnTo>
                        <a:pt x="28" y="10"/>
                      </a:lnTo>
                      <a:lnTo>
                        <a:pt x="28" y="10"/>
                      </a:lnTo>
                      <a:lnTo>
                        <a:pt x="28" y="10"/>
                      </a:lnTo>
                      <a:lnTo>
                        <a:pt x="28" y="10"/>
                      </a:lnTo>
                      <a:close/>
                      <a:moveTo>
                        <a:pt x="32" y="34"/>
                      </a:moveTo>
                      <a:lnTo>
                        <a:pt x="32" y="34"/>
                      </a:lnTo>
                      <a:lnTo>
                        <a:pt x="32" y="34"/>
                      </a:lnTo>
                      <a:lnTo>
                        <a:pt x="29" y="32"/>
                      </a:lnTo>
                      <a:lnTo>
                        <a:pt x="28" y="27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8" y="27"/>
                      </a:lnTo>
                      <a:lnTo>
                        <a:pt x="29" y="32"/>
                      </a:lnTo>
                      <a:lnTo>
                        <a:pt x="32" y="34"/>
                      </a:lnTo>
                      <a:close/>
                      <a:moveTo>
                        <a:pt x="32" y="34"/>
                      </a:moveTo>
                      <a:lnTo>
                        <a:pt x="32" y="34"/>
                      </a:lnTo>
                      <a:lnTo>
                        <a:pt x="32" y="34"/>
                      </a:lnTo>
                      <a:lnTo>
                        <a:pt x="32" y="34"/>
                      </a:lnTo>
                      <a:lnTo>
                        <a:pt x="32" y="34"/>
                      </a:lnTo>
                      <a:close/>
                      <a:moveTo>
                        <a:pt x="33" y="36"/>
                      </a:moveTo>
                      <a:lnTo>
                        <a:pt x="33" y="36"/>
                      </a:lnTo>
                      <a:lnTo>
                        <a:pt x="32" y="36"/>
                      </a:lnTo>
                      <a:lnTo>
                        <a:pt x="32" y="36"/>
                      </a:lnTo>
                      <a:lnTo>
                        <a:pt x="33" y="36"/>
                      </a:lnTo>
                      <a:close/>
                      <a:moveTo>
                        <a:pt x="33" y="36"/>
                      </a:moveTo>
                      <a:lnTo>
                        <a:pt x="33" y="36"/>
                      </a:lnTo>
                      <a:lnTo>
                        <a:pt x="33" y="36"/>
                      </a:lnTo>
                      <a:lnTo>
                        <a:pt x="33" y="36"/>
                      </a:lnTo>
                      <a:lnTo>
                        <a:pt x="33" y="36"/>
                      </a:lnTo>
                      <a:close/>
                      <a:moveTo>
                        <a:pt x="33" y="36"/>
                      </a:moveTo>
                      <a:lnTo>
                        <a:pt x="33" y="36"/>
                      </a:lnTo>
                      <a:lnTo>
                        <a:pt x="33" y="36"/>
                      </a:lnTo>
                      <a:lnTo>
                        <a:pt x="33" y="36"/>
                      </a:lnTo>
                      <a:lnTo>
                        <a:pt x="33" y="36"/>
                      </a:lnTo>
                      <a:close/>
                      <a:moveTo>
                        <a:pt x="33" y="36"/>
                      </a:moveTo>
                      <a:lnTo>
                        <a:pt x="33" y="36"/>
                      </a:lnTo>
                      <a:lnTo>
                        <a:pt x="33" y="36"/>
                      </a:lnTo>
                      <a:lnTo>
                        <a:pt x="33" y="36"/>
                      </a:lnTo>
                      <a:lnTo>
                        <a:pt x="33" y="36"/>
                      </a:lnTo>
                      <a:close/>
                      <a:moveTo>
                        <a:pt x="43" y="42"/>
                      </a:moveTo>
                      <a:lnTo>
                        <a:pt x="43" y="42"/>
                      </a:lnTo>
                      <a:lnTo>
                        <a:pt x="43" y="42"/>
                      </a:lnTo>
                      <a:lnTo>
                        <a:pt x="43" y="42"/>
                      </a:lnTo>
                      <a:lnTo>
                        <a:pt x="43" y="37"/>
                      </a:lnTo>
                      <a:lnTo>
                        <a:pt x="43" y="37"/>
                      </a:lnTo>
                      <a:lnTo>
                        <a:pt x="43" y="42"/>
                      </a:lnTo>
                      <a:lnTo>
                        <a:pt x="43" y="42"/>
                      </a:lnTo>
                      <a:lnTo>
                        <a:pt x="43" y="42"/>
                      </a:lnTo>
                      <a:close/>
                      <a:moveTo>
                        <a:pt x="42" y="45"/>
                      </a:moveTo>
                      <a:lnTo>
                        <a:pt x="42" y="45"/>
                      </a:lnTo>
                      <a:lnTo>
                        <a:pt x="39" y="42"/>
                      </a:lnTo>
                      <a:lnTo>
                        <a:pt x="33" y="36"/>
                      </a:lnTo>
                      <a:lnTo>
                        <a:pt x="33" y="36"/>
                      </a:lnTo>
                      <a:lnTo>
                        <a:pt x="39" y="42"/>
                      </a:lnTo>
                      <a:lnTo>
                        <a:pt x="42" y="45"/>
                      </a:lnTo>
                      <a:close/>
                      <a:moveTo>
                        <a:pt x="42" y="45"/>
                      </a:moveTo>
                      <a:lnTo>
                        <a:pt x="42" y="45"/>
                      </a:lnTo>
                      <a:lnTo>
                        <a:pt x="43" y="45"/>
                      </a:lnTo>
                      <a:lnTo>
                        <a:pt x="43" y="42"/>
                      </a:lnTo>
                      <a:lnTo>
                        <a:pt x="43" y="42"/>
                      </a:lnTo>
                      <a:lnTo>
                        <a:pt x="43" y="45"/>
                      </a:lnTo>
                      <a:lnTo>
                        <a:pt x="42" y="45"/>
                      </a:lnTo>
                      <a:close/>
                      <a:moveTo>
                        <a:pt x="42" y="45"/>
                      </a:moveTo>
                      <a:lnTo>
                        <a:pt x="42" y="45"/>
                      </a:lnTo>
                      <a:lnTo>
                        <a:pt x="42" y="45"/>
                      </a:lnTo>
                      <a:lnTo>
                        <a:pt x="42" y="45"/>
                      </a:lnTo>
                      <a:lnTo>
                        <a:pt x="42" y="4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35" name="Freeform 386"/>
                <p:cNvSpPr>
                  <a:spLocks/>
                </p:cNvSpPr>
                <p:nvPr/>
              </p:nvSpPr>
              <p:spPr bwMode="auto">
                <a:xfrm>
                  <a:off x="4938026" y="3551593"/>
                  <a:ext cx="3957" cy="0"/>
                </a:xfrm>
                <a:custGeom>
                  <a:avLst/>
                  <a:gdLst>
                    <a:gd name="T0" fmla="*/ 4 w 4"/>
                    <a:gd name="T1" fmla="*/ 4 w 4"/>
                    <a:gd name="T2" fmla="*/ 4 w 4"/>
                    <a:gd name="T3" fmla="*/ 4 w 4"/>
                    <a:gd name="T4" fmla="*/ 1 w 4"/>
                    <a:gd name="T5" fmla="*/ 1 w 4"/>
                    <a:gd name="T6" fmla="*/ 0 w 4"/>
                    <a:gd name="T7" fmla="*/ 0 w 4"/>
                    <a:gd name="T8" fmla="*/ 0 w 4"/>
                    <a:gd name="T9" fmla="*/ 1 w 4"/>
                    <a:gd name="T10" fmla="*/ 1 w 4"/>
                    <a:gd name="T11" fmla="*/ 4 w 4"/>
                    <a:gd name="T12" fmla="*/ 4 w 4"/>
                    <a:gd name="T13" fmla="*/ 4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  <a:cxn ang="0">
                      <a:pos x="T10" y="0"/>
                    </a:cxn>
                    <a:cxn ang="0">
                      <a:pos x="T11" y="0"/>
                    </a:cxn>
                    <a:cxn ang="0">
                      <a:pos x="T12" y="0"/>
                    </a:cxn>
                    <a:cxn ang="0">
                      <a:pos x="T13" y="0"/>
                    </a:cxn>
                  </a:cxnLst>
                  <a:rect l="0" t="0" r="r" b="b"/>
                  <a:pathLst>
                    <a:path w="4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36" name="Freeform 387"/>
                <p:cNvSpPr>
                  <a:spLocks/>
                </p:cNvSpPr>
                <p:nvPr/>
              </p:nvSpPr>
              <p:spPr bwMode="auto">
                <a:xfrm>
                  <a:off x="4941983" y="3551593"/>
                  <a:ext cx="7914" cy="6925"/>
                </a:xfrm>
                <a:custGeom>
                  <a:avLst/>
                  <a:gdLst>
                    <a:gd name="T0" fmla="*/ 8 w 8"/>
                    <a:gd name="T1" fmla="*/ 7 h 7"/>
                    <a:gd name="T2" fmla="*/ 8 w 8"/>
                    <a:gd name="T3" fmla="*/ 7 h 7"/>
                    <a:gd name="T4" fmla="*/ 5 w 8"/>
                    <a:gd name="T5" fmla="*/ 3 h 7"/>
                    <a:gd name="T6" fmla="*/ 0 w 8"/>
                    <a:gd name="T7" fmla="*/ 0 h 7"/>
                    <a:gd name="T8" fmla="*/ 0 w 8"/>
                    <a:gd name="T9" fmla="*/ 0 h 7"/>
                    <a:gd name="T10" fmla="*/ 5 w 8"/>
                    <a:gd name="T11" fmla="*/ 3 h 7"/>
                    <a:gd name="T12" fmla="*/ 8 w 8"/>
                    <a:gd name="T1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7">
                      <a:moveTo>
                        <a:pt x="8" y="7"/>
                      </a:moveTo>
                      <a:lnTo>
                        <a:pt x="8" y="7"/>
                      </a:lnTo>
                      <a:lnTo>
                        <a:pt x="5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5" y="3"/>
                      </a:lnTo>
                      <a:lnTo>
                        <a:pt x="8" y="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37" name="Rectangle 388"/>
                <p:cNvSpPr>
                  <a:spLocks noChangeArrowheads="1"/>
                </p:cNvSpPr>
                <p:nvPr/>
              </p:nvSpPr>
              <p:spPr bwMode="auto">
                <a:xfrm>
                  <a:off x="4949897" y="355851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38" name="Freeform 389"/>
                <p:cNvSpPr>
                  <a:spLocks/>
                </p:cNvSpPr>
                <p:nvPr/>
              </p:nvSpPr>
              <p:spPr bwMode="auto">
                <a:xfrm>
                  <a:off x="4963747" y="3558517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39" name="Rectangle 390"/>
                <p:cNvSpPr>
                  <a:spLocks noChangeArrowheads="1"/>
                </p:cNvSpPr>
                <p:nvPr/>
              </p:nvSpPr>
              <p:spPr bwMode="auto">
                <a:xfrm>
                  <a:off x="4962757" y="355851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40" name="Rectangle 391"/>
                <p:cNvSpPr>
                  <a:spLocks noChangeArrowheads="1"/>
                </p:cNvSpPr>
                <p:nvPr/>
              </p:nvSpPr>
              <p:spPr bwMode="auto">
                <a:xfrm>
                  <a:off x="4960779" y="355851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41" name="Rectangle 392"/>
                <p:cNvSpPr>
                  <a:spLocks noChangeArrowheads="1"/>
                </p:cNvSpPr>
                <p:nvPr/>
              </p:nvSpPr>
              <p:spPr bwMode="auto">
                <a:xfrm>
                  <a:off x="4956822" y="3561485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42" name="Freeform 393"/>
                <p:cNvSpPr>
                  <a:spLocks/>
                </p:cNvSpPr>
                <p:nvPr/>
              </p:nvSpPr>
              <p:spPr bwMode="auto">
                <a:xfrm>
                  <a:off x="4956822" y="356148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43" name="Rectangle 394"/>
                <p:cNvSpPr>
                  <a:spLocks noChangeArrowheads="1"/>
                </p:cNvSpPr>
                <p:nvPr/>
              </p:nvSpPr>
              <p:spPr bwMode="auto">
                <a:xfrm>
                  <a:off x="4954843" y="3561485"/>
                  <a:ext cx="197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44" name="Rectangle 395"/>
                <p:cNvSpPr>
                  <a:spLocks noChangeArrowheads="1"/>
                </p:cNvSpPr>
                <p:nvPr/>
              </p:nvSpPr>
              <p:spPr bwMode="auto">
                <a:xfrm>
                  <a:off x="4954843" y="3561485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45" name="Rectangle 396"/>
                <p:cNvSpPr>
                  <a:spLocks noChangeArrowheads="1"/>
                </p:cNvSpPr>
                <p:nvPr/>
              </p:nvSpPr>
              <p:spPr bwMode="auto">
                <a:xfrm>
                  <a:off x="4965725" y="3561485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46" name="Freeform 397"/>
                <p:cNvSpPr>
                  <a:spLocks/>
                </p:cNvSpPr>
                <p:nvPr/>
              </p:nvSpPr>
              <p:spPr bwMode="auto">
                <a:xfrm>
                  <a:off x="4963747" y="3571378"/>
                  <a:ext cx="5936" cy="13850"/>
                </a:xfrm>
                <a:custGeom>
                  <a:avLst/>
                  <a:gdLst>
                    <a:gd name="T0" fmla="*/ 6 w 6"/>
                    <a:gd name="T1" fmla="*/ 14 h 14"/>
                    <a:gd name="T2" fmla="*/ 6 w 6"/>
                    <a:gd name="T3" fmla="*/ 14 h 14"/>
                    <a:gd name="T4" fmla="*/ 6 w 6"/>
                    <a:gd name="T5" fmla="*/ 14 h 14"/>
                    <a:gd name="T6" fmla="*/ 3 w 6"/>
                    <a:gd name="T7" fmla="*/ 12 h 14"/>
                    <a:gd name="T8" fmla="*/ 2 w 6"/>
                    <a:gd name="T9" fmla="*/ 7 h 14"/>
                    <a:gd name="T10" fmla="*/ 0 w 6"/>
                    <a:gd name="T11" fmla="*/ 0 h 14"/>
                    <a:gd name="T12" fmla="*/ 0 w 6"/>
                    <a:gd name="T13" fmla="*/ 0 h 14"/>
                    <a:gd name="T14" fmla="*/ 2 w 6"/>
                    <a:gd name="T15" fmla="*/ 7 h 14"/>
                    <a:gd name="T16" fmla="*/ 3 w 6"/>
                    <a:gd name="T17" fmla="*/ 12 h 14"/>
                    <a:gd name="T18" fmla="*/ 6 w 6"/>
                    <a:gd name="T19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14">
                      <a:moveTo>
                        <a:pt x="6" y="14"/>
                      </a:move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3" y="12"/>
                      </a:lnTo>
                      <a:lnTo>
                        <a:pt x="2" y="7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7"/>
                      </a:lnTo>
                      <a:lnTo>
                        <a:pt x="3" y="12"/>
                      </a:lnTo>
                      <a:lnTo>
                        <a:pt x="6" y="1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47" name="Rectangle 398"/>
                <p:cNvSpPr>
                  <a:spLocks noChangeArrowheads="1"/>
                </p:cNvSpPr>
                <p:nvPr/>
              </p:nvSpPr>
              <p:spPr bwMode="auto">
                <a:xfrm>
                  <a:off x="4969682" y="358522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48" name="Rectangle 399"/>
                <p:cNvSpPr>
                  <a:spLocks noChangeArrowheads="1"/>
                </p:cNvSpPr>
                <p:nvPr/>
              </p:nvSpPr>
              <p:spPr bwMode="auto">
                <a:xfrm>
                  <a:off x="4969682" y="3587206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49" name="Rectangle 400"/>
                <p:cNvSpPr>
                  <a:spLocks noChangeArrowheads="1"/>
                </p:cNvSpPr>
                <p:nvPr/>
              </p:nvSpPr>
              <p:spPr bwMode="auto">
                <a:xfrm>
                  <a:off x="4970672" y="3587206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50" name="Rectangle 401"/>
                <p:cNvSpPr>
                  <a:spLocks noChangeArrowheads="1"/>
                </p:cNvSpPr>
                <p:nvPr/>
              </p:nvSpPr>
              <p:spPr bwMode="auto">
                <a:xfrm>
                  <a:off x="4970672" y="3587206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51" name="Rectangle 402"/>
                <p:cNvSpPr>
                  <a:spLocks noChangeArrowheads="1"/>
                </p:cNvSpPr>
                <p:nvPr/>
              </p:nvSpPr>
              <p:spPr bwMode="auto">
                <a:xfrm>
                  <a:off x="4970672" y="3587206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52" name="Freeform 403"/>
                <p:cNvSpPr>
                  <a:spLocks/>
                </p:cNvSpPr>
                <p:nvPr/>
              </p:nvSpPr>
              <p:spPr bwMode="auto">
                <a:xfrm>
                  <a:off x="4980564" y="3588195"/>
                  <a:ext cx="0" cy="4946"/>
                </a:xfrm>
                <a:custGeom>
                  <a:avLst/>
                  <a:gdLst>
                    <a:gd name="T0" fmla="*/ 5 h 5"/>
                    <a:gd name="T1" fmla="*/ 5 h 5"/>
                    <a:gd name="T2" fmla="*/ 5 h 5"/>
                    <a:gd name="T3" fmla="*/ 5 h 5"/>
                    <a:gd name="T4" fmla="*/ 0 h 5"/>
                    <a:gd name="T5" fmla="*/ 0 h 5"/>
                    <a:gd name="T6" fmla="*/ 5 h 5"/>
                    <a:gd name="T7" fmla="*/ 5 h 5"/>
                    <a:gd name="T8" fmla="*/ 5 h 5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</a:cxnLst>
                  <a:rect l="0" t="0" r="r" b="b"/>
                  <a:pathLst>
                    <a:path h="5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53" name="Freeform 404"/>
                <p:cNvSpPr>
                  <a:spLocks/>
                </p:cNvSpPr>
                <p:nvPr/>
              </p:nvSpPr>
              <p:spPr bwMode="auto">
                <a:xfrm>
                  <a:off x="4970672" y="3587206"/>
                  <a:ext cx="8903" cy="8903"/>
                </a:xfrm>
                <a:custGeom>
                  <a:avLst/>
                  <a:gdLst>
                    <a:gd name="T0" fmla="*/ 9 w 9"/>
                    <a:gd name="T1" fmla="*/ 9 h 9"/>
                    <a:gd name="T2" fmla="*/ 9 w 9"/>
                    <a:gd name="T3" fmla="*/ 9 h 9"/>
                    <a:gd name="T4" fmla="*/ 6 w 9"/>
                    <a:gd name="T5" fmla="*/ 6 h 9"/>
                    <a:gd name="T6" fmla="*/ 0 w 9"/>
                    <a:gd name="T7" fmla="*/ 0 h 9"/>
                    <a:gd name="T8" fmla="*/ 0 w 9"/>
                    <a:gd name="T9" fmla="*/ 0 h 9"/>
                    <a:gd name="T10" fmla="*/ 6 w 9"/>
                    <a:gd name="T11" fmla="*/ 6 h 9"/>
                    <a:gd name="T12" fmla="*/ 9 w 9"/>
                    <a:gd name="T13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9">
                      <a:moveTo>
                        <a:pt x="9" y="9"/>
                      </a:moveTo>
                      <a:lnTo>
                        <a:pt x="9" y="9"/>
                      </a:lnTo>
                      <a:lnTo>
                        <a:pt x="6" y="6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6" y="6"/>
                      </a:lnTo>
                      <a:lnTo>
                        <a:pt x="9" y="9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54" name="Freeform 405"/>
                <p:cNvSpPr>
                  <a:spLocks/>
                </p:cNvSpPr>
                <p:nvPr/>
              </p:nvSpPr>
              <p:spPr bwMode="auto">
                <a:xfrm>
                  <a:off x="4979575" y="3593141"/>
                  <a:ext cx="989" cy="2968"/>
                </a:xfrm>
                <a:custGeom>
                  <a:avLst/>
                  <a:gdLst>
                    <a:gd name="T0" fmla="*/ 0 w 1"/>
                    <a:gd name="T1" fmla="*/ 3 h 3"/>
                    <a:gd name="T2" fmla="*/ 0 w 1"/>
                    <a:gd name="T3" fmla="*/ 3 h 3"/>
                    <a:gd name="T4" fmla="*/ 1 w 1"/>
                    <a:gd name="T5" fmla="*/ 3 h 3"/>
                    <a:gd name="T6" fmla="*/ 1 w 1"/>
                    <a:gd name="T7" fmla="*/ 0 h 3"/>
                    <a:gd name="T8" fmla="*/ 1 w 1"/>
                    <a:gd name="T9" fmla="*/ 0 h 3"/>
                    <a:gd name="T10" fmla="*/ 1 w 1"/>
                    <a:gd name="T11" fmla="*/ 3 h 3"/>
                    <a:gd name="T12" fmla="*/ 0 w 1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" h="3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3"/>
                      </a:lnTo>
                      <a:lnTo>
                        <a:pt x="0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55" name="Rectangle 407"/>
                <p:cNvSpPr>
                  <a:spLocks noChangeArrowheads="1"/>
                </p:cNvSpPr>
                <p:nvPr/>
              </p:nvSpPr>
              <p:spPr bwMode="auto">
                <a:xfrm>
                  <a:off x="4979575" y="3596110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56" name="Freeform 408"/>
                <p:cNvSpPr>
                  <a:spLocks/>
                </p:cNvSpPr>
                <p:nvPr/>
              </p:nvSpPr>
              <p:spPr bwMode="auto">
                <a:xfrm>
                  <a:off x="4552215" y="2775024"/>
                  <a:ext cx="265122" cy="237422"/>
                </a:xfrm>
                <a:custGeom>
                  <a:avLst/>
                  <a:gdLst>
                    <a:gd name="T0" fmla="*/ 268 w 268"/>
                    <a:gd name="T1" fmla="*/ 27 h 240"/>
                    <a:gd name="T2" fmla="*/ 250 w 268"/>
                    <a:gd name="T3" fmla="*/ 21 h 240"/>
                    <a:gd name="T4" fmla="*/ 242 w 268"/>
                    <a:gd name="T5" fmla="*/ 20 h 240"/>
                    <a:gd name="T6" fmla="*/ 232 w 268"/>
                    <a:gd name="T7" fmla="*/ 17 h 240"/>
                    <a:gd name="T8" fmla="*/ 229 w 268"/>
                    <a:gd name="T9" fmla="*/ 13 h 240"/>
                    <a:gd name="T10" fmla="*/ 221 w 268"/>
                    <a:gd name="T11" fmla="*/ 4 h 240"/>
                    <a:gd name="T12" fmla="*/ 216 w 268"/>
                    <a:gd name="T13" fmla="*/ 3 h 240"/>
                    <a:gd name="T14" fmla="*/ 202 w 268"/>
                    <a:gd name="T15" fmla="*/ 7 h 240"/>
                    <a:gd name="T16" fmla="*/ 187 w 268"/>
                    <a:gd name="T17" fmla="*/ 13 h 240"/>
                    <a:gd name="T18" fmla="*/ 183 w 268"/>
                    <a:gd name="T19" fmla="*/ 14 h 240"/>
                    <a:gd name="T20" fmla="*/ 179 w 268"/>
                    <a:gd name="T21" fmla="*/ 20 h 240"/>
                    <a:gd name="T22" fmla="*/ 180 w 268"/>
                    <a:gd name="T23" fmla="*/ 26 h 240"/>
                    <a:gd name="T24" fmla="*/ 180 w 268"/>
                    <a:gd name="T25" fmla="*/ 40 h 240"/>
                    <a:gd name="T26" fmla="*/ 174 w 268"/>
                    <a:gd name="T27" fmla="*/ 50 h 240"/>
                    <a:gd name="T28" fmla="*/ 168 w 268"/>
                    <a:gd name="T29" fmla="*/ 53 h 240"/>
                    <a:gd name="T30" fmla="*/ 157 w 268"/>
                    <a:gd name="T31" fmla="*/ 50 h 240"/>
                    <a:gd name="T32" fmla="*/ 150 w 268"/>
                    <a:gd name="T33" fmla="*/ 46 h 240"/>
                    <a:gd name="T34" fmla="*/ 129 w 268"/>
                    <a:gd name="T35" fmla="*/ 36 h 240"/>
                    <a:gd name="T36" fmla="*/ 124 w 268"/>
                    <a:gd name="T37" fmla="*/ 36 h 240"/>
                    <a:gd name="T38" fmla="*/ 112 w 268"/>
                    <a:gd name="T39" fmla="*/ 30 h 240"/>
                    <a:gd name="T40" fmla="*/ 106 w 268"/>
                    <a:gd name="T41" fmla="*/ 23 h 240"/>
                    <a:gd name="T42" fmla="*/ 105 w 268"/>
                    <a:gd name="T43" fmla="*/ 14 h 240"/>
                    <a:gd name="T44" fmla="*/ 97 w 268"/>
                    <a:gd name="T45" fmla="*/ 11 h 240"/>
                    <a:gd name="T46" fmla="*/ 93 w 268"/>
                    <a:gd name="T47" fmla="*/ 10 h 240"/>
                    <a:gd name="T48" fmla="*/ 83 w 268"/>
                    <a:gd name="T49" fmla="*/ 5 h 240"/>
                    <a:gd name="T50" fmla="*/ 77 w 268"/>
                    <a:gd name="T51" fmla="*/ 4 h 240"/>
                    <a:gd name="T52" fmla="*/ 70 w 268"/>
                    <a:gd name="T53" fmla="*/ 4 h 240"/>
                    <a:gd name="T54" fmla="*/ 55 w 268"/>
                    <a:gd name="T55" fmla="*/ 1 h 240"/>
                    <a:gd name="T56" fmla="*/ 53 w 268"/>
                    <a:gd name="T57" fmla="*/ 0 h 240"/>
                    <a:gd name="T58" fmla="*/ 50 w 268"/>
                    <a:gd name="T59" fmla="*/ 5 h 240"/>
                    <a:gd name="T60" fmla="*/ 44 w 268"/>
                    <a:gd name="T61" fmla="*/ 16 h 240"/>
                    <a:gd name="T62" fmla="*/ 40 w 268"/>
                    <a:gd name="T63" fmla="*/ 17 h 240"/>
                    <a:gd name="T64" fmla="*/ 31 w 268"/>
                    <a:gd name="T65" fmla="*/ 26 h 240"/>
                    <a:gd name="T66" fmla="*/ 25 w 268"/>
                    <a:gd name="T67" fmla="*/ 37 h 240"/>
                    <a:gd name="T68" fmla="*/ 15 w 268"/>
                    <a:gd name="T69" fmla="*/ 46 h 240"/>
                    <a:gd name="T70" fmla="*/ 2 w 268"/>
                    <a:gd name="T71" fmla="*/ 52 h 240"/>
                    <a:gd name="T72" fmla="*/ 0 w 268"/>
                    <a:gd name="T73" fmla="*/ 56 h 240"/>
                    <a:gd name="T74" fmla="*/ 9 w 268"/>
                    <a:gd name="T75" fmla="*/ 65 h 240"/>
                    <a:gd name="T76" fmla="*/ 13 w 268"/>
                    <a:gd name="T77" fmla="*/ 71 h 240"/>
                    <a:gd name="T78" fmla="*/ 13 w 268"/>
                    <a:gd name="T79" fmla="*/ 81 h 240"/>
                    <a:gd name="T80" fmla="*/ 11 w 268"/>
                    <a:gd name="T81" fmla="*/ 88 h 240"/>
                    <a:gd name="T82" fmla="*/ 12 w 268"/>
                    <a:gd name="T83" fmla="*/ 98 h 240"/>
                    <a:gd name="T84" fmla="*/ 16 w 268"/>
                    <a:gd name="T85" fmla="*/ 108 h 240"/>
                    <a:gd name="T86" fmla="*/ 16 w 268"/>
                    <a:gd name="T87" fmla="*/ 114 h 240"/>
                    <a:gd name="T88" fmla="*/ 12 w 268"/>
                    <a:gd name="T89" fmla="*/ 134 h 240"/>
                    <a:gd name="T90" fmla="*/ 12 w 268"/>
                    <a:gd name="T91" fmla="*/ 140 h 240"/>
                    <a:gd name="T92" fmla="*/ 18 w 268"/>
                    <a:gd name="T93" fmla="*/ 147 h 240"/>
                    <a:gd name="T94" fmla="*/ 25 w 268"/>
                    <a:gd name="T95" fmla="*/ 155 h 240"/>
                    <a:gd name="T96" fmla="*/ 74 w 268"/>
                    <a:gd name="T97" fmla="*/ 188 h 240"/>
                    <a:gd name="T98" fmla="*/ 248 w 268"/>
                    <a:gd name="T99" fmla="*/ 240 h 240"/>
                    <a:gd name="T100" fmla="*/ 248 w 268"/>
                    <a:gd name="T101" fmla="*/ 233 h 240"/>
                    <a:gd name="T102" fmla="*/ 268 w 268"/>
                    <a:gd name="T103" fmla="*/ 27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68" h="240">
                      <a:moveTo>
                        <a:pt x="268" y="27"/>
                      </a:moveTo>
                      <a:lnTo>
                        <a:pt x="268" y="27"/>
                      </a:lnTo>
                      <a:lnTo>
                        <a:pt x="257" y="24"/>
                      </a:lnTo>
                      <a:lnTo>
                        <a:pt x="250" y="21"/>
                      </a:lnTo>
                      <a:lnTo>
                        <a:pt x="242" y="20"/>
                      </a:lnTo>
                      <a:lnTo>
                        <a:pt x="242" y="20"/>
                      </a:lnTo>
                      <a:lnTo>
                        <a:pt x="235" y="18"/>
                      </a:lnTo>
                      <a:lnTo>
                        <a:pt x="232" y="17"/>
                      </a:lnTo>
                      <a:lnTo>
                        <a:pt x="229" y="13"/>
                      </a:lnTo>
                      <a:lnTo>
                        <a:pt x="229" y="13"/>
                      </a:lnTo>
                      <a:lnTo>
                        <a:pt x="225" y="7"/>
                      </a:lnTo>
                      <a:lnTo>
                        <a:pt x="221" y="4"/>
                      </a:lnTo>
                      <a:lnTo>
                        <a:pt x="216" y="3"/>
                      </a:lnTo>
                      <a:lnTo>
                        <a:pt x="216" y="3"/>
                      </a:lnTo>
                      <a:lnTo>
                        <a:pt x="210" y="4"/>
                      </a:lnTo>
                      <a:lnTo>
                        <a:pt x="202" y="7"/>
                      </a:lnTo>
                      <a:lnTo>
                        <a:pt x="193" y="10"/>
                      </a:lnTo>
                      <a:lnTo>
                        <a:pt x="187" y="13"/>
                      </a:lnTo>
                      <a:lnTo>
                        <a:pt x="187" y="13"/>
                      </a:lnTo>
                      <a:lnTo>
                        <a:pt x="183" y="14"/>
                      </a:lnTo>
                      <a:lnTo>
                        <a:pt x="180" y="17"/>
                      </a:lnTo>
                      <a:lnTo>
                        <a:pt x="179" y="20"/>
                      </a:lnTo>
                      <a:lnTo>
                        <a:pt x="180" y="26"/>
                      </a:lnTo>
                      <a:lnTo>
                        <a:pt x="180" y="26"/>
                      </a:lnTo>
                      <a:lnTo>
                        <a:pt x="181" y="33"/>
                      </a:lnTo>
                      <a:lnTo>
                        <a:pt x="180" y="40"/>
                      </a:lnTo>
                      <a:lnTo>
                        <a:pt x="179" y="46"/>
                      </a:lnTo>
                      <a:lnTo>
                        <a:pt x="174" y="50"/>
                      </a:lnTo>
                      <a:lnTo>
                        <a:pt x="174" y="50"/>
                      </a:lnTo>
                      <a:lnTo>
                        <a:pt x="168" y="53"/>
                      </a:lnTo>
                      <a:lnTo>
                        <a:pt x="163" y="52"/>
                      </a:lnTo>
                      <a:lnTo>
                        <a:pt x="157" y="50"/>
                      </a:lnTo>
                      <a:lnTo>
                        <a:pt x="150" y="46"/>
                      </a:lnTo>
                      <a:lnTo>
                        <a:pt x="150" y="46"/>
                      </a:lnTo>
                      <a:lnTo>
                        <a:pt x="137" y="37"/>
                      </a:lnTo>
                      <a:lnTo>
                        <a:pt x="129" y="36"/>
                      </a:lnTo>
                      <a:lnTo>
                        <a:pt x="124" y="36"/>
                      </a:lnTo>
                      <a:lnTo>
                        <a:pt x="124" y="36"/>
                      </a:lnTo>
                      <a:lnTo>
                        <a:pt x="118" y="34"/>
                      </a:lnTo>
                      <a:lnTo>
                        <a:pt x="112" y="30"/>
                      </a:lnTo>
                      <a:lnTo>
                        <a:pt x="109" y="26"/>
                      </a:lnTo>
                      <a:lnTo>
                        <a:pt x="106" y="23"/>
                      </a:lnTo>
                      <a:lnTo>
                        <a:pt x="106" y="23"/>
                      </a:lnTo>
                      <a:lnTo>
                        <a:pt x="105" y="14"/>
                      </a:lnTo>
                      <a:lnTo>
                        <a:pt x="102" y="11"/>
                      </a:lnTo>
                      <a:lnTo>
                        <a:pt x="97" y="11"/>
                      </a:lnTo>
                      <a:lnTo>
                        <a:pt x="97" y="11"/>
                      </a:lnTo>
                      <a:lnTo>
                        <a:pt x="93" y="10"/>
                      </a:lnTo>
                      <a:lnTo>
                        <a:pt x="89" y="7"/>
                      </a:lnTo>
                      <a:lnTo>
                        <a:pt x="83" y="5"/>
                      </a:lnTo>
                      <a:lnTo>
                        <a:pt x="77" y="4"/>
                      </a:lnTo>
                      <a:lnTo>
                        <a:pt x="77" y="4"/>
                      </a:lnTo>
                      <a:lnTo>
                        <a:pt x="70" y="4"/>
                      </a:lnTo>
                      <a:lnTo>
                        <a:pt x="70" y="4"/>
                      </a:lnTo>
                      <a:lnTo>
                        <a:pt x="61" y="4"/>
                      </a:lnTo>
                      <a:lnTo>
                        <a:pt x="55" y="1"/>
                      </a:lnTo>
                      <a:lnTo>
                        <a:pt x="55" y="1"/>
                      </a:lnTo>
                      <a:lnTo>
                        <a:pt x="53" y="0"/>
                      </a:lnTo>
                      <a:lnTo>
                        <a:pt x="53" y="0"/>
                      </a:lnTo>
                      <a:lnTo>
                        <a:pt x="50" y="5"/>
                      </a:lnTo>
                      <a:lnTo>
                        <a:pt x="47" y="11"/>
                      </a:lnTo>
                      <a:lnTo>
                        <a:pt x="44" y="16"/>
                      </a:lnTo>
                      <a:lnTo>
                        <a:pt x="40" y="17"/>
                      </a:lnTo>
                      <a:lnTo>
                        <a:pt x="40" y="17"/>
                      </a:lnTo>
                      <a:lnTo>
                        <a:pt x="34" y="20"/>
                      </a:lnTo>
                      <a:lnTo>
                        <a:pt x="31" y="26"/>
                      </a:lnTo>
                      <a:lnTo>
                        <a:pt x="25" y="37"/>
                      </a:lnTo>
                      <a:lnTo>
                        <a:pt x="25" y="37"/>
                      </a:lnTo>
                      <a:lnTo>
                        <a:pt x="22" y="42"/>
                      </a:lnTo>
                      <a:lnTo>
                        <a:pt x="15" y="46"/>
                      </a:lnTo>
                      <a:lnTo>
                        <a:pt x="2" y="52"/>
                      </a:lnTo>
                      <a:lnTo>
                        <a:pt x="2" y="52"/>
                      </a:lnTo>
                      <a:lnTo>
                        <a:pt x="0" y="53"/>
                      </a:lnTo>
                      <a:lnTo>
                        <a:pt x="0" y="56"/>
                      </a:lnTo>
                      <a:lnTo>
                        <a:pt x="5" y="60"/>
                      </a:lnTo>
                      <a:lnTo>
                        <a:pt x="9" y="65"/>
                      </a:lnTo>
                      <a:lnTo>
                        <a:pt x="13" y="71"/>
                      </a:lnTo>
                      <a:lnTo>
                        <a:pt x="13" y="71"/>
                      </a:lnTo>
                      <a:lnTo>
                        <a:pt x="15" y="76"/>
                      </a:lnTo>
                      <a:lnTo>
                        <a:pt x="13" y="81"/>
                      </a:lnTo>
                      <a:lnTo>
                        <a:pt x="11" y="88"/>
                      </a:lnTo>
                      <a:lnTo>
                        <a:pt x="11" y="88"/>
                      </a:lnTo>
                      <a:lnTo>
                        <a:pt x="11" y="92"/>
                      </a:lnTo>
                      <a:lnTo>
                        <a:pt x="12" y="98"/>
                      </a:lnTo>
                      <a:lnTo>
                        <a:pt x="16" y="108"/>
                      </a:lnTo>
                      <a:lnTo>
                        <a:pt x="16" y="108"/>
                      </a:lnTo>
                      <a:lnTo>
                        <a:pt x="16" y="111"/>
                      </a:lnTo>
                      <a:lnTo>
                        <a:pt x="16" y="114"/>
                      </a:lnTo>
                      <a:lnTo>
                        <a:pt x="15" y="124"/>
                      </a:lnTo>
                      <a:lnTo>
                        <a:pt x="12" y="134"/>
                      </a:lnTo>
                      <a:lnTo>
                        <a:pt x="12" y="140"/>
                      </a:lnTo>
                      <a:lnTo>
                        <a:pt x="12" y="140"/>
                      </a:lnTo>
                      <a:lnTo>
                        <a:pt x="15" y="143"/>
                      </a:lnTo>
                      <a:lnTo>
                        <a:pt x="18" y="147"/>
                      </a:lnTo>
                      <a:lnTo>
                        <a:pt x="25" y="155"/>
                      </a:lnTo>
                      <a:lnTo>
                        <a:pt x="25" y="155"/>
                      </a:lnTo>
                      <a:lnTo>
                        <a:pt x="37" y="169"/>
                      </a:lnTo>
                      <a:lnTo>
                        <a:pt x="74" y="188"/>
                      </a:lnTo>
                      <a:lnTo>
                        <a:pt x="105" y="176"/>
                      </a:lnTo>
                      <a:lnTo>
                        <a:pt x="248" y="240"/>
                      </a:lnTo>
                      <a:lnTo>
                        <a:pt x="248" y="240"/>
                      </a:lnTo>
                      <a:lnTo>
                        <a:pt x="248" y="233"/>
                      </a:lnTo>
                      <a:lnTo>
                        <a:pt x="268" y="233"/>
                      </a:lnTo>
                      <a:lnTo>
                        <a:pt x="268" y="2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57" name="Freeform 409"/>
                <p:cNvSpPr>
                  <a:spLocks/>
                </p:cNvSpPr>
                <p:nvPr/>
              </p:nvSpPr>
              <p:spPr bwMode="auto">
                <a:xfrm>
                  <a:off x="4552215" y="2775024"/>
                  <a:ext cx="265122" cy="237422"/>
                </a:xfrm>
                <a:custGeom>
                  <a:avLst/>
                  <a:gdLst>
                    <a:gd name="T0" fmla="*/ 268 w 268"/>
                    <a:gd name="T1" fmla="*/ 27 h 240"/>
                    <a:gd name="T2" fmla="*/ 250 w 268"/>
                    <a:gd name="T3" fmla="*/ 21 h 240"/>
                    <a:gd name="T4" fmla="*/ 242 w 268"/>
                    <a:gd name="T5" fmla="*/ 20 h 240"/>
                    <a:gd name="T6" fmla="*/ 232 w 268"/>
                    <a:gd name="T7" fmla="*/ 17 h 240"/>
                    <a:gd name="T8" fmla="*/ 229 w 268"/>
                    <a:gd name="T9" fmla="*/ 13 h 240"/>
                    <a:gd name="T10" fmla="*/ 221 w 268"/>
                    <a:gd name="T11" fmla="*/ 4 h 240"/>
                    <a:gd name="T12" fmla="*/ 216 w 268"/>
                    <a:gd name="T13" fmla="*/ 3 h 240"/>
                    <a:gd name="T14" fmla="*/ 202 w 268"/>
                    <a:gd name="T15" fmla="*/ 7 h 240"/>
                    <a:gd name="T16" fmla="*/ 187 w 268"/>
                    <a:gd name="T17" fmla="*/ 13 h 240"/>
                    <a:gd name="T18" fmla="*/ 183 w 268"/>
                    <a:gd name="T19" fmla="*/ 14 h 240"/>
                    <a:gd name="T20" fmla="*/ 179 w 268"/>
                    <a:gd name="T21" fmla="*/ 20 h 240"/>
                    <a:gd name="T22" fmla="*/ 180 w 268"/>
                    <a:gd name="T23" fmla="*/ 26 h 240"/>
                    <a:gd name="T24" fmla="*/ 180 w 268"/>
                    <a:gd name="T25" fmla="*/ 40 h 240"/>
                    <a:gd name="T26" fmla="*/ 174 w 268"/>
                    <a:gd name="T27" fmla="*/ 50 h 240"/>
                    <a:gd name="T28" fmla="*/ 168 w 268"/>
                    <a:gd name="T29" fmla="*/ 53 h 240"/>
                    <a:gd name="T30" fmla="*/ 157 w 268"/>
                    <a:gd name="T31" fmla="*/ 50 h 240"/>
                    <a:gd name="T32" fmla="*/ 150 w 268"/>
                    <a:gd name="T33" fmla="*/ 46 h 240"/>
                    <a:gd name="T34" fmla="*/ 129 w 268"/>
                    <a:gd name="T35" fmla="*/ 36 h 240"/>
                    <a:gd name="T36" fmla="*/ 124 w 268"/>
                    <a:gd name="T37" fmla="*/ 36 h 240"/>
                    <a:gd name="T38" fmla="*/ 112 w 268"/>
                    <a:gd name="T39" fmla="*/ 30 h 240"/>
                    <a:gd name="T40" fmla="*/ 106 w 268"/>
                    <a:gd name="T41" fmla="*/ 23 h 240"/>
                    <a:gd name="T42" fmla="*/ 105 w 268"/>
                    <a:gd name="T43" fmla="*/ 14 h 240"/>
                    <a:gd name="T44" fmla="*/ 97 w 268"/>
                    <a:gd name="T45" fmla="*/ 11 h 240"/>
                    <a:gd name="T46" fmla="*/ 93 w 268"/>
                    <a:gd name="T47" fmla="*/ 10 h 240"/>
                    <a:gd name="T48" fmla="*/ 83 w 268"/>
                    <a:gd name="T49" fmla="*/ 5 h 240"/>
                    <a:gd name="T50" fmla="*/ 77 w 268"/>
                    <a:gd name="T51" fmla="*/ 4 h 240"/>
                    <a:gd name="T52" fmla="*/ 70 w 268"/>
                    <a:gd name="T53" fmla="*/ 4 h 240"/>
                    <a:gd name="T54" fmla="*/ 55 w 268"/>
                    <a:gd name="T55" fmla="*/ 1 h 240"/>
                    <a:gd name="T56" fmla="*/ 53 w 268"/>
                    <a:gd name="T57" fmla="*/ 0 h 240"/>
                    <a:gd name="T58" fmla="*/ 50 w 268"/>
                    <a:gd name="T59" fmla="*/ 5 h 240"/>
                    <a:gd name="T60" fmla="*/ 44 w 268"/>
                    <a:gd name="T61" fmla="*/ 16 h 240"/>
                    <a:gd name="T62" fmla="*/ 40 w 268"/>
                    <a:gd name="T63" fmla="*/ 17 h 240"/>
                    <a:gd name="T64" fmla="*/ 31 w 268"/>
                    <a:gd name="T65" fmla="*/ 26 h 240"/>
                    <a:gd name="T66" fmla="*/ 25 w 268"/>
                    <a:gd name="T67" fmla="*/ 37 h 240"/>
                    <a:gd name="T68" fmla="*/ 15 w 268"/>
                    <a:gd name="T69" fmla="*/ 46 h 240"/>
                    <a:gd name="T70" fmla="*/ 2 w 268"/>
                    <a:gd name="T71" fmla="*/ 52 h 240"/>
                    <a:gd name="T72" fmla="*/ 0 w 268"/>
                    <a:gd name="T73" fmla="*/ 56 h 240"/>
                    <a:gd name="T74" fmla="*/ 9 w 268"/>
                    <a:gd name="T75" fmla="*/ 65 h 240"/>
                    <a:gd name="T76" fmla="*/ 13 w 268"/>
                    <a:gd name="T77" fmla="*/ 71 h 240"/>
                    <a:gd name="T78" fmla="*/ 13 w 268"/>
                    <a:gd name="T79" fmla="*/ 81 h 240"/>
                    <a:gd name="T80" fmla="*/ 11 w 268"/>
                    <a:gd name="T81" fmla="*/ 88 h 240"/>
                    <a:gd name="T82" fmla="*/ 12 w 268"/>
                    <a:gd name="T83" fmla="*/ 98 h 240"/>
                    <a:gd name="T84" fmla="*/ 16 w 268"/>
                    <a:gd name="T85" fmla="*/ 108 h 240"/>
                    <a:gd name="T86" fmla="*/ 16 w 268"/>
                    <a:gd name="T87" fmla="*/ 114 h 240"/>
                    <a:gd name="T88" fmla="*/ 12 w 268"/>
                    <a:gd name="T89" fmla="*/ 134 h 240"/>
                    <a:gd name="T90" fmla="*/ 12 w 268"/>
                    <a:gd name="T91" fmla="*/ 140 h 240"/>
                    <a:gd name="T92" fmla="*/ 18 w 268"/>
                    <a:gd name="T93" fmla="*/ 147 h 240"/>
                    <a:gd name="T94" fmla="*/ 25 w 268"/>
                    <a:gd name="T95" fmla="*/ 155 h 240"/>
                    <a:gd name="T96" fmla="*/ 74 w 268"/>
                    <a:gd name="T97" fmla="*/ 188 h 240"/>
                    <a:gd name="T98" fmla="*/ 248 w 268"/>
                    <a:gd name="T99" fmla="*/ 240 h 240"/>
                    <a:gd name="T100" fmla="*/ 248 w 268"/>
                    <a:gd name="T101" fmla="*/ 233 h 240"/>
                    <a:gd name="T102" fmla="*/ 268 w 268"/>
                    <a:gd name="T103" fmla="*/ 27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68" h="240">
                      <a:moveTo>
                        <a:pt x="268" y="27"/>
                      </a:moveTo>
                      <a:lnTo>
                        <a:pt x="268" y="27"/>
                      </a:lnTo>
                      <a:lnTo>
                        <a:pt x="257" y="24"/>
                      </a:lnTo>
                      <a:lnTo>
                        <a:pt x="250" y="21"/>
                      </a:lnTo>
                      <a:lnTo>
                        <a:pt x="242" y="20"/>
                      </a:lnTo>
                      <a:lnTo>
                        <a:pt x="242" y="20"/>
                      </a:lnTo>
                      <a:lnTo>
                        <a:pt x="235" y="18"/>
                      </a:lnTo>
                      <a:lnTo>
                        <a:pt x="232" y="17"/>
                      </a:lnTo>
                      <a:lnTo>
                        <a:pt x="229" y="13"/>
                      </a:lnTo>
                      <a:lnTo>
                        <a:pt x="229" y="13"/>
                      </a:lnTo>
                      <a:lnTo>
                        <a:pt x="225" y="7"/>
                      </a:lnTo>
                      <a:lnTo>
                        <a:pt x="221" y="4"/>
                      </a:lnTo>
                      <a:lnTo>
                        <a:pt x="216" y="3"/>
                      </a:lnTo>
                      <a:lnTo>
                        <a:pt x="216" y="3"/>
                      </a:lnTo>
                      <a:lnTo>
                        <a:pt x="210" y="4"/>
                      </a:lnTo>
                      <a:lnTo>
                        <a:pt x="202" y="7"/>
                      </a:lnTo>
                      <a:lnTo>
                        <a:pt x="193" y="10"/>
                      </a:lnTo>
                      <a:lnTo>
                        <a:pt x="187" y="13"/>
                      </a:lnTo>
                      <a:lnTo>
                        <a:pt x="187" y="13"/>
                      </a:lnTo>
                      <a:lnTo>
                        <a:pt x="183" y="14"/>
                      </a:lnTo>
                      <a:lnTo>
                        <a:pt x="180" y="17"/>
                      </a:lnTo>
                      <a:lnTo>
                        <a:pt x="179" y="20"/>
                      </a:lnTo>
                      <a:lnTo>
                        <a:pt x="180" y="26"/>
                      </a:lnTo>
                      <a:lnTo>
                        <a:pt x="180" y="26"/>
                      </a:lnTo>
                      <a:lnTo>
                        <a:pt x="181" y="33"/>
                      </a:lnTo>
                      <a:lnTo>
                        <a:pt x="180" y="40"/>
                      </a:lnTo>
                      <a:lnTo>
                        <a:pt x="179" y="46"/>
                      </a:lnTo>
                      <a:lnTo>
                        <a:pt x="174" y="50"/>
                      </a:lnTo>
                      <a:lnTo>
                        <a:pt x="174" y="50"/>
                      </a:lnTo>
                      <a:lnTo>
                        <a:pt x="168" y="53"/>
                      </a:lnTo>
                      <a:lnTo>
                        <a:pt x="163" y="52"/>
                      </a:lnTo>
                      <a:lnTo>
                        <a:pt x="157" y="50"/>
                      </a:lnTo>
                      <a:lnTo>
                        <a:pt x="150" y="46"/>
                      </a:lnTo>
                      <a:lnTo>
                        <a:pt x="150" y="46"/>
                      </a:lnTo>
                      <a:lnTo>
                        <a:pt x="137" y="37"/>
                      </a:lnTo>
                      <a:lnTo>
                        <a:pt x="129" y="36"/>
                      </a:lnTo>
                      <a:lnTo>
                        <a:pt x="124" y="36"/>
                      </a:lnTo>
                      <a:lnTo>
                        <a:pt x="124" y="36"/>
                      </a:lnTo>
                      <a:lnTo>
                        <a:pt x="118" y="34"/>
                      </a:lnTo>
                      <a:lnTo>
                        <a:pt x="112" y="30"/>
                      </a:lnTo>
                      <a:lnTo>
                        <a:pt x="109" y="26"/>
                      </a:lnTo>
                      <a:lnTo>
                        <a:pt x="106" y="23"/>
                      </a:lnTo>
                      <a:lnTo>
                        <a:pt x="106" y="23"/>
                      </a:lnTo>
                      <a:lnTo>
                        <a:pt x="105" y="14"/>
                      </a:lnTo>
                      <a:lnTo>
                        <a:pt x="102" y="11"/>
                      </a:lnTo>
                      <a:lnTo>
                        <a:pt x="97" y="11"/>
                      </a:lnTo>
                      <a:lnTo>
                        <a:pt x="97" y="11"/>
                      </a:lnTo>
                      <a:lnTo>
                        <a:pt x="93" y="10"/>
                      </a:lnTo>
                      <a:lnTo>
                        <a:pt x="89" y="7"/>
                      </a:lnTo>
                      <a:lnTo>
                        <a:pt x="83" y="5"/>
                      </a:lnTo>
                      <a:lnTo>
                        <a:pt x="77" y="4"/>
                      </a:lnTo>
                      <a:lnTo>
                        <a:pt x="77" y="4"/>
                      </a:lnTo>
                      <a:lnTo>
                        <a:pt x="70" y="4"/>
                      </a:lnTo>
                      <a:lnTo>
                        <a:pt x="70" y="4"/>
                      </a:lnTo>
                      <a:lnTo>
                        <a:pt x="61" y="4"/>
                      </a:lnTo>
                      <a:lnTo>
                        <a:pt x="55" y="1"/>
                      </a:lnTo>
                      <a:lnTo>
                        <a:pt x="55" y="1"/>
                      </a:lnTo>
                      <a:lnTo>
                        <a:pt x="53" y="0"/>
                      </a:lnTo>
                      <a:lnTo>
                        <a:pt x="53" y="0"/>
                      </a:lnTo>
                      <a:lnTo>
                        <a:pt x="50" y="5"/>
                      </a:lnTo>
                      <a:lnTo>
                        <a:pt x="47" y="11"/>
                      </a:lnTo>
                      <a:lnTo>
                        <a:pt x="44" y="16"/>
                      </a:lnTo>
                      <a:lnTo>
                        <a:pt x="40" y="17"/>
                      </a:lnTo>
                      <a:lnTo>
                        <a:pt x="40" y="17"/>
                      </a:lnTo>
                      <a:lnTo>
                        <a:pt x="34" y="20"/>
                      </a:lnTo>
                      <a:lnTo>
                        <a:pt x="31" y="26"/>
                      </a:lnTo>
                      <a:lnTo>
                        <a:pt x="25" y="37"/>
                      </a:lnTo>
                      <a:lnTo>
                        <a:pt x="25" y="37"/>
                      </a:lnTo>
                      <a:lnTo>
                        <a:pt x="22" y="42"/>
                      </a:lnTo>
                      <a:lnTo>
                        <a:pt x="15" y="46"/>
                      </a:lnTo>
                      <a:lnTo>
                        <a:pt x="2" y="52"/>
                      </a:lnTo>
                      <a:lnTo>
                        <a:pt x="2" y="52"/>
                      </a:lnTo>
                      <a:lnTo>
                        <a:pt x="0" y="53"/>
                      </a:lnTo>
                      <a:lnTo>
                        <a:pt x="0" y="56"/>
                      </a:lnTo>
                      <a:lnTo>
                        <a:pt x="5" y="60"/>
                      </a:lnTo>
                      <a:lnTo>
                        <a:pt x="9" y="65"/>
                      </a:lnTo>
                      <a:lnTo>
                        <a:pt x="13" y="71"/>
                      </a:lnTo>
                      <a:lnTo>
                        <a:pt x="13" y="71"/>
                      </a:lnTo>
                      <a:lnTo>
                        <a:pt x="15" y="76"/>
                      </a:lnTo>
                      <a:lnTo>
                        <a:pt x="13" y="81"/>
                      </a:lnTo>
                      <a:lnTo>
                        <a:pt x="11" y="88"/>
                      </a:lnTo>
                      <a:lnTo>
                        <a:pt x="11" y="88"/>
                      </a:lnTo>
                      <a:lnTo>
                        <a:pt x="11" y="92"/>
                      </a:lnTo>
                      <a:lnTo>
                        <a:pt x="12" y="98"/>
                      </a:lnTo>
                      <a:lnTo>
                        <a:pt x="16" y="108"/>
                      </a:lnTo>
                      <a:lnTo>
                        <a:pt x="16" y="108"/>
                      </a:lnTo>
                      <a:lnTo>
                        <a:pt x="16" y="111"/>
                      </a:lnTo>
                      <a:lnTo>
                        <a:pt x="16" y="114"/>
                      </a:lnTo>
                      <a:lnTo>
                        <a:pt x="15" y="124"/>
                      </a:lnTo>
                      <a:lnTo>
                        <a:pt x="12" y="134"/>
                      </a:lnTo>
                      <a:lnTo>
                        <a:pt x="12" y="140"/>
                      </a:lnTo>
                      <a:lnTo>
                        <a:pt x="12" y="140"/>
                      </a:lnTo>
                      <a:lnTo>
                        <a:pt x="15" y="143"/>
                      </a:lnTo>
                      <a:lnTo>
                        <a:pt x="18" y="147"/>
                      </a:lnTo>
                      <a:lnTo>
                        <a:pt x="25" y="155"/>
                      </a:lnTo>
                      <a:lnTo>
                        <a:pt x="25" y="155"/>
                      </a:lnTo>
                      <a:lnTo>
                        <a:pt x="37" y="169"/>
                      </a:lnTo>
                      <a:lnTo>
                        <a:pt x="74" y="188"/>
                      </a:lnTo>
                      <a:lnTo>
                        <a:pt x="105" y="176"/>
                      </a:lnTo>
                      <a:lnTo>
                        <a:pt x="248" y="240"/>
                      </a:lnTo>
                      <a:lnTo>
                        <a:pt x="248" y="240"/>
                      </a:lnTo>
                      <a:lnTo>
                        <a:pt x="248" y="233"/>
                      </a:lnTo>
                      <a:lnTo>
                        <a:pt x="268" y="233"/>
                      </a:lnTo>
                      <a:lnTo>
                        <a:pt x="268" y="2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58" name="Freeform 410"/>
                <p:cNvSpPr>
                  <a:spLocks/>
                </p:cNvSpPr>
                <p:nvPr/>
              </p:nvSpPr>
              <p:spPr bwMode="auto">
                <a:xfrm>
                  <a:off x="4280168" y="2698851"/>
                  <a:ext cx="308649" cy="325466"/>
                </a:xfrm>
                <a:custGeom>
                  <a:avLst/>
                  <a:gdLst>
                    <a:gd name="T0" fmla="*/ 184 w 312"/>
                    <a:gd name="T1" fmla="*/ 329 h 329"/>
                    <a:gd name="T2" fmla="*/ 183 w 312"/>
                    <a:gd name="T3" fmla="*/ 327 h 329"/>
                    <a:gd name="T4" fmla="*/ 191 w 312"/>
                    <a:gd name="T5" fmla="*/ 320 h 329"/>
                    <a:gd name="T6" fmla="*/ 160 w 312"/>
                    <a:gd name="T7" fmla="*/ 291 h 329"/>
                    <a:gd name="T8" fmla="*/ 71 w 312"/>
                    <a:gd name="T9" fmla="*/ 226 h 329"/>
                    <a:gd name="T10" fmla="*/ 0 w 312"/>
                    <a:gd name="T11" fmla="*/ 159 h 329"/>
                    <a:gd name="T12" fmla="*/ 29 w 312"/>
                    <a:gd name="T13" fmla="*/ 150 h 329"/>
                    <a:gd name="T14" fmla="*/ 55 w 312"/>
                    <a:gd name="T15" fmla="*/ 137 h 329"/>
                    <a:gd name="T16" fmla="*/ 63 w 312"/>
                    <a:gd name="T17" fmla="*/ 127 h 329"/>
                    <a:gd name="T18" fmla="*/ 81 w 312"/>
                    <a:gd name="T19" fmla="*/ 120 h 329"/>
                    <a:gd name="T20" fmla="*/ 96 w 312"/>
                    <a:gd name="T21" fmla="*/ 98 h 329"/>
                    <a:gd name="T22" fmla="*/ 115 w 312"/>
                    <a:gd name="T23" fmla="*/ 93 h 329"/>
                    <a:gd name="T24" fmla="*/ 120 w 312"/>
                    <a:gd name="T25" fmla="*/ 88 h 329"/>
                    <a:gd name="T26" fmla="*/ 112 w 312"/>
                    <a:gd name="T27" fmla="*/ 64 h 329"/>
                    <a:gd name="T28" fmla="*/ 110 w 312"/>
                    <a:gd name="T29" fmla="*/ 35 h 329"/>
                    <a:gd name="T30" fmla="*/ 126 w 312"/>
                    <a:gd name="T31" fmla="*/ 27 h 329"/>
                    <a:gd name="T32" fmla="*/ 135 w 312"/>
                    <a:gd name="T33" fmla="*/ 26 h 329"/>
                    <a:gd name="T34" fmla="*/ 148 w 312"/>
                    <a:gd name="T35" fmla="*/ 16 h 329"/>
                    <a:gd name="T36" fmla="*/ 165 w 312"/>
                    <a:gd name="T37" fmla="*/ 11 h 329"/>
                    <a:gd name="T38" fmla="*/ 173 w 312"/>
                    <a:gd name="T39" fmla="*/ 3 h 329"/>
                    <a:gd name="T40" fmla="*/ 176 w 312"/>
                    <a:gd name="T41" fmla="*/ 1 h 329"/>
                    <a:gd name="T42" fmla="*/ 177 w 312"/>
                    <a:gd name="T43" fmla="*/ 1 h 329"/>
                    <a:gd name="T44" fmla="*/ 181 w 312"/>
                    <a:gd name="T45" fmla="*/ 4 h 329"/>
                    <a:gd name="T46" fmla="*/ 190 w 312"/>
                    <a:gd name="T47" fmla="*/ 6 h 329"/>
                    <a:gd name="T48" fmla="*/ 207 w 312"/>
                    <a:gd name="T49" fmla="*/ 4 h 329"/>
                    <a:gd name="T50" fmla="*/ 215 w 312"/>
                    <a:gd name="T51" fmla="*/ 7 h 329"/>
                    <a:gd name="T52" fmla="*/ 220 w 312"/>
                    <a:gd name="T53" fmla="*/ 10 h 329"/>
                    <a:gd name="T54" fmla="*/ 239 w 312"/>
                    <a:gd name="T55" fmla="*/ 4 h 329"/>
                    <a:gd name="T56" fmla="*/ 254 w 312"/>
                    <a:gd name="T57" fmla="*/ 0 h 329"/>
                    <a:gd name="T58" fmla="*/ 271 w 312"/>
                    <a:gd name="T59" fmla="*/ 3 h 329"/>
                    <a:gd name="T60" fmla="*/ 273 w 312"/>
                    <a:gd name="T61" fmla="*/ 13 h 329"/>
                    <a:gd name="T62" fmla="*/ 273 w 312"/>
                    <a:gd name="T63" fmla="*/ 27 h 329"/>
                    <a:gd name="T64" fmla="*/ 262 w 312"/>
                    <a:gd name="T65" fmla="*/ 55 h 329"/>
                    <a:gd name="T66" fmla="*/ 262 w 312"/>
                    <a:gd name="T67" fmla="*/ 71 h 329"/>
                    <a:gd name="T68" fmla="*/ 270 w 312"/>
                    <a:gd name="T69" fmla="*/ 95 h 329"/>
                    <a:gd name="T70" fmla="*/ 281 w 312"/>
                    <a:gd name="T71" fmla="*/ 127 h 329"/>
                    <a:gd name="T72" fmla="*/ 275 w 312"/>
                    <a:gd name="T73" fmla="*/ 132 h 329"/>
                    <a:gd name="T74" fmla="*/ 286 w 312"/>
                    <a:gd name="T75" fmla="*/ 143 h 329"/>
                    <a:gd name="T76" fmla="*/ 290 w 312"/>
                    <a:gd name="T77" fmla="*/ 153 h 329"/>
                    <a:gd name="T78" fmla="*/ 286 w 312"/>
                    <a:gd name="T79" fmla="*/ 165 h 329"/>
                    <a:gd name="T80" fmla="*/ 291 w 312"/>
                    <a:gd name="T81" fmla="*/ 185 h 329"/>
                    <a:gd name="T82" fmla="*/ 291 w 312"/>
                    <a:gd name="T83" fmla="*/ 195 h 329"/>
                    <a:gd name="T84" fmla="*/ 287 w 312"/>
                    <a:gd name="T85" fmla="*/ 217 h 329"/>
                    <a:gd name="T86" fmla="*/ 300 w 312"/>
                    <a:gd name="T87" fmla="*/ 232 h 329"/>
                    <a:gd name="T88" fmla="*/ 277 w 312"/>
                    <a:gd name="T89" fmla="*/ 284 h 329"/>
                    <a:gd name="T90" fmla="*/ 236 w 312"/>
                    <a:gd name="T91" fmla="*/ 321 h 329"/>
                    <a:gd name="T92" fmla="*/ 236 w 312"/>
                    <a:gd name="T93" fmla="*/ 321 h 329"/>
                    <a:gd name="T94" fmla="*/ 236 w 312"/>
                    <a:gd name="T95" fmla="*/ 321 h 329"/>
                    <a:gd name="T96" fmla="*/ 236 w 312"/>
                    <a:gd name="T97" fmla="*/ 321 h 329"/>
                    <a:gd name="T98" fmla="*/ 187 w 312"/>
                    <a:gd name="T99" fmla="*/ 329 h 3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12" h="329">
                      <a:moveTo>
                        <a:pt x="187" y="329"/>
                      </a:moveTo>
                      <a:lnTo>
                        <a:pt x="187" y="329"/>
                      </a:lnTo>
                      <a:lnTo>
                        <a:pt x="184" y="329"/>
                      </a:lnTo>
                      <a:lnTo>
                        <a:pt x="184" y="329"/>
                      </a:lnTo>
                      <a:lnTo>
                        <a:pt x="183" y="329"/>
                      </a:lnTo>
                      <a:lnTo>
                        <a:pt x="183" y="329"/>
                      </a:lnTo>
                      <a:lnTo>
                        <a:pt x="183" y="327"/>
                      </a:lnTo>
                      <a:lnTo>
                        <a:pt x="183" y="327"/>
                      </a:lnTo>
                      <a:lnTo>
                        <a:pt x="184" y="326"/>
                      </a:lnTo>
                      <a:lnTo>
                        <a:pt x="187" y="323"/>
                      </a:lnTo>
                      <a:lnTo>
                        <a:pt x="190" y="321"/>
                      </a:lnTo>
                      <a:lnTo>
                        <a:pt x="191" y="320"/>
                      </a:lnTo>
                      <a:lnTo>
                        <a:pt x="191" y="320"/>
                      </a:lnTo>
                      <a:lnTo>
                        <a:pt x="190" y="317"/>
                      </a:lnTo>
                      <a:lnTo>
                        <a:pt x="190" y="317"/>
                      </a:lnTo>
                      <a:lnTo>
                        <a:pt x="160" y="291"/>
                      </a:lnTo>
                      <a:lnTo>
                        <a:pt x="134" y="269"/>
                      </a:lnTo>
                      <a:lnTo>
                        <a:pt x="103" y="248"/>
                      </a:lnTo>
                      <a:lnTo>
                        <a:pt x="103" y="248"/>
                      </a:lnTo>
                      <a:lnTo>
                        <a:pt x="71" y="226"/>
                      </a:lnTo>
                      <a:lnTo>
                        <a:pt x="36" y="204"/>
                      </a:lnTo>
                      <a:lnTo>
                        <a:pt x="0" y="179"/>
                      </a:lnTo>
                      <a:lnTo>
                        <a:pt x="0" y="159"/>
                      </a:lnTo>
                      <a:lnTo>
                        <a:pt x="0" y="159"/>
                      </a:lnTo>
                      <a:lnTo>
                        <a:pt x="10" y="155"/>
                      </a:lnTo>
                      <a:lnTo>
                        <a:pt x="19" y="152"/>
                      </a:lnTo>
                      <a:lnTo>
                        <a:pt x="29" y="150"/>
                      </a:lnTo>
                      <a:lnTo>
                        <a:pt x="29" y="150"/>
                      </a:lnTo>
                      <a:lnTo>
                        <a:pt x="34" y="150"/>
                      </a:lnTo>
                      <a:lnTo>
                        <a:pt x="39" y="149"/>
                      </a:lnTo>
                      <a:lnTo>
                        <a:pt x="48" y="143"/>
                      </a:lnTo>
                      <a:lnTo>
                        <a:pt x="55" y="137"/>
                      </a:lnTo>
                      <a:lnTo>
                        <a:pt x="60" y="132"/>
                      </a:lnTo>
                      <a:lnTo>
                        <a:pt x="60" y="132"/>
                      </a:lnTo>
                      <a:lnTo>
                        <a:pt x="61" y="129"/>
                      </a:lnTo>
                      <a:lnTo>
                        <a:pt x="63" y="127"/>
                      </a:lnTo>
                      <a:lnTo>
                        <a:pt x="68" y="126"/>
                      </a:lnTo>
                      <a:lnTo>
                        <a:pt x="74" y="124"/>
                      </a:lnTo>
                      <a:lnTo>
                        <a:pt x="81" y="120"/>
                      </a:lnTo>
                      <a:lnTo>
                        <a:pt x="81" y="120"/>
                      </a:lnTo>
                      <a:lnTo>
                        <a:pt x="86" y="117"/>
                      </a:lnTo>
                      <a:lnTo>
                        <a:pt x="87" y="113"/>
                      </a:lnTo>
                      <a:lnTo>
                        <a:pt x="92" y="106"/>
                      </a:lnTo>
                      <a:lnTo>
                        <a:pt x="96" y="98"/>
                      </a:lnTo>
                      <a:lnTo>
                        <a:pt x="99" y="97"/>
                      </a:lnTo>
                      <a:lnTo>
                        <a:pt x="102" y="95"/>
                      </a:lnTo>
                      <a:lnTo>
                        <a:pt x="102" y="95"/>
                      </a:lnTo>
                      <a:lnTo>
                        <a:pt x="115" y="93"/>
                      </a:lnTo>
                      <a:lnTo>
                        <a:pt x="119" y="91"/>
                      </a:lnTo>
                      <a:lnTo>
                        <a:pt x="120" y="90"/>
                      </a:lnTo>
                      <a:lnTo>
                        <a:pt x="120" y="88"/>
                      </a:lnTo>
                      <a:lnTo>
                        <a:pt x="120" y="88"/>
                      </a:lnTo>
                      <a:lnTo>
                        <a:pt x="115" y="78"/>
                      </a:lnTo>
                      <a:lnTo>
                        <a:pt x="113" y="71"/>
                      </a:lnTo>
                      <a:lnTo>
                        <a:pt x="112" y="64"/>
                      </a:lnTo>
                      <a:lnTo>
                        <a:pt x="112" y="64"/>
                      </a:lnTo>
                      <a:lnTo>
                        <a:pt x="110" y="53"/>
                      </a:lnTo>
                      <a:lnTo>
                        <a:pt x="105" y="40"/>
                      </a:lnTo>
                      <a:lnTo>
                        <a:pt x="105" y="40"/>
                      </a:lnTo>
                      <a:lnTo>
                        <a:pt x="110" y="35"/>
                      </a:lnTo>
                      <a:lnTo>
                        <a:pt x="110" y="35"/>
                      </a:lnTo>
                      <a:lnTo>
                        <a:pt x="118" y="30"/>
                      </a:lnTo>
                      <a:lnTo>
                        <a:pt x="118" y="30"/>
                      </a:lnTo>
                      <a:lnTo>
                        <a:pt x="126" y="27"/>
                      </a:lnTo>
                      <a:lnTo>
                        <a:pt x="126" y="27"/>
                      </a:lnTo>
                      <a:lnTo>
                        <a:pt x="131" y="27"/>
                      </a:lnTo>
                      <a:lnTo>
                        <a:pt x="135" y="26"/>
                      </a:lnTo>
                      <a:lnTo>
                        <a:pt x="135" y="26"/>
                      </a:lnTo>
                      <a:lnTo>
                        <a:pt x="141" y="20"/>
                      </a:lnTo>
                      <a:lnTo>
                        <a:pt x="141" y="20"/>
                      </a:lnTo>
                      <a:lnTo>
                        <a:pt x="148" y="16"/>
                      </a:lnTo>
                      <a:lnTo>
                        <a:pt x="148" y="16"/>
                      </a:lnTo>
                      <a:lnTo>
                        <a:pt x="160" y="13"/>
                      </a:lnTo>
                      <a:lnTo>
                        <a:pt x="160" y="13"/>
                      </a:lnTo>
                      <a:lnTo>
                        <a:pt x="165" y="11"/>
                      </a:lnTo>
                      <a:lnTo>
                        <a:pt x="165" y="11"/>
                      </a:lnTo>
                      <a:lnTo>
                        <a:pt x="168" y="10"/>
                      </a:lnTo>
                      <a:lnTo>
                        <a:pt x="170" y="9"/>
                      </a:lnTo>
                      <a:lnTo>
                        <a:pt x="170" y="9"/>
                      </a:lnTo>
                      <a:lnTo>
                        <a:pt x="173" y="3"/>
                      </a:lnTo>
                      <a:lnTo>
                        <a:pt x="173" y="3"/>
                      </a:lnTo>
                      <a:lnTo>
                        <a:pt x="176" y="1"/>
                      </a:lnTo>
                      <a:lnTo>
                        <a:pt x="176" y="1"/>
                      </a:lnTo>
                      <a:lnTo>
                        <a:pt x="176" y="1"/>
                      </a:lnTo>
                      <a:lnTo>
                        <a:pt x="176" y="1"/>
                      </a:lnTo>
                      <a:lnTo>
                        <a:pt x="176" y="1"/>
                      </a:lnTo>
                      <a:lnTo>
                        <a:pt x="177" y="1"/>
                      </a:lnTo>
                      <a:lnTo>
                        <a:pt x="177" y="1"/>
                      </a:lnTo>
                      <a:lnTo>
                        <a:pt x="178" y="3"/>
                      </a:lnTo>
                      <a:lnTo>
                        <a:pt x="178" y="3"/>
                      </a:lnTo>
                      <a:lnTo>
                        <a:pt x="181" y="4"/>
                      </a:lnTo>
                      <a:lnTo>
                        <a:pt x="181" y="4"/>
                      </a:lnTo>
                      <a:lnTo>
                        <a:pt x="187" y="6"/>
                      </a:lnTo>
                      <a:lnTo>
                        <a:pt x="187" y="6"/>
                      </a:lnTo>
                      <a:lnTo>
                        <a:pt x="190" y="6"/>
                      </a:lnTo>
                      <a:lnTo>
                        <a:pt x="190" y="6"/>
                      </a:lnTo>
                      <a:lnTo>
                        <a:pt x="207" y="4"/>
                      </a:lnTo>
                      <a:lnTo>
                        <a:pt x="207" y="4"/>
                      </a:lnTo>
                      <a:lnTo>
                        <a:pt x="207" y="4"/>
                      </a:lnTo>
                      <a:lnTo>
                        <a:pt x="207" y="4"/>
                      </a:lnTo>
                      <a:lnTo>
                        <a:pt x="210" y="6"/>
                      </a:lnTo>
                      <a:lnTo>
                        <a:pt x="210" y="6"/>
                      </a:lnTo>
                      <a:lnTo>
                        <a:pt x="215" y="7"/>
                      </a:lnTo>
                      <a:lnTo>
                        <a:pt x="215" y="7"/>
                      </a:lnTo>
                      <a:lnTo>
                        <a:pt x="218" y="9"/>
                      </a:lnTo>
                      <a:lnTo>
                        <a:pt x="220" y="10"/>
                      </a:lnTo>
                      <a:lnTo>
                        <a:pt x="220" y="10"/>
                      </a:lnTo>
                      <a:lnTo>
                        <a:pt x="220" y="10"/>
                      </a:lnTo>
                      <a:lnTo>
                        <a:pt x="226" y="9"/>
                      </a:lnTo>
                      <a:lnTo>
                        <a:pt x="226" y="9"/>
                      </a:lnTo>
                      <a:lnTo>
                        <a:pt x="239" y="4"/>
                      </a:lnTo>
                      <a:lnTo>
                        <a:pt x="239" y="4"/>
                      </a:lnTo>
                      <a:lnTo>
                        <a:pt x="246" y="1"/>
                      </a:lnTo>
                      <a:lnTo>
                        <a:pt x="254" y="0"/>
                      </a:lnTo>
                      <a:lnTo>
                        <a:pt x="254" y="0"/>
                      </a:lnTo>
                      <a:lnTo>
                        <a:pt x="254" y="0"/>
                      </a:lnTo>
                      <a:lnTo>
                        <a:pt x="255" y="1"/>
                      </a:lnTo>
                      <a:lnTo>
                        <a:pt x="255" y="1"/>
                      </a:lnTo>
                      <a:lnTo>
                        <a:pt x="264" y="3"/>
                      </a:lnTo>
                      <a:lnTo>
                        <a:pt x="271" y="3"/>
                      </a:lnTo>
                      <a:lnTo>
                        <a:pt x="271" y="3"/>
                      </a:lnTo>
                      <a:lnTo>
                        <a:pt x="273" y="3"/>
                      </a:lnTo>
                      <a:lnTo>
                        <a:pt x="273" y="3"/>
                      </a:lnTo>
                      <a:lnTo>
                        <a:pt x="273" y="13"/>
                      </a:lnTo>
                      <a:lnTo>
                        <a:pt x="273" y="13"/>
                      </a:lnTo>
                      <a:lnTo>
                        <a:pt x="273" y="27"/>
                      </a:lnTo>
                      <a:lnTo>
                        <a:pt x="273" y="27"/>
                      </a:lnTo>
                      <a:lnTo>
                        <a:pt x="273" y="27"/>
                      </a:lnTo>
                      <a:lnTo>
                        <a:pt x="273" y="27"/>
                      </a:lnTo>
                      <a:lnTo>
                        <a:pt x="271" y="33"/>
                      </a:lnTo>
                      <a:lnTo>
                        <a:pt x="268" y="42"/>
                      </a:lnTo>
                      <a:lnTo>
                        <a:pt x="262" y="55"/>
                      </a:lnTo>
                      <a:lnTo>
                        <a:pt x="262" y="55"/>
                      </a:lnTo>
                      <a:lnTo>
                        <a:pt x="261" y="61"/>
                      </a:lnTo>
                      <a:lnTo>
                        <a:pt x="261" y="61"/>
                      </a:lnTo>
                      <a:lnTo>
                        <a:pt x="262" y="71"/>
                      </a:lnTo>
                      <a:lnTo>
                        <a:pt x="265" y="80"/>
                      </a:lnTo>
                      <a:lnTo>
                        <a:pt x="265" y="80"/>
                      </a:lnTo>
                      <a:lnTo>
                        <a:pt x="268" y="85"/>
                      </a:lnTo>
                      <a:lnTo>
                        <a:pt x="270" y="95"/>
                      </a:lnTo>
                      <a:lnTo>
                        <a:pt x="274" y="117"/>
                      </a:lnTo>
                      <a:lnTo>
                        <a:pt x="274" y="117"/>
                      </a:lnTo>
                      <a:lnTo>
                        <a:pt x="277" y="122"/>
                      </a:lnTo>
                      <a:lnTo>
                        <a:pt x="281" y="127"/>
                      </a:lnTo>
                      <a:lnTo>
                        <a:pt x="281" y="127"/>
                      </a:lnTo>
                      <a:lnTo>
                        <a:pt x="277" y="129"/>
                      </a:lnTo>
                      <a:lnTo>
                        <a:pt x="277" y="129"/>
                      </a:lnTo>
                      <a:lnTo>
                        <a:pt x="275" y="132"/>
                      </a:lnTo>
                      <a:lnTo>
                        <a:pt x="275" y="132"/>
                      </a:lnTo>
                      <a:lnTo>
                        <a:pt x="277" y="135"/>
                      </a:lnTo>
                      <a:lnTo>
                        <a:pt x="281" y="139"/>
                      </a:lnTo>
                      <a:lnTo>
                        <a:pt x="286" y="143"/>
                      </a:lnTo>
                      <a:lnTo>
                        <a:pt x="288" y="148"/>
                      </a:lnTo>
                      <a:lnTo>
                        <a:pt x="288" y="148"/>
                      </a:lnTo>
                      <a:lnTo>
                        <a:pt x="290" y="153"/>
                      </a:lnTo>
                      <a:lnTo>
                        <a:pt x="290" y="153"/>
                      </a:lnTo>
                      <a:lnTo>
                        <a:pt x="290" y="158"/>
                      </a:lnTo>
                      <a:lnTo>
                        <a:pt x="288" y="161"/>
                      </a:lnTo>
                      <a:lnTo>
                        <a:pt x="286" y="165"/>
                      </a:lnTo>
                      <a:lnTo>
                        <a:pt x="286" y="165"/>
                      </a:lnTo>
                      <a:lnTo>
                        <a:pt x="286" y="168"/>
                      </a:lnTo>
                      <a:lnTo>
                        <a:pt x="286" y="168"/>
                      </a:lnTo>
                      <a:lnTo>
                        <a:pt x="287" y="177"/>
                      </a:lnTo>
                      <a:lnTo>
                        <a:pt x="291" y="185"/>
                      </a:lnTo>
                      <a:lnTo>
                        <a:pt x="291" y="185"/>
                      </a:lnTo>
                      <a:lnTo>
                        <a:pt x="293" y="188"/>
                      </a:lnTo>
                      <a:lnTo>
                        <a:pt x="293" y="188"/>
                      </a:lnTo>
                      <a:lnTo>
                        <a:pt x="291" y="195"/>
                      </a:lnTo>
                      <a:lnTo>
                        <a:pt x="290" y="203"/>
                      </a:lnTo>
                      <a:lnTo>
                        <a:pt x="287" y="216"/>
                      </a:lnTo>
                      <a:lnTo>
                        <a:pt x="287" y="216"/>
                      </a:lnTo>
                      <a:lnTo>
                        <a:pt x="287" y="217"/>
                      </a:lnTo>
                      <a:lnTo>
                        <a:pt x="287" y="217"/>
                      </a:lnTo>
                      <a:lnTo>
                        <a:pt x="290" y="220"/>
                      </a:lnTo>
                      <a:lnTo>
                        <a:pt x="293" y="224"/>
                      </a:lnTo>
                      <a:lnTo>
                        <a:pt x="300" y="232"/>
                      </a:lnTo>
                      <a:lnTo>
                        <a:pt x="300" y="232"/>
                      </a:lnTo>
                      <a:lnTo>
                        <a:pt x="312" y="246"/>
                      </a:lnTo>
                      <a:lnTo>
                        <a:pt x="312" y="246"/>
                      </a:lnTo>
                      <a:lnTo>
                        <a:pt x="277" y="284"/>
                      </a:lnTo>
                      <a:lnTo>
                        <a:pt x="252" y="310"/>
                      </a:lnTo>
                      <a:lnTo>
                        <a:pt x="242" y="319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22" y="324"/>
                      </a:lnTo>
                      <a:lnTo>
                        <a:pt x="203" y="327"/>
                      </a:lnTo>
                      <a:lnTo>
                        <a:pt x="203" y="327"/>
                      </a:lnTo>
                      <a:lnTo>
                        <a:pt x="187" y="32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59" name="Freeform 411"/>
                <p:cNvSpPr>
                  <a:spLocks/>
                </p:cNvSpPr>
                <p:nvPr/>
              </p:nvSpPr>
              <p:spPr bwMode="auto">
                <a:xfrm>
                  <a:off x="4280168" y="2698851"/>
                  <a:ext cx="308649" cy="325466"/>
                </a:xfrm>
                <a:custGeom>
                  <a:avLst/>
                  <a:gdLst>
                    <a:gd name="T0" fmla="*/ 184 w 312"/>
                    <a:gd name="T1" fmla="*/ 329 h 329"/>
                    <a:gd name="T2" fmla="*/ 183 w 312"/>
                    <a:gd name="T3" fmla="*/ 327 h 329"/>
                    <a:gd name="T4" fmla="*/ 191 w 312"/>
                    <a:gd name="T5" fmla="*/ 320 h 329"/>
                    <a:gd name="T6" fmla="*/ 160 w 312"/>
                    <a:gd name="T7" fmla="*/ 291 h 329"/>
                    <a:gd name="T8" fmla="*/ 71 w 312"/>
                    <a:gd name="T9" fmla="*/ 226 h 329"/>
                    <a:gd name="T10" fmla="*/ 0 w 312"/>
                    <a:gd name="T11" fmla="*/ 159 h 329"/>
                    <a:gd name="T12" fmla="*/ 29 w 312"/>
                    <a:gd name="T13" fmla="*/ 150 h 329"/>
                    <a:gd name="T14" fmla="*/ 55 w 312"/>
                    <a:gd name="T15" fmla="*/ 137 h 329"/>
                    <a:gd name="T16" fmla="*/ 63 w 312"/>
                    <a:gd name="T17" fmla="*/ 127 h 329"/>
                    <a:gd name="T18" fmla="*/ 81 w 312"/>
                    <a:gd name="T19" fmla="*/ 120 h 329"/>
                    <a:gd name="T20" fmla="*/ 96 w 312"/>
                    <a:gd name="T21" fmla="*/ 98 h 329"/>
                    <a:gd name="T22" fmla="*/ 115 w 312"/>
                    <a:gd name="T23" fmla="*/ 93 h 329"/>
                    <a:gd name="T24" fmla="*/ 120 w 312"/>
                    <a:gd name="T25" fmla="*/ 88 h 329"/>
                    <a:gd name="T26" fmla="*/ 112 w 312"/>
                    <a:gd name="T27" fmla="*/ 64 h 329"/>
                    <a:gd name="T28" fmla="*/ 110 w 312"/>
                    <a:gd name="T29" fmla="*/ 35 h 329"/>
                    <a:gd name="T30" fmla="*/ 126 w 312"/>
                    <a:gd name="T31" fmla="*/ 27 h 329"/>
                    <a:gd name="T32" fmla="*/ 135 w 312"/>
                    <a:gd name="T33" fmla="*/ 26 h 329"/>
                    <a:gd name="T34" fmla="*/ 148 w 312"/>
                    <a:gd name="T35" fmla="*/ 16 h 329"/>
                    <a:gd name="T36" fmla="*/ 165 w 312"/>
                    <a:gd name="T37" fmla="*/ 11 h 329"/>
                    <a:gd name="T38" fmla="*/ 173 w 312"/>
                    <a:gd name="T39" fmla="*/ 3 h 329"/>
                    <a:gd name="T40" fmla="*/ 176 w 312"/>
                    <a:gd name="T41" fmla="*/ 1 h 329"/>
                    <a:gd name="T42" fmla="*/ 177 w 312"/>
                    <a:gd name="T43" fmla="*/ 1 h 329"/>
                    <a:gd name="T44" fmla="*/ 181 w 312"/>
                    <a:gd name="T45" fmla="*/ 4 h 329"/>
                    <a:gd name="T46" fmla="*/ 190 w 312"/>
                    <a:gd name="T47" fmla="*/ 6 h 329"/>
                    <a:gd name="T48" fmla="*/ 207 w 312"/>
                    <a:gd name="T49" fmla="*/ 4 h 329"/>
                    <a:gd name="T50" fmla="*/ 215 w 312"/>
                    <a:gd name="T51" fmla="*/ 7 h 329"/>
                    <a:gd name="T52" fmla="*/ 220 w 312"/>
                    <a:gd name="T53" fmla="*/ 10 h 329"/>
                    <a:gd name="T54" fmla="*/ 239 w 312"/>
                    <a:gd name="T55" fmla="*/ 4 h 329"/>
                    <a:gd name="T56" fmla="*/ 254 w 312"/>
                    <a:gd name="T57" fmla="*/ 0 h 329"/>
                    <a:gd name="T58" fmla="*/ 271 w 312"/>
                    <a:gd name="T59" fmla="*/ 3 h 329"/>
                    <a:gd name="T60" fmla="*/ 273 w 312"/>
                    <a:gd name="T61" fmla="*/ 13 h 329"/>
                    <a:gd name="T62" fmla="*/ 273 w 312"/>
                    <a:gd name="T63" fmla="*/ 27 h 329"/>
                    <a:gd name="T64" fmla="*/ 262 w 312"/>
                    <a:gd name="T65" fmla="*/ 55 h 329"/>
                    <a:gd name="T66" fmla="*/ 262 w 312"/>
                    <a:gd name="T67" fmla="*/ 71 h 329"/>
                    <a:gd name="T68" fmla="*/ 270 w 312"/>
                    <a:gd name="T69" fmla="*/ 95 h 329"/>
                    <a:gd name="T70" fmla="*/ 281 w 312"/>
                    <a:gd name="T71" fmla="*/ 127 h 329"/>
                    <a:gd name="T72" fmla="*/ 275 w 312"/>
                    <a:gd name="T73" fmla="*/ 132 h 329"/>
                    <a:gd name="T74" fmla="*/ 286 w 312"/>
                    <a:gd name="T75" fmla="*/ 143 h 329"/>
                    <a:gd name="T76" fmla="*/ 290 w 312"/>
                    <a:gd name="T77" fmla="*/ 153 h 329"/>
                    <a:gd name="T78" fmla="*/ 286 w 312"/>
                    <a:gd name="T79" fmla="*/ 165 h 329"/>
                    <a:gd name="T80" fmla="*/ 291 w 312"/>
                    <a:gd name="T81" fmla="*/ 185 h 329"/>
                    <a:gd name="T82" fmla="*/ 291 w 312"/>
                    <a:gd name="T83" fmla="*/ 195 h 329"/>
                    <a:gd name="T84" fmla="*/ 287 w 312"/>
                    <a:gd name="T85" fmla="*/ 217 h 329"/>
                    <a:gd name="T86" fmla="*/ 300 w 312"/>
                    <a:gd name="T87" fmla="*/ 232 h 329"/>
                    <a:gd name="T88" fmla="*/ 277 w 312"/>
                    <a:gd name="T89" fmla="*/ 284 h 329"/>
                    <a:gd name="T90" fmla="*/ 236 w 312"/>
                    <a:gd name="T91" fmla="*/ 321 h 329"/>
                    <a:gd name="T92" fmla="*/ 236 w 312"/>
                    <a:gd name="T93" fmla="*/ 321 h 329"/>
                    <a:gd name="T94" fmla="*/ 236 w 312"/>
                    <a:gd name="T95" fmla="*/ 321 h 329"/>
                    <a:gd name="T96" fmla="*/ 236 w 312"/>
                    <a:gd name="T97" fmla="*/ 321 h 329"/>
                    <a:gd name="T98" fmla="*/ 187 w 312"/>
                    <a:gd name="T99" fmla="*/ 329 h 3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12" h="329">
                      <a:moveTo>
                        <a:pt x="187" y="329"/>
                      </a:moveTo>
                      <a:lnTo>
                        <a:pt x="187" y="329"/>
                      </a:lnTo>
                      <a:lnTo>
                        <a:pt x="184" y="329"/>
                      </a:lnTo>
                      <a:lnTo>
                        <a:pt x="184" y="329"/>
                      </a:lnTo>
                      <a:lnTo>
                        <a:pt x="183" y="329"/>
                      </a:lnTo>
                      <a:lnTo>
                        <a:pt x="183" y="329"/>
                      </a:lnTo>
                      <a:lnTo>
                        <a:pt x="183" y="327"/>
                      </a:lnTo>
                      <a:lnTo>
                        <a:pt x="183" y="327"/>
                      </a:lnTo>
                      <a:lnTo>
                        <a:pt x="184" y="326"/>
                      </a:lnTo>
                      <a:lnTo>
                        <a:pt x="187" y="323"/>
                      </a:lnTo>
                      <a:lnTo>
                        <a:pt x="190" y="321"/>
                      </a:lnTo>
                      <a:lnTo>
                        <a:pt x="191" y="320"/>
                      </a:lnTo>
                      <a:lnTo>
                        <a:pt x="191" y="320"/>
                      </a:lnTo>
                      <a:lnTo>
                        <a:pt x="190" y="317"/>
                      </a:lnTo>
                      <a:lnTo>
                        <a:pt x="190" y="317"/>
                      </a:lnTo>
                      <a:lnTo>
                        <a:pt x="160" y="291"/>
                      </a:lnTo>
                      <a:lnTo>
                        <a:pt x="134" y="269"/>
                      </a:lnTo>
                      <a:lnTo>
                        <a:pt x="103" y="248"/>
                      </a:lnTo>
                      <a:lnTo>
                        <a:pt x="103" y="248"/>
                      </a:lnTo>
                      <a:lnTo>
                        <a:pt x="71" y="226"/>
                      </a:lnTo>
                      <a:lnTo>
                        <a:pt x="36" y="204"/>
                      </a:lnTo>
                      <a:lnTo>
                        <a:pt x="0" y="179"/>
                      </a:lnTo>
                      <a:lnTo>
                        <a:pt x="0" y="159"/>
                      </a:lnTo>
                      <a:lnTo>
                        <a:pt x="0" y="159"/>
                      </a:lnTo>
                      <a:lnTo>
                        <a:pt x="10" y="155"/>
                      </a:lnTo>
                      <a:lnTo>
                        <a:pt x="19" y="152"/>
                      </a:lnTo>
                      <a:lnTo>
                        <a:pt x="29" y="150"/>
                      </a:lnTo>
                      <a:lnTo>
                        <a:pt x="29" y="150"/>
                      </a:lnTo>
                      <a:lnTo>
                        <a:pt x="34" y="150"/>
                      </a:lnTo>
                      <a:lnTo>
                        <a:pt x="39" y="149"/>
                      </a:lnTo>
                      <a:lnTo>
                        <a:pt x="48" y="143"/>
                      </a:lnTo>
                      <a:lnTo>
                        <a:pt x="55" y="137"/>
                      </a:lnTo>
                      <a:lnTo>
                        <a:pt x="60" y="132"/>
                      </a:lnTo>
                      <a:lnTo>
                        <a:pt x="60" y="132"/>
                      </a:lnTo>
                      <a:lnTo>
                        <a:pt x="61" y="129"/>
                      </a:lnTo>
                      <a:lnTo>
                        <a:pt x="63" y="127"/>
                      </a:lnTo>
                      <a:lnTo>
                        <a:pt x="68" y="126"/>
                      </a:lnTo>
                      <a:lnTo>
                        <a:pt x="74" y="124"/>
                      </a:lnTo>
                      <a:lnTo>
                        <a:pt x="81" y="120"/>
                      </a:lnTo>
                      <a:lnTo>
                        <a:pt x="81" y="120"/>
                      </a:lnTo>
                      <a:lnTo>
                        <a:pt x="86" y="117"/>
                      </a:lnTo>
                      <a:lnTo>
                        <a:pt x="87" y="113"/>
                      </a:lnTo>
                      <a:lnTo>
                        <a:pt x="92" y="106"/>
                      </a:lnTo>
                      <a:lnTo>
                        <a:pt x="96" y="98"/>
                      </a:lnTo>
                      <a:lnTo>
                        <a:pt x="99" y="97"/>
                      </a:lnTo>
                      <a:lnTo>
                        <a:pt x="102" y="95"/>
                      </a:lnTo>
                      <a:lnTo>
                        <a:pt x="102" y="95"/>
                      </a:lnTo>
                      <a:lnTo>
                        <a:pt x="115" y="93"/>
                      </a:lnTo>
                      <a:lnTo>
                        <a:pt x="119" y="91"/>
                      </a:lnTo>
                      <a:lnTo>
                        <a:pt x="120" y="90"/>
                      </a:lnTo>
                      <a:lnTo>
                        <a:pt x="120" y="88"/>
                      </a:lnTo>
                      <a:lnTo>
                        <a:pt x="120" y="88"/>
                      </a:lnTo>
                      <a:lnTo>
                        <a:pt x="115" y="78"/>
                      </a:lnTo>
                      <a:lnTo>
                        <a:pt x="113" y="71"/>
                      </a:lnTo>
                      <a:lnTo>
                        <a:pt x="112" y="64"/>
                      </a:lnTo>
                      <a:lnTo>
                        <a:pt x="112" y="64"/>
                      </a:lnTo>
                      <a:lnTo>
                        <a:pt x="110" y="53"/>
                      </a:lnTo>
                      <a:lnTo>
                        <a:pt x="105" y="40"/>
                      </a:lnTo>
                      <a:lnTo>
                        <a:pt x="105" y="40"/>
                      </a:lnTo>
                      <a:lnTo>
                        <a:pt x="110" y="35"/>
                      </a:lnTo>
                      <a:lnTo>
                        <a:pt x="110" y="35"/>
                      </a:lnTo>
                      <a:lnTo>
                        <a:pt x="118" y="30"/>
                      </a:lnTo>
                      <a:lnTo>
                        <a:pt x="118" y="30"/>
                      </a:lnTo>
                      <a:lnTo>
                        <a:pt x="126" y="27"/>
                      </a:lnTo>
                      <a:lnTo>
                        <a:pt x="126" y="27"/>
                      </a:lnTo>
                      <a:lnTo>
                        <a:pt x="131" y="27"/>
                      </a:lnTo>
                      <a:lnTo>
                        <a:pt x="135" y="26"/>
                      </a:lnTo>
                      <a:lnTo>
                        <a:pt x="135" y="26"/>
                      </a:lnTo>
                      <a:lnTo>
                        <a:pt x="141" y="20"/>
                      </a:lnTo>
                      <a:lnTo>
                        <a:pt x="141" y="20"/>
                      </a:lnTo>
                      <a:lnTo>
                        <a:pt x="148" y="16"/>
                      </a:lnTo>
                      <a:lnTo>
                        <a:pt x="148" y="16"/>
                      </a:lnTo>
                      <a:lnTo>
                        <a:pt x="160" y="13"/>
                      </a:lnTo>
                      <a:lnTo>
                        <a:pt x="160" y="13"/>
                      </a:lnTo>
                      <a:lnTo>
                        <a:pt x="165" y="11"/>
                      </a:lnTo>
                      <a:lnTo>
                        <a:pt x="165" y="11"/>
                      </a:lnTo>
                      <a:lnTo>
                        <a:pt x="168" y="10"/>
                      </a:lnTo>
                      <a:lnTo>
                        <a:pt x="170" y="9"/>
                      </a:lnTo>
                      <a:lnTo>
                        <a:pt x="170" y="9"/>
                      </a:lnTo>
                      <a:lnTo>
                        <a:pt x="173" y="3"/>
                      </a:lnTo>
                      <a:lnTo>
                        <a:pt x="173" y="3"/>
                      </a:lnTo>
                      <a:lnTo>
                        <a:pt x="176" y="1"/>
                      </a:lnTo>
                      <a:lnTo>
                        <a:pt x="176" y="1"/>
                      </a:lnTo>
                      <a:lnTo>
                        <a:pt x="176" y="1"/>
                      </a:lnTo>
                      <a:lnTo>
                        <a:pt x="176" y="1"/>
                      </a:lnTo>
                      <a:lnTo>
                        <a:pt x="176" y="1"/>
                      </a:lnTo>
                      <a:lnTo>
                        <a:pt x="177" y="1"/>
                      </a:lnTo>
                      <a:lnTo>
                        <a:pt x="177" y="1"/>
                      </a:lnTo>
                      <a:lnTo>
                        <a:pt x="178" y="3"/>
                      </a:lnTo>
                      <a:lnTo>
                        <a:pt x="178" y="3"/>
                      </a:lnTo>
                      <a:lnTo>
                        <a:pt x="181" y="4"/>
                      </a:lnTo>
                      <a:lnTo>
                        <a:pt x="181" y="4"/>
                      </a:lnTo>
                      <a:lnTo>
                        <a:pt x="187" y="6"/>
                      </a:lnTo>
                      <a:lnTo>
                        <a:pt x="187" y="6"/>
                      </a:lnTo>
                      <a:lnTo>
                        <a:pt x="190" y="6"/>
                      </a:lnTo>
                      <a:lnTo>
                        <a:pt x="190" y="6"/>
                      </a:lnTo>
                      <a:lnTo>
                        <a:pt x="207" y="4"/>
                      </a:lnTo>
                      <a:lnTo>
                        <a:pt x="207" y="4"/>
                      </a:lnTo>
                      <a:lnTo>
                        <a:pt x="207" y="4"/>
                      </a:lnTo>
                      <a:lnTo>
                        <a:pt x="207" y="4"/>
                      </a:lnTo>
                      <a:lnTo>
                        <a:pt x="210" y="6"/>
                      </a:lnTo>
                      <a:lnTo>
                        <a:pt x="210" y="6"/>
                      </a:lnTo>
                      <a:lnTo>
                        <a:pt x="215" y="7"/>
                      </a:lnTo>
                      <a:lnTo>
                        <a:pt x="215" y="7"/>
                      </a:lnTo>
                      <a:lnTo>
                        <a:pt x="218" y="9"/>
                      </a:lnTo>
                      <a:lnTo>
                        <a:pt x="220" y="10"/>
                      </a:lnTo>
                      <a:lnTo>
                        <a:pt x="220" y="10"/>
                      </a:lnTo>
                      <a:lnTo>
                        <a:pt x="220" y="10"/>
                      </a:lnTo>
                      <a:lnTo>
                        <a:pt x="226" y="9"/>
                      </a:lnTo>
                      <a:lnTo>
                        <a:pt x="226" y="9"/>
                      </a:lnTo>
                      <a:lnTo>
                        <a:pt x="239" y="4"/>
                      </a:lnTo>
                      <a:lnTo>
                        <a:pt x="239" y="4"/>
                      </a:lnTo>
                      <a:lnTo>
                        <a:pt x="246" y="1"/>
                      </a:lnTo>
                      <a:lnTo>
                        <a:pt x="254" y="0"/>
                      </a:lnTo>
                      <a:lnTo>
                        <a:pt x="254" y="0"/>
                      </a:lnTo>
                      <a:lnTo>
                        <a:pt x="254" y="0"/>
                      </a:lnTo>
                      <a:lnTo>
                        <a:pt x="255" y="1"/>
                      </a:lnTo>
                      <a:lnTo>
                        <a:pt x="255" y="1"/>
                      </a:lnTo>
                      <a:lnTo>
                        <a:pt x="264" y="3"/>
                      </a:lnTo>
                      <a:lnTo>
                        <a:pt x="271" y="3"/>
                      </a:lnTo>
                      <a:lnTo>
                        <a:pt x="271" y="3"/>
                      </a:lnTo>
                      <a:lnTo>
                        <a:pt x="273" y="3"/>
                      </a:lnTo>
                      <a:lnTo>
                        <a:pt x="273" y="3"/>
                      </a:lnTo>
                      <a:lnTo>
                        <a:pt x="273" y="13"/>
                      </a:lnTo>
                      <a:lnTo>
                        <a:pt x="273" y="13"/>
                      </a:lnTo>
                      <a:lnTo>
                        <a:pt x="273" y="27"/>
                      </a:lnTo>
                      <a:lnTo>
                        <a:pt x="273" y="27"/>
                      </a:lnTo>
                      <a:lnTo>
                        <a:pt x="273" y="27"/>
                      </a:lnTo>
                      <a:lnTo>
                        <a:pt x="273" y="27"/>
                      </a:lnTo>
                      <a:lnTo>
                        <a:pt x="271" y="33"/>
                      </a:lnTo>
                      <a:lnTo>
                        <a:pt x="268" y="42"/>
                      </a:lnTo>
                      <a:lnTo>
                        <a:pt x="262" y="55"/>
                      </a:lnTo>
                      <a:lnTo>
                        <a:pt x="262" y="55"/>
                      </a:lnTo>
                      <a:lnTo>
                        <a:pt x="261" y="61"/>
                      </a:lnTo>
                      <a:lnTo>
                        <a:pt x="261" y="61"/>
                      </a:lnTo>
                      <a:lnTo>
                        <a:pt x="262" y="71"/>
                      </a:lnTo>
                      <a:lnTo>
                        <a:pt x="265" y="80"/>
                      </a:lnTo>
                      <a:lnTo>
                        <a:pt x="265" y="80"/>
                      </a:lnTo>
                      <a:lnTo>
                        <a:pt x="268" y="85"/>
                      </a:lnTo>
                      <a:lnTo>
                        <a:pt x="270" y="95"/>
                      </a:lnTo>
                      <a:lnTo>
                        <a:pt x="274" y="117"/>
                      </a:lnTo>
                      <a:lnTo>
                        <a:pt x="274" y="117"/>
                      </a:lnTo>
                      <a:lnTo>
                        <a:pt x="277" y="122"/>
                      </a:lnTo>
                      <a:lnTo>
                        <a:pt x="281" y="127"/>
                      </a:lnTo>
                      <a:lnTo>
                        <a:pt x="281" y="127"/>
                      </a:lnTo>
                      <a:lnTo>
                        <a:pt x="277" y="129"/>
                      </a:lnTo>
                      <a:lnTo>
                        <a:pt x="277" y="129"/>
                      </a:lnTo>
                      <a:lnTo>
                        <a:pt x="275" y="132"/>
                      </a:lnTo>
                      <a:lnTo>
                        <a:pt x="275" y="132"/>
                      </a:lnTo>
                      <a:lnTo>
                        <a:pt x="277" y="135"/>
                      </a:lnTo>
                      <a:lnTo>
                        <a:pt x="281" y="139"/>
                      </a:lnTo>
                      <a:lnTo>
                        <a:pt x="286" y="143"/>
                      </a:lnTo>
                      <a:lnTo>
                        <a:pt x="288" y="148"/>
                      </a:lnTo>
                      <a:lnTo>
                        <a:pt x="288" y="148"/>
                      </a:lnTo>
                      <a:lnTo>
                        <a:pt x="290" y="153"/>
                      </a:lnTo>
                      <a:lnTo>
                        <a:pt x="290" y="153"/>
                      </a:lnTo>
                      <a:lnTo>
                        <a:pt x="290" y="158"/>
                      </a:lnTo>
                      <a:lnTo>
                        <a:pt x="288" y="161"/>
                      </a:lnTo>
                      <a:lnTo>
                        <a:pt x="286" y="165"/>
                      </a:lnTo>
                      <a:lnTo>
                        <a:pt x="286" y="165"/>
                      </a:lnTo>
                      <a:lnTo>
                        <a:pt x="286" y="168"/>
                      </a:lnTo>
                      <a:lnTo>
                        <a:pt x="286" y="168"/>
                      </a:lnTo>
                      <a:lnTo>
                        <a:pt x="287" y="177"/>
                      </a:lnTo>
                      <a:lnTo>
                        <a:pt x="291" y="185"/>
                      </a:lnTo>
                      <a:lnTo>
                        <a:pt x="291" y="185"/>
                      </a:lnTo>
                      <a:lnTo>
                        <a:pt x="293" y="188"/>
                      </a:lnTo>
                      <a:lnTo>
                        <a:pt x="293" y="188"/>
                      </a:lnTo>
                      <a:lnTo>
                        <a:pt x="291" y="195"/>
                      </a:lnTo>
                      <a:lnTo>
                        <a:pt x="290" y="203"/>
                      </a:lnTo>
                      <a:lnTo>
                        <a:pt x="287" y="216"/>
                      </a:lnTo>
                      <a:lnTo>
                        <a:pt x="287" y="216"/>
                      </a:lnTo>
                      <a:lnTo>
                        <a:pt x="287" y="217"/>
                      </a:lnTo>
                      <a:lnTo>
                        <a:pt x="287" y="217"/>
                      </a:lnTo>
                      <a:lnTo>
                        <a:pt x="290" y="220"/>
                      </a:lnTo>
                      <a:lnTo>
                        <a:pt x="293" y="224"/>
                      </a:lnTo>
                      <a:lnTo>
                        <a:pt x="300" y="232"/>
                      </a:lnTo>
                      <a:lnTo>
                        <a:pt x="300" y="232"/>
                      </a:lnTo>
                      <a:lnTo>
                        <a:pt x="312" y="246"/>
                      </a:lnTo>
                      <a:lnTo>
                        <a:pt x="312" y="246"/>
                      </a:lnTo>
                      <a:lnTo>
                        <a:pt x="277" y="284"/>
                      </a:lnTo>
                      <a:lnTo>
                        <a:pt x="252" y="310"/>
                      </a:lnTo>
                      <a:lnTo>
                        <a:pt x="242" y="319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36" y="321"/>
                      </a:lnTo>
                      <a:lnTo>
                        <a:pt x="222" y="324"/>
                      </a:lnTo>
                      <a:lnTo>
                        <a:pt x="203" y="327"/>
                      </a:lnTo>
                      <a:lnTo>
                        <a:pt x="203" y="327"/>
                      </a:lnTo>
                      <a:lnTo>
                        <a:pt x="187" y="329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60" name="Freeform 412"/>
                <p:cNvSpPr>
                  <a:spLocks noEditPoints="1"/>
                </p:cNvSpPr>
                <p:nvPr/>
              </p:nvSpPr>
              <p:spPr bwMode="auto">
                <a:xfrm>
                  <a:off x="4382062" y="2944187"/>
                  <a:ext cx="98926" cy="80130"/>
                </a:xfrm>
                <a:custGeom>
                  <a:avLst/>
                  <a:gdLst>
                    <a:gd name="T0" fmla="*/ 88 w 100"/>
                    <a:gd name="T1" fmla="*/ 72 h 81"/>
                    <a:gd name="T2" fmla="*/ 88 w 100"/>
                    <a:gd name="T3" fmla="*/ 72 h 81"/>
                    <a:gd name="T4" fmla="*/ 87 w 100"/>
                    <a:gd name="T5" fmla="*/ 69 h 81"/>
                    <a:gd name="T6" fmla="*/ 87 w 100"/>
                    <a:gd name="T7" fmla="*/ 69 h 81"/>
                    <a:gd name="T8" fmla="*/ 57 w 100"/>
                    <a:gd name="T9" fmla="*/ 43 h 81"/>
                    <a:gd name="T10" fmla="*/ 31 w 100"/>
                    <a:gd name="T11" fmla="*/ 21 h 81"/>
                    <a:gd name="T12" fmla="*/ 0 w 100"/>
                    <a:gd name="T13" fmla="*/ 0 h 81"/>
                    <a:gd name="T14" fmla="*/ 0 w 100"/>
                    <a:gd name="T15" fmla="*/ 0 h 81"/>
                    <a:gd name="T16" fmla="*/ 31 w 100"/>
                    <a:gd name="T17" fmla="*/ 21 h 81"/>
                    <a:gd name="T18" fmla="*/ 57 w 100"/>
                    <a:gd name="T19" fmla="*/ 43 h 81"/>
                    <a:gd name="T20" fmla="*/ 87 w 100"/>
                    <a:gd name="T21" fmla="*/ 69 h 81"/>
                    <a:gd name="T22" fmla="*/ 87 w 100"/>
                    <a:gd name="T23" fmla="*/ 69 h 81"/>
                    <a:gd name="T24" fmla="*/ 88 w 100"/>
                    <a:gd name="T25" fmla="*/ 72 h 81"/>
                    <a:gd name="T26" fmla="*/ 80 w 100"/>
                    <a:gd name="T27" fmla="*/ 81 h 81"/>
                    <a:gd name="T28" fmla="*/ 80 w 100"/>
                    <a:gd name="T29" fmla="*/ 81 h 81"/>
                    <a:gd name="T30" fmla="*/ 80 w 100"/>
                    <a:gd name="T31" fmla="*/ 79 h 81"/>
                    <a:gd name="T32" fmla="*/ 80 w 100"/>
                    <a:gd name="T33" fmla="*/ 79 h 81"/>
                    <a:gd name="T34" fmla="*/ 80 w 100"/>
                    <a:gd name="T35" fmla="*/ 81 h 81"/>
                    <a:gd name="T36" fmla="*/ 84 w 100"/>
                    <a:gd name="T37" fmla="*/ 81 h 81"/>
                    <a:gd name="T38" fmla="*/ 84 w 100"/>
                    <a:gd name="T39" fmla="*/ 81 h 81"/>
                    <a:gd name="T40" fmla="*/ 81 w 100"/>
                    <a:gd name="T41" fmla="*/ 81 h 81"/>
                    <a:gd name="T42" fmla="*/ 81 w 100"/>
                    <a:gd name="T43" fmla="*/ 81 h 81"/>
                    <a:gd name="T44" fmla="*/ 84 w 100"/>
                    <a:gd name="T45" fmla="*/ 81 h 81"/>
                    <a:gd name="T46" fmla="*/ 84 w 100"/>
                    <a:gd name="T47" fmla="*/ 81 h 81"/>
                    <a:gd name="T48" fmla="*/ 100 w 100"/>
                    <a:gd name="T49" fmla="*/ 79 h 81"/>
                    <a:gd name="T50" fmla="*/ 100 w 100"/>
                    <a:gd name="T51" fmla="*/ 79 h 81"/>
                    <a:gd name="T52" fmla="*/ 84 w 100"/>
                    <a:gd name="T53" fmla="*/ 81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00" h="81">
                      <a:moveTo>
                        <a:pt x="88" y="72"/>
                      </a:moveTo>
                      <a:lnTo>
                        <a:pt x="88" y="72"/>
                      </a:lnTo>
                      <a:lnTo>
                        <a:pt x="87" y="69"/>
                      </a:lnTo>
                      <a:lnTo>
                        <a:pt x="87" y="69"/>
                      </a:lnTo>
                      <a:lnTo>
                        <a:pt x="57" y="43"/>
                      </a:lnTo>
                      <a:lnTo>
                        <a:pt x="31" y="2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31" y="21"/>
                      </a:lnTo>
                      <a:lnTo>
                        <a:pt x="57" y="43"/>
                      </a:lnTo>
                      <a:lnTo>
                        <a:pt x="87" y="69"/>
                      </a:lnTo>
                      <a:lnTo>
                        <a:pt x="87" y="69"/>
                      </a:lnTo>
                      <a:lnTo>
                        <a:pt x="88" y="72"/>
                      </a:lnTo>
                      <a:close/>
                      <a:moveTo>
                        <a:pt x="80" y="81"/>
                      </a:moveTo>
                      <a:lnTo>
                        <a:pt x="80" y="81"/>
                      </a:lnTo>
                      <a:lnTo>
                        <a:pt x="80" y="79"/>
                      </a:lnTo>
                      <a:lnTo>
                        <a:pt x="80" y="79"/>
                      </a:lnTo>
                      <a:lnTo>
                        <a:pt x="80" y="81"/>
                      </a:lnTo>
                      <a:close/>
                      <a:moveTo>
                        <a:pt x="84" y="81"/>
                      </a:moveTo>
                      <a:lnTo>
                        <a:pt x="84" y="81"/>
                      </a:lnTo>
                      <a:lnTo>
                        <a:pt x="81" y="81"/>
                      </a:lnTo>
                      <a:lnTo>
                        <a:pt x="81" y="81"/>
                      </a:lnTo>
                      <a:lnTo>
                        <a:pt x="84" y="81"/>
                      </a:lnTo>
                      <a:lnTo>
                        <a:pt x="84" y="81"/>
                      </a:lnTo>
                      <a:lnTo>
                        <a:pt x="100" y="79"/>
                      </a:lnTo>
                      <a:lnTo>
                        <a:pt x="100" y="79"/>
                      </a:lnTo>
                      <a:lnTo>
                        <a:pt x="84" y="8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61" name="Freeform 413"/>
                <p:cNvSpPr>
                  <a:spLocks/>
                </p:cNvSpPr>
                <p:nvPr/>
              </p:nvSpPr>
              <p:spPr bwMode="auto">
                <a:xfrm>
                  <a:off x="4382062" y="2944187"/>
                  <a:ext cx="87055" cy="71227"/>
                </a:xfrm>
                <a:custGeom>
                  <a:avLst/>
                  <a:gdLst>
                    <a:gd name="T0" fmla="*/ 88 w 88"/>
                    <a:gd name="T1" fmla="*/ 72 h 72"/>
                    <a:gd name="T2" fmla="*/ 88 w 88"/>
                    <a:gd name="T3" fmla="*/ 72 h 72"/>
                    <a:gd name="T4" fmla="*/ 87 w 88"/>
                    <a:gd name="T5" fmla="*/ 69 h 72"/>
                    <a:gd name="T6" fmla="*/ 87 w 88"/>
                    <a:gd name="T7" fmla="*/ 69 h 72"/>
                    <a:gd name="T8" fmla="*/ 57 w 88"/>
                    <a:gd name="T9" fmla="*/ 43 h 72"/>
                    <a:gd name="T10" fmla="*/ 31 w 88"/>
                    <a:gd name="T11" fmla="*/ 21 h 72"/>
                    <a:gd name="T12" fmla="*/ 0 w 88"/>
                    <a:gd name="T13" fmla="*/ 0 h 72"/>
                    <a:gd name="T14" fmla="*/ 0 w 88"/>
                    <a:gd name="T15" fmla="*/ 0 h 72"/>
                    <a:gd name="T16" fmla="*/ 31 w 88"/>
                    <a:gd name="T17" fmla="*/ 21 h 72"/>
                    <a:gd name="T18" fmla="*/ 57 w 88"/>
                    <a:gd name="T19" fmla="*/ 43 h 72"/>
                    <a:gd name="T20" fmla="*/ 87 w 88"/>
                    <a:gd name="T21" fmla="*/ 69 h 72"/>
                    <a:gd name="T22" fmla="*/ 87 w 88"/>
                    <a:gd name="T23" fmla="*/ 69 h 72"/>
                    <a:gd name="T24" fmla="*/ 88 w 88"/>
                    <a:gd name="T25" fmla="*/ 7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8" h="72">
                      <a:moveTo>
                        <a:pt x="88" y="72"/>
                      </a:moveTo>
                      <a:lnTo>
                        <a:pt x="88" y="72"/>
                      </a:lnTo>
                      <a:lnTo>
                        <a:pt x="87" y="69"/>
                      </a:lnTo>
                      <a:lnTo>
                        <a:pt x="87" y="69"/>
                      </a:lnTo>
                      <a:lnTo>
                        <a:pt x="57" y="43"/>
                      </a:lnTo>
                      <a:lnTo>
                        <a:pt x="31" y="2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31" y="21"/>
                      </a:lnTo>
                      <a:lnTo>
                        <a:pt x="57" y="43"/>
                      </a:lnTo>
                      <a:lnTo>
                        <a:pt x="87" y="69"/>
                      </a:lnTo>
                      <a:lnTo>
                        <a:pt x="87" y="69"/>
                      </a:lnTo>
                      <a:lnTo>
                        <a:pt x="88" y="7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62" name="Rectangle 414"/>
                <p:cNvSpPr>
                  <a:spLocks noChangeArrowheads="1"/>
                </p:cNvSpPr>
                <p:nvPr/>
              </p:nvSpPr>
              <p:spPr bwMode="auto">
                <a:xfrm>
                  <a:off x="4461203" y="3022339"/>
                  <a:ext cx="989" cy="197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63" name="Freeform 415"/>
                <p:cNvSpPr>
                  <a:spLocks/>
                </p:cNvSpPr>
                <p:nvPr/>
              </p:nvSpPr>
              <p:spPr bwMode="auto">
                <a:xfrm>
                  <a:off x="4462192" y="3022339"/>
                  <a:ext cx="18796" cy="1979"/>
                </a:xfrm>
                <a:custGeom>
                  <a:avLst/>
                  <a:gdLst>
                    <a:gd name="T0" fmla="*/ 3 w 19"/>
                    <a:gd name="T1" fmla="*/ 2 h 2"/>
                    <a:gd name="T2" fmla="*/ 3 w 19"/>
                    <a:gd name="T3" fmla="*/ 2 h 2"/>
                    <a:gd name="T4" fmla="*/ 0 w 19"/>
                    <a:gd name="T5" fmla="*/ 2 h 2"/>
                    <a:gd name="T6" fmla="*/ 0 w 19"/>
                    <a:gd name="T7" fmla="*/ 2 h 2"/>
                    <a:gd name="T8" fmla="*/ 3 w 19"/>
                    <a:gd name="T9" fmla="*/ 2 h 2"/>
                    <a:gd name="T10" fmla="*/ 3 w 19"/>
                    <a:gd name="T11" fmla="*/ 2 h 2"/>
                    <a:gd name="T12" fmla="*/ 19 w 19"/>
                    <a:gd name="T13" fmla="*/ 0 h 2"/>
                    <a:gd name="T14" fmla="*/ 19 w 19"/>
                    <a:gd name="T15" fmla="*/ 0 h 2"/>
                    <a:gd name="T16" fmla="*/ 3 w 19"/>
                    <a:gd name="T1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" h="2">
                      <a:moveTo>
                        <a:pt x="3" y="2"/>
                      </a:move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19" y="0"/>
                      </a:lnTo>
                      <a:lnTo>
                        <a:pt x="19" y="0"/>
                      </a:lnTo>
                      <a:lnTo>
                        <a:pt x="3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64" name="Freeform 416"/>
                <p:cNvSpPr>
                  <a:spLocks noEditPoints="1"/>
                </p:cNvSpPr>
                <p:nvPr/>
              </p:nvSpPr>
              <p:spPr bwMode="auto">
                <a:xfrm>
                  <a:off x="4552215" y="2824487"/>
                  <a:ext cx="17807" cy="88044"/>
                </a:xfrm>
                <a:custGeom>
                  <a:avLst/>
                  <a:gdLst>
                    <a:gd name="T0" fmla="*/ 0 w 18"/>
                    <a:gd name="T1" fmla="*/ 5 h 89"/>
                    <a:gd name="T2" fmla="*/ 0 w 18"/>
                    <a:gd name="T3" fmla="*/ 5 h 89"/>
                    <a:gd name="T4" fmla="*/ 2 w 18"/>
                    <a:gd name="T5" fmla="*/ 2 h 89"/>
                    <a:gd name="T6" fmla="*/ 2 w 18"/>
                    <a:gd name="T7" fmla="*/ 2 h 89"/>
                    <a:gd name="T8" fmla="*/ 6 w 18"/>
                    <a:gd name="T9" fmla="*/ 0 h 89"/>
                    <a:gd name="T10" fmla="*/ 6 w 18"/>
                    <a:gd name="T11" fmla="*/ 0 h 89"/>
                    <a:gd name="T12" fmla="*/ 6 w 18"/>
                    <a:gd name="T13" fmla="*/ 0 h 89"/>
                    <a:gd name="T14" fmla="*/ 2 w 18"/>
                    <a:gd name="T15" fmla="*/ 2 h 89"/>
                    <a:gd name="T16" fmla="*/ 2 w 18"/>
                    <a:gd name="T17" fmla="*/ 2 h 89"/>
                    <a:gd name="T18" fmla="*/ 0 w 18"/>
                    <a:gd name="T19" fmla="*/ 5 h 89"/>
                    <a:gd name="T20" fmla="*/ 11 w 18"/>
                    <a:gd name="T21" fmla="*/ 41 h 89"/>
                    <a:gd name="T22" fmla="*/ 11 w 18"/>
                    <a:gd name="T23" fmla="*/ 41 h 89"/>
                    <a:gd name="T24" fmla="*/ 11 w 18"/>
                    <a:gd name="T25" fmla="*/ 38 h 89"/>
                    <a:gd name="T26" fmla="*/ 11 w 18"/>
                    <a:gd name="T27" fmla="*/ 38 h 89"/>
                    <a:gd name="T28" fmla="*/ 13 w 18"/>
                    <a:gd name="T29" fmla="*/ 34 h 89"/>
                    <a:gd name="T30" fmla="*/ 15 w 18"/>
                    <a:gd name="T31" fmla="*/ 31 h 89"/>
                    <a:gd name="T32" fmla="*/ 15 w 18"/>
                    <a:gd name="T33" fmla="*/ 26 h 89"/>
                    <a:gd name="T34" fmla="*/ 15 w 18"/>
                    <a:gd name="T35" fmla="*/ 26 h 89"/>
                    <a:gd name="T36" fmla="*/ 15 w 18"/>
                    <a:gd name="T37" fmla="*/ 31 h 89"/>
                    <a:gd name="T38" fmla="*/ 13 w 18"/>
                    <a:gd name="T39" fmla="*/ 34 h 89"/>
                    <a:gd name="T40" fmla="*/ 11 w 18"/>
                    <a:gd name="T41" fmla="*/ 38 h 89"/>
                    <a:gd name="T42" fmla="*/ 11 w 18"/>
                    <a:gd name="T43" fmla="*/ 38 h 89"/>
                    <a:gd name="T44" fmla="*/ 11 w 18"/>
                    <a:gd name="T45" fmla="*/ 41 h 89"/>
                    <a:gd name="T46" fmla="*/ 12 w 18"/>
                    <a:gd name="T47" fmla="*/ 89 h 89"/>
                    <a:gd name="T48" fmla="*/ 12 w 18"/>
                    <a:gd name="T49" fmla="*/ 89 h 89"/>
                    <a:gd name="T50" fmla="*/ 15 w 18"/>
                    <a:gd name="T51" fmla="*/ 76 h 89"/>
                    <a:gd name="T52" fmla="*/ 16 w 18"/>
                    <a:gd name="T53" fmla="*/ 68 h 89"/>
                    <a:gd name="T54" fmla="*/ 18 w 18"/>
                    <a:gd name="T55" fmla="*/ 61 h 89"/>
                    <a:gd name="T56" fmla="*/ 18 w 18"/>
                    <a:gd name="T57" fmla="*/ 61 h 89"/>
                    <a:gd name="T58" fmla="*/ 16 w 18"/>
                    <a:gd name="T59" fmla="*/ 68 h 89"/>
                    <a:gd name="T60" fmla="*/ 15 w 18"/>
                    <a:gd name="T61" fmla="*/ 76 h 89"/>
                    <a:gd name="T62" fmla="*/ 12 w 18"/>
                    <a:gd name="T63" fmla="*/ 89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8" h="8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5"/>
                      </a:lnTo>
                      <a:close/>
                      <a:moveTo>
                        <a:pt x="11" y="41"/>
                      </a:moveTo>
                      <a:lnTo>
                        <a:pt x="11" y="41"/>
                      </a:lnTo>
                      <a:lnTo>
                        <a:pt x="11" y="38"/>
                      </a:lnTo>
                      <a:lnTo>
                        <a:pt x="11" y="38"/>
                      </a:lnTo>
                      <a:lnTo>
                        <a:pt x="13" y="34"/>
                      </a:lnTo>
                      <a:lnTo>
                        <a:pt x="15" y="31"/>
                      </a:lnTo>
                      <a:lnTo>
                        <a:pt x="15" y="26"/>
                      </a:lnTo>
                      <a:lnTo>
                        <a:pt x="15" y="26"/>
                      </a:lnTo>
                      <a:lnTo>
                        <a:pt x="15" y="31"/>
                      </a:lnTo>
                      <a:lnTo>
                        <a:pt x="13" y="34"/>
                      </a:lnTo>
                      <a:lnTo>
                        <a:pt x="11" y="38"/>
                      </a:lnTo>
                      <a:lnTo>
                        <a:pt x="11" y="38"/>
                      </a:lnTo>
                      <a:lnTo>
                        <a:pt x="11" y="41"/>
                      </a:lnTo>
                      <a:close/>
                      <a:moveTo>
                        <a:pt x="12" y="89"/>
                      </a:moveTo>
                      <a:lnTo>
                        <a:pt x="12" y="89"/>
                      </a:lnTo>
                      <a:lnTo>
                        <a:pt x="15" y="76"/>
                      </a:lnTo>
                      <a:lnTo>
                        <a:pt x="16" y="68"/>
                      </a:lnTo>
                      <a:lnTo>
                        <a:pt x="18" y="61"/>
                      </a:lnTo>
                      <a:lnTo>
                        <a:pt x="18" y="61"/>
                      </a:lnTo>
                      <a:lnTo>
                        <a:pt x="16" y="68"/>
                      </a:lnTo>
                      <a:lnTo>
                        <a:pt x="15" y="76"/>
                      </a:lnTo>
                      <a:lnTo>
                        <a:pt x="12" y="8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65" name="Freeform 417"/>
                <p:cNvSpPr>
                  <a:spLocks/>
                </p:cNvSpPr>
                <p:nvPr/>
              </p:nvSpPr>
              <p:spPr bwMode="auto">
                <a:xfrm>
                  <a:off x="4552215" y="2824487"/>
                  <a:ext cx="5936" cy="4946"/>
                </a:xfrm>
                <a:custGeom>
                  <a:avLst/>
                  <a:gdLst>
                    <a:gd name="T0" fmla="*/ 0 w 6"/>
                    <a:gd name="T1" fmla="*/ 5 h 5"/>
                    <a:gd name="T2" fmla="*/ 0 w 6"/>
                    <a:gd name="T3" fmla="*/ 5 h 5"/>
                    <a:gd name="T4" fmla="*/ 2 w 6"/>
                    <a:gd name="T5" fmla="*/ 2 h 5"/>
                    <a:gd name="T6" fmla="*/ 2 w 6"/>
                    <a:gd name="T7" fmla="*/ 2 h 5"/>
                    <a:gd name="T8" fmla="*/ 6 w 6"/>
                    <a:gd name="T9" fmla="*/ 0 h 5"/>
                    <a:gd name="T10" fmla="*/ 6 w 6"/>
                    <a:gd name="T11" fmla="*/ 0 h 5"/>
                    <a:gd name="T12" fmla="*/ 6 w 6"/>
                    <a:gd name="T13" fmla="*/ 0 h 5"/>
                    <a:gd name="T14" fmla="*/ 2 w 6"/>
                    <a:gd name="T15" fmla="*/ 2 h 5"/>
                    <a:gd name="T16" fmla="*/ 2 w 6"/>
                    <a:gd name="T17" fmla="*/ 2 h 5"/>
                    <a:gd name="T18" fmla="*/ 0 w 6"/>
                    <a:gd name="T1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5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66" name="Freeform 418"/>
                <p:cNvSpPr>
                  <a:spLocks/>
                </p:cNvSpPr>
                <p:nvPr/>
              </p:nvSpPr>
              <p:spPr bwMode="auto">
                <a:xfrm>
                  <a:off x="4563096" y="2850208"/>
                  <a:ext cx="3957" cy="14839"/>
                </a:xfrm>
                <a:custGeom>
                  <a:avLst/>
                  <a:gdLst>
                    <a:gd name="T0" fmla="*/ 0 w 4"/>
                    <a:gd name="T1" fmla="*/ 15 h 15"/>
                    <a:gd name="T2" fmla="*/ 0 w 4"/>
                    <a:gd name="T3" fmla="*/ 15 h 15"/>
                    <a:gd name="T4" fmla="*/ 0 w 4"/>
                    <a:gd name="T5" fmla="*/ 12 h 15"/>
                    <a:gd name="T6" fmla="*/ 0 w 4"/>
                    <a:gd name="T7" fmla="*/ 12 h 15"/>
                    <a:gd name="T8" fmla="*/ 2 w 4"/>
                    <a:gd name="T9" fmla="*/ 8 h 15"/>
                    <a:gd name="T10" fmla="*/ 4 w 4"/>
                    <a:gd name="T11" fmla="*/ 5 h 15"/>
                    <a:gd name="T12" fmla="*/ 4 w 4"/>
                    <a:gd name="T13" fmla="*/ 0 h 15"/>
                    <a:gd name="T14" fmla="*/ 4 w 4"/>
                    <a:gd name="T15" fmla="*/ 0 h 15"/>
                    <a:gd name="T16" fmla="*/ 4 w 4"/>
                    <a:gd name="T17" fmla="*/ 5 h 15"/>
                    <a:gd name="T18" fmla="*/ 2 w 4"/>
                    <a:gd name="T19" fmla="*/ 8 h 15"/>
                    <a:gd name="T20" fmla="*/ 0 w 4"/>
                    <a:gd name="T21" fmla="*/ 12 h 15"/>
                    <a:gd name="T22" fmla="*/ 0 w 4"/>
                    <a:gd name="T23" fmla="*/ 12 h 15"/>
                    <a:gd name="T24" fmla="*/ 0 w 4"/>
                    <a:gd name="T25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" h="15">
                      <a:moveTo>
                        <a:pt x="0" y="15"/>
                      </a:move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2" y="8"/>
                      </a:lnTo>
                      <a:lnTo>
                        <a:pt x="4" y="5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5"/>
                      </a:lnTo>
                      <a:lnTo>
                        <a:pt x="2" y="8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67" name="Freeform 419"/>
                <p:cNvSpPr>
                  <a:spLocks/>
                </p:cNvSpPr>
                <p:nvPr/>
              </p:nvSpPr>
              <p:spPr bwMode="auto">
                <a:xfrm>
                  <a:off x="4564086" y="2884832"/>
                  <a:ext cx="5936" cy="27699"/>
                </a:xfrm>
                <a:custGeom>
                  <a:avLst/>
                  <a:gdLst>
                    <a:gd name="T0" fmla="*/ 0 w 6"/>
                    <a:gd name="T1" fmla="*/ 28 h 28"/>
                    <a:gd name="T2" fmla="*/ 0 w 6"/>
                    <a:gd name="T3" fmla="*/ 28 h 28"/>
                    <a:gd name="T4" fmla="*/ 3 w 6"/>
                    <a:gd name="T5" fmla="*/ 15 h 28"/>
                    <a:gd name="T6" fmla="*/ 4 w 6"/>
                    <a:gd name="T7" fmla="*/ 7 h 28"/>
                    <a:gd name="T8" fmla="*/ 6 w 6"/>
                    <a:gd name="T9" fmla="*/ 0 h 28"/>
                    <a:gd name="T10" fmla="*/ 6 w 6"/>
                    <a:gd name="T11" fmla="*/ 0 h 28"/>
                    <a:gd name="T12" fmla="*/ 4 w 6"/>
                    <a:gd name="T13" fmla="*/ 7 h 28"/>
                    <a:gd name="T14" fmla="*/ 3 w 6"/>
                    <a:gd name="T15" fmla="*/ 15 h 28"/>
                    <a:gd name="T16" fmla="*/ 0 w 6"/>
                    <a:gd name="T17" fmla="*/ 2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28">
                      <a:moveTo>
                        <a:pt x="0" y="28"/>
                      </a:moveTo>
                      <a:lnTo>
                        <a:pt x="0" y="28"/>
                      </a:lnTo>
                      <a:lnTo>
                        <a:pt x="3" y="15"/>
                      </a:lnTo>
                      <a:lnTo>
                        <a:pt x="4" y="7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4" y="7"/>
                      </a:lnTo>
                      <a:lnTo>
                        <a:pt x="3" y="15"/>
                      </a:lnTo>
                      <a:lnTo>
                        <a:pt x="0" y="2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68" name="Freeform 420"/>
                <p:cNvSpPr>
                  <a:spLocks/>
                </p:cNvSpPr>
                <p:nvPr/>
              </p:nvSpPr>
              <p:spPr bwMode="auto">
                <a:xfrm>
                  <a:off x="4538365" y="2694894"/>
                  <a:ext cx="64302" cy="129593"/>
                </a:xfrm>
                <a:custGeom>
                  <a:avLst/>
                  <a:gdLst>
                    <a:gd name="T0" fmla="*/ 20 w 65"/>
                    <a:gd name="T1" fmla="*/ 131 h 131"/>
                    <a:gd name="T2" fmla="*/ 13 w 65"/>
                    <a:gd name="T3" fmla="*/ 121 h 131"/>
                    <a:gd name="T4" fmla="*/ 9 w 65"/>
                    <a:gd name="T5" fmla="*/ 99 h 131"/>
                    <a:gd name="T6" fmla="*/ 4 w 65"/>
                    <a:gd name="T7" fmla="*/ 84 h 131"/>
                    <a:gd name="T8" fmla="*/ 1 w 65"/>
                    <a:gd name="T9" fmla="*/ 75 h 131"/>
                    <a:gd name="T10" fmla="*/ 0 w 65"/>
                    <a:gd name="T11" fmla="*/ 65 h 131"/>
                    <a:gd name="T12" fmla="*/ 1 w 65"/>
                    <a:gd name="T13" fmla="*/ 59 h 131"/>
                    <a:gd name="T14" fmla="*/ 10 w 65"/>
                    <a:gd name="T15" fmla="*/ 37 h 131"/>
                    <a:gd name="T16" fmla="*/ 12 w 65"/>
                    <a:gd name="T17" fmla="*/ 31 h 131"/>
                    <a:gd name="T18" fmla="*/ 12 w 65"/>
                    <a:gd name="T19" fmla="*/ 31 h 131"/>
                    <a:gd name="T20" fmla="*/ 12 w 65"/>
                    <a:gd name="T21" fmla="*/ 17 h 131"/>
                    <a:gd name="T22" fmla="*/ 12 w 65"/>
                    <a:gd name="T23" fmla="*/ 7 h 131"/>
                    <a:gd name="T24" fmla="*/ 16 w 65"/>
                    <a:gd name="T25" fmla="*/ 7 h 131"/>
                    <a:gd name="T26" fmla="*/ 23 w 65"/>
                    <a:gd name="T27" fmla="*/ 2 h 131"/>
                    <a:gd name="T28" fmla="*/ 33 w 65"/>
                    <a:gd name="T29" fmla="*/ 0 h 131"/>
                    <a:gd name="T30" fmla="*/ 33 w 65"/>
                    <a:gd name="T31" fmla="*/ 0 h 131"/>
                    <a:gd name="T32" fmla="*/ 35 w 65"/>
                    <a:gd name="T33" fmla="*/ 0 h 131"/>
                    <a:gd name="T34" fmla="*/ 41 w 65"/>
                    <a:gd name="T35" fmla="*/ 5 h 131"/>
                    <a:gd name="T36" fmla="*/ 48 w 65"/>
                    <a:gd name="T37" fmla="*/ 8 h 131"/>
                    <a:gd name="T38" fmla="*/ 46 w 65"/>
                    <a:gd name="T39" fmla="*/ 10 h 131"/>
                    <a:gd name="T40" fmla="*/ 45 w 65"/>
                    <a:gd name="T41" fmla="*/ 14 h 131"/>
                    <a:gd name="T42" fmla="*/ 43 w 65"/>
                    <a:gd name="T43" fmla="*/ 23 h 131"/>
                    <a:gd name="T44" fmla="*/ 45 w 65"/>
                    <a:gd name="T45" fmla="*/ 28 h 131"/>
                    <a:gd name="T46" fmla="*/ 45 w 65"/>
                    <a:gd name="T47" fmla="*/ 31 h 131"/>
                    <a:gd name="T48" fmla="*/ 46 w 65"/>
                    <a:gd name="T49" fmla="*/ 34 h 131"/>
                    <a:gd name="T50" fmla="*/ 48 w 65"/>
                    <a:gd name="T51" fmla="*/ 37 h 131"/>
                    <a:gd name="T52" fmla="*/ 46 w 65"/>
                    <a:gd name="T53" fmla="*/ 44 h 131"/>
                    <a:gd name="T54" fmla="*/ 43 w 65"/>
                    <a:gd name="T55" fmla="*/ 49 h 131"/>
                    <a:gd name="T56" fmla="*/ 38 w 65"/>
                    <a:gd name="T57" fmla="*/ 56 h 131"/>
                    <a:gd name="T58" fmla="*/ 36 w 65"/>
                    <a:gd name="T59" fmla="*/ 60 h 131"/>
                    <a:gd name="T60" fmla="*/ 36 w 65"/>
                    <a:gd name="T61" fmla="*/ 65 h 131"/>
                    <a:gd name="T62" fmla="*/ 36 w 65"/>
                    <a:gd name="T63" fmla="*/ 69 h 131"/>
                    <a:gd name="T64" fmla="*/ 39 w 65"/>
                    <a:gd name="T65" fmla="*/ 72 h 131"/>
                    <a:gd name="T66" fmla="*/ 48 w 65"/>
                    <a:gd name="T67" fmla="*/ 73 h 131"/>
                    <a:gd name="T68" fmla="*/ 49 w 65"/>
                    <a:gd name="T69" fmla="*/ 73 h 131"/>
                    <a:gd name="T70" fmla="*/ 51 w 65"/>
                    <a:gd name="T71" fmla="*/ 73 h 131"/>
                    <a:gd name="T72" fmla="*/ 49 w 65"/>
                    <a:gd name="T73" fmla="*/ 76 h 131"/>
                    <a:gd name="T74" fmla="*/ 49 w 65"/>
                    <a:gd name="T75" fmla="*/ 79 h 131"/>
                    <a:gd name="T76" fmla="*/ 51 w 65"/>
                    <a:gd name="T77" fmla="*/ 82 h 131"/>
                    <a:gd name="T78" fmla="*/ 52 w 65"/>
                    <a:gd name="T79" fmla="*/ 84 h 131"/>
                    <a:gd name="T80" fmla="*/ 54 w 65"/>
                    <a:gd name="T81" fmla="*/ 84 h 131"/>
                    <a:gd name="T82" fmla="*/ 56 w 65"/>
                    <a:gd name="T83" fmla="*/ 82 h 131"/>
                    <a:gd name="T84" fmla="*/ 61 w 65"/>
                    <a:gd name="T85" fmla="*/ 81 h 131"/>
                    <a:gd name="T86" fmla="*/ 64 w 65"/>
                    <a:gd name="T87" fmla="*/ 82 h 131"/>
                    <a:gd name="T88" fmla="*/ 65 w 65"/>
                    <a:gd name="T89" fmla="*/ 84 h 131"/>
                    <a:gd name="T90" fmla="*/ 64 w 65"/>
                    <a:gd name="T91" fmla="*/ 89 h 131"/>
                    <a:gd name="T92" fmla="*/ 58 w 65"/>
                    <a:gd name="T93" fmla="*/ 97 h 131"/>
                    <a:gd name="T94" fmla="*/ 54 w 65"/>
                    <a:gd name="T95" fmla="*/ 98 h 131"/>
                    <a:gd name="T96" fmla="*/ 45 w 65"/>
                    <a:gd name="T97" fmla="*/ 107 h 131"/>
                    <a:gd name="T98" fmla="*/ 39 w 65"/>
                    <a:gd name="T99" fmla="*/ 118 h 131"/>
                    <a:gd name="T100" fmla="*/ 39 w 65"/>
                    <a:gd name="T101" fmla="*/ 118 h 131"/>
                    <a:gd name="T102" fmla="*/ 32 w 65"/>
                    <a:gd name="T103" fmla="*/ 126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65" h="131">
                      <a:moveTo>
                        <a:pt x="20" y="131"/>
                      </a:moveTo>
                      <a:lnTo>
                        <a:pt x="20" y="131"/>
                      </a:lnTo>
                      <a:lnTo>
                        <a:pt x="16" y="126"/>
                      </a:lnTo>
                      <a:lnTo>
                        <a:pt x="13" y="121"/>
                      </a:lnTo>
                      <a:lnTo>
                        <a:pt x="13" y="121"/>
                      </a:lnTo>
                      <a:lnTo>
                        <a:pt x="9" y="99"/>
                      </a:lnTo>
                      <a:lnTo>
                        <a:pt x="7" y="89"/>
                      </a:lnTo>
                      <a:lnTo>
                        <a:pt x="4" y="84"/>
                      </a:lnTo>
                      <a:lnTo>
                        <a:pt x="4" y="84"/>
                      </a:lnTo>
                      <a:lnTo>
                        <a:pt x="1" y="75"/>
                      </a:lnTo>
                      <a:lnTo>
                        <a:pt x="0" y="65"/>
                      </a:lnTo>
                      <a:lnTo>
                        <a:pt x="0" y="65"/>
                      </a:lnTo>
                      <a:lnTo>
                        <a:pt x="1" y="59"/>
                      </a:lnTo>
                      <a:lnTo>
                        <a:pt x="1" y="59"/>
                      </a:lnTo>
                      <a:lnTo>
                        <a:pt x="7" y="46"/>
                      </a:lnTo>
                      <a:lnTo>
                        <a:pt x="10" y="37"/>
                      </a:lnTo>
                      <a:lnTo>
                        <a:pt x="12" y="31"/>
                      </a:lnTo>
                      <a:lnTo>
                        <a:pt x="12" y="31"/>
                      </a:lnTo>
                      <a:lnTo>
                        <a:pt x="12" y="31"/>
                      </a:lnTo>
                      <a:lnTo>
                        <a:pt x="12" y="31"/>
                      </a:lnTo>
                      <a:lnTo>
                        <a:pt x="12" y="17"/>
                      </a:lnTo>
                      <a:lnTo>
                        <a:pt x="12" y="17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6" y="7"/>
                      </a:lnTo>
                      <a:lnTo>
                        <a:pt x="16" y="7"/>
                      </a:lnTo>
                      <a:lnTo>
                        <a:pt x="23" y="2"/>
                      </a:lnTo>
                      <a:lnTo>
                        <a:pt x="23" y="2"/>
                      </a:lnTo>
                      <a:lnTo>
                        <a:pt x="29" y="0"/>
                      </a:lnTo>
                      <a:lnTo>
                        <a:pt x="33" y="0"/>
                      </a:lnTo>
                      <a:lnTo>
                        <a:pt x="33" y="0"/>
                      </a:lnTo>
                      <a:lnTo>
                        <a:pt x="33" y="0"/>
                      </a:lnTo>
                      <a:lnTo>
                        <a:pt x="35" y="0"/>
                      </a:lnTo>
                      <a:lnTo>
                        <a:pt x="35" y="0"/>
                      </a:lnTo>
                      <a:lnTo>
                        <a:pt x="41" y="5"/>
                      </a:lnTo>
                      <a:lnTo>
                        <a:pt x="41" y="5"/>
                      </a:lnTo>
                      <a:lnTo>
                        <a:pt x="43" y="7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6" y="10"/>
                      </a:lnTo>
                      <a:lnTo>
                        <a:pt x="46" y="10"/>
                      </a:lnTo>
                      <a:lnTo>
                        <a:pt x="45" y="14"/>
                      </a:lnTo>
                      <a:lnTo>
                        <a:pt x="45" y="14"/>
                      </a:lnTo>
                      <a:lnTo>
                        <a:pt x="43" y="23"/>
                      </a:lnTo>
                      <a:lnTo>
                        <a:pt x="43" y="23"/>
                      </a:lnTo>
                      <a:lnTo>
                        <a:pt x="45" y="28"/>
                      </a:lnTo>
                      <a:lnTo>
                        <a:pt x="45" y="28"/>
                      </a:lnTo>
                      <a:lnTo>
                        <a:pt x="45" y="31"/>
                      </a:lnTo>
                      <a:lnTo>
                        <a:pt x="46" y="34"/>
                      </a:lnTo>
                      <a:lnTo>
                        <a:pt x="46" y="34"/>
                      </a:lnTo>
                      <a:lnTo>
                        <a:pt x="46" y="34"/>
                      </a:lnTo>
                      <a:lnTo>
                        <a:pt x="48" y="37"/>
                      </a:lnTo>
                      <a:lnTo>
                        <a:pt x="48" y="37"/>
                      </a:lnTo>
                      <a:lnTo>
                        <a:pt x="46" y="44"/>
                      </a:lnTo>
                      <a:lnTo>
                        <a:pt x="46" y="44"/>
                      </a:lnTo>
                      <a:lnTo>
                        <a:pt x="43" y="49"/>
                      </a:lnTo>
                      <a:lnTo>
                        <a:pt x="43" y="49"/>
                      </a:lnTo>
                      <a:lnTo>
                        <a:pt x="38" y="56"/>
                      </a:lnTo>
                      <a:lnTo>
                        <a:pt x="38" y="56"/>
                      </a:lnTo>
                      <a:lnTo>
                        <a:pt x="36" y="60"/>
                      </a:lnTo>
                      <a:lnTo>
                        <a:pt x="36" y="65"/>
                      </a:lnTo>
                      <a:lnTo>
                        <a:pt x="36" y="65"/>
                      </a:lnTo>
                      <a:lnTo>
                        <a:pt x="36" y="69"/>
                      </a:lnTo>
                      <a:lnTo>
                        <a:pt x="36" y="69"/>
                      </a:lnTo>
                      <a:lnTo>
                        <a:pt x="39" y="72"/>
                      </a:lnTo>
                      <a:lnTo>
                        <a:pt x="39" y="72"/>
                      </a:lnTo>
                      <a:lnTo>
                        <a:pt x="43" y="73"/>
                      </a:lnTo>
                      <a:lnTo>
                        <a:pt x="48" y="73"/>
                      </a:lnTo>
                      <a:lnTo>
                        <a:pt x="48" y="73"/>
                      </a:lnTo>
                      <a:lnTo>
                        <a:pt x="49" y="73"/>
                      </a:lnTo>
                      <a:lnTo>
                        <a:pt x="49" y="73"/>
                      </a:lnTo>
                      <a:lnTo>
                        <a:pt x="51" y="73"/>
                      </a:lnTo>
                      <a:lnTo>
                        <a:pt x="51" y="73"/>
                      </a:lnTo>
                      <a:lnTo>
                        <a:pt x="49" y="76"/>
                      </a:lnTo>
                      <a:lnTo>
                        <a:pt x="49" y="76"/>
                      </a:lnTo>
                      <a:lnTo>
                        <a:pt x="49" y="79"/>
                      </a:lnTo>
                      <a:lnTo>
                        <a:pt x="49" y="79"/>
                      </a:lnTo>
                      <a:lnTo>
                        <a:pt x="51" y="82"/>
                      </a:lnTo>
                      <a:lnTo>
                        <a:pt x="51" y="82"/>
                      </a:lnTo>
                      <a:lnTo>
                        <a:pt x="52" y="84"/>
                      </a:lnTo>
                      <a:lnTo>
                        <a:pt x="52" y="84"/>
                      </a:lnTo>
                      <a:lnTo>
                        <a:pt x="54" y="84"/>
                      </a:lnTo>
                      <a:lnTo>
                        <a:pt x="54" y="84"/>
                      </a:lnTo>
                      <a:lnTo>
                        <a:pt x="56" y="82"/>
                      </a:lnTo>
                      <a:lnTo>
                        <a:pt x="56" y="82"/>
                      </a:lnTo>
                      <a:lnTo>
                        <a:pt x="61" y="81"/>
                      </a:lnTo>
                      <a:lnTo>
                        <a:pt x="61" y="81"/>
                      </a:lnTo>
                      <a:lnTo>
                        <a:pt x="64" y="82"/>
                      </a:lnTo>
                      <a:lnTo>
                        <a:pt x="64" y="82"/>
                      </a:lnTo>
                      <a:lnTo>
                        <a:pt x="65" y="84"/>
                      </a:lnTo>
                      <a:lnTo>
                        <a:pt x="65" y="84"/>
                      </a:lnTo>
                      <a:lnTo>
                        <a:pt x="64" y="89"/>
                      </a:lnTo>
                      <a:lnTo>
                        <a:pt x="61" y="94"/>
                      </a:lnTo>
                      <a:lnTo>
                        <a:pt x="58" y="97"/>
                      </a:lnTo>
                      <a:lnTo>
                        <a:pt x="54" y="98"/>
                      </a:lnTo>
                      <a:lnTo>
                        <a:pt x="54" y="98"/>
                      </a:lnTo>
                      <a:lnTo>
                        <a:pt x="48" y="101"/>
                      </a:lnTo>
                      <a:lnTo>
                        <a:pt x="45" y="107"/>
                      </a:lnTo>
                      <a:lnTo>
                        <a:pt x="39" y="118"/>
                      </a:lnTo>
                      <a:lnTo>
                        <a:pt x="39" y="118"/>
                      </a:lnTo>
                      <a:lnTo>
                        <a:pt x="39" y="118"/>
                      </a:lnTo>
                      <a:lnTo>
                        <a:pt x="39" y="118"/>
                      </a:lnTo>
                      <a:lnTo>
                        <a:pt x="36" y="123"/>
                      </a:lnTo>
                      <a:lnTo>
                        <a:pt x="32" y="126"/>
                      </a:lnTo>
                      <a:lnTo>
                        <a:pt x="20" y="13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69" name="Freeform 421"/>
                <p:cNvSpPr>
                  <a:spLocks/>
                </p:cNvSpPr>
                <p:nvPr/>
              </p:nvSpPr>
              <p:spPr bwMode="auto">
                <a:xfrm>
                  <a:off x="4538365" y="2694894"/>
                  <a:ext cx="64302" cy="129593"/>
                </a:xfrm>
                <a:custGeom>
                  <a:avLst/>
                  <a:gdLst>
                    <a:gd name="T0" fmla="*/ 20 w 65"/>
                    <a:gd name="T1" fmla="*/ 131 h 131"/>
                    <a:gd name="T2" fmla="*/ 13 w 65"/>
                    <a:gd name="T3" fmla="*/ 121 h 131"/>
                    <a:gd name="T4" fmla="*/ 9 w 65"/>
                    <a:gd name="T5" fmla="*/ 99 h 131"/>
                    <a:gd name="T6" fmla="*/ 4 w 65"/>
                    <a:gd name="T7" fmla="*/ 84 h 131"/>
                    <a:gd name="T8" fmla="*/ 1 w 65"/>
                    <a:gd name="T9" fmla="*/ 75 h 131"/>
                    <a:gd name="T10" fmla="*/ 0 w 65"/>
                    <a:gd name="T11" fmla="*/ 65 h 131"/>
                    <a:gd name="T12" fmla="*/ 1 w 65"/>
                    <a:gd name="T13" fmla="*/ 59 h 131"/>
                    <a:gd name="T14" fmla="*/ 10 w 65"/>
                    <a:gd name="T15" fmla="*/ 37 h 131"/>
                    <a:gd name="T16" fmla="*/ 12 w 65"/>
                    <a:gd name="T17" fmla="*/ 31 h 131"/>
                    <a:gd name="T18" fmla="*/ 12 w 65"/>
                    <a:gd name="T19" fmla="*/ 31 h 131"/>
                    <a:gd name="T20" fmla="*/ 12 w 65"/>
                    <a:gd name="T21" fmla="*/ 17 h 131"/>
                    <a:gd name="T22" fmla="*/ 12 w 65"/>
                    <a:gd name="T23" fmla="*/ 7 h 131"/>
                    <a:gd name="T24" fmla="*/ 16 w 65"/>
                    <a:gd name="T25" fmla="*/ 7 h 131"/>
                    <a:gd name="T26" fmla="*/ 23 w 65"/>
                    <a:gd name="T27" fmla="*/ 2 h 131"/>
                    <a:gd name="T28" fmla="*/ 33 w 65"/>
                    <a:gd name="T29" fmla="*/ 0 h 131"/>
                    <a:gd name="T30" fmla="*/ 33 w 65"/>
                    <a:gd name="T31" fmla="*/ 0 h 131"/>
                    <a:gd name="T32" fmla="*/ 35 w 65"/>
                    <a:gd name="T33" fmla="*/ 0 h 131"/>
                    <a:gd name="T34" fmla="*/ 41 w 65"/>
                    <a:gd name="T35" fmla="*/ 5 h 131"/>
                    <a:gd name="T36" fmla="*/ 48 w 65"/>
                    <a:gd name="T37" fmla="*/ 8 h 131"/>
                    <a:gd name="T38" fmla="*/ 46 w 65"/>
                    <a:gd name="T39" fmla="*/ 10 h 131"/>
                    <a:gd name="T40" fmla="*/ 45 w 65"/>
                    <a:gd name="T41" fmla="*/ 14 h 131"/>
                    <a:gd name="T42" fmla="*/ 43 w 65"/>
                    <a:gd name="T43" fmla="*/ 23 h 131"/>
                    <a:gd name="T44" fmla="*/ 45 w 65"/>
                    <a:gd name="T45" fmla="*/ 28 h 131"/>
                    <a:gd name="T46" fmla="*/ 45 w 65"/>
                    <a:gd name="T47" fmla="*/ 31 h 131"/>
                    <a:gd name="T48" fmla="*/ 46 w 65"/>
                    <a:gd name="T49" fmla="*/ 34 h 131"/>
                    <a:gd name="T50" fmla="*/ 48 w 65"/>
                    <a:gd name="T51" fmla="*/ 37 h 131"/>
                    <a:gd name="T52" fmla="*/ 46 w 65"/>
                    <a:gd name="T53" fmla="*/ 44 h 131"/>
                    <a:gd name="T54" fmla="*/ 43 w 65"/>
                    <a:gd name="T55" fmla="*/ 49 h 131"/>
                    <a:gd name="T56" fmla="*/ 38 w 65"/>
                    <a:gd name="T57" fmla="*/ 56 h 131"/>
                    <a:gd name="T58" fmla="*/ 36 w 65"/>
                    <a:gd name="T59" fmla="*/ 60 h 131"/>
                    <a:gd name="T60" fmla="*/ 36 w 65"/>
                    <a:gd name="T61" fmla="*/ 65 h 131"/>
                    <a:gd name="T62" fmla="*/ 36 w 65"/>
                    <a:gd name="T63" fmla="*/ 69 h 131"/>
                    <a:gd name="T64" fmla="*/ 39 w 65"/>
                    <a:gd name="T65" fmla="*/ 72 h 131"/>
                    <a:gd name="T66" fmla="*/ 48 w 65"/>
                    <a:gd name="T67" fmla="*/ 73 h 131"/>
                    <a:gd name="T68" fmla="*/ 49 w 65"/>
                    <a:gd name="T69" fmla="*/ 73 h 131"/>
                    <a:gd name="T70" fmla="*/ 51 w 65"/>
                    <a:gd name="T71" fmla="*/ 73 h 131"/>
                    <a:gd name="T72" fmla="*/ 49 w 65"/>
                    <a:gd name="T73" fmla="*/ 76 h 131"/>
                    <a:gd name="T74" fmla="*/ 49 w 65"/>
                    <a:gd name="T75" fmla="*/ 79 h 131"/>
                    <a:gd name="T76" fmla="*/ 51 w 65"/>
                    <a:gd name="T77" fmla="*/ 82 h 131"/>
                    <a:gd name="T78" fmla="*/ 52 w 65"/>
                    <a:gd name="T79" fmla="*/ 84 h 131"/>
                    <a:gd name="T80" fmla="*/ 54 w 65"/>
                    <a:gd name="T81" fmla="*/ 84 h 131"/>
                    <a:gd name="T82" fmla="*/ 56 w 65"/>
                    <a:gd name="T83" fmla="*/ 82 h 131"/>
                    <a:gd name="T84" fmla="*/ 61 w 65"/>
                    <a:gd name="T85" fmla="*/ 81 h 131"/>
                    <a:gd name="T86" fmla="*/ 64 w 65"/>
                    <a:gd name="T87" fmla="*/ 82 h 131"/>
                    <a:gd name="T88" fmla="*/ 65 w 65"/>
                    <a:gd name="T89" fmla="*/ 84 h 131"/>
                    <a:gd name="T90" fmla="*/ 64 w 65"/>
                    <a:gd name="T91" fmla="*/ 89 h 131"/>
                    <a:gd name="T92" fmla="*/ 58 w 65"/>
                    <a:gd name="T93" fmla="*/ 97 h 131"/>
                    <a:gd name="T94" fmla="*/ 54 w 65"/>
                    <a:gd name="T95" fmla="*/ 98 h 131"/>
                    <a:gd name="T96" fmla="*/ 45 w 65"/>
                    <a:gd name="T97" fmla="*/ 107 h 131"/>
                    <a:gd name="T98" fmla="*/ 39 w 65"/>
                    <a:gd name="T99" fmla="*/ 118 h 131"/>
                    <a:gd name="T100" fmla="*/ 39 w 65"/>
                    <a:gd name="T101" fmla="*/ 118 h 131"/>
                    <a:gd name="T102" fmla="*/ 32 w 65"/>
                    <a:gd name="T103" fmla="*/ 126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65" h="131">
                      <a:moveTo>
                        <a:pt x="20" y="131"/>
                      </a:moveTo>
                      <a:lnTo>
                        <a:pt x="20" y="131"/>
                      </a:lnTo>
                      <a:lnTo>
                        <a:pt x="16" y="126"/>
                      </a:lnTo>
                      <a:lnTo>
                        <a:pt x="13" y="121"/>
                      </a:lnTo>
                      <a:lnTo>
                        <a:pt x="13" y="121"/>
                      </a:lnTo>
                      <a:lnTo>
                        <a:pt x="9" y="99"/>
                      </a:lnTo>
                      <a:lnTo>
                        <a:pt x="7" y="89"/>
                      </a:lnTo>
                      <a:lnTo>
                        <a:pt x="4" y="84"/>
                      </a:lnTo>
                      <a:lnTo>
                        <a:pt x="4" y="84"/>
                      </a:lnTo>
                      <a:lnTo>
                        <a:pt x="1" y="75"/>
                      </a:lnTo>
                      <a:lnTo>
                        <a:pt x="0" y="65"/>
                      </a:lnTo>
                      <a:lnTo>
                        <a:pt x="0" y="65"/>
                      </a:lnTo>
                      <a:lnTo>
                        <a:pt x="1" y="59"/>
                      </a:lnTo>
                      <a:lnTo>
                        <a:pt x="1" y="59"/>
                      </a:lnTo>
                      <a:lnTo>
                        <a:pt x="7" y="46"/>
                      </a:lnTo>
                      <a:lnTo>
                        <a:pt x="10" y="37"/>
                      </a:lnTo>
                      <a:lnTo>
                        <a:pt x="12" y="31"/>
                      </a:lnTo>
                      <a:lnTo>
                        <a:pt x="12" y="31"/>
                      </a:lnTo>
                      <a:lnTo>
                        <a:pt x="12" y="31"/>
                      </a:lnTo>
                      <a:lnTo>
                        <a:pt x="12" y="31"/>
                      </a:lnTo>
                      <a:lnTo>
                        <a:pt x="12" y="17"/>
                      </a:lnTo>
                      <a:lnTo>
                        <a:pt x="12" y="17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6" y="7"/>
                      </a:lnTo>
                      <a:lnTo>
                        <a:pt x="16" y="7"/>
                      </a:lnTo>
                      <a:lnTo>
                        <a:pt x="23" y="2"/>
                      </a:lnTo>
                      <a:lnTo>
                        <a:pt x="23" y="2"/>
                      </a:lnTo>
                      <a:lnTo>
                        <a:pt x="29" y="0"/>
                      </a:lnTo>
                      <a:lnTo>
                        <a:pt x="33" y="0"/>
                      </a:lnTo>
                      <a:lnTo>
                        <a:pt x="33" y="0"/>
                      </a:lnTo>
                      <a:lnTo>
                        <a:pt x="33" y="0"/>
                      </a:lnTo>
                      <a:lnTo>
                        <a:pt x="35" y="0"/>
                      </a:lnTo>
                      <a:lnTo>
                        <a:pt x="35" y="0"/>
                      </a:lnTo>
                      <a:lnTo>
                        <a:pt x="41" y="5"/>
                      </a:lnTo>
                      <a:lnTo>
                        <a:pt x="41" y="5"/>
                      </a:lnTo>
                      <a:lnTo>
                        <a:pt x="43" y="7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6" y="10"/>
                      </a:lnTo>
                      <a:lnTo>
                        <a:pt x="46" y="10"/>
                      </a:lnTo>
                      <a:lnTo>
                        <a:pt x="45" y="14"/>
                      </a:lnTo>
                      <a:lnTo>
                        <a:pt x="45" y="14"/>
                      </a:lnTo>
                      <a:lnTo>
                        <a:pt x="43" y="23"/>
                      </a:lnTo>
                      <a:lnTo>
                        <a:pt x="43" y="23"/>
                      </a:lnTo>
                      <a:lnTo>
                        <a:pt x="45" y="28"/>
                      </a:lnTo>
                      <a:lnTo>
                        <a:pt x="45" y="28"/>
                      </a:lnTo>
                      <a:lnTo>
                        <a:pt x="45" y="31"/>
                      </a:lnTo>
                      <a:lnTo>
                        <a:pt x="46" y="34"/>
                      </a:lnTo>
                      <a:lnTo>
                        <a:pt x="46" y="34"/>
                      </a:lnTo>
                      <a:lnTo>
                        <a:pt x="46" y="34"/>
                      </a:lnTo>
                      <a:lnTo>
                        <a:pt x="48" y="37"/>
                      </a:lnTo>
                      <a:lnTo>
                        <a:pt x="48" y="37"/>
                      </a:lnTo>
                      <a:lnTo>
                        <a:pt x="46" y="44"/>
                      </a:lnTo>
                      <a:lnTo>
                        <a:pt x="46" y="44"/>
                      </a:lnTo>
                      <a:lnTo>
                        <a:pt x="43" y="49"/>
                      </a:lnTo>
                      <a:lnTo>
                        <a:pt x="43" y="49"/>
                      </a:lnTo>
                      <a:lnTo>
                        <a:pt x="38" y="56"/>
                      </a:lnTo>
                      <a:lnTo>
                        <a:pt x="38" y="56"/>
                      </a:lnTo>
                      <a:lnTo>
                        <a:pt x="36" y="60"/>
                      </a:lnTo>
                      <a:lnTo>
                        <a:pt x="36" y="65"/>
                      </a:lnTo>
                      <a:lnTo>
                        <a:pt x="36" y="65"/>
                      </a:lnTo>
                      <a:lnTo>
                        <a:pt x="36" y="69"/>
                      </a:lnTo>
                      <a:lnTo>
                        <a:pt x="36" y="69"/>
                      </a:lnTo>
                      <a:lnTo>
                        <a:pt x="39" y="72"/>
                      </a:lnTo>
                      <a:lnTo>
                        <a:pt x="39" y="72"/>
                      </a:lnTo>
                      <a:lnTo>
                        <a:pt x="43" y="73"/>
                      </a:lnTo>
                      <a:lnTo>
                        <a:pt x="48" y="73"/>
                      </a:lnTo>
                      <a:lnTo>
                        <a:pt x="48" y="73"/>
                      </a:lnTo>
                      <a:lnTo>
                        <a:pt x="49" y="73"/>
                      </a:lnTo>
                      <a:lnTo>
                        <a:pt x="49" y="73"/>
                      </a:lnTo>
                      <a:lnTo>
                        <a:pt x="51" y="73"/>
                      </a:lnTo>
                      <a:lnTo>
                        <a:pt x="51" y="73"/>
                      </a:lnTo>
                      <a:lnTo>
                        <a:pt x="49" y="76"/>
                      </a:lnTo>
                      <a:lnTo>
                        <a:pt x="49" y="76"/>
                      </a:lnTo>
                      <a:lnTo>
                        <a:pt x="49" y="79"/>
                      </a:lnTo>
                      <a:lnTo>
                        <a:pt x="49" y="79"/>
                      </a:lnTo>
                      <a:lnTo>
                        <a:pt x="51" y="82"/>
                      </a:lnTo>
                      <a:lnTo>
                        <a:pt x="51" y="82"/>
                      </a:lnTo>
                      <a:lnTo>
                        <a:pt x="52" y="84"/>
                      </a:lnTo>
                      <a:lnTo>
                        <a:pt x="52" y="84"/>
                      </a:lnTo>
                      <a:lnTo>
                        <a:pt x="54" y="84"/>
                      </a:lnTo>
                      <a:lnTo>
                        <a:pt x="54" y="84"/>
                      </a:lnTo>
                      <a:lnTo>
                        <a:pt x="56" y="82"/>
                      </a:lnTo>
                      <a:lnTo>
                        <a:pt x="56" y="82"/>
                      </a:lnTo>
                      <a:lnTo>
                        <a:pt x="61" y="81"/>
                      </a:lnTo>
                      <a:lnTo>
                        <a:pt x="61" y="81"/>
                      </a:lnTo>
                      <a:lnTo>
                        <a:pt x="64" y="82"/>
                      </a:lnTo>
                      <a:lnTo>
                        <a:pt x="64" y="82"/>
                      </a:lnTo>
                      <a:lnTo>
                        <a:pt x="65" y="84"/>
                      </a:lnTo>
                      <a:lnTo>
                        <a:pt x="65" y="84"/>
                      </a:lnTo>
                      <a:lnTo>
                        <a:pt x="64" y="89"/>
                      </a:lnTo>
                      <a:lnTo>
                        <a:pt x="61" y="94"/>
                      </a:lnTo>
                      <a:lnTo>
                        <a:pt x="58" y="97"/>
                      </a:lnTo>
                      <a:lnTo>
                        <a:pt x="54" y="98"/>
                      </a:lnTo>
                      <a:lnTo>
                        <a:pt x="54" y="98"/>
                      </a:lnTo>
                      <a:lnTo>
                        <a:pt x="48" y="101"/>
                      </a:lnTo>
                      <a:lnTo>
                        <a:pt x="45" y="107"/>
                      </a:lnTo>
                      <a:lnTo>
                        <a:pt x="39" y="118"/>
                      </a:lnTo>
                      <a:lnTo>
                        <a:pt x="39" y="118"/>
                      </a:lnTo>
                      <a:lnTo>
                        <a:pt x="39" y="118"/>
                      </a:lnTo>
                      <a:lnTo>
                        <a:pt x="39" y="118"/>
                      </a:lnTo>
                      <a:lnTo>
                        <a:pt x="36" y="123"/>
                      </a:lnTo>
                      <a:lnTo>
                        <a:pt x="32" y="126"/>
                      </a:lnTo>
                      <a:lnTo>
                        <a:pt x="20" y="13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70" name="Freeform 422"/>
                <p:cNvSpPr>
                  <a:spLocks noEditPoints="1"/>
                </p:cNvSpPr>
                <p:nvPr/>
              </p:nvSpPr>
              <p:spPr bwMode="auto">
                <a:xfrm>
                  <a:off x="4558150" y="2777992"/>
                  <a:ext cx="44517" cy="46495"/>
                </a:xfrm>
                <a:custGeom>
                  <a:avLst/>
                  <a:gdLst>
                    <a:gd name="T0" fmla="*/ 19 w 45"/>
                    <a:gd name="T1" fmla="*/ 34 h 47"/>
                    <a:gd name="T2" fmla="*/ 19 w 45"/>
                    <a:gd name="T3" fmla="*/ 34 h 47"/>
                    <a:gd name="T4" fmla="*/ 19 w 45"/>
                    <a:gd name="T5" fmla="*/ 34 h 47"/>
                    <a:gd name="T6" fmla="*/ 19 w 45"/>
                    <a:gd name="T7" fmla="*/ 34 h 47"/>
                    <a:gd name="T8" fmla="*/ 25 w 45"/>
                    <a:gd name="T9" fmla="*/ 23 h 47"/>
                    <a:gd name="T10" fmla="*/ 28 w 45"/>
                    <a:gd name="T11" fmla="*/ 17 h 47"/>
                    <a:gd name="T12" fmla="*/ 34 w 45"/>
                    <a:gd name="T13" fmla="*/ 14 h 47"/>
                    <a:gd name="T14" fmla="*/ 34 w 45"/>
                    <a:gd name="T15" fmla="*/ 14 h 47"/>
                    <a:gd name="T16" fmla="*/ 38 w 45"/>
                    <a:gd name="T17" fmla="*/ 13 h 47"/>
                    <a:gd name="T18" fmla="*/ 41 w 45"/>
                    <a:gd name="T19" fmla="*/ 10 h 47"/>
                    <a:gd name="T20" fmla="*/ 44 w 45"/>
                    <a:gd name="T21" fmla="*/ 5 h 47"/>
                    <a:gd name="T22" fmla="*/ 45 w 45"/>
                    <a:gd name="T23" fmla="*/ 0 h 47"/>
                    <a:gd name="T24" fmla="*/ 45 w 45"/>
                    <a:gd name="T25" fmla="*/ 0 h 47"/>
                    <a:gd name="T26" fmla="*/ 44 w 45"/>
                    <a:gd name="T27" fmla="*/ 5 h 47"/>
                    <a:gd name="T28" fmla="*/ 41 w 45"/>
                    <a:gd name="T29" fmla="*/ 10 h 47"/>
                    <a:gd name="T30" fmla="*/ 38 w 45"/>
                    <a:gd name="T31" fmla="*/ 13 h 47"/>
                    <a:gd name="T32" fmla="*/ 34 w 45"/>
                    <a:gd name="T33" fmla="*/ 14 h 47"/>
                    <a:gd name="T34" fmla="*/ 34 w 45"/>
                    <a:gd name="T35" fmla="*/ 14 h 47"/>
                    <a:gd name="T36" fmla="*/ 28 w 45"/>
                    <a:gd name="T37" fmla="*/ 17 h 47"/>
                    <a:gd name="T38" fmla="*/ 25 w 45"/>
                    <a:gd name="T39" fmla="*/ 23 h 47"/>
                    <a:gd name="T40" fmla="*/ 19 w 45"/>
                    <a:gd name="T41" fmla="*/ 34 h 47"/>
                    <a:gd name="T42" fmla="*/ 19 w 45"/>
                    <a:gd name="T43" fmla="*/ 34 h 47"/>
                    <a:gd name="T44" fmla="*/ 19 w 45"/>
                    <a:gd name="T45" fmla="*/ 34 h 47"/>
                    <a:gd name="T46" fmla="*/ 0 w 45"/>
                    <a:gd name="T47" fmla="*/ 47 h 47"/>
                    <a:gd name="T48" fmla="*/ 0 w 45"/>
                    <a:gd name="T49" fmla="*/ 47 h 47"/>
                    <a:gd name="T50" fmla="*/ 0 w 45"/>
                    <a:gd name="T51" fmla="*/ 47 h 47"/>
                    <a:gd name="T52" fmla="*/ 0 w 45"/>
                    <a:gd name="T53" fmla="*/ 47 h 47"/>
                    <a:gd name="T54" fmla="*/ 12 w 45"/>
                    <a:gd name="T55" fmla="*/ 42 h 47"/>
                    <a:gd name="T56" fmla="*/ 16 w 45"/>
                    <a:gd name="T57" fmla="*/ 39 h 47"/>
                    <a:gd name="T58" fmla="*/ 19 w 45"/>
                    <a:gd name="T59" fmla="*/ 34 h 47"/>
                    <a:gd name="T60" fmla="*/ 19 w 45"/>
                    <a:gd name="T61" fmla="*/ 34 h 47"/>
                    <a:gd name="T62" fmla="*/ 16 w 45"/>
                    <a:gd name="T63" fmla="*/ 39 h 47"/>
                    <a:gd name="T64" fmla="*/ 12 w 45"/>
                    <a:gd name="T65" fmla="*/ 42 h 47"/>
                    <a:gd name="T66" fmla="*/ 0 w 45"/>
                    <a:gd name="T67" fmla="*/ 47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5" h="47">
                      <a:moveTo>
                        <a:pt x="19" y="34"/>
                      </a:moveTo>
                      <a:lnTo>
                        <a:pt x="19" y="34"/>
                      </a:lnTo>
                      <a:lnTo>
                        <a:pt x="19" y="34"/>
                      </a:lnTo>
                      <a:lnTo>
                        <a:pt x="19" y="34"/>
                      </a:lnTo>
                      <a:lnTo>
                        <a:pt x="25" y="23"/>
                      </a:lnTo>
                      <a:lnTo>
                        <a:pt x="28" y="17"/>
                      </a:lnTo>
                      <a:lnTo>
                        <a:pt x="34" y="14"/>
                      </a:lnTo>
                      <a:lnTo>
                        <a:pt x="34" y="14"/>
                      </a:lnTo>
                      <a:lnTo>
                        <a:pt x="38" y="13"/>
                      </a:lnTo>
                      <a:lnTo>
                        <a:pt x="41" y="10"/>
                      </a:lnTo>
                      <a:lnTo>
                        <a:pt x="44" y="5"/>
                      </a:lnTo>
                      <a:lnTo>
                        <a:pt x="45" y="0"/>
                      </a:lnTo>
                      <a:lnTo>
                        <a:pt x="45" y="0"/>
                      </a:lnTo>
                      <a:lnTo>
                        <a:pt x="44" y="5"/>
                      </a:lnTo>
                      <a:lnTo>
                        <a:pt x="41" y="10"/>
                      </a:lnTo>
                      <a:lnTo>
                        <a:pt x="38" y="13"/>
                      </a:lnTo>
                      <a:lnTo>
                        <a:pt x="34" y="14"/>
                      </a:lnTo>
                      <a:lnTo>
                        <a:pt x="34" y="14"/>
                      </a:lnTo>
                      <a:lnTo>
                        <a:pt x="28" y="17"/>
                      </a:lnTo>
                      <a:lnTo>
                        <a:pt x="25" y="23"/>
                      </a:lnTo>
                      <a:lnTo>
                        <a:pt x="19" y="34"/>
                      </a:lnTo>
                      <a:lnTo>
                        <a:pt x="19" y="34"/>
                      </a:lnTo>
                      <a:lnTo>
                        <a:pt x="19" y="34"/>
                      </a:lnTo>
                      <a:close/>
                      <a:moveTo>
                        <a:pt x="0" y="47"/>
                      </a:moveTo>
                      <a:lnTo>
                        <a:pt x="0" y="47"/>
                      </a:lnTo>
                      <a:lnTo>
                        <a:pt x="0" y="47"/>
                      </a:lnTo>
                      <a:lnTo>
                        <a:pt x="0" y="47"/>
                      </a:lnTo>
                      <a:lnTo>
                        <a:pt x="12" y="42"/>
                      </a:lnTo>
                      <a:lnTo>
                        <a:pt x="16" y="39"/>
                      </a:lnTo>
                      <a:lnTo>
                        <a:pt x="19" y="34"/>
                      </a:lnTo>
                      <a:lnTo>
                        <a:pt x="19" y="34"/>
                      </a:lnTo>
                      <a:lnTo>
                        <a:pt x="16" y="39"/>
                      </a:lnTo>
                      <a:lnTo>
                        <a:pt x="12" y="42"/>
                      </a:lnTo>
                      <a:lnTo>
                        <a:pt x="0" y="4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71" name="Freeform 423"/>
                <p:cNvSpPr>
                  <a:spLocks/>
                </p:cNvSpPr>
                <p:nvPr/>
              </p:nvSpPr>
              <p:spPr bwMode="auto">
                <a:xfrm>
                  <a:off x="4576946" y="2777992"/>
                  <a:ext cx="25721" cy="33635"/>
                </a:xfrm>
                <a:custGeom>
                  <a:avLst/>
                  <a:gdLst>
                    <a:gd name="T0" fmla="*/ 0 w 26"/>
                    <a:gd name="T1" fmla="*/ 34 h 34"/>
                    <a:gd name="T2" fmla="*/ 0 w 26"/>
                    <a:gd name="T3" fmla="*/ 34 h 34"/>
                    <a:gd name="T4" fmla="*/ 0 w 26"/>
                    <a:gd name="T5" fmla="*/ 34 h 34"/>
                    <a:gd name="T6" fmla="*/ 0 w 26"/>
                    <a:gd name="T7" fmla="*/ 34 h 34"/>
                    <a:gd name="T8" fmla="*/ 6 w 26"/>
                    <a:gd name="T9" fmla="*/ 23 h 34"/>
                    <a:gd name="T10" fmla="*/ 9 w 26"/>
                    <a:gd name="T11" fmla="*/ 17 h 34"/>
                    <a:gd name="T12" fmla="*/ 15 w 26"/>
                    <a:gd name="T13" fmla="*/ 14 h 34"/>
                    <a:gd name="T14" fmla="*/ 15 w 26"/>
                    <a:gd name="T15" fmla="*/ 14 h 34"/>
                    <a:gd name="T16" fmla="*/ 19 w 26"/>
                    <a:gd name="T17" fmla="*/ 13 h 34"/>
                    <a:gd name="T18" fmla="*/ 22 w 26"/>
                    <a:gd name="T19" fmla="*/ 10 h 34"/>
                    <a:gd name="T20" fmla="*/ 25 w 26"/>
                    <a:gd name="T21" fmla="*/ 5 h 34"/>
                    <a:gd name="T22" fmla="*/ 26 w 26"/>
                    <a:gd name="T23" fmla="*/ 0 h 34"/>
                    <a:gd name="T24" fmla="*/ 26 w 26"/>
                    <a:gd name="T25" fmla="*/ 0 h 34"/>
                    <a:gd name="T26" fmla="*/ 25 w 26"/>
                    <a:gd name="T27" fmla="*/ 5 h 34"/>
                    <a:gd name="T28" fmla="*/ 22 w 26"/>
                    <a:gd name="T29" fmla="*/ 10 h 34"/>
                    <a:gd name="T30" fmla="*/ 19 w 26"/>
                    <a:gd name="T31" fmla="*/ 13 h 34"/>
                    <a:gd name="T32" fmla="*/ 15 w 26"/>
                    <a:gd name="T33" fmla="*/ 14 h 34"/>
                    <a:gd name="T34" fmla="*/ 15 w 26"/>
                    <a:gd name="T35" fmla="*/ 14 h 34"/>
                    <a:gd name="T36" fmla="*/ 9 w 26"/>
                    <a:gd name="T37" fmla="*/ 17 h 34"/>
                    <a:gd name="T38" fmla="*/ 6 w 26"/>
                    <a:gd name="T39" fmla="*/ 23 h 34"/>
                    <a:gd name="T40" fmla="*/ 0 w 26"/>
                    <a:gd name="T41" fmla="*/ 34 h 34"/>
                    <a:gd name="T42" fmla="*/ 0 w 26"/>
                    <a:gd name="T43" fmla="*/ 34 h 34"/>
                    <a:gd name="T44" fmla="*/ 0 w 26"/>
                    <a:gd name="T45" fmla="*/ 3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6" h="34">
                      <a:moveTo>
                        <a:pt x="0" y="34"/>
                      </a:move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6" y="23"/>
                      </a:lnTo>
                      <a:lnTo>
                        <a:pt x="9" y="17"/>
                      </a:lnTo>
                      <a:lnTo>
                        <a:pt x="15" y="14"/>
                      </a:lnTo>
                      <a:lnTo>
                        <a:pt x="15" y="14"/>
                      </a:lnTo>
                      <a:lnTo>
                        <a:pt x="19" y="13"/>
                      </a:lnTo>
                      <a:lnTo>
                        <a:pt x="22" y="10"/>
                      </a:lnTo>
                      <a:lnTo>
                        <a:pt x="25" y="5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5" y="5"/>
                      </a:lnTo>
                      <a:lnTo>
                        <a:pt x="22" y="10"/>
                      </a:lnTo>
                      <a:lnTo>
                        <a:pt x="19" y="13"/>
                      </a:lnTo>
                      <a:lnTo>
                        <a:pt x="15" y="14"/>
                      </a:lnTo>
                      <a:lnTo>
                        <a:pt x="15" y="14"/>
                      </a:lnTo>
                      <a:lnTo>
                        <a:pt x="9" y="17"/>
                      </a:lnTo>
                      <a:lnTo>
                        <a:pt x="6" y="23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72" name="Freeform 424"/>
                <p:cNvSpPr>
                  <a:spLocks/>
                </p:cNvSpPr>
                <p:nvPr/>
              </p:nvSpPr>
              <p:spPr bwMode="auto">
                <a:xfrm>
                  <a:off x="4558150" y="2811627"/>
                  <a:ext cx="18796" cy="12860"/>
                </a:xfrm>
                <a:custGeom>
                  <a:avLst/>
                  <a:gdLst>
                    <a:gd name="T0" fmla="*/ 0 w 19"/>
                    <a:gd name="T1" fmla="*/ 13 h 13"/>
                    <a:gd name="T2" fmla="*/ 0 w 19"/>
                    <a:gd name="T3" fmla="*/ 13 h 13"/>
                    <a:gd name="T4" fmla="*/ 0 w 19"/>
                    <a:gd name="T5" fmla="*/ 13 h 13"/>
                    <a:gd name="T6" fmla="*/ 0 w 19"/>
                    <a:gd name="T7" fmla="*/ 13 h 13"/>
                    <a:gd name="T8" fmla="*/ 12 w 19"/>
                    <a:gd name="T9" fmla="*/ 8 h 13"/>
                    <a:gd name="T10" fmla="*/ 16 w 19"/>
                    <a:gd name="T11" fmla="*/ 5 h 13"/>
                    <a:gd name="T12" fmla="*/ 19 w 19"/>
                    <a:gd name="T13" fmla="*/ 0 h 13"/>
                    <a:gd name="T14" fmla="*/ 19 w 19"/>
                    <a:gd name="T15" fmla="*/ 0 h 13"/>
                    <a:gd name="T16" fmla="*/ 16 w 19"/>
                    <a:gd name="T17" fmla="*/ 5 h 13"/>
                    <a:gd name="T18" fmla="*/ 12 w 19"/>
                    <a:gd name="T19" fmla="*/ 8 h 13"/>
                    <a:gd name="T20" fmla="*/ 0 w 19"/>
                    <a:gd name="T21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9" h="13">
                      <a:moveTo>
                        <a:pt x="0" y="13"/>
                      </a:moveTo>
                      <a:lnTo>
                        <a:pt x="0" y="13"/>
                      </a:lnTo>
                      <a:lnTo>
                        <a:pt x="0" y="13"/>
                      </a:lnTo>
                      <a:lnTo>
                        <a:pt x="0" y="13"/>
                      </a:lnTo>
                      <a:lnTo>
                        <a:pt x="12" y="8"/>
                      </a:lnTo>
                      <a:lnTo>
                        <a:pt x="16" y="5"/>
                      </a:lnTo>
                      <a:lnTo>
                        <a:pt x="19" y="0"/>
                      </a:lnTo>
                      <a:lnTo>
                        <a:pt x="19" y="0"/>
                      </a:lnTo>
                      <a:lnTo>
                        <a:pt x="16" y="5"/>
                      </a:lnTo>
                      <a:lnTo>
                        <a:pt x="12" y="8"/>
                      </a:lnTo>
                      <a:lnTo>
                        <a:pt x="0" y="1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73" name="Freeform 425"/>
                <p:cNvSpPr>
                  <a:spLocks/>
                </p:cNvSpPr>
                <p:nvPr/>
              </p:nvSpPr>
              <p:spPr bwMode="auto">
                <a:xfrm>
                  <a:off x="4995403" y="3040146"/>
                  <a:ext cx="102883" cy="90023"/>
                </a:xfrm>
                <a:custGeom>
                  <a:avLst/>
                  <a:gdLst>
                    <a:gd name="T0" fmla="*/ 88 w 104"/>
                    <a:gd name="T1" fmla="*/ 91 h 91"/>
                    <a:gd name="T2" fmla="*/ 87 w 104"/>
                    <a:gd name="T3" fmla="*/ 91 h 91"/>
                    <a:gd name="T4" fmla="*/ 87 w 104"/>
                    <a:gd name="T5" fmla="*/ 91 h 91"/>
                    <a:gd name="T6" fmla="*/ 87 w 104"/>
                    <a:gd name="T7" fmla="*/ 91 h 91"/>
                    <a:gd name="T8" fmla="*/ 87 w 104"/>
                    <a:gd name="T9" fmla="*/ 91 h 91"/>
                    <a:gd name="T10" fmla="*/ 80 w 104"/>
                    <a:gd name="T11" fmla="*/ 86 h 91"/>
                    <a:gd name="T12" fmla="*/ 72 w 104"/>
                    <a:gd name="T13" fmla="*/ 75 h 91"/>
                    <a:gd name="T14" fmla="*/ 67 w 104"/>
                    <a:gd name="T15" fmla="*/ 69 h 91"/>
                    <a:gd name="T16" fmla="*/ 45 w 104"/>
                    <a:gd name="T17" fmla="*/ 63 h 91"/>
                    <a:gd name="T18" fmla="*/ 45 w 104"/>
                    <a:gd name="T19" fmla="*/ 63 h 91"/>
                    <a:gd name="T20" fmla="*/ 45 w 104"/>
                    <a:gd name="T21" fmla="*/ 63 h 91"/>
                    <a:gd name="T22" fmla="*/ 45 w 104"/>
                    <a:gd name="T23" fmla="*/ 63 h 91"/>
                    <a:gd name="T24" fmla="*/ 45 w 104"/>
                    <a:gd name="T25" fmla="*/ 63 h 91"/>
                    <a:gd name="T26" fmla="*/ 45 w 104"/>
                    <a:gd name="T27" fmla="*/ 63 h 91"/>
                    <a:gd name="T28" fmla="*/ 33 w 104"/>
                    <a:gd name="T29" fmla="*/ 58 h 91"/>
                    <a:gd name="T30" fmla="*/ 23 w 104"/>
                    <a:gd name="T31" fmla="*/ 53 h 91"/>
                    <a:gd name="T32" fmla="*/ 23 w 104"/>
                    <a:gd name="T33" fmla="*/ 53 h 91"/>
                    <a:gd name="T34" fmla="*/ 22 w 104"/>
                    <a:gd name="T35" fmla="*/ 53 h 91"/>
                    <a:gd name="T36" fmla="*/ 19 w 104"/>
                    <a:gd name="T37" fmla="*/ 58 h 91"/>
                    <a:gd name="T38" fmla="*/ 12 w 104"/>
                    <a:gd name="T39" fmla="*/ 60 h 91"/>
                    <a:gd name="T40" fmla="*/ 0 w 104"/>
                    <a:gd name="T41" fmla="*/ 59 h 91"/>
                    <a:gd name="T42" fmla="*/ 0 w 104"/>
                    <a:gd name="T43" fmla="*/ 59 h 91"/>
                    <a:gd name="T44" fmla="*/ 3 w 104"/>
                    <a:gd name="T45" fmla="*/ 36 h 91"/>
                    <a:gd name="T46" fmla="*/ 7 w 104"/>
                    <a:gd name="T47" fmla="*/ 18 h 91"/>
                    <a:gd name="T48" fmla="*/ 10 w 104"/>
                    <a:gd name="T49" fmla="*/ 16 h 91"/>
                    <a:gd name="T50" fmla="*/ 22 w 104"/>
                    <a:gd name="T51" fmla="*/ 8 h 91"/>
                    <a:gd name="T52" fmla="*/ 30 w 104"/>
                    <a:gd name="T53" fmla="*/ 2 h 91"/>
                    <a:gd name="T54" fmla="*/ 32 w 104"/>
                    <a:gd name="T55" fmla="*/ 0 h 91"/>
                    <a:gd name="T56" fmla="*/ 38 w 104"/>
                    <a:gd name="T57" fmla="*/ 10 h 91"/>
                    <a:gd name="T58" fmla="*/ 43 w 104"/>
                    <a:gd name="T59" fmla="*/ 27 h 91"/>
                    <a:gd name="T60" fmla="*/ 46 w 104"/>
                    <a:gd name="T61" fmla="*/ 34 h 91"/>
                    <a:gd name="T62" fmla="*/ 49 w 104"/>
                    <a:gd name="T63" fmla="*/ 37 h 91"/>
                    <a:gd name="T64" fmla="*/ 52 w 104"/>
                    <a:gd name="T65" fmla="*/ 40 h 91"/>
                    <a:gd name="T66" fmla="*/ 56 w 104"/>
                    <a:gd name="T67" fmla="*/ 43 h 91"/>
                    <a:gd name="T68" fmla="*/ 65 w 104"/>
                    <a:gd name="T69" fmla="*/ 49 h 91"/>
                    <a:gd name="T70" fmla="*/ 70 w 104"/>
                    <a:gd name="T71" fmla="*/ 52 h 91"/>
                    <a:gd name="T72" fmla="*/ 74 w 104"/>
                    <a:gd name="T73" fmla="*/ 55 h 91"/>
                    <a:gd name="T74" fmla="*/ 74 w 104"/>
                    <a:gd name="T75" fmla="*/ 55 h 91"/>
                    <a:gd name="T76" fmla="*/ 77 w 104"/>
                    <a:gd name="T77" fmla="*/ 59 h 91"/>
                    <a:gd name="T78" fmla="*/ 83 w 104"/>
                    <a:gd name="T79" fmla="*/ 66 h 91"/>
                    <a:gd name="T80" fmla="*/ 98 w 104"/>
                    <a:gd name="T81" fmla="*/ 76 h 91"/>
                    <a:gd name="T82" fmla="*/ 101 w 104"/>
                    <a:gd name="T83" fmla="*/ 81 h 91"/>
                    <a:gd name="T84" fmla="*/ 104 w 104"/>
                    <a:gd name="T85" fmla="*/ 86 h 91"/>
                    <a:gd name="T86" fmla="*/ 104 w 104"/>
                    <a:gd name="T87" fmla="*/ 88 h 91"/>
                    <a:gd name="T88" fmla="*/ 104 w 104"/>
                    <a:gd name="T89" fmla="*/ 88 h 91"/>
                    <a:gd name="T90" fmla="*/ 103 w 104"/>
                    <a:gd name="T91" fmla="*/ 88 h 91"/>
                    <a:gd name="T92" fmla="*/ 103 w 104"/>
                    <a:gd name="T93" fmla="*/ 88 h 91"/>
                    <a:gd name="T94" fmla="*/ 96 w 104"/>
                    <a:gd name="T95" fmla="*/ 89 h 91"/>
                    <a:gd name="T96" fmla="*/ 96 w 104"/>
                    <a:gd name="T97" fmla="*/ 89 h 91"/>
                    <a:gd name="T98" fmla="*/ 93 w 104"/>
                    <a:gd name="T99" fmla="*/ 89 h 91"/>
                    <a:gd name="T100" fmla="*/ 91 w 104"/>
                    <a:gd name="T101" fmla="*/ 91 h 91"/>
                    <a:gd name="T102" fmla="*/ 90 w 104"/>
                    <a:gd name="T103" fmla="*/ 91 h 91"/>
                    <a:gd name="T104" fmla="*/ 88 w 104"/>
                    <a:gd name="T105" fmla="*/ 91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4" h="91">
                      <a:moveTo>
                        <a:pt x="88" y="91"/>
                      </a:moveTo>
                      <a:lnTo>
                        <a:pt x="88" y="91"/>
                      </a:lnTo>
                      <a:lnTo>
                        <a:pt x="88" y="91"/>
                      </a:lnTo>
                      <a:lnTo>
                        <a:pt x="87" y="91"/>
                      </a:lnTo>
                      <a:lnTo>
                        <a:pt x="87" y="91"/>
                      </a:lnTo>
                      <a:lnTo>
                        <a:pt x="87" y="91"/>
                      </a:lnTo>
                      <a:lnTo>
                        <a:pt x="87" y="91"/>
                      </a:lnTo>
                      <a:lnTo>
                        <a:pt x="87" y="91"/>
                      </a:lnTo>
                      <a:lnTo>
                        <a:pt x="87" y="91"/>
                      </a:lnTo>
                      <a:lnTo>
                        <a:pt x="87" y="91"/>
                      </a:lnTo>
                      <a:lnTo>
                        <a:pt x="83" y="89"/>
                      </a:lnTo>
                      <a:lnTo>
                        <a:pt x="80" y="86"/>
                      </a:lnTo>
                      <a:lnTo>
                        <a:pt x="72" y="75"/>
                      </a:lnTo>
                      <a:lnTo>
                        <a:pt x="72" y="75"/>
                      </a:lnTo>
                      <a:lnTo>
                        <a:pt x="70" y="72"/>
                      </a:lnTo>
                      <a:lnTo>
                        <a:pt x="67" y="69"/>
                      </a:lnTo>
                      <a:lnTo>
                        <a:pt x="59" y="66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33" y="58"/>
                      </a:lnTo>
                      <a:lnTo>
                        <a:pt x="27" y="55"/>
                      </a:lnTo>
                      <a:lnTo>
                        <a:pt x="23" y="53"/>
                      </a:lnTo>
                      <a:lnTo>
                        <a:pt x="23" y="53"/>
                      </a:lnTo>
                      <a:lnTo>
                        <a:pt x="23" y="53"/>
                      </a:lnTo>
                      <a:lnTo>
                        <a:pt x="23" y="53"/>
                      </a:lnTo>
                      <a:lnTo>
                        <a:pt x="22" y="53"/>
                      </a:lnTo>
                      <a:lnTo>
                        <a:pt x="22" y="53"/>
                      </a:lnTo>
                      <a:lnTo>
                        <a:pt x="19" y="58"/>
                      </a:lnTo>
                      <a:lnTo>
                        <a:pt x="16" y="59"/>
                      </a:lnTo>
                      <a:lnTo>
                        <a:pt x="12" y="60"/>
                      </a:lnTo>
                      <a:lnTo>
                        <a:pt x="12" y="60"/>
                      </a:lnTo>
                      <a:lnTo>
                        <a:pt x="0" y="59"/>
                      </a:lnTo>
                      <a:lnTo>
                        <a:pt x="0" y="59"/>
                      </a:lnTo>
                      <a:lnTo>
                        <a:pt x="0" y="59"/>
                      </a:lnTo>
                      <a:lnTo>
                        <a:pt x="1" y="50"/>
                      </a:lnTo>
                      <a:lnTo>
                        <a:pt x="3" y="36"/>
                      </a:lnTo>
                      <a:lnTo>
                        <a:pt x="6" y="23"/>
                      </a:lnTo>
                      <a:lnTo>
                        <a:pt x="7" y="18"/>
                      </a:lnTo>
                      <a:lnTo>
                        <a:pt x="10" y="16"/>
                      </a:lnTo>
                      <a:lnTo>
                        <a:pt x="10" y="16"/>
                      </a:lnTo>
                      <a:lnTo>
                        <a:pt x="16" y="11"/>
                      </a:lnTo>
                      <a:lnTo>
                        <a:pt x="22" y="8"/>
                      </a:lnTo>
                      <a:lnTo>
                        <a:pt x="26" y="5"/>
                      </a:lnTo>
                      <a:lnTo>
                        <a:pt x="30" y="2"/>
                      </a:lnTo>
                      <a:lnTo>
                        <a:pt x="30" y="2"/>
                      </a:lnTo>
                      <a:lnTo>
                        <a:pt x="32" y="0"/>
                      </a:lnTo>
                      <a:lnTo>
                        <a:pt x="32" y="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43" y="27"/>
                      </a:lnTo>
                      <a:lnTo>
                        <a:pt x="43" y="27"/>
                      </a:lnTo>
                      <a:lnTo>
                        <a:pt x="46" y="34"/>
                      </a:lnTo>
                      <a:lnTo>
                        <a:pt x="46" y="34"/>
                      </a:lnTo>
                      <a:lnTo>
                        <a:pt x="49" y="37"/>
                      </a:lnTo>
                      <a:lnTo>
                        <a:pt x="49" y="37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6" y="43"/>
                      </a:lnTo>
                      <a:lnTo>
                        <a:pt x="56" y="43"/>
                      </a:lnTo>
                      <a:lnTo>
                        <a:pt x="65" y="49"/>
                      </a:lnTo>
                      <a:lnTo>
                        <a:pt x="65" y="49"/>
                      </a:lnTo>
                      <a:lnTo>
                        <a:pt x="70" y="52"/>
                      </a:lnTo>
                      <a:lnTo>
                        <a:pt x="70" y="52"/>
                      </a:lnTo>
                      <a:lnTo>
                        <a:pt x="74" y="55"/>
                      </a:lnTo>
                      <a:lnTo>
                        <a:pt x="74" y="55"/>
                      </a:lnTo>
                      <a:lnTo>
                        <a:pt x="74" y="55"/>
                      </a:lnTo>
                      <a:lnTo>
                        <a:pt x="74" y="55"/>
                      </a:lnTo>
                      <a:lnTo>
                        <a:pt x="77" y="59"/>
                      </a:lnTo>
                      <a:lnTo>
                        <a:pt x="77" y="59"/>
                      </a:lnTo>
                      <a:lnTo>
                        <a:pt x="83" y="66"/>
                      </a:lnTo>
                      <a:lnTo>
                        <a:pt x="83" y="66"/>
                      </a:lnTo>
                      <a:lnTo>
                        <a:pt x="98" y="76"/>
                      </a:lnTo>
                      <a:lnTo>
                        <a:pt x="98" y="76"/>
                      </a:lnTo>
                      <a:lnTo>
                        <a:pt x="101" y="81"/>
                      </a:lnTo>
                      <a:lnTo>
                        <a:pt x="104" y="86"/>
                      </a:lnTo>
                      <a:lnTo>
                        <a:pt x="104" y="86"/>
                      </a:lnTo>
                      <a:lnTo>
                        <a:pt x="104" y="88"/>
                      </a:lnTo>
                      <a:lnTo>
                        <a:pt x="104" y="88"/>
                      </a:lnTo>
                      <a:lnTo>
                        <a:pt x="104" y="88"/>
                      </a:lnTo>
                      <a:lnTo>
                        <a:pt x="104" y="88"/>
                      </a:lnTo>
                      <a:lnTo>
                        <a:pt x="103" y="88"/>
                      </a:lnTo>
                      <a:lnTo>
                        <a:pt x="103" y="88"/>
                      </a:lnTo>
                      <a:lnTo>
                        <a:pt x="103" y="88"/>
                      </a:lnTo>
                      <a:lnTo>
                        <a:pt x="103" y="88"/>
                      </a:lnTo>
                      <a:lnTo>
                        <a:pt x="96" y="89"/>
                      </a:lnTo>
                      <a:lnTo>
                        <a:pt x="96" y="89"/>
                      </a:lnTo>
                      <a:lnTo>
                        <a:pt x="96" y="89"/>
                      </a:lnTo>
                      <a:lnTo>
                        <a:pt x="96" y="89"/>
                      </a:lnTo>
                      <a:lnTo>
                        <a:pt x="93" y="89"/>
                      </a:lnTo>
                      <a:lnTo>
                        <a:pt x="93" y="89"/>
                      </a:lnTo>
                      <a:lnTo>
                        <a:pt x="93" y="89"/>
                      </a:lnTo>
                      <a:lnTo>
                        <a:pt x="91" y="91"/>
                      </a:lnTo>
                      <a:lnTo>
                        <a:pt x="91" y="91"/>
                      </a:lnTo>
                      <a:lnTo>
                        <a:pt x="90" y="91"/>
                      </a:lnTo>
                      <a:lnTo>
                        <a:pt x="90" y="91"/>
                      </a:lnTo>
                      <a:lnTo>
                        <a:pt x="88" y="9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74" name="Freeform 426"/>
                <p:cNvSpPr>
                  <a:spLocks/>
                </p:cNvSpPr>
                <p:nvPr/>
              </p:nvSpPr>
              <p:spPr bwMode="auto">
                <a:xfrm>
                  <a:off x="4995403" y="3040146"/>
                  <a:ext cx="102883" cy="90023"/>
                </a:xfrm>
                <a:custGeom>
                  <a:avLst/>
                  <a:gdLst>
                    <a:gd name="T0" fmla="*/ 88 w 104"/>
                    <a:gd name="T1" fmla="*/ 91 h 91"/>
                    <a:gd name="T2" fmla="*/ 87 w 104"/>
                    <a:gd name="T3" fmla="*/ 91 h 91"/>
                    <a:gd name="T4" fmla="*/ 87 w 104"/>
                    <a:gd name="T5" fmla="*/ 91 h 91"/>
                    <a:gd name="T6" fmla="*/ 87 w 104"/>
                    <a:gd name="T7" fmla="*/ 91 h 91"/>
                    <a:gd name="T8" fmla="*/ 87 w 104"/>
                    <a:gd name="T9" fmla="*/ 91 h 91"/>
                    <a:gd name="T10" fmla="*/ 80 w 104"/>
                    <a:gd name="T11" fmla="*/ 86 h 91"/>
                    <a:gd name="T12" fmla="*/ 72 w 104"/>
                    <a:gd name="T13" fmla="*/ 75 h 91"/>
                    <a:gd name="T14" fmla="*/ 67 w 104"/>
                    <a:gd name="T15" fmla="*/ 69 h 91"/>
                    <a:gd name="T16" fmla="*/ 45 w 104"/>
                    <a:gd name="T17" fmla="*/ 63 h 91"/>
                    <a:gd name="T18" fmla="*/ 45 w 104"/>
                    <a:gd name="T19" fmla="*/ 63 h 91"/>
                    <a:gd name="T20" fmla="*/ 45 w 104"/>
                    <a:gd name="T21" fmla="*/ 63 h 91"/>
                    <a:gd name="T22" fmla="*/ 45 w 104"/>
                    <a:gd name="T23" fmla="*/ 63 h 91"/>
                    <a:gd name="T24" fmla="*/ 45 w 104"/>
                    <a:gd name="T25" fmla="*/ 63 h 91"/>
                    <a:gd name="T26" fmla="*/ 45 w 104"/>
                    <a:gd name="T27" fmla="*/ 63 h 91"/>
                    <a:gd name="T28" fmla="*/ 33 w 104"/>
                    <a:gd name="T29" fmla="*/ 58 h 91"/>
                    <a:gd name="T30" fmla="*/ 23 w 104"/>
                    <a:gd name="T31" fmla="*/ 53 h 91"/>
                    <a:gd name="T32" fmla="*/ 23 w 104"/>
                    <a:gd name="T33" fmla="*/ 53 h 91"/>
                    <a:gd name="T34" fmla="*/ 22 w 104"/>
                    <a:gd name="T35" fmla="*/ 53 h 91"/>
                    <a:gd name="T36" fmla="*/ 19 w 104"/>
                    <a:gd name="T37" fmla="*/ 58 h 91"/>
                    <a:gd name="T38" fmla="*/ 12 w 104"/>
                    <a:gd name="T39" fmla="*/ 60 h 91"/>
                    <a:gd name="T40" fmla="*/ 0 w 104"/>
                    <a:gd name="T41" fmla="*/ 59 h 91"/>
                    <a:gd name="T42" fmla="*/ 0 w 104"/>
                    <a:gd name="T43" fmla="*/ 59 h 91"/>
                    <a:gd name="T44" fmla="*/ 3 w 104"/>
                    <a:gd name="T45" fmla="*/ 36 h 91"/>
                    <a:gd name="T46" fmla="*/ 7 w 104"/>
                    <a:gd name="T47" fmla="*/ 18 h 91"/>
                    <a:gd name="T48" fmla="*/ 10 w 104"/>
                    <a:gd name="T49" fmla="*/ 16 h 91"/>
                    <a:gd name="T50" fmla="*/ 22 w 104"/>
                    <a:gd name="T51" fmla="*/ 8 h 91"/>
                    <a:gd name="T52" fmla="*/ 30 w 104"/>
                    <a:gd name="T53" fmla="*/ 2 h 91"/>
                    <a:gd name="T54" fmla="*/ 32 w 104"/>
                    <a:gd name="T55" fmla="*/ 0 h 91"/>
                    <a:gd name="T56" fmla="*/ 38 w 104"/>
                    <a:gd name="T57" fmla="*/ 10 h 91"/>
                    <a:gd name="T58" fmla="*/ 43 w 104"/>
                    <a:gd name="T59" fmla="*/ 27 h 91"/>
                    <a:gd name="T60" fmla="*/ 46 w 104"/>
                    <a:gd name="T61" fmla="*/ 34 h 91"/>
                    <a:gd name="T62" fmla="*/ 49 w 104"/>
                    <a:gd name="T63" fmla="*/ 37 h 91"/>
                    <a:gd name="T64" fmla="*/ 52 w 104"/>
                    <a:gd name="T65" fmla="*/ 40 h 91"/>
                    <a:gd name="T66" fmla="*/ 56 w 104"/>
                    <a:gd name="T67" fmla="*/ 43 h 91"/>
                    <a:gd name="T68" fmla="*/ 65 w 104"/>
                    <a:gd name="T69" fmla="*/ 49 h 91"/>
                    <a:gd name="T70" fmla="*/ 70 w 104"/>
                    <a:gd name="T71" fmla="*/ 52 h 91"/>
                    <a:gd name="T72" fmla="*/ 74 w 104"/>
                    <a:gd name="T73" fmla="*/ 55 h 91"/>
                    <a:gd name="T74" fmla="*/ 74 w 104"/>
                    <a:gd name="T75" fmla="*/ 55 h 91"/>
                    <a:gd name="T76" fmla="*/ 77 w 104"/>
                    <a:gd name="T77" fmla="*/ 59 h 91"/>
                    <a:gd name="T78" fmla="*/ 83 w 104"/>
                    <a:gd name="T79" fmla="*/ 66 h 91"/>
                    <a:gd name="T80" fmla="*/ 98 w 104"/>
                    <a:gd name="T81" fmla="*/ 76 h 91"/>
                    <a:gd name="T82" fmla="*/ 101 w 104"/>
                    <a:gd name="T83" fmla="*/ 81 h 91"/>
                    <a:gd name="T84" fmla="*/ 104 w 104"/>
                    <a:gd name="T85" fmla="*/ 86 h 91"/>
                    <a:gd name="T86" fmla="*/ 104 w 104"/>
                    <a:gd name="T87" fmla="*/ 88 h 91"/>
                    <a:gd name="T88" fmla="*/ 104 w 104"/>
                    <a:gd name="T89" fmla="*/ 88 h 91"/>
                    <a:gd name="T90" fmla="*/ 103 w 104"/>
                    <a:gd name="T91" fmla="*/ 88 h 91"/>
                    <a:gd name="T92" fmla="*/ 103 w 104"/>
                    <a:gd name="T93" fmla="*/ 88 h 91"/>
                    <a:gd name="T94" fmla="*/ 96 w 104"/>
                    <a:gd name="T95" fmla="*/ 89 h 91"/>
                    <a:gd name="T96" fmla="*/ 96 w 104"/>
                    <a:gd name="T97" fmla="*/ 89 h 91"/>
                    <a:gd name="T98" fmla="*/ 93 w 104"/>
                    <a:gd name="T99" fmla="*/ 89 h 91"/>
                    <a:gd name="T100" fmla="*/ 91 w 104"/>
                    <a:gd name="T101" fmla="*/ 91 h 91"/>
                    <a:gd name="T102" fmla="*/ 90 w 104"/>
                    <a:gd name="T103" fmla="*/ 91 h 91"/>
                    <a:gd name="T104" fmla="*/ 88 w 104"/>
                    <a:gd name="T105" fmla="*/ 91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4" h="91">
                      <a:moveTo>
                        <a:pt x="88" y="91"/>
                      </a:moveTo>
                      <a:lnTo>
                        <a:pt x="88" y="91"/>
                      </a:lnTo>
                      <a:lnTo>
                        <a:pt x="88" y="91"/>
                      </a:lnTo>
                      <a:lnTo>
                        <a:pt x="87" y="91"/>
                      </a:lnTo>
                      <a:lnTo>
                        <a:pt x="87" y="91"/>
                      </a:lnTo>
                      <a:lnTo>
                        <a:pt x="87" y="91"/>
                      </a:lnTo>
                      <a:lnTo>
                        <a:pt x="87" y="91"/>
                      </a:lnTo>
                      <a:lnTo>
                        <a:pt x="87" y="91"/>
                      </a:lnTo>
                      <a:lnTo>
                        <a:pt x="87" y="91"/>
                      </a:lnTo>
                      <a:lnTo>
                        <a:pt x="87" y="91"/>
                      </a:lnTo>
                      <a:lnTo>
                        <a:pt x="83" y="89"/>
                      </a:lnTo>
                      <a:lnTo>
                        <a:pt x="80" y="86"/>
                      </a:lnTo>
                      <a:lnTo>
                        <a:pt x="72" y="75"/>
                      </a:lnTo>
                      <a:lnTo>
                        <a:pt x="72" y="75"/>
                      </a:lnTo>
                      <a:lnTo>
                        <a:pt x="70" y="72"/>
                      </a:lnTo>
                      <a:lnTo>
                        <a:pt x="67" y="69"/>
                      </a:lnTo>
                      <a:lnTo>
                        <a:pt x="59" y="66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45" y="63"/>
                      </a:lnTo>
                      <a:lnTo>
                        <a:pt x="33" y="58"/>
                      </a:lnTo>
                      <a:lnTo>
                        <a:pt x="27" y="55"/>
                      </a:lnTo>
                      <a:lnTo>
                        <a:pt x="23" y="53"/>
                      </a:lnTo>
                      <a:lnTo>
                        <a:pt x="23" y="53"/>
                      </a:lnTo>
                      <a:lnTo>
                        <a:pt x="23" y="53"/>
                      </a:lnTo>
                      <a:lnTo>
                        <a:pt x="23" y="53"/>
                      </a:lnTo>
                      <a:lnTo>
                        <a:pt x="22" y="53"/>
                      </a:lnTo>
                      <a:lnTo>
                        <a:pt x="22" y="53"/>
                      </a:lnTo>
                      <a:lnTo>
                        <a:pt x="19" y="58"/>
                      </a:lnTo>
                      <a:lnTo>
                        <a:pt x="16" y="59"/>
                      </a:lnTo>
                      <a:lnTo>
                        <a:pt x="12" y="60"/>
                      </a:lnTo>
                      <a:lnTo>
                        <a:pt x="12" y="60"/>
                      </a:lnTo>
                      <a:lnTo>
                        <a:pt x="0" y="59"/>
                      </a:lnTo>
                      <a:lnTo>
                        <a:pt x="0" y="59"/>
                      </a:lnTo>
                      <a:lnTo>
                        <a:pt x="0" y="59"/>
                      </a:lnTo>
                      <a:lnTo>
                        <a:pt x="1" y="50"/>
                      </a:lnTo>
                      <a:lnTo>
                        <a:pt x="3" y="36"/>
                      </a:lnTo>
                      <a:lnTo>
                        <a:pt x="6" y="23"/>
                      </a:lnTo>
                      <a:lnTo>
                        <a:pt x="7" y="18"/>
                      </a:lnTo>
                      <a:lnTo>
                        <a:pt x="10" y="16"/>
                      </a:lnTo>
                      <a:lnTo>
                        <a:pt x="10" y="16"/>
                      </a:lnTo>
                      <a:lnTo>
                        <a:pt x="16" y="11"/>
                      </a:lnTo>
                      <a:lnTo>
                        <a:pt x="22" y="8"/>
                      </a:lnTo>
                      <a:lnTo>
                        <a:pt x="26" y="5"/>
                      </a:lnTo>
                      <a:lnTo>
                        <a:pt x="30" y="2"/>
                      </a:lnTo>
                      <a:lnTo>
                        <a:pt x="30" y="2"/>
                      </a:lnTo>
                      <a:lnTo>
                        <a:pt x="32" y="0"/>
                      </a:lnTo>
                      <a:lnTo>
                        <a:pt x="32" y="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43" y="27"/>
                      </a:lnTo>
                      <a:lnTo>
                        <a:pt x="43" y="27"/>
                      </a:lnTo>
                      <a:lnTo>
                        <a:pt x="46" y="34"/>
                      </a:lnTo>
                      <a:lnTo>
                        <a:pt x="46" y="34"/>
                      </a:lnTo>
                      <a:lnTo>
                        <a:pt x="49" y="37"/>
                      </a:lnTo>
                      <a:lnTo>
                        <a:pt x="49" y="37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6" y="43"/>
                      </a:lnTo>
                      <a:lnTo>
                        <a:pt x="56" y="43"/>
                      </a:lnTo>
                      <a:lnTo>
                        <a:pt x="65" y="49"/>
                      </a:lnTo>
                      <a:lnTo>
                        <a:pt x="65" y="49"/>
                      </a:lnTo>
                      <a:lnTo>
                        <a:pt x="70" y="52"/>
                      </a:lnTo>
                      <a:lnTo>
                        <a:pt x="70" y="52"/>
                      </a:lnTo>
                      <a:lnTo>
                        <a:pt x="74" y="55"/>
                      </a:lnTo>
                      <a:lnTo>
                        <a:pt x="74" y="55"/>
                      </a:lnTo>
                      <a:lnTo>
                        <a:pt x="74" y="55"/>
                      </a:lnTo>
                      <a:lnTo>
                        <a:pt x="74" y="55"/>
                      </a:lnTo>
                      <a:lnTo>
                        <a:pt x="77" y="59"/>
                      </a:lnTo>
                      <a:lnTo>
                        <a:pt x="77" y="59"/>
                      </a:lnTo>
                      <a:lnTo>
                        <a:pt x="83" y="66"/>
                      </a:lnTo>
                      <a:lnTo>
                        <a:pt x="83" y="66"/>
                      </a:lnTo>
                      <a:lnTo>
                        <a:pt x="98" y="76"/>
                      </a:lnTo>
                      <a:lnTo>
                        <a:pt x="98" y="76"/>
                      </a:lnTo>
                      <a:lnTo>
                        <a:pt x="101" y="81"/>
                      </a:lnTo>
                      <a:lnTo>
                        <a:pt x="104" y="86"/>
                      </a:lnTo>
                      <a:lnTo>
                        <a:pt x="104" y="86"/>
                      </a:lnTo>
                      <a:lnTo>
                        <a:pt x="104" y="88"/>
                      </a:lnTo>
                      <a:lnTo>
                        <a:pt x="104" y="88"/>
                      </a:lnTo>
                      <a:lnTo>
                        <a:pt x="104" y="88"/>
                      </a:lnTo>
                      <a:lnTo>
                        <a:pt x="104" y="88"/>
                      </a:lnTo>
                      <a:lnTo>
                        <a:pt x="103" y="88"/>
                      </a:lnTo>
                      <a:lnTo>
                        <a:pt x="103" y="88"/>
                      </a:lnTo>
                      <a:lnTo>
                        <a:pt x="103" y="88"/>
                      </a:lnTo>
                      <a:lnTo>
                        <a:pt x="103" y="88"/>
                      </a:lnTo>
                      <a:lnTo>
                        <a:pt x="96" y="89"/>
                      </a:lnTo>
                      <a:lnTo>
                        <a:pt x="96" y="89"/>
                      </a:lnTo>
                      <a:lnTo>
                        <a:pt x="96" y="89"/>
                      </a:lnTo>
                      <a:lnTo>
                        <a:pt x="96" y="89"/>
                      </a:lnTo>
                      <a:lnTo>
                        <a:pt x="93" y="89"/>
                      </a:lnTo>
                      <a:lnTo>
                        <a:pt x="93" y="89"/>
                      </a:lnTo>
                      <a:lnTo>
                        <a:pt x="93" y="89"/>
                      </a:lnTo>
                      <a:lnTo>
                        <a:pt x="91" y="91"/>
                      </a:lnTo>
                      <a:lnTo>
                        <a:pt x="91" y="91"/>
                      </a:lnTo>
                      <a:lnTo>
                        <a:pt x="90" y="91"/>
                      </a:lnTo>
                      <a:lnTo>
                        <a:pt x="90" y="91"/>
                      </a:lnTo>
                      <a:lnTo>
                        <a:pt x="88" y="9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75" name="Freeform 427"/>
                <p:cNvSpPr>
                  <a:spLocks/>
                </p:cNvSpPr>
                <p:nvPr/>
              </p:nvSpPr>
              <p:spPr bwMode="auto">
                <a:xfrm>
                  <a:off x="5081469" y="3127201"/>
                  <a:ext cx="22753" cy="25721"/>
                </a:xfrm>
                <a:custGeom>
                  <a:avLst/>
                  <a:gdLst>
                    <a:gd name="T0" fmla="*/ 17 w 23"/>
                    <a:gd name="T1" fmla="*/ 26 h 26"/>
                    <a:gd name="T2" fmla="*/ 17 w 23"/>
                    <a:gd name="T3" fmla="*/ 26 h 26"/>
                    <a:gd name="T4" fmla="*/ 9 w 23"/>
                    <a:gd name="T5" fmla="*/ 23 h 26"/>
                    <a:gd name="T6" fmla="*/ 4 w 23"/>
                    <a:gd name="T7" fmla="*/ 20 h 26"/>
                    <a:gd name="T8" fmla="*/ 3 w 23"/>
                    <a:gd name="T9" fmla="*/ 17 h 26"/>
                    <a:gd name="T10" fmla="*/ 3 w 23"/>
                    <a:gd name="T11" fmla="*/ 17 h 26"/>
                    <a:gd name="T12" fmla="*/ 0 w 23"/>
                    <a:gd name="T13" fmla="*/ 10 h 26"/>
                    <a:gd name="T14" fmla="*/ 0 w 23"/>
                    <a:gd name="T15" fmla="*/ 3 h 26"/>
                    <a:gd name="T16" fmla="*/ 0 w 23"/>
                    <a:gd name="T17" fmla="*/ 3 h 26"/>
                    <a:gd name="T18" fmla="*/ 0 w 23"/>
                    <a:gd name="T19" fmla="*/ 3 h 26"/>
                    <a:gd name="T20" fmla="*/ 0 w 23"/>
                    <a:gd name="T21" fmla="*/ 3 h 26"/>
                    <a:gd name="T22" fmla="*/ 0 w 23"/>
                    <a:gd name="T23" fmla="*/ 3 h 26"/>
                    <a:gd name="T24" fmla="*/ 0 w 23"/>
                    <a:gd name="T25" fmla="*/ 3 h 26"/>
                    <a:gd name="T26" fmla="*/ 0 w 23"/>
                    <a:gd name="T27" fmla="*/ 3 h 26"/>
                    <a:gd name="T28" fmla="*/ 0 w 23"/>
                    <a:gd name="T29" fmla="*/ 3 h 26"/>
                    <a:gd name="T30" fmla="*/ 0 w 23"/>
                    <a:gd name="T31" fmla="*/ 3 h 26"/>
                    <a:gd name="T32" fmla="*/ 0 w 23"/>
                    <a:gd name="T33" fmla="*/ 3 h 26"/>
                    <a:gd name="T34" fmla="*/ 1 w 23"/>
                    <a:gd name="T35" fmla="*/ 3 h 26"/>
                    <a:gd name="T36" fmla="*/ 1 w 23"/>
                    <a:gd name="T37" fmla="*/ 3 h 26"/>
                    <a:gd name="T38" fmla="*/ 3 w 23"/>
                    <a:gd name="T39" fmla="*/ 3 h 26"/>
                    <a:gd name="T40" fmla="*/ 3 w 23"/>
                    <a:gd name="T41" fmla="*/ 3 h 26"/>
                    <a:gd name="T42" fmla="*/ 4 w 23"/>
                    <a:gd name="T43" fmla="*/ 3 h 26"/>
                    <a:gd name="T44" fmla="*/ 4 w 23"/>
                    <a:gd name="T45" fmla="*/ 3 h 26"/>
                    <a:gd name="T46" fmla="*/ 6 w 23"/>
                    <a:gd name="T47" fmla="*/ 1 h 26"/>
                    <a:gd name="T48" fmla="*/ 6 w 23"/>
                    <a:gd name="T49" fmla="*/ 1 h 26"/>
                    <a:gd name="T50" fmla="*/ 9 w 23"/>
                    <a:gd name="T51" fmla="*/ 1 h 26"/>
                    <a:gd name="T52" fmla="*/ 9 w 23"/>
                    <a:gd name="T53" fmla="*/ 1 h 26"/>
                    <a:gd name="T54" fmla="*/ 9 w 23"/>
                    <a:gd name="T55" fmla="*/ 1 h 26"/>
                    <a:gd name="T56" fmla="*/ 9 w 23"/>
                    <a:gd name="T57" fmla="*/ 1 h 26"/>
                    <a:gd name="T58" fmla="*/ 16 w 23"/>
                    <a:gd name="T59" fmla="*/ 0 h 26"/>
                    <a:gd name="T60" fmla="*/ 16 w 23"/>
                    <a:gd name="T61" fmla="*/ 0 h 26"/>
                    <a:gd name="T62" fmla="*/ 16 w 23"/>
                    <a:gd name="T63" fmla="*/ 0 h 26"/>
                    <a:gd name="T64" fmla="*/ 16 w 23"/>
                    <a:gd name="T65" fmla="*/ 0 h 26"/>
                    <a:gd name="T66" fmla="*/ 17 w 23"/>
                    <a:gd name="T67" fmla="*/ 0 h 26"/>
                    <a:gd name="T68" fmla="*/ 17 w 23"/>
                    <a:gd name="T69" fmla="*/ 0 h 26"/>
                    <a:gd name="T70" fmla="*/ 17 w 23"/>
                    <a:gd name="T71" fmla="*/ 0 h 26"/>
                    <a:gd name="T72" fmla="*/ 17 w 23"/>
                    <a:gd name="T73" fmla="*/ 0 h 26"/>
                    <a:gd name="T74" fmla="*/ 19 w 23"/>
                    <a:gd name="T75" fmla="*/ 4 h 26"/>
                    <a:gd name="T76" fmla="*/ 19 w 23"/>
                    <a:gd name="T77" fmla="*/ 4 h 26"/>
                    <a:gd name="T78" fmla="*/ 20 w 23"/>
                    <a:gd name="T79" fmla="*/ 9 h 26"/>
                    <a:gd name="T80" fmla="*/ 20 w 23"/>
                    <a:gd name="T81" fmla="*/ 9 h 26"/>
                    <a:gd name="T82" fmla="*/ 19 w 23"/>
                    <a:gd name="T83" fmla="*/ 10 h 26"/>
                    <a:gd name="T84" fmla="*/ 19 w 23"/>
                    <a:gd name="T85" fmla="*/ 10 h 26"/>
                    <a:gd name="T86" fmla="*/ 20 w 23"/>
                    <a:gd name="T87" fmla="*/ 12 h 26"/>
                    <a:gd name="T88" fmla="*/ 20 w 23"/>
                    <a:gd name="T89" fmla="*/ 12 h 26"/>
                    <a:gd name="T90" fmla="*/ 22 w 23"/>
                    <a:gd name="T91" fmla="*/ 13 h 26"/>
                    <a:gd name="T92" fmla="*/ 22 w 23"/>
                    <a:gd name="T93" fmla="*/ 13 h 26"/>
                    <a:gd name="T94" fmla="*/ 23 w 23"/>
                    <a:gd name="T95" fmla="*/ 16 h 26"/>
                    <a:gd name="T96" fmla="*/ 23 w 23"/>
                    <a:gd name="T97" fmla="*/ 16 h 26"/>
                    <a:gd name="T98" fmla="*/ 17 w 23"/>
                    <a:gd name="T99" fmla="*/ 2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3" h="26">
                      <a:moveTo>
                        <a:pt x="17" y="26"/>
                      </a:moveTo>
                      <a:lnTo>
                        <a:pt x="17" y="26"/>
                      </a:lnTo>
                      <a:lnTo>
                        <a:pt x="9" y="23"/>
                      </a:lnTo>
                      <a:lnTo>
                        <a:pt x="4" y="20"/>
                      </a:lnTo>
                      <a:lnTo>
                        <a:pt x="3" y="17"/>
                      </a:lnTo>
                      <a:lnTo>
                        <a:pt x="3" y="17"/>
                      </a:lnTo>
                      <a:lnTo>
                        <a:pt x="0" y="10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9" y="1"/>
                      </a:lnTo>
                      <a:lnTo>
                        <a:pt x="9" y="1"/>
                      </a:lnTo>
                      <a:lnTo>
                        <a:pt x="9" y="1"/>
                      </a:lnTo>
                      <a:lnTo>
                        <a:pt x="9" y="1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9" y="4"/>
                      </a:lnTo>
                      <a:lnTo>
                        <a:pt x="19" y="4"/>
                      </a:lnTo>
                      <a:lnTo>
                        <a:pt x="20" y="9"/>
                      </a:lnTo>
                      <a:lnTo>
                        <a:pt x="20" y="9"/>
                      </a:lnTo>
                      <a:lnTo>
                        <a:pt x="19" y="10"/>
                      </a:lnTo>
                      <a:lnTo>
                        <a:pt x="19" y="10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2" y="13"/>
                      </a:lnTo>
                      <a:lnTo>
                        <a:pt x="22" y="13"/>
                      </a:lnTo>
                      <a:lnTo>
                        <a:pt x="23" y="16"/>
                      </a:lnTo>
                      <a:lnTo>
                        <a:pt x="23" y="16"/>
                      </a:lnTo>
                      <a:lnTo>
                        <a:pt x="17" y="2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76" name="Freeform 428"/>
                <p:cNvSpPr>
                  <a:spLocks/>
                </p:cNvSpPr>
                <p:nvPr/>
              </p:nvSpPr>
              <p:spPr bwMode="auto">
                <a:xfrm>
                  <a:off x="5081469" y="3127201"/>
                  <a:ext cx="22753" cy="25721"/>
                </a:xfrm>
                <a:custGeom>
                  <a:avLst/>
                  <a:gdLst>
                    <a:gd name="T0" fmla="*/ 17 w 23"/>
                    <a:gd name="T1" fmla="*/ 26 h 26"/>
                    <a:gd name="T2" fmla="*/ 17 w 23"/>
                    <a:gd name="T3" fmla="*/ 26 h 26"/>
                    <a:gd name="T4" fmla="*/ 9 w 23"/>
                    <a:gd name="T5" fmla="*/ 23 h 26"/>
                    <a:gd name="T6" fmla="*/ 4 w 23"/>
                    <a:gd name="T7" fmla="*/ 20 h 26"/>
                    <a:gd name="T8" fmla="*/ 3 w 23"/>
                    <a:gd name="T9" fmla="*/ 17 h 26"/>
                    <a:gd name="T10" fmla="*/ 3 w 23"/>
                    <a:gd name="T11" fmla="*/ 17 h 26"/>
                    <a:gd name="T12" fmla="*/ 0 w 23"/>
                    <a:gd name="T13" fmla="*/ 10 h 26"/>
                    <a:gd name="T14" fmla="*/ 0 w 23"/>
                    <a:gd name="T15" fmla="*/ 3 h 26"/>
                    <a:gd name="T16" fmla="*/ 0 w 23"/>
                    <a:gd name="T17" fmla="*/ 3 h 26"/>
                    <a:gd name="T18" fmla="*/ 0 w 23"/>
                    <a:gd name="T19" fmla="*/ 3 h 26"/>
                    <a:gd name="T20" fmla="*/ 0 w 23"/>
                    <a:gd name="T21" fmla="*/ 3 h 26"/>
                    <a:gd name="T22" fmla="*/ 0 w 23"/>
                    <a:gd name="T23" fmla="*/ 3 h 26"/>
                    <a:gd name="T24" fmla="*/ 0 w 23"/>
                    <a:gd name="T25" fmla="*/ 3 h 26"/>
                    <a:gd name="T26" fmla="*/ 0 w 23"/>
                    <a:gd name="T27" fmla="*/ 3 h 26"/>
                    <a:gd name="T28" fmla="*/ 0 w 23"/>
                    <a:gd name="T29" fmla="*/ 3 h 26"/>
                    <a:gd name="T30" fmla="*/ 0 w 23"/>
                    <a:gd name="T31" fmla="*/ 3 h 26"/>
                    <a:gd name="T32" fmla="*/ 0 w 23"/>
                    <a:gd name="T33" fmla="*/ 3 h 26"/>
                    <a:gd name="T34" fmla="*/ 1 w 23"/>
                    <a:gd name="T35" fmla="*/ 3 h 26"/>
                    <a:gd name="T36" fmla="*/ 1 w 23"/>
                    <a:gd name="T37" fmla="*/ 3 h 26"/>
                    <a:gd name="T38" fmla="*/ 3 w 23"/>
                    <a:gd name="T39" fmla="*/ 3 h 26"/>
                    <a:gd name="T40" fmla="*/ 3 w 23"/>
                    <a:gd name="T41" fmla="*/ 3 h 26"/>
                    <a:gd name="T42" fmla="*/ 4 w 23"/>
                    <a:gd name="T43" fmla="*/ 3 h 26"/>
                    <a:gd name="T44" fmla="*/ 4 w 23"/>
                    <a:gd name="T45" fmla="*/ 3 h 26"/>
                    <a:gd name="T46" fmla="*/ 6 w 23"/>
                    <a:gd name="T47" fmla="*/ 1 h 26"/>
                    <a:gd name="T48" fmla="*/ 6 w 23"/>
                    <a:gd name="T49" fmla="*/ 1 h 26"/>
                    <a:gd name="T50" fmla="*/ 9 w 23"/>
                    <a:gd name="T51" fmla="*/ 1 h 26"/>
                    <a:gd name="T52" fmla="*/ 9 w 23"/>
                    <a:gd name="T53" fmla="*/ 1 h 26"/>
                    <a:gd name="T54" fmla="*/ 9 w 23"/>
                    <a:gd name="T55" fmla="*/ 1 h 26"/>
                    <a:gd name="T56" fmla="*/ 9 w 23"/>
                    <a:gd name="T57" fmla="*/ 1 h 26"/>
                    <a:gd name="T58" fmla="*/ 16 w 23"/>
                    <a:gd name="T59" fmla="*/ 0 h 26"/>
                    <a:gd name="T60" fmla="*/ 16 w 23"/>
                    <a:gd name="T61" fmla="*/ 0 h 26"/>
                    <a:gd name="T62" fmla="*/ 16 w 23"/>
                    <a:gd name="T63" fmla="*/ 0 h 26"/>
                    <a:gd name="T64" fmla="*/ 16 w 23"/>
                    <a:gd name="T65" fmla="*/ 0 h 26"/>
                    <a:gd name="T66" fmla="*/ 17 w 23"/>
                    <a:gd name="T67" fmla="*/ 0 h 26"/>
                    <a:gd name="T68" fmla="*/ 17 w 23"/>
                    <a:gd name="T69" fmla="*/ 0 h 26"/>
                    <a:gd name="T70" fmla="*/ 17 w 23"/>
                    <a:gd name="T71" fmla="*/ 0 h 26"/>
                    <a:gd name="T72" fmla="*/ 17 w 23"/>
                    <a:gd name="T73" fmla="*/ 0 h 26"/>
                    <a:gd name="T74" fmla="*/ 19 w 23"/>
                    <a:gd name="T75" fmla="*/ 4 h 26"/>
                    <a:gd name="T76" fmla="*/ 19 w 23"/>
                    <a:gd name="T77" fmla="*/ 4 h 26"/>
                    <a:gd name="T78" fmla="*/ 20 w 23"/>
                    <a:gd name="T79" fmla="*/ 9 h 26"/>
                    <a:gd name="T80" fmla="*/ 20 w 23"/>
                    <a:gd name="T81" fmla="*/ 9 h 26"/>
                    <a:gd name="T82" fmla="*/ 19 w 23"/>
                    <a:gd name="T83" fmla="*/ 10 h 26"/>
                    <a:gd name="T84" fmla="*/ 19 w 23"/>
                    <a:gd name="T85" fmla="*/ 10 h 26"/>
                    <a:gd name="T86" fmla="*/ 20 w 23"/>
                    <a:gd name="T87" fmla="*/ 12 h 26"/>
                    <a:gd name="T88" fmla="*/ 20 w 23"/>
                    <a:gd name="T89" fmla="*/ 12 h 26"/>
                    <a:gd name="T90" fmla="*/ 22 w 23"/>
                    <a:gd name="T91" fmla="*/ 13 h 26"/>
                    <a:gd name="T92" fmla="*/ 22 w 23"/>
                    <a:gd name="T93" fmla="*/ 13 h 26"/>
                    <a:gd name="T94" fmla="*/ 23 w 23"/>
                    <a:gd name="T95" fmla="*/ 16 h 26"/>
                    <a:gd name="T96" fmla="*/ 23 w 23"/>
                    <a:gd name="T97" fmla="*/ 16 h 26"/>
                    <a:gd name="T98" fmla="*/ 17 w 23"/>
                    <a:gd name="T99" fmla="*/ 2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3" h="26">
                      <a:moveTo>
                        <a:pt x="17" y="26"/>
                      </a:moveTo>
                      <a:lnTo>
                        <a:pt x="17" y="26"/>
                      </a:lnTo>
                      <a:lnTo>
                        <a:pt x="9" y="23"/>
                      </a:lnTo>
                      <a:lnTo>
                        <a:pt x="4" y="20"/>
                      </a:lnTo>
                      <a:lnTo>
                        <a:pt x="3" y="17"/>
                      </a:lnTo>
                      <a:lnTo>
                        <a:pt x="3" y="17"/>
                      </a:lnTo>
                      <a:lnTo>
                        <a:pt x="0" y="10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9" y="1"/>
                      </a:lnTo>
                      <a:lnTo>
                        <a:pt x="9" y="1"/>
                      </a:lnTo>
                      <a:lnTo>
                        <a:pt x="9" y="1"/>
                      </a:lnTo>
                      <a:lnTo>
                        <a:pt x="9" y="1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9" y="4"/>
                      </a:lnTo>
                      <a:lnTo>
                        <a:pt x="19" y="4"/>
                      </a:lnTo>
                      <a:lnTo>
                        <a:pt x="20" y="9"/>
                      </a:lnTo>
                      <a:lnTo>
                        <a:pt x="20" y="9"/>
                      </a:lnTo>
                      <a:lnTo>
                        <a:pt x="19" y="10"/>
                      </a:lnTo>
                      <a:lnTo>
                        <a:pt x="19" y="10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2" y="13"/>
                      </a:lnTo>
                      <a:lnTo>
                        <a:pt x="22" y="13"/>
                      </a:lnTo>
                      <a:lnTo>
                        <a:pt x="23" y="16"/>
                      </a:lnTo>
                      <a:lnTo>
                        <a:pt x="23" y="16"/>
                      </a:lnTo>
                      <a:lnTo>
                        <a:pt x="17" y="2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77" name="Freeform 429"/>
                <p:cNvSpPr>
                  <a:spLocks noEditPoints="1"/>
                </p:cNvSpPr>
                <p:nvPr/>
              </p:nvSpPr>
              <p:spPr bwMode="auto">
                <a:xfrm>
                  <a:off x="5081469" y="3127201"/>
                  <a:ext cx="16817" cy="2968"/>
                </a:xfrm>
                <a:custGeom>
                  <a:avLst/>
                  <a:gdLst>
                    <a:gd name="T0" fmla="*/ 17 w 17"/>
                    <a:gd name="T1" fmla="*/ 0 h 3"/>
                    <a:gd name="T2" fmla="*/ 17 w 17"/>
                    <a:gd name="T3" fmla="*/ 0 h 3"/>
                    <a:gd name="T4" fmla="*/ 17 w 17"/>
                    <a:gd name="T5" fmla="*/ 0 h 3"/>
                    <a:gd name="T6" fmla="*/ 17 w 17"/>
                    <a:gd name="T7" fmla="*/ 0 h 3"/>
                    <a:gd name="T8" fmla="*/ 17 w 17"/>
                    <a:gd name="T9" fmla="*/ 0 h 3"/>
                    <a:gd name="T10" fmla="*/ 16 w 17"/>
                    <a:gd name="T11" fmla="*/ 0 h 3"/>
                    <a:gd name="T12" fmla="*/ 16 w 17"/>
                    <a:gd name="T13" fmla="*/ 0 h 3"/>
                    <a:gd name="T14" fmla="*/ 16 w 17"/>
                    <a:gd name="T15" fmla="*/ 0 h 3"/>
                    <a:gd name="T16" fmla="*/ 16 w 17"/>
                    <a:gd name="T17" fmla="*/ 0 h 3"/>
                    <a:gd name="T18" fmla="*/ 16 w 17"/>
                    <a:gd name="T19" fmla="*/ 0 h 3"/>
                    <a:gd name="T20" fmla="*/ 9 w 17"/>
                    <a:gd name="T21" fmla="*/ 1 h 3"/>
                    <a:gd name="T22" fmla="*/ 9 w 17"/>
                    <a:gd name="T23" fmla="*/ 1 h 3"/>
                    <a:gd name="T24" fmla="*/ 9 w 17"/>
                    <a:gd name="T25" fmla="*/ 1 h 3"/>
                    <a:gd name="T26" fmla="*/ 9 w 17"/>
                    <a:gd name="T27" fmla="*/ 1 h 3"/>
                    <a:gd name="T28" fmla="*/ 9 w 17"/>
                    <a:gd name="T29" fmla="*/ 1 h 3"/>
                    <a:gd name="T30" fmla="*/ 6 w 17"/>
                    <a:gd name="T31" fmla="*/ 1 h 3"/>
                    <a:gd name="T32" fmla="*/ 6 w 17"/>
                    <a:gd name="T33" fmla="*/ 1 h 3"/>
                    <a:gd name="T34" fmla="*/ 6 w 17"/>
                    <a:gd name="T35" fmla="*/ 1 h 3"/>
                    <a:gd name="T36" fmla="*/ 0 w 17"/>
                    <a:gd name="T37" fmla="*/ 3 h 3"/>
                    <a:gd name="T38" fmla="*/ 0 w 17"/>
                    <a:gd name="T39" fmla="*/ 3 h 3"/>
                    <a:gd name="T40" fmla="*/ 0 w 17"/>
                    <a:gd name="T41" fmla="*/ 3 h 3"/>
                    <a:gd name="T42" fmla="*/ 0 w 17"/>
                    <a:gd name="T43" fmla="*/ 3 h 3"/>
                    <a:gd name="T44" fmla="*/ 0 w 17"/>
                    <a:gd name="T45" fmla="*/ 3 h 3"/>
                    <a:gd name="T46" fmla="*/ 0 w 17"/>
                    <a:gd name="T47" fmla="*/ 3 h 3"/>
                    <a:gd name="T48" fmla="*/ 0 w 17"/>
                    <a:gd name="T49" fmla="*/ 3 h 3"/>
                    <a:gd name="T50" fmla="*/ 0 w 17"/>
                    <a:gd name="T51" fmla="*/ 3 h 3"/>
                    <a:gd name="T52" fmla="*/ 0 w 17"/>
                    <a:gd name="T53" fmla="*/ 3 h 3"/>
                    <a:gd name="T54" fmla="*/ 0 w 17"/>
                    <a:gd name="T55" fmla="*/ 3 h 3"/>
                    <a:gd name="T56" fmla="*/ 3 w 17"/>
                    <a:gd name="T57" fmla="*/ 3 h 3"/>
                    <a:gd name="T58" fmla="*/ 3 w 17"/>
                    <a:gd name="T59" fmla="*/ 3 h 3"/>
                    <a:gd name="T60" fmla="*/ 4 w 17"/>
                    <a:gd name="T61" fmla="*/ 3 h 3"/>
                    <a:gd name="T62" fmla="*/ 4 w 17"/>
                    <a:gd name="T63" fmla="*/ 3 h 3"/>
                    <a:gd name="T64" fmla="*/ 3 w 17"/>
                    <a:gd name="T65" fmla="*/ 3 h 3"/>
                    <a:gd name="T66" fmla="*/ 1 w 17"/>
                    <a:gd name="T67" fmla="*/ 3 h 3"/>
                    <a:gd name="T68" fmla="*/ 1 w 17"/>
                    <a:gd name="T69" fmla="*/ 3 h 3"/>
                    <a:gd name="T70" fmla="*/ 1 w 17"/>
                    <a:gd name="T7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7" h="3">
                      <a:moveTo>
                        <a:pt x="17" y="0"/>
                      </a:move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close/>
                      <a:moveTo>
                        <a:pt x="16" y="0"/>
                      </a:move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close/>
                      <a:moveTo>
                        <a:pt x="9" y="1"/>
                      </a:moveTo>
                      <a:lnTo>
                        <a:pt x="9" y="1"/>
                      </a:lnTo>
                      <a:lnTo>
                        <a:pt x="9" y="1"/>
                      </a:lnTo>
                      <a:lnTo>
                        <a:pt x="9" y="1"/>
                      </a:lnTo>
                      <a:lnTo>
                        <a:pt x="9" y="1"/>
                      </a:lnTo>
                      <a:close/>
                      <a:moveTo>
                        <a:pt x="6" y="1"/>
                      </a:moveTo>
                      <a:lnTo>
                        <a:pt x="6" y="1"/>
                      </a:lnTo>
                      <a:lnTo>
                        <a:pt x="6" y="1"/>
                      </a:lnTo>
                      <a:close/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3" y="3"/>
                      </a:lnTo>
                      <a:close/>
                      <a:moveTo>
                        <a:pt x="1" y="3"/>
                      </a:moveTo>
                      <a:lnTo>
                        <a:pt x="1" y="3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78" name="Rectangle 430"/>
                <p:cNvSpPr>
                  <a:spLocks noChangeArrowheads="1"/>
                </p:cNvSpPr>
                <p:nvPr/>
              </p:nvSpPr>
              <p:spPr bwMode="auto">
                <a:xfrm>
                  <a:off x="5098286" y="3127201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79" name="Rectangle 431"/>
                <p:cNvSpPr>
                  <a:spLocks noChangeArrowheads="1"/>
                </p:cNvSpPr>
                <p:nvPr/>
              </p:nvSpPr>
              <p:spPr bwMode="auto">
                <a:xfrm>
                  <a:off x="5097297" y="3127201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80" name="Rectangle 432"/>
                <p:cNvSpPr>
                  <a:spLocks noChangeArrowheads="1"/>
                </p:cNvSpPr>
                <p:nvPr/>
              </p:nvSpPr>
              <p:spPr bwMode="auto">
                <a:xfrm>
                  <a:off x="5090372" y="3128190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81" name="Freeform 433"/>
                <p:cNvSpPr>
                  <a:spLocks/>
                </p:cNvSpPr>
                <p:nvPr/>
              </p:nvSpPr>
              <p:spPr bwMode="auto">
                <a:xfrm>
                  <a:off x="5087404" y="3128190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82" name="Rectangle 434"/>
                <p:cNvSpPr>
                  <a:spLocks noChangeArrowheads="1"/>
                </p:cNvSpPr>
                <p:nvPr/>
              </p:nvSpPr>
              <p:spPr bwMode="auto">
                <a:xfrm>
                  <a:off x="5081469" y="3130168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83" name="Rectangle 435"/>
                <p:cNvSpPr>
                  <a:spLocks noChangeArrowheads="1"/>
                </p:cNvSpPr>
                <p:nvPr/>
              </p:nvSpPr>
              <p:spPr bwMode="auto">
                <a:xfrm>
                  <a:off x="5081469" y="3130168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84" name="Rectangle 436"/>
                <p:cNvSpPr>
                  <a:spLocks noChangeArrowheads="1"/>
                </p:cNvSpPr>
                <p:nvPr/>
              </p:nvSpPr>
              <p:spPr bwMode="auto">
                <a:xfrm>
                  <a:off x="5084437" y="3130168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85" name="Freeform 437"/>
                <p:cNvSpPr>
                  <a:spLocks/>
                </p:cNvSpPr>
                <p:nvPr/>
              </p:nvSpPr>
              <p:spPr bwMode="auto">
                <a:xfrm>
                  <a:off x="5082458" y="313016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86" name="Freeform 438"/>
                <p:cNvSpPr>
                  <a:spLocks/>
                </p:cNvSpPr>
                <p:nvPr/>
              </p:nvSpPr>
              <p:spPr bwMode="auto">
                <a:xfrm>
                  <a:off x="4941983" y="3092576"/>
                  <a:ext cx="232476" cy="175099"/>
                </a:xfrm>
                <a:custGeom>
                  <a:avLst/>
                  <a:gdLst>
                    <a:gd name="T0" fmla="*/ 84 w 235"/>
                    <a:gd name="T1" fmla="*/ 175 h 177"/>
                    <a:gd name="T2" fmla="*/ 60 w 235"/>
                    <a:gd name="T3" fmla="*/ 165 h 177"/>
                    <a:gd name="T4" fmla="*/ 51 w 235"/>
                    <a:gd name="T5" fmla="*/ 164 h 177"/>
                    <a:gd name="T6" fmla="*/ 29 w 235"/>
                    <a:gd name="T7" fmla="*/ 139 h 177"/>
                    <a:gd name="T8" fmla="*/ 15 w 235"/>
                    <a:gd name="T9" fmla="*/ 120 h 177"/>
                    <a:gd name="T10" fmla="*/ 16 w 235"/>
                    <a:gd name="T11" fmla="*/ 100 h 177"/>
                    <a:gd name="T12" fmla="*/ 21 w 235"/>
                    <a:gd name="T13" fmla="*/ 74 h 177"/>
                    <a:gd name="T14" fmla="*/ 25 w 235"/>
                    <a:gd name="T15" fmla="*/ 68 h 177"/>
                    <a:gd name="T16" fmla="*/ 31 w 235"/>
                    <a:gd name="T17" fmla="*/ 54 h 177"/>
                    <a:gd name="T18" fmla="*/ 38 w 235"/>
                    <a:gd name="T19" fmla="*/ 44 h 177"/>
                    <a:gd name="T20" fmla="*/ 50 w 235"/>
                    <a:gd name="T21" fmla="*/ 32 h 177"/>
                    <a:gd name="T22" fmla="*/ 51 w 235"/>
                    <a:gd name="T23" fmla="*/ 31 h 177"/>
                    <a:gd name="T24" fmla="*/ 51 w 235"/>
                    <a:gd name="T25" fmla="*/ 31 h 177"/>
                    <a:gd name="T26" fmla="*/ 51 w 235"/>
                    <a:gd name="T27" fmla="*/ 31 h 177"/>
                    <a:gd name="T28" fmla="*/ 51 w 235"/>
                    <a:gd name="T29" fmla="*/ 31 h 177"/>
                    <a:gd name="T30" fmla="*/ 53 w 235"/>
                    <a:gd name="T31" fmla="*/ 19 h 177"/>
                    <a:gd name="T32" fmla="*/ 66 w 235"/>
                    <a:gd name="T33" fmla="*/ 7 h 177"/>
                    <a:gd name="T34" fmla="*/ 73 w 235"/>
                    <a:gd name="T35" fmla="*/ 5 h 177"/>
                    <a:gd name="T36" fmla="*/ 77 w 235"/>
                    <a:gd name="T37" fmla="*/ 0 h 177"/>
                    <a:gd name="T38" fmla="*/ 77 w 235"/>
                    <a:gd name="T39" fmla="*/ 0 h 177"/>
                    <a:gd name="T40" fmla="*/ 99 w 235"/>
                    <a:gd name="T41" fmla="*/ 10 h 177"/>
                    <a:gd name="T42" fmla="*/ 99 w 235"/>
                    <a:gd name="T43" fmla="*/ 10 h 177"/>
                    <a:gd name="T44" fmla="*/ 99 w 235"/>
                    <a:gd name="T45" fmla="*/ 10 h 177"/>
                    <a:gd name="T46" fmla="*/ 99 w 235"/>
                    <a:gd name="T47" fmla="*/ 10 h 177"/>
                    <a:gd name="T48" fmla="*/ 113 w 235"/>
                    <a:gd name="T49" fmla="*/ 13 h 177"/>
                    <a:gd name="T50" fmla="*/ 126 w 235"/>
                    <a:gd name="T51" fmla="*/ 22 h 177"/>
                    <a:gd name="T52" fmla="*/ 137 w 235"/>
                    <a:gd name="T53" fmla="*/ 36 h 177"/>
                    <a:gd name="T54" fmla="*/ 141 w 235"/>
                    <a:gd name="T55" fmla="*/ 38 h 177"/>
                    <a:gd name="T56" fmla="*/ 144 w 235"/>
                    <a:gd name="T57" fmla="*/ 52 h 177"/>
                    <a:gd name="T58" fmla="*/ 150 w 235"/>
                    <a:gd name="T59" fmla="*/ 58 h 177"/>
                    <a:gd name="T60" fmla="*/ 157 w 235"/>
                    <a:gd name="T61" fmla="*/ 65 h 177"/>
                    <a:gd name="T62" fmla="*/ 157 w 235"/>
                    <a:gd name="T63" fmla="*/ 67 h 177"/>
                    <a:gd name="T64" fmla="*/ 168 w 235"/>
                    <a:gd name="T65" fmla="*/ 81 h 177"/>
                    <a:gd name="T66" fmla="*/ 197 w 235"/>
                    <a:gd name="T67" fmla="*/ 100 h 177"/>
                    <a:gd name="T68" fmla="*/ 235 w 235"/>
                    <a:gd name="T69" fmla="*/ 109 h 177"/>
                    <a:gd name="T70" fmla="*/ 235 w 235"/>
                    <a:gd name="T71" fmla="*/ 109 h 177"/>
                    <a:gd name="T72" fmla="*/ 218 w 235"/>
                    <a:gd name="T73" fmla="*/ 133 h 177"/>
                    <a:gd name="T74" fmla="*/ 192 w 235"/>
                    <a:gd name="T75" fmla="*/ 152 h 177"/>
                    <a:gd name="T76" fmla="*/ 176 w 235"/>
                    <a:gd name="T77" fmla="*/ 158 h 177"/>
                    <a:gd name="T78" fmla="*/ 160 w 235"/>
                    <a:gd name="T79" fmla="*/ 167 h 177"/>
                    <a:gd name="T80" fmla="*/ 150 w 235"/>
                    <a:gd name="T81" fmla="*/ 171 h 177"/>
                    <a:gd name="T82" fmla="*/ 121 w 235"/>
                    <a:gd name="T83" fmla="*/ 167 h 177"/>
                    <a:gd name="T84" fmla="*/ 115 w 235"/>
                    <a:gd name="T85" fmla="*/ 168 h 177"/>
                    <a:gd name="T86" fmla="*/ 106 w 235"/>
                    <a:gd name="T87" fmla="*/ 175 h 177"/>
                    <a:gd name="T88" fmla="*/ 96 w 235"/>
                    <a:gd name="T89" fmla="*/ 177 h 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35" h="177">
                      <a:moveTo>
                        <a:pt x="96" y="177"/>
                      </a:moveTo>
                      <a:lnTo>
                        <a:pt x="96" y="177"/>
                      </a:lnTo>
                      <a:lnTo>
                        <a:pt x="84" y="175"/>
                      </a:lnTo>
                      <a:lnTo>
                        <a:pt x="76" y="173"/>
                      </a:lnTo>
                      <a:lnTo>
                        <a:pt x="60" y="165"/>
                      </a:lnTo>
                      <a:lnTo>
                        <a:pt x="60" y="165"/>
                      </a:lnTo>
                      <a:lnTo>
                        <a:pt x="55" y="164"/>
                      </a:lnTo>
                      <a:lnTo>
                        <a:pt x="51" y="164"/>
                      </a:lnTo>
                      <a:lnTo>
                        <a:pt x="51" y="164"/>
                      </a:lnTo>
                      <a:lnTo>
                        <a:pt x="44" y="164"/>
                      </a:lnTo>
                      <a:lnTo>
                        <a:pt x="44" y="164"/>
                      </a:lnTo>
                      <a:lnTo>
                        <a:pt x="29" y="139"/>
                      </a:lnTo>
                      <a:lnTo>
                        <a:pt x="21" y="128"/>
                      </a:lnTo>
                      <a:lnTo>
                        <a:pt x="15" y="120"/>
                      </a:lnTo>
                      <a:lnTo>
                        <a:pt x="15" y="120"/>
                      </a:lnTo>
                      <a:lnTo>
                        <a:pt x="0" y="112"/>
                      </a:lnTo>
                      <a:lnTo>
                        <a:pt x="0" y="100"/>
                      </a:lnTo>
                      <a:lnTo>
                        <a:pt x="16" y="100"/>
                      </a:lnTo>
                      <a:lnTo>
                        <a:pt x="16" y="100"/>
                      </a:lnTo>
                      <a:lnTo>
                        <a:pt x="18" y="86"/>
                      </a:lnTo>
                      <a:lnTo>
                        <a:pt x="21" y="74"/>
                      </a:lnTo>
                      <a:lnTo>
                        <a:pt x="22" y="70"/>
                      </a:lnTo>
                      <a:lnTo>
                        <a:pt x="25" y="68"/>
                      </a:lnTo>
                      <a:lnTo>
                        <a:pt x="25" y="68"/>
                      </a:lnTo>
                      <a:lnTo>
                        <a:pt x="28" y="64"/>
                      </a:lnTo>
                      <a:lnTo>
                        <a:pt x="29" y="58"/>
                      </a:lnTo>
                      <a:lnTo>
                        <a:pt x="31" y="54"/>
                      </a:lnTo>
                      <a:lnTo>
                        <a:pt x="34" y="48"/>
                      </a:lnTo>
                      <a:lnTo>
                        <a:pt x="34" y="48"/>
                      </a:lnTo>
                      <a:lnTo>
                        <a:pt x="38" y="44"/>
                      </a:lnTo>
                      <a:lnTo>
                        <a:pt x="42" y="41"/>
                      </a:lnTo>
                      <a:lnTo>
                        <a:pt x="47" y="36"/>
                      </a:lnTo>
                      <a:lnTo>
                        <a:pt x="50" y="32"/>
                      </a:lnTo>
                      <a:lnTo>
                        <a:pt x="50" y="32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3" y="19"/>
                      </a:lnTo>
                      <a:lnTo>
                        <a:pt x="54" y="6"/>
                      </a:lnTo>
                      <a:lnTo>
                        <a:pt x="54" y="6"/>
                      </a:lnTo>
                      <a:lnTo>
                        <a:pt x="66" y="7"/>
                      </a:lnTo>
                      <a:lnTo>
                        <a:pt x="66" y="7"/>
                      </a:lnTo>
                      <a:lnTo>
                        <a:pt x="70" y="6"/>
                      </a:lnTo>
                      <a:lnTo>
                        <a:pt x="73" y="5"/>
                      </a:lnTo>
                      <a:lnTo>
                        <a:pt x="76" y="0"/>
                      </a:lnTo>
                      <a:lnTo>
                        <a:pt x="76" y="0"/>
                      </a:lnTo>
                      <a:lnTo>
                        <a:pt x="77" y="0"/>
                      </a:lnTo>
                      <a:lnTo>
                        <a:pt x="77" y="0"/>
                      </a:lnTo>
                      <a:lnTo>
                        <a:pt x="77" y="0"/>
                      </a:lnTo>
                      <a:lnTo>
                        <a:pt x="77" y="0"/>
                      </a:lnTo>
                      <a:lnTo>
                        <a:pt x="81" y="2"/>
                      </a:lnTo>
                      <a:lnTo>
                        <a:pt x="87" y="5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113" y="13"/>
                      </a:lnTo>
                      <a:lnTo>
                        <a:pt x="121" y="16"/>
                      </a:lnTo>
                      <a:lnTo>
                        <a:pt x="124" y="19"/>
                      </a:lnTo>
                      <a:lnTo>
                        <a:pt x="126" y="22"/>
                      </a:lnTo>
                      <a:lnTo>
                        <a:pt x="126" y="22"/>
                      </a:lnTo>
                      <a:lnTo>
                        <a:pt x="134" y="33"/>
                      </a:lnTo>
                      <a:lnTo>
                        <a:pt x="137" y="36"/>
                      </a:lnTo>
                      <a:lnTo>
                        <a:pt x="141" y="38"/>
                      </a:lnTo>
                      <a:lnTo>
                        <a:pt x="141" y="38"/>
                      </a:lnTo>
                      <a:lnTo>
                        <a:pt x="141" y="38"/>
                      </a:lnTo>
                      <a:lnTo>
                        <a:pt x="141" y="38"/>
                      </a:lnTo>
                      <a:lnTo>
                        <a:pt x="141" y="45"/>
                      </a:lnTo>
                      <a:lnTo>
                        <a:pt x="144" y="52"/>
                      </a:lnTo>
                      <a:lnTo>
                        <a:pt x="144" y="52"/>
                      </a:lnTo>
                      <a:lnTo>
                        <a:pt x="145" y="55"/>
                      </a:lnTo>
                      <a:lnTo>
                        <a:pt x="150" y="58"/>
                      </a:lnTo>
                      <a:lnTo>
                        <a:pt x="158" y="61"/>
                      </a:lnTo>
                      <a:lnTo>
                        <a:pt x="158" y="61"/>
                      </a:lnTo>
                      <a:lnTo>
                        <a:pt x="157" y="65"/>
                      </a:lnTo>
                      <a:lnTo>
                        <a:pt x="157" y="65"/>
                      </a:lnTo>
                      <a:lnTo>
                        <a:pt x="157" y="67"/>
                      </a:lnTo>
                      <a:lnTo>
                        <a:pt x="157" y="67"/>
                      </a:lnTo>
                      <a:lnTo>
                        <a:pt x="157" y="71"/>
                      </a:lnTo>
                      <a:lnTo>
                        <a:pt x="160" y="74"/>
                      </a:lnTo>
                      <a:lnTo>
                        <a:pt x="168" y="81"/>
                      </a:lnTo>
                      <a:lnTo>
                        <a:pt x="192" y="96"/>
                      </a:lnTo>
                      <a:lnTo>
                        <a:pt x="192" y="96"/>
                      </a:lnTo>
                      <a:lnTo>
                        <a:pt x="197" y="100"/>
                      </a:lnTo>
                      <a:lnTo>
                        <a:pt x="203" y="102"/>
                      </a:lnTo>
                      <a:lnTo>
                        <a:pt x="216" y="104"/>
                      </a:lnTo>
                      <a:lnTo>
                        <a:pt x="235" y="109"/>
                      </a:lnTo>
                      <a:lnTo>
                        <a:pt x="235" y="109"/>
                      </a:lnTo>
                      <a:lnTo>
                        <a:pt x="235" y="109"/>
                      </a:lnTo>
                      <a:lnTo>
                        <a:pt x="235" y="109"/>
                      </a:lnTo>
                      <a:lnTo>
                        <a:pt x="232" y="116"/>
                      </a:lnTo>
                      <a:lnTo>
                        <a:pt x="225" y="125"/>
                      </a:lnTo>
                      <a:lnTo>
                        <a:pt x="218" y="133"/>
                      </a:lnTo>
                      <a:lnTo>
                        <a:pt x="209" y="141"/>
                      </a:lnTo>
                      <a:lnTo>
                        <a:pt x="209" y="141"/>
                      </a:lnTo>
                      <a:lnTo>
                        <a:pt x="192" y="152"/>
                      </a:lnTo>
                      <a:lnTo>
                        <a:pt x="184" y="157"/>
                      </a:lnTo>
                      <a:lnTo>
                        <a:pt x="176" y="158"/>
                      </a:lnTo>
                      <a:lnTo>
                        <a:pt x="176" y="158"/>
                      </a:lnTo>
                      <a:lnTo>
                        <a:pt x="170" y="160"/>
                      </a:lnTo>
                      <a:lnTo>
                        <a:pt x="164" y="162"/>
                      </a:lnTo>
                      <a:lnTo>
                        <a:pt x="160" y="167"/>
                      </a:lnTo>
                      <a:lnTo>
                        <a:pt x="155" y="170"/>
                      </a:lnTo>
                      <a:lnTo>
                        <a:pt x="155" y="170"/>
                      </a:lnTo>
                      <a:lnTo>
                        <a:pt x="150" y="171"/>
                      </a:lnTo>
                      <a:lnTo>
                        <a:pt x="150" y="171"/>
                      </a:lnTo>
                      <a:lnTo>
                        <a:pt x="135" y="170"/>
                      </a:lnTo>
                      <a:lnTo>
                        <a:pt x="121" y="167"/>
                      </a:lnTo>
                      <a:lnTo>
                        <a:pt x="121" y="167"/>
                      </a:lnTo>
                      <a:lnTo>
                        <a:pt x="118" y="168"/>
                      </a:lnTo>
                      <a:lnTo>
                        <a:pt x="115" y="168"/>
                      </a:lnTo>
                      <a:lnTo>
                        <a:pt x="113" y="171"/>
                      </a:lnTo>
                      <a:lnTo>
                        <a:pt x="109" y="174"/>
                      </a:lnTo>
                      <a:lnTo>
                        <a:pt x="106" y="175"/>
                      </a:lnTo>
                      <a:lnTo>
                        <a:pt x="100" y="177"/>
                      </a:lnTo>
                      <a:lnTo>
                        <a:pt x="100" y="177"/>
                      </a:lnTo>
                      <a:lnTo>
                        <a:pt x="96" y="17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87" name="Freeform 439"/>
                <p:cNvSpPr>
                  <a:spLocks/>
                </p:cNvSpPr>
                <p:nvPr/>
              </p:nvSpPr>
              <p:spPr bwMode="auto">
                <a:xfrm>
                  <a:off x="4941983" y="3092576"/>
                  <a:ext cx="232476" cy="175099"/>
                </a:xfrm>
                <a:custGeom>
                  <a:avLst/>
                  <a:gdLst>
                    <a:gd name="T0" fmla="*/ 84 w 235"/>
                    <a:gd name="T1" fmla="*/ 175 h 177"/>
                    <a:gd name="T2" fmla="*/ 60 w 235"/>
                    <a:gd name="T3" fmla="*/ 165 h 177"/>
                    <a:gd name="T4" fmla="*/ 51 w 235"/>
                    <a:gd name="T5" fmla="*/ 164 h 177"/>
                    <a:gd name="T6" fmla="*/ 29 w 235"/>
                    <a:gd name="T7" fmla="*/ 139 h 177"/>
                    <a:gd name="T8" fmla="*/ 15 w 235"/>
                    <a:gd name="T9" fmla="*/ 120 h 177"/>
                    <a:gd name="T10" fmla="*/ 16 w 235"/>
                    <a:gd name="T11" fmla="*/ 100 h 177"/>
                    <a:gd name="T12" fmla="*/ 21 w 235"/>
                    <a:gd name="T13" fmla="*/ 74 h 177"/>
                    <a:gd name="T14" fmla="*/ 25 w 235"/>
                    <a:gd name="T15" fmla="*/ 68 h 177"/>
                    <a:gd name="T16" fmla="*/ 31 w 235"/>
                    <a:gd name="T17" fmla="*/ 54 h 177"/>
                    <a:gd name="T18" fmla="*/ 38 w 235"/>
                    <a:gd name="T19" fmla="*/ 44 h 177"/>
                    <a:gd name="T20" fmla="*/ 50 w 235"/>
                    <a:gd name="T21" fmla="*/ 32 h 177"/>
                    <a:gd name="T22" fmla="*/ 51 w 235"/>
                    <a:gd name="T23" fmla="*/ 31 h 177"/>
                    <a:gd name="T24" fmla="*/ 51 w 235"/>
                    <a:gd name="T25" fmla="*/ 31 h 177"/>
                    <a:gd name="T26" fmla="*/ 51 w 235"/>
                    <a:gd name="T27" fmla="*/ 31 h 177"/>
                    <a:gd name="T28" fmla="*/ 51 w 235"/>
                    <a:gd name="T29" fmla="*/ 31 h 177"/>
                    <a:gd name="T30" fmla="*/ 53 w 235"/>
                    <a:gd name="T31" fmla="*/ 19 h 177"/>
                    <a:gd name="T32" fmla="*/ 66 w 235"/>
                    <a:gd name="T33" fmla="*/ 7 h 177"/>
                    <a:gd name="T34" fmla="*/ 73 w 235"/>
                    <a:gd name="T35" fmla="*/ 5 h 177"/>
                    <a:gd name="T36" fmla="*/ 77 w 235"/>
                    <a:gd name="T37" fmla="*/ 0 h 177"/>
                    <a:gd name="T38" fmla="*/ 77 w 235"/>
                    <a:gd name="T39" fmla="*/ 0 h 177"/>
                    <a:gd name="T40" fmla="*/ 99 w 235"/>
                    <a:gd name="T41" fmla="*/ 10 h 177"/>
                    <a:gd name="T42" fmla="*/ 99 w 235"/>
                    <a:gd name="T43" fmla="*/ 10 h 177"/>
                    <a:gd name="T44" fmla="*/ 99 w 235"/>
                    <a:gd name="T45" fmla="*/ 10 h 177"/>
                    <a:gd name="T46" fmla="*/ 99 w 235"/>
                    <a:gd name="T47" fmla="*/ 10 h 177"/>
                    <a:gd name="T48" fmla="*/ 113 w 235"/>
                    <a:gd name="T49" fmla="*/ 13 h 177"/>
                    <a:gd name="T50" fmla="*/ 126 w 235"/>
                    <a:gd name="T51" fmla="*/ 22 h 177"/>
                    <a:gd name="T52" fmla="*/ 137 w 235"/>
                    <a:gd name="T53" fmla="*/ 36 h 177"/>
                    <a:gd name="T54" fmla="*/ 141 w 235"/>
                    <a:gd name="T55" fmla="*/ 38 h 177"/>
                    <a:gd name="T56" fmla="*/ 144 w 235"/>
                    <a:gd name="T57" fmla="*/ 52 h 177"/>
                    <a:gd name="T58" fmla="*/ 150 w 235"/>
                    <a:gd name="T59" fmla="*/ 58 h 177"/>
                    <a:gd name="T60" fmla="*/ 157 w 235"/>
                    <a:gd name="T61" fmla="*/ 65 h 177"/>
                    <a:gd name="T62" fmla="*/ 157 w 235"/>
                    <a:gd name="T63" fmla="*/ 67 h 177"/>
                    <a:gd name="T64" fmla="*/ 168 w 235"/>
                    <a:gd name="T65" fmla="*/ 81 h 177"/>
                    <a:gd name="T66" fmla="*/ 197 w 235"/>
                    <a:gd name="T67" fmla="*/ 100 h 177"/>
                    <a:gd name="T68" fmla="*/ 235 w 235"/>
                    <a:gd name="T69" fmla="*/ 109 h 177"/>
                    <a:gd name="T70" fmla="*/ 235 w 235"/>
                    <a:gd name="T71" fmla="*/ 109 h 177"/>
                    <a:gd name="T72" fmla="*/ 218 w 235"/>
                    <a:gd name="T73" fmla="*/ 133 h 177"/>
                    <a:gd name="T74" fmla="*/ 192 w 235"/>
                    <a:gd name="T75" fmla="*/ 152 h 177"/>
                    <a:gd name="T76" fmla="*/ 176 w 235"/>
                    <a:gd name="T77" fmla="*/ 158 h 177"/>
                    <a:gd name="T78" fmla="*/ 160 w 235"/>
                    <a:gd name="T79" fmla="*/ 167 h 177"/>
                    <a:gd name="T80" fmla="*/ 150 w 235"/>
                    <a:gd name="T81" fmla="*/ 171 h 177"/>
                    <a:gd name="T82" fmla="*/ 121 w 235"/>
                    <a:gd name="T83" fmla="*/ 167 h 177"/>
                    <a:gd name="T84" fmla="*/ 115 w 235"/>
                    <a:gd name="T85" fmla="*/ 168 h 177"/>
                    <a:gd name="T86" fmla="*/ 106 w 235"/>
                    <a:gd name="T87" fmla="*/ 175 h 177"/>
                    <a:gd name="T88" fmla="*/ 96 w 235"/>
                    <a:gd name="T89" fmla="*/ 177 h 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35" h="177">
                      <a:moveTo>
                        <a:pt x="96" y="177"/>
                      </a:moveTo>
                      <a:lnTo>
                        <a:pt x="96" y="177"/>
                      </a:lnTo>
                      <a:lnTo>
                        <a:pt x="84" y="175"/>
                      </a:lnTo>
                      <a:lnTo>
                        <a:pt x="76" y="173"/>
                      </a:lnTo>
                      <a:lnTo>
                        <a:pt x="60" y="165"/>
                      </a:lnTo>
                      <a:lnTo>
                        <a:pt x="60" y="165"/>
                      </a:lnTo>
                      <a:lnTo>
                        <a:pt x="55" y="164"/>
                      </a:lnTo>
                      <a:lnTo>
                        <a:pt x="51" y="164"/>
                      </a:lnTo>
                      <a:lnTo>
                        <a:pt x="51" y="164"/>
                      </a:lnTo>
                      <a:lnTo>
                        <a:pt x="44" y="164"/>
                      </a:lnTo>
                      <a:lnTo>
                        <a:pt x="44" y="164"/>
                      </a:lnTo>
                      <a:lnTo>
                        <a:pt x="29" y="139"/>
                      </a:lnTo>
                      <a:lnTo>
                        <a:pt x="21" y="128"/>
                      </a:lnTo>
                      <a:lnTo>
                        <a:pt x="15" y="120"/>
                      </a:lnTo>
                      <a:lnTo>
                        <a:pt x="15" y="120"/>
                      </a:lnTo>
                      <a:lnTo>
                        <a:pt x="0" y="112"/>
                      </a:lnTo>
                      <a:lnTo>
                        <a:pt x="0" y="100"/>
                      </a:lnTo>
                      <a:lnTo>
                        <a:pt x="16" y="100"/>
                      </a:lnTo>
                      <a:lnTo>
                        <a:pt x="16" y="100"/>
                      </a:lnTo>
                      <a:lnTo>
                        <a:pt x="18" y="86"/>
                      </a:lnTo>
                      <a:lnTo>
                        <a:pt x="21" y="74"/>
                      </a:lnTo>
                      <a:lnTo>
                        <a:pt x="22" y="70"/>
                      </a:lnTo>
                      <a:lnTo>
                        <a:pt x="25" y="68"/>
                      </a:lnTo>
                      <a:lnTo>
                        <a:pt x="25" y="68"/>
                      </a:lnTo>
                      <a:lnTo>
                        <a:pt x="28" y="64"/>
                      </a:lnTo>
                      <a:lnTo>
                        <a:pt x="29" y="58"/>
                      </a:lnTo>
                      <a:lnTo>
                        <a:pt x="31" y="54"/>
                      </a:lnTo>
                      <a:lnTo>
                        <a:pt x="34" y="48"/>
                      </a:lnTo>
                      <a:lnTo>
                        <a:pt x="34" y="48"/>
                      </a:lnTo>
                      <a:lnTo>
                        <a:pt x="38" y="44"/>
                      </a:lnTo>
                      <a:lnTo>
                        <a:pt x="42" y="41"/>
                      </a:lnTo>
                      <a:lnTo>
                        <a:pt x="47" y="36"/>
                      </a:lnTo>
                      <a:lnTo>
                        <a:pt x="50" y="32"/>
                      </a:lnTo>
                      <a:lnTo>
                        <a:pt x="50" y="32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1" y="31"/>
                      </a:lnTo>
                      <a:lnTo>
                        <a:pt x="53" y="19"/>
                      </a:lnTo>
                      <a:lnTo>
                        <a:pt x="54" y="6"/>
                      </a:lnTo>
                      <a:lnTo>
                        <a:pt x="54" y="6"/>
                      </a:lnTo>
                      <a:lnTo>
                        <a:pt x="66" y="7"/>
                      </a:lnTo>
                      <a:lnTo>
                        <a:pt x="66" y="7"/>
                      </a:lnTo>
                      <a:lnTo>
                        <a:pt x="70" y="6"/>
                      </a:lnTo>
                      <a:lnTo>
                        <a:pt x="73" y="5"/>
                      </a:lnTo>
                      <a:lnTo>
                        <a:pt x="76" y="0"/>
                      </a:lnTo>
                      <a:lnTo>
                        <a:pt x="76" y="0"/>
                      </a:lnTo>
                      <a:lnTo>
                        <a:pt x="77" y="0"/>
                      </a:lnTo>
                      <a:lnTo>
                        <a:pt x="77" y="0"/>
                      </a:lnTo>
                      <a:lnTo>
                        <a:pt x="77" y="0"/>
                      </a:lnTo>
                      <a:lnTo>
                        <a:pt x="77" y="0"/>
                      </a:lnTo>
                      <a:lnTo>
                        <a:pt x="81" y="2"/>
                      </a:lnTo>
                      <a:lnTo>
                        <a:pt x="87" y="5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113" y="13"/>
                      </a:lnTo>
                      <a:lnTo>
                        <a:pt x="121" y="16"/>
                      </a:lnTo>
                      <a:lnTo>
                        <a:pt x="124" y="19"/>
                      </a:lnTo>
                      <a:lnTo>
                        <a:pt x="126" y="22"/>
                      </a:lnTo>
                      <a:lnTo>
                        <a:pt x="126" y="22"/>
                      </a:lnTo>
                      <a:lnTo>
                        <a:pt x="134" y="33"/>
                      </a:lnTo>
                      <a:lnTo>
                        <a:pt x="137" y="36"/>
                      </a:lnTo>
                      <a:lnTo>
                        <a:pt x="141" y="38"/>
                      </a:lnTo>
                      <a:lnTo>
                        <a:pt x="141" y="38"/>
                      </a:lnTo>
                      <a:lnTo>
                        <a:pt x="141" y="38"/>
                      </a:lnTo>
                      <a:lnTo>
                        <a:pt x="141" y="38"/>
                      </a:lnTo>
                      <a:lnTo>
                        <a:pt x="141" y="45"/>
                      </a:lnTo>
                      <a:lnTo>
                        <a:pt x="144" y="52"/>
                      </a:lnTo>
                      <a:lnTo>
                        <a:pt x="144" y="52"/>
                      </a:lnTo>
                      <a:lnTo>
                        <a:pt x="145" y="55"/>
                      </a:lnTo>
                      <a:lnTo>
                        <a:pt x="150" y="58"/>
                      </a:lnTo>
                      <a:lnTo>
                        <a:pt x="158" y="61"/>
                      </a:lnTo>
                      <a:lnTo>
                        <a:pt x="158" y="61"/>
                      </a:lnTo>
                      <a:lnTo>
                        <a:pt x="157" y="65"/>
                      </a:lnTo>
                      <a:lnTo>
                        <a:pt x="157" y="65"/>
                      </a:lnTo>
                      <a:lnTo>
                        <a:pt x="157" y="67"/>
                      </a:lnTo>
                      <a:lnTo>
                        <a:pt x="157" y="67"/>
                      </a:lnTo>
                      <a:lnTo>
                        <a:pt x="157" y="71"/>
                      </a:lnTo>
                      <a:lnTo>
                        <a:pt x="160" y="74"/>
                      </a:lnTo>
                      <a:lnTo>
                        <a:pt x="168" y="81"/>
                      </a:lnTo>
                      <a:lnTo>
                        <a:pt x="192" y="96"/>
                      </a:lnTo>
                      <a:lnTo>
                        <a:pt x="192" y="96"/>
                      </a:lnTo>
                      <a:lnTo>
                        <a:pt x="197" y="100"/>
                      </a:lnTo>
                      <a:lnTo>
                        <a:pt x="203" y="102"/>
                      </a:lnTo>
                      <a:lnTo>
                        <a:pt x="216" y="104"/>
                      </a:lnTo>
                      <a:lnTo>
                        <a:pt x="235" y="109"/>
                      </a:lnTo>
                      <a:lnTo>
                        <a:pt x="235" y="109"/>
                      </a:lnTo>
                      <a:lnTo>
                        <a:pt x="235" y="109"/>
                      </a:lnTo>
                      <a:lnTo>
                        <a:pt x="235" y="109"/>
                      </a:lnTo>
                      <a:lnTo>
                        <a:pt x="232" y="116"/>
                      </a:lnTo>
                      <a:lnTo>
                        <a:pt x="225" y="125"/>
                      </a:lnTo>
                      <a:lnTo>
                        <a:pt x="218" y="133"/>
                      </a:lnTo>
                      <a:lnTo>
                        <a:pt x="209" y="141"/>
                      </a:lnTo>
                      <a:lnTo>
                        <a:pt x="209" y="141"/>
                      </a:lnTo>
                      <a:lnTo>
                        <a:pt x="192" y="152"/>
                      </a:lnTo>
                      <a:lnTo>
                        <a:pt x="184" y="157"/>
                      </a:lnTo>
                      <a:lnTo>
                        <a:pt x="176" y="158"/>
                      </a:lnTo>
                      <a:lnTo>
                        <a:pt x="176" y="158"/>
                      </a:lnTo>
                      <a:lnTo>
                        <a:pt x="170" y="160"/>
                      </a:lnTo>
                      <a:lnTo>
                        <a:pt x="164" y="162"/>
                      </a:lnTo>
                      <a:lnTo>
                        <a:pt x="160" y="167"/>
                      </a:lnTo>
                      <a:lnTo>
                        <a:pt x="155" y="170"/>
                      </a:lnTo>
                      <a:lnTo>
                        <a:pt x="155" y="170"/>
                      </a:lnTo>
                      <a:lnTo>
                        <a:pt x="150" y="171"/>
                      </a:lnTo>
                      <a:lnTo>
                        <a:pt x="150" y="171"/>
                      </a:lnTo>
                      <a:lnTo>
                        <a:pt x="135" y="170"/>
                      </a:lnTo>
                      <a:lnTo>
                        <a:pt x="121" y="167"/>
                      </a:lnTo>
                      <a:lnTo>
                        <a:pt x="121" y="167"/>
                      </a:lnTo>
                      <a:lnTo>
                        <a:pt x="118" y="168"/>
                      </a:lnTo>
                      <a:lnTo>
                        <a:pt x="115" y="168"/>
                      </a:lnTo>
                      <a:lnTo>
                        <a:pt x="113" y="171"/>
                      </a:lnTo>
                      <a:lnTo>
                        <a:pt x="109" y="174"/>
                      </a:lnTo>
                      <a:lnTo>
                        <a:pt x="106" y="175"/>
                      </a:lnTo>
                      <a:lnTo>
                        <a:pt x="100" y="177"/>
                      </a:lnTo>
                      <a:lnTo>
                        <a:pt x="100" y="177"/>
                      </a:lnTo>
                      <a:lnTo>
                        <a:pt x="96" y="17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88" name="Freeform 440"/>
                <p:cNvSpPr>
                  <a:spLocks noEditPoints="1"/>
                </p:cNvSpPr>
                <p:nvPr/>
              </p:nvSpPr>
              <p:spPr bwMode="auto">
                <a:xfrm>
                  <a:off x="4941983" y="3123244"/>
                  <a:ext cx="50452" cy="131572"/>
                </a:xfrm>
                <a:custGeom>
                  <a:avLst/>
                  <a:gdLst>
                    <a:gd name="T0" fmla="*/ 51 w 51"/>
                    <a:gd name="T1" fmla="*/ 0 h 133"/>
                    <a:gd name="T2" fmla="*/ 51 w 51"/>
                    <a:gd name="T3" fmla="*/ 0 h 133"/>
                    <a:gd name="T4" fmla="*/ 51 w 51"/>
                    <a:gd name="T5" fmla="*/ 0 h 133"/>
                    <a:gd name="T6" fmla="*/ 51 w 51"/>
                    <a:gd name="T7" fmla="*/ 0 h 133"/>
                    <a:gd name="T8" fmla="*/ 51 w 51"/>
                    <a:gd name="T9" fmla="*/ 0 h 133"/>
                    <a:gd name="T10" fmla="*/ 51 w 51"/>
                    <a:gd name="T11" fmla="*/ 0 h 133"/>
                    <a:gd name="T12" fmla="*/ 51 w 51"/>
                    <a:gd name="T13" fmla="*/ 0 h 133"/>
                    <a:gd name="T14" fmla="*/ 51 w 51"/>
                    <a:gd name="T15" fmla="*/ 0 h 133"/>
                    <a:gd name="T16" fmla="*/ 51 w 51"/>
                    <a:gd name="T17" fmla="*/ 0 h 133"/>
                    <a:gd name="T18" fmla="*/ 51 w 51"/>
                    <a:gd name="T19" fmla="*/ 0 h 133"/>
                    <a:gd name="T20" fmla="*/ 51 w 51"/>
                    <a:gd name="T21" fmla="*/ 0 h 133"/>
                    <a:gd name="T22" fmla="*/ 51 w 51"/>
                    <a:gd name="T23" fmla="*/ 0 h 133"/>
                    <a:gd name="T24" fmla="*/ 51 w 51"/>
                    <a:gd name="T25" fmla="*/ 0 h 133"/>
                    <a:gd name="T26" fmla="*/ 51 w 51"/>
                    <a:gd name="T27" fmla="*/ 0 h 133"/>
                    <a:gd name="T28" fmla="*/ 51 w 51"/>
                    <a:gd name="T29" fmla="*/ 0 h 133"/>
                    <a:gd name="T30" fmla="*/ 50 w 51"/>
                    <a:gd name="T31" fmla="*/ 1 h 133"/>
                    <a:gd name="T32" fmla="*/ 50 w 51"/>
                    <a:gd name="T33" fmla="*/ 1 h 133"/>
                    <a:gd name="T34" fmla="*/ 51 w 51"/>
                    <a:gd name="T35" fmla="*/ 0 h 133"/>
                    <a:gd name="T36" fmla="*/ 51 w 51"/>
                    <a:gd name="T37" fmla="*/ 0 h 133"/>
                    <a:gd name="T38" fmla="*/ 50 w 51"/>
                    <a:gd name="T39" fmla="*/ 1 h 133"/>
                    <a:gd name="T40" fmla="*/ 44 w 51"/>
                    <a:gd name="T41" fmla="*/ 133 h 133"/>
                    <a:gd name="T42" fmla="*/ 44 w 51"/>
                    <a:gd name="T43" fmla="*/ 133 h 133"/>
                    <a:gd name="T44" fmla="*/ 29 w 51"/>
                    <a:gd name="T45" fmla="*/ 108 h 133"/>
                    <a:gd name="T46" fmla="*/ 21 w 51"/>
                    <a:gd name="T47" fmla="*/ 97 h 133"/>
                    <a:gd name="T48" fmla="*/ 15 w 51"/>
                    <a:gd name="T49" fmla="*/ 89 h 133"/>
                    <a:gd name="T50" fmla="*/ 15 w 51"/>
                    <a:gd name="T51" fmla="*/ 89 h 133"/>
                    <a:gd name="T52" fmla="*/ 0 w 51"/>
                    <a:gd name="T53" fmla="*/ 81 h 133"/>
                    <a:gd name="T54" fmla="*/ 0 w 51"/>
                    <a:gd name="T55" fmla="*/ 81 h 133"/>
                    <a:gd name="T56" fmla="*/ 15 w 51"/>
                    <a:gd name="T57" fmla="*/ 89 h 133"/>
                    <a:gd name="T58" fmla="*/ 15 w 51"/>
                    <a:gd name="T59" fmla="*/ 89 h 133"/>
                    <a:gd name="T60" fmla="*/ 21 w 51"/>
                    <a:gd name="T61" fmla="*/ 97 h 133"/>
                    <a:gd name="T62" fmla="*/ 29 w 51"/>
                    <a:gd name="T63" fmla="*/ 108 h 133"/>
                    <a:gd name="T64" fmla="*/ 44 w 51"/>
                    <a:gd name="T65" fmla="*/ 133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51" h="133">
                      <a:moveTo>
                        <a:pt x="51" y="0"/>
                      </a:moveTo>
                      <a:lnTo>
                        <a:pt x="51" y="0"/>
                      </a:lnTo>
                      <a:close/>
                      <a:moveTo>
                        <a:pt x="51" y="0"/>
                      </a:moveTo>
                      <a:lnTo>
                        <a:pt x="51" y="0"/>
                      </a:lnTo>
                      <a:lnTo>
                        <a:pt x="51" y="0"/>
                      </a:lnTo>
                      <a:close/>
                      <a:moveTo>
                        <a:pt x="51" y="0"/>
                      </a:move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1" y="0"/>
                      </a:lnTo>
                      <a:close/>
                      <a:moveTo>
                        <a:pt x="51" y="0"/>
                      </a:move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1" y="0"/>
                      </a:lnTo>
                      <a:close/>
                      <a:moveTo>
                        <a:pt x="50" y="1"/>
                      </a:moveTo>
                      <a:lnTo>
                        <a:pt x="50" y="1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0" y="1"/>
                      </a:lnTo>
                      <a:close/>
                      <a:moveTo>
                        <a:pt x="44" y="133"/>
                      </a:moveTo>
                      <a:lnTo>
                        <a:pt x="44" y="133"/>
                      </a:lnTo>
                      <a:lnTo>
                        <a:pt x="29" y="108"/>
                      </a:lnTo>
                      <a:lnTo>
                        <a:pt x="21" y="97"/>
                      </a:lnTo>
                      <a:lnTo>
                        <a:pt x="15" y="89"/>
                      </a:lnTo>
                      <a:lnTo>
                        <a:pt x="15" y="89"/>
                      </a:lnTo>
                      <a:lnTo>
                        <a:pt x="0" y="81"/>
                      </a:lnTo>
                      <a:lnTo>
                        <a:pt x="0" y="81"/>
                      </a:lnTo>
                      <a:lnTo>
                        <a:pt x="15" y="89"/>
                      </a:lnTo>
                      <a:lnTo>
                        <a:pt x="15" y="89"/>
                      </a:lnTo>
                      <a:lnTo>
                        <a:pt x="21" y="97"/>
                      </a:lnTo>
                      <a:lnTo>
                        <a:pt x="29" y="108"/>
                      </a:lnTo>
                      <a:lnTo>
                        <a:pt x="44" y="13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89" name="Line 441"/>
                <p:cNvSpPr>
                  <a:spLocks noChangeShapeType="1"/>
                </p:cNvSpPr>
                <p:nvPr/>
              </p:nvSpPr>
              <p:spPr bwMode="auto">
                <a:xfrm>
                  <a:off x="4992435" y="3123244"/>
                  <a:ext cx="0" cy="0"/>
                </a:xfrm>
                <a:prstGeom prst="line">
                  <a:avLst/>
                </a:pr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90" name="Freeform 442"/>
                <p:cNvSpPr>
                  <a:spLocks/>
                </p:cNvSpPr>
                <p:nvPr/>
              </p:nvSpPr>
              <p:spPr bwMode="auto">
                <a:xfrm>
                  <a:off x="4992435" y="3123244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91" name="Rectangle 443"/>
                <p:cNvSpPr>
                  <a:spLocks noChangeArrowheads="1"/>
                </p:cNvSpPr>
                <p:nvPr/>
              </p:nvSpPr>
              <p:spPr bwMode="auto">
                <a:xfrm>
                  <a:off x="4992435" y="3123244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92" name="Rectangle 444"/>
                <p:cNvSpPr>
                  <a:spLocks noChangeArrowheads="1"/>
                </p:cNvSpPr>
                <p:nvPr/>
              </p:nvSpPr>
              <p:spPr bwMode="auto">
                <a:xfrm>
                  <a:off x="4992435" y="3123244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93" name="Freeform 445"/>
                <p:cNvSpPr>
                  <a:spLocks/>
                </p:cNvSpPr>
                <p:nvPr/>
              </p:nvSpPr>
              <p:spPr bwMode="auto">
                <a:xfrm>
                  <a:off x="4991446" y="3123244"/>
                  <a:ext cx="989" cy="989"/>
                </a:xfrm>
                <a:custGeom>
                  <a:avLst/>
                  <a:gdLst>
                    <a:gd name="T0" fmla="*/ 0 w 1"/>
                    <a:gd name="T1" fmla="*/ 1 h 1"/>
                    <a:gd name="T2" fmla="*/ 0 w 1"/>
                    <a:gd name="T3" fmla="*/ 1 h 1"/>
                    <a:gd name="T4" fmla="*/ 1 w 1"/>
                    <a:gd name="T5" fmla="*/ 0 h 1"/>
                    <a:gd name="T6" fmla="*/ 1 w 1"/>
                    <a:gd name="T7" fmla="*/ 0 h 1"/>
                    <a:gd name="T8" fmla="*/ 0 w 1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94" name="Freeform 446"/>
                <p:cNvSpPr>
                  <a:spLocks/>
                </p:cNvSpPr>
                <p:nvPr/>
              </p:nvSpPr>
              <p:spPr bwMode="auto">
                <a:xfrm>
                  <a:off x="4941983" y="3203374"/>
                  <a:ext cx="43527" cy="51442"/>
                </a:xfrm>
                <a:custGeom>
                  <a:avLst/>
                  <a:gdLst>
                    <a:gd name="T0" fmla="*/ 44 w 44"/>
                    <a:gd name="T1" fmla="*/ 52 h 52"/>
                    <a:gd name="T2" fmla="*/ 44 w 44"/>
                    <a:gd name="T3" fmla="*/ 52 h 52"/>
                    <a:gd name="T4" fmla="*/ 29 w 44"/>
                    <a:gd name="T5" fmla="*/ 27 h 52"/>
                    <a:gd name="T6" fmla="*/ 21 w 44"/>
                    <a:gd name="T7" fmla="*/ 16 h 52"/>
                    <a:gd name="T8" fmla="*/ 15 w 44"/>
                    <a:gd name="T9" fmla="*/ 8 h 52"/>
                    <a:gd name="T10" fmla="*/ 15 w 44"/>
                    <a:gd name="T11" fmla="*/ 8 h 52"/>
                    <a:gd name="T12" fmla="*/ 0 w 44"/>
                    <a:gd name="T13" fmla="*/ 0 h 52"/>
                    <a:gd name="T14" fmla="*/ 0 w 44"/>
                    <a:gd name="T15" fmla="*/ 0 h 52"/>
                    <a:gd name="T16" fmla="*/ 15 w 44"/>
                    <a:gd name="T17" fmla="*/ 8 h 52"/>
                    <a:gd name="T18" fmla="*/ 15 w 44"/>
                    <a:gd name="T19" fmla="*/ 8 h 52"/>
                    <a:gd name="T20" fmla="*/ 21 w 44"/>
                    <a:gd name="T21" fmla="*/ 16 h 52"/>
                    <a:gd name="T22" fmla="*/ 29 w 44"/>
                    <a:gd name="T23" fmla="*/ 27 h 52"/>
                    <a:gd name="T24" fmla="*/ 44 w 44"/>
                    <a:gd name="T25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4" h="52">
                      <a:moveTo>
                        <a:pt x="44" y="52"/>
                      </a:moveTo>
                      <a:lnTo>
                        <a:pt x="44" y="52"/>
                      </a:lnTo>
                      <a:lnTo>
                        <a:pt x="29" y="27"/>
                      </a:lnTo>
                      <a:lnTo>
                        <a:pt x="21" y="16"/>
                      </a:lnTo>
                      <a:lnTo>
                        <a:pt x="15" y="8"/>
                      </a:lnTo>
                      <a:lnTo>
                        <a:pt x="15" y="8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5" y="8"/>
                      </a:lnTo>
                      <a:lnTo>
                        <a:pt x="15" y="8"/>
                      </a:lnTo>
                      <a:lnTo>
                        <a:pt x="21" y="16"/>
                      </a:lnTo>
                      <a:lnTo>
                        <a:pt x="29" y="27"/>
                      </a:lnTo>
                      <a:lnTo>
                        <a:pt x="44" y="5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95" name="Freeform 447"/>
                <p:cNvSpPr>
                  <a:spLocks noEditPoints="1"/>
                </p:cNvSpPr>
                <p:nvPr/>
              </p:nvSpPr>
              <p:spPr bwMode="auto">
                <a:xfrm>
                  <a:off x="5017167" y="3092576"/>
                  <a:ext cx="64302" cy="37592"/>
                </a:xfrm>
                <a:custGeom>
                  <a:avLst/>
                  <a:gdLst>
                    <a:gd name="T0" fmla="*/ 0 w 65"/>
                    <a:gd name="T1" fmla="*/ 0 h 38"/>
                    <a:gd name="T2" fmla="*/ 0 w 65"/>
                    <a:gd name="T3" fmla="*/ 0 h 38"/>
                    <a:gd name="T4" fmla="*/ 1 w 65"/>
                    <a:gd name="T5" fmla="*/ 0 h 38"/>
                    <a:gd name="T6" fmla="*/ 1 w 65"/>
                    <a:gd name="T7" fmla="*/ 0 h 38"/>
                    <a:gd name="T8" fmla="*/ 0 w 65"/>
                    <a:gd name="T9" fmla="*/ 0 h 38"/>
                    <a:gd name="T10" fmla="*/ 23 w 65"/>
                    <a:gd name="T11" fmla="*/ 10 h 38"/>
                    <a:gd name="T12" fmla="*/ 23 w 65"/>
                    <a:gd name="T13" fmla="*/ 10 h 38"/>
                    <a:gd name="T14" fmla="*/ 11 w 65"/>
                    <a:gd name="T15" fmla="*/ 5 h 38"/>
                    <a:gd name="T16" fmla="*/ 5 w 65"/>
                    <a:gd name="T17" fmla="*/ 2 h 38"/>
                    <a:gd name="T18" fmla="*/ 1 w 65"/>
                    <a:gd name="T19" fmla="*/ 0 h 38"/>
                    <a:gd name="T20" fmla="*/ 1 w 65"/>
                    <a:gd name="T21" fmla="*/ 0 h 38"/>
                    <a:gd name="T22" fmla="*/ 5 w 65"/>
                    <a:gd name="T23" fmla="*/ 2 h 38"/>
                    <a:gd name="T24" fmla="*/ 11 w 65"/>
                    <a:gd name="T25" fmla="*/ 5 h 38"/>
                    <a:gd name="T26" fmla="*/ 23 w 65"/>
                    <a:gd name="T27" fmla="*/ 10 h 38"/>
                    <a:gd name="T28" fmla="*/ 23 w 65"/>
                    <a:gd name="T29" fmla="*/ 10 h 38"/>
                    <a:gd name="T30" fmla="*/ 23 w 65"/>
                    <a:gd name="T31" fmla="*/ 10 h 38"/>
                    <a:gd name="T32" fmla="*/ 23 w 65"/>
                    <a:gd name="T33" fmla="*/ 10 h 38"/>
                    <a:gd name="T34" fmla="*/ 23 w 65"/>
                    <a:gd name="T35" fmla="*/ 10 h 38"/>
                    <a:gd name="T36" fmla="*/ 23 w 65"/>
                    <a:gd name="T37" fmla="*/ 10 h 38"/>
                    <a:gd name="T38" fmla="*/ 23 w 65"/>
                    <a:gd name="T39" fmla="*/ 10 h 38"/>
                    <a:gd name="T40" fmla="*/ 23 w 65"/>
                    <a:gd name="T41" fmla="*/ 10 h 38"/>
                    <a:gd name="T42" fmla="*/ 23 w 65"/>
                    <a:gd name="T43" fmla="*/ 10 h 38"/>
                    <a:gd name="T44" fmla="*/ 23 w 65"/>
                    <a:gd name="T45" fmla="*/ 10 h 38"/>
                    <a:gd name="T46" fmla="*/ 23 w 65"/>
                    <a:gd name="T47" fmla="*/ 10 h 38"/>
                    <a:gd name="T48" fmla="*/ 65 w 65"/>
                    <a:gd name="T49" fmla="*/ 38 h 38"/>
                    <a:gd name="T50" fmla="*/ 65 w 65"/>
                    <a:gd name="T51" fmla="*/ 38 h 38"/>
                    <a:gd name="T52" fmla="*/ 61 w 65"/>
                    <a:gd name="T53" fmla="*/ 36 h 38"/>
                    <a:gd name="T54" fmla="*/ 58 w 65"/>
                    <a:gd name="T55" fmla="*/ 33 h 38"/>
                    <a:gd name="T56" fmla="*/ 50 w 65"/>
                    <a:gd name="T57" fmla="*/ 22 h 38"/>
                    <a:gd name="T58" fmla="*/ 50 w 65"/>
                    <a:gd name="T59" fmla="*/ 22 h 38"/>
                    <a:gd name="T60" fmla="*/ 58 w 65"/>
                    <a:gd name="T61" fmla="*/ 33 h 38"/>
                    <a:gd name="T62" fmla="*/ 61 w 65"/>
                    <a:gd name="T63" fmla="*/ 36 h 38"/>
                    <a:gd name="T64" fmla="*/ 65 w 65"/>
                    <a:gd name="T65" fmla="*/ 38 h 38"/>
                    <a:gd name="T66" fmla="*/ 65 w 65"/>
                    <a:gd name="T67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65" h="3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  <a:moveTo>
                        <a:pt x="23" y="10"/>
                      </a:moveTo>
                      <a:lnTo>
                        <a:pt x="23" y="10"/>
                      </a:lnTo>
                      <a:lnTo>
                        <a:pt x="11" y="5"/>
                      </a:lnTo>
                      <a:lnTo>
                        <a:pt x="5" y="2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5" y="2"/>
                      </a:lnTo>
                      <a:lnTo>
                        <a:pt x="11" y="5"/>
                      </a:lnTo>
                      <a:lnTo>
                        <a:pt x="23" y="10"/>
                      </a:lnTo>
                      <a:close/>
                      <a:moveTo>
                        <a:pt x="23" y="10"/>
                      </a:moveTo>
                      <a:lnTo>
                        <a:pt x="23" y="10"/>
                      </a:lnTo>
                      <a:lnTo>
                        <a:pt x="23" y="10"/>
                      </a:lnTo>
                      <a:lnTo>
                        <a:pt x="23" y="10"/>
                      </a:lnTo>
                      <a:lnTo>
                        <a:pt x="23" y="10"/>
                      </a:lnTo>
                      <a:close/>
                      <a:moveTo>
                        <a:pt x="23" y="10"/>
                      </a:moveTo>
                      <a:lnTo>
                        <a:pt x="23" y="10"/>
                      </a:lnTo>
                      <a:lnTo>
                        <a:pt x="23" y="10"/>
                      </a:lnTo>
                      <a:lnTo>
                        <a:pt x="23" y="10"/>
                      </a:lnTo>
                      <a:lnTo>
                        <a:pt x="23" y="10"/>
                      </a:lnTo>
                      <a:close/>
                      <a:moveTo>
                        <a:pt x="65" y="38"/>
                      </a:moveTo>
                      <a:lnTo>
                        <a:pt x="65" y="38"/>
                      </a:lnTo>
                      <a:lnTo>
                        <a:pt x="61" y="36"/>
                      </a:lnTo>
                      <a:lnTo>
                        <a:pt x="58" y="33"/>
                      </a:lnTo>
                      <a:lnTo>
                        <a:pt x="50" y="22"/>
                      </a:lnTo>
                      <a:lnTo>
                        <a:pt x="50" y="22"/>
                      </a:lnTo>
                      <a:lnTo>
                        <a:pt x="58" y="33"/>
                      </a:lnTo>
                      <a:lnTo>
                        <a:pt x="61" y="36"/>
                      </a:lnTo>
                      <a:lnTo>
                        <a:pt x="65" y="38"/>
                      </a:lnTo>
                      <a:lnTo>
                        <a:pt x="65" y="3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96" name="Rectangle 448"/>
                <p:cNvSpPr>
                  <a:spLocks noChangeArrowheads="1"/>
                </p:cNvSpPr>
                <p:nvPr/>
              </p:nvSpPr>
              <p:spPr bwMode="auto">
                <a:xfrm>
                  <a:off x="5017167" y="3092576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97" name="Freeform 449"/>
                <p:cNvSpPr>
                  <a:spLocks/>
                </p:cNvSpPr>
                <p:nvPr/>
              </p:nvSpPr>
              <p:spPr bwMode="auto">
                <a:xfrm>
                  <a:off x="5018156" y="3092576"/>
                  <a:ext cx="21764" cy="9893"/>
                </a:xfrm>
                <a:custGeom>
                  <a:avLst/>
                  <a:gdLst>
                    <a:gd name="T0" fmla="*/ 22 w 22"/>
                    <a:gd name="T1" fmla="*/ 10 h 10"/>
                    <a:gd name="T2" fmla="*/ 22 w 22"/>
                    <a:gd name="T3" fmla="*/ 10 h 10"/>
                    <a:gd name="T4" fmla="*/ 10 w 22"/>
                    <a:gd name="T5" fmla="*/ 5 h 10"/>
                    <a:gd name="T6" fmla="*/ 4 w 22"/>
                    <a:gd name="T7" fmla="*/ 2 h 10"/>
                    <a:gd name="T8" fmla="*/ 0 w 22"/>
                    <a:gd name="T9" fmla="*/ 0 h 10"/>
                    <a:gd name="T10" fmla="*/ 0 w 22"/>
                    <a:gd name="T11" fmla="*/ 0 h 10"/>
                    <a:gd name="T12" fmla="*/ 4 w 22"/>
                    <a:gd name="T13" fmla="*/ 2 h 10"/>
                    <a:gd name="T14" fmla="*/ 10 w 22"/>
                    <a:gd name="T15" fmla="*/ 5 h 10"/>
                    <a:gd name="T16" fmla="*/ 22 w 22"/>
                    <a:gd name="T1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2" h="10">
                      <a:moveTo>
                        <a:pt x="22" y="10"/>
                      </a:moveTo>
                      <a:lnTo>
                        <a:pt x="22" y="10"/>
                      </a:lnTo>
                      <a:lnTo>
                        <a:pt x="10" y="5"/>
                      </a:lnTo>
                      <a:lnTo>
                        <a:pt x="4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10" y="5"/>
                      </a:lnTo>
                      <a:lnTo>
                        <a:pt x="22" y="1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98" name="Rectangle 450"/>
                <p:cNvSpPr>
                  <a:spLocks noChangeArrowheads="1"/>
                </p:cNvSpPr>
                <p:nvPr/>
              </p:nvSpPr>
              <p:spPr bwMode="auto">
                <a:xfrm>
                  <a:off x="5039920" y="3102469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99" name="Rectangle 451"/>
                <p:cNvSpPr>
                  <a:spLocks noChangeArrowheads="1"/>
                </p:cNvSpPr>
                <p:nvPr/>
              </p:nvSpPr>
              <p:spPr bwMode="auto">
                <a:xfrm>
                  <a:off x="5039920" y="3102469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00" name="Freeform 452"/>
                <p:cNvSpPr>
                  <a:spLocks/>
                </p:cNvSpPr>
                <p:nvPr/>
              </p:nvSpPr>
              <p:spPr bwMode="auto">
                <a:xfrm>
                  <a:off x="5066630" y="3114340"/>
                  <a:ext cx="14839" cy="15828"/>
                </a:xfrm>
                <a:custGeom>
                  <a:avLst/>
                  <a:gdLst>
                    <a:gd name="T0" fmla="*/ 15 w 15"/>
                    <a:gd name="T1" fmla="*/ 16 h 16"/>
                    <a:gd name="T2" fmla="*/ 15 w 15"/>
                    <a:gd name="T3" fmla="*/ 16 h 16"/>
                    <a:gd name="T4" fmla="*/ 11 w 15"/>
                    <a:gd name="T5" fmla="*/ 14 h 16"/>
                    <a:gd name="T6" fmla="*/ 8 w 15"/>
                    <a:gd name="T7" fmla="*/ 11 h 16"/>
                    <a:gd name="T8" fmla="*/ 0 w 15"/>
                    <a:gd name="T9" fmla="*/ 0 h 16"/>
                    <a:gd name="T10" fmla="*/ 0 w 15"/>
                    <a:gd name="T11" fmla="*/ 0 h 16"/>
                    <a:gd name="T12" fmla="*/ 8 w 15"/>
                    <a:gd name="T13" fmla="*/ 11 h 16"/>
                    <a:gd name="T14" fmla="*/ 11 w 15"/>
                    <a:gd name="T15" fmla="*/ 14 h 16"/>
                    <a:gd name="T16" fmla="*/ 15 w 15"/>
                    <a:gd name="T17" fmla="*/ 16 h 16"/>
                    <a:gd name="T18" fmla="*/ 15 w 15"/>
                    <a:gd name="T19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" h="16">
                      <a:moveTo>
                        <a:pt x="15" y="16"/>
                      </a:moveTo>
                      <a:lnTo>
                        <a:pt x="15" y="16"/>
                      </a:lnTo>
                      <a:lnTo>
                        <a:pt x="11" y="14"/>
                      </a:lnTo>
                      <a:lnTo>
                        <a:pt x="8" y="1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8" y="11"/>
                      </a:lnTo>
                      <a:lnTo>
                        <a:pt x="11" y="14"/>
                      </a:lnTo>
                      <a:lnTo>
                        <a:pt x="15" y="16"/>
                      </a:lnTo>
                      <a:lnTo>
                        <a:pt x="15" y="1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01" name="Freeform 453"/>
                <p:cNvSpPr>
                  <a:spLocks/>
                </p:cNvSpPr>
                <p:nvPr/>
              </p:nvSpPr>
              <p:spPr bwMode="auto">
                <a:xfrm>
                  <a:off x="5068608" y="3137093"/>
                  <a:ext cx="154325" cy="216648"/>
                </a:xfrm>
                <a:custGeom>
                  <a:avLst/>
                  <a:gdLst>
                    <a:gd name="T0" fmla="*/ 0 w 156"/>
                    <a:gd name="T1" fmla="*/ 143 h 219"/>
                    <a:gd name="T2" fmla="*/ 22 w 156"/>
                    <a:gd name="T3" fmla="*/ 126 h 219"/>
                    <a:gd name="T4" fmla="*/ 27 w 156"/>
                    <a:gd name="T5" fmla="*/ 125 h 219"/>
                    <a:gd name="T6" fmla="*/ 42 w 156"/>
                    <a:gd name="T7" fmla="*/ 115 h 219"/>
                    <a:gd name="T8" fmla="*/ 56 w 156"/>
                    <a:gd name="T9" fmla="*/ 112 h 219"/>
                    <a:gd name="T10" fmla="*/ 81 w 156"/>
                    <a:gd name="T11" fmla="*/ 96 h 219"/>
                    <a:gd name="T12" fmla="*/ 104 w 156"/>
                    <a:gd name="T13" fmla="*/ 71 h 219"/>
                    <a:gd name="T14" fmla="*/ 107 w 156"/>
                    <a:gd name="T15" fmla="*/ 64 h 219"/>
                    <a:gd name="T16" fmla="*/ 75 w 156"/>
                    <a:gd name="T17" fmla="*/ 57 h 219"/>
                    <a:gd name="T18" fmla="*/ 64 w 156"/>
                    <a:gd name="T19" fmla="*/ 51 h 219"/>
                    <a:gd name="T20" fmla="*/ 29 w 156"/>
                    <a:gd name="T21" fmla="*/ 26 h 219"/>
                    <a:gd name="T22" fmla="*/ 29 w 156"/>
                    <a:gd name="T23" fmla="*/ 20 h 219"/>
                    <a:gd name="T24" fmla="*/ 30 w 156"/>
                    <a:gd name="T25" fmla="*/ 16 h 219"/>
                    <a:gd name="T26" fmla="*/ 30 w 156"/>
                    <a:gd name="T27" fmla="*/ 16 h 219"/>
                    <a:gd name="T28" fmla="*/ 36 w 156"/>
                    <a:gd name="T29" fmla="*/ 6 h 219"/>
                    <a:gd name="T30" fmla="*/ 43 w 156"/>
                    <a:gd name="T31" fmla="*/ 19 h 219"/>
                    <a:gd name="T32" fmla="*/ 48 w 156"/>
                    <a:gd name="T33" fmla="*/ 25 h 219"/>
                    <a:gd name="T34" fmla="*/ 53 w 156"/>
                    <a:gd name="T35" fmla="*/ 28 h 219"/>
                    <a:gd name="T36" fmla="*/ 59 w 156"/>
                    <a:gd name="T37" fmla="*/ 25 h 219"/>
                    <a:gd name="T38" fmla="*/ 69 w 156"/>
                    <a:gd name="T39" fmla="*/ 20 h 219"/>
                    <a:gd name="T40" fmla="*/ 80 w 156"/>
                    <a:gd name="T41" fmla="*/ 19 h 219"/>
                    <a:gd name="T42" fmla="*/ 84 w 156"/>
                    <a:gd name="T43" fmla="*/ 20 h 219"/>
                    <a:gd name="T44" fmla="*/ 85 w 156"/>
                    <a:gd name="T45" fmla="*/ 22 h 219"/>
                    <a:gd name="T46" fmla="*/ 88 w 156"/>
                    <a:gd name="T47" fmla="*/ 23 h 219"/>
                    <a:gd name="T48" fmla="*/ 98 w 156"/>
                    <a:gd name="T49" fmla="*/ 17 h 219"/>
                    <a:gd name="T50" fmla="*/ 104 w 156"/>
                    <a:gd name="T51" fmla="*/ 15 h 219"/>
                    <a:gd name="T52" fmla="*/ 111 w 156"/>
                    <a:gd name="T53" fmla="*/ 15 h 219"/>
                    <a:gd name="T54" fmla="*/ 122 w 156"/>
                    <a:gd name="T55" fmla="*/ 15 h 219"/>
                    <a:gd name="T56" fmla="*/ 133 w 156"/>
                    <a:gd name="T57" fmla="*/ 12 h 219"/>
                    <a:gd name="T58" fmla="*/ 156 w 156"/>
                    <a:gd name="T59" fmla="*/ 0 h 219"/>
                    <a:gd name="T60" fmla="*/ 156 w 156"/>
                    <a:gd name="T61" fmla="*/ 0 h 219"/>
                    <a:gd name="T62" fmla="*/ 156 w 156"/>
                    <a:gd name="T63" fmla="*/ 6 h 219"/>
                    <a:gd name="T64" fmla="*/ 155 w 156"/>
                    <a:gd name="T65" fmla="*/ 26 h 219"/>
                    <a:gd name="T66" fmla="*/ 150 w 156"/>
                    <a:gd name="T67" fmla="*/ 44 h 219"/>
                    <a:gd name="T68" fmla="*/ 139 w 156"/>
                    <a:gd name="T69" fmla="*/ 62 h 219"/>
                    <a:gd name="T70" fmla="*/ 113 w 156"/>
                    <a:gd name="T71" fmla="*/ 110 h 219"/>
                    <a:gd name="T72" fmla="*/ 103 w 156"/>
                    <a:gd name="T73" fmla="*/ 125 h 219"/>
                    <a:gd name="T74" fmla="*/ 97 w 156"/>
                    <a:gd name="T75" fmla="*/ 132 h 219"/>
                    <a:gd name="T76" fmla="*/ 82 w 156"/>
                    <a:gd name="T77" fmla="*/ 143 h 219"/>
                    <a:gd name="T78" fmla="*/ 81 w 156"/>
                    <a:gd name="T79" fmla="*/ 146 h 219"/>
                    <a:gd name="T80" fmla="*/ 77 w 156"/>
                    <a:gd name="T81" fmla="*/ 149 h 219"/>
                    <a:gd name="T82" fmla="*/ 59 w 156"/>
                    <a:gd name="T83" fmla="*/ 161 h 219"/>
                    <a:gd name="T84" fmla="*/ 40 w 156"/>
                    <a:gd name="T85" fmla="*/ 178 h 219"/>
                    <a:gd name="T86" fmla="*/ 14 w 156"/>
                    <a:gd name="T87" fmla="*/ 213 h 219"/>
                    <a:gd name="T88" fmla="*/ 10 w 156"/>
                    <a:gd name="T89" fmla="*/ 217 h 219"/>
                    <a:gd name="T90" fmla="*/ 10 w 156"/>
                    <a:gd name="T91" fmla="*/ 219 h 2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56" h="219">
                      <a:moveTo>
                        <a:pt x="4" y="219"/>
                      </a:moveTo>
                      <a:lnTo>
                        <a:pt x="0" y="214"/>
                      </a:lnTo>
                      <a:lnTo>
                        <a:pt x="0" y="143"/>
                      </a:lnTo>
                      <a:lnTo>
                        <a:pt x="13" y="125"/>
                      </a:lnTo>
                      <a:lnTo>
                        <a:pt x="13" y="125"/>
                      </a:lnTo>
                      <a:lnTo>
                        <a:pt x="22" y="126"/>
                      </a:lnTo>
                      <a:lnTo>
                        <a:pt x="22" y="126"/>
                      </a:lnTo>
                      <a:lnTo>
                        <a:pt x="27" y="125"/>
                      </a:lnTo>
                      <a:lnTo>
                        <a:pt x="27" y="125"/>
                      </a:lnTo>
                      <a:lnTo>
                        <a:pt x="32" y="122"/>
                      </a:lnTo>
                      <a:lnTo>
                        <a:pt x="36" y="117"/>
                      </a:lnTo>
                      <a:lnTo>
                        <a:pt x="42" y="115"/>
                      </a:lnTo>
                      <a:lnTo>
                        <a:pt x="48" y="113"/>
                      </a:lnTo>
                      <a:lnTo>
                        <a:pt x="48" y="113"/>
                      </a:lnTo>
                      <a:lnTo>
                        <a:pt x="56" y="112"/>
                      </a:lnTo>
                      <a:lnTo>
                        <a:pt x="64" y="107"/>
                      </a:lnTo>
                      <a:lnTo>
                        <a:pt x="81" y="96"/>
                      </a:lnTo>
                      <a:lnTo>
                        <a:pt x="81" y="96"/>
                      </a:lnTo>
                      <a:lnTo>
                        <a:pt x="90" y="88"/>
                      </a:lnTo>
                      <a:lnTo>
                        <a:pt x="97" y="80"/>
                      </a:lnTo>
                      <a:lnTo>
                        <a:pt x="104" y="71"/>
                      </a:lnTo>
                      <a:lnTo>
                        <a:pt x="107" y="64"/>
                      </a:lnTo>
                      <a:lnTo>
                        <a:pt x="107" y="64"/>
                      </a:lnTo>
                      <a:lnTo>
                        <a:pt x="107" y="64"/>
                      </a:lnTo>
                      <a:lnTo>
                        <a:pt x="107" y="64"/>
                      </a:lnTo>
                      <a:lnTo>
                        <a:pt x="88" y="61"/>
                      </a:lnTo>
                      <a:lnTo>
                        <a:pt x="75" y="57"/>
                      </a:lnTo>
                      <a:lnTo>
                        <a:pt x="69" y="55"/>
                      </a:lnTo>
                      <a:lnTo>
                        <a:pt x="64" y="51"/>
                      </a:lnTo>
                      <a:lnTo>
                        <a:pt x="64" y="51"/>
                      </a:lnTo>
                      <a:lnTo>
                        <a:pt x="40" y="36"/>
                      </a:lnTo>
                      <a:lnTo>
                        <a:pt x="32" y="29"/>
                      </a:lnTo>
                      <a:lnTo>
                        <a:pt x="29" y="26"/>
                      </a:lnTo>
                      <a:lnTo>
                        <a:pt x="29" y="22"/>
                      </a:lnTo>
                      <a:lnTo>
                        <a:pt x="29" y="22"/>
                      </a:lnTo>
                      <a:lnTo>
                        <a:pt x="29" y="20"/>
                      </a:lnTo>
                      <a:lnTo>
                        <a:pt x="29" y="20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6" y="6"/>
                      </a:lnTo>
                      <a:lnTo>
                        <a:pt x="36" y="6"/>
                      </a:lnTo>
                      <a:lnTo>
                        <a:pt x="38" y="7"/>
                      </a:lnTo>
                      <a:lnTo>
                        <a:pt x="38" y="7"/>
                      </a:lnTo>
                      <a:lnTo>
                        <a:pt x="43" y="19"/>
                      </a:lnTo>
                      <a:lnTo>
                        <a:pt x="43" y="19"/>
                      </a:lnTo>
                      <a:lnTo>
                        <a:pt x="48" y="25"/>
                      </a:lnTo>
                      <a:lnTo>
                        <a:pt x="48" y="25"/>
                      </a:lnTo>
                      <a:lnTo>
                        <a:pt x="51" y="26"/>
                      </a:lnTo>
                      <a:lnTo>
                        <a:pt x="51" y="26"/>
                      </a:lnTo>
                      <a:lnTo>
                        <a:pt x="53" y="28"/>
                      </a:lnTo>
                      <a:lnTo>
                        <a:pt x="55" y="28"/>
                      </a:lnTo>
                      <a:lnTo>
                        <a:pt x="55" y="28"/>
                      </a:lnTo>
                      <a:lnTo>
                        <a:pt x="59" y="25"/>
                      </a:lnTo>
                      <a:lnTo>
                        <a:pt x="59" y="25"/>
                      </a:lnTo>
                      <a:lnTo>
                        <a:pt x="69" y="20"/>
                      </a:lnTo>
                      <a:lnTo>
                        <a:pt x="69" y="20"/>
                      </a:lnTo>
                      <a:lnTo>
                        <a:pt x="80" y="19"/>
                      </a:lnTo>
                      <a:lnTo>
                        <a:pt x="80" y="19"/>
                      </a:lnTo>
                      <a:lnTo>
                        <a:pt x="80" y="19"/>
                      </a:lnTo>
                      <a:lnTo>
                        <a:pt x="80" y="19"/>
                      </a:lnTo>
                      <a:lnTo>
                        <a:pt x="82" y="19"/>
                      </a:lnTo>
                      <a:lnTo>
                        <a:pt x="84" y="20"/>
                      </a:lnTo>
                      <a:lnTo>
                        <a:pt x="84" y="20"/>
                      </a:lnTo>
                      <a:lnTo>
                        <a:pt x="85" y="22"/>
                      </a:lnTo>
                      <a:lnTo>
                        <a:pt x="85" y="22"/>
                      </a:lnTo>
                      <a:lnTo>
                        <a:pt x="88" y="23"/>
                      </a:lnTo>
                      <a:lnTo>
                        <a:pt x="88" y="23"/>
                      </a:lnTo>
                      <a:lnTo>
                        <a:pt x="88" y="23"/>
                      </a:lnTo>
                      <a:lnTo>
                        <a:pt x="93" y="22"/>
                      </a:lnTo>
                      <a:lnTo>
                        <a:pt x="93" y="22"/>
                      </a:lnTo>
                      <a:lnTo>
                        <a:pt x="98" y="17"/>
                      </a:lnTo>
                      <a:lnTo>
                        <a:pt x="98" y="17"/>
                      </a:lnTo>
                      <a:lnTo>
                        <a:pt x="104" y="15"/>
                      </a:lnTo>
                      <a:lnTo>
                        <a:pt x="104" y="15"/>
                      </a:lnTo>
                      <a:lnTo>
                        <a:pt x="111" y="15"/>
                      </a:lnTo>
                      <a:lnTo>
                        <a:pt x="111" y="15"/>
                      </a:lnTo>
                      <a:lnTo>
                        <a:pt x="111" y="15"/>
                      </a:lnTo>
                      <a:lnTo>
                        <a:pt x="111" y="15"/>
                      </a:lnTo>
                      <a:lnTo>
                        <a:pt x="122" y="15"/>
                      </a:lnTo>
                      <a:lnTo>
                        <a:pt x="122" y="15"/>
                      </a:lnTo>
                      <a:lnTo>
                        <a:pt x="127" y="13"/>
                      </a:lnTo>
                      <a:lnTo>
                        <a:pt x="133" y="12"/>
                      </a:lnTo>
                      <a:lnTo>
                        <a:pt x="133" y="12"/>
                      </a:lnTo>
                      <a:lnTo>
                        <a:pt x="145" y="6"/>
                      </a:lnTo>
                      <a:lnTo>
                        <a:pt x="145" y="6"/>
                      </a:lnTo>
                      <a:lnTo>
                        <a:pt x="156" y="0"/>
                      </a:lnTo>
                      <a:lnTo>
                        <a:pt x="156" y="0"/>
                      </a:lnTo>
                      <a:lnTo>
                        <a:pt x="156" y="0"/>
                      </a:lnTo>
                      <a:lnTo>
                        <a:pt x="156" y="0"/>
                      </a:lnTo>
                      <a:lnTo>
                        <a:pt x="156" y="2"/>
                      </a:lnTo>
                      <a:lnTo>
                        <a:pt x="156" y="2"/>
                      </a:lnTo>
                      <a:lnTo>
                        <a:pt x="156" y="6"/>
                      </a:lnTo>
                      <a:lnTo>
                        <a:pt x="156" y="6"/>
                      </a:lnTo>
                      <a:lnTo>
                        <a:pt x="155" y="26"/>
                      </a:lnTo>
                      <a:lnTo>
                        <a:pt x="155" y="26"/>
                      </a:lnTo>
                      <a:lnTo>
                        <a:pt x="153" y="36"/>
                      </a:lnTo>
                      <a:lnTo>
                        <a:pt x="153" y="36"/>
                      </a:lnTo>
                      <a:lnTo>
                        <a:pt x="150" y="44"/>
                      </a:lnTo>
                      <a:lnTo>
                        <a:pt x="150" y="44"/>
                      </a:lnTo>
                      <a:lnTo>
                        <a:pt x="139" y="62"/>
                      </a:lnTo>
                      <a:lnTo>
                        <a:pt x="139" y="62"/>
                      </a:lnTo>
                      <a:lnTo>
                        <a:pt x="127" y="84"/>
                      </a:lnTo>
                      <a:lnTo>
                        <a:pt x="127" y="84"/>
                      </a:lnTo>
                      <a:lnTo>
                        <a:pt x="113" y="110"/>
                      </a:lnTo>
                      <a:lnTo>
                        <a:pt x="113" y="110"/>
                      </a:lnTo>
                      <a:lnTo>
                        <a:pt x="103" y="125"/>
                      </a:lnTo>
                      <a:lnTo>
                        <a:pt x="103" y="125"/>
                      </a:lnTo>
                      <a:lnTo>
                        <a:pt x="100" y="130"/>
                      </a:lnTo>
                      <a:lnTo>
                        <a:pt x="100" y="130"/>
                      </a:lnTo>
                      <a:lnTo>
                        <a:pt x="97" y="132"/>
                      </a:lnTo>
                      <a:lnTo>
                        <a:pt x="97" y="132"/>
                      </a:lnTo>
                      <a:lnTo>
                        <a:pt x="88" y="138"/>
                      </a:lnTo>
                      <a:lnTo>
                        <a:pt x="82" y="143"/>
                      </a:lnTo>
                      <a:lnTo>
                        <a:pt x="82" y="143"/>
                      </a:lnTo>
                      <a:lnTo>
                        <a:pt x="81" y="146"/>
                      </a:lnTo>
                      <a:lnTo>
                        <a:pt x="81" y="146"/>
                      </a:lnTo>
                      <a:lnTo>
                        <a:pt x="81" y="148"/>
                      </a:lnTo>
                      <a:lnTo>
                        <a:pt x="81" y="148"/>
                      </a:lnTo>
                      <a:lnTo>
                        <a:pt x="77" y="149"/>
                      </a:lnTo>
                      <a:lnTo>
                        <a:pt x="77" y="149"/>
                      </a:lnTo>
                      <a:lnTo>
                        <a:pt x="69" y="154"/>
                      </a:lnTo>
                      <a:lnTo>
                        <a:pt x="59" y="161"/>
                      </a:lnTo>
                      <a:lnTo>
                        <a:pt x="49" y="168"/>
                      </a:lnTo>
                      <a:lnTo>
                        <a:pt x="40" y="178"/>
                      </a:lnTo>
                      <a:lnTo>
                        <a:pt x="40" y="178"/>
                      </a:lnTo>
                      <a:lnTo>
                        <a:pt x="23" y="201"/>
                      </a:lnTo>
                      <a:lnTo>
                        <a:pt x="23" y="201"/>
                      </a:lnTo>
                      <a:lnTo>
                        <a:pt x="14" y="213"/>
                      </a:lnTo>
                      <a:lnTo>
                        <a:pt x="14" y="213"/>
                      </a:lnTo>
                      <a:lnTo>
                        <a:pt x="11" y="217"/>
                      </a:lnTo>
                      <a:lnTo>
                        <a:pt x="10" y="217"/>
                      </a:lnTo>
                      <a:lnTo>
                        <a:pt x="10" y="219"/>
                      </a:lnTo>
                      <a:lnTo>
                        <a:pt x="10" y="219"/>
                      </a:lnTo>
                      <a:lnTo>
                        <a:pt x="10" y="219"/>
                      </a:lnTo>
                      <a:lnTo>
                        <a:pt x="4" y="21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02" name="Freeform 454"/>
                <p:cNvSpPr>
                  <a:spLocks/>
                </p:cNvSpPr>
                <p:nvPr/>
              </p:nvSpPr>
              <p:spPr bwMode="auto">
                <a:xfrm>
                  <a:off x="5068608" y="3137093"/>
                  <a:ext cx="154325" cy="216648"/>
                </a:xfrm>
                <a:custGeom>
                  <a:avLst/>
                  <a:gdLst>
                    <a:gd name="T0" fmla="*/ 0 w 156"/>
                    <a:gd name="T1" fmla="*/ 143 h 219"/>
                    <a:gd name="T2" fmla="*/ 22 w 156"/>
                    <a:gd name="T3" fmla="*/ 126 h 219"/>
                    <a:gd name="T4" fmla="*/ 27 w 156"/>
                    <a:gd name="T5" fmla="*/ 125 h 219"/>
                    <a:gd name="T6" fmla="*/ 42 w 156"/>
                    <a:gd name="T7" fmla="*/ 115 h 219"/>
                    <a:gd name="T8" fmla="*/ 56 w 156"/>
                    <a:gd name="T9" fmla="*/ 112 h 219"/>
                    <a:gd name="T10" fmla="*/ 81 w 156"/>
                    <a:gd name="T11" fmla="*/ 96 h 219"/>
                    <a:gd name="T12" fmla="*/ 104 w 156"/>
                    <a:gd name="T13" fmla="*/ 71 h 219"/>
                    <a:gd name="T14" fmla="*/ 107 w 156"/>
                    <a:gd name="T15" fmla="*/ 64 h 219"/>
                    <a:gd name="T16" fmla="*/ 75 w 156"/>
                    <a:gd name="T17" fmla="*/ 57 h 219"/>
                    <a:gd name="T18" fmla="*/ 64 w 156"/>
                    <a:gd name="T19" fmla="*/ 51 h 219"/>
                    <a:gd name="T20" fmla="*/ 29 w 156"/>
                    <a:gd name="T21" fmla="*/ 26 h 219"/>
                    <a:gd name="T22" fmla="*/ 29 w 156"/>
                    <a:gd name="T23" fmla="*/ 20 h 219"/>
                    <a:gd name="T24" fmla="*/ 30 w 156"/>
                    <a:gd name="T25" fmla="*/ 16 h 219"/>
                    <a:gd name="T26" fmla="*/ 30 w 156"/>
                    <a:gd name="T27" fmla="*/ 16 h 219"/>
                    <a:gd name="T28" fmla="*/ 36 w 156"/>
                    <a:gd name="T29" fmla="*/ 6 h 219"/>
                    <a:gd name="T30" fmla="*/ 43 w 156"/>
                    <a:gd name="T31" fmla="*/ 19 h 219"/>
                    <a:gd name="T32" fmla="*/ 48 w 156"/>
                    <a:gd name="T33" fmla="*/ 25 h 219"/>
                    <a:gd name="T34" fmla="*/ 53 w 156"/>
                    <a:gd name="T35" fmla="*/ 28 h 219"/>
                    <a:gd name="T36" fmla="*/ 59 w 156"/>
                    <a:gd name="T37" fmla="*/ 25 h 219"/>
                    <a:gd name="T38" fmla="*/ 69 w 156"/>
                    <a:gd name="T39" fmla="*/ 20 h 219"/>
                    <a:gd name="T40" fmla="*/ 80 w 156"/>
                    <a:gd name="T41" fmla="*/ 19 h 219"/>
                    <a:gd name="T42" fmla="*/ 84 w 156"/>
                    <a:gd name="T43" fmla="*/ 20 h 219"/>
                    <a:gd name="T44" fmla="*/ 85 w 156"/>
                    <a:gd name="T45" fmla="*/ 22 h 219"/>
                    <a:gd name="T46" fmla="*/ 88 w 156"/>
                    <a:gd name="T47" fmla="*/ 23 h 219"/>
                    <a:gd name="T48" fmla="*/ 98 w 156"/>
                    <a:gd name="T49" fmla="*/ 17 h 219"/>
                    <a:gd name="T50" fmla="*/ 104 w 156"/>
                    <a:gd name="T51" fmla="*/ 15 h 219"/>
                    <a:gd name="T52" fmla="*/ 111 w 156"/>
                    <a:gd name="T53" fmla="*/ 15 h 219"/>
                    <a:gd name="T54" fmla="*/ 122 w 156"/>
                    <a:gd name="T55" fmla="*/ 15 h 219"/>
                    <a:gd name="T56" fmla="*/ 133 w 156"/>
                    <a:gd name="T57" fmla="*/ 12 h 219"/>
                    <a:gd name="T58" fmla="*/ 156 w 156"/>
                    <a:gd name="T59" fmla="*/ 0 h 219"/>
                    <a:gd name="T60" fmla="*/ 156 w 156"/>
                    <a:gd name="T61" fmla="*/ 0 h 219"/>
                    <a:gd name="T62" fmla="*/ 156 w 156"/>
                    <a:gd name="T63" fmla="*/ 6 h 219"/>
                    <a:gd name="T64" fmla="*/ 155 w 156"/>
                    <a:gd name="T65" fmla="*/ 26 h 219"/>
                    <a:gd name="T66" fmla="*/ 150 w 156"/>
                    <a:gd name="T67" fmla="*/ 44 h 219"/>
                    <a:gd name="T68" fmla="*/ 139 w 156"/>
                    <a:gd name="T69" fmla="*/ 62 h 219"/>
                    <a:gd name="T70" fmla="*/ 113 w 156"/>
                    <a:gd name="T71" fmla="*/ 110 h 219"/>
                    <a:gd name="T72" fmla="*/ 103 w 156"/>
                    <a:gd name="T73" fmla="*/ 125 h 219"/>
                    <a:gd name="T74" fmla="*/ 97 w 156"/>
                    <a:gd name="T75" fmla="*/ 132 h 219"/>
                    <a:gd name="T76" fmla="*/ 82 w 156"/>
                    <a:gd name="T77" fmla="*/ 143 h 219"/>
                    <a:gd name="T78" fmla="*/ 81 w 156"/>
                    <a:gd name="T79" fmla="*/ 146 h 219"/>
                    <a:gd name="T80" fmla="*/ 77 w 156"/>
                    <a:gd name="T81" fmla="*/ 149 h 219"/>
                    <a:gd name="T82" fmla="*/ 59 w 156"/>
                    <a:gd name="T83" fmla="*/ 161 h 219"/>
                    <a:gd name="T84" fmla="*/ 40 w 156"/>
                    <a:gd name="T85" fmla="*/ 178 h 219"/>
                    <a:gd name="T86" fmla="*/ 14 w 156"/>
                    <a:gd name="T87" fmla="*/ 213 h 219"/>
                    <a:gd name="T88" fmla="*/ 10 w 156"/>
                    <a:gd name="T89" fmla="*/ 217 h 219"/>
                    <a:gd name="T90" fmla="*/ 10 w 156"/>
                    <a:gd name="T91" fmla="*/ 219 h 2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56" h="219">
                      <a:moveTo>
                        <a:pt x="4" y="219"/>
                      </a:moveTo>
                      <a:lnTo>
                        <a:pt x="0" y="214"/>
                      </a:lnTo>
                      <a:lnTo>
                        <a:pt x="0" y="143"/>
                      </a:lnTo>
                      <a:lnTo>
                        <a:pt x="13" y="125"/>
                      </a:lnTo>
                      <a:lnTo>
                        <a:pt x="13" y="125"/>
                      </a:lnTo>
                      <a:lnTo>
                        <a:pt x="22" y="126"/>
                      </a:lnTo>
                      <a:lnTo>
                        <a:pt x="22" y="126"/>
                      </a:lnTo>
                      <a:lnTo>
                        <a:pt x="27" y="125"/>
                      </a:lnTo>
                      <a:lnTo>
                        <a:pt x="27" y="125"/>
                      </a:lnTo>
                      <a:lnTo>
                        <a:pt x="32" y="122"/>
                      </a:lnTo>
                      <a:lnTo>
                        <a:pt x="36" y="117"/>
                      </a:lnTo>
                      <a:lnTo>
                        <a:pt x="42" y="115"/>
                      </a:lnTo>
                      <a:lnTo>
                        <a:pt x="48" y="113"/>
                      </a:lnTo>
                      <a:lnTo>
                        <a:pt x="48" y="113"/>
                      </a:lnTo>
                      <a:lnTo>
                        <a:pt x="56" y="112"/>
                      </a:lnTo>
                      <a:lnTo>
                        <a:pt x="64" y="107"/>
                      </a:lnTo>
                      <a:lnTo>
                        <a:pt x="81" y="96"/>
                      </a:lnTo>
                      <a:lnTo>
                        <a:pt x="81" y="96"/>
                      </a:lnTo>
                      <a:lnTo>
                        <a:pt x="90" y="88"/>
                      </a:lnTo>
                      <a:lnTo>
                        <a:pt x="97" y="80"/>
                      </a:lnTo>
                      <a:lnTo>
                        <a:pt x="104" y="71"/>
                      </a:lnTo>
                      <a:lnTo>
                        <a:pt x="107" y="64"/>
                      </a:lnTo>
                      <a:lnTo>
                        <a:pt x="107" y="64"/>
                      </a:lnTo>
                      <a:lnTo>
                        <a:pt x="107" y="64"/>
                      </a:lnTo>
                      <a:lnTo>
                        <a:pt x="107" y="64"/>
                      </a:lnTo>
                      <a:lnTo>
                        <a:pt x="88" y="61"/>
                      </a:lnTo>
                      <a:lnTo>
                        <a:pt x="75" y="57"/>
                      </a:lnTo>
                      <a:lnTo>
                        <a:pt x="69" y="55"/>
                      </a:lnTo>
                      <a:lnTo>
                        <a:pt x="64" y="51"/>
                      </a:lnTo>
                      <a:lnTo>
                        <a:pt x="64" y="51"/>
                      </a:lnTo>
                      <a:lnTo>
                        <a:pt x="40" y="36"/>
                      </a:lnTo>
                      <a:lnTo>
                        <a:pt x="32" y="29"/>
                      </a:lnTo>
                      <a:lnTo>
                        <a:pt x="29" y="26"/>
                      </a:lnTo>
                      <a:lnTo>
                        <a:pt x="29" y="22"/>
                      </a:lnTo>
                      <a:lnTo>
                        <a:pt x="29" y="22"/>
                      </a:lnTo>
                      <a:lnTo>
                        <a:pt x="29" y="20"/>
                      </a:lnTo>
                      <a:lnTo>
                        <a:pt x="29" y="20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6" y="6"/>
                      </a:lnTo>
                      <a:lnTo>
                        <a:pt x="36" y="6"/>
                      </a:lnTo>
                      <a:lnTo>
                        <a:pt x="38" y="7"/>
                      </a:lnTo>
                      <a:lnTo>
                        <a:pt x="38" y="7"/>
                      </a:lnTo>
                      <a:lnTo>
                        <a:pt x="43" y="19"/>
                      </a:lnTo>
                      <a:lnTo>
                        <a:pt x="43" y="19"/>
                      </a:lnTo>
                      <a:lnTo>
                        <a:pt x="48" y="25"/>
                      </a:lnTo>
                      <a:lnTo>
                        <a:pt x="48" y="25"/>
                      </a:lnTo>
                      <a:lnTo>
                        <a:pt x="51" y="26"/>
                      </a:lnTo>
                      <a:lnTo>
                        <a:pt x="51" y="26"/>
                      </a:lnTo>
                      <a:lnTo>
                        <a:pt x="53" y="28"/>
                      </a:lnTo>
                      <a:lnTo>
                        <a:pt x="55" y="28"/>
                      </a:lnTo>
                      <a:lnTo>
                        <a:pt x="55" y="28"/>
                      </a:lnTo>
                      <a:lnTo>
                        <a:pt x="59" y="25"/>
                      </a:lnTo>
                      <a:lnTo>
                        <a:pt x="59" y="25"/>
                      </a:lnTo>
                      <a:lnTo>
                        <a:pt x="69" y="20"/>
                      </a:lnTo>
                      <a:lnTo>
                        <a:pt x="69" y="20"/>
                      </a:lnTo>
                      <a:lnTo>
                        <a:pt x="80" y="19"/>
                      </a:lnTo>
                      <a:lnTo>
                        <a:pt x="80" y="19"/>
                      </a:lnTo>
                      <a:lnTo>
                        <a:pt x="80" y="19"/>
                      </a:lnTo>
                      <a:lnTo>
                        <a:pt x="80" y="19"/>
                      </a:lnTo>
                      <a:lnTo>
                        <a:pt x="82" y="19"/>
                      </a:lnTo>
                      <a:lnTo>
                        <a:pt x="84" y="20"/>
                      </a:lnTo>
                      <a:lnTo>
                        <a:pt x="84" y="20"/>
                      </a:lnTo>
                      <a:lnTo>
                        <a:pt x="85" y="22"/>
                      </a:lnTo>
                      <a:lnTo>
                        <a:pt x="85" y="22"/>
                      </a:lnTo>
                      <a:lnTo>
                        <a:pt x="88" y="23"/>
                      </a:lnTo>
                      <a:lnTo>
                        <a:pt x="88" y="23"/>
                      </a:lnTo>
                      <a:lnTo>
                        <a:pt x="88" y="23"/>
                      </a:lnTo>
                      <a:lnTo>
                        <a:pt x="93" y="22"/>
                      </a:lnTo>
                      <a:lnTo>
                        <a:pt x="93" y="22"/>
                      </a:lnTo>
                      <a:lnTo>
                        <a:pt x="98" y="17"/>
                      </a:lnTo>
                      <a:lnTo>
                        <a:pt x="98" y="17"/>
                      </a:lnTo>
                      <a:lnTo>
                        <a:pt x="104" y="15"/>
                      </a:lnTo>
                      <a:lnTo>
                        <a:pt x="104" y="15"/>
                      </a:lnTo>
                      <a:lnTo>
                        <a:pt x="111" y="15"/>
                      </a:lnTo>
                      <a:lnTo>
                        <a:pt x="111" y="15"/>
                      </a:lnTo>
                      <a:lnTo>
                        <a:pt x="111" y="15"/>
                      </a:lnTo>
                      <a:lnTo>
                        <a:pt x="111" y="15"/>
                      </a:lnTo>
                      <a:lnTo>
                        <a:pt x="122" y="15"/>
                      </a:lnTo>
                      <a:lnTo>
                        <a:pt x="122" y="15"/>
                      </a:lnTo>
                      <a:lnTo>
                        <a:pt x="127" y="13"/>
                      </a:lnTo>
                      <a:lnTo>
                        <a:pt x="133" y="12"/>
                      </a:lnTo>
                      <a:lnTo>
                        <a:pt x="133" y="12"/>
                      </a:lnTo>
                      <a:lnTo>
                        <a:pt x="145" y="6"/>
                      </a:lnTo>
                      <a:lnTo>
                        <a:pt x="145" y="6"/>
                      </a:lnTo>
                      <a:lnTo>
                        <a:pt x="156" y="0"/>
                      </a:lnTo>
                      <a:lnTo>
                        <a:pt x="156" y="0"/>
                      </a:lnTo>
                      <a:lnTo>
                        <a:pt x="156" y="0"/>
                      </a:lnTo>
                      <a:lnTo>
                        <a:pt x="156" y="0"/>
                      </a:lnTo>
                      <a:lnTo>
                        <a:pt x="156" y="2"/>
                      </a:lnTo>
                      <a:lnTo>
                        <a:pt x="156" y="2"/>
                      </a:lnTo>
                      <a:lnTo>
                        <a:pt x="156" y="6"/>
                      </a:lnTo>
                      <a:lnTo>
                        <a:pt x="156" y="6"/>
                      </a:lnTo>
                      <a:lnTo>
                        <a:pt x="155" y="26"/>
                      </a:lnTo>
                      <a:lnTo>
                        <a:pt x="155" y="26"/>
                      </a:lnTo>
                      <a:lnTo>
                        <a:pt x="153" y="36"/>
                      </a:lnTo>
                      <a:lnTo>
                        <a:pt x="153" y="36"/>
                      </a:lnTo>
                      <a:lnTo>
                        <a:pt x="150" y="44"/>
                      </a:lnTo>
                      <a:lnTo>
                        <a:pt x="150" y="44"/>
                      </a:lnTo>
                      <a:lnTo>
                        <a:pt x="139" y="62"/>
                      </a:lnTo>
                      <a:lnTo>
                        <a:pt x="139" y="62"/>
                      </a:lnTo>
                      <a:lnTo>
                        <a:pt x="127" y="84"/>
                      </a:lnTo>
                      <a:lnTo>
                        <a:pt x="127" y="84"/>
                      </a:lnTo>
                      <a:lnTo>
                        <a:pt x="113" y="110"/>
                      </a:lnTo>
                      <a:lnTo>
                        <a:pt x="113" y="110"/>
                      </a:lnTo>
                      <a:lnTo>
                        <a:pt x="103" y="125"/>
                      </a:lnTo>
                      <a:lnTo>
                        <a:pt x="103" y="125"/>
                      </a:lnTo>
                      <a:lnTo>
                        <a:pt x="100" y="130"/>
                      </a:lnTo>
                      <a:lnTo>
                        <a:pt x="100" y="130"/>
                      </a:lnTo>
                      <a:lnTo>
                        <a:pt x="97" y="132"/>
                      </a:lnTo>
                      <a:lnTo>
                        <a:pt x="97" y="132"/>
                      </a:lnTo>
                      <a:lnTo>
                        <a:pt x="88" y="138"/>
                      </a:lnTo>
                      <a:lnTo>
                        <a:pt x="82" y="143"/>
                      </a:lnTo>
                      <a:lnTo>
                        <a:pt x="82" y="143"/>
                      </a:lnTo>
                      <a:lnTo>
                        <a:pt x="81" y="146"/>
                      </a:lnTo>
                      <a:lnTo>
                        <a:pt x="81" y="146"/>
                      </a:lnTo>
                      <a:lnTo>
                        <a:pt x="81" y="148"/>
                      </a:lnTo>
                      <a:lnTo>
                        <a:pt x="81" y="148"/>
                      </a:lnTo>
                      <a:lnTo>
                        <a:pt x="77" y="149"/>
                      </a:lnTo>
                      <a:lnTo>
                        <a:pt x="77" y="149"/>
                      </a:lnTo>
                      <a:lnTo>
                        <a:pt x="69" y="154"/>
                      </a:lnTo>
                      <a:lnTo>
                        <a:pt x="59" y="161"/>
                      </a:lnTo>
                      <a:lnTo>
                        <a:pt x="49" y="168"/>
                      </a:lnTo>
                      <a:lnTo>
                        <a:pt x="40" y="178"/>
                      </a:lnTo>
                      <a:lnTo>
                        <a:pt x="40" y="178"/>
                      </a:lnTo>
                      <a:lnTo>
                        <a:pt x="23" y="201"/>
                      </a:lnTo>
                      <a:lnTo>
                        <a:pt x="23" y="201"/>
                      </a:lnTo>
                      <a:lnTo>
                        <a:pt x="14" y="213"/>
                      </a:lnTo>
                      <a:lnTo>
                        <a:pt x="14" y="213"/>
                      </a:lnTo>
                      <a:lnTo>
                        <a:pt x="11" y="217"/>
                      </a:lnTo>
                      <a:lnTo>
                        <a:pt x="10" y="217"/>
                      </a:lnTo>
                      <a:lnTo>
                        <a:pt x="10" y="219"/>
                      </a:lnTo>
                      <a:lnTo>
                        <a:pt x="10" y="219"/>
                      </a:lnTo>
                      <a:lnTo>
                        <a:pt x="10" y="219"/>
                      </a:lnTo>
                      <a:lnTo>
                        <a:pt x="4" y="219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03" name="Freeform 455"/>
                <p:cNvSpPr>
                  <a:spLocks/>
                </p:cNvSpPr>
                <p:nvPr/>
              </p:nvSpPr>
              <p:spPr bwMode="auto">
                <a:xfrm>
                  <a:off x="5098286" y="3143029"/>
                  <a:ext cx="5936" cy="9893"/>
                </a:xfrm>
                <a:custGeom>
                  <a:avLst/>
                  <a:gdLst>
                    <a:gd name="T0" fmla="*/ 0 w 6"/>
                    <a:gd name="T1" fmla="*/ 10 h 10"/>
                    <a:gd name="T2" fmla="*/ 0 w 6"/>
                    <a:gd name="T3" fmla="*/ 10 h 10"/>
                    <a:gd name="T4" fmla="*/ 0 w 6"/>
                    <a:gd name="T5" fmla="*/ 10 h 10"/>
                    <a:gd name="T6" fmla="*/ 6 w 6"/>
                    <a:gd name="T7" fmla="*/ 0 h 10"/>
                    <a:gd name="T8" fmla="*/ 6 w 6"/>
                    <a:gd name="T9" fmla="*/ 0 h 10"/>
                    <a:gd name="T10" fmla="*/ 0 w 6"/>
                    <a:gd name="T1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0">
                      <a:moveTo>
                        <a:pt x="0" y="10"/>
                      </a:move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04" name="Freeform 456"/>
                <p:cNvSpPr>
                  <a:spLocks/>
                </p:cNvSpPr>
                <p:nvPr/>
              </p:nvSpPr>
              <p:spPr bwMode="auto">
                <a:xfrm>
                  <a:off x="5098286" y="3143029"/>
                  <a:ext cx="5936" cy="9893"/>
                </a:xfrm>
                <a:custGeom>
                  <a:avLst/>
                  <a:gdLst>
                    <a:gd name="T0" fmla="*/ 0 w 6"/>
                    <a:gd name="T1" fmla="*/ 10 h 10"/>
                    <a:gd name="T2" fmla="*/ 0 w 6"/>
                    <a:gd name="T3" fmla="*/ 10 h 10"/>
                    <a:gd name="T4" fmla="*/ 0 w 6"/>
                    <a:gd name="T5" fmla="*/ 10 h 10"/>
                    <a:gd name="T6" fmla="*/ 6 w 6"/>
                    <a:gd name="T7" fmla="*/ 0 h 10"/>
                    <a:gd name="T8" fmla="*/ 6 w 6"/>
                    <a:gd name="T9" fmla="*/ 0 h 10"/>
                    <a:gd name="T10" fmla="*/ 0 w 6"/>
                    <a:gd name="T1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0">
                      <a:moveTo>
                        <a:pt x="0" y="10"/>
                      </a:move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0" y="1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05" name="Freeform 457"/>
                <p:cNvSpPr>
                  <a:spLocks noEditPoints="1"/>
                </p:cNvSpPr>
                <p:nvPr/>
              </p:nvSpPr>
              <p:spPr bwMode="auto">
                <a:xfrm>
                  <a:off x="5097297" y="3152921"/>
                  <a:ext cx="77162" cy="47484"/>
                </a:xfrm>
                <a:custGeom>
                  <a:avLst/>
                  <a:gdLst>
                    <a:gd name="T0" fmla="*/ 0 w 78"/>
                    <a:gd name="T1" fmla="*/ 4 h 48"/>
                    <a:gd name="T2" fmla="*/ 0 w 78"/>
                    <a:gd name="T3" fmla="*/ 4 h 48"/>
                    <a:gd name="T4" fmla="*/ 1 w 78"/>
                    <a:gd name="T5" fmla="*/ 0 h 48"/>
                    <a:gd name="T6" fmla="*/ 1 w 78"/>
                    <a:gd name="T7" fmla="*/ 0 h 48"/>
                    <a:gd name="T8" fmla="*/ 1 w 78"/>
                    <a:gd name="T9" fmla="*/ 0 h 48"/>
                    <a:gd name="T10" fmla="*/ 1 w 78"/>
                    <a:gd name="T11" fmla="*/ 0 h 48"/>
                    <a:gd name="T12" fmla="*/ 0 w 78"/>
                    <a:gd name="T13" fmla="*/ 4 h 48"/>
                    <a:gd name="T14" fmla="*/ 78 w 78"/>
                    <a:gd name="T15" fmla="*/ 48 h 48"/>
                    <a:gd name="T16" fmla="*/ 78 w 78"/>
                    <a:gd name="T17" fmla="*/ 48 h 48"/>
                    <a:gd name="T18" fmla="*/ 78 w 78"/>
                    <a:gd name="T19" fmla="*/ 48 h 48"/>
                    <a:gd name="T20" fmla="*/ 78 w 78"/>
                    <a:gd name="T21" fmla="*/ 48 h 48"/>
                    <a:gd name="T22" fmla="*/ 59 w 78"/>
                    <a:gd name="T23" fmla="*/ 43 h 48"/>
                    <a:gd name="T24" fmla="*/ 46 w 78"/>
                    <a:gd name="T25" fmla="*/ 41 h 48"/>
                    <a:gd name="T26" fmla="*/ 40 w 78"/>
                    <a:gd name="T27" fmla="*/ 39 h 48"/>
                    <a:gd name="T28" fmla="*/ 35 w 78"/>
                    <a:gd name="T29" fmla="*/ 35 h 48"/>
                    <a:gd name="T30" fmla="*/ 35 w 78"/>
                    <a:gd name="T31" fmla="*/ 35 h 48"/>
                    <a:gd name="T32" fmla="*/ 11 w 78"/>
                    <a:gd name="T33" fmla="*/ 20 h 48"/>
                    <a:gd name="T34" fmla="*/ 3 w 78"/>
                    <a:gd name="T35" fmla="*/ 13 h 48"/>
                    <a:gd name="T36" fmla="*/ 0 w 78"/>
                    <a:gd name="T37" fmla="*/ 10 h 48"/>
                    <a:gd name="T38" fmla="*/ 0 w 78"/>
                    <a:gd name="T39" fmla="*/ 6 h 48"/>
                    <a:gd name="T40" fmla="*/ 0 w 78"/>
                    <a:gd name="T41" fmla="*/ 6 h 48"/>
                    <a:gd name="T42" fmla="*/ 0 w 78"/>
                    <a:gd name="T43" fmla="*/ 10 h 48"/>
                    <a:gd name="T44" fmla="*/ 3 w 78"/>
                    <a:gd name="T45" fmla="*/ 13 h 48"/>
                    <a:gd name="T46" fmla="*/ 11 w 78"/>
                    <a:gd name="T47" fmla="*/ 20 h 48"/>
                    <a:gd name="T48" fmla="*/ 35 w 78"/>
                    <a:gd name="T49" fmla="*/ 35 h 48"/>
                    <a:gd name="T50" fmla="*/ 35 w 78"/>
                    <a:gd name="T51" fmla="*/ 35 h 48"/>
                    <a:gd name="T52" fmla="*/ 40 w 78"/>
                    <a:gd name="T53" fmla="*/ 39 h 48"/>
                    <a:gd name="T54" fmla="*/ 46 w 78"/>
                    <a:gd name="T55" fmla="*/ 41 h 48"/>
                    <a:gd name="T56" fmla="*/ 59 w 78"/>
                    <a:gd name="T57" fmla="*/ 43 h 48"/>
                    <a:gd name="T58" fmla="*/ 78 w 78"/>
                    <a:gd name="T59" fmla="*/ 48 h 48"/>
                    <a:gd name="T60" fmla="*/ 78 w 78"/>
                    <a:gd name="T61" fmla="*/ 48 h 48"/>
                    <a:gd name="T62" fmla="*/ 78 w 78"/>
                    <a:gd name="T63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78" h="48"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4"/>
                      </a:lnTo>
                      <a:close/>
                      <a:moveTo>
                        <a:pt x="78" y="48"/>
                      </a:moveTo>
                      <a:lnTo>
                        <a:pt x="78" y="48"/>
                      </a:lnTo>
                      <a:lnTo>
                        <a:pt x="78" y="48"/>
                      </a:lnTo>
                      <a:lnTo>
                        <a:pt x="78" y="48"/>
                      </a:lnTo>
                      <a:lnTo>
                        <a:pt x="59" y="43"/>
                      </a:lnTo>
                      <a:lnTo>
                        <a:pt x="46" y="41"/>
                      </a:lnTo>
                      <a:lnTo>
                        <a:pt x="40" y="39"/>
                      </a:lnTo>
                      <a:lnTo>
                        <a:pt x="35" y="35"/>
                      </a:lnTo>
                      <a:lnTo>
                        <a:pt x="35" y="35"/>
                      </a:lnTo>
                      <a:lnTo>
                        <a:pt x="11" y="20"/>
                      </a:lnTo>
                      <a:lnTo>
                        <a:pt x="3" y="13"/>
                      </a:ln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10"/>
                      </a:lnTo>
                      <a:lnTo>
                        <a:pt x="3" y="13"/>
                      </a:lnTo>
                      <a:lnTo>
                        <a:pt x="11" y="20"/>
                      </a:lnTo>
                      <a:lnTo>
                        <a:pt x="35" y="35"/>
                      </a:lnTo>
                      <a:lnTo>
                        <a:pt x="35" y="35"/>
                      </a:lnTo>
                      <a:lnTo>
                        <a:pt x="40" y="39"/>
                      </a:lnTo>
                      <a:lnTo>
                        <a:pt x="46" y="41"/>
                      </a:lnTo>
                      <a:lnTo>
                        <a:pt x="59" y="43"/>
                      </a:lnTo>
                      <a:lnTo>
                        <a:pt x="78" y="48"/>
                      </a:lnTo>
                      <a:lnTo>
                        <a:pt x="78" y="48"/>
                      </a:lnTo>
                      <a:lnTo>
                        <a:pt x="78" y="4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06" name="Freeform 458"/>
                <p:cNvSpPr>
                  <a:spLocks/>
                </p:cNvSpPr>
                <p:nvPr/>
              </p:nvSpPr>
              <p:spPr bwMode="auto">
                <a:xfrm>
                  <a:off x="5097297" y="3152921"/>
                  <a:ext cx="989" cy="3957"/>
                </a:xfrm>
                <a:custGeom>
                  <a:avLst/>
                  <a:gdLst>
                    <a:gd name="T0" fmla="*/ 0 w 1"/>
                    <a:gd name="T1" fmla="*/ 4 h 4"/>
                    <a:gd name="T2" fmla="*/ 0 w 1"/>
                    <a:gd name="T3" fmla="*/ 4 h 4"/>
                    <a:gd name="T4" fmla="*/ 1 w 1"/>
                    <a:gd name="T5" fmla="*/ 0 h 4"/>
                    <a:gd name="T6" fmla="*/ 1 w 1"/>
                    <a:gd name="T7" fmla="*/ 0 h 4"/>
                    <a:gd name="T8" fmla="*/ 1 w 1"/>
                    <a:gd name="T9" fmla="*/ 0 h 4"/>
                    <a:gd name="T10" fmla="*/ 1 w 1"/>
                    <a:gd name="T11" fmla="*/ 0 h 4"/>
                    <a:gd name="T12" fmla="*/ 0 w 1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" h="4"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07" name="Freeform 459"/>
                <p:cNvSpPr>
                  <a:spLocks/>
                </p:cNvSpPr>
                <p:nvPr/>
              </p:nvSpPr>
              <p:spPr bwMode="auto">
                <a:xfrm>
                  <a:off x="5097297" y="3158857"/>
                  <a:ext cx="77162" cy="41549"/>
                </a:xfrm>
                <a:custGeom>
                  <a:avLst/>
                  <a:gdLst>
                    <a:gd name="T0" fmla="*/ 78 w 78"/>
                    <a:gd name="T1" fmla="*/ 42 h 42"/>
                    <a:gd name="T2" fmla="*/ 78 w 78"/>
                    <a:gd name="T3" fmla="*/ 42 h 42"/>
                    <a:gd name="T4" fmla="*/ 78 w 78"/>
                    <a:gd name="T5" fmla="*/ 42 h 42"/>
                    <a:gd name="T6" fmla="*/ 78 w 78"/>
                    <a:gd name="T7" fmla="*/ 42 h 42"/>
                    <a:gd name="T8" fmla="*/ 59 w 78"/>
                    <a:gd name="T9" fmla="*/ 37 h 42"/>
                    <a:gd name="T10" fmla="*/ 46 w 78"/>
                    <a:gd name="T11" fmla="*/ 35 h 42"/>
                    <a:gd name="T12" fmla="*/ 40 w 78"/>
                    <a:gd name="T13" fmla="*/ 33 h 42"/>
                    <a:gd name="T14" fmla="*/ 35 w 78"/>
                    <a:gd name="T15" fmla="*/ 29 h 42"/>
                    <a:gd name="T16" fmla="*/ 35 w 78"/>
                    <a:gd name="T17" fmla="*/ 29 h 42"/>
                    <a:gd name="T18" fmla="*/ 11 w 78"/>
                    <a:gd name="T19" fmla="*/ 14 h 42"/>
                    <a:gd name="T20" fmla="*/ 3 w 78"/>
                    <a:gd name="T21" fmla="*/ 7 h 42"/>
                    <a:gd name="T22" fmla="*/ 0 w 78"/>
                    <a:gd name="T23" fmla="*/ 4 h 42"/>
                    <a:gd name="T24" fmla="*/ 0 w 78"/>
                    <a:gd name="T25" fmla="*/ 0 h 42"/>
                    <a:gd name="T26" fmla="*/ 0 w 78"/>
                    <a:gd name="T27" fmla="*/ 0 h 42"/>
                    <a:gd name="T28" fmla="*/ 0 w 78"/>
                    <a:gd name="T29" fmla="*/ 4 h 42"/>
                    <a:gd name="T30" fmla="*/ 3 w 78"/>
                    <a:gd name="T31" fmla="*/ 7 h 42"/>
                    <a:gd name="T32" fmla="*/ 11 w 78"/>
                    <a:gd name="T33" fmla="*/ 14 h 42"/>
                    <a:gd name="T34" fmla="*/ 35 w 78"/>
                    <a:gd name="T35" fmla="*/ 29 h 42"/>
                    <a:gd name="T36" fmla="*/ 35 w 78"/>
                    <a:gd name="T37" fmla="*/ 29 h 42"/>
                    <a:gd name="T38" fmla="*/ 40 w 78"/>
                    <a:gd name="T39" fmla="*/ 33 h 42"/>
                    <a:gd name="T40" fmla="*/ 46 w 78"/>
                    <a:gd name="T41" fmla="*/ 35 h 42"/>
                    <a:gd name="T42" fmla="*/ 59 w 78"/>
                    <a:gd name="T43" fmla="*/ 37 h 42"/>
                    <a:gd name="T44" fmla="*/ 78 w 78"/>
                    <a:gd name="T45" fmla="*/ 42 h 42"/>
                    <a:gd name="T46" fmla="*/ 78 w 78"/>
                    <a:gd name="T47" fmla="*/ 42 h 42"/>
                    <a:gd name="T48" fmla="*/ 78 w 78"/>
                    <a:gd name="T49" fmla="*/ 42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78" h="42">
                      <a:moveTo>
                        <a:pt x="78" y="42"/>
                      </a:moveTo>
                      <a:lnTo>
                        <a:pt x="78" y="42"/>
                      </a:lnTo>
                      <a:lnTo>
                        <a:pt x="78" y="42"/>
                      </a:lnTo>
                      <a:lnTo>
                        <a:pt x="78" y="42"/>
                      </a:lnTo>
                      <a:lnTo>
                        <a:pt x="59" y="37"/>
                      </a:lnTo>
                      <a:lnTo>
                        <a:pt x="46" y="35"/>
                      </a:lnTo>
                      <a:lnTo>
                        <a:pt x="40" y="33"/>
                      </a:lnTo>
                      <a:lnTo>
                        <a:pt x="35" y="29"/>
                      </a:lnTo>
                      <a:lnTo>
                        <a:pt x="35" y="29"/>
                      </a:lnTo>
                      <a:lnTo>
                        <a:pt x="11" y="14"/>
                      </a:lnTo>
                      <a:lnTo>
                        <a:pt x="3" y="7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3" y="7"/>
                      </a:lnTo>
                      <a:lnTo>
                        <a:pt x="11" y="14"/>
                      </a:lnTo>
                      <a:lnTo>
                        <a:pt x="35" y="29"/>
                      </a:lnTo>
                      <a:lnTo>
                        <a:pt x="35" y="29"/>
                      </a:lnTo>
                      <a:lnTo>
                        <a:pt x="40" y="33"/>
                      </a:lnTo>
                      <a:lnTo>
                        <a:pt x="46" y="35"/>
                      </a:lnTo>
                      <a:lnTo>
                        <a:pt x="59" y="37"/>
                      </a:lnTo>
                      <a:lnTo>
                        <a:pt x="78" y="42"/>
                      </a:lnTo>
                      <a:lnTo>
                        <a:pt x="78" y="42"/>
                      </a:lnTo>
                      <a:lnTo>
                        <a:pt x="78" y="4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08" name="Freeform 460"/>
                <p:cNvSpPr>
                  <a:spLocks/>
                </p:cNvSpPr>
                <p:nvPr/>
              </p:nvSpPr>
              <p:spPr bwMode="auto">
                <a:xfrm>
                  <a:off x="4456256" y="3108405"/>
                  <a:ext cx="181035" cy="156303"/>
                </a:xfrm>
                <a:custGeom>
                  <a:avLst/>
                  <a:gdLst>
                    <a:gd name="T0" fmla="*/ 131 w 183"/>
                    <a:gd name="T1" fmla="*/ 107 h 158"/>
                    <a:gd name="T2" fmla="*/ 141 w 183"/>
                    <a:gd name="T3" fmla="*/ 97 h 158"/>
                    <a:gd name="T4" fmla="*/ 154 w 183"/>
                    <a:gd name="T5" fmla="*/ 84 h 158"/>
                    <a:gd name="T6" fmla="*/ 161 w 183"/>
                    <a:gd name="T7" fmla="*/ 74 h 158"/>
                    <a:gd name="T8" fmla="*/ 176 w 183"/>
                    <a:gd name="T9" fmla="*/ 49 h 158"/>
                    <a:gd name="T10" fmla="*/ 179 w 183"/>
                    <a:gd name="T11" fmla="*/ 39 h 158"/>
                    <a:gd name="T12" fmla="*/ 183 w 183"/>
                    <a:gd name="T13" fmla="*/ 12 h 158"/>
                    <a:gd name="T14" fmla="*/ 174 w 183"/>
                    <a:gd name="T15" fmla="*/ 0 h 158"/>
                    <a:gd name="T16" fmla="*/ 157 w 183"/>
                    <a:gd name="T17" fmla="*/ 9 h 158"/>
                    <a:gd name="T18" fmla="*/ 148 w 183"/>
                    <a:gd name="T19" fmla="*/ 10 h 158"/>
                    <a:gd name="T20" fmla="*/ 137 w 183"/>
                    <a:gd name="T21" fmla="*/ 12 h 158"/>
                    <a:gd name="T22" fmla="*/ 126 w 183"/>
                    <a:gd name="T23" fmla="*/ 9 h 158"/>
                    <a:gd name="T24" fmla="*/ 118 w 183"/>
                    <a:gd name="T25" fmla="*/ 10 h 158"/>
                    <a:gd name="T26" fmla="*/ 112 w 183"/>
                    <a:gd name="T27" fmla="*/ 12 h 158"/>
                    <a:gd name="T28" fmla="*/ 96 w 183"/>
                    <a:gd name="T29" fmla="*/ 13 h 158"/>
                    <a:gd name="T30" fmla="*/ 89 w 183"/>
                    <a:gd name="T31" fmla="*/ 12 h 158"/>
                    <a:gd name="T32" fmla="*/ 76 w 183"/>
                    <a:gd name="T33" fmla="*/ 7 h 158"/>
                    <a:gd name="T34" fmla="*/ 71 w 183"/>
                    <a:gd name="T35" fmla="*/ 7 h 158"/>
                    <a:gd name="T36" fmla="*/ 60 w 183"/>
                    <a:gd name="T37" fmla="*/ 12 h 158"/>
                    <a:gd name="T38" fmla="*/ 57 w 183"/>
                    <a:gd name="T39" fmla="*/ 12 h 158"/>
                    <a:gd name="T40" fmla="*/ 47 w 183"/>
                    <a:gd name="T41" fmla="*/ 3 h 158"/>
                    <a:gd name="T42" fmla="*/ 41 w 183"/>
                    <a:gd name="T43" fmla="*/ 3 h 158"/>
                    <a:gd name="T44" fmla="*/ 21 w 183"/>
                    <a:gd name="T45" fmla="*/ 9 h 158"/>
                    <a:gd name="T46" fmla="*/ 18 w 183"/>
                    <a:gd name="T47" fmla="*/ 13 h 158"/>
                    <a:gd name="T48" fmla="*/ 16 w 183"/>
                    <a:gd name="T49" fmla="*/ 26 h 158"/>
                    <a:gd name="T50" fmla="*/ 18 w 183"/>
                    <a:gd name="T51" fmla="*/ 44 h 158"/>
                    <a:gd name="T52" fmla="*/ 16 w 183"/>
                    <a:gd name="T53" fmla="*/ 54 h 158"/>
                    <a:gd name="T54" fmla="*/ 12 w 183"/>
                    <a:gd name="T55" fmla="*/ 64 h 158"/>
                    <a:gd name="T56" fmla="*/ 11 w 183"/>
                    <a:gd name="T57" fmla="*/ 71 h 158"/>
                    <a:gd name="T58" fmla="*/ 3 w 183"/>
                    <a:gd name="T59" fmla="*/ 87 h 158"/>
                    <a:gd name="T60" fmla="*/ 2 w 183"/>
                    <a:gd name="T61" fmla="*/ 96 h 158"/>
                    <a:gd name="T62" fmla="*/ 0 w 183"/>
                    <a:gd name="T63" fmla="*/ 123 h 158"/>
                    <a:gd name="T64" fmla="*/ 26 w 183"/>
                    <a:gd name="T65" fmla="*/ 122 h 158"/>
                    <a:gd name="T66" fmla="*/ 29 w 183"/>
                    <a:gd name="T67" fmla="*/ 125 h 158"/>
                    <a:gd name="T68" fmla="*/ 41 w 183"/>
                    <a:gd name="T69" fmla="*/ 136 h 158"/>
                    <a:gd name="T70" fmla="*/ 42 w 183"/>
                    <a:gd name="T71" fmla="*/ 141 h 158"/>
                    <a:gd name="T72" fmla="*/ 48 w 183"/>
                    <a:gd name="T73" fmla="*/ 154 h 158"/>
                    <a:gd name="T74" fmla="*/ 53 w 183"/>
                    <a:gd name="T75" fmla="*/ 157 h 158"/>
                    <a:gd name="T76" fmla="*/ 57 w 183"/>
                    <a:gd name="T77" fmla="*/ 158 h 158"/>
                    <a:gd name="T78" fmla="*/ 77 w 183"/>
                    <a:gd name="T79" fmla="*/ 157 h 158"/>
                    <a:gd name="T80" fmla="*/ 95 w 183"/>
                    <a:gd name="T81" fmla="*/ 155 h 158"/>
                    <a:gd name="T82" fmla="*/ 97 w 183"/>
                    <a:gd name="T83" fmla="*/ 141 h 158"/>
                    <a:gd name="T84" fmla="*/ 105 w 183"/>
                    <a:gd name="T85" fmla="*/ 129 h 158"/>
                    <a:gd name="T86" fmla="*/ 121 w 183"/>
                    <a:gd name="T87" fmla="*/ 117 h 158"/>
                    <a:gd name="T88" fmla="*/ 131 w 183"/>
                    <a:gd name="T89" fmla="*/ 107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83" h="158">
                      <a:moveTo>
                        <a:pt x="131" y="107"/>
                      </a:moveTo>
                      <a:lnTo>
                        <a:pt x="131" y="107"/>
                      </a:lnTo>
                      <a:lnTo>
                        <a:pt x="135" y="103"/>
                      </a:lnTo>
                      <a:lnTo>
                        <a:pt x="141" y="97"/>
                      </a:lnTo>
                      <a:lnTo>
                        <a:pt x="147" y="91"/>
                      </a:lnTo>
                      <a:lnTo>
                        <a:pt x="154" y="84"/>
                      </a:lnTo>
                      <a:lnTo>
                        <a:pt x="154" y="84"/>
                      </a:lnTo>
                      <a:lnTo>
                        <a:pt x="161" y="74"/>
                      </a:lnTo>
                      <a:lnTo>
                        <a:pt x="168" y="62"/>
                      </a:lnTo>
                      <a:lnTo>
                        <a:pt x="176" y="49"/>
                      </a:lnTo>
                      <a:lnTo>
                        <a:pt x="179" y="39"/>
                      </a:lnTo>
                      <a:lnTo>
                        <a:pt x="179" y="39"/>
                      </a:lnTo>
                      <a:lnTo>
                        <a:pt x="183" y="12"/>
                      </a:lnTo>
                      <a:lnTo>
                        <a:pt x="183" y="12"/>
                      </a:lnTo>
                      <a:lnTo>
                        <a:pt x="174" y="0"/>
                      </a:lnTo>
                      <a:lnTo>
                        <a:pt x="174" y="0"/>
                      </a:lnTo>
                      <a:lnTo>
                        <a:pt x="166" y="6"/>
                      </a:lnTo>
                      <a:lnTo>
                        <a:pt x="157" y="9"/>
                      </a:lnTo>
                      <a:lnTo>
                        <a:pt x="157" y="9"/>
                      </a:lnTo>
                      <a:lnTo>
                        <a:pt x="148" y="10"/>
                      </a:lnTo>
                      <a:lnTo>
                        <a:pt x="142" y="12"/>
                      </a:lnTo>
                      <a:lnTo>
                        <a:pt x="137" y="12"/>
                      </a:lnTo>
                      <a:lnTo>
                        <a:pt x="137" y="12"/>
                      </a:lnTo>
                      <a:lnTo>
                        <a:pt x="126" y="9"/>
                      </a:lnTo>
                      <a:lnTo>
                        <a:pt x="122" y="9"/>
                      </a:lnTo>
                      <a:lnTo>
                        <a:pt x="118" y="10"/>
                      </a:lnTo>
                      <a:lnTo>
                        <a:pt x="118" y="10"/>
                      </a:lnTo>
                      <a:lnTo>
                        <a:pt x="112" y="12"/>
                      </a:lnTo>
                      <a:lnTo>
                        <a:pt x="105" y="13"/>
                      </a:lnTo>
                      <a:lnTo>
                        <a:pt x="96" y="13"/>
                      </a:lnTo>
                      <a:lnTo>
                        <a:pt x="89" y="12"/>
                      </a:lnTo>
                      <a:lnTo>
                        <a:pt x="89" y="12"/>
                      </a:lnTo>
                      <a:lnTo>
                        <a:pt x="80" y="7"/>
                      </a:lnTo>
                      <a:lnTo>
                        <a:pt x="76" y="7"/>
                      </a:lnTo>
                      <a:lnTo>
                        <a:pt x="71" y="7"/>
                      </a:lnTo>
                      <a:lnTo>
                        <a:pt x="71" y="7"/>
                      </a:lnTo>
                      <a:lnTo>
                        <a:pt x="64" y="12"/>
                      </a:lnTo>
                      <a:lnTo>
                        <a:pt x="60" y="12"/>
                      </a:lnTo>
                      <a:lnTo>
                        <a:pt x="57" y="12"/>
                      </a:lnTo>
                      <a:lnTo>
                        <a:pt x="57" y="12"/>
                      </a:lnTo>
                      <a:lnTo>
                        <a:pt x="51" y="6"/>
                      </a:lnTo>
                      <a:lnTo>
                        <a:pt x="47" y="3"/>
                      </a:lnTo>
                      <a:lnTo>
                        <a:pt x="41" y="3"/>
                      </a:lnTo>
                      <a:lnTo>
                        <a:pt x="41" y="3"/>
                      </a:lnTo>
                      <a:lnTo>
                        <a:pt x="28" y="6"/>
                      </a:lnTo>
                      <a:lnTo>
                        <a:pt x="21" y="9"/>
                      </a:lnTo>
                      <a:lnTo>
                        <a:pt x="19" y="10"/>
                      </a:lnTo>
                      <a:lnTo>
                        <a:pt x="18" y="13"/>
                      </a:lnTo>
                      <a:lnTo>
                        <a:pt x="18" y="13"/>
                      </a:lnTo>
                      <a:lnTo>
                        <a:pt x="16" y="26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9"/>
                      </a:lnTo>
                      <a:lnTo>
                        <a:pt x="16" y="54"/>
                      </a:lnTo>
                      <a:lnTo>
                        <a:pt x="13" y="58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1" y="71"/>
                      </a:lnTo>
                      <a:lnTo>
                        <a:pt x="6" y="80"/>
                      </a:lnTo>
                      <a:lnTo>
                        <a:pt x="3" y="87"/>
                      </a:lnTo>
                      <a:lnTo>
                        <a:pt x="2" y="96"/>
                      </a:lnTo>
                      <a:lnTo>
                        <a:pt x="2" y="96"/>
                      </a:lnTo>
                      <a:lnTo>
                        <a:pt x="0" y="107"/>
                      </a:lnTo>
                      <a:lnTo>
                        <a:pt x="0" y="123"/>
                      </a:lnTo>
                      <a:lnTo>
                        <a:pt x="0" y="123"/>
                      </a:lnTo>
                      <a:lnTo>
                        <a:pt x="26" y="122"/>
                      </a:lnTo>
                      <a:lnTo>
                        <a:pt x="26" y="122"/>
                      </a:lnTo>
                      <a:lnTo>
                        <a:pt x="29" y="125"/>
                      </a:lnTo>
                      <a:lnTo>
                        <a:pt x="34" y="129"/>
                      </a:lnTo>
                      <a:lnTo>
                        <a:pt x="41" y="136"/>
                      </a:lnTo>
                      <a:lnTo>
                        <a:pt x="41" y="136"/>
                      </a:lnTo>
                      <a:lnTo>
                        <a:pt x="42" y="141"/>
                      </a:lnTo>
                      <a:lnTo>
                        <a:pt x="45" y="146"/>
                      </a:lnTo>
                      <a:lnTo>
                        <a:pt x="48" y="154"/>
                      </a:lnTo>
                      <a:lnTo>
                        <a:pt x="50" y="155"/>
                      </a:lnTo>
                      <a:lnTo>
                        <a:pt x="53" y="157"/>
                      </a:lnTo>
                      <a:lnTo>
                        <a:pt x="53" y="157"/>
                      </a:lnTo>
                      <a:lnTo>
                        <a:pt x="57" y="158"/>
                      </a:lnTo>
                      <a:lnTo>
                        <a:pt x="63" y="158"/>
                      </a:lnTo>
                      <a:lnTo>
                        <a:pt x="77" y="157"/>
                      </a:lnTo>
                      <a:lnTo>
                        <a:pt x="77" y="157"/>
                      </a:lnTo>
                      <a:lnTo>
                        <a:pt x="95" y="155"/>
                      </a:lnTo>
                      <a:lnTo>
                        <a:pt x="95" y="155"/>
                      </a:lnTo>
                      <a:lnTo>
                        <a:pt x="97" y="141"/>
                      </a:lnTo>
                      <a:lnTo>
                        <a:pt x="100" y="135"/>
                      </a:lnTo>
                      <a:lnTo>
                        <a:pt x="105" y="129"/>
                      </a:lnTo>
                      <a:lnTo>
                        <a:pt x="105" y="129"/>
                      </a:lnTo>
                      <a:lnTo>
                        <a:pt x="121" y="117"/>
                      </a:lnTo>
                      <a:lnTo>
                        <a:pt x="126" y="113"/>
                      </a:lnTo>
                      <a:lnTo>
                        <a:pt x="131" y="10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09" name="Freeform 461"/>
                <p:cNvSpPr>
                  <a:spLocks/>
                </p:cNvSpPr>
                <p:nvPr/>
              </p:nvSpPr>
              <p:spPr bwMode="auto">
                <a:xfrm>
                  <a:off x="4456256" y="3108405"/>
                  <a:ext cx="181035" cy="156303"/>
                </a:xfrm>
                <a:custGeom>
                  <a:avLst/>
                  <a:gdLst>
                    <a:gd name="T0" fmla="*/ 131 w 183"/>
                    <a:gd name="T1" fmla="*/ 107 h 158"/>
                    <a:gd name="T2" fmla="*/ 141 w 183"/>
                    <a:gd name="T3" fmla="*/ 97 h 158"/>
                    <a:gd name="T4" fmla="*/ 154 w 183"/>
                    <a:gd name="T5" fmla="*/ 84 h 158"/>
                    <a:gd name="T6" fmla="*/ 161 w 183"/>
                    <a:gd name="T7" fmla="*/ 74 h 158"/>
                    <a:gd name="T8" fmla="*/ 176 w 183"/>
                    <a:gd name="T9" fmla="*/ 49 h 158"/>
                    <a:gd name="T10" fmla="*/ 179 w 183"/>
                    <a:gd name="T11" fmla="*/ 39 h 158"/>
                    <a:gd name="T12" fmla="*/ 183 w 183"/>
                    <a:gd name="T13" fmla="*/ 12 h 158"/>
                    <a:gd name="T14" fmla="*/ 174 w 183"/>
                    <a:gd name="T15" fmla="*/ 0 h 158"/>
                    <a:gd name="T16" fmla="*/ 157 w 183"/>
                    <a:gd name="T17" fmla="*/ 9 h 158"/>
                    <a:gd name="T18" fmla="*/ 148 w 183"/>
                    <a:gd name="T19" fmla="*/ 10 h 158"/>
                    <a:gd name="T20" fmla="*/ 137 w 183"/>
                    <a:gd name="T21" fmla="*/ 12 h 158"/>
                    <a:gd name="T22" fmla="*/ 126 w 183"/>
                    <a:gd name="T23" fmla="*/ 9 h 158"/>
                    <a:gd name="T24" fmla="*/ 118 w 183"/>
                    <a:gd name="T25" fmla="*/ 10 h 158"/>
                    <a:gd name="T26" fmla="*/ 112 w 183"/>
                    <a:gd name="T27" fmla="*/ 12 h 158"/>
                    <a:gd name="T28" fmla="*/ 96 w 183"/>
                    <a:gd name="T29" fmla="*/ 13 h 158"/>
                    <a:gd name="T30" fmla="*/ 89 w 183"/>
                    <a:gd name="T31" fmla="*/ 12 h 158"/>
                    <a:gd name="T32" fmla="*/ 76 w 183"/>
                    <a:gd name="T33" fmla="*/ 7 h 158"/>
                    <a:gd name="T34" fmla="*/ 71 w 183"/>
                    <a:gd name="T35" fmla="*/ 7 h 158"/>
                    <a:gd name="T36" fmla="*/ 60 w 183"/>
                    <a:gd name="T37" fmla="*/ 12 h 158"/>
                    <a:gd name="T38" fmla="*/ 57 w 183"/>
                    <a:gd name="T39" fmla="*/ 12 h 158"/>
                    <a:gd name="T40" fmla="*/ 47 w 183"/>
                    <a:gd name="T41" fmla="*/ 3 h 158"/>
                    <a:gd name="T42" fmla="*/ 41 w 183"/>
                    <a:gd name="T43" fmla="*/ 3 h 158"/>
                    <a:gd name="T44" fmla="*/ 21 w 183"/>
                    <a:gd name="T45" fmla="*/ 9 h 158"/>
                    <a:gd name="T46" fmla="*/ 18 w 183"/>
                    <a:gd name="T47" fmla="*/ 13 h 158"/>
                    <a:gd name="T48" fmla="*/ 16 w 183"/>
                    <a:gd name="T49" fmla="*/ 26 h 158"/>
                    <a:gd name="T50" fmla="*/ 18 w 183"/>
                    <a:gd name="T51" fmla="*/ 44 h 158"/>
                    <a:gd name="T52" fmla="*/ 16 w 183"/>
                    <a:gd name="T53" fmla="*/ 54 h 158"/>
                    <a:gd name="T54" fmla="*/ 12 w 183"/>
                    <a:gd name="T55" fmla="*/ 64 h 158"/>
                    <a:gd name="T56" fmla="*/ 11 w 183"/>
                    <a:gd name="T57" fmla="*/ 71 h 158"/>
                    <a:gd name="T58" fmla="*/ 3 w 183"/>
                    <a:gd name="T59" fmla="*/ 87 h 158"/>
                    <a:gd name="T60" fmla="*/ 2 w 183"/>
                    <a:gd name="T61" fmla="*/ 96 h 158"/>
                    <a:gd name="T62" fmla="*/ 0 w 183"/>
                    <a:gd name="T63" fmla="*/ 123 h 158"/>
                    <a:gd name="T64" fmla="*/ 26 w 183"/>
                    <a:gd name="T65" fmla="*/ 122 h 158"/>
                    <a:gd name="T66" fmla="*/ 29 w 183"/>
                    <a:gd name="T67" fmla="*/ 125 h 158"/>
                    <a:gd name="T68" fmla="*/ 41 w 183"/>
                    <a:gd name="T69" fmla="*/ 136 h 158"/>
                    <a:gd name="T70" fmla="*/ 42 w 183"/>
                    <a:gd name="T71" fmla="*/ 141 h 158"/>
                    <a:gd name="T72" fmla="*/ 48 w 183"/>
                    <a:gd name="T73" fmla="*/ 154 h 158"/>
                    <a:gd name="T74" fmla="*/ 53 w 183"/>
                    <a:gd name="T75" fmla="*/ 157 h 158"/>
                    <a:gd name="T76" fmla="*/ 57 w 183"/>
                    <a:gd name="T77" fmla="*/ 158 h 158"/>
                    <a:gd name="T78" fmla="*/ 77 w 183"/>
                    <a:gd name="T79" fmla="*/ 157 h 158"/>
                    <a:gd name="T80" fmla="*/ 95 w 183"/>
                    <a:gd name="T81" fmla="*/ 155 h 158"/>
                    <a:gd name="T82" fmla="*/ 97 w 183"/>
                    <a:gd name="T83" fmla="*/ 141 h 158"/>
                    <a:gd name="T84" fmla="*/ 105 w 183"/>
                    <a:gd name="T85" fmla="*/ 129 h 158"/>
                    <a:gd name="T86" fmla="*/ 121 w 183"/>
                    <a:gd name="T87" fmla="*/ 117 h 158"/>
                    <a:gd name="T88" fmla="*/ 131 w 183"/>
                    <a:gd name="T89" fmla="*/ 107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83" h="158">
                      <a:moveTo>
                        <a:pt x="131" y="107"/>
                      </a:moveTo>
                      <a:lnTo>
                        <a:pt x="131" y="107"/>
                      </a:lnTo>
                      <a:lnTo>
                        <a:pt x="135" y="103"/>
                      </a:lnTo>
                      <a:lnTo>
                        <a:pt x="141" y="97"/>
                      </a:lnTo>
                      <a:lnTo>
                        <a:pt x="147" y="91"/>
                      </a:lnTo>
                      <a:lnTo>
                        <a:pt x="154" y="84"/>
                      </a:lnTo>
                      <a:lnTo>
                        <a:pt x="154" y="84"/>
                      </a:lnTo>
                      <a:lnTo>
                        <a:pt x="161" y="74"/>
                      </a:lnTo>
                      <a:lnTo>
                        <a:pt x="168" y="62"/>
                      </a:lnTo>
                      <a:lnTo>
                        <a:pt x="176" y="49"/>
                      </a:lnTo>
                      <a:lnTo>
                        <a:pt x="179" y="39"/>
                      </a:lnTo>
                      <a:lnTo>
                        <a:pt x="179" y="39"/>
                      </a:lnTo>
                      <a:lnTo>
                        <a:pt x="183" y="12"/>
                      </a:lnTo>
                      <a:lnTo>
                        <a:pt x="183" y="12"/>
                      </a:lnTo>
                      <a:lnTo>
                        <a:pt x="174" y="0"/>
                      </a:lnTo>
                      <a:lnTo>
                        <a:pt x="174" y="0"/>
                      </a:lnTo>
                      <a:lnTo>
                        <a:pt x="166" y="6"/>
                      </a:lnTo>
                      <a:lnTo>
                        <a:pt x="157" y="9"/>
                      </a:lnTo>
                      <a:lnTo>
                        <a:pt x="157" y="9"/>
                      </a:lnTo>
                      <a:lnTo>
                        <a:pt x="148" y="10"/>
                      </a:lnTo>
                      <a:lnTo>
                        <a:pt x="142" y="12"/>
                      </a:lnTo>
                      <a:lnTo>
                        <a:pt x="137" y="12"/>
                      </a:lnTo>
                      <a:lnTo>
                        <a:pt x="137" y="12"/>
                      </a:lnTo>
                      <a:lnTo>
                        <a:pt x="126" y="9"/>
                      </a:lnTo>
                      <a:lnTo>
                        <a:pt x="122" y="9"/>
                      </a:lnTo>
                      <a:lnTo>
                        <a:pt x="118" y="10"/>
                      </a:lnTo>
                      <a:lnTo>
                        <a:pt x="118" y="10"/>
                      </a:lnTo>
                      <a:lnTo>
                        <a:pt x="112" y="12"/>
                      </a:lnTo>
                      <a:lnTo>
                        <a:pt x="105" y="13"/>
                      </a:lnTo>
                      <a:lnTo>
                        <a:pt x="96" y="13"/>
                      </a:lnTo>
                      <a:lnTo>
                        <a:pt x="89" y="12"/>
                      </a:lnTo>
                      <a:lnTo>
                        <a:pt x="89" y="12"/>
                      </a:lnTo>
                      <a:lnTo>
                        <a:pt x="80" y="7"/>
                      </a:lnTo>
                      <a:lnTo>
                        <a:pt x="76" y="7"/>
                      </a:lnTo>
                      <a:lnTo>
                        <a:pt x="71" y="7"/>
                      </a:lnTo>
                      <a:lnTo>
                        <a:pt x="71" y="7"/>
                      </a:lnTo>
                      <a:lnTo>
                        <a:pt x="64" y="12"/>
                      </a:lnTo>
                      <a:lnTo>
                        <a:pt x="60" y="12"/>
                      </a:lnTo>
                      <a:lnTo>
                        <a:pt x="57" y="12"/>
                      </a:lnTo>
                      <a:lnTo>
                        <a:pt x="57" y="12"/>
                      </a:lnTo>
                      <a:lnTo>
                        <a:pt x="51" y="6"/>
                      </a:lnTo>
                      <a:lnTo>
                        <a:pt x="47" y="3"/>
                      </a:lnTo>
                      <a:lnTo>
                        <a:pt x="41" y="3"/>
                      </a:lnTo>
                      <a:lnTo>
                        <a:pt x="41" y="3"/>
                      </a:lnTo>
                      <a:lnTo>
                        <a:pt x="28" y="6"/>
                      </a:lnTo>
                      <a:lnTo>
                        <a:pt x="21" y="9"/>
                      </a:lnTo>
                      <a:lnTo>
                        <a:pt x="19" y="10"/>
                      </a:lnTo>
                      <a:lnTo>
                        <a:pt x="18" y="13"/>
                      </a:lnTo>
                      <a:lnTo>
                        <a:pt x="18" y="13"/>
                      </a:lnTo>
                      <a:lnTo>
                        <a:pt x="16" y="26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9"/>
                      </a:lnTo>
                      <a:lnTo>
                        <a:pt x="16" y="54"/>
                      </a:lnTo>
                      <a:lnTo>
                        <a:pt x="13" y="58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1" y="71"/>
                      </a:lnTo>
                      <a:lnTo>
                        <a:pt x="6" y="80"/>
                      </a:lnTo>
                      <a:lnTo>
                        <a:pt x="3" y="87"/>
                      </a:lnTo>
                      <a:lnTo>
                        <a:pt x="2" y="96"/>
                      </a:lnTo>
                      <a:lnTo>
                        <a:pt x="2" y="96"/>
                      </a:lnTo>
                      <a:lnTo>
                        <a:pt x="0" y="107"/>
                      </a:lnTo>
                      <a:lnTo>
                        <a:pt x="0" y="123"/>
                      </a:lnTo>
                      <a:lnTo>
                        <a:pt x="0" y="123"/>
                      </a:lnTo>
                      <a:lnTo>
                        <a:pt x="26" y="122"/>
                      </a:lnTo>
                      <a:lnTo>
                        <a:pt x="26" y="122"/>
                      </a:lnTo>
                      <a:lnTo>
                        <a:pt x="29" y="125"/>
                      </a:lnTo>
                      <a:lnTo>
                        <a:pt x="34" y="129"/>
                      </a:lnTo>
                      <a:lnTo>
                        <a:pt x="41" y="136"/>
                      </a:lnTo>
                      <a:lnTo>
                        <a:pt x="41" y="136"/>
                      </a:lnTo>
                      <a:lnTo>
                        <a:pt x="42" y="141"/>
                      </a:lnTo>
                      <a:lnTo>
                        <a:pt x="45" y="146"/>
                      </a:lnTo>
                      <a:lnTo>
                        <a:pt x="48" y="154"/>
                      </a:lnTo>
                      <a:lnTo>
                        <a:pt x="50" y="155"/>
                      </a:lnTo>
                      <a:lnTo>
                        <a:pt x="53" y="157"/>
                      </a:lnTo>
                      <a:lnTo>
                        <a:pt x="53" y="157"/>
                      </a:lnTo>
                      <a:lnTo>
                        <a:pt x="57" y="158"/>
                      </a:lnTo>
                      <a:lnTo>
                        <a:pt x="63" y="158"/>
                      </a:lnTo>
                      <a:lnTo>
                        <a:pt x="77" y="157"/>
                      </a:lnTo>
                      <a:lnTo>
                        <a:pt x="77" y="157"/>
                      </a:lnTo>
                      <a:lnTo>
                        <a:pt x="95" y="155"/>
                      </a:lnTo>
                      <a:lnTo>
                        <a:pt x="95" y="155"/>
                      </a:lnTo>
                      <a:lnTo>
                        <a:pt x="97" y="141"/>
                      </a:lnTo>
                      <a:lnTo>
                        <a:pt x="100" y="135"/>
                      </a:lnTo>
                      <a:lnTo>
                        <a:pt x="105" y="129"/>
                      </a:lnTo>
                      <a:lnTo>
                        <a:pt x="105" y="129"/>
                      </a:lnTo>
                      <a:lnTo>
                        <a:pt x="121" y="117"/>
                      </a:lnTo>
                      <a:lnTo>
                        <a:pt x="126" y="113"/>
                      </a:lnTo>
                      <a:lnTo>
                        <a:pt x="131" y="10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10" name="Freeform 462"/>
                <p:cNvSpPr>
                  <a:spLocks/>
                </p:cNvSpPr>
                <p:nvPr/>
              </p:nvSpPr>
              <p:spPr bwMode="auto">
                <a:xfrm>
                  <a:off x="4550236" y="3120276"/>
                  <a:ext cx="118711" cy="184992"/>
                </a:xfrm>
                <a:custGeom>
                  <a:avLst/>
                  <a:gdLst>
                    <a:gd name="T0" fmla="*/ 117 w 120"/>
                    <a:gd name="T1" fmla="*/ 172 h 187"/>
                    <a:gd name="T2" fmla="*/ 101 w 120"/>
                    <a:gd name="T3" fmla="*/ 152 h 187"/>
                    <a:gd name="T4" fmla="*/ 92 w 120"/>
                    <a:gd name="T5" fmla="*/ 133 h 187"/>
                    <a:gd name="T6" fmla="*/ 92 w 120"/>
                    <a:gd name="T7" fmla="*/ 127 h 187"/>
                    <a:gd name="T8" fmla="*/ 98 w 120"/>
                    <a:gd name="T9" fmla="*/ 114 h 187"/>
                    <a:gd name="T10" fmla="*/ 108 w 120"/>
                    <a:gd name="T11" fmla="*/ 101 h 187"/>
                    <a:gd name="T12" fmla="*/ 110 w 120"/>
                    <a:gd name="T13" fmla="*/ 94 h 187"/>
                    <a:gd name="T14" fmla="*/ 108 w 120"/>
                    <a:gd name="T15" fmla="*/ 88 h 187"/>
                    <a:gd name="T16" fmla="*/ 97 w 120"/>
                    <a:gd name="T17" fmla="*/ 75 h 187"/>
                    <a:gd name="T18" fmla="*/ 89 w 120"/>
                    <a:gd name="T19" fmla="*/ 66 h 187"/>
                    <a:gd name="T20" fmla="*/ 89 w 120"/>
                    <a:gd name="T21" fmla="*/ 55 h 187"/>
                    <a:gd name="T22" fmla="*/ 89 w 120"/>
                    <a:gd name="T23" fmla="*/ 55 h 187"/>
                    <a:gd name="T24" fmla="*/ 110 w 120"/>
                    <a:gd name="T25" fmla="*/ 55 h 187"/>
                    <a:gd name="T26" fmla="*/ 105 w 120"/>
                    <a:gd name="T27" fmla="*/ 48 h 187"/>
                    <a:gd name="T28" fmla="*/ 104 w 120"/>
                    <a:gd name="T29" fmla="*/ 42 h 187"/>
                    <a:gd name="T30" fmla="*/ 102 w 120"/>
                    <a:gd name="T31" fmla="*/ 16 h 187"/>
                    <a:gd name="T32" fmla="*/ 97 w 120"/>
                    <a:gd name="T33" fmla="*/ 8 h 187"/>
                    <a:gd name="T34" fmla="*/ 88 w 120"/>
                    <a:gd name="T35" fmla="*/ 0 h 187"/>
                    <a:gd name="T36" fmla="*/ 84 w 120"/>
                    <a:gd name="T37" fmla="*/ 27 h 187"/>
                    <a:gd name="T38" fmla="*/ 81 w 120"/>
                    <a:gd name="T39" fmla="*/ 37 h 187"/>
                    <a:gd name="T40" fmla="*/ 66 w 120"/>
                    <a:gd name="T41" fmla="*/ 62 h 187"/>
                    <a:gd name="T42" fmla="*/ 59 w 120"/>
                    <a:gd name="T43" fmla="*/ 72 h 187"/>
                    <a:gd name="T44" fmla="*/ 46 w 120"/>
                    <a:gd name="T45" fmla="*/ 85 h 187"/>
                    <a:gd name="T46" fmla="*/ 36 w 120"/>
                    <a:gd name="T47" fmla="*/ 95 h 187"/>
                    <a:gd name="T48" fmla="*/ 31 w 120"/>
                    <a:gd name="T49" fmla="*/ 101 h 187"/>
                    <a:gd name="T50" fmla="*/ 10 w 120"/>
                    <a:gd name="T51" fmla="*/ 117 h 187"/>
                    <a:gd name="T52" fmla="*/ 5 w 120"/>
                    <a:gd name="T53" fmla="*/ 123 h 187"/>
                    <a:gd name="T54" fmla="*/ 0 w 120"/>
                    <a:gd name="T55" fmla="*/ 143 h 187"/>
                    <a:gd name="T56" fmla="*/ 1 w 120"/>
                    <a:gd name="T57" fmla="*/ 143 h 187"/>
                    <a:gd name="T58" fmla="*/ 7 w 120"/>
                    <a:gd name="T59" fmla="*/ 145 h 187"/>
                    <a:gd name="T60" fmla="*/ 14 w 120"/>
                    <a:gd name="T61" fmla="*/ 150 h 187"/>
                    <a:gd name="T62" fmla="*/ 17 w 120"/>
                    <a:gd name="T63" fmla="*/ 153 h 187"/>
                    <a:gd name="T64" fmla="*/ 20 w 120"/>
                    <a:gd name="T65" fmla="*/ 165 h 187"/>
                    <a:gd name="T66" fmla="*/ 21 w 120"/>
                    <a:gd name="T67" fmla="*/ 171 h 187"/>
                    <a:gd name="T68" fmla="*/ 18 w 120"/>
                    <a:gd name="T69" fmla="*/ 179 h 187"/>
                    <a:gd name="T70" fmla="*/ 76 w 120"/>
                    <a:gd name="T71" fmla="*/ 179 h 187"/>
                    <a:gd name="T72" fmla="*/ 86 w 120"/>
                    <a:gd name="T73" fmla="*/ 181 h 187"/>
                    <a:gd name="T74" fmla="*/ 104 w 120"/>
                    <a:gd name="T75" fmla="*/ 185 h 187"/>
                    <a:gd name="T76" fmla="*/ 111 w 120"/>
                    <a:gd name="T77" fmla="*/ 187 h 187"/>
                    <a:gd name="T78" fmla="*/ 120 w 120"/>
                    <a:gd name="T79" fmla="*/ 181 h 187"/>
                    <a:gd name="T80" fmla="*/ 117 w 120"/>
                    <a:gd name="T81" fmla="*/ 172 h 1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20" h="187">
                      <a:moveTo>
                        <a:pt x="117" y="172"/>
                      </a:moveTo>
                      <a:lnTo>
                        <a:pt x="117" y="172"/>
                      </a:lnTo>
                      <a:lnTo>
                        <a:pt x="110" y="163"/>
                      </a:lnTo>
                      <a:lnTo>
                        <a:pt x="101" y="152"/>
                      </a:lnTo>
                      <a:lnTo>
                        <a:pt x="95" y="139"/>
                      </a:lnTo>
                      <a:lnTo>
                        <a:pt x="92" y="133"/>
                      </a:lnTo>
                      <a:lnTo>
                        <a:pt x="92" y="127"/>
                      </a:lnTo>
                      <a:lnTo>
                        <a:pt x="92" y="127"/>
                      </a:lnTo>
                      <a:lnTo>
                        <a:pt x="94" y="121"/>
                      </a:lnTo>
                      <a:lnTo>
                        <a:pt x="98" y="114"/>
                      </a:lnTo>
                      <a:lnTo>
                        <a:pt x="102" y="108"/>
                      </a:lnTo>
                      <a:lnTo>
                        <a:pt x="108" y="101"/>
                      </a:lnTo>
                      <a:lnTo>
                        <a:pt x="108" y="101"/>
                      </a:lnTo>
                      <a:lnTo>
                        <a:pt x="110" y="94"/>
                      </a:lnTo>
                      <a:lnTo>
                        <a:pt x="108" y="88"/>
                      </a:lnTo>
                      <a:lnTo>
                        <a:pt x="108" y="88"/>
                      </a:lnTo>
                      <a:lnTo>
                        <a:pt x="102" y="81"/>
                      </a:lnTo>
                      <a:lnTo>
                        <a:pt x="97" y="75"/>
                      </a:lnTo>
                      <a:lnTo>
                        <a:pt x="92" y="69"/>
                      </a:lnTo>
                      <a:lnTo>
                        <a:pt x="89" y="66"/>
                      </a:lnTo>
                      <a:lnTo>
                        <a:pt x="89" y="62"/>
                      </a:lnTo>
                      <a:lnTo>
                        <a:pt x="89" y="55"/>
                      </a:lnTo>
                      <a:lnTo>
                        <a:pt x="89" y="55"/>
                      </a:lnTo>
                      <a:lnTo>
                        <a:pt x="89" y="55"/>
                      </a:lnTo>
                      <a:lnTo>
                        <a:pt x="110" y="55"/>
                      </a:lnTo>
                      <a:lnTo>
                        <a:pt x="110" y="55"/>
                      </a:lnTo>
                      <a:lnTo>
                        <a:pt x="107" y="52"/>
                      </a:lnTo>
                      <a:lnTo>
                        <a:pt x="105" y="48"/>
                      </a:lnTo>
                      <a:lnTo>
                        <a:pt x="104" y="42"/>
                      </a:lnTo>
                      <a:lnTo>
                        <a:pt x="104" y="42"/>
                      </a:lnTo>
                      <a:lnTo>
                        <a:pt x="104" y="24"/>
                      </a:lnTo>
                      <a:lnTo>
                        <a:pt x="102" y="16"/>
                      </a:lnTo>
                      <a:lnTo>
                        <a:pt x="99" y="11"/>
                      </a:lnTo>
                      <a:lnTo>
                        <a:pt x="97" y="8"/>
                      </a:lnTo>
                      <a:lnTo>
                        <a:pt x="97" y="8"/>
                      </a:lnTo>
                      <a:lnTo>
                        <a:pt x="88" y="0"/>
                      </a:lnTo>
                      <a:lnTo>
                        <a:pt x="88" y="0"/>
                      </a:lnTo>
                      <a:lnTo>
                        <a:pt x="84" y="27"/>
                      </a:lnTo>
                      <a:lnTo>
                        <a:pt x="84" y="27"/>
                      </a:lnTo>
                      <a:lnTo>
                        <a:pt x="81" y="37"/>
                      </a:lnTo>
                      <a:lnTo>
                        <a:pt x="73" y="50"/>
                      </a:lnTo>
                      <a:lnTo>
                        <a:pt x="66" y="62"/>
                      </a:lnTo>
                      <a:lnTo>
                        <a:pt x="59" y="72"/>
                      </a:lnTo>
                      <a:lnTo>
                        <a:pt x="59" y="72"/>
                      </a:lnTo>
                      <a:lnTo>
                        <a:pt x="52" y="79"/>
                      </a:lnTo>
                      <a:lnTo>
                        <a:pt x="46" y="85"/>
                      </a:lnTo>
                      <a:lnTo>
                        <a:pt x="40" y="91"/>
                      </a:lnTo>
                      <a:lnTo>
                        <a:pt x="36" y="95"/>
                      </a:lnTo>
                      <a:lnTo>
                        <a:pt x="36" y="95"/>
                      </a:lnTo>
                      <a:lnTo>
                        <a:pt x="31" y="101"/>
                      </a:lnTo>
                      <a:lnTo>
                        <a:pt x="26" y="105"/>
                      </a:lnTo>
                      <a:lnTo>
                        <a:pt x="10" y="117"/>
                      </a:lnTo>
                      <a:lnTo>
                        <a:pt x="10" y="117"/>
                      </a:lnTo>
                      <a:lnTo>
                        <a:pt x="5" y="123"/>
                      </a:lnTo>
                      <a:lnTo>
                        <a:pt x="2" y="129"/>
                      </a:lnTo>
                      <a:lnTo>
                        <a:pt x="0" y="143"/>
                      </a:lnTo>
                      <a:lnTo>
                        <a:pt x="0" y="143"/>
                      </a:lnTo>
                      <a:lnTo>
                        <a:pt x="1" y="143"/>
                      </a:lnTo>
                      <a:lnTo>
                        <a:pt x="1" y="143"/>
                      </a:lnTo>
                      <a:lnTo>
                        <a:pt x="7" y="145"/>
                      </a:lnTo>
                      <a:lnTo>
                        <a:pt x="10" y="147"/>
                      </a:lnTo>
                      <a:lnTo>
                        <a:pt x="14" y="150"/>
                      </a:lnTo>
                      <a:lnTo>
                        <a:pt x="14" y="150"/>
                      </a:lnTo>
                      <a:lnTo>
                        <a:pt x="17" y="153"/>
                      </a:lnTo>
                      <a:lnTo>
                        <a:pt x="18" y="159"/>
                      </a:lnTo>
                      <a:lnTo>
                        <a:pt x="20" y="165"/>
                      </a:lnTo>
                      <a:lnTo>
                        <a:pt x="21" y="171"/>
                      </a:lnTo>
                      <a:lnTo>
                        <a:pt x="21" y="171"/>
                      </a:lnTo>
                      <a:lnTo>
                        <a:pt x="18" y="179"/>
                      </a:lnTo>
                      <a:lnTo>
                        <a:pt x="18" y="179"/>
                      </a:lnTo>
                      <a:lnTo>
                        <a:pt x="50" y="179"/>
                      </a:lnTo>
                      <a:lnTo>
                        <a:pt x="76" y="179"/>
                      </a:lnTo>
                      <a:lnTo>
                        <a:pt x="76" y="179"/>
                      </a:lnTo>
                      <a:lnTo>
                        <a:pt x="86" y="181"/>
                      </a:lnTo>
                      <a:lnTo>
                        <a:pt x="97" y="184"/>
                      </a:lnTo>
                      <a:lnTo>
                        <a:pt x="104" y="185"/>
                      </a:lnTo>
                      <a:lnTo>
                        <a:pt x="111" y="187"/>
                      </a:lnTo>
                      <a:lnTo>
                        <a:pt x="111" y="187"/>
                      </a:lnTo>
                      <a:lnTo>
                        <a:pt x="117" y="184"/>
                      </a:lnTo>
                      <a:lnTo>
                        <a:pt x="120" y="181"/>
                      </a:lnTo>
                      <a:lnTo>
                        <a:pt x="120" y="176"/>
                      </a:lnTo>
                      <a:lnTo>
                        <a:pt x="117" y="17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11" name="Freeform 463"/>
                <p:cNvSpPr>
                  <a:spLocks/>
                </p:cNvSpPr>
                <p:nvPr/>
              </p:nvSpPr>
              <p:spPr bwMode="auto">
                <a:xfrm>
                  <a:off x="4550236" y="3120276"/>
                  <a:ext cx="118711" cy="184992"/>
                </a:xfrm>
                <a:custGeom>
                  <a:avLst/>
                  <a:gdLst>
                    <a:gd name="T0" fmla="*/ 117 w 120"/>
                    <a:gd name="T1" fmla="*/ 172 h 187"/>
                    <a:gd name="T2" fmla="*/ 101 w 120"/>
                    <a:gd name="T3" fmla="*/ 152 h 187"/>
                    <a:gd name="T4" fmla="*/ 92 w 120"/>
                    <a:gd name="T5" fmla="*/ 133 h 187"/>
                    <a:gd name="T6" fmla="*/ 92 w 120"/>
                    <a:gd name="T7" fmla="*/ 127 h 187"/>
                    <a:gd name="T8" fmla="*/ 98 w 120"/>
                    <a:gd name="T9" fmla="*/ 114 h 187"/>
                    <a:gd name="T10" fmla="*/ 108 w 120"/>
                    <a:gd name="T11" fmla="*/ 101 h 187"/>
                    <a:gd name="T12" fmla="*/ 110 w 120"/>
                    <a:gd name="T13" fmla="*/ 94 h 187"/>
                    <a:gd name="T14" fmla="*/ 108 w 120"/>
                    <a:gd name="T15" fmla="*/ 88 h 187"/>
                    <a:gd name="T16" fmla="*/ 97 w 120"/>
                    <a:gd name="T17" fmla="*/ 75 h 187"/>
                    <a:gd name="T18" fmla="*/ 89 w 120"/>
                    <a:gd name="T19" fmla="*/ 66 h 187"/>
                    <a:gd name="T20" fmla="*/ 89 w 120"/>
                    <a:gd name="T21" fmla="*/ 55 h 187"/>
                    <a:gd name="T22" fmla="*/ 89 w 120"/>
                    <a:gd name="T23" fmla="*/ 55 h 187"/>
                    <a:gd name="T24" fmla="*/ 110 w 120"/>
                    <a:gd name="T25" fmla="*/ 55 h 187"/>
                    <a:gd name="T26" fmla="*/ 105 w 120"/>
                    <a:gd name="T27" fmla="*/ 48 h 187"/>
                    <a:gd name="T28" fmla="*/ 104 w 120"/>
                    <a:gd name="T29" fmla="*/ 42 h 187"/>
                    <a:gd name="T30" fmla="*/ 102 w 120"/>
                    <a:gd name="T31" fmla="*/ 16 h 187"/>
                    <a:gd name="T32" fmla="*/ 97 w 120"/>
                    <a:gd name="T33" fmla="*/ 8 h 187"/>
                    <a:gd name="T34" fmla="*/ 88 w 120"/>
                    <a:gd name="T35" fmla="*/ 0 h 187"/>
                    <a:gd name="T36" fmla="*/ 84 w 120"/>
                    <a:gd name="T37" fmla="*/ 27 h 187"/>
                    <a:gd name="T38" fmla="*/ 81 w 120"/>
                    <a:gd name="T39" fmla="*/ 37 h 187"/>
                    <a:gd name="T40" fmla="*/ 66 w 120"/>
                    <a:gd name="T41" fmla="*/ 62 h 187"/>
                    <a:gd name="T42" fmla="*/ 59 w 120"/>
                    <a:gd name="T43" fmla="*/ 72 h 187"/>
                    <a:gd name="T44" fmla="*/ 46 w 120"/>
                    <a:gd name="T45" fmla="*/ 85 h 187"/>
                    <a:gd name="T46" fmla="*/ 36 w 120"/>
                    <a:gd name="T47" fmla="*/ 95 h 187"/>
                    <a:gd name="T48" fmla="*/ 31 w 120"/>
                    <a:gd name="T49" fmla="*/ 101 h 187"/>
                    <a:gd name="T50" fmla="*/ 10 w 120"/>
                    <a:gd name="T51" fmla="*/ 117 h 187"/>
                    <a:gd name="T52" fmla="*/ 5 w 120"/>
                    <a:gd name="T53" fmla="*/ 123 h 187"/>
                    <a:gd name="T54" fmla="*/ 0 w 120"/>
                    <a:gd name="T55" fmla="*/ 143 h 187"/>
                    <a:gd name="T56" fmla="*/ 1 w 120"/>
                    <a:gd name="T57" fmla="*/ 143 h 187"/>
                    <a:gd name="T58" fmla="*/ 7 w 120"/>
                    <a:gd name="T59" fmla="*/ 145 h 187"/>
                    <a:gd name="T60" fmla="*/ 14 w 120"/>
                    <a:gd name="T61" fmla="*/ 150 h 187"/>
                    <a:gd name="T62" fmla="*/ 17 w 120"/>
                    <a:gd name="T63" fmla="*/ 153 h 187"/>
                    <a:gd name="T64" fmla="*/ 20 w 120"/>
                    <a:gd name="T65" fmla="*/ 165 h 187"/>
                    <a:gd name="T66" fmla="*/ 21 w 120"/>
                    <a:gd name="T67" fmla="*/ 171 h 187"/>
                    <a:gd name="T68" fmla="*/ 18 w 120"/>
                    <a:gd name="T69" fmla="*/ 179 h 187"/>
                    <a:gd name="T70" fmla="*/ 76 w 120"/>
                    <a:gd name="T71" fmla="*/ 179 h 187"/>
                    <a:gd name="T72" fmla="*/ 86 w 120"/>
                    <a:gd name="T73" fmla="*/ 181 h 187"/>
                    <a:gd name="T74" fmla="*/ 104 w 120"/>
                    <a:gd name="T75" fmla="*/ 185 h 187"/>
                    <a:gd name="T76" fmla="*/ 111 w 120"/>
                    <a:gd name="T77" fmla="*/ 187 h 187"/>
                    <a:gd name="T78" fmla="*/ 120 w 120"/>
                    <a:gd name="T79" fmla="*/ 181 h 187"/>
                    <a:gd name="T80" fmla="*/ 117 w 120"/>
                    <a:gd name="T81" fmla="*/ 172 h 1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20" h="187">
                      <a:moveTo>
                        <a:pt x="117" y="172"/>
                      </a:moveTo>
                      <a:lnTo>
                        <a:pt x="117" y="172"/>
                      </a:lnTo>
                      <a:lnTo>
                        <a:pt x="110" y="163"/>
                      </a:lnTo>
                      <a:lnTo>
                        <a:pt x="101" y="152"/>
                      </a:lnTo>
                      <a:lnTo>
                        <a:pt x="95" y="139"/>
                      </a:lnTo>
                      <a:lnTo>
                        <a:pt x="92" y="133"/>
                      </a:lnTo>
                      <a:lnTo>
                        <a:pt x="92" y="127"/>
                      </a:lnTo>
                      <a:lnTo>
                        <a:pt x="92" y="127"/>
                      </a:lnTo>
                      <a:lnTo>
                        <a:pt x="94" y="121"/>
                      </a:lnTo>
                      <a:lnTo>
                        <a:pt x="98" y="114"/>
                      </a:lnTo>
                      <a:lnTo>
                        <a:pt x="102" y="108"/>
                      </a:lnTo>
                      <a:lnTo>
                        <a:pt x="108" y="101"/>
                      </a:lnTo>
                      <a:lnTo>
                        <a:pt x="108" y="101"/>
                      </a:lnTo>
                      <a:lnTo>
                        <a:pt x="110" y="94"/>
                      </a:lnTo>
                      <a:lnTo>
                        <a:pt x="108" y="88"/>
                      </a:lnTo>
                      <a:lnTo>
                        <a:pt x="108" y="88"/>
                      </a:lnTo>
                      <a:lnTo>
                        <a:pt x="102" y="81"/>
                      </a:lnTo>
                      <a:lnTo>
                        <a:pt x="97" y="75"/>
                      </a:lnTo>
                      <a:lnTo>
                        <a:pt x="92" y="69"/>
                      </a:lnTo>
                      <a:lnTo>
                        <a:pt x="89" y="66"/>
                      </a:lnTo>
                      <a:lnTo>
                        <a:pt x="89" y="62"/>
                      </a:lnTo>
                      <a:lnTo>
                        <a:pt x="89" y="55"/>
                      </a:lnTo>
                      <a:lnTo>
                        <a:pt x="89" y="55"/>
                      </a:lnTo>
                      <a:lnTo>
                        <a:pt x="89" y="55"/>
                      </a:lnTo>
                      <a:lnTo>
                        <a:pt x="110" y="55"/>
                      </a:lnTo>
                      <a:lnTo>
                        <a:pt x="110" y="55"/>
                      </a:lnTo>
                      <a:lnTo>
                        <a:pt x="107" y="52"/>
                      </a:lnTo>
                      <a:lnTo>
                        <a:pt x="105" y="48"/>
                      </a:lnTo>
                      <a:lnTo>
                        <a:pt x="104" y="42"/>
                      </a:lnTo>
                      <a:lnTo>
                        <a:pt x="104" y="42"/>
                      </a:lnTo>
                      <a:lnTo>
                        <a:pt x="104" y="24"/>
                      </a:lnTo>
                      <a:lnTo>
                        <a:pt x="102" y="16"/>
                      </a:lnTo>
                      <a:lnTo>
                        <a:pt x="99" y="11"/>
                      </a:lnTo>
                      <a:lnTo>
                        <a:pt x="97" y="8"/>
                      </a:lnTo>
                      <a:lnTo>
                        <a:pt x="97" y="8"/>
                      </a:lnTo>
                      <a:lnTo>
                        <a:pt x="88" y="0"/>
                      </a:lnTo>
                      <a:lnTo>
                        <a:pt x="88" y="0"/>
                      </a:lnTo>
                      <a:lnTo>
                        <a:pt x="84" y="27"/>
                      </a:lnTo>
                      <a:lnTo>
                        <a:pt x="84" y="27"/>
                      </a:lnTo>
                      <a:lnTo>
                        <a:pt x="81" y="37"/>
                      </a:lnTo>
                      <a:lnTo>
                        <a:pt x="73" y="50"/>
                      </a:lnTo>
                      <a:lnTo>
                        <a:pt x="66" y="62"/>
                      </a:lnTo>
                      <a:lnTo>
                        <a:pt x="59" y="72"/>
                      </a:lnTo>
                      <a:lnTo>
                        <a:pt x="59" y="72"/>
                      </a:lnTo>
                      <a:lnTo>
                        <a:pt x="52" y="79"/>
                      </a:lnTo>
                      <a:lnTo>
                        <a:pt x="46" y="85"/>
                      </a:lnTo>
                      <a:lnTo>
                        <a:pt x="40" y="91"/>
                      </a:lnTo>
                      <a:lnTo>
                        <a:pt x="36" y="95"/>
                      </a:lnTo>
                      <a:lnTo>
                        <a:pt x="36" y="95"/>
                      </a:lnTo>
                      <a:lnTo>
                        <a:pt x="31" y="101"/>
                      </a:lnTo>
                      <a:lnTo>
                        <a:pt x="26" y="105"/>
                      </a:lnTo>
                      <a:lnTo>
                        <a:pt x="10" y="117"/>
                      </a:lnTo>
                      <a:lnTo>
                        <a:pt x="10" y="117"/>
                      </a:lnTo>
                      <a:lnTo>
                        <a:pt x="5" y="123"/>
                      </a:lnTo>
                      <a:lnTo>
                        <a:pt x="2" y="129"/>
                      </a:lnTo>
                      <a:lnTo>
                        <a:pt x="0" y="143"/>
                      </a:lnTo>
                      <a:lnTo>
                        <a:pt x="0" y="143"/>
                      </a:lnTo>
                      <a:lnTo>
                        <a:pt x="1" y="143"/>
                      </a:lnTo>
                      <a:lnTo>
                        <a:pt x="1" y="143"/>
                      </a:lnTo>
                      <a:lnTo>
                        <a:pt x="7" y="145"/>
                      </a:lnTo>
                      <a:lnTo>
                        <a:pt x="10" y="147"/>
                      </a:lnTo>
                      <a:lnTo>
                        <a:pt x="14" y="150"/>
                      </a:lnTo>
                      <a:lnTo>
                        <a:pt x="14" y="150"/>
                      </a:lnTo>
                      <a:lnTo>
                        <a:pt x="17" y="153"/>
                      </a:lnTo>
                      <a:lnTo>
                        <a:pt x="18" y="159"/>
                      </a:lnTo>
                      <a:lnTo>
                        <a:pt x="20" y="165"/>
                      </a:lnTo>
                      <a:lnTo>
                        <a:pt x="21" y="171"/>
                      </a:lnTo>
                      <a:lnTo>
                        <a:pt x="21" y="171"/>
                      </a:lnTo>
                      <a:lnTo>
                        <a:pt x="18" y="179"/>
                      </a:lnTo>
                      <a:lnTo>
                        <a:pt x="18" y="179"/>
                      </a:lnTo>
                      <a:lnTo>
                        <a:pt x="50" y="179"/>
                      </a:lnTo>
                      <a:lnTo>
                        <a:pt x="76" y="179"/>
                      </a:lnTo>
                      <a:lnTo>
                        <a:pt x="76" y="179"/>
                      </a:lnTo>
                      <a:lnTo>
                        <a:pt x="86" y="181"/>
                      </a:lnTo>
                      <a:lnTo>
                        <a:pt x="97" y="184"/>
                      </a:lnTo>
                      <a:lnTo>
                        <a:pt x="104" y="185"/>
                      </a:lnTo>
                      <a:lnTo>
                        <a:pt x="111" y="187"/>
                      </a:lnTo>
                      <a:lnTo>
                        <a:pt x="111" y="187"/>
                      </a:lnTo>
                      <a:lnTo>
                        <a:pt x="117" y="184"/>
                      </a:lnTo>
                      <a:lnTo>
                        <a:pt x="120" y="181"/>
                      </a:lnTo>
                      <a:lnTo>
                        <a:pt x="120" y="176"/>
                      </a:lnTo>
                      <a:lnTo>
                        <a:pt x="117" y="17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12" name="Freeform 464"/>
                <p:cNvSpPr>
                  <a:spLocks/>
                </p:cNvSpPr>
                <p:nvPr/>
              </p:nvSpPr>
              <p:spPr bwMode="auto">
                <a:xfrm>
                  <a:off x="4409761" y="3136104"/>
                  <a:ext cx="46495" cy="93980"/>
                </a:xfrm>
                <a:custGeom>
                  <a:avLst/>
                  <a:gdLst>
                    <a:gd name="T0" fmla="*/ 12 w 47"/>
                    <a:gd name="T1" fmla="*/ 95 h 95"/>
                    <a:gd name="T2" fmla="*/ 11 w 47"/>
                    <a:gd name="T3" fmla="*/ 63 h 95"/>
                    <a:gd name="T4" fmla="*/ 11 w 47"/>
                    <a:gd name="T5" fmla="*/ 53 h 95"/>
                    <a:gd name="T6" fmla="*/ 11 w 47"/>
                    <a:gd name="T7" fmla="*/ 52 h 95"/>
                    <a:gd name="T8" fmla="*/ 9 w 47"/>
                    <a:gd name="T9" fmla="*/ 43 h 95"/>
                    <a:gd name="T10" fmla="*/ 2 w 47"/>
                    <a:gd name="T11" fmla="*/ 30 h 95"/>
                    <a:gd name="T12" fmla="*/ 0 w 47"/>
                    <a:gd name="T13" fmla="*/ 26 h 95"/>
                    <a:gd name="T14" fmla="*/ 6 w 47"/>
                    <a:gd name="T15" fmla="*/ 13 h 95"/>
                    <a:gd name="T16" fmla="*/ 13 w 47"/>
                    <a:gd name="T17" fmla="*/ 14 h 95"/>
                    <a:gd name="T18" fmla="*/ 13 w 47"/>
                    <a:gd name="T19" fmla="*/ 14 h 95"/>
                    <a:gd name="T20" fmla="*/ 13 w 47"/>
                    <a:gd name="T21" fmla="*/ 14 h 95"/>
                    <a:gd name="T22" fmla="*/ 13 w 47"/>
                    <a:gd name="T23" fmla="*/ 14 h 95"/>
                    <a:gd name="T24" fmla="*/ 15 w 47"/>
                    <a:gd name="T25" fmla="*/ 14 h 95"/>
                    <a:gd name="T26" fmla="*/ 15 w 47"/>
                    <a:gd name="T27" fmla="*/ 14 h 95"/>
                    <a:gd name="T28" fmla="*/ 18 w 47"/>
                    <a:gd name="T29" fmla="*/ 13 h 95"/>
                    <a:gd name="T30" fmla="*/ 24 w 47"/>
                    <a:gd name="T31" fmla="*/ 4 h 95"/>
                    <a:gd name="T32" fmla="*/ 24 w 47"/>
                    <a:gd name="T33" fmla="*/ 4 h 95"/>
                    <a:gd name="T34" fmla="*/ 25 w 47"/>
                    <a:gd name="T35" fmla="*/ 3 h 95"/>
                    <a:gd name="T36" fmla="*/ 25 w 47"/>
                    <a:gd name="T37" fmla="*/ 1 h 95"/>
                    <a:gd name="T38" fmla="*/ 25 w 47"/>
                    <a:gd name="T39" fmla="*/ 1 h 95"/>
                    <a:gd name="T40" fmla="*/ 28 w 47"/>
                    <a:gd name="T41" fmla="*/ 0 h 95"/>
                    <a:gd name="T42" fmla="*/ 31 w 47"/>
                    <a:gd name="T43" fmla="*/ 0 h 95"/>
                    <a:gd name="T44" fmla="*/ 31 w 47"/>
                    <a:gd name="T45" fmla="*/ 0 h 95"/>
                    <a:gd name="T46" fmla="*/ 37 w 47"/>
                    <a:gd name="T47" fmla="*/ 3 h 95"/>
                    <a:gd name="T48" fmla="*/ 37 w 47"/>
                    <a:gd name="T49" fmla="*/ 4 h 95"/>
                    <a:gd name="T50" fmla="*/ 37 w 47"/>
                    <a:gd name="T51" fmla="*/ 4 h 95"/>
                    <a:gd name="T52" fmla="*/ 41 w 47"/>
                    <a:gd name="T53" fmla="*/ 7 h 95"/>
                    <a:gd name="T54" fmla="*/ 47 w 47"/>
                    <a:gd name="T55" fmla="*/ 8 h 95"/>
                    <a:gd name="T56" fmla="*/ 47 w 47"/>
                    <a:gd name="T57" fmla="*/ 16 h 95"/>
                    <a:gd name="T58" fmla="*/ 47 w 47"/>
                    <a:gd name="T59" fmla="*/ 16 h 95"/>
                    <a:gd name="T60" fmla="*/ 47 w 47"/>
                    <a:gd name="T61" fmla="*/ 16 h 95"/>
                    <a:gd name="T62" fmla="*/ 47 w 47"/>
                    <a:gd name="T63" fmla="*/ 18 h 95"/>
                    <a:gd name="T64" fmla="*/ 44 w 47"/>
                    <a:gd name="T65" fmla="*/ 27 h 95"/>
                    <a:gd name="T66" fmla="*/ 41 w 47"/>
                    <a:gd name="T67" fmla="*/ 36 h 95"/>
                    <a:gd name="T68" fmla="*/ 40 w 47"/>
                    <a:gd name="T69" fmla="*/ 43 h 95"/>
                    <a:gd name="T70" fmla="*/ 32 w 47"/>
                    <a:gd name="T71" fmla="*/ 59 h 95"/>
                    <a:gd name="T72" fmla="*/ 31 w 47"/>
                    <a:gd name="T73" fmla="*/ 68 h 95"/>
                    <a:gd name="T74" fmla="*/ 29 w 47"/>
                    <a:gd name="T75" fmla="*/ 92 h 95"/>
                    <a:gd name="T76" fmla="*/ 21 w 47"/>
                    <a:gd name="T77" fmla="*/ 92 h 95"/>
                    <a:gd name="T78" fmla="*/ 15 w 47"/>
                    <a:gd name="T79" fmla="*/ 94 h 95"/>
                    <a:gd name="T80" fmla="*/ 13 w 47"/>
                    <a:gd name="T81" fmla="*/ 94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47" h="95">
                      <a:moveTo>
                        <a:pt x="12" y="95"/>
                      </a:moveTo>
                      <a:lnTo>
                        <a:pt x="12" y="95"/>
                      </a:lnTo>
                      <a:lnTo>
                        <a:pt x="11" y="78"/>
                      </a:lnTo>
                      <a:lnTo>
                        <a:pt x="11" y="63"/>
                      </a:lnTo>
                      <a:lnTo>
                        <a:pt x="11" y="63"/>
                      </a:lnTo>
                      <a:lnTo>
                        <a:pt x="11" y="53"/>
                      </a:lnTo>
                      <a:lnTo>
                        <a:pt x="11" y="53"/>
                      </a:lnTo>
                      <a:lnTo>
                        <a:pt x="11" y="52"/>
                      </a:lnTo>
                      <a:lnTo>
                        <a:pt x="11" y="52"/>
                      </a:lnTo>
                      <a:lnTo>
                        <a:pt x="9" y="43"/>
                      </a:lnTo>
                      <a:lnTo>
                        <a:pt x="5" y="36"/>
                      </a:lnTo>
                      <a:lnTo>
                        <a:pt x="2" y="30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2" y="20"/>
                      </a:lnTo>
                      <a:lnTo>
                        <a:pt x="6" y="13"/>
                      </a:lnTo>
                      <a:lnTo>
                        <a:pt x="6" y="13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5" y="14"/>
                      </a:lnTo>
                      <a:lnTo>
                        <a:pt x="15" y="14"/>
                      </a:lnTo>
                      <a:lnTo>
                        <a:pt x="15" y="14"/>
                      </a:lnTo>
                      <a:lnTo>
                        <a:pt x="15" y="14"/>
                      </a:lnTo>
                      <a:lnTo>
                        <a:pt x="18" y="13"/>
                      </a:lnTo>
                      <a:lnTo>
                        <a:pt x="21" y="10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5" y="3"/>
                      </a:lnTo>
                      <a:lnTo>
                        <a:pt x="25" y="3"/>
                      </a:lnTo>
                      <a:lnTo>
                        <a:pt x="25" y="1"/>
                      </a:lnTo>
                      <a:lnTo>
                        <a:pt x="25" y="1"/>
                      </a:lnTo>
                      <a:lnTo>
                        <a:pt x="25" y="1"/>
                      </a:lnTo>
                      <a:lnTo>
                        <a:pt x="25" y="1"/>
                      </a:lnTo>
                      <a:lnTo>
                        <a:pt x="28" y="0"/>
                      </a:lnTo>
                      <a:lnTo>
                        <a:pt x="31" y="0"/>
                      </a:lnTo>
                      <a:lnTo>
                        <a:pt x="31" y="0"/>
                      </a:lnTo>
                      <a:lnTo>
                        <a:pt x="31" y="0"/>
                      </a:lnTo>
                      <a:lnTo>
                        <a:pt x="31" y="0"/>
                      </a:lnTo>
                      <a:lnTo>
                        <a:pt x="34" y="1"/>
                      </a:lnTo>
                      <a:lnTo>
                        <a:pt x="37" y="3"/>
                      </a:lnTo>
                      <a:lnTo>
                        <a:pt x="37" y="3"/>
                      </a:lnTo>
                      <a:lnTo>
                        <a:pt x="37" y="4"/>
                      </a:lnTo>
                      <a:lnTo>
                        <a:pt x="37" y="4"/>
                      </a:lnTo>
                      <a:lnTo>
                        <a:pt x="37" y="4"/>
                      </a:lnTo>
                      <a:lnTo>
                        <a:pt x="37" y="4"/>
                      </a:lnTo>
                      <a:lnTo>
                        <a:pt x="41" y="7"/>
                      </a:lnTo>
                      <a:lnTo>
                        <a:pt x="47" y="8"/>
                      </a:lnTo>
                      <a:lnTo>
                        <a:pt x="47" y="8"/>
                      </a:lnTo>
                      <a:lnTo>
                        <a:pt x="47" y="16"/>
                      </a:lnTo>
                      <a:lnTo>
                        <a:pt x="47" y="16"/>
                      </a:lnTo>
                      <a:lnTo>
                        <a:pt x="47" y="16"/>
                      </a:lnTo>
                      <a:lnTo>
                        <a:pt x="47" y="16"/>
                      </a:lnTo>
                      <a:lnTo>
                        <a:pt x="47" y="16"/>
                      </a:lnTo>
                      <a:lnTo>
                        <a:pt x="47" y="16"/>
                      </a:lnTo>
                      <a:lnTo>
                        <a:pt x="47" y="18"/>
                      </a:lnTo>
                      <a:lnTo>
                        <a:pt x="47" y="18"/>
                      </a:lnTo>
                      <a:lnTo>
                        <a:pt x="47" y="23"/>
                      </a:lnTo>
                      <a:lnTo>
                        <a:pt x="44" y="27"/>
                      </a:lnTo>
                      <a:lnTo>
                        <a:pt x="42" y="32"/>
                      </a:lnTo>
                      <a:lnTo>
                        <a:pt x="41" y="36"/>
                      </a:lnTo>
                      <a:lnTo>
                        <a:pt x="41" y="36"/>
                      </a:lnTo>
                      <a:lnTo>
                        <a:pt x="40" y="43"/>
                      </a:lnTo>
                      <a:lnTo>
                        <a:pt x="35" y="52"/>
                      </a:lnTo>
                      <a:lnTo>
                        <a:pt x="32" y="59"/>
                      </a:lnTo>
                      <a:lnTo>
                        <a:pt x="31" y="68"/>
                      </a:lnTo>
                      <a:lnTo>
                        <a:pt x="31" y="68"/>
                      </a:lnTo>
                      <a:lnTo>
                        <a:pt x="29" y="92"/>
                      </a:lnTo>
                      <a:lnTo>
                        <a:pt x="29" y="92"/>
                      </a:lnTo>
                      <a:lnTo>
                        <a:pt x="21" y="92"/>
                      </a:lnTo>
                      <a:lnTo>
                        <a:pt x="21" y="92"/>
                      </a:lnTo>
                      <a:lnTo>
                        <a:pt x="15" y="94"/>
                      </a:lnTo>
                      <a:lnTo>
                        <a:pt x="15" y="94"/>
                      </a:lnTo>
                      <a:lnTo>
                        <a:pt x="13" y="94"/>
                      </a:lnTo>
                      <a:lnTo>
                        <a:pt x="13" y="94"/>
                      </a:lnTo>
                      <a:lnTo>
                        <a:pt x="12" y="9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13" name="Freeform 465"/>
                <p:cNvSpPr>
                  <a:spLocks/>
                </p:cNvSpPr>
                <p:nvPr/>
              </p:nvSpPr>
              <p:spPr bwMode="auto">
                <a:xfrm>
                  <a:off x="4427568" y="3136104"/>
                  <a:ext cx="46495" cy="93980"/>
                </a:xfrm>
                <a:custGeom>
                  <a:avLst/>
                  <a:gdLst>
                    <a:gd name="T0" fmla="*/ 12 w 47"/>
                    <a:gd name="T1" fmla="*/ 95 h 95"/>
                    <a:gd name="T2" fmla="*/ 11 w 47"/>
                    <a:gd name="T3" fmla="*/ 63 h 95"/>
                    <a:gd name="T4" fmla="*/ 11 w 47"/>
                    <a:gd name="T5" fmla="*/ 53 h 95"/>
                    <a:gd name="T6" fmla="*/ 11 w 47"/>
                    <a:gd name="T7" fmla="*/ 52 h 95"/>
                    <a:gd name="T8" fmla="*/ 9 w 47"/>
                    <a:gd name="T9" fmla="*/ 43 h 95"/>
                    <a:gd name="T10" fmla="*/ 2 w 47"/>
                    <a:gd name="T11" fmla="*/ 30 h 95"/>
                    <a:gd name="T12" fmla="*/ 0 w 47"/>
                    <a:gd name="T13" fmla="*/ 26 h 95"/>
                    <a:gd name="T14" fmla="*/ 6 w 47"/>
                    <a:gd name="T15" fmla="*/ 13 h 95"/>
                    <a:gd name="T16" fmla="*/ 13 w 47"/>
                    <a:gd name="T17" fmla="*/ 14 h 95"/>
                    <a:gd name="T18" fmla="*/ 13 w 47"/>
                    <a:gd name="T19" fmla="*/ 14 h 95"/>
                    <a:gd name="T20" fmla="*/ 13 w 47"/>
                    <a:gd name="T21" fmla="*/ 14 h 95"/>
                    <a:gd name="T22" fmla="*/ 13 w 47"/>
                    <a:gd name="T23" fmla="*/ 14 h 95"/>
                    <a:gd name="T24" fmla="*/ 15 w 47"/>
                    <a:gd name="T25" fmla="*/ 14 h 95"/>
                    <a:gd name="T26" fmla="*/ 15 w 47"/>
                    <a:gd name="T27" fmla="*/ 14 h 95"/>
                    <a:gd name="T28" fmla="*/ 18 w 47"/>
                    <a:gd name="T29" fmla="*/ 13 h 95"/>
                    <a:gd name="T30" fmla="*/ 24 w 47"/>
                    <a:gd name="T31" fmla="*/ 4 h 95"/>
                    <a:gd name="T32" fmla="*/ 24 w 47"/>
                    <a:gd name="T33" fmla="*/ 4 h 95"/>
                    <a:gd name="T34" fmla="*/ 25 w 47"/>
                    <a:gd name="T35" fmla="*/ 3 h 95"/>
                    <a:gd name="T36" fmla="*/ 25 w 47"/>
                    <a:gd name="T37" fmla="*/ 1 h 95"/>
                    <a:gd name="T38" fmla="*/ 25 w 47"/>
                    <a:gd name="T39" fmla="*/ 1 h 95"/>
                    <a:gd name="T40" fmla="*/ 28 w 47"/>
                    <a:gd name="T41" fmla="*/ 0 h 95"/>
                    <a:gd name="T42" fmla="*/ 31 w 47"/>
                    <a:gd name="T43" fmla="*/ 0 h 95"/>
                    <a:gd name="T44" fmla="*/ 31 w 47"/>
                    <a:gd name="T45" fmla="*/ 0 h 95"/>
                    <a:gd name="T46" fmla="*/ 37 w 47"/>
                    <a:gd name="T47" fmla="*/ 3 h 95"/>
                    <a:gd name="T48" fmla="*/ 37 w 47"/>
                    <a:gd name="T49" fmla="*/ 4 h 95"/>
                    <a:gd name="T50" fmla="*/ 37 w 47"/>
                    <a:gd name="T51" fmla="*/ 4 h 95"/>
                    <a:gd name="T52" fmla="*/ 41 w 47"/>
                    <a:gd name="T53" fmla="*/ 7 h 95"/>
                    <a:gd name="T54" fmla="*/ 47 w 47"/>
                    <a:gd name="T55" fmla="*/ 8 h 95"/>
                    <a:gd name="T56" fmla="*/ 47 w 47"/>
                    <a:gd name="T57" fmla="*/ 16 h 95"/>
                    <a:gd name="T58" fmla="*/ 47 w 47"/>
                    <a:gd name="T59" fmla="*/ 16 h 95"/>
                    <a:gd name="T60" fmla="*/ 47 w 47"/>
                    <a:gd name="T61" fmla="*/ 16 h 95"/>
                    <a:gd name="T62" fmla="*/ 47 w 47"/>
                    <a:gd name="T63" fmla="*/ 18 h 95"/>
                    <a:gd name="T64" fmla="*/ 44 w 47"/>
                    <a:gd name="T65" fmla="*/ 27 h 95"/>
                    <a:gd name="T66" fmla="*/ 41 w 47"/>
                    <a:gd name="T67" fmla="*/ 36 h 95"/>
                    <a:gd name="T68" fmla="*/ 40 w 47"/>
                    <a:gd name="T69" fmla="*/ 43 h 95"/>
                    <a:gd name="T70" fmla="*/ 32 w 47"/>
                    <a:gd name="T71" fmla="*/ 59 h 95"/>
                    <a:gd name="T72" fmla="*/ 31 w 47"/>
                    <a:gd name="T73" fmla="*/ 68 h 95"/>
                    <a:gd name="T74" fmla="*/ 29 w 47"/>
                    <a:gd name="T75" fmla="*/ 92 h 95"/>
                    <a:gd name="T76" fmla="*/ 21 w 47"/>
                    <a:gd name="T77" fmla="*/ 92 h 95"/>
                    <a:gd name="T78" fmla="*/ 15 w 47"/>
                    <a:gd name="T79" fmla="*/ 94 h 95"/>
                    <a:gd name="T80" fmla="*/ 13 w 47"/>
                    <a:gd name="T81" fmla="*/ 94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47" h="95">
                      <a:moveTo>
                        <a:pt x="12" y="95"/>
                      </a:moveTo>
                      <a:lnTo>
                        <a:pt x="12" y="95"/>
                      </a:lnTo>
                      <a:lnTo>
                        <a:pt x="11" y="78"/>
                      </a:lnTo>
                      <a:lnTo>
                        <a:pt x="11" y="63"/>
                      </a:lnTo>
                      <a:lnTo>
                        <a:pt x="11" y="63"/>
                      </a:lnTo>
                      <a:lnTo>
                        <a:pt x="11" y="53"/>
                      </a:lnTo>
                      <a:lnTo>
                        <a:pt x="11" y="53"/>
                      </a:lnTo>
                      <a:lnTo>
                        <a:pt x="11" y="52"/>
                      </a:lnTo>
                      <a:lnTo>
                        <a:pt x="11" y="52"/>
                      </a:lnTo>
                      <a:lnTo>
                        <a:pt x="9" y="43"/>
                      </a:lnTo>
                      <a:lnTo>
                        <a:pt x="5" y="36"/>
                      </a:lnTo>
                      <a:lnTo>
                        <a:pt x="2" y="30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2" y="20"/>
                      </a:lnTo>
                      <a:lnTo>
                        <a:pt x="6" y="13"/>
                      </a:lnTo>
                      <a:lnTo>
                        <a:pt x="6" y="13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5" y="14"/>
                      </a:lnTo>
                      <a:lnTo>
                        <a:pt x="15" y="14"/>
                      </a:lnTo>
                      <a:lnTo>
                        <a:pt x="15" y="14"/>
                      </a:lnTo>
                      <a:lnTo>
                        <a:pt x="15" y="14"/>
                      </a:lnTo>
                      <a:lnTo>
                        <a:pt x="18" y="13"/>
                      </a:lnTo>
                      <a:lnTo>
                        <a:pt x="21" y="10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5" y="3"/>
                      </a:lnTo>
                      <a:lnTo>
                        <a:pt x="25" y="3"/>
                      </a:lnTo>
                      <a:lnTo>
                        <a:pt x="25" y="1"/>
                      </a:lnTo>
                      <a:lnTo>
                        <a:pt x="25" y="1"/>
                      </a:lnTo>
                      <a:lnTo>
                        <a:pt x="25" y="1"/>
                      </a:lnTo>
                      <a:lnTo>
                        <a:pt x="25" y="1"/>
                      </a:lnTo>
                      <a:lnTo>
                        <a:pt x="28" y="0"/>
                      </a:lnTo>
                      <a:lnTo>
                        <a:pt x="31" y="0"/>
                      </a:lnTo>
                      <a:lnTo>
                        <a:pt x="31" y="0"/>
                      </a:lnTo>
                      <a:lnTo>
                        <a:pt x="31" y="0"/>
                      </a:lnTo>
                      <a:lnTo>
                        <a:pt x="31" y="0"/>
                      </a:lnTo>
                      <a:lnTo>
                        <a:pt x="34" y="1"/>
                      </a:lnTo>
                      <a:lnTo>
                        <a:pt x="37" y="3"/>
                      </a:lnTo>
                      <a:lnTo>
                        <a:pt x="37" y="3"/>
                      </a:lnTo>
                      <a:lnTo>
                        <a:pt x="37" y="4"/>
                      </a:lnTo>
                      <a:lnTo>
                        <a:pt x="37" y="4"/>
                      </a:lnTo>
                      <a:lnTo>
                        <a:pt x="37" y="4"/>
                      </a:lnTo>
                      <a:lnTo>
                        <a:pt x="37" y="4"/>
                      </a:lnTo>
                      <a:lnTo>
                        <a:pt x="41" y="7"/>
                      </a:lnTo>
                      <a:lnTo>
                        <a:pt x="47" y="8"/>
                      </a:lnTo>
                      <a:lnTo>
                        <a:pt x="47" y="8"/>
                      </a:lnTo>
                      <a:lnTo>
                        <a:pt x="47" y="16"/>
                      </a:lnTo>
                      <a:lnTo>
                        <a:pt x="47" y="16"/>
                      </a:lnTo>
                      <a:lnTo>
                        <a:pt x="47" y="16"/>
                      </a:lnTo>
                      <a:lnTo>
                        <a:pt x="47" y="16"/>
                      </a:lnTo>
                      <a:lnTo>
                        <a:pt x="47" y="16"/>
                      </a:lnTo>
                      <a:lnTo>
                        <a:pt x="47" y="16"/>
                      </a:lnTo>
                      <a:lnTo>
                        <a:pt x="47" y="18"/>
                      </a:lnTo>
                      <a:lnTo>
                        <a:pt x="47" y="18"/>
                      </a:lnTo>
                      <a:lnTo>
                        <a:pt x="47" y="23"/>
                      </a:lnTo>
                      <a:lnTo>
                        <a:pt x="44" y="27"/>
                      </a:lnTo>
                      <a:lnTo>
                        <a:pt x="42" y="32"/>
                      </a:lnTo>
                      <a:lnTo>
                        <a:pt x="41" y="36"/>
                      </a:lnTo>
                      <a:lnTo>
                        <a:pt x="41" y="36"/>
                      </a:lnTo>
                      <a:lnTo>
                        <a:pt x="40" y="43"/>
                      </a:lnTo>
                      <a:lnTo>
                        <a:pt x="35" y="52"/>
                      </a:lnTo>
                      <a:lnTo>
                        <a:pt x="32" y="59"/>
                      </a:lnTo>
                      <a:lnTo>
                        <a:pt x="31" y="68"/>
                      </a:lnTo>
                      <a:lnTo>
                        <a:pt x="31" y="68"/>
                      </a:lnTo>
                      <a:lnTo>
                        <a:pt x="29" y="92"/>
                      </a:lnTo>
                      <a:lnTo>
                        <a:pt x="29" y="92"/>
                      </a:lnTo>
                      <a:lnTo>
                        <a:pt x="21" y="92"/>
                      </a:lnTo>
                      <a:lnTo>
                        <a:pt x="21" y="92"/>
                      </a:lnTo>
                      <a:lnTo>
                        <a:pt x="15" y="94"/>
                      </a:lnTo>
                      <a:lnTo>
                        <a:pt x="15" y="94"/>
                      </a:lnTo>
                      <a:lnTo>
                        <a:pt x="13" y="94"/>
                      </a:lnTo>
                      <a:lnTo>
                        <a:pt x="13" y="94"/>
                      </a:lnTo>
                      <a:lnTo>
                        <a:pt x="12" y="9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14" name="Freeform 466"/>
                <p:cNvSpPr>
                  <a:spLocks noEditPoints="1"/>
                </p:cNvSpPr>
                <p:nvPr/>
              </p:nvSpPr>
              <p:spPr bwMode="auto">
                <a:xfrm>
                  <a:off x="4456256" y="3144018"/>
                  <a:ext cx="17807" cy="83098"/>
                </a:xfrm>
                <a:custGeom>
                  <a:avLst/>
                  <a:gdLst>
                    <a:gd name="T0" fmla="*/ 18 w 18"/>
                    <a:gd name="T1" fmla="*/ 8 h 84"/>
                    <a:gd name="T2" fmla="*/ 18 w 18"/>
                    <a:gd name="T3" fmla="*/ 8 h 84"/>
                    <a:gd name="T4" fmla="*/ 18 w 18"/>
                    <a:gd name="T5" fmla="*/ 0 h 84"/>
                    <a:gd name="T6" fmla="*/ 18 w 18"/>
                    <a:gd name="T7" fmla="*/ 0 h 84"/>
                    <a:gd name="T8" fmla="*/ 18 w 18"/>
                    <a:gd name="T9" fmla="*/ 0 h 84"/>
                    <a:gd name="T10" fmla="*/ 18 w 18"/>
                    <a:gd name="T11" fmla="*/ 0 h 84"/>
                    <a:gd name="T12" fmla="*/ 18 w 18"/>
                    <a:gd name="T13" fmla="*/ 8 h 84"/>
                    <a:gd name="T14" fmla="*/ 18 w 18"/>
                    <a:gd name="T15" fmla="*/ 8 h 84"/>
                    <a:gd name="T16" fmla="*/ 18 w 18"/>
                    <a:gd name="T17" fmla="*/ 8 h 84"/>
                    <a:gd name="T18" fmla="*/ 18 w 18"/>
                    <a:gd name="T19" fmla="*/ 8 h 84"/>
                    <a:gd name="T20" fmla="*/ 18 w 18"/>
                    <a:gd name="T21" fmla="*/ 8 h 84"/>
                    <a:gd name="T22" fmla="*/ 18 w 18"/>
                    <a:gd name="T23" fmla="*/ 8 h 84"/>
                    <a:gd name="T24" fmla="*/ 0 w 18"/>
                    <a:gd name="T25" fmla="*/ 84 h 84"/>
                    <a:gd name="T26" fmla="*/ 0 w 18"/>
                    <a:gd name="T27" fmla="*/ 84 h 84"/>
                    <a:gd name="T28" fmla="*/ 2 w 18"/>
                    <a:gd name="T29" fmla="*/ 60 h 84"/>
                    <a:gd name="T30" fmla="*/ 2 w 18"/>
                    <a:gd name="T31" fmla="*/ 60 h 84"/>
                    <a:gd name="T32" fmla="*/ 3 w 18"/>
                    <a:gd name="T33" fmla="*/ 51 h 84"/>
                    <a:gd name="T34" fmla="*/ 6 w 18"/>
                    <a:gd name="T35" fmla="*/ 44 h 84"/>
                    <a:gd name="T36" fmla="*/ 11 w 18"/>
                    <a:gd name="T37" fmla="*/ 35 h 84"/>
                    <a:gd name="T38" fmla="*/ 12 w 18"/>
                    <a:gd name="T39" fmla="*/ 28 h 84"/>
                    <a:gd name="T40" fmla="*/ 12 w 18"/>
                    <a:gd name="T41" fmla="*/ 28 h 84"/>
                    <a:gd name="T42" fmla="*/ 13 w 18"/>
                    <a:gd name="T43" fmla="*/ 24 h 84"/>
                    <a:gd name="T44" fmla="*/ 15 w 18"/>
                    <a:gd name="T45" fmla="*/ 19 h 84"/>
                    <a:gd name="T46" fmla="*/ 18 w 18"/>
                    <a:gd name="T47" fmla="*/ 15 h 84"/>
                    <a:gd name="T48" fmla="*/ 18 w 18"/>
                    <a:gd name="T49" fmla="*/ 10 h 84"/>
                    <a:gd name="T50" fmla="*/ 18 w 18"/>
                    <a:gd name="T51" fmla="*/ 10 h 84"/>
                    <a:gd name="T52" fmla="*/ 18 w 18"/>
                    <a:gd name="T53" fmla="*/ 15 h 84"/>
                    <a:gd name="T54" fmla="*/ 15 w 18"/>
                    <a:gd name="T55" fmla="*/ 19 h 84"/>
                    <a:gd name="T56" fmla="*/ 13 w 18"/>
                    <a:gd name="T57" fmla="*/ 24 h 84"/>
                    <a:gd name="T58" fmla="*/ 12 w 18"/>
                    <a:gd name="T59" fmla="*/ 28 h 84"/>
                    <a:gd name="T60" fmla="*/ 12 w 18"/>
                    <a:gd name="T61" fmla="*/ 28 h 84"/>
                    <a:gd name="T62" fmla="*/ 11 w 18"/>
                    <a:gd name="T63" fmla="*/ 35 h 84"/>
                    <a:gd name="T64" fmla="*/ 6 w 18"/>
                    <a:gd name="T65" fmla="*/ 44 h 84"/>
                    <a:gd name="T66" fmla="*/ 3 w 18"/>
                    <a:gd name="T67" fmla="*/ 51 h 84"/>
                    <a:gd name="T68" fmla="*/ 2 w 18"/>
                    <a:gd name="T69" fmla="*/ 60 h 84"/>
                    <a:gd name="T70" fmla="*/ 2 w 18"/>
                    <a:gd name="T71" fmla="*/ 60 h 84"/>
                    <a:gd name="T72" fmla="*/ 0 w 18"/>
                    <a:gd name="T73" fmla="*/ 8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8" h="84">
                      <a:moveTo>
                        <a:pt x="18" y="8"/>
                      </a:moveTo>
                      <a:lnTo>
                        <a:pt x="18" y="8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8"/>
                      </a:lnTo>
                      <a:close/>
                      <a:moveTo>
                        <a:pt x="18" y="8"/>
                      </a:move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close/>
                      <a:moveTo>
                        <a:pt x="0" y="84"/>
                      </a:moveTo>
                      <a:lnTo>
                        <a:pt x="0" y="84"/>
                      </a:lnTo>
                      <a:lnTo>
                        <a:pt x="2" y="60"/>
                      </a:lnTo>
                      <a:lnTo>
                        <a:pt x="2" y="60"/>
                      </a:lnTo>
                      <a:lnTo>
                        <a:pt x="3" y="51"/>
                      </a:lnTo>
                      <a:lnTo>
                        <a:pt x="6" y="44"/>
                      </a:lnTo>
                      <a:lnTo>
                        <a:pt x="11" y="35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3" y="24"/>
                      </a:lnTo>
                      <a:lnTo>
                        <a:pt x="15" y="19"/>
                      </a:lnTo>
                      <a:lnTo>
                        <a:pt x="18" y="15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15"/>
                      </a:lnTo>
                      <a:lnTo>
                        <a:pt x="15" y="19"/>
                      </a:lnTo>
                      <a:lnTo>
                        <a:pt x="13" y="24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1" y="35"/>
                      </a:lnTo>
                      <a:lnTo>
                        <a:pt x="6" y="44"/>
                      </a:lnTo>
                      <a:lnTo>
                        <a:pt x="3" y="51"/>
                      </a:lnTo>
                      <a:lnTo>
                        <a:pt x="2" y="60"/>
                      </a:lnTo>
                      <a:lnTo>
                        <a:pt x="2" y="60"/>
                      </a:lnTo>
                      <a:lnTo>
                        <a:pt x="0" y="8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15" name="Freeform 467"/>
                <p:cNvSpPr>
                  <a:spLocks/>
                </p:cNvSpPr>
                <p:nvPr/>
              </p:nvSpPr>
              <p:spPr bwMode="auto">
                <a:xfrm>
                  <a:off x="4474063" y="3144018"/>
                  <a:ext cx="0" cy="7914"/>
                </a:xfrm>
                <a:custGeom>
                  <a:avLst/>
                  <a:gdLst>
                    <a:gd name="T0" fmla="*/ 8 h 8"/>
                    <a:gd name="T1" fmla="*/ 8 h 8"/>
                    <a:gd name="T2" fmla="*/ 0 h 8"/>
                    <a:gd name="T3" fmla="*/ 0 h 8"/>
                    <a:gd name="T4" fmla="*/ 0 h 8"/>
                    <a:gd name="T5" fmla="*/ 0 h 8"/>
                    <a:gd name="T6" fmla="*/ 8 h 8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</a:cxnLst>
                  <a:rect l="0" t="0" r="r" b="b"/>
                  <a:pathLst>
                    <a:path h="8">
                      <a:moveTo>
                        <a:pt x="0" y="8"/>
                      </a:move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16" name="Rectangle 468"/>
                <p:cNvSpPr>
                  <a:spLocks noChangeArrowheads="1"/>
                </p:cNvSpPr>
                <p:nvPr/>
              </p:nvSpPr>
              <p:spPr bwMode="auto">
                <a:xfrm>
                  <a:off x="4474063" y="3151932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17" name="Freeform 469"/>
                <p:cNvSpPr>
                  <a:spLocks/>
                </p:cNvSpPr>
                <p:nvPr/>
              </p:nvSpPr>
              <p:spPr bwMode="auto">
                <a:xfrm>
                  <a:off x="4456256" y="3153911"/>
                  <a:ext cx="17807" cy="73205"/>
                </a:xfrm>
                <a:custGeom>
                  <a:avLst/>
                  <a:gdLst>
                    <a:gd name="T0" fmla="*/ 0 w 18"/>
                    <a:gd name="T1" fmla="*/ 74 h 74"/>
                    <a:gd name="T2" fmla="*/ 0 w 18"/>
                    <a:gd name="T3" fmla="*/ 74 h 74"/>
                    <a:gd name="T4" fmla="*/ 2 w 18"/>
                    <a:gd name="T5" fmla="*/ 50 h 74"/>
                    <a:gd name="T6" fmla="*/ 2 w 18"/>
                    <a:gd name="T7" fmla="*/ 50 h 74"/>
                    <a:gd name="T8" fmla="*/ 3 w 18"/>
                    <a:gd name="T9" fmla="*/ 41 h 74"/>
                    <a:gd name="T10" fmla="*/ 6 w 18"/>
                    <a:gd name="T11" fmla="*/ 34 h 74"/>
                    <a:gd name="T12" fmla="*/ 11 w 18"/>
                    <a:gd name="T13" fmla="*/ 25 h 74"/>
                    <a:gd name="T14" fmla="*/ 12 w 18"/>
                    <a:gd name="T15" fmla="*/ 18 h 74"/>
                    <a:gd name="T16" fmla="*/ 12 w 18"/>
                    <a:gd name="T17" fmla="*/ 18 h 74"/>
                    <a:gd name="T18" fmla="*/ 13 w 18"/>
                    <a:gd name="T19" fmla="*/ 14 h 74"/>
                    <a:gd name="T20" fmla="*/ 15 w 18"/>
                    <a:gd name="T21" fmla="*/ 9 h 74"/>
                    <a:gd name="T22" fmla="*/ 18 w 18"/>
                    <a:gd name="T23" fmla="*/ 5 h 74"/>
                    <a:gd name="T24" fmla="*/ 18 w 18"/>
                    <a:gd name="T25" fmla="*/ 0 h 74"/>
                    <a:gd name="T26" fmla="*/ 18 w 18"/>
                    <a:gd name="T27" fmla="*/ 0 h 74"/>
                    <a:gd name="T28" fmla="*/ 18 w 18"/>
                    <a:gd name="T29" fmla="*/ 5 h 74"/>
                    <a:gd name="T30" fmla="*/ 15 w 18"/>
                    <a:gd name="T31" fmla="*/ 9 h 74"/>
                    <a:gd name="T32" fmla="*/ 13 w 18"/>
                    <a:gd name="T33" fmla="*/ 14 h 74"/>
                    <a:gd name="T34" fmla="*/ 12 w 18"/>
                    <a:gd name="T35" fmla="*/ 18 h 74"/>
                    <a:gd name="T36" fmla="*/ 12 w 18"/>
                    <a:gd name="T37" fmla="*/ 18 h 74"/>
                    <a:gd name="T38" fmla="*/ 11 w 18"/>
                    <a:gd name="T39" fmla="*/ 25 h 74"/>
                    <a:gd name="T40" fmla="*/ 6 w 18"/>
                    <a:gd name="T41" fmla="*/ 34 h 74"/>
                    <a:gd name="T42" fmla="*/ 3 w 18"/>
                    <a:gd name="T43" fmla="*/ 41 h 74"/>
                    <a:gd name="T44" fmla="*/ 2 w 18"/>
                    <a:gd name="T45" fmla="*/ 50 h 74"/>
                    <a:gd name="T46" fmla="*/ 2 w 18"/>
                    <a:gd name="T47" fmla="*/ 50 h 74"/>
                    <a:gd name="T48" fmla="*/ 0 w 18"/>
                    <a:gd name="T49" fmla="*/ 74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8" h="74">
                      <a:moveTo>
                        <a:pt x="0" y="74"/>
                      </a:moveTo>
                      <a:lnTo>
                        <a:pt x="0" y="74"/>
                      </a:lnTo>
                      <a:lnTo>
                        <a:pt x="2" y="50"/>
                      </a:lnTo>
                      <a:lnTo>
                        <a:pt x="2" y="50"/>
                      </a:lnTo>
                      <a:lnTo>
                        <a:pt x="3" y="41"/>
                      </a:lnTo>
                      <a:lnTo>
                        <a:pt x="6" y="34"/>
                      </a:lnTo>
                      <a:lnTo>
                        <a:pt x="11" y="25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3" y="14"/>
                      </a:lnTo>
                      <a:lnTo>
                        <a:pt x="15" y="9"/>
                      </a:lnTo>
                      <a:lnTo>
                        <a:pt x="18" y="5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5"/>
                      </a:lnTo>
                      <a:lnTo>
                        <a:pt x="15" y="9"/>
                      </a:lnTo>
                      <a:lnTo>
                        <a:pt x="13" y="14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1" y="25"/>
                      </a:lnTo>
                      <a:lnTo>
                        <a:pt x="6" y="34"/>
                      </a:lnTo>
                      <a:lnTo>
                        <a:pt x="3" y="41"/>
                      </a:lnTo>
                      <a:lnTo>
                        <a:pt x="2" y="50"/>
                      </a:lnTo>
                      <a:lnTo>
                        <a:pt x="2" y="50"/>
                      </a:lnTo>
                      <a:lnTo>
                        <a:pt x="0" y="7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18" name="Freeform 470"/>
                <p:cNvSpPr>
                  <a:spLocks/>
                </p:cNvSpPr>
                <p:nvPr/>
              </p:nvSpPr>
              <p:spPr bwMode="auto">
                <a:xfrm>
                  <a:off x="4413718" y="3148964"/>
                  <a:ext cx="25721" cy="87055"/>
                </a:xfrm>
                <a:custGeom>
                  <a:avLst/>
                  <a:gdLst>
                    <a:gd name="T0" fmla="*/ 13 w 26"/>
                    <a:gd name="T1" fmla="*/ 88 h 88"/>
                    <a:gd name="T2" fmla="*/ 13 w 26"/>
                    <a:gd name="T3" fmla="*/ 88 h 88"/>
                    <a:gd name="T4" fmla="*/ 9 w 26"/>
                    <a:gd name="T5" fmla="*/ 68 h 88"/>
                    <a:gd name="T6" fmla="*/ 9 w 26"/>
                    <a:gd name="T7" fmla="*/ 68 h 88"/>
                    <a:gd name="T8" fmla="*/ 9 w 26"/>
                    <a:gd name="T9" fmla="*/ 62 h 88"/>
                    <a:gd name="T10" fmla="*/ 10 w 26"/>
                    <a:gd name="T11" fmla="*/ 55 h 88"/>
                    <a:gd name="T12" fmla="*/ 12 w 26"/>
                    <a:gd name="T13" fmla="*/ 47 h 88"/>
                    <a:gd name="T14" fmla="*/ 10 w 26"/>
                    <a:gd name="T15" fmla="*/ 39 h 88"/>
                    <a:gd name="T16" fmla="*/ 10 w 26"/>
                    <a:gd name="T17" fmla="*/ 39 h 88"/>
                    <a:gd name="T18" fmla="*/ 6 w 26"/>
                    <a:gd name="T19" fmla="*/ 24 h 88"/>
                    <a:gd name="T20" fmla="*/ 0 w 26"/>
                    <a:gd name="T21" fmla="*/ 7 h 88"/>
                    <a:gd name="T22" fmla="*/ 0 w 26"/>
                    <a:gd name="T23" fmla="*/ 7 h 88"/>
                    <a:gd name="T24" fmla="*/ 12 w 26"/>
                    <a:gd name="T25" fmla="*/ 1 h 88"/>
                    <a:gd name="T26" fmla="*/ 12 w 26"/>
                    <a:gd name="T27" fmla="*/ 1 h 88"/>
                    <a:gd name="T28" fmla="*/ 17 w 26"/>
                    <a:gd name="T29" fmla="*/ 0 h 88"/>
                    <a:gd name="T30" fmla="*/ 17 w 26"/>
                    <a:gd name="T31" fmla="*/ 0 h 88"/>
                    <a:gd name="T32" fmla="*/ 20 w 26"/>
                    <a:gd name="T33" fmla="*/ 0 h 88"/>
                    <a:gd name="T34" fmla="*/ 20 w 26"/>
                    <a:gd name="T35" fmla="*/ 0 h 88"/>
                    <a:gd name="T36" fmla="*/ 16 w 26"/>
                    <a:gd name="T37" fmla="*/ 7 h 88"/>
                    <a:gd name="T38" fmla="*/ 14 w 26"/>
                    <a:gd name="T39" fmla="*/ 13 h 88"/>
                    <a:gd name="T40" fmla="*/ 14 w 26"/>
                    <a:gd name="T41" fmla="*/ 13 h 88"/>
                    <a:gd name="T42" fmla="*/ 16 w 26"/>
                    <a:gd name="T43" fmla="*/ 17 h 88"/>
                    <a:gd name="T44" fmla="*/ 19 w 26"/>
                    <a:gd name="T45" fmla="*/ 23 h 88"/>
                    <a:gd name="T46" fmla="*/ 23 w 26"/>
                    <a:gd name="T47" fmla="*/ 30 h 88"/>
                    <a:gd name="T48" fmla="*/ 25 w 26"/>
                    <a:gd name="T49" fmla="*/ 39 h 88"/>
                    <a:gd name="T50" fmla="*/ 25 w 26"/>
                    <a:gd name="T51" fmla="*/ 39 h 88"/>
                    <a:gd name="T52" fmla="*/ 25 w 26"/>
                    <a:gd name="T53" fmla="*/ 40 h 88"/>
                    <a:gd name="T54" fmla="*/ 25 w 26"/>
                    <a:gd name="T55" fmla="*/ 40 h 88"/>
                    <a:gd name="T56" fmla="*/ 25 w 26"/>
                    <a:gd name="T57" fmla="*/ 50 h 88"/>
                    <a:gd name="T58" fmla="*/ 25 w 26"/>
                    <a:gd name="T59" fmla="*/ 50 h 88"/>
                    <a:gd name="T60" fmla="*/ 26 w 26"/>
                    <a:gd name="T61" fmla="*/ 82 h 88"/>
                    <a:gd name="T62" fmla="*/ 26 w 26"/>
                    <a:gd name="T63" fmla="*/ 82 h 88"/>
                    <a:gd name="T64" fmla="*/ 26 w 26"/>
                    <a:gd name="T65" fmla="*/ 82 h 88"/>
                    <a:gd name="T66" fmla="*/ 26 w 26"/>
                    <a:gd name="T67" fmla="*/ 82 h 88"/>
                    <a:gd name="T68" fmla="*/ 23 w 26"/>
                    <a:gd name="T69" fmla="*/ 84 h 88"/>
                    <a:gd name="T70" fmla="*/ 23 w 26"/>
                    <a:gd name="T71" fmla="*/ 84 h 88"/>
                    <a:gd name="T72" fmla="*/ 13 w 26"/>
                    <a:gd name="T73" fmla="*/ 88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26" h="88">
                      <a:moveTo>
                        <a:pt x="13" y="88"/>
                      </a:moveTo>
                      <a:lnTo>
                        <a:pt x="13" y="88"/>
                      </a:lnTo>
                      <a:lnTo>
                        <a:pt x="9" y="68"/>
                      </a:lnTo>
                      <a:lnTo>
                        <a:pt x="9" y="68"/>
                      </a:lnTo>
                      <a:lnTo>
                        <a:pt x="9" y="62"/>
                      </a:lnTo>
                      <a:lnTo>
                        <a:pt x="10" y="55"/>
                      </a:lnTo>
                      <a:lnTo>
                        <a:pt x="12" y="47"/>
                      </a:lnTo>
                      <a:lnTo>
                        <a:pt x="10" y="39"/>
                      </a:lnTo>
                      <a:lnTo>
                        <a:pt x="10" y="39"/>
                      </a:lnTo>
                      <a:lnTo>
                        <a:pt x="6" y="24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12" y="1"/>
                      </a:lnTo>
                      <a:lnTo>
                        <a:pt x="12" y="1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16" y="7"/>
                      </a:lnTo>
                      <a:lnTo>
                        <a:pt x="14" y="13"/>
                      </a:lnTo>
                      <a:lnTo>
                        <a:pt x="14" y="13"/>
                      </a:lnTo>
                      <a:lnTo>
                        <a:pt x="16" y="17"/>
                      </a:lnTo>
                      <a:lnTo>
                        <a:pt x="19" y="23"/>
                      </a:lnTo>
                      <a:lnTo>
                        <a:pt x="23" y="30"/>
                      </a:lnTo>
                      <a:lnTo>
                        <a:pt x="25" y="39"/>
                      </a:lnTo>
                      <a:lnTo>
                        <a:pt x="25" y="39"/>
                      </a:lnTo>
                      <a:lnTo>
                        <a:pt x="25" y="40"/>
                      </a:lnTo>
                      <a:lnTo>
                        <a:pt x="25" y="4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23" y="84"/>
                      </a:lnTo>
                      <a:lnTo>
                        <a:pt x="23" y="84"/>
                      </a:lnTo>
                      <a:lnTo>
                        <a:pt x="13" y="8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19" name="Freeform 471"/>
                <p:cNvSpPr>
                  <a:spLocks/>
                </p:cNvSpPr>
                <p:nvPr/>
              </p:nvSpPr>
              <p:spPr bwMode="auto">
                <a:xfrm>
                  <a:off x="4413718" y="3148964"/>
                  <a:ext cx="25721" cy="87055"/>
                </a:xfrm>
                <a:custGeom>
                  <a:avLst/>
                  <a:gdLst>
                    <a:gd name="T0" fmla="*/ 13 w 26"/>
                    <a:gd name="T1" fmla="*/ 88 h 88"/>
                    <a:gd name="T2" fmla="*/ 13 w 26"/>
                    <a:gd name="T3" fmla="*/ 88 h 88"/>
                    <a:gd name="T4" fmla="*/ 9 w 26"/>
                    <a:gd name="T5" fmla="*/ 68 h 88"/>
                    <a:gd name="T6" fmla="*/ 9 w 26"/>
                    <a:gd name="T7" fmla="*/ 68 h 88"/>
                    <a:gd name="T8" fmla="*/ 9 w 26"/>
                    <a:gd name="T9" fmla="*/ 62 h 88"/>
                    <a:gd name="T10" fmla="*/ 10 w 26"/>
                    <a:gd name="T11" fmla="*/ 55 h 88"/>
                    <a:gd name="T12" fmla="*/ 12 w 26"/>
                    <a:gd name="T13" fmla="*/ 47 h 88"/>
                    <a:gd name="T14" fmla="*/ 10 w 26"/>
                    <a:gd name="T15" fmla="*/ 39 h 88"/>
                    <a:gd name="T16" fmla="*/ 10 w 26"/>
                    <a:gd name="T17" fmla="*/ 39 h 88"/>
                    <a:gd name="T18" fmla="*/ 6 w 26"/>
                    <a:gd name="T19" fmla="*/ 24 h 88"/>
                    <a:gd name="T20" fmla="*/ 0 w 26"/>
                    <a:gd name="T21" fmla="*/ 7 h 88"/>
                    <a:gd name="T22" fmla="*/ 0 w 26"/>
                    <a:gd name="T23" fmla="*/ 7 h 88"/>
                    <a:gd name="T24" fmla="*/ 12 w 26"/>
                    <a:gd name="T25" fmla="*/ 1 h 88"/>
                    <a:gd name="T26" fmla="*/ 12 w 26"/>
                    <a:gd name="T27" fmla="*/ 1 h 88"/>
                    <a:gd name="T28" fmla="*/ 17 w 26"/>
                    <a:gd name="T29" fmla="*/ 0 h 88"/>
                    <a:gd name="T30" fmla="*/ 17 w 26"/>
                    <a:gd name="T31" fmla="*/ 0 h 88"/>
                    <a:gd name="T32" fmla="*/ 20 w 26"/>
                    <a:gd name="T33" fmla="*/ 0 h 88"/>
                    <a:gd name="T34" fmla="*/ 20 w 26"/>
                    <a:gd name="T35" fmla="*/ 0 h 88"/>
                    <a:gd name="T36" fmla="*/ 16 w 26"/>
                    <a:gd name="T37" fmla="*/ 7 h 88"/>
                    <a:gd name="T38" fmla="*/ 14 w 26"/>
                    <a:gd name="T39" fmla="*/ 13 h 88"/>
                    <a:gd name="T40" fmla="*/ 14 w 26"/>
                    <a:gd name="T41" fmla="*/ 13 h 88"/>
                    <a:gd name="T42" fmla="*/ 16 w 26"/>
                    <a:gd name="T43" fmla="*/ 17 h 88"/>
                    <a:gd name="T44" fmla="*/ 19 w 26"/>
                    <a:gd name="T45" fmla="*/ 23 h 88"/>
                    <a:gd name="T46" fmla="*/ 23 w 26"/>
                    <a:gd name="T47" fmla="*/ 30 h 88"/>
                    <a:gd name="T48" fmla="*/ 25 w 26"/>
                    <a:gd name="T49" fmla="*/ 39 h 88"/>
                    <a:gd name="T50" fmla="*/ 25 w 26"/>
                    <a:gd name="T51" fmla="*/ 39 h 88"/>
                    <a:gd name="T52" fmla="*/ 25 w 26"/>
                    <a:gd name="T53" fmla="*/ 40 h 88"/>
                    <a:gd name="T54" fmla="*/ 25 w 26"/>
                    <a:gd name="T55" fmla="*/ 40 h 88"/>
                    <a:gd name="T56" fmla="*/ 25 w 26"/>
                    <a:gd name="T57" fmla="*/ 50 h 88"/>
                    <a:gd name="T58" fmla="*/ 25 w 26"/>
                    <a:gd name="T59" fmla="*/ 50 h 88"/>
                    <a:gd name="T60" fmla="*/ 26 w 26"/>
                    <a:gd name="T61" fmla="*/ 82 h 88"/>
                    <a:gd name="T62" fmla="*/ 26 w 26"/>
                    <a:gd name="T63" fmla="*/ 82 h 88"/>
                    <a:gd name="T64" fmla="*/ 26 w 26"/>
                    <a:gd name="T65" fmla="*/ 82 h 88"/>
                    <a:gd name="T66" fmla="*/ 26 w 26"/>
                    <a:gd name="T67" fmla="*/ 82 h 88"/>
                    <a:gd name="T68" fmla="*/ 23 w 26"/>
                    <a:gd name="T69" fmla="*/ 84 h 88"/>
                    <a:gd name="T70" fmla="*/ 23 w 26"/>
                    <a:gd name="T71" fmla="*/ 84 h 88"/>
                    <a:gd name="T72" fmla="*/ 13 w 26"/>
                    <a:gd name="T73" fmla="*/ 88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26" h="88">
                      <a:moveTo>
                        <a:pt x="13" y="88"/>
                      </a:moveTo>
                      <a:lnTo>
                        <a:pt x="13" y="88"/>
                      </a:lnTo>
                      <a:lnTo>
                        <a:pt x="9" y="68"/>
                      </a:lnTo>
                      <a:lnTo>
                        <a:pt x="9" y="68"/>
                      </a:lnTo>
                      <a:lnTo>
                        <a:pt x="9" y="62"/>
                      </a:lnTo>
                      <a:lnTo>
                        <a:pt x="10" y="55"/>
                      </a:lnTo>
                      <a:lnTo>
                        <a:pt x="12" y="47"/>
                      </a:lnTo>
                      <a:lnTo>
                        <a:pt x="10" y="39"/>
                      </a:lnTo>
                      <a:lnTo>
                        <a:pt x="10" y="39"/>
                      </a:lnTo>
                      <a:lnTo>
                        <a:pt x="6" y="24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12" y="1"/>
                      </a:lnTo>
                      <a:lnTo>
                        <a:pt x="12" y="1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16" y="7"/>
                      </a:lnTo>
                      <a:lnTo>
                        <a:pt x="14" y="13"/>
                      </a:lnTo>
                      <a:lnTo>
                        <a:pt x="14" y="13"/>
                      </a:lnTo>
                      <a:lnTo>
                        <a:pt x="16" y="17"/>
                      </a:lnTo>
                      <a:lnTo>
                        <a:pt x="19" y="23"/>
                      </a:lnTo>
                      <a:lnTo>
                        <a:pt x="23" y="30"/>
                      </a:lnTo>
                      <a:lnTo>
                        <a:pt x="25" y="39"/>
                      </a:lnTo>
                      <a:lnTo>
                        <a:pt x="25" y="39"/>
                      </a:lnTo>
                      <a:lnTo>
                        <a:pt x="25" y="40"/>
                      </a:lnTo>
                      <a:lnTo>
                        <a:pt x="25" y="4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23" y="84"/>
                      </a:lnTo>
                      <a:lnTo>
                        <a:pt x="23" y="84"/>
                      </a:lnTo>
                      <a:lnTo>
                        <a:pt x="13" y="8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20" name="Freeform 472"/>
                <p:cNvSpPr>
                  <a:spLocks/>
                </p:cNvSpPr>
                <p:nvPr/>
              </p:nvSpPr>
              <p:spPr bwMode="auto">
                <a:xfrm>
                  <a:off x="4409761" y="2942209"/>
                  <a:ext cx="238412" cy="201809"/>
                </a:xfrm>
                <a:custGeom>
                  <a:avLst/>
                  <a:gdLst>
                    <a:gd name="T0" fmla="*/ 55 w 241"/>
                    <a:gd name="T1" fmla="*/ 200 h 204"/>
                    <a:gd name="T2" fmla="*/ 55 w 241"/>
                    <a:gd name="T3" fmla="*/ 199 h 204"/>
                    <a:gd name="T4" fmla="*/ 49 w 241"/>
                    <a:gd name="T5" fmla="*/ 196 h 204"/>
                    <a:gd name="T6" fmla="*/ 43 w 241"/>
                    <a:gd name="T7" fmla="*/ 197 h 204"/>
                    <a:gd name="T8" fmla="*/ 43 w 241"/>
                    <a:gd name="T9" fmla="*/ 199 h 204"/>
                    <a:gd name="T10" fmla="*/ 37 w 241"/>
                    <a:gd name="T11" fmla="*/ 194 h 204"/>
                    <a:gd name="T12" fmla="*/ 30 w 241"/>
                    <a:gd name="T13" fmla="*/ 180 h 204"/>
                    <a:gd name="T14" fmla="*/ 13 w 241"/>
                    <a:gd name="T15" fmla="*/ 168 h 204"/>
                    <a:gd name="T16" fmla="*/ 0 w 241"/>
                    <a:gd name="T17" fmla="*/ 143 h 204"/>
                    <a:gd name="T18" fmla="*/ 21 w 241"/>
                    <a:gd name="T19" fmla="*/ 141 h 204"/>
                    <a:gd name="T20" fmla="*/ 71 w 241"/>
                    <a:gd name="T21" fmla="*/ 116 h 204"/>
                    <a:gd name="T22" fmla="*/ 72 w 241"/>
                    <a:gd name="T23" fmla="*/ 81 h 204"/>
                    <a:gd name="T24" fmla="*/ 105 w 241"/>
                    <a:gd name="T25" fmla="*/ 75 h 204"/>
                    <a:gd name="T26" fmla="*/ 105 w 241"/>
                    <a:gd name="T27" fmla="*/ 75 h 204"/>
                    <a:gd name="T28" fmla="*/ 105 w 241"/>
                    <a:gd name="T29" fmla="*/ 75 h 204"/>
                    <a:gd name="T30" fmla="*/ 105 w 241"/>
                    <a:gd name="T31" fmla="*/ 75 h 204"/>
                    <a:gd name="T32" fmla="*/ 181 w 241"/>
                    <a:gd name="T33" fmla="*/ 0 h 204"/>
                    <a:gd name="T34" fmla="*/ 231 w 241"/>
                    <a:gd name="T35" fmla="*/ 28 h 204"/>
                    <a:gd name="T36" fmla="*/ 241 w 241"/>
                    <a:gd name="T37" fmla="*/ 57 h 204"/>
                    <a:gd name="T38" fmla="*/ 231 w 241"/>
                    <a:gd name="T39" fmla="*/ 75 h 204"/>
                    <a:gd name="T40" fmla="*/ 230 w 241"/>
                    <a:gd name="T41" fmla="*/ 84 h 204"/>
                    <a:gd name="T42" fmla="*/ 231 w 241"/>
                    <a:gd name="T43" fmla="*/ 133 h 204"/>
                    <a:gd name="T44" fmla="*/ 218 w 241"/>
                    <a:gd name="T45" fmla="*/ 161 h 204"/>
                    <a:gd name="T46" fmla="*/ 221 w 241"/>
                    <a:gd name="T47" fmla="*/ 168 h 204"/>
                    <a:gd name="T48" fmla="*/ 204 w 241"/>
                    <a:gd name="T49" fmla="*/ 177 h 204"/>
                    <a:gd name="T50" fmla="*/ 204 w 241"/>
                    <a:gd name="T51" fmla="*/ 177 h 204"/>
                    <a:gd name="T52" fmla="*/ 188 w 241"/>
                    <a:gd name="T53" fmla="*/ 180 h 204"/>
                    <a:gd name="T54" fmla="*/ 184 w 241"/>
                    <a:gd name="T55" fmla="*/ 180 h 204"/>
                    <a:gd name="T56" fmla="*/ 184 w 241"/>
                    <a:gd name="T57" fmla="*/ 178 h 204"/>
                    <a:gd name="T58" fmla="*/ 182 w 241"/>
                    <a:gd name="T59" fmla="*/ 178 h 204"/>
                    <a:gd name="T60" fmla="*/ 171 w 241"/>
                    <a:gd name="T61" fmla="*/ 177 h 204"/>
                    <a:gd name="T62" fmla="*/ 165 w 241"/>
                    <a:gd name="T63" fmla="*/ 178 h 204"/>
                    <a:gd name="T64" fmla="*/ 165 w 241"/>
                    <a:gd name="T65" fmla="*/ 178 h 204"/>
                    <a:gd name="T66" fmla="*/ 165 w 241"/>
                    <a:gd name="T67" fmla="*/ 178 h 204"/>
                    <a:gd name="T68" fmla="*/ 146 w 241"/>
                    <a:gd name="T69" fmla="*/ 183 h 204"/>
                    <a:gd name="T70" fmla="*/ 136 w 241"/>
                    <a:gd name="T71" fmla="*/ 180 h 204"/>
                    <a:gd name="T72" fmla="*/ 134 w 241"/>
                    <a:gd name="T73" fmla="*/ 180 h 204"/>
                    <a:gd name="T74" fmla="*/ 123 w 241"/>
                    <a:gd name="T75" fmla="*/ 175 h 204"/>
                    <a:gd name="T76" fmla="*/ 118 w 241"/>
                    <a:gd name="T77" fmla="*/ 175 h 204"/>
                    <a:gd name="T78" fmla="*/ 118 w 241"/>
                    <a:gd name="T79" fmla="*/ 175 h 204"/>
                    <a:gd name="T80" fmla="*/ 118 w 241"/>
                    <a:gd name="T81" fmla="*/ 175 h 204"/>
                    <a:gd name="T82" fmla="*/ 118 w 241"/>
                    <a:gd name="T83" fmla="*/ 177 h 204"/>
                    <a:gd name="T84" fmla="*/ 117 w 241"/>
                    <a:gd name="T85" fmla="*/ 177 h 204"/>
                    <a:gd name="T86" fmla="*/ 115 w 241"/>
                    <a:gd name="T87" fmla="*/ 177 h 204"/>
                    <a:gd name="T88" fmla="*/ 115 w 241"/>
                    <a:gd name="T89" fmla="*/ 178 h 204"/>
                    <a:gd name="T90" fmla="*/ 114 w 241"/>
                    <a:gd name="T91" fmla="*/ 178 h 204"/>
                    <a:gd name="T92" fmla="*/ 113 w 241"/>
                    <a:gd name="T93" fmla="*/ 178 h 204"/>
                    <a:gd name="T94" fmla="*/ 110 w 241"/>
                    <a:gd name="T95" fmla="*/ 180 h 204"/>
                    <a:gd name="T96" fmla="*/ 108 w 241"/>
                    <a:gd name="T97" fmla="*/ 180 h 204"/>
                    <a:gd name="T98" fmla="*/ 107 w 241"/>
                    <a:gd name="T99" fmla="*/ 180 h 204"/>
                    <a:gd name="T100" fmla="*/ 104 w 241"/>
                    <a:gd name="T101" fmla="*/ 180 h 204"/>
                    <a:gd name="T102" fmla="*/ 104 w 241"/>
                    <a:gd name="T103" fmla="*/ 178 h 204"/>
                    <a:gd name="T104" fmla="*/ 89 w 241"/>
                    <a:gd name="T105" fmla="*/ 171 h 204"/>
                    <a:gd name="T106" fmla="*/ 88 w 241"/>
                    <a:gd name="T107" fmla="*/ 171 h 204"/>
                    <a:gd name="T108" fmla="*/ 75 w 241"/>
                    <a:gd name="T109" fmla="*/ 174 h 204"/>
                    <a:gd name="T110" fmla="*/ 65 w 241"/>
                    <a:gd name="T111" fmla="*/ 181 h 204"/>
                    <a:gd name="T112" fmla="*/ 65 w 241"/>
                    <a:gd name="T113" fmla="*/ 204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41" h="204">
                      <a:moveTo>
                        <a:pt x="65" y="204"/>
                      </a:moveTo>
                      <a:lnTo>
                        <a:pt x="65" y="204"/>
                      </a:lnTo>
                      <a:lnTo>
                        <a:pt x="59" y="203"/>
                      </a:lnTo>
                      <a:lnTo>
                        <a:pt x="55" y="200"/>
                      </a:lnTo>
                      <a:lnTo>
                        <a:pt x="55" y="200"/>
                      </a:lnTo>
                      <a:lnTo>
                        <a:pt x="55" y="200"/>
                      </a:lnTo>
                      <a:lnTo>
                        <a:pt x="55" y="200"/>
                      </a:lnTo>
                      <a:lnTo>
                        <a:pt x="55" y="199"/>
                      </a:lnTo>
                      <a:lnTo>
                        <a:pt x="55" y="199"/>
                      </a:lnTo>
                      <a:lnTo>
                        <a:pt x="52" y="197"/>
                      </a:lnTo>
                      <a:lnTo>
                        <a:pt x="49" y="196"/>
                      </a:lnTo>
                      <a:lnTo>
                        <a:pt x="49" y="196"/>
                      </a:lnTo>
                      <a:lnTo>
                        <a:pt x="49" y="196"/>
                      </a:lnTo>
                      <a:lnTo>
                        <a:pt x="49" y="196"/>
                      </a:lnTo>
                      <a:lnTo>
                        <a:pt x="46" y="196"/>
                      </a:lnTo>
                      <a:lnTo>
                        <a:pt x="43" y="197"/>
                      </a:lnTo>
                      <a:lnTo>
                        <a:pt x="43" y="197"/>
                      </a:lnTo>
                      <a:lnTo>
                        <a:pt x="43" y="197"/>
                      </a:lnTo>
                      <a:lnTo>
                        <a:pt x="43" y="197"/>
                      </a:lnTo>
                      <a:lnTo>
                        <a:pt x="43" y="199"/>
                      </a:lnTo>
                      <a:lnTo>
                        <a:pt x="43" y="199"/>
                      </a:lnTo>
                      <a:lnTo>
                        <a:pt x="42" y="200"/>
                      </a:lnTo>
                      <a:lnTo>
                        <a:pt x="42" y="200"/>
                      </a:lnTo>
                      <a:lnTo>
                        <a:pt x="37" y="194"/>
                      </a:lnTo>
                      <a:lnTo>
                        <a:pt x="36" y="187"/>
                      </a:lnTo>
                      <a:lnTo>
                        <a:pt x="36" y="187"/>
                      </a:lnTo>
                      <a:lnTo>
                        <a:pt x="33" y="183"/>
                      </a:lnTo>
                      <a:lnTo>
                        <a:pt x="30" y="180"/>
                      </a:lnTo>
                      <a:lnTo>
                        <a:pt x="26" y="178"/>
                      </a:lnTo>
                      <a:lnTo>
                        <a:pt x="18" y="172"/>
                      </a:lnTo>
                      <a:lnTo>
                        <a:pt x="18" y="172"/>
                      </a:lnTo>
                      <a:lnTo>
                        <a:pt x="13" y="168"/>
                      </a:lnTo>
                      <a:lnTo>
                        <a:pt x="7" y="161"/>
                      </a:lnTo>
                      <a:lnTo>
                        <a:pt x="3" y="152"/>
                      </a:lnTo>
                      <a:lnTo>
                        <a:pt x="0" y="143"/>
                      </a:lnTo>
                      <a:lnTo>
                        <a:pt x="0" y="143"/>
                      </a:lnTo>
                      <a:lnTo>
                        <a:pt x="8" y="146"/>
                      </a:lnTo>
                      <a:lnTo>
                        <a:pt x="16" y="148"/>
                      </a:lnTo>
                      <a:lnTo>
                        <a:pt x="21" y="148"/>
                      </a:lnTo>
                      <a:lnTo>
                        <a:pt x="21" y="141"/>
                      </a:lnTo>
                      <a:lnTo>
                        <a:pt x="60" y="141"/>
                      </a:lnTo>
                      <a:lnTo>
                        <a:pt x="60" y="141"/>
                      </a:lnTo>
                      <a:lnTo>
                        <a:pt x="66" y="129"/>
                      </a:lnTo>
                      <a:lnTo>
                        <a:pt x="71" y="116"/>
                      </a:lnTo>
                      <a:lnTo>
                        <a:pt x="72" y="110"/>
                      </a:lnTo>
                      <a:lnTo>
                        <a:pt x="72" y="104"/>
                      </a:lnTo>
                      <a:lnTo>
                        <a:pt x="72" y="81"/>
                      </a:lnTo>
                      <a:lnTo>
                        <a:pt x="72" y="81"/>
                      </a:lnTo>
                      <a:lnTo>
                        <a:pt x="91" y="78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11" y="73"/>
                      </a:lnTo>
                      <a:lnTo>
                        <a:pt x="121" y="64"/>
                      </a:lnTo>
                      <a:lnTo>
                        <a:pt x="146" y="38"/>
                      </a:lnTo>
                      <a:lnTo>
                        <a:pt x="181" y="0"/>
                      </a:lnTo>
                      <a:lnTo>
                        <a:pt x="218" y="19"/>
                      </a:lnTo>
                      <a:lnTo>
                        <a:pt x="228" y="15"/>
                      </a:lnTo>
                      <a:lnTo>
                        <a:pt x="228" y="15"/>
                      </a:lnTo>
                      <a:lnTo>
                        <a:pt x="231" y="28"/>
                      </a:lnTo>
                      <a:lnTo>
                        <a:pt x="236" y="38"/>
                      </a:lnTo>
                      <a:lnTo>
                        <a:pt x="240" y="54"/>
                      </a:lnTo>
                      <a:lnTo>
                        <a:pt x="240" y="54"/>
                      </a:lnTo>
                      <a:lnTo>
                        <a:pt x="241" y="57"/>
                      </a:lnTo>
                      <a:lnTo>
                        <a:pt x="241" y="57"/>
                      </a:lnTo>
                      <a:lnTo>
                        <a:pt x="240" y="61"/>
                      </a:lnTo>
                      <a:lnTo>
                        <a:pt x="237" y="67"/>
                      </a:lnTo>
                      <a:lnTo>
                        <a:pt x="231" y="75"/>
                      </a:lnTo>
                      <a:lnTo>
                        <a:pt x="231" y="75"/>
                      </a:lnTo>
                      <a:lnTo>
                        <a:pt x="230" y="80"/>
                      </a:lnTo>
                      <a:lnTo>
                        <a:pt x="230" y="84"/>
                      </a:lnTo>
                      <a:lnTo>
                        <a:pt x="230" y="84"/>
                      </a:lnTo>
                      <a:lnTo>
                        <a:pt x="231" y="107"/>
                      </a:lnTo>
                      <a:lnTo>
                        <a:pt x="234" y="125"/>
                      </a:lnTo>
                      <a:lnTo>
                        <a:pt x="234" y="125"/>
                      </a:lnTo>
                      <a:lnTo>
                        <a:pt x="231" y="133"/>
                      </a:lnTo>
                      <a:lnTo>
                        <a:pt x="227" y="143"/>
                      </a:lnTo>
                      <a:lnTo>
                        <a:pt x="221" y="154"/>
                      </a:lnTo>
                      <a:lnTo>
                        <a:pt x="218" y="161"/>
                      </a:lnTo>
                      <a:lnTo>
                        <a:pt x="218" y="161"/>
                      </a:lnTo>
                      <a:lnTo>
                        <a:pt x="218" y="161"/>
                      </a:lnTo>
                      <a:lnTo>
                        <a:pt x="218" y="161"/>
                      </a:lnTo>
                      <a:lnTo>
                        <a:pt x="220" y="165"/>
                      </a:lnTo>
                      <a:lnTo>
                        <a:pt x="221" y="168"/>
                      </a:lnTo>
                      <a:lnTo>
                        <a:pt x="221" y="168"/>
                      </a:lnTo>
                      <a:lnTo>
                        <a:pt x="213" y="174"/>
                      </a:lnTo>
                      <a:lnTo>
                        <a:pt x="204" y="177"/>
                      </a:lnTo>
                      <a:lnTo>
                        <a:pt x="204" y="177"/>
                      </a:lnTo>
                      <a:lnTo>
                        <a:pt x="204" y="177"/>
                      </a:lnTo>
                      <a:lnTo>
                        <a:pt x="204" y="177"/>
                      </a:lnTo>
                      <a:lnTo>
                        <a:pt x="204" y="177"/>
                      </a:lnTo>
                      <a:lnTo>
                        <a:pt x="204" y="177"/>
                      </a:lnTo>
                      <a:lnTo>
                        <a:pt x="202" y="177"/>
                      </a:lnTo>
                      <a:lnTo>
                        <a:pt x="202" y="177"/>
                      </a:lnTo>
                      <a:lnTo>
                        <a:pt x="197" y="178"/>
                      </a:lnTo>
                      <a:lnTo>
                        <a:pt x="188" y="180"/>
                      </a:lnTo>
                      <a:lnTo>
                        <a:pt x="188" y="180"/>
                      </a:lnTo>
                      <a:lnTo>
                        <a:pt x="188" y="180"/>
                      </a:lnTo>
                      <a:lnTo>
                        <a:pt x="188" y="180"/>
                      </a:lnTo>
                      <a:lnTo>
                        <a:pt x="184" y="180"/>
                      </a:lnTo>
                      <a:lnTo>
                        <a:pt x="184" y="180"/>
                      </a:lnTo>
                      <a:lnTo>
                        <a:pt x="184" y="178"/>
                      </a:lnTo>
                      <a:lnTo>
                        <a:pt x="184" y="178"/>
                      </a:lnTo>
                      <a:lnTo>
                        <a:pt x="184" y="178"/>
                      </a:lnTo>
                      <a:lnTo>
                        <a:pt x="184" y="178"/>
                      </a:lnTo>
                      <a:lnTo>
                        <a:pt x="184" y="178"/>
                      </a:lnTo>
                      <a:lnTo>
                        <a:pt x="184" y="178"/>
                      </a:lnTo>
                      <a:lnTo>
                        <a:pt x="182" y="178"/>
                      </a:lnTo>
                      <a:lnTo>
                        <a:pt x="182" y="178"/>
                      </a:lnTo>
                      <a:lnTo>
                        <a:pt x="171" y="177"/>
                      </a:lnTo>
                      <a:lnTo>
                        <a:pt x="171" y="177"/>
                      </a:lnTo>
                      <a:lnTo>
                        <a:pt x="171" y="177"/>
                      </a:lnTo>
                      <a:lnTo>
                        <a:pt x="171" y="177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57" y="181"/>
                      </a:lnTo>
                      <a:lnTo>
                        <a:pt x="146" y="183"/>
                      </a:lnTo>
                      <a:lnTo>
                        <a:pt x="146" y="183"/>
                      </a:lnTo>
                      <a:lnTo>
                        <a:pt x="146" y="183"/>
                      </a:lnTo>
                      <a:lnTo>
                        <a:pt x="146" y="183"/>
                      </a:lnTo>
                      <a:lnTo>
                        <a:pt x="140" y="181"/>
                      </a:lnTo>
                      <a:lnTo>
                        <a:pt x="136" y="180"/>
                      </a:lnTo>
                      <a:lnTo>
                        <a:pt x="136" y="180"/>
                      </a:lnTo>
                      <a:lnTo>
                        <a:pt x="136" y="180"/>
                      </a:lnTo>
                      <a:lnTo>
                        <a:pt x="136" y="180"/>
                      </a:lnTo>
                      <a:lnTo>
                        <a:pt x="134" y="180"/>
                      </a:lnTo>
                      <a:lnTo>
                        <a:pt x="134" y="180"/>
                      </a:lnTo>
                      <a:lnTo>
                        <a:pt x="129" y="175"/>
                      </a:lnTo>
                      <a:lnTo>
                        <a:pt x="123" y="175"/>
                      </a:lnTo>
                      <a:lnTo>
                        <a:pt x="123" y="175"/>
                      </a:lnTo>
                      <a:lnTo>
                        <a:pt x="123" y="175"/>
                      </a:lnTo>
                      <a:lnTo>
                        <a:pt x="123" y="175"/>
                      </a:lnTo>
                      <a:lnTo>
                        <a:pt x="120" y="175"/>
                      </a:lnTo>
                      <a:lnTo>
                        <a:pt x="120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7"/>
                      </a:lnTo>
                      <a:lnTo>
                        <a:pt x="118" y="177"/>
                      </a:lnTo>
                      <a:lnTo>
                        <a:pt x="118" y="177"/>
                      </a:lnTo>
                      <a:lnTo>
                        <a:pt x="118" y="177"/>
                      </a:lnTo>
                      <a:lnTo>
                        <a:pt x="118" y="177"/>
                      </a:lnTo>
                      <a:lnTo>
                        <a:pt x="118" y="177"/>
                      </a:lnTo>
                      <a:lnTo>
                        <a:pt x="117" y="177"/>
                      </a:lnTo>
                      <a:lnTo>
                        <a:pt x="117" y="177"/>
                      </a:lnTo>
                      <a:lnTo>
                        <a:pt x="117" y="177"/>
                      </a:lnTo>
                      <a:lnTo>
                        <a:pt x="117" y="177"/>
                      </a:lnTo>
                      <a:lnTo>
                        <a:pt x="115" y="177"/>
                      </a:lnTo>
                      <a:lnTo>
                        <a:pt x="115" y="177"/>
                      </a:lnTo>
                      <a:lnTo>
                        <a:pt x="115" y="177"/>
                      </a:lnTo>
                      <a:lnTo>
                        <a:pt x="115" y="177"/>
                      </a:lnTo>
                      <a:lnTo>
                        <a:pt x="115" y="178"/>
                      </a:lnTo>
                      <a:lnTo>
                        <a:pt x="115" y="178"/>
                      </a:lnTo>
                      <a:lnTo>
                        <a:pt x="115" y="178"/>
                      </a:lnTo>
                      <a:lnTo>
                        <a:pt x="115" y="178"/>
                      </a:lnTo>
                      <a:lnTo>
                        <a:pt x="114" y="178"/>
                      </a:lnTo>
                      <a:lnTo>
                        <a:pt x="114" y="178"/>
                      </a:lnTo>
                      <a:lnTo>
                        <a:pt x="114" y="178"/>
                      </a:lnTo>
                      <a:lnTo>
                        <a:pt x="114" y="178"/>
                      </a:lnTo>
                      <a:lnTo>
                        <a:pt x="113" y="178"/>
                      </a:lnTo>
                      <a:lnTo>
                        <a:pt x="113" y="178"/>
                      </a:lnTo>
                      <a:lnTo>
                        <a:pt x="110" y="180"/>
                      </a:lnTo>
                      <a:lnTo>
                        <a:pt x="110" y="180"/>
                      </a:lnTo>
                      <a:lnTo>
                        <a:pt x="110" y="180"/>
                      </a:lnTo>
                      <a:lnTo>
                        <a:pt x="110" y="180"/>
                      </a:lnTo>
                      <a:lnTo>
                        <a:pt x="108" y="180"/>
                      </a:lnTo>
                      <a:lnTo>
                        <a:pt x="108" y="180"/>
                      </a:lnTo>
                      <a:lnTo>
                        <a:pt x="108" y="180"/>
                      </a:lnTo>
                      <a:lnTo>
                        <a:pt x="108" y="180"/>
                      </a:lnTo>
                      <a:lnTo>
                        <a:pt x="108" y="180"/>
                      </a:lnTo>
                      <a:lnTo>
                        <a:pt x="108" y="180"/>
                      </a:lnTo>
                      <a:lnTo>
                        <a:pt x="107" y="180"/>
                      </a:lnTo>
                      <a:lnTo>
                        <a:pt x="107" y="180"/>
                      </a:lnTo>
                      <a:lnTo>
                        <a:pt x="107" y="180"/>
                      </a:lnTo>
                      <a:lnTo>
                        <a:pt x="104" y="180"/>
                      </a:lnTo>
                      <a:lnTo>
                        <a:pt x="104" y="180"/>
                      </a:lnTo>
                      <a:lnTo>
                        <a:pt x="104" y="180"/>
                      </a:lnTo>
                      <a:lnTo>
                        <a:pt x="104" y="180"/>
                      </a:lnTo>
                      <a:lnTo>
                        <a:pt x="104" y="178"/>
                      </a:lnTo>
                      <a:lnTo>
                        <a:pt x="104" y="178"/>
                      </a:lnTo>
                      <a:lnTo>
                        <a:pt x="98" y="174"/>
                      </a:lnTo>
                      <a:lnTo>
                        <a:pt x="94" y="171"/>
                      </a:lnTo>
                      <a:lnTo>
                        <a:pt x="89" y="171"/>
                      </a:lnTo>
                      <a:lnTo>
                        <a:pt x="89" y="171"/>
                      </a:lnTo>
                      <a:lnTo>
                        <a:pt x="89" y="171"/>
                      </a:lnTo>
                      <a:lnTo>
                        <a:pt x="89" y="171"/>
                      </a:lnTo>
                      <a:lnTo>
                        <a:pt x="89" y="171"/>
                      </a:lnTo>
                      <a:lnTo>
                        <a:pt x="88" y="171"/>
                      </a:lnTo>
                      <a:lnTo>
                        <a:pt x="88" y="171"/>
                      </a:lnTo>
                      <a:lnTo>
                        <a:pt x="88" y="171"/>
                      </a:lnTo>
                      <a:lnTo>
                        <a:pt x="88" y="171"/>
                      </a:lnTo>
                      <a:lnTo>
                        <a:pt x="75" y="174"/>
                      </a:lnTo>
                      <a:lnTo>
                        <a:pt x="68" y="177"/>
                      </a:lnTo>
                      <a:lnTo>
                        <a:pt x="66" y="178"/>
                      </a:lnTo>
                      <a:lnTo>
                        <a:pt x="65" y="181"/>
                      </a:lnTo>
                      <a:lnTo>
                        <a:pt x="65" y="181"/>
                      </a:lnTo>
                      <a:lnTo>
                        <a:pt x="65" y="184"/>
                      </a:lnTo>
                      <a:lnTo>
                        <a:pt x="65" y="184"/>
                      </a:lnTo>
                      <a:lnTo>
                        <a:pt x="63" y="193"/>
                      </a:lnTo>
                      <a:lnTo>
                        <a:pt x="65" y="20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21" name="Freeform 473"/>
                <p:cNvSpPr>
                  <a:spLocks/>
                </p:cNvSpPr>
                <p:nvPr/>
              </p:nvSpPr>
              <p:spPr bwMode="auto">
                <a:xfrm>
                  <a:off x="4409761" y="2942209"/>
                  <a:ext cx="238412" cy="201809"/>
                </a:xfrm>
                <a:custGeom>
                  <a:avLst/>
                  <a:gdLst>
                    <a:gd name="T0" fmla="*/ 55 w 241"/>
                    <a:gd name="T1" fmla="*/ 200 h 204"/>
                    <a:gd name="T2" fmla="*/ 55 w 241"/>
                    <a:gd name="T3" fmla="*/ 199 h 204"/>
                    <a:gd name="T4" fmla="*/ 49 w 241"/>
                    <a:gd name="T5" fmla="*/ 196 h 204"/>
                    <a:gd name="T6" fmla="*/ 43 w 241"/>
                    <a:gd name="T7" fmla="*/ 197 h 204"/>
                    <a:gd name="T8" fmla="*/ 43 w 241"/>
                    <a:gd name="T9" fmla="*/ 199 h 204"/>
                    <a:gd name="T10" fmla="*/ 37 w 241"/>
                    <a:gd name="T11" fmla="*/ 194 h 204"/>
                    <a:gd name="T12" fmla="*/ 30 w 241"/>
                    <a:gd name="T13" fmla="*/ 180 h 204"/>
                    <a:gd name="T14" fmla="*/ 13 w 241"/>
                    <a:gd name="T15" fmla="*/ 168 h 204"/>
                    <a:gd name="T16" fmla="*/ 0 w 241"/>
                    <a:gd name="T17" fmla="*/ 143 h 204"/>
                    <a:gd name="T18" fmla="*/ 21 w 241"/>
                    <a:gd name="T19" fmla="*/ 141 h 204"/>
                    <a:gd name="T20" fmla="*/ 71 w 241"/>
                    <a:gd name="T21" fmla="*/ 116 h 204"/>
                    <a:gd name="T22" fmla="*/ 72 w 241"/>
                    <a:gd name="T23" fmla="*/ 81 h 204"/>
                    <a:gd name="T24" fmla="*/ 105 w 241"/>
                    <a:gd name="T25" fmla="*/ 75 h 204"/>
                    <a:gd name="T26" fmla="*/ 105 w 241"/>
                    <a:gd name="T27" fmla="*/ 75 h 204"/>
                    <a:gd name="T28" fmla="*/ 105 w 241"/>
                    <a:gd name="T29" fmla="*/ 75 h 204"/>
                    <a:gd name="T30" fmla="*/ 105 w 241"/>
                    <a:gd name="T31" fmla="*/ 75 h 204"/>
                    <a:gd name="T32" fmla="*/ 181 w 241"/>
                    <a:gd name="T33" fmla="*/ 0 h 204"/>
                    <a:gd name="T34" fmla="*/ 231 w 241"/>
                    <a:gd name="T35" fmla="*/ 28 h 204"/>
                    <a:gd name="T36" fmla="*/ 241 w 241"/>
                    <a:gd name="T37" fmla="*/ 57 h 204"/>
                    <a:gd name="T38" fmla="*/ 231 w 241"/>
                    <a:gd name="T39" fmla="*/ 75 h 204"/>
                    <a:gd name="T40" fmla="*/ 230 w 241"/>
                    <a:gd name="T41" fmla="*/ 84 h 204"/>
                    <a:gd name="T42" fmla="*/ 231 w 241"/>
                    <a:gd name="T43" fmla="*/ 133 h 204"/>
                    <a:gd name="T44" fmla="*/ 218 w 241"/>
                    <a:gd name="T45" fmla="*/ 161 h 204"/>
                    <a:gd name="T46" fmla="*/ 221 w 241"/>
                    <a:gd name="T47" fmla="*/ 168 h 204"/>
                    <a:gd name="T48" fmla="*/ 204 w 241"/>
                    <a:gd name="T49" fmla="*/ 177 h 204"/>
                    <a:gd name="T50" fmla="*/ 204 w 241"/>
                    <a:gd name="T51" fmla="*/ 177 h 204"/>
                    <a:gd name="T52" fmla="*/ 188 w 241"/>
                    <a:gd name="T53" fmla="*/ 180 h 204"/>
                    <a:gd name="T54" fmla="*/ 184 w 241"/>
                    <a:gd name="T55" fmla="*/ 180 h 204"/>
                    <a:gd name="T56" fmla="*/ 184 w 241"/>
                    <a:gd name="T57" fmla="*/ 178 h 204"/>
                    <a:gd name="T58" fmla="*/ 182 w 241"/>
                    <a:gd name="T59" fmla="*/ 178 h 204"/>
                    <a:gd name="T60" fmla="*/ 171 w 241"/>
                    <a:gd name="T61" fmla="*/ 177 h 204"/>
                    <a:gd name="T62" fmla="*/ 165 w 241"/>
                    <a:gd name="T63" fmla="*/ 178 h 204"/>
                    <a:gd name="T64" fmla="*/ 165 w 241"/>
                    <a:gd name="T65" fmla="*/ 178 h 204"/>
                    <a:gd name="T66" fmla="*/ 165 w 241"/>
                    <a:gd name="T67" fmla="*/ 178 h 204"/>
                    <a:gd name="T68" fmla="*/ 146 w 241"/>
                    <a:gd name="T69" fmla="*/ 183 h 204"/>
                    <a:gd name="T70" fmla="*/ 136 w 241"/>
                    <a:gd name="T71" fmla="*/ 180 h 204"/>
                    <a:gd name="T72" fmla="*/ 134 w 241"/>
                    <a:gd name="T73" fmla="*/ 180 h 204"/>
                    <a:gd name="T74" fmla="*/ 123 w 241"/>
                    <a:gd name="T75" fmla="*/ 175 h 204"/>
                    <a:gd name="T76" fmla="*/ 118 w 241"/>
                    <a:gd name="T77" fmla="*/ 175 h 204"/>
                    <a:gd name="T78" fmla="*/ 118 w 241"/>
                    <a:gd name="T79" fmla="*/ 175 h 204"/>
                    <a:gd name="T80" fmla="*/ 118 w 241"/>
                    <a:gd name="T81" fmla="*/ 175 h 204"/>
                    <a:gd name="T82" fmla="*/ 118 w 241"/>
                    <a:gd name="T83" fmla="*/ 177 h 204"/>
                    <a:gd name="T84" fmla="*/ 117 w 241"/>
                    <a:gd name="T85" fmla="*/ 177 h 204"/>
                    <a:gd name="T86" fmla="*/ 115 w 241"/>
                    <a:gd name="T87" fmla="*/ 177 h 204"/>
                    <a:gd name="T88" fmla="*/ 115 w 241"/>
                    <a:gd name="T89" fmla="*/ 178 h 204"/>
                    <a:gd name="T90" fmla="*/ 114 w 241"/>
                    <a:gd name="T91" fmla="*/ 178 h 204"/>
                    <a:gd name="T92" fmla="*/ 113 w 241"/>
                    <a:gd name="T93" fmla="*/ 178 h 204"/>
                    <a:gd name="T94" fmla="*/ 110 w 241"/>
                    <a:gd name="T95" fmla="*/ 180 h 204"/>
                    <a:gd name="T96" fmla="*/ 108 w 241"/>
                    <a:gd name="T97" fmla="*/ 180 h 204"/>
                    <a:gd name="T98" fmla="*/ 107 w 241"/>
                    <a:gd name="T99" fmla="*/ 180 h 204"/>
                    <a:gd name="T100" fmla="*/ 104 w 241"/>
                    <a:gd name="T101" fmla="*/ 180 h 204"/>
                    <a:gd name="T102" fmla="*/ 104 w 241"/>
                    <a:gd name="T103" fmla="*/ 178 h 204"/>
                    <a:gd name="T104" fmla="*/ 89 w 241"/>
                    <a:gd name="T105" fmla="*/ 171 h 204"/>
                    <a:gd name="T106" fmla="*/ 88 w 241"/>
                    <a:gd name="T107" fmla="*/ 171 h 204"/>
                    <a:gd name="T108" fmla="*/ 75 w 241"/>
                    <a:gd name="T109" fmla="*/ 174 h 204"/>
                    <a:gd name="T110" fmla="*/ 65 w 241"/>
                    <a:gd name="T111" fmla="*/ 181 h 204"/>
                    <a:gd name="T112" fmla="*/ 65 w 241"/>
                    <a:gd name="T113" fmla="*/ 204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41" h="204">
                      <a:moveTo>
                        <a:pt x="65" y="204"/>
                      </a:moveTo>
                      <a:lnTo>
                        <a:pt x="65" y="204"/>
                      </a:lnTo>
                      <a:lnTo>
                        <a:pt x="59" y="203"/>
                      </a:lnTo>
                      <a:lnTo>
                        <a:pt x="55" y="200"/>
                      </a:lnTo>
                      <a:lnTo>
                        <a:pt x="55" y="200"/>
                      </a:lnTo>
                      <a:lnTo>
                        <a:pt x="55" y="200"/>
                      </a:lnTo>
                      <a:lnTo>
                        <a:pt x="55" y="200"/>
                      </a:lnTo>
                      <a:lnTo>
                        <a:pt x="55" y="199"/>
                      </a:lnTo>
                      <a:lnTo>
                        <a:pt x="55" y="199"/>
                      </a:lnTo>
                      <a:lnTo>
                        <a:pt x="52" y="197"/>
                      </a:lnTo>
                      <a:lnTo>
                        <a:pt x="49" y="196"/>
                      </a:lnTo>
                      <a:lnTo>
                        <a:pt x="49" y="196"/>
                      </a:lnTo>
                      <a:lnTo>
                        <a:pt x="49" y="196"/>
                      </a:lnTo>
                      <a:lnTo>
                        <a:pt x="49" y="196"/>
                      </a:lnTo>
                      <a:lnTo>
                        <a:pt x="46" y="196"/>
                      </a:lnTo>
                      <a:lnTo>
                        <a:pt x="43" y="197"/>
                      </a:lnTo>
                      <a:lnTo>
                        <a:pt x="43" y="197"/>
                      </a:lnTo>
                      <a:lnTo>
                        <a:pt x="43" y="197"/>
                      </a:lnTo>
                      <a:lnTo>
                        <a:pt x="43" y="197"/>
                      </a:lnTo>
                      <a:lnTo>
                        <a:pt x="43" y="199"/>
                      </a:lnTo>
                      <a:lnTo>
                        <a:pt x="43" y="199"/>
                      </a:lnTo>
                      <a:lnTo>
                        <a:pt x="42" y="200"/>
                      </a:lnTo>
                      <a:lnTo>
                        <a:pt x="42" y="200"/>
                      </a:lnTo>
                      <a:lnTo>
                        <a:pt x="37" y="194"/>
                      </a:lnTo>
                      <a:lnTo>
                        <a:pt x="36" y="187"/>
                      </a:lnTo>
                      <a:lnTo>
                        <a:pt x="36" y="187"/>
                      </a:lnTo>
                      <a:lnTo>
                        <a:pt x="33" y="183"/>
                      </a:lnTo>
                      <a:lnTo>
                        <a:pt x="30" y="180"/>
                      </a:lnTo>
                      <a:lnTo>
                        <a:pt x="26" y="178"/>
                      </a:lnTo>
                      <a:lnTo>
                        <a:pt x="18" y="172"/>
                      </a:lnTo>
                      <a:lnTo>
                        <a:pt x="18" y="172"/>
                      </a:lnTo>
                      <a:lnTo>
                        <a:pt x="13" y="168"/>
                      </a:lnTo>
                      <a:lnTo>
                        <a:pt x="7" y="161"/>
                      </a:lnTo>
                      <a:lnTo>
                        <a:pt x="3" y="152"/>
                      </a:lnTo>
                      <a:lnTo>
                        <a:pt x="0" y="143"/>
                      </a:lnTo>
                      <a:lnTo>
                        <a:pt x="0" y="143"/>
                      </a:lnTo>
                      <a:lnTo>
                        <a:pt x="8" y="146"/>
                      </a:lnTo>
                      <a:lnTo>
                        <a:pt x="16" y="148"/>
                      </a:lnTo>
                      <a:lnTo>
                        <a:pt x="21" y="148"/>
                      </a:lnTo>
                      <a:lnTo>
                        <a:pt x="21" y="141"/>
                      </a:lnTo>
                      <a:lnTo>
                        <a:pt x="60" y="141"/>
                      </a:lnTo>
                      <a:lnTo>
                        <a:pt x="60" y="141"/>
                      </a:lnTo>
                      <a:lnTo>
                        <a:pt x="66" y="129"/>
                      </a:lnTo>
                      <a:lnTo>
                        <a:pt x="71" y="116"/>
                      </a:lnTo>
                      <a:lnTo>
                        <a:pt x="72" y="110"/>
                      </a:lnTo>
                      <a:lnTo>
                        <a:pt x="72" y="104"/>
                      </a:lnTo>
                      <a:lnTo>
                        <a:pt x="72" y="81"/>
                      </a:lnTo>
                      <a:lnTo>
                        <a:pt x="72" y="81"/>
                      </a:lnTo>
                      <a:lnTo>
                        <a:pt x="91" y="78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05" y="75"/>
                      </a:lnTo>
                      <a:lnTo>
                        <a:pt x="111" y="73"/>
                      </a:lnTo>
                      <a:lnTo>
                        <a:pt x="121" y="64"/>
                      </a:lnTo>
                      <a:lnTo>
                        <a:pt x="146" y="38"/>
                      </a:lnTo>
                      <a:lnTo>
                        <a:pt x="181" y="0"/>
                      </a:lnTo>
                      <a:lnTo>
                        <a:pt x="218" y="19"/>
                      </a:lnTo>
                      <a:lnTo>
                        <a:pt x="228" y="15"/>
                      </a:lnTo>
                      <a:lnTo>
                        <a:pt x="228" y="15"/>
                      </a:lnTo>
                      <a:lnTo>
                        <a:pt x="231" y="28"/>
                      </a:lnTo>
                      <a:lnTo>
                        <a:pt x="236" y="38"/>
                      </a:lnTo>
                      <a:lnTo>
                        <a:pt x="240" y="54"/>
                      </a:lnTo>
                      <a:lnTo>
                        <a:pt x="240" y="54"/>
                      </a:lnTo>
                      <a:lnTo>
                        <a:pt x="241" y="57"/>
                      </a:lnTo>
                      <a:lnTo>
                        <a:pt x="241" y="57"/>
                      </a:lnTo>
                      <a:lnTo>
                        <a:pt x="240" y="61"/>
                      </a:lnTo>
                      <a:lnTo>
                        <a:pt x="237" y="67"/>
                      </a:lnTo>
                      <a:lnTo>
                        <a:pt x="231" y="75"/>
                      </a:lnTo>
                      <a:lnTo>
                        <a:pt x="231" y="75"/>
                      </a:lnTo>
                      <a:lnTo>
                        <a:pt x="230" y="80"/>
                      </a:lnTo>
                      <a:lnTo>
                        <a:pt x="230" y="84"/>
                      </a:lnTo>
                      <a:lnTo>
                        <a:pt x="230" y="84"/>
                      </a:lnTo>
                      <a:lnTo>
                        <a:pt x="231" y="107"/>
                      </a:lnTo>
                      <a:lnTo>
                        <a:pt x="234" y="125"/>
                      </a:lnTo>
                      <a:lnTo>
                        <a:pt x="234" y="125"/>
                      </a:lnTo>
                      <a:lnTo>
                        <a:pt x="231" y="133"/>
                      </a:lnTo>
                      <a:lnTo>
                        <a:pt x="227" y="143"/>
                      </a:lnTo>
                      <a:lnTo>
                        <a:pt x="221" y="154"/>
                      </a:lnTo>
                      <a:lnTo>
                        <a:pt x="218" y="161"/>
                      </a:lnTo>
                      <a:lnTo>
                        <a:pt x="218" y="161"/>
                      </a:lnTo>
                      <a:lnTo>
                        <a:pt x="218" y="161"/>
                      </a:lnTo>
                      <a:lnTo>
                        <a:pt x="218" y="161"/>
                      </a:lnTo>
                      <a:lnTo>
                        <a:pt x="220" y="165"/>
                      </a:lnTo>
                      <a:lnTo>
                        <a:pt x="221" y="168"/>
                      </a:lnTo>
                      <a:lnTo>
                        <a:pt x="221" y="168"/>
                      </a:lnTo>
                      <a:lnTo>
                        <a:pt x="213" y="174"/>
                      </a:lnTo>
                      <a:lnTo>
                        <a:pt x="204" y="177"/>
                      </a:lnTo>
                      <a:lnTo>
                        <a:pt x="204" y="177"/>
                      </a:lnTo>
                      <a:lnTo>
                        <a:pt x="204" y="177"/>
                      </a:lnTo>
                      <a:lnTo>
                        <a:pt x="204" y="177"/>
                      </a:lnTo>
                      <a:lnTo>
                        <a:pt x="204" y="177"/>
                      </a:lnTo>
                      <a:lnTo>
                        <a:pt x="204" y="177"/>
                      </a:lnTo>
                      <a:lnTo>
                        <a:pt x="202" y="177"/>
                      </a:lnTo>
                      <a:lnTo>
                        <a:pt x="202" y="177"/>
                      </a:lnTo>
                      <a:lnTo>
                        <a:pt x="197" y="178"/>
                      </a:lnTo>
                      <a:lnTo>
                        <a:pt x="188" y="180"/>
                      </a:lnTo>
                      <a:lnTo>
                        <a:pt x="188" y="180"/>
                      </a:lnTo>
                      <a:lnTo>
                        <a:pt x="188" y="180"/>
                      </a:lnTo>
                      <a:lnTo>
                        <a:pt x="188" y="180"/>
                      </a:lnTo>
                      <a:lnTo>
                        <a:pt x="184" y="180"/>
                      </a:lnTo>
                      <a:lnTo>
                        <a:pt x="184" y="180"/>
                      </a:lnTo>
                      <a:lnTo>
                        <a:pt x="184" y="178"/>
                      </a:lnTo>
                      <a:lnTo>
                        <a:pt x="184" y="178"/>
                      </a:lnTo>
                      <a:lnTo>
                        <a:pt x="184" y="178"/>
                      </a:lnTo>
                      <a:lnTo>
                        <a:pt x="184" y="178"/>
                      </a:lnTo>
                      <a:lnTo>
                        <a:pt x="184" y="178"/>
                      </a:lnTo>
                      <a:lnTo>
                        <a:pt x="184" y="178"/>
                      </a:lnTo>
                      <a:lnTo>
                        <a:pt x="182" y="178"/>
                      </a:lnTo>
                      <a:lnTo>
                        <a:pt x="182" y="178"/>
                      </a:lnTo>
                      <a:lnTo>
                        <a:pt x="171" y="177"/>
                      </a:lnTo>
                      <a:lnTo>
                        <a:pt x="171" y="177"/>
                      </a:lnTo>
                      <a:lnTo>
                        <a:pt x="171" y="177"/>
                      </a:lnTo>
                      <a:lnTo>
                        <a:pt x="171" y="177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65" y="178"/>
                      </a:lnTo>
                      <a:lnTo>
                        <a:pt x="157" y="181"/>
                      </a:lnTo>
                      <a:lnTo>
                        <a:pt x="146" y="183"/>
                      </a:lnTo>
                      <a:lnTo>
                        <a:pt x="146" y="183"/>
                      </a:lnTo>
                      <a:lnTo>
                        <a:pt x="146" y="183"/>
                      </a:lnTo>
                      <a:lnTo>
                        <a:pt x="146" y="183"/>
                      </a:lnTo>
                      <a:lnTo>
                        <a:pt x="140" y="181"/>
                      </a:lnTo>
                      <a:lnTo>
                        <a:pt x="136" y="180"/>
                      </a:lnTo>
                      <a:lnTo>
                        <a:pt x="136" y="180"/>
                      </a:lnTo>
                      <a:lnTo>
                        <a:pt x="136" y="180"/>
                      </a:lnTo>
                      <a:lnTo>
                        <a:pt x="136" y="180"/>
                      </a:lnTo>
                      <a:lnTo>
                        <a:pt x="134" y="180"/>
                      </a:lnTo>
                      <a:lnTo>
                        <a:pt x="134" y="180"/>
                      </a:lnTo>
                      <a:lnTo>
                        <a:pt x="129" y="175"/>
                      </a:lnTo>
                      <a:lnTo>
                        <a:pt x="123" y="175"/>
                      </a:lnTo>
                      <a:lnTo>
                        <a:pt x="123" y="175"/>
                      </a:lnTo>
                      <a:lnTo>
                        <a:pt x="123" y="175"/>
                      </a:lnTo>
                      <a:lnTo>
                        <a:pt x="123" y="175"/>
                      </a:lnTo>
                      <a:lnTo>
                        <a:pt x="120" y="175"/>
                      </a:lnTo>
                      <a:lnTo>
                        <a:pt x="120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5"/>
                      </a:lnTo>
                      <a:lnTo>
                        <a:pt x="118" y="177"/>
                      </a:lnTo>
                      <a:lnTo>
                        <a:pt x="118" y="177"/>
                      </a:lnTo>
                      <a:lnTo>
                        <a:pt x="118" y="177"/>
                      </a:lnTo>
                      <a:lnTo>
                        <a:pt x="118" y="177"/>
                      </a:lnTo>
                      <a:lnTo>
                        <a:pt x="118" y="177"/>
                      </a:lnTo>
                      <a:lnTo>
                        <a:pt x="118" y="177"/>
                      </a:lnTo>
                      <a:lnTo>
                        <a:pt x="117" y="177"/>
                      </a:lnTo>
                      <a:lnTo>
                        <a:pt x="117" y="177"/>
                      </a:lnTo>
                      <a:lnTo>
                        <a:pt x="117" y="177"/>
                      </a:lnTo>
                      <a:lnTo>
                        <a:pt x="117" y="177"/>
                      </a:lnTo>
                      <a:lnTo>
                        <a:pt x="115" y="177"/>
                      </a:lnTo>
                      <a:lnTo>
                        <a:pt x="115" y="177"/>
                      </a:lnTo>
                      <a:lnTo>
                        <a:pt x="115" y="177"/>
                      </a:lnTo>
                      <a:lnTo>
                        <a:pt x="115" y="177"/>
                      </a:lnTo>
                      <a:lnTo>
                        <a:pt x="115" y="178"/>
                      </a:lnTo>
                      <a:lnTo>
                        <a:pt x="115" y="178"/>
                      </a:lnTo>
                      <a:lnTo>
                        <a:pt x="115" y="178"/>
                      </a:lnTo>
                      <a:lnTo>
                        <a:pt x="115" y="178"/>
                      </a:lnTo>
                      <a:lnTo>
                        <a:pt x="114" y="178"/>
                      </a:lnTo>
                      <a:lnTo>
                        <a:pt x="114" y="178"/>
                      </a:lnTo>
                      <a:lnTo>
                        <a:pt x="114" y="178"/>
                      </a:lnTo>
                      <a:lnTo>
                        <a:pt x="114" y="178"/>
                      </a:lnTo>
                      <a:lnTo>
                        <a:pt x="113" y="178"/>
                      </a:lnTo>
                      <a:lnTo>
                        <a:pt x="113" y="178"/>
                      </a:lnTo>
                      <a:lnTo>
                        <a:pt x="110" y="180"/>
                      </a:lnTo>
                      <a:lnTo>
                        <a:pt x="110" y="180"/>
                      </a:lnTo>
                      <a:lnTo>
                        <a:pt x="110" y="180"/>
                      </a:lnTo>
                      <a:lnTo>
                        <a:pt x="110" y="180"/>
                      </a:lnTo>
                      <a:lnTo>
                        <a:pt x="108" y="180"/>
                      </a:lnTo>
                      <a:lnTo>
                        <a:pt x="108" y="180"/>
                      </a:lnTo>
                      <a:lnTo>
                        <a:pt x="108" y="180"/>
                      </a:lnTo>
                      <a:lnTo>
                        <a:pt x="108" y="180"/>
                      </a:lnTo>
                      <a:lnTo>
                        <a:pt x="108" y="180"/>
                      </a:lnTo>
                      <a:lnTo>
                        <a:pt x="108" y="180"/>
                      </a:lnTo>
                      <a:lnTo>
                        <a:pt x="107" y="180"/>
                      </a:lnTo>
                      <a:lnTo>
                        <a:pt x="107" y="180"/>
                      </a:lnTo>
                      <a:lnTo>
                        <a:pt x="107" y="180"/>
                      </a:lnTo>
                      <a:lnTo>
                        <a:pt x="104" y="180"/>
                      </a:lnTo>
                      <a:lnTo>
                        <a:pt x="104" y="180"/>
                      </a:lnTo>
                      <a:lnTo>
                        <a:pt x="104" y="180"/>
                      </a:lnTo>
                      <a:lnTo>
                        <a:pt x="104" y="180"/>
                      </a:lnTo>
                      <a:lnTo>
                        <a:pt x="104" y="178"/>
                      </a:lnTo>
                      <a:lnTo>
                        <a:pt x="104" y="178"/>
                      </a:lnTo>
                      <a:lnTo>
                        <a:pt x="98" y="174"/>
                      </a:lnTo>
                      <a:lnTo>
                        <a:pt x="94" y="171"/>
                      </a:lnTo>
                      <a:lnTo>
                        <a:pt x="89" y="171"/>
                      </a:lnTo>
                      <a:lnTo>
                        <a:pt x="89" y="171"/>
                      </a:lnTo>
                      <a:lnTo>
                        <a:pt x="89" y="171"/>
                      </a:lnTo>
                      <a:lnTo>
                        <a:pt x="89" y="171"/>
                      </a:lnTo>
                      <a:lnTo>
                        <a:pt x="89" y="171"/>
                      </a:lnTo>
                      <a:lnTo>
                        <a:pt x="88" y="171"/>
                      </a:lnTo>
                      <a:lnTo>
                        <a:pt x="88" y="171"/>
                      </a:lnTo>
                      <a:lnTo>
                        <a:pt x="88" y="171"/>
                      </a:lnTo>
                      <a:lnTo>
                        <a:pt x="88" y="171"/>
                      </a:lnTo>
                      <a:lnTo>
                        <a:pt x="75" y="174"/>
                      </a:lnTo>
                      <a:lnTo>
                        <a:pt x="68" y="177"/>
                      </a:lnTo>
                      <a:lnTo>
                        <a:pt x="66" y="178"/>
                      </a:lnTo>
                      <a:lnTo>
                        <a:pt x="65" y="181"/>
                      </a:lnTo>
                      <a:lnTo>
                        <a:pt x="65" y="181"/>
                      </a:lnTo>
                      <a:lnTo>
                        <a:pt x="65" y="184"/>
                      </a:lnTo>
                      <a:lnTo>
                        <a:pt x="65" y="184"/>
                      </a:lnTo>
                      <a:lnTo>
                        <a:pt x="63" y="193"/>
                      </a:lnTo>
                      <a:lnTo>
                        <a:pt x="65" y="20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22" name="Freeform 474"/>
                <p:cNvSpPr>
                  <a:spLocks/>
                </p:cNvSpPr>
                <p:nvPr/>
              </p:nvSpPr>
              <p:spPr bwMode="auto">
                <a:xfrm>
                  <a:off x="4409761" y="3083673"/>
                  <a:ext cx="20774" cy="4946"/>
                </a:xfrm>
                <a:custGeom>
                  <a:avLst/>
                  <a:gdLst>
                    <a:gd name="T0" fmla="*/ 21 w 21"/>
                    <a:gd name="T1" fmla="*/ 5 h 5"/>
                    <a:gd name="T2" fmla="*/ 21 w 21"/>
                    <a:gd name="T3" fmla="*/ 5 h 5"/>
                    <a:gd name="T4" fmla="*/ 16 w 21"/>
                    <a:gd name="T5" fmla="*/ 5 h 5"/>
                    <a:gd name="T6" fmla="*/ 8 w 21"/>
                    <a:gd name="T7" fmla="*/ 3 h 5"/>
                    <a:gd name="T8" fmla="*/ 0 w 21"/>
                    <a:gd name="T9" fmla="*/ 0 h 5"/>
                    <a:gd name="T10" fmla="*/ 0 w 21"/>
                    <a:gd name="T11" fmla="*/ 0 h 5"/>
                    <a:gd name="T12" fmla="*/ 0 w 21"/>
                    <a:gd name="T13" fmla="*/ 0 h 5"/>
                    <a:gd name="T14" fmla="*/ 0 w 21"/>
                    <a:gd name="T15" fmla="*/ 0 h 5"/>
                    <a:gd name="T16" fmla="*/ 8 w 21"/>
                    <a:gd name="T17" fmla="*/ 3 h 5"/>
                    <a:gd name="T18" fmla="*/ 16 w 21"/>
                    <a:gd name="T19" fmla="*/ 5 h 5"/>
                    <a:gd name="T20" fmla="*/ 21 w 21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1" h="5">
                      <a:moveTo>
                        <a:pt x="21" y="5"/>
                      </a:moveTo>
                      <a:lnTo>
                        <a:pt x="21" y="5"/>
                      </a:lnTo>
                      <a:lnTo>
                        <a:pt x="16" y="5"/>
                      </a:lnTo>
                      <a:lnTo>
                        <a:pt x="8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8" y="3"/>
                      </a:lnTo>
                      <a:lnTo>
                        <a:pt x="16" y="5"/>
                      </a:lnTo>
                      <a:lnTo>
                        <a:pt x="21" y="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23" name="Freeform 475"/>
                <p:cNvSpPr>
                  <a:spLocks/>
                </p:cNvSpPr>
                <p:nvPr/>
              </p:nvSpPr>
              <p:spPr bwMode="auto">
                <a:xfrm>
                  <a:off x="4409761" y="3083673"/>
                  <a:ext cx="20774" cy="4946"/>
                </a:xfrm>
                <a:custGeom>
                  <a:avLst/>
                  <a:gdLst>
                    <a:gd name="T0" fmla="*/ 21 w 21"/>
                    <a:gd name="T1" fmla="*/ 5 h 5"/>
                    <a:gd name="T2" fmla="*/ 21 w 21"/>
                    <a:gd name="T3" fmla="*/ 5 h 5"/>
                    <a:gd name="T4" fmla="*/ 16 w 21"/>
                    <a:gd name="T5" fmla="*/ 5 h 5"/>
                    <a:gd name="T6" fmla="*/ 8 w 21"/>
                    <a:gd name="T7" fmla="*/ 3 h 5"/>
                    <a:gd name="T8" fmla="*/ 0 w 21"/>
                    <a:gd name="T9" fmla="*/ 0 h 5"/>
                    <a:gd name="T10" fmla="*/ 0 w 21"/>
                    <a:gd name="T11" fmla="*/ 0 h 5"/>
                    <a:gd name="T12" fmla="*/ 0 w 21"/>
                    <a:gd name="T13" fmla="*/ 0 h 5"/>
                    <a:gd name="T14" fmla="*/ 0 w 21"/>
                    <a:gd name="T15" fmla="*/ 0 h 5"/>
                    <a:gd name="T16" fmla="*/ 8 w 21"/>
                    <a:gd name="T17" fmla="*/ 3 h 5"/>
                    <a:gd name="T18" fmla="*/ 16 w 21"/>
                    <a:gd name="T19" fmla="*/ 5 h 5"/>
                    <a:gd name="T20" fmla="*/ 21 w 21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1" h="5">
                      <a:moveTo>
                        <a:pt x="21" y="5"/>
                      </a:moveTo>
                      <a:lnTo>
                        <a:pt x="21" y="5"/>
                      </a:lnTo>
                      <a:lnTo>
                        <a:pt x="16" y="5"/>
                      </a:lnTo>
                      <a:lnTo>
                        <a:pt x="8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8" y="3"/>
                      </a:lnTo>
                      <a:lnTo>
                        <a:pt x="16" y="5"/>
                      </a:lnTo>
                      <a:lnTo>
                        <a:pt x="21" y="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24" name="Freeform 476"/>
                <p:cNvSpPr>
                  <a:spLocks noEditPoints="1"/>
                </p:cNvSpPr>
                <p:nvPr/>
              </p:nvSpPr>
              <p:spPr bwMode="auto">
                <a:xfrm>
                  <a:off x="4625420" y="2998597"/>
                  <a:ext cx="22753" cy="109808"/>
                </a:xfrm>
                <a:custGeom>
                  <a:avLst/>
                  <a:gdLst>
                    <a:gd name="T0" fmla="*/ 12 w 23"/>
                    <a:gd name="T1" fmla="*/ 27 h 111"/>
                    <a:gd name="T2" fmla="*/ 12 w 23"/>
                    <a:gd name="T3" fmla="*/ 27 h 111"/>
                    <a:gd name="T4" fmla="*/ 12 w 23"/>
                    <a:gd name="T5" fmla="*/ 23 h 111"/>
                    <a:gd name="T6" fmla="*/ 13 w 23"/>
                    <a:gd name="T7" fmla="*/ 18 h 111"/>
                    <a:gd name="T8" fmla="*/ 13 w 23"/>
                    <a:gd name="T9" fmla="*/ 18 h 111"/>
                    <a:gd name="T10" fmla="*/ 19 w 23"/>
                    <a:gd name="T11" fmla="*/ 10 h 111"/>
                    <a:gd name="T12" fmla="*/ 22 w 23"/>
                    <a:gd name="T13" fmla="*/ 4 h 111"/>
                    <a:gd name="T14" fmla="*/ 23 w 23"/>
                    <a:gd name="T15" fmla="*/ 0 h 111"/>
                    <a:gd name="T16" fmla="*/ 23 w 23"/>
                    <a:gd name="T17" fmla="*/ 0 h 111"/>
                    <a:gd name="T18" fmla="*/ 22 w 23"/>
                    <a:gd name="T19" fmla="*/ 4 h 111"/>
                    <a:gd name="T20" fmla="*/ 19 w 23"/>
                    <a:gd name="T21" fmla="*/ 10 h 111"/>
                    <a:gd name="T22" fmla="*/ 13 w 23"/>
                    <a:gd name="T23" fmla="*/ 18 h 111"/>
                    <a:gd name="T24" fmla="*/ 13 w 23"/>
                    <a:gd name="T25" fmla="*/ 18 h 111"/>
                    <a:gd name="T26" fmla="*/ 12 w 23"/>
                    <a:gd name="T27" fmla="*/ 23 h 111"/>
                    <a:gd name="T28" fmla="*/ 12 w 23"/>
                    <a:gd name="T29" fmla="*/ 27 h 111"/>
                    <a:gd name="T30" fmla="*/ 0 w 23"/>
                    <a:gd name="T31" fmla="*/ 104 h 111"/>
                    <a:gd name="T32" fmla="*/ 0 w 23"/>
                    <a:gd name="T33" fmla="*/ 104 h 111"/>
                    <a:gd name="T34" fmla="*/ 0 w 23"/>
                    <a:gd name="T35" fmla="*/ 104 h 111"/>
                    <a:gd name="T36" fmla="*/ 3 w 23"/>
                    <a:gd name="T37" fmla="*/ 97 h 111"/>
                    <a:gd name="T38" fmla="*/ 9 w 23"/>
                    <a:gd name="T39" fmla="*/ 86 h 111"/>
                    <a:gd name="T40" fmla="*/ 13 w 23"/>
                    <a:gd name="T41" fmla="*/ 76 h 111"/>
                    <a:gd name="T42" fmla="*/ 16 w 23"/>
                    <a:gd name="T43" fmla="*/ 68 h 111"/>
                    <a:gd name="T44" fmla="*/ 16 w 23"/>
                    <a:gd name="T45" fmla="*/ 68 h 111"/>
                    <a:gd name="T46" fmla="*/ 13 w 23"/>
                    <a:gd name="T47" fmla="*/ 76 h 111"/>
                    <a:gd name="T48" fmla="*/ 9 w 23"/>
                    <a:gd name="T49" fmla="*/ 86 h 111"/>
                    <a:gd name="T50" fmla="*/ 3 w 23"/>
                    <a:gd name="T51" fmla="*/ 97 h 111"/>
                    <a:gd name="T52" fmla="*/ 0 w 23"/>
                    <a:gd name="T53" fmla="*/ 104 h 111"/>
                    <a:gd name="T54" fmla="*/ 0 w 23"/>
                    <a:gd name="T55" fmla="*/ 104 h 111"/>
                    <a:gd name="T56" fmla="*/ 0 w 23"/>
                    <a:gd name="T57" fmla="*/ 104 h 111"/>
                    <a:gd name="T58" fmla="*/ 0 w 23"/>
                    <a:gd name="T59" fmla="*/ 104 h 111"/>
                    <a:gd name="T60" fmla="*/ 3 w 23"/>
                    <a:gd name="T61" fmla="*/ 111 h 111"/>
                    <a:gd name="T62" fmla="*/ 3 w 23"/>
                    <a:gd name="T63" fmla="*/ 111 h 111"/>
                    <a:gd name="T64" fmla="*/ 2 w 23"/>
                    <a:gd name="T65" fmla="*/ 108 h 111"/>
                    <a:gd name="T66" fmla="*/ 0 w 23"/>
                    <a:gd name="T67" fmla="*/ 104 h 111"/>
                    <a:gd name="T68" fmla="*/ 0 w 23"/>
                    <a:gd name="T69" fmla="*/ 104 h 111"/>
                    <a:gd name="T70" fmla="*/ 2 w 23"/>
                    <a:gd name="T71" fmla="*/ 108 h 111"/>
                    <a:gd name="T72" fmla="*/ 3 w 23"/>
                    <a:gd name="T73" fmla="*/ 111 h 111"/>
                    <a:gd name="T74" fmla="*/ 3 w 23"/>
                    <a:gd name="T75" fmla="*/ 111 h 111"/>
                    <a:gd name="T76" fmla="*/ 3 w 23"/>
                    <a:gd name="T77" fmla="*/ 111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23" h="111">
                      <a:moveTo>
                        <a:pt x="12" y="27"/>
                      </a:moveTo>
                      <a:lnTo>
                        <a:pt x="12" y="27"/>
                      </a:lnTo>
                      <a:lnTo>
                        <a:pt x="12" y="23"/>
                      </a:lnTo>
                      <a:lnTo>
                        <a:pt x="13" y="18"/>
                      </a:lnTo>
                      <a:lnTo>
                        <a:pt x="13" y="18"/>
                      </a:lnTo>
                      <a:lnTo>
                        <a:pt x="19" y="10"/>
                      </a:lnTo>
                      <a:lnTo>
                        <a:pt x="22" y="4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2" y="4"/>
                      </a:lnTo>
                      <a:lnTo>
                        <a:pt x="19" y="10"/>
                      </a:lnTo>
                      <a:lnTo>
                        <a:pt x="13" y="18"/>
                      </a:lnTo>
                      <a:lnTo>
                        <a:pt x="13" y="18"/>
                      </a:lnTo>
                      <a:lnTo>
                        <a:pt x="12" y="23"/>
                      </a:lnTo>
                      <a:lnTo>
                        <a:pt x="12" y="27"/>
                      </a:lnTo>
                      <a:close/>
                      <a:moveTo>
                        <a:pt x="0" y="104"/>
                      </a:moveTo>
                      <a:lnTo>
                        <a:pt x="0" y="104"/>
                      </a:lnTo>
                      <a:lnTo>
                        <a:pt x="0" y="104"/>
                      </a:lnTo>
                      <a:lnTo>
                        <a:pt x="3" y="97"/>
                      </a:lnTo>
                      <a:lnTo>
                        <a:pt x="9" y="86"/>
                      </a:lnTo>
                      <a:lnTo>
                        <a:pt x="13" y="76"/>
                      </a:lnTo>
                      <a:lnTo>
                        <a:pt x="16" y="68"/>
                      </a:lnTo>
                      <a:lnTo>
                        <a:pt x="16" y="68"/>
                      </a:lnTo>
                      <a:lnTo>
                        <a:pt x="13" y="76"/>
                      </a:lnTo>
                      <a:lnTo>
                        <a:pt x="9" y="86"/>
                      </a:lnTo>
                      <a:lnTo>
                        <a:pt x="3" y="97"/>
                      </a:lnTo>
                      <a:lnTo>
                        <a:pt x="0" y="104"/>
                      </a:lnTo>
                      <a:close/>
                      <a:moveTo>
                        <a:pt x="0" y="104"/>
                      </a:moveTo>
                      <a:lnTo>
                        <a:pt x="0" y="104"/>
                      </a:lnTo>
                      <a:lnTo>
                        <a:pt x="0" y="104"/>
                      </a:lnTo>
                      <a:close/>
                      <a:moveTo>
                        <a:pt x="3" y="111"/>
                      </a:moveTo>
                      <a:lnTo>
                        <a:pt x="3" y="111"/>
                      </a:lnTo>
                      <a:lnTo>
                        <a:pt x="2" y="108"/>
                      </a:lnTo>
                      <a:lnTo>
                        <a:pt x="0" y="104"/>
                      </a:lnTo>
                      <a:lnTo>
                        <a:pt x="0" y="104"/>
                      </a:lnTo>
                      <a:lnTo>
                        <a:pt x="2" y="108"/>
                      </a:lnTo>
                      <a:lnTo>
                        <a:pt x="3" y="111"/>
                      </a:lnTo>
                      <a:lnTo>
                        <a:pt x="3" y="111"/>
                      </a:lnTo>
                      <a:lnTo>
                        <a:pt x="3" y="11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25" name="Freeform 477"/>
                <p:cNvSpPr>
                  <a:spLocks/>
                </p:cNvSpPr>
                <p:nvPr/>
              </p:nvSpPr>
              <p:spPr bwMode="auto">
                <a:xfrm>
                  <a:off x="4637291" y="2998597"/>
                  <a:ext cx="10882" cy="26710"/>
                </a:xfrm>
                <a:custGeom>
                  <a:avLst/>
                  <a:gdLst>
                    <a:gd name="T0" fmla="*/ 0 w 11"/>
                    <a:gd name="T1" fmla="*/ 27 h 27"/>
                    <a:gd name="T2" fmla="*/ 0 w 11"/>
                    <a:gd name="T3" fmla="*/ 27 h 27"/>
                    <a:gd name="T4" fmla="*/ 0 w 11"/>
                    <a:gd name="T5" fmla="*/ 23 h 27"/>
                    <a:gd name="T6" fmla="*/ 1 w 11"/>
                    <a:gd name="T7" fmla="*/ 18 h 27"/>
                    <a:gd name="T8" fmla="*/ 1 w 11"/>
                    <a:gd name="T9" fmla="*/ 18 h 27"/>
                    <a:gd name="T10" fmla="*/ 7 w 11"/>
                    <a:gd name="T11" fmla="*/ 10 h 27"/>
                    <a:gd name="T12" fmla="*/ 10 w 11"/>
                    <a:gd name="T13" fmla="*/ 4 h 27"/>
                    <a:gd name="T14" fmla="*/ 11 w 11"/>
                    <a:gd name="T15" fmla="*/ 0 h 27"/>
                    <a:gd name="T16" fmla="*/ 11 w 11"/>
                    <a:gd name="T17" fmla="*/ 0 h 27"/>
                    <a:gd name="T18" fmla="*/ 10 w 11"/>
                    <a:gd name="T19" fmla="*/ 4 h 27"/>
                    <a:gd name="T20" fmla="*/ 7 w 11"/>
                    <a:gd name="T21" fmla="*/ 10 h 27"/>
                    <a:gd name="T22" fmla="*/ 1 w 11"/>
                    <a:gd name="T23" fmla="*/ 18 h 27"/>
                    <a:gd name="T24" fmla="*/ 1 w 11"/>
                    <a:gd name="T25" fmla="*/ 18 h 27"/>
                    <a:gd name="T26" fmla="*/ 0 w 11"/>
                    <a:gd name="T27" fmla="*/ 23 h 27"/>
                    <a:gd name="T28" fmla="*/ 0 w 11"/>
                    <a:gd name="T29" fmla="*/ 2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27">
                      <a:moveTo>
                        <a:pt x="0" y="27"/>
                      </a:moveTo>
                      <a:lnTo>
                        <a:pt x="0" y="27"/>
                      </a:lnTo>
                      <a:lnTo>
                        <a:pt x="0" y="23"/>
                      </a:lnTo>
                      <a:lnTo>
                        <a:pt x="1" y="18"/>
                      </a:lnTo>
                      <a:lnTo>
                        <a:pt x="1" y="18"/>
                      </a:lnTo>
                      <a:lnTo>
                        <a:pt x="7" y="10"/>
                      </a:lnTo>
                      <a:lnTo>
                        <a:pt x="10" y="4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10" y="4"/>
                      </a:lnTo>
                      <a:lnTo>
                        <a:pt x="7" y="10"/>
                      </a:lnTo>
                      <a:lnTo>
                        <a:pt x="1" y="18"/>
                      </a:lnTo>
                      <a:lnTo>
                        <a:pt x="1" y="18"/>
                      </a:lnTo>
                      <a:lnTo>
                        <a:pt x="0" y="23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26" name="Freeform 478"/>
                <p:cNvSpPr>
                  <a:spLocks/>
                </p:cNvSpPr>
                <p:nvPr/>
              </p:nvSpPr>
              <p:spPr bwMode="auto">
                <a:xfrm>
                  <a:off x="4625420" y="3065866"/>
                  <a:ext cx="15828" cy="35613"/>
                </a:xfrm>
                <a:custGeom>
                  <a:avLst/>
                  <a:gdLst>
                    <a:gd name="T0" fmla="*/ 0 w 16"/>
                    <a:gd name="T1" fmla="*/ 36 h 36"/>
                    <a:gd name="T2" fmla="*/ 0 w 16"/>
                    <a:gd name="T3" fmla="*/ 36 h 36"/>
                    <a:gd name="T4" fmla="*/ 0 w 16"/>
                    <a:gd name="T5" fmla="*/ 36 h 36"/>
                    <a:gd name="T6" fmla="*/ 3 w 16"/>
                    <a:gd name="T7" fmla="*/ 29 h 36"/>
                    <a:gd name="T8" fmla="*/ 9 w 16"/>
                    <a:gd name="T9" fmla="*/ 18 h 36"/>
                    <a:gd name="T10" fmla="*/ 13 w 16"/>
                    <a:gd name="T11" fmla="*/ 8 h 36"/>
                    <a:gd name="T12" fmla="*/ 16 w 16"/>
                    <a:gd name="T13" fmla="*/ 0 h 36"/>
                    <a:gd name="T14" fmla="*/ 16 w 16"/>
                    <a:gd name="T15" fmla="*/ 0 h 36"/>
                    <a:gd name="T16" fmla="*/ 13 w 16"/>
                    <a:gd name="T17" fmla="*/ 8 h 36"/>
                    <a:gd name="T18" fmla="*/ 9 w 16"/>
                    <a:gd name="T19" fmla="*/ 18 h 36"/>
                    <a:gd name="T20" fmla="*/ 3 w 16"/>
                    <a:gd name="T21" fmla="*/ 29 h 36"/>
                    <a:gd name="T22" fmla="*/ 0 w 16"/>
                    <a:gd name="T2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6" h="36">
                      <a:moveTo>
                        <a:pt x="0" y="36"/>
                      </a:move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3" y="29"/>
                      </a:lnTo>
                      <a:lnTo>
                        <a:pt x="9" y="18"/>
                      </a:lnTo>
                      <a:lnTo>
                        <a:pt x="13" y="8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3" y="8"/>
                      </a:lnTo>
                      <a:lnTo>
                        <a:pt x="9" y="18"/>
                      </a:lnTo>
                      <a:lnTo>
                        <a:pt x="3" y="29"/>
                      </a:lnTo>
                      <a:lnTo>
                        <a:pt x="0" y="3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27" name="Freeform 479"/>
                <p:cNvSpPr>
                  <a:spLocks/>
                </p:cNvSpPr>
                <p:nvPr/>
              </p:nvSpPr>
              <p:spPr bwMode="auto">
                <a:xfrm>
                  <a:off x="4625420" y="3101480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28" name="Freeform 480"/>
                <p:cNvSpPr>
                  <a:spLocks/>
                </p:cNvSpPr>
                <p:nvPr/>
              </p:nvSpPr>
              <p:spPr bwMode="auto">
                <a:xfrm>
                  <a:off x="4625420" y="3101480"/>
                  <a:ext cx="2968" cy="6925"/>
                </a:xfrm>
                <a:custGeom>
                  <a:avLst/>
                  <a:gdLst>
                    <a:gd name="T0" fmla="*/ 3 w 3"/>
                    <a:gd name="T1" fmla="*/ 7 h 7"/>
                    <a:gd name="T2" fmla="*/ 3 w 3"/>
                    <a:gd name="T3" fmla="*/ 7 h 7"/>
                    <a:gd name="T4" fmla="*/ 2 w 3"/>
                    <a:gd name="T5" fmla="*/ 4 h 7"/>
                    <a:gd name="T6" fmla="*/ 0 w 3"/>
                    <a:gd name="T7" fmla="*/ 0 h 7"/>
                    <a:gd name="T8" fmla="*/ 0 w 3"/>
                    <a:gd name="T9" fmla="*/ 0 h 7"/>
                    <a:gd name="T10" fmla="*/ 2 w 3"/>
                    <a:gd name="T11" fmla="*/ 4 h 7"/>
                    <a:gd name="T12" fmla="*/ 3 w 3"/>
                    <a:gd name="T13" fmla="*/ 7 h 7"/>
                    <a:gd name="T14" fmla="*/ 3 w 3"/>
                    <a:gd name="T15" fmla="*/ 7 h 7"/>
                    <a:gd name="T16" fmla="*/ 3 w 3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7">
                      <a:moveTo>
                        <a:pt x="3" y="7"/>
                      </a:moveTo>
                      <a:lnTo>
                        <a:pt x="3" y="7"/>
                      </a:lnTo>
                      <a:lnTo>
                        <a:pt x="2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4"/>
                      </a:lnTo>
                      <a:lnTo>
                        <a:pt x="3" y="7"/>
                      </a:lnTo>
                      <a:lnTo>
                        <a:pt x="3" y="7"/>
                      </a:lnTo>
                      <a:lnTo>
                        <a:pt x="3" y="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29" name="Freeform 481"/>
                <p:cNvSpPr>
                  <a:spLocks noEditPoints="1"/>
                </p:cNvSpPr>
                <p:nvPr/>
              </p:nvSpPr>
              <p:spPr bwMode="auto">
                <a:xfrm>
                  <a:off x="4480988" y="3016403"/>
                  <a:ext cx="32646" cy="5936"/>
                </a:xfrm>
                <a:custGeom>
                  <a:avLst/>
                  <a:gdLst>
                    <a:gd name="T0" fmla="*/ 33 w 33"/>
                    <a:gd name="T1" fmla="*/ 0 h 6"/>
                    <a:gd name="T2" fmla="*/ 33 w 33"/>
                    <a:gd name="T3" fmla="*/ 0 h 6"/>
                    <a:gd name="T4" fmla="*/ 33 w 33"/>
                    <a:gd name="T5" fmla="*/ 0 h 6"/>
                    <a:gd name="T6" fmla="*/ 33 w 33"/>
                    <a:gd name="T7" fmla="*/ 0 h 6"/>
                    <a:gd name="T8" fmla="*/ 33 w 33"/>
                    <a:gd name="T9" fmla="*/ 0 h 6"/>
                    <a:gd name="T10" fmla="*/ 33 w 33"/>
                    <a:gd name="T11" fmla="*/ 0 h 6"/>
                    <a:gd name="T12" fmla="*/ 33 w 33"/>
                    <a:gd name="T13" fmla="*/ 0 h 6"/>
                    <a:gd name="T14" fmla="*/ 33 w 33"/>
                    <a:gd name="T15" fmla="*/ 0 h 6"/>
                    <a:gd name="T16" fmla="*/ 33 w 33"/>
                    <a:gd name="T17" fmla="*/ 0 h 6"/>
                    <a:gd name="T18" fmla="*/ 33 w 33"/>
                    <a:gd name="T19" fmla="*/ 0 h 6"/>
                    <a:gd name="T20" fmla="*/ 33 w 33"/>
                    <a:gd name="T21" fmla="*/ 0 h 6"/>
                    <a:gd name="T22" fmla="*/ 33 w 33"/>
                    <a:gd name="T23" fmla="*/ 0 h 6"/>
                    <a:gd name="T24" fmla="*/ 33 w 33"/>
                    <a:gd name="T25" fmla="*/ 0 h 6"/>
                    <a:gd name="T26" fmla="*/ 33 w 33"/>
                    <a:gd name="T27" fmla="*/ 0 h 6"/>
                    <a:gd name="T28" fmla="*/ 33 w 33"/>
                    <a:gd name="T29" fmla="*/ 0 h 6"/>
                    <a:gd name="T30" fmla="*/ 33 w 33"/>
                    <a:gd name="T31" fmla="*/ 0 h 6"/>
                    <a:gd name="T32" fmla="*/ 33 w 33"/>
                    <a:gd name="T33" fmla="*/ 0 h 6"/>
                    <a:gd name="T34" fmla="*/ 0 w 33"/>
                    <a:gd name="T35" fmla="*/ 6 h 6"/>
                    <a:gd name="T36" fmla="*/ 0 w 33"/>
                    <a:gd name="T37" fmla="*/ 6 h 6"/>
                    <a:gd name="T38" fmla="*/ 0 w 33"/>
                    <a:gd name="T39" fmla="*/ 6 h 6"/>
                    <a:gd name="T40" fmla="*/ 19 w 33"/>
                    <a:gd name="T41" fmla="*/ 3 h 6"/>
                    <a:gd name="T42" fmla="*/ 33 w 33"/>
                    <a:gd name="T43" fmla="*/ 0 h 6"/>
                    <a:gd name="T44" fmla="*/ 33 w 33"/>
                    <a:gd name="T45" fmla="*/ 0 h 6"/>
                    <a:gd name="T46" fmla="*/ 19 w 33"/>
                    <a:gd name="T47" fmla="*/ 3 h 6"/>
                    <a:gd name="T48" fmla="*/ 0 w 33"/>
                    <a:gd name="T4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33" h="6">
                      <a:moveTo>
                        <a:pt x="33" y="0"/>
                      </a:moveTo>
                      <a:lnTo>
                        <a:pt x="33" y="0"/>
                      </a:lnTo>
                      <a:lnTo>
                        <a:pt x="33" y="0"/>
                      </a:lnTo>
                      <a:close/>
                      <a:moveTo>
                        <a:pt x="33" y="0"/>
                      </a:moveTo>
                      <a:lnTo>
                        <a:pt x="33" y="0"/>
                      </a:lnTo>
                      <a:lnTo>
                        <a:pt x="33" y="0"/>
                      </a:lnTo>
                      <a:close/>
                      <a:moveTo>
                        <a:pt x="33" y="0"/>
                      </a:moveTo>
                      <a:lnTo>
                        <a:pt x="33" y="0"/>
                      </a:lnTo>
                      <a:close/>
                      <a:moveTo>
                        <a:pt x="33" y="0"/>
                      </a:moveTo>
                      <a:lnTo>
                        <a:pt x="33" y="0"/>
                      </a:lnTo>
                      <a:lnTo>
                        <a:pt x="33" y="0"/>
                      </a:lnTo>
                      <a:close/>
                      <a:moveTo>
                        <a:pt x="33" y="0"/>
                      </a:moveTo>
                      <a:lnTo>
                        <a:pt x="33" y="0"/>
                      </a:lnTo>
                      <a:lnTo>
                        <a:pt x="33" y="0"/>
                      </a:lnTo>
                      <a:close/>
                      <a:moveTo>
                        <a:pt x="33" y="0"/>
                      </a:moveTo>
                      <a:lnTo>
                        <a:pt x="33" y="0"/>
                      </a:lnTo>
                      <a:lnTo>
                        <a:pt x="33" y="0"/>
                      </a:lnTo>
                      <a:close/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19" y="3"/>
                      </a:lnTo>
                      <a:lnTo>
                        <a:pt x="33" y="0"/>
                      </a:lnTo>
                      <a:lnTo>
                        <a:pt x="33" y="0"/>
                      </a:lnTo>
                      <a:lnTo>
                        <a:pt x="19" y="3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30" name="Freeform 482"/>
                <p:cNvSpPr>
                  <a:spLocks/>
                </p:cNvSpPr>
                <p:nvPr/>
              </p:nvSpPr>
              <p:spPr bwMode="auto">
                <a:xfrm>
                  <a:off x="4513633" y="301640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31" name="Freeform 483"/>
                <p:cNvSpPr>
                  <a:spLocks/>
                </p:cNvSpPr>
                <p:nvPr/>
              </p:nvSpPr>
              <p:spPr bwMode="auto">
                <a:xfrm>
                  <a:off x="4513633" y="301640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32" name="Line 484"/>
                <p:cNvSpPr>
                  <a:spLocks noChangeShapeType="1"/>
                </p:cNvSpPr>
                <p:nvPr/>
              </p:nvSpPr>
              <p:spPr bwMode="auto">
                <a:xfrm>
                  <a:off x="4513633" y="3016403"/>
                  <a:ext cx="0" cy="0"/>
                </a:xfrm>
                <a:prstGeom prst="line">
                  <a:avLst/>
                </a:pr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33" name="Freeform 485"/>
                <p:cNvSpPr>
                  <a:spLocks/>
                </p:cNvSpPr>
                <p:nvPr/>
              </p:nvSpPr>
              <p:spPr bwMode="auto">
                <a:xfrm>
                  <a:off x="4513633" y="301640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34" name="Freeform 486"/>
                <p:cNvSpPr>
                  <a:spLocks/>
                </p:cNvSpPr>
                <p:nvPr/>
              </p:nvSpPr>
              <p:spPr bwMode="auto">
                <a:xfrm>
                  <a:off x="4513633" y="301640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35" name="Freeform 487"/>
                <p:cNvSpPr>
                  <a:spLocks/>
                </p:cNvSpPr>
                <p:nvPr/>
              </p:nvSpPr>
              <p:spPr bwMode="auto">
                <a:xfrm>
                  <a:off x="4513633" y="301640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36" name="Freeform 488"/>
                <p:cNvSpPr>
                  <a:spLocks/>
                </p:cNvSpPr>
                <p:nvPr/>
              </p:nvSpPr>
              <p:spPr bwMode="auto">
                <a:xfrm>
                  <a:off x="4480988" y="3016403"/>
                  <a:ext cx="32646" cy="5936"/>
                </a:xfrm>
                <a:custGeom>
                  <a:avLst/>
                  <a:gdLst>
                    <a:gd name="T0" fmla="*/ 0 w 33"/>
                    <a:gd name="T1" fmla="*/ 6 h 6"/>
                    <a:gd name="T2" fmla="*/ 0 w 33"/>
                    <a:gd name="T3" fmla="*/ 6 h 6"/>
                    <a:gd name="T4" fmla="*/ 0 w 33"/>
                    <a:gd name="T5" fmla="*/ 6 h 6"/>
                    <a:gd name="T6" fmla="*/ 19 w 33"/>
                    <a:gd name="T7" fmla="*/ 3 h 6"/>
                    <a:gd name="T8" fmla="*/ 33 w 33"/>
                    <a:gd name="T9" fmla="*/ 0 h 6"/>
                    <a:gd name="T10" fmla="*/ 33 w 33"/>
                    <a:gd name="T11" fmla="*/ 0 h 6"/>
                    <a:gd name="T12" fmla="*/ 19 w 33"/>
                    <a:gd name="T13" fmla="*/ 3 h 6"/>
                    <a:gd name="T14" fmla="*/ 0 w 33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3" h="6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19" y="3"/>
                      </a:lnTo>
                      <a:lnTo>
                        <a:pt x="33" y="0"/>
                      </a:lnTo>
                      <a:lnTo>
                        <a:pt x="33" y="0"/>
                      </a:lnTo>
                      <a:lnTo>
                        <a:pt x="19" y="3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37" name="Freeform 489"/>
                <p:cNvSpPr>
                  <a:spLocks noEditPoints="1"/>
                </p:cNvSpPr>
                <p:nvPr/>
              </p:nvSpPr>
              <p:spPr bwMode="auto">
                <a:xfrm>
                  <a:off x="4472085" y="3108405"/>
                  <a:ext cx="156303" cy="35613"/>
                </a:xfrm>
                <a:custGeom>
                  <a:avLst/>
                  <a:gdLst>
                    <a:gd name="T0" fmla="*/ 26 w 158"/>
                    <a:gd name="T1" fmla="*/ 3 h 36"/>
                    <a:gd name="T2" fmla="*/ 25 w 158"/>
                    <a:gd name="T3" fmla="*/ 3 h 36"/>
                    <a:gd name="T4" fmla="*/ 26 w 158"/>
                    <a:gd name="T5" fmla="*/ 3 h 36"/>
                    <a:gd name="T6" fmla="*/ 60 w 158"/>
                    <a:gd name="T7" fmla="*/ 7 h 36"/>
                    <a:gd name="T8" fmla="*/ 57 w 158"/>
                    <a:gd name="T9" fmla="*/ 7 h 36"/>
                    <a:gd name="T10" fmla="*/ 57 w 158"/>
                    <a:gd name="T11" fmla="*/ 7 h 36"/>
                    <a:gd name="T12" fmla="*/ 55 w 158"/>
                    <a:gd name="T13" fmla="*/ 7 h 36"/>
                    <a:gd name="T14" fmla="*/ 55 w 158"/>
                    <a:gd name="T15" fmla="*/ 7 h 36"/>
                    <a:gd name="T16" fmla="*/ 55 w 158"/>
                    <a:gd name="T17" fmla="*/ 7 h 36"/>
                    <a:gd name="T18" fmla="*/ 55 w 158"/>
                    <a:gd name="T19" fmla="*/ 7 h 36"/>
                    <a:gd name="T20" fmla="*/ 55 w 158"/>
                    <a:gd name="T21" fmla="*/ 7 h 36"/>
                    <a:gd name="T22" fmla="*/ 55 w 158"/>
                    <a:gd name="T23" fmla="*/ 9 h 36"/>
                    <a:gd name="T24" fmla="*/ 55 w 158"/>
                    <a:gd name="T25" fmla="*/ 9 h 36"/>
                    <a:gd name="T26" fmla="*/ 54 w 158"/>
                    <a:gd name="T27" fmla="*/ 9 h 36"/>
                    <a:gd name="T28" fmla="*/ 141 w 158"/>
                    <a:gd name="T29" fmla="*/ 9 h 36"/>
                    <a:gd name="T30" fmla="*/ 150 w 158"/>
                    <a:gd name="T31" fmla="*/ 6 h 36"/>
                    <a:gd name="T32" fmla="*/ 158 w 158"/>
                    <a:gd name="T33" fmla="*/ 0 h 36"/>
                    <a:gd name="T34" fmla="*/ 141 w 158"/>
                    <a:gd name="T35" fmla="*/ 9 h 36"/>
                    <a:gd name="T36" fmla="*/ 141 w 158"/>
                    <a:gd name="T37" fmla="*/ 9 h 36"/>
                    <a:gd name="T38" fmla="*/ 108 w 158"/>
                    <a:gd name="T39" fmla="*/ 9 h 36"/>
                    <a:gd name="T40" fmla="*/ 52 w 158"/>
                    <a:gd name="T41" fmla="*/ 9 h 36"/>
                    <a:gd name="T42" fmla="*/ 52 w 158"/>
                    <a:gd name="T43" fmla="*/ 9 h 36"/>
                    <a:gd name="T44" fmla="*/ 52 w 158"/>
                    <a:gd name="T45" fmla="*/ 10 h 36"/>
                    <a:gd name="T46" fmla="*/ 52 w 158"/>
                    <a:gd name="T47" fmla="*/ 10 h 36"/>
                    <a:gd name="T48" fmla="*/ 108 w 158"/>
                    <a:gd name="T49" fmla="*/ 9 h 36"/>
                    <a:gd name="T50" fmla="*/ 51 w 158"/>
                    <a:gd name="T51" fmla="*/ 10 h 36"/>
                    <a:gd name="T52" fmla="*/ 51 w 158"/>
                    <a:gd name="T53" fmla="*/ 10 h 36"/>
                    <a:gd name="T54" fmla="*/ 102 w 158"/>
                    <a:gd name="T55" fmla="*/ 10 h 36"/>
                    <a:gd name="T56" fmla="*/ 102 w 158"/>
                    <a:gd name="T57" fmla="*/ 10 h 36"/>
                    <a:gd name="T58" fmla="*/ 102 w 158"/>
                    <a:gd name="T59" fmla="*/ 10 h 36"/>
                    <a:gd name="T60" fmla="*/ 121 w 158"/>
                    <a:gd name="T61" fmla="*/ 10 h 36"/>
                    <a:gd name="T62" fmla="*/ 119 w 158"/>
                    <a:gd name="T63" fmla="*/ 10 h 36"/>
                    <a:gd name="T64" fmla="*/ 121 w 158"/>
                    <a:gd name="T65" fmla="*/ 10 h 36"/>
                    <a:gd name="T66" fmla="*/ 121 w 158"/>
                    <a:gd name="T67" fmla="*/ 10 h 36"/>
                    <a:gd name="T68" fmla="*/ 41 w 158"/>
                    <a:gd name="T69" fmla="*/ 12 h 36"/>
                    <a:gd name="T70" fmla="*/ 41 w 158"/>
                    <a:gd name="T71" fmla="*/ 12 h 36"/>
                    <a:gd name="T72" fmla="*/ 41 w 158"/>
                    <a:gd name="T73" fmla="*/ 12 h 36"/>
                    <a:gd name="T74" fmla="*/ 73 w 158"/>
                    <a:gd name="T75" fmla="*/ 12 h 36"/>
                    <a:gd name="T76" fmla="*/ 71 w 158"/>
                    <a:gd name="T77" fmla="*/ 12 h 36"/>
                    <a:gd name="T78" fmla="*/ 125 w 158"/>
                    <a:gd name="T79" fmla="*/ 12 h 36"/>
                    <a:gd name="T80" fmla="*/ 139 w 158"/>
                    <a:gd name="T81" fmla="*/ 9 h 36"/>
                    <a:gd name="T82" fmla="*/ 125 w 158"/>
                    <a:gd name="T83" fmla="*/ 12 h 36"/>
                    <a:gd name="T84" fmla="*/ 47 w 158"/>
                    <a:gd name="T85" fmla="*/ 12 h 36"/>
                    <a:gd name="T86" fmla="*/ 50 w 158"/>
                    <a:gd name="T87" fmla="*/ 10 h 36"/>
                    <a:gd name="T88" fmla="*/ 45 w 158"/>
                    <a:gd name="T89" fmla="*/ 12 h 36"/>
                    <a:gd name="T90" fmla="*/ 45 w 158"/>
                    <a:gd name="T91" fmla="*/ 12 h 36"/>
                    <a:gd name="T92" fmla="*/ 45 w 158"/>
                    <a:gd name="T93" fmla="*/ 12 h 36"/>
                    <a:gd name="T94" fmla="*/ 73 w 158"/>
                    <a:gd name="T95" fmla="*/ 12 h 36"/>
                    <a:gd name="T96" fmla="*/ 44 w 158"/>
                    <a:gd name="T97" fmla="*/ 12 h 36"/>
                    <a:gd name="T98" fmla="*/ 2 w 158"/>
                    <a:gd name="T99" fmla="*/ 13 h 36"/>
                    <a:gd name="T100" fmla="*/ 5 w 158"/>
                    <a:gd name="T101" fmla="*/ 9 h 36"/>
                    <a:gd name="T102" fmla="*/ 25 w 158"/>
                    <a:gd name="T103" fmla="*/ 3 h 36"/>
                    <a:gd name="T104" fmla="*/ 3 w 158"/>
                    <a:gd name="T105" fmla="*/ 10 h 36"/>
                    <a:gd name="T106" fmla="*/ 83 w 158"/>
                    <a:gd name="T107" fmla="*/ 15 h 36"/>
                    <a:gd name="T108" fmla="*/ 102 w 158"/>
                    <a:gd name="T109" fmla="*/ 10 h 36"/>
                    <a:gd name="T110" fmla="*/ 83 w 158"/>
                    <a:gd name="T111" fmla="*/ 15 h 36"/>
                    <a:gd name="T112" fmla="*/ 2 w 158"/>
                    <a:gd name="T113" fmla="*/ 36 h 36"/>
                    <a:gd name="T114" fmla="*/ 0 w 158"/>
                    <a:gd name="T115" fmla="*/ 25 h 36"/>
                    <a:gd name="T116" fmla="*/ 0 w 158"/>
                    <a:gd name="T117" fmla="*/ 25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58" h="36">
                      <a:moveTo>
                        <a:pt x="26" y="3"/>
                      </a:moveTo>
                      <a:lnTo>
                        <a:pt x="26" y="3"/>
                      </a:lnTo>
                      <a:lnTo>
                        <a:pt x="26" y="3"/>
                      </a:lnTo>
                      <a:lnTo>
                        <a:pt x="26" y="3"/>
                      </a:lnTo>
                      <a:lnTo>
                        <a:pt x="26" y="3"/>
                      </a:lnTo>
                      <a:close/>
                      <a:moveTo>
                        <a:pt x="25" y="3"/>
                      </a:moveTo>
                      <a:lnTo>
                        <a:pt x="25" y="3"/>
                      </a:lnTo>
                      <a:lnTo>
                        <a:pt x="26" y="3"/>
                      </a:lnTo>
                      <a:lnTo>
                        <a:pt x="26" y="3"/>
                      </a:lnTo>
                      <a:lnTo>
                        <a:pt x="25" y="3"/>
                      </a:lnTo>
                      <a:close/>
                      <a:moveTo>
                        <a:pt x="60" y="7"/>
                      </a:moveTo>
                      <a:lnTo>
                        <a:pt x="60" y="7"/>
                      </a:lnTo>
                      <a:lnTo>
                        <a:pt x="60" y="7"/>
                      </a:lnTo>
                      <a:close/>
                      <a:moveTo>
                        <a:pt x="57" y="7"/>
                      </a:moveTo>
                      <a:lnTo>
                        <a:pt x="57" y="7"/>
                      </a:lnTo>
                      <a:lnTo>
                        <a:pt x="60" y="7"/>
                      </a:lnTo>
                      <a:lnTo>
                        <a:pt x="60" y="7"/>
                      </a:lnTo>
                      <a:lnTo>
                        <a:pt x="57" y="7"/>
                      </a:lnTo>
                      <a:close/>
                      <a:moveTo>
                        <a:pt x="55" y="7"/>
                      </a:moveTo>
                      <a:lnTo>
                        <a:pt x="55" y="7"/>
                      </a:lnTo>
                      <a:lnTo>
                        <a:pt x="55" y="7"/>
                      </a:lnTo>
                      <a:lnTo>
                        <a:pt x="55" y="7"/>
                      </a:lnTo>
                      <a:lnTo>
                        <a:pt x="55" y="7"/>
                      </a:lnTo>
                      <a:lnTo>
                        <a:pt x="55" y="7"/>
                      </a:lnTo>
                      <a:close/>
                      <a:moveTo>
                        <a:pt x="55" y="7"/>
                      </a:moveTo>
                      <a:lnTo>
                        <a:pt x="55" y="7"/>
                      </a:lnTo>
                      <a:lnTo>
                        <a:pt x="55" y="7"/>
                      </a:lnTo>
                      <a:lnTo>
                        <a:pt x="55" y="7"/>
                      </a:lnTo>
                      <a:lnTo>
                        <a:pt x="55" y="7"/>
                      </a:lnTo>
                      <a:close/>
                      <a:moveTo>
                        <a:pt x="55" y="7"/>
                      </a:moveTo>
                      <a:lnTo>
                        <a:pt x="55" y="7"/>
                      </a:lnTo>
                      <a:lnTo>
                        <a:pt x="55" y="7"/>
                      </a:lnTo>
                      <a:lnTo>
                        <a:pt x="55" y="7"/>
                      </a:lnTo>
                      <a:lnTo>
                        <a:pt x="55" y="7"/>
                      </a:lnTo>
                      <a:close/>
                      <a:moveTo>
                        <a:pt x="55" y="9"/>
                      </a:moveTo>
                      <a:lnTo>
                        <a:pt x="55" y="9"/>
                      </a:lnTo>
                      <a:lnTo>
                        <a:pt x="55" y="9"/>
                      </a:lnTo>
                      <a:lnTo>
                        <a:pt x="55" y="9"/>
                      </a:lnTo>
                      <a:lnTo>
                        <a:pt x="55" y="9"/>
                      </a:lnTo>
                      <a:close/>
                      <a:moveTo>
                        <a:pt x="54" y="9"/>
                      </a:moveTo>
                      <a:lnTo>
                        <a:pt x="54" y="9"/>
                      </a:lnTo>
                      <a:lnTo>
                        <a:pt x="54" y="9"/>
                      </a:lnTo>
                      <a:lnTo>
                        <a:pt x="54" y="9"/>
                      </a:lnTo>
                      <a:lnTo>
                        <a:pt x="54" y="9"/>
                      </a:lnTo>
                      <a:close/>
                      <a:moveTo>
                        <a:pt x="141" y="9"/>
                      </a:moveTo>
                      <a:lnTo>
                        <a:pt x="141" y="9"/>
                      </a:lnTo>
                      <a:lnTo>
                        <a:pt x="141" y="9"/>
                      </a:lnTo>
                      <a:lnTo>
                        <a:pt x="150" y="6"/>
                      </a:lnTo>
                      <a:lnTo>
                        <a:pt x="158" y="0"/>
                      </a:lnTo>
                      <a:lnTo>
                        <a:pt x="158" y="0"/>
                      </a:lnTo>
                      <a:lnTo>
                        <a:pt x="158" y="0"/>
                      </a:lnTo>
                      <a:lnTo>
                        <a:pt x="158" y="0"/>
                      </a:lnTo>
                      <a:lnTo>
                        <a:pt x="150" y="6"/>
                      </a:lnTo>
                      <a:lnTo>
                        <a:pt x="141" y="9"/>
                      </a:lnTo>
                      <a:close/>
                      <a:moveTo>
                        <a:pt x="141" y="9"/>
                      </a:moveTo>
                      <a:lnTo>
                        <a:pt x="141" y="9"/>
                      </a:lnTo>
                      <a:lnTo>
                        <a:pt x="141" y="9"/>
                      </a:lnTo>
                      <a:lnTo>
                        <a:pt x="141" y="9"/>
                      </a:lnTo>
                      <a:lnTo>
                        <a:pt x="141" y="9"/>
                      </a:lnTo>
                      <a:close/>
                      <a:moveTo>
                        <a:pt x="108" y="9"/>
                      </a:moveTo>
                      <a:lnTo>
                        <a:pt x="108" y="9"/>
                      </a:lnTo>
                      <a:lnTo>
                        <a:pt x="108" y="9"/>
                      </a:lnTo>
                      <a:close/>
                      <a:moveTo>
                        <a:pt x="52" y="9"/>
                      </a:moveTo>
                      <a:lnTo>
                        <a:pt x="52" y="9"/>
                      </a:lnTo>
                      <a:lnTo>
                        <a:pt x="52" y="9"/>
                      </a:lnTo>
                      <a:lnTo>
                        <a:pt x="52" y="9"/>
                      </a:lnTo>
                      <a:lnTo>
                        <a:pt x="52" y="9"/>
                      </a:lnTo>
                      <a:close/>
                      <a:moveTo>
                        <a:pt x="52" y="10"/>
                      </a:move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52" y="10"/>
                      </a:lnTo>
                      <a:close/>
                      <a:moveTo>
                        <a:pt x="102" y="10"/>
                      </a:moveTo>
                      <a:lnTo>
                        <a:pt x="102" y="10"/>
                      </a:lnTo>
                      <a:lnTo>
                        <a:pt x="108" y="9"/>
                      </a:lnTo>
                      <a:lnTo>
                        <a:pt x="108" y="9"/>
                      </a:lnTo>
                      <a:lnTo>
                        <a:pt x="102" y="10"/>
                      </a:lnTo>
                      <a:close/>
                      <a:moveTo>
                        <a:pt x="51" y="10"/>
                      </a:moveTo>
                      <a:lnTo>
                        <a:pt x="51" y="10"/>
                      </a:lnTo>
                      <a:lnTo>
                        <a:pt x="51" y="10"/>
                      </a:lnTo>
                      <a:lnTo>
                        <a:pt x="51" y="10"/>
                      </a:lnTo>
                      <a:lnTo>
                        <a:pt x="51" y="10"/>
                      </a:lnTo>
                      <a:close/>
                      <a:moveTo>
                        <a:pt x="102" y="10"/>
                      </a:moveTo>
                      <a:lnTo>
                        <a:pt x="102" y="10"/>
                      </a:lnTo>
                      <a:lnTo>
                        <a:pt x="102" y="10"/>
                      </a:lnTo>
                      <a:lnTo>
                        <a:pt x="102" y="10"/>
                      </a:lnTo>
                      <a:lnTo>
                        <a:pt x="102" y="10"/>
                      </a:lnTo>
                      <a:close/>
                      <a:moveTo>
                        <a:pt x="102" y="10"/>
                      </a:moveTo>
                      <a:lnTo>
                        <a:pt x="102" y="10"/>
                      </a:lnTo>
                      <a:lnTo>
                        <a:pt x="102" y="10"/>
                      </a:lnTo>
                      <a:lnTo>
                        <a:pt x="102" y="10"/>
                      </a:lnTo>
                      <a:lnTo>
                        <a:pt x="102" y="10"/>
                      </a:lnTo>
                      <a:close/>
                      <a:moveTo>
                        <a:pt x="121" y="10"/>
                      </a:moveTo>
                      <a:lnTo>
                        <a:pt x="121" y="10"/>
                      </a:lnTo>
                      <a:lnTo>
                        <a:pt x="119" y="10"/>
                      </a:lnTo>
                      <a:lnTo>
                        <a:pt x="119" y="10"/>
                      </a:lnTo>
                      <a:lnTo>
                        <a:pt x="121" y="10"/>
                      </a:lnTo>
                      <a:close/>
                      <a:moveTo>
                        <a:pt x="121" y="10"/>
                      </a:moveTo>
                      <a:lnTo>
                        <a:pt x="121" y="10"/>
                      </a:lnTo>
                      <a:lnTo>
                        <a:pt x="121" y="10"/>
                      </a:lnTo>
                      <a:lnTo>
                        <a:pt x="121" y="10"/>
                      </a:lnTo>
                      <a:lnTo>
                        <a:pt x="121" y="10"/>
                      </a:lnTo>
                      <a:close/>
                      <a:moveTo>
                        <a:pt x="121" y="12"/>
                      </a:moveTo>
                      <a:lnTo>
                        <a:pt x="121" y="12"/>
                      </a:lnTo>
                      <a:close/>
                      <a:moveTo>
                        <a:pt x="41" y="12"/>
                      </a:moveTo>
                      <a:lnTo>
                        <a:pt x="41" y="12"/>
                      </a:lnTo>
                      <a:lnTo>
                        <a:pt x="41" y="12"/>
                      </a:lnTo>
                      <a:lnTo>
                        <a:pt x="41" y="12"/>
                      </a:lnTo>
                      <a:lnTo>
                        <a:pt x="41" y="10"/>
                      </a:lnTo>
                      <a:lnTo>
                        <a:pt x="41" y="10"/>
                      </a:lnTo>
                      <a:lnTo>
                        <a:pt x="41" y="12"/>
                      </a:lnTo>
                      <a:lnTo>
                        <a:pt x="41" y="12"/>
                      </a:lnTo>
                      <a:lnTo>
                        <a:pt x="41" y="12"/>
                      </a:lnTo>
                      <a:close/>
                      <a:moveTo>
                        <a:pt x="73" y="12"/>
                      </a:moveTo>
                      <a:lnTo>
                        <a:pt x="73" y="12"/>
                      </a:lnTo>
                      <a:lnTo>
                        <a:pt x="71" y="12"/>
                      </a:lnTo>
                      <a:lnTo>
                        <a:pt x="71" y="12"/>
                      </a:lnTo>
                      <a:lnTo>
                        <a:pt x="73" y="12"/>
                      </a:lnTo>
                      <a:close/>
                      <a:moveTo>
                        <a:pt x="125" y="12"/>
                      </a:moveTo>
                      <a:lnTo>
                        <a:pt x="125" y="12"/>
                      </a:lnTo>
                      <a:lnTo>
                        <a:pt x="134" y="10"/>
                      </a:lnTo>
                      <a:lnTo>
                        <a:pt x="139" y="9"/>
                      </a:lnTo>
                      <a:lnTo>
                        <a:pt x="139" y="9"/>
                      </a:lnTo>
                      <a:lnTo>
                        <a:pt x="134" y="10"/>
                      </a:lnTo>
                      <a:lnTo>
                        <a:pt x="125" y="12"/>
                      </a:lnTo>
                      <a:close/>
                      <a:moveTo>
                        <a:pt x="125" y="12"/>
                      </a:moveTo>
                      <a:lnTo>
                        <a:pt x="125" y="12"/>
                      </a:lnTo>
                      <a:lnTo>
                        <a:pt x="125" y="12"/>
                      </a:lnTo>
                      <a:close/>
                      <a:moveTo>
                        <a:pt x="47" y="12"/>
                      </a:moveTo>
                      <a:lnTo>
                        <a:pt x="47" y="12"/>
                      </a:lnTo>
                      <a:lnTo>
                        <a:pt x="50" y="10"/>
                      </a:lnTo>
                      <a:lnTo>
                        <a:pt x="50" y="10"/>
                      </a:lnTo>
                      <a:lnTo>
                        <a:pt x="47" y="12"/>
                      </a:lnTo>
                      <a:close/>
                      <a:moveTo>
                        <a:pt x="45" y="12"/>
                      </a:moveTo>
                      <a:lnTo>
                        <a:pt x="45" y="12"/>
                      </a:lnTo>
                      <a:lnTo>
                        <a:pt x="47" y="12"/>
                      </a:lnTo>
                      <a:lnTo>
                        <a:pt x="47" y="12"/>
                      </a:lnTo>
                      <a:lnTo>
                        <a:pt x="45" y="12"/>
                      </a:lnTo>
                      <a:close/>
                      <a:moveTo>
                        <a:pt x="45" y="12"/>
                      </a:moveTo>
                      <a:lnTo>
                        <a:pt x="45" y="12"/>
                      </a:lnTo>
                      <a:lnTo>
                        <a:pt x="45" y="12"/>
                      </a:lnTo>
                      <a:lnTo>
                        <a:pt x="45" y="12"/>
                      </a:lnTo>
                      <a:lnTo>
                        <a:pt x="45" y="12"/>
                      </a:lnTo>
                      <a:close/>
                      <a:moveTo>
                        <a:pt x="73" y="12"/>
                      </a:moveTo>
                      <a:lnTo>
                        <a:pt x="73" y="12"/>
                      </a:lnTo>
                      <a:close/>
                      <a:moveTo>
                        <a:pt x="44" y="12"/>
                      </a:moveTo>
                      <a:lnTo>
                        <a:pt x="44" y="12"/>
                      </a:lnTo>
                      <a:lnTo>
                        <a:pt x="44" y="12"/>
                      </a:lnTo>
                      <a:close/>
                      <a:moveTo>
                        <a:pt x="2" y="13"/>
                      </a:moveTo>
                      <a:lnTo>
                        <a:pt x="2" y="13"/>
                      </a:lnTo>
                      <a:lnTo>
                        <a:pt x="2" y="13"/>
                      </a:lnTo>
                      <a:lnTo>
                        <a:pt x="3" y="10"/>
                      </a:lnTo>
                      <a:lnTo>
                        <a:pt x="5" y="9"/>
                      </a:lnTo>
                      <a:lnTo>
                        <a:pt x="12" y="6"/>
                      </a:lnTo>
                      <a:lnTo>
                        <a:pt x="25" y="3"/>
                      </a:lnTo>
                      <a:lnTo>
                        <a:pt x="25" y="3"/>
                      </a:lnTo>
                      <a:lnTo>
                        <a:pt x="12" y="6"/>
                      </a:lnTo>
                      <a:lnTo>
                        <a:pt x="5" y="9"/>
                      </a:lnTo>
                      <a:lnTo>
                        <a:pt x="3" y="10"/>
                      </a:lnTo>
                      <a:lnTo>
                        <a:pt x="2" y="13"/>
                      </a:lnTo>
                      <a:close/>
                      <a:moveTo>
                        <a:pt x="83" y="15"/>
                      </a:moveTo>
                      <a:lnTo>
                        <a:pt x="83" y="15"/>
                      </a:lnTo>
                      <a:lnTo>
                        <a:pt x="94" y="13"/>
                      </a:lnTo>
                      <a:lnTo>
                        <a:pt x="102" y="10"/>
                      </a:lnTo>
                      <a:lnTo>
                        <a:pt x="102" y="10"/>
                      </a:lnTo>
                      <a:lnTo>
                        <a:pt x="94" y="13"/>
                      </a:lnTo>
                      <a:lnTo>
                        <a:pt x="83" y="15"/>
                      </a:lnTo>
                      <a:close/>
                      <a:moveTo>
                        <a:pt x="83" y="15"/>
                      </a:moveTo>
                      <a:lnTo>
                        <a:pt x="83" y="15"/>
                      </a:lnTo>
                      <a:lnTo>
                        <a:pt x="83" y="15"/>
                      </a:lnTo>
                      <a:close/>
                      <a:moveTo>
                        <a:pt x="2" y="36"/>
                      </a:moveTo>
                      <a:lnTo>
                        <a:pt x="2" y="36"/>
                      </a:lnTo>
                      <a:lnTo>
                        <a:pt x="2" y="36"/>
                      </a:lnTo>
                      <a:lnTo>
                        <a:pt x="0" y="25"/>
                      </a:lnTo>
                      <a:lnTo>
                        <a:pt x="2" y="16"/>
                      </a:lnTo>
                      <a:lnTo>
                        <a:pt x="2" y="16"/>
                      </a:lnTo>
                      <a:lnTo>
                        <a:pt x="0" y="25"/>
                      </a:lnTo>
                      <a:lnTo>
                        <a:pt x="2" y="3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38" name="Rectangle 490"/>
                <p:cNvSpPr>
                  <a:spLocks noChangeArrowheads="1"/>
                </p:cNvSpPr>
                <p:nvPr/>
              </p:nvSpPr>
              <p:spPr bwMode="auto">
                <a:xfrm>
                  <a:off x="4497805" y="3111372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39" name="Rectangle 491"/>
                <p:cNvSpPr>
                  <a:spLocks noChangeArrowheads="1"/>
                </p:cNvSpPr>
                <p:nvPr/>
              </p:nvSpPr>
              <p:spPr bwMode="auto">
                <a:xfrm>
                  <a:off x="4496816" y="3111372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40" name="Freeform 492"/>
                <p:cNvSpPr>
                  <a:spLocks/>
                </p:cNvSpPr>
                <p:nvPr/>
              </p:nvSpPr>
              <p:spPr bwMode="auto">
                <a:xfrm>
                  <a:off x="4531440" y="311532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41" name="Rectangle 493"/>
                <p:cNvSpPr>
                  <a:spLocks noChangeArrowheads="1"/>
                </p:cNvSpPr>
                <p:nvPr/>
              </p:nvSpPr>
              <p:spPr bwMode="auto">
                <a:xfrm>
                  <a:off x="4528472" y="3115329"/>
                  <a:ext cx="2968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42" name="Freeform 494"/>
                <p:cNvSpPr>
                  <a:spLocks/>
                </p:cNvSpPr>
                <p:nvPr/>
              </p:nvSpPr>
              <p:spPr bwMode="auto">
                <a:xfrm>
                  <a:off x="4526494" y="311532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43" name="Rectangle 495"/>
                <p:cNvSpPr>
                  <a:spLocks noChangeArrowheads="1"/>
                </p:cNvSpPr>
                <p:nvPr/>
              </p:nvSpPr>
              <p:spPr bwMode="auto">
                <a:xfrm>
                  <a:off x="4526494" y="3115329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44" name="Rectangle 496"/>
                <p:cNvSpPr>
                  <a:spLocks noChangeArrowheads="1"/>
                </p:cNvSpPr>
                <p:nvPr/>
              </p:nvSpPr>
              <p:spPr bwMode="auto">
                <a:xfrm>
                  <a:off x="4526494" y="3115329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45" name="Rectangle 497"/>
                <p:cNvSpPr>
                  <a:spLocks noChangeArrowheads="1"/>
                </p:cNvSpPr>
                <p:nvPr/>
              </p:nvSpPr>
              <p:spPr bwMode="auto">
                <a:xfrm>
                  <a:off x="4526494" y="3117308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46" name="Rectangle 498"/>
                <p:cNvSpPr>
                  <a:spLocks noChangeArrowheads="1"/>
                </p:cNvSpPr>
                <p:nvPr/>
              </p:nvSpPr>
              <p:spPr bwMode="auto">
                <a:xfrm>
                  <a:off x="4525505" y="3117308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47" name="Freeform 499"/>
                <p:cNvSpPr>
                  <a:spLocks/>
                </p:cNvSpPr>
                <p:nvPr/>
              </p:nvSpPr>
              <p:spPr bwMode="auto">
                <a:xfrm>
                  <a:off x="4611570" y="3108405"/>
                  <a:ext cx="16817" cy="8903"/>
                </a:xfrm>
                <a:custGeom>
                  <a:avLst/>
                  <a:gdLst>
                    <a:gd name="T0" fmla="*/ 0 w 17"/>
                    <a:gd name="T1" fmla="*/ 9 h 9"/>
                    <a:gd name="T2" fmla="*/ 0 w 17"/>
                    <a:gd name="T3" fmla="*/ 9 h 9"/>
                    <a:gd name="T4" fmla="*/ 0 w 17"/>
                    <a:gd name="T5" fmla="*/ 9 h 9"/>
                    <a:gd name="T6" fmla="*/ 9 w 17"/>
                    <a:gd name="T7" fmla="*/ 6 h 9"/>
                    <a:gd name="T8" fmla="*/ 17 w 17"/>
                    <a:gd name="T9" fmla="*/ 0 h 9"/>
                    <a:gd name="T10" fmla="*/ 17 w 17"/>
                    <a:gd name="T11" fmla="*/ 0 h 9"/>
                    <a:gd name="T12" fmla="*/ 17 w 17"/>
                    <a:gd name="T13" fmla="*/ 0 h 9"/>
                    <a:gd name="T14" fmla="*/ 17 w 17"/>
                    <a:gd name="T15" fmla="*/ 0 h 9"/>
                    <a:gd name="T16" fmla="*/ 9 w 17"/>
                    <a:gd name="T17" fmla="*/ 6 h 9"/>
                    <a:gd name="T18" fmla="*/ 0 w 17"/>
                    <a:gd name="T19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7" h="9">
                      <a:moveTo>
                        <a:pt x="0" y="9"/>
                      </a:moveTo>
                      <a:lnTo>
                        <a:pt x="0" y="9"/>
                      </a:lnTo>
                      <a:lnTo>
                        <a:pt x="0" y="9"/>
                      </a:lnTo>
                      <a:lnTo>
                        <a:pt x="9" y="6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9" y="6"/>
                      </a:lnTo>
                      <a:lnTo>
                        <a:pt x="0" y="9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48" name="Rectangle 500"/>
                <p:cNvSpPr>
                  <a:spLocks noChangeArrowheads="1"/>
                </p:cNvSpPr>
                <p:nvPr/>
              </p:nvSpPr>
              <p:spPr bwMode="auto">
                <a:xfrm>
                  <a:off x="4611570" y="3117308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49" name="Freeform 501"/>
                <p:cNvSpPr>
                  <a:spLocks/>
                </p:cNvSpPr>
                <p:nvPr/>
              </p:nvSpPr>
              <p:spPr bwMode="auto">
                <a:xfrm>
                  <a:off x="4578925" y="311730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50" name="Rectangle 502"/>
                <p:cNvSpPr>
                  <a:spLocks noChangeArrowheads="1"/>
                </p:cNvSpPr>
                <p:nvPr/>
              </p:nvSpPr>
              <p:spPr bwMode="auto">
                <a:xfrm>
                  <a:off x="4523526" y="3117308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51" name="Rectangle 503"/>
                <p:cNvSpPr>
                  <a:spLocks noChangeArrowheads="1"/>
                </p:cNvSpPr>
                <p:nvPr/>
              </p:nvSpPr>
              <p:spPr bwMode="auto">
                <a:xfrm>
                  <a:off x="4523526" y="311829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52" name="Freeform 504"/>
                <p:cNvSpPr>
                  <a:spLocks/>
                </p:cNvSpPr>
                <p:nvPr/>
              </p:nvSpPr>
              <p:spPr bwMode="auto">
                <a:xfrm>
                  <a:off x="4572989" y="3117308"/>
                  <a:ext cx="5936" cy="989"/>
                </a:xfrm>
                <a:custGeom>
                  <a:avLst/>
                  <a:gdLst>
                    <a:gd name="T0" fmla="*/ 0 w 6"/>
                    <a:gd name="T1" fmla="*/ 1 h 1"/>
                    <a:gd name="T2" fmla="*/ 0 w 6"/>
                    <a:gd name="T3" fmla="*/ 1 h 1"/>
                    <a:gd name="T4" fmla="*/ 6 w 6"/>
                    <a:gd name="T5" fmla="*/ 0 h 1"/>
                    <a:gd name="T6" fmla="*/ 6 w 6"/>
                    <a:gd name="T7" fmla="*/ 0 h 1"/>
                    <a:gd name="T8" fmla="*/ 0 w 6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53" name="Rectangle 505"/>
                <p:cNvSpPr>
                  <a:spLocks noChangeArrowheads="1"/>
                </p:cNvSpPr>
                <p:nvPr/>
              </p:nvSpPr>
              <p:spPr bwMode="auto">
                <a:xfrm>
                  <a:off x="4522537" y="311829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54" name="Rectangle 506"/>
                <p:cNvSpPr>
                  <a:spLocks noChangeArrowheads="1"/>
                </p:cNvSpPr>
                <p:nvPr/>
              </p:nvSpPr>
              <p:spPr bwMode="auto">
                <a:xfrm>
                  <a:off x="4572989" y="311829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55" name="Rectangle 507"/>
                <p:cNvSpPr>
                  <a:spLocks noChangeArrowheads="1"/>
                </p:cNvSpPr>
                <p:nvPr/>
              </p:nvSpPr>
              <p:spPr bwMode="auto">
                <a:xfrm>
                  <a:off x="4572989" y="311829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56" name="Rectangle 508"/>
                <p:cNvSpPr>
                  <a:spLocks noChangeArrowheads="1"/>
                </p:cNvSpPr>
                <p:nvPr/>
              </p:nvSpPr>
              <p:spPr bwMode="auto">
                <a:xfrm>
                  <a:off x="4589807" y="3118297"/>
                  <a:ext cx="197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57" name="Rectangle 509"/>
                <p:cNvSpPr>
                  <a:spLocks noChangeArrowheads="1"/>
                </p:cNvSpPr>
                <p:nvPr/>
              </p:nvSpPr>
              <p:spPr bwMode="auto">
                <a:xfrm>
                  <a:off x="4591785" y="311829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58" name="Line 510"/>
                <p:cNvSpPr>
                  <a:spLocks noChangeShapeType="1"/>
                </p:cNvSpPr>
                <p:nvPr/>
              </p:nvSpPr>
              <p:spPr bwMode="auto">
                <a:xfrm>
                  <a:off x="4591785" y="3120276"/>
                  <a:ext cx="0" cy="0"/>
                </a:xfrm>
                <a:prstGeom prst="line">
                  <a:avLst/>
                </a:pr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59" name="Freeform 511"/>
                <p:cNvSpPr>
                  <a:spLocks/>
                </p:cNvSpPr>
                <p:nvPr/>
              </p:nvSpPr>
              <p:spPr bwMode="auto">
                <a:xfrm>
                  <a:off x="4512644" y="3118297"/>
                  <a:ext cx="0" cy="1979"/>
                </a:xfrm>
                <a:custGeom>
                  <a:avLst/>
                  <a:gdLst>
                    <a:gd name="T0" fmla="*/ 2 h 2"/>
                    <a:gd name="T1" fmla="*/ 2 h 2"/>
                    <a:gd name="T2" fmla="*/ 2 h 2"/>
                    <a:gd name="T3" fmla="*/ 2 h 2"/>
                    <a:gd name="T4" fmla="*/ 0 h 2"/>
                    <a:gd name="T5" fmla="*/ 0 h 2"/>
                    <a:gd name="T6" fmla="*/ 2 h 2"/>
                    <a:gd name="T7" fmla="*/ 2 h 2"/>
                    <a:gd name="T8" fmla="*/ 2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</a:cxnLst>
                  <a:rect l="0" t="0" r="r" b="b"/>
                  <a:pathLst>
                    <a:path h="2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60" name="Rectangle 512"/>
                <p:cNvSpPr>
                  <a:spLocks noChangeArrowheads="1"/>
                </p:cNvSpPr>
                <p:nvPr/>
              </p:nvSpPr>
              <p:spPr bwMode="auto">
                <a:xfrm>
                  <a:off x="4542322" y="3120276"/>
                  <a:ext cx="197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61" name="Freeform 513"/>
                <p:cNvSpPr>
                  <a:spLocks/>
                </p:cNvSpPr>
                <p:nvPr/>
              </p:nvSpPr>
              <p:spPr bwMode="auto">
                <a:xfrm>
                  <a:off x="4595742" y="3117308"/>
                  <a:ext cx="13850" cy="2968"/>
                </a:xfrm>
                <a:custGeom>
                  <a:avLst/>
                  <a:gdLst>
                    <a:gd name="T0" fmla="*/ 0 w 14"/>
                    <a:gd name="T1" fmla="*/ 3 h 3"/>
                    <a:gd name="T2" fmla="*/ 0 w 14"/>
                    <a:gd name="T3" fmla="*/ 3 h 3"/>
                    <a:gd name="T4" fmla="*/ 9 w 14"/>
                    <a:gd name="T5" fmla="*/ 1 h 3"/>
                    <a:gd name="T6" fmla="*/ 14 w 14"/>
                    <a:gd name="T7" fmla="*/ 0 h 3"/>
                    <a:gd name="T8" fmla="*/ 14 w 14"/>
                    <a:gd name="T9" fmla="*/ 0 h 3"/>
                    <a:gd name="T10" fmla="*/ 9 w 14"/>
                    <a:gd name="T11" fmla="*/ 1 h 3"/>
                    <a:gd name="T12" fmla="*/ 0 w 14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" h="3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9" y="1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9" y="1"/>
                      </a:lnTo>
                      <a:lnTo>
                        <a:pt x="0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62" name="Freeform 514"/>
                <p:cNvSpPr>
                  <a:spLocks/>
                </p:cNvSpPr>
                <p:nvPr/>
              </p:nvSpPr>
              <p:spPr bwMode="auto">
                <a:xfrm>
                  <a:off x="4595742" y="312027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63" name="Freeform 515"/>
                <p:cNvSpPr>
                  <a:spLocks/>
                </p:cNvSpPr>
                <p:nvPr/>
              </p:nvSpPr>
              <p:spPr bwMode="auto">
                <a:xfrm>
                  <a:off x="4518580" y="3118297"/>
                  <a:ext cx="2968" cy="1979"/>
                </a:xfrm>
                <a:custGeom>
                  <a:avLst/>
                  <a:gdLst>
                    <a:gd name="T0" fmla="*/ 0 w 3"/>
                    <a:gd name="T1" fmla="*/ 2 h 2"/>
                    <a:gd name="T2" fmla="*/ 0 w 3"/>
                    <a:gd name="T3" fmla="*/ 2 h 2"/>
                    <a:gd name="T4" fmla="*/ 3 w 3"/>
                    <a:gd name="T5" fmla="*/ 0 h 2"/>
                    <a:gd name="T6" fmla="*/ 3 w 3"/>
                    <a:gd name="T7" fmla="*/ 0 h 2"/>
                    <a:gd name="T8" fmla="*/ 0 w 3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2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64" name="Rectangle 516"/>
                <p:cNvSpPr>
                  <a:spLocks noChangeArrowheads="1"/>
                </p:cNvSpPr>
                <p:nvPr/>
              </p:nvSpPr>
              <p:spPr bwMode="auto">
                <a:xfrm>
                  <a:off x="4516601" y="3120276"/>
                  <a:ext cx="197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65" name="Rectangle 517"/>
                <p:cNvSpPr>
                  <a:spLocks noChangeArrowheads="1"/>
                </p:cNvSpPr>
                <p:nvPr/>
              </p:nvSpPr>
              <p:spPr bwMode="auto">
                <a:xfrm>
                  <a:off x="4516601" y="3120276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66" name="Line 518"/>
                <p:cNvSpPr>
                  <a:spLocks noChangeShapeType="1"/>
                </p:cNvSpPr>
                <p:nvPr/>
              </p:nvSpPr>
              <p:spPr bwMode="auto">
                <a:xfrm>
                  <a:off x="4544301" y="3120276"/>
                  <a:ext cx="0" cy="0"/>
                </a:xfrm>
                <a:prstGeom prst="line">
                  <a:avLst/>
                </a:pr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67" name="Freeform 519"/>
                <p:cNvSpPr>
                  <a:spLocks/>
                </p:cNvSpPr>
                <p:nvPr/>
              </p:nvSpPr>
              <p:spPr bwMode="auto">
                <a:xfrm>
                  <a:off x="4515612" y="312027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68" name="Freeform 520"/>
                <p:cNvSpPr>
                  <a:spLocks/>
                </p:cNvSpPr>
                <p:nvPr/>
              </p:nvSpPr>
              <p:spPr bwMode="auto">
                <a:xfrm>
                  <a:off x="4474063" y="3111372"/>
                  <a:ext cx="22753" cy="9893"/>
                </a:xfrm>
                <a:custGeom>
                  <a:avLst/>
                  <a:gdLst>
                    <a:gd name="T0" fmla="*/ 0 w 23"/>
                    <a:gd name="T1" fmla="*/ 10 h 10"/>
                    <a:gd name="T2" fmla="*/ 0 w 23"/>
                    <a:gd name="T3" fmla="*/ 10 h 10"/>
                    <a:gd name="T4" fmla="*/ 0 w 23"/>
                    <a:gd name="T5" fmla="*/ 10 h 10"/>
                    <a:gd name="T6" fmla="*/ 1 w 23"/>
                    <a:gd name="T7" fmla="*/ 7 h 10"/>
                    <a:gd name="T8" fmla="*/ 3 w 23"/>
                    <a:gd name="T9" fmla="*/ 6 h 10"/>
                    <a:gd name="T10" fmla="*/ 10 w 23"/>
                    <a:gd name="T11" fmla="*/ 3 h 10"/>
                    <a:gd name="T12" fmla="*/ 23 w 23"/>
                    <a:gd name="T13" fmla="*/ 0 h 10"/>
                    <a:gd name="T14" fmla="*/ 23 w 23"/>
                    <a:gd name="T15" fmla="*/ 0 h 10"/>
                    <a:gd name="T16" fmla="*/ 10 w 23"/>
                    <a:gd name="T17" fmla="*/ 3 h 10"/>
                    <a:gd name="T18" fmla="*/ 3 w 23"/>
                    <a:gd name="T19" fmla="*/ 6 h 10"/>
                    <a:gd name="T20" fmla="*/ 1 w 23"/>
                    <a:gd name="T21" fmla="*/ 7 h 10"/>
                    <a:gd name="T22" fmla="*/ 0 w 23"/>
                    <a:gd name="T23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3" h="10">
                      <a:moveTo>
                        <a:pt x="0" y="10"/>
                      </a:move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1" y="7"/>
                      </a:lnTo>
                      <a:lnTo>
                        <a:pt x="3" y="6"/>
                      </a:lnTo>
                      <a:lnTo>
                        <a:pt x="10" y="3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10" y="3"/>
                      </a:lnTo>
                      <a:lnTo>
                        <a:pt x="3" y="6"/>
                      </a:lnTo>
                      <a:lnTo>
                        <a:pt x="1" y="7"/>
                      </a:lnTo>
                      <a:lnTo>
                        <a:pt x="0" y="1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69" name="Freeform 521"/>
                <p:cNvSpPr>
                  <a:spLocks/>
                </p:cNvSpPr>
                <p:nvPr/>
              </p:nvSpPr>
              <p:spPr bwMode="auto">
                <a:xfrm>
                  <a:off x="4554193" y="3118297"/>
                  <a:ext cx="18796" cy="4946"/>
                </a:xfrm>
                <a:custGeom>
                  <a:avLst/>
                  <a:gdLst>
                    <a:gd name="T0" fmla="*/ 0 w 19"/>
                    <a:gd name="T1" fmla="*/ 5 h 5"/>
                    <a:gd name="T2" fmla="*/ 0 w 19"/>
                    <a:gd name="T3" fmla="*/ 5 h 5"/>
                    <a:gd name="T4" fmla="*/ 11 w 19"/>
                    <a:gd name="T5" fmla="*/ 3 h 5"/>
                    <a:gd name="T6" fmla="*/ 19 w 19"/>
                    <a:gd name="T7" fmla="*/ 0 h 5"/>
                    <a:gd name="T8" fmla="*/ 19 w 19"/>
                    <a:gd name="T9" fmla="*/ 0 h 5"/>
                    <a:gd name="T10" fmla="*/ 11 w 19"/>
                    <a:gd name="T11" fmla="*/ 3 h 5"/>
                    <a:gd name="T12" fmla="*/ 0 w 19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" h="5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11" y="3"/>
                      </a:lnTo>
                      <a:lnTo>
                        <a:pt x="19" y="0"/>
                      </a:lnTo>
                      <a:lnTo>
                        <a:pt x="19" y="0"/>
                      </a:lnTo>
                      <a:lnTo>
                        <a:pt x="11" y="3"/>
                      </a:lnTo>
                      <a:lnTo>
                        <a:pt x="0" y="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70" name="Freeform 522"/>
                <p:cNvSpPr>
                  <a:spLocks/>
                </p:cNvSpPr>
                <p:nvPr/>
              </p:nvSpPr>
              <p:spPr bwMode="auto">
                <a:xfrm>
                  <a:off x="4554193" y="3123244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71" name="Freeform 523"/>
                <p:cNvSpPr>
                  <a:spLocks/>
                </p:cNvSpPr>
                <p:nvPr/>
              </p:nvSpPr>
              <p:spPr bwMode="auto">
                <a:xfrm>
                  <a:off x="4472085" y="3124233"/>
                  <a:ext cx="1979" cy="19785"/>
                </a:xfrm>
                <a:custGeom>
                  <a:avLst/>
                  <a:gdLst>
                    <a:gd name="T0" fmla="*/ 2 w 2"/>
                    <a:gd name="T1" fmla="*/ 20 h 20"/>
                    <a:gd name="T2" fmla="*/ 2 w 2"/>
                    <a:gd name="T3" fmla="*/ 20 h 20"/>
                    <a:gd name="T4" fmla="*/ 2 w 2"/>
                    <a:gd name="T5" fmla="*/ 20 h 20"/>
                    <a:gd name="T6" fmla="*/ 0 w 2"/>
                    <a:gd name="T7" fmla="*/ 9 h 20"/>
                    <a:gd name="T8" fmla="*/ 2 w 2"/>
                    <a:gd name="T9" fmla="*/ 0 h 20"/>
                    <a:gd name="T10" fmla="*/ 2 w 2"/>
                    <a:gd name="T11" fmla="*/ 0 h 20"/>
                    <a:gd name="T12" fmla="*/ 0 w 2"/>
                    <a:gd name="T13" fmla="*/ 9 h 20"/>
                    <a:gd name="T14" fmla="*/ 2 w 2"/>
                    <a:gd name="T15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" h="20">
                      <a:moveTo>
                        <a:pt x="2" y="20"/>
                      </a:moveTo>
                      <a:lnTo>
                        <a:pt x="2" y="20"/>
                      </a:lnTo>
                      <a:lnTo>
                        <a:pt x="2" y="20"/>
                      </a:lnTo>
                      <a:lnTo>
                        <a:pt x="0" y="9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9"/>
                      </a:lnTo>
                      <a:lnTo>
                        <a:pt x="2" y="2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72" name="Freeform 524"/>
                <p:cNvSpPr>
                  <a:spLocks noEditPoints="1"/>
                </p:cNvSpPr>
                <p:nvPr/>
              </p:nvSpPr>
              <p:spPr bwMode="auto">
                <a:xfrm>
                  <a:off x="4451310" y="3136104"/>
                  <a:ext cx="12860" cy="3957"/>
                </a:xfrm>
                <a:custGeom>
                  <a:avLst/>
                  <a:gdLst>
                    <a:gd name="T0" fmla="*/ 7 w 13"/>
                    <a:gd name="T1" fmla="*/ 0 h 4"/>
                    <a:gd name="T2" fmla="*/ 7 w 13"/>
                    <a:gd name="T3" fmla="*/ 0 h 4"/>
                    <a:gd name="T4" fmla="*/ 7 w 13"/>
                    <a:gd name="T5" fmla="*/ 0 h 4"/>
                    <a:gd name="T6" fmla="*/ 1 w 13"/>
                    <a:gd name="T7" fmla="*/ 1 h 4"/>
                    <a:gd name="T8" fmla="*/ 1 w 13"/>
                    <a:gd name="T9" fmla="*/ 1 h 4"/>
                    <a:gd name="T10" fmla="*/ 4 w 13"/>
                    <a:gd name="T11" fmla="*/ 0 h 4"/>
                    <a:gd name="T12" fmla="*/ 7 w 13"/>
                    <a:gd name="T13" fmla="*/ 0 h 4"/>
                    <a:gd name="T14" fmla="*/ 7 w 13"/>
                    <a:gd name="T15" fmla="*/ 0 h 4"/>
                    <a:gd name="T16" fmla="*/ 4 w 13"/>
                    <a:gd name="T17" fmla="*/ 0 h 4"/>
                    <a:gd name="T18" fmla="*/ 1 w 13"/>
                    <a:gd name="T19" fmla="*/ 1 h 4"/>
                    <a:gd name="T20" fmla="*/ 1 w 13"/>
                    <a:gd name="T21" fmla="*/ 1 h 4"/>
                    <a:gd name="T22" fmla="*/ 1 w 13"/>
                    <a:gd name="T23" fmla="*/ 1 h 4"/>
                    <a:gd name="T24" fmla="*/ 13 w 13"/>
                    <a:gd name="T25" fmla="*/ 4 h 4"/>
                    <a:gd name="T26" fmla="*/ 13 w 13"/>
                    <a:gd name="T27" fmla="*/ 4 h 4"/>
                    <a:gd name="T28" fmla="*/ 13 w 13"/>
                    <a:gd name="T29" fmla="*/ 3 h 4"/>
                    <a:gd name="T30" fmla="*/ 13 w 13"/>
                    <a:gd name="T31" fmla="*/ 3 h 4"/>
                    <a:gd name="T32" fmla="*/ 13 w 13"/>
                    <a:gd name="T33" fmla="*/ 4 h 4"/>
                    <a:gd name="T34" fmla="*/ 0 w 13"/>
                    <a:gd name="T35" fmla="*/ 4 h 4"/>
                    <a:gd name="T36" fmla="*/ 0 w 13"/>
                    <a:gd name="T37" fmla="*/ 4 h 4"/>
                    <a:gd name="T38" fmla="*/ 0 w 13"/>
                    <a:gd name="T39" fmla="*/ 4 h 4"/>
                    <a:gd name="T40" fmla="*/ 1 w 13"/>
                    <a:gd name="T41" fmla="*/ 3 h 4"/>
                    <a:gd name="T42" fmla="*/ 1 w 13"/>
                    <a:gd name="T43" fmla="*/ 3 h 4"/>
                    <a:gd name="T44" fmla="*/ 0 w 13"/>
                    <a:gd name="T4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3" h="4">
                      <a:moveTo>
                        <a:pt x="7" y="0"/>
                      </a:moveTo>
                      <a:lnTo>
                        <a:pt x="7" y="0"/>
                      </a:lnTo>
                      <a:lnTo>
                        <a:pt x="7" y="0"/>
                      </a:lnTo>
                      <a:close/>
                      <a:moveTo>
                        <a:pt x="1" y="1"/>
                      </a:move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1" y="1"/>
                      </a:lnTo>
                      <a:close/>
                      <a:moveTo>
                        <a:pt x="1" y="1"/>
                      </a:moveTo>
                      <a:lnTo>
                        <a:pt x="1" y="1"/>
                      </a:lnTo>
                      <a:close/>
                      <a:moveTo>
                        <a:pt x="13" y="4"/>
                      </a:move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3" y="3"/>
                      </a:lnTo>
                      <a:lnTo>
                        <a:pt x="13" y="4"/>
                      </a:lnTo>
                      <a:close/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73" name="Freeform 525"/>
                <p:cNvSpPr>
                  <a:spLocks/>
                </p:cNvSpPr>
                <p:nvPr/>
              </p:nvSpPr>
              <p:spPr bwMode="auto">
                <a:xfrm>
                  <a:off x="4458235" y="3136104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74" name="Freeform 526"/>
                <p:cNvSpPr>
                  <a:spLocks/>
                </p:cNvSpPr>
                <p:nvPr/>
              </p:nvSpPr>
              <p:spPr bwMode="auto">
                <a:xfrm>
                  <a:off x="4452299" y="3136104"/>
                  <a:ext cx="5936" cy="989"/>
                </a:xfrm>
                <a:custGeom>
                  <a:avLst/>
                  <a:gdLst>
                    <a:gd name="T0" fmla="*/ 0 w 6"/>
                    <a:gd name="T1" fmla="*/ 1 h 1"/>
                    <a:gd name="T2" fmla="*/ 0 w 6"/>
                    <a:gd name="T3" fmla="*/ 1 h 1"/>
                    <a:gd name="T4" fmla="*/ 3 w 6"/>
                    <a:gd name="T5" fmla="*/ 0 h 1"/>
                    <a:gd name="T6" fmla="*/ 6 w 6"/>
                    <a:gd name="T7" fmla="*/ 0 h 1"/>
                    <a:gd name="T8" fmla="*/ 6 w 6"/>
                    <a:gd name="T9" fmla="*/ 0 h 1"/>
                    <a:gd name="T10" fmla="*/ 3 w 6"/>
                    <a:gd name="T11" fmla="*/ 0 h 1"/>
                    <a:gd name="T12" fmla="*/ 0 w 6"/>
                    <a:gd name="T1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75" name="Line 527"/>
                <p:cNvSpPr>
                  <a:spLocks noChangeShapeType="1"/>
                </p:cNvSpPr>
                <p:nvPr/>
              </p:nvSpPr>
              <p:spPr bwMode="auto">
                <a:xfrm>
                  <a:off x="4452299" y="3137093"/>
                  <a:ext cx="0" cy="0"/>
                </a:xfrm>
                <a:prstGeom prst="line">
                  <a:avLst/>
                </a:pr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76" name="Rectangle 528"/>
                <p:cNvSpPr>
                  <a:spLocks noChangeArrowheads="1"/>
                </p:cNvSpPr>
                <p:nvPr/>
              </p:nvSpPr>
              <p:spPr bwMode="auto">
                <a:xfrm>
                  <a:off x="4464170" y="3139072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77" name="Freeform 529"/>
                <p:cNvSpPr>
                  <a:spLocks/>
                </p:cNvSpPr>
                <p:nvPr/>
              </p:nvSpPr>
              <p:spPr bwMode="auto">
                <a:xfrm>
                  <a:off x="4451310" y="3139072"/>
                  <a:ext cx="989" cy="989"/>
                </a:xfrm>
                <a:custGeom>
                  <a:avLst/>
                  <a:gdLst>
                    <a:gd name="T0" fmla="*/ 0 w 1"/>
                    <a:gd name="T1" fmla="*/ 1 h 1"/>
                    <a:gd name="T2" fmla="*/ 0 w 1"/>
                    <a:gd name="T3" fmla="*/ 1 h 1"/>
                    <a:gd name="T4" fmla="*/ 0 w 1"/>
                    <a:gd name="T5" fmla="*/ 1 h 1"/>
                    <a:gd name="T6" fmla="*/ 1 w 1"/>
                    <a:gd name="T7" fmla="*/ 0 h 1"/>
                    <a:gd name="T8" fmla="*/ 1 w 1"/>
                    <a:gd name="T9" fmla="*/ 0 h 1"/>
                    <a:gd name="T10" fmla="*/ 0 w 1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78" name="Freeform 530"/>
                <p:cNvSpPr>
                  <a:spLocks/>
                </p:cNvSpPr>
                <p:nvPr/>
              </p:nvSpPr>
              <p:spPr bwMode="auto">
                <a:xfrm>
                  <a:off x="4321717" y="3082684"/>
                  <a:ext cx="129593" cy="90023"/>
                </a:xfrm>
                <a:custGeom>
                  <a:avLst/>
                  <a:gdLst>
                    <a:gd name="T0" fmla="*/ 50 w 131"/>
                    <a:gd name="T1" fmla="*/ 91 h 91"/>
                    <a:gd name="T2" fmla="*/ 22 w 131"/>
                    <a:gd name="T3" fmla="*/ 88 h 91"/>
                    <a:gd name="T4" fmla="*/ 18 w 131"/>
                    <a:gd name="T5" fmla="*/ 87 h 91"/>
                    <a:gd name="T6" fmla="*/ 16 w 131"/>
                    <a:gd name="T7" fmla="*/ 86 h 91"/>
                    <a:gd name="T8" fmla="*/ 6 w 131"/>
                    <a:gd name="T9" fmla="*/ 78 h 91"/>
                    <a:gd name="T10" fmla="*/ 0 w 131"/>
                    <a:gd name="T11" fmla="*/ 72 h 91"/>
                    <a:gd name="T12" fmla="*/ 0 w 131"/>
                    <a:gd name="T13" fmla="*/ 67 h 91"/>
                    <a:gd name="T14" fmla="*/ 0 w 131"/>
                    <a:gd name="T15" fmla="*/ 67 h 91"/>
                    <a:gd name="T16" fmla="*/ 0 w 131"/>
                    <a:gd name="T17" fmla="*/ 67 h 91"/>
                    <a:gd name="T18" fmla="*/ 0 w 131"/>
                    <a:gd name="T19" fmla="*/ 67 h 91"/>
                    <a:gd name="T20" fmla="*/ 0 w 131"/>
                    <a:gd name="T21" fmla="*/ 67 h 91"/>
                    <a:gd name="T22" fmla="*/ 0 w 131"/>
                    <a:gd name="T23" fmla="*/ 67 h 91"/>
                    <a:gd name="T24" fmla="*/ 0 w 131"/>
                    <a:gd name="T25" fmla="*/ 67 h 91"/>
                    <a:gd name="T26" fmla="*/ 0 w 131"/>
                    <a:gd name="T27" fmla="*/ 67 h 91"/>
                    <a:gd name="T28" fmla="*/ 0 w 131"/>
                    <a:gd name="T29" fmla="*/ 65 h 91"/>
                    <a:gd name="T30" fmla="*/ 0 w 131"/>
                    <a:gd name="T31" fmla="*/ 65 h 91"/>
                    <a:gd name="T32" fmla="*/ 10 w 131"/>
                    <a:gd name="T33" fmla="*/ 59 h 91"/>
                    <a:gd name="T34" fmla="*/ 18 w 131"/>
                    <a:gd name="T35" fmla="*/ 51 h 91"/>
                    <a:gd name="T36" fmla="*/ 25 w 131"/>
                    <a:gd name="T37" fmla="*/ 41 h 91"/>
                    <a:gd name="T38" fmla="*/ 35 w 131"/>
                    <a:gd name="T39" fmla="*/ 33 h 91"/>
                    <a:gd name="T40" fmla="*/ 42 w 131"/>
                    <a:gd name="T41" fmla="*/ 29 h 91"/>
                    <a:gd name="T42" fmla="*/ 60 w 131"/>
                    <a:gd name="T43" fmla="*/ 16 h 91"/>
                    <a:gd name="T44" fmla="*/ 60 w 131"/>
                    <a:gd name="T45" fmla="*/ 16 h 91"/>
                    <a:gd name="T46" fmla="*/ 60 w 131"/>
                    <a:gd name="T47" fmla="*/ 16 h 91"/>
                    <a:gd name="T48" fmla="*/ 60 w 131"/>
                    <a:gd name="T49" fmla="*/ 16 h 91"/>
                    <a:gd name="T50" fmla="*/ 60 w 131"/>
                    <a:gd name="T51" fmla="*/ 16 h 91"/>
                    <a:gd name="T52" fmla="*/ 60 w 131"/>
                    <a:gd name="T53" fmla="*/ 15 h 91"/>
                    <a:gd name="T54" fmla="*/ 61 w 131"/>
                    <a:gd name="T55" fmla="*/ 15 h 91"/>
                    <a:gd name="T56" fmla="*/ 61 w 131"/>
                    <a:gd name="T57" fmla="*/ 15 h 91"/>
                    <a:gd name="T58" fmla="*/ 61 w 131"/>
                    <a:gd name="T59" fmla="*/ 15 h 91"/>
                    <a:gd name="T60" fmla="*/ 76 w 131"/>
                    <a:gd name="T61" fmla="*/ 1 h 91"/>
                    <a:gd name="T62" fmla="*/ 83 w 131"/>
                    <a:gd name="T63" fmla="*/ 0 h 91"/>
                    <a:gd name="T64" fmla="*/ 83 w 131"/>
                    <a:gd name="T65" fmla="*/ 0 h 91"/>
                    <a:gd name="T66" fmla="*/ 87 w 131"/>
                    <a:gd name="T67" fmla="*/ 0 h 91"/>
                    <a:gd name="T68" fmla="*/ 89 w 131"/>
                    <a:gd name="T69" fmla="*/ 1 h 91"/>
                    <a:gd name="T70" fmla="*/ 96 w 131"/>
                    <a:gd name="T71" fmla="*/ 19 h 91"/>
                    <a:gd name="T72" fmla="*/ 107 w 131"/>
                    <a:gd name="T73" fmla="*/ 32 h 91"/>
                    <a:gd name="T74" fmla="*/ 115 w 131"/>
                    <a:gd name="T75" fmla="*/ 36 h 91"/>
                    <a:gd name="T76" fmla="*/ 122 w 131"/>
                    <a:gd name="T77" fmla="*/ 41 h 91"/>
                    <a:gd name="T78" fmla="*/ 125 w 131"/>
                    <a:gd name="T79" fmla="*/ 45 h 91"/>
                    <a:gd name="T80" fmla="*/ 131 w 131"/>
                    <a:gd name="T81" fmla="*/ 58 h 91"/>
                    <a:gd name="T82" fmla="*/ 128 w 131"/>
                    <a:gd name="T83" fmla="*/ 64 h 91"/>
                    <a:gd name="T84" fmla="*/ 122 w 131"/>
                    <a:gd name="T85" fmla="*/ 68 h 91"/>
                    <a:gd name="T86" fmla="*/ 120 w 131"/>
                    <a:gd name="T87" fmla="*/ 68 h 91"/>
                    <a:gd name="T88" fmla="*/ 120 w 131"/>
                    <a:gd name="T89" fmla="*/ 68 h 91"/>
                    <a:gd name="T90" fmla="*/ 120 w 131"/>
                    <a:gd name="T91" fmla="*/ 68 h 91"/>
                    <a:gd name="T92" fmla="*/ 120 w 131"/>
                    <a:gd name="T93" fmla="*/ 68 h 91"/>
                    <a:gd name="T94" fmla="*/ 120 w 131"/>
                    <a:gd name="T95" fmla="*/ 68 h 91"/>
                    <a:gd name="T96" fmla="*/ 110 w 131"/>
                    <a:gd name="T97" fmla="*/ 67 h 91"/>
                    <a:gd name="T98" fmla="*/ 105 w 131"/>
                    <a:gd name="T99" fmla="*/ 68 h 91"/>
                    <a:gd name="T100" fmla="*/ 93 w 131"/>
                    <a:gd name="T101" fmla="*/ 74 h 91"/>
                    <a:gd name="T102" fmla="*/ 93 w 131"/>
                    <a:gd name="T103" fmla="*/ 74 h 91"/>
                    <a:gd name="T104" fmla="*/ 86 w 131"/>
                    <a:gd name="T105" fmla="*/ 75 h 91"/>
                    <a:gd name="T106" fmla="*/ 67 w 131"/>
                    <a:gd name="T107" fmla="*/ 75 h 91"/>
                    <a:gd name="T108" fmla="*/ 60 w 131"/>
                    <a:gd name="T109" fmla="*/ 75 h 91"/>
                    <a:gd name="T110" fmla="*/ 54 w 131"/>
                    <a:gd name="T111" fmla="*/ 77 h 91"/>
                    <a:gd name="T112" fmla="*/ 50 w 131"/>
                    <a:gd name="T113" fmla="*/ 83 h 91"/>
                    <a:gd name="T114" fmla="*/ 50 w 131"/>
                    <a:gd name="T115" fmla="*/ 91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31" h="91">
                      <a:moveTo>
                        <a:pt x="50" y="91"/>
                      </a:moveTo>
                      <a:lnTo>
                        <a:pt x="50" y="91"/>
                      </a:lnTo>
                      <a:lnTo>
                        <a:pt x="31" y="90"/>
                      </a:lnTo>
                      <a:lnTo>
                        <a:pt x="22" y="88"/>
                      </a:lnTo>
                      <a:lnTo>
                        <a:pt x="18" y="87"/>
                      </a:lnTo>
                      <a:lnTo>
                        <a:pt x="18" y="87"/>
                      </a:lnTo>
                      <a:lnTo>
                        <a:pt x="16" y="86"/>
                      </a:lnTo>
                      <a:lnTo>
                        <a:pt x="16" y="86"/>
                      </a:lnTo>
                      <a:lnTo>
                        <a:pt x="6" y="78"/>
                      </a:lnTo>
                      <a:lnTo>
                        <a:pt x="6" y="78"/>
                      </a:lnTo>
                      <a:lnTo>
                        <a:pt x="6" y="78"/>
                      </a:lnTo>
                      <a:lnTo>
                        <a:pt x="0" y="72"/>
                      </a:lnTo>
                      <a:lnTo>
                        <a:pt x="0" y="70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5"/>
                      </a:lnTo>
                      <a:lnTo>
                        <a:pt x="0" y="65"/>
                      </a:lnTo>
                      <a:lnTo>
                        <a:pt x="0" y="65"/>
                      </a:lnTo>
                      <a:lnTo>
                        <a:pt x="0" y="65"/>
                      </a:lnTo>
                      <a:lnTo>
                        <a:pt x="10" y="59"/>
                      </a:lnTo>
                      <a:lnTo>
                        <a:pt x="15" y="57"/>
                      </a:lnTo>
                      <a:lnTo>
                        <a:pt x="18" y="51"/>
                      </a:lnTo>
                      <a:lnTo>
                        <a:pt x="18" y="51"/>
                      </a:lnTo>
                      <a:lnTo>
                        <a:pt x="25" y="41"/>
                      </a:lnTo>
                      <a:lnTo>
                        <a:pt x="29" y="36"/>
                      </a:lnTo>
                      <a:lnTo>
                        <a:pt x="35" y="33"/>
                      </a:lnTo>
                      <a:lnTo>
                        <a:pt x="35" y="33"/>
                      </a:lnTo>
                      <a:lnTo>
                        <a:pt x="42" y="29"/>
                      </a:lnTo>
                      <a:lnTo>
                        <a:pt x="48" y="25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5"/>
                      </a:lnTo>
                      <a:lnTo>
                        <a:pt x="60" y="15"/>
                      </a:lnTo>
                      <a:lnTo>
                        <a:pt x="61" y="15"/>
                      </a:lnTo>
                      <a:lnTo>
                        <a:pt x="61" y="15"/>
                      </a:lnTo>
                      <a:lnTo>
                        <a:pt x="61" y="15"/>
                      </a:lnTo>
                      <a:lnTo>
                        <a:pt x="61" y="15"/>
                      </a:lnTo>
                      <a:lnTo>
                        <a:pt x="61" y="15"/>
                      </a:lnTo>
                      <a:lnTo>
                        <a:pt x="61" y="15"/>
                      </a:lnTo>
                      <a:lnTo>
                        <a:pt x="70" y="6"/>
                      </a:lnTo>
                      <a:lnTo>
                        <a:pt x="76" y="1"/>
                      </a:lnTo>
                      <a:lnTo>
                        <a:pt x="83" y="0"/>
                      </a:lnTo>
                      <a:lnTo>
                        <a:pt x="83" y="0"/>
                      </a:lnTo>
                      <a:lnTo>
                        <a:pt x="83" y="0"/>
                      </a:lnTo>
                      <a:lnTo>
                        <a:pt x="83" y="0"/>
                      </a:lnTo>
                      <a:lnTo>
                        <a:pt x="87" y="0"/>
                      </a:lnTo>
                      <a:lnTo>
                        <a:pt x="87" y="0"/>
                      </a:lnTo>
                      <a:lnTo>
                        <a:pt x="89" y="1"/>
                      </a:lnTo>
                      <a:lnTo>
                        <a:pt x="89" y="1"/>
                      </a:lnTo>
                      <a:lnTo>
                        <a:pt x="92" y="10"/>
                      </a:lnTo>
                      <a:lnTo>
                        <a:pt x="96" y="19"/>
                      </a:lnTo>
                      <a:lnTo>
                        <a:pt x="102" y="26"/>
                      </a:lnTo>
                      <a:lnTo>
                        <a:pt x="107" y="32"/>
                      </a:lnTo>
                      <a:lnTo>
                        <a:pt x="107" y="32"/>
                      </a:lnTo>
                      <a:lnTo>
                        <a:pt x="115" y="36"/>
                      </a:lnTo>
                      <a:lnTo>
                        <a:pt x="119" y="38"/>
                      </a:lnTo>
                      <a:lnTo>
                        <a:pt x="122" y="41"/>
                      </a:lnTo>
                      <a:lnTo>
                        <a:pt x="125" y="45"/>
                      </a:lnTo>
                      <a:lnTo>
                        <a:pt x="125" y="45"/>
                      </a:lnTo>
                      <a:lnTo>
                        <a:pt x="126" y="52"/>
                      </a:lnTo>
                      <a:lnTo>
                        <a:pt x="131" y="58"/>
                      </a:lnTo>
                      <a:lnTo>
                        <a:pt x="131" y="58"/>
                      </a:lnTo>
                      <a:lnTo>
                        <a:pt x="128" y="64"/>
                      </a:lnTo>
                      <a:lnTo>
                        <a:pt x="125" y="67"/>
                      </a:lnTo>
                      <a:lnTo>
                        <a:pt x="122" y="68"/>
                      </a:lnTo>
                      <a:lnTo>
                        <a:pt x="122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10" y="67"/>
                      </a:lnTo>
                      <a:lnTo>
                        <a:pt x="110" y="67"/>
                      </a:lnTo>
                      <a:lnTo>
                        <a:pt x="105" y="68"/>
                      </a:lnTo>
                      <a:lnTo>
                        <a:pt x="105" y="68"/>
                      </a:lnTo>
                      <a:lnTo>
                        <a:pt x="93" y="74"/>
                      </a:lnTo>
                      <a:lnTo>
                        <a:pt x="93" y="74"/>
                      </a:lnTo>
                      <a:lnTo>
                        <a:pt x="93" y="74"/>
                      </a:lnTo>
                      <a:lnTo>
                        <a:pt x="93" y="74"/>
                      </a:lnTo>
                      <a:lnTo>
                        <a:pt x="86" y="75"/>
                      </a:lnTo>
                      <a:lnTo>
                        <a:pt x="86" y="75"/>
                      </a:lnTo>
                      <a:lnTo>
                        <a:pt x="67" y="75"/>
                      </a:lnTo>
                      <a:lnTo>
                        <a:pt x="67" y="75"/>
                      </a:lnTo>
                      <a:lnTo>
                        <a:pt x="60" y="75"/>
                      </a:lnTo>
                      <a:lnTo>
                        <a:pt x="54" y="77"/>
                      </a:lnTo>
                      <a:lnTo>
                        <a:pt x="54" y="77"/>
                      </a:lnTo>
                      <a:lnTo>
                        <a:pt x="51" y="80"/>
                      </a:lnTo>
                      <a:lnTo>
                        <a:pt x="50" y="83"/>
                      </a:lnTo>
                      <a:lnTo>
                        <a:pt x="48" y="87"/>
                      </a:lnTo>
                      <a:lnTo>
                        <a:pt x="50" y="9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79" name="Freeform 531"/>
                <p:cNvSpPr>
                  <a:spLocks/>
                </p:cNvSpPr>
                <p:nvPr/>
              </p:nvSpPr>
              <p:spPr bwMode="auto">
                <a:xfrm>
                  <a:off x="4321717" y="3082684"/>
                  <a:ext cx="129593" cy="90023"/>
                </a:xfrm>
                <a:custGeom>
                  <a:avLst/>
                  <a:gdLst>
                    <a:gd name="T0" fmla="*/ 50 w 131"/>
                    <a:gd name="T1" fmla="*/ 91 h 91"/>
                    <a:gd name="T2" fmla="*/ 22 w 131"/>
                    <a:gd name="T3" fmla="*/ 88 h 91"/>
                    <a:gd name="T4" fmla="*/ 18 w 131"/>
                    <a:gd name="T5" fmla="*/ 87 h 91"/>
                    <a:gd name="T6" fmla="*/ 16 w 131"/>
                    <a:gd name="T7" fmla="*/ 86 h 91"/>
                    <a:gd name="T8" fmla="*/ 6 w 131"/>
                    <a:gd name="T9" fmla="*/ 78 h 91"/>
                    <a:gd name="T10" fmla="*/ 0 w 131"/>
                    <a:gd name="T11" fmla="*/ 72 h 91"/>
                    <a:gd name="T12" fmla="*/ 0 w 131"/>
                    <a:gd name="T13" fmla="*/ 67 h 91"/>
                    <a:gd name="T14" fmla="*/ 0 w 131"/>
                    <a:gd name="T15" fmla="*/ 67 h 91"/>
                    <a:gd name="T16" fmla="*/ 0 w 131"/>
                    <a:gd name="T17" fmla="*/ 67 h 91"/>
                    <a:gd name="T18" fmla="*/ 0 w 131"/>
                    <a:gd name="T19" fmla="*/ 67 h 91"/>
                    <a:gd name="T20" fmla="*/ 0 w 131"/>
                    <a:gd name="T21" fmla="*/ 67 h 91"/>
                    <a:gd name="T22" fmla="*/ 0 w 131"/>
                    <a:gd name="T23" fmla="*/ 67 h 91"/>
                    <a:gd name="T24" fmla="*/ 0 w 131"/>
                    <a:gd name="T25" fmla="*/ 67 h 91"/>
                    <a:gd name="T26" fmla="*/ 0 w 131"/>
                    <a:gd name="T27" fmla="*/ 67 h 91"/>
                    <a:gd name="T28" fmla="*/ 0 w 131"/>
                    <a:gd name="T29" fmla="*/ 65 h 91"/>
                    <a:gd name="T30" fmla="*/ 0 w 131"/>
                    <a:gd name="T31" fmla="*/ 65 h 91"/>
                    <a:gd name="T32" fmla="*/ 10 w 131"/>
                    <a:gd name="T33" fmla="*/ 59 h 91"/>
                    <a:gd name="T34" fmla="*/ 18 w 131"/>
                    <a:gd name="T35" fmla="*/ 51 h 91"/>
                    <a:gd name="T36" fmla="*/ 25 w 131"/>
                    <a:gd name="T37" fmla="*/ 41 h 91"/>
                    <a:gd name="T38" fmla="*/ 35 w 131"/>
                    <a:gd name="T39" fmla="*/ 33 h 91"/>
                    <a:gd name="T40" fmla="*/ 42 w 131"/>
                    <a:gd name="T41" fmla="*/ 29 h 91"/>
                    <a:gd name="T42" fmla="*/ 60 w 131"/>
                    <a:gd name="T43" fmla="*/ 16 h 91"/>
                    <a:gd name="T44" fmla="*/ 60 w 131"/>
                    <a:gd name="T45" fmla="*/ 16 h 91"/>
                    <a:gd name="T46" fmla="*/ 60 w 131"/>
                    <a:gd name="T47" fmla="*/ 16 h 91"/>
                    <a:gd name="T48" fmla="*/ 60 w 131"/>
                    <a:gd name="T49" fmla="*/ 16 h 91"/>
                    <a:gd name="T50" fmla="*/ 60 w 131"/>
                    <a:gd name="T51" fmla="*/ 16 h 91"/>
                    <a:gd name="T52" fmla="*/ 60 w 131"/>
                    <a:gd name="T53" fmla="*/ 15 h 91"/>
                    <a:gd name="T54" fmla="*/ 61 w 131"/>
                    <a:gd name="T55" fmla="*/ 15 h 91"/>
                    <a:gd name="T56" fmla="*/ 61 w 131"/>
                    <a:gd name="T57" fmla="*/ 15 h 91"/>
                    <a:gd name="T58" fmla="*/ 61 w 131"/>
                    <a:gd name="T59" fmla="*/ 15 h 91"/>
                    <a:gd name="T60" fmla="*/ 76 w 131"/>
                    <a:gd name="T61" fmla="*/ 1 h 91"/>
                    <a:gd name="T62" fmla="*/ 83 w 131"/>
                    <a:gd name="T63" fmla="*/ 0 h 91"/>
                    <a:gd name="T64" fmla="*/ 83 w 131"/>
                    <a:gd name="T65" fmla="*/ 0 h 91"/>
                    <a:gd name="T66" fmla="*/ 87 w 131"/>
                    <a:gd name="T67" fmla="*/ 0 h 91"/>
                    <a:gd name="T68" fmla="*/ 89 w 131"/>
                    <a:gd name="T69" fmla="*/ 1 h 91"/>
                    <a:gd name="T70" fmla="*/ 96 w 131"/>
                    <a:gd name="T71" fmla="*/ 19 h 91"/>
                    <a:gd name="T72" fmla="*/ 107 w 131"/>
                    <a:gd name="T73" fmla="*/ 32 h 91"/>
                    <a:gd name="T74" fmla="*/ 115 w 131"/>
                    <a:gd name="T75" fmla="*/ 36 h 91"/>
                    <a:gd name="T76" fmla="*/ 122 w 131"/>
                    <a:gd name="T77" fmla="*/ 41 h 91"/>
                    <a:gd name="T78" fmla="*/ 125 w 131"/>
                    <a:gd name="T79" fmla="*/ 45 h 91"/>
                    <a:gd name="T80" fmla="*/ 131 w 131"/>
                    <a:gd name="T81" fmla="*/ 58 h 91"/>
                    <a:gd name="T82" fmla="*/ 128 w 131"/>
                    <a:gd name="T83" fmla="*/ 64 h 91"/>
                    <a:gd name="T84" fmla="*/ 122 w 131"/>
                    <a:gd name="T85" fmla="*/ 68 h 91"/>
                    <a:gd name="T86" fmla="*/ 120 w 131"/>
                    <a:gd name="T87" fmla="*/ 68 h 91"/>
                    <a:gd name="T88" fmla="*/ 120 w 131"/>
                    <a:gd name="T89" fmla="*/ 68 h 91"/>
                    <a:gd name="T90" fmla="*/ 120 w 131"/>
                    <a:gd name="T91" fmla="*/ 68 h 91"/>
                    <a:gd name="T92" fmla="*/ 120 w 131"/>
                    <a:gd name="T93" fmla="*/ 68 h 91"/>
                    <a:gd name="T94" fmla="*/ 120 w 131"/>
                    <a:gd name="T95" fmla="*/ 68 h 91"/>
                    <a:gd name="T96" fmla="*/ 110 w 131"/>
                    <a:gd name="T97" fmla="*/ 67 h 91"/>
                    <a:gd name="T98" fmla="*/ 105 w 131"/>
                    <a:gd name="T99" fmla="*/ 68 h 91"/>
                    <a:gd name="T100" fmla="*/ 93 w 131"/>
                    <a:gd name="T101" fmla="*/ 74 h 91"/>
                    <a:gd name="T102" fmla="*/ 93 w 131"/>
                    <a:gd name="T103" fmla="*/ 74 h 91"/>
                    <a:gd name="T104" fmla="*/ 86 w 131"/>
                    <a:gd name="T105" fmla="*/ 75 h 91"/>
                    <a:gd name="T106" fmla="*/ 67 w 131"/>
                    <a:gd name="T107" fmla="*/ 75 h 91"/>
                    <a:gd name="T108" fmla="*/ 60 w 131"/>
                    <a:gd name="T109" fmla="*/ 75 h 91"/>
                    <a:gd name="T110" fmla="*/ 54 w 131"/>
                    <a:gd name="T111" fmla="*/ 77 h 91"/>
                    <a:gd name="T112" fmla="*/ 50 w 131"/>
                    <a:gd name="T113" fmla="*/ 83 h 91"/>
                    <a:gd name="T114" fmla="*/ 50 w 131"/>
                    <a:gd name="T115" fmla="*/ 91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31" h="91">
                      <a:moveTo>
                        <a:pt x="50" y="91"/>
                      </a:moveTo>
                      <a:lnTo>
                        <a:pt x="50" y="91"/>
                      </a:lnTo>
                      <a:lnTo>
                        <a:pt x="31" y="90"/>
                      </a:lnTo>
                      <a:lnTo>
                        <a:pt x="22" y="88"/>
                      </a:lnTo>
                      <a:lnTo>
                        <a:pt x="18" y="87"/>
                      </a:lnTo>
                      <a:lnTo>
                        <a:pt x="18" y="87"/>
                      </a:lnTo>
                      <a:lnTo>
                        <a:pt x="16" y="86"/>
                      </a:lnTo>
                      <a:lnTo>
                        <a:pt x="16" y="86"/>
                      </a:lnTo>
                      <a:lnTo>
                        <a:pt x="6" y="78"/>
                      </a:lnTo>
                      <a:lnTo>
                        <a:pt x="6" y="78"/>
                      </a:lnTo>
                      <a:lnTo>
                        <a:pt x="6" y="78"/>
                      </a:lnTo>
                      <a:lnTo>
                        <a:pt x="0" y="72"/>
                      </a:lnTo>
                      <a:lnTo>
                        <a:pt x="0" y="70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5"/>
                      </a:lnTo>
                      <a:lnTo>
                        <a:pt x="0" y="65"/>
                      </a:lnTo>
                      <a:lnTo>
                        <a:pt x="0" y="65"/>
                      </a:lnTo>
                      <a:lnTo>
                        <a:pt x="0" y="65"/>
                      </a:lnTo>
                      <a:lnTo>
                        <a:pt x="10" y="59"/>
                      </a:lnTo>
                      <a:lnTo>
                        <a:pt x="15" y="57"/>
                      </a:lnTo>
                      <a:lnTo>
                        <a:pt x="18" y="51"/>
                      </a:lnTo>
                      <a:lnTo>
                        <a:pt x="18" y="51"/>
                      </a:lnTo>
                      <a:lnTo>
                        <a:pt x="25" y="41"/>
                      </a:lnTo>
                      <a:lnTo>
                        <a:pt x="29" y="36"/>
                      </a:lnTo>
                      <a:lnTo>
                        <a:pt x="35" y="33"/>
                      </a:lnTo>
                      <a:lnTo>
                        <a:pt x="35" y="33"/>
                      </a:lnTo>
                      <a:lnTo>
                        <a:pt x="42" y="29"/>
                      </a:lnTo>
                      <a:lnTo>
                        <a:pt x="48" y="25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5"/>
                      </a:lnTo>
                      <a:lnTo>
                        <a:pt x="60" y="15"/>
                      </a:lnTo>
                      <a:lnTo>
                        <a:pt x="61" y="15"/>
                      </a:lnTo>
                      <a:lnTo>
                        <a:pt x="61" y="15"/>
                      </a:lnTo>
                      <a:lnTo>
                        <a:pt x="61" y="15"/>
                      </a:lnTo>
                      <a:lnTo>
                        <a:pt x="61" y="15"/>
                      </a:lnTo>
                      <a:lnTo>
                        <a:pt x="61" y="15"/>
                      </a:lnTo>
                      <a:lnTo>
                        <a:pt x="61" y="15"/>
                      </a:lnTo>
                      <a:lnTo>
                        <a:pt x="70" y="6"/>
                      </a:lnTo>
                      <a:lnTo>
                        <a:pt x="76" y="1"/>
                      </a:lnTo>
                      <a:lnTo>
                        <a:pt x="83" y="0"/>
                      </a:lnTo>
                      <a:lnTo>
                        <a:pt x="83" y="0"/>
                      </a:lnTo>
                      <a:lnTo>
                        <a:pt x="83" y="0"/>
                      </a:lnTo>
                      <a:lnTo>
                        <a:pt x="83" y="0"/>
                      </a:lnTo>
                      <a:lnTo>
                        <a:pt x="87" y="0"/>
                      </a:lnTo>
                      <a:lnTo>
                        <a:pt x="87" y="0"/>
                      </a:lnTo>
                      <a:lnTo>
                        <a:pt x="89" y="1"/>
                      </a:lnTo>
                      <a:lnTo>
                        <a:pt x="89" y="1"/>
                      </a:lnTo>
                      <a:lnTo>
                        <a:pt x="92" y="10"/>
                      </a:lnTo>
                      <a:lnTo>
                        <a:pt x="96" y="19"/>
                      </a:lnTo>
                      <a:lnTo>
                        <a:pt x="102" y="26"/>
                      </a:lnTo>
                      <a:lnTo>
                        <a:pt x="107" y="32"/>
                      </a:lnTo>
                      <a:lnTo>
                        <a:pt x="107" y="32"/>
                      </a:lnTo>
                      <a:lnTo>
                        <a:pt x="115" y="36"/>
                      </a:lnTo>
                      <a:lnTo>
                        <a:pt x="119" y="38"/>
                      </a:lnTo>
                      <a:lnTo>
                        <a:pt x="122" y="41"/>
                      </a:lnTo>
                      <a:lnTo>
                        <a:pt x="125" y="45"/>
                      </a:lnTo>
                      <a:lnTo>
                        <a:pt x="125" y="45"/>
                      </a:lnTo>
                      <a:lnTo>
                        <a:pt x="126" y="52"/>
                      </a:lnTo>
                      <a:lnTo>
                        <a:pt x="131" y="58"/>
                      </a:lnTo>
                      <a:lnTo>
                        <a:pt x="131" y="58"/>
                      </a:lnTo>
                      <a:lnTo>
                        <a:pt x="128" y="64"/>
                      </a:lnTo>
                      <a:lnTo>
                        <a:pt x="125" y="67"/>
                      </a:lnTo>
                      <a:lnTo>
                        <a:pt x="122" y="68"/>
                      </a:lnTo>
                      <a:lnTo>
                        <a:pt x="122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10" y="67"/>
                      </a:lnTo>
                      <a:lnTo>
                        <a:pt x="110" y="67"/>
                      </a:lnTo>
                      <a:lnTo>
                        <a:pt x="105" y="68"/>
                      </a:lnTo>
                      <a:lnTo>
                        <a:pt x="105" y="68"/>
                      </a:lnTo>
                      <a:lnTo>
                        <a:pt x="93" y="74"/>
                      </a:lnTo>
                      <a:lnTo>
                        <a:pt x="93" y="74"/>
                      </a:lnTo>
                      <a:lnTo>
                        <a:pt x="93" y="74"/>
                      </a:lnTo>
                      <a:lnTo>
                        <a:pt x="93" y="74"/>
                      </a:lnTo>
                      <a:lnTo>
                        <a:pt x="86" y="75"/>
                      </a:lnTo>
                      <a:lnTo>
                        <a:pt x="86" y="75"/>
                      </a:lnTo>
                      <a:lnTo>
                        <a:pt x="67" y="75"/>
                      </a:lnTo>
                      <a:lnTo>
                        <a:pt x="67" y="75"/>
                      </a:lnTo>
                      <a:lnTo>
                        <a:pt x="60" y="75"/>
                      </a:lnTo>
                      <a:lnTo>
                        <a:pt x="54" y="77"/>
                      </a:lnTo>
                      <a:lnTo>
                        <a:pt x="54" y="77"/>
                      </a:lnTo>
                      <a:lnTo>
                        <a:pt x="51" y="80"/>
                      </a:lnTo>
                      <a:lnTo>
                        <a:pt x="50" y="83"/>
                      </a:lnTo>
                      <a:lnTo>
                        <a:pt x="48" y="87"/>
                      </a:lnTo>
                      <a:lnTo>
                        <a:pt x="50" y="9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80" name="Freeform 532"/>
                <p:cNvSpPr>
                  <a:spLocks noEditPoints="1"/>
                </p:cNvSpPr>
                <p:nvPr/>
              </p:nvSpPr>
              <p:spPr bwMode="auto">
                <a:xfrm>
                  <a:off x="4321717" y="3082684"/>
                  <a:ext cx="88044" cy="77162"/>
                </a:xfrm>
                <a:custGeom>
                  <a:avLst/>
                  <a:gdLst>
                    <a:gd name="T0" fmla="*/ 83 w 89"/>
                    <a:gd name="T1" fmla="*/ 0 h 78"/>
                    <a:gd name="T2" fmla="*/ 89 w 89"/>
                    <a:gd name="T3" fmla="*/ 1 h 78"/>
                    <a:gd name="T4" fmla="*/ 87 w 89"/>
                    <a:gd name="T5" fmla="*/ 0 h 78"/>
                    <a:gd name="T6" fmla="*/ 89 w 89"/>
                    <a:gd name="T7" fmla="*/ 1 h 78"/>
                    <a:gd name="T8" fmla="*/ 61 w 89"/>
                    <a:gd name="T9" fmla="*/ 15 h 78"/>
                    <a:gd name="T10" fmla="*/ 70 w 89"/>
                    <a:gd name="T11" fmla="*/ 6 h 78"/>
                    <a:gd name="T12" fmla="*/ 83 w 89"/>
                    <a:gd name="T13" fmla="*/ 0 h 78"/>
                    <a:gd name="T14" fmla="*/ 76 w 89"/>
                    <a:gd name="T15" fmla="*/ 1 h 78"/>
                    <a:gd name="T16" fmla="*/ 61 w 89"/>
                    <a:gd name="T17" fmla="*/ 15 h 78"/>
                    <a:gd name="T18" fmla="*/ 61 w 89"/>
                    <a:gd name="T19" fmla="*/ 15 h 78"/>
                    <a:gd name="T20" fmla="*/ 61 w 89"/>
                    <a:gd name="T21" fmla="*/ 15 h 78"/>
                    <a:gd name="T22" fmla="*/ 60 w 89"/>
                    <a:gd name="T23" fmla="*/ 16 h 78"/>
                    <a:gd name="T24" fmla="*/ 60 w 89"/>
                    <a:gd name="T25" fmla="*/ 15 h 78"/>
                    <a:gd name="T26" fmla="*/ 60 w 89"/>
                    <a:gd name="T27" fmla="*/ 16 h 78"/>
                    <a:gd name="T28" fmla="*/ 60 w 89"/>
                    <a:gd name="T29" fmla="*/ 16 h 78"/>
                    <a:gd name="T30" fmla="*/ 60 w 89"/>
                    <a:gd name="T31" fmla="*/ 16 h 78"/>
                    <a:gd name="T32" fmla="*/ 60 w 89"/>
                    <a:gd name="T33" fmla="*/ 16 h 78"/>
                    <a:gd name="T34" fmla="*/ 60 w 89"/>
                    <a:gd name="T35" fmla="*/ 16 h 78"/>
                    <a:gd name="T36" fmla="*/ 60 w 89"/>
                    <a:gd name="T37" fmla="*/ 16 h 78"/>
                    <a:gd name="T38" fmla="*/ 0 w 89"/>
                    <a:gd name="T39" fmla="*/ 65 h 78"/>
                    <a:gd name="T40" fmla="*/ 0 w 89"/>
                    <a:gd name="T41" fmla="*/ 65 h 78"/>
                    <a:gd name="T42" fmla="*/ 0 w 89"/>
                    <a:gd name="T43" fmla="*/ 67 h 78"/>
                    <a:gd name="T44" fmla="*/ 0 w 89"/>
                    <a:gd name="T45" fmla="*/ 67 h 78"/>
                    <a:gd name="T46" fmla="*/ 0 w 89"/>
                    <a:gd name="T47" fmla="*/ 67 h 78"/>
                    <a:gd name="T48" fmla="*/ 0 w 89"/>
                    <a:gd name="T49" fmla="*/ 67 h 78"/>
                    <a:gd name="T50" fmla="*/ 0 w 89"/>
                    <a:gd name="T51" fmla="*/ 67 h 78"/>
                    <a:gd name="T52" fmla="*/ 0 w 89"/>
                    <a:gd name="T53" fmla="*/ 67 h 78"/>
                    <a:gd name="T54" fmla="*/ 0 w 89"/>
                    <a:gd name="T55" fmla="*/ 67 h 78"/>
                    <a:gd name="T56" fmla="*/ 0 w 89"/>
                    <a:gd name="T57" fmla="*/ 67 h 78"/>
                    <a:gd name="T58" fmla="*/ 0 w 89"/>
                    <a:gd name="T59" fmla="*/ 67 h 78"/>
                    <a:gd name="T60" fmla="*/ 0 w 89"/>
                    <a:gd name="T61" fmla="*/ 67 h 78"/>
                    <a:gd name="T62" fmla="*/ 6 w 89"/>
                    <a:gd name="T63" fmla="*/ 78 h 78"/>
                    <a:gd name="T64" fmla="*/ 0 w 89"/>
                    <a:gd name="T65" fmla="*/ 70 h 78"/>
                    <a:gd name="T66" fmla="*/ 0 w 89"/>
                    <a:gd name="T67" fmla="*/ 67 h 78"/>
                    <a:gd name="T68" fmla="*/ 0 w 89"/>
                    <a:gd name="T69" fmla="*/ 72 h 78"/>
                    <a:gd name="T70" fmla="*/ 6 w 89"/>
                    <a:gd name="T71" fmla="*/ 78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89" h="78">
                      <a:moveTo>
                        <a:pt x="83" y="0"/>
                      </a:moveTo>
                      <a:lnTo>
                        <a:pt x="83" y="0"/>
                      </a:lnTo>
                      <a:lnTo>
                        <a:pt x="83" y="0"/>
                      </a:lnTo>
                      <a:close/>
                      <a:moveTo>
                        <a:pt x="89" y="1"/>
                      </a:moveTo>
                      <a:lnTo>
                        <a:pt x="89" y="1"/>
                      </a:lnTo>
                      <a:lnTo>
                        <a:pt x="87" y="0"/>
                      </a:lnTo>
                      <a:lnTo>
                        <a:pt x="87" y="0"/>
                      </a:lnTo>
                      <a:lnTo>
                        <a:pt x="89" y="1"/>
                      </a:lnTo>
                      <a:lnTo>
                        <a:pt x="89" y="1"/>
                      </a:lnTo>
                      <a:close/>
                      <a:moveTo>
                        <a:pt x="61" y="15"/>
                      </a:moveTo>
                      <a:lnTo>
                        <a:pt x="61" y="15"/>
                      </a:lnTo>
                      <a:lnTo>
                        <a:pt x="70" y="6"/>
                      </a:lnTo>
                      <a:lnTo>
                        <a:pt x="76" y="1"/>
                      </a:lnTo>
                      <a:lnTo>
                        <a:pt x="83" y="0"/>
                      </a:lnTo>
                      <a:lnTo>
                        <a:pt x="83" y="0"/>
                      </a:lnTo>
                      <a:lnTo>
                        <a:pt x="76" y="1"/>
                      </a:lnTo>
                      <a:lnTo>
                        <a:pt x="70" y="6"/>
                      </a:lnTo>
                      <a:lnTo>
                        <a:pt x="61" y="15"/>
                      </a:lnTo>
                      <a:close/>
                      <a:moveTo>
                        <a:pt x="61" y="15"/>
                      </a:moveTo>
                      <a:lnTo>
                        <a:pt x="61" y="15"/>
                      </a:lnTo>
                      <a:lnTo>
                        <a:pt x="61" y="15"/>
                      </a:lnTo>
                      <a:lnTo>
                        <a:pt x="61" y="15"/>
                      </a:lnTo>
                      <a:lnTo>
                        <a:pt x="61" y="15"/>
                      </a:lnTo>
                      <a:close/>
                      <a:moveTo>
                        <a:pt x="60" y="16"/>
                      </a:moveTo>
                      <a:lnTo>
                        <a:pt x="60" y="16"/>
                      </a:lnTo>
                      <a:lnTo>
                        <a:pt x="60" y="15"/>
                      </a:lnTo>
                      <a:lnTo>
                        <a:pt x="60" y="15"/>
                      </a:lnTo>
                      <a:lnTo>
                        <a:pt x="60" y="16"/>
                      </a:lnTo>
                      <a:close/>
                      <a:moveTo>
                        <a:pt x="60" y="16"/>
                      </a:moveTo>
                      <a:lnTo>
                        <a:pt x="60" y="16"/>
                      </a:lnTo>
                      <a:lnTo>
                        <a:pt x="60" y="16"/>
                      </a:lnTo>
                      <a:close/>
                      <a:moveTo>
                        <a:pt x="60" y="16"/>
                      </a:moveTo>
                      <a:lnTo>
                        <a:pt x="60" y="16"/>
                      </a:lnTo>
                      <a:close/>
                      <a:moveTo>
                        <a:pt x="60" y="16"/>
                      </a:move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close/>
                      <a:moveTo>
                        <a:pt x="0" y="65"/>
                      </a:moveTo>
                      <a:lnTo>
                        <a:pt x="0" y="65"/>
                      </a:lnTo>
                      <a:lnTo>
                        <a:pt x="0" y="65"/>
                      </a:lnTo>
                      <a:lnTo>
                        <a:pt x="0" y="65"/>
                      </a:lnTo>
                      <a:lnTo>
                        <a:pt x="0" y="65"/>
                      </a:lnTo>
                      <a:close/>
                      <a:moveTo>
                        <a:pt x="0" y="67"/>
                      </a:moveTo>
                      <a:lnTo>
                        <a:pt x="0" y="67"/>
                      </a:lnTo>
                      <a:lnTo>
                        <a:pt x="0" y="67"/>
                      </a:lnTo>
                      <a:close/>
                      <a:moveTo>
                        <a:pt x="0" y="67"/>
                      </a:moveTo>
                      <a:lnTo>
                        <a:pt x="0" y="67"/>
                      </a:lnTo>
                      <a:lnTo>
                        <a:pt x="0" y="67"/>
                      </a:lnTo>
                      <a:close/>
                      <a:moveTo>
                        <a:pt x="0" y="67"/>
                      </a:moveTo>
                      <a:lnTo>
                        <a:pt x="0" y="67"/>
                      </a:lnTo>
                      <a:lnTo>
                        <a:pt x="0" y="67"/>
                      </a:lnTo>
                      <a:close/>
                      <a:moveTo>
                        <a:pt x="0" y="67"/>
                      </a:move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close/>
                      <a:moveTo>
                        <a:pt x="0" y="67"/>
                      </a:move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7"/>
                      </a:lnTo>
                      <a:close/>
                      <a:moveTo>
                        <a:pt x="6" y="78"/>
                      </a:moveTo>
                      <a:lnTo>
                        <a:pt x="6" y="78"/>
                      </a:lnTo>
                      <a:lnTo>
                        <a:pt x="0" y="72"/>
                      </a:lnTo>
                      <a:lnTo>
                        <a:pt x="0" y="70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70"/>
                      </a:lnTo>
                      <a:lnTo>
                        <a:pt x="0" y="72"/>
                      </a:lnTo>
                      <a:lnTo>
                        <a:pt x="6" y="78"/>
                      </a:lnTo>
                      <a:lnTo>
                        <a:pt x="6" y="78"/>
                      </a:lnTo>
                      <a:lnTo>
                        <a:pt x="6" y="7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81" name="Freeform 533"/>
                <p:cNvSpPr>
                  <a:spLocks/>
                </p:cNvSpPr>
                <p:nvPr/>
              </p:nvSpPr>
              <p:spPr bwMode="auto">
                <a:xfrm>
                  <a:off x="4403826" y="3082684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82" name="Freeform 534"/>
                <p:cNvSpPr>
                  <a:spLocks/>
                </p:cNvSpPr>
                <p:nvPr/>
              </p:nvSpPr>
              <p:spPr bwMode="auto">
                <a:xfrm>
                  <a:off x="4407783" y="3082684"/>
                  <a:ext cx="1979" cy="989"/>
                </a:xfrm>
                <a:custGeom>
                  <a:avLst/>
                  <a:gdLst>
                    <a:gd name="T0" fmla="*/ 2 w 2"/>
                    <a:gd name="T1" fmla="*/ 1 h 1"/>
                    <a:gd name="T2" fmla="*/ 2 w 2"/>
                    <a:gd name="T3" fmla="*/ 1 h 1"/>
                    <a:gd name="T4" fmla="*/ 0 w 2"/>
                    <a:gd name="T5" fmla="*/ 0 h 1"/>
                    <a:gd name="T6" fmla="*/ 0 w 2"/>
                    <a:gd name="T7" fmla="*/ 0 h 1"/>
                    <a:gd name="T8" fmla="*/ 2 w 2"/>
                    <a:gd name="T9" fmla="*/ 1 h 1"/>
                    <a:gd name="T10" fmla="*/ 2 w 2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2" y="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83" name="Freeform 535"/>
                <p:cNvSpPr>
                  <a:spLocks/>
                </p:cNvSpPr>
                <p:nvPr/>
              </p:nvSpPr>
              <p:spPr bwMode="auto">
                <a:xfrm>
                  <a:off x="4382062" y="3082684"/>
                  <a:ext cx="21764" cy="14839"/>
                </a:xfrm>
                <a:custGeom>
                  <a:avLst/>
                  <a:gdLst>
                    <a:gd name="T0" fmla="*/ 0 w 22"/>
                    <a:gd name="T1" fmla="*/ 15 h 15"/>
                    <a:gd name="T2" fmla="*/ 0 w 22"/>
                    <a:gd name="T3" fmla="*/ 15 h 15"/>
                    <a:gd name="T4" fmla="*/ 9 w 22"/>
                    <a:gd name="T5" fmla="*/ 6 h 15"/>
                    <a:gd name="T6" fmla="*/ 15 w 22"/>
                    <a:gd name="T7" fmla="*/ 1 h 15"/>
                    <a:gd name="T8" fmla="*/ 22 w 22"/>
                    <a:gd name="T9" fmla="*/ 0 h 15"/>
                    <a:gd name="T10" fmla="*/ 22 w 22"/>
                    <a:gd name="T11" fmla="*/ 0 h 15"/>
                    <a:gd name="T12" fmla="*/ 15 w 22"/>
                    <a:gd name="T13" fmla="*/ 1 h 15"/>
                    <a:gd name="T14" fmla="*/ 9 w 22"/>
                    <a:gd name="T15" fmla="*/ 6 h 15"/>
                    <a:gd name="T16" fmla="*/ 0 w 22"/>
                    <a:gd name="T17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2" h="15">
                      <a:moveTo>
                        <a:pt x="0" y="15"/>
                      </a:moveTo>
                      <a:lnTo>
                        <a:pt x="0" y="15"/>
                      </a:lnTo>
                      <a:lnTo>
                        <a:pt x="9" y="6"/>
                      </a:lnTo>
                      <a:lnTo>
                        <a:pt x="15" y="1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15" y="1"/>
                      </a:lnTo>
                      <a:lnTo>
                        <a:pt x="9" y="6"/>
                      </a:lnTo>
                      <a:lnTo>
                        <a:pt x="0" y="1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84" name="Rectangle 536"/>
                <p:cNvSpPr>
                  <a:spLocks noChangeArrowheads="1"/>
                </p:cNvSpPr>
                <p:nvPr/>
              </p:nvSpPr>
              <p:spPr bwMode="auto">
                <a:xfrm>
                  <a:off x="4382062" y="3097523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85" name="Rectangle 537"/>
                <p:cNvSpPr>
                  <a:spLocks noChangeArrowheads="1"/>
                </p:cNvSpPr>
                <p:nvPr/>
              </p:nvSpPr>
              <p:spPr bwMode="auto">
                <a:xfrm>
                  <a:off x="4381073" y="3097523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86" name="Freeform 538"/>
                <p:cNvSpPr>
                  <a:spLocks/>
                </p:cNvSpPr>
                <p:nvPr/>
              </p:nvSpPr>
              <p:spPr bwMode="auto">
                <a:xfrm>
                  <a:off x="4381073" y="3098512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87" name="Line 539"/>
                <p:cNvSpPr>
                  <a:spLocks noChangeShapeType="1"/>
                </p:cNvSpPr>
                <p:nvPr/>
              </p:nvSpPr>
              <p:spPr bwMode="auto">
                <a:xfrm>
                  <a:off x="4381073" y="3098512"/>
                  <a:ext cx="0" cy="0"/>
                </a:xfrm>
                <a:prstGeom prst="line">
                  <a:avLst/>
                </a:pr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88" name="Rectangle 540"/>
                <p:cNvSpPr>
                  <a:spLocks noChangeArrowheads="1"/>
                </p:cNvSpPr>
                <p:nvPr/>
              </p:nvSpPr>
              <p:spPr bwMode="auto">
                <a:xfrm>
                  <a:off x="4381073" y="3098512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89" name="Rectangle 541"/>
                <p:cNvSpPr>
                  <a:spLocks noChangeArrowheads="1"/>
                </p:cNvSpPr>
                <p:nvPr/>
              </p:nvSpPr>
              <p:spPr bwMode="auto">
                <a:xfrm>
                  <a:off x="4321717" y="3146986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90" name="Freeform 542"/>
                <p:cNvSpPr>
                  <a:spLocks/>
                </p:cNvSpPr>
                <p:nvPr/>
              </p:nvSpPr>
              <p:spPr bwMode="auto">
                <a:xfrm>
                  <a:off x="4321717" y="3148964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91" name="Freeform 543"/>
                <p:cNvSpPr>
                  <a:spLocks/>
                </p:cNvSpPr>
                <p:nvPr/>
              </p:nvSpPr>
              <p:spPr bwMode="auto">
                <a:xfrm>
                  <a:off x="4321717" y="3148964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92" name="Freeform 544"/>
                <p:cNvSpPr>
                  <a:spLocks/>
                </p:cNvSpPr>
                <p:nvPr/>
              </p:nvSpPr>
              <p:spPr bwMode="auto">
                <a:xfrm>
                  <a:off x="4321717" y="3148964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93" name="Rectangle 545"/>
                <p:cNvSpPr>
                  <a:spLocks noChangeArrowheads="1"/>
                </p:cNvSpPr>
                <p:nvPr/>
              </p:nvSpPr>
              <p:spPr bwMode="auto">
                <a:xfrm>
                  <a:off x="4321717" y="3148964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94" name="Rectangle 546"/>
                <p:cNvSpPr>
                  <a:spLocks noChangeArrowheads="1"/>
                </p:cNvSpPr>
                <p:nvPr/>
              </p:nvSpPr>
              <p:spPr bwMode="auto">
                <a:xfrm>
                  <a:off x="4321717" y="3148964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95" name="Freeform 547"/>
                <p:cNvSpPr>
                  <a:spLocks/>
                </p:cNvSpPr>
                <p:nvPr/>
              </p:nvSpPr>
              <p:spPr bwMode="auto">
                <a:xfrm>
                  <a:off x="4321717" y="3148964"/>
                  <a:ext cx="5936" cy="10882"/>
                </a:xfrm>
                <a:custGeom>
                  <a:avLst/>
                  <a:gdLst>
                    <a:gd name="T0" fmla="*/ 6 w 6"/>
                    <a:gd name="T1" fmla="*/ 11 h 11"/>
                    <a:gd name="T2" fmla="*/ 6 w 6"/>
                    <a:gd name="T3" fmla="*/ 11 h 11"/>
                    <a:gd name="T4" fmla="*/ 0 w 6"/>
                    <a:gd name="T5" fmla="*/ 5 h 11"/>
                    <a:gd name="T6" fmla="*/ 0 w 6"/>
                    <a:gd name="T7" fmla="*/ 3 h 11"/>
                    <a:gd name="T8" fmla="*/ 0 w 6"/>
                    <a:gd name="T9" fmla="*/ 0 h 11"/>
                    <a:gd name="T10" fmla="*/ 0 w 6"/>
                    <a:gd name="T11" fmla="*/ 0 h 11"/>
                    <a:gd name="T12" fmla="*/ 0 w 6"/>
                    <a:gd name="T13" fmla="*/ 3 h 11"/>
                    <a:gd name="T14" fmla="*/ 0 w 6"/>
                    <a:gd name="T15" fmla="*/ 5 h 11"/>
                    <a:gd name="T16" fmla="*/ 6 w 6"/>
                    <a:gd name="T17" fmla="*/ 11 h 11"/>
                    <a:gd name="T18" fmla="*/ 6 w 6"/>
                    <a:gd name="T19" fmla="*/ 11 h 11"/>
                    <a:gd name="T20" fmla="*/ 6 w 6"/>
                    <a:gd name="T2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" h="11">
                      <a:moveTo>
                        <a:pt x="6" y="11"/>
                      </a:moveTo>
                      <a:lnTo>
                        <a:pt x="6" y="11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6" y="11"/>
                      </a:lnTo>
                      <a:lnTo>
                        <a:pt x="6" y="11"/>
                      </a:lnTo>
                      <a:lnTo>
                        <a:pt x="6" y="1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96" name="Freeform 548"/>
                <p:cNvSpPr>
                  <a:spLocks noEditPoints="1"/>
                </p:cNvSpPr>
                <p:nvPr/>
              </p:nvSpPr>
              <p:spPr bwMode="auto">
                <a:xfrm>
                  <a:off x="4440428" y="3140061"/>
                  <a:ext cx="10882" cy="9893"/>
                </a:xfrm>
                <a:custGeom>
                  <a:avLst/>
                  <a:gdLst>
                    <a:gd name="T0" fmla="*/ 2 w 11"/>
                    <a:gd name="T1" fmla="*/ 10 h 10"/>
                    <a:gd name="T2" fmla="*/ 2 w 11"/>
                    <a:gd name="T3" fmla="*/ 10 h 10"/>
                    <a:gd name="T4" fmla="*/ 5 w 11"/>
                    <a:gd name="T5" fmla="*/ 9 h 10"/>
                    <a:gd name="T6" fmla="*/ 8 w 11"/>
                    <a:gd name="T7" fmla="*/ 6 h 10"/>
                    <a:gd name="T8" fmla="*/ 11 w 11"/>
                    <a:gd name="T9" fmla="*/ 0 h 10"/>
                    <a:gd name="T10" fmla="*/ 11 w 11"/>
                    <a:gd name="T11" fmla="*/ 0 h 10"/>
                    <a:gd name="T12" fmla="*/ 11 w 11"/>
                    <a:gd name="T13" fmla="*/ 0 h 10"/>
                    <a:gd name="T14" fmla="*/ 8 w 11"/>
                    <a:gd name="T15" fmla="*/ 6 h 10"/>
                    <a:gd name="T16" fmla="*/ 5 w 11"/>
                    <a:gd name="T17" fmla="*/ 9 h 10"/>
                    <a:gd name="T18" fmla="*/ 2 w 11"/>
                    <a:gd name="T19" fmla="*/ 10 h 10"/>
                    <a:gd name="T20" fmla="*/ 2 w 11"/>
                    <a:gd name="T21" fmla="*/ 10 h 10"/>
                    <a:gd name="T22" fmla="*/ 2 w 11"/>
                    <a:gd name="T23" fmla="*/ 10 h 10"/>
                    <a:gd name="T24" fmla="*/ 2 w 11"/>
                    <a:gd name="T25" fmla="*/ 10 h 10"/>
                    <a:gd name="T26" fmla="*/ 2 w 11"/>
                    <a:gd name="T27" fmla="*/ 10 h 10"/>
                    <a:gd name="T28" fmla="*/ 2 w 11"/>
                    <a:gd name="T29" fmla="*/ 10 h 10"/>
                    <a:gd name="T30" fmla="*/ 0 w 11"/>
                    <a:gd name="T31" fmla="*/ 10 h 10"/>
                    <a:gd name="T32" fmla="*/ 2 w 11"/>
                    <a:gd name="T33" fmla="*/ 10 h 10"/>
                    <a:gd name="T34" fmla="*/ 0 w 11"/>
                    <a:gd name="T35" fmla="*/ 10 h 10"/>
                    <a:gd name="T36" fmla="*/ 0 w 11"/>
                    <a:gd name="T37" fmla="*/ 10 h 10"/>
                    <a:gd name="T38" fmla="*/ 0 w 11"/>
                    <a:gd name="T39" fmla="*/ 10 h 10"/>
                    <a:gd name="T40" fmla="*/ 0 w 11"/>
                    <a:gd name="T41" fmla="*/ 10 h 10"/>
                    <a:gd name="T42" fmla="*/ 0 w 11"/>
                    <a:gd name="T43" fmla="*/ 10 h 10"/>
                    <a:gd name="T44" fmla="*/ 0 w 11"/>
                    <a:gd name="T45" fmla="*/ 10 h 10"/>
                    <a:gd name="T46" fmla="*/ 0 w 11"/>
                    <a:gd name="T47" fmla="*/ 10 h 10"/>
                    <a:gd name="T48" fmla="*/ 0 w 11"/>
                    <a:gd name="T49" fmla="*/ 10 h 10"/>
                    <a:gd name="T50" fmla="*/ 0 w 11"/>
                    <a:gd name="T51" fmla="*/ 10 h 10"/>
                    <a:gd name="T52" fmla="*/ 0 w 11"/>
                    <a:gd name="T53" fmla="*/ 10 h 10"/>
                    <a:gd name="T54" fmla="*/ 0 w 11"/>
                    <a:gd name="T55" fmla="*/ 10 h 10"/>
                    <a:gd name="T56" fmla="*/ 0 w 11"/>
                    <a:gd name="T57" fmla="*/ 10 h 10"/>
                    <a:gd name="T58" fmla="*/ 0 w 11"/>
                    <a:gd name="T59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1" h="10">
                      <a:moveTo>
                        <a:pt x="2" y="10"/>
                      </a:moveTo>
                      <a:lnTo>
                        <a:pt x="2" y="10"/>
                      </a:lnTo>
                      <a:lnTo>
                        <a:pt x="5" y="9"/>
                      </a:lnTo>
                      <a:lnTo>
                        <a:pt x="8" y="6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8" y="6"/>
                      </a:lnTo>
                      <a:lnTo>
                        <a:pt x="5" y="9"/>
                      </a:lnTo>
                      <a:lnTo>
                        <a:pt x="2" y="10"/>
                      </a:lnTo>
                      <a:close/>
                      <a:moveTo>
                        <a:pt x="2" y="10"/>
                      </a:moveTo>
                      <a:lnTo>
                        <a:pt x="2" y="10"/>
                      </a:lnTo>
                      <a:lnTo>
                        <a:pt x="2" y="10"/>
                      </a:lnTo>
                      <a:lnTo>
                        <a:pt x="2" y="10"/>
                      </a:lnTo>
                      <a:lnTo>
                        <a:pt x="2" y="10"/>
                      </a:lnTo>
                      <a:close/>
                      <a:moveTo>
                        <a:pt x="0" y="10"/>
                      </a:moveTo>
                      <a:lnTo>
                        <a:pt x="2" y="10"/>
                      </a:lnTo>
                      <a:lnTo>
                        <a:pt x="0" y="10"/>
                      </a:lnTo>
                      <a:close/>
                      <a:moveTo>
                        <a:pt x="0" y="10"/>
                      </a:move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close/>
                      <a:moveTo>
                        <a:pt x="0" y="10"/>
                      </a:moveTo>
                      <a:lnTo>
                        <a:pt x="0" y="10"/>
                      </a:lnTo>
                      <a:lnTo>
                        <a:pt x="0" y="10"/>
                      </a:lnTo>
                      <a:close/>
                      <a:moveTo>
                        <a:pt x="0" y="10"/>
                      </a:move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97" name="Freeform 549"/>
                <p:cNvSpPr>
                  <a:spLocks/>
                </p:cNvSpPr>
                <p:nvPr/>
              </p:nvSpPr>
              <p:spPr bwMode="auto">
                <a:xfrm>
                  <a:off x="4442407" y="3140061"/>
                  <a:ext cx="8903" cy="9893"/>
                </a:xfrm>
                <a:custGeom>
                  <a:avLst/>
                  <a:gdLst>
                    <a:gd name="T0" fmla="*/ 0 w 9"/>
                    <a:gd name="T1" fmla="*/ 10 h 10"/>
                    <a:gd name="T2" fmla="*/ 0 w 9"/>
                    <a:gd name="T3" fmla="*/ 10 h 10"/>
                    <a:gd name="T4" fmla="*/ 3 w 9"/>
                    <a:gd name="T5" fmla="*/ 9 h 10"/>
                    <a:gd name="T6" fmla="*/ 6 w 9"/>
                    <a:gd name="T7" fmla="*/ 6 h 10"/>
                    <a:gd name="T8" fmla="*/ 9 w 9"/>
                    <a:gd name="T9" fmla="*/ 0 h 10"/>
                    <a:gd name="T10" fmla="*/ 9 w 9"/>
                    <a:gd name="T11" fmla="*/ 0 h 10"/>
                    <a:gd name="T12" fmla="*/ 9 w 9"/>
                    <a:gd name="T13" fmla="*/ 0 h 10"/>
                    <a:gd name="T14" fmla="*/ 6 w 9"/>
                    <a:gd name="T15" fmla="*/ 6 h 10"/>
                    <a:gd name="T16" fmla="*/ 3 w 9"/>
                    <a:gd name="T17" fmla="*/ 9 h 10"/>
                    <a:gd name="T18" fmla="*/ 0 w 9"/>
                    <a:gd name="T19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" h="10">
                      <a:moveTo>
                        <a:pt x="0" y="10"/>
                      </a:moveTo>
                      <a:lnTo>
                        <a:pt x="0" y="10"/>
                      </a:lnTo>
                      <a:lnTo>
                        <a:pt x="3" y="9"/>
                      </a:lnTo>
                      <a:lnTo>
                        <a:pt x="6" y="6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6" y="6"/>
                      </a:lnTo>
                      <a:lnTo>
                        <a:pt x="3" y="9"/>
                      </a:lnTo>
                      <a:lnTo>
                        <a:pt x="0" y="1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98" name="Rectangle 550"/>
                <p:cNvSpPr>
                  <a:spLocks noChangeArrowheads="1"/>
                </p:cNvSpPr>
                <p:nvPr/>
              </p:nvSpPr>
              <p:spPr bwMode="auto">
                <a:xfrm>
                  <a:off x="4442407" y="3149954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99" name="Freeform 551"/>
                <p:cNvSpPr>
                  <a:spLocks/>
                </p:cNvSpPr>
                <p:nvPr/>
              </p:nvSpPr>
              <p:spPr bwMode="auto">
                <a:xfrm>
                  <a:off x="4440428" y="3149954"/>
                  <a:ext cx="1979" cy="0"/>
                </a:xfrm>
                <a:custGeom>
                  <a:avLst/>
                  <a:gdLst>
                    <a:gd name="T0" fmla="*/ 0 w 2"/>
                    <a:gd name="T1" fmla="*/ 2 w 2"/>
                    <a:gd name="T2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00" name="Rectangle 552"/>
                <p:cNvSpPr>
                  <a:spLocks noChangeArrowheads="1"/>
                </p:cNvSpPr>
                <p:nvPr/>
              </p:nvSpPr>
              <p:spPr bwMode="auto">
                <a:xfrm>
                  <a:off x="4440428" y="3149954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01" name="Freeform 553"/>
                <p:cNvSpPr>
                  <a:spLocks/>
                </p:cNvSpPr>
                <p:nvPr/>
              </p:nvSpPr>
              <p:spPr bwMode="auto">
                <a:xfrm>
                  <a:off x="4440428" y="3149954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02" name="Freeform 554"/>
                <p:cNvSpPr>
                  <a:spLocks/>
                </p:cNvSpPr>
                <p:nvPr/>
              </p:nvSpPr>
              <p:spPr bwMode="auto">
                <a:xfrm>
                  <a:off x="4440428" y="3149954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03" name="Freeform 555"/>
                <p:cNvSpPr>
                  <a:spLocks/>
                </p:cNvSpPr>
                <p:nvPr/>
              </p:nvSpPr>
              <p:spPr bwMode="auto">
                <a:xfrm>
                  <a:off x="4413718" y="3149954"/>
                  <a:ext cx="11871" cy="5936"/>
                </a:xfrm>
                <a:custGeom>
                  <a:avLst/>
                  <a:gdLst>
                    <a:gd name="T0" fmla="*/ 0 w 12"/>
                    <a:gd name="T1" fmla="*/ 6 h 6"/>
                    <a:gd name="T2" fmla="*/ 0 w 12"/>
                    <a:gd name="T3" fmla="*/ 6 h 6"/>
                    <a:gd name="T4" fmla="*/ 0 w 12"/>
                    <a:gd name="T5" fmla="*/ 6 h 6"/>
                    <a:gd name="T6" fmla="*/ 12 w 12"/>
                    <a:gd name="T7" fmla="*/ 0 h 6"/>
                    <a:gd name="T8" fmla="*/ 12 w 12"/>
                    <a:gd name="T9" fmla="*/ 0 h 6"/>
                    <a:gd name="T10" fmla="*/ 0 w 12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6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04" name="Freeform 556"/>
                <p:cNvSpPr>
                  <a:spLocks/>
                </p:cNvSpPr>
                <p:nvPr/>
              </p:nvSpPr>
              <p:spPr bwMode="auto">
                <a:xfrm>
                  <a:off x="4413718" y="3149954"/>
                  <a:ext cx="11871" cy="5936"/>
                </a:xfrm>
                <a:custGeom>
                  <a:avLst/>
                  <a:gdLst>
                    <a:gd name="T0" fmla="*/ 0 w 12"/>
                    <a:gd name="T1" fmla="*/ 6 h 6"/>
                    <a:gd name="T2" fmla="*/ 0 w 12"/>
                    <a:gd name="T3" fmla="*/ 6 h 6"/>
                    <a:gd name="T4" fmla="*/ 0 w 12"/>
                    <a:gd name="T5" fmla="*/ 6 h 6"/>
                    <a:gd name="T6" fmla="*/ 12 w 12"/>
                    <a:gd name="T7" fmla="*/ 0 h 6"/>
                    <a:gd name="T8" fmla="*/ 12 w 12"/>
                    <a:gd name="T9" fmla="*/ 0 h 6"/>
                    <a:gd name="T10" fmla="*/ 0 w 12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6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05" name="Freeform 557"/>
                <p:cNvSpPr>
                  <a:spLocks/>
                </p:cNvSpPr>
                <p:nvPr/>
              </p:nvSpPr>
              <p:spPr bwMode="auto">
                <a:xfrm>
                  <a:off x="4123865" y="3065866"/>
                  <a:ext cx="90023" cy="70237"/>
                </a:xfrm>
                <a:custGeom>
                  <a:avLst/>
                  <a:gdLst>
                    <a:gd name="T0" fmla="*/ 11 w 91"/>
                    <a:gd name="T1" fmla="*/ 69 h 71"/>
                    <a:gd name="T2" fmla="*/ 8 w 91"/>
                    <a:gd name="T3" fmla="*/ 68 h 71"/>
                    <a:gd name="T4" fmla="*/ 8 w 91"/>
                    <a:gd name="T5" fmla="*/ 63 h 71"/>
                    <a:gd name="T6" fmla="*/ 11 w 91"/>
                    <a:gd name="T7" fmla="*/ 56 h 71"/>
                    <a:gd name="T8" fmla="*/ 29 w 91"/>
                    <a:gd name="T9" fmla="*/ 55 h 71"/>
                    <a:gd name="T10" fmla="*/ 43 w 91"/>
                    <a:gd name="T11" fmla="*/ 56 h 71"/>
                    <a:gd name="T12" fmla="*/ 43 w 91"/>
                    <a:gd name="T13" fmla="*/ 56 h 71"/>
                    <a:gd name="T14" fmla="*/ 49 w 91"/>
                    <a:gd name="T15" fmla="*/ 55 h 71"/>
                    <a:gd name="T16" fmla="*/ 49 w 91"/>
                    <a:gd name="T17" fmla="*/ 53 h 71"/>
                    <a:gd name="T18" fmla="*/ 49 w 91"/>
                    <a:gd name="T19" fmla="*/ 49 h 71"/>
                    <a:gd name="T20" fmla="*/ 43 w 91"/>
                    <a:gd name="T21" fmla="*/ 43 h 71"/>
                    <a:gd name="T22" fmla="*/ 43 w 91"/>
                    <a:gd name="T23" fmla="*/ 43 h 71"/>
                    <a:gd name="T24" fmla="*/ 37 w 91"/>
                    <a:gd name="T25" fmla="*/ 42 h 71"/>
                    <a:gd name="T26" fmla="*/ 37 w 91"/>
                    <a:gd name="T27" fmla="*/ 42 h 71"/>
                    <a:gd name="T28" fmla="*/ 36 w 91"/>
                    <a:gd name="T29" fmla="*/ 42 h 71"/>
                    <a:gd name="T30" fmla="*/ 36 w 91"/>
                    <a:gd name="T31" fmla="*/ 42 h 71"/>
                    <a:gd name="T32" fmla="*/ 13 w 91"/>
                    <a:gd name="T33" fmla="*/ 49 h 71"/>
                    <a:gd name="T34" fmla="*/ 13 w 91"/>
                    <a:gd name="T35" fmla="*/ 49 h 71"/>
                    <a:gd name="T36" fmla="*/ 8 w 91"/>
                    <a:gd name="T37" fmla="*/ 47 h 71"/>
                    <a:gd name="T38" fmla="*/ 6 w 91"/>
                    <a:gd name="T39" fmla="*/ 39 h 71"/>
                    <a:gd name="T40" fmla="*/ 4 w 91"/>
                    <a:gd name="T41" fmla="*/ 34 h 71"/>
                    <a:gd name="T42" fmla="*/ 0 w 91"/>
                    <a:gd name="T43" fmla="*/ 30 h 71"/>
                    <a:gd name="T44" fmla="*/ 3 w 91"/>
                    <a:gd name="T45" fmla="*/ 26 h 71"/>
                    <a:gd name="T46" fmla="*/ 10 w 91"/>
                    <a:gd name="T47" fmla="*/ 16 h 71"/>
                    <a:gd name="T48" fmla="*/ 14 w 91"/>
                    <a:gd name="T49" fmla="*/ 3 h 71"/>
                    <a:gd name="T50" fmla="*/ 36 w 91"/>
                    <a:gd name="T51" fmla="*/ 0 h 71"/>
                    <a:gd name="T52" fmla="*/ 37 w 91"/>
                    <a:gd name="T53" fmla="*/ 0 h 71"/>
                    <a:gd name="T54" fmla="*/ 45 w 91"/>
                    <a:gd name="T55" fmla="*/ 1 h 71"/>
                    <a:gd name="T56" fmla="*/ 45 w 91"/>
                    <a:gd name="T57" fmla="*/ 1 h 71"/>
                    <a:gd name="T58" fmla="*/ 50 w 91"/>
                    <a:gd name="T59" fmla="*/ 5 h 71"/>
                    <a:gd name="T60" fmla="*/ 64 w 91"/>
                    <a:gd name="T61" fmla="*/ 5 h 71"/>
                    <a:gd name="T62" fmla="*/ 65 w 91"/>
                    <a:gd name="T63" fmla="*/ 14 h 71"/>
                    <a:gd name="T64" fmla="*/ 69 w 91"/>
                    <a:gd name="T65" fmla="*/ 21 h 71"/>
                    <a:gd name="T66" fmla="*/ 74 w 91"/>
                    <a:gd name="T67" fmla="*/ 23 h 71"/>
                    <a:gd name="T68" fmla="*/ 78 w 91"/>
                    <a:gd name="T69" fmla="*/ 40 h 71"/>
                    <a:gd name="T70" fmla="*/ 84 w 91"/>
                    <a:gd name="T71" fmla="*/ 50 h 71"/>
                    <a:gd name="T72" fmla="*/ 90 w 91"/>
                    <a:gd name="T73" fmla="*/ 59 h 71"/>
                    <a:gd name="T74" fmla="*/ 90 w 91"/>
                    <a:gd name="T75" fmla="*/ 59 h 71"/>
                    <a:gd name="T76" fmla="*/ 91 w 91"/>
                    <a:gd name="T77" fmla="*/ 66 h 71"/>
                    <a:gd name="T78" fmla="*/ 84 w 91"/>
                    <a:gd name="T79" fmla="*/ 69 h 71"/>
                    <a:gd name="T80" fmla="*/ 84 w 91"/>
                    <a:gd name="T81" fmla="*/ 69 h 71"/>
                    <a:gd name="T82" fmla="*/ 84 w 91"/>
                    <a:gd name="T83" fmla="*/ 69 h 71"/>
                    <a:gd name="T84" fmla="*/ 52 w 91"/>
                    <a:gd name="T85" fmla="*/ 6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1" h="71">
                      <a:moveTo>
                        <a:pt x="11" y="71"/>
                      </a:moveTo>
                      <a:lnTo>
                        <a:pt x="11" y="71"/>
                      </a:lnTo>
                      <a:lnTo>
                        <a:pt x="11" y="69"/>
                      </a:lnTo>
                      <a:lnTo>
                        <a:pt x="11" y="69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7" y="65"/>
                      </a:lnTo>
                      <a:lnTo>
                        <a:pt x="8" y="63"/>
                      </a:lnTo>
                      <a:lnTo>
                        <a:pt x="8" y="63"/>
                      </a:lnTo>
                      <a:lnTo>
                        <a:pt x="10" y="59"/>
                      </a:lnTo>
                      <a:lnTo>
                        <a:pt x="10" y="59"/>
                      </a:lnTo>
                      <a:lnTo>
                        <a:pt x="11" y="56"/>
                      </a:lnTo>
                      <a:lnTo>
                        <a:pt x="11" y="56"/>
                      </a:lnTo>
                      <a:lnTo>
                        <a:pt x="29" y="55"/>
                      </a:lnTo>
                      <a:lnTo>
                        <a:pt x="29" y="55"/>
                      </a:lnTo>
                      <a:lnTo>
                        <a:pt x="36" y="55"/>
                      </a:lnTo>
                      <a:lnTo>
                        <a:pt x="36" y="55"/>
                      </a:lnTo>
                      <a:lnTo>
                        <a:pt x="43" y="56"/>
                      </a:lnTo>
                      <a:lnTo>
                        <a:pt x="43" y="56"/>
                      </a:lnTo>
                      <a:lnTo>
                        <a:pt x="43" y="56"/>
                      </a:lnTo>
                      <a:lnTo>
                        <a:pt x="43" y="56"/>
                      </a:lnTo>
                      <a:lnTo>
                        <a:pt x="46" y="55"/>
                      </a:lnTo>
                      <a:lnTo>
                        <a:pt x="49" y="55"/>
                      </a:lnTo>
                      <a:lnTo>
                        <a:pt x="49" y="55"/>
                      </a:lnTo>
                      <a:lnTo>
                        <a:pt x="49" y="55"/>
                      </a:lnTo>
                      <a:lnTo>
                        <a:pt x="49" y="55"/>
                      </a:lnTo>
                      <a:lnTo>
                        <a:pt x="49" y="53"/>
                      </a:lnTo>
                      <a:lnTo>
                        <a:pt x="49" y="53"/>
                      </a:lnTo>
                      <a:lnTo>
                        <a:pt x="50" y="52"/>
                      </a:lnTo>
                      <a:lnTo>
                        <a:pt x="49" y="49"/>
                      </a:lnTo>
                      <a:lnTo>
                        <a:pt x="43" y="43"/>
                      </a:lnTo>
                      <a:lnTo>
                        <a:pt x="43" y="43"/>
                      </a:lnTo>
                      <a:lnTo>
                        <a:pt x="43" y="43"/>
                      </a:lnTo>
                      <a:lnTo>
                        <a:pt x="43" y="43"/>
                      </a:lnTo>
                      <a:lnTo>
                        <a:pt x="43" y="43"/>
                      </a:lnTo>
                      <a:lnTo>
                        <a:pt x="43" y="43"/>
                      </a:lnTo>
                      <a:lnTo>
                        <a:pt x="39" y="42"/>
                      </a:lnTo>
                      <a:lnTo>
                        <a:pt x="39" y="42"/>
                      </a:lnTo>
                      <a:lnTo>
                        <a:pt x="37" y="42"/>
                      </a:lnTo>
                      <a:lnTo>
                        <a:pt x="37" y="42"/>
                      </a:lnTo>
                      <a:lnTo>
                        <a:pt x="37" y="42"/>
                      </a:lnTo>
                      <a:lnTo>
                        <a:pt x="37" y="42"/>
                      </a:lnTo>
                      <a:lnTo>
                        <a:pt x="37" y="42"/>
                      </a:lnTo>
                      <a:lnTo>
                        <a:pt x="36" y="42"/>
                      </a:lnTo>
                      <a:lnTo>
                        <a:pt x="36" y="42"/>
                      </a:lnTo>
                      <a:lnTo>
                        <a:pt x="36" y="42"/>
                      </a:lnTo>
                      <a:lnTo>
                        <a:pt x="36" y="42"/>
                      </a:lnTo>
                      <a:lnTo>
                        <a:pt x="36" y="42"/>
                      </a:lnTo>
                      <a:lnTo>
                        <a:pt x="27" y="46"/>
                      </a:lnTo>
                      <a:lnTo>
                        <a:pt x="20" y="49"/>
                      </a:lnTo>
                      <a:lnTo>
                        <a:pt x="13" y="49"/>
                      </a:lnTo>
                      <a:lnTo>
                        <a:pt x="13" y="49"/>
                      </a:lnTo>
                      <a:lnTo>
                        <a:pt x="13" y="49"/>
                      </a:lnTo>
                      <a:lnTo>
                        <a:pt x="13" y="49"/>
                      </a:lnTo>
                      <a:lnTo>
                        <a:pt x="10" y="49"/>
                      </a:lnTo>
                      <a:lnTo>
                        <a:pt x="10" y="49"/>
                      </a:lnTo>
                      <a:lnTo>
                        <a:pt x="8" y="47"/>
                      </a:lnTo>
                      <a:lnTo>
                        <a:pt x="8" y="47"/>
                      </a:lnTo>
                      <a:lnTo>
                        <a:pt x="7" y="42"/>
                      </a:lnTo>
                      <a:lnTo>
                        <a:pt x="6" y="39"/>
                      </a:lnTo>
                      <a:lnTo>
                        <a:pt x="6" y="39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0" y="32"/>
                      </a:lnTo>
                      <a:lnTo>
                        <a:pt x="0" y="32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3" y="26"/>
                      </a:lnTo>
                      <a:lnTo>
                        <a:pt x="3" y="26"/>
                      </a:lnTo>
                      <a:lnTo>
                        <a:pt x="7" y="20"/>
                      </a:lnTo>
                      <a:lnTo>
                        <a:pt x="7" y="20"/>
                      </a:lnTo>
                      <a:lnTo>
                        <a:pt x="10" y="16"/>
                      </a:lnTo>
                      <a:lnTo>
                        <a:pt x="13" y="10"/>
                      </a:lnTo>
                      <a:lnTo>
                        <a:pt x="13" y="10"/>
                      </a:lnTo>
                      <a:lnTo>
                        <a:pt x="14" y="3"/>
                      </a:lnTo>
                      <a:lnTo>
                        <a:pt x="14" y="3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7" y="0"/>
                      </a:lnTo>
                      <a:lnTo>
                        <a:pt x="37" y="0"/>
                      </a:lnTo>
                      <a:lnTo>
                        <a:pt x="37" y="0"/>
                      </a:lnTo>
                      <a:lnTo>
                        <a:pt x="45" y="1"/>
                      </a:lnTo>
                      <a:lnTo>
                        <a:pt x="45" y="1"/>
                      </a:lnTo>
                      <a:lnTo>
                        <a:pt x="45" y="1"/>
                      </a:lnTo>
                      <a:lnTo>
                        <a:pt x="45" y="1"/>
                      </a:lnTo>
                      <a:lnTo>
                        <a:pt x="45" y="1"/>
                      </a:lnTo>
                      <a:lnTo>
                        <a:pt x="45" y="1"/>
                      </a:lnTo>
                      <a:lnTo>
                        <a:pt x="48" y="3"/>
                      </a:lnTo>
                      <a:lnTo>
                        <a:pt x="49" y="4"/>
                      </a:lnTo>
                      <a:lnTo>
                        <a:pt x="50" y="5"/>
                      </a:lnTo>
                      <a:lnTo>
                        <a:pt x="53" y="5"/>
                      </a:lnTo>
                      <a:lnTo>
                        <a:pt x="64" y="5"/>
                      </a:lnTo>
                      <a:lnTo>
                        <a:pt x="64" y="5"/>
                      </a:lnTo>
                      <a:lnTo>
                        <a:pt x="64" y="8"/>
                      </a:lnTo>
                      <a:lnTo>
                        <a:pt x="64" y="8"/>
                      </a:lnTo>
                      <a:lnTo>
                        <a:pt x="65" y="14"/>
                      </a:lnTo>
                      <a:lnTo>
                        <a:pt x="66" y="17"/>
                      </a:lnTo>
                      <a:lnTo>
                        <a:pt x="69" y="21"/>
                      </a:lnTo>
                      <a:lnTo>
                        <a:pt x="69" y="21"/>
                      </a:lnTo>
                      <a:lnTo>
                        <a:pt x="72" y="23"/>
                      </a:lnTo>
                      <a:lnTo>
                        <a:pt x="74" y="23"/>
                      </a:lnTo>
                      <a:lnTo>
                        <a:pt x="74" y="23"/>
                      </a:lnTo>
                      <a:lnTo>
                        <a:pt x="75" y="23"/>
                      </a:lnTo>
                      <a:lnTo>
                        <a:pt x="75" y="23"/>
                      </a:lnTo>
                      <a:lnTo>
                        <a:pt x="78" y="40"/>
                      </a:lnTo>
                      <a:lnTo>
                        <a:pt x="78" y="40"/>
                      </a:lnTo>
                      <a:lnTo>
                        <a:pt x="81" y="46"/>
                      </a:lnTo>
                      <a:lnTo>
                        <a:pt x="84" y="50"/>
                      </a:lnTo>
                      <a:lnTo>
                        <a:pt x="87" y="55"/>
                      </a:lnTo>
                      <a:lnTo>
                        <a:pt x="90" y="59"/>
                      </a:lnTo>
                      <a:lnTo>
                        <a:pt x="90" y="59"/>
                      </a:lnTo>
                      <a:lnTo>
                        <a:pt x="90" y="59"/>
                      </a:lnTo>
                      <a:lnTo>
                        <a:pt x="90" y="59"/>
                      </a:lnTo>
                      <a:lnTo>
                        <a:pt x="90" y="59"/>
                      </a:lnTo>
                      <a:lnTo>
                        <a:pt x="90" y="59"/>
                      </a:lnTo>
                      <a:lnTo>
                        <a:pt x="91" y="66"/>
                      </a:lnTo>
                      <a:lnTo>
                        <a:pt x="91" y="66"/>
                      </a:lnTo>
                      <a:lnTo>
                        <a:pt x="88" y="69"/>
                      </a:lnTo>
                      <a:lnTo>
                        <a:pt x="84" y="69"/>
                      </a:lnTo>
                      <a:lnTo>
                        <a:pt x="84" y="69"/>
                      </a:lnTo>
                      <a:lnTo>
                        <a:pt x="84" y="69"/>
                      </a:lnTo>
                      <a:lnTo>
                        <a:pt x="84" y="69"/>
                      </a:lnTo>
                      <a:lnTo>
                        <a:pt x="84" y="69"/>
                      </a:lnTo>
                      <a:lnTo>
                        <a:pt x="84" y="69"/>
                      </a:lnTo>
                      <a:lnTo>
                        <a:pt x="84" y="69"/>
                      </a:lnTo>
                      <a:lnTo>
                        <a:pt x="84" y="69"/>
                      </a:lnTo>
                      <a:lnTo>
                        <a:pt x="66" y="66"/>
                      </a:lnTo>
                      <a:lnTo>
                        <a:pt x="53" y="65"/>
                      </a:lnTo>
                      <a:lnTo>
                        <a:pt x="52" y="65"/>
                      </a:lnTo>
                      <a:lnTo>
                        <a:pt x="52" y="65"/>
                      </a:lnTo>
                      <a:lnTo>
                        <a:pt x="11" y="7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06" name="Freeform 558"/>
                <p:cNvSpPr>
                  <a:spLocks/>
                </p:cNvSpPr>
                <p:nvPr/>
              </p:nvSpPr>
              <p:spPr bwMode="auto">
                <a:xfrm>
                  <a:off x="4141672" y="3065866"/>
                  <a:ext cx="90023" cy="70237"/>
                </a:xfrm>
                <a:custGeom>
                  <a:avLst/>
                  <a:gdLst>
                    <a:gd name="T0" fmla="*/ 11 w 91"/>
                    <a:gd name="T1" fmla="*/ 69 h 71"/>
                    <a:gd name="T2" fmla="*/ 8 w 91"/>
                    <a:gd name="T3" fmla="*/ 68 h 71"/>
                    <a:gd name="T4" fmla="*/ 8 w 91"/>
                    <a:gd name="T5" fmla="*/ 63 h 71"/>
                    <a:gd name="T6" fmla="*/ 11 w 91"/>
                    <a:gd name="T7" fmla="*/ 56 h 71"/>
                    <a:gd name="T8" fmla="*/ 29 w 91"/>
                    <a:gd name="T9" fmla="*/ 55 h 71"/>
                    <a:gd name="T10" fmla="*/ 43 w 91"/>
                    <a:gd name="T11" fmla="*/ 56 h 71"/>
                    <a:gd name="T12" fmla="*/ 43 w 91"/>
                    <a:gd name="T13" fmla="*/ 56 h 71"/>
                    <a:gd name="T14" fmla="*/ 49 w 91"/>
                    <a:gd name="T15" fmla="*/ 55 h 71"/>
                    <a:gd name="T16" fmla="*/ 49 w 91"/>
                    <a:gd name="T17" fmla="*/ 53 h 71"/>
                    <a:gd name="T18" fmla="*/ 49 w 91"/>
                    <a:gd name="T19" fmla="*/ 49 h 71"/>
                    <a:gd name="T20" fmla="*/ 43 w 91"/>
                    <a:gd name="T21" fmla="*/ 43 h 71"/>
                    <a:gd name="T22" fmla="*/ 43 w 91"/>
                    <a:gd name="T23" fmla="*/ 43 h 71"/>
                    <a:gd name="T24" fmla="*/ 37 w 91"/>
                    <a:gd name="T25" fmla="*/ 42 h 71"/>
                    <a:gd name="T26" fmla="*/ 37 w 91"/>
                    <a:gd name="T27" fmla="*/ 42 h 71"/>
                    <a:gd name="T28" fmla="*/ 36 w 91"/>
                    <a:gd name="T29" fmla="*/ 42 h 71"/>
                    <a:gd name="T30" fmla="*/ 36 w 91"/>
                    <a:gd name="T31" fmla="*/ 42 h 71"/>
                    <a:gd name="T32" fmla="*/ 13 w 91"/>
                    <a:gd name="T33" fmla="*/ 49 h 71"/>
                    <a:gd name="T34" fmla="*/ 13 w 91"/>
                    <a:gd name="T35" fmla="*/ 49 h 71"/>
                    <a:gd name="T36" fmla="*/ 8 w 91"/>
                    <a:gd name="T37" fmla="*/ 47 h 71"/>
                    <a:gd name="T38" fmla="*/ 6 w 91"/>
                    <a:gd name="T39" fmla="*/ 39 h 71"/>
                    <a:gd name="T40" fmla="*/ 4 w 91"/>
                    <a:gd name="T41" fmla="*/ 34 h 71"/>
                    <a:gd name="T42" fmla="*/ 0 w 91"/>
                    <a:gd name="T43" fmla="*/ 30 h 71"/>
                    <a:gd name="T44" fmla="*/ 3 w 91"/>
                    <a:gd name="T45" fmla="*/ 26 h 71"/>
                    <a:gd name="T46" fmla="*/ 10 w 91"/>
                    <a:gd name="T47" fmla="*/ 16 h 71"/>
                    <a:gd name="T48" fmla="*/ 14 w 91"/>
                    <a:gd name="T49" fmla="*/ 3 h 71"/>
                    <a:gd name="T50" fmla="*/ 36 w 91"/>
                    <a:gd name="T51" fmla="*/ 0 h 71"/>
                    <a:gd name="T52" fmla="*/ 37 w 91"/>
                    <a:gd name="T53" fmla="*/ 0 h 71"/>
                    <a:gd name="T54" fmla="*/ 45 w 91"/>
                    <a:gd name="T55" fmla="*/ 1 h 71"/>
                    <a:gd name="T56" fmla="*/ 45 w 91"/>
                    <a:gd name="T57" fmla="*/ 1 h 71"/>
                    <a:gd name="T58" fmla="*/ 50 w 91"/>
                    <a:gd name="T59" fmla="*/ 5 h 71"/>
                    <a:gd name="T60" fmla="*/ 64 w 91"/>
                    <a:gd name="T61" fmla="*/ 5 h 71"/>
                    <a:gd name="T62" fmla="*/ 65 w 91"/>
                    <a:gd name="T63" fmla="*/ 14 h 71"/>
                    <a:gd name="T64" fmla="*/ 69 w 91"/>
                    <a:gd name="T65" fmla="*/ 21 h 71"/>
                    <a:gd name="T66" fmla="*/ 74 w 91"/>
                    <a:gd name="T67" fmla="*/ 23 h 71"/>
                    <a:gd name="T68" fmla="*/ 78 w 91"/>
                    <a:gd name="T69" fmla="*/ 40 h 71"/>
                    <a:gd name="T70" fmla="*/ 84 w 91"/>
                    <a:gd name="T71" fmla="*/ 50 h 71"/>
                    <a:gd name="T72" fmla="*/ 90 w 91"/>
                    <a:gd name="T73" fmla="*/ 59 h 71"/>
                    <a:gd name="T74" fmla="*/ 90 w 91"/>
                    <a:gd name="T75" fmla="*/ 59 h 71"/>
                    <a:gd name="T76" fmla="*/ 91 w 91"/>
                    <a:gd name="T77" fmla="*/ 66 h 71"/>
                    <a:gd name="T78" fmla="*/ 84 w 91"/>
                    <a:gd name="T79" fmla="*/ 69 h 71"/>
                    <a:gd name="T80" fmla="*/ 84 w 91"/>
                    <a:gd name="T81" fmla="*/ 69 h 71"/>
                    <a:gd name="T82" fmla="*/ 84 w 91"/>
                    <a:gd name="T83" fmla="*/ 69 h 71"/>
                    <a:gd name="T84" fmla="*/ 52 w 91"/>
                    <a:gd name="T85" fmla="*/ 6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1" h="71">
                      <a:moveTo>
                        <a:pt x="11" y="71"/>
                      </a:moveTo>
                      <a:lnTo>
                        <a:pt x="11" y="71"/>
                      </a:lnTo>
                      <a:lnTo>
                        <a:pt x="11" y="69"/>
                      </a:lnTo>
                      <a:lnTo>
                        <a:pt x="11" y="69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7" y="65"/>
                      </a:lnTo>
                      <a:lnTo>
                        <a:pt x="8" y="63"/>
                      </a:lnTo>
                      <a:lnTo>
                        <a:pt x="8" y="63"/>
                      </a:lnTo>
                      <a:lnTo>
                        <a:pt x="10" y="59"/>
                      </a:lnTo>
                      <a:lnTo>
                        <a:pt x="10" y="59"/>
                      </a:lnTo>
                      <a:lnTo>
                        <a:pt x="11" y="56"/>
                      </a:lnTo>
                      <a:lnTo>
                        <a:pt x="11" y="56"/>
                      </a:lnTo>
                      <a:lnTo>
                        <a:pt x="29" y="55"/>
                      </a:lnTo>
                      <a:lnTo>
                        <a:pt x="29" y="55"/>
                      </a:lnTo>
                      <a:lnTo>
                        <a:pt x="36" y="55"/>
                      </a:lnTo>
                      <a:lnTo>
                        <a:pt x="36" y="55"/>
                      </a:lnTo>
                      <a:lnTo>
                        <a:pt x="43" y="56"/>
                      </a:lnTo>
                      <a:lnTo>
                        <a:pt x="43" y="56"/>
                      </a:lnTo>
                      <a:lnTo>
                        <a:pt x="43" y="56"/>
                      </a:lnTo>
                      <a:lnTo>
                        <a:pt x="43" y="56"/>
                      </a:lnTo>
                      <a:lnTo>
                        <a:pt x="46" y="55"/>
                      </a:lnTo>
                      <a:lnTo>
                        <a:pt x="49" y="55"/>
                      </a:lnTo>
                      <a:lnTo>
                        <a:pt x="49" y="55"/>
                      </a:lnTo>
                      <a:lnTo>
                        <a:pt x="49" y="55"/>
                      </a:lnTo>
                      <a:lnTo>
                        <a:pt x="49" y="55"/>
                      </a:lnTo>
                      <a:lnTo>
                        <a:pt x="49" y="53"/>
                      </a:lnTo>
                      <a:lnTo>
                        <a:pt x="49" y="53"/>
                      </a:lnTo>
                      <a:lnTo>
                        <a:pt x="50" y="52"/>
                      </a:lnTo>
                      <a:lnTo>
                        <a:pt x="49" y="49"/>
                      </a:lnTo>
                      <a:lnTo>
                        <a:pt x="43" y="43"/>
                      </a:lnTo>
                      <a:lnTo>
                        <a:pt x="43" y="43"/>
                      </a:lnTo>
                      <a:lnTo>
                        <a:pt x="43" y="43"/>
                      </a:lnTo>
                      <a:lnTo>
                        <a:pt x="43" y="43"/>
                      </a:lnTo>
                      <a:lnTo>
                        <a:pt x="43" y="43"/>
                      </a:lnTo>
                      <a:lnTo>
                        <a:pt x="43" y="43"/>
                      </a:lnTo>
                      <a:lnTo>
                        <a:pt x="39" y="42"/>
                      </a:lnTo>
                      <a:lnTo>
                        <a:pt x="39" y="42"/>
                      </a:lnTo>
                      <a:lnTo>
                        <a:pt x="37" y="42"/>
                      </a:lnTo>
                      <a:lnTo>
                        <a:pt x="37" y="42"/>
                      </a:lnTo>
                      <a:lnTo>
                        <a:pt x="37" y="42"/>
                      </a:lnTo>
                      <a:lnTo>
                        <a:pt x="37" y="42"/>
                      </a:lnTo>
                      <a:lnTo>
                        <a:pt x="37" y="42"/>
                      </a:lnTo>
                      <a:lnTo>
                        <a:pt x="36" y="42"/>
                      </a:lnTo>
                      <a:lnTo>
                        <a:pt x="36" y="42"/>
                      </a:lnTo>
                      <a:lnTo>
                        <a:pt x="36" y="42"/>
                      </a:lnTo>
                      <a:lnTo>
                        <a:pt x="36" y="42"/>
                      </a:lnTo>
                      <a:lnTo>
                        <a:pt x="36" y="42"/>
                      </a:lnTo>
                      <a:lnTo>
                        <a:pt x="27" y="46"/>
                      </a:lnTo>
                      <a:lnTo>
                        <a:pt x="20" y="49"/>
                      </a:lnTo>
                      <a:lnTo>
                        <a:pt x="13" y="49"/>
                      </a:lnTo>
                      <a:lnTo>
                        <a:pt x="13" y="49"/>
                      </a:lnTo>
                      <a:lnTo>
                        <a:pt x="13" y="49"/>
                      </a:lnTo>
                      <a:lnTo>
                        <a:pt x="13" y="49"/>
                      </a:lnTo>
                      <a:lnTo>
                        <a:pt x="10" y="49"/>
                      </a:lnTo>
                      <a:lnTo>
                        <a:pt x="10" y="49"/>
                      </a:lnTo>
                      <a:lnTo>
                        <a:pt x="8" y="47"/>
                      </a:lnTo>
                      <a:lnTo>
                        <a:pt x="8" y="47"/>
                      </a:lnTo>
                      <a:lnTo>
                        <a:pt x="7" y="42"/>
                      </a:lnTo>
                      <a:lnTo>
                        <a:pt x="6" y="39"/>
                      </a:lnTo>
                      <a:lnTo>
                        <a:pt x="6" y="39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0" y="32"/>
                      </a:lnTo>
                      <a:lnTo>
                        <a:pt x="0" y="32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3" y="26"/>
                      </a:lnTo>
                      <a:lnTo>
                        <a:pt x="3" y="26"/>
                      </a:lnTo>
                      <a:lnTo>
                        <a:pt x="7" y="20"/>
                      </a:lnTo>
                      <a:lnTo>
                        <a:pt x="7" y="20"/>
                      </a:lnTo>
                      <a:lnTo>
                        <a:pt x="10" y="16"/>
                      </a:lnTo>
                      <a:lnTo>
                        <a:pt x="13" y="10"/>
                      </a:lnTo>
                      <a:lnTo>
                        <a:pt x="13" y="10"/>
                      </a:lnTo>
                      <a:lnTo>
                        <a:pt x="14" y="3"/>
                      </a:lnTo>
                      <a:lnTo>
                        <a:pt x="14" y="3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7" y="0"/>
                      </a:lnTo>
                      <a:lnTo>
                        <a:pt x="37" y="0"/>
                      </a:lnTo>
                      <a:lnTo>
                        <a:pt x="37" y="0"/>
                      </a:lnTo>
                      <a:lnTo>
                        <a:pt x="45" y="1"/>
                      </a:lnTo>
                      <a:lnTo>
                        <a:pt x="45" y="1"/>
                      </a:lnTo>
                      <a:lnTo>
                        <a:pt x="45" y="1"/>
                      </a:lnTo>
                      <a:lnTo>
                        <a:pt x="45" y="1"/>
                      </a:lnTo>
                      <a:lnTo>
                        <a:pt x="45" y="1"/>
                      </a:lnTo>
                      <a:lnTo>
                        <a:pt x="45" y="1"/>
                      </a:lnTo>
                      <a:lnTo>
                        <a:pt x="48" y="3"/>
                      </a:lnTo>
                      <a:lnTo>
                        <a:pt x="49" y="4"/>
                      </a:lnTo>
                      <a:lnTo>
                        <a:pt x="50" y="5"/>
                      </a:lnTo>
                      <a:lnTo>
                        <a:pt x="53" y="5"/>
                      </a:lnTo>
                      <a:lnTo>
                        <a:pt x="64" y="5"/>
                      </a:lnTo>
                      <a:lnTo>
                        <a:pt x="64" y="5"/>
                      </a:lnTo>
                      <a:lnTo>
                        <a:pt x="64" y="8"/>
                      </a:lnTo>
                      <a:lnTo>
                        <a:pt x="64" y="8"/>
                      </a:lnTo>
                      <a:lnTo>
                        <a:pt x="65" y="14"/>
                      </a:lnTo>
                      <a:lnTo>
                        <a:pt x="66" y="17"/>
                      </a:lnTo>
                      <a:lnTo>
                        <a:pt x="69" y="21"/>
                      </a:lnTo>
                      <a:lnTo>
                        <a:pt x="69" y="21"/>
                      </a:lnTo>
                      <a:lnTo>
                        <a:pt x="72" y="23"/>
                      </a:lnTo>
                      <a:lnTo>
                        <a:pt x="74" y="23"/>
                      </a:lnTo>
                      <a:lnTo>
                        <a:pt x="74" y="23"/>
                      </a:lnTo>
                      <a:lnTo>
                        <a:pt x="75" y="23"/>
                      </a:lnTo>
                      <a:lnTo>
                        <a:pt x="75" y="23"/>
                      </a:lnTo>
                      <a:lnTo>
                        <a:pt x="78" y="40"/>
                      </a:lnTo>
                      <a:lnTo>
                        <a:pt x="78" y="40"/>
                      </a:lnTo>
                      <a:lnTo>
                        <a:pt x="81" y="46"/>
                      </a:lnTo>
                      <a:lnTo>
                        <a:pt x="84" y="50"/>
                      </a:lnTo>
                      <a:lnTo>
                        <a:pt x="87" y="55"/>
                      </a:lnTo>
                      <a:lnTo>
                        <a:pt x="90" y="59"/>
                      </a:lnTo>
                      <a:lnTo>
                        <a:pt x="90" y="59"/>
                      </a:lnTo>
                      <a:lnTo>
                        <a:pt x="90" y="59"/>
                      </a:lnTo>
                      <a:lnTo>
                        <a:pt x="90" y="59"/>
                      </a:lnTo>
                      <a:lnTo>
                        <a:pt x="90" y="59"/>
                      </a:lnTo>
                      <a:lnTo>
                        <a:pt x="90" y="59"/>
                      </a:lnTo>
                      <a:lnTo>
                        <a:pt x="91" y="66"/>
                      </a:lnTo>
                      <a:lnTo>
                        <a:pt x="91" y="66"/>
                      </a:lnTo>
                      <a:lnTo>
                        <a:pt x="88" y="69"/>
                      </a:lnTo>
                      <a:lnTo>
                        <a:pt x="84" y="69"/>
                      </a:lnTo>
                      <a:lnTo>
                        <a:pt x="84" y="69"/>
                      </a:lnTo>
                      <a:lnTo>
                        <a:pt x="84" y="69"/>
                      </a:lnTo>
                      <a:lnTo>
                        <a:pt x="84" y="69"/>
                      </a:lnTo>
                      <a:lnTo>
                        <a:pt x="84" y="69"/>
                      </a:lnTo>
                      <a:lnTo>
                        <a:pt x="84" y="69"/>
                      </a:lnTo>
                      <a:lnTo>
                        <a:pt x="84" y="69"/>
                      </a:lnTo>
                      <a:lnTo>
                        <a:pt x="84" y="69"/>
                      </a:lnTo>
                      <a:lnTo>
                        <a:pt x="66" y="66"/>
                      </a:lnTo>
                      <a:lnTo>
                        <a:pt x="53" y="65"/>
                      </a:lnTo>
                      <a:lnTo>
                        <a:pt x="52" y="65"/>
                      </a:lnTo>
                      <a:lnTo>
                        <a:pt x="52" y="65"/>
                      </a:lnTo>
                      <a:lnTo>
                        <a:pt x="11" y="7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07" name="Rectangle 559"/>
                <p:cNvSpPr>
                  <a:spLocks noChangeArrowheads="1"/>
                </p:cNvSpPr>
                <p:nvPr/>
              </p:nvSpPr>
              <p:spPr bwMode="auto">
                <a:xfrm>
                  <a:off x="4230705" y="3124233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08" name="Rectangle 560"/>
                <p:cNvSpPr>
                  <a:spLocks noChangeArrowheads="1"/>
                </p:cNvSpPr>
                <p:nvPr/>
              </p:nvSpPr>
              <p:spPr bwMode="auto">
                <a:xfrm>
                  <a:off x="4230705" y="3124233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09" name="Freeform 561"/>
                <p:cNvSpPr>
                  <a:spLocks noEditPoints="1"/>
                </p:cNvSpPr>
                <p:nvPr/>
              </p:nvSpPr>
              <p:spPr bwMode="auto">
                <a:xfrm>
                  <a:off x="4154532" y="3107415"/>
                  <a:ext cx="35613" cy="13850"/>
                </a:xfrm>
                <a:custGeom>
                  <a:avLst/>
                  <a:gdLst>
                    <a:gd name="T0" fmla="*/ 24 w 36"/>
                    <a:gd name="T1" fmla="*/ 0 h 14"/>
                    <a:gd name="T2" fmla="*/ 24 w 36"/>
                    <a:gd name="T3" fmla="*/ 0 h 14"/>
                    <a:gd name="T4" fmla="*/ 24 w 36"/>
                    <a:gd name="T5" fmla="*/ 0 h 14"/>
                    <a:gd name="T6" fmla="*/ 24 w 36"/>
                    <a:gd name="T7" fmla="*/ 0 h 14"/>
                    <a:gd name="T8" fmla="*/ 24 w 36"/>
                    <a:gd name="T9" fmla="*/ 0 h 14"/>
                    <a:gd name="T10" fmla="*/ 23 w 36"/>
                    <a:gd name="T11" fmla="*/ 0 h 14"/>
                    <a:gd name="T12" fmla="*/ 23 w 36"/>
                    <a:gd name="T13" fmla="*/ 0 h 14"/>
                    <a:gd name="T14" fmla="*/ 23 w 36"/>
                    <a:gd name="T15" fmla="*/ 0 h 14"/>
                    <a:gd name="T16" fmla="*/ 23 w 36"/>
                    <a:gd name="T17" fmla="*/ 0 h 14"/>
                    <a:gd name="T18" fmla="*/ 24 w 36"/>
                    <a:gd name="T19" fmla="*/ 0 h 14"/>
                    <a:gd name="T20" fmla="*/ 24 w 36"/>
                    <a:gd name="T21" fmla="*/ 0 h 14"/>
                    <a:gd name="T22" fmla="*/ 23 w 36"/>
                    <a:gd name="T23" fmla="*/ 0 h 14"/>
                    <a:gd name="T24" fmla="*/ 23 w 36"/>
                    <a:gd name="T25" fmla="*/ 0 h 14"/>
                    <a:gd name="T26" fmla="*/ 23 w 36"/>
                    <a:gd name="T27" fmla="*/ 0 h 14"/>
                    <a:gd name="T28" fmla="*/ 30 w 36"/>
                    <a:gd name="T29" fmla="*/ 1 h 14"/>
                    <a:gd name="T30" fmla="*/ 30 w 36"/>
                    <a:gd name="T31" fmla="*/ 1 h 14"/>
                    <a:gd name="T32" fmla="*/ 26 w 36"/>
                    <a:gd name="T33" fmla="*/ 0 h 14"/>
                    <a:gd name="T34" fmla="*/ 26 w 36"/>
                    <a:gd name="T35" fmla="*/ 0 h 14"/>
                    <a:gd name="T36" fmla="*/ 30 w 36"/>
                    <a:gd name="T37" fmla="*/ 1 h 14"/>
                    <a:gd name="T38" fmla="*/ 30 w 36"/>
                    <a:gd name="T39" fmla="*/ 1 h 14"/>
                    <a:gd name="T40" fmla="*/ 30 w 36"/>
                    <a:gd name="T41" fmla="*/ 1 h 14"/>
                    <a:gd name="T42" fmla="*/ 30 w 36"/>
                    <a:gd name="T43" fmla="*/ 1 h 14"/>
                    <a:gd name="T44" fmla="*/ 30 w 36"/>
                    <a:gd name="T45" fmla="*/ 1 h 14"/>
                    <a:gd name="T46" fmla="*/ 30 w 36"/>
                    <a:gd name="T47" fmla="*/ 1 h 14"/>
                    <a:gd name="T48" fmla="*/ 0 w 36"/>
                    <a:gd name="T49" fmla="*/ 7 h 14"/>
                    <a:gd name="T50" fmla="*/ 0 w 36"/>
                    <a:gd name="T51" fmla="*/ 7 h 14"/>
                    <a:gd name="T52" fmla="*/ 7 w 36"/>
                    <a:gd name="T53" fmla="*/ 7 h 14"/>
                    <a:gd name="T54" fmla="*/ 14 w 36"/>
                    <a:gd name="T55" fmla="*/ 4 h 14"/>
                    <a:gd name="T56" fmla="*/ 23 w 36"/>
                    <a:gd name="T57" fmla="*/ 0 h 14"/>
                    <a:gd name="T58" fmla="*/ 23 w 36"/>
                    <a:gd name="T59" fmla="*/ 0 h 14"/>
                    <a:gd name="T60" fmla="*/ 14 w 36"/>
                    <a:gd name="T61" fmla="*/ 4 h 14"/>
                    <a:gd name="T62" fmla="*/ 7 w 36"/>
                    <a:gd name="T63" fmla="*/ 7 h 14"/>
                    <a:gd name="T64" fmla="*/ 0 w 36"/>
                    <a:gd name="T65" fmla="*/ 7 h 14"/>
                    <a:gd name="T66" fmla="*/ 0 w 36"/>
                    <a:gd name="T67" fmla="*/ 7 h 14"/>
                    <a:gd name="T68" fmla="*/ 0 w 36"/>
                    <a:gd name="T69" fmla="*/ 7 h 14"/>
                    <a:gd name="T70" fmla="*/ 0 w 36"/>
                    <a:gd name="T71" fmla="*/ 7 h 14"/>
                    <a:gd name="T72" fmla="*/ 36 w 36"/>
                    <a:gd name="T73" fmla="*/ 13 h 14"/>
                    <a:gd name="T74" fmla="*/ 36 w 36"/>
                    <a:gd name="T75" fmla="*/ 13 h 14"/>
                    <a:gd name="T76" fmla="*/ 36 w 36"/>
                    <a:gd name="T77" fmla="*/ 11 h 14"/>
                    <a:gd name="T78" fmla="*/ 36 w 36"/>
                    <a:gd name="T79" fmla="*/ 11 h 14"/>
                    <a:gd name="T80" fmla="*/ 36 w 36"/>
                    <a:gd name="T81" fmla="*/ 13 h 14"/>
                    <a:gd name="T82" fmla="*/ 23 w 36"/>
                    <a:gd name="T83" fmla="*/ 13 h 14"/>
                    <a:gd name="T84" fmla="*/ 23 w 36"/>
                    <a:gd name="T85" fmla="*/ 13 h 14"/>
                    <a:gd name="T86" fmla="*/ 16 w 36"/>
                    <a:gd name="T87" fmla="*/ 13 h 14"/>
                    <a:gd name="T88" fmla="*/ 16 w 36"/>
                    <a:gd name="T89" fmla="*/ 13 h 14"/>
                    <a:gd name="T90" fmla="*/ 23 w 36"/>
                    <a:gd name="T91" fmla="*/ 13 h 14"/>
                    <a:gd name="T92" fmla="*/ 30 w 36"/>
                    <a:gd name="T93" fmla="*/ 14 h 14"/>
                    <a:gd name="T94" fmla="*/ 30 w 36"/>
                    <a:gd name="T95" fmla="*/ 14 h 14"/>
                    <a:gd name="T96" fmla="*/ 33 w 36"/>
                    <a:gd name="T97" fmla="*/ 13 h 14"/>
                    <a:gd name="T98" fmla="*/ 36 w 36"/>
                    <a:gd name="T99" fmla="*/ 13 h 14"/>
                    <a:gd name="T100" fmla="*/ 36 w 36"/>
                    <a:gd name="T101" fmla="*/ 13 h 14"/>
                    <a:gd name="T102" fmla="*/ 33 w 36"/>
                    <a:gd name="T103" fmla="*/ 13 h 14"/>
                    <a:gd name="T104" fmla="*/ 30 w 36"/>
                    <a:gd name="T105" fmla="*/ 14 h 14"/>
                    <a:gd name="T106" fmla="*/ 30 w 36"/>
                    <a:gd name="T107" fmla="*/ 14 h 14"/>
                    <a:gd name="T108" fmla="*/ 30 w 36"/>
                    <a:gd name="T109" fmla="*/ 14 h 14"/>
                    <a:gd name="T110" fmla="*/ 30 w 36"/>
                    <a:gd name="T111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36" h="14">
                      <a:moveTo>
                        <a:pt x="24" y="0"/>
                      </a:move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close/>
                      <a:moveTo>
                        <a:pt x="23" y="0"/>
                      </a:move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3" y="0"/>
                      </a:lnTo>
                      <a:close/>
                      <a:moveTo>
                        <a:pt x="30" y="1"/>
                      </a:moveTo>
                      <a:lnTo>
                        <a:pt x="30" y="1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30" y="1"/>
                      </a:lnTo>
                      <a:close/>
                      <a:moveTo>
                        <a:pt x="30" y="1"/>
                      </a:moveTo>
                      <a:lnTo>
                        <a:pt x="30" y="1"/>
                      </a:lnTo>
                      <a:lnTo>
                        <a:pt x="30" y="1"/>
                      </a:lnTo>
                      <a:lnTo>
                        <a:pt x="30" y="1"/>
                      </a:lnTo>
                      <a:lnTo>
                        <a:pt x="30" y="1"/>
                      </a:lnTo>
                      <a:close/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7" y="7"/>
                      </a:lnTo>
                      <a:lnTo>
                        <a:pt x="14" y="4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14" y="4"/>
                      </a:lnTo>
                      <a:lnTo>
                        <a:pt x="7" y="7"/>
                      </a:lnTo>
                      <a:lnTo>
                        <a:pt x="0" y="7"/>
                      </a:lnTo>
                      <a:close/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0" y="7"/>
                      </a:lnTo>
                      <a:close/>
                      <a:moveTo>
                        <a:pt x="36" y="13"/>
                      </a:moveTo>
                      <a:lnTo>
                        <a:pt x="36" y="13"/>
                      </a:lnTo>
                      <a:lnTo>
                        <a:pt x="36" y="11"/>
                      </a:lnTo>
                      <a:lnTo>
                        <a:pt x="36" y="11"/>
                      </a:lnTo>
                      <a:lnTo>
                        <a:pt x="36" y="13"/>
                      </a:lnTo>
                      <a:close/>
                      <a:moveTo>
                        <a:pt x="23" y="13"/>
                      </a:moveTo>
                      <a:lnTo>
                        <a:pt x="23" y="13"/>
                      </a:lnTo>
                      <a:lnTo>
                        <a:pt x="16" y="13"/>
                      </a:lnTo>
                      <a:lnTo>
                        <a:pt x="16" y="13"/>
                      </a:lnTo>
                      <a:lnTo>
                        <a:pt x="23" y="13"/>
                      </a:lnTo>
                      <a:close/>
                      <a:moveTo>
                        <a:pt x="30" y="14"/>
                      </a:moveTo>
                      <a:lnTo>
                        <a:pt x="30" y="14"/>
                      </a:lnTo>
                      <a:lnTo>
                        <a:pt x="33" y="13"/>
                      </a:lnTo>
                      <a:lnTo>
                        <a:pt x="36" y="13"/>
                      </a:lnTo>
                      <a:lnTo>
                        <a:pt x="36" y="13"/>
                      </a:lnTo>
                      <a:lnTo>
                        <a:pt x="33" y="13"/>
                      </a:lnTo>
                      <a:lnTo>
                        <a:pt x="30" y="14"/>
                      </a:lnTo>
                      <a:close/>
                      <a:moveTo>
                        <a:pt x="30" y="14"/>
                      </a:moveTo>
                      <a:lnTo>
                        <a:pt x="30" y="14"/>
                      </a:lnTo>
                      <a:lnTo>
                        <a:pt x="30" y="1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10" name="Rectangle 562"/>
                <p:cNvSpPr>
                  <a:spLocks noChangeArrowheads="1"/>
                </p:cNvSpPr>
                <p:nvPr/>
              </p:nvSpPr>
              <p:spPr bwMode="auto">
                <a:xfrm>
                  <a:off x="4178274" y="3107415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11" name="Freeform 563"/>
                <p:cNvSpPr>
                  <a:spLocks/>
                </p:cNvSpPr>
                <p:nvPr/>
              </p:nvSpPr>
              <p:spPr bwMode="auto">
                <a:xfrm>
                  <a:off x="4177285" y="3107415"/>
                  <a:ext cx="989" cy="0"/>
                </a:xfrm>
                <a:custGeom>
                  <a:avLst/>
                  <a:gdLst>
                    <a:gd name="T0" fmla="*/ 0 w 1"/>
                    <a:gd name="T1" fmla="*/ 0 w 1"/>
                    <a:gd name="T2" fmla="*/ 0 w 1"/>
                    <a:gd name="T3" fmla="*/ 0 w 1"/>
                    <a:gd name="T4" fmla="*/ 1 w 1"/>
                    <a:gd name="T5" fmla="*/ 1 w 1"/>
                    <a:gd name="T6" fmla="*/ 0 w 1"/>
                    <a:gd name="T7" fmla="*/ 0 w 1"/>
                    <a:gd name="T8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12" name="Freeform 564"/>
                <p:cNvSpPr>
                  <a:spLocks/>
                </p:cNvSpPr>
                <p:nvPr/>
              </p:nvSpPr>
              <p:spPr bwMode="auto">
                <a:xfrm>
                  <a:off x="4180253" y="3107415"/>
                  <a:ext cx="3957" cy="989"/>
                </a:xfrm>
                <a:custGeom>
                  <a:avLst/>
                  <a:gdLst>
                    <a:gd name="T0" fmla="*/ 4 w 4"/>
                    <a:gd name="T1" fmla="*/ 1 h 1"/>
                    <a:gd name="T2" fmla="*/ 4 w 4"/>
                    <a:gd name="T3" fmla="*/ 1 h 1"/>
                    <a:gd name="T4" fmla="*/ 0 w 4"/>
                    <a:gd name="T5" fmla="*/ 0 h 1"/>
                    <a:gd name="T6" fmla="*/ 0 w 4"/>
                    <a:gd name="T7" fmla="*/ 0 h 1"/>
                    <a:gd name="T8" fmla="*/ 4 w 4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1">
                      <a:moveTo>
                        <a:pt x="4" y="1"/>
                      </a:moveTo>
                      <a:lnTo>
                        <a:pt x="4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13" name="Rectangle 565"/>
                <p:cNvSpPr>
                  <a:spLocks noChangeArrowheads="1"/>
                </p:cNvSpPr>
                <p:nvPr/>
              </p:nvSpPr>
              <p:spPr bwMode="auto">
                <a:xfrm>
                  <a:off x="4184210" y="3108405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14" name="Freeform 566"/>
                <p:cNvSpPr>
                  <a:spLocks/>
                </p:cNvSpPr>
                <p:nvPr/>
              </p:nvSpPr>
              <p:spPr bwMode="auto">
                <a:xfrm>
                  <a:off x="4154532" y="3107415"/>
                  <a:ext cx="22753" cy="6925"/>
                </a:xfrm>
                <a:custGeom>
                  <a:avLst/>
                  <a:gdLst>
                    <a:gd name="T0" fmla="*/ 0 w 23"/>
                    <a:gd name="T1" fmla="*/ 7 h 7"/>
                    <a:gd name="T2" fmla="*/ 0 w 23"/>
                    <a:gd name="T3" fmla="*/ 7 h 7"/>
                    <a:gd name="T4" fmla="*/ 7 w 23"/>
                    <a:gd name="T5" fmla="*/ 7 h 7"/>
                    <a:gd name="T6" fmla="*/ 14 w 23"/>
                    <a:gd name="T7" fmla="*/ 4 h 7"/>
                    <a:gd name="T8" fmla="*/ 23 w 23"/>
                    <a:gd name="T9" fmla="*/ 0 h 7"/>
                    <a:gd name="T10" fmla="*/ 23 w 23"/>
                    <a:gd name="T11" fmla="*/ 0 h 7"/>
                    <a:gd name="T12" fmla="*/ 14 w 23"/>
                    <a:gd name="T13" fmla="*/ 4 h 7"/>
                    <a:gd name="T14" fmla="*/ 7 w 23"/>
                    <a:gd name="T15" fmla="*/ 7 h 7"/>
                    <a:gd name="T16" fmla="*/ 0 w 23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3" h="7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7" y="7"/>
                      </a:lnTo>
                      <a:lnTo>
                        <a:pt x="14" y="4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14" y="4"/>
                      </a:lnTo>
                      <a:lnTo>
                        <a:pt x="7" y="7"/>
                      </a:lnTo>
                      <a:lnTo>
                        <a:pt x="0" y="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15" name="Freeform 567"/>
                <p:cNvSpPr>
                  <a:spLocks/>
                </p:cNvSpPr>
                <p:nvPr/>
              </p:nvSpPr>
              <p:spPr bwMode="auto">
                <a:xfrm>
                  <a:off x="4154532" y="3114340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16" name="Rectangle 568"/>
                <p:cNvSpPr>
                  <a:spLocks noChangeArrowheads="1"/>
                </p:cNvSpPr>
                <p:nvPr/>
              </p:nvSpPr>
              <p:spPr bwMode="auto">
                <a:xfrm>
                  <a:off x="4190145" y="3118297"/>
                  <a:ext cx="989" cy="197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17" name="Rectangle 569"/>
                <p:cNvSpPr>
                  <a:spLocks noChangeArrowheads="1"/>
                </p:cNvSpPr>
                <p:nvPr/>
              </p:nvSpPr>
              <p:spPr bwMode="auto">
                <a:xfrm>
                  <a:off x="4170360" y="3120276"/>
                  <a:ext cx="6925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18" name="Freeform 570"/>
                <p:cNvSpPr>
                  <a:spLocks/>
                </p:cNvSpPr>
                <p:nvPr/>
              </p:nvSpPr>
              <p:spPr bwMode="auto">
                <a:xfrm>
                  <a:off x="4184210" y="3120276"/>
                  <a:ext cx="5936" cy="989"/>
                </a:xfrm>
                <a:custGeom>
                  <a:avLst/>
                  <a:gdLst>
                    <a:gd name="T0" fmla="*/ 0 w 6"/>
                    <a:gd name="T1" fmla="*/ 1 h 1"/>
                    <a:gd name="T2" fmla="*/ 0 w 6"/>
                    <a:gd name="T3" fmla="*/ 1 h 1"/>
                    <a:gd name="T4" fmla="*/ 3 w 6"/>
                    <a:gd name="T5" fmla="*/ 0 h 1"/>
                    <a:gd name="T6" fmla="*/ 6 w 6"/>
                    <a:gd name="T7" fmla="*/ 0 h 1"/>
                    <a:gd name="T8" fmla="*/ 6 w 6"/>
                    <a:gd name="T9" fmla="*/ 0 h 1"/>
                    <a:gd name="T10" fmla="*/ 3 w 6"/>
                    <a:gd name="T11" fmla="*/ 0 h 1"/>
                    <a:gd name="T12" fmla="*/ 0 w 6"/>
                    <a:gd name="T1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19" name="Freeform 571"/>
                <p:cNvSpPr>
                  <a:spLocks/>
                </p:cNvSpPr>
                <p:nvPr/>
              </p:nvSpPr>
              <p:spPr bwMode="auto">
                <a:xfrm>
                  <a:off x="4184210" y="312126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20" name="Freeform 572"/>
                <p:cNvSpPr>
                  <a:spLocks noEditPoints="1"/>
                </p:cNvSpPr>
                <p:nvPr/>
              </p:nvSpPr>
              <p:spPr bwMode="auto">
                <a:xfrm>
                  <a:off x="4155521" y="3065866"/>
                  <a:ext cx="60345" cy="22753"/>
                </a:xfrm>
                <a:custGeom>
                  <a:avLst/>
                  <a:gdLst>
                    <a:gd name="T0" fmla="*/ 23 w 61"/>
                    <a:gd name="T1" fmla="*/ 0 h 23"/>
                    <a:gd name="T2" fmla="*/ 23 w 61"/>
                    <a:gd name="T3" fmla="*/ 0 h 23"/>
                    <a:gd name="T4" fmla="*/ 23 w 61"/>
                    <a:gd name="T5" fmla="*/ 0 h 23"/>
                    <a:gd name="T6" fmla="*/ 31 w 61"/>
                    <a:gd name="T7" fmla="*/ 1 h 23"/>
                    <a:gd name="T8" fmla="*/ 31 w 61"/>
                    <a:gd name="T9" fmla="*/ 1 h 23"/>
                    <a:gd name="T10" fmla="*/ 31 w 61"/>
                    <a:gd name="T11" fmla="*/ 1 h 23"/>
                    <a:gd name="T12" fmla="*/ 0 w 61"/>
                    <a:gd name="T13" fmla="*/ 3 h 23"/>
                    <a:gd name="T14" fmla="*/ 0 w 61"/>
                    <a:gd name="T15" fmla="*/ 3 h 23"/>
                    <a:gd name="T16" fmla="*/ 0 w 61"/>
                    <a:gd name="T17" fmla="*/ 3 h 23"/>
                    <a:gd name="T18" fmla="*/ 22 w 61"/>
                    <a:gd name="T19" fmla="*/ 0 h 23"/>
                    <a:gd name="T20" fmla="*/ 22 w 61"/>
                    <a:gd name="T21" fmla="*/ 0 h 23"/>
                    <a:gd name="T22" fmla="*/ 0 w 61"/>
                    <a:gd name="T23" fmla="*/ 3 h 23"/>
                    <a:gd name="T24" fmla="*/ 50 w 61"/>
                    <a:gd name="T25" fmla="*/ 8 h 23"/>
                    <a:gd name="T26" fmla="*/ 50 w 61"/>
                    <a:gd name="T27" fmla="*/ 8 h 23"/>
                    <a:gd name="T28" fmla="*/ 50 w 61"/>
                    <a:gd name="T29" fmla="*/ 5 h 23"/>
                    <a:gd name="T30" fmla="*/ 50 w 61"/>
                    <a:gd name="T31" fmla="*/ 5 h 23"/>
                    <a:gd name="T32" fmla="*/ 50 w 61"/>
                    <a:gd name="T33" fmla="*/ 8 h 23"/>
                    <a:gd name="T34" fmla="*/ 60 w 61"/>
                    <a:gd name="T35" fmla="*/ 23 h 23"/>
                    <a:gd name="T36" fmla="*/ 60 w 61"/>
                    <a:gd name="T37" fmla="*/ 23 h 23"/>
                    <a:gd name="T38" fmla="*/ 58 w 61"/>
                    <a:gd name="T39" fmla="*/ 23 h 23"/>
                    <a:gd name="T40" fmla="*/ 55 w 61"/>
                    <a:gd name="T41" fmla="*/ 21 h 23"/>
                    <a:gd name="T42" fmla="*/ 55 w 61"/>
                    <a:gd name="T43" fmla="*/ 21 h 23"/>
                    <a:gd name="T44" fmla="*/ 58 w 61"/>
                    <a:gd name="T45" fmla="*/ 23 h 23"/>
                    <a:gd name="T46" fmla="*/ 60 w 61"/>
                    <a:gd name="T47" fmla="*/ 23 h 23"/>
                    <a:gd name="T48" fmla="*/ 60 w 61"/>
                    <a:gd name="T49" fmla="*/ 23 h 23"/>
                    <a:gd name="T50" fmla="*/ 61 w 61"/>
                    <a:gd name="T51" fmla="*/ 23 h 23"/>
                    <a:gd name="T52" fmla="*/ 61 w 61"/>
                    <a:gd name="T53" fmla="*/ 23 h 23"/>
                    <a:gd name="T54" fmla="*/ 61 w 61"/>
                    <a:gd name="T55" fmla="*/ 23 h 23"/>
                    <a:gd name="T56" fmla="*/ 61 w 61"/>
                    <a:gd name="T57" fmla="*/ 23 h 23"/>
                    <a:gd name="T58" fmla="*/ 60 w 61"/>
                    <a:gd name="T59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1" h="23">
                      <a:moveTo>
                        <a:pt x="23" y="0"/>
                      </a:moveTo>
                      <a:lnTo>
                        <a:pt x="23" y="0"/>
                      </a:lnTo>
                      <a:lnTo>
                        <a:pt x="23" y="0"/>
                      </a:lnTo>
                      <a:close/>
                      <a:moveTo>
                        <a:pt x="31" y="1"/>
                      </a:moveTo>
                      <a:lnTo>
                        <a:pt x="31" y="1"/>
                      </a:lnTo>
                      <a:lnTo>
                        <a:pt x="31" y="1"/>
                      </a:lnTo>
                      <a:close/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0" y="3"/>
                      </a:lnTo>
                      <a:close/>
                      <a:moveTo>
                        <a:pt x="50" y="8"/>
                      </a:moveTo>
                      <a:lnTo>
                        <a:pt x="50" y="8"/>
                      </a:lnTo>
                      <a:lnTo>
                        <a:pt x="50" y="5"/>
                      </a:lnTo>
                      <a:lnTo>
                        <a:pt x="50" y="5"/>
                      </a:lnTo>
                      <a:lnTo>
                        <a:pt x="50" y="8"/>
                      </a:lnTo>
                      <a:close/>
                      <a:moveTo>
                        <a:pt x="60" y="23"/>
                      </a:moveTo>
                      <a:lnTo>
                        <a:pt x="60" y="23"/>
                      </a:lnTo>
                      <a:lnTo>
                        <a:pt x="58" y="23"/>
                      </a:lnTo>
                      <a:lnTo>
                        <a:pt x="55" y="21"/>
                      </a:lnTo>
                      <a:lnTo>
                        <a:pt x="55" y="21"/>
                      </a:lnTo>
                      <a:lnTo>
                        <a:pt x="58" y="23"/>
                      </a:lnTo>
                      <a:lnTo>
                        <a:pt x="60" y="23"/>
                      </a:lnTo>
                      <a:lnTo>
                        <a:pt x="60" y="23"/>
                      </a:lnTo>
                      <a:lnTo>
                        <a:pt x="61" y="23"/>
                      </a:lnTo>
                      <a:lnTo>
                        <a:pt x="61" y="23"/>
                      </a:lnTo>
                      <a:lnTo>
                        <a:pt x="61" y="23"/>
                      </a:lnTo>
                      <a:lnTo>
                        <a:pt x="61" y="23"/>
                      </a:lnTo>
                      <a:lnTo>
                        <a:pt x="60" y="2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21" name="Freeform 573"/>
                <p:cNvSpPr>
                  <a:spLocks/>
                </p:cNvSpPr>
                <p:nvPr/>
              </p:nvSpPr>
              <p:spPr bwMode="auto">
                <a:xfrm>
                  <a:off x="4178274" y="306586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22" name="Freeform 574"/>
                <p:cNvSpPr>
                  <a:spLocks/>
                </p:cNvSpPr>
                <p:nvPr/>
              </p:nvSpPr>
              <p:spPr bwMode="auto">
                <a:xfrm>
                  <a:off x="4186188" y="306685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23" name="Freeform 575"/>
                <p:cNvSpPr>
                  <a:spLocks/>
                </p:cNvSpPr>
                <p:nvPr/>
              </p:nvSpPr>
              <p:spPr bwMode="auto">
                <a:xfrm>
                  <a:off x="4155521" y="3065866"/>
                  <a:ext cx="21764" cy="2968"/>
                </a:xfrm>
                <a:custGeom>
                  <a:avLst/>
                  <a:gdLst>
                    <a:gd name="T0" fmla="*/ 0 w 22"/>
                    <a:gd name="T1" fmla="*/ 3 h 3"/>
                    <a:gd name="T2" fmla="*/ 0 w 22"/>
                    <a:gd name="T3" fmla="*/ 3 h 3"/>
                    <a:gd name="T4" fmla="*/ 0 w 22"/>
                    <a:gd name="T5" fmla="*/ 3 h 3"/>
                    <a:gd name="T6" fmla="*/ 22 w 22"/>
                    <a:gd name="T7" fmla="*/ 0 h 3"/>
                    <a:gd name="T8" fmla="*/ 22 w 22"/>
                    <a:gd name="T9" fmla="*/ 0 h 3"/>
                    <a:gd name="T10" fmla="*/ 0 w 22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0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24" name="Rectangle 576"/>
                <p:cNvSpPr>
                  <a:spLocks noChangeArrowheads="1"/>
                </p:cNvSpPr>
                <p:nvPr/>
              </p:nvSpPr>
              <p:spPr bwMode="auto">
                <a:xfrm>
                  <a:off x="4204984" y="3070813"/>
                  <a:ext cx="989" cy="2968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25" name="Freeform 577"/>
                <p:cNvSpPr>
                  <a:spLocks/>
                </p:cNvSpPr>
                <p:nvPr/>
              </p:nvSpPr>
              <p:spPr bwMode="auto">
                <a:xfrm>
                  <a:off x="4209931" y="3086641"/>
                  <a:ext cx="5936" cy="1979"/>
                </a:xfrm>
                <a:custGeom>
                  <a:avLst/>
                  <a:gdLst>
                    <a:gd name="T0" fmla="*/ 5 w 6"/>
                    <a:gd name="T1" fmla="*/ 2 h 2"/>
                    <a:gd name="T2" fmla="*/ 5 w 6"/>
                    <a:gd name="T3" fmla="*/ 2 h 2"/>
                    <a:gd name="T4" fmla="*/ 3 w 6"/>
                    <a:gd name="T5" fmla="*/ 2 h 2"/>
                    <a:gd name="T6" fmla="*/ 0 w 6"/>
                    <a:gd name="T7" fmla="*/ 0 h 2"/>
                    <a:gd name="T8" fmla="*/ 0 w 6"/>
                    <a:gd name="T9" fmla="*/ 0 h 2"/>
                    <a:gd name="T10" fmla="*/ 3 w 6"/>
                    <a:gd name="T11" fmla="*/ 2 h 2"/>
                    <a:gd name="T12" fmla="*/ 5 w 6"/>
                    <a:gd name="T13" fmla="*/ 2 h 2"/>
                    <a:gd name="T14" fmla="*/ 5 w 6"/>
                    <a:gd name="T15" fmla="*/ 2 h 2"/>
                    <a:gd name="T16" fmla="*/ 6 w 6"/>
                    <a:gd name="T17" fmla="*/ 2 h 2"/>
                    <a:gd name="T18" fmla="*/ 6 w 6"/>
                    <a:gd name="T19" fmla="*/ 2 h 2"/>
                    <a:gd name="T20" fmla="*/ 6 w 6"/>
                    <a:gd name="T21" fmla="*/ 2 h 2"/>
                    <a:gd name="T22" fmla="*/ 6 w 6"/>
                    <a:gd name="T23" fmla="*/ 2 h 2"/>
                    <a:gd name="T24" fmla="*/ 5 w 6"/>
                    <a:gd name="T2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" h="2">
                      <a:moveTo>
                        <a:pt x="5" y="2"/>
                      </a:move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5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26" name="Freeform 578"/>
                <p:cNvSpPr>
                  <a:spLocks/>
                </p:cNvSpPr>
                <p:nvPr/>
              </p:nvSpPr>
              <p:spPr bwMode="auto">
                <a:xfrm>
                  <a:off x="4276211" y="3159846"/>
                  <a:ext cx="96947" cy="95958"/>
                </a:xfrm>
                <a:custGeom>
                  <a:avLst/>
                  <a:gdLst>
                    <a:gd name="T0" fmla="*/ 20 w 98"/>
                    <a:gd name="T1" fmla="*/ 97 h 97"/>
                    <a:gd name="T2" fmla="*/ 19 w 98"/>
                    <a:gd name="T3" fmla="*/ 97 h 97"/>
                    <a:gd name="T4" fmla="*/ 19 w 98"/>
                    <a:gd name="T5" fmla="*/ 97 h 97"/>
                    <a:gd name="T6" fmla="*/ 17 w 98"/>
                    <a:gd name="T7" fmla="*/ 93 h 97"/>
                    <a:gd name="T8" fmla="*/ 20 w 98"/>
                    <a:gd name="T9" fmla="*/ 83 h 97"/>
                    <a:gd name="T10" fmla="*/ 22 w 98"/>
                    <a:gd name="T11" fmla="*/ 80 h 97"/>
                    <a:gd name="T12" fmla="*/ 20 w 98"/>
                    <a:gd name="T13" fmla="*/ 77 h 97"/>
                    <a:gd name="T14" fmla="*/ 12 w 98"/>
                    <a:gd name="T15" fmla="*/ 67 h 97"/>
                    <a:gd name="T16" fmla="*/ 9 w 98"/>
                    <a:gd name="T17" fmla="*/ 64 h 97"/>
                    <a:gd name="T18" fmla="*/ 1 w 98"/>
                    <a:gd name="T19" fmla="*/ 63 h 97"/>
                    <a:gd name="T20" fmla="*/ 0 w 98"/>
                    <a:gd name="T21" fmla="*/ 61 h 97"/>
                    <a:gd name="T22" fmla="*/ 1 w 98"/>
                    <a:gd name="T23" fmla="*/ 58 h 97"/>
                    <a:gd name="T24" fmla="*/ 9 w 98"/>
                    <a:gd name="T25" fmla="*/ 51 h 97"/>
                    <a:gd name="T26" fmla="*/ 13 w 98"/>
                    <a:gd name="T27" fmla="*/ 48 h 97"/>
                    <a:gd name="T28" fmla="*/ 14 w 98"/>
                    <a:gd name="T29" fmla="*/ 48 h 97"/>
                    <a:gd name="T30" fmla="*/ 14 w 98"/>
                    <a:gd name="T31" fmla="*/ 48 h 97"/>
                    <a:gd name="T32" fmla="*/ 19 w 98"/>
                    <a:gd name="T33" fmla="*/ 39 h 97"/>
                    <a:gd name="T34" fmla="*/ 19 w 98"/>
                    <a:gd name="T35" fmla="*/ 25 h 97"/>
                    <a:gd name="T36" fmla="*/ 19 w 98"/>
                    <a:gd name="T37" fmla="*/ 19 h 97"/>
                    <a:gd name="T38" fmla="*/ 22 w 98"/>
                    <a:gd name="T39" fmla="*/ 5 h 97"/>
                    <a:gd name="T40" fmla="*/ 26 w 98"/>
                    <a:gd name="T41" fmla="*/ 8 h 97"/>
                    <a:gd name="T42" fmla="*/ 26 w 98"/>
                    <a:gd name="T43" fmla="*/ 8 h 97"/>
                    <a:gd name="T44" fmla="*/ 30 w 98"/>
                    <a:gd name="T45" fmla="*/ 8 h 97"/>
                    <a:gd name="T46" fmla="*/ 30 w 98"/>
                    <a:gd name="T47" fmla="*/ 8 h 97"/>
                    <a:gd name="T48" fmla="*/ 48 w 98"/>
                    <a:gd name="T49" fmla="*/ 2 h 97"/>
                    <a:gd name="T50" fmla="*/ 48 w 98"/>
                    <a:gd name="T51" fmla="*/ 2 h 97"/>
                    <a:gd name="T52" fmla="*/ 48 w 98"/>
                    <a:gd name="T53" fmla="*/ 2 h 97"/>
                    <a:gd name="T54" fmla="*/ 48 w 98"/>
                    <a:gd name="T55" fmla="*/ 2 h 97"/>
                    <a:gd name="T56" fmla="*/ 51 w 98"/>
                    <a:gd name="T57" fmla="*/ 0 h 97"/>
                    <a:gd name="T58" fmla="*/ 51 w 98"/>
                    <a:gd name="T59" fmla="*/ 0 h 97"/>
                    <a:gd name="T60" fmla="*/ 51 w 98"/>
                    <a:gd name="T61" fmla="*/ 0 h 97"/>
                    <a:gd name="T62" fmla="*/ 51 w 98"/>
                    <a:gd name="T63" fmla="*/ 0 h 97"/>
                    <a:gd name="T64" fmla="*/ 52 w 98"/>
                    <a:gd name="T65" fmla="*/ 0 h 97"/>
                    <a:gd name="T66" fmla="*/ 52 w 98"/>
                    <a:gd name="T67" fmla="*/ 0 h 97"/>
                    <a:gd name="T68" fmla="*/ 62 w 98"/>
                    <a:gd name="T69" fmla="*/ 8 h 97"/>
                    <a:gd name="T70" fmla="*/ 64 w 98"/>
                    <a:gd name="T71" fmla="*/ 9 h 97"/>
                    <a:gd name="T72" fmla="*/ 77 w 98"/>
                    <a:gd name="T73" fmla="*/ 12 h 97"/>
                    <a:gd name="T74" fmla="*/ 96 w 98"/>
                    <a:gd name="T75" fmla="*/ 13 h 97"/>
                    <a:gd name="T76" fmla="*/ 97 w 98"/>
                    <a:gd name="T77" fmla="*/ 23 h 97"/>
                    <a:gd name="T78" fmla="*/ 98 w 98"/>
                    <a:gd name="T79" fmla="*/ 39 h 97"/>
                    <a:gd name="T80" fmla="*/ 96 w 98"/>
                    <a:gd name="T81" fmla="*/ 48 h 97"/>
                    <a:gd name="T82" fmla="*/ 94 w 98"/>
                    <a:gd name="T83" fmla="*/ 51 h 97"/>
                    <a:gd name="T84" fmla="*/ 87 w 98"/>
                    <a:gd name="T85" fmla="*/ 58 h 97"/>
                    <a:gd name="T86" fmla="*/ 87 w 98"/>
                    <a:gd name="T87" fmla="*/ 68 h 97"/>
                    <a:gd name="T88" fmla="*/ 90 w 98"/>
                    <a:gd name="T89" fmla="*/ 77 h 97"/>
                    <a:gd name="T90" fmla="*/ 91 w 98"/>
                    <a:gd name="T91" fmla="*/ 89 h 97"/>
                    <a:gd name="T92" fmla="*/ 90 w 98"/>
                    <a:gd name="T93" fmla="*/ 89 h 97"/>
                    <a:gd name="T94" fmla="*/ 69 w 98"/>
                    <a:gd name="T95" fmla="*/ 84 h 97"/>
                    <a:gd name="T96" fmla="*/ 68 w 98"/>
                    <a:gd name="T97" fmla="*/ 84 h 97"/>
                    <a:gd name="T98" fmla="*/ 58 w 98"/>
                    <a:gd name="T99" fmla="*/ 87 h 97"/>
                    <a:gd name="T100" fmla="*/ 36 w 98"/>
                    <a:gd name="T101" fmla="*/ 94 h 97"/>
                    <a:gd name="T102" fmla="*/ 26 w 98"/>
                    <a:gd name="T103" fmla="*/ 97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98" h="97">
                      <a:moveTo>
                        <a:pt x="20" y="97"/>
                      </a:moveTo>
                      <a:lnTo>
                        <a:pt x="20" y="97"/>
                      </a:lnTo>
                      <a:lnTo>
                        <a:pt x="19" y="97"/>
                      </a:lnTo>
                      <a:lnTo>
                        <a:pt x="19" y="97"/>
                      </a:lnTo>
                      <a:lnTo>
                        <a:pt x="19" y="97"/>
                      </a:lnTo>
                      <a:lnTo>
                        <a:pt x="19" y="97"/>
                      </a:lnTo>
                      <a:lnTo>
                        <a:pt x="17" y="93"/>
                      </a:lnTo>
                      <a:lnTo>
                        <a:pt x="17" y="93"/>
                      </a:lnTo>
                      <a:lnTo>
                        <a:pt x="19" y="87"/>
                      </a:lnTo>
                      <a:lnTo>
                        <a:pt x="20" y="83"/>
                      </a:lnTo>
                      <a:lnTo>
                        <a:pt x="20" y="83"/>
                      </a:lnTo>
                      <a:lnTo>
                        <a:pt x="22" y="80"/>
                      </a:lnTo>
                      <a:lnTo>
                        <a:pt x="22" y="80"/>
                      </a:lnTo>
                      <a:lnTo>
                        <a:pt x="20" y="77"/>
                      </a:lnTo>
                      <a:lnTo>
                        <a:pt x="19" y="74"/>
                      </a:lnTo>
                      <a:lnTo>
                        <a:pt x="12" y="67"/>
                      </a:lnTo>
                      <a:lnTo>
                        <a:pt x="12" y="67"/>
                      </a:lnTo>
                      <a:lnTo>
                        <a:pt x="9" y="64"/>
                      </a:lnTo>
                      <a:lnTo>
                        <a:pt x="4" y="63"/>
                      </a:lnTo>
                      <a:lnTo>
                        <a:pt x="1" y="63"/>
                      </a:lnTo>
                      <a:lnTo>
                        <a:pt x="0" y="61"/>
                      </a:lnTo>
                      <a:lnTo>
                        <a:pt x="0" y="61"/>
                      </a:lnTo>
                      <a:lnTo>
                        <a:pt x="1" y="58"/>
                      </a:lnTo>
                      <a:lnTo>
                        <a:pt x="1" y="58"/>
                      </a:lnTo>
                      <a:lnTo>
                        <a:pt x="9" y="51"/>
                      </a:lnTo>
                      <a:lnTo>
                        <a:pt x="9" y="51"/>
                      </a:lnTo>
                      <a:lnTo>
                        <a:pt x="13" y="48"/>
                      </a:lnTo>
                      <a:lnTo>
                        <a:pt x="13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7" y="45"/>
                      </a:lnTo>
                      <a:lnTo>
                        <a:pt x="19" y="39"/>
                      </a:lnTo>
                      <a:lnTo>
                        <a:pt x="19" y="25"/>
                      </a:lnTo>
                      <a:lnTo>
                        <a:pt x="19" y="25"/>
                      </a:lnTo>
                      <a:lnTo>
                        <a:pt x="19" y="19"/>
                      </a:lnTo>
                      <a:lnTo>
                        <a:pt x="19" y="19"/>
                      </a:lnTo>
                      <a:lnTo>
                        <a:pt x="22" y="5"/>
                      </a:lnTo>
                      <a:lnTo>
                        <a:pt x="22" y="5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8" y="6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2" y="0"/>
                      </a:lnTo>
                      <a:lnTo>
                        <a:pt x="52" y="0"/>
                      </a:lnTo>
                      <a:lnTo>
                        <a:pt x="52" y="0"/>
                      </a:lnTo>
                      <a:lnTo>
                        <a:pt x="52" y="0"/>
                      </a:lnTo>
                      <a:lnTo>
                        <a:pt x="62" y="8"/>
                      </a:lnTo>
                      <a:lnTo>
                        <a:pt x="62" y="8"/>
                      </a:lnTo>
                      <a:lnTo>
                        <a:pt x="64" y="9"/>
                      </a:lnTo>
                      <a:lnTo>
                        <a:pt x="64" y="9"/>
                      </a:lnTo>
                      <a:lnTo>
                        <a:pt x="68" y="10"/>
                      </a:lnTo>
                      <a:lnTo>
                        <a:pt x="77" y="12"/>
                      </a:lnTo>
                      <a:lnTo>
                        <a:pt x="96" y="13"/>
                      </a:lnTo>
                      <a:lnTo>
                        <a:pt x="96" y="13"/>
                      </a:lnTo>
                      <a:lnTo>
                        <a:pt x="97" y="23"/>
                      </a:lnTo>
                      <a:lnTo>
                        <a:pt x="97" y="23"/>
                      </a:lnTo>
                      <a:lnTo>
                        <a:pt x="98" y="31"/>
                      </a:lnTo>
                      <a:lnTo>
                        <a:pt x="98" y="39"/>
                      </a:lnTo>
                      <a:lnTo>
                        <a:pt x="97" y="47"/>
                      </a:lnTo>
                      <a:lnTo>
                        <a:pt x="96" y="48"/>
                      </a:lnTo>
                      <a:lnTo>
                        <a:pt x="94" y="51"/>
                      </a:lnTo>
                      <a:lnTo>
                        <a:pt x="94" y="51"/>
                      </a:lnTo>
                      <a:lnTo>
                        <a:pt x="90" y="54"/>
                      </a:lnTo>
                      <a:lnTo>
                        <a:pt x="87" y="58"/>
                      </a:lnTo>
                      <a:lnTo>
                        <a:pt x="87" y="64"/>
                      </a:lnTo>
                      <a:lnTo>
                        <a:pt x="87" y="68"/>
                      </a:lnTo>
                      <a:lnTo>
                        <a:pt x="87" y="68"/>
                      </a:lnTo>
                      <a:lnTo>
                        <a:pt x="90" y="77"/>
                      </a:lnTo>
                      <a:lnTo>
                        <a:pt x="91" y="89"/>
                      </a:lnTo>
                      <a:lnTo>
                        <a:pt x="91" y="89"/>
                      </a:lnTo>
                      <a:lnTo>
                        <a:pt x="90" y="89"/>
                      </a:lnTo>
                      <a:lnTo>
                        <a:pt x="90" y="89"/>
                      </a:lnTo>
                      <a:lnTo>
                        <a:pt x="80" y="86"/>
                      </a:lnTo>
                      <a:lnTo>
                        <a:pt x="69" y="84"/>
                      </a:lnTo>
                      <a:lnTo>
                        <a:pt x="68" y="84"/>
                      </a:lnTo>
                      <a:lnTo>
                        <a:pt x="68" y="84"/>
                      </a:lnTo>
                      <a:lnTo>
                        <a:pt x="58" y="87"/>
                      </a:lnTo>
                      <a:lnTo>
                        <a:pt x="58" y="87"/>
                      </a:lnTo>
                      <a:lnTo>
                        <a:pt x="36" y="94"/>
                      </a:lnTo>
                      <a:lnTo>
                        <a:pt x="36" y="94"/>
                      </a:lnTo>
                      <a:lnTo>
                        <a:pt x="26" y="97"/>
                      </a:lnTo>
                      <a:lnTo>
                        <a:pt x="26" y="97"/>
                      </a:lnTo>
                      <a:lnTo>
                        <a:pt x="20" y="9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27" name="Freeform 579"/>
                <p:cNvSpPr>
                  <a:spLocks/>
                </p:cNvSpPr>
                <p:nvPr/>
              </p:nvSpPr>
              <p:spPr bwMode="auto">
                <a:xfrm>
                  <a:off x="4276211" y="3159846"/>
                  <a:ext cx="96947" cy="95958"/>
                </a:xfrm>
                <a:custGeom>
                  <a:avLst/>
                  <a:gdLst>
                    <a:gd name="T0" fmla="*/ 20 w 98"/>
                    <a:gd name="T1" fmla="*/ 97 h 97"/>
                    <a:gd name="T2" fmla="*/ 19 w 98"/>
                    <a:gd name="T3" fmla="*/ 97 h 97"/>
                    <a:gd name="T4" fmla="*/ 19 w 98"/>
                    <a:gd name="T5" fmla="*/ 97 h 97"/>
                    <a:gd name="T6" fmla="*/ 17 w 98"/>
                    <a:gd name="T7" fmla="*/ 93 h 97"/>
                    <a:gd name="T8" fmla="*/ 20 w 98"/>
                    <a:gd name="T9" fmla="*/ 83 h 97"/>
                    <a:gd name="T10" fmla="*/ 22 w 98"/>
                    <a:gd name="T11" fmla="*/ 80 h 97"/>
                    <a:gd name="T12" fmla="*/ 20 w 98"/>
                    <a:gd name="T13" fmla="*/ 77 h 97"/>
                    <a:gd name="T14" fmla="*/ 12 w 98"/>
                    <a:gd name="T15" fmla="*/ 67 h 97"/>
                    <a:gd name="T16" fmla="*/ 9 w 98"/>
                    <a:gd name="T17" fmla="*/ 64 h 97"/>
                    <a:gd name="T18" fmla="*/ 1 w 98"/>
                    <a:gd name="T19" fmla="*/ 63 h 97"/>
                    <a:gd name="T20" fmla="*/ 0 w 98"/>
                    <a:gd name="T21" fmla="*/ 61 h 97"/>
                    <a:gd name="T22" fmla="*/ 1 w 98"/>
                    <a:gd name="T23" fmla="*/ 58 h 97"/>
                    <a:gd name="T24" fmla="*/ 9 w 98"/>
                    <a:gd name="T25" fmla="*/ 51 h 97"/>
                    <a:gd name="T26" fmla="*/ 13 w 98"/>
                    <a:gd name="T27" fmla="*/ 48 h 97"/>
                    <a:gd name="T28" fmla="*/ 14 w 98"/>
                    <a:gd name="T29" fmla="*/ 48 h 97"/>
                    <a:gd name="T30" fmla="*/ 14 w 98"/>
                    <a:gd name="T31" fmla="*/ 48 h 97"/>
                    <a:gd name="T32" fmla="*/ 19 w 98"/>
                    <a:gd name="T33" fmla="*/ 39 h 97"/>
                    <a:gd name="T34" fmla="*/ 19 w 98"/>
                    <a:gd name="T35" fmla="*/ 25 h 97"/>
                    <a:gd name="T36" fmla="*/ 19 w 98"/>
                    <a:gd name="T37" fmla="*/ 19 h 97"/>
                    <a:gd name="T38" fmla="*/ 22 w 98"/>
                    <a:gd name="T39" fmla="*/ 5 h 97"/>
                    <a:gd name="T40" fmla="*/ 26 w 98"/>
                    <a:gd name="T41" fmla="*/ 8 h 97"/>
                    <a:gd name="T42" fmla="*/ 26 w 98"/>
                    <a:gd name="T43" fmla="*/ 8 h 97"/>
                    <a:gd name="T44" fmla="*/ 30 w 98"/>
                    <a:gd name="T45" fmla="*/ 8 h 97"/>
                    <a:gd name="T46" fmla="*/ 30 w 98"/>
                    <a:gd name="T47" fmla="*/ 8 h 97"/>
                    <a:gd name="T48" fmla="*/ 48 w 98"/>
                    <a:gd name="T49" fmla="*/ 2 h 97"/>
                    <a:gd name="T50" fmla="*/ 48 w 98"/>
                    <a:gd name="T51" fmla="*/ 2 h 97"/>
                    <a:gd name="T52" fmla="*/ 48 w 98"/>
                    <a:gd name="T53" fmla="*/ 2 h 97"/>
                    <a:gd name="T54" fmla="*/ 48 w 98"/>
                    <a:gd name="T55" fmla="*/ 2 h 97"/>
                    <a:gd name="T56" fmla="*/ 51 w 98"/>
                    <a:gd name="T57" fmla="*/ 0 h 97"/>
                    <a:gd name="T58" fmla="*/ 51 w 98"/>
                    <a:gd name="T59" fmla="*/ 0 h 97"/>
                    <a:gd name="T60" fmla="*/ 51 w 98"/>
                    <a:gd name="T61" fmla="*/ 0 h 97"/>
                    <a:gd name="T62" fmla="*/ 51 w 98"/>
                    <a:gd name="T63" fmla="*/ 0 h 97"/>
                    <a:gd name="T64" fmla="*/ 52 w 98"/>
                    <a:gd name="T65" fmla="*/ 0 h 97"/>
                    <a:gd name="T66" fmla="*/ 52 w 98"/>
                    <a:gd name="T67" fmla="*/ 0 h 97"/>
                    <a:gd name="T68" fmla="*/ 62 w 98"/>
                    <a:gd name="T69" fmla="*/ 8 h 97"/>
                    <a:gd name="T70" fmla="*/ 64 w 98"/>
                    <a:gd name="T71" fmla="*/ 9 h 97"/>
                    <a:gd name="T72" fmla="*/ 77 w 98"/>
                    <a:gd name="T73" fmla="*/ 12 h 97"/>
                    <a:gd name="T74" fmla="*/ 96 w 98"/>
                    <a:gd name="T75" fmla="*/ 13 h 97"/>
                    <a:gd name="T76" fmla="*/ 97 w 98"/>
                    <a:gd name="T77" fmla="*/ 23 h 97"/>
                    <a:gd name="T78" fmla="*/ 98 w 98"/>
                    <a:gd name="T79" fmla="*/ 39 h 97"/>
                    <a:gd name="T80" fmla="*/ 96 w 98"/>
                    <a:gd name="T81" fmla="*/ 48 h 97"/>
                    <a:gd name="T82" fmla="*/ 94 w 98"/>
                    <a:gd name="T83" fmla="*/ 51 h 97"/>
                    <a:gd name="T84" fmla="*/ 87 w 98"/>
                    <a:gd name="T85" fmla="*/ 58 h 97"/>
                    <a:gd name="T86" fmla="*/ 87 w 98"/>
                    <a:gd name="T87" fmla="*/ 68 h 97"/>
                    <a:gd name="T88" fmla="*/ 90 w 98"/>
                    <a:gd name="T89" fmla="*/ 77 h 97"/>
                    <a:gd name="T90" fmla="*/ 91 w 98"/>
                    <a:gd name="T91" fmla="*/ 89 h 97"/>
                    <a:gd name="T92" fmla="*/ 90 w 98"/>
                    <a:gd name="T93" fmla="*/ 89 h 97"/>
                    <a:gd name="T94" fmla="*/ 69 w 98"/>
                    <a:gd name="T95" fmla="*/ 84 h 97"/>
                    <a:gd name="T96" fmla="*/ 68 w 98"/>
                    <a:gd name="T97" fmla="*/ 84 h 97"/>
                    <a:gd name="T98" fmla="*/ 58 w 98"/>
                    <a:gd name="T99" fmla="*/ 87 h 97"/>
                    <a:gd name="T100" fmla="*/ 36 w 98"/>
                    <a:gd name="T101" fmla="*/ 94 h 97"/>
                    <a:gd name="T102" fmla="*/ 26 w 98"/>
                    <a:gd name="T103" fmla="*/ 97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98" h="97">
                      <a:moveTo>
                        <a:pt x="20" y="97"/>
                      </a:moveTo>
                      <a:lnTo>
                        <a:pt x="20" y="97"/>
                      </a:lnTo>
                      <a:lnTo>
                        <a:pt x="19" y="97"/>
                      </a:lnTo>
                      <a:lnTo>
                        <a:pt x="19" y="97"/>
                      </a:lnTo>
                      <a:lnTo>
                        <a:pt x="19" y="97"/>
                      </a:lnTo>
                      <a:lnTo>
                        <a:pt x="19" y="97"/>
                      </a:lnTo>
                      <a:lnTo>
                        <a:pt x="17" y="93"/>
                      </a:lnTo>
                      <a:lnTo>
                        <a:pt x="17" y="93"/>
                      </a:lnTo>
                      <a:lnTo>
                        <a:pt x="19" y="87"/>
                      </a:lnTo>
                      <a:lnTo>
                        <a:pt x="20" y="83"/>
                      </a:lnTo>
                      <a:lnTo>
                        <a:pt x="20" y="83"/>
                      </a:lnTo>
                      <a:lnTo>
                        <a:pt x="22" y="80"/>
                      </a:lnTo>
                      <a:lnTo>
                        <a:pt x="22" y="80"/>
                      </a:lnTo>
                      <a:lnTo>
                        <a:pt x="20" y="77"/>
                      </a:lnTo>
                      <a:lnTo>
                        <a:pt x="19" y="74"/>
                      </a:lnTo>
                      <a:lnTo>
                        <a:pt x="12" y="67"/>
                      </a:lnTo>
                      <a:lnTo>
                        <a:pt x="12" y="67"/>
                      </a:lnTo>
                      <a:lnTo>
                        <a:pt x="9" y="64"/>
                      </a:lnTo>
                      <a:lnTo>
                        <a:pt x="4" y="63"/>
                      </a:lnTo>
                      <a:lnTo>
                        <a:pt x="1" y="63"/>
                      </a:lnTo>
                      <a:lnTo>
                        <a:pt x="0" y="61"/>
                      </a:lnTo>
                      <a:lnTo>
                        <a:pt x="0" y="61"/>
                      </a:lnTo>
                      <a:lnTo>
                        <a:pt x="1" y="58"/>
                      </a:lnTo>
                      <a:lnTo>
                        <a:pt x="1" y="58"/>
                      </a:lnTo>
                      <a:lnTo>
                        <a:pt x="9" y="51"/>
                      </a:lnTo>
                      <a:lnTo>
                        <a:pt x="9" y="51"/>
                      </a:lnTo>
                      <a:lnTo>
                        <a:pt x="13" y="48"/>
                      </a:lnTo>
                      <a:lnTo>
                        <a:pt x="13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7" y="45"/>
                      </a:lnTo>
                      <a:lnTo>
                        <a:pt x="19" y="39"/>
                      </a:lnTo>
                      <a:lnTo>
                        <a:pt x="19" y="25"/>
                      </a:lnTo>
                      <a:lnTo>
                        <a:pt x="19" y="25"/>
                      </a:lnTo>
                      <a:lnTo>
                        <a:pt x="19" y="19"/>
                      </a:lnTo>
                      <a:lnTo>
                        <a:pt x="19" y="19"/>
                      </a:lnTo>
                      <a:lnTo>
                        <a:pt x="22" y="5"/>
                      </a:lnTo>
                      <a:lnTo>
                        <a:pt x="22" y="5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8" y="6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2" y="0"/>
                      </a:lnTo>
                      <a:lnTo>
                        <a:pt x="52" y="0"/>
                      </a:lnTo>
                      <a:lnTo>
                        <a:pt x="52" y="0"/>
                      </a:lnTo>
                      <a:lnTo>
                        <a:pt x="52" y="0"/>
                      </a:lnTo>
                      <a:lnTo>
                        <a:pt x="62" y="8"/>
                      </a:lnTo>
                      <a:lnTo>
                        <a:pt x="62" y="8"/>
                      </a:lnTo>
                      <a:lnTo>
                        <a:pt x="64" y="9"/>
                      </a:lnTo>
                      <a:lnTo>
                        <a:pt x="64" y="9"/>
                      </a:lnTo>
                      <a:lnTo>
                        <a:pt x="68" y="10"/>
                      </a:lnTo>
                      <a:lnTo>
                        <a:pt x="77" y="12"/>
                      </a:lnTo>
                      <a:lnTo>
                        <a:pt x="96" y="13"/>
                      </a:lnTo>
                      <a:lnTo>
                        <a:pt x="96" y="13"/>
                      </a:lnTo>
                      <a:lnTo>
                        <a:pt x="97" y="23"/>
                      </a:lnTo>
                      <a:lnTo>
                        <a:pt x="97" y="23"/>
                      </a:lnTo>
                      <a:lnTo>
                        <a:pt x="98" y="31"/>
                      </a:lnTo>
                      <a:lnTo>
                        <a:pt x="98" y="39"/>
                      </a:lnTo>
                      <a:lnTo>
                        <a:pt x="97" y="47"/>
                      </a:lnTo>
                      <a:lnTo>
                        <a:pt x="96" y="48"/>
                      </a:lnTo>
                      <a:lnTo>
                        <a:pt x="94" y="51"/>
                      </a:lnTo>
                      <a:lnTo>
                        <a:pt x="94" y="51"/>
                      </a:lnTo>
                      <a:lnTo>
                        <a:pt x="90" y="54"/>
                      </a:lnTo>
                      <a:lnTo>
                        <a:pt x="87" y="58"/>
                      </a:lnTo>
                      <a:lnTo>
                        <a:pt x="87" y="64"/>
                      </a:lnTo>
                      <a:lnTo>
                        <a:pt x="87" y="68"/>
                      </a:lnTo>
                      <a:lnTo>
                        <a:pt x="87" y="68"/>
                      </a:lnTo>
                      <a:lnTo>
                        <a:pt x="90" y="77"/>
                      </a:lnTo>
                      <a:lnTo>
                        <a:pt x="91" y="89"/>
                      </a:lnTo>
                      <a:lnTo>
                        <a:pt x="91" y="89"/>
                      </a:lnTo>
                      <a:lnTo>
                        <a:pt x="90" y="89"/>
                      </a:lnTo>
                      <a:lnTo>
                        <a:pt x="90" y="89"/>
                      </a:lnTo>
                      <a:lnTo>
                        <a:pt x="80" y="86"/>
                      </a:lnTo>
                      <a:lnTo>
                        <a:pt x="69" y="84"/>
                      </a:lnTo>
                      <a:lnTo>
                        <a:pt x="68" y="84"/>
                      </a:lnTo>
                      <a:lnTo>
                        <a:pt x="68" y="84"/>
                      </a:lnTo>
                      <a:lnTo>
                        <a:pt x="58" y="87"/>
                      </a:lnTo>
                      <a:lnTo>
                        <a:pt x="58" y="87"/>
                      </a:lnTo>
                      <a:lnTo>
                        <a:pt x="36" y="94"/>
                      </a:lnTo>
                      <a:lnTo>
                        <a:pt x="36" y="94"/>
                      </a:lnTo>
                      <a:lnTo>
                        <a:pt x="26" y="97"/>
                      </a:lnTo>
                      <a:lnTo>
                        <a:pt x="26" y="97"/>
                      </a:lnTo>
                      <a:lnTo>
                        <a:pt x="20" y="9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28" name="Freeform 580"/>
                <p:cNvSpPr>
                  <a:spLocks noEditPoints="1"/>
                </p:cNvSpPr>
                <p:nvPr/>
              </p:nvSpPr>
              <p:spPr bwMode="auto">
                <a:xfrm>
                  <a:off x="4297975" y="3159846"/>
                  <a:ext cx="29678" cy="7914"/>
                </a:xfrm>
                <a:custGeom>
                  <a:avLst/>
                  <a:gdLst>
                    <a:gd name="T0" fmla="*/ 29 w 30"/>
                    <a:gd name="T1" fmla="*/ 0 h 8"/>
                    <a:gd name="T2" fmla="*/ 29 w 30"/>
                    <a:gd name="T3" fmla="*/ 0 h 8"/>
                    <a:gd name="T4" fmla="*/ 30 w 30"/>
                    <a:gd name="T5" fmla="*/ 0 h 8"/>
                    <a:gd name="T6" fmla="*/ 30 w 30"/>
                    <a:gd name="T7" fmla="*/ 0 h 8"/>
                    <a:gd name="T8" fmla="*/ 29 w 30"/>
                    <a:gd name="T9" fmla="*/ 0 h 8"/>
                    <a:gd name="T10" fmla="*/ 29 w 30"/>
                    <a:gd name="T11" fmla="*/ 0 h 8"/>
                    <a:gd name="T12" fmla="*/ 29 w 30"/>
                    <a:gd name="T13" fmla="*/ 0 h 8"/>
                    <a:gd name="T14" fmla="*/ 29 w 30"/>
                    <a:gd name="T15" fmla="*/ 0 h 8"/>
                    <a:gd name="T16" fmla="*/ 29 w 30"/>
                    <a:gd name="T17" fmla="*/ 0 h 8"/>
                    <a:gd name="T18" fmla="*/ 29 w 30"/>
                    <a:gd name="T19" fmla="*/ 0 h 8"/>
                    <a:gd name="T20" fmla="*/ 26 w 30"/>
                    <a:gd name="T21" fmla="*/ 2 h 8"/>
                    <a:gd name="T22" fmla="*/ 26 w 30"/>
                    <a:gd name="T23" fmla="*/ 2 h 8"/>
                    <a:gd name="T24" fmla="*/ 29 w 30"/>
                    <a:gd name="T25" fmla="*/ 0 h 8"/>
                    <a:gd name="T26" fmla="*/ 29 w 30"/>
                    <a:gd name="T27" fmla="*/ 0 h 8"/>
                    <a:gd name="T28" fmla="*/ 26 w 30"/>
                    <a:gd name="T29" fmla="*/ 2 h 8"/>
                    <a:gd name="T30" fmla="*/ 26 w 30"/>
                    <a:gd name="T31" fmla="*/ 2 h 8"/>
                    <a:gd name="T32" fmla="*/ 26 w 30"/>
                    <a:gd name="T33" fmla="*/ 2 h 8"/>
                    <a:gd name="T34" fmla="*/ 26 w 30"/>
                    <a:gd name="T35" fmla="*/ 2 h 8"/>
                    <a:gd name="T36" fmla="*/ 26 w 30"/>
                    <a:gd name="T37" fmla="*/ 2 h 8"/>
                    <a:gd name="T38" fmla="*/ 26 w 30"/>
                    <a:gd name="T39" fmla="*/ 2 h 8"/>
                    <a:gd name="T40" fmla="*/ 4 w 30"/>
                    <a:gd name="T41" fmla="*/ 8 h 8"/>
                    <a:gd name="T42" fmla="*/ 4 w 30"/>
                    <a:gd name="T43" fmla="*/ 8 h 8"/>
                    <a:gd name="T44" fmla="*/ 0 w 30"/>
                    <a:gd name="T45" fmla="*/ 5 h 8"/>
                    <a:gd name="T46" fmla="*/ 0 w 30"/>
                    <a:gd name="T47" fmla="*/ 5 h 8"/>
                    <a:gd name="T48" fmla="*/ 0 w 30"/>
                    <a:gd name="T49" fmla="*/ 5 h 8"/>
                    <a:gd name="T50" fmla="*/ 0 w 30"/>
                    <a:gd name="T51" fmla="*/ 5 h 8"/>
                    <a:gd name="T52" fmla="*/ 4 w 30"/>
                    <a:gd name="T53" fmla="*/ 8 h 8"/>
                    <a:gd name="T54" fmla="*/ 4 w 30"/>
                    <a:gd name="T55" fmla="*/ 8 h 8"/>
                    <a:gd name="T56" fmla="*/ 4 w 30"/>
                    <a:gd name="T57" fmla="*/ 8 h 8"/>
                    <a:gd name="T58" fmla="*/ 4 w 30"/>
                    <a:gd name="T59" fmla="*/ 8 h 8"/>
                    <a:gd name="T60" fmla="*/ 4 w 30"/>
                    <a:gd name="T61" fmla="*/ 8 h 8"/>
                    <a:gd name="T62" fmla="*/ 4 w 30"/>
                    <a:gd name="T63" fmla="*/ 8 h 8"/>
                    <a:gd name="T64" fmla="*/ 8 w 30"/>
                    <a:gd name="T65" fmla="*/ 8 h 8"/>
                    <a:gd name="T66" fmla="*/ 8 w 30"/>
                    <a:gd name="T67" fmla="*/ 8 h 8"/>
                    <a:gd name="T68" fmla="*/ 16 w 30"/>
                    <a:gd name="T69" fmla="*/ 6 h 8"/>
                    <a:gd name="T70" fmla="*/ 26 w 30"/>
                    <a:gd name="T71" fmla="*/ 2 h 8"/>
                    <a:gd name="T72" fmla="*/ 26 w 30"/>
                    <a:gd name="T73" fmla="*/ 2 h 8"/>
                    <a:gd name="T74" fmla="*/ 16 w 30"/>
                    <a:gd name="T75" fmla="*/ 6 h 8"/>
                    <a:gd name="T76" fmla="*/ 8 w 30"/>
                    <a:gd name="T77" fmla="*/ 8 h 8"/>
                    <a:gd name="T78" fmla="*/ 8 w 30"/>
                    <a:gd name="T79" fmla="*/ 8 h 8"/>
                    <a:gd name="T80" fmla="*/ 8 w 30"/>
                    <a:gd name="T81" fmla="*/ 8 h 8"/>
                    <a:gd name="T82" fmla="*/ 8 w 30"/>
                    <a:gd name="T8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0" h="8">
                      <a:moveTo>
                        <a:pt x="29" y="0"/>
                      </a:moveTo>
                      <a:lnTo>
                        <a:pt x="29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29" y="0"/>
                      </a:lnTo>
                      <a:close/>
                      <a:moveTo>
                        <a:pt x="29" y="0"/>
                      </a:move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29" y="0"/>
                      </a:lnTo>
                      <a:close/>
                      <a:moveTo>
                        <a:pt x="26" y="2"/>
                      </a:moveTo>
                      <a:lnTo>
                        <a:pt x="26" y="2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26" y="2"/>
                      </a:lnTo>
                      <a:close/>
                      <a:moveTo>
                        <a:pt x="26" y="2"/>
                      </a:move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26" y="2"/>
                      </a:lnTo>
                      <a:close/>
                      <a:moveTo>
                        <a:pt x="4" y="8"/>
                      </a:moveTo>
                      <a:lnTo>
                        <a:pt x="4" y="8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4" y="8"/>
                      </a:lnTo>
                      <a:close/>
                      <a:moveTo>
                        <a:pt x="4" y="8"/>
                      </a:move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close/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16" y="6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16" y="6"/>
                      </a:lnTo>
                      <a:lnTo>
                        <a:pt x="8" y="8"/>
                      </a:lnTo>
                      <a:close/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8" y="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29" name="Rectangle 581"/>
                <p:cNvSpPr>
                  <a:spLocks noChangeArrowheads="1"/>
                </p:cNvSpPr>
                <p:nvPr/>
              </p:nvSpPr>
              <p:spPr bwMode="auto">
                <a:xfrm>
                  <a:off x="4326663" y="3159846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30" name="Rectangle 582"/>
                <p:cNvSpPr>
                  <a:spLocks noChangeArrowheads="1"/>
                </p:cNvSpPr>
                <p:nvPr/>
              </p:nvSpPr>
              <p:spPr bwMode="auto">
                <a:xfrm>
                  <a:off x="4326663" y="3159846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31" name="Freeform 583"/>
                <p:cNvSpPr>
                  <a:spLocks/>
                </p:cNvSpPr>
                <p:nvPr/>
              </p:nvSpPr>
              <p:spPr bwMode="auto">
                <a:xfrm>
                  <a:off x="4323696" y="3159846"/>
                  <a:ext cx="2968" cy="1979"/>
                </a:xfrm>
                <a:custGeom>
                  <a:avLst/>
                  <a:gdLst>
                    <a:gd name="T0" fmla="*/ 0 w 3"/>
                    <a:gd name="T1" fmla="*/ 2 h 2"/>
                    <a:gd name="T2" fmla="*/ 0 w 3"/>
                    <a:gd name="T3" fmla="*/ 2 h 2"/>
                    <a:gd name="T4" fmla="*/ 3 w 3"/>
                    <a:gd name="T5" fmla="*/ 0 h 2"/>
                    <a:gd name="T6" fmla="*/ 3 w 3"/>
                    <a:gd name="T7" fmla="*/ 0 h 2"/>
                    <a:gd name="T8" fmla="*/ 0 w 3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2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32" name="Rectangle 584"/>
                <p:cNvSpPr>
                  <a:spLocks noChangeArrowheads="1"/>
                </p:cNvSpPr>
                <p:nvPr/>
              </p:nvSpPr>
              <p:spPr bwMode="auto">
                <a:xfrm>
                  <a:off x="4323696" y="3161825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33" name="Freeform 585"/>
                <p:cNvSpPr>
                  <a:spLocks/>
                </p:cNvSpPr>
                <p:nvPr/>
              </p:nvSpPr>
              <p:spPr bwMode="auto">
                <a:xfrm>
                  <a:off x="4297975" y="3164792"/>
                  <a:ext cx="3957" cy="2968"/>
                </a:xfrm>
                <a:custGeom>
                  <a:avLst/>
                  <a:gdLst>
                    <a:gd name="T0" fmla="*/ 4 w 4"/>
                    <a:gd name="T1" fmla="*/ 3 h 3"/>
                    <a:gd name="T2" fmla="*/ 4 w 4"/>
                    <a:gd name="T3" fmla="*/ 3 h 3"/>
                    <a:gd name="T4" fmla="*/ 0 w 4"/>
                    <a:gd name="T5" fmla="*/ 0 h 3"/>
                    <a:gd name="T6" fmla="*/ 0 w 4"/>
                    <a:gd name="T7" fmla="*/ 0 h 3"/>
                    <a:gd name="T8" fmla="*/ 0 w 4"/>
                    <a:gd name="T9" fmla="*/ 0 h 3"/>
                    <a:gd name="T10" fmla="*/ 0 w 4"/>
                    <a:gd name="T11" fmla="*/ 0 h 3"/>
                    <a:gd name="T12" fmla="*/ 4 w 4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3">
                      <a:moveTo>
                        <a:pt x="4" y="3"/>
                      </a:move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34" name="Rectangle 586"/>
                <p:cNvSpPr>
                  <a:spLocks noChangeArrowheads="1"/>
                </p:cNvSpPr>
                <p:nvPr/>
              </p:nvSpPr>
              <p:spPr bwMode="auto">
                <a:xfrm>
                  <a:off x="4301932" y="3167760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35" name="Freeform 587"/>
                <p:cNvSpPr>
                  <a:spLocks/>
                </p:cNvSpPr>
                <p:nvPr/>
              </p:nvSpPr>
              <p:spPr bwMode="auto">
                <a:xfrm>
                  <a:off x="4305889" y="3161825"/>
                  <a:ext cx="17807" cy="5936"/>
                </a:xfrm>
                <a:custGeom>
                  <a:avLst/>
                  <a:gdLst>
                    <a:gd name="T0" fmla="*/ 0 w 18"/>
                    <a:gd name="T1" fmla="*/ 6 h 6"/>
                    <a:gd name="T2" fmla="*/ 0 w 18"/>
                    <a:gd name="T3" fmla="*/ 6 h 6"/>
                    <a:gd name="T4" fmla="*/ 8 w 18"/>
                    <a:gd name="T5" fmla="*/ 4 h 6"/>
                    <a:gd name="T6" fmla="*/ 18 w 18"/>
                    <a:gd name="T7" fmla="*/ 0 h 6"/>
                    <a:gd name="T8" fmla="*/ 18 w 18"/>
                    <a:gd name="T9" fmla="*/ 0 h 6"/>
                    <a:gd name="T10" fmla="*/ 8 w 18"/>
                    <a:gd name="T11" fmla="*/ 4 h 6"/>
                    <a:gd name="T12" fmla="*/ 0 w 18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" h="6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8" y="4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8" y="4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36" name="Freeform 588"/>
                <p:cNvSpPr>
                  <a:spLocks/>
                </p:cNvSpPr>
                <p:nvPr/>
              </p:nvSpPr>
              <p:spPr bwMode="auto">
                <a:xfrm>
                  <a:off x="4305889" y="3167760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37" name="Freeform 589"/>
                <p:cNvSpPr>
                  <a:spLocks/>
                </p:cNvSpPr>
                <p:nvPr/>
              </p:nvSpPr>
              <p:spPr bwMode="auto">
                <a:xfrm>
                  <a:off x="4327653" y="3159846"/>
                  <a:ext cx="9893" cy="7914"/>
                </a:xfrm>
                <a:custGeom>
                  <a:avLst/>
                  <a:gdLst>
                    <a:gd name="T0" fmla="*/ 10 w 10"/>
                    <a:gd name="T1" fmla="*/ 8 h 8"/>
                    <a:gd name="T2" fmla="*/ 10 w 10"/>
                    <a:gd name="T3" fmla="*/ 8 h 8"/>
                    <a:gd name="T4" fmla="*/ 0 w 10"/>
                    <a:gd name="T5" fmla="*/ 0 h 8"/>
                    <a:gd name="T6" fmla="*/ 0 w 10"/>
                    <a:gd name="T7" fmla="*/ 0 h 8"/>
                    <a:gd name="T8" fmla="*/ 0 w 10"/>
                    <a:gd name="T9" fmla="*/ 0 h 8"/>
                    <a:gd name="T10" fmla="*/ 0 w 10"/>
                    <a:gd name="T11" fmla="*/ 0 h 8"/>
                    <a:gd name="T12" fmla="*/ 10 w 10"/>
                    <a:gd name="T1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8">
                      <a:moveTo>
                        <a:pt x="10" y="8"/>
                      </a:moveTo>
                      <a:lnTo>
                        <a:pt x="10" y="8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0" y="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38" name="Freeform 590"/>
                <p:cNvSpPr>
                  <a:spLocks/>
                </p:cNvSpPr>
                <p:nvPr/>
              </p:nvSpPr>
              <p:spPr bwMode="auto">
                <a:xfrm>
                  <a:off x="4327653" y="3159846"/>
                  <a:ext cx="9893" cy="7914"/>
                </a:xfrm>
                <a:custGeom>
                  <a:avLst/>
                  <a:gdLst>
                    <a:gd name="T0" fmla="*/ 10 w 10"/>
                    <a:gd name="T1" fmla="*/ 8 h 8"/>
                    <a:gd name="T2" fmla="*/ 10 w 10"/>
                    <a:gd name="T3" fmla="*/ 8 h 8"/>
                    <a:gd name="T4" fmla="*/ 0 w 10"/>
                    <a:gd name="T5" fmla="*/ 0 h 8"/>
                    <a:gd name="T6" fmla="*/ 0 w 10"/>
                    <a:gd name="T7" fmla="*/ 0 h 8"/>
                    <a:gd name="T8" fmla="*/ 0 w 10"/>
                    <a:gd name="T9" fmla="*/ 0 h 8"/>
                    <a:gd name="T10" fmla="*/ 0 w 10"/>
                    <a:gd name="T11" fmla="*/ 0 h 8"/>
                    <a:gd name="T12" fmla="*/ 10 w 10"/>
                    <a:gd name="T1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8">
                      <a:moveTo>
                        <a:pt x="10" y="8"/>
                      </a:moveTo>
                      <a:lnTo>
                        <a:pt x="10" y="8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0" y="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39" name="Freeform 591"/>
                <p:cNvSpPr>
                  <a:spLocks/>
                </p:cNvSpPr>
                <p:nvPr/>
              </p:nvSpPr>
              <p:spPr bwMode="auto">
                <a:xfrm>
                  <a:off x="4152554" y="3130168"/>
                  <a:ext cx="46495" cy="25721"/>
                </a:xfrm>
                <a:custGeom>
                  <a:avLst/>
                  <a:gdLst>
                    <a:gd name="T0" fmla="*/ 22 w 47"/>
                    <a:gd name="T1" fmla="*/ 26 h 26"/>
                    <a:gd name="T2" fmla="*/ 22 w 47"/>
                    <a:gd name="T3" fmla="*/ 26 h 26"/>
                    <a:gd name="T4" fmla="*/ 21 w 47"/>
                    <a:gd name="T5" fmla="*/ 24 h 26"/>
                    <a:gd name="T6" fmla="*/ 21 w 47"/>
                    <a:gd name="T7" fmla="*/ 24 h 26"/>
                    <a:gd name="T8" fmla="*/ 19 w 47"/>
                    <a:gd name="T9" fmla="*/ 23 h 26"/>
                    <a:gd name="T10" fmla="*/ 19 w 47"/>
                    <a:gd name="T11" fmla="*/ 23 h 26"/>
                    <a:gd name="T12" fmla="*/ 18 w 47"/>
                    <a:gd name="T13" fmla="*/ 22 h 26"/>
                    <a:gd name="T14" fmla="*/ 18 w 47"/>
                    <a:gd name="T15" fmla="*/ 22 h 26"/>
                    <a:gd name="T16" fmla="*/ 16 w 47"/>
                    <a:gd name="T17" fmla="*/ 17 h 26"/>
                    <a:gd name="T18" fmla="*/ 16 w 47"/>
                    <a:gd name="T19" fmla="*/ 17 h 26"/>
                    <a:gd name="T20" fmla="*/ 15 w 47"/>
                    <a:gd name="T21" fmla="*/ 14 h 26"/>
                    <a:gd name="T22" fmla="*/ 11 w 47"/>
                    <a:gd name="T23" fmla="*/ 11 h 26"/>
                    <a:gd name="T24" fmla="*/ 11 w 47"/>
                    <a:gd name="T25" fmla="*/ 11 h 26"/>
                    <a:gd name="T26" fmla="*/ 0 w 47"/>
                    <a:gd name="T27" fmla="*/ 6 h 26"/>
                    <a:gd name="T28" fmla="*/ 0 w 47"/>
                    <a:gd name="T29" fmla="*/ 6 h 26"/>
                    <a:gd name="T30" fmla="*/ 41 w 47"/>
                    <a:gd name="T31" fmla="*/ 0 h 26"/>
                    <a:gd name="T32" fmla="*/ 42 w 47"/>
                    <a:gd name="T33" fmla="*/ 0 h 26"/>
                    <a:gd name="T34" fmla="*/ 42 w 47"/>
                    <a:gd name="T35" fmla="*/ 0 h 26"/>
                    <a:gd name="T36" fmla="*/ 45 w 47"/>
                    <a:gd name="T37" fmla="*/ 0 h 26"/>
                    <a:gd name="T38" fmla="*/ 45 w 47"/>
                    <a:gd name="T39" fmla="*/ 0 h 26"/>
                    <a:gd name="T40" fmla="*/ 47 w 47"/>
                    <a:gd name="T41" fmla="*/ 7 h 26"/>
                    <a:gd name="T42" fmla="*/ 47 w 47"/>
                    <a:gd name="T43" fmla="*/ 7 h 26"/>
                    <a:gd name="T44" fmla="*/ 47 w 47"/>
                    <a:gd name="T45" fmla="*/ 10 h 26"/>
                    <a:gd name="T46" fmla="*/ 45 w 47"/>
                    <a:gd name="T47" fmla="*/ 11 h 26"/>
                    <a:gd name="T48" fmla="*/ 45 w 47"/>
                    <a:gd name="T49" fmla="*/ 11 h 26"/>
                    <a:gd name="T50" fmla="*/ 37 w 47"/>
                    <a:gd name="T51" fmla="*/ 17 h 26"/>
                    <a:gd name="T52" fmla="*/ 22 w 47"/>
                    <a:gd name="T53" fmla="*/ 2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7" h="26">
                      <a:moveTo>
                        <a:pt x="22" y="26"/>
                      </a:moveTo>
                      <a:lnTo>
                        <a:pt x="22" y="26"/>
                      </a:lnTo>
                      <a:lnTo>
                        <a:pt x="21" y="24"/>
                      </a:lnTo>
                      <a:lnTo>
                        <a:pt x="21" y="24"/>
                      </a:lnTo>
                      <a:lnTo>
                        <a:pt x="19" y="23"/>
                      </a:lnTo>
                      <a:lnTo>
                        <a:pt x="19" y="23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6" y="17"/>
                      </a:lnTo>
                      <a:lnTo>
                        <a:pt x="16" y="17"/>
                      </a:lnTo>
                      <a:lnTo>
                        <a:pt x="15" y="14"/>
                      </a:lnTo>
                      <a:lnTo>
                        <a:pt x="11" y="11"/>
                      </a:lnTo>
                      <a:lnTo>
                        <a:pt x="11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1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5" y="0"/>
                      </a:lnTo>
                      <a:lnTo>
                        <a:pt x="45" y="0"/>
                      </a:lnTo>
                      <a:lnTo>
                        <a:pt x="47" y="7"/>
                      </a:lnTo>
                      <a:lnTo>
                        <a:pt x="47" y="7"/>
                      </a:lnTo>
                      <a:lnTo>
                        <a:pt x="47" y="10"/>
                      </a:lnTo>
                      <a:lnTo>
                        <a:pt x="45" y="11"/>
                      </a:lnTo>
                      <a:lnTo>
                        <a:pt x="45" y="11"/>
                      </a:lnTo>
                      <a:lnTo>
                        <a:pt x="37" y="17"/>
                      </a:lnTo>
                      <a:lnTo>
                        <a:pt x="22" y="2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40" name="Freeform 592"/>
                <p:cNvSpPr>
                  <a:spLocks/>
                </p:cNvSpPr>
                <p:nvPr/>
              </p:nvSpPr>
              <p:spPr bwMode="auto">
                <a:xfrm>
                  <a:off x="4152554" y="3130168"/>
                  <a:ext cx="46495" cy="25721"/>
                </a:xfrm>
                <a:custGeom>
                  <a:avLst/>
                  <a:gdLst>
                    <a:gd name="T0" fmla="*/ 22 w 47"/>
                    <a:gd name="T1" fmla="*/ 26 h 26"/>
                    <a:gd name="T2" fmla="*/ 22 w 47"/>
                    <a:gd name="T3" fmla="*/ 26 h 26"/>
                    <a:gd name="T4" fmla="*/ 21 w 47"/>
                    <a:gd name="T5" fmla="*/ 24 h 26"/>
                    <a:gd name="T6" fmla="*/ 21 w 47"/>
                    <a:gd name="T7" fmla="*/ 24 h 26"/>
                    <a:gd name="T8" fmla="*/ 19 w 47"/>
                    <a:gd name="T9" fmla="*/ 23 h 26"/>
                    <a:gd name="T10" fmla="*/ 19 w 47"/>
                    <a:gd name="T11" fmla="*/ 23 h 26"/>
                    <a:gd name="T12" fmla="*/ 18 w 47"/>
                    <a:gd name="T13" fmla="*/ 22 h 26"/>
                    <a:gd name="T14" fmla="*/ 18 w 47"/>
                    <a:gd name="T15" fmla="*/ 22 h 26"/>
                    <a:gd name="T16" fmla="*/ 16 w 47"/>
                    <a:gd name="T17" fmla="*/ 17 h 26"/>
                    <a:gd name="T18" fmla="*/ 16 w 47"/>
                    <a:gd name="T19" fmla="*/ 17 h 26"/>
                    <a:gd name="T20" fmla="*/ 15 w 47"/>
                    <a:gd name="T21" fmla="*/ 14 h 26"/>
                    <a:gd name="T22" fmla="*/ 11 w 47"/>
                    <a:gd name="T23" fmla="*/ 11 h 26"/>
                    <a:gd name="T24" fmla="*/ 11 w 47"/>
                    <a:gd name="T25" fmla="*/ 11 h 26"/>
                    <a:gd name="T26" fmla="*/ 0 w 47"/>
                    <a:gd name="T27" fmla="*/ 6 h 26"/>
                    <a:gd name="T28" fmla="*/ 0 w 47"/>
                    <a:gd name="T29" fmla="*/ 6 h 26"/>
                    <a:gd name="T30" fmla="*/ 41 w 47"/>
                    <a:gd name="T31" fmla="*/ 0 h 26"/>
                    <a:gd name="T32" fmla="*/ 42 w 47"/>
                    <a:gd name="T33" fmla="*/ 0 h 26"/>
                    <a:gd name="T34" fmla="*/ 42 w 47"/>
                    <a:gd name="T35" fmla="*/ 0 h 26"/>
                    <a:gd name="T36" fmla="*/ 45 w 47"/>
                    <a:gd name="T37" fmla="*/ 0 h 26"/>
                    <a:gd name="T38" fmla="*/ 45 w 47"/>
                    <a:gd name="T39" fmla="*/ 0 h 26"/>
                    <a:gd name="T40" fmla="*/ 47 w 47"/>
                    <a:gd name="T41" fmla="*/ 7 h 26"/>
                    <a:gd name="T42" fmla="*/ 47 w 47"/>
                    <a:gd name="T43" fmla="*/ 7 h 26"/>
                    <a:gd name="T44" fmla="*/ 47 w 47"/>
                    <a:gd name="T45" fmla="*/ 10 h 26"/>
                    <a:gd name="T46" fmla="*/ 45 w 47"/>
                    <a:gd name="T47" fmla="*/ 11 h 26"/>
                    <a:gd name="T48" fmla="*/ 45 w 47"/>
                    <a:gd name="T49" fmla="*/ 11 h 26"/>
                    <a:gd name="T50" fmla="*/ 37 w 47"/>
                    <a:gd name="T51" fmla="*/ 17 h 26"/>
                    <a:gd name="T52" fmla="*/ 22 w 47"/>
                    <a:gd name="T53" fmla="*/ 2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7" h="26">
                      <a:moveTo>
                        <a:pt x="22" y="26"/>
                      </a:moveTo>
                      <a:lnTo>
                        <a:pt x="22" y="26"/>
                      </a:lnTo>
                      <a:lnTo>
                        <a:pt x="21" y="24"/>
                      </a:lnTo>
                      <a:lnTo>
                        <a:pt x="21" y="24"/>
                      </a:lnTo>
                      <a:lnTo>
                        <a:pt x="19" y="23"/>
                      </a:lnTo>
                      <a:lnTo>
                        <a:pt x="19" y="23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6" y="17"/>
                      </a:lnTo>
                      <a:lnTo>
                        <a:pt x="16" y="17"/>
                      </a:lnTo>
                      <a:lnTo>
                        <a:pt x="15" y="14"/>
                      </a:lnTo>
                      <a:lnTo>
                        <a:pt x="11" y="11"/>
                      </a:lnTo>
                      <a:lnTo>
                        <a:pt x="11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1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5" y="0"/>
                      </a:lnTo>
                      <a:lnTo>
                        <a:pt x="45" y="0"/>
                      </a:lnTo>
                      <a:lnTo>
                        <a:pt x="47" y="7"/>
                      </a:lnTo>
                      <a:lnTo>
                        <a:pt x="47" y="7"/>
                      </a:lnTo>
                      <a:lnTo>
                        <a:pt x="47" y="10"/>
                      </a:lnTo>
                      <a:lnTo>
                        <a:pt x="45" y="11"/>
                      </a:lnTo>
                      <a:lnTo>
                        <a:pt x="45" y="11"/>
                      </a:lnTo>
                      <a:lnTo>
                        <a:pt x="37" y="17"/>
                      </a:lnTo>
                      <a:lnTo>
                        <a:pt x="22" y="2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41" name="Freeform 593"/>
                <p:cNvSpPr>
                  <a:spLocks/>
                </p:cNvSpPr>
                <p:nvPr/>
              </p:nvSpPr>
              <p:spPr bwMode="auto">
                <a:xfrm>
                  <a:off x="4156511" y="3130168"/>
                  <a:ext cx="123658" cy="80130"/>
                </a:xfrm>
                <a:custGeom>
                  <a:avLst/>
                  <a:gdLst>
                    <a:gd name="T0" fmla="*/ 107 w 125"/>
                    <a:gd name="T1" fmla="*/ 81 h 81"/>
                    <a:gd name="T2" fmla="*/ 99 w 125"/>
                    <a:gd name="T3" fmla="*/ 80 h 81"/>
                    <a:gd name="T4" fmla="*/ 97 w 125"/>
                    <a:gd name="T5" fmla="*/ 80 h 81"/>
                    <a:gd name="T6" fmla="*/ 97 w 125"/>
                    <a:gd name="T7" fmla="*/ 78 h 81"/>
                    <a:gd name="T8" fmla="*/ 96 w 125"/>
                    <a:gd name="T9" fmla="*/ 75 h 81"/>
                    <a:gd name="T10" fmla="*/ 91 w 125"/>
                    <a:gd name="T11" fmla="*/ 64 h 81"/>
                    <a:gd name="T12" fmla="*/ 80 w 125"/>
                    <a:gd name="T13" fmla="*/ 64 h 81"/>
                    <a:gd name="T14" fmla="*/ 80 w 125"/>
                    <a:gd name="T15" fmla="*/ 65 h 81"/>
                    <a:gd name="T16" fmla="*/ 78 w 125"/>
                    <a:gd name="T17" fmla="*/ 65 h 81"/>
                    <a:gd name="T18" fmla="*/ 70 w 125"/>
                    <a:gd name="T19" fmla="*/ 62 h 81"/>
                    <a:gd name="T20" fmla="*/ 68 w 125"/>
                    <a:gd name="T21" fmla="*/ 61 h 81"/>
                    <a:gd name="T22" fmla="*/ 58 w 125"/>
                    <a:gd name="T23" fmla="*/ 45 h 81"/>
                    <a:gd name="T24" fmla="*/ 58 w 125"/>
                    <a:gd name="T25" fmla="*/ 45 h 81"/>
                    <a:gd name="T26" fmla="*/ 58 w 125"/>
                    <a:gd name="T27" fmla="*/ 43 h 81"/>
                    <a:gd name="T28" fmla="*/ 58 w 125"/>
                    <a:gd name="T29" fmla="*/ 43 h 81"/>
                    <a:gd name="T30" fmla="*/ 55 w 125"/>
                    <a:gd name="T31" fmla="*/ 43 h 81"/>
                    <a:gd name="T32" fmla="*/ 46 w 125"/>
                    <a:gd name="T33" fmla="*/ 48 h 81"/>
                    <a:gd name="T34" fmla="*/ 46 w 125"/>
                    <a:gd name="T35" fmla="*/ 48 h 81"/>
                    <a:gd name="T36" fmla="*/ 31 w 125"/>
                    <a:gd name="T37" fmla="*/ 58 h 81"/>
                    <a:gd name="T38" fmla="*/ 29 w 125"/>
                    <a:gd name="T39" fmla="*/ 55 h 81"/>
                    <a:gd name="T40" fmla="*/ 26 w 125"/>
                    <a:gd name="T41" fmla="*/ 52 h 81"/>
                    <a:gd name="T42" fmla="*/ 23 w 125"/>
                    <a:gd name="T43" fmla="*/ 49 h 81"/>
                    <a:gd name="T44" fmla="*/ 17 w 125"/>
                    <a:gd name="T45" fmla="*/ 40 h 81"/>
                    <a:gd name="T46" fmla="*/ 15 w 125"/>
                    <a:gd name="T47" fmla="*/ 36 h 81"/>
                    <a:gd name="T48" fmla="*/ 0 w 125"/>
                    <a:gd name="T49" fmla="*/ 26 h 81"/>
                    <a:gd name="T50" fmla="*/ 23 w 125"/>
                    <a:gd name="T51" fmla="*/ 11 h 81"/>
                    <a:gd name="T52" fmla="*/ 25 w 125"/>
                    <a:gd name="T53" fmla="*/ 7 h 81"/>
                    <a:gd name="T54" fmla="*/ 23 w 125"/>
                    <a:gd name="T55" fmla="*/ 0 h 81"/>
                    <a:gd name="T56" fmla="*/ 51 w 125"/>
                    <a:gd name="T57" fmla="*/ 4 h 81"/>
                    <a:gd name="T58" fmla="*/ 51 w 125"/>
                    <a:gd name="T59" fmla="*/ 4 h 81"/>
                    <a:gd name="T60" fmla="*/ 55 w 125"/>
                    <a:gd name="T61" fmla="*/ 4 h 81"/>
                    <a:gd name="T62" fmla="*/ 59 w 125"/>
                    <a:gd name="T63" fmla="*/ 9 h 81"/>
                    <a:gd name="T64" fmla="*/ 62 w 125"/>
                    <a:gd name="T65" fmla="*/ 16 h 81"/>
                    <a:gd name="T66" fmla="*/ 62 w 125"/>
                    <a:gd name="T67" fmla="*/ 16 h 81"/>
                    <a:gd name="T68" fmla="*/ 62 w 125"/>
                    <a:gd name="T69" fmla="*/ 16 h 81"/>
                    <a:gd name="T70" fmla="*/ 62 w 125"/>
                    <a:gd name="T71" fmla="*/ 16 h 81"/>
                    <a:gd name="T72" fmla="*/ 62 w 125"/>
                    <a:gd name="T73" fmla="*/ 16 h 81"/>
                    <a:gd name="T74" fmla="*/ 65 w 125"/>
                    <a:gd name="T75" fmla="*/ 17 h 81"/>
                    <a:gd name="T76" fmla="*/ 68 w 125"/>
                    <a:gd name="T77" fmla="*/ 16 h 81"/>
                    <a:gd name="T78" fmla="*/ 73 w 125"/>
                    <a:gd name="T79" fmla="*/ 4 h 81"/>
                    <a:gd name="T80" fmla="*/ 73 w 125"/>
                    <a:gd name="T81" fmla="*/ 4 h 81"/>
                    <a:gd name="T82" fmla="*/ 73 w 125"/>
                    <a:gd name="T83" fmla="*/ 4 h 81"/>
                    <a:gd name="T84" fmla="*/ 81 w 125"/>
                    <a:gd name="T85" fmla="*/ 10 h 81"/>
                    <a:gd name="T86" fmla="*/ 87 w 125"/>
                    <a:gd name="T87" fmla="*/ 11 h 81"/>
                    <a:gd name="T88" fmla="*/ 87 w 125"/>
                    <a:gd name="T89" fmla="*/ 11 h 81"/>
                    <a:gd name="T90" fmla="*/ 87 w 125"/>
                    <a:gd name="T91" fmla="*/ 11 h 81"/>
                    <a:gd name="T92" fmla="*/ 87 w 125"/>
                    <a:gd name="T93" fmla="*/ 11 h 81"/>
                    <a:gd name="T94" fmla="*/ 110 w 125"/>
                    <a:gd name="T95" fmla="*/ 13 h 81"/>
                    <a:gd name="T96" fmla="*/ 116 w 125"/>
                    <a:gd name="T97" fmla="*/ 23 h 81"/>
                    <a:gd name="T98" fmla="*/ 125 w 125"/>
                    <a:gd name="T99" fmla="*/ 35 h 81"/>
                    <a:gd name="T100" fmla="*/ 122 w 125"/>
                    <a:gd name="T101" fmla="*/ 55 h 81"/>
                    <a:gd name="T102" fmla="*/ 120 w 125"/>
                    <a:gd name="T103" fmla="*/ 75 h 81"/>
                    <a:gd name="T104" fmla="*/ 117 w 125"/>
                    <a:gd name="T105" fmla="*/ 78 h 81"/>
                    <a:gd name="T106" fmla="*/ 116 w 125"/>
                    <a:gd name="T107" fmla="*/ 78 h 81"/>
                    <a:gd name="T108" fmla="*/ 107 w 125"/>
                    <a:gd name="T109" fmla="*/ 81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25" h="81">
                      <a:moveTo>
                        <a:pt x="107" y="81"/>
                      </a:moveTo>
                      <a:lnTo>
                        <a:pt x="107" y="81"/>
                      </a:lnTo>
                      <a:lnTo>
                        <a:pt x="107" y="81"/>
                      </a:lnTo>
                      <a:lnTo>
                        <a:pt x="101" y="81"/>
                      </a:lnTo>
                      <a:lnTo>
                        <a:pt x="99" y="80"/>
                      </a:lnTo>
                      <a:lnTo>
                        <a:pt x="99" y="80"/>
                      </a:lnTo>
                      <a:lnTo>
                        <a:pt x="97" y="80"/>
                      </a:lnTo>
                      <a:lnTo>
                        <a:pt x="97" y="80"/>
                      </a:lnTo>
                      <a:lnTo>
                        <a:pt x="97" y="80"/>
                      </a:lnTo>
                      <a:lnTo>
                        <a:pt x="97" y="80"/>
                      </a:lnTo>
                      <a:lnTo>
                        <a:pt x="97" y="78"/>
                      </a:lnTo>
                      <a:lnTo>
                        <a:pt x="97" y="78"/>
                      </a:lnTo>
                      <a:lnTo>
                        <a:pt x="97" y="78"/>
                      </a:lnTo>
                      <a:lnTo>
                        <a:pt x="97" y="78"/>
                      </a:lnTo>
                      <a:lnTo>
                        <a:pt x="96" y="75"/>
                      </a:lnTo>
                      <a:lnTo>
                        <a:pt x="94" y="69"/>
                      </a:lnTo>
                      <a:lnTo>
                        <a:pt x="93" y="65"/>
                      </a:lnTo>
                      <a:lnTo>
                        <a:pt x="91" y="64"/>
                      </a:lnTo>
                      <a:lnTo>
                        <a:pt x="90" y="64"/>
                      </a:lnTo>
                      <a:lnTo>
                        <a:pt x="90" y="64"/>
                      </a:lnTo>
                      <a:lnTo>
                        <a:pt x="80" y="64"/>
                      </a:lnTo>
                      <a:lnTo>
                        <a:pt x="80" y="64"/>
                      </a:lnTo>
                      <a:lnTo>
                        <a:pt x="80" y="65"/>
                      </a:lnTo>
                      <a:lnTo>
                        <a:pt x="80" y="65"/>
                      </a:lnTo>
                      <a:lnTo>
                        <a:pt x="80" y="64"/>
                      </a:lnTo>
                      <a:lnTo>
                        <a:pt x="80" y="64"/>
                      </a:lnTo>
                      <a:lnTo>
                        <a:pt x="78" y="65"/>
                      </a:lnTo>
                      <a:lnTo>
                        <a:pt x="78" y="65"/>
                      </a:lnTo>
                      <a:lnTo>
                        <a:pt x="73" y="64"/>
                      </a:lnTo>
                      <a:lnTo>
                        <a:pt x="70" y="62"/>
                      </a:lnTo>
                      <a:lnTo>
                        <a:pt x="70" y="62"/>
                      </a:lnTo>
                      <a:lnTo>
                        <a:pt x="68" y="61"/>
                      </a:lnTo>
                      <a:lnTo>
                        <a:pt x="68" y="61"/>
                      </a:lnTo>
                      <a:lnTo>
                        <a:pt x="65" y="51"/>
                      </a:lnTo>
                      <a:lnTo>
                        <a:pt x="62" y="46"/>
                      </a:lnTo>
                      <a:lnTo>
                        <a:pt x="58" y="45"/>
                      </a:lnTo>
                      <a:lnTo>
                        <a:pt x="58" y="45"/>
                      </a:lnTo>
                      <a:lnTo>
                        <a:pt x="58" y="45"/>
                      </a:lnTo>
                      <a:lnTo>
                        <a:pt x="58" y="45"/>
                      </a:lnTo>
                      <a:lnTo>
                        <a:pt x="58" y="43"/>
                      </a:lnTo>
                      <a:lnTo>
                        <a:pt x="58" y="43"/>
                      </a:lnTo>
                      <a:lnTo>
                        <a:pt x="58" y="43"/>
                      </a:lnTo>
                      <a:lnTo>
                        <a:pt x="58" y="43"/>
                      </a:lnTo>
                      <a:lnTo>
                        <a:pt x="58" y="43"/>
                      </a:lnTo>
                      <a:lnTo>
                        <a:pt x="58" y="43"/>
                      </a:lnTo>
                      <a:lnTo>
                        <a:pt x="55" y="43"/>
                      </a:lnTo>
                      <a:lnTo>
                        <a:pt x="55" y="43"/>
                      </a:lnTo>
                      <a:lnTo>
                        <a:pt x="55" y="43"/>
                      </a:lnTo>
                      <a:lnTo>
                        <a:pt x="55" y="43"/>
                      </a:lnTo>
                      <a:lnTo>
                        <a:pt x="51" y="45"/>
                      </a:lnTo>
                      <a:lnTo>
                        <a:pt x="46" y="48"/>
                      </a:lnTo>
                      <a:lnTo>
                        <a:pt x="46" y="48"/>
                      </a:lnTo>
                      <a:lnTo>
                        <a:pt x="46" y="48"/>
                      </a:lnTo>
                      <a:lnTo>
                        <a:pt x="46" y="48"/>
                      </a:lnTo>
                      <a:lnTo>
                        <a:pt x="32" y="64"/>
                      </a:lnTo>
                      <a:lnTo>
                        <a:pt x="32" y="64"/>
                      </a:lnTo>
                      <a:lnTo>
                        <a:pt x="31" y="58"/>
                      </a:lnTo>
                      <a:lnTo>
                        <a:pt x="31" y="58"/>
                      </a:lnTo>
                      <a:lnTo>
                        <a:pt x="29" y="55"/>
                      </a:lnTo>
                      <a:lnTo>
                        <a:pt x="29" y="55"/>
                      </a:lnTo>
                      <a:lnTo>
                        <a:pt x="28" y="53"/>
                      </a:lnTo>
                      <a:lnTo>
                        <a:pt x="28" y="53"/>
                      </a:lnTo>
                      <a:lnTo>
                        <a:pt x="26" y="52"/>
                      </a:lnTo>
                      <a:lnTo>
                        <a:pt x="26" y="52"/>
                      </a:lnTo>
                      <a:lnTo>
                        <a:pt x="23" y="49"/>
                      </a:lnTo>
                      <a:lnTo>
                        <a:pt x="23" y="49"/>
                      </a:lnTo>
                      <a:lnTo>
                        <a:pt x="19" y="43"/>
                      </a:lnTo>
                      <a:lnTo>
                        <a:pt x="19" y="43"/>
                      </a:lnTo>
                      <a:lnTo>
                        <a:pt x="17" y="40"/>
                      </a:lnTo>
                      <a:lnTo>
                        <a:pt x="17" y="40"/>
                      </a:lnTo>
                      <a:lnTo>
                        <a:pt x="15" y="36"/>
                      </a:lnTo>
                      <a:lnTo>
                        <a:pt x="15" y="36"/>
                      </a:lnTo>
                      <a:lnTo>
                        <a:pt x="7" y="32"/>
                      </a:lnTo>
                      <a:lnTo>
                        <a:pt x="7" y="32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15" y="17"/>
                      </a:lnTo>
                      <a:lnTo>
                        <a:pt x="23" y="11"/>
                      </a:lnTo>
                      <a:lnTo>
                        <a:pt x="23" y="11"/>
                      </a:lnTo>
                      <a:lnTo>
                        <a:pt x="25" y="10"/>
                      </a:lnTo>
                      <a:lnTo>
                        <a:pt x="25" y="7"/>
                      </a:lnTo>
                      <a:lnTo>
                        <a:pt x="25" y="7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51" y="4"/>
                      </a:lnTo>
                      <a:lnTo>
                        <a:pt x="51" y="4"/>
                      </a:lnTo>
                      <a:lnTo>
                        <a:pt x="51" y="4"/>
                      </a:lnTo>
                      <a:lnTo>
                        <a:pt x="51" y="4"/>
                      </a:lnTo>
                      <a:lnTo>
                        <a:pt x="51" y="4"/>
                      </a:lnTo>
                      <a:lnTo>
                        <a:pt x="51" y="4"/>
                      </a:lnTo>
                      <a:lnTo>
                        <a:pt x="51" y="4"/>
                      </a:lnTo>
                      <a:lnTo>
                        <a:pt x="51" y="4"/>
                      </a:lnTo>
                      <a:lnTo>
                        <a:pt x="55" y="4"/>
                      </a:lnTo>
                      <a:lnTo>
                        <a:pt x="58" y="1"/>
                      </a:lnTo>
                      <a:lnTo>
                        <a:pt x="58" y="1"/>
                      </a:lnTo>
                      <a:lnTo>
                        <a:pt x="59" y="9"/>
                      </a:lnTo>
                      <a:lnTo>
                        <a:pt x="61" y="13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5" y="17"/>
                      </a:lnTo>
                      <a:lnTo>
                        <a:pt x="65" y="17"/>
                      </a:lnTo>
                      <a:lnTo>
                        <a:pt x="65" y="17"/>
                      </a:lnTo>
                      <a:lnTo>
                        <a:pt x="65" y="17"/>
                      </a:lnTo>
                      <a:lnTo>
                        <a:pt x="65" y="17"/>
                      </a:lnTo>
                      <a:lnTo>
                        <a:pt x="68" y="16"/>
                      </a:lnTo>
                      <a:lnTo>
                        <a:pt x="70" y="11"/>
                      </a:lnTo>
                      <a:lnTo>
                        <a:pt x="71" y="7"/>
                      </a:lnTo>
                      <a:lnTo>
                        <a:pt x="73" y="4"/>
                      </a:lnTo>
                      <a:lnTo>
                        <a:pt x="73" y="4"/>
                      </a:lnTo>
                      <a:lnTo>
                        <a:pt x="73" y="4"/>
                      </a:lnTo>
                      <a:lnTo>
                        <a:pt x="73" y="4"/>
                      </a:lnTo>
                      <a:lnTo>
                        <a:pt x="73" y="4"/>
                      </a:lnTo>
                      <a:lnTo>
                        <a:pt x="73" y="4"/>
                      </a:lnTo>
                      <a:lnTo>
                        <a:pt x="73" y="4"/>
                      </a:lnTo>
                      <a:lnTo>
                        <a:pt x="75" y="4"/>
                      </a:lnTo>
                      <a:lnTo>
                        <a:pt x="78" y="7"/>
                      </a:lnTo>
                      <a:lnTo>
                        <a:pt x="81" y="10"/>
                      </a:lnTo>
                      <a:lnTo>
                        <a:pt x="86" y="11"/>
                      </a:lnTo>
                      <a:lnTo>
                        <a:pt x="86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94" y="13"/>
                      </a:lnTo>
                      <a:lnTo>
                        <a:pt x="103" y="13"/>
                      </a:lnTo>
                      <a:lnTo>
                        <a:pt x="110" y="13"/>
                      </a:lnTo>
                      <a:lnTo>
                        <a:pt x="113" y="14"/>
                      </a:lnTo>
                      <a:lnTo>
                        <a:pt x="113" y="14"/>
                      </a:lnTo>
                      <a:lnTo>
                        <a:pt x="116" y="23"/>
                      </a:lnTo>
                      <a:lnTo>
                        <a:pt x="119" y="30"/>
                      </a:lnTo>
                      <a:lnTo>
                        <a:pt x="125" y="35"/>
                      </a:lnTo>
                      <a:lnTo>
                        <a:pt x="125" y="35"/>
                      </a:lnTo>
                      <a:lnTo>
                        <a:pt x="122" y="49"/>
                      </a:lnTo>
                      <a:lnTo>
                        <a:pt x="122" y="49"/>
                      </a:lnTo>
                      <a:lnTo>
                        <a:pt x="122" y="55"/>
                      </a:lnTo>
                      <a:lnTo>
                        <a:pt x="122" y="55"/>
                      </a:lnTo>
                      <a:lnTo>
                        <a:pt x="122" y="69"/>
                      </a:lnTo>
                      <a:lnTo>
                        <a:pt x="120" y="75"/>
                      </a:lnTo>
                      <a:lnTo>
                        <a:pt x="117" y="78"/>
                      </a:lnTo>
                      <a:lnTo>
                        <a:pt x="117" y="78"/>
                      </a:lnTo>
                      <a:lnTo>
                        <a:pt x="117" y="78"/>
                      </a:lnTo>
                      <a:lnTo>
                        <a:pt x="117" y="78"/>
                      </a:lnTo>
                      <a:lnTo>
                        <a:pt x="116" y="78"/>
                      </a:lnTo>
                      <a:lnTo>
                        <a:pt x="116" y="78"/>
                      </a:lnTo>
                      <a:lnTo>
                        <a:pt x="112" y="81"/>
                      </a:lnTo>
                      <a:lnTo>
                        <a:pt x="112" y="81"/>
                      </a:lnTo>
                      <a:lnTo>
                        <a:pt x="107" y="81"/>
                      </a:lnTo>
                      <a:lnTo>
                        <a:pt x="107" y="8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42" name="Freeform 594"/>
                <p:cNvSpPr>
                  <a:spLocks/>
                </p:cNvSpPr>
                <p:nvPr/>
              </p:nvSpPr>
              <p:spPr bwMode="auto">
                <a:xfrm>
                  <a:off x="4174317" y="3130168"/>
                  <a:ext cx="123658" cy="80130"/>
                </a:xfrm>
                <a:custGeom>
                  <a:avLst/>
                  <a:gdLst>
                    <a:gd name="T0" fmla="*/ 107 w 125"/>
                    <a:gd name="T1" fmla="*/ 81 h 81"/>
                    <a:gd name="T2" fmla="*/ 99 w 125"/>
                    <a:gd name="T3" fmla="*/ 80 h 81"/>
                    <a:gd name="T4" fmla="*/ 97 w 125"/>
                    <a:gd name="T5" fmla="*/ 80 h 81"/>
                    <a:gd name="T6" fmla="*/ 97 w 125"/>
                    <a:gd name="T7" fmla="*/ 78 h 81"/>
                    <a:gd name="T8" fmla="*/ 96 w 125"/>
                    <a:gd name="T9" fmla="*/ 75 h 81"/>
                    <a:gd name="T10" fmla="*/ 91 w 125"/>
                    <a:gd name="T11" fmla="*/ 64 h 81"/>
                    <a:gd name="T12" fmla="*/ 80 w 125"/>
                    <a:gd name="T13" fmla="*/ 64 h 81"/>
                    <a:gd name="T14" fmla="*/ 80 w 125"/>
                    <a:gd name="T15" fmla="*/ 65 h 81"/>
                    <a:gd name="T16" fmla="*/ 78 w 125"/>
                    <a:gd name="T17" fmla="*/ 65 h 81"/>
                    <a:gd name="T18" fmla="*/ 70 w 125"/>
                    <a:gd name="T19" fmla="*/ 62 h 81"/>
                    <a:gd name="T20" fmla="*/ 68 w 125"/>
                    <a:gd name="T21" fmla="*/ 61 h 81"/>
                    <a:gd name="T22" fmla="*/ 58 w 125"/>
                    <a:gd name="T23" fmla="*/ 45 h 81"/>
                    <a:gd name="T24" fmla="*/ 58 w 125"/>
                    <a:gd name="T25" fmla="*/ 45 h 81"/>
                    <a:gd name="T26" fmla="*/ 58 w 125"/>
                    <a:gd name="T27" fmla="*/ 43 h 81"/>
                    <a:gd name="T28" fmla="*/ 58 w 125"/>
                    <a:gd name="T29" fmla="*/ 43 h 81"/>
                    <a:gd name="T30" fmla="*/ 55 w 125"/>
                    <a:gd name="T31" fmla="*/ 43 h 81"/>
                    <a:gd name="T32" fmla="*/ 46 w 125"/>
                    <a:gd name="T33" fmla="*/ 48 h 81"/>
                    <a:gd name="T34" fmla="*/ 46 w 125"/>
                    <a:gd name="T35" fmla="*/ 48 h 81"/>
                    <a:gd name="T36" fmla="*/ 31 w 125"/>
                    <a:gd name="T37" fmla="*/ 58 h 81"/>
                    <a:gd name="T38" fmla="*/ 29 w 125"/>
                    <a:gd name="T39" fmla="*/ 55 h 81"/>
                    <a:gd name="T40" fmla="*/ 26 w 125"/>
                    <a:gd name="T41" fmla="*/ 52 h 81"/>
                    <a:gd name="T42" fmla="*/ 23 w 125"/>
                    <a:gd name="T43" fmla="*/ 49 h 81"/>
                    <a:gd name="T44" fmla="*/ 17 w 125"/>
                    <a:gd name="T45" fmla="*/ 40 h 81"/>
                    <a:gd name="T46" fmla="*/ 15 w 125"/>
                    <a:gd name="T47" fmla="*/ 36 h 81"/>
                    <a:gd name="T48" fmla="*/ 0 w 125"/>
                    <a:gd name="T49" fmla="*/ 26 h 81"/>
                    <a:gd name="T50" fmla="*/ 23 w 125"/>
                    <a:gd name="T51" fmla="*/ 11 h 81"/>
                    <a:gd name="T52" fmla="*/ 25 w 125"/>
                    <a:gd name="T53" fmla="*/ 7 h 81"/>
                    <a:gd name="T54" fmla="*/ 23 w 125"/>
                    <a:gd name="T55" fmla="*/ 0 h 81"/>
                    <a:gd name="T56" fmla="*/ 51 w 125"/>
                    <a:gd name="T57" fmla="*/ 4 h 81"/>
                    <a:gd name="T58" fmla="*/ 51 w 125"/>
                    <a:gd name="T59" fmla="*/ 4 h 81"/>
                    <a:gd name="T60" fmla="*/ 55 w 125"/>
                    <a:gd name="T61" fmla="*/ 4 h 81"/>
                    <a:gd name="T62" fmla="*/ 59 w 125"/>
                    <a:gd name="T63" fmla="*/ 9 h 81"/>
                    <a:gd name="T64" fmla="*/ 62 w 125"/>
                    <a:gd name="T65" fmla="*/ 16 h 81"/>
                    <a:gd name="T66" fmla="*/ 62 w 125"/>
                    <a:gd name="T67" fmla="*/ 16 h 81"/>
                    <a:gd name="T68" fmla="*/ 62 w 125"/>
                    <a:gd name="T69" fmla="*/ 16 h 81"/>
                    <a:gd name="T70" fmla="*/ 62 w 125"/>
                    <a:gd name="T71" fmla="*/ 16 h 81"/>
                    <a:gd name="T72" fmla="*/ 62 w 125"/>
                    <a:gd name="T73" fmla="*/ 16 h 81"/>
                    <a:gd name="T74" fmla="*/ 65 w 125"/>
                    <a:gd name="T75" fmla="*/ 17 h 81"/>
                    <a:gd name="T76" fmla="*/ 68 w 125"/>
                    <a:gd name="T77" fmla="*/ 16 h 81"/>
                    <a:gd name="T78" fmla="*/ 73 w 125"/>
                    <a:gd name="T79" fmla="*/ 4 h 81"/>
                    <a:gd name="T80" fmla="*/ 73 w 125"/>
                    <a:gd name="T81" fmla="*/ 4 h 81"/>
                    <a:gd name="T82" fmla="*/ 73 w 125"/>
                    <a:gd name="T83" fmla="*/ 4 h 81"/>
                    <a:gd name="T84" fmla="*/ 81 w 125"/>
                    <a:gd name="T85" fmla="*/ 10 h 81"/>
                    <a:gd name="T86" fmla="*/ 87 w 125"/>
                    <a:gd name="T87" fmla="*/ 11 h 81"/>
                    <a:gd name="T88" fmla="*/ 87 w 125"/>
                    <a:gd name="T89" fmla="*/ 11 h 81"/>
                    <a:gd name="T90" fmla="*/ 87 w 125"/>
                    <a:gd name="T91" fmla="*/ 11 h 81"/>
                    <a:gd name="T92" fmla="*/ 87 w 125"/>
                    <a:gd name="T93" fmla="*/ 11 h 81"/>
                    <a:gd name="T94" fmla="*/ 110 w 125"/>
                    <a:gd name="T95" fmla="*/ 13 h 81"/>
                    <a:gd name="T96" fmla="*/ 116 w 125"/>
                    <a:gd name="T97" fmla="*/ 23 h 81"/>
                    <a:gd name="T98" fmla="*/ 125 w 125"/>
                    <a:gd name="T99" fmla="*/ 35 h 81"/>
                    <a:gd name="T100" fmla="*/ 122 w 125"/>
                    <a:gd name="T101" fmla="*/ 55 h 81"/>
                    <a:gd name="T102" fmla="*/ 120 w 125"/>
                    <a:gd name="T103" fmla="*/ 75 h 81"/>
                    <a:gd name="T104" fmla="*/ 117 w 125"/>
                    <a:gd name="T105" fmla="*/ 78 h 81"/>
                    <a:gd name="T106" fmla="*/ 116 w 125"/>
                    <a:gd name="T107" fmla="*/ 78 h 81"/>
                    <a:gd name="T108" fmla="*/ 107 w 125"/>
                    <a:gd name="T109" fmla="*/ 81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25" h="81">
                      <a:moveTo>
                        <a:pt x="107" y="81"/>
                      </a:moveTo>
                      <a:lnTo>
                        <a:pt x="107" y="81"/>
                      </a:lnTo>
                      <a:lnTo>
                        <a:pt x="107" y="81"/>
                      </a:lnTo>
                      <a:lnTo>
                        <a:pt x="101" y="81"/>
                      </a:lnTo>
                      <a:lnTo>
                        <a:pt x="99" y="80"/>
                      </a:lnTo>
                      <a:lnTo>
                        <a:pt x="99" y="80"/>
                      </a:lnTo>
                      <a:lnTo>
                        <a:pt x="97" y="80"/>
                      </a:lnTo>
                      <a:lnTo>
                        <a:pt x="97" y="80"/>
                      </a:lnTo>
                      <a:lnTo>
                        <a:pt x="97" y="80"/>
                      </a:lnTo>
                      <a:lnTo>
                        <a:pt x="97" y="80"/>
                      </a:lnTo>
                      <a:lnTo>
                        <a:pt x="97" y="78"/>
                      </a:lnTo>
                      <a:lnTo>
                        <a:pt x="97" y="78"/>
                      </a:lnTo>
                      <a:lnTo>
                        <a:pt x="97" y="78"/>
                      </a:lnTo>
                      <a:lnTo>
                        <a:pt x="97" y="78"/>
                      </a:lnTo>
                      <a:lnTo>
                        <a:pt x="96" y="75"/>
                      </a:lnTo>
                      <a:lnTo>
                        <a:pt x="94" y="69"/>
                      </a:lnTo>
                      <a:lnTo>
                        <a:pt x="93" y="65"/>
                      </a:lnTo>
                      <a:lnTo>
                        <a:pt x="91" y="64"/>
                      </a:lnTo>
                      <a:lnTo>
                        <a:pt x="90" y="64"/>
                      </a:lnTo>
                      <a:lnTo>
                        <a:pt x="90" y="64"/>
                      </a:lnTo>
                      <a:lnTo>
                        <a:pt x="80" y="64"/>
                      </a:lnTo>
                      <a:lnTo>
                        <a:pt x="80" y="64"/>
                      </a:lnTo>
                      <a:lnTo>
                        <a:pt x="80" y="65"/>
                      </a:lnTo>
                      <a:lnTo>
                        <a:pt x="80" y="65"/>
                      </a:lnTo>
                      <a:lnTo>
                        <a:pt x="80" y="64"/>
                      </a:lnTo>
                      <a:lnTo>
                        <a:pt x="80" y="64"/>
                      </a:lnTo>
                      <a:lnTo>
                        <a:pt x="78" y="65"/>
                      </a:lnTo>
                      <a:lnTo>
                        <a:pt x="78" y="65"/>
                      </a:lnTo>
                      <a:lnTo>
                        <a:pt x="73" y="64"/>
                      </a:lnTo>
                      <a:lnTo>
                        <a:pt x="70" y="62"/>
                      </a:lnTo>
                      <a:lnTo>
                        <a:pt x="70" y="62"/>
                      </a:lnTo>
                      <a:lnTo>
                        <a:pt x="68" y="61"/>
                      </a:lnTo>
                      <a:lnTo>
                        <a:pt x="68" y="61"/>
                      </a:lnTo>
                      <a:lnTo>
                        <a:pt x="65" y="51"/>
                      </a:lnTo>
                      <a:lnTo>
                        <a:pt x="62" y="46"/>
                      </a:lnTo>
                      <a:lnTo>
                        <a:pt x="58" y="45"/>
                      </a:lnTo>
                      <a:lnTo>
                        <a:pt x="58" y="45"/>
                      </a:lnTo>
                      <a:lnTo>
                        <a:pt x="58" y="45"/>
                      </a:lnTo>
                      <a:lnTo>
                        <a:pt x="58" y="45"/>
                      </a:lnTo>
                      <a:lnTo>
                        <a:pt x="58" y="43"/>
                      </a:lnTo>
                      <a:lnTo>
                        <a:pt x="58" y="43"/>
                      </a:lnTo>
                      <a:lnTo>
                        <a:pt x="58" y="43"/>
                      </a:lnTo>
                      <a:lnTo>
                        <a:pt x="58" y="43"/>
                      </a:lnTo>
                      <a:lnTo>
                        <a:pt x="58" y="43"/>
                      </a:lnTo>
                      <a:lnTo>
                        <a:pt x="58" y="43"/>
                      </a:lnTo>
                      <a:lnTo>
                        <a:pt x="55" y="43"/>
                      </a:lnTo>
                      <a:lnTo>
                        <a:pt x="55" y="43"/>
                      </a:lnTo>
                      <a:lnTo>
                        <a:pt x="55" y="43"/>
                      </a:lnTo>
                      <a:lnTo>
                        <a:pt x="55" y="43"/>
                      </a:lnTo>
                      <a:lnTo>
                        <a:pt x="51" y="45"/>
                      </a:lnTo>
                      <a:lnTo>
                        <a:pt x="46" y="48"/>
                      </a:lnTo>
                      <a:lnTo>
                        <a:pt x="46" y="48"/>
                      </a:lnTo>
                      <a:lnTo>
                        <a:pt x="46" y="48"/>
                      </a:lnTo>
                      <a:lnTo>
                        <a:pt x="46" y="48"/>
                      </a:lnTo>
                      <a:lnTo>
                        <a:pt x="32" y="64"/>
                      </a:lnTo>
                      <a:lnTo>
                        <a:pt x="32" y="64"/>
                      </a:lnTo>
                      <a:lnTo>
                        <a:pt x="31" y="58"/>
                      </a:lnTo>
                      <a:lnTo>
                        <a:pt x="31" y="58"/>
                      </a:lnTo>
                      <a:lnTo>
                        <a:pt x="29" y="55"/>
                      </a:lnTo>
                      <a:lnTo>
                        <a:pt x="29" y="55"/>
                      </a:lnTo>
                      <a:lnTo>
                        <a:pt x="28" y="53"/>
                      </a:lnTo>
                      <a:lnTo>
                        <a:pt x="28" y="53"/>
                      </a:lnTo>
                      <a:lnTo>
                        <a:pt x="26" y="52"/>
                      </a:lnTo>
                      <a:lnTo>
                        <a:pt x="26" y="52"/>
                      </a:lnTo>
                      <a:lnTo>
                        <a:pt x="23" y="49"/>
                      </a:lnTo>
                      <a:lnTo>
                        <a:pt x="23" y="49"/>
                      </a:lnTo>
                      <a:lnTo>
                        <a:pt x="19" y="43"/>
                      </a:lnTo>
                      <a:lnTo>
                        <a:pt x="19" y="43"/>
                      </a:lnTo>
                      <a:lnTo>
                        <a:pt x="17" y="40"/>
                      </a:lnTo>
                      <a:lnTo>
                        <a:pt x="17" y="40"/>
                      </a:lnTo>
                      <a:lnTo>
                        <a:pt x="15" y="36"/>
                      </a:lnTo>
                      <a:lnTo>
                        <a:pt x="15" y="36"/>
                      </a:lnTo>
                      <a:lnTo>
                        <a:pt x="7" y="32"/>
                      </a:lnTo>
                      <a:lnTo>
                        <a:pt x="7" y="32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15" y="17"/>
                      </a:lnTo>
                      <a:lnTo>
                        <a:pt x="23" y="11"/>
                      </a:lnTo>
                      <a:lnTo>
                        <a:pt x="23" y="11"/>
                      </a:lnTo>
                      <a:lnTo>
                        <a:pt x="25" y="10"/>
                      </a:lnTo>
                      <a:lnTo>
                        <a:pt x="25" y="7"/>
                      </a:lnTo>
                      <a:lnTo>
                        <a:pt x="25" y="7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51" y="4"/>
                      </a:lnTo>
                      <a:lnTo>
                        <a:pt x="51" y="4"/>
                      </a:lnTo>
                      <a:lnTo>
                        <a:pt x="51" y="4"/>
                      </a:lnTo>
                      <a:lnTo>
                        <a:pt x="51" y="4"/>
                      </a:lnTo>
                      <a:lnTo>
                        <a:pt x="51" y="4"/>
                      </a:lnTo>
                      <a:lnTo>
                        <a:pt x="51" y="4"/>
                      </a:lnTo>
                      <a:lnTo>
                        <a:pt x="51" y="4"/>
                      </a:lnTo>
                      <a:lnTo>
                        <a:pt x="51" y="4"/>
                      </a:lnTo>
                      <a:lnTo>
                        <a:pt x="55" y="4"/>
                      </a:lnTo>
                      <a:lnTo>
                        <a:pt x="58" y="1"/>
                      </a:lnTo>
                      <a:lnTo>
                        <a:pt x="58" y="1"/>
                      </a:lnTo>
                      <a:lnTo>
                        <a:pt x="59" y="9"/>
                      </a:lnTo>
                      <a:lnTo>
                        <a:pt x="61" y="13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2" y="16"/>
                      </a:lnTo>
                      <a:lnTo>
                        <a:pt x="65" y="17"/>
                      </a:lnTo>
                      <a:lnTo>
                        <a:pt x="65" y="17"/>
                      </a:lnTo>
                      <a:lnTo>
                        <a:pt x="65" y="17"/>
                      </a:lnTo>
                      <a:lnTo>
                        <a:pt x="65" y="17"/>
                      </a:lnTo>
                      <a:lnTo>
                        <a:pt x="65" y="17"/>
                      </a:lnTo>
                      <a:lnTo>
                        <a:pt x="68" y="16"/>
                      </a:lnTo>
                      <a:lnTo>
                        <a:pt x="70" y="11"/>
                      </a:lnTo>
                      <a:lnTo>
                        <a:pt x="71" y="7"/>
                      </a:lnTo>
                      <a:lnTo>
                        <a:pt x="73" y="4"/>
                      </a:lnTo>
                      <a:lnTo>
                        <a:pt x="73" y="4"/>
                      </a:lnTo>
                      <a:lnTo>
                        <a:pt x="73" y="4"/>
                      </a:lnTo>
                      <a:lnTo>
                        <a:pt x="73" y="4"/>
                      </a:lnTo>
                      <a:lnTo>
                        <a:pt x="73" y="4"/>
                      </a:lnTo>
                      <a:lnTo>
                        <a:pt x="73" y="4"/>
                      </a:lnTo>
                      <a:lnTo>
                        <a:pt x="73" y="4"/>
                      </a:lnTo>
                      <a:lnTo>
                        <a:pt x="75" y="4"/>
                      </a:lnTo>
                      <a:lnTo>
                        <a:pt x="78" y="7"/>
                      </a:lnTo>
                      <a:lnTo>
                        <a:pt x="81" y="10"/>
                      </a:lnTo>
                      <a:lnTo>
                        <a:pt x="86" y="11"/>
                      </a:lnTo>
                      <a:lnTo>
                        <a:pt x="86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94" y="13"/>
                      </a:lnTo>
                      <a:lnTo>
                        <a:pt x="103" y="13"/>
                      </a:lnTo>
                      <a:lnTo>
                        <a:pt x="110" y="13"/>
                      </a:lnTo>
                      <a:lnTo>
                        <a:pt x="113" y="14"/>
                      </a:lnTo>
                      <a:lnTo>
                        <a:pt x="113" y="14"/>
                      </a:lnTo>
                      <a:lnTo>
                        <a:pt x="116" y="23"/>
                      </a:lnTo>
                      <a:lnTo>
                        <a:pt x="119" y="30"/>
                      </a:lnTo>
                      <a:lnTo>
                        <a:pt x="125" y="35"/>
                      </a:lnTo>
                      <a:lnTo>
                        <a:pt x="125" y="35"/>
                      </a:lnTo>
                      <a:lnTo>
                        <a:pt x="122" y="49"/>
                      </a:lnTo>
                      <a:lnTo>
                        <a:pt x="122" y="49"/>
                      </a:lnTo>
                      <a:lnTo>
                        <a:pt x="122" y="55"/>
                      </a:lnTo>
                      <a:lnTo>
                        <a:pt x="122" y="55"/>
                      </a:lnTo>
                      <a:lnTo>
                        <a:pt x="122" y="69"/>
                      </a:lnTo>
                      <a:lnTo>
                        <a:pt x="120" y="75"/>
                      </a:lnTo>
                      <a:lnTo>
                        <a:pt x="117" y="78"/>
                      </a:lnTo>
                      <a:lnTo>
                        <a:pt x="117" y="78"/>
                      </a:lnTo>
                      <a:lnTo>
                        <a:pt x="117" y="78"/>
                      </a:lnTo>
                      <a:lnTo>
                        <a:pt x="117" y="78"/>
                      </a:lnTo>
                      <a:lnTo>
                        <a:pt x="116" y="78"/>
                      </a:lnTo>
                      <a:lnTo>
                        <a:pt x="116" y="78"/>
                      </a:lnTo>
                      <a:lnTo>
                        <a:pt x="112" y="81"/>
                      </a:lnTo>
                      <a:lnTo>
                        <a:pt x="112" y="81"/>
                      </a:lnTo>
                      <a:lnTo>
                        <a:pt x="107" y="81"/>
                      </a:lnTo>
                      <a:lnTo>
                        <a:pt x="107" y="8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43" name="Freeform 595"/>
                <p:cNvSpPr>
                  <a:spLocks noEditPoints="1"/>
                </p:cNvSpPr>
                <p:nvPr/>
              </p:nvSpPr>
              <p:spPr bwMode="auto">
                <a:xfrm>
                  <a:off x="4235651" y="3134125"/>
                  <a:ext cx="62323" cy="30667"/>
                </a:xfrm>
                <a:custGeom>
                  <a:avLst/>
                  <a:gdLst>
                    <a:gd name="T0" fmla="*/ 11 w 63"/>
                    <a:gd name="T1" fmla="*/ 0 h 31"/>
                    <a:gd name="T2" fmla="*/ 11 w 63"/>
                    <a:gd name="T3" fmla="*/ 0 h 31"/>
                    <a:gd name="T4" fmla="*/ 24 w 63"/>
                    <a:gd name="T5" fmla="*/ 7 h 31"/>
                    <a:gd name="T6" fmla="*/ 19 w 63"/>
                    <a:gd name="T7" fmla="*/ 6 h 31"/>
                    <a:gd name="T8" fmla="*/ 13 w 63"/>
                    <a:gd name="T9" fmla="*/ 0 h 31"/>
                    <a:gd name="T10" fmla="*/ 11 w 63"/>
                    <a:gd name="T11" fmla="*/ 0 h 31"/>
                    <a:gd name="T12" fmla="*/ 16 w 63"/>
                    <a:gd name="T13" fmla="*/ 3 h 31"/>
                    <a:gd name="T14" fmla="*/ 24 w 63"/>
                    <a:gd name="T15" fmla="*/ 7 h 31"/>
                    <a:gd name="T16" fmla="*/ 25 w 63"/>
                    <a:gd name="T17" fmla="*/ 7 h 31"/>
                    <a:gd name="T18" fmla="*/ 25 w 63"/>
                    <a:gd name="T19" fmla="*/ 7 h 31"/>
                    <a:gd name="T20" fmla="*/ 25 w 63"/>
                    <a:gd name="T21" fmla="*/ 7 h 31"/>
                    <a:gd name="T22" fmla="*/ 25 w 63"/>
                    <a:gd name="T23" fmla="*/ 7 h 31"/>
                    <a:gd name="T24" fmla="*/ 25 w 63"/>
                    <a:gd name="T25" fmla="*/ 7 h 31"/>
                    <a:gd name="T26" fmla="*/ 0 w 63"/>
                    <a:gd name="T27" fmla="*/ 12 h 31"/>
                    <a:gd name="T28" fmla="*/ 0 w 63"/>
                    <a:gd name="T29" fmla="*/ 12 h 31"/>
                    <a:gd name="T30" fmla="*/ 0 w 63"/>
                    <a:gd name="T31" fmla="*/ 12 h 31"/>
                    <a:gd name="T32" fmla="*/ 0 w 63"/>
                    <a:gd name="T33" fmla="*/ 12 h 31"/>
                    <a:gd name="T34" fmla="*/ 0 w 63"/>
                    <a:gd name="T35" fmla="*/ 12 h 31"/>
                    <a:gd name="T36" fmla="*/ 0 w 63"/>
                    <a:gd name="T37" fmla="*/ 12 h 31"/>
                    <a:gd name="T38" fmla="*/ 0 w 63"/>
                    <a:gd name="T39" fmla="*/ 12 h 31"/>
                    <a:gd name="T40" fmla="*/ 0 w 63"/>
                    <a:gd name="T41" fmla="*/ 12 h 31"/>
                    <a:gd name="T42" fmla="*/ 0 w 63"/>
                    <a:gd name="T43" fmla="*/ 12 h 31"/>
                    <a:gd name="T44" fmla="*/ 0 w 63"/>
                    <a:gd name="T45" fmla="*/ 12 h 31"/>
                    <a:gd name="T46" fmla="*/ 3 w 63"/>
                    <a:gd name="T47" fmla="*/ 13 h 31"/>
                    <a:gd name="T48" fmla="*/ 8 w 63"/>
                    <a:gd name="T49" fmla="*/ 7 h 31"/>
                    <a:gd name="T50" fmla="*/ 11 w 63"/>
                    <a:gd name="T51" fmla="*/ 0 h 31"/>
                    <a:gd name="T52" fmla="*/ 9 w 63"/>
                    <a:gd name="T53" fmla="*/ 3 h 31"/>
                    <a:gd name="T54" fmla="*/ 6 w 63"/>
                    <a:gd name="T55" fmla="*/ 12 h 31"/>
                    <a:gd name="T56" fmla="*/ 3 w 63"/>
                    <a:gd name="T57" fmla="*/ 13 h 31"/>
                    <a:gd name="T58" fmla="*/ 3 w 63"/>
                    <a:gd name="T59" fmla="*/ 13 h 31"/>
                    <a:gd name="T60" fmla="*/ 63 w 63"/>
                    <a:gd name="T61" fmla="*/ 31 h 31"/>
                    <a:gd name="T62" fmla="*/ 54 w 63"/>
                    <a:gd name="T63" fmla="*/ 19 h 31"/>
                    <a:gd name="T64" fmla="*/ 51 w 63"/>
                    <a:gd name="T65" fmla="*/ 10 h 31"/>
                    <a:gd name="T66" fmla="*/ 57 w 63"/>
                    <a:gd name="T67" fmla="*/ 26 h 31"/>
                    <a:gd name="T68" fmla="*/ 63 w 63"/>
                    <a:gd name="T69" fmla="*/ 3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63" h="31">
                      <a:moveTo>
                        <a:pt x="11" y="0"/>
                      </a:move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11" y="0"/>
                      </a:lnTo>
                      <a:close/>
                      <a:moveTo>
                        <a:pt x="24" y="7"/>
                      </a:moveTo>
                      <a:lnTo>
                        <a:pt x="24" y="7"/>
                      </a:lnTo>
                      <a:lnTo>
                        <a:pt x="19" y="6"/>
                      </a:lnTo>
                      <a:lnTo>
                        <a:pt x="16" y="3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6" y="3"/>
                      </a:lnTo>
                      <a:lnTo>
                        <a:pt x="19" y="6"/>
                      </a:lnTo>
                      <a:lnTo>
                        <a:pt x="24" y="7"/>
                      </a:lnTo>
                      <a:close/>
                      <a:moveTo>
                        <a:pt x="25" y="7"/>
                      </a:moveTo>
                      <a:lnTo>
                        <a:pt x="25" y="7"/>
                      </a:lnTo>
                      <a:lnTo>
                        <a:pt x="25" y="7"/>
                      </a:lnTo>
                      <a:lnTo>
                        <a:pt x="25" y="7"/>
                      </a:lnTo>
                      <a:lnTo>
                        <a:pt x="25" y="7"/>
                      </a:lnTo>
                      <a:close/>
                      <a:moveTo>
                        <a:pt x="25" y="7"/>
                      </a:moveTo>
                      <a:lnTo>
                        <a:pt x="25" y="7"/>
                      </a:lnTo>
                      <a:lnTo>
                        <a:pt x="25" y="7"/>
                      </a:lnTo>
                      <a:lnTo>
                        <a:pt x="25" y="7"/>
                      </a:lnTo>
                      <a:lnTo>
                        <a:pt x="25" y="7"/>
                      </a:lnTo>
                      <a:close/>
                      <a:moveTo>
                        <a:pt x="0" y="12"/>
                      </a:move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close/>
                      <a:moveTo>
                        <a:pt x="0" y="12"/>
                      </a:move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close/>
                      <a:moveTo>
                        <a:pt x="0" y="12"/>
                      </a:move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close/>
                      <a:moveTo>
                        <a:pt x="0" y="12"/>
                      </a:move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close/>
                      <a:moveTo>
                        <a:pt x="3" y="13"/>
                      </a:moveTo>
                      <a:lnTo>
                        <a:pt x="3" y="13"/>
                      </a:lnTo>
                      <a:lnTo>
                        <a:pt x="6" y="12"/>
                      </a:lnTo>
                      <a:lnTo>
                        <a:pt x="8" y="7"/>
                      </a:lnTo>
                      <a:lnTo>
                        <a:pt x="9" y="3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9" y="3"/>
                      </a:lnTo>
                      <a:lnTo>
                        <a:pt x="8" y="7"/>
                      </a:lnTo>
                      <a:lnTo>
                        <a:pt x="6" y="12"/>
                      </a:lnTo>
                      <a:lnTo>
                        <a:pt x="3" y="13"/>
                      </a:lnTo>
                      <a:close/>
                      <a:moveTo>
                        <a:pt x="3" y="13"/>
                      </a:moveTo>
                      <a:lnTo>
                        <a:pt x="3" y="13"/>
                      </a:lnTo>
                      <a:lnTo>
                        <a:pt x="3" y="13"/>
                      </a:lnTo>
                      <a:close/>
                      <a:moveTo>
                        <a:pt x="63" y="31"/>
                      </a:moveTo>
                      <a:lnTo>
                        <a:pt x="63" y="31"/>
                      </a:lnTo>
                      <a:lnTo>
                        <a:pt x="57" y="26"/>
                      </a:lnTo>
                      <a:lnTo>
                        <a:pt x="54" y="19"/>
                      </a:lnTo>
                      <a:lnTo>
                        <a:pt x="51" y="10"/>
                      </a:lnTo>
                      <a:lnTo>
                        <a:pt x="51" y="10"/>
                      </a:lnTo>
                      <a:lnTo>
                        <a:pt x="54" y="19"/>
                      </a:lnTo>
                      <a:lnTo>
                        <a:pt x="57" y="26"/>
                      </a:lnTo>
                      <a:lnTo>
                        <a:pt x="63" y="31"/>
                      </a:lnTo>
                      <a:lnTo>
                        <a:pt x="63" y="3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44" name="Rectangle 596"/>
                <p:cNvSpPr>
                  <a:spLocks noChangeArrowheads="1"/>
                </p:cNvSpPr>
                <p:nvPr/>
              </p:nvSpPr>
              <p:spPr bwMode="auto">
                <a:xfrm>
                  <a:off x="4246533" y="3134125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45" name="Freeform 597"/>
                <p:cNvSpPr>
                  <a:spLocks/>
                </p:cNvSpPr>
                <p:nvPr/>
              </p:nvSpPr>
              <p:spPr bwMode="auto">
                <a:xfrm>
                  <a:off x="4246533" y="3134125"/>
                  <a:ext cx="12860" cy="6925"/>
                </a:xfrm>
                <a:custGeom>
                  <a:avLst/>
                  <a:gdLst>
                    <a:gd name="T0" fmla="*/ 13 w 13"/>
                    <a:gd name="T1" fmla="*/ 7 h 7"/>
                    <a:gd name="T2" fmla="*/ 13 w 13"/>
                    <a:gd name="T3" fmla="*/ 7 h 7"/>
                    <a:gd name="T4" fmla="*/ 8 w 13"/>
                    <a:gd name="T5" fmla="*/ 6 h 7"/>
                    <a:gd name="T6" fmla="*/ 5 w 13"/>
                    <a:gd name="T7" fmla="*/ 3 h 7"/>
                    <a:gd name="T8" fmla="*/ 2 w 13"/>
                    <a:gd name="T9" fmla="*/ 0 h 7"/>
                    <a:gd name="T10" fmla="*/ 0 w 13"/>
                    <a:gd name="T11" fmla="*/ 0 h 7"/>
                    <a:gd name="T12" fmla="*/ 0 w 13"/>
                    <a:gd name="T13" fmla="*/ 0 h 7"/>
                    <a:gd name="T14" fmla="*/ 2 w 13"/>
                    <a:gd name="T15" fmla="*/ 0 h 7"/>
                    <a:gd name="T16" fmla="*/ 5 w 13"/>
                    <a:gd name="T17" fmla="*/ 3 h 7"/>
                    <a:gd name="T18" fmla="*/ 8 w 13"/>
                    <a:gd name="T19" fmla="*/ 6 h 7"/>
                    <a:gd name="T20" fmla="*/ 13 w 13"/>
                    <a:gd name="T2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7">
                      <a:moveTo>
                        <a:pt x="13" y="7"/>
                      </a:moveTo>
                      <a:lnTo>
                        <a:pt x="13" y="7"/>
                      </a:lnTo>
                      <a:lnTo>
                        <a:pt x="8" y="6"/>
                      </a:lnTo>
                      <a:lnTo>
                        <a:pt x="5" y="3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3"/>
                      </a:lnTo>
                      <a:lnTo>
                        <a:pt x="8" y="6"/>
                      </a:lnTo>
                      <a:lnTo>
                        <a:pt x="13" y="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46" name="Rectangle 598"/>
                <p:cNvSpPr>
                  <a:spLocks noChangeArrowheads="1"/>
                </p:cNvSpPr>
                <p:nvPr/>
              </p:nvSpPr>
              <p:spPr bwMode="auto">
                <a:xfrm>
                  <a:off x="4260383" y="3141050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47" name="Rectangle 599"/>
                <p:cNvSpPr>
                  <a:spLocks noChangeArrowheads="1"/>
                </p:cNvSpPr>
                <p:nvPr/>
              </p:nvSpPr>
              <p:spPr bwMode="auto">
                <a:xfrm>
                  <a:off x="4260383" y="3141050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48" name="Rectangle 600"/>
                <p:cNvSpPr>
                  <a:spLocks noChangeArrowheads="1"/>
                </p:cNvSpPr>
                <p:nvPr/>
              </p:nvSpPr>
              <p:spPr bwMode="auto">
                <a:xfrm>
                  <a:off x="4235651" y="314599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49" name="Rectangle 601"/>
                <p:cNvSpPr>
                  <a:spLocks noChangeArrowheads="1"/>
                </p:cNvSpPr>
                <p:nvPr/>
              </p:nvSpPr>
              <p:spPr bwMode="auto">
                <a:xfrm>
                  <a:off x="4235651" y="314599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50" name="Rectangle 602"/>
                <p:cNvSpPr>
                  <a:spLocks noChangeArrowheads="1"/>
                </p:cNvSpPr>
                <p:nvPr/>
              </p:nvSpPr>
              <p:spPr bwMode="auto">
                <a:xfrm>
                  <a:off x="4235651" y="314599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51" name="Rectangle 603"/>
                <p:cNvSpPr>
                  <a:spLocks noChangeArrowheads="1"/>
                </p:cNvSpPr>
                <p:nvPr/>
              </p:nvSpPr>
              <p:spPr bwMode="auto">
                <a:xfrm>
                  <a:off x="4235651" y="314599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52" name="Freeform 604"/>
                <p:cNvSpPr>
                  <a:spLocks/>
                </p:cNvSpPr>
                <p:nvPr/>
              </p:nvSpPr>
              <p:spPr bwMode="auto">
                <a:xfrm>
                  <a:off x="4238619" y="3134125"/>
                  <a:ext cx="7914" cy="12860"/>
                </a:xfrm>
                <a:custGeom>
                  <a:avLst/>
                  <a:gdLst>
                    <a:gd name="T0" fmla="*/ 0 w 8"/>
                    <a:gd name="T1" fmla="*/ 13 h 13"/>
                    <a:gd name="T2" fmla="*/ 0 w 8"/>
                    <a:gd name="T3" fmla="*/ 13 h 13"/>
                    <a:gd name="T4" fmla="*/ 3 w 8"/>
                    <a:gd name="T5" fmla="*/ 12 h 13"/>
                    <a:gd name="T6" fmla="*/ 5 w 8"/>
                    <a:gd name="T7" fmla="*/ 7 h 13"/>
                    <a:gd name="T8" fmla="*/ 6 w 8"/>
                    <a:gd name="T9" fmla="*/ 3 h 13"/>
                    <a:gd name="T10" fmla="*/ 8 w 8"/>
                    <a:gd name="T11" fmla="*/ 0 h 13"/>
                    <a:gd name="T12" fmla="*/ 8 w 8"/>
                    <a:gd name="T13" fmla="*/ 0 h 13"/>
                    <a:gd name="T14" fmla="*/ 6 w 8"/>
                    <a:gd name="T15" fmla="*/ 3 h 13"/>
                    <a:gd name="T16" fmla="*/ 5 w 8"/>
                    <a:gd name="T17" fmla="*/ 7 h 13"/>
                    <a:gd name="T18" fmla="*/ 3 w 8"/>
                    <a:gd name="T19" fmla="*/ 12 h 13"/>
                    <a:gd name="T20" fmla="*/ 0 w 8"/>
                    <a:gd name="T21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13">
                      <a:moveTo>
                        <a:pt x="0" y="13"/>
                      </a:moveTo>
                      <a:lnTo>
                        <a:pt x="0" y="13"/>
                      </a:lnTo>
                      <a:lnTo>
                        <a:pt x="3" y="12"/>
                      </a:lnTo>
                      <a:lnTo>
                        <a:pt x="5" y="7"/>
                      </a:lnTo>
                      <a:lnTo>
                        <a:pt x="6" y="3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6" y="3"/>
                      </a:lnTo>
                      <a:lnTo>
                        <a:pt x="5" y="7"/>
                      </a:lnTo>
                      <a:lnTo>
                        <a:pt x="3" y="12"/>
                      </a:lnTo>
                      <a:lnTo>
                        <a:pt x="0" y="1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53" name="Freeform 605"/>
                <p:cNvSpPr>
                  <a:spLocks/>
                </p:cNvSpPr>
                <p:nvPr/>
              </p:nvSpPr>
              <p:spPr bwMode="auto">
                <a:xfrm>
                  <a:off x="4238619" y="314698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54" name="Freeform 606"/>
                <p:cNvSpPr>
                  <a:spLocks/>
                </p:cNvSpPr>
                <p:nvPr/>
              </p:nvSpPr>
              <p:spPr bwMode="auto">
                <a:xfrm>
                  <a:off x="4286104" y="3144018"/>
                  <a:ext cx="11871" cy="20774"/>
                </a:xfrm>
                <a:custGeom>
                  <a:avLst/>
                  <a:gdLst>
                    <a:gd name="T0" fmla="*/ 12 w 12"/>
                    <a:gd name="T1" fmla="*/ 21 h 21"/>
                    <a:gd name="T2" fmla="*/ 12 w 12"/>
                    <a:gd name="T3" fmla="*/ 21 h 21"/>
                    <a:gd name="T4" fmla="*/ 6 w 12"/>
                    <a:gd name="T5" fmla="*/ 16 h 21"/>
                    <a:gd name="T6" fmla="*/ 3 w 12"/>
                    <a:gd name="T7" fmla="*/ 9 h 21"/>
                    <a:gd name="T8" fmla="*/ 0 w 12"/>
                    <a:gd name="T9" fmla="*/ 0 h 21"/>
                    <a:gd name="T10" fmla="*/ 0 w 12"/>
                    <a:gd name="T11" fmla="*/ 0 h 21"/>
                    <a:gd name="T12" fmla="*/ 3 w 12"/>
                    <a:gd name="T13" fmla="*/ 9 h 21"/>
                    <a:gd name="T14" fmla="*/ 6 w 12"/>
                    <a:gd name="T15" fmla="*/ 16 h 21"/>
                    <a:gd name="T16" fmla="*/ 12 w 12"/>
                    <a:gd name="T17" fmla="*/ 21 h 21"/>
                    <a:gd name="T18" fmla="*/ 12 w 12"/>
                    <a:gd name="T1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" h="21">
                      <a:moveTo>
                        <a:pt x="12" y="21"/>
                      </a:moveTo>
                      <a:lnTo>
                        <a:pt x="12" y="21"/>
                      </a:lnTo>
                      <a:lnTo>
                        <a:pt x="6" y="16"/>
                      </a:lnTo>
                      <a:lnTo>
                        <a:pt x="3" y="9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3" y="9"/>
                      </a:lnTo>
                      <a:lnTo>
                        <a:pt x="6" y="16"/>
                      </a:lnTo>
                      <a:lnTo>
                        <a:pt x="12" y="21"/>
                      </a:lnTo>
                      <a:lnTo>
                        <a:pt x="12" y="2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55" name="Freeform 608"/>
                <p:cNvSpPr>
                  <a:spLocks noEditPoints="1"/>
                </p:cNvSpPr>
                <p:nvPr/>
              </p:nvSpPr>
              <p:spPr bwMode="auto">
                <a:xfrm>
                  <a:off x="4222791" y="3131157"/>
                  <a:ext cx="8903" cy="2968"/>
                </a:xfrm>
                <a:custGeom>
                  <a:avLst/>
                  <a:gdLst>
                    <a:gd name="T0" fmla="*/ 2 w 9"/>
                    <a:gd name="T1" fmla="*/ 3 h 3"/>
                    <a:gd name="T2" fmla="*/ 2 w 9"/>
                    <a:gd name="T3" fmla="*/ 3 h 3"/>
                    <a:gd name="T4" fmla="*/ 0 w 9"/>
                    <a:gd name="T5" fmla="*/ 3 h 3"/>
                    <a:gd name="T6" fmla="*/ 0 w 9"/>
                    <a:gd name="T7" fmla="*/ 3 h 3"/>
                    <a:gd name="T8" fmla="*/ 2 w 9"/>
                    <a:gd name="T9" fmla="*/ 3 h 3"/>
                    <a:gd name="T10" fmla="*/ 2 w 9"/>
                    <a:gd name="T11" fmla="*/ 3 h 3"/>
                    <a:gd name="T12" fmla="*/ 2 w 9"/>
                    <a:gd name="T13" fmla="*/ 3 h 3"/>
                    <a:gd name="T14" fmla="*/ 6 w 9"/>
                    <a:gd name="T15" fmla="*/ 3 h 3"/>
                    <a:gd name="T16" fmla="*/ 9 w 9"/>
                    <a:gd name="T17" fmla="*/ 0 h 3"/>
                    <a:gd name="T18" fmla="*/ 9 w 9"/>
                    <a:gd name="T19" fmla="*/ 0 h 3"/>
                    <a:gd name="T20" fmla="*/ 6 w 9"/>
                    <a:gd name="T21" fmla="*/ 3 h 3"/>
                    <a:gd name="T22" fmla="*/ 2 w 9"/>
                    <a:gd name="T23" fmla="*/ 3 h 3"/>
                    <a:gd name="T24" fmla="*/ 2 w 9"/>
                    <a:gd name="T25" fmla="*/ 3 h 3"/>
                    <a:gd name="T26" fmla="*/ 2 w 9"/>
                    <a:gd name="T27" fmla="*/ 3 h 3"/>
                    <a:gd name="T28" fmla="*/ 2 w 9"/>
                    <a:gd name="T2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" h="3"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2" y="3"/>
                      </a:lnTo>
                      <a:close/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6" y="3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6" y="3"/>
                      </a:lnTo>
                      <a:lnTo>
                        <a:pt x="2" y="3"/>
                      </a:lnTo>
                      <a:close/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56" name="Rectangle 609"/>
                <p:cNvSpPr>
                  <a:spLocks noChangeArrowheads="1"/>
                </p:cNvSpPr>
                <p:nvPr/>
              </p:nvSpPr>
              <p:spPr bwMode="auto">
                <a:xfrm>
                  <a:off x="4222791" y="3134125"/>
                  <a:ext cx="197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57" name="Freeform 610"/>
                <p:cNvSpPr>
                  <a:spLocks/>
                </p:cNvSpPr>
                <p:nvPr/>
              </p:nvSpPr>
              <p:spPr bwMode="auto">
                <a:xfrm>
                  <a:off x="4224769" y="3131157"/>
                  <a:ext cx="6925" cy="2968"/>
                </a:xfrm>
                <a:custGeom>
                  <a:avLst/>
                  <a:gdLst>
                    <a:gd name="T0" fmla="*/ 0 w 7"/>
                    <a:gd name="T1" fmla="*/ 3 h 3"/>
                    <a:gd name="T2" fmla="*/ 0 w 7"/>
                    <a:gd name="T3" fmla="*/ 3 h 3"/>
                    <a:gd name="T4" fmla="*/ 4 w 7"/>
                    <a:gd name="T5" fmla="*/ 3 h 3"/>
                    <a:gd name="T6" fmla="*/ 7 w 7"/>
                    <a:gd name="T7" fmla="*/ 0 h 3"/>
                    <a:gd name="T8" fmla="*/ 7 w 7"/>
                    <a:gd name="T9" fmla="*/ 0 h 3"/>
                    <a:gd name="T10" fmla="*/ 4 w 7"/>
                    <a:gd name="T11" fmla="*/ 3 h 3"/>
                    <a:gd name="T12" fmla="*/ 0 w 7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3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4" y="3"/>
                      </a:lnTo>
                      <a:lnTo>
                        <a:pt x="0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58" name="Freeform 611"/>
                <p:cNvSpPr>
                  <a:spLocks/>
                </p:cNvSpPr>
                <p:nvPr/>
              </p:nvSpPr>
              <p:spPr bwMode="auto">
                <a:xfrm>
                  <a:off x="4224769" y="313412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59" name="Freeform 612"/>
                <p:cNvSpPr>
                  <a:spLocks noEditPoints="1"/>
                </p:cNvSpPr>
                <p:nvPr/>
              </p:nvSpPr>
              <p:spPr bwMode="auto">
                <a:xfrm>
                  <a:off x="4285114" y="3164792"/>
                  <a:ext cx="12860" cy="45506"/>
                </a:xfrm>
                <a:custGeom>
                  <a:avLst/>
                  <a:gdLst>
                    <a:gd name="T0" fmla="*/ 10 w 13"/>
                    <a:gd name="T1" fmla="*/ 14 h 46"/>
                    <a:gd name="T2" fmla="*/ 10 w 13"/>
                    <a:gd name="T3" fmla="*/ 14 h 46"/>
                    <a:gd name="T4" fmla="*/ 10 w 13"/>
                    <a:gd name="T5" fmla="*/ 14 h 46"/>
                    <a:gd name="T6" fmla="*/ 13 w 13"/>
                    <a:gd name="T7" fmla="*/ 0 h 46"/>
                    <a:gd name="T8" fmla="*/ 13 w 13"/>
                    <a:gd name="T9" fmla="*/ 0 h 46"/>
                    <a:gd name="T10" fmla="*/ 10 w 13"/>
                    <a:gd name="T11" fmla="*/ 14 h 46"/>
                    <a:gd name="T12" fmla="*/ 5 w 13"/>
                    <a:gd name="T13" fmla="*/ 43 h 46"/>
                    <a:gd name="T14" fmla="*/ 5 w 13"/>
                    <a:gd name="T15" fmla="*/ 43 h 46"/>
                    <a:gd name="T16" fmla="*/ 5 w 13"/>
                    <a:gd name="T17" fmla="*/ 43 h 46"/>
                    <a:gd name="T18" fmla="*/ 5 w 13"/>
                    <a:gd name="T19" fmla="*/ 43 h 46"/>
                    <a:gd name="T20" fmla="*/ 8 w 13"/>
                    <a:gd name="T21" fmla="*/ 40 h 46"/>
                    <a:gd name="T22" fmla="*/ 10 w 13"/>
                    <a:gd name="T23" fmla="*/ 34 h 46"/>
                    <a:gd name="T24" fmla="*/ 10 w 13"/>
                    <a:gd name="T25" fmla="*/ 20 h 46"/>
                    <a:gd name="T26" fmla="*/ 10 w 13"/>
                    <a:gd name="T27" fmla="*/ 20 h 46"/>
                    <a:gd name="T28" fmla="*/ 10 w 13"/>
                    <a:gd name="T29" fmla="*/ 34 h 46"/>
                    <a:gd name="T30" fmla="*/ 8 w 13"/>
                    <a:gd name="T31" fmla="*/ 40 h 46"/>
                    <a:gd name="T32" fmla="*/ 5 w 13"/>
                    <a:gd name="T33" fmla="*/ 43 h 46"/>
                    <a:gd name="T34" fmla="*/ 5 w 13"/>
                    <a:gd name="T35" fmla="*/ 43 h 46"/>
                    <a:gd name="T36" fmla="*/ 5 w 13"/>
                    <a:gd name="T37" fmla="*/ 43 h 46"/>
                    <a:gd name="T38" fmla="*/ 0 w 13"/>
                    <a:gd name="T39" fmla="*/ 46 h 46"/>
                    <a:gd name="T40" fmla="*/ 0 w 13"/>
                    <a:gd name="T41" fmla="*/ 46 h 46"/>
                    <a:gd name="T42" fmla="*/ 4 w 13"/>
                    <a:gd name="T43" fmla="*/ 43 h 46"/>
                    <a:gd name="T44" fmla="*/ 4 w 13"/>
                    <a:gd name="T45" fmla="*/ 43 h 46"/>
                    <a:gd name="T46" fmla="*/ 0 w 13"/>
                    <a:gd name="T47" fmla="*/ 46 h 46"/>
                    <a:gd name="T48" fmla="*/ 0 w 13"/>
                    <a:gd name="T49" fmla="*/ 46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3" h="46">
                      <a:moveTo>
                        <a:pt x="10" y="14"/>
                      </a:move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3" y="0"/>
                      </a:lnTo>
                      <a:lnTo>
                        <a:pt x="13" y="0"/>
                      </a:lnTo>
                      <a:lnTo>
                        <a:pt x="10" y="14"/>
                      </a:lnTo>
                      <a:close/>
                      <a:moveTo>
                        <a:pt x="5" y="43"/>
                      </a:moveTo>
                      <a:lnTo>
                        <a:pt x="5" y="43"/>
                      </a:lnTo>
                      <a:lnTo>
                        <a:pt x="5" y="43"/>
                      </a:lnTo>
                      <a:lnTo>
                        <a:pt x="5" y="43"/>
                      </a:lnTo>
                      <a:lnTo>
                        <a:pt x="8" y="40"/>
                      </a:lnTo>
                      <a:lnTo>
                        <a:pt x="10" y="34"/>
                      </a:lnTo>
                      <a:lnTo>
                        <a:pt x="10" y="20"/>
                      </a:lnTo>
                      <a:lnTo>
                        <a:pt x="10" y="20"/>
                      </a:lnTo>
                      <a:lnTo>
                        <a:pt x="10" y="34"/>
                      </a:lnTo>
                      <a:lnTo>
                        <a:pt x="8" y="40"/>
                      </a:lnTo>
                      <a:lnTo>
                        <a:pt x="5" y="43"/>
                      </a:lnTo>
                      <a:lnTo>
                        <a:pt x="5" y="43"/>
                      </a:lnTo>
                      <a:lnTo>
                        <a:pt x="5" y="43"/>
                      </a:lnTo>
                      <a:close/>
                      <a:moveTo>
                        <a:pt x="0" y="46"/>
                      </a:moveTo>
                      <a:lnTo>
                        <a:pt x="0" y="46"/>
                      </a:lnTo>
                      <a:lnTo>
                        <a:pt x="4" y="43"/>
                      </a:lnTo>
                      <a:lnTo>
                        <a:pt x="4" y="43"/>
                      </a:lnTo>
                      <a:lnTo>
                        <a:pt x="0" y="46"/>
                      </a:lnTo>
                      <a:lnTo>
                        <a:pt x="0" y="4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60" name="Freeform 613"/>
                <p:cNvSpPr>
                  <a:spLocks/>
                </p:cNvSpPr>
                <p:nvPr/>
              </p:nvSpPr>
              <p:spPr bwMode="auto">
                <a:xfrm>
                  <a:off x="4295007" y="3164792"/>
                  <a:ext cx="2968" cy="13850"/>
                </a:xfrm>
                <a:custGeom>
                  <a:avLst/>
                  <a:gdLst>
                    <a:gd name="T0" fmla="*/ 0 w 3"/>
                    <a:gd name="T1" fmla="*/ 14 h 14"/>
                    <a:gd name="T2" fmla="*/ 0 w 3"/>
                    <a:gd name="T3" fmla="*/ 14 h 14"/>
                    <a:gd name="T4" fmla="*/ 0 w 3"/>
                    <a:gd name="T5" fmla="*/ 14 h 14"/>
                    <a:gd name="T6" fmla="*/ 3 w 3"/>
                    <a:gd name="T7" fmla="*/ 0 h 14"/>
                    <a:gd name="T8" fmla="*/ 3 w 3"/>
                    <a:gd name="T9" fmla="*/ 0 h 14"/>
                    <a:gd name="T10" fmla="*/ 0 w 3"/>
                    <a:gd name="T11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14">
                      <a:moveTo>
                        <a:pt x="0" y="14"/>
                      </a:move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1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61" name="Freeform 614"/>
                <p:cNvSpPr>
                  <a:spLocks/>
                </p:cNvSpPr>
                <p:nvPr/>
              </p:nvSpPr>
              <p:spPr bwMode="auto">
                <a:xfrm>
                  <a:off x="4290061" y="3184577"/>
                  <a:ext cx="4946" cy="22753"/>
                </a:xfrm>
                <a:custGeom>
                  <a:avLst/>
                  <a:gdLst>
                    <a:gd name="T0" fmla="*/ 0 w 5"/>
                    <a:gd name="T1" fmla="*/ 23 h 23"/>
                    <a:gd name="T2" fmla="*/ 0 w 5"/>
                    <a:gd name="T3" fmla="*/ 23 h 23"/>
                    <a:gd name="T4" fmla="*/ 0 w 5"/>
                    <a:gd name="T5" fmla="*/ 23 h 23"/>
                    <a:gd name="T6" fmla="*/ 0 w 5"/>
                    <a:gd name="T7" fmla="*/ 23 h 23"/>
                    <a:gd name="T8" fmla="*/ 3 w 5"/>
                    <a:gd name="T9" fmla="*/ 20 h 23"/>
                    <a:gd name="T10" fmla="*/ 5 w 5"/>
                    <a:gd name="T11" fmla="*/ 14 h 23"/>
                    <a:gd name="T12" fmla="*/ 5 w 5"/>
                    <a:gd name="T13" fmla="*/ 0 h 23"/>
                    <a:gd name="T14" fmla="*/ 5 w 5"/>
                    <a:gd name="T15" fmla="*/ 0 h 23"/>
                    <a:gd name="T16" fmla="*/ 5 w 5"/>
                    <a:gd name="T17" fmla="*/ 14 h 23"/>
                    <a:gd name="T18" fmla="*/ 3 w 5"/>
                    <a:gd name="T19" fmla="*/ 20 h 23"/>
                    <a:gd name="T20" fmla="*/ 0 w 5"/>
                    <a:gd name="T21" fmla="*/ 23 h 23"/>
                    <a:gd name="T22" fmla="*/ 0 w 5"/>
                    <a:gd name="T23" fmla="*/ 23 h 23"/>
                    <a:gd name="T24" fmla="*/ 0 w 5"/>
                    <a:gd name="T25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" h="23">
                      <a:moveTo>
                        <a:pt x="0" y="23"/>
                      </a:moveTo>
                      <a:lnTo>
                        <a:pt x="0" y="23"/>
                      </a:lnTo>
                      <a:lnTo>
                        <a:pt x="0" y="23"/>
                      </a:lnTo>
                      <a:lnTo>
                        <a:pt x="0" y="23"/>
                      </a:lnTo>
                      <a:lnTo>
                        <a:pt x="3" y="20"/>
                      </a:lnTo>
                      <a:lnTo>
                        <a:pt x="5" y="14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14"/>
                      </a:lnTo>
                      <a:lnTo>
                        <a:pt x="3" y="20"/>
                      </a:lnTo>
                      <a:lnTo>
                        <a:pt x="0" y="23"/>
                      </a:lnTo>
                      <a:lnTo>
                        <a:pt x="0" y="23"/>
                      </a:lnTo>
                      <a:lnTo>
                        <a:pt x="0" y="2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62" name="Freeform 615"/>
                <p:cNvSpPr>
                  <a:spLocks/>
                </p:cNvSpPr>
                <p:nvPr/>
              </p:nvSpPr>
              <p:spPr bwMode="auto">
                <a:xfrm>
                  <a:off x="4285114" y="3207330"/>
                  <a:ext cx="3957" cy="2968"/>
                </a:xfrm>
                <a:custGeom>
                  <a:avLst/>
                  <a:gdLst>
                    <a:gd name="T0" fmla="*/ 0 w 4"/>
                    <a:gd name="T1" fmla="*/ 3 h 3"/>
                    <a:gd name="T2" fmla="*/ 0 w 4"/>
                    <a:gd name="T3" fmla="*/ 3 h 3"/>
                    <a:gd name="T4" fmla="*/ 4 w 4"/>
                    <a:gd name="T5" fmla="*/ 0 h 3"/>
                    <a:gd name="T6" fmla="*/ 4 w 4"/>
                    <a:gd name="T7" fmla="*/ 0 h 3"/>
                    <a:gd name="T8" fmla="*/ 0 w 4"/>
                    <a:gd name="T9" fmla="*/ 3 h 3"/>
                    <a:gd name="T10" fmla="*/ 0 w 4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3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3"/>
                      </a:lnTo>
                      <a:lnTo>
                        <a:pt x="0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63" name="Freeform 616"/>
                <p:cNvSpPr>
                  <a:spLocks/>
                </p:cNvSpPr>
                <p:nvPr/>
              </p:nvSpPr>
              <p:spPr bwMode="auto">
                <a:xfrm>
                  <a:off x="4205973" y="3172706"/>
                  <a:ext cx="47484" cy="50452"/>
                </a:xfrm>
                <a:custGeom>
                  <a:avLst/>
                  <a:gdLst>
                    <a:gd name="T0" fmla="*/ 29 w 48"/>
                    <a:gd name="T1" fmla="*/ 51 h 51"/>
                    <a:gd name="T2" fmla="*/ 29 w 48"/>
                    <a:gd name="T3" fmla="*/ 51 h 51"/>
                    <a:gd name="T4" fmla="*/ 19 w 48"/>
                    <a:gd name="T5" fmla="*/ 44 h 51"/>
                    <a:gd name="T6" fmla="*/ 19 w 48"/>
                    <a:gd name="T7" fmla="*/ 44 h 51"/>
                    <a:gd name="T8" fmla="*/ 10 w 48"/>
                    <a:gd name="T9" fmla="*/ 38 h 51"/>
                    <a:gd name="T10" fmla="*/ 10 w 48"/>
                    <a:gd name="T11" fmla="*/ 38 h 51"/>
                    <a:gd name="T12" fmla="*/ 6 w 48"/>
                    <a:gd name="T13" fmla="*/ 32 h 51"/>
                    <a:gd name="T14" fmla="*/ 3 w 48"/>
                    <a:gd name="T15" fmla="*/ 26 h 51"/>
                    <a:gd name="T16" fmla="*/ 3 w 48"/>
                    <a:gd name="T17" fmla="*/ 26 h 51"/>
                    <a:gd name="T18" fmla="*/ 1 w 48"/>
                    <a:gd name="T19" fmla="*/ 23 h 51"/>
                    <a:gd name="T20" fmla="*/ 1 w 48"/>
                    <a:gd name="T21" fmla="*/ 23 h 51"/>
                    <a:gd name="T22" fmla="*/ 0 w 48"/>
                    <a:gd name="T23" fmla="*/ 21 h 51"/>
                    <a:gd name="T24" fmla="*/ 0 w 48"/>
                    <a:gd name="T25" fmla="*/ 21 h 51"/>
                    <a:gd name="T26" fmla="*/ 14 w 48"/>
                    <a:gd name="T27" fmla="*/ 5 h 51"/>
                    <a:gd name="T28" fmla="*/ 14 w 48"/>
                    <a:gd name="T29" fmla="*/ 5 h 51"/>
                    <a:gd name="T30" fmla="*/ 14 w 48"/>
                    <a:gd name="T31" fmla="*/ 5 h 51"/>
                    <a:gd name="T32" fmla="*/ 14 w 48"/>
                    <a:gd name="T33" fmla="*/ 5 h 51"/>
                    <a:gd name="T34" fmla="*/ 19 w 48"/>
                    <a:gd name="T35" fmla="*/ 2 h 51"/>
                    <a:gd name="T36" fmla="*/ 23 w 48"/>
                    <a:gd name="T37" fmla="*/ 0 h 51"/>
                    <a:gd name="T38" fmla="*/ 23 w 48"/>
                    <a:gd name="T39" fmla="*/ 0 h 51"/>
                    <a:gd name="T40" fmla="*/ 23 w 48"/>
                    <a:gd name="T41" fmla="*/ 0 h 51"/>
                    <a:gd name="T42" fmla="*/ 23 w 48"/>
                    <a:gd name="T43" fmla="*/ 0 h 51"/>
                    <a:gd name="T44" fmla="*/ 26 w 48"/>
                    <a:gd name="T45" fmla="*/ 0 h 51"/>
                    <a:gd name="T46" fmla="*/ 26 w 48"/>
                    <a:gd name="T47" fmla="*/ 0 h 51"/>
                    <a:gd name="T48" fmla="*/ 26 w 48"/>
                    <a:gd name="T49" fmla="*/ 0 h 51"/>
                    <a:gd name="T50" fmla="*/ 26 w 48"/>
                    <a:gd name="T51" fmla="*/ 0 h 51"/>
                    <a:gd name="T52" fmla="*/ 26 w 48"/>
                    <a:gd name="T53" fmla="*/ 0 h 51"/>
                    <a:gd name="T54" fmla="*/ 26 w 48"/>
                    <a:gd name="T55" fmla="*/ 0 h 51"/>
                    <a:gd name="T56" fmla="*/ 26 w 48"/>
                    <a:gd name="T57" fmla="*/ 2 h 51"/>
                    <a:gd name="T58" fmla="*/ 26 w 48"/>
                    <a:gd name="T59" fmla="*/ 2 h 51"/>
                    <a:gd name="T60" fmla="*/ 26 w 48"/>
                    <a:gd name="T61" fmla="*/ 2 h 51"/>
                    <a:gd name="T62" fmla="*/ 26 w 48"/>
                    <a:gd name="T63" fmla="*/ 2 h 51"/>
                    <a:gd name="T64" fmla="*/ 30 w 48"/>
                    <a:gd name="T65" fmla="*/ 3 h 51"/>
                    <a:gd name="T66" fmla="*/ 33 w 48"/>
                    <a:gd name="T67" fmla="*/ 8 h 51"/>
                    <a:gd name="T68" fmla="*/ 36 w 48"/>
                    <a:gd name="T69" fmla="*/ 18 h 51"/>
                    <a:gd name="T70" fmla="*/ 36 w 48"/>
                    <a:gd name="T71" fmla="*/ 18 h 51"/>
                    <a:gd name="T72" fmla="*/ 38 w 48"/>
                    <a:gd name="T73" fmla="*/ 19 h 51"/>
                    <a:gd name="T74" fmla="*/ 38 w 48"/>
                    <a:gd name="T75" fmla="*/ 19 h 51"/>
                    <a:gd name="T76" fmla="*/ 41 w 48"/>
                    <a:gd name="T77" fmla="*/ 21 h 51"/>
                    <a:gd name="T78" fmla="*/ 46 w 48"/>
                    <a:gd name="T79" fmla="*/ 22 h 51"/>
                    <a:gd name="T80" fmla="*/ 46 w 48"/>
                    <a:gd name="T81" fmla="*/ 22 h 51"/>
                    <a:gd name="T82" fmla="*/ 48 w 48"/>
                    <a:gd name="T83" fmla="*/ 22 h 51"/>
                    <a:gd name="T84" fmla="*/ 48 w 48"/>
                    <a:gd name="T85" fmla="*/ 22 h 51"/>
                    <a:gd name="T86" fmla="*/ 41 w 48"/>
                    <a:gd name="T87" fmla="*/ 39 h 51"/>
                    <a:gd name="T88" fmla="*/ 41 w 48"/>
                    <a:gd name="T89" fmla="*/ 39 h 51"/>
                    <a:gd name="T90" fmla="*/ 38 w 48"/>
                    <a:gd name="T91" fmla="*/ 45 h 51"/>
                    <a:gd name="T92" fmla="*/ 29 w 48"/>
                    <a:gd name="T93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48" h="51">
                      <a:moveTo>
                        <a:pt x="29" y="51"/>
                      </a:moveTo>
                      <a:lnTo>
                        <a:pt x="29" y="51"/>
                      </a:lnTo>
                      <a:lnTo>
                        <a:pt x="19" y="44"/>
                      </a:lnTo>
                      <a:lnTo>
                        <a:pt x="19" y="44"/>
                      </a:lnTo>
                      <a:lnTo>
                        <a:pt x="10" y="38"/>
                      </a:lnTo>
                      <a:lnTo>
                        <a:pt x="10" y="38"/>
                      </a:lnTo>
                      <a:lnTo>
                        <a:pt x="6" y="32"/>
                      </a:lnTo>
                      <a:lnTo>
                        <a:pt x="3" y="26"/>
                      </a:lnTo>
                      <a:lnTo>
                        <a:pt x="3" y="26"/>
                      </a:lnTo>
                      <a:lnTo>
                        <a:pt x="1" y="23"/>
                      </a:lnTo>
                      <a:lnTo>
                        <a:pt x="1" y="23"/>
                      </a:lnTo>
                      <a:lnTo>
                        <a:pt x="0" y="21"/>
                      </a:lnTo>
                      <a:lnTo>
                        <a:pt x="0" y="21"/>
                      </a:lnTo>
                      <a:lnTo>
                        <a:pt x="14" y="5"/>
                      </a:lnTo>
                      <a:lnTo>
                        <a:pt x="14" y="5"/>
                      </a:lnTo>
                      <a:lnTo>
                        <a:pt x="14" y="5"/>
                      </a:lnTo>
                      <a:lnTo>
                        <a:pt x="14" y="5"/>
                      </a:lnTo>
                      <a:lnTo>
                        <a:pt x="19" y="2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30" y="3"/>
                      </a:lnTo>
                      <a:lnTo>
                        <a:pt x="33" y="8"/>
                      </a:lnTo>
                      <a:lnTo>
                        <a:pt x="36" y="18"/>
                      </a:lnTo>
                      <a:lnTo>
                        <a:pt x="36" y="18"/>
                      </a:lnTo>
                      <a:lnTo>
                        <a:pt x="38" y="19"/>
                      </a:lnTo>
                      <a:lnTo>
                        <a:pt x="38" y="19"/>
                      </a:lnTo>
                      <a:lnTo>
                        <a:pt x="41" y="21"/>
                      </a:lnTo>
                      <a:lnTo>
                        <a:pt x="46" y="22"/>
                      </a:lnTo>
                      <a:lnTo>
                        <a:pt x="46" y="22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1" y="39"/>
                      </a:lnTo>
                      <a:lnTo>
                        <a:pt x="41" y="39"/>
                      </a:lnTo>
                      <a:lnTo>
                        <a:pt x="38" y="45"/>
                      </a:lnTo>
                      <a:lnTo>
                        <a:pt x="29" y="5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64" name="Freeform 617"/>
                <p:cNvSpPr>
                  <a:spLocks/>
                </p:cNvSpPr>
                <p:nvPr/>
              </p:nvSpPr>
              <p:spPr bwMode="auto">
                <a:xfrm>
                  <a:off x="4205973" y="3172706"/>
                  <a:ext cx="47484" cy="50452"/>
                </a:xfrm>
                <a:custGeom>
                  <a:avLst/>
                  <a:gdLst>
                    <a:gd name="T0" fmla="*/ 29 w 48"/>
                    <a:gd name="T1" fmla="*/ 51 h 51"/>
                    <a:gd name="T2" fmla="*/ 29 w 48"/>
                    <a:gd name="T3" fmla="*/ 51 h 51"/>
                    <a:gd name="T4" fmla="*/ 19 w 48"/>
                    <a:gd name="T5" fmla="*/ 44 h 51"/>
                    <a:gd name="T6" fmla="*/ 19 w 48"/>
                    <a:gd name="T7" fmla="*/ 44 h 51"/>
                    <a:gd name="T8" fmla="*/ 10 w 48"/>
                    <a:gd name="T9" fmla="*/ 38 h 51"/>
                    <a:gd name="T10" fmla="*/ 10 w 48"/>
                    <a:gd name="T11" fmla="*/ 38 h 51"/>
                    <a:gd name="T12" fmla="*/ 6 w 48"/>
                    <a:gd name="T13" fmla="*/ 32 h 51"/>
                    <a:gd name="T14" fmla="*/ 3 w 48"/>
                    <a:gd name="T15" fmla="*/ 26 h 51"/>
                    <a:gd name="T16" fmla="*/ 3 w 48"/>
                    <a:gd name="T17" fmla="*/ 26 h 51"/>
                    <a:gd name="T18" fmla="*/ 1 w 48"/>
                    <a:gd name="T19" fmla="*/ 23 h 51"/>
                    <a:gd name="T20" fmla="*/ 1 w 48"/>
                    <a:gd name="T21" fmla="*/ 23 h 51"/>
                    <a:gd name="T22" fmla="*/ 0 w 48"/>
                    <a:gd name="T23" fmla="*/ 21 h 51"/>
                    <a:gd name="T24" fmla="*/ 0 w 48"/>
                    <a:gd name="T25" fmla="*/ 21 h 51"/>
                    <a:gd name="T26" fmla="*/ 14 w 48"/>
                    <a:gd name="T27" fmla="*/ 5 h 51"/>
                    <a:gd name="T28" fmla="*/ 14 w 48"/>
                    <a:gd name="T29" fmla="*/ 5 h 51"/>
                    <a:gd name="T30" fmla="*/ 14 w 48"/>
                    <a:gd name="T31" fmla="*/ 5 h 51"/>
                    <a:gd name="T32" fmla="*/ 14 w 48"/>
                    <a:gd name="T33" fmla="*/ 5 h 51"/>
                    <a:gd name="T34" fmla="*/ 19 w 48"/>
                    <a:gd name="T35" fmla="*/ 2 h 51"/>
                    <a:gd name="T36" fmla="*/ 23 w 48"/>
                    <a:gd name="T37" fmla="*/ 0 h 51"/>
                    <a:gd name="T38" fmla="*/ 23 w 48"/>
                    <a:gd name="T39" fmla="*/ 0 h 51"/>
                    <a:gd name="T40" fmla="*/ 23 w 48"/>
                    <a:gd name="T41" fmla="*/ 0 h 51"/>
                    <a:gd name="T42" fmla="*/ 23 w 48"/>
                    <a:gd name="T43" fmla="*/ 0 h 51"/>
                    <a:gd name="T44" fmla="*/ 26 w 48"/>
                    <a:gd name="T45" fmla="*/ 0 h 51"/>
                    <a:gd name="T46" fmla="*/ 26 w 48"/>
                    <a:gd name="T47" fmla="*/ 0 h 51"/>
                    <a:gd name="T48" fmla="*/ 26 w 48"/>
                    <a:gd name="T49" fmla="*/ 0 h 51"/>
                    <a:gd name="T50" fmla="*/ 26 w 48"/>
                    <a:gd name="T51" fmla="*/ 0 h 51"/>
                    <a:gd name="T52" fmla="*/ 26 w 48"/>
                    <a:gd name="T53" fmla="*/ 0 h 51"/>
                    <a:gd name="T54" fmla="*/ 26 w 48"/>
                    <a:gd name="T55" fmla="*/ 0 h 51"/>
                    <a:gd name="T56" fmla="*/ 26 w 48"/>
                    <a:gd name="T57" fmla="*/ 2 h 51"/>
                    <a:gd name="T58" fmla="*/ 26 w 48"/>
                    <a:gd name="T59" fmla="*/ 2 h 51"/>
                    <a:gd name="T60" fmla="*/ 26 w 48"/>
                    <a:gd name="T61" fmla="*/ 2 h 51"/>
                    <a:gd name="T62" fmla="*/ 26 w 48"/>
                    <a:gd name="T63" fmla="*/ 2 h 51"/>
                    <a:gd name="T64" fmla="*/ 30 w 48"/>
                    <a:gd name="T65" fmla="*/ 3 h 51"/>
                    <a:gd name="T66" fmla="*/ 33 w 48"/>
                    <a:gd name="T67" fmla="*/ 8 h 51"/>
                    <a:gd name="T68" fmla="*/ 36 w 48"/>
                    <a:gd name="T69" fmla="*/ 18 h 51"/>
                    <a:gd name="T70" fmla="*/ 36 w 48"/>
                    <a:gd name="T71" fmla="*/ 18 h 51"/>
                    <a:gd name="T72" fmla="*/ 38 w 48"/>
                    <a:gd name="T73" fmla="*/ 19 h 51"/>
                    <a:gd name="T74" fmla="*/ 38 w 48"/>
                    <a:gd name="T75" fmla="*/ 19 h 51"/>
                    <a:gd name="T76" fmla="*/ 41 w 48"/>
                    <a:gd name="T77" fmla="*/ 21 h 51"/>
                    <a:gd name="T78" fmla="*/ 46 w 48"/>
                    <a:gd name="T79" fmla="*/ 22 h 51"/>
                    <a:gd name="T80" fmla="*/ 46 w 48"/>
                    <a:gd name="T81" fmla="*/ 22 h 51"/>
                    <a:gd name="T82" fmla="*/ 48 w 48"/>
                    <a:gd name="T83" fmla="*/ 22 h 51"/>
                    <a:gd name="T84" fmla="*/ 48 w 48"/>
                    <a:gd name="T85" fmla="*/ 22 h 51"/>
                    <a:gd name="T86" fmla="*/ 41 w 48"/>
                    <a:gd name="T87" fmla="*/ 39 h 51"/>
                    <a:gd name="T88" fmla="*/ 41 w 48"/>
                    <a:gd name="T89" fmla="*/ 39 h 51"/>
                    <a:gd name="T90" fmla="*/ 38 w 48"/>
                    <a:gd name="T91" fmla="*/ 45 h 51"/>
                    <a:gd name="T92" fmla="*/ 29 w 48"/>
                    <a:gd name="T93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48" h="51">
                      <a:moveTo>
                        <a:pt x="29" y="51"/>
                      </a:moveTo>
                      <a:lnTo>
                        <a:pt x="29" y="51"/>
                      </a:lnTo>
                      <a:lnTo>
                        <a:pt x="19" y="44"/>
                      </a:lnTo>
                      <a:lnTo>
                        <a:pt x="19" y="44"/>
                      </a:lnTo>
                      <a:lnTo>
                        <a:pt x="10" y="38"/>
                      </a:lnTo>
                      <a:lnTo>
                        <a:pt x="10" y="38"/>
                      </a:lnTo>
                      <a:lnTo>
                        <a:pt x="6" y="32"/>
                      </a:lnTo>
                      <a:lnTo>
                        <a:pt x="3" y="26"/>
                      </a:lnTo>
                      <a:lnTo>
                        <a:pt x="3" y="26"/>
                      </a:lnTo>
                      <a:lnTo>
                        <a:pt x="1" y="23"/>
                      </a:lnTo>
                      <a:lnTo>
                        <a:pt x="1" y="23"/>
                      </a:lnTo>
                      <a:lnTo>
                        <a:pt x="0" y="21"/>
                      </a:lnTo>
                      <a:lnTo>
                        <a:pt x="0" y="21"/>
                      </a:lnTo>
                      <a:lnTo>
                        <a:pt x="14" y="5"/>
                      </a:lnTo>
                      <a:lnTo>
                        <a:pt x="14" y="5"/>
                      </a:lnTo>
                      <a:lnTo>
                        <a:pt x="14" y="5"/>
                      </a:lnTo>
                      <a:lnTo>
                        <a:pt x="14" y="5"/>
                      </a:lnTo>
                      <a:lnTo>
                        <a:pt x="19" y="2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30" y="3"/>
                      </a:lnTo>
                      <a:lnTo>
                        <a:pt x="33" y="8"/>
                      </a:lnTo>
                      <a:lnTo>
                        <a:pt x="36" y="18"/>
                      </a:lnTo>
                      <a:lnTo>
                        <a:pt x="36" y="18"/>
                      </a:lnTo>
                      <a:lnTo>
                        <a:pt x="38" y="19"/>
                      </a:lnTo>
                      <a:lnTo>
                        <a:pt x="38" y="19"/>
                      </a:lnTo>
                      <a:lnTo>
                        <a:pt x="41" y="21"/>
                      </a:lnTo>
                      <a:lnTo>
                        <a:pt x="46" y="22"/>
                      </a:lnTo>
                      <a:lnTo>
                        <a:pt x="46" y="22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1" y="39"/>
                      </a:lnTo>
                      <a:lnTo>
                        <a:pt x="41" y="39"/>
                      </a:lnTo>
                      <a:lnTo>
                        <a:pt x="38" y="45"/>
                      </a:lnTo>
                      <a:lnTo>
                        <a:pt x="29" y="5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65" name="Freeform 618"/>
                <p:cNvSpPr>
                  <a:spLocks noEditPoints="1"/>
                </p:cNvSpPr>
                <p:nvPr/>
              </p:nvSpPr>
              <p:spPr bwMode="auto">
                <a:xfrm>
                  <a:off x="4219823" y="3172706"/>
                  <a:ext cx="33635" cy="21764"/>
                </a:xfrm>
                <a:custGeom>
                  <a:avLst/>
                  <a:gdLst>
                    <a:gd name="T0" fmla="*/ 9 w 34"/>
                    <a:gd name="T1" fmla="*/ 0 h 22"/>
                    <a:gd name="T2" fmla="*/ 9 w 34"/>
                    <a:gd name="T3" fmla="*/ 0 h 22"/>
                    <a:gd name="T4" fmla="*/ 9 w 34"/>
                    <a:gd name="T5" fmla="*/ 0 h 22"/>
                    <a:gd name="T6" fmla="*/ 12 w 34"/>
                    <a:gd name="T7" fmla="*/ 0 h 22"/>
                    <a:gd name="T8" fmla="*/ 12 w 34"/>
                    <a:gd name="T9" fmla="*/ 0 h 22"/>
                    <a:gd name="T10" fmla="*/ 12 w 34"/>
                    <a:gd name="T11" fmla="*/ 0 h 22"/>
                    <a:gd name="T12" fmla="*/ 12 w 34"/>
                    <a:gd name="T13" fmla="*/ 0 h 22"/>
                    <a:gd name="T14" fmla="*/ 12 w 34"/>
                    <a:gd name="T15" fmla="*/ 0 h 22"/>
                    <a:gd name="T16" fmla="*/ 12 w 34"/>
                    <a:gd name="T17" fmla="*/ 0 h 22"/>
                    <a:gd name="T18" fmla="*/ 12 w 34"/>
                    <a:gd name="T19" fmla="*/ 0 h 22"/>
                    <a:gd name="T20" fmla="*/ 12 w 34"/>
                    <a:gd name="T21" fmla="*/ 0 h 22"/>
                    <a:gd name="T22" fmla="*/ 12 w 34"/>
                    <a:gd name="T23" fmla="*/ 0 h 22"/>
                    <a:gd name="T24" fmla="*/ 12 w 34"/>
                    <a:gd name="T25" fmla="*/ 0 h 22"/>
                    <a:gd name="T26" fmla="*/ 0 w 34"/>
                    <a:gd name="T27" fmla="*/ 5 h 22"/>
                    <a:gd name="T28" fmla="*/ 0 w 34"/>
                    <a:gd name="T29" fmla="*/ 5 h 22"/>
                    <a:gd name="T30" fmla="*/ 5 w 34"/>
                    <a:gd name="T31" fmla="*/ 2 h 22"/>
                    <a:gd name="T32" fmla="*/ 9 w 34"/>
                    <a:gd name="T33" fmla="*/ 0 h 22"/>
                    <a:gd name="T34" fmla="*/ 9 w 34"/>
                    <a:gd name="T35" fmla="*/ 0 h 22"/>
                    <a:gd name="T36" fmla="*/ 5 w 34"/>
                    <a:gd name="T37" fmla="*/ 2 h 22"/>
                    <a:gd name="T38" fmla="*/ 0 w 34"/>
                    <a:gd name="T39" fmla="*/ 5 h 22"/>
                    <a:gd name="T40" fmla="*/ 32 w 34"/>
                    <a:gd name="T41" fmla="*/ 22 h 22"/>
                    <a:gd name="T42" fmla="*/ 32 w 34"/>
                    <a:gd name="T43" fmla="*/ 22 h 22"/>
                    <a:gd name="T44" fmla="*/ 27 w 34"/>
                    <a:gd name="T45" fmla="*/ 21 h 22"/>
                    <a:gd name="T46" fmla="*/ 24 w 34"/>
                    <a:gd name="T47" fmla="*/ 19 h 22"/>
                    <a:gd name="T48" fmla="*/ 24 w 34"/>
                    <a:gd name="T49" fmla="*/ 19 h 22"/>
                    <a:gd name="T50" fmla="*/ 27 w 34"/>
                    <a:gd name="T51" fmla="*/ 21 h 22"/>
                    <a:gd name="T52" fmla="*/ 32 w 34"/>
                    <a:gd name="T53" fmla="*/ 22 h 22"/>
                    <a:gd name="T54" fmla="*/ 32 w 34"/>
                    <a:gd name="T55" fmla="*/ 22 h 22"/>
                    <a:gd name="T56" fmla="*/ 34 w 34"/>
                    <a:gd name="T57" fmla="*/ 22 h 22"/>
                    <a:gd name="T58" fmla="*/ 34 w 34"/>
                    <a:gd name="T59" fmla="*/ 22 h 22"/>
                    <a:gd name="T60" fmla="*/ 34 w 34"/>
                    <a:gd name="T61" fmla="*/ 22 h 22"/>
                    <a:gd name="T62" fmla="*/ 34 w 34"/>
                    <a:gd name="T63" fmla="*/ 22 h 22"/>
                    <a:gd name="T64" fmla="*/ 32 w 34"/>
                    <a:gd name="T65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4" h="22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9" y="0"/>
                      </a:lnTo>
                      <a:close/>
                      <a:moveTo>
                        <a:pt x="12" y="0"/>
                      </a:move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close/>
                      <a:moveTo>
                        <a:pt x="12" y="0"/>
                      </a:move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close/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0" y="5"/>
                      </a:lnTo>
                      <a:close/>
                      <a:moveTo>
                        <a:pt x="32" y="22"/>
                      </a:moveTo>
                      <a:lnTo>
                        <a:pt x="32" y="22"/>
                      </a:lnTo>
                      <a:lnTo>
                        <a:pt x="27" y="21"/>
                      </a:lnTo>
                      <a:lnTo>
                        <a:pt x="24" y="19"/>
                      </a:lnTo>
                      <a:lnTo>
                        <a:pt x="24" y="19"/>
                      </a:lnTo>
                      <a:lnTo>
                        <a:pt x="27" y="21"/>
                      </a:lnTo>
                      <a:lnTo>
                        <a:pt x="32" y="22"/>
                      </a:lnTo>
                      <a:lnTo>
                        <a:pt x="32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2" y="2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66" name="Freeform 619"/>
                <p:cNvSpPr>
                  <a:spLocks/>
                </p:cNvSpPr>
                <p:nvPr/>
              </p:nvSpPr>
              <p:spPr bwMode="auto">
                <a:xfrm>
                  <a:off x="4228726" y="317270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67" name="Rectangle 620"/>
                <p:cNvSpPr>
                  <a:spLocks noChangeArrowheads="1"/>
                </p:cNvSpPr>
                <p:nvPr/>
              </p:nvSpPr>
              <p:spPr bwMode="auto">
                <a:xfrm>
                  <a:off x="4231694" y="3172706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68" name="Rectangle 621"/>
                <p:cNvSpPr>
                  <a:spLocks noChangeArrowheads="1"/>
                </p:cNvSpPr>
                <p:nvPr/>
              </p:nvSpPr>
              <p:spPr bwMode="auto">
                <a:xfrm>
                  <a:off x="4231694" y="3172706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69" name="Freeform 622"/>
                <p:cNvSpPr>
                  <a:spLocks/>
                </p:cNvSpPr>
                <p:nvPr/>
              </p:nvSpPr>
              <p:spPr bwMode="auto">
                <a:xfrm>
                  <a:off x="4219823" y="3172706"/>
                  <a:ext cx="8903" cy="4946"/>
                </a:xfrm>
                <a:custGeom>
                  <a:avLst/>
                  <a:gdLst>
                    <a:gd name="T0" fmla="*/ 0 w 9"/>
                    <a:gd name="T1" fmla="*/ 5 h 5"/>
                    <a:gd name="T2" fmla="*/ 0 w 9"/>
                    <a:gd name="T3" fmla="*/ 5 h 5"/>
                    <a:gd name="T4" fmla="*/ 5 w 9"/>
                    <a:gd name="T5" fmla="*/ 2 h 5"/>
                    <a:gd name="T6" fmla="*/ 9 w 9"/>
                    <a:gd name="T7" fmla="*/ 0 h 5"/>
                    <a:gd name="T8" fmla="*/ 9 w 9"/>
                    <a:gd name="T9" fmla="*/ 0 h 5"/>
                    <a:gd name="T10" fmla="*/ 5 w 9"/>
                    <a:gd name="T11" fmla="*/ 2 h 5"/>
                    <a:gd name="T12" fmla="*/ 0 w 9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5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0" y="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70" name="Freeform 623"/>
                <p:cNvSpPr>
                  <a:spLocks/>
                </p:cNvSpPr>
                <p:nvPr/>
              </p:nvSpPr>
              <p:spPr bwMode="auto">
                <a:xfrm>
                  <a:off x="4243565" y="3191502"/>
                  <a:ext cx="9893" cy="2968"/>
                </a:xfrm>
                <a:custGeom>
                  <a:avLst/>
                  <a:gdLst>
                    <a:gd name="T0" fmla="*/ 8 w 10"/>
                    <a:gd name="T1" fmla="*/ 3 h 3"/>
                    <a:gd name="T2" fmla="*/ 8 w 10"/>
                    <a:gd name="T3" fmla="*/ 3 h 3"/>
                    <a:gd name="T4" fmla="*/ 3 w 10"/>
                    <a:gd name="T5" fmla="*/ 2 h 3"/>
                    <a:gd name="T6" fmla="*/ 0 w 10"/>
                    <a:gd name="T7" fmla="*/ 0 h 3"/>
                    <a:gd name="T8" fmla="*/ 0 w 10"/>
                    <a:gd name="T9" fmla="*/ 0 h 3"/>
                    <a:gd name="T10" fmla="*/ 3 w 10"/>
                    <a:gd name="T11" fmla="*/ 2 h 3"/>
                    <a:gd name="T12" fmla="*/ 8 w 10"/>
                    <a:gd name="T13" fmla="*/ 3 h 3"/>
                    <a:gd name="T14" fmla="*/ 8 w 10"/>
                    <a:gd name="T15" fmla="*/ 3 h 3"/>
                    <a:gd name="T16" fmla="*/ 10 w 10"/>
                    <a:gd name="T17" fmla="*/ 3 h 3"/>
                    <a:gd name="T18" fmla="*/ 10 w 10"/>
                    <a:gd name="T19" fmla="*/ 3 h 3"/>
                    <a:gd name="T20" fmla="*/ 10 w 10"/>
                    <a:gd name="T21" fmla="*/ 3 h 3"/>
                    <a:gd name="T22" fmla="*/ 10 w 10"/>
                    <a:gd name="T23" fmla="*/ 3 h 3"/>
                    <a:gd name="T24" fmla="*/ 8 w 10"/>
                    <a:gd name="T2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0" h="3">
                      <a:moveTo>
                        <a:pt x="8" y="3"/>
                      </a:moveTo>
                      <a:lnTo>
                        <a:pt x="8" y="3"/>
                      </a:lnTo>
                      <a:lnTo>
                        <a:pt x="3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3" y="2"/>
                      </a:lnTo>
                      <a:lnTo>
                        <a:pt x="8" y="3"/>
                      </a:lnTo>
                      <a:lnTo>
                        <a:pt x="8" y="3"/>
                      </a:lnTo>
                      <a:lnTo>
                        <a:pt x="10" y="3"/>
                      </a:lnTo>
                      <a:lnTo>
                        <a:pt x="10" y="3"/>
                      </a:lnTo>
                      <a:lnTo>
                        <a:pt x="10" y="3"/>
                      </a:lnTo>
                      <a:lnTo>
                        <a:pt x="10" y="3"/>
                      </a:lnTo>
                      <a:lnTo>
                        <a:pt x="8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71" name="Freeform 624"/>
                <p:cNvSpPr>
                  <a:spLocks/>
                </p:cNvSpPr>
                <p:nvPr/>
              </p:nvSpPr>
              <p:spPr bwMode="auto">
                <a:xfrm>
                  <a:off x="4234662" y="3193481"/>
                  <a:ext cx="63313" cy="62323"/>
                </a:xfrm>
                <a:custGeom>
                  <a:avLst/>
                  <a:gdLst>
                    <a:gd name="T0" fmla="*/ 61 w 64"/>
                    <a:gd name="T1" fmla="*/ 63 h 63"/>
                    <a:gd name="T2" fmla="*/ 61 w 64"/>
                    <a:gd name="T3" fmla="*/ 63 h 63"/>
                    <a:gd name="T4" fmla="*/ 46 w 64"/>
                    <a:gd name="T5" fmla="*/ 59 h 63"/>
                    <a:gd name="T6" fmla="*/ 35 w 64"/>
                    <a:gd name="T7" fmla="*/ 53 h 63"/>
                    <a:gd name="T8" fmla="*/ 35 w 64"/>
                    <a:gd name="T9" fmla="*/ 53 h 63"/>
                    <a:gd name="T10" fmla="*/ 1 w 64"/>
                    <a:gd name="T11" fmla="*/ 30 h 63"/>
                    <a:gd name="T12" fmla="*/ 1 w 64"/>
                    <a:gd name="T13" fmla="*/ 30 h 63"/>
                    <a:gd name="T14" fmla="*/ 0 w 64"/>
                    <a:gd name="T15" fmla="*/ 30 h 63"/>
                    <a:gd name="T16" fmla="*/ 0 w 64"/>
                    <a:gd name="T17" fmla="*/ 30 h 63"/>
                    <a:gd name="T18" fmla="*/ 9 w 64"/>
                    <a:gd name="T19" fmla="*/ 24 h 63"/>
                    <a:gd name="T20" fmla="*/ 12 w 64"/>
                    <a:gd name="T21" fmla="*/ 18 h 63"/>
                    <a:gd name="T22" fmla="*/ 12 w 64"/>
                    <a:gd name="T23" fmla="*/ 18 h 63"/>
                    <a:gd name="T24" fmla="*/ 19 w 64"/>
                    <a:gd name="T25" fmla="*/ 1 h 63"/>
                    <a:gd name="T26" fmla="*/ 19 w 64"/>
                    <a:gd name="T27" fmla="*/ 1 h 63"/>
                    <a:gd name="T28" fmla="*/ 29 w 64"/>
                    <a:gd name="T29" fmla="*/ 0 h 63"/>
                    <a:gd name="T30" fmla="*/ 29 w 64"/>
                    <a:gd name="T31" fmla="*/ 0 h 63"/>
                    <a:gd name="T32" fmla="*/ 30 w 64"/>
                    <a:gd name="T33" fmla="*/ 0 h 63"/>
                    <a:gd name="T34" fmla="*/ 32 w 64"/>
                    <a:gd name="T35" fmla="*/ 1 h 63"/>
                    <a:gd name="T36" fmla="*/ 33 w 64"/>
                    <a:gd name="T37" fmla="*/ 5 h 63"/>
                    <a:gd name="T38" fmla="*/ 35 w 64"/>
                    <a:gd name="T39" fmla="*/ 11 h 63"/>
                    <a:gd name="T40" fmla="*/ 36 w 64"/>
                    <a:gd name="T41" fmla="*/ 14 h 63"/>
                    <a:gd name="T42" fmla="*/ 36 w 64"/>
                    <a:gd name="T43" fmla="*/ 14 h 63"/>
                    <a:gd name="T44" fmla="*/ 36 w 64"/>
                    <a:gd name="T45" fmla="*/ 14 h 63"/>
                    <a:gd name="T46" fmla="*/ 36 w 64"/>
                    <a:gd name="T47" fmla="*/ 14 h 63"/>
                    <a:gd name="T48" fmla="*/ 36 w 64"/>
                    <a:gd name="T49" fmla="*/ 16 h 63"/>
                    <a:gd name="T50" fmla="*/ 36 w 64"/>
                    <a:gd name="T51" fmla="*/ 16 h 63"/>
                    <a:gd name="T52" fmla="*/ 36 w 64"/>
                    <a:gd name="T53" fmla="*/ 16 h 63"/>
                    <a:gd name="T54" fmla="*/ 36 w 64"/>
                    <a:gd name="T55" fmla="*/ 16 h 63"/>
                    <a:gd name="T56" fmla="*/ 38 w 64"/>
                    <a:gd name="T57" fmla="*/ 16 h 63"/>
                    <a:gd name="T58" fmla="*/ 38 w 64"/>
                    <a:gd name="T59" fmla="*/ 16 h 63"/>
                    <a:gd name="T60" fmla="*/ 40 w 64"/>
                    <a:gd name="T61" fmla="*/ 17 h 63"/>
                    <a:gd name="T62" fmla="*/ 46 w 64"/>
                    <a:gd name="T63" fmla="*/ 17 h 63"/>
                    <a:gd name="T64" fmla="*/ 46 w 64"/>
                    <a:gd name="T65" fmla="*/ 17 h 63"/>
                    <a:gd name="T66" fmla="*/ 46 w 64"/>
                    <a:gd name="T67" fmla="*/ 17 h 63"/>
                    <a:gd name="T68" fmla="*/ 46 w 64"/>
                    <a:gd name="T69" fmla="*/ 17 h 63"/>
                    <a:gd name="T70" fmla="*/ 51 w 64"/>
                    <a:gd name="T71" fmla="*/ 17 h 63"/>
                    <a:gd name="T72" fmla="*/ 51 w 64"/>
                    <a:gd name="T73" fmla="*/ 17 h 63"/>
                    <a:gd name="T74" fmla="*/ 43 w 64"/>
                    <a:gd name="T75" fmla="*/ 24 h 63"/>
                    <a:gd name="T76" fmla="*/ 43 w 64"/>
                    <a:gd name="T77" fmla="*/ 24 h 63"/>
                    <a:gd name="T78" fmla="*/ 42 w 64"/>
                    <a:gd name="T79" fmla="*/ 27 h 63"/>
                    <a:gd name="T80" fmla="*/ 42 w 64"/>
                    <a:gd name="T81" fmla="*/ 27 h 63"/>
                    <a:gd name="T82" fmla="*/ 43 w 64"/>
                    <a:gd name="T83" fmla="*/ 29 h 63"/>
                    <a:gd name="T84" fmla="*/ 46 w 64"/>
                    <a:gd name="T85" fmla="*/ 29 h 63"/>
                    <a:gd name="T86" fmla="*/ 51 w 64"/>
                    <a:gd name="T87" fmla="*/ 30 h 63"/>
                    <a:gd name="T88" fmla="*/ 54 w 64"/>
                    <a:gd name="T89" fmla="*/ 33 h 63"/>
                    <a:gd name="T90" fmla="*/ 54 w 64"/>
                    <a:gd name="T91" fmla="*/ 33 h 63"/>
                    <a:gd name="T92" fmla="*/ 61 w 64"/>
                    <a:gd name="T93" fmla="*/ 40 h 63"/>
                    <a:gd name="T94" fmla="*/ 62 w 64"/>
                    <a:gd name="T95" fmla="*/ 43 h 63"/>
                    <a:gd name="T96" fmla="*/ 64 w 64"/>
                    <a:gd name="T97" fmla="*/ 46 h 63"/>
                    <a:gd name="T98" fmla="*/ 64 w 64"/>
                    <a:gd name="T99" fmla="*/ 46 h 63"/>
                    <a:gd name="T100" fmla="*/ 62 w 64"/>
                    <a:gd name="T101" fmla="*/ 49 h 63"/>
                    <a:gd name="T102" fmla="*/ 62 w 64"/>
                    <a:gd name="T103" fmla="*/ 49 h 63"/>
                    <a:gd name="T104" fmla="*/ 61 w 64"/>
                    <a:gd name="T105" fmla="*/ 53 h 63"/>
                    <a:gd name="T106" fmla="*/ 59 w 64"/>
                    <a:gd name="T107" fmla="*/ 59 h 63"/>
                    <a:gd name="T108" fmla="*/ 59 w 64"/>
                    <a:gd name="T109" fmla="*/ 59 h 63"/>
                    <a:gd name="T110" fmla="*/ 61 w 64"/>
                    <a:gd name="T111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64" h="63">
                      <a:moveTo>
                        <a:pt x="61" y="63"/>
                      </a:moveTo>
                      <a:lnTo>
                        <a:pt x="61" y="63"/>
                      </a:lnTo>
                      <a:lnTo>
                        <a:pt x="46" y="59"/>
                      </a:lnTo>
                      <a:lnTo>
                        <a:pt x="35" y="53"/>
                      </a:lnTo>
                      <a:lnTo>
                        <a:pt x="35" y="53"/>
                      </a:lnTo>
                      <a:lnTo>
                        <a:pt x="1" y="30"/>
                      </a:lnTo>
                      <a:lnTo>
                        <a:pt x="1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9" y="24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9" y="1"/>
                      </a:lnTo>
                      <a:lnTo>
                        <a:pt x="19" y="1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30" y="0"/>
                      </a:lnTo>
                      <a:lnTo>
                        <a:pt x="32" y="1"/>
                      </a:lnTo>
                      <a:lnTo>
                        <a:pt x="33" y="5"/>
                      </a:lnTo>
                      <a:lnTo>
                        <a:pt x="35" y="11"/>
                      </a:lnTo>
                      <a:lnTo>
                        <a:pt x="36" y="14"/>
                      </a:lnTo>
                      <a:lnTo>
                        <a:pt x="36" y="14"/>
                      </a:lnTo>
                      <a:lnTo>
                        <a:pt x="36" y="14"/>
                      </a:lnTo>
                      <a:lnTo>
                        <a:pt x="36" y="14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8" y="16"/>
                      </a:lnTo>
                      <a:lnTo>
                        <a:pt x="38" y="16"/>
                      </a:lnTo>
                      <a:lnTo>
                        <a:pt x="40" y="17"/>
                      </a:lnTo>
                      <a:lnTo>
                        <a:pt x="46" y="17"/>
                      </a:lnTo>
                      <a:lnTo>
                        <a:pt x="46" y="17"/>
                      </a:lnTo>
                      <a:lnTo>
                        <a:pt x="46" y="17"/>
                      </a:lnTo>
                      <a:lnTo>
                        <a:pt x="46" y="17"/>
                      </a:lnTo>
                      <a:lnTo>
                        <a:pt x="51" y="17"/>
                      </a:lnTo>
                      <a:lnTo>
                        <a:pt x="51" y="17"/>
                      </a:lnTo>
                      <a:lnTo>
                        <a:pt x="43" y="24"/>
                      </a:lnTo>
                      <a:lnTo>
                        <a:pt x="43" y="24"/>
                      </a:lnTo>
                      <a:lnTo>
                        <a:pt x="42" y="27"/>
                      </a:lnTo>
                      <a:lnTo>
                        <a:pt x="42" y="27"/>
                      </a:lnTo>
                      <a:lnTo>
                        <a:pt x="43" y="29"/>
                      </a:lnTo>
                      <a:lnTo>
                        <a:pt x="46" y="29"/>
                      </a:lnTo>
                      <a:lnTo>
                        <a:pt x="51" y="30"/>
                      </a:lnTo>
                      <a:lnTo>
                        <a:pt x="54" y="33"/>
                      </a:lnTo>
                      <a:lnTo>
                        <a:pt x="54" y="33"/>
                      </a:lnTo>
                      <a:lnTo>
                        <a:pt x="61" y="40"/>
                      </a:lnTo>
                      <a:lnTo>
                        <a:pt x="62" y="43"/>
                      </a:lnTo>
                      <a:lnTo>
                        <a:pt x="64" y="46"/>
                      </a:lnTo>
                      <a:lnTo>
                        <a:pt x="64" y="46"/>
                      </a:lnTo>
                      <a:lnTo>
                        <a:pt x="62" y="49"/>
                      </a:lnTo>
                      <a:lnTo>
                        <a:pt x="62" y="49"/>
                      </a:lnTo>
                      <a:lnTo>
                        <a:pt x="61" y="53"/>
                      </a:lnTo>
                      <a:lnTo>
                        <a:pt x="59" y="59"/>
                      </a:lnTo>
                      <a:lnTo>
                        <a:pt x="59" y="59"/>
                      </a:lnTo>
                      <a:lnTo>
                        <a:pt x="61" y="6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72" name="Freeform 625"/>
                <p:cNvSpPr>
                  <a:spLocks/>
                </p:cNvSpPr>
                <p:nvPr/>
              </p:nvSpPr>
              <p:spPr bwMode="auto">
                <a:xfrm>
                  <a:off x="4234662" y="3193481"/>
                  <a:ext cx="63313" cy="62323"/>
                </a:xfrm>
                <a:custGeom>
                  <a:avLst/>
                  <a:gdLst>
                    <a:gd name="T0" fmla="*/ 61 w 64"/>
                    <a:gd name="T1" fmla="*/ 63 h 63"/>
                    <a:gd name="T2" fmla="*/ 61 w 64"/>
                    <a:gd name="T3" fmla="*/ 63 h 63"/>
                    <a:gd name="T4" fmla="*/ 46 w 64"/>
                    <a:gd name="T5" fmla="*/ 59 h 63"/>
                    <a:gd name="T6" fmla="*/ 35 w 64"/>
                    <a:gd name="T7" fmla="*/ 53 h 63"/>
                    <a:gd name="T8" fmla="*/ 35 w 64"/>
                    <a:gd name="T9" fmla="*/ 53 h 63"/>
                    <a:gd name="T10" fmla="*/ 1 w 64"/>
                    <a:gd name="T11" fmla="*/ 30 h 63"/>
                    <a:gd name="T12" fmla="*/ 1 w 64"/>
                    <a:gd name="T13" fmla="*/ 30 h 63"/>
                    <a:gd name="T14" fmla="*/ 0 w 64"/>
                    <a:gd name="T15" fmla="*/ 30 h 63"/>
                    <a:gd name="T16" fmla="*/ 0 w 64"/>
                    <a:gd name="T17" fmla="*/ 30 h 63"/>
                    <a:gd name="T18" fmla="*/ 9 w 64"/>
                    <a:gd name="T19" fmla="*/ 24 h 63"/>
                    <a:gd name="T20" fmla="*/ 12 w 64"/>
                    <a:gd name="T21" fmla="*/ 18 h 63"/>
                    <a:gd name="T22" fmla="*/ 12 w 64"/>
                    <a:gd name="T23" fmla="*/ 18 h 63"/>
                    <a:gd name="T24" fmla="*/ 19 w 64"/>
                    <a:gd name="T25" fmla="*/ 1 h 63"/>
                    <a:gd name="T26" fmla="*/ 19 w 64"/>
                    <a:gd name="T27" fmla="*/ 1 h 63"/>
                    <a:gd name="T28" fmla="*/ 29 w 64"/>
                    <a:gd name="T29" fmla="*/ 0 h 63"/>
                    <a:gd name="T30" fmla="*/ 29 w 64"/>
                    <a:gd name="T31" fmla="*/ 0 h 63"/>
                    <a:gd name="T32" fmla="*/ 30 w 64"/>
                    <a:gd name="T33" fmla="*/ 0 h 63"/>
                    <a:gd name="T34" fmla="*/ 32 w 64"/>
                    <a:gd name="T35" fmla="*/ 1 h 63"/>
                    <a:gd name="T36" fmla="*/ 33 w 64"/>
                    <a:gd name="T37" fmla="*/ 5 h 63"/>
                    <a:gd name="T38" fmla="*/ 35 w 64"/>
                    <a:gd name="T39" fmla="*/ 11 h 63"/>
                    <a:gd name="T40" fmla="*/ 36 w 64"/>
                    <a:gd name="T41" fmla="*/ 14 h 63"/>
                    <a:gd name="T42" fmla="*/ 36 w 64"/>
                    <a:gd name="T43" fmla="*/ 14 h 63"/>
                    <a:gd name="T44" fmla="*/ 36 w 64"/>
                    <a:gd name="T45" fmla="*/ 14 h 63"/>
                    <a:gd name="T46" fmla="*/ 36 w 64"/>
                    <a:gd name="T47" fmla="*/ 14 h 63"/>
                    <a:gd name="T48" fmla="*/ 36 w 64"/>
                    <a:gd name="T49" fmla="*/ 16 h 63"/>
                    <a:gd name="T50" fmla="*/ 36 w 64"/>
                    <a:gd name="T51" fmla="*/ 16 h 63"/>
                    <a:gd name="T52" fmla="*/ 36 w 64"/>
                    <a:gd name="T53" fmla="*/ 16 h 63"/>
                    <a:gd name="T54" fmla="*/ 36 w 64"/>
                    <a:gd name="T55" fmla="*/ 16 h 63"/>
                    <a:gd name="T56" fmla="*/ 38 w 64"/>
                    <a:gd name="T57" fmla="*/ 16 h 63"/>
                    <a:gd name="T58" fmla="*/ 38 w 64"/>
                    <a:gd name="T59" fmla="*/ 16 h 63"/>
                    <a:gd name="T60" fmla="*/ 40 w 64"/>
                    <a:gd name="T61" fmla="*/ 17 h 63"/>
                    <a:gd name="T62" fmla="*/ 46 w 64"/>
                    <a:gd name="T63" fmla="*/ 17 h 63"/>
                    <a:gd name="T64" fmla="*/ 46 w 64"/>
                    <a:gd name="T65" fmla="*/ 17 h 63"/>
                    <a:gd name="T66" fmla="*/ 46 w 64"/>
                    <a:gd name="T67" fmla="*/ 17 h 63"/>
                    <a:gd name="T68" fmla="*/ 46 w 64"/>
                    <a:gd name="T69" fmla="*/ 17 h 63"/>
                    <a:gd name="T70" fmla="*/ 51 w 64"/>
                    <a:gd name="T71" fmla="*/ 17 h 63"/>
                    <a:gd name="T72" fmla="*/ 51 w 64"/>
                    <a:gd name="T73" fmla="*/ 17 h 63"/>
                    <a:gd name="T74" fmla="*/ 43 w 64"/>
                    <a:gd name="T75" fmla="*/ 24 h 63"/>
                    <a:gd name="T76" fmla="*/ 43 w 64"/>
                    <a:gd name="T77" fmla="*/ 24 h 63"/>
                    <a:gd name="T78" fmla="*/ 42 w 64"/>
                    <a:gd name="T79" fmla="*/ 27 h 63"/>
                    <a:gd name="T80" fmla="*/ 42 w 64"/>
                    <a:gd name="T81" fmla="*/ 27 h 63"/>
                    <a:gd name="T82" fmla="*/ 43 w 64"/>
                    <a:gd name="T83" fmla="*/ 29 h 63"/>
                    <a:gd name="T84" fmla="*/ 46 w 64"/>
                    <a:gd name="T85" fmla="*/ 29 h 63"/>
                    <a:gd name="T86" fmla="*/ 51 w 64"/>
                    <a:gd name="T87" fmla="*/ 30 h 63"/>
                    <a:gd name="T88" fmla="*/ 54 w 64"/>
                    <a:gd name="T89" fmla="*/ 33 h 63"/>
                    <a:gd name="T90" fmla="*/ 54 w 64"/>
                    <a:gd name="T91" fmla="*/ 33 h 63"/>
                    <a:gd name="T92" fmla="*/ 61 w 64"/>
                    <a:gd name="T93" fmla="*/ 40 h 63"/>
                    <a:gd name="T94" fmla="*/ 62 w 64"/>
                    <a:gd name="T95" fmla="*/ 43 h 63"/>
                    <a:gd name="T96" fmla="*/ 64 w 64"/>
                    <a:gd name="T97" fmla="*/ 46 h 63"/>
                    <a:gd name="T98" fmla="*/ 64 w 64"/>
                    <a:gd name="T99" fmla="*/ 46 h 63"/>
                    <a:gd name="T100" fmla="*/ 62 w 64"/>
                    <a:gd name="T101" fmla="*/ 49 h 63"/>
                    <a:gd name="T102" fmla="*/ 62 w 64"/>
                    <a:gd name="T103" fmla="*/ 49 h 63"/>
                    <a:gd name="T104" fmla="*/ 61 w 64"/>
                    <a:gd name="T105" fmla="*/ 53 h 63"/>
                    <a:gd name="T106" fmla="*/ 59 w 64"/>
                    <a:gd name="T107" fmla="*/ 59 h 63"/>
                    <a:gd name="T108" fmla="*/ 59 w 64"/>
                    <a:gd name="T109" fmla="*/ 59 h 63"/>
                    <a:gd name="T110" fmla="*/ 61 w 64"/>
                    <a:gd name="T111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64" h="63">
                      <a:moveTo>
                        <a:pt x="61" y="63"/>
                      </a:moveTo>
                      <a:lnTo>
                        <a:pt x="61" y="63"/>
                      </a:lnTo>
                      <a:lnTo>
                        <a:pt x="46" y="59"/>
                      </a:lnTo>
                      <a:lnTo>
                        <a:pt x="35" y="53"/>
                      </a:lnTo>
                      <a:lnTo>
                        <a:pt x="35" y="53"/>
                      </a:lnTo>
                      <a:lnTo>
                        <a:pt x="1" y="30"/>
                      </a:lnTo>
                      <a:lnTo>
                        <a:pt x="1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9" y="24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9" y="1"/>
                      </a:lnTo>
                      <a:lnTo>
                        <a:pt x="19" y="1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30" y="0"/>
                      </a:lnTo>
                      <a:lnTo>
                        <a:pt x="32" y="1"/>
                      </a:lnTo>
                      <a:lnTo>
                        <a:pt x="33" y="5"/>
                      </a:lnTo>
                      <a:lnTo>
                        <a:pt x="35" y="11"/>
                      </a:lnTo>
                      <a:lnTo>
                        <a:pt x="36" y="14"/>
                      </a:lnTo>
                      <a:lnTo>
                        <a:pt x="36" y="14"/>
                      </a:lnTo>
                      <a:lnTo>
                        <a:pt x="36" y="14"/>
                      </a:lnTo>
                      <a:lnTo>
                        <a:pt x="36" y="14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8" y="16"/>
                      </a:lnTo>
                      <a:lnTo>
                        <a:pt x="38" y="16"/>
                      </a:lnTo>
                      <a:lnTo>
                        <a:pt x="40" y="17"/>
                      </a:lnTo>
                      <a:lnTo>
                        <a:pt x="46" y="17"/>
                      </a:lnTo>
                      <a:lnTo>
                        <a:pt x="46" y="17"/>
                      </a:lnTo>
                      <a:lnTo>
                        <a:pt x="46" y="17"/>
                      </a:lnTo>
                      <a:lnTo>
                        <a:pt x="46" y="17"/>
                      </a:lnTo>
                      <a:lnTo>
                        <a:pt x="51" y="17"/>
                      </a:lnTo>
                      <a:lnTo>
                        <a:pt x="51" y="17"/>
                      </a:lnTo>
                      <a:lnTo>
                        <a:pt x="43" y="24"/>
                      </a:lnTo>
                      <a:lnTo>
                        <a:pt x="43" y="24"/>
                      </a:lnTo>
                      <a:lnTo>
                        <a:pt x="42" y="27"/>
                      </a:lnTo>
                      <a:lnTo>
                        <a:pt x="42" y="27"/>
                      </a:lnTo>
                      <a:lnTo>
                        <a:pt x="43" y="29"/>
                      </a:lnTo>
                      <a:lnTo>
                        <a:pt x="46" y="29"/>
                      </a:lnTo>
                      <a:lnTo>
                        <a:pt x="51" y="30"/>
                      </a:lnTo>
                      <a:lnTo>
                        <a:pt x="54" y="33"/>
                      </a:lnTo>
                      <a:lnTo>
                        <a:pt x="54" y="33"/>
                      </a:lnTo>
                      <a:lnTo>
                        <a:pt x="61" y="40"/>
                      </a:lnTo>
                      <a:lnTo>
                        <a:pt x="62" y="43"/>
                      </a:lnTo>
                      <a:lnTo>
                        <a:pt x="64" y="46"/>
                      </a:lnTo>
                      <a:lnTo>
                        <a:pt x="64" y="46"/>
                      </a:lnTo>
                      <a:lnTo>
                        <a:pt x="62" y="49"/>
                      </a:lnTo>
                      <a:lnTo>
                        <a:pt x="62" y="49"/>
                      </a:lnTo>
                      <a:lnTo>
                        <a:pt x="61" y="53"/>
                      </a:lnTo>
                      <a:lnTo>
                        <a:pt x="59" y="59"/>
                      </a:lnTo>
                      <a:lnTo>
                        <a:pt x="59" y="59"/>
                      </a:lnTo>
                      <a:lnTo>
                        <a:pt x="61" y="6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73" name="Freeform 626"/>
                <p:cNvSpPr>
                  <a:spLocks noEditPoints="1"/>
                </p:cNvSpPr>
                <p:nvPr/>
              </p:nvSpPr>
              <p:spPr bwMode="auto">
                <a:xfrm>
                  <a:off x="4276211" y="3210298"/>
                  <a:ext cx="21764" cy="41549"/>
                </a:xfrm>
                <a:custGeom>
                  <a:avLst/>
                  <a:gdLst>
                    <a:gd name="T0" fmla="*/ 0 w 22"/>
                    <a:gd name="T1" fmla="*/ 10 h 42"/>
                    <a:gd name="T2" fmla="*/ 0 w 22"/>
                    <a:gd name="T3" fmla="*/ 10 h 42"/>
                    <a:gd name="T4" fmla="*/ 1 w 22"/>
                    <a:gd name="T5" fmla="*/ 7 h 42"/>
                    <a:gd name="T6" fmla="*/ 1 w 22"/>
                    <a:gd name="T7" fmla="*/ 7 h 42"/>
                    <a:gd name="T8" fmla="*/ 9 w 22"/>
                    <a:gd name="T9" fmla="*/ 0 h 42"/>
                    <a:gd name="T10" fmla="*/ 9 w 22"/>
                    <a:gd name="T11" fmla="*/ 0 h 42"/>
                    <a:gd name="T12" fmla="*/ 9 w 22"/>
                    <a:gd name="T13" fmla="*/ 0 h 42"/>
                    <a:gd name="T14" fmla="*/ 1 w 22"/>
                    <a:gd name="T15" fmla="*/ 7 h 42"/>
                    <a:gd name="T16" fmla="*/ 1 w 22"/>
                    <a:gd name="T17" fmla="*/ 7 h 42"/>
                    <a:gd name="T18" fmla="*/ 0 w 22"/>
                    <a:gd name="T19" fmla="*/ 10 h 42"/>
                    <a:gd name="T20" fmla="*/ 17 w 22"/>
                    <a:gd name="T21" fmla="*/ 42 h 42"/>
                    <a:gd name="T22" fmla="*/ 17 w 22"/>
                    <a:gd name="T23" fmla="*/ 42 h 42"/>
                    <a:gd name="T24" fmla="*/ 19 w 22"/>
                    <a:gd name="T25" fmla="*/ 36 h 42"/>
                    <a:gd name="T26" fmla="*/ 20 w 22"/>
                    <a:gd name="T27" fmla="*/ 32 h 42"/>
                    <a:gd name="T28" fmla="*/ 20 w 22"/>
                    <a:gd name="T29" fmla="*/ 32 h 42"/>
                    <a:gd name="T30" fmla="*/ 22 w 22"/>
                    <a:gd name="T31" fmla="*/ 29 h 42"/>
                    <a:gd name="T32" fmla="*/ 22 w 22"/>
                    <a:gd name="T33" fmla="*/ 29 h 42"/>
                    <a:gd name="T34" fmla="*/ 20 w 22"/>
                    <a:gd name="T35" fmla="*/ 32 h 42"/>
                    <a:gd name="T36" fmla="*/ 20 w 22"/>
                    <a:gd name="T37" fmla="*/ 32 h 42"/>
                    <a:gd name="T38" fmla="*/ 19 w 22"/>
                    <a:gd name="T39" fmla="*/ 36 h 42"/>
                    <a:gd name="T40" fmla="*/ 17 w 22"/>
                    <a:gd name="T41" fmla="*/ 42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2" h="42">
                      <a:moveTo>
                        <a:pt x="0" y="10"/>
                      </a:moveTo>
                      <a:lnTo>
                        <a:pt x="0" y="10"/>
                      </a:lnTo>
                      <a:lnTo>
                        <a:pt x="1" y="7"/>
                      </a:lnTo>
                      <a:lnTo>
                        <a:pt x="1" y="7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1" y="7"/>
                      </a:lnTo>
                      <a:lnTo>
                        <a:pt x="1" y="7"/>
                      </a:lnTo>
                      <a:lnTo>
                        <a:pt x="0" y="10"/>
                      </a:lnTo>
                      <a:close/>
                      <a:moveTo>
                        <a:pt x="17" y="42"/>
                      </a:moveTo>
                      <a:lnTo>
                        <a:pt x="17" y="42"/>
                      </a:lnTo>
                      <a:lnTo>
                        <a:pt x="19" y="36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2" y="29"/>
                      </a:lnTo>
                      <a:lnTo>
                        <a:pt x="22" y="29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19" y="36"/>
                      </a:lnTo>
                      <a:lnTo>
                        <a:pt x="17" y="4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74" name="Freeform 627"/>
                <p:cNvSpPr>
                  <a:spLocks/>
                </p:cNvSpPr>
                <p:nvPr/>
              </p:nvSpPr>
              <p:spPr bwMode="auto">
                <a:xfrm>
                  <a:off x="4276211" y="3210298"/>
                  <a:ext cx="8903" cy="9893"/>
                </a:xfrm>
                <a:custGeom>
                  <a:avLst/>
                  <a:gdLst>
                    <a:gd name="T0" fmla="*/ 0 w 9"/>
                    <a:gd name="T1" fmla="*/ 10 h 10"/>
                    <a:gd name="T2" fmla="*/ 0 w 9"/>
                    <a:gd name="T3" fmla="*/ 10 h 10"/>
                    <a:gd name="T4" fmla="*/ 1 w 9"/>
                    <a:gd name="T5" fmla="*/ 7 h 10"/>
                    <a:gd name="T6" fmla="*/ 1 w 9"/>
                    <a:gd name="T7" fmla="*/ 7 h 10"/>
                    <a:gd name="T8" fmla="*/ 9 w 9"/>
                    <a:gd name="T9" fmla="*/ 0 h 10"/>
                    <a:gd name="T10" fmla="*/ 9 w 9"/>
                    <a:gd name="T11" fmla="*/ 0 h 10"/>
                    <a:gd name="T12" fmla="*/ 9 w 9"/>
                    <a:gd name="T13" fmla="*/ 0 h 10"/>
                    <a:gd name="T14" fmla="*/ 1 w 9"/>
                    <a:gd name="T15" fmla="*/ 7 h 10"/>
                    <a:gd name="T16" fmla="*/ 1 w 9"/>
                    <a:gd name="T17" fmla="*/ 7 h 10"/>
                    <a:gd name="T18" fmla="*/ 0 w 9"/>
                    <a:gd name="T19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" h="10">
                      <a:moveTo>
                        <a:pt x="0" y="10"/>
                      </a:moveTo>
                      <a:lnTo>
                        <a:pt x="0" y="10"/>
                      </a:lnTo>
                      <a:lnTo>
                        <a:pt x="1" y="7"/>
                      </a:lnTo>
                      <a:lnTo>
                        <a:pt x="1" y="7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1" y="7"/>
                      </a:lnTo>
                      <a:lnTo>
                        <a:pt x="1" y="7"/>
                      </a:lnTo>
                      <a:lnTo>
                        <a:pt x="0" y="1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75" name="Freeform 628"/>
                <p:cNvSpPr>
                  <a:spLocks/>
                </p:cNvSpPr>
                <p:nvPr/>
              </p:nvSpPr>
              <p:spPr bwMode="auto">
                <a:xfrm>
                  <a:off x="4293028" y="3238987"/>
                  <a:ext cx="4946" cy="12860"/>
                </a:xfrm>
                <a:custGeom>
                  <a:avLst/>
                  <a:gdLst>
                    <a:gd name="T0" fmla="*/ 0 w 5"/>
                    <a:gd name="T1" fmla="*/ 13 h 13"/>
                    <a:gd name="T2" fmla="*/ 0 w 5"/>
                    <a:gd name="T3" fmla="*/ 13 h 13"/>
                    <a:gd name="T4" fmla="*/ 2 w 5"/>
                    <a:gd name="T5" fmla="*/ 7 h 13"/>
                    <a:gd name="T6" fmla="*/ 3 w 5"/>
                    <a:gd name="T7" fmla="*/ 3 h 13"/>
                    <a:gd name="T8" fmla="*/ 3 w 5"/>
                    <a:gd name="T9" fmla="*/ 3 h 13"/>
                    <a:gd name="T10" fmla="*/ 5 w 5"/>
                    <a:gd name="T11" fmla="*/ 0 h 13"/>
                    <a:gd name="T12" fmla="*/ 5 w 5"/>
                    <a:gd name="T13" fmla="*/ 0 h 13"/>
                    <a:gd name="T14" fmla="*/ 3 w 5"/>
                    <a:gd name="T15" fmla="*/ 3 h 13"/>
                    <a:gd name="T16" fmla="*/ 3 w 5"/>
                    <a:gd name="T17" fmla="*/ 3 h 13"/>
                    <a:gd name="T18" fmla="*/ 2 w 5"/>
                    <a:gd name="T19" fmla="*/ 7 h 13"/>
                    <a:gd name="T20" fmla="*/ 0 w 5"/>
                    <a:gd name="T21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13">
                      <a:moveTo>
                        <a:pt x="0" y="13"/>
                      </a:moveTo>
                      <a:lnTo>
                        <a:pt x="0" y="13"/>
                      </a:lnTo>
                      <a:lnTo>
                        <a:pt x="2" y="7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2" y="7"/>
                      </a:lnTo>
                      <a:lnTo>
                        <a:pt x="0" y="1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76" name="Freeform 629"/>
                <p:cNvSpPr>
                  <a:spLocks noEditPoints="1"/>
                </p:cNvSpPr>
                <p:nvPr/>
              </p:nvSpPr>
              <p:spPr bwMode="auto">
                <a:xfrm>
                  <a:off x="4253458" y="3193481"/>
                  <a:ext cx="31656" cy="16817"/>
                </a:xfrm>
                <a:custGeom>
                  <a:avLst/>
                  <a:gdLst>
                    <a:gd name="T0" fmla="*/ 0 w 32"/>
                    <a:gd name="T1" fmla="*/ 1 h 17"/>
                    <a:gd name="T2" fmla="*/ 0 w 32"/>
                    <a:gd name="T3" fmla="*/ 1 h 17"/>
                    <a:gd name="T4" fmla="*/ 0 w 32"/>
                    <a:gd name="T5" fmla="*/ 0 h 17"/>
                    <a:gd name="T6" fmla="*/ 0 w 32"/>
                    <a:gd name="T7" fmla="*/ 0 h 17"/>
                    <a:gd name="T8" fmla="*/ 10 w 32"/>
                    <a:gd name="T9" fmla="*/ 0 h 17"/>
                    <a:gd name="T10" fmla="*/ 10 w 32"/>
                    <a:gd name="T11" fmla="*/ 0 h 17"/>
                    <a:gd name="T12" fmla="*/ 0 w 32"/>
                    <a:gd name="T13" fmla="*/ 1 h 17"/>
                    <a:gd name="T14" fmla="*/ 17 w 32"/>
                    <a:gd name="T15" fmla="*/ 16 h 17"/>
                    <a:gd name="T16" fmla="*/ 17 w 32"/>
                    <a:gd name="T17" fmla="*/ 16 h 17"/>
                    <a:gd name="T18" fmla="*/ 17 w 32"/>
                    <a:gd name="T19" fmla="*/ 14 h 17"/>
                    <a:gd name="T20" fmla="*/ 17 w 32"/>
                    <a:gd name="T21" fmla="*/ 14 h 17"/>
                    <a:gd name="T22" fmla="*/ 17 w 32"/>
                    <a:gd name="T23" fmla="*/ 16 h 17"/>
                    <a:gd name="T24" fmla="*/ 19 w 32"/>
                    <a:gd name="T25" fmla="*/ 16 h 17"/>
                    <a:gd name="T26" fmla="*/ 19 w 32"/>
                    <a:gd name="T27" fmla="*/ 16 h 17"/>
                    <a:gd name="T28" fmla="*/ 17 w 32"/>
                    <a:gd name="T29" fmla="*/ 16 h 17"/>
                    <a:gd name="T30" fmla="*/ 17 w 32"/>
                    <a:gd name="T31" fmla="*/ 16 h 17"/>
                    <a:gd name="T32" fmla="*/ 19 w 32"/>
                    <a:gd name="T33" fmla="*/ 16 h 17"/>
                    <a:gd name="T34" fmla="*/ 27 w 32"/>
                    <a:gd name="T35" fmla="*/ 17 h 17"/>
                    <a:gd name="T36" fmla="*/ 27 w 32"/>
                    <a:gd name="T37" fmla="*/ 17 h 17"/>
                    <a:gd name="T38" fmla="*/ 32 w 32"/>
                    <a:gd name="T39" fmla="*/ 17 h 17"/>
                    <a:gd name="T40" fmla="*/ 32 w 32"/>
                    <a:gd name="T41" fmla="*/ 17 h 17"/>
                    <a:gd name="T42" fmla="*/ 27 w 32"/>
                    <a:gd name="T43" fmla="*/ 17 h 17"/>
                    <a:gd name="T44" fmla="*/ 27 w 32"/>
                    <a:gd name="T45" fmla="*/ 17 h 17"/>
                    <a:gd name="T46" fmla="*/ 27 w 32"/>
                    <a:gd name="T47" fmla="*/ 17 h 17"/>
                    <a:gd name="T48" fmla="*/ 27 w 32"/>
                    <a:gd name="T4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32" h="17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0" y="1"/>
                      </a:lnTo>
                      <a:close/>
                      <a:moveTo>
                        <a:pt x="17" y="16"/>
                      </a:moveTo>
                      <a:lnTo>
                        <a:pt x="17" y="16"/>
                      </a:lnTo>
                      <a:lnTo>
                        <a:pt x="17" y="14"/>
                      </a:lnTo>
                      <a:lnTo>
                        <a:pt x="17" y="14"/>
                      </a:lnTo>
                      <a:lnTo>
                        <a:pt x="17" y="16"/>
                      </a:lnTo>
                      <a:close/>
                      <a:moveTo>
                        <a:pt x="19" y="16"/>
                      </a:moveTo>
                      <a:lnTo>
                        <a:pt x="19" y="16"/>
                      </a:lnTo>
                      <a:lnTo>
                        <a:pt x="17" y="16"/>
                      </a:lnTo>
                      <a:lnTo>
                        <a:pt x="17" y="16"/>
                      </a:lnTo>
                      <a:lnTo>
                        <a:pt x="19" y="16"/>
                      </a:lnTo>
                      <a:close/>
                      <a:moveTo>
                        <a:pt x="27" y="17"/>
                      </a:moveTo>
                      <a:lnTo>
                        <a:pt x="27" y="17"/>
                      </a:lnTo>
                      <a:lnTo>
                        <a:pt x="32" y="17"/>
                      </a:lnTo>
                      <a:lnTo>
                        <a:pt x="32" y="17"/>
                      </a:lnTo>
                      <a:lnTo>
                        <a:pt x="27" y="17"/>
                      </a:lnTo>
                      <a:close/>
                      <a:moveTo>
                        <a:pt x="27" y="17"/>
                      </a:moveTo>
                      <a:lnTo>
                        <a:pt x="27" y="17"/>
                      </a:lnTo>
                      <a:lnTo>
                        <a:pt x="27" y="1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77" name="Freeform 630"/>
                <p:cNvSpPr>
                  <a:spLocks/>
                </p:cNvSpPr>
                <p:nvPr/>
              </p:nvSpPr>
              <p:spPr bwMode="auto">
                <a:xfrm>
                  <a:off x="4253458" y="3193481"/>
                  <a:ext cx="9893" cy="989"/>
                </a:xfrm>
                <a:custGeom>
                  <a:avLst/>
                  <a:gdLst>
                    <a:gd name="T0" fmla="*/ 0 w 10"/>
                    <a:gd name="T1" fmla="*/ 1 h 1"/>
                    <a:gd name="T2" fmla="*/ 0 w 10"/>
                    <a:gd name="T3" fmla="*/ 1 h 1"/>
                    <a:gd name="T4" fmla="*/ 0 w 10"/>
                    <a:gd name="T5" fmla="*/ 0 h 1"/>
                    <a:gd name="T6" fmla="*/ 0 w 10"/>
                    <a:gd name="T7" fmla="*/ 0 h 1"/>
                    <a:gd name="T8" fmla="*/ 10 w 10"/>
                    <a:gd name="T9" fmla="*/ 0 h 1"/>
                    <a:gd name="T10" fmla="*/ 10 w 10"/>
                    <a:gd name="T11" fmla="*/ 0 h 1"/>
                    <a:gd name="T12" fmla="*/ 0 w 10"/>
                    <a:gd name="T1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1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78" name="Rectangle 631"/>
                <p:cNvSpPr>
                  <a:spLocks noChangeArrowheads="1"/>
                </p:cNvSpPr>
                <p:nvPr/>
              </p:nvSpPr>
              <p:spPr bwMode="auto">
                <a:xfrm>
                  <a:off x="4270275" y="3207330"/>
                  <a:ext cx="989" cy="197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79" name="Rectangle 632"/>
                <p:cNvSpPr>
                  <a:spLocks noChangeArrowheads="1"/>
                </p:cNvSpPr>
                <p:nvPr/>
              </p:nvSpPr>
              <p:spPr bwMode="auto">
                <a:xfrm>
                  <a:off x="4270275" y="3209309"/>
                  <a:ext cx="197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80" name="Rectangle 633"/>
                <p:cNvSpPr>
                  <a:spLocks noChangeArrowheads="1"/>
                </p:cNvSpPr>
                <p:nvPr/>
              </p:nvSpPr>
              <p:spPr bwMode="auto">
                <a:xfrm>
                  <a:off x="4280168" y="3210298"/>
                  <a:ext cx="4946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81" name="Freeform 634"/>
                <p:cNvSpPr>
                  <a:spLocks/>
                </p:cNvSpPr>
                <p:nvPr/>
              </p:nvSpPr>
              <p:spPr bwMode="auto">
                <a:xfrm>
                  <a:off x="4280168" y="321029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82" name="Freeform 635"/>
                <p:cNvSpPr>
                  <a:spLocks/>
                </p:cNvSpPr>
                <p:nvPr/>
              </p:nvSpPr>
              <p:spPr bwMode="auto">
                <a:xfrm>
                  <a:off x="4886584" y="3337913"/>
                  <a:ext cx="173120" cy="179056"/>
                </a:xfrm>
                <a:custGeom>
                  <a:avLst/>
                  <a:gdLst>
                    <a:gd name="T0" fmla="*/ 168 w 175"/>
                    <a:gd name="T1" fmla="*/ 145 h 181"/>
                    <a:gd name="T2" fmla="*/ 159 w 175"/>
                    <a:gd name="T3" fmla="*/ 129 h 181"/>
                    <a:gd name="T4" fmla="*/ 159 w 175"/>
                    <a:gd name="T5" fmla="*/ 100 h 181"/>
                    <a:gd name="T6" fmla="*/ 153 w 175"/>
                    <a:gd name="T7" fmla="*/ 84 h 181"/>
                    <a:gd name="T8" fmla="*/ 153 w 175"/>
                    <a:gd name="T9" fmla="*/ 72 h 181"/>
                    <a:gd name="T10" fmla="*/ 159 w 175"/>
                    <a:gd name="T11" fmla="*/ 59 h 181"/>
                    <a:gd name="T12" fmla="*/ 136 w 175"/>
                    <a:gd name="T13" fmla="*/ 42 h 181"/>
                    <a:gd name="T14" fmla="*/ 129 w 175"/>
                    <a:gd name="T15" fmla="*/ 35 h 181"/>
                    <a:gd name="T16" fmla="*/ 77 w 175"/>
                    <a:gd name="T17" fmla="*/ 7 h 181"/>
                    <a:gd name="T18" fmla="*/ 80 w 175"/>
                    <a:gd name="T19" fmla="*/ 10 h 181"/>
                    <a:gd name="T20" fmla="*/ 80 w 175"/>
                    <a:gd name="T21" fmla="*/ 17 h 181"/>
                    <a:gd name="T22" fmla="*/ 71 w 175"/>
                    <a:gd name="T23" fmla="*/ 19 h 181"/>
                    <a:gd name="T24" fmla="*/ 64 w 175"/>
                    <a:gd name="T25" fmla="*/ 29 h 181"/>
                    <a:gd name="T26" fmla="*/ 49 w 175"/>
                    <a:gd name="T27" fmla="*/ 35 h 181"/>
                    <a:gd name="T28" fmla="*/ 38 w 175"/>
                    <a:gd name="T29" fmla="*/ 29 h 181"/>
                    <a:gd name="T30" fmla="*/ 38 w 175"/>
                    <a:gd name="T31" fmla="*/ 20 h 181"/>
                    <a:gd name="T32" fmla="*/ 39 w 175"/>
                    <a:gd name="T33" fmla="*/ 9 h 181"/>
                    <a:gd name="T34" fmla="*/ 32 w 175"/>
                    <a:gd name="T35" fmla="*/ 0 h 181"/>
                    <a:gd name="T36" fmla="*/ 25 w 175"/>
                    <a:gd name="T37" fmla="*/ 3 h 181"/>
                    <a:gd name="T38" fmla="*/ 19 w 175"/>
                    <a:gd name="T39" fmla="*/ 22 h 181"/>
                    <a:gd name="T40" fmla="*/ 22 w 175"/>
                    <a:gd name="T41" fmla="*/ 42 h 181"/>
                    <a:gd name="T42" fmla="*/ 14 w 175"/>
                    <a:gd name="T43" fmla="*/ 51 h 181"/>
                    <a:gd name="T44" fmla="*/ 0 w 175"/>
                    <a:gd name="T45" fmla="*/ 56 h 181"/>
                    <a:gd name="T46" fmla="*/ 3 w 175"/>
                    <a:gd name="T47" fmla="*/ 65 h 181"/>
                    <a:gd name="T48" fmla="*/ 7 w 175"/>
                    <a:gd name="T49" fmla="*/ 88 h 181"/>
                    <a:gd name="T50" fmla="*/ 14 w 175"/>
                    <a:gd name="T51" fmla="*/ 104 h 181"/>
                    <a:gd name="T52" fmla="*/ 19 w 175"/>
                    <a:gd name="T53" fmla="*/ 114 h 181"/>
                    <a:gd name="T54" fmla="*/ 30 w 175"/>
                    <a:gd name="T55" fmla="*/ 124 h 181"/>
                    <a:gd name="T56" fmla="*/ 46 w 175"/>
                    <a:gd name="T57" fmla="*/ 135 h 181"/>
                    <a:gd name="T58" fmla="*/ 64 w 175"/>
                    <a:gd name="T59" fmla="*/ 145 h 181"/>
                    <a:gd name="T60" fmla="*/ 72 w 175"/>
                    <a:gd name="T61" fmla="*/ 143 h 181"/>
                    <a:gd name="T62" fmla="*/ 74 w 175"/>
                    <a:gd name="T63" fmla="*/ 148 h 181"/>
                    <a:gd name="T64" fmla="*/ 77 w 175"/>
                    <a:gd name="T65" fmla="*/ 172 h 181"/>
                    <a:gd name="T66" fmla="*/ 81 w 175"/>
                    <a:gd name="T67" fmla="*/ 171 h 181"/>
                    <a:gd name="T68" fmla="*/ 82 w 175"/>
                    <a:gd name="T69" fmla="*/ 171 h 181"/>
                    <a:gd name="T70" fmla="*/ 95 w 175"/>
                    <a:gd name="T71" fmla="*/ 175 h 181"/>
                    <a:gd name="T72" fmla="*/ 106 w 175"/>
                    <a:gd name="T73" fmla="*/ 175 h 181"/>
                    <a:gd name="T74" fmla="*/ 119 w 175"/>
                    <a:gd name="T75" fmla="*/ 181 h 181"/>
                    <a:gd name="T76" fmla="*/ 122 w 175"/>
                    <a:gd name="T77" fmla="*/ 179 h 181"/>
                    <a:gd name="T78" fmla="*/ 130 w 175"/>
                    <a:gd name="T79" fmla="*/ 178 h 181"/>
                    <a:gd name="T80" fmla="*/ 136 w 175"/>
                    <a:gd name="T81" fmla="*/ 175 h 181"/>
                    <a:gd name="T82" fmla="*/ 139 w 175"/>
                    <a:gd name="T83" fmla="*/ 171 h 181"/>
                    <a:gd name="T84" fmla="*/ 142 w 175"/>
                    <a:gd name="T85" fmla="*/ 168 h 181"/>
                    <a:gd name="T86" fmla="*/ 151 w 175"/>
                    <a:gd name="T87" fmla="*/ 168 h 181"/>
                    <a:gd name="T88" fmla="*/ 175 w 175"/>
                    <a:gd name="T89" fmla="*/ 156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75" h="181">
                      <a:moveTo>
                        <a:pt x="174" y="155"/>
                      </a:moveTo>
                      <a:lnTo>
                        <a:pt x="174" y="155"/>
                      </a:lnTo>
                      <a:lnTo>
                        <a:pt x="168" y="145"/>
                      </a:lnTo>
                      <a:lnTo>
                        <a:pt x="161" y="136"/>
                      </a:lnTo>
                      <a:lnTo>
                        <a:pt x="161" y="136"/>
                      </a:lnTo>
                      <a:lnTo>
                        <a:pt x="159" y="129"/>
                      </a:lnTo>
                      <a:lnTo>
                        <a:pt x="159" y="117"/>
                      </a:lnTo>
                      <a:lnTo>
                        <a:pt x="159" y="100"/>
                      </a:lnTo>
                      <a:lnTo>
                        <a:pt x="159" y="100"/>
                      </a:lnTo>
                      <a:lnTo>
                        <a:pt x="158" y="95"/>
                      </a:lnTo>
                      <a:lnTo>
                        <a:pt x="156" y="90"/>
                      </a:lnTo>
                      <a:lnTo>
                        <a:pt x="153" y="84"/>
                      </a:lnTo>
                      <a:lnTo>
                        <a:pt x="153" y="80"/>
                      </a:lnTo>
                      <a:lnTo>
                        <a:pt x="153" y="80"/>
                      </a:lnTo>
                      <a:lnTo>
                        <a:pt x="153" y="72"/>
                      </a:lnTo>
                      <a:lnTo>
                        <a:pt x="155" y="68"/>
                      </a:lnTo>
                      <a:lnTo>
                        <a:pt x="155" y="68"/>
                      </a:lnTo>
                      <a:lnTo>
                        <a:pt x="159" y="59"/>
                      </a:lnTo>
                      <a:lnTo>
                        <a:pt x="159" y="59"/>
                      </a:lnTo>
                      <a:lnTo>
                        <a:pt x="143" y="48"/>
                      </a:lnTo>
                      <a:lnTo>
                        <a:pt x="136" y="42"/>
                      </a:lnTo>
                      <a:lnTo>
                        <a:pt x="132" y="38"/>
                      </a:lnTo>
                      <a:lnTo>
                        <a:pt x="132" y="38"/>
                      </a:lnTo>
                      <a:lnTo>
                        <a:pt x="129" y="35"/>
                      </a:lnTo>
                      <a:lnTo>
                        <a:pt x="123" y="32"/>
                      </a:lnTo>
                      <a:lnTo>
                        <a:pt x="109" y="23"/>
                      </a:lnTo>
                      <a:lnTo>
                        <a:pt x="77" y="7"/>
                      </a:lnTo>
                      <a:lnTo>
                        <a:pt x="77" y="7"/>
                      </a:lnTo>
                      <a:lnTo>
                        <a:pt x="80" y="10"/>
                      </a:lnTo>
                      <a:lnTo>
                        <a:pt x="80" y="10"/>
                      </a:lnTo>
                      <a:lnTo>
                        <a:pt x="81" y="14"/>
                      </a:lnTo>
                      <a:lnTo>
                        <a:pt x="81" y="16"/>
                      </a:lnTo>
                      <a:lnTo>
                        <a:pt x="80" y="17"/>
                      </a:lnTo>
                      <a:lnTo>
                        <a:pt x="75" y="19"/>
                      </a:lnTo>
                      <a:lnTo>
                        <a:pt x="75" y="19"/>
                      </a:lnTo>
                      <a:lnTo>
                        <a:pt x="71" y="19"/>
                      </a:lnTo>
                      <a:lnTo>
                        <a:pt x="68" y="22"/>
                      </a:lnTo>
                      <a:lnTo>
                        <a:pt x="64" y="29"/>
                      </a:lnTo>
                      <a:lnTo>
                        <a:pt x="64" y="29"/>
                      </a:lnTo>
                      <a:lnTo>
                        <a:pt x="61" y="32"/>
                      </a:lnTo>
                      <a:lnTo>
                        <a:pt x="58" y="33"/>
                      </a:lnTo>
                      <a:lnTo>
                        <a:pt x="49" y="35"/>
                      </a:lnTo>
                      <a:lnTo>
                        <a:pt x="42" y="33"/>
                      </a:lnTo>
                      <a:lnTo>
                        <a:pt x="39" y="32"/>
                      </a:lnTo>
                      <a:lnTo>
                        <a:pt x="38" y="29"/>
                      </a:lnTo>
                      <a:lnTo>
                        <a:pt x="38" y="29"/>
                      </a:lnTo>
                      <a:lnTo>
                        <a:pt x="38" y="24"/>
                      </a:lnTo>
                      <a:lnTo>
                        <a:pt x="38" y="20"/>
                      </a:lnTo>
                      <a:lnTo>
                        <a:pt x="39" y="16"/>
                      </a:lnTo>
                      <a:lnTo>
                        <a:pt x="39" y="9"/>
                      </a:lnTo>
                      <a:lnTo>
                        <a:pt x="39" y="9"/>
                      </a:lnTo>
                      <a:lnTo>
                        <a:pt x="39" y="0"/>
                      </a:lnTo>
                      <a:lnTo>
                        <a:pt x="39" y="0"/>
                      </a:lnTo>
                      <a:lnTo>
                        <a:pt x="32" y="0"/>
                      </a:lnTo>
                      <a:lnTo>
                        <a:pt x="29" y="1"/>
                      </a:lnTo>
                      <a:lnTo>
                        <a:pt x="25" y="3"/>
                      </a:lnTo>
                      <a:lnTo>
                        <a:pt x="25" y="3"/>
                      </a:lnTo>
                      <a:lnTo>
                        <a:pt x="16" y="7"/>
                      </a:lnTo>
                      <a:lnTo>
                        <a:pt x="16" y="7"/>
                      </a:lnTo>
                      <a:lnTo>
                        <a:pt x="19" y="22"/>
                      </a:lnTo>
                      <a:lnTo>
                        <a:pt x="19" y="22"/>
                      </a:lnTo>
                      <a:lnTo>
                        <a:pt x="22" y="42"/>
                      </a:lnTo>
                      <a:lnTo>
                        <a:pt x="22" y="42"/>
                      </a:lnTo>
                      <a:lnTo>
                        <a:pt x="22" y="45"/>
                      </a:lnTo>
                      <a:lnTo>
                        <a:pt x="20" y="46"/>
                      </a:lnTo>
                      <a:lnTo>
                        <a:pt x="14" y="51"/>
                      </a:lnTo>
                      <a:lnTo>
                        <a:pt x="3" y="53"/>
                      </a:lnTo>
                      <a:lnTo>
                        <a:pt x="3" y="53"/>
                      </a:lnTo>
                      <a:lnTo>
                        <a:pt x="0" y="56"/>
                      </a:lnTo>
                      <a:lnTo>
                        <a:pt x="0" y="56"/>
                      </a:lnTo>
                      <a:lnTo>
                        <a:pt x="3" y="65"/>
                      </a:lnTo>
                      <a:lnTo>
                        <a:pt x="3" y="65"/>
                      </a:lnTo>
                      <a:lnTo>
                        <a:pt x="4" y="77"/>
                      </a:lnTo>
                      <a:lnTo>
                        <a:pt x="7" y="88"/>
                      </a:lnTo>
                      <a:lnTo>
                        <a:pt x="7" y="88"/>
                      </a:lnTo>
                      <a:lnTo>
                        <a:pt x="10" y="94"/>
                      </a:lnTo>
                      <a:lnTo>
                        <a:pt x="13" y="98"/>
                      </a:lnTo>
                      <a:lnTo>
                        <a:pt x="14" y="104"/>
                      </a:lnTo>
                      <a:lnTo>
                        <a:pt x="14" y="104"/>
                      </a:lnTo>
                      <a:lnTo>
                        <a:pt x="16" y="110"/>
                      </a:lnTo>
                      <a:lnTo>
                        <a:pt x="19" y="114"/>
                      </a:lnTo>
                      <a:lnTo>
                        <a:pt x="25" y="123"/>
                      </a:lnTo>
                      <a:lnTo>
                        <a:pt x="25" y="123"/>
                      </a:lnTo>
                      <a:lnTo>
                        <a:pt x="30" y="124"/>
                      </a:lnTo>
                      <a:lnTo>
                        <a:pt x="30" y="124"/>
                      </a:lnTo>
                      <a:lnTo>
                        <a:pt x="38" y="129"/>
                      </a:lnTo>
                      <a:lnTo>
                        <a:pt x="46" y="135"/>
                      </a:lnTo>
                      <a:lnTo>
                        <a:pt x="56" y="142"/>
                      </a:lnTo>
                      <a:lnTo>
                        <a:pt x="64" y="145"/>
                      </a:lnTo>
                      <a:lnTo>
                        <a:pt x="64" y="145"/>
                      </a:lnTo>
                      <a:lnTo>
                        <a:pt x="68" y="143"/>
                      </a:lnTo>
                      <a:lnTo>
                        <a:pt x="68" y="143"/>
                      </a:lnTo>
                      <a:lnTo>
                        <a:pt x="72" y="143"/>
                      </a:lnTo>
                      <a:lnTo>
                        <a:pt x="72" y="145"/>
                      </a:lnTo>
                      <a:lnTo>
                        <a:pt x="74" y="148"/>
                      </a:lnTo>
                      <a:lnTo>
                        <a:pt x="74" y="148"/>
                      </a:lnTo>
                      <a:lnTo>
                        <a:pt x="74" y="162"/>
                      </a:lnTo>
                      <a:lnTo>
                        <a:pt x="75" y="169"/>
                      </a:lnTo>
                      <a:lnTo>
                        <a:pt x="77" y="172"/>
                      </a:lnTo>
                      <a:lnTo>
                        <a:pt x="78" y="174"/>
                      </a:lnTo>
                      <a:lnTo>
                        <a:pt x="78" y="174"/>
                      </a:lnTo>
                      <a:lnTo>
                        <a:pt x="81" y="171"/>
                      </a:lnTo>
                      <a:lnTo>
                        <a:pt x="82" y="169"/>
                      </a:lnTo>
                      <a:lnTo>
                        <a:pt x="82" y="171"/>
                      </a:lnTo>
                      <a:lnTo>
                        <a:pt x="82" y="171"/>
                      </a:lnTo>
                      <a:lnTo>
                        <a:pt x="85" y="175"/>
                      </a:lnTo>
                      <a:lnTo>
                        <a:pt x="85" y="175"/>
                      </a:lnTo>
                      <a:lnTo>
                        <a:pt x="95" y="175"/>
                      </a:lnTo>
                      <a:lnTo>
                        <a:pt x="95" y="175"/>
                      </a:lnTo>
                      <a:lnTo>
                        <a:pt x="106" y="175"/>
                      </a:lnTo>
                      <a:lnTo>
                        <a:pt x="106" y="175"/>
                      </a:lnTo>
                      <a:lnTo>
                        <a:pt x="110" y="177"/>
                      </a:lnTo>
                      <a:lnTo>
                        <a:pt x="114" y="179"/>
                      </a:lnTo>
                      <a:lnTo>
                        <a:pt x="119" y="181"/>
                      </a:lnTo>
                      <a:lnTo>
                        <a:pt x="120" y="179"/>
                      </a:lnTo>
                      <a:lnTo>
                        <a:pt x="122" y="179"/>
                      </a:lnTo>
                      <a:lnTo>
                        <a:pt x="122" y="179"/>
                      </a:lnTo>
                      <a:lnTo>
                        <a:pt x="126" y="178"/>
                      </a:lnTo>
                      <a:lnTo>
                        <a:pt x="130" y="178"/>
                      </a:lnTo>
                      <a:lnTo>
                        <a:pt x="130" y="178"/>
                      </a:lnTo>
                      <a:lnTo>
                        <a:pt x="133" y="178"/>
                      </a:lnTo>
                      <a:lnTo>
                        <a:pt x="135" y="177"/>
                      </a:lnTo>
                      <a:lnTo>
                        <a:pt x="136" y="175"/>
                      </a:lnTo>
                      <a:lnTo>
                        <a:pt x="136" y="175"/>
                      </a:lnTo>
                      <a:lnTo>
                        <a:pt x="137" y="172"/>
                      </a:lnTo>
                      <a:lnTo>
                        <a:pt x="139" y="171"/>
                      </a:lnTo>
                      <a:lnTo>
                        <a:pt x="139" y="169"/>
                      </a:lnTo>
                      <a:lnTo>
                        <a:pt x="142" y="168"/>
                      </a:lnTo>
                      <a:lnTo>
                        <a:pt x="142" y="168"/>
                      </a:lnTo>
                      <a:lnTo>
                        <a:pt x="146" y="168"/>
                      </a:lnTo>
                      <a:lnTo>
                        <a:pt x="146" y="168"/>
                      </a:lnTo>
                      <a:lnTo>
                        <a:pt x="151" y="168"/>
                      </a:lnTo>
                      <a:lnTo>
                        <a:pt x="156" y="166"/>
                      </a:lnTo>
                      <a:lnTo>
                        <a:pt x="165" y="164"/>
                      </a:lnTo>
                      <a:lnTo>
                        <a:pt x="175" y="156"/>
                      </a:lnTo>
                      <a:lnTo>
                        <a:pt x="175" y="156"/>
                      </a:lnTo>
                      <a:lnTo>
                        <a:pt x="174" y="15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83" name="Freeform 636"/>
                <p:cNvSpPr>
                  <a:spLocks/>
                </p:cNvSpPr>
                <p:nvPr/>
              </p:nvSpPr>
              <p:spPr bwMode="auto">
                <a:xfrm>
                  <a:off x="4886584" y="3337913"/>
                  <a:ext cx="173120" cy="179056"/>
                </a:xfrm>
                <a:custGeom>
                  <a:avLst/>
                  <a:gdLst>
                    <a:gd name="T0" fmla="*/ 168 w 175"/>
                    <a:gd name="T1" fmla="*/ 145 h 181"/>
                    <a:gd name="T2" fmla="*/ 159 w 175"/>
                    <a:gd name="T3" fmla="*/ 129 h 181"/>
                    <a:gd name="T4" fmla="*/ 159 w 175"/>
                    <a:gd name="T5" fmla="*/ 100 h 181"/>
                    <a:gd name="T6" fmla="*/ 153 w 175"/>
                    <a:gd name="T7" fmla="*/ 84 h 181"/>
                    <a:gd name="T8" fmla="*/ 153 w 175"/>
                    <a:gd name="T9" fmla="*/ 72 h 181"/>
                    <a:gd name="T10" fmla="*/ 159 w 175"/>
                    <a:gd name="T11" fmla="*/ 59 h 181"/>
                    <a:gd name="T12" fmla="*/ 136 w 175"/>
                    <a:gd name="T13" fmla="*/ 42 h 181"/>
                    <a:gd name="T14" fmla="*/ 129 w 175"/>
                    <a:gd name="T15" fmla="*/ 35 h 181"/>
                    <a:gd name="T16" fmla="*/ 77 w 175"/>
                    <a:gd name="T17" fmla="*/ 7 h 181"/>
                    <a:gd name="T18" fmla="*/ 80 w 175"/>
                    <a:gd name="T19" fmla="*/ 10 h 181"/>
                    <a:gd name="T20" fmla="*/ 80 w 175"/>
                    <a:gd name="T21" fmla="*/ 17 h 181"/>
                    <a:gd name="T22" fmla="*/ 71 w 175"/>
                    <a:gd name="T23" fmla="*/ 19 h 181"/>
                    <a:gd name="T24" fmla="*/ 64 w 175"/>
                    <a:gd name="T25" fmla="*/ 29 h 181"/>
                    <a:gd name="T26" fmla="*/ 49 w 175"/>
                    <a:gd name="T27" fmla="*/ 35 h 181"/>
                    <a:gd name="T28" fmla="*/ 38 w 175"/>
                    <a:gd name="T29" fmla="*/ 29 h 181"/>
                    <a:gd name="T30" fmla="*/ 38 w 175"/>
                    <a:gd name="T31" fmla="*/ 20 h 181"/>
                    <a:gd name="T32" fmla="*/ 39 w 175"/>
                    <a:gd name="T33" fmla="*/ 9 h 181"/>
                    <a:gd name="T34" fmla="*/ 32 w 175"/>
                    <a:gd name="T35" fmla="*/ 0 h 181"/>
                    <a:gd name="T36" fmla="*/ 25 w 175"/>
                    <a:gd name="T37" fmla="*/ 3 h 181"/>
                    <a:gd name="T38" fmla="*/ 19 w 175"/>
                    <a:gd name="T39" fmla="*/ 22 h 181"/>
                    <a:gd name="T40" fmla="*/ 22 w 175"/>
                    <a:gd name="T41" fmla="*/ 42 h 181"/>
                    <a:gd name="T42" fmla="*/ 14 w 175"/>
                    <a:gd name="T43" fmla="*/ 51 h 181"/>
                    <a:gd name="T44" fmla="*/ 0 w 175"/>
                    <a:gd name="T45" fmla="*/ 56 h 181"/>
                    <a:gd name="T46" fmla="*/ 3 w 175"/>
                    <a:gd name="T47" fmla="*/ 65 h 181"/>
                    <a:gd name="T48" fmla="*/ 7 w 175"/>
                    <a:gd name="T49" fmla="*/ 88 h 181"/>
                    <a:gd name="T50" fmla="*/ 14 w 175"/>
                    <a:gd name="T51" fmla="*/ 104 h 181"/>
                    <a:gd name="T52" fmla="*/ 19 w 175"/>
                    <a:gd name="T53" fmla="*/ 114 h 181"/>
                    <a:gd name="T54" fmla="*/ 30 w 175"/>
                    <a:gd name="T55" fmla="*/ 124 h 181"/>
                    <a:gd name="T56" fmla="*/ 46 w 175"/>
                    <a:gd name="T57" fmla="*/ 135 h 181"/>
                    <a:gd name="T58" fmla="*/ 64 w 175"/>
                    <a:gd name="T59" fmla="*/ 145 h 181"/>
                    <a:gd name="T60" fmla="*/ 72 w 175"/>
                    <a:gd name="T61" fmla="*/ 143 h 181"/>
                    <a:gd name="T62" fmla="*/ 74 w 175"/>
                    <a:gd name="T63" fmla="*/ 148 h 181"/>
                    <a:gd name="T64" fmla="*/ 77 w 175"/>
                    <a:gd name="T65" fmla="*/ 172 h 181"/>
                    <a:gd name="T66" fmla="*/ 81 w 175"/>
                    <a:gd name="T67" fmla="*/ 171 h 181"/>
                    <a:gd name="T68" fmla="*/ 82 w 175"/>
                    <a:gd name="T69" fmla="*/ 171 h 181"/>
                    <a:gd name="T70" fmla="*/ 95 w 175"/>
                    <a:gd name="T71" fmla="*/ 175 h 181"/>
                    <a:gd name="T72" fmla="*/ 106 w 175"/>
                    <a:gd name="T73" fmla="*/ 175 h 181"/>
                    <a:gd name="T74" fmla="*/ 119 w 175"/>
                    <a:gd name="T75" fmla="*/ 181 h 181"/>
                    <a:gd name="T76" fmla="*/ 122 w 175"/>
                    <a:gd name="T77" fmla="*/ 179 h 181"/>
                    <a:gd name="T78" fmla="*/ 130 w 175"/>
                    <a:gd name="T79" fmla="*/ 178 h 181"/>
                    <a:gd name="T80" fmla="*/ 136 w 175"/>
                    <a:gd name="T81" fmla="*/ 175 h 181"/>
                    <a:gd name="T82" fmla="*/ 139 w 175"/>
                    <a:gd name="T83" fmla="*/ 171 h 181"/>
                    <a:gd name="T84" fmla="*/ 142 w 175"/>
                    <a:gd name="T85" fmla="*/ 168 h 181"/>
                    <a:gd name="T86" fmla="*/ 151 w 175"/>
                    <a:gd name="T87" fmla="*/ 168 h 181"/>
                    <a:gd name="T88" fmla="*/ 175 w 175"/>
                    <a:gd name="T89" fmla="*/ 156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75" h="181">
                      <a:moveTo>
                        <a:pt x="174" y="155"/>
                      </a:moveTo>
                      <a:lnTo>
                        <a:pt x="174" y="155"/>
                      </a:lnTo>
                      <a:lnTo>
                        <a:pt x="168" y="145"/>
                      </a:lnTo>
                      <a:lnTo>
                        <a:pt x="161" y="136"/>
                      </a:lnTo>
                      <a:lnTo>
                        <a:pt x="161" y="136"/>
                      </a:lnTo>
                      <a:lnTo>
                        <a:pt x="159" y="129"/>
                      </a:lnTo>
                      <a:lnTo>
                        <a:pt x="159" y="117"/>
                      </a:lnTo>
                      <a:lnTo>
                        <a:pt x="159" y="100"/>
                      </a:lnTo>
                      <a:lnTo>
                        <a:pt x="159" y="100"/>
                      </a:lnTo>
                      <a:lnTo>
                        <a:pt x="158" y="95"/>
                      </a:lnTo>
                      <a:lnTo>
                        <a:pt x="156" y="90"/>
                      </a:lnTo>
                      <a:lnTo>
                        <a:pt x="153" y="84"/>
                      </a:lnTo>
                      <a:lnTo>
                        <a:pt x="153" y="80"/>
                      </a:lnTo>
                      <a:lnTo>
                        <a:pt x="153" y="80"/>
                      </a:lnTo>
                      <a:lnTo>
                        <a:pt x="153" y="72"/>
                      </a:lnTo>
                      <a:lnTo>
                        <a:pt x="155" y="68"/>
                      </a:lnTo>
                      <a:lnTo>
                        <a:pt x="155" y="68"/>
                      </a:lnTo>
                      <a:lnTo>
                        <a:pt x="159" y="59"/>
                      </a:lnTo>
                      <a:lnTo>
                        <a:pt x="159" y="59"/>
                      </a:lnTo>
                      <a:lnTo>
                        <a:pt x="143" y="48"/>
                      </a:lnTo>
                      <a:lnTo>
                        <a:pt x="136" y="42"/>
                      </a:lnTo>
                      <a:lnTo>
                        <a:pt x="132" y="38"/>
                      </a:lnTo>
                      <a:lnTo>
                        <a:pt x="132" y="38"/>
                      </a:lnTo>
                      <a:lnTo>
                        <a:pt x="129" y="35"/>
                      </a:lnTo>
                      <a:lnTo>
                        <a:pt x="123" y="32"/>
                      </a:lnTo>
                      <a:lnTo>
                        <a:pt x="109" y="23"/>
                      </a:lnTo>
                      <a:lnTo>
                        <a:pt x="77" y="7"/>
                      </a:lnTo>
                      <a:lnTo>
                        <a:pt x="77" y="7"/>
                      </a:lnTo>
                      <a:lnTo>
                        <a:pt x="80" y="10"/>
                      </a:lnTo>
                      <a:lnTo>
                        <a:pt x="80" y="10"/>
                      </a:lnTo>
                      <a:lnTo>
                        <a:pt x="81" y="14"/>
                      </a:lnTo>
                      <a:lnTo>
                        <a:pt x="81" y="16"/>
                      </a:lnTo>
                      <a:lnTo>
                        <a:pt x="80" y="17"/>
                      </a:lnTo>
                      <a:lnTo>
                        <a:pt x="75" y="19"/>
                      </a:lnTo>
                      <a:lnTo>
                        <a:pt x="75" y="19"/>
                      </a:lnTo>
                      <a:lnTo>
                        <a:pt x="71" y="19"/>
                      </a:lnTo>
                      <a:lnTo>
                        <a:pt x="68" y="22"/>
                      </a:lnTo>
                      <a:lnTo>
                        <a:pt x="64" y="29"/>
                      </a:lnTo>
                      <a:lnTo>
                        <a:pt x="64" y="29"/>
                      </a:lnTo>
                      <a:lnTo>
                        <a:pt x="61" y="32"/>
                      </a:lnTo>
                      <a:lnTo>
                        <a:pt x="58" y="33"/>
                      </a:lnTo>
                      <a:lnTo>
                        <a:pt x="49" y="35"/>
                      </a:lnTo>
                      <a:lnTo>
                        <a:pt x="42" y="33"/>
                      </a:lnTo>
                      <a:lnTo>
                        <a:pt x="39" y="32"/>
                      </a:lnTo>
                      <a:lnTo>
                        <a:pt x="38" y="29"/>
                      </a:lnTo>
                      <a:lnTo>
                        <a:pt x="38" y="29"/>
                      </a:lnTo>
                      <a:lnTo>
                        <a:pt x="38" y="24"/>
                      </a:lnTo>
                      <a:lnTo>
                        <a:pt x="38" y="20"/>
                      </a:lnTo>
                      <a:lnTo>
                        <a:pt x="39" y="16"/>
                      </a:lnTo>
                      <a:lnTo>
                        <a:pt x="39" y="9"/>
                      </a:lnTo>
                      <a:lnTo>
                        <a:pt x="39" y="9"/>
                      </a:lnTo>
                      <a:lnTo>
                        <a:pt x="39" y="0"/>
                      </a:lnTo>
                      <a:lnTo>
                        <a:pt x="39" y="0"/>
                      </a:lnTo>
                      <a:lnTo>
                        <a:pt x="32" y="0"/>
                      </a:lnTo>
                      <a:lnTo>
                        <a:pt x="29" y="1"/>
                      </a:lnTo>
                      <a:lnTo>
                        <a:pt x="25" y="3"/>
                      </a:lnTo>
                      <a:lnTo>
                        <a:pt x="25" y="3"/>
                      </a:lnTo>
                      <a:lnTo>
                        <a:pt x="16" y="7"/>
                      </a:lnTo>
                      <a:lnTo>
                        <a:pt x="16" y="7"/>
                      </a:lnTo>
                      <a:lnTo>
                        <a:pt x="19" y="22"/>
                      </a:lnTo>
                      <a:lnTo>
                        <a:pt x="19" y="22"/>
                      </a:lnTo>
                      <a:lnTo>
                        <a:pt x="22" y="42"/>
                      </a:lnTo>
                      <a:lnTo>
                        <a:pt x="22" y="42"/>
                      </a:lnTo>
                      <a:lnTo>
                        <a:pt x="22" y="45"/>
                      </a:lnTo>
                      <a:lnTo>
                        <a:pt x="20" y="46"/>
                      </a:lnTo>
                      <a:lnTo>
                        <a:pt x="14" y="51"/>
                      </a:lnTo>
                      <a:lnTo>
                        <a:pt x="3" y="53"/>
                      </a:lnTo>
                      <a:lnTo>
                        <a:pt x="3" y="53"/>
                      </a:lnTo>
                      <a:lnTo>
                        <a:pt x="0" y="56"/>
                      </a:lnTo>
                      <a:lnTo>
                        <a:pt x="0" y="56"/>
                      </a:lnTo>
                      <a:lnTo>
                        <a:pt x="3" y="65"/>
                      </a:lnTo>
                      <a:lnTo>
                        <a:pt x="3" y="65"/>
                      </a:lnTo>
                      <a:lnTo>
                        <a:pt x="4" y="77"/>
                      </a:lnTo>
                      <a:lnTo>
                        <a:pt x="7" y="88"/>
                      </a:lnTo>
                      <a:lnTo>
                        <a:pt x="7" y="88"/>
                      </a:lnTo>
                      <a:lnTo>
                        <a:pt x="10" y="94"/>
                      </a:lnTo>
                      <a:lnTo>
                        <a:pt x="13" y="98"/>
                      </a:lnTo>
                      <a:lnTo>
                        <a:pt x="14" y="104"/>
                      </a:lnTo>
                      <a:lnTo>
                        <a:pt x="14" y="104"/>
                      </a:lnTo>
                      <a:lnTo>
                        <a:pt x="16" y="110"/>
                      </a:lnTo>
                      <a:lnTo>
                        <a:pt x="19" y="114"/>
                      </a:lnTo>
                      <a:lnTo>
                        <a:pt x="25" y="123"/>
                      </a:lnTo>
                      <a:lnTo>
                        <a:pt x="25" y="123"/>
                      </a:lnTo>
                      <a:lnTo>
                        <a:pt x="30" y="124"/>
                      </a:lnTo>
                      <a:lnTo>
                        <a:pt x="30" y="124"/>
                      </a:lnTo>
                      <a:lnTo>
                        <a:pt x="38" y="129"/>
                      </a:lnTo>
                      <a:lnTo>
                        <a:pt x="46" y="135"/>
                      </a:lnTo>
                      <a:lnTo>
                        <a:pt x="56" y="142"/>
                      </a:lnTo>
                      <a:lnTo>
                        <a:pt x="64" y="145"/>
                      </a:lnTo>
                      <a:lnTo>
                        <a:pt x="64" y="145"/>
                      </a:lnTo>
                      <a:lnTo>
                        <a:pt x="68" y="143"/>
                      </a:lnTo>
                      <a:lnTo>
                        <a:pt x="68" y="143"/>
                      </a:lnTo>
                      <a:lnTo>
                        <a:pt x="72" y="143"/>
                      </a:lnTo>
                      <a:lnTo>
                        <a:pt x="72" y="145"/>
                      </a:lnTo>
                      <a:lnTo>
                        <a:pt x="74" y="148"/>
                      </a:lnTo>
                      <a:lnTo>
                        <a:pt x="74" y="148"/>
                      </a:lnTo>
                      <a:lnTo>
                        <a:pt x="74" y="162"/>
                      </a:lnTo>
                      <a:lnTo>
                        <a:pt x="75" y="169"/>
                      </a:lnTo>
                      <a:lnTo>
                        <a:pt x="77" y="172"/>
                      </a:lnTo>
                      <a:lnTo>
                        <a:pt x="78" y="174"/>
                      </a:lnTo>
                      <a:lnTo>
                        <a:pt x="78" y="174"/>
                      </a:lnTo>
                      <a:lnTo>
                        <a:pt x="81" y="171"/>
                      </a:lnTo>
                      <a:lnTo>
                        <a:pt x="82" y="169"/>
                      </a:lnTo>
                      <a:lnTo>
                        <a:pt x="82" y="171"/>
                      </a:lnTo>
                      <a:lnTo>
                        <a:pt x="82" y="171"/>
                      </a:lnTo>
                      <a:lnTo>
                        <a:pt x="85" y="175"/>
                      </a:lnTo>
                      <a:lnTo>
                        <a:pt x="85" y="175"/>
                      </a:lnTo>
                      <a:lnTo>
                        <a:pt x="95" y="175"/>
                      </a:lnTo>
                      <a:lnTo>
                        <a:pt x="95" y="175"/>
                      </a:lnTo>
                      <a:lnTo>
                        <a:pt x="106" y="175"/>
                      </a:lnTo>
                      <a:lnTo>
                        <a:pt x="106" y="175"/>
                      </a:lnTo>
                      <a:lnTo>
                        <a:pt x="110" y="177"/>
                      </a:lnTo>
                      <a:lnTo>
                        <a:pt x="114" y="179"/>
                      </a:lnTo>
                      <a:lnTo>
                        <a:pt x="119" y="181"/>
                      </a:lnTo>
                      <a:lnTo>
                        <a:pt x="120" y="179"/>
                      </a:lnTo>
                      <a:lnTo>
                        <a:pt x="122" y="179"/>
                      </a:lnTo>
                      <a:lnTo>
                        <a:pt x="122" y="179"/>
                      </a:lnTo>
                      <a:lnTo>
                        <a:pt x="126" y="178"/>
                      </a:lnTo>
                      <a:lnTo>
                        <a:pt x="130" y="178"/>
                      </a:lnTo>
                      <a:lnTo>
                        <a:pt x="130" y="178"/>
                      </a:lnTo>
                      <a:lnTo>
                        <a:pt x="133" y="178"/>
                      </a:lnTo>
                      <a:lnTo>
                        <a:pt x="135" y="177"/>
                      </a:lnTo>
                      <a:lnTo>
                        <a:pt x="136" y="175"/>
                      </a:lnTo>
                      <a:lnTo>
                        <a:pt x="136" y="175"/>
                      </a:lnTo>
                      <a:lnTo>
                        <a:pt x="137" y="172"/>
                      </a:lnTo>
                      <a:lnTo>
                        <a:pt x="139" y="171"/>
                      </a:lnTo>
                      <a:lnTo>
                        <a:pt x="139" y="169"/>
                      </a:lnTo>
                      <a:lnTo>
                        <a:pt x="142" y="168"/>
                      </a:lnTo>
                      <a:lnTo>
                        <a:pt x="142" y="168"/>
                      </a:lnTo>
                      <a:lnTo>
                        <a:pt x="146" y="168"/>
                      </a:lnTo>
                      <a:lnTo>
                        <a:pt x="146" y="168"/>
                      </a:lnTo>
                      <a:lnTo>
                        <a:pt x="151" y="168"/>
                      </a:lnTo>
                      <a:lnTo>
                        <a:pt x="156" y="166"/>
                      </a:lnTo>
                      <a:lnTo>
                        <a:pt x="165" y="164"/>
                      </a:lnTo>
                      <a:lnTo>
                        <a:pt x="175" y="156"/>
                      </a:lnTo>
                      <a:lnTo>
                        <a:pt x="175" y="156"/>
                      </a:lnTo>
                      <a:lnTo>
                        <a:pt x="174" y="15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84" name="Freeform 637"/>
                <p:cNvSpPr>
                  <a:spLocks/>
                </p:cNvSpPr>
                <p:nvPr/>
              </p:nvSpPr>
              <p:spPr bwMode="auto">
                <a:xfrm>
                  <a:off x="4876692" y="3344837"/>
                  <a:ext cx="28689" cy="27699"/>
                </a:xfrm>
                <a:custGeom>
                  <a:avLst/>
                  <a:gdLst>
                    <a:gd name="T0" fmla="*/ 11 w 29"/>
                    <a:gd name="T1" fmla="*/ 28 h 28"/>
                    <a:gd name="T2" fmla="*/ 11 w 29"/>
                    <a:gd name="T3" fmla="*/ 28 h 28"/>
                    <a:gd name="T4" fmla="*/ 11 w 29"/>
                    <a:gd name="T5" fmla="*/ 28 h 28"/>
                    <a:gd name="T6" fmla="*/ 11 w 29"/>
                    <a:gd name="T7" fmla="*/ 28 h 28"/>
                    <a:gd name="T8" fmla="*/ 10 w 29"/>
                    <a:gd name="T9" fmla="*/ 28 h 28"/>
                    <a:gd name="T10" fmla="*/ 10 w 29"/>
                    <a:gd name="T11" fmla="*/ 28 h 28"/>
                    <a:gd name="T12" fmla="*/ 10 w 29"/>
                    <a:gd name="T13" fmla="*/ 28 h 28"/>
                    <a:gd name="T14" fmla="*/ 10 w 29"/>
                    <a:gd name="T15" fmla="*/ 28 h 28"/>
                    <a:gd name="T16" fmla="*/ 0 w 29"/>
                    <a:gd name="T17" fmla="*/ 22 h 28"/>
                    <a:gd name="T18" fmla="*/ 0 w 29"/>
                    <a:gd name="T19" fmla="*/ 22 h 28"/>
                    <a:gd name="T20" fmla="*/ 0 w 29"/>
                    <a:gd name="T21" fmla="*/ 10 h 28"/>
                    <a:gd name="T22" fmla="*/ 0 w 29"/>
                    <a:gd name="T23" fmla="*/ 10 h 28"/>
                    <a:gd name="T24" fmla="*/ 1 w 29"/>
                    <a:gd name="T25" fmla="*/ 2 h 28"/>
                    <a:gd name="T26" fmla="*/ 1 w 29"/>
                    <a:gd name="T27" fmla="*/ 2 h 28"/>
                    <a:gd name="T28" fmla="*/ 8 w 29"/>
                    <a:gd name="T29" fmla="*/ 3 h 28"/>
                    <a:gd name="T30" fmla="*/ 13 w 29"/>
                    <a:gd name="T31" fmla="*/ 4 h 28"/>
                    <a:gd name="T32" fmla="*/ 13 w 29"/>
                    <a:gd name="T33" fmla="*/ 4 h 28"/>
                    <a:gd name="T34" fmla="*/ 19 w 29"/>
                    <a:gd name="T35" fmla="*/ 3 h 28"/>
                    <a:gd name="T36" fmla="*/ 26 w 29"/>
                    <a:gd name="T37" fmla="*/ 0 h 28"/>
                    <a:gd name="T38" fmla="*/ 26 w 29"/>
                    <a:gd name="T39" fmla="*/ 0 h 28"/>
                    <a:gd name="T40" fmla="*/ 29 w 29"/>
                    <a:gd name="T41" fmla="*/ 15 h 28"/>
                    <a:gd name="T42" fmla="*/ 29 w 29"/>
                    <a:gd name="T43" fmla="*/ 16 h 28"/>
                    <a:gd name="T44" fmla="*/ 29 w 29"/>
                    <a:gd name="T45" fmla="*/ 16 h 28"/>
                    <a:gd name="T46" fmla="*/ 29 w 29"/>
                    <a:gd name="T47" fmla="*/ 16 h 28"/>
                    <a:gd name="T48" fmla="*/ 29 w 29"/>
                    <a:gd name="T49" fmla="*/ 16 h 28"/>
                    <a:gd name="T50" fmla="*/ 29 w 29"/>
                    <a:gd name="T51" fmla="*/ 16 h 28"/>
                    <a:gd name="T52" fmla="*/ 29 w 29"/>
                    <a:gd name="T53" fmla="*/ 16 h 28"/>
                    <a:gd name="T54" fmla="*/ 29 w 29"/>
                    <a:gd name="T55" fmla="*/ 16 h 28"/>
                    <a:gd name="T56" fmla="*/ 21 w 29"/>
                    <a:gd name="T57" fmla="*/ 15 h 28"/>
                    <a:gd name="T58" fmla="*/ 21 w 29"/>
                    <a:gd name="T59" fmla="*/ 15 h 28"/>
                    <a:gd name="T60" fmla="*/ 21 w 29"/>
                    <a:gd name="T61" fmla="*/ 15 h 28"/>
                    <a:gd name="T62" fmla="*/ 21 w 29"/>
                    <a:gd name="T63" fmla="*/ 15 h 28"/>
                    <a:gd name="T64" fmla="*/ 17 w 29"/>
                    <a:gd name="T65" fmla="*/ 16 h 28"/>
                    <a:gd name="T66" fmla="*/ 14 w 29"/>
                    <a:gd name="T67" fmla="*/ 17 h 28"/>
                    <a:gd name="T68" fmla="*/ 14 w 29"/>
                    <a:gd name="T69" fmla="*/ 17 h 28"/>
                    <a:gd name="T70" fmla="*/ 14 w 29"/>
                    <a:gd name="T71" fmla="*/ 17 h 28"/>
                    <a:gd name="T72" fmla="*/ 14 w 29"/>
                    <a:gd name="T73" fmla="*/ 17 h 28"/>
                    <a:gd name="T74" fmla="*/ 14 w 29"/>
                    <a:gd name="T75" fmla="*/ 19 h 28"/>
                    <a:gd name="T76" fmla="*/ 14 w 29"/>
                    <a:gd name="T77" fmla="*/ 19 h 28"/>
                    <a:gd name="T78" fmla="*/ 14 w 29"/>
                    <a:gd name="T79" fmla="*/ 19 h 28"/>
                    <a:gd name="T80" fmla="*/ 14 w 29"/>
                    <a:gd name="T81" fmla="*/ 19 h 28"/>
                    <a:gd name="T82" fmla="*/ 14 w 29"/>
                    <a:gd name="T83" fmla="*/ 19 h 28"/>
                    <a:gd name="T84" fmla="*/ 14 w 29"/>
                    <a:gd name="T85" fmla="*/ 19 h 28"/>
                    <a:gd name="T86" fmla="*/ 14 w 29"/>
                    <a:gd name="T87" fmla="*/ 19 h 28"/>
                    <a:gd name="T88" fmla="*/ 14 w 29"/>
                    <a:gd name="T89" fmla="*/ 19 h 28"/>
                    <a:gd name="T90" fmla="*/ 14 w 29"/>
                    <a:gd name="T91" fmla="*/ 25 h 28"/>
                    <a:gd name="T92" fmla="*/ 13 w 29"/>
                    <a:gd name="T93" fmla="*/ 28 h 28"/>
                    <a:gd name="T94" fmla="*/ 11 w 29"/>
                    <a:gd name="T95" fmla="*/ 28 h 28"/>
                    <a:gd name="T96" fmla="*/ 11 w 29"/>
                    <a:gd name="T97" fmla="*/ 28 h 28"/>
                    <a:gd name="T98" fmla="*/ 11 w 29"/>
                    <a:gd name="T99" fmla="*/ 2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9" h="28">
                      <a:moveTo>
                        <a:pt x="11" y="28"/>
                      </a:moveTo>
                      <a:lnTo>
                        <a:pt x="11" y="28"/>
                      </a:lnTo>
                      <a:lnTo>
                        <a:pt x="11" y="28"/>
                      </a:lnTo>
                      <a:lnTo>
                        <a:pt x="11" y="28"/>
                      </a:lnTo>
                      <a:lnTo>
                        <a:pt x="10" y="28"/>
                      </a:lnTo>
                      <a:lnTo>
                        <a:pt x="10" y="28"/>
                      </a:lnTo>
                      <a:lnTo>
                        <a:pt x="10" y="28"/>
                      </a:lnTo>
                      <a:lnTo>
                        <a:pt x="10" y="28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8" y="3"/>
                      </a:lnTo>
                      <a:lnTo>
                        <a:pt x="13" y="4"/>
                      </a:lnTo>
                      <a:lnTo>
                        <a:pt x="13" y="4"/>
                      </a:lnTo>
                      <a:lnTo>
                        <a:pt x="19" y="3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9" y="15"/>
                      </a:lnTo>
                      <a:lnTo>
                        <a:pt x="29" y="16"/>
                      </a:lnTo>
                      <a:lnTo>
                        <a:pt x="29" y="16"/>
                      </a:lnTo>
                      <a:lnTo>
                        <a:pt x="29" y="16"/>
                      </a:lnTo>
                      <a:lnTo>
                        <a:pt x="29" y="16"/>
                      </a:lnTo>
                      <a:lnTo>
                        <a:pt x="29" y="16"/>
                      </a:lnTo>
                      <a:lnTo>
                        <a:pt x="29" y="16"/>
                      </a:lnTo>
                      <a:lnTo>
                        <a:pt x="29" y="16"/>
                      </a:lnTo>
                      <a:lnTo>
                        <a:pt x="21" y="15"/>
                      </a:lnTo>
                      <a:lnTo>
                        <a:pt x="21" y="15"/>
                      </a:lnTo>
                      <a:lnTo>
                        <a:pt x="21" y="15"/>
                      </a:lnTo>
                      <a:lnTo>
                        <a:pt x="21" y="15"/>
                      </a:lnTo>
                      <a:lnTo>
                        <a:pt x="17" y="16"/>
                      </a:lnTo>
                      <a:lnTo>
                        <a:pt x="14" y="17"/>
                      </a:lnTo>
                      <a:lnTo>
                        <a:pt x="14" y="17"/>
                      </a:lnTo>
                      <a:lnTo>
                        <a:pt x="14" y="17"/>
                      </a:lnTo>
                      <a:lnTo>
                        <a:pt x="14" y="17"/>
                      </a:lnTo>
                      <a:lnTo>
                        <a:pt x="14" y="19"/>
                      </a:lnTo>
                      <a:lnTo>
                        <a:pt x="14" y="19"/>
                      </a:lnTo>
                      <a:lnTo>
                        <a:pt x="14" y="19"/>
                      </a:lnTo>
                      <a:lnTo>
                        <a:pt x="14" y="19"/>
                      </a:lnTo>
                      <a:lnTo>
                        <a:pt x="14" y="19"/>
                      </a:lnTo>
                      <a:lnTo>
                        <a:pt x="14" y="19"/>
                      </a:lnTo>
                      <a:lnTo>
                        <a:pt x="14" y="19"/>
                      </a:lnTo>
                      <a:lnTo>
                        <a:pt x="14" y="19"/>
                      </a:lnTo>
                      <a:lnTo>
                        <a:pt x="14" y="25"/>
                      </a:lnTo>
                      <a:lnTo>
                        <a:pt x="13" y="28"/>
                      </a:lnTo>
                      <a:lnTo>
                        <a:pt x="11" y="28"/>
                      </a:lnTo>
                      <a:lnTo>
                        <a:pt x="11" y="28"/>
                      </a:lnTo>
                      <a:lnTo>
                        <a:pt x="11" y="2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85" name="Freeform 638"/>
                <p:cNvSpPr>
                  <a:spLocks/>
                </p:cNvSpPr>
                <p:nvPr/>
              </p:nvSpPr>
              <p:spPr bwMode="auto">
                <a:xfrm>
                  <a:off x="4876692" y="3344837"/>
                  <a:ext cx="28689" cy="27699"/>
                </a:xfrm>
                <a:custGeom>
                  <a:avLst/>
                  <a:gdLst>
                    <a:gd name="T0" fmla="*/ 11 w 29"/>
                    <a:gd name="T1" fmla="*/ 28 h 28"/>
                    <a:gd name="T2" fmla="*/ 11 w 29"/>
                    <a:gd name="T3" fmla="*/ 28 h 28"/>
                    <a:gd name="T4" fmla="*/ 11 w 29"/>
                    <a:gd name="T5" fmla="*/ 28 h 28"/>
                    <a:gd name="T6" fmla="*/ 11 w 29"/>
                    <a:gd name="T7" fmla="*/ 28 h 28"/>
                    <a:gd name="T8" fmla="*/ 10 w 29"/>
                    <a:gd name="T9" fmla="*/ 28 h 28"/>
                    <a:gd name="T10" fmla="*/ 10 w 29"/>
                    <a:gd name="T11" fmla="*/ 28 h 28"/>
                    <a:gd name="T12" fmla="*/ 10 w 29"/>
                    <a:gd name="T13" fmla="*/ 28 h 28"/>
                    <a:gd name="T14" fmla="*/ 10 w 29"/>
                    <a:gd name="T15" fmla="*/ 28 h 28"/>
                    <a:gd name="T16" fmla="*/ 0 w 29"/>
                    <a:gd name="T17" fmla="*/ 22 h 28"/>
                    <a:gd name="T18" fmla="*/ 0 w 29"/>
                    <a:gd name="T19" fmla="*/ 22 h 28"/>
                    <a:gd name="T20" fmla="*/ 0 w 29"/>
                    <a:gd name="T21" fmla="*/ 10 h 28"/>
                    <a:gd name="T22" fmla="*/ 0 w 29"/>
                    <a:gd name="T23" fmla="*/ 10 h 28"/>
                    <a:gd name="T24" fmla="*/ 1 w 29"/>
                    <a:gd name="T25" fmla="*/ 2 h 28"/>
                    <a:gd name="T26" fmla="*/ 1 w 29"/>
                    <a:gd name="T27" fmla="*/ 2 h 28"/>
                    <a:gd name="T28" fmla="*/ 8 w 29"/>
                    <a:gd name="T29" fmla="*/ 3 h 28"/>
                    <a:gd name="T30" fmla="*/ 13 w 29"/>
                    <a:gd name="T31" fmla="*/ 4 h 28"/>
                    <a:gd name="T32" fmla="*/ 13 w 29"/>
                    <a:gd name="T33" fmla="*/ 4 h 28"/>
                    <a:gd name="T34" fmla="*/ 19 w 29"/>
                    <a:gd name="T35" fmla="*/ 3 h 28"/>
                    <a:gd name="T36" fmla="*/ 26 w 29"/>
                    <a:gd name="T37" fmla="*/ 0 h 28"/>
                    <a:gd name="T38" fmla="*/ 26 w 29"/>
                    <a:gd name="T39" fmla="*/ 0 h 28"/>
                    <a:gd name="T40" fmla="*/ 29 w 29"/>
                    <a:gd name="T41" fmla="*/ 15 h 28"/>
                    <a:gd name="T42" fmla="*/ 29 w 29"/>
                    <a:gd name="T43" fmla="*/ 16 h 28"/>
                    <a:gd name="T44" fmla="*/ 29 w 29"/>
                    <a:gd name="T45" fmla="*/ 16 h 28"/>
                    <a:gd name="T46" fmla="*/ 29 w 29"/>
                    <a:gd name="T47" fmla="*/ 16 h 28"/>
                    <a:gd name="T48" fmla="*/ 29 w 29"/>
                    <a:gd name="T49" fmla="*/ 16 h 28"/>
                    <a:gd name="T50" fmla="*/ 29 w 29"/>
                    <a:gd name="T51" fmla="*/ 16 h 28"/>
                    <a:gd name="T52" fmla="*/ 29 w 29"/>
                    <a:gd name="T53" fmla="*/ 16 h 28"/>
                    <a:gd name="T54" fmla="*/ 29 w 29"/>
                    <a:gd name="T55" fmla="*/ 16 h 28"/>
                    <a:gd name="T56" fmla="*/ 21 w 29"/>
                    <a:gd name="T57" fmla="*/ 15 h 28"/>
                    <a:gd name="T58" fmla="*/ 21 w 29"/>
                    <a:gd name="T59" fmla="*/ 15 h 28"/>
                    <a:gd name="T60" fmla="*/ 21 w 29"/>
                    <a:gd name="T61" fmla="*/ 15 h 28"/>
                    <a:gd name="T62" fmla="*/ 21 w 29"/>
                    <a:gd name="T63" fmla="*/ 15 h 28"/>
                    <a:gd name="T64" fmla="*/ 17 w 29"/>
                    <a:gd name="T65" fmla="*/ 16 h 28"/>
                    <a:gd name="T66" fmla="*/ 14 w 29"/>
                    <a:gd name="T67" fmla="*/ 17 h 28"/>
                    <a:gd name="T68" fmla="*/ 14 w 29"/>
                    <a:gd name="T69" fmla="*/ 17 h 28"/>
                    <a:gd name="T70" fmla="*/ 14 w 29"/>
                    <a:gd name="T71" fmla="*/ 17 h 28"/>
                    <a:gd name="T72" fmla="*/ 14 w 29"/>
                    <a:gd name="T73" fmla="*/ 17 h 28"/>
                    <a:gd name="T74" fmla="*/ 14 w 29"/>
                    <a:gd name="T75" fmla="*/ 19 h 28"/>
                    <a:gd name="T76" fmla="*/ 14 w 29"/>
                    <a:gd name="T77" fmla="*/ 19 h 28"/>
                    <a:gd name="T78" fmla="*/ 14 w 29"/>
                    <a:gd name="T79" fmla="*/ 19 h 28"/>
                    <a:gd name="T80" fmla="*/ 14 w 29"/>
                    <a:gd name="T81" fmla="*/ 19 h 28"/>
                    <a:gd name="T82" fmla="*/ 14 w 29"/>
                    <a:gd name="T83" fmla="*/ 19 h 28"/>
                    <a:gd name="T84" fmla="*/ 14 w 29"/>
                    <a:gd name="T85" fmla="*/ 19 h 28"/>
                    <a:gd name="T86" fmla="*/ 14 w 29"/>
                    <a:gd name="T87" fmla="*/ 19 h 28"/>
                    <a:gd name="T88" fmla="*/ 14 w 29"/>
                    <a:gd name="T89" fmla="*/ 19 h 28"/>
                    <a:gd name="T90" fmla="*/ 14 w 29"/>
                    <a:gd name="T91" fmla="*/ 25 h 28"/>
                    <a:gd name="T92" fmla="*/ 13 w 29"/>
                    <a:gd name="T93" fmla="*/ 28 h 28"/>
                    <a:gd name="T94" fmla="*/ 11 w 29"/>
                    <a:gd name="T95" fmla="*/ 28 h 28"/>
                    <a:gd name="T96" fmla="*/ 11 w 29"/>
                    <a:gd name="T97" fmla="*/ 28 h 28"/>
                    <a:gd name="T98" fmla="*/ 11 w 29"/>
                    <a:gd name="T99" fmla="*/ 2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9" h="28">
                      <a:moveTo>
                        <a:pt x="11" y="28"/>
                      </a:moveTo>
                      <a:lnTo>
                        <a:pt x="11" y="28"/>
                      </a:lnTo>
                      <a:lnTo>
                        <a:pt x="11" y="28"/>
                      </a:lnTo>
                      <a:lnTo>
                        <a:pt x="11" y="28"/>
                      </a:lnTo>
                      <a:lnTo>
                        <a:pt x="10" y="28"/>
                      </a:lnTo>
                      <a:lnTo>
                        <a:pt x="10" y="28"/>
                      </a:lnTo>
                      <a:lnTo>
                        <a:pt x="10" y="28"/>
                      </a:lnTo>
                      <a:lnTo>
                        <a:pt x="10" y="28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8" y="3"/>
                      </a:lnTo>
                      <a:lnTo>
                        <a:pt x="13" y="4"/>
                      </a:lnTo>
                      <a:lnTo>
                        <a:pt x="13" y="4"/>
                      </a:lnTo>
                      <a:lnTo>
                        <a:pt x="19" y="3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9" y="15"/>
                      </a:lnTo>
                      <a:lnTo>
                        <a:pt x="29" y="16"/>
                      </a:lnTo>
                      <a:lnTo>
                        <a:pt x="29" y="16"/>
                      </a:lnTo>
                      <a:lnTo>
                        <a:pt x="29" y="16"/>
                      </a:lnTo>
                      <a:lnTo>
                        <a:pt x="29" y="16"/>
                      </a:lnTo>
                      <a:lnTo>
                        <a:pt x="29" y="16"/>
                      </a:lnTo>
                      <a:lnTo>
                        <a:pt x="29" y="16"/>
                      </a:lnTo>
                      <a:lnTo>
                        <a:pt x="29" y="16"/>
                      </a:lnTo>
                      <a:lnTo>
                        <a:pt x="21" y="15"/>
                      </a:lnTo>
                      <a:lnTo>
                        <a:pt x="21" y="15"/>
                      </a:lnTo>
                      <a:lnTo>
                        <a:pt x="21" y="15"/>
                      </a:lnTo>
                      <a:lnTo>
                        <a:pt x="21" y="15"/>
                      </a:lnTo>
                      <a:lnTo>
                        <a:pt x="17" y="16"/>
                      </a:lnTo>
                      <a:lnTo>
                        <a:pt x="14" y="17"/>
                      </a:lnTo>
                      <a:lnTo>
                        <a:pt x="14" y="17"/>
                      </a:lnTo>
                      <a:lnTo>
                        <a:pt x="14" y="17"/>
                      </a:lnTo>
                      <a:lnTo>
                        <a:pt x="14" y="17"/>
                      </a:lnTo>
                      <a:lnTo>
                        <a:pt x="14" y="19"/>
                      </a:lnTo>
                      <a:lnTo>
                        <a:pt x="14" y="19"/>
                      </a:lnTo>
                      <a:lnTo>
                        <a:pt x="14" y="19"/>
                      </a:lnTo>
                      <a:lnTo>
                        <a:pt x="14" y="19"/>
                      </a:lnTo>
                      <a:lnTo>
                        <a:pt x="14" y="19"/>
                      </a:lnTo>
                      <a:lnTo>
                        <a:pt x="14" y="19"/>
                      </a:lnTo>
                      <a:lnTo>
                        <a:pt x="14" y="19"/>
                      </a:lnTo>
                      <a:lnTo>
                        <a:pt x="14" y="19"/>
                      </a:lnTo>
                      <a:lnTo>
                        <a:pt x="14" y="25"/>
                      </a:lnTo>
                      <a:lnTo>
                        <a:pt x="13" y="28"/>
                      </a:lnTo>
                      <a:lnTo>
                        <a:pt x="11" y="28"/>
                      </a:lnTo>
                      <a:lnTo>
                        <a:pt x="11" y="28"/>
                      </a:lnTo>
                      <a:lnTo>
                        <a:pt x="11" y="2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86" name="Freeform 639"/>
                <p:cNvSpPr>
                  <a:spLocks/>
                </p:cNvSpPr>
                <p:nvPr/>
              </p:nvSpPr>
              <p:spPr bwMode="auto">
                <a:xfrm>
                  <a:off x="4874713" y="3354730"/>
                  <a:ext cx="1979" cy="11871"/>
                </a:xfrm>
                <a:custGeom>
                  <a:avLst/>
                  <a:gdLst>
                    <a:gd name="T0" fmla="*/ 2 w 2"/>
                    <a:gd name="T1" fmla="*/ 12 h 12"/>
                    <a:gd name="T2" fmla="*/ 2 w 2"/>
                    <a:gd name="T3" fmla="*/ 12 h 12"/>
                    <a:gd name="T4" fmla="*/ 0 w 2"/>
                    <a:gd name="T5" fmla="*/ 12 h 12"/>
                    <a:gd name="T6" fmla="*/ 0 w 2"/>
                    <a:gd name="T7" fmla="*/ 12 h 12"/>
                    <a:gd name="T8" fmla="*/ 2 w 2"/>
                    <a:gd name="T9" fmla="*/ 0 h 12"/>
                    <a:gd name="T10" fmla="*/ 2 w 2"/>
                    <a:gd name="T11" fmla="*/ 0 h 12"/>
                    <a:gd name="T12" fmla="*/ 2 w 2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2">
                      <a:moveTo>
                        <a:pt x="2" y="12"/>
                      </a:moveTo>
                      <a:lnTo>
                        <a:pt x="2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87" name="Freeform 640"/>
                <p:cNvSpPr>
                  <a:spLocks/>
                </p:cNvSpPr>
                <p:nvPr/>
              </p:nvSpPr>
              <p:spPr bwMode="auto">
                <a:xfrm>
                  <a:off x="4874713" y="3354730"/>
                  <a:ext cx="1979" cy="11871"/>
                </a:xfrm>
                <a:custGeom>
                  <a:avLst/>
                  <a:gdLst>
                    <a:gd name="T0" fmla="*/ 2 w 2"/>
                    <a:gd name="T1" fmla="*/ 12 h 12"/>
                    <a:gd name="T2" fmla="*/ 2 w 2"/>
                    <a:gd name="T3" fmla="*/ 12 h 12"/>
                    <a:gd name="T4" fmla="*/ 0 w 2"/>
                    <a:gd name="T5" fmla="*/ 12 h 12"/>
                    <a:gd name="T6" fmla="*/ 0 w 2"/>
                    <a:gd name="T7" fmla="*/ 12 h 12"/>
                    <a:gd name="T8" fmla="*/ 2 w 2"/>
                    <a:gd name="T9" fmla="*/ 0 h 12"/>
                    <a:gd name="T10" fmla="*/ 2 w 2"/>
                    <a:gd name="T11" fmla="*/ 0 h 12"/>
                    <a:gd name="T12" fmla="*/ 2 w 2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2">
                      <a:moveTo>
                        <a:pt x="2" y="12"/>
                      </a:moveTo>
                      <a:lnTo>
                        <a:pt x="2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1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88" name="Freeform 641"/>
                <p:cNvSpPr>
                  <a:spLocks/>
                </p:cNvSpPr>
                <p:nvPr/>
              </p:nvSpPr>
              <p:spPr bwMode="auto">
                <a:xfrm>
                  <a:off x="4874713" y="3359676"/>
                  <a:ext cx="33635" cy="33635"/>
                </a:xfrm>
                <a:custGeom>
                  <a:avLst/>
                  <a:gdLst>
                    <a:gd name="T0" fmla="*/ 12 w 34"/>
                    <a:gd name="T1" fmla="*/ 34 h 34"/>
                    <a:gd name="T2" fmla="*/ 8 w 34"/>
                    <a:gd name="T3" fmla="*/ 24 h 34"/>
                    <a:gd name="T4" fmla="*/ 5 w 34"/>
                    <a:gd name="T5" fmla="*/ 23 h 34"/>
                    <a:gd name="T6" fmla="*/ 5 w 34"/>
                    <a:gd name="T7" fmla="*/ 24 h 34"/>
                    <a:gd name="T8" fmla="*/ 3 w 34"/>
                    <a:gd name="T9" fmla="*/ 26 h 34"/>
                    <a:gd name="T10" fmla="*/ 0 w 34"/>
                    <a:gd name="T11" fmla="*/ 13 h 34"/>
                    <a:gd name="T12" fmla="*/ 0 w 34"/>
                    <a:gd name="T13" fmla="*/ 10 h 34"/>
                    <a:gd name="T14" fmla="*/ 0 w 34"/>
                    <a:gd name="T15" fmla="*/ 10 h 34"/>
                    <a:gd name="T16" fmla="*/ 2 w 34"/>
                    <a:gd name="T17" fmla="*/ 7 h 34"/>
                    <a:gd name="T18" fmla="*/ 12 w 34"/>
                    <a:gd name="T19" fmla="*/ 13 h 34"/>
                    <a:gd name="T20" fmla="*/ 12 w 34"/>
                    <a:gd name="T21" fmla="*/ 13 h 34"/>
                    <a:gd name="T22" fmla="*/ 13 w 34"/>
                    <a:gd name="T23" fmla="*/ 13 h 34"/>
                    <a:gd name="T24" fmla="*/ 13 w 34"/>
                    <a:gd name="T25" fmla="*/ 13 h 34"/>
                    <a:gd name="T26" fmla="*/ 13 w 34"/>
                    <a:gd name="T27" fmla="*/ 13 h 34"/>
                    <a:gd name="T28" fmla="*/ 15 w 34"/>
                    <a:gd name="T29" fmla="*/ 13 h 34"/>
                    <a:gd name="T30" fmla="*/ 16 w 34"/>
                    <a:gd name="T31" fmla="*/ 4 h 34"/>
                    <a:gd name="T32" fmla="*/ 16 w 34"/>
                    <a:gd name="T33" fmla="*/ 4 h 34"/>
                    <a:gd name="T34" fmla="*/ 16 w 34"/>
                    <a:gd name="T35" fmla="*/ 4 h 34"/>
                    <a:gd name="T36" fmla="*/ 16 w 34"/>
                    <a:gd name="T37" fmla="*/ 4 h 34"/>
                    <a:gd name="T38" fmla="*/ 16 w 34"/>
                    <a:gd name="T39" fmla="*/ 2 h 34"/>
                    <a:gd name="T40" fmla="*/ 16 w 34"/>
                    <a:gd name="T41" fmla="*/ 2 h 34"/>
                    <a:gd name="T42" fmla="*/ 19 w 34"/>
                    <a:gd name="T43" fmla="*/ 1 h 34"/>
                    <a:gd name="T44" fmla="*/ 23 w 34"/>
                    <a:gd name="T45" fmla="*/ 0 h 34"/>
                    <a:gd name="T46" fmla="*/ 23 w 34"/>
                    <a:gd name="T47" fmla="*/ 0 h 34"/>
                    <a:gd name="T48" fmla="*/ 31 w 34"/>
                    <a:gd name="T49" fmla="*/ 1 h 34"/>
                    <a:gd name="T50" fmla="*/ 31 w 34"/>
                    <a:gd name="T51" fmla="*/ 1 h 34"/>
                    <a:gd name="T52" fmla="*/ 31 w 34"/>
                    <a:gd name="T53" fmla="*/ 1 h 34"/>
                    <a:gd name="T54" fmla="*/ 32 w 34"/>
                    <a:gd name="T55" fmla="*/ 5 h 34"/>
                    <a:gd name="T56" fmla="*/ 34 w 34"/>
                    <a:gd name="T57" fmla="*/ 20 h 34"/>
                    <a:gd name="T58" fmla="*/ 34 w 34"/>
                    <a:gd name="T59" fmla="*/ 20 h 34"/>
                    <a:gd name="T60" fmla="*/ 31 w 34"/>
                    <a:gd name="T61" fmla="*/ 26 h 34"/>
                    <a:gd name="T62" fmla="*/ 15 w 34"/>
                    <a:gd name="T63" fmla="*/ 31 h 34"/>
                    <a:gd name="T64" fmla="*/ 12 w 34"/>
                    <a:gd name="T65" fmla="*/ 3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4" h="34">
                      <a:moveTo>
                        <a:pt x="12" y="34"/>
                      </a:moveTo>
                      <a:lnTo>
                        <a:pt x="12" y="34"/>
                      </a:lnTo>
                      <a:lnTo>
                        <a:pt x="10" y="29"/>
                      </a:lnTo>
                      <a:lnTo>
                        <a:pt x="8" y="24"/>
                      </a:lnTo>
                      <a:lnTo>
                        <a:pt x="8" y="24"/>
                      </a:lnTo>
                      <a:lnTo>
                        <a:pt x="5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3" y="26"/>
                      </a:lnTo>
                      <a:lnTo>
                        <a:pt x="3" y="26"/>
                      </a:lnTo>
                      <a:lnTo>
                        <a:pt x="2" y="18"/>
                      </a:lnTo>
                      <a:lnTo>
                        <a:pt x="0" y="13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2" y="7"/>
                      </a:lnTo>
                      <a:lnTo>
                        <a:pt x="12" y="13"/>
                      </a:lnTo>
                      <a:lnTo>
                        <a:pt x="12" y="13"/>
                      </a:lnTo>
                      <a:lnTo>
                        <a:pt x="12" y="13"/>
                      </a:lnTo>
                      <a:lnTo>
                        <a:pt x="12" y="13"/>
                      </a:lnTo>
                      <a:lnTo>
                        <a:pt x="13" y="13"/>
                      </a:lnTo>
                      <a:lnTo>
                        <a:pt x="13" y="13"/>
                      </a:lnTo>
                      <a:lnTo>
                        <a:pt x="13" y="13"/>
                      </a:lnTo>
                      <a:lnTo>
                        <a:pt x="13" y="13"/>
                      </a:lnTo>
                      <a:lnTo>
                        <a:pt x="13" y="13"/>
                      </a:lnTo>
                      <a:lnTo>
                        <a:pt x="13" y="13"/>
                      </a:lnTo>
                      <a:lnTo>
                        <a:pt x="15" y="13"/>
                      </a:lnTo>
                      <a:lnTo>
                        <a:pt x="16" y="10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9" y="1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31" y="1"/>
                      </a:lnTo>
                      <a:lnTo>
                        <a:pt x="31" y="1"/>
                      </a:lnTo>
                      <a:lnTo>
                        <a:pt x="31" y="1"/>
                      </a:lnTo>
                      <a:lnTo>
                        <a:pt x="31" y="1"/>
                      </a:lnTo>
                      <a:lnTo>
                        <a:pt x="31" y="1"/>
                      </a:lnTo>
                      <a:lnTo>
                        <a:pt x="31" y="1"/>
                      </a:lnTo>
                      <a:lnTo>
                        <a:pt x="32" y="5"/>
                      </a:lnTo>
                      <a:lnTo>
                        <a:pt x="32" y="5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3"/>
                      </a:lnTo>
                      <a:lnTo>
                        <a:pt x="31" y="26"/>
                      </a:lnTo>
                      <a:lnTo>
                        <a:pt x="26" y="29"/>
                      </a:lnTo>
                      <a:lnTo>
                        <a:pt x="15" y="31"/>
                      </a:lnTo>
                      <a:lnTo>
                        <a:pt x="15" y="31"/>
                      </a:lnTo>
                      <a:lnTo>
                        <a:pt x="12" y="3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89" name="Freeform 642"/>
                <p:cNvSpPr>
                  <a:spLocks/>
                </p:cNvSpPr>
                <p:nvPr/>
              </p:nvSpPr>
              <p:spPr bwMode="auto">
                <a:xfrm>
                  <a:off x="4874713" y="3359676"/>
                  <a:ext cx="33635" cy="33635"/>
                </a:xfrm>
                <a:custGeom>
                  <a:avLst/>
                  <a:gdLst>
                    <a:gd name="T0" fmla="*/ 12 w 34"/>
                    <a:gd name="T1" fmla="*/ 34 h 34"/>
                    <a:gd name="T2" fmla="*/ 8 w 34"/>
                    <a:gd name="T3" fmla="*/ 24 h 34"/>
                    <a:gd name="T4" fmla="*/ 5 w 34"/>
                    <a:gd name="T5" fmla="*/ 23 h 34"/>
                    <a:gd name="T6" fmla="*/ 5 w 34"/>
                    <a:gd name="T7" fmla="*/ 24 h 34"/>
                    <a:gd name="T8" fmla="*/ 3 w 34"/>
                    <a:gd name="T9" fmla="*/ 26 h 34"/>
                    <a:gd name="T10" fmla="*/ 0 w 34"/>
                    <a:gd name="T11" fmla="*/ 13 h 34"/>
                    <a:gd name="T12" fmla="*/ 0 w 34"/>
                    <a:gd name="T13" fmla="*/ 10 h 34"/>
                    <a:gd name="T14" fmla="*/ 0 w 34"/>
                    <a:gd name="T15" fmla="*/ 10 h 34"/>
                    <a:gd name="T16" fmla="*/ 2 w 34"/>
                    <a:gd name="T17" fmla="*/ 7 h 34"/>
                    <a:gd name="T18" fmla="*/ 12 w 34"/>
                    <a:gd name="T19" fmla="*/ 13 h 34"/>
                    <a:gd name="T20" fmla="*/ 12 w 34"/>
                    <a:gd name="T21" fmla="*/ 13 h 34"/>
                    <a:gd name="T22" fmla="*/ 13 w 34"/>
                    <a:gd name="T23" fmla="*/ 13 h 34"/>
                    <a:gd name="T24" fmla="*/ 13 w 34"/>
                    <a:gd name="T25" fmla="*/ 13 h 34"/>
                    <a:gd name="T26" fmla="*/ 13 w 34"/>
                    <a:gd name="T27" fmla="*/ 13 h 34"/>
                    <a:gd name="T28" fmla="*/ 15 w 34"/>
                    <a:gd name="T29" fmla="*/ 13 h 34"/>
                    <a:gd name="T30" fmla="*/ 16 w 34"/>
                    <a:gd name="T31" fmla="*/ 4 h 34"/>
                    <a:gd name="T32" fmla="*/ 16 w 34"/>
                    <a:gd name="T33" fmla="*/ 4 h 34"/>
                    <a:gd name="T34" fmla="*/ 16 w 34"/>
                    <a:gd name="T35" fmla="*/ 4 h 34"/>
                    <a:gd name="T36" fmla="*/ 16 w 34"/>
                    <a:gd name="T37" fmla="*/ 4 h 34"/>
                    <a:gd name="T38" fmla="*/ 16 w 34"/>
                    <a:gd name="T39" fmla="*/ 2 h 34"/>
                    <a:gd name="T40" fmla="*/ 16 w 34"/>
                    <a:gd name="T41" fmla="*/ 2 h 34"/>
                    <a:gd name="T42" fmla="*/ 19 w 34"/>
                    <a:gd name="T43" fmla="*/ 1 h 34"/>
                    <a:gd name="T44" fmla="*/ 23 w 34"/>
                    <a:gd name="T45" fmla="*/ 0 h 34"/>
                    <a:gd name="T46" fmla="*/ 23 w 34"/>
                    <a:gd name="T47" fmla="*/ 0 h 34"/>
                    <a:gd name="T48" fmla="*/ 31 w 34"/>
                    <a:gd name="T49" fmla="*/ 1 h 34"/>
                    <a:gd name="T50" fmla="*/ 31 w 34"/>
                    <a:gd name="T51" fmla="*/ 1 h 34"/>
                    <a:gd name="T52" fmla="*/ 31 w 34"/>
                    <a:gd name="T53" fmla="*/ 1 h 34"/>
                    <a:gd name="T54" fmla="*/ 32 w 34"/>
                    <a:gd name="T55" fmla="*/ 5 h 34"/>
                    <a:gd name="T56" fmla="*/ 34 w 34"/>
                    <a:gd name="T57" fmla="*/ 20 h 34"/>
                    <a:gd name="T58" fmla="*/ 34 w 34"/>
                    <a:gd name="T59" fmla="*/ 20 h 34"/>
                    <a:gd name="T60" fmla="*/ 31 w 34"/>
                    <a:gd name="T61" fmla="*/ 26 h 34"/>
                    <a:gd name="T62" fmla="*/ 15 w 34"/>
                    <a:gd name="T63" fmla="*/ 31 h 34"/>
                    <a:gd name="T64" fmla="*/ 12 w 34"/>
                    <a:gd name="T65" fmla="*/ 3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4" h="34">
                      <a:moveTo>
                        <a:pt x="12" y="34"/>
                      </a:moveTo>
                      <a:lnTo>
                        <a:pt x="12" y="34"/>
                      </a:lnTo>
                      <a:lnTo>
                        <a:pt x="10" y="29"/>
                      </a:lnTo>
                      <a:lnTo>
                        <a:pt x="8" y="24"/>
                      </a:lnTo>
                      <a:lnTo>
                        <a:pt x="8" y="24"/>
                      </a:lnTo>
                      <a:lnTo>
                        <a:pt x="5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3" y="26"/>
                      </a:lnTo>
                      <a:lnTo>
                        <a:pt x="3" y="26"/>
                      </a:lnTo>
                      <a:lnTo>
                        <a:pt x="2" y="18"/>
                      </a:lnTo>
                      <a:lnTo>
                        <a:pt x="0" y="13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2" y="7"/>
                      </a:lnTo>
                      <a:lnTo>
                        <a:pt x="12" y="13"/>
                      </a:lnTo>
                      <a:lnTo>
                        <a:pt x="12" y="13"/>
                      </a:lnTo>
                      <a:lnTo>
                        <a:pt x="12" y="13"/>
                      </a:lnTo>
                      <a:lnTo>
                        <a:pt x="12" y="13"/>
                      </a:lnTo>
                      <a:lnTo>
                        <a:pt x="13" y="13"/>
                      </a:lnTo>
                      <a:lnTo>
                        <a:pt x="13" y="13"/>
                      </a:lnTo>
                      <a:lnTo>
                        <a:pt x="13" y="13"/>
                      </a:lnTo>
                      <a:lnTo>
                        <a:pt x="13" y="13"/>
                      </a:lnTo>
                      <a:lnTo>
                        <a:pt x="13" y="13"/>
                      </a:lnTo>
                      <a:lnTo>
                        <a:pt x="13" y="13"/>
                      </a:lnTo>
                      <a:lnTo>
                        <a:pt x="15" y="13"/>
                      </a:lnTo>
                      <a:lnTo>
                        <a:pt x="16" y="10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9" y="1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31" y="1"/>
                      </a:lnTo>
                      <a:lnTo>
                        <a:pt x="31" y="1"/>
                      </a:lnTo>
                      <a:lnTo>
                        <a:pt x="31" y="1"/>
                      </a:lnTo>
                      <a:lnTo>
                        <a:pt x="31" y="1"/>
                      </a:lnTo>
                      <a:lnTo>
                        <a:pt x="31" y="1"/>
                      </a:lnTo>
                      <a:lnTo>
                        <a:pt x="31" y="1"/>
                      </a:lnTo>
                      <a:lnTo>
                        <a:pt x="32" y="5"/>
                      </a:lnTo>
                      <a:lnTo>
                        <a:pt x="32" y="5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3"/>
                      </a:lnTo>
                      <a:lnTo>
                        <a:pt x="31" y="26"/>
                      </a:lnTo>
                      <a:lnTo>
                        <a:pt x="26" y="29"/>
                      </a:lnTo>
                      <a:lnTo>
                        <a:pt x="15" y="31"/>
                      </a:lnTo>
                      <a:lnTo>
                        <a:pt x="15" y="31"/>
                      </a:lnTo>
                      <a:lnTo>
                        <a:pt x="12" y="3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90" name="Freeform 643"/>
                <p:cNvSpPr>
                  <a:spLocks noEditPoints="1"/>
                </p:cNvSpPr>
                <p:nvPr/>
              </p:nvSpPr>
              <p:spPr bwMode="auto">
                <a:xfrm>
                  <a:off x="4874713" y="3366601"/>
                  <a:ext cx="2968" cy="18796"/>
                </a:xfrm>
                <a:custGeom>
                  <a:avLst/>
                  <a:gdLst>
                    <a:gd name="T0" fmla="*/ 0 w 3"/>
                    <a:gd name="T1" fmla="*/ 3 h 19"/>
                    <a:gd name="T2" fmla="*/ 0 w 3"/>
                    <a:gd name="T3" fmla="*/ 3 h 19"/>
                    <a:gd name="T4" fmla="*/ 0 w 3"/>
                    <a:gd name="T5" fmla="*/ 0 h 19"/>
                    <a:gd name="T6" fmla="*/ 0 w 3"/>
                    <a:gd name="T7" fmla="*/ 0 h 19"/>
                    <a:gd name="T8" fmla="*/ 2 w 3"/>
                    <a:gd name="T9" fmla="*/ 0 h 19"/>
                    <a:gd name="T10" fmla="*/ 2 w 3"/>
                    <a:gd name="T11" fmla="*/ 0 h 19"/>
                    <a:gd name="T12" fmla="*/ 0 w 3"/>
                    <a:gd name="T13" fmla="*/ 3 h 19"/>
                    <a:gd name="T14" fmla="*/ 3 w 3"/>
                    <a:gd name="T15" fmla="*/ 19 h 19"/>
                    <a:gd name="T16" fmla="*/ 3 w 3"/>
                    <a:gd name="T17" fmla="*/ 19 h 19"/>
                    <a:gd name="T18" fmla="*/ 2 w 3"/>
                    <a:gd name="T19" fmla="*/ 11 h 19"/>
                    <a:gd name="T20" fmla="*/ 0 w 3"/>
                    <a:gd name="T21" fmla="*/ 6 h 19"/>
                    <a:gd name="T22" fmla="*/ 0 w 3"/>
                    <a:gd name="T23" fmla="*/ 6 h 19"/>
                    <a:gd name="T24" fmla="*/ 2 w 3"/>
                    <a:gd name="T25" fmla="*/ 11 h 19"/>
                    <a:gd name="T26" fmla="*/ 3 w 3"/>
                    <a:gd name="T27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19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3"/>
                      </a:lnTo>
                      <a:close/>
                      <a:moveTo>
                        <a:pt x="3" y="19"/>
                      </a:moveTo>
                      <a:lnTo>
                        <a:pt x="3" y="19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2" y="11"/>
                      </a:lnTo>
                      <a:lnTo>
                        <a:pt x="3" y="1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91" name="Freeform 644"/>
                <p:cNvSpPr>
                  <a:spLocks/>
                </p:cNvSpPr>
                <p:nvPr/>
              </p:nvSpPr>
              <p:spPr bwMode="auto">
                <a:xfrm>
                  <a:off x="4874713" y="3366601"/>
                  <a:ext cx="1979" cy="2968"/>
                </a:xfrm>
                <a:custGeom>
                  <a:avLst/>
                  <a:gdLst>
                    <a:gd name="T0" fmla="*/ 0 w 2"/>
                    <a:gd name="T1" fmla="*/ 3 h 3"/>
                    <a:gd name="T2" fmla="*/ 0 w 2"/>
                    <a:gd name="T3" fmla="*/ 3 h 3"/>
                    <a:gd name="T4" fmla="*/ 0 w 2"/>
                    <a:gd name="T5" fmla="*/ 0 h 3"/>
                    <a:gd name="T6" fmla="*/ 0 w 2"/>
                    <a:gd name="T7" fmla="*/ 0 h 3"/>
                    <a:gd name="T8" fmla="*/ 2 w 2"/>
                    <a:gd name="T9" fmla="*/ 0 h 3"/>
                    <a:gd name="T10" fmla="*/ 2 w 2"/>
                    <a:gd name="T11" fmla="*/ 0 h 3"/>
                    <a:gd name="T12" fmla="*/ 0 w 2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92" name="Freeform 645"/>
                <p:cNvSpPr>
                  <a:spLocks/>
                </p:cNvSpPr>
                <p:nvPr/>
              </p:nvSpPr>
              <p:spPr bwMode="auto">
                <a:xfrm>
                  <a:off x="4874713" y="3372537"/>
                  <a:ext cx="2968" cy="12860"/>
                </a:xfrm>
                <a:custGeom>
                  <a:avLst/>
                  <a:gdLst>
                    <a:gd name="T0" fmla="*/ 3 w 3"/>
                    <a:gd name="T1" fmla="*/ 13 h 13"/>
                    <a:gd name="T2" fmla="*/ 3 w 3"/>
                    <a:gd name="T3" fmla="*/ 13 h 13"/>
                    <a:gd name="T4" fmla="*/ 2 w 3"/>
                    <a:gd name="T5" fmla="*/ 5 h 13"/>
                    <a:gd name="T6" fmla="*/ 0 w 3"/>
                    <a:gd name="T7" fmla="*/ 0 h 13"/>
                    <a:gd name="T8" fmla="*/ 0 w 3"/>
                    <a:gd name="T9" fmla="*/ 0 h 13"/>
                    <a:gd name="T10" fmla="*/ 2 w 3"/>
                    <a:gd name="T11" fmla="*/ 5 h 13"/>
                    <a:gd name="T12" fmla="*/ 3 w 3"/>
                    <a:gd name="T13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13">
                      <a:moveTo>
                        <a:pt x="3" y="13"/>
                      </a:moveTo>
                      <a:lnTo>
                        <a:pt x="3" y="13"/>
                      </a:lnTo>
                      <a:lnTo>
                        <a:pt x="2" y="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5"/>
                      </a:lnTo>
                      <a:lnTo>
                        <a:pt x="3" y="1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93" name="Freeform 646"/>
                <p:cNvSpPr>
                  <a:spLocks noEditPoints="1"/>
                </p:cNvSpPr>
                <p:nvPr/>
              </p:nvSpPr>
              <p:spPr bwMode="auto">
                <a:xfrm>
                  <a:off x="4886584" y="3364623"/>
                  <a:ext cx="21764" cy="28689"/>
                </a:xfrm>
                <a:custGeom>
                  <a:avLst/>
                  <a:gdLst>
                    <a:gd name="T0" fmla="*/ 22 w 22"/>
                    <a:gd name="T1" fmla="*/ 15 h 29"/>
                    <a:gd name="T2" fmla="*/ 22 w 22"/>
                    <a:gd name="T3" fmla="*/ 15 h 29"/>
                    <a:gd name="T4" fmla="*/ 20 w 22"/>
                    <a:gd name="T5" fmla="*/ 0 h 29"/>
                    <a:gd name="T6" fmla="*/ 20 w 22"/>
                    <a:gd name="T7" fmla="*/ 0 h 29"/>
                    <a:gd name="T8" fmla="*/ 22 w 22"/>
                    <a:gd name="T9" fmla="*/ 15 h 29"/>
                    <a:gd name="T10" fmla="*/ 0 w 22"/>
                    <a:gd name="T11" fmla="*/ 29 h 29"/>
                    <a:gd name="T12" fmla="*/ 0 w 22"/>
                    <a:gd name="T13" fmla="*/ 29 h 29"/>
                    <a:gd name="T14" fmla="*/ 0 w 22"/>
                    <a:gd name="T15" fmla="*/ 29 h 29"/>
                    <a:gd name="T16" fmla="*/ 3 w 22"/>
                    <a:gd name="T17" fmla="*/ 26 h 29"/>
                    <a:gd name="T18" fmla="*/ 3 w 22"/>
                    <a:gd name="T19" fmla="*/ 26 h 29"/>
                    <a:gd name="T20" fmla="*/ 14 w 22"/>
                    <a:gd name="T21" fmla="*/ 24 h 29"/>
                    <a:gd name="T22" fmla="*/ 19 w 22"/>
                    <a:gd name="T23" fmla="*/ 21 h 29"/>
                    <a:gd name="T24" fmla="*/ 22 w 22"/>
                    <a:gd name="T25" fmla="*/ 18 h 29"/>
                    <a:gd name="T26" fmla="*/ 22 w 22"/>
                    <a:gd name="T27" fmla="*/ 15 h 29"/>
                    <a:gd name="T28" fmla="*/ 22 w 22"/>
                    <a:gd name="T29" fmla="*/ 15 h 29"/>
                    <a:gd name="T30" fmla="*/ 22 w 22"/>
                    <a:gd name="T31" fmla="*/ 18 h 29"/>
                    <a:gd name="T32" fmla="*/ 19 w 22"/>
                    <a:gd name="T33" fmla="*/ 21 h 29"/>
                    <a:gd name="T34" fmla="*/ 14 w 22"/>
                    <a:gd name="T35" fmla="*/ 24 h 29"/>
                    <a:gd name="T36" fmla="*/ 3 w 22"/>
                    <a:gd name="T37" fmla="*/ 26 h 29"/>
                    <a:gd name="T38" fmla="*/ 3 w 22"/>
                    <a:gd name="T39" fmla="*/ 26 h 29"/>
                    <a:gd name="T40" fmla="*/ 0 w 22"/>
                    <a:gd name="T41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2" h="29">
                      <a:moveTo>
                        <a:pt x="22" y="15"/>
                      </a:moveTo>
                      <a:lnTo>
                        <a:pt x="22" y="15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2" y="15"/>
                      </a:lnTo>
                      <a:close/>
                      <a:moveTo>
                        <a:pt x="0" y="29"/>
                      </a:moveTo>
                      <a:lnTo>
                        <a:pt x="0" y="29"/>
                      </a:lnTo>
                      <a:lnTo>
                        <a:pt x="0" y="29"/>
                      </a:lnTo>
                      <a:lnTo>
                        <a:pt x="3" y="26"/>
                      </a:lnTo>
                      <a:lnTo>
                        <a:pt x="3" y="26"/>
                      </a:lnTo>
                      <a:lnTo>
                        <a:pt x="14" y="24"/>
                      </a:lnTo>
                      <a:lnTo>
                        <a:pt x="19" y="21"/>
                      </a:lnTo>
                      <a:lnTo>
                        <a:pt x="22" y="18"/>
                      </a:lnTo>
                      <a:lnTo>
                        <a:pt x="22" y="15"/>
                      </a:lnTo>
                      <a:lnTo>
                        <a:pt x="22" y="15"/>
                      </a:lnTo>
                      <a:lnTo>
                        <a:pt x="22" y="18"/>
                      </a:lnTo>
                      <a:lnTo>
                        <a:pt x="19" y="21"/>
                      </a:lnTo>
                      <a:lnTo>
                        <a:pt x="14" y="24"/>
                      </a:lnTo>
                      <a:lnTo>
                        <a:pt x="3" y="26"/>
                      </a:lnTo>
                      <a:lnTo>
                        <a:pt x="3" y="26"/>
                      </a:lnTo>
                      <a:lnTo>
                        <a:pt x="0" y="2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94" name="Freeform 647"/>
                <p:cNvSpPr>
                  <a:spLocks/>
                </p:cNvSpPr>
                <p:nvPr/>
              </p:nvSpPr>
              <p:spPr bwMode="auto">
                <a:xfrm>
                  <a:off x="4906369" y="3364623"/>
                  <a:ext cx="1979" cy="14839"/>
                </a:xfrm>
                <a:custGeom>
                  <a:avLst/>
                  <a:gdLst>
                    <a:gd name="T0" fmla="*/ 2 w 2"/>
                    <a:gd name="T1" fmla="*/ 15 h 15"/>
                    <a:gd name="T2" fmla="*/ 2 w 2"/>
                    <a:gd name="T3" fmla="*/ 15 h 15"/>
                    <a:gd name="T4" fmla="*/ 0 w 2"/>
                    <a:gd name="T5" fmla="*/ 0 h 15"/>
                    <a:gd name="T6" fmla="*/ 0 w 2"/>
                    <a:gd name="T7" fmla="*/ 0 h 15"/>
                    <a:gd name="T8" fmla="*/ 2 w 2"/>
                    <a:gd name="T9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5">
                      <a:moveTo>
                        <a:pt x="2" y="15"/>
                      </a:moveTo>
                      <a:lnTo>
                        <a:pt x="2" y="1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1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95" name="Freeform 648"/>
                <p:cNvSpPr>
                  <a:spLocks/>
                </p:cNvSpPr>
                <p:nvPr/>
              </p:nvSpPr>
              <p:spPr bwMode="auto">
                <a:xfrm>
                  <a:off x="4886584" y="3379461"/>
                  <a:ext cx="21764" cy="13850"/>
                </a:xfrm>
                <a:custGeom>
                  <a:avLst/>
                  <a:gdLst>
                    <a:gd name="T0" fmla="*/ 0 w 22"/>
                    <a:gd name="T1" fmla="*/ 14 h 14"/>
                    <a:gd name="T2" fmla="*/ 0 w 22"/>
                    <a:gd name="T3" fmla="*/ 14 h 14"/>
                    <a:gd name="T4" fmla="*/ 0 w 22"/>
                    <a:gd name="T5" fmla="*/ 14 h 14"/>
                    <a:gd name="T6" fmla="*/ 3 w 22"/>
                    <a:gd name="T7" fmla="*/ 11 h 14"/>
                    <a:gd name="T8" fmla="*/ 3 w 22"/>
                    <a:gd name="T9" fmla="*/ 11 h 14"/>
                    <a:gd name="T10" fmla="*/ 14 w 22"/>
                    <a:gd name="T11" fmla="*/ 9 h 14"/>
                    <a:gd name="T12" fmla="*/ 19 w 22"/>
                    <a:gd name="T13" fmla="*/ 6 h 14"/>
                    <a:gd name="T14" fmla="*/ 22 w 22"/>
                    <a:gd name="T15" fmla="*/ 3 h 14"/>
                    <a:gd name="T16" fmla="*/ 22 w 22"/>
                    <a:gd name="T17" fmla="*/ 0 h 14"/>
                    <a:gd name="T18" fmla="*/ 22 w 22"/>
                    <a:gd name="T19" fmla="*/ 0 h 14"/>
                    <a:gd name="T20" fmla="*/ 22 w 22"/>
                    <a:gd name="T21" fmla="*/ 3 h 14"/>
                    <a:gd name="T22" fmla="*/ 19 w 22"/>
                    <a:gd name="T23" fmla="*/ 6 h 14"/>
                    <a:gd name="T24" fmla="*/ 14 w 22"/>
                    <a:gd name="T25" fmla="*/ 9 h 14"/>
                    <a:gd name="T26" fmla="*/ 3 w 22"/>
                    <a:gd name="T27" fmla="*/ 11 h 14"/>
                    <a:gd name="T28" fmla="*/ 3 w 22"/>
                    <a:gd name="T29" fmla="*/ 11 h 14"/>
                    <a:gd name="T30" fmla="*/ 0 w 22"/>
                    <a:gd name="T31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2" h="14">
                      <a:moveTo>
                        <a:pt x="0" y="14"/>
                      </a:move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3" y="11"/>
                      </a:lnTo>
                      <a:lnTo>
                        <a:pt x="3" y="11"/>
                      </a:lnTo>
                      <a:lnTo>
                        <a:pt x="14" y="9"/>
                      </a:lnTo>
                      <a:lnTo>
                        <a:pt x="19" y="6"/>
                      </a:lnTo>
                      <a:lnTo>
                        <a:pt x="22" y="3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3"/>
                      </a:lnTo>
                      <a:lnTo>
                        <a:pt x="19" y="6"/>
                      </a:lnTo>
                      <a:lnTo>
                        <a:pt x="14" y="9"/>
                      </a:lnTo>
                      <a:lnTo>
                        <a:pt x="3" y="11"/>
                      </a:lnTo>
                      <a:lnTo>
                        <a:pt x="3" y="11"/>
                      </a:lnTo>
                      <a:lnTo>
                        <a:pt x="0" y="1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96" name="Freeform 649"/>
                <p:cNvSpPr>
                  <a:spLocks noEditPoints="1"/>
                </p:cNvSpPr>
                <p:nvPr/>
              </p:nvSpPr>
              <p:spPr bwMode="auto">
                <a:xfrm>
                  <a:off x="4886584" y="3359676"/>
                  <a:ext cx="18796" cy="12860"/>
                </a:xfrm>
                <a:custGeom>
                  <a:avLst/>
                  <a:gdLst>
                    <a:gd name="T0" fmla="*/ 11 w 19"/>
                    <a:gd name="T1" fmla="*/ 0 h 13"/>
                    <a:gd name="T2" fmla="*/ 11 w 19"/>
                    <a:gd name="T3" fmla="*/ 0 h 13"/>
                    <a:gd name="T4" fmla="*/ 11 w 19"/>
                    <a:gd name="T5" fmla="*/ 0 h 13"/>
                    <a:gd name="T6" fmla="*/ 19 w 19"/>
                    <a:gd name="T7" fmla="*/ 1 h 13"/>
                    <a:gd name="T8" fmla="*/ 19 w 19"/>
                    <a:gd name="T9" fmla="*/ 1 h 13"/>
                    <a:gd name="T10" fmla="*/ 19 w 19"/>
                    <a:gd name="T11" fmla="*/ 1 h 13"/>
                    <a:gd name="T12" fmla="*/ 19 w 19"/>
                    <a:gd name="T13" fmla="*/ 1 h 13"/>
                    <a:gd name="T14" fmla="*/ 19 w 19"/>
                    <a:gd name="T15" fmla="*/ 1 h 13"/>
                    <a:gd name="T16" fmla="*/ 19 w 19"/>
                    <a:gd name="T17" fmla="*/ 1 h 13"/>
                    <a:gd name="T18" fmla="*/ 19 w 19"/>
                    <a:gd name="T19" fmla="*/ 1 h 13"/>
                    <a:gd name="T20" fmla="*/ 19 w 19"/>
                    <a:gd name="T21" fmla="*/ 1 h 13"/>
                    <a:gd name="T22" fmla="*/ 4 w 19"/>
                    <a:gd name="T23" fmla="*/ 2 h 13"/>
                    <a:gd name="T24" fmla="*/ 4 w 19"/>
                    <a:gd name="T25" fmla="*/ 2 h 13"/>
                    <a:gd name="T26" fmla="*/ 7 w 19"/>
                    <a:gd name="T27" fmla="*/ 1 h 13"/>
                    <a:gd name="T28" fmla="*/ 11 w 19"/>
                    <a:gd name="T29" fmla="*/ 0 h 13"/>
                    <a:gd name="T30" fmla="*/ 11 w 19"/>
                    <a:gd name="T31" fmla="*/ 0 h 13"/>
                    <a:gd name="T32" fmla="*/ 7 w 19"/>
                    <a:gd name="T33" fmla="*/ 1 h 13"/>
                    <a:gd name="T34" fmla="*/ 4 w 19"/>
                    <a:gd name="T35" fmla="*/ 2 h 13"/>
                    <a:gd name="T36" fmla="*/ 4 w 19"/>
                    <a:gd name="T37" fmla="*/ 4 h 13"/>
                    <a:gd name="T38" fmla="*/ 4 w 19"/>
                    <a:gd name="T39" fmla="*/ 4 h 13"/>
                    <a:gd name="T40" fmla="*/ 4 w 19"/>
                    <a:gd name="T41" fmla="*/ 2 h 13"/>
                    <a:gd name="T42" fmla="*/ 4 w 19"/>
                    <a:gd name="T43" fmla="*/ 2 h 13"/>
                    <a:gd name="T44" fmla="*/ 4 w 19"/>
                    <a:gd name="T45" fmla="*/ 4 h 13"/>
                    <a:gd name="T46" fmla="*/ 4 w 19"/>
                    <a:gd name="T47" fmla="*/ 4 h 13"/>
                    <a:gd name="T48" fmla="*/ 4 w 19"/>
                    <a:gd name="T49" fmla="*/ 4 h 13"/>
                    <a:gd name="T50" fmla="*/ 4 w 19"/>
                    <a:gd name="T51" fmla="*/ 4 h 13"/>
                    <a:gd name="T52" fmla="*/ 4 w 19"/>
                    <a:gd name="T53" fmla="*/ 4 h 13"/>
                    <a:gd name="T54" fmla="*/ 4 w 19"/>
                    <a:gd name="T55" fmla="*/ 4 h 13"/>
                    <a:gd name="T56" fmla="*/ 0 w 19"/>
                    <a:gd name="T57" fmla="*/ 13 h 13"/>
                    <a:gd name="T58" fmla="*/ 0 w 19"/>
                    <a:gd name="T59" fmla="*/ 13 h 13"/>
                    <a:gd name="T60" fmla="*/ 0 w 19"/>
                    <a:gd name="T61" fmla="*/ 13 h 13"/>
                    <a:gd name="T62" fmla="*/ 0 w 19"/>
                    <a:gd name="T63" fmla="*/ 13 h 13"/>
                    <a:gd name="T64" fmla="*/ 0 w 19"/>
                    <a:gd name="T65" fmla="*/ 13 h 13"/>
                    <a:gd name="T66" fmla="*/ 1 w 19"/>
                    <a:gd name="T67" fmla="*/ 13 h 13"/>
                    <a:gd name="T68" fmla="*/ 1 w 19"/>
                    <a:gd name="T69" fmla="*/ 13 h 13"/>
                    <a:gd name="T70" fmla="*/ 3 w 19"/>
                    <a:gd name="T71" fmla="*/ 13 h 13"/>
                    <a:gd name="T72" fmla="*/ 4 w 19"/>
                    <a:gd name="T73" fmla="*/ 10 h 13"/>
                    <a:gd name="T74" fmla="*/ 4 w 19"/>
                    <a:gd name="T75" fmla="*/ 4 h 13"/>
                    <a:gd name="T76" fmla="*/ 4 w 19"/>
                    <a:gd name="T77" fmla="*/ 4 h 13"/>
                    <a:gd name="T78" fmla="*/ 4 w 19"/>
                    <a:gd name="T79" fmla="*/ 10 h 13"/>
                    <a:gd name="T80" fmla="*/ 3 w 19"/>
                    <a:gd name="T81" fmla="*/ 13 h 13"/>
                    <a:gd name="T82" fmla="*/ 1 w 19"/>
                    <a:gd name="T83" fmla="*/ 13 h 13"/>
                    <a:gd name="T84" fmla="*/ 1 w 19"/>
                    <a:gd name="T85" fmla="*/ 13 h 13"/>
                    <a:gd name="T86" fmla="*/ 1 w 19"/>
                    <a:gd name="T87" fmla="*/ 13 h 13"/>
                    <a:gd name="T88" fmla="*/ 1 w 19"/>
                    <a:gd name="T89" fmla="*/ 13 h 13"/>
                    <a:gd name="T90" fmla="*/ 1 w 19"/>
                    <a:gd name="T91" fmla="*/ 13 h 13"/>
                    <a:gd name="T92" fmla="*/ 1 w 19"/>
                    <a:gd name="T93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" h="13">
                      <a:moveTo>
                        <a:pt x="11" y="0"/>
                      </a:moveTo>
                      <a:lnTo>
                        <a:pt x="11" y="0"/>
                      </a:lnTo>
                      <a:lnTo>
                        <a:pt x="11" y="0"/>
                      </a:lnTo>
                      <a:close/>
                      <a:moveTo>
                        <a:pt x="19" y="1"/>
                      </a:moveTo>
                      <a:lnTo>
                        <a:pt x="19" y="1"/>
                      </a:lnTo>
                      <a:lnTo>
                        <a:pt x="19" y="1"/>
                      </a:lnTo>
                      <a:close/>
                      <a:moveTo>
                        <a:pt x="19" y="1"/>
                      </a:moveTo>
                      <a:lnTo>
                        <a:pt x="19" y="1"/>
                      </a:lnTo>
                      <a:lnTo>
                        <a:pt x="19" y="1"/>
                      </a:lnTo>
                      <a:lnTo>
                        <a:pt x="19" y="1"/>
                      </a:lnTo>
                      <a:lnTo>
                        <a:pt x="19" y="1"/>
                      </a:lnTo>
                      <a:close/>
                      <a:moveTo>
                        <a:pt x="4" y="2"/>
                      </a:moveTo>
                      <a:lnTo>
                        <a:pt x="4" y="2"/>
                      </a:lnTo>
                      <a:lnTo>
                        <a:pt x="7" y="1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7" y="1"/>
                      </a:lnTo>
                      <a:lnTo>
                        <a:pt x="4" y="2"/>
                      </a:lnTo>
                      <a:close/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4"/>
                      </a:lnTo>
                      <a:close/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0" y="13"/>
                      </a:moveTo>
                      <a:lnTo>
                        <a:pt x="0" y="13"/>
                      </a:lnTo>
                      <a:lnTo>
                        <a:pt x="0" y="13"/>
                      </a:lnTo>
                      <a:lnTo>
                        <a:pt x="0" y="13"/>
                      </a:lnTo>
                      <a:lnTo>
                        <a:pt x="0" y="13"/>
                      </a:lnTo>
                      <a:close/>
                      <a:moveTo>
                        <a:pt x="1" y="13"/>
                      </a:moveTo>
                      <a:lnTo>
                        <a:pt x="1" y="13"/>
                      </a:lnTo>
                      <a:lnTo>
                        <a:pt x="3" y="13"/>
                      </a:lnTo>
                      <a:lnTo>
                        <a:pt x="4" y="10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10"/>
                      </a:lnTo>
                      <a:lnTo>
                        <a:pt x="3" y="13"/>
                      </a:lnTo>
                      <a:lnTo>
                        <a:pt x="1" y="13"/>
                      </a:lnTo>
                      <a:close/>
                      <a:moveTo>
                        <a:pt x="1" y="13"/>
                      </a:move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97" name="Freeform 650"/>
                <p:cNvSpPr>
                  <a:spLocks/>
                </p:cNvSpPr>
                <p:nvPr/>
              </p:nvSpPr>
              <p:spPr bwMode="auto">
                <a:xfrm>
                  <a:off x="4897466" y="335967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98" name="Freeform 651"/>
                <p:cNvSpPr>
                  <a:spLocks/>
                </p:cNvSpPr>
                <p:nvPr/>
              </p:nvSpPr>
              <p:spPr bwMode="auto">
                <a:xfrm>
                  <a:off x="4905380" y="336066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099" name="Rectangle 652"/>
                <p:cNvSpPr>
                  <a:spLocks noChangeArrowheads="1"/>
                </p:cNvSpPr>
                <p:nvPr/>
              </p:nvSpPr>
              <p:spPr bwMode="auto">
                <a:xfrm>
                  <a:off x="4905380" y="3360666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00" name="Freeform 653"/>
                <p:cNvSpPr>
                  <a:spLocks/>
                </p:cNvSpPr>
                <p:nvPr/>
              </p:nvSpPr>
              <p:spPr bwMode="auto">
                <a:xfrm>
                  <a:off x="4890541" y="3359676"/>
                  <a:ext cx="6925" cy="1979"/>
                </a:xfrm>
                <a:custGeom>
                  <a:avLst/>
                  <a:gdLst>
                    <a:gd name="T0" fmla="*/ 0 w 7"/>
                    <a:gd name="T1" fmla="*/ 2 h 2"/>
                    <a:gd name="T2" fmla="*/ 0 w 7"/>
                    <a:gd name="T3" fmla="*/ 2 h 2"/>
                    <a:gd name="T4" fmla="*/ 3 w 7"/>
                    <a:gd name="T5" fmla="*/ 1 h 2"/>
                    <a:gd name="T6" fmla="*/ 7 w 7"/>
                    <a:gd name="T7" fmla="*/ 0 h 2"/>
                    <a:gd name="T8" fmla="*/ 7 w 7"/>
                    <a:gd name="T9" fmla="*/ 0 h 2"/>
                    <a:gd name="T10" fmla="*/ 3 w 7"/>
                    <a:gd name="T11" fmla="*/ 1 h 2"/>
                    <a:gd name="T12" fmla="*/ 0 w 7"/>
                    <a:gd name="T1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3" y="1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01" name="Rectangle 654"/>
                <p:cNvSpPr>
                  <a:spLocks noChangeArrowheads="1"/>
                </p:cNvSpPr>
                <p:nvPr/>
              </p:nvSpPr>
              <p:spPr bwMode="auto">
                <a:xfrm>
                  <a:off x="4890541" y="3361655"/>
                  <a:ext cx="989" cy="197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02" name="Rectangle 655"/>
                <p:cNvSpPr>
                  <a:spLocks noChangeArrowheads="1"/>
                </p:cNvSpPr>
                <p:nvPr/>
              </p:nvSpPr>
              <p:spPr bwMode="auto">
                <a:xfrm>
                  <a:off x="4890541" y="3363633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03" name="Rectangle 656"/>
                <p:cNvSpPr>
                  <a:spLocks noChangeArrowheads="1"/>
                </p:cNvSpPr>
                <p:nvPr/>
              </p:nvSpPr>
              <p:spPr bwMode="auto">
                <a:xfrm>
                  <a:off x="4886584" y="337253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04" name="Freeform 657"/>
                <p:cNvSpPr>
                  <a:spLocks/>
                </p:cNvSpPr>
                <p:nvPr/>
              </p:nvSpPr>
              <p:spPr bwMode="auto">
                <a:xfrm>
                  <a:off x="4887573" y="3363633"/>
                  <a:ext cx="2968" cy="8903"/>
                </a:xfrm>
                <a:custGeom>
                  <a:avLst/>
                  <a:gdLst>
                    <a:gd name="T0" fmla="*/ 0 w 3"/>
                    <a:gd name="T1" fmla="*/ 9 h 9"/>
                    <a:gd name="T2" fmla="*/ 0 w 3"/>
                    <a:gd name="T3" fmla="*/ 9 h 9"/>
                    <a:gd name="T4" fmla="*/ 2 w 3"/>
                    <a:gd name="T5" fmla="*/ 9 h 9"/>
                    <a:gd name="T6" fmla="*/ 3 w 3"/>
                    <a:gd name="T7" fmla="*/ 6 h 9"/>
                    <a:gd name="T8" fmla="*/ 3 w 3"/>
                    <a:gd name="T9" fmla="*/ 0 h 9"/>
                    <a:gd name="T10" fmla="*/ 3 w 3"/>
                    <a:gd name="T11" fmla="*/ 0 h 9"/>
                    <a:gd name="T12" fmla="*/ 3 w 3"/>
                    <a:gd name="T13" fmla="*/ 6 h 9"/>
                    <a:gd name="T14" fmla="*/ 2 w 3"/>
                    <a:gd name="T15" fmla="*/ 9 h 9"/>
                    <a:gd name="T16" fmla="*/ 0 w 3"/>
                    <a:gd name="T17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9">
                      <a:moveTo>
                        <a:pt x="0" y="9"/>
                      </a:moveTo>
                      <a:lnTo>
                        <a:pt x="0" y="9"/>
                      </a:lnTo>
                      <a:lnTo>
                        <a:pt x="2" y="9"/>
                      </a:lnTo>
                      <a:lnTo>
                        <a:pt x="3" y="6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6"/>
                      </a:lnTo>
                      <a:lnTo>
                        <a:pt x="2" y="9"/>
                      </a:lnTo>
                      <a:lnTo>
                        <a:pt x="0" y="9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05" name="Rectangle 658"/>
                <p:cNvSpPr>
                  <a:spLocks noChangeArrowheads="1"/>
                </p:cNvSpPr>
                <p:nvPr/>
              </p:nvSpPr>
              <p:spPr bwMode="auto">
                <a:xfrm>
                  <a:off x="4887573" y="337253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50" name="Freeform 703"/>
                <p:cNvSpPr>
                  <a:spLocks/>
                </p:cNvSpPr>
                <p:nvPr/>
              </p:nvSpPr>
              <p:spPr bwMode="auto">
                <a:xfrm>
                  <a:off x="4261372" y="2595968"/>
                  <a:ext cx="52431" cy="100904"/>
                </a:xfrm>
                <a:custGeom>
                  <a:avLst/>
                  <a:gdLst>
                    <a:gd name="T0" fmla="*/ 35 w 53"/>
                    <a:gd name="T1" fmla="*/ 71 h 102"/>
                    <a:gd name="T2" fmla="*/ 35 w 53"/>
                    <a:gd name="T3" fmla="*/ 71 h 102"/>
                    <a:gd name="T4" fmla="*/ 37 w 53"/>
                    <a:gd name="T5" fmla="*/ 62 h 102"/>
                    <a:gd name="T6" fmla="*/ 40 w 53"/>
                    <a:gd name="T7" fmla="*/ 49 h 102"/>
                    <a:gd name="T8" fmla="*/ 41 w 53"/>
                    <a:gd name="T9" fmla="*/ 36 h 102"/>
                    <a:gd name="T10" fmla="*/ 42 w 53"/>
                    <a:gd name="T11" fmla="*/ 27 h 102"/>
                    <a:gd name="T12" fmla="*/ 42 w 53"/>
                    <a:gd name="T13" fmla="*/ 27 h 102"/>
                    <a:gd name="T14" fmla="*/ 45 w 53"/>
                    <a:gd name="T15" fmla="*/ 21 h 102"/>
                    <a:gd name="T16" fmla="*/ 50 w 53"/>
                    <a:gd name="T17" fmla="*/ 17 h 102"/>
                    <a:gd name="T18" fmla="*/ 53 w 53"/>
                    <a:gd name="T19" fmla="*/ 13 h 102"/>
                    <a:gd name="T20" fmla="*/ 53 w 53"/>
                    <a:gd name="T21" fmla="*/ 11 h 102"/>
                    <a:gd name="T22" fmla="*/ 51 w 53"/>
                    <a:gd name="T23" fmla="*/ 8 h 102"/>
                    <a:gd name="T24" fmla="*/ 51 w 53"/>
                    <a:gd name="T25" fmla="*/ 8 h 102"/>
                    <a:gd name="T26" fmla="*/ 48 w 53"/>
                    <a:gd name="T27" fmla="*/ 7 h 102"/>
                    <a:gd name="T28" fmla="*/ 44 w 53"/>
                    <a:gd name="T29" fmla="*/ 5 h 102"/>
                    <a:gd name="T30" fmla="*/ 37 w 53"/>
                    <a:gd name="T31" fmla="*/ 5 h 102"/>
                    <a:gd name="T32" fmla="*/ 24 w 53"/>
                    <a:gd name="T33" fmla="*/ 4 h 102"/>
                    <a:gd name="T34" fmla="*/ 24 w 53"/>
                    <a:gd name="T35" fmla="*/ 4 h 102"/>
                    <a:gd name="T36" fmla="*/ 24 w 53"/>
                    <a:gd name="T37" fmla="*/ 2 h 102"/>
                    <a:gd name="T38" fmla="*/ 22 w 53"/>
                    <a:gd name="T39" fmla="*/ 1 h 102"/>
                    <a:gd name="T40" fmla="*/ 21 w 53"/>
                    <a:gd name="T41" fmla="*/ 0 h 102"/>
                    <a:gd name="T42" fmla="*/ 16 w 53"/>
                    <a:gd name="T43" fmla="*/ 0 h 102"/>
                    <a:gd name="T44" fmla="*/ 16 w 53"/>
                    <a:gd name="T45" fmla="*/ 0 h 102"/>
                    <a:gd name="T46" fmla="*/ 9 w 53"/>
                    <a:gd name="T47" fmla="*/ 1 h 102"/>
                    <a:gd name="T48" fmla="*/ 9 w 53"/>
                    <a:gd name="T49" fmla="*/ 1 h 102"/>
                    <a:gd name="T50" fmla="*/ 13 w 53"/>
                    <a:gd name="T51" fmla="*/ 31 h 102"/>
                    <a:gd name="T52" fmla="*/ 13 w 53"/>
                    <a:gd name="T53" fmla="*/ 31 h 102"/>
                    <a:gd name="T54" fmla="*/ 13 w 53"/>
                    <a:gd name="T55" fmla="*/ 37 h 102"/>
                    <a:gd name="T56" fmla="*/ 9 w 53"/>
                    <a:gd name="T57" fmla="*/ 47 h 102"/>
                    <a:gd name="T58" fmla="*/ 0 w 53"/>
                    <a:gd name="T59" fmla="*/ 65 h 102"/>
                    <a:gd name="T60" fmla="*/ 0 w 53"/>
                    <a:gd name="T61" fmla="*/ 65 h 102"/>
                    <a:gd name="T62" fmla="*/ 0 w 53"/>
                    <a:gd name="T63" fmla="*/ 69 h 102"/>
                    <a:gd name="T64" fmla="*/ 2 w 53"/>
                    <a:gd name="T65" fmla="*/ 71 h 102"/>
                    <a:gd name="T66" fmla="*/ 6 w 53"/>
                    <a:gd name="T67" fmla="*/ 71 h 102"/>
                    <a:gd name="T68" fmla="*/ 6 w 53"/>
                    <a:gd name="T69" fmla="*/ 71 h 102"/>
                    <a:gd name="T70" fmla="*/ 8 w 53"/>
                    <a:gd name="T71" fmla="*/ 73 h 102"/>
                    <a:gd name="T72" fmla="*/ 9 w 53"/>
                    <a:gd name="T73" fmla="*/ 79 h 102"/>
                    <a:gd name="T74" fmla="*/ 11 w 53"/>
                    <a:gd name="T75" fmla="*/ 85 h 102"/>
                    <a:gd name="T76" fmla="*/ 11 w 53"/>
                    <a:gd name="T77" fmla="*/ 91 h 102"/>
                    <a:gd name="T78" fmla="*/ 11 w 53"/>
                    <a:gd name="T79" fmla="*/ 91 h 102"/>
                    <a:gd name="T80" fmla="*/ 9 w 53"/>
                    <a:gd name="T81" fmla="*/ 95 h 102"/>
                    <a:gd name="T82" fmla="*/ 11 w 53"/>
                    <a:gd name="T83" fmla="*/ 98 h 102"/>
                    <a:gd name="T84" fmla="*/ 13 w 53"/>
                    <a:gd name="T85" fmla="*/ 101 h 102"/>
                    <a:gd name="T86" fmla="*/ 18 w 53"/>
                    <a:gd name="T87" fmla="*/ 102 h 102"/>
                    <a:gd name="T88" fmla="*/ 18 w 53"/>
                    <a:gd name="T89" fmla="*/ 102 h 102"/>
                    <a:gd name="T90" fmla="*/ 25 w 53"/>
                    <a:gd name="T91" fmla="*/ 102 h 102"/>
                    <a:gd name="T92" fmla="*/ 29 w 53"/>
                    <a:gd name="T93" fmla="*/ 101 h 102"/>
                    <a:gd name="T94" fmla="*/ 29 w 53"/>
                    <a:gd name="T95" fmla="*/ 101 h 102"/>
                    <a:gd name="T96" fmla="*/ 31 w 53"/>
                    <a:gd name="T97" fmla="*/ 92 h 102"/>
                    <a:gd name="T98" fmla="*/ 34 w 53"/>
                    <a:gd name="T99" fmla="*/ 86 h 102"/>
                    <a:gd name="T100" fmla="*/ 34 w 53"/>
                    <a:gd name="T101" fmla="*/ 86 h 102"/>
                    <a:gd name="T102" fmla="*/ 35 w 53"/>
                    <a:gd name="T103" fmla="*/ 84 h 102"/>
                    <a:gd name="T104" fmla="*/ 35 w 53"/>
                    <a:gd name="T105" fmla="*/ 81 h 102"/>
                    <a:gd name="T106" fmla="*/ 35 w 53"/>
                    <a:gd name="T107" fmla="*/ 76 h 102"/>
                    <a:gd name="T108" fmla="*/ 35 w 53"/>
                    <a:gd name="T109" fmla="*/ 71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53" h="102">
                      <a:moveTo>
                        <a:pt x="35" y="71"/>
                      </a:moveTo>
                      <a:lnTo>
                        <a:pt x="35" y="71"/>
                      </a:lnTo>
                      <a:lnTo>
                        <a:pt x="37" y="62"/>
                      </a:lnTo>
                      <a:lnTo>
                        <a:pt x="40" y="49"/>
                      </a:lnTo>
                      <a:lnTo>
                        <a:pt x="41" y="36"/>
                      </a:lnTo>
                      <a:lnTo>
                        <a:pt x="42" y="27"/>
                      </a:lnTo>
                      <a:lnTo>
                        <a:pt x="42" y="27"/>
                      </a:lnTo>
                      <a:lnTo>
                        <a:pt x="45" y="21"/>
                      </a:lnTo>
                      <a:lnTo>
                        <a:pt x="50" y="17"/>
                      </a:lnTo>
                      <a:lnTo>
                        <a:pt x="53" y="13"/>
                      </a:lnTo>
                      <a:lnTo>
                        <a:pt x="53" y="11"/>
                      </a:lnTo>
                      <a:lnTo>
                        <a:pt x="51" y="8"/>
                      </a:lnTo>
                      <a:lnTo>
                        <a:pt x="51" y="8"/>
                      </a:lnTo>
                      <a:lnTo>
                        <a:pt x="48" y="7"/>
                      </a:lnTo>
                      <a:lnTo>
                        <a:pt x="44" y="5"/>
                      </a:lnTo>
                      <a:lnTo>
                        <a:pt x="37" y="5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2"/>
                      </a:lnTo>
                      <a:lnTo>
                        <a:pt x="22" y="1"/>
                      </a:lnTo>
                      <a:lnTo>
                        <a:pt x="21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9" y="1"/>
                      </a:lnTo>
                      <a:lnTo>
                        <a:pt x="9" y="1"/>
                      </a:lnTo>
                      <a:lnTo>
                        <a:pt x="13" y="31"/>
                      </a:lnTo>
                      <a:lnTo>
                        <a:pt x="13" y="31"/>
                      </a:lnTo>
                      <a:lnTo>
                        <a:pt x="13" y="37"/>
                      </a:lnTo>
                      <a:lnTo>
                        <a:pt x="9" y="47"/>
                      </a:lnTo>
                      <a:lnTo>
                        <a:pt x="0" y="65"/>
                      </a:lnTo>
                      <a:lnTo>
                        <a:pt x="0" y="65"/>
                      </a:lnTo>
                      <a:lnTo>
                        <a:pt x="0" y="69"/>
                      </a:lnTo>
                      <a:lnTo>
                        <a:pt x="2" y="71"/>
                      </a:lnTo>
                      <a:lnTo>
                        <a:pt x="6" y="71"/>
                      </a:lnTo>
                      <a:lnTo>
                        <a:pt x="6" y="71"/>
                      </a:lnTo>
                      <a:lnTo>
                        <a:pt x="8" y="73"/>
                      </a:lnTo>
                      <a:lnTo>
                        <a:pt x="9" y="79"/>
                      </a:lnTo>
                      <a:lnTo>
                        <a:pt x="11" y="85"/>
                      </a:lnTo>
                      <a:lnTo>
                        <a:pt x="11" y="91"/>
                      </a:lnTo>
                      <a:lnTo>
                        <a:pt x="11" y="91"/>
                      </a:lnTo>
                      <a:lnTo>
                        <a:pt x="9" y="95"/>
                      </a:lnTo>
                      <a:lnTo>
                        <a:pt x="11" y="98"/>
                      </a:lnTo>
                      <a:lnTo>
                        <a:pt x="13" y="101"/>
                      </a:lnTo>
                      <a:lnTo>
                        <a:pt x="18" y="102"/>
                      </a:lnTo>
                      <a:lnTo>
                        <a:pt x="18" y="102"/>
                      </a:lnTo>
                      <a:lnTo>
                        <a:pt x="25" y="102"/>
                      </a:lnTo>
                      <a:lnTo>
                        <a:pt x="29" y="101"/>
                      </a:lnTo>
                      <a:lnTo>
                        <a:pt x="29" y="101"/>
                      </a:lnTo>
                      <a:lnTo>
                        <a:pt x="31" y="92"/>
                      </a:lnTo>
                      <a:lnTo>
                        <a:pt x="34" y="86"/>
                      </a:lnTo>
                      <a:lnTo>
                        <a:pt x="34" y="86"/>
                      </a:lnTo>
                      <a:lnTo>
                        <a:pt x="35" y="84"/>
                      </a:lnTo>
                      <a:lnTo>
                        <a:pt x="35" y="81"/>
                      </a:lnTo>
                      <a:lnTo>
                        <a:pt x="35" y="76"/>
                      </a:lnTo>
                      <a:lnTo>
                        <a:pt x="35" y="7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51" name="Freeform 704"/>
                <p:cNvSpPr>
                  <a:spLocks/>
                </p:cNvSpPr>
                <p:nvPr/>
              </p:nvSpPr>
              <p:spPr bwMode="auto">
                <a:xfrm>
                  <a:off x="4261372" y="2595968"/>
                  <a:ext cx="52431" cy="100904"/>
                </a:xfrm>
                <a:custGeom>
                  <a:avLst/>
                  <a:gdLst>
                    <a:gd name="T0" fmla="*/ 35 w 53"/>
                    <a:gd name="T1" fmla="*/ 71 h 102"/>
                    <a:gd name="T2" fmla="*/ 35 w 53"/>
                    <a:gd name="T3" fmla="*/ 71 h 102"/>
                    <a:gd name="T4" fmla="*/ 37 w 53"/>
                    <a:gd name="T5" fmla="*/ 62 h 102"/>
                    <a:gd name="T6" fmla="*/ 40 w 53"/>
                    <a:gd name="T7" fmla="*/ 49 h 102"/>
                    <a:gd name="T8" fmla="*/ 41 w 53"/>
                    <a:gd name="T9" fmla="*/ 36 h 102"/>
                    <a:gd name="T10" fmla="*/ 42 w 53"/>
                    <a:gd name="T11" fmla="*/ 27 h 102"/>
                    <a:gd name="T12" fmla="*/ 42 w 53"/>
                    <a:gd name="T13" fmla="*/ 27 h 102"/>
                    <a:gd name="T14" fmla="*/ 45 w 53"/>
                    <a:gd name="T15" fmla="*/ 21 h 102"/>
                    <a:gd name="T16" fmla="*/ 50 w 53"/>
                    <a:gd name="T17" fmla="*/ 17 h 102"/>
                    <a:gd name="T18" fmla="*/ 53 w 53"/>
                    <a:gd name="T19" fmla="*/ 13 h 102"/>
                    <a:gd name="T20" fmla="*/ 53 w 53"/>
                    <a:gd name="T21" fmla="*/ 11 h 102"/>
                    <a:gd name="T22" fmla="*/ 51 w 53"/>
                    <a:gd name="T23" fmla="*/ 8 h 102"/>
                    <a:gd name="T24" fmla="*/ 51 w 53"/>
                    <a:gd name="T25" fmla="*/ 8 h 102"/>
                    <a:gd name="T26" fmla="*/ 48 w 53"/>
                    <a:gd name="T27" fmla="*/ 7 h 102"/>
                    <a:gd name="T28" fmla="*/ 44 w 53"/>
                    <a:gd name="T29" fmla="*/ 5 h 102"/>
                    <a:gd name="T30" fmla="*/ 37 w 53"/>
                    <a:gd name="T31" fmla="*/ 5 h 102"/>
                    <a:gd name="T32" fmla="*/ 24 w 53"/>
                    <a:gd name="T33" fmla="*/ 4 h 102"/>
                    <a:gd name="T34" fmla="*/ 24 w 53"/>
                    <a:gd name="T35" fmla="*/ 4 h 102"/>
                    <a:gd name="T36" fmla="*/ 24 w 53"/>
                    <a:gd name="T37" fmla="*/ 2 h 102"/>
                    <a:gd name="T38" fmla="*/ 22 w 53"/>
                    <a:gd name="T39" fmla="*/ 1 h 102"/>
                    <a:gd name="T40" fmla="*/ 21 w 53"/>
                    <a:gd name="T41" fmla="*/ 0 h 102"/>
                    <a:gd name="T42" fmla="*/ 16 w 53"/>
                    <a:gd name="T43" fmla="*/ 0 h 102"/>
                    <a:gd name="T44" fmla="*/ 16 w 53"/>
                    <a:gd name="T45" fmla="*/ 0 h 102"/>
                    <a:gd name="T46" fmla="*/ 9 w 53"/>
                    <a:gd name="T47" fmla="*/ 1 h 102"/>
                    <a:gd name="T48" fmla="*/ 9 w 53"/>
                    <a:gd name="T49" fmla="*/ 1 h 102"/>
                    <a:gd name="T50" fmla="*/ 13 w 53"/>
                    <a:gd name="T51" fmla="*/ 31 h 102"/>
                    <a:gd name="T52" fmla="*/ 13 w 53"/>
                    <a:gd name="T53" fmla="*/ 31 h 102"/>
                    <a:gd name="T54" fmla="*/ 13 w 53"/>
                    <a:gd name="T55" fmla="*/ 37 h 102"/>
                    <a:gd name="T56" fmla="*/ 9 w 53"/>
                    <a:gd name="T57" fmla="*/ 47 h 102"/>
                    <a:gd name="T58" fmla="*/ 0 w 53"/>
                    <a:gd name="T59" fmla="*/ 65 h 102"/>
                    <a:gd name="T60" fmla="*/ 0 w 53"/>
                    <a:gd name="T61" fmla="*/ 65 h 102"/>
                    <a:gd name="T62" fmla="*/ 0 w 53"/>
                    <a:gd name="T63" fmla="*/ 69 h 102"/>
                    <a:gd name="T64" fmla="*/ 2 w 53"/>
                    <a:gd name="T65" fmla="*/ 71 h 102"/>
                    <a:gd name="T66" fmla="*/ 6 w 53"/>
                    <a:gd name="T67" fmla="*/ 71 h 102"/>
                    <a:gd name="T68" fmla="*/ 6 w 53"/>
                    <a:gd name="T69" fmla="*/ 71 h 102"/>
                    <a:gd name="T70" fmla="*/ 8 w 53"/>
                    <a:gd name="T71" fmla="*/ 73 h 102"/>
                    <a:gd name="T72" fmla="*/ 9 w 53"/>
                    <a:gd name="T73" fmla="*/ 79 h 102"/>
                    <a:gd name="T74" fmla="*/ 11 w 53"/>
                    <a:gd name="T75" fmla="*/ 85 h 102"/>
                    <a:gd name="T76" fmla="*/ 11 w 53"/>
                    <a:gd name="T77" fmla="*/ 91 h 102"/>
                    <a:gd name="T78" fmla="*/ 11 w 53"/>
                    <a:gd name="T79" fmla="*/ 91 h 102"/>
                    <a:gd name="T80" fmla="*/ 9 w 53"/>
                    <a:gd name="T81" fmla="*/ 95 h 102"/>
                    <a:gd name="T82" fmla="*/ 11 w 53"/>
                    <a:gd name="T83" fmla="*/ 98 h 102"/>
                    <a:gd name="T84" fmla="*/ 13 w 53"/>
                    <a:gd name="T85" fmla="*/ 101 h 102"/>
                    <a:gd name="T86" fmla="*/ 18 w 53"/>
                    <a:gd name="T87" fmla="*/ 102 h 102"/>
                    <a:gd name="T88" fmla="*/ 18 w 53"/>
                    <a:gd name="T89" fmla="*/ 102 h 102"/>
                    <a:gd name="T90" fmla="*/ 25 w 53"/>
                    <a:gd name="T91" fmla="*/ 102 h 102"/>
                    <a:gd name="T92" fmla="*/ 29 w 53"/>
                    <a:gd name="T93" fmla="*/ 101 h 102"/>
                    <a:gd name="T94" fmla="*/ 29 w 53"/>
                    <a:gd name="T95" fmla="*/ 101 h 102"/>
                    <a:gd name="T96" fmla="*/ 31 w 53"/>
                    <a:gd name="T97" fmla="*/ 92 h 102"/>
                    <a:gd name="T98" fmla="*/ 34 w 53"/>
                    <a:gd name="T99" fmla="*/ 86 h 102"/>
                    <a:gd name="T100" fmla="*/ 34 w 53"/>
                    <a:gd name="T101" fmla="*/ 86 h 102"/>
                    <a:gd name="T102" fmla="*/ 35 w 53"/>
                    <a:gd name="T103" fmla="*/ 84 h 102"/>
                    <a:gd name="T104" fmla="*/ 35 w 53"/>
                    <a:gd name="T105" fmla="*/ 81 h 102"/>
                    <a:gd name="T106" fmla="*/ 35 w 53"/>
                    <a:gd name="T107" fmla="*/ 76 h 102"/>
                    <a:gd name="T108" fmla="*/ 35 w 53"/>
                    <a:gd name="T109" fmla="*/ 71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53" h="102">
                      <a:moveTo>
                        <a:pt x="35" y="71"/>
                      </a:moveTo>
                      <a:lnTo>
                        <a:pt x="35" y="71"/>
                      </a:lnTo>
                      <a:lnTo>
                        <a:pt x="37" y="62"/>
                      </a:lnTo>
                      <a:lnTo>
                        <a:pt x="40" y="49"/>
                      </a:lnTo>
                      <a:lnTo>
                        <a:pt x="41" y="36"/>
                      </a:lnTo>
                      <a:lnTo>
                        <a:pt x="42" y="27"/>
                      </a:lnTo>
                      <a:lnTo>
                        <a:pt x="42" y="27"/>
                      </a:lnTo>
                      <a:lnTo>
                        <a:pt x="45" y="21"/>
                      </a:lnTo>
                      <a:lnTo>
                        <a:pt x="50" y="17"/>
                      </a:lnTo>
                      <a:lnTo>
                        <a:pt x="53" y="13"/>
                      </a:lnTo>
                      <a:lnTo>
                        <a:pt x="53" y="11"/>
                      </a:lnTo>
                      <a:lnTo>
                        <a:pt x="51" y="8"/>
                      </a:lnTo>
                      <a:lnTo>
                        <a:pt x="51" y="8"/>
                      </a:lnTo>
                      <a:lnTo>
                        <a:pt x="48" y="7"/>
                      </a:lnTo>
                      <a:lnTo>
                        <a:pt x="44" y="5"/>
                      </a:lnTo>
                      <a:lnTo>
                        <a:pt x="37" y="5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2"/>
                      </a:lnTo>
                      <a:lnTo>
                        <a:pt x="22" y="1"/>
                      </a:lnTo>
                      <a:lnTo>
                        <a:pt x="21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9" y="1"/>
                      </a:lnTo>
                      <a:lnTo>
                        <a:pt x="9" y="1"/>
                      </a:lnTo>
                      <a:lnTo>
                        <a:pt x="13" y="31"/>
                      </a:lnTo>
                      <a:lnTo>
                        <a:pt x="13" y="31"/>
                      </a:lnTo>
                      <a:lnTo>
                        <a:pt x="13" y="37"/>
                      </a:lnTo>
                      <a:lnTo>
                        <a:pt x="9" y="47"/>
                      </a:lnTo>
                      <a:lnTo>
                        <a:pt x="0" y="65"/>
                      </a:lnTo>
                      <a:lnTo>
                        <a:pt x="0" y="65"/>
                      </a:lnTo>
                      <a:lnTo>
                        <a:pt x="0" y="69"/>
                      </a:lnTo>
                      <a:lnTo>
                        <a:pt x="2" y="71"/>
                      </a:lnTo>
                      <a:lnTo>
                        <a:pt x="6" y="71"/>
                      </a:lnTo>
                      <a:lnTo>
                        <a:pt x="6" y="71"/>
                      </a:lnTo>
                      <a:lnTo>
                        <a:pt x="8" y="73"/>
                      </a:lnTo>
                      <a:lnTo>
                        <a:pt x="9" y="79"/>
                      </a:lnTo>
                      <a:lnTo>
                        <a:pt x="11" y="85"/>
                      </a:lnTo>
                      <a:lnTo>
                        <a:pt x="11" y="91"/>
                      </a:lnTo>
                      <a:lnTo>
                        <a:pt x="11" y="91"/>
                      </a:lnTo>
                      <a:lnTo>
                        <a:pt x="9" y="95"/>
                      </a:lnTo>
                      <a:lnTo>
                        <a:pt x="11" y="98"/>
                      </a:lnTo>
                      <a:lnTo>
                        <a:pt x="13" y="101"/>
                      </a:lnTo>
                      <a:lnTo>
                        <a:pt x="18" y="102"/>
                      </a:lnTo>
                      <a:lnTo>
                        <a:pt x="18" y="102"/>
                      </a:lnTo>
                      <a:lnTo>
                        <a:pt x="25" y="102"/>
                      </a:lnTo>
                      <a:lnTo>
                        <a:pt x="29" y="101"/>
                      </a:lnTo>
                      <a:lnTo>
                        <a:pt x="29" y="101"/>
                      </a:lnTo>
                      <a:lnTo>
                        <a:pt x="31" y="92"/>
                      </a:lnTo>
                      <a:lnTo>
                        <a:pt x="34" y="86"/>
                      </a:lnTo>
                      <a:lnTo>
                        <a:pt x="34" y="86"/>
                      </a:lnTo>
                      <a:lnTo>
                        <a:pt x="35" y="84"/>
                      </a:lnTo>
                      <a:lnTo>
                        <a:pt x="35" y="81"/>
                      </a:lnTo>
                      <a:lnTo>
                        <a:pt x="35" y="76"/>
                      </a:lnTo>
                      <a:lnTo>
                        <a:pt x="35" y="7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52" name="Freeform 705"/>
                <p:cNvSpPr>
                  <a:spLocks/>
                </p:cNvSpPr>
                <p:nvPr/>
              </p:nvSpPr>
              <p:spPr bwMode="auto">
                <a:xfrm>
                  <a:off x="4727313" y="2606850"/>
                  <a:ext cx="104862" cy="101894"/>
                </a:xfrm>
                <a:custGeom>
                  <a:avLst/>
                  <a:gdLst>
                    <a:gd name="T0" fmla="*/ 15 w 106"/>
                    <a:gd name="T1" fmla="*/ 12 h 103"/>
                    <a:gd name="T2" fmla="*/ 15 w 106"/>
                    <a:gd name="T3" fmla="*/ 26 h 103"/>
                    <a:gd name="T4" fmla="*/ 10 w 106"/>
                    <a:gd name="T5" fmla="*/ 32 h 103"/>
                    <a:gd name="T6" fmla="*/ 2 w 106"/>
                    <a:gd name="T7" fmla="*/ 45 h 103"/>
                    <a:gd name="T8" fmla="*/ 6 w 106"/>
                    <a:gd name="T9" fmla="*/ 48 h 103"/>
                    <a:gd name="T10" fmla="*/ 10 w 106"/>
                    <a:gd name="T11" fmla="*/ 47 h 103"/>
                    <a:gd name="T12" fmla="*/ 18 w 106"/>
                    <a:gd name="T13" fmla="*/ 52 h 103"/>
                    <a:gd name="T14" fmla="*/ 19 w 106"/>
                    <a:gd name="T15" fmla="*/ 58 h 103"/>
                    <a:gd name="T16" fmla="*/ 20 w 106"/>
                    <a:gd name="T17" fmla="*/ 61 h 103"/>
                    <a:gd name="T18" fmla="*/ 49 w 106"/>
                    <a:gd name="T19" fmla="*/ 64 h 103"/>
                    <a:gd name="T20" fmla="*/ 51 w 106"/>
                    <a:gd name="T21" fmla="*/ 67 h 103"/>
                    <a:gd name="T22" fmla="*/ 46 w 106"/>
                    <a:gd name="T23" fmla="*/ 71 h 103"/>
                    <a:gd name="T24" fmla="*/ 32 w 106"/>
                    <a:gd name="T25" fmla="*/ 67 h 103"/>
                    <a:gd name="T26" fmla="*/ 23 w 106"/>
                    <a:gd name="T27" fmla="*/ 73 h 103"/>
                    <a:gd name="T28" fmla="*/ 23 w 106"/>
                    <a:gd name="T29" fmla="*/ 75 h 103"/>
                    <a:gd name="T30" fmla="*/ 29 w 106"/>
                    <a:gd name="T31" fmla="*/ 86 h 103"/>
                    <a:gd name="T32" fmla="*/ 31 w 106"/>
                    <a:gd name="T33" fmla="*/ 90 h 103"/>
                    <a:gd name="T34" fmla="*/ 36 w 106"/>
                    <a:gd name="T35" fmla="*/ 91 h 103"/>
                    <a:gd name="T36" fmla="*/ 42 w 106"/>
                    <a:gd name="T37" fmla="*/ 102 h 103"/>
                    <a:gd name="T38" fmla="*/ 44 w 106"/>
                    <a:gd name="T39" fmla="*/ 103 h 103"/>
                    <a:gd name="T40" fmla="*/ 49 w 106"/>
                    <a:gd name="T41" fmla="*/ 96 h 103"/>
                    <a:gd name="T42" fmla="*/ 52 w 106"/>
                    <a:gd name="T43" fmla="*/ 93 h 103"/>
                    <a:gd name="T44" fmla="*/ 52 w 106"/>
                    <a:gd name="T45" fmla="*/ 81 h 103"/>
                    <a:gd name="T46" fmla="*/ 57 w 106"/>
                    <a:gd name="T47" fmla="*/ 78 h 103"/>
                    <a:gd name="T48" fmla="*/ 58 w 106"/>
                    <a:gd name="T49" fmla="*/ 71 h 103"/>
                    <a:gd name="T50" fmla="*/ 62 w 106"/>
                    <a:gd name="T51" fmla="*/ 73 h 103"/>
                    <a:gd name="T52" fmla="*/ 64 w 106"/>
                    <a:gd name="T53" fmla="*/ 71 h 103"/>
                    <a:gd name="T54" fmla="*/ 65 w 106"/>
                    <a:gd name="T55" fmla="*/ 67 h 103"/>
                    <a:gd name="T56" fmla="*/ 75 w 106"/>
                    <a:gd name="T57" fmla="*/ 71 h 103"/>
                    <a:gd name="T58" fmla="*/ 75 w 106"/>
                    <a:gd name="T59" fmla="*/ 65 h 103"/>
                    <a:gd name="T60" fmla="*/ 73 w 106"/>
                    <a:gd name="T61" fmla="*/ 61 h 103"/>
                    <a:gd name="T62" fmla="*/ 64 w 106"/>
                    <a:gd name="T63" fmla="*/ 57 h 103"/>
                    <a:gd name="T64" fmla="*/ 52 w 106"/>
                    <a:gd name="T65" fmla="*/ 39 h 103"/>
                    <a:gd name="T66" fmla="*/ 46 w 106"/>
                    <a:gd name="T67" fmla="*/ 26 h 103"/>
                    <a:gd name="T68" fmla="*/ 48 w 106"/>
                    <a:gd name="T69" fmla="*/ 22 h 103"/>
                    <a:gd name="T70" fmla="*/ 60 w 106"/>
                    <a:gd name="T71" fmla="*/ 26 h 103"/>
                    <a:gd name="T72" fmla="*/ 62 w 106"/>
                    <a:gd name="T73" fmla="*/ 23 h 103"/>
                    <a:gd name="T74" fmla="*/ 62 w 106"/>
                    <a:gd name="T75" fmla="*/ 16 h 103"/>
                    <a:gd name="T76" fmla="*/ 77 w 106"/>
                    <a:gd name="T77" fmla="*/ 13 h 103"/>
                    <a:gd name="T78" fmla="*/ 90 w 106"/>
                    <a:gd name="T79" fmla="*/ 10 h 103"/>
                    <a:gd name="T80" fmla="*/ 97 w 106"/>
                    <a:gd name="T81" fmla="*/ 12 h 103"/>
                    <a:gd name="T82" fmla="*/ 102 w 106"/>
                    <a:gd name="T83" fmla="*/ 2 h 103"/>
                    <a:gd name="T84" fmla="*/ 73 w 106"/>
                    <a:gd name="T85" fmla="*/ 0 h 103"/>
                    <a:gd name="T86" fmla="*/ 51 w 106"/>
                    <a:gd name="T87" fmla="*/ 9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06" h="103">
                      <a:moveTo>
                        <a:pt x="45" y="10"/>
                      </a:moveTo>
                      <a:lnTo>
                        <a:pt x="45" y="10"/>
                      </a:lnTo>
                      <a:lnTo>
                        <a:pt x="15" y="12"/>
                      </a:lnTo>
                      <a:lnTo>
                        <a:pt x="15" y="12"/>
                      </a:lnTo>
                      <a:lnTo>
                        <a:pt x="16" y="20"/>
                      </a:lnTo>
                      <a:lnTo>
                        <a:pt x="15" y="26"/>
                      </a:lnTo>
                      <a:lnTo>
                        <a:pt x="15" y="26"/>
                      </a:lnTo>
                      <a:lnTo>
                        <a:pt x="13" y="29"/>
                      </a:lnTo>
                      <a:lnTo>
                        <a:pt x="10" y="32"/>
                      </a:lnTo>
                      <a:lnTo>
                        <a:pt x="0" y="41"/>
                      </a:lnTo>
                      <a:lnTo>
                        <a:pt x="0" y="41"/>
                      </a:lnTo>
                      <a:lnTo>
                        <a:pt x="2" y="45"/>
                      </a:lnTo>
                      <a:lnTo>
                        <a:pt x="2" y="45"/>
                      </a:lnTo>
                      <a:lnTo>
                        <a:pt x="4" y="48"/>
                      </a:lnTo>
                      <a:lnTo>
                        <a:pt x="6" y="48"/>
                      </a:lnTo>
                      <a:lnTo>
                        <a:pt x="9" y="47"/>
                      </a:lnTo>
                      <a:lnTo>
                        <a:pt x="10" y="47"/>
                      </a:lnTo>
                      <a:lnTo>
                        <a:pt x="10" y="47"/>
                      </a:lnTo>
                      <a:lnTo>
                        <a:pt x="13" y="48"/>
                      </a:lnTo>
                      <a:lnTo>
                        <a:pt x="15" y="49"/>
                      </a:lnTo>
                      <a:lnTo>
                        <a:pt x="18" y="52"/>
                      </a:lnTo>
                      <a:lnTo>
                        <a:pt x="18" y="52"/>
                      </a:lnTo>
                      <a:lnTo>
                        <a:pt x="20" y="55"/>
                      </a:lnTo>
                      <a:lnTo>
                        <a:pt x="19" y="58"/>
                      </a:lnTo>
                      <a:lnTo>
                        <a:pt x="19" y="60"/>
                      </a:lnTo>
                      <a:lnTo>
                        <a:pt x="20" y="61"/>
                      </a:lnTo>
                      <a:lnTo>
                        <a:pt x="20" y="61"/>
                      </a:lnTo>
                      <a:lnTo>
                        <a:pt x="26" y="62"/>
                      </a:lnTo>
                      <a:lnTo>
                        <a:pt x="35" y="64"/>
                      </a:lnTo>
                      <a:lnTo>
                        <a:pt x="49" y="64"/>
                      </a:lnTo>
                      <a:lnTo>
                        <a:pt x="49" y="64"/>
                      </a:lnTo>
                      <a:lnTo>
                        <a:pt x="51" y="65"/>
                      </a:lnTo>
                      <a:lnTo>
                        <a:pt x="51" y="67"/>
                      </a:lnTo>
                      <a:lnTo>
                        <a:pt x="49" y="71"/>
                      </a:lnTo>
                      <a:lnTo>
                        <a:pt x="49" y="71"/>
                      </a:lnTo>
                      <a:lnTo>
                        <a:pt x="46" y="71"/>
                      </a:lnTo>
                      <a:lnTo>
                        <a:pt x="41" y="70"/>
                      </a:lnTo>
                      <a:lnTo>
                        <a:pt x="32" y="67"/>
                      </a:lnTo>
                      <a:lnTo>
                        <a:pt x="32" y="67"/>
                      </a:lnTo>
                      <a:lnTo>
                        <a:pt x="29" y="67"/>
                      </a:lnTo>
                      <a:lnTo>
                        <a:pt x="26" y="68"/>
                      </a:lnTo>
                      <a:lnTo>
                        <a:pt x="23" y="73"/>
                      </a:lnTo>
                      <a:lnTo>
                        <a:pt x="23" y="73"/>
                      </a:lnTo>
                      <a:lnTo>
                        <a:pt x="22" y="74"/>
                      </a:lnTo>
                      <a:lnTo>
                        <a:pt x="23" y="75"/>
                      </a:lnTo>
                      <a:lnTo>
                        <a:pt x="25" y="78"/>
                      </a:lnTo>
                      <a:lnTo>
                        <a:pt x="28" y="83"/>
                      </a:lnTo>
                      <a:lnTo>
                        <a:pt x="29" y="86"/>
                      </a:lnTo>
                      <a:lnTo>
                        <a:pt x="29" y="86"/>
                      </a:lnTo>
                      <a:lnTo>
                        <a:pt x="29" y="89"/>
                      </a:lnTo>
                      <a:lnTo>
                        <a:pt x="31" y="90"/>
                      </a:lnTo>
                      <a:lnTo>
                        <a:pt x="33" y="91"/>
                      </a:lnTo>
                      <a:lnTo>
                        <a:pt x="36" y="91"/>
                      </a:lnTo>
                      <a:lnTo>
                        <a:pt x="36" y="91"/>
                      </a:lnTo>
                      <a:lnTo>
                        <a:pt x="38" y="93"/>
                      </a:lnTo>
                      <a:lnTo>
                        <a:pt x="39" y="94"/>
                      </a:lnTo>
                      <a:lnTo>
                        <a:pt x="42" y="102"/>
                      </a:lnTo>
                      <a:lnTo>
                        <a:pt x="42" y="102"/>
                      </a:lnTo>
                      <a:lnTo>
                        <a:pt x="42" y="103"/>
                      </a:lnTo>
                      <a:lnTo>
                        <a:pt x="44" y="103"/>
                      </a:lnTo>
                      <a:lnTo>
                        <a:pt x="45" y="100"/>
                      </a:lnTo>
                      <a:lnTo>
                        <a:pt x="46" y="97"/>
                      </a:lnTo>
                      <a:lnTo>
                        <a:pt x="49" y="96"/>
                      </a:lnTo>
                      <a:lnTo>
                        <a:pt x="49" y="96"/>
                      </a:lnTo>
                      <a:lnTo>
                        <a:pt x="51" y="96"/>
                      </a:lnTo>
                      <a:lnTo>
                        <a:pt x="52" y="93"/>
                      </a:lnTo>
                      <a:lnTo>
                        <a:pt x="52" y="86"/>
                      </a:lnTo>
                      <a:lnTo>
                        <a:pt x="52" y="86"/>
                      </a:lnTo>
                      <a:lnTo>
                        <a:pt x="52" y="81"/>
                      </a:lnTo>
                      <a:lnTo>
                        <a:pt x="54" y="80"/>
                      </a:lnTo>
                      <a:lnTo>
                        <a:pt x="57" y="78"/>
                      </a:lnTo>
                      <a:lnTo>
                        <a:pt x="57" y="78"/>
                      </a:lnTo>
                      <a:lnTo>
                        <a:pt x="57" y="75"/>
                      </a:lnTo>
                      <a:lnTo>
                        <a:pt x="58" y="71"/>
                      </a:lnTo>
                      <a:lnTo>
                        <a:pt x="58" y="71"/>
                      </a:lnTo>
                      <a:lnTo>
                        <a:pt x="58" y="68"/>
                      </a:lnTo>
                      <a:lnTo>
                        <a:pt x="60" y="70"/>
                      </a:lnTo>
                      <a:lnTo>
                        <a:pt x="62" y="73"/>
                      </a:lnTo>
                      <a:lnTo>
                        <a:pt x="62" y="73"/>
                      </a:lnTo>
                      <a:lnTo>
                        <a:pt x="64" y="73"/>
                      </a:lnTo>
                      <a:lnTo>
                        <a:pt x="64" y="71"/>
                      </a:lnTo>
                      <a:lnTo>
                        <a:pt x="64" y="67"/>
                      </a:lnTo>
                      <a:lnTo>
                        <a:pt x="64" y="67"/>
                      </a:lnTo>
                      <a:lnTo>
                        <a:pt x="65" y="67"/>
                      </a:lnTo>
                      <a:lnTo>
                        <a:pt x="70" y="68"/>
                      </a:lnTo>
                      <a:lnTo>
                        <a:pt x="75" y="71"/>
                      </a:lnTo>
                      <a:lnTo>
                        <a:pt x="75" y="71"/>
                      </a:lnTo>
                      <a:lnTo>
                        <a:pt x="77" y="73"/>
                      </a:lnTo>
                      <a:lnTo>
                        <a:pt x="77" y="71"/>
                      </a:lnTo>
                      <a:lnTo>
                        <a:pt x="75" y="65"/>
                      </a:lnTo>
                      <a:lnTo>
                        <a:pt x="75" y="65"/>
                      </a:lnTo>
                      <a:lnTo>
                        <a:pt x="74" y="62"/>
                      </a:lnTo>
                      <a:lnTo>
                        <a:pt x="73" y="61"/>
                      </a:lnTo>
                      <a:lnTo>
                        <a:pt x="68" y="58"/>
                      </a:lnTo>
                      <a:lnTo>
                        <a:pt x="68" y="58"/>
                      </a:lnTo>
                      <a:lnTo>
                        <a:pt x="64" y="57"/>
                      </a:lnTo>
                      <a:lnTo>
                        <a:pt x="60" y="51"/>
                      </a:lnTo>
                      <a:lnTo>
                        <a:pt x="52" y="39"/>
                      </a:lnTo>
                      <a:lnTo>
                        <a:pt x="52" y="39"/>
                      </a:lnTo>
                      <a:lnTo>
                        <a:pt x="49" y="35"/>
                      </a:lnTo>
                      <a:lnTo>
                        <a:pt x="48" y="31"/>
                      </a:lnTo>
                      <a:lnTo>
                        <a:pt x="46" y="26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9" y="20"/>
                      </a:lnTo>
                      <a:lnTo>
                        <a:pt x="52" y="22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1" y="26"/>
                      </a:lnTo>
                      <a:lnTo>
                        <a:pt x="62" y="23"/>
                      </a:lnTo>
                      <a:lnTo>
                        <a:pt x="62" y="18"/>
                      </a:lnTo>
                      <a:lnTo>
                        <a:pt x="62" y="18"/>
                      </a:lnTo>
                      <a:lnTo>
                        <a:pt x="62" y="16"/>
                      </a:lnTo>
                      <a:lnTo>
                        <a:pt x="64" y="15"/>
                      </a:lnTo>
                      <a:lnTo>
                        <a:pt x="67" y="13"/>
                      </a:lnTo>
                      <a:lnTo>
                        <a:pt x="77" y="13"/>
                      </a:lnTo>
                      <a:lnTo>
                        <a:pt x="77" y="13"/>
                      </a:lnTo>
                      <a:lnTo>
                        <a:pt x="84" y="13"/>
                      </a:lnTo>
                      <a:lnTo>
                        <a:pt x="90" y="10"/>
                      </a:lnTo>
                      <a:lnTo>
                        <a:pt x="90" y="10"/>
                      </a:lnTo>
                      <a:lnTo>
                        <a:pt x="94" y="10"/>
                      </a:lnTo>
                      <a:lnTo>
                        <a:pt x="97" y="12"/>
                      </a:lnTo>
                      <a:lnTo>
                        <a:pt x="106" y="16"/>
                      </a:lnTo>
                      <a:lnTo>
                        <a:pt x="106" y="16"/>
                      </a:lnTo>
                      <a:lnTo>
                        <a:pt x="102" y="2"/>
                      </a:lnTo>
                      <a:lnTo>
                        <a:pt x="102" y="2"/>
                      </a:lnTo>
                      <a:lnTo>
                        <a:pt x="73" y="0"/>
                      </a:lnTo>
                      <a:lnTo>
                        <a:pt x="73" y="0"/>
                      </a:lnTo>
                      <a:lnTo>
                        <a:pt x="65" y="2"/>
                      </a:lnTo>
                      <a:lnTo>
                        <a:pt x="58" y="4"/>
                      </a:lnTo>
                      <a:lnTo>
                        <a:pt x="51" y="9"/>
                      </a:lnTo>
                      <a:lnTo>
                        <a:pt x="45" y="1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53" name="Freeform 706"/>
                <p:cNvSpPr>
                  <a:spLocks/>
                </p:cNvSpPr>
                <p:nvPr/>
              </p:nvSpPr>
              <p:spPr bwMode="auto">
                <a:xfrm>
                  <a:off x="4727313" y="2606850"/>
                  <a:ext cx="104862" cy="101894"/>
                </a:xfrm>
                <a:custGeom>
                  <a:avLst/>
                  <a:gdLst>
                    <a:gd name="T0" fmla="*/ 15 w 106"/>
                    <a:gd name="T1" fmla="*/ 12 h 103"/>
                    <a:gd name="T2" fmla="*/ 15 w 106"/>
                    <a:gd name="T3" fmla="*/ 26 h 103"/>
                    <a:gd name="T4" fmla="*/ 10 w 106"/>
                    <a:gd name="T5" fmla="*/ 32 h 103"/>
                    <a:gd name="T6" fmla="*/ 2 w 106"/>
                    <a:gd name="T7" fmla="*/ 45 h 103"/>
                    <a:gd name="T8" fmla="*/ 6 w 106"/>
                    <a:gd name="T9" fmla="*/ 48 h 103"/>
                    <a:gd name="T10" fmla="*/ 10 w 106"/>
                    <a:gd name="T11" fmla="*/ 47 h 103"/>
                    <a:gd name="T12" fmla="*/ 18 w 106"/>
                    <a:gd name="T13" fmla="*/ 52 h 103"/>
                    <a:gd name="T14" fmla="*/ 19 w 106"/>
                    <a:gd name="T15" fmla="*/ 58 h 103"/>
                    <a:gd name="T16" fmla="*/ 20 w 106"/>
                    <a:gd name="T17" fmla="*/ 61 h 103"/>
                    <a:gd name="T18" fmla="*/ 49 w 106"/>
                    <a:gd name="T19" fmla="*/ 64 h 103"/>
                    <a:gd name="T20" fmla="*/ 51 w 106"/>
                    <a:gd name="T21" fmla="*/ 67 h 103"/>
                    <a:gd name="T22" fmla="*/ 46 w 106"/>
                    <a:gd name="T23" fmla="*/ 71 h 103"/>
                    <a:gd name="T24" fmla="*/ 32 w 106"/>
                    <a:gd name="T25" fmla="*/ 67 h 103"/>
                    <a:gd name="T26" fmla="*/ 23 w 106"/>
                    <a:gd name="T27" fmla="*/ 73 h 103"/>
                    <a:gd name="T28" fmla="*/ 23 w 106"/>
                    <a:gd name="T29" fmla="*/ 75 h 103"/>
                    <a:gd name="T30" fmla="*/ 29 w 106"/>
                    <a:gd name="T31" fmla="*/ 86 h 103"/>
                    <a:gd name="T32" fmla="*/ 31 w 106"/>
                    <a:gd name="T33" fmla="*/ 90 h 103"/>
                    <a:gd name="T34" fmla="*/ 36 w 106"/>
                    <a:gd name="T35" fmla="*/ 91 h 103"/>
                    <a:gd name="T36" fmla="*/ 42 w 106"/>
                    <a:gd name="T37" fmla="*/ 102 h 103"/>
                    <a:gd name="T38" fmla="*/ 44 w 106"/>
                    <a:gd name="T39" fmla="*/ 103 h 103"/>
                    <a:gd name="T40" fmla="*/ 49 w 106"/>
                    <a:gd name="T41" fmla="*/ 96 h 103"/>
                    <a:gd name="T42" fmla="*/ 52 w 106"/>
                    <a:gd name="T43" fmla="*/ 93 h 103"/>
                    <a:gd name="T44" fmla="*/ 52 w 106"/>
                    <a:gd name="T45" fmla="*/ 81 h 103"/>
                    <a:gd name="T46" fmla="*/ 57 w 106"/>
                    <a:gd name="T47" fmla="*/ 78 h 103"/>
                    <a:gd name="T48" fmla="*/ 58 w 106"/>
                    <a:gd name="T49" fmla="*/ 71 h 103"/>
                    <a:gd name="T50" fmla="*/ 62 w 106"/>
                    <a:gd name="T51" fmla="*/ 73 h 103"/>
                    <a:gd name="T52" fmla="*/ 64 w 106"/>
                    <a:gd name="T53" fmla="*/ 71 h 103"/>
                    <a:gd name="T54" fmla="*/ 65 w 106"/>
                    <a:gd name="T55" fmla="*/ 67 h 103"/>
                    <a:gd name="T56" fmla="*/ 75 w 106"/>
                    <a:gd name="T57" fmla="*/ 71 h 103"/>
                    <a:gd name="T58" fmla="*/ 75 w 106"/>
                    <a:gd name="T59" fmla="*/ 65 h 103"/>
                    <a:gd name="T60" fmla="*/ 73 w 106"/>
                    <a:gd name="T61" fmla="*/ 61 h 103"/>
                    <a:gd name="T62" fmla="*/ 64 w 106"/>
                    <a:gd name="T63" fmla="*/ 57 h 103"/>
                    <a:gd name="T64" fmla="*/ 52 w 106"/>
                    <a:gd name="T65" fmla="*/ 39 h 103"/>
                    <a:gd name="T66" fmla="*/ 46 w 106"/>
                    <a:gd name="T67" fmla="*/ 26 h 103"/>
                    <a:gd name="T68" fmla="*/ 48 w 106"/>
                    <a:gd name="T69" fmla="*/ 22 h 103"/>
                    <a:gd name="T70" fmla="*/ 60 w 106"/>
                    <a:gd name="T71" fmla="*/ 26 h 103"/>
                    <a:gd name="T72" fmla="*/ 62 w 106"/>
                    <a:gd name="T73" fmla="*/ 23 h 103"/>
                    <a:gd name="T74" fmla="*/ 62 w 106"/>
                    <a:gd name="T75" fmla="*/ 16 h 103"/>
                    <a:gd name="T76" fmla="*/ 77 w 106"/>
                    <a:gd name="T77" fmla="*/ 13 h 103"/>
                    <a:gd name="T78" fmla="*/ 90 w 106"/>
                    <a:gd name="T79" fmla="*/ 10 h 103"/>
                    <a:gd name="T80" fmla="*/ 97 w 106"/>
                    <a:gd name="T81" fmla="*/ 12 h 103"/>
                    <a:gd name="T82" fmla="*/ 102 w 106"/>
                    <a:gd name="T83" fmla="*/ 2 h 103"/>
                    <a:gd name="T84" fmla="*/ 73 w 106"/>
                    <a:gd name="T85" fmla="*/ 0 h 103"/>
                    <a:gd name="T86" fmla="*/ 51 w 106"/>
                    <a:gd name="T87" fmla="*/ 9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06" h="103">
                      <a:moveTo>
                        <a:pt x="45" y="10"/>
                      </a:moveTo>
                      <a:lnTo>
                        <a:pt x="45" y="10"/>
                      </a:lnTo>
                      <a:lnTo>
                        <a:pt x="15" y="12"/>
                      </a:lnTo>
                      <a:lnTo>
                        <a:pt x="15" y="12"/>
                      </a:lnTo>
                      <a:lnTo>
                        <a:pt x="16" y="20"/>
                      </a:lnTo>
                      <a:lnTo>
                        <a:pt x="15" y="26"/>
                      </a:lnTo>
                      <a:lnTo>
                        <a:pt x="15" y="26"/>
                      </a:lnTo>
                      <a:lnTo>
                        <a:pt x="13" y="29"/>
                      </a:lnTo>
                      <a:lnTo>
                        <a:pt x="10" y="32"/>
                      </a:lnTo>
                      <a:lnTo>
                        <a:pt x="0" y="41"/>
                      </a:lnTo>
                      <a:lnTo>
                        <a:pt x="0" y="41"/>
                      </a:lnTo>
                      <a:lnTo>
                        <a:pt x="2" y="45"/>
                      </a:lnTo>
                      <a:lnTo>
                        <a:pt x="2" y="45"/>
                      </a:lnTo>
                      <a:lnTo>
                        <a:pt x="4" y="48"/>
                      </a:lnTo>
                      <a:lnTo>
                        <a:pt x="6" y="48"/>
                      </a:lnTo>
                      <a:lnTo>
                        <a:pt x="9" y="47"/>
                      </a:lnTo>
                      <a:lnTo>
                        <a:pt x="10" y="47"/>
                      </a:lnTo>
                      <a:lnTo>
                        <a:pt x="10" y="47"/>
                      </a:lnTo>
                      <a:lnTo>
                        <a:pt x="13" y="48"/>
                      </a:lnTo>
                      <a:lnTo>
                        <a:pt x="15" y="49"/>
                      </a:lnTo>
                      <a:lnTo>
                        <a:pt x="18" y="52"/>
                      </a:lnTo>
                      <a:lnTo>
                        <a:pt x="18" y="52"/>
                      </a:lnTo>
                      <a:lnTo>
                        <a:pt x="20" y="55"/>
                      </a:lnTo>
                      <a:lnTo>
                        <a:pt x="19" y="58"/>
                      </a:lnTo>
                      <a:lnTo>
                        <a:pt x="19" y="60"/>
                      </a:lnTo>
                      <a:lnTo>
                        <a:pt x="20" y="61"/>
                      </a:lnTo>
                      <a:lnTo>
                        <a:pt x="20" y="61"/>
                      </a:lnTo>
                      <a:lnTo>
                        <a:pt x="26" y="62"/>
                      </a:lnTo>
                      <a:lnTo>
                        <a:pt x="35" y="64"/>
                      </a:lnTo>
                      <a:lnTo>
                        <a:pt x="49" y="64"/>
                      </a:lnTo>
                      <a:lnTo>
                        <a:pt x="49" y="64"/>
                      </a:lnTo>
                      <a:lnTo>
                        <a:pt x="51" y="65"/>
                      </a:lnTo>
                      <a:lnTo>
                        <a:pt x="51" y="67"/>
                      </a:lnTo>
                      <a:lnTo>
                        <a:pt x="49" y="71"/>
                      </a:lnTo>
                      <a:lnTo>
                        <a:pt x="49" y="71"/>
                      </a:lnTo>
                      <a:lnTo>
                        <a:pt x="46" y="71"/>
                      </a:lnTo>
                      <a:lnTo>
                        <a:pt x="41" y="70"/>
                      </a:lnTo>
                      <a:lnTo>
                        <a:pt x="32" y="67"/>
                      </a:lnTo>
                      <a:lnTo>
                        <a:pt x="32" y="67"/>
                      </a:lnTo>
                      <a:lnTo>
                        <a:pt x="29" y="67"/>
                      </a:lnTo>
                      <a:lnTo>
                        <a:pt x="26" y="68"/>
                      </a:lnTo>
                      <a:lnTo>
                        <a:pt x="23" y="73"/>
                      </a:lnTo>
                      <a:lnTo>
                        <a:pt x="23" y="73"/>
                      </a:lnTo>
                      <a:lnTo>
                        <a:pt x="22" y="74"/>
                      </a:lnTo>
                      <a:lnTo>
                        <a:pt x="23" y="75"/>
                      </a:lnTo>
                      <a:lnTo>
                        <a:pt x="25" y="78"/>
                      </a:lnTo>
                      <a:lnTo>
                        <a:pt x="28" y="83"/>
                      </a:lnTo>
                      <a:lnTo>
                        <a:pt x="29" y="86"/>
                      </a:lnTo>
                      <a:lnTo>
                        <a:pt x="29" y="86"/>
                      </a:lnTo>
                      <a:lnTo>
                        <a:pt x="29" y="89"/>
                      </a:lnTo>
                      <a:lnTo>
                        <a:pt x="31" y="90"/>
                      </a:lnTo>
                      <a:lnTo>
                        <a:pt x="33" y="91"/>
                      </a:lnTo>
                      <a:lnTo>
                        <a:pt x="36" y="91"/>
                      </a:lnTo>
                      <a:lnTo>
                        <a:pt x="36" y="91"/>
                      </a:lnTo>
                      <a:lnTo>
                        <a:pt x="38" y="93"/>
                      </a:lnTo>
                      <a:lnTo>
                        <a:pt x="39" y="94"/>
                      </a:lnTo>
                      <a:lnTo>
                        <a:pt x="42" y="102"/>
                      </a:lnTo>
                      <a:lnTo>
                        <a:pt x="42" y="102"/>
                      </a:lnTo>
                      <a:lnTo>
                        <a:pt x="42" y="103"/>
                      </a:lnTo>
                      <a:lnTo>
                        <a:pt x="44" y="103"/>
                      </a:lnTo>
                      <a:lnTo>
                        <a:pt x="45" y="100"/>
                      </a:lnTo>
                      <a:lnTo>
                        <a:pt x="46" y="97"/>
                      </a:lnTo>
                      <a:lnTo>
                        <a:pt x="49" y="96"/>
                      </a:lnTo>
                      <a:lnTo>
                        <a:pt x="49" y="96"/>
                      </a:lnTo>
                      <a:lnTo>
                        <a:pt x="51" y="96"/>
                      </a:lnTo>
                      <a:lnTo>
                        <a:pt x="52" y="93"/>
                      </a:lnTo>
                      <a:lnTo>
                        <a:pt x="52" y="86"/>
                      </a:lnTo>
                      <a:lnTo>
                        <a:pt x="52" y="86"/>
                      </a:lnTo>
                      <a:lnTo>
                        <a:pt x="52" y="81"/>
                      </a:lnTo>
                      <a:lnTo>
                        <a:pt x="54" y="80"/>
                      </a:lnTo>
                      <a:lnTo>
                        <a:pt x="57" y="78"/>
                      </a:lnTo>
                      <a:lnTo>
                        <a:pt x="57" y="78"/>
                      </a:lnTo>
                      <a:lnTo>
                        <a:pt x="57" y="75"/>
                      </a:lnTo>
                      <a:lnTo>
                        <a:pt x="58" y="71"/>
                      </a:lnTo>
                      <a:lnTo>
                        <a:pt x="58" y="71"/>
                      </a:lnTo>
                      <a:lnTo>
                        <a:pt x="58" y="68"/>
                      </a:lnTo>
                      <a:lnTo>
                        <a:pt x="60" y="70"/>
                      </a:lnTo>
                      <a:lnTo>
                        <a:pt x="62" y="73"/>
                      </a:lnTo>
                      <a:lnTo>
                        <a:pt x="62" y="73"/>
                      </a:lnTo>
                      <a:lnTo>
                        <a:pt x="64" y="73"/>
                      </a:lnTo>
                      <a:lnTo>
                        <a:pt x="64" y="71"/>
                      </a:lnTo>
                      <a:lnTo>
                        <a:pt x="64" y="67"/>
                      </a:lnTo>
                      <a:lnTo>
                        <a:pt x="64" y="67"/>
                      </a:lnTo>
                      <a:lnTo>
                        <a:pt x="65" y="67"/>
                      </a:lnTo>
                      <a:lnTo>
                        <a:pt x="70" y="68"/>
                      </a:lnTo>
                      <a:lnTo>
                        <a:pt x="75" y="71"/>
                      </a:lnTo>
                      <a:lnTo>
                        <a:pt x="75" y="71"/>
                      </a:lnTo>
                      <a:lnTo>
                        <a:pt x="77" y="73"/>
                      </a:lnTo>
                      <a:lnTo>
                        <a:pt x="77" y="71"/>
                      </a:lnTo>
                      <a:lnTo>
                        <a:pt x="75" y="65"/>
                      </a:lnTo>
                      <a:lnTo>
                        <a:pt x="75" y="65"/>
                      </a:lnTo>
                      <a:lnTo>
                        <a:pt x="74" y="62"/>
                      </a:lnTo>
                      <a:lnTo>
                        <a:pt x="73" y="61"/>
                      </a:lnTo>
                      <a:lnTo>
                        <a:pt x="68" y="58"/>
                      </a:lnTo>
                      <a:lnTo>
                        <a:pt x="68" y="58"/>
                      </a:lnTo>
                      <a:lnTo>
                        <a:pt x="64" y="57"/>
                      </a:lnTo>
                      <a:lnTo>
                        <a:pt x="60" y="51"/>
                      </a:lnTo>
                      <a:lnTo>
                        <a:pt x="52" y="39"/>
                      </a:lnTo>
                      <a:lnTo>
                        <a:pt x="52" y="39"/>
                      </a:lnTo>
                      <a:lnTo>
                        <a:pt x="49" y="35"/>
                      </a:lnTo>
                      <a:lnTo>
                        <a:pt x="48" y="31"/>
                      </a:lnTo>
                      <a:lnTo>
                        <a:pt x="46" y="26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9" y="20"/>
                      </a:lnTo>
                      <a:lnTo>
                        <a:pt x="52" y="22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1" y="26"/>
                      </a:lnTo>
                      <a:lnTo>
                        <a:pt x="62" y="23"/>
                      </a:lnTo>
                      <a:lnTo>
                        <a:pt x="62" y="18"/>
                      </a:lnTo>
                      <a:lnTo>
                        <a:pt x="62" y="18"/>
                      </a:lnTo>
                      <a:lnTo>
                        <a:pt x="62" y="16"/>
                      </a:lnTo>
                      <a:lnTo>
                        <a:pt x="64" y="15"/>
                      </a:lnTo>
                      <a:lnTo>
                        <a:pt x="67" y="13"/>
                      </a:lnTo>
                      <a:lnTo>
                        <a:pt x="77" y="13"/>
                      </a:lnTo>
                      <a:lnTo>
                        <a:pt x="77" y="13"/>
                      </a:lnTo>
                      <a:lnTo>
                        <a:pt x="84" y="13"/>
                      </a:lnTo>
                      <a:lnTo>
                        <a:pt x="90" y="10"/>
                      </a:lnTo>
                      <a:lnTo>
                        <a:pt x="90" y="10"/>
                      </a:lnTo>
                      <a:lnTo>
                        <a:pt x="94" y="10"/>
                      </a:lnTo>
                      <a:lnTo>
                        <a:pt x="97" y="12"/>
                      </a:lnTo>
                      <a:lnTo>
                        <a:pt x="106" y="16"/>
                      </a:lnTo>
                      <a:lnTo>
                        <a:pt x="106" y="16"/>
                      </a:lnTo>
                      <a:lnTo>
                        <a:pt x="102" y="2"/>
                      </a:lnTo>
                      <a:lnTo>
                        <a:pt x="102" y="2"/>
                      </a:lnTo>
                      <a:lnTo>
                        <a:pt x="73" y="0"/>
                      </a:lnTo>
                      <a:lnTo>
                        <a:pt x="73" y="0"/>
                      </a:lnTo>
                      <a:lnTo>
                        <a:pt x="65" y="2"/>
                      </a:lnTo>
                      <a:lnTo>
                        <a:pt x="58" y="4"/>
                      </a:lnTo>
                      <a:lnTo>
                        <a:pt x="51" y="9"/>
                      </a:lnTo>
                      <a:lnTo>
                        <a:pt x="45" y="1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54" name="Freeform 707"/>
                <p:cNvSpPr>
                  <a:spLocks/>
                </p:cNvSpPr>
                <p:nvPr/>
              </p:nvSpPr>
              <p:spPr bwMode="auto">
                <a:xfrm>
                  <a:off x="4768862" y="2549473"/>
                  <a:ext cx="92001" cy="63313"/>
                </a:xfrm>
                <a:custGeom>
                  <a:avLst/>
                  <a:gdLst>
                    <a:gd name="T0" fmla="*/ 46 w 93"/>
                    <a:gd name="T1" fmla="*/ 7 h 64"/>
                    <a:gd name="T2" fmla="*/ 46 w 93"/>
                    <a:gd name="T3" fmla="*/ 7 h 64"/>
                    <a:gd name="T4" fmla="*/ 39 w 93"/>
                    <a:gd name="T5" fmla="*/ 7 h 64"/>
                    <a:gd name="T6" fmla="*/ 28 w 93"/>
                    <a:gd name="T7" fmla="*/ 7 h 64"/>
                    <a:gd name="T8" fmla="*/ 12 w 93"/>
                    <a:gd name="T9" fmla="*/ 5 h 64"/>
                    <a:gd name="T10" fmla="*/ 12 w 93"/>
                    <a:gd name="T11" fmla="*/ 5 h 64"/>
                    <a:gd name="T12" fmla="*/ 9 w 93"/>
                    <a:gd name="T13" fmla="*/ 6 h 64"/>
                    <a:gd name="T14" fmla="*/ 7 w 93"/>
                    <a:gd name="T15" fmla="*/ 7 h 64"/>
                    <a:gd name="T16" fmla="*/ 4 w 93"/>
                    <a:gd name="T17" fmla="*/ 16 h 64"/>
                    <a:gd name="T18" fmla="*/ 0 w 93"/>
                    <a:gd name="T19" fmla="*/ 32 h 64"/>
                    <a:gd name="T20" fmla="*/ 0 w 93"/>
                    <a:gd name="T21" fmla="*/ 32 h 64"/>
                    <a:gd name="T22" fmla="*/ 2 w 93"/>
                    <a:gd name="T23" fmla="*/ 38 h 64"/>
                    <a:gd name="T24" fmla="*/ 4 w 93"/>
                    <a:gd name="T25" fmla="*/ 47 h 64"/>
                    <a:gd name="T26" fmla="*/ 13 w 93"/>
                    <a:gd name="T27" fmla="*/ 64 h 64"/>
                    <a:gd name="T28" fmla="*/ 13 w 93"/>
                    <a:gd name="T29" fmla="*/ 64 h 64"/>
                    <a:gd name="T30" fmla="*/ 22 w 93"/>
                    <a:gd name="T31" fmla="*/ 60 h 64"/>
                    <a:gd name="T32" fmla="*/ 26 w 93"/>
                    <a:gd name="T33" fmla="*/ 58 h 64"/>
                    <a:gd name="T34" fmla="*/ 31 w 93"/>
                    <a:gd name="T35" fmla="*/ 58 h 64"/>
                    <a:gd name="T36" fmla="*/ 31 w 93"/>
                    <a:gd name="T37" fmla="*/ 58 h 64"/>
                    <a:gd name="T38" fmla="*/ 60 w 93"/>
                    <a:gd name="T39" fmla="*/ 60 h 64"/>
                    <a:gd name="T40" fmla="*/ 60 w 93"/>
                    <a:gd name="T41" fmla="*/ 60 h 64"/>
                    <a:gd name="T42" fmla="*/ 58 w 93"/>
                    <a:gd name="T43" fmla="*/ 55 h 64"/>
                    <a:gd name="T44" fmla="*/ 60 w 93"/>
                    <a:gd name="T45" fmla="*/ 51 h 64"/>
                    <a:gd name="T46" fmla="*/ 60 w 93"/>
                    <a:gd name="T47" fmla="*/ 51 h 64"/>
                    <a:gd name="T48" fmla="*/ 61 w 93"/>
                    <a:gd name="T49" fmla="*/ 49 h 64"/>
                    <a:gd name="T50" fmla="*/ 62 w 93"/>
                    <a:gd name="T51" fmla="*/ 48 h 64"/>
                    <a:gd name="T52" fmla="*/ 71 w 93"/>
                    <a:gd name="T53" fmla="*/ 45 h 64"/>
                    <a:gd name="T54" fmla="*/ 93 w 93"/>
                    <a:gd name="T55" fmla="*/ 45 h 64"/>
                    <a:gd name="T56" fmla="*/ 93 w 93"/>
                    <a:gd name="T57" fmla="*/ 45 h 64"/>
                    <a:gd name="T58" fmla="*/ 91 w 93"/>
                    <a:gd name="T59" fmla="*/ 42 h 64"/>
                    <a:gd name="T60" fmla="*/ 91 w 93"/>
                    <a:gd name="T61" fmla="*/ 42 h 64"/>
                    <a:gd name="T62" fmla="*/ 90 w 93"/>
                    <a:gd name="T63" fmla="*/ 38 h 64"/>
                    <a:gd name="T64" fmla="*/ 87 w 93"/>
                    <a:gd name="T65" fmla="*/ 35 h 64"/>
                    <a:gd name="T66" fmla="*/ 84 w 93"/>
                    <a:gd name="T67" fmla="*/ 34 h 64"/>
                    <a:gd name="T68" fmla="*/ 84 w 93"/>
                    <a:gd name="T69" fmla="*/ 29 h 64"/>
                    <a:gd name="T70" fmla="*/ 84 w 93"/>
                    <a:gd name="T71" fmla="*/ 29 h 64"/>
                    <a:gd name="T72" fmla="*/ 86 w 93"/>
                    <a:gd name="T73" fmla="*/ 26 h 64"/>
                    <a:gd name="T74" fmla="*/ 87 w 93"/>
                    <a:gd name="T75" fmla="*/ 25 h 64"/>
                    <a:gd name="T76" fmla="*/ 88 w 93"/>
                    <a:gd name="T77" fmla="*/ 23 h 64"/>
                    <a:gd name="T78" fmla="*/ 88 w 93"/>
                    <a:gd name="T79" fmla="*/ 20 h 64"/>
                    <a:gd name="T80" fmla="*/ 88 w 93"/>
                    <a:gd name="T81" fmla="*/ 20 h 64"/>
                    <a:gd name="T82" fmla="*/ 90 w 93"/>
                    <a:gd name="T83" fmla="*/ 18 h 64"/>
                    <a:gd name="T84" fmla="*/ 90 w 93"/>
                    <a:gd name="T85" fmla="*/ 18 h 64"/>
                    <a:gd name="T86" fmla="*/ 68 w 93"/>
                    <a:gd name="T87" fmla="*/ 2 h 64"/>
                    <a:gd name="T88" fmla="*/ 68 w 93"/>
                    <a:gd name="T89" fmla="*/ 2 h 64"/>
                    <a:gd name="T90" fmla="*/ 65 w 93"/>
                    <a:gd name="T91" fmla="*/ 0 h 64"/>
                    <a:gd name="T92" fmla="*/ 62 w 93"/>
                    <a:gd name="T93" fmla="*/ 0 h 64"/>
                    <a:gd name="T94" fmla="*/ 57 w 93"/>
                    <a:gd name="T95" fmla="*/ 2 h 64"/>
                    <a:gd name="T96" fmla="*/ 51 w 93"/>
                    <a:gd name="T97" fmla="*/ 5 h 64"/>
                    <a:gd name="T98" fmla="*/ 46 w 93"/>
                    <a:gd name="T99" fmla="*/ 7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93" h="64">
                      <a:moveTo>
                        <a:pt x="46" y="7"/>
                      </a:moveTo>
                      <a:lnTo>
                        <a:pt x="46" y="7"/>
                      </a:lnTo>
                      <a:lnTo>
                        <a:pt x="39" y="7"/>
                      </a:lnTo>
                      <a:lnTo>
                        <a:pt x="28" y="7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9" y="6"/>
                      </a:lnTo>
                      <a:lnTo>
                        <a:pt x="7" y="7"/>
                      </a:lnTo>
                      <a:lnTo>
                        <a:pt x="4" y="16"/>
                      </a:lnTo>
                      <a:lnTo>
                        <a:pt x="0" y="32"/>
                      </a:lnTo>
                      <a:lnTo>
                        <a:pt x="0" y="32"/>
                      </a:lnTo>
                      <a:lnTo>
                        <a:pt x="2" y="38"/>
                      </a:lnTo>
                      <a:lnTo>
                        <a:pt x="4" y="47"/>
                      </a:lnTo>
                      <a:lnTo>
                        <a:pt x="13" y="64"/>
                      </a:lnTo>
                      <a:lnTo>
                        <a:pt x="13" y="64"/>
                      </a:lnTo>
                      <a:lnTo>
                        <a:pt x="22" y="60"/>
                      </a:lnTo>
                      <a:lnTo>
                        <a:pt x="26" y="58"/>
                      </a:lnTo>
                      <a:lnTo>
                        <a:pt x="31" y="58"/>
                      </a:lnTo>
                      <a:lnTo>
                        <a:pt x="31" y="58"/>
                      </a:lnTo>
                      <a:lnTo>
                        <a:pt x="60" y="60"/>
                      </a:lnTo>
                      <a:lnTo>
                        <a:pt x="60" y="60"/>
                      </a:lnTo>
                      <a:lnTo>
                        <a:pt x="58" y="55"/>
                      </a:lnTo>
                      <a:lnTo>
                        <a:pt x="60" y="51"/>
                      </a:lnTo>
                      <a:lnTo>
                        <a:pt x="60" y="51"/>
                      </a:lnTo>
                      <a:lnTo>
                        <a:pt x="61" y="49"/>
                      </a:lnTo>
                      <a:lnTo>
                        <a:pt x="62" y="48"/>
                      </a:lnTo>
                      <a:lnTo>
                        <a:pt x="71" y="45"/>
                      </a:lnTo>
                      <a:lnTo>
                        <a:pt x="93" y="45"/>
                      </a:lnTo>
                      <a:lnTo>
                        <a:pt x="93" y="45"/>
                      </a:lnTo>
                      <a:lnTo>
                        <a:pt x="91" y="42"/>
                      </a:lnTo>
                      <a:lnTo>
                        <a:pt x="91" y="42"/>
                      </a:lnTo>
                      <a:lnTo>
                        <a:pt x="90" y="38"/>
                      </a:lnTo>
                      <a:lnTo>
                        <a:pt x="87" y="35"/>
                      </a:lnTo>
                      <a:lnTo>
                        <a:pt x="84" y="34"/>
                      </a:lnTo>
                      <a:lnTo>
                        <a:pt x="84" y="29"/>
                      </a:lnTo>
                      <a:lnTo>
                        <a:pt x="84" y="29"/>
                      </a:lnTo>
                      <a:lnTo>
                        <a:pt x="86" y="26"/>
                      </a:lnTo>
                      <a:lnTo>
                        <a:pt x="87" y="25"/>
                      </a:lnTo>
                      <a:lnTo>
                        <a:pt x="88" y="23"/>
                      </a:lnTo>
                      <a:lnTo>
                        <a:pt x="88" y="20"/>
                      </a:lnTo>
                      <a:lnTo>
                        <a:pt x="88" y="20"/>
                      </a:lnTo>
                      <a:lnTo>
                        <a:pt x="90" y="18"/>
                      </a:lnTo>
                      <a:lnTo>
                        <a:pt x="90" y="18"/>
                      </a:lnTo>
                      <a:lnTo>
                        <a:pt x="68" y="2"/>
                      </a:lnTo>
                      <a:lnTo>
                        <a:pt x="68" y="2"/>
                      </a:lnTo>
                      <a:lnTo>
                        <a:pt x="65" y="0"/>
                      </a:lnTo>
                      <a:lnTo>
                        <a:pt x="62" y="0"/>
                      </a:lnTo>
                      <a:lnTo>
                        <a:pt x="57" y="2"/>
                      </a:lnTo>
                      <a:lnTo>
                        <a:pt x="51" y="5"/>
                      </a:lnTo>
                      <a:lnTo>
                        <a:pt x="46" y="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55" name="Freeform 708"/>
                <p:cNvSpPr>
                  <a:spLocks/>
                </p:cNvSpPr>
                <p:nvPr/>
              </p:nvSpPr>
              <p:spPr bwMode="auto">
                <a:xfrm>
                  <a:off x="4768862" y="2549473"/>
                  <a:ext cx="92001" cy="63313"/>
                </a:xfrm>
                <a:custGeom>
                  <a:avLst/>
                  <a:gdLst>
                    <a:gd name="T0" fmla="*/ 46 w 93"/>
                    <a:gd name="T1" fmla="*/ 7 h 64"/>
                    <a:gd name="T2" fmla="*/ 46 w 93"/>
                    <a:gd name="T3" fmla="*/ 7 h 64"/>
                    <a:gd name="T4" fmla="*/ 39 w 93"/>
                    <a:gd name="T5" fmla="*/ 7 h 64"/>
                    <a:gd name="T6" fmla="*/ 28 w 93"/>
                    <a:gd name="T7" fmla="*/ 7 h 64"/>
                    <a:gd name="T8" fmla="*/ 12 w 93"/>
                    <a:gd name="T9" fmla="*/ 5 h 64"/>
                    <a:gd name="T10" fmla="*/ 12 w 93"/>
                    <a:gd name="T11" fmla="*/ 5 h 64"/>
                    <a:gd name="T12" fmla="*/ 9 w 93"/>
                    <a:gd name="T13" fmla="*/ 6 h 64"/>
                    <a:gd name="T14" fmla="*/ 7 w 93"/>
                    <a:gd name="T15" fmla="*/ 7 h 64"/>
                    <a:gd name="T16" fmla="*/ 4 w 93"/>
                    <a:gd name="T17" fmla="*/ 16 h 64"/>
                    <a:gd name="T18" fmla="*/ 0 w 93"/>
                    <a:gd name="T19" fmla="*/ 32 h 64"/>
                    <a:gd name="T20" fmla="*/ 0 w 93"/>
                    <a:gd name="T21" fmla="*/ 32 h 64"/>
                    <a:gd name="T22" fmla="*/ 2 w 93"/>
                    <a:gd name="T23" fmla="*/ 38 h 64"/>
                    <a:gd name="T24" fmla="*/ 4 w 93"/>
                    <a:gd name="T25" fmla="*/ 47 h 64"/>
                    <a:gd name="T26" fmla="*/ 13 w 93"/>
                    <a:gd name="T27" fmla="*/ 64 h 64"/>
                    <a:gd name="T28" fmla="*/ 13 w 93"/>
                    <a:gd name="T29" fmla="*/ 64 h 64"/>
                    <a:gd name="T30" fmla="*/ 22 w 93"/>
                    <a:gd name="T31" fmla="*/ 60 h 64"/>
                    <a:gd name="T32" fmla="*/ 26 w 93"/>
                    <a:gd name="T33" fmla="*/ 58 h 64"/>
                    <a:gd name="T34" fmla="*/ 31 w 93"/>
                    <a:gd name="T35" fmla="*/ 58 h 64"/>
                    <a:gd name="T36" fmla="*/ 31 w 93"/>
                    <a:gd name="T37" fmla="*/ 58 h 64"/>
                    <a:gd name="T38" fmla="*/ 60 w 93"/>
                    <a:gd name="T39" fmla="*/ 60 h 64"/>
                    <a:gd name="T40" fmla="*/ 60 w 93"/>
                    <a:gd name="T41" fmla="*/ 60 h 64"/>
                    <a:gd name="T42" fmla="*/ 58 w 93"/>
                    <a:gd name="T43" fmla="*/ 55 h 64"/>
                    <a:gd name="T44" fmla="*/ 60 w 93"/>
                    <a:gd name="T45" fmla="*/ 51 h 64"/>
                    <a:gd name="T46" fmla="*/ 60 w 93"/>
                    <a:gd name="T47" fmla="*/ 51 h 64"/>
                    <a:gd name="T48" fmla="*/ 61 w 93"/>
                    <a:gd name="T49" fmla="*/ 49 h 64"/>
                    <a:gd name="T50" fmla="*/ 62 w 93"/>
                    <a:gd name="T51" fmla="*/ 48 h 64"/>
                    <a:gd name="T52" fmla="*/ 71 w 93"/>
                    <a:gd name="T53" fmla="*/ 45 h 64"/>
                    <a:gd name="T54" fmla="*/ 93 w 93"/>
                    <a:gd name="T55" fmla="*/ 45 h 64"/>
                    <a:gd name="T56" fmla="*/ 93 w 93"/>
                    <a:gd name="T57" fmla="*/ 45 h 64"/>
                    <a:gd name="T58" fmla="*/ 91 w 93"/>
                    <a:gd name="T59" fmla="*/ 42 h 64"/>
                    <a:gd name="T60" fmla="*/ 91 w 93"/>
                    <a:gd name="T61" fmla="*/ 42 h 64"/>
                    <a:gd name="T62" fmla="*/ 90 w 93"/>
                    <a:gd name="T63" fmla="*/ 38 h 64"/>
                    <a:gd name="T64" fmla="*/ 87 w 93"/>
                    <a:gd name="T65" fmla="*/ 35 h 64"/>
                    <a:gd name="T66" fmla="*/ 84 w 93"/>
                    <a:gd name="T67" fmla="*/ 34 h 64"/>
                    <a:gd name="T68" fmla="*/ 84 w 93"/>
                    <a:gd name="T69" fmla="*/ 29 h 64"/>
                    <a:gd name="T70" fmla="*/ 84 w 93"/>
                    <a:gd name="T71" fmla="*/ 29 h 64"/>
                    <a:gd name="T72" fmla="*/ 86 w 93"/>
                    <a:gd name="T73" fmla="*/ 26 h 64"/>
                    <a:gd name="T74" fmla="*/ 87 w 93"/>
                    <a:gd name="T75" fmla="*/ 25 h 64"/>
                    <a:gd name="T76" fmla="*/ 88 w 93"/>
                    <a:gd name="T77" fmla="*/ 23 h 64"/>
                    <a:gd name="T78" fmla="*/ 88 w 93"/>
                    <a:gd name="T79" fmla="*/ 20 h 64"/>
                    <a:gd name="T80" fmla="*/ 88 w 93"/>
                    <a:gd name="T81" fmla="*/ 20 h 64"/>
                    <a:gd name="T82" fmla="*/ 90 w 93"/>
                    <a:gd name="T83" fmla="*/ 18 h 64"/>
                    <a:gd name="T84" fmla="*/ 90 w 93"/>
                    <a:gd name="T85" fmla="*/ 18 h 64"/>
                    <a:gd name="T86" fmla="*/ 68 w 93"/>
                    <a:gd name="T87" fmla="*/ 2 h 64"/>
                    <a:gd name="T88" fmla="*/ 68 w 93"/>
                    <a:gd name="T89" fmla="*/ 2 h 64"/>
                    <a:gd name="T90" fmla="*/ 65 w 93"/>
                    <a:gd name="T91" fmla="*/ 0 h 64"/>
                    <a:gd name="T92" fmla="*/ 62 w 93"/>
                    <a:gd name="T93" fmla="*/ 0 h 64"/>
                    <a:gd name="T94" fmla="*/ 57 w 93"/>
                    <a:gd name="T95" fmla="*/ 2 h 64"/>
                    <a:gd name="T96" fmla="*/ 51 w 93"/>
                    <a:gd name="T97" fmla="*/ 5 h 64"/>
                    <a:gd name="T98" fmla="*/ 46 w 93"/>
                    <a:gd name="T99" fmla="*/ 7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93" h="64">
                      <a:moveTo>
                        <a:pt x="46" y="7"/>
                      </a:moveTo>
                      <a:lnTo>
                        <a:pt x="46" y="7"/>
                      </a:lnTo>
                      <a:lnTo>
                        <a:pt x="39" y="7"/>
                      </a:lnTo>
                      <a:lnTo>
                        <a:pt x="28" y="7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9" y="6"/>
                      </a:lnTo>
                      <a:lnTo>
                        <a:pt x="7" y="7"/>
                      </a:lnTo>
                      <a:lnTo>
                        <a:pt x="4" y="16"/>
                      </a:lnTo>
                      <a:lnTo>
                        <a:pt x="0" y="32"/>
                      </a:lnTo>
                      <a:lnTo>
                        <a:pt x="0" y="32"/>
                      </a:lnTo>
                      <a:lnTo>
                        <a:pt x="2" y="38"/>
                      </a:lnTo>
                      <a:lnTo>
                        <a:pt x="4" y="47"/>
                      </a:lnTo>
                      <a:lnTo>
                        <a:pt x="13" y="64"/>
                      </a:lnTo>
                      <a:lnTo>
                        <a:pt x="13" y="64"/>
                      </a:lnTo>
                      <a:lnTo>
                        <a:pt x="22" y="60"/>
                      </a:lnTo>
                      <a:lnTo>
                        <a:pt x="26" y="58"/>
                      </a:lnTo>
                      <a:lnTo>
                        <a:pt x="31" y="58"/>
                      </a:lnTo>
                      <a:lnTo>
                        <a:pt x="31" y="58"/>
                      </a:lnTo>
                      <a:lnTo>
                        <a:pt x="60" y="60"/>
                      </a:lnTo>
                      <a:lnTo>
                        <a:pt x="60" y="60"/>
                      </a:lnTo>
                      <a:lnTo>
                        <a:pt x="58" y="55"/>
                      </a:lnTo>
                      <a:lnTo>
                        <a:pt x="60" y="51"/>
                      </a:lnTo>
                      <a:lnTo>
                        <a:pt x="60" y="51"/>
                      </a:lnTo>
                      <a:lnTo>
                        <a:pt x="61" y="49"/>
                      </a:lnTo>
                      <a:lnTo>
                        <a:pt x="62" y="48"/>
                      </a:lnTo>
                      <a:lnTo>
                        <a:pt x="71" y="45"/>
                      </a:lnTo>
                      <a:lnTo>
                        <a:pt x="93" y="45"/>
                      </a:lnTo>
                      <a:lnTo>
                        <a:pt x="93" y="45"/>
                      </a:lnTo>
                      <a:lnTo>
                        <a:pt x="91" y="42"/>
                      </a:lnTo>
                      <a:lnTo>
                        <a:pt x="91" y="42"/>
                      </a:lnTo>
                      <a:lnTo>
                        <a:pt x="90" y="38"/>
                      </a:lnTo>
                      <a:lnTo>
                        <a:pt x="87" y="35"/>
                      </a:lnTo>
                      <a:lnTo>
                        <a:pt x="84" y="34"/>
                      </a:lnTo>
                      <a:lnTo>
                        <a:pt x="84" y="29"/>
                      </a:lnTo>
                      <a:lnTo>
                        <a:pt x="84" y="29"/>
                      </a:lnTo>
                      <a:lnTo>
                        <a:pt x="86" y="26"/>
                      </a:lnTo>
                      <a:lnTo>
                        <a:pt x="87" y="25"/>
                      </a:lnTo>
                      <a:lnTo>
                        <a:pt x="88" y="23"/>
                      </a:lnTo>
                      <a:lnTo>
                        <a:pt x="88" y="20"/>
                      </a:lnTo>
                      <a:lnTo>
                        <a:pt x="88" y="20"/>
                      </a:lnTo>
                      <a:lnTo>
                        <a:pt x="90" y="18"/>
                      </a:lnTo>
                      <a:lnTo>
                        <a:pt x="90" y="18"/>
                      </a:lnTo>
                      <a:lnTo>
                        <a:pt x="68" y="2"/>
                      </a:lnTo>
                      <a:lnTo>
                        <a:pt x="68" y="2"/>
                      </a:lnTo>
                      <a:lnTo>
                        <a:pt x="65" y="0"/>
                      </a:lnTo>
                      <a:lnTo>
                        <a:pt x="62" y="0"/>
                      </a:lnTo>
                      <a:lnTo>
                        <a:pt x="57" y="2"/>
                      </a:lnTo>
                      <a:lnTo>
                        <a:pt x="51" y="5"/>
                      </a:lnTo>
                      <a:lnTo>
                        <a:pt x="46" y="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66" name="Freeform 719"/>
                <p:cNvSpPr>
                  <a:spLocks/>
                </p:cNvSpPr>
                <p:nvPr/>
              </p:nvSpPr>
              <p:spPr bwMode="auto">
                <a:xfrm>
                  <a:off x="4508687" y="2471321"/>
                  <a:ext cx="72216" cy="35613"/>
                </a:xfrm>
                <a:custGeom>
                  <a:avLst/>
                  <a:gdLst>
                    <a:gd name="T0" fmla="*/ 59 w 73"/>
                    <a:gd name="T1" fmla="*/ 8 h 36"/>
                    <a:gd name="T2" fmla="*/ 59 w 73"/>
                    <a:gd name="T3" fmla="*/ 8 h 36"/>
                    <a:gd name="T4" fmla="*/ 53 w 73"/>
                    <a:gd name="T5" fmla="*/ 5 h 36"/>
                    <a:gd name="T6" fmla="*/ 44 w 73"/>
                    <a:gd name="T7" fmla="*/ 2 h 36"/>
                    <a:gd name="T8" fmla="*/ 21 w 73"/>
                    <a:gd name="T9" fmla="*/ 0 h 36"/>
                    <a:gd name="T10" fmla="*/ 21 w 73"/>
                    <a:gd name="T11" fmla="*/ 0 h 36"/>
                    <a:gd name="T12" fmla="*/ 17 w 73"/>
                    <a:gd name="T13" fmla="*/ 5 h 36"/>
                    <a:gd name="T14" fmla="*/ 11 w 73"/>
                    <a:gd name="T15" fmla="*/ 14 h 36"/>
                    <a:gd name="T16" fmla="*/ 1 w 73"/>
                    <a:gd name="T17" fmla="*/ 24 h 36"/>
                    <a:gd name="T18" fmla="*/ 1 w 73"/>
                    <a:gd name="T19" fmla="*/ 24 h 36"/>
                    <a:gd name="T20" fmla="*/ 0 w 73"/>
                    <a:gd name="T21" fmla="*/ 26 h 36"/>
                    <a:gd name="T22" fmla="*/ 1 w 73"/>
                    <a:gd name="T23" fmla="*/ 29 h 36"/>
                    <a:gd name="T24" fmla="*/ 10 w 73"/>
                    <a:gd name="T25" fmla="*/ 31 h 36"/>
                    <a:gd name="T26" fmla="*/ 10 w 73"/>
                    <a:gd name="T27" fmla="*/ 31 h 36"/>
                    <a:gd name="T28" fmla="*/ 11 w 73"/>
                    <a:gd name="T29" fmla="*/ 33 h 36"/>
                    <a:gd name="T30" fmla="*/ 13 w 73"/>
                    <a:gd name="T31" fmla="*/ 36 h 36"/>
                    <a:gd name="T32" fmla="*/ 13 w 73"/>
                    <a:gd name="T33" fmla="*/ 36 h 36"/>
                    <a:gd name="T34" fmla="*/ 27 w 73"/>
                    <a:gd name="T35" fmla="*/ 34 h 36"/>
                    <a:gd name="T36" fmla="*/ 27 w 73"/>
                    <a:gd name="T37" fmla="*/ 34 h 36"/>
                    <a:gd name="T38" fmla="*/ 34 w 73"/>
                    <a:gd name="T39" fmla="*/ 33 h 36"/>
                    <a:gd name="T40" fmla="*/ 46 w 73"/>
                    <a:gd name="T41" fmla="*/ 33 h 36"/>
                    <a:gd name="T42" fmla="*/ 62 w 73"/>
                    <a:gd name="T43" fmla="*/ 33 h 36"/>
                    <a:gd name="T44" fmla="*/ 62 w 73"/>
                    <a:gd name="T45" fmla="*/ 33 h 36"/>
                    <a:gd name="T46" fmla="*/ 63 w 73"/>
                    <a:gd name="T47" fmla="*/ 31 h 36"/>
                    <a:gd name="T48" fmla="*/ 66 w 73"/>
                    <a:gd name="T49" fmla="*/ 29 h 36"/>
                    <a:gd name="T50" fmla="*/ 73 w 73"/>
                    <a:gd name="T51" fmla="*/ 23 h 36"/>
                    <a:gd name="T52" fmla="*/ 73 w 73"/>
                    <a:gd name="T53" fmla="*/ 23 h 36"/>
                    <a:gd name="T54" fmla="*/ 66 w 73"/>
                    <a:gd name="T55" fmla="*/ 14 h 36"/>
                    <a:gd name="T56" fmla="*/ 59 w 73"/>
                    <a:gd name="T57" fmla="*/ 8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73" h="36">
                      <a:moveTo>
                        <a:pt x="59" y="8"/>
                      </a:moveTo>
                      <a:lnTo>
                        <a:pt x="59" y="8"/>
                      </a:lnTo>
                      <a:lnTo>
                        <a:pt x="53" y="5"/>
                      </a:lnTo>
                      <a:lnTo>
                        <a:pt x="44" y="2"/>
                      </a:lnTo>
                      <a:lnTo>
                        <a:pt x="21" y="0"/>
                      </a:lnTo>
                      <a:lnTo>
                        <a:pt x="21" y="0"/>
                      </a:lnTo>
                      <a:lnTo>
                        <a:pt x="17" y="5"/>
                      </a:lnTo>
                      <a:lnTo>
                        <a:pt x="11" y="14"/>
                      </a:lnTo>
                      <a:lnTo>
                        <a:pt x="1" y="24"/>
                      </a:lnTo>
                      <a:lnTo>
                        <a:pt x="1" y="24"/>
                      </a:lnTo>
                      <a:lnTo>
                        <a:pt x="0" y="26"/>
                      </a:lnTo>
                      <a:lnTo>
                        <a:pt x="1" y="29"/>
                      </a:lnTo>
                      <a:lnTo>
                        <a:pt x="10" y="31"/>
                      </a:lnTo>
                      <a:lnTo>
                        <a:pt x="10" y="31"/>
                      </a:lnTo>
                      <a:lnTo>
                        <a:pt x="11" y="33"/>
                      </a:lnTo>
                      <a:lnTo>
                        <a:pt x="13" y="36"/>
                      </a:lnTo>
                      <a:lnTo>
                        <a:pt x="13" y="36"/>
                      </a:lnTo>
                      <a:lnTo>
                        <a:pt x="27" y="34"/>
                      </a:lnTo>
                      <a:lnTo>
                        <a:pt x="27" y="34"/>
                      </a:lnTo>
                      <a:lnTo>
                        <a:pt x="34" y="33"/>
                      </a:lnTo>
                      <a:lnTo>
                        <a:pt x="46" y="33"/>
                      </a:lnTo>
                      <a:lnTo>
                        <a:pt x="62" y="33"/>
                      </a:lnTo>
                      <a:lnTo>
                        <a:pt x="62" y="33"/>
                      </a:lnTo>
                      <a:lnTo>
                        <a:pt x="63" y="31"/>
                      </a:lnTo>
                      <a:lnTo>
                        <a:pt x="66" y="29"/>
                      </a:lnTo>
                      <a:lnTo>
                        <a:pt x="73" y="23"/>
                      </a:lnTo>
                      <a:lnTo>
                        <a:pt x="73" y="23"/>
                      </a:lnTo>
                      <a:lnTo>
                        <a:pt x="66" y="14"/>
                      </a:lnTo>
                      <a:lnTo>
                        <a:pt x="59" y="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67" name="Freeform 720"/>
                <p:cNvSpPr>
                  <a:spLocks/>
                </p:cNvSpPr>
                <p:nvPr/>
              </p:nvSpPr>
              <p:spPr bwMode="auto">
                <a:xfrm>
                  <a:off x="4508687" y="2471321"/>
                  <a:ext cx="72216" cy="35613"/>
                </a:xfrm>
                <a:custGeom>
                  <a:avLst/>
                  <a:gdLst>
                    <a:gd name="T0" fmla="*/ 59 w 73"/>
                    <a:gd name="T1" fmla="*/ 8 h 36"/>
                    <a:gd name="T2" fmla="*/ 59 w 73"/>
                    <a:gd name="T3" fmla="*/ 8 h 36"/>
                    <a:gd name="T4" fmla="*/ 53 w 73"/>
                    <a:gd name="T5" fmla="*/ 5 h 36"/>
                    <a:gd name="T6" fmla="*/ 44 w 73"/>
                    <a:gd name="T7" fmla="*/ 2 h 36"/>
                    <a:gd name="T8" fmla="*/ 21 w 73"/>
                    <a:gd name="T9" fmla="*/ 0 h 36"/>
                    <a:gd name="T10" fmla="*/ 21 w 73"/>
                    <a:gd name="T11" fmla="*/ 0 h 36"/>
                    <a:gd name="T12" fmla="*/ 17 w 73"/>
                    <a:gd name="T13" fmla="*/ 5 h 36"/>
                    <a:gd name="T14" fmla="*/ 11 w 73"/>
                    <a:gd name="T15" fmla="*/ 14 h 36"/>
                    <a:gd name="T16" fmla="*/ 1 w 73"/>
                    <a:gd name="T17" fmla="*/ 24 h 36"/>
                    <a:gd name="T18" fmla="*/ 1 w 73"/>
                    <a:gd name="T19" fmla="*/ 24 h 36"/>
                    <a:gd name="T20" fmla="*/ 0 w 73"/>
                    <a:gd name="T21" fmla="*/ 26 h 36"/>
                    <a:gd name="T22" fmla="*/ 1 w 73"/>
                    <a:gd name="T23" fmla="*/ 29 h 36"/>
                    <a:gd name="T24" fmla="*/ 10 w 73"/>
                    <a:gd name="T25" fmla="*/ 31 h 36"/>
                    <a:gd name="T26" fmla="*/ 10 w 73"/>
                    <a:gd name="T27" fmla="*/ 31 h 36"/>
                    <a:gd name="T28" fmla="*/ 11 w 73"/>
                    <a:gd name="T29" fmla="*/ 33 h 36"/>
                    <a:gd name="T30" fmla="*/ 13 w 73"/>
                    <a:gd name="T31" fmla="*/ 36 h 36"/>
                    <a:gd name="T32" fmla="*/ 13 w 73"/>
                    <a:gd name="T33" fmla="*/ 36 h 36"/>
                    <a:gd name="T34" fmla="*/ 27 w 73"/>
                    <a:gd name="T35" fmla="*/ 34 h 36"/>
                    <a:gd name="T36" fmla="*/ 27 w 73"/>
                    <a:gd name="T37" fmla="*/ 34 h 36"/>
                    <a:gd name="T38" fmla="*/ 34 w 73"/>
                    <a:gd name="T39" fmla="*/ 33 h 36"/>
                    <a:gd name="T40" fmla="*/ 46 w 73"/>
                    <a:gd name="T41" fmla="*/ 33 h 36"/>
                    <a:gd name="T42" fmla="*/ 62 w 73"/>
                    <a:gd name="T43" fmla="*/ 33 h 36"/>
                    <a:gd name="T44" fmla="*/ 62 w 73"/>
                    <a:gd name="T45" fmla="*/ 33 h 36"/>
                    <a:gd name="T46" fmla="*/ 63 w 73"/>
                    <a:gd name="T47" fmla="*/ 31 h 36"/>
                    <a:gd name="T48" fmla="*/ 66 w 73"/>
                    <a:gd name="T49" fmla="*/ 29 h 36"/>
                    <a:gd name="T50" fmla="*/ 73 w 73"/>
                    <a:gd name="T51" fmla="*/ 23 h 36"/>
                    <a:gd name="T52" fmla="*/ 73 w 73"/>
                    <a:gd name="T53" fmla="*/ 23 h 36"/>
                    <a:gd name="T54" fmla="*/ 66 w 73"/>
                    <a:gd name="T55" fmla="*/ 14 h 36"/>
                    <a:gd name="T56" fmla="*/ 59 w 73"/>
                    <a:gd name="T57" fmla="*/ 8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73" h="36">
                      <a:moveTo>
                        <a:pt x="59" y="8"/>
                      </a:moveTo>
                      <a:lnTo>
                        <a:pt x="59" y="8"/>
                      </a:lnTo>
                      <a:lnTo>
                        <a:pt x="53" y="5"/>
                      </a:lnTo>
                      <a:lnTo>
                        <a:pt x="44" y="2"/>
                      </a:lnTo>
                      <a:lnTo>
                        <a:pt x="21" y="0"/>
                      </a:lnTo>
                      <a:lnTo>
                        <a:pt x="21" y="0"/>
                      </a:lnTo>
                      <a:lnTo>
                        <a:pt x="17" y="5"/>
                      </a:lnTo>
                      <a:lnTo>
                        <a:pt x="11" y="14"/>
                      </a:lnTo>
                      <a:lnTo>
                        <a:pt x="1" y="24"/>
                      </a:lnTo>
                      <a:lnTo>
                        <a:pt x="1" y="24"/>
                      </a:lnTo>
                      <a:lnTo>
                        <a:pt x="0" y="26"/>
                      </a:lnTo>
                      <a:lnTo>
                        <a:pt x="1" y="29"/>
                      </a:lnTo>
                      <a:lnTo>
                        <a:pt x="10" y="31"/>
                      </a:lnTo>
                      <a:lnTo>
                        <a:pt x="10" y="31"/>
                      </a:lnTo>
                      <a:lnTo>
                        <a:pt x="11" y="33"/>
                      </a:lnTo>
                      <a:lnTo>
                        <a:pt x="13" y="36"/>
                      </a:lnTo>
                      <a:lnTo>
                        <a:pt x="13" y="36"/>
                      </a:lnTo>
                      <a:lnTo>
                        <a:pt x="27" y="34"/>
                      </a:lnTo>
                      <a:lnTo>
                        <a:pt x="27" y="34"/>
                      </a:lnTo>
                      <a:lnTo>
                        <a:pt x="34" y="33"/>
                      </a:lnTo>
                      <a:lnTo>
                        <a:pt x="46" y="33"/>
                      </a:lnTo>
                      <a:lnTo>
                        <a:pt x="62" y="33"/>
                      </a:lnTo>
                      <a:lnTo>
                        <a:pt x="62" y="33"/>
                      </a:lnTo>
                      <a:lnTo>
                        <a:pt x="63" y="31"/>
                      </a:lnTo>
                      <a:lnTo>
                        <a:pt x="66" y="29"/>
                      </a:lnTo>
                      <a:lnTo>
                        <a:pt x="73" y="23"/>
                      </a:lnTo>
                      <a:lnTo>
                        <a:pt x="73" y="23"/>
                      </a:lnTo>
                      <a:lnTo>
                        <a:pt x="66" y="14"/>
                      </a:lnTo>
                      <a:lnTo>
                        <a:pt x="59" y="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68" name="Freeform 721"/>
                <p:cNvSpPr>
                  <a:spLocks/>
                </p:cNvSpPr>
                <p:nvPr/>
              </p:nvSpPr>
              <p:spPr bwMode="auto">
                <a:xfrm>
                  <a:off x="4628387" y="2500999"/>
                  <a:ext cx="92990" cy="74194"/>
                </a:xfrm>
                <a:custGeom>
                  <a:avLst/>
                  <a:gdLst>
                    <a:gd name="T0" fmla="*/ 49 w 94"/>
                    <a:gd name="T1" fmla="*/ 25 h 75"/>
                    <a:gd name="T2" fmla="*/ 49 w 94"/>
                    <a:gd name="T3" fmla="*/ 25 h 75"/>
                    <a:gd name="T4" fmla="*/ 80 w 94"/>
                    <a:gd name="T5" fmla="*/ 26 h 75"/>
                    <a:gd name="T6" fmla="*/ 80 w 94"/>
                    <a:gd name="T7" fmla="*/ 26 h 75"/>
                    <a:gd name="T8" fmla="*/ 94 w 94"/>
                    <a:gd name="T9" fmla="*/ 23 h 75"/>
                    <a:gd name="T10" fmla="*/ 94 w 94"/>
                    <a:gd name="T11" fmla="*/ 23 h 75"/>
                    <a:gd name="T12" fmla="*/ 91 w 94"/>
                    <a:gd name="T13" fmla="*/ 14 h 75"/>
                    <a:gd name="T14" fmla="*/ 91 w 94"/>
                    <a:gd name="T15" fmla="*/ 9 h 75"/>
                    <a:gd name="T16" fmla="*/ 91 w 94"/>
                    <a:gd name="T17" fmla="*/ 9 h 75"/>
                    <a:gd name="T18" fmla="*/ 87 w 94"/>
                    <a:gd name="T19" fmla="*/ 12 h 75"/>
                    <a:gd name="T20" fmla="*/ 83 w 94"/>
                    <a:gd name="T21" fmla="*/ 13 h 75"/>
                    <a:gd name="T22" fmla="*/ 78 w 94"/>
                    <a:gd name="T23" fmla="*/ 13 h 75"/>
                    <a:gd name="T24" fmla="*/ 78 w 94"/>
                    <a:gd name="T25" fmla="*/ 13 h 75"/>
                    <a:gd name="T26" fmla="*/ 73 w 94"/>
                    <a:gd name="T27" fmla="*/ 12 h 75"/>
                    <a:gd name="T28" fmla="*/ 65 w 94"/>
                    <a:gd name="T29" fmla="*/ 9 h 75"/>
                    <a:gd name="T30" fmla="*/ 58 w 94"/>
                    <a:gd name="T31" fmla="*/ 4 h 75"/>
                    <a:gd name="T32" fmla="*/ 52 w 94"/>
                    <a:gd name="T33" fmla="*/ 0 h 75"/>
                    <a:gd name="T34" fmla="*/ 52 w 94"/>
                    <a:gd name="T35" fmla="*/ 0 h 75"/>
                    <a:gd name="T36" fmla="*/ 29 w 94"/>
                    <a:gd name="T37" fmla="*/ 4 h 75"/>
                    <a:gd name="T38" fmla="*/ 19 w 94"/>
                    <a:gd name="T39" fmla="*/ 7 h 75"/>
                    <a:gd name="T40" fmla="*/ 15 w 94"/>
                    <a:gd name="T41" fmla="*/ 9 h 75"/>
                    <a:gd name="T42" fmla="*/ 15 w 94"/>
                    <a:gd name="T43" fmla="*/ 9 h 75"/>
                    <a:gd name="T44" fmla="*/ 0 w 94"/>
                    <a:gd name="T45" fmla="*/ 22 h 75"/>
                    <a:gd name="T46" fmla="*/ 0 w 94"/>
                    <a:gd name="T47" fmla="*/ 22 h 75"/>
                    <a:gd name="T48" fmla="*/ 2 w 94"/>
                    <a:gd name="T49" fmla="*/ 26 h 75"/>
                    <a:gd name="T50" fmla="*/ 3 w 94"/>
                    <a:gd name="T51" fmla="*/ 30 h 75"/>
                    <a:gd name="T52" fmla="*/ 3 w 94"/>
                    <a:gd name="T53" fmla="*/ 30 h 75"/>
                    <a:gd name="T54" fmla="*/ 6 w 94"/>
                    <a:gd name="T55" fmla="*/ 32 h 75"/>
                    <a:gd name="T56" fmla="*/ 9 w 94"/>
                    <a:gd name="T57" fmla="*/ 30 h 75"/>
                    <a:gd name="T58" fmla="*/ 12 w 94"/>
                    <a:gd name="T59" fmla="*/ 26 h 75"/>
                    <a:gd name="T60" fmla="*/ 12 w 94"/>
                    <a:gd name="T61" fmla="*/ 26 h 75"/>
                    <a:gd name="T62" fmla="*/ 15 w 94"/>
                    <a:gd name="T63" fmla="*/ 25 h 75"/>
                    <a:gd name="T64" fmla="*/ 15 w 94"/>
                    <a:gd name="T65" fmla="*/ 27 h 75"/>
                    <a:gd name="T66" fmla="*/ 13 w 94"/>
                    <a:gd name="T67" fmla="*/ 38 h 75"/>
                    <a:gd name="T68" fmla="*/ 13 w 94"/>
                    <a:gd name="T69" fmla="*/ 38 h 75"/>
                    <a:gd name="T70" fmla="*/ 15 w 94"/>
                    <a:gd name="T71" fmla="*/ 41 h 75"/>
                    <a:gd name="T72" fmla="*/ 15 w 94"/>
                    <a:gd name="T73" fmla="*/ 42 h 75"/>
                    <a:gd name="T74" fmla="*/ 22 w 94"/>
                    <a:gd name="T75" fmla="*/ 45 h 75"/>
                    <a:gd name="T76" fmla="*/ 22 w 94"/>
                    <a:gd name="T77" fmla="*/ 45 h 75"/>
                    <a:gd name="T78" fmla="*/ 25 w 94"/>
                    <a:gd name="T79" fmla="*/ 48 h 75"/>
                    <a:gd name="T80" fmla="*/ 25 w 94"/>
                    <a:gd name="T81" fmla="*/ 49 h 75"/>
                    <a:gd name="T82" fmla="*/ 26 w 94"/>
                    <a:gd name="T83" fmla="*/ 52 h 75"/>
                    <a:gd name="T84" fmla="*/ 28 w 94"/>
                    <a:gd name="T85" fmla="*/ 55 h 75"/>
                    <a:gd name="T86" fmla="*/ 28 w 94"/>
                    <a:gd name="T87" fmla="*/ 55 h 75"/>
                    <a:gd name="T88" fmla="*/ 31 w 94"/>
                    <a:gd name="T89" fmla="*/ 59 h 75"/>
                    <a:gd name="T90" fmla="*/ 35 w 94"/>
                    <a:gd name="T91" fmla="*/ 61 h 75"/>
                    <a:gd name="T92" fmla="*/ 45 w 94"/>
                    <a:gd name="T93" fmla="*/ 65 h 75"/>
                    <a:gd name="T94" fmla="*/ 45 w 94"/>
                    <a:gd name="T95" fmla="*/ 65 h 75"/>
                    <a:gd name="T96" fmla="*/ 48 w 94"/>
                    <a:gd name="T97" fmla="*/ 67 h 75"/>
                    <a:gd name="T98" fmla="*/ 51 w 94"/>
                    <a:gd name="T99" fmla="*/ 69 h 75"/>
                    <a:gd name="T100" fmla="*/ 57 w 94"/>
                    <a:gd name="T101" fmla="*/ 74 h 75"/>
                    <a:gd name="T102" fmla="*/ 57 w 94"/>
                    <a:gd name="T103" fmla="*/ 74 h 75"/>
                    <a:gd name="T104" fmla="*/ 58 w 94"/>
                    <a:gd name="T105" fmla="*/ 75 h 75"/>
                    <a:gd name="T106" fmla="*/ 58 w 94"/>
                    <a:gd name="T107" fmla="*/ 75 h 75"/>
                    <a:gd name="T108" fmla="*/ 45 w 94"/>
                    <a:gd name="T109" fmla="*/ 56 h 75"/>
                    <a:gd name="T110" fmla="*/ 38 w 94"/>
                    <a:gd name="T111" fmla="*/ 46 h 75"/>
                    <a:gd name="T112" fmla="*/ 35 w 94"/>
                    <a:gd name="T113" fmla="*/ 39 h 75"/>
                    <a:gd name="T114" fmla="*/ 35 w 94"/>
                    <a:gd name="T115" fmla="*/ 39 h 75"/>
                    <a:gd name="T116" fmla="*/ 35 w 94"/>
                    <a:gd name="T117" fmla="*/ 35 h 75"/>
                    <a:gd name="T118" fmla="*/ 38 w 94"/>
                    <a:gd name="T119" fmla="*/ 29 h 75"/>
                    <a:gd name="T120" fmla="*/ 42 w 94"/>
                    <a:gd name="T121" fmla="*/ 26 h 75"/>
                    <a:gd name="T122" fmla="*/ 49 w 94"/>
                    <a:gd name="T123" fmla="*/ 2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94" h="75">
                      <a:moveTo>
                        <a:pt x="49" y="25"/>
                      </a:moveTo>
                      <a:lnTo>
                        <a:pt x="49" y="25"/>
                      </a:lnTo>
                      <a:lnTo>
                        <a:pt x="80" y="26"/>
                      </a:lnTo>
                      <a:lnTo>
                        <a:pt x="80" y="26"/>
                      </a:lnTo>
                      <a:lnTo>
                        <a:pt x="94" y="23"/>
                      </a:lnTo>
                      <a:lnTo>
                        <a:pt x="94" y="23"/>
                      </a:lnTo>
                      <a:lnTo>
                        <a:pt x="91" y="14"/>
                      </a:lnTo>
                      <a:lnTo>
                        <a:pt x="91" y="9"/>
                      </a:lnTo>
                      <a:lnTo>
                        <a:pt x="91" y="9"/>
                      </a:lnTo>
                      <a:lnTo>
                        <a:pt x="87" y="12"/>
                      </a:lnTo>
                      <a:lnTo>
                        <a:pt x="83" y="13"/>
                      </a:lnTo>
                      <a:lnTo>
                        <a:pt x="78" y="13"/>
                      </a:lnTo>
                      <a:lnTo>
                        <a:pt x="78" y="13"/>
                      </a:lnTo>
                      <a:lnTo>
                        <a:pt x="73" y="12"/>
                      </a:lnTo>
                      <a:lnTo>
                        <a:pt x="65" y="9"/>
                      </a:lnTo>
                      <a:lnTo>
                        <a:pt x="58" y="4"/>
                      </a:lnTo>
                      <a:lnTo>
                        <a:pt x="52" y="0"/>
                      </a:lnTo>
                      <a:lnTo>
                        <a:pt x="52" y="0"/>
                      </a:lnTo>
                      <a:lnTo>
                        <a:pt x="29" y="4"/>
                      </a:lnTo>
                      <a:lnTo>
                        <a:pt x="19" y="7"/>
                      </a:lnTo>
                      <a:lnTo>
                        <a:pt x="15" y="9"/>
                      </a:lnTo>
                      <a:lnTo>
                        <a:pt x="15" y="9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2" y="26"/>
                      </a:lnTo>
                      <a:lnTo>
                        <a:pt x="3" y="30"/>
                      </a:lnTo>
                      <a:lnTo>
                        <a:pt x="3" y="30"/>
                      </a:lnTo>
                      <a:lnTo>
                        <a:pt x="6" y="32"/>
                      </a:lnTo>
                      <a:lnTo>
                        <a:pt x="9" y="30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5" y="25"/>
                      </a:lnTo>
                      <a:lnTo>
                        <a:pt x="15" y="27"/>
                      </a:lnTo>
                      <a:lnTo>
                        <a:pt x="13" y="38"/>
                      </a:lnTo>
                      <a:lnTo>
                        <a:pt x="13" y="38"/>
                      </a:lnTo>
                      <a:lnTo>
                        <a:pt x="15" y="41"/>
                      </a:lnTo>
                      <a:lnTo>
                        <a:pt x="15" y="42"/>
                      </a:lnTo>
                      <a:lnTo>
                        <a:pt x="22" y="45"/>
                      </a:lnTo>
                      <a:lnTo>
                        <a:pt x="22" y="45"/>
                      </a:lnTo>
                      <a:lnTo>
                        <a:pt x="25" y="48"/>
                      </a:lnTo>
                      <a:lnTo>
                        <a:pt x="25" y="49"/>
                      </a:lnTo>
                      <a:lnTo>
                        <a:pt x="26" y="52"/>
                      </a:lnTo>
                      <a:lnTo>
                        <a:pt x="28" y="55"/>
                      </a:lnTo>
                      <a:lnTo>
                        <a:pt x="28" y="55"/>
                      </a:lnTo>
                      <a:lnTo>
                        <a:pt x="31" y="59"/>
                      </a:lnTo>
                      <a:lnTo>
                        <a:pt x="35" y="61"/>
                      </a:lnTo>
                      <a:lnTo>
                        <a:pt x="45" y="65"/>
                      </a:lnTo>
                      <a:lnTo>
                        <a:pt x="45" y="65"/>
                      </a:lnTo>
                      <a:lnTo>
                        <a:pt x="48" y="67"/>
                      </a:lnTo>
                      <a:lnTo>
                        <a:pt x="51" y="69"/>
                      </a:lnTo>
                      <a:lnTo>
                        <a:pt x="57" y="74"/>
                      </a:lnTo>
                      <a:lnTo>
                        <a:pt x="57" y="74"/>
                      </a:lnTo>
                      <a:lnTo>
                        <a:pt x="58" y="75"/>
                      </a:lnTo>
                      <a:lnTo>
                        <a:pt x="58" y="75"/>
                      </a:lnTo>
                      <a:lnTo>
                        <a:pt x="45" y="56"/>
                      </a:lnTo>
                      <a:lnTo>
                        <a:pt x="38" y="46"/>
                      </a:lnTo>
                      <a:lnTo>
                        <a:pt x="35" y="39"/>
                      </a:lnTo>
                      <a:lnTo>
                        <a:pt x="35" y="39"/>
                      </a:lnTo>
                      <a:lnTo>
                        <a:pt x="35" y="35"/>
                      </a:lnTo>
                      <a:lnTo>
                        <a:pt x="38" y="29"/>
                      </a:lnTo>
                      <a:lnTo>
                        <a:pt x="42" y="26"/>
                      </a:lnTo>
                      <a:lnTo>
                        <a:pt x="49" y="2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69" name="Freeform 722"/>
                <p:cNvSpPr>
                  <a:spLocks/>
                </p:cNvSpPr>
                <p:nvPr/>
              </p:nvSpPr>
              <p:spPr bwMode="auto">
                <a:xfrm>
                  <a:off x="4628387" y="2500999"/>
                  <a:ext cx="92990" cy="74194"/>
                </a:xfrm>
                <a:custGeom>
                  <a:avLst/>
                  <a:gdLst>
                    <a:gd name="T0" fmla="*/ 49 w 94"/>
                    <a:gd name="T1" fmla="*/ 25 h 75"/>
                    <a:gd name="T2" fmla="*/ 49 w 94"/>
                    <a:gd name="T3" fmla="*/ 25 h 75"/>
                    <a:gd name="T4" fmla="*/ 80 w 94"/>
                    <a:gd name="T5" fmla="*/ 26 h 75"/>
                    <a:gd name="T6" fmla="*/ 80 w 94"/>
                    <a:gd name="T7" fmla="*/ 26 h 75"/>
                    <a:gd name="T8" fmla="*/ 94 w 94"/>
                    <a:gd name="T9" fmla="*/ 23 h 75"/>
                    <a:gd name="T10" fmla="*/ 94 w 94"/>
                    <a:gd name="T11" fmla="*/ 23 h 75"/>
                    <a:gd name="T12" fmla="*/ 91 w 94"/>
                    <a:gd name="T13" fmla="*/ 14 h 75"/>
                    <a:gd name="T14" fmla="*/ 91 w 94"/>
                    <a:gd name="T15" fmla="*/ 9 h 75"/>
                    <a:gd name="T16" fmla="*/ 91 w 94"/>
                    <a:gd name="T17" fmla="*/ 9 h 75"/>
                    <a:gd name="T18" fmla="*/ 87 w 94"/>
                    <a:gd name="T19" fmla="*/ 12 h 75"/>
                    <a:gd name="T20" fmla="*/ 83 w 94"/>
                    <a:gd name="T21" fmla="*/ 13 h 75"/>
                    <a:gd name="T22" fmla="*/ 78 w 94"/>
                    <a:gd name="T23" fmla="*/ 13 h 75"/>
                    <a:gd name="T24" fmla="*/ 78 w 94"/>
                    <a:gd name="T25" fmla="*/ 13 h 75"/>
                    <a:gd name="T26" fmla="*/ 73 w 94"/>
                    <a:gd name="T27" fmla="*/ 12 h 75"/>
                    <a:gd name="T28" fmla="*/ 65 w 94"/>
                    <a:gd name="T29" fmla="*/ 9 h 75"/>
                    <a:gd name="T30" fmla="*/ 58 w 94"/>
                    <a:gd name="T31" fmla="*/ 4 h 75"/>
                    <a:gd name="T32" fmla="*/ 52 w 94"/>
                    <a:gd name="T33" fmla="*/ 0 h 75"/>
                    <a:gd name="T34" fmla="*/ 52 w 94"/>
                    <a:gd name="T35" fmla="*/ 0 h 75"/>
                    <a:gd name="T36" fmla="*/ 29 w 94"/>
                    <a:gd name="T37" fmla="*/ 4 h 75"/>
                    <a:gd name="T38" fmla="*/ 19 w 94"/>
                    <a:gd name="T39" fmla="*/ 7 h 75"/>
                    <a:gd name="T40" fmla="*/ 15 w 94"/>
                    <a:gd name="T41" fmla="*/ 9 h 75"/>
                    <a:gd name="T42" fmla="*/ 15 w 94"/>
                    <a:gd name="T43" fmla="*/ 9 h 75"/>
                    <a:gd name="T44" fmla="*/ 0 w 94"/>
                    <a:gd name="T45" fmla="*/ 22 h 75"/>
                    <a:gd name="T46" fmla="*/ 0 w 94"/>
                    <a:gd name="T47" fmla="*/ 22 h 75"/>
                    <a:gd name="T48" fmla="*/ 2 w 94"/>
                    <a:gd name="T49" fmla="*/ 26 h 75"/>
                    <a:gd name="T50" fmla="*/ 3 w 94"/>
                    <a:gd name="T51" fmla="*/ 30 h 75"/>
                    <a:gd name="T52" fmla="*/ 3 w 94"/>
                    <a:gd name="T53" fmla="*/ 30 h 75"/>
                    <a:gd name="T54" fmla="*/ 6 w 94"/>
                    <a:gd name="T55" fmla="*/ 32 h 75"/>
                    <a:gd name="T56" fmla="*/ 9 w 94"/>
                    <a:gd name="T57" fmla="*/ 30 h 75"/>
                    <a:gd name="T58" fmla="*/ 12 w 94"/>
                    <a:gd name="T59" fmla="*/ 26 h 75"/>
                    <a:gd name="T60" fmla="*/ 12 w 94"/>
                    <a:gd name="T61" fmla="*/ 26 h 75"/>
                    <a:gd name="T62" fmla="*/ 15 w 94"/>
                    <a:gd name="T63" fmla="*/ 25 h 75"/>
                    <a:gd name="T64" fmla="*/ 15 w 94"/>
                    <a:gd name="T65" fmla="*/ 27 h 75"/>
                    <a:gd name="T66" fmla="*/ 13 w 94"/>
                    <a:gd name="T67" fmla="*/ 38 h 75"/>
                    <a:gd name="T68" fmla="*/ 13 w 94"/>
                    <a:gd name="T69" fmla="*/ 38 h 75"/>
                    <a:gd name="T70" fmla="*/ 15 w 94"/>
                    <a:gd name="T71" fmla="*/ 41 h 75"/>
                    <a:gd name="T72" fmla="*/ 15 w 94"/>
                    <a:gd name="T73" fmla="*/ 42 h 75"/>
                    <a:gd name="T74" fmla="*/ 22 w 94"/>
                    <a:gd name="T75" fmla="*/ 45 h 75"/>
                    <a:gd name="T76" fmla="*/ 22 w 94"/>
                    <a:gd name="T77" fmla="*/ 45 h 75"/>
                    <a:gd name="T78" fmla="*/ 25 w 94"/>
                    <a:gd name="T79" fmla="*/ 48 h 75"/>
                    <a:gd name="T80" fmla="*/ 25 w 94"/>
                    <a:gd name="T81" fmla="*/ 49 h 75"/>
                    <a:gd name="T82" fmla="*/ 26 w 94"/>
                    <a:gd name="T83" fmla="*/ 52 h 75"/>
                    <a:gd name="T84" fmla="*/ 28 w 94"/>
                    <a:gd name="T85" fmla="*/ 55 h 75"/>
                    <a:gd name="T86" fmla="*/ 28 w 94"/>
                    <a:gd name="T87" fmla="*/ 55 h 75"/>
                    <a:gd name="T88" fmla="*/ 31 w 94"/>
                    <a:gd name="T89" fmla="*/ 59 h 75"/>
                    <a:gd name="T90" fmla="*/ 35 w 94"/>
                    <a:gd name="T91" fmla="*/ 61 h 75"/>
                    <a:gd name="T92" fmla="*/ 45 w 94"/>
                    <a:gd name="T93" fmla="*/ 65 h 75"/>
                    <a:gd name="T94" fmla="*/ 45 w 94"/>
                    <a:gd name="T95" fmla="*/ 65 h 75"/>
                    <a:gd name="T96" fmla="*/ 48 w 94"/>
                    <a:gd name="T97" fmla="*/ 67 h 75"/>
                    <a:gd name="T98" fmla="*/ 51 w 94"/>
                    <a:gd name="T99" fmla="*/ 69 h 75"/>
                    <a:gd name="T100" fmla="*/ 57 w 94"/>
                    <a:gd name="T101" fmla="*/ 74 h 75"/>
                    <a:gd name="T102" fmla="*/ 57 w 94"/>
                    <a:gd name="T103" fmla="*/ 74 h 75"/>
                    <a:gd name="T104" fmla="*/ 58 w 94"/>
                    <a:gd name="T105" fmla="*/ 75 h 75"/>
                    <a:gd name="T106" fmla="*/ 58 w 94"/>
                    <a:gd name="T107" fmla="*/ 75 h 75"/>
                    <a:gd name="T108" fmla="*/ 45 w 94"/>
                    <a:gd name="T109" fmla="*/ 56 h 75"/>
                    <a:gd name="T110" fmla="*/ 38 w 94"/>
                    <a:gd name="T111" fmla="*/ 46 h 75"/>
                    <a:gd name="T112" fmla="*/ 35 w 94"/>
                    <a:gd name="T113" fmla="*/ 39 h 75"/>
                    <a:gd name="T114" fmla="*/ 35 w 94"/>
                    <a:gd name="T115" fmla="*/ 39 h 75"/>
                    <a:gd name="T116" fmla="*/ 35 w 94"/>
                    <a:gd name="T117" fmla="*/ 35 h 75"/>
                    <a:gd name="T118" fmla="*/ 38 w 94"/>
                    <a:gd name="T119" fmla="*/ 29 h 75"/>
                    <a:gd name="T120" fmla="*/ 42 w 94"/>
                    <a:gd name="T121" fmla="*/ 26 h 75"/>
                    <a:gd name="T122" fmla="*/ 49 w 94"/>
                    <a:gd name="T123" fmla="*/ 2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94" h="75">
                      <a:moveTo>
                        <a:pt x="49" y="25"/>
                      </a:moveTo>
                      <a:lnTo>
                        <a:pt x="49" y="25"/>
                      </a:lnTo>
                      <a:lnTo>
                        <a:pt x="80" y="26"/>
                      </a:lnTo>
                      <a:lnTo>
                        <a:pt x="80" y="26"/>
                      </a:lnTo>
                      <a:lnTo>
                        <a:pt x="94" y="23"/>
                      </a:lnTo>
                      <a:lnTo>
                        <a:pt x="94" y="23"/>
                      </a:lnTo>
                      <a:lnTo>
                        <a:pt x="91" y="14"/>
                      </a:lnTo>
                      <a:lnTo>
                        <a:pt x="91" y="9"/>
                      </a:lnTo>
                      <a:lnTo>
                        <a:pt x="91" y="9"/>
                      </a:lnTo>
                      <a:lnTo>
                        <a:pt x="87" y="12"/>
                      </a:lnTo>
                      <a:lnTo>
                        <a:pt x="83" y="13"/>
                      </a:lnTo>
                      <a:lnTo>
                        <a:pt x="78" y="13"/>
                      </a:lnTo>
                      <a:lnTo>
                        <a:pt x="78" y="13"/>
                      </a:lnTo>
                      <a:lnTo>
                        <a:pt x="73" y="12"/>
                      </a:lnTo>
                      <a:lnTo>
                        <a:pt x="65" y="9"/>
                      </a:lnTo>
                      <a:lnTo>
                        <a:pt x="58" y="4"/>
                      </a:lnTo>
                      <a:lnTo>
                        <a:pt x="52" y="0"/>
                      </a:lnTo>
                      <a:lnTo>
                        <a:pt x="52" y="0"/>
                      </a:lnTo>
                      <a:lnTo>
                        <a:pt x="29" y="4"/>
                      </a:lnTo>
                      <a:lnTo>
                        <a:pt x="19" y="7"/>
                      </a:lnTo>
                      <a:lnTo>
                        <a:pt x="15" y="9"/>
                      </a:lnTo>
                      <a:lnTo>
                        <a:pt x="15" y="9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2" y="26"/>
                      </a:lnTo>
                      <a:lnTo>
                        <a:pt x="3" y="30"/>
                      </a:lnTo>
                      <a:lnTo>
                        <a:pt x="3" y="30"/>
                      </a:lnTo>
                      <a:lnTo>
                        <a:pt x="6" y="32"/>
                      </a:lnTo>
                      <a:lnTo>
                        <a:pt x="9" y="30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5" y="25"/>
                      </a:lnTo>
                      <a:lnTo>
                        <a:pt x="15" y="27"/>
                      </a:lnTo>
                      <a:lnTo>
                        <a:pt x="13" y="38"/>
                      </a:lnTo>
                      <a:lnTo>
                        <a:pt x="13" y="38"/>
                      </a:lnTo>
                      <a:lnTo>
                        <a:pt x="15" y="41"/>
                      </a:lnTo>
                      <a:lnTo>
                        <a:pt x="15" y="42"/>
                      </a:lnTo>
                      <a:lnTo>
                        <a:pt x="22" y="45"/>
                      </a:lnTo>
                      <a:lnTo>
                        <a:pt x="22" y="45"/>
                      </a:lnTo>
                      <a:lnTo>
                        <a:pt x="25" y="48"/>
                      </a:lnTo>
                      <a:lnTo>
                        <a:pt x="25" y="49"/>
                      </a:lnTo>
                      <a:lnTo>
                        <a:pt x="26" y="52"/>
                      </a:lnTo>
                      <a:lnTo>
                        <a:pt x="28" y="55"/>
                      </a:lnTo>
                      <a:lnTo>
                        <a:pt x="28" y="55"/>
                      </a:lnTo>
                      <a:lnTo>
                        <a:pt x="31" y="59"/>
                      </a:lnTo>
                      <a:lnTo>
                        <a:pt x="35" y="61"/>
                      </a:lnTo>
                      <a:lnTo>
                        <a:pt x="45" y="65"/>
                      </a:lnTo>
                      <a:lnTo>
                        <a:pt x="45" y="65"/>
                      </a:lnTo>
                      <a:lnTo>
                        <a:pt x="48" y="67"/>
                      </a:lnTo>
                      <a:lnTo>
                        <a:pt x="51" y="69"/>
                      </a:lnTo>
                      <a:lnTo>
                        <a:pt x="57" y="74"/>
                      </a:lnTo>
                      <a:lnTo>
                        <a:pt x="57" y="74"/>
                      </a:lnTo>
                      <a:lnTo>
                        <a:pt x="58" y="75"/>
                      </a:lnTo>
                      <a:lnTo>
                        <a:pt x="58" y="75"/>
                      </a:lnTo>
                      <a:lnTo>
                        <a:pt x="45" y="56"/>
                      </a:lnTo>
                      <a:lnTo>
                        <a:pt x="38" y="46"/>
                      </a:lnTo>
                      <a:lnTo>
                        <a:pt x="35" y="39"/>
                      </a:lnTo>
                      <a:lnTo>
                        <a:pt x="35" y="39"/>
                      </a:lnTo>
                      <a:lnTo>
                        <a:pt x="35" y="35"/>
                      </a:lnTo>
                      <a:lnTo>
                        <a:pt x="38" y="29"/>
                      </a:lnTo>
                      <a:lnTo>
                        <a:pt x="42" y="26"/>
                      </a:lnTo>
                      <a:lnTo>
                        <a:pt x="49" y="2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70" name="Freeform 723"/>
                <p:cNvSpPr>
                  <a:spLocks/>
                </p:cNvSpPr>
                <p:nvPr/>
              </p:nvSpPr>
              <p:spPr bwMode="auto">
                <a:xfrm>
                  <a:off x="4624430" y="2489128"/>
                  <a:ext cx="55399" cy="33635"/>
                </a:xfrm>
                <a:custGeom>
                  <a:avLst/>
                  <a:gdLst>
                    <a:gd name="T0" fmla="*/ 56 w 56"/>
                    <a:gd name="T1" fmla="*/ 12 h 34"/>
                    <a:gd name="T2" fmla="*/ 56 w 56"/>
                    <a:gd name="T3" fmla="*/ 12 h 34"/>
                    <a:gd name="T4" fmla="*/ 52 w 56"/>
                    <a:gd name="T5" fmla="*/ 9 h 34"/>
                    <a:gd name="T6" fmla="*/ 52 w 56"/>
                    <a:gd name="T7" fmla="*/ 9 h 34"/>
                    <a:gd name="T8" fmla="*/ 46 w 56"/>
                    <a:gd name="T9" fmla="*/ 0 h 34"/>
                    <a:gd name="T10" fmla="*/ 46 w 56"/>
                    <a:gd name="T11" fmla="*/ 0 h 34"/>
                    <a:gd name="T12" fmla="*/ 40 w 56"/>
                    <a:gd name="T13" fmla="*/ 3 h 34"/>
                    <a:gd name="T14" fmla="*/ 35 w 56"/>
                    <a:gd name="T15" fmla="*/ 6 h 34"/>
                    <a:gd name="T16" fmla="*/ 35 w 56"/>
                    <a:gd name="T17" fmla="*/ 6 h 34"/>
                    <a:gd name="T18" fmla="*/ 17 w 56"/>
                    <a:gd name="T19" fmla="*/ 6 h 34"/>
                    <a:gd name="T20" fmla="*/ 17 w 56"/>
                    <a:gd name="T21" fmla="*/ 6 h 34"/>
                    <a:gd name="T22" fmla="*/ 0 w 56"/>
                    <a:gd name="T23" fmla="*/ 8 h 34"/>
                    <a:gd name="T24" fmla="*/ 0 w 56"/>
                    <a:gd name="T25" fmla="*/ 8 h 34"/>
                    <a:gd name="T26" fmla="*/ 4 w 56"/>
                    <a:gd name="T27" fmla="*/ 12 h 34"/>
                    <a:gd name="T28" fmla="*/ 4 w 56"/>
                    <a:gd name="T29" fmla="*/ 12 h 34"/>
                    <a:gd name="T30" fmla="*/ 3 w 56"/>
                    <a:gd name="T31" fmla="*/ 18 h 34"/>
                    <a:gd name="T32" fmla="*/ 0 w 56"/>
                    <a:gd name="T33" fmla="*/ 25 h 34"/>
                    <a:gd name="T34" fmla="*/ 0 w 56"/>
                    <a:gd name="T35" fmla="*/ 25 h 34"/>
                    <a:gd name="T36" fmla="*/ 1 w 56"/>
                    <a:gd name="T37" fmla="*/ 28 h 34"/>
                    <a:gd name="T38" fmla="*/ 4 w 56"/>
                    <a:gd name="T39" fmla="*/ 34 h 34"/>
                    <a:gd name="T40" fmla="*/ 4 w 56"/>
                    <a:gd name="T41" fmla="*/ 34 h 34"/>
                    <a:gd name="T42" fmla="*/ 19 w 56"/>
                    <a:gd name="T43" fmla="*/ 21 h 34"/>
                    <a:gd name="T44" fmla="*/ 19 w 56"/>
                    <a:gd name="T45" fmla="*/ 21 h 34"/>
                    <a:gd name="T46" fmla="*/ 23 w 56"/>
                    <a:gd name="T47" fmla="*/ 19 h 34"/>
                    <a:gd name="T48" fmla="*/ 33 w 56"/>
                    <a:gd name="T49" fmla="*/ 16 h 34"/>
                    <a:gd name="T50" fmla="*/ 56 w 56"/>
                    <a:gd name="T51" fmla="*/ 12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56" h="34">
                      <a:moveTo>
                        <a:pt x="56" y="12"/>
                      </a:moveTo>
                      <a:lnTo>
                        <a:pt x="56" y="12"/>
                      </a:lnTo>
                      <a:lnTo>
                        <a:pt x="52" y="9"/>
                      </a:lnTo>
                      <a:lnTo>
                        <a:pt x="52" y="9"/>
                      </a:lnTo>
                      <a:lnTo>
                        <a:pt x="46" y="0"/>
                      </a:lnTo>
                      <a:lnTo>
                        <a:pt x="46" y="0"/>
                      </a:lnTo>
                      <a:lnTo>
                        <a:pt x="40" y="3"/>
                      </a:lnTo>
                      <a:lnTo>
                        <a:pt x="35" y="6"/>
                      </a:lnTo>
                      <a:lnTo>
                        <a:pt x="35" y="6"/>
                      </a:lnTo>
                      <a:lnTo>
                        <a:pt x="17" y="6"/>
                      </a:lnTo>
                      <a:lnTo>
                        <a:pt x="17" y="6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3" y="18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1" y="28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19" y="21"/>
                      </a:lnTo>
                      <a:lnTo>
                        <a:pt x="19" y="21"/>
                      </a:lnTo>
                      <a:lnTo>
                        <a:pt x="23" y="19"/>
                      </a:lnTo>
                      <a:lnTo>
                        <a:pt x="33" y="16"/>
                      </a:lnTo>
                      <a:lnTo>
                        <a:pt x="56" y="1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71" name="Freeform 724"/>
                <p:cNvSpPr>
                  <a:spLocks/>
                </p:cNvSpPr>
                <p:nvPr/>
              </p:nvSpPr>
              <p:spPr bwMode="auto">
                <a:xfrm>
                  <a:off x="4624430" y="2489128"/>
                  <a:ext cx="55399" cy="33635"/>
                </a:xfrm>
                <a:custGeom>
                  <a:avLst/>
                  <a:gdLst>
                    <a:gd name="T0" fmla="*/ 56 w 56"/>
                    <a:gd name="T1" fmla="*/ 12 h 34"/>
                    <a:gd name="T2" fmla="*/ 56 w 56"/>
                    <a:gd name="T3" fmla="*/ 12 h 34"/>
                    <a:gd name="T4" fmla="*/ 52 w 56"/>
                    <a:gd name="T5" fmla="*/ 9 h 34"/>
                    <a:gd name="T6" fmla="*/ 52 w 56"/>
                    <a:gd name="T7" fmla="*/ 9 h 34"/>
                    <a:gd name="T8" fmla="*/ 46 w 56"/>
                    <a:gd name="T9" fmla="*/ 0 h 34"/>
                    <a:gd name="T10" fmla="*/ 46 w 56"/>
                    <a:gd name="T11" fmla="*/ 0 h 34"/>
                    <a:gd name="T12" fmla="*/ 40 w 56"/>
                    <a:gd name="T13" fmla="*/ 3 h 34"/>
                    <a:gd name="T14" fmla="*/ 35 w 56"/>
                    <a:gd name="T15" fmla="*/ 6 h 34"/>
                    <a:gd name="T16" fmla="*/ 35 w 56"/>
                    <a:gd name="T17" fmla="*/ 6 h 34"/>
                    <a:gd name="T18" fmla="*/ 17 w 56"/>
                    <a:gd name="T19" fmla="*/ 6 h 34"/>
                    <a:gd name="T20" fmla="*/ 17 w 56"/>
                    <a:gd name="T21" fmla="*/ 6 h 34"/>
                    <a:gd name="T22" fmla="*/ 0 w 56"/>
                    <a:gd name="T23" fmla="*/ 8 h 34"/>
                    <a:gd name="T24" fmla="*/ 0 w 56"/>
                    <a:gd name="T25" fmla="*/ 8 h 34"/>
                    <a:gd name="T26" fmla="*/ 4 w 56"/>
                    <a:gd name="T27" fmla="*/ 12 h 34"/>
                    <a:gd name="T28" fmla="*/ 4 w 56"/>
                    <a:gd name="T29" fmla="*/ 12 h 34"/>
                    <a:gd name="T30" fmla="*/ 3 w 56"/>
                    <a:gd name="T31" fmla="*/ 18 h 34"/>
                    <a:gd name="T32" fmla="*/ 0 w 56"/>
                    <a:gd name="T33" fmla="*/ 25 h 34"/>
                    <a:gd name="T34" fmla="*/ 0 w 56"/>
                    <a:gd name="T35" fmla="*/ 25 h 34"/>
                    <a:gd name="T36" fmla="*/ 1 w 56"/>
                    <a:gd name="T37" fmla="*/ 28 h 34"/>
                    <a:gd name="T38" fmla="*/ 4 w 56"/>
                    <a:gd name="T39" fmla="*/ 34 h 34"/>
                    <a:gd name="T40" fmla="*/ 4 w 56"/>
                    <a:gd name="T41" fmla="*/ 34 h 34"/>
                    <a:gd name="T42" fmla="*/ 19 w 56"/>
                    <a:gd name="T43" fmla="*/ 21 h 34"/>
                    <a:gd name="T44" fmla="*/ 19 w 56"/>
                    <a:gd name="T45" fmla="*/ 21 h 34"/>
                    <a:gd name="T46" fmla="*/ 23 w 56"/>
                    <a:gd name="T47" fmla="*/ 19 h 34"/>
                    <a:gd name="T48" fmla="*/ 33 w 56"/>
                    <a:gd name="T49" fmla="*/ 16 h 34"/>
                    <a:gd name="T50" fmla="*/ 56 w 56"/>
                    <a:gd name="T51" fmla="*/ 12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56" h="34">
                      <a:moveTo>
                        <a:pt x="56" y="12"/>
                      </a:moveTo>
                      <a:lnTo>
                        <a:pt x="56" y="12"/>
                      </a:lnTo>
                      <a:lnTo>
                        <a:pt x="52" y="9"/>
                      </a:lnTo>
                      <a:lnTo>
                        <a:pt x="52" y="9"/>
                      </a:lnTo>
                      <a:lnTo>
                        <a:pt x="46" y="0"/>
                      </a:lnTo>
                      <a:lnTo>
                        <a:pt x="46" y="0"/>
                      </a:lnTo>
                      <a:lnTo>
                        <a:pt x="40" y="3"/>
                      </a:lnTo>
                      <a:lnTo>
                        <a:pt x="35" y="6"/>
                      </a:lnTo>
                      <a:lnTo>
                        <a:pt x="35" y="6"/>
                      </a:lnTo>
                      <a:lnTo>
                        <a:pt x="17" y="6"/>
                      </a:lnTo>
                      <a:lnTo>
                        <a:pt x="17" y="6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3" y="18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1" y="28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19" y="21"/>
                      </a:lnTo>
                      <a:lnTo>
                        <a:pt x="19" y="21"/>
                      </a:lnTo>
                      <a:lnTo>
                        <a:pt x="23" y="19"/>
                      </a:lnTo>
                      <a:lnTo>
                        <a:pt x="33" y="16"/>
                      </a:lnTo>
                      <a:lnTo>
                        <a:pt x="56" y="1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76" name="Freeform 729"/>
                <p:cNvSpPr>
                  <a:spLocks/>
                </p:cNvSpPr>
                <p:nvPr/>
              </p:nvSpPr>
              <p:spPr bwMode="auto">
                <a:xfrm>
                  <a:off x="4966714" y="2797777"/>
                  <a:ext cx="328434" cy="284907"/>
                </a:xfrm>
                <a:custGeom>
                  <a:avLst/>
                  <a:gdLst>
                    <a:gd name="T0" fmla="*/ 142 w 332"/>
                    <a:gd name="T1" fmla="*/ 255 h 288"/>
                    <a:gd name="T2" fmla="*/ 156 w 332"/>
                    <a:gd name="T3" fmla="*/ 258 h 288"/>
                    <a:gd name="T4" fmla="*/ 169 w 332"/>
                    <a:gd name="T5" fmla="*/ 259 h 288"/>
                    <a:gd name="T6" fmla="*/ 177 w 332"/>
                    <a:gd name="T7" fmla="*/ 265 h 288"/>
                    <a:gd name="T8" fmla="*/ 177 w 332"/>
                    <a:gd name="T9" fmla="*/ 288 h 288"/>
                    <a:gd name="T10" fmla="*/ 246 w 332"/>
                    <a:gd name="T11" fmla="*/ 246 h 288"/>
                    <a:gd name="T12" fmla="*/ 264 w 332"/>
                    <a:gd name="T13" fmla="*/ 237 h 288"/>
                    <a:gd name="T14" fmla="*/ 301 w 332"/>
                    <a:gd name="T15" fmla="*/ 224 h 288"/>
                    <a:gd name="T16" fmla="*/ 322 w 332"/>
                    <a:gd name="T17" fmla="*/ 210 h 288"/>
                    <a:gd name="T18" fmla="*/ 329 w 332"/>
                    <a:gd name="T19" fmla="*/ 188 h 288"/>
                    <a:gd name="T20" fmla="*/ 330 w 332"/>
                    <a:gd name="T21" fmla="*/ 166 h 288"/>
                    <a:gd name="T22" fmla="*/ 322 w 332"/>
                    <a:gd name="T23" fmla="*/ 161 h 288"/>
                    <a:gd name="T24" fmla="*/ 280 w 332"/>
                    <a:gd name="T25" fmla="*/ 161 h 288"/>
                    <a:gd name="T26" fmla="*/ 272 w 332"/>
                    <a:gd name="T27" fmla="*/ 158 h 288"/>
                    <a:gd name="T28" fmla="*/ 265 w 332"/>
                    <a:gd name="T29" fmla="*/ 145 h 288"/>
                    <a:gd name="T30" fmla="*/ 259 w 332"/>
                    <a:gd name="T31" fmla="*/ 137 h 288"/>
                    <a:gd name="T32" fmla="*/ 256 w 332"/>
                    <a:gd name="T33" fmla="*/ 124 h 288"/>
                    <a:gd name="T34" fmla="*/ 253 w 332"/>
                    <a:gd name="T35" fmla="*/ 120 h 288"/>
                    <a:gd name="T36" fmla="*/ 253 w 332"/>
                    <a:gd name="T37" fmla="*/ 108 h 288"/>
                    <a:gd name="T38" fmla="*/ 249 w 332"/>
                    <a:gd name="T39" fmla="*/ 98 h 288"/>
                    <a:gd name="T40" fmla="*/ 243 w 332"/>
                    <a:gd name="T41" fmla="*/ 84 h 288"/>
                    <a:gd name="T42" fmla="*/ 230 w 332"/>
                    <a:gd name="T43" fmla="*/ 71 h 288"/>
                    <a:gd name="T44" fmla="*/ 225 w 332"/>
                    <a:gd name="T45" fmla="*/ 62 h 288"/>
                    <a:gd name="T46" fmla="*/ 214 w 332"/>
                    <a:gd name="T47" fmla="*/ 64 h 288"/>
                    <a:gd name="T48" fmla="*/ 206 w 332"/>
                    <a:gd name="T49" fmla="*/ 68 h 288"/>
                    <a:gd name="T50" fmla="*/ 198 w 332"/>
                    <a:gd name="T51" fmla="*/ 56 h 288"/>
                    <a:gd name="T52" fmla="*/ 194 w 332"/>
                    <a:gd name="T53" fmla="*/ 50 h 288"/>
                    <a:gd name="T54" fmla="*/ 146 w 332"/>
                    <a:gd name="T55" fmla="*/ 37 h 288"/>
                    <a:gd name="T56" fmla="*/ 141 w 332"/>
                    <a:gd name="T57" fmla="*/ 27 h 288"/>
                    <a:gd name="T58" fmla="*/ 132 w 332"/>
                    <a:gd name="T59" fmla="*/ 16 h 288"/>
                    <a:gd name="T60" fmla="*/ 70 w 332"/>
                    <a:gd name="T61" fmla="*/ 1 h 288"/>
                    <a:gd name="T62" fmla="*/ 55 w 332"/>
                    <a:gd name="T63" fmla="*/ 0 h 288"/>
                    <a:gd name="T64" fmla="*/ 36 w 332"/>
                    <a:gd name="T65" fmla="*/ 11 h 288"/>
                    <a:gd name="T66" fmla="*/ 35 w 332"/>
                    <a:gd name="T67" fmla="*/ 19 h 288"/>
                    <a:gd name="T68" fmla="*/ 43 w 332"/>
                    <a:gd name="T69" fmla="*/ 33 h 288"/>
                    <a:gd name="T70" fmla="*/ 39 w 332"/>
                    <a:gd name="T71" fmla="*/ 39 h 288"/>
                    <a:gd name="T72" fmla="*/ 22 w 332"/>
                    <a:gd name="T73" fmla="*/ 46 h 288"/>
                    <a:gd name="T74" fmla="*/ 0 w 332"/>
                    <a:gd name="T75" fmla="*/ 66 h 288"/>
                    <a:gd name="T76" fmla="*/ 3 w 332"/>
                    <a:gd name="T77" fmla="*/ 66 h 288"/>
                    <a:gd name="T78" fmla="*/ 22 w 332"/>
                    <a:gd name="T79" fmla="*/ 95 h 288"/>
                    <a:gd name="T80" fmla="*/ 30 w 332"/>
                    <a:gd name="T81" fmla="*/ 107 h 288"/>
                    <a:gd name="T82" fmla="*/ 41 w 332"/>
                    <a:gd name="T83" fmla="*/ 116 h 288"/>
                    <a:gd name="T84" fmla="*/ 36 w 332"/>
                    <a:gd name="T85" fmla="*/ 123 h 288"/>
                    <a:gd name="T86" fmla="*/ 41 w 332"/>
                    <a:gd name="T87" fmla="*/ 129 h 288"/>
                    <a:gd name="T88" fmla="*/ 54 w 332"/>
                    <a:gd name="T89" fmla="*/ 139 h 288"/>
                    <a:gd name="T90" fmla="*/ 71 w 332"/>
                    <a:gd name="T91" fmla="*/ 166 h 288"/>
                    <a:gd name="T92" fmla="*/ 68 w 332"/>
                    <a:gd name="T93" fmla="*/ 174 h 288"/>
                    <a:gd name="T94" fmla="*/ 71 w 332"/>
                    <a:gd name="T95" fmla="*/ 187 h 288"/>
                    <a:gd name="T96" fmla="*/ 81 w 332"/>
                    <a:gd name="T97" fmla="*/ 205 h 288"/>
                    <a:gd name="T98" fmla="*/ 93 w 332"/>
                    <a:gd name="T99" fmla="*/ 213 h 288"/>
                    <a:gd name="T100" fmla="*/ 107 w 332"/>
                    <a:gd name="T101" fmla="*/ 232 h 288"/>
                    <a:gd name="T102" fmla="*/ 126 w 332"/>
                    <a:gd name="T103" fmla="*/ 268 h 288"/>
                    <a:gd name="T104" fmla="*/ 132 w 332"/>
                    <a:gd name="T105" fmla="*/ 262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32" h="288">
                      <a:moveTo>
                        <a:pt x="139" y="256"/>
                      </a:moveTo>
                      <a:lnTo>
                        <a:pt x="139" y="256"/>
                      </a:lnTo>
                      <a:lnTo>
                        <a:pt x="142" y="255"/>
                      </a:lnTo>
                      <a:lnTo>
                        <a:pt x="146" y="256"/>
                      </a:lnTo>
                      <a:lnTo>
                        <a:pt x="152" y="256"/>
                      </a:lnTo>
                      <a:lnTo>
                        <a:pt x="156" y="258"/>
                      </a:lnTo>
                      <a:lnTo>
                        <a:pt x="156" y="258"/>
                      </a:lnTo>
                      <a:lnTo>
                        <a:pt x="164" y="258"/>
                      </a:lnTo>
                      <a:lnTo>
                        <a:pt x="169" y="259"/>
                      </a:lnTo>
                      <a:lnTo>
                        <a:pt x="175" y="262"/>
                      </a:lnTo>
                      <a:lnTo>
                        <a:pt x="177" y="263"/>
                      </a:lnTo>
                      <a:lnTo>
                        <a:pt x="177" y="265"/>
                      </a:lnTo>
                      <a:lnTo>
                        <a:pt x="177" y="265"/>
                      </a:lnTo>
                      <a:lnTo>
                        <a:pt x="178" y="279"/>
                      </a:lnTo>
                      <a:lnTo>
                        <a:pt x="177" y="288"/>
                      </a:lnTo>
                      <a:lnTo>
                        <a:pt x="177" y="288"/>
                      </a:lnTo>
                      <a:lnTo>
                        <a:pt x="217" y="263"/>
                      </a:lnTo>
                      <a:lnTo>
                        <a:pt x="246" y="246"/>
                      </a:lnTo>
                      <a:lnTo>
                        <a:pt x="258" y="240"/>
                      </a:lnTo>
                      <a:lnTo>
                        <a:pt x="264" y="237"/>
                      </a:lnTo>
                      <a:lnTo>
                        <a:pt x="264" y="237"/>
                      </a:lnTo>
                      <a:lnTo>
                        <a:pt x="275" y="234"/>
                      </a:lnTo>
                      <a:lnTo>
                        <a:pt x="293" y="229"/>
                      </a:lnTo>
                      <a:lnTo>
                        <a:pt x="301" y="224"/>
                      </a:lnTo>
                      <a:lnTo>
                        <a:pt x="310" y="220"/>
                      </a:lnTo>
                      <a:lnTo>
                        <a:pt x="317" y="216"/>
                      </a:lnTo>
                      <a:lnTo>
                        <a:pt x="322" y="210"/>
                      </a:lnTo>
                      <a:lnTo>
                        <a:pt x="322" y="210"/>
                      </a:lnTo>
                      <a:lnTo>
                        <a:pt x="327" y="197"/>
                      </a:lnTo>
                      <a:lnTo>
                        <a:pt x="329" y="188"/>
                      </a:lnTo>
                      <a:lnTo>
                        <a:pt x="330" y="181"/>
                      </a:lnTo>
                      <a:lnTo>
                        <a:pt x="332" y="172"/>
                      </a:lnTo>
                      <a:lnTo>
                        <a:pt x="330" y="166"/>
                      </a:lnTo>
                      <a:lnTo>
                        <a:pt x="327" y="162"/>
                      </a:lnTo>
                      <a:lnTo>
                        <a:pt x="324" y="162"/>
                      </a:lnTo>
                      <a:lnTo>
                        <a:pt x="322" y="161"/>
                      </a:lnTo>
                      <a:lnTo>
                        <a:pt x="322" y="161"/>
                      </a:lnTo>
                      <a:lnTo>
                        <a:pt x="291" y="162"/>
                      </a:lnTo>
                      <a:lnTo>
                        <a:pt x="280" y="161"/>
                      </a:lnTo>
                      <a:lnTo>
                        <a:pt x="275" y="159"/>
                      </a:lnTo>
                      <a:lnTo>
                        <a:pt x="272" y="158"/>
                      </a:lnTo>
                      <a:lnTo>
                        <a:pt x="272" y="158"/>
                      </a:lnTo>
                      <a:lnTo>
                        <a:pt x="269" y="153"/>
                      </a:lnTo>
                      <a:lnTo>
                        <a:pt x="267" y="149"/>
                      </a:lnTo>
                      <a:lnTo>
                        <a:pt x="265" y="145"/>
                      </a:lnTo>
                      <a:lnTo>
                        <a:pt x="262" y="140"/>
                      </a:lnTo>
                      <a:lnTo>
                        <a:pt x="262" y="140"/>
                      </a:lnTo>
                      <a:lnTo>
                        <a:pt x="259" y="137"/>
                      </a:lnTo>
                      <a:lnTo>
                        <a:pt x="256" y="133"/>
                      </a:lnTo>
                      <a:lnTo>
                        <a:pt x="255" y="129"/>
                      </a:lnTo>
                      <a:lnTo>
                        <a:pt x="256" y="124"/>
                      </a:lnTo>
                      <a:lnTo>
                        <a:pt x="256" y="124"/>
                      </a:lnTo>
                      <a:lnTo>
                        <a:pt x="253" y="120"/>
                      </a:lnTo>
                      <a:lnTo>
                        <a:pt x="253" y="120"/>
                      </a:lnTo>
                      <a:lnTo>
                        <a:pt x="253" y="114"/>
                      </a:lnTo>
                      <a:lnTo>
                        <a:pt x="253" y="108"/>
                      </a:lnTo>
                      <a:lnTo>
                        <a:pt x="253" y="108"/>
                      </a:lnTo>
                      <a:lnTo>
                        <a:pt x="251" y="106"/>
                      </a:lnTo>
                      <a:lnTo>
                        <a:pt x="251" y="106"/>
                      </a:lnTo>
                      <a:lnTo>
                        <a:pt x="249" y="98"/>
                      </a:lnTo>
                      <a:lnTo>
                        <a:pt x="248" y="91"/>
                      </a:lnTo>
                      <a:lnTo>
                        <a:pt x="248" y="91"/>
                      </a:lnTo>
                      <a:lnTo>
                        <a:pt x="243" y="84"/>
                      </a:lnTo>
                      <a:lnTo>
                        <a:pt x="238" y="77"/>
                      </a:lnTo>
                      <a:lnTo>
                        <a:pt x="238" y="77"/>
                      </a:lnTo>
                      <a:lnTo>
                        <a:pt x="230" y="71"/>
                      </a:lnTo>
                      <a:lnTo>
                        <a:pt x="227" y="66"/>
                      </a:lnTo>
                      <a:lnTo>
                        <a:pt x="225" y="62"/>
                      </a:lnTo>
                      <a:lnTo>
                        <a:pt x="225" y="62"/>
                      </a:lnTo>
                      <a:lnTo>
                        <a:pt x="223" y="59"/>
                      </a:lnTo>
                      <a:lnTo>
                        <a:pt x="223" y="59"/>
                      </a:lnTo>
                      <a:lnTo>
                        <a:pt x="214" y="64"/>
                      </a:lnTo>
                      <a:lnTo>
                        <a:pt x="214" y="64"/>
                      </a:lnTo>
                      <a:lnTo>
                        <a:pt x="209" y="66"/>
                      </a:lnTo>
                      <a:lnTo>
                        <a:pt x="206" y="68"/>
                      </a:lnTo>
                      <a:lnTo>
                        <a:pt x="203" y="66"/>
                      </a:lnTo>
                      <a:lnTo>
                        <a:pt x="203" y="66"/>
                      </a:lnTo>
                      <a:lnTo>
                        <a:pt x="198" y="56"/>
                      </a:lnTo>
                      <a:lnTo>
                        <a:pt x="197" y="53"/>
                      </a:lnTo>
                      <a:lnTo>
                        <a:pt x="194" y="50"/>
                      </a:lnTo>
                      <a:lnTo>
                        <a:pt x="194" y="50"/>
                      </a:lnTo>
                      <a:lnTo>
                        <a:pt x="169" y="45"/>
                      </a:lnTo>
                      <a:lnTo>
                        <a:pt x="154" y="40"/>
                      </a:lnTo>
                      <a:lnTo>
                        <a:pt x="146" y="37"/>
                      </a:lnTo>
                      <a:lnTo>
                        <a:pt x="146" y="37"/>
                      </a:lnTo>
                      <a:lnTo>
                        <a:pt x="143" y="33"/>
                      </a:lnTo>
                      <a:lnTo>
                        <a:pt x="141" y="27"/>
                      </a:lnTo>
                      <a:lnTo>
                        <a:pt x="136" y="20"/>
                      </a:lnTo>
                      <a:lnTo>
                        <a:pt x="132" y="16"/>
                      </a:lnTo>
                      <a:lnTo>
                        <a:pt x="132" y="16"/>
                      </a:lnTo>
                      <a:lnTo>
                        <a:pt x="117" y="11"/>
                      </a:lnTo>
                      <a:lnTo>
                        <a:pt x="94" y="6"/>
                      </a:lnTo>
                      <a:lnTo>
                        <a:pt x="70" y="1"/>
                      </a:lnTo>
                      <a:lnTo>
                        <a:pt x="59" y="0"/>
                      </a:lnTo>
                      <a:lnTo>
                        <a:pt x="55" y="0"/>
                      </a:lnTo>
                      <a:lnTo>
                        <a:pt x="55" y="0"/>
                      </a:lnTo>
                      <a:lnTo>
                        <a:pt x="48" y="3"/>
                      </a:lnTo>
                      <a:lnTo>
                        <a:pt x="41" y="7"/>
                      </a:lnTo>
                      <a:lnTo>
                        <a:pt x="36" y="11"/>
                      </a:lnTo>
                      <a:lnTo>
                        <a:pt x="33" y="14"/>
                      </a:lnTo>
                      <a:lnTo>
                        <a:pt x="33" y="14"/>
                      </a:lnTo>
                      <a:lnTo>
                        <a:pt x="35" y="19"/>
                      </a:lnTo>
                      <a:lnTo>
                        <a:pt x="39" y="24"/>
                      </a:lnTo>
                      <a:lnTo>
                        <a:pt x="42" y="30"/>
                      </a:lnTo>
                      <a:lnTo>
                        <a:pt x="43" y="33"/>
                      </a:lnTo>
                      <a:lnTo>
                        <a:pt x="42" y="35"/>
                      </a:lnTo>
                      <a:lnTo>
                        <a:pt x="42" y="35"/>
                      </a:lnTo>
                      <a:lnTo>
                        <a:pt x="39" y="39"/>
                      </a:lnTo>
                      <a:lnTo>
                        <a:pt x="33" y="42"/>
                      </a:lnTo>
                      <a:lnTo>
                        <a:pt x="28" y="45"/>
                      </a:lnTo>
                      <a:lnTo>
                        <a:pt x="22" y="46"/>
                      </a:lnTo>
                      <a:lnTo>
                        <a:pt x="1" y="46"/>
                      </a:lnTo>
                      <a:lnTo>
                        <a:pt x="1" y="46"/>
                      </a:lnTo>
                      <a:lnTo>
                        <a:pt x="0" y="66"/>
                      </a:lnTo>
                      <a:lnTo>
                        <a:pt x="1" y="66"/>
                      </a:lnTo>
                      <a:lnTo>
                        <a:pt x="1" y="66"/>
                      </a:lnTo>
                      <a:lnTo>
                        <a:pt x="3" y="66"/>
                      </a:lnTo>
                      <a:lnTo>
                        <a:pt x="6" y="69"/>
                      </a:lnTo>
                      <a:lnTo>
                        <a:pt x="12" y="78"/>
                      </a:lnTo>
                      <a:lnTo>
                        <a:pt x="22" y="95"/>
                      </a:lnTo>
                      <a:lnTo>
                        <a:pt x="22" y="95"/>
                      </a:lnTo>
                      <a:lnTo>
                        <a:pt x="26" y="101"/>
                      </a:lnTo>
                      <a:lnTo>
                        <a:pt x="30" y="107"/>
                      </a:lnTo>
                      <a:lnTo>
                        <a:pt x="39" y="114"/>
                      </a:lnTo>
                      <a:lnTo>
                        <a:pt x="39" y="114"/>
                      </a:lnTo>
                      <a:lnTo>
                        <a:pt x="41" y="116"/>
                      </a:lnTo>
                      <a:lnTo>
                        <a:pt x="39" y="117"/>
                      </a:lnTo>
                      <a:lnTo>
                        <a:pt x="38" y="120"/>
                      </a:lnTo>
                      <a:lnTo>
                        <a:pt x="36" y="123"/>
                      </a:lnTo>
                      <a:lnTo>
                        <a:pt x="36" y="123"/>
                      </a:lnTo>
                      <a:lnTo>
                        <a:pt x="38" y="126"/>
                      </a:lnTo>
                      <a:lnTo>
                        <a:pt x="41" y="129"/>
                      </a:lnTo>
                      <a:lnTo>
                        <a:pt x="48" y="133"/>
                      </a:lnTo>
                      <a:lnTo>
                        <a:pt x="48" y="133"/>
                      </a:lnTo>
                      <a:lnTo>
                        <a:pt x="54" y="139"/>
                      </a:lnTo>
                      <a:lnTo>
                        <a:pt x="61" y="150"/>
                      </a:lnTo>
                      <a:lnTo>
                        <a:pt x="71" y="166"/>
                      </a:lnTo>
                      <a:lnTo>
                        <a:pt x="71" y="166"/>
                      </a:lnTo>
                      <a:lnTo>
                        <a:pt x="71" y="169"/>
                      </a:lnTo>
                      <a:lnTo>
                        <a:pt x="71" y="171"/>
                      </a:lnTo>
                      <a:lnTo>
                        <a:pt x="68" y="174"/>
                      </a:lnTo>
                      <a:lnTo>
                        <a:pt x="68" y="174"/>
                      </a:lnTo>
                      <a:lnTo>
                        <a:pt x="70" y="179"/>
                      </a:lnTo>
                      <a:lnTo>
                        <a:pt x="71" y="187"/>
                      </a:lnTo>
                      <a:lnTo>
                        <a:pt x="78" y="201"/>
                      </a:lnTo>
                      <a:lnTo>
                        <a:pt x="78" y="201"/>
                      </a:lnTo>
                      <a:lnTo>
                        <a:pt x="81" y="205"/>
                      </a:lnTo>
                      <a:lnTo>
                        <a:pt x="85" y="207"/>
                      </a:lnTo>
                      <a:lnTo>
                        <a:pt x="93" y="213"/>
                      </a:lnTo>
                      <a:lnTo>
                        <a:pt x="93" y="213"/>
                      </a:lnTo>
                      <a:lnTo>
                        <a:pt x="100" y="220"/>
                      </a:lnTo>
                      <a:lnTo>
                        <a:pt x="107" y="232"/>
                      </a:lnTo>
                      <a:lnTo>
                        <a:pt x="107" y="232"/>
                      </a:lnTo>
                      <a:lnTo>
                        <a:pt x="123" y="262"/>
                      </a:lnTo>
                      <a:lnTo>
                        <a:pt x="123" y="262"/>
                      </a:lnTo>
                      <a:lnTo>
                        <a:pt x="126" y="268"/>
                      </a:lnTo>
                      <a:lnTo>
                        <a:pt x="125" y="271"/>
                      </a:lnTo>
                      <a:lnTo>
                        <a:pt x="125" y="271"/>
                      </a:lnTo>
                      <a:lnTo>
                        <a:pt x="132" y="262"/>
                      </a:lnTo>
                      <a:lnTo>
                        <a:pt x="136" y="258"/>
                      </a:lnTo>
                      <a:lnTo>
                        <a:pt x="139" y="25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77" name="Freeform 730"/>
                <p:cNvSpPr>
                  <a:spLocks/>
                </p:cNvSpPr>
                <p:nvPr/>
              </p:nvSpPr>
              <p:spPr bwMode="auto">
                <a:xfrm>
                  <a:off x="4966714" y="2797777"/>
                  <a:ext cx="328434" cy="284907"/>
                </a:xfrm>
                <a:custGeom>
                  <a:avLst/>
                  <a:gdLst>
                    <a:gd name="T0" fmla="*/ 142 w 332"/>
                    <a:gd name="T1" fmla="*/ 255 h 288"/>
                    <a:gd name="T2" fmla="*/ 156 w 332"/>
                    <a:gd name="T3" fmla="*/ 258 h 288"/>
                    <a:gd name="T4" fmla="*/ 169 w 332"/>
                    <a:gd name="T5" fmla="*/ 259 h 288"/>
                    <a:gd name="T6" fmla="*/ 177 w 332"/>
                    <a:gd name="T7" fmla="*/ 265 h 288"/>
                    <a:gd name="T8" fmla="*/ 177 w 332"/>
                    <a:gd name="T9" fmla="*/ 288 h 288"/>
                    <a:gd name="T10" fmla="*/ 246 w 332"/>
                    <a:gd name="T11" fmla="*/ 246 h 288"/>
                    <a:gd name="T12" fmla="*/ 264 w 332"/>
                    <a:gd name="T13" fmla="*/ 237 h 288"/>
                    <a:gd name="T14" fmla="*/ 301 w 332"/>
                    <a:gd name="T15" fmla="*/ 224 h 288"/>
                    <a:gd name="T16" fmla="*/ 322 w 332"/>
                    <a:gd name="T17" fmla="*/ 210 h 288"/>
                    <a:gd name="T18" fmla="*/ 329 w 332"/>
                    <a:gd name="T19" fmla="*/ 188 h 288"/>
                    <a:gd name="T20" fmla="*/ 330 w 332"/>
                    <a:gd name="T21" fmla="*/ 166 h 288"/>
                    <a:gd name="T22" fmla="*/ 322 w 332"/>
                    <a:gd name="T23" fmla="*/ 161 h 288"/>
                    <a:gd name="T24" fmla="*/ 280 w 332"/>
                    <a:gd name="T25" fmla="*/ 161 h 288"/>
                    <a:gd name="T26" fmla="*/ 272 w 332"/>
                    <a:gd name="T27" fmla="*/ 158 h 288"/>
                    <a:gd name="T28" fmla="*/ 265 w 332"/>
                    <a:gd name="T29" fmla="*/ 145 h 288"/>
                    <a:gd name="T30" fmla="*/ 259 w 332"/>
                    <a:gd name="T31" fmla="*/ 137 h 288"/>
                    <a:gd name="T32" fmla="*/ 256 w 332"/>
                    <a:gd name="T33" fmla="*/ 124 h 288"/>
                    <a:gd name="T34" fmla="*/ 253 w 332"/>
                    <a:gd name="T35" fmla="*/ 120 h 288"/>
                    <a:gd name="T36" fmla="*/ 253 w 332"/>
                    <a:gd name="T37" fmla="*/ 108 h 288"/>
                    <a:gd name="T38" fmla="*/ 249 w 332"/>
                    <a:gd name="T39" fmla="*/ 98 h 288"/>
                    <a:gd name="T40" fmla="*/ 243 w 332"/>
                    <a:gd name="T41" fmla="*/ 84 h 288"/>
                    <a:gd name="T42" fmla="*/ 230 w 332"/>
                    <a:gd name="T43" fmla="*/ 71 h 288"/>
                    <a:gd name="T44" fmla="*/ 225 w 332"/>
                    <a:gd name="T45" fmla="*/ 62 h 288"/>
                    <a:gd name="T46" fmla="*/ 214 w 332"/>
                    <a:gd name="T47" fmla="*/ 64 h 288"/>
                    <a:gd name="T48" fmla="*/ 206 w 332"/>
                    <a:gd name="T49" fmla="*/ 68 h 288"/>
                    <a:gd name="T50" fmla="*/ 198 w 332"/>
                    <a:gd name="T51" fmla="*/ 56 h 288"/>
                    <a:gd name="T52" fmla="*/ 194 w 332"/>
                    <a:gd name="T53" fmla="*/ 50 h 288"/>
                    <a:gd name="T54" fmla="*/ 146 w 332"/>
                    <a:gd name="T55" fmla="*/ 37 h 288"/>
                    <a:gd name="T56" fmla="*/ 141 w 332"/>
                    <a:gd name="T57" fmla="*/ 27 h 288"/>
                    <a:gd name="T58" fmla="*/ 132 w 332"/>
                    <a:gd name="T59" fmla="*/ 16 h 288"/>
                    <a:gd name="T60" fmla="*/ 70 w 332"/>
                    <a:gd name="T61" fmla="*/ 1 h 288"/>
                    <a:gd name="T62" fmla="*/ 55 w 332"/>
                    <a:gd name="T63" fmla="*/ 0 h 288"/>
                    <a:gd name="T64" fmla="*/ 36 w 332"/>
                    <a:gd name="T65" fmla="*/ 11 h 288"/>
                    <a:gd name="T66" fmla="*/ 35 w 332"/>
                    <a:gd name="T67" fmla="*/ 19 h 288"/>
                    <a:gd name="T68" fmla="*/ 43 w 332"/>
                    <a:gd name="T69" fmla="*/ 33 h 288"/>
                    <a:gd name="T70" fmla="*/ 39 w 332"/>
                    <a:gd name="T71" fmla="*/ 39 h 288"/>
                    <a:gd name="T72" fmla="*/ 22 w 332"/>
                    <a:gd name="T73" fmla="*/ 46 h 288"/>
                    <a:gd name="T74" fmla="*/ 0 w 332"/>
                    <a:gd name="T75" fmla="*/ 66 h 288"/>
                    <a:gd name="T76" fmla="*/ 3 w 332"/>
                    <a:gd name="T77" fmla="*/ 66 h 288"/>
                    <a:gd name="T78" fmla="*/ 22 w 332"/>
                    <a:gd name="T79" fmla="*/ 95 h 288"/>
                    <a:gd name="T80" fmla="*/ 30 w 332"/>
                    <a:gd name="T81" fmla="*/ 107 h 288"/>
                    <a:gd name="T82" fmla="*/ 41 w 332"/>
                    <a:gd name="T83" fmla="*/ 116 h 288"/>
                    <a:gd name="T84" fmla="*/ 36 w 332"/>
                    <a:gd name="T85" fmla="*/ 123 h 288"/>
                    <a:gd name="T86" fmla="*/ 41 w 332"/>
                    <a:gd name="T87" fmla="*/ 129 h 288"/>
                    <a:gd name="T88" fmla="*/ 54 w 332"/>
                    <a:gd name="T89" fmla="*/ 139 h 288"/>
                    <a:gd name="T90" fmla="*/ 71 w 332"/>
                    <a:gd name="T91" fmla="*/ 166 h 288"/>
                    <a:gd name="T92" fmla="*/ 68 w 332"/>
                    <a:gd name="T93" fmla="*/ 174 h 288"/>
                    <a:gd name="T94" fmla="*/ 71 w 332"/>
                    <a:gd name="T95" fmla="*/ 187 h 288"/>
                    <a:gd name="T96" fmla="*/ 81 w 332"/>
                    <a:gd name="T97" fmla="*/ 205 h 288"/>
                    <a:gd name="T98" fmla="*/ 93 w 332"/>
                    <a:gd name="T99" fmla="*/ 213 h 288"/>
                    <a:gd name="T100" fmla="*/ 107 w 332"/>
                    <a:gd name="T101" fmla="*/ 232 h 288"/>
                    <a:gd name="T102" fmla="*/ 126 w 332"/>
                    <a:gd name="T103" fmla="*/ 268 h 288"/>
                    <a:gd name="T104" fmla="*/ 132 w 332"/>
                    <a:gd name="T105" fmla="*/ 262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32" h="288">
                      <a:moveTo>
                        <a:pt x="139" y="256"/>
                      </a:moveTo>
                      <a:lnTo>
                        <a:pt x="139" y="256"/>
                      </a:lnTo>
                      <a:lnTo>
                        <a:pt x="142" y="255"/>
                      </a:lnTo>
                      <a:lnTo>
                        <a:pt x="146" y="256"/>
                      </a:lnTo>
                      <a:lnTo>
                        <a:pt x="152" y="256"/>
                      </a:lnTo>
                      <a:lnTo>
                        <a:pt x="156" y="258"/>
                      </a:lnTo>
                      <a:lnTo>
                        <a:pt x="156" y="258"/>
                      </a:lnTo>
                      <a:lnTo>
                        <a:pt x="164" y="258"/>
                      </a:lnTo>
                      <a:lnTo>
                        <a:pt x="169" y="259"/>
                      </a:lnTo>
                      <a:lnTo>
                        <a:pt x="175" y="262"/>
                      </a:lnTo>
                      <a:lnTo>
                        <a:pt x="177" y="263"/>
                      </a:lnTo>
                      <a:lnTo>
                        <a:pt x="177" y="265"/>
                      </a:lnTo>
                      <a:lnTo>
                        <a:pt x="177" y="265"/>
                      </a:lnTo>
                      <a:lnTo>
                        <a:pt x="178" y="279"/>
                      </a:lnTo>
                      <a:lnTo>
                        <a:pt x="177" y="288"/>
                      </a:lnTo>
                      <a:lnTo>
                        <a:pt x="177" y="288"/>
                      </a:lnTo>
                      <a:lnTo>
                        <a:pt x="217" y="263"/>
                      </a:lnTo>
                      <a:lnTo>
                        <a:pt x="246" y="246"/>
                      </a:lnTo>
                      <a:lnTo>
                        <a:pt x="258" y="240"/>
                      </a:lnTo>
                      <a:lnTo>
                        <a:pt x="264" y="237"/>
                      </a:lnTo>
                      <a:lnTo>
                        <a:pt x="264" y="237"/>
                      </a:lnTo>
                      <a:lnTo>
                        <a:pt x="275" y="234"/>
                      </a:lnTo>
                      <a:lnTo>
                        <a:pt x="293" y="229"/>
                      </a:lnTo>
                      <a:lnTo>
                        <a:pt x="301" y="224"/>
                      </a:lnTo>
                      <a:lnTo>
                        <a:pt x="310" y="220"/>
                      </a:lnTo>
                      <a:lnTo>
                        <a:pt x="317" y="216"/>
                      </a:lnTo>
                      <a:lnTo>
                        <a:pt x="322" y="210"/>
                      </a:lnTo>
                      <a:lnTo>
                        <a:pt x="322" y="210"/>
                      </a:lnTo>
                      <a:lnTo>
                        <a:pt x="327" y="197"/>
                      </a:lnTo>
                      <a:lnTo>
                        <a:pt x="329" y="188"/>
                      </a:lnTo>
                      <a:lnTo>
                        <a:pt x="330" y="181"/>
                      </a:lnTo>
                      <a:lnTo>
                        <a:pt x="332" y="172"/>
                      </a:lnTo>
                      <a:lnTo>
                        <a:pt x="330" y="166"/>
                      </a:lnTo>
                      <a:lnTo>
                        <a:pt x="327" y="162"/>
                      </a:lnTo>
                      <a:lnTo>
                        <a:pt x="324" y="162"/>
                      </a:lnTo>
                      <a:lnTo>
                        <a:pt x="322" y="161"/>
                      </a:lnTo>
                      <a:lnTo>
                        <a:pt x="322" y="161"/>
                      </a:lnTo>
                      <a:lnTo>
                        <a:pt x="291" y="162"/>
                      </a:lnTo>
                      <a:lnTo>
                        <a:pt x="280" y="161"/>
                      </a:lnTo>
                      <a:lnTo>
                        <a:pt x="275" y="159"/>
                      </a:lnTo>
                      <a:lnTo>
                        <a:pt x="272" y="158"/>
                      </a:lnTo>
                      <a:lnTo>
                        <a:pt x="272" y="158"/>
                      </a:lnTo>
                      <a:lnTo>
                        <a:pt x="269" y="153"/>
                      </a:lnTo>
                      <a:lnTo>
                        <a:pt x="267" y="149"/>
                      </a:lnTo>
                      <a:lnTo>
                        <a:pt x="265" y="145"/>
                      </a:lnTo>
                      <a:lnTo>
                        <a:pt x="262" y="140"/>
                      </a:lnTo>
                      <a:lnTo>
                        <a:pt x="262" y="140"/>
                      </a:lnTo>
                      <a:lnTo>
                        <a:pt x="259" y="137"/>
                      </a:lnTo>
                      <a:lnTo>
                        <a:pt x="256" y="133"/>
                      </a:lnTo>
                      <a:lnTo>
                        <a:pt x="255" y="129"/>
                      </a:lnTo>
                      <a:lnTo>
                        <a:pt x="256" y="124"/>
                      </a:lnTo>
                      <a:lnTo>
                        <a:pt x="256" y="124"/>
                      </a:lnTo>
                      <a:lnTo>
                        <a:pt x="253" y="120"/>
                      </a:lnTo>
                      <a:lnTo>
                        <a:pt x="253" y="120"/>
                      </a:lnTo>
                      <a:lnTo>
                        <a:pt x="253" y="114"/>
                      </a:lnTo>
                      <a:lnTo>
                        <a:pt x="253" y="108"/>
                      </a:lnTo>
                      <a:lnTo>
                        <a:pt x="253" y="108"/>
                      </a:lnTo>
                      <a:lnTo>
                        <a:pt x="251" y="106"/>
                      </a:lnTo>
                      <a:lnTo>
                        <a:pt x="251" y="106"/>
                      </a:lnTo>
                      <a:lnTo>
                        <a:pt x="249" y="98"/>
                      </a:lnTo>
                      <a:lnTo>
                        <a:pt x="248" y="91"/>
                      </a:lnTo>
                      <a:lnTo>
                        <a:pt x="248" y="91"/>
                      </a:lnTo>
                      <a:lnTo>
                        <a:pt x="243" y="84"/>
                      </a:lnTo>
                      <a:lnTo>
                        <a:pt x="238" y="77"/>
                      </a:lnTo>
                      <a:lnTo>
                        <a:pt x="238" y="77"/>
                      </a:lnTo>
                      <a:lnTo>
                        <a:pt x="230" y="71"/>
                      </a:lnTo>
                      <a:lnTo>
                        <a:pt x="227" y="66"/>
                      </a:lnTo>
                      <a:lnTo>
                        <a:pt x="225" y="62"/>
                      </a:lnTo>
                      <a:lnTo>
                        <a:pt x="225" y="62"/>
                      </a:lnTo>
                      <a:lnTo>
                        <a:pt x="223" y="59"/>
                      </a:lnTo>
                      <a:lnTo>
                        <a:pt x="223" y="59"/>
                      </a:lnTo>
                      <a:lnTo>
                        <a:pt x="214" y="64"/>
                      </a:lnTo>
                      <a:lnTo>
                        <a:pt x="214" y="64"/>
                      </a:lnTo>
                      <a:lnTo>
                        <a:pt x="209" y="66"/>
                      </a:lnTo>
                      <a:lnTo>
                        <a:pt x="206" y="68"/>
                      </a:lnTo>
                      <a:lnTo>
                        <a:pt x="203" y="66"/>
                      </a:lnTo>
                      <a:lnTo>
                        <a:pt x="203" y="66"/>
                      </a:lnTo>
                      <a:lnTo>
                        <a:pt x="198" y="56"/>
                      </a:lnTo>
                      <a:lnTo>
                        <a:pt x="197" y="53"/>
                      </a:lnTo>
                      <a:lnTo>
                        <a:pt x="194" y="50"/>
                      </a:lnTo>
                      <a:lnTo>
                        <a:pt x="194" y="50"/>
                      </a:lnTo>
                      <a:lnTo>
                        <a:pt x="169" y="45"/>
                      </a:lnTo>
                      <a:lnTo>
                        <a:pt x="154" y="40"/>
                      </a:lnTo>
                      <a:lnTo>
                        <a:pt x="146" y="37"/>
                      </a:lnTo>
                      <a:lnTo>
                        <a:pt x="146" y="37"/>
                      </a:lnTo>
                      <a:lnTo>
                        <a:pt x="143" y="33"/>
                      </a:lnTo>
                      <a:lnTo>
                        <a:pt x="141" y="27"/>
                      </a:lnTo>
                      <a:lnTo>
                        <a:pt x="136" y="20"/>
                      </a:lnTo>
                      <a:lnTo>
                        <a:pt x="132" y="16"/>
                      </a:lnTo>
                      <a:lnTo>
                        <a:pt x="132" y="16"/>
                      </a:lnTo>
                      <a:lnTo>
                        <a:pt x="117" y="11"/>
                      </a:lnTo>
                      <a:lnTo>
                        <a:pt x="94" y="6"/>
                      </a:lnTo>
                      <a:lnTo>
                        <a:pt x="70" y="1"/>
                      </a:lnTo>
                      <a:lnTo>
                        <a:pt x="59" y="0"/>
                      </a:lnTo>
                      <a:lnTo>
                        <a:pt x="55" y="0"/>
                      </a:lnTo>
                      <a:lnTo>
                        <a:pt x="55" y="0"/>
                      </a:lnTo>
                      <a:lnTo>
                        <a:pt x="48" y="3"/>
                      </a:lnTo>
                      <a:lnTo>
                        <a:pt x="41" y="7"/>
                      </a:lnTo>
                      <a:lnTo>
                        <a:pt x="36" y="11"/>
                      </a:lnTo>
                      <a:lnTo>
                        <a:pt x="33" y="14"/>
                      </a:lnTo>
                      <a:lnTo>
                        <a:pt x="33" y="14"/>
                      </a:lnTo>
                      <a:lnTo>
                        <a:pt x="35" y="19"/>
                      </a:lnTo>
                      <a:lnTo>
                        <a:pt x="39" y="24"/>
                      </a:lnTo>
                      <a:lnTo>
                        <a:pt x="42" y="30"/>
                      </a:lnTo>
                      <a:lnTo>
                        <a:pt x="43" y="33"/>
                      </a:lnTo>
                      <a:lnTo>
                        <a:pt x="42" y="35"/>
                      </a:lnTo>
                      <a:lnTo>
                        <a:pt x="42" y="35"/>
                      </a:lnTo>
                      <a:lnTo>
                        <a:pt x="39" y="39"/>
                      </a:lnTo>
                      <a:lnTo>
                        <a:pt x="33" y="42"/>
                      </a:lnTo>
                      <a:lnTo>
                        <a:pt x="28" y="45"/>
                      </a:lnTo>
                      <a:lnTo>
                        <a:pt x="22" y="46"/>
                      </a:lnTo>
                      <a:lnTo>
                        <a:pt x="1" y="46"/>
                      </a:lnTo>
                      <a:lnTo>
                        <a:pt x="1" y="46"/>
                      </a:lnTo>
                      <a:lnTo>
                        <a:pt x="0" y="66"/>
                      </a:lnTo>
                      <a:lnTo>
                        <a:pt x="1" y="66"/>
                      </a:lnTo>
                      <a:lnTo>
                        <a:pt x="1" y="66"/>
                      </a:lnTo>
                      <a:lnTo>
                        <a:pt x="3" y="66"/>
                      </a:lnTo>
                      <a:lnTo>
                        <a:pt x="6" y="69"/>
                      </a:lnTo>
                      <a:lnTo>
                        <a:pt x="12" y="78"/>
                      </a:lnTo>
                      <a:lnTo>
                        <a:pt x="22" y="95"/>
                      </a:lnTo>
                      <a:lnTo>
                        <a:pt x="22" y="95"/>
                      </a:lnTo>
                      <a:lnTo>
                        <a:pt x="26" y="101"/>
                      </a:lnTo>
                      <a:lnTo>
                        <a:pt x="30" y="107"/>
                      </a:lnTo>
                      <a:lnTo>
                        <a:pt x="39" y="114"/>
                      </a:lnTo>
                      <a:lnTo>
                        <a:pt x="39" y="114"/>
                      </a:lnTo>
                      <a:lnTo>
                        <a:pt x="41" y="116"/>
                      </a:lnTo>
                      <a:lnTo>
                        <a:pt x="39" y="117"/>
                      </a:lnTo>
                      <a:lnTo>
                        <a:pt x="38" y="120"/>
                      </a:lnTo>
                      <a:lnTo>
                        <a:pt x="36" y="123"/>
                      </a:lnTo>
                      <a:lnTo>
                        <a:pt x="36" y="123"/>
                      </a:lnTo>
                      <a:lnTo>
                        <a:pt x="38" y="126"/>
                      </a:lnTo>
                      <a:lnTo>
                        <a:pt x="41" y="129"/>
                      </a:lnTo>
                      <a:lnTo>
                        <a:pt x="48" y="133"/>
                      </a:lnTo>
                      <a:lnTo>
                        <a:pt x="48" y="133"/>
                      </a:lnTo>
                      <a:lnTo>
                        <a:pt x="54" y="139"/>
                      </a:lnTo>
                      <a:lnTo>
                        <a:pt x="61" y="150"/>
                      </a:lnTo>
                      <a:lnTo>
                        <a:pt x="71" y="166"/>
                      </a:lnTo>
                      <a:lnTo>
                        <a:pt x="71" y="166"/>
                      </a:lnTo>
                      <a:lnTo>
                        <a:pt x="71" y="169"/>
                      </a:lnTo>
                      <a:lnTo>
                        <a:pt x="71" y="171"/>
                      </a:lnTo>
                      <a:lnTo>
                        <a:pt x="68" y="174"/>
                      </a:lnTo>
                      <a:lnTo>
                        <a:pt x="68" y="174"/>
                      </a:lnTo>
                      <a:lnTo>
                        <a:pt x="70" y="179"/>
                      </a:lnTo>
                      <a:lnTo>
                        <a:pt x="71" y="187"/>
                      </a:lnTo>
                      <a:lnTo>
                        <a:pt x="78" y="201"/>
                      </a:lnTo>
                      <a:lnTo>
                        <a:pt x="78" y="201"/>
                      </a:lnTo>
                      <a:lnTo>
                        <a:pt x="81" y="205"/>
                      </a:lnTo>
                      <a:lnTo>
                        <a:pt x="85" y="207"/>
                      </a:lnTo>
                      <a:lnTo>
                        <a:pt x="93" y="213"/>
                      </a:lnTo>
                      <a:lnTo>
                        <a:pt x="93" y="213"/>
                      </a:lnTo>
                      <a:lnTo>
                        <a:pt x="100" y="220"/>
                      </a:lnTo>
                      <a:lnTo>
                        <a:pt x="107" y="232"/>
                      </a:lnTo>
                      <a:lnTo>
                        <a:pt x="107" y="232"/>
                      </a:lnTo>
                      <a:lnTo>
                        <a:pt x="123" y="262"/>
                      </a:lnTo>
                      <a:lnTo>
                        <a:pt x="123" y="262"/>
                      </a:lnTo>
                      <a:lnTo>
                        <a:pt x="126" y="268"/>
                      </a:lnTo>
                      <a:lnTo>
                        <a:pt x="125" y="271"/>
                      </a:lnTo>
                      <a:lnTo>
                        <a:pt x="125" y="271"/>
                      </a:lnTo>
                      <a:lnTo>
                        <a:pt x="132" y="262"/>
                      </a:lnTo>
                      <a:lnTo>
                        <a:pt x="136" y="258"/>
                      </a:lnTo>
                      <a:lnTo>
                        <a:pt x="139" y="25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78" name="Freeform 731"/>
                <p:cNvSpPr>
                  <a:spLocks/>
                </p:cNvSpPr>
                <p:nvPr/>
              </p:nvSpPr>
              <p:spPr bwMode="auto">
                <a:xfrm>
                  <a:off x="5090372" y="3028274"/>
                  <a:ext cx="163228" cy="92990"/>
                </a:xfrm>
                <a:custGeom>
                  <a:avLst/>
                  <a:gdLst>
                    <a:gd name="T0" fmla="*/ 139 w 165"/>
                    <a:gd name="T1" fmla="*/ 4 h 94"/>
                    <a:gd name="T2" fmla="*/ 139 w 165"/>
                    <a:gd name="T3" fmla="*/ 4 h 94"/>
                    <a:gd name="T4" fmla="*/ 133 w 165"/>
                    <a:gd name="T5" fmla="*/ 7 h 94"/>
                    <a:gd name="T6" fmla="*/ 121 w 165"/>
                    <a:gd name="T7" fmla="*/ 13 h 94"/>
                    <a:gd name="T8" fmla="*/ 92 w 165"/>
                    <a:gd name="T9" fmla="*/ 30 h 94"/>
                    <a:gd name="T10" fmla="*/ 52 w 165"/>
                    <a:gd name="T11" fmla="*/ 55 h 94"/>
                    <a:gd name="T12" fmla="*/ 52 w 165"/>
                    <a:gd name="T13" fmla="*/ 55 h 94"/>
                    <a:gd name="T14" fmla="*/ 53 w 165"/>
                    <a:gd name="T15" fmla="*/ 46 h 94"/>
                    <a:gd name="T16" fmla="*/ 52 w 165"/>
                    <a:gd name="T17" fmla="*/ 32 h 94"/>
                    <a:gd name="T18" fmla="*/ 52 w 165"/>
                    <a:gd name="T19" fmla="*/ 32 h 94"/>
                    <a:gd name="T20" fmla="*/ 52 w 165"/>
                    <a:gd name="T21" fmla="*/ 30 h 94"/>
                    <a:gd name="T22" fmla="*/ 50 w 165"/>
                    <a:gd name="T23" fmla="*/ 29 h 94"/>
                    <a:gd name="T24" fmla="*/ 44 w 165"/>
                    <a:gd name="T25" fmla="*/ 26 h 94"/>
                    <a:gd name="T26" fmla="*/ 39 w 165"/>
                    <a:gd name="T27" fmla="*/ 25 h 94"/>
                    <a:gd name="T28" fmla="*/ 31 w 165"/>
                    <a:gd name="T29" fmla="*/ 25 h 94"/>
                    <a:gd name="T30" fmla="*/ 31 w 165"/>
                    <a:gd name="T31" fmla="*/ 25 h 94"/>
                    <a:gd name="T32" fmla="*/ 27 w 165"/>
                    <a:gd name="T33" fmla="*/ 23 h 94"/>
                    <a:gd name="T34" fmla="*/ 21 w 165"/>
                    <a:gd name="T35" fmla="*/ 23 h 94"/>
                    <a:gd name="T36" fmla="*/ 17 w 165"/>
                    <a:gd name="T37" fmla="*/ 22 h 94"/>
                    <a:gd name="T38" fmla="*/ 14 w 165"/>
                    <a:gd name="T39" fmla="*/ 23 h 94"/>
                    <a:gd name="T40" fmla="*/ 14 w 165"/>
                    <a:gd name="T41" fmla="*/ 23 h 94"/>
                    <a:gd name="T42" fmla="*/ 11 w 165"/>
                    <a:gd name="T43" fmla="*/ 25 h 94"/>
                    <a:gd name="T44" fmla="*/ 7 w 165"/>
                    <a:gd name="T45" fmla="*/ 29 h 94"/>
                    <a:gd name="T46" fmla="*/ 0 w 165"/>
                    <a:gd name="T47" fmla="*/ 38 h 94"/>
                    <a:gd name="T48" fmla="*/ 0 w 165"/>
                    <a:gd name="T49" fmla="*/ 38 h 94"/>
                    <a:gd name="T50" fmla="*/ 0 w 165"/>
                    <a:gd name="T51" fmla="*/ 42 h 94"/>
                    <a:gd name="T52" fmla="*/ 0 w 165"/>
                    <a:gd name="T53" fmla="*/ 42 h 94"/>
                    <a:gd name="T54" fmla="*/ 5 w 165"/>
                    <a:gd name="T55" fmla="*/ 62 h 94"/>
                    <a:gd name="T56" fmla="*/ 10 w 165"/>
                    <a:gd name="T57" fmla="*/ 74 h 94"/>
                    <a:gd name="T58" fmla="*/ 11 w 165"/>
                    <a:gd name="T59" fmla="*/ 83 h 94"/>
                    <a:gd name="T60" fmla="*/ 11 w 165"/>
                    <a:gd name="T61" fmla="*/ 83 h 94"/>
                    <a:gd name="T62" fmla="*/ 13 w 165"/>
                    <a:gd name="T63" fmla="*/ 87 h 94"/>
                    <a:gd name="T64" fmla="*/ 14 w 165"/>
                    <a:gd name="T65" fmla="*/ 90 h 94"/>
                    <a:gd name="T66" fmla="*/ 18 w 165"/>
                    <a:gd name="T67" fmla="*/ 93 h 94"/>
                    <a:gd name="T68" fmla="*/ 21 w 165"/>
                    <a:gd name="T69" fmla="*/ 94 h 94"/>
                    <a:gd name="T70" fmla="*/ 21 w 165"/>
                    <a:gd name="T71" fmla="*/ 94 h 94"/>
                    <a:gd name="T72" fmla="*/ 26 w 165"/>
                    <a:gd name="T73" fmla="*/ 94 h 94"/>
                    <a:gd name="T74" fmla="*/ 31 w 165"/>
                    <a:gd name="T75" fmla="*/ 91 h 94"/>
                    <a:gd name="T76" fmla="*/ 42 w 165"/>
                    <a:gd name="T77" fmla="*/ 87 h 94"/>
                    <a:gd name="T78" fmla="*/ 42 w 165"/>
                    <a:gd name="T79" fmla="*/ 87 h 94"/>
                    <a:gd name="T80" fmla="*/ 47 w 165"/>
                    <a:gd name="T81" fmla="*/ 85 h 94"/>
                    <a:gd name="T82" fmla="*/ 55 w 165"/>
                    <a:gd name="T83" fmla="*/ 84 h 94"/>
                    <a:gd name="T84" fmla="*/ 71 w 165"/>
                    <a:gd name="T85" fmla="*/ 83 h 94"/>
                    <a:gd name="T86" fmla="*/ 71 w 165"/>
                    <a:gd name="T87" fmla="*/ 83 h 94"/>
                    <a:gd name="T88" fmla="*/ 81 w 165"/>
                    <a:gd name="T89" fmla="*/ 81 h 94"/>
                    <a:gd name="T90" fmla="*/ 94 w 165"/>
                    <a:gd name="T91" fmla="*/ 75 h 94"/>
                    <a:gd name="T92" fmla="*/ 107 w 165"/>
                    <a:gd name="T93" fmla="*/ 68 h 94"/>
                    <a:gd name="T94" fmla="*/ 115 w 165"/>
                    <a:gd name="T95" fmla="*/ 62 h 94"/>
                    <a:gd name="T96" fmla="*/ 115 w 165"/>
                    <a:gd name="T97" fmla="*/ 62 h 94"/>
                    <a:gd name="T98" fmla="*/ 124 w 165"/>
                    <a:gd name="T99" fmla="*/ 58 h 94"/>
                    <a:gd name="T100" fmla="*/ 136 w 165"/>
                    <a:gd name="T101" fmla="*/ 55 h 94"/>
                    <a:gd name="T102" fmla="*/ 152 w 165"/>
                    <a:gd name="T103" fmla="*/ 49 h 94"/>
                    <a:gd name="T104" fmla="*/ 152 w 165"/>
                    <a:gd name="T105" fmla="*/ 49 h 94"/>
                    <a:gd name="T106" fmla="*/ 155 w 165"/>
                    <a:gd name="T107" fmla="*/ 48 h 94"/>
                    <a:gd name="T108" fmla="*/ 156 w 165"/>
                    <a:gd name="T109" fmla="*/ 43 h 94"/>
                    <a:gd name="T110" fmla="*/ 157 w 165"/>
                    <a:gd name="T111" fmla="*/ 38 h 94"/>
                    <a:gd name="T112" fmla="*/ 160 w 165"/>
                    <a:gd name="T113" fmla="*/ 35 h 94"/>
                    <a:gd name="T114" fmla="*/ 160 w 165"/>
                    <a:gd name="T115" fmla="*/ 35 h 94"/>
                    <a:gd name="T116" fmla="*/ 165 w 165"/>
                    <a:gd name="T117" fmla="*/ 32 h 94"/>
                    <a:gd name="T118" fmla="*/ 165 w 165"/>
                    <a:gd name="T119" fmla="*/ 32 h 94"/>
                    <a:gd name="T120" fmla="*/ 155 w 165"/>
                    <a:gd name="T121" fmla="*/ 0 h 94"/>
                    <a:gd name="T122" fmla="*/ 155 w 165"/>
                    <a:gd name="T123" fmla="*/ 0 h 94"/>
                    <a:gd name="T124" fmla="*/ 139 w 165"/>
                    <a:gd name="T125" fmla="*/ 4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65" h="94">
                      <a:moveTo>
                        <a:pt x="139" y="4"/>
                      </a:moveTo>
                      <a:lnTo>
                        <a:pt x="139" y="4"/>
                      </a:lnTo>
                      <a:lnTo>
                        <a:pt x="133" y="7"/>
                      </a:lnTo>
                      <a:lnTo>
                        <a:pt x="121" y="13"/>
                      </a:lnTo>
                      <a:lnTo>
                        <a:pt x="92" y="30"/>
                      </a:lnTo>
                      <a:lnTo>
                        <a:pt x="52" y="55"/>
                      </a:lnTo>
                      <a:lnTo>
                        <a:pt x="52" y="55"/>
                      </a:lnTo>
                      <a:lnTo>
                        <a:pt x="53" y="46"/>
                      </a:lnTo>
                      <a:lnTo>
                        <a:pt x="52" y="32"/>
                      </a:lnTo>
                      <a:lnTo>
                        <a:pt x="52" y="32"/>
                      </a:lnTo>
                      <a:lnTo>
                        <a:pt x="52" y="30"/>
                      </a:lnTo>
                      <a:lnTo>
                        <a:pt x="50" y="29"/>
                      </a:lnTo>
                      <a:lnTo>
                        <a:pt x="44" y="26"/>
                      </a:lnTo>
                      <a:lnTo>
                        <a:pt x="39" y="25"/>
                      </a:lnTo>
                      <a:lnTo>
                        <a:pt x="31" y="25"/>
                      </a:lnTo>
                      <a:lnTo>
                        <a:pt x="31" y="25"/>
                      </a:lnTo>
                      <a:lnTo>
                        <a:pt x="27" y="23"/>
                      </a:lnTo>
                      <a:lnTo>
                        <a:pt x="21" y="23"/>
                      </a:lnTo>
                      <a:lnTo>
                        <a:pt x="17" y="22"/>
                      </a:lnTo>
                      <a:lnTo>
                        <a:pt x="14" y="23"/>
                      </a:lnTo>
                      <a:lnTo>
                        <a:pt x="14" y="23"/>
                      </a:lnTo>
                      <a:lnTo>
                        <a:pt x="11" y="25"/>
                      </a:lnTo>
                      <a:lnTo>
                        <a:pt x="7" y="29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0" y="42"/>
                      </a:lnTo>
                      <a:lnTo>
                        <a:pt x="0" y="42"/>
                      </a:lnTo>
                      <a:lnTo>
                        <a:pt x="5" y="62"/>
                      </a:lnTo>
                      <a:lnTo>
                        <a:pt x="10" y="74"/>
                      </a:lnTo>
                      <a:lnTo>
                        <a:pt x="11" y="83"/>
                      </a:lnTo>
                      <a:lnTo>
                        <a:pt x="11" y="83"/>
                      </a:lnTo>
                      <a:lnTo>
                        <a:pt x="13" y="87"/>
                      </a:lnTo>
                      <a:lnTo>
                        <a:pt x="14" y="90"/>
                      </a:lnTo>
                      <a:lnTo>
                        <a:pt x="18" y="93"/>
                      </a:lnTo>
                      <a:lnTo>
                        <a:pt x="21" y="94"/>
                      </a:lnTo>
                      <a:lnTo>
                        <a:pt x="21" y="94"/>
                      </a:lnTo>
                      <a:lnTo>
                        <a:pt x="26" y="94"/>
                      </a:lnTo>
                      <a:lnTo>
                        <a:pt x="31" y="91"/>
                      </a:lnTo>
                      <a:lnTo>
                        <a:pt x="42" y="87"/>
                      </a:lnTo>
                      <a:lnTo>
                        <a:pt x="42" y="87"/>
                      </a:lnTo>
                      <a:lnTo>
                        <a:pt x="47" y="85"/>
                      </a:lnTo>
                      <a:lnTo>
                        <a:pt x="55" y="84"/>
                      </a:lnTo>
                      <a:lnTo>
                        <a:pt x="71" y="83"/>
                      </a:lnTo>
                      <a:lnTo>
                        <a:pt x="71" y="83"/>
                      </a:lnTo>
                      <a:lnTo>
                        <a:pt x="81" y="81"/>
                      </a:lnTo>
                      <a:lnTo>
                        <a:pt x="94" y="75"/>
                      </a:lnTo>
                      <a:lnTo>
                        <a:pt x="107" y="68"/>
                      </a:lnTo>
                      <a:lnTo>
                        <a:pt x="115" y="62"/>
                      </a:lnTo>
                      <a:lnTo>
                        <a:pt x="115" y="62"/>
                      </a:lnTo>
                      <a:lnTo>
                        <a:pt x="124" y="58"/>
                      </a:lnTo>
                      <a:lnTo>
                        <a:pt x="136" y="55"/>
                      </a:lnTo>
                      <a:lnTo>
                        <a:pt x="152" y="49"/>
                      </a:lnTo>
                      <a:lnTo>
                        <a:pt x="152" y="49"/>
                      </a:lnTo>
                      <a:lnTo>
                        <a:pt x="155" y="48"/>
                      </a:lnTo>
                      <a:lnTo>
                        <a:pt x="156" y="43"/>
                      </a:lnTo>
                      <a:lnTo>
                        <a:pt x="157" y="38"/>
                      </a:lnTo>
                      <a:lnTo>
                        <a:pt x="160" y="35"/>
                      </a:lnTo>
                      <a:lnTo>
                        <a:pt x="160" y="35"/>
                      </a:lnTo>
                      <a:lnTo>
                        <a:pt x="165" y="32"/>
                      </a:lnTo>
                      <a:lnTo>
                        <a:pt x="165" y="32"/>
                      </a:lnTo>
                      <a:lnTo>
                        <a:pt x="155" y="0"/>
                      </a:lnTo>
                      <a:lnTo>
                        <a:pt x="155" y="0"/>
                      </a:lnTo>
                      <a:lnTo>
                        <a:pt x="139" y="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79" name="Freeform 732"/>
                <p:cNvSpPr>
                  <a:spLocks/>
                </p:cNvSpPr>
                <p:nvPr/>
              </p:nvSpPr>
              <p:spPr bwMode="auto">
                <a:xfrm>
                  <a:off x="5090372" y="3028274"/>
                  <a:ext cx="163228" cy="92990"/>
                </a:xfrm>
                <a:custGeom>
                  <a:avLst/>
                  <a:gdLst>
                    <a:gd name="T0" fmla="*/ 139 w 165"/>
                    <a:gd name="T1" fmla="*/ 4 h 94"/>
                    <a:gd name="T2" fmla="*/ 139 w 165"/>
                    <a:gd name="T3" fmla="*/ 4 h 94"/>
                    <a:gd name="T4" fmla="*/ 133 w 165"/>
                    <a:gd name="T5" fmla="*/ 7 h 94"/>
                    <a:gd name="T6" fmla="*/ 121 w 165"/>
                    <a:gd name="T7" fmla="*/ 13 h 94"/>
                    <a:gd name="T8" fmla="*/ 92 w 165"/>
                    <a:gd name="T9" fmla="*/ 30 h 94"/>
                    <a:gd name="T10" fmla="*/ 52 w 165"/>
                    <a:gd name="T11" fmla="*/ 55 h 94"/>
                    <a:gd name="T12" fmla="*/ 52 w 165"/>
                    <a:gd name="T13" fmla="*/ 55 h 94"/>
                    <a:gd name="T14" fmla="*/ 53 w 165"/>
                    <a:gd name="T15" fmla="*/ 46 h 94"/>
                    <a:gd name="T16" fmla="*/ 52 w 165"/>
                    <a:gd name="T17" fmla="*/ 32 h 94"/>
                    <a:gd name="T18" fmla="*/ 52 w 165"/>
                    <a:gd name="T19" fmla="*/ 32 h 94"/>
                    <a:gd name="T20" fmla="*/ 52 w 165"/>
                    <a:gd name="T21" fmla="*/ 30 h 94"/>
                    <a:gd name="T22" fmla="*/ 50 w 165"/>
                    <a:gd name="T23" fmla="*/ 29 h 94"/>
                    <a:gd name="T24" fmla="*/ 44 w 165"/>
                    <a:gd name="T25" fmla="*/ 26 h 94"/>
                    <a:gd name="T26" fmla="*/ 39 w 165"/>
                    <a:gd name="T27" fmla="*/ 25 h 94"/>
                    <a:gd name="T28" fmla="*/ 31 w 165"/>
                    <a:gd name="T29" fmla="*/ 25 h 94"/>
                    <a:gd name="T30" fmla="*/ 31 w 165"/>
                    <a:gd name="T31" fmla="*/ 25 h 94"/>
                    <a:gd name="T32" fmla="*/ 27 w 165"/>
                    <a:gd name="T33" fmla="*/ 23 h 94"/>
                    <a:gd name="T34" fmla="*/ 21 w 165"/>
                    <a:gd name="T35" fmla="*/ 23 h 94"/>
                    <a:gd name="T36" fmla="*/ 17 w 165"/>
                    <a:gd name="T37" fmla="*/ 22 h 94"/>
                    <a:gd name="T38" fmla="*/ 14 w 165"/>
                    <a:gd name="T39" fmla="*/ 23 h 94"/>
                    <a:gd name="T40" fmla="*/ 14 w 165"/>
                    <a:gd name="T41" fmla="*/ 23 h 94"/>
                    <a:gd name="T42" fmla="*/ 11 w 165"/>
                    <a:gd name="T43" fmla="*/ 25 h 94"/>
                    <a:gd name="T44" fmla="*/ 7 w 165"/>
                    <a:gd name="T45" fmla="*/ 29 h 94"/>
                    <a:gd name="T46" fmla="*/ 0 w 165"/>
                    <a:gd name="T47" fmla="*/ 38 h 94"/>
                    <a:gd name="T48" fmla="*/ 0 w 165"/>
                    <a:gd name="T49" fmla="*/ 38 h 94"/>
                    <a:gd name="T50" fmla="*/ 0 w 165"/>
                    <a:gd name="T51" fmla="*/ 42 h 94"/>
                    <a:gd name="T52" fmla="*/ 0 w 165"/>
                    <a:gd name="T53" fmla="*/ 42 h 94"/>
                    <a:gd name="T54" fmla="*/ 5 w 165"/>
                    <a:gd name="T55" fmla="*/ 62 h 94"/>
                    <a:gd name="T56" fmla="*/ 10 w 165"/>
                    <a:gd name="T57" fmla="*/ 74 h 94"/>
                    <a:gd name="T58" fmla="*/ 11 w 165"/>
                    <a:gd name="T59" fmla="*/ 83 h 94"/>
                    <a:gd name="T60" fmla="*/ 11 w 165"/>
                    <a:gd name="T61" fmla="*/ 83 h 94"/>
                    <a:gd name="T62" fmla="*/ 13 w 165"/>
                    <a:gd name="T63" fmla="*/ 87 h 94"/>
                    <a:gd name="T64" fmla="*/ 14 w 165"/>
                    <a:gd name="T65" fmla="*/ 90 h 94"/>
                    <a:gd name="T66" fmla="*/ 18 w 165"/>
                    <a:gd name="T67" fmla="*/ 93 h 94"/>
                    <a:gd name="T68" fmla="*/ 21 w 165"/>
                    <a:gd name="T69" fmla="*/ 94 h 94"/>
                    <a:gd name="T70" fmla="*/ 21 w 165"/>
                    <a:gd name="T71" fmla="*/ 94 h 94"/>
                    <a:gd name="T72" fmla="*/ 26 w 165"/>
                    <a:gd name="T73" fmla="*/ 94 h 94"/>
                    <a:gd name="T74" fmla="*/ 31 w 165"/>
                    <a:gd name="T75" fmla="*/ 91 h 94"/>
                    <a:gd name="T76" fmla="*/ 42 w 165"/>
                    <a:gd name="T77" fmla="*/ 87 h 94"/>
                    <a:gd name="T78" fmla="*/ 42 w 165"/>
                    <a:gd name="T79" fmla="*/ 87 h 94"/>
                    <a:gd name="T80" fmla="*/ 47 w 165"/>
                    <a:gd name="T81" fmla="*/ 85 h 94"/>
                    <a:gd name="T82" fmla="*/ 55 w 165"/>
                    <a:gd name="T83" fmla="*/ 84 h 94"/>
                    <a:gd name="T84" fmla="*/ 71 w 165"/>
                    <a:gd name="T85" fmla="*/ 83 h 94"/>
                    <a:gd name="T86" fmla="*/ 71 w 165"/>
                    <a:gd name="T87" fmla="*/ 83 h 94"/>
                    <a:gd name="T88" fmla="*/ 81 w 165"/>
                    <a:gd name="T89" fmla="*/ 81 h 94"/>
                    <a:gd name="T90" fmla="*/ 94 w 165"/>
                    <a:gd name="T91" fmla="*/ 75 h 94"/>
                    <a:gd name="T92" fmla="*/ 107 w 165"/>
                    <a:gd name="T93" fmla="*/ 68 h 94"/>
                    <a:gd name="T94" fmla="*/ 115 w 165"/>
                    <a:gd name="T95" fmla="*/ 62 h 94"/>
                    <a:gd name="T96" fmla="*/ 115 w 165"/>
                    <a:gd name="T97" fmla="*/ 62 h 94"/>
                    <a:gd name="T98" fmla="*/ 124 w 165"/>
                    <a:gd name="T99" fmla="*/ 58 h 94"/>
                    <a:gd name="T100" fmla="*/ 136 w 165"/>
                    <a:gd name="T101" fmla="*/ 55 h 94"/>
                    <a:gd name="T102" fmla="*/ 152 w 165"/>
                    <a:gd name="T103" fmla="*/ 49 h 94"/>
                    <a:gd name="T104" fmla="*/ 152 w 165"/>
                    <a:gd name="T105" fmla="*/ 49 h 94"/>
                    <a:gd name="T106" fmla="*/ 155 w 165"/>
                    <a:gd name="T107" fmla="*/ 48 h 94"/>
                    <a:gd name="T108" fmla="*/ 156 w 165"/>
                    <a:gd name="T109" fmla="*/ 43 h 94"/>
                    <a:gd name="T110" fmla="*/ 157 w 165"/>
                    <a:gd name="T111" fmla="*/ 38 h 94"/>
                    <a:gd name="T112" fmla="*/ 160 w 165"/>
                    <a:gd name="T113" fmla="*/ 35 h 94"/>
                    <a:gd name="T114" fmla="*/ 160 w 165"/>
                    <a:gd name="T115" fmla="*/ 35 h 94"/>
                    <a:gd name="T116" fmla="*/ 165 w 165"/>
                    <a:gd name="T117" fmla="*/ 32 h 94"/>
                    <a:gd name="T118" fmla="*/ 165 w 165"/>
                    <a:gd name="T119" fmla="*/ 32 h 94"/>
                    <a:gd name="T120" fmla="*/ 155 w 165"/>
                    <a:gd name="T121" fmla="*/ 0 h 94"/>
                    <a:gd name="T122" fmla="*/ 155 w 165"/>
                    <a:gd name="T123" fmla="*/ 0 h 94"/>
                    <a:gd name="T124" fmla="*/ 139 w 165"/>
                    <a:gd name="T125" fmla="*/ 4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65" h="94">
                      <a:moveTo>
                        <a:pt x="139" y="4"/>
                      </a:moveTo>
                      <a:lnTo>
                        <a:pt x="139" y="4"/>
                      </a:lnTo>
                      <a:lnTo>
                        <a:pt x="133" y="7"/>
                      </a:lnTo>
                      <a:lnTo>
                        <a:pt x="121" y="13"/>
                      </a:lnTo>
                      <a:lnTo>
                        <a:pt x="92" y="30"/>
                      </a:lnTo>
                      <a:lnTo>
                        <a:pt x="52" y="55"/>
                      </a:lnTo>
                      <a:lnTo>
                        <a:pt x="52" y="55"/>
                      </a:lnTo>
                      <a:lnTo>
                        <a:pt x="53" y="46"/>
                      </a:lnTo>
                      <a:lnTo>
                        <a:pt x="52" y="32"/>
                      </a:lnTo>
                      <a:lnTo>
                        <a:pt x="52" y="32"/>
                      </a:lnTo>
                      <a:lnTo>
                        <a:pt x="52" y="30"/>
                      </a:lnTo>
                      <a:lnTo>
                        <a:pt x="50" y="29"/>
                      </a:lnTo>
                      <a:lnTo>
                        <a:pt x="44" y="26"/>
                      </a:lnTo>
                      <a:lnTo>
                        <a:pt x="39" y="25"/>
                      </a:lnTo>
                      <a:lnTo>
                        <a:pt x="31" y="25"/>
                      </a:lnTo>
                      <a:lnTo>
                        <a:pt x="31" y="25"/>
                      </a:lnTo>
                      <a:lnTo>
                        <a:pt x="27" y="23"/>
                      </a:lnTo>
                      <a:lnTo>
                        <a:pt x="21" y="23"/>
                      </a:lnTo>
                      <a:lnTo>
                        <a:pt x="17" y="22"/>
                      </a:lnTo>
                      <a:lnTo>
                        <a:pt x="14" y="23"/>
                      </a:lnTo>
                      <a:lnTo>
                        <a:pt x="14" y="23"/>
                      </a:lnTo>
                      <a:lnTo>
                        <a:pt x="11" y="25"/>
                      </a:lnTo>
                      <a:lnTo>
                        <a:pt x="7" y="29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0" y="42"/>
                      </a:lnTo>
                      <a:lnTo>
                        <a:pt x="0" y="42"/>
                      </a:lnTo>
                      <a:lnTo>
                        <a:pt x="5" y="62"/>
                      </a:lnTo>
                      <a:lnTo>
                        <a:pt x="10" y="74"/>
                      </a:lnTo>
                      <a:lnTo>
                        <a:pt x="11" y="83"/>
                      </a:lnTo>
                      <a:lnTo>
                        <a:pt x="11" y="83"/>
                      </a:lnTo>
                      <a:lnTo>
                        <a:pt x="13" y="87"/>
                      </a:lnTo>
                      <a:lnTo>
                        <a:pt x="14" y="90"/>
                      </a:lnTo>
                      <a:lnTo>
                        <a:pt x="18" y="93"/>
                      </a:lnTo>
                      <a:lnTo>
                        <a:pt x="21" y="94"/>
                      </a:lnTo>
                      <a:lnTo>
                        <a:pt x="21" y="94"/>
                      </a:lnTo>
                      <a:lnTo>
                        <a:pt x="26" y="94"/>
                      </a:lnTo>
                      <a:lnTo>
                        <a:pt x="31" y="91"/>
                      </a:lnTo>
                      <a:lnTo>
                        <a:pt x="42" y="87"/>
                      </a:lnTo>
                      <a:lnTo>
                        <a:pt x="42" y="87"/>
                      </a:lnTo>
                      <a:lnTo>
                        <a:pt x="47" y="85"/>
                      </a:lnTo>
                      <a:lnTo>
                        <a:pt x="55" y="84"/>
                      </a:lnTo>
                      <a:lnTo>
                        <a:pt x="71" y="83"/>
                      </a:lnTo>
                      <a:lnTo>
                        <a:pt x="71" y="83"/>
                      </a:lnTo>
                      <a:lnTo>
                        <a:pt x="81" y="81"/>
                      </a:lnTo>
                      <a:lnTo>
                        <a:pt x="94" y="75"/>
                      </a:lnTo>
                      <a:lnTo>
                        <a:pt x="107" y="68"/>
                      </a:lnTo>
                      <a:lnTo>
                        <a:pt x="115" y="62"/>
                      </a:lnTo>
                      <a:lnTo>
                        <a:pt x="115" y="62"/>
                      </a:lnTo>
                      <a:lnTo>
                        <a:pt x="124" y="58"/>
                      </a:lnTo>
                      <a:lnTo>
                        <a:pt x="136" y="55"/>
                      </a:lnTo>
                      <a:lnTo>
                        <a:pt x="152" y="49"/>
                      </a:lnTo>
                      <a:lnTo>
                        <a:pt x="152" y="49"/>
                      </a:lnTo>
                      <a:lnTo>
                        <a:pt x="155" y="48"/>
                      </a:lnTo>
                      <a:lnTo>
                        <a:pt x="156" y="43"/>
                      </a:lnTo>
                      <a:lnTo>
                        <a:pt x="157" y="38"/>
                      </a:lnTo>
                      <a:lnTo>
                        <a:pt x="160" y="35"/>
                      </a:lnTo>
                      <a:lnTo>
                        <a:pt x="160" y="35"/>
                      </a:lnTo>
                      <a:lnTo>
                        <a:pt x="165" y="32"/>
                      </a:lnTo>
                      <a:lnTo>
                        <a:pt x="165" y="32"/>
                      </a:lnTo>
                      <a:lnTo>
                        <a:pt x="155" y="0"/>
                      </a:lnTo>
                      <a:lnTo>
                        <a:pt x="155" y="0"/>
                      </a:lnTo>
                      <a:lnTo>
                        <a:pt x="139" y="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80" name="Freeform 733"/>
                <p:cNvSpPr>
                  <a:spLocks/>
                </p:cNvSpPr>
                <p:nvPr/>
              </p:nvSpPr>
              <p:spPr bwMode="auto">
                <a:xfrm>
                  <a:off x="5243707" y="2920445"/>
                  <a:ext cx="118711" cy="139486"/>
                </a:xfrm>
                <a:custGeom>
                  <a:avLst/>
                  <a:gdLst>
                    <a:gd name="T0" fmla="*/ 115 w 120"/>
                    <a:gd name="T1" fmla="*/ 38 h 141"/>
                    <a:gd name="T2" fmla="*/ 110 w 120"/>
                    <a:gd name="T3" fmla="*/ 32 h 141"/>
                    <a:gd name="T4" fmla="*/ 104 w 120"/>
                    <a:gd name="T5" fmla="*/ 25 h 141"/>
                    <a:gd name="T6" fmla="*/ 94 w 120"/>
                    <a:gd name="T7" fmla="*/ 19 h 141"/>
                    <a:gd name="T8" fmla="*/ 82 w 120"/>
                    <a:gd name="T9" fmla="*/ 19 h 141"/>
                    <a:gd name="T10" fmla="*/ 73 w 120"/>
                    <a:gd name="T11" fmla="*/ 12 h 141"/>
                    <a:gd name="T12" fmla="*/ 68 w 120"/>
                    <a:gd name="T13" fmla="*/ 0 h 141"/>
                    <a:gd name="T14" fmla="*/ 60 w 120"/>
                    <a:gd name="T15" fmla="*/ 3 h 141"/>
                    <a:gd name="T16" fmla="*/ 59 w 120"/>
                    <a:gd name="T17" fmla="*/ 8 h 141"/>
                    <a:gd name="T18" fmla="*/ 56 w 120"/>
                    <a:gd name="T19" fmla="*/ 18 h 141"/>
                    <a:gd name="T20" fmla="*/ 46 w 120"/>
                    <a:gd name="T21" fmla="*/ 38 h 141"/>
                    <a:gd name="T22" fmla="*/ 49 w 120"/>
                    <a:gd name="T23" fmla="*/ 41 h 141"/>
                    <a:gd name="T24" fmla="*/ 52 w 120"/>
                    <a:gd name="T25" fmla="*/ 53 h 141"/>
                    <a:gd name="T26" fmla="*/ 46 w 120"/>
                    <a:gd name="T27" fmla="*/ 74 h 141"/>
                    <a:gd name="T28" fmla="*/ 42 w 120"/>
                    <a:gd name="T29" fmla="*/ 86 h 141"/>
                    <a:gd name="T30" fmla="*/ 34 w 120"/>
                    <a:gd name="T31" fmla="*/ 93 h 141"/>
                    <a:gd name="T32" fmla="*/ 11 w 120"/>
                    <a:gd name="T33" fmla="*/ 105 h 141"/>
                    <a:gd name="T34" fmla="*/ 0 w 120"/>
                    <a:gd name="T35" fmla="*/ 109 h 141"/>
                    <a:gd name="T36" fmla="*/ 10 w 120"/>
                    <a:gd name="T37" fmla="*/ 141 h 141"/>
                    <a:gd name="T38" fmla="*/ 34 w 120"/>
                    <a:gd name="T39" fmla="*/ 134 h 141"/>
                    <a:gd name="T40" fmla="*/ 46 w 120"/>
                    <a:gd name="T41" fmla="*/ 132 h 141"/>
                    <a:gd name="T42" fmla="*/ 53 w 120"/>
                    <a:gd name="T43" fmla="*/ 126 h 141"/>
                    <a:gd name="T44" fmla="*/ 53 w 120"/>
                    <a:gd name="T45" fmla="*/ 123 h 141"/>
                    <a:gd name="T46" fmla="*/ 57 w 120"/>
                    <a:gd name="T47" fmla="*/ 119 h 141"/>
                    <a:gd name="T48" fmla="*/ 60 w 120"/>
                    <a:gd name="T49" fmla="*/ 118 h 141"/>
                    <a:gd name="T50" fmla="*/ 66 w 120"/>
                    <a:gd name="T51" fmla="*/ 113 h 141"/>
                    <a:gd name="T52" fmla="*/ 69 w 120"/>
                    <a:gd name="T53" fmla="*/ 108 h 141"/>
                    <a:gd name="T54" fmla="*/ 76 w 120"/>
                    <a:gd name="T55" fmla="*/ 105 h 141"/>
                    <a:gd name="T56" fmla="*/ 85 w 120"/>
                    <a:gd name="T57" fmla="*/ 102 h 141"/>
                    <a:gd name="T58" fmla="*/ 89 w 120"/>
                    <a:gd name="T59" fmla="*/ 97 h 141"/>
                    <a:gd name="T60" fmla="*/ 88 w 120"/>
                    <a:gd name="T61" fmla="*/ 90 h 141"/>
                    <a:gd name="T62" fmla="*/ 91 w 120"/>
                    <a:gd name="T63" fmla="*/ 74 h 141"/>
                    <a:gd name="T64" fmla="*/ 92 w 120"/>
                    <a:gd name="T65" fmla="*/ 71 h 141"/>
                    <a:gd name="T66" fmla="*/ 95 w 120"/>
                    <a:gd name="T67" fmla="*/ 74 h 141"/>
                    <a:gd name="T68" fmla="*/ 97 w 120"/>
                    <a:gd name="T69" fmla="*/ 76 h 141"/>
                    <a:gd name="T70" fmla="*/ 99 w 120"/>
                    <a:gd name="T71" fmla="*/ 76 h 141"/>
                    <a:gd name="T72" fmla="*/ 105 w 120"/>
                    <a:gd name="T73" fmla="*/ 67 h 141"/>
                    <a:gd name="T74" fmla="*/ 107 w 120"/>
                    <a:gd name="T75" fmla="*/ 64 h 141"/>
                    <a:gd name="T76" fmla="*/ 113 w 120"/>
                    <a:gd name="T77" fmla="*/ 57 h 141"/>
                    <a:gd name="T78" fmla="*/ 117 w 120"/>
                    <a:gd name="T79" fmla="*/ 47 h 141"/>
                    <a:gd name="T80" fmla="*/ 118 w 120"/>
                    <a:gd name="T81" fmla="*/ 38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20" h="141">
                      <a:moveTo>
                        <a:pt x="115" y="38"/>
                      </a:moveTo>
                      <a:lnTo>
                        <a:pt x="115" y="38"/>
                      </a:lnTo>
                      <a:lnTo>
                        <a:pt x="113" y="35"/>
                      </a:lnTo>
                      <a:lnTo>
                        <a:pt x="110" y="32"/>
                      </a:lnTo>
                      <a:lnTo>
                        <a:pt x="104" y="25"/>
                      </a:lnTo>
                      <a:lnTo>
                        <a:pt x="104" y="25"/>
                      </a:lnTo>
                      <a:lnTo>
                        <a:pt x="99" y="22"/>
                      </a:lnTo>
                      <a:lnTo>
                        <a:pt x="94" y="19"/>
                      </a:lnTo>
                      <a:lnTo>
                        <a:pt x="82" y="19"/>
                      </a:lnTo>
                      <a:lnTo>
                        <a:pt x="82" y="19"/>
                      </a:lnTo>
                      <a:lnTo>
                        <a:pt x="78" y="16"/>
                      </a:lnTo>
                      <a:lnTo>
                        <a:pt x="73" y="12"/>
                      </a:lnTo>
                      <a:lnTo>
                        <a:pt x="68" y="0"/>
                      </a:lnTo>
                      <a:lnTo>
                        <a:pt x="68" y="0"/>
                      </a:lnTo>
                      <a:lnTo>
                        <a:pt x="60" y="3"/>
                      </a:lnTo>
                      <a:lnTo>
                        <a:pt x="60" y="3"/>
                      </a:lnTo>
                      <a:lnTo>
                        <a:pt x="59" y="5"/>
                      </a:lnTo>
                      <a:lnTo>
                        <a:pt x="59" y="8"/>
                      </a:lnTo>
                      <a:lnTo>
                        <a:pt x="57" y="12"/>
                      </a:lnTo>
                      <a:lnTo>
                        <a:pt x="56" y="18"/>
                      </a:lnTo>
                      <a:lnTo>
                        <a:pt x="56" y="18"/>
                      </a:lnTo>
                      <a:lnTo>
                        <a:pt x="46" y="38"/>
                      </a:lnTo>
                      <a:lnTo>
                        <a:pt x="46" y="38"/>
                      </a:lnTo>
                      <a:lnTo>
                        <a:pt x="49" y="41"/>
                      </a:lnTo>
                      <a:lnTo>
                        <a:pt x="50" y="47"/>
                      </a:lnTo>
                      <a:lnTo>
                        <a:pt x="52" y="53"/>
                      </a:lnTo>
                      <a:lnTo>
                        <a:pt x="50" y="60"/>
                      </a:lnTo>
                      <a:lnTo>
                        <a:pt x="46" y="74"/>
                      </a:lnTo>
                      <a:lnTo>
                        <a:pt x="42" y="86"/>
                      </a:lnTo>
                      <a:lnTo>
                        <a:pt x="42" y="86"/>
                      </a:lnTo>
                      <a:lnTo>
                        <a:pt x="39" y="90"/>
                      </a:lnTo>
                      <a:lnTo>
                        <a:pt x="34" y="93"/>
                      </a:lnTo>
                      <a:lnTo>
                        <a:pt x="24" y="100"/>
                      </a:lnTo>
                      <a:lnTo>
                        <a:pt x="11" y="105"/>
                      </a:lnTo>
                      <a:lnTo>
                        <a:pt x="0" y="109"/>
                      </a:lnTo>
                      <a:lnTo>
                        <a:pt x="0" y="109"/>
                      </a:lnTo>
                      <a:lnTo>
                        <a:pt x="10" y="141"/>
                      </a:lnTo>
                      <a:lnTo>
                        <a:pt x="10" y="141"/>
                      </a:lnTo>
                      <a:lnTo>
                        <a:pt x="23" y="137"/>
                      </a:lnTo>
                      <a:lnTo>
                        <a:pt x="34" y="134"/>
                      </a:lnTo>
                      <a:lnTo>
                        <a:pt x="34" y="134"/>
                      </a:lnTo>
                      <a:lnTo>
                        <a:pt x="46" y="132"/>
                      </a:lnTo>
                      <a:lnTo>
                        <a:pt x="50" y="129"/>
                      </a:lnTo>
                      <a:lnTo>
                        <a:pt x="53" y="126"/>
                      </a:lnTo>
                      <a:lnTo>
                        <a:pt x="53" y="126"/>
                      </a:lnTo>
                      <a:lnTo>
                        <a:pt x="53" y="123"/>
                      </a:lnTo>
                      <a:lnTo>
                        <a:pt x="55" y="121"/>
                      </a:lnTo>
                      <a:lnTo>
                        <a:pt x="57" y="119"/>
                      </a:lnTo>
                      <a:lnTo>
                        <a:pt x="60" y="118"/>
                      </a:lnTo>
                      <a:lnTo>
                        <a:pt x="60" y="118"/>
                      </a:lnTo>
                      <a:lnTo>
                        <a:pt x="65" y="116"/>
                      </a:lnTo>
                      <a:lnTo>
                        <a:pt x="66" y="113"/>
                      </a:lnTo>
                      <a:lnTo>
                        <a:pt x="69" y="108"/>
                      </a:lnTo>
                      <a:lnTo>
                        <a:pt x="69" y="108"/>
                      </a:lnTo>
                      <a:lnTo>
                        <a:pt x="72" y="106"/>
                      </a:lnTo>
                      <a:lnTo>
                        <a:pt x="76" y="105"/>
                      </a:lnTo>
                      <a:lnTo>
                        <a:pt x="85" y="102"/>
                      </a:lnTo>
                      <a:lnTo>
                        <a:pt x="85" y="102"/>
                      </a:lnTo>
                      <a:lnTo>
                        <a:pt x="88" y="100"/>
                      </a:lnTo>
                      <a:lnTo>
                        <a:pt x="89" y="97"/>
                      </a:lnTo>
                      <a:lnTo>
                        <a:pt x="88" y="90"/>
                      </a:lnTo>
                      <a:lnTo>
                        <a:pt x="88" y="90"/>
                      </a:lnTo>
                      <a:lnTo>
                        <a:pt x="89" y="84"/>
                      </a:lnTo>
                      <a:lnTo>
                        <a:pt x="91" y="74"/>
                      </a:lnTo>
                      <a:lnTo>
                        <a:pt x="91" y="74"/>
                      </a:lnTo>
                      <a:lnTo>
                        <a:pt x="92" y="71"/>
                      </a:lnTo>
                      <a:lnTo>
                        <a:pt x="94" y="71"/>
                      </a:lnTo>
                      <a:lnTo>
                        <a:pt x="95" y="74"/>
                      </a:lnTo>
                      <a:lnTo>
                        <a:pt x="97" y="76"/>
                      </a:lnTo>
                      <a:lnTo>
                        <a:pt x="97" y="76"/>
                      </a:lnTo>
                      <a:lnTo>
                        <a:pt x="98" y="76"/>
                      </a:lnTo>
                      <a:lnTo>
                        <a:pt x="99" y="76"/>
                      </a:lnTo>
                      <a:lnTo>
                        <a:pt x="102" y="71"/>
                      </a:lnTo>
                      <a:lnTo>
                        <a:pt x="105" y="67"/>
                      </a:lnTo>
                      <a:lnTo>
                        <a:pt x="107" y="64"/>
                      </a:lnTo>
                      <a:lnTo>
                        <a:pt x="107" y="64"/>
                      </a:lnTo>
                      <a:lnTo>
                        <a:pt x="110" y="61"/>
                      </a:lnTo>
                      <a:lnTo>
                        <a:pt x="113" y="57"/>
                      </a:lnTo>
                      <a:lnTo>
                        <a:pt x="117" y="47"/>
                      </a:lnTo>
                      <a:lnTo>
                        <a:pt x="117" y="47"/>
                      </a:lnTo>
                      <a:lnTo>
                        <a:pt x="120" y="41"/>
                      </a:lnTo>
                      <a:lnTo>
                        <a:pt x="118" y="38"/>
                      </a:lnTo>
                      <a:lnTo>
                        <a:pt x="115" y="3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81" name="Freeform 734"/>
                <p:cNvSpPr>
                  <a:spLocks/>
                </p:cNvSpPr>
                <p:nvPr/>
              </p:nvSpPr>
              <p:spPr bwMode="auto">
                <a:xfrm>
                  <a:off x="5243707" y="2920445"/>
                  <a:ext cx="118711" cy="139486"/>
                </a:xfrm>
                <a:custGeom>
                  <a:avLst/>
                  <a:gdLst>
                    <a:gd name="T0" fmla="*/ 115 w 120"/>
                    <a:gd name="T1" fmla="*/ 38 h 141"/>
                    <a:gd name="T2" fmla="*/ 110 w 120"/>
                    <a:gd name="T3" fmla="*/ 32 h 141"/>
                    <a:gd name="T4" fmla="*/ 104 w 120"/>
                    <a:gd name="T5" fmla="*/ 25 h 141"/>
                    <a:gd name="T6" fmla="*/ 94 w 120"/>
                    <a:gd name="T7" fmla="*/ 19 h 141"/>
                    <a:gd name="T8" fmla="*/ 82 w 120"/>
                    <a:gd name="T9" fmla="*/ 19 h 141"/>
                    <a:gd name="T10" fmla="*/ 73 w 120"/>
                    <a:gd name="T11" fmla="*/ 12 h 141"/>
                    <a:gd name="T12" fmla="*/ 68 w 120"/>
                    <a:gd name="T13" fmla="*/ 0 h 141"/>
                    <a:gd name="T14" fmla="*/ 60 w 120"/>
                    <a:gd name="T15" fmla="*/ 3 h 141"/>
                    <a:gd name="T16" fmla="*/ 59 w 120"/>
                    <a:gd name="T17" fmla="*/ 8 h 141"/>
                    <a:gd name="T18" fmla="*/ 56 w 120"/>
                    <a:gd name="T19" fmla="*/ 18 h 141"/>
                    <a:gd name="T20" fmla="*/ 46 w 120"/>
                    <a:gd name="T21" fmla="*/ 38 h 141"/>
                    <a:gd name="T22" fmla="*/ 49 w 120"/>
                    <a:gd name="T23" fmla="*/ 41 h 141"/>
                    <a:gd name="T24" fmla="*/ 52 w 120"/>
                    <a:gd name="T25" fmla="*/ 53 h 141"/>
                    <a:gd name="T26" fmla="*/ 46 w 120"/>
                    <a:gd name="T27" fmla="*/ 74 h 141"/>
                    <a:gd name="T28" fmla="*/ 42 w 120"/>
                    <a:gd name="T29" fmla="*/ 86 h 141"/>
                    <a:gd name="T30" fmla="*/ 34 w 120"/>
                    <a:gd name="T31" fmla="*/ 93 h 141"/>
                    <a:gd name="T32" fmla="*/ 11 w 120"/>
                    <a:gd name="T33" fmla="*/ 105 h 141"/>
                    <a:gd name="T34" fmla="*/ 0 w 120"/>
                    <a:gd name="T35" fmla="*/ 109 h 141"/>
                    <a:gd name="T36" fmla="*/ 10 w 120"/>
                    <a:gd name="T37" fmla="*/ 141 h 141"/>
                    <a:gd name="T38" fmla="*/ 34 w 120"/>
                    <a:gd name="T39" fmla="*/ 134 h 141"/>
                    <a:gd name="T40" fmla="*/ 46 w 120"/>
                    <a:gd name="T41" fmla="*/ 132 h 141"/>
                    <a:gd name="T42" fmla="*/ 53 w 120"/>
                    <a:gd name="T43" fmla="*/ 126 h 141"/>
                    <a:gd name="T44" fmla="*/ 53 w 120"/>
                    <a:gd name="T45" fmla="*/ 123 h 141"/>
                    <a:gd name="T46" fmla="*/ 57 w 120"/>
                    <a:gd name="T47" fmla="*/ 119 h 141"/>
                    <a:gd name="T48" fmla="*/ 60 w 120"/>
                    <a:gd name="T49" fmla="*/ 118 h 141"/>
                    <a:gd name="T50" fmla="*/ 66 w 120"/>
                    <a:gd name="T51" fmla="*/ 113 h 141"/>
                    <a:gd name="T52" fmla="*/ 69 w 120"/>
                    <a:gd name="T53" fmla="*/ 108 h 141"/>
                    <a:gd name="T54" fmla="*/ 76 w 120"/>
                    <a:gd name="T55" fmla="*/ 105 h 141"/>
                    <a:gd name="T56" fmla="*/ 85 w 120"/>
                    <a:gd name="T57" fmla="*/ 102 h 141"/>
                    <a:gd name="T58" fmla="*/ 89 w 120"/>
                    <a:gd name="T59" fmla="*/ 97 h 141"/>
                    <a:gd name="T60" fmla="*/ 88 w 120"/>
                    <a:gd name="T61" fmla="*/ 90 h 141"/>
                    <a:gd name="T62" fmla="*/ 91 w 120"/>
                    <a:gd name="T63" fmla="*/ 74 h 141"/>
                    <a:gd name="T64" fmla="*/ 92 w 120"/>
                    <a:gd name="T65" fmla="*/ 71 h 141"/>
                    <a:gd name="T66" fmla="*/ 95 w 120"/>
                    <a:gd name="T67" fmla="*/ 74 h 141"/>
                    <a:gd name="T68" fmla="*/ 97 w 120"/>
                    <a:gd name="T69" fmla="*/ 76 h 141"/>
                    <a:gd name="T70" fmla="*/ 99 w 120"/>
                    <a:gd name="T71" fmla="*/ 76 h 141"/>
                    <a:gd name="T72" fmla="*/ 105 w 120"/>
                    <a:gd name="T73" fmla="*/ 67 h 141"/>
                    <a:gd name="T74" fmla="*/ 107 w 120"/>
                    <a:gd name="T75" fmla="*/ 64 h 141"/>
                    <a:gd name="T76" fmla="*/ 113 w 120"/>
                    <a:gd name="T77" fmla="*/ 57 h 141"/>
                    <a:gd name="T78" fmla="*/ 117 w 120"/>
                    <a:gd name="T79" fmla="*/ 47 h 141"/>
                    <a:gd name="T80" fmla="*/ 118 w 120"/>
                    <a:gd name="T81" fmla="*/ 38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20" h="141">
                      <a:moveTo>
                        <a:pt x="115" y="38"/>
                      </a:moveTo>
                      <a:lnTo>
                        <a:pt x="115" y="38"/>
                      </a:lnTo>
                      <a:lnTo>
                        <a:pt x="113" y="35"/>
                      </a:lnTo>
                      <a:lnTo>
                        <a:pt x="110" y="32"/>
                      </a:lnTo>
                      <a:lnTo>
                        <a:pt x="104" y="25"/>
                      </a:lnTo>
                      <a:lnTo>
                        <a:pt x="104" y="25"/>
                      </a:lnTo>
                      <a:lnTo>
                        <a:pt x="99" y="22"/>
                      </a:lnTo>
                      <a:lnTo>
                        <a:pt x="94" y="19"/>
                      </a:lnTo>
                      <a:lnTo>
                        <a:pt x="82" y="19"/>
                      </a:lnTo>
                      <a:lnTo>
                        <a:pt x="82" y="19"/>
                      </a:lnTo>
                      <a:lnTo>
                        <a:pt x="78" y="16"/>
                      </a:lnTo>
                      <a:lnTo>
                        <a:pt x="73" y="12"/>
                      </a:lnTo>
                      <a:lnTo>
                        <a:pt x="68" y="0"/>
                      </a:lnTo>
                      <a:lnTo>
                        <a:pt x="68" y="0"/>
                      </a:lnTo>
                      <a:lnTo>
                        <a:pt x="60" y="3"/>
                      </a:lnTo>
                      <a:lnTo>
                        <a:pt x="60" y="3"/>
                      </a:lnTo>
                      <a:lnTo>
                        <a:pt x="59" y="5"/>
                      </a:lnTo>
                      <a:lnTo>
                        <a:pt x="59" y="8"/>
                      </a:lnTo>
                      <a:lnTo>
                        <a:pt x="57" y="12"/>
                      </a:lnTo>
                      <a:lnTo>
                        <a:pt x="56" y="18"/>
                      </a:lnTo>
                      <a:lnTo>
                        <a:pt x="56" y="18"/>
                      </a:lnTo>
                      <a:lnTo>
                        <a:pt x="46" y="38"/>
                      </a:lnTo>
                      <a:lnTo>
                        <a:pt x="46" y="38"/>
                      </a:lnTo>
                      <a:lnTo>
                        <a:pt x="49" y="41"/>
                      </a:lnTo>
                      <a:lnTo>
                        <a:pt x="50" y="47"/>
                      </a:lnTo>
                      <a:lnTo>
                        <a:pt x="52" y="53"/>
                      </a:lnTo>
                      <a:lnTo>
                        <a:pt x="50" y="60"/>
                      </a:lnTo>
                      <a:lnTo>
                        <a:pt x="46" y="74"/>
                      </a:lnTo>
                      <a:lnTo>
                        <a:pt x="42" y="86"/>
                      </a:lnTo>
                      <a:lnTo>
                        <a:pt x="42" y="86"/>
                      </a:lnTo>
                      <a:lnTo>
                        <a:pt x="39" y="90"/>
                      </a:lnTo>
                      <a:lnTo>
                        <a:pt x="34" y="93"/>
                      </a:lnTo>
                      <a:lnTo>
                        <a:pt x="24" y="100"/>
                      </a:lnTo>
                      <a:lnTo>
                        <a:pt x="11" y="105"/>
                      </a:lnTo>
                      <a:lnTo>
                        <a:pt x="0" y="109"/>
                      </a:lnTo>
                      <a:lnTo>
                        <a:pt x="0" y="109"/>
                      </a:lnTo>
                      <a:lnTo>
                        <a:pt x="10" y="141"/>
                      </a:lnTo>
                      <a:lnTo>
                        <a:pt x="10" y="141"/>
                      </a:lnTo>
                      <a:lnTo>
                        <a:pt x="23" y="137"/>
                      </a:lnTo>
                      <a:lnTo>
                        <a:pt x="34" y="134"/>
                      </a:lnTo>
                      <a:lnTo>
                        <a:pt x="34" y="134"/>
                      </a:lnTo>
                      <a:lnTo>
                        <a:pt x="46" y="132"/>
                      </a:lnTo>
                      <a:lnTo>
                        <a:pt x="50" y="129"/>
                      </a:lnTo>
                      <a:lnTo>
                        <a:pt x="53" y="126"/>
                      </a:lnTo>
                      <a:lnTo>
                        <a:pt x="53" y="126"/>
                      </a:lnTo>
                      <a:lnTo>
                        <a:pt x="53" y="123"/>
                      </a:lnTo>
                      <a:lnTo>
                        <a:pt x="55" y="121"/>
                      </a:lnTo>
                      <a:lnTo>
                        <a:pt x="57" y="119"/>
                      </a:lnTo>
                      <a:lnTo>
                        <a:pt x="60" y="118"/>
                      </a:lnTo>
                      <a:lnTo>
                        <a:pt x="60" y="118"/>
                      </a:lnTo>
                      <a:lnTo>
                        <a:pt x="65" y="116"/>
                      </a:lnTo>
                      <a:lnTo>
                        <a:pt x="66" y="113"/>
                      </a:lnTo>
                      <a:lnTo>
                        <a:pt x="69" y="108"/>
                      </a:lnTo>
                      <a:lnTo>
                        <a:pt x="69" y="108"/>
                      </a:lnTo>
                      <a:lnTo>
                        <a:pt x="72" y="106"/>
                      </a:lnTo>
                      <a:lnTo>
                        <a:pt x="76" y="105"/>
                      </a:lnTo>
                      <a:lnTo>
                        <a:pt x="85" y="102"/>
                      </a:lnTo>
                      <a:lnTo>
                        <a:pt x="85" y="102"/>
                      </a:lnTo>
                      <a:lnTo>
                        <a:pt x="88" y="100"/>
                      </a:lnTo>
                      <a:lnTo>
                        <a:pt x="89" y="97"/>
                      </a:lnTo>
                      <a:lnTo>
                        <a:pt x="88" y="90"/>
                      </a:lnTo>
                      <a:lnTo>
                        <a:pt x="88" y="90"/>
                      </a:lnTo>
                      <a:lnTo>
                        <a:pt x="89" y="84"/>
                      </a:lnTo>
                      <a:lnTo>
                        <a:pt x="91" y="74"/>
                      </a:lnTo>
                      <a:lnTo>
                        <a:pt x="91" y="74"/>
                      </a:lnTo>
                      <a:lnTo>
                        <a:pt x="92" y="71"/>
                      </a:lnTo>
                      <a:lnTo>
                        <a:pt x="94" y="71"/>
                      </a:lnTo>
                      <a:lnTo>
                        <a:pt x="95" y="74"/>
                      </a:lnTo>
                      <a:lnTo>
                        <a:pt x="97" y="76"/>
                      </a:lnTo>
                      <a:lnTo>
                        <a:pt x="97" y="76"/>
                      </a:lnTo>
                      <a:lnTo>
                        <a:pt x="98" y="76"/>
                      </a:lnTo>
                      <a:lnTo>
                        <a:pt x="99" y="76"/>
                      </a:lnTo>
                      <a:lnTo>
                        <a:pt x="102" y="71"/>
                      </a:lnTo>
                      <a:lnTo>
                        <a:pt x="105" y="67"/>
                      </a:lnTo>
                      <a:lnTo>
                        <a:pt x="107" y="64"/>
                      </a:lnTo>
                      <a:lnTo>
                        <a:pt x="107" y="64"/>
                      </a:lnTo>
                      <a:lnTo>
                        <a:pt x="110" y="61"/>
                      </a:lnTo>
                      <a:lnTo>
                        <a:pt x="113" y="57"/>
                      </a:lnTo>
                      <a:lnTo>
                        <a:pt x="117" y="47"/>
                      </a:lnTo>
                      <a:lnTo>
                        <a:pt x="117" y="47"/>
                      </a:lnTo>
                      <a:lnTo>
                        <a:pt x="120" y="41"/>
                      </a:lnTo>
                      <a:lnTo>
                        <a:pt x="118" y="38"/>
                      </a:lnTo>
                      <a:lnTo>
                        <a:pt x="115" y="3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82" name="Freeform 735"/>
                <p:cNvSpPr>
                  <a:spLocks/>
                </p:cNvSpPr>
                <p:nvPr/>
              </p:nvSpPr>
              <p:spPr bwMode="auto">
                <a:xfrm>
                  <a:off x="5218975" y="2900660"/>
                  <a:ext cx="92990" cy="57377"/>
                </a:xfrm>
                <a:custGeom>
                  <a:avLst/>
                  <a:gdLst>
                    <a:gd name="T0" fmla="*/ 85 w 94"/>
                    <a:gd name="T1" fmla="*/ 23 h 58"/>
                    <a:gd name="T2" fmla="*/ 85 w 94"/>
                    <a:gd name="T3" fmla="*/ 23 h 58"/>
                    <a:gd name="T4" fmla="*/ 93 w 94"/>
                    <a:gd name="T5" fmla="*/ 20 h 58"/>
                    <a:gd name="T6" fmla="*/ 93 w 94"/>
                    <a:gd name="T7" fmla="*/ 20 h 58"/>
                    <a:gd name="T8" fmla="*/ 91 w 94"/>
                    <a:gd name="T9" fmla="*/ 13 h 58"/>
                    <a:gd name="T10" fmla="*/ 91 w 94"/>
                    <a:gd name="T11" fmla="*/ 13 h 58"/>
                    <a:gd name="T12" fmla="*/ 90 w 94"/>
                    <a:gd name="T13" fmla="*/ 7 h 58"/>
                    <a:gd name="T14" fmla="*/ 93 w 94"/>
                    <a:gd name="T15" fmla="*/ 3 h 58"/>
                    <a:gd name="T16" fmla="*/ 93 w 94"/>
                    <a:gd name="T17" fmla="*/ 0 h 58"/>
                    <a:gd name="T18" fmla="*/ 94 w 94"/>
                    <a:gd name="T19" fmla="*/ 0 h 58"/>
                    <a:gd name="T20" fmla="*/ 93 w 94"/>
                    <a:gd name="T21" fmla="*/ 0 h 58"/>
                    <a:gd name="T22" fmla="*/ 93 w 94"/>
                    <a:gd name="T23" fmla="*/ 0 h 58"/>
                    <a:gd name="T24" fmla="*/ 87 w 94"/>
                    <a:gd name="T25" fmla="*/ 4 h 58"/>
                    <a:gd name="T26" fmla="*/ 77 w 94"/>
                    <a:gd name="T27" fmla="*/ 13 h 58"/>
                    <a:gd name="T28" fmla="*/ 67 w 94"/>
                    <a:gd name="T29" fmla="*/ 23 h 58"/>
                    <a:gd name="T30" fmla="*/ 61 w 94"/>
                    <a:gd name="T31" fmla="*/ 29 h 58"/>
                    <a:gd name="T32" fmla="*/ 61 w 94"/>
                    <a:gd name="T33" fmla="*/ 29 h 58"/>
                    <a:gd name="T34" fmla="*/ 59 w 94"/>
                    <a:gd name="T35" fmla="*/ 31 h 58"/>
                    <a:gd name="T36" fmla="*/ 58 w 94"/>
                    <a:gd name="T37" fmla="*/ 32 h 58"/>
                    <a:gd name="T38" fmla="*/ 51 w 94"/>
                    <a:gd name="T39" fmla="*/ 32 h 58"/>
                    <a:gd name="T40" fmla="*/ 36 w 94"/>
                    <a:gd name="T41" fmla="*/ 32 h 58"/>
                    <a:gd name="T42" fmla="*/ 36 w 94"/>
                    <a:gd name="T43" fmla="*/ 32 h 58"/>
                    <a:gd name="T44" fmla="*/ 27 w 94"/>
                    <a:gd name="T45" fmla="*/ 33 h 58"/>
                    <a:gd name="T46" fmla="*/ 20 w 94"/>
                    <a:gd name="T47" fmla="*/ 32 h 58"/>
                    <a:gd name="T48" fmla="*/ 20 w 94"/>
                    <a:gd name="T49" fmla="*/ 32 h 58"/>
                    <a:gd name="T50" fmla="*/ 14 w 94"/>
                    <a:gd name="T51" fmla="*/ 29 h 58"/>
                    <a:gd name="T52" fmla="*/ 12 w 94"/>
                    <a:gd name="T53" fmla="*/ 25 h 58"/>
                    <a:gd name="T54" fmla="*/ 12 w 94"/>
                    <a:gd name="T55" fmla="*/ 25 h 58"/>
                    <a:gd name="T56" fmla="*/ 6 w 94"/>
                    <a:gd name="T57" fmla="*/ 23 h 58"/>
                    <a:gd name="T58" fmla="*/ 1 w 94"/>
                    <a:gd name="T59" fmla="*/ 20 h 58"/>
                    <a:gd name="T60" fmla="*/ 1 w 94"/>
                    <a:gd name="T61" fmla="*/ 20 h 58"/>
                    <a:gd name="T62" fmla="*/ 0 w 94"/>
                    <a:gd name="T63" fmla="*/ 25 h 58"/>
                    <a:gd name="T64" fmla="*/ 1 w 94"/>
                    <a:gd name="T65" fmla="*/ 29 h 58"/>
                    <a:gd name="T66" fmla="*/ 4 w 94"/>
                    <a:gd name="T67" fmla="*/ 33 h 58"/>
                    <a:gd name="T68" fmla="*/ 7 w 94"/>
                    <a:gd name="T69" fmla="*/ 36 h 58"/>
                    <a:gd name="T70" fmla="*/ 7 w 94"/>
                    <a:gd name="T71" fmla="*/ 36 h 58"/>
                    <a:gd name="T72" fmla="*/ 10 w 94"/>
                    <a:gd name="T73" fmla="*/ 41 h 58"/>
                    <a:gd name="T74" fmla="*/ 12 w 94"/>
                    <a:gd name="T75" fmla="*/ 45 h 58"/>
                    <a:gd name="T76" fmla="*/ 14 w 94"/>
                    <a:gd name="T77" fmla="*/ 49 h 58"/>
                    <a:gd name="T78" fmla="*/ 17 w 94"/>
                    <a:gd name="T79" fmla="*/ 54 h 58"/>
                    <a:gd name="T80" fmla="*/ 17 w 94"/>
                    <a:gd name="T81" fmla="*/ 54 h 58"/>
                    <a:gd name="T82" fmla="*/ 20 w 94"/>
                    <a:gd name="T83" fmla="*/ 55 h 58"/>
                    <a:gd name="T84" fmla="*/ 25 w 94"/>
                    <a:gd name="T85" fmla="*/ 57 h 58"/>
                    <a:gd name="T86" fmla="*/ 36 w 94"/>
                    <a:gd name="T87" fmla="*/ 58 h 58"/>
                    <a:gd name="T88" fmla="*/ 67 w 94"/>
                    <a:gd name="T89" fmla="*/ 57 h 58"/>
                    <a:gd name="T90" fmla="*/ 67 w 94"/>
                    <a:gd name="T91" fmla="*/ 57 h 58"/>
                    <a:gd name="T92" fmla="*/ 71 w 94"/>
                    <a:gd name="T93" fmla="*/ 58 h 58"/>
                    <a:gd name="T94" fmla="*/ 71 w 94"/>
                    <a:gd name="T95" fmla="*/ 58 h 58"/>
                    <a:gd name="T96" fmla="*/ 81 w 94"/>
                    <a:gd name="T97" fmla="*/ 38 h 58"/>
                    <a:gd name="T98" fmla="*/ 81 w 94"/>
                    <a:gd name="T99" fmla="*/ 38 h 58"/>
                    <a:gd name="T100" fmla="*/ 82 w 94"/>
                    <a:gd name="T101" fmla="*/ 32 h 58"/>
                    <a:gd name="T102" fmla="*/ 84 w 94"/>
                    <a:gd name="T103" fmla="*/ 28 h 58"/>
                    <a:gd name="T104" fmla="*/ 84 w 94"/>
                    <a:gd name="T105" fmla="*/ 25 h 58"/>
                    <a:gd name="T106" fmla="*/ 85 w 94"/>
                    <a:gd name="T107" fmla="*/ 23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94" h="58">
                      <a:moveTo>
                        <a:pt x="85" y="23"/>
                      </a:moveTo>
                      <a:lnTo>
                        <a:pt x="85" y="23"/>
                      </a:lnTo>
                      <a:lnTo>
                        <a:pt x="93" y="20"/>
                      </a:lnTo>
                      <a:lnTo>
                        <a:pt x="93" y="20"/>
                      </a:lnTo>
                      <a:lnTo>
                        <a:pt x="91" y="13"/>
                      </a:lnTo>
                      <a:lnTo>
                        <a:pt x="91" y="13"/>
                      </a:lnTo>
                      <a:lnTo>
                        <a:pt x="90" y="7"/>
                      </a:lnTo>
                      <a:lnTo>
                        <a:pt x="93" y="3"/>
                      </a:lnTo>
                      <a:lnTo>
                        <a:pt x="93" y="0"/>
                      </a:lnTo>
                      <a:lnTo>
                        <a:pt x="94" y="0"/>
                      </a:lnTo>
                      <a:lnTo>
                        <a:pt x="93" y="0"/>
                      </a:lnTo>
                      <a:lnTo>
                        <a:pt x="93" y="0"/>
                      </a:lnTo>
                      <a:lnTo>
                        <a:pt x="87" y="4"/>
                      </a:lnTo>
                      <a:lnTo>
                        <a:pt x="77" y="13"/>
                      </a:lnTo>
                      <a:lnTo>
                        <a:pt x="67" y="23"/>
                      </a:lnTo>
                      <a:lnTo>
                        <a:pt x="61" y="29"/>
                      </a:lnTo>
                      <a:lnTo>
                        <a:pt x="61" y="29"/>
                      </a:lnTo>
                      <a:lnTo>
                        <a:pt x="59" y="31"/>
                      </a:lnTo>
                      <a:lnTo>
                        <a:pt x="58" y="32"/>
                      </a:lnTo>
                      <a:lnTo>
                        <a:pt x="51" y="32"/>
                      </a:lnTo>
                      <a:lnTo>
                        <a:pt x="36" y="32"/>
                      </a:lnTo>
                      <a:lnTo>
                        <a:pt x="36" y="32"/>
                      </a:lnTo>
                      <a:lnTo>
                        <a:pt x="27" y="33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14" y="29"/>
                      </a:lnTo>
                      <a:lnTo>
                        <a:pt x="12" y="25"/>
                      </a:lnTo>
                      <a:lnTo>
                        <a:pt x="12" y="25"/>
                      </a:lnTo>
                      <a:lnTo>
                        <a:pt x="6" y="23"/>
                      </a:lnTo>
                      <a:lnTo>
                        <a:pt x="1" y="20"/>
                      </a:lnTo>
                      <a:lnTo>
                        <a:pt x="1" y="20"/>
                      </a:lnTo>
                      <a:lnTo>
                        <a:pt x="0" y="25"/>
                      </a:lnTo>
                      <a:lnTo>
                        <a:pt x="1" y="29"/>
                      </a:lnTo>
                      <a:lnTo>
                        <a:pt x="4" y="33"/>
                      </a:lnTo>
                      <a:lnTo>
                        <a:pt x="7" y="36"/>
                      </a:lnTo>
                      <a:lnTo>
                        <a:pt x="7" y="36"/>
                      </a:lnTo>
                      <a:lnTo>
                        <a:pt x="10" y="41"/>
                      </a:lnTo>
                      <a:lnTo>
                        <a:pt x="12" y="45"/>
                      </a:lnTo>
                      <a:lnTo>
                        <a:pt x="14" y="49"/>
                      </a:lnTo>
                      <a:lnTo>
                        <a:pt x="17" y="54"/>
                      </a:lnTo>
                      <a:lnTo>
                        <a:pt x="17" y="54"/>
                      </a:lnTo>
                      <a:lnTo>
                        <a:pt x="20" y="55"/>
                      </a:lnTo>
                      <a:lnTo>
                        <a:pt x="25" y="57"/>
                      </a:lnTo>
                      <a:lnTo>
                        <a:pt x="36" y="58"/>
                      </a:lnTo>
                      <a:lnTo>
                        <a:pt x="67" y="57"/>
                      </a:lnTo>
                      <a:lnTo>
                        <a:pt x="67" y="57"/>
                      </a:lnTo>
                      <a:lnTo>
                        <a:pt x="71" y="58"/>
                      </a:lnTo>
                      <a:lnTo>
                        <a:pt x="71" y="58"/>
                      </a:lnTo>
                      <a:lnTo>
                        <a:pt x="81" y="38"/>
                      </a:lnTo>
                      <a:lnTo>
                        <a:pt x="81" y="38"/>
                      </a:lnTo>
                      <a:lnTo>
                        <a:pt x="82" y="32"/>
                      </a:lnTo>
                      <a:lnTo>
                        <a:pt x="84" y="28"/>
                      </a:lnTo>
                      <a:lnTo>
                        <a:pt x="84" y="25"/>
                      </a:lnTo>
                      <a:lnTo>
                        <a:pt x="85" y="2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83" name="Freeform 736"/>
                <p:cNvSpPr>
                  <a:spLocks/>
                </p:cNvSpPr>
                <p:nvPr/>
              </p:nvSpPr>
              <p:spPr bwMode="auto">
                <a:xfrm>
                  <a:off x="5218975" y="2900660"/>
                  <a:ext cx="92990" cy="57377"/>
                </a:xfrm>
                <a:custGeom>
                  <a:avLst/>
                  <a:gdLst>
                    <a:gd name="T0" fmla="*/ 85 w 94"/>
                    <a:gd name="T1" fmla="*/ 23 h 58"/>
                    <a:gd name="T2" fmla="*/ 85 w 94"/>
                    <a:gd name="T3" fmla="*/ 23 h 58"/>
                    <a:gd name="T4" fmla="*/ 93 w 94"/>
                    <a:gd name="T5" fmla="*/ 20 h 58"/>
                    <a:gd name="T6" fmla="*/ 93 w 94"/>
                    <a:gd name="T7" fmla="*/ 20 h 58"/>
                    <a:gd name="T8" fmla="*/ 91 w 94"/>
                    <a:gd name="T9" fmla="*/ 13 h 58"/>
                    <a:gd name="T10" fmla="*/ 91 w 94"/>
                    <a:gd name="T11" fmla="*/ 13 h 58"/>
                    <a:gd name="T12" fmla="*/ 90 w 94"/>
                    <a:gd name="T13" fmla="*/ 7 h 58"/>
                    <a:gd name="T14" fmla="*/ 93 w 94"/>
                    <a:gd name="T15" fmla="*/ 3 h 58"/>
                    <a:gd name="T16" fmla="*/ 93 w 94"/>
                    <a:gd name="T17" fmla="*/ 0 h 58"/>
                    <a:gd name="T18" fmla="*/ 94 w 94"/>
                    <a:gd name="T19" fmla="*/ 0 h 58"/>
                    <a:gd name="T20" fmla="*/ 93 w 94"/>
                    <a:gd name="T21" fmla="*/ 0 h 58"/>
                    <a:gd name="T22" fmla="*/ 93 w 94"/>
                    <a:gd name="T23" fmla="*/ 0 h 58"/>
                    <a:gd name="T24" fmla="*/ 87 w 94"/>
                    <a:gd name="T25" fmla="*/ 4 h 58"/>
                    <a:gd name="T26" fmla="*/ 77 w 94"/>
                    <a:gd name="T27" fmla="*/ 13 h 58"/>
                    <a:gd name="T28" fmla="*/ 67 w 94"/>
                    <a:gd name="T29" fmla="*/ 23 h 58"/>
                    <a:gd name="T30" fmla="*/ 61 w 94"/>
                    <a:gd name="T31" fmla="*/ 29 h 58"/>
                    <a:gd name="T32" fmla="*/ 61 w 94"/>
                    <a:gd name="T33" fmla="*/ 29 h 58"/>
                    <a:gd name="T34" fmla="*/ 59 w 94"/>
                    <a:gd name="T35" fmla="*/ 31 h 58"/>
                    <a:gd name="T36" fmla="*/ 58 w 94"/>
                    <a:gd name="T37" fmla="*/ 32 h 58"/>
                    <a:gd name="T38" fmla="*/ 51 w 94"/>
                    <a:gd name="T39" fmla="*/ 32 h 58"/>
                    <a:gd name="T40" fmla="*/ 36 w 94"/>
                    <a:gd name="T41" fmla="*/ 32 h 58"/>
                    <a:gd name="T42" fmla="*/ 36 w 94"/>
                    <a:gd name="T43" fmla="*/ 32 h 58"/>
                    <a:gd name="T44" fmla="*/ 27 w 94"/>
                    <a:gd name="T45" fmla="*/ 33 h 58"/>
                    <a:gd name="T46" fmla="*/ 20 w 94"/>
                    <a:gd name="T47" fmla="*/ 32 h 58"/>
                    <a:gd name="T48" fmla="*/ 20 w 94"/>
                    <a:gd name="T49" fmla="*/ 32 h 58"/>
                    <a:gd name="T50" fmla="*/ 14 w 94"/>
                    <a:gd name="T51" fmla="*/ 29 h 58"/>
                    <a:gd name="T52" fmla="*/ 12 w 94"/>
                    <a:gd name="T53" fmla="*/ 25 h 58"/>
                    <a:gd name="T54" fmla="*/ 12 w 94"/>
                    <a:gd name="T55" fmla="*/ 25 h 58"/>
                    <a:gd name="T56" fmla="*/ 6 w 94"/>
                    <a:gd name="T57" fmla="*/ 23 h 58"/>
                    <a:gd name="T58" fmla="*/ 1 w 94"/>
                    <a:gd name="T59" fmla="*/ 20 h 58"/>
                    <a:gd name="T60" fmla="*/ 1 w 94"/>
                    <a:gd name="T61" fmla="*/ 20 h 58"/>
                    <a:gd name="T62" fmla="*/ 0 w 94"/>
                    <a:gd name="T63" fmla="*/ 25 h 58"/>
                    <a:gd name="T64" fmla="*/ 1 w 94"/>
                    <a:gd name="T65" fmla="*/ 29 h 58"/>
                    <a:gd name="T66" fmla="*/ 4 w 94"/>
                    <a:gd name="T67" fmla="*/ 33 h 58"/>
                    <a:gd name="T68" fmla="*/ 7 w 94"/>
                    <a:gd name="T69" fmla="*/ 36 h 58"/>
                    <a:gd name="T70" fmla="*/ 7 w 94"/>
                    <a:gd name="T71" fmla="*/ 36 h 58"/>
                    <a:gd name="T72" fmla="*/ 10 w 94"/>
                    <a:gd name="T73" fmla="*/ 41 h 58"/>
                    <a:gd name="T74" fmla="*/ 12 w 94"/>
                    <a:gd name="T75" fmla="*/ 45 h 58"/>
                    <a:gd name="T76" fmla="*/ 14 w 94"/>
                    <a:gd name="T77" fmla="*/ 49 h 58"/>
                    <a:gd name="T78" fmla="*/ 17 w 94"/>
                    <a:gd name="T79" fmla="*/ 54 h 58"/>
                    <a:gd name="T80" fmla="*/ 17 w 94"/>
                    <a:gd name="T81" fmla="*/ 54 h 58"/>
                    <a:gd name="T82" fmla="*/ 20 w 94"/>
                    <a:gd name="T83" fmla="*/ 55 h 58"/>
                    <a:gd name="T84" fmla="*/ 25 w 94"/>
                    <a:gd name="T85" fmla="*/ 57 h 58"/>
                    <a:gd name="T86" fmla="*/ 36 w 94"/>
                    <a:gd name="T87" fmla="*/ 58 h 58"/>
                    <a:gd name="T88" fmla="*/ 67 w 94"/>
                    <a:gd name="T89" fmla="*/ 57 h 58"/>
                    <a:gd name="T90" fmla="*/ 67 w 94"/>
                    <a:gd name="T91" fmla="*/ 57 h 58"/>
                    <a:gd name="T92" fmla="*/ 71 w 94"/>
                    <a:gd name="T93" fmla="*/ 58 h 58"/>
                    <a:gd name="T94" fmla="*/ 71 w 94"/>
                    <a:gd name="T95" fmla="*/ 58 h 58"/>
                    <a:gd name="T96" fmla="*/ 81 w 94"/>
                    <a:gd name="T97" fmla="*/ 38 h 58"/>
                    <a:gd name="T98" fmla="*/ 81 w 94"/>
                    <a:gd name="T99" fmla="*/ 38 h 58"/>
                    <a:gd name="T100" fmla="*/ 82 w 94"/>
                    <a:gd name="T101" fmla="*/ 32 h 58"/>
                    <a:gd name="T102" fmla="*/ 84 w 94"/>
                    <a:gd name="T103" fmla="*/ 28 h 58"/>
                    <a:gd name="T104" fmla="*/ 84 w 94"/>
                    <a:gd name="T105" fmla="*/ 25 h 58"/>
                    <a:gd name="T106" fmla="*/ 85 w 94"/>
                    <a:gd name="T107" fmla="*/ 23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94" h="58">
                      <a:moveTo>
                        <a:pt x="85" y="23"/>
                      </a:moveTo>
                      <a:lnTo>
                        <a:pt x="85" y="23"/>
                      </a:lnTo>
                      <a:lnTo>
                        <a:pt x="93" y="20"/>
                      </a:lnTo>
                      <a:lnTo>
                        <a:pt x="93" y="20"/>
                      </a:lnTo>
                      <a:lnTo>
                        <a:pt x="91" y="13"/>
                      </a:lnTo>
                      <a:lnTo>
                        <a:pt x="91" y="13"/>
                      </a:lnTo>
                      <a:lnTo>
                        <a:pt x="90" y="7"/>
                      </a:lnTo>
                      <a:lnTo>
                        <a:pt x="93" y="3"/>
                      </a:lnTo>
                      <a:lnTo>
                        <a:pt x="93" y="0"/>
                      </a:lnTo>
                      <a:lnTo>
                        <a:pt x="94" y="0"/>
                      </a:lnTo>
                      <a:lnTo>
                        <a:pt x="93" y="0"/>
                      </a:lnTo>
                      <a:lnTo>
                        <a:pt x="93" y="0"/>
                      </a:lnTo>
                      <a:lnTo>
                        <a:pt x="87" y="4"/>
                      </a:lnTo>
                      <a:lnTo>
                        <a:pt x="77" y="13"/>
                      </a:lnTo>
                      <a:lnTo>
                        <a:pt x="67" y="23"/>
                      </a:lnTo>
                      <a:lnTo>
                        <a:pt x="61" y="29"/>
                      </a:lnTo>
                      <a:lnTo>
                        <a:pt x="61" y="29"/>
                      </a:lnTo>
                      <a:lnTo>
                        <a:pt x="59" y="31"/>
                      </a:lnTo>
                      <a:lnTo>
                        <a:pt x="58" y="32"/>
                      </a:lnTo>
                      <a:lnTo>
                        <a:pt x="51" y="32"/>
                      </a:lnTo>
                      <a:lnTo>
                        <a:pt x="36" y="32"/>
                      </a:lnTo>
                      <a:lnTo>
                        <a:pt x="36" y="32"/>
                      </a:lnTo>
                      <a:lnTo>
                        <a:pt x="27" y="33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14" y="29"/>
                      </a:lnTo>
                      <a:lnTo>
                        <a:pt x="12" y="25"/>
                      </a:lnTo>
                      <a:lnTo>
                        <a:pt x="12" y="25"/>
                      </a:lnTo>
                      <a:lnTo>
                        <a:pt x="6" y="23"/>
                      </a:lnTo>
                      <a:lnTo>
                        <a:pt x="1" y="20"/>
                      </a:lnTo>
                      <a:lnTo>
                        <a:pt x="1" y="20"/>
                      </a:lnTo>
                      <a:lnTo>
                        <a:pt x="0" y="25"/>
                      </a:lnTo>
                      <a:lnTo>
                        <a:pt x="1" y="29"/>
                      </a:lnTo>
                      <a:lnTo>
                        <a:pt x="4" y="33"/>
                      </a:lnTo>
                      <a:lnTo>
                        <a:pt x="7" y="36"/>
                      </a:lnTo>
                      <a:lnTo>
                        <a:pt x="7" y="36"/>
                      </a:lnTo>
                      <a:lnTo>
                        <a:pt x="10" y="41"/>
                      </a:lnTo>
                      <a:lnTo>
                        <a:pt x="12" y="45"/>
                      </a:lnTo>
                      <a:lnTo>
                        <a:pt x="14" y="49"/>
                      </a:lnTo>
                      <a:lnTo>
                        <a:pt x="17" y="54"/>
                      </a:lnTo>
                      <a:lnTo>
                        <a:pt x="17" y="54"/>
                      </a:lnTo>
                      <a:lnTo>
                        <a:pt x="20" y="55"/>
                      </a:lnTo>
                      <a:lnTo>
                        <a:pt x="25" y="57"/>
                      </a:lnTo>
                      <a:lnTo>
                        <a:pt x="36" y="58"/>
                      </a:lnTo>
                      <a:lnTo>
                        <a:pt x="67" y="57"/>
                      </a:lnTo>
                      <a:lnTo>
                        <a:pt x="67" y="57"/>
                      </a:lnTo>
                      <a:lnTo>
                        <a:pt x="71" y="58"/>
                      </a:lnTo>
                      <a:lnTo>
                        <a:pt x="71" y="58"/>
                      </a:lnTo>
                      <a:lnTo>
                        <a:pt x="81" y="38"/>
                      </a:lnTo>
                      <a:lnTo>
                        <a:pt x="81" y="38"/>
                      </a:lnTo>
                      <a:lnTo>
                        <a:pt x="82" y="32"/>
                      </a:lnTo>
                      <a:lnTo>
                        <a:pt x="84" y="28"/>
                      </a:lnTo>
                      <a:lnTo>
                        <a:pt x="84" y="25"/>
                      </a:lnTo>
                      <a:lnTo>
                        <a:pt x="85" y="2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84" name="Freeform 737"/>
                <p:cNvSpPr>
                  <a:spLocks/>
                </p:cNvSpPr>
                <p:nvPr/>
              </p:nvSpPr>
              <p:spPr bwMode="auto">
                <a:xfrm>
                  <a:off x="5048823" y="2558376"/>
                  <a:ext cx="112776" cy="61334"/>
                </a:xfrm>
                <a:custGeom>
                  <a:avLst/>
                  <a:gdLst>
                    <a:gd name="T0" fmla="*/ 94 w 114"/>
                    <a:gd name="T1" fmla="*/ 53 h 62"/>
                    <a:gd name="T2" fmla="*/ 94 w 114"/>
                    <a:gd name="T3" fmla="*/ 53 h 62"/>
                    <a:gd name="T4" fmla="*/ 104 w 114"/>
                    <a:gd name="T5" fmla="*/ 56 h 62"/>
                    <a:gd name="T6" fmla="*/ 108 w 114"/>
                    <a:gd name="T7" fmla="*/ 58 h 62"/>
                    <a:gd name="T8" fmla="*/ 113 w 114"/>
                    <a:gd name="T9" fmla="*/ 56 h 62"/>
                    <a:gd name="T10" fmla="*/ 113 w 114"/>
                    <a:gd name="T11" fmla="*/ 56 h 62"/>
                    <a:gd name="T12" fmla="*/ 113 w 114"/>
                    <a:gd name="T13" fmla="*/ 53 h 62"/>
                    <a:gd name="T14" fmla="*/ 113 w 114"/>
                    <a:gd name="T15" fmla="*/ 49 h 62"/>
                    <a:gd name="T16" fmla="*/ 113 w 114"/>
                    <a:gd name="T17" fmla="*/ 43 h 62"/>
                    <a:gd name="T18" fmla="*/ 114 w 114"/>
                    <a:gd name="T19" fmla="*/ 39 h 62"/>
                    <a:gd name="T20" fmla="*/ 114 w 114"/>
                    <a:gd name="T21" fmla="*/ 39 h 62"/>
                    <a:gd name="T22" fmla="*/ 105 w 114"/>
                    <a:gd name="T23" fmla="*/ 33 h 62"/>
                    <a:gd name="T24" fmla="*/ 97 w 114"/>
                    <a:gd name="T25" fmla="*/ 29 h 62"/>
                    <a:gd name="T26" fmla="*/ 97 w 114"/>
                    <a:gd name="T27" fmla="*/ 29 h 62"/>
                    <a:gd name="T28" fmla="*/ 68 w 114"/>
                    <a:gd name="T29" fmla="*/ 20 h 62"/>
                    <a:gd name="T30" fmla="*/ 50 w 114"/>
                    <a:gd name="T31" fmla="*/ 16 h 62"/>
                    <a:gd name="T32" fmla="*/ 40 w 114"/>
                    <a:gd name="T33" fmla="*/ 11 h 62"/>
                    <a:gd name="T34" fmla="*/ 40 w 114"/>
                    <a:gd name="T35" fmla="*/ 11 h 62"/>
                    <a:gd name="T36" fmla="*/ 24 w 114"/>
                    <a:gd name="T37" fmla="*/ 3 h 62"/>
                    <a:gd name="T38" fmla="*/ 18 w 114"/>
                    <a:gd name="T39" fmla="*/ 0 h 62"/>
                    <a:gd name="T40" fmla="*/ 13 w 114"/>
                    <a:gd name="T41" fmla="*/ 0 h 62"/>
                    <a:gd name="T42" fmla="*/ 13 w 114"/>
                    <a:gd name="T43" fmla="*/ 0 h 62"/>
                    <a:gd name="T44" fmla="*/ 0 w 114"/>
                    <a:gd name="T45" fmla="*/ 6 h 62"/>
                    <a:gd name="T46" fmla="*/ 0 w 114"/>
                    <a:gd name="T47" fmla="*/ 6 h 62"/>
                    <a:gd name="T48" fmla="*/ 1 w 114"/>
                    <a:gd name="T49" fmla="*/ 9 h 62"/>
                    <a:gd name="T50" fmla="*/ 4 w 114"/>
                    <a:gd name="T51" fmla="*/ 10 h 62"/>
                    <a:gd name="T52" fmla="*/ 13 w 114"/>
                    <a:gd name="T53" fmla="*/ 11 h 62"/>
                    <a:gd name="T54" fmla="*/ 13 w 114"/>
                    <a:gd name="T55" fmla="*/ 11 h 62"/>
                    <a:gd name="T56" fmla="*/ 17 w 114"/>
                    <a:gd name="T57" fmla="*/ 11 h 62"/>
                    <a:gd name="T58" fmla="*/ 18 w 114"/>
                    <a:gd name="T59" fmla="*/ 14 h 62"/>
                    <a:gd name="T60" fmla="*/ 21 w 114"/>
                    <a:gd name="T61" fmla="*/ 23 h 62"/>
                    <a:gd name="T62" fmla="*/ 21 w 114"/>
                    <a:gd name="T63" fmla="*/ 23 h 62"/>
                    <a:gd name="T64" fmla="*/ 27 w 114"/>
                    <a:gd name="T65" fmla="*/ 32 h 62"/>
                    <a:gd name="T66" fmla="*/ 29 w 114"/>
                    <a:gd name="T67" fmla="*/ 36 h 62"/>
                    <a:gd name="T68" fmla="*/ 29 w 114"/>
                    <a:gd name="T69" fmla="*/ 40 h 62"/>
                    <a:gd name="T70" fmla="*/ 29 w 114"/>
                    <a:gd name="T71" fmla="*/ 40 h 62"/>
                    <a:gd name="T72" fmla="*/ 27 w 114"/>
                    <a:gd name="T73" fmla="*/ 45 h 62"/>
                    <a:gd name="T74" fmla="*/ 27 w 114"/>
                    <a:gd name="T75" fmla="*/ 45 h 62"/>
                    <a:gd name="T76" fmla="*/ 40 w 114"/>
                    <a:gd name="T77" fmla="*/ 51 h 62"/>
                    <a:gd name="T78" fmla="*/ 40 w 114"/>
                    <a:gd name="T79" fmla="*/ 51 h 62"/>
                    <a:gd name="T80" fmla="*/ 50 w 114"/>
                    <a:gd name="T81" fmla="*/ 56 h 62"/>
                    <a:gd name="T82" fmla="*/ 55 w 114"/>
                    <a:gd name="T83" fmla="*/ 59 h 62"/>
                    <a:gd name="T84" fmla="*/ 56 w 114"/>
                    <a:gd name="T85" fmla="*/ 62 h 62"/>
                    <a:gd name="T86" fmla="*/ 56 w 114"/>
                    <a:gd name="T87" fmla="*/ 62 h 62"/>
                    <a:gd name="T88" fmla="*/ 68 w 114"/>
                    <a:gd name="T89" fmla="*/ 59 h 62"/>
                    <a:gd name="T90" fmla="*/ 78 w 114"/>
                    <a:gd name="T91" fmla="*/ 58 h 62"/>
                    <a:gd name="T92" fmla="*/ 78 w 114"/>
                    <a:gd name="T93" fmla="*/ 58 h 62"/>
                    <a:gd name="T94" fmla="*/ 82 w 114"/>
                    <a:gd name="T95" fmla="*/ 58 h 62"/>
                    <a:gd name="T96" fmla="*/ 86 w 114"/>
                    <a:gd name="T97" fmla="*/ 56 h 62"/>
                    <a:gd name="T98" fmla="*/ 86 w 114"/>
                    <a:gd name="T99" fmla="*/ 56 h 62"/>
                    <a:gd name="T100" fmla="*/ 89 w 114"/>
                    <a:gd name="T101" fmla="*/ 55 h 62"/>
                    <a:gd name="T102" fmla="*/ 94 w 114"/>
                    <a:gd name="T103" fmla="*/ 53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14" h="62">
                      <a:moveTo>
                        <a:pt x="94" y="53"/>
                      </a:moveTo>
                      <a:lnTo>
                        <a:pt x="94" y="53"/>
                      </a:lnTo>
                      <a:lnTo>
                        <a:pt x="104" y="56"/>
                      </a:lnTo>
                      <a:lnTo>
                        <a:pt x="108" y="58"/>
                      </a:lnTo>
                      <a:lnTo>
                        <a:pt x="113" y="56"/>
                      </a:lnTo>
                      <a:lnTo>
                        <a:pt x="113" y="56"/>
                      </a:lnTo>
                      <a:lnTo>
                        <a:pt x="113" y="53"/>
                      </a:lnTo>
                      <a:lnTo>
                        <a:pt x="113" y="49"/>
                      </a:lnTo>
                      <a:lnTo>
                        <a:pt x="113" y="43"/>
                      </a:lnTo>
                      <a:lnTo>
                        <a:pt x="114" y="39"/>
                      </a:lnTo>
                      <a:lnTo>
                        <a:pt x="114" y="39"/>
                      </a:lnTo>
                      <a:lnTo>
                        <a:pt x="105" y="33"/>
                      </a:lnTo>
                      <a:lnTo>
                        <a:pt x="97" y="29"/>
                      </a:lnTo>
                      <a:lnTo>
                        <a:pt x="97" y="29"/>
                      </a:lnTo>
                      <a:lnTo>
                        <a:pt x="68" y="20"/>
                      </a:lnTo>
                      <a:lnTo>
                        <a:pt x="50" y="16"/>
                      </a:lnTo>
                      <a:lnTo>
                        <a:pt x="40" y="11"/>
                      </a:lnTo>
                      <a:lnTo>
                        <a:pt x="40" y="11"/>
                      </a:lnTo>
                      <a:lnTo>
                        <a:pt x="24" y="3"/>
                      </a:lnTo>
                      <a:lnTo>
                        <a:pt x="18" y="0"/>
                      </a:lnTo>
                      <a:lnTo>
                        <a:pt x="13" y="0"/>
                      </a:lnTo>
                      <a:lnTo>
                        <a:pt x="13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1" y="9"/>
                      </a:lnTo>
                      <a:lnTo>
                        <a:pt x="4" y="10"/>
                      </a:lnTo>
                      <a:lnTo>
                        <a:pt x="13" y="11"/>
                      </a:lnTo>
                      <a:lnTo>
                        <a:pt x="13" y="11"/>
                      </a:lnTo>
                      <a:lnTo>
                        <a:pt x="17" y="11"/>
                      </a:lnTo>
                      <a:lnTo>
                        <a:pt x="18" y="14"/>
                      </a:lnTo>
                      <a:lnTo>
                        <a:pt x="21" y="23"/>
                      </a:lnTo>
                      <a:lnTo>
                        <a:pt x="21" y="23"/>
                      </a:lnTo>
                      <a:lnTo>
                        <a:pt x="27" y="32"/>
                      </a:lnTo>
                      <a:lnTo>
                        <a:pt x="29" y="36"/>
                      </a:lnTo>
                      <a:lnTo>
                        <a:pt x="29" y="40"/>
                      </a:lnTo>
                      <a:lnTo>
                        <a:pt x="29" y="40"/>
                      </a:lnTo>
                      <a:lnTo>
                        <a:pt x="27" y="45"/>
                      </a:lnTo>
                      <a:lnTo>
                        <a:pt x="27" y="45"/>
                      </a:lnTo>
                      <a:lnTo>
                        <a:pt x="40" y="51"/>
                      </a:lnTo>
                      <a:lnTo>
                        <a:pt x="40" y="51"/>
                      </a:lnTo>
                      <a:lnTo>
                        <a:pt x="50" y="56"/>
                      </a:lnTo>
                      <a:lnTo>
                        <a:pt x="55" y="59"/>
                      </a:lnTo>
                      <a:lnTo>
                        <a:pt x="56" y="62"/>
                      </a:lnTo>
                      <a:lnTo>
                        <a:pt x="56" y="62"/>
                      </a:lnTo>
                      <a:lnTo>
                        <a:pt x="68" y="59"/>
                      </a:lnTo>
                      <a:lnTo>
                        <a:pt x="78" y="58"/>
                      </a:lnTo>
                      <a:lnTo>
                        <a:pt x="78" y="58"/>
                      </a:lnTo>
                      <a:lnTo>
                        <a:pt x="82" y="58"/>
                      </a:lnTo>
                      <a:lnTo>
                        <a:pt x="86" y="56"/>
                      </a:lnTo>
                      <a:lnTo>
                        <a:pt x="86" y="56"/>
                      </a:lnTo>
                      <a:lnTo>
                        <a:pt x="89" y="55"/>
                      </a:lnTo>
                      <a:lnTo>
                        <a:pt x="94" y="5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85" name="Freeform 738"/>
                <p:cNvSpPr>
                  <a:spLocks/>
                </p:cNvSpPr>
                <p:nvPr/>
              </p:nvSpPr>
              <p:spPr bwMode="auto">
                <a:xfrm>
                  <a:off x="5048823" y="2558376"/>
                  <a:ext cx="112776" cy="61334"/>
                </a:xfrm>
                <a:custGeom>
                  <a:avLst/>
                  <a:gdLst>
                    <a:gd name="T0" fmla="*/ 94 w 114"/>
                    <a:gd name="T1" fmla="*/ 53 h 62"/>
                    <a:gd name="T2" fmla="*/ 94 w 114"/>
                    <a:gd name="T3" fmla="*/ 53 h 62"/>
                    <a:gd name="T4" fmla="*/ 104 w 114"/>
                    <a:gd name="T5" fmla="*/ 56 h 62"/>
                    <a:gd name="T6" fmla="*/ 108 w 114"/>
                    <a:gd name="T7" fmla="*/ 58 h 62"/>
                    <a:gd name="T8" fmla="*/ 113 w 114"/>
                    <a:gd name="T9" fmla="*/ 56 h 62"/>
                    <a:gd name="T10" fmla="*/ 113 w 114"/>
                    <a:gd name="T11" fmla="*/ 56 h 62"/>
                    <a:gd name="T12" fmla="*/ 113 w 114"/>
                    <a:gd name="T13" fmla="*/ 53 h 62"/>
                    <a:gd name="T14" fmla="*/ 113 w 114"/>
                    <a:gd name="T15" fmla="*/ 49 h 62"/>
                    <a:gd name="T16" fmla="*/ 113 w 114"/>
                    <a:gd name="T17" fmla="*/ 43 h 62"/>
                    <a:gd name="T18" fmla="*/ 114 w 114"/>
                    <a:gd name="T19" fmla="*/ 39 h 62"/>
                    <a:gd name="T20" fmla="*/ 114 w 114"/>
                    <a:gd name="T21" fmla="*/ 39 h 62"/>
                    <a:gd name="T22" fmla="*/ 105 w 114"/>
                    <a:gd name="T23" fmla="*/ 33 h 62"/>
                    <a:gd name="T24" fmla="*/ 97 w 114"/>
                    <a:gd name="T25" fmla="*/ 29 h 62"/>
                    <a:gd name="T26" fmla="*/ 97 w 114"/>
                    <a:gd name="T27" fmla="*/ 29 h 62"/>
                    <a:gd name="T28" fmla="*/ 68 w 114"/>
                    <a:gd name="T29" fmla="*/ 20 h 62"/>
                    <a:gd name="T30" fmla="*/ 50 w 114"/>
                    <a:gd name="T31" fmla="*/ 16 h 62"/>
                    <a:gd name="T32" fmla="*/ 40 w 114"/>
                    <a:gd name="T33" fmla="*/ 11 h 62"/>
                    <a:gd name="T34" fmla="*/ 40 w 114"/>
                    <a:gd name="T35" fmla="*/ 11 h 62"/>
                    <a:gd name="T36" fmla="*/ 24 w 114"/>
                    <a:gd name="T37" fmla="*/ 3 h 62"/>
                    <a:gd name="T38" fmla="*/ 18 w 114"/>
                    <a:gd name="T39" fmla="*/ 0 h 62"/>
                    <a:gd name="T40" fmla="*/ 13 w 114"/>
                    <a:gd name="T41" fmla="*/ 0 h 62"/>
                    <a:gd name="T42" fmla="*/ 13 w 114"/>
                    <a:gd name="T43" fmla="*/ 0 h 62"/>
                    <a:gd name="T44" fmla="*/ 0 w 114"/>
                    <a:gd name="T45" fmla="*/ 6 h 62"/>
                    <a:gd name="T46" fmla="*/ 0 w 114"/>
                    <a:gd name="T47" fmla="*/ 6 h 62"/>
                    <a:gd name="T48" fmla="*/ 1 w 114"/>
                    <a:gd name="T49" fmla="*/ 9 h 62"/>
                    <a:gd name="T50" fmla="*/ 4 w 114"/>
                    <a:gd name="T51" fmla="*/ 10 h 62"/>
                    <a:gd name="T52" fmla="*/ 13 w 114"/>
                    <a:gd name="T53" fmla="*/ 11 h 62"/>
                    <a:gd name="T54" fmla="*/ 13 w 114"/>
                    <a:gd name="T55" fmla="*/ 11 h 62"/>
                    <a:gd name="T56" fmla="*/ 17 w 114"/>
                    <a:gd name="T57" fmla="*/ 11 h 62"/>
                    <a:gd name="T58" fmla="*/ 18 w 114"/>
                    <a:gd name="T59" fmla="*/ 14 h 62"/>
                    <a:gd name="T60" fmla="*/ 21 w 114"/>
                    <a:gd name="T61" fmla="*/ 23 h 62"/>
                    <a:gd name="T62" fmla="*/ 21 w 114"/>
                    <a:gd name="T63" fmla="*/ 23 h 62"/>
                    <a:gd name="T64" fmla="*/ 27 w 114"/>
                    <a:gd name="T65" fmla="*/ 32 h 62"/>
                    <a:gd name="T66" fmla="*/ 29 w 114"/>
                    <a:gd name="T67" fmla="*/ 36 h 62"/>
                    <a:gd name="T68" fmla="*/ 29 w 114"/>
                    <a:gd name="T69" fmla="*/ 40 h 62"/>
                    <a:gd name="T70" fmla="*/ 29 w 114"/>
                    <a:gd name="T71" fmla="*/ 40 h 62"/>
                    <a:gd name="T72" fmla="*/ 27 w 114"/>
                    <a:gd name="T73" fmla="*/ 45 h 62"/>
                    <a:gd name="T74" fmla="*/ 27 w 114"/>
                    <a:gd name="T75" fmla="*/ 45 h 62"/>
                    <a:gd name="T76" fmla="*/ 40 w 114"/>
                    <a:gd name="T77" fmla="*/ 51 h 62"/>
                    <a:gd name="T78" fmla="*/ 40 w 114"/>
                    <a:gd name="T79" fmla="*/ 51 h 62"/>
                    <a:gd name="T80" fmla="*/ 50 w 114"/>
                    <a:gd name="T81" fmla="*/ 56 h 62"/>
                    <a:gd name="T82" fmla="*/ 55 w 114"/>
                    <a:gd name="T83" fmla="*/ 59 h 62"/>
                    <a:gd name="T84" fmla="*/ 56 w 114"/>
                    <a:gd name="T85" fmla="*/ 62 h 62"/>
                    <a:gd name="T86" fmla="*/ 56 w 114"/>
                    <a:gd name="T87" fmla="*/ 62 h 62"/>
                    <a:gd name="T88" fmla="*/ 68 w 114"/>
                    <a:gd name="T89" fmla="*/ 59 h 62"/>
                    <a:gd name="T90" fmla="*/ 78 w 114"/>
                    <a:gd name="T91" fmla="*/ 58 h 62"/>
                    <a:gd name="T92" fmla="*/ 78 w 114"/>
                    <a:gd name="T93" fmla="*/ 58 h 62"/>
                    <a:gd name="T94" fmla="*/ 82 w 114"/>
                    <a:gd name="T95" fmla="*/ 58 h 62"/>
                    <a:gd name="T96" fmla="*/ 86 w 114"/>
                    <a:gd name="T97" fmla="*/ 56 h 62"/>
                    <a:gd name="T98" fmla="*/ 86 w 114"/>
                    <a:gd name="T99" fmla="*/ 56 h 62"/>
                    <a:gd name="T100" fmla="*/ 89 w 114"/>
                    <a:gd name="T101" fmla="*/ 55 h 62"/>
                    <a:gd name="T102" fmla="*/ 94 w 114"/>
                    <a:gd name="T103" fmla="*/ 53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14" h="62">
                      <a:moveTo>
                        <a:pt x="94" y="53"/>
                      </a:moveTo>
                      <a:lnTo>
                        <a:pt x="94" y="53"/>
                      </a:lnTo>
                      <a:lnTo>
                        <a:pt x="104" y="56"/>
                      </a:lnTo>
                      <a:lnTo>
                        <a:pt x="108" y="58"/>
                      </a:lnTo>
                      <a:lnTo>
                        <a:pt x="113" y="56"/>
                      </a:lnTo>
                      <a:lnTo>
                        <a:pt x="113" y="56"/>
                      </a:lnTo>
                      <a:lnTo>
                        <a:pt x="113" y="53"/>
                      </a:lnTo>
                      <a:lnTo>
                        <a:pt x="113" y="49"/>
                      </a:lnTo>
                      <a:lnTo>
                        <a:pt x="113" y="43"/>
                      </a:lnTo>
                      <a:lnTo>
                        <a:pt x="114" y="39"/>
                      </a:lnTo>
                      <a:lnTo>
                        <a:pt x="114" y="39"/>
                      </a:lnTo>
                      <a:lnTo>
                        <a:pt x="105" y="33"/>
                      </a:lnTo>
                      <a:lnTo>
                        <a:pt x="97" y="29"/>
                      </a:lnTo>
                      <a:lnTo>
                        <a:pt x="97" y="29"/>
                      </a:lnTo>
                      <a:lnTo>
                        <a:pt x="68" y="20"/>
                      </a:lnTo>
                      <a:lnTo>
                        <a:pt x="50" y="16"/>
                      </a:lnTo>
                      <a:lnTo>
                        <a:pt x="40" y="11"/>
                      </a:lnTo>
                      <a:lnTo>
                        <a:pt x="40" y="11"/>
                      </a:lnTo>
                      <a:lnTo>
                        <a:pt x="24" y="3"/>
                      </a:lnTo>
                      <a:lnTo>
                        <a:pt x="18" y="0"/>
                      </a:lnTo>
                      <a:lnTo>
                        <a:pt x="13" y="0"/>
                      </a:lnTo>
                      <a:lnTo>
                        <a:pt x="13" y="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1" y="9"/>
                      </a:lnTo>
                      <a:lnTo>
                        <a:pt x="4" y="10"/>
                      </a:lnTo>
                      <a:lnTo>
                        <a:pt x="13" y="11"/>
                      </a:lnTo>
                      <a:lnTo>
                        <a:pt x="13" y="11"/>
                      </a:lnTo>
                      <a:lnTo>
                        <a:pt x="17" y="11"/>
                      </a:lnTo>
                      <a:lnTo>
                        <a:pt x="18" y="14"/>
                      </a:lnTo>
                      <a:lnTo>
                        <a:pt x="21" y="23"/>
                      </a:lnTo>
                      <a:lnTo>
                        <a:pt x="21" y="23"/>
                      </a:lnTo>
                      <a:lnTo>
                        <a:pt x="27" y="32"/>
                      </a:lnTo>
                      <a:lnTo>
                        <a:pt x="29" y="36"/>
                      </a:lnTo>
                      <a:lnTo>
                        <a:pt x="29" y="40"/>
                      </a:lnTo>
                      <a:lnTo>
                        <a:pt x="29" y="40"/>
                      </a:lnTo>
                      <a:lnTo>
                        <a:pt x="27" y="45"/>
                      </a:lnTo>
                      <a:lnTo>
                        <a:pt x="27" y="45"/>
                      </a:lnTo>
                      <a:lnTo>
                        <a:pt x="40" y="51"/>
                      </a:lnTo>
                      <a:lnTo>
                        <a:pt x="40" y="51"/>
                      </a:lnTo>
                      <a:lnTo>
                        <a:pt x="50" y="56"/>
                      </a:lnTo>
                      <a:lnTo>
                        <a:pt x="55" y="59"/>
                      </a:lnTo>
                      <a:lnTo>
                        <a:pt x="56" y="62"/>
                      </a:lnTo>
                      <a:lnTo>
                        <a:pt x="56" y="62"/>
                      </a:lnTo>
                      <a:lnTo>
                        <a:pt x="68" y="59"/>
                      </a:lnTo>
                      <a:lnTo>
                        <a:pt x="78" y="58"/>
                      </a:lnTo>
                      <a:lnTo>
                        <a:pt x="78" y="58"/>
                      </a:lnTo>
                      <a:lnTo>
                        <a:pt x="82" y="58"/>
                      </a:lnTo>
                      <a:lnTo>
                        <a:pt x="86" y="56"/>
                      </a:lnTo>
                      <a:lnTo>
                        <a:pt x="86" y="56"/>
                      </a:lnTo>
                      <a:lnTo>
                        <a:pt x="89" y="55"/>
                      </a:lnTo>
                      <a:lnTo>
                        <a:pt x="94" y="5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86" name="Freeform 739"/>
                <p:cNvSpPr>
                  <a:spLocks/>
                </p:cNvSpPr>
                <p:nvPr/>
              </p:nvSpPr>
              <p:spPr bwMode="auto">
                <a:xfrm>
                  <a:off x="5104221" y="2613775"/>
                  <a:ext cx="53420" cy="47484"/>
                </a:xfrm>
                <a:custGeom>
                  <a:avLst/>
                  <a:gdLst>
                    <a:gd name="T0" fmla="*/ 48 w 54"/>
                    <a:gd name="T1" fmla="*/ 48 h 48"/>
                    <a:gd name="T2" fmla="*/ 48 w 54"/>
                    <a:gd name="T3" fmla="*/ 48 h 48"/>
                    <a:gd name="T4" fmla="*/ 46 w 54"/>
                    <a:gd name="T5" fmla="*/ 48 h 48"/>
                    <a:gd name="T6" fmla="*/ 46 w 54"/>
                    <a:gd name="T7" fmla="*/ 48 h 48"/>
                    <a:gd name="T8" fmla="*/ 32 w 54"/>
                    <a:gd name="T9" fmla="*/ 41 h 48"/>
                    <a:gd name="T10" fmla="*/ 23 w 54"/>
                    <a:gd name="T11" fmla="*/ 35 h 48"/>
                    <a:gd name="T12" fmla="*/ 17 w 54"/>
                    <a:gd name="T13" fmla="*/ 29 h 48"/>
                    <a:gd name="T14" fmla="*/ 17 w 54"/>
                    <a:gd name="T15" fmla="*/ 29 h 48"/>
                    <a:gd name="T16" fmla="*/ 16 w 54"/>
                    <a:gd name="T17" fmla="*/ 28 h 48"/>
                    <a:gd name="T18" fmla="*/ 16 w 54"/>
                    <a:gd name="T19" fmla="*/ 28 h 48"/>
                    <a:gd name="T20" fmla="*/ 7 w 54"/>
                    <a:gd name="T21" fmla="*/ 18 h 48"/>
                    <a:gd name="T22" fmla="*/ 3 w 54"/>
                    <a:gd name="T23" fmla="*/ 13 h 48"/>
                    <a:gd name="T24" fmla="*/ 2 w 54"/>
                    <a:gd name="T25" fmla="*/ 11 h 48"/>
                    <a:gd name="T26" fmla="*/ 2 w 54"/>
                    <a:gd name="T27" fmla="*/ 11 h 48"/>
                    <a:gd name="T28" fmla="*/ 0 w 54"/>
                    <a:gd name="T29" fmla="*/ 6 h 48"/>
                    <a:gd name="T30" fmla="*/ 0 w 54"/>
                    <a:gd name="T31" fmla="*/ 6 h 48"/>
                    <a:gd name="T32" fmla="*/ 2 w 54"/>
                    <a:gd name="T33" fmla="*/ 6 h 48"/>
                    <a:gd name="T34" fmla="*/ 2 w 54"/>
                    <a:gd name="T35" fmla="*/ 6 h 48"/>
                    <a:gd name="T36" fmla="*/ 2 w 54"/>
                    <a:gd name="T37" fmla="*/ 6 h 48"/>
                    <a:gd name="T38" fmla="*/ 2 w 54"/>
                    <a:gd name="T39" fmla="*/ 6 h 48"/>
                    <a:gd name="T40" fmla="*/ 2 w 54"/>
                    <a:gd name="T41" fmla="*/ 6 h 48"/>
                    <a:gd name="T42" fmla="*/ 2 w 54"/>
                    <a:gd name="T43" fmla="*/ 6 h 48"/>
                    <a:gd name="T44" fmla="*/ 2 w 54"/>
                    <a:gd name="T45" fmla="*/ 6 h 48"/>
                    <a:gd name="T46" fmla="*/ 2 w 54"/>
                    <a:gd name="T47" fmla="*/ 6 h 48"/>
                    <a:gd name="T48" fmla="*/ 2 w 54"/>
                    <a:gd name="T49" fmla="*/ 6 h 48"/>
                    <a:gd name="T50" fmla="*/ 2 w 54"/>
                    <a:gd name="T51" fmla="*/ 6 h 48"/>
                    <a:gd name="T52" fmla="*/ 2 w 54"/>
                    <a:gd name="T53" fmla="*/ 6 h 48"/>
                    <a:gd name="T54" fmla="*/ 2 w 54"/>
                    <a:gd name="T55" fmla="*/ 6 h 48"/>
                    <a:gd name="T56" fmla="*/ 3 w 54"/>
                    <a:gd name="T57" fmla="*/ 6 h 48"/>
                    <a:gd name="T58" fmla="*/ 3 w 54"/>
                    <a:gd name="T59" fmla="*/ 6 h 48"/>
                    <a:gd name="T60" fmla="*/ 4 w 54"/>
                    <a:gd name="T61" fmla="*/ 5 h 48"/>
                    <a:gd name="T62" fmla="*/ 4 w 54"/>
                    <a:gd name="T63" fmla="*/ 5 h 48"/>
                    <a:gd name="T64" fmla="*/ 4 w 54"/>
                    <a:gd name="T65" fmla="*/ 5 h 48"/>
                    <a:gd name="T66" fmla="*/ 4 w 54"/>
                    <a:gd name="T67" fmla="*/ 5 h 48"/>
                    <a:gd name="T68" fmla="*/ 4 w 54"/>
                    <a:gd name="T69" fmla="*/ 5 h 48"/>
                    <a:gd name="T70" fmla="*/ 17 w 54"/>
                    <a:gd name="T71" fmla="*/ 2 h 48"/>
                    <a:gd name="T72" fmla="*/ 17 w 54"/>
                    <a:gd name="T73" fmla="*/ 2 h 48"/>
                    <a:gd name="T74" fmla="*/ 19 w 54"/>
                    <a:gd name="T75" fmla="*/ 2 h 48"/>
                    <a:gd name="T76" fmla="*/ 19 w 54"/>
                    <a:gd name="T77" fmla="*/ 2 h 48"/>
                    <a:gd name="T78" fmla="*/ 20 w 54"/>
                    <a:gd name="T79" fmla="*/ 2 h 48"/>
                    <a:gd name="T80" fmla="*/ 20 w 54"/>
                    <a:gd name="T81" fmla="*/ 2 h 48"/>
                    <a:gd name="T82" fmla="*/ 20 w 54"/>
                    <a:gd name="T83" fmla="*/ 2 h 48"/>
                    <a:gd name="T84" fmla="*/ 20 w 54"/>
                    <a:gd name="T85" fmla="*/ 2 h 48"/>
                    <a:gd name="T86" fmla="*/ 22 w 54"/>
                    <a:gd name="T87" fmla="*/ 2 h 48"/>
                    <a:gd name="T88" fmla="*/ 22 w 54"/>
                    <a:gd name="T89" fmla="*/ 2 h 48"/>
                    <a:gd name="T90" fmla="*/ 23 w 54"/>
                    <a:gd name="T91" fmla="*/ 2 h 48"/>
                    <a:gd name="T92" fmla="*/ 23 w 54"/>
                    <a:gd name="T93" fmla="*/ 2 h 48"/>
                    <a:gd name="T94" fmla="*/ 26 w 54"/>
                    <a:gd name="T95" fmla="*/ 2 h 48"/>
                    <a:gd name="T96" fmla="*/ 29 w 54"/>
                    <a:gd name="T97" fmla="*/ 0 h 48"/>
                    <a:gd name="T98" fmla="*/ 29 w 54"/>
                    <a:gd name="T99" fmla="*/ 0 h 48"/>
                    <a:gd name="T100" fmla="*/ 35 w 54"/>
                    <a:gd name="T101" fmla="*/ 9 h 48"/>
                    <a:gd name="T102" fmla="*/ 41 w 54"/>
                    <a:gd name="T103" fmla="*/ 16 h 48"/>
                    <a:gd name="T104" fmla="*/ 49 w 54"/>
                    <a:gd name="T105" fmla="*/ 25 h 48"/>
                    <a:gd name="T106" fmla="*/ 49 w 54"/>
                    <a:gd name="T107" fmla="*/ 25 h 48"/>
                    <a:gd name="T108" fmla="*/ 52 w 54"/>
                    <a:gd name="T109" fmla="*/ 29 h 48"/>
                    <a:gd name="T110" fmla="*/ 52 w 54"/>
                    <a:gd name="T111" fmla="*/ 34 h 48"/>
                    <a:gd name="T112" fmla="*/ 54 w 54"/>
                    <a:gd name="T113" fmla="*/ 47 h 48"/>
                    <a:gd name="T114" fmla="*/ 54 w 54"/>
                    <a:gd name="T115" fmla="*/ 47 h 48"/>
                    <a:gd name="T116" fmla="*/ 48 w 54"/>
                    <a:gd name="T117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4" h="48">
                      <a:moveTo>
                        <a:pt x="48" y="48"/>
                      </a:moveTo>
                      <a:lnTo>
                        <a:pt x="48" y="48"/>
                      </a:lnTo>
                      <a:lnTo>
                        <a:pt x="46" y="48"/>
                      </a:lnTo>
                      <a:lnTo>
                        <a:pt x="46" y="48"/>
                      </a:lnTo>
                      <a:lnTo>
                        <a:pt x="32" y="41"/>
                      </a:lnTo>
                      <a:lnTo>
                        <a:pt x="23" y="35"/>
                      </a:lnTo>
                      <a:lnTo>
                        <a:pt x="17" y="29"/>
                      </a:lnTo>
                      <a:lnTo>
                        <a:pt x="17" y="29"/>
                      </a:lnTo>
                      <a:lnTo>
                        <a:pt x="16" y="28"/>
                      </a:lnTo>
                      <a:lnTo>
                        <a:pt x="16" y="28"/>
                      </a:lnTo>
                      <a:lnTo>
                        <a:pt x="7" y="18"/>
                      </a:lnTo>
                      <a:lnTo>
                        <a:pt x="3" y="13"/>
                      </a:lnTo>
                      <a:lnTo>
                        <a:pt x="2" y="11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17" y="2"/>
                      </a:lnTo>
                      <a:lnTo>
                        <a:pt x="17" y="2"/>
                      </a:lnTo>
                      <a:lnTo>
                        <a:pt x="19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3" y="2"/>
                      </a:lnTo>
                      <a:lnTo>
                        <a:pt x="26" y="2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35" y="9"/>
                      </a:lnTo>
                      <a:lnTo>
                        <a:pt x="41" y="16"/>
                      </a:lnTo>
                      <a:lnTo>
                        <a:pt x="49" y="25"/>
                      </a:lnTo>
                      <a:lnTo>
                        <a:pt x="49" y="25"/>
                      </a:lnTo>
                      <a:lnTo>
                        <a:pt x="52" y="29"/>
                      </a:lnTo>
                      <a:lnTo>
                        <a:pt x="52" y="34"/>
                      </a:lnTo>
                      <a:lnTo>
                        <a:pt x="54" y="47"/>
                      </a:lnTo>
                      <a:lnTo>
                        <a:pt x="54" y="47"/>
                      </a:lnTo>
                      <a:lnTo>
                        <a:pt x="48" y="4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87" name="Freeform 740"/>
                <p:cNvSpPr>
                  <a:spLocks/>
                </p:cNvSpPr>
                <p:nvPr/>
              </p:nvSpPr>
              <p:spPr bwMode="auto">
                <a:xfrm>
                  <a:off x="5104221" y="2613775"/>
                  <a:ext cx="53420" cy="47484"/>
                </a:xfrm>
                <a:custGeom>
                  <a:avLst/>
                  <a:gdLst>
                    <a:gd name="T0" fmla="*/ 48 w 54"/>
                    <a:gd name="T1" fmla="*/ 48 h 48"/>
                    <a:gd name="T2" fmla="*/ 48 w 54"/>
                    <a:gd name="T3" fmla="*/ 48 h 48"/>
                    <a:gd name="T4" fmla="*/ 46 w 54"/>
                    <a:gd name="T5" fmla="*/ 48 h 48"/>
                    <a:gd name="T6" fmla="*/ 46 w 54"/>
                    <a:gd name="T7" fmla="*/ 48 h 48"/>
                    <a:gd name="T8" fmla="*/ 32 w 54"/>
                    <a:gd name="T9" fmla="*/ 41 h 48"/>
                    <a:gd name="T10" fmla="*/ 23 w 54"/>
                    <a:gd name="T11" fmla="*/ 35 h 48"/>
                    <a:gd name="T12" fmla="*/ 17 w 54"/>
                    <a:gd name="T13" fmla="*/ 29 h 48"/>
                    <a:gd name="T14" fmla="*/ 17 w 54"/>
                    <a:gd name="T15" fmla="*/ 29 h 48"/>
                    <a:gd name="T16" fmla="*/ 16 w 54"/>
                    <a:gd name="T17" fmla="*/ 28 h 48"/>
                    <a:gd name="T18" fmla="*/ 16 w 54"/>
                    <a:gd name="T19" fmla="*/ 28 h 48"/>
                    <a:gd name="T20" fmla="*/ 7 w 54"/>
                    <a:gd name="T21" fmla="*/ 18 h 48"/>
                    <a:gd name="T22" fmla="*/ 3 w 54"/>
                    <a:gd name="T23" fmla="*/ 13 h 48"/>
                    <a:gd name="T24" fmla="*/ 2 w 54"/>
                    <a:gd name="T25" fmla="*/ 11 h 48"/>
                    <a:gd name="T26" fmla="*/ 2 w 54"/>
                    <a:gd name="T27" fmla="*/ 11 h 48"/>
                    <a:gd name="T28" fmla="*/ 0 w 54"/>
                    <a:gd name="T29" fmla="*/ 6 h 48"/>
                    <a:gd name="T30" fmla="*/ 0 w 54"/>
                    <a:gd name="T31" fmla="*/ 6 h 48"/>
                    <a:gd name="T32" fmla="*/ 2 w 54"/>
                    <a:gd name="T33" fmla="*/ 6 h 48"/>
                    <a:gd name="T34" fmla="*/ 2 w 54"/>
                    <a:gd name="T35" fmla="*/ 6 h 48"/>
                    <a:gd name="T36" fmla="*/ 2 w 54"/>
                    <a:gd name="T37" fmla="*/ 6 h 48"/>
                    <a:gd name="T38" fmla="*/ 2 w 54"/>
                    <a:gd name="T39" fmla="*/ 6 h 48"/>
                    <a:gd name="T40" fmla="*/ 2 w 54"/>
                    <a:gd name="T41" fmla="*/ 6 h 48"/>
                    <a:gd name="T42" fmla="*/ 2 w 54"/>
                    <a:gd name="T43" fmla="*/ 6 h 48"/>
                    <a:gd name="T44" fmla="*/ 2 w 54"/>
                    <a:gd name="T45" fmla="*/ 6 h 48"/>
                    <a:gd name="T46" fmla="*/ 2 w 54"/>
                    <a:gd name="T47" fmla="*/ 6 h 48"/>
                    <a:gd name="T48" fmla="*/ 2 w 54"/>
                    <a:gd name="T49" fmla="*/ 6 h 48"/>
                    <a:gd name="T50" fmla="*/ 2 w 54"/>
                    <a:gd name="T51" fmla="*/ 6 h 48"/>
                    <a:gd name="T52" fmla="*/ 2 w 54"/>
                    <a:gd name="T53" fmla="*/ 6 h 48"/>
                    <a:gd name="T54" fmla="*/ 2 w 54"/>
                    <a:gd name="T55" fmla="*/ 6 h 48"/>
                    <a:gd name="T56" fmla="*/ 3 w 54"/>
                    <a:gd name="T57" fmla="*/ 6 h 48"/>
                    <a:gd name="T58" fmla="*/ 3 w 54"/>
                    <a:gd name="T59" fmla="*/ 6 h 48"/>
                    <a:gd name="T60" fmla="*/ 4 w 54"/>
                    <a:gd name="T61" fmla="*/ 5 h 48"/>
                    <a:gd name="T62" fmla="*/ 4 w 54"/>
                    <a:gd name="T63" fmla="*/ 5 h 48"/>
                    <a:gd name="T64" fmla="*/ 4 w 54"/>
                    <a:gd name="T65" fmla="*/ 5 h 48"/>
                    <a:gd name="T66" fmla="*/ 4 w 54"/>
                    <a:gd name="T67" fmla="*/ 5 h 48"/>
                    <a:gd name="T68" fmla="*/ 4 w 54"/>
                    <a:gd name="T69" fmla="*/ 5 h 48"/>
                    <a:gd name="T70" fmla="*/ 17 w 54"/>
                    <a:gd name="T71" fmla="*/ 2 h 48"/>
                    <a:gd name="T72" fmla="*/ 17 w 54"/>
                    <a:gd name="T73" fmla="*/ 2 h 48"/>
                    <a:gd name="T74" fmla="*/ 19 w 54"/>
                    <a:gd name="T75" fmla="*/ 2 h 48"/>
                    <a:gd name="T76" fmla="*/ 19 w 54"/>
                    <a:gd name="T77" fmla="*/ 2 h 48"/>
                    <a:gd name="T78" fmla="*/ 20 w 54"/>
                    <a:gd name="T79" fmla="*/ 2 h 48"/>
                    <a:gd name="T80" fmla="*/ 20 w 54"/>
                    <a:gd name="T81" fmla="*/ 2 h 48"/>
                    <a:gd name="T82" fmla="*/ 20 w 54"/>
                    <a:gd name="T83" fmla="*/ 2 h 48"/>
                    <a:gd name="T84" fmla="*/ 20 w 54"/>
                    <a:gd name="T85" fmla="*/ 2 h 48"/>
                    <a:gd name="T86" fmla="*/ 22 w 54"/>
                    <a:gd name="T87" fmla="*/ 2 h 48"/>
                    <a:gd name="T88" fmla="*/ 22 w 54"/>
                    <a:gd name="T89" fmla="*/ 2 h 48"/>
                    <a:gd name="T90" fmla="*/ 23 w 54"/>
                    <a:gd name="T91" fmla="*/ 2 h 48"/>
                    <a:gd name="T92" fmla="*/ 23 w 54"/>
                    <a:gd name="T93" fmla="*/ 2 h 48"/>
                    <a:gd name="T94" fmla="*/ 26 w 54"/>
                    <a:gd name="T95" fmla="*/ 2 h 48"/>
                    <a:gd name="T96" fmla="*/ 29 w 54"/>
                    <a:gd name="T97" fmla="*/ 0 h 48"/>
                    <a:gd name="T98" fmla="*/ 29 w 54"/>
                    <a:gd name="T99" fmla="*/ 0 h 48"/>
                    <a:gd name="T100" fmla="*/ 35 w 54"/>
                    <a:gd name="T101" fmla="*/ 9 h 48"/>
                    <a:gd name="T102" fmla="*/ 41 w 54"/>
                    <a:gd name="T103" fmla="*/ 16 h 48"/>
                    <a:gd name="T104" fmla="*/ 49 w 54"/>
                    <a:gd name="T105" fmla="*/ 25 h 48"/>
                    <a:gd name="T106" fmla="*/ 49 w 54"/>
                    <a:gd name="T107" fmla="*/ 25 h 48"/>
                    <a:gd name="T108" fmla="*/ 52 w 54"/>
                    <a:gd name="T109" fmla="*/ 29 h 48"/>
                    <a:gd name="T110" fmla="*/ 52 w 54"/>
                    <a:gd name="T111" fmla="*/ 34 h 48"/>
                    <a:gd name="T112" fmla="*/ 54 w 54"/>
                    <a:gd name="T113" fmla="*/ 47 h 48"/>
                    <a:gd name="T114" fmla="*/ 54 w 54"/>
                    <a:gd name="T115" fmla="*/ 47 h 48"/>
                    <a:gd name="T116" fmla="*/ 48 w 54"/>
                    <a:gd name="T117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4" h="48">
                      <a:moveTo>
                        <a:pt x="48" y="48"/>
                      </a:moveTo>
                      <a:lnTo>
                        <a:pt x="48" y="48"/>
                      </a:lnTo>
                      <a:lnTo>
                        <a:pt x="46" y="48"/>
                      </a:lnTo>
                      <a:lnTo>
                        <a:pt x="46" y="48"/>
                      </a:lnTo>
                      <a:lnTo>
                        <a:pt x="32" y="41"/>
                      </a:lnTo>
                      <a:lnTo>
                        <a:pt x="23" y="35"/>
                      </a:lnTo>
                      <a:lnTo>
                        <a:pt x="17" y="29"/>
                      </a:lnTo>
                      <a:lnTo>
                        <a:pt x="17" y="29"/>
                      </a:lnTo>
                      <a:lnTo>
                        <a:pt x="16" y="28"/>
                      </a:lnTo>
                      <a:lnTo>
                        <a:pt x="16" y="28"/>
                      </a:lnTo>
                      <a:lnTo>
                        <a:pt x="7" y="18"/>
                      </a:lnTo>
                      <a:lnTo>
                        <a:pt x="3" y="13"/>
                      </a:lnTo>
                      <a:lnTo>
                        <a:pt x="2" y="11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17" y="2"/>
                      </a:lnTo>
                      <a:lnTo>
                        <a:pt x="17" y="2"/>
                      </a:lnTo>
                      <a:lnTo>
                        <a:pt x="19" y="2"/>
                      </a:ln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3" y="2"/>
                      </a:lnTo>
                      <a:lnTo>
                        <a:pt x="26" y="2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35" y="9"/>
                      </a:lnTo>
                      <a:lnTo>
                        <a:pt x="41" y="16"/>
                      </a:lnTo>
                      <a:lnTo>
                        <a:pt x="49" y="25"/>
                      </a:lnTo>
                      <a:lnTo>
                        <a:pt x="49" y="25"/>
                      </a:lnTo>
                      <a:lnTo>
                        <a:pt x="52" y="29"/>
                      </a:lnTo>
                      <a:lnTo>
                        <a:pt x="52" y="34"/>
                      </a:lnTo>
                      <a:lnTo>
                        <a:pt x="54" y="47"/>
                      </a:lnTo>
                      <a:lnTo>
                        <a:pt x="54" y="47"/>
                      </a:lnTo>
                      <a:lnTo>
                        <a:pt x="48" y="4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88" name="Freeform 741"/>
                <p:cNvSpPr>
                  <a:spLocks/>
                </p:cNvSpPr>
                <p:nvPr/>
              </p:nvSpPr>
              <p:spPr bwMode="auto">
                <a:xfrm>
                  <a:off x="5120049" y="2641474"/>
                  <a:ext cx="29678" cy="19785"/>
                </a:xfrm>
                <a:custGeom>
                  <a:avLst/>
                  <a:gdLst>
                    <a:gd name="T0" fmla="*/ 30 w 30"/>
                    <a:gd name="T1" fmla="*/ 20 h 20"/>
                    <a:gd name="T2" fmla="*/ 30 w 30"/>
                    <a:gd name="T3" fmla="*/ 20 h 20"/>
                    <a:gd name="T4" fmla="*/ 30 w 30"/>
                    <a:gd name="T5" fmla="*/ 20 h 20"/>
                    <a:gd name="T6" fmla="*/ 16 w 30"/>
                    <a:gd name="T7" fmla="*/ 13 h 20"/>
                    <a:gd name="T8" fmla="*/ 7 w 30"/>
                    <a:gd name="T9" fmla="*/ 7 h 20"/>
                    <a:gd name="T10" fmla="*/ 1 w 30"/>
                    <a:gd name="T11" fmla="*/ 1 h 20"/>
                    <a:gd name="T12" fmla="*/ 1 w 30"/>
                    <a:gd name="T13" fmla="*/ 1 h 20"/>
                    <a:gd name="T14" fmla="*/ 0 w 30"/>
                    <a:gd name="T15" fmla="*/ 0 h 20"/>
                    <a:gd name="T16" fmla="*/ 0 w 30"/>
                    <a:gd name="T17" fmla="*/ 0 h 20"/>
                    <a:gd name="T18" fmla="*/ 1 w 30"/>
                    <a:gd name="T19" fmla="*/ 1 h 20"/>
                    <a:gd name="T20" fmla="*/ 1 w 30"/>
                    <a:gd name="T21" fmla="*/ 1 h 20"/>
                    <a:gd name="T22" fmla="*/ 7 w 30"/>
                    <a:gd name="T23" fmla="*/ 7 h 20"/>
                    <a:gd name="T24" fmla="*/ 16 w 30"/>
                    <a:gd name="T25" fmla="*/ 13 h 20"/>
                    <a:gd name="T26" fmla="*/ 30 w 30"/>
                    <a:gd name="T27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0" h="20">
                      <a:moveTo>
                        <a:pt x="30" y="20"/>
                      </a:moveTo>
                      <a:lnTo>
                        <a:pt x="30" y="20"/>
                      </a:lnTo>
                      <a:lnTo>
                        <a:pt x="30" y="20"/>
                      </a:lnTo>
                      <a:lnTo>
                        <a:pt x="16" y="13"/>
                      </a:lnTo>
                      <a:lnTo>
                        <a:pt x="7" y="7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7" y="7"/>
                      </a:lnTo>
                      <a:lnTo>
                        <a:pt x="16" y="13"/>
                      </a:lnTo>
                      <a:lnTo>
                        <a:pt x="30" y="2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89" name="Freeform 742"/>
                <p:cNvSpPr>
                  <a:spLocks/>
                </p:cNvSpPr>
                <p:nvPr/>
              </p:nvSpPr>
              <p:spPr bwMode="auto">
                <a:xfrm>
                  <a:off x="5120049" y="2641474"/>
                  <a:ext cx="29678" cy="19785"/>
                </a:xfrm>
                <a:custGeom>
                  <a:avLst/>
                  <a:gdLst>
                    <a:gd name="T0" fmla="*/ 30 w 30"/>
                    <a:gd name="T1" fmla="*/ 20 h 20"/>
                    <a:gd name="T2" fmla="*/ 30 w 30"/>
                    <a:gd name="T3" fmla="*/ 20 h 20"/>
                    <a:gd name="T4" fmla="*/ 30 w 30"/>
                    <a:gd name="T5" fmla="*/ 20 h 20"/>
                    <a:gd name="T6" fmla="*/ 16 w 30"/>
                    <a:gd name="T7" fmla="*/ 13 h 20"/>
                    <a:gd name="T8" fmla="*/ 7 w 30"/>
                    <a:gd name="T9" fmla="*/ 7 h 20"/>
                    <a:gd name="T10" fmla="*/ 1 w 30"/>
                    <a:gd name="T11" fmla="*/ 1 h 20"/>
                    <a:gd name="T12" fmla="*/ 1 w 30"/>
                    <a:gd name="T13" fmla="*/ 1 h 20"/>
                    <a:gd name="T14" fmla="*/ 0 w 30"/>
                    <a:gd name="T15" fmla="*/ 0 h 20"/>
                    <a:gd name="T16" fmla="*/ 0 w 30"/>
                    <a:gd name="T17" fmla="*/ 0 h 20"/>
                    <a:gd name="T18" fmla="*/ 1 w 30"/>
                    <a:gd name="T19" fmla="*/ 1 h 20"/>
                    <a:gd name="T20" fmla="*/ 1 w 30"/>
                    <a:gd name="T21" fmla="*/ 1 h 20"/>
                    <a:gd name="T22" fmla="*/ 7 w 30"/>
                    <a:gd name="T23" fmla="*/ 7 h 20"/>
                    <a:gd name="T24" fmla="*/ 16 w 30"/>
                    <a:gd name="T25" fmla="*/ 13 h 20"/>
                    <a:gd name="T26" fmla="*/ 30 w 30"/>
                    <a:gd name="T27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0" h="20">
                      <a:moveTo>
                        <a:pt x="30" y="20"/>
                      </a:moveTo>
                      <a:lnTo>
                        <a:pt x="30" y="20"/>
                      </a:lnTo>
                      <a:lnTo>
                        <a:pt x="30" y="20"/>
                      </a:lnTo>
                      <a:lnTo>
                        <a:pt x="16" y="13"/>
                      </a:lnTo>
                      <a:lnTo>
                        <a:pt x="7" y="7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7" y="7"/>
                      </a:lnTo>
                      <a:lnTo>
                        <a:pt x="16" y="13"/>
                      </a:lnTo>
                      <a:lnTo>
                        <a:pt x="30" y="2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90" name="Freeform 743"/>
                <p:cNvSpPr>
                  <a:spLocks noEditPoints="1"/>
                </p:cNvSpPr>
                <p:nvPr/>
              </p:nvSpPr>
              <p:spPr bwMode="auto">
                <a:xfrm>
                  <a:off x="5104221" y="2613775"/>
                  <a:ext cx="28689" cy="5936"/>
                </a:xfrm>
                <a:custGeom>
                  <a:avLst/>
                  <a:gdLst>
                    <a:gd name="T0" fmla="*/ 20 w 29"/>
                    <a:gd name="T1" fmla="*/ 2 h 6"/>
                    <a:gd name="T2" fmla="*/ 20 w 29"/>
                    <a:gd name="T3" fmla="*/ 2 h 6"/>
                    <a:gd name="T4" fmla="*/ 22 w 29"/>
                    <a:gd name="T5" fmla="*/ 2 h 6"/>
                    <a:gd name="T6" fmla="*/ 22 w 29"/>
                    <a:gd name="T7" fmla="*/ 2 h 6"/>
                    <a:gd name="T8" fmla="*/ 20 w 29"/>
                    <a:gd name="T9" fmla="*/ 2 h 6"/>
                    <a:gd name="T10" fmla="*/ 20 w 29"/>
                    <a:gd name="T11" fmla="*/ 2 h 6"/>
                    <a:gd name="T12" fmla="*/ 22 w 29"/>
                    <a:gd name="T13" fmla="*/ 2 h 6"/>
                    <a:gd name="T14" fmla="*/ 23 w 29"/>
                    <a:gd name="T15" fmla="*/ 2 h 6"/>
                    <a:gd name="T16" fmla="*/ 23 w 29"/>
                    <a:gd name="T17" fmla="*/ 2 h 6"/>
                    <a:gd name="T18" fmla="*/ 22 w 29"/>
                    <a:gd name="T19" fmla="*/ 2 h 6"/>
                    <a:gd name="T20" fmla="*/ 22 w 29"/>
                    <a:gd name="T21" fmla="*/ 2 h 6"/>
                    <a:gd name="T22" fmla="*/ 23 w 29"/>
                    <a:gd name="T23" fmla="*/ 2 h 6"/>
                    <a:gd name="T24" fmla="*/ 23 w 29"/>
                    <a:gd name="T25" fmla="*/ 2 h 6"/>
                    <a:gd name="T26" fmla="*/ 26 w 29"/>
                    <a:gd name="T27" fmla="*/ 2 h 6"/>
                    <a:gd name="T28" fmla="*/ 29 w 29"/>
                    <a:gd name="T29" fmla="*/ 0 h 6"/>
                    <a:gd name="T30" fmla="*/ 29 w 29"/>
                    <a:gd name="T31" fmla="*/ 0 h 6"/>
                    <a:gd name="T32" fmla="*/ 29 w 29"/>
                    <a:gd name="T33" fmla="*/ 0 h 6"/>
                    <a:gd name="T34" fmla="*/ 29 w 29"/>
                    <a:gd name="T35" fmla="*/ 0 h 6"/>
                    <a:gd name="T36" fmla="*/ 26 w 29"/>
                    <a:gd name="T37" fmla="*/ 2 h 6"/>
                    <a:gd name="T38" fmla="*/ 23 w 29"/>
                    <a:gd name="T39" fmla="*/ 2 h 6"/>
                    <a:gd name="T40" fmla="*/ 17 w 29"/>
                    <a:gd name="T41" fmla="*/ 2 h 6"/>
                    <a:gd name="T42" fmla="*/ 17 w 29"/>
                    <a:gd name="T43" fmla="*/ 2 h 6"/>
                    <a:gd name="T44" fmla="*/ 19 w 29"/>
                    <a:gd name="T45" fmla="*/ 2 h 6"/>
                    <a:gd name="T46" fmla="*/ 19 w 29"/>
                    <a:gd name="T47" fmla="*/ 2 h 6"/>
                    <a:gd name="T48" fmla="*/ 17 w 29"/>
                    <a:gd name="T49" fmla="*/ 2 h 6"/>
                    <a:gd name="T50" fmla="*/ 4 w 29"/>
                    <a:gd name="T51" fmla="*/ 5 h 6"/>
                    <a:gd name="T52" fmla="*/ 4 w 29"/>
                    <a:gd name="T53" fmla="*/ 5 h 6"/>
                    <a:gd name="T54" fmla="*/ 17 w 29"/>
                    <a:gd name="T55" fmla="*/ 2 h 6"/>
                    <a:gd name="T56" fmla="*/ 17 w 29"/>
                    <a:gd name="T57" fmla="*/ 2 h 6"/>
                    <a:gd name="T58" fmla="*/ 4 w 29"/>
                    <a:gd name="T59" fmla="*/ 5 h 6"/>
                    <a:gd name="T60" fmla="*/ 4 w 29"/>
                    <a:gd name="T61" fmla="*/ 5 h 6"/>
                    <a:gd name="T62" fmla="*/ 4 w 29"/>
                    <a:gd name="T63" fmla="*/ 5 h 6"/>
                    <a:gd name="T64" fmla="*/ 2 w 29"/>
                    <a:gd name="T65" fmla="*/ 6 h 6"/>
                    <a:gd name="T66" fmla="*/ 2 w 29"/>
                    <a:gd name="T67" fmla="*/ 6 h 6"/>
                    <a:gd name="T68" fmla="*/ 3 w 29"/>
                    <a:gd name="T69" fmla="*/ 6 h 6"/>
                    <a:gd name="T70" fmla="*/ 3 w 29"/>
                    <a:gd name="T71" fmla="*/ 6 h 6"/>
                    <a:gd name="T72" fmla="*/ 2 w 29"/>
                    <a:gd name="T73" fmla="*/ 6 h 6"/>
                    <a:gd name="T74" fmla="*/ 2 w 29"/>
                    <a:gd name="T75" fmla="*/ 6 h 6"/>
                    <a:gd name="T76" fmla="*/ 2 w 29"/>
                    <a:gd name="T77" fmla="*/ 6 h 6"/>
                    <a:gd name="T78" fmla="*/ 2 w 29"/>
                    <a:gd name="T79" fmla="*/ 6 h 6"/>
                    <a:gd name="T80" fmla="*/ 2 w 29"/>
                    <a:gd name="T81" fmla="*/ 6 h 6"/>
                    <a:gd name="T82" fmla="*/ 2 w 29"/>
                    <a:gd name="T83" fmla="*/ 6 h 6"/>
                    <a:gd name="T84" fmla="*/ 2 w 29"/>
                    <a:gd name="T85" fmla="*/ 6 h 6"/>
                    <a:gd name="T86" fmla="*/ 2 w 29"/>
                    <a:gd name="T87" fmla="*/ 6 h 6"/>
                    <a:gd name="T88" fmla="*/ 2 w 29"/>
                    <a:gd name="T89" fmla="*/ 6 h 6"/>
                    <a:gd name="T90" fmla="*/ 2 w 29"/>
                    <a:gd name="T91" fmla="*/ 6 h 6"/>
                    <a:gd name="T92" fmla="*/ 2 w 29"/>
                    <a:gd name="T93" fmla="*/ 6 h 6"/>
                    <a:gd name="T94" fmla="*/ 0 w 29"/>
                    <a:gd name="T95" fmla="*/ 6 h 6"/>
                    <a:gd name="T96" fmla="*/ 0 w 29"/>
                    <a:gd name="T97" fmla="*/ 6 h 6"/>
                    <a:gd name="T98" fmla="*/ 2 w 29"/>
                    <a:gd name="T99" fmla="*/ 6 h 6"/>
                    <a:gd name="T100" fmla="*/ 2 w 29"/>
                    <a:gd name="T101" fmla="*/ 6 h 6"/>
                    <a:gd name="T102" fmla="*/ 0 w 29"/>
                    <a:gd name="T10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9" h="6">
                      <a:moveTo>
                        <a:pt x="20" y="2"/>
                      </a:moveTo>
                      <a:lnTo>
                        <a:pt x="20" y="2"/>
                      </a:lnTo>
                      <a:close/>
                      <a:moveTo>
                        <a:pt x="22" y="2"/>
                      </a:moveTo>
                      <a:lnTo>
                        <a:pt x="22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2" y="2"/>
                      </a:lnTo>
                      <a:close/>
                      <a:moveTo>
                        <a:pt x="23" y="2"/>
                      </a:move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3" y="2"/>
                      </a:lnTo>
                      <a:lnTo>
                        <a:pt x="23" y="2"/>
                      </a:lnTo>
                      <a:lnTo>
                        <a:pt x="26" y="2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26" y="2"/>
                      </a:lnTo>
                      <a:lnTo>
                        <a:pt x="23" y="2"/>
                      </a:lnTo>
                      <a:close/>
                      <a:moveTo>
                        <a:pt x="17" y="2"/>
                      </a:moveTo>
                      <a:lnTo>
                        <a:pt x="17" y="2"/>
                      </a:lnTo>
                      <a:lnTo>
                        <a:pt x="19" y="2"/>
                      </a:lnTo>
                      <a:lnTo>
                        <a:pt x="19" y="2"/>
                      </a:lnTo>
                      <a:lnTo>
                        <a:pt x="17" y="2"/>
                      </a:lnTo>
                      <a:close/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17" y="2"/>
                      </a:lnTo>
                      <a:lnTo>
                        <a:pt x="17" y="2"/>
                      </a:lnTo>
                      <a:lnTo>
                        <a:pt x="4" y="5"/>
                      </a:lnTo>
                      <a:close/>
                      <a:moveTo>
                        <a:pt x="4" y="5"/>
                      </a:moveTo>
                      <a:lnTo>
                        <a:pt x="4" y="5"/>
                      </a:lnTo>
                      <a:close/>
                      <a:moveTo>
                        <a:pt x="2" y="6"/>
                      </a:move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2" y="6"/>
                      </a:lnTo>
                      <a:close/>
                      <a:moveTo>
                        <a:pt x="2" y="6"/>
                      </a:move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  <a:moveTo>
                        <a:pt x="2" y="6"/>
                      </a:move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91" name="Line 744"/>
                <p:cNvSpPr>
                  <a:spLocks noChangeShapeType="1"/>
                </p:cNvSpPr>
                <p:nvPr/>
              </p:nvSpPr>
              <p:spPr bwMode="auto">
                <a:xfrm>
                  <a:off x="5124006" y="2615753"/>
                  <a:ext cx="0" cy="0"/>
                </a:xfrm>
                <a:prstGeom prst="line">
                  <a:avLst/>
                </a:pr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92" name="Rectangle 745"/>
                <p:cNvSpPr>
                  <a:spLocks noChangeArrowheads="1"/>
                </p:cNvSpPr>
                <p:nvPr/>
              </p:nvSpPr>
              <p:spPr bwMode="auto">
                <a:xfrm>
                  <a:off x="5124006" y="2615753"/>
                  <a:ext cx="197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93" name="Freeform 746"/>
                <p:cNvSpPr>
                  <a:spLocks/>
                </p:cNvSpPr>
                <p:nvPr/>
              </p:nvSpPr>
              <p:spPr bwMode="auto">
                <a:xfrm>
                  <a:off x="5125985" y="2613775"/>
                  <a:ext cx="6925" cy="1979"/>
                </a:xfrm>
                <a:custGeom>
                  <a:avLst/>
                  <a:gdLst>
                    <a:gd name="T0" fmla="*/ 1 w 7"/>
                    <a:gd name="T1" fmla="*/ 2 h 2"/>
                    <a:gd name="T2" fmla="*/ 1 w 7"/>
                    <a:gd name="T3" fmla="*/ 2 h 2"/>
                    <a:gd name="T4" fmla="*/ 0 w 7"/>
                    <a:gd name="T5" fmla="*/ 2 h 2"/>
                    <a:gd name="T6" fmla="*/ 0 w 7"/>
                    <a:gd name="T7" fmla="*/ 2 h 2"/>
                    <a:gd name="T8" fmla="*/ 1 w 7"/>
                    <a:gd name="T9" fmla="*/ 2 h 2"/>
                    <a:gd name="T10" fmla="*/ 1 w 7"/>
                    <a:gd name="T11" fmla="*/ 2 h 2"/>
                    <a:gd name="T12" fmla="*/ 4 w 7"/>
                    <a:gd name="T13" fmla="*/ 2 h 2"/>
                    <a:gd name="T14" fmla="*/ 7 w 7"/>
                    <a:gd name="T15" fmla="*/ 0 h 2"/>
                    <a:gd name="T16" fmla="*/ 7 w 7"/>
                    <a:gd name="T17" fmla="*/ 0 h 2"/>
                    <a:gd name="T18" fmla="*/ 7 w 7"/>
                    <a:gd name="T19" fmla="*/ 0 h 2"/>
                    <a:gd name="T20" fmla="*/ 7 w 7"/>
                    <a:gd name="T21" fmla="*/ 0 h 2"/>
                    <a:gd name="T22" fmla="*/ 4 w 7"/>
                    <a:gd name="T23" fmla="*/ 2 h 2"/>
                    <a:gd name="T24" fmla="*/ 1 w 7"/>
                    <a:gd name="T2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2">
                      <a:moveTo>
                        <a:pt x="1" y="2"/>
                      </a:move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4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4" y="2"/>
                      </a:lnTo>
                      <a:lnTo>
                        <a:pt x="1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94" name="Rectangle 747"/>
                <p:cNvSpPr>
                  <a:spLocks noChangeArrowheads="1"/>
                </p:cNvSpPr>
                <p:nvPr/>
              </p:nvSpPr>
              <p:spPr bwMode="auto">
                <a:xfrm>
                  <a:off x="5121039" y="2615753"/>
                  <a:ext cx="197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95" name="Freeform 748"/>
                <p:cNvSpPr>
                  <a:spLocks/>
                </p:cNvSpPr>
                <p:nvPr/>
              </p:nvSpPr>
              <p:spPr bwMode="auto">
                <a:xfrm>
                  <a:off x="5108178" y="2615753"/>
                  <a:ext cx="12860" cy="2968"/>
                </a:xfrm>
                <a:custGeom>
                  <a:avLst/>
                  <a:gdLst>
                    <a:gd name="T0" fmla="*/ 0 w 13"/>
                    <a:gd name="T1" fmla="*/ 3 h 3"/>
                    <a:gd name="T2" fmla="*/ 0 w 13"/>
                    <a:gd name="T3" fmla="*/ 3 h 3"/>
                    <a:gd name="T4" fmla="*/ 13 w 13"/>
                    <a:gd name="T5" fmla="*/ 0 h 3"/>
                    <a:gd name="T6" fmla="*/ 13 w 13"/>
                    <a:gd name="T7" fmla="*/ 0 h 3"/>
                    <a:gd name="T8" fmla="*/ 0 w 1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3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13" y="0"/>
                      </a:lnTo>
                      <a:lnTo>
                        <a:pt x="13" y="0"/>
                      </a:lnTo>
                      <a:lnTo>
                        <a:pt x="0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96" name="Line 749"/>
                <p:cNvSpPr>
                  <a:spLocks noChangeShapeType="1"/>
                </p:cNvSpPr>
                <p:nvPr/>
              </p:nvSpPr>
              <p:spPr bwMode="auto">
                <a:xfrm>
                  <a:off x="5108178" y="2618721"/>
                  <a:ext cx="0" cy="0"/>
                </a:xfrm>
                <a:prstGeom prst="line">
                  <a:avLst/>
                </a:pr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97" name="Rectangle 750"/>
                <p:cNvSpPr>
                  <a:spLocks noChangeArrowheads="1"/>
                </p:cNvSpPr>
                <p:nvPr/>
              </p:nvSpPr>
              <p:spPr bwMode="auto">
                <a:xfrm>
                  <a:off x="5106200" y="2619710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98" name="Rectangle 751"/>
                <p:cNvSpPr>
                  <a:spLocks noChangeArrowheads="1"/>
                </p:cNvSpPr>
                <p:nvPr/>
              </p:nvSpPr>
              <p:spPr bwMode="auto">
                <a:xfrm>
                  <a:off x="5106200" y="2619710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99" name="Rectangle 752"/>
                <p:cNvSpPr>
                  <a:spLocks noChangeArrowheads="1"/>
                </p:cNvSpPr>
                <p:nvPr/>
              </p:nvSpPr>
              <p:spPr bwMode="auto">
                <a:xfrm>
                  <a:off x="5106200" y="2619710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00" name="Rectangle 753"/>
                <p:cNvSpPr>
                  <a:spLocks noChangeArrowheads="1"/>
                </p:cNvSpPr>
                <p:nvPr/>
              </p:nvSpPr>
              <p:spPr bwMode="auto">
                <a:xfrm>
                  <a:off x="5104221" y="2619710"/>
                  <a:ext cx="197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01" name="Freeform 754"/>
                <p:cNvSpPr>
                  <a:spLocks/>
                </p:cNvSpPr>
                <p:nvPr/>
              </p:nvSpPr>
              <p:spPr bwMode="auto">
                <a:xfrm>
                  <a:off x="5132910" y="2596957"/>
                  <a:ext cx="74194" cy="71227"/>
                </a:xfrm>
                <a:custGeom>
                  <a:avLst/>
                  <a:gdLst>
                    <a:gd name="T0" fmla="*/ 70 w 75"/>
                    <a:gd name="T1" fmla="*/ 20 h 72"/>
                    <a:gd name="T2" fmla="*/ 65 w 75"/>
                    <a:gd name="T3" fmla="*/ 14 h 72"/>
                    <a:gd name="T4" fmla="*/ 61 w 75"/>
                    <a:gd name="T5" fmla="*/ 4 h 72"/>
                    <a:gd name="T6" fmla="*/ 61 w 75"/>
                    <a:gd name="T7" fmla="*/ 3 h 72"/>
                    <a:gd name="T8" fmla="*/ 49 w 75"/>
                    <a:gd name="T9" fmla="*/ 9 h 72"/>
                    <a:gd name="T10" fmla="*/ 41 w 75"/>
                    <a:gd name="T11" fmla="*/ 7 h 72"/>
                    <a:gd name="T12" fmla="*/ 29 w 75"/>
                    <a:gd name="T13" fmla="*/ 0 h 72"/>
                    <a:gd name="T14" fmla="*/ 28 w 75"/>
                    <a:gd name="T15" fmla="*/ 4 h 72"/>
                    <a:gd name="T16" fmla="*/ 28 w 75"/>
                    <a:gd name="T17" fmla="*/ 14 h 72"/>
                    <a:gd name="T18" fmla="*/ 28 w 75"/>
                    <a:gd name="T19" fmla="*/ 17 h 72"/>
                    <a:gd name="T20" fmla="*/ 19 w 75"/>
                    <a:gd name="T21" fmla="*/ 17 h 72"/>
                    <a:gd name="T22" fmla="*/ 9 w 75"/>
                    <a:gd name="T23" fmla="*/ 14 h 72"/>
                    <a:gd name="T24" fmla="*/ 0 w 75"/>
                    <a:gd name="T25" fmla="*/ 17 h 72"/>
                    <a:gd name="T26" fmla="*/ 6 w 75"/>
                    <a:gd name="T27" fmla="*/ 26 h 72"/>
                    <a:gd name="T28" fmla="*/ 20 w 75"/>
                    <a:gd name="T29" fmla="*/ 42 h 72"/>
                    <a:gd name="T30" fmla="*/ 23 w 75"/>
                    <a:gd name="T31" fmla="*/ 46 h 72"/>
                    <a:gd name="T32" fmla="*/ 25 w 75"/>
                    <a:gd name="T33" fmla="*/ 64 h 72"/>
                    <a:gd name="T34" fmla="*/ 36 w 75"/>
                    <a:gd name="T35" fmla="*/ 57 h 72"/>
                    <a:gd name="T36" fmla="*/ 46 w 75"/>
                    <a:gd name="T37" fmla="*/ 52 h 72"/>
                    <a:gd name="T38" fmla="*/ 48 w 75"/>
                    <a:gd name="T39" fmla="*/ 51 h 72"/>
                    <a:gd name="T40" fmla="*/ 49 w 75"/>
                    <a:gd name="T41" fmla="*/ 57 h 72"/>
                    <a:gd name="T42" fmla="*/ 49 w 75"/>
                    <a:gd name="T43" fmla="*/ 68 h 72"/>
                    <a:gd name="T44" fmla="*/ 52 w 75"/>
                    <a:gd name="T45" fmla="*/ 71 h 72"/>
                    <a:gd name="T46" fmla="*/ 61 w 75"/>
                    <a:gd name="T47" fmla="*/ 72 h 72"/>
                    <a:gd name="T48" fmla="*/ 61 w 75"/>
                    <a:gd name="T49" fmla="*/ 64 h 72"/>
                    <a:gd name="T50" fmla="*/ 59 w 75"/>
                    <a:gd name="T51" fmla="*/ 59 h 72"/>
                    <a:gd name="T52" fmla="*/ 59 w 75"/>
                    <a:gd name="T53" fmla="*/ 55 h 72"/>
                    <a:gd name="T54" fmla="*/ 62 w 75"/>
                    <a:gd name="T55" fmla="*/ 54 h 72"/>
                    <a:gd name="T56" fmla="*/ 65 w 75"/>
                    <a:gd name="T57" fmla="*/ 51 h 72"/>
                    <a:gd name="T58" fmla="*/ 72 w 75"/>
                    <a:gd name="T59" fmla="*/ 39 h 72"/>
                    <a:gd name="T60" fmla="*/ 75 w 75"/>
                    <a:gd name="T61" fmla="*/ 35 h 72"/>
                    <a:gd name="T62" fmla="*/ 75 w 75"/>
                    <a:gd name="T63" fmla="*/ 32 h 72"/>
                    <a:gd name="T64" fmla="*/ 71 w 75"/>
                    <a:gd name="T65" fmla="*/ 25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75" h="72">
                      <a:moveTo>
                        <a:pt x="70" y="20"/>
                      </a:moveTo>
                      <a:lnTo>
                        <a:pt x="70" y="20"/>
                      </a:lnTo>
                      <a:lnTo>
                        <a:pt x="68" y="17"/>
                      </a:lnTo>
                      <a:lnTo>
                        <a:pt x="65" y="14"/>
                      </a:lnTo>
                      <a:lnTo>
                        <a:pt x="62" y="10"/>
                      </a:lnTo>
                      <a:lnTo>
                        <a:pt x="61" y="4"/>
                      </a:lnTo>
                      <a:lnTo>
                        <a:pt x="61" y="4"/>
                      </a:lnTo>
                      <a:lnTo>
                        <a:pt x="61" y="3"/>
                      </a:lnTo>
                      <a:lnTo>
                        <a:pt x="61" y="3"/>
                      </a:lnTo>
                      <a:lnTo>
                        <a:pt x="49" y="9"/>
                      </a:lnTo>
                      <a:lnTo>
                        <a:pt x="43" y="9"/>
                      </a:lnTo>
                      <a:lnTo>
                        <a:pt x="41" y="7"/>
                      </a:lnTo>
                      <a:lnTo>
                        <a:pt x="41" y="7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28" y="4"/>
                      </a:lnTo>
                      <a:lnTo>
                        <a:pt x="28" y="10"/>
                      </a:lnTo>
                      <a:lnTo>
                        <a:pt x="28" y="14"/>
                      </a:lnTo>
                      <a:lnTo>
                        <a:pt x="28" y="17"/>
                      </a:lnTo>
                      <a:lnTo>
                        <a:pt x="28" y="17"/>
                      </a:lnTo>
                      <a:lnTo>
                        <a:pt x="23" y="19"/>
                      </a:lnTo>
                      <a:lnTo>
                        <a:pt x="19" y="17"/>
                      </a:lnTo>
                      <a:lnTo>
                        <a:pt x="9" y="14"/>
                      </a:lnTo>
                      <a:lnTo>
                        <a:pt x="9" y="14"/>
                      </a:lnTo>
                      <a:lnTo>
                        <a:pt x="4" y="16"/>
                      </a:lnTo>
                      <a:lnTo>
                        <a:pt x="0" y="17"/>
                      </a:lnTo>
                      <a:lnTo>
                        <a:pt x="0" y="17"/>
                      </a:lnTo>
                      <a:lnTo>
                        <a:pt x="6" y="26"/>
                      </a:lnTo>
                      <a:lnTo>
                        <a:pt x="12" y="33"/>
                      </a:lnTo>
                      <a:lnTo>
                        <a:pt x="20" y="42"/>
                      </a:lnTo>
                      <a:lnTo>
                        <a:pt x="20" y="42"/>
                      </a:lnTo>
                      <a:lnTo>
                        <a:pt x="23" y="46"/>
                      </a:lnTo>
                      <a:lnTo>
                        <a:pt x="23" y="51"/>
                      </a:lnTo>
                      <a:lnTo>
                        <a:pt x="25" y="64"/>
                      </a:lnTo>
                      <a:lnTo>
                        <a:pt x="25" y="64"/>
                      </a:lnTo>
                      <a:lnTo>
                        <a:pt x="36" y="57"/>
                      </a:lnTo>
                      <a:lnTo>
                        <a:pt x="41" y="54"/>
                      </a:lnTo>
                      <a:lnTo>
                        <a:pt x="46" y="52"/>
                      </a:lnTo>
                      <a:lnTo>
                        <a:pt x="46" y="52"/>
                      </a:lnTo>
                      <a:lnTo>
                        <a:pt x="48" y="51"/>
                      </a:lnTo>
                      <a:lnTo>
                        <a:pt x="49" y="52"/>
                      </a:lnTo>
                      <a:lnTo>
                        <a:pt x="49" y="57"/>
                      </a:lnTo>
                      <a:lnTo>
                        <a:pt x="49" y="61"/>
                      </a:lnTo>
                      <a:lnTo>
                        <a:pt x="49" y="68"/>
                      </a:lnTo>
                      <a:lnTo>
                        <a:pt x="49" y="68"/>
                      </a:lnTo>
                      <a:lnTo>
                        <a:pt x="52" y="71"/>
                      </a:lnTo>
                      <a:lnTo>
                        <a:pt x="54" y="72"/>
                      </a:lnTo>
                      <a:lnTo>
                        <a:pt x="61" y="72"/>
                      </a:lnTo>
                      <a:lnTo>
                        <a:pt x="61" y="72"/>
                      </a:lnTo>
                      <a:lnTo>
                        <a:pt x="61" y="64"/>
                      </a:lnTo>
                      <a:lnTo>
                        <a:pt x="61" y="64"/>
                      </a:lnTo>
                      <a:lnTo>
                        <a:pt x="59" y="59"/>
                      </a:lnTo>
                      <a:lnTo>
                        <a:pt x="59" y="57"/>
                      </a:lnTo>
                      <a:lnTo>
                        <a:pt x="59" y="55"/>
                      </a:lnTo>
                      <a:lnTo>
                        <a:pt x="62" y="54"/>
                      </a:lnTo>
                      <a:lnTo>
                        <a:pt x="62" y="54"/>
                      </a:lnTo>
                      <a:lnTo>
                        <a:pt x="64" y="54"/>
                      </a:lnTo>
                      <a:lnTo>
                        <a:pt x="65" y="51"/>
                      </a:lnTo>
                      <a:lnTo>
                        <a:pt x="70" y="45"/>
                      </a:lnTo>
                      <a:lnTo>
                        <a:pt x="72" y="39"/>
                      </a:lnTo>
                      <a:lnTo>
                        <a:pt x="75" y="35"/>
                      </a:lnTo>
                      <a:lnTo>
                        <a:pt x="75" y="35"/>
                      </a:lnTo>
                      <a:lnTo>
                        <a:pt x="75" y="33"/>
                      </a:lnTo>
                      <a:lnTo>
                        <a:pt x="75" y="32"/>
                      </a:lnTo>
                      <a:lnTo>
                        <a:pt x="74" y="29"/>
                      </a:lnTo>
                      <a:lnTo>
                        <a:pt x="71" y="25"/>
                      </a:lnTo>
                      <a:lnTo>
                        <a:pt x="70" y="2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02" name="Freeform 755"/>
                <p:cNvSpPr>
                  <a:spLocks/>
                </p:cNvSpPr>
                <p:nvPr/>
              </p:nvSpPr>
              <p:spPr bwMode="auto">
                <a:xfrm>
                  <a:off x="5132910" y="2596957"/>
                  <a:ext cx="74194" cy="71227"/>
                </a:xfrm>
                <a:custGeom>
                  <a:avLst/>
                  <a:gdLst>
                    <a:gd name="T0" fmla="*/ 70 w 75"/>
                    <a:gd name="T1" fmla="*/ 20 h 72"/>
                    <a:gd name="T2" fmla="*/ 65 w 75"/>
                    <a:gd name="T3" fmla="*/ 14 h 72"/>
                    <a:gd name="T4" fmla="*/ 61 w 75"/>
                    <a:gd name="T5" fmla="*/ 4 h 72"/>
                    <a:gd name="T6" fmla="*/ 61 w 75"/>
                    <a:gd name="T7" fmla="*/ 3 h 72"/>
                    <a:gd name="T8" fmla="*/ 49 w 75"/>
                    <a:gd name="T9" fmla="*/ 9 h 72"/>
                    <a:gd name="T10" fmla="*/ 41 w 75"/>
                    <a:gd name="T11" fmla="*/ 7 h 72"/>
                    <a:gd name="T12" fmla="*/ 29 w 75"/>
                    <a:gd name="T13" fmla="*/ 0 h 72"/>
                    <a:gd name="T14" fmla="*/ 28 w 75"/>
                    <a:gd name="T15" fmla="*/ 4 h 72"/>
                    <a:gd name="T16" fmla="*/ 28 w 75"/>
                    <a:gd name="T17" fmla="*/ 14 h 72"/>
                    <a:gd name="T18" fmla="*/ 28 w 75"/>
                    <a:gd name="T19" fmla="*/ 17 h 72"/>
                    <a:gd name="T20" fmla="*/ 19 w 75"/>
                    <a:gd name="T21" fmla="*/ 17 h 72"/>
                    <a:gd name="T22" fmla="*/ 9 w 75"/>
                    <a:gd name="T23" fmla="*/ 14 h 72"/>
                    <a:gd name="T24" fmla="*/ 0 w 75"/>
                    <a:gd name="T25" fmla="*/ 17 h 72"/>
                    <a:gd name="T26" fmla="*/ 6 w 75"/>
                    <a:gd name="T27" fmla="*/ 26 h 72"/>
                    <a:gd name="T28" fmla="*/ 20 w 75"/>
                    <a:gd name="T29" fmla="*/ 42 h 72"/>
                    <a:gd name="T30" fmla="*/ 23 w 75"/>
                    <a:gd name="T31" fmla="*/ 46 h 72"/>
                    <a:gd name="T32" fmla="*/ 25 w 75"/>
                    <a:gd name="T33" fmla="*/ 64 h 72"/>
                    <a:gd name="T34" fmla="*/ 36 w 75"/>
                    <a:gd name="T35" fmla="*/ 57 h 72"/>
                    <a:gd name="T36" fmla="*/ 46 w 75"/>
                    <a:gd name="T37" fmla="*/ 52 h 72"/>
                    <a:gd name="T38" fmla="*/ 48 w 75"/>
                    <a:gd name="T39" fmla="*/ 51 h 72"/>
                    <a:gd name="T40" fmla="*/ 49 w 75"/>
                    <a:gd name="T41" fmla="*/ 57 h 72"/>
                    <a:gd name="T42" fmla="*/ 49 w 75"/>
                    <a:gd name="T43" fmla="*/ 68 h 72"/>
                    <a:gd name="T44" fmla="*/ 52 w 75"/>
                    <a:gd name="T45" fmla="*/ 71 h 72"/>
                    <a:gd name="T46" fmla="*/ 61 w 75"/>
                    <a:gd name="T47" fmla="*/ 72 h 72"/>
                    <a:gd name="T48" fmla="*/ 61 w 75"/>
                    <a:gd name="T49" fmla="*/ 64 h 72"/>
                    <a:gd name="T50" fmla="*/ 59 w 75"/>
                    <a:gd name="T51" fmla="*/ 59 h 72"/>
                    <a:gd name="T52" fmla="*/ 59 w 75"/>
                    <a:gd name="T53" fmla="*/ 55 h 72"/>
                    <a:gd name="T54" fmla="*/ 62 w 75"/>
                    <a:gd name="T55" fmla="*/ 54 h 72"/>
                    <a:gd name="T56" fmla="*/ 65 w 75"/>
                    <a:gd name="T57" fmla="*/ 51 h 72"/>
                    <a:gd name="T58" fmla="*/ 72 w 75"/>
                    <a:gd name="T59" fmla="*/ 39 h 72"/>
                    <a:gd name="T60" fmla="*/ 75 w 75"/>
                    <a:gd name="T61" fmla="*/ 35 h 72"/>
                    <a:gd name="T62" fmla="*/ 75 w 75"/>
                    <a:gd name="T63" fmla="*/ 32 h 72"/>
                    <a:gd name="T64" fmla="*/ 71 w 75"/>
                    <a:gd name="T65" fmla="*/ 25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75" h="72">
                      <a:moveTo>
                        <a:pt x="70" y="20"/>
                      </a:moveTo>
                      <a:lnTo>
                        <a:pt x="70" y="20"/>
                      </a:lnTo>
                      <a:lnTo>
                        <a:pt x="68" y="17"/>
                      </a:lnTo>
                      <a:lnTo>
                        <a:pt x="65" y="14"/>
                      </a:lnTo>
                      <a:lnTo>
                        <a:pt x="62" y="10"/>
                      </a:lnTo>
                      <a:lnTo>
                        <a:pt x="61" y="4"/>
                      </a:lnTo>
                      <a:lnTo>
                        <a:pt x="61" y="4"/>
                      </a:lnTo>
                      <a:lnTo>
                        <a:pt x="61" y="3"/>
                      </a:lnTo>
                      <a:lnTo>
                        <a:pt x="61" y="3"/>
                      </a:lnTo>
                      <a:lnTo>
                        <a:pt x="49" y="9"/>
                      </a:lnTo>
                      <a:lnTo>
                        <a:pt x="43" y="9"/>
                      </a:lnTo>
                      <a:lnTo>
                        <a:pt x="41" y="7"/>
                      </a:lnTo>
                      <a:lnTo>
                        <a:pt x="41" y="7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28" y="4"/>
                      </a:lnTo>
                      <a:lnTo>
                        <a:pt x="28" y="10"/>
                      </a:lnTo>
                      <a:lnTo>
                        <a:pt x="28" y="14"/>
                      </a:lnTo>
                      <a:lnTo>
                        <a:pt x="28" y="17"/>
                      </a:lnTo>
                      <a:lnTo>
                        <a:pt x="28" y="17"/>
                      </a:lnTo>
                      <a:lnTo>
                        <a:pt x="23" y="19"/>
                      </a:lnTo>
                      <a:lnTo>
                        <a:pt x="19" y="17"/>
                      </a:lnTo>
                      <a:lnTo>
                        <a:pt x="9" y="14"/>
                      </a:lnTo>
                      <a:lnTo>
                        <a:pt x="9" y="14"/>
                      </a:lnTo>
                      <a:lnTo>
                        <a:pt x="4" y="16"/>
                      </a:lnTo>
                      <a:lnTo>
                        <a:pt x="0" y="17"/>
                      </a:lnTo>
                      <a:lnTo>
                        <a:pt x="0" y="17"/>
                      </a:lnTo>
                      <a:lnTo>
                        <a:pt x="6" y="26"/>
                      </a:lnTo>
                      <a:lnTo>
                        <a:pt x="12" y="33"/>
                      </a:lnTo>
                      <a:lnTo>
                        <a:pt x="20" y="42"/>
                      </a:lnTo>
                      <a:lnTo>
                        <a:pt x="20" y="42"/>
                      </a:lnTo>
                      <a:lnTo>
                        <a:pt x="23" y="46"/>
                      </a:lnTo>
                      <a:lnTo>
                        <a:pt x="23" y="51"/>
                      </a:lnTo>
                      <a:lnTo>
                        <a:pt x="25" y="64"/>
                      </a:lnTo>
                      <a:lnTo>
                        <a:pt x="25" y="64"/>
                      </a:lnTo>
                      <a:lnTo>
                        <a:pt x="36" y="57"/>
                      </a:lnTo>
                      <a:lnTo>
                        <a:pt x="41" y="54"/>
                      </a:lnTo>
                      <a:lnTo>
                        <a:pt x="46" y="52"/>
                      </a:lnTo>
                      <a:lnTo>
                        <a:pt x="46" y="52"/>
                      </a:lnTo>
                      <a:lnTo>
                        <a:pt x="48" y="51"/>
                      </a:lnTo>
                      <a:lnTo>
                        <a:pt x="49" y="52"/>
                      </a:lnTo>
                      <a:lnTo>
                        <a:pt x="49" y="57"/>
                      </a:lnTo>
                      <a:lnTo>
                        <a:pt x="49" y="61"/>
                      </a:lnTo>
                      <a:lnTo>
                        <a:pt x="49" y="68"/>
                      </a:lnTo>
                      <a:lnTo>
                        <a:pt x="49" y="68"/>
                      </a:lnTo>
                      <a:lnTo>
                        <a:pt x="52" y="71"/>
                      </a:lnTo>
                      <a:lnTo>
                        <a:pt x="54" y="72"/>
                      </a:lnTo>
                      <a:lnTo>
                        <a:pt x="61" y="72"/>
                      </a:lnTo>
                      <a:lnTo>
                        <a:pt x="61" y="72"/>
                      </a:lnTo>
                      <a:lnTo>
                        <a:pt x="61" y="64"/>
                      </a:lnTo>
                      <a:lnTo>
                        <a:pt x="61" y="64"/>
                      </a:lnTo>
                      <a:lnTo>
                        <a:pt x="59" y="59"/>
                      </a:lnTo>
                      <a:lnTo>
                        <a:pt x="59" y="57"/>
                      </a:lnTo>
                      <a:lnTo>
                        <a:pt x="59" y="55"/>
                      </a:lnTo>
                      <a:lnTo>
                        <a:pt x="62" y="54"/>
                      </a:lnTo>
                      <a:lnTo>
                        <a:pt x="62" y="54"/>
                      </a:lnTo>
                      <a:lnTo>
                        <a:pt x="64" y="54"/>
                      </a:lnTo>
                      <a:lnTo>
                        <a:pt x="65" y="51"/>
                      </a:lnTo>
                      <a:lnTo>
                        <a:pt x="70" y="45"/>
                      </a:lnTo>
                      <a:lnTo>
                        <a:pt x="72" y="39"/>
                      </a:lnTo>
                      <a:lnTo>
                        <a:pt x="75" y="35"/>
                      </a:lnTo>
                      <a:lnTo>
                        <a:pt x="75" y="35"/>
                      </a:lnTo>
                      <a:lnTo>
                        <a:pt x="75" y="33"/>
                      </a:lnTo>
                      <a:lnTo>
                        <a:pt x="75" y="32"/>
                      </a:lnTo>
                      <a:lnTo>
                        <a:pt x="74" y="29"/>
                      </a:lnTo>
                      <a:lnTo>
                        <a:pt x="71" y="25"/>
                      </a:lnTo>
                      <a:lnTo>
                        <a:pt x="70" y="2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03" name="Freeform 756"/>
                <p:cNvSpPr>
                  <a:spLocks/>
                </p:cNvSpPr>
                <p:nvPr/>
              </p:nvSpPr>
              <p:spPr bwMode="auto">
                <a:xfrm>
                  <a:off x="4970671" y="2743368"/>
                  <a:ext cx="24731" cy="32646"/>
                </a:xfrm>
                <a:custGeom>
                  <a:avLst/>
                  <a:gdLst>
                    <a:gd name="T0" fmla="*/ 24 w 25"/>
                    <a:gd name="T1" fmla="*/ 3 h 33"/>
                    <a:gd name="T2" fmla="*/ 24 w 25"/>
                    <a:gd name="T3" fmla="*/ 3 h 33"/>
                    <a:gd name="T4" fmla="*/ 19 w 25"/>
                    <a:gd name="T5" fmla="*/ 1 h 33"/>
                    <a:gd name="T6" fmla="*/ 12 w 25"/>
                    <a:gd name="T7" fmla="*/ 0 h 33"/>
                    <a:gd name="T8" fmla="*/ 12 w 25"/>
                    <a:gd name="T9" fmla="*/ 0 h 33"/>
                    <a:gd name="T10" fmla="*/ 8 w 25"/>
                    <a:gd name="T11" fmla="*/ 4 h 33"/>
                    <a:gd name="T12" fmla="*/ 6 w 25"/>
                    <a:gd name="T13" fmla="*/ 6 h 33"/>
                    <a:gd name="T14" fmla="*/ 6 w 25"/>
                    <a:gd name="T15" fmla="*/ 8 h 33"/>
                    <a:gd name="T16" fmla="*/ 6 w 25"/>
                    <a:gd name="T17" fmla="*/ 8 h 33"/>
                    <a:gd name="T18" fmla="*/ 5 w 25"/>
                    <a:gd name="T19" fmla="*/ 17 h 33"/>
                    <a:gd name="T20" fmla="*/ 0 w 25"/>
                    <a:gd name="T21" fmla="*/ 30 h 33"/>
                    <a:gd name="T22" fmla="*/ 0 w 25"/>
                    <a:gd name="T23" fmla="*/ 30 h 33"/>
                    <a:gd name="T24" fmla="*/ 10 w 25"/>
                    <a:gd name="T25" fmla="*/ 33 h 33"/>
                    <a:gd name="T26" fmla="*/ 10 w 25"/>
                    <a:gd name="T27" fmla="*/ 33 h 33"/>
                    <a:gd name="T28" fmla="*/ 13 w 25"/>
                    <a:gd name="T29" fmla="*/ 24 h 33"/>
                    <a:gd name="T30" fmla="*/ 19 w 25"/>
                    <a:gd name="T31" fmla="*/ 16 h 33"/>
                    <a:gd name="T32" fmla="*/ 24 w 25"/>
                    <a:gd name="T33" fmla="*/ 8 h 33"/>
                    <a:gd name="T34" fmla="*/ 25 w 25"/>
                    <a:gd name="T35" fmla="*/ 6 h 33"/>
                    <a:gd name="T36" fmla="*/ 24 w 25"/>
                    <a:gd name="T37" fmla="*/ 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5" h="33">
                      <a:moveTo>
                        <a:pt x="24" y="3"/>
                      </a:moveTo>
                      <a:lnTo>
                        <a:pt x="24" y="3"/>
                      </a:lnTo>
                      <a:lnTo>
                        <a:pt x="19" y="1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8" y="4"/>
                      </a:lnTo>
                      <a:lnTo>
                        <a:pt x="6" y="6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5" y="17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10" y="33"/>
                      </a:lnTo>
                      <a:lnTo>
                        <a:pt x="10" y="33"/>
                      </a:lnTo>
                      <a:lnTo>
                        <a:pt x="13" y="24"/>
                      </a:lnTo>
                      <a:lnTo>
                        <a:pt x="19" y="16"/>
                      </a:lnTo>
                      <a:lnTo>
                        <a:pt x="24" y="8"/>
                      </a:lnTo>
                      <a:lnTo>
                        <a:pt x="25" y="6"/>
                      </a:lnTo>
                      <a:lnTo>
                        <a:pt x="24" y="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04" name="Freeform 757"/>
                <p:cNvSpPr>
                  <a:spLocks/>
                </p:cNvSpPr>
                <p:nvPr/>
              </p:nvSpPr>
              <p:spPr bwMode="auto">
                <a:xfrm>
                  <a:off x="4970671" y="2743368"/>
                  <a:ext cx="24731" cy="32646"/>
                </a:xfrm>
                <a:custGeom>
                  <a:avLst/>
                  <a:gdLst>
                    <a:gd name="T0" fmla="*/ 24 w 25"/>
                    <a:gd name="T1" fmla="*/ 3 h 33"/>
                    <a:gd name="T2" fmla="*/ 24 w 25"/>
                    <a:gd name="T3" fmla="*/ 3 h 33"/>
                    <a:gd name="T4" fmla="*/ 19 w 25"/>
                    <a:gd name="T5" fmla="*/ 1 h 33"/>
                    <a:gd name="T6" fmla="*/ 12 w 25"/>
                    <a:gd name="T7" fmla="*/ 0 h 33"/>
                    <a:gd name="T8" fmla="*/ 12 w 25"/>
                    <a:gd name="T9" fmla="*/ 0 h 33"/>
                    <a:gd name="T10" fmla="*/ 8 w 25"/>
                    <a:gd name="T11" fmla="*/ 4 h 33"/>
                    <a:gd name="T12" fmla="*/ 6 w 25"/>
                    <a:gd name="T13" fmla="*/ 6 h 33"/>
                    <a:gd name="T14" fmla="*/ 6 w 25"/>
                    <a:gd name="T15" fmla="*/ 8 h 33"/>
                    <a:gd name="T16" fmla="*/ 6 w 25"/>
                    <a:gd name="T17" fmla="*/ 8 h 33"/>
                    <a:gd name="T18" fmla="*/ 5 w 25"/>
                    <a:gd name="T19" fmla="*/ 17 h 33"/>
                    <a:gd name="T20" fmla="*/ 0 w 25"/>
                    <a:gd name="T21" fmla="*/ 30 h 33"/>
                    <a:gd name="T22" fmla="*/ 0 w 25"/>
                    <a:gd name="T23" fmla="*/ 30 h 33"/>
                    <a:gd name="T24" fmla="*/ 10 w 25"/>
                    <a:gd name="T25" fmla="*/ 33 h 33"/>
                    <a:gd name="T26" fmla="*/ 10 w 25"/>
                    <a:gd name="T27" fmla="*/ 33 h 33"/>
                    <a:gd name="T28" fmla="*/ 13 w 25"/>
                    <a:gd name="T29" fmla="*/ 24 h 33"/>
                    <a:gd name="T30" fmla="*/ 19 w 25"/>
                    <a:gd name="T31" fmla="*/ 16 h 33"/>
                    <a:gd name="T32" fmla="*/ 24 w 25"/>
                    <a:gd name="T33" fmla="*/ 8 h 33"/>
                    <a:gd name="T34" fmla="*/ 25 w 25"/>
                    <a:gd name="T35" fmla="*/ 6 h 33"/>
                    <a:gd name="T36" fmla="*/ 24 w 25"/>
                    <a:gd name="T37" fmla="*/ 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5" h="33">
                      <a:moveTo>
                        <a:pt x="24" y="3"/>
                      </a:moveTo>
                      <a:lnTo>
                        <a:pt x="24" y="3"/>
                      </a:lnTo>
                      <a:lnTo>
                        <a:pt x="19" y="1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8" y="4"/>
                      </a:lnTo>
                      <a:lnTo>
                        <a:pt x="6" y="6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5" y="17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10" y="33"/>
                      </a:lnTo>
                      <a:lnTo>
                        <a:pt x="10" y="33"/>
                      </a:lnTo>
                      <a:lnTo>
                        <a:pt x="13" y="24"/>
                      </a:lnTo>
                      <a:lnTo>
                        <a:pt x="19" y="16"/>
                      </a:lnTo>
                      <a:lnTo>
                        <a:pt x="24" y="8"/>
                      </a:lnTo>
                      <a:lnTo>
                        <a:pt x="25" y="6"/>
                      </a:lnTo>
                      <a:lnTo>
                        <a:pt x="24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05" name="Freeform 758"/>
                <p:cNvSpPr>
                  <a:spLocks/>
                </p:cNvSpPr>
                <p:nvPr/>
              </p:nvSpPr>
              <p:spPr bwMode="auto">
                <a:xfrm>
                  <a:off x="4967703" y="2776013"/>
                  <a:ext cx="65291" cy="67270"/>
                </a:xfrm>
                <a:custGeom>
                  <a:avLst/>
                  <a:gdLst>
                    <a:gd name="T0" fmla="*/ 38 w 66"/>
                    <a:gd name="T1" fmla="*/ 10 h 68"/>
                    <a:gd name="T2" fmla="*/ 38 w 66"/>
                    <a:gd name="T3" fmla="*/ 10 h 68"/>
                    <a:gd name="T4" fmla="*/ 34 w 66"/>
                    <a:gd name="T5" fmla="*/ 12 h 68"/>
                    <a:gd name="T6" fmla="*/ 27 w 66"/>
                    <a:gd name="T7" fmla="*/ 12 h 68"/>
                    <a:gd name="T8" fmla="*/ 12 w 66"/>
                    <a:gd name="T9" fmla="*/ 12 h 68"/>
                    <a:gd name="T10" fmla="*/ 12 w 66"/>
                    <a:gd name="T11" fmla="*/ 12 h 68"/>
                    <a:gd name="T12" fmla="*/ 11 w 66"/>
                    <a:gd name="T13" fmla="*/ 30 h 68"/>
                    <a:gd name="T14" fmla="*/ 9 w 66"/>
                    <a:gd name="T15" fmla="*/ 44 h 68"/>
                    <a:gd name="T16" fmla="*/ 9 w 66"/>
                    <a:gd name="T17" fmla="*/ 44 h 68"/>
                    <a:gd name="T18" fmla="*/ 2 w 66"/>
                    <a:gd name="T19" fmla="*/ 61 h 68"/>
                    <a:gd name="T20" fmla="*/ 2 w 66"/>
                    <a:gd name="T21" fmla="*/ 61 h 68"/>
                    <a:gd name="T22" fmla="*/ 0 w 66"/>
                    <a:gd name="T23" fmla="*/ 68 h 68"/>
                    <a:gd name="T24" fmla="*/ 21 w 66"/>
                    <a:gd name="T25" fmla="*/ 68 h 68"/>
                    <a:gd name="T26" fmla="*/ 21 w 66"/>
                    <a:gd name="T27" fmla="*/ 68 h 68"/>
                    <a:gd name="T28" fmla="*/ 27 w 66"/>
                    <a:gd name="T29" fmla="*/ 67 h 68"/>
                    <a:gd name="T30" fmla="*/ 32 w 66"/>
                    <a:gd name="T31" fmla="*/ 64 h 68"/>
                    <a:gd name="T32" fmla="*/ 38 w 66"/>
                    <a:gd name="T33" fmla="*/ 61 h 68"/>
                    <a:gd name="T34" fmla="*/ 41 w 66"/>
                    <a:gd name="T35" fmla="*/ 57 h 68"/>
                    <a:gd name="T36" fmla="*/ 41 w 66"/>
                    <a:gd name="T37" fmla="*/ 57 h 68"/>
                    <a:gd name="T38" fmla="*/ 42 w 66"/>
                    <a:gd name="T39" fmla="*/ 55 h 68"/>
                    <a:gd name="T40" fmla="*/ 41 w 66"/>
                    <a:gd name="T41" fmla="*/ 52 h 68"/>
                    <a:gd name="T42" fmla="*/ 38 w 66"/>
                    <a:gd name="T43" fmla="*/ 46 h 68"/>
                    <a:gd name="T44" fmla="*/ 34 w 66"/>
                    <a:gd name="T45" fmla="*/ 41 h 68"/>
                    <a:gd name="T46" fmla="*/ 32 w 66"/>
                    <a:gd name="T47" fmla="*/ 36 h 68"/>
                    <a:gd name="T48" fmla="*/ 32 w 66"/>
                    <a:gd name="T49" fmla="*/ 36 h 68"/>
                    <a:gd name="T50" fmla="*/ 35 w 66"/>
                    <a:gd name="T51" fmla="*/ 33 h 68"/>
                    <a:gd name="T52" fmla="*/ 40 w 66"/>
                    <a:gd name="T53" fmla="*/ 29 h 68"/>
                    <a:gd name="T54" fmla="*/ 47 w 66"/>
                    <a:gd name="T55" fmla="*/ 25 h 68"/>
                    <a:gd name="T56" fmla="*/ 54 w 66"/>
                    <a:gd name="T57" fmla="*/ 22 h 68"/>
                    <a:gd name="T58" fmla="*/ 54 w 66"/>
                    <a:gd name="T59" fmla="*/ 22 h 68"/>
                    <a:gd name="T60" fmla="*/ 58 w 66"/>
                    <a:gd name="T61" fmla="*/ 22 h 68"/>
                    <a:gd name="T62" fmla="*/ 66 w 66"/>
                    <a:gd name="T63" fmla="*/ 22 h 68"/>
                    <a:gd name="T64" fmla="*/ 66 w 66"/>
                    <a:gd name="T65" fmla="*/ 22 h 68"/>
                    <a:gd name="T66" fmla="*/ 53 w 66"/>
                    <a:gd name="T67" fmla="*/ 0 h 68"/>
                    <a:gd name="T68" fmla="*/ 53 w 66"/>
                    <a:gd name="T69" fmla="*/ 0 h 68"/>
                    <a:gd name="T70" fmla="*/ 38 w 66"/>
                    <a:gd name="T71" fmla="*/ 10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66" h="68">
                      <a:moveTo>
                        <a:pt x="38" y="10"/>
                      </a:moveTo>
                      <a:lnTo>
                        <a:pt x="38" y="10"/>
                      </a:lnTo>
                      <a:lnTo>
                        <a:pt x="34" y="12"/>
                      </a:lnTo>
                      <a:lnTo>
                        <a:pt x="27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1" y="30"/>
                      </a:lnTo>
                      <a:lnTo>
                        <a:pt x="9" y="44"/>
                      </a:lnTo>
                      <a:lnTo>
                        <a:pt x="9" y="44"/>
                      </a:lnTo>
                      <a:lnTo>
                        <a:pt x="2" y="61"/>
                      </a:lnTo>
                      <a:lnTo>
                        <a:pt x="2" y="61"/>
                      </a:lnTo>
                      <a:lnTo>
                        <a:pt x="0" y="68"/>
                      </a:lnTo>
                      <a:lnTo>
                        <a:pt x="21" y="68"/>
                      </a:lnTo>
                      <a:lnTo>
                        <a:pt x="21" y="68"/>
                      </a:lnTo>
                      <a:lnTo>
                        <a:pt x="27" y="67"/>
                      </a:lnTo>
                      <a:lnTo>
                        <a:pt x="32" y="64"/>
                      </a:lnTo>
                      <a:lnTo>
                        <a:pt x="38" y="61"/>
                      </a:lnTo>
                      <a:lnTo>
                        <a:pt x="41" y="57"/>
                      </a:lnTo>
                      <a:lnTo>
                        <a:pt x="41" y="57"/>
                      </a:lnTo>
                      <a:lnTo>
                        <a:pt x="42" y="55"/>
                      </a:lnTo>
                      <a:lnTo>
                        <a:pt x="41" y="52"/>
                      </a:lnTo>
                      <a:lnTo>
                        <a:pt x="38" y="46"/>
                      </a:lnTo>
                      <a:lnTo>
                        <a:pt x="34" y="41"/>
                      </a:lnTo>
                      <a:lnTo>
                        <a:pt x="32" y="36"/>
                      </a:lnTo>
                      <a:lnTo>
                        <a:pt x="32" y="36"/>
                      </a:lnTo>
                      <a:lnTo>
                        <a:pt x="35" y="33"/>
                      </a:lnTo>
                      <a:lnTo>
                        <a:pt x="40" y="29"/>
                      </a:lnTo>
                      <a:lnTo>
                        <a:pt x="47" y="25"/>
                      </a:lnTo>
                      <a:lnTo>
                        <a:pt x="54" y="22"/>
                      </a:lnTo>
                      <a:lnTo>
                        <a:pt x="54" y="22"/>
                      </a:lnTo>
                      <a:lnTo>
                        <a:pt x="58" y="22"/>
                      </a:lnTo>
                      <a:lnTo>
                        <a:pt x="66" y="22"/>
                      </a:lnTo>
                      <a:lnTo>
                        <a:pt x="66" y="22"/>
                      </a:lnTo>
                      <a:lnTo>
                        <a:pt x="53" y="0"/>
                      </a:lnTo>
                      <a:lnTo>
                        <a:pt x="53" y="0"/>
                      </a:lnTo>
                      <a:lnTo>
                        <a:pt x="38" y="1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06" name="Freeform 759"/>
                <p:cNvSpPr>
                  <a:spLocks/>
                </p:cNvSpPr>
                <p:nvPr/>
              </p:nvSpPr>
              <p:spPr bwMode="auto">
                <a:xfrm>
                  <a:off x="4967703" y="2776013"/>
                  <a:ext cx="65291" cy="67270"/>
                </a:xfrm>
                <a:custGeom>
                  <a:avLst/>
                  <a:gdLst>
                    <a:gd name="T0" fmla="*/ 38 w 66"/>
                    <a:gd name="T1" fmla="*/ 10 h 68"/>
                    <a:gd name="T2" fmla="*/ 38 w 66"/>
                    <a:gd name="T3" fmla="*/ 10 h 68"/>
                    <a:gd name="T4" fmla="*/ 34 w 66"/>
                    <a:gd name="T5" fmla="*/ 12 h 68"/>
                    <a:gd name="T6" fmla="*/ 27 w 66"/>
                    <a:gd name="T7" fmla="*/ 12 h 68"/>
                    <a:gd name="T8" fmla="*/ 12 w 66"/>
                    <a:gd name="T9" fmla="*/ 12 h 68"/>
                    <a:gd name="T10" fmla="*/ 12 w 66"/>
                    <a:gd name="T11" fmla="*/ 12 h 68"/>
                    <a:gd name="T12" fmla="*/ 11 w 66"/>
                    <a:gd name="T13" fmla="*/ 30 h 68"/>
                    <a:gd name="T14" fmla="*/ 9 w 66"/>
                    <a:gd name="T15" fmla="*/ 44 h 68"/>
                    <a:gd name="T16" fmla="*/ 9 w 66"/>
                    <a:gd name="T17" fmla="*/ 44 h 68"/>
                    <a:gd name="T18" fmla="*/ 2 w 66"/>
                    <a:gd name="T19" fmla="*/ 61 h 68"/>
                    <a:gd name="T20" fmla="*/ 2 w 66"/>
                    <a:gd name="T21" fmla="*/ 61 h 68"/>
                    <a:gd name="T22" fmla="*/ 0 w 66"/>
                    <a:gd name="T23" fmla="*/ 68 h 68"/>
                    <a:gd name="T24" fmla="*/ 21 w 66"/>
                    <a:gd name="T25" fmla="*/ 68 h 68"/>
                    <a:gd name="T26" fmla="*/ 21 w 66"/>
                    <a:gd name="T27" fmla="*/ 68 h 68"/>
                    <a:gd name="T28" fmla="*/ 27 w 66"/>
                    <a:gd name="T29" fmla="*/ 67 h 68"/>
                    <a:gd name="T30" fmla="*/ 32 w 66"/>
                    <a:gd name="T31" fmla="*/ 64 h 68"/>
                    <a:gd name="T32" fmla="*/ 38 w 66"/>
                    <a:gd name="T33" fmla="*/ 61 h 68"/>
                    <a:gd name="T34" fmla="*/ 41 w 66"/>
                    <a:gd name="T35" fmla="*/ 57 h 68"/>
                    <a:gd name="T36" fmla="*/ 41 w 66"/>
                    <a:gd name="T37" fmla="*/ 57 h 68"/>
                    <a:gd name="T38" fmla="*/ 42 w 66"/>
                    <a:gd name="T39" fmla="*/ 55 h 68"/>
                    <a:gd name="T40" fmla="*/ 41 w 66"/>
                    <a:gd name="T41" fmla="*/ 52 h 68"/>
                    <a:gd name="T42" fmla="*/ 38 w 66"/>
                    <a:gd name="T43" fmla="*/ 46 h 68"/>
                    <a:gd name="T44" fmla="*/ 34 w 66"/>
                    <a:gd name="T45" fmla="*/ 41 h 68"/>
                    <a:gd name="T46" fmla="*/ 32 w 66"/>
                    <a:gd name="T47" fmla="*/ 36 h 68"/>
                    <a:gd name="T48" fmla="*/ 32 w 66"/>
                    <a:gd name="T49" fmla="*/ 36 h 68"/>
                    <a:gd name="T50" fmla="*/ 35 w 66"/>
                    <a:gd name="T51" fmla="*/ 33 h 68"/>
                    <a:gd name="T52" fmla="*/ 40 w 66"/>
                    <a:gd name="T53" fmla="*/ 29 h 68"/>
                    <a:gd name="T54" fmla="*/ 47 w 66"/>
                    <a:gd name="T55" fmla="*/ 25 h 68"/>
                    <a:gd name="T56" fmla="*/ 54 w 66"/>
                    <a:gd name="T57" fmla="*/ 22 h 68"/>
                    <a:gd name="T58" fmla="*/ 54 w 66"/>
                    <a:gd name="T59" fmla="*/ 22 h 68"/>
                    <a:gd name="T60" fmla="*/ 58 w 66"/>
                    <a:gd name="T61" fmla="*/ 22 h 68"/>
                    <a:gd name="T62" fmla="*/ 66 w 66"/>
                    <a:gd name="T63" fmla="*/ 22 h 68"/>
                    <a:gd name="T64" fmla="*/ 66 w 66"/>
                    <a:gd name="T65" fmla="*/ 22 h 68"/>
                    <a:gd name="T66" fmla="*/ 53 w 66"/>
                    <a:gd name="T67" fmla="*/ 0 h 68"/>
                    <a:gd name="T68" fmla="*/ 53 w 66"/>
                    <a:gd name="T69" fmla="*/ 0 h 68"/>
                    <a:gd name="T70" fmla="*/ 38 w 66"/>
                    <a:gd name="T71" fmla="*/ 10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66" h="68">
                      <a:moveTo>
                        <a:pt x="38" y="10"/>
                      </a:moveTo>
                      <a:lnTo>
                        <a:pt x="38" y="10"/>
                      </a:lnTo>
                      <a:lnTo>
                        <a:pt x="34" y="12"/>
                      </a:lnTo>
                      <a:lnTo>
                        <a:pt x="27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1" y="30"/>
                      </a:lnTo>
                      <a:lnTo>
                        <a:pt x="9" y="44"/>
                      </a:lnTo>
                      <a:lnTo>
                        <a:pt x="9" y="44"/>
                      </a:lnTo>
                      <a:lnTo>
                        <a:pt x="2" y="61"/>
                      </a:lnTo>
                      <a:lnTo>
                        <a:pt x="2" y="61"/>
                      </a:lnTo>
                      <a:lnTo>
                        <a:pt x="0" y="68"/>
                      </a:lnTo>
                      <a:lnTo>
                        <a:pt x="21" y="68"/>
                      </a:lnTo>
                      <a:lnTo>
                        <a:pt x="21" y="68"/>
                      </a:lnTo>
                      <a:lnTo>
                        <a:pt x="27" y="67"/>
                      </a:lnTo>
                      <a:lnTo>
                        <a:pt x="32" y="64"/>
                      </a:lnTo>
                      <a:lnTo>
                        <a:pt x="38" y="61"/>
                      </a:lnTo>
                      <a:lnTo>
                        <a:pt x="41" y="57"/>
                      </a:lnTo>
                      <a:lnTo>
                        <a:pt x="41" y="57"/>
                      </a:lnTo>
                      <a:lnTo>
                        <a:pt x="42" y="55"/>
                      </a:lnTo>
                      <a:lnTo>
                        <a:pt x="41" y="52"/>
                      </a:lnTo>
                      <a:lnTo>
                        <a:pt x="38" y="46"/>
                      </a:lnTo>
                      <a:lnTo>
                        <a:pt x="34" y="41"/>
                      </a:lnTo>
                      <a:lnTo>
                        <a:pt x="32" y="36"/>
                      </a:lnTo>
                      <a:lnTo>
                        <a:pt x="32" y="36"/>
                      </a:lnTo>
                      <a:lnTo>
                        <a:pt x="35" y="33"/>
                      </a:lnTo>
                      <a:lnTo>
                        <a:pt x="40" y="29"/>
                      </a:lnTo>
                      <a:lnTo>
                        <a:pt x="47" y="25"/>
                      </a:lnTo>
                      <a:lnTo>
                        <a:pt x="54" y="22"/>
                      </a:lnTo>
                      <a:lnTo>
                        <a:pt x="54" y="22"/>
                      </a:lnTo>
                      <a:lnTo>
                        <a:pt x="58" y="22"/>
                      </a:lnTo>
                      <a:lnTo>
                        <a:pt x="66" y="22"/>
                      </a:lnTo>
                      <a:lnTo>
                        <a:pt x="66" y="22"/>
                      </a:lnTo>
                      <a:lnTo>
                        <a:pt x="53" y="0"/>
                      </a:lnTo>
                      <a:lnTo>
                        <a:pt x="53" y="0"/>
                      </a:lnTo>
                      <a:lnTo>
                        <a:pt x="38" y="1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07" name="Freeform 760"/>
                <p:cNvSpPr>
                  <a:spLocks/>
                </p:cNvSpPr>
                <p:nvPr/>
              </p:nvSpPr>
              <p:spPr bwMode="auto">
                <a:xfrm>
                  <a:off x="5020134" y="2698851"/>
                  <a:ext cx="171142" cy="146410"/>
                </a:xfrm>
                <a:custGeom>
                  <a:avLst/>
                  <a:gdLst>
                    <a:gd name="T0" fmla="*/ 163 w 173"/>
                    <a:gd name="T1" fmla="*/ 116 h 148"/>
                    <a:gd name="T2" fmla="*/ 165 w 173"/>
                    <a:gd name="T3" fmla="*/ 101 h 148"/>
                    <a:gd name="T4" fmla="*/ 162 w 173"/>
                    <a:gd name="T5" fmla="*/ 97 h 148"/>
                    <a:gd name="T6" fmla="*/ 126 w 173"/>
                    <a:gd name="T7" fmla="*/ 55 h 148"/>
                    <a:gd name="T8" fmla="*/ 120 w 173"/>
                    <a:gd name="T9" fmla="*/ 45 h 148"/>
                    <a:gd name="T10" fmla="*/ 123 w 173"/>
                    <a:gd name="T11" fmla="*/ 40 h 148"/>
                    <a:gd name="T12" fmla="*/ 130 w 173"/>
                    <a:gd name="T13" fmla="*/ 32 h 148"/>
                    <a:gd name="T14" fmla="*/ 131 w 173"/>
                    <a:gd name="T15" fmla="*/ 27 h 148"/>
                    <a:gd name="T16" fmla="*/ 126 w 173"/>
                    <a:gd name="T17" fmla="*/ 22 h 148"/>
                    <a:gd name="T18" fmla="*/ 118 w 173"/>
                    <a:gd name="T19" fmla="*/ 11 h 148"/>
                    <a:gd name="T20" fmla="*/ 108 w 173"/>
                    <a:gd name="T21" fmla="*/ 9 h 148"/>
                    <a:gd name="T22" fmla="*/ 95 w 173"/>
                    <a:gd name="T23" fmla="*/ 4 h 148"/>
                    <a:gd name="T24" fmla="*/ 91 w 173"/>
                    <a:gd name="T25" fmla="*/ 3 h 148"/>
                    <a:gd name="T26" fmla="*/ 72 w 173"/>
                    <a:gd name="T27" fmla="*/ 0 h 148"/>
                    <a:gd name="T28" fmla="*/ 68 w 173"/>
                    <a:gd name="T29" fmla="*/ 6 h 148"/>
                    <a:gd name="T30" fmla="*/ 56 w 173"/>
                    <a:gd name="T31" fmla="*/ 22 h 148"/>
                    <a:gd name="T32" fmla="*/ 49 w 173"/>
                    <a:gd name="T33" fmla="*/ 39 h 148"/>
                    <a:gd name="T34" fmla="*/ 47 w 173"/>
                    <a:gd name="T35" fmla="*/ 42 h 148"/>
                    <a:gd name="T36" fmla="*/ 31 w 173"/>
                    <a:gd name="T37" fmla="*/ 55 h 148"/>
                    <a:gd name="T38" fmla="*/ 0 w 173"/>
                    <a:gd name="T39" fmla="*/ 78 h 148"/>
                    <a:gd name="T40" fmla="*/ 13 w 173"/>
                    <a:gd name="T41" fmla="*/ 100 h 148"/>
                    <a:gd name="T42" fmla="*/ 50 w 173"/>
                    <a:gd name="T43" fmla="*/ 108 h 148"/>
                    <a:gd name="T44" fmla="*/ 78 w 173"/>
                    <a:gd name="T45" fmla="*/ 116 h 148"/>
                    <a:gd name="T46" fmla="*/ 82 w 173"/>
                    <a:gd name="T47" fmla="*/ 120 h 148"/>
                    <a:gd name="T48" fmla="*/ 89 w 173"/>
                    <a:gd name="T49" fmla="*/ 133 h 148"/>
                    <a:gd name="T50" fmla="*/ 92 w 173"/>
                    <a:gd name="T51" fmla="*/ 137 h 148"/>
                    <a:gd name="T52" fmla="*/ 131 w 173"/>
                    <a:gd name="T53" fmla="*/ 148 h 148"/>
                    <a:gd name="T54" fmla="*/ 143 w 173"/>
                    <a:gd name="T55" fmla="*/ 137 h 148"/>
                    <a:gd name="T56" fmla="*/ 160 w 173"/>
                    <a:gd name="T57" fmla="*/ 139 h 148"/>
                    <a:gd name="T58" fmla="*/ 160 w 173"/>
                    <a:gd name="T59" fmla="*/ 136 h 148"/>
                    <a:gd name="T60" fmla="*/ 165 w 173"/>
                    <a:gd name="T61" fmla="*/ 135 h 148"/>
                    <a:gd name="T62" fmla="*/ 172 w 173"/>
                    <a:gd name="T63" fmla="*/ 133 h 148"/>
                    <a:gd name="T64" fmla="*/ 173 w 173"/>
                    <a:gd name="T65" fmla="*/ 133 h 148"/>
                    <a:gd name="T66" fmla="*/ 163 w 173"/>
                    <a:gd name="T67" fmla="*/ 116 h 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73" h="148">
                      <a:moveTo>
                        <a:pt x="163" y="116"/>
                      </a:moveTo>
                      <a:lnTo>
                        <a:pt x="163" y="116"/>
                      </a:lnTo>
                      <a:lnTo>
                        <a:pt x="165" y="107"/>
                      </a:lnTo>
                      <a:lnTo>
                        <a:pt x="165" y="101"/>
                      </a:lnTo>
                      <a:lnTo>
                        <a:pt x="162" y="97"/>
                      </a:lnTo>
                      <a:lnTo>
                        <a:pt x="162" y="97"/>
                      </a:lnTo>
                      <a:lnTo>
                        <a:pt x="139" y="71"/>
                      </a:lnTo>
                      <a:lnTo>
                        <a:pt x="126" y="55"/>
                      </a:lnTo>
                      <a:lnTo>
                        <a:pt x="121" y="48"/>
                      </a:lnTo>
                      <a:lnTo>
                        <a:pt x="120" y="45"/>
                      </a:lnTo>
                      <a:lnTo>
                        <a:pt x="120" y="45"/>
                      </a:lnTo>
                      <a:lnTo>
                        <a:pt x="123" y="40"/>
                      </a:lnTo>
                      <a:lnTo>
                        <a:pt x="127" y="36"/>
                      </a:lnTo>
                      <a:lnTo>
                        <a:pt x="130" y="32"/>
                      </a:lnTo>
                      <a:lnTo>
                        <a:pt x="131" y="29"/>
                      </a:lnTo>
                      <a:lnTo>
                        <a:pt x="131" y="27"/>
                      </a:lnTo>
                      <a:lnTo>
                        <a:pt x="131" y="27"/>
                      </a:lnTo>
                      <a:lnTo>
                        <a:pt x="126" y="22"/>
                      </a:lnTo>
                      <a:lnTo>
                        <a:pt x="118" y="11"/>
                      </a:lnTo>
                      <a:lnTo>
                        <a:pt x="118" y="11"/>
                      </a:lnTo>
                      <a:lnTo>
                        <a:pt x="108" y="9"/>
                      </a:lnTo>
                      <a:lnTo>
                        <a:pt x="108" y="9"/>
                      </a:lnTo>
                      <a:lnTo>
                        <a:pt x="100" y="7"/>
                      </a:lnTo>
                      <a:lnTo>
                        <a:pt x="95" y="4"/>
                      </a:lnTo>
                      <a:lnTo>
                        <a:pt x="91" y="3"/>
                      </a:lnTo>
                      <a:lnTo>
                        <a:pt x="91" y="3"/>
                      </a:lnTo>
                      <a:lnTo>
                        <a:pt x="85" y="1"/>
                      </a:lnTo>
                      <a:lnTo>
                        <a:pt x="72" y="0"/>
                      </a:lnTo>
                      <a:lnTo>
                        <a:pt x="72" y="0"/>
                      </a:lnTo>
                      <a:lnTo>
                        <a:pt x="68" y="6"/>
                      </a:lnTo>
                      <a:lnTo>
                        <a:pt x="63" y="10"/>
                      </a:lnTo>
                      <a:lnTo>
                        <a:pt x="56" y="22"/>
                      </a:lnTo>
                      <a:lnTo>
                        <a:pt x="50" y="33"/>
                      </a:lnTo>
                      <a:lnTo>
                        <a:pt x="49" y="39"/>
                      </a:lnTo>
                      <a:lnTo>
                        <a:pt x="49" y="39"/>
                      </a:lnTo>
                      <a:lnTo>
                        <a:pt x="47" y="42"/>
                      </a:lnTo>
                      <a:lnTo>
                        <a:pt x="45" y="45"/>
                      </a:lnTo>
                      <a:lnTo>
                        <a:pt x="31" y="55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13" y="100"/>
                      </a:lnTo>
                      <a:lnTo>
                        <a:pt x="13" y="100"/>
                      </a:lnTo>
                      <a:lnTo>
                        <a:pt x="31" y="104"/>
                      </a:lnTo>
                      <a:lnTo>
                        <a:pt x="50" y="108"/>
                      </a:lnTo>
                      <a:lnTo>
                        <a:pt x="68" y="113"/>
                      </a:lnTo>
                      <a:lnTo>
                        <a:pt x="78" y="116"/>
                      </a:lnTo>
                      <a:lnTo>
                        <a:pt x="78" y="116"/>
                      </a:lnTo>
                      <a:lnTo>
                        <a:pt x="82" y="120"/>
                      </a:lnTo>
                      <a:lnTo>
                        <a:pt x="87" y="127"/>
                      </a:lnTo>
                      <a:lnTo>
                        <a:pt x="89" y="133"/>
                      </a:lnTo>
                      <a:lnTo>
                        <a:pt x="92" y="137"/>
                      </a:lnTo>
                      <a:lnTo>
                        <a:pt x="92" y="137"/>
                      </a:lnTo>
                      <a:lnTo>
                        <a:pt x="107" y="142"/>
                      </a:lnTo>
                      <a:lnTo>
                        <a:pt x="131" y="148"/>
                      </a:lnTo>
                      <a:lnTo>
                        <a:pt x="143" y="137"/>
                      </a:lnTo>
                      <a:lnTo>
                        <a:pt x="143" y="137"/>
                      </a:lnTo>
                      <a:lnTo>
                        <a:pt x="160" y="139"/>
                      </a:lnTo>
                      <a:lnTo>
                        <a:pt x="160" y="139"/>
                      </a:lnTo>
                      <a:lnTo>
                        <a:pt x="160" y="136"/>
                      </a:lnTo>
                      <a:lnTo>
                        <a:pt x="160" y="136"/>
                      </a:lnTo>
                      <a:lnTo>
                        <a:pt x="162" y="135"/>
                      </a:lnTo>
                      <a:lnTo>
                        <a:pt x="165" y="135"/>
                      </a:lnTo>
                      <a:lnTo>
                        <a:pt x="172" y="133"/>
                      </a:lnTo>
                      <a:lnTo>
                        <a:pt x="172" y="133"/>
                      </a:lnTo>
                      <a:lnTo>
                        <a:pt x="173" y="133"/>
                      </a:lnTo>
                      <a:lnTo>
                        <a:pt x="173" y="133"/>
                      </a:lnTo>
                      <a:lnTo>
                        <a:pt x="168" y="124"/>
                      </a:lnTo>
                      <a:lnTo>
                        <a:pt x="163" y="11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08" name="Freeform 761"/>
                <p:cNvSpPr>
                  <a:spLocks/>
                </p:cNvSpPr>
                <p:nvPr/>
              </p:nvSpPr>
              <p:spPr bwMode="auto">
                <a:xfrm>
                  <a:off x="5020134" y="2698851"/>
                  <a:ext cx="171142" cy="146410"/>
                </a:xfrm>
                <a:custGeom>
                  <a:avLst/>
                  <a:gdLst>
                    <a:gd name="T0" fmla="*/ 163 w 173"/>
                    <a:gd name="T1" fmla="*/ 116 h 148"/>
                    <a:gd name="T2" fmla="*/ 165 w 173"/>
                    <a:gd name="T3" fmla="*/ 101 h 148"/>
                    <a:gd name="T4" fmla="*/ 162 w 173"/>
                    <a:gd name="T5" fmla="*/ 97 h 148"/>
                    <a:gd name="T6" fmla="*/ 126 w 173"/>
                    <a:gd name="T7" fmla="*/ 55 h 148"/>
                    <a:gd name="T8" fmla="*/ 120 w 173"/>
                    <a:gd name="T9" fmla="*/ 45 h 148"/>
                    <a:gd name="T10" fmla="*/ 123 w 173"/>
                    <a:gd name="T11" fmla="*/ 40 h 148"/>
                    <a:gd name="T12" fmla="*/ 130 w 173"/>
                    <a:gd name="T13" fmla="*/ 32 h 148"/>
                    <a:gd name="T14" fmla="*/ 131 w 173"/>
                    <a:gd name="T15" fmla="*/ 27 h 148"/>
                    <a:gd name="T16" fmla="*/ 126 w 173"/>
                    <a:gd name="T17" fmla="*/ 22 h 148"/>
                    <a:gd name="T18" fmla="*/ 118 w 173"/>
                    <a:gd name="T19" fmla="*/ 11 h 148"/>
                    <a:gd name="T20" fmla="*/ 108 w 173"/>
                    <a:gd name="T21" fmla="*/ 9 h 148"/>
                    <a:gd name="T22" fmla="*/ 95 w 173"/>
                    <a:gd name="T23" fmla="*/ 4 h 148"/>
                    <a:gd name="T24" fmla="*/ 91 w 173"/>
                    <a:gd name="T25" fmla="*/ 3 h 148"/>
                    <a:gd name="T26" fmla="*/ 72 w 173"/>
                    <a:gd name="T27" fmla="*/ 0 h 148"/>
                    <a:gd name="T28" fmla="*/ 68 w 173"/>
                    <a:gd name="T29" fmla="*/ 6 h 148"/>
                    <a:gd name="T30" fmla="*/ 56 w 173"/>
                    <a:gd name="T31" fmla="*/ 22 h 148"/>
                    <a:gd name="T32" fmla="*/ 49 w 173"/>
                    <a:gd name="T33" fmla="*/ 39 h 148"/>
                    <a:gd name="T34" fmla="*/ 47 w 173"/>
                    <a:gd name="T35" fmla="*/ 42 h 148"/>
                    <a:gd name="T36" fmla="*/ 31 w 173"/>
                    <a:gd name="T37" fmla="*/ 55 h 148"/>
                    <a:gd name="T38" fmla="*/ 0 w 173"/>
                    <a:gd name="T39" fmla="*/ 78 h 148"/>
                    <a:gd name="T40" fmla="*/ 13 w 173"/>
                    <a:gd name="T41" fmla="*/ 100 h 148"/>
                    <a:gd name="T42" fmla="*/ 50 w 173"/>
                    <a:gd name="T43" fmla="*/ 108 h 148"/>
                    <a:gd name="T44" fmla="*/ 78 w 173"/>
                    <a:gd name="T45" fmla="*/ 116 h 148"/>
                    <a:gd name="T46" fmla="*/ 82 w 173"/>
                    <a:gd name="T47" fmla="*/ 120 h 148"/>
                    <a:gd name="T48" fmla="*/ 89 w 173"/>
                    <a:gd name="T49" fmla="*/ 133 h 148"/>
                    <a:gd name="T50" fmla="*/ 92 w 173"/>
                    <a:gd name="T51" fmla="*/ 137 h 148"/>
                    <a:gd name="T52" fmla="*/ 131 w 173"/>
                    <a:gd name="T53" fmla="*/ 148 h 148"/>
                    <a:gd name="T54" fmla="*/ 143 w 173"/>
                    <a:gd name="T55" fmla="*/ 137 h 148"/>
                    <a:gd name="T56" fmla="*/ 160 w 173"/>
                    <a:gd name="T57" fmla="*/ 139 h 148"/>
                    <a:gd name="T58" fmla="*/ 160 w 173"/>
                    <a:gd name="T59" fmla="*/ 136 h 148"/>
                    <a:gd name="T60" fmla="*/ 165 w 173"/>
                    <a:gd name="T61" fmla="*/ 135 h 148"/>
                    <a:gd name="T62" fmla="*/ 172 w 173"/>
                    <a:gd name="T63" fmla="*/ 133 h 148"/>
                    <a:gd name="T64" fmla="*/ 173 w 173"/>
                    <a:gd name="T65" fmla="*/ 133 h 148"/>
                    <a:gd name="T66" fmla="*/ 163 w 173"/>
                    <a:gd name="T67" fmla="*/ 116 h 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73" h="148">
                      <a:moveTo>
                        <a:pt x="163" y="116"/>
                      </a:moveTo>
                      <a:lnTo>
                        <a:pt x="163" y="116"/>
                      </a:lnTo>
                      <a:lnTo>
                        <a:pt x="165" y="107"/>
                      </a:lnTo>
                      <a:lnTo>
                        <a:pt x="165" y="101"/>
                      </a:lnTo>
                      <a:lnTo>
                        <a:pt x="162" y="97"/>
                      </a:lnTo>
                      <a:lnTo>
                        <a:pt x="162" y="97"/>
                      </a:lnTo>
                      <a:lnTo>
                        <a:pt x="139" y="71"/>
                      </a:lnTo>
                      <a:lnTo>
                        <a:pt x="126" y="55"/>
                      </a:lnTo>
                      <a:lnTo>
                        <a:pt x="121" y="48"/>
                      </a:lnTo>
                      <a:lnTo>
                        <a:pt x="120" y="45"/>
                      </a:lnTo>
                      <a:lnTo>
                        <a:pt x="120" y="45"/>
                      </a:lnTo>
                      <a:lnTo>
                        <a:pt x="123" y="40"/>
                      </a:lnTo>
                      <a:lnTo>
                        <a:pt x="127" y="36"/>
                      </a:lnTo>
                      <a:lnTo>
                        <a:pt x="130" y="32"/>
                      </a:lnTo>
                      <a:lnTo>
                        <a:pt x="131" y="29"/>
                      </a:lnTo>
                      <a:lnTo>
                        <a:pt x="131" y="27"/>
                      </a:lnTo>
                      <a:lnTo>
                        <a:pt x="131" y="27"/>
                      </a:lnTo>
                      <a:lnTo>
                        <a:pt x="126" y="22"/>
                      </a:lnTo>
                      <a:lnTo>
                        <a:pt x="118" y="11"/>
                      </a:lnTo>
                      <a:lnTo>
                        <a:pt x="118" y="11"/>
                      </a:lnTo>
                      <a:lnTo>
                        <a:pt x="108" y="9"/>
                      </a:lnTo>
                      <a:lnTo>
                        <a:pt x="108" y="9"/>
                      </a:lnTo>
                      <a:lnTo>
                        <a:pt x="100" y="7"/>
                      </a:lnTo>
                      <a:lnTo>
                        <a:pt x="95" y="4"/>
                      </a:lnTo>
                      <a:lnTo>
                        <a:pt x="91" y="3"/>
                      </a:lnTo>
                      <a:lnTo>
                        <a:pt x="91" y="3"/>
                      </a:lnTo>
                      <a:lnTo>
                        <a:pt x="85" y="1"/>
                      </a:lnTo>
                      <a:lnTo>
                        <a:pt x="72" y="0"/>
                      </a:lnTo>
                      <a:lnTo>
                        <a:pt x="72" y="0"/>
                      </a:lnTo>
                      <a:lnTo>
                        <a:pt x="68" y="6"/>
                      </a:lnTo>
                      <a:lnTo>
                        <a:pt x="63" y="10"/>
                      </a:lnTo>
                      <a:lnTo>
                        <a:pt x="56" y="22"/>
                      </a:lnTo>
                      <a:lnTo>
                        <a:pt x="50" y="33"/>
                      </a:lnTo>
                      <a:lnTo>
                        <a:pt x="49" y="39"/>
                      </a:lnTo>
                      <a:lnTo>
                        <a:pt x="49" y="39"/>
                      </a:lnTo>
                      <a:lnTo>
                        <a:pt x="47" y="42"/>
                      </a:lnTo>
                      <a:lnTo>
                        <a:pt x="45" y="45"/>
                      </a:lnTo>
                      <a:lnTo>
                        <a:pt x="31" y="55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13" y="100"/>
                      </a:lnTo>
                      <a:lnTo>
                        <a:pt x="13" y="100"/>
                      </a:lnTo>
                      <a:lnTo>
                        <a:pt x="31" y="104"/>
                      </a:lnTo>
                      <a:lnTo>
                        <a:pt x="50" y="108"/>
                      </a:lnTo>
                      <a:lnTo>
                        <a:pt x="68" y="113"/>
                      </a:lnTo>
                      <a:lnTo>
                        <a:pt x="78" y="116"/>
                      </a:lnTo>
                      <a:lnTo>
                        <a:pt x="78" y="116"/>
                      </a:lnTo>
                      <a:lnTo>
                        <a:pt x="82" y="120"/>
                      </a:lnTo>
                      <a:lnTo>
                        <a:pt x="87" y="127"/>
                      </a:lnTo>
                      <a:lnTo>
                        <a:pt x="89" y="133"/>
                      </a:lnTo>
                      <a:lnTo>
                        <a:pt x="92" y="137"/>
                      </a:lnTo>
                      <a:lnTo>
                        <a:pt x="92" y="137"/>
                      </a:lnTo>
                      <a:lnTo>
                        <a:pt x="107" y="142"/>
                      </a:lnTo>
                      <a:lnTo>
                        <a:pt x="131" y="148"/>
                      </a:lnTo>
                      <a:lnTo>
                        <a:pt x="143" y="137"/>
                      </a:lnTo>
                      <a:lnTo>
                        <a:pt x="143" y="137"/>
                      </a:lnTo>
                      <a:lnTo>
                        <a:pt x="160" y="139"/>
                      </a:lnTo>
                      <a:lnTo>
                        <a:pt x="160" y="139"/>
                      </a:lnTo>
                      <a:lnTo>
                        <a:pt x="160" y="136"/>
                      </a:lnTo>
                      <a:lnTo>
                        <a:pt x="160" y="136"/>
                      </a:lnTo>
                      <a:lnTo>
                        <a:pt x="162" y="135"/>
                      </a:lnTo>
                      <a:lnTo>
                        <a:pt x="165" y="135"/>
                      </a:lnTo>
                      <a:lnTo>
                        <a:pt x="172" y="133"/>
                      </a:lnTo>
                      <a:lnTo>
                        <a:pt x="172" y="133"/>
                      </a:lnTo>
                      <a:lnTo>
                        <a:pt x="173" y="133"/>
                      </a:lnTo>
                      <a:lnTo>
                        <a:pt x="173" y="133"/>
                      </a:lnTo>
                      <a:lnTo>
                        <a:pt x="168" y="124"/>
                      </a:lnTo>
                      <a:lnTo>
                        <a:pt x="163" y="11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11" name="Freeform 764"/>
                <p:cNvSpPr>
                  <a:spLocks/>
                </p:cNvSpPr>
                <p:nvPr/>
              </p:nvSpPr>
              <p:spPr bwMode="auto">
                <a:xfrm>
                  <a:off x="5583023" y="2491106"/>
                  <a:ext cx="87055" cy="38581"/>
                </a:xfrm>
                <a:custGeom>
                  <a:avLst/>
                  <a:gdLst>
                    <a:gd name="T0" fmla="*/ 88 w 88"/>
                    <a:gd name="T1" fmla="*/ 1 h 39"/>
                    <a:gd name="T2" fmla="*/ 88 w 88"/>
                    <a:gd name="T3" fmla="*/ 1 h 39"/>
                    <a:gd name="T4" fmla="*/ 85 w 88"/>
                    <a:gd name="T5" fmla="*/ 6 h 39"/>
                    <a:gd name="T6" fmla="*/ 84 w 88"/>
                    <a:gd name="T7" fmla="*/ 7 h 39"/>
                    <a:gd name="T8" fmla="*/ 82 w 88"/>
                    <a:gd name="T9" fmla="*/ 7 h 39"/>
                    <a:gd name="T10" fmla="*/ 82 w 88"/>
                    <a:gd name="T11" fmla="*/ 7 h 39"/>
                    <a:gd name="T12" fmla="*/ 64 w 88"/>
                    <a:gd name="T13" fmla="*/ 10 h 39"/>
                    <a:gd name="T14" fmla="*/ 64 w 88"/>
                    <a:gd name="T15" fmla="*/ 10 h 39"/>
                    <a:gd name="T16" fmla="*/ 49 w 88"/>
                    <a:gd name="T17" fmla="*/ 7 h 39"/>
                    <a:gd name="T18" fmla="*/ 39 w 88"/>
                    <a:gd name="T19" fmla="*/ 7 h 39"/>
                    <a:gd name="T20" fmla="*/ 33 w 88"/>
                    <a:gd name="T21" fmla="*/ 7 h 39"/>
                    <a:gd name="T22" fmla="*/ 33 w 88"/>
                    <a:gd name="T23" fmla="*/ 7 h 39"/>
                    <a:gd name="T24" fmla="*/ 29 w 88"/>
                    <a:gd name="T25" fmla="*/ 10 h 39"/>
                    <a:gd name="T26" fmla="*/ 26 w 88"/>
                    <a:gd name="T27" fmla="*/ 11 h 39"/>
                    <a:gd name="T28" fmla="*/ 24 w 88"/>
                    <a:gd name="T29" fmla="*/ 14 h 39"/>
                    <a:gd name="T30" fmla="*/ 24 w 88"/>
                    <a:gd name="T31" fmla="*/ 14 h 39"/>
                    <a:gd name="T32" fmla="*/ 22 w 88"/>
                    <a:gd name="T33" fmla="*/ 20 h 39"/>
                    <a:gd name="T34" fmla="*/ 20 w 88"/>
                    <a:gd name="T35" fmla="*/ 23 h 39"/>
                    <a:gd name="T36" fmla="*/ 17 w 88"/>
                    <a:gd name="T37" fmla="*/ 24 h 39"/>
                    <a:gd name="T38" fmla="*/ 17 w 88"/>
                    <a:gd name="T39" fmla="*/ 24 h 39"/>
                    <a:gd name="T40" fmla="*/ 17 w 88"/>
                    <a:gd name="T41" fmla="*/ 26 h 39"/>
                    <a:gd name="T42" fmla="*/ 17 w 88"/>
                    <a:gd name="T43" fmla="*/ 27 h 39"/>
                    <a:gd name="T44" fmla="*/ 16 w 88"/>
                    <a:gd name="T45" fmla="*/ 35 h 39"/>
                    <a:gd name="T46" fmla="*/ 16 w 88"/>
                    <a:gd name="T47" fmla="*/ 36 h 39"/>
                    <a:gd name="T48" fmla="*/ 14 w 88"/>
                    <a:gd name="T49" fmla="*/ 39 h 39"/>
                    <a:gd name="T50" fmla="*/ 11 w 88"/>
                    <a:gd name="T51" fmla="*/ 39 h 39"/>
                    <a:gd name="T52" fmla="*/ 8 w 88"/>
                    <a:gd name="T53" fmla="*/ 36 h 39"/>
                    <a:gd name="T54" fmla="*/ 8 w 88"/>
                    <a:gd name="T55" fmla="*/ 36 h 39"/>
                    <a:gd name="T56" fmla="*/ 4 w 88"/>
                    <a:gd name="T57" fmla="*/ 35 h 39"/>
                    <a:gd name="T58" fmla="*/ 1 w 88"/>
                    <a:gd name="T59" fmla="*/ 33 h 39"/>
                    <a:gd name="T60" fmla="*/ 0 w 88"/>
                    <a:gd name="T61" fmla="*/ 30 h 39"/>
                    <a:gd name="T62" fmla="*/ 0 w 88"/>
                    <a:gd name="T63" fmla="*/ 30 h 39"/>
                    <a:gd name="T64" fmla="*/ 0 w 88"/>
                    <a:gd name="T65" fmla="*/ 26 h 39"/>
                    <a:gd name="T66" fmla="*/ 1 w 88"/>
                    <a:gd name="T67" fmla="*/ 22 h 39"/>
                    <a:gd name="T68" fmla="*/ 3 w 88"/>
                    <a:gd name="T69" fmla="*/ 17 h 39"/>
                    <a:gd name="T70" fmla="*/ 3 w 88"/>
                    <a:gd name="T71" fmla="*/ 13 h 39"/>
                    <a:gd name="T72" fmla="*/ 3 w 88"/>
                    <a:gd name="T73" fmla="*/ 13 h 39"/>
                    <a:gd name="T74" fmla="*/ 3 w 88"/>
                    <a:gd name="T75" fmla="*/ 10 h 39"/>
                    <a:gd name="T76" fmla="*/ 6 w 88"/>
                    <a:gd name="T77" fmla="*/ 7 h 39"/>
                    <a:gd name="T78" fmla="*/ 13 w 88"/>
                    <a:gd name="T79" fmla="*/ 4 h 39"/>
                    <a:gd name="T80" fmla="*/ 13 w 88"/>
                    <a:gd name="T81" fmla="*/ 4 h 39"/>
                    <a:gd name="T82" fmla="*/ 19 w 88"/>
                    <a:gd name="T83" fmla="*/ 1 h 39"/>
                    <a:gd name="T84" fmla="*/ 22 w 88"/>
                    <a:gd name="T85" fmla="*/ 0 h 39"/>
                    <a:gd name="T86" fmla="*/ 24 w 88"/>
                    <a:gd name="T87" fmla="*/ 0 h 39"/>
                    <a:gd name="T88" fmla="*/ 24 w 88"/>
                    <a:gd name="T89" fmla="*/ 0 h 39"/>
                    <a:gd name="T90" fmla="*/ 33 w 88"/>
                    <a:gd name="T91" fmla="*/ 1 h 39"/>
                    <a:gd name="T92" fmla="*/ 42 w 88"/>
                    <a:gd name="T93" fmla="*/ 1 h 39"/>
                    <a:gd name="T94" fmla="*/ 42 w 88"/>
                    <a:gd name="T95" fmla="*/ 1 h 39"/>
                    <a:gd name="T96" fmla="*/ 58 w 88"/>
                    <a:gd name="T97" fmla="*/ 3 h 39"/>
                    <a:gd name="T98" fmla="*/ 65 w 88"/>
                    <a:gd name="T99" fmla="*/ 4 h 39"/>
                    <a:gd name="T100" fmla="*/ 71 w 88"/>
                    <a:gd name="T101" fmla="*/ 4 h 39"/>
                    <a:gd name="T102" fmla="*/ 71 w 88"/>
                    <a:gd name="T103" fmla="*/ 4 h 39"/>
                    <a:gd name="T104" fmla="*/ 82 w 88"/>
                    <a:gd name="T105" fmla="*/ 1 h 39"/>
                    <a:gd name="T106" fmla="*/ 87 w 88"/>
                    <a:gd name="T107" fmla="*/ 1 h 39"/>
                    <a:gd name="T108" fmla="*/ 88 w 88"/>
                    <a:gd name="T109" fmla="*/ 1 h 39"/>
                    <a:gd name="T110" fmla="*/ 88 w 88"/>
                    <a:gd name="T111" fmla="*/ 1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88" h="39">
                      <a:moveTo>
                        <a:pt x="88" y="1"/>
                      </a:moveTo>
                      <a:lnTo>
                        <a:pt x="88" y="1"/>
                      </a:lnTo>
                      <a:lnTo>
                        <a:pt x="85" y="6"/>
                      </a:lnTo>
                      <a:lnTo>
                        <a:pt x="84" y="7"/>
                      </a:lnTo>
                      <a:lnTo>
                        <a:pt x="82" y="7"/>
                      </a:lnTo>
                      <a:lnTo>
                        <a:pt x="82" y="7"/>
                      </a:lnTo>
                      <a:lnTo>
                        <a:pt x="64" y="10"/>
                      </a:lnTo>
                      <a:lnTo>
                        <a:pt x="64" y="10"/>
                      </a:lnTo>
                      <a:lnTo>
                        <a:pt x="49" y="7"/>
                      </a:lnTo>
                      <a:lnTo>
                        <a:pt x="39" y="7"/>
                      </a:lnTo>
                      <a:lnTo>
                        <a:pt x="33" y="7"/>
                      </a:lnTo>
                      <a:lnTo>
                        <a:pt x="33" y="7"/>
                      </a:lnTo>
                      <a:lnTo>
                        <a:pt x="29" y="10"/>
                      </a:lnTo>
                      <a:lnTo>
                        <a:pt x="26" y="11"/>
                      </a:lnTo>
                      <a:lnTo>
                        <a:pt x="24" y="14"/>
                      </a:lnTo>
                      <a:lnTo>
                        <a:pt x="24" y="14"/>
                      </a:lnTo>
                      <a:lnTo>
                        <a:pt x="22" y="20"/>
                      </a:lnTo>
                      <a:lnTo>
                        <a:pt x="20" y="23"/>
                      </a:lnTo>
                      <a:lnTo>
                        <a:pt x="17" y="24"/>
                      </a:lnTo>
                      <a:lnTo>
                        <a:pt x="17" y="24"/>
                      </a:lnTo>
                      <a:lnTo>
                        <a:pt x="17" y="26"/>
                      </a:lnTo>
                      <a:lnTo>
                        <a:pt x="17" y="27"/>
                      </a:lnTo>
                      <a:lnTo>
                        <a:pt x="16" y="35"/>
                      </a:lnTo>
                      <a:lnTo>
                        <a:pt x="16" y="36"/>
                      </a:lnTo>
                      <a:lnTo>
                        <a:pt x="14" y="39"/>
                      </a:lnTo>
                      <a:lnTo>
                        <a:pt x="11" y="39"/>
                      </a:ln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4" y="35"/>
                      </a:lnTo>
                      <a:lnTo>
                        <a:pt x="1" y="33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1" y="22"/>
                      </a:lnTo>
                      <a:lnTo>
                        <a:pt x="3" y="17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0"/>
                      </a:lnTo>
                      <a:lnTo>
                        <a:pt x="6" y="7"/>
                      </a:lnTo>
                      <a:lnTo>
                        <a:pt x="13" y="4"/>
                      </a:lnTo>
                      <a:lnTo>
                        <a:pt x="13" y="4"/>
                      </a:lnTo>
                      <a:lnTo>
                        <a:pt x="19" y="1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33" y="1"/>
                      </a:lnTo>
                      <a:lnTo>
                        <a:pt x="42" y="1"/>
                      </a:lnTo>
                      <a:lnTo>
                        <a:pt x="42" y="1"/>
                      </a:lnTo>
                      <a:lnTo>
                        <a:pt x="58" y="3"/>
                      </a:lnTo>
                      <a:lnTo>
                        <a:pt x="65" y="4"/>
                      </a:lnTo>
                      <a:lnTo>
                        <a:pt x="71" y="4"/>
                      </a:lnTo>
                      <a:lnTo>
                        <a:pt x="71" y="4"/>
                      </a:lnTo>
                      <a:lnTo>
                        <a:pt x="82" y="1"/>
                      </a:lnTo>
                      <a:lnTo>
                        <a:pt x="87" y="1"/>
                      </a:lnTo>
                      <a:lnTo>
                        <a:pt x="88" y="1"/>
                      </a:lnTo>
                      <a:lnTo>
                        <a:pt x="88" y="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21" name="Freeform 774"/>
                <p:cNvSpPr>
                  <a:spLocks/>
                </p:cNvSpPr>
                <p:nvPr/>
              </p:nvSpPr>
              <p:spPr bwMode="auto">
                <a:xfrm>
                  <a:off x="5385171" y="2696872"/>
                  <a:ext cx="246326" cy="242369"/>
                </a:xfrm>
                <a:custGeom>
                  <a:avLst/>
                  <a:gdLst>
                    <a:gd name="T0" fmla="*/ 169 w 249"/>
                    <a:gd name="T1" fmla="*/ 12 h 245"/>
                    <a:gd name="T2" fmla="*/ 164 w 249"/>
                    <a:gd name="T3" fmla="*/ 18 h 245"/>
                    <a:gd name="T4" fmla="*/ 168 w 249"/>
                    <a:gd name="T5" fmla="*/ 34 h 245"/>
                    <a:gd name="T6" fmla="*/ 162 w 249"/>
                    <a:gd name="T7" fmla="*/ 44 h 245"/>
                    <a:gd name="T8" fmla="*/ 164 w 249"/>
                    <a:gd name="T9" fmla="*/ 57 h 245"/>
                    <a:gd name="T10" fmla="*/ 156 w 249"/>
                    <a:gd name="T11" fmla="*/ 68 h 245"/>
                    <a:gd name="T12" fmla="*/ 145 w 249"/>
                    <a:gd name="T13" fmla="*/ 74 h 245"/>
                    <a:gd name="T14" fmla="*/ 135 w 249"/>
                    <a:gd name="T15" fmla="*/ 92 h 245"/>
                    <a:gd name="T16" fmla="*/ 129 w 249"/>
                    <a:gd name="T17" fmla="*/ 99 h 245"/>
                    <a:gd name="T18" fmla="*/ 110 w 249"/>
                    <a:gd name="T19" fmla="*/ 102 h 245"/>
                    <a:gd name="T20" fmla="*/ 103 w 249"/>
                    <a:gd name="T21" fmla="*/ 109 h 245"/>
                    <a:gd name="T22" fmla="*/ 97 w 249"/>
                    <a:gd name="T23" fmla="*/ 115 h 245"/>
                    <a:gd name="T24" fmla="*/ 82 w 249"/>
                    <a:gd name="T25" fmla="*/ 121 h 245"/>
                    <a:gd name="T26" fmla="*/ 65 w 249"/>
                    <a:gd name="T27" fmla="*/ 142 h 245"/>
                    <a:gd name="T28" fmla="*/ 27 w 249"/>
                    <a:gd name="T29" fmla="*/ 142 h 245"/>
                    <a:gd name="T30" fmla="*/ 4 w 249"/>
                    <a:gd name="T31" fmla="*/ 151 h 245"/>
                    <a:gd name="T32" fmla="*/ 22 w 249"/>
                    <a:gd name="T33" fmla="*/ 168 h 245"/>
                    <a:gd name="T34" fmla="*/ 26 w 249"/>
                    <a:gd name="T35" fmla="*/ 183 h 245"/>
                    <a:gd name="T36" fmla="*/ 32 w 249"/>
                    <a:gd name="T37" fmla="*/ 192 h 245"/>
                    <a:gd name="T38" fmla="*/ 27 w 249"/>
                    <a:gd name="T39" fmla="*/ 193 h 245"/>
                    <a:gd name="T40" fmla="*/ 14 w 249"/>
                    <a:gd name="T41" fmla="*/ 197 h 245"/>
                    <a:gd name="T42" fmla="*/ 14 w 249"/>
                    <a:gd name="T43" fmla="*/ 222 h 245"/>
                    <a:gd name="T44" fmla="*/ 40 w 249"/>
                    <a:gd name="T45" fmla="*/ 218 h 245"/>
                    <a:gd name="T46" fmla="*/ 52 w 249"/>
                    <a:gd name="T47" fmla="*/ 221 h 245"/>
                    <a:gd name="T48" fmla="*/ 71 w 249"/>
                    <a:gd name="T49" fmla="*/ 219 h 245"/>
                    <a:gd name="T50" fmla="*/ 88 w 249"/>
                    <a:gd name="T51" fmla="*/ 219 h 245"/>
                    <a:gd name="T52" fmla="*/ 96 w 249"/>
                    <a:gd name="T53" fmla="*/ 231 h 245"/>
                    <a:gd name="T54" fmla="*/ 103 w 249"/>
                    <a:gd name="T55" fmla="*/ 244 h 245"/>
                    <a:gd name="T56" fmla="*/ 116 w 249"/>
                    <a:gd name="T57" fmla="*/ 245 h 245"/>
                    <a:gd name="T58" fmla="*/ 124 w 249"/>
                    <a:gd name="T59" fmla="*/ 238 h 245"/>
                    <a:gd name="T60" fmla="*/ 153 w 249"/>
                    <a:gd name="T61" fmla="*/ 235 h 245"/>
                    <a:gd name="T62" fmla="*/ 156 w 249"/>
                    <a:gd name="T63" fmla="*/ 213 h 245"/>
                    <a:gd name="T64" fmla="*/ 156 w 249"/>
                    <a:gd name="T65" fmla="*/ 180 h 245"/>
                    <a:gd name="T66" fmla="*/ 171 w 249"/>
                    <a:gd name="T67" fmla="*/ 171 h 245"/>
                    <a:gd name="T68" fmla="*/ 200 w 249"/>
                    <a:gd name="T69" fmla="*/ 142 h 245"/>
                    <a:gd name="T70" fmla="*/ 222 w 249"/>
                    <a:gd name="T71" fmla="*/ 119 h 245"/>
                    <a:gd name="T72" fmla="*/ 232 w 249"/>
                    <a:gd name="T73" fmla="*/ 103 h 245"/>
                    <a:gd name="T74" fmla="*/ 249 w 249"/>
                    <a:gd name="T75" fmla="*/ 89 h 245"/>
                    <a:gd name="T76" fmla="*/ 226 w 249"/>
                    <a:gd name="T77" fmla="*/ 74 h 245"/>
                    <a:gd name="T78" fmla="*/ 232 w 249"/>
                    <a:gd name="T79" fmla="*/ 64 h 245"/>
                    <a:gd name="T80" fmla="*/ 223 w 249"/>
                    <a:gd name="T81" fmla="*/ 57 h 245"/>
                    <a:gd name="T82" fmla="*/ 226 w 249"/>
                    <a:gd name="T83" fmla="*/ 54 h 245"/>
                    <a:gd name="T84" fmla="*/ 219 w 249"/>
                    <a:gd name="T85" fmla="*/ 47 h 245"/>
                    <a:gd name="T86" fmla="*/ 214 w 249"/>
                    <a:gd name="T87" fmla="*/ 35 h 245"/>
                    <a:gd name="T88" fmla="*/ 230 w 249"/>
                    <a:gd name="T89" fmla="*/ 35 h 245"/>
                    <a:gd name="T90" fmla="*/ 226 w 249"/>
                    <a:gd name="T91" fmla="*/ 24 h 245"/>
                    <a:gd name="T92" fmla="*/ 217 w 249"/>
                    <a:gd name="T93" fmla="*/ 6 h 245"/>
                    <a:gd name="T94" fmla="*/ 201 w 249"/>
                    <a:gd name="T95" fmla="*/ 2 h 245"/>
                    <a:gd name="T96" fmla="*/ 178 w 249"/>
                    <a:gd name="T97" fmla="*/ 6 h 2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49" h="245">
                      <a:moveTo>
                        <a:pt x="178" y="6"/>
                      </a:moveTo>
                      <a:lnTo>
                        <a:pt x="178" y="6"/>
                      </a:lnTo>
                      <a:lnTo>
                        <a:pt x="175" y="9"/>
                      </a:lnTo>
                      <a:lnTo>
                        <a:pt x="169" y="12"/>
                      </a:lnTo>
                      <a:lnTo>
                        <a:pt x="165" y="15"/>
                      </a:lnTo>
                      <a:lnTo>
                        <a:pt x="165" y="16"/>
                      </a:lnTo>
                      <a:lnTo>
                        <a:pt x="164" y="18"/>
                      </a:lnTo>
                      <a:lnTo>
                        <a:pt x="164" y="18"/>
                      </a:lnTo>
                      <a:lnTo>
                        <a:pt x="166" y="26"/>
                      </a:lnTo>
                      <a:lnTo>
                        <a:pt x="168" y="31"/>
                      </a:lnTo>
                      <a:lnTo>
                        <a:pt x="168" y="34"/>
                      </a:lnTo>
                      <a:lnTo>
                        <a:pt x="168" y="34"/>
                      </a:lnTo>
                      <a:lnTo>
                        <a:pt x="168" y="37"/>
                      </a:lnTo>
                      <a:lnTo>
                        <a:pt x="165" y="38"/>
                      </a:lnTo>
                      <a:lnTo>
                        <a:pt x="164" y="41"/>
                      </a:lnTo>
                      <a:lnTo>
                        <a:pt x="162" y="44"/>
                      </a:lnTo>
                      <a:lnTo>
                        <a:pt x="162" y="44"/>
                      </a:lnTo>
                      <a:lnTo>
                        <a:pt x="162" y="48"/>
                      </a:lnTo>
                      <a:lnTo>
                        <a:pt x="162" y="53"/>
                      </a:lnTo>
                      <a:lnTo>
                        <a:pt x="164" y="57"/>
                      </a:lnTo>
                      <a:lnTo>
                        <a:pt x="164" y="61"/>
                      </a:lnTo>
                      <a:lnTo>
                        <a:pt x="164" y="61"/>
                      </a:lnTo>
                      <a:lnTo>
                        <a:pt x="159" y="67"/>
                      </a:lnTo>
                      <a:lnTo>
                        <a:pt x="156" y="68"/>
                      </a:lnTo>
                      <a:lnTo>
                        <a:pt x="152" y="71"/>
                      </a:lnTo>
                      <a:lnTo>
                        <a:pt x="152" y="71"/>
                      </a:lnTo>
                      <a:lnTo>
                        <a:pt x="148" y="73"/>
                      </a:lnTo>
                      <a:lnTo>
                        <a:pt x="145" y="74"/>
                      </a:lnTo>
                      <a:lnTo>
                        <a:pt x="139" y="80"/>
                      </a:lnTo>
                      <a:lnTo>
                        <a:pt x="139" y="80"/>
                      </a:lnTo>
                      <a:lnTo>
                        <a:pt x="136" y="86"/>
                      </a:lnTo>
                      <a:lnTo>
                        <a:pt x="135" y="92"/>
                      </a:lnTo>
                      <a:lnTo>
                        <a:pt x="132" y="97"/>
                      </a:lnTo>
                      <a:lnTo>
                        <a:pt x="130" y="99"/>
                      </a:lnTo>
                      <a:lnTo>
                        <a:pt x="129" y="99"/>
                      </a:lnTo>
                      <a:lnTo>
                        <a:pt x="129" y="99"/>
                      </a:lnTo>
                      <a:lnTo>
                        <a:pt x="122" y="99"/>
                      </a:lnTo>
                      <a:lnTo>
                        <a:pt x="116" y="99"/>
                      </a:lnTo>
                      <a:lnTo>
                        <a:pt x="116" y="99"/>
                      </a:lnTo>
                      <a:lnTo>
                        <a:pt x="110" y="102"/>
                      </a:lnTo>
                      <a:lnTo>
                        <a:pt x="106" y="105"/>
                      </a:lnTo>
                      <a:lnTo>
                        <a:pt x="103" y="108"/>
                      </a:lnTo>
                      <a:lnTo>
                        <a:pt x="103" y="109"/>
                      </a:lnTo>
                      <a:lnTo>
                        <a:pt x="103" y="109"/>
                      </a:lnTo>
                      <a:lnTo>
                        <a:pt x="103" y="112"/>
                      </a:lnTo>
                      <a:lnTo>
                        <a:pt x="101" y="113"/>
                      </a:lnTo>
                      <a:lnTo>
                        <a:pt x="97" y="115"/>
                      </a:lnTo>
                      <a:lnTo>
                        <a:pt x="97" y="115"/>
                      </a:lnTo>
                      <a:lnTo>
                        <a:pt x="88" y="115"/>
                      </a:lnTo>
                      <a:lnTo>
                        <a:pt x="85" y="116"/>
                      </a:lnTo>
                      <a:lnTo>
                        <a:pt x="82" y="121"/>
                      </a:lnTo>
                      <a:lnTo>
                        <a:pt x="82" y="121"/>
                      </a:lnTo>
                      <a:lnTo>
                        <a:pt x="74" y="134"/>
                      </a:lnTo>
                      <a:lnTo>
                        <a:pt x="69" y="139"/>
                      </a:lnTo>
                      <a:lnTo>
                        <a:pt x="68" y="142"/>
                      </a:lnTo>
                      <a:lnTo>
                        <a:pt x="65" y="142"/>
                      </a:lnTo>
                      <a:lnTo>
                        <a:pt x="65" y="142"/>
                      </a:lnTo>
                      <a:lnTo>
                        <a:pt x="46" y="142"/>
                      </a:lnTo>
                      <a:lnTo>
                        <a:pt x="27" y="142"/>
                      </a:lnTo>
                      <a:lnTo>
                        <a:pt x="27" y="142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4" y="151"/>
                      </a:lnTo>
                      <a:lnTo>
                        <a:pt x="4" y="151"/>
                      </a:lnTo>
                      <a:lnTo>
                        <a:pt x="9" y="157"/>
                      </a:lnTo>
                      <a:lnTo>
                        <a:pt x="19" y="164"/>
                      </a:lnTo>
                      <a:lnTo>
                        <a:pt x="19" y="164"/>
                      </a:lnTo>
                      <a:lnTo>
                        <a:pt x="22" y="168"/>
                      </a:lnTo>
                      <a:lnTo>
                        <a:pt x="23" y="171"/>
                      </a:lnTo>
                      <a:lnTo>
                        <a:pt x="25" y="179"/>
                      </a:lnTo>
                      <a:lnTo>
                        <a:pt x="25" y="179"/>
                      </a:lnTo>
                      <a:lnTo>
                        <a:pt x="26" y="183"/>
                      </a:lnTo>
                      <a:lnTo>
                        <a:pt x="29" y="186"/>
                      </a:lnTo>
                      <a:lnTo>
                        <a:pt x="30" y="189"/>
                      </a:lnTo>
                      <a:lnTo>
                        <a:pt x="32" y="192"/>
                      </a:lnTo>
                      <a:lnTo>
                        <a:pt x="32" y="192"/>
                      </a:lnTo>
                      <a:lnTo>
                        <a:pt x="32" y="192"/>
                      </a:lnTo>
                      <a:lnTo>
                        <a:pt x="30" y="193"/>
                      </a:lnTo>
                      <a:lnTo>
                        <a:pt x="27" y="193"/>
                      </a:lnTo>
                      <a:lnTo>
                        <a:pt x="27" y="193"/>
                      </a:lnTo>
                      <a:lnTo>
                        <a:pt x="23" y="193"/>
                      </a:lnTo>
                      <a:lnTo>
                        <a:pt x="19" y="195"/>
                      </a:lnTo>
                      <a:lnTo>
                        <a:pt x="19" y="195"/>
                      </a:lnTo>
                      <a:lnTo>
                        <a:pt x="14" y="197"/>
                      </a:lnTo>
                      <a:lnTo>
                        <a:pt x="12" y="205"/>
                      </a:lnTo>
                      <a:lnTo>
                        <a:pt x="6" y="221"/>
                      </a:lnTo>
                      <a:lnTo>
                        <a:pt x="6" y="221"/>
                      </a:lnTo>
                      <a:lnTo>
                        <a:pt x="14" y="222"/>
                      </a:lnTo>
                      <a:lnTo>
                        <a:pt x="23" y="221"/>
                      </a:lnTo>
                      <a:lnTo>
                        <a:pt x="23" y="221"/>
                      </a:lnTo>
                      <a:lnTo>
                        <a:pt x="40" y="218"/>
                      </a:lnTo>
                      <a:lnTo>
                        <a:pt x="40" y="218"/>
                      </a:lnTo>
                      <a:lnTo>
                        <a:pt x="43" y="218"/>
                      </a:lnTo>
                      <a:lnTo>
                        <a:pt x="45" y="219"/>
                      </a:lnTo>
                      <a:lnTo>
                        <a:pt x="48" y="219"/>
                      </a:lnTo>
                      <a:lnTo>
                        <a:pt x="52" y="221"/>
                      </a:lnTo>
                      <a:lnTo>
                        <a:pt x="52" y="221"/>
                      </a:lnTo>
                      <a:lnTo>
                        <a:pt x="61" y="221"/>
                      </a:lnTo>
                      <a:lnTo>
                        <a:pt x="71" y="219"/>
                      </a:lnTo>
                      <a:lnTo>
                        <a:pt x="71" y="219"/>
                      </a:lnTo>
                      <a:lnTo>
                        <a:pt x="80" y="218"/>
                      </a:lnTo>
                      <a:lnTo>
                        <a:pt x="85" y="216"/>
                      </a:lnTo>
                      <a:lnTo>
                        <a:pt x="85" y="216"/>
                      </a:lnTo>
                      <a:lnTo>
                        <a:pt x="88" y="219"/>
                      </a:lnTo>
                      <a:lnTo>
                        <a:pt x="91" y="223"/>
                      </a:lnTo>
                      <a:lnTo>
                        <a:pt x="94" y="228"/>
                      </a:lnTo>
                      <a:lnTo>
                        <a:pt x="96" y="231"/>
                      </a:lnTo>
                      <a:lnTo>
                        <a:pt x="96" y="231"/>
                      </a:lnTo>
                      <a:lnTo>
                        <a:pt x="97" y="234"/>
                      </a:lnTo>
                      <a:lnTo>
                        <a:pt x="97" y="237"/>
                      </a:lnTo>
                      <a:lnTo>
                        <a:pt x="98" y="241"/>
                      </a:lnTo>
                      <a:lnTo>
                        <a:pt x="103" y="244"/>
                      </a:lnTo>
                      <a:lnTo>
                        <a:pt x="103" y="244"/>
                      </a:lnTo>
                      <a:lnTo>
                        <a:pt x="107" y="245"/>
                      </a:lnTo>
                      <a:lnTo>
                        <a:pt x="110" y="245"/>
                      </a:lnTo>
                      <a:lnTo>
                        <a:pt x="116" y="245"/>
                      </a:lnTo>
                      <a:lnTo>
                        <a:pt x="116" y="245"/>
                      </a:lnTo>
                      <a:lnTo>
                        <a:pt x="120" y="239"/>
                      </a:lnTo>
                      <a:lnTo>
                        <a:pt x="122" y="238"/>
                      </a:lnTo>
                      <a:lnTo>
                        <a:pt x="124" y="238"/>
                      </a:lnTo>
                      <a:lnTo>
                        <a:pt x="124" y="238"/>
                      </a:lnTo>
                      <a:lnTo>
                        <a:pt x="142" y="238"/>
                      </a:lnTo>
                      <a:lnTo>
                        <a:pt x="151" y="237"/>
                      </a:lnTo>
                      <a:lnTo>
                        <a:pt x="153" y="235"/>
                      </a:lnTo>
                      <a:lnTo>
                        <a:pt x="156" y="234"/>
                      </a:lnTo>
                      <a:lnTo>
                        <a:pt x="156" y="234"/>
                      </a:lnTo>
                      <a:lnTo>
                        <a:pt x="156" y="225"/>
                      </a:lnTo>
                      <a:lnTo>
                        <a:pt x="156" y="213"/>
                      </a:lnTo>
                      <a:lnTo>
                        <a:pt x="155" y="190"/>
                      </a:lnTo>
                      <a:lnTo>
                        <a:pt x="155" y="190"/>
                      </a:lnTo>
                      <a:lnTo>
                        <a:pt x="155" y="186"/>
                      </a:lnTo>
                      <a:lnTo>
                        <a:pt x="156" y="180"/>
                      </a:lnTo>
                      <a:lnTo>
                        <a:pt x="158" y="177"/>
                      </a:lnTo>
                      <a:lnTo>
                        <a:pt x="162" y="174"/>
                      </a:lnTo>
                      <a:lnTo>
                        <a:pt x="162" y="174"/>
                      </a:lnTo>
                      <a:lnTo>
                        <a:pt x="171" y="171"/>
                      </a:lnTo>
                      <a:lnTo>
                        <a:pt x="177" y="168"/>
                      </a:lnTo>
                      <a:lnTo>
                        <a:pt x="182" y="163"/>
                      </a:lnTo>
                      <a:lnTo>
                        <a:pt x="182" y="163"/>
                      </a:lnTo>
                      <a:lnTo>
                        <a:pt x="200" y="142"/>
                      </a:lnTo>
                      <a:lnTo>
                        <a:pt x="208" y="132"/>
                      </a:lnTo>
                      <a:lnTo>
                        <a:pt x="214" y="126"/>
                      </a:lnTo>
                      <a:lnTo>
                        <a:pt x="214" y="126"/>
                      </a:lnTo>
                      <a:lnTo>
                        <a:pt x="222" y="119"/>
                      </a:lnTo>
                      <a:lnTo>
                        <a:pt x="224" y="115"/>
                      </a:lnTo>
                      <a:lnTo>
                        <a:pt x="227" y="109"/>
                      </a:lnTo>
                      <a:lnTo>
                        <a:pt x="227" y="109"/>
                      </a:lnTo>
                      <a:lnTo>
                        <a:pt x="232" y="103"/>
                      </a:lnTo>
                      <a:lnTo>
                        <a:pt x="239" y="97"/>
                      </a:lnTo>
                      <a:lnTo>
                        <a:pt x="249" y="90"/>
                      </a:lnTo>
                      <a:lnTo>
                        <a:pt x="249" y="90"/>
                      </a:lnTo>
                      <a:lnTo>
                        <a:pt x="249" y="89"/>
                      </a:lnTo>
                      <a:lnTo>
                        <a:pt x="248" y="86"/>
                      </a:lnTo>
                      <a:lnTo>
                        <a:pt x="239" y="82"/>
                      </a:lnTo>
                      <a:lnTo>
                        <a:pt x="232" y="77"/>
                      </a:lnTo>
                      <a:lnTo>
                        <a:pt x="226" y="74"/>
                      </a:lnTo>
                      <a:lnTo>
                        <a:pt x="226" y="74"/>
                      </a:lnTo>
                      <a:lnTo>
                        <a:pt x="226" y="71"/>
                      </a:lnTo>
                      <a:lnTo>
                        <a:pt x="227" y="70"/>
                      </a:lnTo>
                      <a:lnTo>
                        <a:pt x="232" y="64"/>
                      </a:lnTo>
                      <a:lnTo>
                        <a:pt x="233" y="61"/>
                      </a:lnTo>
                      <a:lnTo>
                        <a:pt x="232" y="60"/>
                      </a:lnTo>
                      <a:lnTo>
                        <a:pt x="229" y="57"/>
                      </a:lnTo>
                      <a:lnTo>
                        <a:pt x="223" y="57"/>
                      </a:lnTo>
                      <a:lnTo>
                        <a:pt x="223" y="57"/>
                      </a:lnTo>
                      <a:lnTo>
                        <a:pt x="223" y="57"/>
                      </a:lnTo>
                      <a:lnTo>
                        <a:pt x="224" y="55"/>
                      </a:lnTo>
                      <a:lnTo>
                        <a:pt x="226" y="54"/>
                      </a:lnTo>
                      <a:lnTo>
                        <a:pt x="223" y="51"/>
                      </a:lnTo>
                      <a:lnTo>
                        <a:pt x="223" y="51"/>
                      </a:lnTo>
                      <a:lnTo>
                        <a:pt x="220" y="50"/>
                      </a:lnTo>
                      <a:lnTo>
                        <a:pt x="219" y="47"/>
                      </a:lnTo>
                      <a:lnTo>
                        <a:pt x="216" y="41"/>
                      </a:lnTo>
                      <a:lnTo>
                        <a:pt x="216" y="41"/>
                      </a:lnTo>
                      <a:lnTo>
                        <a:pt x="214" y="37"/>
                      </a:lnTo>
                      <a:lnTo>
                        <a:pt x="214" y="35"/>
                      </a:lnTo>
                      <a:lnTo>
                        <a:pt x="216" y="34"/>
                      </a:lnTo>
                      <a:lnTo>
                        <a:pt x="220" y="34"/>
                      </a:lnTo>
                      <a:lnTo>
                        <a:pt x="230" y="35"/>
                      </a:lnTo>
                      <a:lnTo>
                        <a:pt x="230" y="35"/>
                      </a:lnTo>
                      <a:lnTo>
                        <a:pt x="233" y="35"/>
                      </a:lnTo>
                      <a:lnTo>
                        <a:pt x="232" y="32"/>
                      </a:lnTo>
                      <a:lnTo>
                        <a:pt x="229" y="28"/>
                      </a:lnTo>
                      <a:lnTo>
                        <a:pt x="226" y="24"/>
                      </a:lnTo>
                      <a:lnTo>
                        <a:pt x="226" y="24"/>
                      </a:lnTo>
                      <a:lnTo>
                        <a:pt x="224" y="16"/>
                      </a:lnTo>
                      <a:lnTo>
                        <a:pt x="222" y="11"/>
                      </a:lnTo>
                      <a:lnTo>
                        <a:pt x="217" y="6"/>
                      </a:lnTo>
                      <a:lnTo>
                        <a:pt x="213" y="2"/>
                      </a:lnTo>
                      <a:lnTo>
                        <a:pt x="213" y="0"/>
                      </a:lnTo>
                      <a:lnTo>
                        <a:pt x="213" y="0"/>
                      </a:lnTo>
                      <a:lnTo>
                        <a:pt x="201" y="2"/>
                      </a:lnTo>
                      <a:lnTo>
                        <a:pt x="201" y="2"/>
                      </a:lnTo>
                      <a:lnTo>
                        <a:pt x="188" y="2"/>
                      </a:lnTo>
                      <a:lnTo>
                        <a:pt x="182" y="3"/>
                      </a:lnTo>
                      <a:lnTo>
                        <a:pt x="178" y="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22" name="Freeform 775"/>
                <p:cNvSpPr>
                  <a:spLocks/>
                </p:cNvSpPr>
                <p:nvPr/>
              </p:nvSpPr>
              <p:spPr bwMode="auto">
                <a:xfrm>
                  <a:off x="5385171" y="2696872"/>
                  <a:ext cx="246326" cy="242369"/>
                </a:xfrm>
                <a:custGeom>
                  <a:avLst/>
                  <a:gdLst>
                    <a:gd name="T0" fmla="*/ 169 w 249"/>
                    <a:gd name="T1" fmla="*/ 12 h 245"/>
                    <a:gd name="T2" fmla="*/ 164 w 249"/>
                    <a:gd name="T3" fmla="*/ 18 h 245"/>
                    <a:gd name="T4" fmla="*/ 168 w 249"/>
                    <a:gd name="T5" fmla="*/ 34 h 245"/>
                    <a:gd name="T6" fmla="*/ 162 w 249"/>
                    <a:gd name="T7" fmla="*/ 44 h 245"/>
                    <a:gd name="T8" fmla="*/ 164 w 249"/>
                    <a:gd name="T9" fmla="*/ 57 h 245"/>
                    <a:gd name="T10" fmla="*/ 156 w 249"/>
                    <a:gd name="T11" fmla="*/ 68 h 245"/>
                    <a:gd name="T12" fmla="*/ 145 w 249"/>
                    <a:gd name="T13" fmla="*/ 74 h 245"/>
                    <a:gd name="T14" fmla="*/ 135 w 249"/>
                    <a:gd name="T15" fmla="*/ 92 h 245"/>
                    <a:gd name="T16" fmla="*/ 129 w 249"/>
                    <a:gd name="T17" fmla="*/ 99 h 245"/>
                    <a:gd name="T18" fmla="*/ 110 w 249"/>
                    <a:gd name="T19" fmla="*/ 102 h 245"/>
                    <a:gd name="T20" fmla="*/ 103 w 249"/>
                    <a:gd name="T21" fmla="*/ 109 h 245"/>
                    <a:gd name="T22" fmla="*/ 97 w 249"/>
                    <a:gd name="T23" fmla="*/ 115 h 245"/>
                    <a:gd name="T24" fmla="*/ 82 w 249"/>
                    <a:gd name="T25" fmla="*/ 121 h 245"/>
                    <a:gd name="T26" fmla="*/ 65 w 249"/>
                    <a:gd name="T27" fmla="*/ 142 h 245"/>
                    <a:gd name="T28" fmla="*/ 27 w 249"/>
                    <a:gd name="T29" fmla="*/ 142 h 245"/>
                    <a:gd name="T30" fmla="*/ 4 w 249"/>
                    <a:gd name="T31" fmla="*/ 151 h 245"/>
                    <a:gd name="T32" fmla="*/ 22 w 249"/>
                    <a:gd name="T33" fmla="*/ 168 h 245"/>
                    <a:gd name="T34" fmla="*/ 26 w 249"/>
                    <a:gd name="T35" fmla="*/ 183 h 245"/>
                    <a:gd name="T36" fmla="*/ 32 w 249"/>
                    <a:gd name="T37" fmla="*/ 192 h 245"/>
                    <a:gd name="T38" fmla="*/ 27 w 249"/>
                    <a:gd name="T39" fmla="*/ 193 h 245"/>
                    <a:gd name="T40" fmla="*/ 14 w 249"/>
                    <a:gd name="T41" fmla="*/ 197 h 245"/>
                    <a:gd name="T42" fmla="*/ 14 w 249"/>
                    <a:gd name="T43" fmla="*/ 222 h 245"/>
                    <a:gd name="T44" fmla="*/ 40 w 249"/>
                    <a:gd name="T45" fmla="*/ 218 h 245"/>
                    <a:gd name="T46" fmla="*/ 52 w 249"/>
                    <a:gd name="T47" fmla="*/ 221 h 245"/>
                    <a:gd name="T48" fmla="*/ 71 w 249"/>
                    <a:gd name="T49" fmla="*/ 219 h 245"/>
                    <a:gd name="T50" fmla="*/ 88 w 249"/>
                    <a:gd name="T51" fmla="*/ 219 h 245"/>
                    <a:gd name="T52" fmla="*/ 96 w 249"/>
                    <a:gd name="T53" fmla="*/ 231 h 245"/>
                    <a:gd name="T54" fmla="*/ 103 w 249"/>
                    <a:gd name="T55" fmla="*/ 244 h 245"/>
                    <a:gd name="T56" fmla="*/ 116 w 249"/>
                    <a:gd name="T57" fmla="*/ 245 h 245"/>
                    <a:gd name="T58" fmla="*/ 124 w 249"/>
                    <a:gd name="T59" fmla="*/ 238 h 245"/>
                    <a:gd name="T60" fmla="*/ 153 w 249"/>
                    <a:gd name="T61" fmla="*/ 235 h 245"/>
                    <a:gd name="T62" fmla="*/ 156 w 249"/>
                    <a:gd name="T63" fmla="*/ 213 h 245"/>
                    <a:gd name="T64" fmla="*/ 156 w 249"/>
                    <a:gd name="T65" fmla="*/ 180 h 245"/>
                    <a:gd name="T66" fmla="*/ 171 w 249"/>
                    <a:gd name="T67" fmla="*/ 171 h 245"/>
                    <a:gd name="T68" fmla="*/ 200 w 249"/>
                    <a:gd name="T69" fmla="*/ 142 h 245"/>
                    <a:gd name="T70" fmla="*/ 222 w 249"/>
                    <a:gd name="T71" fmla="*/ 119 h 245"/>
                    <a:gd name="T72" fmla="*/ 232 w 249"/>
                    <a:gd name="T73" fmla="*/ 103 h 245"/>
                    <a:gd name="T74" fmla="*/ 249 w 249"/>
                    <a:gd name="T75" fmla="*/ 89 h 245"/>
                    <a:gd name="T76" fmla="*/ 226 w 249"/>
                    <a:gd name="T77" fmla="*/ 74 h 245"/>
                    <a:gd name="T78" fmla="*/ 232 w 249"/>
                    <a:gd name="T79" fmla="*/ 64 h 245"/>
                    <a:gd name="T80" fmla="*/ 223 w 249"/>
                    <a:gd name="T81" fmla="*/ 57 h 245"/>
                    <a:gd name="T82" fmla="*/ 226 w 249"/>
                    <a:gd name="T83" fmla="*/ 54 h 245"/>
                    <a:gd name="T84" fmla="*/ 219 w 249"/>
                    <a:gd name="T85" fmla="*/ 47 h 245"/>
                    <a:gd name="T86" fmla="*/ 214 w 249"/>
                    <a:gd name="T87" fmla="*/ 35 h 245"/>
                    <a:gd name="T88" fmla="*/ 230 w 249"/>
                    <a:gd name="T89" fmla="*/ 35 h 245"/>
                    <a:gd name="T90" fmla="*/ 226 w 249"/>
                    <a:gd name="T91" fmla="*/ 24 h 245"/>
                    <a:gd name="T92" fmla="*/ 217 w 249"/>
                    <a:gd name="T93" fmla="*/ 6 h 245"/>
                    <a:gd name="T94" fmla="*/ 201 w 249"/>
                    <a:gd name="T95" fmla="*/ 2 h 245"/>
                    <a:gd name="T96" fmla="*/ 178 w 249"/>
                    <a:gd name="T97" fmla="*/ 6 h 2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49" h="245">
                      <a:moveTo>
                        <a:pt x="178" y="6"/>
                      </a:moveTo>
                      <a:lnTo>
                        <a:pt x="178" y="6"/>
                      </a:lnTo>
                      <a:lnTo>
                        <a:pt x="175" y="9"/>
                      </a:lnTo>
                      <a:lnTo>
                        <a:pt x="169" y="12"/>
                      </a:lnTo>
                      <a:lnTo>
                        <a:pt x="165" y="15"/>
                      </a:lnTo>
                      <a:lnTo>
                        <a:pt x="165" y="16"/>
                      </a:lnTo>
                      <a:lnTo>
                        <a:pt x="164" y="18"/>
                      </a:lnTo>
                      <a:lnTo>
                        <a:pt x="164" y="18"/>
                      </a:lnTo>
                      <a:lnTo>
                        <a:pt x="166" y="26"/>
                      </a:lnTo>
                      <a:lnTo>
                        <a:pt x="168" y="31"/>
                      </a:lnTo>
                      <a:lnTo>
                        <a:pt x="168" y="34"/>
                      </a:lnTo>
                      <a:lnTo>
                        <a:pt x="168" y="34"/>
                      </a:lnTo>
                      <a:lnTo>
                        <a:pt x="168" y="37"/>
                      </a:lnTo>
                      <a:lnTo>
                        <a:pt x="165" y="38"/>
                      </a:lnTo>
                      <a:lnTo>
                        <a:pt x="164" y="41"/>
                      </a:lnTo>
                      <a:lnTo>
                        <a:pt x="162" y="44"/>
                      </a:lnTo>
                      <a:lnTo>
                        <a:pt x="162" y="44"/>
                      </a:lnTo>
                      <a:lnTo>
                        <a:pt x="162" y="48"/>
                      </a:lnTo>
                      <a:lnTo>
                        <a:pt x="162" y="53"/>
                      </a:lnTo>
                      <a:lnTo>
                        <a:pt x="164" y="57"/>
                      </a:lnTo>
                      <a:lnTo>
                        <a:pt x="164" y="61"/>
                      </a:lnTo>
                      <a:lnTo>
                        <a:pt x="164" y="61"/>
                      </a:lnTo>
                      <a:lnTo>
                        <a:pt x="159" y="67"/>
                      </a:lnTo>
                      <a:lnTo>
                        <a:pt x="156" y="68"/>
                      </a:lnTo>
                      <a:lnTo>
                        <a:pt x="152" y="71"/>
                      </a:lnTo>
                      <a:lnTo>
                        <a:pt x="152" y="71"/>
                      </a:lnTo>
                      <a:lnTo>
                        <a:pt x="148" y="73"/>
                      </a:lnTo>
                      <a:lnTo>
                        <a:pt x="145" y="74"/>
                      </a:lnTo>
                      <a:lnTo>
                        <a:pt x="139" y="80"/>
                      </a:lnTo>
                      <a:lnTo>
                        <a:pt x="139" y="80"/>
                      </a:lnTo>
                      <a:lnTo>
                        <a:pt x="136" y="86"/>
                      </a:lnTo>
                      <a:lnTo>
                        <a:pt x="135" y="92"/>
                      </a:lnTo>
                      <a:lnTo>
                        <a:pt x="132" y="97"/>
                      </a:lnTo>
                      <a:lnTo>
                        <a:pt x="130" y="99"/>
                      </a:lnTo>
                      <a:lnTo>
                        <a:pt x="129" y="99"/>
                      </a:lnTo>
                      <a:lnTo>
                        <a:pt x="129" y="99"/>
                      </a:lnTo>
                      <a:lnTo>
                        <a:pt x="122" y="99"/>
                      </a:lnTo>
                      <a:lnTo>
                        <a:pt x="116" y="99"/>
                      </a:lnTo>
                      <a:lnTo>
                        <a:pt x="116" y="99"/>
                      </a:lnTo>
                      <a:lnTo>
                        <a:pt x="110" y="102"/>
                      </a:lnTo>
                      <a:lnTo>
                        <a:pt x="106" y="105"/>
                      </a:lnTo>
                      <a:lnTo>
                        <a:pt x="103" y="108"/>
                      </a:lnTo>
                      <a:lnTo>
                        <a:pt x="103" y="109"/>
                      </a:lnTo>
                      <a:lnTo>
                        <a:pt x="103" y="109"/>
                      </a:lnTo>
                      <a:lnTo>
                        <a:pt x="103" y="112"/>
                      </a:lnTo>
                      <a:lnTo>
                        <a:pt x="101" y="113"/>
                      </a:lnTo>
                      <a:lnTo>
                        <a:pt x="97" y="115"/>
                      </a:lnTo>
                      <a:lnTo>
                        <a:pt x="97" y="115"/>
                      </a:lnTo>
                      <a:lnTo>
                        <a:pt x="88" y="115"/>
                      </a:lnTo>
                      <a:lnTo>
                        <a:pt x="85" y="116"/>
                      </a:lnTo>
                      <a:lnTo>
                        <a:pt x="82" y="121"/>
                      </a:lnTo>
                      <a:lnTo>
                        <a:pt x="82" y="121"/>
                      </a:lnTo>
                      <a:lnTo>
                        <a:pt x="74" y="134"/>
                      </a:lnTo>
                      <a:lnTo>
                        <a:pt x="69" y="139"/>
                      </a:lnTo>
                      <a:lnTo>
                        <a:pt x="68" y="142"/>
                      </a:lnTo>
                      <a:lnTo>
                        <a:pt x="65" y="142"/>
                      </a:lnTo>
                      <a:lnTo>
                        <a:pt x="65" y="142"/>
                      </a:lnTo>
                      <a:lnTo>
                        <a:pt x="46" y="142"/>
                      </a:lnTo>
                      <a:lnTo>
                        <a:pt x="27" y="142"/>
                      </a:lnTo>
                      <a:lnTo>
                        <a:pt x="27" y="142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4" y="151"/>
                      </a:lnTo>
                      <a:lnTo>
                        <a:pt x="4" y="151"/>
                      </a:lnTo>
                      <a:lnTo>
                        <a:pt x="9" y="157"/>
                      </a:lnTo>
                      <a:lnTo>
                        <a:pt x="19" y="164"/>
                      </a:lnTo>
                      <a:lnTo>
                        <a:pt x="19" y="164"/>
                      </a:lnTo>
                      <a:lnTo>
                        <a:pt x="22" y="168"/>
                      </a:lnTo>
                      <a:lnTo>
                        <a:pt x="23" y="171"/>
                      </a:lnTo>
                      <a:lnTo>
                        <a:pt x="25" y="179"/>
                      </a:lnTo>
                      <a:lnTo>
                        <a:pt x="25" y="179"/>
                      </a:lnTo>
                      <a:lnTo>
                        <a:pt x="26" y="183"/>
                      </a:lnTo>
                      <a:lnTo>
                        <a:pt x="29" y="186"/>
                      </a:lnTo>
                      <a:lnTo>
                        <a:pt x="30" y="189"/>
                      </a:lnTo>
                      <a:lnTo>
                        <a:pt x="32" y="192"/>
                      </a:lnTo>
                      <a:lnTo>
                        <a:pt x="32" y="192"/>
                      </a:lnTo>
                      <a:lnTo>
                        <a:pt x="32" y="192"/>
                      </a:lnTo>
                      <a:lnTo>
                        <a:pt x="30" y="193"/>
                      </a:lnTo>
                      <a:lnTo>
                        <a:pt x="27" y="193"/>
                      </a:lnTo>
                      <a:lnTo>
                        <a:pt x="27" y="193"/>
                      </a:lnTo>
                      <a:lnTo>
                        <a:pt x="23" y="193"/>
                      </a:lnTo>
                      <a:lnTo>
                        <a:pt x="19" y="195"/>
                      </a:lnTo>
                      <a:lnTo>
                        <a:pt x="19" y="195"/>
                      </a:lnTo>
                      <a:lnTo>
                        <a:pt x="14" y="197"/>
                      </a:lnTo>
                      <a:lnTo>
                        <a:pt x="12" y="205"/>
                      </a:lnTo>
                      <a:lnTo>
                        <a:pt x="6" y="221"/>
                      </a:lnTo>
                      <a:lnTo>
                        <a:pt x="6" y="221"/>
                      </a:lnTo>
                      <a:lnTo>
                        <a:pt x="14" y="222"/>
                      </a:lnTo>
                      <a:lnTo>
                        <a:pt x="23" y="221"/>
                      </a:lnTo>
                      <a:lnTo>
                        <a:pt x="23" y="221"/>
                      </a:lnTo>
                      <a:lnTo>
                        <a:pt x="40" y="218"/>
                      </a:lnTo>
                      <a:lnTo>
                        <a:pt x="40" y="218"/>
                      </a:lnTo>
                      <a:lnTo>
                        <a:pt x="43" y="218"/>
                      </a:lnTo>
                      <a:lnTo>
                        <a:pt x="45" y="219"/>
                      </a:lnTo>
                      <a:lnTo>
                        <a:pt x="48" y="219"/>
                      </a:lnTo>
                      <a:lnTo>
                        <a:pt x="52" y="221"/>
                      </a:lnTo>
                      <a:lnTo>
                        <a:pt x="52" y="221"/>
                      </a:lnTo>
                      <a:lnTo>
                        <a:pt x="61" y="221"/>
                      </a:lnTo>
                      <a:lnTo>
                        <a:pt x="71" y="219"/>
                      </a:lnTo>
                      <a:lnTo>
                        <a:pt x="71" y="219"/>
                      </a:lnTo>
                      <a:lnTo>
                        <a:pt x="80" y="218"/>
                      </a:lnTo>
                      <a:lnTo>
                        <a:pt x="85" y="216"/>
                      </a:lnTo>
                      <a:lnTo>
                        <a:pt x="85" y="216"/>
                      </a:lnTo>
                      <a:lnTo>
                        <a:pt x="88" y="219"/>
                      </a:lnTo>
                      <a:lnTo>
                        <a:pt x="91" y="223"/>
                      </a:lnTo>
                      <a:lnTo>
                        <a:pt x="94" y="228"/>
                      </a:lnTo>
                      <a:lnTo>
                        <a:pt x="96" y="231"/>
                      </a:lnTo>
                      <a:lnTo>
                        <a:pt x="96" y="231"/>
                      </a:lnTo>
                      <a:lnTo>
                        <a:pt x="97" y="234"/>
                      </a:lnTo>
                      <a:lnTo>
                        <a:pt x="97" y="237"/>
                      </a:lnTo>
                      <a:lnTo>
                        <a:pt x="98" y="241"/>
                      </a:lnTo>
                      <a:lnTo>
                        <a:pt x="103" y="244"/>
                      </a:lnTo>
                      <a:lnTo>
                        <a:pt x="103" y="244"/>
                      </a:lnTo>
                      <a:lnTo>
                        <a:pt x="107" y="245"/>
                      </a:lnTo>
                      <a:lnTo>
                        <a:pt x="110" y="245"/>
                      </a:lnTo>
                      <a:lnTo>
                        <a:pt x="116" y="245"/>
                      </a:lnTo>
                      <a:lnTo>
                        <a:pt x="116" y="245"/>
                      </a:lnTo>
                      <a:lnTo>
                        <a:pt x="120" y="239"/>
                      </a:lnTo>
                      <a:lnTo>
                        <a:pt x="122" y="238"/>
                      </a:lnTo>
                      <a:lnTo>
                        <a:pt x="124" y="238"/>
                      </a:lnTo>
                      <a:lnTo>
                        <a:pt x="124" y="238"/>
                      </a:lnTo>
                      <a:lnTo>
                        <a:pt x="142" y="238"/>
                      </a:lnTo>
                      <a:lnTo>
                        <a:pt x="151" y="237"/>
                      </a:lnTo>
                      <a:lnTo>
                        <a:pt x="153" y="235"/>
                      </a:lnTo>
                      <a:lnTo>
                        <a:pt x="156" y="234"/>
                      </a:lnTo>
                      <a:lnTo>
                        <a:pt x="156" y="234"/>
                      </a:lnTo>
                      <a:lnTo>
                        <a:pt x="156" y="225"/>
                      </a:lnTo>
                      <a:lnTo>
                        <a:pt x="156" y="213"/>
                      </a:lnTo>
                      <a:lnTo>
                        <a:pt x="155" y="190"/>
                      </a:lnTo>
                      <a:lnTo>
                        <a:pt x="155" y="190"/>
                      </a:lnTo>
                      <a:lnTo>
                        <a:pt x="155" y="186"/>
                      </a:lnTo>
                      <a:lnTo>
                        <a:pt x="156" y="180"/>
                      </a:lnTo>
                      <a:lnTo>
                        <a:pt x="158" y="177"/>
                      </a:lnTo>
                      <a:lnTo>
                        <a:pt x="162" y="174"/>
                      </a:lnTo>
                      <a:lnTo>
                        <a:pt x="162" y="174"/>
                      </a:lnTo>
                      <a:lnTo>
                        <a:pt x="171" y="171"/>
                      </a:lnTo>
                      <a:lnTo>
                        <a:pt x="177" y="168"/>
                      </a:lnTo>
                      <a:lnTo>
                        <a:pt x="182" y="163"/>
                      </a:lnTo>
                      <a:lnTo>
                        <a:pt x="182" y="163"/>
                      </a:lnTo>
                      <a:lnTo>
                        <a:pt x="200" y="142"/>
                      </a:lnTo>
                      <a:lnTo>
                        <a:pt x="208" y="132"/>
                      </a:lnTo>
                      <a:lnTo>
                        <a:pt x="214" y="126"/>
                      </a:lnTo>
                      <a:lnTo>
                        <a:pt x="214" y="126"/>
                      </a:lnTo>
                      <a:lnTo>
                        <a:pt x="222" y="119"/>
                      </a:lnTo>
                      <a:lnTo>
                        <a:pt x="224" y="115"/>
                      </a:lnTo>
                      <a:lnTo>
                        <a:pt x="227" y="109"/>
                      </a:lnTo>
                      <a:lnTo>
                        <a:pt x="227" y="109"/>
                      </a:lnTo>
                      <a:lnTo>
                        <a:pt x="232" y="103"/>
                      </a:lnTo>
                      <a:lnTo>
                        <a:pt x="239" y="97"/>
                      </a:lnTo>
                      <a:lnTo>
                        <a:pt x="249" y="90"/>
                      </a:lnTo>
                      <a:lnTo>
                        <a:pt x="249" y="90"/>
                      </a:lnTo>
                      <a:lnTo>
                        <a:pt x="249" y="89"/>
                      </a:lnTo>
                      <a:lnTo>
                        <a:pt x="248" y="86"/>
                      </a:lnTo>
                      <a:lnTo>
                        <a:pt x="239" y="82"/>
                      </a:lnTo>
                      <a:lnTo>
                        <a:pt x="232" y="77"/>
                      </a:lnTo>
                      <a:lnTo>
                        <a:pt x="226" y="74"/>
                      </a:lnTo>
                      <a:lnTo>
                        <a:pt x="226" y="74"/>
                      </a:lnTo>
                      <a:lnTo>
                        <a:pt x="226" y="71"/>
                      </a:lnTo>
                      <a:lnTo>
                        <a:pt x="227" y="70"/>
                      </a:lnTo>
                      <a:lnTo>
                        <a:pt x="232" y="64"/>
                      </a:lnTo>
                      <a:lnTo>
                        <a:pt x="233" y="61"/>
                      </a:lnTo>
                      <a:lnTo>
                        <a:pt x="232" y="60"/>
                      </a:lnTo>
                      <a:lnTo>
                        <a:pt x="229" y="57"/>
                      </a:lnTo>
                      <a:lnTo>
                        <a:pt x="223" y="57"/>
                      </a:lnTo>
                      <a:lnTo>
                        <a:pt x="223" y="57"/>
                      </a:lnTo>
                      <a:lnTo>
                        <a:pt x="223" y="57"/>
                      </a:lnTo>
                      <a:lnTo>
                        <a:pt x="224" y="55"/>
                      </a:lnTo>
                      <a:lnTo>
                        <a:pt x="226" y="54"/>
                      </a:lnTo>
                      <a:lnTo>
                        <a:pt x="223" y="51"/>
                      </a:lnTo>
                      <a:lnTo>
                        <a:pt x="223" y="51"/>
                      </a:lnTo>
                      <a:lnTo>
                        <a:pt x="220" y="50"/>
                      </a:lnTo>
                      <a:lnTo>
                        <a:pt x="219" y="47"/>
                      </a:lnTo>
                      <a:lnTo>
                        <a:pt x="216" y="41"/>
                      </a:lnTo>
                      <a:lnTo>
                        <a:pt x="216" y="41"/>
                      </a:lnTo>
                      <a:lnTo>
                        <a:pt x="214" y="37"/>
                      </a:lnTo>
                      <a:lnTo>
                        <a:pt x="214" y="35"/>
                      </a:lnTo>
                      <a:lnTo>
                        <a:pt x="216" y="34"/>
                      </a:lnTo>
                      <a:lnTo>
                        <a:pt x="220" y="34"/>
                      </a:lnTo>
                      <a:lnTo>
                        <a:pt x="230" y="35"/>
                      </a:lnTo>
                      <a:lnTo>
                        <a:pt x="230" y="35"/>
                      </a:lnTo>
                      <a:lnTo>
                        <a:pt x="233" y="35"/>
                      </a:lnTo>
                      <a:lnTo>
                        <a:pt x="232" y="32"/>
                      </a:lnTo>
                      <a:lnTo>
                        <a:pt x="229" y="28"/>
                      </a:lnTo>
                      <a:lnTo>
                        <a:pt x="226" y="24"/>
                      </a:lnTo>
                      <a:lnTo>
                        <a:pt x="226" y="24"/>
                      </a:lnTo>
                      <a:lnTo>
                        <a:pt x="224" y="16"/>
                      </a:lnTo>
                      <a:lnTo>
                        <a:pt x="222" y="11"/>
                      </a:lnTo>
                      <a:lnTo>
                        <a:pt x="217" y="6"/>
                      </a:lnTo>
                      <a:lnTo>
                        <a:pt x="213" y="2"/>
                      </a:lnTo>
                      <a:lnTo>
                        <a:pt x="213" y="0"/>
                      </a:lnTo>
                      <a:lnTo>
                        <a:pt x="213" y="0"/>
                      </a:lnTo>
                      <a:lnTo>
                        <a:pt x="201" y="2"/>
                      </a:lnTo>
                      <a:lnTo>
                        <a:pt x="201" y="2"/>
                      </a:lnTo>
                      <a:lnTo>
                        <a:pt x="188" y="2"/>
                      </a:lnTo>
                      <a:lnTo>
                        <a:pt x="182" y="3"/>
                      </a:lnTo>
                      <a:lnTo>
                        <a:pt x="178" y="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23" name="Freeform 776"/>
                <p:cNvSpPr>
                  <a:spLocks/>
                </p:cNvSpPr>
                <p:nvPr/>
              </p:nvSpPr>
              <p:spPr bwMode="auto">
                <a:xfrm>
                  <a:off x="5376268" y="2668184"/>
                  <a:ext cx="220605" cy="172131"/>
                </a:xfrm>
                <a:custGeom>
                  <a:avLst/>
                  <a:gdLst>
                    <a:gd name="T0" fmla="*/ 6 w 223"/>
                    <a:gd name="T1" fmla="*/ 167 h 174"/>
                    <a:gd name="T2" fmla="*/ 7 w 223"/>
                    <a:gd name="T3" fmla="*/ 164 h 174"/>
                    <a:gd name="T4" fmla="*/ 7 w 223"/>
                    <a:gd name="T5" fmla="*/ 164 h 174"/>
                    <a:gd name="T6" fmla="*/ 7 w 223"/>
                    <a:gd name="T7" fmla="*/ 164 h 174"/>
                    <a:gd name="T8" fmla="*/ 18 w 223"/>
                    <a:gd name="T9" fmla="*/ 147 h 174"/>
                    <a:gd name="T10" fmla="*/ 10 w 223"/>
                    <a:gd name="T11" fmla="*/ 139 h 174"/>
                    <a:gd name="T12" fmla="*/ 2 w 223"/>
                    <a:gd name="T13" fmla="*/ 128 h 174"/>
                    <a:gd name="T14" fmla="*/ 6 w 223"/>
                    <a:gd name="T15" fmla="*/ 100 h 174"/>
                    <a:gd name="T16" fmla="*/ 3 w 223"/>
                    <a:gd name="T17" fmla="*/ 89 h 174"/>
                    <a:gd name="T18" fmla="*/ 2 w 223"/>
                    <a:gd name="T19" fmla="*/ 77 h 174"/>
                    <a:gd name="T20" fmla="*/ 10 w 223"/>
                    <a:gd name="T21" fmla="*/ 66 h 174"/>
                    <a:gd name="T22" fmla="*/ 10 w 223"/>
                    <a:gd name="T23" fmla="*/ 64 h 174"/>
                    <a:gd name="T24" fmla="*/ 22 w 223"/>
                    <a:gd name="T25" fmla="*/ 60 h 174"/>
                    <a:gd name="T26" fmla="*/ 32 w 223"/>
                    <a:gd name="T27" fmla="*/ 63 h 174"/>
                    <a:gd name="T28" fmla="*/ 34 w 223"/>
                    <a:gd name="T29" fmla="*/ 63 h 174"/>
                    <a:gd name="T30" fmla="*/ 41 w 223"/>
                    <a:gd name="T31" fmla="*/ 57 h 174"/>
                    <a:gd name="T32" fmla="*/ 42 w 223"/>
                    <a:gd name="T33" fmla="*/ 57 h 174"/>
                    <a:gd name="T34" fmla="*/ 42 w 223"/>
                    <a:gd name="T35" fmla="*/ 55 h 174"/>
                    <a:gd name="T36" fmla="*/ 63 w 223"/>
                    <a:gd name="T37" fmla="*/ 42 h 174"/>
                    <a:gd name="T38" fmla="*/ 67 w 223"/>
                    <a:gd name="T39" fmla="*/ 29 h 174"/>
                    <a:gd name="T40" fmla="*/ 78 w 223"/>
                    <a:gd name="T41" fmla="*/ 22 h 174"/>
                    <a:gd name="T42" fmla="*/ 90 w 223"/>
                    <a:gd name="T43" fmla="*/ 19 h 174"/>
                    <a:gd name="T44" fmla="*/ 113 w 223"/>
                    <a:gd name="T45" fmla="*/ 21 h 174"/>
                    <a:gd name="T46" fmla="*/ 125 w 223"/>
                    <a:gd name="T47" fmla="*/ 24 h 174"/>
                    <a:gd name="T48" fmla="*/ 132 w 223"/>
                    <a:gd name="T49" fmla="*/ 21 h 174"/>
                    <a:gd name="T50" fmla="*/ 152 w 223"/>
                    <a:gd name="T51" fmla="*/ 18 h 174"/>
                    <a:gd name="T52" fmla="*/ 158 w 223"/>
                    <a:gd name="T53" fmla="*/ 6 h 174"/>
                    <a:gd name="T54" fmla="*/ 173 w 223"/>
                    <a:gd name="T55" fmla="*/ 0 h 174"/>
                    <a:gd name="T56" fmla="*/ 175 w 223"/>
                    <a:gd name="T57" fmla="*/ 25 h 174"/>
                    <a:gd name="T58" fmla="*/ 178 w 223"/>
                    <a:gd name="T59" fmla="*/ 28 h 174"/>
                    <a:gd name="T60" fmla="*/ 206 w 223"/>
                    <a:gd name="T61" fmla="*/ 24 h 174"/>
                    <a:gd name="T62" fmla="*/ 220 w 223"/>
                    <a:gd name="T63" fmla="*/ 27 h 174"/>
                    <a:gd name="T64" fmla="*/ 210 w 223"/>
                    <a:gd name="T65" fmla="*/ 31 h 174"/>
                    <a:gd name="T66" fmla="*/ 187 w 223"/>
                    <a:gd name="T67" fmla="*/ 35 h 174"/>
                    <a:gd name="T68" fmla="*/ 175 w 223"/>
                    <a:gd name="T69" fmla="*/ 44 h 174"/>
                    <a:gd name="T70" fmla="*/ 173 w 223"/>
                    <a:gd name="T71" fmla="*/ 47 h 174"/>
                    <a:gd name="T72" fmla="*/ 177 w 223"/>
                    <a:gd name="T73" fmla="*/ 63 h 174"/>
                    <a:gd name="T74" fmla="*/ 173 w 223"/>
                    <a:gd name="T75" fmla="*/ 70 h 174"/>
                    <a:gd name="T76" fmla="*/ 170 w 223"/>
                    <a:gd name="T77" fmla="*/ 76 h 174"/>
                    <a:gd name="T78" fmla="*/ 173 w 223"/>
                    <a:gd name="T79" fmla="*/ 90 h 174"/>
                    <a:gd name="T80" fmla="*/ 161 w 223"/>
                    <a:gd name="T81" fmla="*/ 100 h 174"/>
                    <a:gd name="T82" fmla="*/ 148 w 223"/>
                    <a:gd name="T83" fmla="*/ 109 h 174"/>
                    <a:gd name="T84" fmla="*/ 141 w 223"/>
                    <a:gd name="T85" fmla="*/ 126 h 174"/>
                    <a:gd name="T86" fmla="*/ 133 w 223"/>
                    <a:gd name="T87" fmla="*/ 128 h 174"/>
                    <a:gd name="T88" fmla="*/ 131 w 223"/>
                    <a:gd name="T89" fmla="*/ 128 h 174"/>
                    <a:gd name="T90" fmla="*/ 125 w 223"/>
                    <a:gd name="T91" fmla="*/ 128 h 174"/>
                    <a:gd name="T92" fmla="*/ 112 w 223"/>
                    <a:gd name="T93" fmla="*/ 137 h 174"/>
                    <a:gd name="T94" fmla="*/ 112 w 223"/>
                    <a:gd name="T95" fmla="*/ 141 h 174"/>
                    <a:gd name="T96" fmla="*/ 97 w 223"/>
                    <a:gd name="T97" fmla="*/ 144 h 174"/>
                    <a:gd name="T98" fmla="*/ 83 w 223"/>
                    <a:gd name="T99" fmla="*/ 163 h 174"/>
                    <a:gd name="T100" fmla="*/ 74 w 223"/>
                    <a:gd name="T101" fmla="*/ 171 h 174"/>
                    <a:gd name="T102" fmla="*/ 48 w 223"/>
                    <a:gd name="T103" fmla="*/ 171 h 174"/>
                    <a:gd name="T104" fmla="*/ 36 w 223"/>
                    <a:gd name="T105" fmla="*/ 171 h 174"/>
                    <a:gd name="T106" fmla="*/ 36 w 223"/>
                    <a:gd name="T107" fmla="*/ 171 h 174"/>
                    <a:gd name="T108" fmla="*/ 36 w 223"/>
                    <a:gd name="T109" fmla="*/ 171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23" h="174">
                      <a:moveTo>
                        <a:pt x="9" y="174"/>
                      </a:moveTo>
                      <a:lnTo>
                        <a:pt x="9" y="174"/>
                      </a:lnTo>
                      <a:lnTo>
                        <a:pt x="7" y="168"/>
                      </a:lnTo>
                      <a:lnTo>
                        <a:pt x="6" y="167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13" y="155"/>
                      </a:lnTo>
                      <a:lnTo>
                        <a:pt x="16" y="151"/>
                      </a:lnTo>
                      <a:lnTo>
                        <a:pt x="18" y="147"/>
                      </a:lnTo>
                      <a:lnTo>
                        <a:pt x="18" y="147"/>
                      </a:lnTo>
                      <a:lnTo>
                        <a:pt x="18" y="145"/>
                      </a:lnTo>
                      <a:lnTo>
                        <a:pt x="16" y="144"/>
                      </a:lnTo>
                      <a:lnTo>
                        <a:pt x="16" y="144"/>
                      </a:lnTo>
                      <a:lnTo>
                        <a:pt x="10" y="139"/>
                      </a:lnTo>
                      <a:lnTo>
                        <a:pt x="7" y="137"/>
                      </a:lnTo>
                      <a:lnTo>
                        <a:pt x="3" y="132"/>
                      </a:lnTo>
                      <a:lnTo>
                        <a:pt x="3" y="132"/>
                      </a:lnTo>
                      <a:lnTo>
                        <a:pt x="2" y="128"/>
                      </a:lnTo>
                      <a:lnTo>
                        <a:pt x="2" y="124"/>
                      </a:lnTo>
                      <a:lnTo>
                        <a:pt x="2" y="124"/>
                      </a:lnTo>
                      <a:lnTo>
                        <a:pt x="3" y="109"/>
                      </a:lnTo>
                      <a:lnTo>
                        <a:pt x="6" y="100"/>
                      </a:lnTo>
                      <a:lnTo>
                        <a:pt x="6" y="100"/>
                      </a:lnTo>
                      <a:lnTo>
                        <a:pt x="6" y="99"/>
                      </a:lnTo>
                      <a:lnTo>
                        <a:pt x="6" y="99"/>
                      </a:lnTo>
                      <a:lnTo>
                        <a:pt x="3" y="89"/>
                      </a:lnTo>
                      <a:lnTo>
                        <a:pt x="2" y="84"/>
                      </a:lnTo>
                      <a:lnTo>
                        <a:pt x="0" y="79"/>
                      </a:lnTo>
                      <a:lnTo>
                        <a:pt x="0" y="79"/>
                      </a:lnTo>
                      <a:lnTo>
                        <a:pt x="2" y="77"/>
                      </a:lnTo>
                      <a:lnTo>
                        <a:pt x="2" y="77"/>
                      </a:lnTo>
                      <a:lnTo>
                        <a:pt x="7" y="71"/>
                      </a:lnTo>
                      <a:lnTo>
                        <a:pt x="10" y="66"/>
                      </a:lnTo>
                      <a:lnTo>
                        <a:pt x="10" y="66"/>
                      </a:lnTo>
                      <a:lnTo>
                        <a:pt x="10" y="64"/>
                      </a:lnTo>
                      <a:lnTo>
                        <a:pt x="10" y="64"/>
                      </a:lnTo>
                      <a:lnTo>
                        <a:pt x="10" y="64"/>
                      </a:lnTo>
                      <a:lnTo>
                        <a:pt x="10" y="64"/>
                      </a:lnTo>
                      <a:lnTo>
                        <a:pt x="10" y="64"/>
                      </a:lnTo>
                      <a:lnTo>
                        <a:pt x="10" y="55"/>
                      </a:lnTo>
                      <a:lnTo>
                        <a:pt x="10" y="55"/>
                      </a:lnTo>
                      <a:lnTo>
                        <a:pt x="22" y="60"/>
                      </a:lnTo>
                      <a:lnTo>
                        <a:pt x="31" y="63"/>
                      </a:lnTo>
                      <a:lnTo>
                        <a:pt x="31" y="63"/>
                      </a:lnTo>
                      <a:lnTo>
                        <a:pt x="32" y="63"/>
                      </a:lnTo>
                      <a:lnTo>
                        <a:pt x="32" y="63"/>
                      </a:lnTo>
                      <a:lnTo>
                        <a:pt x="34" y="63"/>
                      </a:lnTo>
                      <a:lnTo>
                        <a:pt x="34" y="63"/>
                      </a:lnTo>
                      <a:lnTo>
                        <a:pt x="34" y="63"/>
                      </a:lnTo>
                      <a:lnTo>
                        <a:pt x="34" y="63"/>
                      </a:lnTo>
                      <a:lnTo>
                        <a:pt x="38" y="61"/>
                      </a:lnTo>
                      <a:lnTo>
                        <a:pt x="41" y="57"/>
                      </a:lnTo>
                      <a:lnTo>
                        <a:pt x="41" y="57"/>
                      </a:lnTo>
                      <a:lnTo>
                        <a:pt x="41" y="57"/>
                      </a:lnTo>
                      <a:lnTo>
                        <a:pt x="41" y="57"/>
                      </a:lnTo>
                      <a:lnTo>
                        <a:pt x="41" y="57"/>
                      </a:lnTo>
                      <a:lnTo>
                        <a:pt x="41" y="57"/>
                      </a:lnTo>
                      <a:lnTo>
                        <a:pt x="42" y="57"/>
                      </a:lnTo>
                      <a:lnTo>
                        <a:pt x="42" y="57"/>
                      </a:lnTo>
                      <a:lnTo>
                        <a:pt x="42" y="57"/>
                      </a:lnTo>
                      <a:lnTo>
                        <a:pt x="42" y="57"/>
                      </a:lnTo>
                      <a:lnTo>
                        <a:pt x="42" y="55"/>
                      </a:lnTo>
                      <a:lnTo>
                        <a:pt x="42" y="55"/>
                      </a:lnTo>
                      <a:lnTo>
                        <a:pt x="45" y="53"/>
                      </a:lnTo>
                      <a:lnTo>
                        <a:pt x="52" y="48"/>
                      </a:lnTo>
                      <a:lnTo>
                        <a:pt x="63" y="42"/>
                      </a:lnTo>
                      <a:lnTo>
                        <a:pt x="63" y="42"/>
                      </a:lnTo>
                      <a:lnTo>
                        <a:pt x="64" y="40"/>
                      </a:lnTo>
                      <a:lnTo>
                        <a:pt x="65" y="34"/>
                      </a:lnTo>
                      <a:lnTo>
                        <a:pt x="67" y="29"/>
                      </a:lnTo>
                      <a:lnTo>
                        <a:pt x="70" y="25"/>
                      </a:lnTo>
                      <a:lnTo>
                        <a:pt x="70" y="25"/>
                      </a:lnTo>
                      <a:lnTo>
                        <a:pt x="73" y="24"/>
                      </a:lnTo>
                      <a:lnTo>
                        <a:pt x="78" y="22"/>
                      </a:lnTo>
                      <a:lnTo>
                        <a:pt x="87" y="21"/>
                      </a:lnTo>
                      <a:lnTo>
                        <a:pt x="87" y="21"/>
                      </a:lnTo>
                      <a:lnTo>
                        <a:pt x="90" y="19"/>
                      </a:lnTo>
                      <a:lnTo>
                        <a:pt x="90" y="19"/>
                      </a:lnTo>
                      <a:lnTo>
                        <a:pt x="106" y="18"/>
                      </a:lnTo>
                      <a:lnTo>
                        <a:pt x="106" y="18"/>
                      </a:lnTo>
                      <a:lnTo>
                        <a:pt x="109" y="18"/>
                      </a:lnTo>
                      <a:lnTo>
                        <a:pt x="113" y="21"/>
                      </a:lnTo>
                      <a:lnTo>
                        <a:pt x="116" y="22"/>
                      </a:lnTo>
                      <a:lnTo>
                        <a:pt x="120" y="24"/>
                      </a:lnTo>
                      <a:lnTo>
                        <a:pt x="120" y="24"/>
                      </a:lnTo>
                      <a:lnTo>
                        <a:pt x="125" y="24"/>
                      </a:lnTo>
                      <a:lnTo>
                        <a:pt x="125" y="24"/>
                      </a:lnTo>
                      <a:lnTo>
                        <a:pt x="128" y="24"/>
                      </a:lnTo>
                      <a:lnTo>
                        <a:pt x="132" y="21"/>
                      </a:lnTo>
                      <a:lnTo>
                        <a:pt x="132" y="21"/>
                      </a:lnTo>
                      <a:lnTo>
                        <a:pt x="142" y="19"/>
                      </a:lnTo>
                      <a:lnTo>
                        <a:pt x="151" y="18"/>
                      </a:lnTo>
                      <a:lnTo>
                        <a:pt x="151" y="18"/>
                      </a:lnTo>
                      <a:lnTo>
                        <a:pt x="152" y="18"/>
                      </a:lnTo>
                      <a:lnTo>
                        <a:pt x="154" y="15"/>
                      </a:lnTo>
                      <a:lnTo>
                        <a:pt x="155" y="9"/>
                      </a:lnTo>
                      <a:lnTo>
                        <a:pt x="155" y="9"/>
                      </a:lnTo>
                      <a:lnTo>
                        <a:pt x="158" y="6"/>
                      </a:lnTo>
                      <a:lnTo>
                        <a:pt x="162" y="3"/>
                      </a:lnTo>
                      <a:lnTo>
                        <a:pt x="168" y="2"/>
                      </a:lnTo>
                      <a:lnTo>
                        <a:pt x="173" y="0"/>
                      </a:lnTo>
                      <a:lnTo>
                        <a:pt x="173" y="0"/>
                      </a:lnTo>
                      <a:lnTo>
                        <a:pt x="174" y="2"/>
                      </a:lnTo>
                      <a:lnTo>
                        <a:pt x="175" y="3"/>
                      </a:lnTo>
                      <a:lnTo>
                        <a:pt x="175" y="12"/>
                      </a:lnTo>
                      <a:lnTo>
                        <a:pt x="175" y="25"/>
                      </a:lnTo>
                      <a:lnTo>
                        <a:pt x="175" y="25"/>
                      </a:lnTo>
                      <a:lnTo>
                        <a:pt x="175" y="28"/>
                      </a:lnTo>
                      <a:lnTo>
                        <a:pt x="178" y="28"/>
                      </a:lnTo>
                      <a:lnTo>
                        <a:pt x="178" y="28"/>
                      </a:lnTo>
                      <a:lnTo>
                        <a:pt x="187" y="28"/>
                      </a:lnTo>
                      <a:lnTo>
                        <a:pt x="187" y="28"/>
                      </a:lnTo>
                      <a:lnTo>
                        <a:pt x="197" y="25"/>
                      </a:lnTo>
                      <a:lnTo>
                        <a:pt x="206" y="24"/>
                      </a:lnTo>
                      <a:lnTo>
                        <a:pt x="206" y="24"/>
                      </a:lnTo>
                      <a:lnTo>
                        <a:pt x="223" y="22"/>
                      </a:lnTo>
                      <a:lnTo>
                        <a:pt x="223" y="22"/>
                      </a:lnTo>
                      <a:lnTo>
                        <a:pt x="220" y="27"/>
                      </a:lnTo>
                      <a:lnTo>
                        <a:pt x="220" y="28"/>
                      </a:lnTo>
                      <a:lnTo>
                        <a:pt x="222" y="29"/>
                      </a:lnTo>
                      <a:lnTo>
                        <a:pt x="222" y="29"/>
                      </a:lnTo>
                      <a:lnTo>
                        <a:pt x="210" y="31"/>
                      </a:lnTo>
                      <a:lnTo>
                        <a:pt x="210" y="31"/>
                      </a:lnTo>
                      <a:lnTo>
                        <a:pt x="197" y="31"/>
                      </a:lnTo>
                      <a:lnTo>
                        <a:pt x="191" y="32"/>
                      </a:lnTo>
                      <a:lnTo>
                        <a:pt x="187" y="35"/>
                      </a:lnTo>
                      <a:lnTo>
                        <a:pt x="187" y="35"/>
                      </a:lnTo>
                      <a:lnTo>
                        <a:pt x="184" y="38"/>
                      </a:lnTo>
                      <a:lnTo>
                        <a:pt x="180" y="41"/>
                      </a:lnTo>
                      <a:lnTo>
                        <a:pt x="175" y="44"/>
                      </a:lnTo>
                      <a:lnTo>
                        <a:pt x="173" y="47"/>
                      </a:lnTo>
                      <a:lnTo>
                        <a:pt x="173" y="47"/>
                      </a:lnTo>
                      <a:lnTo>
                        <a:pt x="173" y="47"/>
                      </a:lnTo>
                      <a:lnTo>
                        <a:pt x="173" y="47"/>
                      </a:lnTo>
                      <a:lnTo>
                        <a:pt x="175" y="54"/>
                      </a:lnTo>
                      <a:lnTo>
                        <a:pt x="177" y="63"/>
                      </a:lnTo>
                      <a:lnTo>
                        <a:pt x="177" y="63"/>
                      </a:lnTo>
                      <a:lnTo>
                        <a:pt x="177" y="63"/>
                      </a:lnTo>
                      <a:lnTo>
                        <a:pt x="177" y="63"/>
                      </a:lnTo>
                      <a:lnTo>
                        <a:pt x="177" y="66"/>
                      </a:lnTo>
                      <a:lnTo>
                        <a:pt x="174" y="67"/>
                      </a:lnTo>
                      <a:lnTo>
                        <a:pt x="173" y="70"/>
                      </a:lnTo>
                      <a:lnTo>
                        <a:pt x="171" y="73"/>
                      </a:lnTo>
                      <a:lnTo>
                        <a:pt x="171" y="73"/>
                      </a:lnTo>
                      <a:lnTo>
                        <a:pt x="170" y="76"/>
                      </a:lnTo>
                      <a:lnTo>
                        <a:pt x="170" y="76"/>
                      </a:lnTo>
                      <a:lnTo>
                        <a:pt x="171" y="82"/>
                      </a:lnTo>
                      <a:lnTo>
                        <a:pt x="173" y="87"/>
                      </a:lnTo>
                      <a:lnTo>
                        <a:pt x="173" y="87"/>
                      </a:lnTo>
                      <a:lnTo>
                        <a:pt x="173" y="90"/>
                      </a:lnTo>
                      <a:lnTo>
                        <a:pt x="173" y="90"/>
                      </a:lnTo>
                      <a:lnTo>
                        <a:pt x="168" y="96"/>
                      </a:lnTo>
                      <a:lnTo>
                        <a:pt x="165" y="97"/>
                      </a:lnTo>
                      <a:lnTo>
                        <a:pt x="161" y="100"/>
                      </a:lnTo>
                      <a:lnTo>
                        <a:pt x="161" y="100"/>
                      </a:lnTo>
                      <a:lnTo>
                        <a:pt x="157" y="102"/>
                      </a:lnTo>
                      <a:lnTo>
                        <a:pt x="154" y="103"/>
                      </a:lnTo>
                      <a:lnTo>
                        <a:pt x="148" y="109"/>
                      </a:lnTo>
                      <a:lnTo>
                        <a:pt x="148" y="109"/>
                      </a:lnTo>
                      <a:lnTo>
                        <a:pt x="145" y="115"/>
                      </a:lnTo>
                      <a:lnTo>
                        <a:pt x="144" y="121"/>
                      </a:lnTo>
                      <a:lnTo>
                        <a:pt x="141" y="126"/>
                      </a:lnTo>
                      <a:lnTo>
                        <a:pt x="139" y="128"/>
                      </a:lnTo>
                      <a:lnTo>
                        <a:pt x="138" y="128"/>
                      </a:lnTo>
                      <a:lnTo>
                        <a:pt x="138" y="128"/>
                      </a:lnTo>
                      <a:lnTo>
                        <a:pt x="133" y="128"/>
                      </a:lnTo>
                      <a:lnTo>
                        <a:pt x="133" y="128"/>
                      </a:lnTo>
                      <a:lnTo>
                        <a:pt x="131" y="128"/>
                      </a:lnTo>
                      <a:lnTo>
                        <a:pt x="131" y="128"/>
                      </a:lnTo>
                      <a:lnTo>
                        <a:pt x="131" y="128"/>
                      </a:lnTo>
                      <a:lnTo>
                        <a:pt x="131" y="128"/>
                      </a:lnTo>
                      <a:lnTo>
                        <a:pt x="125" y="128"/>
                      </a:lnTo>
                      <a:lnTo>
                        <a:pt x="125" y="128"/>
                      </a:lnTo>
                      <a:lnTo>
                        <a:pt x="125" y="128"/>
                      </a:lnTo>
                      <a:lnTo>
                        <a:pt x="125" y="128"/>
                      </a:lnTo>
                      <a:lnTo>
                        <a:pt x="119" y="131"/>
                      </a:lnTo>
                      <a:lnTo>
                        <a:pt x="115" y="134"/>
                      </a:lnTo>
                      <a:lnTo>
                        <a:pt x="112" y="137"/>
                      </a:lnTo>
                      <a:lnTo>
                        <a:pt x="112" y="138"/>
                      </a:lnTo>
                      <a:lnTo>
                        <a:pt x="112" y="138"/>
                      </a:lnTo>
                      <a:lnTo>
                        <a:pt x="112" y="141"/>
                      </a:lnTo>
                      <a:lnTo>
                        <a:pt x="112" y="141"/>
                      </a:lnTo>
                      <a:lnTo>
                        <a:pt x="110" y="142"/>
                      </a:lnTo>
                      <a:lnTo>
                        <a:pt x="106" y="144"/>
                      </a:lnTo>
                      <a:lnTo>
                        <a:pt x="106" y="144"/>
                      </a:lnTo>
                      <a:lnTo>
                        <a:pt x="97" y="144"/>
                      </a:lnTo>
                      <a:lnTo>
                        <a:pt x="94" y="145"/>
                      </a:lnTo>
                      <a:lnTo>
                        <a:pt x="91" y="150"/>
                      </a:lnTo>
                      <a:lnTo>
                        <a:pt x="91" y="150"/>
                      </a:lnTo>
                      <a:lnTo>
                        <a:pt x="83" y="163"/>
                      </a:lnTo>
                      <a:lnTo>
                        <a:pt x="78" y="168"/>
                      </a:lnTo>
                      <a:lnTo>
                        <a:pt x="77" y="171"/>
                      </a:lnTo>
                      <a:lnTo>
                        <a:pt x="74" y="171"/>
                      </a:lnTo>
                      <a:lnTo>
                        <a:pt x="74" y="171"/>
                      </a:lnTo>
                      <a:lnTo>
                        <a:pt x="64" y="171"/>
                      </a:lnTo>
                      <a:lnTo>
                        <a:pt x="64" y="171"/>
                      </a:lnTo>
                      <a:lnTo>
                        <a:pt x="48" y="171"/>
                      </a:lnTo>
                      <a:lnTo>
                        <a:pt x="48" y="171"/>
                      </a:lnTo>
                      <a:lnTo>
                        <a:pt x="48" y="171"/>
                      </a:lnTo>
                      <a:lnTo>
                        <a:pt x="48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9" y="17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24" name="Freeform 777"/>
                <p:cNvSpPr>
                  <a:spLocks/>
                </p:cNvSpPr>
                <p:nvPr/>
              </p:nvSpPr>
              <p:spPr bwMode="auto">
                <a:xfrm>
                  <a:off x="5376268" y="2668184"/>
                  <a:ext cx="220605" cy="172131"/>
                </a:xfrm>
                <a:custGeom>
                  <a:avLst/>
                  <a:gdLst>
                    <a:gd name="T0" fmla="*/ 6 w 223"/>
                    <a:gd name="T1" fmla="*/ 167 h 174"/>
                    <a:gd name="T2" fmla="*/ 7 w 223"/>
                    <a:gd name="T3" fmla="*/ 164 h 174"/>
                    <a:gd name="T4" fmla="*/ 7 w 223"/>
                    <a:gd name="T5" fmla="*/ 164 h 174"/>
                    <a:gd name="T6" fmla="*/ 7 w 223"/>
                    <a:gd name="T7" fmla="*/ 164 h 174"/>
                    <a:gd name="T8" fmla="*/ 18 w 223"/>
                    <a:gd name="T9" fmla="*/ 147 h 174"/>
                    <a:gd name="T10" fmla="*/ 10 w 223"/>
                    <a:gd name="T11" fmla="*/ 139 h 174"/>
                    <a:gd name="T12" fmla="*/ 2 w 223"/>
                    <a:gd name="T13" fmla="*/ 128 h 174"/>
                    <a:gd name="T14" fmla="*/ 6 w 223"/>
                    <a:gd name="T15" fmla="*/ 100 h 174"/>
                    <a:gd name="T16" fmla="*/ 3 w 223"/>
                    <a:gd name="T17" fmla="*/ 89 h 174"/>
                    <a:gd name="T18" fmla="*/ 2 w 223"/>
                    <a:gd name="T19" fmla="*/ 77 h 174"/>
                    <a:gd name="T20" fmla="*/ 10 w 223"/>
                    <a:gd name="T21" fmla="*/ 66 h 174"/>
                    <a:gd name="T22" fmla="*/ 10 w 223"/>
                    <a:gd name="T23" fmla="*/ 64 h 174"/>
                    <a:gd name="T24" fmla="*/ 22 w 223"/>
                    <a:gd name="T25" fmla="*/ 60 h 174"/>
                    <a:gd name="T26" fmla="*/ 32 w 223"/>
                    <a:gd name="T27" fmla="*/ 63 h 174"/>
                    <a:gd name="T28" fmla="*/ 34 w 223"/>
                    <a:gd name="T29" fmla="*/ 63 h 174"/>
                    <a:gd name="T30" fmla="*/ 41 w 223"/>
                    <a:gd name="T31" fmla="*/ 57 h 174"/>
                    <a:gd name="T32" fmla="*/ 42 w 223"/>
                    <a:gd name="T33" fmla="*/ 57 h 174"/>
                    <a:gd name="T34" fmla="*/ 42 w 223"/>
                    <a:gd name="T35" fmla="*/ 55 h 174"/>
                    <a:gd name="T36" fmla="*/ 63 w 223"/>
                    <a:gd name="T37" fmla="*/ 42 h 174"/>
                    <a:gd name="T38" fmla="*/ 67 w 223"/>
                    <a:gd name="T39" fmla="*/ 29 h 174"/>
                    <a:gd name="T40" fmla="*/ 78 w 223"/>
                    <a:gd name="T41" fmla="*/ 22 h 174"/>
                    <a:gd name="T42" fmla="*/ 90 w 223"/>
                    <a:gd name="T43" fmla="*/ 19 h 174"/>
                    <a:gd name="T44" fmla="*/ 113 w 223"/>
                    <a:gd name="T45" fmla="*/ 21 h 174"/>
                    <a:gd name="T46" fmla="*/ 125 w 223"/>
                    <a:gd name="T47" fmla="*/ 24 h 174"/>
                    <a:gd name="T48" fmla="*/ 132 w 223"/>
                    <a:gd name="T49" fmla="*/ 21 h 174"/>
                    <a:gd name="T50" fmla="*/ 152 w 223"/>
                    <a:gd name="T51" fmla="*/ 18 h 174"/>
                    <a:gd name="T52" fmla="*/ 158 w 223"/>
                    <a:gd name="T53" fmla="*/ 6 h 174"/>
                    <a:gd name="T54" fmla="*/ 173 w 223"/>
                    <a:gd name="T55" fmla="*/ 0 h 174"/>
                    <a:gd name="T56" fmla="*/ 175 w 223"/>
                    <a:gd name="T57" fmla="*/ 25 h 174"/>
                    <a:gd name="T58" fmla="*/ 178 w 223"/>
                    <a:gd name="T59" fmla="*/ 28 h 174"/>
                    <a:gd name="T60" fmla="*/ 206 w 223"/>
                    <a:gd name="T61" fmla="*/ 24 h 174"/>
                    <a:gd name="T62" fmla="*/ 220 w 223"/>
                    <a:gd name="T63" fmla="*/ 27 h 174"/>
                    <a:gd name="T64" fmla="*/ 210 w 223"/>
                    <a:gd name="T65" fmla="*/ 31 h 174"/>
                    <a:gd name="T66" fmla="*/ 187 w 223"/>
                    <a:gd name="T67" fmla="*/ 35 h 174"/>
                    <a:gd name="T68" fmla="*/ 175 w 223"/>
                    <a:gd name="T69" fmla="*/ 44 h 174"/>
                    <a:gd name="T70" fmla="*/ 173 w 223"/>
                    <a:gd name="T71" fmla="*/ 47 h 174"/>
                    <a:gd name="T72" fmla="*/ 177 w 223"/>
                    <a:gd name="T73" fmla="*/ 63 h 174"/>
                    <a:gd name="T74" fmla="*/ 173 w 223"/>
                    <a:gd name="T75" fmla="*/ 70 h 174"/>
                    <a:gd name="T76" fmla="*/ 170 w 223"/>
                    <a:gd name="T77" fmla="*/ 76 h 174"/>
                    <a:gd name="T78" fmla="*/ 173 w 223"/>
                    <a:gd name="T79" fmla="*/ 90 h 174"/>
                    <a:gd name="T80" fmla="*/ 161 w 223"/>
                    <a:gd name="T81" fmla="*/ 100 h 174"/>
                    <a:gd name="T82" fmla="*/ 148 w 223"/>
                    <a:gd name="T83" fmla="*/ 109 h 174"/>
                    <a:gd name="T84" fmla="*/ 141 w 223"/>
                    <a:gd name="T85" fmla="*/ 126 h 174"/>
                    <a:gd name="T86" fmla="*/ 133 w 223"/>
                    <a:gd name="T87" fmla="*/ 128 h 174"/>
                    <a:gd name="T88" fmla="*/ 131 w 223"/>
                    <a:gd name="T89" fmla="*/ 128 h 174"/>
                    <a:gd name="T90" fmla="*/ 125 w 223"/>
                    <a:gd name="T91" fmla="*/ 128 h 174"/>
                    <a:gd name="T92" fmla="*/ 112 w 223"/>
                    <a:gd name="T93" fmla="*/ 137 h 174"/>
                    <a:gd name="T94" fmla="*/ 112 w 223"/>
                    <a:gd name="T95" fmla="*/ 141 h 174"/>
                    <a:gd name="T96" fmla="*/ 97 w 223"/>
                    <a:gd name="T97" fmla="*/ 144 h 174"/>
                    <a:gd name="T98" fmla="*/ 83 w 223"/>
                    <a:gd name="T99" fmla="*/ 163 h 174"/>
                    <a:gd name="T100" fmla="*/ 74 w 223"/>
                    <a:gd name="T101" fmla="*/ 171 h 174"/>
                    <a:gd name="T102" fmla="*/ 48 w 223"/>
                    <a:gd name="T103" fmla="*/ 171 h 174"/>
                    <a:gd name="T104" fmla="*/ 36 w 223"/>
                    <a:gd name="T105" fmla="*/ 171 h 174"/>
                    <a:gd name="T106" fmla="*/ 36 w 223"/>
                    <a:gd name="T107" fmla="*/ 171 h 174"/>
                    <a:gd name="T108" fmla="*/ 36 w 223"/>
                    <a:gd name="T109" fmla="*/ 171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23" h="174">
                      <a:moveTo>
                        <a:pt x="9" y="174"/>
                      </a:moveTo>
                      <a:lnTo>
                        <a:pt x="9" y="174"/>
                      </a:lnTo>
                      <a:lnTo>
                        <a:pt x="7" y="168"/>
                      </a:lnTo>
                      <a:lnTo>
                        <a:pt x="6" y="167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7" y="164"/>
                      </a:lnTo>
                      <a:lnTo>
                        <a:pt x="13" y="155"/>
                      </a:lnTo>
                      <a:lnTo>
                        <a:pt x="16" y="151"/>
                      </a:lnTo>
                      <a:lnTo>
                        <a:pt x="18" y="147"/>
                      </a:lnTo>
                      <a:lnTo>
                        <a:pt x="18" y="147"/>
                      </a:lnTo>
                      <a:lnTo>
                        <a:pt x="18" y="145"/>
                      </a:lnTo>
                      <a:lnTo>
                        <a:pt x="16" y="144"/>
                      </a:lnTo>
                      <a:lnTo>
                        <a:pt x="16" y="144"/>
                      </a:lnTo>
                      <a:lnTo>
                        <a:pt x="10" y="139"/>
                      </a:lnTo>
                      <a:lnTo>
                        <a:pt x="7" y="137"/>
                      </a:lnTo>
                      <a:lnTo>
                        <a:pt x="3" y="132"/>
                      </a:lnTo>
                      <a:lnTo>
                        <a:pt x="3" y="132"/>
                      </a:lnTo>
                      <a:lnTo>
                        <a:pt x="2" y="128"/>
                      </a:lnTo>
                      <a:lnTo>
                        <a:pt x="2" y="124"/>
                      </a:lnTo>
                      <a:lnTo>
                        <a:pt x="2" y="124"/>
                      </a:lnTo>
                      <a:lnTo>
                        <a:pt x="3" y="109"/>
                      </a:lnTo>
                      <a:lnTo>
                        <a:pt x="6" y="100"/>
                      </a:lnTo>
                      <a:lnTo>
                        <a:pt x="6" y="100"/>
                      </a:lnTo>
                      <a:lnTo>
                        <a:pt x="6" y="99"/>
                      </a:lnTo>
                      <a:lnTo>
                        <a:pt x="6" y="99"/>
                      </a:lnTo>
                      <a:lnTo>
                        <a:pt x="3" y="89"/>
                      </a:lnTo>
                      <a:lnTo>
                        <a:pt x="2" y="84"/>
                      </a:lnTo>
                      <a:lnTo>
                        <a:pt x="0" y="79"/>
                      </a:lnTo>
                      <a:lnTo>
                        <a:pt x="0" y="79"/>
                      </a:lnTo>
                      <a:lnTo>
                        <a:pt x="2" y="77"/>
                      </a:lnTo>
                      <a:lnTo>
                        <a:pt x="2" y="77"/>
                      </a:lnTo>
                      <a:lnTo>
                        <a:pt x="7" y="71"/>
                      </a:lnTo>
                      <a:lnTo>
                        <a:pt x="10" y="66"/>
                      </a:lnTo>
                      <a:lnTo>
                        <a:pt x="10" y="66"/>
                      </a:lnTo>
                      <a:lnTo>
                        <a:pt x="10" y="64"/>
                      </a:lnTo>
                      <a:lnTo>
                        <a:pt x="10" y="64"/>
                      </a:lnTo>
                      <a:lnTo>
                        <a:pt x="10" y="64"/>
                      </a:lnTo>
                      <a:lnTo>
                        <a:pt x="10" y="64"/>
                      </a:lnTo>
                      <a:lnTo>
                        <a:pt x="10" y="64"/>
                      </a:lnTo>
                      <a:lnTo>
                        <a:pt x="10" y="55"/>
                      </a:lnTo>
                      <a:lnTo>
                        <a:pt x="10" y="55"/>
                      </a:lnTo>
                      <a:lnTo>
                        <a:pt x="22" y="60"/>
                      </a:lnTo>
                      <a:lnTo>
                        <a:pt x="31" y="63"/>
                      </a:lnTo>
                      <a:lnTo>
                        <a:pt x="31" y="63"/>
                      </a:lnTo>
                      <a:lnTo>
                        <a:pt x="32" y="63"/>
                      </a:lnTo>
                      <a:lnTo>
                        <a:pt x="32" y="63"/>
                      </a:lnTo>
                      <a:lnTo>
                        <a:pt x="34" y="63"/>
                      </a:lnTo>
                      <a:lnTo>
                        <a:pt x="34" y="63"/>
                      </a:lnTo>
                      <a:lnTo>
                        <a:pt x="34" y="63"/>
                      </a:lnTo>
                      <a:lnTo>
                        <a:pt x="34" y="63"/>
                      </a:lnTo>
                      <a:lnTo>
                        <a:pt x="38" y="61"/>
                      </a:lnTo>
                      <a:lnTo>
                        <a:pt x="41" y="57"/>
                      </a:lnTo>
                      <a:lnTo>
                        <a:pt x="41" y="57"/>
                      </a:lnTo>
                      <a:lnTo>
                        <a:pt x="41" y="57"/>
                      </a:lnTo>
                      <a:lnTo>
                        <a:pt x="41" y="57"/>
                      </a:lnTo>
                      <a:lnTo>
                        <a:pt x="41" y="57"/>
                      </a:lnTo>
                      <a:lnTo>
                        <a:pt x="41" y="57"/>
                      </a:lnTo>
                      <a:lnTo>
                        <a:pt x="42" y="57"/>
                      </a:lnTo>
                      <a:lnTo>
                        <a:pt x="42" y="57"/>
                      </a:lnTo>
                      <a:lnTo>
                        <a:pt x="42" y="57"/>
                      </a:lnTo>
                      <a:lnTo>
                        <a:pt x="42" y="57"/>
                      </a:lnTo>
                      <a:lnTo>
                        <a:pt x="42" y="55"/>
                      </a:lnTo>
                      <a:lnTo>
                        <a:pt x="42" y="55"/>
                      </a:lnTo>
                      <a:lnTo>
                        <a:pt x="45" y="53"/>
                      </a:lnTo>
                      <a:lnTo>
                        <a:pt x="52" y="48"/>
                      </a:lnTo>
                      <a:lnTo>
                        <a:pt x="63" y="42"/>
                      </a:lnTo>
                      <a:lnTo>
                        <a:pt x="63" y="42"/>
                      </a:lnTo>
                      <a:lnTo>
                        <a:pt x="64" y="40"/>
                      </a:lnTo>
                      <a:lnTo>
                        <a:pt x="65" y="34"/>
                      </a:lnTo>
                      <a:lnTo>
                        <a:pt x="67" y="29"/>
                      </a:lnTo>
                      <a:lnTo>
                        <a:pt x="70" y="25"/>
                      </a:lnTo>
                      <a:lnTo>
                        <a:pt x="70" y="25"/>
                      </a:lnTo>
                      <a:lnTo>
                        <a:pt x="73" y="24"/>
                      </a:lnTo>
                      <a:lnTo>
                        <a:pt x="78" y="22"/>
                      </a:lnTo>
                      <a:lnTo>
                        <a:pt x="87" y="21"/>
                      </a:lnTo>
                      <a:lnTo>
                        <a:pt x="87" y="21"/>
                      </a:lnTo>
                      <a:lnTo>
                        <a:pt x="90" y="19"/>
                      </a:lnTo>
                      <a:lnTo>
                        <a:pt x="90" y="19"/>
                      </a:lnTo>
                      <a:lnTo>
                        <a:pt x="106" y="18"/>
                      </a:lnTo>
                      <a:lnTo>
                        <a:pt x="106" y="18"/>
                      </a:lnTo>
                      <a:lnTo>
                        <a:pt x="109" y="18"/>
                      </a:lnTo>
                      <a:lnTo>
                        <a:pt x="113" y="21"/>
                      </a:lnTo>
                      <a:lnTo>
                        <a:pt x="116" y="22"/>
                      </a:lnTo>
                      <a:lnTo>
                        <a:pt x="120" y="24"/>
                      </a:lnTo>
                      <a:lnTo>
                        <a:pt x="120" y="24"/>
                      </a:lnTo>
                      <a:lnTo>
                        <a:pt x="125" y="24"/>
                      </a:lnTo>
                      <a:lnTo>
                        <a:pt x="125" y="24"/>
                      </a:lnTo>
                      <a:lnTo>
                        <a:pt x="128" y="24"/>
                      </a:lnTo>
                      <a:lnTo>
                        <a:pt x="132" y="21"/>
                      </a:lnTo>
                      <a:lnTo>
                        <a:pt x="132" y="21"/>
                      </a:lnTo>
                      <a:lnTo>
                        <a:pt x="142" y="19"/>
                      </a:lnTo>
                      <a:lnTo>
                        <a:pt x="151" y="18"/>
                      </a:lnTo>
                      <a:lnTo>
                        <a:pt x="151" y="18"/>
                      </a:lnTo>
                      <a:lnTo>
                        <a:pt x="152" y="18"/>
                      </a:lnTo>
                      <a:lnTo>
                        <a:pt x="154" y="15"/>
                      </a:lnTo>
                      <a:lnTo>
                        <a:pt x="155" y="9"/>
                      </a:lnTo>
                      <a:lnTo>
                        <a:pt x="155" y="9"/>
                      </a:lnTo>
                      <a:lnTo>
                        <a:pt x="158" y="6"/>
                      </a:lnTo>
                      <a:lnTo>
                        <a:pt x="162" y="3"/>
                      </a:lnTo>
                      <a:lnTo>
                        <a:pt x="168" y="2"/>
                      </a:lnTo>
                      <a:lnTo>
                        <a:pt x="173" y="0"/>
                      </a:lnTo>
                      <a:lnTo>
                        <a:pt x="173" y="0"/>
                      </a:lnTo>
                      <a:lnTo>
                        <a:pt x="174" y="2"/>
                      </a:lnTo>
                      <a:lnTo>
                        <a:pt x="175" y="3"/>
                      </a:lnTo>
                      <a:lnTo>
                        <a:pt x="175" y="12"/>
                      </a:lnTo>
                      <a:lnTo>
                        <a:pt x="175" y="25"/>
                      </a:lnTo>
                      <a:lnTo>
                        <a:pt x="175" y="25"/>
                      </a:lnTo>
                      <a:lnTo>
                        <a:pt x="175" y="28"/>
                      </a:lnTo>
                      <a:lnTo>
                        <a:pt x="178" y="28"/>
                      </a:lnTo>
                      <a:lnTo>
                        <a:pt x="178" y="28"/>
                      </a:lnTo>
                      <a:lnTo>
                        <a:pt x="187" y="28"/>
                      </a:lnTo>
                      <a:lnTo>
                        <a:pt x="187" y="28"/>
                      </a:lnTo>
                      <a:lnTo>
                        <a:pt x="197" y="25"/>
                      </a:lnTo>
                      <a:lnTo>
                        <a:pt x="206" y="24"/>
                      </a:lnTo>
                      <a:lnTo>
                        <a:pt x="206" y="24"/>
                      </a:lnTo>
                      <a:lnTo>
                        <a:pt x="223" y="22"/>
                      </a:lnTo>
                      <a:lnTo>
                        <a:pt x="223" y="22"/>
                      </a:lnTo>
                      <a:lnTo>
                        <a:pt x="220" y="27"/>
                      </a:lnTo>
                      <a:lnTo>
                        <a:pt x="220" y="28"/>
                      </a:lnTo>
                      <a:lnTo>
                        <a:pt x="222" y="29"/>
                      </a:lnTo>
                      <a:lnTo>
                        <a:pt x="222" y="29"/>
                      </a:lnTo>
                      <a:lnTo>
                        <a:pt x="210" y="31"/>
                      </a:lnTo>
                      <a:lnTo>
                        <a:pt x="210" y="31"/>
                      </a:lnTo>
                      <a:lnTo>
                        <a:pt x="197" y="31"/>
                      </a:lnTo>
                      <a:lnTo>
                        <a:pt x="191" y="32"/>
                      </a:lnTo>
                      <a:lnTo>
                        <a:pt x="187" y="35"/>
                      </a:lnTo>
                      <a:lnTo>
                        <a:pt x="187" y="35"/>
                      </a:lnTo>
                      <a:lnTo>
                        <a:pt x="184" y="38"/>
                      </a:lnTo>
                      <a:lnTo>
                        <a:pt x="180" y="41"/>
                      </a:lnTo>
                      <a:lnTo>
                        <a:pt x="175" y="44"/>
                      </a:lnTo>
                      <a:lnTo>
                        <a:pt x="173" y="47"/>
                      </a:lnTo>
                      <a:lnTo>
                        <a:pt x="173" y="47"/>
                      </a:lnTo>
                      <a:lnTo>
                        <a:pt x="173" y="47"/>
                      </a:lnTo>
                      <a:lnTo>
                        <a:pt x="173" y="47"/>
                      </a:lnTo>
                      <a:lnTo>
                        <a:pt x="175" y="54"/>
                      </a:lnTo>
                      <a:lnTo>
                        <a:pt x="177" y="63"/>
                      </a:lnTo>
                      <a:lnTo>
                        <a:pt x="177" y="63"/>
                      </a:lnTo>
                      <a:lnTo>
                        <a:pt x="177" y="63"/>
                      </a:lnTo>
                      <a:lnTo>
                        <a:pt x="177" y="63"/>
                      </a:lnTo>
                      <a:lnTo>
                        <a:pt x="177" y="66"/>
                      </a:lnTo>
                      <a:lnTo>
                        <a:pt x="174" y="67"/>
                      </a:lnTo>
                      <a:lnTo>
                        <a:pt x="173" y="70"/>
                      </a:lnTo>
                      <a:lnTo>
                        <a:pt x="171" y="73"/>
                      </a:lnTo>
                      <a:lnTo>
                        <a:pt x="171" y="73"/>
                      </a:lnTo>
                      <a:lnTo>
                        <a:pt x="170" y="76"/>
                      </a:lnTo>
                      <a:lnTo>
                        <a:pt x="170" y="76"/>
                      </a:lnTo>
                      <a:lnTo>
                        <a:pt x="171" y="82"/>
                      </a:lnTo>
                      <a:lnTo>
                        <a:pt x="173" y="87"/>
                      </a:lnTo>
                      <a:lnTo>
                        <a:pt x="173" y="87"/>
                      </a:lnTo>
                      <a:lnTo>
                        <a:pt x="173" y="90"/>
                      </a:lnTo>
                      <a:lnTo>
                        <a:pt x="173" y="90"/>
                      </a:lnTo>
                      <a:lnTo>
                        <a:pt x="168" y="96"/>
                      </a:lnTo>
                      <a:lnTo>
                        <a:pt x="165" y="97"/>
                      </a:lnTo>
                      <a:lnTo>
                        <a:pt x="161" y="100"/>
                      </a:lnTo>
                      <a:lnTo>
                        <a:pt x="161" y="100"/>
                      </a:lnTo>
                      <a:lnTo>
                        <a:pt x="157" y="102"/>
                      </a:lnTo>
                      <a:lnTo>
                        <a:pt x="154" y="103"/>
                      </a:lnTo>
                      <a:lnTo>
                        <a:pt x="148" y="109"/>
                      </a:lnTo>
                      <a:lnTo>
                        <a:pt x="148" y="109"/>
                      </a:lnTo>
                      <a:lnTo>
                        <a:pt x="145" y="115"/>
                      </a:lnTo>
                      <a:lnTo>
                        <a:pt x="144" y="121"/>
                      </a:lnTo>
                      <a:lnTo>
                        <a:pt x="141" y="126"/>
                      </a:lnTo>
                      <a:lnTo>
                        <a:pt x="139" y="128"/>
                      </a:lnTo>
                      <a:lnTo>
                        <a:pt x="138" y="128"/>
                      </a:lnTo>
                      <a:lnTo>
                        <a:pt x="138" y="128"/>
                      </a:lnTo>
                      <a:lnTo>
                        <a:pt x="133" y="128"/>
                      </a:lnTo>
                      <a:lnTo>
                        <a:pt x="133" y="128"/>
                      </a:lnTo>
                      <a:lnTo>
                        <a:pt x="131" y="128"/>
                      </a:lnTo>
                      <a:lnTo>
                        <a:pt x="131" y="128"/>
                      </a:lnTo>
                      <a:lnTo>
                        <a:pt x="131" y="128"/>
                      </a:lnTo>
                      <a:lnTo>
                        <a:pt x="131" y="128"/>
                      </a:lnTo>
                      <a:lnTo>
                        <a:pt x="125" y="128"/>
                      </a:lnTo>
                      <a:lnTo>
                        <a:pt x="125" y="128"/>
                      </a:lnTo>
                      <a:lnTo>
                        <a:pt x="125" y="128"/>
                      </a:lnTo>
                      <a:lnTo>
                        <a:pt x="125" y="128"/>
                      </a:lnTo>
                      <a:lnTo>
                        <a:pt x="119" y="131"/>
                      </a:lnTo>
                      <a:lnTo>
                        <a:pt x="115" y="134"/>
                      </a:lnTo>
                      <a:lnTo>
                        <a:pt x="112" y="137"/>
                      </a:lnTo>
                      <a:lnTo>
                        <a:pt x="112" y="138"/>
                      </a:lnTo>
                      <a:lnTo>
                        <a:pt x="112" y="138"/>
                      </a:lnTo>
                      <a:lnTo>
                        <a:pt x="112" y="141"/>
                      </a:lnTo>
                      <a:lnTo>
                        <a:pt x="112" y="141"/>
                      </a:lnTo>
                      <a:lnTo>
                        <a:pt x="110" y="142"/>
                      </a:lnTo>
                      <a:lnTo>
                        <a:pt x="106" y="144"/>
                      </a:lnTo>
                      <a:lnTo>
                        <a:pt x="106" y="144"/>
                      </a:lnTo>
                      <a:lnTo>
                        <a:pt x="97" y="144"/>
                      </a:lnTo>
                      <a:lnTo>
                        <a:pt x="94" y="145"/>
                      </a:lnTo>
                      <a:lnTo>
                        <a:pt x="91" y="150"/>
                      </a:lnTo>
                      <a:lnTo>
                        <a:pt x="91" y="150"/>
                      </a:lnTo>
                      <a:lnTo>
                        <a:pt x="83" y="163"/>
                      </a:lnTo>
                      <a:lnTo>
                        <a:pt x="78" y="168"/>
                      </a:lnTo>
                      <a:lnTo>
                        <a:pt x="77" y="171"/>
                      </a:lnTo>
                      <a:lnTo>
                        <a:pt x="74" y="171"/>
                      </a:lnTo>
                      <a:lnTo>
                        <a:pt x="74" y="171"/>
                      </a:lnTo>
                      <a:lnTo>
                        <a:pt x="64" y="171"/>
                      </a:lnTo>
                      <a:lnTo>
                        <a:pt x="64" y="171"/>
                      </a:lnTo>
                      <a:lnTo>
                        <a:pt x="48" y="171"/>
                      </a:lnTo>
                      <a:lnTo>
                        <a:pt x="48" y="171"/>
                      </a:lnTo>
                      <a:lnTo>
                        <a:pt x="48" y="171"/>
                      </a:lnTo>
                      <a:lnTo>
                        <a:pt x="48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36" y="171"/>
                      </a:lnTo>
                      <a:lnTo>
                        <a:pt x="9" y="17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25" name="Freeform 778"/>
                <p:cNvSpPr>
                  <a:spLocks noEditPoints="1"/>
                </p:cNvSpPr>
                <p:nvPr/>
              </p:nvSpPr>
              <p:spPr bwMode="auto">
                <a:xfrm>
                  <a:off x="5406935" y="2686980"/>
                  <a:ext cx="58366" cy="43527"/>
                </a:xfrm>
                <a:custGeom>
                  <a:avLst/>
                  <a:gdLst>
                    <a:gd name="T0" fmla="*/ 56 w 59"/>
                    <a:gd name="T1" fmla="*/ 2 h 44"/>
                    <a:gd name="T2" fmla="*/ 56 w 59"/>
                    <a:gd name="T3" fmla="*/ 2 h 44"/>
                    <a:gd name="T4" fmla="*/ 59 w 59"/>
                    <a:gd name="T5" fmla="*/ 0 h 44"/>
                    <a:gd name="T6" fmla="*/ 59 w 59"/>
                    <a:gd name="T7" fmla="*/ 0 h 44"/>
                    <a:gd name="T8" fmla="*/ 59 w 59"/>
                    <a:gd name="T9" fmla="*/ 0 h 44"/>
                    <a:gd name="T10" fmla="*/ 59 w 59"/>
                    <a:gd name="T11" fmla="*/ 0 h 44"/>
                    <a:gd name="T12" fmla="*/ 56 w 59"/>
                    <a:gd name="T13" fmla="*/ 2 h 44"/>
                    <a:gd name="T14" fmla="*/ 11 w 59"/>
                    <a:gd name="T15" fmla="*/ 38 h 44"/>
                    <a:gd name="T16" fmla="*/ 11 w 59"/>
                    <a:gd name="T17" fmla="*/ 38 h 44"/>
                    <a:gd name="T18" fmla="*/ 11 w 59"/>
                    <a:gd name="T19" fmla="*/ 38 h 44"/>
                    <a:gd name="T20" fmla="*/ 11 w 59"/>
                    <a:gd name="T21" fmla="*/ 38 h 44"/>
                    <a:gd name="T22" fmla="*/ 11 w 59"/>
                    <a:gd name="T23" fmla="*/ 38 h 44"/>
                    <a:gd name="T24" fmla="*/ 10 w 59"/>
                    <a:gd name="T25" fmla="*/ 38 h 44"/>
                    <a:gd name="T26" fmla="*/ 10 w 59"/>
                    <a:gd name="T27" fmla="*/ 38 h 44"/>
                    <a:gd name="T28" fmla="*/ 10 w 59"/>
                    <a:gd name="T29" fmla="*/ 38 h 44"/>
                    <a:gd name="T30" fmla="*/ 10 w 59"/>
                    <a:gd name="T31" fmla="*/ 38 h 44"/>
                    <a:gd name="T32" fmla="*/ 10 w 59"/>
                    <a:gd name="T33" fmla="*/ 38 h 44"/>
                    <a:gd name="T34" fmla="*/ 1 w 59"/>
                    <a:gd name="T35" fmla="*/ 44 h 44"/>
                    <a:gd name="T36" fmla="*/ 1 w 59"/>
                    <a:gd name="T37" fmla="*/ 44 h 44"/>
                    <a:gd name="T38" fmla="*/ 0 w 59"/>
                    <a:gd name="T39" fmla="*/ 44 h 44"/>
                    <a:gd name="T40" fmla="*/ 0 w 59"/>
                    <a:gd name="T41" fmla="*/ 44 h 44"/>
                    <a:gd name="T42" fmla="*/ 1 w 59"/>
                    <a:gd name="T43" fmla="*/ 44 h 44"/>
                    <a:gd name="T44" fmla="*/ 3 w 59"/>
                    <a:gd name="T45" fmla="*/ 44 h 44"/>
                    <a:gd name="T46" fmla="*/ 3 w 59"/>
                    <a:gd name="T47" fmla="*/ 44 h 44"/>
                    <a:gd name="T48" fmla="*/ 7 w 59"/>
                    <a:gd name="T49" fmla="*/ 42 h 44"/>
                    <a:gd name="T50" fmla="*/ 10 w 59"/>
                    <a:gd name="T51" fmla="*/ 38 h 44"/>
                    <a:gd name="T52" fmla="*/ 10 w 59"/>
                    <a:gd name="T53" fmla="*/ 38 h 44"/>
                    <a:gd name="T54" fmla="*/ 7 w 59"/>
                    <a:gd name="T55" fmla="*/ 42 h 44"/>
                    <a:gd name="T56" fmla="*/ 3 w 59"/>
                    <a:gd name="T57" fmla="*/ 44 h 44"/>
                    <a:gd name="T58" fmla="*/ 3 w 59"/>
                    <a:gd name="T59" fmla="*/ 44 h 44"/>
                    <a:gd name="T60" fmla="*/ 3 w 59"/>
                    <a:gd name="T61" fmla="*/ 44 h 44"/>
                    <a:gd name="T62" fmla="*/ 3 w 59"/>
                    <a:gd name="T63" fmla="*/ 4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59" h="44">
                      <a:moveTo>
                        <a:pt x="56" y="2"/>
                      </a:moveTo>
                      <a:lnTo>
                        <a:pt x="56" y="2"/>
                      </a:lnTo>
                      <a:lnTo>
                        <a:pt x="59" y="0"/>
                      </a:lnTo>
                      <a:lnTo>
                        <a:pt x="59" y="0"/>
                      </a:lnTo>
                      <a:lnTo>
                        <a:pt x="59" y="0"/>
                      </a:lnTo>
                      <a:lnTo>
                        <a:pt x="59" y="0"/>
                      </a:lnTo>
                      <a:lnTo>
                        <a:pt x="56" y="2"/>
                      </a:lnTo>
                      <a:close/>
                      <a:moveTo>
                        <a:pt x="11" y="38"/>
                      </a:moveTo>
                      <a:lnTo>
                        <a:pt x="11" y="38"/>
                      </a:lnTo>
                      <a:lnTo>
                        <a:pt x="11" y="38"/>
                      </a:lnTo>
                      <a:lnTo>
                        <a:pt x="11" y="38"/>
                      </a:lnTo>
                      <a:lnTo>
                        <a:pt x="11" y="38"/>
                      </a:lnTo>
                      <a:close/>
                      <a:moveTo>
                        <a:pt x="10" y="38"/>
                      </a:moveTo>
                      <a:lnTo>
                        <a:pt x="10" y="38"/>
                      </a:lnTo>
                      <a:lnTo>
                        <a:pt x="10" y="38"/>
                      </a:lnTo>
                      <a:lnTo>
                        <a:pt x="10" y="38"/>
                      </a:lnTo>
                      <a:lnTo>
                        <a:pt x="10" y="38"/>
                      </a:lnTo>
                      <a:close/>
                      <a:moveTo>
                        <a:pt x="1" y="44"/>
                      </a:moveTo>
                      <a:lnTo>
                        <a:pt x="1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1" y="44"/>
                      </a:lnTo>
                      <a:close/>
                      <a:moveTo>
                        <a:pt x="3" y="44"/>
                      </a:moveTo>
                      <a:lnTo>
                        <a:pt x="3" y="44"/>
                      </a:lnTo>
                      <a:lnTo>
                        <a:pt x="7" y="42"/>
                      </a:lnTo>
                      <a:lnTo>
                        <a:pt x="10" y="38"/>
                      </a:lnTo>
                      <a:lnTo>
                        <a:pt x="10" y="38"/>
                      </a:lnTo>
                      <a:lnTo>
                        <a:pt x="7" y="42"/>
                      </a:lnTo>
                      <a:lnTo>
                        <a:pt x="3" y="44"/>
                      </a:lnTo>
                      <a:close/>
                      <a:moveTo>
                        <a:pt x="3" y="44"/>
                      </a:moveTo>
                      <a:lnTo>
                        <a:pt x="3" y="44"/>
                      </a:lnTo>
                      <a:lnTo>
                        <a:pt x="3" y="4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26" name="Freeform 779"/>
                <p:cNvSpPr>
                  <a:spLocks/>
                </p:cNvSpPr>
                <p:nvPr/>
              </p:nvSpPr>
              <p:spPr bwMode="auto">
                <a:xfrm>
                  <a:off x="5462333" y="2686980"/>
                  <a:ext cx="2968" cy="1979"/>
                </a:xfrm>
                <a:custGeom>
                  <a:avLst/>
                  <a:gdLst>
                    <a:gd name="T0" fmla="*/ 0 w 3"/>
                    <a:gd name="T1" fmla="*/ 2 h 2"/>
                    <a:gd name="T2" fmla="*/ 0 w 3"/>
                    <a:gd name="T3" fmla="*/ 2 h 2"/>
                    <a:gd name="T4" fmla="*/ 3 w 3"/>
                    <a:gd name="T5" fmla="*/ 0 h 2"/>
                    <a:gd name="T6" fmla="*/ 3 w 3"/>
                    <a:gd name="T7" fmla="*/ 0 h 2"/>
                    <a:gd name="T8" fmla="*/ 3 w 3"/>
                    <a:gd name="T9" fmla="*/ 0 h 2"/>
                    <a:gd name="T10" fmla="*/ 3 w 3"/>
                    <a:gd name="T11" fmla="*/ 0 h 2"/>
                    <a:gd name="T12" fmla="*/ 0 w 3"/>
                    <a:gd name="T1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2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27" name="Rectangle 780"/>
                <p:cNvSpPr>
                  <a:spLocks noChangeArrowheads="1"/>
                </p:cNvSpPr>
                <p:nvPr/>
              </p:nvSpPr>
              <p:spPr bwMode="auto">
                <a:xfrm>
                  <a:off x="5417817" y="2724572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28" name="Rectangle 781"/>
                <p:cNvSpPr>
                  <a:spLocks noChangeArrowheads="1"/>
                </p:cNvSpPr>
                <p:nvPr/>
              </p:nvSpPr>
              <p:spPr bwMode="auto">
                <a:xfrm>
                  <a:off x="5416827" y="2724572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29" name="Rectangle 782"/>
                <p:cNvSpPr>
                  <a:spLocks noChangeArrowheads="1"/>
                </p:cNvSpPr>
                <p:nvPr/>
              </p:nvSpPr>
              <p:spPr bwMode="auto">
                <a:xfrm>
                  <a:off x="5406935" y="273050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30" name="Freeform 783"/>
                <p:cNvSpPr>
                  <a:spLocks/>
                </p:cNvSpPr>
                <p:nvPr/>
              </p:nvSpPr>
              <p:spPr bwMode="auto">
                <a:xfrm>
                  <a:off x="5409903" y="2724572"/>
                  <a:ext cx="6925" cy="5936"/>
                </a:xfrm>
                <a:custGeom>
                  <a:avLst/>
                  <a:gdLst>
                    <a:gd name="T0" fmla="*/ 0 w 7"/>
                    <a:gd name="T1" fmla="*/ 6 h 6"/>
                    <a:gd name="T2" fmla="*/ 0 w 7"/>
                    <a:gd name="T3" fmla="*/ 6 h 6"/>
                    <a:gd name="T4" fmla="*/ 4 w 7"/>
                    <a:gd name="T5" fmla="*/ 4 h 6"/>
                    <a:gd name="T6" fmla="*/ 7 w 7"/>
                    <a:gd name="T7" fmla="*/ 0 h 6"/>
                    <a:gd name="T8" fmla="*/ 7 w 7"/>
                    <a:gd name="T9" fmla="*/ 0 h 6"/>
                    <a:gd name="T10" fmla="*/ 4 w 7"/>
                    <a:gd name="T11" fmla="*/ 4 h 6"/>
                    <a:gd name="T12" fmla="*/ 0 w 7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6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4" y="4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4" y="4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31" name="Freeform 784"/>
                <p:cNvSpPr>
                  <a:spLocks/>
                </p:cNvSpPr>
                <p:nvPr/>
              </p:nvSpPr>
              <p:spPr bwMode="auto">
                <a:xfrm>
                  <a:off x="5409903" y="2730507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32" name="Freeform 785"/>
                <p:cNvSpPr>
                  <a:spLocks noEditPoints="1"/>
                </p:cNvSpPr>
                <p:nvPr/>
              </p:nvSpPr>
              <p:spPr bwMode="auto">
                <a:xfrm>
                  <a:off x="5376268" y="2722593"/>
                  <a:ext cx="17807" cy="107829"/>
                </a:xfrm>
                <a:custGeom>
                  <a:avLst/>
                  <a:gdLst>
                    <a:gd name="T0" fmla="*/ 10 w 18"/>
                    <a:gd name="T1" fmla="*/ 9 h 109"/>
                    <a:gd name="T2" fmla="*/ 10 w 18"/>
                    <a:gd name="T3" fmla="*/ 9 h 109"/>
                    <a:gd name="T4" fmla="*/ 10 w 18"/>
                    <a:gd name="T5" fmla="*/ 0 h 109"/>
                    <a:gd name="T6" fmla="*/ 10 w 18"/>
                    <a:gd name="T7" fmla="*/ 0 h 109"/>
                    <a:gd name="T8" fmla="*/ 10 w 18"/>
                    <a:gd name="T9" fmla="*/ 0 h 109"/>
                    <a:gd name="T10" fmla="*/ 10 w 18"/>
                    <a:gd name="T11" fmla="*/ 9 h 109"/>
                    <a:gd name="T12" fmla="*/ 10 w 18"/>
                    <a:gd name="T13" fmla="*/ 9 h 109"/>
                    <a:gd name="T14" fmla="*/ 10 w 18"/>
                    <a:gd name="T15" fmla="*/ 9 h 109"/>
                    <a:gd name="T16" fmla="*/ 10 w 18"/>
                    <a:gd name="T17" fmla="*/ 9 h 109"/>
                    <a:gd name="T18" fmla="*/ 6 w 18"/>
                    <a:gd name="T19" fmla="*/ 44 h 109"/>
                    <a:gd name="T20" fmla="*/ 6 w 18"/>
                    <a:gd name="T21" fmla="*/ 44 h 109"/>
                    <a:gd name="T22" fmla="*/ 3 w 18"/>
                    <a:gd name="T23" fmla="*/ 34 h 109"/>
                    <a:gd name="T24" fmla="*/ 2 w 18"/>
                    <a:gd name="T25" fmla="*/ 29 h 109"/>
                    <a:gd name="T26" fmla="*/ 0 w 18"/>
                    <a:gd name="T27" fmla="*/ 24 h 109"/>
                    <a:gd name="T28" fmla="*/ 0 w 18"/>
                    <a:gd name="T29" fmla="*/ 24 h 109"/>
                    <a:gd name="T30" fmla="*/ 2 w 18"/>
                    <a:gd name="T31" fmla="*/ 29 h 109"/>
                    <a:gd name="T32" fmla="*/ 3 w 18"/>
                    <a:gd name="T33" fmla="*/ 34 h 109"/>
                    <a:gd name="T34" fmla="*/ 6 w 18"/>
                    <a:gd name="T35" fmla="*/ 44 h 109"/>
                    <a:gd name="T36" fmla="*/ 18 w 18"/>
                    <a:gd name="T37" fmla="*/ 92 h 109"/>
                    <a:gd name="T38" fmla="*/ 18 w 18"/>
                    <a:gd name="T39" fmla="*/ 92 h 109"/>
                    <a:gd name="T40" fmla="*/ 18 w 18"/>
                    <a:gd name="T41" fmla="*/ 90 h 109"/>
                    <a:gd name="T42" fmla="*/ 16 w 18"/>
                    <a:gd name="T43" fmla="*/ 89 h 109"/>
                    <a:gd name="T44" fmla="*/ 16 w 18"/>
                    <a:gd name="T45" fmla="*/ 89 h 109"/>
                    <a:gd name="T46" fmla="*/ 10 w 18"/>
                    <a:gd name="T47" fmla="*/ 84 h 109"/>
                    <a:gd name="T48" fmla="*/ 7 w 18"/>
                    <a:gd name="T49" fmla="*/ 82 h 109"/>
                    <a:gd name="T50" fmla="*/ 3 w 18"/>
                    <a:gd name="T51" fmla="*/ 77 h 109"/>
                    <a:gd name="T52" fmla="*/ 3 w 18"/>
                    <a:gd name="T53" fmla="*/ 77 h 109"/>
                    <a:gd name="T54" fmla="*/ 2 w 18"/>
                    <a:gd name="T55" fmla="*/ 73 h 109"/>
                    <a:gd name="T56" fmla="*/ 2 w 18"/>
                    <a:gd name="T57" fmla="*/ 69 h 109"/>
                    <a:gd name="T58" fmla="*/ 2 w 18"/>
                    <a:gd name="T59" fmla="*/ 69 h 109"/>
                    <a:gd name="T60" fmla="*/ 2 w 18"/>
                    <a:gd name="T61" fmla="*/ 73 h 109"/>
                    <a:gd name="T62" fmla="*/ 3 w 18"/>
                    <a:gd name="T63" fmla="*/ 77 h 109"/>
                    <a:gd name="T64" fmla="*/ 3 w 18"/>
                    <a:gd name="T65" fmla="*/ 77 h 109"/>
                    <a:gd name="T66" fmla="*/ 7 w 18"/>
                    <a:gd name="T67" fmla="*/ 82 h 109"/>
                    <a:gd name="T68" fmla="*/ 10 w 18"/>
                    <a:gd name="T69" fmla="*/ 84 h 109"/>
                    <a:gd name="T70" fmla="*/ 16 w 18"/>
                    <a:gd name="T71" fmla="*/ 89 h 109"/>
                    <a:gd name="T72" fmla="*/ 16 w 18"/>
                    <a:gd name="T73" fmla="*/ 89 h 109"/>
                    <a:gd name="T74" fmla="*/ 18 w 18"/>
                    <a:gd name="T75" fmla="*/ 90 h 109"/>
                    <a:gd name="T76" fmla="*/ 18 w 18"/>
                    <a:gd name="T77" fmla="*/ 92 h 109"/>
                    <a:gd name="T78" fmla="*/ 7 w 18"/>
                    <a:gd name="T79" fmla="*/ 109 h 109"/>
                    <a:gd name="T80" fmla="*/ 7 w 18"/>
                    <a:gd name="T81" fmla="*/ 109 h 109"/>
                    <a:gd name="T82" fmla="*/ 7 w 18"/>
                    <a:gd name="T83" fmla="*/ 109 h 109"/>
                    <a:gd name="T84" fmla="*/ 7 w 18"/>
                    <a:gd name="T85" fmla="*/ 109 h 109"/>
                    <a:gd name="T86" fmla="*/ 7 w 18"/>
                    <a:gd name="T87" fmla="*/ 109 h 109"/>
                    <a:gd name="T88" fmla="*/ 7 w 18"/>
                    <a:gd name="T89" fmla="*/ 109 h 109"/>
                    <a:gd name="T90" fmla="*/ 7 w 18"/>
                    <a:gd name="T91" fmla="*/ 109 h 109"/>
                    <a:gd name="T92" fmla="*/ 7 w 18"/>
                    <a:gd name="T93" fmla="*/ 109 h 109"/>
                    <a:gd name="T94" fmla="*/ 7 w 18"/>
                    <a:gd name="T95" fmla="*/ 109 h 109"/>
                    <a:gd name="T96" fmla="*/ 7 w 18"/>
                    <a:gd name="T97" fmla="*/ 109 h 109"/>
                    <a:gd name="T98" fmla="*/ 7 w 18"/>
                    <a:gd name="T99" fmla="*/ 109 h 109"/>
                    <a:gd name="T100" fmla="*/ 7 w 18"/>
                    <a:gd name="T101" fmla="*/ 109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8" h="109">
                      <a:moveTo>
                        <a:pt x="10" y="9"/>
                      </a:moveTo>
                      <a:lnTo>
                        <a:pt x="10" y="9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9"/>
                      </a:lnTo>
                      <a:close/>
                      <a:moveTo>
                        <a:pt x="10" y="9"/>
                      </a:moveTo>
                      <a:lnTo>
                        <a:pt x="10" y="9"/>
                      </a:lnTo>
                      <a:lnTo>
                        <a:pt x="10" y="9"/>
                      </a:lnTo>
                      <a:close/>
                      <a:moveTo>
                        <a:pt x="6" y="44"/>
                      </a:moveTo>
                      <a:lnTo>
                        <a:pt x="6" y="44"/>
                      </a:lnTo>
                      <a:lnTo>
                        <a:pt x="3" y="34"/>
                      </a:lnTo>
                      <a:lnTo>
                        <a:pt x="2" y="29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2" y="29"/>
                      </a:lnTo>
                      <a:lnTo>
                        <a:pt x="3" y="34"/>
                      </a:lnTo>
                      <a:lnTo>
                        <a:pt x="6" y="44"/>
                      </a:lnTo>
                      <a:close/>
                      <a:moveTo>
                        <a:pt x="18" y="92"/>
                      </a:moveTo>
                      <a:lnTo>
                        <a:pt x="18" y="92"/>
                      </a:lnTo>
                      <a:lnTo>
                        <a:pt x="18" y="90"/>
                      </a:lnTo>
                      <a:lnTo>
                        <a:pt x="16" y="89"/>
                      </a:lnTo>
                      <a:lnTo>
                        <a:pt x="16" y="89"/>
                      </a:lnTo>
                      <a:lnTo>
                        <a:pt x="10" y="84"/>
                      </a:lnTo>
                      <a:lnTo>
                        <a:pt x="7" y="82"/>
                      </a:lnTo>
                      <a:lnTo>
                        <a:pt x="3" y="77"/>
                      </a:lnTo>
                      <a:lnTo>
                        <a:pt x="3" y="77"/>
                      </a:lnTo>
                      <a:lnTo>
                        <a:pt x="2" y="73"/>
                      </a:lnTo>
                      <a:lnTo>
                        <a:pt x="2" y="69"/>
                      </a:lnTo>
                      <a:lnTo>
                        <a:pt x="2" y="69"/>
                      </a:lnTo>
                      <a:lnTo>
                        <a:pt x="2" y="73"/>
                      </a:lnTo>
                      <a:lnTo>
                        <a:pt x="3" y="77"/>
                      </a:lnTo>
                      <a:lnTo>
                        <a:pt x="3" y="77"/>
                      </a:lnTo>
                      <a:lnTo>
                        <a:pt x="7" y="82"/>
                      </a:lnTo>
                      <a:lnTo>
                        <a:pt x="10" y="84"/>
                      </a:lnTo>
                      <a:lnTo>
                        <a:pt x="16" y="89"/>
                      </a:lnTo>
                      <a:lnTo>
                        <a:pt x="16" y="89"/>
                      </a:lnTo>
                      <a:lnTo>
                        <a:pt x="18" y="90"/>
                      </a:lnTo>
                      <a:lnTo>
                        <a:pt x="18" y="92"/>
                      </a:lnTo>
                      <a:close/>
                      <a:moveTo>
                        <a:pt x="7" y="109"/>
                      </a:moveTo>
                      <a:lnTo>
                        <a:pt x="7" y="109"/>
                      </a:lnTo>
                      <a:lnTo>
                        <a:pt x="7" y="109"/>
                      </a:lnTo>
                      <a:lnTo>
                        <a:pt x="7" y="109"/>
                      </a:lnTo>
                      <a:lnTo>
                        <a:pt x="7" y="109"/>
                      </a:lnTo>
                      <a:close/>
                      <a:moveTo>
                        <a:pt x="7" y="109"/>
                      </a:moveTo>
                      <a:lnTo>
                        <a:pt x="7" y="109"/>
                      </a:lnTo>
                      <a:lnTo>
                        <a:pt x="7" y="109"/>
                      </a:lnTo>
                      <a:lnTo>
                        <a:pt x="7" y="109"/>
                      </a:lnTo>
                      <a:lnTo>
                        <a:pt x="7" y="109"/>
                      </a:lnTo>
                      <a:close/>
                      <a:moveTo>
                        <a:pt x="7" y="109"/>
                      </a:moveTo>
                      <a:lnTo>
                        <a:pt x="7" y="10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33" name="Freeform 786"/>
                <p:cNvSpPr>
                  <a:spLocks/>
                </p:cNvSpPr>
                <p:nvPr/>
              </p:nvSpPr>
              <p:spPr bwMode="auto">
                <a:xfrm>
                  <a:off x="5386160" y="2722593"/>
                  <a:ext cx="0" cy="8903"/>
                </a:xfrm>
                <a:custGeom>
                  <a:avLst/>
                  <a:gdLst>
                    <a:gd name="T0" fmla="*/ 9 h 9"/>
                    <a:gd name="T1" fmla="*/ 9 h 9"/>
                    <a:gd name="T2" fmla="*/ 0 h 9"/>
                    <a:gd name="T3" fmla="*/ 0 h 9"/>
                    <a:gd name="T4" fmla="*/ 0 h 9"/>
                    <a:gd name="T5" fmla="*/ 9 h 9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</a:cxnLst>
                  <a:rect l="0" t="0" r="r" b="b"/>
                  <a:pathLst>
                    <a:path h="9">
                      <a:moveTo>
                        <a:pt x="0" y="9"/>
                      </a:moveTo>
                      <a:lnTo>
                        <a:pt x="0" y="9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9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34" name="Freeform 787"/>
                <p:cNvSpPr>
                  <a:spLocks/>
                </p:cNvSpPr>
                <p:nvPr/>
              </p:nvSpPr>
              <p:spPr bwMode="auto">
                <a:xfrm>
                  <a:off x="5386160" y="273149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35" name="Freeform 788"/>
                <p:cNvSpPr>
                  <a:spLocks/>
                </p:cNvSpPr>
                <p:nvPr/>
              </p:nvSpPr>
              <p:spPr bwMode="auto">
                <a:xfrm>
                  <a:off x="5376268" y="2746335"/>
                  <a:ext cx="5936" cy="19785"/>
                </a:xfrm>
                <a:custGeom>
                  <a:avLst/>
                  <a:gdLst>
                    <a:gd name="T0" fmla="*/ 6 w 6"/>
                    <a:gd name="T1" fmla="*/ 20 h 20"/>
                    <a:gd name="T2" fmla="*/ 6 w 6"/>
                    <a:gd name="T3" fmla="*/ 20 h 20"/>
                    <a:gd name="T4" fmla="*/ 3 w 6"/>
                    <a:gd name="T5" fmla="*/ 10 h 20"/>
                    <a:gd name="T6" fmla="*/ 2 w 6"/>
                    <a:gd name="T7" fmla="*/ 5 h 20"/>
                    <a:gd name="T8" fmla="*/ 0 w 6"/>
                    <a:gd name="T9" fmla="*/ 0 h 20"/>
                    <a:gd name="T10" fmla="*/ 0 w 6"/>
                    <a:gd name="T11" fmla="*/ 0 h 20"/>
                    <a:gd name="T12" fmla="*/ 2 w 6"/>
                    <a:gd name="T13" fmla="*/ 5 h 20"/>
                    <a:gd name="T14" fmla="*/ 3 w 6"/>
                    <a:gd name="T15" fmla="*/ 10 h 20"/>
                    <a:gd name="T16" fmla="*/ 6 w 6"/>
                    <a:gd name="T17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20">
                      <a:moveTo>
                        <a:pt x="6" y="20"/>
                      </a:moveTo>
                      <a:lnTo>
                        <a:pt x="6" y="20"/>
                      </a:lnTo>
                      <a:lnTo>
                        <a:pt x="3" y="10"/>
                      </a:lnTo>
                      <a:lnTo>
                        <a:pt x="2" y="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5"/>
                      </a:lnTo>
                      <a:lnTo>
                        <a:pt x="3" y="10"/>
                      </a:lnTo>
                      <a:lnTo>
                        <a:pt x="6" y="2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36" name="Freeform 789"/>
                <p:cNvSpPr>
                  <a:spLocks/>
                </p:cNvSpPr>
                <p:nvPr/>
              </p:nvSpPr>
              <p:spPr bwMode="auto">
                <a:xfrm>
                  <a:off x="5378246" y="2790852"/>
                  <a:ext cx="15828" cy="22753"/>
                </a:xfrm>
                <a:custGeom>
                  <a:avLst/>
                  <a:gdLst>
                    <a:gd name="T0" fmla="*/ 16 w 16"/>
                    <a:gd name="T1" fmla="*/ 23 h 23"/>
                    <a:gd name="T2" fmla="*/ 16 w 16"/>
                    <a:gd name="T3" fmla="*/ 23 h 23"/>
                    <a:gd name="T4" fmla="*/ 16 w 16"/>
                    <a:gd name="T5" fmla="*/ 21 h 23"/>
                    <a:gd name="T6" fmla="*/ 14 w 16"/>
                    <a:gd name="T7" fmla="*/ 20 h 23"/>
                    <a:gd name="T8" fmla="*/ 14 w 16"/>
                    <a:gd name="T9" fmla="*/ 20 h 23"/>
                    <a:gd name="T10" fmla="*/ 8 w 16"/>
                    <a:gd name="T11" fmla="*/ 15 h 23"/>
                    <a:gd name="T12" fmla="*/ 5 w 16"/>
                    <a:gd name="T13" fmla="*/ 13 h 23"/>
                    <a:gd name="T14" fmla="*/ 1 w 16"/>
                    <a:gd name="T15" fmla="*/ 8 h 23"/>
                    <a:gd name="T16" fmla="*/ 1 w 16"/>
                    <a:gd name="T17" fmla="*/ 8 h 23"/>
                    <a:gd name="T18" fmla="*/ 0 w 16"/>
                    <a:gd name="T19" fmla="*/ 4 h 23"/>
                    <a:gd name="T20" fmla="*/ 0 w 16"/>
                    <a:gd name="T21" fmla="*/ 0 h 23"/>
                    <a:gd name="T22" fmla="*/ 0 w 16"/>
                    <a:gd name="T23" fmla="*/ 0 h 23"/>
                    <a:gd name="T24" fmla="*/ 0 w 16"/>
                    <a:gd name="T25" fmla="*/ 4 h 23"/>
                    <a:gd name="T26" fmla="*/ 1 w 16"/>
                    <a:gd name="T27" fmla="*/ 8 h 23"/>
                    <a:gd name="T28" fmla="*/ 1 w 16"/>
                    <a:gd name="T29" fmla="*/ 8 h 23"/>
                    <a:gd name="T30" fmla="*/ 5 w 16"/>
                    <a:gd name="T31" fmla="*/ 13 h 23"/>
                    <a:gd name="T32" fmla="*/ 8 w 16"/>
                    <a:gd name="T33" fmla="*/ 15 h 23"/>
                    <a:gd name="T34" fmla="*/ 14 w 16"/>
                    <a:gd name="T35" fmla="*/ 20 h 23"/>
                    <a:gd name="T36" fmla="*/ 14 w 16"/>
                    <a:gd name="T37" fmla="*/ 20 h 23"/>
                    <a:gd name="T38" fmla="*/ 16 w 16"/>
                    <a:gd name="T39" fmla="*/ 21 h 23"/>
                    <a:gd name="T40" fmla="*/ 16 w 16"/>
                    <a:gd name="T41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6" h="23">
                      <a:moveTo>
                        <a:pt x="16" y="23"/>
                      </a:moveTo>
                      <a:lnTo>
                        <a:pt x="16" y="23"/>
                      </a:lnTo>
                      <a:lnTo>
                        <a:pt x="16" y="21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8" y="15"/>
                      </a:lnTo>
                      <a:lnTo>
                        <a:pt x="5" y="13"/>
                      </a:lnTo>
                      <a:lnTo>
                        <a:pt x="1" y="8"/>
                      </a:lnTo>
                      <a:lnTo>
                        <a:pt x="1" y="8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8"/>
                      </a:lnTo>
                      <a:lnTo>
                        <a:pt x="1" y="8"/>
                      </a:lnTo>
                      <a:lnTo>
                        <a:pt x="5" y="13"/>
                      </a:lnTo>
                      <a:lnTo>
                        <a:pt x="8" y="15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6" y="21"/>
                      </a:lnTo>
                      <a:lnTo>
                        <a:pt x="16" y="2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37" name="Rectangle 790"/>
                <p:cNvSpPr>
                  <a:spLocks noChangeArrowheads="1"/>
                </p:cNvSpPr>
                <p:nvPr/>
              </p:nvSpPr>
              <p:spPr bwMode="auto">
                <a:xfrm>
                  <a:off x="5383193" y="2830422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38" name="Rectangle 791"/>
                <p:cNvSpPr>
                  <a:spLocks noChangeArrowheads="1"/>
                </p:cNvSpPr>
                <p:nvPr/>
              </p:nvSpPr>
              <p:spPr bwMode="auto">
                <a:xfrm>
                  <a:off x="5383193" y="2830422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39" name="Line 792"/>
                <p:cNvSpPr>
                  <a:spLocks noChangeShapeType="1"/>
                </p:cNvSpPr>
                <p:nvPr/>
              </p:nvSpPr>
              <p:spPr bwMode="auto">
                <a:xfrm>
                  <a:off x="5383193" y="2830422"/>
                  <a:ext cx="0" cy="0"/>
                </a:xfrm>
                <a:prstGeom prst="line">
                  <a:avLst/>
                </a:pr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40" name="Freeform 793"/>
                <p:cNvSpPr>
                  <a:spLocks noEditPoints="1"/>
                </p:cNvSpPr>
                <p:nvPr/>
              </p:nvSpPr>
              <p:spPr bwMode="auto">
                <a:xfrm>
                  <a:off x="5385171" y="2696872"/>
                  <a:ext cx="210712" cy="143443"/>
                </a:xfrm>
                <a:custGeom>
                  <a:avLst/>
                  <a:gdLst>
                    <a:gd name="T0" fmla="*/ 166 w 213"/>
                    <a:gd name="T1" fmla="*/ 15 h 145"/>
                    <a:gd name="T2" fmla="*/ 178 w 213"/>
                    <a:gd name="T3" fmla="*/ 6 h 145"/>
                    <a:gd name="T4" fmla="*/ 188 w 213"/>
                    <a:gd name="T5" fmla="*/ 2 h 145"/>
                    <a:gd name="T6" fmla="*/ 213 w 213"/>
                    <a:gd name="T7" fmla="*/ 0 h 145"/>
                    <a:gd name="T8" fmla="*/ 201 w 213"/>
                    <a:gd name="T9" fmla="*/ 2 h 145"/>
                    <a:gd name="T10" fmla="*/ 178 w 213"/>
                    <a:gd name="T11" fmla="*/ 6 h 145"/>
                    <a:gd name="T12" fmla="*/ 171 w 213"/>
                    <a:gd name="T13" fmla="*/ 12 h 145"/>
                    <a:gd name="T14" fmla="*/ 161 w 213"/>
                    <a:gd name="T15" fmla="*/ 47 h 145"/>
                    <a:gd name="T16" fmla="*/ 162 w 213"/>
                    <a:gd name="T17" fmla="*/ 44 h 145"/>
                    <a:gd name="T18" fmla="*/ 168 w 213"/>
                    <a:gd name="T19" fmla="*/ 37 h 145"/>
                    <a:gd name="T20" fmla="*/ 168 w 213"/>
                    <a:gd name="T21" fmla="*/ 34 h 145"/>
                    <a:gd name="T22" fmla="*/ 168 w 213"/>
                    <a:gd name="T23" fmla="*/ 34 h 145"/>
                    <a:gd name="T24" fmla="*/ 164 w 213"/>
                    <a:gd name="T25" fmla="*/ 41 h 145"/>
                    <a:gd name="T26" fmla="*/ 161 w 213"/>
                    <a:gd name="T27" fmla="*/ 47 h 145"/>
                    <a:gd name="T28" fmla="*/ 122 w 213"/>
                    <a:gd name="T29" fmla="*/ 99 h 145"/>
                    <a:gd name="T30" fmla="*/ 124 w 213"/>
                    <a:gd name="T31" fmla="*/ 99 h 145"/>
                    <a:gd name="T32" fmla="*/ 129 w 213"/>
                    <a:gd name="T33" fmla="*/ 99 h 145"/>
                    <a:gd name="T34" fmla="*/ 135 w 213"/>
                    <a:gd name="T35" fmla="*/ 92 h 145"/>
                    <a:gd name="T36" fmla="*/ 139 w 213"/>
                    <a:gd name="T37" fmla="*/ 80 h 145"/>
                    <a:gd name="T38" fmla="*/ 152 w 213"/>
                    <a:gd name="T39" fmla="*/ 71 h 145"/>
                    <a:gd name="T40" fmla="*/ 159 w 213"/>
                    <a:gd name="T41" fmla="*/ 67 h 145"/>
                    <a:gd name="T42" fmla="*/ 164 w 213"/>
                    <a:gd name="T43" fmla="*/ 58 h 145"/>
                    <a:gd name="T44" fmla="*/ 164 w 213"/>
                    <a:gd name="T45" fmla="*/ 61 h 145"/>
                    <a:gd name="T46" fmla="*/ 152 w 213"/>
                    <a:gd name="T47" fmla="*/ 71 h 145"/>
                    <a:gd name="T48" fmla="*/ 145 w 213"/>
                    <a:gd name="T49" fmla="*/ 74 h 145"/>
                    <a:gd name="T50" fmla="*/ 136 w 213"/>
                    <a:gd name="T51" fmla="*/ 86 h 145"/>
                    <a:gd name="T52" fmla="*/ 130 w 213"/>
                    <a:gd name="T53" fmla="*/ 99 h 145"/>
                    <a:gd name="T54" fmla="*/ 116 w 213"/>
                    <a:gd name="T55" fmla="*/ 99 h 145"/>
                    <a:gd name="T56" fmla="*/ 116 w 213"/>
                    <a:gd name="T57" fmla="*/ 99 h 145"/>
                    <a:gd name="T58" fmla="*/ 103 w 213"/>
                    <a:gd name="T59" fmla="*/ 109 h 145"/>
                    <a:gd name="T60" fmla="*/ 110 w 213"/>
                    <a:gd name="T61" fmla="*/ 102 h 145"/>
                    <a:gd name="T62" fmla="*/ 110 w 213"/>
                    <a:gd name="T63" fmla="*/ 102 h 145"/>
                    <a:gd name="T64" fmla="*/ 103 w 213"/>
                    <a:gd name="T65" fmla="*/ 109 h 145"/>
                    <a:gd name="T66" fmla="*/ 39 w 213"/>
                    <a:gd name="T67" fmla="*/ 142 h 145"/>
                    <a:gd name="T68" fmla="*/ 39 w 213"/>
                    <a:gd name="T69" fmla="*/ 142 h 145"/>
                    <a:gd name="T70" fmla="*/ 27 w 213"/>
                    <a:gd name="T71" fmla="*/ 142 h 145"/>
                    <a:gd name="T72" fmla="*/ 27 w 213"/>
                    <a:gd name="T73" fmla="*/ 142 h 145"/>
                    <a:gd name="T74" fmla="*/ 65 w 213"/>
                    <a:gd name="T75" fmla="*/ 142 h 145"/>
                    <a:gd name="T76" fmla="*/ 65 w 213"/>
                    <a:gd name="T77" fmla="*/ 142 h 145"/>
                    <a:gd name="T78" fmla="*/ 69 w 213"/>
                    <a:gd name="T79" fmla="*/ 139 h 145"/>
                    <a:gd name="T80" fmla="*/ 82 w 213"/>
                    <a:gd name="T81" fmla="*/ 121 h 145"/>
                    <a:gd name="T82" fmla="*/ 97 w 213"/>
                    <a:gd name="T83" fmla="*/ 115 h 145"/>
                    <a:gd name="T84" fmla="*/ 103 w 213"/>
                    <a:gd name="T85" fmla="*/ 112 h 145"/>
                    <a:gd name="T86" fmla="*/ 97 w 213"/>
                    <a:gd name="T87" fmla="*/ 115 h 145"/>
                    <a:gd name="T88" fmla="*/ 85 w 213"/>
                    <a:gd name="T89" fmla="*/ 116 h 145"/>
                    <a:gd name="T90" fmla="*/ 74 w 213"/>
                    <a:gd name="T91" fmla="*/ 134 h 145"/>
                    <a:gd name="T92" fmla="*/ 65 w 213"/>
                    <a:gd name="T93" fmla="*/ 142 h 145"/>
                    <a:gd name="T94" fmla="*/ 0 w 213"/>
                    <a:gd name="T95" fmla="*/ 145 h 145"/>
                    <a:gd name="T96" fmla="*/ 27 w 213"/>
                    <a:gd name="T97" fmla="*/ 142 h 145"/>
                    <a:gd name="T98" fmla="*/ 27 w 213"/>
                    <a:gd name="T99" fmla="*/ 142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13" h="145">
                      <a:moveTo>
                        <a:pt x="164" y="18"/>
                      </a:moveTo>
                      <a:lnTo>
                        <a:pt x="164" y="18"/>
                      </a:lnTo>
                      <a:lnTo>
                        <a:pt x="166" y="15"/>
                      </a:lnTo>
                      <a:lnTo>
                        <a:pt x="171" y="12"/>
                      </a:lnTo>
                      <a:lnTo>
                        <a:pt x="175" y="9"/>
                      </a:lnTo>
                      <a:lnTo>
                        <a:pt x="178" y="6"/>
                      </a:lnTo>
                      <a:lnTo>
                        <a:pt x="178" y="6"/>
                      </a:lnTo>
                      <a:lnTo>
                        <a:pt x="182" y="3"/>
                      </a:lnTo>
                      <a:lnTo>
                        <a:pt x="188" y="2"/>
                      </a:lnTo>
                      <a:lnTo>
                        <a:pt x="201" y="2"/>
                      </a:lnTo>
                      <a:lnTo>
                        <a:pt x="201" y="2"/>
                      </a:lnTo>
                      <a:lnTo>
                        <a:pt x="213" y="0"/>
                      </a:lnTo>
                      <a:lnTo>
                        <a:pt x="213" y="0"/>
                      </a:lnTo>
                      <a:lnTo>
                        <a:pt x="201" y="2"/>
                      </a:lnTo>
                      <a:lnTo>
                        <a:pt x="201" y="2"/>
                      </a:lnTo>
                      <a:lnTo>
                        <a:pt x="188" y="2"/>
                      </a:lnTo>
                      <a:lnTo>
                        <a:pt x="182" y="3"/>
                      </a:lnTo>
                      <a:lnTo>
                        <a:pt x="178" y="6"/>
                      </a:lnTo>
                      <a:lnTo>
                        <a:pt x="178" y="6"/>
                      </a:lnTo>
                      <a:lnTo>
                        <a:pt x="175" y="9"/>
                      </a:lnTo>
                      <a:lnTo>
                        <a:pt x="171" y="12"/>
                      </a:lnTo>
                      <a:lnTo>
                        <a:pt x="166" y="15"/>
                      </a:lnTo>
                      <a:lnTo>
                        <a:pt x="164" y="18"/>
                      </a:lnTo>
                      <a:close/>
                      <a:moveTo>
                        <a:pt x="161" y="47"/>
                      </a:moveTo>
                      <a:lnTo>
                        <a:pt x="161" y="47"/>
                      </a:lnTo>
                      <a:lnTo>
                        <a:pt x="162" y="44"/>
                      </a:lnTo>
                      <a:lnTo>
                        <a:pt x="162" y="44"/>
                      </a:lnTo>
                      <a:lnTo>
                        <a:pt x="164" y="41"/>
                      </a:lnTo>
                      <a:lnTo>
                        <a:pt x="165" y="38"/>
                      </a:lnTo>
                      <a:lnTo>
                        <a:pt x="168" y="37"/>
                      </a:lnTo>
                      <a:lnTo>
                        <a:pt x="168" y="34"/>
                      </a:lnTo>
                      <a:lnTo>
                        <a:pt x="168" y="34"/>
                      </a:lnTo>
                      <a:lnTo>
                        <a:pt x="168" y="34"/>
                      </a:lnTo>
                      <a:lnTo>
                        <a:pt x="168" y="34"/>
                      </a:lnTo>
                      <a:lnTo>
                        <a:pt x="168" y="34"/>
                      </a:lnTo>
                      <a:lnTo>
                        <a:pt x="168" y="34"/>
                      </a:lnTo>
                      <a:lnTo>
                        <a:pt x="168" y="37"/>
                      </a:lnTo>
                      <a:lnTo>
                        <a:pt x="165" y="38"/>
                      </a:lnTo>
                      <a:lnTo>
                        <a:pt x="164" y="41"/>
                      </a:lnTo>
                      <a:lnTo>
                        <a:pt x="162" y="44"/>
                      </a:lnTo>
                      <a:lnTo>
                        <a:pt x="162" y="44"/>
                      </a:lnTo>
                      <a:lnTo>
                        <a:pt x="161" y="47"/>
                      </a:lnTo>
                      <a:close/>
                      <a:moveTo>
                        <a:pt x="122" y="99"/>
                      </a:moveTo>
                      <a:lnTo>
                        <a:pt x="122" y="99"/>
                      </a:lnTo>
                      <a:lnTo>
                        <a:pt x="122" y="99"/>
                      </a:lnTo>
                      <a:close/>
                      <a:moveTo>
                        <a:pt x="129" y="99"/>
                      </a:moveTo>
                      <a:lnTo>
                        <a:pt x="129" y="99"/>
                      </a:lnTo>
                      <a:lnTo>
                        <a:pt x="124" y="99"/>
                      </a:lnTo>
                      <a:lnTo>
                        <a:pt x="124" y="99"/>
                      </a:lnTo>
                      <a:lnTo>
                        <a:pt x="129" y="99"/>
                      </a:lnTo>
                      <a:lnTo>
                        <a:pt x="129" y="99"/>
                      </a:lnTo>
                      <a:lnTo>
                        <a:pt x="130" y="99"/>
                      </a:lnTo>
                      <a:lnTo>
                        <a:pt x="132" y="97"/>
                      </a:lnTo>
                      <a:lnTo>
                        <a:pt x="135" y="92"/>
                      </a:lnTo>
                      <a:lnTo>
                        <a:pt x="136" y="86"/>
                      </a:lnTo>
                      <a:lnTo>
                        <a:pt x="139" y="80"/>
                      </a:lnTo>
                      <a:lnTo>
                        <a:pt x="139" y="80"/>
                      </a:lnTo>
                      <a:lnTo>
                        <a:pt x="145" y="74"/>
                      </a:lnTo>
                      <a:lnTo>
                        <a:pt x="148" y="73"/>
                      </a:lnTo>
                      <a:lnTo>
                        <a:pt x="152" y="71"/>
                      </a:lnTo>
                      <a:lnTo>
                        <a:pt x="152" y="71"/>
                      </a:lnTo>
                      <a:lnTo>
                        <a:pt x="156" y="68"/>
                      </a:lnTo>
                      <a:lnTo>
                        <a:pt x="159" y="67"/>
                      </a:lnTo>
                      <a:lnTo>
                        <a:pt x="164" y="61"/>
                      </a:lnTo>
                      <a:lnTo>
                        <a:pt x="164" y="61"/>
                      </a:lnTo>
                      <a:lnTo>
                        <a:pt x="164" y="58"/>
                      </a:lnTo>
                      <a:lnTo>
                        <a:pt x="164" y="58"/>
                      </a:lnTo>
                      <a:lnTo>
                        <a:pt x="164" y="61"/>
                      </a:lnTo>
                      <a:lnTo>
                        <a:pt x="164" y="61"/>
                      </a:lnTo>
                      <a:lnTo>
                        <a:pt x="159" y="67"/>
                      </a:lnTo>
                      <a:lnTo>
                        <a:pt x="156" y="68"/>
                      </a:lnTo>
                      <a:lnTo>
                        <a:pt x="152" y="71"/>
                      </a:lnTo>
                      <a:lnTo>
                        <a:pt x="152" y="71"/>
                      </a:lnTo>
                      <a:lnTo>
                        <a:pt x="148" y="73"/>
                      </a:lnTo>
                      <a:lnTo>
                        <a:pt x="145" y="74"/>
                      </a:lnTo>
                      <a:lnTo>
                        <a:pt x="139" y="80"/>
                      </a:lnTo>
                      <a:lnTo>
                        <a:pt x="139" y="80"/>
                      </a:lnTo>
                      <a:lnTo>
                        <a:pt x="136" y="86"/>
                      </a:lnTo>
                      <a:lnTo>
                        <a:pt x="135" y="92"/>
                      </a:lnTo>
                      <a:lnTo>
                        <a:pt x="132" y="97"/>
                      </a:lnTo>
                      <a:lnTo>
                        <a:pt x="130" y="99"/>
                      </a:lnTo>
                      <a:lnTo>
                        <a:pt x="129" y="99"/>
                      </a:lnTo>
                      <a:close/>
                      <a:moveTo>
                        <a:pt x="116" y="99"/>
                      </a:moveTo>
                      <a:lnTo>
                        <a:pt x="116" y="99"/>
                      </a:lnTo>
                      <a:lnTo>
                        <a:pt x="122" y="99"/>
                      </a:lnTo>
                      <a:lnTo>
                        <a:pt x="122" y="99"/>
                      </a:lnTo>
                      <a:lnTo>
                        <a:pt x="116" y="99"/>
                      </a:lnTo>
                      <a:close/>
                      <a:moveTo>
                        <a:pt x="103" y="109"/>
                      </a:moveTo>
                      <a:lnTo>
                        <a:pt x="103" y="109"/>
                      </a:lnTo>
                      <a:lnTo>
                        <a:pt x="103" y="109"/>
                      </a:lnTo>
                      <a:lnTo>
                        <a:pt x="103" y="108"/>
                      </a:lnTo>
                      <a:lnTo>
                        <a:pt x="106" y="105"/>
                      </a:lnTo>
                      <a:lnTo>
                        <a:pt x="110" y="102"/>
                      </a:lnTo>
                      <a:lnTo>
                        <a:pt x="116" y="99"/>
                      </a:lnTo>
                      <a:lnTo>
                        <a:pt x="116" y="99"/>
                      </a:lnTo>
                      <a:lnTo>
                        <a:pt x="110" y="102"/>
                      </a:lnTo>
                      <a:lnTo>
                        <a:pt x="106" y="105"/>
                      </a:lnTo>
                      <a:lnTo>
                        <a:pt x="103" y="108"/>
                      </a:lnTo>
                      <a:lnTo>
                        <a:pt x="103" y="109"/>
                      </a:lnTo>
                      <a:close/>
                      <a:moveTo>
                        <a:pt x="39" y="142"/>
                      </a:moveTo>
                      <a:lnTo>
                        <a:pt x="39" y="142"/>
                      </a:lnTo>
                      <a:lnTo>
                        <a:pt x="39" y="142"/>
                      </a:lnTo>
                      <a:close/>
                      <a:moveTo>
                        <a:pt x="27" y="142"/>
                      </a:moveTo>
                      <a:lnTo>
                        <a:pt x="27" y="142"/>
                      </a:lnTo>
                      <a:lnTo>
                        <a:pt x="39" y="142"/>
                      </a:lnTo>
                      <a:lnTo>
                        <a:pt x="39" y="142"/>
                      </a:lnTo>
                      <a:lnTo>
                        <a:pt x="27" y="142"/>
                      </a:lnTo>
                      <a:close/>
                      <a:moveTo>
                        <a:pt x="27" y="142"/>
                      </a:moveTo>
                      <a:lnTo>
                        <a:pt x="27" y="142"/>
                      </a:lnTo>
                      <a:lnTo>
                        <a:pt x="27" y="142"/>
                      </a:lnTo>
                      <a:lnTo>
                        <a:pt x="27" y="142"/>
                      </a:lnTo>
                      <a:lnTo>
                        <a:pt x="27" y="142"/>
                      </a:lnTo>
                      <a:close/>
                      <a:moveTo>
                        <a:pt x="65" y="142"/>
                      </a:moveTo>
                      <a:lnTo>
                        <a:pt x="65" y="142"/>
                      </a:lnTo>
                      <a:lnTo>
                        <a:pt x="55" y="142"/>
                      </a:lnTo>
                      <a:lnTo>
                        <a:pt x="55" y="142"/>
                      </a:lnTo>
                      <a:lnTo>
                        <a:pt x="65" y="142"/>
                      </a:lnTo>
                      <a:lnTo>
                        <a:pt x="65" y="142"/>
                      </a:lnTo>
                      <a:lnTo>
                        <a:pt x="68" y="142"/>
                      </a:lnTo>
                      <a:lnTo>
                        <a:pt x="69" y="139"/>
                      </a:lnTo>
                      <a:lnTo>
                        <a:pt x="74" y="134"/>
                      </a:lnTo>
                      <a:lnTo>
                        <a:pt x="82" y="121"/>
                      </a:lnTo>
                      <a:lnTo>
                        <a:pt x="82" y="121"/>
                      </a:lnTo>
                      <a:lnTo>
                        <a:pt x="85" y="116"/>
                      </a:lnTo>
                      <a:lnTo>
                        <a:pt x="88" y="115"/>
                      </a:lnTo>
                      <a:lnTo>
                        <a:pt x="97" y="115"/>
                      </a:lnTo>
                      <a:lnTo>
                        <a:pt x="97" y="115"/>
                      </a:lnTo>
                      <a:lnTo>
                        <a:pt x="101" y="113"/>
                      </a:lnTo>
                      <a:lnTo>
                        <a:pt x="103" y="112"/>
                      </a:lnTo>
                      <a:lnTo>
                        <a:pt x="103" y="112"/>
                      </a:lnTo>
                      <a:lnTo>
                        <a:pt x="101" y="113"/>
                      </a:lnTo>
                      <a:lnTo>
                        <a:pt x="97" y="115"/>
                      </a:lnTo>
                      <a:lnTo>
                        <a:pt x="97" y="115"/>
                      </a:lnTo>
                      <a:lnTo>
                        <a:pt x="88" y="115"/>
                      </a:lnTo>
                      <a:lnTo>
                        <a:pt x="85" y="116"/>
                      </a:lnTo>
                      <a:lnTo>
                        <a:pt x="82" y="121"/>
                      </a:lnTo>
                      <a:lnTo>
                        <a:pt x="82" y="121"/>
                      </a:lnTo>
                      <a:lnTo>
                        <a:pt x="74" y="134"/>
                      </a:lnTo>
                      <a:lnTo>
                        <a:pt x="69" y="139"/>
                      </a:lnTo>
                      <a:lnTo>
                        <a:pt x="68" y="142"/>
                      </a:lnTo>
                      <a:lnTo>
                        <a:pt x="65" y="142"/>
                      </a:lnTo>
                      <a:close/>
                      <a:moveTo>
                        <a:pt x="0" y="145"/>
                      </a:move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27" y="142"/>
                      </a:lnTo>
                      <a:lnTo>
                        <a:pt x="27" y="142"/>
                      </a:lnTo>
                      <a:lnTo>
                        <a:pt x="27" y="142"/>
                      </a:lnTo>
                      <a:lnTo>
                        <a:pt x="27" y="142"/>
                      </a:lnTo>
                      <a:lnTo>
                        <a:pt x="27" y="142"/>
                      </a:lnTo>
                      <a:lnTo>
                        <a:pt x="27" y="142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41" name="Freeform 794"/>
                <p:cNvSpPr>
                  <a:spLocks/>
                </p:cNvSpPr>
                <p:nvPr/>
              </p:nvSpPr>
              <p:spPr bwMode="auto">
                <a:xfrm>
                  <a:off x="5547410" y="2696872"/>
                  <a:ext cx="48474" cy="17807"/>
                </a:xfrm>
                <a:custGeom>
                  <a:avLst/>
                  <a:gdLst>
                    <a:gd name="T0" fmla="*/ 0 w 49"/>
                    <a:gd name="T1" fmla="*/ 18 h 18"/>
                    <a:gd name="T2" fmla="*/ 0 w 49"/>
                    <a:gd name="T3" fmla="*/ 18 h 18"/>
                    <a:gd name="T4" fmla="*/ 2 w 49"/>
                    <a:gd name="T5" fmla="*/ 15 h 18"/>
                    <a:gd name="T6" fmla="*/ 7 w 49"/>
                    <a:gd name="T7" fmla="*/ 12 h 18"/>
                    <a:gd name="T8" fmla="*/ 11 w 49"/>
                    <a:gd name="T9" fmla="*/ 9 h 18"/>
                    <a:gd name="T10" fmla="*/ 14 w 49"/>
                    <a:gd name="T11" fmla="*/ 6 h 18"/>
                    <a:gd name="T12" fmla="*/ 14 w 49"/>
                    <a:gd name="T13" fmla="*/ 6 h 18"/>
                    <a:gd name="T14" fmla="*/ 18 w 49"/>
                    <a:gd name="T15" fmla="*/ 3 h 18"/>
                    <a:gd name="T16" fmla="*/ 24 w 49"/>
                    <a:gd name="T17" fmla="*/ 2 h 18"/>
                    <a:gd name="T18" fmla="*/ 37 w 49"/>
                    <a:gd name="T19" fmla="*/ 2 h 18"/>
                    <a:gd name="T20" fmla="*/ 37 w 49"/>
                    <a:gd name="T21" fmla="*/ 2 h 18"/>
                    <a:gd name="T22" fmla="*/ 49 w 49"/>
                    <a:gd name="T23" fmla="*/ 0 h 18"/>
                    <a:gd name="T24" fmla="*/ 49 w 49"/>
                    <a:gd name="T25" fmla="*/ 0 h 18"/>
                    <a:gd name="T26" fmla="*/ 37 w 49"/>
                    <a:gd name="T27" fmla="*/ 2 h 18"/>
                    <a:gd name="T28" fmla="*/ 37 w 49"/>
                    <a:gd name="T29" fmla="*/ 2 h 18"/>
                    <a:gd name="T30" fmla="*/ 24 w 49"/>
                    <a:gd name="T31" fmla="*/ 2 h 18"/>
                    <a:gd name="T32" fmla="*/ 18 w 49"/>
                    <a:gd name="T33" fmla="*/ 3 h 18"/>
                    <a:gd name="T34" fmla="*/ 14 w 49"/>
                    <a:gd name="T35" fmla="*/ 6 h 18"/>
                    <a:gd name="T36" fmla="*/ 14 w 49"/>
                    <a:gd name="T37" fmla="*/ 6 h 18"/>
                    <a:gd name="T38" fmla="*/ 11 w 49"/>
                    <a:gd name="T39" fmla="*/ 9 h 18"/>
                    <a:gd name="T40" fmla="*/ 7 w 49"/>
                    <a:gd name="T41" fmla="*/ 12 h 18"/>
                    <a:gd name="T42" fmla="*/ 2 w 49"/>
                    <a:gd name="T43" fmla="*/ 15 h 18"/>
                    <a:gd name="T44" fmla="*/ 0 w 49"/>
                    <a:gd name="T45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49" h="18">
                      <a:moveTo>
                        <a:pt x="0" y="18"/>
                      </a:moveTo>
                      <a:lnTo>
                        <a:pt x="0" y="18"/>
                      </a:lnTo>
                      <a:lnTo>
                        <a:pt x="2" y="15"/>
                      </a:lnTo>
                      <a:lnTo>
                        <a:pt x="7" y="12"/>
                      </a:lnTo>
                      <a:lnTo>
                        <a:pt x="11" y="9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8" y="3"/>
                      </a:lnTo>
                      <a:lnTo>
                        <a:pt x="24" y="2"/>
                      </a:lnTo>
                      <a:lnTo>
                        <a:pt x="37" y="2"/>
                      </a:lnTo>
                      <a:lnTo>
                        <a:pt x="37" y="2"/>
                      </a:lnTo>
                      <a:lnTo>
                        <a:pt x="49" y="0"/>
                      </a:lnTo>
                      <a:lnTo>
                        <a:pt x="49" y="0"/>
                      </a:lnTo>
                      <a:lnTo>
                        <a:pt x="37" y="2"/>
                      </a:lnTo>
                      <a:lnTo>
                        <a:pt x="37" y="2"/>
                      </a:lnTo>
                      <a:lnTo>
                        <a:pt x="24" y="2"/>
                      </a:lnTo>
                      <a:lnTo>
                        <a:pt x="18" y="3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1" y="9"/>
                      </a:lnTo>
                      <a:lnTo>
                        <a:pt x="7" y="12"/>
                      </a:lnTo>
                      <a:lnTo>
                        <a:pt x="2" y="15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42" name="Freeform 795"/>
                <p:cNvSpPr>
                  <a:spLocks/>
                </p:cNvSpPr>
                <p:nvPr/>
              </p:nvSpPr>
              <p:spPr bwMode="auto">
                <a:xfrm>
                  <a:off x="5544442" y="2730507"/>
                  <a:ext cx="6925" cy="12860"/>
                </a:xfrm>
                <a:custGeom>
                  <a:avLst/>
                  <a:gdLst>
                    <a:gd name="T0" fmla="*/ 0 w 7"/>
                    <a:gd name="T1" fmla="*/ 13 h 13"/>
                    <a:gd name="T2" fmla="*/ 0 w 7"/>
                    <a:gd name="T3" fmla="*/ 13 h 13"/>
                    <a:gd name="T4" fmla="*/ 1 w 7"/>
                    <a:gd name="T5" fmla="*/ 10 h 13"/>
                    <a:gd name="T6" fmla="*/ 1 w 7"/>
                    <a:gd name="T7" fmla="*/ 10 h 13"/>
                    <a:gd name="T8" fmla="*/ 3 w 7"/>
                    <a:gd name="T9" fmla="*/ 7 h 13"/>
                    <a:gd name="T10" fmla="*/ 4 w 7"/>
                    <a:gd name="T11" fmla="*/ 4 h 13"/>
                    <a:gd name="T12" fmla="*/ 7 w 7"/>
                    <a:gd name="T13" fmla="*/ 3 h 13"/>
                    <a:gd name="T14" fmla="*/ 7 w 7"/>
                    <a:gd name="T15" fmla="*/ 0 h 13"/>
                    <a:gd name="T16" fmla="*/ 7 w 7"/>
                    <a:gd name="T17" fmla="*/ 0 h 13"/>
                    <a:gd name="T18" fmla="*/ 7 w 7"/>
                    <a:gd name="T19" fmla="*/ 0 h 13"/>
                    <a:gd name="T20" fmla="*/ 7 w 7"/>
                    <a:gd name="T21" fmla="*/ 0 h 13"/>
                    <a:gd name="T22" fmla="*/ 7 w 7"/>
                    <a:gd name="T23" fmla="*/ 0 h 13"/>
                    <a:gd name="T24" fmla="*/ 7 w 7"/>
                    <a:gd name="T25" fmla="*/ 0 h 13"/>
                    <a:gd name="T26" fmla="*/ 7 w 7"/>
                    <a:gd name="T27" fmla="*/ 3 h 13"/>
                    <a:gd name="T28" fmla="*/ 4 w 7"/>
                    <a:gd name="T29" fmla="*/ 4 h 13"/>
                    <a:gd name="T30" fmla="*/ 3 w 7"/>
                    <a:gd name="T31" fmla="*/ 7 h 13"/>
                    <a:gd name="T32" fmla="*/ 1 w 7"/>
                    <a:gd name="T33" fmla="*/ 10 h 13"/>
                    <a:gd name="T34" fmla="*/ 1 w 7"/>
                    <a:gd name="T35" fmla="*/ 10 h 13"/>
                    <a:gd name="T36" fmla="*/ 0 w 7"/>
                    <a:gd name="T37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" h="13">
                      <a:moveTo>
                        <a:pt x="0" y="13"/>
                      </a:moveTo>
                      <a:lnTo>
                        <a:pt x="0" y="13"/>
                      </a:lnTo>
                      <a:lnTo>
                        <a:pt x="1" y="10"/>
                      </a:lnTo>
                      <a:lnTo>
                        <a:pt x="1" y="10"/>
                      </a:lnTo>
                      <a:lnTo>
                        <a:pt x="3" y="7"/>
                      </a:lnTo>
                      <a:lnTo>
                        <a:pt x="4" y="4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7" y="3"/>
                      </a:lnTo>
                      <a:lnTo>
                        <a:pt x="4" y="4"/>
                      </a:lnTo>
                      <a:lnTo>
                        <a:pt x="3" y="7"/>
                      </a:lnTo>
                      <a:lnTo>
                        <a:pt x="1" y="10"/>
                      </a:lnTo>
                      <a:lnTo>
                        <a:pt x="1" y="10"/>
                      </a:lnTo>
                      <a:lnTo>
                        <a:pt x="0" y="1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43" name="Freeform 796"/>
                <p:cNvSpPr>
                  <a:spLocks/>
                </p:cNvSpPr>
                <p:nvPr/>
              </p:nvSpPr>
              <p:spPr bwMode="auto">
                <a:xfrm>
                  <a:off x="5505861" y="2794809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44" name="Freeform 797"/>
                <p:cNvSpPr>
                  <a:spLocks/>
                </p:cNvSpPr>
                <p:nvPr/>
              </p:nvSpPr>
              <p:spPr bwMode="auto">
                <a:xfrm>
                  <a:off x="5507839" y="2754249"/>
                  <a:ext cx="39570" cy="40560"/>
                </a:xfrm>
                <a:custGeom>
                  <a:avLst/>
                  <a:gdLst>
                    <a:gd name="T0" fmla="*/ 5 w 40"/>
                    <a:gd name="T1" fmla="*/ 41 h 41"/>
                    <a:gd name="T2" fmla="*/ 5 w 40"/>
                    <a:gd name="T3" fmla="*/ 41 h 41"/>
                    <a:gd name="T4" fmla="*/ 0 w 40"/>
                    <a:gd name="T5" fmla="*/ 41 h 41"/>
                    <a:gd name="T6" fmla="*/ 0 w 40"/>
                    <a:gd name="T7" fmla="*/ 41 h 41"/>
                    <a:gd name="T8" fmla="*/ 5 w 40"/>
                    <a:gd name="T9" fmla="*/ 41 h 41"/>
                    <a:gd name="T10" fmla="*/ 5 w 40"/>
                    <a:gd name="T11" fmla="*/ 41 h 41"/>
                    <a:gd name="T12" fmla="*/ 6 w 40"/>
                    <a:gd name="T13" fmla="*/ 41 h 41"/>
                    <a:gd name="T14" fmla="*/ 8 w 40"/>
                    <a:gd name="T15" fmla="*/ 39 h 41"/>
                    <a:gd name="T16" fmla="*/ 11 w 40"/>
                    <a:gd name="T17" fmla="*/ 34 h 41"/>
                    <a:gd name="T18" fmla="*/ 12 w 40"/>
                    <a:gd name="T19" fmla="*/ 28 h 41"/>
                    <a:gd name="T20" fmla="*/ 15 w 40"/>
                    <a:gd name="T21" fmla="*/ 22 h 41"/>
                    <a:gd name="T22" fmla="*/ 15 w 40"/>
                    <a:gd name="T23" fmla="*/ 22 h 41"/>
                    <a:gd name="T24" fmla="*/ 21 w 40"/>
                    <a:gd name="T25" fmla="*/ 16 h 41"/>
                    <a:gd name="T26" fmla="*/ 24 w 40"/>
                    <a:gd name="T27" fmla="*/ 15 h 41"/>
                    <a:gd name="T28" fmla="*/ 28 w 40"/>
                    <a:gd name="T29" fmla="*/ 13 h 41"/>
                    <a:gd name="T30" fmla="*/ 28 w 40"/>
                    <a:gd name="T31" fmla="*/ 13 h 41"/>
                    <a:gd name="T32" fmla="*/ 32 w 40"/>
                    <a:gd name="T33" fmla="*/ 10 h 41"/>
                    <a:gd name="T34" fmla="*/ 35 w 40"/>
                    <a:gd name="T35" fmla="*/ 9 h 41"/>
                    <a:gd name="T36" fmla="*/ 40 w 40"/>
                    <a:gd name="T37" fmla="*/ 3 h 41"/>
                    <a:gd name="T38" fmla="*/ 40 w 40"/>
                    <a:gd name="T39" fmla="*/ 3 h 41"/>
                    <a:gd name="T40" fmla="*/ 40 w 40"/>
                    <a:gd name="T41" fmla="*/ 0 h 41"/>
                    <a:gd name="T42" fmla="*/ 40 w 40"/>
                    <a:gd name="T43" fmla="*/ 0 h 41"/>
                    <a:gd name="T44" fmla="*/ 40 w 40"/>
                    <a:gd name="T45" fmla="*/ 3 h 41"/>
                    <a:gd name="T46" fmla="*/ 40 w 40"/>
                    <a:gd name="T47" fmla="*/ 3 h 41"/>
                    <a:gd name="T48" fmla="*/ 35 w 40"/>
                    <a:gd name="T49" fmla="*/ 9 h 41"/>
                    <a:gd name="T50" fmla="*/ 32 w 40"/>
                    <a:gd name="T51" fmla="*/ 10 h 41"/>
                    <a:gd name="T52" fmla="*/ 28 w 40"/>
                    <a:gd name="T53" fmla="*/ 13 h 41"/>
                    <a:gd name="T54" fmla="*/ 28 w 40"/>
                    <a:gd name="T55" fmla="*/ 13 h 41"/>
                    <a:gd name="T56" fmla="*/ 24 w 40"/>
                    <a:gd name="T57" fmla="*/ 15 h 41"/>
                    <a:gd name="T58" fmla="*/ 21 w 40"/>
                    <a:gd name="T59" fmla="*/ 16 h 41"/>
                    <a:gd name="T60" fmla="*/ 15 w 40"/>
                    <a:gd name="T61" fmla="*/ 22 h 41"/>
                    <a:gd name="T62" fmla="*/ 15 w 40"/>
                    <a:gd name="T63" fmla="*/ 22 h 41"/>
                    <a:gd name="T64" fmla="*/ 12 w 40"/>
                    <a:gd name="T65" fmla="*/ 28 h 41"/>
                    <a:gd name="T66" fmla="*/ 11 w 40"/>
                    <a:gd name="T67" fmla="*/ 34 h 41"/>
                    <a:gd name="T68" fmla="*/ 8 w 40"/>
                    <a:gd name="T69" fmla="*/ 39 h 41"/>
                    <a:gd name="T70" fmla="*/ 6 w 40"/>
                    <a:gd name="T71" fmla="*/ 41 h 41"/>
                    <a:gd name="T72" fmla="*/ 5 w 40"/>
                    <a:gd name="T73" fmla="*/ 41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0" h="41">
                      <a:moveTo>
                        <a:pt x="5" y="41"/>
                      </a:moveTo>
                      <a:lnTo>
                        <a:pt x="5" y="41"/>
                      </a:lnTo>
                      <a:lnTo>
                        <a:pt x="0" y="41"/>
                      </a:lnTo>
                      <a:lnTo>
                        <a:pt x="0" y="41"/>
                      </a:lnTo>
                      <a:lnTo>
                        <a:pt x="5" y="41"/>
                      </a:lnTo>
                      <a:lnTo>
                        <a:pt x="5" y="41"/>
                      </a:lnTo>
                      <a:lnTo>
                        <a:pt x="6" y="41"/>
                      </a:lnTo>
                      <a:lnTo>
                        <a:pt x="8" y="39"/>
                      </a:lnTo>
                      <a:lnTo>
                        <a:pt x="11" y="34"/>
                      </a:lnTo>
                      <a:lnTo>
                        <a:pt x="12" y="28"/>
                      </a:lnTo>
                      <a:lnTo>
                        <a:pt x="15" y="22"/>
                      </a:lnTo>
                      <a:lnTo>
                        <a:pt x="15" y="22"/>
                      </a:lnTo>
                      <a:lnTo>
                        <a:pt x="21" y="16"/>
                      </a:lnTo>
                      <a:lnTo>
                        <a:pt x="24" y="15"/>
                      </a:lnTo>
                      <a:lnTo>
                        <a:pt x="28" y="13"/>
                      </a:lnTo>
                      <a:lnTo>
                        <a:pt x="28" y="13"/>
                      </a:lnTo>
                      <a:lnTo>
                        <a:pt x="32" y="10"/>
                      </a:lnTo>
                      <a:lnTo>
                        <a:pt x="35" y="9"/>
                      </a:lnTo>
                      <a:lnTo>
                        <a:pt x="40" y="3"/>
                      </a:lnTo>
                      <a:lnTo>
                        <a:pt x="40" y="3"/>
                      </a:lnTo>
                      <a:lnTo>
                        <a:pt x="40" y="0"/>
                      </a:lnTo>
                      <a:lnTo>
                        <a:pt x="40" y="0"/>
                      </a:lnTo>
                      <a:lnTo>
                        <a:pt x="40" y="3"/>
                      </a:lnTo>
                      <a:lnTo>
                        <a:pt x="40" y="3"/>
                      </a:lnTo>
                      <a:lnTo>
                        <a:pt x="35" y="9"/>
                      </a:lnTo>
                      <a:lnTo>
                        <a:pt x="32" y="10"/>
                      </a:lnTo>
                      <a:lnTo>
                        <a:pt x="28" y="13"/>
                      </a:lnTo>
                      <a:lnTo>
                        <a:pt x="28" y="13"/>
                      </a:lnTo>
                      <a:lnTo>
                        <a:pt x="24" y="15"/>
                      </a:lnTo>
                      <a:lnTo>
                        <a:pt x="21" y="16"/>
                      </a:lnTo>
                      <a:lnTo>
                        <a:pt x="15" y="22"/>
                      </a:lnTo>
                      <a:lnTo>
                        <a:pt x="15" y="22"/>
                      </a:lnTo>
                      <a:lnTo>
                        <a:pt x="12" y="28"/>
                      </a:lnTo>
                      <a:lnTo>
                        <a:pt x="11" y="34"/>
                      </a:lnTo>
                      <a:lnTo>
                        <a:pt x="8" y="39"/>
                      </a:lnTo>
                      <a:lnTo>
                        <a:pt x="6" y="41"/>
                      </a:lnTo>
                      <a:lnTo>
                        <a:pt x="5" y="4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45" name="Rectangle 798"/>
                <p:cNvSpPr>
                  <a:spLocks noChangeArrowheads="1"/>
                </p:cNvSpPr>
                <p:nvPr/>
              </p:nvSpPr>
              <p:spPr bwMode="auto">
                <a:xfrm>
                  <a:off x="5499925" y="2794809"/>
                  <a:ext cx="5936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46" name="Freeform 799"/>
                <p:cNvSpPr>
                  <a:spLocks/>
                </p:cNvSpPr>
                <p:nvPr/>
              </p:nvSpPr>
              <p:spPr bwMode="auto">
                <a:xfrm>
                  <a:off x="5487065" y="2794809"/>
                  <a:ext cx="12860" cy="9893"/>
                </a:xfrm>
                <a:custGeom>
                  <a:avLst/>
                  <a:gdLst>
                    <a:gd name="T0" fmla="*/ 0 w 13"/>
                    <a:gd name="T1" fmla="*/ 10 h 10"/>
                    <a:gd name="T2" fmla="*/ 0 w 13"/>
                    <a:gd name="T3" fmla="*/ 10 h 10"/>
                    <a:gd name="T4" fmla="*/ 0 w 13"/>
                    <a:gd name="T5" fmla="*/ 10 h 10"/>
                    <a:gd name="T6" fmla="*/ 0 w 13"/>
                    <a:gd name="T7" fmla="*/ 9 h 10"/>
                    <a:gd name="T8" fmla="*/ 3 w 13"/>
                    <a:gd name="T9" fmla="*/ 6 h 10"/>
                    <a:gd name="T10" fmla="*/ 7 w 13"/>
                    <a:gd name="T11" fmla="*/ 3 h 10"/>
                    <a:gd name="T12" fmla="*/ 13 w 13"/>
                    <a:gd name="T13" fmla="*/ 0 h 10"/>
                    <a:gd name="T14" fmla="*/ 13 w 13"/>
                    <a:gd name="T15" fmla="*/ 0 h 10"/>
                    <a:gd name="T16" fmla="*/ 7 w 13"/>
                    <a:gd name="T17" fmla="*/ 3 h 10"/>
                    <a:gd name="T18" fmla="*/ 3 w 13"/>
                    <a:gd name="T19" fmla="*/ 6 h 10"/>
                    <a:gd name="T20" fmla="*/ 0 w 13"/>
                    <a:gd name="T21" fmla="*/ 9 h 10"/>
                    <a:gd name="T22" fmla="*/ 0 w 13"/>
                    <a:gd name="T23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" h="10">
                      <a:moveTo>
                        <a:pt x="0" y="10"/>
                      </a:move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3" y="6"/>
                      </a:lnTo>
                      <a:lnTo>
                        <a:pt x="7" y="3"/>
                      </a:lnTo>
                      <a:lnTo>
                        <a:pt x="13" y="0"/>
                      </a:lnTo>
                      <a:lnTo>
                        <a:pt x="13" y="0"/>
                      </a:lnTo>
                      <a:lnTo>
                        <a:pt x="7" y="3"/>
                      </a:lnTo>
                      <a:lnTo>
                        <a:pt x="3" y="6"/>
                      </a:lnTo>
                      <a:lnTo>
                        <a:pt x="0" y="9"/>
                      </a:lnTo>
                      <a:lnTo>
                        <a:pt x="0" y="1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47" name="Freeform 800"/>
                <p:cNvSpPr>
                  <a:spLocks/>
                </p:cNvSpPr>
                <p:nvPr/>
              </p:nvSpPr>
              <p:spPr bwMode="auto">
                <a:xfrm>
                  <a:off x="5423752" y="2837347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48" name="Rectangle 801"/>
                <p:cNvSpPr>
                  <a:spLocks noChangeArrowheads="1"/>
                </p:cNvSpPr>
                <p:nvPr/>
              </p:nvSpPr>
              <p:spPr bwMode="auto">
                <a:xfrm>
                  <a:off x="5411881" y="2837347"/>
                  <a:ext cx="11871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49" name="Rectangle 802"/>
                <p:cNvSpPr>
                  <a:spLocks noChangeArrowheads="1"/>
                </p:cNvSpPr>
                <p:nvPr/>
              </p:nvSpPr>
              <p:spPr bwMode="auto">
                <a:xfrm>
                  <a:off x="5411881" y="2837347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50" name="Freeform 803"/>
                <p:cNvSpPr>
                  <a:spLocks/>
                </p:cNvSpPr>
                <p:nvPr/>
              </p:nvSpPr>
              <p:spPr bwMode="auto">
                <a:xfrm>
                  <a:off x="5439580" y="2807669"/>
                  <a:ext cx="47484" cy="29678"/>
                </a:xfrm>
                <a:custGeom>
                  <a:avLst/>
                  <a:gdLst>
                    <a:gd name="T0" fmla="*/ 10 w 48"/>
                    <a:gd name="T1" fmla="*/ 30 h 30"/>
                    <a:gd name="T2" fmla="*/ 10 w 48"/>
                    <a:gd name="T3" fmla="*/ 30 h 30"/>
                    <a:gd name="T4" fmla="*/ 0 w 48"/>
                    <a:gd name="T5" fmla="*/ 30 h 30"/>
                    <a:gd name="T6" fmla="*/ 0 w 48"/>
                    <a:gd name="T7" fmla="*/ 30 h 30"/>
                    <a:gd name="T8" fmla="*/ 10 w 48"/>
                    <a:gd name="T9" fmla="*/ 30 h 30"/>
                    <a:gd name="T10" fmla="*/ 10 w 48"/>
                    <a:gd name="T11" fmla="*/ 30 h 30"/>
                    <a:gd name="T12" fmla="*/ 13 w 48"/>
                    <a:gd name="T13" fmla="*/ 30 h 30"/>
                    <a:gd name="T14" fmla="*/ 14 w 48"/>
                    <a:gd name="T15" fmla="*/ 27 h 30"/>
                    <a:gd name="T16" fmla="*/ 19 w 48"/>
                    <a:gd name="T17" fmla="*/ 22 h 30"/>
                    <a:gd name="T18" fmla="*/ 27 w 48"/>
                    <a:gd name="T19" fmla="*/ 9 h 30"/>
                    <a:gd name="T20" fmla="*/ 27 w 48"/>
                    <a:gd name="T21" fmla="*/ 9 h 30"/>
                    <a:gd name="T22" fmla="*/ 30 w 48"/>
                    <a:gd name="T23" fmla="*/ 4 h 30"/>
                    <a:gd name="T24" fmla="*/ 33 w 48"/>
                    <a:gd name="T25" fmla="*/ 3 h 30"/>
                    <a:gd name="T26" fmla="*/ 42 w 48"/>
                    <a:gd name="T27" fmla="*/ 3 h 30"/>
                    <a:gd name="T28" fmla="*/ 42 w 48"/>
                    <a:gd name="T29" fmla="*/ 3 h 30"/>
                    <a:gd name="T30" fmla="*/ 46 w 48"/>
                    <a:gd name="T31" fmla="*/ 1 h 30"/>
                    <a:gd name="T32" fmla="*/ 48 w 48"/>
                    <a:gd name="T33" fmla="*/ 0 h 30"/>
                    <a:gd name="T34" fmla="*/ 48 w 48"/>
                    <a:gd name="T35" fmla="*/ 0 h 30"/>
                    <a:gd name="T36" fmla="*/ 46 w 48"/>
                    <a:gd name="T37" fmla="*/ 1 h 30"/>
                    <a:gd name="T38" fmla="*/ 42 w 48"/>
                    <a:gd name="T39" fmla="*/ 3 h 30"/>
                    <a:gd name="T40" fmla="*/ 42 w 48"/>
                    <a:gd name="T41" fmla="*/ 3 h 30"/>
                    <a:gd name="T42" fmla="*/ 33 w 48"/>
                    <a:gd name="T43" fmla="*/ 3 h 30"/>
                    <a:gd name="T44" fmla="*/ 30 w 48"/>
                    <a:gd name="T45" fmla="*/ 4 h 30"/>
                    <a:gd name="T46" fmla="*/ 27 w 48"/>
                    <a:gd name="T47" fmla="*/ 9 h 30"/>
                    <a:gd name="T48" fmla="*/ 27 w 48"/>
                    <a:gd name="T49" fmla="*/ 9 h 30"/>
                    <a:gd name="T50" fmla="*/ 19 w 48"/>
                    <a:gd name="T51" fmla="*/ 22 h 30"/>
                    <a:gd name="T52" fmla="*/ 14 w 48"/>
                    <a:gd name="T53" fmla="*/ 27 h 30"/>
                    <a:gd name="T54" fmla="*/ 13 w 48"/>
                    <a:gd name="T55" fmla="*/ 30 h 30"/>
                    <a:gd name="T56" fmla="*/ 10 w 48"/>
                    <a:gd name="T57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48" h="30">
                      <a:moveTo>
                        <a:pt x="10" y="30"/>
                      </a:moveTo>
                      <a:lnTo>
                        <a:pt x="1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3" y="30"/>
                      </a:lnTo>
                      <a:lnTo>
                        <a:pt x="14" y="27"/>
                      </a:lnTo>
                      <a:lnTo>
                        <a:pt x="19" y="22"/>
                      </a:lnTo>
                      <a:lnTo>
                        <a:pt x="27" y="9"/>
                      </a:lnTo>
                      <a:lnTo>
                        <a:pt x="27" y="9"/>
                      </a:lnTo>
                      <a:lnTo>
                        <a:pt x="30" y="4"/>
                      </a:lnTo>
                      <a:lnTo>
                        <a:pt x="33" y="3"/>
                      </a:lnTo>
                      <a:lnTo>
                        <a:pt x="42" y="3"/>
                      </a:lnTo>
                      <a:lnTo>
                        <a:pt x="42" y="3"/>
                      </a:lnTo>
                      <a:lnTo>
                        <a:pt x="46" y="1"/>
                      </a:lnTo>
                      <a:lnTo>
                        <a:pt x="48" y="0"/>
                      </a:lnTo>
                      <a:lnTo>
                        <a:pt x="48" y="0"/>
                      </a:lnTo>
                      <a:lnTo>
                        <a:pt x="46" y="1"/>
                      </a:lnTo>
                      <a:lnTo>
                        <a:pt x="42" y="3"/>
                      </a:lnTo>
                      <a:lnTo>
                        <a:pt x="42" y="3"/>
                      </a:lnTo>
                      <a:lnTo>
                        <a:pt x="33" y="3"/>
                      </a:lnTo>
                      <a:lnTo>
                        <a:pt x="30" y="4"/>
                      </a:lnTo>
                      <a:lnTo>
                        <a:pt x="27" y="9"/>
                      </a:lnTo>
                      <a:lnTo>
                        <a:pt x="27" y="9"/>
                      </a:lnTo>
                      <a:lnTo>
                        <a:pt x="19" y="22"/>
                      </a:lnTo>
                      <a:lnTo>
                        <a:pt x="14" y="27"/>
                      </a:lnTo>
                      <a:lnTo>
                        <a:pt x="13" y="30"/>
                      </a:lnTo>
                      <a:lnTo>
                        <a:pt x="10" y="3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51" name="Freeform 804"/>
                <p:cNvSpPr>
                  <a:spLocks/>
                </p:cNvSpPr>
                <p:nvPr/>
              </p:nvSpPr>
              <p:spPr bwMode="auto">
                <a:xfrm>
                  <a:off x="5385171" y="2837347"/>
                  <a:ext cx="26710" cy="2968"/>
                </a:xfrm>
                <a:custGeom>
                  <a:avLst/>
                  <a:gdLst>
                    <a:gd name="T0" fmla="*/ 0 w 27"/>
                    <a:gd name="T1" fmla="*/ 3 h 3"/>
                    <a:gd name="T2" fmla="*/ 0 w 27"/>
                    <a:gd name="T3" fmla="*/ 3 h 3"/>
                    <a:gd name="T4" fmla="*/ 0 w 27"/>
                    <a:gd name="T5" fmla="*/ 3 h 3"/>
                    <a:gd name="T6" fmla="*/ 27 w 27"/>
                    <a:gd name="T7" fmla="*/ 0 h 3"/>
                    <a:gd name="T8" fmla="*/ 27 w 27"/>
                    <a:gd name="T9" fmla="*/ 0 h 3"/>
                    <a:gd name="T10" fmla="*/ 27 w 27"/>
                    <a:gd name="T11" fmla="*/ 0 h 3"/>
                    <a:gd name="T12" fmla="*/ 27 w 27"/>
                    <a:gd name="T13" fmla="*/ 0 h 3"/>
                    <a:gd name="T14" fmla="*/ 27 w 27"/>
                    <a:gd name="T15" fmla="*/ 0 h 3"/>
                    <a:gd name="T16" fmla="*/ 27 w 27"/>
                    <a:gd name="T17" fmla="*/ 0 h 3"/>
                    <a:gd name="T18" fmla="*/ 0 w 27"/>
                    <a:gd name="T1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7" h="3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27" y="0"/>
                      </a:lnTo>
                      <a:lnTo>
                        <a:pt x="27" y="0"/>
                      </a:lnTo>
                      <a:lnTo>
                        <a:pt x="27" y="0"/>
                      </a:lnTo>
                      <a:lnTo>
                        <a:pt x="27" y="0"/>
                      </a:lnTo>
                      <a:lnTo>
                        <a:pt x="27" y="0"/>
                      </a:lnTo>
                      <a:lnTo>
                        <a:pt x="27" y="0"/>
                      </a:lnTo>
                      <a:lnTo>
                        <a:pt x="0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52" name="Freeform 805"/>
                <p:cNvSpPr>
                  <a:spLocks/>
                </p:cNvSpPr>
                <p:nvPr/>
              </p:nvSpPr>
              <p:spPr bwMode="auto">
                <a:xfrm>
                  <a:off x="5305041" y="2513859"/>
                  <a:ext cx="265122" cy="173120"/>
                </a:xfrm>
                <a:custGeom>
                  <a:avLst/>
                  <a:gdLst>
                    <a:gd name="T0" fmla="*/ 203 w 268"/>
                    <a:gd name="T1" fmla="*/ 122 h 175"/>
                    <a:gd name="T2" fmla="*/ 216 w 268"/>
                    <a:gd name="T3" fmla="*/ 106 h 175"/>
                    <a:gd name="T4" fmla="*/ 233 w 268"/>
                    <a:gd name="T5" fmla="*/ 100 h 175"/>
                    <a:gd name="T6" fmla="*/ 236 w 268"/>
                    <a:gd name="T7" fmla="*/ 101 h 175"/>
                    <a:gd name="T8" fmla="*/ 232 w 268"/>
                    <a:gd name="T9" fmla="*/ 117 h 175"/>
                    <a:gd name="T10" fmla="*/ 233 w 268"/>
                    <a:gd name="T11" fmla="*/ 119 h 175"/>
                    <a:gd name="T12" fmla="*/ 255 w 268"/>
                    <a:gd name="T13" fmla="*/ 123 h 175"/>
                    <a:gd name="T14" fmla="*/ 268 w 268"/>
                    <a:gd name="T15" fmla="*/ 117 h 175"/>
                    <a:gd name="T16" fmla="*/ 268 w 268"/>
                    <a:gd name="T17" fmla="*/ 113 h 175"/>
                    <a:gd name="T18" fmla="*/ 253 w 268"/>
                    <a:gd name="T19" fmla="*/ 96 h 175"/>
                    <a:gd name="T20" fmla="*/ 242 w 268"/>
                    <a:gd name="T21" fmla="*/ 93 h 175"/>
                    <a:gd name="T22" fmla="*/ 236 w 268"/>
                    <a:gd name="T23" fmla="*/ 90 h 175"/>
                    <a:gd name="T24" fmla="*/ 234 w 268"/>
                    <a:gd name="T25" fmla="*/ 85 h 175"/>
                    <a:gd name="T26" fmla="*/ 214 w 268"/>
                    <a:gd name="T27" fmla="*/ 90 h 175"/>
                    <a:gd name="T28" fmla="*/ 197 w 268"/>
                    <a:gd name="T29" fmla="*/ 90 h 175"/>
                    <a:gd name="T30" fmla="*/ 190 w 268"/>
                    <a:gd name="T31" fmla="*/ 98 h 175"/>
                    <a:gd name="T32" fmla="*/ 184 w 268"/>
                    <a:gd name="T33" fmla="*/ 107 h 175"/>
                    <a:gd name="T34" fmla="*/ 175 w 268"/>
                    <a:gd name="T35" fmla="*/ 109 h 175"/>
                    <a:gd name="T36" fmla="*/ 162 w 268"/>
                    <a:gd name="T37" fmla="*/ 98 h 175"/>
                    <a:gd name="T38" fmla="*/ 149 w 268"/>
                    <a:gd name="T39" fmla="*/ 94 h 175"/>
                    <a:gd name="T40" fmla="*/ 145 w 268"/>
                    <a:gd name="T41" fmla="*/ 91 h 175"/>
                    <a:gd name="T42" fmla="*/ 150 w 268"/>
                    <a:gd name="T43" fmla="*/ 88 h 175"/>
                    <a:gd name="T44" fmla="*/ 152 w 268"/>
                    <a:gd name="T45" fmla="*/ 84 h 175"/>
                    <a:gd name="T46" fmla="*/ 142 w 268"/>
                    <a:gd name="T47" fmla="*/ 70 h 175"/>
                    <a:gd name="T48" fmla="*/ 139 w 268"/>
                    <a:gd name="T49" fmla="*/ 41 h 175"/>
                    <a:gd name="T50" fmla="*/ 137 w 268"/>
                    <a:gd name="T51" fmla="*/ 35 h 175"/>
                    <a:gd name="T52" fmla="*/ 120 w 268"/>
                    <a:gd name="T53" fmla="*/ 48 h 175"/>
                    <a:gd name="T54" fmla="*/ 116 w 268"/>
                    <a:gd name="T55" fmla="*/ 52 h 175"/>
                    <a:gd name="T56" fmla="*/ 108 w 268"/>
                    <a:gd name="T57" fmla="*/ 51 h 175"/>
                    <a:gd name="T58" fmla="*/ 79 w 268"/>
                    <a:gd name="T59" fmla="*/ 35 h 175"/>
                    <a:gd name="T60" fmla="*/ 71 w 268"/>
                    <a:gd name="T61" fmla="*/ 33 h 175"/>
                    <a:gd name="T62" fmla="*/ 68 w 268"/>
                    <a:gd name="T63" fmla="*/ 38 h 175"/>
                    <a:gd name="T64" fmla="*/ 58 w 268"/>
                    <a:gd name="T65" fmla="*/ 43 h 175"/>
                    <a:gd name="T66" fmla="*/ 42 w 268"/>
                    <a:gd name="T67" fmla="*/ 43 h 175"/>
                    <a:gd name="T68" fmla="*/ 35 w 268"/>
                    <a:gd name="T69" fmla="*/ 38 h 175"/>
                    <a:gd name="T70" fmla="*/ 35 w 268"/>
                    <a:gd name="T71" fmla="*/ 19 h 175"/>
                    <a:gd name="T72" fmla="*/ 37 w 268"/>
                    <a:gd name="T73" fmla="*/ 12 h 175"/>
                    <a:gd name="T74" fmla="*/ 37 w 268"/>
                    <a:gd name="T75" fmla="*/ 6 h 175"/>
                    <a:gd name="T76" fmla="*/ 0 w 268"/>
                    <a:gd name="T77" fmla="*/ 13 h 175"/>
                    <a:gd name="T78" fmla="*/ 7 w 268"/>
                    <a:gd name="T79" fmla="*/ 103 h 175"/>
                    <a:gd name="T80" fmla="*/ 14 w 268"/>
                    <a:gd name="T81" fmla="*/ 100 h 175"/>
                    <a:gd name="T82" fmla="*/ 20 w 268"/>
                    <a:gd name="T83" fmla="*/ 85 h 175"/>
                    <a:gd name="T84" fmla="*/ 33 w 268"/>
                    <a:gd name="T85" fmla="*/ 70 h 175"/>
                    <a:gd name="T86" fmla="*/ 40 w 268"/>
                    <a:gd name="T87" fmla="*/ 65 h 175"/>
                    <a:gd name="T88" fmla="*/ 49 w 268"/>
                    <a:gd name="T89" fmla="*/ 67 h 175"/>
                    <a:gd name="T90" fmla="*/ 66 w 268"/>
                    <a:gd name="T91" fmla="*/ 88 h 175"/>
                    <a:gd name="T92" fmla="*/ 81 w 268"/>
                    <a:gd name="T93" fmla="*/ 103 h 175"/>
                    <a:gd name="T94" fmla="*/ 90 w 268"/>
                    <a:gd name="T95" fmla="*/ 112 h 175"/>
                    <a:gd name="T96" fmla="*/ 101 w 268"/>
                    <a:gd name="T97" fmla="*/ 133 h 175"/>
                    <a:gd name="T98" fmla="*/ 114 w 268"/>
                    <a:gd name="T99" fmla="*/ 141 h 175"/>
                    <a:gd name="T100" fmla="*/ 143 w 268"/>
                    <a:gd name="T101" fmla="*/ 154 h 175"/>
                    <a:gd name="T102" fmla="*/ 158 w 268"/>
                    <a:gd name="T103" fmla="*/ 164 h 175"/>
                    <a:gd name="T104" fmla="*/ 162 w 268"/>
                    <a:gd name="T105" fmla="*/ 175 h 175"/>
                    <a:gd name="T106" fmla="*/ 175 w 268"/>
                    <a:gd name="T107" fmla="*/ 174 h 175"/>
                    <a:gd name="T108" fmla="*/ 178 w 268"/>
                    <a:gd name="T109" fmla="*/ 135 h 175"/>
                    <a:gd name="T110" fmla="*/ 187 w 268"/>
                    <a:gd name="T111" fmla="*/ 132 h 1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68" h="175">
                      <a:moveTo>
                        <a:pt x="198" y="127"/>
                      </a:moveTo>
                      <a:lnTo>
                        <a:pt x="198" y="127"/>
                      </a:lnTo>
                      <a:lnTo>
                        <a:pt x="203" y="122"/>
                      </a:lnTo>
                      <a:lnTo>
                        <a:pt x="207" y="116"/>
                      </a:lnTo>
                      <a:lnTo>
                        <a:pt x="211" y="110"/>
                      </a:lnTo>
                      <a:lnTo>
                        <a:pt x="216" y="106"/>
                      </a:lnTo>
                      <a:lnTo>
                        <a:pt x="216" y="106"/>
                      </a:lnTo>
                      <a:lnTo>
                        <a:pt x="227" y="101"/>
                      </a:lnTo>
                      <a:lnTo>
                        <a:pt x="233" y="100"/>
                      </a:lnTo>
                      <a:lnTo>
                        <a:pt x="236" y="100"/>
                      </a:lnTo>
                      <a:lnTo>
                        <a:pt x="236" y="101"/>
                      </a:lnTo>
                      <a:lnTo>
                        <a:pt x="236" y="101"/>
                      </a:lnTo>
                      <a:lnTo>
                        <a:pt x="236" y="106"/>
                      </a:lnTo>
                      <a:lnTo>
                        <a:pt x="233" y="112"/>
                      </a:lnTo>
                      <a:lnTo>
                        <a:pt x="232" y="117"/>
                      </a:lnTo>
                      <a:lnTo>
                        <a:pt x="232" y="119"/>
                      </a:lnTo>
                      <a:lnTo>
                        <a:pt x="233" y="119"/>
                      </a:lnTo>
                      <a:lnTo>
                        <a:pt x="233" y="119"/>
                      </a:lnTo>
                      <a:lnTo>
                        <a:pt x="245" y="120"/>
                      </a:lnTo>
                      <a:lnTo>
                        <a:pt x="255" y="123"/>
                      </a:lnTo>
                      <a:lnTo>
                        <a:pt x="255" y="123"/>
                      </a:lnTo>
                      <a:lnTo>
                        <a:pt x="259" y="122"/>
                      </a:lnTo>
                      <a:lnTo>
                        <a:pt x="263" y="120"/>
                      </a:lnTo>
                      <a:lnTo>
                        <a:pt x="268" y="117"/>
                      </a:lnTo>
                      <a:lnTo>
                        <a:pt x="268" y="116"/>
                      </a:lnTo>
                      <a:lnTo>
                        <a:pt x="268" y="113"/>
                      </a:lnTo>
                      <a:lnTo>
                        <a:pt x="268" y="113"/>
                      </a:lnTo>
                      <a:lnTo>
                        <a:pt x="263" y="103"/>
                      </a:lnTo>
                      <a:lnTo>
                        <a:pt x="259" y="98"/>
                      </a:lnTo>
                      <a:lnTo>
                        <a:pt x="253" y="96"/>
                      </a:lnTo>
                      <a:lnTo>
                        <a:pt x="253" y="96"/>
                      </a:lnTo>
                      <a:lnTo>
                        <a:pt x="246" y="93"/>
                      </a:lnTo>
                      <a:lnTo>
                        <a:pt x="242" y="93"/>
                      </a:lnTo>
                      <a:lnTo>
                        <a:pt x="237" y="91"/>
                      </a:lnTo>
                      <a:lnTo>
                        <a:pt x="236" y="90"/>
                      </a:lnTo>
                      <a:lnTo>
                        <a:pt x="236" y="90"/>
                      </a:lnTo>
                      <a:lnTo>
                        <a:pt x="234" y="84"/>
                      </a:lnTo>
                      <a:lnTo>
                        <a:pt x="234" y="84"/>
                      </a:lnTo>
                      <a:lnTo>
                        <a:pt x="234" y="85"/>
                      </a:lnTo>
                      <a:lnTo>
                        <a:pt x="234" y="85"/>
                      </a:lnTo>
                      <a:lnTo>
                        <a:pt x="224" y="88"/>
                      </a:lnTo>
                      <a:lnTo>
                        <a:pt x="214" y="90"/>
                      </a:lnTo>
                      <a:lnTo>
                        <a:pt x="214" y="90"/>
                      </a:lnTo>
                      <a:lnTo>
                        <a:pt x="204" y="90"/>
                      </a:lnTo>
                      <a:lnTo>
                        <a:pt x="197" y="90"/>
                      </a:lnTo>
                      <a:lnTo>
                        <a:pt x="197" y="90"/>
                      </a:lnTo>
                      <a:lnTo>
                        <a:pt x="192" y="93"/>
                      </a:lnTo>
                      <a:lnTo>
                        <a:pt x="190" y="98"/>
                      </a:lnTo>
                      <a:lnTo>
                        <a:pt x="190" y="98"/>
                      </a:lnTo>
                      <a:lnTo>
                        <a:pt x="188" y="104"/>
                      </a:lnTo>
                      <a:lnTo>
                        <a:pt x="184" y="107"/>
                      </a:lnTo>
                      <a:lnTo>
                        <a:pt x="179" y="109"/>
                      </a:lnTo>
                      <a:lnTo>
                        <a:pt x="175" y="109"/>
                      </a:lnTo>
                      <a:lnTo>
                        <a:pt x="175" y="109"/>
                      </a:lnTo>
                      <a:lnTo>
                        <a:pt x="171" y="106"/>
                      </a:lnTo>
                      <a:lnTo>
                        <a:pt x="166" y="101"/>
                      </a:lnTo>
                      <a:lnTo>
                        <a:pt x="162" y="98"/>
                      </a:lnTo>
                      <a:lnTo>
                        <a:pt x="159" y="96"/>
                      </a:lnTo>
                      <a:lnTo>
                        <a:pt x="159" y="96"/>
                      </a:lnTo>
                      <a:lnTo>
                        <a:pt x="149" y="94"/>
                      </a:lnTo>
                      <a:lnTo>
                        <a:pt x="145" y="93"/>
                      </a:lnTo>
                      <a:lnTo>
                        <a:pt x="145" y="91"/>
                      </a:lnTo>
                      <a:lnTo>
                        <a:pt x="145" y="91"/>
                      </a:lnTo>
                      <a:lnTo>
                        <a:pt x="145" y="91"/>
                      </a:lnTo>
                      <a:lnTo>
                        <a:pt x="146" y="90"/>
                      </a:lnTo>
                      <a:lnTo>
                        <a:pt x="150" y="88"/>
                      </a:lnTo>
                      <a:lnTo>
                        <a:pt x="152" y="87"/>
                      </a:lnTo>
                      <a:lnTo>
                        <a:pt x="152" y="84"/>
                      </a:lnTo>
                      <a:lnTo>
                        <a:pt x="152" y="84"/>
                      </a:lnTo>
                      <a:lnTo>
                        <a:pt x="146" y="77"/>
                      </a:lnTo>
                      <a:lnTo>
                        <a:pt x="143" y="72"/>
                      </a:lnTo>
                      <a:lnTo>
                        <a:pt x="142" y="70"/>
                      </a:lnTo>
                      <a:lnTo>
                        <a:pt x="142" y="70"/>
                      </a:lnTo>
                      <a:lnTo>
                        <a:pt x="140" y="51"/>
                      </a:lnTo>
                      <a:lnTo>
                        <a:pt x="139" y="41"/>
                      </a:lnTo>
                      <a:lnTo>
                        <a:pt x="137" y="36"/>
                      </a:lnTo>
                      <a:lnTo>
                        <a:pt x="137" y="35"/>
                      </a:lnTo>
                      <a:lnTo>
                        <a:pt x="137" y="35"/>
                      </a:lnTo>
                      <a:lnTo>
                        <a:pt x="133" y="38"/>
                      </a:lnTo>
                      <a:lnTo>
                        <a:pt x="129" y="41"/>
                      </a:lnTo>
                      <a:lnTo>
                        <a:pt x="120" y="48"/>
                      </a:lnTo>
                      <a:lnTo>
                        <a:pt x="120" y="48"/>
                      </a:lnTo>
                      <a:lnTo>
                        <a:pt x="117" y="51"/>
                      </a:lnTo>
                      <a:lnTo>
                        <a:pt x="116" y="52"/>
                      </a:lnTo>
                      <a:lnTo>
                        <a:pt x="113" y="52"/>
                      </a:lnTo>
                      <a:lnTo>
                        <a:pt x="108" y="51"/>
                      </a:lnTo>
                      <a:lnTo>
                        <a:pt x="108" y="51"/>
                      </a:lnTo>
                      <a:lnTo>
                        <a:pt x="94" y="45"/>
                      </a:lnTo>
                      <a:lnTo>
                        <a:pt x="84" y="39"/>
                      </a:lnTo>
                      <a:lnTo>
                        <a:pt x="79" y="35"/>
                      </a:lnTo>
                      <a:lnTo>
                        <a:pt x="75" y="30"/>
                      </a:lnTo>
                      <a:lnTo>
                        <a:pt x="75" y="30"/>
                      </a:lnTo>
                      <a:lnTo>
                        <a:pt x="71" y="33"/>
                      </a:lnTo>
                      <a:lnTo>
                        <a:pt x="69" y="35"/>
                      </a:lnTo>
                      <a:lnTo>
                        <a:pt x="68" y="38"/>
                      </a:lnTo>
                      <a:lnTo>
                        <a:pt x="68" y="38"/>
                      </a:lnTo>
                      <a:lnTo>
                        <a:pt x="66" y="39"/>
                      </a:lnTo>
                      <a:lnTo>
                        <a:pt x="64" y="42"/>
                      </a:lnTo>
                      <a:lnTo>
                        <a:pt x="58" y="43"/>
                      </a:lnTo>
                      <a:lnTo>
                        <a:pt x="49" y="42"/>
                      </a:lnTo>
                      <a:lnTo>
                        <a:pt x="49" y="42"/>
                      </a:lnTo>
                      <a:lnTo>
                        <a:pt x="42" y="43"/>
                      </a:lnTo>
                      <a:lnTo>
                        <a:pt x="37" y="42"/>
                      </a:lnTo>
                      <a:lnTo>
                        <a:pt x="36" y="41"/>
                      </a:lnTo>
                      <a:lnTo>
                        <a:pt x="35" y="38"/>
                      </a:lnTo>
                      <a:lnTo>
                        <a:pt x="35" y="38"/>
                      </a:lnTo>
                      <a:lnTo>
                        <a:pt x="33" y="25"/>
                      </a:lnTo>
                      <a:lnTo>
                        <a:pt x="35" y="19"/>
                      </a:lnTo>
                      <a:lnTo>
                        <a:pt x="36" y="14"/>
                      </a:lnTo>
                      <a:lnTo>
                        <a:pt x="36" y="14"/>
                      </a:lnTo>
                      <a:lnTo>
                        <a:pt x="37" y="12"/>
                      </a:lnTo>
                      <a:lnTo>
                        <a:pt x="37" y="10"/>
                      </a:lnTo>
                      <a:lnTo>
                        <a:pt x="36" y="7"/>
                      </a:lnTo>
                      <a:lnTo>
                        <a:pt x="37" y="6"/>
                      </a:lnTo>
                      <a:lnTo>
                        <a:pt x="37" y="6"/>
                      </a:lnTo>
                      <a:lnTo>
                        <a:pt x="39" y="0"/>
                      </a:lnTo>
                      <a:lnTo>
                        <a:pt x="0" y="13"/>
                      </a:lnTo>
                      <a:lnTo>
                        <a:pt x="1" y="101"/>
                      </a:lnTo>
                      <a:lnTo>
                        <a:pt x="1" y="101"/>
                      </a:lnTo>
                      <a:lnTo>
                        <a:pt x="7" y="103"/>
                      </a:lnTo>
                      <a:lnTo>
                        <a:pt x="11" y="103"/>
                      </a:lnTo>
                      <a:lnTo>
                        <a:pt x="11" y="103"/>
                      </a:lnTo>
                      <a:lnTo>
                        <a:pt x="14" y="100"/>
                      </a:lnTo>
                      <a:lnTo>
                        <a:pt x="16" y="96"/>
                      </a:lnTo>
                      <a:lnTo>
                        <a:pt x="17" y="90"/>
                      </a:lnTo>
                      <a:lnTo>
                        <a:pt x="20" y="85"/>
                      </a:lnTo>
                      <a:lnTo>
                        <a:pt x="20" y="85"/>
                      </a:lnTo>
                      <a:lnTo>
                        <a:pt x="27" y="77"/>
                      </a:lnTo>
                      <a:lnTo>
                        <a:pt x="33" y="70"/>
                      </a:lnTo>
                      <a:lnTo>
                        <a:pt x="33" y="70"/>
                      </a:lnTo>
                      <a:lnTo>
                        <a:pt x="36" y="68"/>
                      </a:lnTo>
                      <a:lnTo>
                        <a:pt x="40" y="65"/>
                      </a:lnTo>
                      <a:lnTo>
                        <a:pt x="45" y="65"/>
                      </a:lnTo>
                      <a:lnTo>
                        <a:pt x="48" y="65"/>
                      </a:lnTo>
                      <a:lnTo>
                        <a:pt x="49" y="67"/>
                      </a:lnTo>
                      <a:lnTo>
                        <a:pt x="49" y="67"/>
                      </a:lnTo>
                      <a:lnTo>
                        <a:pt x="59" y="80"/>
                      </a:lnTo>
                      <a:lnTo>
                        <a:pt x="66" y="88"/>
                      </a:lnTo>
                      <a:lnTo>
                        <a:pt x="72" y="96"/>
                      </a:lnTo>
                      <a:lnTo>
                        <a:pt x="72" y="96"/>
                      </a:lnTo>
                      <a:lnTo>
                        <a:pt x="81" y="103"/>
                      </a:lnTo>
                      <a:lnTo>
                        <a:pt x="85" y="107"/>
                      </a:lnTo>
                      <a:lnTo>
                        <a:pt x="90" y="112"/>
                      </a:lnTo>
                      <a:lnTo>
                        <a:pt x="90" y="112"/>
                      </a:lnTo>
                      <a:lnTo>
                        <a:pt x="94" y="120"/>
                      </a:lnTo>
                      <a:lnTo>
                        <a:pt x="98" y="127"/>
                      </a:lnTo>
                      <a:lnTo>
                        <a:pt x="101" y="133"/>
                      </a:lnTo>
                      <a:lnTo>
                        <a:pt x="104" y="138"/>
                      </a:lnTo>
                      <a:lnTo>
                        <a:pt x="104" y="138"/>
                      </a:lnTo>
                      <a:lnTo>
                        <a:pt x="114" y="141"/>
                      </a:lnTo>
                      <a:lnTo>
                        <a:pt x="124" y="145"/>
                      </a:lnTo>
                      <a:lnTo>
                        <a:pt x="124" y="145"/>
                      </a:lnTo>
                      <a:lnTo>
                        <a:pt x="143" y="154"/>
                      </a:lnTo>
                      <a:lnTo>
                        <a:pt x="152" y="159"/>
                      </a:lnTo>
                      <a:lnTo>
                        <a:pt x="158" y="164"/>
                      </a:lnTo>
                      <a:lnTo>
                        <a:pt x="158" y="164"/>
                      </a:lnTo>
                      <a:lnTo>
                        <a:pt x="161" y="169"/>
                      </a:lnTo>
                      <a:lnTo>
                        <a:pt x="162" y="172"/>
                      </a:lnTo>
                      <a:lnTo>
                        <a:pt x="162" y="175"/>
                      </a:lnTo>
                      <a:lnTo>
                        <a:pt x="162" y="175"/>
                      </a:lnTo>
                      <a:lnTo>
                        <a:pt x="175" y="174"/>
                      </a:lnTo>
                      <a:lnTo>
                        <a:pt x="175" y="174"/>
                      </a:lnTo>
                      <a:lnTo>
                        <a:pt x="177" y="149"/>
                      </a:lnTo>
                      <a:lnTo>
                        <a:pt x="177" y="139"/>
                      </a:lnTo>
                      <a:lnTo>
                        <a:pt x="178" y="135"/>
                      </a:lnTo>
                      <a:lnTo>
                        <a:pt x="178" y="135"/>
                      </a:lnTo>
                      <a:lnTo>
                        <a:pt x="181" y="132"/>
                      </a:lnTo>
                      <a:lnTo>
                        <a:pt x="187" y="132"/>
                      </a:lnTo>
                      <a:lnTo>
                        <a:pt x="194" y="130"/>
                      </a:lnTo>
                      <a:lnTo>
                        <a:pt x="198" y="12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53" name="Freeform 806"/>
                <p:cNvSpPr>
                  <a:spLocks/>
                </p:cNvSpPr>
                <p:nvPr/>
              </p:nvSpPr>
              <p:spPr bwMode="auto">
                <a:xfrm>
                  <a:off x="5305041" y="2513859"/>
                  <a:ext cx="265122" cy="173120"/>
                </a:xfrm>
                <a:custGeom>
                  <a:avLst/>
                  <a:gdLst>
                    <a:gd name="T0" fmla="*/ 203 w 268"/>
                    <a:gd name="T1" fmla="*/ 122 h 175"/>
                    <a:gd name="T2" fmla="*/ 216 w 268"/>
                    <a:gd name="T3" fmla="*/ 106 h 175"/>
                    <a:gd name="T4" fmla="*/ 233 w 268"/>
                    <a:gd name="T5" fmla="*/ 100 h 175"/>
                    <a:gd name="T6" fmla="*/ 236 w 268"/>
                    <a:gd name="T7" fmla="*/ 101 h 175"/>
                    <a:gd name="T8" fmla="*/ 232 w 268"/>
                    <a:gd name="T9" fmla="*/ 117 h 175"/>
                    <a:gd name="T10" fmla="*/ 233 w 268"/>
                    <a:gd name="T11" fmla="*/ 119 h 175"/>
                    <a:gd name="T12" fmla="*/ 255 w 268"/>
                    <a:gd name="T13" fmla="*/ 123 h 175"/>
                    <a:gd name="T14" fmla="*/ 268 w 268"/>
                    <a:gd name="T15" fmla="*/ 117 h 175"/>
                    <a:gd name="T16" fmla="*/ 268 w 268"/>
                    <a:gd name="T17" fmla="*/ 113 h 175"/>
                    <a:gd name="T18" fmla="*/ 253 w 268"/>
                    <a:gd name="T19" fmla="*/ 96 h 175"/>
                    <a:gd name="T20" fmla="*/ 242 w 268"/>
                    <a:gd name="T21" fmla="*/ 93 h 175"/>
                    <a:gd name="T22" fmla="*/ 236 w 268"/>
                    <a:gd name="T23" fmla="*/ 90 h 175"/>
                    <a:gd name="T24" fmla="*/ 234 w 268"/>
                    <a:gd name="T25" fmla="*/ 85 h 175"/>
                    <a:gd name="T26" fmla="*/ 214 w 268"/>
                    <a:gd name="T27" fmla="*/ 90 h 175"/>
                    <a:gd name="T28" fmla="*/ 197 w 268"/>
                    <a:gd name="T29" fmla="*/ 90 h 175"/>
                    <a:gd name="T30" fmla="*/ 190 w 268"/>
                    <a:gd name="T31" fmla="*/ 98 h 175"/>
                    <a:gd name="T32" fmla="*/ 184 w 268"/>
                    <a:gd name="T33" fmla="*/ 107 h 175"/>
                    <a:gd name="T34" fmla="*/ 175 w 268"/>
                    <a:gd name="T35" fmla="*/ 109 h 175"/>
                    <a:gd name="T36" fmla="*/ 162 w 268"/>
                    <a:gd name="T37" fmla="*/ 98 h 175"/>
                    <a:gd name="T38" fmla="*/ 149 w 268"/>
                    <a:gd name="T39" fmla="*/ 94 h 175"/>
                    <a:gd name="T40" fmla="*/ 145 w 268"/>
                    <a:gd name="T41" fmla="*/ 91 h 175"/>
                    <a:gd name="T42" fmla="*/ 150 w 268"/>
                    <a:gd name="T43" fmla="*/ 88 h 175"/>
                    <a:gd name="T44" fmla="*/ 152 w 268"/>
                    <a:gd name="T45" fmla="*/ 84 h 175"/>
                    <a:gd name="T46" fmla="*/ 142 w 268"/>
                    <a:gd name="T47" fmla="*/ 70 h 175"/>
                    <a:gd name="T48" fmla="*/ 139 w 268"/>
                    <a:gd name="T49" fmla="*/ 41 h 175"/>
                    <a:gd name="T50" fmla="*/ 137 w 268"/>
                    <a:gd name="T51" fmla="*/ 35 h 175"/>
                    <a:gd name="T52" fmla="*/ 120 w 268"/>
                    <a:gd name="T53" fmla="*/ 48 h 175"/>
                    <a:gd name="T54" fmla="*/ 116 w 268"/>
                    <a:gd name="T55" fmla="*/ 52 h 175"/>
                    <a:gd name="T56" fmla="*/ 108 w 268"/>
                    <a:gd name="T57" fmla="*/ 51 h 175"/>
                    <a:gd name="T58" fmla="*/ 79 w 268"/>
                    <a:gd name="T59" fmla="*/ 35 h 175"/>
                    <a:gd name="T60" fmla="*/ 71 w 268"/>
                    <a:gd name="T61" fmla="*/ 33 h 175"/>
                    <a:gd name="T62" fmla="*/ 68 w 268"/>
                    <a:gd name="T63" fmla="*/ 38 h 175"/>
                    <a:gd name="T64" fmla="*/ 58 w 268"/>
                    <a:gd name="T65" fmla="*/ 43 h 175"/>
                    <a:gd name="T66" fmla="*/ 42 w 268"/>
                    <a:gd name="T67" fmla="*/ 43 h 175"/>
                    <a:gd name="T68" fmla="*/ 35 w 268"/>
                    <a:gd name="T69" fmla="*/ 38 h 175"/>
                    <a:gd name="T70" fmla="*/ 35 w 268"/>
                    <a:gd name="T71" fmla="*/ 19 h 175"/>
                    <a:gd name="T72" fmla="*/ 37 w 268"/>
                    <a:gd name="T73" fmla="*/ 12 h 175"/>
                    <a:gd name="T74" fmla="*/ 37 w 268"/>
                    <a:gd name="T75" fmla="*/ 6 h 175"/>
                    <a:gd name="T76" fmla="*/ 0 w 268"/>
                    <a:gd name="T77" fmla="*/ 13 h 175"/>
                    <a:gd name="T78" fmla="*/ 7 w 268"/>
                    <a:gd name="T79" fmla="*/ 103 h 175"/>
                    <a:gd name="T80" fmla="*/ 14 w 268"/>
                    <a:gd name="T81" fmla="*/ 100 h 175"/>
                    <a:gd name="T82" fmla="*/ 20 w 268"/>
                    <a:gd name="T83" fmla="*/ 85 h 175"/>
                    <a:gd name="T84" fmla="*/ 33 w 268"/>
                    <a:gd name="T85" fmla="*/ 70 h 175"/>
                    <a:gd name="T86" fmla="*/ 40 w 268"/>
                    <a:gd name="T87" fmla="*/ 65 h 175"/>
                    <a:gd name="T88" fmla="*/ 49 w 268"/>
                    <a:gd name="T89" fmla="*/ 67 h 175"/>
                    <a:gd name="T90" fmla="*/ 66 w 268"/>
                    <a:gd name="T91" fmla="*/ 88 h 175"/>
                    <a:gd name="T92" fmla="*/ 81 w 268"/>
                    <a:gd name="T93" fmla="*/ 103 h 175"/>
                    <a:gd name="T94" fmla="*/ 90 w 268"/>
                    <a:gd name="T95" fmla="*/ 112 h 175"/>
                    <a:gd name="T96" fmla="*/ 101 w 268"/>
                    <a:gd name="T97" fmla="*/ 133 h 175"/>
                    <a:gd name="T98" fmla="*/ 114 w 268"/>
                    <a:gd name="T99" fmla="*/ 141 h 175"/>
                    <a:gd name="T100" fmla="*/ 143 w 268"/>
                    <a:gd name="T101" fmla="*/ 154 h 175"/>
                    <a:gd name="T102" fmla="*/ 158 w 268"/>
                    <a:gd name="T103" fmla="*/ 164 h 175"/>
                    <a:gd name="T104" fmla="*/ 162 w 268"/>
                    <a:gd name="T105" fmla="*/ 175 h 175"/>
                    <a:gd name="T106" fmla="*/ 175 w 268"/>
                    <a:gd name="T107" fmla="*/ 174 h 175"/>
                    <a:gd name="T108" fmla="*/ 178 w 268"/>
                    <a:gd name="T109" fmla="*/ 135 h 175"/>
                    <a:gd name="T110" fmla="*/ 187 w 268"/>
                    <a:gd name="T111" fmla="*/ 132 h 1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68" h="175">
                      <a:moveTo>
                        <a:pt x="198" y="127"/>
                      </a:moveTo>
                      <a:lnTo>
                        <a:pt x="198" y="127"/>
                      </a:lnTo>
                      <a:lnTo>
                        <a:pt x="203" y="122"/>
                      </a:lnTo>
                      <a:lnTo>
                        <a:pt x="207" y="116"/>
                      </a:lnTo>
                      <a:lnTo>
                        <a:pt x="211" y="110"/>
                      </a:lnTo>
                      <a:lnTo>
                        <a:pt x="216" y="106"/>
                      </a:lnTo>
                      <a:lnTo>
                        <a:pt x="216" y="106"/>
                      </a:lnTo>
                      <a:lnTo>
                        <a:pt x="227" y="101"/>
                      </a:lnTo>
                      <a:lnTo>
                        <a:pt x="233" y="100"/>
                      </a:lnTo>
                      <a:lnTo>
                        <a:pt x="236" y="100"/>
                      </a:lnTo>
                      <a:lnTo>
                        <a:pt x="236" y="101"/>
                      </a:lnTo>
                      <a:lnTo>
                        <a:pt x="236" y="101"/>
                      </a:lnTo>
                      <a:lnTo>
                        <a:pt x="236" y="106"/>
                      </a:lnTo>
                      <a:lnTo>
                        <a:pt x="233" y="112"/>
                      </a:lnTo>
                      <a:lnTo>
                        <a:pt x="232" y="117"/>
                      </a:lnTo>
                      <a:lnTo>
                        <a:pt x="232" y="119"/>
                      </a:lnTo>
                      <a:lnTo>
                        <a:pt x="233" y="119"/>
                      </a:lnTo>
                      <a:lnTo>
                        <a:pt x="233" y="119"/>
                      </a:lnTo>
                      <a:lnTo>
                        <a:pt x="245" y="120"/>
                      </a:lnTo>
                      <a:lnTo>
                        <a:pt x="255" y="123"/>
                      </a:lnTo>
                      <a:lnTo>
                        <a:pt x="255" y="123"/>
                      </a:lnTo>
                      <a:lnTo>
                        <a:pt x="259" y="122"/>
                      </a:lnTo>
                      <a:lnTo>
                        <a:pt x="263" y="120"/>
                      </a:lnTo>
                      <a:lnTo>
                        <a:pt x="268" y="117"/>
                      </a:lnTo>
                      <a:lnTo>
                        <a:pt x="268" y="116"/>
                      </a:lnTo>
                      <a:lnTo>
                        <a:pt x="268" y="113"/>
                      </a:lnTo>
                      <a:lnTo>
                        <a:pt x="268" y="113"/>
                      </a:lnTo>
                      <a:lnTo>
                        <a:pt x="263" y="103"/>
                      </a:lnTo>
                      <a:lnTo>
                        <a:pt x="259" y="98"/>
                      </a:lnTo>
                      <a:lnTo>
                        <a:pt x="253" y="96"/>
                      </a:lnTo>
                      <a:lnTo>
                        <a:pt x="253" y="96"/>
                      </a:lnTo>
                      <a:lnTo>
                        <a:pt x="246" y="93"/>
                      </a:lnTo>
                      <a:lnTo>
                        <a:pt x="242" y="93"/>
                      </a:lnTo>
                      <a:lnTo>
                        <a:pt x="237" y="91"/>
                      </a:lnTo>
                      <a:lnTo>
                        <a:pt x="236" y="90"/>
                      </a:lnTo>
                      <a:lnTo>
                        <a:pt x="236" y="90"/>
                      </a:lnTo>
                      <a:lnTo>
                        <a:pt x="234" y="84"/>
                      </a:lnTo>
                      <a:lnTo>
                        <a:pt x="234" y="84"/>
                      </a:lnTo>
                      <a:lnTo>
                        <a:pt x="234" y="85"/>
                      </a:lnTo>
                      <a:lnTo>
                        <a:pt x="234" y="85"/>
                      </a:lnTo>
                      <a:lnTo>
                        <a:pt x="224" y="88"/>
                      </a:lnTo>
                      <a:lnTo>
                        <a:pt x="214" y="90"/>
                      </a:lnTo>
                      <a:lnTo>
                        <a:pt x="214" y="90"/>
                      </a:lnTo>
                      <a:lnTo>
                        <a:pt x="204" y="90"/>
                      </a:lnTo>
                      <a:lnTo>
                        <a:pt x="197" y="90"/>
                      </a:lnTo>
                      <a:lnTo>
                        <a:pt x="197" y="90"/>
                      </a:lnTo>
                      <a:lnTo>
                        <a:pt x="192" y="93"/>
                      </a:lnTo>
                      <a:lnTo>
                        <a:pt x="190" y="98"/>
                      </a:lnTo>
                      <a:lnTo>
                        <a:pt x="190" y="98"/>
                      </a:lnTo>
                      <a:lnTo>
                        <a:pt x="188" y="104"/>
                      </a:lnTo>
                      <a:lnTo>
                        <a:pt x="184" y="107"/>
                      </a:lnTo>
                      <a:lnTo>
                        <a:pt x="179" y="109"/>
                      </a:lnTo>
                      <a:lnTo>
                        <a:pt x="175" y="109"/>
                      </a:lnTo>
                      <a:lnTo>
                        <a:pt x="175" y="109"/>
                      </a:lnTo>
                      <a:lnTo>
                        <a:pt x="171" y="106"/>
                      </a:lnTo>
                      <a:lnTo>
                        <a:pt x="166" y="101"/>
                      </a:lnTo>
                      <a:lnTo>
                        <a:pt x="162" y="98"/>
                      </a:lnTo>
                      <a:lnTo>
                        <a:pt x="159" y="96"/>
                      </a:lnTo>
                      <a:lnTo>
                        <a:pt x="159" y="96"/>
                      </a:lnTo>
                      <a:lnTo>
                        <a:pt x="149" y="94"/>
                      </a:lnTo>
                      <a:lnTo>
                        <a:pt x="145" y="93"/>
                      </a:lnTo>
                      <a:lnTo>
                        <a:pt x="145" y="91"/>
                      </a:lnTo>
                      <a:lnTo>
                        <a:pt x="145" y="91"/>
                      </a:lnTo>
                      <a:lnTo>
                        <a:pt x="145" y="91"/>
                      </a:lnTo>
                      <a:lnTo>
                        <a:pt x="146" y="90"/>
                      </a:lnTo>
                      <a:lnTo>
                        <a:pt x="150" y="88"/>
                      </a:lnTo>
                      <a:lnTo>
                        <a:pt x="152" y="87"/>
                      </a:lnTo>
                      <a:lnTo>
                        <a:pt x="152" y="84"/>
                      </a:lnTo>
                      <a:lnTo>
                        <a:pt x="152" y="84"/>
                      </a:lnTo>
                      <a:lnTo>
                        <a:pt x="146" y="77"/>
                      </a:lnTo>
                      <a:lnTo>
                        <a:pt x="143" y="72"/>
                      </a:lnTo>
                      <a:lnTo>
                        <a:pt x="142" y="70"/>
                      </a:lnTo>
                      <a:lnTo>
                        <a:pt x="142" y="70"/>
                      </a:lnTo>
                      <a:lnTo>
                        <a:pt x="140" y="51"/>
                      </a:lnTo>
                      <a:lnTo>
                        <a:pt x="139" y="41"/>
                      </a:lnTo>
                      <a:lnTo>
                        <a:pt x="137" y="36"/>
                      </a:lnTo>
                      <a:lnTo>
                        <a:pt x="137" y="35"/>
                      </a:lnTo>
                      <a:lnTo>
                        <a:pt x="137" y="35"/>
                      </a:lnTo>
                      <a:lnTo>
                        <a:pt x="133" y="38"/>
                      </a:lnTo>
                      <a:lnTo>
                        <a:pt x="129" y="41"/>
                      </a:lnTo>
                      <a:lnTo>
                        <a:pt x="120" y="48"/>
                      </a:lnTo>
                      <a:lnTo>
                        <a:pt x="120" y="48"/>
                      </a:lnTo>
                      <a:lnTo>
                        <a:pt x="117" y="51"/>
                      </a:lnTo>
                      <a:lnTo>
                        <a:pt x="116" y="52"/>
                      </a:lnTo>
                      <a:lnTo>
                        <a:pt x="113" y="52"/>
                      </a:lnTo>
                      <a:lnTo>
                        <a:pt x="108" y="51"/>
                      </a:lnTo>
                      <a:lnTo>
                        <a:pt x="108" y="51"/>
                      </a:lnTo>
                      <a:lnTo>
                        <a:pt x="94" y="45"/>
                      </a:lnTo>
                      <a:lnTo>
                        <a:pt x="84" y="39"/>
                      </a:lnTo>
                      <a:lnTo>
                        <a:pt x="79" y="35"/>
                      </a:lnTo>
                      <a:lnTo>
                        <a:pt x="75" y="30"/>
                      </a:lnTo>
                      <a:lnTo>
                        <a:pt x="75" y="30"/>
                      </a:lnTo>
                      <a:lnTo>
                        <a:pt x="71" y="33"/>
                      </a:lnTo>
                      <a:lnTo>
                        <a:pt x="69" y="35"/>
                      </a:lnTo>
                      <a:lnTo>
                        <a:pt x="68" y="38"/>
                      </a:lnTo>
                      <a:lnTo>
                        <a:pt x="68" y="38"/>
                      </a:lnTo>
                      <a:lnTo>
                        <a:pt x="66" y="39"/>
                      </a:lnTo>
                      <a:lnTo>
                        <a:pt x="64" y="42"/>
                      </a:lnTo>
                      <a:lnTo>
                        <a:pt x="58" y="43"/>
                      </a:lnTo>
                      <a:lnTo>
                        <a:pt x="49" y="42"/>
                      </a:lnTo>
                      <a:lnTo>
                        <a:pt x="49" y="42"/>
                      </a:lnTo>
                      <a:lnTo>
                        <a:pt x="42" y="43"/>
                      </a:lnTo>
                      <a:lnTo>
                        <a:pt x="37" y="42"/>
                      </a:lnTo>
                      <a:lnTo>
                        <a:pt x="36" y="41"/>
                      </a:lnTo>
                      <a:lnTo>
                        <a:pt x="35" y="38"/>
                      </a:lnTo>
                      <a:lnTo>
                        <a:pt x="35" y="38"/>
                      </a:lnTo>
                      <a:lnTo>
                        <a:pt x="33" y="25"/>
                      </a:lnTo>
                      <a:lnTo>
                        <a:pt x="35" y="19"/>
                      </a:lnTo>
                      <a:lnTo>
                        <a:pt x="36" y="14"/>
                      </a:lnTo>
                      <a:lnTo>
                        <a:pt x="36" y="14"/>
                      </a:lnTo>
                      <a:lnTo>
                        <a:pt x="37" y="12"/>
                      </a:lnTo>
                      <a:lnTo>
                        <a:pt x="37" y="10"/>
                      </a:lnTo>
                      <a:lnTo>
                        <a:pt x="36" y="7"/>
                      </a:lnTo>
                      <a:lnTo>
                        <a:pt x="37" y="6"/>
                      </a:lnTo>
                      <a:lnTo>
                        <a:pt x="37" y="6"/>
                      </a:lnTo>
                      <a:lnTo>
                        <a:pt x="39" y="0"/>
                      </a:lnTo>
                      <a:lnTo>
                        <a:pt x="0" y="13"/>
                      </a:lnTo>
                      <a:lnTo>
                        <a:pt x="1" y="101"/>
                      </a:lnTo>
                      <a:lnTo>
                        <a:pt x="1" y="101"/>
                      </a:lnTo>
                      <a:lnTo>
                        <a:pt x="7" y="103"/>
                      </a:lnTo>
                      <a:lnTo>
                        <a:pt x="11" y="103"/>
                      </a:lnTo>
                      <a:lnTo>
                        <a:pt x="11" y="103"/>
                      </a:lnTo>
                      <a:lnTo>
                        <a:pt x="14" y="100"/>
                      </a:lnTo>
                      <a:lnTo>
                        <a:pt x="16" y="96"/>
                      </a:lnTo>
                      <a:lnTo>
                        <a:pt x="17" y="90"/>
                      </a:lnTo>
                      <a:lnTo>
                        <a:pt x="20" y="85"/>
                      </a:lnTo>
                      <a:lnTo>
                        <a:pt x="20" y="85"/>
                      </a:lnTo>
                      <a:lnTo>
                        <a:pt x="27" y="77"/>
                      </a:lnTo>
                      <a:lnTo>
                        <a:pt x="33" y="70"/>
                      </a:lnTo>
                      <a:lnTo>
                        <a:pt x="33" y="70"/>
                      </a:lnTo>
                      <a:lnTo>
                        <a:pt x="36" y="68"/>
                      </a:lnTo>
                      <a:lnTo>
                        <a:pt x="40" y="65"/>
                      </a:lnTo>
                      <a:lnTo>
                        <a:pt x="45" y="65"/>
                      </a:lnTo>
                      <a:lnTo>
                        <a:pt x="48" y="65"/>
                      </a:lnTo>
                      <a:lnTo>
                        <a:pt x="49" y="67"/>
                      </a:lnTo>
                      <a:lnTo>
                        <a:pt x="49" y="67"/>
                      </a:lnTo>
                      <a:lnTo>
                        <a:pt x="59" y="80"/>
                      </a:lnTo>
                      <a:lnTo>
                        <a:pt x="66" y="88"/>
                      </a:lnTo>
                      <a:lnTo>
                        <a:pt x="72" y="96"/>
                      </a:lnTo>
                      <a:lnTo>
                        <a:pt x="72" y="96"/>
                      </a:lnTo>
                      <a:lnTo>
                        <a:pt x="81" y="103"/>
                      </a:lnTo>
                      <a:lnTo>
                        <a:pt x="85" y="107"/>
                      </a:lnTo>
                      <a:lnTo>
                        <a:pt x="90" y="112"/>
                      </a:lnTo>
                      <a:lnTo>
                        <a:pt x="90" y="112"/>
                      </a:lnTo>
                      <a:lnTo>
                        <a:pt x="94" y="120"/>
                      </a:lnTo>
                      <a:lnTo>
                        <a:pt x="98" y="127"/>
                      </a:lnTo>
                      <a:lnTo>
                        <a:pt x="101" y="133"/>
                      </a:lnTo>
                      <a:lnTo>
                        <a:pt x="104" y="138"/>
                      </a:lnTo>
                      <a:lnTo>
                        <a:pt x="104" y="138"/>
                      </a:lnTo>
                      <a:lnTo>
                        <a:pt x="114" y="141"/>
                      </a:lnTo>
                      <a:lnTo>
                        <a:pt x="124" y="145"/>
                      </a:lnTo>
                      <a:lnTo>
                        <a:pt x="124" y="145"/>
                      </a:lnTo>
                      <a:lnTo>
                        <a:pt x="143" y="154"/>
                      </a:lnTo>
                      <a:lnTo>
                        <a:pt x="152" y="159"/>
                      </a:lnTo>
                      <a:lnTo>
                        <a:pt x="158" y="164"/>
                      </a:lnTo>
                      <a:lnTo>
                        <a:pt x="158" y="164"/>
                      </a:lnTo>
                      <a:lnTo>
                        <a:pt x="161" y="169"/>
                      </a:lnTo>
                      <a:lnTo>
                        <a:pt x="162" y="172"/>
                      </a:lnTo>
                      <a:lnTo>
                        <a:pt x="162" y="175"/>
                      </a:lnTo>
                      <a:lnTo>
                        <a:pt x="162" y="175"/>
                      </a:lnTo>
                      <a:lnTo>
                        <a:pt x="175" y="174"/>
                      </a:lnTo>
                      <a:lnTo>
                        <a:pt x="175" y="174"/>
                      </a:lnTo>
                      <a:lnTo>
                        <a:pt x="177" y="149"/>
                      </a:lnTo>
                      <a:lnTo>
                        <a:pt x="177" y="139"/>
                      </a:lnTo>
                      <a:lnTo>
                        <a:pt x="178" y="135"/>
                      </a:lnTo>
                      <a:lnTo>
                        <a:pt x="178" y="135"/>
                      </a:lnTo>
                      <a:lnTo>
                        <a:pt x="181" y="132"/>
                      </a:lnTo>
                      <a:lnTo>
                        <a:pt x="187" y="132"/>
                      </a:lnTo>
                      <a:lnTo>
                        <a:pt x="194" y="130"/>
                      </a:lnTo>
                      <a:lnTo>
                        <a:pt x="198" y="12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54" name="Freeform 807"/>
                <p:cNvSpPr>
                  <a:spLocks/>
                </p:cNvSpPr>
                <p:nvPr/>
              </p:nvSpPr>
              <p:spPr bwMode="auto">
                <a:xfrm>
                  <a:off x="5478161" y="2612785"/>
                  <a:ext cx="128604" cy="83098"/>
                </a:xfrm>
                <a:custGeom>
                  <a:avLst/>
                  <a:gdLst>
                    <a:gd name="T0" fmla="*/ 77 w 130"/>
                    <a:gd name="T1" fmla="*/ 38 h 84"/>
                    <a:gd name="T2" fmla="*/ 81 w 130"/>
                    <a:gd name="T3" fmla="*/ 23 h 84"/>
                    <a:gd name="T4" fmla="*/ 80 w 130"/>
                    <a:gd name="T5" fmla="*/ 23 h 84"/>
                    <a:gd name="T6" fmla="*/ 70 w 130"/>
                    <a:gd name="T7" fmla="*/ 20 h 84"/>
                    <a:gd name="T8" fmla="*/ 58 w 130"/>
                    <a:gd name="T9" fmla="*/ 19 h 84"/>
                    <a:gd name="T10" fmla="*/ 57 w 130"/>
                    <a:gd name="T11" fmla="*/ 17 h 84"/>
                    <a:gd name="T12" fmla="*/ 61 w 130"/>
                    <a:gd name="T13" fmla="*/ 6 h 84"/>
                    <a:gd name="T14" fmla="*/ 61 w 130"/>
                    <a:gd name="T15" fmla="*/ 1 h 84"/>
                    <a:gd name="T16" fmla="*/ 58 w 130"/>
                    <a:gd name="T17" fmla="*/ 0 h 84"/>
                    <a:gd name="T18" fmla="*/ 41 w 130"/>
                    <a:gd name="T19" fmla="*/ 6 h 84"/>
                    <a:gd name="T20" fmla="*/ 36 w 130"/>
                    <a:gd name="T21" fmla="*/ 10 h 84"/>
                    <a:gd name="T22" fmla="*/ 28 w 130"/>
                    <a:gd name="T23" fmla="*/ 22 h 84"/>
                    <a:gd name="T24" fmla="*/ 23 w 130"/>
                    <a:gd name="T25" fmla="*/ 27 h 84"/>
                    <a:gd name="T26" fmla="*/ 12 w 130"/>
                    <a:gd name="T27" fmla="*/ 32 h 84"/>
                    <a:gd name="T28" fmla="*/ 3 w 130"/>
                    <a:gd name="T29" fmla="*/ 35 h 84"/>
                    <a:gd name="T30" fmla="*/ 2 w 130"/>
                    <a:gd name="T31" fmla="*/ 39 h 84"/>
                    <a:gd name="T32" fmla="*/ 0 w 130"/>
                    <a:gd name="T33" fmla="*/ 74 h 84"/>
                    <a:gd name="T34" fmla="*/ 3 w 130"/>
                    <a:gd name="T35" fmla="*/ 74 h 84"/>
                    <a:gd name="T36" fmla="*/ 6 w 130"/>
                    <a:gd name="T37" fmla="*/ 74 h 84"/>
                    <a:gd name="T38" fmla="*/ 13 w 130"/>
                    <a:gd name="T39" fmla="*/ 78 h 84"/>
                    <a:gd name="T40" fmla="*/ 17 w 130"/>
                    <a:gd name="T41" fmla="*/ 80 h 84"/>
                    <a:gd name="T42" fmla="*/ 23 w 130"/>
                    <a:gd name="T43" fmla="*/ 80 h 84"/>
                    <a:gd name="T44" fmla="*/ 29 w 130"/>
                    <a:gd name="T45" fmla="*/ 77 h 84"/>
                    <a:gd name="T46" fmla="*/ 39 w 130"/>
                    <a:gd name="T47" fmla="*/ 75 h 84"/>
                    <a:gd name="T48" fmla="*/ 48 w 130"/>
                    <a:gd name="T49" fmla="*/ 74 h 84"/>
                    <a:gd name="T50" fmla="*/ 51 w 130"/>
                    <a:gd name="T51" fmla="*/ 71 h 84"/>
                    <a:gd name="T52" fmla="*/ 52 w 130"/>
                    <a:gd name="T53" fmla="*/ 65 h 84"/>
                    <a:gd name="T54" fmla="*/ 59 w 130"/>
                    <a:gd name="T55" fmla="*/ 59 h 84"/>
                    <a:gd name="T56" fmla="*/ 70 w 130"/>
                    <a:gd name="T57" fmla="*/ 56 h 84"/>
                    <a:gd name="T58" fmla="*/ 71 w 130"/>
                    <a:gd name="T59" fmla="*/ 58 h 84"/>
                    <a:gd name="T60" fmla="*/ 72 w 130"/>
                    <a:gd name="T61" fmla="*/ 68 h 84"/>
                    <a:gd name="T62" fmla="*/ 72 w 130"/>
                    <a:gd name="T63" fmla="*/ 81 h 84"/>
                    <a:gd name="T64" fmla="*/ 75 w 130"/>
                    <a:gd name="T65" fmla="*/ 84 h 84"/>
                    <a:gd name="T66" fmla="*/ 84 w 130"/>
                    <a:gd name="T67" fmla="*/ 84 h 84"/>
                    <a:gd name="T68" fmla="*/ 103 w 130"/>
                    <a:gd name="T69" fmla="*/ 80 h 84"/>
                    <a:gd name="T70" fmla="*/ 120 w 130"/>
                    <a:gd name="T71" fmla="*/ 78 h 84"/>
                    <a:gd name="T72" fmla="*/ 120 w 130"/>
                    <a:gd name="T73" fmla="*/ 78 h 84"/>
                    <a:gd name="T74" fmla="*/ 123 w 130"/>
                    <a:gd name="T75" fmla="*/ 75 h 84"/>
                    <a:gd name="T76" fmla="*/ 128 w 130"/>
                    <a:gd name="T77" fmla="*/ 74 h 84"/>
                    <a:gd name="T78" fmla="*/ 129 w 130"/>
                    <a:gd name="T79" fmla="*/ 69 h 84"/>
                    <a:gd name="T80" fmla="*/ 130 w 130"/>
                    <a:gd name="T81" fmla="*/ 61 h 84"/>
                    <a:gd name="T82" fmla="*/ 129 w 130"/>
                    <a:gd name="T83" fmla="*/ 56 h 84"/>
                    <a:gd name="T84" fmla="*/ 123 w 130"/>
                    <a:gd name="T85" fmla="*/ 48 h 84"/>
                    <a:gd name="T86" fmla="*/ 113 w 130"/>
                    <a:gd name="T87" fmla="*/ 42 h 84"/>
                    <a:gd name="T88" fmla="*/ 110 w 130"/>
                    <a:gd name="T89" fmla="*/ 39 h 84"/>
                    <a:gd name="T90" fmla="*/ 109 w 130"/>
                    <a:gd name="T91" fmla="*/ 36 h 84"/>
                    <a:gd name="T92" fmla="*/ 80 w 130"/>
                    <a:gd name="T93" fmla="*/ 41 h 84"/>
                    <a:gd name="T94" fmla="*/ 77 w 130"/>
                    <a:gd name="T95" fmla="*/ 38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30" h="84">
                      <a:moveTo>
                        <a:pt x="77" y="38"/>
                      </a:moveTo>
                      <a:lnTo>
                        <a:pt x="77" y="38"/>
                      </a:lnTo>
                      <a:lnTo>
                        <a:pt x="78" y="30"/>
                      </a:lnTo>
                      <a:lnTo>
                        <a:pt x="81" y="23"/>
                      </a:lnTo>
                      <a:lnTo>
                        <a:pt x="81" y="23"/>
                      </a:lnTo>
                      <a:lnTo>
                        <a:pt x="80" y="23"/>
                      </a:lnTo>
                      <a:lnTo>
                        <a:pt x="80" y="23"/>
                      </a:lnTo>
                      <a:lnTo>
                        <a:pt x="70" y="20"/>
                      </a:lnTo>
                      <a:lnTo>
                        <a:pt x="58" y="19"/>
                      </a:lnTo>
                      <a:lnTo>
                        <a:pt x="58" y="19"/>
                      </a:lnTo>
                      <a:lnTo>
                        <a:pt x="57" y="19"/>
                      </a:lnTo>
                      <a:lnTo>
                        <a:pt x="57" y="17"/>
                      </a:lnTo>
                      <a:lnTo>
                        <a:pt x="58" y="12"/>
                      </a:lnTo>
                      <a:lnTo>
                        <a:pt x="61" y="6"/>
                      </a:lnTo>
                      <a:lnTo>
                        <a:pt x="61" y="1"/>
                      </a:lnTo>
                      <a:lnTo>
                        <a:pt x="61" y="1"/>
                      </a:lnTo>
                      <a:lnTo>
                        <a:pt x="61" y="0"/>
                      </a:lnTo>
                      <a:lnTo>
                        <a:pt x="58" y="0"/>
                      </a:lnTo>
                      <a:lnTo>
                        <a:pt x="52" y="1"/>
                      </a:lnTo>
                      <a:lnTo>
                        <a:pt x="41" y="6"/>
                      </a:lnTo>
                      <a:lnTo>
                        <a:pt x="41" y="6"/>
                      </a:lnTo>
                      <a:lnTo>
                        <a:pt x="36" y="10"/>
                      </a:lnTo>
                      <a:lnTo>
                        <a:pt x="32" y="16"/>
                      </a:lnTo>
                      <a:lnTo>
                        <a:pt x="28" y="22"/>
                      </a:lnTo>
                      <a:lnTo>
                        <a:pt x="23" y="27"/>
                      </a:lnTo>
                      <a:lnTo>
                        <a:pt x="23" y="27"/>
                      </a:lnTo>
                      <a:lnTo>
                        <a:pt x="19" y="30"/>
                      </a:lnTo>
                      <a:lnTo>
                        <a:pt x="12" y="32"/>
                      </a:lnTo>
                      <a:lnTo>
                        <a:pt x="6" y="32"/>
                      </a:lnTo>
                      <a:lnTo>
                        <a:pt x="3" y="35"/>
                      </a:lnTo>
                      <a:lnTo>
                        <a:pt x="3" y="35"/>
                      </a:lnTo>
                      <a:lnTo>
                        <a:pt x="2" y="39"/>
                      </a:lnTo>
                      <a:lnTo>
                        <a:pt x="0" y="49"/>
                      </a:lnTo>
                      <a:lnTo>
                        <a:pt x="0" y="74"/>
                      </a:lnTo>
                      <a:lnTo>
                        <a:pt x="0" y="74"/>
                      </a:lnTo>
                      <a:lnTo>
                        <a:pt x="3" y="74"/>
                      </a:lnTo>
                      <a:lnTo>
                        <a:pt x="3" y="74"/>
                      </a:lnTo>
                      <a:lnTo>
                        <a:pt x="6" y="74"/>
                      </a:lnTo>
                      <a:lnTo>
                        <a:pt x="10" y="77"/>
                      </a:lnTo>
                      <a:lnTo>
                        <a:pt x="13" y="78"/>
                      </a:lnTo>
                      <a:lnTo>
                        <a:pt x="17" y="80"/>
                      </a:lnTo>
                      <a:lnTo>
                        <a:pt x="17" y="80"/>
                      </a:lnTo>
                      <a:lnTo>
                        <a:pt x="22" y="80"/>
                      </a:lnTo>
                      <a:lnTo>
                        <a:pt x="23" y="80"/>
                      </a:lnTo>
                      <a:lnTo>
                        <a:pt x="26" y="78"/>
                      </a:lnTo>
                      <a:lnTo>
                        <a:pt x="29" y="77"/>
                      </a:lnTo>
                      <a:lnTo>
                        <a:pt x="29" y="77"/>
                      </a:lnTo>
                      <a:lnTo>
                        <a:pt x="39" y="75"/>
                      </a:lnTo>
                      <a:lnTo>
                        <a:pt x="48" y="74"/>
                      </a:lnTo>
                      <a:lnTo>
                        <a:pt x="48" y="74"/>
                      </a:lnTo>
                      <a:lnTo>
                        <a:pt x="49" y="74"/>
                      </a:lnTo>
                      <a:lnTo>
                        <a:pt x="51" y="71"/>
                      </a:lnTo>
                      <a:lnTo>
                        <a:pt x="52" y="65"/>
                      </a:lnTo>
                      <a:lnTo>
                        <a:pt x="52" y="65"/>
                      </a:lnTo>
                      <a:lnTo>
                        <a:pt x="55" y="62"/>
                      </a:lnTo>
                      <a:lnTo>
                        <a:pt x="59" y="59"/>
                      </a:lnTo>
                      <a:lnTo>
                        <a:pt x="65" y="58"/>
                      </a:lnTo>
                      <a:lnTo>
                        <a:pt x="70" y="56"/>
                      </a:lnTo>
                      <a:lnTo>
                        <a:pt x="70" y="56"/>
                      </a:lnTo>
                      <a:lnTo>
                        <a:pt x="71" y="58"/>
                      </a:lnTo>
                      <a:lnTo>
                        <a:pt x="72" y="59"/>
                      </a:lnTo>
                      <a:lnTo>
                        <a:pt x="72" y="68"/>
                      </a:lnTo>
                      <a:lnTo>
                        <a:pt x="72" y="81"/>
                      </a:lnTo>
                      <a:lnTo>
                        <a:pt x="72" y="81"/>
                      </a:lnTo>
                      <a:lnTo>
                        <a:pt x="72" y="84"/>
                      </a:lnTo>
                      <a:lnTo>
                        <a:pt x="75" y="84"/>
                      </a:lnTo>
                      <a:lnTo>
                        <a:pt x="84" y="84"/>
                      </a:lnTo>
                      <a:lnTo>
                        <a:pt x="84" y="84"/>
                      </a:lnTo>
                      <a:lnTo>
                        <a:pt x="94" y="81"/>
                      </a:lnTo>
                      <a:lnTo>
                        <a:pt x="103" y="80"/>
                      </a:lnTo>
                      <a:lnTo>
                        <a:pt x="103" y="80"/>
                      </a:lnTo>
                      <a:lnTo>
                        <a:pt x="120" y="78"/>
                      </a:lnTo>
                      <a:lnTo>
                        <a:pt x="120" y="78"/>
                      </a:lnTo>
                      <a:lnTo>
                        <a:pt x="120" y="78"/>
                      </a:lnTo>
                      <a:lnTo>
                        <a:pt x="122" y="77"/>
                      </a:lnTo>
                      <a:lnTo>
                        <a:pt x="123" y="75"/>
                      </a:lnTo>
                      <a:lnTo>
                        <a:pt x="126" y="75"/>
                      </a:lnTo>
                      <a:lnTo>
                        <a:pt x="128" y="74"/>
                      </a:lnTo>
                      <a:lnTo>
                        <a:pt x="128" y="74"/>
                      </a:lnTo>
                      <a:lnTo>
                        <a:pt x="129" y="69"/>
                      </a:lnTo>
                      <a:lnTo>
                        <a:pt x="130" y="65"/>
                      </a:lnTo>
                      <a:lnTo>
                        <a:pt x="130" y="61"/>
                      </a:lnTo>
                      <a:lnTo>
                        <a:pt x="129" y="56"/>
                      </a:lnTo>
                      <a:lnTo>
                        <a:pt x="129" y="56"/>
                      </a:lnTo>
                      <a:lnTo>
                        <a:pt x="126" y="52"/>
                      </a:lnTo>
                      <a:lnTo>
                        <a:pt x="123" y="48"/>
                      </a:lnTo>
                      <a:lnTo>
                        <a:pt x="119" y="45"/>
                      </a:lnTo>
                      <a:lnTo>
                        <a:pt x="113" y="42"/>
                      </a:lnTo>
                      <a:lnTo>
                        <a:pt x="113" y="42"/>
                      </a:lnTo>
                      <a:lnTo>
                        <a:pt x="110" y="39"/>
                      </a:lnTo>
                      <a:lnTo>
                        <a:pt x="109" y="36"/>
                      </a:lnTo>
                      <a:lnTo>
                        <a:pt x="109" y="36"/>
                      </a:lnTo>
                      <a:lnTo>
                        <a:pt x="88" y="41"/>
                      </a:lnTo>
                      <a:lnTo>
                        <a:pt x="80" y="41"/>
                      </a:lnTo>
                      <a:lnTo>
                        <a:pt x="78" y="39"/>
                      </a:lnTo>
                      <a:lnTo>
                        <a:pt x="77" y="3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855" name="Freeform 809"/>
                <p:cNvSpPr>
                  <a:spLocks/>
                </p:cNvSpPr>
                <p:nvPr/>
              </p:nvSpPr>
              <p:spPr bwMode="auto">
                <a:xfrm>
                  <a:off x="5478161" y="2612786"/>
                  <a:ext cx="128604" cy="83098"/>
                </a:xfrm>
                <a:custGeom>
                  <a:avLst/>
                  <a:gdLst>
                    <a:gd name="T0" fmla="*/ 77 w 130"/>
                    <a:gd name="T1" fmla="*/ 38 h 84"/>
                    <a:gd name="T2" fmla="*/ 81 w 130"/>
                    <a:gd name="T3" fmla="*/ 23 h 84"/>
                    <a:gd name="T4" fmla="*/ 80 w 130"/>
                    <a:gd name="T5" fmla="*/ 23 h 84"/>
                    <a:gd name="T6" fmla="*/ 70 w 130"/>
                    <a:gd name="T7" fmla="*/ 20 h 84"/>
                    <a:gd name="T8" fmla="*/ 58 w 130"/>
                    <a:gd name="T9" fmla="*/ 19 h 84"/>
                    <a:gd name="T10" fmla="*/ 57 w 130"/>
                    <a:gd name="T11" fmla="*/ 17 h 84"/>
                    <a:gd name="T12" fmla="*/ 61 w 130"/>
                    <a:gd name="T13" fmla="*/ 6 h 84"/>
                    <a:gd name="T14" fmla="*/ 61 w 130"/>
                    <a:gd name="T15" fmla="*/ 1 h 84"/>
                    <a:gd name="T16" fmla="*/ 58 w 130"/>
                    <a:gd name="T17" fmla="*/ 0 h 84"/>
                    <a:gd name="T18" fmla="*/ 41 w 130"/>
                    <a:gd name="T19" fmla="*/ 6 h 84"/>
                    <a:gd name="T20" fmla="*/ 36 w 130"/>
                    <a:gd name="T21" fmla="*/ 10 h 84"/>
                    <a:gd name="T22" fmla="*/ 28 w 130"/>
                    <a:gd name="T23" fmla="*/ 22 h 84"/>
                    <a:gd name="T24" fmla="*/ 23 w 130"/>
                    <a:gd name="T25" fmla="*/ 27 h 84"/>
                    <a:gd name="T26" fmla="*/ 12 w 130"/>
                    <a:gd name="T27" fmla="*/ 32 h 84"/>
                    <a:gd name="T28" fmla="*/ 3 w 130"/>
                    <a:gd name="T29" fmla="*/ 35 h 84"/>
                    <a:gd name="T30" fmla="*/ 2 w 130"/>
                    <a:gd name="T31" fmla="*/ 39 h 84"/>
                    <a:gd name="T32" fmla="*/ 0 w 130"/>
                    <a:gd name="T33" fmla="*/ 74 h 84"/>
                    <a:gd name="T34" fmla="*/ 3 w 130"/>
                    <a:gd name="T35" fmla="*/ 74 h 84"/>
                    <a:gd name="T36" fmla="*/ 6 w 130"/>
                    <a:gd name="T37" fmla="*/ 74 h 84"/>
                    <a:gd name="T38" fmla="*/ 13 w 130"/>
                    <a:gd name="T39" fmla="*/ 78 h 84"/>
                    <a:gd name="T40" fmla="*/ 17 w 130"/>
                    <a:gd name="T41" fmla="*/ 80 h 84"/>
                    <a:gd name="T42" fmla="*/ 23 w 130"/>
                    <a:gd name="T43" fmla="*/ 80 h 84"/>
                    <a:gd name="T44" fmla="*/ 29 w 130"/>
                    <a:gd name="T45" fmla="*/ 77 h 84"/>
                    <a:gd name="T46" fmla="*/ 39 w 130"/>
                    <a:gd name="T47" fmla="*/ 75 h 84"/>
                    <a:gd name="T48" fmla="*/ 48 w 130"/>
                    <a:gd name="T49" fmla="*/ 74 h 84"/>
                    <a:gd name="T50" fmla="*/ 51 w 130"/>
                    <a:gd name="T51" fmla="*/ 71 h 84"/>
                    <a:gd name="T52" fmla="*/ 52 w 130"/>
                    <a:gd name="T53" fmla="*/ 65 h 84"/>
                    <a:gd name="T54" fmla="*/ 59 w 130"/>
                    <a:gd name="T55" fmla="*/ 59 h 84"/>
                    <a:gd name="T56" fmla="*/ 70 w 130"/>
                    <a:gd name="T57" fmla="*/ 56 h 84"/>
                    <a:gd name="T58" fmla="*/ 71 w 130"/>
                    <a:gd name="T59" fmla="*/ 58 h 84"/>
                    <a:gd name="T60" fmla="*/ 72 w 130"/>
                    <a:gd name="T61" fmla="*/ 68 h 84"/>
                    <a:gd name="T62" fmla="*/ 72 w 130"/>
                    <a:gd name="T63" fmla="*/ 81 h 84"/>
                    <a:gd name="T64" fmla="*/ 75 w 130"/>
                    <a:gd name="T65" fmla="*/ 84 h 84"/>
                    <a:gd name="T66" fmla="*/ 84 w 130"/>
                    <a:gd name="T67" fmla="*/ 84 h 84"/>
                    <a:gd name="T68" fmla="*/ 103 w 130"/>
                    <a:gd name="T69" fmla="*/ 80 h 84"/>
                    <a:gd name="T70" fmla="*/ 120 w 130"/>
                    <a:gd name="T71" fmla="*/ 78 h 84"/>
                    <a:gd name="T72" fmla="*/ 120 w 130"/>
                    <a:gd name="T73" fmla="*/ 78 h 84"/>
                    <a:gd name="T74" fmla="*/ 123 w 130"/>
                    <a:gd name="T75" fmla="*/ 75 h 84"/>
                    <a:gd name="T76" fmla="*/ 128 w 130"/>
                    <a:gd name="T77" fmla="*/ 74 h 84"/>
                    <a:gd name="T78" fmla="*/ 129 w 130"/>
                    <a:gd name="T79" fmla="*/ 69 h 84"/>
                    <a:gd name="T80" fmla="*/ 130 w 130"/>
                    <a:gd name="T81" fmla="*/ 61 h 84"/>
                    <a:gd name="T82" fmla="*/ 129 w 130"/>
                    <a:gd name="T83" fmla="*/ 56 h 84"/>
                    <a:gd name="T84" fmla="*/ 123 w 130"/>
                    <a:gd name="T85" fmla="*/ 48 h 84"/>
                    <a:gd name="T86" fmla="*/ 113 w 130"/>
                    <a:gd name="T87" fmla="*/ 42 h 84"/>
                    <a:gd name="T88" fmla="*/ 110 w 130"/>
                    <a:gd name="T89" fmla="*/ 39 h 84"/>
                    <a:gd name="T90" fmla="*/ 109 w 130"/>
                    <a:gd name="T91" fmla="*/ 36 h 84"/>
                    <a:gd name="T92" fmla="*/ 80 w 130"/>
                    <a:gd name="T93" fmla="*/ 41 h 84"/>
                    <a:gd name="T94" fmla="*/ 77 w 130"/>
                    <a:gd name="T95" fmla="*/ 38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30" h="84">
                      <a:moveTo>
                        <a:pt x="77" y="38"/>
                      </a:moveTo>
                      <a:lnTo>
                        <a:pt x="77" y="38"/>
                      </a:lnTo>
                      <a:lnTo>
                        <a:pt x="78" y="30"/>
                      </a:lnTo>
                      <a:lnTo>
                        <a:pt x="81" y="23"/>
                      </a:lnTo>
                      <a:lnTo>
                        <a:pt x="81" y="23"/>
                      </a:lnTo>
                      <a:lnTo>
                        <a:pt x="80" y="23"/>
                      </a:lnTo>
                      <a:lnTo>
                        <a:pt x="80" y="23"/>
                      </a:lnTo>
                      <a:lnTo>
                        <a:pt x="70" y="20"/>
                      </a:lnTo>
                      <a:lnTo>
                        <a:pt x="58" y="19"/>
                      </a:lnTo>
                      <a:lnTo>
                        <a:pt x="58" y="19"/>
                      </a:lnTo>
                      <a:lnTo>
                        <a:pt x="57" y="19"/>
                      </a:lnTo>
                      <a:lnTo>
                        <a:pt x="57" y="17"/>
                      </a:lnTo>
                      <a:lnTo>
                        <a:pt x="58" y="12"/>
                      </a:lnTo>
                      <a:lnTo>
                        <a:pt x="61" y="6"/>
                      </a:lnTo>
                      <a:lnTo>
                        <a:pt x="61" y="1"/>
                      </a:lnTo>
                      <a:lnTo>
                        <a:pt x="61" y="1"/>
                      </a:lnTo>
                      <a:lnTo>
                        <a:pt x="61" y="0"/>
                      </a:lnTo>
                      <a:lnTo>
                        <a:pt x="58" y="0"/>
                      </a:lnTo>
                      <a:lnTo>
                        <a:pt x="52" y="1"/>
                      </a:lnTo>
                      <a:lnTo>
                        <a:pt x="41" y="6"/>
                      </a:lnTo>
                      <a:lnTo>
                        <a:pt x="41" y="6"/>
                      </a:lnTo>
                      <a:lnTo>
                        <a:pt x="36" y="10"/>
                      </a:lnTo>
                      <a:lnTo>
                        <a:pt x="32" y="16"/>
                      </a:lnTo>
                      <a:lnTo>
                        <a:pt x="28" y="22"/>
                      </a:lnTo>
                      <a:lnTo>
                        <a:pt x="23" y="27"/>
                      </a:lnTo>
                      <a:lnTo>
                        <a:pt x="23" y="27"/>
                      </a:lnTo>
                      <a:lnTo>
                        <a:pt x="19" y="30"/>
                      </a:lnTo>
                      <a:lnTo>
                        <a:pt x="12" y="32"/>
                      </a:lnTo>
                      <a:lnTo>
                        <a:pt x="6" y="32"/>
                      </a:lnTo>
                      <a:lnTo>
                        <a:pt x="3" y="35"/>
                      </a:lnTo>
                      <a:lnTo>
                        <a:pt x="3" y="35"/>
                      </a:lnTo>
                      <a:lnTo>
                        <a:pt x="2" y="39"/>
                      </a:lnTo>
                      <a:lnTo>
                        <a:pt x="0" y="49"/>
                      </a:lnTo>
                      <a:lnTo>
                        <a:pt x="0" y="74"/>
                      </a:lnTo>
                      <a:lnTo>
                        <a:pt x="0" y="74"/>
                      </a:lnTo>
                      <a:lnTo>
                        <a:pt x="3" y="74"/>
                      </a:lnTo>
                      <a:lnTo>
                        <a:pt x="3" y="74"/>
                      </a:lnTo>
                      <a:lnTo>
                        <a:pt x="6" y="74"/>
                      </a:lnTo>
                      <a:lnTo>
                        <a:pt x="10" y="77"/>
                      </a:lnTo>
                      <a:lnTo>
                        <a:pt x="13" y="78"/>
                      </a:lnTo>
                      <a:lnTo>
                        <a:pt x="17" y="80"/>
                      </a:lnTo>
                      <a:lnTo>
                        <a:pt x="17" y="80"/>
                      </a:lnTo>
                      <a:lnTo>
                        <a:pt x="22" y="80"/>
                      </a:lnTo>
                      <a:lnTo>
                        <a:pt x="23" y="80"/>
                      </a:lnTo>
                      <a:lnTo>
                        <a:pt x="26" y="78"/>
                      </a:lnTo>
                      <a:lnTo>
                        <a:pt x="29" y="77"/>
                      </a:lnTo>
                      <a:lnTo>
                        <a:pt x="29" y="77"/>
                      </a:lnTo>
                      <a:lnTo>
                        <a:pt x="39" y="75"/>
                      </a:lnTo>
                      <a:lnTo>
                        <a:pt x="48" y="74"/>
                      </a:lnTo>
                      <a:lnTo>
                        <a:pt x="48" y="74"/>
                      </a:lnTo>
                      <a:lnTo>
                        <a:pt x="49" y="74"/>
                      </a:lnTo>
                      <a:lnTo>
                        <a:pt x="51" y="71"/>
                      </a:lnTo>
                      <a:lnTo>
                        <a:pt x="52" y="65"/>
                      </a:lnTo>
                      <a:lnTo>
                        <a:pt x="52" y="65"/>
                      </a:lnTo>
                      <a:lnTo>
                        <a:pt x="55" y="62"/>
                      </a:lnTo>
                      <a:lnTo>
                        <a:pt x="59" y="59"/>
                      </a:lnTo>
                      <a:lnTo>
                        <a:pt x="65" y="58"/>
                      </a:lnTo>
                      <a:lnTo>
                        <a:pt x="70" y="56"/>
                      </a:lnTo>
                      <a:lnTo>
                        <a:pt x="70" y="56"/>
                      </a:lnTo>
                      <a:lnTo>
                        <a:pt x="71" y="58"/>
                      </a:lnTo>
                      <a:lnTo>
                        <a:pt x="72" y="59"/>
                      </a:lnTo>
                      <a:lnTo>
                        <a:pt x="72" y="68"/>
                      </a:lnTo>
                      <a:lnTo>
                        <a:pt x="72" y="81"/>
                      </a:lnTo>
                      <a:lnTo>
                        <a:pt x="72" y="81"/>
                      </a:lnTo>
                      <a:lnTo>
                        <a:pt x="72" y="84"/>
                      </a:lnTo>
                      <a:lnTo>
                        <a:pt x="75" y="84"/>
                      </a:lnTo>
                      <a:lnTo>
                        <a:pt x="84" y="84"/>
                      </a:lnTo>
                      <a:lnTo>
                        <a:pt x="84" y="84"/>
                      </a:lnTo>
                      <a:lnTo>
                        <a:pt x="94" y="81"/>
                      </a:lnTo>
                      <a:lnTo>
                        <a:pt x="103" y="80"/>
                      </a:lnTo>
                      <a:lnTo>
                        <a:pt x="103" y="80"/>
                      </a:lnTo>
                      <a:lnTo>
                        <a:pt x="120" y="78"/>
                      </a:lnTo>
                      <a:lnTo>
                        <a:pt x="120" y="78"/>
                      </a:lnTo>
                      <a:lnTo>
                        <a:pt x="120" y="78"/>
                      </a:lnTo>
                      <a:lnTo>
                        <a:pt x="122" y="77"/>
                      </a:lnTo>
                      <a:lnTo>
                        <a:pt x="123" y="75"/>
                      </a:lnTo>
                      <a:lnTo>
                        <a:pt x="126" y="75"/>
                      </a:lnTo>
                      <a:lnTo>
                        <a:pt x="128" y="74"/>
                      </a:lnTo>
                      <a:lnTo>
                        <a:pt x="128" y="74"/>
                      </a:lnTo>
                      <a:lnTo>
                        <a:pt x="129" y="69"/>
                      </a:lnTo>
                      <a:lnTo>
                        <a:pt x="130" y="65"/>
                      </a:lnTo>
                      <a:lnTo>
                        <a:pt x="130" y="61"/>
                      </a:lnTo>
                      <a:lnTo>
                        <a:pt x="129" y="56"/>
                      </a:lnTo>
                      <a:lnTo>
                        <a:pt x="129" y="56"/>
                      </a:lnTo>
                      <a:lnTo>
                        <a:pt x="126" y="52"/>
                      </a:lnTo>
                      <a:lnTo>
                        <a:pt x="123" y="48"/>
                      </a:lnTo>
                      <a:lnTo>
                        <a:pt x="119" y="45"/>
                      </a:lnTo>
                      <a:lnTo>
                        <a:pt x="113" y="42"/>
                      </a:lnTo>
                      <a:lnTo>
                        <a:pt x="113" y="42"/>
                      </a:lnTo>
                      <a:lnTo>
                        <a:pt x="110" y="39"/>
                      </a:lnTo>
                      <a:lnTo>
                        <a:pt x="109" y="36"/>
                      </a:lnTo>
                      <a:lnTo>
                        <a:pt x="109" y="36"/>
                      </a:lnTo>
                      <a:lnTo>
                        <a:pt x="88" y="41"/>
                      </a:lnTo>
                      <a:lnTo>
                        <a:pt x="80" y="41"/>
                      </a:lnTo>
                      <a:lnTo>
                        <a:pt x="78" y="39"/>
                      </a:lnTo>
                      <a:lnTo>
                        <a:pt x="77" y="3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856" name="Freeform 810"/>
                <p:cNvSpPr>
                  <a:spLocks noEditPoints="1"/>
                </p:cNvSpPr>
                <p:nvPr/>
              </p:nvSpPr>
              <p:spPr bwMode="auto">
                <a:xfrm>
                  <a:off x="5536528" y="2565301"/>
                  <a:ext cx="152346" cy="88044"/>
                </a:xfrm>
                <a:custGeom>
                  <a:avLst/>
                  <a:gdLst>
                    <a:gd name="T0" fmla="*/ 141 w 154"/>
                    <a:gd name="T1" fmla="*/ 15 h 89"/>
                    <a:gd name="T2" fmla="*/ 118 w 154"/>
                    <a:gd name="T3" fmla="*/ 9 h 89"/>
                    <a:gd name="T4" fmla="*/ 90 w 154"/>
                    <a:gd name="T5" fmla="*/ 3 h 89"/>
                    <a:gd name="T6" fmla="*/ 61 w 154"/>
                    <a:gd name="T7" fmla="*/ 0 h 89"/>
                    <a:gd name="T8" fmla="*/ 57 w 154"/>
                    <a:gd name="T9" fmla="*/ 0 h 89"/>
                    <a:gd name="T10" fmla="*/ 27 w 154"/>
                    <a:gd name="T11" fmla="*/ 12 h 89"/>
                    <a:gd name="T12" fmla="*/ 15 w 154"/>
                    <a:gd name="T13" fmla="*/ 15 h 89"/>
                    <a:gd name="T14" fmla="*/ 6 w 154"/>
                    <a:gd name="T15" fmla="*/ 19 h 89"/>
                    <a:gd name="T16" fmla="*/ 3 w 154"/>
                    <a:gd name="T17" fmla="*/ 25 h 89"/>
                    <a:gd name="T18" fmla="*/ 0 w 154"/>
                    <a:gd name="T19" fmla="*/ 32 h 89"/>
                    <a:gd name="T20" fmla="*/ 2 w 154"/>
                    <a:gd name="T21" fmla="*/ 38 h 89"/>
                    <a:gd name="T22" fmla="*/ 8 w 154"/>
                    <a:gd name="T23" fmla="*/ 41 h 89"/>
                    <a:gd name="T24" fmla="*/ 19 w 154"/>
                    <a:gd name="T25" fmla="*/ 44 h 89"/>
                    <a:gd name="T26" fmla="*/ 25 w 154"/>
                    <a:gd name="T27" fmla="*/ 46 h 89"/>
                    <a:gd name="T28" fmla="*/ 34 w 154"/>
                    <a:gd name="T29" fmla="*/ 61 h 89"/>
                    <a:gd name="T30" fmla="*/ 34 w 154"/>
                    <a:gd name="T31" fmla="*/ 62 h 89"/>
                    <a:gd name="T32" fmla="*/ 31 w 154"/>
                    <a:gd name="T33" fmla="*/ 68 h 89"/>
                    <a:gd name="T34" fmla="*/ 22 w 154"/>
                    <a:gd name="T35" fmla="*/ 71 h 89"/>
                    <a:gd name="T36" fmla="*/ 19 w 154"/>
                    <a:gd name="T37" fmla="*/ 78 h 89"/>
                    <a:gd name="T38" fmla="*/ 18 w 154"/>
                    <a:gd name="T39" fmla="*/ 86 h 89"/>
                    <a:gd name="T40" fmla="*/ 21 w 154"/>
                    <a:gd name="T41" fmla="*/ 89 h 89"/>
                    <a:gd name="T42" fmla="*/ 50 w 154"/>
                    <a:gd name="T43" fmla="*/ 84 h 89"/>
                    <a:gd name="T44" fmla="*/ 51 w 154"/>
                    <a:gd name="T45" fmla="*/ 83 h 89"/>
                    <a:gd name="T46" fmla="*/ 53 w 154"/>
                    <a:gd name="T47" fmla="*/ 81 h 89"/>
                    <a:gd name="T48" fmla="*/ 57 w 154"/>
                    <a:gd name="T49" fmla="*/ 75 h 89"/>
                    <a:gd name="T50" fmla="*/ 63 w 154"/>
                    <a:gd name="T51" fmla="*/ 71 h 89"/>
                    <a:gd name="T52" fmla="*/ 67 w 154"/>
                    <a:gd name="T53" fmla="*/ 70 h 89"/>
                    <a:gd name="T54" fmla="*/ 71 w 154"/>
                    <a:gd name="T55" fmla="*/ 67 h 89"/>
                    <a:gd name="T56" fmla="*/ 74 w 154"/>
                    <a:gd name="T57" fmla="*/ 64 h 89"/>
                    <a:gd name="T58" fmla="*/ 79 w 154"/>
                    <a:gd name="T59" fmla="*/ 62 h 89"/>
                    <a:gd name="T60" fmla="*/ 80 w 154"/>
                    <a:gd name="T61" fmla="*/ 64 h 89"/>
                    <a:gd name="T62" fmla="*/ 93 w 154"/>
                    <a:gd name="T63" fmla="*/ 68 h 89"/>
                    <a:gd name="T64" fmla="*/ 96 w 154"/>
                    <a:gd name="T65" fmla="*/ 67 h 89"/>
                    <a:gd name="T66" fmla="*/ 100 w 154"/>
                    <a:gd name="T67" fmla="*/ 60 h 89"/>
                    <a:gd name="T68" fmla="*/ 103 w 154"/>
                    <a:gd name="T69" fmla="*/ 55 h 89"/>
                    <a:gd name="T70" fmla="*/ 113 w 154"/>
                    <a:gd name="T71" fmla="*/ 49 h 89"/>
                    <a:gd name="T72" fmla="*/ 124 w 154"/>
                    <a:gd name="T73" fmla="*/ 46 h 89"/>
                    <a:gd name="T74" fmla="*/ 132 w 154"/>
                    <a:gd name="T75" fmla="*/ 41 h 89"/>
                    <a:gd name="T76" fmla="*/ 142 w 154"/>
                    <a:gd name="T77" fmla="*/ 33 h 89"/>
                    <a:gd name="T78" fmla="*/ 150 w 154"/>
                    <a:gd name="T79" fmla="*/ 31 h 89"/>
                    <a:gd name="T80" fmla="*/ 153 w 154"/>
                    <a:gd name="T81" fmla="*/ 25 h 89"/>
                    <a:gd name="T82" fmla="*/ 154 w 154"/>
                    <a:gd name="T83" fmla="*/ 19 h 89"/>
                    <a:gd name="T84" fmla="*/ 147 w 154"/>
                    <a:gd name="T85" fmla="*/ 18 h 89"/>
                    <a:gd name="T86" fmla="*/ 124 w 154"/>
                    <a:gd name="T87" fmla="*/ 19 h 89"/>
                    <a:gd name="T88" fmla="*/ 118 w 154"/>
                    <a:gd name="T89" fmla="*/ 25 h 89"/>
                    <a:gd name="T90" fmla="*/ 109 w 154"/>
                    <a:gd name="T91" fmla="*/ 26 h 89"/>
                    <a:gd name="T92" fmla="*/ 96 w 154"/>
                    <a:gd name="T93" fmla="*/ 25 h 89"/>
                    <a:gd name="T94" fmla="*/ 93 w 154"/>
                    <a:gd name="T95" fmla="*/ 23 h 89"/>
                    <a:gd name="T96" fmla="*/ 96 w 154"/>
                    <a:gd name="T97" fmla="*/ 22 h 89"/>
                    <a:gd name="T98" fmla="*/ 113 w 154"/>
                    <a:gd name="T99" fmla="*/ 19 h 89"/>
                    <a:gd name="T100" fmla="*/ 124 w 154"/>
                    <a:gd name="T101" fmla="*/ 19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54" h="89">
                      <a:moveTo>
                        <a:pt x="141" y="15"/>
                      </a:moveTo>
                      <a:lnTo>
                        <a:pt x="141" y="15"/>
                      </a:lnTo>
                      <a:lnTo>
                        <a:pt x="132" y="12"/>
                      </a:lnTo>
                      <a:lnTo>
                        <a:pt x="118" y="9"/>
                      </a:lnTo>
                      <a:lnTo>
                        <a:pt x="90" y="3"/>
                      </a:lnTo>
                      <a:lnTo>
                        <a:pt x="90" y="3"/>
                      </a:lnTo>
                      <a:lnTo>
                        <a:pt x="71" y="0"/>
                      </a:lnTo>
                      <a:lnTo>
                        <a:pt x="61" y="0"/>
                      </a:lnTo>
                      <a:lnTo>
                        <a:pt x="57" y="0"/>
                      </a:lnTo>
                      <a:lnTo>
                        <a:pt x="57" y="0"/>
                      </a:lnTo>
                      <a:lnTo>
                        <a:pt x="42" y="6"/>
                      </a:lnTo>
                      <a:lnTo>
                        <a:pt x="27" y="12"/>
                      </a:lnTo>
                      <a:lnTo>
                        <a:pt x="27" y="12"/>
                      </a:lnTo>
                      <a:lnTo>
                        <a:pt x="15" y="15"/>
                      </a:lnTo>
                      <a:lnTo>
                        <a:pt x="9" y="16"/>
                      </a:lnTo>
                      <a:lnTo>
                        <a:pt x="6" y="19"/>
                      </a:lnTo>
                      <a:lnTo>
                        <a:pt x="6" y="19"/>
                      </a:lnTo>
                      <a:lnTo>
                        <a:pt x="3" y="25"/>
                      </a:lnTo>
                      <a:lnTo>
                        <a:pt x="0" y="32"/>
                      </a:lnTo>
                      <a:lnTo>
                        <a:pt x="0" y="32"/>
                      </a:lnTo>
                      <a:lnTo>
                        <a:pt x="2" y="38"/>
                      </a:lnTo>
                      <a:lnTo>
                        <a:pt x="2" y="38"/>
                      </a:lnTo>
                      <a:lnTo>
                        <a:pt x="3" y="39"/>
                      </a:lnTo>
                      <a:lnTo>
                        <a:pt x="8" y="41"/>
                      </a:lnTo>
                      <a:lnTo>
                        <a:pt x="12" y="41"/>
                      </a:lnTo>
                      <a:lnTo>
                        <a:pt x="19" y="44"/>
                      </a:lnTo>
                      <a:lnTo>
                        <a:pt x="19" y="44"/>
                      </a:lnTo>
                      <a:lnTo>
                        <a:pt x="25" y="46"/>
                      </a:lnTo>
                      <a:lnTo>
                        <a:pt x="29" y="51"/>
                      </a:lnTo>
                      <a:lnTo>
                        <a:pt x="34" y="61"/>
                      </a:lnTo>
                      <a:lnTo>
                        <a:pt x="34" y="61"/>
                      </a:lnTo>
                      <a:lnTo>
                        <a:pt x="34" y="62"/>
                      </a:lnTo>
                      <a:lnTo>
                        <a:pt x="34" y="65"/>
                      </a:lnTo>
                      <a:lnTo>
                        <a:pt x="31" y="68"/>
                      </a:lnTo>
                      <a:lnTo>
                        <a:pt x="27" y="70"/>
                      </a:lnTo>
                      <a:lnTo>
                        <a:pt x="22" y="71"/>
                      </a:lnTo>
                      <a:lnTo>
                        <a:pt x="22" y="71"/>
                      </a:lnTo>
                      <a:lnTo>
                        <a:pt x="19" y="78"/>
                      </a:lnTo>
                      <a:lnTo>
                        <a:pt x="18" y="86"/>
                      </a:lnTo>
                      <a:lnTo>
                        <a:pt x="18" y="86"/>
                      </a:lnTo>
                      <a:lnTo>
                        <a:pt x="19" y="87"/>
                      </a:lnTo>
                      <a:lnTo>
                        <a:pt x="21" y="89"/>
                      </a:lnTo>
                      <a:lnTo>
                        <a:pt x="29" y="89"/>
                      </a:lnTo>
                      <a:lnTo>
                        <a:pt x="50" y="84"/>
                      </a:lnTo>
                      <a:lnTo>
                        <a:pt x="50" y="84"/>
                      </a:lnTo>
                      <a:lnTo>
                        <a:pt x="51" y="83"/>
                      </a:lnTo>
                      <a:lnTo>
                        <a:pt x="53" y="81"/>
                      </a:lnTo>
                      <a:lnTo>
                        <a:pt x="53" y="81"/>
                      </a:lnTo>
                      <a:lnTo>
                        <a:pt x="54" y="80"/>
                      </a:lnTo>
                      <a:lnTo>
                        <a:pt x="57" y="75"/>
                      </a:lnTo>
                      <a:lnTo>
                        <a:pt x="58" y="73"/>
                      </a:lnTo>
                      <a:lnTo>
                        <a:pt x="63" y="71"/>
                      </a:lnTo>
                      <a:lnTo>
                        <a:pt x="63" y="71"/>
                      </a:lnTo>
                      <a:lnTo>
                        <a:pt x="67" y="70"/>
                      </a:lnTo>
                      <a:lnTo>
                        <a:pt x="70" y="70"/>
                      </a:lnTo>
                      <a:lnTo>
                        <a:pt x="71" y="67"/>
                      </a:lnTo>
                      <a:lnTo>
                        <a:pt x="71" y="67"/>
                      </a:lnTo>
                      <a:lnTo>
                        <a:pt x="74" y="64"/>
                      </a:lnTo>
                      <a:lnTo>
                        <a:pt x="76" y="62"/>
                      </a:lnTo>
                      <a:lnTo>
                        <a:pt x="79" y="62"/>
                      </a:lnTo>
                      <a:lnTo>
                        <a:pt x="80" y="64"/>
                      </a:lnTo>
                      <a:lnTo>
                        <a:pt x="80" y="64"/>
                      </a:lnTo>
                      <a:lnTo>
                        <a:pt x="84" y="67"/>
                      </a:lnTo>
                      <a:lnTo>
                        <a:pt x="93" y="68"/>
                      </a:lnTo>
                      <a:lnTo>
                        <a:pt x="93" y="68"/>
                      </a:lnTo>
                      <a:lnTo>
                        <a:pt x="96" y="67"/>
                      </a:lnTo>
                      <a:lnTo>
                        <a:pt x="99" y="62"/>
                      </a:lnTo>
                      <a:lnTo>
                        <a:pt x="100" y="60"/>
                      </a:lnTo>
                      <a:lnTo>
                        <a:pt x="103" y="55"/>
                      </a:lnTo>
                      <a:lnTo>
                        <a:pt x="103" y="55"/>
                      </a:lnTo>
                      <a:lnTo>
                        <a:pt x="108" y="52"/>
                      </a:lnTo>
                      <a:lnTo>
                        <a:pt x="113" y="49"/>
                      </a:lnTo>
                      <a:lnTo>
                        <a:pt x="124" y="46"/>
                      </a:lnTo>
                      <a:lnTo>
                        <a:pt x="124" y="46"/>
                      </a:lnTo>
                      <a:lnTo>
                        <a:pt x="126" y="45"/>
                      </a:lnTo>
                      <a:lnTo>
                        <a:pt x="132" y="41"/>
                      </a:lnTo>
                      <a:lnTo>
                        <a:pt x="137" y="36"/>
                      </a:lnTo>
                      <a:lnTo>
                        <a:pt x="142" y="33"/>
                      </a:lnTo>
                      <a:lnTo>
                        <a:pt x="142" y="33"/>
                      </a:lnTo>
                      <a:lnTo>
                        <a:pt x="150" y="31"/>
                      </a:lnTo>
                      <a:lnTo>
                        <a:pt x="153" y="29"/>
                      </a:lnTo>
                      <a:lnTo>
                        <a:pt x="153" y="25"/>
                      </a:lnTo>
                      <a:lnTo>
                        <a:pt x="153" y="25"/>
                      </a:lnTo>
                      <a:lnTo>
                        <a:pt x="154" y="19"/>
                      </a:lnTo>
                      <a:lnTo>
                        <a:pt x="154" y="19"/>
                      </a:lnTo>
                      <a:lnTo>
                        <a:pt x="147" y="18"/>
                      </a:lnTo>
                      <a:lnTo>
                        <a:pt x="141" y="15"/>
                      </a:lnTo>
                      <a:close/>
                      <a:moveTo>
                        <a:pt x="124" y="19"/>
                      </a:moveTo>
                      <a:lnTo>
                        <a:pt x="124" y="19"/>
                      </a:lnTo>
                      <a:lnTo>
                        <a:pt x="118" y="25"/>
                      </a:lnTo>
                      <a:lnTo>
                        <a:pt x="113" y="26"/>
                      </a:lnTo>
                      <a:lnTo>
                        <a:pt x="109" y="26"/>
                      </a:lnTo>
                      <a:lnTo>
                        <a:pt x="109" y="26"/>
                      </a:lnTo>
                      <a:lnTo>
                        <a:pt x="96" y="25"/>
                      </a:lnTo>
                      <a:lnTo>
                        <a:pt x="93" y="23"/>
                      </a:lnTo>
                      <a:lnTo>
                        <a:pt x="93" y="23"/>
                      </a:lnTo>
                      <a:lnTo>
                        <a:pt x="96" y="22"/>
                      </a:lnTo>
                      <a:lnTo>
                        <a:pt x="96" y="22"/>
                      </a:lnTo>
                      <a:lnTo>
                        <a:pt x="103" y="19"/>
                      </a:lnTo>
                      <a:lnTo>
                        <a:pt x="113" y="19"/>
                      </a:lnTo>
                      <a:lnTo>
                        <a:pt x="122" y="18"/>
                      </a:lnTo>
                      <a:lnTo>
                        <a:pt x="124" y="19"/>
                      </a:lnTo>
                      <a:lnTo>
                        <a:pt x="124" y="1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857" name="Freeform 811"/>
                <p:cNvSpPr>
                  <a:spLocks/>
                </p:cNvSpPr>
                <p:nvPr/>
              </p:nvSpPr>
              <p:spPr bwMode="auto">
                <a:xfrm>
                  <a:off x="5536528" y="2565301"/>
                  <a:ext cx="152346" cy="88044"/>
                </a:xfrm>
                <a:custGeom>
                  <a:avLst/>
                  <a:gdLst>
                    <a:gd name="T0" fmla="*/ 141 w 154"/>
                    <a:gd name="T1" fmla="*/ 15 h 89"/>
                    <a:gd name="T2" fmla="*/ 118 w 154"/>
                    <a:gd name="T3" fmla="*/ 9 h 89"/>
                    <a:gd name="T4" fmla="*/ 90 w 154"/>
                    <a:gd name="T5" fmla="*/ 3 h 89"/>
                    <a:gd name="T6" fmla="*/ 61 w 154"/>
                    <a:gd name="T7" fmla="*/ 0 h 89"/>
                    <a:gd name="T8" fmla="*/ 57 w 154"/>
                    <a:gd name="T9" fmla="*/ 0 h 89"/>
                    <a:gd name="T10" fmla="*/ 27 w 154"/>
                    <a:gd name="T11" fmla="*/ 12 h 89"/>
                    <a:gd name="T12" fmla="*/ 15 w 154"/>
                    <a:gd name="T13" fmla="*/ 15 h 89"/>
                    <a:gd name="T14" fmla="*/ 6 w 154"/>
                    <a:gd name="T15" fmla="*/ 19 h 89"/>
                    <a:gd name="T16" fmla="*/ 3 w 154"/>
                    <a:gd name="T17" fmla="*/ 25 h 89"/>
                    <a:gd name="T18" fmla="*/ 0 w 154"/>
                    <a:gd name="T19" fmla="*/ 32 h 89"/>
                    <a:gd name="T20" fmla="*/ 2 w 154"/>
                    <a:gd name="T21" fmla="*/ 38 h 89"/>
                    <a:gd name="T22" fmla="*/ 8 w 154"/>
                    <a:gd name="T23" fmla="*/ 41 h 89"/>
                    <a:gd name="T24" fmla="*/ 19 w 154"/>
                    <a:gd name="T25" fmla="*/ 44 h 89"/>
                    <a:gd name="T26" fmla="*/ 25 w 154"/>
                    <a:gd name="T27" fmla="*/ 46 h 89"/>
                    <a:gd name="T28" fmla="*/ 34 w 154"/>
                    <a:gd name="T29" fmla="*/ 61 h 89"/>
                    <a:gd name="T30" fmla="*/ 34 w 154"/>
                    <a:gd name="T31" fmla="*/ 62 h 89"/>
                    <a:gd name="T32" fmla="*/ 31 w 154"/>
                    <a:gd name="T33" fmla="*/ 68 h 89"/>
                    <a:gd name="T34" fmla="*/ 22 w 154"/>
                    <a:gd name="T35" fmla="*/ 71 h 89"/>
                    <a:gd name="T36" fmla="*/ 19 w 154"/>
                    <a:gd name="T37" fmla="*/ 78 h 89"/>
                    <a:gd name="T38" fmla="*/ 18 w 154"/>
                    <a:gd name="T39" fmla="*/ 86 h 89"/>
                    <a:gd name="T40" fmla="*/ 21 w 154"/>
                    <a:gd name="T41" fmla="*/ 89 h 89"/>
                    <a:gd name="T42" fmla="*/ 50 w 154"/>
                    <a:gd name="T43" fmla="*/ 84 h 89"/>
                    <a:gd name="T44" fmla="*/ 51 w 154"/>
                    <a:gd name="T45" fmla="*/ 83 h 89"/>
                    <a:gd name="T46" fmla="*/ 53 w 154"/>
                    <a:gd name="T47" fmla="*/ 81 h 89"/>
                    <a:gd name="T48" fmla="*/ 57 w 154"/>
                    <a:gd name="T49" fmla="*/ 75 h 89"/>
                    <a:gd name="T50" fmla="*/ 63 w 154"/>
                    <a:gd name="T51" fmla="*/ 71 h 89"/>
                    <a:gd name="T52" fmla="*/ 67 w 154"/>
                    <a:gd name="T53" fmla="*/ 70 h 89"/>
                    <a:gd name="T54" fmla="*/ 71 w 154"/>
                    <a:gd name="T55" fmla="*/ 67 h 89"/>
                    <a:gd name="T56" fmla="*/ 74 w 154"/>
                    <a:gd name="T57" fmla="*/ 64 h 89"/>
                    <a:gd name="T58" fmla="*/ 79 w 154"/>
                    <a:gd name="T59" fmla="*/ 62 h 89"/>
                    <a:gd name="T60" fmla="*/ 80 w 154"/>
                    <a:gd name="T61" fmla="*/ 64 h 89"/>
                    <a:gd name="T62" fmla="*/ 93 w 154"/>
                    <a:gd name="T63" fmla="*/ 68 h 89"/>
                    <a:gd name="T64" fmla="*/ 96 w 154"/>
                    <a:gd name="T65" fmla="*/ 67 h 89"/>
                    <a:gd name="T66" fmla="*/ 100 w 154"/>
                    <a:gd name="T67" fmla="*/ 60 h 89"/>
                    <a:gd name="T68" fmla="*/ 103 w 154"/>
                    <a:gd name="T69" fmla="*/ 55 h 89"/>
                    <a:gd name="T70" fmla="*/ 113 w 154"/>
                    <a:gd name="T71" fmla="*/ 49 h 89"/>
                    <a:gd name="T72" fmla="*/ 124 w 154"/>
                    <a:gd name="T73" fmla="*/ 46 h 89"/>
                    <a:gd name="T74" fmla="*/ 132 w 154"/>
                    <a:gd name="T75" fmla="*/ 41 h 89"/>
                    <a:gd name="T76" fmla="*/ 142 w 154"/>
                    <a:gd name="T77" fmla="*/ 33 h 89"/>
                    <a:gd name="T78" fmla="*/ 150 w 154"/>
                    <a:gd name="T79" fmla="*/ 31 h 89"/>
                    <a:gd name="T80" fmla="*/ 153 w 154"/>
                    <a:gd name="T81" fmla="*/ 25 h 89"/>
                    <a:gd name="T82" fmla="*/ 154 w 154"/>
                    <a:gd name="T83" fmla="*/ 19 h 89"/>
                    <a:gd name="T84" fmla="*/ 147 w 154"/>
                    <a:gd name="T85" fmla="*/ 18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54" h="89">
                      <a:moveTo>
                        <a:pt x="141" y="15"/>
                      </a:moveTo>
                      <a:lnTo>
                        <a:pt x="141" y="15"/>
                      </a:lnTo>
                      <a:lnTo>
                        <a:pt x="132" y="12"/>
                      </a:lnTo>
                      <a:lnTo>
                        <a:pt x="118" y="9"/>
                      </a:lnTo>
                      <a:lnTo>
                        <a:pt x="90" y="3"/>
                      </a:lnTo>
                      <a:lnTo>
                        <a:pt x="90" y="3"/>
                      </a:lnTo>
                      <a:lnTo>
                        <a:pt x="71" y="0"/>
                      </a:lnTo>
                      <a:lnTo>
                        <a:pt x="61" y="0"/>
                      </a:lnTo>
                      <a:lnTo>
                        <a:pt x="57" y="0"/>
                      </a:lnTo>
                      <a:lnTo>
                        <a:pt x="57" y="0"/>
                      </a:lnTo>
                      <a:lnTo>
                        <a:pt x="42" y="6"/>
                      </a:lnTo>
                      <a:lnTo>
                        <a:pt x="27" y="12"/>
                      </a:lnTo>
                      <a:lnTo>
                        <a:pt x="27" y="12"/>
                      </a:lnTo>
                      <a:lnTo>
                        <a:pt x="15" y="15"/>
                      </a:lnTo>
                      <a:lnTo>
                        <a:pt x="9" y="16"/>
                      </a:lnTo>
                      <a:lnTo>
                        <a:pt x="6" y="19"/>
                      </a:lnTo>
                      <a:lnTo>
                        <a:pt x="6" y="19"/>
                      </a:lnTo>
                      <a:lnTo>
                        <a:pt x="3" y="25"/>
                      </a:lnTo>
                      <a:lnTo>
                        <a:pt x="0" y="32"/>
                      </a:lnTo>
                      <a:lnTo>
                        <a:pt x="0" y="32"/>
                      </a:lnTo>
                      <a:lnTo>
                        <a:pt x="2" y="38"/>
                      </a:lnTo>
                      <a:lnTo>
                        <a:pt x="2" y="38"/>
                      </a:lnTo>
                      <a:lnTo>
                        <a:pt x="3" y="39"/>
                      </a:lnTo>
                      <a:lnTo>
                        <a:pt x="8" y="41"/>
                      </a:lnTo>
                      <a:lnTo>
                        <a:pt x="12" y="41"/>
                      </a:lnTo>
                      <a:lnTo>
                        <a:pt x="19" y="44"/>
                      </a:lnTo>
                      <a:lnTo>
                        <a:pt x="19" y="44"/>
                      </a:lnTo>
                      <a:lnTo>
                        <a:pt x="25" y="46"/>
                      </a:lnTo>
                      <a:lnTo>
                        <a:pt x="29" y="51"/>
                      </a:lnTo>
                      <a:lnTo>
                        <a:pt x="34" y="61"/>
                      </a:lnTo>
                      <a:lnTo>
                        <a:pt x="34" y="61"/>
                      </a:lnTo>
                      <a:lnTo>
                        <a:pt x="34" y="62"/>
                      </a:lnTo>
                      <a:lnTo>
                        <a:pt x="34" y="65"/>
                      </a:lnTo>
                      <a:lnTo>
                        <a:pt x="31" y="68"/>
                      </a:lnTo>
                      <a:lnTo>
                        <a:pt x="27" y="70"/>
                      </a:lnTo>
                      <a:lnTo>
                        <a:pt x="22" y="71"/>
                      </a:lnTo>
                      <a:lnTo>
                        <a:pt x="22" y="71"/>
                      </a:lnTo>
                      <a:lnTo>
                        <a:pt x="19" y="78"/>
                      </a:lnTo>
                      <a:lnTo>
                        <a:pt x="18" y="86"/>
                      </a:lnTo>
                      <a:lnTo>
                        <a:pt x="18" y="86"/>
                      </a:lnTo>
                      <a:lnTo>
                        <a:pt x="19" y="87"/>
                      </a:lnTo>
                      <a:lnTo>
                        <a:pt x="21" y="89"/>
                      </a:lnTo>
                      <a:lnTo>
                        <a:pt x="29" y="89"/>
                      </a:lnTo>
                      <a:lnTo>
                        <a:pt x="50" y="84"/>
                      </a:lnTo>
                      <a:lnTo>
                        <a:pt x="50" y="84"/>
                      </a:lnTo>
                      <a:lnTo>
                        <a:pt x="51" y="83"/>
                      </a:lnTo>
                      <a:lnTo>
                        <a:pt x="53" y="81"/>
                      </a:lnTo>
                      <a:lnTo>
                        <a:pt x="53" y="81"/>
                      </a:lnTo>
                      <a:lnTo>
                        <a:pt x="54" y="80"/>
                      </a:lnTo>
                      <a:lnTo>
                        <a:pt x="57" y="75"/>
                      </a:lnTo>
                      <a:lnTo>
                        <a:pt x="58" y="73"/>
                      </a:lnTo>
                      <a:lnTo>
                        <a:pt x="63" y="71"/>
                      </a:lnTo>
                      <a:lnTo>
                        <a:pt x="63" y="71"/>
                      </a:lnTo>
                      <a:lnTo>
                        <a:pt x="67" y="70"/>
                      </a:lnTo>
                      <a:lnTo>
                        <a:pt x="70" y="70"/>
                      </a:lnTo>
                      <a:lnTo>
                        <a:pt x="71" y="67"/>
                      </a:lnTo>
                      <a:lnTo>
                        <a:pt x="71" y="67"/>
                      </a:lnTo>
                      <a:lnTo>
                        <a:pt x="74" y="64"/>
                      </a:lnTo>
                      <a:lnTo>
                        <a:pt x="76" y="62"/>
                      </a:lnTo>
                      <a:lnTo>
                        <a:pt x="79" y="62"/>
                      </a:lnTo>
                      <a:lnTo>
                        <a:pt x="80" y="64"/>
                      </a:lnTo>
                      <a:lnTo>
                        <a:pt x="80" y="64"/>
                      </a:lnTo>
                      <a:lnTo>
                        <a:pt x="84" y="67"/>
                      </a:lnTo>
                      <a:lnTo>
                        <a:pt x="93" y="68"/>
                      </a:lnTo>
                      <a:lnTo>
                        <a:pt x="93" y="68"/>
                      </a:lnTo>
                      <a:lnTo>
                        <a:pt x="96" y="67"/>
                      </a:lnTo>
                      <a:lnTo>
                        <a:pt x="99" y="62"/>
                      </a:lnTo>
                      <a:lnTo>
                        <a:pt x="100" y="60"/>
                      </a:lnTo>
                      <a:lnTo>
                        <a:pt x="103" y="55"/>
                      </a:lnTo>
                      <a:lnTo>
                        <a:pt x="103" y="55"/>
                      </a:lnTo>
                      <a:lnTo>
                        <a:pt x="108" y="52"/>
                      </a:lnTo>
                      <a:lnTo>
                        <a:pt x="113" y="49"/>
                      </a:lnTo>
                      <a:lnTo>
                        <a:pt x="124" y="46"/>
                      </a:lnTo>
                      <a:lnTo>
                        <a:pt x="124" y="46"/>
                      </a:lnTo>
                      <a:lnTo>
                        <a:pt x="126" y="45"/>
                      </a:lnTo>
                      <a:lnTo>
                        <a:pt x="132" y="41"/>
                      </a:lnTo>
                      <a:lnTo>
                        <a:pt x="137" y="36"/>
                      </a:lnTo>
                      <a:lnTo>
                        <a:pt x="142" y="33"/>
                      </a:lnTo>
                      <a:lnTo>
                        <a:pt x="142" y="33"/>
                      </a:lnTo>
                      <a:lnTo>
                        <a:pt x="150" y="31"/>
                      </a:lnTo>
                      <a:lnTo>
                        <a:pt x="153" y="29"/>
                      </a:lnTo>
                      <a:lnTo>
                        <a:pt x="153" y="25"/>
                      </a:lnTo>
                      <a:lnTo>
                        <a:pt x="153" y="25"/>
                      </a:lnTo>
                      <a:lnTo>
                        <a:pt x="154" y="19"/>
                      </a:lnTo>
                      <a:lnTo>
                        <a:pt x="154" y="19"/>
                      </a:lnTo>
                      <a:lnTo>
                        <a:pt x="147" y="18"/>
                      </a:lnTo>
                      <a:lnTo>
                        <a:pt x="141" y="1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872" name="Freeform 826"/>
                <p:cNvSpPr>
                  <a:spLocks/>
                </p:cNvSpPr>
                <p:nvPr/>
              </p:nvSpPr>
              <p:spPr bwMode="auto">
                <a:xfrm>
                  <a:off x="4547268" y="2575194"/>
                  <a:ext cx="16817" cy="34624"/>
                </a:xfrm>
                <a:custGeom>
                  <a:avLst/>
                  <a:gdLst>
                    <a:gd name="T0" fmla="*/ 14 w 17"/>
                    <a:gd name="T1" fmla="*/ 0 h 35"/>
                    <a:gd name="T2" fmla="*/ 14 w 17"/>
                    <a:gd name="T3" fmla="*/ 0 h 35"/>
                    <a:gd name="T4" fmla="*/ 7 w 17"/>
                    <a:gd name="T5" fmla="*/ 5 h 35"/>
                    <a:gd name="T6" fmla="*/ 1 w 17"/>
                    <a:gd name="T7" fmla="*/ 12 h 35"/>
                    <a:gd name="T8" fmla="*/ 1 w 17"/>
                    <a:gd name="T9" fmla="*/ 12 h 35"/>
                    <a:gd name="T10" fmla="*/ 0 w 17"/>
                    <a:gd name="T11" fmla="*/ 15 h 35"/>
                    <a:gd name="T12" fmla="*/ 0 w 17"/>
                    <a:gd name="T13" fmla="*/ 18 h 35"/>
                    <a:gd name="T14" fmla="*/ 1 w 17"/>
                    <a:gd name="T15" fmla="*/ 25 h 35"/>
                    <a:gd name="T16" fmla="*/ 4 w 17"/>
                    <a:gd name="T17" fmla="*/ 32 h 35"/>
                    <a:gd name="T18" fmla="*/ 5 w 17"/>
                    <a:gd name="T19" fmla="*/ 34 h 35"/>
                    <a:gd name="T20" fmla="*/ 7 w 17"/>
                    <a:gd name="T21" fmla="*/ 35 h 35"/>
                    <a:gd name="T22" fmla="*/ 7 w 17"/>
                    <a:gd name="T23" fmla="*/ 35 h 35"/>
                    <a:gd name="T24" fmla="*/ 10 w 17"/>
                    <a:gd name="T25" fmla="*/ 34 h 35"/>
                    <a:gd name="T26" fmla="*/ 13 w 17"/>
                    <a:gd name="T27" fmla="*/ 29 h 35"/>
                    <a:gd name="T28" fmla="*/ 16 w 17"/>
                    <a:gd name="T29" fmla="*/ 23 h 35"/>
                    <a:gd name="T30" fmla="*/ 16 w 17"/>
                    <a:gd name="T31" fmla="*/ 19 h 35"/>
                    <a:gd name="T32" fmla="*/ 16 w 17"/>
                    <a:gd name="T33" fmla="*/ 19 h 35"/>
                    <a:gd name="T34" fmla="*/ 17 w 17"/>
                    <a:gd name="T35" fmla="*/ 6 h 35"/>
                    <a:gd name="T36" fmla="*/ 16 w 17"/>
                    <a:gd name="T37" fmla="*/ 2 h 35"/>
                    <a:gd name="T38" fmla="*/ 16 w 17"/>
                    <a:gd name="T39" fmla="*/ 0 h 35"/>
                    <a:gd name="T40" fmla="*/ 14 w 17"/>
                    <a:gd name="T4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7" h="35">
                      <a:moveTo>
                        <a:pt x="14" y="0"/>
                      </a:moveTo>
                      <a:lnTo>
                        <a:pt x="14" y="0"/>
                      </a:lnTo>
                      <a:lnTo>
                        <a:pt x="7" y="5"/>
                      </a:lnTo>
                      <a:lnTo>
                        <a:pt x="1" y="12"/>
                      </a:lnTo>
                      <a:lnTo>
                        <a:pt x="1" y="12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5"/>
                      </a:lnTo>
                      <a:lnTo>
                        <a:pt x="4" y="32"/>
                      </a:lnTo>
                      <a:lnTo>
                        <a:pt x="5" y="34"/>
                      </a:lnTo>
                      <a:lnTo>
                        <a:pt x="7" y="35"/>
                      </a:lnTo>
                      <a:lnTo>
                        <a:pt x="7" y="35"/>
                      </a:lnTo>
                      <a:lnTo>
                        <a:pt x="10" y="34"/>
                      </a:lnTo>
                      <a:lnTo>
                        <a:pt x="13" y="29"/>
                      </a:lnTo>
                      <a:lnTo>
                        <a:pt x="16" y="23"/>
                      </a:lnTo>
                      <a:lnTo>
                        <a:pt x="16" y="19"/>
                      </a:lnTo>
                      <a:lnTo>
                        <a:pt x="16" y="19"/>
                      </a:lnTo>
                      <a:lnTo>
                        <a:pt x="17" y="6"/>
                      </a:lnTo>
                      <a:lnTo>
                        <a:pt x="16" y="2"/>
                      </a:lnTo>
                      <a:lnTo>
                        <a:pt x="16" y="0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873" name="Freeform 827"/>
                <p:cNvSpPr>
                  <a:spLocks/>
                </p:cNvSpPr>
                <p:nvPr/>
              </p:nvSpPr>
              <p:spPr bwMode="auto">
                <a:xfrm>
                  <a:off x="4547268" y="2575194"/>
                  <a:ext cx="16817" cy="34624"/>
                </a:xfrm>
                <a:custGeom>
                  <a:avLst/>
                  <a:gdLst>
                    <a:gd name="T0" fmla="*/ 14 w 17"/>
                    <a:gd name="T1" fmla="*/ 0 h 35"/>
                    <a:gd name="T2" fmla="*/ 14 w 17"/>
                    <a:gd name="T3" fmla="*/ 0 h 35"/>
                    <a:gd name="T4" fmla="*/ 7 w 17"/>
                    <a:gd name="T5" fmla="*/ 5 h 35"/>
                    <a:gd name="T6" fmla="*/ 1 w 17"/>
                    <a:gd name="T7" fmla="*/ 12 h 35"/>
                    <a:gd name="T8" fmla="*/ 1 w 17"/>
                    <a:gd name="T9" fmla="*/ 12 h 35"/>
                    <a:gd name="T10" fmla="*/ 0 w 17"/>
                    <a:gd name="T11" fmla="*/ 15 h 35"/>
                    <a:gd name="T12" fmla="*/ 0 w 17"/>
                    <a:gd name="T13" fmla="*/ 18 h 35"/>
                    <a:gd name="T14" fmla="*/ 1 w 17"/>
                    <a:gd name="T15" fmla="*/ 25 h 35"/>
                    <a:gd name="T16" fmla="*/ 4 w 17"/>
                    <a:gd name="T17" fmla="*/ 32 h 35"/>
                    <a:gd name="T18" fmla="*/ 5 w 17"/>
                    <a:gd name="T19" fmla="*/ 34 h 35"/>
                    <a:gd name="T20" fmla="*/ 7 w 17"/>
                    <a:gd name="T21" fmla="*/ 35 h 35"/>
                    <a:gd name="T22" fmla="*/ 7 w 17"/>
                    <a:gd name="T23" fmla="*/ 35 h 35"/>
                    <a:gd name="T24" fmla="*/ 10 w 17"/>
                    <a:gd name="T25" fmla="*/ 34 h 35"/>
                    <a:gd name="T26" fmla="*/ 13 w 17"/>
                    <a:gd name="T27" fmla="*/ 29 h 35"/>
                    <a:gd name="T28" fmla="*/ 16 w 17"/>
                    <a:gd name="T29" fmla="*/ 23 h 35"/>
                    <a:gd name="T30" fmla="*/ 16 w 17"/>
                    <a:gd name="T31" fmla="*/ 19 h 35"/>
                    <a:gd name="T32" fmla="*/ 16 w 17"/>
                    <a:gd name="T33" fmla="*/ 19 h 35"/>
                    <a:gd name="T34" fmla="*/ 17 w 17"/>
                    <a:gd name="T35" fmla="*/ 6 h 35"/>
                    <a:gd name="T36" fmla="*/ 16 w 17"/>
                    <a:gd name="T37" fmla="*/ 2 h 35"/>
                    <a:gd name="T38" fmla="*/ 16 w 17"/>
                    <a:gd name="T39" fmla="*/ 0 h 35"/>
                    <a:gd name="T40" fmla="*/ 14 w 17"/>
                    <a:gd name="T4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7" h="35">
                      <a:moveTo>
                        <a:pt x="14" y="0"/>
                      </a:moveTo>
                      <a:lnTo>
                        <a:pt x="14" y="0"/>
                      </a:lnTo>
                      <a:lnTo>
                        <a:pt x="7" y="5"/>
                      </a:lnTo>
                      <a:lnTo>
                        <a:pt x="1" y="12"/>
                      </a:lnTo>
                      <a:lnTo>
                        <a:pt x="1" y="12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5"/>
                      </a:lnTo>
                      <a:lnTo>
                        <a:pt x="4" y="32"/>
                      </a:lnTo>
                      <a:lnTo>
                        <a:pt x="5" y="34"/>
                      </a:lnTo>
                      <a:lnTo>
                        <a:pt x="7" y="35"/>
                      </a:lnTo>
                      <a:lnTo>
                        <a:pt x="7" y="35"/>
                      </a:lnTo>
                      <a:lnTo>
                        <a:pt x="10" y="34"/>
                      </a:lnTo>
                      <a:lnTo>
                        <a:pt x="13" y="29"/>
                      </a:lnTo>
                      <a:lnTo>
                        <a:pt x="16" y="23"/>
                      </a:lnTo>
                      <a:lnTo>
                        <a:pt x="16" y="19"/>
                      </a:lnTo>
                      <a:lnTo>
                        <a:pt x="16" y="19"/>
                      </a:lnTo>
                      <a:lnTo>
                        <a:pt x="17" y="6"/>
                      </a:lnTo>
                      <a:lnTo>
                        <a:pt x="16" y="2"/>
                      </a:lnTo>
                      <a:lnTo>
                        <a:pt x="16" y="0"/>
                      </a:lnTo>
                      <a:lnTo>
                        <a:pt x="14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874" name="Freeform 828"/>
                <p:cNvSpPr>
                  <a:spLocks/>
                </p:cNvSpPr>
                <p:nvPr/>
              </p:nvSpPr>
              <p:spPr bwMode="auto">
                <a:xfrm>
                  <a:off x="4545290" y="2613775"/>
                  <a:ext cx="19785" cy="46495"/>
                </a:xfrm>
                <a:custGeom>
                  <a:avLst/>
                  <a:gdLst>
                    <a:gd name="T0" fmla="*/ 12 w 20"/>
                    <a:gd name="T1" fmla="*/ 2 h 47"/>
                    <a:gd name="T2" fmla="*/ 12 w 20"/>
                    <a:gd name="T3" fmla="*/ 2 h 47"/>
                    <a:gd name="T4" fmla="*/ 9 w 20"/>
                    <a:gd name="T5" fmla="*/ 6 h 47"/>
                    <a:gd name="T6" fmla="*/ 5 w 20"/>
                    <a:gd name="T7" fmla="*/ 12 h 47"/>
                    <a:gd name="T8" fmla="*/ 2 w 20"/>
                    <a:gd name="T9" fmla="*/ 18 h 47"/>
                    <a:gd name="T10" fmla="*/ 0 w 20"/>
                    <a:gd name="T11" fmla="*/ 21 h 47"/>
                    <a:gd name="T12" fmla="*/ 0 w 20"/>
                    <a:gd name="T13" fmla="*/ 21 h 47"/>
                    <a:gd name="T14" fmla="*/ 0 w 20"/>
                    <a:gd name="T15" fmla="*/ 34 h 47"/>
                    <a:gd name="T16" fmla="*/ 0 w 20"/>
                    <a:gd name="T17" fmla="*/ 41 h 47"/>
                    <a:gd name="T18" fmla="*/ 0 w 20"/>
                    <a:gd name="T19" fmla="*/ 44 h 47"/>
                    <a:gd name="T20" fmla="*/ 2 w 20"/>
                    <a:gd name="T21" fmla="*/ 45 h 47"/>
                    <a:gd name="T22" fmla="*/ 2 w 20"/>
                    <a:gd name="T23" fmla="*/ 45 h 47"/>
                    <a:gd name="T24" fmla="*/ 5 w 20"/>
                    <a:gd name="T25" fmla="*/ 47 h 47"/>
                    <a:gd name="T26" fmla="*/ 7 w 20"/>
                    <a:gd name="T27" fmla="*/ 47 h 47"/>
                    <a:gd name="T28" fmla="*/ 12 w 20"/>
                    <a:gd name="T29" fmla="*/ 44 h 47"/>
                    <a:gd name="T30" fmla="*/ 18 w 20"/>
                    <a:gd name="T31" fmla="*/ 40 h 47"/>
                    <a:gd name="T32" fmla="*/ 19 w 20"/>
                    <a:gd name="T33" fmla="*/ 35 h 47"/>
                    <a:gd name="T34" fmla="*/ 19 w 20"/>
                    <a:gd name="T35" fmla="*/ 35 h 47"/>
                    <a:gd name="T36" fmla="*/ 20 w 20"/>
                    <a:gd name="T37" fmla="*/ 26 h 47"/>
                    <a:gd name="T38" fmla="*/ 20 w 20"/>
                    <a:gd name="T39" fmla="*/ 13 h 47"/>
                    <a:gd name="T40" fmla="*/ 20 w 20"/>
                    <a:gd name="T41" fmla="*/ 8 h 47"/>
                    <a:gd name="T42" fmla="*/ 19 w 20"/>
                    <a:gd name="T43" fmla="*/ 3 h 47"/>
                    <a:gd name="T44" fmla="*/ 16 w 20"/>
                    <a:gd name="T45" fmla="*/ 0 h 47"/>
                    <a:gd name="T46" fmla="*/ 12 w 20"/>
                    <a:gd name="T47" fmla="*/ 2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0" h="47">
                      <a:moveTo>
                        <a:pt x="12" y="2"/>
                      </a:moveTo>
                      <a:lnTo>
                        <a:pt x="12" y="2"/>
                      </a:lnTo>
                      <a:lnTo>
                        <a:pt x="9" y="6"/>
                      </a:lnTo>
                      <a:lnTo>
                        <a:pt x="5" y="12"/>
                      </a:lnTo>
                      <a:lnTo>
                        <a:pt x="2" y="18"/>
                      </a:lnTo>
                      <a:lnTo>
                        <a:pt x="0" y="21"/>
                      </a:lnTo>
                      <a:lnTo>
                        <a:pt x="0" y="21"/>
                      </a:lnTo>
                      <a:lnTo>
                        <a:pt x="0" y="34"/>
                      </a:lnTo>
                      <a:lnTo>
                        <a:pt x="0" y="41"/>
                      </a:lnTo>
                      <a:lnTo>
                        <a:pt x="0" y="44"/>
                      </a:lnTo>
                      <a:lnTo>
                        <a:pt x="2" y="45"/>
                      </a:lnTo>
                      <a:lnTo>
                        <a:pt x="2" y="45"/>
                      </a:lnTo>
                      <a:lnTo>
                        <a:pt x="5" y="47"/>
                      </a:lnTo>
                      <a:lnTo>
                        <a:pt x="7" y="47"/>
                      </a:lnTo>
                      <a:lnTo>
                        <a:pt x="12" y="44"/>
                      </a:lnTo>
                      <a:lnTo>
                        <a:pt x="18" y="40"/>
                      </a:lnTo>
                      <a:lnTo>
                        <a:pt x="19" y="35"/>
                      </a:lnTo>
                      <a:lnTo>
                        <a:pt x="19" y="35"/>
                      </a:lnTo>
                      <a:lnTo>
                        <a:pt x="20" y="26"/>
                      </a:lnTo>
                      <a:lnTo>
                        <a:pt x="20" y="13"/>
                      </a:lnTo>
                      <a:lnTo>
                        <a:pt x="20" y="8"/>
                      </a:lnTo>
                      <a:lnTo>
                        <a:pt x="19" y="3"/>
                      </a:lnTo>
                      <a:lnTo>
                        <a:pt x="16" y="0"/>
                      </a:lnTo>
                      <a:lnTo>
                        <a:pt x="12" y="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875" name="Freeform 829"/>
                <p:cNvSpPr>
                  <a:spLocks/>
                </p:cNvSpPr>
                <p:nvPr/>
              </p:nvSpPr>
              <p:spPr bwMode="auto">
                <a:xfrm>
                  <a:off x="4545290" y="2613775"/>
                  <a:ext cx="19785" cy="46495"/>
                </a:xfrm>
                <a:custGeom>
                  <a:avLst/>
                  <a:gdLst>
                    <a:gd name="T0" fmla="*/ 12 w 20"/>
                    <a:gd name="T1" fmla="*/ 2 h 47"/>
                    <a:gd name="T2" fmla="*/ 12 w 20"/>
                    <a:gd name="T3" fmla="*/ 2 h 47"/>
                    <a:gd name="T4" fmla="*/ 9 w 20"/>
                    <a:gd name="T5" fmla="*/ 6 h 47"/>
                    <a:gd name="T6" fmla="*/ 5 w 20"/>
                    <a:gd name="T7" fmla="*/ 12 h 47"/>
                    <a:gd name="T8" fmla="*/ 2 w 20"/>
                    <a:gd name="T9" fmla="*/ 18 h 47"/>
                    <a:gd name="T10" fmla="*/ 0 w 20"/>
                    <a:gd name="T11" fmla="*/ 21 h 47"/>
                    <a:gd name="T12" fmla="*/ 0 w 20"/>
                    <a:gd name="T13" fmla="*/ 21 h 47"/>
                    <a:gd name="T14" fmla="*/ 0 w 20"/>
                    <a:gd name="T15" fmla="*/ 34 h 47"/>
                    <a:gd name="T16" fmla="*/ 0 w 20"/>
                    <a:gd name="T17" fmla="*/ 41 h 47"/>
                    <a:gd name="T18" fmla="*/ 0 w 20"/>
                    <a:gd name="T19" fmla="*/ 44 h 47"/>
                    <a:gd name="T20" fmla="*/ 2 w 20"/>
                    <a:gd name="T21" fmla="*/ 45 h 47"/>
                    <a:gd name="T22" fmla="*/ 2 w 20"/>
                    <a:gd name="T23" fmla="*/ 45 h 47"/>
                    <a:gd name="T24" fmla="*/ 5 w 20"/>
                    <a:gd name="T25" fmla="*/ 47 h 47"/>
                    <a:gd name="T26" fmla="*/ 7 w 20"/>
                    <a:gd name="T27" fmla="*/ 47 h 47"/>
                    <a:gd name="T28" fmla="*/ 12 w 20"/>
                    <a:gd name="T29" fmla="*/ 44 h 47"/>
                    <a:gd name="T30" fmla="*/ 18 w 20"/>
                    <a:gd name="T31" fmla="*/ 40 h 47"/>
                    <a:gd name="T32" fmla="*/ 19 w 20"/>
                    <a:gd name="T33" fmla="*/ 35 h 47"/>
                    <a:gd name="T34" fmla="*/ 19 w 20"/>
                    <a:gd name="T35" fmla="*/ 35 h 47"/>
                    <a:gd name="T36" fmla="*/ 20 w 20"/>
                    <a:gd name="T37" fmla="*/ 26 h 47"/>
                    <a:gd name="T38" fmla="*/ 20 w 20"/>
                    <a:gd name="T39" fmla="*/ 13 h 47"/>
                    <a:gd name="T40" fmla="*/ 20 w 20"/>
                    <a:gd name="T41" fmla="*/ 8 h 47"/>
                    <a:gd name="T42" fmla="*/ 19 w 20"/>
                    <a:gd name="T43" fmla="*/ 3 h 47"/>
                    <a:gd name="T44" fmla="*/ 16 w 20"/>
                    <a:gd name="T45" fmla="*/ 0 h 47"/>
                    <a:gd name="T46" fmla="*/ 12 w 20"/>
                    <a:gd name="T47" fmla="*/ 2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0" h="47">
                      <a:moveTo>
                        <a:pt x="12" y="2"/>
                      </a:moveTo>
                      <a:lnTo>
                        <a:pt x="12" y="2"/>
                      </a:lnTo>
                      <a:lnTo>
                        <a:pt x="9" y="6"/>
                      </a:lnTo>
                      <a:lnTo>
                        <a:pt x="5" y="12"/>
                      </a:lnTo>
                      <a:lnTo>
                        <a:pt x="2" y="18"/>
                      </a:lnTo>
                      <a:lnTo>
                        <a:pt x="0" y="21"/>
                      </a:lnTo>
                      <a:lnTo>
                        <a:pt x="0" y="21"/>
                      </a:lnTo>
                      <a:lnTo>
                        <a:pt x="0" y="34"/>
                      </a:lnTo>
                      <a:lnTo>
                        <a:pt x="0" y="41"/>
                      </a:lnTo>
                      <a:lnTo>
                        <a:pt x="0" y="44"/>
                      </a:lnTo>
                      <a:lnTo>
                        <a:pt x="2" y="45"/>
                      </a:lnTo>
                      <a:lnTo>
                        <a:pt x="2" y="45"/>
                      </a:lnTo>
                      <a:lnTo>
                        <a:pt x="5" y="47"/>
                      </a:lnTo>
                      <a:lnTo>
                        <a:pt x="7" y="47"/>
                      </a:lnTo>
                      <a:lnTo>
                        <a:pt x="12" y="44"/>
                      </a:lnTo>
                      <a:lnTo>
                        <a:pt x="18" y="40"/>
                      </a:lnTo>
                      <a:lnTo>
                        <a:pt x="19" y="35"/>
                      </a:lnTo>
                      <a:lnTo>
                        <a:pt x="19" y="35"/>
                      </a:lnTo>
                      <a:lnTo>
                        <a:pt x="20" y="26"/>
                      </a:lnTo>
                      <a:lnTo>
                        <a:pt x="20" y="13"/>
                      </a:lnTo>
                      <a:lnTo>
                        <a:pt x="20" y="8"/>
                      </a:lnTo>
                      <a:lnTo>
                        <a:pt x="19" y="3"/>
                      </a:lnTo>
                      <a:lnTo>
                        <a:pt x="16" y="0"/>
                      </a:lnTo>
                      <a:lnTo>
                        <a:pt x="12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876" name="Freeform 830"/>
                <p:cNvSpPr>
                  <a:spLocks/>
                </p:cNvSpPr>
                <p:nvPr/>
              </p:nvSpPr>
              <p:spPr bwMode="auto">
                <a:xfrm>
                  <a:off x="4609591" y="2679066"/>
                  <a:ext cx="46495" cy="26710"/>
                </a:xfrm>
                <a:custGeom>
                  <a:avLst/>
                  <a:gdLst>
                    <a:gd name="T0" fmla="*/ 39 w 47"/>
                    <a:gd name="T1" fmla="*/ 26 h 27"/>
                    <a:gd name="T2" fmla="*/ 39 w 47"/>
                    <a:gd name="T3" fmla="*/ 26 h 27"/>
                    <a:gd name="T4" fmla="*/ 32 w 47"/>
                    <a:gd name="T5" fmla="*/ 23 h 27"/>
                    <a:gd name="T6" fmla="*/ 28 w 47"/>
                    <a:gd name="T7" fmla="*/ 20 h 27"/>
                    <a:gd name="T8" fmla="*/ 19 w 47"/>
                    <a:gd name="T9" fmla="*/ 14 h 27"/>
                    <a:gd name="T10" fmla="*/ 19 w 47"/>
                    <a:gd name="T11" fmla="*/ 14 h 27"/>
                    <a:gd name="T12" fmla="*/ 8 w 47"/>
                    <a:gd name="T13" fmla="*/ 10 h 27"/>
                    <a:gd name="T14" fmla="*/ 2 w 47"/>
                    <a:gd name="T15" fmla="*/ 7 h 27"/>
                    <a:gd name="T16" fmla="*/ 0 w 47"/>
                    <a:gd name="T17" fmla="*/ 5 h 27"/>
                    <a:gd name="T18" fmla="*/ 0 w 47"/>
                    <a:gd name="T19" fmla="*/ 4 h 27"/>
                    <a:gd name="T20" fmla="*/ 0 w 47"/>
                    <a:gd name="T21" fmla="*/ 4 h 27"/>
                    <a:gd name="T22" fmla="*/ 5 w 47"/>
                    <a:gd name="T23" fmla="*/ 1 h 27"/>
                    <a:gd name="T24" fmla="*/ 8 w 47"/>
                    <a:gd name="T25" fmla="*/ 0 h 27"/>
                    <a:gd name="T26" fmla="*/ 12 w 47"/>
                    <a:gd name="T27" fmla="*/ 1 h 27"/>
                    <a:gd name="T28" fmla="*/ 12 w 47"/>
                    <a:gd name="T29" fmla="*/ 1 h 27"/>
                    <a:gd name="T30" fmla="*/ 22 w 47"/>
                    <a:gd name="T31" fmla="*/ 4 h 27"/>
                    <a:gd name="T32" fmla="*/ 26 w 47"/>
                    <a:gd name="T33" fmla="*/ 4 h 27"/>
                    <a:gd name="T34" fmla="*/ 31 w 47"/>
                    <a:gd name="T35" fmla="*/ 2 h 27"/>
                    <a:gd name="T36" fmla="*/ 31 w 47"/>
                    <a:gd name="T37" fmla="*/ 2 h 27"/>
                    <a:gd name="T38" fmla="*/ 41 w 47"/>
                    <a:gd name="T39" fmla="*/ 1 h 27"/>
                    <a:gd name="T40" fmla="*/ 45 w 47"/>
                    <a:gd name="T41" fmla="*/ 1 h 27"/>
                    <a:gd name="T42" fmla="*/ 47 w 47"/>
                    <a:gd name="T43" fmla="*/ 1 h 27"/>
                    <a:gd name="T44" fmla="*/ 47 w 47"/>
                    <a:gd name="T45" fmla="*/ 1 h 27"/>
                    <a:gd name="T46" fmla="*/ 47 w 47"/>
                    <a:gd name="T47" fmla="*/ 1 h 27"/>
                    <a:gd name="T48" fmla="*/ 45 w 47"/>
                    <a:gd name="T49" fmla="*/ 7 h 27"/>
                    <a:gd name="T50" fmla="*/ 44 w 47"/>
                    <a:gd name="T51" fmla="*/ 10 h 27"/>
                    <a:gd name="T52" fmla="*/ 45 w 47"/>
                    <a:gd name="T53" fmla="*/ 14 h 27"/>
                    <a:gd name="T54" fmla="*/ 45 w 47"/>
                    <a:gd name="T55" fmla="*/ 14 h 27"/>
                    <a:gd name="T56" fmla="*/ 45 w 47"/>
                    <a:gd name="T57" fmla="*/ 18 h 27"/>
                    <a:gd name="T58" fmla="*/ 45 w 47"/>
                    <a:gd name="T59" fmla="*/ 23 h 27"/>
                    <a:gd name="T60" fmla="*/ 45 w 47"/>
                    <a:gd name="T61" fmla="*/ 24 h 27"/>
                    <a:gd name="T62" fmla="*/ 44 w 47"/>
                    <a:gd name="T63" fmla="*/ 26 h 27"/>
                    <a:gd name="T64" fmla="*/ 42 w 47"/>
                    <a:gd name="T65" fmla="*/ 27 h 27"/>
                    <a:gd name="T66" fmla="*/ 39 w 47"/>
                    <a:gd name="T67" fmla="*/ 26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7" h="27">
                      <a:moveTo>
                        <a:pt x="39" y="26"/>
                      </a:moveTo>
                      <a:lnTo>
                        <a:pt x="39" y="26"/>
                      </a:lnTo>
                      <a:lnTo>
                        <a:pt x="32" y="23"/>
                      </a:lnTo>
                      <a:lnTo>
                        <a:pt x="28" y="20"/>
                      </a:lnTo>
                      <a:lnTo>
                        <a:pt x="19" y="14"/>
                      </a:lnTo>
                      <a:lnTo>
                        <a:pt x="19" y="14"/>
                      </a:lnTo>
                      <a:lnTo>
                        <a:pt x="8" y="10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5" y="1"/>
                      </a:lnTo>
                      <a:lnTo>
                        <a:pt x="8" y="0"/>
                      </a:lnTo>
                      <a:lnTo>
                        <a:pt x="12" y="1"/>
                      </a:lnTo>
                      <a:lnTo>
                        <a:pt x="12" y="1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31" y="2"/>
                      </a:lnTo>
                      <a:lnTo>
                        <a:pt x="31" y="2"/>
                      </a:lnTo>
                      <a:lnTo>
                        <a:pt x="41" y="1"/>
                      </a:lnTo>
                      <a:lnTo>
                        <a:pt x="45" y="1"/>
                      </a:lnTo>
                      <a:lnTo>
                        <a:pt x="47" y="1"/>
                      </a:lnTo>
                      <a:lnTo>
                        <a:pt x="47" y="1"/>
                      </a:lnTo>
                      <a:lnTo>
                        <a:pt x="47" y="1"/>
                      </a:lnTo>
                      <a:lnTo>
                        <a:pt x="45" y="7"/>
                      </a:lnTo>
                      <a:lnTo>
                        <a:pt x="44" y="10"/>
                      </a:lnTo>
                      <a:lnTo>
                        <a:pt x="45" y="14"/>
                      </a:lnTo>
                      <a:lnTo>
                        <a:pt x="45" y="14"/>
                      </a:lnTo>
                      <a:lnTo>
                        <a:pt x="45" y="18"/>
                      </a:lnTo>
                      <a:lnTo>
                        <a:pt x="45" y="23"/>
                      </a:lnTo>
                      <a:lnTo>
                        <a:pt x="45" y="24"/>
                      </a:lnTo>
                      <a:lnTo>
                        <a:pt x="44" y="26"/>
                      </a:lnTo>
                      <a:lnTo>
                        <a:pt x="42" y="27"/>
                      </a:lnTo>
                      <a:lnTo>
                        <a:pt x="39" y="2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877" name="Freeform 831"/>
                <p:cNvSpPr>
                  <a:spLocks/>
                </p:cNvSpPr>
                <p:nvPr/>
              </p:nvSpPr>
              <p:spPr bwMode="auto">
                <a:xfrm>
                  <a:off x="4609591" y="2679066"/>
                  <a:ext cx="46495" cy="26710"/>
                </a:xfrm>
                <a:custGeom>
                  <a:avLst/>
                  <a:gdLst>
                    <a:gd name="T0" fmla="*/ 39 w 47"/>
                    <a:gd name="T1" fmla="*/ 26 h 27"/>
                    <a:gd name="T2" fmla="*/ 39 w 47"/>
                    <a:gd name="T3" fmla="*/ 26 h 27"/>
                    <a:gd name="T4" fmla="*/ 32 w 47"/>
                    <a:gd name="T5" fmla="*/ 23 h 27"/>
                    <a:gd name="T6" fmla="*/ 28 w 47"/>
                    <a:gd name="T7" fmla="*/ 20 h 27"/>
                    <a:gd name="T8" fmla="*/ 19 w 47"/>
                    <a:gd name="T9" fmla="*/ 14 h 27"/>
                    <a:gd name="T10" fmla="*/ 19 w 47"/>
                    <a:gd name="T11" fmla="*/ 14 h 27"/>
                    <a:gd name="T12" fmla="*/ 8 w 47"/>
                    <a:gd name="T13" fmla="*/ 10 h 27"/>
                    <a:gd name="T14" fmla="*/ 2 w 47"/>
                    <a:gd name="T15" fmla="*/ 7 h 27"/>
                    <a:gd name="T16" fmla="*/ 0 w 47"/>
                    <a:gd name="T17" fmla="*/ 5 h 27"/>
                    <a:gd name="T18" fmla="*/ 0 w 47"/>
                    <a:gd name="T19" fmla="*/ 4 h 27"/>
                    <a:gd name="T20" fmla="*/ 0 w 47"/>
                    <a:gd name="T21" fmla="*/ 4 h 27"/>
                    <a:gd name="T22" fmla="*/ 5 w 47"/>
                    <a:gd name="T23" fmla="*/ 1 h 27"/>
                    <a:gd name="T24" fmla="*/ 8 w 47"/>
                    <a:gd name="T25" fmla="*/ 0 h 27"/>
                    <a:gd name="T26" fmla="*/ 12 w 47"/>
                    <a:gd name="T27" fmla="*/ 1 h 27"/>
                    <a:gd name="T28" fmla="*/ 12 w 47"/>
                    <a:gd name="T29" fmla="*/ 1 h 27"/>
                    <a:gd name="T30" fmla="*/ 22 w 47"/>
                    <a:gd name="T31" fmla="*/ 4 h 27"/>
                    <a:gd name="T32" fmla="*/ 26 w 47"/>
                    <a:gd name="T33" fmla="*/ 4 h 27"/>
                    <a:gd name="T34" fmla="*/ 31 w 47"/>
                    <a:gd name="T35" fmla="*/ 2 h 27"/>
                    <a:gd name="T36" fmla="*/ 31 w 47"/>
                    <a:gd name="T37" fmla="*/ 2 h 27"/>
                    <a:gd name="T38" fmla="*/ 41 w 47"/>
                    <a:gd name="T39" fmla="*/ 1 h 27"/>
                    <a:gd name="T40" fmla="*/ 45 w 47"/>
                    <a:gd name="T41" fmla="*/ 1 h 27"/>
                    <a:gd name="T42" fmla="*/ 47 w 47"/>
                    <a:gd name="T43" fmla="*/ 1 h 27"/>
                    <a:gd name="T44" fmla="*/ 47 w 47"/>
                    <a:gd name="T45" fmla="*/ 1 h 27"/>
                    <a:gd name="T46" fmla="*/ 47 w 47"/>
                    <a:gd name="T47" fmla="*/ 1 h 27"/>
                    <a:gd name="T48" fmla="*/ 45 w 47"/>
                    <a:gd name="T49" fmla="*/ 7 h 27"/>
                    <a:gd name="T50" fmla="*/ 44 w 47"/>
                    <a:gd name="T51" fmla="*/ 10 h 27"/>
                    <a:gd name="T52" fmla="*/ 45 w 47"/>
                    <a:gd name="T53" fmla="*/ 14 h 27"/>
                    <a:gd name="T54" fmla="*/ 45 w 47"/>
                    <a:gd name="T55" fmla="*/ 14 h 27"/>
                    <a:gd name="T56" fmla="*/ 45 w 47"/>
                    <a:gd name="T57" fmla="*/ 18 h 27"/>
                    <a:gd name="T58" fmla="*/ 45 w 47"/>
                    <a:gd name="T59" fmla="*/ 23 h 27"/>
                    <a:gd name="T60" fmla="*/ 45 w 47"/>
                    <a:gd name="T61" fmla="*/ 24 h 27"/>
                    <a:gd name="T62" fmla="*/ 44 w 47"/>
                    <a:gd name="T63" fmla="*/ 26 h 27"/>
                    <a:gd name="T64" fmla="*/ 42 w 47"/>
                    <a:gd name="T65" fmla="*/ 27 h 27"/>
                    <a:gd name="T66" fmla="*/ 39 w 47"/>
                    <a:gd name="T67" fmla="*/ 26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7" h="27">
                      <a:moveTo>
                        <a:pt x="39" y="26"/>
                      </a:moveTo>
                      <a:lnTo>
                        <a:pt x="39" y="26"/>
                      </a:lnTo>
                      <a:lnTo>
                        <a:pt x="32" y="23"/>
                      </a:lnTo>
                      <a:lnTo>
                        <a:pt x="28" y="20"/>
                      </a:lnTo>
                      <a:lnTo>
                        <a:pt x="19" y="14"/>
                      </a:lnTo>
                      <a:lnTo>
                        <a:pt x="19" y="14"/>
                      </a:lnTo>
                      <a:lnTo>
                        <a:pt x="8" y="10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5" y="1"/>
                      </a:lnTo>
                      <a:lnTo>
                        <a:pt x="8" y="0"/>
                      </a:lnTo>
                      <a:lnTo>
                        <a:pt x="12" y="1"/>
                      </a:lnTo>
                      <a:lnTo>
                        <a:pt x="12" y="1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31" y="2"/>
                      </a:lnTo>
                      <a:lnTo>
                        <a:pt x="31" y="2"/>
                      </a:lnTo>
                      <a:lnTo>
                        <a:pt x="41" y="1"/>
                      </a:lnTo>
                      <a:lnTo>
                        <a:pt x="45" y="1"/>
                      </a:lnTo>
                      <a:lnTo>
                        <a:pt x="47" y="1"/>
                      </a:lnTo>
                      <a:lnTo>
                        <a:pt x="47" y="1"/>
                      </a:lnTo>
                      <a:lnTo>
                        <a:pt x="47" y="1"/>
                      </a:lnTo>
                      <a:lnTo>
                        <a:pt x="45" y="7"/>
                      </a:lnTo>
                      <a:lnTo>
                        <a:pt x="44" y="10"/>
                      </a:lnTo>
                      <a:lnTo>
                        <a:pt x="45" y="14"/>
                      </a:lnTo>
                      <a:lnTo>
                        <a:pt x="45" y="14"/>
                      </a:lnTo>
                      <a:lnTo>
                        <a:pt x="45" y="18"/>
                      </a:lnTo>
                      <a:lnTo>
                        <a:pt x="45" y="23"/>
                      </a:lnTo>
                      <a:lnTo>
                        <a:pt x="45" y="24"/>
                      </a:lnTo>
                      <a:lnTo>
                        <a:pt x="44" y="26"/>
                      </a:lnTo>
                      <a:lnTo>
                        <a:pt x="42" y="27"/>
                      </a:lnTo>
                      <a:lnTo>
                        <a:pt x="39" y="2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878" name="Freeform 832"/>
                <p:cNvSpPr>
                  <a:spLocks/>
                </p:cNvSpPr>
                <p:nvPr/>
              </p:nvSpPr>
              <p:spPr bwMode="auto">
                <a:xfrm>
                  <a:off x="4787658" y="2725561"/>
                  <a:ext cx="44517" cy="8903"/>
                </a:xfrm>
                <a:custGeom>
                  <a:avLst/>
                  <a:gdLst>
                    <a:gd name="T0" fmla="*/ 43 w 45"/>
                    <a:gd name="T1" fmla="*/ 9 h 9"/>
                    <a:gd name="T2" fmla="*/ 43 w 45"/>
                    <a:gd name="T3" fmla="*/ 9 h 9"/>
                    <a:gd name="T4" fmla="*/ 27 w 45"/>
                    <a:gd name="T5" fmla="*/ 9 h 9"/>
                    <a:gd name="T6" fmla="*/ 17 w 45"/>
                    <a:gd name="T7" fmla="*/ 8 h 9"/>
                    <a:gd name="T8" fmla="*/ 17 w 45"/>
                    <a:gd name="T9" fmla="*/ 8 h 9"/>
                    <a:gd name="T10" fmla="*/ 6 w 45"/>
                    <a:gd name="T11" fmla="*/ 5 h 9"/>
                    <a:gd name="T12" fmla="*/ 0 w 45"/>
                    <a:gd name="T13" fmla="*/ 5 h 9"/>
                    <a:gd name="T14" fmla="*/ 0 w 45"/>
                    <a:gd name="T15" fmla="*/ 3 h 9"/>
                    <a:gd name="T16" fmla="*/ 0 w 45"/>
                    <a:gd name="T17" fmla="*/ 3 h 9"/>
                    <a:gd name="T18" fmla="*/ 0 w 45"/>
                    <a:gd name="T19" fmla="*/ 3 h 9"/>
                    <a:gd name="T20" fmla="*/ 1 w 45"/>
                    <a:gd name="T21" fmla="*/ 2 h 9"/>
                    <a:gd name="T22" fmla="*/ 6 w 45"/>
                    <a:gd name="T23" fmla="*/ 0 h 9"/>
                    <a:gd name="T24" fmla="*/ 17 w 45"/>
                    <a:gd name="T25" fmla="*/ 0 h 9"/>
                    <a:gd name="T26" fmla="*/ 17 w 45"/>
                    <a:gd name="T27" fmla="*/ 0 h 9"/>
                    <a:gd name="T28" fmla="*/ 36 w 45"/>
                    <a:gd name="T29" fmla="*/ 5 h 9"/>
                    <a:gd name="T30" fmla="*/ 45 w 45"/>
                    <a:gd name="T31" fmla="*/ 8 h 9"/>
                    <a:gd name="T32" fmla="*/ 45 w 45"/>
                    <a:gd name="T33" fmla="*/ 9 h 9"/>
                    <a:gd name="T34" fmla="*/ 43 w 45"/>
                    <a:gd name="T3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5" h="9">
                      <a:moveTo>
                        <a:pt x="43" y="9"/>
                      </a:moveTo>
                      <a:lnTo>
                        <a:pt x="43" y="9"/>
                      </a:lnTo>
                      <a:lnTo>
                        <a:pt x="27" y="9"/>
                      </a:lnTo>
                      <a:lnTo>
                        <a:pt x="17" y="8"/>
                      </a:lnTo>
                      <a:lnTo>
                        <a:pt x="17" y="8"/>
                      </a:lnTo>
                      <a:lnTo>
                        <a:pt x="6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6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36" y="5"/>
                      </a:lnTo>
                      <a:lnTo>
                        <a:pt x="45" y="8"/>
                      </a:lnTo>
                      <a:lnTo>
                        <a:pt x="45" y="9"/>
                      </a:lnTo>
                      <a:lnTo>
                        <a:pt x="43" y="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879" name="Freeform 833"/>
                <p:cNvSpPr>
                  <a:spLocks/>
                </p:cNvSpPr>
                <p:nvPr/>
              </p:nvSpPr>
              <p:spPr bwMode="auto">
                <a:xfrm>
                  <a:off x="4787658" y="2725561"/>
                  <a:ext cx="44517" cy="8903"/>
                </a:xfrm>
                <a:custGeom>
                  <a:avLst/>
                  <a:gdLst>
                    <a:gd name="T0" fmla="*/ 43 w 45"/>
                    <a:gd name="T1" fmla="*/ 9 h 9"/>
                    <a:gd name="T2" fmla="*/ 43 w 45"/>
                    <a:gd name="T3" fmla="*/ 9 h 9"/>
                    <a:gd name="T4" fmla="*/ 27 w 45"/>
                    <a:gd name="T5" fmla="*/ 9 h 9"/>
                    <a:gd name="T6" fmla="*/ 17 w 45"/>
                    <a:gd name="T7" fmla="*/ 8 h 9"/>
                    <a:gd name="T8" fmla="*/ 17 w 45"/>
                    <a:gd name="T9" fmla="*/ 8 h 9"/>
                    <a:gd name="T10" fmla="*/ 6 w 45"/>
                    <a:gd name="T11" fmla="*/ 5 h 9"/>
                    <a:gd name="T12" fmla="*/ 0 w 45"/>
                    <a:gd name="T13" fmla="*/ 5 h 9"/>
                    <a:gd name="T14" fmla="*/ 0 w 45"/>
                    <a:gd name="T15" fmla="*/ 3 h 9"/>
                    <a:gd name="T16" fmla="*/ 0 w 45"/>
                    <a:gd name="T17" fmla="*/ 3 h 9"/>
                    <a:gd name="T18" fmla="*/ 0 w 45"/>
                    <a:gd name="T19" fmla="*/ 3 h 9"/>
                    <a:gd name="T20" fmla="*/ 1 w 45"/>
                    <a:gd name="T21" fmla="*/ 2 h 9"/>
                    <a:gd name="T22" fmla="*/ 6 w 45"/>
                    <a:gd name="T23" fmla="*/ 0 h 9"/>
                    <a:gd name="T24" fmla="*/ 17 w 45"/>
                    <a:gd name="T25" fmla="*/ 0 h 9"/>
                    <a:gd name="T26" fmla="*/ 17 w 45"/>
                    <a:gd name="T27" fmla="*/ 0 h 9"/>
                    <a:gd name="T28" fmla="*/ 36 w 45"/>
                    <a:gd name="T29" fmla="*/ 5 h 9"/>
                    <a:gd name="T30" fmla="*/ 45 w 45"/>
                    <a:gd name="T31" fmla="*/ 8 h 9"/>
                    <a:gd name="T32" fmla="*/ 45 w 45"/>
                    <a:gd name="T33" fmla="*/ 9 h 9"/>
                    <a:gd name="T34" fmla="*/ 43 w 45"/>
                    <a:gd name="T3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5" h="9">
                      <a:moveTo>
                        <a:pt x="43" y="9"/>
                      </a:moveTo>
                      <a:lnTo>
                        <a:pt x="43" y="9"/>
                      </a:lnTo>
                      <a:lnTo>
                        <a:pt x="27" y="9"/>
                      </a:lnTo>
                      <a:lnTo>
                        <a:pt x="17" y="8"/>
                      </a:lnTo>
                      <a:lnTo>
                        <a:pt x="17" y="8"/>
                      </a:lnTo>
                      <a:lnTo>
                        <a:pt x="6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6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36" y="5"/>
                      </a:lnTo>
                      <a:lnTo>
                        <a:pt x="45" y="8"/>
                      </a:lnTo>
                      <a:lnTo>
                        <a:pt x="45" y="9"/>
                      </a:lnTo>
                      <a:lnTo>
                        <a:pt x="43" y="9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880" name="Freeform 834"/>
                <p:cNvSpPr>
                  <a:spLocks/>
                </p:cNvSpPr>
                <p:nvPr/>
              </p:nvSpPr>
              <p:spPr bwMode="auto">
                <a:xfrm>
                  <a:off x="5106200" y="3519936"/>
                  <a:ext cx="115743" cy="226540"/>
                </a:xfrm>
                <a:custGeom>
                  <a:avLst/>
                  <a:gdLst>
                    <a:gd name="T0" fmla="*/ 30 w 117"/>
                    <a:gd name="T1" fmla="*/ 229 h 229"/>
                    <a:gd name="T2" fmla="*/ 24 w 117"/>
                    <a:gd name="T3" fmla="*/ 224 h 229"/>
                    <a:gd name="T4" fmla="*/ 20 w 117"/>
                    <a:gd name="T5" fmla="*/ 220 h 229"/>
                    <a:gd name="T6" fmla="*/ 11 w 117"/>
                    <a:gd name="T7" fmla="*/ 216 h 229"/>
                    <a:gd name="T8" fmla="*/ 8 w 117"/>
                    <a:gd name="T9" fmla="*/ 195 h 229"/>
                    <a:gd name="T10" fmla="*/ 7 w 117"/>
                    <a:gd name="T11" fmla="*/ 182 h 229"/>
                    <a:gd name="T12" fmla="*/ 7 w 117"/>
                    <a:gd name="T13" fmla="*/ 179 h 229"/>
                    <a:gd name="T14" fmla="*/ 1 w 117"/>
                    <a:gd name="T15" fmla="*/ 174 h 229"/>
                    <a:gd name="T16" fmla="*/ 1 w 117"/>
                    <a:gd name="T17" fmla="*/ 163 h 229"/>
                    <a:gd name="T18" fmla="*/ 11 w 117"/>
                    <a:gd name="T19" fmla="*/ 148 h 229"/>
                    <a:gd name="T20" fmla="*/ 24 w 117"/>
                    <a:gd name="T21" fmla="*/ 133 h 229"/>
                    <a:gd name="T22" fmla="*/ 23 w 117"/>
                    <a:gd name="T23" fmla="*/ 129 h 229"/>
                    <a:gd name="T24" fmla="*/ 13 w 117"/>
                    <a:gd name="T25" fmla="*/ 87 h 229"/>
                    <a:gd name="T26" fmla="*/ 20 w 117"/>
                    <a:gd name="T27" fmla="*/ 75 h 229"/>
                    <a:gd name="T28" fmla="*/ 24 w 117"/>
                    <a:gd name="T29" fmla="*/ 68 h 229"/>
                    <a:gd name="T30" fmla="*/ 31 w 117"/>
                    <a:gd name="T31" fmla="*/ 64 h 229"/>
                    <a:gd name="T32" fmla="*/ 39 w 117"/>
                    <a:gd name="T33" fmla="*/ 58 h 229"/>
                    <a:gd name="T34" fmla="*/ 43 w 117"/>
                    <a:gd name="T35" fmla="*/ 59 h 229"/>
                    <a:gd name="T36" fmla="*/ 49 w 117"/>
                    <a:gd name="T37" fmla="*/ 61 h 229"/>
                    <a:gd name="T38" fmla="*/ 53 w 117"/>
                    <a:gd name="T39" fmla="*/ 59 h 229"/>
                    <a:gd name="T40" fmla="*/ 63 w 117"/>
                    <a:gd name="T41" fmla="*/ 51 h 229"/>
                    <a:gd name="T42" fmla="*/ 72 w 117"/>
                    <a:gd name="T43" fmla="*/ 45 h 229"/>
                    <a:gd name="T44" fmla="*/ 68 w 117"/>
                    <a:gd name="T45" fmla="*/ 40 h 229"/>
                    <a:gd name="T46" fmla="*/ 70 w 117"/>
                    <a:gd name="T47" fmla="*/ 36 h 229"/>
                    <a:gd name="T48" fmla="*/ 79 w 117"/>
                    <a:gd name="T49" fmla="*/ 30 h 229"/>
                    <a:gd name="T50" fmla="*/ 82 w 117"/>
                    <a:gd name="T51" fmla="*/ 26 h 229"/>
                    <a:gd name="T52" fmla="*/ 89 w 117"/>
                    <a:gd name="T53" fmla="*/ 19 h 229"/>
                    <a:gd name="T54" fmla="*/ 91 w 117"/>
                    <a:gd name="T55" fmla="*/ 13 h 229"/>
                    <a:gd name="T56" fmla="*/ 92 w 117"/>
                    <a:gd name="T57" fmla="*/ 0 h 229"/>
                    <a:gd name="T58" fmla="*/ 98 w 117"/>
                    <a:gd name="T59" fmla="*/ 1 h 229"/>
                    <a:gd name="T60" fmla="*/ 112 w 117"/>
                    <a:gd name="T61" fmla="*/ 19 h 229"/>
                    <a:gd name="T62" fmla="*/ 117 w 117"/>
                    <a:gd name="T63" fmla="*/ 55 h 229"/>
                    <a:gd name="T64" fmla="*/ 115 w 117"/>
                    <a:gd name="T65" fmla="*/ 61 h 229"/>
                    <a:gd name="T66" fmla="*/ 112 w 117"/>
                    <a:gd name="T67" fmla="*/ 59 h 229"/>
                    <a:gd name="T68" fmla="*/ 108 w 117"/>
                    <a:gd name="T69" fmla="*/ 56 h 229"/>
                    <a:gd name="T70" fmla="*/ 108 w 117"/>
                    <a:gd name="T71" fmla="*/ 56 h 229"/>
                    <a:gd name="T72" fmla="*/ 107 w 117"/>
                    <a:gd name="T73" fmla="*/ 71 h 229"/>
                    <a:gd name="T74" fmla="*/ 94 w 117"/>
                    <a:gd name="T75" fmla="*/ 113 h 229"/>
                    <a:gd name="T76" fmla="*/ 82 w 117"/>
                    <a:gd name="T77" fmla="*/ 161 h 229"/>
                    <a:gd name="T78" fmla="*/ 75 w 117"/>
                    <a:gd name="T79" fmla="*/ 182 h 229"/>
                    <a:gd name="T80" fmla="*/ 65 w 117"/>
                    <a:gd name="T81" fmla="*/ 210 h 229"/>
                    <a:gd name="T82" fmla="*/ 56 w 117"/>
                    <a:gd name="T83" fmla="*/ 219 h 229"/>
                    <a:gd name="T84" fmla="*/ 37 w 117"/>
                    <a:gd name="T85" fmla="*/ 227 h 2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17" h="229">
                      <a:moveTo>
                        <a:pt x="31" y="229"/>
                      </a:moveTo>
                      <a:lnTo>
                        <a:pt x="31" y="229"/>
                      </a:lnTo>
                      <a:lnTo>
                        <a:pt x="30" y="229"/>
                      </a:lnTo>
                      <a:lnTo>
                        <a:pt x="30" y="229"/>
                      </a:lnTo>
                      <a:lnTo>
                        <a:pt x="27" y="227"/>
                      </a:lnTo>
                      <a:lnTo>
                        <a:pt x="24" y="224"/>
                      </a:lnTo>
                      <a:lnTo>
                        <a:pt x="23" y="221"/>
                      </a:lnTo>
                      <a:lnTo>
                        <a:pt x="20" y="220"/>
                      </a:lnTo>
                      <a:lnTo>
                        <a:pt x="20" y="220"/>
                      </a:lnTo>
                      <a:lnTo>
                        <a:pt x="17" y="220"/>
                      </a:lnTo>
                      <a:lnTo>
                        <a:pt x="14" y="219"/>
                      </a:lnTo>
                      <a:lnTo>
                        <a:pt x="11" y="216"/>
                      </a:lnTo>
                      <a:lnTo>
                        <a:pt x="10" y="210"/>
                      </a:lnTo>
                      <a:lnTo>
                        <a:pt x="10" y="210"/>
                      </a:lnTo>
                      <a:lnTo>
                        <a:pt x="8" y="195"/>
                      </a:lnTo>
                      <a:lnTo>
                        <a:pt x="8" y="187"/>
                      </a:lnTo>
                      <a:lnTo>
                        <a:pt x="7" y="182"/>
                      </a:lnTo>
                      <a:lnTo>
                        <a:pt x="7" y="182"/>
                      </a:lnTo>
                      <a:lnTo>
                        <a:pt x="5" y="181"/>
                      </a:lnTo>
                      <a:lnTo>
                        <a:pt x="7" y="181"/>
                      </a:lnTo>
                      <a:lnTo>
                        <a:pt x="7" y="179"/>
                      </a:lnTo>
                      <a:lnTo>
                        <a:pt x="5" y="178"/>
                      </a:lnTo>
                      <a:lnTo>
                        <a:pt x="5" y="178"/>
                      </a:lnTo>
                      <a:lnTo>
                        <a:pt x="1" y="174"/>
                      </a:lnTo>
                      <a:lnTo>
                        <a:pt x="0" y="168"/>
                      </a:lnTo>
                      <a:lnTo>
                        <a:pt x="0" y="168"/>
                      </a:lnTo>
                      <a:lnTo>
                        <a:pt x="1" y="163"/>
                      </a:lnTo>
                      <a:lnTo>
                        <a:pt x="2" y="159"/>
                      </a:lnTo>
                      <a:lnTo>
                        <a:pt x="5" y="153"/>
                      </a:lnTo>
                      <a:lnTo>
                        <a:pt x="11" y="148"/>
                      </a:lnTo>
                      <a:lnTo>
                        <a:pt x="11" y="148"/>
                      </a:lnTo>
                      <a:lnTo>
                        <a:pt x="21" y="137"/>
                      </a:lnTo>
                      <a:lnTo>
                        <a:pt x="24" y="133"/>
                      </a:lnTo>
                      <a:lnTo>
                        <a:pt x="24" y="132"/>
                      </a:lnTo>
                      <a:lnTo>
                        <a:pt x="23" y="129"/>
                      </a:lnTo>
                      <a:lnTo>
                        <a:pt x="23" y="129"/>
                      </a:lnTo>
                      <a:lnTo>
                        <a:pt x="17" y="107"/>
                      </a:lnTo>
                      <a:lnTo>
                        <a:pt x="14" y="95"/>
                      </a:lnTo>
                      <a:lnTo>
                        <a:pt x="13" y="87"/>
                      </a:lnTo>
                      <a:lnTo>
                        <a:pt x="13" y="87"/>
                      </a:lnTo>
                      <a:lnTo>
                        <a:pt x="15" y="81"/>
                      </a:lnTo>
                      <a:lnTo>
                        <a:pt x="20" y="75"/>
                      </a:lnTo>
                      <a:lnTo>
                        <a:pt x="23" y="71"/>
                      </a:lnTo>
                      <a:lnTo>
                        <a:pt x="24" y="68"/>
                      </a:lnTo>
                      <a:lnTo>
                        <a:pt x="24" y="68"/>
                      </a:lnTo>
                      <a:lnTo>
                        <a:pt x="24" y="66"/>
                      </a:lnTo>
                      <a:lnTo>
                        <a:pt x="26" y="65"/>
                      </a:lnTo>
                      <a:lnTo>
                        <a:pt x="31" y="64"/>
                      </a:lnTo>
                      <a:lnTo>
                        <a:pt x="31" y="64"/>
                      </a:lnTo>
                      <a:lnTo>
                        <a:pt x="36" y="59"/>
                      </a:lnTo>
                      <a:lnTo>
                        <a:pt x="39" y="58"/>
                      </a:lnTo>
                      <a:lnTo>
                        <a:pt x="40" y="58"/>
                      </a:lnTo>
                      <a:lnTo>
                        <a:pt x="40" y="58"/>
                      </a:lnTo>
                      <a:lnTo>
                        <a:pt x="43" y="59"/>
                      </a:lnTo>
                      <a:lnTo>
                        <a:pt x="43" y="59"/>
                      </a:lnTo>
                      <a:lnTo>
                        <a:pt x="46" y="61"/>
                      </a:lnTo>
                      <a:lnTo>
                        <a:pt x="49" y="61"/>
                      </a:lnTo>
                      <a:lnTo>
                        <a:pt x="49" y="61"/>
                      </a:lnTo>
                      <a:lnTo>
                        <a:pt x="50" y="61"/>
                      </a:lnTo>
                      <a:lnTo>
                        <a:pt x="53" y="59"/>
                      </a:lnTo>
                      <a:lnTo>
                        <a:pt x="53" y="59"/>
                      </a:lnTo>
                      <a:lnTo>
                        <a:pt x="57" y="55"/>
                      </a:lnTo>
                      <a:lnTo>
                        <a:pt x="63" y="51"/>
                      </a:lnTo>
                      <a:lnTo>
                        <a:pt x="63" y="51"/>
                      </a:lnTo>
                      <a:lnTo>
                        <a:pt x="70" y="46"/>
                      </a:lnTo>
                      <a:lnTo>
                        <a:pt x="72" y="45"/>
                      </a:lnTo>
                      <a:lnTo>
                        <a:pt x="72" y="43"/>
                      </a:lnTo>
                      <a:lnTo>
                        <a:pt x="72" y="43"/>
                      </a:lnTo>
                      <a:lnTo>
                        <a:pt x="68" y="40"/>
                      </a:lnTo>
                      <a:lnTo>
                        <a:pt x="68" y="37"/>
                      </a:lnTo>
                      <a:lnTo>
                        <a:pt x="70" y="36"/>
                      </a:lnTo>
                      <a:lnTo>
                        <a:pt x="70" y="36"/>
                      </a:lnTo>
                      <a:lnTo>
                        <a:pt x="78" y="33"/>
                      </a:lnTo>
                      <a:lnTo>
                        <a:pt x="79" y="32"/>
                      </a:lnTo>
                      <a:lnTo>
                        <a:pt x="79" y="30"/>
                      </a:lnTo>
                      <a:lnTo>
                        <a:pt x="79" y="30"/>
                      </a:lnTo>
                      <a:lnTo>
                        <a:pt x="79" y="29"/>
                      </a:lnTo>
                      <a:lnTo>
                        <a:pt x="82" y="26"/>
                      </a:lnTo>
                      <a:lnTo>
                        <a:pt x="86" y="23"/>
                      </a:lnTo>
                      <a:lnTo>
                        <a:pt x="86" y="23"/>
                      </a:lnTo>
                      <a:lnTo>
                        <a:pt x="89" y="19"/>
                      </a:lnTo>
                      <a:lnTo>
                        <a:pt x="91" y="16"/>
                      </a:lnTo>
                      <a:lnTo>
                        <a:pt x="91" y="13"/>
                      </a:lnTo>
                      <a:lnTo>
                        <a:pt x="91" y="13"/>
                      </a:lnTo>
                      <a:lnTo>
                        <a:pt x="91" y="6"/>
                      </a:lnTo>
                      <a:lnTo>
                        <a:pt x="91" y="1"/>
                      </a:lnTo>
                      <a:lnTo>
                        <a:pt x="92" y="0"/>
                      </a:lnTo>
                      <a:lnTo>
                        <a:pt x="94" y="0"/>
                      </a:lnTo>
                      <a:lnTo>
                        <a:pt x="94" y="0"/>
                      </a:lnTo>
                      <a:lnTo>
                        <a:pt x="98" y="1"/>
                      </a:lnTo>
                      <a:lnTo>
                        <a:pt x="105" y="7"/>
                      </a:lnTo>
                      <a:lnTo>
                        <a:pt x="111" y="13"/>
                      </a:lnTo>
                      <a:lnTo>
                        <a:pt x="112" y="19"/>
                      </a:lnTo>
                      <a:lnTo>
                        <a:pt x="112" y="19"/>
                      </a:lnTo>
                      <a:lnTo>
                        <a:pt x="117" y="42"/>
                      </a:lnTo>
                      <a:lnTo>
                        <a:pt x="117" y="55"/>
                      </a:lnTo>
                      <a:lnTo>
                        <a:pt x="117" y="58"/>
                      </a:lnTo>
                      <a:lnTo>
                        <a:pt x="115" y="61"/>
                      </a:lnTo>
                      <a:lnTo>
                        <a:pt x="115" y="61"/>
                      </a:lnTo>
                      <a:lnTo>
                        <a:pt x="115" y="61"/>
                      </a:lnTo>
                      <a:lnTo>
                        <a:pt x="115" y="61"/>
                      </a:lnTo>
                      <a:lnTo>
                        <a:pt x="112" y="59"/>
                      </a:lnTo>
                      <a:lnTo>
                        <a:pt x="111" y="58"/>
                      </a:lnTo>
                      <a:lnTo>
                        <a:pt x="111" y="58"/>
                      </a:lnTo>
                      <a:lnTo>
                        <a:pt x="108" y="56"/>
                      </a:lnTo>
                      <a:lnTo>
                        <a:pt x="108" y="56"/>
                      </a:lnTo>
                      <a:lnTo>
                        <a:pt x="108" y="56"/>
                      </a:lnTo>
                      <a:lnTo>
                        <a:pt x="108" y="56"/>
                      </a:lnTo>
                      <a:lnTo>
                        <a:pt x="107" y="61"/>
                      </a:lnTo>
                      <a:lnTo>
                        <a:pt x="107" y="65"/>
                      </a:lnTo>
                      <a:lnTo>
                        <a:pt x="107" y="71"/>
                      </a:lnTo>
                      <a:lnTo>
                        <a:pt x="107" y="74"/>
                      </a:lnTo>
                      <a:lnTo>
                        <a:pt x="107" y="74"/>
                      </a:lnTo>
                      <a:lnTo>
                        <a:pt x="94" y="113"/>
                      </a:lnTo>
                      <a:lnTo>
                        <a:pt x="94" y="113"/>
                      </a:lnTo>
                      <a:lnTo>
                        <a:pt x="88" y="143"/>
                      </a:lnTo>
                      <a:lnTo>
                        <a:pt x="82" y="161"/>
                      </a:lnTo>
                      <a:lnTo>
                        <a:pt x="79" y="172"/>
                      </a:lnTo>
                      <a:lnTo>
                        <a:pt x="79" y="172"/>
                      </a:lnTo>
                      <a:lnTo>
                        <a:pt x="75" y="182"/>
                      </a:lnTo>
                      <a:lnTo>
                        <a:pt x="70" y="194"/>
                      </a:lnTo>
                      <a:lnTo>
                        <a:pt x="68" y="204"/>
                      </a:lnTo>
                      <a:lnTo>
                        <a:pt x="65" y="210"/>
                      </a:lnTo>
                      <a:lnTo>
                        <a:pt x="65" y="210"/>
                      </a:lnTo>
                      <a:lnTo>
                        <a:pt x="60" y="214"/>
                      </a:lnTo>
                      <a:lnTo>
                        <a:pt x="56" y="219"/>
                      </a:lnTo>
                      <a:lnTo>
                        <a:pt x="56" y="219"/>
                      </a:lnTo>
                      <a:lnTo>
                        <a:pt x="44" y="224"/>
                      </a:lnTo>
                      <a:lnTo>
                        <a:pt x="37" y="227"/>
                      </a:lnTo>
                      <a:lnTo>
                        <a:pt x="31" y="22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881" name="Freeform 835"/>
                <p:cNvSpPr>
                  <a:spLocks/>
                </p:cNvSpPr>
                <p:nvPr/>
              </p:nvSpPr>
              <p:spPr bwMode="auto">
                <a:xfrm>
                  <a:off x="5106200" y="3519936"/>
                  <a:ext cx="115743" cy="226540"/>
                </a:xfrm>
                <a:custGeom>
                  <a:avLst/>
                  <a:gdLst>
                    <a:gd name="T0" fmla="*/ 30 w 117"/>
                    <a:gd name="T1" fmla="*/ 229 h 229"/>
                    <a:gd name="T2" fmla="*/ 24 w 117"/>
                    <a:gd name="T3" fmla="*/ 224 h 229"/>
                    <a:gd name="T4" fmla="*/ 20 w 117"/>
                    <a:gd name="T5" fmla="*/ 220 h 229"/>
                    <a:gd name="T6" fmla="*/ 11 w 117"/>
                    <a:gd name="T7" fmla="*/ 216 h 229"/>
                    <a:gd name="T8" fmla="*/ 8 w 117"/>
                    <a:gd name="T9" fmla="*/ 195 h 229"/>
                    <a:gd name="T10" fmla="*/ 7 w 117"/>
                    <a:gd name="T11" fmla="*/ 182 h 229"/>
                    <a:gd name="T12" fmla="*/ 7 w 117"/>
                    <a:gd name="T13" fmla="*/ 179 h 229"/>
                    <a:gd name="T14" fmla="*/ 1 w 117"/>
                    <a:gd name="T15" fmla="*/ 174 h 229"/>
                    <a:gd name="T16" fmla="*/ 1 w 117"/>
                    <a:gd name="T17" fmla="*/ 163 h 229"/>
                    <a:gd name="T18" fmla="*/ 11 w 117"/>
                    <a:gd name="T19" fmla="*/ 148 h 229"/>
                    <a:gd name="T20" fmla="*/ 24 w 117"/>
                    <a:gd name="T21" fmla="*/ 133 h 229"/>
                    <a:gd name="T22" fmla="*/ 23 w 117"/>
                    <a:gd name="T23" fmla="*/ 129 h 229"/>
                    <a:gd name="T24" fmla="*/ 13 w 117"/>
                    <a:gd name="T25" fmla="*/ 87 h 229"/>
                    <a:gd name="T26" fmla="*/ 20 w 117"/>
                    <a:gd name="T27" fmla="*/ 75 h 229"/>
                    <a:gd name="T28" fmla="*/ 24 w 117"/>
                    <a:gd name="T29" fmla="*/ 68 h 229"/>
                    <a:gd name="T30" fmla="*/ 31 w 117"/>
                    <a:gd name="T31" fmla="*/ 64 h 229"/>
                    <a:gd name="T32" fmla="*/ 39 w 117"/>
                    <a:gd name="T33" fmla="*/ 58 h 229"/>
                    <a:gd name="T34" fmla="*/ 43 w 117"/>
                    <a:gd name="T35" fmla="*/ 59 h 229"/>
                    <a:gd name="T36" fmla="*/ 49 w 117"/>
                    <a:gd name="T37" fmla="*/ 61 h 229"/>
                    <a:gd name="T38" fmla="*/ 53 w 117"/>
                    <a:gd name="T39" fmla="*/ 59 h 229"/>
                    <a:gd name="T40" fmla="*/ 63 w 117"/>
                    <a:gd name="T41" fmla="*/ 51 h 229"/>
                    <a:gd name="T42" fmla="*/ 72 w 117"/>
                    <a:gd name="T43" fmla="*/ 45 h 229"/>
                    <a:gd name="T44" fmla="*/ 68 w 117"/>
                    <a:gd name="T45" fmla="*/ 40 h 229"/>
                    <a:gd name="T46" fmla="*/ 70 w 117"/>
                    <a:gd name="T47" fmla="*/ 36 h 229"/>
                    <a:gd name="T48" fmla="*/ 79 w 117"/>
                    <a:gd name="T49" fmla="*/ 30 h 229"/>
                    <a:gd name="T50" fmla="*/ 82 w 117"/>
                    <a:gd name="T51" fmla="*/ 26 h 229"/>
                    <a:gd name="T52" fmla="*/ 89 w 117"/>
                    <a:gd name="T53" fmla="*/ 19 h 229"/>
                    <a:gd name="T54" fmla="*/ 91 w 117"/>
                    <a:gd name="T55" fmla="*/ 13 h 229"/>
                    <a:gd name="T56" fmla="*/ 92 w 117"/>
                    <a:gd name="T57" fmla="*/ 0 h 229"/>
                    <a:gd name="T58" fmla="*/ 98 w 117"/>
                    <a:gd name="T59" fmla="*/ 1 h 229"/>
                    <a:gd name="T60" fmla="*/ 112 w 117"/>
                    <a:gd name="T61" fmla="*/ 19 h 229"/>
                    <a:gd name="T62" fmla="*/ 117 w 117"/>
                    <a:gd name="T63" fmla="*/ 55 h 229"/>
                    <a:gd name="T64" fmla="*/ 115 w 117"/>
                    <a:gd name="T65" fmla="*/ 61 h 229"/>
                    <a:gd name="T66" fmla="*/ 112 w 117"/>
                    <a:gd name="T67" fmla="*/ 59 h 229"/>
                    <a:gd name="T68" fmla="*/ 108 w 117"/>
                    <a:gd name="T69" fmla="*/ 56 h 229"/>
                    <a:gd name="T70" fmla="*/ 108 w 117"/>
                    <a:gd name="T71" fmla="*/ 56 h 229"/>
                    <a:gd name="T72" fmla="*/ 107 w 117"/>
                    <a:gd name="T73" fmla="*/ 71 h 229"/>
                    <a:gd name="T74" fmla="*/ 94 w 117"/>
                    <a:gd name="T75" fmla="*/ 113 h 229"/>
                    <a:gd name="T76" fmla="*/ 82 w 117"/>
                    <a:gd name="T77" fmla="*/ 161 h 229"/>
                    <a:gd name="T78" fmla="*/ 75 w 117"/>
                    <a:gd name="T79" fmla="*/ 182 h 229"/>
                    <a:gd name="T80" fmla="*/ 65 w 117"/>
                    <a:gd name="T81" fmla="*/ 210 h 229"/>
                    <a:gd name="T82" fmla="*/ 56 w 117"/>
                    <a:gd name="T83" fmla="*/ 219 h 229"/>
                    <a:gd name="T84" fmla="*/ 37 w 117"/>
                    <a:gd name="T85" fmla="*/ 227 h 2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17" h="229">
                      <a:moveTo>
                        <a:pt x="31" y="229"/>
                      </a:moveTo>
                      <a:lnTo>
                        <a:pt x="31" y="229"/>
                      </a:lnTo>
                      <a:lnTo>
                        <a:pt x="30" y="229"/>
                      </a:lnTo>
                      <a:lnTo>
                        <a:pt x="30" y="229"/>
                      </a:lnTo>
                      <a:lnTo>
                        <a:pt x="27" y="227"/>
                      </a:lnTo>
                      <a:lnTo>
                        <a:pt x="24" y="224"/>
                      </a:lnTo>
                      <a:lnTo>
                        <a:pt x="23" y="221"/>
                      </a:lnTo>
                      <a:lnTo>
                        <a:pt x="20" y="220"/>
                      </a:lnTo>
                      <a:lnTo>
                        <a:pt x="20" y="220"/>
                      </a:lnTo>
                      <a:lnTo>
                        <a:pt x="17" y="220"/>
                      </a:lnTo>
                      <a:lnTo>
                        <a:pt x="14" y="219"/>
                      </a:lnTo>
                      <a:lnTo>
                        <a:pt x="11" y="216"/>
                      </a:lnTo>
                      <a:lnTo>
                        <a:pt x="10" y="210"/>
                      </a:lnTo>
                      <a:lnTo>
                        <a:pt x="10" y="210"/>
                      </a:lnTo>
                      <a:lnTo>
                        <a:pt x="8" y="195"/>
                      </a:lnTo>
                      <a:lnTo>
                        <a:pt x="8" y="187"/>
                      </a:lnTo>
                      <a:lnTo>
                        <a:pt x="7" y="182"/>
                      </a:lnTo>
                      <a:lnTo>
                        <a:pt x="7" y="182"/>
                      </a:lnTo>
                      <a:lnTo>
                        <a:pt x="5" y="181"/>
                      </a:lnTo>
                      <a:lnTo>
                        <a:pt x="7" y="181"/>
                      </a:lnTo>
                      <a:lnTo>
                        <a:pt x="7" y="179"/>
                      </a:lnTo>
                      <a:lnTo>
                        <a:pt x="5" y="178"/>
                      </a:lnTo>
                      <a:lnTo>
                        <a:pt x="5" y="178"/>
                      </a:lnTo>
                      <a:lnTo>
                        <a:pt x="1" y="174"/>
                      </a:lnTo>
                      <a:lnTo>
                        <a:pt x="0" y="168"/>
                      </a:lnTo>
                      <a:lnTo>
                        <a:pt x="0" y="168"/>
                      </a:lnTo>
                      <a:lnTo>
                        <a:pt x="1" y="163"/>
                      </a:lnTo>
                      <a:lnTo>
                        <a:pt x="2" y="159"/>
                      </a:lnTo>
                      <a:lnTo>
                        <a:pt x="5" y="153"/>
                      </a:lnTo>
                      <a:lnTo>
                        <a:pt x="11" y="148"/>
                      </a:lnTo>
                      <a:lnTo>
                        <a:pt x="11" y="148"/>
                      </a:lnTo>
                      <a:lnTo>
                        <a:pt x="21" y="137"/>
                      </a:lnTo>
                      <a:lnTo>
                        <a:pt x="24" y="133"/>
                      </a:lnTo>
                      <a:lnTo>
                        <a:pt x="24" y="132"/>
                      </a:lnTo>
                      <a:lnTo>
                        <a:pt x="23" y="129"/>
                      </a:lnTo>
                      <a:lnTo>
                        <a:pt x="23" y="129"/>
                      </a:lnTo>
                      <a:lnTo>
                        <a:pt x="17" y="107"/>
                      </a:lnTo>
                      <a:lnTo>
                        <a:pt x="14" y="95"/>
                      </a:lnTo>
                      <a:lnTo>
                        <a:pt x="13" y="87"/>
                      </a:lnTo>
                      <a:lnTo>
                        <a:pt x="13" y="87"/>
                      </a:lnTo>
                      <a:lnTo>
                        <a:pt x="15" y="81"/>
                      </a:lnTo>
                      <a:lnTo>
                        <a:pt x="20" y="75"/>
                      </a:lnTo>
                      <a:lnTo>
                        <a:pt x="23" y="71"/>
                      </a:lnTo>
                      <a:lnTo>
                        <a:pt x="24" y="68"/>
                      </a:lnTo>
                      <a:lnTo>
                        <a:pt x="24" y="68"/>
                      </a:lnTo>
                      <a:lnTo>
                        <a:pt x="24" y="66"/>
                      </a:lnTo>
                      <a:lnTo>
                        <a:pt x="26" y="65"/>
                      </a:lnTo>
                      <a:lnTo>
                        <a:pt x="31" y="64"/>
                      </a:lnTo>
                      <a:lnTo>
                        <a:pt x="31" y="64"/>
                      </a:lnTo>
                      <a:lnTo>
                        <a:pt x="36" y="59"/>
                      </a:lnTo>
                      <a:lnTo>
                        <a:pt x="39" y="58"/>
                      </a:lnTo>
                      <a:lnTo>
                        <a:pt x="40" y="58"/>
                      </a:lnTo>
                      <a:lnTo>
                        <a:pt x="40" y="58"/>
                      </a:lnTo>
                      <a:lnTo>
                        <a:pt x="43" y="59"/>
                      </a:lnTo>
                      <a:lnTo>
                        <a:pt x="43" y="59"/>
                      </a:lnTo>
                      <a:lnTo>
                        <a:pt x="46" y="61"/>
                      </a:lnTo>
                      <a:lnTo>
                        <a:pt x="49" y="61"/>
                      </a:lnTo>
                      <a:lnTo>
                        <a:pt x="49" y="61"/>
                      </a:lnTo>
                      <a:lnTo>
                        <a:pt x="50" y="61"/>
                      </a:lnTo>
                      <a:lnTo>
                        <a:pt x="53" y="59"/>
                      </a:lnTo>
                      <a:lnTo>
                        <a:pt x="53" y="59"/>
                      </a:lnTo>
                      <a:lnTo>
                        <a:pt x="57" y="55"/>
                      </a:lnTo>
                      <a:lnTo>
                        <a:pt x="63" y="51"/>
                      </a:lnTo>
                      <a:lnTo>
                        <a:pt x="63" y="51"/>
                      </a:lnTo>
                      <a:lnTo>
                        <a:pt x="70" y="46"/>
                      </a:lnTo>
                      <a:lnTo>
                        <a:pt x="72" y="45"/>
                      </a:lnTo>
                      <a:lnTo>
                        <a:pt x="72" y="43"/>
                      </a:lnTo>
                      <a:lnTo>
                        <a:pt x="72" y="43"/>
                      </a:lnTo>
                      <a:lnTo>
                        <a:pt x="68" y="40"/>
                      </a:lnTo>
                      <a:lnTo>
                        <a:pt x="68" y="37"/>
                      </a:lnTo>
                      <a:lnTo>
                        <a:pt x="70" y="36"/>
                      </a:lnTo>
                      <a:lnTo>
                        <a:pt x="70" y="36"/>
                      </a:lnTo>
                      <a:lnTo>
                        <a:pt x="78" y="33"/>
                      </a:lnTo>
                      <a:lnTo>
                        <a:pt x="79" y="32"/>
                      </a:lnTo>
                      <a:lnTo>
                        <a:pt x="79" y="30"/>
                      </a:lnTo>
                      <a:lnTo>
                        <a:pt x="79" y="30"/>
                      </a:lnTo>
                      <a:lnTo>
                        <a:pt x="79" y="29"/>
                      </a:lnTo>
                      <a:lnTo>
                        <a:pt x="82" y="26"/>
                      </a:lnTo>
                      <a:lnTo>
                        <a:pt x="86" y="23"/>
                      </a:lnTo>
                      <a:lnTo>
                        <a:pt x="86" y="23"/>
                      </a:lnTo>
                      <a:lnTo>
                        <a:pt x="89" y="19"/>
                      </a:lnTo>
                      <a:lnTo>
                        <a:pt x="91" y="16"/>
                      </a:lnTo>
                      <a:lnTo>
                        <a:pt x="91" y="13"/>
                      </a:lnTo>
                      <a:lnTo>
                        <a:pt x="91" y="13"/>
                      </a:lnTo>
                      <a:lnTo>
                        <a:pt x="91" y="6"/>
                      </a:lnTo>
                      <a:lnTo>
                        <a:pt x="91" y="1"/>
                      </a:lnTo>
                      <a:lnTo>
                        <a:pt x="92" y="0"/>
                      </a:lnTo>
                      <a:lnTo>
                        <a:pt x="94" y="0"/>
                      </a:lnTo>
                      <a:lnTo>
                        <a:pt x="94" y="0"/>
                      </a:lnTo>
                      <a:lnTo>
                        <a:pt x="98" y="1"/>
                      </a:lnTo>
                      <a:lnTo>
                        <a:pt x="105" y="7"/>
                      </a:lnTo>
                      <a:lnTo>
                        <a:pt x="111" y="13"/>
                      </a:lnTo>
                      <a:lnTo>
                        <a:pt x="112" y="19"/>
                      </a:lnTo>
                      <a:lnTo>
                        <a:pt x="112" y="19"/>
                      </a:lnTo>
                      <a:lnTo>
                        <a:pt x="117" y="42"/>
                      </a:lnTo>
                      <a:lnTo>
                        <a:pt x="117" y="55"/>
                      </a:lnTo>
                      <a:lnTo>
                        <a:pt x="117" y="58"/>
                      </a:lnTo>
                      <a:lnTo>
                        <a:pt x="115" y="61"/>
                      </a:lnTo>
                      <a:lnTo>
                        <a:pt x="115" y="61"/>
                      </a:lnTo>
                      <a:lnTo>
                        <a:pt x="115" y="61"/>
                      </a:lnTo>
                      <a:lnTo>
                        <a:pt x="115" y="61"/>
                      </a:lnTo>
                      <a:lnTo>
                        <a:pt x="112" y="59"/>
                      </a:lnTo>
                      <a:lnTo>
                        <a:pt x="111" y="58"/>
                      </a:lnTo>
                      <a:lnTo>
                        <a:pt x="111" y="58"/>
                      </a:lnTo>
                      <a:lnTo>
                        <a:pt x="108" y="56"/>
                      </a:lnTo>
                      <a:lnTo>
                        <a:pt x="108" y="56"/>
                      </a:lnTo>
                      <a:lnTo>
                        <a:pt x="108" y="56"/>
                      </a:lnTo>
                      <a:lnTo>
                        <a:pt x="108" y="56"/>
                      </a:lnTo>
                      <a:lnTo>
                        <a:pt x="107" y="61"/>
                      </a:lnTo>
                      <a:lnTo>
                        <a:pt x="107" y="65"/>
                      </a:lnTo>
                      <a:lnTo>
                        <a:pt x="107" y="71"/>
                      </a:lnTo>
                      <a:lnTo>
                        <a:pt x="107" y="74"/>
                      </a:lnTo>
                      <a:lnTo>
                        <a:pt x="107" y="74"/>
                      </a:lnTo>
                      <a:lnTo>
                        <a:pt x="94" y="113"/>
                      </a:lnTo>
                      <a:lnTo>
                        <a:pt x="94" y="113"/>
                      </a:lnTo>
                      <a:lnTo>
                        <a:pt x="88" y="143"/>
                      </a:lnTo>
                      <a:lnTo>
                        <a:pt x="82" y="161"/>
                      </a:lnTo>
                      <a:lnTo>
                        <a:pt x="79" y="172"/>
                      </a:lnTo>
                      <a:lnTo>
                        <a:pt x="79" y="172"/>
                      </a:lnTo>
                      <a:lnTo>
                        <a:pt x="75" y="182"/>
                      </a:lnTo>
                      <a:lnTo>
                        <a:pt x="70" y="194"/>
                      </a:lnTo>
                      <a:lnTo>
                        <a:pt x="68" y="204"/>
                      </a:lnTo>
                      <a:lnTo>
                        <a:pt x="65" y="210"/>
                      </a:lnTo>
                      <a:lnTo>
                        <a:pt x="65" y="210"/>
                      </a:lnTo>
                      <a:lnTo>
                        <a:pt x="60" y="214"/>
                      </a:lnTo>
                      <a:lnTo>
                        <a:pt x="56" y="219"/>
                      </a:lnTo>
                      <a:lnTo>
                        <a:pt x="56" y="219"/>
                      </a:lnTo>
                      <a:lnTo>
                        <a:pt x="44" y="224"/>
                      </a:lnTo>
                      <a:lnTo>
                        <a:pt x="37" y="227"/>
                      </a:lnTo>
                      <a:lnTo>
                        <a:pt x="31" y="229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668" name="Freeform 1023"/>
                <p:cNvSpPr>
                  <a:spLocks/>
                </p:cNvSpPr>
                <p:nvPr/>
              </p:nvSpPr>
              <p:spPr bwMode="auto">
                <a:xfrm>
                  <a:off x="4926155" y="2722594"/>
                  <a:ext cx="33635" cy="15828"/>
                </a:xfrm>
                <a:custGeom>
                  <a:avLst/>
                  <a:gdLst>
                    <a:gd name="T0" fmla="*/ 28 w 34"/>
                    <a:gd name="T1" fmla="*/ 15 h 16"/>
                    <a:gd name="T2" fmla="*/ 28 w 34"/>
                    <a:gd name="T3" fmla="*/ 15 h 16"/>
                    <a:gd name="T4" fmla="*/ 12 w 34"/>
                    <a:gd name="T5" fmla="*/ 16 h 16"/>
                    <a:gd name="T6" fmla="*/ 3 w 34"/>
                    <a:gd name="T7" fmla="*/ 16 h 16"/>
                    <a:gd name="T8" fmla="*/ 2 w 34"/>
                    <a:gd name="T9" fmla="*/ 16 h 16"/>
                    <a:gd name="T10" fmla="*/ 0 w 34"/>
                    <a:gd name="T11" fmla="*/ 15 h 16"/>
                    <a:gd name="T12" fmla="*/ 0 w 34"/>
                    <a:gd name="T13" fmla="*/ 15 h 16"/>
                    <a:gd name="T14" fmla="*/ 2 w 34"/>
                    <a:gd name="T15" fmla="*/ 12 h 16"/>
                    <a:gd name="T16" fmla="*/ 3 w 34"/>
                    <a:gd name="T17" fmla="*/ 11 h 16"/>
                    <a:gd name="T18" fmla="*/ 5 w 34"/>
                    <a:gd name="T19" fmla="*/ 9 h 16"/>
                    <a:gd name="T20" fmla="*/ 11 w 34"/>
                    <a:gd name="T21" fmla="*/ 8 h 16"/>
                    <a:gd name="T22" fmla="*/ 11 w 34"/>
                    <a:gd name="T23" fmla="*/ 8 h 16"/>
                    <a:gd name="T24" fmla="*/ 18 w 34"/>
                    <a:gd name="T25" fmla="*/ 6 h 16"/>
                    <a:gd name="T26" fmla="*/ 25 w 34"/>
                    <a:gd name="T27" fmla="*/ 3 h 16"/>
                    <a:gd name="T28" fmla="*/ 34 w 34"/>
                    <a:gd name="T29" fmla="*/ 0 h 16"/>
                    <a:gd name="T30" fmla="*/ 34 w 34"/>
                    <a:gd name="T31" fmla="*/ 0 h 16"/>
                    <a:gd name="T32" fmla="*/ 31 w 34"/>
                    <a:gd name="T33" fmla="*/ 8 h 16"/>
                    <a:gd name="T34" fmla="*/ 29 w 34"/>
                    <a:gd name="T35" fmla="*/ 14 h 16"/>
                    <a:gd name="T36" fmla="*/ 28 w 34"/>
                    <a:gd name="T37" fmla="*/ 1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4" h="16">
                      <a:moveTo>
                        <a:pt x="28" y="15"/>
                      </a:moveTo>
                      <a:lnTo>
                        <a:pt x="28" y="15"/>
                      </a:lnTo>
                      <a:lnTo>
                        <a:pt x="12" y="16"/>
                      </a:lnTo>
                      <a:lnTo>
                        <a:pt x="3" y="16"/>
                      </a:lnTo>
                      <a:lnTo>
                        <a:pt x="2" y="16"/>
                      </a:lnTo>
                      <a:lnTo>
                        <a:pt x="0" y="15"/>
                      </a:lnTo>
                      <a:lnTo>
                        <a:pt x="0" y="15"/>
                      </a:lnTo>
                      <a:lnTo>
                        <a:pt x="2" y="12"/>
                      </a:lnTo>
                      <a:lnTo>
                        <a:pt x="3" y="11"/>
                      </a:lnTo>
                      <a:lnTo>
                        <a:pt x="5" y="9"/>
                      </a:lnTo>
                      <a:lnTo>
                        <a:pt x="11" y="8"/>
                      </a:lnTo>
                      <a:lnTo>
                        <a:pt x="11" y="8"/>
                      </a:lnTo>
                      <a:lnTo>
                        <a:pt x="18" y="6"/>
                      </a:lnTo>
                      <a:lnTo>
                        <a:pt x="25" y="3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1" y="8"/>
                      </a:lnTo>
                      <a:lnTo>
                        <a:pt x="29" y="14"/>
                      </a:lnTo>
                      <a:lnTo>
                        <a:pt x="28" y="1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669" name="Freeform 1024"/>
                <p:cNvSpPr>
                  <a:spLocks/>
                </p:cNvSpPr>
                <p:nvPr/>
              </p:nvSpPr>
              <p:spPr bwMode="auto">
                <a:xfrm>
                  <a:off x="4926155" y="2722594"/>
                  <a:ext cx="33635" cy="15828"/>
                </a:xfrm>
                <a:custGeom>
                  <a:avLst/>
                  <a:gdLst>
                    <a:gd name="T0" fmla="*/ 28 w 34"/>
                    <a:gd name="T1" fmla="*/ 15 h 16"/>
                    <a:gd name="T2" fmla="*/ 28 w 34"/>
                    <a:gd name="T3" fmla="*/ 15 h 16"/>
                    <a:gd name="T4" fmla="*/ 12 w 34"/>
                    <a:gd name="T5" fmla="*/ 16 h 16"/>
                    <a:gd name="T6" fmla="*/ 3 w 34"/>
                    <a:gd name="T7" fmla="*/ 16 h 16"/>
                    <a:gd name="T8" fmla="*/ 2 w 34"/>
                    <a:gd name="T9" fmla="*/ 16 h 16"/>
                    <a:gd name="T10" fmla="*/ 0 w 34"/>
                    <a:gd name="T11" fmla="*/ 15 h 16"/>
                    <a:gd name="T12" fmla="*/ 0 w 34"/>
                    <a:gd name="T13" fmla="*/ 15 h 16"/>
                    <a:gd name="T14" fmla="*/ 2 w 34"/>
                    <a:gd name="T15" fmla="*/ 12 h 16"/>
                    <a:gd name="T16" fmla="*/ 3 w 34"/>
                    <a:gd name="T17" fmla="*/ 11 h 16"/>
                    <a:gd name="T18" fmla="*/ 5 w 34"/>
                    <a:gd name="T19" fmla="*/ 9 h 16"/>
                    <a:gd name="T20" fmla="*/ 11 w 34"/>
                    <a:gd name="T21" fmla="*/ 8 h 16"/>
                    <a:gd name="T22" fmla="*/ 11 w 34"/>
                    <a:gd name="T23" fmla="*/ 8 h 16"/>
                    <a:gd name="T24" fmla="*/ 18 w 34"/>
                    <a:gd name="T25" fmla="*/ 6 h 16"/>
                    <a:gd name="T26" fmla="*/ 25 w 34"/>
                    <a:gd name="T27" fmla="*/ 3 h 16"/>
                    <a:gd name="T28" fmla="*/ 34 w 34"/>
                    <a:gd name="T29" fmla="*/ 0 h 16"/>
                    <a:gd name="T30" fmla="*/ 34 w 34"/>
                    <a:gd name="T31" fmla="*/ 0 h 16"/>
                    <a:gd name="T32" fmla="*/ 31 w 34"/>
                    <a:gd name="T33" fmla="*/ 8 h 16"/>
                    <a:gd name="T34" fmla="*/ 29 w 34"/>
                    <a:gd name="T35" fmla="*/ 14 h 16"/>
                    <a:gd name="T36" fmla="*/ 28 w 34"/>
                    <a:gd name="T37" fmla="*/ 1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4" h="16">
                      <a:moveTo>
                        <a:pt x="28" y="15"/>
                      </a:moveTo>
                      <a:lnTo>
                        <a:pt x="28" y="15"/>
                      </a:lnTo>
                      <a:lnTo>
                        <a:pt x="12" y="16"/>
                      </a:lnTo>
                      <a:lnTo>
                        <a:pt x="3" y="16"/>
                      </a:lnTo>
                      <a:lnTo>
                        <a:pt x="2" y="16"/>
                      </a:lnTo>
                      <a:lnTo>
                        <a:pt x="0" y="15"/>
                      </a:lnTo>
                      <a:lnTo>
                        <a:pt x="0" y="15"/>
                      </a:lnTo>
                      <a:lnTo>
                        <a:pt x="2" y="12"/>
                      </a:lnTo>
                      <a:lnTo>
                        <a:pt x="3" y="11"/>
                      </a:lnTo>
                      <a:lnTo>
                        <a:pt x="5" y="9"/>
                      </a:lnTo>
                      <a:lnTo>
                        <a:pt x="11" y="8"/>
                      </a:lnTo>
                      <a:lnTo>
                        <a:pt x="11" y="8"/>
                      </a:lnTo>
                      <a:lnTo>
                        <a:pt x="18" y="6"/>
                      </a:lnTo>
                      <a:lnTo>
                        <a:pt x="25" y="3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1" y="8"/>
                      </a:lnTo>
                      <a:lnTo>
                        <a:pt x="29" y="14"/>
                      </a:lnTo>
                      <a:lnTo>
                        <a:pt x="28" y="1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672" name="Freeform 1027"/>
                <p:cNvSpPr>
                  <a:spLocks/>
                </p:cNvSpPr>
                <p:nvPr/>
              </p:nvSpPr>
              <p:spPr bwMode="auto">
                <a:xfrm>
                  <a:off x="4979575" y="2698852"/>
                  <a:ext cx="111786" cy="89033"/>
                </a:xfrm>
                <a:custGeom>
                  <a:avLst/>
                  <a:gdLst>
                    <a:gd name="T0" fmla="*/ 26 w 113"/>
                    <a:gd name="T1" fmla="*/ 88 h 90"/>
                    <a:gd name="T2" fmla="*/ 26 w 113"/>
                    <a:gd name="T3" fmla="*/ 88 h 90"/>
                    <a:gd name="T4" fmla="*/ 59 w 113"/>
                    <a:gd name="T5" fmla="*/ 64 h 90"/>
                    <a:gd name="T6" fmla="*/ 81 w 113"/>
                    <a:gd name="T7" fmla="*/ 49 h 90"/>
                    <a:gd name="T8" fmla="*/ 87 w 113"/>
                    <a:gd name="T9" fmla="*/ 43 h 90"/>
                    <a:gd name="T10" fmla="*/ 90 w 113"/>
                    <a:gd name="T11" fmla="*/ 39 h 90"/>
                    <a:gd name="T12" fmla="*/ 90 w 113"/>
                    <a:gd name="T13" fmla="*/ 39 h 90"/>
                    <a:gd name="T14" fmla="*/ 91 w 113"/>
                    <a:gd name="T15" fmla="*/ 33 h 90"/>
                    <a:gd name="T16" fmla="*/ 97 w 113"/>
                    <a:gd name="T17" fmla="*/ 22 h 90"/>
                    <a:gd name="T18" fmla="*/ 104 w 113"/>
                    <a:gd name="T19" fmla="*/ 10 h 90"/>
                    <a:gd name="T20" fmla="*/ 109 w 113"/>
                    <a:gd name="T21" fmla="*/ 6 h 90"/>
                    <a:gd name="T22" fmla="*/ 113 w 113"/>
                    <a:gd name="T23" fmla="*/ 0 h 90"/>
                    <a:gd name="T24" fmla="*/ 113 w 113"/>
                    <a:gd name="T25" fmla="*/ 0 h 90"/>
                    <a:gd name="T26" fmla="*/ 55 w 113"/>
                    <a:gd name="T27" fmla="*/ 1 h 90"/>
                    <a:gd name="T28" fmla="*/ 20 w 113"/>
                    <a:gd name="T29" fmla="*/ 3 h 90"/>
                    <a:gd name="T30" fmla="*/ 20 w 113"/>
                    <a:gd name="T31" fmla="*/ 3 h 90"/>
                    <a:gd name="T32" fmla="*/ 16 w 113"/>
                    <a:gd name="T33" fmla="*/ 6 h 90"/>
                    <a:gd name="T34" fmla="*/ 6 w 113"/>
                    <a:gd name="T35" fmla="*/ 11 h 90"/>
                    <a:gd name="T36" fmla="*/ 6 w 113"/>
                    <a:gd name="T37" fmla="*/ 11 h 90"/>
                    <a:gd name="T38" fmla="*/ 4 w 113"/>
                    <a:gd name="T39" fmla="*/ 16 h 90"/>
                    <a:gd name="T40" fmla="*/ 4 w 113"/>
                    <a:gd name="T41" fmla="*/ 16 h 90"/>
                    <a:gd name="T42" fmla="*/ 4 w 113"/>
                    <a:gd name="T43" fmla="*/ 40 h 90"/>
                    <a:gd name="T44" fmla="*/ 4 w 113"/>
                    <a:gd name="T45" fmla="*/ 40 h 90"/>
                    <a:gd name="T46" fmla="*/ 3 w 113"/>
                    <a:gd name="T47" fmla="*/ 45 h 90"/>
                    <a:gd name="T48" fmla="*/ 3 w 113"/>
                    <a:gd name="T49" fmla="*/ 45 h 90"/>
                    <a:gd name="T50" fmla="*/ 10 w 113"/>
                    <a:gd name="T51" fmla="*/ 46 h 90"/>
                    <a:gd name="T52" fmla="*/ 15 w 113"/>
                    <a:gd name="T53" fmla="*/ 48 h 90"/>
                    <a:gd name="T54" fmla="*/ 15 w 113"/>
                    <a:gd name="T55" fmla="*/ 48 h 90"/>
                    <a:gd name="T56" fmla="*/ 16 w 113"/>
                    <a:gd name="T57" fmla="*/ 51 h 90"/>
                    <a:gd name="T58" fmla="*/ 15 w 113"/>
                    <a:gd name="T59" fmla="*/ 53 h 90"/>
                    <a:gd name="T60" fmla="*/ 10 w 113"/>
                    <a:gd name="T61" fmla="*/ 62 h 90"/>
                    <a:gd name="T62" fmla="*/ 3 w 113"/>
                    <a:gd name="T63" fmla="*/ 71 h 90"/>
                    <a:gd name="T64" fmla="*/ 1 w 113"/>
                    <a:gd name="T65" fmla="*/ 75 h 90"/>
                    <a:gd name="T66" fmla="*/ 0 w 113"/>
                    <a:gd name="T67" fmla="*/ 80 h 90"/>
                    <a:gd name="T68" fmla="*/ 0 w 113"/>
                    <a:gd name="T69" fmla="*/ 80 h 90"/>
                    <a:gd name="T70" fmla="*/ 0 w 113"/>
                    <a:gd name="T71" fmla="*/ 90 h 90"/>
                    <a:gd name="T72" fmla="*/ 0 w 113"/>
                    <a:gd name="T73" fmla="*/ 90 h 90"/>
                    <a:gd name="T74" fmla="*/ 15 w 113"/>
                    <a:gd name="T75" fmla="*/ 90 h 90"/>
                    <a:gd name="T76" fmla="*/ 22 w 113"/>
                    <a:gd name="T77" fmla="*/ 90 h 90"/>
                    <a:gd name="T78" fmla="*/ 26 w 113"/>
                    <a:gd name="T79" fmla="*/ 88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13" h="90">
                      <a:moveTo>
                        <a:pt x="26" y="88"/>
                      </a:moveTo>
                      <a:lnTo>
                        <a:pt x="26" y="88"/>
                      </a:lnTo>
                      <a:lnTo>
                        <a:pt x="59" y="64"/>
                      </a:lnTo>
                      <a:lnTo>
                        <a:pt x="81" y="49"/>
                      </a:lnTo>
                      <a:lnTo>
                        <a:pt x="87" y="43"/>
                      </a:lnTo>
                      <a:lnTo>
                        <a:pt x="90" y="39"/>
                      </a:lnTo>
                      <a:lnTo>
                        <a:pt x="90" y="39"/>
                      </a:lnTo>
                      <a:lnTo>
                        <a:pt x="91" y="33"/>
                      </a:lnTo>
                      <a:lnTo>
                        <a:pt x="97" y="22"/>
                      </a:lnTo>
                      <a:lnTo>
                        <a:pt x="104" y="10"/>
                      </a:lnTo>
                      <a:lnTo>
                        <a:pt x="109" y="6"/>
                      </a:lnTo>
                      <a:lnTo>
                        <a:pt x="113" y="0"/>
                      </a:lnTo>
                      <a:lnTo>
                        <a:pt x="113" y="0"/>
                      </a:lnTo>
                      <a:lnTo>
                        <a:pt x="55" y="1"/>
                      </a:lnTo>
                      <a:lnTo>
                        <a:pt x="20" y="3"/>
                      </a:lnTo>
                      <a:lnTo>
                        <a:pt x="20" y="3"/>
                      </a:lnTo>
                      <a:lnTo>
                        <a:pt x="16" y="6"/>
                      </a:lnTo>
                      <a:lnTo>
                        <a:pt x="6" y="11"/>
                      </a:lnTo>
                      <a:lnTo>
                        <a:pt x="6" y="11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3" y="45"/>
                      </a:lnTo>
                      <a:lnTo>
                        <a:pt x="3" y="45"/>
                      </a:lnTo>
                      <a:lnTo>
                        <a:pt x="10" y="46"/>
                      </a:lnTo>
                      <a:lnTo>
                        <a:pt x="15" y="48"/>
                      </a:lnTo>
                      <a:lnTo>
                        <a:pt x="15" y="48"/>
                      </a:lnTo>
                      <a:lnTo>
                        <a:pt x="16" y="51"/>
                      </a:lnTo>
                      <a:lnTo>
                        <a:pt x="15" y="53"/>
                      </a:lnTo>
                      <a:lnTo>
                        <a:pt x="10" y="62"/>
                      </a:lnTo>
                      <a:lnTo>
                        <a:pt x="3" y="71"/>
                      </a:lnTo>
                      <a:lnTo>
                        <a:pt x="1" y="75"/>
                      </a:lnTo>
                      <a:lnTo>
                        <a:pt x="0" y="80"/>
                      </a:lnTo>
                      <a:lnTo>
                        <a:pt x="0" y="80"/>
                      </a:lnTo>
                      <a:lnTo>
                        <a:pt x="0" y="90"/>
                      </a:lnTo>
                      <a:lnTo>
                        <a:pt x="0" y="90"/>
                      </a:lnTo>
                      <a:lnTo>
                        <a:pt x="15" y="90"/>
                      </a:lnTo>
                      <a:lnTo>
                        <a:pt x="22" y="90"/>
                      </a:lnTo>
                      <a:lnTo>
                        <a:pt x="26" y="8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673" name="Freeform 1028"/>
                <p:cNvSpPr>
                  <a:spLocks/>
                </p:cNvSpPr>
                <p:nvPr/>
              </p:nvSpPr>
              <p:spPr bwMode="auto">
                <a:xfrm>
                  <a:off x="4979575" y="2698852"/>
                  <a:ext cx="111786" cy="89033"/>
                </a:xfrm>
                <a:custGeom>
                  <a:avLst/>
                  <a:gdLst>
                    <a:gd name="T0" fmla="*/ 26 w 113"/>
                    <a:gd name="T1" fmla="*/ 88 h 90"/>
                    <a:gd name="T2" fmla="*/ 26 w 113"/>
                    <a:gd name="T3" fmla="*/ 88 h 90"/>
                    <a:gd name="T4" fmla="*/ 59 w 113"/>
                    <a:gd name="T5" fmla="*/ 64 h 90"/>
                    <a:gd name="T6" fmla="*/ 81 w 113"/>
                    <a:gd name="T7" fmla="*/ 49 h 90"/>
                    <a:gd name="T8" fmla="*/ 87 w 113"/>
                    <a:gd name="T9" fmla="*/ 43 h 90"/>
                    <a:gd name="T10" fmla="*/ 90 w 113"/>
                    <a:gd name="T11" fmla="*/ 39 h 90"/>
                    <a:gd name="T12" fmla="*/ 90 w 113"/>
                    <a:gd name="T13" fmla="*/ 39 h 90"/>
                    <a:gd name="T14" fmla="*/ 91 w 113"/>
                    <a:gd name="T15" fmla="*/ 33 h 90"/>
                    <a:gd name="T16" fmla="*/ 97 w 113"/>
                    <a:gd name="T17" fmla="*/ 22 h 90"/>
                    <a:gd name="T18" fmla="*/ 104 w 113"/>
                    <a:gd name="T19" fmla="*/ 10 h 90"/>
                    <a:gd name="T20" fmla="*/ 109 w 113"/>
                    <a:gd name="T21" fmla="*/ 6 h 90"/>
                    <a:gd name="T22" fmla="*/ 113 w 113"/>
                    <a:gd name="T23" fmla="*/ 0 h 90"/>
                    <a:gd name="T24" fmla="*/ 113 w 113"/>
                    <a:gd name="T25" fmla="*/ 0 h 90"/>
                    <a:gd name="T26" fmla="*/ 55 w 113"/>
                    <a:gd name="T27" fmla="*/ 1 h 90"/>
                    <a:gd name="T28" fmla="*/ 20 w 113"/>
                    <a:gd name="T29" fmla="*/ 3 h 90"/>
                    <a:gd name="T30" fmla="*/ 20 w 113"/>
                    <a:gd name="T31" fmla="*/ 3 h 90"/>
                    <a:gd name="T32" fmla="*/ 16 w 113"/>
                    <a:gd name="T33" fmla="*/ 6 h 90"/>
                    <a:gd name="T34" fmla="*/ 6 w 113"/>
                    <a:gd name="T35" fmla="*/ 11 h 90"/>
                    <a:gd name="T36" fmla="*/ 6 w 113"/>
                    <a:gd name="T37" fmla="*/ 11 h 90"/>
                    <a:gd name="T38" fmla="*/ 4 w 113"/>
                    <a:gd name="T39" fmla="*/ 16 h 90"/>
                    <a:gd name="T40" fmla="*/ 4 w 113"/>
                    <a:gd name="T41" fmla="*/ 16 h 90"/>
                    <a:gd name="T42" fmla="*/ 4 w 113"/>
                    <a:gd name="T43" fmla="*/ 40 h 90"/>
                    <a:gd name="T44" fmla="*/ 4 w 113"/>
                    <a:gd name="T45" fmla="*/ 40 h 90"/>
                    <a:gd name="T46" fmla="*/ 3 w 113"/>
                    <a:gd name="T47" fmla="*/ 45 h 90"/>
                    <a:gd name="T48" fmla="*/ 3 w 113"/>
                    <a:gd name="T49" fmla="*/ 45 h 90"/>
                    <a:gd name="T50" fmla="*/ 10 w 113"/>
                    <a:gd name="T51" fmla="*/ 46 h 90"/>
                    <a:gd name="T52" fmla="*/ 15 w 113"/>
                    <a:gd name="T53" fmla="*/ 48 h 90"/>
                    <a:gd name="T54" fmla="*/ 15 w 113"/>
                    <a:gd name="T55" fmla="*/ 48 h 90"/>
                    <a:gd name="T56" fmla="*/ 16 w 113"/>
                    <a:gd name="T57" fmla="*/ 51 h 90"/>
                    <a:gd name="T58" fmla="*/ 15 w 113"/>
                    <a:gd name="T59" fmla="*/ 53 h 90"/>
                    <a:gd name="T60" fmla="*/ 10 w 113"/>
                    <a:gd name="T61" fmla="*/ 62 h 90"/>
                    <a:gd name="T62" fmla="*/ 3 w 113"/>
                    <a:gd name="T63" fmla="*/ 71 h 90"/>
                    <a:gd name="T64" fmla="*/ 1 w 113"/>
                    <a:gd name="T65" fmla="*/ 75 h 90"/>
                    <a:gd name="T66" fmla="*/ 0 w 113"/>
                    <a:gd name="T67" fmla="*/ 80 h 90"/>
                    <a:gd name="T68" fmla="*/ 0 w 113"/>
                    <a:gd name="T69" fmla="*/ 80 h 90"/>
                    <a:gd name="T70" fmla="*/ 0 w 113"/>
                    <a:gd name="T71" fmla="*/ 90 h 90"/>
                    <a:gd name="T72" fmla="*/ 0 w 113"/>
                    <a:gd name="T73" fmla="*/ 90 h 90"/>
                    <a:gd name="T74" fmla="*/ 15 w 113"/>
                    <a:gd name="T75" fmla="*/ 90 h 90"/>
                    <a:gd name="T76" fmla="*/ 22 w 113"/>
                    <a:gd name="T77" fmla="*/ 90 h 90"/>
                    <a:gd name="T78" fmla="*/ 26 w 113"/>
                    <a:gd name="T79" fmla="*/ 88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13" h="90">
                      <a:moveTo>
                        <a:pt x="26" y="88"/>
                      </a:moveTo>
                      <a:lnTo>
                        <a:pt x="26" y="88"/>
                      </a:lnTo>
                      <a:lnTo>
                        <a:pt x="59" y="64"/>
                      </a:lnTo>
                      <a:lnTo>
                        <a:pt x="81" y="49"/>
                      </a:lnTo>
                      <a:lnTo>
                        <a:pt x="87" y="43"/>
                      </a:lnTo>
                      <a:lnTo>
                        <a:pt x="90" y="39"/>
                      </a:lnTo>
                      <a:lnTo>
                        <a:pt x="90" y="39"/>
                      </a:lnTo>
                      <a:lnTo>
                        <a:pt x="91" y="33"/>
                      </a:lnTo>
                      <a:lnTo>
                        <a:pt x="97" y="22"/>
                      </a:lnTo>
                      <a:lnTo>
                        <a:pt x="104" y="10"/>
                      </a:lnTo>
                      <a:lnTo>
                        <a:pt x="109" y="6"/>
                      </a:lnTo>
                      <a:lnTo>
                        <a:pt x="113" y="0"/>
                      </a:lnTo>
                      <a:lnTo>
                        <a:pt x="113" y="0"/>
                      </a:lnTo>
                      <a:lnTo>
                        <a:pt x="55" y="1"/>
                      </a:lnTo>
                      <a:lnTo>
                        <a:pt x="20" y="3"/>
                      </a:lnTo>
                      <a:lnTo>
                        <a:pt x="20" y="3"/>
                      </a:lnTo>
                      <a:lnTo>
                        <a:pt x="16" y="6"/>
                      </a:lnTo>
                      <a:lnTo>
                        <a:pt x="6" y="11"/>
                      </a:lnTo>
                      <a:lnTo>
                        <a:pt x="6" y="11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3" y="45"/>
                      </a:lnTo>
                      <a:lnTo>
                        <a:pt x="3" y="45"/>
                      </a:lnTo>
                      <a:lnTo>
                        <a:pt x="10" y="46"/>
                      </a:lnTo>
                      <a:lnTo>
                        <a:pt x="15" y="48"/>
                      </a:lnTo>
                      <a:lnTo>
                        <a:pt x="15" y="48"/>
                      </a:lnTo>
                      <a:lnTo>
                        <a:pt x="16" y="51"/>
                      </a:lnTo>
                      <a:lnTo>
                        <a:pt x="15" y="53"/>
                      </a:lnTo>
                      <a:lnTo>
                        <a:pt x="10" y="62"/>
                      </a:lnTo>
                      <a:lnTo>
                        <a:pt x="3" y="71"/>
                      </a:lnTo>
                      <a:lnTo>
                        <a:pt x="1" y="75"/>
                      </a:lnTo>
                      <a:lnTo>
                        <a:pt x="0" y="80"/>
                      </a:lnTo>
                      <a:lnTo>
                        <a:pt x="0" y="80"/>
                      </a:lnTo>
                      <a:lnTo>
                        <a:pt x="0" y="90"/>
                      </a:lnTo>
                      <a:lnTo>
                        <a:pt x="0" y="90"/>
                      </a:lnTo>
                      <a:lnTo>
                        <a:pt x="15" y="90"/>
                      </a:lnTo>
                      <a:lnTo>
                        <a:pt x="22" y="90"/>
                      </a:lnTo>
                      <a:lnTo>
                        <a:pt x="26" y="8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674" name="Freeform 1029"/>
                <p:cNvSpPr>
                  <a:spLocks/>
                </p:cNvSpPr>
                <p:nvPr/>
              </p:nvSpPr>
              <p:spPr bwMode="auto">
                <a:xfrm>
                  <a:off x="4822283" y="2593001"/>
                  <a:ext cx="314585" cy="119700"/>
                </a:xfrm>
                <a:custGeom>
                  <a:avLst/>
                  <a:gdLst>
                    <a:gd name="T0" fmla="*/ 295 w 318"/>
                    <a:gd name="T1" fmla="*/ 111 h 121"/>
                    <a:gd name="T2" fmla="*/ 308 w 318"/>
                    <a:gd name="T3" fmla="*/ 116 h 121"/>
                    <a:gd name="T4" fmla="*/ 313 w 318"/>
                    <a:gd name="T5" fmla="*/ 111 h 121"/>
                    <a:gd name="T6" fmla="*/ 304 w 318"/>
                    <a:gd name="T7" fmla="*/ 95 h 121"/>
                    <a:gd name="T8" fmla="*/ 297 w 318"/>
                    <a:gd name="T9" fmla="*/ 63 h 121"/>
                    <a:gd name="T10" fmla="*/ 298 w 318"/>
                    <a:gd name="T11" fmla="*/ 46 h 121"/>
                    <a:gd name="T12" fmla="*/ 287 w 318"/>
                    <a:gd name="T13" fmla="*/ 32 h 121"/>
                    <a:gd name="T14" fmla="*/ 282 w 318"/>
                    <a:gd name="T15" fmla="*/ 23 h 121"/>
                    <a:gd name="T16" fmla="*/ 269 w 318"/>
                    <a:gd name="T17" fmla="*/ 16 h 121"/>
                    <a:gd name="T18" fmla="*/ 252 w 318"/>
                    <a:gd name="T19" fmla="*/ 13 h 121"/>
                    <a:gd name="T20" fmla="*/ 236 w 318"/>
                    <a:gd name="T21" fmla="*/ 21 h 121"/>
                    <a:gd name="T22" fmla="*/ 224 w 318"/>
                    <a:gd name="T23" fmla="*/ 21 h 121"/>
                    <a:gd name="T24" fmla="*/ 213 w 318"/>
                    <a:gd name="T25" fmla="*/ 23 h 121"/>
                    <a:gd name="T26" fmla="*/ 194 w 318"/>
                    <a:gd name="T27" fmla="*/ 23 h 121"/>
                    <a:gd name="T28" fmla="*/ 172 w 318"/>
                    <a:gd name="T29" fmla="*/ 14 h 121"/>
                    <a:gd name="T30" fmla="*/ 162 w 318"/>
                    <a:gd name="T31" fmla="*/ 7 h 121"/>
                    <a:gd name="T32" fmla="*/ 150 w 318"/>
                    <a:gd name="T33" fmla="*/ 4 h 121"/>
                    <a:gd name="T34" fmla="*/ 124 w 318"/>
                    <a:gd name="T35" fmla="*/ 0 h 121"/>
                    <a:gd name="T36" fmla="*/ 107 w 318"/>
                    <a:gd name="T37" fmla="*/ 3 h 121"/>
                    <a:gd name="T38" fmla="*/ 94 w 318"/>
                    <a:gd name="T39" fmla="*/ 11 h 121"/>
                    <a:gd name="T40" fmla="*/ 74 w 318"/>
                    <a:gd name="T41" fmla="*/ 17 h 121"/>
                    <a:gd name="T42" fmla="*/ 53 w 318"/>
                    <a:gd name="T43" fmla="*/ 18 h 121"/>
                    <a:gd name="T44" fmla="*/ 59 w 318"/>
                    <a:gd name="T45" fmla="*/ 26 h 121"/>
                    <a:gd name="T46" fmla="*/ 56 w 318"/>
                    <a:gd name="T47" fmla="*/ 29 h 121"/>
                    <a:gd name="T48" fmla="*/ 50 w 318"/>
                    <a:gd name="T49" fmla="*/ 30 h 121"/>
                    <a:gd name="T50" fmla="*/ 49 w 318"/>
                    <a:gd name="T51" fmla="*/ 33 h 121"/>
                    <a:gd name="T52" fmla="*/ 36 w 318"/>
                    <a:gd name="T53" fmla="*/ 34 h 121"/>
                    <a:gd name="T54" fmla="*/ 19 w 318"/>
                    <a:gd name="T55" fmla="*/ 36 h 121"/>
                    <a:gd name="T56" fmla="*/ 11 w 318"/>
                    <a:gd name="T57" fmla="*/ 46 h 121"/>
                    <a:gd name="T58" fmla="*/ 16 w 318"/>
                    <a:gd name="T59" fmla="*/ 59 h 121"/>
                    <a:gd name="T60" fmla="*/ 17 w 318"/>
                    <a:gd name="T61" fmla="*/ 66 h 121"/>
                    <a:gd name="T62" fmla="*/ 14 w 318"/>
                    <a:gd name="T63" fmla="*/ 72 h 121"/>
                    <a:gd name="T64" fmla="*/ 1 w 318"/>
                    <a:gd name="T65" fmla="*/ 72 h 121"/>
                    <a:gd name="T66" fmla="*/ 1 w 318"/>
                    <a:gd name="T67" fmla="*/ 75 h 121"/>
                    <a:gd name="T68" fmla="*/ 11 w 318"/>
                    <a:gd name="T69" fmla="*/ 81 h 121"/>
                    <a:gd name="T70" fmla="*/ 20 w 318"/>
                    <a:gd name="T71" fmla="*/ 81 h 121"/>
                    <a:gd name="T72" fmla="*/ 20 w 318"/>
                    <a:gd name="T73" fmla="*/ 87 h 121"/>
                    <a:gd name="T74" fmla="*/ 20 w 318"/>
                    <a:gd name="T75" fmla="*/ 91 h 121"/>
                    <a:gd name="T76" fmla="*/ 26 w 318"/>
                    <a:gd name="T77" fmla="*/ 100 h 121"/>
                    <a:gd name="T78" fmla="*/ 30 w 318"/>
                    <a:gd name="T79" fmla="*/ 103 h 121"/>
                    <a:gd name="T80" fmla="*/ 49 w 318"/>
                    <a:gd name="T81" fmla="*/ 110 h 121"/>
                    <a:gd name="T82" fmla="*/ 59 w 318"/>
                    <a:gd name="T83" fmla="*/ 117 h 121"/>
                    <a:gd name="T84" fmla="*/ 72 w 318"/>
                    <a:gd name="T85" fmla="*/ 121 h 121"/>
                    <a:gd name="T86" fmla="*/ 79 w 318"/>
                    <a:gd name="T87" fmla="*/ 110 h 121"/>
                    <a:gd name="T88" fmla="*/ 90 w 318"/>
                    <a:gd name="T89" fmla="*/ 111 h 121"/>
                    <a:gd name="T90" fmla="*/ 104 w 318"/>
                    <a:gd name="T91" fmla="*/ 118 h 121"/>
                    <a:gd name="T92" fmla="*/ 129 w 318"/>
                    <a:gd name="T93" fmla="*/ 120 h 121"/>
                    <a:gd name="T94" fmla="*/ 139 w 318"/>
                    <a:gd name="T95" fmla="*/ 114 h 121"/>
                    <a:gd name="T96" fmla="*/ 145 w 318"/>
                    <a:gd name="T97" fmla="*/ 107 h 121"/>
                    <a:gd name="T98" fmla="*/ 153 w 318"/>
                    <a:gd name="T99" fmla="*/ 107 h 121"/>
                    <a:gd name="T100" fmla="*/ 159 w 318"/>
                    <a:gd name="T101" fmla="*/ 111 h 121"/>
                    <a:gd name="T102" fmla="*/ 163 w 318"/>
                    <a:gd name="T103" fmla="*/ 111 h 121"/>
                    <a:gd name="T104" fmla="*/ 166 w 318"/>
                    <a:gd name="T105" fmla="*/ 113 h 121"/>
                    <a:gd name="T106" fmla="*/ 175 w 318"/>
                    <a:gd name="T107" fmla="*/ 113 h 121"/>
                    <a:gd name="T108" fmla="*/ 233 w 318"/>
                    <a:gd name="T109" fmla="*/ 108 h 121"/>
                    <a:gd name="T110" fmla="*/ 291 w 318"/>
                    <a:gd name="T111" fmla="*/ 110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318" h="121">
                      <a:moveTo>
                        <a:pt x="291" y="110"/>
                      </a:moveTo>
                      <a:lnTo>
                        <a:pt x="291" y="110"/>
                      </a:lnTo>
                      <a:lnTo>
                        <a:pt x="295" y="111"/>
                      </a:lnTo>
                      <a:lnTo>
                        <a:pt x="300" y="114"/>
                      </a:lnTo>
                      <a:lnTo>
                        <a:pt x="308" y="116"/>
                      </a:lnTo>
                      <a:lnTo>
                        <a:pt x="308" y="116"/>
                      </a:lnTo>
                      <a:lnTo>
                        <a:pt x="318" y="118"/>
                      </a:lnTo>
                      <a:lnTo>
                        <a:pt x="318" y="118"/>
                      </a:lnTo>
                      <a:lnTo>
                        <a:pt x="313" y="111"/>
                      </a:lnTo>
                      <a:lnTo>
                        <a:pt x="308" y="105"/>
                      </a:lnTo>
                      <a:lnTo>
                        <a:pt x="308" y="105"/>
                      </a:lnTo>
                      <a:lnTo>
                        <a:pt x="304" y="95"/>
                      </a:lnTo>
                      <a:lnTo>
                        <a:pt x="301" y="82"/>
                      </a:lnTo>
                      <a:lnTo>
                        <a:pt x="298" y="71"/>
                      </a:lnTo>
                      <a:lnTo>
                        <a:pt x="297" y="63"/>
                      </a:lnTo>
                      <a:lnTo>
                        <a:pt x="297" y="63"/>
                      </a:lnTo>
                      <a:lnTo>
                        <a:pt x="298" y="46"/>
                      </a:lnTo>
                      <a:lnTo>
                        <a:pt x="298" y="46"/>
                      </a:lnTo>
                      <a:lnTo>
                        <a:pt x="291" y="37"/>
                      </a:lnTo>
                      <a:lnTo>
                        <a:pt x="288" y="34"/>
                      </a:lnTo>
                      <a:lnTo>
                        <a:pt x="287" y="32"/>
                      </a:lnTo>
                      <a:lnTo>
                        <a:pt x="287" y="32"/>
                      </a:lnTo>
                      <a:lnTo>
                        <a:pt x="285" y="27"/>
                      </a:lnTo>
                      <a:lnTo>
                        <a:pt x="282" y="23"/>
                      </a:lnTo>
                      <a:lnTo>
                        <a:pt x="276" y="18"/>
                      </a:lnTo>
                      <a:lnTo>
                        <a:pt x="269" y="16"/>
                      </a:lnTo>
                      <a:lnTo>
                        <a:pt x="269" y="16"/>
                      </a:lnTo>
                      <a:lnTo>
                        <a:pt x="256" y="10"/>
                      </a:lnTo>
                      <a:lnTo>
                        <a:pt x="256" y="10"/>
                      </a:lnTo>
                      <a:lnTo>
                        <a:pt x="252" y="13"/>
                      </a:lnTo>
                      <a:lnTo>
                        <a:pt x="247" y="17"/>
                      </a:lnTo>
                      <a:lnTo>
                        <a:pt x="236" y="21"/>
                      </a:lnTo>
                      <a:lnTo>
                        <a:pt x="236" y="21"/>
                      </a:lnTo>
                      <a:lnTo>
                        <a:pt x="230" y="23"/>
                      </a:lnTo>
                      <a:lnTo>
                        <a:pt x="226" y="23"/>
                      </a:lnTo>
                      <a:lnTo>
                        <a:pt x="224" y="21"/>
                      </a:lnTo>
                      <a:lnTo>
                        <a:pt x="220" y="21"/>
                      </a:lnTo>
                      <a:lnTo>
                        <a:pt x="220" y="21"/>
                      </a:lnTo>
                      <a:lnTo>
                        <a:pt x="213" y="23"/>
                      </a:lnTo>
                      <a:lnTo>
                        <a:pt x="202" y="24"/>
                      </a:lnTo>
                      <a:lnTo>
                        <a:pt x="202" y="24"/>
                      </a:lnTo>
                      <a:lnTo>
                        <a:pt x="194" y="23"/>
                      </a:lnTo>
                      <a:lnTo>
                        <a:pt x="185" y="20"/>
                      </a:lnTo>
                      <a:lnTo>
                        <a:pt x="172" y="14"/>
                      </a:lnTo>
                      <a:lnTo>
                        <a:pt x="172" y="14"/>
                      </a:lnTo>
                      <a:lnTo>
                        <a:pt x="168" y="13"/>
                      </a:lnTo>
                      <a:lnTo>
                        <a:pt x="166" y="10"/>
                      </a:lnTo>
                      <a:lnTo>
                        <a:pt x="162" y="7"/>
                      </a:lnTo>
                      <a:lnTo>
                        <a:pt x="156" y="5"/>
                      </a:lnTo>
                      <a:lnTo>
                        <a:pt x="156" y="5"/>
                      </a:lnTo>
                      <a:lnTo>
                        <a:pt x="150" y="4"/>
                      </a:lnTo>
                      <a:lnTo>
                        <a:pt x="143" y="3"/>
                      </a:lnTo>
                      <a:lnTo>
                        <a:pt x="136" y="1"/>
                      </a:lnTo>
                      <a:lnTo>
                        <a:pt x="124" y="0"/>
                      </a:lnTo>
                      <a:lnTo>
                        <a:pt x="124" y="0"/>
                      </a:lnTo>
                      <a:lnTo>
                        <a:pt x="114" y="0"/>
                      </a:lnTo>
                      <a:lnTo>
                        <a:pt x="107" y="3"/>
                      </a:lnTo>
                      <a:lnTo>
                        <a:pt x="101" y="7"/>
                      </a:lnTo>
                      <a:lnTo>
                        <a:pt x="94" y="11"/>
                      </a:lnTo>
                      <a:lnTo>
                        <a:pt x="94" y="11"/>
                      </a:lnTo>
                      <a:lnTo>
                        <a:pt x="90" y="14"/>
                      </a:lnTo>
                      <a:lnTo>
                        <a:pt x="84" y="16"/>
                      </a:lnTo>
                      <a:lnTo>
                        <a:pt x="74" y="17"/>
                      </a:lnTo>
                      <a:lnTo>
                        <a:pt x="58" y="17"/>
                      </a:lnTo>
                      <a:lnTo>
                        <a:pt x="58" y="17"/>
                      </a:lnTo>
                      <a:lnTo>
                        <a:pt x="53" y="18"/>
                      </a:lnTo>
                      <a:lnTo>
                        <a:pt x="55" y="20"/>
                      </a:lnTo>
                      <a:lnTo>
                        <a:pt x="59" y="26"/>
                      </a:lnTo>
                      <a:lnTo>
                        <a:pt x="59" y="26"/>
                      </a:lnTo>
                      <a:lnTo>
                        <a:pt x="59" y="27"/>
                      </a:lnTo>
                      <a:lnTo>
                        <a:pt x="58" y="29"/>
                      </a:lnTo>
                      <a:lnTo>
                        <a:pt x="56" y="29"/>
                      </a:lnTo>
                      <a:lnTo>
                        <a:pt x="52" y="29"/>
                      </a:lnTo>
                      <a:lnTo>
                        <a:pt x="52" y="29"/>
                      </a:lnTo>
                      <a:lnTo>
                        <a:pt x="50" y="30"/>
                      </a:lnTo>
                      <a:lnTo>
                        <a:pt x="49" y="32"/>
                      </a:lnTo>
                      <a:lnTo>
                        <a:pt x="50" y="32"/>
                      </a:lnTo>
                      <a:lnTo>
                        <a:pt x="49" y="33"/>
                      </a:lnTo>
                      <a:lnTo>
                        <a:pt x="49" y="33"/>
                      </a:lnTo>
                      <a:lnTo>
                        <a:pt x="45" y="34"/>
                      </a:lnTo>
                      <a:lnTo>
                        <a:pt x="36" y="34"/>
                      </a:lnTo>
                      <a:lnTo>
                        <a:pt x="23" y="34"/>
                      </a:lnTo>
                      <a:lnTo>
                        <a:pt x="23" y="34"/>
                      </a:lnTo>
                      <a:lnTo>
                        <a:pt x="19" y="36"/>
                      </a:lnTo>
                      <a:lnTo>
                        <a:pt x="16" y="39"/>
                      </a:lnTo>
                      <a:lnTo>
                        <a:pt x="11" y="46"/>
                      </a:lnTo>
                      <a:lnTo>
                        <a:pt x="11" y="46"/>
                      </a:lnTo>
                      <a:lnTo>
                        <a:pt x="11" y="49"/>
                      </a:lnTo>
                      <a:lnTo>
                        <a:pt x="11" y="52"/>
                      </a:lnTo>
                      <a:lnTo>
                        <a:pt x="16" y="59"/>
                      </a:lnTo>
                      <a:lnTo>
                        <a:pt x="16" y="59"/>
                      </a:lnTo>
                      <a:lnTo>
                        <a:pt x="17" y="63"/>
                      </a:lnTo>
                      <a:lnTo>
                        <a:pt x="17" y="66"/>
                      </a:lnTo>
                      <a:lnTo>
                        <a:pt x="17" y="69"/>
                      </a:lnTo>
                      <a:lnTo>
                        <a:pt x="14" y="72"/>
                      </a:lnTo>
                      <a:lnTo>
                        <a:pt x="14" y="72"/>
                      </a:lnTo>
                      <a:lnTo>
                        <a:pt x="11" y="72"/>
                      </a:lnTo>
                      <a:lnTo>
                        <a:pt x="8" y="72"/>
                      </a:lnTo>
                      <a:lnTo>
                        <a:pt x="1" y="72"/>
                      </a:lnTo>
                      <a:lnTo>
                        <a:pt x="1" y="72"/>
                      </a:lnTo>
                      <a:lnTo>
                        <a:pt x="0" y="72"/>
                      </a:lnTo>
                      <a:lnTo>
                        <a:pt x="1" y="75"/>
                      </a:lnTo>
                      <a:lnTo>
                        <a:pt x="7" y="79"/>
                      </a:lnTo>
                      <a:lnTo>
                        <a:pt x="7" y="79"/>
                      </a:lnTo>
                      <a:lnTo>
                        <a:pt x="11" y="81"/>
                      </a:lnTo>
                      <a:lnTo>
                        <a:pt x="14" y="81"/>
                      </a:lnTo>
                      <a:lnTo>
                        <a:pt x="20" y="81"/>
                      </a:lnTo>
                      <a:lnTo>
                        <a:pt x="20" y="81"/>
                      </a:lnTo>
                      <a:lnTo>
                        <a:pt x="21" y="81"/>
                      </a:lnTo>
                      <a:lnTo>
                        <a:pt x="23" y="82"/>
                      </a:lnTo>
                      <a:lnTo>
                        <a:pt x="20" y="87"/>
                      </a:lnTo>
                      <a:lnTo>
                        <a:pt x="20" y="87"/>
                      </a:lnTo>
                      <a:lnTo>
                        <a:pt x="20" y="89"/>
                      </a:lnTo>
                      <a:lnTo>
                        <a:pt x="20" y="91"/>
                      </a:lnTo>
                      <a:lnTo>
                        <a:pt x="23" y="95"/>
                      </a:lnTo>
                      <a:lnTo>
                        <a:pt x="23" y="95"/>
                      </a:lnTo>
                      <a:lnTo>
                        <a:pt x="26" y="100"/>
                      </a:lnTo>
                      <a:lnTo>
                        <a:pt x="27" y="101"/>
                      </a:lnTo>
                      <a:lnTo>
                        <a:pt x="30" y="103"/>
                      </a:lnTo>
                      <a:lnTo>
                        <a:pt x="30" y="103"/>
                      </a:lnTo>
                      <a:lnTo>
                        <a:pt x="43" y="108"/>
                      </a:lnTo>
                      <a:lnTo>
                        <a:pt x="43" y="108"/>
                      </a:lnTo>
                      <a:lnTo>
                        <a:pt x="49" y="110"/>
                      </a:lnTo>
                      <a:lnTo>
                        <a:pt x="56" y="114"/>
                      </a:lnTo>
                      <a:lnTo>
                        <a:pt x="56" y="114"/>
                      </a:lnTo>
                      <a:lnTo>
                        <a:pt x="59" y="117"/>
                      </a:lnTo>
                      <a:lnTo>
                        <a:pt x="65" y="120"/>
                      </a:lnTo>
                      <a:lnTo>
                        <a:pt x="72" y="121"/>
                      </a:lnTo>
                      <a:lnTo>
                        <a:pt x="72" y="121"/>
                      </a:lnTo>
                      <a:lnTo>
                        <a:pt x="75" y="120"/>
                      </a:lnTo>
                      <a:lnTo>
                        <a:pt x="78" y="116"/>
                      </a:lnTo>
                      <a:lnTo>
                        <a:pt x="79" y="110"/>
                      </a:lnTo>
                      <a:lnTo>
                        <a:pt x="79" y="110"/>
                      </a:lnTo>
                      <a:lnTo>
                        <a:pt x="82" y="110"/>
                      </a:lnTo>
                      <a:lnTo>
                        <a:pt x="90" y="111"/>
                      </a:lnTo>
                      <a:lnTo>
                        <a:pt x="97" y="114"/>
                      </a:lnTo>
                      <a:lnTo>
                        <a:pt x="104" y="118"/>
                      </a:lnTo>
                      <a:lnTo>
                        <a:pt x="104" y="118"/>
                      </a:lnTo>
                      <a:lnTo>
                        <a:pt x="110" y="121"/>
                      </a:lnTo>
                      <a:lnTo>
                        <a:pt x="116" y="121"/>
                      </a:lnTo>
                      <a:lnTo>
                        <a:pt x="129" y="120"/>
                      </a:lnTo>
                      <a:lnTo>
                        <a:pt x="129" y="120"/>
                      </a:lnTo>
                      <a:lnTo>
                        <a:pt x="134" y="118"/>
                      </a:lnTo>
                      <a:lnTo>
                        <a:pt x="139" y="114"/>
                      </a:lnTo>
                      <a:lnTo>
                        <a:pt x="143" y="108"/>
                      </a:lnTo>
                      <a:lnTo>
                        <a:pt x="143" y="108"/>
                      </a:lnTo>
                      <a:lnTo>
                        <a:pt x="145" y="107"/>
                      </a:lnTo>
                      <a:lnTo>
                        <a:pt x="147" y="107"/>
                      </a:lnTo>
                      <a:lnTo>
                        <a:pt x="153" y="107"/>
                      </a:lnTo>
                      <a:lnTo>
                        <a:pt x="153" y="107"/>
                      </a:lnTo>
                      <a:lnTo>
                        <a:pt x="155" y="107"/>
                      </a:lnTo>
                      <a:lnTo>
                        <a:pt x="156" y="108"/>
                      </a:lnTo>
                      <a:lnTo>
                        <a:pt x="159" y="111"/>
                      </a:lnTo>
                      <a:lnTo>
                        <a:pt x="159" y="111"/>
                      </a:lnTo>
                      <a:lnTo>
                        <a:pt x="162" y="111"/>
                      </a:lnTo>
                      <a:lnTo>
                        <a:pt x="163" y="111"/>
                      </a:lnTo>
                      <a:lnTo>
                        <a:pt x="166" y="110"/>
                      </a:lnTo>
                      <a:lnTo>
                        <a:pt x="166" y="110"/>
                      </a:lnTo>
                      <a:lnTo>
                        <a:pt x="166" y="113"/>
                      </a:lnTo>
                      <a:lnTo>
                        <a:pt x="165" y="118"/>
                      </a:lnTo>
                      <a:lnTo>
                        <a:pt x="165" y="118"/>
                      </a:lnTo>
                      <a:lnTo>
                        <a:pt x="175" y="113"/>
                      </a:lnTo>
                      <a:lnTo>
                        <a:pt x="179" y="110"/>
                      </a:lnTo>
                      <a:lnTo>
                        <a:pt x="179" y="110"/>
                      </a:lnTo>
                      <a:lnTo>
                        <a:pt x="233" y="108"/>
                      </a:lnTo>
                      <a:lnTo>
                        <a:pt x="271" y="107"/>
                      </a:lnTo>
                      <a:lnTo>
                        <a:pt x="284" y="108"/>
                      </a:lnTo>
                      <a:lnTo>
                        <a:pt x="291" y="11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675" name="Freeform 1030"/>
                <p:cNvSpPr>
                  <a:spLocks/>
                </p:cNvSpPr>
                <p:nvPr/>
              </p:nvSpPr>
              <p:spPr bwMode="auto">
                <a:xfrm>
                  <a:off x="4822283" y="2593001"/>
                  <a:ext cx="314585" cy="119700"/>
                </a:xfrm>
                <a:custGeom>
                  <a:avLst/>
                  <a:gdLst>
                    <a:gd name="T0" fmla="*/ 295 w 318"/>
                    <a:gd name="T1" fmla="*/ 111 h 121"/>
                    <a:gd name="T2" fmla="*/ 308 w 318"/>
                    <a:gd name="T3" fmla="*/ 116 h 121"/>
                    <a:gd name="T4" fmla="*/ 313 w 318"/>
                    <a:gd name="T5" fmla="*/ 111 h 121"/>
                    <a:gd name="T6" fmla="*/ 304 w 318"/>
                    <a:gd name="T7" fmla="*/ 95 h 121"/>
                    <a:gd name="T8" fmla="*/ 297 w 318"/>
                    <a:gd name="T9" fmla="*/ 63 h 121"/>
                    <a:gd name="T10" fmla="*/ 298 w 318"/>
                    <a:gd name="T11" fmla="*/ 46 h 121"/>
                    <a:gd name="T12" fmla="*/ 287 w 318"/>
                    <a:gd name="T13" fmla="*/ 32 h 121"/>
                    <a:gd name="T14" fmla="*/ 282 w 318"/>
                    <a:gd name="T15" fmla="*/ 23 h 121"/>
                    <a:gd name="T16" fmla="*/ 269 w 318"/>
                    <a:gd name="T17" fmla="*/ 16 h 121"/>
                    <a:gd name="T18" fmla="*/ 252 w 318"/>
                    <a:gd name="T19" fmla="*/ 13 h 121"/>
                    <a:gd name="T20" fmla="*/ 236 w 318"/>
                    <a:gd name="T21" fmla="*/ 21 h 121"/>
                    <a:gd name="T22" fmla="*/ 224 w 318"/>
                    <a:gd name="T23" fmla="*/ 21 h 121"/>
                    <a:gd name="T24" fmla="*/ 213 w 318"/>
                    <a:gd name="T25" fmla="*/ 23 h 121"/>
                    <a:gd name="T26" fmla="*/ 194 w 318"/>
                    <a:gd name="T27" fmla="*/ 23 h 121"/>
                    <a:gd name="T28" fmla="*/ 172 w 318"/>
                    <a:gd name="T29" fmla="*/ 14 h 121"/>
                    <a:gd name="T30" fmla="*/ 162 w 318"/>
                    <a:gd name="T31" fmla="*/ 7 h 121"/>
                    <a:gd name="T32" fmla="*/ 150 w 318"/>
                    <a:gd name="T33" fmla="*/ 4 h 121"/>
                    <a:gd name="T34" fmla="*/ 124 w 318"/>
                    <a:gd name="T35" fmla="*/ 0 h 121"/>
                    <a:gd name="T36" fmla="*/ 107 w 318"/>
                    <a:gd name="T37" fmla="*/ 3 h 121"/>
                    <a:gd name="T38" fmla="*/ 94 w 318"/>
                    <a:gd name="T39" fmla="*/ 11 h 121"/>
                    <a:gd name="T40" fmla="*/ 74 w 318"/>
                    <a:gd name="T41" fmla="*/ 17 h 121"/>
                    <a:gd name="T42" fmla="*/ 53 w 318"/>
                    <a:gd name="T43" fmla="*/ 18 h 121"/>
                    <a:gd name="T44" fmla="*/ 59 w 318"/>
                    <a:gd name="T45" fmla="*/ 26 h 121"/>
                    <a:gd name="T46" fmla="*/ 56 w 318"/>
                    <a:gd name="T47" fmla="*/ 29 h 121"/>
                    <a:gd name="T48" fmla="*/ 50 w 318"/>
                    <a:gd name="T49" fmla="*/ 30 h 121"/>
                    <a:gd name="T50" fmla="*/ 49 w 318"/>
                    <a:gd name="T51" fmla="*/ 33 h 121"/>
                    <a:gd name="T52" fmla="*/ 36 w 318"/>
                    <a:gd name="T53" fmla="*/ 34 h 121"/>
                    <a:gd name="T54" fmla="*/ 19 w 318"/>
                    <a:gd name="T55" fmla="*/ 36 h 121"/>
                    <a:gd name="T56" fmla="*/ 11 w 318"/>
                    <a:gd name="T57" fmla="*/ 46 h 121"/>
                    <a:gd name="T58" fmla="*/ 16 w 318"/>
                    <a:gd name="T59" fmla="*/ 59 h 121"/>
                    <a:gd name="T60" fmla="*/ 17 w 318"/>
                    <a:gd name="T61" fmla="*/ 66 h 121"/>
                    <a:gd name="T62" fmla="*/ 14 w 318"/>
                    <a:gd name="T63" fmla="*/ 72 h 121"/>
                    <a:gd name="T64" fmla="*/ 1 w 318"/>
                    <a:gd name="T65" fmla="*/ 72 h 121"/>
                    <a:gd name="T66" fmla="*/ 1 w 318"/>
                    <a:gd name="T67" fmla="*/ 75 h 121"/>
                    <a:gd name="T68" fmla="*/ 11 w 318"/>
                    <a:gd name="T69" fmla="*/ 81 h 121"/>
                    <a:gd name="T70" fmla="*/ 20 w 318"/>
                    <a:gd name="T71" fmla="*/ 81 h 121"/>
                    <a:gd name="T72" fmla="*/ 20 w 318"/>
                    <a:gd name="T73" fmla="*/ 87 h 121"/>
                    <a:gd name="T74" fmla="*/ 20 w 318"/>
                    <a:gd name="T75" fmla="*/ 91 h 121"/>
                    <a:gd name="T76" fmla="*/ 26 w 318"/>
                    <a:gd name="T77" fmla="*/ 100 h 121"/>
                    <a:gd name="T78" fmla="*/ 30 w 318"/>
                    <a:gd name="T79" fmla="*/ 103 h 121"/>
                    <a:gd name="T80" fmla="*/ 49 w 318"/>
                    <a:gd name="T81" fmla="*/ 110 h 121"/>
                    <a:gd name="T82" fmla="*/ 59 w 318"/>
                    <a:gd name="T83" fmla="*/ 117 h 121"/>
                    <a:gd name="T84" fmla="*/ 72 w 318"/>
                    <a:gd name="T85" fmla="*/ 121 h 121"/>
                    <a:gd name="T86" fmla="*/ 79 w 318"/>
                    <a:gd name="T87" fmla="*/ 110 h 121"/>
                    <a:gd name="T88" fmla="*/ 90 w 318"/>
                    <a:gd name="T89" fmla="*/ 111 h 121"/>
                    <a:gd name="T90" fmla="*/ 104 w 318"/>
                    <a:gd name="T91" fmla="*/ 118 h 121"/>
                    <a:gd name="T92" fmla="*/ 129 w 318"/>
                    <a:gd name="T93" fmla="*/ 120 h 121"/>
                    <a:gd name="T94" fmla="*/ 139 w 318"/>
                    <a:gd name="T95" fmla="*/ 114 h 121"/>
                    <a:gd name="T96" fmla="*/ 145 w 318"/>
                    <a:gd name="T97" fmla="*/ 107 h 121"/>
                    <a:gd name="T98" fmla="*/ 153 w 318"/>
                    <a:gd name="T99" fmla="*/ 107 h 121"/>
                    <a:gd name="T100" fmla="*/ 159 w 318"/>
                    <a:gd name="T101" fmla="*/ 111 h 121"/>
                    <a:gd name="T102" fmla="*/ 163 w 318"/>
                    <a:gd name="T103" fmla="*/ 111 h 121"/>
                    <a:gd name="T104" fmla="*/ 166 w 318"/>
                    <a:gd name="T105" fmla="*/ 113 h 121"/>
                    <a:gd name="T106" fmla="*/ 175 w 318"/>
                    <a:gd name="T107" fmla="*/ 113 h 121"/>
                    <a:gd name="T108" fmla="*/ 233 w 318"/>
                    <a:gd name="T109" fmla="*/ 108 h 121"/>
                    <a:gd name="T110" fmla="*/ 291 w 318"/>
                    <a:gd name="T111" fmla="*/ 110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318" h="121">
                      <a:moveTo>
                        <a:pt x="291" y="110"/>
                      </a:moveTo>
                      <a:lnTo>
                        <a:pt x="291" y="110"/>
                      </a:lnTo>
                      <a:lnTo>
                        <a:pt x="295" y="111"/>
                      </a:lnTo>
                      <a:lnTo>
                        <a:pt x="300" y="114"/>
                      </a:lnTo>
                      <a:lnTo>
                        <a:pt x="308" y="116"/>
                      </a:lnTo>
                      <a:lnTo>
                        <a:pt x="308" y="116"/>
                      </a:lnTo>
                      <a:lnTo>
                        <a:pt x="318" y="118"/>
                      </a:lnTo>
                      <a:lnTo>
                        <a:pt x="318" y="118"/>
                      </a:lnTo>
                      <a:lnTo>
                        <a:pt x="313" y="111"/>
                      </a:lnTo>
                      <a:lnTo>
                        <a:pt x="308" y="105"/>
                      </a:lnTo>
                      <a:lnTo>
                        <a:pt x="308" y="105"/>
                      </a:lnTo>
                      <a:lnTo>
                        <a:pt x="304" y="95"/>
                      </a:lnTo>
                      <a:lnTo>
                        <a:pt x="301" y="82"/>
                      </a:lnTo>
                      <a:lnTo>
                        <a:pt x="298" y="71"/>
                      </a:lnTo>
                      <a:lnTo>
                        <a:pt x="297" y="63"/>
                      </a:lnTo>
                      <a:lnTo>
                        <a:pt x="297" y="63"/>
                      </a:lnTo>
                      <a:lnTo>
                        <a:pt x="298" y="46"/>
                      </a:lnTo>
                      <a:lnTo>
                        <a:pt x="298" y="46"/>
                      </a:lnTo>
                      <a:lnTo>
                        <a:pt x="291" y="37"/>
                      </a:lnTo>
                      <a:lnTo>
                        <a:pt x="288" y="34"/>
                      </a:lnTo>
                      <a:lnTo>
                        <a:pt x="287" y="32"/>
                      </a:lnTo>
                      <a:lnTo>
                        <a:pt x="287" y="32"/>
                      </a:lnTo>
                      <a:lnTo>
                        <a:pt x="285" y="27"/>
                      </a:lnTo>
                      <a:lnTo>
                        <a:pt x="282" y="23"/>
                      </a:lnTo>
                      <a:lnTo>
                        <a:pt x="276" y="18"/>
                      </a:lnTo>
                      <a:lnTo>
                        <a:pt x="269" y="16"/>
                      </a:lnTo>
                      <a:lnTo>
                        <a:pt x="269" y="16"/>
                      </a:lnTo>
                      <a:lnTo>
                        <a:pt x="256" y="10"/>
                      </a:lnTo>
                      <a:lnTo>
                        <a:pt x="256" y="10"/>
                      </a:lnTo>
                      <a:lnTo>
                        <a:pt x="252" y="13"/>
                      </a:lnTo>
                      <a:lnTo>
                        <a:pt x="247" y="17"/>
                      </a:lnTo>
                      <a:lnTo>
                        <a:pt x="236" y="21"/>
                      </a:lnTo>
                      <a:lnTo>
                        <a:pt x="236" y="21"/>
                      </a:lnTo>
                      <a:lnTo>
                        <a:pt x="230" y="23"/>
                      </a:lnTo>
                      <a:lnTo>
                        <a:pt x="226" y="23"/>
                      </a:lnTo>
                      <a:lnTo>
                        <a:pt x="224" y="21"/>
                      </a:lnTo>
                      <a:lnTo>
                        <a:pt x="220" y="21"/>
                      </a:lnTo>
                      <a:lnTo>
                        <a:pt x="220" y="21"/>
                      </a:lnTo>
                      <a:lnTo>
                        <a:pt x="213" y="23"/>
                      </a:lnTo>
                      <a:lnTo>
                        <a:pt x="202" y="24"/>
                      </a:lnTo>
                      <a:lnTo>
                        <a:pt x="202" y="24"/>
                      </a:lnTo>
                      <a:lnTo>
                        <a:pt x="194" y="23"/>
                      </a:lnTo>
                      <a:lnTo>
                        <a:pt x="185" y="20"/>
                      </a:lnTo>
                      <a:lnTo>
                        <a:pt x="172" y="14"/>
                      </a:lnTo>
                      <a:lnTo>
                        <a:pt x="172" y="14"/>
                      </a:lnTo>
                      <a:lnTo>
                        <a:pt x="168" y="13"/>
                      </a:lnTo>
                      <a:lnTo>
                        <a:pt x="166" y="10"/>
                      </a:lnTo>
                      <a:lnTo>
                        <a:pt x="162" y="7"/>
                      </a:lnTo>
                      <a:lnTo>
                        <a:pt x="156" y="5"/>
                      </a:lnTo>
                      <a:lnTo>
                        <a:pt x="156" y="5"/>
                      </a:lnTo>
                      <a:lnTo>
                        <a:pt x="150" y="4"/>
                      </a:lnTo>
                      <a:lnTo>
                        <a:pt x="143" y="3"/>
                      </a:lnTo>
                      <a:lnTo>
                        <a:pt x="136" y="1"/>
                      </a:lnTo>
                      <a:lnTo>
                        <a:pt x="124" y="0"/>
                      </a:lnTo>
                      <a:lnTo>
                        <a:pt x="124" y="0"/>
                      </a:lnTo>
                      <a:lnTo>
                        <a:pt x="114" y="0"/>
                      </a:lnTo>
                      <a:lnTo>
                        <a:pt x="107" y="3"/>
                      </a:lnTo>
                      <a:lnTo>
                        <a:pt x="101" y="7"/>
                      </a:lnTo>
                      <a:lnTo>
                        <a:pt x="94" y="11"/>
                      </a:lnTo>
                      <a:lnTo>
                        <a:pt x="94" y="11"/>
                      </a:lnTo>
                      <a:lnTo>
                        <a:pt x="90" y="14"/>
                      </a:lnTo>
                      <a:lnTo>
                        <a:pt x="84" y="16"/>
                      </a:lnTo>
                      <a:lnTo>
                        <a:pt x="74" y="17"/>
                      </a:lnTo>
                      <a:lnTo>
                        <a:pt x="58" y="17"/>
                      </a:lnTo>
                      <a:lnTo>
                        <a:pt x="58" y="17"/>
                      </a:lnTo>
                      <a:lnTo>
                        <a:pt x="53" y="18"/>
                      </a:lnTo>
                      <a:lnTo>
                        <a:pt x="55" y="20"/>
                      </a:lnTo>
                      <a:lnTo>
                        <a:pt x="59" y="26"/>
                      </a:lnTo>
                      <a:lnTo>
                        <a:pt x="59" y="26"/>
                      </a:lnTo>
                      <a:lnTo>
                        <a:pt x="59" y="27"/>
                      </a:lnTo>
                      <a:lnTo>
                        <a:pt x="58" y="29"/>
                      </a:lnTo>
                      <a:lnTo>
                        <a:pt x="56" y="29"/>
                      </a:lnTo>
                      <a:lnTo>
                        <a:pt x="52" y="29"/>
                      </a:lnTo>
                      <a:lnTo>
                        <a:pt x="52" y="29"/>
                      </a:lnTo>
                      <a:lnTo>
                        <a:pt x="50" y="30"/>
                      </a:lnTo>
                      <a:lnTo>
                        <a:pt x="49" y="32"/>
                      </a:lnTo>
                      <a:lnTo>
                        <a:pt x="50" y="32"/>
                      </a:lnTo>
                      <a:lnTo>
                        <a:pt x="49" y="33"/>
                      </a:lnTo>
                      <a:lnTo>
                        <a:pt x="49" y="33"/>
                      </a:lnTo>
                      <a:lnTo>
                        <a:pt x="45" y="34"/>
                      </a:lnTo>
                      <a:lnTo>
                        <a:pt x="36" y="34"/>
                      </a:lnTo>
                      <a:lnTo>
                        <a:pt x="23" y="34"/>
                      </a:lnTo>
                      <a:lnTo>
                        <a:pt x="23" y="34"/>
                      </a:lnTo>
                      <a:lnTo>
                        <a:pt x="19" y="36"/>
                      </a:lnTo>
                      <a:lnTo>
                        <a:pt x="16" y="39"/>
                      </a:lnTo>
                      <a:lnTo>
                        <a:pt x="11" y="46"/>
                      </a:lnTo>
                      <a:lnTo>
                        <a:pt x="11" y="46"/>
                      </a:lnTo>
                      <a:lnTo>
                        <a:pt x="11" y="49"/>
                      </a:lnTo>
                      <a:lnTo>
                        <a:pt x="11" y="52"/>
                      </a:lnTo>
                      <a:lnTo>
                        <a:pt x="16" y="59"/>
                      </a:lnTo>
                      <a:lnTo>
                        <a:pt x="16" y="59"/>
                      </a:lnTo>
                      <a:lnTo>
                        <a:pt x="17" y="63"/>
                      </a:lnTo>
                      <a:lnTo>
                        <a:pt x="17" y="66"/>
                      </a:lnTo>
                      <a:lnTo>
                        <a:pt x="17" y="69"/>
                      </a:lnTo>
                      <a:lnTo>
                        <a:pt x="14" y="72"/>
                      </a:lnTo>
                      <a:lnTo>
                        <a:pt x="14" y="72"/>
                      </a:lnTo>
                      <a:lnTo>
                        <a:pt x="11" y="72"/>
                      </a:lnTo>
                      <a:lnTo>
                        <a:pt x="8" y="72"/>
                      </a:lnTo>
                      <a:lnTo>
                        <a:pt x="1" y="72"/>
                      </a:lnTo>
                      <a:lnTo>
                        <a:pt x="1" y="72"/>
                      </a:lnTo>
                      <a:lnTo>
                        <a:pt x="0" y="72"/>
                      </a:lnTo>
                      <a:lnTo>
                        <a:pt x="1" y="75"/>
                      </a:lnTo>
                      <a:lnTo>
                        <a:pt x="7" y="79"/>
                      </a:lnTo>
                      <a:lnTo>
                        <a:pt x="7" y="79"/>
                      </a:lnTo>
                      <a:lnTo>
                        <a:pt x="11" y="81"/>
                      </a:lnTo>
                      <a:lnTo>
                        <a:pt x="14" y="81"/>
                      </a:lnTo>
                      <a:lnTo>
                        <a:pt x="20" y="81"/>
                      </a:lnTo>
                      <a:lnTo>
                        <a:pt x="20" y="81"/>
                      </a:lnTo>
                      <a:lnTo>
                        <a:pt x="21" y="81"/>
                      </a:lnTo>
                      <a:lnTo>
                        <a:pt x="23" y="82"/>
                      </a:lnTo>
                      <a:lnTo>
                        <a:pt x="20" y="87"/>
                      </a:lnTo>
                      <a:lnTo>
                        <a:pt x="20" y="87"/>
                      </a:lnTo>
                      <a:lnTo>
                        <a:pt x="20" y="89"/>
                      </a:lnTo>
                      <a:lnTo>
                        <a:pt x="20" y="91"/>
                      </a:lnTo>
                      <a:lnTo>
                        <a:pt x="23" y="95"/>
                      </a:lnTo>
                      <a:lnTo>
                        <a:pt x="23" y="95"/>
                      </a:lnTo>
                      <a:lnTo>
                        <a:pt x="26" y="100"/>
                      </a:lnTo>
                      <a:lnTo>
                        <a:pt x="27" y="101"/>
                      </a:lnTo>
                      <a:lnTo>
                        <a:pt x="30" y="103"/>
                      </a:lnTo>
                      <a:lnTo>
                        <a:pt x="30" y="103"/>
                      </a:lnTo>
                      <a:lnTo>
                        <a:pt x="43" y="108"/>
                      </a:lnTo>
                      <a:lnTo>
                        <a:pt x="43" y="108"/>
                      </a:lnTo>
                      <a:lnTo>
                        <a:pt x="49" y="110"/>
                      </a:lnTo>
                      <a:lnTo>
                        <a:pt x="56" y="114"/>
                      </a:lnTo>
                      <a:lnTo>
                        <a:pt x="56" y="114"/>
                      </a:lnTo>
                      <a:lnTo>
                        <a:pt x="59" y="117"/>
                      </a:lnTo>
                      <a:lnTo>
                        <a:pt x="65" y="120"/>
                      </a:lnTo>
                      <a:lnTo>
                        <a:pt x="72" y="121"/>
                      </a:lnTo>
                      <a:lnTo>
                        <a:pt x="72" y="121"/>
                      </a:lnTo>
                      <a:lnTo>
                        <a:pt x="75" y="120"/>
                      </a:lnTo>
                      <a:lnTo>
                        <a:pt x="78" y="116"/>
                      </a:lnTo>
                      <a:lnTo>
                        <a:pt x="79" y="110"/>
                      </a:lnTo>
                      <a:lnTo>
                        <a:pt x="79" y="110"/>
                      </a:lnTo>
                      <a:lnTo>
                        <a:pt x="82" y="110"/>
                      </a:lnTo>
                      <a:lnTo>
                        <a:pt x="90" y="111"/>
                      </a:lnTo>
                      <a:lnTo>
                        <a:pt x="97" y="114"/>
                      </a:lnTo>
                      <a:lnTo>
                        <a:pt x="104" y="118"/>
                      </a:lnTo>
                      <a:lnTo>
                        <a:pt x="104" y="118"/>
                      </a:lnTo>
                      <a:lnTo>
                        <a:pt x="110" y="121"/>
                      </a:lnTo>
                      <a:lnTo>
                        <a:pt x="116" y="121"/>
                      </a:lnTo>
                      <a:lnTo>
                        <a:pt x="129" y="120"/>
                      </a:lnTo>
                      <a:lnTo>
                        <a:pt x="129" y="120"/>
                      </a:lnTo>
                      <a:lnTo>
                        <a:pt x="134" y="118"/>
                      </a:lnTo>
                      <a:lnTo>
                        <a:pt x="139" y="114"/>
                      </a:lnTo>
                      <a:lnTo>
                        <a:pt x="143" y="108"/>
                      </a:lnTo>
                      <a:lnTo>
                        <a:pt x="143" y="108"/>
                      </a:lnTo>
                      <a:lnTo>
                        <a:pt x="145" y="107"/>
                      </a:lnTo>
                      <a:lnTo>
                        <a:pt x="147" y="107"/>
                      </a:lnTo>
                      <a:lnTo>
                        <a:pt x="153" y="107"/>
                      </a:lnTo>
                      <a:lnTo>
                        <a:pt x="153" y="107"/>
                      </a:lnTo>
                      <a:lnTo>
                        <a:pt x="155" y="107"/>
                      </a:lnTo>
                      <a:lnTo>
                        <a:pt x="156" y="108"/>
                      </a:lnTo>
                      <a:lnTo>
                        <a:pt x="159" y="111"/>
                      </a:lnTo>
                      <a:lnTo>
                        <a:pt x="159" y="111"/>
                      </a:lnTo>
                      <a:lnTo>
                        <a:pt x="162" y="111"/>
                      </a:lnTo>
                      <a:lnTo>
                        <a:pt x="163" y="111"/>
                      </a:lnTo>
                      <a:lnTo>
                        <a:pt x="166" y="110"/>
                      </a:lnTo>
                      <a:lnTo>
                        <a:pt x="166" y="110"/>
                      </a:lnTo>
                      <a:lnTo>
                        <a:pt x="166" y="113"/>
                      </a:lnTo>
                      <a:lnTo>
                        <a:pt x="165" y="118"/>
                      </a:lnTo>
                      <a:lnTo>
                        <a:pt x="165" y="118"/>
                      </a:lnTo>
                      <a:lnTo>
                        <a:pt x="175" y="113"/>
                      </a:lnTo>
                      <a:lnTo>
                        <a:pt x="179" y="110"/>
                      </a:lnTo>
                      <a:lnTo>
                        <a:pt x="179" y="110"/>
                      </a:lnTo>
                      <a:lnTo>
                        <a:pt x="233" y="108"/>
                      </a:lnTo>
                      <a:lnTo>
                        <a:pt x="271" y="107"/>
                      </a:lnTo>
                      <a:lnTo>
                        <a:pt x="284" y="108"/>
                      </a:lnTo>
                      <a:lnTo>
                        <a:pt x="291" y="11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18" name="Freeform 1073"/>
                <p:cNvSpPr>
                  <a:spLocks/>
                </p:cNvSpPr>
                <p:nvPr/>
              </p:nvSpPr>
              <p:spPr bwMode="auto">
                <a:xfrm>
                  <a:off x="4877681" y="3261740"/>
                  <a:ext cx="90023" cy="87055"/>
                </a:xfrm>
                <a:custGeom>
                  <a:avLst/>
                  <a:gdLst>
                    <a:gd name="T0" fmla="*/ 80 w 91"/>
                    <a:gd name="T1" fmla="*/ 0 h 88"/>
                    <a:gd name="T2" fmla="*/ 80 w 91"/>
                    <a:gd name="T3" fmla="*/ 0 h 88"/>
                    <a:gd name="T4" fmla="*/ 74 w 91"/>
                    <a:gd name="T5" fmla="*/ 2 h 88"/>
                    <a:gd name="T6" fmla="*/ 68 w 91"/>
                    <a:gd name="T7" fmla="*/ 4 h 88"/>
                    <a:gd name="T8" fmla="*/ 68 w 91"/>
                    <a:gd name="T9" fmla="*/ 4 h 88"/>
                    <a:gd name="T10" fmla="*/ 62 w 91"/>
                    <a:gd name="T11" fmla="*/ 7 h 88"/>
                    <a:gd name="T12" fmla="*/ 55 w 91"/>
                    <a:gd name="T13" fmla="*/ 7 h 88"/>
                    <a:gd name="T14" fmla="*/ 36 w 91"/>
                    <a:gd name="T15" fmla="*/ 6 h 88"/>
                    <a:gd name="T16" fmla="*/ 36 w 91"/>
                    <a:gd name="T17" fmla="*/ 6 h 88"/>
                    <a:gd name="T18" fmla="*/ 35 w 91"/>
                    <a:gd name="T19" fmla="*/ 25 h 88"/>
                    <a:gd name="T20" fmla="*/ 35 w 91"/>
                    <a:gd name="T21" fmla="*/ 25 h 88"/>
                    <a:gd name="T22" fmla="*/ 34 w 91"/>
                    <a:gd name="T23" fmla="*/ 32 h 88"/>
                    <a:gd name="T24" fmla="*/ 31 w 91"/>
                    <a:gd name="T25" fmla="*/ 39 h 88"/>
                    <a:gd name="T26" fmla="*/ 26 w 91"/>
                    <a:gd name="T27" fmla="*/ 45 h 88"/>
                    <a:gd name="T28" fmla="*/ 19 w 91"/>
                    <a:gd name="T29" fmla="*/ 51 h 88"/>
                    <a:gd name="T30" fmla="*/ 19 w 91"/>
                    <a:gd name="T31" fmla="*/ 51 h 88"/>
                    <a:gd name="T32" fmla="*/ 15 w 91"/>
                    <a:gd name="T33" fmla="*/ 55 h 88"/>
                    <a:gd name="T34" fmla="*/ 12 w 91"/>
                    <a:gd name="T35" fmla="*/ 58 h 88"/>
                    <a:gd name="T36" fmla="*/ 12 w 91"/>
                    <a:gd name="T37" fmla="*/ 62 h 88"/>
                    <a:gd name="T38" fmla="*/ 12 w 91"/>
                    <a:gd name="T39" fmla="*/ 67 h 88"/>
                    <a:gd name="T40" fmla="*/ 12 w 91"/>
                    <a:gd name="T41" fmla="*/ 67 h 88"/>
                    <a:gd name="T42" fmla="*/ 12 w 91"/>
                    <a:gd name="T43" fmla="*/ 70 h 88"/>
                    <a:gd name="T44" fmla="*/ 9 w 91"/>
                    <a:gd name="T45" fmla="*/ 71 h 88"/>
                    <a:gd name="T46" fmla="*/ 6 w 91"/>
                    <a:gd name="T47" fmla="*/ 74 h 88"/>
                    <a:gd name="T48" fmla="*/ 3 w 91"/>
                    <a:gd name="T49" fmla="*/ 78 h 88"/>
                    <a:gd name="T50" fmla="*/ 3 w 91"/>
                    <a:gd name="T51" fmla="*/ 78 h 88"/>
                    <a:gd name="T52" fmla="*/ 0 w 91"/>
                    <a:gd name="T53" fmla="*/ 86 h 88"/>
                    <a:gd name="T54" fmla="*/ 0 w 91"/>
                    <a:gd name="T55" fmla="*/ 86 h 88"/>
                    <a:gd name="T56" fmla="*/ 7 w 91"/>
                    <a:gd name="T57" fmla="*/ 87 h 88"/>
                    <a:gd name="T58" fmla="*/ 12 w 91"/>
                    <a:gd name="T59" fmla="*/ 88 h 88"/>
                    <a:gd name="T60" fmla="*/ 12 w 91"/>
                    <a:gd name="T61" fmla="*/ 88 h 88"/>
                    <a:gd name="T62" fmla="*/ 16 w 91"/>
                    <a:gd name="T63" fmla="*/ 87 h 88"/>
                    <a:gd name="T64" fmla="*/ 22 w 91"/>
                    <a:gd name="T65" fmla="*/ 86 h 88"/>
                    <a:gd name="T66" fmla="*/ 34 w 91"/>
                    <a:gd name="T67" fmla="*/ 80 h 88"/>
                    <a:gd name="T68" fmla="*/ 34 w 91"/>
                    <a:gd name="T69" fmla="*/ 80 h 88"/>
                    <a:gd name="T70" fmla="*/ 38 w 91"/>
                    <a:gd name="T71" fmla="*/ 78 h 88"/>
                    <a:gd name="T72" fmla="*/ 41 w 91"/>
                    <a:gd name="T73" fmla="*/ 77 h 88"/>
                    <a:gd name="T74" fmla="*/ 48 w 91"/>
                    <a:gd name="T75" fmla="*/ 77 h 88"/>
                    <a:gd name="T76" fmla="*/ 48 w 91"/>
                    <a:gd name="T77" fmla="*/ 77 h 88"/>
                    <a:gd name="T78" fmla="*/ 49 w 91"/>
                    <a:gd name="T79" fmla="*/ 73 h 88"/>
                    <a:gd name="T80" fmla="*/ 52 w 91"/>
                    <a:gd name="T81" fmla="*/ 68 h 88"/>
                    <a:gd name="T82" fmla="*/ 55 w 91"/>
                    <a:gd name="T83" fmla="*/ 65 h 88"/>
                    <a:gd name="T84" fmla="*/ 60 w 91"/>
                    <a:gd name="T85" fmla="*/ 64 h 88"/>
                    <a:gd name="T86" fmla="*/ 60 w 91"/>
                    <a:gd name="T87" fmla="*/ 64 h 88"/>
                    <a:gd name="T88" fmla="*/ 65 w 91"/>
                    <a:gd name="T89" fmla="*/ 62 h 88"/>
                    <a:gd name="T90" fmla="*/ 70 w 91"/>
                    <a:gd name="T91" fmla="*/ 59 h 88"/>
                    <a:gd name="T92" fmla="*/ 74 w 91"/>
                    <a:gd name="T93" fmla="*/ 58 h 88"/>
                    <a:gd name="T94" fmla="*/ 77 w 91"/>
                    <a:gd name="T95" fmla="*/ 59 h 88"/>
                    <a:gd name="T96" fmla="*/ 78 w 91"/>
                    <a:gd name="T97" fmla="*/ 59 h 88"/>
                    <a:gd name="T98" fmla="*/ 78 w 91"/>
                    <a:gd name="T99" fmla="*/ 59 h 88"/>
                    <a:gd name="T100" fmla="*/ 81 w 91"/>
                    <a:gd name="T101" fmla="*/ 62 h 88"/>
                    <a:gd name="T102" fmla="*/ 81 w 91"/>
                    <a:gd name="T103" fmla="*/ 62 h 88"/>
                    <a:gd name="T104" fmla="*/ 87 w 91"/>
                    <a:gd name="T105" fmla="*/ 48 h 88"/>
                    <a:gd name="T106" fmla="*/ 91 w 91"/>
                    <a:gd name="T107" fmla="*/ 33 h 88"/>
                    <a:gd name="T108" fmla="*/ 91 w 91"/>
                    <a:gd name="T109" fmla="*/ 33 h 88"/>
                    <a:gd name="T110" fmla="*/ 91 w 91"/>
                    <a:gd name="T111" fmla="*/ 26 h 88"/>
                    <a:gd name="T112" fmla="*/ 89 w 91"/>
                    <a:gd name="T113" fmla="*/ 17 h 88"/>
                    <a:gd name="T114" fmla="*/ 86 w 91"/>
                    <a:gd name="T115" fmla="*/ 7 h 88"/>
                    <a:gd name="T116" fmla="*/ 80 w 91"/>
                    <a:gd name="T117" fmla="*/ 0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91" h="88">
                      <a:moveTo>
                        <a:pt x="80" y="0"/>
                      </a:moveTo>
                      <a:lnTo>
                        <a:pt x="80" y="0"/>
                      </a:lnTo>
                      <a:lnTo>
                        <a:pt x="74" y="2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62" y="7"/>
                      </a:lnTo>
                      <a:lnTo>
                        <a:pt x="55" y="7"/>
                      </a:lnTo>
                      <a:lnTo>
                        <a:pt x="36" y="6"/>
                      </a:lnTo>
                      <a:lnTo>
                        <a:pt x="36" y="6"/>
                      </a:lnTo>
                      <a:lnTo>
                        <a:pt x="35" y="25"/>
                      </a:lnTo>
                      <a:lnTo>
                        <a:pt x="35" y="25"/>
                      </a:lnTo>
                      <a:lnTo>
                        <a:pt x="34" y="32"/>
                      </a:lnTo>
                      <a:lnTo>
                        <a:pt x="31" y="39"/>
                      </a:lnTo>
                      <a:lnTo>
                        <a:pt x="26" y="45"/>
                      </a:lnTo>
                      <a:lnTo>
                        <a:pt x="19" y="51"/>
                      </a:lnTo>
                      <a:lnTo>
                        <a:pt x="19" y="51"/>
                      </a:lnTo>
                      <a:lnTo>
                        <a:pt x="15" y="55"/>
                      </a:lnTo>
                      <a:lnTo>
                        <a:pt x="12" y="58"/>
                      </a:lnTo>
                      <a:lnTo>
                        <a:pt x="12" y="62"/>
                      </a:lnTo>
                      <a:lnTo>
                        <a:pt x="12" y="67"/>
                      </a:lnTo>
                      <a:lnTo>
                        <a:pt x="12" y="67"/>
                      </a:lnTo>
                      <a:lnTo>
                        <a:pt x="12" y="70"/>
                      </a:lnTo>
                      <a:lnTo>
                        <a:pt x="9" y="71"/>
                      </a:lnTo>
                      <a:lnTo>
                        <a:pt x="6" y="74"/>
                      </a:lnTo>
                      <a:lnTo>
                        <a:pt x="3" y="78"/>
                      </a:lnTo>
                      <a:lnTo>
                        <a:pt x="3" y="78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7" y="87"/>
                      </a:lnTo>
                      <a:lnTo>
                        <a:pt x="12" y="88"/>
                      </a:lnTo>
                      <a:lnTo>
                        <a:pt x="12" y="88"/>
                      </a:lnTo>
                      <a:lnTo>
                        <a:pt x="16" y="87"/>
                      </a:lnTo>
                      <a:lnTo>
                        <a:pt x="22" y="86"/>
                      </a:lnTo>
                      <a:lnTo>
                        <a:pt x="34" y="80"/>
                      </a:lnTo>
                      <a:lnTo>
                        <a:pt x="34" y="80"/>
                      </a:lnTo>
                      <a:lnTo>
                        <a:pt x="38" y="78"/>
                      </a:lnTo>
                      <a:lnTo>
                        <a:pt x="41" y="77"/>
                      </a:lnTo>
                      <a:lnTo>
                        <a:pt x="48" y="77"/>
                      </a:lnTo>
                      <a:lnTo>
                        <a:pt x="48" y="77"/>
                      </a:lnTo>
                      <a:lnTo>
                        <a:pt x="49" y="73"/>
                      </a:lnTo>
                      <a:lnTo>
                        <a:pt x="52" y="68"/>
                      </a:lnTo>
                      <a:lnTo>
                        <a:pt x="55" y="65"/>
                      </a:lnTo>
                      <a:lnTo>
                        <a:pt x="60" y="64"/>
                      </a:lnTo>
                      <a:lnTo>
                        <a:pt x="60" y="64"/>
                      </a:lnTo>
                      <a:lnTo>
                        <a:pt x="65" y="62"/>
                      </a:lnTo>
                      <a:lnTo>
                        <a:pt x="70" y="59"/>
                      </a:lnTo>
                      <a:lnTo>
                        <a:pt x="74" y="58"/>
                      </a:lnTo>
                      <a:lnTo>
                        <a:pt x="77" y="59"/>
                      </a:lnTo>
                      <a:lnTo>
                        <a:pt x="78" y="59"/>
                      </a:lnTo>
                      <a:lnTo>
                        <a:pt x="78" y="59"/>
                      </a:lnTo>
                      <a:lnTo>
                        <a:pt x="81" y="62"/>
                      </a:lnTo>
                      <a:lnTo>
                        <a:pt x="81" y="62"/>
                      </a:lnTo>
                      <a:lnTo>
                        <a:pt x="87" y="48"/>
                      </a:lnTo>
                      <a:lnTo>
                        <a:pt x="91" y="33"/>
                      </a:lnTo>
                      <a:lnTo>
                        <a:pt x="91" y="33"/>
                      </a:lnTo>
                      <a:lnTo>
                        <a:pt x="91" y="26"/>
                      </a:lnTo>
                      <a:lnTo>
                        <a:pt x="89" y="17"/>
                      </a:lnTo>
                      <a:lnTo>
                        <a:pt x="86" y="7"/>
                      </a:lnTo>
                      <a:lnTo>
                        <a:pt x="80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19" name="Freeform 1074"/>
                <p:cNvSpPr>
                  <a:spLocks/>
                </p:cNvSpPr>
                <p:nvPr/>
              </p:nvSpPr>
              <p:spPr bwMode="auto">
                <a:xfrm>
                  <a:off x="4877681" y="3261740"/>
                  <a:ext cx="90023" cy="87055"/>
                </a:xfrm>
                <a:custGeom>
                  <a:avLst/>
                  <a:gdLst>
                    <a:gd name="T0" fmla="*/ 80 w 91"/>
                    <a:gd name="T1" fmla="*/ 0 h 88"/>
                    <a:gd name="T2" fmla="*/ 80 w 91"/>
                    <a:gd name="T3" fmla="*/ 0 h 88"/>
                    <a:gd name="T4" fmla="*/ 74 w 91"/>
                    <a:gd name="T5" fmla="*/ 2 h 88"/>
                    <a:gd name="T6" fmla="*/ 68 w 91"/>
                    <a:gd name="T7" fmla="*/ 4 h 88"/>
                    <a:gd name="T8" fmla="*/ 68 w 91"/>
                    <a:gd name="T9" fmla="*/ 4 h 88"/>
                    <a:gd name="T10" fmla="*/ 62 w 91"/>
                    <a:gd name="T11" fmla="*/ 7 h 88"/>
                    <a:gd name="T12" fmla="*/ 55 w 91"/>
                    <a:gd name="T13" fmla="*/ 7 h 88"/>
                    <a:gd name="T14" fmla="*/ 36 w 91"/>
                    <a:gd name="T15" fmla="*/ 6 h 88"/>
                    <a:gd name="T16" fmla="*/ 36 w 91"/>
                    <a:gd name="T17" fmla="*/ 6 h 88"/>
                    <a:gd name="T18" fmla="*/ 35 w 91"/>
                    <a:gd name="T19" fmla="*/ 25 h 88"/>
                    <a:gd name="T20" fmla="*/ 35 w 91"/>
                    <a:gd name="T21" fmla="*/ 25 h 88"/>
                    <a:gd name="T22" fmla="*/ 34 w 91"/>
                    <a:gd name="T23" fmla="*/ 32 h 88"/>
                    <a:gd name="T24" fmla="*/ 31 w 91"/>
                    <a:gd name="T25" fmla="*/ 39 h 88"/>
                    <a:gd name="T26" fmla="*/ 26 w 91"/>
                    <a:gd name="T27" fmla="*/ 45 h 88"/>
                    <a:gd name="T28" fmla="*/ 19 w 91"/>
                    <a:gd name="T29" fmla="*/ 51 h 88"/>
                    <a:gd name="T30" fmla="*/ 19 w 91"/>
                    <a:gd name="T31" fmla="*/ 51 h 88"/>
                    <a:gd name="T32" fmla="*/ 15 w 91"/>
                    <a:gd name="T33" fmla="*/ 55 h 88"/>
                    <a:gd name="T34" fmla="*/ 12 w 91"/>
                    <a:gd name="T35" fmla="*/ 58 h 88"/>
                    <a:gd name="T36" fmla="*/ 12 w 91"/>
                    <a:gd name="T37" fmla="*/ 62 h 88"/>
                    <a:gd name="T38" fmla="*/ 12 w 91"/>
                    <a:gd name="T39" fmla="*/ 67 h 88"/>
                    <a:gd name="T40" fmla="*/ 12 w 91"/>
                    <a:gd name="T41" fmla="*/ 67 h 88"/>
                    <a:gd name="T42" fmla="*/ 12 w 91"/>
                    <a:gd name="T43" fmla="*/ 70 h 88"/>
                    <a:gd name="T44" fmla="*/ 9 w 91"/>
                    <a:gd name="T45" fmla="*/ 71 h 88"/>
                    <a:gd name="T46" fmla="*/ 6 w 91"/>
                    <a:gd name="T47" fmla="*/ 74 h 88"/>
                    <a:gd name="T48" fmla="*/ 3 w 91"/>
                    <a:gd name="T49" fmla="*/ 78 h 88"/>
                    <a:gd name="T50" fmla="*/ 3 w 91"/>
                    <a:gd name="T51" fmla="*/ 78 h 88"/>
                    <a:gd name="T52" fmla="*/ 0 w 91"/>
                    <a:gd name="T53" fmla="*/ 86 h 88"/>
                    <a:gd name="T54" fmla="*/ 0 w 91"/>
                    <a:gd name="T55" fmla="*/ 86 h 88"/>
                    <a:gd name="T56" fmla="*/ 7 w 91"/>
                    <a:gd name="T57" fmla="*/ 87 h 88"/>
                    <a:gd name="T58" fmla="*/ 12 w 91"/>
                    <a:gd name="T59" fmla="*/ 88 h 88"/>
                    <a:gd name="T60" fmla="*/ 12 w 91"/>
                    <a:gd name="T61" fmla="*/ 88 h 88"/>
                    <a:gd name="T62" fmla="*/ 16 w 91"/>
                    <a:gd name="T63" fmla="*/ 87 h 88"/>
                    <a:gd name="T64" fmla="*/ 22 w 91"/>
                    <a:gd name="T65" fmla="*/ 86 h 88"/>
                    <a:gd name="T66" fmla="*/ 34 w 91"/>
                    <a:gd name="T67" fmla="*/ 80 h 88"/>
                    <a:gd name="T68" fmla="*/ 34 w 91"/>
                    <a:gd name="T69" fmla="*/ 80 h 88"/>
                    <a:gd name="T70" fmla="*/ 38 w 91"/>
                    <a:gd name="T71" fmla="*/ 78 h 88"/>
                    <a:gd name="T72" fmla="*/ 41 w 91"/>
                    <a:gd name="T73" fmla="*/ 77 h 88"/>
                    <a:gd name="T74" fmla="*/ 48 w 91"/>
                    <a:gd name="T75" fmla="*/ 77 h 88"/>
                    <a:gd name="T76" fmla="*/ 48 w 91"/>
                    <a:gd name="T77" fmla="*/ 77 h 88"/>
                    <a:gd name="T78" fmla="*/ 49 w 91"/>
                    <a:gd name="T79" fmla="*/ 73 h 88"/>
                    <a:gd name="T80" fmla="*/ 52 w 91"/>
                    <a:gd name="T81" fmla="*/ 68 h 88"/>
                    <a:gd name="T82" fmla="*/ 55 w 91"/>
                    <a:gd name="T83" fmla="*/ 65 h 88"/>
                    <a:gd name="T84" fmla="*/ 60 w 91"/>
                    <a:gd name="T85" fmla="*/ 64 h 88"/>
                    <a:gd name="T86" fmla="*/ 60 w 91"/>
                    <a:gd name="T87" fmla="*/ 64 h 88"/>
                    <a:gd name="T88" fmla="*/ 65 w 91"/>
                    <a:gd name="T89" fmla="*/ 62 h 88"/>
                    <a:gd name="T90" fmla="*/ 70 w 91"/>
                    <a:gd name="T91" fmla="*/ 59 h 88"/>
                    <a:gd name="T92" fmla="*/ 74 w 91"/>
                    <a:gd name="T93" fmla="*/ 58 h 88"/>
                    <a:gd name="T94" fmla="*/ 77 w 91"/>
                    <a:gd name="T95" fmla="*/ 59 h 88"/>
                    <a:gd name="T96" fmla="*/ 78 w 91"/>
                    <a:gd name="T97" fmla="*/ 59 h 88"/>
                    <a:gd name="T98" fmla="*/ 78 w 91"/>
                    <a:gd name="T99" fmla="*/ 59 h 88"/>
                    <a:gd name="T100" fmla="*/ 81 w 91"/>
                    <a:gd name="T101" fmla="*/ 62 h 88"/>
                    <a:gd name="T102" fmla="*/ 81 w 91"/>
                    <a:gd name="T103" fmla="*/ 62 h 88"/>
                    <a:gd name="T104" fmla="*/ 87 w 91"/>
                    <a:gd name="T105" fmla="*/ 48 h 88"/>
                    <a:gd name="T106" fmla="*/ 91 w 91"/>
                    <a:gd name="T107" fmla="*/ 33 h 88"/>
                    <a:gd name="T108" fmla="*/ 91 w 91"/>
                    <a:gd name="T109" fmla="*/ 33 h 88"/>
                    <a:gd name="T110" fmla="*/ 91 w 91"/>
                    <a:gd name="T111" fmla="*/ 26 h 88"/>
                    <a:gd name="T112" fmla="*/ 89 w 91"/>
                    <a:gd name="T113" fmla="*/ 17 h 88"/>
                    <a:gd name="T114" fmla="*/ 86 w 91"/>
                    <a:gd name="T115" fmla="*/ 7 h 88"/>
                    <a:gd name="T116" fmla="*/ 80 w 91"/>
                    <a:gd name="T117" fmla="*/ 0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91" h="88">
                      <a:moveTo>
                        <a:pt x="80" y="0"/>
                      </a:moveTo>
                      <a:lnTo>
                        <a:pt x="80" y="0"/>
                      </a:lnTo>
                      <a:lnTo>
                        <a:pt x="74" y="2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62" y="7"/>
                      </a:lnTo>
                      <a:lnTo>
                        <a:pt x="55" y="7"/>
                      </a:lnTo>
                      <a:lnTo>
                        <a:pt x="36" y="6"/>
                      </a:lnTo>
                      <a:lnTo>
                        <a:pt x="36" y="6"/>
                      </a:lnTo>
                      <a:lnTo>
                        <a:pt x="35" y="25"/>
                      </a:lnTo>
                      <a:lnTo>
                        <a:pt x="35" y="25"/>
                      </a:lnTo>
                      <a:lnTo>
                        <a:pt x="34" y="32"/>
                      </a:lnTo>
                      <a:lnTo>
                        <a:pt x="31" y="39"/>
                      </a:lnTo>
                      <a:lnTo>
                        <a:pt x="26" y="45"/>
                      </a:lnTo>
                      <a:lnTo>
                        <a:pt x="19" y="51"/>
                      </a:lnTo>
                      <a:lnTo>
                        <a:pt x="19" y="51"/>
                      </a:lnTo>
                      <a:lnTo>
                        <a:pt x="15" y="55"/>
                      </a:lnTo>
                      <a:lnTo>
                        <a:pt x="12" y="58"/>
                      </a:lnTo>
                      <a:lnTo>
                        <a:pt x="12" y="62"/>
                      </a:lnTo>
                      <a:lnTo>
                        <a:pt x="12" y="67"/>
                      </a:lnTo>
                      <a:lnTo>
                        <a:pt x="12" y="67"/>
                      </a:lnTo>
                      <a:lnTo>
                        <a:pt x="12" y="70"/>
                      </a:lnTo>
                      <a:lnTo>
                        <a:pt x="9" y="71"/>
                      </a:lnTo>
                      <a:lnTo>
                        <a:pt x="6" y="74"/>
                      </a:lnTo>
                      <a:lnTo>
                        <a:pt x="3" y="78"/>
                      </a:lnTo>
                      <a:lnTo>
                        <a:pt x="3" y="78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7" y="87"/>
                      </a:lnTo>
                      <a:lnTo>
                        <a:pt x="12" y="88"/>
                      </a:lnTo>
                      <a:lnTo>
                        <a:pt x="12" y="88"/>
                      </a:lnTo>
                      <a:lnTo>
                        <a:pt x="16" y="87"/>
                      </a:lnTo>
                      <a:lnTo>
                        <a:pt x="22" y="86"/>
                      </a:lnTo>
                      <a:lnTo>
                        <a:pt x="34" y="80"/>
                      </a:lnTo>
                      <a:lnTo>
                        <a:pt x="34" y="80"/>
                      </a:lnTo>
                      <a:lnTo>
                        <a:pt x="38" y="78"/>
                      </a:lnTo>
                      <a:lnTo>
                        <a:pt x="41" y="77"/>
                      </a:lnTo>
                      <a:lnTo>
                        <a:pt x="48" y="77"/>
                      </a:lnTo>
                      <a:lnTo>
                        <a:pt x="48" y="77"/>
                      </a:lnTo>
                      <a:lnTo>
                        <a:pt x="49" y="73"/>
                      </a:lnTo>
                      <a:lnTo>
                        <a:pt x="52" y="68"/>
                      </a:lnTo>
                      <a:lnTo>
                        <a:pt x="55" y="65"/>
                      </a:lnTo>
                      <a:lnTo>
                        <a:pt x="60" y="64"/>
                      </a:lnTo>
                      <a:lnTo>
                        <a:pt x="60" y="64"/>
                      </a:lnTo>
                      <a:lnTo>
                        <a:pt x="65" y="62"/>
                      </a:lnTo>
                      <a:lnTo>
                        <a:pt x="70" y="59"/>
                      </a:lnTo>
                      <a:lnTo>
                        <a:pt x="74" y="58"/>
                      </a:lnTo>
                      <a:lnTo>
                        <a:pt x="77" y="59"/>
                      </a:lnTo>
                      <a:lnTo>
                        <a:pt x="78" y="59"/>
                      </a:lnTo>
                      <a:lnTo>
                        <a:pt x="78" y="59"/>
                      </a:lnTo>
                      <a:lnTo>
                        <a:pt x="81" y="62"/>
                      </a:lnTo>
                      <a:lnTo>
                        <a:pt x="81" y="62"/>
                      </a:lnTo>
                      <a:lnTo>
                        <a:pt x="87" y="48"/>
                      </a:lnTo>
                      <a:lnTo>
                        <a:pt x="91" y="33"/>
                      </a:lnTo>
                      <a:lnTo>
                        <a:pt x="91" y="33"/>
                      </a:lnTo>
                      <a:lnTo>
                        <a:pt x="91" y="26"/>
                      </a:lnTo>
                      <a:lnTo>
                        <a:pt x="89" y="17"/>
                      </a:lnTo>
                      <a:lnTo>
                        <a:pt x="86" y="7"/>
                      </a:lnTo>
                      <a:lnTo>
                        <a:pt x="8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20" name="Freeform 1075"/>
                <p:cNvSpPr>
                  <a:spLocks/>
                </p:cNvSpPr>
                <p:nvPr/>
              </p:nvSpPr>
              <p:spPr bwMode="auto">
                <a:xfrm>
                  <a:off x="4956822" y="3254815"/>
                  <a:ext cx="124647" cy="141464"/>
                </a:xfrm>
                <a:custGeom>
                  <a:avLst/>
                  <a:gdLst>
                    <a:gd name="T0" fmla="*/ 126 w 126"/>
                    <a:gd name="T1" fmla="*/ 6 h 143"/>
                    <a:gd name="T2" fmla="*/ 114 w 126"/>
                    <a:gd name="T3" fmla="*/ 4 h 143"/>
                    <a:gd name="T4" fmla="*/ 106 w 126"/>
                    <a:gd name="T5" fmla="*/ 3 h 143"/>
                    <a:gd name="T6" fmla="*/ 100 w 126"/>
                    <a:gd name="T7" fmla="*/ 4 h 143"/>
                    <a:gd name="T8" fmla="*/ 94 w 126"/>
                    <a:gd name="T9" fmla="*/ 10 h 143"/>
                    <a:gd name="T10" fmla="*/ 85 w 126"/>
                    <a:gd name="T11" fmla="*/ 13 h 143"/>
                    <a:gd name="T12" fmla="*/ 72 w 126"/>
                    <a:gd name="T13" fmla="*/ 13 h 143"/>
                    <a:gd name="T14" fmla="*/ 45 w 126"/>
                    <a:gd name="T15" fmla="*/ 1 h 143"/>
                    <a:gd name="T16" fmla="*/ 38 w 126"/>
                    <a:gd name="T17" fmla="*/ 0 h 143"/>
                    <a:gd name="T18" fmla="*/ 20 w 126"/>
                    <a:gd name="T19" fmla="*/ 1 h 143"/>
                    <a:gd name="T20" fmla="*/ 11 w 126"/>
                    <a:gd name="T21" fmla="*/ 3 h 143"/>
                    <a:gd name="T22" fmla="*/ 0 w 126"/>
                    <a:gd name="T23" fmla="*/ 7 h 143"/>
                    <a:gd name="T24" fmla="*/ 9 w 126"/>
                    <a:gd name="T25" fmla="*/ 24 h 143"/>
                    <a:gd name="T26" fmla="*/ 11 w 126"/>
                    <a:gd name="T27" fmla="*/ 40 h 143"/>
                    <a:gd name="T28" fmla="*/ 7 w 126"/>
                    <a:gd name="T29" fmla="*/ 55 h 143"/>
                    <a:gd name="T30" fmla="*/ 1 w 126"/>
                    <a:gd name="T31" fmla="*/ 69 h 143"/>
                    <a:gd name="T32" fmla="*/ 4 w 126"/>
                    <a:gd name="T33" fmla="*/ 74 h 143"/>
                    <a:gd name="T34" fmla="*/ 9 w 126"/>
                    <a:gd name="T35" fmla="*/ 75 h 143"/>
                    <a:gd name="T36" fmla="*/ 16 w 126"/>
                    <a:gd name="T37" fmla="*/ 77 h 143"/>
                    <a:gd name="T38" fmla="*/ 10 w 126"/>
                    <a:gd name="T39" fmla="*/ 82 h 143"/>
                    <a:gd name="T40" fmla="*/ 7 w 126"/>
                    <a:gd name="T41" fmla="*/ 84 h 143"/>
                    <a:gd name="T42" fmla="*/ 4 w 126"/>
                    <a:gd name="T43" fmla="*/ 88 h 143"/>
                    <a:gd name="T44" fmla="*/ 6 w 126"/>
                    <a:gd name="T45" fmla="*/ 91 h 143"/>
                    <a:gd name="T46" fmla="*/ 52 w 126"/>
                    <a:gd name="T47" fmla="*/ 116 h 143"/>
                    <a:gd name="T48" fmla="*/ 61 w 126"/>
                    <a:gd name="T49" fmla="*/ 122 h 143"/>
                    <a:gd name="T50" fmla="*/ 65 w 126"/>
                    <a:gd name="T51" fmla="*/ 126 h 143"/>
                    <a:gd name="T52" fmla="*/ 88 w 126"/>
                    <a:gd name="T53" fmla="*/ 143 h 143"/>
                    <a:gd name="T54" fmla="*/ 94 w 126"/>
                    <a:gd name="T55" fmla="*/ 133 h 143"/>
                    <a:gd name="T56" fmla="*/ 103 w 126"/>
                    <a:gd name="T57" fmla="*/ 119 h 143"/>
                    <a:gd name="T58" fmla="*/ 110 w 126"/>
                    <a:gd name="T59" fmla="*/ 106 h 143"/>
                    <a:gd name="T60" fmla="*/ 114 w 126"/>
                    <a:gd name="T61" fmla="*/ 103 h 143"/>
                    <a:gd name="T62" fmla="*/ 113 w 126"/>
                    <a:gd name="T63" fmla="*/ 95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26" h="143">
                      <a:moveTo>
                        <a:pt x="113" y="24"/>
                      </a:moveTo>
                      <a:lnTo>
                        <a:pt x="126" y="6"/>
                      </a:lnTo>
                      <a:lnTo>
                        <a:pt x="126" y="6"/>
                      </a:lnTo>
                      <a:lnTo>
                        <a:pt x="114" y="4"/>
                      </a:lnTo>
                      <a:lnTo>
                        <a:pt x="106" y="3"/>
                      </a:lnTo>
                      <a:lnTo>
                        <a:pt x="106" y="3"/>
                      </a:lnTo>
                      <a:lnTo>
                        <a:pt x="103" y="4"/>
                      </a:lnTo>
                      <a:lnTo>
                        <a:pt x="100" y="4"/>
                      </a:lnTo>
                      <a:lnTo>
                        <a:pt x="98" y="7"/>
                      </a:lnTo>
                      <a:lnTo>
                        <a:pt x="94" y="10"/>
                      </a:lnTo>
                      <a:lnTo>
                        <a:pt x="91" y="11"/>
                      </a:lnTo>
                      <a:lnTo>
                        <a:pt x="85" y="13"/>
                      </a:lnTo>
                      <a:lnTo>
                        <a:pt x="85" y="13"/>
                      </a:lnTo>
                      <a:lnTo>
                        <a:pt x="72" y="13"/>
                      </a:lnTo>
                      <a:lnTo>
                        <a:pt x="62" y="10"/>
                      </a:lnTo>
                      <a:lnTo>
                        <a:pt x="45" y="1"/>
                      </a:lnTo>
                      <a:lnTo>
                        <a:pt x="45" y="1"/>
                      </a:lnTo>
                      <a:lnTo>
                        <a:pt x="38" y="0"/>
                      </a:lnTo>
                      <a:lnTo>
                        <a:pt x="32" y="0"/>
                      </a:lnTo>
                      <a:lnTo>
                        <a:pt x="20" y="1"/>
                      </a:lnTo>
                      <a:lnTo>
                        <a:pt x="20" y="1"/>
                      </a:lnTo>
                      <a:lnTo>
                        <a:pt x="11" y="3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6" y="14"/>
                      </a:lnTo>
                      <a:lnTo>
                        <a:pt x="9" y="24"/>
                      </a:lnTo>
                      <a:lnTo>
                        <a:pt x="11" y="33"/>
                      </a:lnTo>
                      <a:lnTo>
                        <a:pt x="11" y="40"/>
                      </a:lnTo>
                      <a:lnTo>
                        <a:pt x="11" y="40"/>
                      </a:lnTo>
                      <a:lnTo>
                        <a:pt x="7" y="55"/>
                      </a:lnTo>
                      <a:lnTo>
                        <a:pt x="1" y="69"/>
                      </a:lnTo>
                      <a:lnTo>
                        <a:pt x="1" y="69"/>
                      </a:lnTo>
                      <a:lnTo>
                        <a:pt x="3" y="74"/>
                      </a:lnTo>
                      <a:lnTo>
                        <a:pt x="4" y="74"/>
                      </a:lnTo>
                      <a:lnTo>
                        <a:pt x="9" y="75"/>
                      </a:lnTo>
                      <a:lnTo>
                        <a:pt x="9" y="75"/>
                      </a:lnTo>
                      <a:lnTo>
                        <a:pt x="13" y="75"/>
                      </a:lnTo>
                      <a:lnTo>
                        <a:pt x="16" y="77"/>
                      </a:lnTo>
                      <a:lnTo>
                        <a:pt x="14" y="80"/>
                      </a:lnTo>
                      <a:lnTo>
                        <a:pt x="10" y="82"/>
                      </a:lnTo>
                      <a:lnTo>
                        <a:pt x="10" y="82"/>
                      </a:lnTo>
                      <a:lnTo>
                        <a:pt x="7" y="84"/>
                      </a:lnTo>
                      <a:lnTo>
                        <a:pt x="4" y="87"/>
                      </a:lnTo>
                      <a:lnTo>
                        <a:pt x="4" y="88"/>
                      </a:lnTo>
                      <a:lnTo>
                        <a:pt x="6" y="91"/>
                      </a:lnTo>
                      <a:lnTo>
                        <a:pt x="6" y="91"/>
                      </a:lnTo>
                      <a:lnTo>
                        <a:pt x="38" y="107"/>
                      </a:lnTo>
                      <a:lnTo>
                        <a:pt x="52" y="116"/>
                      </a:lnTo>
                      <a:lnTo>
                        <a:pt x="58" y="119"/>
                      </a:lnTo>
                      <a:lnTo>
                        <a:pt x="61" y="122"/>
                      </a:lnTo>
                      <a:lnTo>
                        <a:pt x="61" y="122"/>
                      </a:lnTo>
                      <a:lnTo>
                        <a:pt x="65" y="126"/>
                      </a:lnTo>
                      <a:lnTo>
                        <a:pt x="72" y="132"/>
                      </a:lnTo>
                      <a:lnTo>
                        <a:pt x="88" y="143"/>
                      </a:lnTo>
                      <a:lnTo>
                        <a:pt x="88" y="143"/>
                      </a:lnTo>
                      <a:lnTo>
                        <a:pt x="94" y="133"/>
                      </a:lnTo>
                      <a:lnTo>
                        <a:pt x="94" y="133"/>
                      </a:lnTo>
                      <a:lnTo>
                        <a:pt x="103" y="119"/>
                      </a:lnTo>
                      <a:lnTo>
                        <a:pt x="110" y="106"/>
                      </a:lnTo>
                      <a:lnTo>
                        <a:pt x="110" y="106"/>
                      </a:lnTo>
                      <a:lnTo>
                        <a:pt x="111" y="104"/>
                      </a:lnTo>
                      <a:lnTo>
                        <a:pt x="114" y="103"/>
                      </a:lnTo>
                      <a:lnTo>
                        <a:pt x="120" y="103"/>
                      </a:lnTo>
                      <a:lnTo>
                        <a:pt x="113" y="95"/>
                      </a:lnTo>
                      <a:lnTo>
                        <a:pt x="113" y="2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21" name="Freeform 1076"/>
                <p:cNvSpPr>
                  <a:spLocks/>
                </p:cNvSpPr>
                <p:nvPr/>
              </p:nvSpPr>
              <p:spPr bwMode="auto">
                <a:xfrm>
                  <a:off x="4142661" y="2875929"/>
                  <a:ext cx="137507" cy="110797"/>
                </a:xfrm>
                <a:custGeom>
                  <a:avLst/>
                  <a:gdLst>
                    <a:gd name="T0" fmla="*/ 65 w 139"/>
                    <a:gd name="T1" fmla="*/ 112 h 112"/>
                    <a:gd name="T2" fmla="*/ 0 w 139"/>
                    <a:gd name="T3" fmla="*/ 112 h 112"/>
                    <a:gd name="T4" fmla="*/ 0 w 139"/>
                    <a:gd name="T5" fmla="*/ 112 h 112"/>
                    <a:gd name="T6" fmla="*/ 0 w 139"/>
                    <a:gd name="T7" fmla="*/ 111 h 112"/>
                    <a:gd name="T8" fmla="*/ 0 w 139"/>
                    <a:gd name="T9" fmla="*/ 111 h 112"/>
                    <a:gd name="T10" fmla="*/ 2 w 139"/>
                    <a:gd name="T11" fmla="*/ 103 h 112"/>
                    <a:gd name="T12" fmla="*/ 2 w 139"/>
                    <a:gd name="T13" fmla="*/ 103 h 112"/>
                    <a:gd name="T14" fmla="*/ 3 w 139"/>
                    <a:gd name="T15" fmla="*/ 100 h 112"/>
                    <a:gd name="T16" fmla="*/ 3 w 139"/>
                    <a:gd name="T17" fmla="*/ 100 h 112"/>
                    <a:gd name="T18" fmla="*/ 3 w 139"/>
                    <a:gd name="T19" fmla="*/ 99 h 112"/>
                    <a:gd name="T20" fmla="*/ 3 w 139"/>
                    <a:gd name="T21" fmla="*/ 99 h 112"/>
                    <a:gd name="T22" fmla="*/ 7 w 139"/>
                    <a:gd name="T23" fmla="*/ 95 h 112"/>
                    <a:gd name="T24" fmla="*/ 10 w 139"/>
                    <a:gd name="T25" fmla="*/ 90 h 112"/>
                    <a:gd name="T26" fmla="*/ 10 w 139"/>
                    <a:gd name="T27" fmla="*/ 90 h 112"/>
                    <a:gd name="T28" fmla="*/ 13 w 139"/>
                    <a:gd name="T29" fmla="*/ 83 h 112"/>
                    <a:gd name="T30" fmla="*/ 16 w 139"/>
                    <a:gd name="T31" fmla="*/ 76 h 112"/>
                    <a:gd name="T32" fmla="*/ 16 w 139"/>
                    <a:gd name="T33" fmla="*/ 76 h 112"/>
                    <a:gd name="T34" fmla="*/ 19 w 139"/>
                    <a:gd name="T35" fmla="*/ 70 h 112"/>
                    <a:gd name="T36" fmla="*/ 19 w 139"/>
                    <a:gd name="T37" fmla="*/ 70 h 112"/>
                    <a:gd name="T38" fmla="*/ 31 w 139"/>
                    <a:gd name="T39" fmla="*/ 58 h 112"/>
                    <a:gd name="T40" fmla="*/ 31 w 139"/>
                    <a:gd name="T41" fmla="*/ 58 h 112"/>
                    <a:gd name="T42" fmla="*/ 35 w 139"/>
                    <a:gd name="T43" fmla="*/ 54 h 112"/>
                    <a:gd name="T44" fmla="*/ 35 w 139"/>
                    <a:gd name="T45" fmla="*/ 54 h 112"/>
                    <a:gd name="T46" fmla="*/ 36 w 139"/>
                    <a:gd name="T47" fmla="*/ 51 h 112"/>
                    <a:gd name="T48" fmla="*/ 36 w 139"/>
                    <a:gd name="T49" fmla="*/ 51 h 112"/>
                    <a:gd name="T50" fmla="*/ 38 w 139"/>
                    <a:gd name="T51" fmla="*/ 48 h 112"/>
                    <a:gd name="T52" fmla="*/ 38 w 139"/>
                    <a:gd name="T53" fmla="*/ 48 h 112"/>
                    <a:gd name="T54" fmla="*/ 38 w 139"/>
                    <a:gd name="T55" fmla="*/ 44 h 112"/>
                    <a:gd name="T56" fmla="*/ 38 w 139"/>
                    <a:gd name="T57" fmla="*/ 44 h 112"/>
                    <a:gd name="T58" fmla="*/ 42 w 139"/>
                    <a:gd name="T59" fmla="*/ 31 h 112"/>
                    <a:gd name="T60" fmla="*/ 42 w 139"/>
                    <a:gd name="T61" fmla="*/ 31 h 112"/>
                    <a:gd name="T62" fmla="*/ 45 w 139"/>
                    <a:gd name="T63" fmla="*/ 25 h 112"/>
                    <a:gd name="T64" fmla="*/ 48 w 139"/>
                    <a:gd name="T65" fmla="*/ 22 h 112"/>
                    <a:gd name="T66" fmla="*/ 48 w 139"/>
                    <a:gd name="T67" fmla="*/ 22 h 112"/>
                    <a:gd name="T68" fmla="*/ 54 w 139"/>
                    <a:gd name="T69" fmla="*/ 18 h 112"/>
                    <a:gd name="T70" fmla="*/ 57 w 139"/>
                    <a:gd name="T71" fmla="*/ 14 h 112"/>
                    <a:gd name="T72" fmla="*/ 57 w 139"/>
                    <a:gd name="T73" fmla="*/ 14 h 112"/>
                    <a:gd name="T74" fmla="*/ 61 w 139"/>
                    <a:gd name="T75" fmla="*/ 3 h 112"/>
                    <a:gd name="T76" fmla="*/ 61 w 139"/>
                    <a:gd name="T77" fmla="*/ 3 h 112"/>
                    <a:gd name="T78" fmla="*/ 64 w 139"/>
                    <a:gd name="T79" fmla="*/ 0 h 112"/>
                    <a:gd name="T80" fmla="*/ 139 w 139"/>
                    <a:gd name="T81" fmla="*/ 0 h 112"/>
                    <a:gd name="T82" fmla="*/ 139 w 139"/>
                    <a:gd name="T83" fmla="*/ 31 h 112"/>
                    <a:gd name="T84" fmla="*/ 78 w 139"/>
                    <a:gd name="T85" fmla="*/ 31 h 112"/>
                    <a:gd name="T86" fmla="*/ 78 w 139"/>
                    <a:gd name="T87" fmla="*/ 74 h 112"/>
                    <a:gd name="T88" fmla="*/ 67 w 139"/>
                    <a:gd name="T89" fmla="*/ 90 h 112"/>
                    <a:gd name="T90" fmla="*/ 65 w 139"/>
                    <a:gd name="T91" fmla="*/ 112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39" h="112">
                      <a:moveTo>
                        <a:pt x="65" y="112"/>
                      </a:moveTo>
                      <a:lnTo>
                        <a:pt x="0" y="112"/>
                      </a:lnTo>
                      <a:lnTo>
                        <a:pt x="0" y="112"/>
                      </a:lnTo>
                      <a:lnTo>
                        <a:pt x="0" y="111"/>
                      </a:lnTo>
                      <a:lnTo>
                        <a:pt x="0" y="111"/>
                      </a:lnTo>
                      <a:lnTo>
                        <a:pt x="2" y="103"/>
                      </a:lnTo>
                      <a:lnTo>
                        <a:pt x="2" y="103"/>
                      </a:lnTo>
                      <a:lnTo>
                        <a:pt x="3" y="100"/>
                      </a:lnTo>
                      <a:lnTo>
                        <a:pt x="3" y="100"/>
                      </a:lnTo>
                      <a:lnTo>
                        <a:pt x="3" y="99"/>
                      </a:lnTo>
                      <a:lnTo>
                        <a:pt x="3" y="99"/>
                      </a:lnTo>
                      <a:lnTo>
                        <a:pt x="7" y="95"/>
                      </a:lnTo>
                      <a:lnTo>
                        <a:pt x="10" y="90"/>
                      </a:lnTo>
                      <a:lnTo>
                        <a:pt x="10" y="90"/>
                      </a:lnTo>
                      <a:lnTo>
                        <a:pt x="13" y="83"/>
                      </a:lnTo>
                      <a:lnTo>
                        <a:pt x="16" y="76"/>
                      </a:lnTo>
                      <a:lnTo>
                        <a:pt x="16" y="76"/>
                      </a:lnTo>
                      <a:lnTo>
                        <a:pt x="19" y="70"/>
                      </a:lnTo>
                      <a:lnTo>
                        <a:pt x="19" y="70"/>
                      </a:lnTo>
                      <a:lnTo>
                        <a:pt x="31" y="58"/>
                      </a:lnTo>
                      <a:lnTo>
                        <a:pt x="31" y="58"/>
                      </a:lnTo>
                      <a:lnTo>
                        <a:pt x="35" y="54"/>
                      </a:lnTo>
                      <a:lnTo>
                        <a:pt x="35" y="54"/>
                      </a:lnTo>
                      <a:lnTo>
                        <a:pt x="36" y="51"/>
                      </a:lnTo>
                      <a:lnTo>
                        <a:pt x="36" y="51"/>
                      </a:lnTo>
                      <a:lnTo>
                        <a:pt x="38" y="48"/>
                      </a:lnTo>
                      <a:lnTo>
                        <a:pt x="38" y="48"/>
                      </a:lnTo>
                      <a:lnTo>
                        <a:pt x="38" y="44"/>
                      </a:lnTo>
                      <a:lnTo>
                        <a:pt x="38" y="44"/>
                      </a:lnTo>
                      <a:lnTo>
                        <a:pt x="42" y="31"/>
                      </a:lnTo>
                      <a:lnTo>
                        <a:pt x="42" y="31"/>
                      </a:lnTo>
                      <a:lnTo>
                        <a:pt x="45" y="25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54" y="18"/>
                      </a:lnTo>
                      <a:lnTo>
                        <a:pt x="57" y="14"/>
                      </a:lnTo>
                      <a:lnTo>
                        <a:pt x="57" y="14"/>
                      </a:lnTo>
                      <a:lnTo>
                        <a:pt x="61" y="3"/>
                      </a:lnTo>
                      <a:lnTo>
                        <a:pt x="61" y="3"/>
                      </a:lnTo>
                      <a:lnTo>
                        <a:pt x="64" y="0"/>
                      </a:lnTo>
                      <a:lnTo>
                        <a:pt x="139" y="0"/>
                      </a:lnTo>
                      <a:lnTo>
                        <a:pt x="139" y="31"/>
                      </a:lnTo>
                      <a:lnTo>
                        <a:pt x="78" y="31"/>
                      </a:lnTo>
                      <a:lnTo>
                        <a:pt x="78" y="74"/>
                      </a:lnTo>
                      <a:lnTo>
                        <a:pt x="67" y="90"/>
                      </a:lnTo>
                      <a:lnTo>
                        <a:pt x="65" y="11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22" name="Freeform 1077"/>
                <p:cNvSpPr>
                  <a:spLocks/>
                </p:cNvSpPr>
                <p:nvPr/>
              </p:nvSpPr>
              <p:spPr bwMode="auto">
                <a:xfrm>
                  <a:off x="4142661" y="2875929"/>
                  <a:ext cx="137507" cy="110797"/>
                </a:xfrm>
                <a:custGeom>
                  <a:avLst/>
                  <a:gdLst>
                    <a:gd name="T0" fmla="*/ 65 w 139"/>
                    <a:gd name="T1" fmla="*/ 112 h 112"/>
                    <a:gd name="T2" fmla="*/ 0 w 139"/>
                    <a:gd name="T3" fmla="*/ 112 h 112"/>
                    <a:gd name="T4" fmla="*/ 0 w 139"/>
                    <a:gd name="T5" fmla="*/ 112 h 112"/>
                    <a:gd name="T6" fmla="*/ 0 w 139"/>
                    <a:gd name="T7" fmla="*/ 111 h 112"/>
                    <a:gd name="T8" fmla="*/ 0 w 139"/>
                    <a:gd name="T9" fmla="*/ 111 h 112"/>
                    <a:gd name="T10" fmla="*/ 2 w 139"/>
                    <a:gd name="T11" fmla="*/ 103 h 112"/>
                    <a:gd name="T12" fmla="*/ 2 w 139"/>
                    <a:gd name="T13" fmla="*/ 103 h 112"/>
                    <a:gd name="T14" fmla="*/ 3 w 139"/>
                    <a:gd name="T15" fmla="*/ 100 h 112"/>
                    <a:gd name="T16" fmla="*/ 3 w 139"/>
                    <a:gd name="T17" fmla="*/ 100 h 112"/>
                    <a:gd name="T18" fmla="*/ 3 w 139"/>
                    <a:gd name="T19" fmla="*/ 99 h 112"/>
                    <a:gd name="T20" fmla="*/ 3 w 139"/>
                    <a:gd name="T21" fmla="*/ 99 h 112"/>
                    <a:gd name="T22" fmla="*/ 7 w 139"/>
                    <a:gd name="T23" fmla="*/ 95 h 112"/>
                    <a:gd name="T24" fmla="*/ 10 w 139"/>
                    <a:gd name="T25" fmla="*/ 90 h 112"/>
                    <a:gd name="T26" fmla="*/ 10 w 139"/>
                    <a:gd name="T27" fmla="*/ 90 h 112"/>
                    <a:gd name="T28" fmla="*/ 13 w 139"/>
                    <a:gd name="T29" fmla="*/ 83 h 112"/>
                    <a:gd name="T30" fmla="*/ 16 w 139"/>
                    <a:gd name="T31" fmla="*/ 76 h 112"/>
                    <a:gd name="T32" fmla="*/ 16 w 139"/>
                    <a:gd name="T33" fmla="*/ 76 h 112"/>
                    <a:gd name="T34" fmla="*/ 19 w 139"/>
                    <a:gd name="T35" fmla="*/ 70 h 112"/>
                    <a:gd name="T36" fmla="*/ 19 w 139"/>
                    <a:gd name="T37" fmla="*/ 70 h 112"/>
                    <a:gd name="T38" fmla="*/ 31 w 139"/>
                    <a:gd name="T39" fmla="*/ 58 h 112"/>
                    <a:gd name="T40" fmla="*/ 31 w 139"/>
                    <a:gd name="T41" fmla="*/ 58 h 112"/>
                    <a:gd name="T42" fmla="*/ 35 w 139"/>
                    <a:gd name="T43" fmla="*/ 54 h 112"/>
                    <a:gd name="T44" fmla="*/ 35 w 139"/>
                    <a:gd name="T45" fmla="*/ 54 h 112"/>
                    <a:gd name="T46" fmla="*/ 36 w 139"/>
                    <a:gd name="T47" fmla="*/ 51 h 112"/>
                    <a:gd name="T48" fmla="*/ 36 w 139"/>
                    <a:gd name="T49" fmla="*/ 51 h 112"/>
                    <a:gd name="T50" fmla="*/ 38 w 139"/>
                    <a:gd name="T51" fmla="*/ 48 h 112"/>
                    <a:gd name="T52" fmla="*/ 38 w 139"/>
                    <a:gd name="T53" fmla="*/ 48 h 112"/>
                    <a:gd name="T54" fmla="*/ 38 w 139"/>
                    <a:gd name="T55" fmla="*/ 44 h 112"/>
                    <a:gd name="T56" fmla="*/ 38 w 139"/>
                    <a:gd name="T57" fmla="*/ 44 h 112"/>
                    <a:gd name="T58" fmla="*/ 42 w 139"/>
                    <a:gd name="T59" fmla="*/ 31 h 112"/>
                    <a:gd name="T60" fmla="*/ 42 w 139"/>
                    <a:gd name="T61" fmla="*/ 31 h 112"/>
                    <a:gd name="T62" fmla="*/ 45 w 139"/>
                    <a:gd name="T63" fmla="*/ 25 h 112"/>
                    <a:gd name="T64" fmla="*/ 48 w 139"/>
                    <a:gd name="T65" fmla="*/ 22 h 112"/>
                    <a:gd name="T66" fmla="*/ 48 w 139"/>
                    <a:gd name="T67" fmla="*/ 22 h 112"/>
                    <a:gd name="T68" fmla="*/ 54 w 139"/>
                    <a:gd name="T69" fmla="*/ 18 h 112"/>
                    <a:gd name="T70" fmla="*/ 57 w 139"/>
                    <a:gd name="T71" fmla="*/ 14 h 112"/>
                    <a:gd name="T72" fmla="*/ 57 w 139"/>
                    <a:gd name="T73" fmla="*/ 14 h 112"/>
                    <a:gd name="T74" fmla="*/ 61 w 139"/>
                    <a:gd name="T75" fmla="*/ 3 h 112"/>
                    <a:gd name="T76" fmla="*/ 61 w 139"/>
                    <a:gd name="T77" fmla="*/ 3 h 112"/>
                    <a:gd name="T78" fmla="*/ 64 w 139"/>
                    <a:gd name="T79" fmla="*/ 0 h 112"/>
                    <a:gd name="T80" fmla="*/ 139 w 139"/>
                    <a:gd name="T81" fmla="*/ 0 h 112"/>
                    <a:gd name="T82" fmla="*/ 139 w 139"/>
                    <a:gd name="T83" fmla="*/ 31 h 112"/>
                    <a:gd name="T84" fmla="*/ 78 w 139"/>
                    <a:gd name="T85" fmla="*/ 31 h 112"/>
                    <a:gd name="T86" fmla="*/ 78 w 139"/>
                    <a:gd name="T87" fmla="*/ 74 h 112"/>
                    <a:gd name="T88" fmla="*/ 67 w 139"/>
                    <a:gd name="T89" fmla="*/ 90 h 112"/>
                    <a:gd name="T90" fmla="*/ 65 w 139"/>
                    <a:gd name="T91" fmla="*/ 112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39" h="112">
                      <a:moveTo>
                        <a:pt x="65" y="112"/>
                      </a:moveTo>
                      <a:lnTo>
                        <a:pt x="0" y="112"/>
                      </a:lnTo>
                      <a:lnTo>
                        <a:pt x="0" y="112"/>
                      </a:lnTo>
                      <a:lnTo>
                        <a:pt x="0" y="111"/>
                      </a:lnTo>
                      <a:lnTo>
                        <a:pt x="0" y="111"/>
                      </a:lnTo>
                      <a:lnTo>
                        <a:pt x="2" y="103"/>
                      </a:lnTo>
                      <a:lnTo>
                        <a:pt x="2" y="103"/>
                      </a:lnTo>
                      <a:lnTo>
                        <a:pt x="3" y="100"/>
                      </a:lnTo>
                      <a:lnTo>
                        <a:pt x="3" y="100"/>
                      </a:lnTo>
                      <a:lnTo>
                        <a:pt x="3" y="99"/>
                      </a:lnTo>
                      <a:lnTo>
                        <a:pt x="3" y="99"/>
                      </a:lnTo>
                      <a:lnTo>
                        <a:pt x="7" y="95"/>
                      </a:lnTo>
                      <a:lnTo>
                        <a:pt x="10" y="90"/>
                      </a:lnTo>
                      <a:lnTo>
                        <a:pt x="10" y="90"/>
                      </a:lnTo>
                      <a:lnTo>
                        <a:pt x="13" y="83"/>
                      </a:lnTo>
                      <a:lnTo>
                        <a:pt x="16" y="76"/>
                      </a:lnTo>
                      <a:lnTo>
                        <a:pt x="16" y="76"/>
                      </a:lnTo>
                      <a:lnTo>
                        <a:pt x="19" y="70"/>
                      </a:lnTo>
                      <a:lnTo>
                        <a:pt x="19" y="70"/>
                      </a:lnTo>
                      <a:lnTo>
                        <a:pt x="31" y="58"/>
                      </a:lnTo>
                      <a:lnTo>
                        <a:pt x="31" y="58"/>
                      </a:lnTo>
                      <a:lnTo>
                        <a:pt x="35" y="54"/>
                      </a:lnTo>
                      <a:lnTo>
                        <a:pt x="35" y="54"/>
                      </a:lnTo>
                      <a:lnTo>
                        <a:pt x="36" y="51"/>
                      </a:lnTo>
                      <a:lnTo>
                        <a:pt x="36" y="51"/>
                      </a:lnTo>
                      <a:lnTo>
                        <a:pt x="38" y="48"/>
                      </a:lnTo>
                      <a:lnTo>
                        <a:pt x="38" y="48"/>
                      </a:lnTo>
                      <a:lnTo>
                        <a:pt x="38" y="44"/>
                      </a:lnTo>
                      <a:lnTo>
                        <a:pt x="38" y="44"/>
                      </a:lnTo>
                      <a:lnTo>
                        <a:pt x="42" y="31"/>
                      </a:lnTo>
                      <a:lnTo>
                        <a:pt x="42" y="31"/>
                      </a:lnTo>
                      <a:lnTo>
                        <a:pt x="45" y="25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54" y="18"/>
                      </a:lnTo>
                      <a:lnTo>
                        <a:pt x="57" y="14"/>
                      </a:lnTo>
                      <a:lnTo>
                        <a:pt x="57" y="14"/>
                      </a:lnTo>
                      <a:lnTo>
                        <a:pt x="61" y="3"/>
                      </a:lnTo>
                      <a:lnTo>
                        <a:pt x="61" y="3"/>
                      </a:lnTo>
                      <a:lnTo>
                        <a:pt x="64" y="0"/>
                      </a:lnTo>
                      <a:lnTo>
                        <a:pt x="139" y="0"/>
                      </a:lnTo>
                      <a:lnTo>
                        <a:pt x="139" y="31"/>
                      </a:lnTo>
                      <a:lnTo>
                        <a:pt x="78" y="31"/>
                      </a:lnTo>
                      <a:lnTo>
                        <a:pt x="78" y="74"/>
                      </a:lnTo>
                      <a:lnTo>
                        <a:pt x="67" y="90"/>
                      </a:lnTo>
                      <a:lnTo>
                        <a:pt x="65" y="11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23" name="Freeform 1078"/>
                <p:cNvSpPr>
                  <a:spLocks/>
                </p:cNvSpPr>
                <p:nvPr/>
              </p:nvSpPr>
              <p:spPr bwMode="auto">
                <a:xfrm>
                  <a:off x="4203006" y="2722594"/>
                  <a:ext cx="195873" cy="153335"/>
                </a:xfrm>
                <a:custGeom>
                  <a:avLst/>
                  <a:gdLst>
                    <a:gd name="T0" fmla="*/ 198 w 198"/>
                    <a:gd name="T1" fmla="*/ 64 h 155"/>
                    <a:gd name="T2" fmla="*/ 191 w 198"/>
                    <a:gd name="T3" fmla="*/ 47 h 155"/>
                    <a:gd name="T4" fmla="*/ 190 w 198"/>
                    <a:gd name="T5" fmla="*/ 40 h 155"/>
                    <a:gd name="T6" fmla="*/ 183 w 198"/>
                    <a:gd name="T7" fmla="*/ 14 h 155"/>
                    <a:gd name="T8" fmla="*/ 181 w 198"/>
                    <a:gd name="T9" fmla="*/ 15 h 155"/>
                    <a:gd name="T10" fmla="*/ 175 w 198"/>
                    <a:gd name="T11" fmla="*/ 15 h 155"/>
                    <a:gd name="T12" fmla="*/ 170 w 198"/>
                    <a:gd name="T13" fmla="*/ 12 h 155"/>
                    <a:gd name="T14" fmla="*/ 156 w 198"/>
                    <a:gd name="T15" fmla="*/ 11 h 155"/>
                    <a:gd name="T16" fmla="*/ 142 w 198"/>
                    <a:gd name="T17" fmla="*/ 11 h 155"/>
                    <a:gd name="T18" fmla="*/ 130 w 198"/>
                    <a:gd name="T19" fmla="*/ 6 h 155"/>
                    <a:gd name="T20" fmla="*/ 123 w 198"/>
                    <a:gd name="T21" fmla="*/ 0 h 155"/>
                    <a:gd name="T22" fmla="*/ 120 w 198"/>
                    <a:gd name="T23" fmla="*/ 2 h 155"/>
                    <a:gd name="T24" fmla="*/ 113 w 198"/>
                    <a:gd name="T25" fmla="*/ 11 h 155"/>
                    <a:gd name="T26" fmla="*/ 112 w 198"/>
                    <a:gd name="T27" fmla="*/ 15 h 155"/>
                    <a:gd name="T28" fmla="*/ 106 w 198"/>
                    <a:gd name="T29" fmla="*/ 28 h 155"/>
                    <a:gd name="T30" fmla="*/ 94 w 198"/>
                    <a:gd name="T31" fmla="*/ 41 h 155"/>
                    <a:gd name="T32" fmla="*/ 88 w 198"/>
                    <a:gd name="T33" fmla="*/ 45 h 155"/>
                    <a:gd name="T34" fmla="*/ 78 w 198"/>
                    <a:gd name="T35" fmla="*/ 47 h 155"/>
                    <a:gd name="T36" fmla="*/ 74 w 198"/>
                    <a:gd name="T37" fmla="*/ 50 h 155"/>
                    <a:gd name="T38" fmla="*/ 65 w 198"/>
                    <a:gd name="T39" fmla="*/ 63 h 155"/>
                    <a:gd name="T40" fmla="*/ 62 w 198"/>
                    <a:gd name="T41" fmla="*/ 67 h 155"/>
                    <a:gd name="T42" fmla="*/ 59 w 198"/>
                    <a:gd name="T43" fmla="*/ 73 h 155"/>
                    <a:gd name="T44" fmla="*/ 54 w 198"/>
                    <a:gd name="T45" fmla="*/ 79 h 155"/>
                    <a:gd name="T46" fmla="*/ 52 w 198"/>
                    <a:gd name="T47" fmla="*/ 84 h 155"/>
                    <a:gd name="T48" fmla="*/ 54 w 198"/>
                    <a:gd name="T49" fmla="*/ 112 h 155"/>
                    <a:gd name="T50" fmla="*/ 52 w 198"/>
                    <a:gd name="T51" fmla="*/ 118 h 155"/>
                    <a:gd name="T52" fmla="*/ 46 w 198"/>
                    <a:gd name="T53" fmla="*/ 126 h 155"/>
                    <a:gd name="T54" fmla="*/ 32 w 198"/>
                    <a:gd name="T55" fmla="*/ 138 h 155"/>
                    <a:gd name="T56" fmla="*/ 22 w 198"/>
                    <a:gd name="T57" fmla="*/ 141 h 155"/>
                    <a:gd name="T58" fmla="*/ 0 w 198"/>
                    <a:gd name="T59" fmla="*/ 155 h 155"/>
                    <a:gd name="T60" fmla="*/ 78 w 198"/>
                    <a:gd name="T61" fmla="*/ 135 h 155"/>
                    <a:gd name="T62" fmla="*/ 88 w 198"/>
                    <a:gd name="T63" fmla="*/ 131 h 155"/>
                    <a:gd name="T64" fmla="*/ 107 w 198"/>
                    <a:gd name="T65" fmla="*/ 126 h 155"/>
                    <a:gd name="T66" fmla="*/ 112 w 198"/>
                    <a:gd name="T67" fmla="*/ 126 h 155"/>
                    <a:gd name="T68" fmla="*/ 126 w 198"/>
                    <a:gd name="T69" fmla="*/ 119 h 155"/>
                    <a:gd name="T70" fmla="*/ 138 w 198"/>
                    <a:gd name="T71" fmla="*/ 108 h 155"/>
                    <a:gd name="T72" fmla="*/ 139 w 198"/>
                    <a:gd name="T73" fmla="*/ 105 h 155"/>
                    <a:gd name="T74" fmla="*/ 146 w 198"/>
                    <a:gd name="T75" fmla="*/ 102 h 155"/>
                    <a:gd name="T76" fmla="*/ 159 w 198"/>
                    <a:gd name="T77" fmla="*/ 96 h 155"/>
                    <a:gd name="T78" fmla="*/ 164 w 198"/>
                    <a:gd name="T79" fmla="*/ 93 h 155"/>
                    <a:gd name="T80" fmla="*/ 170 w 198"/>
                    <a:gd name="T81" fmla="*/ 82 h 155"/>
                    <a:gd name="T82" fmla="*/ 177 w 198"/>
                    <a:gd name="T83" fmla="*/ 73 h 155"/>
                    <a:gd name="T84" fmla="*/ 180 w 198"/>
                    <a:gd name="T85" fmla="*/ 71 h 155"/>
                    <a:gd name="T86" fmla="*/ 197 w 198"/>
                    <a:gd name="T87" fmla="*/ 67 h 155"/>
                    <a:gd name="T88" fmla="*/ 198 w 198"/>
                    <a:gd name="T89" fmla="*/ 64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98" h="155">
                      <a:moveTo>
                        <a:pt x="198" y="64"/>
                      </a:moveTo>
                      <a:lnTo>
                        <a:pt x="198" y="64"/>
                      </a:lnTo>
                      <a:lnTo>
                        <a:pt x="193" y="54"/>
                      </a:lnTo>
                      <a:lnTo>
                        <a:pt x="191" y="47"/>
                      </a:lnTo>
                      <a:lnTo>
                        <a:pt x="190" y="40"/>
                      </a:lnTo>
                      <a:lnTo>
                        <a:pt x="190" y="40"/>
                      </a:lnTo>
                      <a:lnTo>
                        <a:pt x="188" y="28"/>
                      </a:lnTo>
                      <a:lnTo>
                        <a:pt x="183" y="14"/>
                      </a:lnTo>
                      <a:lnTo>
                        <a:pt x="181" y="15"/>
                      </a:lnTo>
                      <a:lnTo>
                        <a:pt x="181" y="15"/>
                      </a:lnTo>
                      <a:lnTo>
                        <a:pt x="178" y="15"/>
                      </a:lnTo>
                      <a:lnTo>
                        <a:pt x="175" y="15"/>
                      </a:lnTo>
                      <a:lnTo>
                        <a:pt x="170" y="12"/>
                      </a:lnTo>
                      <a:lnTo>
                        <a:pt x="170" y="12"/>
                      </a:lnTo>
                      <a:lnTo>
                        <a:pt x="165" y="11"/>
                      </a:lnTo>
                      <a:lnTo>
                        <a:pt x="156" y="11"/>
                      </a:lnTo>
                      <a:lnTo>
                        <a:pt x="142" y="11"/>
                      </a:lnTo>
                      <a:lnTo>
                        <a:pt x="142" y="11"/>
                      </a:lnTo>
                      <a:lnTo>
                        <a:pt x="136" y="9"/>
                      </a:lnTo>
                      <a:lnTo>
                        <a:pt x="130" y="6"/>
                      </a:lnTo>
                      <a:lnTo>
                        <a:pt x="126" y="2"/>
                      </a:lnTo>
                      <a:lnTo>
                        <a:pt x="123" y="0"/>
                      </a:lnTo>
                      <a:lnTo>
                        <a:pt x="123" y="0"/>
                      </a:lnTo>
                      <a:lnTo>
                        <a:pt x="120" y="2"/>
                      </a:lnTo>
                      <a:lnTo>
                        <a:pt x="117" y="5"/>
                      </a:lnTo>
                      <a:lnTo>
                        <a:pt x="113" y="11"/>
                      </a:lnTo>
                      <a:lnTo>
                        <a:pt x="112" y="15"/>
                      </a:lnTo>
                      <a:lnTo>
                        <a:pt x="112" y="15"/>
                      </a:lnTo>
                      <a:lnTo>
                        <a:pt x="109" y="21"/>
                      </a:lnTo>
                      <a:lnTo>
                        <a:pt x="106" y="28"/>
                      </a:lnTo>
                      <a:lnTo>
                        <a:pt x="100" y="35"/>
                      </a:lnTo>
                      <a:lnTo>
                        <a:pt x="94" y="41"/>
                      </a:lnTo>
                      <a:lnTo>
                        <a:pt x="94" y="41"/>
                      </a:lnTo>
                      <a:lnTo>
                        <a:pt x="88" y="45"/>
                      </a:lnTo>
                      <a:lnTo>
                        <a:pt x="83" y="47"/>
                      </a:lnTo>
                      <a:lnTo>
                        <a:pt x="78" y="47"/>
                      </a:lnTo>
                      <a:lnTo>
                        <a:pt x="74" y="50"/>
                      </a:lnTo>
                      <a:lnTo>
                        <a:pt x="74" y="50"/>
                      </a:lnTo>
                      <a:lnTo>
                        <a:pt x="68" y="57"/>
                      </a:lnTo>
                      <a:lnTo>
                        <a:pt x="65" y="63"/>
                      </a:lnTo>
                      <a:lnTo>
                        <a:pt x="62" y="67"/>
                      </a:lnTo>
                      <a:lnTo>
                        <a:pt x="62" y="67"/>
                      </a:lnTo>
                      <a:lnTo>
                        <a:pt x="61" y="71"/>
                      </a:lnTo>
                      <a:lnTo>
                        <a:pt x="59" y="73"/>
                      </a:lnTo>
                      <a:lnTo>
                        <a:pt x="57" y="76"/>
                      </a:lnTo>
                      <a:lnTo>
                        <a:pt x="54" y="79"/>
                      </a:lnTo>
                      <a:lnTo>
                        <a:pt x="54" y="79"/>
                      </a:lnTo>
                      <a:lnTo>
                        <a:pt x="52" y="84"/>
                      </a:lnTo>
                      <a:lnTo>
                        <a:pt x="52" y="92"/>
                      </a:lnTo>
                      <a:lnTo>
                        <a:pt x="54" y="112"/>
                      </a:lnTo>
                      <a:lnTo>
                        <a:pt x="54" y="112"/>
                      </a:lnTo>
                      <a:lnTo>
                        <a:pt x="52" y="118"/>
                      </a:lnTo>
                      <a:lnTo>
                        <a:pt x="51" y="122"/>
                      </a:lnTo>
                      <a:lnTo>
                        <a:pt x="46" y="126"/>
                      </a:lnTo>
                      <a:lnTo>
                        <a:pt x="42" y="131"/>
                      </a:lnTo>
                      <a:lnTo>
                        <a:pt x="32" y="138"/>
                      </a:lnTo>
                      <a:lnTo>
                        <a:pt x="22" y="141"/>
                      </a:lnTo>
                      <a:lnTo>
                        <a:pt x="22" y="141"/>
                      </a:lnTo>
                      <a:lnTo>
                        <a:pt x="10" y="148"/>
                      </a:lnTo>
                      <a:lnTo>
                        <a:pt x="0" y="155"/>
                      </a:lnTo>
                      <a:lnTo>
                        <a:pt x="78" y="155"/>
                      </a:lnTo>
                      <a:lnTo>
                        <a:pt x="78" y="135"/>
                      </a:lnTo>
                      <a:lnTo>
                        <a:pt x="78" y="135"/>
                      </a:lnTo>
                      <a:lnTo>
                        <a:pt x="88" y="131"/>
                      </a:lnTo>
                      <a:lnTo>
                        <a:pt x="97" y="128"/>
                      </a:lnTo>
                      <a:lnTo>
                        <a:pt x="107" y="126"/>
                      </a:lnTo>
                      <a:lnTo>
                        <a:pt x="107" y="126"/>
                      </a:lnTo>
                      <a:lnTo>
                        <a:pt x="112" y="126"/>
                      </a:lnTo>
                      <a:lnTo>
                        <a:pt x="117" y="125"/>
                      </a:lnTo>
                      <a:lnTo>
                        <a:pt x="126" y="119"/>
                      </a:lnTo>
                      <a:lnTo>
                        <a:pt x="133" y="113"/>
                      </a:lnTo>
                      <a:lnTo>
                        <a:pt x="138" y="108"/>
                      </a:lnTo>
                      <a:lnTo>
                        <a:pt x="138" y="108"/>
                      </a:lnTo>
                      <a:lnTo>
                        <a:pt x="139" y="105"/>
                      </a:lnTo>
                      <a:lnTo>
                        <a:pt x="141" y="103"/>
                      </a:lnTo>
                      <a:lnTo>
                        <a:pt x="146" y="102"/>
                      </a:lnTo>
                      <a:lnTo>
                        <a:pt x="152" y="100"/>
                      </a:lnTo>
                      <a:lnTo>
                        <a:pt x="159" y="96"/>
                      </a:lnTo>
                      <a:lnTo>
                        <a:pt x="159" y="96"/>
                      </a:lnTo>
                      <a:lnTo>
                        <a:pt x="164" y="93"/>
                      </a:lnTo>
                      <a:lnTo>
                        <a:pt x="165" y="89"/>
                      </a:lnTo>
                      <a:lnTo>
                        <a:pt x="170" y="82"/>
                      </a:lnTo>
                      <a:lnTo>
                        <a:pt x="174" y="74"/>
                      </a:lnTo>
                      <a:lnTo>
                        <a:pt x="177" y="73"/>
                      </a:lnTo>
                      <a:lnTo>
                        <a:pt x="180" y="71"/>
                      </a:lnTo>
                      <a:lnTo>
                        <a:pt x="180" y="71"/>
                      </a:lnTo>
                      <a:lnTo>
                        <a:pt x="193" y="69"/>
                      </a:lnTo>
                      <a:lnTo>
                        <a:pt x="197" y="67"/>
                      </a:lnTo>
                      <a:lnTo>
                        <a:pt x="198" y="66"/>
                      </a:lnTo>
                      <a:lnTo>
                        <a:pt x="198" y="6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24" name="Freeform 1079"/>
                <p:cNvSpPr>
                  <a:spLocks/>
                </p:cNvSpPr>
                <p:nvPr/>
              </p:nvSpPr>
              <p:spPr bwMode="auto">
                <a:xfrm>
                  <a:off x="4203006" y="2722594"/>
                  <a:ext cx="195873" cy="153335"/>
                </a:xfrm>
                <a:custGeom>
                  <a:avLst/>
                  <a:gdLst>
                    <a:gd name="T0" fmla="*/ 198 w 198"/>
                    <a:gd name="T1" fmla="*/ 64 h 155"/>
                    <a:gd name="T2" fmla="*/ 191 w 198"/>
                    <a:gd name="T3" fmla="*/ 47 h 155"/>
                    <a:gd name="T4" fmla="*/ 190 w 198"/>
                    <a:gd name="T5" fmla="*/ 40 h 155"/>
                    <a:gd name="T6" fmla="*/ 183 w 198"/>
                    <a:gd name="T7" fmla="*/ 14 h 155"/>
                    <a:gd name="T8" fmla="*/ 181 w 198"/>
                    <a:gd name="T9" fmla="*/ 15 h 155"/>
                    <a:gd name="T10" fmla="*/ 175 w 198"/>
                    <a:gd name="T11" fmla="*/ 15 h 155"/>
                    <a:gd name="T12" fmla="*/ 170 w 198"/>
                    <a:gd name="T13" fmla="*/ 12 h 155"/>
                    <a:gd name="T14" fmla="*/ 156 w 198"/>
                    <a:gd name="T15" fmla="*/ 11 h 155"/>
                    <a:gd name="T16" fmla="*/ 142 w 198"/>
                    <a:gd name="T17" fmla="*/ 11 h 155"/>
                    <a:gd name="T18" fmla="*/ 130 w 198"/>
                    <a:gd name="T19" fmla="*/ 6 h 155"/>
                    <a:gd name="T20" fmla="*/ 123 w 198"/>
                    <a:gd name="T21" fmla="*/ 0 h 155"/>
                    <a:gd name="T22" fmla="*/ 120 w 198"/>
                    <a:gd name="T23" fmla="*/ 2 h 155"/>
                    <a:gd name="T24" fmla="*/ 113 w 198"/>
                    <a:gd name="T25" fmla="*/ 11 h 155"/>
                    <a:gd name="T26" fmla="*/ 112 w 198"/>
                    <a:gd name="T27" fmla="*/ 15 h 155"/>
                    <a:gd name="T28" fmla="*/ 106 w 198"/>
                    <a:gd name="T29" fmla="*/ 28 h 155"/>
                    <a:gd name="T30" fmla="*/ 94 w 198"/>
                    <a:gd name="T31" fmla="*/ 41 h 155"/>
                    <a:gd name="T32" fmla="*/ 88 w 198"/>
                    <a:gd name="T33" fmla="*/ 45 h 155"/>
                    <a:gd name="T34" fmla="*/ 78 w 198"/>
                    <a:gd name="T35" fmla="*/ 47 h 155"/>
                    <a:gd name="T36" fmla="*/ 74 w 198"/>
                    <a:gd name="T37" fmla="*/ 50 h 155"/>
                    <a:gd name="T38" fmla="*/ 65 w 198"/>
                    <a:gd name="T39" fmla="*/ 63 h 155"/>
                    <a:gd name="T40" fmla="*/ 62 w 198"/>
                    <a:gd name="T41" fmla="*/ 67 h 155"/>
                    <a:gd name="T42" fmla="*/ 59 w 198"/>
                    <a:gd name="T43" fmla="*/ 73 h 155"/>
                    <a:gd name="T44" fmla="*/ 54 w 198"/>
                    <a:gd name="T45" fmla="*/ 79 h 155"/>
                    <a:gd name="T46" fmla="*/ 52 w 198"/>
                    <a:gd name="T47" fmla="*/ 84 h 155"/>
                    <a:gd name="T48" fmla="*/ 54 w 198"/>
                    <a:gd name="T49" fmla="*/ 112 h 155"/>
                    <a:gd name="T50" fmla="*/ 52 w 198"/>
                    <a:gd name="T51" fmla="*/ 118 h 155"/>
                    <a:gd name="T52" fmla="*/ 46 w 198"/>
                    <a:gd name="T53" fmla="*/ 126 h 155"/>
                    <a:gd name="T54" fmla="*/ 32 w 198"/>
                    <a:gd name="T55" fmla="*/ 138 h 155"/>
                    <a:gd name="T56" fmla="*/ 22 w 198"/>
                    <a:gd name="T57" fmla="*/ 141 h 155"/>
                    <a:gd name="T58" fmla="*/ 0 w 198"/>
                    <a:gd name="T59" fmla="*/ 155 h 155"/>
                    <a:gd name="T60" fmla="*/ 78 w 198"/>
                    <a:gd name="T61" fmla="*/ 135 h 155"/>
                    <a:gd name="T62" fmla="*/ 88 w 198"/>
                    <a:gd name="T63" fmla="*/ 131 h 155"/>
                    <a:gd name="T64" fmla="*/ 107 w 198"/>
                    <a:gd name="T65" fmla="*/ 126 h 155"/>
                    <a:gd name="T66" fmla="*/ 112 w 198"/>
                    <a:gd name="T67" fmla="*/ 126 h 155"/>
                    <a:gd name="T68" fmla="*/ 126 w 198"/>
                    <a:gd name="T69" fmla="*/ 119 h 155"/>
                    <a:gd name="T70" fmla="*/ 138 w 198"/>
                    <a:gd name="T71" fmla="*/ 108 h 155"/>
                    <a:gd name="T72" fmla="*/ 139 w 198"/>
                    <a:gd name="T73" fmla="*/ 105 h 155"/>
                    <a:gd name="T74" fmla="*/ 146 w 198"/>
                    <a:gd name="T75" fmla="*/ 102 h 155"/>
                    <a:gd name="T76" fmla="*/ 159 w 198"/>
                    <a:gd name="T77" fmla="*/ 96 h 155"/>
                    <a:gd name="T78" fmla="*/ 164 w 198"/>
                    <a:gd name="T79" fmla="*/ 93 h 155"/>
                    <a:gd name="T80" fmla="*/ 170 w 198"/>
                    <a:gd name="T81" fmla="*/ 82 h 155"/>
                    <a:gd name="T82" fmla="*/ 177 w 198"/>
                    <a:gd name="T83" fmla="*/ 73 h 155"/>
                    <a:gd name="T84" fmla="*/ 180 w 198"/>
                    <a:gd name="T85" fmla="*/ 71 h 155"/>
                    <a:gd name="T86" fmla="*/ 197 w 198"/>
                    <a:gd name="T87" fmla="*/ 67 h 155"/>
                    <a:gd name="T88" fmla="*/ 198 w 198"/>
                    <a:gd name="T89" fmla="*/ 64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98" h="155">
                      <a:moveTo>
                        <a:pt x="198" y="64"/>
                      </a:moveTo>
                      <a:lnTo>
                        <a:pt x="198" y="64"/>
                      </a:lnTo>
                      <a:lnTo>
                        <a:pt x="193" y="54"/>
                      </a:lnTo>
                      <a:lnTo>
                        <a:pt x="191" y="47"/>
                      </a:lnTo>
                      <a:lnTo>
                        <a:pt x="190" y="40"/>
                      </a:lnTo>
                      <a:lnTo>
                        <a:pt x="190" y="40"/>
                      </a:lnTo>
                      <a:lnTo>
                        <a:pt x="188" y="28"/>
                      </a:lnTo>
                      <a:lnTo>
                        <a:pt x="183" y="14"/>
                      </a:lnTo>
                      <a:lnTo>
                        <a:pt x="181" y="15"/>
                      </a:lnTo>
                      <a:lnTo>
                        <a:pt x="181" y="15"/>
                      </a:lnTo>
                      <a:lnTo>
                        <a:pt x="178" y="15"/>
                      </a:lnTo>
                      <a:lnTo>
                        <a:pt x="175" y="15"/>
                      </a:lnTo>
                      <a:lnTo>
                        <a:pt x="170" y="12"/>
                      </a:lnTo>
                      <a:lnTo>
                        <a:pt x="170" y="12"/>
                      </a:lnTo>
                      <a:lnTo>
                        <a:pt x="165" y="11"/>
                      </a:lnTo>
                      <a:lnTo>
                        <a:pt x="156" y="11"/>
                      </a:lnTo>
                      <a:lnTo>
                        <a:pt x="142" y="11"/>
                      </a:lnTo>
                      <a:lnTo>
                        <a:pt x="142" y="11"/>
                      </a:lnTo>
                      <a:lnTo>
                        <a:pt x="136" y="9"/>
                      </a:lnTo>
                      <a:lnTo>
                        <a:pt x="130" y="6"/>
                      </a:lnTo>
                      <a:lnTo>
                        <a:pt x="126" y="2"/>
                      </a:lnTo>
                      <a:lnTo>
                        <a:pt x="123" y="0"/>
                      </a:lnTo>
                      <a:lnTo>
                        <a:pt x="123" y="0"/>
                      </a:lnTo>
                      <a:lnTo>
                        <a:pt x="120" y="2"/>
                      </a:lnTo>
                      <a:lnTo>
                        <a:pt x="117" y="5"/>
                      </a:lnTo>
                      <a:lnTo>
                        <a:pt x="113" y="11"/>
                      </a:lnTo>
                      <a:lnTo>
                        <a:pt x="112" y="15"/>
                      </a:lnTo>
                      <a:lnTo>
                        <a:pt x="112" y="15"/>
                      </a:lnTo>
                      <a:lnTo>
                        <a:pt x="109" y="21"/>
                      </a:lnTo>
                      <a:lnTo>
                        <a:pt x="106" y="28"/>
                      </a:lnTo>
                      <a:lnTo>
                        <a:pt x="100" y="35"/>
                      </a:lnTo>
                      <a:lnTo>
                        <a:pt x="94" y="41"/>
                      </a:lnTo>
                      <a:lnTo>
                        <a:pt x="94" y="41"/>
                      </a:lnTo>
                      <a:lnTo>
                        <a:pt x="88" y="45"/>
                      </a:lnTo>
                      <a:lnTo>
                        <a:pt x="83" y="47"/>
                      </a:lnTo>
                      <a:lnTo>
                        <a:pt x="78" y="47"/>
                      </a:lnTo>
                      <a:lnTo>
                        <a:pt x="74" y="50"/>
                      </a:lnTo>
                      <a:lnTo>
                        <a:pt x="74" y="50"/>
                      </a:lnTo>
                      <a:lnTo>
                        <a:pt x="68" y="57"/>
                      </a:lnTo>
                      <a:lnTo>
                        <a:pt x="65" y="63"/>
                      </a:lnTo>
                      <a:lnTo>
                        <a:pt x="62" y="67"/>
                      </a:lnTo>
                      <a:lnTo>
                        <a:pt x="62" y="67"/>
                      </a:lnTo>
                      <a:lnTo>
                        <a:pt x="61" y="71"/>
                      </a:lnTo>
                      <a:lnTo>
                        <a:pt x="59" y="73"/>
                      </a:lnTo>
                      <a:lnTo>
                        <a:pt x="57" y="76"/>
                      </a:lnTo>
                      <a:lnTo>
                        <a:pt x="54" y="79"/>
                      </a:lnTo>
                      <a:lnTo>
                        <a:pt x="54" y="79"/>
                      </a:lnTo>
                      <a:lnTo>
                        <a:pt x="52" y="84"/>
                      </a:lnTo>
                      <a:lnTo>
                        <a:pt x="52" y="92"/>
                      </a:lnTo>
                      <a:lnTo>
                        <a:pt x="54" y="112"/>
                      </a:lnTo>
                      <a:lnTo>
                        <a:pt x="54" y="112"/>
                      </a:lnTo>
                      <a:lnTo>
                        <a:pt x="52" y="118"/>
                      </a:lnTo>
                      <a:lnTo>
                        <a:pt x="51" y="122"/>
                      </a:lnTo>
                      <a:lnTo>
                        <a:pt x="46" y="126"/>
                      </a:lnTo>
                      <a:lnTo>
                        <a:pt x="42" y="131"/>
                      </a:lnTo>
                      <a:lnTo>
                        <a:pt x="32" y="138"/>
                      </a:lnTo>
                      <a:lnTo>
                        <a:pt x="22" y="141"/>
                      </a:lnTo>
                      <a:lnTo>
                        <a:pt x="22" y="141"/>
                      </a:lnTo>
                      <a:lnTo>
                        <a:pt x="10" y="148"/>
                      </a:lnTo>
                      <a:lnTo>
                        <a:pt x="0" y="155"/>
                      </a:lnTo>
                      <a:lnTo>
                        <a:pt x="78" y="155"/>
                      </a:lnTo>
                      <a:lnTo>
                        <a:pt x="78" y="135"/>
                      </a:lnTo>
                      <a:lnTo>
                        <a:pt x="78" y="135"/>
                      </a:lnTo>
                      <a:lnTo>
                        <a:pt x="88" y="131"/>
                      </a:lnTo>
                      <a:lnTo>
                        <a:pt x="97" y="128"/>
                      </a:lnTo>
                      <a:lnTo>
                        <a:pt x="107" y="126"/>
                      </a:lnTo>
                      <a:lnTo>
                        <a:pt x="107" y="126"/>
                      </a:lnTo>
                      <a:lnTo>
                        <a:pt x="112" y="126"/>
                      </a:lnTo>
                      <a:lnTo>
                        <a:pt x="117" y="125"/>
                      </a:lnTo>
                      <a:lnTo>
                        <a:pt x="126" y="119"/>
                      </a:lnTo>
                      <a:lnTo>
                        <a:pt x="133" y="113"/>
                      </a:lnTo>
                      <a:lnTo>
                        <a:pt x="138" y="108"/>
                      </a:lnTo>
                      <a:lnTo>
                        <a:pt x="138" y="108"/>
                      </a:lnTo>
                      <a:lnTo>
                        <a:pt x="139" y="105"/>
                      </a:lnTo>
                      <a:lnTo>
                        <a:pt x="141" y="103"/>
                      </a:lnTo>
                      <a:lnTo>
                        <a:pt x="146" y="102"/>
                      </a:lnTo>
                      <a:lnTo>
                        <a:pt x="152" y="100"/>
                      </a:lnTo>
                      <a:lnTo>
                        <a:pt x="159" y="96"/>
                      </a:lnTo>
                      <a:lnTo>
                        <a:pt x="159" y="96"/>
                      </a:lnTo>
                      <a:lnTo>
                        <a:pt x="164" y="93"/>
                      </a:lnTo>
                      <a:lnTo>
                        <a:pt x="165" y="89"/>
                      </a:lnTo>
                      <a:lnTo>
                        <a:pt x="170" y="82"/>
                      </a:lnTo>
                      <a:lnTo>
                        <a:pt x="174" y="74"/>
                      </a:lnTo>
                      <a:lnTo>
                        <a:pt x="177" y="73"/>
                      </a:lnTo>
                      <a:lnTo>
                        <a:pt x="180" y="71"/>
                      </a:lnTo>
                      <a:lnTo>
                        <a:pt x="180" y="71"/>
                      </a:lnTo>
                      <a:lnTo>
                        <a:pt x="193" y="69"/>
                      </a:lnTo>
                      <a:lnTo>
                        <a:pt x="197" y="67"/>
                      </a:lnTo>
                      <a:lnTo>
                        <a:pt x="198" y="66"/>
                      </a:lnTo>
                      <a:lnTo>
                        <a:pt x="198" y="6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27" name="Freeform 1082"/>
                <p:cNvSpPr>
                  <a:spLocks/>
                </p:cNvSpPr>
                <p:nvPr/>
              </p:nvSpPr>
              <p:spPr bwMode="auto">
                <a:xfrm>
                  <a:off x="4499784" y="2410977"/>
                  <a:ext cx="10882" cy="15828"/>
                </a:xfrm>
                <a:custGeom>
                  <a:avLst/>
                  <a:gdLst>
                    <a:gd name="T0" fmla="*/ 10 w 11"/>
                    <a:gd name="T1" fmla="*/ 16 h 16"/>
                    <a:gd name="T2" fmla="*/ 10 w 11"/>
                    <a:gd name="T3" fmla="*/ 16 h 16"/>
                    <a:gd name="T4" fmla="*/ 3 w 11"/>
                    <a:gd name="T5" fmla="*/ 14 h 16"/>
                    <a:gd name="T6" fmla="*/ 3 w 11"/>
                    <a:gd name="T7" fmla="*/ 14 h 16"/>
                    <a:gd name="T8" fmla="*/ 3 w 11"/>
                    <a:gd name="T9" fmla="*/ 14 h 16"/>
                    <a:gd name="T10" fmla="*/ 3 w 11"/>
                    <a:gd name="T11" fmla="*/ 14 h 16"/>
                    <a:gd name="T12" fmla="*/ 3 w 11"/>
                    <a:gd name="T13" fmla="*/ 14 h 16"/>
                    <a:gd name="T14" fmla="*/ 3 w 11"/>
                    <a:gd name="T15" fmla="*/ 14 h 16"/>
                    <a:gd name="T16" fmla="*/ 3 w 11"/>
                    <a:gd name="T17" fmla="*/ 14 h 16"/>
                    <a:gd name="T18" fmla="*/ 3 w 11"/>
                    <a:gd name="T19" fmla="*/ 13 h 16"/>
                    <a:gd name="T20" fmla="*/ 3 w 11"/>
                    <a:gd name="T21" fmla="*/ 13 h 16"/>
                    <a:gd name="T22" fmla="*/ 3 w 11"/>
                    <a:gd name="T23" fmla="*/ 13 h 16"/>
                    <a:gd name="T24" fmla="*/ 3 w 11"/>
                    <a:gd name="T25" fmla="*/ 13 h 16"/>
                    <a:gd name="T26" fmla="*/ 3 w 11"/>
                    <a:gd name="T27" fmla="*/ 13 h 16"/>
                    <a:gd name="T28" fmla="*/ 3 w 11"/>
                    <a:gd name="T29" fmla="*/ 13 h 16"/>
                    <a:gd name="T30" fmla="*/ 3 w 11"/>
                    <a:gd name="T31" fmla="*/ 13 h 16"/>
                    <a:gd name="T32" fmla="*/ 3 w 11"/>
                    <a:gd name="T33" fmla="*/ 13 h 16"/>
                    <a:gd name="T34" fmla="*/ 3 w 11"/>
                    <a:gd name="T35" fmla="*/ 13 h 16"/>
                    <a:gd name="T36" fmla="*/ 3 w 11"/>
                    <a:gd name="T37" fmla="*/ 13 h 16"/>
                    <a:gd name="T38" fmla="*/ 3 w 11"/>
                    <a:gd name="T39" fmla="*/ 13 h 16"/>
                    <a:gd name="T40" fmla="*/ 1 w 11"/>
                    <a:gd name="T41" fmla="*/ 13 h 16"/>
                    <a:gd name="T42" fmla="*/ 1 w 11"/>
                    <a:gd name="T43" fmla="*/ 13 h 16"/>
                    <a:gd name="T44" fmla="*/ 1 w 11"/>
                    <a:gd name="T45" fmla="*/ 13 h 16"/>
                    <a:gd name="T46" fmla="*/ 1 w 11"/>
                    <a:gd name="T47" fmla="*/ 13 h 16"/>
                    <a:gd name="T48" fmla="*/ 1 w 11"/>
                    <a:gd name="T49" fmla="*/ 13 h 16"/>
                    <a:gd name="T50" fmla="*/ 1 w 11"/>
                    <a:gd name="T51" fmla="*/ 13 h 16"/>
                    <a:gd name="T52" fmla="*/ 1 w 11"/>
                    <a:gd name="T53" fmla="*/ 13 h 16"/>
                    <a:gd name="T54" fmla="*/ 1 w 11"/>
                    <a:gd name="T55" fmla="*/ 13 h 16"/>
                    <a:gd name="T56" fmla="*/ 1 w 11"/>
                    <a:gd name="T57" fmla="*/ 13 h 16"/>
                    <a:gd name="T58" fmla="*/ 1 w 11"/>
                    <a:gd name="T59" fmla="*/ 13 h 16"/>
                    <a:gd name="T60" fmla="*/ 1 w 11"/>
                    <a:gd name="T61" fmla="*/ 13 h 16"/>
                    <a:gd name="T62" fmla="*/ 1 w 11"/>
                    <a:gd name="T63" fmla="*/ 13 h 16"/>
                    <a:gd name="T64" fmla="*/ 1 w 11"/>
                    <a:gd name="T65" fmla="*/ 13 h 16"/>
                    <a:gd name="T66" fmla="*/ 1 w 11"/>
                    <a:gd name="T67" fmla="*/ 13 h 16"/>
                    <a:gd name="T68" fmla="*/ 1 w 11"/>
                    <a:gd name="T69" fmla="*/ 13 h 16"/>
                    <a:gd name="T70" fmla="*/ 1 w 11"/>
                    <a:gd name="T71" fmla="*/ 13 h 16"/>
                    <a:gd name="T72" fmla="*/ 1 w 11"/>
                    <a:gd name="T73" fmla="*/ 13 h 16"/>
                    <a:gd name="T74" fmla="*/ 1 w 11"/>
                    <a:gd name="T75" fmla="*/ 13 h 16"/>
                    <a:gd name="T76" fmla="*/ 1 w 11"/>
                    <a:gd name="T77" fmla="*/ 13 h 16"/>
                    <a:gd name="T78" fmla="*/ 1 w 11"/>
                    <a:gd name="T79" fmla="*/ 13 h 16"/>
                    <a:gd name="T80" fmla="*/ 1 w 11"/>
                    <a:gd name="T81" fmla="*/ 13 h 16"/>
                    <a:gd name="T82" fmla="*/ 1 w 11"/>
                    <a:gd name="T83" fmla="*/ 13 h 16"/>
                    <a:gd name="T84" fmla="*/ 1 w 11"/>
                    <a:gd name="T85" fmla="*/ 13 h 16"/>
                    <a:gd name="T86" fmla="*/ 1 w 11"/>
                    <a:gd name="T87" fmla="*/ 13 h 16"/>
                    <a:gd name="T88" fmla="*/ 1 w 11"/>
                    <a:gd name="T89" fmla="*/ 13 h 16"/>
                    <a:gd name="T90" fmla="*/ 1 w 11"/>
                    <a:gd name="T91" fmla="*/ 13 h 16"/>
                    <a:gd name="T92" fmla="*/ 1 w 11"/>
                    <a:gd name="T93" fmla="*/ 13 h 16"/>
                    <a:gd name="T94" fmla="*/ 1 w 11"/>
                    <a:gd name="T95" fmla="*/ 13 h 16"/>
                    <a:gd name="T96" fmla="*/ 1 w 11"/>
                    <a:gd name="T97" fmla="*/ 13 h 16"/>
                    <a:gd name="T98" fmla="*/ 0 w 11"/>
                    <a:gd name="T99" fmla="*/ 11 h 16"/>
                    <a:gd name="T100" fmla="*/ 0 w 11"/>
                    <a:gd name="T101" fmla="*/ 11 h 16"/>
                    <a:gd name="T102" fmla="*/ 1 w 11"/>
                    <a:gd name="T103" fmla="*/ 7 h 16"/>
                    <a:gd name="T104" fmla="*/ 9 w 11"/>
                    <a:gd name="T105" fmla="*/ 0 h 16"/>
                    <a:gd name="T106" fmla="*/ 9 w 11"/>
                    <a:gd name="T107" fmla="*/ 0 h 16"/>
                    <a:gd name="T108" fmla="*/ 11 w 11"/>
                    <a:gd name="T109" fmla="*/ 7 h 16"/>
                    <a:gd name="T110" fmla="*/ 10 w 11"/>
                    <a:gd name="T111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1" h="16">
                      <a:moveTo>
                        <a:pt x="10" y="16"/>
                      </a:moveTo>
                      <a:lnTo>
                        <a:pt x="10" y="16"/>
                      </a:ln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0" y="11"/>
                      </a:lnTo>
                      <a:lnTo>
                        <a:pt x="0" y="11"/>
                      </a:lnTo>
                      <a:lnTo>
                        <a:pt x="1" y="7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11" y="7"/>
                      </a:lnTo>
                      <a:lnTo>
                        <a:pt x="10" y="1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28" name="Freeform 1083"/>
                <p:cNvSpPr>
                  <a:spLocks/>
                </p:cNvSpPr>
                <p:nvPr/>
              </p:nvSpPr>
              <p:spPr bwMode="auto">
                <a:xfrm>
                  <a:off x="4499784" y="2410977"/>
                  <a:ext cx="10882" cy="15828"/>
                </a:xfrm>
                <a:custGeom>
                  <a:avLst/>
                  <a:gdLst>
                    <a:gd name="T0" fmla="*/ 10 w 11"/>
                    <a:gd name="T1" fmla="*/ 16 h 16"/>
                    <a:gd name="T2" fmla="*/ 10 w 11"/>
                    <a:gd name="T3" fmla="*/ 16 h 16"/>
                    <a:gd name="T4" fmla="*/ 3 w 11"/>
                    <a:gd name="T5" fmla="*/ 14 h 16"/>
                    <a:gd name="T6" fmla="*/ 3 w 11"/>
                    <a:gd name="T7" fmla="*/ 14 h 16"/>
                    <a:gd name="T8" fmla="*/ 3 w 11"/>
                    <a:gd name="T9" fmla="*/ 14 h 16"/>
                    <a:gd name="T10" fmla="*/ 3 w 11"/>
                    <a:gd name="T11" fmla="*/ 14 h 16"/>
                    <a:gd name="T12" fmla="*/ 3 w 11"/>
                    <a:gd name="T13" fmla="*/ 14 h 16"/>
                    <a:gd name="T14" fmla="*/ 3 w 11"/>
                    <a:gd name="T15" fmla="*/ 14 h 16"/>
                    <a:gd name="T16" fmla="*/ 3 w 11"/>
                    <a:gd name="T17" fmla="*/ 14 h 16"/>
                    <a:gd name="T18" fmla="*/ 3 w 11"/>
                    <a:gd name="T19" fmla="*/ 13 h 16"/>
                    <a:gd name="T20" fmla="*/ 3 w 11"/>
                    <a:gd name="T21" fmla="*/ 13 h 16"/>
                    <a:gd name="T22" fmla="*/ 3 w 11"/>
                    <a:gd name="T23" fmla="*/ 13 h 16"/>
                    <a:gd name="T24" fmla="*/ 3 w 11"/>
                    <a:gd name="T25" fmla="*/ 13 h 16"/>
                    <a:gd name="T26" fmla="*/ 3 w 11"/>
                    <a:gd name="T27" fmla="*/ 13 h 16"/>
                    <a:gd name="T28" fmla="*/ 3 w 11"/>
                    <a:gd name="T29" fmla="*/ 13 h 16"/>
                    <a:gd name="T30" fmla="*/ 3 w 11"/>
                    <a:gd name="T31" fmla="*/ 13 h 16"/>
                    <a:gd name="T32" fmla="*/ 3 w 11"/>
                    <a:gd name="T33" fmla="*/ 13 h 16"/>
                    <a:gd name="T34" fmla="*/ 3 w 11"/>
                    <a:gd name="T35" fmla="*/ 13 h 16"/>
                    <a:gd name="T36" fmla="*/ 3 w 11"/>
                    <a:gd name="T37" fmla="*/ 13 h 16"/>
                    <a:gd name="T38" fmla="*/ 3 w 11"/>
                    <a:gd name="T39" fmla="*/ 13 h 16"/>
                    <a:gd name="T40" fmla="*/ 1 w 11"/>
                    <a:gd name="T41" fmla="*/ 13 h 16"/>
                    <a:gd name="T42" fmla="*/ 1 w 11"/>
                    <a:gd name="T43" fmla="*/ 13 h 16"/>
                    <a:gd name="T44" fmla="*/ 1 w 11"/>
                    <a:gd name="T45" fmla="*/ 13 h 16"/>
                    <a:gd name="T46" fmla="*/ 1 w 11"/>
                    <a:gd name="T47" fmla="*/ 13 h 16"/>
                    <a:gd name="T48" fmla="*/ 1 w 11"/>
                    <a:gd name="T49" fmla="*/ 13 h 16"/>
                    <a:gd name="T50" fmla="*/ 1 w 11"/>
                    <a:gd name="T51" fmla="*/ 13 h 16"/>
                    <a:gd name="T52" fmla="*/ 1 w 11"/>
                    <a:gd name="T53" fmla="*/ 13 h 16"/>
                    <a:gd name="T54" fmla="*/ 1 w 11"/>
                    <a:gd name="T55" fmla="*/ 13 h 16"/>
                    <a:gd name="T56" fmla="*/ 1 w 11"/>
                    <a:gd name="T57" fmla="*/ 13 h 16"/>
                    <a:gd name="T58" fmla="*/ 1 w 11"/>
                    <a:gd name="T59" fmla="*/ 13 h 16"/>
                    <a:gd name="T60" fmla="*/ 1 w 11"/>
                    <a:gd name="T61" fmla="*/ 13 h 16"/>
                    <a:gd name="T62" fmla="*/ 1 w 11"/>
                    <a:gd name="T63" fmla="*/ 13 h 16"/>
                    <a:gd name="T64" fmla="*/ 1 w 11"/>
                    <a:gd name="T65" fmla="*/ 13 h 16"/>
                    <a:gd name="T66" fmla="*/ 1 w 11"/>
                    <a:gd name="T67" fmla="*/ 13 h 16"/>
                    <a:gd name="T68" fmla="*/ 1 w 11"/>
                    <a:gd name="T69" fmla="*/ 13 h 16"/>
                    <a:gd name="T70" fmla="*/ 1 w 11"/>
                    <a:gd name="T71" fmla="*/ 13 h 16"/>
                    <a:gd name="T72" fmla="*/ 1 w 11"/>
                    <a:gd name="T73" fmla="*/ 13 h 16"/>
                    <a:gd name="T74" fmla="*/ 1 w 11"/>
                    <a:gd name="T75" fmla="*/ 13 h 16"/>
                    <a:gd name="T76" fmla="*/ 1 w 11"/>
                    <a:gd name="T77" fmla="*/ 13 h 16"/>
                    <a:gd name="T78" fmla="*/ 1 w 11"/>
                    <a:gd name="T79" fmla="*/ 13 h 16"/>
                    <a:gd name="T80" fmla="*/ 1 w 11"/>
                    <a:gd name="T81" fmla="*/ 13 h 16"/>
                    <a:gd name="T82" fmla="*/ 1 w 11"/>
                    <a:gd name="T83" fmla="*/ 13 h 16"/>
                    <a:gd name="T84" fmla="*/ 1 w 11"/>
                    <a:gd name="T85" fmla="*/ 13 h 16"/>
                    <a:gd name="T86" fmla="*/ 1 w 11"/>
                    <a:gd name="T87" fmla="*/ 13 h 16"/>
                    <a:gd name="T88" fmla="*/ 1 w 11"/>
                    <a:gd name="T89" fmla="*/ 13 h 16"/>
                    <a:gd name="T90" fmla="*/ 1 w 11"/>
                    <a:gd name="T91" fmla="*/ 13 h 16"/>
                    <a:gd name="T92" fmla="*/ 1 w 11"/>
                    <a:gd name="T93" fmla="*/ 13 h 16"/>
                    <a:gd name="T94" fmla="*/ 1 w 11"/>
                    <a:gd name="T95" fmla="*/ 13 h 16"/>
                    <a:gd name="T96" fmla="*/ 1 w 11"/>
                    <a:gd name="T97" fmla="*/ 13 h 16"/>
                    <a:gd name="T98" fmla="*/ 0 w 11"/>
                    <a:gd name="T99" fmla="*/ 11 h 16"/>
                    <a:gd name="T100" fmla="*/ 0 w 11"/>
                    <a:gd name="T101" fmla="*/ 11 h 16"/>
                    <a:gd name="T102" fmla="*/ 1 w 11"/>
                    <a:gd name="T103" fmla="*/ 7 h 16"/>
                    <a:gd name="T104" fmla="*/ 9 w 11"/>
                    <a:gd name="T105" fmla="*/ 0 h 16"/>
                    <a:gd name="T106" fmla="*/ 9 w 11"/>
                    <a:gd name="T107" fmla="*/ 0 h 16"/>
                    <a:gd name="T108" fmla="*/ 11 w 11"/>
                    <a:gd name="T109" fmla="*/ 7 h 16"/>
                    <a:gd name="T110" fmla="*/ 10 w 11"/>
                    <a:gd name="T111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1" h="16">
                      <a:moveTo>
                        <a:pt x="10" y="16"/>
                      </a:moveTo>
                      <a:lnTo>
                        <a:pt x="10" y="16"/>
                      </a:ln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0" y="11"/>
                      </a:lnTo>
                      <a:lnTo>
                        <a:pt x="0" y="11"/>
                      </a:lnTo>
                      <a:lnTo>
                        <a:pt x="1" y="7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11" y="7"/>
                      </a:lnTo>
                      <a:lnTo>
                        <a:pt x="10" y="16"/>
                      </a:ln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29" name="Freeform 1084"/>
                <p:cNvSpPr>
                  <a:spLocks noEditPoints="1"/>
                </p:cNvSpPr>
                <p:nvPr/>
              </p:nvSpPr>
              <p:spPr bwMode="auto">
                <a:xfrm>
                  <a:off x="4499784" y="2410977"/>
                  <a:ext cx="8903" cy="13850"/>
                </a:xfrm>
                <a:custGeom>
                  <a:avLst/>
                  <a:gdLst>
                    <a:gd name="T0" fmla="*/ 1 w 9"/>
                    <a:gd name="T1" fmla="*/ 13 h 14"/>
                    <a:gd name="T2" fmla="*/ 0 w 9"/>
                    <a:gd name="T3" fmla="*/ 11 h 14"/>
                    <a:gd name="T4" fmla="*/ 9 w 9"/>
                    <a:gd name="T5" fmla="*/ 0 h 14"/>
                    <a:gd name="T6" fmla="*/ 9 w 9"/>
                    <a:gd name="T7" fmla="*/ 0 h 14"/>
                    <a:gd name="T8" fmla="*/ 1 w 9"/>
                    <a:gd name="T9" fmla="*/ 7 h 14"/>
                    <a:gd name="T10" fmla="*/ 0 w 9"/>
                    <a:gd name="T11" fmla="*/ 11 h 14"/>
                    <a:gd name="T12" fmla="*/ 1 w 9"/>
                    <a:gd name="T13" fmla="*/ 13 h 14"/>
                    <a:gd name="T14" fmla="*/ 1 w 9"/>
                    <a:gd name="T15" fmla="*/ 13 h 14"/>
                    <a:gd name="T16" fmla="*/ 1 w 9"/>
                    <a:gd name="T17" fmla="*/ 13 h 14"/>
                    <a:gd name="T18" fmla="*/ 1 w 9"/>
                    <a:gd name="T19" fmla="*/ 13 h 14"/>
                    <a:gd name="T20" fmla="*/ 1 w 9"/>
                    <a:gd name="T21" fmla="*/ 13 h 14"/>
                    <a:gd name="T22" fmla="*/ 1 w 9"/>
                    <a:gd name="T23" fmla="*/ 13 h 14"/>
                    <a:gd name="T24" fmla="*/ 1 w 9"/>
                    <a:gd name="T25" fmla="*/ 13 h 14"/>
                    <a:gd name="T26" fmla="*/ 1 w 9"/>
                    <a:gd name="T27" fmla="*/ 13 h 14"/>
                    <a:gd name="T28" fmla="*/ 1 w 9"/>
                    <a:gd name="T29" fmla="*/ 13 h 14"/>
                    <a:gd name="T30" fmla="*/ 1 w 9"/>
                    <a:gd name="T31" fmla="*/ 13 h 14"/>
                    <a:gd name="T32" fmla="*/ 1 w 9"/>
                    <a:gd name="T33" fmla="*/ 13 h 14"/>
                    <a:gd name="T34" fmla="*/ 1 w 9"/>
                    <a:gd name="T35" fmla="*/ 13 h 14"/>
                    <a:gd name="T36" fmla="*/ 1 w 9"/>
                    <a:gd name="T37" fmla="*/ 13 h 14"/>
                    <a:gd name="T38" fmla="*/ 1 w 9"/>
                    <a:gd name="T39" fmla="*/ 13 h 14"/>
                    <a:gd name="T40" fmla="*/ 1 w 9"/>
                    <a:gd name="T41" fmla="*/ 13 h 14"/>
                    <a:gd name="T42" fmla="*/ 1 w 9"/>
                    <a:gd name="T43" fmla="*/ 13 h 14"/>
                    <a:gd name="T44" fmla="*/ 1 w 9"/>
                    <a:gd name="T45" fmla="*/ 13 h 14"/>
                    <a:gd name="T46" fmla="*/ 1 w 9"/>
                    <a:gd name="T47" fmla="*/ 13 h 14"/>
                    <a:gd name="T48" fmla="*/ 3 w 9"/>
                    <a:gd name="T49" fmla="*/ 13 h 14"/>
                    <a:gd name="T50" fmla="*/ 1 w 9"/>
                    <a:gd name="T51" fmla="*/ 13 h 14"/>
                    <a:gd name="T52" fmla="*/ 3 w 9"/>
                    <a:gd name="T53" fmla="*/ 13 h 14"/>
                    <a:gd name="T54" fmla="*/ 3 w 9"/>
                    <a:gd name="T55" fmla="*/ 13 h 14"/>
                    <a:gd name="T56" fmla="*/ 3 w 9"/>
                    <a:gd name="T57" fmla="*/ 13 h 14"/>
                    <a:gd name="T58" fmla="*/ 3 w 9"/>
                    <a:gd name="T59" fmla="*/ 13 h 14"/>
                    <a:gd name="T60" fmla="*/ 3 w 9"/>
                    <a:gd name="T61" fmla="*/ 13 h 14"/>
                    <a:gd name="T62" fmla="*/ 3 w 9"/>
                    <a:gd name="T63" fmla="*/ 13 h 14"/>
                    <a:gd name="T64" fmla="*/ 3 w 9"/>
                    <a:gd name="T65" fmla="*/ 13 h 14"/>
                    <a:gd name="T66" fmla="*/ 3 w 9"/>
                    <a:gd name="T67" fmla="*/ 13 h 14"/>
                    <a:gd name="T68" fmla="*/ 3 w 9"/>
                    <a:gd name="T69" fmla="*/ 14 h 14"/>
                    <a:gd name="T70" fmla="*/ 3 w 9"/>
                    <a:gd name="T71" fmla="*/ 14 h 14"/>
                    <a:gd name="T72" fmla="*/ 3 w 9"/>
                    <a:gd name="T73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9" h="14">
                      <a:moveTo>
                        <a:pt x="1" y="13"/>
                      </a:moveTo>
                      <a:lnTo>
                        <a:pt x="1" y="13"/>
                      </a:lnTo>
                      <a:lnTo>
                        <a:pt x="0" y="11"/>
                      </a:lnTo>
                      <a:lnTo>
                        <a:pt x="0" y="11"/>
                      </a:lnTo>
                      <a:lnTo>
                        <a:pt x="1" y="7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1" y="7"/>
                      </a:lnTo>
                      <a:lnTo>
                        <a:pt x="0" y="11"/>
                      </a:lnTo>
                      <a:lnTo>
                        <a:pt x="0" y="11"/>
                      </a:lnTo>
                      <a:lnTo>
                        <a:pt x="1" y="13"/>
                      </a:lnTo>
                      <a:close/>
                      <a:moveTo>
                        <a:pt x="1" y="13"/>
                      </a:move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close/>
                      <a:moveTo>
                        <a:pt x="1" y="13"/>
                      </a:move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close/>
                      <a:moveTo>
                        <a:pt x="1" y="13"/>
                      </a:move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close/>
                      <a:moveTo>
                        <a:pt x="1" y="13"/>
                      </a:move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close/>
                      <a:moveTo>
                        <a:pt x="1" y="13"/>
                      </a:move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close/>
                      <a:moveTo>
                        <a:pt x="1" y="13"/>
                      </a:move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close/>
                      <a:moveTo>
                        <a:pt x="1" y="13"/>
                      </a:move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close/>
                      <a:moveTo>
                        <a:pt x="3" y="13"/>
                      </a:moveTo>
                      <a:lnTo>
                        <a:pt x="3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3" y="13"/>
                      </a:lnTo>
                      <a:close/>
                      <a:moveTo>
                        <a:pt x="3" y="13"/>
                      </a:move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close/>
                      <a:moveTo>
                        <a:pt x="3" y="13"/>
                      </a:move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close/>
                      <a:moveTo>
                        <a:pt x="3" y="13"/>
                      </a:move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lnTo>
                        <a:pt x="3" y="13"/>
                      </a:lnTo>
                      <a:close/>
                      <a:moveTo>
                        <a:pt x="3" y="14"/>
                      </a:move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3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30" name="Freeform 1085"/>
                <p:cNvSpPr>
                  <a:spLocks/>
                </p:cNvSpPr>
                <p:nvPr/>
              </p:nvSpPr>
              <p:spPr bwMode="auto">
                <a:xfrm>
                  <a:off x="4499784" y="2410977"/>
                  <a:ext cx="8903" cy="12860"/>
                </a:xfrm>
                <a:custGeom>
                  <a:avLst/>
                  <a:gdLst>
                    <a:gd name="T0" fmla="*/ 1 w 9"/>
                    <a:gd name="T1" fmla="*/ 13 h 13"/>
                    <a:gd name="T2" fmla="*/ 1 w 9"/>
                    <a:gd name="T3" fmla="*/ 13 h 13"/>
                    <a:gd name="T4" fmla="*/ 0 w 9"/>
                    <a:gd name="T5" fmla="*/ 11 h 13"/>
                    <a:gd name="T6" fmla="*/ 0 w 9"/>
                    <a:gd name="T7" fmla="*/ 11 h 13"/>
                    <a:gd name="T8" fmla="*/ 1 w 9"/>
                    <a:gd name="T9" fmla="*/ 7 h 13"/>
                    <a:gd name="T10" fmla="*/ 9 w 9"/>
                    <a:gd name="T11" fmla="*/ 0 h 13"/>
                    <a:gd name="T12" fmla="*/ 9 w 9"/>
                    <a:gd name="T13" fmla="*/ 0 h 13"/>
                    <a:gd name="T14" fmla="*/ 9 w 9"/>
                    <a:gd name="T15" fmla="*/ 0 h 13"/>
                    <a:gd name="T16" fmla="*/ 9 w 9"/>
                    <a:gd name="T17" fmla="*/ 0 h 13"/>
                    <a:gd name="T18" fmla="*/ 1 w 9"/>
                    <a:gd name="T19" fmla="*/ 7 h 13"/>
                    <a:gd name="T20" fmla="*/ 0 w 9"/>
                    <a:gd name="T21" fmla="*/ 11 h 13"/>
                    <a:gd name="T22" fmla="*/ 0 w 9"/>
                    <a:gd name="T23" fmla="*/ 11 h 13"/>
                    <a:gd name="T24" fmla="*/ 1 w 9"/>
                    <a:gd name="T25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" h="13">
                      <a:moveTo>
                        <a:pt x="1" y="13"/>
                      </a:moveTo>
                      <a:lnTo>
                        <a:pt x="1" y="13"/>
                      </a:lnTo>
                      <a:lnTo>
                        <a:pt x="0" y="11"/>
                      </a:lnTo>
                      <a:lnTo>
                        <a:pt x="0" y="11"/>
                      </a:lnTo>
                      <a:lnTo>
                        <a:pt x="1" y="7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1" y="7"/>
                      </a:lnTo>
                      <a:lnTo>
                        <a:pt x="0" y="11"/>
                      </a:lnTo>
                      <a:lnTo>
                        <a:pt x="0" y="11"/>
                      </a:lnTo>
                      <a:lnTo>
                        <a:pt x="1" y="13"/>
                      </a:ln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31" name="Rectangle 1086"/>
                <p:cNvSpPr>
                  <a:spLocks noChangeArrowheads="1"/>
                </p:cNvSpPr>
                <p:nvPr/>
              </p:nvSpPr>
              <p:spPr bwMode="auto">
                <a:xfrm>
                  <a:off x="4500773" y="2423837"/>
                  <a:ext cx="989" cy="989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32" name="Rectangle 1087"/>
                <p:cNvSpPr>
                  <a:spLocks noChangeArrowheads="1"/>
                </p:cNvSpPr>
                <p:nvPr/>
              </p:nvSpPr>
              <p:spPr bwMode="auto">
                <a:xfrm>
                  <a:off x="4500773" y="2423837"/>
                  <a:ext cx="989" cy="989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33" name="Rectangle 1088"/>
                <p:cNvSpPr>
                  <a:spLocks noChangeArrowheads="1"/>
                </p:cNvSpPr>
                <p:nvPr/>
              </p:nvSpPr>
              <p:spPr bwMode="auto">
                <a:xfrm>
                  <a:off x="4500773" y="2423837"/>
                  <a:ext cx="989" cy="989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34" name="Rectangle 1089"/>
                <p:cNvSpPr>
                  <a:spLocks noChangeArrowheads="1"/>
                </p:cNvSpPr>
                <p:nvPr/>
              </p:nvSpPr>
              <p:spPr bwMode="auto">
                <a:xfrm>
                  <a:off x="4500773" y="2423837"/>
                  <a:ext cx="989" cy="989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35" name="Rectangle 1090"/>
                <p:cNvSpPr>
                  <a:spLocks noChangeArrowheads="1"/>
                </p:cNvSpPr>
                <p:nvPr/>
              </p:nvSpPr>
              <p:spPr bwMode="auto">
                <a:xfrm>
                  <a:off x="4500773" y="2423837"/>
                  <a:ext cx="989" cy="989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36" name="Rectangle 1091"/>
                <p:cNvSpPr>
                  <a:spLocks noChangeArrowheads="1"/>
                </p:cNvSpPr>
                <p:nvPr/>
              </p:nvSpPr>
              <p:spPr bwMode="auto">
                <a:xfrm>
                  <a:off x="4500773" y="2423837"/>
                  <a:ext cx="989" cy="989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37" name="Rectangle 1092"/>
                <p:cNvSpPr>
                  <a:spLocks noChangeArrowheads="1"/>
                </p:cNvSpPr>
                <p:nvPr/>
              </p:nvSpPr>
              <p:spPr bwMode="auto">
                <a:xfrm>
                  <a:off x="4500773" y="2423837"/>
                  <a:ext cx="989" cy="989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38" name="Rectangle 1093"/>
                <p:cNvSpPr>
                  <a:spLocks noChangeArrowheads="1"/>
                </p:cNvSpPr>
                <p:nvPr/>
              </p:nvSpPr>
              <p:spPr bwMode="auto">
                <a:xfrm>
                  <a:off x="4500773" y="2423837"/>
                  <a:ext cx="1979" cy="989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39" name="Rectangle 1094"/>
                <p:cNvSpPr>
                  <a:spLocks noChangeArrowheads="1"/>
                </p:cNvSpPr>
                <p:nvPr/>
              </p:nvSpPr>
              <p:spPr bwMode="auto">
                <a:xfrm>
                  <a:off x="4502752" y="2423837"/>
                  <a:ext cx="989" cy="989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40" name="Rectangle 1095"/>
                <p:cNvSpPr>
                  <a:spLocks noChangeArrowheads="1"/>
                </p:cNvSpPr>
                <p:nvPr/>
              </p:nvSpPr>
              <p:spPr bwMode="auto">
                <a:xfrm>
                  <a:off x="4502752" y="2423837"/>
                  <a:ext cx="989" cy="989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41" name="Rectangle 1096"/>
                <p:cNvSpPr>
                  <a:spLocks noChangeArrowheads="1"/>
                </p:cNvSpPr>
                <p:nvPr/>
              </p:nvSpPr>
              <p:spPr bwMode="auto">
                <a:xfrm>
                  <a:off x="4502752" y="2423837"/>
                  <a:ext cx="989" cy="989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42" name="Freeform 1097"/>
                <p:cNvSpPr>
                  <a:spLocks/>
                </p:cNvSpPr>
                <p:nvPr/>
              </p:nvSpPr>
              <p:spPr bwMode="auto">
                <a:xfrm>
                  <a:off x="4502752" y="2424827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45" name="Freeform 1100"/>
                <p:cNvSpPr>
                  <a:spLocks/>
                </p:cNvSpPr>
                <p:nvPr/>
              </p:nvSpPr>
              <p:spPr bwMode="auto">
                <a:xfrm>
                  <a:off x="4429547" y="2581130"/>
                  <a:ext cx="6925" cy="6925"/>
                </a:xfrm>
                <a:custGeom>
                  <a:avLst/>
                  <a:gdLst>
                    <a:gd name="T0" fmla="*/ 3 w 7"/>
                    <a:gd name="T1" fmla="*/ 7 h 7"/>
                    <a:gd name="T2" fmla="*/ 3 w 7"/>
                    <a:gd name="T3" fmla="*/ 7 h 7"/>
                    <a:gd name="T4" fmla="*/ 7 w 7"/>
                    <a:gd name="T5" fmla="*/ 6 h 7"/>
                    <a:gd name="T6" fmla="*/ 7 w 7"/>
                    <a:gd name="T7" fmla="*/ 6 h 7"/>
                    <a:gd name="T8" fmla="*/ 4 w 7"/>
                    <a:gd name="T9" fmla="*/ 3 h 7"/>
                    <a:gd name="T10" fmla="*/ 3 w 7"/>
                    <a:gd name="T11" fmla="*/ 2 h 7"/>
                    <a:gd name="T12" fmla="*/ 0 w 7"/>
                    <a:gd name="T13" fmla="*/ 0 h 7"/>
                    <a:gd name="T14" fmla="*/ 0 w 7"/>
                    <a:gd name="T15" fmla="*/ 0 h 7"/>
                    <a:gd name="T16" fmla="*/ 1 w 7"/>
                    <a:gd name="T17" fmla="*/ 6 h 7"/>
                    <a:gd name="T18" fmla="*/ 3 w 7"/>
                    <a:gd name="T19" fmla="*/ 7 h 7"/>
                    <a:gd name="T20" fmla="*/ 3 w 7"/>
                    <a:gd name="T2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7">
                      <a:moveTo>
                        <a:pt x="3" y="7"/>
                      </a:moveTo>
                      <a:lnTo>
                        <a:pt x="3" y="7"/>
                      </a:lnTo>
                      <a:lnTo>
                        <a:pt x="7" y="6"/>
                      </a:lnTo>
                      <a:lnTo>
                        <a:pt x="7" y="6"/>
                      </a:lnTo>
                      <a:lnTo>
                        <a:pt x="4" y="3"/>
                      </a:lnTo>
                      <a:lnTo>
                        <a:pt x="3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6"/>
                      </a:lnTo>
                      <a:lnTo>
                        <a:pt x="3" y="7"/>
                      </a:lnTo>
                      <a:lnTo>
                        <a:pt x="3" y="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46" name="Freeform 1101"/>
                <p:cNvSpPr>
                  <a:spLocks/>
                </p:cNvSpPr>
                <p:nvPr/>
              </p:nvSpPr>
              <p:spPr bwMode="auto">
                <a:xfrm>
                  <a:off x="4429547" y="2581130"/>
                  <a:ext cx="6925" cy="6925"/>
                </a:xfrm>
                <a:custGeom>
                  <a:avLst/>
                  <a:gdLst>
                    <a:gd name="T0" fmla="*/ 3 w 7"/>
                    <a:gd name="T1" fmla="*/ 7 h 7"/>
                    <a:gd name="T2" fmla="*/ 3 w 7"/>
                    <a:gd name="T3" fmla="*/ 7 h 7"/>
                    <a:gd name="T4" fmla="*/ 7 w 7"/>
                    <a:gd name="T5" fmla="*/ 6 h 7"/>
                    <a:gd name="T6" fmla="*/ 7 w 7"/>
                    <a:gd name="T7" fmla="*/ 6 h 7"/>
                    <a:gd name="T8" fmla="*/ 4 w 7"/>
                    <a:gd name="T9" fmla="*/ 3 h 7"/>
                    <a:gd name="T10" fmla="*/ 3 w 7"/>
                    <a:gd name="T11" fmla="*/ 2 h 7"/>
                    <a:gd name="T12" fmla="*/ 0 w 7"/>
                    <a:gd name="T13" fmla="*/ 0 h 7"/>
                    <a:gd name="T14" fmla="*/ 0 w 7"/>
                    <a:gd name="T15" fmla="*/ 0 h 7"/>
                    <a:gd name="T16" fmla="*/ 1 w 7"/>
                    <a:gd name="T17" fmla="*/ 6 h 7"/>
                    <a:gd name="T18" fmla="*/ 3 w 7"/>
                    <a:gd name="T19" fmla="*/ 7 h 7"/>
                    <a:gd name="T20" fmla="*/ 3 w 7"/>
                    <a:gd name="T2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7">
                      <a:moveTo>
                        <a:pt x="3" y="7"/>
                      </a:moveTo>
                      <a:lnTo>
                        <a:pt x="3" y="7"/>
                      </a:lnTo>
                      <a:lnTo>
                        <a:pt x="7" y="6"/>
                      </a:lnTo>
                      <a:lnTo>
                        <a:pt x="7" y="6"/>
                      </a:lnTo>
                      <a:lnTo>
                        <a:pt x="4" y="3"/>
                      </a:lnTo>
                      <a:lnTo>
                        <a:pt x="3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6"/>
                      </a:lnTo>
                      <a:lnTo>
                        <a:pt x="3" y="7"/>
                      </a:lnTo>
                      <a:lnTo>
                        <a:pt x="3" y="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47" name="Freeform 1102"/>
                <p:cNvSpPr>
                  <a:spLocks/>
                </p:cNvSpPr>
                <p:nvPr/>
              </p:nvSpPr>
              <p:spPr bwMode="auto">
                <a:xfrm>
                  <a:off x="4263351" y="2562334"/>
                  <a:ext cx="197852" cy="156303"/>
                </a:xfrm>
                <a:custGeom>
                  <a:avLst/>
                  <a:gdLst>
                    <a:gd name="T0" fmla="*/ 185 w 200"/>
                    <a:gd name="T1" fmla="*/ 28 h 158"/>
                    <a:gd name="T2" fmla="*/ 175 w 200"/>
                    <a:gd name="T3" fmla="*/ 25 h 158"/>
                    <a:gd name="T4" fmla="*/ 171 w 200"/>
                    <a:gd name="T5" fmla="*/ 26 h 158"/>
                    <a:gd name="T6" fmla="*/ 168 w 200"/>
                    <a:gd name="T7" fmla="*/ 19 h 158"/>
                    <a:gd name="T8" fmla="*/ 165 w 200"/>
                    <a:gd name="T9" fmla="*/ 19 h 158"/>
                    <a:gd name="T10" fmla="*/ 137 w 200"/>
                    <a:gd name="T11" fmla="*/ 13 h 158"/>
                    <a:gd name="T12" fmla="*/ 123 w 200"/>
                    <a:gd name="T13" fmla="*/ 3 h 158"/>
                    <a:gd name="T14" fmla="*/ 119 w 200"/>
                    <a:gd name="T15" fmla="*/ 6 h 158"/>
                    <a:gd name="T16" fmla="*/ 101 w 200"/>
                    <a:gd name="T17" fmla="*/ 5 h 158"/>
                    <a:gd name="T18" fmla="*/ 81 w 200"/>
                    <a:gd name="T19" fmla="*/ 0 h 158"/>
                    <a:gd name="T20" fmla="*/ 39 w 200"/>
                    <a:gd name="T21" fmla="*/ 0 h 158"/>
                    <a:gd name="T22" fmla="*/ 22 w 200"/>
                    <a:gd name="T23" fmla="*/ 2 h 158"/>
                    <a:gd name="T24" fmla="*/ 16 w 200"/>
                    <a:gd name="T25" fmla="*/ 6 h 158"/>
                    <a:gd name="T26" fmla="*/ 1 w 200"/>
                    <a:gd name="T27" fmla="*/ 10 h 158"/>
                    <a:gd name="T28" fmla="*/ 0 w 200"/>
                    <a:gd name="T29" fmla="*/ 15 h 158"/>
                    <a:gd name="T30" fmla="*/ 6 w 200"/>
                    <a:gd name="T31" fmla="*/ 26 h 158"/>
                    <a:gd name="T32" fmla="*/ 7 w 200"/>
                    <a:gd name="T33" fmla="*/ 35 h 158"/>
                    <a:gd name="T34" fmla="*/ 19 w 200"/>
                    <a:gd name="T35" fmla="*/ 34 h 158"/>
                    <a:gd name="T36" fmla="*/ 22 w 200"/>
                    <a:gd name="T37" fmla="*/ 38 h 158"/>
                    <a:gd name="T38" fmla="*/ 42 w 200"/>
                    <a:gd name="T39" fmla="*/ 39 h 158"/>
                    <a:gd name="T40" fmla="*/ 49 w 200"/>
                    <a:gd name="T41" fmla="*/ 42 h 158"/>
                    <a:gd name="T42" fmla="*/ 48 w 200"/>
                    <a:gd name="T43" fmla="*/ 51 h 158"/>
                    <a:gd name="T44" fmla="*/ 40 w 200"/>
                    <a:gd name="T45" fmla="*/ 61 h 158"/>
                    <a:gd name="T46" fmla="*/ 36 w 200"/>
                    <a:gd name="T47" fmla="*/ 96 h 158"/>
                    <a:gd name="T48" fmla="*/ 33 w 200"/>
                    <a:gd name="T49" fmla="*/ 110 h 158"/>
                    <a:gd name="T50" fmla="*/ 32 w 200"/>
                    <a:gd name="T51" fmla="*/ 120 h 158"/>
                    <a:gd name="T52" fmla="*/ 27 w 200"/>
                    <a:gd name="T53" fmla="*/ 135 h 158"/>
                    <a:gd name="T54" fmla="*/ 32 w 200"/>
                    <a:gd name="T55" fmla="*/ 134 h 158"/>
                    <a:gd name="T56" fmla="*/ 43 w 200"/>
                    <a:gd name="T57" fmla="*/ 144 h 158"/>
                    <a:gd name="T58" fmla="*/ 56 w 200"/>
                    <a:gd name="T59" fmla="*/ 158 h 158"/>
                    <a:gd name="T60" fmla="*/ 64 w 200"/>
                    <a:gd name="T61" fmla="*/ 155 h 158"/>
                    <a:gd name="T62" fmla="*/ 78 w 200"/>
                    <a:gd name="T63" fmla="*/ 148 h 158"/>
                    <a:gd name="T64" fmla="*/ 85 w 200"/>
                    <a:gd name="T65" fmla="*/ 147 h 158"/>
                    <a:gd name="T66" fmla="*/ 90 w 200"/>
                    <a:gd name="T67" fmla="*/ 147 h 158"/>
                    <a:gd name="T68" fmla="*/ 133 w 200"/>
                    <a:gd name="T69" fmla="*/ 129 h 158"/>
                    <a:gd name="T70" fmla="*/ 139 w 200"/>
                    <a:gd name="T71" fmla="*/ 125 h 158"/>
                    <a:gd name="T72" fmla="*/ 146 w 200"/>
                    <a:gd name="T73" fmla="*/ 112 h 158"/>
                    <a:gd name="T74" fmla="*/ 152 w 200"/>
                    <a:gd name="T75" fmla="*/ 102 h 158"/>
                    <a:gd name="T76" fmla="*/ 148 w 200"/>
                    <a:gd name="T77" fmla="*/ 87 h 158"/>
                    <a:gd name="T78" fmla="*/ 152 w 200"/>
                    <a:gd name="T79" fmla="*/ 73 h 158"/>
                    <a:gd name="T80" fmla="*/ 164 w 200"/>
                    <a:gd name="T81" fmla="*/ 58 h 158"/>
                    <a:gd name="T82" fmla="*/ 177 w 200"/>
                    <a:gd name="T83" fmla="*/ 49 h 158"/>
                    <a:gd name="T84" fmla="*/ 179 w 200"/>
                    <a:gd name="T85" fmla="*/ 51 h 158"/>
                    <a:gd name="T86" fmla="*/ 188 w 200"/>
                    <a:gd name="T87" fmla="*/ 47 h 158"/>
                    <a:gd name="T88" fmla="*/ 200 w 200"/>
                    <a:gd name="T89" fmla="*/ 32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00" h="158">
                      <a:moveTo>
                        <a:pt x="200" y="28"/>
                      </a:moveTo>
                      <a:lnTo>
                        <a:pt x="200" y="28"/>
                      </a:lnTo>
                      <a:lnTo>
                        <a:pt x="185" y="28"/>
                      </a:lnTo>
                      <a:lnTo>
                        <a:pt x="179" y="26"/>
                      </a:lnTo>
                      <a:lnTo>
                        <a:pt x="177" y="25"/>
                      </a:lnTo>
                      <a:lnTo>
                        <a:pt x="175" y="25"/>
                      </a:lnTo>
                      <a:lnTo>
                        <a:pt x="175" y="25"/>
                      </a:lnTo>
                      <a:lnTo>
                        <a:pt x="171" y="26"/>
                      </a:lnTo>
                      <a:lnTo>
                        <a:pt x="171" y="26"/>
                      </a:lnTo>
                      <a:lnTo>
                        <a:pt x="171" y="26"/>
                      </a:lnTo>
                      <a:lnTo>
                        <a:pt x="169" y="25"/>
                      </a:lnTo>
                      <a:lnTo>
                        <a:pt x="168" y="19"/>
                      </a:lnTo>
                      <a:lnTo>
                        <a:pt x="168" y="19"/>
                      </a:lnTo>
                      <a:lnTo>
                        <a:pt x="165" y="19"/>
                      </a:lnTo>
                      <a:lnTo>
                        <a:pt x="165" y="19"/>
                      </a:lnTo>
                      <a:lnTo>
                        <a:pt x="155" y="19"/>
                      </a:lnTo>
                      <a:lnTo>
                        <a:pt x="146" y="16"/>
                      </a:lnTo>
                      <a:lnTo>
                        <a:pt x="137" y="13"/>
                      </a:lnTo>
                      <a:lnTo>
                        <a:pt x="132" y="10"/>
                      </a:lnTo>
                      <a:lnTo>
                        <a:pt x="132" y="10"/>
                      </a:lnTo>
                      <a:lnTo>
                        <a:pt x="123" y="3"/>
                      </a:lnTo>
                      <a:lnTo>
                        <a:pt x="123" y="3"/>
                      </a:lnTo>
                      <a:lnTo>
                        <a:pt x="119" y="6"/>
                      </a:lnTo>
                      <a:lnTo>
                        <a:pt x="119" y="6"/>
                      </a:lnTo>
                      <a:lnTo>
                        <a:pt x="116" y="6"/>
                      </a:lnTo>
                      <a:lnTo>
                        <a:pt x="111" y="6"/>
                      </a:lnTo>
                      <a:lnTo>
                        <a:pt x="101" y="5"/>
                      </a:lnTo>
                      <a:lnTo>
                        <a:pt x="90" y="2"/>
                      </a:lnTo>
                      <a:lnTo>
                        <a:pt x="81" y="0"/>
                      </a:lnTo>
                      <a:lnTo>
                        <a:pt x="81" y="0"/>
                      </a:lnTo>
                      <a:lnTo>
                        <a:pt x="59" y="2"/>
                      </a:lnTo>
                      <a:lnTo>
                        <a:pt x="39" y="0"/>
                      </a:lnTo>
                      <a:lnTo>
                        <a:pt x="39" y="0"/>
                      </a:lnTo>
                      <a:lnTo>
                        <a:pt x="32" y="0"/>
                      </a:lnTo>
                      <a:lnTo>
                        <a:pt x="26" y="0"/>
                      </a:lnTo>
                      <a:lnTo>
                        <a:pt x="22" y="2"/>
                      </a:lnTo>
                      <a:lnTo>
                        <a:pt x="19" y="5"/>
                      </a:lnTo>
                      <a:lnTo>
                        <a:pt x="19" y="5"/>
                      </a:lnTo>
                      <a:lnTo>
                        <a:pt x="16" y="6"/>
                      </a:lnTo>
                      <a:lnTo>
                        <a:pt x="11" y="7"/>
                      </a:lnTo>
                      <a:lnTo>
                        <a:pt x="7" y="7"/>
                      </a:lnTo>
                      <a:lnTo>
                        <a:pt x="1" y="10"/>
                      </a:lnTo>
                      <a:lnTo>
                        <a:pt x="1" y="10"/>
                      </a:lnTo>
                      <a:lnTo>
                        <a:pt x="0" y="12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3" y="22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7" y="35"/>
                      </a:lnTo>
                      <a:lnTo>
                        <a:pt x="7" y="35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9" y="34"/>
                      </a:lnTo>
                      <a:lnTo>
                        <a:pt x="20" y="35"/>
                      </a:lnTo>
                      <a:lnTo>
                        <a:pt x="22" y="36"/>
                      </a:lnTo>
                      <a:lnTo>
                        <a:pt x="22" y="38"/>
                      </a:lnTo>
                      <a:lnTo>
                        <a:pt x="22" y="38"/>
                      </a:lnTo>
                      <a:lnTo>
                        <a:pt x="35" y="39"/>
                      </a:lnTo>
                      <a:lnTo>
                        <a:pt x="42" y="39"/>
                      </a:lnTo>
                      <a:lnTo>
                        <a:pt x="46" y="41"/>
                      </a:lnTo>
                      <a:lnTo>
                        <a:pt x="49" y="42"/>
                      </a:lnTo>
                      <a:lnTo>
                        <a:pt x="49" y="42"/>
                      </a:lnTo>
                      <a:lnTo>
                        <a:pt x="51" y="45"/>
                      </a:lnTo>
                      <a:lnTo>
                        <a:pt x="51" y="47"/>
                      </a:lnTo>
                      <a:lnTo>
                        <a:pt x="48" y="51"/>
                      </a:lnTo>
                      <a:lnTo>
                        <a:pt x="43" y="55"/>
                      </a:lnTo>
                      <a:lnTo>
                        <a:pt x="40" y="61"/>
                      </a:lnTo>
                      <a:lnTo>
                        <a:pt x="40" y="61"/>
                      </a:lnTo>
                      <a:lnTo>
                        <a:pt x="39" y="70"/>
                      </a:lnTo>
                      <a:lnTo>
                        <a:pt x="38" y="83"/>
                      </a:lnTo>
                      <a:lnTo>
                        <a:pt x="36" y="96"/>
                      </a:lnTo>
                      <a:lnTo>
                        <a:pt x="33" y="105"/>
                      </a:lnTo>
                      <a:lnTo>
                        <a:pt x="33" y="105"/>
                      </a:lnTo>
                      <a:lnTo>
                        <a:pt x="33" y="110"/>
                      </a:lnTo>
                      <a:lnTo>
                        <a:pt x="33" y="115"/>
                      </a:lnTo>
                      <a:lnTo>
                        <a:pt x="33" y="118"/>
                      </a:lnTo>
                      <a:lnTo>
                        <a:pt x="32" y="120"/>
                      </a:lnTo>
                      <a:lnTo>
                        <a:pt x="32" y="120"/>
                      </a:lnTo>
                      <a:lnTo>
                        <a:pt x="29" y="126"/>
                      </a:lnTo>
                      <a:lnTo>
                        <a:pt x="27" y="135"/>
                      </a:lnTo>
                      <a:lnTo>
                        <a:pt x="27" y="135"/>
                      </a:lnTo>
                      <a:lnTo>
                        <a:pt x="32" y="134"/>
                      </a:lnTo>
                      <a:lnTo>
                        <a:pt x="32" y="134"/>
                      </a:lnTo>
                      <a:lnTo>
                        <a:pt x="33" y="135"/>
                      </a:lnTo>
                      <a:lnTo>
                        <a:pt x="36" y="136"/>
                      </a:lnTo>
                      <a:lnTo>
                        <a:pt x="43" y="144"/>
                      </a:lnTo>
                      <a:lnTo>
                        <a:pt x="53" y="155"/>
                      </a:lnTo>
                      <a:lnTo>
                        <a:pt x="53" y="155"/>
                      </a:lnTo>
                      <a:lnTo>
                        <a:pt x="56" y="158"/>
                      </a:lnTo>
                      <a:lnTo>
                        <a:pt x="58" y="158"/>
                      </a:lnTo>
                      <a:lnTo>
                        <a:pt x="61" y="158"/>
                      </a:lnTo>
                      <a:lnTo>
                        <a:pt x="64" y="155"/>
                      </a:lnTo>
                      <a:lnTo>
                        <a:pt x="64" y="155"/>
                      </a:lnTo>
                      <a:lnTo>
                        <a:pt x="68" y="151"/>
                      </a:lnTo>
                      <a:lnTo>
                        <a:pt x="78" y="148"/>
                      </a:lnTo>
                      <a:lnTo>
                        <a:pt x="78" y="148"/>
                      </a:lnTo>
                      <a:lnTo>
                        <a:pt x="82" y="147"/>
                      </a:lnTo>
                      <a:lnTo>
                        <a:pt x="85" y="147"/>
                      </a:lnTo>
                      <a:lnTo>
                        <a:pt x="87" y="147"/>
                      </a:lnTo>
                      <a:lnTo>
                        <a:pt x="90" y="147"/>
                      </a:lnTo>
                      <a:lnTo>
                        <a:pt x="90" y="147"/>
                      </a:lnTo>
                      <a:lnTo>
                        <a:pt x="98" y="145"/>
                      </a:lnTo>
                      <a:lnTo>
                        <a:pt x="111" y="139"/>
                      </a:lnTo>
                      <a:lnTo>
                        <a:pt x="133" y="129"/>
                      </a:lnTo>
                      <a:lnTo>
                        <a:pt x="133" y="129"/>
                      </a:lnTo>
                      <a:lnTo>
                        <a:pt x="137" y="126"/>
                      </a:lnTo>
                      <a:lnTo>
                        <a:pt x="139" y="125"/>
                      </a:lnTo>
                      <a:lnTo>
                        <a:pt x="142" y="119"/>
                      </a:lnTo>
                      <a:lnTo>
                        <a:pt x="142" y="119"/>
                      </a:lnTo>
                      <a:lnTo>
                        <a:pt x="146" y="112"/>
                      </a:lnTo>
                      <a:lnTo>
                        <a:pt x="151" y="105"/>
                      </a:lnTo>
                      <a:lnTo>
                        <a:pt x="151" y="105"/>
                      </a:lnTo>
                      <a:lnTo>
                        <a:pt x="152" y="102"/>
                      </a:lnTo>
                      <a:lnTo>
                        <a:pt x="151" y="97"/>
                      </a:lnTo>
                      <a:lnTo>
                        <a:pt x="148" y="87"/>
                      </a:lnTo>
                      <a:lnTo>
                        <a:pt x="148" y="87"/>
                      </a:lnTo>
                      <a:lnTo>
                        <a:pt x="148" y="83"/>
                      </a:lnTo>
                      <a:lnTo>
                        <a:pt x="148" y="80"/>
                      </a:lnTo>
                      <a:lnTo>
                        <a:pt x="152" y="73"/>
                      </a:lnTo>
                      <a:lnTo>
                        <a:pt x="158" y="63"/>
                      </a:lnTo>
                      <a:lnTo>
                        <a:pt x="158" y="63"/>
                      </a:lnTo>
                      <a:lnTo>
                        <a:pt x="164" y="58"/>
                      </a:lnTo>
                      <a:lnTo>
                        <a:pt x="172" y="51"/>
                      </a:lnTo>
                      <a:lnTo>
                        <a:pt x="172" y="51"/>
                      </a:lnTo>
                      <a:lnTo>
                        <a:pt x="177" y="49"/>
                      </a:lnTo>
                      <a:lnTo>
                        <a:pt x="177" y="49"/>
                      </a:lnTo>
                      <a:lnTo>
                        <a:pt x="178" y="51"/>
                      </a:lnTo>
                      <a:lnTo>
                        <a:pt x="179" y="51"/>
                      </a:lnTo>
                      <a:lnTo>
                        <a:pt x="179" y="51"/>
                      </a:lnTo>
                      <a:lnTo>
                        <a:pt x="182" y="49"/>
                      </a:lnTo>
                      <a:lnTo>
                        <a:pt x="188" y="47"/>
                      </a:lnTo>
                      <a:lnTo>
                        <a:pt x="198" y="36"/>
                      </a:lnTo>
                      <a:lnTo>
                        <a:pt x="198" y="36"/>
                      </a:lnTo>
                      <a:lnTo>
                        <a:pt x="200" y="32"/>
                      </a:lnTo>
                      <a:lnTo>
                        <a:pt x="200" y="2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48" name="Freeform 1103"/>
                <p:cNvSpPr>
                  <a:spLocks/>
                </p:cNvSpPr>
                <p:nvPr/>
              </p:nvSpPr>
              <p:spPr bwMode="auto">
                <a:xfrm>
                  <a:off x="4263351" y="2562334"/>
                  <a:ext cx="197852" cy="156303"/>
                </a:xfrm>
                <a:custGeom>
                  <a:avLst/>
                  <a:gdLst>
                    <a:gd name="T0" fmla="*/ 185 w 200"/>
                    <a:gd name="T1" fmla="*/ 28 h 158"/>
                    <a:gd name="T2" fmla="*/ 175 w 200"/>
                    <a:gd name="T3" fmla="*/ 25 h 158"/>
                    <a:gd name="T4" fmla="*/ 171 w 200"/>
                    <a:gd name="T5" fmla="*/ 26 h 158"/>
                    <a:gd name="T6" fmla="*/ 168 w 200"/>
                    <a:gd name="T7" fmla="*/ 19 h 158"/>
                    <a:gd name="T8" fmla="*/ 165 w 200"/>
                    <a:gd name="T9" fmla="*/ 19 h 158"/>
                    <a:gd name="T10" fmla="*/ 137 w 200"/>
                    <a:gd name="T11" fmla="*/ 13 h 158"/>
                    <a:gd name="T12" fmla="*/ 123 w 200"/>
                    <a:gd name="T13" fmla="*/ 3 h 158"/>
                    <a:gd name="T14" fmla="*/ 119 w 200"/>
                    <a:gd name="T15" fmla="*/ 6 h 158"/>
                    <a:gd name="T16" fmla="*/ 101 w 200"/>
                    <a:gd name="T17" fmla="*/ 5 h 158"/>
                    <a:gd name="T18" fmla="*/ 81 w 200"/>
                    <a:gd name="T19" fmla="*/ 0 h 158"/>
                    <a:gd name="T20" fmla="*/ 39 w 200"/>
                    <a:gd name="T21" fmla="*/ 0 h 158"/>
                    <a:gd name="T22" fmla="*/ 22 w 200"/>
                    <a:gd name="T23" fmla="*/ 2 h 158"/>
                    <a:gd name="T24" fmla="*/ 16 w 200"/>
                    <a:gd name="T25" fmla="*/ 6 h 158"/>
                    <a:gd name="T26" fmla="*/ 1 w 200"/>
                    <a:gd name="T27" fmla="*/ 10 h 158"/>
                    <a:gd name="T28" fmla="*/ 0 w 200"/>
                    <a:gd name="T29" fmla="*/ 15 h 158"/>
                    <a:gd name="T30" fmla="*/ 6 w 200"/>
                    <a:gd name="T31" fmla="*/ 26 h 158"/>
                    <a:gd name="T32" fmla="*/ 7 w 200"/>
                    <a:gd name="T33" fmla="*/ 35 h 158"/>
                    <a:gd name="T34" fmla="*/ 19 w 200"/>
                    <a:gd name="T35" fmla="*/ 34 h 158"/>
                    <a:gd name="T36" fmla="*/ 22 w 200"/>
                    <a:gd name="T37" fmla="*/ 38 h 158"/>
                    <a:gd name="T38" fmla="*/ 42 w 200"/>
                    <a:gd name="T39" fmla="*/ 39 h 158"/>
                    <a:gd name="T40" fmla="*/ 49 w 200"/>
                    <a:gd name="T41" fmla="*/ 42 h 158"/>
                    <a:gd name="T42" fmla="*/ 48 w 200"/>
                    <a:gd name="T43" fmla="*/ 51 h 158"/>
                    <a:gd name="T44" fmla="*/ 40 w 200"/>
                    <a:gd name="T45" fmla="*/ 61 h 158"/>
                    <a:gd name="T46" fmla="*/ 36 w 200"/>
                    <a:gd name="T47" fmla="*/ 96 h 158"/>
                    <a:gd name="T48" fmla="*/ 33 w 200"/>
                    <a:gd name="T49" fmla="*/ 110 h 158"/>
                    <a:gd name="T50" fmla="*/ 32 w 200"/>
                    <a:gd name="T51" fmla="*/ 120 h 158"/>
                    <a:gd name="T52" fmla="*/ 27 w 200"/>
                    <a:gd name="T53" fmla="*/ 135 h 158"/>
                    <a:gd name="T54" fmla="*/ 32 w 200"/>
                    <a:gd name="T55" fmla="*/ 134 h 158"/>
                    <a:gd name="T56" fmla="*/ 43 w 200"/>
                    <a:gd name="T57" fmla="*/ 144 h 158"/>
                    <a:gd name="T58" fmla="*/ 56 w 200"/>
                    <a:gd name="T59" fmla="*/ 158 h 158"/>
                    <a:gd name="T60" fmla="*/ 64 w 200"/>
                    <a:gd name="T61" fmla="*/ 155 h 158"/>
                    <a:gd name="T62" fmla="*/ 78 w 200"/>
                    <a:gd name="T63" fmla="*/ 148 h 158"/>
                    <a:gd name="T64" fmla="*/ 85 w 200"/>
                    <a:gd name="T65" fmla="*/ 147 h 158"/>
                    <a:gd name="T66" fmla="*/ 90 w 200"/>
                    <a:gd name="T67" fmla="*/ 147 h 158"/>
                    <a:gd name="T68" fmla="*/ 133 w 200"/>
                    <a:gd name="T69" fmla="*/ 129 h 158"/>
                    <a:gd name="T70" fmla="*/ 139 w 200"/>
                    <a:gd name="T71" fmla="*/ 125 h 158"/>
                    <a:gd name="T72" fmla="*/ 146 w 200"/>
                    <a:gd name="T73" fmla="*/ 112 h 158"/>
                    <a:gd name="T74" fmla="*/ 152 w 200"/>
                    <a:gd name="T75" fmla="*/ 102 h 158"/>
                    <a:gd name="T76" fmla="*/ 148 w 200"/>
                    <a:gd name="T77" fmla="*/ 87 h 158"/>
                    <a:gd name="T78" fmla="*/ 152 w 200"/>
                    <a:gd name="T79" fmla="*/ 73 h 158"/>
                    <a:gd name="T80" fmla="*/ 164 w 200"/>
                    <a:gd name="T81" fmla="*/ 58 h 158"/>
                    <a:gd name="T82" fmla="*/ 177 w 200"/>
                    <a:gd name="T83" fmla="*/ 49 h 158"/>
                    <a:gd name="T84" fmla="*/ 179 w 200"/>
                    <a:gd name="T85" fmla="*/ 51 h 158"/>
                    <a:gd name="T86" fmla="*/ 188 w 200"/>
                    <a:gd name="T87" fmla="*/ 47 h 158"/>
                    <a:gd name="T88" fmla="*/ 200 w 200"/>
                    <a:gd name="T89" fmla="*/ 32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00" h="158">
                      <a:moveTo>
                        <a:pt x="200" y="28"/>
                      </a:moveTo>
                      <a:lnTo>
                        <a:pt x="200" y="28"/>
                      </a:lnTo>
                      <a:lnTo>
                        <a:pt x="185" y="28"/>
                      </a:lnTo>
                      <a:lnTo>
                        <a:pt x="179" y="26"/>
                      </a:lnTo>
                      <a:lnTo>
                        <a:pt x="177" y="25"/>
                      </a:lnTo>
                      <a:lnTo>
                        <a:pt x="175" y="25"/>
                      </a:lnTo>
                      <a:lnTo>
                        <a:pt x="175" y="25"/>
                      </a:lnTo>
                      <a:lnTo>
                        <a:pt x="171" y="26"/>
                      </a:lnTo>
                      <a:lnTo>
                        <a:pt x="171" y="26"/>
                      </a:lnTo>
                      <a:lnTo>
                        <a:pt x="171" y="26"/>
                      </a:lnTo>
                      <a:lnTo>
                        <a:pt x="169" y="25"/>
                      </a:lnTo>
                      <a:lnTo>
                        <a:pt x="168" y="19"/>
                      </a:lnTo>
                      <a:lnTo>
                        <a:pt x="168" y="19"/>
                      </a:lnTo>
                      <a:lnTo>
                        <a:pt x="165" y="19"/>
                      </a:lnTo>
                      <a:lnTo>
                        <a:pt x="165" y="19"/>
                      </a:lnTo>
                      <a:lnTo>
                        <a:pt x="155" y="19"/>
                      </a:lnTo>
                      <a:lnTo>
                        <a:pt x="146" y="16"/>
                      </a:lnTo>
                      <a:lnTo>
                        <a:pt x="137" y="13"/>
                      </a:lnTo>
                      <a:lnTo>
                        <a:pt x="132" y="10"/>
                      </a:lnTo>
                      <a:lnTo>
                        <a:pt x="132" y="10"/>
                      </a:lnTo>
                      <a:lnTo>
                        <a:pt x="123" y="3"/>
                      </a:lnTo>
                      <a:lnTo>
                        <a:pt x="123" y="3"/>
                      </a:lnTo>
                      <a:lnTo>
                        <a:pt x="119" y="6"/>
                      </a:lnTo>
                      <a:lnTo>
                        <a:pt x="119" y="6"/>
                      </a:lnTo>
                      <a:lnTo>
                        <a:pt x="116" y="6"/>
                      </a:lnTo>
                      <a:lnTo>
                        <a:pt x="111" y="6"/>
                      </a:lnTo>
                      <a:lnTo>
                        <a:pt x="101" y="5"/>
                      </a:lnTo>
                      <a:lnTo>
                        <a:pt x="90" y="2"/>
                      </a:lnTo>
                      <a:lnTo>
                        <a:pt x="81" y="0"/>
                      </a:lnTo>
                      <a:lnTo>
                        <a:pt x="81" y="0"/>
                      </a:lnTo>
                      <a:lnTo>
                        <a:pt x="59" y="2"/>
                      </a:lnTo>
                      <a:lnTo>
                        <a:pt x="39" y="0"/>
                      </a:lnTo>
                      <a:lnTo>
                        <a:pt x="39" y="0"/>
                      </a:lnTo>
                      <a:lnTo>
                        <a:pt x="32" y="0"/>
                      </a:lnTo>
                      <a:lnTo>
                        <a:pt x="26" y="0"/>
                      </a:lnTo>
                      <a:lnTo>
                        <a:pt x="22" y="2"/>
                      </a:lnTo>
                      <a:lnTo>
                        <a:pt x="19" y="5"/>
                      </a:lnTo>
                      <a:lnTo>
                        <a:pt x="19" y="5"/>
                      </a:lnTo>
                      <a:lnTo>
                        <a:pt x="16" y="6"/>
                      </a:lnTo>
                      <a:lnTo>
                        <a:pt x="11" y="7"/>
                      </a:lnTo>
                      <a:lnTo>
                        <a:pt x="7" y="7"/>
                      </a:lnTo>
                      <a:lnTo>
                        <a:pt x="1" y="10"/>
                      </a:lnTo>
                      <a:lnTo>
                        <a:pt x="1" y="10"/>
                      </a:lnTo>
                      <a:lnTo>
                        <a:pt x="0" y="12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3" y="22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7" y="35"/>
                      </a:lnTo>
                      <a:lnTo>
                        <a:pt x="7" y="35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9" y="34"/>
                      </a:lnTo>
                      <a:lnTo>
                        <a:pt x="20" y="35"/>
                      </a:lnTo>
                      <a:lnTo>
                        <a:pt x="22" y="36"/>
                      </a:lnTo>
                      <a:lnTo>
                        <a:pt x="22" y="38"/>
                      </a:lnTo>
                      <a:lnTo>
                        <a:pt x="22" y="38"/>
                      </a:lnTo>
                      <a:lnTo>
                        <a:pt x="35" y="39"/>
                      </a:lnTo>
                      <a:lnTo>
                        <a:pt x="42" y="39"/>
                      </a:lnTo>
                      <a:lnTo>
                        <a:pt x="46" y="41"/>
                      </a:lnTo>
                      <a:lnTo>
                        <a:pt x="49" y="42"/>
                      </a:lnTo>
                      <a:lnTo>
                        <a:pt x="49" y="42"/>
                      </a:lnTo>
                      <a:lnTo>
                        <a:pt x="51" y="45"/>
                      </a:lnTo>
                      <a:lnTo>
                        <a:pt x="51" y="47"/>
                      </a:lnTo>
                      <a:lnTo>
                        <a:pt x="48" y="51"/>
                      </a:lnTo>
                      <a:lnTo>
                        <a:pt x="43" y="55"/>
                      </a:lnTo>
                      <a:lnTo>
                        <a:pt x="40" y="61"/>
                      </a:lnTo>
                      <a:lnTo>
                        <a:pt x="40" y="61"/>
                      </a:lnTo>
                      <a:lnTo>
                        <a:pt x="39" y="70"/>
                      </a:lnTo>
                      <a:lnTo>
                        <a:pt x="38" y="83"/>
                      </a:lnTo>
                      <a:lnTo>
                        <a:pt x="36" y="96"/>
                      </a:lnTo>
                      <a:lnTo>
                        <a:pt x="33" y="105"/>
                      </a:lnTo>
                      <a:lnTo>
                        <a:pt x="33" y="105"/>
                      </a:lnTo>
                      <a:lnTo>
                        <a:pt x="33" y="110"/>
                      </a:lnTo>
                      <a:lnTo>
                        <a:pt x="33" y="115"/>
                      </a:lnTo>
                      <a:lnTo>
                        <a:pt x="33" y="118"/>
                      </a:lnTo>
                      <a:lnTo>
                        <a:pt x="32" y="120"/>
                      </a:lnTo>
                      <a:lnTo>
                        <a:pt x="32" y="120"/>
                      </a:lnTo>
                      <a:lnTo>
                        <a:pt x="29" y="126"/>
                      </a:lnTo>
                      <a:lnTo>
                        <a:pt x="27" y="135"/>
                      </a:lnTo>
                      <a:lnTo>
                        <a:pt x="27" y="135"/>
                      </a:lnTo>
                      <a:lnTo>
                        <a:pt x="32" y="134"/>
                      </a:lnTo>
                      <a:lnTo>
                        <a:pt x="32" y="134"/>
                      </a:lnTo>
                      <a:lnTo>
                        <a:pt x="33" y="135"/>
                      </a:lnTo>
                      <a:lnTo>
                        <a:pt x="36" y="136"/>
                      </a:lnTo>
                      <a:lnTo>
                        <a:pt x="43" y="144"/>
                      </a:lnTo>
                      <a:lnTo>
                        <a:pt x="53" y="155"/>
                      </a:lnTo>
                      <a:lnTo>
                        <a:pt x="53" y="155"/>
                      </a:lnTo>
                      <a:lnTo>
                        <a:pt x="56" y="158"/>
                      </a:lnTo>
                      <a:lnTo>
                        <a:pt x="58" y="158"/>
                      </a:lnTo>
                      <a:lnTo>
                        <a:pt x="61" y="158"/>
                      </a:lnTo>
                      <a:lnTo>
                        <a:pt x="64" y="155"/>
                      </a:lnTo>
                      <a:lnTo>
                        <a:pt x="64" y="155"/>
                      </a:lnTo>
                      <a:lnTo>
                        <a:pt x="68" y="151"/>
                      </a:lnTo>
                      <a:lnTo>
                        <a:pt x="78" y="148"/>
                      </a:lnTo>
                      <a:lnTo>
                        <a:pt x="78" y="148"/>
                      </a:lnTo>
                      <a:lnTo>
                        <a:pt x="82" y="147"/>
                      </a:lnTo>
                      <a:lnTo>
                        <a:pt x="85" y="147"/>
                      </a:lnTo>
                      <a:lnTo>
                        <a:pt x="87" y="147"/>
                      </a:lnTo>
                      <a:lnTo>
                        <a:pt x="90" y="147"/>
                      </a:lnTo>
                      <a:lnTo>
                        <a:pt x="90" y="147"/>
                      </a:lnTo>
                      <a:lnTo>
                        <a:pt x="98" y="145"/>
                      </a:lnTo>
                      <a:lnTo>
                        <a:pt x="111" y="139"/>
                      </a:lnTo>
                      <a:lnTo>
                        <a:pt x="133" y="129"/>
                      </a:lnTo>
                      <a:lnTo>
                        <a:pt x="133" y="129"/>
                      </a:lnTo>
                      <a:lnTo>
                        <a:pt x="137" y="126"/>
                      </a:lnTo>
                      <a:lnTo>
                        <a:pt x="139" y="125"/>
                      </a:lnTo>
                      <a:lnTo>
                        <a:pt x="142" y="119"/>
                      </a:lnTo>
                      <a:lnTo>
                        <a:pt x="142" y="119"/>
                      </a:lnTo>
                      <a:lnTo>
                        <a:pt x="146" y="112"/>
                      </a:lnTo>
                      <a:lnTo>
                        <a:pt x="151" y="105"/>
                      </a:lnTo>
                      <a:lnTo>
                        <a:pt x="151" y="105"/>
                      </a:lnTo>
                      <a:lnTo>
                        <a:pt x="152" y="102"/>
                      </a:lnTo>
                      <a:lnTo>
                        <a:pt x="151" y="97"/>
                      </a:lnTo>
                      <a:lnTo>
                        <a:pt x="148" y="87"/>
                      </a:lnTo>
                      <a:lnTo>
                        <a:pt x="148" y="87"/>
                      </a:lnTo>
                      <a:lnTo>
                        <a:pt x="148" y="83"/>
                      </a:lnTo>
                      <a:lnTo>
                        <a:pt x="148" y="80"/>
                      </a:lnTo>
                      <a:lnTo>
                        <a:pt x="152" y="73"/>
                      </a:lnTo>
                      <a:lnTo>
                        <a:pt x="158" y="63"/>
                      </a:lnTo>
                      <a:lnTo>
                        <a:pt x="158" y="63"/>
                      </a:lnTo>
                      <a:lnTo>
                        <a:pt x="164" y="58"/>
                      </a:lnTo>
                      <a:lnTo>
                        <a:pt x="172" y="51"/>
                      </a:lnTo>
                      <a:lnTo>
                        <a:pt x="172" y="51"/>
                      </a:lnTo>
                      <a:lnTo>
                        <a:pt x="177" y="49"/>
                      </a:lnTo>
                      <a:lnTo>
                        <a:pt x="177" y="49"/>
                      </a:lnTo>
                      <a:lnTo>
                        <a:pt x="178" y="51"/>
                      </a:lnTo>
                      <a:lnTo>
                        <a:pt x="179" y="51"/>
                      </a:lnTo>
                      <a:lnTo>
                        <a:pt x="179" y="51"/>
                      </a:lnTo>
                      <a:lnTo>
                        <a:pt x="182" y="49"/>
                      </a:lnTo>
                      <a:lnTo>
                        <a:pt x="188" y="47"/>
                      </a:lnTo>
                      <a:lnTo>
                        <a:pt x="198" y="36"/>
                      </a:lnTo>
                      <a:lnTo>
                        <a:pt x="198" y="36"/>
                      </a:lnTo>
                      <a:lnTo>
                        <a:pt x="200" y="32"/>
                      </a:lnTo>
                      <a:lnTo>
                        <a:pt x="200" y="2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51" name="Freeform 1106"/>
                <p:cNvSpPr>
                  <a:spLocks/>
                </p:cNvSpPr>
                <p:nvPr/>
              </p:nvSpPr>
              <p:spPr bwMode="auto">
                <a:xfrm>
                  <a:off x="4513634" y="2559366"/>
                  <a:ext cx="7914" cy="7914"/>
                </a:xfrm>
                <a:custGeom>
                  <a:avLst/>
                  <a:gdLst>
                    <a:gd name="T0" fmla="*/ 0 w 8"/>
                    <a:gd name="T1" fmla="*/ 8 h 8"/>
                    <a:gd name="T2" fmla="*/ 0 w 8"/>
                    <a:gd name="T3" fmla="*/ 8 h 8"/>
                    <a:gd name="T4" fmla="*/ 0 w 8"/>
                    <a:gd name="T5" fmla="*/ 3 h 8"/>
                    <a:gd name="T6" fmla="*/ 2 w 8"/>
                    <a:gd name="T7" fmla="*/ 0 h 8"/>
                    <a:gd name="T8" fmla="*/ 2 w 8"/>
                    <a:gd name="T9" fmla="*/ 0 h 8"/>
                    <a:gd name="T10" fmla="*/ 2 w 8"/>
                    <a:gd name="T11" fmla="*/ 0 h 8"/>
                    <a:gd name="T12" fmla="*/ 2 w 8"/>
                    <a:gd name="T13" fmla="*/ 0 h 8"/>
                    <a:gd name="T14" fmla="*/ 3 w 8"/>
                    <a:gd name="T15" fmla="*/ 0 h 8"/>
                    <a:gd name="T16" fmla="*/ 3 w 8"/>
                    <a:gd name="T17" fmla="*/ 0 h 8"/>
                    <a:gd name="T18" fmla="*/ 3 w 8"/>
                    <a:gd name="T19" fmla="*/ 0 h 8"/>
                    <a:gd name="T20" fmla="*/ 3 w 8"/>
                    <a:gd name="T21" fmla="*/ 0 h 8"/>
                    <a:gd name="T22" fmla="*/ 5 w 8"/>
                    <a:gd name="T23" fmla="*/ 2 h 8"/>
                    <a:gd name="T24" fmla="*/ 8 w 8"/>
                    <a:gd name="T25" fmla="*/ 3 h 8"/>
                    <a:gd name="T26" fmla="*/ 8 w 8"/>
                    <a:gd name="T27" fmla="*/ 3 h 8"/>
                    <a:gd name="T28" fmla="*/ 2 w 8"/>
                    <a:gd name="T29" fmla="*/ 8 h 8"/>
                    <a:gd name="T30" fmla="*/ 2 w 8"/>
                    <a:gd name="T31" fmla="*/ 8 h 8"/>
                    <a:gd name="T32" fmla="*/ 0 w 8"/>
                    <a:gd name="T3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" h="8">
                      <a:moveTo>
                        <a:pt x="0" y="8"/>
                      </a:moveTo>
                      <a:lnTo>
                        <a:pt x="0" y="8"/>
                      </a:ln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5" y="2"/>
                      </a:lnTo>
                      <a:lnTo>
                        <a:pt x="8" y="3"/>
                      </a:lnTo>
                      <a:lnTo>
                        <a:pt x="8" y="3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52" name="Freeform 1107"/>
                <p:cNvSpPr>
                  <a:spLocks/>
                </p:cNvSpPr>
                <p:nvPr/>
              </p:nvSpPr>
              <p:spPr bwMode="auto">
                <a:xfrm>
                  <a:off x="4513634" y="2559366"/>
                  <a:ext cx="7914" cy="7914"/>
                </a:xfrm>
                <a:custGeom>
                  <a:avLst/>
                  <a:gdLst>
                    <a:gd name="T0" fmla="*/ 0 w 8"/>
                    <a:gd name="T1" fmla="*/ 8 h 8"/>
                    <a:gd name="T2" fmla="*/ 0 w 8"/>
                    <a:gd name="T3" fmla="*/ 8 h 8"/>
                    <a:gd name="T4" fmla="*/ 0 w 8"/>
                    <a:gd name="T5" fmla="*/ 3 h 8"/>
                    <a:gd name="T6" fmla="*/ 2 w 8"/>
                    <a:gd name="T7" fmla="*/ 0 h 8"/>
                    <a:gd name="T8" fmla="*/ 2 w 8"/>
                    <a:gd name="T9" fmla="*/ 0 h 8"/>
                    <a:gd name="T10" fmla="*/ 2 w 8"/>
                    <a:gd name="T11" fmla="*/ 0 h 8"/>
                    <a:gd name="T12" fmla="*/ 2 w 8"/>
                    <a:gd name="T13" fmla="*/ 0 h 8"/>
                    <a:gd name="T14" fmla="*/ 3 w 8"/>
                    <a:gd name="T15" fmla="*/ 0 h 8"/>
                    <a:gd name="T16" fmla="*/ 3 w 8"/>
                    <a:gd name="T17" fmla="*/ 0 h 8"/>
                    <a:gd name="T18" fmla="*/ 3 w 8"/>
                    <a:gd name="T19" fmla="*/ 0 h 8"/>
                    <a:gd name="T20" fmla="*/ 3 w 8"/>
                    <a:gd name="T21" fmla="*/ 0 h 8"/>
                    <a:gd name="T22" fmla="*/ 5 w 8"/>
                    <a:gd name="T23" fmla="*/ 2 h 8"/>
                    <a:gd name="T24" fmla="*/ 8 w 8"/>
                    <a:gd name="T25" fmla="*/ 3 h 8"/>
                    <a:gd name="T26" fmla="*/ 8 w 8"/>
                    <a:gd name="T27" fmla="*/ 3 h 8"/>
                    <a:gd name="T28" fmla="*/ 2 w 8"/>
                    <a:gd name="T29" fmla="*/ 8 h 8"/>
                    <a:gd name="T30" fmla="*/ 2 w 8"/>
                    <a:gd name="T31" fmla="*/ 8 h 8"/>
                    <a:gd name="T32" fmla="*/ 0 w 8"/>
                    <a:gd name="T3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" h="8">
                      <a:moveTo>
                        <a:pt x="0" y="8"/>
                      </a:moveTo>
                      <a:lnTo>
                        <a:pt x="0" y="8"/>
                      </a:ln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5" y="2"/>
                      </a:lnTo>
                      <a:lnTo>
                        <a:pt x="8" y="3"/>
                      </a:lnTo>
                      <a:lnTo>
                        <a:pt x="8" y="3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0" y="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53" name="Freeform 1108"/>
                <p:cNvSpPr>
                  <a:spLocks noEditPoints="1"/>
                </p:cNvSpPr>
                <p:nvPr/>
              </p:nvSpPr>
              <p:spPr bwMode="auto">
                <a:xfrm>
                  <a:off x="4515612" y="2559366"/>
                  <a:ext cx="989" cy="0"/>
                </a:xfrm>
                <a:custGeom>
                  <a:avLst/>
                  <a:gdLst>
                    <a:gd name="T0" fmla="*/ 1 w 1"/>
                    <a:gd name="T1" fmla="*/ 1 w 1"/>
                    <a:gd name="T2" fmla="*/ 1 w 1"/>
                    <a:gd name="T3" fmla="*/ 0 w 1"/>
                    <a:gd name="T4" fmla="*/ 0 w 1"/>
                    <a:gd name="T5" fmla="*/ 1 w 1"/>
                    <a:gd name="T6" fmla="*/ 1 w 1"/>
                    <a:gd name="T7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0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54" name="Freeform 1109"/>
                <p:cNvSpPr>
                  <a:spLocks/>
                </p:cNvSpPr>
                <p:nvPr/>
              </p:nvSpPr>
              <p:spPr bwMode="auto">
                <a:xfrm>
                  <a:off x="4516601" y="255936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55" name="Rectangle 1110"/>
                <p:cNvSpPr>
                  <a:spLocks noChangeArrowheads="1"/>
                </p:cNvSpPr>
                <p:nvPr/>
              </p:nvSpPr>
              <p:spPr bwMode="auto">
                <a:xfrm>
                  <a:off x="4515612" y="2559366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56" name="Freeform 1111"/>
                <p:cNvSpPr>
                  <a:spLocks/>
                </p:cNvSpPr>
                <p:nvPr/>
              </p:nvSpPr>
              <p:spPr bwMode="auto">
                <a:xfrm>
                  <a:off x="4570021" y="2434719"/>
                  <a:ext cx="106840" cy="62323"/>
                </a:xfrm>
                <a:custGeom>
                  <a:avLst/>
                  <a:gdLst>
                    <a:gd name="T0" fmla="*/ 100 w 108"/>
                    <a:gd name="T1" fmla="*/ 45 h 63"/>
                    <a:gd name="T2" fmla="*/ 100 w 108"/>
                    <a:gd name="T3" fmla="*/ 45 h 63"/>
                    <a:gd name="T4" fmla="*/ 106 w 108"/>
                    <a:gd name="T5" fmla="*/ 32 h 63"/>
                    <a:gd name="T6" fmla="*/ 108 w 108"/>
                    <a:gd name="T7" fmla="*/ 25 h 63"/>
                    <a:gd name="T8" fmla="*/ 108 w 108"/>
                    <a:gd name="T9" fmla="*/ 18 h 63"/>
                    <a:gd name="T10" fmla="*/ 108 w 108"/>
                    <a:gd name="T11" fmla="*/ 18 h 63"/>
                    <a:gd name="T12" fmla="*/ 106 w 108"/>
                    <a:gd name="T13" fmla="*/ 6 h 63"/>
                    <a:gd name="T14" fmla="*/ 103 w 108"/>
                    <a:gd name="T15" fmla="*/ 2 h 63"/>
                    <a:gd name="T16" fmla="*/ 100 w 108"/>
                    <a:gd name="T17" fmla="*/ 0 h 63"/>
                    <a:gd name="T18" fmla="*/ 100 w 108"/>
                    <a:gd name="T19" fmla="*/ 0 h 63"/>
                    <a:gd name="T20" fmla="*/ 95 w 108"/>
                    <a:gd name="T21" fmla="*/ 0 h 63"/>
                    <a:gd name="T22" fmla="*/ 90 w 108"/>
                    <a:gd name="T23" fmla="*/ 3 h 63"/>
                    <a:gd name="T24" fmla="*/ 82 w 108"/>
                    <a:gd name="T25" fmla="*/ 5 h 63"/>
                    <a:gd name="T26" fmla="*/ 75 w 108"/>
                    <a:gd name="T27" fmla="*/ 5 h 63"/>
                    <a:gd name="T28" fmla="*/ 75 w 108"/>
                    <a:gd name="T29" fmla="*/ 5 h 63"/>
                    <a:gd name="T30" fmla="*/ 66 w 108"/>
                    <a:gd name="T31" fmla="*/ 5 h 63"/>
                    <a:gd name="T32" fmla="*/ 66 w 108"/>
                    <a:gd name="T33" fmla="*/ 5 h 63"/>
                    <a:gd name="T34" fmla="*/ 62 w 108"/>
                    <a:gd name="T35" fmla="*/ 12 h 63"/>
                    <a:gd name="T36" fmla="*/ 56 w 108"/>
                    <a:gd name="T37" fmla="*/ 16 h 63"/>
                    <a:gd name="T38" fmla="*/ 56 w 108"/>
                    <a:gd name="T39" fmla="*/ 16 h 63"/>
                    <a:gd name="T40" fmla="*/ 53 w 108"/>
                    <a:gd name="T41" fmla="*/ 19 h 63"/>
                    <a:gd name="T42" fmla="*/ 51 w 108"/>
                    <a:gd name="T43" fmla="*/ 24 h 63"/>
                    <a:gd name="T44" fmla="*/ 49 w 108"/>
                    <a:gd name="T45" fmla="*/ 29 h 63"/>
                    <a:gd name="T46" fmla="*/ 49 w 108"/>
                    <a:gd name="T47" fmla="*/ 29 h 63"/>
                    <a:gd name="T48" fmla="*/ 43 w 108"/>
                    <a:gd name="T49" fmla="*/ 32 h 63"/>
                    <a:gd name="T50" fmla="*/ 33 w 108"/>
                    <a:gd name="T51" fmla="*/ 35 h 63"/>
                    <a:gd name="T52" fmla="*/ 13 w 108"/>
                    <a:gd name="T53" fmla="*/ 38 h 63"/>
                    <a:gd name="T54" fmla="*/ 13 w 108"/>
                    <a:gd name="T55" fmla="*/ 38 h 63"/>
                    <a:gd name="T56" fmla="*/ 7 w 108"/>
                    <a:gd name="T57" fmla="*/ 39 h 63"/>
                    <a:gd name="T58" fmla="*/ 0 w 108"/>
                    <a:gd name="T59" fmla="*/ 42 h 63"/>
                    <a:gd name="T60" fmla="*/ 0 w 108"/>
                    <a:gd name="T61" fmla="*/ 42 h 63"/>
                    <a:gd name="T62" fmla="*/ 0 w 108"/>
                    <a:gd name="T63" fmla="*/ 47 h 63"/>
                    <a:gd name="T64" fmla="*/ 0 w 108"/>
                    <a:gd name="T65" fmla="*/ 47 h 63"/>
                    <a:gd name="T66" fmla="*/ 6 w 108"/>
                    <a:gd name="T67" fmla="*/ 54 h 63"/>
                    <a:gd name="T68" fmla="*/ 11 w 108"/>
                    <a:gd name="T69" fmla="*/ 60 h 63"/>
                    <a:gd name="T70" fmla="*/ 11 w 108"/>
                    <a:gd name="T71" fmla="*/ 60 h 63"/>
                    <a:gd name="T72" fmla="*/ 16 w 108"/>
                    <a:gd name="T73" fmla="*/ 58 h 63"/>
                    <a:gd name="T74" fmla="*/ 16 w 108"/>
                    <a:gd name="T75" fmla="*/ 58 h 63"/>
                    <a:gd name="T76" fmla="*/ 20 w 108"/>
                    <a:gd name="T77" fmla="*/ 57 h 63"/>
                    <a:gd name="T78" fmla="*/ 24 w 108"/>
                    <a:gd name="T79" fmla="*/ 54 h 63"/>
                    <a:gd name="T80" fmla="*/ 30 w 108"/>
                    <a:gd name="T81" fmla="*/ 51 h 63"/>
                    <a:gd name="T82" fmla="*/ 36 w 108"/>
                    <a:gd name="T83" fmla="*/ 51 h 63"/>
                    <a:gd name="T84" fmla="*/ 36 w 108"/>
                    <a:gd name="T85" fmla="*/ 51 h 63"/>
                    <a:gd name="T86" fmla="*/ 45 w 108"/>
                    <a:gd name="T87" fmla="*/ 55 h 63"/>
                    <a:gd name="T88" fmla="*/ 55 w 108"/>
                    <a:gd name="T89" fmla="*/ 63 h 63"/>
                    <a:gd name="T90" fmla="*/ 55 w 108"/>
                    <a:gd name="T91" fmla="*/ 63 h 63"/>
                    <a:gd name="T92" fmla="*/ 72 w 108"/>
                    <a:gd name="T93" fmla="*/ 61 h 63"/>
                    <a:gd name="T94" fmla="*/ 72 w 108"/>
                    <a:gd name="T95" fmla="*/ 61 h 63"/>
                    <a:gd name="T96" fmla="*/ 90 w 108"/>
                    <a:gd name="T97" fmla="*/ 61 h 63"/>
                    <a:gd name="T98" fmla="*/ 90 w 108"/>
                    <a:gd name="T99" fmla="*/ 61 h 63"/>
                    <a:gd name="T100" fmla="*/ 95 w 108"/>
                    <a:gd name="T101" fmla="*/ 58 h 63"/>
                    <a:gd name="T102" fmla="*/ 101 w 108"/>
                    <a:gd name="T103" fmla="*/ 55 h 63"/>
                    <a:gd name="T104" fmla="*/ 101 w 108"/>
                    <a:gd name="T105" fmla="*/ 55 h 63"/>
                    <a:gd name="T106" fmla="*/ 98 w 108"/>
                    <a:gd name="T107" fmla="*/ 50 h 63"/>
                    <a:gd name="T108" fmla="*/ 100 w 108"/>
                    <a:gd name="T109" fmla="*/ 45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08" h="63">
                      <a:moveTo>
                        <a:pt x="100" y="45"/>
                      </a:moveTo>
                      <a:lnTo>
                        <a:pt x="100" y="45"/>
                      </a:lnTo>
                      <a:lnTo>
                        <a:pt x="106" y="32"/>
                      </a:lnTo>
                      <a:lnTo>
                        <a:pt x="108" y="25"/>
                      </a:lnTo>
                      <a:lnTo>
                        <a:pt x="108" y="18"/>
                      </a:lnTo>
                      <a:lnTo>
                        <a:pt x="108" y="18"/>
                      </a:lnTo>
                      <a:lnTo>
                        <a:pt x="106" y="6"/>
                      </a:lnTo>
                      <a:lnTo>
                        <a:pt x="103" y="2"/>
                      </a:lnTo>
                      <a:lnTo>
                        <a:pt x="100" y="0"/>
                      </a:lnTo>
                      <a:lnTo>
                        <a:pt x="100" y="0"/>
                      </a:lnTo>
                      <a:lnTo>
                        <a:pt x="95" y="0"/>
                      </a:lnTo>
                      <a:lnTo>
                        <a:pt x="90" y="3"/>
                      </a:lnTo>
                      <a:lnTo>
                        <a:pt x="82" y="5"/>
                      </a:lnTo>
                      <a:lnTo>
                        <a:pt x="75" y="5"/>
                      </a:lnTo>
                      <a:lnTo>
                        <a:pt x="75" y="5"/>
                      </a:lnTo>
                      <a:lnTo>
                        <a:pt x="66" y="5"/>
                      </a:lnTo>
                      <a:lnTo>
                        <a:pt x="66" y="5"/>
                      </a:lnTo>
                      <a:lnTo>
                        <a:pt x="62" y="12"/>
                      </a:lnTo>
                      <a:lnTo>
                        <a:pt x="56" y="16"/>
                      </a:lnTo>
                      <a:lnTo>
                        <a:pt x="56" y="16"/>
                      </a:lnTo>
                      <a:lnTo>
                        <a:pt x="53" y="19"/>
                      </a:lnTo>
                      <a:lnTo>
                        <a:pt x="51" y="24"/>
                      </a:lnTo>
                      <a:lnTo>
                        <a:pt x="49" y="29"/>
                      </a:lnTo>
                      <a:lnTo>
                        <a:pt x="49" y="29"/>
                      </a:lnTo>
                      <a:lnTo>
                        <a:pt x="43" y="32"/>
                      </a:lnTo>
                      <a:lnTo>
                        <a:pt x="33" y="35"/>
                      </a:lnTo>
                      <a:lnTo>
                        <a:pt x="13" y="38"/>
                      </a:lnTo>
                      <a:lnTo>
                        <a:pt x="13" y="38"/>
                      </a:lnTo>
                      <a:lnTo>
                        <a:pt x="7" y="39"/>
                      </a:lnTo>
                      <a:lnTo>
                        <a:pt x="0" y="42"/>
                      </a:lnTo>
                      <a:lnTo>
                        <a:pt x="0" y="42"/>
                      </a:lnTo>
                      <a:lnTo>
                        <a:pt x="0" y="47"/>
                      </a:lnTo>
                      <a:lnTo>
                        <a:pt x="0" y="47"/>
                      </a:lnTo>
                      <a:lnTo>
                        <a:pt x="6" y="54"/>
                      </a:lnTo>
                      <a:lnTo>
                        <a:pt x="11" y="60"/>
                      </a:lnTo>
                      <a:lnTo>
                        <a:pt x="11" y="60"/>
                      </a:lnTo>
                      <a:lnTo>
                        <a:pt x="16" y="58"/>
                      </a:lnTo>
                      <a:lnTo>
                        <a:pt x="16" y="58"/>
                      </a:lnTo>
                      <a:lnTo>
                        <a:pt x="20" y="57"/>
                      </a:lnTo>
                      <a:lnTo>
                        <a:pt x="24" y="54"/>
                      </a:lnTo>
                      <a:lnTo>
                        <a:pt x="30" y="51"/>
                      </a:lnTo>
                      <a:lnTo>
                        <a:pt x="36" y="51"/>
                      </a:lnTo>
                      <a:lnTo>
                        <a:pt x="36" y="51"/>
                      </a:lnTo>
                      <a:lnTo>
                        <a:pt x="45" y="55"/>
                      </a:lnTo>
                      <a:lnTo>
                        <a:pt x="55" y="63"/>
                      </a:lnTo>
                      <a:lnTo>
                        <a:pt x="55" y="63"/>
                      </a:lnTo>
                      <a:lnTo>
                        <a:pt x="72" y="61"/>
                      </a:lnTo>
                      <a:lnTo>
                        <a:pt x="72" y="61"/>
                      </a:lnTo>
                      <a:lnTo>
                        <a:pt x="90" y="61"/>
                      </a:lnTo>
                      <a:lnTo>
                        <a:pt x="90" y="61"/>
                      </a:lnTo>
                      <a:lnTo>
                        <a:pt x="95" y="58"/>
                      </a:lnTo>
                      <a:lnTo>
                        <a:pt x="101" y="55"/>
                      </a:lnTo>
                      <a:lnTo>
                        <a:pt x="101" y="55"/>
                      </a:lnTo>
                      <a:lnTo>
                        <a:pt x="98" y="50"/>
                      </a:lnTo>
                      <a:lnTo>
                        <a:pt x="100" y="4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57" name="Freeform 1112"/>
                <p:cNvSpPr>
                  <a:spLocks/>
                </p:cNvSpPr>
                <p:nvPr/>
              </p:nvSpPr>
              <p:spPr bwMode="auto">
                <a:xfrm>
                  <a:off x="4570021" y="2434719"/>
                  <a:ext cx="106840" cy="62323"/>
                </a:xfrm>
                <a:custGeom>
                  <a:avLst/>
                  <a:gdLst>
                    <a:gd name="T0" fmla="*/ 100 w 108"/>
                    <a:gd name="T1" fmla="*/ 45 h 63"/>
                    <a:gd name="T2" fmla="*/ 100 w 108"/>
                    <a:gd name="T3" fmla="*/ 45 h 63"/>
                    <a:gd name="T4" fmla="*/ 106 w 108"/>
                    <a:gd name="T5" fmla="*/ 32 h 63"/>
                    <a:gd name="T6" fmla="*/ 108 w 108"/>
                    <a:gd name="T7" fmla="*/ 25 h 63"/>
                    <a:gd name="T8" fmla="*/ 108 w 108"/>
                    <a:gd name="T9" fmla="*/ 18 h 63"/>
                    <a:gd name="T10" fmla="*/ 108 w 108"/>
                    <a:gd name="T11" fmla="*/ 18 h 63"/>
                    <a:gd name="T12" fmla="*/ 106 w 108"/>
                    <a:gd name="T13" fmla="*/ 6 h 63"/>
                    <a:gd name="T14" fmla="*/ 103 w 108"/>
                    <a:gd name="T15" fmla="*/ 2 h 63"/>
                    <a:gd name="T16" fmla="*/ 100 w 108"/>
                    <a:gd name="T17" fmla="*/ 0 h 63"/>
                    <a:gd name="T18" fmla="*/ 100 w 108"/>
                    <a:gd name="T19" fmla="*/ 0 h 63"/>
                    <a:gd name="T20" fmla="*/ 95 w 108"/>
                    <a:gd name="T21" fmla="*/ 0 h 63"/>
                    <a:gd name="T22" fmla="*/ 90 w 108"/>
                    <a:gd name="T23" fmla="*/ 3 h 63"/>
                    <a:gd name="T24" fmla="*/ 82 w 108"/>
                    <a:gd name="T25" fmla="*/ 5 h 63"/>
                    <a:gd name="T26" fmla="*/ 75 w 108"/>
                    <a:gd name="T27" fmla="*/ 5 h 63"/>
                    <a:gd name="T28" fmla="*/ 75 w 108"/>
                    <a:gd name="T29" fmla="*/ 5 h 63"/>
                    <a:gd name="T30" fmla="*/ 66 w 108"/>
                    <a:gd name="T31" fmla="*/ 5 h 63"/>
                    <a:gd name="T32" fmla="*/ 66 w 108"/>
                    <a:gd name="T33" fmla="*/ 5 h 63"/>
                    <a:gd name="T34" fmla="*/ 62 w 108"/>
                    <a:gd name="T35" fmla="*/ 12 h 63"/>
                    <a:gd name="T36" fmla="*/ 56 w 108"/>
                    <a:gd name="T37" fmla="*/ 16 h 63"/>
                    <a:gd name="T38" fmla="*/ 56 w 108"/>
                    <a:gd name="T39" fmla="*/ 16 h 63"/>
                    <a:gd name="T40" fmla="*/ 53 w 108"/>
                    <a:gd name="T41" fmla="*/ 19 h 63"/>
                    <a:gd name="T42" fmla="*/ 51 w 108"/>
                    <a:gd name="T43" fmla="*/ 24 h 63"/>
                    <a:gd name="T44" fmla="*/ 49 w 108"/>
                    <a:gd name="T45" fmla="*/ 29 h 63"/>
                    <a:gd name="T46" fmla="*/ 49 w 108"/>
                    <a:gd name="T47" fmla="*/ 29 h 63"/>
                    <a:gd name="T48" fmla="*/ 43 w 108"/>
                    <a:gd name="T49" fmla="*/ 32 h 63"/>
                    <a:gd name="T50" fmla="*/ 33 w 108"/>
                    <a:gd name="T51" fmla="*/ 35 h 63"/>
                    <a:gd name="T52" fmla="*/ 13 w 108"/>
                    <a:gd name="T53" fmla="*/ 38 h 63"/>
                    <a:gd name="T54" fmla="*/ 13 w 108"/>
                    <a:gd name="T55" fmla="*/ 38 h 63"/>
                    <a:gd name="T56" fmla="*/ 7 w 108"/>
                    <a:gd name="T57" fmla="*/ 39 h 63"/>
                    <a:gd name="T58" fmla="*/ 0 w 108"/>
                    <a:gd name="T59" fmla="*/ 42 h 63"/>
                    <a:gd name="T60" fmla="*/ 0 w 108"/>
                    <a:gd name="T61" fmla="*/ 42 h 63"/>
                    <a:gd name="T62" fmla="*/ 0 w 108"/>
                    <a:gd name="T63" fmla="*/ 47 h 63"/>
                    <a:gd name="T64" fmla="*/ 0 w 108"/>
                    <a:gd name="T65" fmla="*/ 47 h 63"/>
                    <a:gd name="T66" fmla="*/ 6 w 108"/>
                    <a:gd name="T67" fmla="*/ 54 h 63"/>
                    <a:gd name="T68" fmla="*/ 11 w 108"/>
                    <a:gd name="T69" fmla="*/ 60 h 63"/>
                    <a:gd name="T70" fmla="*/ 11 w 108"/>
                    <a:gd name="T71" fmla="*/ 60 h 63"/>
                    <a:gd name="T72" fmla="*/ 16 w 108"/>
                    <a:gd name="T73" fmla="*/ 58 h 63"/>
                    <a:gd name="T74" fmla="*/ 16 w 108"/>
                    <a:gd name="T75" fmla="*/ 58 h 63"/>
                    <a:gd name="T76" fmla="*/ 20 w 108"/>
                    <a:gd name="T77" fmla="*/ 57 h 63"/>
                    <a:gd name="T78" fmla="*/ 24 w 108"/>
                    <a:gd name="T79" fmla="*/ 54 h 63"/>
                    <a:gd name="T80" fmla="*/ 30 w 108"/>
                    <a:gd name="T81" fmla="*/ 51 h 63"/>
                    <a:gd name="T82" fmla="*/ 36 w 108"/>
                    <a:gd name="T83" fmla="*/ 51 h 63"/>
                    <a:gd name="T84" fmla="*/ 36 w 108"/>
                    <a:gd name="T85" fmla="*/ 51 h 63"/>
                    <a:gd name="T86" fmla="*/ 45 w 108"/>
                    <a:gd name="T87" fmla="*/ 55 h 63"/>
                    <a:gd name="T88" fmla="*/ 55 w 108"/>
                    <a:gd name="T89" fmla="*/ 63 h 63"/>
                    <a:gd name="T90" fmla="*/ 55 w 108"/>
                    <a:gd name="T91" fmla="*/ 63 h 63"/>
                    <a:gd name="T92" fmla="*/ 72 w 108"/>
                    <a:gd name="T93" fmla="*/ 61 h 63"/>
                    <a:gd name="T94" fmla="*/ 72 w 108"/>
                    <a:gd name="T95" fmla="*/ 61 h 63"/>
                    <a:gd name="T96" fmla="*/ 90 w 108"/>
                    <a:gd name="T97" fmla="*/ 61 h 63"/>
                    <a:gd name="T98" fmla="*/ 90 w 108"/>
                    <a:gd name="T99" fmla="*/ 61 h 63"/>
                    <a:gd name="T100" fmla="*/ 95 w 108"/>
                    <a:gd name="T101" fmla="*/ 58 h 63"/>
                    <a:gd name="T102" fmla="*/ 101 w 108"/>
                    <a:gd name="T103" fmla="*/ 55 h 63"/>
                    <a:gd name="T104" fmla="*/ 101 w 108"/>
                    <a:gd name="T105" fmla="*/ 55 h 63"/>
                    <a:gd name="T106" fmla="*/ 98 w 108"/>
                    <a:gd name="T107" fmla="*/ 50 h 63"/>
                    <a:gd name="T108" fmla="*/ 100 w 108"/>
                    <a:gd name="T109" fmla="*/ 45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08" h="63">
                      <a:moveTo>
                        <a:pt x="100" y="45"/>
                      </a:moveTo>
                      <a:lnTo>
                        <a:pt x="100" y="45"/>
                      </a:lnTo>
                      <a:lnTo>
                        <a:pt x="106" y="32"/>
                      </a:lnTo>
                      <a:lnTo>
                        <a:pt x="108" y="25"/>
                      </a:lnTo>
                      <a:lnTo>
                        <a:pt x="108" y="18"/>
                      </a:lnTo>
                      <a:lnTo>
                        <a:pt x="108" y="18"/>
                      </a:lnTo>
                      <a:lnTo>
                        <a:pt x="106" y="6"/>
                      </a:lnTo>
                      <a:lnTo>
                        <a:pt x="103" y="2"/>
                      </a:lnTo>
                      <a:lnTo>
                        <a:pt x="100" y="0"/>
                      </a:lnTo>
                      <a:lnTo>
                        <a:pt x="100" y="0"/>
                      </a:lnTo>
                      <a:lnTo>
                        <a:pt x="95" y="0"/>
                      </a:lnTo>
                      <a:lnTo>
                        <a:pt x="90" y="3"/>
                      </a:lnTo>
                      <a:lnTo>
                        <a:pt x="82" y="5"/>
                      </a:lnTo>
                      <a:lnTo>
                        <a:pt x="75" y="5"/>
                      </a:lnTo>
                      <a:lnTo>
                        <a:pt x="75" y="5"/>
                      </a:lnTo>
                      <a:lnTo>
                        <a:pt x="66" y="5"/>
                      </a:lnTo>
                      <a:lnTo>
                        <a:pt x="66" y="5"/>
                      </a:lnTo>
                      <a:lnTo>
                        <a:pt x="62" y="12"/>
                      </a:lnTo>
                      <a:lnTo>
                        <a:pt x="56" y="16"/>
                      </a:lnTo>
                      <a:lnTo>
                        <a:pt x="56" y="16"/>
                      </a:lnTo>
                      <a:lnTo>
                        <a:pt x="53" y="19"/>
                      </a:lnTo>
                      <a:lnTo>
                        <a:pt x="51" y="24"/>
                      </a:lnTo>
                      <a:lnTo>
                        <a:pt x="49" y="29"/>
                      </a:lnTo>
                      <a:lnTo>
                        <a:pt x="49" y="29"/>
                      </a:lnTo>
                      <a:lnTo>
                        <a:pt x="43" y="32"/>
                      </a:lnTo>
                      <a:lnTo>
                        <a:pt x="33" y="35"/>
                      </a:lnTo>
                      <a:lnTo>
                        <a:pt x="13" y="38"/>
                      </a:lnTo>
                      <a:lnTo>
                        <a:pt x="13" y="38"/>
                      </a:lnTo>
                      <a:lnTo>
                        <a:pt x="7" y="39"/>
                      </a:lnTo>
                      <a:lnTo>
                        <a:pt x="0" y="42"/>
                      </a:lnTo>
                      <a:lnTo>
                        <a:pt x="0" y="42"/>
                      </a:lnTo>
                      <a:lnTo>
                        <a:pt x="0" y="47"/>
                      </a:lnTo>
                      <a:lnTo>
                        <a:pt x="0" y="47"/>
                      </a:lnTo>
                      <a:lnTo>
                        <a:pt x="6" y="54"/>
                      </a:lnTo>
                      <a:lnTo>
                        <a:pt x="11" y="60"/>
                      </a:lnTo>
                      <a:lnTo>
                        <a:pt x="11" y="60"/>
                      </a:lnTo>
                      <a:lnTo>
                        <a:pt x="16" y="58"/>
                      </a:lnTo>
                      <a:lnTo>
                        <a:pt x="16" y="58"/>
                      </a:lnTo>
                      <a:lnTo>
                        <a:pt x="20" y="57"/>
                      </a:lnTo>
                      <a:lnTo>
                        <a:pt x="24" y="54"/>
                      </a:lnTo>
                      <a:lnTo>
                        <a:pt x="30" y="51"/>
                      </a:lnTo>
                      <a:lnTo>
                        <a:pt x="36" y="51"/>
                      </a:lnTo>
                      <a:lnTo>
                        <a:pt x="36" y="51"/>
                      </a:lnTo>
                      <a:lnTo>
                        <a:pt x="45" y="55"/>
                      </a:lnTo>
                      <a:lnTo>
                        <a:pt x="55" y="63"/>
                      </a:lnTo>
                      <a:lnTo>
                        <a:pt x="55" y="63"/>
                      </a:lnTo>
                      <a:lnTo>
                        <a:pt x="72" y="61"/>
                      </a:lnTo>
                      <a:lnTo>
                        <a:pt x="72" y="61"/>
                      </a:lnTo>
                      <a:lnTo>
                        <a:pt x="90" y="61"/>
                      </a:lnTo>
                      <a:lnTo>
                        <a:pt x="90" y="61"/>
                      </a:lnTo>
                      <a:lnTo>
                        <a:pt x="95" y="58"/>
                      </a:lnTo>
                      <a:lnTo>
                        <a:pt x="101" y="55"/>
                      </a:lnTo>
                      <a:lnTo>
                        <a:pt x="101" y="55"/>
                      </a:lnTo>
                      <a:lnTo>
                        <a:pt x="98" y="50"/>
                      </a:lnTo>
                      <a:lnTo>
                        <a:pt x="100" y="45"/>
                      </a:ln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58" name="Freeform 1113"/>
                <p:cNvSpPr>
                  <a:spLocks/>
                </p:cNvSpPr>
                <p:nvPr/>
              </p:nvSpPr>
              <p:spPr bwMode="auto">
                <a:xfrm>
                  <a:off x="4565075" y="2476268"/>
                  <a:ext cx="4946" cy="4946"/>
                </a:xfrm>
                <a:custGeom>
                  <a:avLst/>
                  <a:gdLst>
                    <a:gd name="T0" fmla="*/ 5 w 5"/>
                    <a:gd name="T1" fmla="*/ 0 h 5"/>
                    <a:gd name="T2" fmla="*/ 5 w 5"/>
                    <a:gd name="T3" fmla="*/ 0 h 5"/>
                    <a:gd name="T4" fmla="*/ 0 w 5"/>
                    <a:gd name="T5" fmla="*/ 2 h 5"/>
                    <a:gd name="T6" fmla="*/ 0 w 5"/>
                    <a:gd name="T7" fmla="*/ 2 h 5"/>
                    <a:gd name="T8" fmla="*/ 2 w 5"/>
                    <a:gd name="T9" fmla="*/ 3 h 5"/>
                    <a:gd name="T10" fmla="*/ 2 w 5"/>
                    <a:gd name="T11" fmla="*/ 3 h 5"/>
                    <a:gd name="T12" fmla="*/ 5 w 5"/>
                    <a:gd name="T13" fmla="*/ 5 h 5"/>
                    <a:gd name="T14" fmla="*/ 5 w 5"/>
                    <a:gd name="T15" fmla="*/ 5 h 5"/>
                    <a:gd name="T16" fmla="*/ 5 w 5"/>
                    <a:gd name="T1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5">
                      <a:moveTo>
                        <a:pt x="5" y="0"/>
                      </a:move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59" name="Freeform 1114"/>
                <p:cNvSpPr>
                  <a:spLocks/>
                </p:cNvSpPr>
                <p:nvPr/>
              </p:nvSpPr>
              <p:spPr bwMode="auto">
                <a:xfrm>
                  <a:off x="4565075" y="2476268"/>
                  <a:ext cx="4946" cy="4946"/>
                </a:xfrm>
                <a:custGeom>
                  <a:avLst/>
                  <a:gdLst>
                    <a:gd name="T0" fmla="*/ 5 w 5"/>
                    <a:gd name="T1" fmla="*/ 0 h 5"/>
                    <a:gd name="T2" fmla="*/ 5 w 5"/>
                    <a:gd name="T3" fmla="*/ 0 h 5"/>
                    <a:gd name="T4" fmla="*/ 0 w 5"/>
                    <a:gd name="T5" fmla="*/ 2 h 5"/>
                    <a:gd name="T6" fmla="*/ 0 w 5"/>
                    <a:gd name="T7" fmla="*/ 2 h 5"/>
                    <a:gd name="T8" fmla="*/ 2 w 5"/>
                    <a:gd name="T9" fmla="*/ 3 h 5"/>
                    <a:gd name="T10" fmla="*/ 2 w 5"/>
                    <a:gd name="T11" fmla="*/ 3 h 5"/>
                    <a:gd name="T12" fmla="*/ 5 w 5"/>
                    <a:gd name="T13" fmla="*/ 5 h 5"/>
                    <a:gd name="T14" fmla="*/ 5 w 5"/>
                    <a:gd name="T15" fmla="*/ 5 h 5"/>
                    <a:gd name="T16" fmla="*/ 5 w 5"/>
                    <a:gd name="T1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5">
                      <a:moveTo>
                        <a:pt x="5" y="0"/>
                      </a:move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5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60" name="Freeform 1115"/>
                <p:cNvSpPr>
                  <a:spLocks noEditPoints="1"/>
                </p:cNvSpPr>
                <p:nvPr/>
              </p:nvSpPr>
              <p:spPr bwMode="auto">
                <a:xfrm>
                  <a:off x="4513634" y="2485172"/>
                  <a:ext cx="191916" cy="197852"/>
                </a:xfrm>
                <a:custGeom>
                  <a:avLst/>
                  <a:gdLst>
                    <a:gd name="T0" fmla="*/ 176 w 194"/>
                    <a:gd name="T1" fmla="*/ 130 h 200"/>
                    <a:gd name="T2" fmla="*/ 157 w 194"/>
                    <a:gd name="T3" fmla="*/ 125 h 200"/>
                    <a:gd name="T4" fmla="*/ 155 w 194"/>
                    <a:gd name="T5" fmla="*/ 113 h 200"/>
                    <a:gd name="T6" fmla="*/ 151 w 194"/>
                    <a:gd name="T7" fmla="*/ 112 h 200"/>
                    <a:gd name="T8" fmla="*/ 139 w 194"/>
                    <a:gd name="T9" fmla="*/ 112 h 200"/>
                    <a:gd name="T10" fmla="*/ 131 w 194"/>
                    <a:gd name="T11" fmla="*/ 103 h 200"/>
                    <a:gd name="T12" fmla="*/ 118 w 194"/>
                    <a:gd name="T13" fmla="*/ 84 h 200"/>
                    <a:gd name="T14" fmla="*/ 115 w 194"/>
                    <a:gd name="T15" fmla="*/ 77 h 200"/>
                    <a:gd name="T16" fmla="*/ 105 w 194"/>
                    <a:gd name="T17" fmla="*/ 70 h 200"/>
                    <a:gd name="T18" fmla="*/ 100 w 194"/>
                    <a:gd name="T19" fmla="*/ 64 h 200"/>
                    <a:gd name="T20" fmla="*/ 94 w 194"/>
                    <a:gd name="T21" fmla="*/ 58 h 200"/>
                    <a:gd name="T22" fmla="*/ 99 w 194"/>
                    <a:gd name="T23" fmla="*/ 46 h 200"/>
                    <a:gd name="T24" fmla="*/ 99 w 194"/>
                    <a:gd name="T25" fmla="*/ 43 h 200"/>
                    <a:gd name="T26" fmla="*/ 94 w 194"/>
                    <a:gd name="T27" fmla="*/ 42 h 200"/>
                    <a:gd name="T28" fmla="*/ 97 w 194"/>
                    <a:gd name="T29" fmla="*/ 38 h 200"/>
                    <a:gd name="T30" fmla="*/ 112 w 194"/>
                    <a:gd name="T31" fmla="*/ 29 h 200"/>
                    <a:gd name="T32" fmla="*/ 115 w 194"/>
                    <a:gd name="T33" fmla="*/ 22 h 200"/>
                    <a:gd name="T34" fmla="*/ 112 w 194"/>
                    <a:gd name="T35" fmla="*/ 12 h 200"/>
                    <a:gd name="T36" fmla="*/ 93 w 194"/>
                    <a:gd name="T37" fmla="*/ 0 h 200"/>
                    <a:gd name="T38" fmla="*/ 81 w 194"/>
                    <a:gd name="T39" fmla="*/ 3 h 200"/>
                    <a:gd name="T40" fmla="*/ 73 w 194"/>
                    <a:gd name="T41" fmla="*/ 7 h 200"/>
                    <a:gd name="T42" fmla="*/ 60 w 194"/>
                    <a:gd name="T43" fmla="*/ 17 h 200"/>
                    <a:gd name="T44" fmla="*/ 41 w 194"/>
                    <a:gd name="T45" fmla="*/ 19 h 200"/>
                    <a:gd name="T46" fmla="*/ 22 w 194"/>
                    <a:gd name="T47" fmla="*/ 20 h 200"/>
                    <a:gd name="T48" fmla="*/ 9 w 194"/>
                    <a:gd name="T49" fmla="*/ 33 h 200"/>
                    <a:gd name="T50" fmla="*/ 6 w 194"/>
                    <a:gd name="T51" fmla="*/ 38 h 200"/>
                    <a:gd name="T52" fmla="*/ 0 w 194"/>
                    <a:gd name="T53" fmla="*/ 45 h 200"/>
                    <a:gd name="T54" fmla="*/ 8 w 194"/>
                    <a:gd name="T55" fmla="*/ 58 h 200"/>
                    <a:gd name="T56" fmla="*/ 13 w 194"/>
                    <a:gd name="T57" fmla="*/ 77 h 200"/>
                    <a:gd name="T58" fmla="*/ 35 w 194"/>
                    <a:gd name="T59" fmla="*/ 58 h 200"/>
                    <a:gd name="T60" fmla="*/ 39 w 194"/>
                    <a:gd name="T61" fmla="*/ 58 h 200"/>
                    <a:gd name="T62" fmla="*/ 57 w 194"/>
                    <a:gd name="T63" fmla="*/ 65 h 200"/>
                    <a:gd name="T64" fmla="*/ 70 w 194"/>
                    <a:gd name="T65" fmla="*/ 85 h 200"/>
                    <a:gd name="T66" fmla="*/ 81 w 194"/>
                    <a:gd name="T67" fmla="*/ 101 h 200"/>
                    <a:gd name="T68" fmla="*/ 100 w 194"/>
                    <a:gd name="T69" fmla="*/ 117 h 200"/>
                    <a:gd name="T70" fmla="*/ 131 w 194"/>
                    <a:gd name="T71" fmla="*/ 139 h 200"/>
                    <a:gd name="T72" fmla="*/ 141 w 194"/>
                    <a:gd name="T73" fmla="*/ 151 h 200"/>
                    <a:gd name="T74" fmla="*/ 150 w 194"/>
                    <a:gd name="T75" fmla="*/ 158 h 200"/>
                    <a:gd name="T76" fmla="*/ 154 w 194"/>
                    <a:gd name="T77" fmla="*/ 164 h 200"/>
                    <a:gd name="T78" fmla="*/ 160 w 194"/>
                    <a:gd name="T79" fmla="*/ 180 h 200"/>
                    <a:gd name="T80" fmla="*/ 155 w 194"/>
                    <a:gd name="T81" fmla="*/ 191 h 200"/>
                    <a:gd name="T82" fmla="*/ 154 w 194"/>
                    <a:gd name="T83" fmla="*/ 200 h 200"/>
                    <a:gd name="T84" fmla="*/ 160 w 194"/>
                    <a:gd name="T85" fmla="*/ 196 h 200"/>
                    <a:gd name="T86" fmla="*/ 167 w 194"/>
                    <a:gd name="T87" fmla="*/ 178 h 200"/>
                    <a:gd name="T88" fmla="*/ 170 w 194"/>
                    <a:gd name="T89" fmla="*/ 165 h 200"/>
                    <a:gd name="T90" fmla="*/ 163 w 194"/>
                    <a:gd name="T91" fmla="*/ 159 h 200"/>
                    <a:gd name="T92" fmla="*/ 170 w 194"/>
                    <a:gd name="T93" fmla="*/ 148 h 200"/>
                    <a:gd name="T94" fmla="*/ 176 w 194"/>
                    <a:gd name="T95" fmla="*/ 148 h 200"/>
                    <a:gd name="T96" fmla="*/ 187 w 194"/>
                    <a:gd name="T97" fmla="*/ 154 h 200"/>
                    <a:gd name="T98" fmla="*/ 194 w 194"/>
                    <a:gd name="T99" fmla="*/ 151 h 200"/>
                    <a:gd name="T100" fmla="*/ 190 w 194"/>
                    <a:gd name="T101" fmla="*/ 142 h 200"/>
                    <a:gd name="T102" fmla="*/ 93 w 194"/>
                    <a:gd name="T103" fmla="*/ 70 h 200"/>
                    <a:gd name="T104" fmla="*/ 90 w 194"/>
                    <a:gd name="T105" fmla="*/ 67 h 200"/>
                    <a:gd name="T106" fmla="*/ 94 w 194"/>
                    <a:gd name="T107" fmla="*/ 65 h 200"/>
                    <a:gd name="T108" fmla="*/ 103 w 194"/>
                    <a:gd name="T109" fmla="*/ 113 h 200"/>
                    <a:gd name="T110" fmla="*/ 100 w 194"/>
                    <a:gd name="T111" fmla="*/ 112 h 200"/>
                    <a:gd name="T112" fmla="*/ 103 w 194"/>
                    <a:gd name="T113" fmla="*/ 110 h 200"/>
                    <a:gd name="T114" fmla="*/ 103 w 194"/>
                    <a:gd name="T115" fmla="*/ 113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94" h="200">
                      <a:moveTo>
                        <a:pt x="181" y="133"/>
                      </a:moveTo>
                      <a:lnTo>
                        <a:pt x="181" y="133"/>
                      </a:lnTo>
                      <a:lnTo>
                        <a:pt x="176" y="130"/>
                      </a:lnTo>
                      <a:lnTo>
                        <a:pt x="168" y="127"/>
                      </a:lnTo>
                      <a:lnTo>
                        <a:pt x="157" y="125"/>
                      </a:lnTo>
                      <a:lnTo>
                        <a:pt x="157" y="125"/>
                      </a:lnTo>
                      <a:lnTo>
                        <a:pt x="154" y="123"/>
                      </a:lnTo>
                      <a:lnTo>
                        <a:pt x="154" y="120"/>
                      </a:lnTo>
                      <a:lnTo>
                        <a:pt x="155" y="113"/>
                      </a:lnTo>
                      <a:lnTo>
                        <a:pt x="155" y="113"/>
                      </a:lnTo>
                      <a:lnTo>
                        <a:pt x="154" y="112"/>
                      </a:lnTo>
                      <a:lnTo>
                        <a:pt x="151" y="112"/>
                      </a:lnTo>
                      <a:lnTo>
                        <a:pt x="142" y="112"/>
                      </a:lnTo>
                      <a:lnTo>
                        <a:pt x="142" y="112"/>
                      </a:lnTo>
                      <a:lnTo>
                        <a:pt x="139" y="112"/>
                      </a:lnTo>
                      <a:lnTo>
                        <a:pt x="136" y="110"/>
                      </a:lnTo>
                      <a:lnTo>
                        <a:pt x="131" y="103"/>
                      </a:lnTo>
                      <a:lnTo>
                        <a:pt x="131" y="103"/>
                      </a:lnTo>
                      <a:lnTo>
                        <a:pt x="126" y="99"/>
                      </a:lnTo>
                      <a:lnTo>
                        <a:pt x="122" y="91"/>
                      </a:lnTo>
                      <a:lnTo>
                        <a:pt x="118" y="84"/>
                      </a:lnTo>
                      <a:lnTo>
                        <a:pt x="116" y="80"/>
                      </a:lnTo>
                      <a:lnTo>
                        <a:pt x="116" y="80"/>
                      </a:lnTo>
                      <a:lnTo>
                        <a:pt x="115" y="77"/>
                      </a:lnTo>
                      <a:lnTo>
                        <a:pt x="112" y="74"/>
                      </a:lnTo>
                      <a:lnTo>
                        <a:pt x="109" y="71"/>
                      </a:lnTo>
                      <a:lnTo>
                        <a:pt x="105" y="70"/>
                      </a:lnTo>
                      <a:lnTo>
                        <a:pt x="105" y="70"/>
                      </a:lnTo>
                      <a:lnTo>
                        <a:pt x="102" y="68"/>
                      </a:lnTo>
                      <a:lnTo>
                        <a:pt x="100" y="64"/>
                      </a:lnTo>
                      <a:lnTo>
                        <a:pt x="97" y="59"/>
                      </a:lnTo>
                      <a:lnTo>
                        <a:pt x="94" y="58"/>
                      </a:lnTo>
                      <a:lnTo>
                        <a:pt x="94" y="58"/>
                      </a:lnTo>
                      <a:lnTo>
                        <a:pt x="93" y="57"/>
                      </a:lnTo>
                      <a:lnTo>
                        <a:pt x="94" y="54"/>
                      </a:lnTo>
                      <a:lnTo>
                        <a:pt x="99" y="46"/>
                      </a:lnTo>
                      <a:lnTo>
                        <a:pt x="99" y="46"/>
                      </a:lnTo>
                      <a:lnTo>
                        <a:pt x="100" y="45"/>
                      </a:lnTo>
                      <a:lnTo>
                        <a:pt x="99" y="43"/>
                      </a:lnTo>
                      <a:lnTo>
                        <a:pt x="97" y="43"/>
                      </a:lnTo>
                      <a:lnTo>
                        <a:pt x="94" y="42"/>
                      </a:lnTo>
                      <a:lnTo>
                        <a:pt x="94" y="42"/>
                      </a:lnTo>
                      <a:lnTo>
                        <a:pt x="93" y="41"/>
                      </a:lnTo>
                      <a:lnTo>
                        <a:pt x="93" y="39"/>
                      </a:lnTo>
                      <a:lnTo>
                        <a:pt x="97" y="38"/>
                      </a:lnTo>
                      <a:lnTo>
                        <a:pt x="97" y="38"/>
                      </a:lnTo>
                      <a:lnTo>
                        <a:pt x="105" y="32"/>
                      </a:lnTo>
                      <a:lnTo>
                        <a:pt x="112" y="29"/>
                      </a:lnTo>
                      <a:lnTo>
                        <a:pt x="112" y="29"/>
                      </a:lnTo>
                      <a:lnTo>
                        <a:pt x="112" y="29"/>
                      </a:lnTo>
                      <a:lnTo>
                        <a:pt x="115" y="22"/>
                      </a:lnTo>
                      <a:lnTo>
                        <a:pt x="116" y="16"/>
                      </a:lnTo>
                      <a:lnTo>
                        <a:pt x="116" y="16"/>
                      </a:lnTo>
                      <a:lnTo>
                        <a:pt x="112" y="12"/>
                      </a:lnTo>
                      <a:lnTo>
                        <a:pt x="106" y="7"/>
                      </a:lnTo>
                      <a:lnTo>
                        <a:pt x="99" y="3"/>
                      </a:lnTo>
                      <a:lnTo>
                        <a:pt x="93" y="0"/>
                      </a:lnTo>
                      <a:lnTo>
                        <a:pt x="93" y="0"/>
                      </a:lnTo>
                      <a:lnTo>
                        <a:pt x="87" y="0"/>
                      </a:lnTo>
                      <a:lnTo>
                        <a:pt x="81" y="3"/>
                      </a:lnTo>
                      <a:lnTo>
                        <a:pt x="77" y="6"/>
                      </a:lnTo>
                      <a:lnTo>
                        <a:pt x="73" y="7"/>
                      </a:lnTo>
                      <a:lnTo>
                        <a:pt x="73" y="7"/>
                      </a:lnTo>
                      <a:lnTo>
                        <a:pt x="68" y="9"/>
                      </a:lnTo>
                      <a:lnTo>
                        <a:pt x="64" y="13"/>
                      </a:lnTo>
                      <a:lnTo>
                        <a:pt x="60" y="17"/>
                      </a:lnTo>
                      <a:lnTo>
                        <a:pt x="57" y="19"/>
                      </a:lnTo>
                      <a:lnTo>
                        <a:pt x="57" y="19"/>
                      </a:lnTo>
                      <a:lnTo>
                        <a:pt x="41" y="19"/>
                      </a:lnTo>
                      <a:lnTo>
                        <a:pt x="29" y="19"/>
                      </a:lnTo>
                      <a:lnTo>
                        <a:pt x="22" y="20"/>
                      </a:lnTo>
                      <a:lnTo>
                        <a:pt x="22" y="20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9" y="33"/>
                      </a:lnTo>
                      <a:lnTo>
                        <a:pt x="9" y="33"/>
                      </a:lnTo>
                      <a:lnTo>
                        <a:pt x="9" y="36"/>
                      </a:lnTo>
                      <a:lnTo>
                        <a:pt x="6" y="38"/>
                      </a:lnTo>
                      <a:lnTo>
                        <a:pt x="2" y="43"/>
                      </a:lnTo>
                      <a:lnTo>
                        <a:pt x="2" y="43"/>
                      </a:lnTo>
                      <a:lnTo>
                        <a:pt x="0" y="45"/>
                      </a:lnTo>
                      <a:lnTo>
                        <a:pt x="2" y="48"/>
                      </a:lnTo>
                      <a:lnTo>
                        <a:pt x="3" y="52"/>
                      </a:lnTo>
                      <a:lnTo>
                        <a:pt x="8" y="58"/>
                      </a:lnTo>
                      <a:lnTo>
                        <a:pt x="10" y="64"/>
                      </a:lnTo>
                      <a:lnTo>
                        <a:pt x="10" y="64"/>
                      </a:lnTo>
                      <a:lnTo>
                        <a:pt x="13" y="77"/>
                      </a:lnTo>
                      <a:lnTo>
                        <a:pt x="13" y="77"/>
                      </a:lnTo>
                      <a:lnTo>
                        <a:pt x="28" y="65"/>
                      </a:lnTo>
                      <a:lnTo>
                        <a:pt x="35" y="58"/>
                      </a:lnTo>
                      <a:lnTo>
                        <a:pt x="35" y="58"/>
                      </a:lnTo>
                      <a:lnTo>
                        <a:pt x="38" y="58"/>
                      </a:lnTo>
                      <a:lnTo>
                        <a:pt x="39" y="58"/>
                      </a:lnTo>
                      <a:lnTo>
                        <a:pt x="45" y="59"/>
                      </a:lnTo>
                      <a:lnTo>
                        <a:pt x="57" y="65"/>
                      </a:lnTo>
                      <a:lnTo>
                        <a:pt x="57" y="65"/>
                      </a:lnTo>
                      <a:lnTo>
                        <a:pt x="60" y="68"/>
                      </a:lnTo>
                      <a:lnTo>
                        <a:pt x="63" y="72"/>
                      </a:lnTo>
                      <a:lnTo>
                        <a:pt x="70" y="85"/>
                      </a:lnTo>
                      <a:lnTo>
                        <a:pt x="70" y="85"/>
                      </a:lnTo>
                      <a:lnTo>
                        <a:pt x="74" y="94"/>
                      </a:lnTo>
                      <a:lnTo>
                        <a:pt x="81" y="101"/>
                      </a:lnTo>
                      <a:lnTo>
                        <a:pt x="93" y="113"/>
                      </a:lnTo>
                      <a:lnTo>
                        <a:pt x="93" y="113"/>
                      </a:lnTo>
                      <a:lnTo>
                        <a:pt x="100" y="117"/>
                      </a:lnTo>
                      <a:lnTo>
                        <a:pt x="112" y="126"/>
                      </a:lnTo>
                      <a:lnTo>
                        <a:pt x="131" y="139"/>
                      </a:lnTo>
                      <a:lnTo>
                        <a:pt x="131" y="139"/>
                      </a:lnTo>
                      <a:lnTo>
                        <a:pt x="135" y="142"/>
                      </a:lnTo>
                      <a:lnTo>
                        <a:pt x="138" y="148"/>
                      </a:lnTo>
                      <a:lnTo>
                        <a:pt x="141" y="151"/>
                      </a:lnTo>
                      <a:lnTo>
                        <a:pt x="144" y="154"/>
                      </a:lnTo>
                      <a:lnTo>
                        <a:pt x="144" y="154"/>
                      </a:lnTo>
                      <a:lnTo>
                        <a:pt x="150" y="158"/>
                      </a:lnTo>
                      <a:lnTo>
                        <a:pt x="152" y="161"/>
                      </a:lnTo>
                      <a:lnTo>
                        <a:pt x="154" y="164"/>
                      </a:lnTo>
                      <a:lnTo>
                        <a:pt x="154" y="164"/>
                      </a:lnTo>
                      <a:lnTo>
                        <a:pt x="158" y="171"/>
                      </a:lnTo>
                      <a:lnTo>
                        <a:pt x="158" y="175"/>
                      </a:lnTo>
                      <a:lnTo>
                        <a:pt x="160" y="180"/>
                      </a:lnTo>
                      <a:lnTo>
                        <a:pt x="160" y="180"/>
                      </a:lnTo>
                      <a:lnTo>
                        <a:pt x="158" y="184"/>
                      </a:lnTo>
                      <a:lnTo>
                        <a:pt x="155" y="191"/>
                      </a:lnTo>
                      <a:lnTo>
                        <a:pt x="152" y="197"/>
                      </a:lnTo>
                      <a:lnTo>
                        <a:pt x="154" y="200"/>
                      </a:lnTo>
                      <a:lnTo>
                        <a:pt x="154" y="200"/>
                      </a:lnTo>
                      <a:lnTo>
                        <a:pt x="154" y="200"/>
                      </a:lnTo>
                      <a:lnTo>
                        <a:pt x="155" y="200"/>
                      </a:lnTo>
                      <a:lnTo>
                        <a:pt x="160" y="196"/>
                      </a:lnTo>
                      <a:lnTo>
                        <a:pt x="164" y="187"/>
                      </a:lnTo>
                      <a:lnTo>
                        <a:pt x="164" y="187"/>
                      </a:lnTo>
                      <a:lnTo>
                        <a:pt x="167" y="178"/>
                      </a:lnTo>
                      <a:lnTo>
                        <a:pt x="170" y="170"/>
                      </a:lnTo>
                      <a:lnTo>
                        <a:pt x="170" y="170"/>
                      </a:lnTo>
                      <a:lnTo>
                        <a:pt x="170" y="165"/>
                      </a:lnTo>
                      <a:lnTo>
                        <a:pt x="167" y="164"/>
                      </a:lnTo>
                      <a:lnTo>
                        <a:pt x="163" y="159"/>
                      </a:lnTo>
                      <a:lnTo>
                        <a:pt x="163" y="159"/>
                      </a:lnTo>
                      <a:lnTo>
                        <a:pt x="163" y="156"/>
                      </a:lnTo>
                      <a:lnTo>
                        <a:pt x="165" y="152"/>
                      </a:lnTo>
                      <a:lnTo>
                        <a:pt x="170" y="148"/>
                      </a:lnTo>
                      <a:lnTo>
                        <a:pt x="170" y="148"/>
                      </a:lnTo>
                      <a:lnTo>
                        <a:pt x="171" y="148"/>
                      </a:lnTo>
                      <a:lnTo>
                        <a:pt x="176" y="148"/>
                      </a:lnTo>
                      <a:lnTo>
                        <a:pt x="183" y="152"/>
                      </a:lnTo>
                      <a:lnTo>
                        <a:pt x="183" y="152"/>
                      </a:lnTo>
                      <a:lnTo>
                        <a:pt x="187" y="154"/>
                      </a:lnTo>
                      <a:lnTo>
                        <a:pt x="190" y="154"/>
                      </a:lnTo>
                      <a:lnTo>
                        <a:pt x="193" y="152"/>
                      </a:lnTo>
                      <a:lnTo>
                        <a:pt x="194" y="151"/>
                      </a:lnTo>
                      <a:lnTo>
                        <a:pt x="194" y="151"/>
                      </a:lnTo>
                      <a:lnTo>
                        <a:pt x="193" y="148"/>
                      </a:lnTo>
                      <a:lnTo>
                        <a:pt x="190" y="142"/>
                      </a:lnTo>
                      <a:lnTo>
                        <a:pt x="181" y="133"/>
                      </a:lnTo>
                      <a:close/>
                      <a:moveTo>
                        <a:pt x="93" y="70"/>
                      </a:moveTo>
                      <a:lnTo>
                        <a:pt x="93" y="70"/>
                      </a:lnTo>
                      <a:lnTo>
                        <a:pt x="92" y="70"/>
                      </a:lnTo>
                      <a:lnTo>
                        <a:pt x="90" y="68"/>
                      </a:lnTo>
                      <a:lnTo>
                        <a:pt x="90" y="67"/>
                      </a:lnTo>
                      <a:lnTo>
                        <a:pt x="93" y="65"/>
                      </a:lnTo>
                      <a:lnTo>
                        <a:pt x="93" y="65"/>
                      </a:lnTo>
                      <a:lnTo>
                        <a:pt x="94" y="65"/>
                      </a:lnTo>
                      <a:lnTo>
                        <a:pt x="96" y="67"/>
                      </a:lnTo>
                      <a:lnTo>
                        <a:pt x="93" y="70"/>
                      </a:lnTo>
                      <a:close/>
                      <a:moveTo>
                        <a:pt x="103" y="113"/>
                      </a:moveTo>
                      <a:lnTo>
                        <a:pt x="103" y="113"/>
                      </a:lnTo>
                      <a:lnTo>
                        <a:pt x="102" y="113"/>
                      </a:lnTo>
                      <a:lnTo>
                        <a:pt x="100" y="112"/>
                      </a:lnTo>
                      <a:lnTo>
                        <a:pt x="102" y="109"/>
                      </a:lnTo>
                      <a:lnTo>
                        <a:pt x="102" y="109"/>
                      </a:lnTo>
                      <a:lnTo>
                        <a:pt x="103" y="110"/>
                      </a:lnTo>
                      <a:lnTo>
                        <a:pt x="103" y="112"/>
                      </a:lnTo>
                      <a:lnTo>
                        <a:pt x="103" y="113"/>
                      </a:lnTo>
                      <a:lnTo>
                        <a:pt x="103" y="11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61" name="Freeform 1116"/>
                <p:cNvSpPr>
                  <a:spLocks/>
                </p:cNvSpPr>
                <p:nvPr/>
              </p:nvSpPr>
              <p:spPr bwMode="auto">
                <a:xfrm>
                  <a:off x="4513634" y="2485172"/>
                  <a:ext cx="191916" cy="197852"/>
                </a:xfrm>
                <a:custGeom>
                  <a:avLst/>
                  <a:gdLst>
                    <a:gd name="T0" fmla="*/ 176 w 194"/>
                    <a:gd name="T1" fmla="*/ 130 h 200"/>
                    <a:gd name="T2" fmla="*/ 157 w 194"/>
                    <a:gd name="T3" fmla="*/ 125 h 200"/>
                    <a:gd name="T4" fmla="*/ 155 w 194"/>
                    <a:gd name="T5" fmla="*/ 113 h 200"/>
                    <a:gd name="T6" fmla="*/ 151 w 194"/>
                    <a:gd name="T7" fmla="*/ 112 h 200"/>
                    <a:gd name="T8" fmla="*/ 139 w 194"/>
                    <a:gd name="T9" fmla="*/ 112 h 200"/>
                    <a:gd name="T10" fmla="*/ 131 w 194"/>
                    <a:gd name="T11" fmla="*/ 103 h 200"/>
                    <a:gd name="T12" fmla="*/ 118 w 194"/>
                    <a:gd name="T13" fmla="*/ 84 h 200"/>
                    <a:gd name="T14" fmla="*/ 115 w 194"/>
                    <a:gd name="T15" fmla="*/ 77 h 200"/>
                    <a:gd name="T16" fmla="*/ 105 w 194"/>
                    <a:gd name="T17" fmla="*/ 70 h 200"/>
                    <a:gd name="T18" fmla="*/ 100 w 194"/>
                    <a:gd name="T19" fmla="*/ 64 h 200"/>
                    <a:gd name="T20" fmla="*/ 94 w 194"/>
                    <a:gd name="T21" fmla="*/ 58 h 200"/>
                    <a:gd name="T22" fmla="*/ 99 w 194"/>
                    <a:gd name="T23" fmla="*/ 46 h 200"/>
                    <a:gd name="T24" fmla="*/ 99 w 194"/>
                    <a:gd name="T25" fmla="*/ 43 h 200"/>
                    <a:gd name="T26" fmla="*/ 94 w 194"/>
                    <a:gd name="T27" fmla="*/ 42 h 200"/>
                    <a:gd name="T28" fmla="*/ 97 w 194"/>
                    <a:gd name="T29" fmla="*/ 38 h 200"/>
                    <a:gd name="T30" fmla="*/ 112 w 194"/>
                    <a:gd name="T31" fmla="*/ 29 h 200"/>
                    <a:gd name="T32" fmla="*/ 115 w 194"/>
                    <a:gd name="T33" fmla="*/ 22 h 200"/>
                    <a:gd name="T34" fmla="*/ 112 w 194"/>
                    <a:gd name="T35" fmla="*/ 12 h 200"/>
                    <a:gd name="T36" fmla="*/ 93 w 194"/>
                    <a:gd name="T37" fmla="*/ 0 h 200"/>
                    <a:gd name="T38" fmla="*/ 81 w 194"/>
                    <a:gd name="T39" fmla="*/ 3 h 200"/>
                    <a:gd name="T40" fmla="*/ 73 w 194"/>
                    <a:gd name="T41" fmla="*/ 7 h 200"/>
                    <a:gd name="T42" fmla="*/ 60 w 194"/>
                    <a:gd name="T43" fmla="*/ 17 h 200"/>
                    <a:gd name="T44" fmla="*/ 41 w 194"/>
                    <a:gd name="T45" fmla="*/ 19 h 200"/>
                    <a:gd name="T46" fmla="*/ 22 w 194"/>
                    <a:gd name="T47" fmla="*/ 20 h 200"/>
                    <a:gd name="T48" fmla="*/ 9 w 194"/>
                    <a:gd name="T49" fmla="*/ 33 h 200"/>
                    <a:gd name="T50" fmla="*/ 6 w 194"/>
                    <a:gd name="T51" fmla="*/ 38 h 200"/>
                    <a:gd name="T52" fmla="*/ 0 w 194"/>
                    <a:gd name="T53" fmla="*/ 45 h 200"/>
                    <a:gd name="T54" fmla="*/ 8 w 194"/>
                    <a:gd name="T55" fmla="*/ 58 h 200"/>
                    <a:gd name="T56" fmla="*/ 13 w 194"/>
                    <a:gd name="T57" fmla="*/ 77 h 200"/>
                    <a:gd name="T58" fmla="*/ 35 w 194"/>
                    <a:gd name="T59" fmla="*/ 58 h 200"/>
                    <a:gd name="T60" fmla="*/ 39 w 194"/>
                    <a:gd name="T61" fmla="*/ 58 h 200"/>
                    <a:gd name="T62" fmla="*/ 57 w 194"/>
                    <a:gd name="T63" fmla="*/ 65 h 200"/>
                    <a:gd name="T64" fmla="*/ 70 w 194"/>
                    <a:gd name="T65" fmla="*/ 85 h 200"/>
                    <a:gd name="T66" fmla="*/ 81 w 194"/>
                    <a:gd name="T67" fmla="*/ 101 h 200"/>
                    <a:gd name="T68" fmla="*/ 100 w 194"/>
                    <a:gd name="T69" fmla="*/ 117 h 200"/>
                    <a:gd name="T70" fmla="*/ 131 w 194"/>
                    <a:gd name="T71" fmla="*/ 139 h 200"/>
                    <a:gd name="T72" fmla="*/ 141 w 194"/>
                    <a:gd name="T73" fmla="*/ 151 h 200"/>
                    <a:gd name="T74" fmla="*/ 150 w 194"/>
                    <a:gd name="T75" fmla="*/ 158 h 200"/>
                    <a:gd name="T76" fmla="*/ 154 w 194"/>
                    <a:gd name="T77" fmla="*/ 164 h 200"/>
                    <a:gd name="T78" fmla="*/ 160 w 194"/>
                    <a:gd name="T79" fmla="*/ 180 h 200"/>
                    <a:gd name="T80" fmla="*/ 155 w 194"/>
                    <a:gd name="T81" fmla="*/ 191 h 200"/>
                    <a:gd name="T82" fmla="*/ 154 w 194"/>
                    <a:gd name="T83" fmla="*/ 200 h 200"/>
                    <a:gd name="T84" fmla="*/ 160 w 194"/>
                    <a:gd name="T85" fmla="*/ 196 h 200"/>
                    <a:gd name="T86" fmla="*/ 167 w 194"/>
                    <a:gd name="T87" fmla="*/ 178 h 200"/>
                    <a:gd name="T88" fmla="*/ 170 w 194"/>
                    <a:gd name="T89" fmla="*/ 165 h 200"/>
                    <a:gd name="T90" fmla="*/ 163 w 194"/>
                    <a:gd name="T91" fmla="*/ 159 h 200"/>
                    <a:gd name="T92" fmla="*/ 170 w 194"/>
                    <a:gd name="T93" fmla="*/ 148 h 200"/>
                    <a:gd name="T94" fmla="*/ 176 w 194"/>
                    <a:gd name="T95" fmla="*/ 148 h 200"/>
                    <a:gd name="T96" fmla="*/ 187 w 194"/>
                    <a:gd name="T97" fmla="*/ 154 h 200"/>
                    <a:gd name="T98" fmla="*/ 194 w 194"/>
                    <a:gd name="T99" fmla="*/ 151 h 200"/>
                    <a:gd name="T100" fmla="*/ 190 w 194"/>
                    <a:gd name="T101" fmla="*/ 142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94" h="200">
                      <a:moveTo>
                        <a:pt x="181" y="133"/>
                      </a:moveTo>
                      <a:lnTo>
                        <a:pt x="181" y="133"/>
                      </a:lnTo>
                      <a:lnTo>
                        <a:pt x="176" y="130"/>
                      </a:lnTo>
                      <a:lnTo>
                        <a:pt x="168" y="127"/>
                      </a:lnTo>
                      <a:lnTo>
                        <a:pt x="157" y="125"/>
                      </a:lnTo>
                      <a:lnTo>
                        <a:pt x="157" y="125"/>
                      </a:lnTo>
                      <a:lnTo>
                        <a:pt x="154" y="123"/>
                      </a:lnTo>
                      <a:lnTo>
                        <a:pt x="154" y="120"/>
                      </a:lnTo>
                      <a:lnTo>
                        <a:pt x="155" y="113"/>
                      </a:lnTo>
                      <a:lnTo>
                        <a:pt x="155" y="113"/>
                      </a:lnTo>
                      <a:lnTo>
                        <a:pt x="154" y="112"/>
                      </a:lnTo>
                      <a:lnTo>
                        <a:pt x="151" y="112"/>
                      </a:lnTo>
                      <a:lnTo>
                        <a:pt x="142" y="112"/>
                      </a:lnTo>
                      <a:lnTo>
                        <a:pt x="142" y="112"/>
                      </a:lnTo>
                      <a:lnTo>
                        <a:pt x="139" y="112"/>
                      </a:lnTo>
                      <a:lnTo>
                        <a:pt x="136" y="110"/>
                      </a:lnTo>
                      <a:lnTo>
                        <a:pt x="131" y="103"/>
                      </a:lnTo>
                      <a:lnTo>
                        <a:pt x="131" y="103"/>
                      </a:lnTo>
                      <a:lnTo>
                        <a:pt x="126" y="99"/>
                      </a:lnTo>
                      <a:lnTo>
                        <a:pt x="122" y="91"/>
                      </a:lnTo>
                      <a:lnTo>
                        <a:pt x="118" y="84"/>
                      </a:lnTo>
                      <a:lnTo>
                        <a:pt x="116" y="80"/>
                      </a:lnTo>
                      <a:lnTo>
                        <a:pt x="116" y="80"/>
                      </a:lnTo>
                      <a:lnTo>
                        <a:pt x="115" y="77"/>
                      </a:lnTo>
                      <a:lnTo>
                        <a:pt x="112" y="74"/>
                      </a:lnTo>
                      <a:lnTo>
                        <a:pt x="109" y="71"/>
                      </a:lnTo>
                      <a:lnTo>
                        <a:pt x="105" y="70"/>
                      </a:lnTo>
                      <a:lnTo>
                        <a:pt x="105" y="70"/>
                      </a:lnTo>
                      <a:lnTo>
                        <a:pt x="102" y="68"/>
                      </a:lnTo>
                      <a:lnTo>
                        <a:pt x="100" y="64"/>
                      </a:lnTo>
                      <a:lnTo>
                        <a:pt x="97" y="59"/>
                      </a:lnTo>
                      <a:lnTo>
                        <a:pt x="94" y="58"/>
                      </a:lnTo>
                      <a:lnTo>
                        <a:pt x="94" y="58"/>
                      </a:lnTo>
                      <a:lnTo>
                        <a:pt x="93" y="57"/>
                      </a:lnTo>
                      <a:lnTo>
                        <a:pt x="94" y="54"/>
                      </a:lnTo>
                      <a:lnTo>
                        <a:pt x="99" y="46"/>
                      </a:lnTo>
                      <a:lnTo>
                        <a:pt x="99" y="46"/>
                      </a:lnTo>
                      <a:lnTo>
                        <a:pt x="100" y="45"/>
                      </a:lnTo>
                      <a:lnTo>
                        <a:pt x="99" y="43"/>
                      </a:lnTo>
                      <a:lnTo>
                        <a:pt x="97" y="43"/>
                      </a:lnTo>
                      <a:lnTo>
                        <a:pt x="94" y="42"/>
                      </a:lnTo>
                      <a:lnTo>
                        <a:pt x="94" y="42"/>
                      </a:lnTo>
                      <a:lnTo>
                        <a:pt x="93" y="41"/>
                      </a:lnTo>
                      <a:lnTo>
                        <a:pt x="93" y="39"/>
                      </a:lnTo>
                      <a:lnTo>
                        <a:pt x="97" y="38"/>
                      </a:lnTo>
                      <a:lnTo>
                        <a:pt x="97" y="38"/>
                      </a:lnTo>
                      <a:lnTo>
                        <a:pt x="105" y="32"/>
                      </a:lnTo>
                      <a:lnTo>
                        <a:pt x="112" y="29"/>
                      </a:lnTo>
                      <a:lnTo>
                        <a:pt x="112" y="29"/>
                      </a:lnTo>
                      <a:lnTo>
                        <a:pt x="112" y="29"/>
                      </a:lnTo>
                      <a:lnTo>
                        <a:pt x="115" y="22"/>
                      </a:lnTo>
                      <a:lnTo>
                        <a:pt x="116" y="16"/>
                      </a:lnTo>
                      <a:lnTo>
                        <a:pt x="116" y="16"/>
                      </a:lnTo>
                      <a:lnTo>
                        <a:pt x="112" y="12"/>
                      </a:lnTo>
                      <a:lnTo>
                        <a:pt x="106" y="7"/>
                      </a:lnTo>
                      <a:lnTo>
                        <a:pt x="99" y="3"/>
                      </a:lnTo>
                      <a:lnTo>
                        <a:pt x="93" y="0"/>
                      </a:lnTo>
                      <a:lnTo>
                        <a:pt x="93" y="0"/>
                      </a:lnTo>
                      <a:lnTo>
                        <a:pt x="87" y="0"/>
                      </a:lnTo>
                      <a:lnTo>
                        <a:pt x="81" y="3"/>
                      </a:lnTo>
                      <a:lnTo>
                        <a:pt x="77" y="6"/>
                      </a:lnTo>
                      <a:lnTo>
                        <a:pt x="73" y="7"/>
                      </a:lnTo>
                      <a:lnTo>
                        <a:pt x="73" y="7"/>
                      </a:lnTo>
                      <a:lnTo>
                        <a:pt x="68" y="9"/>
                      </a:lnTo>
                      <a:lnTo>
                        <a:pt x="64" y="13"/>
                      </a:lnTo>
                      <a:lnTo>
                        <a:pt x="60" y="17"/>
                      </a:lnTo>
                      <a:lnTo>
                        <a:pt x="57" y="19"/>
                      </a:lnTo>
                      <a:lnTo>
                        <a:pt x="57" y="19"/>
                      </a:lnTo>
                      <a:lnTo>
                        <a:pt x="41" y="19"/>
                      </a:lnTo>
                      <a:lnTo>
                        <a:pt x="29" y="19"/>
                      </a:lnTo>
                      <a:lnTo>
                        <a:pt x="22" y="20"/>
                      </a:lnTo>
                      <a:lnTo>
                        <a:pt x="22" y="20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9" y="33"/>
                      </a:lnTo>
                      <a:lnTo>
                        <a:pt x="9" y="33"/>
                      </a:lnTo>
                      <a:lnTo>
                        <a:pt x="9" y="36"/>
                      </a:lnTo>
                      <a:lnTo>
                        <a:pt x="6" y="38"/>
                      </a:lnTo>
                      <a:lnTo>
                        <a:pt x="2" y="43"/>
                      </a:lnTo>
                      <a:lnTo>
                        <a:pt x="2" y="43"/>
                      </a:lnTo>
                      <a:lnTo>
                        <a:pt x="0" y="45"/>
                      </a:lnTo>
                      <a:lnTo>
                        <a:pt x="2" y="48"/>
                      </a:lnTo>
                      <a:lnTo>
                        <a:pt x="3" y="52"/>
                      </a:lnTo>
                      <a:lnTo>
                        <a:pt x="8" y="58"/>
                      </a:lnTo>
                      <a:lnTo>
                        <a:pt x="10" y="64"/>
                      </a:lnTo>
                      <a:lnTo>
                        <a:pt x="10" y="64"/>
                      </a:lnTo>
                      <a:lnTo>
                        <a:pt x="13" y="77"/>
                      </a:lnTo>
                      <a:lnTo>
                        <a:pt x="13" y="77"/>
                      </a:lnTo>
                      <a:lnTo>
                        <a:pt x="28" y="65"/>
                      </a:lnTo>
                      <a:lnTo>
                        <a:pt x="35" y="58"/>
                      </a:lnTo>
                      <a:lnTo>
                        <a:pt x="35" y="58"/>
                      </a:lnTo>
                      <a:lnTo>
                        <a:pt x="38" y="58"/>
                      </a:lnTo>
                      <a:lnTo>
                        <a:pt x="39" y="58"/>
                      </a:lnTo>
                      <a:lnTo>
                        <a:pt x="45" y="59"/>
                      </a:lnTo>
                      <a:lnTo>
                        <a:pt x="57" y="65"/>
                      </a:lnTo>
                      <a:lnTo>
                        <a:pt x="57" y="65"/>
                      </a:lnTo>
                      <a:lnTo>
                        <a:pt x="60" y="68"/>
                      </a:lnTo>
                      <a:lnTo>
                        <a:pt x="63" y="72"/>
                      </a:lnTo>
                      <a:lnTo>
                        <a:pt x="70" y="85"/>
                      </a:lnTo>
                      <a:lnTo>
                        <a:pt x="70" y="85"/>
                      </a:lnTo>
                      <a:lnTo>
                        <a:pt x="74" y="94"/>
                      </a:lnTo>
                      <a:lnTo>
                        <a:pt x="81" y="101"/>
                      </a:lnTo>
                      <a:lnTo>
                        <a:pt x="93" y="113"/>
                      </a:lnTo>
                      <a:lnTo>
                        <a:pt x="93" y="113"/>
                      </a:lnTo>
                      <a:lnTo>
                        <a:pt x="100" y="117"/>
                      </a:lnTo>
                      <a:lnTo>
                        <a:pt x="112" y="126"/>
                      </a:lnTo>
                      <a:lnTo>
                        <a:pt x="131" y="139"/>
                      </a:lnTo>
                      <a:lnTo>
                        <a:pt x="131" y="139"/>
                      </a:lnTo>
                      <a:lnTo>
                        <a:pt x="135" y="142"/>
                      </a:lnTo>
                      <a:lnTo>
                        <a:pt x="138" y="148"/>
                      </a:lnTo>
                      <a:lnTo>
                        <a:pt x="141" y="151"/>
                      </a:lnTo>
                      <a:lnTo>
                        <a:pt x="144" y="154"/>
                      </a:lnTo>
                      <a:lnTo>
                        <a:pt x="144" y="154"/>
                      </a:lnTo>
                      <a:lnTo>
                        <a:pt x="150" y="158"/>
                      </a:lnTo>
                      <a:lnTo>
                        <a:pt x="152" y="161"/>
                      </a:lnTo>
                      <a:lnTo>
                        <a:pt x="154" y="164"/>
                      </a:lnTo>
                      <a:lnTo>
                        <a:pt x="154" y="164"/>
                      </a:lnTo>
                      <a:lnTo>
                        <a:pt x="158" y="171"/>
                      </a:lnTo>
                      <a:lnTo>
                        <a:pt x="158" y="175"/>
                      </a:lnTo>
                      <a:lnTo>
                        <a:pt x="160" y="180"/>
                      </a:lnTo>
                      <a:lnTo>
                        <a:pt x="160" y="180"/>
                      </a:lnTo>
                      <a:lnTo>
                        <a:pt x="158" y="184"/>
                      </a:lnTo>
                      <a:lnTo>
                        <a:pt x="155" y="191"/>
                      </a:lnTo>
                      <a:lnTo>
                        <a:pt x="152" y="197"/>
                      </a:lnTo>
                      <a:lnTo>
                        <a:pt x="154" y="200"/>
                      </a:lnTo>
                      <a:lnTo>
                        <a:pt x="154" y="200"/>
                      </a:lnTo>
                      <a:lnTo>
                        <a:pt x="154" y="200"/>
                      </a:lnTo>
                      <a:lnTo>
                        <a:pt x="155" y="200"/>
                      </a:lnTo>
                      <a:lnTo>
                        <a:pt x="160" y="196"/>
                      </a:lnTo>
                      <a:lnTo>
                        <a:pt x="164" y="187"/>
                      </a:lnTo>
                      <a:lnTo>
                        <a:pt x="164" y="187"/>
                      </a:lnTo>
                      <a:lnTo>
                        <a:pt x="167" y="178"/>
                      </a:lnTo>
                      <a:lnTo>
                        <a:pt x="170" y="170"/>
                      </a:lnTo>
                      <a:lnTo>
                        <a:pt x="170" y="170"/>
                      </a:lnTo>
                      <a:lnTo>
                        <a:pt x="170" y="165"/>
                      </a:lnTo>
                      <a:lnTo>
                        <a:pt x="167" y="164"/>
                      </a:lnTo>
                      <a:lnTo>
                        <a:pt x="163" y="159"/>
                      </a:lnTo>
                      <a:lnTo>
                        <a:pt x="163" y="159"/>
                      </a:lnTo>
                      <a:lnTo>
                        <a:pt x="163" y="156"/>
                      </a:lnTo>
                      <a:lnTo>
                        <a:pt x="165" y="152"/>
                      </a:lnTo>
                      <a:lnTo>
                        <a:pt x="170" y="148"/>
                      </a:lnTo>
                      <a:lnTo>
                        <a:pt x="170" y="148"/>
                      </a:lnTo>
                      <a:lnTo>
                        <a:pt x="171" y="148"/>
                      </a:lnTo>
                      <a:lnTo>
                        <a:pt x="176" y="148"/>
                      </a:lnTo>
                      <a:lnTo>
                        <a:pt x="183" y="152"/>
                      </a:lnTo>
                      <a:lnTo>
                        <a:pt x="183" y="152"/>
                      </a:lnTo>
                      <a:lnTo>
                        <a:pt x="187" y="154"/>
                      </a:lnTo>
                      <a:lnTo>
                        <a:pt x="190" y="154"/>
                      </a:lnTo>
                      <a:lnTo>
                        <a:pt x="193" y="152"/>
                      </a:lnTo>
                      <a:lnTo>
                        <a:pt x="194" y="151"/>
                      </a:lnTo>
                      <a:lnTo>
                        <a:pt x="194" y="151"/>
                      </a:lnTo>
                      <a:lnTo>
                        <a:pt x="193" y="148"/>
                      </a:lnTo>
                      <a:lnTo>
                        <a:pt x="190" y="142"/>
                      </a:lnTo>
                      <a:lnTo>
                        <a:pt x="181" y="13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62" name="Freeform 1117"/>
                <p:cNvSpPr>
                  <a:spLocks/>
                </p:cNvSpPr>
                <p:nvPr/>
              </p:nvSpPr>
              <p:spPr bwMode="auto">
                <a:xfrm>
                  <a:off x="4602667" y="2549473"/>
                  <a:ext cx="5936" cy="4946"/>
                </a:xfrm>
                <a:custGeom>
                  <a:avLst/>
                  <a:gdLst>
                    <a:gd name="T0" fmla="*/ 3 w 6"/>
                    <a:gd name="T1" fmla="*/ 5 h 5"/>
                    <a:gd name="T2" fmla="*/ 3 w 6"/>
                    <a:gd name="T3" fmla="*/ 5 h 5"/>
                    <a:gd name="T4" fmla="*/ 2 w 6"/>
                    <a:gd name="T5" fmla="*/ 5 h 5"/>
                    <a:gd name="T6" fmla="*/ 0 w 6"/>
                    <a:gd name="T7" fmla="*/ 3 h 5"/>
                    <a:gd name="T8" fmla="*/ 0 w 6"/>
                    <a:gd name="T9" fmla="*/ 2 h 5"/>
                    <a:gd name="T10" fmla="*/ 3 w 6"/>
                    <a:gd name="T11" fmla="*/ 0 h 5"/>
                    <a:gd name="T12" fmla="*/ 3 w 6"/>
                    <a:gd name="T13" fmla="*/ 0 h 5"/>
                    <a:gd name="T14" fmla="*/ 4 w 6"/>
                    <a:gd name="T15" fmla="*/ 0 h 5"/>
                    <a:gd name="T16" fmla="*/ 6 w 6"/>
                    <a:gd name="T17" fmla="*/ 2 h 5"/>
                    <a:gd name="T18" fmla="*/ 3 w 6"/>
                    <a:gd name="T1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5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3" y="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63" name="Freeform 1118"/>
                <p:cNvSpPr>
                  <a:spLocks/>
                </p:cNvSpPr>
                <p:nvPr/>
              </p:nvSpPr>
              <p:spPr bwMode="auto">
                <a:xfrm>
                  <a:off x="4612560" y="2593001"/>
                  <a:ext cx="2968" cy="3957"/>
                </a:xfrm>
                <a:custGeom>
                  <a:avLst/>
                  <a:gdLst>
                    <a:gd name="T0" fmla="*/ 3 w 3"/>
                    <a:gd name="T1" fmla="*/ 4 h 4"/>
                    <a:gd name="T2" fmla="*/ 3 w 3"/>
                    <a:gd name="T3" fmla="*/ 4 h 4"/>
                    <a:gd name="T4" fmla="*/ 2 w 3"/>
                    <a:gd name="T5" fmla="*/ 4 h 4"/>
                    <a:gd name="T6" fmla="*/ 0 w 3"/>
                    <a:gd name="T7" fmla="*/ 3 h 4"/>
                    <a:gd name="T8" fmla="*/ 2 w 3"/>
                    <a:gd name="T9" fmla="*/ 0 h 4"/>
                    <a:gd name="T10" fmla="*/ 2 w 3"/>
                    <a:gd name="T11" fmla="*/ 0 h 4"/>
                    <a:gd name="T12" fmla="*/ 3 w 3"/>
                    <a:gd name="T13" fmla="*/ 1 h 4"/>
                    <a:gd name="T14" fmla="*/ 3 w 3"/>
                    <a:gd name="T15" fmla="*/ 3 h 4"/>
                    <a:gd name="T16" fmla="*/ 3 w 3"/>
                    <a:gd name="T17" fmla="*/ 4 h 4"/>
                    <a:gd name="T18" fmla="*/ 3 w 3"/>
                    <a:gd name="T1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64" name="Freeform 1119"/>
                <p:cNvSpPr>
                  <a:spLocks/>
                </p:cNvSpPr>
                <p:nvPr/>
              </p:nvSpPr>
              <p:spPr bwMode="auto">
                <a:xfrm>
                  <a:off x="4602667" y="2549473"/>
                  <a:ext cx="5936" cy="4946"/>
                </a:xfrm>
                <a:custGeom>
                  <a:avLst/>
                  <a:gdLst>
                    <a:gd name="T0" fmla="*/ 3 w 6"/>
                    <a:gd name="T1" fmla="*/ 0 h 5"/>
                    <a:gd name="T2" fmla="*/ 3 w 6"/>
                    <a:gd name="T3" fmla="*/ 0 h 5"/>
                    <a:gd name="T4" fmla="*/ 0 w 6"/>
                    <a:gd name="T5" fmla="*/ 2 h 5"/>
                    <a:gd name="T6" fmla="*/ 0 w 6"/>
                    <a:gd name="T7" fmla="*/ 3 h 5"/>
                    <a:gd name="T8" fmla="*/ 2 w 6"/>
                    <a:gd name="T9" fmla="*/ 5 h 5"/>
                    <a:gd name="T10" fmla="*/ 3 w 6"/>
                    <a:gd name="T11" fmla="*/ 5 h 5"/>
                    <a:gd name="T12" fmla="*/ 3 w 6"/>
                    <a:gd name="T13" fmla="*/ 5 h 5"/>
                    <a:gd name="T14" fmla="*/ 6 w 6"/>
                    <a:gd name="T15" fmla="*/ 2 h 5"/>
                    <a:gd name="T16" fmla="*/ 4 w 6"/>
                    <a:gd name="T17" fmla="*/ 0 h 5"/>
                    <a:gd name="T18" fmla="*/ 3 w 6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5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65" name="Freeform 1120"/>
                <p:cNvSpPr>
                  <a:spLocks/>
                </p:cNvSpPr>
                <p:nvPr/>
              </p:nvSpPr>
              <p:spPr bwMode="auto">
                <a:xfrm>
                  <a:off x="4602667" y="2549473"/>
                  <a:ext cx="5936" cy="4946"/>
                </a:xfrm>
                <a:custGeom>
                  <a:avLst/>
                  <a:gdLst>
                    <a:gd name="T0" fmla="*/ 3 w 6"/>
                    <a:gd name="T1" fmla="*/ 0 h 5"/>
                    <a:gd name="T2" fmla="*/ 3 w 6"/>
                    <a:gd name="T3" fmla="*/ 0 h 5"/>
                    <a:gd name="T4" fmla="*/ 0 w 6"/>
                    <a:gd name="T5" fmla="*/ 2 h 5"/>
                    <a:gd name="T6" fmla="*/ 0 w 6"/>
                    <a:gd name="T7" fmla="*/ 3 h 5"/>
                    <a:gd name="T8" fmla="*/ 2 w 6"/>
                    <a:gd name="T9" fmla="*/ 5 h 5"/>
                    <a:gd name="T10" fmla="*/ 3 w 6"/>
                    <a:gd name="T11" fmla="*/ 5 h 5"/>
                    <a:gd name="T12" fmla="*/ 3 w 6"/>
                    <a:gd name="T13" fmla="*/ 5 h 5"/>
                    <a:gd name="T14" fmla="*/ 6 w 6"/>
                    <a:gd name="T15" fmla="*/ 2 h 5"/>
                    <a:gd name="T16" fmla="*/ 4 w 6"/>
                    <a:gd name="T17" fmla="*/ 0 h 5"/>
                    <a:gd name="T18" fmla="*/ 3 w 6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5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66" name="Freeform 1121"/>
                <p:cNvSpPr>
                  <a:spLocks/>
                </p:cNvSpPr>
                <p:nvPr/>
              </p:nvSpPr>
              <p:spPr bwMode="auto">
                <a:xfrm>
                  <a:off x="4612560" y="2593001"/>
                  <a:ext cx="2968" cy="3957"/>
                </a:xfrm>
                <a:custGeom>
                  <a:avLst/>
                  <a:gdLst>
                    <a:gd name="T0" fmla="*/ 2 w 3"/>
                    <a:gd name="T1" fmla="*/ 0 h 4"/>
                    <a:gd name="T2" fmla="*/ 2 w 3"/>
                    <a:gd name="T3" fmla="*/ 0 h 4"/>
                    <a:gd name="T4" fmla="*/ 0 w 3"/>
                    <a:gd name="T5" fmla="*/ 3 h 4"/>
                    <a:gd name="T6" fmla="*/ 2 w 3"/>
                    <a:gd name="T7" fmla="*/ 4 h 4"/>
                    <a:gd name="T8" fmla="*/ 3 w 3"/>
                    <a:gd name="T9" fmla="*/ 4 h 4"/>
                    <a:gd name="T10" fmla="*/ 3 w 3"/>
                    <a:gd name="T11" fmla="*/ 4 h 4"/>
                    <a:gd name="T12" fmla="*/ 3 w 3"/>
                    <a:gd name="T13" fmla="*/ 4 h 4"/>
                    <a:gd name="T14" fmla="*/ 3 w 3"/>
                    <a:gd name="T15" fmla="*/ 3 h 4"/>
                    <a:gd name="T16" fmla="*/ 3 w 3"/>
                    <a:gd name="T17" fmla="*/ 1 h 4"/>
                    <a:gd name="T18" fmla="*/ 2 w 3"/>
                    <a:gd name="T1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4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67" name="Freeform 1122"/>
                <p:cNvSpPr>
                  <a:spLocks/>
                </p:cNvSpPr>
                <p:nvPr/>
              </p:nvSpPr>
              <p:spPr bwMode="auto">
                <a:xfrm>
                  <a:off x="4612560" y="2593001"/>
                  <a:ext cx="2968" cy="3957"/>
                </a:xfrm>
                <a:custGeom>
                  <a:avLst/>
                  <a:gdLst>
                    <a:gd name="T0" fmla="*/ 2 w 3"/>
                    <a:gd name="T1" fmla="*/ 0 h 4"/>
                    <a:gd name="T2" fmla="*/ 2 w 3"/>
                    <a:gd name="T3" fmla="*/ 0 h 4"/>
                    <a:gd name="T4" fmla="*/ 0 w 3"/>
                    <a:gd name="T5" fmla="*/ 3 h 4"/>
                    <a:gd name="T6" fmla="*/ 2 w 3"/>
                    <a:gd name="T7" fmla="*/ 4 h 4"/>
                    <a:gd name="T8" fmla="*/ 3 w 3"/>
                    <a:gd name="T9" fmla="*/ 4 h 4"/>
                    <a:gd name="T10" fmla="*/ 3 w 3"/>
                    <a:gd name="T11" fmla="*/ 4 h 4"/>
                    <a:gd name="T12" fmla="*/ 3 w 3"/>
                    <a:gd name="T13" fmla="*/ 4 h 4"/>
                    <a:gd name="T14" fmla="*/ 3 w 3"/>
                    <a:gd name="T15" fmla="*/ 3 h 4"/>
                    <a:gd name="T16" fmla="*/ 3 w 3"/>
                    <a:gd name="T17" fmla="*/ 1 h 4"/>
                    <a:gd name="T18" fmla="*/ 2 w 3"/>
                    <a:gd name="T1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4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68" name="Freeform 1123"/>
                <p:cNvSpPr>
                  <a:spLocks/>
                </p:cNvSpPr>
                <p:nvPr/>
              </p:nvSpPr>
              <p:spPr bwMode="auto">
                <a:xfrm>
                  <a:off x="4909338" y="3746477"/>
                  <a:ext cx="24731" cy="31656"/>
                </a:xfrm>
                <a:custGeom>
                  <a:avLst/>
                  <a:gdLst>
                    <a:gd name="T0" fmla="*/ 7 w 25"/>
                    <a:gd name="T1" fmla="*/ 32 h 32"/>
                    <a:gd name="T2" fmla="*/ 7 w 25"/>
                    <a:gd name="T3" fmla="*/ 32 h 32"/>
                    <a:gd name="T4" fmla="*/ 7 w 25"/>
                    <a:gd name="T5" fmla="*/ 32 h 32"/>
                    <a:gd name="T6" fmla="*/ 2 w 25"/>
                    <a:gd name="T7" fmla="*/ 32 h 32"/>
                    <a:gd name="T8" fmla="*/ 0 w 25"/>
                    <a:gd name="T9" fmla="*/ 30 h 32"/>
                    <a:gd name="T10" fmla="*/ 0 w 25"/>
                    <a:gd name="T11" fmla="*/ 29 h 32"/>
                    <a:gd name="T12" fmla="*/ 0 w 25"/>
                    <a:gd name="T13" fmla="*/ 29 h 32"/>
                    <a:gd name="T14" fmla="*/ 2 w 25"/>
                    <a:gd name="T15" fmla="*/ 17 h 32"/>
                    <a:gd name="T16" fmla="*/ 4 w 25"/>
                    <a:gd name="T17" fmla="*/ 8 h 32"/>
                    <a:gd name="T18" fmla="*/ 7 w 25"/>
                    <a:gd name="T19" fmla="*/ 3 h 32"/>
                    <a:gd name="T20" fmla="*/ 7 w 25"/>
                    <a:gd name="T21" fmla="*/ 3 h 32"/>
                    <a:gd name="T22" fmla="*/ 12 w 25"/>
                    <a:gd name="T23" fmla="*/ 1 h 32"/>
                    <a:gd name="T24" fmla="*/ 17 w 25"/>
                    <a:gd name="T25" fmla="*/ 0 h 32"/>
                    <a:gd name="T26" fmla="*/ 17 w 25"/>
                    <a:gd name="T27" fmla="*/ 0 h 32"/>
                    <a:gd name="T28" fmla="*/ 17 w 25"/>
                    <a:gd name="T29" fmla="*/ 0 h 32"/>
                    <a:gd name="T30" fmla="*/ 17 w 25"/>
                    <a:gd name="T31" fmla="*/ 0 h 32"/>
                    <a:gd name="T32" fmla="*/ 17 w 25"/>
                    <a:gd name="T33" fmla="*/ 0 h 32"/>
                    <a:gd name="T34" fmla="*/ 17 w 25"/>
                    <a:gd name="T35" fmla="*/ 3 h 32"/>
                    <a:gd name="T36" fmla="*/ 17 w 25"/>
                    <a:gd name="T37" fmla="*/ 3 h 32"/>
                    <a:gd name="T38" fmla="*/ 17 w 25"/>
                    <a:gd name="T39" fmla="*/ 3 h 32"/>
                    <a:gd name="T40" fmla="*/ 17 w 25"/>
                    <a:gd name="T41" fmla="*/ 3 h 32"/>
                    <a:gd name="T42" fmla="*/ 20 w 25"/>
                    <a:gd name="T43" fmla="*/ 8 h 32"/>
                    <a:gd name="T44" fmla="*/ 23 w 25"/>
                    <a:gd name="T45" fmla="*/ 13 h 32"/>
                    <a:gd name="T46" fmla="*/ 23 w 25"/>
                    <a:gd name="T47" fmla="*/ 13 h 32"/>
                    <a:gd name="T48" fmla="*/ 23 w 25"/>
                    <a:gd name="T49" fmla="*/ 13 h 32"/>
                    <a:gd name="T50" fmla="*/ 23 w 25"/>
                    <a:gd name="T51" fmla="*/ 13 h 32"/>
                    <a:gd name="T52" fmla="*/ 23 w 25"/>
                    <a:gd name="T53" fmla="*/ 13 h 32"/>
                    <a:gd name="T54" fmla="*/ 23 w 25"/>
                    <a:gd name="T55" fmla="*/ 13 h 32"/>
                    <a:gd name="T56" fmla="*/ 25 w 25"/>
                    <a:gd name="T57" fmla="*/ 16 h 32"/>
                    <a:gd name="T58" fmla="*/ 25 w 25"/>
                    <a:gd name="T59" fmla="*/ 16 h 32"/>
                    <a:gd name="T60" fmla="*/ 22 w 25"/>
                    <a:gd name="T61" fmla="*/ 24 h 32"/>
                    <a:gd name="T62" fmla="*/ 19 w 25"/>
                    <a:gd name="T63" fmla="*/ 27 h 32"/>
                    <a:gd name="T64" fmla="*/ 16 w 25"/>
                    <a:gd name="T65" fmla="*/ 30 h 32"/>
                    <a:gd name="T66" fmla="*/ 16 w 25"/>
                    <a:gd name="T67" fmla="*/ 30 h 32"/>
                    <a:gd name="T68" fmla="*/ 16 w 25"/>
                    <a:gd name="T69" fmla="*/ 30 h 32"/>
                    <a:gd name="T70" fmla="*/ 16 w 25"/>
                    <a:gd name="T71" fmla="*/ 30 h 32"/>
                    <a:gd name="T72" fmla="*/ 16 w 25"/>
                    <a:gd name="T73" fmla="*/ 30 h 32"/>
                    <a:gd name="T74" fmla="*/ 16 w 25"/>
                    <a:gd name="T75" fmla="*/ 30 h 32"/>
                    <a:gd name="T76" fmla="*/ 16 w 25"/>
                    <a:gd name="T77" fmla="*/ 30 h 32"/>
                    <a:gd name="T78" fmla="*/ 12 w 25"/>
                    <a:gd name="T79" fmla="*/ 32 h 32"/>
                    <a:gd name="T80" fmla="*/ 7 w 25"/>
                    <a:gd name="T81" fmla="*/ 32 h 32"/>
                    <a:gd name="T82" fmla="*/ 7 w 25"/>
                    <a:gd name="T83" fmla="*/ 3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5" h="32">
                      <a:moveTo>
                        <a:pt x="7" y="32"/>
                      </a:moveTo>
                      <a:lnTo>
                        <a:pt x="7" y="32"/>
                      </a:lnTo>
                      <a:lnTo>
                        <a:pt x="7" y="32"/>
                      </a:lnTo>
                      <a:lnTo>
                        <a:pt x="2" y="32"/>
                      </a:lnTo>
                      <a:lnTo>
                        <a:pt x="0" y="30"/>
                      </a:lnTo>
                      <a:lnTo>
                        <a:pt x="0" y="29"/>
                      </a:lnTo>
                      <a:lnTo>
                        <a:pt x="0" y="29"/>
                      </a:lnTo>
                      <a:lnTo>
                        <a:pt x="2" y="17"/>
                      </a:lnTo>
                      <a:lnTo>
                        <a:pt x="4" y="8"/>
                      </a:lnTo>
                      <a:lnTo>
                        <a:pt x="7" y="3"/>
                      </a:lnTo>
                      <a:lnTo>
                        <a:pt x="7" y="3"/>
                      </a:lnTo>
                      <a:lnTo>
                        <a:pt x="12" y="1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3"/>
                      </a:lnTo>
                      <a:lnTo>
                        <a:pt x="17" y="3"/>
                      </a:lnTo>
                      <a:lnTo>
                        <a:pt x="17" y="3"/>
                      </a:lnTo>
                      <a:lnTo>
                        <a:pt x="17" y="3"/>
                      </a:lnTo>
                      <a:lnTo>
                        <a:pt x="20" y="8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5" y="16"/>
                      </a:lnTo>
                      <a:lnTo>
                        <a:pt x="25" y="16"/>
                      </a:lnTo>
                      <a:lnTo>
                        <a:pt x="22" y="24"/>
                      </a:lnTo>
                      <a:lnTo>
                        <a:pt x="19" y="27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2" y="32"/>
                      </a:lnTo>
                      <a:lnTo>
                        <a:pt x="7" y="32"/>
                      </a:lnTo>
                      <a:lnTo>
                        <a:pt x="7" y="3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69" name="Freeform 1124"/>
                <p:cNvSpPr>
                  <a:spLocks/>
                </p:cNvSpPr>
                <p:nvPr/>
              </p:nvSpPr>
              <p:spPr bwMode="auto">
                <a:xfrm>
                  <a:off x="4909338" y="3746477"/>
                  <a:ext cx="24731" cy="31656"/>
                </a:xfrm>
                <a:custGeom>
                  <a:avLst/>
                  <a:gdLst>
                    <a:gd name="T0" fmla="*/ 7 w 25"/>
                    <a:gd name="T1" fmla="*/ 32 h 32"/>
                    <a:gd name="T2" fmla="*/ 7 w 25"/>
                    <a:gd name="T3" fmla="*/ 32 h 32"/>
                    <a:gd name="T4" fmla="*/ 7 w 25"/>
                    <a:gd name="T5" fmla="*/ 32 h 32"/>
                    <a:gd name="T6" fmla="*/ 2 w 25"/>
                    <a:gd name="T7" fmla="*/ 32 h 32"/>
                    <a:gd name="T8" fmla="*/ 0 w 25"/>
                    <a:gd name="T9" fmla="*/ 30 h 32"/>
                    <a:gd name="T10" fmla="*/ 0 w 25"/>
                    <a:gd name="T11" fmla="*/ 29 h 32"/>
                    <a:gd name="T12" fmla="*/ 0 w 25"/>
                    <a:gd name="T13" fmla="*/ 29 h 32"/>
                    <a:gd name="T14" fmla="*/ 2 w 25"/>
                    <a:gd name="T15" fmla="*/ 17 h 32"/>
                    <a:gd name="T16" fmla="*/ 4 w 25"/>
                    <a:gd name="T17" fmla="*/ 8 h 32"/>
                    <a:gd name="T18" fmla="*/ 7 w 25"/>
                    <a:gd name="T19" fmla="*/ 3 h 32"/>
                    <a:gd name="T20" fmla="*/ 7 w 25"/>
                    <a:gd name="T21" fmla="*/ 3 h 32"/>
                    <a:gd name="T22" fmla="*/ 12 w 25"/>
                    <a:gd name="T23" fmla="*/ 1 h 32"/>
                    <a:gd name="T24" fmla="*/ 17 w 25"/>
                    <a:gd name="T25" fmla="*/ 0 h 32"/>
                    <a:gd name="T26" fmla="*/ 17 w 25"/>
                    <a:gd name="T27" fmla="*/ 0 h 32"/>
                    <a:gd name="T28" fmla="*/ 17 w 25"/>
                    <a:gd name="T29" fmla="*/ 0 h 32"/>
                    <a:gd name="T30" fmla="*/ 17 w 25"/>
                    <a:gd name="T31" fmla="*/ 0 h 32"/>
                    <a:gd name="T32" fmla="*/ 17 w 25"/>
                    <a:gd name="T33" fmla="*/ 0 h 32"/>
                    <a:gd name="T34" fmla="*/ 17 w 25"/>
                    <a:gd name="T35" fmla="*/ 3 h 32"/>
                    <a:gd name="T36" fmla="*/ 17 w 25"/>
                    <a:gd name="T37" fmla="*/ 3 h 32"/>
                    <a:gd name="T38" fmla="*/ 17 w 25"/>
                    <a:gd name="T39" fmla="*/ 3 h 32"/>
                    <a:gd name="T40" fmla="*/ 17 w 25"/>
                    <a:gd name="T41" fmla="*/ 3 h 32"/>
                    <a:gd name="T42" fmla="*/ 20 w 25"/>
                    <a:gd name="T43" fmla="*/ 8 h 32"/>
                    <a:gd name="T44" fmla="*/ 23 w 25"/>
                    <a:gd name="T45" fmla="*/ 13 h 32"/>
                    <a:gd name="T46" fmla="*/ 23 w 25"/>
                    <a:gd name="T47" fmla="*/ 13 h 32"/>
                    <a:gd name="T48" fmla="*/ 23 w 25"/>
                    <a:gd name="T49" fmla="*/ 13 h 32"/>
                    <a:gd name="T50" fmla="*/ 23 w 25"/>
                    <a:gd name="T51" fmla="*/ 13 h 32"/>
                    <a:gd name="T52" fmla="*/ 23 w 25"/>
                    <a:gd name="T53" fmla="*/ 13 h 32"/>
                    <a:gd name="T54" fmla="*/ 23 w 25"/>
                    <a:gd name="T55" fmla="*/ 13 h 32"/>
                    <a:gd name="T56" fmla="*/ 25 w 25"/>
                    <a:gd name="T57" fmla="*/ 16 h 32"/>
                    <a:gd name="T58" fmla="*/ 25 w 25"/>
                    <a:gd name="T59" fmla="*/ 16 h 32"/>
                    <a:gd name="T60" fmla="*/ 22 w 25"/>
                    <a:gd name="T61" fmla="*/ 24 h 32"/>
                    <a:gd name="T62" fmla="*/ 19 w 25"/>
                    <a:gd name="T63" fmla="*/ 27 h 32"/>
                    <a:gd name="T64" fmla="*/ 16 w 25"/>
                    <a:gd name="T65" fmla="*/ 30 h 32"/>
                    <a:gd name="T66" fmla="*/ 16 w 25"/>
                    <a:gd name="T67" fmla="*/ 30 h 32"/>
                    <a:gd name="T68" fmla="*/ 16 w 25"/>
                    <a:gd name="T69" fmla="*/ 30 h 32"/>
                    <a:gd name="T70" fmla="*/ 16 w 25"/>
                    <a:gd name="T71" fmla="*/ 30 h 32"/>
                    <a:gd name="T72" fmla="*/ 16 w 25"/>
                    <a:gd name="T73" fmla="*/ 30 h 32"/>
                    <a:gd name="T74" fmla="*/ 16 w 25"/>
                    <a:gd name="T75" fmla="*/ 30 h 32"/>
                    <a:gd name="T76" fmla="*/ 16 w 25"/>
                    <a:gd name="T77" fmla="*/ 30 h 32"/>
                    <a:gd name="T78" fmla="*/ 12 w 25"/>
                    <a:gd name="T79" fmla="*/ 32 h 32"/>
                    <a:gd name="T80" fmla="*/ 7 w 25"/>
                    <a:gd name="T81" fmla="*/ 32 h 32"/>
                    <a:gd name="T82" fmla="*/ 7 w 25"/>
                    <a:gd name="T83" fmla="*/ 3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5" h="32">
                      <a:moveTo>
                        <a:pt x="7" y="32"/>
                      </a:moveTo>
                      <a:lnTo>
                        <a:pt x="7" y="32"/>
                      </a:lnTo>
                      <a:lnTo>
                        <a:pt x="7" y="32"/>
                      </a:lnTo>
                      <a:lnTo>
                        <a:pt x="2" y="32"/>
                      </a:lnTo>
                      <a:lnTo>
                        <a:pt x="0" y="30"/>
                      </a:lnTo>
                      <a:lnTo>
                        <a:pt x="0" y="29"/>
                      </a:lnTo>
                      <a:lnTo>
                        <a:pt x="0" y="29"/>
                      </a:lnTo>
                      <a:lnTo>
                        <a:pt x="2" y="17"/>
                      </a:lnTo>
                      <a:lnTo>
                        <a:pt x="4" y="8"/>
                      </a:lnTo>
                      <a:lnTo>
                        <a:pt x="7" y="3"/>
                      </a:lnTo>
                      <a:lnTo>
                        <a:pt x="7" y="3"/>
                      </a:lnTo>
                      <a:lnTo>
                        <a:pt x="12" y="1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3"/>
                      </a:lnTo>
                      <a:lnTo>
                        <a:pt x="17" y="3"/>
                      </a:lnTo>
                      <a:lnTo>
                        <a:pt x="17" y="3"/>
                      </a:lnTo>
                      <a:lnTo>
                        <a:pt x="17" y="3"/>
                      </a:lnTo>
                      <a:lnTo>
                        <a:pt x="20" y="8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5" y="16"/>
                      </a:lnTo>
                      <a:lnTo>
                        <a:pt x="25" y="16"/>
                      </a:lnTo>
                      <a:lnTo>
                        <a:pt x="22" y="24"/>
                      </a:lnTo>
                      <a:lnTo>
                        <a:pt x="19" y="27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2" y="32"/>
                      </a:lnTo>
                      <a:lnTo>
                        <a:pt x="7" y="32"/>
                      </a:lnTo>
                      <a:lnTo>
                        <a:pt x="7" y="3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70" name="Freeform 1125"/>
                <p:cNvSpPr>
                  <a:spLocks noEditPoints="1"/>
                </p:cNvSpPr>
                <p:nvPr/>
              </p:nvSpPr>
              <p:spPr bwMode="auto">
                <a:xfrm>
                  <a:off x="4926155" y="3746477"/>
                  <a:ext cx="7914" cy="15828"/>
                </a:xfrm>
                <a:custGeom>
                  <a:avLst/>
                  <a:gdLst>
                    <a:gd name="T0" fmla="*/ 0 w 8"/>
                    <a:gd name="T1" fmla="*/ 3 h 16"/>
                    <a:gd name="T2" fmla="*/ 0 w 8"/>
                    <a:gd name="T3" fmla="*/ 3 h 16"/>
                    <a:gd name="T4" fmla="*/ 0 w 8"/>
                    <a:gd name="T5" fmla="*/ 0 h 16"/>
                    <a:gd name="T6" fmla="*/ 0 w 8"/>
                    <a:gd name="T7" fmla="*/ 0 h 16"/>
                    <a:gd name="T8" fmla="*/ 0 w 8"/>
                    <a:gd name="T9" fmla="*/ 0 h 16"/>
                    <a:gd name="T10" fmla="*/ 0 w 8"/>
                    <a:gd name="T11" fmla="*/ 3 h 16"/>
                    <a:gd name="T12" fmla="*/ 6 w 8"/>
                    <a:gd name="T13" fmla="*/ 13 h 16"/>
                    <a:gd name="T14" fmla="*/ 6 w 8"/>
                    <a:gd name="T15" fmla="*/ 13 h 16"/>
                    <a:gd name="T16" fmla="*/ 6 w 8"/>
                    <a:gd name="T17" fmla="*/ 13 h 16"/>
                    <a:gd name="T18" fmla="*/ 6 w 8"/>
                    <a:gd name="T19" fmla="*/ 13 h 16"/>
                    <a:gd name="T20" fmla="*/ 6 w 8"/>
                    <a:gd name="T21" fmla="*/ 13 h 16"/>
                    <a:gd name="T22" fmla="*/ 8 w 8"/>
                    <a:gd name="T23" fmla="*/ 16 h 16"/>
                    <a:gd name="T24" fmla="*/ 8 w 8"/>
                    <a:gd name="T25" fmla="*/ 16 h 16"/>
                    <a:gd name="T26" fmla="*/ 6 w 8"/>
                    <a:gd name="T27" fmla="*/ 13 h 16"/>
                    <a:gd name="T28" fmla="*/ 6 w 8"/>
                    <a:gd name="T29" fmla="*/ 13 h 16"/>
                    <a:gd name="T30" fmla="*/ 8 w 8"/>
                    <a:gd name="T31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" h="16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close/>
                      <a:moveTo>
                        <a:pt x="6" y="13"/>
                      </a:moveTo>
                      <a:lnTo>
                        <a:pt x="6" y="13"/>
                      </a:lnTo>
                      <a:lnTo>
                        <a:pt x="6" y="13"/>
                      </a:lnTo>
                      <a:lnTo>
                        <a:pt x="6" y="13"/>
                      </a:lnTo>
                      <a:lnTo>
                        <a:pt x="6" y="13"/>
                      </a:lnTo>
                      <a:close/>
                      <a:moveTo>
                        <a:pt x="8" y="16"/>
                      </a:moveTo>
                      <a:lnTo>
                        <a:pt x="8" y="16"/>
                      </a:lnTo>
                      <a:lnTo>
                        <a:pt x="6" y="13"/>
                      </a:lnTo>
                      <a:lnTo>
                        <a:pt x="6" y="13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71" name="Freeform 1126"/>
                <p:cNvSpPr>
                  <a:spLocks/>
                </p:cNvSpPr>
                <p:nvPr/>
              </p:nvSpPr>
              <p:spPr bwMode="auto">
                <a:xfrm>
                  <a:off x="4926155" y="3746477"/>
                  <a:ext cx="0" cy="2968"/>
                </a:xfrm>
                <a:custGeom>
                  <a:avLst/>
                  <a:gdLst>
                    <a:gd name="T0" fmla="*/ 3 h 3"/>
                    <a:gd name="T1" fmla="*/ 3 h 3"/>
                    <a:gd name="T2" fmla="*/ 0 h 3"/>
                    <a:gd name="T3" fmla="*/ 0 h 3"/>
                    <a:gd name="T4" fmla="*/ 0 h 3"/>
                    <a:gd name="T5" fmla="*/ 3 h 3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</a:cxnLst>
                  <a:rect l="0" t="0" r="r" b="b"/>
                  <a:pathLst>
                    <a:path h="3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72" name="Rectangle 1127"/>
                <p:cNvSpPr>
                  <a:spLocks noChangeArrowheads="1"/>
                </p:cNvSpPr>
                <p:nvPr/>
              </p:nvSpPr>
              <p:spPr bwMode="auto">
                <a:xfrm>
                  <a:off x="4932091" y="3759338"/>
                  <a:ext cx="989" cy="989"/>
                </a:xfrm>
                <a:prstGeom prst="rect">
                  <a:avLst/>
                </a:pr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73" name="Freeform 1128"/>
                <p:cNvSpPr>
                  <a:spLocks/>
                </p:cNvSpPr>
                <p:nvPr/>
              </p:nvSpPr>
              <p:spPr bwMode="auto">
                <a:xfrm>
                  <a:off x="4932091" y="3759338"/>
                  <a:ext cx="1979" cy="2968"/>
                </a:xfrm>
                <a:custGeom>
                  <a:avLst/>
                  <a:gdLst>
                    <a:gd name="T0" fmla="*/ 2 w 2"/>
                    <a:gd name="T1" fmla="*/ 3 h 3"/>
                    <a:gd name="T2" fmla="*/ 2 w 2"/>
                    <a:gd name="T3" fmla="*/ 3 h 3"/>
                    <a:gd name="T4" fmla="*/ 0 w 2"/>
                    <a:gd name="T5" fmla="*/ 0 h 3"/>
                    <a:gd name="T6" fmla="*/ 0 w 2"/>
                    <a:gd name="T7" fmla="*/ 0 h 3"/>
                    <a:gd name="T8" fmla="*/ 2 w 2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74" name="Freeform 1129"/>
                <p:cNvSpPr>
                  <a:spLocks noEditPoints="1"/>
                </p:cNvSpPr>
                <p:nvPr/>
              </p:nvSpPr>
              <p:spPr bwMode="auto">
                <a:xfrm>
                  <a:off x="4676862" y="3684154"/>
                  <a:ext cx="262154" cy="229508"/>
                </a:xfrm>
                <a:custGeom>
                  <a:avLst/>
                  <a:gdLst>
                    <a:gd name="T0" fmla="*/ 254 w 265"/>
                    <a:gd name="T1" fmla="*/ 90 h 232"/>
                    <a:gd name="T2" fmla="*/ 241 w 265"/>
                    <a:gd name="T3" fmla="*/ 95 h 232"/>
                    <a:gd name="T4" fmla="*/ 237 w 265"/>
                    <a:gd name="T5" fmla="*/ 80 h 232"/>
                    <a:gd name="T6" fmla="*/ 247 w 265"/>
                    <a:gd name="T7" fmla="*/ 64 h 232"/>
                    <a:gd name="T8" fmla="*/ 252 w 265"/>
                    <a:gd name="T9" fmla="*/ 38 h 232"/>
                    <a:gd name="T10" fmla="*/ 251 w 265"/>
                    <a:gd name="T11" fmla="*/ 18 h 232"/>
                    <a:gd name="T12" fmla="*/ 235 w 265"/>
                    <a:gd name="T13" fmla="*/ 5 h 232"/>
                    <a:gd name="T14" fmla="*/ 213 w 265"/>
                    <a:gd name="T15" fmla="*/ 0 h 232"/>
                    <a:gd name="T16" fmla="*/ 176 w 265"/>
                    <a:gd name="T17" fmla="*/ 21 h 232"/>
                    <a:gd name="T18" fmla="*/ 150 w 265"/>
                    <a:gd name="T19" fmla="*/ 63 h 232"/>
                    <a:gd name="T20" fmla="*/ 128 w 265"/>
                    <a:gd name="T21" fmla="*/ 64 h 232"/>
                    <a:gd name="T22" fmla="*/ 116 w 265"/>
                    <a:gd name="T23" fmla="*/ 57 h 232"/>
                    <a:gd name="T24" fmla="*/ 109 w 265"/>
                    <a:gd name="T25" fmla="*/ 61 h 232"/>
                    <a:gd name="T26" fmla="*/ 90 w 265"/>
                    <a:gd name="T27" fmla="*/ 82 h 232"/>
                    <a:gd name="T28" fmla="*/ 73 w 265"/>
                    <a:gd name="T29" fmla="*/ 76 h 232"/>
                    <a:gd name="T30" fmla="*/ 58 w 265"/>
                    <a:gd name="T31" fmla="*/ 106 h 232"/>
                    <a:gd name="T32" fmla="*/ 45 w 265"/>
                    <a:gd name="T33" fmla="*/ 121 h 232"/>
                    <a:gd name="T34" fmla="*/ 32 w 265"/>
                    <a:gd name="T35" fmla="*/ 119 h 232"/>
                    <a:gd name="T36" fmla="*/ 12 w 265"/>
                    <a:gd name="T37" fmla="*/ 109 h 232"/>
                    <a:gd name="T38" fmla="*/ 3 w 265"/>
                    <a:gd name="T39" fmla="*/ 118 h 232"/>
                    <a:gd name="T40" fmla="*/ 15 w 265"/>
                    <a:gd name="T41" fmla="*/ 138 h 232"/>
                    <a:gd name="T42" fmla="*/ 11 w 265"/>
                    <a:gd name="T43" fmla="*/ 144 h 232"/>
                    <a:gd name="T44" fmla="*/ 9 w 265"/>
                    <a:gd name="T45" fmla="*/ 155 h 232"/>
                    <a:gd name="T46" fmla="*/ 19 w 265"/>
                    <a:gd name="T47" fmla="*/ 181 h 232"/>
                    <a:gd name="T48" fmla="*/ 15 w 265"/>
                    <a:gd name="T49" fmla="*/ 196 h 232"/>
                    <a:gd name="T50" fmla="*/ 22 w 265"/>
                    <a:gd name="T51" fmla="*/ 213 h 232"/>
                    <a:gd name="T52" fmla="*/ 27 w 265"/>
                    <a:gd name="T53" fmla="*/ 223 h 232"/>
                    <a:gd name="T54" fmla="*/ 38 w 265"/>
                    <a:gd name="T55" fmla="*/ 228 h 232"/>
                    <a:gd name="T56" fmla="*/ 50 w 265"/>
                    <a:gd name="T57" fmla="*/ 232 h 232"/>
                    <a:gd name="T58" fmla="*/ 58 w 265"/>
                    <a:gd name="T59" fmla="*/ 225 h 232"/>
                    <a:gd name="T60" fmla="*/ 71 w 265"/>
                    <a:gd name="T61" fmla="*/ 225 h 232"/>
                    <a:gd name="T62" fmla="*/ 84 w 265"/>
                    <a:gd name="T63" fmla="*/ 216 h 232"/>
                    <a:gd name="T64" fmla="*/ 105 w 265"/>
                    <a:gd name="T65" fmla="*/ 216 h 232"/>
                    <a:gd name="T66" fmla="*/ 122 w 265"/>
                    <a:gd name="T67" fmla="*/ 218 h 232"/>
                    <a:gd name="T68" fmla="*/ 137 w 265"/>
                    <a:gd name="T69" fmla="*/ 216 h 232"/>
                    <a:gd name="T70" fmla="*/ 163 w 265"/>
                    <a:gd name="T71" fmla="*/ 206 h 232"/>
                    <a:gd name="T72" fmla="*/ 192 w 265"/>
                    <a:gd name="T73" fmla="*/ 183 h 232"/>
                    <a:gd name="T74" fmla="*/ 218 w 265"/>
                    <a:gd name="T75" fmla="*/ 152 h 232"/>
                    <a:gd name="T76" fmla="*/ 229 w 265"/>
                    <a:gd name="T77" fmla="*/ 148 h 232"/>
                    <a:gd name="T78" fmla="*/ 248 w 265"/>
                    <a:gd name="T79" fmla="*/ 122 h 232"/>
                    <a:gd name="T80" fmla="*/ 260 w 265"/>
                    <a:gd name="T81" fmla="*/ 106 h 232"/>
                    <a:gd name="T82" fmla="*/ 265 w 265"/>
                    <a:gd name="T83" fmla="*/ 84 h 232"/>
                    <a:gd name="T84" fmla="*/ 202 w 265"/>
                    <a:gd name="T85" fmla="*/ 142 h 232"/>
                    <a:gd name="T86" fmla="*/ 186 w 265"/>
                    <a:gd name="T87" fmla="*/ 147 h 232"/>
                    <a:gd name="T88" fmla="*/ 179 w 265"/>
                    <a:gd name="T89" fmla="*/ 139 h 232"/>
                    <a:gd name="T90" fmla="*/ 183 w 265"/>
                    <a:gd name="T91" fmla="*/ 125 h 232"/>
                    <a:gd name="T92" fmla="*/ 205 w 265"/>
                    <a:gd name="T93" fmla="*/ 116 h 232"/>
                    <a:gd name="T94" fmla="*/ 208 w 265"/>
                    <a:gd name="T95" fmla="*/ 128 h 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65" h="232">
                      <a:moveTo>
                        <a:pt x="260" y="79"/>
                      </a:moveTo>
                      <a:lnTo>
                        <a:pt x="260" y="79"/>
                      </a:lnTo>
                      <a:lnTo>
                        <a:pt x="257" y="87"/>
                      </a:lnTo>
                      <a:lnTo>
                        <a:pt x="254" y="90"/>
                      </a:lnTo>
                      <a:lnTo>
                        <a:pt x="251" y="93"/>
                      </a:lnTo>
                      <a:lnTo>
                        <a:pt x="251" y="93"/>
                      </a:lnTo>
                      <a:lnTo>
                        <a:pt x="245" y="95"/>
                      </a:lnTo>
                      <a:lnTo>
                        <a:pt x="241" y="95"/>
                      </a:lnTo>
                      <a:lnTo>
                        <a:pt x="237" y="95"/>
                      </a:lnTo>
                      <a:lnTo>
                        <a:pt x="235" y="92"/>
                      </a:lnTo>
                      <a:lnTo>
                        <a:pt x="235" y="92"/>
                      </a:lnTo>
                      <a:lnTo>
                        <a:pt x="237" y="80"/>
                      </a:lnTo>
                      <a:lnTo>
                        <a:pt x="239" y="71"/>
                      </a:lnTo>
                      <a:lnTo>
                        <a:pt x="242" y="66"/>
                      </a:lnTo>
                      <a:lnTo>
                        <a:pt x="242" y="66"/>
                      </a:lnTo>
                      <a:lnTo>
                        <a:pt x="247" y="64"/>
                      </a:lnTo>
                      <a:lnTo>
                        <a:pt x="252" y="63"/>
                      </a:lnTo>
                      <a:lnTo>
                        <a:pt x="252" y="63"/>
                      </a:lnTo>
                      <a:lnTo>
                        <a:pt x="252" y="53"/>
                      </a:lnTo>
                      <a:lnTo>
                        <a:pt x="252" y="38"/>
                      </a:lnTo>
                      <a:lnTo>
                        <a:pt x="252" y="26"/>
                      </a:lnTo>
                      <a:lnTo>
                        <a:pt x="252" y="21"/>
                      </a:lnTo>
                      <a:lnTo>
                        <a:pt x="251" y="18"/>
                      </a:lnTo>
                      <a:lnTo>
                        <a:pt x="251" y="18"/>
                      </a:lnTo>
                      <a:lnTo>
                        <a:pt x="244" y="9"/>
                      </a:lnTo>
                      <a:lnTo>
                        <a:pt x="239" y="5"/>
                      </a:lnTo>
                      <a:lnTo>
                        <a:pt x="238" y="5"/>
                      </a:lnTo>
                      <a:lnTo>
                        <a:pt x="235" y="5"/>
                      </a:lnTo>
                      <a:lnTo>
                        <a:pt x="235" y="5"/>
                      </a:lnTo>
                      <a:lnTo>
                        <a:pt x="225" y="3"/>
                      </a:lnTo>
                      <a:lnTo>
                        <a:pt x="219" y="3"/>
                      </a:lnTo>
                      <a:lnTo>
                        <a:pt x="213" y="0"/>
                      </a:lnTo>
                      <a:lnTo>
                        <a:pt x="213" y="0"/>
                      </a:lnTo>
                      <a:lnTo>
                        <a:pt x="190" y="12"/>
                      </a:lnTo>
                      <a:lnTo>
                        <a:pt x="176" y="21"/>
                      </a:lnTo>
                      <a:lnTo>
                        <a:pt x="176" y="21"/>
                      </a:lnTo>
                      <a:lnTo>
                        <a:pt x="170" y="28"/>
                      </a:lnTo>
                      <a:lnTo>
                        <a:pt x="163" y="42"/>
                      </a:lnTo>
                      <a:lnTo>
                        <a:pt x="154" y="55"/>
                      </a:lnTo>
                      <a:lnTo>
                        <a:pt x="150" y="63"/>
                      </a:lnTo>
                      <a:lnTo>
                        <a:pt x="150" y="63"/>
                      </a:lnTo>
                      <a:lnTo>
                        <a:pt x="144" y="64"/>
                      </a:lnTo>
                      <a:lnTo>
                        <a:pt x="135" y="64"/>
                      </a:lnTo>
                      <a:lnTo>
                        <a:pt x="128" y="64"/>
                      </a:lnTo>
                      <a:lnTo>
                        <a:pt x="124" y="63"/>
                      </a:lnTo>
                      <a:lnTo>
                        <a:pt x="124" y="63"/>
                      </a:lnTo>
                      <a:lnTo>
                        <a:pt x="119" y="58"/>
                      </a:lnTo>
                      <a:lnTo>
                        <a:pt x="116" y="57"/>
                      </a:lnTo>
                      <a:lnTo>
                        <a:pt x="113" y="57"/>
                      </a:lnTo>
                      <a:lnTo>
                        <a:pt x="113" y="57"/>
                      </a:lnTo>
                      <a:lnTo>
                        <a:pt x="112" y="58"/>
                      </a:lnTo>
                      <a:lnTo>
                        <a:pt x="109" y="61"/>
                      </a:lnTo>
                      <a:lnTo>
                        <a:pt x="102" y="70"/>
                      </a:lnTo>
                      <a:lnTo>
                        <a:pt x="96" y="79"/>
                      </a:lnTo>
                      <a:lnTo>
                        <a:pt x="93" y="80"/>
                      </a:lnTo>
                      <a:lnTo>
                        <a:pt x="90" y="82"/>
                      </a:lnTo>
                      <a:lnTo>
                        <a:pt x="90" y="82"/>
                      </a:lnTo>
                      <a:lnTo>
                        <a:pt x="80" y="82"/>
                      </a:lnTo>
                      <a:lnTo>
                        <a:pt x="76" y="79"/>
                      </a:lnTo>
                      <a:lnTo>
                        <a:pt x="73" y="76"/>
                      </a:lnTo>
                      <a:lnTo>
                        <a:pt x="73" y="76"/>
                      </a:lnTo>
                      <a:lnTo>
                        <a:pt x="67" y="66"/>
                      </a:lnTo>
                      <a:lnTo>
                        <a:pt x="58" y="55"/>
                      </a:lnTo>
                      <a:lnTo>
                        <a:pt x="58" y="106"/>
                      </a:lnTo>
                      <a:lnTo>
                        <a:pt x="58" y="106"/>
                      </a:lnTo>
                      <a:lnTo>
                        <a:pt x="57" y="110"/>
                      </a:lnTo>
                      <a:lnTo>
                        <a:pt x="51" y="116"/>
                      </a:lnTo>
                      <a:lnTo>
                        <a:pt x="45" y="121"/>
                      </a:lnTo>
                      <a:lnTo>
                        <a:pt x="41" y="122"/>
                      </a:lnTo>
                      <a:lnTo>
                        <a:pt x="38" y="122"/>
                      </a:lnTo>
                      <a:lnTo>
                        <a:pt x="38" y="122"/>
                      </a:lnTo>
                      <a:lnTo>
                        <a:pt x="32" y="119"/>
                      </a:lnTo>
                      <a:lnTo>
                        <a:pt x="25" y="115"/>
                      </a:lnTo>
                      <a:lnTo>
                        <a:pt x="18" y="110"/>
                      </a:lnTo>
                      <a:lnTo>
                        <a:pt x="12" y="109"/>
                      </a:lnTo>
                      <a:lnTo>
                        <a:pt x="12" y="109"/>
                      </a:lnTo>
                      <a:lnTo>
                        <a:pt x="6" y="110"/>
                      </a:lnTo>
                      <a:lnTo>
                        <a:pt x="0" y="115"/>
                      </a:lnTo>
                      <a:lnTo>
                        <a:pt x="0" y="115"/>
                      </a:lnTo>
                      <a:lnTo>
                        <a:pt x="3" y="118"/>
                      </a:lnTo>
                      <a:lnTo>
                        <a:pt x="3" y="118"/>
                      </a:lnTo>
                      <a:lnTo>
                        <a:pt x="8" y="122"/>
                      </a:lnTo>
                      <a:lnTo>
                        <a:pt x="11" y="128"/>
                      </a:lnTo>
                      <a:lnTo>
                        <a:pt x="15" y="138"/>
                      </a:lnTo>
                      <a:lnTo>
                        <a:pt x="15" y="138"/>
                      </a:lnTo>
                      <a:lnTo>
                        <a:pt x="16" y="142"/>
                      </a:lnTo>
                      <a:lnTo>
                        <a:pt x="13" y="144"/>
                      </a:lnTo>
                      <a:lnTo>
                        <a:pt x="11" y="144"/>
                      </a:lnTo>
                      <a:lnTo>
                        <a:pt x="8" y="145"/>
                      </a:lnTo>
                      <a:lnTo>
                        <a:pt x="8" y="145"/>
                      </a:lnTo>
                      <a:lnTo>
                        <a:pt x="8" y="150"/>
                      </a:lnTo>
                      <a:lnTo>
                        <a:pt x="9" y="155"/>
                      </a:lnTo>
                      <a:lnTo>
                        <a:pt x="16" y="168"/>
                      </a:lnTo>
                      <a:lnTo>
                        <a:pt x="16" y="168"/>
                      </a:lnTo>
                      <a:lnTo>
                        <a:pt x="18" y="176"/>
                      </a:lnTo>
                      <a:lnTo>
                        <a:pt x="19" y="181"/>
                      </a:lnTo>
                      <a:lnTo>
                        <a:pt x="19" y="187"/>
                      </a:lnTo>
                      <a:lnTo>
                        <a:pt x="18" y="192"/>
                      </a:lnTo>
                      <a:lnTo>
                        <a:pt x="18" y="192"/>
                      </a:lnTo>
                      <a:lnTo>
                        <a:pt x="15" y="196"/>
                      </a:lnTo>
                      <a:lnTo>
                        <a:pt x="15" y="199"/>
                      </a:lnTo>
                      <a:lnTo>
                        <a:pt x="19" y="206"/>
                      </a:lnTo>
                      <a:lnTo>
                        <a:pt x="19" y="206"/>
                      </a:lnTo>
                      <a:lnTo>
                        <a:pt x="22" y="213"/>
                      </a:lnTo>
                      <a:lnTo>
                        <a:pt x="24" y="219"/>
                      </a:lnTo>
                      <a:lnTo>
                        <a:pt x="24" y="219"/>
                      </a:lnTo>
                      <a:lnTo>
                        <a:pt x="25" y="222"/>
                      </a:lnTo>
                      <a:lnTo>
                        <a:pt x="27" y="223"/>
                      </a:lnTo>
                      <a:lnTo>
                        <a:pt x="34" y="225"/>
                      </a:lnTo>
                      <a:lnTo>
                        <a:pt x="34" y="225"/>
                      </a:lnTo>
                      <a:lnTo>
                        <a:pt x="37" y="225"/>
                      </a:lnTo>
                      <a:lnTo>
                        <a:pt x="38" y="228"/>
                      </a:lnTo>
                      <a:lnTo>
                        <a:pt x="41" y="231"/>
                      </a:lnTo>
                      <a:lnTo>
                        <a:pt x="45" y="232"/>
                      </a:lnTo>
                      <a:lnTo>
                        <a:pt x="45" y="232"/>
                      </a:lnTo>
                      <a:lnTo>
                        <a:pt x="50" y="232"/>
                      </a:lnTo>
                      <a:lnTo>
                        <a:pt x="53" y="231"/>
                      </a:lnTo>
                      <a:lnTo>
                        <a:pt x="55" y="226"/>
                      </a:lnTo>
                      <a:lnTo>
                        <a:pt x="55" y="226"/>
                      </a:lnTo>
                      <a:lnTo>
                        <a:pt x="58" y="225"/>
                      </a:lnTo>
                      <a:lnTo>
                        <a:pt x="61" y="225"/>
                      </a:lnTo>
                      <a:lnTo>
                        <a:pt x="69" y="225"/>
                      </a:lnTo>
                      <a:lnTo>
                        <a:pt x="69" y="225"/>
                      </a:lnTo>
                      <a:lnTo>
                        <a:pt x="71" y="225"/>
                      </a:lnTo>
                      <a:lnTo>
                        <a:pt x="73" y="223"/>
                      </a:lnTo>
                      <a:lnTo>
                        <a:pt x="79" y="219"/>
                      </a:lnTo>
                      <a:lnTo>
                        <a:pt x="79" y="219"/>
                      </a:lnTo>
                      <a:lnTo>
                        <a:pt x="84" y="216"/>
                      </a:lnTo>
                      <a:lnTo>
                        <a:pt x="93" y="216"/>
                      </a:lnTo>
                      <a:lnTo>
                        <a:pt x="93" y="216"/>
                      </a:lnTo>
                      <a:lnTo>
                        <a:pt x="105" y="216"/>
                      </a:lnTo>
                      <a:lnTo>
                        <a:pt x="105" y="216"/>
                      </a:lnTo>
                      <a:lnTo>
                        <a:pt x="109" y="216"/>
                      </a:lnTo>
                      <a:lnTo>
                        <a:pt x="113" y="216"/>
                      </a:lnTo>
                      <a:lnTo>
                        <a:pt x="113" y="216"/>
                      </a:lnTo>
                      <a:lnTo>
                        <a:pt x="122" y="218"/>
                      </a:lnTo>
                      <a:lnTo>
                        <a:pt x="125" y="218"/>
                      </a:lnTo>
                      <a:lnTo>
                        <a:pt x="128" y="218"/>
                      </a:lnTo>
                      <a:lnTo>
                        <a:pt x="128" y="218"/>
                      </a:lnTo>
                      <a:lnTo>
                        <a:pt x="137" y="216"/>
                      </a:lnTo>
                      <a:lnTo>
                        <a:pt x="145" y="215"/>
                      </a:lnTo>
                      <a:lnTo>
                        <a:pt x="145" y="215"/>
                      </a:lnTo>
                      <a:lnTo>
                        <a:pt x="154" y="212"/>
                      </a:lnTo>
                      <a:lnTo>
                        <a:pt x="163" y="206"/>
                      </a:lnTo>
                      <a:lnTo>
                        <a:pt x="163" y="206"/>
                      </a:lnTo>
                      <a:lnTo>
                        <a:pt x="179" y="193"/>
                      </a:lnTo>
                      <a:lnTo>
                        <a:pt x="192" y="183"/>
                      </a:lnTo>
                      <a:lnTo>
                        <a:pt x="192" y="183"/>
                      </a:lnTo>
                      <a:lnTo>
                        <a:pt x="203" y="170"/>
                      </a:lnTo>
                      <a:lnTo>
                        <a:pt x="215" y="155"/>
                      </a:lnTo>
                      <a:lnTo>
                        <a:pt x="215" y="155"/>
                      </a:lnTo>
                      <a:lnTo>
                        <a:pt x="218" y="152"/>
                      </a:lnTo>
                      <a:lnTo>
                        <a:pt x="221" y="151"/>
                      </a:lnTo>
                      <a:lnTo>
                        <a:pt x="225" y="150"/>
                      </a:lnTo>
                      <a:lnTo>
                        <a:pt x="225" y="150"/>
                      </a:lnTo>
                      <a:lnTo>
                        <a:pt x="229" y="148"/>
                      </a:lnTo>
                      <a:lnTo>
                        <a:pt x="234" y="142"/>
                      </a:lnTo>
                      <a:lnTo>
                        <a:pt x="242" y="131"/>
                      </a:lnTo>
                      <a:lnTo>
                        <a:pt x="242" y="131"/>
                      </a:lnTo>
                      <a:lnTo>
                        <a:pt x="248" y="122"/>
                      </a:lnTo>
                      <a:lnTo>
                        <a:pt x="255" y="116"/>
                      </a:lnTo>
                      <a:lnTo>
                        <a:pt x="255" y="116"/>
                      </a:lnTo>
                      <a:lnTo>
                        <a:pt x="257" y="112"/>
                      </a:lnTo>
                      <a:lnTo>
                        <a:pt x="260" y="106"/>
                      </a:lnTo>
                      <a:lnTo>
                        <a:pt x="263" y="96"/>
                      </a:lnTo>
                      <a:lnTo>
                        <a:pt x="263" y="96"/>
                      </a:lnTo>
                      <a:lnTo>
                        <a:pt x="264" y="92"/>
                      </a:lnTo>
                      <a:lnTo>
                        <a:pt x="265" y="84"/>
                      </a:lnTo>
                      <a:lnTo>
                        <a:pt x="265" y="84"/>
                      </a:lnTo>
                      <a:lnTo>
                        <a:pt x="260" y="79"/>
                      </a:lnTo>
                      <a:close/>
                      <a:moveTo>
                        <a:pt x="202" y="142"/>
                      </a:moveTo>
                      <a:lnTo>
                        <a:pt x="202" y="142"/>
                      </a:lnTo>
                      <a:lnTo>
                        <a:pt x="199" y="144"/>
                      </a:lnTo>
                      <a:lnTo>
                        <a:pt x="196" y="147"/>
                      </a:lnTo>
                      <a:lnTo>
                        <a:pt x="192" y="147"/>
                      </a:lnTo>
                      <a:lnTo>
                        <a:pt x="186" y="147"/>
                      </a:lnTo>
                      <a:lnTo>
                        <a:pt x="186" y="147"/>
                      </a:lnTo>
                      <a:lnTo>
                        <a:pt x="183" y="147"/>
                      </a:lnTo>
                      <a:lnTo>
                        <a:pt x="181" y="144"/>
                      </a:lnTo>
                      <a:lnTo>
                        <a:pt x="179" y="139"/>
                      </a:lnTo>
                      <a:lnTo>
                        <a:pt x="177" y="134"/>
                      </a:lnTo>
                      <a:lnTo>
                        <a:pt x="179" y="129"/>
                      </a:lnTo>
                      <a:lnTo>
                        <a:pt x="179" y="129"/>
                      </a:lnTo>
                      <a:lnTo>
                        <a:pt x="183" y="125"/>
                      </a:lnTo>
                      <a:lnTo>
                        <a:pt x="190" y="119"/>
                      </a:lnTo>
                      <a:lnTo>
                        <a:pt x="199" y="116"/>
                      </a:lnTo>
                      <a:lnTo>
                        <a:pt x="202" y="116"/>
                      </a:lnTo>
                      <a:lnTo>
                        <a:pt x="205" y="116"/>
                      </a:lnTo>
                      <a:lnTo>
                        <a:pt x="205" y="116"/>
                      </a:lnTo>
                      <a:lnTo>
                        <a:pt x="206" y="119"/>
                      </a:lnTo>
                      <a:lnTo>
                        <a:pt x="206" y="122"/>
                      </a:lnTo>
                      <a:lnTo>
                        <a:pt x="208" y="128"/>
                      </a:lnTo>
                      <a:lnTo>
                        <a:pt x="205" y="137"/>
                      </a:lnTo>
                      <a:lnTo>
                        <a:pt x="202" y="14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75" name="Freeform 1130"/>
                <p:cNvSpPr>
                  <a:spLocks/>
                </p:cNvSpPr>
                <p:nvPr/>
              </p:nvSpPr>
              <p:spPr bwMode="auto">
                <a:xfrm>
                  <a:off x="4676862" y="3684154"/>
                  <a:ext cx="262154" cy="229508"/>
                </a:xfrm>
                <a:custGeom>
                  <a:avLst/>
                  <a:gdLst>
                    <a:gd name="T0" fmla="*/ 257 w 265"/>
                    <a:gd name="T1" fmla="*/ 87 h 232"/>
                    <a:gd name="T2" fmla="*/ 251 w 265"/>
                    <a:gd name="T3" fmla="*/ 93 h 232"/>
                    <a:gd name="T4" fmla="*/ 237 w 265"/>
                    <a:gd name="T5" fmla="*/ 95 h 232"/>
                    <a:gd name="T6" fmla="*/ 237 w 265"/>
                    <a:gd name="T7" fmla="*/ 80 h 232"/>
                    <a:gd name="T8" fmla="*/ 242 w 265"/>
                    <a:gd name="T9" fmla="*/ 66 h 232"/>
                    <a:gd name="T10" fmla="*/ 252 w 265"/>
                    <a:gd name="T11" fmla="*/ 63 h 232"/>
                    <a:gd name="T12" fmla="*/ 252 w 265"/>
                    <a:gd name="T13" fmla="*/ 26 h 232"/>
                    <a:gd name="T14" fmla="*/ 251 w 265"/>
                    <a:gd name="T15" fmla="*/ 18 h 232"/>
                    <a:gd name="T16" fmla="*/ 238 w 265"/>
                    <a:gd name="T17" fmla="*/ 5 h 232"/>
                    <a:gd name="T18" fmla="*/ 225 w 265"/>
                    <a:gd name="T19" fmla="*/ 3 h 232"/>
                    <a:gd name="T20" fmla="*/ 213 w 265"/>
                    <a:gd name="T21" fmla="*/ 0 h 232"/>
                    <a:gd name="T22" fmla="*/ 176 w 265"/>
                    <a:gd name="T23" fmla="*/ 21 h 232"/>
                    <a:gd name="T24" fmla="*/ 154 w 265"/>
                    <a:gd name="T25" fmla="*/ 55 h 232"/>
                    <a:gd name="T26" fmla="*/ 144 w 265"/>
                    <a:gd name="T27" fmla="*/ 64 h 232"/>
                    <a:gd name="T28" fmla="*/ 124 w 265"/>
                    <a:gd name="T29" fmla="*/ 63 h 232"/>
                    <a:gd name="T30" fmla="*/ 116 w 265"/>
                    <a:gd name="T31" fmla="*/ 57 h 232"/>
                    <a:gd name="T32" fmla="*/ 112 w 265"/>
                    <a:gd name="T33" fmla="*/ 58 h 232"/>
                    <a:gd name="T34" fmla="*/ 96 w 265"/>
                    <a:gd name="T35" fmla="*/ 79 h 232"/>
                    <a:gd name="T36" fmla="*/ 90 w 265"/>
                    <a:gd name="T37" fmla="*/ 82 h 232"/>
                    <a:gd name="T38" fmla="*/ 73 w 265"/>
                    <a:gd name="T39" fmla="*/ 76 h 232"/>
                    <a:gd name="T40" fmla="*/ 58 w 265"/>
                    <a:gd name="T41" fmla="*/ 55 h 232"/>
                    <a:gd name="T42" fmla="*/ 57 w 265"/>
                    <a:gd name="T43" fmla="*/ 110 h 232"/>
                    <a:gd name="T44" fmla="*/ 41 w 265"/>
                    <a:gd name="T45" fmla="*/ 122 h 232"/>
                    <a:gd name="T46" fmla="*/ 32 w 265"/>
                    <a:gd name="T47" fmla="*/ 119 h 232"/>
                    <a:gd name="T48" fmla="*/ 12 w 265"/>
                    <a:gd name="T49" fmla="*/ 109 h 232"/>
                    <a:gd name="T50" fmla="*/ 0 w 265"/>
                    <a:gd name="T51" fmla="*/ 115 h 232"/>
                    <a:gd name="T52" fmla="*/ 3 w 265"/>
                    <a:gd name="T53" fmla="*/ 118 h 232"/>
                    <a:gd name="T54" fmla="*/ 15 w 265"/>
                    <a:gd name="T55" fmla="*/ 138 h 232"/>
                    <a:gd name="T56" fmla="*/ 13 w 265"/>
                    <a:gd name="T57" fmla="*/ 144 h 232"/>
                    <a:gd name="T58" fmla="*/ 8 w 265"/>
                    <a:gd name="T59" fmla="*/ 145 h 232"/>
                    <a:gd name="T60" fmla="*/ 16 w 265"/>
                    <a:gd name="T61" fmla="*/ 168 h 232"/>
                    <a:gd name="T62" fmla="*/ 19 w 265"/>
                    <a:gd name="T63" fmla="*/ 181 h 232"/>
                    <a:gd name="T64" fmla="*/ 18 w 265"/>
                    <a:gd name="T65" fmla="*/ 192 h 232"/>
                    <a:gd name="T66" fmla="*/ 19 w 265"/>
                    <a:gd name="T67" fmla="*/ 206 h 232"/>
                    <a:gd name="T68" fmla="*/ 24 w 265"/>
                    <a:gd name="T69" fmla="*/ 219 h 232"/>
                    <a:gd name="T70" fmla="*/ 27 w 265"/>
                    <a:gd name="T71" fmla="*/ 223 h 232"/>
                    <a:gd name="T72" fmla="*/ 37 w 265"/>
                    <a:gd name="T73" fmla="*/ 225 h 232"/>
                    <a:gd name="T74" fmla="*/ 45 w 265"/>
                    <a:gd name="T75" fmla="*/ 232 h 232"/>
                    <a:gd name="T76" fmla="*/ 53 w 265"/>
                    <a:gd name="T77" fmla="*/ 231 h 232"/>
                    <a:gd name="T78" fmla="*/ 58 w 265"/>
                    <a:gd name="T79" fmla="*/ 225 h 232"/>
                    <a:gd name="T80" fmla="*/ 69 w 265"/>
                    <a:gd name="T81" fmla="*/ 225 h 232"/>
                    <a:gd name="T82" fmla="*/ 79 w 265"/>
                    <a:gd name="T83" fmla="*/ 219 h 232"/>
                    <a:gd name="T84" fmla="*/ 93 w 265"/>
                    <a:gd name="T85" fmla="*/ 216 h 232"/>
                    <a:gd name="T86" fmla="*/ 105 w 265"/>
                    <a:gd name="T87" fmla="*/ 216 h 232"/>
                    <a:gd name="T88" fmla="*/ 113 w 265"/>
                    <a:gd name="T89" fmla="*/ 216 h 232"/>
                    <a:gd name="T90" fmla="*/ 128 w 265"/>
                    <a:gd name="T91" fmla="*/ 218 h 232"/>
                    <a:gd name="T92" fmla="*/ 145 w 265"/>
                    <a:gd name="T93" fmla="*/ 215 h 232"/>
                    <a:gd name="T94" fmla="*/ 163 w 265"/>
                    <a:gd name="T95" fmla="*/ 206 h 232"/>
                    <a:gd name="T96" fmla="*/ 192 w 265"/>
                    <a:gd name="T97" fmla="*/ 183 h 232"/>
                    <a:gd name="T98" fmla="*/ 215 w 265"/>
                    <a:gd name="T99" fmla="*/ 155 h 232"/>
                    <a:gd name="T100" fmla="*/ 221 w 265"/>
                    <a:gd name="T101" fmla="*/ 151 h 232"/>
                    <a:gd name="T102" fmla="*/ 229 w 265"/>
                    <a:gd name="T103" fmla="*/ 148 h 232"/>
                    <a:gd name="T104" fmla="*/ 242 w 265"/>
                    <a:gd name="T105" fmla="*/ 131 h 232"/>
                    <a:gd name="T106" fmla="*/ 255 w 265"/>
                    <a:gd name="T107" fmla="*/ 116 h 232"/>
                    <a:gd name="T108" fmla="*/ 263 w 265"/>
                    <a:gd name="T109" fmla="*/ 96 h 232"/>
                    <a:gd name="T110" fmla="*/ 265 w 265"/>
                    <a:gd name="T111" fmla="*/ 84 h 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65" h="232">
                      <a:moveTo>
                        <a:pt x="260" y="79"/>
                      </a:moveTo>
                      <a:lnTo>
                        <a:pt x="260" y="79"/>
                      </a:lnTo>
                      <a:lnTo>
                        <a:pt x="257" y="87"/>
                      </a:lnTo>
                      <a:lnTo>
                        <a:pt x="254" y="90"/>
                      </a:lnTo>
                      <a:lnTo>
                        <a:pt x="251" y="93"/>
                      </a:lnTo>
                      <a:lnTo>
                        <a:pt x="251" y="93"/>
                      </a:lnTo>
                      <a:lnTo>
                        <a:pt x="245" y="95"/>
                      </a:lnTo>
                      <a:lnTo>
                        <a:pt x="241" y="95"/>
                      </a:lnTo>
                      <a:lnTo>
                        <a:pt x="237" y="95"/>
                      </a:lnTo>
                      <a:lnTo>
                        <a:pt x="235" y="92"/>
                      </a:lnTo>
                      <a:lnTo>
                        <a:pt x="235" y="92"/>
                      </a:lnTo>
                      <a:lnTo>
                        <a:pt x="237" y="80"/>
                      </a:lnTo>
                      <a:lnTo>
                        <a:pt x="239" y="71"/>
                      </a:lnTo>
                      <a:lnTo>
                        <a:pt x="242" y="66"/>
                      </a:lnTo>
                      <a:lnTo>
                        <a:pt x="242" y="66"/>
                      </a:lnTo>
                      <a:lnTo>
                        <a:pt x="247" y="64"/>
                      </a:lnTo>
                      <a:lnTo>
                        <a:pt x="252" y="63"/>
                      </a:lnTo>
                      <a:lnTo>
                        <a:pt x="252" y="63"/>
                      </a:lnTo>
                      <a:lnTo>
                        <a:pt x="252" y="53"/>
                      </a:lnTo>
                      <a:lnTo>
                        <a:pt x="252" y="38"/>
                      </a:lnTo>
                      <a:lnTo>
                        <a:pt x="252" y="26"/>
                      </a:lnTo>
                      <a:lnTo>
                        <a:pt x="252" y="21"/>
                      </a:lnTo>
                      <a:lnTo>
                        <a:pt x="251" y="18"/>
                      </a:lnTo>
                      <a:lnTo>
                        <a:pt x="251" y="18"/>
                      </a:lnTo>
                      <a:lnTo>
                        <a:pt x="244" y="9"/>
                      </a:lnTo>
                      <a:lnTo>
                        <a:pt x="239" y="5"/>
                      </a:lnTo>
                      <a:lnTo>
                        <a:pt x="238" y="5"/>
                      </a:lnTo>
                      <a:lnTo>
                        <a:pt x="235" y="5"/>
                      </a:lnTo>
                      <a:lnTo>
                        <a:pt x="235" y="5"/>
                      </a:lnTo>
                      <a:lnTo>
                        <a:pt x="225" y="3"/>
                      </a:lnTo>
                      <a:lnTo>
                        <a:pt x="219" y="3"/>
                      </a:lnTo>
                      <a:lnTo>
                        <a:pt x="213" y="0"/>
                      </a:lnTo>
                      <a:lnTo>
                        <a:pt x="213" y="0"/>
                      </a:lnTo>
                      <a:lnTo>
                        <a:pt x="190" y="12"/>
                      </a:lnTo>
                      <a:lnTo>
                        <a:pt x="176" y="21"/>
                      </a:lnTo>
                      <a:lnTo>
                        <a:pt x="176" y="21"/>
                      </a:lnTo>
                      <a:lnTo>
                        <a:pt x="170" y="28"/>
                      </a:lnTo>
                      <a:lnTo>
                        <a:pt x="163" y="42"/>
                      </a:lnTo>
                      <a:lnTo>
                        <a:pt x="154" y="55"/>
                      </a:lnTo>
                      <a:lnTo>
                        <a:pt x="150" y="63"/>
                      </a:lnTo>
                      <a:lnTo>
                        <a:pt x="150" y="63"/>
                      </a:lnTo>
                      <a:lnTo>
                        <a:pt x="144" y="64"/>
                      </a:lnTo>
                      <a:lnTo>
                        <a:pt x="135" y="64"/>
                      </a:lnTo>
                      <a:lnTo>
                        <a:pt x="128" y="64"/>
                      </a:lnTo>
                      <a:lnTo>
                        <a:pt x="124" y="63"/>
                      </a:lnTo>
                      <a:lnTo>
                        <a:pt x="124" y="63"/>
                      </a:lnTo>
                      <a:lnTo>
                        <a:pt x="119" y="58"/>
                      </a:lnTo>
                      <a:lnTo>
                        <a:pt x="116" y="57"/>
                      </a:lnTo>
                      <a:lnTo>
                        <a:pt x="113" y="57"/>
                      </a:lnTo>
                      <a:lnTo>
                        <a:pt x="113" y="57"/>
                      </a:lnTo>
                      <a:lnTo>
                        <a:pt x="112" y="58"/>
                      </a:lnTo>
                      <a:lnTo>
                        <a:pt x="109" y="61"/>
                      </a:lnTo>
                      <a:lnTo>
                        <a:pt x="102" y="70"/>
                      </a:lnTo>
                      <a:lnTo>
                        <a:pt x="96" y="79"/>
                      </a:lnTo>
                      <a:lnTo>
                        <a:pt x="93" y="80"/>
                      </a:lnTo>
                      <a:lnTo>
                        <a:pt x="90" y="82"/>
                      </a:lnTo>
                      <a:lnTo>
                        <a:pt x="90" y="82"/>
                      </a:lnTo>
                      <a:lnTo>
                        <a:pt x="80" y="82"/>
                      </a:lnTo>
                      <a:lnTo>
                        <a:pt x="76" y="79"/>
                      </a:lnTo>
                      <a:lnTo>
                        <a:pt x="73" y="76"/>
                      </a:lnTo>
                      <a:lnTo>
                        <a:pt x="73" y="76"/>
                      </a:lnTo>
                      <a:lnTo>
                        <a:pt x="67" y="66"/>
                      </a:lnTo>
                      <a:lnTo>
                        <a:pt x="58" y="55"/>
                      </a:lnTo>
                      <a:lnTo>
                        <a:pt x="58" y="106"/>
                      </a:lnTo>
                      <a:lnTo>
                        <a:pt x="58" y="106"/>
                      </a:lnTo>
                      <a:lnTo>
                        <a:pt x="57" y="110"/>
                      </a:lnTo>
                      <a:lnTo>
                        <a:pt x="51" y="116"/>
                      </a:lnTo>
                      <a:lnTo>
                        <a:pt x="45" y="121"/>
                      </a:lnTo>
                      <a:lnTo>
                        <a:pt x="41" y="122"/>
                      </a:lnTo>
                      <a:lnTo>
                        <a:pt x="38" y="122"/>
                      </a:lnTo>
                      <a:lnTo>
                        <a:pt x="38" y="122"/>
                      </a:lnTo>
                      <a:lnTo>
                        <a:pt x="32" y="119"/>
                      </a:lnTo>
                      <a:lnTo>
                        <a:pt x="25" y="115"/>
                      </a:lnTo>
                      <a:lnTo>
                        <a:pt x="18" y="110"/>
                      </a:lnTo>
                      <a:lnTo>
                        <a:pt x="12" y="109"/>
                      </a:lnTo>
                      <a:lnTo>
                        <a:pt x="12" y="109"/>
                      </a:lnTo>
                      <a:lnTo>
                        <a:pt x="6" y="110"/>
                      </a:lnTo>
                      <a:lnTo>
                        <a:pt x="0" y="115"/>
                      </a:lnTo>
                      <a:lnTo>
                        <a:pt x="0" y="115"/>
                      </a:lnTo>
                      <a:lnTo>
                        <a:pt x="3" y="118"/>
                      </a:lnTo>
                      <a:lnTo>
                        <a:pt x="3" y="118"/>
                      </a:lnTo>
                      <a:lnTo>
                        <a:pt x="8" y="122"/>
                      </a:lnTo>
                      <a:lnTo>
                        <a:pt x="11" y="128"/>
                      </a:lnTo>
                      <a:lnTo>
                        <a:pt x="15" y="138"/>
                      </a:lnTo>
                      <a:lnTo>
                        <a:pt x="15" y="138"/>
                      </a:lnTo>
                      <a:lnTo>
                        <a:pt x="16" y="142"/>
                      </a:lnTo>
                      <a:lnTo>
                        <a:pt x="13" y="144"/>
                      </a:lnTo>
                      <a:lnTo>
                        <a:pt x="11" y="144"/>
                      </a:lnTo>
                      <a:lnTo>
                        <a:pt x="8" y="145"/>
                      </a:lnTo>
                      <a:lnTo>
                        <a:pt x="8" y="145"/>
                      </a:lnTo>
                      <a:lnTo>
                        <a:pt x="8" y="150"/>
                      </a:lnTo>
                      <a:lnTo>
                        <a:pt x="9" y="155"/>
                      </a:lnTo>
                      <a:lnTo>
                        <a:pt x="16" y="168"/>
                      </a:lnTo>
                      <a:lnTo>
                        <a:pt x="16" y="168"/>
                      </a:lnTo>
                      <a:lnTo>
                        <a:pt x="18" y="176"/>
                      </a:lnTo>
                      <a:lnTo>
                        <a:pt x="19" y="181"/>
                      </a:lnTo>
                      <a:lnTo>
                        <a:pt x="19" y="187"/>
                      </a:lnTo>
                      <a:lnTo>
                        <a:pt x="18" y="192"/>
                      </a:lnTo>
                      <a:lnTo>
                        <a:pt x="18" y="192"/>
                      </a:lnTo>
                      <a:lnTo>
                        <a:pt x="15" y="196"/>
                      </a:lnTo>
                      <a:lnTo>
                        <a:pt x="15" y="199"/>
                      </a:lnTo>
                      <a:lnTo>
                        <a:pt x="19" y="206"/>
                      </a:lnTo>
                      <a:lnTo>
                        <a:pt x="19" y="206"/>
                      </a:lnTo>
                      <a:lnTo>
                        <a:pt x="22" y="213"/>
                      </a:lnTo>
                      <a:lnTo>
                        <a:pt x="24" y="219"/>
                      </a:lnTo>
                      <a:lnTo>
                        <a:pt x="24" y="219"/>
                      </a:lnTo>
                      <a:lnTo>
                        <a:pt x="25" y="222"/>
                      </a:lnTo>
                      <a:lnTo>
                        <a:pt x="27" y="223"/>
                      </a:lnTo>
                      <a:lnTo>
                        <a:pt x="34" y="225"/>
                      </a:lnTo>
                      <a:lnTo>
                        <a:pt x="34" y="225"/>
                      </a:lnTo>
                      <a:lnTo>
                        <a:pt x="37" y="225"/>
                      </a:lnTo>
                      <a:lnTo>
                        <a:pt x="38" y="228"/>
                      </a:lnTo>
                      <a:lnTo>
                        <a:pt x="41" y="231"/>
                      </a:lnTo>
                      <a:lnTo>
                        <a:pt x="45" y="232"/>
                      </a:lnTo>
                      <a:lnTo>
                        <a:pt x="45" y="232"/>
                      </a:lnTo>
                      <a:lnTo>
                        <a:pt x="50" y="232"/>
                      </a:lnTo>
                      <a:lnTo>
                        <a:pt x="53" y="231"/>
                      </a:lnTo>
                      <a:lnTo>
                        <a:pt x="55" y="226"/>
                      </a:lnTo>
                      <a:lnTo>
                        <a:pt x="55" y="226"/>
                      </a:lnTo>
                      <a:lnTo>
                        <a:pt x="58" y="225"/>
                      </a:lnTo>
                      <a:lnTo>
                        <a:pt x="61" y="225"/>
                      </a:lnTo>
                      <a:lnTo>
                        <a:pt x="69" y="225"/>
                      </a:lnTo>
                      <a:lnTo>
                        <a:pt x="69" y="225"/>
                      </a:lnTo>
                      <a:lnTo>
                        <a:pt x="71" y="225"/>
                      </a:lnTo>
                      <a:lnTo>
                        <a:pt x="73" y="223"/>
                      </a:lnTo>
                      <a:lnTo>
                        <a:pt x="79" y="219"/>
                      </a:lnTo>
                      <a:lnTo>
                        <a:pt x="79" y="219"/>
                      </a:lnTo>
                      <a:lnTo>
                        <a:pt x="84" y="216"/>
                      </a:lnTo>
                      <a:lnTo>
                        <a:pt x="93" y="216"/>
                      </a:lnTo>
                      <a:lnTo>
                        <a:pt x="93" y="216"/>
                      </a:lnTo>
                      <a:lnTo>
                        <a:pt x="105" y="216"/>
                      </a:lnTo>
                      <a:lnTo>
                        <a:pt x="105" y="216"/>
                      </a:lnTo>
                      <a:lnTo>
                        <a:pt x="109" y="216"/>
                      </a:lnTo>
                      <a:lnTo>
                        <a:pt x="113" y="216"/>
                      </a:lnTo>
                      <a:lnTo>
                        <a:pt x="113" y="216"/>
                      </a:lnTo>
                      <a:lnTo>
                        <a:pt x="122" y="218"/>
                      </a:lnTo>
                      <a:lnTo>
                        <a:pt x="125" y="218"/>
                      </a:lnTo>
                      <a:lnTo>
                        <a:pt x="128" y="218"/>
                      </a:lnTo>
                      <a:lnTo>
                        <a:pt x="128" y="218"/>
                      </a:lnTo>
                      <a:lnTo>
                        <a:pt x="137" y="216"/>
                      </a:lnTo>
                      <a:lnTo>
                        <a:pt x="145" y="215"/>
                      </a:lnTo>
                      <a:lnTo>
                        <a:pt x="145" y="215"/>
                      </a:lnTo>
                      <a:lnTo>
                        <a:pt x="154" y="212"/>
                      </a:lnTo>
                      <a:lnTo>
                        <a:pt x="163" y="206"/>
                      </a:lnTo>
                      <a:lnTo>
                        <a:pt x="163" y="206"/>
                      </a:lnTo>
                      <a:lnTo>
                        <a:pt x="179" y="193"/>
                      </a:lnTo>
                      <a:lnTo>
                        <a:pt x="192" y="183"/>
                      </a:lnTo>
                      <a:lnTo>
                        <a:pt x="192" y="183"/>
                      </a:lnTo>
                      <a:lnTo>
                        <a:pt x="203" y="170"/>
                      </a:lnTo>
                      <a:lnTo>
                        <a:pt x="215" y="155"/>
                      </a:lnTo>
                      <a:lnTo>
                        <a:pt x="215" y="155"/>
                      </a:lnTo>
                      <a:lnTo>
                        <a:pt x="218" y="152"/>
                      </a:lnTo>
                      <a:lnTo>
                        <a:pt x="221" y="151"/>
                      </a:lnTo>
                      <a:lnTo>
                        <a:pt x="225" y="150"/>
                      </a:lnTo>
                      <a:lnTo>
                        <a:pt x="225" y="150"/>
                      </a:lnTo>
                      <a:lnTo>
                        <a:pt x="229" y="148"/>
                      </a:lnTo>
                      <a:lnTo>
                        <a:pt x="234" y="142"/>
                      </a:lnTo>
                      <a:lnTo>
                        <a:pt x="242" y="131"/>
                      </a:lnTo>
                      <a:lnTo>
                        <a:pt x="242" y="131"/>
                      </a:lnTo>
                      <a:lnTo>
                        <a:pt x="248" y="122"/>
                      </a:lnTo>
                      <a:lnTo>
                        <a:pt x="255" y="116"/>
                      </a:lnTo>
                      <a:lnTo>
                        <a:pt x="255" y="116"/>
                      </a:lnTo>
                      <a:lnTo>
                        <a:pt x="257" y="112"/>
                      </a:lnTo>
                      <a:lnTo>
                        <a:pt x="260" y="106"/>
                      </a:lnTo>
                      <a:lnTo>
                        <a:pt x="263" y="96"/>
                      </a:lnTo>
                      <a:lnTo>
                        <a:pt x="263" y="96"/>
                      </a:lnTo>
                      <a:lnTo>
                        <a:pt x="264" y="92"/>
                      </a:lnTo>
                      <a:lnTo>
                        <a:pt x="265" y="84"/>
                      </a:lnTo>
                      <a:lnTo>
                        <a:pt x="265" y="84"/>
                      </a:lnTo>
                      <a:lnTo>
                        <a:pt x="260" y="79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76" name="Freeform 1131"/>
                <p:cNvSpPr>
                  <a:spLocks/>
                </p:cNvSpPr>
                <p:nvPr/>
              </p:nvSpPr>
              <p:spPr bwMode="auto">
                <a:xfrm>
                  <a:off x="4851961" y="3798908"/>
                  <a:ext cx="30667" cy="30667"/>
                </a:xfrm>
                <a:custGeom>
                  <a:avLst/>
                  <a:gdLst>
                    <a:gd name="T0" fmla="*/ 25 w 31"/>
                    <a:gd name="T1" fmla="*/ 26 h 31"/>
                    <a:gd name="T2" fmla="*/ 25 w 31"/>
                    <a:gd name="T3" fmla="*/ 26 h 31"/>
                    <a:gd name="T4" fmla="*/ 22 w 31"/>
                    <a:gd name="T5" fmla="*/ 28 h 31"/>
                    <a:gd name="T6" fmla="*/ 19 w 31"/>
                    <a:gd name="T7" fmla="*/ 31 h 31"/>
                    <a:gd name="T8" fmla="*/ 15 w 31"/>
                    <a:gd name="T9" fmla="*/ 31 h 31"/>
                    <a:gd name="T10" fmla="*/ 9 w 31"/>
                    <a:gd name="T11" fmla="*/ 31 h 31"/>
                    <a:gd name="T12" fmla="*/ 9 w 31"/>
                    <a:gd name="T13" fmla="*/ 31 h 31"/>
                    <a:gd name="T14" fmla="*/ 6 w 31"/>
                    <a:gd name="T15" fmla="*/ 31 h 31"/>
                    <a:gd name="T16" fmla="*/ 4 w 31"/>
                    <a:gd name="T17" fmla="*/ 28 h 31"/>
                    <a:gd name="T18" fmla="*/ 2 w 31"/>
                    <a:gd name="T19" fmla="*/ 23 h 31"/>
                    <a:gd name="T20" fmla="*/ 0 w 31"/>
                    <a:gd name="T21" fmla="*/ 18 h 31"/>
                    <a:gd name="T22" fmla="*/ 2 w 31"/>
                    <a:gd name="T23" fmla="*/ 13 h 31"/>
                    <a:gd name="T24" fmla="*/ 2 w 31"/>
                    <a:gd name="T25" fmla="*/ 13 h 31"/>
                    <a:gd name="T26" fmla="*/ 6 w 31"/>
                    <a:gd name="T27" fmla="*/ 9 h 31"/>
                    <a:gd name="T28" fmla="*/ 13 w 31"/>
                    <a:gd name="T29" fmla="*/ 3 h 31"/>
                    <a:gd name="T30" fmla="*/ 22 w 31"/>
                    <a:gd name="T31" fmla="*/ 0 h 31"/>
                    <a:gd name="T32" fmla="*/ 25 w 31"/>
                    <a:gd name="T33" fmla="*/ 0 h 31"/>
                    <a:gd name="T34" fmla="*/ 28 w 31"/>
                    <a:gd name="T35" fmla="*/ 0 h 31"/>
                    <a:gd name="T36" fmla="*/ 28 w 31"/>
                    <a:gd name="T37" fmla="*/ 0 h 31"/>
                    <a:gd name="T38" fmla="*/ 29 w 31"/>
                    <a:gd name="T39" fmla="*/ 3 h 31"/>
                    <a:gd name="T40" fmla="*/ 29 w 31"/>
                    <a:gd name="T41" fmla="*/ 6 h 31"/>
                    <a:gd name="T42" fmla="*/ 31 w 31"/>
                    <a:gd name="T43" fmla="*/ 12 h 31"/>
                    <a:gd name="T44" fmla="*/ 28 w 31"/>
                    <a:gd name="T45" fmla="*/ 21 h 31"/>
                    <a:gd name="T46" fmla="*/ 25 w 31"/>
                    <a:gd name="T47" fmla="*/ 26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1" h="31">
                      <a:moveTo>
                        <a:pt x="25" y="26"/>
                      </a:moveTo>
                      <a:lnTo>
                        <a:pt x="25" y="26"/>
                      </a:lnTo>
                      <a:lnTo>
                        <a:pt x="22" y="28"/>
                      </a:lnTo>
                      <a:lnTo>
                        <a:pt x="19" y="31"/>
                      </a:lnTo>
                      <a:lnTo>
                        <a:pt x="15" y="31"/>
                      </a:lnTo>
                      <a:lnTo>
                        <a:pt x="9" y="31"/>
                      </a:lnTo>
                      <a:lnTo>
                        <a:pt x="9" y="31"/>
                      </a:lnTo>
                      <a:lnTo>
                        <a:pt x="6" y="31"/>
                      </a:lnTo>
                      <a:lnTo>
                        <a:pt x="4" y="28"/>
                      </a:lnTo>
                      <a:lnTo>
                        <a:pt x="2" y="23"/>
                      </a:lnTo>
                      <a:lnTo>
                        <a:pt x="0" y="18"/>
                      </a:lnTo>
                      <a:lnTo>
                        <a:pt x="2" y="13"/>
                      </a:lnTo>
                      <a:lnTo>
                        <a:pt x="2" y="13"/>
                      </a:lnTo>
                      <a:lnTo>
                        <a:pt x="6" y="9"/>
                      </a:lnTo>
                      <a:lnTo>
                        <a:pt x="13" y="3"/>
                      </a:lnTo>
                      <a:lnTo>
                        <a:pt x="22" y="0"/>
                      </a:lnTo>
                      <a:lnTo>
                        <a:pt x="25" y="0"/>
                      </a:lnTo>
                      <a:lnTo>
                        <a:pt x="28" y="0"/>
                      </a:lnTo>
                      <a:lnTo>
                        <a:pt x="28" y="0"/>
                      </a:lnTo>
                      <a:lnTo>
                        <a:pt x="29" y="3"/>
                      </a:lnTo>
                      <a:lnTo>
                        <a:pt x="29" y="6"/>
                      </a:lnTo>
                      <a:lnTo>
                        <a:pt x="31" y="12"/>
                      </a:lnTo>
                      <a:lnTo>
                        <a:pt x="28" y="21"/>
                      </a:lnTo>
                      <a:lnTo>
                        <a:pt x="25" y="2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83" name="Freeform 1138"/>
                <p:cNvSpPr>
                  <a:spLocks/>
                </p:cNvSpPr>
                <p:nvPr/>
              </p:nvSpPr>
              <p:spPr bwMode="auto">
                <a:xfrm>
                  <a:off x="4640259" y="2718637"/>
                  <a:ext cx="6925" cy="5936"/>
                </a:xfrm>
                <a:custGeom>
                  <a:avLst/>
                  <a:gdLst>
                    <a:gd name="T0" fmla="*/ 7 w 7"/>
                    <a:gd name="T1" fmla="*/ 3 h 6"/>
                    <a:gd name="T2" fmla="*/ 7 w 7"/>
                    <a:gd name="T3" fmla="*/ 3 h 6"/>
                    <a:gd name="T4" fmla="*/ 7 w 7"/>
                    <a:gd name="T5" fmla="*/ 4 h 6"/>
                    <a:gd name="T6" fmla="*/ 4 w 7"/>
                    <a:gd name="T7" fmla="*/ 6 h 6"/>
                    <a:gd name="T8" fmla="*/ 1 w 7"/>
                    <a:gd name="T9" fmla="*/ 4 h 6"/>
                    <a:gd name="T10" fmla="*/ 0 w 7"/>
                    <a:gd name="T11" fmla="*/ 3 h 6"/>
                    <a:gd name="T12" fmla="*/ 0 w 7"/>
                    <a:gd name="T13" fmla="*/ 3 h 6"/>
                    <a:gd name="T14" fmla="*/ 0 w 7"/>
                    <a:gd name="T15" fmla="*/ 2 h 6"/>
                    <a:gd name="T16" fmla="*/ 1 w 7"/>
                    <a:gd name="T17" fmla="*/ 0 h 6"/>
                    <a:gd name="T18" fmla="*/ 4 w 7"/>
                    <a:gd name="T19" fmla="*/ 2 h 6"/>
                    <a:gd name="T20" fmla="*/ 7 w 7"/>
                    <a:gd name="T21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6">
                      <a:moveTo>
                        <a:pt x="7" y="3"/>
                      </a:moveTo>
                      <a:lnTo>
                        <a:pt x="7" y="3"/>
                      </a:lnTo>
                      <a:lnTo>
                        <a:pt x="7" y="4"/>
                      </a:lnTo>
                      <a:lnTo>
                        <a:pt x="4" y="6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4" y="2"/>
                      </a:lnTo>
                      <a:lnTo>
                        <a:pt x="7" y="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84" name="Freeform 1139"/>
                <p:cNvSpPr>
                  <a:spLocks/>
                </p:cNvSpPr>
                <p:nvPr/>
              </p:nvSpPr>
              <p:spPr bwMode="auto">
                <a:xfrm>
                  <a:off x="4640259" y="2718637"/>
                  <a:ext cx="6925" cy="5936"/>
                </a:xfrm>
                <a:custGeom>
                  <a:avLst/>
                  <a:gdLst>
                    <a:gd name="T0" fmla="*/ 7 w 7"/>
                    <a:gd name="T1" fmla="*/ 3 h 6"/>
                    <a:gd name="T2" fmla="*/ 7 w 7"/>
                    <a:gd name="T3" fmla="*/ 3 h 6"/>
                    <a:gd name="T4" fmla="*/ 7 w 7"/>
                    <a:gd name="T5" fmla="*/ 4 h 6"/>
                    <a:gd name="T6" fmla="*/ 4 w 7"/>
                    <a:gd name="T7" fmla="*/ 6 h 6"/>
                    <a:gd name="T8" fmla="*/ 1 w 7"/>
                    <a:gd name="T9" fmla="*/ 4 h 6"/>
                    <a:gd name="T10" fmla="*/ 0 w 7"/>
                    <a:gd name="T11" fmla="*/ 3 h 6"/>
                    <a:gd name="T12" fmla="*/ 0 w 7"/>
                    <a:gd name="T13" fmla="*/ 3 h 6"/>
                    <a:gd name="T14" fmla="*/ 0 w 7"/>
                    <a:gd name="T15" fmla="*/ 2 h 6"/>
                    <a:gd name="T16" fmla="*/ 1 w 7"/>
                    <a:gd name="T17" fmla="*/ 0 h 6"/>
                    <a:gd name="T18" fmla="*/ 4 w 7"/>
                    <a:gd name="T19" fmla="*/ 2 h 6"/>
                    <a:gd name="T20" fmla="*/ 7 w 7"/>
                    <a:gd name="T21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6">
                      <a:moveTo>
                        <a:pt x="7" y="3"/>
                      </a:moveTo>
                      <a:lnTo>
                        <a:pt x="7" y="3"/>
                      </a:lnTo>
                      <a:lnTo>
                        <a:pt x="7" y="4"/>
                      </a:lnTo>
                      <a:lnTo>
                        <a:pt x="4" y="6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4" y="2"/>
                      </a:lnTo>
                      <a:lnTo>
                        <a:pt x="7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85" name="Freeform 1140"/>
                <p:cNvSpPr>
                  <a:spLocks/>
                </p:cNvSpPr>
                <p:nvPr/>
              </p:nvSpPr>
              <p:spPr bwMode="auto">
                <a:xfrm>
                  <a:off x="4550236" y="3277568"/>
                  <a:ext cx="4946" cy="5936"/>
                </a:xfrm>
                <a:custGeom>
                  <a:avLst/>
                  <a:gdLst>
                    <a:gd name="T0" fmla="*/ 4 w 5"/>
                    <a:gd name="T1" fmla="*/ 4 h 6"/>
                    <a:gd name="T2" fmla="*/ 4 w 5"/>
                    <a:gd name="T3" fmla="*/ 4 h 6"/>
                    <a:gd name="T4" fmla="*/ 2 w 5"/>
                    <a:gd name="T5" fmla="*/ 6 h 6"/>
                    <a:gd name="T6" fmla="*/ 0 w 5"/>
                    <a:gd name="T7" fmla="*/ 4 h 6"/>
                    <a:gd name="T8" fmla="*/ 0 w 5"/>
                    <a:gd name="T9" fmla="*/ 1 h 6"/>
                    <a:gd name="T10" fmla="*/ 1 w 5"/>
                    <a:gd name="T11" fmla="*/ 0 h 6"/>
                    <a:gd name="T12" fmla="*/ 1 w 5"/>
                    <a:gd name="T13" fmla="*/ 0 h 6"/>
                    <a:gd name="T14" fmla="*/ 4 w 5"/>
                    <a:gd name="T15" fmla="*/ 0 h 6"/>
                    <a:gd name="T16" fmla="*/ 5 w 5"/>
                    <a:gd name="T17" fmla="*/ 1 h 6"/>
                    <a:gd name="T18" fmla="*/ 4 w 5"/>
                    <a:gd name="T1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6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86" name="Freeform 1141"/>
                <p:cNvSpPr>
                  <a:spLocks/>
                </p:cNvSpPr>
                <p:nvPr/>
              </p:nvSpPr>
              <p:spPr bwMode="auto">
                <a:xfrm>
                  <a:off x="4550236" y="3277568"/>
                  <a:ext cx="4946" cy="5936"/>
                </a:xfrm>
                <a:custGeom>
                  <a:avLst/>
                  <a:gdLst>
                    <a:gd name="T0" fmla="*/ 4 w 5"/>
                    <a:gd name="T1" fmla="*/ 4 h 6"/>
                    <a:gd name="T2" fmla="*/ 4 w 5"/>
                    <a:gd name="T3" fmla="*/ 4 h 6"/>
                    <a:gd name="T4" fmla="*/ 2 w 5"/>
                    <a:gd name="T5" fmla="*/ 6 h 6"/>
                    <a:gd name="T6" fmla="*/ 0 w 5"/>
                    <a:gd name="T7" fmla="*/ 4 h 6"/>
                    <a:gd name="T8" fmla="*/ 0 w 5"/>
                    <a:gd name="T9" fmla="*/ 1 h 6"/>
                    <a:gd name="T10" fmla="*/ 1 w 5"/>
                    <a:gd name="T11" fmla="*/ 0 h 6"/>
                    <a:gd name="T12" fmla="*/ 1 w 5"/>
                    <a:gd name="T13" fmla="*/ 0 h 6"/>
                    <a:gd name="T14" fmla="*/ 4 w 5"/>
                    <a:gd name="T15" fmla="*/ 0 h 6"/>
                    <a:gd name="T16" fmla="*/ 5 w 5"/>
                    <a:gd name="T17" fmla="*/ 1 h 6"/>
                    <a:gd name="T18" fmla="*/ 4 w 5"/>
                    <a:gd name="T1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6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4" y="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87" name="Freeform 1142"/>
                <p:cNvSpPr>
                  <a:spLocks/>
                </p:cNvSpPr>
                <p:nvPr/>
              </p:nvSpPr>
              <p:spPr bwMode="auto">
                <a:xfrm>
                  <a:off x="4522537" y="3320106"/>
                  <a:ext cx="3957" cy="2968"/>
                </a:xfrm>
                <a:custGeom>
                  <a:avLst/>
                  <a:gdLst>
                    <a:gd name="T0" fmla="*/ 3 w 4"/>
                    <a:gd name="T1" fmla="*/ 3 h 3"/>
                    <a:gd name="T2" fmla="*/ 3 w 4"/>
                    <a:gd name="T3" fmla="*/ 3 h 3"/>
                    <a:gd name="T4" fmla="*/ 0 w 4"/>
                    <a:gd name="T5" fmla="*/ 3 h 3"/>
                    <a:gd name="T6" fmla="*/ 0 w 4"/>
                    <a:gd name="T7" fmla="*/ 2 h 3"/>
                    <a:gd name="T8" fmla="*/ 1 w 4"/>
                    <a:gd name="T9" fmla="*/ 0 h 3"/>
                    <a:gd name="T10" fmla="*/ 1 w 4"/>
                    <a:gd name="T11" fmla="*/ 0 h 3"/>
                    <a:gd name="T12" fmla="*/ 3 w 4"/>
                    <a:gd name="T13" fmla="*/ 0 h 3"/>
                    <a:gd name="T14" fmla="*/ 4 w 4"/>
                    <a:gd name="T15" fmla="*/ 2 h 3"/>
                    <a:gd name="T16" fmla="*/ 4 w 4"/>
                    <a:gd name="T17" fmla="*/ 3 h 3"/>
                    <a:gd name="T18" fmla="*/ 3 w 4"/>
                    <a:gd name="T1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3"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4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88" name="Freeform 1143"/>
                <p:cNvSpPr>
                  <a:spLocks/>
                </p:cNvSpPr>
                <p:nvPr/>
              </p:nvSpPr>
              <p:spPr bwMode="auto">
                <a:xfrm>
                  <a:off x="4522537" y="3320106"/>
                  <a:ext cx="3957" cy="2968"/>
                </a:xfrm>
                <a:custGeom>
                  <a:avLst/>
                  <a:gdLst>
                    <a:gd name="T0" fmla="*/ 3 w 4"/>
                    <a:gd name="T1" fmla="*/ 3 h 3"/>
                    <a:gd name="T2" fmla="*/ 3 w 4"/>
                    <a:gd name="T3" fmla="*/ 3 h 3"/>
                    <a:gd name="T4" fmla="*/ 0 w 4"/>
                    <a:gd name="T5" fmla="*/ 3 h 3"/>
                    <a:gd name="T6" fmla="*/ 0 w 4"/>
                    <a:gd name="T7" fmla="*/ 2 h 3"/>
                    <a:gd name="T8" fmla="*/ 1 w 4"/>
                    <a:gd name="T9" fmla="*/ 0 h 3"/>
                    <a:gd name="T10" fmla="*/ 1 w 4"/>
                    <a:gd name="T11" fmla="*/ 0 h 3"/>
                    <a:gd name="T12" fmla="*/ 3 w 4"/>
                    <a:gd name="T13" fmla="*/ 0 h 3"/>
                    <a:gd name="T14" fmla="*/ 4 w 4"/>
                    <a:gd name="T15" fmla="*/ 2 h 3"/>
                    <a:gd name="T16" fmla="*/ 4 w 4"/>
                    <a:gd name="T17" fmla="*/ 3 h 3"/>
                    <a:gd name="T18" fmla="*/ 3 w 4"/>
                    <a:gd name="T1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3"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4" y="3"/>
                      </a:lnTo>
                      <a:lnTo>
                        <a:pt x="3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89" name="Freeform 1144"/>
                <p:cNvSpPr>
                  <a:spLocks noEditPoints="1"/>
                </p:cNvSpPr>
                <p:nvPr/>
              </p:nvSpPr>
              <p:spPr bwMode="auto">
                <a:xfrm>
                  <a:off x="4344470" y="3155889"/>
                  <a:ext cx="64302" cy="98926"/>
                </a:xfrm>
                <a:custGeom>
                  <a:avLst/>
                  <a:gdLst>
                    <a:gd name="T0" fmla="*/ 61 w 65"/>
                    <a:gd name="T1" fmla="*/ 61 h 100"/>
                    <a:gd name="T2" fmla="*/ 62 w 65"/>
                    <a:gd name="T3" fmla="*/ 48 h 100"/>
                    <a:gd name="T4" fmla="*/ 62 w 65"/>
                    <a:gd name="T5" fmla="*/ 32 h 100"/>
                    <a:gd name="T6" fmla="*/ 58 w 65"/>
                    <a:gd name="T7" fmla="*/ 17 h 100"/>
                    <a:gd name="T8" fmla="*/ 52 w 65"/>
                    <a:gd name="T9" fmla="*/ 0 h 100"/>
                    <a:gd name="T10" fmla="*/ 45 w 65"/>
                    <a:gd name="T11" fmla="*/ 1 h 100"/>
                    <a:gd name="T12" fmla="*/ 20 w 65"/>
                    <a:gd name="T13" fmla="*/ 1 h 100"/>
                    <a:gd name="T14" fmla="*/ 13 w 65"/>
                    <a:gd name="T15" fmla="*/ 3 h 100"/>
                    <a:gd name="T16" fmla="*/ 9 w 65"/>
                    <a:gd name="T17" fmla="*/ 7 h 100"/>
                    <a:gd name="T18" fmla="*/ 9 w 65"/>
                    <a:gd name="T19" fmla="*/ 20 h 100"/>
                    <a:gd name="T20" fmla="*/ 10 w 65"/>
                    <a:gd name="T21" fmla="*/ 27 h 100"/>
                    <a:gd name="T22" fmla="*/ 11 w 65"/>
                    <a:gd name="T23" fmla="*/ 43 h 100"/>
                    <a:gd name="T24" fmla="*/ 9 w 65"/>
                    <a:gd name="T25" fmla="*/ 52 h 100"/>
                    <a:gd name="T26" fmla="*/ 7 w 65"/>
                    <a:gd name="T27" fmla="*/ 55 h 100"/>
                    <a:gd name="T28" fmla="*/ 0 w 65"/>
                    <a:gd name="T29" fmla="*/ 62 h 100"/>
                    <a:gd name="T30" fmla="*/ 0 w 65"/>
                    <a:gd name="T31" fmla="*/ 72 h 100"/>
                    <a:gd name="T32" fmla="*/ 3 w 65"/>
                    <a:gd name="T33" fmla="*/ 82 h 100"/>
                    <a:gd name="T34" fmla="*/ 4 w 65"/>
                    <a:gd name="T35" fmla="*/ 96 h 100"/>
                    <a:gd name="T36" fmla="*/ 22 w 65"/>
                    <a:gd name="T37" fmla="*/ 100 h 100"/>
                    <a:gd name="T38" fmla="*/ 40 w 65"/>
                    <a:gd name="T39" fmla="*/ 96 h 100"/>
                    <a:gd name="T40" fmla="*/ 65 w 65"/>
                    <a:gd name="T41" fmla="*/ 84 h 100"/>
                    <a:gd name="T42" fmla="*/ 53 w 65"/>
                    <a:gd name="T43" fmla="*/ 72 h 100"/>
                    <a:gd name="T44" fmla="*/ 51 w 65"/>
                    <a:gd name="T45" fmla="*/ 69 h 100"/>
                    <a:gd name="T46" fmla="*/ 46 w 65"/>
                    <a:gd name="T47" fmla="*/ 64 h 100"/>
                    <a:gd name="T48" fmla="*/ 48 w 65"/>
                    <a:gd name="T49" fmla="*/ 62 h 100"/>
                    <a:gd name="T50" fmla="*/ 52 w 65"/>
                    <a:gd name="T51" fmla="*/ 58 h 100"/>
                    <a:gd name="T52" fmla="*/ 51 w 65"/>
                    <a:gd name="T53" fmla="*/ 51 h 100"/>
                    <a:gd name="T54" fmla="*/ 46 w 65"/>
                    <a:gd name="T55" fmla="*/ 43 h 100"/>
                    <a:gd name="T56" fmla="*/ 40 w 65"/>
                    <a:gd name="T57" fmla="*/ 39 h 100"/>
                    <a:gd name="T58" fmla="*/ 33 w 65"/>
                    <a:gd name="T59" fmla="*/ 39 h 100"/>
                    <a:gd name="T60" fmla="*/ 30 w 65"/>
                    <a:gd name="T61" fmla="*/ 36 h 100"/>
                    <a:gd name="T62" fmla="*/ 33 w 65"/>
                    <a:gd name="T63" fmla="*/ 36 h 100"/>
                    <a:gd name="T64" fmla="*/ 37 w 65"/>
                    <a:gd name="T65" fmla="*/ 35 h 100"/>
                    <a:gd name="T66" fmla="*/ 39 w 65"/>
                    <a:gd name="T67" fmla="*/ 35 h 100"/>
                    <a:gd name="T68" fmla="*/ 35 w 65"/>
                    <a:gd name="T69" fmla="*/ 29 h 100"/>
                    <a:gd name="T70" fmla="*/ 37 w 65"/>
                    <a:gd name="T71" fmla="*/ 27 h 100"/>
                    <a:gd name="T72" fmla="*/ 43 w 65"/>
                    <a:gd name="T73" fmla="*/ 29 h 100"/>
                    <a:gd name="T74" fmla="*/ 55 w 65"/>
                    <a:gd name="T75" fmla="*/ 42 h 100"/>
                    <a:gd name="T76" fmla="*/ 56 w 65"/>
                    <a:gd name="T77" fmla="*/ 46 h 100"/>
                    <a:gd name="T78" fmla="*/ 56 w 65"/>
                    <a:gd name="T79" fmla="*/ 61 h 100"/>
                    <a:gd name="T80" fmla="*/ 58 w 65"/>
                    <a:gd name="T81" fmla="*/ 69 h 100"/>
                    <a:gd name="T82" fmla="*/ 56 w 65"/>
                    <a:gd name="T83" fmla="*/ 7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65" h="100">
                      <a:moveTo>
                        <a:pt x="61" y="61"/>
                      </a:moveTo>
                      <a:lnTo>
                        <a:pt x="61" y="61"/>
                      </a:lnTo>
                      <a:lnTo>
                        <a:pt x="61" y="55"/>
                      </a:lnTo>
                      <a:lnTo>
                        <a:pt x="62" y="48"/>
                      </a:lnTo>
                      <a:lnTo>
                        <a:pt x="64" y="40"/>
                      </a:lnTo>
                      <a:lnTo>
                        <a:pt x="62" y="32"/>
                      </a:lnTo>
                      <a:lnTo>
                        <a:pt x="62" y="32"/>
                      </a:lnTo>
                      <a:lnTo>
                        <a:pt x="58" y="17"/>
                      </a:lnTo>
                      <a:lnTo>
                        <a:pt x="52" y="0"/>
                      </a:lnTo>
                      <a:lnTo>
                        <a:pt x="52" y="0"/>
                      </a:lnTo>
                      <a:lnTo>
                        <a:pt x="45" y="1"/>
                      </a:lnTo>
                      <a:lnTo>
                        <a:pt x="45" y="1"/>
                      </a:lnTo>
                      <a:lnTo>
                        <a:pt x="30" y="1"/>
                      </a:lnTo>
                      <a:lnTo>
                        <a:pt x="20" y="1"/>
                      </a:lnTo>
                      <a:lnTo>
                        <a:pt x="13" y="3"/>
                      </a:lnTo>
                      <a:lnTo>
                        <a:pt x="13" y="3"/>
                      </a:lnTo>
                      <a:lnTo>
                        <a:pt x="10" y="4"/>
                      </a:lnTo>
                      <a:lnTo>
                        <a:pt x="9" y="7"/>
                      </a:lnTo>
                      <a:lnTo>
                        <a:pt x="7" y="13"/>
                      </a:lnTo>
                      <a:lnTo>
                        <a:pt x="9" y="20"/>
                      </a:lnTo>
                      <a:lnTo>
                        <a:pt x="10" y="27"/>
                      </a:lnTo>
                      <a:lnTo>
                        <a:pt x="10" y="27"/>
                      </a:lnTo>
                      <a:lnTo>
                        <a:pt x="11" y="35"/>
                      </a:lnTo>
                      <a:lnTo>
                        <a:pt x="11" y="43"/>
                      </a:lnTo>
                      <a:lnTo>
                        <a:pt x="10" y="51"/>
                      </a:lnTo>
                      <a:lnTo>
                        <a:pt x="9" y="52"/>
                      </a:lnTo>
                      <a:lnTo>
                        <a:pt x="7" y="55"/>
                      </a:lnTo>
                      <a:lnTo>
                        <a:pt x="7" y="55"/>
                      </a:lnTo>
                      <a:lnTo>
                        <a:pt x="3" y="58"/>
                      </a:lnTo>
                      <a:lnTo>
                        <a:pt x="0" y="62"/>
                      </a:lnTo>
                      <a:lnTo>
                        <a:pt x="0" y="68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3" y="82"/>
                      </a:lnTo>
                      <a:lnTo>
                        <a:pt x="4" y="96"/>
                      </a:lnTo>
                      <a:lnTo>
                        <a:pt x="4" y="96"/>
                      </a:lnTo>
                      <a:lnTo>
                        <a:pt x="22" y="100"/>
                      </a:lnTo>
                      <a:lnTo>
                        <a:pt x="22" y="100"/>
                      </a:lnTo>
                      <a:lnTo>
                        <a:pt x="29" y="98"/>
                      </a:lnTo>
                      <a:lnTo>
                        <a:pt x="40" y="96"/>
                      </a:lnTo>
                      <a:lnTo>
                        <a:pt x="65" y="84"/>
                      </a:lnTo>
                      <a:lnTo>
                        <a:pt x="65" y="84"/>
                      </a:lnTo>
                      <a:lnTo>
                        <a:pt x="61" y="61"/>
                      </a:lnTo>
                      <a:close/>
                      <a:moveTo>
                        <a:pt x="53" y="72"/>
                      </a:moveTo>
                      <a:lnTo>
                        <a:pt x="53" y="72"/>
                      </a:lnTo>
                      <a:lnTo>
                        <a:pt x="51" y="69"/>
                      </a:lnTo>
                      <a:lnTo>
                        <a:pt x="48" y="67"/>
                      </a:lnTo>
                      <a:lnTo>
                        <a:pt x="46" y="64"/>
                      </a:lnTo>
                      <a:lnTo>
                        <a:pt x="48" y="62"/>
                      </a:lnTo>
                      <a:lnTo>
                        <a:pt x="48" y="62"/>
                      </a:lnTo>
                      <a:lnTo>
                        <a:pt x="51" y="61"/>
                      </a:lnTo>
                      <a:lnTo>
                        <a:pt x="52" y="58"/>
                      </a:lnTo>
                      <a:lnTo>
                        <a:pt x="52" y="55"/>
                      </a:lnTo>
                      <a:lnTo>
                        <a:pt x="51" y="51"/>
                      </a:lnTo>
                      <a:lnTo>
                        <a:pt x="51" y="51"/>
                      </a:lnTo>
                      <a:lnTo>
                        <a:pt x="46" y="43"/>
                      </a:lnTo>
                      <a:lnTo>
                        <a:pt x="45" y="40"/>
                      </a:lnTo>
                      <a:lnTo>
                        <a:pt x="40" y="39"/>
                      </a:lnTo>
                      <a:lnTo>
                        <a:pt x="40" y="39"/>
                      </a:lnTo>
                      <a:lnTo>
                        <a:pt x="33" y="39"/>
                      </a:lnTo>
                      <a:lnTo>
                        <a:pt x="30" y="38"/>
                      </a:lnTo>
                      <a:lnTo>
                        <a:pt x="30" y="36"/>
                      </a:lnTo>
                      <a:lnTo>
                        <a:pt x="30" y="36"/>
                      </a:lnTo>
                      <a:lnTo>
                        <a:pt x="33" y="36"/>
                      </a:lnTo>
                      <a:lnTo>
                        <a:pt x="36" y="36"/>
                      </a:lnTo>
                      <a:lnTo>
                        <a:pt x="37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7" y="32"/>
                      </a:lnTo>
                      <a:lnTo>
                        <a:pt x="35" y="29"/>
                      </a:lnTo>
                      <a:lnTo>
                        <a:pt x="33" y="27"/>
                      </a:lnTo>
                      <a:lnTo>
                        <a:pt x="37" y="27"/>
                      </a:lnTo>
                      <a:lnTo>
                        <a:pt x="37" y="27"/>
                      </a:lnTo>
                      <a:lnTo>
                        <a:pt x="43" y="29"/>
                      </a:lnTo>
                      <a:lnTo>
                        <a:pt x="48" y="33"/>
                      </a:lnTo>
                      <a:lnTo>
                        <a:pt x="55" y="42"/>
                      </a:lnTo>
                      <a:lnTo>
                        <a:pt x="55" y="42"/>
                      </a:lnTo>
                      <a:lnTo>
                        <a:pt x="56" y="46"/>
                      </a:lnTo>
                      <a:lnTo>
                        <a:pt x="58" y="52"/>
                      </a:lnTo>
                      <a:lnTo>
                        <a:pt x="56" y="61"/>
                      </a:lnTo>
                      <a:lnTo>
                        <a:pt x="56" y="61"/>
                      </a:lnTo>
                      <a:lnTo>
                        <a:pt x="58" y="69"/>
                      </a:lnTo>
                      <a:lnTo>
                        <a:pt x="58" y="72"/>
                      </a:lnTo>
                      <a:lnTo>
                        <a:pt x="56" y="72"/>
                      </a:lnTo>
                      <a:lnTo>
                        <a:pt x="53" y="7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90" name="Freeform 1145"/>
                <p:cNvSpPr>
                  <a:spLocks/>
                </p:cNvSpPr>
                <p:nvPr/>
              </p:nvSpPr>
              <p:spPr bwMode="auto">
                <a:xfrm>
                  <a:off x="4362277" y="3155889"/>
                  <a:ext cx="64302" cy="98926"/>
                </a:xfrm>
                <a:custGeom>
                  <a:avLst/>
                  <a:gdLst>
                    <a:gd name="T0" fmla="*/ 61 w 65"/>
                    <a:gd name="T1" fmla="*/ 61 h 100"/>
                    <a:gd name="T2" fmla="*/ 61 w 65"/>
                    <a:gd name="T3" fmla="*/ 61 h 100"/>
                    <a:gd name="T4" fmla="*/ 61 w 65"/>
                    <a:gd name="T5" fmla="*/ 55 h 100"/>
                    <a:gd name="T6" fmla="*/ 62 w 65"/>
                    <a:gd name="T7" fmla="*/ 48 h 100"/>
                    <a:gd name="T8" fmla="*/ 64 w 65"/>
                    <a:gd name="T9" fmla="*/ 40 h 100"/>
                    <a:gd name="T10" fmla="*/ 62 w 65"/>
                    <a:gd name="T11" fmla="*/ 32 h 100"/>
                    <a:gd name="T12" fmla="*/ 62 w 65"/>
                    <a:gd name="T13" fmla="*/ 32 h 100"/>
                    <a:gd name="T14" fmla="*/ 58 w 65"/>
                    <a:gd name="T15" fmla="*/ 17 h 100"/>
                    <a:gd name="T16" fmla="*/ 52 w 65"/>
                    <a:gd name="T17" fmla="*/ 0 h 100"/>
                    <a:gd name="T18" fmla="*/ 52 w 65"/>
                    <a:gd name="T19" fmla="*/ 0 h 100"/>
                    <a:gd name="T20" fmla="*/ 45 w 65"/>
                    <a:gd name="T21" fmla="*/ 1 h 100"/>
                    <a:gd name="T22" fmla="*/ 45 w 65"/>
                    <a:gd name="T23" fmla="*/ 1 h 100"/>
                    <a:gd name="T24" fmla="*/ 30 w 65"/>
                    <a:gd name="T25" fmla="*/ 1 h 100"/>
                    <a:gd name="T26" fmla="*/ 20 w 65"/>
                    <a:gd name="T27" fmla="*/ 1 h 100"/>
                    <a:gd name="T28" fmla="*/ 13 w 65"/>
                    <a:gd name="T29" fmla="*/ 3 h 100"/>
                    <a:gd name="T30" fmla="*/ 13 w 65"/>
                    <a:gd name="T31" fmla="*/ 3 h 100"/>
                    <a:gd name="T32" fmla="*/ 10 w 65"/>
                    <a:gd name="T33" fmla="*/ 4 h 100"/>
                    <a:gd name="T34" fmla="*/ 9 w 65"/>
                    <a:gd name="T35" fmla="*/ 7 h 100"/>
                    <a:gd name="T36" fmla="*/ 7 w 65"/>
                    <a:gd name="T37" fmla="*/ 13 h 100"/>
                    <a:gd name="T38" fmla="*/ 9 w 65"/>
                    <a:gd name="T39" fmla="*/ 20 h 100"/>
                    <a:gd name="T40" fmla="*/ 10 w 65"/>
                    <a:gd name="T41" fmla="*/ 27 h 100"/>
                    <a:gd name="T42" fmla="*/ 10 w 65"/>
                    <a:gd name="T43" fmla="*/ 27 h 100"/>
                    <a:gd name="T44" fmla="*/ 11 w 65"/>
                    <a:gd name="T45" fmla="*/ 35 h 100"/>
                    <a:gd name="T46" fmla="*/ 11 w 65"/>
                    <a:gd name="T47" fmla="*/ 43 h 100"/>
                    <a:gd name="T48" fmla="*/ 10 w 65"/>
                    <a:gd name="T49" fmla="*/ 51 h 100"/>
                    <a:gd name="T50" fmla="*/ 9 w 65"/>
                    <a:gd name="T51" fmla="*/ 52 h 100"/>
                    <a:gd name="T52" fmla="*/ 7 w 65"/>
                    <a:gd name="T53" fmla="*/ 55 h 100"/>
                    <a:gd name="T54" fmla="*/ 7 w 65"/>
                    <a:gd name="T55" fmla="*/ 55 h 100"/>
                    <a:gd name="T56" fmla="*/ 3 w 65"/>
                    <a:gd name="T57" fmla="*/ 58 h 100"/>
                    <a:gd name="T58" fmla="*/ 0 w 65"/>
                    <a:gd name="T59" fmla="*/ 62 h 100"/>
                    <a:gd name="T60" fmla="*/ 0 w 65"/>
                    <a:gd name="T61" fmla="*/ 68 h 100"/>
                    <a:gd name="T62" fmla="*/ 0 w 65"/>
                    <a:gd name="T63" fmla="*/ 72 h 100"/>
                    <a:gd name="T64" fmla="*/ 0 w 65"/>
                    <a:gd name="T65" fmla="*/ 72 h 100"/>
                    <a:gd name="T66" fmla="*/ 3 w 65"/>
                    <a:gd name="T67" fmla="*/ 82 h 100"/>
                    <a:gd name="T68" fmla="*/ 4 w 65"/>
                    <a:gd name="T69" fmla="*/ 96 h 100"/>
                    <a:gd name="T70" fmla="*/ 4 w 65"/>
                    <a:gd name="T71" fmla="*/ 96 h 100"/>
                    <a:gd name="T72" fmla="*/ 22 w 65"/>
                    <a:gd name="T73" fmla="*/ 100 h 100"/>
                    <a:gd name="T74" fmla="*/ 22 w 65"/>
                    <a:gd name="T75" fmla="*/ 100 h 100"/>
                    <a:gd name="T76" fmla="*/ 29 w 65"/>
                    <a:gd name="T77" fmla="*/ 98 h 100"/>
                    <a:gd name="T78" fmla="*/ 40 w 65"/>
                    <a:gd name="T79" fmla="*/ 96 h 100"/>
                    <a:gd name="T80" fmla="*/ 65 w 65"/>
                    <a:gd name="T81" fmla="*/ 84 h 100"/>
                    <a:gd name="T82" fmla="*/ 65 w 65"/>
                    <a:gd name="T83" fmla="*/ 84 h 100"/>
                    <a:gd name="T84" fmla="*/ 61 w 65"/>
                    <a:gd name="T85" fmla="*/ 61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65" h="100">
                      <a:moveTo>
                        <a:pt x="61" y="61"/>
                      </a:moveTo>
                      <a:lnTo>
                        <a:pt x="61" y="61"/>
                      </a:lnTo>
                      <a:lnTo>
                        <a:pt x="61" y="55"/>
                      </a:lnTo>
                      <a:lnTo>
                        <a:pt x="62" y="48"/>
                      </a:lnTo>
                      <a:lnTo>
                        <a:pt x="64" y="40"/>
                      </a:lnTo>
                      <a:lnTo>
                        <a:pt x="62" y="32"/>
                      </a:lnTo>
                      <a:lnTo>
                        <a:pt x="62" y="32"/>
                      </a:lnTo>
                      <a:lnTo>
                        <a:pt x="58" y="17"/>
                      </a:lnTo>
                      <a:lnTo>
                        <a:pt x="52" y="0"/>
                      </a:lnTo>
                      <a:lnTo>
                        <a:pt x="52" y="0"/>
                      </a:lnTo>
                      <a:lnTo>
                        <a:pt x="45" y="1"/>
                      </a:lnTo>
                      <a:lnTo>
                        <a:pt x="45" y="1"/>
                      </a:lnTo>
                      <a:lnTo>
                        <a:pt x="30" y="1"/>
                      </a:lnTo>
                      <a:lnTo>
                        <a:pt x="20" y="1"/>
                      </a:lnTo>
                      <a:lnTo>
                        <a:pt x="13" y="3"/>
                      </a:lnTo>
                      <a:lnTo>
                        <a:pt x="13" y="3"/>
                      </a:lnTo>
                      <a:lnTo>
                        <a:pt x="10" y="4"/>
                      </a:lnTo>
                      <a:lnTo>
                        <a:pt x="9" y="7"/>
                      </a:lnTo>
                      <a:lnTo>
                        <a:pt x="7" y="13"/>
                      </a:lnTo>
                      <a:lnTo>
                        <a:pt x="9" y="20"/>
                      </a:lnTo>
                      <a:lnTo>
                        <a:pt x="10" y="27"/>
                      </a:lnTo>
                      <a:lnTo>
                        <a:pt x="10" y="27"/>
                      </a:lnTo>
                      <a:lnTo>
                        <a:pt x="11" y="35"/>
                      </a:lnTo>
                      <a:lnTo>
                        <a:pt x="11" y="43"/>
                      </a:lnTo>
                      <a:lnTo>
                        <a:pt x="10" y="51"/>
                      </a:lnTo>
                      <a:lnTo>
                        <a:pt x="9" y="52"/>
                      </a:lnTo>
                      <a:lnTo>
                        <a:pt x="7" y="55"/>
                      </a:lnTo>
                      <a:lnTo>
                        <a:pt x="7" y="55"/>
                      </a:lnTo>
                      <a:lnTo>
                        <a:pt x="3" y="58"/>
                      </a:lnTo>
                      <a:lnTo>
                        <a:pt x="0" y="62"/>
                      </a:lnTo>
                      <a:lnTo>
                        <a:pt x="0" y="68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3" y="82"/>
                      </a:lnTo>
                      <a:lnTo>
                        <a:pt x="4" y="96"/>
                      </a:lnTo>
                      <a:lnTo>
                        <a:pt x="4" y="96"/>
                      </a:lnTo>
                      <a:lnTo>
                        <a:pt x="22" y="100"/>
                      </a:lnTo>
                      <a:lnTo>
                        <a:pt x="22" y="100"/>
                      </a:lnTo>
                      <a:lnTo>
                        <a:pt x="29" y="98"/>
                      </a:lnTo>
                      <a:lnTo>
                        <a:pt x="40" y="96"/>
                      </a:lnTo>
                      <a:lnTo>
                        <a:pt x="65" y="84"/>
                      </a:lnTo>
                      <a:lnTo>
                        <a:pt x="65" y="84"/>
                      </a:lnTo>
                      <a:lnTo>
                        <a:pt x="61" y="6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91" name="Freeform 1146"/>
                <p:cNvSpPr>
                  <a:spLocks/>
                </p:cNvSpPr>
                <p:nvPr/>
              </p:nvSpPr>
              <p:spPr bwMode="auto">
                <a:xfrm>
                  <a:off x="4391955" y="3182599"/>
                  <a:ext cx="27699" cy="44517"/>
                </a:xfrm>
                <a:custGeom>
                  <a:avLst/>
                  <a:gdLst>
                    <a:gd name="T0" fmla="*/ 23 w 28"/>
                    <a:gd name="T1" fmla="*/ 45 h 45"/>
                    <a:gd name="T2" fmla="*/ 23 w 28"/>
                    <a:gd name="T3" fmla="*/ 45 h 45"/>
                    <a:gd name="T4" fmla="*/ 21 w 28"/>
                    <a:gd name="T5" fmla="*/ 42 h 45"/>
                    <a:gd name="T6" fmla="*/ 18 w 28"/>
                    <a:gd name="T7" fmla="*/ 40 h 45"/>
                    <a:gd name="T8" fmla="*/ 16 w 28"/>
                    <a:gd name="T9" fmla="*/ 37 h 45"/>
                    <a:gd name="T10" fmla="*/ 18 w 28"/>
                    <a:gd name="T11" fmla="*/ 35 h 45"/>
                    <a:gd name="T12" fmla="*/ 18 w 28"/>
                    <a:gd name="T13" fmla="*/ 35 h 45"/>
                    <a:gd name="T14" fmla="*/ 21 w 28"/>
                    <a:gd name="T15" fmla="*/ 34 h 45"/>
                    <a:gd name="T16" fmla="*/ 22 w 28"/>
                    <a:gd name="T17" fmla="*/ 31 h 45"/>
                    <a:gd name="T18" fmla="*/ 22 w 28"/>
                    <a:gd name="T19" fmla="*/ 28 h 45"/>
                    <a:gd name="T20" fmla="*/ 21 w 28"/>
                    <a:gd name="T21" fmla="*/ 24 h 45"/>
                    <a:gd name="T22" fmla="*/ 21 w 28"/>
                    <a:gd name="T23" fmla="*/ 24 h 45"/>
                    <a:gd name="T24" fmla="*/ 16 w 28"/>
                    <a:gd name="T25" fmla="*/ 16 h 45"/>
                    <a:gd name="T26" fmla="*/ 15 w 28"/>
                    <a:gd name="T27" fmla="*/ 13 h 45"/>
                    <a:gd name="T28" fmla="*/ 10 w 28"/>
                    <a:gd name="T29" fmla="*/ 12 h 45"/>
                    <a:gd name="T30" fmla="*/ 10 w 28"/>
                    <a:gd name="T31" fmla="*/ 12 h 45"/>
                    <a:gd name="T32" fmla="*/ 3 w 28"/>
                    <a:gd name="T33" fmla="*/ 12 h 45"/>
                    <a:gd name="T34" fmla="*/ 0 w 28"/>
                    <a:gd name="T35" fmla="*/ 11 h 45"/>
                    <a:gd name="T36" fmla="*/ 0 w 28"/>
                    <a:gd name="T37" fmla="*/ 9 h 45"/>
                    <a:gd name="T38" fmla="*/ 0 w 28"/>
                    <a:gd name="T39" fmla="*/ 9 h 45"/>
                    <a:gd name="T40" fmla="*/ 3 w 28"/>
                    <a:gd name="T41" fmla="*/ 9 h 45"/>
                    <a:gd name="T42" fmla="*/ 6 w 28"/>
                    <a:gd name="T43" fmla="*/ 9 h 45"/>
                    <a:gd name="T44" fmla="*/ 7 w 28"/>
                    <a:gd name="T45" fmla="*/ 8 h 45"/>
                    <a:gd name="T46" fmla="*/ 9 w 28"/>
                    <a:gd name="T47" fmla="*/ 8 h 45"/>
                    <a:gd name="T48" fmla="*/ 9 w 28"/>
                    <a:gd name="T49" fmla="*/ 8 h 45"/>
                    <a:gd name="T50" fmla="*/ 7 w 28"/>
                    <a:gd name="T51" fmla="*/ 5 h 45"/>
                    <a:gd name="T52" fmla="*/ 5 w 28"/>
                    <a:gd name="T53" fmla="*/ 2 h 45"/>
                    <a:gd name="T54" fmla="*/ 3 w 28"/>
                    <a:gd name="T55" fmla="*/ 0 h 45"/>
                    <a:gd name="T56" fmla="*/ 7 w 28"/>
                    <a:gd name="T57" fmla="*/ 0 h 45"/>
                    <a:gd name="T58" fmla="*/ 7 w 28"/>
                    <a:gd name="T59" fmla="*/ 0 h 45"/>
                    <a:gd name="T60" fmla="*/ 13 w 28"/>
                    <a:gd name="T61" fmla="*/ 2 h 45"/>
                    <a:gd name="T62" fmla="*/ 18 w 28"/>
                    <a:gd name="T63" fmla="*/ 6 h 45"/>
                    <a:gd name="T64" fmla="*/ 25 w 28"/>
                    <a:gd name="T65" fmla="*/ 15 h 45"/>
                    <a:gd name="T66" fmla="*/ 25 w 28"/>
                    <a:gd name="T67" fmla="*/ 15 h 45"/>
                    <a:gd name="T68" fmla="*/ 26 w 28"/>
                    <a:gd name="T69" fmla="*/ 19 h 45"/>
                    <a:gd name="T70" fmla="*/ 28 w 28"/>
                    <a:gd name="T71" fmla="*/ 25 h 45"/>
                    <a:gd name="T72" fmla="*/ 26 w 28"/>
                    <a:gd name="T73" fmla="*/ 34 h 45"/>
                    <a:gd name="T74" fmla="*/ 26 w 28"/>
                    <a:gd name="T75" fmla="*/ 34 h 45"/>
                    <a:gd name="T76" fmla="*/ 28 w 28"/>
                    <a:gd name="T77" fmla="*/ 42 h 45"/>
                    <a:gd name="T78" fmla="*/ 28 w 28"/>
                    <a:gd name="T79" fmla="*/ 45 h 45"/>
                    <a:gd name="T80" fmla="*/ 26 w 28"/>
                    <a:gd name="T81" fmla="*/ 45 h 45"/>
                    <a:gd name="T82" fmla="*/ 23 w 28"/>
                    <a:gd name="T83" fmla="*/ 45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8" h="45">
                      <a:moveTo>
                        <a:pt x="23" y="45"/>
                      </a:moveTo>
                      <a:lnTo>
                        <a:pt x="23" y="45"/>
                      </a:lnTo>
                      <a:lnTo>
                        <a:pt x="21" y="42"/>
                      </a:lnTo>
                      <a:lnTo>
                        <a:pt x="18" y="40"/>
                      </a:lnTo>
                      <a:lnTo>
                        <a:pt x="16" y="37"/>
                      </a:lnTo>
                      <a:lnTo>
                        <a:pt x="18" y="35"/>
                      </a:lnTo>
                      <a:lnTo>
                        <a:pt x="18" y="35"/>
                      </a:lnTo>
                      <a:lnTo>
                        <a:pt x="21" y="34"/>
                      </a:lnTo>
                      <a:lnTo>
                        <a:pt x="22" y="31"/>
                      </a:lnTo>
                      <a:lnTo>
                        <a:pt x="22" y="28"/>
                      </a:lnTo>
                      <a:lnTo>
                        <a:pt x="21" y="24"/>
                      </a:lnTo>
                      <a:lnTo>
                        <a:pt x="21" y="24"/>
                      </a:lnTo>
                      <a:lnTo>
                        <a:pt x="16" y="16"/>
                      </a:lnTo>
                      <a:lnTo>
                        <a:pt x="15" y="13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3" y="12"/>
                      </a:lnTo>
                      <a:lnTo>
                        <a:pt x="0" y="11"/>
                      </a:lnTo>
                      <a:lnTo>
                        <a:pt x="0" y="9"/>
                      </a:lnTo>
                      <a:lnTo>
                        <a:pt x="0" y="9"/>
                      </a:lnTo>
                      <a:lnTo>
                        <a:pt x="3" y="9"/>
                      </a:lnTo>
                      <a:lnTo>
                        <a:pt x="6" y="9"/>
                      </a:lnTo>
                      <a:lnTo>
                        <a:pt x="7" y="8"/>
                      </a:lnTo>
                      <a:lnTo>
                        <a:pt x="9" y="8"/>
                      </a:lnTo>
                      <a:lnTo>
                        <a:pt x="9" y="8"/>
                      </a:lnTo>
                      <a:lnTo>
                        <a:pt x="7" y="5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3" y="2"/>
                      </a:lnTo>
                      <a:lnTo>
                        <a:pt x="18" y="6"/>
                      </a:lnTo>
                      <a:lnTo>
                        <a:pt x="25" y="15"/>
                      </a:lnTo>
                      <a:lnTo>
                        <a:pt x="25" y="15"/>
                      </a:lnTo>
                      <a:lnTo>
                        <a:pt x="26" y="19"/>
                      </a:lnTo>
                      <a:lnTo>
                        <a:pt x="28" y="25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8" y="42"/>
                      </a:lnTo>
                      <a:lnTo>
                        <a:pt x="28" y="45"/>
                      </a:lnTo>
                      <a:lnTo>
                        <a:pt x="26" y="45"/>
                      </a:lnTo>
                      <a:lnTo>
                        <a:pt x="23" y="4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59" name="Freeform 1212"/>
                <p:cNvSpPr>
                  <a:spLocks/>
                </p:cNvSpPr>
                <p:nvPr/>
              </p:nvSpPr>
              <p:spPr bwMode="auto">
                <a:xfrm>
                  <a:off x="5218975" y="2891757"/>
                  <a:ext cx="3957" cy="4946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5 h 5"/>
                    <a:gd name="T4" fmla="*/ 3 w 4"/>
                    <a:gd name="T5" fmla="*/ 5 h 5"/>
                    <a:gd name="T6" fmla="*/ 0 w 4"/>
                    <a:gd name="T7" fmla="*/ 5 h 5"/>
                    <a:gd name="T8" fmla="*/ 0 w 4"/>
                    <a:gd name="T9" fmla="*/ 3 h 5"/>
                    <a:gd name="T10" fmla="*/ 0 w 4"/>
                    <a:gd name="T11" fmla="*/ 2 h 5"/>
                    <a:gd name="T12" fmla="*/ 0 w 4"/>
                    <a:gd name="T13" fmla="*/ 2 h 5"/>
                    <a:gd name="T14" fmla="*/ 1 w 4"/>
                    <a:gd name="T15" fmla="*/ 0 h 5"/>
                    <a:gd name="T16" fmla="*/ 3 w 4"/>
                    <a:gd name="T17" fmla="*/ 2 h 5"/>
                    <a:gd name="T18" fmla="*/ 4 w 4"/>
                    <a:gd name="T19" fmla="*/ 3 h 5"/>
                    <a:gd name="T20" fmla="*/ 4 w 4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2"/>
                      </a:lnTo>
                      <a:lnTo>
                        <a:pt x="4" y="3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60" name="Freeform 1213"/>
                <p:cNvSpPr>
                  <a:spLocks/>
                </p:cNvSpPr>
                <p:nvPr/>
              </p:nvSpPr>
              <p:spPr bwMode="auto">
                <a:xfrm>
                  <a:off x="5218975" y="2891757"/>
                  <a:ext cx="3957" cy="4946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5 h 5"/>
                    <a:gd name="T4" fmla="*/ 3 w 4"/>
                    <a:gd name="T5" fmla="*/ 5 h 5"/>
                    <a:gd name="T6" fmla="*/ 0 w 4"/>
                    <a:gd name="T7" fmla="*/ 5 h 5"/>
                    <a:gd name="T8" fmla="*/ 0 w 4"/>
                    <a:gd name="T9" fmla="*/ 3 h 5"/>
                    <a:gd name="T10" fmla="*/ 0 w 4"/>
                    <a:gd name="T11" fmla="*/ 2 h 5"/>
                    <a:gd name="T12" fmla="*/ 0 w 4"/>
                    <a:gd name="T13" fmla="*/ 2 h 5"/>
                    <a:gd name="T14" fmla="*/ 1 w 4"/>
                    <a:gd name="T15" fmla="*/ 0 h 5"/>
                    <a:gd name="T16" fmla="*/ 3 w 4"/>
                    <a:gd name="T17" fmla="*/ 2 h 5"/>
                    <a:gd name="T18" fmla="*/ 4 w 4"/>
                    <a:gd name="T19" fmla="*/ 3 h 5"/>
                    <a:gd name="T20" fmla="*/ 4 w 4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2"/>
                      </a:lnTo>
                      <a:lnTo>
                        <a:pt x="4" y="3"/>
                      </a:lnTo>
                      <a:lnTo>
                        <a:pt x="4" y="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61" name="Freeform 1214"/>
                <p:cNvSpPr>
                  <a:spLocks/>
                </p:cNvSpPr>
                <p:nvPr/>
              </p:nvSpPr>
              <p:spPr bwMode="auto">
                <a:xfrm>
                  <a:off x="4718410" y="2501989"/>
                  <a:ext cx="66280" cy="92001"/>
                </a:xfrm>
                <a:custGeom>
                  <a:avLst/>
                  <a:gdLst>
                    <a:gd name="T0" fmla="*/ 63 w 67"/>
                    <a:gd name="T1" fmla="*/ 44 h 93"/>
                    <a:gd name="T2" fmla="*/ 63 w 67"/>
                    <a:gd name="T3" fmla="*/ 44 h 93"/>
                    <a:gd name="T4" fmla="*/ 60 w 67"/>
                    <a:gd name="T5" fmla="*/ 40 h 93"/>
                    <a:gd name="T6" fmla="*/ 60 w 67"/>
                    <a:gd name="T7" fmla="*/ 37 h 93"/>
                    <a:gd name="T8" fmla="*/ 60 w 67"/>
                    <a:gd name="T9" fmla="*/ 35 h 93"/>
                    <a:gd name="T10" fmla="*/ 58 w 67"/>
                    <a:gd name="T11" fmla="*/ 34 h 93"/>
                    <a:gd name="T12" fmla="*/ 58 w 67"/>
                    <a:gd name="T13" fmla="*/ 34 h 93"/>
                    <a:gd name="T14" fmla="*/ 51 w 67"/>
                    <a:gd name="T15" fmla="*/ 37 h 93"/>
                    <a:gd name="T16" fmla="*/ 47 w 67"/>
                    <a:gd name="T17" fmla="*/ 37 h 93"/>
                    <a:gd name="T18" fmla="*/ 44 w 67"/>
                    <a:gd name="T19" fmla="*/ 35 h 93"/>
                    <a:gd name="T20" fmla="*/ 44 w 67"/>
                    <a:gd name="T21" fmla="*/ 35 h 93"/>
                    <a:gd name="T22" fmla="*/ 40 w 67"/>
                    <a:gd name="T23" fmla="*/ 32 h 93"/>
                    <a:gd name="T24" fmla="*/ 38 w 67"/>
                    <a:gd name="T25" fmla="*/ 29 h 93"/>
                    <a:gd name="T26" fmla="*/ 35 w 67"/>
                    <a:gd name="T27" fmla="*/ 26 h 93"/>
                    <a:gd name="T28" fmla="*/ 32 w 67"/>
                    <a:gd name="T29" fmla="*/ 24 h 93"/>
                    <a:gd name="T30" fmla="*/ 32 w 67"/>
                    <a:gd name="T31" fmla="*/ 24 h 93"/>
                    <a:gd name="T32" fmla="*/ 29 w 67"/>
                    <a:gd name="T33" fmla="*/ 21 h 93"/>
                    <a:gd name="T34" fmla="*/ 27 w 67"/>
                    <a:gd name="T35" fmla="*/ 15 h 93"/>
                    <a:gd name="T36" fmla="*/ 22 w 67"/>
                    <a:gd name="T37" fmla="*/ 9 h 93"/>
                    <a:gd name="T38" fmla="*/ 21 w 67"/>
                    <a:gd name="T39" fmla="*/ 0 h 93"/>
                    <a:gd name="T40" fmla="*/ 21 w 67"/>
                    <a:gd name="T41" fmla="*/ 0 h 93"/>
                    <a:gd name="T42" fmla="*/ 8 w 67"/>
                    <a:gd name="T43" fmla="*/ 5 h 93"/>
                    <a:gd name="T44" fmla="*/ 3 w 67"/>
                    <a:gd name="T45" fmla="*/ 6 h 93"/>
                    <a:gd name="T46" fmla="*/ 0 w 67"/>
                    <a:gd name="T47" fmla="*/ 8 h 93"/>
                    <a:gd name="T48" fmla="*/ 0 w 67"/>
                    <a:gd name="T49" fmla="*/ 8 h 93"/>
                    <a:gd name="T50" fmla="*/ 0 w 67"/>
                    <a:gd name="T51" fmla="*/ 12 h 93"/>
                    <a:gd name="T52" fmla="*/ 3 w 67"/>
                    <a:gd name="T53" fmla="*/ 21 h 93"/>
                    <a:gd name="T54" fmla="*/ 5 w 67"/>
                    <a:gd name="T55" fmla="*/ 31 h 93"/>
                    <a:gd name="T56" fmla="*/ 6 w 67"/>
                    <a:gd name="T57" fmla="*/ 40 h 93"/>
                    <a:gd name="T58" fmla="*/ 6 w 67"/>
                    <a:gd name="T59" fmla="*/ 40 h 93"/>
                    <a:gd name="T60" fmla="*/ 6 w 67"/>
                    <a:gd name="T61" fmla="*/ 45 h 93"/>
                    <a:gd name="T62" fmla="*/ 3 w 67"/>
                    <a:gd name="T63" fmla="*/ 50 h 93"/>
                    <a:gd name="T64" fmla="*/ 3 w 67"/>
                    <a:gd name="T65" fmla="*/ 50 h 93"/>
                    <a:gd name="T66" fmla="*/ 12 w 67"/>
                    <a:gd name="T67" fmla="*/ 58 h 93"/>
                    <a:gd name="T68" fmla="*/ 15 w 67"/>
                    <a:gd name="T69" fmla="*/ 63 h 93"/>
                    <a:gd name="T70" fmla="*/ 16 w 67"/>
                    <a:gd name="T71" fmla="*/ 67 h 93"/>
                    <a:gd name="T72" fmla="*/ 16 w 67"/>
                    <a:gd name="T73" fmla="*/ 67 h 93"/>
                    <a:gd name="T74" fmla="*/ 18 w 67"/>
                    <a:gd name="T75" fmla="*/ 71 h 93"/>
                    <a:gd name="T76" fmla="*/ 18 w 67"/>
                    <a:gd name="T77" fmla="*/ 76 h 93"/>
                    <a:gd name="T78" fmla="*/ 16 w 67"/>
                    <a:gd name="T79" fmla="*/ 82 h 93"/>
                    <a:gd name="T80" fmla="*/ 16 w 67"/>
                    <a:gd name="T81" fmla="*/ 82 h 93"/>
                    <a:gd name="T82" fmla="*/ 19 w 67"/>
                    <a:gd name="T83" fmla="*/ 87 h 93"/>
                    <a:gd name="T84" fmla="*/ 22 w 67"/>
                    <a:gd name="T85" fmla="*/ 93 h 93"/>
                    <a:gd name="T86" fmla="*/ 22 w 67"/>
                    <a:gd name="T87" fmla="*/ 93 h 93"/>
                    <a:gd name="T88" fmla="*/ 37 w 67"/>
                    <a:gd name="T89" fmla="*/ 86 h 93"/>
                    <a:gd name="T90" fmla="*/ 37 w 67"/>
                    <a:gd name="T91" fmla="*/ 86 h 93"/>
                    <a:gd name="T92" fmla="*/ 51 w 67"/>
                    <a:gd name="T93" fmla="*/ 84 h 93"/>
                    <a:gd name="T94" fmla="*/ 51 w 67"/>
                    <a:gd name="T95" fmla="*/ 84 h 93"/>
                    <a:gd name="T96" fmla="*/ 51 w 67"/>
                    <a:gd name="T97" fmla="*/ 80 h 93"/>
                    <a:gd name="T98" fmla="*/ 51 w 67"/>
                    <a:gd name="T99" fmla="*/ 80 h 93"/>
                    <a:gd name="T100" fmla="*/ 55 w 67"/>
                    <a:gd name="T101" fmla="*/ 64 h 93"/>
                    <a:gd name="T102" fmla="*/ 58 w 67"/>
                    <a:gd name="T103" fmla="*/ 55 h 93"/>
                    <a:gd name="T104" fmla="*/ 60 w 67"/>
                    <a:gd name="T105" fmla="*/ 54 h 93"/>
                    <a:gd name="T106" fmla="*/ 63 w 67"/>
                    <a:gd name="T107" fmla="*/ 53 h 93"/>
                    <a:gd name="T108" fmla="*/ 63 w 67"/>
                    <a:gd name="T109" fmla="*/ 53 h 93"/>
                    <a:gd name="T110" fmla="*/ 67 w 67"/>
                    <a:gd name="T111" fmla="*/ 53 h 93"/>
                    <a:gd name="T112" fmla="*/ 67 w 67"/>
                    <a:gd name="T113" fmla="*/ 53 h 93"/>
                    <a:gd name="T114" fmla="*/ 66 w 67"/>
                    <a:gd name="T115" fmla="*/ 47 h 93"/>
                    <a:gd name="T116" fmla="*/ 63 w 67"/>
                    <a:gd name="T117" fmla="*/ 44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67" h="93">
                      <a:moveTo>
                        <a:pt x="63" y="44"/>
                      </a:moveTo>
                      <a:lnTo>
                        <a:pt x="63" y="44"/>
                      </a:lnTo>
                      <a:lnTo>
                        <a:pt x="60" y="40"/>
                      </a:lnTo>
                      <a:lnTo>
                        <a:pt x="60" y="37"/>
                      </a:lnTo>
                      <a:lnTo>
                        <a:pt x="60" y="35"/>
                      </a:lnTo>
                      <a:lnTo>
                        <a:pt x="58" y="34"/>
                      </a:lnTo>
                      <a:lnTo>
                        <a:pt x="58" y="34"/>
                      </a:lnTo>
                      <a:lnTo>
                        <a:pt x="51" y="37"/>
                      </a:lnTo>
                      <a:lnTo>
                        <a:pt x="47" y="37"/>
                      </a:lnTo>
                      <a:lnTo>
                        <a:pt x="44" y="35"/>
                      </a:lnTo>
                      <a:lnTo>
                        <a:pt x="44" y="35"/>
                      </a:lnTo>
                      <a:lnTo>
                        <a:pt x="40" y="32"/>
                      </a:lnTo>
                      <a:lnTo>
                        <a:pt x="38" y="29"/>
                      </a:lnTo>
                      <a:lnTo>
                        <a:pt x="35" y="26"/>
                      </a:lnTo>
                      <a:lnTo>
                        <a:pt x="32" y="24"/>
                      </a:lnTo>
                      <a:lnTo>
                        <a:pt x="32" y="24"/>
                      </a:lnTo>
                      <a:lnTo>
                        <a:pt x="29" y="21"/>
                      </a:lnTo>
                      <a:lnTo>
                        <a:pt x="27" y="15"/>
                      </a:lnTo>
                      <a:lnTo>
                        <a:pt x="22" y="9"/>
                      </a:lnTo>
                      <a:lnTo>
                        <a:pt x="21" y="0"/>
                      </a:lnTo>
                      <a:lnTo>
                        <a:pt x="21" y="0"/>
                      </a:lnTo>
                      <a:lnTo>
                        <a:pt x="8" y="5"/>
                      </a:lnTo>
                      <a:lnTo>
                        <a:pt x="3" y="6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12"/>
                      </a:lnTo>
                      <a:lnTo>
                        <a:pt x="3" y="21"/>
                      </a:lnTo>
                      <a:lnTo>
                        <a:pt x="5" y="31"/>
                      </a:lnTo>
                      <a:lnTo>
                        <a:pt x="6" y="40"/>
                      </a:lnTo>
                      <a:lnTo>
                        <a:pt x="6" y="40"/>
                      </a:lnTo>
                      <a:lnTo>
                        <a:pt x="6" y="45"/>
                      </a:lnTo>
                      <a:lnTo>
                        <a:pt x="3" y="50"/>
                      </a:lnTo>
                      <a:lnTo>
                        <a:pt x="3" y="50"/>
                      </a:lnTo>
                      <a:lnTo>
                        <a:pt x="12" y="58"/>
                      </a:lnTo>
                      <a:lnTo>
                        <a:pt x="15" y="63"/>
                      </a:lnTo>
                      <a:lnTo>
                        <a:pt x="16" y="67"/>
                      </a:lnTo>
                      <a:lnTo>
                        <a:pt x="16" y="67"/>
                      </a:lnTo>
                      <a:lnTo>
                        <a:pt x="18" y="71"/>
                      </a:lnTo>
                      <a:lnTo>
                        <a:pt x="18" y="76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9" y="87"/>
                      </a:lnTo>
                      <a:lnTo>
                        <a:pt x="22" y="93"/>
                      </a:lnTo>
                      <a:lnTo>
                        <a:pt x="22" y="93"/>
                      </a:lnTo>
                      <a:lnTo>
                        <a:pt x="37" y="86"/>
                      </a:lnTo>
                      <a:lnTo>
                        <a:pt x="37" y="86"/>
                      </a:lnTo>
                      <a:lnTo>
                        <a:pt x="51" y="84"/>
                      </a:lnTo>
                      <a:lnTo>
                        <a:pt x="51" y="84"/>
                      </a:lnTo>
                      <a:lnTo>
                        <a:pt x="51" y="80"/>
                      </a:lnTo>
                      <a:lnTo>
                        <a:pt x="51" y="80"/>
                      </a:lnTo>
                      <a:lnTo>
                        <a:pt x="55" y="64"/>
                      </a:lnTo>
                      <a:lnTo>
                        <a:pt x="58" y="55"/>
                      </a:lnTo>
                      <a:lnTo>
                        <a:pt x="60" y="54"/>
                      </a:lnTo>
                      <a:lnTo>
                        <a:pt x="63" y="53"/>
                      </a:lnTo>
                      <a:lnTo>
                        <a:pt x="63" y="53"/>
                      </a:lnTo>
                      <a:lnTo>
                        <a:pt x="67" y="53"/>
                      </a:lnTo>
                      <a:lnTo>
                        <a:pt x="67" y="53"/>
                      </a:lnTo>
                      <a:lnTo>
                        <a:pt x="66" y="47"/>
                      </a:lnTo>
                      <a:lnTo>
                        <a:pt x="63" y="4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62" name="Freeform 1215"/>
                <p:cNvSpPr>
                  <a:spLocks/>
                </p:cNvSpPr>
                <p:nvPr/>
              </p:nvSpPr>
              <p:spPr bwMode="auto">
                <a:xfrm>
                  <a:off x="4718410" y="2501989"/>
                  <a:ext cx="66280" cy="92001"/>
                </a:xfrm>
                <a:custGeom>
                  <a:avLst/>
                  <a:gdLst>
                    <a:gd name="T0" fmla="*/ 63 w 67"/>
                    <a:gd name="T1" fmla="*/ 44 h 93"/>
                    <a:gd name="T2" fmla="*/ 63 w 67"/>
                    <a:gd name="T3" fmla="*/ 44 h 93"/>
                    <a:gd name="T4" fmla="*/ 60 w 67"/>
                    <a:gd name="T5" fmla="*/ 40 h 93"/>
                    <a:gd name="T6" fmla="*/ 60 w 67"/>
                    <a:gd name="T7" fmla="*/ 37 h 93"/>
                    <a:gd name="T8" fmla="*/ 60 w 67"/>
                    <a:gd name="T9" fmla="*/ 35 h 93"/>
                    <a:gd name="T10" fmla="*/ 58 w 67"/>
                    <a:gd name="T11" fmla="*/ 34 h 93"/>
                    <a:gd name="T12" fmla="*/ 58 w 67"/>
                    <a:gd name="T13" fmla="*/ 34 h 93"/>
                    <a:gd name="T14" fmla="*/ 51 w 67"/>
                    <a:gd name="T15" fmla="*/ 37 h 93"/>
                    <a:gd name="T16" fmla="*/ 47 w 67"/>
                    <a:gd name="T17" fmla="*/ 37 h 93"/>
                    <a:gd name="T18" fmla="*/ 44 w 67"/>
                    <a:gd name="T19" fmla="*/ 35 h 93"/>
                    <a:gd name="T20" fmla="*/ 44 w 67"/>
                    <a:gd name="T21" fmla="*/ 35 h 93"/>
                    <a:gd name="T22" fmla="*/ 40 w 67"/>
                    <a:gd name="T23" fmla="*/ 32 h 93"/>
                    <a:gd name="T24" fmla="*/ 38 w 67"/>
                    <a:gd name="T25" fmla="*/ 29 h 93"/>
                    <a:gd name="T26" fmla="*/ 35 w 67"/>
                    <a:gd name="T27" fmla="*/ 26 h 93"/>
                    <a:gd name="T28" fmla="*/ 32 w 67"/>
                    <a:gd name="T29" fmla="*/ 24 h 93"/>
                    <a:gd name="T30" fmla="*/ 32 w 67"/>
                    <a:gd name="T31" fmla="*/ 24 h 93"/>
                    <a:gd name="T32" fmla="*/ 29 w 67"/>
                    <a:gd name="T33" fmla="*/ 21 h 93"/>
                    <a:gd name="T34" fmla="*/ 27 w 67"/>
                    <a:gd name="T35" fmla="*/ 15 h 93"/>
                    <a:gd name="T36" fmla="*/ 22 w 67"/>
                    <a:gd name="T37" fmla="*/ 9 h 93"/>
                    <a:gd name="T38" fmla="*/ 21 w 67"/>
                    <a:gd name="T39" fmla="*/ 0 h 93"/>
                    <a:gd name="T40" fmla="*/ 21 w 67"/>
                    <a:gd name="T41" fmla="*/ 0 h 93"/>
                    <a:gd name="T42" fmla="*/ 8 w 67"/>
                    <a:gd name="T43" fmla="*/ 5 h 93"/>
                    <a:gd name="T44" fmla="*/ 3 w 67"/>
                    <a:gd name="T45" fmla="*/ 6 h 93"/>
                    <a:gd name="T46" fmla="*/ 0 w 67"/>
                    <a:gd name="T47" fmla="*/ 8 h 93"/>
                    <a:gd name="T48" fmla="*/ 0 w 67"/>
                    <a:gd name="T49" fmla="*/ 8 h 93"/>
                    <a:gd name="T50" fmla="*/ 0 w 67"/>
                    <a:gd name="T51" fmla="*/ 12 h 93"/>
                    <a:gd name="T52" fmla="*/ 3 w 67"/>
                    <a:gd name="T53" fmla="*/ 21 h 93"/>
                    <a:gd name="T54" fmla="*/ 5 w 67"/>
                    <a:gd name="T55" fmla="*/ 31 h 93"/>
                    <a:gd name="T56" fmla="*/ 6 w 67"/>
                    <a:gd name="T57" fmla="*/ 40 h 93"/>
                    <a:gd name="T58" fmla="*/ 6 w 67"/>
                    <a:gd name="T59" fmla="*/ 40 h 93"/>
                    <a:gd name="T60" fmla="*/ 6 w 67"/>
                    <a:gd name="T61" fmla="*/ 45 h 93"/>
                    <a:gd name="T62" fmla="*/ 3 w 67"/>
                    <a:gd name="T63" fmla="*/ 50 h 93"/>
                    <a:gd name="T64" fmla="*/ 3 w 67"/>
                    <a:gd name="T65" fmla="*/ 50 h 93"/>
                    <a:gd name="T66" fmla="*/ 12 w 67"/>
                    <a:gd name="T67" fmla="*/ 58 h 93"/>
                    <a:gd name="T68" fmla="*/ 15 w 67"/>
                    <a:gd name="T69" fmla="*/ 63 h 93"/>
                    <a:gd name="T70" fmla="*/ 16 w 67"/>
                    <a:gd name="T71" fmla="*/ 67 h 93"/>
                    <a:gd name="T72" fmla="*/ 16 w 67"/>
                    <a:gd name="T73" fmla="*/ 67 h 93"/>
                    <a:gd name="T74" fmla="*/ 18 w 67"/>
                    <a:gd name="T75" fmla="*/ 71 h 93"/>
                    <a:gd name="T76" fmla="*/ 18 w 67"/>
                    <a:gd name="T77" fmla="*/ 76 h 93"/>
                    <a:gd name="T78" fmla="*/ 16 w 67"/>
                    <a:gd name="T79" fmla="*/ 82 h 93"/>
                    <a:gd name="T80" fmla="*/ 16 w 67"/>
                    <a:gd name="T81" fmla="*/ 82 h 93"/>
                    <a:gd name="T82" fmla="*/ 19 w 67"/>
                    <a:gd name="T83" fmla="*/ 87 h 93"/>
                    <a:gd name="T84" fmla="*/ 22 w 67"/>
                    <a:gd name="T85" fmla="*/ 93 h 93"/>
                    <a:gd name="T86" fmla="*/ 22 w 67"/>
                    <a:gd name="T87" fmla="*/ 93 h 93"/>
                    <a:gd name="T88" fmla="*/ 37 w 67"/>
                    <a:gd name="T89" fmla="*/ 86 h 93"/>
                    <a:gd name="T90" fmla="*/ 37 w 67"/>
                    <a:gd name="T91" fmla="*/ 86 h 93"/>
                    <a:gd name="T92" fmla="*/ 51 w 67"/>
                    <a:gd name="T93" fmla="*/ 84 h 93"/>
                    <a:gd name="T94" fmla="*/ 51 w 67"/>
                    <a:gd name="T95" fmla="*/ 84 h 93"/>
                    <a:gd name="T96" fmla="*/ 51 w 67"/>
                    <a:gd name="T97" fmla="*/ 80 h 93"/>
                    <a:gd name="T98" fmla="*/ 51 w 67"/>
                    <a:gd name="T99" fmla="*/ 80 h 93"/>
                    <a:gd name="T100" fmla="*/ 55 w 67"/>
                    <a:gd name="T101" fmla="*/ 64 h 93"/>
                    <a:gd name="T102" fmla="*/ 58 w 67"/>
                    <a:gd name="T103" fmla="*/ 55 h 93"/>
                    <a:gd name="T104" fmla="*/ 60 w 67"/>
                    <a:gd name="T105" fmla="*/ 54 h 93"/>
                    <a:gd name="T106" fmla="*/ 63 w 67"/>
                    <a:gd name="T107" fmla="*/ 53 h 93"/>
                    <a:gd name="T108" fmla="*/ 63 w 67"/>
                    <a:gd name="T109" fmla="*/ 53 h 93"/>
                    <a:gd name="T110" fmla="*/ 67 w 67"/>
                    <a:gd name="T111" fmla="*/ 53 h 93"/>
                    <a:gd name="T112" fmla="*/ 67 w 67"/>
                    <a:gd name="T113" fmla="*/ 53 h 93"/>
                    <a:gd name="T114" fmla="*/ 66 w 67"/>
                    <a:gd name="T115" fmla="*/ 47 h 93"/>
                    <a:gd name="T116" fmla="*/ 63 w 67"/>
                    <a:gd name="T117" fmla="*/ 44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67" h="93">
                      <a:moveTo>
                        <a:pt x="63" y="44"/>
                      </a:moveTo>
                      <a:lnTo>
                        <a:pt x="63" y="44"/>
                      </a:lnTo>
                      <a:lnTo>
                        <a:pt x="60" y="40"/>
                      </a:lnTo>
                      <a:lnTo>
                        <a:pt x="60" y="37"/>
                      </a:lnTo>
                      <a:lnTo>
                        <a:pt x="60" y="35"/>
                      </a:lnTo>
                      <a:lnTo>
                        <a:pt x="58" y="34"/>
                      </a:lnTo>
                      <a:lnTo>
                        <a:pt x="58" y="34"/>
                      </a:lnTo>
                      <a:lnTo>
                        <a:pt x="51" y="37"/>
                      </a:lnTo>
                      <a:lnTo>
                        <a:pt x="47" y="37"/>
                      </a:lnTo>
                      <a:lnTo>
                        <a:pt x="44" y="35"/>
                      </a:lnTo>
                      <a:lnTo>
                        <a:pt x="44" y="35"/>
                      </a:lnTo>
                      <a:lnTo>
                        <a:pt x="40" y="32"/>
                      </a:lnTo>
                      <a:lnTo>
                        <a:pt x="38" y="29"/>
                      </a:lnTo>
                      <a:lnTo>
                        <a:pt x="35" y="26"/>
                      </a:lnTo>
                      <a:lnTo>
                        <a:pt x="32" y="24"/>
                      </a:lnTo>
                      <a:lnTo>
                        <a:pt x="32" y="24"/>
                      </a:lnTo>
                      <a:lnTo>
                        <a:pt x="29" y="21"/>
                      </a:lnTo>
                      <a:lnTo>
                        <a:pt x="27" y="15"/>
                      </a:lnTo>
                      <a:lnTo>
                        <a:pt x="22" y="9"/>
                      </a:lnTo>
                      <a:lnTo>
                        <a:pt x="21" y="0"/>
                      </a:lnTo>
                      <a:lnTo>
                        <a:pt x="21" y="0"/>
                      </a:lnTo>
                      <a:lnTo>
                        <a:pt x="8" y="5"/>
                      </a:lnTo>
                      <a:lnTo>
                        <a:pt x="3" y="6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12"/>
                      </a:lnTo>
                      <a:lnTo>
                        <a:pt x="3" y="21"/>
                      </a:lnTo>
                      <a:lnTo>
                        <a:pt x="5" y="31"/>
                      </a:lnTo>
                      <a:lnTo>
                        <a:pt x="6" y="40"/>
                      </a:lnTo>
                      <a:lnTo>
                        <a:pt x="6" y="40"/>
                      </a:lnTo>
                      <a:lnTo>
                        <a:pt x="6" y="45"/>
                      </a:lnTo>
                      <a:lnTo>
                        <a:pt x="3" y="50"/>
                      </a:lnTo>
                      <a:lnTo>
                        <a:pt x="3" y="50"/>
                      </a:lnTo>
                      <a:lnTo>
                        <a:pt x="12" y="58"/>
                      </a:lnTo>
                      <a:lnTo>
                        <a:pt x="15" y="63"/>
                      </a:lnTo>
                      <a:lnTo>
                        <a:pt x="16" y="67"/>
                      </a:lnTo>
                      <a:lnTo>
                        <a:pt x="16" y="67"/>
                      </a:lnTo>
                      <a:lnTo>
                        <a:pt x="18" y="71"/>
                      </a:lnTo>
                      <a:lnTo>
                        <a:pt x="18" y="76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9" y="87"/>
                      </a:lnTo>
                      <a:lnTo>
                        <a:pt x="22" y="93"/>
                      </a:lnTo>
                      <a:lnTo>
                        <a:pt x="22" y="93"/>
                      </a:lnTo>
                      <a:lnTo>
                        <a:pt x="37" y="86"/>
                      </a:lnTo>
                      <a:lnTo>
                        <a:pt x="37" y="86"/>
                      </a:lnTo>
                      <a:lnTo>
                        <a:pt x="51" y="84"/>
                      </a:lnTo>
                      <a:lnTo>
                        <a:pt x="51" y="84"/>
                      </a:lnTo>
                      <a:lnTo>
                        <a:pt x="51" y="80"/>
                      </a:lnTo>
                      <a:lnTo>
                        <a:pt x="51" y="80"/>
                      </a:lnTo>
                      <a:lnTo>
                        <a:pt x="55" y="64"/>
                      </a:lnTo>
                      <a:lnTo>
                        <a:pt x="58" y="55"/>
                      </a:lnTo>
                      <a:lnTo>
                        <a:pt x="60" y="54"/>
                      </a:lnTo>
                      <a:lnTo>
                        <a:pt x="63" y="53"/>
                      </a:lnTo>
                      <a:lnTo>
                        <a:pt x="63" y="53"/>
                      </a:lnTo>
                      <a:lnTo>
                        <a:pt x="67" y="53"/>
                      </a:lnTo>
                      <a:lnTo>
                        <a:pt x="67" y="53"/>
                      </a:lnTo>
                      <a:lnTo>
                        <a:pt x="66" y="47"/>
                      </a:lnTo>
                      <a:lnTo>
                        <a:pt x="63" y="4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63" name="Freeform 1216"/>
                <p:cNvSpPr>
                  <a:spLocks/>
                </p:cNvSpPr>
                <p:nvPr/>
              </p:nvSpPr>
              <p:spPr bwMode="auto">
                <a:xfrm>
                  <a:off x="4698625" y="2551451"/>
                  <a:ext cx="37592" cy="45506"/>
                </a:xfrm>
                <a:custGeom>
                  <a:avLst/>
                  <a:gdLst>
                    <a:gd name="T0" fmla="*/ 36 w 38"/>
                    <a:gd name="T1" fmla="*/ 17 h 46"/>
                    <a:gd name="T2" fmla="*/ 36 w 38"/>
                    <a:gd name="T3" fmla="*/ 17 h 46"/>
                    <a:gd name="T4" fmla="*/ 32 w 38"/>
                    <a:gd name="T5" fmla="*/ 8 h 46"/>
                    <a:gd name="T6" fmla="*/ 23 w 38"/>
                    <a:gd name="T7" fmla="*/ 0 h 46"/>
                    <a:gd name="T8" fmla="*/ 23 w 38"/>
                    <a:gd name="T9" fmla="*/ 0 h 46"/>
                    <a:gd name="T10" fmla="*/ 15 w 38"/>
                    <a:gd name="T11" fmla="*/ 10 h 46"/>
                    <a:gd name="T12" fmla="*/ 15 w 38"/>
                    <a:gd name="T13" fmla="*/ 10 h 46"/>
                    <a:gd name="T14" fmla="*/ 9 w 38"/>
                    <a:gd name="T15" fmla="*/ 18 h 46"/>
                    <a:gd name="T16" fmla="*/ 0 w 38"/>
                    <a:gd name="T17" fmla="*/ 30 h 46"/>
                    <a:gd name="T18" fmla="*/ 0 w 38"/>
                    <a:gd name="T19" fmla="*/ 30 h 46"/>
                    <a:gd name="T20" fmla="*/ 6 w 38"/>
                    <a:gd name="T21" fmla="*/ 34 h 46"/>
                    <a:gd name="T22" fmla="*/ 10 w 38"/>
                    <a:gd name="T23" fmla="*/ 40 h 46"/>
                    <a:gd name="T24" fmla="*/ 10 w 38"/>
                    <a:gd name="T25" fmla="*/ 40 h 46"/>
                    <a:gd name="T26" fmla="*/ 12 w 38"/>
                    <a:gd name="T27" fmla="*/ 42 h 46"/>
                    <a:gd name="T28" fmla="*/ 15 w 38"/>
                    <a:gd name="T29" fmla="*/ 45 h 46"/>
                    <a:gd name="T30" fmla="*/ 19 w 38"/>
                    <a:gd name="T31" fmla="*/ 46 h 46"/>
                    <a:gd name="T32" fmla="*/ 19 w 38"/>
                    <a:gd name="T33" fmla="*/ 46 h 46"/>
                    <a:gd name="T34" fmla="*/ 22 w 38"/>
                    <a:gd name="T35" fmla="*/ 34 h 46"/>
                    <a:gd name="T36" fmla="*/ 22 w 38"/>
                    <a:gd name="T37" fmla="*/ 34 h 46"/>
                    <a:gd name="T38" fmla="*/ 23 w 38"/>
                    <a:gd name="T39" fmla="*/ 32 h 46"/>
                    <a:gd name="T40" fmla="*/ 26 w 38"/>
                    <a:gd name="T41" fmla="*/ 30 h 46"/>
                    <a:gd name="T42" fmla="*/ 33 w 38"/>
                    <a:gd name="T43" fmla="*/ 30 h 46"/>
                    <a:gd name="T44" fmla="*/ 33 w 38"/>
                    <a:gd name="T45" fmla="*/ 30 h 46"/>
                    <a:gd name="T46" fmla="*/ 36 w 38"/>
                    <a:gd name="T47" fmla="*/ 32 h 46"/>
                    <a:gd name="T48" fmla="*/ 36 w 38"/>
                    <a:gd name="T49" fmla="*/ 32 h 46"/>
                    <a:gd name="T50" fmla="*/ 38 w 38"/>
                    <a:gd name="T51" fmla="*/ 26 h 46"/>
                    <a:gd name="T52" fmla="*/ 38 w 38"/>
                    <a:gd name="T53" fmla="*/ 21 h 46"/>
                    <a:gd name="T54" fmla="*/ 36 w 38"/>
                    <a:gd name="T55" fmla="*/ 17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8" h="46">
                      <a:moveTo>
                        <a:pt x="36" y="17"/>
                      </a:moveTo>
                      <a:lnTo>
                        <a:pt x="36" y="17"/>
                      </a:lnTo>
                      <a:lnTo>
                        <a:pt x="32" y="8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15" y="10"/>
                      </a:lnTo>
                      <a:lnTo>
                        <a:pt x="15" y="10"/>
                      </a:lnTo>
                      <a:lnTo>
                        <a:pt x="9" y="18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6" y="34"/>
                      </a:lnTo>
                      <a:lnTo>
                        <a:pt x="10" y="40"/>
                      </a:lnTo>
                      <a:lnTo>
                        <a:pt x="10" y="40"/>
                      </a:lnTo>
                      <a:lnTo>
                        <a:pt x="12" y="42"/>
                      </a:lnTo>
                      <a:lnTo>
                        <a:pt x="15" y="45"/>
                      </a:lnTo>
                      <a:lnTo>
                        <a:pt x="19" y="46"/>
                      </a:lnTo>
                      <a:lnTo>
                        <a:pt x="19" y="46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3" y="32"/>
                      </a:lnTo>
                      <a:lnTo>
                        <a:pt x="26" y="30"/>
                      </a:lnTo>
                      <a:lnTo>
                        <a:pt x="33" y="30"/>
                      </a:lnTo>
                      <a:lnTo>
                        <a:pt x="33" y="30"/>
                      </a:lnTo>
                      <a:lnTo>
                        <a:pt x="36" y="32"/>
                      </a:lnTo>
                      <a:lnTo>
                        <a:pt x="36" y="32"/>
                      </a:lnTo>
                      <a:lnTo>
                        <a:pt x="38" y="26"/>
                      </a:lnTo>
                      <a:lnTo>
                        <a:pt x="38" y="21"/>
                      </a:lnTo>
                      <a:lnTo>
                        <a:pt x="36" y="1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64" name="Freeform 1217"/>
                <p:cNvSpPr>
                  <a:spLocks/>
                </p:cNvSpPr>
                <p:nvPr/>
              </p:nvSpPr>
              <p:spPr bwMode="auto">
                <a:xfrm>
                  <a:off x="4698625" y="2551451"/>
                  <a:ext cx="37592" cy="45506"/>
                </a:xfrm>
                <a:custGeom>
                  <a:avLst/>
                  <a:gdLst>
                    <a:gd name="T0" fmla="*/ 36 w 38"/>
                    <a:gd name="T1" fmla="*/ 17 h 46"/>
                    <a:gd name="T2" fmla="*/ 36 w 38"/>
                    <a:gd name="T3" fmla="*/ 17 h 46"/>
                    <a:gd name="T4" fmla="*/ 32 w 38"/>
                    <a:gd name="T5" fmla="*/ 8 h 46"/>
                    <a:gd name="T6" fmla="*/ 23 w 38"/>
                    <a:gd name="T7" fmla="*/ 0 h 46"/>
                    <a:gd name="T8" fmla="*/ 23 w 38"/>
                    <a:gd name="T9" fmla="*/ 0 h 46"/>
                    <a:gd name="T10" fmla="*/ 15 w 38"/>
                    <a:gd name="T11" fmla="*/ 10 h 46"/>
                    <a:gd name="T12" fmla="*/ 15 w 38"/>
                    <a:gd name="T13" fmla="*/ 10 h 46"/>
                    <a:gd name="T14" fmla="*/ 9 w 38"/>
                    <a:gd name="T15" fmla="*/ 18 h 46"/>
                    <a:gd name="T16" fmla="*/ 0 w 38"/>
                    <a:gd name="T17" fmla="*/ 30 h 46"/>
                    <a:gd name="T18" fmla="*/ 0 w 38"/>
                    <a:gd name="T19" fmla="*/ 30 h 46"/>
                    <a:gd name="T20" fmla="*/ 6 w 38"/>
                    <a:gd name="T21" fmla="*/ 34 h 46"/>
                    <a:gd name="T22" fmla="*/ 10 w 38"/>
                    <a:gd name="T23" fmla="*/ 40 h 46"/>
                    <a:gd name="T24" fmla="*/ 10 w 38"/>
                    <a:gd name="T25" fmla="*/ 40 h 46"/>
                    <a:gd name="T26" fmla="*/ 12 w 38"/>
                    <a:gd name="T27" fmla="*/ 42 h 46"/>
                    <a:gd name="T28" fmla="*/ 15 w 38"/>
                    <a:gd name="T29" fmla="*/ 45 h 46"/>
                    <a:gd name="T30" fmla="*/ 19 w 38"/>
                    <a:gd name="T31" fmla="*/ 46 h 46"/>
                    <a:gd name="T32" fmla="*/ 19 w 38"/>
                    <a:gd name="T33" fmla="*/ 46 h 46"/>
                    <a:gd name="T34" fmla="*/ 22 w 38"/>
                    <a:gd name="T35" fmla="*/ 34 h 46"/>
                    <a:gd name="T36" fmla="*/ 22 w 38"/>
                    <a:gd name="T37" fmla="*/ 34 h 46"/>
                    <a:gd name="T38" fmla="*/ 23 w 38"/>
                    <a:gd name="T39" fmla="*/ 32 h 46"/>
                    <a:gd name="T40" fmla="*/ 26 w 38"/>
                    <a:gd name="T41" fmla="*/ 30 h 46"/>
                    <a:gd name="T42" fmla="*/ 33 w 38"/>
                    <a:gd name="T43" fmla="*/ 30 h 46"/>
                    <a:gd name="T44" fmla="*/ 33 w 38"/>
                    <a:gd name="T45" fmla="*/ 30 h 46"/>
                    <a:gd name="T46" fmla="*/ 36 w 38"/>
                    <a:gd name="T47" fmla="*/ 32 h 46"/>
                    <a:gd name="T48" fmla="*/ 36 w 38"/>
                    <a:gd name="T49" fmla="*/ 32 h 46"/>
                    <a:gd name="T50" fmla="*/ 38 w 38"/>
                    <a:gd name="T51" fmla="*/ 26 h 46"/>
                    <a:gd name="T52" fmla="*/ 38 w 38"/>
                    <a:gd name="T53" fmla="*/ 21 h 46"/>
                    <a:gd name="T54" fmla="*/ 36 w 38"/>
                    <a:gd name="T55" fmla="*/ 17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8" h="46">
                      <a:moveTo>
                        <a:pt x="36" y="17"/>
                      </a:moveTo>
                      <a:lnTo>
                        <a:pt x="36" y="17"/>
                      </a:lnTo>
                      <a:lnTo>
                        <a:pt x="32" y="8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15" y="10"/>
                      </a:lnTo>
                      <a:lnTo>
                        <a:pt x="15" y="10"/>
                      </a:lnTo>
                      <a:lnTo>
                        <a:pt x="9" y="18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6" y="34"/>
                      </a:lnTo>
                      <a:lnTo>
                        <a:pt x="10" y="40"/>
                      </a:lnTo>
                      <a:lnTo>
                        <a:pt x="10" y="40"/>
                      </a:lnTo>
                      <a:lnTo>
                        <a:pt x="12" y="42"/>
                      </a:lnTo>
                      <a:lnTo>
                        <a:pt x="15" y="45"/>
                      </a:lnTo>
                      <a:lnTo>
                        <a:pt x="19" y="46"/>
                      </a:lnTo>
                      <a:lnTo>
                        <a:pt x="19" y="46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3" y="32"/>
                      </a:lnTo>
                      <a:lnTo>
                        <a:pt x="26" y="30"/>
                      </a:lnTo>
                      <a:lnTo>
                        <a:pt x="33" y="30"/>
                      </a:lnTo>
                      <a:lnTo>
                        <a:pt x="33" y="30"/>
                      </a:lnTo>
                      <a:lnTo>
                        <a:pt x="36" y="32"/>
                      </a:lnTo>
                      <a:lnTo>
                        <a:pt x="36" y="32"/>
                      </a:lnTo>
                      <a:lnTo>
                        <a:pt x="38" y="26"/>
                      </a:lnTo>
                      <a:lnTo>
                        <a:pt x="38" y="21"/>
                      </a:lnTo>
                      <a:lnTo>
                        <a:pt x="36" y="1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87" name="Freeform 1240"/>
                <p:cNvSpPr>
                  <a:spLocks/>
                </p:cNvSpPr>
                <p:nvPr/>
              </p:nvSpPr>
              <p:spPr bwMode="auto">
                <a:xfrm>
                  <a:off x="4956821" y="2773046"/>
                  <a:ext cx="23742" cy="63313"/>
                </a:xfrm>
                <a:custGeom>
                  <a:avLst/>
                  <a:gdLst>
                    <a:gd name="T0" fmla="*/ 13 w 24"/>
                    <a:gd name="T1" fmla="*/ 29 h 64"/>
                    <a:gd name="T2" fmla="*/ 13 w 24"/>
                    <a:gd name="T3" fmla="*/ 29 h 64"/>
                    <a:gd name="T4" fmla="*/ 14 w 24"/>
                    <a:gd name="T5" fmla="*/ 26 h 64"/>
                    <a:gd name="T6" fmla="*/ 16 w 24"/>
                    <a:gd name="T7" fmla="*/ 22 h 64"/>
                    <a:gd name="T8" fmla="*/ 19 w 24"/>
                    <a:gd name="T9" fmla="*/ 20 h 64"/>
                    <a:gd name="T10" fmla="*/ 23 w 24"/>
                    <a:gd name="T11" fmla="*/ 19 h 64"/>
                    <a:gd name="T12" fmla="*/ 23 w 24"/>
                    <a:gd name="T13" fmla="*/ 19 h 64"/>
                    <a:gd name="T14" fmla="*/ 23 w 24"/>
                    <a:gd name="T15" fmla="*/ 5 h 64"/>
                    <a:gd name="T16" fmla="*/ 23 w 24"/>
                    <a:gd name="T17" fmla="*/ 5 h 64"/>
                    <a:gd name="T18" fmla="*/ 24 w 24"/>
                    <a:gd name="T19" fmla="*/ 3 h 64"/>
                    <a:gd name="T20" fmla="*/ 24 w 24"/>
                    <a:gd name="T21" fmla="*/ 3 h 64"/>
                    <a:gd name="T22" fmla="*/ 14 w 24"/>
                    <a:gd name="T23" fmla="*/ 0 h 64"/>
                    <a:gd name="T24" fmla="*/ 14 w 24"/>
                    <a:gd name="T25" fmla="*/ 0 h 64"/>
                    <a:gd name="T26" fmla="*/ 10 w 24"/>
                    <a:gd name="T27" fmla="*/ 10 h 64"/>
                    <a:gd name="T28" fmla="*/ 10 w 24"/>
                    <a:gd name="T29" fmla="*/ 10 h 64"/>
                    <a:gd name="T30" fmla="*/ 6 w 24"/>
                    <a:gd name="T31" fmla="*/ 18 h 64"/>
                    <a:gd name="T32" fmla="*/ 4 w 24"/>
                    <a:gd name="T33" fmla="*/ 23 h 64"/>
                    <a:gd name="T34" fmla="*/ 0 w 24"/>
                    <a:gd name="T35" fmla="*/ 32 h 64"/>
                    <a:gd name="T36" fmla="*/ 0 w 24"/>
                    <a:gd name="T37" fmla="*/ 32 h 64"/>
                    <a:gd name="T38" fmla="*/ 7 w 24"/>
                    <a:gd name="T39" fmla="*/ 41 h 64"/>
                    <a:gd name="T40" fmla="*/ 11 w 24"/>
                    <a:gd name="T41" fmla="*/ 49 h 64"/>
                    <a:gd name="T42" fmla="*/ 11 w 24"/>
                    <a:gd name="T43" fmla="*/ 49 h 64"/>
                    <a:gd name="T44" fmla="*/ 11 w 24"/>
                    <a:gd name="T45" fmla="*/ 55 h 64"/>
                    <a:gd name="T46" fmla="*/ 13 w 24"/>
                    <a:gd name="T47" fmla="*/ 64 h 64"/>
                    <a:gd name="T48" fmla="*/ 13 w 24"/>
                    <a:gd name="T49" fmla="*/ 64 h 64"/>
                    <a:gd name="T50" fmla="*/ 20 w 24"/>
                    <a:gd name="T51" fmla="*/ 47 h 64"/>
                    <a:gd name="T52" fmla="*/ 20 w 24"/>
                    <a:gd name="T53" fmla="*/ 47 h 64"/>
                    <a:gd name="T54" fmla="*/ 22 w 24"/>
                    <a:gd name="T55" fmla="*/ 44 h 64"/>
                    <a:gd name="T56" fmla="*/ 22 w 24"/>
                    <a:gd name="T57" fmla="*/ 44 h 64"/>
                    <a:gd name="T58" fmla="*/ 16 w 24"/>
                    <a:gd name="T59" fmla="*/ 36 h 64"/>
                    <a:gd name="T60" fmla="*/ 14 w 24"/>
                    <a:gd name="T61" fmla="*/ 33 h 64"/>
                    <a:gd name="T62" fmla="*/ 13 w 24"/>
                    <a:gd name="T63" fmla="*/ 29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4" h="64">
                      <a:moveTo>
                        <a:pt x="13" y="29"/>
                      </a:moveTo>
                      <a:lnTo>
                        <a:pt x="13" y="29"/>
                      </a:lnTo>
                      <a:lnTo>
                        <a:pt x="14" y="26"/>
                      </a:lnTo>
                      <a:lnTo>
                        <a:pt x="16" y="22"/>
                      </a:lnTo>
                      <a:lnTo>
                        <a:pt x="19" y="20"/>
                      </a:lnTo>
                      <a:lnTo>
                        <a:pt x="23" y="19"/>
                      </a:lnTo>
                      <a:lnTo>
                        <a:pt x="23" y="19"/>
                      </a:lnTo>
                      <a:lnTo>
                        <a:pt x="23" y="5"/>
                      </a:lnTo>
                      <a:lnTo>
                        <a:pt x="23" y="5"/>
                      </a:lnTo>
                      <a:lnTo>
                        <a:pt x="24" y="3"/>
                      </a:lnTo>
                      <a:lnTo>
                        <a:pt x="24" y="3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0" y="10"/>
                      </a:lnTo>
                      <a:lnTo>
                        <a:pt x="10" y="10"/>
                      </a:lnTo>
                      <a:lnTo>
                        <a:pt x="6" y="18"/>
                      </a:lnTo>
                      <a:lnTo>
                        <a:pt x="4" y="23"/>
                      </a:lnTo>
                      <a:lnTo>
                        <a:pt x="0" y="32"/>
                      </a:lnTo>
                      <a:lnTo>
                        <a:pt x="0" y="32"/>
                      </a:lnTo>
                      <a:lnTo>
                        <a:pt x="7" y="41"/>
                      </a:lnTo>
                      <a:lnTo>
                        <a:pt x="11" y="49"/>
                      </a:lnTo>
                      <a:lnTo>
                        <a:pt x="11" y="49"/>
                      </a:lnTo>
                      <a:lnTo>
                        <a:pt x="11" y="55"/>
                      </a:lnTo>
                      <a:lnTo>
                        <a:pt x="13" y="64"/>
                      </a:lnTo>
                      <a:lnTo>
                        <a:pt x="13" y="64"/>
                      </a:lnTo>
                      <a:lnTo>
                        <a:pt x="20" y="47"/>
                      </a:lnTo>
                      <a:lnTo>
                        <a:pt x="20" y="47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16" y="36"/>
                      </a:lnTo>
                      <a:lnTo>
                        <a:pt x="14" y="33"/>
                      </a:lnTo>
                      <a:lnTo>
                        <a:pt x="13" y="2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88" name="Freeform 1241"/>
                <p:cNvSpPr>
                  <a:spLocks/>
                </p:cNvSpPr>
                <p:nvPr/>
              </p:nvSpPr>
              <p:spPr bwMode="auto">
                <a:xfrm>
                  <a:off x="4956821" y="2773046"/>
                  <a:ext cx="23742" cy="63313"/>
                </a:xfrm>
                <a:custGeom>
                  <a:avLst/>
                  <a:gdLst>
                    <a:gd name="T0" fmla="*/ 13 w 24"/>
                    <a:gd name="T1" fmla="*/ 29 h 64"/>
                    <a:gd name="T2" fmla="*/ 13 w 24"/>
                    <a:gd name="T3" fmla="*/ 29 h 64"/>
                    <a:gd name="T4" fmla="*/ 14 w 24"/>
                    <a:gd name="T5" fmla="*/ 26 h 64"/>
                    <a:gd name="T6" fmla="*/ 16 w 24"/>
                    <a:gd name="T7" fmla="*/ 22 h 64"/>
                    <a:gd name="T8" fmla="*/ 19 w 24"/>
                    <a:gd name="T9" fmla="*/ 20 h 64"/>
                    <a:gd name="T10" fmla="*/ 23 w 24"/>
                    <a:gd name="T11" fmla="*/ 19 h 64"/>
                    <a:gd name="T12" fmla="*/ 23 w 24"/>
                    <a:gd name="T13" fmla="*/ 19 h 64"/>
                    <a:gd name="T14" fmla="*/ 23 w 24"/>
                    <a:gd name="T15" fmla="*/ 5 h 64"/>
                    <a:gd name="T16" fmla="*/ 23 w 24"/>
                    <a:gd name="T17" fmla="*/ 5 h 64"/>
                    <a:gd name="T18" fmla="*/ 24 w 24"/>
                    <a:gd name="T19" fmla="*/ 3 h 64"/>
                    <a:gd name="T20" fmla="*/ 24 w 24"/>
                    <a:gd name="T21" fmla="*/ 3 h 64"/>
                    <a:gd name="T22" fmla="*/ 14 w 24"/>
                    <a:gd name="T23" fmla="*/ 0 h 64"/>
                    <a:gd name="T24" fmla="*/ 14 w 24"/>
                    <a:gd name="T25" fmla="*/ 0 h 64"/>
                    <a:gd name="T26" fmla="*/ 10 w 24"/>
                    <a:gd name="T27" fmla="*/ 10 h 64"/>
                    <a:gd name="T28" fmla="*/ 10 w 24"/>
                    <a:gd name="T29" fmla="*/ 10 h 64"/>
                    <a:gd name="T30" fmla="*/ 6 w 24"/>
                    <a:gd name="T31" fmla="*/ 18 h 64"/>
                    <a:gd name="T32" fmla="*/ 4 w 24"/>
                    <a:gd name="T33" fmla="*/ 23 h 64"/>
                    <a:gd name="T34" fmla="*/ 0 w 24"/>
                    <a:gd name="T35" fmla="*/ 32 h 64"/>
                    <a:gd name="T36" fmla="*/ 0 w 24"/>
                    <a:gd name="T37" fmla="*/ 32 h 64"/>
                    <a:gd name="T38" fmla="*/ 7 w 24"/>
                    <a:gd name="T39" fmla="*/ 41 h 64"/>
                    <a:gd name="T40" fmla="*/ 11 w 24"/>
                    <a:gd name="T41" fmla="*/ 49 h 64"/>
                    <a:gd name="T42" fmla="*/ 11 w 24"/>
                    <a:gd name="T43" fmla="*/ 49 h 64"/>
                    <a:gd name="T44" fmla="*/ 11 w 24"/>
                    <a:gd name="T45" fmla="*/ 55 h 64"/>
                    <a:gd name="T46" fmla="*/ 13 w 24"/>
                    <a:gd name="T47" fmla="*/ 64 h 64"/>
                    <a:gd name="T48" fmla="*/ 13 w 24"/>
                    <a:gd name="T49" fmla="*/ 64 h 64"/>
                    <a:gd name="T50" fmla="*/ 20 w 24"/>
                    <a:gd name="T51" fmla="*/ 47 h 64"/>
                    <a:gd name="T52" fmla="*/ 20 w 24"/>
                    <a:gd name="T53" fmla="*/ 47 h 64"/>
                    <a:gd name="T54" fmla="*/ 22 w 24"/>
                    <a:gd name="T55" fmla="*/ 44 h 64"/>
                    <a:gd name="T56" fmla="*/ 22 w 24"/>
                    <a:gd name="T57" fmla="*/ 44 h 64"/>
                    <a:gd name="T58" fmla="*/ 16 w 24"/>
                    <a:gd name="T59" fmla="*/ 36 h 64"/>
                    <a:gd name="T60" fmla="*/ 14 w 24"/>
                    <a:gd name="T61" fmla="*/ 33 h 64"/>
                    <a:gd name="T62" fmla="*/ 13 w 24"/>
                    <a:gd name="T63" fmla="*/ 29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4" h="64">
                      <a:moveTo>
                        <a:pt x="13" y="29"/>
                      </a:moveTo>
                      <a:lnTo>
                        <a:pt x="13" y="29"/>
                      </a:lnTo>
                      <a:lnTo>
                        <a:pt x="14" y="26"/>
                      </a:lnTo>
                      <a:lnTo>
                        <a:pt x="16" y="22"/>
                      </a:lnTo>
                      <a:lnTo>
                        <a:pt x="19" y="20"/>
                      </a:lnTo>
                      <a:lnTo>
                        <a:pt x="23" y="19"/>
                      </a:lnTo>
                      <a:lnTo>
                        <a:pt x="23" y="19"/>
                      </a:lnTo>
                      <a:lnTo>
                        <a:pt x="23" y="5"/>
                      </a:lnTo>
                      <a:lnTo>
                        <a:pt x="23" y="5"/>
                      </a:lnTo>
                      <a:lnTo>
                        <a:pt x="24" y="3"/>
                      </a:lnTo>
                      <a:lnTo>
                        <a:pt x="24" y="3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0" y="10"/>
                      </a:lnTo>
                      <a:lnTo>
                        <a:pt x="10" y="10"/>
                      </a:lnTo>
                      <a:lnTo>
                        <a:pt x="6" y="18"/>
                      </a:lnTo>
                      <a:lnTo>
                        <a:pt x="4" y="23"/>
                      </a:lnTo>
                      <a:lnTo>
                        <a:pt x="0" y="32"/>
                      </a:lnTo>
                      <a:lnTo>
                        <a:pt x="0" y="32"/>
                      </a:lnTo>
                      <a:lnTo>
                        <a:pt x="7" y="41"/>
                      </a:lnTo>
                      <a:lnTo>
                        <a:pt x="11" y="49"/>
                      </a:lnTo>
                      <a:lnTo>
                        <a:pt x="11" y="49"/>
                      </a:lnTo>
                      <a:lnTo>
                        <a:pt x="11" y="55"/>
                      </a:lnTo>
                      <a:lnTo>
                        <a:pt x="13" y="64"/>
                      </a:lnTo>
                      <a:lnTo>
                        <a:pt x="13" y="64"/>
                      </a:lnTo>
                      <a:lnTo>
                        <a:pt x="20" y="47"/>
                      </a:lnTo>
                      <a:lnTo>
                        <a:pt x="20" y="47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16" y="36"/>
                      </a:lnTo>
                      <a:lnTo>
                        <a:pt x="14" y="33"/>
                      </a:lnTo>
                      <a:lnTo>
                        <a:pt x="13" y="29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89" name="Freeform 1242"/>
                <p:cNvSpPr>
                  <a:spLocks/>
                </p:cNvSpPr>
                <p:nvPr/>
              </p:nvSpPr>
              <p:spPr bwMode="auto">
                <a:xfrm>
                  <a:off x="4969682" y="2791842"/>
                  <a:ext cx="9893" cy="24731"/>
                </a:xfrm>
                <a:custGeom>
                  <a:avLst/>
                  <a:gdLst>
                    <a:gd name="T0" fmla="*/ 9 w 10"/>
                    <a:gd name="T1" fmla="*/ 25 h 25"/>
                    <a:gd name="T2" fmla="*/ 9 w 10"/>
                    <a:gd name="T3" fmla="*/ 25 h 25"/>
                    <a:gd name="T4" fmla="*/ 9 w 10"/>
                    <a:gd name="T5" fmla="*/ 25 h 25"/>
                    <a:gd name="T6" fmla="*/ 3 w 10"/>
                    <a:gd name="T7" fmla="*/ 19 h 25"/>
                    <a:gd name="T8" fmla="*/ 1 w 10"/>
                    <a:gd name="T9" fmla="*/ 14 h 25"/>
                    <a:gd name="T10" fmla="*/ 0 w 10"/>
                    <a:gd name="T11" fmla="*/ 12 h 25"/>
                    <a:gd name="T12" fmla="*/ 0 w 10"/>
                    <a:gd name="T13" fmla="*/ 12 h 25"/>
                    <a:gd name="T14" fmla="*/ 0 w 10"/>
                    <a:gd name="T15" fmla="*/ 10 h 25"/>
                    <a:gd name="T16" fmla="*/ 0 w 10"/>
                    <a:gd name="T17" fmla="*/ 10 h 25"/>
                    <a:gd name="T18" fmla="*/ 1 w 10"/>
                    <a:gd name="T19" fmla="*/ 7 h 25"/>
                    <a:gd name="T20" fmla="*/ 3 w 10"/>
                    <a:gd name="T21" fmla="*/ 3 h 25"/>
                    <a:gd name="T22" fmla="*/ 6 w 10"/>
                    <a:gd name="T23" fmla="*/ 1 h 25"/>
                    <a:gd name="T24" fmla="*/ 10 w 10"/>
                    <a:gd name="T25" fmla="*/ 0 h 25"/>
                    <a:gd name="T26" fmla="*/ 10 w 10"/>
                    <a:gd name="T27" fmla="*/ 0 h 25"/>
                    <a:gd name="T28" fmla="*/ 9 w 10"/>
                    <a:gd name="T29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" h="25">
                      <a:moveTo>
                        <a:pt x="9" y="25"/>
                      </a:moveTo>
                      <a:lnTo>
                        <a:pt x="9" y="25"/>
                      </a:lnTo>
                      <a:lnTo>
                        <a:pt x="9" y="25"/>
                      </a:lnTo>
                      <a:lnTo>
                        <a:pt x="3" y="19"/>
                      </a:lnTo>
                      <a:lnTo>
                        <a:pt x="1" y="14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1" y="7"/>
                      </a:lnTo>
                      <a:lnTo>
                        <a:pt x="3" y="3"/>
                      </a:lnTo>
                      <a:lnTo>
                        <a:pt x="6" y="1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9" y="2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90" name="Freeform 1243"/>
                <p:cNvSpPr>
                  <a:spLocks/>
                </p:cNvSpPr>
                <p:nvPr/>
              </p:nvSpPr>
              <p:spPr bwMode="auto">
                <a:xfrm>
                  <a:off x="4969682" y="2791842"/>
                  <a:ext cx="9893" cy="24731"/>
                </a:xfrm>
                <a:custGeom>
                  <a:avLst/>
                  <a:gdLst>
                    <a:gd name="T0" fmla="*/ 9 w 10"/>
                    <a:gd name="T1" fmla="*/ 25 h 25"/>
                    <a:gd name="T2" fmla="*/ 9 w 10"/>
                    <a:gd name="T3" fmla="*/ 25 h 25"/>
                    <a:gd name="T4" fmla="*/ 9 w 10"/>
                    <a:gd name="T5" fmla="*/ 25 h 25"/>
                    <a:gd name="T6" fmla="*/ 3 w 10"/>
                    <a:gd name="T7" fmla="*/ 19 h 25"/>
                    <a:gd name="T8" fmla="*/ 1 w 10"/>
                    <a:gd name="T9" fmla="*/ 14 h 25"/>
                    <a:gd name="T10" fmla="*/ 0 w 10"/>
                    <a:gd name="T11" fmla="*/ 12 h 25"/>
                    <a:gd name="T12" fmla="*/ 0 w 10"/>
                    <a:gd name="T13" fmla="*/ 12 h 25"/>
                    <a:gd name="T14" fmla="*/ 0 w 10"/>
                    <a:gd name="T15" fmla="*/ 10 h 25"/>
                    <a:gd name="T16" fmla="*/ 0 w 10"/>
                    <a:gd name="T17" fmla="*/ 10 h 25"/>
                    <a:gd name="T18" fmla="*/ 1 w 10"/>
                    <a:gd name="T19" fmla="*/ 7 h 25"/>
                    <a:gd name="T20" fmla="*/ 3 w 10"/>
                    <a:gd name="T21" fmla="*/ 3 h 25"/>
                    <a:gd name="T22" fmla="*/ 6 w 10"/>
                    <a:gd name="T23" fmla="*/ 1 h 25"/>
                    <a:gd name="T24" fmla="*/ 10 w 10"/>
                    <a:gd name="T25" fmla="*/ 0 h 25"/>
                    <a:gd name="T26" fmla="*/ 10 w 10"/>
                    <a:gd name="T27" fmla="*/ 0 h 25"/>
                    <a:gd name="T28" fmla="*/ 9 w 10"/>
                    <a:gd name="T29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" h="25">
                      <a:moveTo>
                        <a:pt x="9" y="25"/>
                      </a:moveTo>
                      <a:lnTo>
                        <a:pt x="9" y="25"/>
                      </a:lnTo>
                      <a:lnTo>
                        <a:pt x="9" y="25"/>
                      </a:lnTo>
                      <a:lnTo>
                        <a:pt x="3" y="19"/>
                      </a:lnTo>
                      <a:lnTo>
                        <a:pt x="1" y="14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1" y="7"/>
                      </a:lnTo>
                      <a:lnTo>
                        <a:pt x="3" y="3"/>
                      </a:lnTo>
                      <a:lnTo>
                        <a:pt x="6" y="1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9" y="2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91" name="Freeform 1244"/>
                <p:cNvSpPr>
                  <a:spLocks/>
                </p:cNvSpPr>
                <p:nvPr/>
              </p:nvSpPr>
              <p:spPr bwMode="auto">
                <a:xfrm>
                  <a:off x="4675872" y="2424826"/>
                  <a:ext cx="94969" cy="41549"/>
                </a:xfrm>
                <a:custGeom>
                  <a:avLst/>
                  <a:gdLst>
                    <a:gd name="T0" fmla="*/ 19 w 96"/>
                    <a:gd name="T1" fmla="*/ 42 h 42"/>
                    <a:gd name="T2" fmla="*/ 19 w 96"/>
                    <a:gd name="T3" fmla="*/ 42 h 42"/>
                    <a:gd name="T4" fmla="*/ 26 w 96"/>
                    <a:gd name="T5" fmla="*/ 42 h 42"/>
                    <a:gd name="T6" fmla="*/ 33 w 96"/>
                    <a:gd name="T7" fmla="*/ 41 h 42"/>
                    <a:gd name="T8" fmla="*/ 41 w 96"/>
                    <a:gd name="T9" fmla="*/ 39 h 42"/>
                    <a:gd name="T10" fmla="*/ 46 w 96"/>
                    <a:gd name="T11" fmla="*/ 38 h 42"/>
                    <a:gd name="T12" fmla="*/ 46 w 96"/>
                    <a:gd name="T13" fmla="*/ 38 h 42"/>
                    <a:gd name="T14" fmla="*/ 51 w 96"/>
                    <a:gd name="T15" fmla="*/ 36 h 42"/>
                    <a:gd name="T16" fmla="*/ 56 w 96"/>
                    <a:gd name="T17" fmla="*/ 34 h 42"/>
                    <a:gd name="T18" fmla="*/ 64 w 96"/>
                    <a:gd name="T19" fmla="*/ 31 h 42"/>
                    <a:gd name="T20" fmla="*/ 72 w 96"/>
                    <a:gd name="T21" fmla="*/ 29 h 42"/>
                    <a:gd name="T22" fmla="*/ 72 w 96"/>
                    <a:gd name="T23" fmla="*/ 29 h 42"/>
                    <a:gd name="T24" fmla="*/ 83 w 96"/>
                    <a:gd name="T25" fmla="*/ 29 h 42"/>
                    <a:gd name="T26" fmla="*/ 93 w 96"/>
                    <a:gd name="T27" fmla="*/ 26 h 42"/>
                    <a:gd name="T28" fmla="*/ 93 w 96"/>
                    <a:gd name="T29" fmla="*/ 26 h 42"/>
                    <a:gd name="T30" fmla="*/ 93 w 96"/>
                    <a:gd name="T31" fmla="*/ 26 h 42"/>
                    <a:gd name="T32" fmla="*/ 90 w 96"/>
                    <a:gd name="T33" fmla="*/ 20 h 42"/>
                    <a:gd name="T34" fmla="*/ 90 w 96"/>
                    <a:gd name="T35" fmla="*/ 18 h 42"/>
                    <a:gd name="T36" fmla="*/ 91 w 96"/>
                    <a:gd name="T37" fmla="*/ 16 h 42"/>
                    <a:gd name="T38" fmla="*/ 91 w 96"/>
                    <a:gd name="T39" fmla="*/ 16 h 42"/>
                    <a:gd name="T40" fmla="*/ 96 w 96"/>
                    <a:gd name="T41" fmla="*/ 9 h 42"/>
                    <a:gd name="T42" fmla="*/ 96 w 96"/>
                    <a:gd name="T43" fmla="*/ 9 h 42"/>
                    <a:gd name="T44" fmla="*/ 85 w 96"/>
                    <a:gd name="T45" fmla="*/ 3 h 42"/>
                    <a:gd name="T46" fmla="*/ 80 w 96"/>
                    <a:gd name="T47" fmla="*/ 0 h 42"/>
                    <a:gd name="T48" fmla="*/ 80 w 96"/>
                    <a:gd name="T49" fmla="*/ 0 h 42"/>
                    <a:gd name="T50" fmla="*/ 71 w 96"/>
                    <a:gd name="T51" fmla="*/ 2 h 42"/>
                    <a:gd name="T52" fmla="*/ 65 w 96"/>
                    <a:gd name="T53" fmla="*/ 3 h 42"/>
                    <a:gd name="T54" fmla="*/ 65 w 96"/>
                    <a:gd name="T55" fmla="*/ 3 h 42"/>
                    <a:gd name="T56" fmla="*/ 58 w 96"/>
                    <a:gd name="T57" fmla="*/ 3 h 42"/>
                    <a:gd name="T58" fmla="*/ 54 w 96"/>
                    <a:gd name="T59" fmla="*/ 5 h 42"/>
                    <a:gd name="T60" fmla="*/ 49 w 96"/>
                    <a:gd name="T61" fmla="*/ 3 h 42"/>
                    <a:gd name="T62" fmla="*/ 49 w 96"/>
                    <a:gd name="T63" fmla="*/ 3 h 42"/>
                    <a:gd name="T64" fmla="*/ 46 w 96"/>
                    <a:gd name="T65" fmla="*/ 2 h 42"/>
                    <a:gd name="T66" fmla="*/ 41 w 96"/>
                    <a:gd name="T67" fmla="*/ 2 h 42"/>
                    <a:gd name="T68" fmla="*/ 32 w 96"/>
                    <a:gd name="T69" fmla="*/ 3 h 42"/>
                    <a:gd name="T70" fmla="*/ 32 w 96"/>
                    <a:gd name="T71" fmla="*/ 3 h 42"/>
                    <a:gd name="T72" fmla="*/ 29 w 96"/>
                    <a:gd name="T73" fmla="*/ 5 h 42"/>
                    <a:gd name="T74" fmla="*/ 25 w 96"/>
                    <a:gd name="T75" fmla="*/ 7 h 42"/>
                    <a:gd name="T76" fmla="*/ 17 w 96"/>
                    <a:gd name="T77" fmla="*/ 15 h 42"/>
                    <a:gd name="T78" fmla="*/ 17 w 96"/>
                    <a:gd name="T79" fmla="*/ 15 h 42"/>
                    <a:gd name="T80" fmla="*/ 10 w 96"/>
                    <a:gd name="T81" fmla="*/ 18 h 42"/>
                    <a:gd name="T82" fmla="*/ 0 w 96"/>
                    <a:gd name="T83" fmla="*/ 22 h 42"/>
                    <a:gd name="T84" fmla="*/ 0 w 96"/>
                    <a:gd name="T85" fmla="*/ 22 h 42"/>
                    <a:gd name="T86" fmla="*/ 1 w 96"/>
                    <a:gd name="T87" fmla="*/ 28 h 42"/>
                    <a:gd name="T88" fmla="*/ 1 w 96"/>
                    <a:gd name="T89" fmla="*/ 28 h 42"/>
                    <a:gd name="T90" fmla="*/ 1 w 96"/>
                    <a:gd name="T91" fmla="*/ 31 h 42"/>
                    <a:gd name="T92" fmla="*/ 0 w 96"/>
                    <a:gd name="T93" fmla="*/ 36 h 42"/>
                    <a:gd name="T94" fmla="*/ 0 w 96"/>
                    <a:gd name="T95" fmla="*/ 36 h 42"/>
                    <a:gd name="T96" fmla="*/ 10 w 96"/>
                    <a:gd name="T97" fmla="*/ 39 h 42"/>
                    <a:gd name="T98" fmla="*/ 19 w 96"/>
                    <a:gd name="T99" fmla="*/ 42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96" h="42">
                      <a:moveTo>
                        <a:pt x="19" y="42"/>
                      </a:moveTo>
                      <a:lnTo>
                        <a:pt x="19" y="42"/>
                      </a:lnTo>
                      <a:lnTo>
                        <a:pt x="26" y="42"/>
                      </a:lnTo>
                      <a:lnTo>
                        <a:pt x="33" y="41"/>
                      </a:lnTo>
                      <a:lnTo>
                        <a:pt x="41" y="39"/>
                      </a:lnTo>
                      <a:lnTo>
                        <a:pt x="46" y="38"/>
                      </a:lnTo>
                      <a:lnTo>
                        <a:pt x="46" y="38"/>
                      </a:lnTo>
                      <a:lnTo>
                        <a:pt x="51" y="36"/>
                      </a:lnTo>
                      <a:lnTo>
                        <a:pt x="56" y="34"/>
                      </a:lnTo>
                      <a:lnTo>
                        <a:pt x="64" y="31"/>
                      </a:lnTo>
                      <a:lnTo>
                        <a:pt x="72" y="29"/>
                      </a:lnTo>
                      <a:lnTo>
                        <a:pt x="72" y="29"/>
                      </a:lnTo>
                      <a:lnTo>
                        <a:pt x="83" y="29"/>
                      </a:lnTo>
                      <a:lnTo>
                        <a:pt x="93" y="26"/>
                      </a:lnTo>
                      <a:lnTo>
                        <a:pt x="93" y="26"/>
                      </a:lnTo>
                      <a:lnTo>
                        <a:pt x="93" y="26"/>
                      </a:lnTo>
                      <a:lnTo>
                        <a:pt x="90" y="20"/>
                      </a:lnTo>
                      <a:lnTo>
                        <a:pt x="90" y="18"/>
                      </a:lnTo>
                      <a:lnTo>
                        <a:pt x="91" y="16"/>
                      </a:lnTo>
                      <a:lnTo>
                        <a:pt x="91" y="16"/>
                      </a:lnTo>
                      <a:lnTo>
                        <a:pt x="96" y="9"/>
                      </a:lnTo>
                      <a:lnTo>
                        <a:pt x="96" y="9"/>
                      </a:lnTo>
                      <a:lnTo>
                        <a:pt x="85" y="3"/>
                      </a:lnTo>
                      <a:lnTo>
                        <a:pt x="80" y="0"/>
                      </a:lnTo>
                      <a:lnTo>
                        <a:pt x="80" y="0"/>
                      </a:lnTo>
                      <a:lnTo>
                        <a:pt x="71" y="2"/>
                      </a:lnTo>
                      <a:lnTo>
                        <a:pt x="65" y="3"/>
                      </a:lnTo>
                      <a:lnTo>
                        <a:pt x="65" y="3"/>
                      </a:lnTo>
                      <a:lnTo>
                        <a:pt x="58" y="3"/>
                      </a:lnTo>
                      <a:lnTo>
                        <a:pt x="54" y="5"/>
                      </a:lnTo>
                      <a:lnTo>
                        <a:pt x="49" y="3"/>
                      </a:lnTo>
                      <a:lnTo>
                        <a:pt x="49" y="3"/>
                      </a:lnTo>
                      <a:lnTo>
                        <a:pt x="46" y="2"/>
                      </a:lnTo>
                      <a:lnTo>
                        <a:pt x="41" y="2"/>
                      </a:lnTo>
                      <a:lnTo>
                        <a:pt x="32" y="3"/>
                      </a:lnTo>
                      <a:lnTo>
                        <a:pt x="32" y="3"/>
                      </a:lnTo>
                      <a:lnTo>
                        <a:pt x="29" y="5"/>
                      </a:lnTo>
                      <a:lnTo>
                        <a:pt x="25" y="7"/>
                      </a:lnTo>
                      <a:lnTo>
                        <a:pt x="17" y="15"/>
                      </a:lnTo>
                      <a:lnTo>
                        <a:pt x="17" y="15"/>
                      </a:lnTo>
                      <a:lnTo>
                        <a:pt x="10" y="18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1" y="28"/>
                      </a:lnTo>
                      <a:lnTo>
                        <a:pt x="1" y="28"/>
                      </a:lnTo>
                      <a:lnTo>
                        <a:pt x="1" y="31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10" y="39"/>
                      </a:lnTo>
                      <a:lnTo>
                        <a:pt x="19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92" name="Freeform 1245"/>
                <p:cNvSpPr>
                  <a:spLocks/>
                </p:cNvSpPr>
                <p:nvPr/>
              </p:nvSpPr>
              <p:spPr bwMode="auto">
                <a:xfrm>
                  <a:off x="4675872" y="2424826"/>
                  <a:ext cx="94969" cy="41549"/>
                </a:xfrm>
                <a:custGeom>
                  <a:avLst/>
                  <a:gdLst>
                    <a:gd name="T0" fmla="*/ 19 w 96"/>
                    <a:gd name="T1" fmla="*/ 42 h 42"/>
                    <a:gd name="T2" fmla="*/ 19 w 96"/>
                    <a:gd name="T3" fmla="*/ 42 h 42"/>
                    <a:gd name="T4" fmla="*/ 26 w 96"/>
                    <a:gd name="T5" fmla="*/ 42 h 42"/>
                    <a:gd name="T6" fmla="*/ 33 w 96"/>
                    <a:gd name="T7" fmla="*/ 41 h 42"/>
                    <a:gd name="T8" fmla="*/ 41 w 96"/>
                    <a:gd name="T9" fmla="*/ 39 h 42"/>
                    <a:gd name="T10" fmla="*/ 46 w 96"/>
                    <a:gd name="T11" fmla="*/ 38 h 42"/>
                    <a:gd name="T12" fmla="*/ 46 w 96"/>
                    <a:gd name="T13" fmla="*/ 38 h 42"/>
                    <a:gd name="T14" fmla="*/ 51 w 96"/>
                    <a:gd name="T15" fmla="*/ 36 h 42"/>
                    <a:gd name="T16" fmla="*/ 56 w 96"/>
                    <a:gd name="T17" fmla="*/ 34 h 42"/>
                    <a:gd name="T18" fmla="*/ 64 w 96"/>
                    <a:gd name="T19" fmla="*/ 31 h 42"/>
                    <a:gd name="T20" fmla="*/ 72 w 96"/>
                    <a:gd name="T21" fmla="*/ 29 h 42"/>
                    <a:gd name="T22" fmla="*/ 72 w 96"/>
                    <a:gd name="T23" fmla="*/ 29 h 42"/>
                    <a:gd name="T24" fmla="*/ 83 w 96"/>
                    <a:gd name="T25" fmla="*/ 29 h 42"/>
                    <a:gd name="T26" fmla="*/ 93 w 96"/>
                    <a:gd name="T27" fmla="*/ 26 h 42"/>
                    <a:gd name="T28" fmla="*/ 93 w 96"/>
                    <a:gd name="T29" fmla="*/ 26 h 42"/>
                    <a:gd name="T30" fmla="*/ 93 w 96"/>
                    <a:gd name="T31" fmla="*/ 26 h 42"/>
                    <a:gd name="T32" fmla="*/ 90 w 96"/>
                    <a:gd name="T33" fmla="*/ 20 h 42"/>
                    <a:gd name="T34" fmla="*/ 90 w 96"/>
                    <a:gd name="T35" fmla="*/ 18 h 42"/>
                    <a:gd name="T36" fmla="*/ 91 w 96"/>
                    <a:gd name="T37" fmla="*/ 16 h 42"/>
                    <a:gd name="T38" fmla="*/ 91 w 96"/>
                    <a:gd name="T39" fmla="*/ 16 h 42"/>
                    <a:gd name="T40" fmla="*/ 96 w 96"/>
                    <a:gd name="T41" fmla="*/ 9 h 42"/>
                    <a:gd name="T42" fmla="*/ 96 w 96"/>
                    <a:gd name="T43" fmla="*/ 9 h 42"/>
                    <a:gd name="T44" fmla="*/ 85 w 96"/>
                    <a:gd name="T45" fmla="*/ 3 h 42"/>
                    <a:gd name="T46" fmla="*/ 80 w 96"/>
                    <a:gd name="T47" fmla="*/ 0 h 42"/>
                    <a:gd name="T48" fmla="*/ 80 w 96"/>
                    <a:gd name="T49" fmla="*/ 0 h 42"/>
                    <a:gd name="T50" fmla="*/ 71 w 96"/>
                    <a:gd name="T51" fmla="*/ 2 h 42"/>
                    <a:gd name="T52" fmla="*/ 65 w 96"/>
                    <a:gd name="T53" fmla="*/ 3 h 42"/>
                    <a:gd name="T54" fmla="*/ 65 w 96"/>
                    <a:gd name="T55" fmla="*/ 3 h 42"/>
                    <a:gd name="T56" fmla="*/ 58 w 96"/>
                    <a:gd name="T57" fmla="*/ 3 h 42"/>
                    <a:gd name="T58" fmla="*/ 54 w 96"/>
                    <a:gd name="T59" fmla="*/ 5 h 42"/>
                    <a:gd name="T60" fmla="*/ 49 w 96"/>
                    <a:gd name="T61" fmla="*/ 3 h 42"/>
                    <a:gd name="T62" fmla="*/ 49 w 96"/>
                    <a:gd name="T63" fmla="*/ 3 h 42"/>
                    <a:gd name="T64" fmla="*/ 46 w 96"/>
                    <a:gd name="T65" fmla="*/ 2 h 42"/>
                    <a:gd name="T66" fmla="*/ 41 w 96"/>
                    <a:gd name="T67" fmla="*/ 2 h 42"/>
                    <a:gd name="T68" fmla="*/ 32 w 96"/>
                    <a:gd name="T69" fmla="*/ 3 h 42"/>
                    <a:gd name="T70" fmla="*/ 32 w 96"/>
                    <a:gd name="T71" fmla="*/ 3 h 42"/>
                    <a:gd name="T72" fmla="*/ 29 w 96"/>
                    <a:gd name="T73" fmla="*/ 5 h 42"/>
                    <a:gd name="T74" fmla="*/ 25 w 96"/>
                    <a:gd name="T75" fmla="*/ 7 h 42"/>
                    <a:gd name="T76" fmla="*/ 17 w 96"/>
                    <a:gd name="T77" fmla="*/ 15 h 42"/>
                    <a:gd name="T78" fmla="*/ 17 w 96"/>
                    <a:gd name="T79" fmla="*/ 15 h 42"/>
                    <a:gd name="T80" fmla="*/ 10 w 96"/>
                    <a:gd name="T81" fmla="*/ 18 h 42"/>
                    <a:gd name="T82" fmla="*/ 0 w 96"/>
                    <a:gd name="T83" fmla="*/ 22 h 42"/>
                    <a:gd name="T84" fmla="*/ 0 w 96"/>
                    <a:gd name="T85" fmla="*/ 22 h 42"/>
                    <a:gd name="T86" fmla="*/ 1 w 96"/>
                    <a:gd name="T87" fmla="*/ 28 h 42"/>
                    <a:gd name="T88" fmla="*/ 1 w 96"/>
                    <a:gd name="T89" fmla="*/ 28 h 42"/>
                    <a:gd name="T90" fmla="*/ 1 w 96"/>
                    <a:gd name="T91" fmla="*/ 31 h 42"/>
                    <a:gd name="T92" fmla="*/ 0 w 96"/>
                    <a:gd name="T93" fmla="*/ 36 h 42"/>
                    <a:gd name="T94" fmla="*/ 0 w 96"/>
                    <a:gd name="T95" fmla="*/ 36 h 42"/>
                    <a:gd name="T96" fmla="*/ 10 w 96"/>
                    <a:gd name="T97" fmla="*/ 39 h 42"/>
                    <a:gd name="T98" fmla="*/ 19 w 96"/>
                    <a:gd name="T99" fmla="*/ 42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96" h="42">
                      <a:moveTo>
                        <a:pt x="19" y="42"/>
                      </a:moveTo>
                      <a:lnTo>
                        <a:pt x="19" y="42"/>
                      </a:lnTo>
                      <a:lnTo>
                        <a:pt x="26" y="42"/>
                      </a:lnTo>
                      <a:lnTo>
                        <a:pt x="33" y="41"/>
                      </a:lnTo>
                      <a:lnTo>
                        <a:pt x="41" y="39"/>
                      </a:lnTo>
                      <a:lnTo>
                        <a:pt x="46" y="38"/>
                      </a:lnTo>
                      <a:lnTo>
                        <a:pt x="46" y="38"/>
                      </a:lnTo>
                      <a:lnTo>
                        <a:pt x="51" y="36"/>
                      </a:lnTo>
                      <a:lnTo>
                        <a:pt x="56" y="34"/>
                      </a:lnTo>
                      <a:lnTo>
                        <a:pt x="64" y="31"/>
                      </a:lnTo>
                      <a:lnTo>
                        <a:pt x="72" y="29"/>
                      </a:lnTo>
                      <a:lnTo>
                        <a:pt x="72" y="29"/>
                      </a:lnTo>
                      <a:lnTo>
                        <a:pt x="83" y="29"/>
                      </a:lnTo>
                      <a:lnTo>
                        <a:pt x="93" y="26"/>
                      </a:lnTo>
                      <a:lnTo>
                        <a:pt x="93" y="26"/>
                      </a:lnTo>
                      <a:lnTo>
                        <a:pt x="93" y="26"/>
                      </a:lnTo>
                      <a:lnTo>
                        <a:pt x="90" y="20"/>
                      </a:lnTo>
                      <a:lnTo>
                        <a:pt x="90" y="18"/>
                      </a:lnTo>
                      <a:lnTo>
                        <a:pt x="91" y="16"/>
                      </a:lnTo>
                      <a:lnTo>
                        <a:pt x="91" y="16"/>
                      </a:lnTo>
                      <a:lnTo>
                        <a:pt x="96" y="9"/>
                      </a:lnTo>
                      <a:lnTo>
                        <a:pt x="96" y="9"/>
                      </a:lnTo>
                      <a:lnTo>
                        <a:pt x="85" y="3"/>
                      </a:lnTo>
                      <a:lnTo>
                        <a:pt x="80" y="0"/>
                      </a:lnTo>
                      <a:lnTo>
                        <a:pt x="80" y="0"/>
                      </a:lnTo>
                      <a:lnTo>
                        <a:pt x="71" y="2"/>
                      </a:lnTo>
                      <a:lnTo>
                        <a:pt x="65" y="3"/>
                      </a:lnTo>
                      <a:lnTo>
                        <a:pt x="65" y="3"/>
                      </a:lnTo>
                      <a:lnTo>
                        <a:pt x="58" y="3"/>
                      </a:lnTo>
                      <a:lnTo>
                        <a:pt x="54" y="5"/>
                      </a:lnTo>
                      <a:lnTo>
                        <a:pt x="49" y="3"/>
                      </a:lnTo>
                      <a:lnTo>
                        <a:pt x="49" y="3"/>
                      </a:lnTo>
                      <a:lnTo>
                        <a:pt x="46" y="2"/>
                      </a:lnTo>
                      <a:lnTo>
                        <a:pt x="41" y="2"/>
                      </a:lnTo>
                      <a:lnTo>
                        <a:pt x="32" y="3"/>
                      </a:lnTo>
                      <a:lnTo>
                        <a:pt x="32" y="3"/>
                      </a:lnTo>
                      <a:lnTo>
                        <a:pt x="29" y="5"/>
                      </a:lnTo>
                      <a:lnTo>
                        <a:pt x="25" y="7"/>
                      </a:lnTo>
                      <a:lnTo>
                        <a:pt x="17" y="15"/>
                      </a:lnTo>
                      <a:lnTo>
                        <a:pt x="17" y="15"/>
                      </a:lnTo>
                      <a:lnTo>
                        <a:pt x="10" y="18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1" y="28"/>
                      </a:lnTo>
                      <a:lnTo>
                        <a:pt x="1" y="28"/>
                      </a:lnTo>
                      <a:lnTo>
                        <a:pt x="1" y="31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10" y="39"/>
                      </a:lnTo>
                      <a:lnTo>
                        <a:pt x="19" y="42"/>
                      </a:ln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93" name="Freeform 1246"/>
                <p:cNvSpPr>
                  <a:spLocks/>
                </p:cNvSpPr>
                <p:nvPr/>
              </p:nvSpPr>
              <p:spPr bwMode="auto">
                <a:xfrm>
                  <a:off x="4666968" y="2450547"/>
                  <a:ext cx="105851" cy="63313"/>
                </a:xfrm>
                <a:custGeom>
                  <a:avLst/>
                  <a:gdLst>
                    <a:gd name="T0" fmla="*/ 102 w 107"/>
                    <a:gd name="T1" fmla="*/ 0 h 64"/>
                    <a:gd name="T2" fmla="*/ 102 w 107"/>
                    <a:gd name="T3" fmla="*/ 0 h 64"/>
                    <a:gd name="T4" fmla="*/ 92 w 107"/>
                    <a:gd name="T5" fmla="*/ 3 h 64"/>
                    <a:gd name="T6" fmla="*/ 81 w 107"/>
                    <a:gd name="T7" fmla="*/ 3 h 64"/>
                    <a:gd name="T8" fmla="*/ 81 w 107"/>
                    <a:gd name="T9" fmla="*/ 3 h 64"/>
                    <a:gd name="T10" fmla="*/ 73 w 107"/>
                    <a:gd name="T11" fmla="*/ 5 h 64"/>
                    <a:gd name="T12" fmla="*/ 65 w 107"/>
                    <a:gd name="T13" fmla="*/ 8 h 64"/>
                    <a:gd name="T14" fmla="*/ 60 w 107"/>
                    <a:gd name="T15" fmla="*/ 10 h 64"/>
                    <a:gd name="T16" fmla="*/ 55 w 107"/>
                    <a:gd name="T17" fmla="*/ 12 h 64"/>
                    <a:gd name="T18" fmla="*/ 55 w 107"/>
                    <a:gd name="T19" fmla="*/ 12 h 64"/>
                    <a:gd name="T20" fmla="*/ 50 w 107"/>
                    <a:gd name="T21" fmla="*/ 13 h 64"/>
                    <a:gd name="T22" fmla="*/ 42 w 107"/>
                    <a:gd name="T23" fmla="*/ 15 h 64"/>
                    <a:gd name="T24" fmla="*/ 35 w 107"/>
                    <a:gd name="T25" fmla="*/ 16 h 64"/>
                    <a:gd name="T26" fmla="*/ 28 w 107"/>
                    <a:gd name="T27" fmla="*/ 16 h 64"/>
                    <a:gd name="T28" fmla="*/ 28 w 107"/>
                    <a:gd name="T29" fmla="*/ 16 h 64"/>
                    <a:gd name="T30" fmla="*/ 19 w 107"/>
                    <a:gd name="T31" fmla="*/ 13 h 64"/>
                    <a:gd name="T32" fmla="*/ 9 w 107"/>
                    <a:gd name="T33" fmla="*/ 10 h 64"/>
                    <a:gd name="T34" fmla="*/ 9 w 107"/>
                    <a:gd name="T35" fmla="*/ 10 h 64"/>
                    <a:gd name="T36" fmla="*/ 5 w 107"/>
                    <a:gd name="T37" fmla="*/ 22 h 64"/>
                    <a:gd name="T38" fmla="*/ 2 w 107"/>
                    <a:gd name="T39" fmla="*/ 29 h 64"/>
                    <a:gd name="T40" fmla="*/ 2 w 107"/>
                    <a:gd name="T41" fmla="*/ 29 h 64"/>
                    <a:gd name="T42" fmla="*/ 0 w 107"/>
                    <a:gd name="T43" fmla="*/ 34 h 64"/>
                    <a:gd name="T44" fmla="*/ 2 w 107"/>
                    <a:gd name="T45" fmla="*/ 38 h 64"/>
                    <a:gd name="T46" fmla="*/ 9 w 107"/>
                    <a:gd name="T47" fmla="*/ 48 h 64"/>
                    <a:gd name="T48" fmla="*/ 9 w 107"/>
                    <a:gd name="T49" fmla="*/ 48 h 64"/>
                    <a:gd name="T50" fmla="*/ 16 w 107"/>
                    <a:gd name="T51" fmla="*/ 54 h 64"/>
                    <a:gd name="T52" fmla="*/ 23 w 107"/>
                    <a:gd name="T53" fmla="*/ 58 h 64"/>
                    <a:gd name="T54" fmla="*/ 32 w 107"/>
                    <a:gd name="T55" fmla="*/ 63 h 64"/>
                    <a:gd name="T56" fmla="*/ 39 w 107"/>
                    <a:gd name="T57" fmla="*/ 64 h 64"/>
                    <a:gd name="T58" fmla="*/ 39 w 107"/>
                    <a:gd name="T59" fmla="*/ 64 h 64"/>
                    <a:gd name="T60" fmla="*/ 44 w 107"/>
                    <a:gd name="T61" fmla="*/ 64 h 64"/>
                    <a:gd name="T62" fmla="*/ 48 w 107"/>
                    <a:gd name="T63" fmla="*/ 63 h 64"/>
                    <a:gd name="T64" fmla="*/ 52 w 107"/>
                    <a:gd name="T65" fmla="*/ 60 h 64"/>
                    <a:gd name="T66" fmla="*/ 52 w 107"/>
                    <a:gd name="T67" fmla="*/ 60 h 64"/>
                    <a:gd name="T68" fmla="*/ 55 w 107"/>
                    <a:gd name="T69" fmla="*/ 58 h 64"/>
                    <a:gd name="T70" fmla="*/ 63 w 107"/>
                    <a:gd name="T71" fmla="*/ 55 h 64"/>
                    <a:gd name="T72" fmla="*/ 70 w 107"/>
                    <a:gd name="T73" fmla="*/ 54 h 64"/>
                    <a:gd name="T74" fmla="*/ 76 w 107"/>
                    <a:gd name="T75" fmla="*/ 50 h 64"/>
                    <a:gd name="T76" fmla="*/ 76 w 107"/>
                    <a:gd name="T77" fmla="*/ 50 h 64"/>
                    <a:gd name="T78" fmla="*/ 81 w 107"/>
                    <a:gd name="T79" fmla="*/ 44 h 64"/>
                    <a:gd name="T80" fmla="*/ 90 w 107"/>
                    <a:gd name="T81" fmla="*/ 35 h 64"/>
                    <a:gd name="T82" fmla="*/ 102 w 107"/>
                    <a:gd name="T83" fmla="*/ 18 h 64"/>
                    <a:gd name="T84" fmla="*/ 102 w 107"/>
                    <a:gd name="T85" fmla="*/ 18 h 64"/>
                    <a:gd name="T86" fmla="*/ 105 w 107"/>
                    <a:gd name="T87" fmla="*/ 12 h 64"/>
                    <a:gd name="T88" fmla="*/ 107 w 107"/>
                    <a:gd name="T89" fmla="*/ 9 h 64"/>
                    <a:gd name="T90" fmla="*/ 107 w 107"/>
                    <a:gd name="T91" fmla="*/ 9 h 64"/>
                    <a:gd name="T92" fmla="*/ 102 w 107"/>
                    <a:gd name="T93" fmla="*/ 0 h 64"/>
                    <a:gd name="T94" fmla="*/ 102 w 107"/>
                    <a:gd name="T95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07" h="64">
                      <a:moveTo>
                        <a:pt x="102" y="0"/>
                      </a:moveTo>
                      <a:lnTo>
                        <a:pt x="102" y="0"/>
                      </a:lnTo>
                      <a:lnTo>
                        <a:pt x="92" y="3"/>
                      </a:lnTo>
                      <a:lnTo>
                        <a:pt x="81" y="3"/>
                      </a:lnTo>
                      <a:lnTo>
                        <a:pt x="81" y="3"/>
                      </a:lnTo>
                      <a:lnTo>
                        <a:pt x="73" y="5"/>
                      </a:lnTo>
                      <a:lnTo>
                        <a:pt x="65" y="8"/>
                      </a:lnTo>
                      <a:lnTo>
                        <a:pt x="60" y="10"/>
                      </a:lnTo>
                      <a:lnTo>
                        <a:pt x="55" y="12"/>
                      </a:lnTo>
                      <a:lnTo>
                        <a:pt x="55" y="12"/>
                      </a:lnTo>
                      <a:lnTo>
                        <a:pt x="50" y="13"/>
                      </a:lnTo>
                      <a:lnTo>
                        <a:pt x="42" y="15"/>
                      </a:lnTo>
                      <a:lnTo>
                        <a:pt x="35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19" y="13"/>
                      </a:lnTo>
                      <a:lnTo>
                        <a:pt x="9" y="10"/>
                      </a:lnTo>
                      <a:lnTo>
                        <a:pt x="9" y="10"/>
                      </a:lnTo>
                      <a:lnTo>
                        <a:pt x="5" y="22"/>
                      </a:lnTo>
                      <a:lnTo>
                        <a:pt x="2" y="29"/>
                      </a:lnTo>
                      <a:lnTo>
                        <a:pt x="2" y="29"/>
                      </a:lnTo>
                      <a:lnTo>
                        <a:pt x="0" y="34"/>
                      </a:lnTo>
                      <a:lnTo>
                        <a:pt x="2" y="38"/>
                      </a:lnTo>
                      <a:lnTo>
                        <a:pt x="9" y="48"/>
                      </a:lnTo>
                      <a:lnTo>
                        <a:pt x="9" y="48"/>
                      </a:lnTo>
                      <a:lnTo>
                        <a:pt x="16" y="54"/>
                      </a:lnTo>
                      <a:lnTo>
                        <a:pt x="23" y="58"/>
                      </a:lnTo>
                      <a:lnTo>
                        <a:pt x="32" y="63"/>
                      </a:lnTo>
                      <a:lnTo>
                        <a:pt x="39" y="64"/>
                      </a:lnTo>
                      <a:lnTo>
                        <a:pt x="39" y="64"/>
                      </a:lnTo>
                      <a:lnTo>
                        <a:pt x="44" y="64"/>
                      </a:lnTo>
                      <a:lnTo>
                        <a:pt x="48" y="63"/>
                      </a:lnTo>
                      <a:lnTo>
                        <a:pt x="52" y="60"/>
                      </a:lnTo>
                      <a:lnTo>
                        <a:pt x="52" y="60"/>
                      </a:lnTo>
                      <a:lnTo>
                        <a:pt x="55" y="58"/>
                      </a:lnTo>
                      <a:lnTo>
                        <a:pt x="63" y="55"/>
                      </a:lnTo>
                      <a:lnTo>
                        <a:pt x="70" y="54"/>
                      </a:lnTo>
                      <a:lnTo>
                        <a:pt x="76" y="50"/>
                      </a:lnTo>
                      <a:lnTo>
                        <a:pt x="76" y="50"/>
                      </a:lnTo>
                      <a:lnTo>
                        <a:pt x="81" y="44"/>
                      </a:lnTo>
                      <a:lnTo>
                        <a:pt x="90" y="35"/>
                      </a:lnTo>
                      <a:lnTo>
                        <a:pt x="102" y="18"/>
                      </a:lnTo>
                      <a:lnTo>
                        <a:pt x="102" y="18"/>
                      </a:lnTo>
                      <a:lnTo>
                        <a:pt x="105" y="12"/>
                      </a:lnTo>
                      <a:lnTo>
                        <a:pt x="107" y="9"/>
                      </a:lnTo>
                      <a:lnTo>
                        <a:pt x="107" y="9"/>
                      </a:lnTo>
                      <a:lnTo>
                        <a:pt x="102" y="0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16" name="Freeform 1269"/>
                <p:cNvSpPr>
                  <a:spLocks/>
                </p:cNvSpPr>
                <p:nvPr/>
              </p:nvSpPr>
              <p:spPr bwMode="auto">
                <a:xfrm>
                  <a:off x="4609591" y="2679066"/>
                  <a:ext cx="46495" cy="26710"/>
                </a:xfrm>
                <a:custGeom>
                  <a:avLst/>
                  <a:gdLst>
                    <a:gd name="T0" fmla="*/ 39 w 47"/>
                    <a:gd name="T1" fmla="*/ 26 h 27"/>
                    <a:gd name="T2" fmla="*/ 39 w 47"/>
                    <a:gd name="T3" fmla="*/ 26 h 27"/>
                    <a:gd name="T4" fmla="*/ 32 w 47"/>
                    <a:gd name="T5" fmla="*/ 23 h 27"/>
                    <a:gd name="T6" fmla="*/ 28 w 47"/>
                    <a:gd name="T7" fmla="*/ 20 h 27"/>
                    <a:gd name="T8" fmla="*/ 19 w 47"/>
                    <a:gd name="T9" fmla="*/ 14 h 27"/>
                    <a:gd name="T10" fmla="*/ 19 w 47"/>
                    <a:gd name="T11" fmla="*/ 14 h 27"/>
                    <a:gd name="T12" fmla="*/ 8 w 47"/>
                    <a:gd name="T13" fmla="*/ 10 h 27"/>
                    <a:gd name="T14" fmla="*/ 2 w 47"/>
                    <a:gd name="T15" fmla="*/ 7 h 27"/>
                    <a:gd name="T16" fmla="*/ 0 w 47"/>
                    <a:gd name="T17" fmla="*/ 5 h 27"/>
                    <a:gd name="T18" fmla="*/ 0 w 47"/>
                    <a:gd name="T19" fmla="*/ 4 h 27"/>
                    <a:gd name="T20" fmla="*/ 0 w 47"/>
                    <a:gd name="T21" fmla="*/ 4 h 27"/>
                    <a:gd name="T22" fmla="*/ 5 w 47"/>
                    <a:gd name="T23" fmla="*/ 1 h 27"/>
                    <a:gd name="T24" fmla="*/ 8 w 47"/>
                    <a:gd name="T25" fmla="*/ 0 h 27"/>
                    <a:gd name="T26" fmla="*/ 12 w 47"/>
                    <a:gd name="T27" fmla="*/ 1 h 27"/>
                    <a:gd name="T28" fmla="*/ 12 w 47"/>
                    <a:gd name="T29" fmla="*/ 1 h 27"/>
                    <a:gd name="T30" fmla="*/ 22 w 47"/>
                    <a:gd name="T31" fmla="*/ 4 h 27"/>
                    <a:gd name="T32" fmla="*/ 26 w 47"/>
                    <a:gd name="T33" fmla="*/ 4 h 27"/>
                    <a:gd name="T34" fmla="*/ 31 w 47"/>
                    <a:gd name="T35" fmla="*/ 2 h 27"/>
                    <a:gd name="T36" fmla="*/ 31 w 47"/>
                    <a:gd name="T37" fmla="*/ 2 h 27"/>
                    <a:gd name="T38" fmla="*/ 41 w 47"/>
                    <a:gd name="T39" fmla="*/ 1 h 27"/>
                    <a:gd name="T40" fmla="*/ 45 w 47"/>
                    <a:gd name="T41" fmla="*/ 1 h 27"/>
                    <a:gd name="T42" fmla="*/ 47 w 47"/>
                    <a:gd name="T43" fmla="*/ 1 h 27"/>
                    <a:gd name="T44" fmla="*/ 47 w 47"/>
                    <a:gd name="T45" fmla="*/ 1 h 27"/>
                    <a:gd name="T46" fmla="*/ 47 w 47"/>
                    <a:gd name="T47" fmla="*/ 1 h 27"/>
                    <a:gd name="T48" fmla="*/ 45 w 47"/>
                    <a:gd name="T49" fmla="*/ 7 h 27"/>
                    <a:gd name="T50" fmla="*/ 44 w 47"/>
                    <a:gd name="T51" fmla="*/ 10 h 27"/>
                    <a:gd name="T52" fmla="*/ 45 w 47"/>
                    <a:gd name="T53" fmla="*/ 14 h 27"/>
                    <a:gd name="T54" fmla="*/ 45 w 47"/>
                    <a:gd name="T55" fmla="*/ 14 h 27"/>
                    <a:gd name="T56" fmla="*/ 45 w 47"/>
                    <a:gd name="T57" fmla="*/ 18 h 27"/>
                    <a:gd name="T58" fmla="*/ 45 w 47"/>
                    <a:gd name="T59" fmla="*/ 23 h 27"/>
                    <a:gd name="T60" fmla="*/ 45 w 47"/>
                    <a:gd name="T61" fmla="*/ 24 h 27"/>
                    <a:gd name="T62" fmla="*/ 44 w 47"/>
                    <a:gd name="T63" fmla="*/ 26 h 27"/>
                    <a:gd name="T64" fmla="*/ 42 w 47"/>
                    <a:gd name="T65" fmla="*/ 27 h 27"/>
                    <a:gd name="T66" fmla="*/ 39 w 47"/>
                    <a:gd name="T67" fmla="*/ 26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7" h="27">
                      <a:moveTo>
                        <a:pt x="39" y="26"/>
                      </a:moveTo>
                      <a:lnTo>
                        <a:pt x="39" y="26"/>
                      </a:lnTo>
                      <a:lnTo>
                        <a:pt x="32" y="23"/>
                      </a:lnTo>
                      <a:lnTo>
                        <a:pt x="28" y="20"/>
                      </a:lnTo>
                      <a:lnTo>
                        <a:pt x="19" y="14"/>
                      </a:lnTo>
                      <a:lnTo>
                        <a:pt x="19" y="14"/>
                      </a:lnTo>
                      <a:lnTo>
                        <a:pt x="8" y="10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5" y="1"/>
                      </a:lnTo>
                      <a:lnTo>
                        <a:pt x="8" y="0"/>
                      </a:lnTo>
                      <a:lnTo>
                        <a:pt x="12" y="1"/>
                      </a:lnTo>
                      <a:lnTo>
                        <a:pt x="12" y="1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31" y="2"/>
                      </a:lnTo>
                      <a:lnTo>
                        <a:pt x="31" y="2"/>
                      </a:lnTo>
                      <a:lnTo>
                        <a:pt x="41" y="1"/>
                      </a:lnTo>
                      <a:lnTo>
                        <a:pt x="45" y="1"/>
                      </a:lnTo>
                      <a:lnTo>
                        <a:pt x="47" y="1"/>
                      </a:lnTo>
                      <a:lnTo>
                        <a:pt x="47" y="1"/>
                      </a:lnTo>
                      <a:lnTo>
                        <a:pt x="47" y="1"/>
                      </a:lnTo>
                      <a:lnTo>
                        <a:pt x="45" y="7"/>
                      </a:lnTo>
                      <a:lnTo>
                        <a:pt x="44" y="10"/>
                      </a:lnTo>
                      <a:lnTo>
                        <a:pt x="45" y="14"/>
                      </a:lnTo>
                      <a:lnTo>
                        <a:pt x="45" y="14"/>
                      </a:lnTo>
                      <a:lnTo>
                        <a:pt x="45" y="18"/>
                      </a:lnTo>
                      <a:lnTo>
                        <a:pt x="45" y="23"/>
                      </a:lnTo>
                      <a:lnTo>
                        <a:pt x="45" y="24"/>
                      </a:lnTo>
                      <a:lnTo>
                        <a:pt x="44" y="26"/>
                      </a:lnTo>
                      <a:lnTo>
                        <a:pt x="42" y="27"/>
                      </a:lnTo>
                      <a:lnTo>
                        <a:pt x="39" y="2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17" name="Freeform 1270"/>
                <p:cNvSpPr>
                  <a:spLocks/>
                </p:cNvSpPr>
                <p:nvPr/>
              </p:nvSpPr>
              <p:spPr bwMode="auto">
                <a:xfrm>
                  <a:off x="4609591" y="2679066"/>
                  <a:ext cx="46495" cy="26710"/>
                </a:xfrm>
                <a:custGeom>
                  <a:avLst/>
                  <a:gdLst>
                    <a:gd name="T0" fmla="*/ 39 w 47"/>
                    <a:gd name="T1" fmla="*/ 26 h 27"/>
                    <a:gd name="T2" fmla="*/ 39 w 47"/>
                    <a:gd name="T3" fmla="*/ 26 h 27"/>
                    <a:gd name="T4" fmla="*/ 32 w 47"/>
                    <a:gd name="T5" fmla="*/ 23 h 27"/>
                    <a:gd name="T6" fmla="*/ 28 w 47"/>
                    <a:gd name="T7" fmla="*/ 20 h 27"/>
                    <a:gd name="T8" fmla="*/ 19 w 47"/>
                    <a:gd name="T9" fmla="*/ 14 h 27"/>
                    <a:gd name="T10" fmla="*/ 19 w 47"/>
                    <a:gd name="T11" fmla="*/ 14 h 27"/>
                    <a:gd name="T12" fmla="*/ 8 w 47"/>
                    <a:gd name="T13" fmla="*/ 10 h 27"/>
                    <a:gd name="T14" fmla="*/ 2 w 47"/>
                    <a:gd name="T15" fmla="*/ 7 h 27"/>
                    <a:gd name="T16" fmla="*/ 0 w 47"/>
                    <a:gd name="T17" fmla="*/ 5 h 27"/>
                    <a:gd name="T18" fmla="*/ 0 w 47"/>
                    <a:gd name="T19" fmla="*/ 4 h 27"/>
                    <a:gd name="T20" fmla="*/ 0 w 47"/>
                    <a:gd name="T21" fmla="*/ 4 h 27"/>
                    <a:gd name="T22" fmla="*/ 5 w 47"/>
                    <a:gd name="T23" fmla="*/ 1 h 27"/>
                    <a:gd name="T24" fmla="*/ 8 w 47"/>
                    <a:gd name="T25" fmla="*/ 0 h 27"/>
                    <a:gd name="T26" fmla="*/ 12 w 47"/>
                    <a:gd name="T27" fmla="*/ 1 h 27"/>
                    <a:gd name="T28" fmla="*/ 12 w 47"/>
                    <a:gd name="T29" fmla="*/ 1 h 27"/>
                    <a:gd name="T30" fmla="*/ 22 w 47"/>
                    <a:gd name="T31" fmla="*/ 4 h 27"/>
                    <a:gd name="T32" fmla="*/ 26 w 47"/>
                    <a:gd name="T33" fmla="*/ 4 h 27"/>
                    <a:gd name="T34" fmla="*/ 31 w 47"/>
                    <a:gd name="T35" fmla="*/ 2 h 27"/>
                    <a:gd name="T36" fmla="*/ 31 w 47"/>
                    <a:gd name="T37" fmla="*/ 2 h 27"/>
                    <a:gd name="T38" fmla="*/ 41 w 47"/>
                    <a:gd name="T39" fmla="*/ 1 h 27"/>
                    <a:gd name="T40" fmla="*/ 45 w 47"/>
                    <a:gd name="T41" fmla="*/ 1 h 27"/>
                    <a:gd name="T42" fmla="*/ 47 w 47"/>
                    <a:gd name="T43" fmla="*/ 1 h 27"/>
                    <a:gd name="T44" fmla="*/ 47 w 47"/>
                    <a:gd name="T45" fmla="*/ 1 h 27"/>
                    <a:gd name="T46" fmla="*/ 47 w 47"/>
                    <a:gd name="T47" fmla="*/ 1 h 27"/>
                    <a:gd name="T48" fmla="*/ 45 w 47"/>
                    <a:gd name="T49" fmla="*/ 7 h 27"/>
                    <a:gd name="T50" fmla="*/ 44 w 47"/>
                    <a:gd name="T51" fmla="*/ 10 h 27"/>
                    <a:gd name="T52" fmla="*/ 45 w 47"/>
                    <a:gd name="T53" fmla="*/ 14 h 27"/>
                    <a:gd name="T54" fmla="*/ 45 w 47"/>
                    <a:gd name="T55" fmla="*/ 14 h 27"/>
                    <a:gd name="T56" fmla="*/ 45 w 47"/>
                    <a:gd name="T57" fmla="*/ 18 h 27"/>
                    <a:gd name="T58" fmla="*/ 45 w 47"/>
                    <a:gd name="T59" fmla="*/ 23 h 27"/>
                    <a:gd name="T60" fmla="*/ 45 w 47"/>
                    <a:gd name="T61" fmla="*/ 24 h 27"/>
                    <a:gd name="T62" fmla="*/ 44 w 47"/>
                    <a:gd name="T63" fmla="*/ 26 h 27"/>
                    <a:gd name="T64" fmla="*/ 42 w 47"/>
                    <a:gd name="T65" fmla="*/ 27 h 27"/>
                    <a:gd name="T66" fmla="*/ 39 w 47"/>
                    <a:gd name="T67" fmla="*/ 26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7" h="27">
                      <a:moveTo>
                        <a:pt x="39" y="26"/>
                      </a:moveTo>
                      <a:lnTo>
                        <a:pt x="39" y="26"/>
                      </a:lnTo>
                      <a:lnTo>
                        <a:pt x="32" y="23"/>
                      </a:lnTo>
                      <a:lnTo>
                        <a:pt x="28" y="20"/>
                      </a:lnTo>
                      <a:lnTo>
                        <a:pt x="19" y="14"/>
                      </a:lnTo>
                      <a:lnTo>
                        <a:pt x="19" y="14"/>
                      </a:lnTo>
                      <a:lnTo>
                        <a:pt x="8" y="10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5" y="1"/>
                      </a:lnTo>
                      <a:lnTo>
                        <a:pt x="8" y="0"/>
                      </a:lnTo>
                      <a:lnTo>
                        <a:pt x="12" y="1"/>
                      </a:lnTo>
                      <a:lnTo>
                        <a:pt x="12" y="1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31" y="2"/>
                      </a:lnTo>
                      <a:lnTo>
                        <a:pt x="31" y="2"/>
                      </a:lnTo>
                      <a:lnTo>
                        <a:pt x="41" y="1"/>
                      </a:lnTo>
                      <a:lnTo>
                        <a:pt x="45" y="1"/>
                      </a:lnTo>
                      <a:lnTo>
                        <a:pt x="47" y="1"/>
                      </a:lnTo>
                      <a:lnTo>
                        <a:pt x="47" y="1"/>
                      </a:lnTo>
                      <a:lnTo>
                        <a:pt x="47" y="1"/>
                      </a:lnTo>
                      <a:lnTo>
                        <a:pt x="45" y="7"/>
                      </a:lnTo>
                      <a:lnTo>
                        <a:pt x="44" y="10"/>
                      </a:lnTo>
                      <a:lnTo>
                        <a:pt x="45" y="14"/>
                      </a:lnTo>
                      <a:lnTo>
                        <a:pt x="45" y="14"/>
                      </a:lnTo>
                      <a:lnTo>
                        <a:pt x="45" y="18"/>
                      </a:lnTo>
                      <a:lnTo>
                        <a:pt x="45" y="23"/>
                      </a:lnTo>
                      <a:lnTo>
                        <a:pt x="45" y="24"/>
                      </a:lnTo>
                      <a:lnTo>
                        <a:pt x="44" y="26"/>
                      </a:lnTo>
                      <a:lnTo>
                        <a:pt x="42" y="27"/>
                      </a:lnTo>
                      <a:lnTo>
                        <a:pt x="39" y="2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18" name="Freeform 1271"/>
                <p:cNvSpPr>
                  <a:spLocks/>
                </p:cNvSpPr>
                <p:nvPr/>
              </p:nvSpPr>
              <p:spPr bwMode="auto">
                <a:xfrm>
                  <a:off x="4787658" y="2725561"/>
                  <a:ext cx="44517" cy="8903"/>
                </a:xfrm>
                <a:custGeom>
                  <a:avLst/>
                  <a:gdLst>
                    <a:gd name="T0" fmla="*/ 43 w 45"/>
                    <a:gd name="T1" fmla="*/ 9 h 9"/>
                    <a:gd name="T2" fmla="*/ 43 w 45"/>
                    <a:gd name="T3" fmla="*/ 9 h 9"/>
                    <a:gd name="T4" fmla="*/ 27 w 45"/>
                    <a:gd name="T5" fmla="*/ 9 h 9"/>
                    <a:gd name="T6" fmla="*/ 17 w 45"/>
                    <a:gd name="T7" fmla="*/ 8 h 9"/>
                    <a:gd name="T8" fmla="*/ 17 w 45"/>
                    <a:gd name="T9" fmla="*/ 8 h 9"/>
                    <a:gd name="T10" fmla="*/ 6 w 45"/>
                    <a:gd name="T11" fmla="*/ 5 h 9"/>
                    <a:gd name="T12" fmla="*/ 0 w 45"/>
                    <a:gd name="T13" fmla="*/ 5 h 9"/>
                    <a:gd name="T14" fmla="*/ 0 w 45"/>
                    <a:gd name="T15" fmla="*/ 3 h 9"/>
                    <a:gd name="T16" fmla="*/ 0 w 45"/>
                    <a:gd name="T17" fmla="*/ 3 h 9"/>
                    <a:gd name="T18" fmla="*/ 0 w 45"/>
                    <a:gd name="T19" fmla="*/ 3 h 9"/>
                    <a:gd name="T20" fmla="*/ 1 w 45"/>
                    <a:gd name="T21" fmla="*/ 2 h 9"/>
                    <a:gd name="T22" fmla="*/ 6 w 45"/>
                    <a:gd name="T23" fmla="*/ 0 h 9"/>
                    <a:gd name="T24" fmla="*/ 17 w 45"/>
                    <a:gd name="T25" fmla="*/ 0 h 9"/>
                    <a:gd name="T26" fmla="*/ 17 w 45"/>
                    <a:gd name="T27" fmla="*/ 0 h 9"/>
                    <a:gd name="T28" fmla="*/ 36 w 45"/>
                    <a:gd name="T29" fmla="*/ 5 h 9"/>
                    <a:gd name="T30" fmla="*/ 45 w 45"/>
                    <a:gd name="T31" fmla="*/ 8 h 9"/>
                    <a:gd name="T32" fmla="*/ 45 w 45"/>
                    <a:gd name="T33" fmla="*/ 9 h 9"/>
                    <a:gd name="T34" fmla="*/ 43 w 45"/>
                    <a:gd name="T3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5" h="9">
                      <a:moveTo>
                        <a:pt x="43" y="9"/>
                      </a:moveTo>
                      <a:lnTo>
                        <a:pt x="43" y="9"/>
                      </a:lnTo>
                      <a:lnTo>
                        <a:pt x="27" y="9"/>
                      </a:lnTo>
                      <a:lnTo>
                        <a:pt x="17" y="8"/>
                      </a:lnTo>
                      <a:lnTo>
                        <a:pt x="17" y="8"/>
                      </a:lnTo>
                      <a:lnTo>
                        <a:pt x="6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6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36" y="5"/>
                      </a:lnTo>
                      <a:lnTo>
                        <a:pt x="45" y="8"/>
                      </a:lnTo>
                      <a:lnTo>
                        <a:pt x="45" y="9"/>
                      </a:lnTo>
                      <a:lnTo>
                        <a:pt x="43" y="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19" name="Freeform 1272"/>
                <p:cNvSpPr>
                  <a:spLocks/>
                </p:cNvSpPr>
                <p:nvPr/>
              </p:nvSpPr>
              <p:spPr bwMode="auto">
                <a:xfrm>
                  <a:off x="4787658" y="2725561"/>
                  <a:ext cx="44517" cy="8903"/>
                </a:xfrm>
                <a:custGeom>
                  <a:avLst/>
                  <a:gdLst>
                    <a:gd name="T0" fmla="*/ 43 w 45"/>
                    <a:gd name="T1" fmla="*/ 9 h 9"/>
                    <a:gd name="T2" fmla="*/ 43 w 45"/>
                    <a:gd name="T3" fmla="*/ 9 h 9"/>
                    <a:gd name="T4" fmla="*/ 27 w 45"/>
                    <a:gd name="T5" fmla="*/ 9 h 9"/>
                    <a:gd name="T6" fmla="*/ 17 w 45"/>
                    <a:gd name="T7" fmla="*/ 8 h 9"/>
                    <a:gd name="T8" fmla="*/ 17 w 45"/>
                    <a:gd name="T9" fmla="*/ 8 h 9"/>
                    <a:gd name="T10" fmla="*/ 6 w 45"/>
                    <a:gd name="T11" fmla="*/ 5 h 9"/>
                    <a:gd name="T12" fmla="*/ 0 w 45"/>
                    <a:gd name="T13" fmla="*/ 5 h 9"/>
                    <a:gd name="T14" fmla="*/ 0 w 45"/>
                    <a:gd name="T15" fmla="*/ 3 h 9"/>
                    <a:gd name="T16" fmla="*/ 0 w 45"/>
                    <a:gd name="T17" fmla="*/ 3 h 9"/>
                    <a:gd name="T18" fmla="*/ 0 w 45"/>
                    <a:gd name="T19" fmla="*/ 3 h 9"/>
                    <a:gd name="T20" fmla="*/ 1 w 45"/>
                    <a:gd name="T21" fmla="*/ 2 h 9"/>
                    <a:gd name="T22" fmla="*/ 6 w 45"/>
                    <a:gd name="T23" fmla="*/ 0 h 9"/>
                    <a:gd name="T24" fmla="*/ 17 w 45"/>
                    <a:gd name="T25" fmla="*/ 0 h 9"/>
                    <a:gd name="T26" fmla="*/ 17 w 45"/>
                    <a:gd name="T27" fmla="*/ 0 h 9"/>
                    <a:gd name="T28" fmla="*/ 36 w 45"/>
                    <a:gd name="T29" fmla="*/ 5 h 9"/>
                    <a:gd name="T30" fmla="*/ 45 w 45"/>
                    <a:gd name="T31" fmla="*/ 8 h 9"/>
                    <a:gd name="T32" fmla="*/ 45 w 45"/>
                    <a:gd name="T33" fmla="*/ 9 h 9"/>
                    <a:gd name="T34" fmla="*/ 43 w 45"/>
                    <a:gd name="T3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5" h="9">
                      <a:moveTo>
                        <a:pt x="43" y="9"/>
                      </a:moveTo>
                      <a:lnTo>
                        <a:pt x="43" y="9"/>
                      </a:lnTo>
                      <a:lnTo>
                        <a:pt x="27" y="9"/>
                      </a:lnTo>
                      <a:lnTo>
                        <a:pt x="17" y="8"/>
                      </a:lnTo>
                      <a:lnTo>
                        <a:pt x="17" y="8"/>
                      </a:lnTo>
                      <a:lnTo>
                        <a:pt x="6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6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36" y="5"/>
                      </a:lnTo>
                      <a:lnTo>
                        <a:pt x="45" y="8"/>
                      </a:lnTo>
                      <a:lnTo>
                        <a:pt x="45" y="9"/>
                      </a:lnTo>
                      <a:lnTo>
                        <a:pt x="43" y="9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61" name="Freeform 1317"/>
                <p:cNvSpPr>
                  <a:spLocks noEditPoints="1"/>
                </p:cNvSpPr>
                <p:nvPr/>
              </p:nvSpPr>
              <p:spPr bwMode="auto">
                <a:xfrm>
                  <a:off x="4718410" y="2581129"/>
                  <a:ext cx="65291" cy="64302"/>
                </a:xfrm>
                <a:custGeom>
                  <a:avLst/>
                  <a:gdLst>
                    <a:gd name="T0" fmla="*/ 22 w 66"/>
                    <a:gd name="T1" fmla="*/ 13 h 65"/>
                    <a:gd name="T2" fmla="*/ 22 w 66"/>
                    <a:gd name="T3" fmla="*/ 13 h 65"/>
                    <a:gd name="T4" fmla="*/ 22 w 66"/>
                    <a:gd name="T5" fmla="*/ 13 h 65"/>
                    <a:gd name="T6" fmla="*/ 22 w 66"/>
                    <a:gd name="T7" fmla="*/ 13 h 65"/>
                    <a:gd name="T8" fmla="*/ 22 w 66"/>
                    <a:gd name="T9" fmla="*/ 13 h 65"/>
                    <a:gd name="T10" fmla="*/ 22 w 66"/>
                    <a:gd name="T11" fmla="*/ 13 h 65"/>
                    <a:gd name="T12" fmla="*/ 22 w 66"/>
                    <a:gd name="T13" fmla="*/ 13 h 65"/>
                    <a:gd name="T14" fmla="*/ 22 w 66"/>
                    <a:gd name="T15" fmla="*/ 13 h 65"/>
                    <a:gd name="T16" fmla="*/ 22 w 66"/>
                    <a:gd name="T17" fmla="*/ 13 h 65"/>
                    <a:gd name="T18" fmla="*/ 22 w 66"/>
                    <a:gd name="T19" fmla="*/ 13 h 65"/>
                    <a:gd name="T20" fmla="*/ 3 w 66"/>
                    <a:gd name="T21" fmla="*/ 3 h 65"/>
                    <a:gd name="T22" fmla="*/ 3 w 66"/>
                    <a:gd name="T23" fmla="*/ 3 h 65"/>
                    <a:gd name="T24" fmla="*/ 0 w 66"/>
                    <a:gd name="T25" fmla="*/ 15 h 65"/>
                    <a:gd name="T26" fmla="*/ 0 w 66"/>
                    <a:gd name="T27" fmla="*/ 15 h 65"/>
                    <a:gd name="T28" fmla="*/ 2 w 66"/>
                    <a:gd name="T29" fmla="*/ 16 h 65"/>
                    <a:gd name="T30" fmla="*/ 3 w 66"/>
                    <a:gd name="T31" fmla="*/ 20 h 65"/>
                    <a:gd name="T32" fmla="*/ 3 w 66"/>
                    <a:gd name="T33" fmla="*/ 20 h 65"/>
                    <a:gd name="T34" fmla="*/ 3 w 66"/>
                    <a:gd name="T35" fmla="*/ 26 h 65"/>
                    <a:gd name="T36" fmla="*/ 3 w 66"/>
                    <a:gd name="T37" fmla="*/ 35 h 65"/>
                    <a:gd name="T38" fmla="*/ 3 w 66"/>
                    <a:gd name="T39" fmla="*/ 44 h 65"/>
                    <a:gd name="T40" fmla="*/ 5 w 66"/>
                    <a:gd name="T41" fmla="*/ 54 h 65"/>
                    <a:gd name="T42" fmla="*/ 5 w 66"/>
                    <a:gd name="T43" fmla="*/ 54 h 65"/>
                    <a:gd name="T44" fmla="*/ 6 w 66"/>
                    <a:gd name="T45" fmla="*/ 58 h 65"/>
                    <a:gd name="T46" fmla="*/ 8 w 66"/>
                    <a:gd name="T47" fmla="*/ 61 h 65"/>
                    <a:gd name="T48" fmla="*/ 11 w 66"/>
                    <a:gd name="T49" fmla="*/ 65 h 65"/>
                    <a:gd name="T50" fmla="*/ 11 w 66"/>
                    <a:gd name="T51" fmla="*/ 65 h 65"/>
                    <a:gd name="T52" fmla="*/ 21 w 66"/>
                    <a:gd name="T53" fmla="*/ 58 h 65"/>
                    <a:gd name="T54" fmla="*/ 24 w 66"/>
                    <a:gd name="T55" fmla="*/ 54 h 65"/>
                    <a:gd name="T56" fmla="*/ 25 w 66"/>
                    <a:gd name="T57" fmla="*/ 52 h 65"/>
                    <a:gd name="T58" fmla="*/ 25 w 66"/>
                    <a:gd name="T59" fmla="*/ 52 h 65"/>
                    <a:gd name="T60" fmla="*/ 25 w 66"/>
                    <a:gd name="T61" fmla="*/ 46 h 65"/>
                    <a:gd name="T62" fmla="*/ 25 w 66"/>
                    <a:gd name="T63" fmla="*/ 38 h 65"/>
                    <a:gd name="T64" fmla="*/ 24 w 66"/>
                    <a:gd name="T65" fmla="*/ 23 h 65"/>
                    <a:gd name="T66" fmla="*/ 24 w 66"/>
                    <a:gd name="T67" fmla="*/ 23 h 65"/>
                    <a:gd name="T68" fmla="*/ 25 w 66"/>
                    <a:gd name="T69" fmla="*/ 38 h 65"/>
                    <a:gd name="T70" fmla="*/ 25 w 66"/>
                    <a:gd name="T71" fmla="*/ 38 h 65"/>
                    <a:gd name="T72" fmla="*/ 55 w 66"/>
                    <a:gd name="T73" fmla="*/ 36 h 65"/>
                    <a:gd name="T74" fmla="*/ 55 w 66"/>
                    <a:gd name="T75" fmla="*/ 36 h 65"/>
                    <a:gd name="T76" fmla="*/ 60 w 66"/>
                    <a:gd name="T77" fmla="*/ 35 h 65"/>
                    <a:gd name="T78" fmla="*/ 66 w 66"/>
                    <a:gd name="T79" fmla="*/ 32 h 65"/>
                    <a:gd name="T80" fmla="*/ 66 w 66"/>
                    <a:gd name="T81" fmla="*/ 32 h 65"/>
                    <a:gd name="T82" fmla="*/ 58 w 66"/>
                    <a:gd name="T83" fmla="*/ 17 h 65"/>
                    <a:gd name="T84" fmla="*/ 53 w 66"/>
                    <a:gd name="T85" fmla="*/ 4 h 65"/>
                    <a:gd name="T86" fmla="*/ 53 w 66"/>
                    <a:gd name="T87" fmla="*/ 4 h 65"/>
                    <a:gd name="T88" fmla="*/ 38 w 66"/>
                    <a:gd name="T89" fmla="*/ 6 h 65"/>
                    <a:gd name="T90" fmla="*/ 38 w 66"/>
                    <a:gd name="T91" fmla="*/ 6 h 65"/>
                    <a:gd name="T92" fmla="*/ 22 w 66"/>
                    <a:gd name="T93" fmla="*/ 13 h 65"/>
                    <a:gd name="T94" fmla="*/ 22 w 66"/>
                    <a:gd name="T95" fmla="*/ 13 h 65"/>
                    <a:gd name="T96" fmla="*/ 19 w 66"/>
                    <a:gd name="T97" fmla="*/ 4 h 65"/>
                    <a:gd name="T98" fmla="*/ 18 w 66"/>
                    <a:gd name="T99" fmla="*/ 2 h 65"/>
                    <a:gd name="T100" fmla="*/ 15 w 66"/>
                    <a:gd name="T101" fmla="*/ 0 h 65"/>
                    <a:gd name="T102" fmla="*/ 15 w 66"/>
                    <a:gd name="T103" fmla="*/ 0 h 65"/>
                    <a:gd name="T104" fmla="*/ 11 w 66"/>
                    <a:gd name="T105" fmla="*/ 0 h 65"/>
                    <a:gd name="T106" fmla="*/ 11 w 66"/>
                    <a:gd name="T107" fmla="*/ 0 h 65"/>
                    <a:gd name="T108" fmla="*/ 5 w 66"/>
                    <a:gd name="T109" fmla="*/ 0 h 65"/>
                    <a:gd name="T110" fmla="*/ 3 w 66"/>
                    <a:gd name="T111" fmla="*/ 2 h 65"/>
                    <a:gd name="T112" fmla="*/ 2 w 66"/>
                    <a:gd name="T113" fmla="*/ 4 h 65"/>
                    <a:gd name="T114" fmla="*/ 3 w 66"/>
                    <a:gd name="T115" fmla="*/ 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66" h="65">
                      <a:moveTo>
                        <a:pt x="22" y="13"/>
                      </a:moveTo>
                      <a:lnTo>
                        <a:pt x="22" y="13"/>
                      </a:lnTo>
                      <a:lnTo>
                        <a:pt x="22" y="13"/>
                      </a:lnTo>
                      <a:lnTo>
                        <a:pt x="22" y="13"/>
                      </a:lnTo>
                      <a:close/>
                      <a:moveTo>
                        <a:pt x="22" y="13"/>
                      </a:moveTo>
                      <a:lnTo>
                        <a:pt x="22" y="13"/>
                      </a:lnTo>
                      <a:lnTo>
                        <a:pt x="22" y="13"/>
                      </a:lnTo>
                      <a:lnTo>
                        <a:pt x="22" y="13"/>
                      </a:lnTo>
                      <a:lnTo>
                        <a:pt x="22" y="13"/>
                      </a:lnTo>
                      <a:lnTo>
                        <a:pt x="22" y="13"/>
                      </a:lnTo>
                      <a:close/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0" y="15"/>
                      </a:lnTo>
                      <a:lnTo>
                        <a:pt x="0" y="15"/>
                      </a:lnTo>
                      <a:lnTo>
                        <a:pt x="2" y="16"/>
                      </a:lnTo>
                      <a:lnTo>
                        <a:pt x="3" y="20"/>
                      </a:lnTo>
                      <a:lnTo>
                        <a:pt x="3" y="20"/>
                      </a:lnTo>
                      <a:lnTo>
                        <a:pt x="3" y="26"/>
                      </a:lnTo>
                      <a:lnTo>
                        <a:pt x="3" y="35"/>
                      </a:lnTo>
                      <a:lnTo>
                        <a:pt x="3" y="44"/>
                      </a:lnTo>
                      <a:lnTo>
                        <a:pt x="5" y="54"/>
                      </a:lnTo>
                      <a:lnTo>
                        <a:pt x="5" y="54"/>
                      </a:lnTo>
                      <a:lnTo>
                        <a:pt x="6" y="58"/>
                      </a:lnTo>
                      <a:lnTo>
                        <a:pt x="8" y="61"/>
                      </a:lnTo>
                      <a:lnTo>
                        <a:pt x="11" y="65"/>
                      </a:lnTo>
                      <a:lnTo>
                        <a:pt x="11" y="65"/>
                      </a:lnTo>
                      <a:lnTo>
                        <a:pt x="21" y="58"/>
                      </a:lnTo>
                      <a:lnTo>
                        <a:pt x="24" y="54"/>
                      </a:lnTo>
                      <a:lnTo>
                        <a:pt x="25" y="52"/>
                      </a:lnTo>
                      <a:lnTo>
                        <a:pt x="25" y="52"/>
                      </a:lnTo>
                      <a:lnTo>
                        <a:pt x="25" y="46"/>
                      </a:lnTo>
                      <a:lnTo>
                        <a:pt x="25" y="38"/>
                      </a:lnTo>
                      <a:lnTo>
                        <a:pt x="24" y="23"/>
                      </a:lnTo>
                      <a:lnTo>
                        <a:pt x="24" y="23"/>
                      </a:lnTo>
                      <a:lnTo>
                        <a:pt x="25" y="38"/>
                      </a:lnTo>
                      <a:lnTo>
                        <a:pt x="25" y="38"/>
                      </a:lnTo>
                      <a:lnTo>
                        <a:pt x="55" y="36"/>
                      </a:lnTo>
                      <a:lnTo>
                        <a:pt x="55" y="36"/>
                      </a:lnTo>
                      <a:lnTo>
                        <a:pt x="60" y="35"/>
                      </a:lnTo>
                      <a:lnTo>
                        <a:pt x="66" y="32"/>
                      </a:lnTo>
                      <a:lnTo>
                        <a:pt x="66" y="32"/>
                      </a:lnTo>
                      <a:lnTo>
                        <a:pt x="58" y="17"/>
                      </a:lnTo>
                      <a:lnTo>
                        <a:pt x="53" y="4"/>
                      </a:lnTo>
                      <a:lnTo>
                        <a:pt x="53" y="4"/>
                      </a:lnTo>
                      <a:lnTo>
                        <a:pt x="38" y="6"/>
                      </a:lnTo>
                      <a:lnTo>
                        <a:pt x="38" y="6"/>
                      </a:lnTo>
                      <a:lnTo>
                        <a:pt x="22" y="13"/>
                      </a:lnTo>
                      <a:lnTo>
                        <a:pt x="22" y="13"/>
                      </a:lnTo>
                      <a:lnTo>
                        <a:pt x="19" y="4"/>
                      </a:lnTo>
                      <a:lnTo>
                        <a:pt x="18" y="2"/>
                      </a:lnTo>
                      <a:lnTo>
                        <a:pt x="15" y="0"/>
                      </a:lnTo>
                      <a:lnTo>
                        <a:pt x="15" y="0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3" y="2"/>
                      </a:lnTo>
                      <a:lnTo>
                        <a:pt x="2" y="4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62" name="Freeform 1318"/>
                <p:cNvSpPr>
                  <a:spLocks/>
                </p:cNvSpPr>
                <p:nvPr/>
              </p:nvSpPr>
              <p:spPr bwMode="auto">
                <a:xfrm>
                  <a:off x="4740174" y="2593990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63" name="Freeform 1319"/>
                <p:cNvSpPr>
                  <a:spLocks/>
                </p:cNvSpPr>
                <p:nvPr/>
              </p:nvSpPr>
              <p:spPr bwMode="auto">
                <a:xfrm>
                  <a:off x="4740174" y="2593990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64" name="Freeform 1320"/>
                <p:cNvSpPr>
                  <a:spLocks/>
                </p:cNvSpPr>
                <p:nvPr/>
              </p:nvSpPr>
              <p:spPr bwMode="auto">
                <a:xfrm>
                  <a:off x="4718410" y="2581129"/>
                  <a:ext cx="65291" cy="64302"/>
                </a:xfrm>
                <a:custGeom>
                  <a:avLst/>
                  <a:gdLst>
                    <a:gd name="T0" fmla="*/ 3 w 66"/>
                    <a:gd name="T1" fmla="*/ 3 h 65"/>
                    <a:gd name="T2" fmla="*/ 3 w 66"/>
                    <a:gd name="T3" fmla="*/ 3 h 65"/>
                    <a:gd name="T4" fmla="*/ 0 w 66"/>
                    <a:gd name="T5" fmla="*/ 15 h 65"/>
                    <a:gd name="T6" fmla="*/ 0 w 66"/>
                    <a:gd name="T7" fmla="*/ 15 h 65"/>
                    <a:gd name="T8" fmla="*/ 2 w 66"/>
                    <a:gd name="T9" fmla="*/ 16 h 65"/>
                    <a:gd name="T10" fmla="*/ 3 w 66"/>
                    <a:gd name="T11" fmla="*/ 20 h 65"/>
                    <a:gd name="T12" fmla="*/ 3 w 66"/>
                    <a:gd name="T13" fmla="*/ 20 h 65"/>
                    <a:gd name="T14" fmla="*/ 3 w 66"/>
                    <a:gd name="T15" fmla="*/ 26 h 65"/>
                    <a:gd name="T16" fmla="*/ 3 w 66"/>
                    <a:gd name="T17" fmla="*/ 35 h 65"/>
                    <a:gd name="T18" fmla="*/ 3 w 66"/>
                    <a:gd name="T19" fmla="*/ 44 h 65"/>
                    <a:gd name="T20" fmla="*/ 5 w 66"/>
                    <a:gd name="T21" fmla="*/ 54 h 65"/>
                    <a:gd name="T22" fmla="*/ 5 w 66"/>
                    <a:gd name="T23" fmla="*/ 54 h 65"/>
                    <a:gd name="T24" fmla="*/ 6 w 66"/>
                    <a:gd name="T25" fmla="*/ 58 h 65"/>
                    <a:gd name="T26" fmla="*/ 8 w 66"/>
                    <a:gd name="T27" fmla="*/ 61 h 65"/>
                    <a:gd name="T28" fmla="*/ 11 w 66"/>
                    <a:gd name="T29" fmla="*/ 65 h 65"/>
                    <a:gd name="T30" fmla="*/ 11 w 66"/>
                    <a:gd name="T31" fmla="*/ 65 h 65"/>
                    <a:gd name="T32" fmla="*/ 21 w 66"/>
                    <a:gd name="T33" fmla="*/ 58 h 65"/>
                    <a:gd name="T34" fmla="*/ 24 w 66"/>
                    <a:gd name="T35" fmla="*/ 54 h 65"/>
                    <a:gd name="T36" fmla="*/ 25 w 66"/>
                    <a:gd name="T37" fmla="*/ 52 h 65"/>
                    <a:gd name="T38" fmla="*/ 25 w 66"/>
                    <a:gd name="T39" fmla="*/ 52 h 65"/>
                    <a:gd name="T40" fmla="*/ 25 w 66"/>
                    <a:gd name="T41" fmla="*/ 46 h 65"/>
                    <a:gd name="T42" fmla="*/ 25 w 66"/>
                    <a:gd name="T43" fmla="*/ 38 h 65"/>
                    <a:gd name="T44" fmla="*/ 24 w 66"/>
                    <a:gd name="T45" fmla="*/ 23 h 65"/>
                    <a:gd name="T46" fmla="*/ 24 w 66"/>
                    <a:gd name="T47" fmla="*/ 23 h 65"/>
                    <a:gd name="T48" fmla="*/ 25 w 66"/>
                    <a:gd name="T49" fmla="*/ 38 h 65"/>
                    <a:gd name="T50" fmla="*/ 25 w 66"/>
                    <a:gd name="T51" fmla="*/ 38 h 65"/>
                    <a:gd name="T52" fmla="*/ 55 w 66"/>
                    <a:gd name="T53" fmla="*/ 36 h 65"/>
                    <a:gd name="T54" fmla="*/ 55 w 66"/>
                    <a:gd name="T55" fmla="*/ 36 h 65"/>
                    <a:gd name="T56" fmla="*/ 60 w 66"/>
                    <a:gd name="T57" fmla="*/ 35 h 65"/>
                    <a:gd name="T58" fmla="*/ 66 w 66"/>
                    <a:gd name="T59" fmla="*/ 32 h 65"/>
                    <a:gd name="T60" fmla="*/ 66 w 66"/>
                    <a:gd name="T61" fmla="*/ 32 h 65"/>
                    <a:gd name="T62" fmla="*/ 58 w 66"/>
                    <a:gd name="T63" fmla="*/ 17 h 65"/>
                    <a:gd name="T64" fmla="*/ 53 w 66"/>
                    <a:gd name="T65" fmla="*/ 4 h 65"/>
                    <a:gd name="T66" fmla="*/ 53 w 66"/>
                    <a:gd name="T67" fmla="*/ 4 h 65"/>
                    <a:gd name="T68" fmla="*/ 38 w 66"/>
                    <a:gd name="T69" fmla="*/ 6 h 65"/>
                    <a:gd name="T70" fmla="*/ 38 w 66"/>
                    <a:gd name="T71" fmla="*/ 6 h 65"/>
                    <a:gd name="T72" fmla="*/ 22 w 66"/>
                    <a:gd name="T73" fmla="*/ 13 h 65"/>
                    <a:gd name="T74" fmla="*/ 22 w 66"/>
                    <a:gd name="T75" fmla="*/ 13 h 65"/>
                    <a:gd name="T76" fmla="*/ 19 w 66"/>
                    <a:gd name="T77" fmla="*/ 4 h 65"/>
                    <a:gd name="T78" fmla="*/ 18 w 66"/>
                    <a:gd name="T79" fmla="*/ 2 h 65"/>
                    <a:gd name="T80" fmla="*/ 15 w 66"/>
                    <a:gd name="T81" fmla="*/ 0 h 65"/>
                    <a:gd name="T82" fmla="*/ 15 w 66"/>
                    <a:gd name="T83" fmla="*/ 0 h 65"/>
                    <a:gd name="T84" fmla="*/ 11 w 66"/>
                    <a:gd name="T85" fmla="*/ 0 h 65"/>
                    <a:gd name="T86" fmla="*/ 11 w 66"/>
                    <a:gd name="T87" fmla="*/ 0 h 65"/>
                    <a:gd name="T88" fmla="*/ 5 w 66"/>
                    <a:gd name="T89" fmla="*/ 0 h 65"/>
                    <a:gd name="T90" fmla="*/ 3 w 66"/>
                    <a:gd name="T91" fmla="*/ 2 h 65"/>
                    <a:gd name="T92" fmla="*/ 2 w 66"/>
                    <a:gd name="T93" fmla="*/ 4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66" h="65"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0" y="15"/>
                      </a:lnTo>
                      <a:lnTo>
                        <a:pt x="0" y="15"/>
                      </a:lnTo>
                      <a:lnTo>
                        <a:pt x="2" y="16"/>
                      </a:lnTo>
                      <a:lnTo>
                        <a:pt x="3" y="20"/>
                      </a:lnTo>
                      <a:lnTo>
                        <a:pt x="3" y="20"/>
                      </a:lnTo>
                      <a:lnTo>
                        <a:pt x="3" y="26"/>
                      </a:lnTo>
                      <a:lnTo>
                        <a:pt x="3" y="35"/>
                      </a:lnTo>
                      <a:lnTo>
                        <a:pt x="3" y="44"/>
                      </a:lnTo>
                      <a:lnTo>
                        <a:pt x="5" y="54"/>
                      </a:lnTo>
                      <a:lnTo>
                        <a:pt x="5" y="54"/>
                      </a:lnTo>
                      <a:lnTo>
                        <a:pt x="6" y="58"/>
                      </a:lnTo>
                      <a:lnTo>
                        <a:pt x="8" y="61"/>
                      </a:lnTo>
                      <a:lnTo>
                        <a:pt x="11" y="65"/>
                      </a:lnTo>
                      <a:lnTo>
                        <a:pt x="11" y="65"/>
                      </a:lnTo>
                      <a:lnTo>
                        <a:pt x="21" y="58"/>
                      </a:lnTo>
                      <a:lnTo>
                        <a:pt x="24" y="54"/>
                      </a:lnTo>
                      <a:lnTo>
                        <a:pt x="25" y="52"/>
                      </a:lnTo>
                      <a:lnTo>
                        <a:pt x="25" y="52"/>
                      </a:lnTo>
                      <a:lnTo>
                        <a:pt x="25" y="46"/>
                      </a:lnTo>
                      <a:lnTo>
                        <a:pt x="25" y="38"/>
                      </a:lnTo>
                      <a:lnTo>
                        <a:pt x="24" y="23"/>
                      </a:lnTo>
                      <a:lnTo>
                        <a:pt x="24" y="23"/>
                      </a:lnTo>
                      <a:lnTo>
                        <a:pt x="25" y="38"/>
                      </a:lnTo>
                      <a:lnTo>
                        <a:pt x="25" y="38"/>
                      </a:lnTo>
                      <a:lnTo>
                        <a:pt x="55" y="36"/>
                      </a:lnTo>
                      <a:lnTo>
                        <a:pt x="55" y="36"/>
                      </a:lnTo>
                      <a:lnTo>
                        <a:pt x="60" y="35"/>
                      </a:lnTo>
                      <a:lnTo>
                        <a:pt x="66" y="32"/>
                      </a:lnTo>
                      <a:lnTo>
                        <a:pt x="66" y="32"/>
                      </a:lnTo>
                      <a:lnTo>
                        <a:pt x="58" y="17"/>
                      </a:lnTo>
                      <a:lnTo>
                        <a:pt x="53" y="4"/>
                      </a:lnTo>
                      <a:lnTo>
                        <a:pt x="53" y="4"/>
                      </a:lnTo>
                      <a:lnTo>
                        <a:pt x="38" y="6"/>
                      </a:lnTo>
                      <a:lnTo>
                        <a:pt x="38" y="6"/>
                      </a:lnTo>
                      <a:lnTo>
                        <a:pt x="22" y="13"/>
                      </a:lnTo>
                      <a:lnTo>
                        <a:pt x="22" y="13"/>
                      </a:lnTo>
                      <a:lnTo>
                        <a:pt x="19" y="4"/>
                      </a:lnTo>
                      <a:lnTo>
                        <a:pt x="18" y="2"/>
                      </a:lnTo>
                      <a:lnTo>
                        <a:pt x="15" y="0"/>
                      </a:lnTo>
                      <a:lnTo>
                        <a:pt x="15" y="0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3" y="2"/>
                      </a:lnTo>
                      <a:lnTo>
                        <a:pt x="2" y="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57" name="Freeform 1510"/>
                <p:cNvSpPr>
                  <a:spLocks/>
                </p:cNvSpPr>
                <p:nvPr/>
              </p:nvSpPr>
              <p:spPr bwMode="auto">
                <a:xfrm>
                  <a:off x="5299106" y="3663378"/>
                  <a:ext cx="8903" cy="7914"/>
                </a:xfrm>
                <a:custGeom>
                  <a:avLst/>
                  <a:gdLst>
                    <a:gd name="T0" fmla="*/ 6 w 9"/>
                    <a:gd name="T1" fmla="*/ 8 h 8"/>
                    <a:gd name="T2" fmla="*/ 6 w 9"/>
                    <a:gd name="T3" fmla="*/ 8 h 8"/>
                    <a:gd name="T4" fmla="*/ 1 w 9"/>
                    <a:gd name="T5" fmla="*/ 7 h 8"/>
                    <a:gd name="T6" fmla="*/ 0 w 9"/>
                    <a:gd name="T7" fmla="*/ 3 h 8"/>
                    <a:gd name="T8" fmla="*/ 0 w 9"/>
                    <a:gd name="T9" fmla="*/ 3 h 8"/>
                    <a:gd name="T10" fmla="*/ 0 w 9"/>
                    <a:gd name="T11" fmla="*/ 1 h 8"/>
                    <a:gd name="T12" fmla="*/ 1 w 9"/>
                    <a:gd name="T13" fmla="*/ 0 h 8"/>
                    <a:gd name="T14" fmla="*/ 1 w 9"/>
                    <a:gd name="T15" fmla="*/ 0 h 8"/>
                    <a:gd name="T16" fmla="*/ 4 w 9"/>
                    <a:gd name="T17" fmla="*/ 0 h 8"/>
                    <a:gd name="T18" fmla="*/ 4 w 9"/>
                    <a:gd name="T19" fmla="*/ 0 h 8"/>
                    <a:gd name="T20" fmla="*/ 6 w 9"/>
                    <a:gd name="T21" fmla="*/ 0 h 8"/>
                    <a:gd name="T22" fmla="*/ 7 w 9"/>
                    <a:gd name="T23" fmla="*/ 1 h 8"/>
                    <a:gd name="T24" fmla="*/ 9 w 9"/>
                    <a:gd name="T25" fmla="*/ 5 h 8"/>
                    <a:gd name="T26" fmla="*/ 9 w 9"/>
                    <a:gd name="T27" fmla="*/ 5 h 8"/>
                    <a:gd name="T28" fmla="*/ 7 w 9"/>
                    <a:gd name="T29" fmla="*/ 8 h 8"/>
                    <a:gd name="T30" fmla="*/ 7 w 9"/>
                    <a:gd name="T31" fmla="*/ 8 h 8"/>
                    <a:gd name="T32" fmla="*/ 6 w 9"/>
                    <a:gd name="T3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" h="8">
                      <a:moveTo>
                        <a:pt x="6" y="8"/>
                      </a:moveTo>
                      <a:lnTo>
                        <a:pt x="6" y="8"/>
                      </a:lnTo>
                      <a:lnTo>
                        <a:pt x="1" y="7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7" y="1"/>
                      </a:lnTo>
                      <a:lnTo>
                        <a:pt x="9" y="5"/>
                      </a:lnTo>
                      <a:lnTo>
                        <a:pt x="9" y="5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58" name="Freeform 1511"/>
                <p:cNvSpPr>
                  <a:spLocks/>
                </p:cNvSpPr>
                <p:nvPr/>
              </p:nvSpPr>
              <p:spPr bwMode="auto">
                <a:xfrm>
                  <a:off x="5299106" y="3663378"/>
                  <a:ext cx="8903" cy="7914"/>
                </a:xfrm>
                <a:custGeom>
                  <a:avLst/>
                  <a:gdLst>
                    <a:gd name="T0" fmla="*/ 6 w 9"/>
                    <a:gd name="T1" fmla="*/ 8 h 8"/>
                    <a:gd name="T2" fmla="*/ 6 w 9"/>
                    <a:gd name="T3" fmla="*/ 8 h 8"/>
                    <a:gd name="T4" fmla="*/ 1 w 9"/>
                    <a:gd name="T5" fmla="*/ 7 h 8"/>
                    <a:gd name="T6" fmla="*/ 0 w 9"/>
                    <a:gd name="T7" fmla="*/ 3 h 8"/>
                    <a:gd name="T8" fmla="*/ 0 w 9"/>
                    <a:gd name="T9" fmla="*/ 3 h 8"/>
                    <a:gd name="T10" fmla="*/ 0 w 9"/>
                    <a:gd name="T11" fmla="*/ 1 h 8"/>
                    <a:gd name="T12" fmla="*/ 1 w 9"/>
                    <a:gd name="T13" fmla="*/ 0 h 8"/>
                    <a:gd name="T14" fmla="*/ 1 w 9"/>
                    <a:gd name="T15" fmla="*/ 0 h 8"/>
                    <a:gd name="T16" fmla="*/ 4 w 9"/>
                    <a:gd name="T17" fmla="*/ 0 h 8"/>
                    <a:gd name="T18" fmla="*/ 4 w 9"/>
                    <a:gd name="T19" fmla="*/ 0 h 8"/>
                    <a:gd name="T20" fmla="*/ 6 w 9"/>
                    <a:gd name="T21" fmla="*/ 0 h 8"/>
                    <a:gd name="T22" fmla="*/ 7 w 9"/>
                    <a:gd name="T23" fmla="*/ 1 h 8"/>
                    <a:gd name="T24" fmla="*/ 9 w 9"/>
                    <a:gd name="T25" fmla="*/ 5 h 8"/>
                    <a:gd name="T26" fmla="*/ 9 w 9"/>
                    <a:gd name="T27" fmla="*/ 5 h 8"/>
                    <a:gd name="T28" fmla="*/ 7 w 9"/>
                    <a:gd name="T29" fmla="*/ 8 h 8"/>
                    <a:gd name="T30" fmla="*/ 7 w 9"/>
                    <a:gd name="T31" fmla="*/ 8 h 8"/>
                    <a:gd name="T32" fmla="*/ 6 w 9"/>
                    <a:gd name="T3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" h="8">
                      <a:moveTo>
                        <a:pt x="6" y="8"/>
                      </a:moveTo>
                      <a:lnTo>
                        <a:pt x="6" y="8"/>
                      </a:lnTo>
                      <a:lnTo>
                        <a:pt x="1" y="7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7" y="1"/>
                      </a:lnTo>
                      <a:lnTo>
                        <a:pt x="9" y="5"/>
                      </a:lnTo>
                      <a:lnTo>
                        <a:pt x="9" y="5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6" y="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87" name="Freeform 1540"/>
                <p:cNvSpPr>
                  <a:spLocks/>
                </p:cNvSpPr>
                <p:nvPr/>
              </p:nvSpPr>
              <p:spPr bwMode="auto">
                <a:xfrm>
                  <a:off x="4640259" y="2718636"/>
                  <a:ext cx="6925" cy="5936"/>
                </a:xfrm>
                <a:custGeom>
                  <a:avLst/>
                  <a:gdLst>
                    <a:gd name="T0" fmla="*/ 7 w 7"/>
                    <a:gd name="T1" fmla="*/ 3 h 6"/>
                    <a:gd name="T2" fmla="*/ 7 w 7"/>
                    <a:gd name="T3" fmla="*/ 3 h 6"/>
                    <a:gd name="T4" fmla="*/ 7 w 7"/>
                    <a:gd name="T5" fmla="*/ 4 h 6"/>
                    <a:gd name="T6" fmla="*/ 4 w 7"/>
                    <a:gd name="T7" fmla="*/ 6 h 6"/>
                    <a:gd name="T8" fmla="*/ 1 w 7"/>
                    <a:gd name="T9" fmla="*/ 4 h 6"/>
                    <a:gd name="T10" fmla="*/ 0 w 7"/>
                    <a:gd name="T11" fmla="*/ 3 h 6"/>
                    <a:gd name="T12" fmla="*/ 0 w 7"/>
                    <a:gd name="T13" fmla="*/ 3 h 6"/>
                    <a:gd name="T14" fmla="*/ 0 w 7"/>
                    <a:gd name="T15" fmla="*/ 2 h 6"/>
                    <a:gd name="T16" fmla="*/ 1 w 7"/>
                    <a:gd name="T17" fmla="*/ 0 h 6"/>
                    <a:gd name="T18" fmla="*/ 4 w 7"/>
                    <a:gd name="T19" fmla="*/ 2 h 6"/>
                    <a:gd name="T20" fmla="*/ 7 w 7"/>
                    <a:gd name="T21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6">
                      <a:moveTo>
                        <a:pt x="7" y="3"/>
                      </a:moveTo>
                      <a:lnTo>
                        <a:pt x="7" y="3"/>
                      </a:lnTo>
                      <a:lnTo>
                        <a:pt x="7" y="4"/>
                      </a:lnTo>
                      <a:lnTo>
                        <a:pt x="4" y="6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4" y="2"/>
                      </a:lnTo>
                      <a:lnTo>
                        <a:pt x="7" y="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88" name="Freeform 1541"/>
                <p:cNvSpPr>
                  <a:spLocks/>
                </p:cNvSpPr>
                <p:nvPr/>
              </p:nvSpPr>
              <p:spPr bwMode="auto">
                <a:xfrm>
                  <a:off x="4640259" y="2718636"/>
                  <a:ext cx="6925" cy="5936"/>
                </a:xfrm>
                <a:custGeom>
                  <a:avLst/>
                  <a:gdLst>
                    <a:gd name="T0" fmla="*/ 7 w 7"/>
                    <a:gd name="T1" fmla="*/ 3 h 6"/>
                    <a:gd name="T2" fmla="*/ 7 w 7"/>
                    <a:gd name="T3" fmla="*/ 3 h 6"/>
                    <a:gd name="T4" fmla="*/ 7 w 7"/>
                    <a:gd name="T5" fmla="*/ 4 h 6"/>
                    <a:gd name="T6" fmla="*/ 4 w 7"/>
                    <a:gd name="T7" fmla="*/ 6 h 6"/>
                    <a:gd name="T8" fmla="*/ 1 w 7"/>
                    <a:gd name="T9" fmla="*/ 4 h 6"/>
                    <a:gd name="T10" fmla="*/ 0 w 7"/>
                    <a:gd name="T11" fmla="*/ 3 h 6"/>
                    <a:gd name="T12" fmla="*/ 0 w 7"/>
                    <a:gd name="T13" fmla="*/ 3 h 6"/>
                    <a:gd name="T14" fmla="*/ 0 w 7"/>
                    <a:gd name="T15" fmla="*/ 2 h 6"/>
                    <a:gd name="T16" fmla="*/ 1 w 7"/>
                    <a:gd name="T17" fmla="*/ 0 h 6"/>
                    <a:gd name="T18" fmla="*/ 4 w 7"/>
                    <a:gd name="T19" fmla="*/ 2 h 6"/>
                    <a:gd name="T20" fmla="*/ 7 w 7"/>
                    <a:gd name="T21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6">
                      <a:moveTo>
                        <a:pt x="7" y="3"/>
                      </a:moveTo>
                      <a:lnTo>
                        <a:pt x="7" y="3"/>
                      </a:lnTo>
                      <a:lnTo>
                        <a:pt x="7" y="4"/>
                      </a:lnTo>
                      <a:lnTo>
                        <a:pt x="4" y="6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4" y="2"/>
                      </a:lnTo>
                      <a:lnTo>
                        <a:pt x="7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89" name="Freeform 1542"/>
                <p:cNvSpPr>
                  <a:spLocks/>
                </p:cNvSpPr>
                <p:nvPr/>
              </p:nvSpPr>
              <p:spPr bwMode="auto">
                <a:xfrm>
                  <a:off x="4550236" y="3277567"/>
                  <a:ext cx="4946" cy="5936"/>
                </a:xfrm>
                <a:custGeom>
                  <a:avLst/>
                  <a:gdLst>
                    <a:gd name="T0" fmla="*/ 4 w 5"/>
                    <a:gd name="T1" fmla="*/ 4 h 6"/>
                    <a:gd name="T2" fmla="*/ 4 w 5"/>
                    <a:gd name="T3" fmla="*/ 4 h 6"/>
                    <a:gd name="T4" fmla="*/ 2 w 5"/>
                    <a:gd name="T5" fmla="*/ 6 h 6"/>
                    <a:gd name="T6" fmla="*/ 0 w 5"/>
                    <a:gd name="T7" fmla="*/ 4 h 6"/>
                    <a:gd name="T8" fmla="*/ 0 w 5"/>
                    <a:gd name="T9" fmla="*/ 1 h 6"/>
                    <a:gd name="T10" fmla="*/ 1 w 5"/>
                    <a:gd name="T11" fmla="*/ 0 h 6"/>
                    <a:gd name="T12" fmla="*/ 1 w 5"/>
                    <a:gd name="T13" fmla="*/ 0 h 6"/>
                    <a:gd name="T14" fmla="*/ 4 w 5"/>
                    <a:gd name="T15" fmla="*/ 0 h 6"/>
                    <a:gd name="T16" fmla="*/ 5 w 5"/>
                    <a:gd name="T17" fmla="*/ 1 h 6"/>
                    <a:gd name="T18" fmla="*/ 4 w 5"/>
                    <a:gd name="T1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6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90" name="Freeform 1543"/>
                <p:cNvSpPr>
                  <a:spLocks/>
                </p:cNvSpPr>
                <p:nvPr/>
              </p:nvSpPr>
              <p:spPr bwMode="auto">
                <a:xfrm>
                  <a:off x="4550236" y="3277567"/>
                  <a:ext cx="4946" cy="5936"/>
                </a:xfrm>
                <a:custGeom>
                  <a:avLst/>
                  <a:gdLst>
                    <a:gd name="T0" fmla="*/ 4 w 5"/>
                    <a:gd name="T1" fmla="*/ 4 h 6"/>
                    <a:gd name="T2" fmla="*/ 4 w 5"/>
                    <a:gd name="T3" fmla="*/ 4 h 6"/>
                    <a:gd name="T4" fmla="*/ 2 w 5"/>
                    <a:gd name="T5" fmla="*/ 6 h 6"/>
                    <a:gd name="T6" fmla="*/ 0 w 5"/>
                    <a:gd name="T7" fmla="*/ 4 h 6"/>
                    <a:gd name="T8" fmla="*/ 0 w 5"/>
                    <a:gd name="T9" fmla="*/ 1 h 6"/>
                    <a:gd name="T10" fmla="*/ 1 w 5"/>
                    <a:gd name="T11" fmla="*/ 0 h 6"/>
                    <a:gd name="T12" fmla="*/ 1 w 5"/>
                    <a:gd name="T13" fmla="*/ 0 h 6"/>
                    <a:gd name="T14" fmla="*/ 4 w 5"/>
                    <a:gd name="T15" fmla="*/ 0 h 6"/>
                    <a:gd name="T16" fmla="*/ 5 w 5"/>
                    <a:gd name="T17" fmla="*/ 1 h 6"/>
                    <a:gd name="T18" fmla="*/ 4 w 5"/>
                    <a:gd name="T1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6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4" y="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91" name="Freeform 1544"/>
                <p:cNvSpPr>
                  <a:spLocks/>
                </p:cNvSpPr>
                <p:nvPr/>
              </p:nvSpPr>
              <p:spPr bwMode="auto">
                <a:xfrm>
                  <a:off x="5299106" y="3392321"/>
                  <a:ext cx="6925" cy="3957"/>
                </a:xfrm>
                <a:custGeom>
                  <a:avLst/>
                  <a:gdLst>
                    <a:gd name="T0" fmla="*/ 4 w 7"/>
                    <a:gd name="T1" fmla="*/ 4 h 4"/>
                    <a:gd name="T2" fmla="*/ 4 w 7"/>
                    <a:gd name="T3" fmla="*/ 4 h 4"/>
                    <a:gd name="T4" fmla="*/ 1 w 7"/>
                    <a:gd name="T5" fmla="*/ 4 h 4"/>
                    <a:gd name="T6" fmla="*/ 0 w 7"/>
                    <a:gd name="T7" fmla="*/ 3 h 4"/>
                    <a:gd name="T8" fmla="*/ 0 w 7"/>
                    <a:gd name="T9" fmla="*/ 3 h 4"/>
                    <a:gd name="T10" fmla="*/ 0 w 7"/>
                    <a:gd name="T11" fmla="*/ 1 h 4"/>
                    <a:gd name="T12" fmla="*/ 1 w 7"/>
                    <a:gd name="T13" fmla="*/ 0 h 4"/>
                    <a:gd name="T14" fmla="*/ 1 w 7"/>
                    <a:gd name="T15" fmla="*/ 0 h 4"/>
                    <a:gd name="T16" fmla="*/ 4 w 7"/>
                    <a:gd name="T17" fmla="*/ 0 h 4"/>
                    <a:gd name="T18" fmla="*/ 4 w 7"/>
                    <a:gd name="T19" fmla="*/ 0 h 4"/>
                    <a:gd name="T20" fmla="*/ 6 w 7"/>
                    <a:gd name="T21" fmla="*/ 0 h 4"/>
                    <a:gd name="T22" fmla="*/ 7 w 7"/>
                    <a:gd name="T23" fmla="*/ 1 h 4"/>
                    <a:gd name="T24" fmla="*/ 7 w 7"/>
                    <a:gd name="T25" fmla="*/ 1 h 4"/>
                    <a:gd name="T26" fmla="*/ 6 w 7"/>
                    <a:gd name="T27" fmla="*/ 4 h 4"/>
                    <a:gd name="T28" fmla="*/ 6 w 7"/>
                    <a:gd name="T29" fmla="*/ 4 h 4"/>
                    <a:gd name="T30" fmla="*/ 4 w 7"/>
                    <a:gd name="T3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7" h="4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92" name="Freeform 1545"/>
                <p:cNvSpPr>
                  <a:spLocks/>
                </p:cNvSpPr>
                <p:nvPr/>
              </p:nvSpPr>
              <p:spPr bwMode="auto">
                <a:xfrm>
                  <a:off x="5299106" y="3392321"/>
                  <a:ext cx="6925" cy="3957"/>
                </a:xfrm>
                <a:custGeom>
                  <a:avLst/>
                  <a:gdLst>
                    <a:gd name="T0" fmla="*/ 4 w 7"/>
                    <a:gd name="T1" fmla="*/ 4 h 4"/>
                    <a:gd name="T2" fmla="*/ 4 w 7"/>
                    <a:gd name="T3" fmla="*/ 4 h 4"/>
                    <a:gd name="T4" fmla="*/ 1 w 7"/>
                    <a:gd name="T5" fmla="*/ 4 h 4"/>
                    <a:gd name="T6" fmla="*/ 0 w 7"/>
                    <a:gd name="T7" fmla="*/ 3 h 4"/>
                    <a:gd name="T8" fmla="*/ 0 w 7"/>
                    <a:gd name="T9" fmla="*/ 3 h 4"/>
                    <a:gd name="T10" fmla="*/ 0 w 7"/>
                    <a:gd name="T11" fmla="*/ 1 h 4"/>
                    <a:gd name="T12" fmla="*/ 1 w 7"/>
                    <a:gd name="T13" fmla="*/ 0 h 4"/>
                    <a:gd name="T14" fmla="*/ 1 w 7"/>
                    <a:gd name="T15" fmla="*/ 0 h 4"/>
                    <a:gd name="T16" fmla="*/ 4 w 7"/>
                    <a:gd name="T17" fmla="*/ 0 h 4"/>
                    <a:gd name="T18" fmla="*/ 4 w 7"/>
                    <a:gd name="T19" fmla="*/ 0 h 4"/>
                    <a:gd name="T20" fmla="*/ 6 w 7"/>
                    <a:gd name="T21" fmla="*/ 0 h 4"/>
                    <a:gd name="T22" fmla="*/ 7 w 7"/>
                    <a:gd name="T23" fmla="*/ 1 h 4"/>
                    <a:gd name="T24" fmla="*/ 7 w 7"/>
                    <a:gd name="T25" fmla="*/ 1 h 4"/>
                    <a:gd name="T26" fmla="*/ 6 w 7"/>
                    <a:gd name="T27" fmla="*/ 4 h 4"/>
                    <a:gd name="T28" fmla="*/ 6 w 7"/>
                    <a:gd name="T29" fmla="*/ 4 h 4"/>
                    <a:gd name="T30" fmla="*/ 4 w 7"/>
                    <a:gd name="T3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7" h="4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4" y="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93" name="Freeform 1546"/>
                <p:cNvSpPr>
                  <a:spLocks/>
                </p:cNvSpPr>
                <p:nvPr/>
              </p:nvSpPr>
              <p:spPr bwMode="auto">
                <a:xfrm>
                  <a:off x="5573131" y="3265696"/>
                  <a:ext cx="7914" cy="5936"/>
                </a:xfrm>
                <a:custGeom>
                  <a:avLst/>
                  <a:gdLst>
                    <a:gd name="T0" fmla="*/ 3 w 8"/>
                    <a:gd name="T1" fmla="*/ 6 h 6"/>
                    <a:gd name="T2" fmla="*/ 3 w 8"/>
                    <a:gd name="T3" fmla="*/ 6 h 6"/>
                    <a:gd name="T4" fmla="*/ 0 w 8"/>
                    <a:gd name="T5" fmla="*/ 5 h 6"/>
                    <a:gd name="T6" fmla="*/ 0 w 8"/>
                    <a:gd name="T7" fmla="*/ 3 h 6"/>
                    <a:gd name="T8" fmla="*/ 0 w 8"/>
                    <a:gd name="T9" fmla="*/ 3 h 6"/>
                    <a:gd name="T10" fmla="*/ 1 w 8"/>
                    <a:gd name="T11" fmla="*/ 2 h 6"/>
                    <a:gd name="T12" fmla="*/ 3 w 8"/>
                    <a:gd name="T13" fmla="*/ 0 h 6"/>
                    <a:gd name="T14" fmla="*/ 3 w 8"/>
                    <a:gd name="T15" fmla="*/ 0 h 6"/>
                    <a:gd name="T16" fmla="*/ 5 w 8"/>
                    <a:gd name="T17" fmla="*/ 0 h 6"/>
                    <a:gd name="T18" fmla="*/ 5 w 8"/>
                    <a:gd name="T19" fmla="*/ 0 h 6"/>
                    <a:gd name="T20" fmla="*/ 7 w 8"/>
                    <a:gd name="T21" fmla="*/ 0 h 6"/>
                    <a:gd name="T22" fmla="*/ 8 w 8"/>
                    <a:gd name="T23" fmla="*/ 2 h 6"/>
                    <a:gd name="T24" fmla="*/ 8 w 8"/>
                    <a:gd name="T25" fmla="*/ 2 h 6"/>
                    <a:gd name="T26" fmla="*/ 8 w 8"/>
                    <a:gd name="T27" fmla="*/ 3 h 6"/>
                    <a:gd name="T28" fmla="*/ 5 w 8"/>
                    <a:gd name="T29" fmla="*/ 5 h 6"/>
                    <a:gd name="T30" fmla="*/ 5 w 8"/>
                    <a:gd name="T31" fmla="*/ 5 h 6"/>
                    <a:gd name="T32" fmla="*/ 3 w 8"/>
                    <a:gd name="T3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" h="6">
                      <a:moveTo>
                        <a:pt x="3" y="6"/>
                      </a:moveTo>
                      <a:lnTo>
                        <a:pt x="3" y="6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8" y="3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94" name="Freeform 1547"/>
                <p:cNvSpPr>
                  <a:spLocks/>
                </p:cNvSpPr>
                <p:nvPr/>
              </p:nvSpPr>
              <p:spPr bwMode="auto">
                <a:xfrm>
                  <a:off x="5573131" y="3265696"/>
                  <a:ext cx="7914" cy="5936"/>
                </a:xfrm>
                <a:custGeom>
                  <a:avLst/>
                  <a:gdLst>
                    <a:gd name="T0" fmla="*/ 3 w 8"/>
                    <a:gd name="T1" fmla="*/ 6 h 6"/>
                    <a:gd name="T2" fmla="*/ 3 w 8"/>
                    <a:gd name="T3" fmla="*/ 6 h 6"/>
                    <a:gd name="T4" fmla="*/ 0 w 8"/>
                    <a:gd name="T5" fmla="*/ 5 h 6"/>
                    <a:gd name="T6" fmla="*/ 0 w 8"/>
                    <a:gd name="T7" fmla="*/ 3 h 6"/>
                    <a:gd name="T8" fmla="*/ 0 w 8"/>
                    <a:gd name="T9" fmla="*/ 3 h 6"/>
                    <a:gd name="T10" fmla="*/ 1 w 8"/>
                    <a:gd name="T11" fmla="*/ 2 h 6"/>
                    <a:gd name="T12" fmla="*/ 3 w 8"/>
                    <a:gd name="T13" fmla="*/ 0 h 6"/>
                    <a:gd name="T14" fmla="*/ 3 w 8"/>
                    <a:gd name="T15" fmla="*/ 0 h 6"/>
                    <a:gd name="T16" fmla="*/ 5 w 8"/>
                    <a:gd name="T17" fmla="*/ 0 h 6"/>
                    <a:gd name="T18" fmla="*/ 5 w 8"/>
                    <a:gd name="T19" fmla="*/ 0 h 6"/>
                    <a:gd name="T20" fmla="*/ 7 w 8"/>
                    <a:gd name="T21" fmla="*/ 0 h 6"/>
                    <a:gd name="T22" fmla="*/ 8 w 8"/>
                    <a:gd name="T23" fmla="*/ 2 h 6"/>
                    <a:gd name="T24" fmla="*/ 8 w 8"/>
                    <a:gd name="T25" fmla="*/ 2 h 6"/>
                    <a:gd name="T26" fmla="*/ 8 w 8"/>
                    <a:gd name="T27" fmla="*/ 3 h 6"/>
                    <a:gd name="T28" fmla="*/ 5 w 8"/>
                    <a:gd name="T29" fmla="*/ 5 h 6"/>
                    <a:gd name="T30" fmla="*/ 5 w 8"/>
                    <a:gd name="T31" fmla="*/ 5 h 6"/>
                    <a:gd name="T32" fmla="*/ 3 w 8"/>
                    <a:gd name="T3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" h="6">
                      <a:moveTo>
                        <a:pt x="3" y="6"/>
                      </a:moveTo>
                      <a:lnTo>
                        <a:pt x="3" y="6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8" y="3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3" y="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95" name="Freeform 1548"/>
                <p:cNvSpPr>
                  <a:spLocks/>
                </p:cNvSpPr>
                <p:nvPr/>
              </p:nvSpPr>
              <p:spPr bwMode="auto">
                <a:xfrm>
                  <a:off x="5330762" y="3653486"/>
                  <a:ext cx="6925" cy="4946"/>
                </a:xfrm>
                <a:custGeom>
                  <a:avLst/>
                  <a:gdLst>
                    <a:gd name="T0" fmla="*/ 4 w 7"/>
                    <a:gd name="T1" fmla="*/ 5 h 5"/>
                    <a:gd name="T2" fmla="*/ 4 w 7"/>
                    <a:gd name="T3" fmla="*/ 5 h 5"/>
                    <a:gd name="T4" fmla="*/ 1 w 7"/>
                    <a:gd name="T5" fmla="*/ 4 h 5"/>
                    <a:gd name="T6" fmla="*/ 0 w 7"/>
                    <a:gd name="T7" fmla="*/ 2 h 5"/>
                    <a:gd name="T8" fmla="*/ 0 w 7"/>
                    <a:gd name="T9" fmla="*/ 2 h 5"/>
                    <a:gd name="T10" fmla="*/ 0 w 7"/>
                    <a:gd name="T11" fmla="*/ 1 h 5"/>
                    <a:gd name="T12" fmla="*/ 3 w 7"/>
                    <a:gd name="T13" fmla="*/ 1 h 5"/>
                    <a:gd name="T14" fmla="*/ 3 w 7"/>
                    <a:gd name="T15" fmla="*/ 1 h 5"/>
                    <a:gd name="T16" fmla="*/ 4 w 7"/>
                    <a:gd name="T17" fmla="*/ 0 h 5"/>
                    <a:gd name="T18" fmla="*/ 4 w 7"/>
                    <a:gd name="T19" fmla="*/ 0 h 5"/>
                    <a:gd name="T20" fmla="*/ 7 w 7"/>
                    <a:gd name="T21" fmla="*/ 1 h 5"/>
                    <a:gd name="T22" fmla="*/ 7 w 7"/>
                    <a:gd name="T23" fmla="*/ 1 h 5"/>
                    <a:gd name="T24" fmla="*/ 7 w 7"/>
                    <a:gd name="T25" fmla="*/ 1 h 5"/>
                    <a:gd name="T26" fmla="*/ 6 w 7"/>
                    <a:gd name="T27" fmla="*/ 5 h 5"/>
                    <a:gd name="T28" fmla="*/ 6 w 7"/>
                    <a:gd name="T29" fmla="*/ 5 h 5"/>
                    <a:gd name="T30" fmla="*/ 4 w 7"/>
                    <a:gd name="T3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7" h="5"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6" y="5"/>
                      </a:lnTo>
                      <a:lnTo>
                        <a:pt x="6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96" name="Freeform 1549"/>
                <p:cNvSpPr>
                  <a:spLocks/>
                </p:cNvSpPr>
                <p:nvPr/>
              </p:nvSpPr>
              <p:spPr bwMode="auto">
                <a:xfrm>
                  <a:off x="5330762" y="3653486"/>
                  <a:ext cx="6925" cy="4946"/>
                </a:xfrm>
                <a:custGeom>
                  <a:avLst/>
                  <a:gdLst>
                    <a:gd name="T0" fmla="*/ 4 w 7"/>
                    <a:gd name="T1" fmla="*/ 5 h 5"/>
                    <a:gd name="T2" fmla="*/ 4 w 7"/>
                    <a:gd name="T3" fmla="*/ 5 h 5"/>
                    <a:gd name="T4" fmla="*/ 1 w 7"/>
                    <a:gd name="T5" fmla="*/ 4 h 5"/>
                    <a:gd name="T6" fmla="*/ 0 w 7"/>
                    <a:gd name="T7" fmla="*/ 2 h 5"/>
                    <a:gd name="T8" fmla="*/ 0 w 7"/>
                    <a:gd name="T9" fmla="*/ 2 h 5"/>
                    <a:gd name="T10" fmla="*/ 0 w 7"/>
                    <a:gd name="T11" fmla="*/ 1 h 5"/>
                    <a:gd name="T12" fmla="*/ 3 w 7"/>
                    <a:gd name="T13" fmla="*/ 1 h 5"/>
                    <a:gd name="T14" fmla="*/ 3 w 7"/>
                    <a:gd name="T15" fmla="*/ 1 h 5"/>
                    <a:gd name="T16" fmla="*/ 4 w 7"/>
                    <a:gd name="T17" fmla="*/ 0 h 5"/>
                    <a:gd name="T18" fmla="*/ 4 w 7"/>
                    <a:gd name="T19" fmla="*/ 0 h 5"/>
                    <a:gd name="T20" fmla="*/ 7 w 7"/>
                    <a:gd name="T21" fmla="*/ 1 h 5"/>
                    <a:gd name="T22" fmla="*/ 7 w 7"/>
                    <a:gd name="T23" fmla="*/ 1 h 5"/>
                    <a:gd name="T24" fmla="*/ 7 w 7"/>
                    <a:gd name="T25" fmla="*/ 1 h 5"/>
                    <a:gd name="T26" fmla="*/ 6 w 7"/>
                    <a:gd name="T27" fmla="*/ 5 h 5"/>
                    <a:gd name="T28" fmla="*/ 6 w 7"/>
                    <a:gd name="T29" fmla="*/ 5 h 5"/>
                    <a:gd name="T30" fmla="*/ 4 w 7"/>
                    <a:gd name="T3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7" h="5"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6" y="5"/>
                      </a:lnTo>
                      <a:lnTo>
                        <a:pt x="6" y="5"/>
                      </a:lnTo>
                      <a:lnTo>
                        <a:pt x="4" y="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05" name="Freeform 1558"/>
                <p:cNvSpPr>
                  <a:spLocks/>
                </p:cNvSpPr>
                <p:nvPr/>
              </p:nvSpPr>
              <p:spPr bwMode="auto">
                <a:xfrm>
                  <a:off x="5218976" y="2891756"/>
                  <a:ext cx="3957" cy="4946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5 h 5"/>
                    <a:gd name="T4" fmla="*/ 3 w 4"/>
                    <a:gd name="T5" fmla="*/ 5 h 5"/>
                    <a:gd name="T6" fmla="*/ 0 w 4"/>
                    <a:gd name="T7" fmla="*/ 5 h 5"/>
                    <a:gd name="T8" fmla="*/ 0 w 4"/>
                    <a:gd name="T9" fmla="*/ 3 h 5"/>
                    <a:gd name="T10" fmla="*/ 0 w 4"/>
                    <a:gd name="T11" fmla="*/ 2 h 5"/>
                    <a:gd name="T12" fmla="*/ 0 w 4"/>
                    <a:gd name="T13" fmla="*/ 2 h 5"/>
                    <a:gd name="T14" fmla="*/ 1 w 4"/>
                    <a:gd name="T15" fmla="*/ 0 h 5"/>
                    <a:gd name="T16" fmla="*/ 3 w 4"/>
                    <a:gd name="T17" fmla="*/ 2 h 5"/>
                    <a:gd name="T18" fmla="*/ 4 w 4"/>
                    <a:gd name="T19" fmla="*/ 3 h 5"/>
                    <a:gd name="T20" fmla="*/ 4 w 4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2"/>
                      </a:lnTo>
                      <a:lnTo>
                        <a:pt x="4" y="3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06" name="Freeform 1559"/>
                <p:cNvSpPr>
                  <a:spLocks/>
                </p:cNvSpPr>
                <p:nvPr/>
              </p:nvSpPr>
              <p:spPr bwMode="auto">
                <a:xfrm>
                  <a:off x="5218976" y="2891756"/>
                  <a:ext cx="3957" cy="4946"/>
                </a:xfrm>
                <a:custGeom>
                  <a:avLst/>
                  <a:gdLst>
                    <a:gd name="T0" fmla="*/ 4 w 4"/>
                    <a:gd name="T1" fmla="*/ 5 h 5"/>
                    <a:gd name="T2" fmla="*/ 4 w 4"/>
                    <a:gd name="T3" fmla="*/ 5 h 5"/>
                    <a:gd name="T4" fmla="*/ 3 w 4"/>
                    <a:gd name="T5" fmla="*/ 5 h 5"/>
                    <a:gd name="T6" fmla="*/ 0 w 4"/>
                    <a:gd name="T7" fmla="*/ 5 h 5"/>
                    <a:gd name="T8" fmla="*/ 0 w 4"/>
                    <a:gd name="T9" fmla="*/ 3 h 5"/>
                    <a:gd name="T10" fmla="*/ 0 w 4"/>
                    <a:gd name="T11" fmla="*/ 2 h 5"/>
                    <a:gd name="T12" fmla="*/ 0 w 4"/>
                    <a:gd name="T13" fmla="*/ 2 h 5"/>
                    <a:gd name="T14" fmla="*/ 1 w 4"/>
                    <a:gd name="T15" fmla="*/ 0 h 5"/>
                    <a:gd name="T16" fmla="*/ 3 w 4"/>
                    <a:gd name="T17" fmla="*/ 2 h 5"/>
                    <a:gd name="T18" fmla="*/ 4 w 4"/>
                    <a:gd name="T19" fmla="*/ 3 h 5"/>
                    <a:gd name="T20" fmla="*/ 4 w 4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2"/>
                      </a:lnTo>
                      <a:lnTo>
                        <a:pt x="4" y="3"/>
                      </a:lnTo>
                      <a:lnTo>
                        <a:pt x="4" y="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07" name="Freeform 1560"/>
                <p:cNvSpPr>
                  <a:spLocks/>
                </p:cNvSpPr>
                <p:nvPr/>
              </p:nvSpPr>
              <p:spPr bwMode="auto">
                <a:xfrm>
                  <a:off x="5103232" y="3513011"/>
                  <a:ext cx="10882" cy="9893"/>
                </a:xfrm>
                <a:custGeom>
                  <a:avLst/>
                  <a:gdLst>
                    <a:gd name="T0" fmla="*/ 8 w 11"/>
                    <a:gd name="T1" fmla="*/ 10 h 10"/>
                    <a:gd name="T2" fmla="*/ 8 w 11"/>
                    <a:gd name="T3" fmla="*/ 10 h 10"/>
                    <a:gd name="T4" fmla="*/ 5 w 11"/>
                    <a:gd name="T5" fmla="*/ 8 h 10"/>
                    <a:gd name="T6" fmla="*/ 3 w 11"/>
                    <a:gd name="T7" fmla="*/ 7 h 10"/>
                    <a:gd name="T8" fmla="*/ 1 w 11"/>
                    <a:gd name="T9" fmla="*/ 4 h 10"/>
                    <a:gd name="T10" fmla="*/ 0 w 11"/>
                    <a:gd name="T11" fmla="*/ 2 h 10"/>
                    <a:gd name="T12" fmla="*/ 0 w 11"/>
                    <a:gd name="T13" fmla="*/ 2 h 10"/>
                    <a:gd name="T14" fmla="*/ 1 w 11"/>
                    <a:gd name="T15" fmla="*/ 1 h 10"/>
                    <a:gd name="T16" fmla="*/ 3 w 11"/>
                    <a:gd name="T17" fmla="*/ 0 h 10"/>
                    <a:gd name="T18" fmla="*/ 3 w 11"/>
                    <a:gd name="T19" fmla="*/ 0 h 10"/>
                    <a:gd name="T20" fmla="*/ 7 w 11"/>
                    <a:gd name="T21" fmla="*/ 1 h 10"/>
                    <a:gd name="T22" fmla="*/ 8 w 11"/>
                    <a:gd name="T23" fmla="*/ 2 h 10"/>
                    <a:gd name="T24" fmla="*/ 11 w 11"/>
                    <a:gd name="T25" fmla="*/ 4 h 10"/>
                    <a:gd name="T26" fmla="*/ 11 w 11"/>
                    <a:gd name="T27" fmla="*/ 7 h 10"/>
                    <a:gd name="T28" fmla="*/ 11 w 11"/>
                    <a:gd name="T29" fmla="*/ 7 h 10"/>
                    <a:gd name="T30" fmla="*/ 10 w 11"/>
                    <a:gd name="T31" fmla="*/ 8 h 10"/>
                    <a:gd name="T32" fmla="*/ 8 w 11"/>
                    <a:gd name="T33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" h="10">
                      <a:moveTo>
                        <a:pt x="8" y="10"/>
                      </a:moveTo>
                      <a:lnTo>
                        <a:pt x="8" y="10"/>
                      </a:lnTo>
                      <a:lnTo>
                        <a:pt x="5" y="8"/>
                      </a:lnTo>
                      <a:lnTo>
                        <a:pt x="3" y="7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7" y="1"/>
                      </a:lnTo>
                      <a:lnTo>
                        <a:pt x="8" y="2"/>
                      </a:lnTo>
                      <a:lnTo>
                        <a:pt x="11" y="4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10" y="8"/>
                      </a:lnTo>
                      <a:lnTo>
                        <a:pt x="8" y="1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08" name="Freeform 1561"/>
                <p:cNvSpPr>
                  <a:spLocks/>
                </p:cNvSpPr>
                <p:nvPr/>
              </p:nvSpPr>
              <p:spPr bwMode="auto">
                <a:xfrm>
                  <a:off x="5103232" y="3513011"/>
                  <a:ext cx="10882" cy="9893"/>
                </a:xfrm>
                <a:custGeom>
                  <a:avLst/>
                  <a:gdLst>
                    <a:gd name="T0" fmla="*/ 8 w 11"/>
                    <a:gd name="T1" fmla="*/ 10 h 10"/>
                    <a:gd name="T2" fmla="*/ 8 w 11"/>
                    <a:gd name="T3" fmla="*/ 10 h 10"/>
                    <a:gd name="T4" fmla="*/ 5 w 11"/>
                    <a:gd name="T5" fmla="*/ 8 h 10"/>
                    <a:gd name="T6" fmla="*/ 3 w 11"/>
                    <a:gd name="T7" fmla="*/ 7 h 10"/>
                    <a:gd name="T8" fmla="*/ 1 w 11"/>
                    <a:gd name="T9" fmla="*/ 4 h 10"/>
                    <a:gd name="T10" fmla="*/ 0 w 11"/>
                    <a:gd name="T11" fmla="*/ 2 h 10"/>
                    <a:gd name="T12" fmla="*/ 0 w 11"/>
                    <a:gd name="T13" fmla="*/ 2 h 10"/>
                    <a:gd name="T14" fmla="*/ 1 w 11"/>
                    <a:gd name="T15" fmla="*/ 1 h 10"/>
                    <a:gd name="T16" fmla="*/ 3 w 11"/>
                    <a:gd name="T17" fmla="*/ 0 h 10"/>
                    <a:gd name="T18" fmla="*/ 3 w 11"/>
                    <a:gd name="T19" fmla="*/ 0 h 10"/>
                    <a:gd name="T20" fmla="*/ 7 w 11"/>
                    <a:gd name="T21" fmla="*/ 1 h 10"/>
                    <a:gd name="T22" fmla="*/ 8 w 11"/>
                    <a:gd name="T23" fmla="*/ 2 h 10"/>
                    <a:gd name="T24" fmla="*/ 11 w 11"/>
                    <a:gd name="T25" fmla="*/ 4 h 10"/>
                    <a:gd name="T26" fmla="*/ 11 w 11"/>
                    <a:gd name="T27" fmla="*/ 7 h 10"/>
                    <a:gd name="T28" fmla="*/ 11 w 11"/>
                    <a:gd name="T29" fmla="*/ 7 h 10"/>
                    <a:gd name="T30" fmla="*/ 10 w 11"/>
                    <a:gd name="T31" fmla="*/ 8 h 10"/>
                    <a:gd name="T32" fmla="*/ 8 w 11"/>
                    <a:gd name="T33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" h="10">
                      <a:moveTo>
                        <a:pt x="8" y="10"/>
                      </a:moveTo>
                      <a:lnTo>
                        <a:pt x="8" y="10"/>
                      </a:lnTo>
                      <a:lnTo>
                        <a:pt x="5" y="8"/>
                      </a:lnTo>
                      <a:lnTo>
                        <a:pt x="3" y="7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7" y="1"/>
                      </a:lnTo>
                      <a:lnTo>
                        <a:pt x="8" y="2"/>
                      </a:lnTo>
                      <a:lnTo>
                        <a:pt x="11" y="4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10" y="8"/>
                      </a:lnTo>
                      <a:lnTo>
                        <a:pt x="8" y="1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29" name="Freeform 1583"/>
                <p:cNvSpPr>
                  <a:spLocks noEditPoints="1"/>
                </p:cNvSpPr>
                <p:nvPr/>
              </p:nvSpPr>
              <p:spPr bwMode="auto">
                <a:xfrm>
                  <a:off x="4606624" y="3417053"/>
                  <a:ext cx="332391" cy="352176"/>
                </a:xfrm>
                <a:custGeom>
                  <a:avLst/>
                  <a:gdLst>
                    <a:gd name="T0" fmla="*/ 19 w 336"/>
                    <a:gd name="T1" fmla="*/ 1 h 356"/>
                    <a:gd name="T2" fmla="*/ 15 w 336"/>
                    <a:gd name="T3" fmla="*/ 10 h 356"/>
                    <a:gd name="T4" fmla="*/ 22 w 336"/>
                    <a:gd name="T5" fmla="*/ 2 h 356"/>
                    <a:gd name="T6" fmla="*/ 41 w 336"/>
                    <a:gd name="T7" fmla="*/ 0 h 356"/>
                    <a:gd name="T8" fmla="*/ 66 w 336"/>
                    <a:gd name="T9" fmla="*/ 0 h 356"/>
                    <a:gd name="T10" fmla="*/ 76 w 336"/>
                    <a:gd name="T11" fmla="*/ 0 h 356"/>
                    <a:gd name="T12" fmla="*/ 74 w 336"/>
                    <a:gd name="T13" fmla="*/ 10 h 356"/>
                    <a:gd name="T14" fmla="*/ 77 w 336"/>
                    <a:gd name="T15" fmla="*/ 26 h 356"/>
                    <a:gd name="T16" fmla="*/ 89 w 336"/>
                    <a:gd name="T17" fmla="*/ 39 h 356"/>
                    <a:gd name="T18" fmla="*/ 92 w 336"/>
                    <a:gd name="T19" fmla="*/ 42 h 356"/>
                    <a:gd name="T20" fmla="*/ 111 w 336"/>
                    <a:gd name="T21" fmla="*/ 39 h 356"/>
                    <a:gd name="T22" fmla="*/ 116 w 336"/>
                    <a:gd name="T23" fmla="*/ 36 h 356"/>
                    <a:gd name="T24" fmla="*/ 119 w 336"/>
                    <a:gd name="T25" fmla="*/ 20 h 356"/>
                    <a:gd name="T26" fmla="*/ 142 w 336"/>
                    <a:gd name="T27" fmla="*/ 29 h 356"/>
                    <a:gd name="T28" fmla="*/ 132 w 336"/>
                    <a:gd name="T29" fmla="*/ 26 h 356"/>
                    <a:gd name="T30" fmla="*/ 157 w 336"/>
                    <a:gd name="T31" fmla="*/ 27 h 356"/>
                    <a:gd name="T32" fmla="*/ 160 w 336"/>
                    <a:gd name="T33" fmla="*/ 31 h 356"/>
                    <a:gd name="T34" fmla="*/ 157 w 336"/>
                    <a:gd name="T35" fmla="*/ 56 h 356"/>
                    <a:gd name="T36" fmla="*/ 154 w 336"/>
                    <a:gd name="T37" fmla="*/ 55 h 356"/>
                    <a:gd name="T38" fmla="*/ 158 w 336"/>
                    <a:gd name="T39" fmla="*/ 62 h 356"/>
                    <a:gd name="T40" fmla="*/ 170 w 336"/>
                    <a:gd name="T41" fmla="*/ 73 h 356"/>
                    <a:gd name="T42" fmla="*/ 164 w 336"/>
                    <a:gd name="T43" fmla="*/ 82 h 356"/>
                    <a:gd name="T44" fmla="*/ 160 w 336"/>
                    <a:gd name="T45" fmla="*/ 85 h 356"/>
                    <a:gd name="T46" fmla="*/ 160 w 336"/>
                    <a:gd name="T47" fmla="*/ 85 h 356"/>
                    <a:gd name="T48" fmla="*/ 158 w 336"/>
                    <a:gd name="T49" fmla="*/ 86 h 356"/>
                    <a:gd name="T50" fmla="*/ 183 w 336"/>
                    <a:gd name="T51" fmla="*/ 85 h 356"/>
                    <a:gd name="T52" fmla="*/ 193 w 336"/>
                    <a:gd name="T53" fmla="*/ 85 h 356"/>
                    <a:gd name="T54" fmla="*/ 190 w 336"/>
                    <a:gd name="T55" fmla="*/ 88 h 356"/>
                    <a:gd name="T56" fmla="*/ 193 w 336"/>
                    <a:gd name="T57" fmla="*/ 98 h 356"/>
                    <a:gd name="T58" fmla="*/ 184 w 336"/>
                    <a:gd name="T59" fmla="*/ 108 h 356"/>
                    <a:gd name="T60" fmla="*/ 168 w 336"/>
                    <a:gd name="T61" fmla="*/ 105 h 356"/>
                    <a:gd name="T62" fmla="*/ 151 w 336"/>
                    <a:gd name="T63" fmla="*/ 117 h 356"/>
                    <a:gd name="T64" fmla="*/ 150 w 336"/>
                    <a:gd name="T65" fmla="*/ 118 h 356"/>
                    <a:gd name="T66" fmla="*/ 153 w 336"/>
                    <a:gd name="T67" fmla="*/ 149 h 356"/>
                    <a:gd name="T68" fmla="*/ 150 w 336"/>
                    <a:gd name="T69" fmla="*/ 141 h 356"/>
                    <a:gd name="T70" fmla="*/ 157 w 336"/>
                    <a:gd name="T71" fmla="*/ 163 h 356"/>
                    <a:gd name="T72" fmla="*/ 166 w 336"/>
                    <a:gd name="T73" fmla="*/ 176 h 356"/>
                    <a:gd name="T74" fmla="*/ 176 w 336"/>
                    <a:gd name="T75" fmla="*/ 186 h 356"/>
                    <a:gd name="T76" fmla="*/ 190 w 336"/>
                    <a:gd name="T77" fmla="*/ 192 h 356"/>
                    <a:gd name="T78" fmla="*/ 200 w 336"/>
                    <a:gd name="T79" fmla="*/ 198 h 356"/>
                    <a:gd name="T80" fmla="*/ 209 w 336"/>
                    <a:gd name="T81" fmla="*/ 201 h 356"/>
                    <a:gd name="T82" fmla="*/ 226 w 336"/>
                    <a:gd name="T83" fmla="*/ 218 h 356"/>
                    <a:gd name="T84" fmla="*/ 232 w 336"/>
                    <a:gd name="T85" fmla="*/ 221 h 356"/>
                    <a:gd name="T86" fmla="*/ 238 w 336"/>
                    <a:gd name="T87" fmla="*/ 227 h 356"/>
                    <a:gd name="T88" fmla="*/ 248 w 336"/>
                    <a:gd name="T89" fmla="*/ 237 h 356"/>
                    <a:gd name="T90" fmla="*/ 257 w 336"/>
                    <a:gd name="T91" fmla="*/ 250 h 356"/>
                    <a:gd name="T92" fmla="*/ 255 w 336"/>
                    <a:gd name="T93" fmla="*/ 256 h 356"/>
                    <a:gd name="T94" fmla="*/ 270 w 336"/>
                    <a:gd name="T95" fmla="*/ 263 h 356"/>
                    <a:gd name="T96" fmla="*/ 281 w 336"/>
                    <a:gd name="T97" fmla="*/ 272 h 356"/>
                    <a:gd name="T98" fmla="*/ 302 w 336"/>
                    <a:gd name="T99" fmla="*/ 273 h 356"/>
                    <a:gd name="T100" fmla="*/ 308 w 336"/>
                    <a:gd name="T101" fmla="*/ 275 h 356"/>
                    <a:gd name="T102" fmla="*/ 310 w 336"/>
                    <a:gd name="T103" fmla="*/ 276 h 356"/>
                    <a:gd name="T104" fmla="*/ 322 w 336"/>
                    <a:gd name="T105" fmla="*/ 288 h 356"/>
                    <a:gd name="T106" fmla="*/ 325 w 336"/>
                    <a:gd name="T107" fmla="*/ 312 h 356"/>
                    <a:gd name="T108" fmla="*/ 325 w 336"/>
                    <a:gd name="T109" fmla="*/ 328 h 356"/>
                    <a:gd name="T110" fmla="*/ 322 w 336"/>
                    <a:gd name="T111" fmla="*/ 327 h 356"/>
                    <a:gd name="T112" fmla="*/ 322 w 336"/>
                    <a:gd name="T113" fmla="*/ 333 h 356"/>
                    <a:gd name="T114" fmla="*/ 331 w 336"/>
                    <a:gd name="T115" fmla="*/ 346 h 3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336" h="356">
                      <a:moveTo>
                        <a:pt x="9" y="8"/>
                      </a:moveTo>
                      <a:lnTo>
                        <a:pt x="9" y="8"/>
                      </a:lnTo>
                      <a:lnTo>
                        <a:pt x="0" y="11"/>
                      </a:lnTo>
                      <a:lnTo>
                        <a:pt x="2" y="13"/>
                      </a:lnTo>
                      <a:lnTo>
                        <a:pt x="2" y="13"/>
                      </a:lnTo>
                      <a:lnTo>
                        <a:pt x="11" y="11"/>
                      </a:lnTo>
                      <a:lnTo>
                        <a:pt x="9" y="8"/>
                      </a:lnTo>
                      <a:close/>
                      <a:moveTo>
                        <a:pt x="19" y="1"/>
                      </a:moveTo>
                      <a:lnTo>
                        <a:pt x="19" y="1"/>
                      </a:lnTo>
                      <a:lnTo>
                        <a:pt x="18" y="5"/>
                      </a:lnTo>
                      <a:lnTo>
                        <a:pt x="18" y="5"/>
                      </a:lnTo>
                      <a:lnTo>
                        <a:pt x="16" y="7"/>
                      </a:lnTo>
                      <a:lnTo>
                        <a:pt x="16" y="7"/>
                      </a:lnTo>
                      <a:lnTo>
                        <a:pt x="16" y="7"/>
                      </a:lnTo>
                      <a:lnTo>
                        <a:pt x="15" y="7"/>
                      </a:lnTo>
                      <a:lnTo>
                        <a:pt x="15" y="10"/>
                      </a:lnTo>
                      <a:lnTo>
                        <a:pt x="15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9" y="8"/>
                      </a:lnTo>
                      <a:lnTo>
                        <a:pt x="19" y="8"/>
                      </a:lnTo>
                      <a:lnTo>
                        <a:pt x="21" y="5"/>
                      </a:lnTo>
                      <a:lnTo>
                        <a:pt x="21" y="5"/>
                      </a:lnTo>
                      <a:lnTo>
                        <a:pt x="22" y="2"/>
                      </a:lnTo>
                      <a:lnTo>
                        <a:pt x="19" y="1"/>
                      </a:lnTo>
                      <a:close/>
                      <a:moveTo>
                        <a:pt x="35" y="0"/>
                      </a:moveTo>
                      <a:lnTo>
                        <a:pt x="25" y="0"/>
                      </a:lnTo>
                      <a:lnTo>
                        <a:pt x="25" y="1"/>
                      </a:lnTo>
                      <a:lnTo>
                        <a:pt x="35" y="1"/>
                      </a:lnTo>
                      <a:lnTo>
                        <a:pt x="35" y="0"/>
                      </a:lnTo>
                      <a:close/>
                      <a:moveTo>
                        <a:pt x="51" y="0"/>
                      </a:moveTo>
                      <a:lnTo>
                        <a:pt x="41" y="0"/>
                      </a:lnTo>
                      <a:lnTo>
                        <a:pt x="41" y="1"/>
                      </a:lnTo>
                      <a:lnTo>
                        <a:pt x="51" y="1"/>
                      </a:lnTo>
                      <a:lnTo>
                        <a:pt x="51" y="0"/>
                      </a:lnTo>
                      <a:close/>
                      <a:moveTo>
                        <a:pt x="66" y="0"/>
                      </a:moveTo>
                      <a:lnTo>
                        <a:pt x="56" y="0"/>
                      </a:lnTo>
                      <a:lnTo>
                        <a:pt x="56" y="1"/>
                      </a:lnTo>
                      <a:lnTo>
                        <a:pt x="66" y="1"/>
                      </a:lnTo>
                      <a:lnTo>
                        <a:pt x="66" y="0"/>
                      </a:lnTo>
                      <a:close/>
                      <a:moveTo>
                        <a:pt x="77" y="5"/>
                      </a:moveTo>
                      <a:lnTo>
                        <a:pt x="77" y="0"/>
                      </a:lnTo>
                      <a:lnTo>
                        <a:pt x="77" y="0"/>
                      </a:lnTo>
                      <a:lnTo>
                        <a:pt x="76" y="0"/>
                      </a:lnTo>
                      <a:lnTo>
                        <a:pt x="71" y="0"/>
                      </a:lnTo>
                      <a:lnTo>
                        <a:pt x="71" y="1"/>
                      </a:lnTo>
                      <a:lnTo>
                        <a:pt x="76" y="1"/>
                      </a:lnTo>
                      <a:lnTo>
                        <a:pt x="76" y="0"/>
                      </a:lnTo>
                      <a:lnTo>
                        <a:pt x="74" y="0"/>
                      </a:lnTo>
                      <a:lnTo>
                        <a:pt x="74" y="5"/>
                      </a:lnTo>
                      <a:lnTo>
                        <a:pt x="77" y="5"/>
                      </a:lnTo>
                      <a:close/>
                      <a:moveTo>
                        <a:pt x="79" y="20"/>
                      </a:moveTo>
                      <a:lnTo>
                        <a:pt x="79" y="20"/>
                      </a:lnTo>
                      <a:lnTo>
                        <a:pt x="77" y="15"/>
                      </a:lnTo>
                      <a:lnTo>
                        <a:pt x="77" y="10"/>
                      </a:lnTo>
                      <a:lnTo>
                        <a:pt x="74" y="10"/>
                      </a:lnTo>
                      <a:lnTo>
                        <a:pt x="74" y="15"/>
                      </a:lnTo>
                      <a:lnTo>
                        <a:pt x="74" y="15"/>
                      </a:lnTo>
                      <a:lnTo>
                        <a:pt x="76" y="21"/>
                      </a:lnTo>
                      <a:lnTo>
                        <a:pt x="79" y="20"/>
                      </a:lnTo>
                      <a:close/>
                      <a:moveTo>
                        <a:pt x="84" y="33"/>
                      </a:moveTo>
                      <a:lnTo>
                        <a:pt x="84" y="33"/>
                      </a:lnTo>
                      <a:lnTo>
                        <a:pt x="80" y="24"/>
                      </a:lnTo>
                      <a:lnTo>
                        <a:pt x="77" y="26"/>
                      </a:lnTo>
                      <a:lnTo>
                        <a:pt x="77" y="26"/>
                      </a:lnTo>
                      <a:lnTo>
                        <a:pt x="82" y="34"/>
                      </a:lnTo>
                      <a:lnTo>
                        <a:pt x="84" y="33"/>
                      </a:lnTo>
                      <a:close/>
                      <a:moveTo>
                        <a:pt x="95" y="40"/>
                      </a:moveTo>
                      <a:lnTo>
                        <a:pt x="95" y="40"/>
                      </a:lnTo>
                      <a:lnTo>
                        <a:pt x="92" y="40"/>
                      </a:lnTo>
                      <a:lnTo>
                        <a:pt x="92" y="40"/>
                      </a:lnTo>
                      <a:lnTo>
                        <a:pt x="89" y="39"/>
                      </a:lnTo>
                      <a:lnTo>
                        <a:pt x="87" y="39"/>
                      </a:lnTo>
                      <a:lnTo>
                        <a:pt x="87" y="37"/>
                      </a:lnTo>
                      <a:lnTo>
                        <a:pt x="84" y="39"/>
                      </a:lnTo>
                      <a:lnTo>
                        <a:pt x="86" y="40"/>
                      </a:lnTo>
                      <a:lnTo>
                        <a:pt x="86" y="40"/>
                      </a:lnTo>
                      <a:lnTo>
                        <a:pt x="89" y="42"/>
                      </a:lnTo>
                      <a:lnTo>
                        <a:pt x="92" y="42"/>
                      </a:lnTo>
                      <a:lnTo>
                        <a:pt x="92" y="42"/>
                      </a:lnTo>
                      <a:lnTo>
                        <a:pt x="96" y="42"/>
                      </a:lnTo>
                      <a:lnTo>
                        <a:pt x="95" y="40"/>
                      </a:lnTo>
                      <a:close/>
                      <a:moveTo>
                        <a:pt x="111" y="36"/>
                      </a:moveTo>
                      <a:lnTo>
                        <a:pt x="111" y="36"/>
                      </a:lnTo>
                      <a:lnTo>
                        <a:pt x="100" y="39"/>
                      </a:lnTo>
                      <a:lnTo>
                        <a:pt x="100" y="42"/>
                      </a:lnTo>
                      <a:lnTo>
                        <a:pt x="100" y="42"/>
                      </a:lnTo>
                      <a:lnTo>
                        <a:pt x="111" y="39"/>
                      </a:lnTo>
                      <a:lnTo>
                        <a:pt x="111" y="36"/>
                      </a:lnTo>
                      <a:close/>
                      <a:moveTo>
                        <a:pt x="115" y="26"/>
                      </a:moveTo>
                      <a:lnTo>
                        <a:pt x="115" y="26"/>
                      </a:lnTo>
                      <a:lnTo>
                        <a:pt x="113" y="31"/>
                      </a:lnTo>
                      <a:lnTo>
                        <a:pt x="113" y="31"/>
                      </a:lnTo>
                      <a:lnTo>
                        <a:pt x="113" y="36"/>
                      </a:lnTo>
                      <a:lnTo>
                        <a:pt x="116" y="36"/>
                      </a:lnTo>
                      <a:lnTo>
                        <a:pt x="116" y="36"/>
                      </a:lnTo>
                      <a:lnTo>
                        <a:pt x="116" y="31"/>
                      </a:lnTo>
                      <a:lnTo>
                        <a:pt x="116" y="31"/>
                      </a:lnTo>
                      <a:lnTo>
                        <a:pt x="116" y="26"/>
                      </a:lnTo>
                      <a:lnTo>
                        <a:pt x="115" y="26"/>
                      </a:lnTo>
                      <a:close/>
                      <a:moveTo>
                        <a:pt x="128" y="21"/>
                      </a:moveTo>
                      <a:lnTo>
                        <a:pt x="128" y="21"/>
                      </a:lnTo>
                      <a:lnTo>
                        <a:pt x="119" y="20"/>
                      </a:lnTo>
                      <a:lnTo>
                        <a:pt x="119" y="20"/>
                      </a:lnTo>
                      <a:lnTo>
                        <a:pt x="118" y="20"/>
                      </a:lnTo>
                      <a:lnTo>
                        <a:pt x="118" y="23"/>
                      </a:lnTo>
                      <a:lnTo>
                        <a:pt x="118" y="23"/>
                      </a:lnTo>
                      <a:lnTo>
                        <a:pt x="119" y="23"/>
                      </a:lnTo>
                      <a:lnTo>
                        <a:pt x="119" y="23"/>
                      </a:lnTo>
                      <a:lnTo>
                        <a:pt x="128" y="24"/>
                      </a:lnTo>
                      <a:lnTo>
                        <a:pt x="128" y="21"/>
                      </a:lnTo>
                      <a:close/>
                      <a:moveTo>
                        <a:pt x="142" y="29"/>
                      </a:moveTo>
                      <a:lnTo>
                        <a:pt x="142" y="29"/>
                      </a:lnTo>
                      <a:lnTo>
                        <a:pt x="141" y="27"/>
                      </a:lnTo>
                      <a:lnTo>
                        <a:pt x="141" y="27"/>
                      </a:lnTo>
                      <a:lnTo>
                        <a:pt x="138" y="26"/>
                      </a:lnTo>
                      <a:lnTo>
                        <a:pt x="138" y="26"/>
                      </a:lnTo>
                      <a:lnTo>
                        <a:pt x="134" y="23"/>
                      </a:lnTo>
                      <a:lnTo>
                        <a:pt x="132" y="26"/>
                      </a:lnTo>
                      <a:lnTo>
                        <a:pt x="132" y="26"/>
                      </a:lnTo>
                      <a:lnTo>
                        <a:pt x="137" y="27"/>
                      </a:lnTo>
                      <a:lnTo>
                        <a:pt x="137" y="27"/>
                      </a:lnTo>
                      <a:lnTo>
                        <a:pt x="138" y="29"/>
                      </a:lnTo>
                      <a:lnTo>
                        <a:pt x="138" y="29"/>
                      </a:lnTo>
                      <a:lnTo>
                        <a:pt x="141" y="30"/>
                      </a:lnTo>
                      <a:lnTo>
                        <a:pt x="142" y="29"/>
                      </a:lnTo>
                      <a:close/>
                      <a:moveTo>
                        <a:pt x="157" y="27"/>
                      </a:moveTo>
                      <a:lnTo>
                        <a:pt x="157" y="27"/>
                      </a:lnTo>
                      <a:lnTo>
                        <a:pt x="147" y="29"/>
                      </a:lnTo>
                      <a:lnTo>
                        <a:pt x="147" y="31"/>
                      </a:lnTo>
                      <a:lnTo>
                        <a:pt x="147" y="31"/>
                      </a:lnTo>
                      <a:lnTo>
                        <a:pt x="157" y="30"/>
                      </a:lnTo>
                      <a:lnTo>
                        <a:pt x="157" y="27"/>
                      </a:lnTo>
                      <a:close/>
                      <a:moveTo>
                        <a:pt x="160" y="42"/>
                      </a:moveTo>
                      <a:lnTo>
                        <a:pt x="160" y="42"/>
                      </a:lnTo>
                      <a:lnTo>
                        <a:pt x="160" y="31"/>
                      </a:lnTo>
                      <a:lnTo>
                        <a:pt x="160" y="31"/>
                      </a:lnTo>
                      <a:lnTo>
                        <a:pt x="157" y="31"/>
                      </a:lnTo>
                      <a:lnTo>
                        <a:pt x="157" y="31"/>
                      </a:lnTo>
                      <a:lnTo>
                        <a:pt x="157" y="31"/>
                      </a:lnTo>
                      <a:lnTo>
                        <a:pt x="157" y="42"/>
                      </a:lnTo>
                      <a:lnTo>
                        <a:pt x="160" y="42"/>
                      </a:lnTo>
                      <a:close/>
                      <a:moveTo>
                        <a:pt x="157" y="56"/>
                      </a:moveTo>
                      <a:lnTo>
                        <a:pt x="157" y="56"/>
                      </a:lnTo>
                      <a:lnTo>
                        <a:pt x="157" y="55"/>
                      </a:lnTo>
                      <a:lnTo>
                        <a:pt x="157" y="55"/>
                      </a:lnTo>
                      <a:lnTo>
                        <a:pt x="157" y="55"/>
                      </a:lnTo>
                      <a:lnTo>
                        <a:pt x="158" y="47"/>
                      </a:lnTo>
                      <a:lnTo>
                        <a:pt x="155" y="46"/>
                      </a:lnTo>
                      <a:lnTo>
                        <a:pt x="155" y="46"/>
                      </a:lnTo>
                      <a:lnTo>
                        <a:pt x="154" y="55"/>
                      </a:lnTo>
                      <a:lnTo>
                        <a:pt x="154" y="55"/>
                      </a:lnTo>
                      <a:lnTo>
                        <a:pt x="154" y="55"/>
                      </a:lnTo>
                      <a:lnTo>
                        <a:pt x="155" y="57"/>
                      </a:lnTo>
                      <a:lnTo>
                        <a:pt x="157" y="56"/>
                      </a:lnTo>
                      <a:close/>
                      <a:moveTo>
                        <a:pt x="167" y="68"/>
                      </a:moveTo>
                      <a:lnTo>
                        <a:pt x="167" y="68"/>
                      </a:lnTo>
                      <a:lnTo>
                        <a:pt x="160" y="60"/>
                      </a:lnTo>
                      <a:lnTo>
                        <a:pt x="158" y="62"/>
                      </a:lnTo>
                      <a:lnTo>
                        <a:pt x="158" y="62"/>
                      </a:lnTo>
                      <a:lnTo>
                        <a:pt x="164" y="69"/>
                      </a:lnTo>
                      <a:lnTo>
                        <a:pt x="167" y="68"/>
                      </a:lnTo>
                      <a:close/>
                      <a:moveTo>
                        <a:pt x="164" y="82"/>
                      </a:moveTo>
                      <a:lnTo>
                        <a:pt x="164" y="82"/>
                      </a:lnTo>
                      <a:lnTo>
                        <a:pt x="167" y="78"/>
                      </a:lnTo>
                      <a:lnTo>
                        <a:pt x="167" y="78"/>
                      </a:lnTo>
                      <a:lnTo>
                        <a:pt x="168" y="76"/>
                      </a:lnTo>
                      <a:lnTo>
                        <a:pt x="170" y="73"/>
                      </a:lnTo>
                      <a:lnTo>
                        <a:pt x="170" y="72"/>
                      </a:lnTo>
                      <a:lnTo>
                        <a:pt x="167" y="73"/>
                      </a:lnTo>
                      <a:lnTo>
                        <a:pt x="167" y="73"/>
                      </a:lnTo>
                      <a:lnTo>
                        <a:pt x="167" y="73"/>
                      </a:lnTo>
                      <a:lnTo>
                        <a:pt x="166" y="76"/>
                      </a:lnTo>
                      <a:lnTo>
                        <a:pt x="166" y="76"/>
                      </a:lnTo>
                      <a:lnTo>
                        <a:pt x="163" y="79"/>
                      </a:lnTo>
                      <a:lnTo>
                        <a:pt x="164" y="82"/>
                      </a:lnTo>
                      <a:close/>
                      <a:moveTo>
                        <a:pt x="168" y="86"/>
                      </a:moveTo>
                      <a:lnTo>
                        <a:pt x="168" y="86"/>
                      </a:lnTo>
                      <a:lnTo>
                        <a:pt x="161" y="85"/>
                      </a:lnTo>
                      <a:lnTo>
                        <a:pt x="161" y="85"/>
                      </a:lnTo>
                      <a:lnTo>
                        <a:pt x="160" y="85"/>
                      </a:lnTo>
                      <a:lnTo>
                        <a:pt x="160" y="85"/>
                      </a:lnTo>
                      <a:lnTo>
                        <a:pt x="160" y="85"/>
                      </a:lnTo>
                      <a:lnTo>
                        <a:pt x="160" y="85"/>
                      </a:lnTo>
                      <a:lnTo>
                        <a:pt x="160" y="85"/>
                      </a:lnTo>
                      <a:lnTo>
                        <a:pt x="160" y="85"/>
                      </a:lnTo>
                      <a:lnTo>
                        <a:pt x="160" y="85"/>
                      </a:lnTo>
                      <a:lnTo>
                        <a:pt x="160" y="85"/>
                      </a:lnTo>
                      <a:lnTo>
                        <a:pt x="160" y="85"/>
                      </a:lnTo>
                      <a:lnTo>
                        <a:pt x="160" y="85"/>
                      </a:lnTo>
                      <a:lnTo>
                        <a:pt x="160" y="85"/>
                      </a:lnTo>
                      <a:lnTo>
                        <a:pt x="160" y="85"/>
                      </a:lnTo>
                      <a:lnTo>
                        <a:pt x="160" y="85"/>
                      </a:lnTo>
                      <a:lnTo>
                        <a:pt x="160" y="85"/>
                      </a:lnTo>
                      <a:lnTo>
                        <a:pt x="160" y="85"/>
                      </a:lnTo>
                      <a:lnTo>
                        <a:pt x="158" y="84"/>
                      </a:lnTo>
                      <a:lnTo>
                        <a:pt x="158" y="84"/>
                      </a:lnTo>
                      <a:lnTo>
                        <a:pt x="158" y="85"/>
                      </a:lnTo>
                      <a:lnTo>
                        <a:pt x="158" y="85"/>
                      </a:lnTo>
                      <a:lnTo>
                        <a:pt x="158" y="86"/>
                      </a:lnTo>
                      <a:lnTo>
                        <a:pt x="158" y="86"/>
                      </a:lnTo>
                      <a:lnTo>
                        <a:pt x="160" y="88"/>
                      </a:lnTo>
                      <a:lnTo>
                        <a:pt x="160" y="88"/>
                      </a:lnTo>
                      <a:lnTo>
                        <a:pt x="168" y="88"/>
                      </a:lnTo>
                      <a:lnTo>
                        <a:pt x="168" y="86"/>
                      </a:lnTo>
                      <a:close/>
                      <a:moveTo>
                        <a:pt x="183" y="85"/>
                      </a:moveTo>
                      <a:lnTo>
                        <a:pt x="183" y="85"/>
                      </a:lnTo>
                      <a:lnTo>
                        <a:pt x="183" y="85"/>
                      </a:lnTo>
                      <a:lnTo>
                        <a:pt x="173" y="86"/>
                      </a:lnTo>
                      <a:lnTo>
                        <a:pt x="173" y="88"/>
                      </a:lnTo>
                      <a:lnTo>
                        <a:pt x="173" y="88"/>
                      </a:lnTo>
                      <a:lnTo>
                        <a:pt x="183" y="88"/>
                      </a:lnTo>
                      <a:lnTo>
                        <a:pt x="183" y="88"/>
                      </a:lnTo>
                      <a:lnTo>
                        <a:pt x="183" y="85"/>
                      </a:lnTo>
                      <a:close/>
                      <a:moveTo>
                        <a:pt x="193" y="94"/>
                      </a:moveTo>
                      <a:lnTo>
                        <a:pt x="193" y="85"/>
                      </a:lnTo>
                      <a:lnTo>
                        <a:pt x="192" y="85"/>
                      </a:lnTo>
                      <a:lnTo>
                        <a:pt x="192" y="85"/>
                      </a:lnTo>
                      <a:lnTo>
                        <a:pt x="189" y="85"/>
                      </a:lnTo>
                      <a:lnTo>
                        <a:pt x="189" y="88"/>
                      </a:lnTo>
                      <a:lnTo>
                        <a:pt x="189" y="88"/>
                      </a:lnTo>
                      <a:lnTo>
                        <a:pt x="190" y="88"/>
                      </a:lnTo>
                      <a:lnTo>
                        <a:pt x="190" y="88"/>
                      </a:lnTo>
                      <a:lnTo>
                        <a:pt x="190" y="88"/>
                      </a:lnTo>
                      <a:lnTo>
                        <a:pt x="192" y="86"/>
                      </a:lnTo>
                      <a:lnTo>
                        <a:pt x="190" y="86"/>
                      </a:lnTo>
                      <a:lnTo>
                        <a:pt x="190" y="94"/>
                      </a:lnTo>
                      <a:lnTo>
                        <a:pt x="193" y="94"/>
                      </a:lnTo>
                      <a:close/>
                      <a:moveTo>
                        <a:pt x="190" y="108"/>
                      </a:moveTo>
                      <a:lnTo>
                        <a:pt x="192" y="108"/>
                      </a:lnTo>
                      <a:lnTo>
                        <a:pt x="193" y="108"/>
                      </a:lnTo>
                      <a:lnTo>
                        <a:pt x="193" y="98"/>
                      </a:lnTo>
                      <a:lnTo>
                        <a:pt x="190" y="98"/>
                      </a:lnTo>
                      <a:lnTo>
                        <a:pt x="190" y="107"/>
                      </a:lnTo>
                      <a:lnTo>
                        <a:pt x="192" y="107"/>
                      </a:lnTo>
                      <a:lnTo>
                        <a:pt x="192" y="105"/>
                      </a:lnTo>
                      <a:lnTo>
                        <a:pt x="190" y="105"/>
                      </a:lnTo>
                      <a:lnTo>
                        <a:pt x="190" y="108"/>
                      </a:lnTo>
                      <a:close/>
                      <a:moveTo>
                        <a:pt x="174" y="108"/>
                      </a:moveTo>
                      <a:lnTo>
                        <a:pt x="184" y="108"/>
                      </a:lnTo>
                      <a:lnTo>
                        <a:pt x="184" y="105"/>
                      </a:lnTo>
                      <a:lnTo>
                        <a:pt x="174" y="105"/>
                      </a:lnTo>
                      <a:lnTo>
                        <a:pt x="174" y="108"/>
                      </a:lnTo>
                      <a:close/>
                      <a:moveTo>
                        <a:pt x="160" y="110"/>
                      </a:moveTo>
                      <a:lnTo>
                        <a:pt x="160" y="110"/>
                      </a:lnTo>
                      <a:lnTo>
                        <a:pt x="166" y="108"/>
                      </a:lnTo>
                      <a:lnTo>
                        <a:pt x="168" y="108"/>
                      </a:lnTo>
                      <a:lnTo>
                        <a:pt x="168" y="105"/>
                      </a:lnTo>
                      <a:lnTo>
                        <a:pt x="166" y="105"/>
                      </a:lnTo>
                      <a:lnTo>
                        <a:pt x="166" y="105"/>
                      </a:lnTo>
                      <a:lnTo>
                        <a:pt x="163" y="105"/>
                      </a:lnTo>
                      <a:lnTo>
                        <a:pt x="158" y="107"/>
                      </a:lnTo>
                      <a:lnTo>
                        <a:pt x="160" y="110"/>
                      </a:lnTo>
                      <a:close/>
                      <a:moveTo>
                        <a:pt x="150" y="118"/>
                      </a:moveTo>
                      <a:lnTo>
                        <a:pt x="150" y="118"/>
                      </a:lnTo>
                      <a:lnTo>
                        <a:pt x="151" y="117"/>
                      </a:lnTo>
                      <a:lnTo>
                        <a:pt x="151" y="117"/>
                      </a:lnTo>
                      <a:lnTo>
                        <a:pt x="155" y="113"/>
                      </a:lnTo>
                      <a:lnTo>
                        <a:pt x="154" y="110"/>
                      </a:lnTo>
                      <a:lnTo>
                        <a:pt x="154" y="110"/>
                      </a:lnTo>
                      <a:lnTo>
                        <a:pt x="150" y="115"/>
                      </a:lnTo>
                      <a:lnTo>
                        <a:pt x="150" y="115"/>
                      </a:lnTo>
                      <a:lnTo>
                        <a:pt x="147" y="118"/>
                      </a:lnTo>
                      <a:lnTo>
                        <a:pt x="150" y="118"/>
                      </a:lnTo>
                      <a:close/>
                      <a:moveTo>
                        <a:pt x="151" y="133"/>
                      </a:moveTo>
                      <a:lnTo>
                        <a:pt x="151" y="133"/>
                      </a:lnTo>
                      <a:lnTo>
                        <a:pt x="150" y="124"/>
                      </a:lnTo>
                      <a:lnTo>
                        <a:pt x="147" y="124"/>
                      </a:lnTo>
                      <a:lnTo>
                        <a:pt x="147" y="124"/>
                      </a:lnTo>
                      <a:lnTo>
                        <a:pt x="148" y="134"/>
                      </a:lnTo>
                      <a:lnTo>
                        <a:pt x="151" y="133"/>
                      </a:lnTo>
                      <a:close/>
                      <a:moveTo>
                        <a:pt x="153" y="149"/>
                      </a:moveTo>
                      <a:lnTo>
                        <a:pt x="153" y="149"/>
                      </a:lnTo>
                      <a:lnTo>
                        <a:pt x="153" y="141"/>
                      </a:lnTo>
                      <a:lnTo>
                        <a:pt x="153" y="141"/>
                      </a:lnTo>
                      <a:lnTo>
                        <a:pt x="153" y="139"/>
                      </a:lnTo>
                      <a:lnTo>
                        <a:pt x="150" y="139"/>
                      </a:lnTo>
                      <a:lnTo>
                        <a:pt x="150" y="139"/>
                      </a:lnTo>
                      <a:lnTo>
                        <a:pt x="150" y="141"/>
                      </a:lnTo>
                      <a:lnTo>
                        <a:pt x="150" y="141"/>
                      </a:lnTo>
                      <a:lnTo>
                        <a:pt x="151" y="149"/>
                      </a:lnTo>
                      <a:lnTo>
                        <a:pt x="153" y="149"/>
                      </a:lnTo>
                      <a:close/>
                      <a:moveTo>
                        <a:pt x="160" y="162"/>
                      </a:moveTo>
                      <a:lnTo>
                        <a:pt x="160" y="162"/>
                      </a:lnTo>
                      <a:lnTo>
                        <a:pt x="155" y="153"/>
                      </a:lnTo>
                      <a:lnTo>
                        <a:pt x="153" y="155"/>
                      </a:lnTo>
                      <a:lnTo>
                        <a:pt x="153" y="155"/>
                      </a:lnTo>
                      <a:lnTo>
                        <a:pt x="157" y="163"/>
                      </a:lnTo>
                      <a:lnTo>
                        <a:pt x="160" y="162"/>
                      </a:lnTo>
                      <a:close/>
                      <a:moveTo>
                        <a:pt x="167" y="175"/>
                      </a:moveTo>
                      <a:lnTo>
                        <a:pt x="167" y="175"/>
                      </a:lnTo>
                      <a:lnTo>
                        <a:pt x="167" y="175"/>
                      </a:lnTo>
                      <a:lnTo>
                        <a:pt x="161" y="166"/>
                      </a:lnTo>
                      <a:lnTo>
                        <a:pt x="160" y="168"/>
                      </a:lnTo>
                      <a:lnTo>
                        <a:pt x="160" y="168"/>
                      </a:lnTo>
                      <a:lnTo>
                        <a:pt x="166" y="176"/>
                      </a:lnTo>
                      <a:lnTo>
                        <a:pt x="166" y="176"/>
                      </a:lnTo>
                      <a:lnTo>
                        <a:pt x="167" y="175"/>
                      </a:lnTo>
                      <a:close/>
                      <a:moveTo>
                        <a:pt x="179" y="185"/>
                      </a:moveTo>
                      <a:lnTo>
                        <a:pt x="179" y="185"/>
                      </a:lnTo>
                      <a:lnTo>
                        <a:pt x="170" y="179"/>
                      </a:lnTo>
                      <a:lnTo>
                        <a:pt x="168" y="181"/>
                      </a:lnTo>
                      <a:lnTo>
                        <a:pt x="168" y="181"/>
                      </a:lnTo>
                      <a:lnTo>
                        <a:pt x="176" y="186"/>
                      </a:lnTo>
                      <a:lnTo>
                        <a:pt x="179" y="185"/>
                      </a:lnTo>
                      <a:close/>
                      <a:moveTo>
                        <a:pt x="190" y="192"/>
                      </a:moveTo>
                      <a:lnTo>
                        <a:pt x="190" y="192"/>
                      </a:lnTo>
                      <a:lnTo>
                        <a:pt x="182" y="188"/>
                      </a:lnTo>
                      <a:lnTo>
                        <a:pt x="180" y="189"/>
                      </a:lnTo>
                      <a:lnTo>
                        <a:pt x="180" y="189"/>
                      </a:lnTo>
                      <a:lnTo>
                        <a:pt x="190" y="195"/>
                      </a:lnTo>
                      <a:lnTo>
                        <a:pt x="190" y="192"/>
                      </a:lnTo>
                      <a:close/>
                      <a:moveTo>
                        <a:pt x="206" y="197"/>
                      </a:moveTo>
                      <a:lnTo>
                        <a:pt x="206" y="197"/>
                      </a:lnTo>
                      <a:lnTo>
                        <a:pt x="200" y="195"/>
                      </a:lnTo>
                      <a:lnTo>
                        <a:pt x="200" y="195"/>
                      </a:lnTo>
                      <a:lnTo>
                        <a:pt x="196" y="194"/>
                      </a:lnTo>
                      <a:lnTo>
                        <a:pt x="195" y="197"/>
                      </a:lnTo>
                      <a:lnTo>
                        <a:pt x="195" y="197"/>
                      </a:lnTo>
                      <a:lnTo>
                        <a:pt x="200" y="198"/>
                      </a:lnTo>
                      <a:lnTo>
                        <a:pt x="200" y="198"/>
                      </a:lnTo>
                      <a:lnTo>
                        <a:pt x="205" y="198"/>
                      </a:lnTo>
                      <a:lnTo>
                        <a:pt x="206" y="197"/>
                      </a:lnTo>
                      <a:close/>
                      <a:moveTo>
                        <a:pt x="219" y="205"/>
                      </a:moveTo>
                      <a:lnTo>
                        <a:pt x="219" y="205"/>
                      </a:lnTo>
                      <a:lnTo>
                        <a:pt x="210" y="198"/>
                      </a:lnTo>
                      <a:lnTo>
                        <a:pt x="209" y="201"/>
                      </a:lnTo>
                      <a:lnTo>
                        <a:pt x="209" y="201"/>
                      </a:lnTo>
                      <a:lnTo>
                        <a:pt x="216" y="207"/>
                      </a:lnTo>
                      <a:lnTo>
                        <a:pt x="219" y="205"/>
                      </a:lnTo>
                      <a:close/>
                      <a:moveTo>
                        <a:pt x="229" y="217"/>
                      </a:moveTo>
                      <a:lnTo>
                        <a:pt x="229" y="217"/>
                      </a:lnTo>
                      <a:lnTo>
                        <a:pt x="222" y="208"/>
                      </a:lnTo>
                      <a:lnTo>
                        <a:pt x="221" y="210"/>
                      </a:lnTo>
                      <a:lnTo>
                        <a:pt x="221" y="210"/>
                      </a:lnTo>
                      <a:lnTo>
                        <a:pt x="226" y="218"/>
                      </a:lnTo>
                      <a:lnTo>
                        <a:pt x="229" y="217"/>
                      </a:lnTo>
                      <a:close/>
                      <a:moveTo>
                        <a:pt x="238" y="227"/>
                      </a:moveTo>
                      <a:lnTo>
                        <a:pt x="238" y="227"/>
                      </a:lnTo>
                      <a:lnTo>
                        <a:pt x="237" y="225"/>
                      </a:lnTo>
                      <a:lnTo>
                        <a:pt x="237" y="225"/>
                      </a:lnTo>
                      <a:lnTo>
                        <a:pt x="234" y="223"/>
                      </a:lnTo>
                      <a:lnTo>
                        <a:pt x="234" y="223"/>
                      </a:lnTo>
                      <a:lnTo>
                        <a:pt x="232" y="221"/>
                      </a:lnTo>
                      <a:lnTo>
                        <a:pt x="229" y="223"/>
                      </a:lnTo>
                      <a:lnTo>
                        <a:pt x="229" y="223"/>
                      </a:lnTo>
                      <a:lnTo>
                        <a:pt x="231" y="224"/>
                      </a:lnTo>
                      <a:lnTo>
                        <a:pt x="231" y="224"/>
                      </a:lnTo>
                      <a:lnTo>
                        <a:pt x="235" y="228"/>
                      </a:lnTo>
                      <a:lnTo>
                        <a:pt x="235" y="228"/>
                      </a:lnTo>
                      <a:lnTo>
                        <a:pt x="238" y="228"/>
                      </a:lnTo>
                      <a:lnTo>
                        <a:pt x="238" y="227"/>
                      </a:lnTo>
                      <a:close/>
                      <a:moveTo>
                        <a:pt x="250" y="237"/>
                      </a:moveTo>
                      <a:lnTo>
                        <a:pt x="250" y="237"/>
                      </a:lnTo>
                      <a:lnTo>
                        <a:pt x="245" y="228"/>
                      </a:lnTo>
                      <a:lnTo>
                        <a:pt x="244" y="228"/>
                      </a:lnTo>
                      <a:lnTo>
                        <a:pt x="242" y="230"/>
                      </a:lnTo>
                      <a:lnTo>
                        <a:pt x="242" y="231"/>
                      </a:lnTo>
                      <a:lnTo>
                        <a:pt x="242" y="231"/>
                      </a:lnTo>
                      <a:lnTo>
                        <a:pt x="248" y="237"/>
                      </a:lnTo>
                      <a:lnTo>
                        <a:pt x="250" y="237"/>
                      </a:lnTo>
                      <a:close/>
                      <a:moveTo>
                        <a:pt x="257" y="250"/>
                      </a:moveTo>
                      <a:lnTo>
                        <a:pt x="257" y="250"/>
                      </a:lnTo>
                      <a:lnTo>
                        <a:pt x="252" y="241"/>
                      </a:lnTo>
                      <a:lnTo>
                        <a:pt x="250" y="241"/>
                      </a:lnTo>
                      <a:lnTo>
                        <a:pt x="250" y="241"/>
                      </a:lnTo>
                      <a:lnTo>
                        <a:pt x="254" y="252"/>
                      </a:lnTo>
                      <a:lnTo>
                        <a:pt x="257" y="250"/>
                      </a:lnTo>
                      <a:close/>
                      <a:moveTo>
                        <a:pt x="264" y="262"/>
                      </a:moveTo>
                      <a:lnTo>
                        <a:pt x="264" y="262"/>
                      </a:lnTo>
                      <a:lnTo>
                        <a:pt x="261" y="259"/>
                      </a:lnTo>
                      <a:lnTo>
                        <a:pt x="260" y="257"/>
                      </a:lnTo>
                      <a:lnTo>
                        <a:pt x="260" y="257"/>
                      </a:lnTo>
                      <a:lnTo>
                        <a:pt x="258" y="254"/>
                      </a:lnTo>
                      <a:lnTo>
                        <a:pt x="255" y="256"/>
                      </a:lnTo>
                      <a:lnTo>
                        <a:pt x="255" y="256"/>
                      </a:lnTo>
                      <a:lnTo>
                        <a:pt x="257" y="259"/>
                      </a:lnTo>
                      <a:lnTo>
                        <a:pt x="257" y="259"/>
                      </a:lnTo>
                      <a:lnTo>
                        <a:pt x="260" y="262"/>
                      </a:lnTo>
                      <a:lnTo>
                        <a:pt x="264" y="263"/>
                      </a:lnTo>
                      <a:lnTo>
                        <a:pt x="264" y="262"/>
                      </a:lnTo>
                      <a:close/>
                      <a:moveTo>
                        <a:pt x="279" y="266"/>
                      </a:moveTo>
                      <a:lnTo>
                        <a:pt x="279" y="266"/>
                      </a:lnTo>
                      <a:lnTo>
                        <a:pt x="270" y="263"/>
                      </a:lnTo>
                      <a:lnTo>
                        <a:pt x="268" y="265"/>
                      </a:lnTo>
                      <a:lnTo>
                        <a:pt x="268" y="265"/>
                      </a:lnTo>
                      <a:lnTo>
                        <a:pt x="277" y="269"/>
                      </a:lnTo>
                      <a:lnTo>
                        <a:pt x="279" y="266"/>
                      </a:lnTo>
                      <a:close/>
                      <a:moveTo>
                        <a:pt x="293" y="272"/>
                      </a:moveTo>
                      <a:lnTo>
                        <a:pt x="293" y="272"/>
                      </a:lnTo>
                      <a:lnTo>
                        <a:pt x="283" y="269"/>
                      </a:lnTo>
                      <a:lnTo>
                        <a:pt x="281" y="272"/>
                      </a:lnTo>
                      <a:lnTo>
                        <a:pt x="281" y="272"/>
                      </a:lnTo>
                      <a:lnTo>
                        <a:pt x="292" y="275"/>
                      </a:lnTo>
                      <a:lnTo>
                        <a:pt x="293" y="272"/>
                      </a:lnTo>
                      <a:close/>
                      <a:moveTo>
                        <a:pt x="308" y="273"/>
                      </a:moveTo>
                      <a:lnTo>
                        <a:pt x="308" y="273"/>
                      </a:lnTo>
                      <a:lnTo>
                        <a:pt x="306" y="273"/>
                      </a:lnTo>
                      <a:lnTo>
                        <a:pt x="306" y="273"/>
                      </a:lnTo>
                      <a:lnTo>
                        <a:pt x="302" y="273"/>
                      </a:lnTo>
                      <a:lnTo>
                        <a:pt x="302" y="273"/>
                      </a:lnTo>
                      <a:lnTo>
                        <a:pt x="297" y="273"/>
                      </a:lnTo>
                      <a:lnTo>
                        <a:pt x="297" y="275"/>
                      </a:lnTo>
                      <a:lnTo>
                        <a:pt x="297" y="275"/>
                      </a:lnTo>
                      <a:lnTo>
                        <a:pt x="302" y="276"/>
                      </a:lnTo>
                      <a:lnTo>
                        <a:pt x="302" y="276"/>
                      </a:lnTo>
                      <a:lnTo>
                        <a:pt x="306" y="275"/>
                      </a:lnTo>
                      <a:lnTo>
                        <a:pt x="308" y="275"/>
                      </a:lnTo>
                      <a:lnTo>
                        <a:pt x="308" y="275"/>
                      </a:lnTo>
                      <a:lnTo>
                        <a:pt x="308" y="273"/>
                      </a:lnTo>
                      <a:close/>
                      <a:moveTo>
                        <a:pt x="319" y="283"/>
                      </a:moveTo>
                      <a:lnTo>
                        <a:pt x="319" y="283"/>
                      </a:lnTo>
                      <a:lnTo>
                        <a:pt x="316" y="279"/>
                      </a:lnTo>
                      <a:lnTo>
                        <a:pt x="313" y="275"/>
                      </a:lnTo>
                      <a:lnTo>
                        <a:pt x="310" y="276"/>
                      </a:lnTo>
                      <a:lnTo>
                        <a:pt x="310" y="276"/>
                      </a:lnTo>
                      <a:lnTo>
                        <a:pt x="315" y="281"/>
                      </a:lnTo>
                      <a:lnTo>
                        <a:pt x="318" y="285"/>
                      </a:lnTo>
                      <a:lnTo>
                        <a:pt x="319" y="283"/>
                      </a:lnTo>
                      <a:close/>
                      <a:moveTo>
                        <a:pt x="325" y="298"/>
                      </a:moveTo>
                      <a:lnTo>
                        <a:pt x="325" y="298"/>
                      </a:lnTo>
                      <a:lnTo>
                        <a:pt x="325" y="292"/>
                      </a:lnTo>
                      <a:lnTo>
                        <a:pt x="322" y="288"/>
                      </a:lnTo>
                      <a:lnTo>
                        <a:pt x="322" y="288"/>
                      </a:lnTo>
                      <a:lnTo>
                        <a:pt x="321" y="289"/>
                      </a:lnTo>
                      <a:lnTo>
                        <a:pt x="321" y="289"/>
                      </a:lnTo>
                      <a:lnTo>
                        <a:pt x="321" y="289"/>
                      </a:lnTo>
                      <a:lnTo>
                        <a:pt x="322" y="292"/>
                      </a:lnTo>
                      <a:lnTo>
                        <a:pt x="322" y="298"/>
                      </a:lnTo>
                      <a:lnTo>
                        <a:pt x="325" y="298"/>
                      </a:lnTo>
                      <a:close/>
                      <a:moveTo>
                        <a:pt x="325" y="312"/>
                      </a:moveTo>
                      <a:lnTo>
                        <a:pt x="325" y="312"/>
                      </a:lnTo>
                      <a:lnTo>
                        <a:pt x="325" y="304"/>
                      </a:lnTo>
                      <a:lnTo>
                        <a:pt x="325" y="302"/>
                      </a:lnTo>
                      <a:lnTo>
                        <a:pt x="322" y="302"/>
                      </a:lnTo>
                      <a:lnTo>
                        <a:pt x="322" y="304"/>
                      </a:lnTo>
                      <a:lnTo>
                        <a:pt x="322" y="304"/>
                      </a:lnTo>
                      <a:lnTo>
                        <a:pt x="322" y="312"/>
                      </a:lnTo>
                      <a:lnTo>
                        <a:pt x="325" y="312"/>
                      </a:lnTo>
                      <a:close/>
                      <a:moveTo>
                        <a:pt x="325" y="328"/>
                      </a:moveTo>
                      <a:lnTo>
                        <a:pt x="325" y="328"/>
                      </a:lnTo>
                      <a:lnTo>
                        <a:pt x="325" y="327"/>
                      </a:lnTo>
                      <a:lnTo>
                        <a:pt x="325" y="327"/>
                      </a:lnTo>
                      <a:lnTo>
                        <a:pt x="325" y="318"/>
                      </a:lnTo>
                      <a:lnTo>
                        <a:pt x="322" y="318"/>
                      </a:lnTo>
                      <a:lnTo>
                        <a:pt x="322" y="318"/>
                      </a:lnTo>
                      <a:lnTo>
                        <a:pt x="322" y="327"/>
                      </a:lnTo>
                      <a:lnTo>
                        <a:pt x="322" y="327"/>
                      </a:lnTo>
                      <a:lnTo>
                        <a:pt x="322" y="328"/>
                      </a:lnTo>
                      <a:lnTo>
                        <a:pt x="325" y="328"/>
                      </a:lnTo>
                      <a:close/>
                      <a:moveTo>
                        <a:pt x="328" y="341"/>
                      </a:moveTo>
                      <a:lnTo>
                        <a:pt x="328" y="341"/>
                      </a:lnTo>
                      <a:lnTo>
                        <a:pt x="325" y="336"/>
                      </a:lnTo>
                      <a:lnTo>
                        <a:pt x="325" y="336"/>
                      </a:lnTo>
                      <a:lnTo>
                        <a:pt x="325" y="333"/>
                      </a:lnTo>
                      <a:lnTo>
                        <a:pt x="322" y="333"/>
                      </a:lnTo>
                      <a:lnTo>
                        <a:pt x="322" y="333"/>
                      </a:lnTo>
                      <a:lnTo>
                        <a:pt x="323" y="336"/>
                      </a:lnTo>
                      <a:lnTo>
                        <a:pt x="323" y="336"/>
                      </a:lnTo>
                      <a:lnTo>
                        <a:pt x="326" y="343"/>
                      </a:lnTo>
                      <a:lnTo>
                        <a:pt x="328" y="341"/>
                      </a:lnTo>
                      <a:close/>
                      <a:moveTo>
                        <a:pt x="336" y="354"/>
                      </a:moveTo>
                      <a:lnTo>
                        <a:pt x="336" y="354"/>
                      </a:lnTo>
                      <a:lnTo>
                        <a:pt x="331" y="346"/>
                      </a:lnTo>
                      <a:lnTo>
                        <a:pt x="329" y="347"/>
                      </a:lnTo>
                      <a:lnTo>
                        <a:pt x="329" y="347"/>
                      </a:lnTo>
                      <a:lnTo>
                        <a:pt x="335" y="356"/>
                      </a:lnTo>
                      <a:lnTo>
                        <a:pt x="336" y="35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30" name="Freeform 1584"/>
                <p:cNvSpPr>
                  <a:spLocks noEditPoints="1"/>
                </p:cNvSpPr>
                <p:nvPr/>
              </p:nvSpPr>
              <p:spPr bwMode="auto">
                <a:xfrm>
                  <a:off x="4605635" y="3597098"/>
                  <a:ext cx="181035" cy="16817"/>
                </a:xfrm>
                <a:custGeom>
                  <a:avLst/>
                  <a:gdLst>
                    <a:gd name="T0" fmla="*/ 6 w 183"/>
                    <a:gd name="T1" fmla="*/ 4 h 17"/>
                    <a:gd name="T2" fmla="*/ 0 w 183"/>
                    <a:gd name="T3" fmla="*/ 10 h 17"/>
                    <a:gd name="T4" fmla="*/ 6 w 183"/>
                    <a:gd name="T5" fmla="*/ 7 h 17"/>
                    <a:gd name="T6" fmla="*/ 20 w 183"/>
                    <a:gd name="T7" fmla="*/ 0 h 17"/>
                    <a:gd name="T8" fmla="*/ 10 w 183"/>
                    <a:gd name="T9" fmla="*/ 3 h 17"/>
                    <a:gd name="T10" fmla="*/ 12 w 183"/>
                    <a:gd name="T11" fmla="*/ 6 h 17"/>
                    <a:gd name="T12" fmla="*/ 20 w 183"/>
                    <a:gd name="T13" fmla="*/ 0 h 17"/>
                    <a:gd name="T14" fmla="*/ 33 w 183"/>
                    <a:gd name="T15" fmla="*/ 4 h 17"/>
                    <a:gd name="T16" fmla="*/ 29 w 183"/>
                    <a:gd name="T17" fmla="*/ 3 h 17"/>
                    <a:gd name="T18" fmla="*/ 26 w 183"/>
                    <a:gd name="T19" fmla="*/ 0 h 17"/>
                    <a:gd name="T20" fmla="*/ 25 w 183"/>
                    <a:gd name="T21" fmla="*/ 3 h 17"/>
                    <a:gd name="T22" fmla="*/ 28 w 183"/>
                    <a:gd name="T23" fmla="*/ 4 h 17"/>
                    <a:gd name="T24" fmla="*/ 33 w 183"/>
                    <a:gd name="T25" fmla="*/ 7 h 17"/>
                    <a:gd name="T26" fmla="*/ 48 w 183"/>
                    <a:gd name="T27" fmla="*/ 0 h 17"/>
                    <a:gd name="T28" fmla="*/ 45 w 183"/>
                    <a:gd name="T29" fmla="*/ 1 h 17"/>
                    <a:gd name="T30" fmla="*/ 43 w 183"/>
                    <a:gd name="T31" fmla="*/ 1 h 17"/>
                    <a:gd name="T32" fmla="*/ 41 w 183"/>
                    <a:gd name="T33" fmla="*/ 4 h 17"/>
                    <a:gd name="T34" fmla="*/ 39 w 183"/>
                    <a:gd name="T35" fmla="*/ 4 h 17"/>
                    <a:gd name="T36" fmla="*/ 39 w 183"/>
                    <a:gd name="T37" fmla="*/ 7 h 17"/>
                    <a:gd name="T38" fmla="*/ 42 w 183"/>
                    <a:gd name="T39" fmla="*/ 6 h 17"/>
                    <a:gd name="T40" fmla="*/ 45 w 183"/>
                    <a:gd name="T41" fmla="*/ 3 h 17"/>
                    <a:gd name="T42" fmla="*/ 46 w 183"/>
                    <a:gd name="T43" fmla="*/ 3 h 17"/>
                    <a:gd name="T44" fmla="*/ 48 w 183"/>
                    <a:gd name="T45" fmla="*/ 0 h 17"/>
                    <a:gd name="T46" fmla="*/ 64 w 183"/>
                    <a:gd name="T47" fmla="*/ 1 h 17"/>
                    <a:gd name="T48" fmla="*/ 52 w 183"/>
                    <a:gd name="T49" fmla="*/ 3 h 17"/>
                    <a:gd name="T50" fmla="*/ 62 w 183"/>
                    <a:gd name="T51" fmla="*/ 4 h 17"/>
                    <a:gd name="T52" fmla="*/ 78 w 183"/>
                    <a:gd name="T53" fmla="*/ 4 h 17"/>
                    <a:gd name="T54" fmla="*/ 68 w 183"/>
                    <a:gd name="T55" fmla="*/ 3 h 17"/>
                    <a:gd name="T56" fmla="*/ 68 w 183"/>
                    <a:gd name="T57" fmla="*/ 6 h 17"/>
                    <a:gd name="T58" fmla="*/ 78 w 183"/>
                    <a:gd name="T59" fmla="*/ 4 h 17"/>
                    <a:gd name="T60" fmla="*/ 93 w 183"/>
                    <a:gd name="T61" fmla="*/ 6 h 17"/>
                    <a:gd name="T62" fmla="*/ 83 w 183"/>
                    <a:gd name="T63" fmla="*/ 7 h 17"/>
                    <a:gd name="T64" fmla="*/ 93 w 183"/>
                    <a:gd name="T65" fmla="*/ 9 h 17"/>
                    <a:gd name="T66" fmla="*/ 109 w 183"/>
                    <a:gd name="T67" fmla="*/ 9 h 17"/>
                    <a:gd name="T68" fmla="*/ 104 w 183"/>
                    <a:gd name="T69" fmla="*/ 7 h 17"/>
                    <a:gd name="T70" fmla="*/ 99 w 183"/>
                    <a:gd name="T71" fmla="*/ 7 h 17"/>
                    <a:gd name="T72" fmla="*/ 99 w 183"/>
                    <a:gd name="T73" fmla="*/ 10 h 17"/>
                    <a:gd name="T74" fmla="*/ 100 w 183"/>
                    <a:gd name="T75" fmla="*/ 10 h 17"/>
                    <a:gd name="T76" fmla="*/ 107 w 183"/>
                    <a:gd name="T77" fmla="*/ 12 h 17"/>
                    <a:gd name="T78" fmla="*/ 123 w 183"/>
                    <a:gd name="T79" fmla="*/ 15 h 17"/>
                    <a:gd name="T80" fmla="*/ 120 w 183"/>
                    <a:gd name="T81" fmla="*/ 15 h 17"/>
                    <a:gd name="T82" fmla="*/ 113 w 183"/>
                    <a:gd name="T83" fmla="*/ 12 h 17"/>
                    <a:gd name="T84" fmla="*/ 113 w 183"/>
                    <a:gd name="T85" fmla="*/ 13 h 17"/>
                    <a:gd name="T86" fmla="*/ 120 w 183"/>
                    <a:gd name="T87" fmla="*/ 16 h 17"/>
                    <a:gd name="T88" fmla="*/ 123 w 183"/>
                    <a:gd name="T89" fmla="*/ 15 h 17"/>
                    <a:gd name="T90" fmla="*/ 138 w 183"/>
                    <a:gd name="T91" fmla="*/ 15 h 17"/>
                    <a:gd name="T92" fmla="*/ 132 w 183"/>
                    <a:gd name="T93" fmla="*/ 16 h 17"/>
                    <a:gd name="T94" fmla="*/ 127 w 183"/>
                    <a:gd name="T95" fmla="*/ 17 h 17"/>
                    <a:gd name="T96" fmla="*/ 132 w 183"/>
                    <a:gd name="T97" fmla="*/ 17 h 17"/>
                    <a:gd name="T98" fmla="*/ 138 w 183"/>
                    <a:gd name="T99" fmla="*/ 17 h 17"/>
                    <a:gd name="T100" fmla="*/ 152 w 183"/>
                    <a:gd name="T101" fmla="*/ 13 h 17"/>
                    <a:gd name="T102" fmla="*/ 142 w 183"/>
                    <a:gd name="T103" fmla="*/ 15 h 17"/>
                    <a:gd name="T104" fmla="*/ 143 w 183"/>
                    <a:gd name="T105" fmla="*/ 17 h 17"/>
                    <a:gd name="T106" fmla="*/ 152 w 183"/>
                    <a:gd name="T107" fmla="*/ 13 h 17"/>
                    <a:gd name="T108" fmla="*/ 168 w 183"/>
                    <a:gd name="T109" fmla="*/ 10 h 17"/>
                    <a:gd name="T110" fmla="*/ 162 w 183"/>
                    <a:gd name="T111" fmla="*/ 12 h 17"/>
                    <a:gd name="T112" fmla="*/ 158 w 183"/>
                    <a:gd name="T113" fmla="*/ 15 h 17"/>
                    <a:gd name="T114" fmla="*/ 162 w 183"/>
                    <a:gd name="T115" fmla="*/ 15 h 17"/>
                    <a:gd name="T116" fmla="*/ 168 w 183"/>
                    <a:gd name="T117" fmla="*/ 13 h 17"/>
                    <a:gd name="T118" fmla="*/ 181 w 183"/>
                    <a:gd name="T119" fmla="*/ 6 h 17"/>
                    <a:gd name="T120" fmla="*/ 172 w 183"/>
                    <a:gd name="T121" fmla="*/ 9 h 17"/>
                    <a:gd name="T122" fmla="*/ 172 w 183"/>
                    <a:gd name="T123" fmla="*/ 12 h 17"/>
                    <a:gd name="T124" fmla="*/ 181 w 183"/>
                    <a:gd name="T125" fmla="*/ 6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83" h="17">
                      <a:moveTo>
                        <a:pt x="6" y="4"/>
                      </a:moveTo>
                      <a:lnTo>
                        <a:pt x="6" y="4"/>
                      </a:lnTo>
                      <a:lnTo>
                        <a:pt x="0" y="7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6" y="7"/>
                      </a:lnTo>
                      <a:lnTo>
                        <a:pt x="6" y="4"/>
                      </a:lnTo>
                      <a:close/>
                      <a:moveTo>
                        <a:pt x="20" y="0"/>
                      </a:moveTo>
                      <a:lnTo>
                        <a:pt x="20" y="0"/>
                      </a:lnTo>
                      <a:lnTo>
                        <a:pt x="10" y="3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20" y="1"/>
                      </a:lnTo>
                      <a:lnTo>
                        <a:pt x="20" y="0"/>
                      </a:lnTo>
                      <a:close/>
                      <a:moveTo>
                        <a:pt x="35" y="4"/>
                      </a:moveTo>
                      <a:lnTo>
                        <a:pt x="33" y="4"/>
                      </a:lnTo>
                      <a:lnTo>
                        <a:pt x="33" y="4"/>
                      </a:lnTo>
                      <a:lnTo>
                        <a:pt x="29" y="3"/>
                      </a:lnTo>
                      <a:lnTo>
                        <a:pt x="29" y="3"/>
                      </a:lnTo>
                      <a:lnTo>
                        <a:pt x="26" y="0"/>
                      </a:lnTo>
                      <a:lnTo>
                        <a:pt x="25" y="3"/>
                      </a:lnTo>
                      <a:lnTo>
                        <a:pt x="25" y="3"/>
                      </a:lnTo>
                      <a:lnTo>
                        <a:pt x="28" y="4"/>
                      </a:lnTo>
                      <a:lnTo>
                        <a:pt x="28" y="4"/>
                      </a:lnTo>
                      <a:lnTo>
                        <a:pt x="33" y="7"/>
                      </a:lnTo>
                      <a:lnTo>
                        <a:pt x="33" y="7"/>
                      </a:lnTo>
                      <a:lnTo>
                        <a:pt x="35" y="4"/>
                      </a:lnTo>
                      <a:close/>
                      <a:moveTo>
                        <a:pt x="48" y="0"/>
                      </a:moveTo>
                      <a:lnTo>
                        <a:pt x="48" y="0"/>
                      </a:lnTo>
                      <a:lnTo>
                        <a:pt x="45" y="1"/>
                      </a:lnTo>
                      <a:lnTo>
                        <a:pt x="45" y="1"/>
                      </a:lnTo>
                      <a:lnTo>
                        <a:pt x="43" y="1"/>
                      </a:lnTo>
                      <a:lnTo>
                        <a:pt x="43" y="1"/>
                      </a:lnTo>
                      <a:lnTo>
                        <a:pt x="41" y="4"/>
                      </a:lnTo>
                      <a:lnTo>
                        <a:pt x="41" y="4"/>
                      </a:lnTo>
                      <a:lnTo>
                        <a:pt x="39" y="4"/>
                      </a:lnTo>
                      <a:lnTo>
                        <a:pt x="39" y="7"/>
                      </a:lnTo>
                      <a:lnTo>
                        <a:pt x="39" y="7"/>
                      </a:lnTo>
                      <a:lnTo>
                        <a:pt x="42" y="6"/>
                      </a:lnTo>
                      <a:lnTo>
                        <a:pt x="42" y="6"/>
                      </a:lnTo>
                      <a:lnTo>
                        <a:pt x="45" y="3"/>
                      </a:lnTo>
                      <a:lnTo>
                        <a:pt x="45" y="3"/>
                      </a:lnTo>
                      <a:lnTo>
                        <a:pt x="46" y="3"/>
                      </a:lnTo>
                      <a:lnTo>
                        <a:pt x="46" y="3"/>
                      </a:lnTo>
                      <a:lnTo>
                        <a:pt x="48" y="3"/>
                      </a:lnTo>
                      <a:lnTo>
                        <a:pt x="48" y="0"/>
                      </a:lnTo>
                      <a:close/>
                      <a:moveTo>
                        <a:pt x="64" y="1"/>
                      </a:moveTo>
                      <a:lnTo>
                        <a:pt x="64" y="1"/>
                      </a:lnTo>
                      <a:lnTo>
                        <a:pt x="54" y="1"/>
                      </a:lnTo>
                      <a:lnTo>
                        <a:pt x="52" y="3"/>
                      </a:lnTo>
                      <a:lnTo>
                        <a:pt x="52" y="3"/>
                      </a:lnTo>
                      <a:lnTo>
                        <a:pt x="62" y="4"/>
                      </a:lnTo>
                      <a:lnTo>
                        <a:pt x="64" y="1"/>
                      </a:lnTo>
                      <a:close/>
                      <a:moveTo>
                        <a:pt x="78" y="4"/>
                      </a:moveTo>
                      <a:lnTo>
                        <a:pt x="78" y="4"/>
                      </a:lnTo>
                      <a:lnTo>
                        <a:pt x="68" y="3"/>
                      </a:lnTo>
                      <a:lnTo>
                        <a:pt x="68" y="6"/>
                      </a:lnTo>
                      <a:lnTo>
                        <a:pt x="68" y="6"/>
                      </a:lnTo>
                      <a:lnTo>
                        <a:pt x="78" y="7"/>
                      </a:lnTo>
                      <a:lnTo>
                        <a:pt x="78" y="4"/>
                      </a:lnTo>
                      <a:close/>
                      <a:moveTo>
                        <a:pt x="93" y="6"/>
                      </a:moveTo>
                      <a:lnTo>
                        <a:pt x="93" y="6"/>
                      </a:lnTo>
                      <a:lnTo>
                        <a:pt x="84" y="4"/>
                      </a:lnTo>
                      <a:lnTo>
                        <a:pt x="83" y="7"/>
                      </a:lnTo>
                      <a:lnTo>
                        <a:pt x="83" y="7"/>
                      </a:lnTo>
                      <a:lnTo>
                        <a:pt x="93" y="9"/>
                      </a:lnTo>
                      <a:lnTo>
                        <a:pt x="93" y="6"/>
                      </a:lnTo>
                      <a:close/>
                      <a:moveTo>
                        <a:pt x="109" y="9"/>
                      </a:moveTo>
                      <a:lnTo>
                        <a:pt x="109" y="9"/>
                      </a:lnTo>
                      <a:lnTo>
                        <a:pt x="104" y="7"/>
                      </a:lnTo>
                      <a:lnTo>
                        <a:pt x="100" y="7"/>
                      </a:lnTo>
                      <a:lnTo>
                        <a:pt x="99" y="7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100" y="10"/>
                      </a:lnTo>
                      <a:lnTo>
                        <a:pt x="100" y="10"/>
                      </a:lnTo>
                      <a:lnTo>
                        <a:pt x="103" y="10"/>
                      </a:lnTo>
                      <a:lnTo>
                        <a:pt x="107" y="12"/>
                      </a:lnTo>
                      <a:lnTo>
                        <a:pt x="109" y="9"/>
                      </a:lnTo>
                      <a:close/>
                      <a:moveTo>
                        <a:pt x="123" y="15"/>
                      </a:moveTo>
                      <a:lnTo>
                        <a:pt x="123" y="15"/>
                      </a:lnTo>
                      <a:lnTo>
                        <a:pt x="120" y="15"/>
                      </a:lnTo>
                      <a:lnTo>
                        <a:pt x="120" y="15"/>
                      </a:lnTo>
                      <a:lnTo>
                        <a:pt x="113" y="12"/>
                      </a:lnTo>
                      <a:lnTo>
                        <a:pt x="113" y="13"/>
                      </a:lnTo>
                      <a:lnTo>
                        <a:pt x="113" y="13"/>
                      </a:lnTo>
                      <a:lnTo>
                        <a:pt x="120" y="16"/>
                      </a:lnTo>
                      <a:lnTo>
                        <a:pt x="120" y="16"/>
                      </a:lnTo>
                      <a:lnTo>
                        <a:pt x="122" y="17"/>
                      </a:lnTo>
                      <a:lnTo>
                        <a:pt x="123" y="15"/>
                      </a:lnTo>
                      <a:close/>
                      <a:moveTo>
                        <a:pt x="138" y="15"/>
                      </a:moveTo>
                      <a:lnTo>
                        <a:pt x="138" y="15"/>
                      </a:lnTo>
                      <a:lnTo>
                        <a:pt x="132" y="16"/>
                      </a:lnTo>
                      <a:lnTo>
                        <a:pt x="132" y="16"/>
                      </a:lnTo>
                      <a:lnTo>
                        <a:pt x="127" y="15"/>
                      </a:lnTo>
                      <a:lnTo>
                        <a:pt x="127" y="17"/>
                      </a:lnTo>
                      <a:lnTo>
                        <a:pt x="127" y="17"/>
                      </a:lnTo>
                      <a:lnTo>
                        <a:pt x="132" y="17"/>
                      </a:lnTo>
                      <a:lnTo>
                        <a:pt x="132" y="17"/>
                      </a:lnTo>
                      <a:lnTo>
                        <a:pt x="138" y="17"/>
                      </a:lnTo>
                      <a:lnTo>
                        <a:pt x="138" y="15"/>
                      </a:lnTo>
                      <a:close/>
                      <a:moveTo>
                        <a:pt x="152" y="13"/>
                      </a:moveTo>
                      <a:lnTo>
                        <a:pt x="152" y="13"/>
                      </a:lnTo>
                      <a:lnTo>
                        <a:pt x="142" y="15"/>
                      </a:lnTo>
                      <a:lnTo>
                        <a:pt x="143" y="17"/>
                      </a:lnTo>
                      <a:lnTo>
                        <a:pt x="143" y="17"/>
                      </a:lnTo>
                      <a:lnTo>
                        <a:pt x="152" y="15"/>
                      </a:lnTo>
                      <a:lnTo>
                        <a:pt x="152" y="13"/>
                      </a:lnTo>
                      <a:close/>
                      <a:moveTo>
                        <a:pt x="168" y="10"/>
                      </a:moveTo>
                      <a:lnTo>
                        <a:pt x="168" y="10"/>
                      </a:lnTo>
                      <a:lnTo>
                        <a:pt x="162" y="12"/>
                      </a:lnTo>
                      <a:lnTo>
                        <a:pt x="162" y="12"/>
                      </a:lnTo>
                      <a:lnTo>
                        <a:pt x="158" y="12"/>
                      </a:lnTo>
                      <a:lnTo>
                        <a:pt x="158" y="15"/>
                      </a:lnTo>
                      <a:lnTo>
                        <a:pt x="158" y="15"/>
                      </a:lnTo>
                      <a:lnTo>
                        <a:pt x="162" y="15"/>
                      </a:lnTo>
                      <a:lnTo>
                        <a:pt x="162" y="15"/>
                      </a:lnTo>
                      <a:lnTo>
                        <a:pt x="168" y="13"/>
                      </a:lnTo>
                      <a:lnTo>
                        <a:pt x="168" y="10"/>
                      </a:lnTo>
                      <a:close/>
                      <a:moveTo>
                        <a:pt x="181" y="6"/>
                      </a:moveTo>
                      <a:lnTo>
                        <a:pt x="181" y="6"/>
                      </a:lnTo>
                      <a:lnTo>
                        <a:pt x="172" y="9"/>
                      </a:lnTo>
                      <a:lnTo>
                        <a:pt x="172" y="12"/>
                      </a:lnTo>
                      <a:lnTo>
                        <a:pt x="172" y="12"/>
                      </a:lnTo>
                      <a:lnTo>
                        <a:pt x="183" y="7"/>
                      </a:lnTo>
                      <a:lnTo>
                        <a:pt x="181" y="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31" name="Freeform 1585"/>
                <p:cNvSpPr>
                  <a:spLocks noEditPoints="1"/>
                </p:cNvSpPr>
                <p:nvPr/>
              </p:nvSpPr>
              <p:spPr bwMode="auto">
                <a:xfrm>
                  <a:off x="4678840" y="3606991"/>
                  <a:ext cx="115743" cy="199830"/>
                </a:xfrm>
                <a:custGeom>
                  <a:avLst/>
                  <a:gdLst>
                    <a:gd name="T0" fmla="*/ 4 w 117"/>
                    <a:gd name="T1" fmla="*/ 187 h 202"/>
                    <a:gd name="T2" fmla="*/ 1 w 117"/>
                    <a:gd name="T3" fmla="*/ 193 h 202"/>
                    <a:gd name="T4" fmla="*/ 10 w 117"/>
                    <a:gd name="T5" fmla="*/ 186 h 202"/>
                    <a:gd name="T6" fmla="*/ 14 w 117"/>
                    <a:gd name="T7" fmla="*/ 187 h 202"/>
                    <a:gd name="T8" fmla="*/ 23 w 117"/>
                    <a:gd name="T9" fmla="*/ 194 h 202"/>
                    <a:gd name="T10" fmla="*/ 36 w 117"/>
                    <a:gd name="T11" fmla="*/ 199 h 202"/>
                    <a:gd name="T12" fmla="*/ 27 w 117"/>
                    <a:gd name="T13" fmla="*/ 194 h 202"/>
                    <a:gd name="T14" fmla="*/ 32 w 117"/>
                    <a:gd name="T15" fmla="*/ 200 h 202"/>
                    <a:gd name="T16" fmla="*/ 38 w 117"/>
                    <a:gd name="T17" fmla="*/ 199 h 202"/>
                    <a:gd name="T18" fmla="*/ 46 w 117"/>
                    <a:gd name="T19" fmla="*/ 196 h 202"/>
                    <a:gd name="T20" fmla="*/ 42 w 117"/>
                    <a:gd name="T21" fmla="*/ 200 h 202"/>
                    <a:gd name="T22" fmla="*/ 49 w 117"/>
                    <a:gd name="T23" fmla="*/ 193 h 202"/>
                    <a:gd name="T24" fmla="*/ 55 w 117"/>
                    <a:gd name="T25" fmla="*/ 184 h 202"/>
                    <a:gd name="T26" fmla="*/ 55 w 117"/>
                    <a:gd name="T27" fmla="*/ 191 h 202"/>
                    <a:gd name="T28" fmla="*/ 58 w 117"/>
                    <a:gd name="T29" fmla="*/ 184 h 202"/>
                    <a:gd name="T30" fmla="*/ 55 w 117"/>
                    <a:gd name="T31" fmla="*/ 175 h 202"/>
                    <a:gd name="T32" fmla="*/ 55 w 117"/>
                    <a:gd name="T33" fmla="*/ 165 h 202"/>
                    <a:gd name="T34" fmla="*/ 58 w 117"/>
                    <a:gd name="T35" fmla="*/ 160 h 202"/>
                    <a:gd name="T36" fmla="*/ 55 w 117"/>
                    <a:gd name="T37" fmla="*/ 160 h 202"/>
                    <a:gd name="T38" fmla="*/ 58 w 117"/>
                    <a:gd name="T39" fmla="*/ 135 h 202"/>
                    <a:gd name="T40" fmla="*/ 55 w 117"/>
                    <a:gd name="T41" fmla="*/ 129 h 202"/>
                    <a:gd name="T42" fmla="*/ 55 w 117"/>
                    <a:gd name="T43" fmla="*/ 119 h 202"/>
                    <a:gd name="T44" fmla="*/ 58 w 117"/>
                    <a:gd name="T45" fmla="*/ 115 h 202"/>
                    <a:gd name="T46" fmla="*/ 55 w 117"/>
                    <a:gd name="T47" fmla="*/ 115 h 202"/>
                    <a:gd name="T48" fmla="*/ 58 w 117"/>
                    <a:gd name="T49" fmla="*/ 89 h 202"/>
                    <a:gd name="T50" fmla="*/ 58 w 117"/>
                    <a:gd name="T51" fmla="*/ 74 h 202"/>
                    <a:gd name="T52" fmla="*/ 55 w 117"/>
                    <a:gd name="T53" fmla="*/ 75 h 202"/>
                    <a:gd name="T54" fmla="*/ 58 w 117"/>
                    <a:gd name="T55" fmla="*/ 75 h 202"/>
                    <a:gd name="T56" fmla="*/ 58 w 117"/>
                    <a:gd name="T57" fmla="*/ 77 h 202"/>
                    <a:gd name="T58" fmla="*/ 64 w 117"/>
                    <a:gd name="T59" fmla="*/ 74 h 202"/>
                    <a:gd name="T60" fmla="*/ 74 w 117"/>
                    <a:gd name="T61" fmla="*/ 74 h 202"/>
                    <a:gd name="T62" fmla="*/ 75 w 117"/>
                    <a:gd name="T63" fmla="*/ 60 h 202"/>
                    <a:gd name="T64" fmla="*/ 72 w 117"/>
                    <a:gd name="T65" fmla="*/ 55 h 202"/>
                    <a:gd name="T66" fmla="*/ 72 w 117"/>
                    <a:gd name="T67" fmla="*/ 45 h 202"/>
                    <a:gd name="T68" fmla="*/ 75 w 117"/>
                    <a:gd name="T69" fmla="*/ 39 h 202"/>
                    <a:gd name="T70" fmla="*/ 72 w 117"/>
                    <a:gd name="T71" fmla="*/ 39 h 202"/>
                    <a:gd name="T72" fmla="*/ 74 w 117"/>
                    <a:gd name="T73" fmla="*/ 15 h 202"/>
                    <a:gd name="T74" fmla="*/ 75 w 117"/>
                    <a:gd name="T75" fmla="*/ 25 h 202"/>
                    <a:gd name="T76" fmla="*/ 74 w 117"/>
                    <a:gd name="T77" fmla="*/ 16 h 202"/>
                    <a:gd name="T78" fmla="*/ 74 w 117"/>
                    <a:gd name="T79" fmla="*/ 13 h 202"/>
                    <a:gd name="T80" fmla="*/ 80 w 117"/>
                    <a:gd name="T81" fmla="*/ 13 h 202"/>
                    <a:gd name="T82" fmla="*/ 90 w 117"/>
                    <a:gd name="T83" fmla="*/ 13 h 202"/>
                    <a:gd name="T84" fmla="*/ 104 w 117"/>
                    <a:gd name="T85" fmla="*/ 9 h 202"/>
                    <a:gd name="T86" fmla="*/ 94 w 117"/>
                    <a:gd name="T87" fmla="*/ 13 h 202"/>
                    <a:gd name="T88" fmla="*/ 116 w 117"/>
                    <a:gd name="T89" fmla="*/ 0 h 202"/>
                    <a:gd name="T90" fmla="*/ 110 w 117"/>
                    <a:gd name="T91" fmla="*/ 9 h 202"/>
                    <a:gd name="T92" fmla="*/ 116 w 117"/>
                    <a:gd name="T93" fmla="*/ 0 h 2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17" h="202">
                      <a:moveTo>
                        <a:pt x="10" y="186"/>
                      </a:moveTo>
                      <a:lnTo>
                        <a:pt x="10" y="186"/>
                      </a:lnTo>
                      <a:lnTo>
                        <a:pt x="4" y="187"/>
                      </a:lnTo>
                      <a:lnTo>
                        <a:pt x="0" y="190"/>
                      </a:lnTo>
                      <a:lnTo>
                        <a:pt x="1" y="193"/>
                      </a:lnTo>
                      <a:lnTo>
                        <a:pt x="1" y="193"/>
                      </a:lnTo>
                      <a:lnTo>
                        <a:pt x="6" y="190"/>
                      </a:lnTo>
                      <a:lnTo>
                        <a:pt x="10" y="188"/>
                      </a:lnTo>
                      <a:lnTo>
                        <a:pt x="10" y="186"/>
                      </a:lnTo>
                      <a:close/>
                      <a:moveTo>
                        <a:pt x="25" y="193"/>
                      </a:moveTo>
                      <a:lnTo>
                        <a:pt x="25" y="193"/>
                      </a:lnTo>
                      <a:lnTo>
                        <a:pt x="14" y="187"/>
                      </a:lnTo>
                      <a:lnTo>
                        <a:pt x="14" y="188"/>
                      </a:lnTo>
                      <a:lnTo>
                        <a:pt x="14" y="188"/>
                      </a:lnTo>
                      <a:lnTo>
                        <a:pt x="23" y="194"/>
                      </a:lnTo>
                      <a:lnTo>
                        <a:pt x="25" y="193"/>
                      </a:lnTo>
                      <a:close/>
                      <a:moveTo>
                        <a:pt x="38" y="199"/>
                      </a:moveTo>
                      <a:lnTo>
                        <a:pt x="36" y="199"/>
                      </a:lnTo>
                      <a:lnTo>
                        <a:pt x="36" y="199"/>
                      </a:lnTo>
                      <a:lnTo>
                        <a:pt x="32" y="197"/>
                      </a:lnTo>
                      <a:lnTo>
                        <a:pt x="27" y="194"/>
                      </a:lnTo>
                      <a:lnTo>
                        <a:pt x="27" y="197"/>
                      </a:lnTo>
                      <a:lnTo>
                        <a:pt x="27" y="197"/>
                      </a:lnTo>
                      <a:lnTo>
                        <a:pt x="32" y="200"/>
                      </a:lnTo>
                      <a:lnTo>
                        <a:pt x="36" y="202"/>
                      </a:lnTo>
                      <a:lnTo>
                        <a:pt x="36" y="202"/>
                      </a:lnTo>
                      <a:lnTo>
                        <a:pt x="38" y="199"/>
                      </a:lnTo>
                      <a:close/>
                      <a:moveTo>
                        <a:pt x="49" y="193"/>
                      </a:moveTo>
                      <a:lnTo>
                        <a:pt x="49" y="193"/>
                      </a:lnTo>
                      <a:lnTo>
                        <a:pt x="46" y="196"/>
                      </a:lnTo>
                      <a:lnTo>
                        <a:pt x="42" y="197"/>
                      </a:lnTo>
                      <a:lnTo>
                        <a:pt x="42" y="200"/>
                      </a:lnTo>
                      <a:lnTo>
                        <a:pt x="42" y="200"/>
                      </a:lnTo>
                      <a:lnTo>
                        <a:pt x="46" y="197"/>
                      </a:lnTo>
                      <a:lnTo>
                        <a:pt x="51" y="194"/>
                      </a:lnTo>
                      <a:lnTo>
                        <a:pt x="49" y="193"/>
                      </a:lnTo>
                      <a:close/>
                      <a:moveTo>
                        <a:pt x="55" y="180"/>
                      </a:moveTo>
                      <a:lnTo>
                        <a:pt x="55" y="184"/>
                      </a:lnTo>
                      <a:lnTo>
                        <a:pt x="55" y="184"/>
                      </a:lnTo>
                      <a:lnTo>
                        <a:pt x="55" y="186"/>
                      </a:lnTo>
                      <a:lnTo>
                        <a:pt x="53" y="190"/>
                      </a:lnTo>
                      <a:lnTo>
                        <a:pt x="55" y="191"/>
                      </a:lnTo>
                      <a:lnTo>
                        <a:pt x="55" y="191"/>
                      </a:lnTo>
                      <a:lnTo>
                        <a:pt x="56" y="187"/>
                      </a:lnTo>
                      <a:lnTo>
                        <a:pt x="58" y="184"/>
                      </a:lnTo>
                      <a:lnTo>
                        <a:pt x="58" y="180"/>
                      </a:lnTo>
                      <a:lnTo>
                        <a:pt x="55" y="180"/>
                      </a:lnTo>
                      <a:close/>
                      <a:moveTo>
                        <a:pt x="55" y="175"/>
                      </a:moveTo>
                      <a:lnTo>
                        <a:pt x="58" y="175"/>
                      </a:lnTo>
                      <a:lnTo>
                        <a:pt x="58" y="165"/>
                      </a:lnTo>
                      <a:lnTo>
                        <a:pt x="55" y="165"/>
                      </a:lnTo>
                      <a:lnTo>
                        <a:pt x="55" y="175"/>
                      </a:lnTo>
                      <a:close/>
                      <a:moveTo>
                        <a:pt x="55" y="160"/>
                      </a:moveTo>
                      <a:lnTo>
                        <a:pt x="58" y="160"/>
                      </a:lnTo>
                      <a:lnTo>
                        <a:pt x="58" y="149"/>
                      </a:lnTo>
                      <a:lnTo>
                        <a:pt x="55" y="149"/>
                      </a:lnTo>
                      <a:lnTo>
                        <a:pt x="55" y="160"/>
                      </a:lnTo>
                      <a:close/>
                      <a:moveTo>
                        <a:pt x="55" y="145"/>
                      </a:moveTo>
                      <a:lnTo>
                        <a:pt x="58" y="145"/>
                      </a:lnTo>
                      <a:lnTo>
                        <a:pt x="58" y="135"/>
                      </a:lnTo>
                      <a:lnTo>
                        <a:pt x="55" y="135"/>
                      </a:lnTo>
                      <a:lnTo>
                        <a:pt x="55" y="145"/>
                      </a:lnTo>
                      <a:close/>
                      <a:moveTo>
                        <a:pt x="55" y="129"/>
                      </a:moveTo>
                      <a:lnTo>
                        <a:pt x="58" y="129"/>
                      </a:lnTo>
                      <a:lnTo>
                        <a:pt x="58" y="119"/>
                      </a:lnTo>
                      <a:lnTo>
                        <a:pt x="55" y="119"/>
                      </a:lnTo>
                      <a:lnTo>
                        <a:pt x="55" y="129"/>
                      </a:lnTo>
                      <a:close/>
                      <a:moveTo>
                        <a:pt x="55" y="115"/>
                      </a:moveTo>
                      <a:lnTo>
                        <a:pt x="58" y="115"/>
                      </a:lnTo>
                      <a:lnTo>
                        <a:pt x="58" y="104"/>
                      </a:lnTo>
                      <a:lnTo>
                        <a:pt x="55" y="104"/>
                      </a:lnTo>
                      <a:lnTo>
                        <a:pt x="55" y="115"/>
                      </a:lnTo>
                      <a:close/>
                      <a:moveTo>
                        <a:pt x="55" y="99"/>
                      </a:moveTo>
                      <a:lnTo>
                        <a:pt x="58" y="99"/>
                      </a:lnTo>
                      <a:lnTo>
                        <a:pt x="58" y="89"/>
                      </a:lnTo>
                      <a:lnTo>
                        <a:pt x="55" y="89"/>
                      </a:lnTo>
                      <a:lnTo>
                        <a:pt x="55" y="99"/>
                      </a:lnTo>
                      <a:close/>
                      <a:moveTo>
                        <a:pt x="58" y="74"/>
                      </a:moveTo>
                      <a:lnTo>
                        <a:pt x="56" y="74"/>
                      </a:lnTo>
                      <a:lnTo>
                        <a:pt x="55" y="74"/>
                      </a:lnTo>
                      <a:lnTo>
                        <a:pt x="55" y="75"/>
                      </a:lnTo>
                      <a:lnTo>
                        <a:pt x="55" y="84"/>
                      </a:lnTo>
                      <a:lnTo>
                        <a:pt x="58" y="84"/>
                      </a:lnTo>
                      <a:lnTo>
                        <a:pt x="58" y="75"/>
                      </a:lnTo>
                      <a:lnTo>
                        <a:pt x="56" y="75"/>
                      </a:lnTo>
                      <a:lnTo>
                        <a:pt x="56" y="77"/>
                      </a:lnTo>
                      <a:lnTo>
                        <a:pt x="58" y="77"/>
                      </a:lnTo>
                      <a:lnTo>
                        <a:pt x="58" y="74"/>
                      </a:lnTo>
                      <a:close/>
                      <a:moveTo>
                        <a:pt x="74" y="74"/>
                      </a:moveTo>
                      <a:lnTo>
                        <a:pt x="64" y="74"/>
                      </a:lnTo>
                      <a:lnTo>
                        <a:pt x="64" y="77"/>
                      </a:lnTo>
                      <a:lnTo>
                        <a:pt x="74" y="77"/>
                      </a:lnTo>
                      <a:lnTo>
                        <a:pt x="74" y="74"/>
                      </a:lnTo>
                      <a:close/>
                      <a:moveTo>
                        <a:pt x="72" y="70"/>
                      </a:moveTo>
                      <a:lnTo>
                        <a:pt x="75" y="70"/>
                      </a:lnTo>
                      <a:lnTo>
                        <a:pt x="75" y="60"/>
                      </a:lnTo>
                      <a:lnTo>
                        <a:pt x="72" y="60"/>
                      </a:lnTo>
                      <a:lnTo>
                        <a:pt x="72" y="70"/>
                      </a:lnTo>
                      <a:close/>
                      <a:moveTo>
                        <a:pt x="72" y="55"/>
                      </a:moveTo>
                      <a:lnTo>
                        <a:pt x="75" y="55"/>
                      </a:lnTo>
                      <a:lnTo>
                        <a:pt x="75" y="45"/>
                      </a:lnTo>
                      <a:lnTo>
                        <a:pt x="72" y="45"/>
                      </a:lnTo>
                      <a:lnTo>
                        <a:pt x="72" y="55"/>
                      </a:lnTo>
                      <a:close/>
                      <a:moveTo>
                        <a:pt x="72" y="39"/>
                      </a:moveTo>
                      <a:lnTo>
                        <a:pt x="75" y="39"/>
                      </a:lnTo>
                      <a:lnTo>
                        <a:pt x="75" y="29"/>
                      </a:lnTo>
                      <a:lnTo>
                        <a:pt x="72" y="29"/>
                      </a:lnTo>
                      <a:lnTo>
                        <a:pt x="72" y="39"/>
                      </a:lnTo>
                      <a:close/>
                      <a:moveTo>
                        <a:pt x="74" y="13"/>
                      </a:moveTo>
                      <a:lnTo>
                        <a:pt x="74" y="13"/>
                      </a:lnTo>
                      <a:lnTo>
                        <a:pt x="74" y="15"/>
                      </a:lnTo>
                      <a:lnTo>
                        <a:pt x="72" y="15"/>
                      </a:lnTo>
                      <a:lnTo>
                        <a:pt x="72" y="25"/>
                      </a:lnTo>
                      <a:lnTo>
                        <a:pt x="75" y="25"/>
                      </a:lnTo>
                      <a:lnTo>
                        <a:pt x="75" y="15"/>
                      </a:lnTo>
                      <a:lnTo>
                        <a:pt x="74" y="15"/>
                      </a:lnTo>
                      <a:lnTo>
                        <a:pt x="74" y="16"/>
                      </a:lnTo>
                      <a:lnTo>
                        <a:pt x="74" y="16"/>
                      </a:lnTo>
                      <a:lnTo>
                        <a:pt x="75" y="16"/>
                      </a:lnTo>
                      <a:lnTo>
                        <a:pt x="74" y="13"/>
                      </a:lnTo>
                      <a:close/>
                      <a:moveTo>
                        <a:pt x="90" y="12"/>
                      </a:moveTo>
                      <a:lnTo>
                        <a:pt x="90" y="12"/>
                      </a:lnTo>
                      <a:lnTo>
                        <a:pt x="80" y="13"/>
                      </a:lnTo>
                      <a:lnTo>
                        <a:pt x="80" y="16"/>
                      </a:lnTo>
                      <a:lnTo>
                        <a:pt x="80" y="16"/>
                      </a:lnTo>
                      <a:lnTo>
                        <a:pt x="90" y="13"/>
                      </a:lnTo>
                      <a:lnTo>
                        <a:pt x="90" y="12"/>
                      </a:lnTo>
                      <a:close/>
                      <a:moveTo>
                        <a:pt x="104" y="9"/>
                      </a:moveTo>
                      <a:lnTo>
                        <a:pt x="104" y="9"/>
                      </a:lnTo>
                      <a:lnTo>
                        <a:pt x="94" y="10"/>
                      </a:lnTo>
                      <a:lnTo>
                        <a:pt x="94" y="13"/>
                      </a:lnTo>
                      <a:lnTo>
                        <a:pt x="94" y="13"/>
                      </a:lnTo>
                      <a:lnTo>
                        <a:pt x="104" y="10"/>
                      </a:lnTo>
                      <a:lnTo>
                        <a:pt x="104" y="9"/>
                      </a:lnTo>
                      <a:close/>
                      <a:moveTo>
                        <a:pt x="116" y="0"/>
                      </a:moveTo>
                      <a:lnTo>
                        <a:pt x="116" y="0"/>
                      </a:lnTo>
                      <a:lnTo>
                        <a:pt x="109" y="6"/>
                      </a:lnTo>
                      <a:lnTo>
                        <a:pt x="110" y="9"/>
                      </a:lnTo>
                      <a:lnTo>
                        <a:pt x="110" y="9"/>
                      </a:lnTo>
                      <a:lnTo>
                        <a:pt x="117" y="2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32" name="Freeform 1586"/>
                <p:cNvSpPr>
                  <a:spLocks noEditPoints="1"/>
                </p:cNvSpPr>
                <p:nvPr/>
              </p:nvSpPr>
              <p:spPr bwMode="auto">
                <a:xfrm>
                  <a:off x="4734239" y="3684153"/>
                  <a:ext cx="153335" cy="82109"/>
                </a:xfrm>
                <a:custGeom>
                  <a:avLst/>
                  <a:gdLst>
                    <a:gd name="T0" fmla="*/ 9 w 155"/>
                    <a:gd name="T1" fmla="*/ 64 h 83"/>
                    <a:gd name="T2" fmla="*/ 0 w 155"/>
                    <a:gd name="T3" fmla="*/ 57 h 83"/>
                    <a:gd name="T4" fmla="*/ 6 w 155"/>
                    <a:gd name="T5" fmla="*/ 66 h 83"/>
                    <a:gd name="T6" fmla="*/ 16 w 155"/>
                    <a:gd name="T7" fmla="*/ 76 h 83"/>
                    <a:gd name="T8" fmla="*/ 16 w 155"/>
                    <a:gd name="T9" fmla="*/ 76 h 83"/>
                    <a:gd name="T10" fmla="*/ 9 w 155"/>
                    <a:gd name="T11" fmla="*/ 68 h 83"/>
                    <a:gd name="T12" fmla="*/ 13 w 155"/>
                    <a:gd name="T13" fmla="*/ 77 h 83"/>
                    <a:gd name="T14" fmla="*/ 15 w 155"/>
                    <a:gd name="T15" fmla="*/ 79 h 83"/>
                    <a:gd name="T16" fmla="*/ 29 w 155"/>
                    <a:gd name="T17" fmla="*/ 80 h 83"/>
                    <a:gd name="T18" fmla="*/ 25 w 155"/>
                    <a:gd name="T19" fmla="*/ 80 h 83"/>
                    <a:gd name="T20" fmla="*/ 19 w 155"/>
                    <a:gd name="T21" fmla="*/ 82 h 83"/>
                    <a:gd name="T22" fmla="*/ 25 w 155"/>
                    <a:gd name="T23" fmla="*/ 83 h 83"/>
                    <a:gd name="T24" fmla="*/ 29 w 155"/>
                    <a:gd name="T25" fmla="*/ 80 h 83"/>
                    <a:gd name="T26" fmla="*/ 41 w 155"/>
                    <a:gd name="T27" fmla="*/ 73 h 83"/>
                    <a:gd name="T28" fmla="*/ 34 w 155"/>
                    <a:gd name="T29" fmla="*/ 80 h 83"/>
                    <a:gd name="T30" fmla="*/ 35 w 155"/>
                    <a:gd name="T31" fmla="*/ 82 h 83"/>
                    <a:gd name="T32" fmla="*/ 42 w 155"/>
                    <a:gd name="T33" fmla="*/ 74 h 83"/>
                    <a:gd name="T34" fmla="*/ 50 w 155"/>
                    <a:gd name="T35" fmla="*/ 60 h 83"/>
                    <a:gd name="T36" fmla="*/ 44 w 155"/>
                    <a:gd name="T37" fmla="*/ 68 h 83"/>
                    <a:gd name="T38" fmla="*/ 45 w 155"/>
                    <a:gd name="T39" fmla="*/ 70 h 83"/>
                    <a:gd name="T40" fmla="*/ 50 w 155"/>
                    <a:gd name="T41" fmla="*/ 60 h 83"/>
                    <a:gd name="T42" fmla="*/ 64 w 155"/>
                    <a:gd name="T43" fmla="*/ 58 h 83"/>
                    <a:gd name="T44" fmla="*/ 57 w 155"/>
                    <a:gd name="T45" fmla="*/ 55 h 83"/>
                    <a:gd name="T46" fmla="*/ 55 w 155"/>
                    <a:gd name="T47" fmla="*/ 55 h 83"/>
                    <a:gd name="T48" fmla="*/ 53 w 155"/>
                    <a:gd name="T49" fmla="*/ 57 h 83"/>
                    <a:gd name="T50" fmla="*/ 54 w 155"/>
                    <a:gd name="T51" fmla="*/ 58 h 83"/>
                    <a:gd name="T52" fmla="*/ 57 w 155"/>
                    <a:gd name="T53" fmla="*/ 57 h 83"/>
                    <a:gd name="T54" fmla="*/ 60 w 155"/>
                    <a:gd name="T55" fmla="*/ 58 h 83"/>
                    <a:gd name="T56" fmla="*/ 64 w 155"/>
                    <a:gd name="T57" fmla="*/ 58 h 83"/>
                    <a:gd name="T58" fmla="*/ 76 w 155"/>
                    <a:gd name="T59" fmla="*/ 63 h 83"/>
                    <a:gd name="T60" fmla="*/ 67 w 155"/>
                    <a:gd name="T61" fmla="*/ 61 h 83"/>
                    <a:gd name="T62" fmla="*/ 66 w 155"/>
                    <a:gd name="T63" fmla="*/ 64 h 83"/>
                    <a:gd name="T64" fmla="*/ 76 w 155"/>
                    <a:gd name="T65" fmla="*/ 66 h 83"/>
                    <a:gd name="T66" fmla="*/ 90 w 155"/>
                    <a:gd name="T67" fmla="*/ 61 h 83"/>
                    <a:gd name="T68" fmla="*/ 90 w 155"/>
                    <a:gd name="T69" fmla="*/ 61 h 83"/>
                    <a:gd name="T70" fmla="*/ 90 w 155"/>
                    <a:gd name="T71" fmla="*/ 61 h 83"/>
                    <a:gd name="T72" fmla="*/ 90 w 155"/>
                    <a:gd name="T73" fmla="*/ 61 h 83"/>
                    <a:gd name="T74" fmla="*/ 87 w 155"/>
                    <a:gd name="T75" fmla="*/ 63 h 83"/>
                    <a:gd name="T76" fmla="*/ 81 w 155"/>
                    <a:gd name="T77" fmla="*/ 63 h 83"/>
                    <a:gd name="T78" fmla="*/ 81 w 155"/>
                    <a:gd name="T79" fmla="*/ 66 h 83"/>
                    <a:gd name="T80" fmla="*/ 87 w 155"/>
                    <a:gd name="T81" fmla="*/ 64 h 83"/>
                    <a:gd name="T82" fmla="*/ 92 w 155"/>
                    <a:gd name="T83" fmla="*/ 63 h 83"/>
                    <a:gd name="T84" fmla="*/ 99 w 155"/>
                    <a:gd name="T85" fmla="*/ 48 h 83"/>
                    <a:gd name="T86" fmla="*/ 93 w 155"/>
                    <a:gd name="T87" fmla="*/ 57 h 83"/>
                    <a:gd name="T88" fmla="*/ 96 w 155"/>
                    <a:gd name="T89" fmla="*/ 58 h 83"/>
                    <a:gd name="T90" fmla="*/ 99 w 155"/>
                    <a:gd name="T91" fmla="*/ 48 h 83"/>
                    <a:gd name="T92" fmla="*/ 106 w 155"/>
                    <a:gd name="T93" fmla="*/ 35 h 83"/>
                    <a:gd name="T94" fmla="*/ 103 w 155"/>
                    <a:gd name="T95" fmla="*/ 45 h 83"/>
                    <a:gd name="T96" fmla="*/ 109 w 155"/>
                    <a:gd name="T97" fmla="*/ 37 h 83"/>
                    <a:gd name="T98" fmla="*/ 115 w 155"/>
                    <a:gd name="T99" fmla="*/ 22 h 83"/>
                    <a:gd name="T100" fmla="*/ 109 w 155"/>
                    <a:gd name="T101" fmla="*/ 31 h 83"/>
                    <a:gd name="T102" fmla="*/ 110 w 155"/>
                    <a:gd name="T103" fmla="*/ 32 h 83"/>
                    <a:gd name="T104" fmla="*/ 115 w 155"/>
                    <a:gd name="T105" fmla="*/ 22 h 83"/>
                    <a:gd name="T106" fmla="*/ 126 w 155"/>
                    <a:gd name="T107" fmla="*/ 13 h 83"/>
                    <a:gd name="T108" fmla="*/ 119 w 155"/>
                    <a:gd name="T109" fmla="*/ 21 h 83"/>
                    <a:gd name="T110" fmla="*/ 128 w 155"/>
                    <a:gd name="T111" fmla="*/ 15 h 83"/>
                    <a:gd name="T112" fmla="*/ 141 w 155"/>
                    <a:gd name="T113" fmla="*/ 6 h 83"/>
                    <a:gd name="T114" fmla="*/ 131 w 155"/>
                    <a:gd name="T115" fmla="*/ 11 h 83"/>
                    <a:gd name="T116" fmla="*/ 132 w 155"/>
                    <a:gd name="T117" fmla="*/ 13 h 83"/>
                    <a:gd name="T118" fmla="*/ 141 w 155"/>
                    <a:gd name="T119" fmla="*/ 6 h 83"/>
                    <a:gd name="T120" fmla="*/ 154 w 155"/>
                    <a:gd name="T121" fmla="*/ 0 h 83"/>
                    <a:gd name="T122" fmla="*/ 147 w 155"/>
                    <a:gd name="T123" fmla="*/ 6 h 83"/>
                    <a:gd name="T124" fmla="*/ 155 w 155"/>
                    <a:gd name="T125" fmla="*/ 2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55" h="83">
                      <a:moveTo>
                        <a:pt x="9" y="64"/>
                      </a:moveTo>
                      <a:lnTo>
                        <a:pt x="9" y="64"/>
                      </a:lnTo>
                      <a:lnTo>
                        <a:pt x="2" y="55"/>
                      </a:lnTo>
                      <a:lnTo>
                        <a:pt x="0" y="57"/>
                      </a:lnTo>
                      <a:lnTo>
                        <a:pt x="0" y="57"/>
                      </a:lnTo>
                      <a:lnTo>
                        <a:pt x="6" y="66"/>
                      </a:lnTo>
                      <a:lnTo>
                        <a:pt x="9" y="64"/>
                      </a:lnTo>
                      <a:close/>
                      <a:moveTo>
                        <a:pt x="16" y="76"/>
                      </a:moveTo>
                      <a:lnTo>
                        <a:pt x="16" y="76"/>
                      </a:lnTo>
                      <a:lnTo>
                        <a:pt x="16" y="76"/>
                      </a:lnTo>
                      <a:lnTo>
                        <a:pt x="12" y="68"/>
                      </a:lnTo>
                      <a:lnTo>
                        <a:pt x="9" y="68"/>
                      </a:lnTo>
                      <a:lnTo>
                        <a:pt x="9" y="68"/>
                      </a:lnTo>
                      <a:lnTo>
                        <a:pt x="13" y="77"/>
                      </a:lnTo>
                      <a:lnTo>
                        <a:pt x="13" y="77"/>
                      </a:lnTo>
                      <a:lnTo>
                        <a:pt x="15" y="79"/>
                      </a:lnTo>
                      <a:lnTo>
                        <a:pt x="16" y="76"/>
                      </a:lnTo>
                      <a:close/>
                      <a:moveTo>
                        <a:pt x="29" y="80"/>
                      </a:moveTo>
                      <a:lnTo>
                        <a:pt x="29" y="80"/>
                      </a:lnTo>
                      <a:lnTo>
                        <a:pt x="25" y="80"/>
                      </a:lnTo>
                      <a:lnTo>
                        <a:pt x="21" y="79"/>
                      </a:lnTo>
                      <a:lnTo>
                        <a:pt x="19" y="82"/>
                      </a:lnTo>
                      <a:lnTo>
                        <a:pt x="19" y="82"/>
                      </a:lnTo>
                      <a:lnTo>
                        <a:pt x="25" y="83"/>
                      </a:lnTo>
                      <a:lnTo>
                        <a:pt x="29" y="83"/>
                      </a:lnTo>
                      <a:lnTo>
                        <a:pt x="29" y="80"/>
                      </a:lnTo>
                      <a:lnTo>
                        <a:pt x="29" y="80"/>
                      </a:lnTo>
                      <a:close/>
                      <a:moveTo>
                        <a:pt x="41" y="73"/>
                      </a:moveTo>
                      <a:lnTo>
                        <a:pt x="41" y="73"/>
                      </a:lnTo>
                      <a:lnTo>
                        <a:pt x="34" y="80"/>
                      </a:lnTo>
                      <a:lnTo>
                        <a:pt x="35" y="82"/>
                      </a:lnTo>
                      <a:lnTo>
                        <a:pt x="35" y="82"/>
                      </a:lnTo>
                      <a:lnTo>
                        <a:pt x="39" y="79"/>
                      </a:lnTo>
                      <a:lnTo>
                        <a:pt x="42" y="74"/>
                      </a:lnTo>
                      <a:lnTo>
                        <a:pt x="41" y="73"/>
                      </a:lnTo>
                      <a:close/>
                      <a:moveTo>
                        <a:pt x="50" y="60"/>
                      </a:moveTo>
                      <a:lnTo>
                        <a:pt x="50" y="60"/>
                      </a:lnTo>
                      <a:lnTo>
                        <a:pt x="44" y="68"/>
                      </a:lnTo>
                      <a:lnTo>
                        <a:pt x="45" y="70"/>
                      </a:lnTo>
                      <a:lnTo>
                        <a:pt x="45" y="70"/>
                      </a:lnTo>
                      <a:lnTo>
                        <a:pt x="51" y="61"/>
                      </a:lnTo>
                      <a:lnTo>
                        <a:pt x="50" y="60"/>
                      </a:lnTo>
                      <a:close/>
                      <a:moveTo>
                        <a:pt x="64" y="58"/>
                      </a:moveTo>
                      <a:lnTo>
                        <a:pt x="64" y="58"/>
                      </a:lnTo>
                      <a:lnTo>
                        <a:pt x="61" y="57"/>
                      </a:lnTo>
                      <a:lnTo>
                        <a:pt x="57" y="55"/>
                      </a:lnTo>
                      <a:lnTo>
                        <a:pt x="57" y="55"/>
                      </a:lnTo>
                      <a:lnTo>
                        <a:pt x="55" y="55"/>
                      </a:lnTo>
                      <a:lnTo>
                        <a:pt x="55" y="55"/>
                      </a:lnTo>
                      <a:lnTo>
                        <a:pt x="53" y="57"/>
                      </a:lnTo>
                      <a:lnTo>
                        <a:pt x="54" y="58"/>
                      </a:lnTo>
                      <a:lnTo>
                        <a:pt x="54" y="58"/>
                      </a:lnTo>
                      <a:lnTo>
                        <a:pt x="55" y="58"/>
                      </a:lnTo>
                      <a:lnTo>
                        <a:pt x="57" y="57"/>
                      </a:lnTo>
                      <a:lnTo>
                        <a:pt x="57" y="57"/>
                      </a:lnTo>
                      <a:lnTo>
                        <a:pt x="60" y="58"/>
                      </a:lnTo>
                      <a:lnTo>
                        <a:pt x="61" y="60"/>
                      </a:lnTo>
                      <a:lnTo>
                        <a:pt x="64" y="58"/>
                      </a:lnTo>
                      <a:close/>
                      <a:moveTo>
                        <a:pt x="76" y="63"/>
                      </a:moveTo>
                      <a:lnTo>
                        <a:pt x="76" y="63"/>
                      </a:lnTo>
                      <a:lnTo>
                        <a:pt x="76" y="63"/>
                      </a:lnTo>
                      <a:lnTo>
                        <a:pt x="67" y="61"/>
                      </a:lnTo>
                      <a:lnTo>
                        <a:pt x="66" y="64"/>
                      </a:lnTo>
                      <a:lnTo>
                        <a:pt x="66" y="64"/>
                      </a:lnTo>
                      <a:lnTo>
                        <a:pt x="76" y="66"/>
                      </a:lnTo>
                      <a:lnTo>
                        <a:pt x="76" y="66"/>
                      </a:lnTo>
                      <a:lnTo>
                        <a:pt x="76" y="63"/>
                      </a:lnTo>
                      <a:close/>
                      <a:moveTo>
                        <a:pt x="90" y="61"/>
                      </a:moveTo>
                      <a:lnTo>
                        <a:pt x="90" y="61"/>
                      </a:lnTo>
                      <a:lnTo>
                        <a:pt x="90" y="61"/>
                      </a:lnTo>
                      <a:lnTo>
                        <a:pt x="90" y="61"/>
                      </a:lnTo>
                      <a:lnTo>
                        <a:pt x="90" y="61"/>
                      </a:lnTo>
                      <a:lnTo>
                        <a:pt x="90" y="61"/>
                      </a:lnTo>
                      <a:lnTo>
                        <a:pt x="90" y="61"/>
                      </a:lnTo>
                      <a:lnTo>
                        <a:pt x="90" y="61"/>
                      </a:lnTo>
                      <a:lnTo>
                        <a:pt x="87" y="63"/>
                      </a:lnTo>
                      <a:lnTo>
                        <a:pt x="87" y="63"/>
                      </a:lnTo>
                      <a:lnTo>
                        <a:pt x="81" y="63"/>
                      </a:lnTo>
                      <a:lnTo>
                        <a:pt x="81" y="66"/>
                      </a:lnTo>
                      <a:lnTo>
                        <a:pt x="81" y="66"/>
                      </a:lnTo>
                      <a:lnTo>
                        <a:pt x="87" y="64"/>
                      </a:lnTo>
                      <a:lnTo>
                        <a:pt x="87" y="64"/>
                      </a:lnTo>
                      <a:lnTo>
                        <a:pt x="92" y="64"/>
                      </a:lnTo>
                      <a:lnTo>
                        <a:pt x="92" y="63"/>
                      </a:lnTo>
                      <a:lnTo>
                        <a:pt x="90" y="61"/>
                      </a:lnTo>
                      <a:close/>
                      <a:moveTo>
                        <a:pt x="99" y="48"/>
                      </a:moveTo>
                      <a:lnTo>
                        <a:pt x="99" y="48"/>
                      </a:lnTo>
                      <a:lnTo>
                        <a:pt x="93" y="57"/>
                      </a:lnTo>
                      <a:lnTo>
                        <a:pt x="96" y="58"/>
                      </a:lnTo>
                      <a:lnTo>
                        <a:pt x="96" y="58"/>
                      </a:lnTo>
                      <a:lnTo>
                        <a:pt x="100" y="50"/>
                      </a:lnTo>
                      <a:lnTo>
                        <a:pt x="99" y="48"/>
                      </a:lnTo>
                      <a:close/>
                      <a:moveTo>
                        <a:pt x="106" y="35"/>
                      </a:moveTo>
                      <a:lnTo>
                        <a:pt x="106" y="35"/>
                      </a:lnTo>
                      <a:lnTo>
                        <a:pt x="102" y="44"/>
                      </a:lnTo>
                      <a:lnTo>
                        <a:pt x="103" y="45"/>
                      </a:lnTo>
                      <a:lnTo>
                        <a:pt x="103" y="45"/>
                      </a:lnTo>
                      <a:lnTo>
                        <a:pt x="109" y="37"/>
                      </a:lnTo>
                      <a:lnTo>
                        <a:pt x="106" y="35"/>
                      </a:lnTo>
                      <a:close/>
                      <a:moveTo>
                        <a:pt x="115" y="22"/>
                      </a:moveTo>
                      <a:lnTo>
                        <a:pt x="115" y="22"/>
                      </a:lnTo>
                      <a:lnTo>
                        <a:pt x="109" y="31"/>
                      </a:lnTo>
                      <a:lnTo>
                        <a:pt x="110" y="32"/>
                      </a:lnTo>
                      <a:lnTo>
                        <a:pt x="110" y="32"/>
                      </a:lnTo>
                      <a:lnTo>
                        <a:pt x="116" y="24"/>
                      </a:lnTo>
                      <a:lnTo>
                        <a:pt x="115" y="22"/>
                      </a:lnTo>
                      <a:close/>
                      <a:moveTo>
                        <a:pt x="126" y="13"/>
                      </a:moveTo>
                      <a:lnTo>
                        <a:pt x="126" y="13"/>
                      </a:lnTo>
                      <a:lnTo>
                        <a:pt x="118" y="19"/>
                      </a:lnTo>
                      <a:lnTo>
                        <a:pt x="119" y="21"/>
                      </a:lnTo>
                      <a:lnTo>
                        <a:pt x="119" y="21"/>
                      </a:lnTo>
                      <a:lnTo>
                        <a:pt x="128" y="15"/>
                      </a:lnTo>
                      <a:lnTo>
                        <a:pt x="126" y="13"/>
                      </a:lnTo>
                      <a:close/>
                      <a:moveTo>
                        <a:pt x="141" y="6"/>
                      </a:moveTo>
                      <a:lnTo>
                        <a:pt x="141" y="6"/>
                      </a:lnTo>
                      <a:lnTo>
                        <a:pt x="131" y="11"/>
                      </a:lnTo>
                      <a:lnTo>
                        <a:pt x="132" y="13"/>
                      </a:lnTo>
                      <a:lnTo>
                        <a:pt x="132" y="13"/>
                      </a:lnTo>
                      <a:lnTo>
                        <a:pt x="142" y="9"/>
                      </a:lnTo>
                      <a:lnTo>
                        <a:pt x="141" y="6"/>
                      </a:lnTo>
                      <a:close/>
                      <a:moveTo>
                        <a:pt x="154" y="0"/>
                      </a:moveTo>
                      <a:lnTo>
                        <a:pt x="154" y="0"/>
                      </a:lnTo>
                      <a:lnTo>
                        <a:pt x="145" y="5"/>
                      </a:lnTo>
                      <a:lnTo>
                        <a:pt x="147" y="6"/>
                      </a:lnTo>
                      <a:lnTo>
                        <a:pt x="147" y="6"/>
                      </a:lnTo>
                      <a:lnTo>
                        <a:pt x="155" y="2"/>
                      </a:lnTo>
                      <a:lnTo>
                        <a:pt x="154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33" name="Freeform 1587"/>
                <p:cNvSpPr>
                  <a:spLocks noEditPoints="1"/>
                </p:cNvSpPr>
                <p:nvPr/>
              </p:nvSpPr>
              <p:spPr bwMode="auto">
                <a:xfrm>
                  <a:off x="4911316" y="3458602"/>
                  <a:ext cx="148389" cy="58366"/>
                </a:xfrm>
                <a:custGeom>
                  <a:avLst/>
                  <a:gdLst>
                    <a:gd name="T0" fmla="*/ 150 w 150"/>
                    <a:gd name="T1" fmla="*/ 36 h 59"/>
                    <a:gd name="T2" fmla="*/ 141 w 150"/>
                    <a:gd name="T3" fmla="*/ 39 h 59"/>
                    <a:gd name="T4" fmla="*/ 128 w 150"/>
                    <a:gd name="T5" fmla="*/ 47 h 59"/>
                    <a:gd name="T6" fmla="*/ 137 w 150"/>
                    <a:gd name="T7" fmla="*/ 42 h 59"/>
                    <a:gd name="T8" fmla="*/ 114 w 150"/>
                    <a:gd name="T9" fmla="*/ 49 h 59"/>
                    <a:gd name="T10" fmla="*/ 118 w 150"/>
                    <a:gd name="T11" fmla="*/ 47 h 59"/>
                    <a:gd name="T12" fmla="*/ 120 w 150"/>
                    <a:gd name="T13" fmla="*/ 47 h 59"/>
                    <a:gd name="T14" fmla="*/ 123 w 150"/>
                    <a:gd name="T15" fmla="*/ 44 h 59"/>
                    <a:gd name="T16" fmla="*/ 120 w 150"/>
                    <a:gd name="T17" fmla="*/ 44 h 59"/>
                    <a:gd name="T18" fmla="*/ 117 w 150"/>
                    <a:gd name="T19" fmla="*/ 44 h 59"/>
                    <a:gd name="T20" fmla="*/ 112 w 150"/>
                    <a:gd name="T21" fmla="*/ 47 h 59"/>
                    <a:gd name="T22" fmla="*/ 104 w 150"/>
                    <a:gd name="T23" fmla="*/ 56 h 59"/>
                    <a:gd name="T24" fmla="*/ 110 w 150"/>
                    <a:gd name="T25" fmla="*/ 56 h 59"/>
                    <a:gd name="T26" fmla="*/ 111 w 150"/>
                    <a:gd name="T27" fmla="*/ 52 h 59"/>
                    <a:gd name="T28" fmla="*/ 110 w 150"/>
                    <a:gd name="T29" fmla="*/ 55 h 59"/>
                    <a:gd name="T30" fmla="*/ 104 w 150"/>
                    <a:gd name="T31" fmla="*/ 55 h 59"/>
                    <a:gd name="T32" fmla="*/ 88 w 150"/>
                    <a:gd name="T33" fmla="*/ 57 h 59"/>
                    <a:gd name="T34" fmla="*/ 97 w 150"/>
                    <a:gd name="T35" fmla="*/ 59 h 59"/>
                    <a:gd name="T36" fmla="*/ 98 w 150"/>
                    <a:gd name="T37" fmla="*/ 55 h 59"/>
                    <a:gd name="T38" fmla="*/ 97 w 150"/>
                    <a:gd name="T39" fmla="*/ 56 h 59"/>
                    <a:gd name="T40" fmla="*/ 89 w 150"/>
                    <a:gd name="T41" fmla="*/ 56 h 59"/>
                    <a:gd name="T42" fmla="*/ 75 w 150"/>
                    <a:gd name="T43" fmla="*/ 53 h 59"/>
                    <a:gd name="T44" fmla="*/ 81 w 150"/>
                    <a:gd name="T45" fmla="*/ 55 h 59"/>
                    <a:gd name="T46" fmla="*/ 85 w 150"/>
                    <a:gd name="T47" fmla="*/ 53 h 59"/>
                    <a:gd name="T48" fmla="*/ 82 w 150"/>
                    <a:gd name="T49" fmla="*/ 52 h 59"/>
                    <a:gd name="T50" fmla="*/ 75 w 150"/>
                    <a:gd name="T51" fmla="*/ 52 h 59"/>
                    <a:gd name="T52" fmla="*/ 60 w 150"/>
                    <a:gd name="T53" fmla="*/ 55 h 59"/>
                    <a:gd name="T54" fmla="*/ 70 w 150"/>
                    <a:gd name="T55" fmla="*/ 55 h 59"/>
                    <a:gd name="T56" fmla="*/ 63 w 150"/>
                    <a:gd name="T57" fmla="*/ 52 h 59"/>
                    <a:gd name="T58" fmla="*/ 60 w 150"/>
                    <a:gd name="T59" fmla="*/ 55 h 59"/>
                    <a:gd name="T60" fmla="*/ 50 w 150"/>
                    <a:gd name="T61" fmla="*/ 50 h 59"/>
                    <a:gd name="T62" fmla="*/ 55 w 150"/>
                    <a:gd name="T63" fmla="*/ 53 h 59"/>
                    <a:gd name="T64" fmla="*/ 53 w 150"/>
                    <a:gd name="T65" fmla="*/ 49 h 59"/>
                    <a:gd name="T66" fmla="*/ 49 w 150"/>
                    <a:gd name="T67" fmla="*/ 44 h 59"/>
                    <a:gd name="T68" fmla="*/ 47 w 150"/>
                    <a:gd name="T69" fmla="*/ 39 h 59"/>
                    <a:gd name="T70" fmla="*/ 50 w 150"/>
                    <a:gd name="T71" fmla="*/ 29 h 59"/>
                    <a:gd name="T72" fmla="*/ 40 w 150"/>
                    <a:gd name="T73" fmla="*/ 24 h 59"/>
                    <a:gd name="T74" fmla="*/ 46 w 150"/>
                    <a:gd name="T75" fmla="*/ 23 h 59"/>
                    <a:gd name="T76" fmla="*/ 47 w 150"/>
                    <a:gd name="T77" fmla="*/ 24 h 59"/>
                    <a:gd name="T78" fmla="*/ 49 w 150"/>
                    <a:gd name="T79" fmla="*/ 21 h 59"/>
                    <a:gd name="T80" fmla="*/ 46 w 150"/>
                    <a:gd name="T81" fmla="*/ 20 h 59"/>
                    <a:gd name="T82" fmla="*/ 40 w 150"/>
                    <a:gd name="T83" fmla="*/ 21 h 59"/>
                    <a:gd name="T84" fmla="*/ 26 w 150"/>
                    <a:gd name="T85" fmla="*/ 17 h 59"/>
                    <a:gd name="T86" fmla="*/ 36 w 150"/>
                    <a:gd name="T87" fmla="*/ 20 h 59"/>
                    <a:gd name="T88" fmla="*/ 13 w 150"/>
                    <a:gd name="T89" fmla="*/ 8 h 59"/>
                    <a:gd name="T90" fmla="*/ 23 w 150"/>
                    <a:gd name="T91" fmla="*/ 13 h 59"/>
                    <a:gd name="T92" fmla="*/ 13 w 150"/>
                    <a:gd name="T93" fmla="*/ 8 h 59"/>
                    <a:gd name="T94" fmla="*/ 5 w 150"/>
                    <a:gd name="T95" fmla="*/ 4 h 59"/>
                    <a:gd name="T96" fmla="*/ 10 w 150"/>
                    <a:gd name="T97" fmla="*/ 4 h 59"/>
                    <a:gd name="T98" fmla="*/ 7 w 150"/>
                    <a:gd name="T99" fmla="*/ 2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50" h="59">
                      <a:moveTo>
                        <a:pt x="143" y="42"/>
                      </a:moveTo>
                      <a:lnTo>
                        <a:pt x="143" y="42"/>
                      </a:lnTo>
                      <a:lnTo>
                        <a:pt x="150" y="36"/>
                      </a:lnTo>
                      <a:lnTo>
                        <a:pt x="149" y="33"/>
                      </a:lnTo>
                      <a:lnTo>
                        <a:pt x="149" y="33"/>
                      </a:lnTo>
                      <a:lnTo>
                        <a:pt x="141" y="39"/>
                      </a:lnTo>
                      <a:lnTo>
                        <a:pt x="143" y="42"/>
                      </a:lnTo>
                      <a:close/>
                      <a:moveTo>
                        <a:pt x="128" y="47"/>
                      </a:moveTo>
                      <a:lnTo>
                        <a:pt x="128" y="47"/>
                      </a:lnTo>
                      <a:lnTo>
                        <a:pt x="139" y="43"/>
                      </a:lnTo>
                      <a:lnTo>
                        <a:pt x="137" y="42"/>
                      </a:lnTo>
                      <a:lnTo>
                        <a:pt x="137" y="42"/>
                      </a:lnTo>
                      <a:lnTo>
                        <a:pt x="128" y="44"/>
                      </a:lnTo>
                      <a:lnTo>
                        <a:pt x="128" y="47"/>
                      </a:lnTo>
                      <a:close/>
                      <a:moveTo>
                        <a:pt x="114" y="49"/>
                      </a:moveTo>
                      <a:lnTo>
                        <a:pt x="115" y="47"/>
                      </a:lnTo>
                      <a:lnTo>
                        <a:pt x="115" y="47"/>
                      </a:lnTo>
                      <a:lnTo>
                        <a:pt x="118" y="47"/>
                      </a:lnTo>
                      <a:lnTo>
                        <a:pt x="118" y="47"/>
                      </a:lnTo>
                      <a:lnTo>
                        <a:pt x="120" y="47"/>
                      </a:lnTo>
                      <a:lnTo>
                        <a:pt x="120" y="47"/>
                      </a:lnTo>
                      <a:lnTo>
                        <a:pt x="123" y="47"/>
                      </a:lnTo>
                      <a:lnTo>
                        <a:pt x="123" y="47"/>
                      </a:lnTo>
                      <a:lnTo>
                        <a:pt x="123" y="44"/>
                      </a:lnTo>
                      <a:lnTo>
                        <a:pt x="123" y="44"/>
                      </a:lnTo>
                      <a:lnTo>
                        <a:pt x="123" y="44"/>
                      </a:lnTo>
                      <a:lnTo>
                        <a:pt x="120" y="44"/>
                      </a:lnTo>
                      <a:lnTo>
                        <a:pt x="120" y="44"/>
                      </a:lnTo>
                      <a:lnTo>
                        <a:pt x="117" y="44"/>
                      </a:lnTo>
                      <a:lnTo>
                        <a:pt x="117" y="44"/>
                      </a:lnTo>
                      <a:lnTo>
                        <a:pt x="114" y="46"/>
                      </a:lnTo>
                      <a:lnTo>
                        <a:pt x="114" y="46"/>
                      </a:lnTo>
                      <a:lnTo>
                        <a:pt x="112" y="47"/>
                      </a:lnTo>
                      <a:lnTo>
                        <a:pt x="114" y="49"/>
                      </a:lnTo>
                      <a:close/>
                      <a:moveTo>
                        <a:pt x="104" y="56"/>
                      </a:moveTo>
                      <a:lnTo>
                        <a:pt x="104" y="56"/>
                      </a:lnTo>
                      <a:lnTo>
                        <a:pt x="107" y="57"/>
                      </a:lnTo>
                      <a:lnTo>
                        <a:pt x="107" y="57"/>
                      </a:lnTo>
                      <a:lnTo>
                        <a:pt x="110" y="56"/>
                      </a:lnTo>
                      <a:lnTo>
                        <a:pt x="112" y="55"/>
                      </a:lnTo>
                      <a:lnTo>
                        <a:pt x="114" y="53"/>
                      </a:lnTo>
                      <a:lnTo>
                        <a:pt x="111" y="52"/>
                      </a:lnTo>
                      <a:lnTo>
                        <a:pt x="111" y="53"/>
                      </a:lnTo>
                      <a:lnTo>
                        <a:pt x="111" y="53"/>
                      </a:lnTo>
                      <a:lnTo>
                        <a:pt x="110" y="55"/>
                      </a:lnTo>
                      <a:lnTo>
                        <a:pt x="107" y="55"/>
                      </a:lnTo>
                      <a:lnTo>
                        <a:pt x="107" y="55"/>
                      </a:lnTo>
                      <a:lnTo>
                        <a:pt x="104" y="55"/>
                      </a:lnTo>
                      <a:lnTo>
                        <a:pt x="104" y="56"/>
                      </a:lnTo>
                      <a:close/>
                      <a:moveTo>
                        <a:pt x="88" y="57"/>
                      </a:moveTo>
                      <a:lnTo>
                        <a:pt x="88" y="57"/>
                      </a:lnTo>
                      <a:lnTo>
                        <a:pt x="94" y="59"/>
                      </a:lnTo>
                      <a:lnTo>
                        <a:pt x="94" y="59"/>
                      </a:lnTo>
                      <a:lnTo>
                        <a:pt x="97" y="59"/>
                      </a:lnTo>
                      <a:lnTo>
                        <a:pt x="98" y="57"/>
                      </a:lnTo>
                      <a:lnTo>
                        <a:pt x="99" y="57"/>
                      </a:lnTo>
                      <a:lnTo>
                        <a:pt x="98" y="55"/>
                      </a:lnTo>
                      <a:lnTo>
                        <a:pt x="98" y="55"/>
                      </a:lnTo>
                      <a:lnTo>
                        <a:pt x="97" y="56"/>
                      </a:lnTo>
                      <a:lnTo>
                        <a:pt x="97" y="56"/>
                      </a:lnTo>
                      <a:lnTo>
                        <a:pt x="94" y="57"/>
                      </a:lnTo>
                      <a:lnTo>
                        <a:pt x="94" y="57"/>
                      </a:lnTo>
                      <a:lnTo>
                        <a:pt x="89" y="56"/>
                      </a:lnTo>
                      <a:lnTo>
                        <a:pt x="88" y="57"/>
                      </a:lnTo>
                      <a:close/>
                      <a:moveTo>
                        <a:pt x="75" y="53"/>
                      </a:moveTo>
                      <a:lnTo>
                        <a:pt x="75" y="53"/>
                      </a:lnTo>
                      <a:lnTo>
                        <a:pt x="78" y="53"/>
                      </a:lnTo>
                      <a:lnTo>
                        <a:pt x="78" y="53"/>
                      </a:lnTo>
                      <a:lnTo>
                        <a:pt x="81" y="55"/>
                      </a:lnTo>
                      <a:lnTo>
                        <a:pt x="81" y="55"/>
                      </a:lnTo>
                      <a:lnTo>
                        <a:pt x="84" y="56"/>
                      </a:lnTo>
                      <a:lnTo>
                        <a:pt x="85" y="53"/>
                      </a:lnTo>
                      <a:lnTo>
                        <a:pt x="85" y="53"/>
                      </a:lnTo>
                      <a:lnTo>
                        <a:pt x="82" y="52"/>
                      </a:lnTo>
                      <a:lnTo>
                        <a:pt x="82" y="52"/>
                      </a:lnTo>
                      <a:lnTo>
                        <a:pt x="78" y="52"/>
                      </a:lnTo>
                      <a:lnTo>
                        <a:pt x="78" y="52"/>
                      </a:lnTo>
                      <a:lnTo>
                        <a:pt x="75" y="52"/>
                      </a:lnTo>
                      <a:lnTo>
                        <a:pt x="75" y="53"/>
                      </a:lnTo>
                      <a:close/>
                      <a:moveTo>
                        <a:pt x="60" y="55"/>
                      </a:moveTo>
                      <a:lnTo>
                        <a:pt x="60" y="55"/>
                      </a:lnTo>
                      <a:lnTo>
                        <a:pt x="63" y="55"/>
                      </a:lnTo>
                      <a:lnTo>
                        <a:pt x="63" y="55"/>
                      </a:lnTo>
                      <a:lnTo>
                        <a:pt x="70" y="55"/>
                      </a:lnTo>
                      <a:lnTo>
                        <a:pt x="70" y="52"/>
                      </a:lnTo>
                      <a:lnTo>
                        <a:pt x="70" y="52"/>
                      </a:lnTo>
                      <a:lnTo>
                        <a:pt x="63" y="52"/>
                      </a:lnTo>
                      <a:lnTo>
                        <a:pt x="63" y="52"/>
                      </a:lnTo>
                      <a:lnTo>
                        <a:pt x="60" y="52"/>
                      </a:lnTo>
                      <a:lnTo>
                        <a:pt x="60" y="55"/>
                      </a:lnTo>
                      <a:close/>
                      <a:moveTo>
                        <a:pt x="49" y="44"/>
                      </a:moveTo>
                      <a:lnTo>
                        <a:pt x="49" y="44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52" y="52"/>
                      </a:lnTo>
                      <a:lnTo>
                        <a:pt x="55" y="53"/>
                      </a:lnTo>
                      <a:lnTo>
                        <a:pt x="55" y="52"/>
                      </a:lnTo>
                      <a:lnTo>
                        <a:pt x="55" y="52"/>
                      </a:lnTo>
                      <a:lnTo>
                        <a:pt x="53" y="49"/>
                      </a:lnTo>
                      <a:lnTo>
                        <a:pt x="53" y="49"/>
                      </a:lnTo>
                      <a:lnTo>
                        <a:pt x="50" y="44"/>
                      </a:lnTo>
                      <a:lnTo>
                        <a:pt x="49" y="44"/>
                      </a:lnTo>
                      <a:close/>
                      <a:moveTo>
                        <a:pt x="47" y="29"/>
                      </a:moveTo>
                      <a:lnTo>
                        <a:pt x="47" y="29"/>
                      </a:lnTo>
                      <a:lnTo>
                        <a:pt x="47" y="39"/>
                      </a:lnTo>
                      <a:lnTo>
                        <a:pt x="50" y="39"/>
                      </a:lnTo>
                      <a:lnTo>
                        <a:pt x="50" y="39"/>
                      </a:lnTo>
                      <a:lnTo>
                        <a:pt x="50" y="29"/>
                      </a:lnTo>
                      <a:lnTo>
                        <a:pt x="47" y="29"/>
                      </a:lnTo>
                      <a:close/>
                      <a:moveTo>
                        <a:pt x="40" y="24"/>
                      </a:moveTo>
                      <a:lnTo>
                        <a:pt x="40" y="24"/>
                      </a:lnTo>
                      <a:lnTo>
                        <a:pt x="44" y="23"/>
                      </a:lnTo>
                      <a:lnTo>
                        <a:pt x="44" y="23"/>
                      </a:lnTo>
                      <a:lnTo>
                        <a:pt x="46" y="23"/>
                      </a:lnTo>
                      <a:lnTo>
                        <a:pt x="46" y="23"/>
                      </a:lnTo>
                      <a:lnTo>
                        <a:pt x="46" y="23"/>
                      </a:lnTo>
                      <a:lnTo>
                        <a:pt x="47" y="24"/>
                      </a:lnTo>
                      <a:lnTo>
                        <a:pt x="49" y="24"/>
                      </a:lnTo>
                      <a:lnTo>
                        <a:pt x="49" y="24"/>
                      </a:lnTo>
                      <a:lnTo>
                        <a:pt x="49" y="21"/>
                      </a:lnTo>
                      <a:lnTo>
                        <a:pt x="49" y="21"/>
                      </a:lnTo>
                      <a:lnTo>
                        <a:pt x="46" y="20"/>
                      </a:lnTo>
                      <a:lnTo>
                        <a:pt x="46" y="20"/>
                      </a:lnTo>
                      <a:lnTo>
                        <a:pt x="43" y="20"/>
                      </a:lnTo>
                      <a:lnTo>
                        <a:pt x="43" y="20"/>
                      </a:lnTo>
                      <a:lnTo>
                        <a:pt x="40" y="21"/>
                      </a:lnTo>
                      <a:lnTo>
                        <a:pt x="40" y="24"/>
                      </a:lnTo>
                      <a:close/>
                      <a:moveTo>
                        <a:pt x="26" y="17"/>
                      </a:moveTo>
                      <a:lnTo>
                        <a:pt x="26" y="17"/>
                      </a:lnTo>
                      <a:lnTo>
                        <a:pt x="34" y="23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27" y="15"/>
                      </a:lnTo>
                      <a:lnTo>
                        <a:pt x="26" y="17"/>
                      </a:lnTo>
                      <a:close/>
                      <a:moveTo>
                        <a:pt x="13" y="8"/>
                      </a:moveTo>
                      <a:lnTo>
                        <a:pt x="13" y="8"/>
                      </a:lnTo>
                      <a:lnTo>
                        <a:pt x="21" y="14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14" y="7"/>
                      </a:lnTo>
                      <a:lnTo>
                        <a:pt x="13" y="8"/>
                      </a:lnTo>
                      <a:close/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5" y="4"/>
                      </a:lnTo>
                      <a:lnTo>
                        <a:pt x="5" y="4"/>
                      </a:lnTo>
                      <a:lnTo>
                        <a:pt x="8" y="5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7" y="2"/>
                      </a:lnTo>
                      <a:lnTo>
                        <a:pt x="7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34" name="Freeform 1588"/>
                <p:cNvSpPr>
                  <a:spLocks noEditPoints="1"/>
                </p:cNvSpPr>
                <p:nvPr/>
              </p:nvSpPr>
              <p:spPr bwMode="auto">
                <a:xfrm>
                  <a:off x="4794583" y="3456623"/>
                  <a:ext cx="107829" cy="87055"/>
                </a:xfrm>
                <a:custGeom>
                  <a:avLst/>
                  <a:gdLst>
                    <a:gd name="T0" fmla="*/ 102 w 109"/>
                    <a:gd name="T1" fmla="*/ 3 h 88"/>
                    <a:gd name="T2" fmla="*/ 109 w 109"/>
                    <a:gd name="T3" fmla="*/ 2 h 88"/>
                    <a:gd name="T4" fmla="*/ 102 w 109"/>
                    <a:gd name="T5" fmla="*/ 0 h 88"/>
                    <a:gd name="T6" fmla="*/ 86 w 109"/>
                    <a:gd name="T7" fmla="*/ 7 h 88"/>
                    <a:gd name="T8" fmla="*/ 87 w 109"/>
                    <a:gd name="T9" fmla="*/ 6 h 88"/>
                    <a:gd name="T10" fmla="*/ 93 w 109"/>
                    <a:gd name="T11" fmla="*/ 2 h 88"/>
                    <a:gd name="T12" fmla="*/ 86 w 109"/>
                    <a:gd name="T13" fmla="*/ 4 h 88"/>
                    <a:gd name="T14" fmla="*/ 78 w 109"/>
                    <a:gd name="T15" fmla="*/ 20 h 88"/>
                    <a:gd name="T16" fmla="*/ 80 w 109"/>
                    <a:gd name="T17" fmla="*/ 10 h 88"/>
                    <a:gd name="T18" fmla="*/ 78 w 109"/>
                    <a:gd name="T19" fmla="*/ 20 h 88"/>
                    <a:gd name="T20" fmla="*/ 76 w 109"/>
                    <a:gd name="T21" fmla="*/ 29 h 88"/>
                    <a:gd name="T22" fmla="*/ 74 w 109"/>
                    <a:gd name="T23" fmla="*/ 25 h 88"/>
                    <a:gd name="T24" fmla="*/ 74 w 109"/>
                    <a:gd name="T25" fmla="*/ 29 h 88"/>
                    <a:gd name="T26" fmla="*/ 73 w 109"/>
                    <a:gd name="T27" fmla="*/ 49 h 88"/>
                    <a:gd name="T28" fmla="*/ 71 w 109"/>
                    <a:gd name="T29" fmla="*/ 46 h 88"/>
                    <a:gd name="T30" fmla="*/ 71 w 109"/>
                    <a:gd name="T31" fmla="*/ 39 h 88"/>
                    <a:gd name="T32" fmla="*/ 70 w 109"/>
                    <a:gd name="T33" fmla="*/ 46 h 88"/>
                    <a:gd name="T34" fmla="*/ 70 w 109"/>
                    <a:gd name="T35" fmla="*/ 51 h 88"/>
                    <a:gd name="T36" fmla="*/ 80 w 109"/>
                    <a:gd name="T37" fmla="*/ 61 h 88"/>
                    <a:gd name="T38" fmla="*/ 73 w 109"/>
                    <a:gd name="T39" fmla="*/ 55 h 88"/>
                    <a:gd name="T40" fmla="*/ 91 w 109"/>
                    <a:gd name="T41" fmla="*/ 71 h 88"/>
                    <a:gd name="T42" fmla="*/ 84 w 109"/>
                    <a:gd name="T43" fmla="*/ 65 h 88"/>
                    <a:gd name="T44" fmla="*/ 90 w 109"/>
                    <a:gd name="T45" fmla="*/ 73 h 88"/>
                    <a:gd name="T46" fmla="*/ 104 w 109"/>
                    <a:gd name="T47" fmla="*/ 74 h 88"/>
                    <a:gd name="T48" fmla="*/ 103 w 109"/>
                    <a:gd name="T49" fmla="*/ 70 h 88"/>
                    <a:gd name="T50" fmla="*/ 100 w 109"/>
                    <a:gd name="T51" fmla="*/ 68 h 88"/>
                    <a:gd name="T52" fmla="*/ 96 w 109"/>
                    <a:gd name="T53" fmla="*/ 71 h 88"/>
                    <a:gd name="T54" fmla="*/ 99 w 109"/>
                    <a:gd name="T55" fmla="*/ 73 h 88"/>
                    <a:gd name="T56" fmla="*/ 100 w 109"/>
                    <a:gd name="T57" fmla="*/ 71 h 88"/>
                    <a:gd name="T58" fmla="*/ 102 w 109"/>
                    <a:gd name="T59" fmla="*/ 73 h 88"/>
                    <a:gd name="T60" fmla="*/ 94 w 109"/>
                    <a:gd name="T61" fmla="*/ 87 h 88"/>
                    <a:gd name="T62" fmla="*/ 102 w 109"/>
                    <a:gd name="T63" fmla="*/ 80 h 88"/>
                    <a:gd name="T64" fmla="*/ 97 w 109"/>
                    <a:gd name="T65" fmla="*/ 83 h 88"/>
                    <a:gd name="T66" fmla="*/ 78 w 109"/>
                    <a:gd name="T67" fmla="*/ 86 h 88"/>
                    <a:gd name="T68" fmla="*/ 89 w 109"/>
                    <a:gd name="T69" fmla="*/ 88 h 88"/>
                    <a:gd name="T70" fmla="*/ 89 w 109"/>
                    <a:gd name="T71" fmla="*/ 86 h 88"/>
                    <a:gd name="T72" fmla="*/ 80 w 109"/>
                    <a:gd name="T73" fmla="*/ 83 h 88"/>
                    <a:gd name="T74" fmla="*/ 70 w 109"/>
                    <a:gd name="T75" fmla="*/ 74 h 88"/>
                    <a:gd name="T76" fmla="*/ 77 w 109"/>
                    <a:gd name="T77" fmla="*/ 80 h 88"/>
                    <a:gd name="T78" fmla="*/ 74 w 109"/>
                    <a:gd name="T79" fmla="*/ 75 h 88"/>
                    <a:gd name="T80" fmla="*/ 57 w 109"/>
                    <a:gd name="T81" fmla="*/ 65 h 88"/>
                    <a:gd name="T82" fmla="*/ 67 w 109"/>
                    <a:gd name="T83" fmla="*/ 68 h 88"/>
                    <a:gd name="T84" fmla="*/ 57 w 109"/>
                    <a:gd name="T85" fmla="*/ 65 h 88"/>
                    <a:gd name="T86" fmla="*/ 52 w 109"/>
                    <a:gd name="T87" fmla="*/ 64 h 88"/>
                    <a:gd name="T88" fmla="*/ 44 w 109"/>
                    <a:gd name="T89" fmla="*/ 58 h 88"/>
                    <a:gd name="T90" fmla="*/ 28 w 109"/>
                    <a:gd name="T91" fmla="*/ 55 h 88"/>
                    <a:gd name="T92" fmla="*/ 39 w 109"/>
                    <a:gd name="T93" fmla="*/ 57 h 88"/>
                    <a:gd name="T94" fmla="*/ 15 w 109"/>
                    <a:gd name="T95" fmla="*/ 55 h 88"/>
                    <a:gd name="T96" fmla="*/ 22 w 109"/>
                    <a:gd name="T97" fmla="*/ 54 h 88"/>
                    <a:gd name="T98" fmla="*/ 25 w 109"/>
                    <a:gd name="T99" fmla="*/ 51 h 88"/>
                    <a:gd name="T100" fmla="*/ 18 w 109"/>
                    <a:gd name="T101" fmla="*/ 51 h 88"/>
                    <a:gd name="T102" fmla="*/ 0 w 109"/>
                    <a:gd name="T103" fmla="*/ 48 h 88"/>
                    <a:gd name="T104" fmla="*/ 3 w 109"/>
                    <a:gd name="T105" fmla="*/ 49 h 88"/>
                    <a:gd name="T106" fmla="*/ 10 w 109"/>
                    <a:gd name="T107" fmla="*/ 51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09" h="88">
                      <a:moveTo>
                        <a:pt x="99" y="3"/>
                      </a:moveTo>
                      <a:lnTo>
                        <a:pt x="99" y="3"/>
                      </a:lnTo>
                      <a:lnTo>
                        <a:pt x="102" y="3"/>
                      </a:lnTo>
                      <a:lnTo>
                        <a:pt x="102" y="3"/>
                      </a:lnTo>
                      <a:lnTo>
                        <a:pt x="107" y="3"/>
                      </a:lnTo>
                      <a:lnTo>
                        <a:pt x="109" y="2"/>
                      </a:lnTo>
                      <a:lnTo>
                        <a:pt x="109" y="2"/>
                      </a:lnTo>
                      <a:lnTo>
                        <a:pt x="102" y="0"/>
                      </a:lnTo>
                      <a:lnTo>
                        <a:pt x="102" y="0"/>
                      </a:lnTo>
                      <a:lnTo>
                        <a:pt x="97" y="0"/>
                      </a:lnTo>
                      <a:lnTo>
                        <a:pt x="99" y="3"/>
                      </a:lnTo>
                      <a:close/>
                      <a:moveTo>
                        <a:pt x="86" y="7"/>
                      </a:moveTo>
                      <a:lnTo>
                        <a:pt x="86" y="7"/>
                      </a:lnTo>
                      <a:lnTo>
                        <a:pt x="87" y="6"/>
                      </a:lnTo>
                      <a:lnTo>
                        <a:pt x="87" y="6"/>
                      </a:lnTo>
                      <a:lnTo>
                        <a:pt x="93" y="4"/>
                      </a:lnTo>
                      <a:lnTo>
                        <a:pt x="93" y="2"/>
                      </a:lnTo>
                      <a:lnTo>
                        <a:pt x="93" y="2"/>
                      </a:lnTo>
                      <a:lnTo>
                        <a:pt x="89" y="3"/>
                      </a:lnTo>
                      <a:lnTo>
                        <a:pt x="86" y="4"/>
                      </a:lnTo>
                      <a:lnTo>
                        <a:pt x="86" y="4"/>
                      </a:lnTo>
                      <a:lnTo>
                        <a:pt x="83" y="6"/>
                      </a:lnTo>
                      <a:lnTo>
                        <a:pt x="86" y="7"/>
                      </a:lnTo>
                      <a:close/>
                      <a:moveTo>
                        <a:pt x="78" y="20"/>
                      </a:moveTo>
                      <a:lnTo>
                        <a:pt x="78" y="20"/>
                      </a:lnTo>
                      <a:lnTo>
                        <a:pt x="83" y="12"/>
                      </a:lnTo>
                      <a:lnTo>
                        <a:pt x="80" y="10"/>
                      </a:lnTo>
                      <a:lnTo>
                        <a:pt x="80" y="10"/>
                      </a:lnTo>
                      <a:lnTo>
                        <a:pt x="76" y="20"/>
                      </a:lnTo>
                      <a:lnTo>
                        <a:pt x="78" y="20"/>
                      </a:lnTo>
                      <a:close/>
                      <a:moveTo>
                        <a:pt x="76" y="35"/>
                      </a:moveTo>
                      <a:lnTo>
                        <a:pt x="76" y="35"/>
                      </a:lnTo>
                      <a:lnTo>
                        <a:pt x="76" y="29"/>
                      </a:lnTo>
                      <a:lnTo>
                        <a:pt x="76" y="29"/>
                      </a:lnTo>
                      <a:lnTo>
                        <a:pt x="77" y="26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29"/>
                      </a:lnTo>
                      <a:lnTo>
                        <a:pt x="74" y="29"/>
                      </a:lnTo>
                      <a:lnTo>
                        <a:pt x="73" y="35"/>
                      </a:lnTo>
                      <a:lnTo>
                        <a:pt x="76" y="35"/>
                      </a:lnTo>
                      <a:close/>
                      <a:moveTo>
                        <a:pt x="73" y="49"/>
                      </a:moveTo>
                      <a:lnTo>
                        <a:pt x="73" y="49"/>
                      </a:lnTo>
                      <a:lnTo>
                        <a:pt x="71" y="48"/>
                      </a:lnTo>
                      <a:lnTo>
                        <a:pt x="71" y="46"/>
                      </a:lnTo>
                      <a:lnTo>
                        <a:pt x="71" y="46"/>
                      </a:lnTo>
                      <a:lnTo>
                        <a:pt x="74" y="41"/>
                      </a:lnTo>
                      <a:lnTo>
                        <a:pt x="71" y="39"/>
                      </a:lnTo>
                      <a:lnTo>
                        <a:pt x="71" y="39"/>
                      </a:lnTo>
                      <a:lnTo>
                        <a:pt x="70" y="46"/>
                      </a:lnTo>
                      <a:lnTo>
                        <a:pt x="70" y="46"/>
                      </a:lnTo>
                      <a:lnTo>
                        <a:pt x="70" y="48"/>
                      </a:lnTo>
                      <a:lnTo>
                        <a:pt x="70" y="48"/>
                      </a:lnTo>
                      <a:lnTo>
                        <a:pt x="70" y="51"/>
                      </a:lnTo>
                      <a:lnTo>
                        <a:pt x="73" y="49"/>
                      </a:lnTo>
                      <a:close/>
                      <a:moveTo>
                        <a:pt x="80" y="61"/>
                      </a:moveTo>
                      <a:lnTo>
                        <a:pt x="80" y="61"/>
                      </a:lnTo>
                      <a:lnTo>
                        <a:pt x="74" y="54"/>
                      </a:lnTo>
                      <a:lnTo>
                        <a:pt x="73" y="55"/>
                      </a:lnTo>
                      <a:lnTo>
                        <a:pt x="73" y="55"/>
                      </a:lnTo>
                      <a:lnTo>
                        <a:pt x="78" y="64"/>
                      </a:lnTo>
                      <a:lnTo>
                        <a:pt x="80" y="61"/>
                      </a:lnTo>
                      <a:close/>
                      <a:moveTo>
                        <a:pt x="91" y="71"/>
                      </a:moveTo>
                      <a:lnTo>
                        <a:pt x="91" y="71"/>
                      </a:lnTo>
                      <a:lnTo>
                        <a:pt x="91" y="71"/>
                      </a:lnTo>
                      <a:lnTo>
                        <a:pt x="84" y="65"/>
                      </a:lnTo>
                      <a:lnTo>
                        <a:pt x="83" y="67"/>
                      </a:lnTo>
                      <a:lnTo>
                        <a:pt x="83" y="67"/>
                      </a:lnTo>
                      <a:lnTo>
                        <a:pt x="90" y="73"/>
                      </a:lnTo>
                      <a:lnTo>
                        <a:pt x="90" y="73"/>
                      </a:lnTo>
                      <a:lnTo>
                        <a:pt x="91" y="71"/>
                      </a:lnTo>
                      <a:close/>
                      <a:moveTo>
                        <a:pt x="104" y="74"/>
                      </a:moveTo>
                      <a:lnTo>
                        <a:pt x="104" y="73"/>
                      </a:lnTo>
                      <a:lnTo>
                        <a:pt x="104" y="73"/>
                      </a:lnTo>
                      <a:lnTo>
                        <a:pt x="103" y="70"/>
                      </a:lnTo>
                      <a:lnTo>
                        <a:pt x="103" y="70"/>
                      </a:lnTo>
                      <a:lnTo>
                        <a:pt x="100" y="68"/>
                      </a:lnTo>
                      <a:lnTo>
                        <a:pt x="100" y="68"/>
                      </a:lnTo>
                      <a:lnTo>
                        <a:pt x="97" y="70"/>
                      </a:lnTo>
                      <a:lnTo>
                        <a:pt x="97" y="70"/>
                      </a:lnTo>
                      <a:lnTo>
                        <a:pt x="96" y="71"/>
                      </a:lnTo>
                      <a:lnTo>
                        <a:pt x="97" y="74"/>
                      </a:lnTo>
                      <a:lnTo>
                        <a:pt x="97" y="74"/>
                      </a:lnTo>
                      <a:lnTo>
                        <a:pt x="99" y="73"/>
                      </a:lnTo>
                      <a:lnTo>
                        <a:pt x="99" y="73"/>
                      </a:lnTo>
                      <a:lnTo>
                        <a:pt x="100" y="71"/>
                      </a:lnTo>
                      <a:lnTo>
                        <a:pt x="100" y="71"/>
                      </a:lnTo>
                      <a:lnTo>
                        <a:pt x="102" y="71"/>
                      </a:lnTo>
                      <a:lnTo>
                        <a:pt x="102" y="71"/>
                      </a:lnTo>
                      <a:lnTo>
                        <a:pt x="102" y="73"/>
                      </a:lnTo>
                      <a:lnTo>
                        <a:pt x="102" y="74"/>
                      </a:lnTo>
                      <a:lnTo>
                        <a:pt x="104" y="74"/>
                      </a:lnTo>
                      <a:close/>
                      <a:moveTo>
                        <a:pt x="94" y="87"/>
                      </a:moveTo>
                      <a:lnTo>
                        <a:pt x="94" y="87"/>
                      </a:lnTo>
                      <a:lnTo>
                        <a:pt x="99" y="84"/>
                      </a:lnTo>
                      <a:lnTo>
                        <a:pt x="102" y="80"/>
                      </a:lnTo>
                      <a:lnTo>
                        <a:pt x="100" y="78"/>
                      </a:lnTo>
                      <a:lnTo>
                        <a:pt x="100" y="78"/>
                      </a:lnTo>
                      <a:lnTo>
                        <a:pt x="97" y="83"/>
                      </a:lnTo>
                      <a:lnTo>
                        <a:pt x="93" y="86"/>
                      </a:lnTo>
                      <a:lnTo>
                        <a:pt x="94" y="87"/>
                      </a:lnTo>
                      <a:close/>
                      <a:moveTo>
                        <a:pt x="78" y="86"/>
                      </a:moveTo>
                      <a:lnTo>
                        <a:pt x="78" y="86"/>
                      </a:lnTo>
                      <a:lnTo>
                        <a:pt x="84" y="87"/>
                      </a:lnTo>
                      <a:lnTo>
                        <a:pt x="89" y="88"/>
                      </a:lnTo>
                      <a:lnTo>
                        <a:pt x="89" y="88"/>
                      </a:lnTo>
                      <a:lnTo>
                        <a:pt x="89" y="86"/>
                      </a:lnTo>
                      <a:lnTo>
                        <a:pt x="89" y="86"/>
                      </a:lnTo>
                      <a:lnTo>
                        <a:pt x="89" y="86"/>
                      </a:lnTo>
                      <a:lnTo>
                        <a:pt x="84" y="86"/>
                      </a:lnTo>
                      <a:lnTo>
                        <a:pt x="80" y="83"/>
                      </a:lnTo>
                      <a:lnTo>
                        <a:pt x="78" y="86"/>
                      </a:lnTo>
                      <a:close/>
                      <a:moveTo>
                        <a:pt x="70" y="74"/>
                      </a:moveTo>
                      <a:lnTo>
                        <a:pt x="70" y="74"/>
                      </a:lnTo>
                      <a:lnTo>
                        <a:pt x="74" y="80"/>
                      </a:lnTo>
                      <a:lnTo>
                        <a:pt x="76" y="81"/>
                      </a:lnTo>
                      <a:lnTo>
                        <a:pt x="77" y="80"/>
                      </a:lnTo>
                      <a:lnTo>
                        <a:pt x="77" y="78"/>
                      </a:lnTo>
                      <a:lnTo>
                        <a:pt x="77" y="78"/>
                      </a:lnTo>
                      <a:lnTo>
                        <a:pt x="74" y="75"/>
                      </a:lnTo>
                      <a:lnTo>
                        <a:pt x="71" y="71"/>
                      </a:lnTo>
                      <a:lnTo>
                        <a:pt x="70" y="74"/>
                      </a:lnTo>
                      <a:close/>
                      <a:moveTo>
                        <a:pt x="57" y="65"/>
                      </a:moveTo>
                      <a:lnTo>
                        <a:pt x="57" y="65"/>
                      </a:lnTo>
                      <a:lnTo>
                        <a:pt x="65" y="70"/>
                      </a:lnTo>
                      <a:lnTo>
                        <a:pt x="67" y="68"/>
                      </a:lnTo>
                      <a:lnTo>
                        <a:pt x="67" y="68"/>
                      </a:lnTo>
                      <a:lnTo>
                        <a:pt x="58" y="64"/>
                      </a:lnTo>
                      <a:lnTo>
                        <a:pt x="57" y="65"/>
                      </a:lnTo>
                      <a:close/>
                      <a:moveTo>
                        <a:pt x="42" y="59"/>
                      </a:moveTo>
                      <a:lnTo>
                        <a:pt x="42" y="59"/>
                      </a:lnTo>
                      <a:lnTo>
                        <a:pt x="52" y="64"/>
                      </a:lnTo>
                      <a:lnTo>
                        <a:pt x="54" y="61"/>
                      </a:lnTo>
                      <a:lnTo>
                        <a:pt x="54" y="61"/>
                      </a:lnTo>
                      <a:lnTo>
                        <a:pt x="44" y="58"/>
                      </a:lnTo>
                      <a:lnTo>
                        <a:pt x="42" y="59"/>
                      </a:lnTo>
                      <a:close/>
                      <a:moveTo>
                        <a:pt x="28" y="55"/>
                      </a:moveTo>
                      <a:lnTo>
                        <a:pt x="28" y="55"/>
                      </a:lnTo>
                      <a:lnTo>
                        <a:pt x="38" y="58"/>
                      </a:lnTo>
                      <a:lnTo>
                        <a:pt x="39" y="57"/>
                      </a:lnTo>
                      <a:lnTo>
                        <a:pt x="39" y="57"/>
                      </a:lnTo>
                      <a:lnTo>
                        <a:pt x="29" y="52"/>
                      </a:lnTo>
                      <a:lnTo>
                        <a:pt x="28" y="55"/>
                      </a:lnTo>
                      <a:close/>
                      <a:moveTo>
                        <a:pt x="15" y="55"/>
                      </a:moveTo>
                      <a:lnTo>
                        <a:pt x="15" y="55"/>
                      </a:lnTo>
                      <a:lnTo>
                        <a:pt x="22" y="54"/>
                      </a:lnTo>
                      <a:lnTo>
                        <a:pt x="22" y="54"/>
                      </a:lnTo>
                      <a:lnTo>
                        <a:pt x="23" y="54"/>
                      </a:lnTo>
                      <a:lnTo>
                        <a:pt x="25" y="51"/>
                      </a:lnTo>
                      <a:lnTo>
                        <a:pt x="25" y="51"/>
                      </a:lnTo>
                      <a:lnTo>
                        <a:pt x="22" y="51"/>
                      </a:lnTo>
                      <a:lnTo>
                        <a:pt x="22" y="51"/>
                      </a:lnTo>
                      <a:lnTo>
                        <a:pt x="18" y="51"/>
                      </a:lnTo>
                      <a:lnTo>
                        <a:pt x="13" y="52"/>
                      </a:lnTo>
                      <a:lnTo>
                        <a:pt x="15" y="55"/>
                      </a:lnTo>
                      <a:close/>
                      <a:moveTo>
                        <a:pt x="0" y="48"/>
                      </a:moveTo>
                      <a:lnTo>
                        <a:pt x="0" y="48"/>
                      </a:lnTo>
                      <a:lnTo>
                        <a:pt x="3" y="49"/>
                      </a:lnTo>
                      <a:lnTo>
                        <a:pt x="3" y="49"/>
                      </a:lnTo>
                      <a:lnTo>
                        <a:pt x="9" y="54"/>
                      </a:lnTo>
                      <a:lnTo>
                        <a:pt x="10" y="51"/>
                      </a:lnTo>
                      <a:lnTo>
                        <a:pt x="10" y="51"/>
                      </a:lnTo>
                      <a:lnTo>
                        <a:pt x="2" y="45"/>
                      </a:lnTo>
                      <a:lnTo>
                        <a:pt x="0" y="4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35" name="Freeform 1589"/>
                <p:cNvSpPr>
                  <a:spLocks noEditPoints="1"/>
                </p:cNvSpPr>
                <p:nvPr/>
              </p:nvSpPr>
              <p:spPr bwMode="auto">
                <a:xfrm>
                  <a:off x="4794583" y="3574345"/>
                  <a:ext cx="149378" cy="120690"/>
                </a:xfrm>
                <a:custGeom>
                  <a:avLst/>
                  <a:gdLst>
                    <a:gd name="T0" fmla="*/ 125 w 151"/>
                    <a:gd name="T1" fmla="*/ 120 h 122"/>
                    <a:gd name="T2" fmla="*/ 128 w 151"/>
                    <a:gd name="T3" fmla="*/ 120 h 122"/>
                    <a:gd name="T4" fmla="*/ 129 w 151"/>
                    <a:gd name="T5" fmla="*/ 104 h 122"/>
                    <a:gd name="T6" fmla="*/ 128 w 151"/>
                    <a:gd name="T7" fmla="*/ 114 h 122"/>
                    <a:gd name="T8" fmla="*/ 129 w 151"/>
                    <a:gd name="T9" fmla="*/ 104 h 122"/>
                    <a:gd name="T10" fmla="*/ 136 w 151"/>
                    <a:gd name="T11" fmla="*/ 98 h 122"/>
                    <a:gd name="T12" fmla="*/ 135 w 151"/>
                    <a:gd name="T13" fmla="*/ 103 h 122"/>
                    <a:gd name="T14" fmla="*/ 138 w 151"/>
                    <a:gd name="T15" fmla="*/ 100 h 122"/>
                    <a:gd name="T16" fmla="*/ 145 w 151"/>
                    <a:gd name="T17" fmla="*/ 80 h 122"/>
                    <a:gd name="T18" fmla="*/ 144 w 151"/>
                    <a:gd name="T19" fmla="*/ 90 h 122"/>
                    <a:gd name="T20" fmla="*/ 145 w 151"/>
                    <a:gd name="T21" fmla="*/ 80 h 122"/>
                    <a:gd name="T22" fmla="*/ 148 w 151"/>
                    <a:gd name="T23" fmla="*/ 68 h 122"/>
                    <a:gd name="T24" fmla="*/ 149 w 151"/>
                    <a:gd name="T25" fmla="*/ 75 h 122"/>
                    <a:gd name="T26" fmla="*/ 151 w 151"/>
                    <a:gd name="T27" fmla="*/ 68 h 122"/>
                    <a:gd name="T28" fmla="*/ 148 w 151"/>
                    <a:gd name="T29" fmla="*/ 49 h 122"/>
                    <a:gd name="T30" fmla="*/ 151 w 151"/>
                    <a:gd name="T31" fmla="*/ 59 h 122"/>
                    <a:gd name="T32" fmla="*/ 148 w 151"/>
                    <a:gd name="T33" fmla="*/ 49 h 122"/>
                    <a:gd name="T34" fmla="*/ 148 w 151"/>
                    <a:gd name="T35" fmla="*/ 45 h 122"/>
                    <a:gd name="T36" fmla="*/ 151 w 151"/>
                    <a:gd name="T37" fmla="*/ 35 h 122"/>
                    <a:gd name="T38" fmla="*/ 145 w 151"/>
                    <a:gd name="T39" fmla="*/ 22 h 122"/>
                    <a:gd name="T40" fmla="*/ 148 w 151"/>
                    <a:gd name="T41" fmla="*/ 29 h 122"/>
                    <a:gd name="T42" fmla="*/ 151 w 151"/>
                    <a:gd name="T43" fmla="*/ 24 h 122"/>
                    <a:gd name="T44" fmla="*/ 145 w 151"/>
                    <a:gd name="T45" fmla="*/ 22 h 122"/>
                    <a:gd name="T46" fmla="*/ 142 w 151"/>
                    <a:gd name="T47" fmla="*/ 17 h 122"/>
                    <a:gd name="T48" fmla="*/ 135 w 151"/>
                    <a:gd name="T49" fmla="*/ 10 h 122"/>
                    <a:gd name="T50" fmla="*/ 120 w 151"/>
                    <a:gd name="T51" fmla="*/ 7 h 122"/>
                    <a:gd name="T52" fmla="*/ 129 w 151"/>
                    <a:gd name="T53" fmla="*/ 10 h 122"/>
                    <a:gd name="T54" fmla="*/ 129 w 151"/>
                    <a:gd name="T55" fmla="*/ 7 h 122"/>
                    <a:gd name="T56" fmla="*/ 120 w 151"/>
                    <a:gd name="T57" fmla="*/ 7 h 122"/>
                    <a:gd name="T58" fmla="*/ 115 w 151"/>
                    <a:gd name="T59" fmla="*/ 6 h 122"/>
                    <a:gd name="T60" fmla="*/ 106 w 151"/>
                    <a:gd name="T61" fmla="*/ 1 h 122"/>
                    <a:gd name="T62" fmla="*/ 91 w 151"/>
                    <a:gd name="T63" fmla="*/ 4 h 122"/>
                    <a:gd name="T64" fmla="*/ 99 w 151"/>
                    <a:gd name="T65" fmla="*/ 3 h 122"/>
                    <a:gd name="T66" fmla="*/ 100 w 151"/>
                    <a:gd name="T67" fmla="*/ 0 h 122"/>
                    <a:gd name="T68" fmla="*/ 99 w 151"/>
                    <a:gd name="T69" fmla="*/ 0 h 122"/>
                    <a:gd name="T70" fmla="*/ 90 w 151"/>
                    <a:gd name="T71" fmla="*/ 3 h 122"/>
                    <a:gd name="T72" fmla="*/ 80 w 151"/>
                    <a:gd name="T73" fmla="*/ 14 h 122"/>
                    <a:gd name="T74" fmla="*/ 86 w 151"/>
                    <a:gd name="T75" fmla="*/ 6 h 122"/>
                    <a:gd name="T76" fmla="*/ 70 w 151"/>
                    <a:gd name="T77" fmla="*/ 26 h 122"/>
                    <a:gd name="T78" fmla="*/ 76 w 151"/>
                    <a:gd name="T79" fmla="*/ 17 h 122"/>
                    <a:gd name="T80" fmla="*/ 74 w 151"/>
                    <a:gd name="T81" fmla="*/ 16 h 122"/>
                    <a:gd name="T82" fmla="*/ 61 w 151"/>
                    <a:gd name="T83" fmla="*/ 38 h 122"/>
                    <a:gd name="T84" fmla="*/ 65 w 151"/>
                    <a:gd name="T85" fmla="*/ 29 h 122"/>
                    <a:gd name="T86" fmla="*/ 61 w 151"/>
                    <a:gd name="T87" fmla="*/ 38 h 122"/>
                    <a:gd name="T88" fmla="*/ 55 w 151"/>
                    <a:gd name="T89" fmla="*/ 40 h 122"/>
                    <a:gd name="T90" fmla="*/ 45 w 151"/>
                    <a:gd name="T91" fmla="*/ 36 h 122"/>
                    <a:gd name="T92" fmla="*/ 31 w 151"/>
                    <a:gd name="T93" fmla="*/ 38 h 122"/>
                    <a:gd name="T94" fmla="*/ 41 w 151"/>
                    <a:gd name="T95" fmla="*/ 36 h 122"/>
                    <a:gd name="T96" fmla="*/ 15 w 151"/>
                    <a:gd name="T97" fmla="*/ 36 h 122"/>
                    <a:gd name="T98" fmla="*/ 20 w 151"/>
                    <a:gd name="T99" fmla="*/ 36 h 122"/>
                    <a:gd name="T100" fmla="*/ 26 w 151"/>
                    <a:gd name="T101" fmla="*/ 35 h 122"/>
                    <a:gd name="T102" fmla="*/ 16 w 151"/>
                    <a:gd name="T103" fmla="*/ 33 h 122"/>
                    <a:gd name="T104" fmla="*/ 0 w 151"/>
                    <a:gd name="T105" fmla="*/ 36 h 122"/>
                    <a:gd name="T106" fmla="*/ 10 w 151"/>
                    <a:gd name="T107" fmla="*/ 36 h 122"/>
                    <a:gd name="T108" fmla="*/ 9 w 151"/>
                    <a:gd name="T109" fmla="*/ 33 h 122"/>
                    <a:gd name="T110" fmla="*/ 0 w 151"/>
                    <a:gd name="T111" fmla="*/ 36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51" h="122">
                      <a:moveTo>
                        <a:pt x="125" y="119"/>
                      </a:moveTo>
                      <a:lnTo>
                        <a:pt x="125" y="119"/>
                      </a:lnTo>
                      <a:lnTo>
                        <a:pt x="125" y="120"/>
                      </a:lnTo>
                      <a:lnTo>
                        <a:pt x="126" y="122"/>
                      </a:lnTo>
                      <a:lnTo>
                        <a:pt x="126" y="122"/>
                      </a:lnTo>
                      <a:lnTo>
                        <a:pt x="128" y="120"/>
                      </a:lnTo>
                      <a:lnTo>
                        <a:pt x="125" y="119"/>
                      </a:lnTo>
                      <a:close/>
                      <a:moveTo>
                        <a:pt x="129" y="104"/>
                      </a:moveTo>
                      <a:lnTo>
                        <a:pt x="129" y="104"/>
                      </a:lnTo>
                      <a:lnTo>
                        <a:pt x="128" y="108"/>
                      </a:lnTo>
                      <a:lnTo>
                        <a:pt x="126" y="114"/>
                      </a:lnTo>
                      <a:lnTo>
                        <a:pt x="128" y="114"/>
                      </a:lnTo>
                      <a:lnTo>
                        <a:pt x="128" y="114"/>
                      </a:lnTo>
                      <a:lnTo>
                        <a:pt x="132" y="106"/>
                      </a:lnTo>
                      <a:lnTo>
                        <a:pt x="129" y="104"/>
                      </a:lnTo>
                      <a:close/>
                      <a:moveTo>
                        <a:pt x="139" y="93"/>
                      </a:moveTo>
                      <a:lnTo>
                        <a:pt x="139" y="93"/>
                      </a:lnTo>
                      <a:lnTo>
                        <a:pt x="136" y="98"/>
                      </a:lnTo>
                      <a:lnTo>
                        <a:pt x="133" y="100"/>
                      </a:lnTo>
                      <a:lnTo>
                        <a:pt x="133" y="100"/>
                      </a:lnTo>
                      <a:lnTo>
                        <a:pt x="135" y="103"/>
                      </a:lnTo>
                      <a:lnTo>
                        <a:pt x="135" y="103"/>
                      </a:lnTo>
                      <a:lnTo>
                        <a:pt x="135" y="103"/>
                      </a:lnTo>
                      <a:lnTo>
                        <a:pt x="138" y="100"/>
                      </a:lnTo>
                      <a:lnTo>
                        <a:pt x="142" y="94"/>
                      </a:lnTo>
                      <a:lnTo>
                        <a:pt x="139" y="93"/>
                      </a:lnTo>
                      <a:close/>
                      <a:moveTo>
                        <a:pt x="145" y="80"/>
                      </a:moveTo>
                      <a:lnTo>
                        <a:pt x="145" y="80"/>
                      </a:lnTo>
                      <a:lnTo>
                        <a:pt x="142" y="88"/>
                      </a:lnTo>
                      <a:lnTo>
                        <a:pt x="144" y="90"/>
                      </a:lnTo>
                      <a:lnTo>
                        <a:pt x="144" y="90"/>
                      </a:lnTo>
                      <a:lnTo>
                        <a:pt x="148" y="81"/>
                      </a:lnTo>
                      <a:lnTo>
                        <a:pt x="145" y="80"/>
                      </a:lnTo>
                      <a:close/>
                      <a:moveTo>
                        <a:pt x="148" y="65"/>
                      </a:moveTo>
                      <a:lnTo>
                        <a:pt x="148" y="65"/>
                      </a:lnTo>
                      <a:lnTo>
                        <a:pt x="148" y="68"/>
                      </a:lnTo>
                      <a:lnTo>
                        <a:pt x="148" y="68"/>
                      </a:lnTo>
                      <a:lnTo>
                        <a:pt x="146" y="75"/>
                      </a:lnTo>
                      <a:lnTo>
                        <a:pt x="149" y="75"/>
                      </a:lnTo>
                      <a:lnTo>
                        <a:pt x="149" y="75"/>
                      </a:lnTo>
                      <a:lnTo>
                        <a:pt x="151" y="68"/>
                      </a:lnTo>
                      <a:lnTo>
                        <a:pt x="151" y="68"/>
                      </a:lnTo>
                      <a:lnTo>
                        <a:pt x="151" y="65"/>
                      </a:lnTo>
                      <a:lnTo>
                        <a:pt x="148" y="65"/>
                      </a:lnTo>
                      <a:close/>
                      <a:moveTo>
                        <a:pt x="148" y="49"/>
                      </a:moveTo>
                      <a:lnTo>
                        <a:pt x="148" y="49"/>
                      </a:lnTo>
                      <a:lnTo>
                        <a:pt x="148" y="59"/>
                      </a:lnTo>
                      <a:lnTo>
                        <a:pt x="151" y="59"/>
                      </a:lnTo>
                      <a:lnTo>
                        <a:pt x="151" y="59"/>
                      </a:lnTo>
                      <a:lnTo>
                        <a:pt x="151" y="49"/>
                      </a:lnTo>
                      <a:lnTo>
                        <a:pt x="148" y="49"/>
                      </a:lnTo>
                      <a:close/>
                      <a:moveTo>
                        <a:pt x="148" y="35"/>
                      </a:moveTo>
                      <a:lnTo>
                        <a:pt x="148" y="35"/>
                      </a:lnTo>
                      <a:lnTo>
                        <a:pt x="148" y="45"/>
                      </a:lnTo>
                      <a:lnTo>
                        <a:pt x="151" y="45"/>
                      </a:lnTo>
                      <a:lnTo>
                        <a:pt x="151" y="45"/>
                      </a:lnTo>
                      <a:lnTo>
                        <a:pt x="151" y="35"/>
                      </a:lnTo>
                      <a:lnTo>
                        <a:pt x="148" y="35"/>
                      </a:lnTo>
                      <a:close/>
                      <a:moveTo>
                        <a:pt x="145" y="22"/>
                      </a:moveTo>
                      <a:lnTo>
                        <a:pt x="145" y="22"/>
                      </a:lnTo>
                      <a:lnTo>
                        <a:pt x="148" y="24"/>
                      </a:lnTo>
                      <a:lnTo>
                        <a:pt x="148" y="24"/>
                      </a:lnTo>
                      <a:lnTo>
                        <a:pt x="148" y="29"/>
                      </a:lnTo>
                      <a:lnTo>
                        <a:pt x="151" y="29"/>
                      </a:lnTo>
                      <a:lnTo>
                        <a:pt x="151" y="29"/>
                      </a:lnTo>
                      <a:lnTo>
                        <a:pt x="151" y="24"/>
                      </a:lnTo>
                      <a:lnTo>
                        <a:pt x="151" y="24"/>
                      </a:lnTo>
                      <a:lnTo>
                        <a:pt x="148" y="19"/>
                      </a:lnTo>
                      <a:lnTo>
                        <a:pt x="145" y="22"/>
                      </a:lnTo>
                      <a:close/>
                      <a:moveTo>
                        <a:pt x="135" y="11"/>
                      </a:moveTo>
                      <a:lnTo>
                        <a:pt x="135" y="11"/>
                      </a:lnTo>
                      <a:lnTo>
                        <a:pt x="142" y="17"/>
                      </a:lnTo>
                      <a:lnTo>
                        <a:pt x="144" y="16"/>
                      </a:lnTo>
                      <a:lnTo>
                        <a:pt x="144" y="16"/>
                      </a:lnTo>
                      <a:lnTo>
                        <a:pt x="135" y="10"/>
                      </a:lnTo>
                      <a:lnTo>
                        <a:pt x="135" y="11"/>
                      </a:lnTo>
                      <a:close/>
                      <a:moveTo>
                        <a:pt x="120" y="7"/>
                      </a:moveTo>
                      <a:lnTo>
                        <a:pt x="120" y="7"/>
                      </a:lnTo>
                      <a:lnTo>
                        <a:pt x="128" y="9"/>
                      </a:lnTo>
                      <a:lnTo>
                        <a:pt x="128" y="9"/>
                      </a:lnTo>
                      <a:lnTo>
                        <a:pt x="129" y="10"/>
                      </a:lnTo>
                      <a:lnTo>
                        <a:pt x="131" y="7"/>
                      </a:lnTo>
                      <a:lnTo>
                        <a:pt x="131" y="7"/>
                      </a:lnTo>
                      <a:lnTo>
                        <a:pt x="129" y="7"/>
                      </a:lnTo>
                      <a:lnTo>
                        <a:pt x="129" y="7"/>
                      </a:lnTo>
                      <a:lnTo>
                        <a:pt x="120" y="4"/>
                      </a:lnTo>
                      <a:lnTo>
                        <a:pt x="120" y="7"/>
                      </a:lnTo>
                      <a:close/>
                      <a:moveTo>
                        <a:pt x="106" y="4"/>
                      </a:moveTo>
                      <a:lnTo>
                        <a:pt x="106" y="4"/>
                      </a:lnTo>
                      <a:lnTo>
                        <a:pt x="115" y="6"/>
                      </a:lnTo>
                      <a:lnTo>
                        <a:pt x="116" y="3"/>
                      </a:lnTo>
                      <a:lnTo>
                        <a:pt x="116" y="3"/>
                      </a:lnTo>
                      <a:lnTo>
                        <a:pt x="106" y="1"/>
                      </a:lnTo>
                      <a:lnTo>
                        <a:pt x="106" y="4"/>
                      </a:lnTo>
                      <a:close/>
                      <a:moveTo>
                        <a:pt x="91" y="4"/>
                      </a:moveTo>
                      <a:lnTo>
                        <a:pt x="91" y="4"/>
                      </a:lnTo>
                      <a:lnTo>
                        <a:pt x="96" y="3"/>
                      </a:lnTo>
                      <a:lnTo>
                        <a:pt x="96" y="3"/>
                      </a:lnTo>
                      <a:lnTo>
                        <a:pt x="99" y="3"/>
                      </a:lnTo>
                      <a:lnTo>
                        <a:pt x="99" y="3"/>
                      </a:lnTo>
                      <a:lnTo>
                        <a:pt x="100" y="3"/>
                      </a:lnTo>
                      <a:lnTo>
                        <a:pt x="100" y="0"/>
                      </a:lnTo>
                      <a:lnTo>
                        <a:pt x="100" y="0"/>
                      </a:lnTo>
                      <a:lnTo>
                        <a:pt x="99" y="0"/>
                      </a:lnTo>
                      <a:lnTo>
                        <a:pt x="99" y="0"/>
                      </a:lnTo>
                      <a:lnTo>
                        <a:pt x="96" y="0"/>
                      </a:lnTo>
                      <a:lnTo>
                        <a:pt x="96" y="0"/>
                      </a:lnTo>
                      <a:lnTo>
                        <a:pt x="90" y="3"/>
                      </a:lnTo>
                      <a:lnTo>
                        <a:pt x="91" y="4"/>
                      </a:lnTo>
                      <a:close/>
                      <a:moveTo>
                        <a:pt x="80" y="14"/>
                      </a:moveTo>
                      <a:lnTo>
                        <a:pt x="80" y="14"/>
                      </a:lnTo>
                      <a:lnTo>
                        <a:pt x="87" y="7"/>
                      </a:lnTo>
                      <a:lnTo>
                        <a:pt x="86" y="6"/>
                      </a:lnTo>
                      <a:lnTo>
                        <a:pt x="86" y="6"/>
                      </a:lnTo>
                      <a:lnTo>
                        <a:pt x="78" y="11"/>
                      </a:lnTo>
                      <a:lnTo>
                        <a:pt x="80" y="14"/>
                      </a:lnTo>
                      <a:close/>
                      <a:moveTo>
                        <a:pt x="70" y="26"/>
                      </a:moveTo>
                      <a:lnTo>
                        <a:pt x="70" y="26"/>
                      </a:lnTo>
                      <a:lnTo>
                        <a:pt x="76" y="17"/>
                      </a:lnTo>
                      <a:lnTo>
                        <a:pt x="76" y="17"/>
                      </a:lnTo>
                      <a:lnTo>
                        <a:pt x="74" y="16"/>
                      </a:lnTo>
                      <a:lnTo>
                        <a:pt x="74" y="16"/>
                      </a:lnTo>
                      <a:lnTo>
                        <a:pt x="74" y="16"/>
                      </a:lnTo>
                      <a:lnTo>
                        <a:pt x="68" y="24"/>
                      </a:lnTo>
                      <a:lnTo>
                        <a:pt x="70" y="26"/>
                      </a:lnTo>
                      <a:close/>
                      <a:moveTo>
                        <a:pt x="61" y="38"/>
                      </a:moveTo>
                      <a:lnTo>
                        <a:pt x="61" y="38"/>
                      </a:lnTo>
                      <a:lnTo>
                        <a:pt x="67" y="30"/>
                      </a:lnTo>
                      <a:lnTo>
                        <a:pt x="65" y="29"/>
                      </a:lnTo>
                      <a:lnTo>
                        <a:pt x="65" y="29"/>
                      </a:lnTo>
                      <a:lnTo>
                        <a:pt x="60" y="36"/>
                      </a:lnTo>
                      <a:lnTo>
                        <a:pt x="61" y="38"/>
                      </a:lnTo>
                      <a:close/>
                      <a:moveTo>
                        <a:pt x="45" y="39"/>
                      </a:moveTo>
                      <a:lnTo>
                        <a:pt x="45" y="39"/>
                      </a:lnTo>
                      <a:lnTo>
                        <a:pt x="55" y="40"/>
                      </a:lnTo>
                      <a:lnTo>
                        <a:pt x="55" y="38"/>
                      </a:lnTo>
                      <a:lnTo>
                        <a:pt x="55" y="38"/>
                      </a:lnTo>
                      <a:lnTo>
                        <a:pt x="45" y="36"/>
                      </a:lnTo>
                      <a:lnTo>
                        <a:pt x="45" y="39"/>
                      </a:lnTo>
                      <a:close/>
                      <a:moveTo>
                        <a:pt x="31" y="38"/>
                      </a:moveTo>
                      <a:lnTo>
                        <a:pt x="31" y="38"/>
                      </a:lnTo>
                      <a:lnTo>
                        <a:pt x="41" y="39"/>
                      </a:lnTo>
                      <a:lnTo>
                        <a:pt x="41" y="36"/>
                      </a:lnTo>
                      <a:lnTo>
                        <a:pt x="41" y="36"/>
                      </a:lnTo>
                      <a:lnTo>
                        <a:pt x="31" y="35"/>
                      </a:lnTo>
                      <a:lnTo>
                        <a:pt x="31" y="38"/>
                      </a:lnTo>
                      <a:close/>
                      <a:moveTo>
                        <a:pt x="15" y="36"/>
                      </a:moveTo>
                      <a:lnTo>
                        <a:pt x="15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5" y="36"/>
                      </a:lnTo>
                      <a:lnTo>
                        <a:pt x="26" y="35"/>
                      </a:lnTo>
                      <a:lnTo>
                        <a:pt x="26" y="35"/>
                      </a:lnTo>
                      <a:lnTo>
                        <a:pt x="20" y="33"/>
                      </a:lnTo>
                      <a:lnTo>
                        <a:pt x="20" y="33"/>
                      </a:lnTo>
                      <a:lnTo>
                        <a:pt x="16" y="33"/>
                      </a:lnTo>
                      <a:lnTo>
                        <a:pt x="15" y="36"/>
                      </a:lnTo>
                      <a:close/>
                      <a:moveTo>
                        <a:pt x="0" y="36"/>
                      </a:moveTo>
                      <a:lnTo>
                        <a:pt x="0" y="36"/>
                      </a:lnTo>
                      <a:lnTo>
                        <a:pt x="9" y="36"/>
                      </a:lnTo>
                      <a:lnTo>
                        <a:pt x="9" y="36"/>
                      </a:lnTo>
                      <a:lnTo>
                        <a:pt x="10" y="36"/>
                      </a:lnTo>
                      <a:lnTo>
                        <a:pt x="10" y="33"/>
                      </a:lnTo>
                      <a:lnTo>
                        <a:pt x="10" y="33"/>
                      </a:lnTo>
                      <a:lnTo>
                        <a:pt x="9" y="33"/>
                      </a:lnTo>
                      <a:lnTo>
                        <a:pt x="9" y="33"/>
                      </a:lnTo>
                      <a:lnTo>
                        <a:pt x="0" y="33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36" name="Freeform 1590"/>
                <p:cNvSpPr>
                  <a:spLocks noEditPoints="1"/>
                </p:cNvSpPr>
                <p:nvPr/>
              </p:nvSpPr>
              <p:spPr bwMode="auto">
                <a:xfrm>
                  <a:off x="4897466" y="3549614"/>
                  <a:ext cx="85076" cy="47484"/>
                </a:xfrm>
                <a:custGeom>
                  <a:avLst/>
                  <a:gdLst>
                    <a:gd name="T0" fmla="*/ 82 w 86"/>
                    <a:gd name="T1" fmla="*/ 6 h 48"/>
                    <a:gd name="T2" fmla="*/ 79 w 86"/>
                    <a:gd name="T3" fmla="*/ 5 h 48"/>
                    <a:gd name="T4" fmla="*/ 82 w 86"/>
                    <a:gd name="T5" fmla="*/ 6 h 48"/>
                    <a:gd name="T6" fmla="*/ 83 w 86"/>
                    <a:gd name="T7" fmla="*/ 10 h 48"/>
                    <a:gd name="T8" fmla="*/ 83 w 86"/>
                    <a:gd name="T9" fmla="*/ 22 h 48"/>
                    <a:gd name="T10" fmla="*/ 86 w 86"/>
                    <a:gd name="T11" fmla="*/ 36 h 48"/>
                    <a:gd name="T12" fmla="*/ 83 w 86"/>
                    <a:gd name="T13" fmla="*/ 26 h 48"/>
                    <a:gd name="T14" fmla="*/ 79 w 86"/>
                    <a:gd name="T15" fmla="*/ 45 h 48"/>
                    <a:gd name="T16" fmla="*/ 82 w 86"/>
                    <a:gd name="T17" fmla="*/ 47 h 48"/>
                    <a:gd name="T18" fmla="*/ 84 w 86"/>
                    <a:gd name="T19" fmla="*/ 48 h 48"/>
                    <a:gd name="T20" fmla="*/ 86 w 86"/>
                    <a:gd name="T21" fmla="*/ 44 h 48"/>
                    <a:gd name="T22" fmla="*/ 84 w 86"/>
                    <a:gd name="T23" fmla="*/ 41 h 48"/>
                    <a:gd name="T24" fmla="*/ 83 w 86"/>
                    <a:gd name="T25" fmla="*/ 44 h 48"/>
                    <a:gd name="T26" fmla="*/ 83 w 86"/>
                    <a:gd name="T27" fmla="*/ 45 h 48"/>
                    <a:gd name="T28" fmla="*/ 83 w 86"/>
                    <a:gd name="T29" fmla="*/ 45 h 48"/>
                    <a:gd name="T30" fmla="*/ 83 w 86"/>
                    <a:gd name="T31" fmla="*/ 45 h 48"/>
                    <a:gd name="T32" fmla="*/ 83 w 86"/>
                    <a:gd name="T33" fmla="*/ 45 h 48"/>
                    <a:gd name="T34" fmla="*/ 83 w 86"/>
                    <a:gd name="T35" fmla="*/ 45 h 48"/>
                    <a:gd name="T36" fmla="*/ 83 w 86"/>
                    <a:gd name="T37" fmla="*/ 45 h 48"/>
                    <a:gd name="T38" fmla="*/ 82 w 86"/>
                    <a:gd name="T39" fmla="*/ 44 h 48"/>
                    <a:gd name="T40" fmla="*/ 69 w 86"/>
                    <a:gd name="T41" fmla="*/ 34 h 48"/>
                    <a:gd name="T42" fmla="*/ 76 w 86"/>
                    <a:gd name="T43" fmla="*/ 41 h 48"/>
                    <a:gd name="T44" fmla="*/ 74 w 86"/>
                    <a:gd name="T45" fmla="*/ 36 h 48"/>
                    <a:gd name="T46" fmla="*/ 69 w 86"/>
                    <a:gd name="T47" fmla="*/ 34 h 48"/>
                    <a:gd name="T48" fmla="*/ 66 w 86"/>
                    <a:gd name="T49" fmla="*/ 22 h 48"/>
                    <a:gd name="T50" fmla="*/ 69 w 86"/>
                    <a:gd name="T51" fmla="*/ 28 h 48"/>
                    <a:gd name="T52" fmla="*/ 69 w 86"/>
                    <a:gd name="T53" fmla="*/ 22 h 48"/>
                    <a:gd name="T54" fmla="*/ 63 w 86"/>
                    <a:gd name="T55" fmla="*/ 12 h 48"/>
                    <a:gd name="T56" fmla="*/ 67 w 86"/>
                    <a:gd name="T57" fmla="*/ 10 h 48"/>
                    <a:gd name="T58" fmla="*/ 67 w 86"/>
                    <a:gd name="T59" fmla="*/ 10 h 48"/>
                    <a:gd name="T60" fmla="*/ 67 w 86"/>
                    <a:gd name="T61" fmla="*/ 10 h 48"/>
                    <a:gd name="T62" fmla="*/ 67 w 86"/>
                    <a:gd name="T63" fmla="*/ 12 h 48"/>
                    <a:gd name="T64" fmla="*/ 70 w 86"/>
                    <a:gd name="T65" fmla="*/ 12 h 48"/>
                    <a:gd name="T66" fmla="*/ 70 w 86"/>
                    <a:gd name="T67" fmla="*/ 10 h 48"/>
                    <a:gd name="T68" fmla="*/ 67 w 86"/>
                    <a:gd name="T69" fmla="*/ 7 h 48"/>
                    <a:gd name="T70" fmla="*/ 63 w 86"/>
                    <a:gd name="T71" fmla="*/ 12 h 48"/>
                    <a:gd name="T72" fmla="*/ 53 w 86"/>
                    <a:gd name="T73" fmla="*/ 10 h 48"/>
                    <a:gd name="T74" fmla="*/ 58 w 86"/>
                    <a:gd name="T75" fmla="*/ 10 h 48"/>
                    <a:gd name="T76" fmla="*/ 48 w 86"/>
                    <a:gd name="T77" fmla="*/ 6 h 48"/>
                    <a:gd name="T78" fmla="*/ 42 w 86"/>
                    <a:gd name="T79" fmla="*/ 3 h 48"/>
                    <a:gd name="T80" fmla="*/ 45 w 86"/>
                    <a:gd name="T81" fmla="*/ 3 h 48"/>
                    <a:gd name="T82" fmla="*/ 45 w 86"/>
                    <a:gd name="T83" fmla="*/ 2 h 48"/>
                    <a:gd name="T84" fmla="*/ 35 w 86"/>
                    <a:gd name="T85" fmla="*/ 2 h 48"/>
                    <a:gd name="T86" fmla="*/ 21 w 86"/>
                    <a:gd name="T87" fmla="*/ 7 h 48"/>
                    <a:gd name="T88" fmla="*/ 29 w 86"/>
                    <a:gd name="T89" fmla="*/ 3 h 48"/>
                    <a:gd name="T90" fmla="*/ 8 w 86"/>
                    <a:gd name="T91" fmla="*/ 15 h 48"/>
                    <a:gd name="T92" fmla="*/ 11 w 86"/>
                    <a:gd name="T93" fmla="*/ 12 h 48"/>
                    <a:gd name="T94" fmla="*/ 15 w 86"/>
                    <a:gd name="T95" fmla="*/ 7 h 48"/>
                    <a:gd name="T96" fmla="*/ 6 w 86"/>
                    <a:gd name="T97" fmla="*/ 12 h 48"/>
                    <a:gd name="T98" fmla="*/ 3 w 86"/>
                    <a:gd name="T99" fmla="*/ 28 h 48"/>
                    <a:gd name="T100" fmla="*/ 3 w 86"/>
                    <a:gd name="T101" fmla="*/ 1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86" h="48">
                      <a:moveTo>
                        <a:pt x="82" y="6"/>
                      </a:moveTo>
                      <a:lnTo>
                        <a:pt x="82" y="6"/>
                      </a:lnTo>
                      <a:lnTo>
                        <a:pt x="82" y="6"/>
                      </a:lnTo>
                      <a:lnTo>
                        <a:pt x="80" y="3"/>
                      </a:lnTo>
                      <a:lnTo>
                        <a:pt x="79" y="5"/>
                      </a:lnTo>
                      <a:lnTo>
                        <a:pt x="79" y="5"/>
                      </a:lnTo>
                      <a:lnTo>
                        <a:pt x="79" y="7"/>
                      </a:lnTo>
                      <a:lnTo>
                        <a:pt x="79" y="7"/>
                      </a:lnTo>
                      <a:lnTo>
                        <a:pt x="82" y="6"/>
                      </a:lnTo>
                      <a:close/>
                      <a:moveTo>
                        <a:pt x="84" y="21"/>
                      </a:moveTo>
                      <a:lnTo>
                        <a:pt x="84" y="21"/>
                      </a:lnTo>
                      <a:lnTo>
                        <a:pt x="83" y="10"/>
                      </a:lnTo>
                      <a:lnTo>
                        <a:pt x="80" y="12"/>
                      </a:lnTo>
                      <a:lnTo>
                        <a:pt x="80" y="12"/>
                      </a:lnTo>
                      <a:lnTo>
                        <a:pt x="83" y="22"/>
                      </a:lnTo>
                      <a:lnTo>
                        <a:pt x="84" y="21"/>
                      </a:lnTo>
                      <a:close/>
                      <a:moveTo>
                        <a:pt x="86" y="36"/>
                      </a:moveTo>
                      <a:lnTo>
                        <a:pt x="86" y="36"/>
                      </a:lnTo>
                      <a:lnTo>
                        <a:pt x="86" y="26"/>
                      </a:lnTo>
                      <a:lnTo>
                        <a:pt x="83" y="26"/>
                      </a:lnTo>
                      <a:lnTo>
                        <a:pt x="83" y="26"/>
                      </a:lnTo>
                      <a:lnTo>
                        <a:pt x="84" y="36"/>
                      </a:lnTo>
                      <a:lnTo>
                        <a:pt x="86" y="36"/>
                      </a:lnTo>
                      <a:close/>
                      <a:moveTo>
                        <a:pt x="79" y="45"/>
                      </a:moveTo>
                      <a:lnTo>
                        <a:pt x="79" y="45"/>
                      </a:lnTo>
                      <a:lnTo>
                        <a:pt x="82" y="47"/>
                      </a:lnTo>
                      <a:lnTo>
                        <a:pt x="82" y="47"/>
                      </a:lnTo>
                      <a:lnTo>
                        <a:pt x="83" y="48"/>
                      </a:lnTo>
                      <a:lnTo>
                        <a:pt x="84" y="48"/>
                      </a:lnTo>
                      <a:lnTo>
                        <a:pt x="84" y="48"/>
                      </a:lnTo>
                      <a:lnTo>
                        <a:pt x="86" y="47"/>
                      </a:lnTo>
                      <a:lnTo>
                        <a:pt x="86" y="47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6" y="42"/>
                      </a:lnTo>
                      <a:lnTo>
                        <a:pt x="84" y="41"/>
                      </a:lnTo>
                      <a:lnTo>
                        <a:pt x="84" y="41"/>
                      </a:lnTo>
                      <a:lnTo>
                        <a:pt x="83" y="44"/>
                      </a:lnTo>
                      <a:lnTo>
                        <a:pt x="83" y="44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3" y="45"/>
                      </a:lnTo>
                      <a:lnTo>
                        <a:pt x="82" y="44"/>
                      </a:lnTo>
                      <a:lnTo>
                        <a:pt x="79" y="45"/>
                      </a:lnTo>
                      <a:close/>
                      <a:moveTo>
                        <a:pt x="69" y="34"/>
                      </a:moveTo>
                      <a:lnTo>
                        <a:pt x="69" y="34"/>
                      </a:lnTo>
                      <a:lnTo>
                        <a:pt x="73" y="38"/>
                      </a:lnTo>
                      <a:lnTo>
                        <a:pt x="73" y="38"/>
                      </a:lnTo>
                      <a:lnTo>
                        <a:pt x="76" y="41"/>
                      </a:lnTo>
                      <a:lnTo>
                        <a:pt x="77" y="39"/>
                      </a:lnTo>
                      <a:lnTo>
                        <a:pt x="77" y="39"/>
                      </a:lnTo>
                      <a:lnTo>
                        <a:pt x="74" y="36"/>
                      </a:lnTo>
                      <a:lnTo>
                        <a:pt x="74" y="36"/>
                      </a:lnTo>
                      <a:lnTo>
                        <a:pt x="71" y="32"/>
                      </a:lnTo>
                      <a:lnTo>
                        <a:pt x="69" y="34"/>
                      </a:lnTo>
                      <a:close/>
                      <a:moveTo>
                        <a:pt x="66" y="18"/>
                      </a:moveTo>
                      <a:lnTo>
                        <a:pt x="66" y="18"/>
                      </a:lnTo>
                      <a:lnTo>
                        <a:pt x="66" y="22"/>
                      </a:lnTo>
                      <a:lnTo>
                        <a:pt x="66" y="22"/>
                      </a:lnTo>
                      <a:lnTo>
                        <a:pt x="67" y="28"/>
                      </a:lnTo>
                      <a:lnTo>
                        <a:pt x="69" y="28"/>
                      </a:lnTo>
                      <a:lnTo>
                        <a:pt x="69" y="28"/>
                      </a:lnTo>
                      <a:lnTo>
                        <a:pt x="69" y="22"/>
                      </a:lnTo>
                      <a:lnTo>
                        <a:pt x="69" y="22"/>
                      </a:lnTo>
                      <a:lnTo>
                        <a:pt x="69" y="18"/>
                      </a:lnTo>
                      <a:lnTo>
                        <a:pt x="66" y="18"/>
                      </a:lnTo>
                      <a:close/>
                      <a:moveTo>
                        <a:pt x="63" y="12"/>
                      </a:moveTo>
                      <a:lnTo>
                        <a:pt x="63" y="12"/>
                      </a:lnTo>
                      <a:lnTo>
                        <a:pt x="67" y="10"/>
                      </a:lnTo>
                      <a:lnTo>
                        <a:pt x="67" y="10"/>
                      </a:lnTo>
                      <a:lnTo>
                        <a:pt x="67" y="10"/>
                      </a:lnTo>
                      <a:lnTo>
                        <a:pt x="67" y="10"/>
                      </a:lnTo>
                      <a:lnTo>
                        <a:pt x="67" y="10"/>
                      </a:lnTo>
                      <a:lnTo>
                        <a:pt x="67" y="10"/>
                      </a:lnTo>
                      <a:lnTo>
                        <a:pt x="67" y="10"/>
                      </a:lnTo>
                      <a:lnTo>
                        <a:pt x="67" y="10"/>
                      </a:lnTo>
                      <a:lnTo>
                        <a:pt x="67" y="10"/>
                      </a:lnTo>
                      <a:lnTo>
                        <a:pt x="67" y="10"/>
                      </a:lnTo>
                      <a:lnTo>
                        <a:pt x="67" y="12"/>
                      </a:lnTo>
                      <a:lnTo>
                        <a:pt x="67" y="13"/>
                      </a:lnTo>
                      <a:lnTo>
                        <a:pt x="69" y="13"/>
                      </a:lnTo>
                      <a:lnTo>
                        <a:pt x="70" y="12"/>
                      </a:lnTo>
                      <a:lnTo>
                        <a:pt x="70" y="12"/>
                      </a:lnTo>
                      <a:lnTo>
                        <a:pt x="70" y="10"/>
                      </a:lnTo>
                      <a:lnTo>
                        <a:pt x="70" y="10"/>
                      </a:lnTo>
                      <a:lnTo>
                        <a:pt x="69" y="9"/>
                      </a:lnTo>
                      <a:lnTo>
                        <a:pt x="69" y="9"/>
                      </a:lnTo>
                      <a:lnTo>
                        <a:pt x="67" y="7"/>
                      </a:lnTo>
                      <a:lnTo>
                        <a:pt x="67" y="7"/>
                      </a:lnTo>
                      <a:lnTo>
                        <a:pt x="61" y="9"/>
                      </a:lnTo>
                      <a:lnTo>
                        <a:pt x="63" y="12"/>
                      </a:lnTo>
                      <a:close/>
                      <a:moveTo>
                        <a:pt x="48" y="6"/>
                      </a:moveTo>
                      <a:lnTo>
                        <a:pt x="48" y="6"/>
                      </a:lnTo>
                      <a:lnTo>
                        <a:pt x="53" y="10"/>
                      </a:lnTo>
                      <a:lnTo>
                        <a:pt x="57" y="13"/>
                      </a:lnTo>
                      <a:lnTo>
                        <a:pt x="58" y="10"/>
                      </a:lnTo>
                      <a:lnTo>
                        <a:pt x="58" y="10"/>
                      </a:lnTo>
                      <a:lnTo>
                        <a:pt x="54" y="7"/>
                      </a:lnTo>
                      <a:lnTo>
                        <a:pt x="50" y="5"/>
                      </a:lnTo>
                      <a:lnTo>
                        <a:pt x="48" y="6"/>
                      </a:lnTo>
                      <a:close/>
                      <a:moveTo>
                        <a:pt x="35" y="5"/>
                      </a:moveTo>
                      <a:lnTo>
                        <a:pt x="35" y="5"/>
                      </a:lnTo>
                      <a:lnTo>
                        <a:pt x="42" y="3"/>
                      </a:lnTo>
                      <a:lnTo>
                        <a:pt x="42" y="3"/>
                      </a:lnTo>
                      <a:lnTo>
                        <a:pt x="45" y="3"/>
                      </a:lnTo>
                      <a:lnTo>
                        <a:pt x="45" y="3"/>
                      </a:lnTo>
                      <a:lnTo>
                        <a:pt x="45" y="2"/>
                      </a:lnTo>
                      <a:lnTo>
                        <a:pt x="45" y="2"/>
                      </a:lnTo>
                      <a:lnTo>
                        <a:pt x="45" y="2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35" y="2"/>
                      </a:lnTo>
                      <a:lnTo>
                        <a:pt x="35" y="5"/>
                      </a:lnTo>
                      <a:close/>
                      <a:moveTo>
                        <a:pt x="21" y="7"/>
                      </a:moveTo>
                      <a:lnTo>
                        <a:pt x="21" y="7"/>
                      </a:lnTo>
                      <a:lnTo>
                        <a:pt x="31" y="5"/>
                      </a:lnTo>
                      <a:lnTo>
                        <a:pt x="29" y="3"/>
                      </a:lnTo>
                      <a:lnTo>
                        <a:pt x="29" y="3"/>
                      </a:lnTo>
                      <a:lnTo>
                        <a:pt x="21" y="5"/>
                      </a:lnTo>
                      <a:lnTo>
                        <a:pt x="21" y="7"/>
                      </a:lnTo>
                      <a:close/>
                      <a:moveTo>
                        <a:pt x="8" y="15"/>
                      </a:moveTo>
                      <a:lnTo>
                        <a:pt x="8" y="15"/>
                      </a:lnTo>
                      <a:lnTo>
                        <a:pt x="11" y="12"/>
                      </a:lnTo>
                      <a:lnTo>
                        <a:pt x="11" y="12"/>
                      </a:lnTo>
                      <a:lnTo>
                        <a:pt x="16" y="9"/>
                      </a:lnTo>
                      <a:lnTo>
                        <a:pt x="15" y="7"/>
                      </a:lnTo>
                      <a:lnTo>
                        <a:pt x="15" y="7"/>
                      </a:lnTo>
                      <a:lnTo>
                        <a:pt x="9" y="9"/>
                      </a:lnTo>
                      <a:lnTo>
                        <a:pt x="9" y="9"/>
                      </a:lnTo>
                      <a:lnTo>
                        <a:pt x="6" y="12"/>
                      </a:lnTo>
                      <a:lnTo>
                        <a:pt x="8" y="15"/>
                      </a:lnTo>
                      <a:close/>
                      <a:moveTo>
                        <a:pt x="3" y="28"/>
                      </a:moveTo>
                      <a:lnTo>
                        <a:pt x="3" y="28"/>
                      </a:lnTo>
                      <a:lnTo>
                        <a:pt x="6" y="18"/>
                      </a:lnTo>
                      <a:lnTo>
                        <a:pt x="3" y="18"/>
                      </a:lnTo>
                      <a:lnTo>
                        <a:pt x="3" y="18"/>
                      </a:lnTo>
                      <a:lnTo>
                        <a:pt x="0" y="26"/>
                      </a:lnTo>
                      <a:lnTo>
                        <a:pt x="3" y="2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37" name="Freeform 1591"/>
                <p:cNvSpPr>
                  <a:spLocks noEditPoints="1"/>
                </p:cNvSpPr>
                <p:nvPr/>
              </p:nvSpPr>
              <p:spPr bwMode="auto">
                <a:xfrm>
                  <a:off x="4934069" y="3484322"/>
                  <a:ext cx="13850" cy="68259"/>
                </a:xfrm>
                <a:custGeom>
                  <a:avLst/>
                  <a:gdLst>
                    <a:gd name="T0" fmla="*/ 11 w 14"/>
                    <a:gd name="T1" fmla="*/ 10 h 69"/>
                    <a:gd name="T2" fmla="*/ 11 w 14"/>
                    <a:gd name="T3" fmla="*/ 10 h 69"/>
                    <a:gd name="T4" fmla="*/ 14 w 14"/>
                    <a:gd name="T5" fmla="*/ 0 h 69"/>
                    <a:gd name="T6" fmla="*/ 11 w 14"/>
                    <a:gd name="T7" fmla="*/ 0 h 69"/>
                    <a:gd name="T8" fmla="*/ 11 w 14"/>
                    <a:gd name="T9" fmla="*/ 0 h 69"/>
                    <a:gd name="T10" fmla="*/ 10 w 14"/>
                    <a:gd name="T11" fmla="*/ 10 h 69"/>
                    <a:gd name="T12" fmla="*/ 11 w 14"/>
                    <a:gd name="T13" fmla="*/ 10 h 69"/>
                    <a:gd name="T14" fmla="*/ 10 w 14"/>
                    <a:gd name="T15" fmla="*/ 24 h 69"/>
                    <a:gd name="T16" fmla="*/ 10 w 14"/>
                    <a:gd name="T17" fmla="*/ 24 h 69"/>
                    <a:gd name="T18" fmla="*/ 10 w 14"/>
                    <a:gd name="T19" fmla="*/ 16 h 69"/>
                    <a:gd name="T20" fmla="*/ 11 w 14"/>
                    <a:gd name="T21" fmla="*/ 14 h 69"/>
                    <a:gd name="T22" fmla="*/ 8 w 14"/>
                    <a:gd name="T23" fmla="*/ 14 h 69"/>
                    <a:gd name="T24" fmla="*/ 8 w 14"/>
                    <a:gd name="T25" fmla="*/ 16 h 69"/>
                    <a:gd name="T26" fmla="*/ 8 w 14"/>
                    <a:gd name="T27" fmla="*/ 16 h 69"/>
                    <a:gd name="T28" fmla="*/ 7 w 14"/>
                    <a:gd name="T29" fmla="*/ 24 h 69"/>
                    <a:gd name="T30" fmla="*/ 10 w 14"/>
                    <a:gd name="T31" fmla="*/ 24 h 69"/>
                    <a:gd name="T32" fmla="*/ 8 w 14"/>
                    <a:gd name="T33" fmla="*/ 40 h 69"/>
                    <a:gd name="T34" fmla="*/ 8 w 14"/>
                    <a:gd name="T35" fmla="*/ 40 h 69"/>
                    <a:gd name="T36" fmla="*/ 10 w 14"/>
                    <a:gd name="T37" fmla="*/ 30 h 69"/>
                    <a:gd name="T38" fmla="*/ 7 w 14"/>
                    <a:gd name="T39" fmla="*/ 30 h 69"/>
                    <a:gd name="T40" fmla="*/ 7 w 14"/>
                    <a:gd name="T41" fmla="*/ 30 h 69"/>
                    <a:gd name="T42" fmla="*/ 5 w 14"/>
                    <a:gd name="T43" fmla="*/ 39 h 69"/>
                    <a:gd name="T44" fmla="*/ 8 w 14"/>
                    <a:gd name="T45" fmla="*/ 40 h 69"/>
                    <a:gd name="T46" fmla="*/ 3 w 14"/>
                    <a:gd name="T47" fmla="*/ 53 h 69"/>
                    <a:gd name="T48" fmla="*/ 3 w 14"/>
                    <a:gd name="T49" fmla="*/ 53 h 69"/>
                    <a:gd name="T50" fmla="*/ 4 w 14"/>
                    <a:gd name="T51" fmla="*/ 49 h 69"/>
                    <a:gd name="T52" fmla="*/ 4 w 14"/>
                    <a:gd name="T53" fmla="*/ 49 h 69"/>
                    <a:gd name="T54" fmla="*/ 7 w 14"/>
                    <a:gd name="T55" fmla="*/ 45 h 69"/>
                    <a:gd name="T56" fmla="*/ 4 w 14"/>
                    <a:gd name="T57" fmla="*/ 45 h 69"/>
                    <a:gd name="T58" fmla="*/ 4 w 14"/>
                    <a:gd name="T59" fmla="*/ 45 h 69"/>
                    <a:gd name="T60" fmla="*/ 3 w 14"/>
                    <a:gd name="T61" fmla="*/ 47 h 69"/>
                    <a:gd name="T62" fmla="*/ 3 w 14"/>
                    <a:gd name="T63" fmla="*/ 47 h 69"/>
                    <a:gd name="T64" fmla="*/ 0 w 14"/>
                    <a:gd name="T65" fmla="*/ 53 h 69"/>
                    <a:gd name="T66" fmla="*/ 3 w 14"/>
                    <a:gd name="T67" fmla="*/ 53 h 69"/>
                    <a:gd name="T68" fmla="*/ 5 w 14"/>
                    <a:gd name="T69" fmla="*/ 68 h 69"/>
                    <a:gd name="T70" fmla="*/ 5 w 14"/>
                    <a:gd name="T71" fmla="*/ 68 h 69"/>
                    <a:gd name="T72" fmla="*/ 4 w 14"/>
                    <a:gd name="T73" fmla="*/ 63 h 69"/>
                    <a:gd name="T74" fmla="*/ 3 w 14"/>
                    <a:gd name="T75" fmla="*/ 59 h 69"/>
                    <a:gd name="T76" fmla="*/ 0 w 14"/>
                    <a:gd name="T77" fmla="*/ 59 h 69"/>
                    <a:gd name="T78" fmla="*/ 0 w 14"/>
                    <a:gd name="T79" fmla="*/ 59 h 69"/>
                    <a:gd name="T80" fmla="*/ 1 w 14"/>
                    <a:gd name="T81" fmla="*/ 63 h 69"/>
                    <a:gd name="T82" fmla="*/ 4 w 14"/>
                    <a:gd name="T83" fmla="*/ 69 h 69"/>
                    <a:gd name="T84" fmla="*/ 5 w 14"/>
                    <a:gd name="T85" fmla="*/ 68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4" h="69">
                      <a:moveTo>
                        <a:pt x="11" y="10"/>
                      </a:moveTo>
                      <a:lnTo>
                        <a:pt x="11" y="10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10" y="10"/>
                      </a:lnTo>
                      <a:lnTo>
                        <a:pt x="11" y="10"/>
                      </a:lnTo>
                      <a:close/>
                      <a:moveTo>
                        <a:pt x="10" y="24"/>
                      </a:moveTo>
                      <a:lnTo>
                        <a:pt x="10" y="24"/>
                      </a:lnTo>
                      <a:lnTo>
                        <a:pt x="10" y="16"/>
                      </a:lnTo>
                      <a:lnTo>
                        <a:pt x="11" y="14"/>
                      </a:lnTo>
                      <a:lnTo>
                        <a:pt x="8" y="14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7" y="24"/>
                      </a:lnTo>
                      <a:lnTo>
                        <a:pt x="10" y="24"/>
                      </a:lnTo>
                      <a:close/>
                      <a:moveTo>
                        <a:pt x="8" y="40"/>
                      </a:moveTo>
                      <a:lnTo>
                        <a:pt x="8" y="40"/>
                      </a:lnTo>
                      <a:lnTo>
                        <a:pt x="10" y="30"/>
                      </a:lnTo>
                      <a:lnTo>
                        <a:pt x="7" y="30"/>
                      </a:lnTo>
                      <a:lnTo>
                        <a:pt x="7" y="30"/>
                      </a:lnTo>
                      <a:lnTo>
                        <a:pt x="5" y="39"/>
                      </a:lnTo>
                      <a:lnTo>
                        <a:pt x="8" y="40"/>
                      </a:lnTo>
                      <a:close/>
                      <a:moveTo>
                        <a:pt x="3" y="53"/>
                      </a:moveTo>
                      <a:lnTo>
                        <a:pt x="3" y="53"/>
                      </a:lnTo>
                      <a:lnTo>
                        <a:pt x="4" y="49"/>
                      </a:lnTo>
                      <a:lnTo>
                        <a:pt x="4" y="49"/>
                      </a:lnTo>
                      <a:lnTo>
                        <a:pt x="7" y="45"/>
                      </a:lnTo>
                      <a:lnTo>
                        <a:pt x="4" y="45"/>
                      </a:lnTo>
                      <a:lnTo>
                        <a:pt x="4" y="45"/>
                      </a:lnTo>
                      <a:lnTo>
                        <a:pt x="3" y="47"/>
                      </a:lnTo>
                      <a:lnTo>
                        <a:pt x="3" y="47"/>
                      </a:lnTo>
                      <a:lnTo>
                        <a:pt x="0" y="53"/>
                      </a:lnTo>
                      <a:lnTo>
                        <a:pt x="3" y="53"/>
                      </a:lnTo>
                      <a:close/>
                      <a:moveTo>
                        <a:pt x="5" y="68"/>
                      </a:moveTo>
                      <a:lnTo>
                        <a:pt x="5" y="68"/>
                      </a:lnTo>
                      <a:lnTo>
                        <a:pt x="4" y="63"/>
                      </a:lnTo>
                      <a:lnTo>
                        <a:pt x="3" y="59"/>
                      </a:lnTo>
                      <a:lnTo>
                        <a:pt x="0" y="59"/>
                      </a:lnTo>
                      <a:lnTo>
                        <a:pt x="0" y="59"/>
                      </a:lnTo>
                      <a:lnTo>
                        <a:pt x="1" y="63"/>
                      </a:lnTo>
                      <a:lnTo>
                        <a:pt x="4" y="69"/>
                      </a:lnTo>
                      <a:lnTo>
                        <a:pt x="5" y="6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38" name="Freeform 1592"/>
                <p:cNvSpPr>
                  <a:spLocks noEditPoints="1"/>
                </p:cNvSpPr>
                <p:nvPr/>
              </p:nvSpPr>
              <p:spPr bwMode="auto">
                <a:xfrm>
                  <a:off x="4962758" y="3343848"/>
                  <a:ext cx="83098" cy="54409"/>
                </a:xfrm>
                <a:custGeom>
                  <a:avLst/>
                  <a:gdLst>
                    <a:gd name="T0" fmla="*/ 7 w 84"/>
                    <a:gd name="T1" fmla="*/ 3 h 55"/>
                    <a:gd name="T2" fmla="*/ 7 w 84"/>
                    <a:gd name="T3" fmla="*/ 3 h 55"/>
                    <a:gd name="T4" fmla="*/ 1 w 84"/>
                    <a:gd name="T5" fmla="*/ 0 h 55"/>
                    <a:gd name="T6" fmla="*/ 0 w 84"/>
                    <a:gd name="T7" fmla="*/ 3 h 55"/>
                    <a:gd name="T8" fmla="*/ 0 w 84"/>
                    <a:gd name="T9" fmla="*/ 3 h 55"/>
                    <a:gd name="T10" fmla="*/ 5 w 84"/>
                    <a:gd name="T11" fmla="*/ 5 h 55"/>
                    <a:gd name="T12" fmla="*/ 7 w 84"/>
                    <a:gd name="T13" fmla="*/ 3 h 55"/>
                    <a:gd name="T14" fmla="*/ 20 w 84"/>
                    <a:gd name="T15" fmla="*/ 10 h 55"/>
                    <a:gd name="T16" fmla="*/ 20 w 84"/>
                    <a:gd name="T17" fmla="*/ 10 h 55"/>
                    <a:gd name="T18" fmla="*/ 11 w 84"/>
                    <a:gd name="T19" fmla="*/ 5 h 55"/>
                    <a:gd name="T20" fmla="*/ 10 w 84"/>
                    <a:gd name="T21" fmla="*/ 8 h 55"/>
                    <a:gd name="T22" fmla="*/ 10 w 84"/>
                    <a:gd name="T23" fmla="*/ 8 h 55"/>
                    <a:gd name="T24" fmla="*/ 18 w 84"/>
                    <a:gd name="T25" fmla="*/ 13 h 55"/>
                    <a:gd name="T26" fmla="*/ 20 w 84"/>
                    <a:gd name="T27" fmla="*/ 10 h 55"/>
                    <a:gd name="T28" fmla="*/ 34 w 84"/>
                    <a:gd name="T29" fmla="*/ 17 h 55"/>
                    <a:gd name="T30" fmla="*/ 34 w 84"/>
                    <a:gd name="T31" fmla="*/ 17 h 55"/>
                    <a:gd name="T32" fmla="*/ 24 w 84"/>
                    <a:gd name="T33" fmla="*/ 13 h 55"/>
                    <a:gd name="T34" fmla="*/ 24 w 84"/>
                    <a:gd name="T35" fmla="*/ 14 h 55"/>
                    <a:gd name="T36" fmla="*/ 24 w 84"/>
                    <a:gd name="T37" fmla="*/ 14 h 55"/>
                    <a:gd name="T38" fmla="*/ 33 w 84"/>
                    <a:gd name="T39" fmla="*/ 20 h 55"/>
                    <a:gd name="T40" fmla="*/ 34 w 84"/>
                    <a:gd name="T41" fmla="*/ 17 h 55"/>
                    <a:gd name="T42" fmla="*/ 47 w 84"/>
                    <a:gd name="T43" fmla="*/ 24 h 55"/>
                    <a:gd name="T44" fmla="*/ 47 w 84"/>
                    <a:gd name="T45" fmla="*/ 24 h 55"/>
                    <a:gd name="T46" fmla="*/ 39 w 84"/>
                    <a:gd name="T47" fmla="*/ 20 h 55"/>
                    <a:gd name="T48" fmla="*/ 37 w 84"/>
                    <a:gd name="T49" fmla="*/ 21 h 55"/>
                    <a:gd name="T50" fmla="*/ 37 w 84"/>
                    <a:gd name="T51" fmla="*/ 21 h 55"/>
                    <a:gd name="T52" fmla="*/ 46 w 84"/>
                    <a:gd name="T53" fmla="*/ 27 h 55"/>
                    <a:gd name="T54" fmla="*/ 47 w 84"/>
                    <a:gd name="T55" fmla="*/ 24 h 55"/>
                    <a:gd name="T56" fmla="*/ 59 w 84"/>
                    <a:gd name="T57" fmla="*/ 34 h 55"/>
                    <a:gd name="T58" fmla="*/ 59 w 84"/>
                    <a:gd name="T59" fmla="*/ 34 h 55"/>
                    <a:gd name="T60" fmla="*/ 56 w 84"/>
                    <a:gd name="T61" fmla="*/ 32 h 55"/>
                    <a:gd name="T62" fmla="*/ 56 w 84"/>
                    <a:gd name="T63" fmla="*/ 32 h 55"/>
                    <a:gd name="T64" fmla="*/ 52 w 84"/>
                    <a:gd name="T65" fmla="*/ 27 h 55"/>
                    <a:gd name="T66" fmla="*/ 50 w 84"/>
                    <a:gd name="T67" fmla="*/ 30 h 55"/>
                    <a:gd name="T68" fmla="*/ 50 w 84"/>
                    <a:gd name="T69" fmla="*/ 30 h 55"/>
                    <a:gd name="T70" fmla="*/ 53 w 84"/>
                    <a:gd name="T71" fmla="*/ 33 h 55"/>
                    <a:gd name="T72" fmla="*/ 53 w 84"/>
                    <a:gd name="T73" fmla="*/ 33 h 55"/>
                    <a:gd name="T74" fmla="*/ 58 w 84"/>
                    <a:gd name="T75" fmla="*/ 36 h 55"/>
                    <a:gd name="T76" fmla="*/ 59 w 84"/>
                    <a:gd name="T77" fmla="*/ 34 h 55"/>
                    <a:gd name="T78" fmla="*/ 71 w 84"/>
                    <a:gd name="T79" fmla="*/ 43 h 55"/>
                    <a:gd name="T80" fmla="*/ 71 w 84"/>
                    <a:gd name="T81" fmla="*/ 43 h 55"/>
                    <a:gd name="T82" fmla="*/ 62 w 84"/>
                    <a:gd name="T83" fmla="*/ 37 h 55"/>
                    <a:gd name="T84" fmla="*/ 60 w 84"/>
                    <a:gd name="T85" fmla="*/ 40 h 55"/>
                    <a:gd name="T86" fmla="*/ 60 w 84"/>
                    <a:gd name="T87" fmla="*/ 40 h 55"/>
                    <a:gd name="T88" fmla="*/ 69 w 84"/>
                    <a:gd name="T89" fmla="*/ 46 h 55"/>
                    <a:gd name="T90" fmla="*/ 71 w 84"/>
                    <a:gd name="T91" fmla="*/ 43 h 55"/>
                    <a:gd name="T92" fmla="*/ 84 w 84"/>
                    <a:gd name="T93" fmla="*/ 52 h 55"/>
                    <a:gd name="T94" fmla="*/ 84 w 84"/>
                    <a:gd name="T95" fmla="*/ 52 h 55"/>
                    <a:gd name="T96" fmla="*/ 75 w 84"/>
                    <a:gd name="T97" fmla="*/ 46 h 55"/>
                    <a:gd name="T98" fmla="*/ 74 w 84"/>
                    <a:gd name="T99" fmla="*/ 49 h 55"/>
                    <a:gd name="T100" fmla="*/ 74 w 84"/>
                    <a:gd name="T101" fmla="*/ 49 h 55"/>
                    <a:gd name="T102" fmla="*/ 82 w 84"/>
                    <a:gd name="T103" fmla="*/ 55 h 55"/>
                    <a:gd name="T104" fmla="*/ 84 w 84"/>
                    <a:gd name="T105" fmla="*/ 5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84" h="55">
                      <a:moveTo>
                        <a:pt x="7" y="3"/>
                      </a:moveTo>
                      <a:lnTo>
                        <a:pt x="7" y="3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5" y="5"/>
                      </a:lnTo>
                      <a:lnTo>
                        <a:pt x="7" y="3"/>
                      </a:lnTo>
                      <a:close/>
                      <a:moveTo>
                        <a:pt x="20" y="10"/>
                      </a:moveTo>
                      <a:lnTo>
                        <a:pt x="20" y="10"/>
                      </a:lnTo>
                      <a:lnTo>
                        <a:pt x="11" y="5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8" y="13"/>
                      </a:lnTo>
                      <a:lnTo>
                        <a:pt x="20" y="10"/>
                      </a:lnTo>
                      <a:close/>
                      <a:moveTo>
                        <a:pt x="34" y="17"/>
                      </a:moveTo>
                      <a:lnTo>
                        <a:pt x="34" y="17"/>
                      </a:lnTo>
                      <a:lnTo>
                        <a:pt x="24" y="13"/>
                      </a:lnTo>
                      <a:lnTo>
                        <a:pt x="24" y="14"/>
                      </a:lnTo>
                      <a:lnTo>
                        <a:pt x="24" y="14"/>
                      </a:lnTo>
                      <a:lnTo>
                        <a:pt x="33" y="20"/>
                      </a:lnTo>
                      <a:lnTo>
                        <a:pt x="34" y="17"/>
                      </a:lnTo>
                      <a:close/>
                      <a:moveTo>
                        <a:pt x="47" y="24"/>
                      </a:moveTo>
                      <a:lnTo>
                        <a:pt x="47" y="24"/>
                      </a:lnTo>
                      <a:lnTo>
                        <a:pt x="39" y="20"/>
                      </a:lnTo>
                      <a:lnTo>
                        <a:pt x="37" y="21"/>
                      </a:lnTo>
                      <a:lnTo>
                        <a:pt x="37" y="21"/>
                      </a:lnTo>
                      <a:lnTo>
                        <a:pt x="46" y="27"/>
                      </a:lnTo>
                      <a:lnTo>
                        <a:pt x="47" y="24"/>
                      </a:lnTo>
                      <a:close/>
                      <a:moveTo>
                        <a:pt x="59" y="34"/>
                      </a:moveTo>
                      <a:lnTo>
                        <a:pt x="59" y="34"/>
                      </a:lnTo>
                      <a:lnTo>
                        <a:pt x="56" y="32"/>
                      </a:lnTo>
                      <a:lnTo>
                        <a:pt x="56" y="32"/>
                      </a:lnTo>
                      <a:lnTo>
                        <a:pt x="52" y="27"/>
                      </a:lnTo>
                      <a:lnTo>
                        <a:pt x="50" y="30"/>
                      </a:lnTo>
                      <a:lnTo>
                        <a:pt x="50" y="30"/>
                      </a:lnTo>
                      <a:lnTo>
                        <a:pt x="53" y="33"/>
                      </a:lnTo>
                      <a:lnTo>
                        <a:pt x="53" y="33"/>
                      </a:lnTo>
                      <a:lnTo>
                        <a:pt x="58" y="36"/>
                      </a:lnTo>
                      <a:lnTo>
                        <a:pt x="59" y="34"/>
                      </a:lnTo>
                      <a:close/>
                      <a:moveTo>
                        <a:pt x="71" y="43"/>
                      </a:moveTo>
                      <a:lnTo>
                        <a:pt x="71" y="43"/>
                      </a:lnTo>
                      <a:lnTo>
                        <a:pt x="62" y="37"/>
                      </a:lnTo>
                      <a:lnTo>
                        <a:pt x="60" y="40"/>
                      </a:lnTo>
                      <a:lnTo>
                        <a:pt x="60" y="40"/>
                      </a:lnTo>
                      <a:lnTo>
                        <a:pt x="69" y="46"/>
                      </a:lnTo>
                      <a:lnTo>
                        <a:pt x="71" y="43"/>
                      </a:lnTo>
                      <a:close/>
                      <a:moveTo>
                        <a:pt x="84" y="52"/>
                      </a:moveTo>
                      <a:lnTo>
                        <a:pt x="84" y="52"/>
                      </a:lnTo>
                      <a:lnTo>
                        <a:pt x="75" y="46"/>
                      </a:lnTo>
                      <a:lnTo>
                        <a:pt x="74" y="49"/>
                      </a:lnTo>
                      <a:lnTo>
                        <a:pt x="74" y="49"/>
                      </a:lnTo>
                      <a:lnTo>
                        <a:pt x="82" y="55"/>
                      </a:lnTo>
                      <a:lnTo>
                        <a:pt x="84" y="5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39" name="Freeform 1593"/>
                <p:cNvSpPr>
                  <a:spLocks noEditPoints="1"/>
                </p:cNvSpPr>
                <p:nvPr/>
              </p:nvSpPr>
              <p:spPr bwMode="auto">
                <a:xfrm>
                  <a:off x="4568043" y="2804701"/>
                  <a:ext cx="251272" cy="501554"/>
                </a:xfrm>
                <a:custGeom>
                  <a:avLst/>
                  <a:gdLst>
                    <a:gd name="T0" fmla="*/ 251 w 254"/>
                    <a:gd name="T1" fmla="*/ 15 h 507"/>
                    <a:gd name="T2" fmla="*/ 254 w 254"/>
                    <a:gd name="T3" fmla="*/ 41 h 507"/>
                    <a:gd name="T4" fmla="*/ 254 w 254"/>
                    <a:gd name="T5" fmla="*/ 61 h 507"/>
                    <a:gd name="T6" fmla="*/ 251 w 254"/>
                    <a:gd name="T7" fmla="*/ 86 h 507"/>
                    <a:gd name="T8" fmla="*/ 254 w 254"/>
                    <a:gd name="T9" fmla="*/ 91 h 507"/>
                    <a:gd name="T10" fmla="*/ 251 w 254"/>
                    <a:gd name="T11" fmla="*/ 122 h 507"/>
                    <a:gd name="T12" fmla="*/ 254 w 254"/>
                    <a:gd name="T13" fmla="*/ 146 h 507"/>
                    <a:gd name="T14" fmla="*/ 254 w 254"/>
                    <a:gd name="T15" fmla="*/ 167 h 507"/>
                    <a:gd name="T16" fmla="*/ 251 w 254"/>
                    <a:gd name="T17" fmla="*/ 193 h 507"/>
                    <a:gd name="T18" fmla="*/ 251 w 254"/>
                    <a:gd name="T19" fmla="*/ 197 h 507"/>
                    <a:gd name="T20" fmla="*/ 232 w 254"/>
                    <a:gd name="T21" fmla="*/ 201 h 507"/>
                    <a:gd name="T22" fmla="*/ 231 w 254"/>
                    <a:gd name="T23" fmla="*/ 219 h 507"/>
                    <a:gd name="T24" fmla="*/ 231 w 254"/>
                    <a:gd name="T25" fmla="*/ 233 h 507"/>
                    <a:gd name="T26" fmla="*/ 231 w 254"/>
                    <a:gd name="T27" fmla="*/ 239 h 507"/>
                    <a:gd name="T28" fmla="*/ 231 w 254"/>
                    <a:gd name="T29" fmla="*/ 254 h 507"/>
                    <a:gd name="T30" fmla="*/ 225 w 254"/>
                    <a:gd name="T31" fmla="*/ 267 h 507"/>
                    <a:gd name="T32" fmla="*/ 221 w 254"/>
                    <a:gd name="T33" fmla="*/ 264 h 507"/>
                    <a:gd name="T34" fmla="*/ 216 w 254"/>
                    <a:gd name="T35" fmla="*/ 264 h 507"/>
                    <a:gd name="T36" fmla="*/ 212 w 254"/>
                    <a:gd name="T37" fmla="*/ 271 h 507"/>
                    <a:gd name="T38" fmla="*/ 203 w 254"/>
                    <a:gd name="T39" fmla="*/ 282 h 507"/>
                    <a:gd name="T40" fmla="*/ 200 w 254"/>
                    <a:gd name="T41" fmla="*/ 287 h 507"/>
                    <a:gd name="T42" fmla="*/ 194 w 254"/>
                    <a:gd name="T43" fmla="*/ 311 h 507"/>
                    <a:gd name="T44" fmla="*/ 194 w 254"/>
                    <a:gd name="T45" fmla="*/ 324 h 507"/>
                    <a:gd name="T46" fmla="*/ 190 w 254"/>
                    <a:gd name="T47" fmla="*/ 320 h 507"/>
                    <a:gd name="T48" fmla="*/ 203 w 254"/>
                    <a:gd name="T49" fmla="*/ 329 h 507"/>
                    <a:gd name="T50" fmla="*/ 215 w 254"/>
                    <a:gd name="T51" fmla="*/ 348 h 507"/>
                    <a:gd name="T52" fmla="*/ 212 w 254"/>
                    <a:gd name="T53" fmla="*/ 346 h 507"/>
                    <a:gd name="T54" fmla="*/ 212 w 254"/>
                    <a:gd name="T55" fmla="*/ 352 h 507"/>
                    <a:gd name="T56" fmla="*/ 203 w 254"/>
                    <a:gd name="T57" fmla="*/ 367 h 507"/>
                    <a:gd name="T58" fmla="*/ 196 w 254"/>
                    <a:gd name="T59" fmla="*/ 369 h 507"/>
                    <a:gd name="T60" fmla="*/ 181 w 254"/>
                    <a:gd name="T61" fmla="*/ 377 h 507"/>
                    <a:gd name="T62" fmla="*/ 167 w 254"/>
                    <a:gd name="T63" fmla="*/ 380 h 507"/>
                    <a:gd name="T64" fmla="*/ 163 w 254"/>
                    <a:gd name="T65" fmla="*/ 380 h 507"/>
                    <a:gd name="T66" fmla="*/ 147 w 254"/>
                    <a:gd name="T67" fmla="*/ 397 h 507"/>
                    <a:gd name="T68" fmla="*/ 151 w 254"/>
                    <a:gd name="T69" fmla="*/ 388 h 507"/>
                    <a:gd name="T70" fmla="*/ 147 w 254"/>
                    <a:gd name="T71" fmla="*/ 397 h 507"/>
                    <a:gd name="T72" fmla="*/ 141 w 254"/>
                    <a:gd name="T73" fmla="*/ 395 h 507"/>
                    <a:gd name="T74" fmla="*/ 128 w 254"/>
                    <a:gd name="T75" fmla="*/ 403 h 507"/>
                    <a:gd name="T76" fmla="*/ 115 w 254"/>
                    <a:gd name="T77" fmla="*/ 410 h 507"/>
                    <a:gd name="T78" fmla="*/ 100 w 254"/>
                    <a:gd name="T79" fmla="*/ 416 h 507"/>
                    <a:gd name="T80" fmla="*/ 89 w 254"/>
                    <a:gd name="T81" fmla="*/ 424 h 507"/>
                    <a:gd name="T82" fmla="*/ 80 w 254"/>
                    <a:gd name="T83" fmla="*/ 436 h 507"/>
                    <a:gd name="T84" fmla="*/ 76 w 254"/>
                    <a:gd name="T85" fmla="*/ 449 h 507"/>
                    <a:gd name="T86" fmla="*/ 81 w 254"/>
                    <a:gd name="T87" fmla="*/ 464 h 507"/>
                    <a:gd name="T88" fmla="*/ 89 w 254"/>
                    <a:gd name="T89" fmla="*/ 475 h 507"/>
                    <a:gd name="T90" fmla="*/ 102 w 254"/>
                    <a:gd name="T91" fmla="*/ 494 h 507"/>
                    <a:gd name="T92" fmla="*/ 97 w 254"/>
                    <a:gd name="T93" fmla="*/ 491 h 507"/>
                    <a:gd name="T94" fmla="*/ 93 w 254"/>
                    <a:gd name="T95" fmla="*/ 506 h 507"/>
                    <a:gd name="T96" fmla="*/ 93 w 254"/>
                    <a:gd name="T97" fmla="*/ 504 h 507"/>
                    <a:gd name="T98" fmla="*/ 86 w 254"/>
                    <a:gd name="T99" fmla="*/ 506 h 507"/>
                    <a:gd name="T100" fmla="*/ 71 w 254"/>
                    <a:gd name="T101" fmla="*/ 501 h 507"/>
                    <a:gd name="T102" fmla="*/ 57 w 254"/>
                    <a:gd name="T103" fmla="*/ 500 h 507"/>
                    <a:gd name="T104" fmla="*/ 41 w 254"/>
                    <a:gd name="T105" fmla="*/ 498 h 507"/>
                    <a:gd name="T106" fmla="*/ 26 w 254"/>
                    <a:gd name="T107" fmla="*/ 500 h 507"/>
                    <a:gd name="T108" fmla="*/ 11 w 254"/>
                    <a:gd name="T109" fmla="*/ 500 h 5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54" h="507">
                      <a:moveTo>
                        <a:pt x="254" y="0"/>
                      </a:moveTo>
                      <a:lnTo>
                        <a:pt x="251" y="0"/>
                      </a:lnTo>
                      <a:lnTo>
                        <a:pt x="251" y="10"/>
                      </a:lnTo>
                      <a:lnTo>
                        <a:pt x="254" y="10"/>
                      </a:lnTo>
                      <a:lnTo>
                        <a:pt x="254" y="0"/>
                      </a:lnTo>
                      <a:close/>
                      <a:moveTo>
                        <a:pt x="254" y="15"/>
                      </a:moveTo>
                      <a:lnTo>
                        <a:pt x="251" y="15"/>
                      </a:lnTo>
                      <a:lnTo>
                        <a:pt x="251" y="25"/>
                      </a:lnTo>
                      <a:lnTo>
                        <a:pt x="254" y="25"/>
                      </a:lnTo>
                      <a:lnTo>
                        <a:pt x="254" y="15"/>
                      </a:lnTo>
                      <a:close/>
                      <a:moveTo>
                        <a:pt x="254" y="30"/>
                      </a:moveTo>
                      <a:lnTo>
                        <a:pt x="251" y="30"/>
                      </a:lnTo>
                      <a:lnTo>
                        <a:pt x="251" y="41"/>
                      </a:lnTo>
                      <a:lnTo>
                        <a:pt x="254" y="41"/>
                      </a:lnTo>
                      <a:lnTo>
                        <a:pt x="254" y="30"/>
                      </a:lnTo>
                      <a:close/>
                      <a:moveTo>
                        <a:pt x="254" y="45"/>
                      </a:moveTo>
                      <a:lnTo>
                        <a:pt x="251" y="45"/>
                      </a:lnTo>
                      <a:lnTo>
                        <a:pt x="251" y="55"/>
                      </a:lnTo>
                      <a:lnTo>
                        <a:pt x="254" y="55"/>
                      </a:lnTo>
                      <a:lnTo>
                        <a:pt x="254" y="45"/>
                      </a:lnTo>
                      <a:close/>
                      <a:moveTo>
                        <a:pt x="254" y="61"/>
                      </a:moveTo>
                      <a:lnTo>
                        <a:pt x="251" y="61"/>
                      </a:lnTo>
                      <a:lnTo>
                        <a:pt x="251" y="71"/>
                      </a:lnTo>
                      <a:lnTo>
                        <a:pt x="254" y="71"/>
                      </a:lnTo>
                      <a:lnTo>
                        <a:pt x="254" y="61"/>
                      </a:lnTo>
                      <a:close/>
                      <a:moveTo>
                        <a:pt x="254" y="75"/>
                      </a:moveTo>
                      <a:lnTo>
                        <a:pt x="251" y="75"/>
                      </a:lnTo>
                      <a:lnTo>
                        <a:pt x="251" y="86"/>
                      </a:lnTo>
                      <a:lnTo>
                        <a:pt x="254" y="86"/>
                      </a:lnTo>
                      <a:lnTo>
                        <a:pt x="254" y="75"/>
                      </a:lnTo>
                      <a:close/>
                      <a:moveTo>
                        <a:pt x="254" y="91"/>
                      </a:moveTo>
                      <a:lnTo>
                        <a:pt x="251" y="91"/>
                      </a:lnTo>
                      <a:lnTo>
                        <a:pt x="251" y="101"/>
                      </a:lnTo>
                      <a:lnTo>
                        <a:pt x="254" y="101"/>
                      </a:lnTo>
                      <a:lnTo>
                        <a:pt x="254" y="91"/>
                      </a:lnTo>
                      <a:close/>
                      <a:moveTo>
                        <a:pt x="254" y="106"/>
                      </a:moveTo>
                      <a:lnTo>
                        <a:pt x="251" y="106"/>
                      </a:lnTo>
                      <a:lnTo>
                        <a:pt x="251" y="116"/>
                      </a:lnTo>
                      <a:lnTo>
                        <a:pt x="254" y="116"/>
                      </a:lnTo>
                      <a:lnTo>
                        <a:pt x="254" y="106"/>
                      </a:lnTo>
                      <a:close/>
                      <a:moveTo>
                        <a:pt x="254" y="122"/>
                      </a:moveTo>
                      <a:lnTo>
                        <a:pt x="251" y="122"/>
                      </a:lnTo>
                      <a:lnTo>
                        <a:pt x="251" y="132"/>
                      </a:lnTo>
                      <a:lnTo>
                        <a:pt x="254" y="132"/>
                      </a:lnTo>
                      <a:lnTo>
                        <a:pt x="254" y="122"/>
                      </a:lnTo>
                      <a:close/>
                      <a:moveTo>
                        <a:pt x="254" y="136"/>
                      </a:moveTo>
                      <a:lnTo>
                        <a:pt x="251" y="136"/>
                      </a:lnTo>
                      <a:lnTo>
                        <a:pt x="251" y="146"/>
                      </a:lnTo>
                      <a:lnTo>
                        <a:pt x="254" y="146"/>
                      </a:lnTo>
                      <a:lnTo>
                        <a:pt x="254" y="136"/>
                      </a:lnTo>
                      <a:close/>
                      <a:moveTo>
                        <a:pt x="254" y="152"/>
                      </a:moveTo>
                      <a:lnTo>
                        <a:pt x="251" y="152"/>
                      </a:lnTo>
                      <a:lnTo>
                        <a:pt x="251" y="162"/>
                      </a:lnTo>
                      <a:lnTo>
                        <a:pt x="254" y="162"/>
                      </a:lnTo>
                      <a:lnTo>
                        <a:pt x="254" y="152"/>
                      </a:lnTo>
                      <a:close/>
                      <a:moveTo>
                        <a:pt x="254" y="167"/>
                      </a:moveTo>
                      <a:lnTo>
                        <a:pt x="251" y="167"/>
                      </a:lnTo>
                      <a:lnTo>
                        <a:pt x="251" y="177"/>
                      </a:lnTo>
                      <a:lnTo>
                        <a:pt x="254" y="177"/>
                      </a:lnTo>
                      <a:lnTo>
                        <a:pt x="254" y="167"/>
                      </a:lnTo>
                      <a:close/>
                      <a:moveTo>
                        <a:pt x="254" y="183"/>
                      </a:moveTo>
                      <a:lnTo>
                        <a:pt x="251" y="183"/>
                      </a:lnTo>
                      <a:lnTo>
                        <a:pt x="251" y="193"/>
                      </a:lnTo>
                      <a:lnTo>
                        <a:pt x="254" y="193"/>
                      </a:lnTo>
                      <a:lnTo>
                        <a:pt x="254" y="183"/>
                      </a:lnTo>
                      <a:close/>
                      <a:moveTo>
                        <a:pt x="248" y="204"/>
                      </a:moveTo>
                      <a:lnTo>
                        <a:pt x="252" y="204"/>
                      </a:lnTo>
                      <a:lnTo>
                        <a:pt x="254" y="204"/>
                      </a:lnTo>
                      <a:lnTo>
                        <a:pt x="254" y="197"/>
                      </a:lnTo>
                      <a:lnTo>
                        <a:pt x="251" y="197"/>
                      </a:lnTo>
                      <a:lnTo>
                        <a:pt x="251" y="201"/>
                      </a:lnTo>
                      <a:lnTo>
                        <a:pt x="248" y="201"/>
                      </a:lnTo>
                      <a:lnTo>
                        <a:pt x="248" y="204"/>
                      </a:lnTo>
                      <a:close/>
                      <a:moveTo>
                        <a:pt x="232" y="204"/>
                      </a:moveTo>
                      <a:lnTo>
                        <a:pt x="242" y="204"/>
                      </a:lnTo>
                      <a:lnTo>
                        <a:pt x="242" y="201"/>
                      </a:lnTo>
                      <a:lnTo>
                        <a:pt x="232" y="201"/>
                      </a:lnTo>
                      <a:lnTo>
                        <a:pt x="232" y="204"/>
                      </a:lnTo>
                      <a:close/>
                      <a:moveTo>
                        <a:pt x="234" y="217"/>
                      </a:moveTo>
                      <a:lnTo>
                        <a:pt x="234" y="217"/>
                      </a:lnTo>
                      <a:lnTo>
                        <a:pt x="234" y="207"/>
                      </a:lnTo>
                      <a:lnTo>
                        <a:pt x="231" y="207"/>
                      </a:lnTo>
                      <a:lnTo>
                        <a:pt x="231" y="207"/>
                      </a:lnTo>
                      <a:lnTo>
                        <a:pt x="231" y="219"/>
                      </a:lnTo>
                      <a:lnTo>
                        <a:pt x="234" y="217"/>
                      </a:lnTo>
                      <a:close/>
                      <a:moveTo>
                        <a:pt x="234" y="233"/>
                      </a:moveTo>
                      <a:lnTo>
                        <a:pt x="234" y="233"/>
                      </a:lnTo>
                      <a:lnTo>
                        <a:pt x="234" y="223"/>
                      </a:lnTo>
                      <a:lnTo>
                        <a:pt x="231" y="223"/>
                      </a:lnTo>
                      <a:lnTo>
                        <a:pt x="231" y="223"/>
                      </a:lnTo>
                      <a:lnTo>
                        <a:pt x="231" y="233"/>
                      </a:lnTo>
                      <a:lnTo>
                        <a:pt x="234" y="233"/>
                      </a:lnTo>
                      <a:close/>
                      <a:moveTo>
                        <a:pt x="234" y="249"/>
                      </a:moveTo>
                      <a:lnTo>
                        <a:pt x="234" y="246"/>
                      </a:lnTo>
                      <a:lnTo>
                        <a:pt x="234" y="246"/>
                      </a:lnTo>
                      <a:lnTo>
                        <a:pt x="234" y="239"/>
                      </a:lnTo>
                      <a:lnTo>
                        <a:pt x="231" y="239"/>
                      </a:lnTo>
                      <a:lnTo>
                        <a:pt x="231" y="239"/>
                      </a:lnTo>
                      <a:lnTo>
                        <a:pt x="231" y="246"/>
                      </a:lnTo>
                      <a:lnTo>
                        <a:pt x="231" y="249"/>
                      </a:lnTo>
                      <a:lnTo>
                        <a:pt x="234" y="249"/>
                      </a:lnTo>
                      <a:close/>
                      <a:moveTo>
                        <a:pt x="234" y="264"/>
                      </a:moveTo>
                      <a:lnTo>
                        <a:pt x="234" y="264"/>
                      </a:lnTo>
                      <a:lnTo>
                        <a:pt x="234" y="254"/>
                      </a:lnTo>
                      <a:lnTo>
                        <a:pt x="231" y="254"/>
                      </a:lnTo>
                      <a:lnTo>
                        <a:pt x="231" y="254"/>
                      </a:lnTo>
                      <a:lnTo>
                        <a:pt x="231" y="264"/>
                      </a:lnTo>
                      <a:lnTo>
                        <a:pt x="234" y="264"/>
                      </a:lnTo>
                      <a:close/>
                      <a:moveTo>
                        <a:pt x="221" y="264"/>
                      </a:moveTo>
                      <a:lnTo>
                        <a:pt x="221" y="264"/>
                      </a:lnTo>
                      <a:lnTo>
                        <a:pt x="225" y="267"/>
                      </a:lnTo>
                      <a:lnTo>
                        <a:pt x="225" y="267"/>
                      </a:lnTo>
                      <a:lnTo>
                        <a:pt x="229" y="268"/>
                      </a:lnTo>
                      <a:lnTo>
                        <a:pt x="229" y="267"/>
                      </a:lnTo>
                      <a:lnTo>
                        <a:pt x="229" y="267"/>
                      </a:lnTo>
                      <a:lnTo>
                        <a:pt x="226" y="265"/>
                      </a:lnTo>
                      <a:lnTo>
                        <a:pt x="226" y="265"/>
                      </a:lnTo>
                      <a:lnTo>
                        <a:pt x="221" y="262"/>
                      </a:lnTo>
                      <a:lnTo>
                        <a:pt x="221" y="264"/>
                      </a:lnTo>
                      <a:close/>
                      <a:moveTo>
                        <a:pt x="213" y="271"/>
                      </a:moveTo>
                      <a:lnTo>
                        <a:pt x="213" y="271"/>
                      </a:lnTo>
                      <a:lnTo>
                        <a:pt x="213" y="271"/>
                      </a:lnTo>
                      <a:lnTo>
                        <a:pt x="215" y="265"/>
                      </a:lnTo>
                      <a:lnTo>
                        <a:pt x="215" y="265"/>
                      </a:lnTo>
                      <a:lnTo>
                        <a:pt x="215" y="264"/>
                      </a:lnTo>
                      <a:lnTo>
                        <a:pt x="216" y="264"/>
                      </a:lnTo>
                      <a:lnTo>
                        <a:pt x="215" y="261"/>
                      </a:lnTo>
                      <a:lnTo>
                        <a:pt x="215" y="261"/>
                      </a:lnTo>
                      <a:lnTo>
                        <a:pt x="213" y="262"/>
                      </a:lnTo>
                      <a:lnTo>
                        <a:pt x="213" y="262"/>
                      </a:lnTo>
                      <a:lnTo>
                        <a:pt x="212" y="267"/>
                      </a:lnTo>
                      <a:lnTo>
                        <a:pt x="212" y="271"/>
                      </a:lnTo>
                      <a:lnTo>
                        <a:pt x="212" y="271"/>
                      </a:lnTo>
                      <a:lnTo>
                        <a:pt x="213" y="271"/>
                      </a:lnTo>
                      <a:close/>
                      <a:moveTo>
                        <a:pt x="205" y="284"/>
                      </a:moveTo>
                      <a:lnTo>
                        <a:pt x="205" y="284"/>
                      </a:lnTo>
                      <a:lnTo>
                        <a:pt x="212" y="277"/>
                      </a:lnTo>
                      <a:lnTo>
                        <a:pt x="209" y="275"/>
                      </a:lnTo>
                      <a:lnTo>
                        <a:pt x="209" y="275"/>
                      </a:lnTo>
                      <a:lnTo>
                        <a:pt x="203" y="282"/>
                      </a:lnTo>
                      <a:lnTo>
                        <a:pt x="205" y="284"/>
                      </a:lnTo>
                      <a:close/>
                      <a:moveTo>
                        <a:pt x="197" y="297"/>
                      </a:moveTo>
                      <a:lnTo>
                        <a:pt x="197" y="297"/>
                      </a:lnTo>
                      <a:lnTo>
                        <a:pt x="200" y="290"/>
                      </a:lnTo>
                      <a:lnTo>
                        <a:pt x="200" y="290"/>
                      </a:lnTo>
                      <a:lnTo>
                        <a:pt x="202" y="288"/>
                      </a:lnTo>
                      <a:lnTo>
                        <a:pt x="200" y="287"/>
                      </a:lnTo>
                      <a:lnTo>
                        <a:pt x="200" y="287"/>
                      </a:lnTo>
                      <a:lnTo>
                        <a:pt x="197" y="288"/>
                      </a:lnTo>
                      <a:lnTo>
                        <a:pt x="197" y="288"/>
                      </a:lnTo>
                      <a:lnTo>
                        <a:pt x="194" y="296"/>
                      </a:lnTo>
                      <a:lnTo>
                        <a:pt x="197" y="297"/>
                      </a:lnTo>
                      <a:close/>
                      <a:moveTo>
                        <a:pt x="194" y="311"/>
                      </a:moveTo>
                      <a:lnTo>
                        <a:pt x="194" y="311"/>
                      </a:lnTo>
                      <a:lnTo>
                        <a:pt x="196" y="301"/>
                      </a:lnTo>
                      <a:lnTo>
                        <a:pt x="193" y="301"/>
                      </a:lnTo>
                      <a:lnTo>
                        <a:pt x="193" y="301"/>
                      </a:lnTo>
                      <a:lnTo>
                        <a:pt x="192" y="311"/>
                      </a:lnTo>
                      <a:lnTo>
                        <a:pt x="194" y="311"/>
                      </a:lnTo>
                      <a:close/>
                      <a:moveTo>
                        <a:pt x="194" y="324"/>
                      </a:moveTo>
                      <a:lnTo>
                        <a:pt x="194" y="324"/>
                      </a:lnTo>
                      <a:lnTo>
                        <a:pt x="193" y="323"/>
                      </a:lnTo>
                      <a:lnTo>
                        <a:pt x="193" y="320"/>
                      </a:lnTo>
                      <a:lnTo>
                        <a:pt x="193" y="320"/>
                      </a:lnTo>
                      <a:lnTo>
                        <a:pt x="193" y="316"/>
                      </a:lnTo>
                      <a:lnTo>
                        <a:pt x="190" y="316"/>
                      </a:lnTo>
                      <a:lnTo>
                        <a:pt x="190" y="316"/>
                      </a:lnTo>
                      <a:lnTo>
                        <a:pt x="190" y="320"/>
                      </a:lnTo>
                      <a:lnTo>
                        <a:pt x="190" y="320"/>
                      </a:lnTo>
                      <a:lnTo>
                        <a:pt x="190" y="323"/>
                      </a:lnTo>
                      <a:lnTo>
                        <a:pt x="193" y="326"/>
                      </a:lnTo>
                      <a:lnTo>
                        <a:pt x="194" y="324"/>
                      </a:lnTo>
                      <a:close/>
                      <a:moveTo>
                        <a:pt x="206" y="333"/>
                      </a:moveTo>
                      <a:lnTo>
                        <a:pt x="206" y="333"/>
                      </a:lnTo>
                      <a:lnTo>
                        <a:pt x="203" y="329"/>
                      </a:lnTo>
                      <a:lnTo>
                        <a:pt x="199" y="326"/>
                      </a:lnTo>
                      <a:lnTo>
                        <a:pt x="197" y="329"/>
                      </a:lnTo>
                      <a:lnTo>
                        <a:pt x="197" y="329"/>
                      </a:lnTo>
                      <a:lnTo>
                        <a:pt x="202" y="330"/>
                      </a:lnTo>
                      <a:lnTo>
                        <a:pt x="205" y="335"/>
                      </a:lnTo>
                      <a:lnTo>
                        <a:pt x="206" y="333"/>
                      </a:lnTo>
                      <a:close/>
                      <a:moveTo>
                        <a:pt x="215" y="348"/>
                      </a:moveTo>
                      <a:lnTo>
                        <a:pt x="215" y="348"/>
                      </a:lnTo>
                      <a:lnTo>
                        <a:pt x="213" y="345"/>
                      </a:lnTo>
                      <a:lnTo>
                        <a:pt x="213" y="345"/>
                      </a:lnTo>
                      <a:lnTo>
                        <a:pt x="209" y="338"/>
                      </a:lnTo>
                      <a:lnTo>
                        <a:pt x="207" y="339"/>
                      </a:lnTo>
                      <a:lnTo>
                        <a:pt x="207" y="339"/>
                      </a:lnTo>
                      <a:lnTo>
                        <a:pt x="212" y="346"/>
                      </a:lnTo>
                      <a:lnTo>
                        <a:pt x="212" y="348"/>
                      </a:lnTo>
                      <a:lnTo>
                        <a:pt x="215" y="348"/>
                      </a:lnTo>
                      <a:close/>
                      <a:moveTo>
                        <a:pt x="209" y="361"/>
                      </a:moveTo>
                      <a:lnTo>
                        <a:pt x="209" y="361"/>
                      </a:lnTo>
                      <a:lnTo>
                        <a:pt x="212" y="358"/>
                      </a:lnTo>
                      <a:lnTo>
                        <a:pt x="215" y="352"/>
                      </a:lnTo>
                      <a:lnTo>
                        <a:pt x="212" y="352"/>
                      </a:lnTo>
                      <a:lnTo>
                        <a:pt x="212" y="352"/>
                      </a:lnTo>
                      <a:lnTo>
                        <a:pt x="210" y="356"/>
                      </a:lnTo>
                      <a:lnTo>
                        <a:pt x="206" y="359"/>
                      </a:lnTo>
                      <a:lnTo>
                        <a:pt x="209" y="361"/>
                      </a:lnTo>
                      <a:close/>
                      <a:moveTo>
                        <a:pt x="197" y="372"/>
                      </a:moveTo>
                      <a:lnTo>
                        <a:pt x="197" y="372"/>
                      </a:lnTo>
                      <a:lnTo>
                        <a:pt x="203" y="367"/>
                      </a:lnTo>
                      <a:lnTo>
                        <a:pt x="203" y="367"/>
                      </a:lnTo>
                      <a:lnTo>
                        <a:pt x="205" y="365"/>
                      </a:lnTo>
                      <a:lnTo>
                        <a:pt x="203" y="364"/>
                      </a:lnTo>
                      <a:lnTo>
                        <a:pt x="203" y="364"/>
                      </a:lnTo>
                      <a:lnTo>
                        <a:pt x="202" y="365"/>
                      </a:lnTo>
                      <a:lnTo>
                        <a:pt x="202" y="365"/>
                      </a:lnTo>
                      <a:lnTo>
                        <a:pt x="196" y="369"/>
                      </a:lnTo>
                      <a:lnTo>
                        <a:pt x="197" y="372"/>
                      </a:lnTo>
                      <a:close/>
                      <a:moveTo>
                        <a:pt x="183" y="378"/>
                      </a:moveTo>
                      <a:lnTo>
                        <a:pt x="183" y="378"/>
                      </a:lnTo>
                      <a:lnTo>
                        <a:pt x="193" y="374"/>
                      </a:lnTo>
                      <a:lnTo>
                        <a:pt x="192" y="372"/>
                      </a:lnTo>
                      <a:lnTo>
                        <a:pt x="192" y="372"/>
                      </a:lnTo>
                      <a:lnTo>
                        <a:pt x="181" y="377"/>
                      </a:lnTo>
                      <a:lnTo>
                        <a:pt x="183" y="378"/>
                      </a:lnTo>
                      <a:close/>
                      <a:moveTo>
                        <a:pt x="168" y="382"/>
                      </a:moveTo>
                      <a:lnTo>
                        <a:pt x="168" y="382"/>
                      </a:lnTo>
                      <a:lnTo>
                        <a:pt x="179" y="380"/>
                      </a:lnTo>
                      <a:lnTo>
                        <a:pt x="177" y="378"/>
                      </a:lnTo>
                      <a:lnTo>
                        <a:pt x="177" y="378"/>
                      </a:lnTo>
                      <a:lnTo>
                        <a:pt x="167" y="380"/>
                      </a:lnTo>
                      <a:lnTo>
                        <a:pt x="168" y="382"/>
                      </a:lnTo>
                      <a:close/>
                      <a:moveTo>
                        <a:pt x="154" y="384"/>
                      </a:moveTo>
                      <a:lnTo>
                        <a:pt x="154" y="384"/>
                      </a:lnTo>
                      <a:lnTo>
                        <a:pt x="157" y="382"/>
                      </a:lnTo>
                      <a:lnTo>
                        <a:pt x="157" y="382"/>
                      </a:lnTo>
                      <a:lnTo>
                        <a:pt x="163" y="382"/>
                      </a:lnTo>
                      <a:lnTo>
                        <a:pt x="163" y="380"/>
                      </a:lnTo>
                      <a:lnTo>
                        <a:pt x="163" y="380"/>
                      </a:lnTo>
                      <a:lnTo>
                        <a:pt x="157" y="380"/>
                      </a:lnTo>
                      <a:lnTo>
                        <a:pt x="157" y="380"/>
                      </a:lnTo>
                      <a:lnTo>
                        <a:pt x="152" y="382"/>
                      </a:lnTo>
                      <a:lnTo>
                        <a:pt x="154" y="384"/>
                      </a:lnTo>
                      <a:close/>
                      <a:moveTo>
                        <a:pt x="147" y="397"/>
                      </a:moveTo>
                      <a:lnTo>
                        <a:pt x="147" y="397"/>
                      </a:lnTo>
                      <a:lnTo>
                        <a:pt x="151" y="394"/>
                      </a:lnTo>
                      <a:lnTo>
                        <a:pt x="151" y="394"/>
                      </a:lnTo>
                      <a:lnTo>
                        <a:pt x="152" y="393"/>
                      </a:lnTo>
                      <a:lnTo>
                        <a:pt x="152" y="390"/>
                      </a:lnTo>
                      <a:lnTo>
                        <a:pt x="152" y="390"/>
                      </a:lnTo>
                      <a:lnTo>
                        <a:pt x="152" y="388"/>
                      </a:lnTo>
                      <a:lnTo>
                        <a:pt x="151" y="388"/>
                      </a:lnTo>
                      <a:lnTo>
                        <a:pt x="151" y="388"/>
                      </a:lnTo>
                      <a:lnTo>
                        <a:pt x="151" y="390"/>
                      </a:lnTo>
                      <a:lnTo>
                        <a:pt x="151" y="390"/>
                      </a:lnTo>
                      <a:lnTo>
                        <a:pt x="150" y="393"/>
                      </a:lnTo>
                      <a:lnTo>
                        <a:pt x="150" y="393"/>
                      </a:lnTo>
                      <a:lnTo>
                        <a:pt x="147" y="394"/>
                      </a:lnTo>
                      <a:lnTo>
                        <a:pt x="147" y="397"/>
                      </a:lnTo>
                      <a:close/>
                      <a:moveTo>
                        <a:pt x="132" y="400"/>
                      </a:moveTo>
                      <a:lnTo>
                        <a:pt x="134" y="400"/>
                      </a:lnTo>
                      <a:lnTo>
                        <a:pt x="134" y="400"/>
                      </a:lnTo>
                      <a:lnTo>
                        <a:pt x="137" y="398"/>
                      </a:lnTo>
                      <a:lnTo>
                        <a:pt x="142" y="397"/>
                      </a:lnTo>
                      <a:lnTo>
                        <a:pt x="141" y="395"/>
                      </a:lnTo>
                      <a:lnTo>
                        <a:pt x="141" y="395"/>
                      </a:lnTo>
                      <a:lnTo>
                        <a:pt x="137" y="395"/>
                      </a:lnTo>
                      <a:lnTo>
                        <a:pt x="132" y="397"/>
                      </a:lnTo>
                      <a:lnTo>
                        <a:pt x="131" y="398"/>
                      </a:lnTo>
                      <a:lnTo>
                        <a:pt x="132" y="400"/>
                      </a:lnTo>
                      <a:close/>
                      <a:moveTo>
                        <a:pt x="119" y="407"/>
                      </a:moveTo>
                      <a:lnTo>
                        <a:pt x="119" y="407"/>
                      </a:lnTo>
                      <a:lnTo>
                        <a:pt x="128" y="403"/>
                      </a:lnTo>
                      <a:lnTo>
                        <a:pt x="126" y="400"/>
                      </a:lnTo>
                      <a:lnTo>
                        <a:pt x="126" y="400"/>
                      </a:lnTo>
                      <a:lnTo>
                        <a:pt x="118" y="406"/>
                      </a:lnTo>
                      <a:lnTo>
                        <a:pt x="119" y="407"/>
                      </a:lnTo>
                      <a:close/>
                      <a:moveTo>
                        <a:pt x="105" y="414"/>
                      </a:moveTo>
                      <a:lnTo>
                        <a:pt x="105" y="414"/>
                      </a:lnTo>
                      <a:lnTo>
                        <a:pt x="115" y="410"/>
                      </a:lnTo>
                      <a:lnTo>
                        <a:pt x="113" y="407"/>
                      </a:lnTo>
                      <a:lnTo>
                        <a:pt x="113" y="407"/>
                      </a:lnTo>
                      <a:lnTo>
                        <a:pt x="105" y="411"/>
                      </a:lnTo>
                      <a:lnTo>
                        <a:pt x="105" y="414"/>
                      </a:lnTo>
                      <a:close/>
                      <a:moveTo>
                        <a:pt x="93" y="420"/>
                      </a:moveTo>
                      <a:lnTo>
                        <a:pt x="93" y="420"/>
                      </a:lnTo>
                      <a:lnTo>
                        <a:pt x="100" y="416"/>
                      </a:lnTo>
                      <a:lnTo>
                        <a:pt x="99" y="413"/>
                      </a:lnTo>
                      <a:lnTo>
                        <a:pt x="99" y="413"/>
                      </a:lnTo>
                      <a:lnTo>
                        <a:pt x="90" y="419"/>
                      </a:lnTo>
                      <a:lnTo>
                        <a:pt x="93" y="420"/>
                      </a:lnTo>
                      <a:close/>
                      <a:moveTo>
                        <a:pt x="83" y="432"/>
                      </a:moveTo>
                      <a:lnTo>
                        <a:pt x="83" y="432"/>
                      </a:lnTo>
                      <a:lnTo>
                        <a:pt x="89" y="424"/>
                      </a:lnTo>
                      <a:lnTo>
                        <a:pt x="87" y="423"/>
                      </a:lnTo>
                      <a:lnTo>
                        <a:pt x="87" y="423"/>
                      </a:lnTo>
                      <a:lnTo>
                        <a:pt x="80" y="430"/>
                      </a:lnTo>
                      <a:lnTo>
                        <a:pt x="83" y="432"/>
                      </a:lnTo>
                      <a:close/>
                      <a:moveTo>
                        <a:pt x="76" y="445"/>
                      </a:moveTo>
                      <a:lnTo>
                        <a:pt x="76" y="445"/>
                      </a:lnTo>
                      <a:lnTo>
                        <a:pt x="80" y="436"/>
                      </a:lnTo>
                      <a:lnTo>
                        <a:pt x="77" y="435"/>
                      </a:lnTo>
                      <a:lnTo>
                        <a:pt x="77" y="435"/>
                      </a:lnTo>
                      <a:lnTo>
                        <a:pt x="73" y="445"/>
                      </a:lnTo>
                      <a:lnTo>
                        <a:pt x="76" y="445"/>
                      </a:lnTo>
                      <a:close/>
                      <a:moveTo>
                        <a:pt x="79" y="458"/>
                      </a:moveTo>
                      <a:lnTo>
                        <a:pt x="79" y="458"/>
                      </a:lnTo>
                      <a:lnTo>
                        <a:pt x="76" y="449"/>
                      </a:lnTo>
                      <a:lnTo>
                        <a:pt x="73" y="449"/>
                      </a:lnTo>
                      <a:lnTo>
                        <a:pt x="73" y="449"/>
                      </a:lnTo>
                      <a:lnTo>
                        <a:pt x="76" y="459"/>
                      </a:lnTo>
                      <a:lnTo>
                        <a:pt x="79" y="458"/>
                      </a:lnTo>
                      <a:close/>
                      <a:moveTo>
                        <a:pt x="86" y="472"/>
                      </a:moveTo>
                      <a:lnTo>
                        <a:pt x="86" y="472"/>
                      </a:lnTo>
                      <a:lnTo>
                        <a:pt x="81" y="464"/>
                      </a:lnTo>
                      <a:lnTo>
                        <a:pt x="79" y="464"/>
                      </a:lnTo>
                      <a:lnTo>
                        <a:pt x="79" y="464"/>
                      </a:lnTo>
                      <a:lnTo>
                        <a:pt x="84" y="472"/>
                      </a:lnTo>
                      <a:lnTo>
                        <a:pt x="86" y="472"/>
                      </a:lnTo>
                      <a:close/>
                      <a:moveTo>
                        <a:pt x="95" y="484"/>
                      </a:moveTo>
                      <a:lnTo>
                        <a:pt x="95" y="484"/>
                      </a:lnTo>
                      <a:lnTo>
                        <a:pt x="89" y="475"/>
                      </a:lnTo>
                      <a:lnTo>
                        <a:pt x="87" y="477"/>
                      </a:lnTo>
                      <a:lnTo>
                        <a:pt x="87" y="477"/>
                      </a:lnTo>
                      <a:lnTo>
                        <a:pt x="93" y="485"/>
                      </a:lnTo>
                      <a:lnTo>
                        <a:pt x="95" y="484"/>
                      </a:lnTo>
                      <a:close/>
                      <a:moveTo>
                        <a:pt x="103" y="497"/>
                      </a:moveTo>
                      <a:lnTo>
                        <a:pt x="103" y="497"/>
                      </a:lnTo>
                      <a:lnTo>
                        <a:pt x="102" y="494"/>
                      </a:lnTo>
                      <a:lnTo>
                        <a:pt x="99" y="490"/>
                      </a:lnTo>
                      <a:lnTo>
                        <a:pt x="99" y="490"/>
                      </a:lnTo>
                      <a:lnTo>
                        <a:pt x="97" y="488"/>
                      </a:lnTo>
                      <a:lnTo>
                        <a:pt x="96" y="490"/>
                      </a:lnTo>
                      <a:lnTo>
                        <a:pt x="96" y="490"/>
                      </a:lnTo>
                      <a:lnTo>
                        <a:pt x="97" y="491"/>
                      </a:lnTo>
                      <a:lnTo>
                        <a:pt x="97" y="491"/>
                      </a:lnTo>
                      <a:lnTo>
                        <a:pt x="100" y="494"/>
                      </a:lnTo>
                      <a:lnTo>
                        <a:pt x="100" y="497"/>
                      </a:lnTo>
                      <a:lnTo>
                        <a:pt x="103" y="497"/>
                      </a:lnTo>
                      <a:close/>
                      <a:moveTo>
                        <a:pt x="92" y="506"/>
                      </a:moveTo>
                      <a:lnTo>
                        <a:pt x="92" y="507"/>
                      </a:lnTo>
                      <a:lnTo>
                        <a:pt x="92" y="507"/>
                      </a:lnTo>
                      <a:lnTo>
                        <a:pt x="93" y="506"/>
                      </a:lnTo>
                      <a:lnTo>
                        <a:pt x="93" y="506"/>
                      </a:lnTo>
                      <a:lnTo>
                        <a:pt x="97" y="506"/>
                      </a:lnTo>
                      <a:lnTo>
                        <a:pt x="102" y="503"/>
                      </a:lnTo>
                      <a:lnTo>
                        <a:pt x="99" y="501"/>
                      </a:lnTo>
                      <a:lnTo>
                        <a:pt x="99" y="501"/>
                      </a:lnTo>
                      <a:lnTo>
                        <a:pt x="97" y="503"/>
                      </a:lnTo>
                      <a:lnTo>
                        <a:pt x="93" y="504"/>
                      </a:lnTo>
                      <a:lnTo>
                        <a:pt x="93" y="504"/>
                      </a:lnTo>
                      <a:lnTo>
                        <a:pt x="92" y="504"/>
                      </a:lnTo>
                      <a:lnTo>
                        <a:pt x="92" y="504"/>
                      </a:lnTo>
                      <a:lnTo>
                        <a:pt x="92" y="506"/>
                      </a:lnTo>
                      <a:close/>
                      <a:moveTo>
                        <a:pt x="76" y="503"/>
                      </a:moveTo>
                      <a:lnTo>
                        <a:pt x="76" y="503"/>
                      </a:lnTo>
                      <a:lnTo>
                        <a:pt x="86" y="506"/>
                      </a:lnTo>
                      <a:lnTo>
                        <a:pt x="86" y="503"/>
                      </a:lnTo>
                      <a:lnTo>
                        <a:pt x="86" y="503"/>
                      </a:lnTo>
                      <a:lnTo>
                        <a:pt x="77" y="501"/>
                      </a:lnTo>
                      <a:lnTo>
                        <a:pt x="76" y="503"/>
                      </a:lnTo>
                      <a:close/>
                      <a:moveTo>
                        <a:pt x="61" y="500"/>
                      </a:moveTo>
                      <a:lnTo>
                        <a:pt x="61" y="500"/>
                      </a:lnTo>
                      <a:lnTo>
                        <a:pt x="71" y="501"/>
                      </a:lnTo>
                      <a:lnTo>
                        <a:pt x="71" y="500"/>
                      </a:lnTo>
                      <a:lnTo>
                        <a:pt x="71" y="500"/>
                      </a:lnTo>
                      <a:lnTo>
                        <a:pt x="61" y="497"/>
                      </a:lnTo>
                      <a:lnTo>
                        <a:pt x="61" y="500"/>
                      </a:lnTo>
                      <a:close/>
                      <a:moveTo>
                        <a:pt x="47" y="498"/>
                      </a:moveTo>
                      <a:lnTo>
                        <a:pt x="47" y="498"/>
                      </a:lnTo>
                      <a:lnTo>
                        <a:pt x="57" y="500"/>
                      </a:lnTo>
                      <a:lnTo>
                        <a:pt x="57" y="497"/>
                      </a:lnTo>
                      <a:lnTo>
                        <a:pt x="57" y="497"/>
                      </a:lnTo>
                      <a:lnTo>
                        <a:pt x="47" y="497"/>
                      </a:lnTo>
                      <a:lnTo>
                        <a:pt x="47" y="498"/>
                      </a:lnTo>
                      <a:close/>
                      <a:moveTo>
                        <a:pt x="31" y="498"/>
                      </a:moveTo>
                      <a:lnTo>
                        <a:pt x="31" y="498"/>
                      </a:lnTo>
                      <a:lnTo>
                        <a:pt x="41" y="498"/>
                      </a:lnTo>
                      <a:lnTo>
                        <a:pt x="41" y="497"/>
                      </a:lnTo>
                      <a:lnTo>
                        <a:pt x="41" y="497"/>
                      </a:lnTo>
                      <a:lnTo>
                        <a:pt x="31" y="497"/>
                      </a:lnTo>
                      <a:lnTo>
                        <a:pt x="31" y="498"/>
                      </a:lnTo>
                      <a:close/>
                      <a:moveTo>
                        <a:pt x="16" y="500"/>
                      </a:moveTo>
                      <a:lnTo>
                        <a:pt x="16" y="500"/>
                      </a:lnTo>
                      <a:lnTo>
                        <a:pt x="26" y="500"/>
                      </a:lnTo>
                      <a:lnTo>
                        <a:pt x="26" y="497"/>
                      </a:lnTo>
                      <a:lnTo>
                        <a:pt x="26" y="497"/>
                      </a:lnTo>
                      <a:lnTo>
                        <a:pt x="16" y="497"/>
                      </a:lnTo>
                      <a:lnTo>
                        <a:pt x="16" y="500"/>
                      </a:lnTo>
                      <a:close/>
                      <a:moveTo>
                        <a:pt x="0" y="500"/>
                      </a:moveTo>
                      <a:lnTo>
                        <a:pt x="0" y="500"/>
                      </a:lnTo>
                      <a:lnTo>
                        <a:pt x="11" y="500"/>
                      </a:lnTo>
                      <a:lnTo>
                        <a:pt x="11" y="497"/>
                      </a:lnTo>
                      <a:lnTo>
                        <a:pt x="11" y="497"/>
                      </a:lnTo>
                      <a:lnTo>
                        <a:pt x="0" y="497"/>
                      </a:lnTo>
                      <a:lnTo>
                        <a:pt x="0" y="50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40" name="Freeform 1594"/>
                <p:cNvSpPr>
                  <a:spLocks noEditPoints="1"/>
                </p:cNvSpPr>
                <p:nvPr/>
              </p:nvSpPr>
              <p:spPr bwMode="auto">
                <a:xfrm>
                  <a:off x="4817336" y="2959026"/>
                  <a:ext cx="175099" cy="21764"/>
                </a:xfrm>
                <a:custGeom>
                  <a:avLst/>
                  <a:gdLst>
                    <a:gd name="T0" fmla="*/ 0 w 177"/>
                    <a:gd name="T1" fmla="*/ 11 h 22"/>
                    <a:gd name="T2" fmla="*/ 2 w 177"/>
                    <a:gd name="T3" fmla="*/ 14 h 22"/>
                    <a:gd name="T4" fmla="*/ 18 w 177"/>
                    <a:gd name="T5" fmla="*/ 11 h 22"/>
                    <a:gd name="T6" fmla="*/ 8 w 177"/>
                    <a:gd name="T7" fmla="*/ 14 h 22"/>
                    <a:gd name="T8" fmla="*/ 18 w 177"/>
                    <a:gd name="T9" fmla="*/ 11 h 22"/>
                    <a:gd name="T10" fmla="*/ 22 w 177"/>
                    <a:gd name="T11" fmla="*/ 11 h 22"/>
                    <a:gd name="T12" fmla="*/ 32 w 177"/>
                    <a:gd name="T13" fmla="*/ 14 h 22"/>
                    <a:gd name="T14" fmla="*/ 48 w 177"/>
                    <a:gd name="T15" fmla="*/ 11 h 22"/>
                    <a:gd name="T16" fmla="*/ 38 w 177"/>
                    <a:gd name="T17" fmla="*/ 14 h 22"/>
                    <a:gd name="T18" fmla="*/ 48 w 177"/>
                    <a:gd name="T19" fmla="*/ 11 h 22"/>
                    <a:gd name="T20" fmla="*/ 53 w 177"/>
                    <a:gd name="T21" fmla="*/ 11 h 22"/>
                    <a:gd name="T22" fmla="*/ 63 w 177"/>
                    <a:gd name="T23" fmla="*/ 14 h 22"/>
                    <a:gd name="T24" fmla="*/ 79 w 177"/>
                    <a:gd name="T25" fmla="*/ 11 h 22"/>
                    <a:gd name="T26" fmla="*/ 68 w 177"/>
                    <a:gd name="T27" fmla="*/ 14 h 22"/>
                    <a:gd name="T28" fmla="*/ 79 w 177"/>
                    <a:gd name="T29" fmla="*/ 11 h 22"/>
                    <a:gd name="T30" fmla="*/ 83 w 177"/>
                    <a:gd name="T31" fmla="*/ 11 h 22"/>
                    <a:gd name="T32" fmla="*/ 93 w 177"/>
                    <a:gd name="T33" fmla="*/ 14 h 22"/>
                    <a:gd name="T34" fmla="*/ 109 w 177"/>
                    <a:gd name="T35" fmla="*/ 12 h 22"/>
                    <a:gd name="T36" fmla="*/ 100 w 177"/>
                    <a:gd name="T37" fmla="*/ 11 h 22"/>
                    <a:gd name="T38" fmla="*/ 99 w 177"/>
                    <a:gd name="T39" fmla="*/ 14 h 22"/>
                    <a:gd name="T40" fmla="*/ 100 w 177"/>
                    <a:gd name="T41" fmla="*/ 14 h 22"/>
                    <a:gd name="T42" fmla="*/ 109 w 177"/>
                    <a:gd name="T43" fmla="*/ 12 h 22"/>
                    <a:gd name="T44" fmla="*/ 123 w 177"/>
                    <a:gd name="T45" fmla="*/ 15 h 22"/>
                    <a:gd name="T46" fmla="*/ 113 w 177"/>
                    <a:gd name="T47" fmla="*/ 15 h 22"/>
                    <a:gd name="T48" fmla="*/ 123 w 177"/>
                    <a:gd name="T49" fmla="*/ 16 h 22"/>
                    <a:gd name="T50" fmla="*/ 139 w 177"/>
                    <a:gd name="T51" fmla="*/ 18 h 22"/>
                    <a:gd name="T52" fmla="*/ 129 w 177"/>
                    <a:gd name="T53" fmla="*/ 15 h 22"/>
                    <a:gd name="T54" fmla="*/ 128 w 177"/>
                    <a:gd name="T55" fmla="*/ 18 h 22"/>
                    <a:gd name="T56" fmla="*/ 139 w 177"/>
                    <a:gd name="T57" fmla="*/ 18 h 22"/>
                    <a:gd name="T58" fmla="*/ 152 w 177"/>
                    <a:gd name="T59" fmla="*/ 18 h 22"/>
                    <a:gd name="T60" fmla="*/ 148 w 177"/>
                    <a:gd name="T61" fmla="*/ 19 h 22"/>
                    <a:gd name="T62" fmla="*/ 144 w 177"/>
                    <a:gd name="T63" fmla="*/ 22 h 22"/>
                    <a:gd name="T64" fmla="*/ 148 w 177"/>
                    <a:gd name="T65" fmla="*/ 22 h 22"/>
                    <a:gd name="T66" fmla="*/ 151 w 177"/>
                    <a:gd name="T67" fmla="*/ 22 h 22"/>
                    <a:gd name="T68" fmla="*/ 152 w 177"/>
                    <a:gd name="T69" fmla="*/ 18 h 22"/>
                    <a:gd name="T70" fmla="*/ 163 w 177"/>
                    <a:gd name="T71" fmla="*/ 8 h 22"/>
                    <a:gd name="T72" fmla="*/ 158 w 177"/>
                    <a:gd name="T73" fmla="*/ 16 h 22"/>
                    <a:gd name="T74" fmla="*/ 165 w 177"/>
                    <a:gd name="T75" fmla="*/ 9 h 22"/>
                    <a:gd name="T76" fmla="*/ 177 w 177"/>
                    <a:gd name="T77" fmla="*/ 0 h 22"/>
                    <a:gd name="T78" fmla="*/ 167 w 177"/>
                    <a:gd name="T79" fmla="*/ 3 h 22"/>
                    <a:gd name="T80" fmla="*/ 168 w 177"/>
                    <a:gd name="T81" fmla="*/ 6 h 22"/>
                    <a:gd name="T82" fmla="*/ 177 w 177"/>
                    <a:gd name="T8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77" h="22">
                      <a:moveTo>
                        <a:pt x="2" y="11"/>
                      </a:moveTo>
                      <a:lnTo>
                        <a:pt x="0" y="11"/>
                      </a:lnTo>
                      <a:lnTo>
                        <a:pt x="0" y="14"/>
                      </a:lnTo>
                      <a:lnTo>
                        <a:pt x="2" y="14"/>
                      </a:lnTo>
                      <a:lnTo>
                        <a:pt x="2" y="11"/>
                      </a:lnTo>
                      <a:close/>
                      <a:moveTo>
                        <a:pt x="18" y="11"/>
                      </a:moveTo>
                      <a:lnTo>
                        <a:pt x="8" y="11"/>
                      </a:lnTo>
                      <a:lnTo>
                        <a:pt x="8" y="14"/>
                      </a:lnTo>
                      <a:lnTo>
                        <a:pt x="18" y="14"/>
                      </a:lnTo>
                      <a:lnTo>
                        <a:pt x="18" y="11"/>
                      </a:lnTo>
                      <a:close/>
                      <a:moveTo>
                        <a:pt x="32" y="11"/>
                      </a:moveTo>
                      <a:lnTo>
                        <a:pt x="22" y="11"/>
                      </a:lnTo>
                      <a:lnTo>
                        <a:pt x="22" y="14"/>
                      </a:lnTo>
                      <a:lnTo>
                        <a:pt x="32" y="14"/>
                      </a:lnTo>
                      <a:lnTo>
                        <a:pt x="32" y="11"/>
                      </a:lnTo>
                      <a:close/>
                      <a:moveTo>
                        <a:pt x="48" y="11"/>
                      </a:moveTo>
                      <a:lnTo>
                        <a:pt x="38" y="11"/>
                      </a:lnTo>
                      <a:lnTo>
                        <a:pt x="38" y="14"/>
                      </a:lnTo>
                      <a:lnTo>
                        <a:pt x="48" y="14"/>
                      </a:lnTo>
                      <a:lnTo>
                        <a:pt x="48" y="11"/>
                      </a:lnTo>
                      <a:close/>
                      <a:moveTo>
                        <a:pt x="63" y="11"/>
                      </a:moveTo>
                      <a:lnTo>
                        <a:pt x="53" y="11"/>
                      </a:lnTo>
                      <a:lnTo>
                        <a:pt x="53" y="14"/>
                      </a:lnTo>
                      <a:lnTo>
                        <a:pt x="63" y="14"/>
                      </a:lnTo>
                      <a:lnTo>
                        <a:pt x="63" y="11"/>
                      </a:lnTo>
                      <a:close/>
                      <a:moveTo>
                        <a:pt x="79" y="11"/>
                      </a:moveTo>
                      <a:lnTo>
                        <a:pt x="68" y="11"/>
                      </a:lnTo>
                      <a:lnTo>
                        <a:pt x="68" y="14"/>
                      </a:lnTo>
                      <a:lnTo>
                        <a:pt x="79" y="14"/>
                      </a:lnTo>
                      <a:lnTo>
                        <a:pt x="79" y="11"/>
                      </a:lnTo>
                      <a:close/>
                      <a:moveTo>
                        <a:pt x="93" y="11"/>
                      </a:moveTo>
                      <a:lnTo>
                        <a:pt x="83" y="11"/>
                      </a:lnTo>
                      <a:lnTo>
                        <a:pt x="83" y="14"/>
                      </a:lnTo>
                      <a:lnTo>
                        <a:pt x="93" y="14"/>
                      </a:lnTo>
                      <a:lnTo>
                        <a:pt x="93" y="11"/>
                      </a:lnTo>
                      <a:close/>
                      <a:moveTo>
                        <a:pt x="109" y="12"/>
                      </a:moveTo>
                      <a:lnTo>
                        <a:pt x="109" y="12"/>
                      </a:lnTo>
                      <a:lnTo>
                        <a:pt x="100" y="11"/>
                      </a:lnTo>
                      <a:lnTo>
                        <a:pt x="99" y="11"/>
                      </a:lnTo>
                      <a:lnTo>
                        <a:pt x="99" y="14"/>
                      </a:lnTo>
                      <a:lnTo>
                        <a:pt x="100" y="14"/>
                      </a:lnTo>
                      <a:lnTo>
                        <a:pt x="100" y="14"/>
                      </a:lnTo>
                      <a:lnTo>
                        <a:pt x="109" y="14"/>
                      </a:lnTo>
                      <a:lnTo>
                        <a:pt x="109" y="12"/>
                      </a:lnTo>
                      <a:close/>
                      <a:moveTo>
                        <a:pt x="123" y="15"/>
                      </a:moveTo>
                      <a:lnTo>
                        <a:pt x="123" y="15"/>
                      </a:lnTo>
                      <a:lnTo>
                        <a:pt x="113" y="12"/>
                      </a:lnTo>
                      <a:lnTo>
                        <a:pt x="113" y="15"/>
                      </a:lnTo>
                      <a:lnTo>
                        <a:pt x="113" y="15"/>
                      </a:lnTo>
                      <a:lnTo>
                        <a:pt x="123" y="16"/>
                      </a:lnTo>
                      <a:lnTo>
                        <a:pt x="123" y="15"/>
                      </a:lnTo>
                      <a:close/>
                      <a:moveTo>
                        <a:pt x="139" y="18"/>
                      </a:moveTo>
                      <a:lnTo>
                        <a:pt x="139" y="18"/>
                      </a:lnTo>
                      <a:lnTo>
                        <a:pt x="129" y="15"/>
                      </a:lnTo>
                      <a:lnTo>
                        <a:pt x="128" y="18"/>
                      </a:lnTo>
                      <a:lnTo>
                        <a:pt x="128" y="18"/>
                      </a:lnTo>
                      <a:lnTo>
                        <a:pt x="138" y="21"/>
                      </a:lnTo>
                      <a:lnTo>
                        <a:pt x="139" y="18"/>
                      </a:lnTo>
                      <a:close/>
                      <a:moveTo>
                        <a:pt x="152" y="18"/>
                      </a:moveTo>
                      <a:lnTo>
                        <a:pt x="152" y="18"/>
                      </a:lnTo>
                      <a:lnTo>
                        <a:pt x="148" y="19"/>
                      </a:lnTo>
                      <a:lnTo>
                        <a:pt x="148" y="19"/>
                      </a:lnTo>
                      <a:lnTo>
                        <a:pt x="144" y="19"/>
                      </a:lnTo>
                      <a:lnTo>
                        <a:pt x="144" y="22"/>
                      </a:lnTo>
                      <a:lnTo>
                        <a:pt x="144" y="22"/>
                      </a:lnTo>
                      <a:lnTo>
                        <a:pt x="148" y="22"/>
                      </a:lnTo>
                      <a:lnTo>
                        <a:pt x="148" y="22"/>
                      </a:lnTo>
                      <a:lnTo>
                        <a:pt x="151" y="22"/>
                      </a:lnTo>
                      <a:lnTo>
                        <a:pt x="154" y="21"/>
                      </a:lnTo>
                      <a:lnTo>
                        <a:pt x="152" y="18"/>
                      </a:lnTo>
                      <a:close/>
                      <a:moveTo>
                        <a:pt x="163" y="8"/>
                      </a:moveTo>
                      <a:lnTo>
                        <a:pt x="163" y="8"/>
                      </a:lnTo>
                      <a:lnTo>
                        <a:pt x="157" y="15"/>
                      </a:lnTo>
                      <a:lnTo>
                        <a:pt x="158" y="16"/>
                      </a:lnTo>
                      <a:lnTo>
                        <a:pt x="158" y="16"/>
                      </a:lnTo>
                      <a:lnTo>
                        <a:pt x="165" y="9"/>
                      </a:lnTo>
                      <a:lnTo>
                        <a:pt x="163" y="8"/>
                      </a:lnTo>
                      <a:close/>
                      <a:moveTo>
                        <a:pt x="177" y="0"/>
                      </a:moveTo>
                      <a:lnTo>
                        <a:pt x="177" y="0"/>
                      </a:lnTo>
                      <a:lnTo>
                        <a:pt x="167" y="3"/>
                      </a:lnTo>
                      <a:lnTo>
                        <a:pt x="168" y="6"/>
                      </a:lnTo>
                      <a:lnTo>
                        <a:pt x="168" y="6"/>
                      </a:lnTo>
                      <a:lnTo>
                        <a:pt x="177" y="3"/>
                      </a:lnTo>
                      <a:lnTo>
                        <a:pt x="177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41" name="Freeform 1595"/>
                <p:cNvSpPr>
                  <a:spLocks noEditPoints="1"/>
                </p:cNvSpPr>
                <p:nvPr/>
              </p:nvSpPr>
              <p:spPr bwMode="auto">
                <a:xfrm>
                  <a:off x="4279179" y="2736442"/>
                  <a:ext cx="518372" cy="288864"/>
                </a:xfrm>
                <a:custGeom>
                  <a:avLst/>
                  <a:gdLst>
                    <a:gd name="T0" fmla="*/ 110 w 524"/>
                    <a:gd name="T1" fmla="*/ 8 h 292"/>
                    <a:gd name="T2" fmla="*/ 114 w 524"/>
                    <a:gd name="T3" fmla="*/ 23 h 292"/>
                    <a:gd name="T4" fmla="*/ 117 w 524"/>
                    <a:gd name="T5" fmla="*/ 37 h 292"/>
                    <a:gd name="T6" fmla="*/ 116 w 524"/>
                    <a:gd name="T7" fmla="*/ 43 h 292"/>
                    <a:gd name="T8" fmla="*/ 107 w 524"/>
                    <a:gd name="T9" fmla="*/ 57 h 292"/>
                    <a:gd name="T10" fmla="*/ 95 w 524"/>
                    <a:gd name="T11" fmla="*/ 65 h 292"/>
                    <a:gd name="T12" fmla="*/ 95 w 524"/>
                    <a:gd name="T13" fmla="*/ 65 h 292"/>
                    <a:gd name="T14" fmla="*/ 88 w 524"/>
                    <a:gd name="T15" fmla="*/ 78 h 292"/>
                    <a:gd name="T16" fmla="*/ 82 w 524"/>
                    <a:gd name="T17" fmla="*/ 81 h 292"/>
                    <a:gd name="T18" fmla="*/ 71 w 524"/>
                    <a:gd name="T19" fmla="*/ 89 h 292"/>
                    <a:gd name="T20" fmla="*/ 62 w 524"/>
                    <a:gd name="T21" fmla="*/ 94 h 292"/>
                    <a:gd name="T22" fmla="*/ 53 w 524"/>
                    <a:gd name="T23" fmla="*/ 105 h 292"/>
                    <a:gd name="T24" fmla="*/ 39 w 524"/>
                    <a:gd name="T25" fmla="*/ 112 h 292"/>
                    <a:gd name="T26" fmla="*/ 33 w 524"/>
                    <a:gd name="T27" fmla="*/ 111 h 292"/>
                    <a:gd name="T28" fmla="*/ 19 w 524"/>
                    <a:gd name="T29" fmla="*/ 115 h 292"/>
                    <a:gd name="T30" fmla="*/ 1 w 524"/>
                    <a:gd name="T31" fmla="*/ 121 h 292"/>
                    <a:gd name="T32" fmla="*/ 0 w 524"/>
                    <a:gd name="T33" fmla="*/ 121 h 292"/>
                    <a:gd name="T34" fmla="*/ 1 w 524"/>
                    <a:gd name="T35" fmla="*/ 141 h 292"/>
                    <a:gd name="T36" fmla="*/ 3 w 524"/>
                    <a:gd name="T37" fmla="*/ 141 h 292"/>
                    <a:gd name="T38" fmla="*/ 16 w 524"/>
                    <a:gd name="T39" fmla="*/ 150 h 292"/>
                    <a:gd name="T40" fmla="*/ 29 w 524"/>
                    <a:gd name="T41" fmla="*/ 157 h 292"/>
                    <a:gd name="T42" fmla="*/ 40 w 524"/>
                    <a:gd name="T43" fmla="*/ 166 h 292"/>
                    <a:gd name="T44" fmla="*/ 53 w 524"/>
                    <a:gd name="T45" fmla="*/ 173 h 292"/>
                    <a:gd name="T46" fmla="*/ 66 w 524"/>
                    <a:gd name="T47" fmla="*/ 182 h 292"/>
                    <a:gd name="T48" fmla="*/ 79 w 524"/>
                    <a:gd name="T49" fmla="*/ 191 h 292"/>
                    <a:gd name="T50" fmla="*/ 93 w 524"/>
                    <a:gd name="T51" fmla="*/ 199 h 292"/>
                    <a:gd name="T52" fmla="*/ 104 w 524"/>
                    <a:gd name="T53" fmla="*/ 208 h 292"/>
                    <a:gd name="T54" fmla="*/ 117 w 524"/>
                    <a:gd name="T55" fmla="*/ 217 h 292"/>
                    <a:gd name="T56" fmla="*/ 129 w 524"/>
                    <a:gd name="T57" fmla="*/ 225 h 292"/>
                    <a:gd name="T58" fmla="*/ 142 w 524"/>
                    <a:gd name="T59" fmla="*/ 236 h 292"/>
                    <a:gd name="T60" fmla="*/ 153 w 524"/>
                    <a:gd name="T61" fmla="*/ 244 h 292"/>
                    <a:gd name="T62" fmla="*/ 165 w 524"/>
                    <a:gd name="T63" fmla="*/ 254 h 292"/>
                    <a:gd name="T64" fmla="*/ 177 w 524"/>
                    <a:gd name="T65" fmla="*/ 265 h 292"/>
                    <a:gd name="T66" fmla="*/ 188 w 524"/>
                    <a:gd name="T67" fmla="*/ 275 h 292"/>
                    <a:gd name="T68" fmla="*/ 192 w 524"/>
                    <a:gd name="T69" fmla="*/ 282 h 292"/>
                    <a:gd name="T70" fmla="*/ 191 w 524"/>
                    <a:gd name="T71" fmla="*/ 282 h 292"/>
                    <a:gd name="T72" fmla="*/ 188 w 524"/>
                    <a:gd name="T73" fmla="*/ 289 h 292"/>
                    <a:gd name="T74" fmla="*/ 188 w 524"/>
                    <a:gd name="T75" fmla="*/ 292 h 292"/>
                    <a:gd name="T76" fmla="*/ 200 w 524"/>
                    <a:gd name="T77" fmla="*/ 291 h 292"/>
                    <a:gd name="T78" fmla="*/ 214 w 524"/>
                    <a:gd name="T79" fmla="*/ 289 h 292"/>
                    <a:gd name="T80" fmla="*/ 230 w 524"/>
                    <a:gd name="T81" fmla="*/ 283 h 292"/>
                    <a:gd name="T82" fmla="*/ 250 w 524"/>
                    <a:gd name="T83" fmla="*/ 272 h 292"/>
                    <a:gd name="T84" fmla="*/ 262 w 524"/>
                    <a:gd name="T85" fmla="*/ 262 h 292"/>
                    <a:gd name="T86" fmla="*/ 272 w 524"/>
                    <a:gd name="T87" fmla="*/ 252 h 292"/>
                    <a:gd name="T88" fmla="*/ 282 w 524"/>
                    <a:gd name="T89" fmla="*/ 240 h 292"/>
                    <a:gd name="T90" fmla="*/ 292 w 524"/>
                    <a:gd name="T91" fmla="*/ 228 h 292"/>
                    <a:gd name="T92" fmla="*/ 303 w 524"/>
                    <a:gd name="T93" fmla="*/ 217 h 292"/>
                    <a:gd name="T94" fmla="*/ 316 w 524"/>
                    <a:gd name="T95" fmla="*/ 208 h 292"/>
                    <a:gd name="T96" fmla="*/ 308 w 524"/>
                    <a:gd name="T97" fmla="*/ 215 h 292"/>
                    <a:gd name="T98" fmla="*/ 320 w 524"/>
                    <a:gd name="T99" fmla="*/ 211 h 292"/>
                    <a:gd name="T100" fmla="*/ 342 w 524"/>
                    <a:gd name="T101" fmla="*/ 224 h 292"/>
                    <a:gd name="T102" fmla="*/ 350 w 524"/>
                    <a:gd name="T103" fmla="*/ 228 h 292"/>
                    <a:gd name="T104" fmla="*/ 371 w 524"/>
                    <a:gd name="T105" fmla="*/ 218 h 292"/>
                    <a:gd name="T106" fmla="*/ 384 w 524"/>
                    <a:gd name="T107" fmla="*/ 218 h 292"/>
                    <a:gd name="T108" fmla="*/ 413 w 524"/>
                    <a:gd name="T109" fmla="*/ 228 h 292"/>
                    <a:gd name="T110" fmla="*/ 417 w 524"/>
                    <a:gd name="T111" fmla="*/ 233 h 292"/>
                    <a:gd name="T112" fmla="*/ 442 w 524"/>
                    <a:gd name="T113" fmla="*/ 241 h 292"/>
                    <a:gd name="T114" fmla="*/ 459 w 524"/>
                    <a:gd name="T115" fmla="*/ 249 h 292"/>
                    <a:gd name="T116" fmla="*/ 482 w 524"/>
                    <a:gd name="T117" fmla="*/ 262 h 292"/>
                    <a:gd name="T118" fmla="*/ 511 w 524"/>
                    <a:gd name="T119" fmla="*/ 272 h 292"/>
                    <a:gd name="T120" fmla="*/ 514 w 524"/>
                    <a:gd name="T121" fmla="*/ 276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524" h="292">
                      <a:moveTo>
                        <a:pt x="110" y="8"/>
                      </a:moveTo>
                      <a:lnTo>
                        <a:pt x="110" y="8"/>
                      </a:lnTo>
                      <a:lnTo>
                        <a:pt x="107" y="0"/>
                      </a:lnTo>
                      <a:lnTo>
                        <a:pt x="104" y="1"/>
                      </a:lnTo>
                      <a:lnTo>
                        <a:pt x="104" y="1"/>
                      </a:lnTo>
                      <a:lnTo>
                        <a:pt x="107" y="8"/>
                      </a:lnTo>
                      <a:lnTo>
                        <a:pt x="110" y="8"/>
                      </a:lnTo>
                      <a:close/>
                      <a:moveTo>
                        <a:pt x="114" y="23"/>
                      </a:moveTo>
                      <a:lnTo>
                        <a:pt x="114" y="23"/>
                      </a:lnTo>
                      <a:lnTo>
                        <a:pt x="111" y="13"/>
                      </a:lnTo>
                      <a:lnTo>
                        <a:pt x="108" y="14"/>
                      </a:lnTo>
                      <a:lnTo>
                        <a:pt x="108" y="14"/>
                      </a:lnTo>
                      <a:lnTo>
                        <a:pt x="111" y="23"/>
                      </a:lnTo>
                      <a:lnTo>
                        <a:pt x="114" y="23"/>
                      </a:lnTo>
                      <a:close/>
                      <a:moveTo>
                        <a:pt x="117" y="37"/>
                      </a:moveTo>
                      <a:lnTo>
                        <a:pt x="117" y="37"/>
                      </a:lnTo>
                      <a:lnTo>
                        <a:pt x="114" y="27"/>
                      </a:lnTo>
                      <a:lnTo>
                        <a:pt x="111" y="28"/>
                      </a:lnTo>
                      <a:lnTo>
                        <a:pt x="111" y="28"/>
                      </a:lnTo>
                      <a:lnTo>
                        <a:pt x="114" y="39"/>
                      </a:lnTo>
                      <a:lnTo>
                        <a:pt x="117" y="37"/>
                      </a:lnTo>
                      <a:close/>
                      <a:moveTo>
                        <a:pt x="121" y="52"/>
                      </a:moveTo>
                      <a:lnTo>
                        <a:pt x="123" y="52"/>
                      </a:lnTo>
                      <a:lnTo>
                        <a:pt x="123" y="52"/>
                      </a:lnTo>
                      <a:lnTo>
                        <a:pt x="121" y="50"/>
                      </a:lnTo>
                      <a:lnTo>
                        <a:pt x="121" y="50"/>
                      </a:lnTo>
                      <a:lnTo>
                        <a:pt x="119" y="42"/>
                      </a:lnTo>
                      <a:lnTo>
                        <a:pt x="116" y="43"/>
                      </a:lnTo>
                      <a:lnTo>
                        <a:pt x="116" y="43"/>
                      </a:lnTo>
                      <a:lnTo>
                        <a:pt x="120" y="52"/>
                      </a:lnTo>
                      <a:lnTo>
                        <a:pt x="120" y="52"/>
                      </a:lnTo>
                      <a:lnTo>
                        <a:pt x="120" y="52"/>
                      </a:lnTo>
                      <a:lnTo>
                        <a:pt x="121" y="52"/>
                      </a:lnTo>
                      <a:close/>
                      <a:moveTo>
                        <a:pt x="107" y="57"/>
                      </a:moveTo>
                      <a:lnTo>
                        <a:pt x="107" y="57"/>
                      </a:lnTo>
                      <a:lnTo>
                        <a:pt x="117" y="56"/>
                      </a:lnTo>
                      <a:lnTo>
                        <a:pt x="117" y="53"/>
                      </a:lnTo>
                      <a:lnTo>
                        <a:pt x="117" y="53"/>
                      </a:lnTo>
                      <a:lnTo>
                        <a:pt x="107" y="56"/>
                      </a:lnTo>
                      <a:lnTo>
                        <a:pt x="107" y="57"/>
                      </a:lnTo>
                      <a:close/>
                      <a:moveTo>
                        <a:pt x="95" y="65"/>
                      </a:moveTo>
                      <a:lnTo>
                        <a:pt x="95" y="65"/>
                      </a:lnTo>
                      <a:lnTo>
                        <a:pt x="98" y="60"/>
                      </a:lnTo>
                      <a:lnTo>
                        <a:pt x="103" y="59"/>
                      </a:lnTo>
                      <a:lnTo>
                        <a:pt x="101" y="56"/>
                      </a:lnTo>
                      <a:lnTo>
                        <a:pt x="101" y="56"/>
                      </a:lnTo>
                      <a:lnTo>
                        <a:pt x="97" y="59"/>
                      </a:lnTo>
                      <a:lnTo>
                        <a:pt x="94" y="63"/>
                      </a:lnTo>
                      <a:lnTo>
                        <a:pt x="95" y="65"/>
                      </a:lnTo>
                      <a:close/>
                      <a:moveTo>
                        <a:pt x="88" y="78"/>
                      </a:moveTo>
                      <a:lnTo>
                        <a:pt x="88" y="78"/>
                      </a:lnTo>
                      <a:lnTo>
                        <a:pt x="94" y="69"/>
                      </a:lnTo>
                      <a:lnTo>
                        <a:pt x="91" y="68"/>
                      </a:lnTo>
                      <a:lnTo>
                        <a:pt x="91" y="68"/>
                      </a:lnTo>
                      <a:lnTo>
                        <a:pt x="87" y="76"/>
                      </a:lnTo>
                      <a:lnTo>
                        <a:pt x="88" y="78"/>
                      </a:lnTo>
                      <a:close/>
                      <a:moveTo>
                        <a:pt x="75" y="88"/>
                      </a:moveTo>
                      <a:lnTo>
                        <a:pt x="75" y="88"/>
                      </a:lnTo>
                      <a:lnTo>
                        <a:pt x="84" y="84"/>
                      </a:lnTo>
                      <a:lnTo>
                        <a:pt x="84" y="82"/>
                      </a:lnTo>
                      <a:lnTo>
                        <a:pt x="82" y="81"/>
                      </a:lnTo>
                      <a:lnTo>
                        <a:pt x="82" y="81"/>
                      </a:lnTo>
                      <a:lnTo>
                        <a:pt x="82" y="81"/>
                      </a:lnTo>
                      <a:lnTo>
                        <a:pt x="74" y="85"/>
                      </a:lnTo>
                      <a:lnTo>
                        <a:pt x="75" y="88"/>
                      </a:lnTo>
                      <a:close/>
                      <a:moveTo>
                        <a:pt x="62" y="94"/>
                      </a:moveTo>
                      <a:lnTo>
                        <a:pt x="62" y="94"/>
                      </a:lnTo>
                      <a:lnTo>
                        <a:pt x="65" y="91"/>
                      </a:lnTo>
                      <a:lnTo>
                        <a:pt x="65" y="91"/>
                      </a:lnTo>
                      <a:lnTo>
                        <a:pt x="71" y="89"/>
                      </a:lnTo>
                      <a:lnTo>
                        <a:pt x="69" y="86"/>
                      </a:lnTo>
                      <a:lnTo>
                        <a:pt x="69" y="86"/>
                      </a:lnTo>
                      <a:lnTo>
                        <a:pt x="64" y="88"/>
                      </a:lnTo>
                      <a:lnTo>
                        <a:pt x="64" y="88"/>
                      </a:lnTo>
                      <a:lnTo>
                        <a:pt x="62" y="89"/>
                      </a:lnTo>
                      <a:lnTo>
                        <a:pt x="61" y="92"/>
                      </a:lnTo>
                      <a:lnTo>
                        <a:pt x="62" y="94"/>
                      </a:lnTo>
                      <a:close/>
                      <a:moveTo>
                        <a:pt x="53" y="105"/>
                      </a:moveTo>
                      <a:lnTo>
                        <a:pt x="53" y="105"/>
                      </a:lnTo>
                      <a:lnTo>
                        <a:pt x="61" y="98"/>
                      </a:lnTo>
                      <a:lnTo>
                        <a:pt x="58" y="97"/>
                      </a:lnTo>
                      <a:lnTo>
                        <a:pt x="58" y="97"/>
                      </a:lnTo>
                      <a:lnTo>
                        <a:pt x="51" y="102"/>
                      </a:lnTo>
                      <a:lnTo>
                        <a:pt x="53" y="105"/>
                      </a:lnTo>
                      <a:close/>
                      <a:moveTo>
                        <a:pt x="39" y="112"/>
                      </a:moveTo>
                      <a:lnTo>
                        <a:pt x="39" y="112"/>
                      </a:lnTo>
                      <a:lnTo>
                        <a:pt x="49" y="108"/>
                      </a:lnTo>
                      <a:lnTo>
                        <a:pt x="48" y="105"/>
                      </a:lnTo>
                      <a:lnTo>
                        <a:pt x="48" y="105"/>
                      </a:lnTo>
                      <a:lnTo>
                        <a:pt x="37" y="110"/>
                      </a:lnTo>
                      <a:lnTo>
                        <a:pt x="39" y="112"/>
                      </a:lnTo>
                      <a:close/>
                      <a:moveTo>
                        <a:pt x="23" y="114"/>
                      </a:moveTo>
                      <a:lnTo>
                        <a:pt x="23" y="114"/>
                      </a:lnTo>
                      <a:lnTo>
                        <a:pt x="30" y="114"/>
                      </a:lnTo>
                      <a:lnTo>
                        <a:pt x="30" y="114"/>
                      </a:lnTo>
                      <a:lnTo>
                        <a:pt x="33" y="114"/>
                      </a:lnTo>
                      <a:lnTo>
                        <a:pt x="33" y="111"/>
                      </a:lnTo>
                      <a:lnTo>
                        <a:pt x="33" y="111"/>
                      </a:lnTo>
                      <a:lnTo>
                        <a:pt x="30" y="111"/>
                      </a:lnTo>
                      <a:lnTo>
                        <a:pt x="30" y="111"/>
                      </a:lnTo>
                      <a:lnTo>
                        <a:pt x="23" y="112"/>
                      </a:lnTo>
                      <a:lnTo>
                        <a:pt x="23" y="114"/>
                      </a:lnTo>
                      <a:close/>
                      <a:moveTo>
                        <a:pt x="10" y="118"/>
                      </a:moveTo>
                      <a:lnTo>
                        <a:pt x="10" y="118"/>
                      </a:lnTo>
                      <a:lnTo>
                        <a:pt x="19" y="115"/>
                      </a:lnTo>
                      <a:lnTo>
                        <a:pt x="19" y="112"/>
                      </a:lnTo>
                      <a:lnTo>
                        <a:pt x="19" y="112"/>
                      </a:lnTo>
                      <a:lnTo>
                        <a:pt x="9" y="117"/>
                      </a:lnTo>
                      <a:lnTo>
                        <a:pt x="10" y="118"/>
                      </a:lnTo>
                      <a:close/>
                      <a:moveTo>
                        <a:pt x="1" y="127"/>
                      </a:moveTo>
                      <a:lnTo>
                        <a:pt x="1" y="121"/>
                      </a:lnTo>
                      <a:lnTo>
                        <a:pt x="1" y="121"/>
                      </a:lnTo>
                      <a:lnTo>
                        <a:pt x="1" y="123"/>
                      </a:lnTo>
                      <a:lnTo>
                        <a:pt x="1" y="123"/>
                      </a:lnTo>
                      <a:lnTo>
                        <a:pt x="4" y="121"/>
                      </a:lnTo>
                      <a:lnTo>
                        <a:pt x="4" y="118"/>
                      </a:lnTo>
                      <a:lnTo>
                        <a:pt x="4" y="118"/>
                      </a:lnTo>
                      <a:lnTo>
                        <a:pt x="0" y="121"/>
                      </a:lnTo>
                      <a:lnTo>
                        <a:pt x="0" y="121"/>
                      </a:lnTo>
                      <a:lnTo>
                        <a:pt x="0" y="127"/>
                      </a:lnTo>
                      <a:lnTo>
                        <a:pt x="1" y="127"/>
                      </a:lnTo>
                      <a:close/>
                      <a:moveTo>
                        <a:pt x="3" y="141"/>
                      </a:moveTo>
                      <a:lnTo>
                        <a:pt x="3" y="141"/>
                      </a:lnTo>
                      <a:lnTo>
                        <a:pt x="1" y="141"/>
                      </a:lnTo>
                      <a:lnTo>
                        <a:pt x="1" y="141"/>
                      </a:lnTo>
                      <a:lnTo>
                        <a:pt x="1" y="141"/>
                      </a:lnTo>
                      <a:lnTo>
                        <a:pt x="1" y="133"/>
                      </a:lnTo>
                      <a:lnTo>
                        <a:pt x="0" y="133"/>
                      </a:lnTo>
                      <a:lnTo>
                        <a:pt x="0" y="143"/>
                      </a:lnTo>
                      <a:lnTo>
                        <a:pt x="0" y="143"/>
                      </a:lnTo>
                      <a:lnTo>
                        <a:pt x="0" y="143"/>
                      </a:lnTo>
                      <a:lnTo>
                        <a:pt x="1" y="143"/>
                      </a:lnTo>
                      <a:lnTo>
                        <a:pt x="3" y="141"/>
                      </a:lnTo>
                      <a:close/>
                      <a:moveTo>
                        <a:pt x="16" y="150"/>
                      </a:moveTo>
                      <a:lnTo>
                        <a:pt x="16" y="150"/>
                      </a:lnTo>
                      <a:lnTo>
                        <a:pt x="7" y="144"/>
                      </a:lnTo>
                      <a:lnTo>
                        <a:pt x="6" y="146"/>
                      </a:lnTo>
                      <a:lnTo>
                        <a:pt x="6" y="146"/>
                      </a:lnTo>
                      <a:lnTo>
                        <a:pt x="14" y="152"/>
                      </a:lnTo>
                      <a:lnTo>
                        <a:pt x="16" y="150"/>
                      </a:lnTo>
                      <a:close/>
                      <a:moveTo>
                        <a:pt x="29" y="157"/>
                      </a:moveTo>
                      <a:lnTo>
                        <a:pt x="29" y="157"/>
                      </a:lnTo>
                      <a:lnTo>
                        <a:pt x="20" y="152"/>
                      </a:lnTo>
                      <a:lnTo>
                        <a:pt x="19" y="155"/>
                      </a:lnTo>
                      <a:lnTo>
                        <a:pt x="19" y="155"/>
                      </a:lnTo>
                      <a:lnTo>
                        <a:pt x="27" y="160"/>
                      </a:lnTo>
                      <a:lnTo>
                        <a:pt x="29" y="157"/>
                      </a:lnTo>
                      <a:close/>
                      <a:moveTo>
                        <a:pt x="40" y="166"/>
                      </a:moveTo>
                      <a:lnTo>
                        <a:pt x="40" y="166"/>
                      </a:lnTo>
                      <a:lnTo>
                        <a:pt x="32" y="160"/>
                      </a:lnTo>
                      <a:lnTo>
                        <a:pt x="32" y="162"/>
                      </a:lnTo>
                      <a:lnTo>
                        <a:pt x="32" y="162"/>
                      </a:lnTo>
                      <a:lnTo>
                        <a:pt x="39" y="168"/>
                      </a:lnTo>
                      <a:lnTo>
                        <a:pt x="40" y="166"/>
                      </a:lnTo>
                      <a:close/>
                      <a:moveTo>
                        <a:pt x="53" y="173"/>
                      </a:moveTo>
                      <a:lnTo>
                        <a:pt x="53" y="173"/>
                      </a:lnTo>
                      <a:lnTo>
                        <a:pt x="45" y="169"/>
                      </a:lnTo>
                      <a:lnTo>
                        <a:pt x="43" y="170"/>
                      </a:lnTo>
                      <a:lnTo>
                        <a:pt x="43" y="170"/>
                      </a:lnTo>
                      <a:lnTo>
                        <a:pt x="52" y="176"/>
                      </a:lnTo>
                      <a:lnTo>
                        <a:pt x="53" y="173"/>
                      </a:lnTo>
                      <a:close/>
                      <a:moveTo>
                        <a:pt x="66" y="182"/>
                      </a:moveTo>
                      <a:lnTo>
                        <a:pt x="66" y="182"/>
                      </a:lnTo>
                      <a:lnTo>
                        <a:pt x="58" y="176"/>
                      </a:lnTo>
                      <a:lnTo>
                        <a:pt x="56" y="179"/>
                      </a:lnTo>
                      <a:lnTo>
                        <a:pt x="56" y="179"/>
                      </a:lnTo>
                      <a:lnTo>
                        <a:pt x="65" y="185"/>
                      </a:lnTo>
                      <a:lnTo>
                        <a:pt x="66" y="182"/>
                      </a:lnTo>
                      <a:close/>
                      <a:moveTo>
                        <a:pt x="79" y="191"/>
                      </a:moveTo>
                      <a:lnTo>
                        <a:pt x="79" y="191"/>
                      </a:lnTo>
                      <a:lnTo>
                        <a:pt x="71" y="185"/>
                      </a:lnTo>
                      <a:lnTo>
                        <a:pt x="69" y="188"/>
                      </a:lnTo>
                      <a:lnTo>
                        <a:pt x="69" y="188"/>
                      </a:lnTo>
                      <a:lnTo>
                        <a:pt x="78" y="192"/>
                      </a:lnTo>
                      <a:lnTo>
                        <a:pt x="79" y="191"/>
                      </a:lnTo>
                      <a:close/>
                      <a:moveTo>
                        <a:pt x="93" y="199"/>
                      </a:moveTo>
                      <a:lnTo>
                        <a:pt x="93" y="199"/>
                      </a:lnTo>
                      <a:lnTo>
                        <a:pt x="84" y="194"/>
                      </a:lnTo>
                      <a:lnTo>
                        <a:pt x="82" y="195"/>
                      </a:lnTo>
                      <a:lnTo>
                        <a:pt x="82" y="195"/>
                      </a:lnTo>
                      <a:lnTo>
                        <a:pt x="91" y="201"/>
                      </a:lnTo>
                      <a:lnTo>
                        <a:pt x="93" y="199"/>
                      </a:lnTo>
                      <a:close/>
                      <a:moveTo>
                        <a:pt x="104" y="208"/>
                      </a:moveTo>
                      <a:lnTo>
                        <a:pt x="104" y="208"/>
                      </a:lnTo>
                      <a:lnTo>
                        <a:pt x="97" y="202"/>
                      </a:lnTo>
                      <a:lnTo>
                        <a:pt x="95" y="204"/>
                      </a:lnTo>
                      <a:lnTo>
                        <a:pt x="95" y="204"/>
                      </a:lnTo>
                      <a:lnTo>
                        <a:pt x="103" y="210"/>
                      </a:lnTo>
                      <a:lnTo>
                        <a:pt x="104" y="208"/>
                      </a:lnTo>
                      <a:close/>
                      <a:moveTo>
                        <a:pt x="117" y="217"/>
                      </a:moveTo>
                      <a:lnTo>
                        <a:pt x="117" y="217"/>
                      </a:lnTo>
                      <a:lnTo>
                        <a:pt x="108" y="211"/>
                      </a:lnTo>
                      <a:lnTo>
                        <a:pt x="107" y="212"/>
                      </a:lnTo>
                      <a:lnTo>
                        <a:pt x="107" y="212"/>
                      </a:lnTo>
                      <a:lnTo>
                        <a:pt x="116" y="218"/>
                      </a:lnTo>
                      <a:lnTo>
                        <a:pt x="117" y="217"/>
                      </a:lnTo>
                      <a:close/>
                      <a:moveTo>
                        <a:pt x="129" y="225"/>
                      </a:moveTo>
                      <a:lnTo>
                        <a:pt x="129" y="225"/>
                      </a:lnTo>
                      <a:lnTo>
                        <a:pt x="121" y="220"/>
                      </a:lnTo>
                      <a:lnTo>
                        <a:pt x="120" y="223"/>
                      </a:lnTo>
                      <a:lnTo>
                        <a:pt x="120" y="223"/>
                      </a:lnTo>
                      <a:lnTo>
                        <a:pt x="127" y="228"/>
                      </a:lnTo>
                      <a:lnTo>
                        <a:pt x="129" y="225"/>
                      </a:lnTo>
                      <a:close/>
                      <a:moveTo>
                        <a:pt x="142" y="236"/>
                      </a:moveTo>
                      <a:lnTo>
                        <a:pt x="142" y="236"/>
                      </a:lnTo>
                      <a:lnTo>
                        <a:pt x="133" y="230"/>
                      </a:lnTo>
                      <a:lnTo>
                        <a:pt x="132" y="231"/>
                      </a:lnTo>
                      <a:lnTo>
                        <a:pt x="132" y="231"/>
                      </a:lnTo>
                      <a:lnTo>
                        <a:pt x="139" y="237"/>
                      </a:lnTo>
                      <a:lnTo>
                        <a:pt x="142" y="236"/>
                      </a:lnTo>
                      <a:close/>
                      <a:moveTo>
                        <a:pt x="153" y="244"/>
                      </a:moveTo>
                      <a:lnTo>
                        <a:pt x="153" y="244"/>
                      </a:lnTo>
                      <a:lnTo>
                        <a:pt x="145" y="239"/>
                      </a:lnTo>
                      <a:lnTo>
                        <a:pt x="143" y="240"/>
                      </a:lnTo>
                      <a:lnTo>
                        <a:pt x="143" y="240"/>
                      </a:lnTo>
                      <a:lnTo>
                        <a:pt x="152" y="247"/>
                      </a:lnTo>
                      <a:lnTo>
                        <a:pt x="153" y="244"/>
                      </a:lnTo>
                      <a:close/>
                      <a:moveTo>
                        <a:pt x="165" y="254"/>
                      </a:moveTo>
                      <a:lnTo>
                        <a:pt x="165" y="254"/>
                      </a:lnTo>
                      <a:lnTo>
                        <a:pt x="156" y="249"/>
                      </a:lnTo>
                      <a:lnTo>
                        <a:pt x="155" y="250"/>
                      </a:lnTo>
                      <a:lnTo>
                        <a:pt x="155" y="250"/>
                      </a:lnTo>
                      <a:lnTo>
                        <a:pt x="163" y="257"/>
                      </a:lnTo>
                      <a:lnTo>
                        <a:pt x="165" y="254"/>
                      </a:lnTo>
                      <a:close/>
                      <a:moveTo>
                        <a:pt x="177" y="265"/>
                      </a:moveTo>
                      <a:lnTo>
                        <a:pt x="177" y="265"/>
                      </a:lnTo>
                      <a:lnTo>
                        <a:pt x="168" y="259"/>
                      </a:lnTo>
                      <a:lnTo>
                        <a:pt x="166" y="260"/>
                      </a:lnTo>
                      <a:lnTo>
                        <a:pt x="166" y="260"/>
                      </a:lnTo>
                      <a:lnTo>
                        <a:pt x="175" y="266"/>
                      </a:lnTo>
                      <a:lnTo>
                        <a:pt x="177" y="265"/>
                      </a:lnTo>
                      <a:close/>
                      <a:moveTo>
                        <a:pt x="188" y="275"/>
                      </a:moveTo>
                      <a:lnTo>
                        <a:pt x="188" y="275"/>
                      </a:lnTo>
                      <a:lnTo>
                        <a:pt x="179" y="267"/>
                      </a:lnTo>
                      <a:lnTo>
                        <a:pt x="178" y="270"/>
                      </a:lnTo>
                      <a:lnTo>
                        <a:pt x="178" y="270"/>
                      </a:lnTo>
                      <a:lnTo>
                        <a:pt x="185" y="276"/>
                      </a:lnTo>
                      <a:lnTo>
                        <a:pt x="188" y="275"/>
                      </a:lnTo>
                      <a:close/>
                      <a:moveTo>
                        <a:pt x="188" y="288"/>
                      </a:moveTo>
                      <a:lnTo>
                        <a:pt x="188" y="288"/>
                      </a:lnTo>
                      <a:lnTo>
                        <a:pt x="191" y="285"/>
                      </a:lnTo>
                      <a:lnTo>
                        <a:pt x="191" y="285"/>
                      </a:lnTo>
                      <a:lnTo>
                        <a:pt x="192" y="283"/>
                      </a:lnTo>
                      <a:lnTo>
                        <a:pt x="192" y="283"/>
                      </a:lnTo>
                      <a:lnTo>
                        <a:pt x="192" y="282"/>
                      </a:lnTo>
                      <a:lnTo>
                        <a:pt x="192" y="282"/>
                      </a:lnTo>
                      <a:lnTo>
                        <a:pt x="192" y="279"/>
                      </a:lnTo>
                      <a:lnTo>
                        <a:pt x="191" y="279"/>
                      </a:lnTo>
                      <a:lnTo>
                        <a:pt x="190" y="281"/>
                      </a:lnTo>
                      <a:lnTo>
                        <a:pt x="190" y="281"/>
                      </a:lnTo>
                      <a:lnTo>
                        <a:pt x="190" y="281"/>
                      </a:lnTo>
                      <a:lnTo>
                        <a:pt x="191" y="282"/>
                      </a:lnTo>
                      <a:lnTo>
                        <a:pt x="191" y="282"/>
                      </a:lnTo>
                      <a:lnTo>
                        <a:pt x="191" y="282"/>
                      </a:lnTo>
                      <a:lnTo>
                        <a:pt x="185" y="285"/>
                      </a:lnTo>
                      <a:lnTo>
                        <a:pt x="188" y="288"/>
                      </a:lnTo>
                      <a:close/>
                      <a:moveTo>
                        <a:pt x="194" y="289"/>
                      </a:moveTo>
                      <a:lnTo>
                        <a:pt x="194" y="289"/>
                      </a:lnTo>
                      <a:lnTo>
                        <a:pt x="188" y="289"/>
                      </a:lnTo>
                      <a:lnTo>
                        <a:pt x="188" y="289"/>
                      </a:lnTo>
                      <a:lnTo>
                        <a:pt x="185" y="289"/>
                      </a:lnTo>
                      <a:lnTo>
                        <a:pt x="185" y="289"/>
                      </a:lnTo>
                      <a:lnTo>
                        <a:pt x="184" y="292"/>
                      </a:lnTo>
                      <a:lnTo>
                        <a:pt x="184" y="292"/>
                      </a:lnTo>
                      <a:lnTo>
                        <a:pt x="188" y="292"/>
                      </a:lnTo>
                      <a:lnTo>
                        <a:pt x="188" y="292"/>
                      </a:lnTo>
                      <a:lnTo>
                        <a:pt x="195" y="292"/>
                      </a:lnTo>
                      <a:lnTo>
                        <a:pt x="194" y="289"/>
                      </a:lnTo>
                      <a:close/>
                      <a:moveTo>
                        <a:pt x="210" y="286"/>
                      </a:moveTo>
                      <a:lnTo>
                        <a:pt x="210" y="286"/>
                      </a:lnTo>
                      <a:lnTo>
                        <a:pt x="200" y="289"/>
                      </a:lnTo>
                      <a:lnTo>
                        <a:pt x="200" y="291"/>
                      </a:lnTo>
                      <a:lnTo>
                        <a:pt x="200" y="291"/>
                      </a:lnTo>
                      <a:lnTo>
                        <a:pt x="210" y="289"/>
                      </a:lnTo>
                      <a:lnTo>
                        <a:pt x="210" y="286"/>
                      </a:lnTo>
                      <a:close/>
                      <a:moveTo>
                        <a:pt x="224" y="285"/>
                      </a:moveTo>
                      <a:lnTo>
                        <a:pt x="224" y="285"/>
                      </a:lnTo>
                      <a:lnTo>
                        <a:pt x="214" y="286"/>
                      </a:lnTo>
                      <a:lnTo>
                        <a:pt x="214" y="289"/>
                      </a:lnTo>
                      <a:lnTo>
                        <a:pt x="214" y="289"/>
                      </a:lnTo>
                      <a:lnTo>
                        <a:pt x="224" y="286"/>
                      </a:lnTo>
                      <a:lnTo>
                        <a:pt x="224" y="285"/>
                      </a:lnTo>
                      <a:close/>
                      <a:moveTo>
                        <a:pt x="239" y="282"/>
                      </a:moveTo>
                      <a:lnTo>
                        <a:pt x="239" y="282"/>
                      </a:lnTo>
                      <a:lnTo>
                        <a:pt x="237" y="282"/>
                      </a:lnTo>
                      <a:lnTo>
                        <a:pt x="237" y="282"/>
                      </a:lnTo>
                      <a:lnTo>
                        <a:pt x="230" y="283"/>
                      </a:lnTo>
                      <a:lnTo>
                        <a:pt x="230" y="286"/>
                      </a:lnTo>
                      <a:lnTo>
                        <a:pt x="230" y="286"/>
                      </a:lnTo>
                      <a:lnTo>
                        <a:pt x="237" y="285"/>
                      </a:lnTo>
                      <a:lnTo>
                        <a:pt x="237" y="285"/>
                      </a:lnTo>
                      <a:lnTo>
                        <a:pt x="240" y="285"/>
                      </a:lnTo>
                      <a:lnTo>
                        <a:pt x="239" y="282"/>
                      </a:lnTo>
                      <a:close/>
                      <a:moveTo>
                        <a:pt x="250" y="272"/>
                      </a:moveTo>
                      <a:lnTo>
                        <a:pt x="250" y="272"/>
                      </a:lnTo>
                      <a:lnTo>
                        <a:pt x="243" y="279"/>
                      </a:lnTo>
                      <a:lnTo>
                        <a:pt x="245" y="281"/>
                      </a:lnTo>
                      <a:lnTo>
                        <a:pt x="245" y="281"/>
                      </a:lnTo>
                      <a:lnTo>
                        <a:pt x="252" y="275"/>
                      </a:lnTo>
                      <a:lnTo>
                        <a:pt x="250" y="272"/>
                      </a:lnTo>
                      <a:close/>
                      <a:moveTo>
                        <a:pt x="262" y="262"/>
                      </a:moveTo>
                      <a:lnTo>
                        <a:pt x="262" y="262"/>
                      </a:lnTo>
                      <a:lnTo>
                        <a:pt x="255" y="269"/>
                      </a:lnTo>
                      <a:lnTo>
                        <a:pt x="256" y="270"/>
                      </a:lnTo>
                      <a:lnTo>
                        <a:pt x="256" y="270"/>
                      </a:lnTo>
                      <a:lnTo>
                        <a:pt x="263" y="263"/>
                      </a:lnTo>
                      <a:lnTo>
                        <a:pt x="262" y="262"/>
                      </a:lnTo>
                      <a:close/>
                      <a:moveTo>
                        <a:pt x="272" y="252"/>
                      </a:moveTo>
                      <a:lnTo>
                        <a:pt x="272" y="252"/>
                      </a:lnTo>
                      <a:lnTo>
                        <a:pt x="265" y="259"/>
                      </a:lnTo>
                      <a:lnTo>
                        <a:pt x="266" y="260"/>
                      </a:lnTo>
                      <a:lnTo>
                        <a:pt x="266" y="260"/>
                      </a:lnTo>
                      <a:lnTo>
                        <a:pt x="274" y="253"/>
                      </a:lnTo>
                      <a:lnTo>
                        <a:pt x="272" y="252"/>
                      </a:lnTo>
                      <a:close/>
                      <a:moveTo>
                        <a:pt x="282" y="240"/>
                      </a:moveTo>
                      <a:lnTo>
                        <a:pt x="282" y="240"/>
                      </a:lnTo>
                      <a:lnTo>
                        <a:pt x="275" y="247"/>
                      </a:lnTo>
                      <a:lnTo>
                        <a:pt x="278" y="249"/>
                      </a:lnTo>
                      <a:lnTo>
                        <a:pt x="278" y="249"/>
                      </a:lnTo>
                      <a:lnTo>
                        <a:pt x="284" y="241"/>
                      </a:lnTo>
                      <a:lnTo>
                        <a:pt x="282" y="240"/>
                      </a:lnTo>
                      <a:close/>
                      <a:moveTo>
                        <a:pt x="292" y="228"/>
                      </a:moveTo>
                      <a:lnTo>
                        <a:pt x="292" y="228"/>
                      </a:lnTo>
                      <a:lnTo>
                        <a:pt x="287" y="236"/>
                      </a:lnTo>
                      <a:lnTo>
                        <a:pt x="288" y="239"/>
                      </a:lnTo>
                      <a:lnTo>
                        <a:pt x="288" y="239"/>
                      </a:lnTo>
                      <a:lnTo>
                        <a:pt x="295" y="230"/>
                      </a:lnTo>
                      <a:lnTo>
                        <a:pt x="292" y="228"/>
                      </a:lnTo>
                      <a:close/>
                      <a:moveTo>
                        <a:pt x="303" y="217"/>
                      </a:moveTo>
                      <a:lnTo>
                        <a:pt x="303" y="217"/>
                      </a:lnTo>
                      <a:lnTo>
                        <a:pt x="297" y="225"/>
                      </a:lnTo>
                      <a:lnTo>
                        <a:pt x="298" y="227"/>
                      </a:lnTo>
                      <a:lnTo>
                        <a:pt x="298" y="227"/>
                      </a:lnTo>
                      <a:lnTo>
                        <a:pt x="305" y="220"/>
                      </a:lnTo>
                      <a:lnTo>
                        <a:pt x="303" y="217"/>
                      </a:lnTo>
                      <a:close/>
                      <a:moveTo>
                        <a:pt x="316" y="208"/>
                      </a:moveTo>
                      <a:lnTo>
                        <a:pt x="313" y="208"/>
                      </a:lnTo>
                      <a:lnTo>
                        <a:pt x="313" y="207"/>
                      </a:lnTo>
                      <a:lnTo>
                        <a:pt x="311" y="208"/>
                      </a:lnTo>
                      <a:lnTo>
                        <a:pt x="311" y="208"/>
                      </a:lnTo>
                      <a:lnTo>
                        <a:pt x="307" y="214"/>
                      </a:lnTo>
                      <a:lnTo>
                        <a:pt x="308" y="215"/>
                      </a:lnTo>
                      <a:lnTo>
                        <a:pt x="308" y="215"/>
                      </a:lnTo>
                      <a:lnTo>
                        <a:pt x="314" y="210"/>
                      </a:lnTo>
                      <a:lnTo>
                        <a:pt x="313" y="208"/>
                      </a:lnTo>
                      <a:lnTo>
                        <a:pt x="313" y="210"/>
                      </a:lnTo>
                      <a:lnTo>
                        <a:pt x="314" y="211"/>
                      </a:lnTo>
                      <a:lnTo>
                        <a:pt x="316" y="208"/>
                      </a:lnTo>
                      <a:close/>
                      <a:moveTo>
                        <a:pt x="329" y="215"/>
                      </a:moveTo>
                      <a:lnTo>
                        <a:pt x="320" y="211"/>
                      </a:lnTo>
                      <a:lnTo>
                        <a:pt x="318" y="212"/>
                      </a:lnTo>
                      <a:lnTo>
                        <a:pt x="329" y="217"/>
                      </a:lnTo>
                      <a:lnTo>
                        <a:pt x="329" y="215"/>
                      </a:lnTo>
                      <a:close/>
                      <a:moveTo>
                        <a:pt x="343" y="221"/>
                      </a:moveTo>
                      <a:lnTo>
                        <a:pt x="334" y="217"/>
                      </a:lnTo>
                      <a:lnTo>
                        <a:pt x="333" y="220"/>
                      </a:lnTo>
                      <a:lnTo>
                        <a:pt x="342" y="224"/>
                      </a:lnTo>
                      <a:lnTo>
                        <a:pt x="343" y="221"/>
                      </a:lnTo>
                      <a:close/>
                      <a:moveTo>
                        <a:pt x="356" y="223"/>
                      </a:moveTo>
                      <a:lnTo>
                        <a:pt x="350" y="225"/>
                      </a:lnTo>
                      <a:lnTo>
                        <a:pt x="347" y="224"/>
                      </a:lnTo>
                      <a:lnTo>
                        <a:pt x="346" y="225"/>
                      </a:lnTo>
                      <a:lnTo>
                        <a:pt x="350" y="227"/>
                      </a:lnTo>
                      <a:lnTo>
                        <a:pt x="350" y="228"/>
                      </a:lnTo>
                      <a:lnTo>
                        <a:pt x="358" y="225"/>
                      </a:lnTo>
                      <a:lnTo>
                        <a:pt x="356" y="223"/>
                      </a:lnTo>
                      <a:close/>
                      <a:moveTo>
                        <a:pt x="371" y="218"/>
                      </a:moveTo>
                      <a:lnTo>
                        <a:pt x="360" y="221"/>
                      </a:lnTo>
                      <a:lnTo>
                        <a:pt x="362" y="224"/>
                      </a:lnTo>
                      <a:lnTo>
                        <a:pt x="371" y="220"/>
                      </a:lnTo>
                      <a:lnTo>
                        <a:pt x="371" y="218"/>
                      </a:lnTo>
                      <a:close/>
                      <a:moveTo>
                        <a:pt x="385" y="217"/>
                      </a:moveTo>
                      <a:lnTo>
                        <a:pt x="381" y="214"/>
                      </a:lnTo>
                      <a:lnTo>
                        <a:pt x="381" y="214"/>
                      </a:lnTo>
                      <a:lnTo>
                        <a:pt x="375" y="217"/>
                      </a:lnTo>
                      <a:lnTo>
                        <a:pt x="376" y="218"/>
                      </a:lnTo>
                      <a:lnTo>
                        <a:pt x="381" y="217"/>
                      </a:lnTo>
                      <a:lnTo>
                        <a:pt x="384" y="218"/>
                      </a:lnTo>
                      <a:lnTo>
                        <a:pt x="385" y="217"/>
                      </a:lnTo>
                      <a:close/>
                      <a:moveTo>
                        <a:pt x="400" y="223"/>
                      </a:moveTo>
                      <a:lnTo>
                        <a:pt x="389" y="218"/>
                      </a:lnTo>
                      <a:lnTo>
                        <a:pt x="389" y="221"/>
                      </a:lnTo>
                      <a:lnTo>
                        <a:pt x="398" y="224"/>
                      </a:lnTo>
                      <a:lnTo>
                        <a:pt x="400" y="223"/>
                      </a:lnTo>
                      <a:close/>
                      <a:moveTo>
                        <a:pt x="413" y="228"/>
                      </a:moveTo>
                      <a:lnTo>
                        <a:pt x="404" y="224"/>
                      </a:lnTo>
                      <a:lnTo>
                        <a:pt x="402" y="227"/>
                      </a:lnTo>
                      <a:lnTo>
                        <a:pt x="413" y="231"/>
                      </a:lnTo>
                      <a:lnTo>
                        <a:pt x="413" y="228"/>
                      </a:lnTo>
                      <a:close/>
                      <a:moveTo>
                        <a:pt x="427" y="234"/>
                      </a:moveTo>
                      <a:lnTo>
                        <a:pt x="418" y="231"/>
                      </a:lnTo>
                      <a:lnTo>
                        <a:pt x="417" y="233"/>
                      </a:lnTo>
                      <a:lnTo>
                        <a:pt x="426" y="237"/>
                      </a:lnTo>
                      <a:lnTo>
                        <a:pt x="427" y="234"/>
                      </a:lnTo>
                      <a:close/>
                      <a:moveTo>
                        <a:pt x="442" y="241"/>
                      </a:moveTo>
                      <a:lnTo>
                        <a:pt x="431" y="237"/>
                      </a:lnTo>
                      <a:lnTo>
                        <a:pt x="431" y="239"/>
                      </a:lnTo>
                      <a:lnTo>
                        <a:pt x="440" y="243"/>
                      </a:lnTo>
                      <a:lnTo>
                        <a:pt x="442" y="241"/>
                      </a:lnTo>
                      <a:close/>
                      <a:moveTo>
                        <a:pt x="455" y="247"/>
                      </a:moveTo>
                      <a:lnTo>
                        <a:pt x="446" y="243"/>
                      </a:lnTo>
                      <a:lnTo>
                        <a:pt x="444" y="246"/>
                      </a:lnTo>
                      <a:lnTo>
                        <a:pt x="455" y="249"/>
                      </a:lnTo>
                      <a:lnTo>
                        <a:pt x="455" y="247"/>
                      </a:lnTo>
                      <a:close/>
                      <a:moveTo>
                        <a:pt x="469" y="253"/>
                      </a:moveTo>
                      <a:lnTo>
                        <a:pt x="459" y="249"/>
                      </a:lnTo>
                      <a:lnTo>
                        <a:pt x="459" y="252"/>
                      </a:lnTo>
                      <a:lnTo>
                        <a:pt x="468" y="256"/>
                      </a:lnTo>
                      <a:lnTo>
                        <a:pt x="469" y="253"/>
                      </a:lnTo>
                      <a:close/>
                      <a:moveTo>
                        <a:pt x="482" y="259"/>
                      </a:moveTo>
                      <a:lnTo>
                        <a:pt x="473" y="254"/>
                      </a:lnTo>
                      <a:lnTo>
                        <a:pt x="472" y="257"/>
                      </a:lnTo>
                      <a:lnTo>
                        <a:pt x="482" y="262"/>
                      </a:lnTo>
                      <a:lnTo>
                        <a:pt x="482" y="259"/>
                      </a:lnTo>
                      <a:close/>
                      <a:moveTo>
                        <a:pt x="497" y="266"/>
                      </a:moveTo>
                      <a:lnTo>
                        <a:pt x="488" y="262"/>
                      </a:lnTo>
                      <a:lnTo>
                        <a:pt x="486" y="263"/>
                      </a:lnTo>
                      <a:lnTo>
                        <a:pt x="495" y="267"/>
                      </a:lnTo>
                      <a:lnTo>
                        <a:pt x="497" y="266"/>
                      </a:lnTo>
                      <a:close/>
                      <a:moveTo>
                        <a:pt x="511" y="272"/>
                      </a:moveTo>
                      <a:lnTo>
                        <a:pt x="501" y="267"/>
                      </a:lnTo>
                      <a:lnTo>
                        <a:pt x="501" y="270"/>
                      </a:lnTo>
                      <a:lnTo>
                        <a:pt x="510" y="273"/>
                      </a:lnTo>
                      <a:lnTo>
                        <a:pt x="511" y="272"/>
                      </a:lnTo>
                      <a:close/>
                      <a:moveTo>
                        <a:pt x="524" y="278"/>
                      </a:moveTo>
                      <a:lnTo>
                        <a:pt x="515" y="273"/>
                      </a:lnTo>
                      <a:lnTo>
                        <a:pt x="514" y="276"/>
                      </a:lnTo>
                      <a:lnTo>
                        <a:pt x="524" y="281"/>
                      </a:lnTo>
                      <a:lnTo>
                        <a:pt x="524" y="27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42" name="Freeform 1596"/>
                <p:cNvSpPr>
                  <a:spLocks noEditPoints="1"/>
                </p:cNvSpPr>
                <p:nvPr/>
              </p:nvSpPr>
              <p:spPr bwMode="auto">
                <a:xfrm>
                  <a:off x="4551226" y="2777991"/>
                  <a:ext cx="53420" cy="166196"/>
                </a:xfrm>
                <a:custGeom>
                  <a:avLst/>
                  <a:gdLst>
                    <a:gd name="T0" fmla="*/ 51 w 54"/>
                    <a:gd name="T1" fmla="*/ 5 h 168"/>
                    <a:gd name="T2" fmla="*/ 51 w 54"/>
                    <a:gd name="T3" fmla="*/ 0 h 168"/>
                    <a:gd name="T4" fmla="*/ 36 w 54"/>
                    <a:gd name="T5" fmla="*/ 18 h 168"/>
                    <a:gd name="T6" fmla="*/ 42 w 54"/>
                    <a:gd name="T7" fmla="*/ 15 h 168"/>
                    <a:gd name="T8" fmla="*/ 43 w 54"/>
                    <a:gd name="T9" fmla="*/ 13 h 168"/>
                    <a:gd name="T10" fmla="*/ 38 w 54"/>
                    <a:gd name="T11" fmla="*/ 14 h 168"/>
                    <a:gd name="T12" fmla="*/ 29 w 54"/>
                    <a:gd name="T13" fmla="*/ 31 h 168"/>
                    <a:gd name="T14" fmla="*/ 30 w 54"/>
                    <a:gd name="T15" fmla="*/ 21 h 168"/>
                    <a:gd name="T16" fmla="*/ 29 w 54"/>
                    <a:gd name="T17" fmla="*/ 31 h 168"/>
                    <a:gd name="T18" fmla="*/ 23 w 54"/>
                    <a:gd name="T19" fmla="*/ 40 h 168"/>
                    <a:gd name="T20" fmla="*/ 25 w 54"/>
                    <a:gd name="T21" fmla="*/ 34 h 168"/>
                    <a:gd name="T22" fmla="*/ 19 w 54"/>
                    <a:gd name="T23" fmla="*/ 43 h 168"/>
                    <a:gd name="T24" fmla="*/ 14 w 54"/>
                    <a:gd name="T25" fmla="*/ 46 h 168"/>
                    <a:gd name="T26" fmla="*/ 3 w 54"/>
                    <a:gd name="T27" fmla="*/ 47 h 168"/>
                    <a:gd name="T28" fmla="*/ 9 w 54"/>
                    <a:gd name="T29" fmla="*/ 59 h 168"/>
                    <a:gd name="T30" fmla="*/ 3 w 54"/>
                    <a:gd name="T31" fmla="*/ 52 h 168"/>
                    <a:gd name="T32" fmla="*/ 3 w 54"/>
                    <a:gd name="T33" fmla="*/ 56 h 168"/>
                    <a:gd name="T34" fmla="*/ 9 w 54"/>
                    <a:gd name="T35" fmla="*/ 59 h 168"/>
                    <a:gd name="T36" fmla="*/ 16 w 54"/>
                    <a:gd name="T37" fmla="*/ 68 h 168"/>
                    <a:gd name="T38" fmla="*/ 10 w 54"/>
                    <a:gd name="T39" fmla="*/ 63 h 168"/>
                    <a:gd name="T40" fmla="*/ 13 w 54"/>
                    <a:gd name="T41" fmla="*/ 68 h 168"/>
                    <a:gd name="T42" fmla="*/ 13 w 54"/>
                    <a:gd name="T43" fmla="*/ 86 h 168"/>
                    <a:gd name="T44" fmla="*/ 16 w 54"/>
                    <a:gd name="T45" fmla="*/ 78 h 168"/>
                    <a:gd name="T46" fmla="*/ 10 w 54"/>
                    <a:gd name="T47" fmla="*/ 85 h 168"/>
                    <a:gd name="T48" fmla="*/ 16 w 54"/>
                    <a:gd name="T49" fmla="*/ 101 h 168"/>
                    <a:gd name="T50" fmla="*/ 10 w 54"/>
                    <a:gd name="T51" fmla="*/ 92 h 168"/>
                    <a:gd name="T52" fmla="*/ 16 w 54"/>
                    <a:gd name="T53" fmla="*/ 101 h 168"/>
                    <a:gd name="T54" fmla="*/ 19 w 54"/>
                    <a:gd name="T55" fmla="*/ 108 h 168"/>
                    <a:gd name="T56" fmla="*/ 16 w 54"/>
                    <a:gd name="T57" fmla="*/ 105 h 168"/>
                    <a:gd name="T58" fmla="*/ 17 w 54"/>
                    <a:gd name="T59" fmla="*/ 108 h 168"/>
                    <a:gd name="T60" fmla="*/ 14 w 54"/>
                    <a:gd name="T61" fmla="*/ 130 h 168"/>
                    <a:gd name="T62" fmla="*/ 14 w 54"/>
                    <a:gd name="T63" fmla="*/ 120 h 168"/>
                    <a:gd name="T64" fmla="*/ 14 w 54"/>
                    <a:gd name="T65" fmla="*/ 130 h 168"/>
                    <a:gd name="T66" fmla="*/ 14 w 54"/>
                    <a:gd name="T67" fmla="*/ 137 h 168"/>
                    <a:gd name="T68" fmla="*/ 14 w 54"/>
                    <a:gd name="T69" fmla="*/ 136 h 168"/>
                    <a:gd name="T70" fmla="*/ 12 w 54"/>
                    <a:gd name="T71" fmla="*/ 136 h 168"/>
                    <a:gd name="T72" fmla="*/ 14 w 54"/>
                    <a:gd name="T73" fmla="*/ 141 h 168"/>
                    <a:gd name="T74" fmla="*/ 30 w 54"/>
                    <a:gd name="T75" fmla="*/ 153 h 168"/>
                    <a:gd name="T76" fmla="*/ 28 w 54"/>
                    <a:gd name="T77" fmla="*/ 150 h 168"/>
                    <a:gd name="T78" fmla="*/ 22 w 54"/>
                    <a:gd name="T79" fmla="*/ 147 h 168"/>
                    <a:gd name="T80" fmla="*/ 28 w 54"/>
                    <a:gd name="T81" fmla="*/ 155 h 168"/>
                    <a:gd name="T82" fmla="*/ 39 w 54"/>
                    <a:gd name="T83" fmla="*/ 166 h 168"/>
                    <a:gd name="T84" fmla="*/ 30 w 54"/>
                    <a:gd name="T85" fmla="*/ 159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54" h="168">
                      <a:moveTo>
                        <a:pt x="49" y="10"/>
                      </a:moveTo>
                      <a:lnTo>
                        <a:pt x="49" y="10"/>
                      </a:lnTo>
                      <a:lnTo>
                        <a:pt x="51" y="5"/>
                      </a:lnTo>
                      <a:lnTo>
                        <a:pt x="54" y="1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46" y="8"/>
                      </a:lnTo>
                      <a:lnTo>
                        <a:pt x="49" y="10"/>
                      </a:lnTo>
                      <a:close/>
                      <a:moveTo>
                        <a:pt x="36" y="18"/>
                      </a:moveTo>
                      <a:lnTo>
                        <a:pt x="36" y="18"/>
                      </a:lnTo>
                      <a:lnTo>
                        <a:pt x="42" y="15"/>
                      </a:lnTo>
                      <a:lnTo>
                        <a:pt x="42" y="15"/>
                      </a:lnTo>
                      <a:lnTo>
                        <a:pt x="45" y="14"/>
                      </a:lnTo>
                      <a:lnTo>
                        <a:pt x="43" y="13"/>
                      </a:lnTo>
                      <a:lnTo>
                        <a:pt x="43" y="13"/>
                      </a:lnTo>
                      <a:lnTo>
                        <a:pt x="41" y="14"/>
                      </a:lnTo>
                      <a:lnTo>
                        <a:pt x="41" y="14"/>
                      </a:lnTo>
                      <a:lnTo>
                        <a:pt x="38" y="14"/>
                      </a:lnTo>
                      <a:lnTo>
                        <a:pt x="35" y="17"/>
                      </a:lnTo>
                      <a:lnTo>
                        <a:pt x="36" y="18"/>
                      </a:lnTo>
                      <a:close/>
                      <a:moveTo>
                        <a:pt x="29" y="31"/>
                      </a:moveTo>
                      <a:lnTo>
                        <a:pt x="29" y="31"/>
                      </a:lnTo>
                      <a:lnTo>
                        <a:pt x="33" y="23"/>
                      </a:lnTo>
                      <a:lnTo>
                        <a:pt x="30" y="21"/>
                      </a:lnTo>
                      <a:lnTo>
                        <a:pt x="30" y="21"/>
                      </a:lnTo>
                      <a:lnTo>
                        <a:pt x="26" y="30"/>
                      </a:lnTo>
                      <a:lnTo>
                        <a:pt x="29" y="31"/>
                      </a:lnTo>
                      <a:close/>
                      <a:moveTo>
                        <a:pt x="19" y="43"/>
                      </a:moveTo>
                      <a:lnTo>
                        <a:pt x="19" y="43"/>
                      </a:lnTo>
                      <a:lnTo>
                        <a:pt x="23" y="40"/>
                      </a:lnTo>
                      <a:lnTo>
                        <a:pt x="28" y="36"/>
                      </a:lnTo>
                      <a:lnTo>
                        <a:pt x="25" y="34"/>
                      </a:lnTo>
                      <a:lnTo>
                        <a:pt x="25" y="34"/>
                      </a:lnTo>
                      <a:lnTo>
                        <a:pt x="22" y="39"/>
                      </a:lnTo>
                      <a:lnTo>
                        <a:pt x="17" y="40"/>
                      </a:lnTo>
                      <a:lnTo>
                        <a:pt x="19" y="43"/>
                      </a:lnTo>
                      <a:close/>
                      <a:moveTo>
                        <a:pt x="4" y="50"/>
                      </a:moveTo>
                      <a:lnTo>
                        <a:pt x="4" y="50"/>
                      </a:lnTo>
                      <a:lnTo>
                        <a:pt x="14" y="46"/>
                      </a:lnTo>
                      <a:lnTo>
                        <a:pt x="13" y="43"/>
                      </a:lnTo>
                      <a:lnTo>
                        <a:pt x="13" y="43"/>
                      </a:lnTo>
                      <a:lnTo>
                        <a:pt x="3" y="47"/>
                      </a:lnTo>
                      <a:lnTo>
                        <a:pt x="4" y="50"/>
                      </a:lnTo>
                      <a:close/>
                      <a:moveTo>
                        <a:pt x="9" y="59"/>
                      </a:moveTo>
                      <a:lnTo>
                        <a:pt x="9" y="59"/>
                      </a:lnTo>
                      <a:lnTo>
                        <a:pt x="4" y="55"/>
                      </a:lnTo>
                      <a:lnTo>
                        <a:pt x="4" y="55"/>
                      </a:lnTo>
                      <a:lnTo>
                        <a:pt x="3" y="52"/>
                      </a:lnTo>
                      <a:lnTo>
                        <a:pt x="0" y="53"/>
                      </a:lnTo>
                      <a:lnTo>
                        <a:pt x="0" y="53"/>
                      </a:lnTo>
                      <a:lnTo>
                        <a:pt x="3" y="56"/>
                      </a:lnTo>
                      <a:lnTo>
                        <a:pt x="3" y="56"/>
                      </a:lnTo>
                      <a:lnTo>
                        <a:pt x="7" y="60"/>
                      </a:lnTo>
                      <a:lnTo>
                        <a:pt x="9" y="59"/>
                      </a:lnTo>
                      <a:close/>
                      <a:moveTo>
                        <a:pt x="17" y="72"/>
                      </a:moveTo>
                      <a:lnTo>
                        <a:pt x="17" y="72"/>
                      </a:lnTo>
                      <a:lnTo>
                        <a:pt x="16" y="68"/>
                      </a:lnTo>
                      <a:lnTo>
                        <a:pt x="16" y="68"/>
                      </a:lnTo>
                      <a:lnTo>
                        <a:pt x="13" y="62"/>
                      </a:lnTo>
                      <a:lnTo>
                        <a:pt x="10" y="63"/>
                      </a:lnTo>
                      <a:lnTo>
                        <a:pt x="10" y="63"/>
                      </a:lnTo>
                      <a:lnTo>
                        <a:pt x="13" y="68"/>
                      </a:lnTo>
                      <a:lnTo>
                        <a:pt x="13" y="68"/>
                      </a:lnTo>
                      <a:lnTo>
                        <a:pt x="14" y="72"/>
                      </a:lnTo>
                      <a:lnTo>
                        <a:pt x="17" y="72"/>
                      </a:lnTo>
                      <a:close/>
                      <a:moveTo>
                        <a:pt x="13" y="86"/>
                      </a:moveTo>
                      <a:lnTo>
                        <a:pt x="13" y="86"/>
                      </a:lnTo>
                      <a:lnTo>
                        <a:pt x="13" y="86"/>
                      </a:lnTo>
                      <a:lnTo>
                        <a:pt x="16" y="78"/>
                      </a:lnTo>
                      <a:lnTo>
                        <a:pt x="14" y="76"/>
                      </a:lnTo>
                      <a:lnTo>
                        <a:pt x="14" y="76"/>
                      </a:lnTo>
                      <a:lnTo>
                        <a:pt x="10" y="85"/>
                      </a:lnTo>
                      <a:lnTo>
                        <a:pt x="10" y="86"/>
                      </a:lnTo>
                      <a:lnTo>
                        <a:pt x="13" y="86"/>
                      </a:lnTo>
                      <a:close/>
                      <a:moveTo>
                        <a:pt x="16" y="101"/>
                      </a:moveTo>
                      <a:lnTo>
                        <a:pt x="16" y="101"/>
                      </a:lnTo>
                      <a:lnTo>
                        <a:pt x="13" y="91"/>
                      </a:lnTo>
                      <a:lnTo>
                        <a:pt x="10" y="92"/>
                      </a:lnTo>
                      <a:lnTo>
                        <a:pt x="10" y="92"/>
                      </a:lnTo>
                      <a:lnTo>
                        <a:pt x="14" y="101"/>
                      </a:lnTo>
                      <a:lnTo>
                        <a:pt x="16" y="101"/>
                      </a:lnTo>
                      <a:close/>
                      <a:moveTo>
                        <a:pt x="19" y="115"/>
                      </a:moveTo>
                      <a:lnTo>
                        <a:pt x="19" y="115"/>
                      </a:lnTo>
                      <a:lnTo>
                        <a:pt x="19" y="108"/>
                      </a:lnTo>
                      <a:lnTo>
                        <a:pt x="19" y="108"/>
                      </a:lnTo>
                      <a:lnTo>
                        <a:pt x="19" y="105"/>
                      </a:lnTo>
                      <a:lnTo>
                        <a:pt x="16" y="105"/>
                      </a:lnTo>
                      <a:lnTo>
                        <a:pt x="16" y="105"/>
                      </a:lnTo>
                      <a:lnTo>
                        <a:pt x="17" y="108"/>
                      </a:lnTo>
                      <a:lnTo>
                        <a:pt x="17" y="108"/>
                      </a:lnTo>
                      <a:lnTo>
                        <a:pt x="16" y="115"/>
                      </a:lnTo>
                      <a:lnTo>
                        <a:pt x="19" y="115"/>
                      </a:lnTo>
                      <a:close/>
                      <a:moveTo>
                        <a:pt x="14" y="130"/>
                      </a:moveTo>
                      <a:lnTo>
                        <a:pt x="14" y="130"/>
                      </a:lnTo>
                      <a:lnTo>
                        <a:pt x="17" y="121"/>
                      </a:lnTo>
                      <a:lnTo>
                        <a:pt x="14" y="120"/>
                      </a:lnTo>
                      <a:lnTo>
                        <a:pt x="14" y="120"/>
                      </a:lnTo>
                      <a:lnTo>
                        <a:pt x="13" y="130"/>
                      </a:lnTo>
                      <a:lnTo>
                        <a:pt x="14" y="130"/>
                      </a:lnTo>
                      <a:close/>
                      <a:moveTo>
                        <a:pt x="19" y="143"/>
                      </a:moveTo>
                      <a:lnTo>
                        <a:pt x="19" y="143"/>
                      </a:lnTo>
                      <a:lnTo>
                        <a:pt x="14" y="137"/>
                      </a:lnTo>
                      <a:lnTo>
                        <a:pt x="14" y="137"/>
                      </a:lnTo>
                      <a:lnTo>
                        <a:pt x="14" y="136"/>
                      </a:lnTo>
                      <a:lnTo>
                        <a:pt x="14" y="136"/>
                      </a:lnTo>
                      <a:lnTo>
                        <a:pt x="12" y="136"/>
                      </a:lnTo>
                      <a:lnTo>
                        <a:pt x="12" y="136"/>
                      </a:lnTo>
                      <a:lnTo>
                        <a:pt x="12" y="136"/>
                      </a:lnTo>
                      <a:lnTo>
                        <a:pt x="12" y="137"/>
                      </a:lnTo>
                      <a:lnTo>
                        <a:pt x="12" y="137"/>
                      </a:lnTo>
                      <a:lnTo>
                        <a:pt x="14" y="141"/>
                      </a:lnTo>
                      <a:lnTo>
                        <a:pt x="17" y="144"/>
                      </a:lnTo>
                      <a:lnTo>
                        <a:pt x="19" y="143"/>
                      </a:lnTo>
                      <a:close/>
                      <a:moveTo>
                        <a:pt x="30" y="153"/>
                      </a:moveTo>
                      <a:lnTo>
                        <a:pt x="30" y="153"/>
                      </a:lnTo>
                      <a:lnTo>
                        <a:pt x="28" y="150"/>
                      </a:lnTo>
                      <a:lnTo>
                        <a:pt x="28" y="150"/>
                      </a:lnTo>
                      <a:lnTo>
                        <a:pt x="23" y="146"/>
                      </a:lnTo>
                      <a:lnTo>
                        <a:pt x="22" y="147"/>
                      </a:lnTo>
                      <a:lnTo>
                        <a:pt x="22" y="147"/>
                      </a:lnTo>
                      <a:lnTo>
                        <a:pt x="26" y="152"/>
                      </a:lnTo>
                      <a:lnTo>
                        <a:pt x="26" y="152"/>
                      </a:lnTo>
                      <a:lnTo>
                        <a:pt x="28" y="155"/>
                      </a:lnTo>
                      <a:lnTo>
                        <a:pt x="30" y="153"/>
                      </a:lnTo>
                      <a:close/>
                      <a:moveTo>
                        <a:pt x="39" y="166"/>
                      </a:moveTo>
                      <a:lnTo>
                        <a:pt x="39" y="166"/>
                      </a:lnTo>
                      <a:lnTo>
                        <a:pt x="33" y="157"/>
                      </a:lnTo>
                      <a:lnTo>
                        <a:pt x="30" y="159"/>
                      </a:lnTo>
                      <a:lnTo>
                        <a:pt x="30" y="159"/>
                      </a:lnTo>
                      <a:lnTo>
                        <a:pt x="36" y="168"/>
                      </a:lnTo>
                      <a:lnTo>
                        <a:pt x="39" y="16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43" name="Freeform 1597"/>
                <p:cNvSpPr>
                  <a:spLocks noEditPoints="1"/>
                </p:cNvSpPr>
                <p:nvPr/>
              </p:nvSpPr>
              <p:spPr bwMode="auto">
                <a:xfrm>
                  <a:off x="4537376" y="2699840"/>
                  <a:ext cx="20774" cy="124647"/>
                </a:xfrm>
                <a:custGeom>
                  <a:avLst/>
                  <a:gdLst>
                    <a:gd name="T0" fmla="*/ 14 w 21"/>
                    <a:gd name="T1" fmla="*/ 10 h 126"/>
                    <a:gd name="T2" fmla="*/ 11 w 21"/>
                    <a:gd name="T3" fmla="*/ 0 h 126"/>
                    <a:gd name="T4" fmla="*/ 11 w 21"/>
                    <a:gd name="T5" fmla="*/ 10 h 126"/>
                    <a:gd name="T6" fmla="*/ 14 w 21"/>
                    <a:gd name="T7" fmla="*/ 25 h 126"/>
                    <a:gd name="T8" fmla="*/ 14 w 21"/>
                    <a:gd name="T9" fmla="*/ 16 h 126"/>
                    <a:gd name="T10" fmla="*/ 11 w 21"/>
                    <a:gd name="T11" fmla="*/ 16 h 126"/>
                    <a:gd name="T12" fmla="*/ 14 w 21"/>
                    <a:gd name="T13" fmla="*/ 25 h 126"/>
                    <a:gd name="T14" fmla="*/ 10 w 21"/>
                    <a:gd name="T15" fmla="*/ 41 h 126"/>
                    <a:gd name="T16" fmla="*/ 11 w 21"/>
                    <a:gd name="T17" fmla="*/ 31 h 126"/>
                    <a:gd name="T18" fmla="*/ 7 w 21"/>
                    <a:gd name="T19" fmla="*/ 39 h 126"/>
                    <a:gd name="T20" fmla="*/ 2 w 21"/>
                    <a:gd name="T21" fmla="*/ 54 h 126"/>
                    <a:gd name="T22" fmla="*/ 2 w 21"/>
                    <a:gd name="T23" fmla="*/ 54 h 126"/>
                    <a:gd name="T24" fmla="*/ 5 w 21"/>
                    <a:gd name="T25" fmla="*/ 44 h 126"/>
                    <a:gd name="T26" fmla="*/ 1 w 21"/>
                    <a:gd name="T27" fmla="*/ 54 h 126"/>
                    <a:gd name="T28" fmla="*/ 2 w 21"/>
                    <a:gd name="T29" fmla="*/ 54 h 126"/>
                    <a:gd name="T30" fmla="*/ 2 w 21"/>
                    <a:gd name="T31" fmla="*/ 68 h 126"/>
                    <a:gd name="T32" fmla="*/ 2 w 21"/>
                    <a:gd name="T33" fmla="*/ 60 h 126"/>
                    <a:gd name="T34" fmla="*/ 0 w 21"/>
                    <a:gd name="T35" fmla="*/ 58 h 126"/>
                    <a:gd name="T36" fmla="*/ 0 w 21"/>
                    <a:gd name="T37" fmla="*/ 60 h 126"/>
                    <a:gd name="T38" fmla="*/ 2 w 21"/>
                    <a:gd name="T39" fmla="*/ 68 h 126"/>
                    <a:gd name="T40" fmla="*/ 8 w 21"/>
                    <a:gd name="T41" fmla="*/ 83 h 126"/>
                    <a:gd name="T42" fmla="*/ 7 w 21"/>
                    <a:gd name="T43" fmla="*/ 77 h 126"/>
                    <a:gd name="T44" fmla="*/ 2 w 21"/>
                    <a:gd name="T45" fmla="*/ 74 h 126"/>
                    <a:gd name="T46" fmla="*/ 4 w 21"/>
                    <a:gd name="T47" fmla="*/ 79 h 126"/>
                    <a:gd name="T48" fmla="*/ 5 w 21"/>
                    <a:gd name="T49" fmla="*/ 83 h 126"/>
                    <a:gd name="T50" fmla="*/ 13 w 21"/>
                    <a:gd name="T51" fmla="*/ 97 h 126"/>
                    <a:gd name="T52" fmla="*/ 10 w 21"/>
                    <a:gd name="T53" fmla="*/ 87 h 126"/>
                    <a:gd name="T54" fmla="*/ 7 w 21"/>
                    <a:gd name="T55" fmla="*/ 89 h 126"/>
                    <a:gd name="T56" fmla="*/ 13 w 21"/>
                    <a:gd name="T57" fmla="*/ 97 h 126"/>
                    <a:gd name="T58" fmla="*/ 15 w 21"/>
                    <a:gd name="T59" fmla="*/ 113 h 126"/>
                    <a:gd name="T60" fmla="*/ 11 w 21"/>
                    <a:gd name="T61" fmla="*/ 103 h 126"/>
                    <a:gd name="T62" fmla="*/ 13 w 21"/>
                    <a:gd name="T63" fmla="*/ 113 h 126"/>
                    <a:gd name="T64" fmla="*/ 21 w 21"/>
                    <a:gd name="T65" fmla="*/ 125 h 126"/>
                    <a:gd name="T66" fmla="*/ 18 w 21"/>
                    <a:gd name="T67" fmla="*/ 122 h 126"/>
                    <a:gd name="T68" fmla="*/ 14 w 21"/>
                    <a:gd name="T69" fmla="*/ 118 h 126"/>
                    <a:gd name="T70" fmla="*/ 17 w 21"/>
                    <a:gd name="T71" fmla="*/ 123 h 126"/>
                    <a:gd name="T72" fmla="*/ 21 w 21"/>
                    <a:gd name="T73" fmla="*/ 125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21" h="126">
                      <a:moveTo>
                        <a:pt x="14" y="10"/>
                      </a:moveTo>
                      <a:lnTo>
                        <a:pt x="14" y="10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11" y="10"/>
                      </a:lnTo>
                      <a:lnTo>
                        <a:pt x="14" y="10"/>
                      </a:lnTo>
                      <a:close/>
                      <a:moveTo>
                        <a:pt x="14" y="25"/>
                      </a:moveTo>
                      <a:lnTo>
                        <a:pt x="14" y="25"/>
                      </a:lnTo>
                      <a:lnTo>
                        <a:pt x="14" y="16"/>
                      </a:lnTo>
                      <a:lnTo>
                        <a:pt x="11" y="16"/>
                      </a:lnTo>
                      <a:lnTo>
                        <a:pt x="11" y="16"/>
                      </a:lnTo>
                      <a:lnTo>
                        <a:pt x="11" y="26"/>
                      </a:lnTo>
                      <a:lnTo>
                        <a:pt x="14" y="25"/>
                      </a:lnTo>
                      <a:close/>
                      <a:moveTo>
                        <a:pt x="10" y="41"/>
                      </a:moveTo>
                      <a:lnTo>
                        <a:pt x="10" y="41"/>
                      </a:lnTo>
                      <a:lnTo>
                        <a:pt x="13" y="31"/>
                      </a:lnTo>
                      <a:lnTo>
                        <a:pt x="11" y="31"/>
                      </a:lnTo>
                      <a:lnTo>
                        <a:pt x="11" y="31"/>
                      </a:lnTo>
                      <a:lnTo>
                        <a:pt x="7" y="39"/>
                      </a:lnTo>
                      <a:lnTo>
                        <a:pt x="10" y="41"/>
                      </a:lnTo>
                      <a:close/>
                      <a:moveTo>
                        <a:pt x="2" y="54"/>
                      </a:moveTo>
                      <a:lnTo>
                        <a:pt x="2" y="54"/>
                      </a:lnTo>
                      <a:lnTo>
                        <a:pt x="2" y="54"/>
                      </a:lnTo>
                      <a:lnTo>
                        <a:pt x="7" y="45"/>
                      </a:lnTo>
                      <a:lnTo>
                        <a:pt x="5" y="44"/>
                      </a:lnTo>
                      <a:lnTo>
                        <a:pt x="5" y="44"/>
                      </a:lnTo>
                      <a:lnTo>
                        <a:pt x="1" y="54"/>
                      </a:lnTo>
                      <a:lnTo>
                        <a:pt x="1" y="54"/>
                      </a:lnTo>
                      <a:lnTo>
                        <a:pt x="2" y="54"/>
                      </a:lnTo>
                      <a:close/>
                      <a:moveTo>
                        <a:pt x="2" y="68"/>
                      </a:moveTo>
                      <a:lnTo>
                        <a:pt x="2" y="68"/>
                      </a:lnTo>
                      <a:lnTo>
                        <a:pt x="2" y="60"/>
                      </a:lnTo>
                      <a:lnTo>
                        <a:pt x="2" y="60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1" y="70"/>
                      </a:lnTo>
                      <a:lnTo>
                        <a:pt x="2" y="68"/>
                      </a:lnTo>
                      <a:close/>
                      <a:moveTo>
                        <a:pt x="8" y="83"/>
                      </a:moveTo>
                      <a:lnTo>
                        <a:pt x="8" y="83"/>
                      </a:lnTo>
                      <a:lnTo>
                        <a:pt x="7" y="77"/>
                      </a:lnTo>
                      <a:lnTo>
                        <a:pt x="7" y="77"/>
                      </a:lnTo>
                      <a:lnTo>
                        <a:pt x="4" y="74"/>
                      </a:lnTo>
                      <a:lnTo>
                        <a:pt x="2" y="74"/>
                      </a:lnTo>
                      <a:lnTo>
                        <a:pt x="2" y="74"/>
                      </a:lnTo>
                      <a:lnTo>
                        <a:pt x="4" y="79"/>
                      </a:lnTo>
                      <a:lnTo>
                        <a:pt x="4" y="79"/>
                      </a:lnTo>
                      <a:lnTo>
                        <a:pt x="5" y="83"/>
                      </a:lnTo>
                      <a:lnTo>
                        <a:pt x="8" y="83"/>
                      </a:lnTo>
                      <a:close/>
                      <a:moveTo>
                        <a:pt x="13" y="97"/>
                      </a:moveTo>
                      <a:lnTo>
                        <a:pt x="13" y="97"/>
                      </a:lnTo>
                      <a:lnTo>
                        <a:pt x="10" y="87"/>
                      </a:lnTo>
                      <a:lnTo>
                        <a:pt x="7" y="89"/>
                      </a:lnTo>
                      <a:lnTo>
                        <a:pt x="7" y="89"/>
                      </a:lnTo>
                      <a:lnTo>
                        <a:pt x="10" y="99"/>
                      </a:lnTo>
                      <a:lnTo>
                        <a:pt x="13" y="97"/>
                      </a:lnTo>
                      <a:close/>
                      <a:moveTo>
                        <a:pt x="15" y="113"/>
                      </a:moveTo>
                      <a:lnTo>
                        <a:pt x="15" y="113"/>
                      </a:lnTo>
                      <a:lnTo>
                        <a:pt x="13" y="103"/>
                      </a:lnTo>
                      <a:lnTo>
                        <a:pt x="11" y="103"/>
                      </a:lnTo>
                      <a:lnTo>
                        <a:pt x="11" y="103"/>
                      </a:lnTo>
                      <a:lnTo>
                        <a:pt x="13" y="113"/>
                      </a:lnTo>
                      <a:lnTo>
                        <a:pt x="15" y="113"/>
                      </a:lnTo>
                      <a:close/>
                      <a:moveTo>
                        <a:pt x="21" y="125"/>
                      </a:moveTo>
                      <a:lnTo>
                        <a:pt x="21" y="125"/>
                      </a:lnTo>
                      <a:lnTo>
                        <a:pt x="18" y="122"/>
                      </a:lnTo>
                      <a:lnTo>
                        <a:pt x="17" y="118"/>
                      </a:lnTo>
                      <a:lnTo>
                        <a:pt x="14" y="118"/>
                      </a:lnTo>
                      <a:lnTo>
                        <a:pt x="14" y="118"/>
                      </a:lnTo>
                      <a:lnTo>
                        <a:pt x="17" y="123"/>
                      </a:lnTo>
                      <a:lnTo>
                        <a:pt x="20" y="126"/>
                      </a:lnTo>
                      <a:lnTo>
                        <a:pt x="21" y="12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44" name="Freeform 1598"/>
                <p:cNvSpPr>
                  <a:spLocks noEditPoints="1"/>
                </p:cNvSpPr>
                <p:nvPr/>
              </p:nvSpPr>
              <p:spPr bwMode="auto">
                <a:xfrm>
                  <a:off x="4564086" y="3297352"/>
                  <a:ext cx="34624" cy="21764"/>
                </a:xfrm>
                <a:custGeom>
                  <a:avLst/>
                  <a:gdLst>
                    <a:gd name="T0" fmla="*/ 9 w 35"/>
                    <a:gd name="T1" fmla="*/ 19 h 22"/>
                    <a:gd name="T2" fmla="*/ 0 w 35"/>
                    <a:gd name="T3" fmla="*/ 19 h 22"/>
                    <a:gd name="T4" fmla="*/ 0 w 35"/>
                    <a:gd name="T5" fmla="*/ 22 h 22"/>
                    <a:gd name="T6" fmla="*/ 9 w 35"/>
                    <a:gd name="T7" fmla="*/ 22 h 22"/>
                    <a:gd name="T8" fmla="*/ 9 w 35"/>
                    <a:gd name="T9" fmla="*/ 19 h 22"/>
                    <a:gd name="T10" fmla="*/ 23 w 35"/>
                    <a:gd name="T11" fmla="*/ 19 h 22"/>
                    <a:gd name="T12" fmla="*/ 13 w 35"/>
                    <a:gd name="T13" fmla="*/ 19 h 22"/>
                    <a:gd name="T14" fmla="*/ 13 w 35"/>
                    <a:gd name="T15" fmla="*/ 22 h 22"/>
                    <a:gd name="T16" fmla="*/ 23 w 35"/>
                    <a:gd name="T17" fmla="*/ 22 h 22"/>
                    <a:gd name="T18" fmla="*/ 23 w 35"/>
                    <a:gd name="T19" fmla="*/ 19 h 22"/>
                    <a:gd name="T20" fmla="*/ 32 w 35"/>
                    <a:gd name="T21" fmla="*/ 15 h 22"/>
                    <a:gd name="T22" fmla="*/ 32 w 35"/>
                    <a:gd name="T23" fmla="*/ 19 h 22"/>
                    <a:gd name="T24" fmla="*/ 29 w 35"/>
                    <a:gd name="T25" fmla="*/ 19 h 22"/>
                    <a:gd name="T26" fmla="*/ 29 w 35"/>
                    <a:gd name="T27" fmla="*/ 22 h 22"/>
                    <a:gd name="T28" fmla="*/ 33 w 35"/>
                    <a:gd name="T29" fmla="*/ 22 h 22"/>
                    <a:gd name="T30" fmla="*/ 35 w 35"/>
                    <a:gd name="T31" fmla="*/ 22 h 22"/>
                    <a:gd name="T32" fmla="*/ 35 w 35"/>
                    <a:gd name="T33" fmla="*/ 15 h 22"/>
                    <a:gd name="T34" fmla="*/ 32 w 35"/>
                    <a:gd name="T35" fmla="*/ 15 h 22"/>
                    <a:gd name="T36" fmla="*/ 32 w 35"/>
                    <a:gd name="T37" fmla="*/ 10 h 22"/>
                    <a:gd name="T38" fmla="*/ 35 w 35"/>
                    <a:gd name="T39" fmla="*/ 10 h 22"/>
                    <a:gd name="T40" fmla="*/ 35 w 35"/>
                    <a:gd name="T41" fmla="*/ 0 h 22"/>
                    <a:gd name="T42" fmla="*/ 32 w 35"/>
                    <a:gd name="T43" fmla="*/ 0 h 22"/>
                    <a:gd name="T44" fmla="*/ 32 w 35"/>
                    <a:gd name="T45" fmla="*/ 1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5" h="22">
                      <a:moveTo>
                        <a:pt x="9" y="19"/>
                      </a:moveTo>
                      <a:lnTo>
                        <a:pt x="0" y="19"/>
                      </a:lnTo>
                      <a:lnTo>
                        <a:pt x="0" y="22"/>
                      </a:lnTo>
                      <a:lnTo>
                        <a:pt x="9" y="22"/>
                      </a:lnTo>
                      <a:lnTo>
                        <a:pt x="9" y="19"/>
                      </a:lnTo>
                      <a:close/>
                      <a:moveTo>
                        <a:pt x="23" y="19"/>
                      </a:moveTo>
                      <a:lnTo>
                        <a:pt x="13" y="19"/>
                      </a:lnTo>
                      <a:lnTo>
                        <a:pt x="13" y="22"/>
                      </a:lnTo>
                      <a:lnTo>
                        <a:pt x="23" y="22"/>
                      </a:lnTo>
                      <a:lnTo>
                        <a:pt x="23" y="19"/>
                      </a:lnTo>
                      <a:close/>
                      <a:moveTo>
                        <a:pt x="32" y="15"/>
                      </a:moveTo>
                      <a:lnTo>
                        <a:pt x="32" y="19"/>
                      </a:lnTo>
                      <a:lnTo>
                        <a:pt x="29" y="19"/>
                      </a:lnTo>
                      <a:lnTo>
                        <a:pt x="29" y="22"/>
                      </a:lnTo>
                      <a:lnTo>
                        <a:pt x="33" y="22"/>
                      </a:lnTo>
                      <a:lnTo>
                        <a:pt x="35" y="22"/>
                      </a:lnTo>
                      <a:lnTo>
                        <a:pt x="35" y="15"/>
                      </a:lnTo>
                      <a:lnTo>
                        <a:pt x="32" y="15"/>
                      </a:lnTo>
                      <a:close/>
                      <a:moveTo>
                        <a:pt x="32" y="10"/>
                      </a:moveTo>
                      <a:lnTo>
                        <a:pt x="35" y="10"/>
                      </a:lnTo>
                      <a:lnTo>
                        <a:pt x="35" y="0"/>
                      </a:lnTo>
                      <a:lnTo>
                        <a:pt x="32" y="0"/>
                      </a:lnTo>
                      <a:lnTo>
                        <a:pt x="32" y="1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45" name="Freeform 1599"/>
                <p:cNvSpPr>
                  <a:spLocks noEditPoints="1"/>
                </p:cNvSpPr>
                <p:nvPr/>
              </p:nvSpPr>
              <p:spPr bwMode="auto">
                <a:xfrm>
                  <a:off x="4605635" y="3402214"/>
                  <a:ext cx="14839" cy="18796"/>
                </a:xfrm>
                <a:custGeom>
                  <a:avLst/>
                  <a:gdLst>
                    <a:gd name="T0" fmla="*/ 10 w 15"/>
                    <a:gd name="T1" fmla="*/ 7 h 19"/>
                    <a:gd name="T2" fmla="*/ 10 w 15"/>
                    <a:gd name="T3" fmla="*/ 7 h 19"/>
                    <a:gd name="T4" fmla="*/ 15 w 15"/>
                    <a:gd name="T5" fmla="*/ 1 h 19"/>
                    <a:gd name="T6" fmla="*/ 12 w 15"/>
                    <a:gd name="T7" fmla="*/ 0 h 19"/>
                    <a:gd name="T8" fmla="*/ 12 w 15"/>
                    <a:gd name="T9" fmla="*/ 0 h 19"/>
                    <a:gd name="T10" fmla="*/ 9 w 15"/>
                    <a:gd name="T11" fmla="*/ 7 h 19"/>
                    <a:gd name="T12" fmla="*/ 10 w 15"/>
                    <a:gd name="T13" fmla="*/ 7 h 19"/>
                    <a:gd name="T14" fmla="*/ 0 w 15"/>
                    <a:gd name="T15" fmla="*/ 19 h 19"/>
                    <a:gd name="T16" fmla="*/ 0 w 15"/>
                    <a:gd name="T17" fmla="*/ 19 h 19"/>
                    <a:gd name="T18" fmla="*/ 4 w 15"/>
                    <a:gd name="T19" fmla="*/ 17 h 19"/>
                    <a:gd name="T20" fmla="*/ 4 w 15"/>
                    <a:gd name="T21" fmla="*/ 17 h 19"/>
                    <a:gd name="T22" fmla="*/ 7 w 15"/>
                    <a:gd name="T23" fmla="*/ 15 h 19"/>
                    <a:gd name="T24" fmla="*/ 7 w 15"/>
                    <a:gd name="T25" fmla="*/ 15 h 19"/>
                    <a:gd name="T26" fmla="*/ 9 w 15"/>
                    <a:gd name="T27" fmla="*/ 13 h 19"/>
                    <a:gd name="T28" fmla="*/ 6 w 15"/>
                    <a:gd name="T29" fmla="*/ 12 h 19"/>
                    <a:gd name="T30" fmla="*/ 6 w 15"/>
                    <a:gd name="T31" fmla="*/ 12 h 19"/>
                    <a:gd name="T32" fmla="*/ 6 w 15"/>
                    <a:gd name="T33" fmla="*/ 13 h 19"/>
                    <a:gd name="T34" fmla="*/ 6 w 15"/>
                    <a:gd name="T35" fmla="*/ 13 h 19"/>
                    <a:gd name="T36" fmla="*/ 3 w 15"/>
                    <a:gd name="T37" fmla="*/ 16 h 19"/>
                    <a:gd name="T38" fmla="*/ 3 w 15"/>
                    <a:gd name="T39" fmla="*/ 16 h 19"/>
                    <a:gd name="T40" fmla="*/ 0 w 15"/>
                    <a:gd name="T41" fmla="*/ 16 h 19"/>
                    <a:gd name="T42" fmla="*/ 0 w 15"/>
                    <a:gd name="T43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5" h="19">
                      <a:moveTo>
                        <a:pt x="10" y="7"/>
                      </a:moveTo>
                      <a:lnTo>
                        <a:pt x="10" y="7"/>
                      </a:lnTo>
                      <a:lnTo>
                        <a:pt x="15" y="1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9" y="7"/>
                      </a:lnTo>
                      <a:lnTo>
                        <a:pt x="10" y="7"/>
                      </a:lnTo>
                      <a:close/>
                      <a:moveTo>
                        <a:pt x="0" y="19"/>
                      </a:moveTo>
                      <a:lnTo>
                        <a:pt x="0" y="19"/>
                      </a:lnTo>
                      <a:lnTo>
                        <a:pt x="4" y="17"/>
                      </a:lnTo>
                      <a:lnTo>
                        <a:pt x="4" y="17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9" y="13"/>
                      </a:lnTo>
                      <a:lnTo>
                        <a:pt x="6" y="12"/>
                      </a:lnTo>
                      <a:lnTo>
                        <a:pt x="6" y="12"/>
                      </a:lnTo>
                      <a:lnTo>
                        <a:pt x="6" y="13"/>
                      </a:lnTo>
                      <a:lnTo>
                        <a:pt x="6" y="13"/>
                      </a:lnTo>
                      <a:lnTo>
                        <a:pt x="3" y="16"/>
                      </a:lnTo>
                      <a:lnTo>
                        <a:pt x="3" y="16"/>
                      </a:lnTo>
                      <a:lnTo>
                        <a:pt x="0" y="16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46" name="Freeform 1600"/>
                <p:cNvSpPr>
                  <a:spLocks noEditPoints="1"/>
                </p:cNvSpPr>
                <p:nvPr/>
              </p:nvSpPr>
              <p:spPr bwMode="auto">
                <a:xfrm>
                  <a:off x="4601678" y="3140060"/>
                  <a:ext cx="572781" cy="269079"/>
                </a:xfrm>
                <a:custGeom>
                  <a:avLst/>
                  <a:gdLst>
                    <a:gd name="T0" fmla="*/ 502 w 579"/>
                    <a:gd name="T1" fmla="*/ 19 h 272"/>
                    <a:gd name="T2" fmla="*/ 502 w 579"/>
                    <a:gd name="T3" fmla="*/ 19 h 272"/>
                    <a:gd name="T4" fmla="*/ 523 w 579"/>
                    <a:gd name="T5" fmla="*/ 39 h 272"/>
                    <a:gd name="T6" fmla="*/ 525 w 579"/>
                    <a:gd name="T7" fmla="*/ 43 h 272"/>
                    <a:gd name="T8" fmla="*/ 549 w 579"/>
                    <a:gd name="T9" fmla="*/ 55 h 272"/>
                    <a:gd name="T10" fmla="*/ 579 w 579"/>
                    <a:gd name="T11" fmla="*/ 59 h 272"/>
                    <a:gd name="T12" fmla="*/ 573 w 579"/>
                    <a:gd name="T13" fmla="*/ 74 h 272"/>
                    <a:gd name="T14" fmla="*/ 570 w 579"/>
                    <a:gd name="T15" fmla="*/ 78 h 272"/>
                    <a:gd name="T16" fmla="*/ 559 w 579"/>
                    <a:gd name="T17" fmla="*/ 88 h 272"/>
                    <a:gd name="T18" fmla="*/ 547 w 579"/>
                    <a:gd name="T19" fmla="*/ 98 h 272"/>
                    <a:gd name="T20" fmla="*/ 533 w 579"/>
                    <a:gd name="T21" fmla="*/ 104 h 272"/>
                    <a:gd name="T22" fmla="*/ 514 w 579"/>
                    <a:gd name="T23" fmla="*/ 110 h 272"/>
                    <a:gd name="T24" fmla="*/ 505 w 579"/>
                    <a:gd name="T25" fmla="*/ 116 h 272"/>
                    <a:gd name="T26" fmla="*/ 492 w 579"/>
                    <a:gd name="T27" fmla="*/ 122 h 272"/>
                    <a:gd name="T28" fmla="*/ 468 w 579"/>
                    <a:gd name="T29" fmla="*/ 120 h 272"/>
                    <a:gd name="T30" fmla="*/ 459 w 579"/>
                    <a:gd name="T31" fmla="*/ 120 h 272"/>
                    <a:gd name="T32" fmla="*/ 444 w 579"/>
                    <a:gd name="T33" fmla="*/ 130 h 272"/>
                    <a:gd name="T34" fmla="*/ 424 w 579"/>
                    <a:gd name="T35" fmla="*/ 127 h 272"/>
                    <a:gd name="T36" fmla="*/ 421 w 579"/>
                    <a:gd name="T37" fmla="*/ 125 h 272"/>
                    <a:gd name="T38" fmla="*/ 407 w 579"/>
                    <a:gd name="T39" fmla="*/ 117 h 272"/>
                    <a:gd name="T40" fmla="*/ 392 w 579"/>
                    <a:gd name="T41" fmla="*/ 117 h 272"/>
                    <a:gd name="T42" fmla="*/ 376 w 579"/>
                    <a:gd name="T43" fmla="*/ 117 h 272"/>
                    <a:gd name="T44" fmla="*/ 353 w 579"/>
                    <a:gd name="T45" fmla="*/ 126 h 272"/>
                    <a:gd name="T46" fmla="*/ 343 w 579"/>
                    <a:gd name="T47" fmla="*/ 127 h 272"/>
                    <a:gd name="T48" fmla="*/ 323 w 579"/>
                    <a:gd name="T49" fmla="*/ 130 h 272"/>
                    <a:gd name="T50" fmla="*/ 314 w 579"/>
                    <a:gd name="T51" fmla="*/ 129 h 272"/>
                    <a:gd name="T52" fmla="*/ 299 w 579"/>
                    <a:gd name="T53" fmla="*/ 129 h 272"/>
                    <a:gd name="T54" fmla="*/ 284 w 579"/>
                    <a:gd name="T55" fmla="*/ 117 h 272"/>
                    <a:gd name="T56" fmla="*/ 286 w 579"/>
                    <a:gd name="T57" fmla="*/ 114 h 272"/>
                    <a:gd name="T58" fmla="*/ 278 w 579"/>
                    <a:gd name="T59" fmla="*/ 117 h 272"/>
                    <a:gd name="T60" fmla="*/ 259 w 579"/>
                    <a:gd name="T61" fmla="*/ 117 h 272"/>
                    <a:gd name="T62" fmla="*/ 243 w 579"/>
                    <a:gd name="T63" fmla="*/ 112 h 272"/>
                    <a:gd name="T64" fmla="*/ 239 w 579"/>
                    <a:gd name="T65" fmla="*/ 110 h 272"/>
                    <a:gd name="T66" fmla="*/ 220 w 579"/>
                    <a:gd name="T67" fmla="*/ 114 h 272"/>
                    <a:gd name="T68" fmla="*/ 200 w 579"/>
                    <a:gd name="T69" fmla="*/ 114 h 272"/>
                    <a:gd name="T70" fmla="*/ 188 w 579"/>
                    <a:gd name="T71" fmla="*/ 114 h 272"/>
                    <a:gd name="T72" fmla="*/ 188 w 579"/>
                    <a:gd name="T73" fmla="*/ 112 h 272"/>
                    <a:gd name="T74" fmla="*/ 182 w 579"/>
                    <a:gd name="T75" fmla="*/ 117 h 272"/>
                    <a:gd name="T76" fmla="*/ 169 w 579"/>
                    <a:gd name="T77" fmla="*/ 126 h 272"/>
                    <a:gd name="T78" fmla="*/ 155 w 579"/>
                    <a:gd name="T79" fmla="*/ 123 h 272"/>
                    <a:gd name="T80" fmla="*/ 139 w 579"/>
                    <a:gd name="T81" fmla="*/ 122 h 272"/>
                    <a:gd name="T82" fmla="*/ 118 w 579"/>
                    <a:gd name="T83" fmla="*/ 117 h 272"/>
                    <a:gd name="T84" fmla="*/ 118 w 579"/>
                    <a:gd name="T85" fmla="*/ 114 h 272"/>
                    <a:gd name="T86" fmla="*/ 110 w 579"/>
                    <a:gd name="T87" fmla="*/ 132 h 272"/>
                    <a:gd name="T88" fmla="*/ 103 w 579"/>
                    <a:gd name="T89" fmla="*/ 161 h 272"/>
                    <a:gd name="T90" fmla="*/ 100 w 579"/>
                    <a:gd name="T91" fmla="*/ 161 h 272"/>
                    <a:gd name="T92" fmla="*/ 100 w 579"/>
                    <a:gd name="T93" fmla="*/ 191 h 272"/>
                    <a:gd name="T94" fmla="*/ 98 w 579"/>
                    <a:gd name="T95" fmla="*/ 191 h 272"/>
                    <a:gd name="T96" fmla="*/ 91 w 579"/>
                    <a:gd name="T97" fmla="*/ 203 h 272"/>
                    <a:gd name="T98" fmla="*/ 85 w 579"/>
                    <a:gd name="T99" fmla="*/ 209 h 272"/>
                    <a:gd name="T100" fmla="*/ 74 w 579"/>
                    <a:gd name="T101" fmla="*/ 214 h 272"/>
                    <a:gd name="T102" fmla="*/ 71 w 579"/>
                    <a:gd name="T103" fmla="*/ 229 h 272"/>
                    <a:gd name="T104" fmla="*/ 68 w 579"/>
                    <a:gd name="T105" fmla="*/ 243 h 272"/>
                    <a:gd name="T106" fmla="*/ 59 w 579"/>
                    <a:gd name="T107" fmla="*/ 256 h 272"/>
                    <a:gd name="T108" fmla="*/ 50 w 579"/>
                    <a:gd name="T109" fmla="*/ 269 h 272"/>
                    <a:gd name="T110" fmla="*/ 27 w 579"/>
                    <a:gd name="T111" fmla="*/ 271 h 272"/>
                    <a:gd name="T112" fmla="*/ 10 w 579"/>
                    <a:gd name="T113" fmla="*/ 264 h 272"/>
                    <a:gd name="T114" fmla="*/ 7 w 579"/>
                    <a:gd name="T115" fmla="*/ 264 h 2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579" h="272">
                      <a:moveTo>
                        <a:pt x="508" y="6"/>
                      </a:moveTo>
                      <a:lnTo>
                        <a:pt x="508" y="6"/>
                      </a:lnTo>
                      <a:lnTo>
                        <a:pt x="511" y="1"/>
                      </a:lnTo>
                      <a:lnTo>
                        <a:pt x="508" y="0"/>
                      </a:lnTo>
                      <a:lnTo>
                        <a:pt x="508" y="0"/>
                      </a:lnTo>
                      <a:lnTo>
                        <a:pt x="505" y="4"/>
                      </a:lnTo>
                      <a:lnTo>
                        <a:pt x="508" y="6"/>
                      </a:lnTo>
                      <a:close/>
                      <a:moveTo>
                        <a:pt x="502" y="19"/>
                      </a:moveTo>
                      <a:lnTo>
                        <a:pt x="502" y="19"/>
                      </a:lnTo>
                      <a:lnTo>
                        <a:pt x="502" y="19"/>
                      </a:lnTo>
                      <a:lnTo>
                        <a:pt x="502" y="19"/>
                      </a:lnTo>
                      <a:lnTo>
                        <a:pt x="505" y="10"/>
                      </a:lnTo>
                      <a:lnTo>
                        <a:pt x="502" y="9"/>
                      </a:lnTo>
                      <a:lnTo>
                        <a:pt x="502" y="9"/>
                      </a:lnTo>
                      <a:lnTo>
                        <a:pt x="499" y="17"/>
                      </a:lnTo>
                      <a:lnTo>
                        <a:pt x="499" y="19"/>
                      </a:lnTo>
                      <a:lnTo>
                        <a:pt x="499" y="20"/>
                      </a:lnTo>
                      <a:lnTo>
                        <a:pt x="502" y="19"/>
                      </a:lnTo>
                      <a:close/>
                      <a:moveTo>
                        <a:pt x="511" y="30"/>
                      </a:moveTo>
                      <a:lnTo>
                        <a:pt x="511" y="30"/>
                      </a:lnTo>
                      <a:lnTo>
                        <a:pt x="504" y="23"/>
                      </a:lnTo>
                      <a:lnTo>
                        <a:pt x="501" y="25"/>
                      </a:lnTo>
                      <a:lnTo>
                        <a:pt x="501" y="25"/>
                      </a:lnTo>
                      <a:lnTo>
                        <a:pt x="510" y="32"/>
                      </a:lnTo>
                      <a:lnTo>
                        <a:pt x="511" y="30"/>
                      </a:lnTo>
                      <a:close/>
                      <a:moveTo>
                        <a:pt x="523" y="39"/>
                      </a:moveTo>
                      <a:lnTo>
                        <a:pt x="523" y="39"/>
                      </a:lnTo>
                      <a:lnTo>
                        <a:pt x="514" y="33"/>
                      </a:lnTo>
                      <a:lnTo>
                        <a:pt x="512" y="35"/>
                      </a:lnTo>
                      <a:lnTo>
                        <a:pt x="512" y="35"/>
                      </a:lnTo>
                      <a:lnTo>
                        <a:pt x="521" y="41"/>
                      </a:lnTo>
                      <a:lnTo>
                        <a:pt x="523" y="39"/>
                      </a:lnTo>
                      <a:close/>
                      <a:moveTo>
                        <a:pt x="536" y="48"/>
                      </a:moveTo>
                      <a:lnTo>
                        <a:pt x="536" y="48"/>
                      </a:lnTo>
                      <a:lnTo>
                        <a:pt x="527" y="42"/>
                      </a:lnTo>
                      <a:lnTo>
                        <a:pt x="525" y="43"/>
                      </a:lnTo>
                      <a:lnTo>
                        <a:pt x="525" y="43"/>
                      </a:lnTo>
                      <a:lnTo>
                        <a:pt x="534" y="49"/>
                      </a:lnTo>
                      <a:lnTo>
                        <a:pt x="536" y="48"/>
                      </a:lnTo>
                      <a:close/>
                      <a:moveTo>
                        <a:pt x="549" y="54"/>
                      </a:moveTo>
                      <a:lnTo>
                        <a:pt x="549" y="54"/>
                      </a:lnTo>
                      <a:lnTo>
                        <a:pt x="540" y="49"/>
                      </a:lnTo>
                      <a:lnTo>
                        <a:pt x="538" y="52"/>
                      </a:lnTo>
                      <a:lnTo>
                        <a:pt x="538" y="52"/>
                      </a:lnTo>
                      <a:lnTo>
                        <a:pt x="549" y="55"/>
                      </a:lnTo>
                      <a:lnTo>
                        <a:pt x="549" y="54"/>
                      </a:lnTo>
                      <a:close/>
                      <a:moveTo>
                        <a:pt x="565" y="56"/>
                      </a:moveTo>
                      <a:lnTo>
                        <a:pt x="565" y="56"/>
                      </a:lnTo>
                      <a:lnTo>
                        <a:pt x="554" y="55"/>
                      </a:lnTo>
                      <a:lnTo>
                        <a:pt x="553" y="56"/>
                      </a:lnTo>
                      <a:lnTo>
                        <a:pt x="553" y="56"/>
                      </a:lnTo>
                      <a:lnTo>
                        <a:pt x="563" y="59"/>
                      </a:lnTo>
                      <a:lnTo>
                        <a:pt x="565" y="56"/>
                      </a:lnTo>
                      <a:close/>
                      <a:moveTo>
                        <a:pt x="579" y="59"/>
                      </a:moveTo>
                      <a:lnTo>
                        <a:pt x="579" y="59"/>
                      </a:lnTo>
                      <a:lnTo>
                        <a:pt x="579" y="59"/>
                      </a:lnTo>
                      <a:lnTo>
                        <a:pt x="569" y="58"/>
                      </a:lnTo>
                      <a:lnTo>
                        <a:pt x="569" y="59"/>
                      </a:lnTo>
                      <a:lnTo>
                        <a:pt x="569" y="59"/>
                      </a:lnTo>
                      <a:lnTo>
                        <a:pt x="578" y="61"/>
                      </a:lnTo>
                      <a:lnTo>
                        <a:pt x="578" y="61"/>
                      </a:lnTo>
                      <a:lnTo>
                        <a:pt x="579" y="59"/>
                      </a:lnTo>
                      <a:close/>
                      <a:moveTo>
                        <a:pt x="573" y="74"/>
                      </a:moveTo>
                      <a:lnTo>
                        <a:pt x="573" y="74"/>
                      </a:lnTo>
                      <a:lnTo>
                        <a:pt x="579" y="65"/>
                      </a:lnTo>
                      <a:lnTo>
                        <a:pt x="578" y="64"/>
                      </a:lnTo>
                      <a:lnTo>
                        <a:pt x="578" y="64"/>
                      </a:lnTo>
                      <a:lnTo>
                        <a:pt x="572" y="72"/>
                      </a:lnTo>
                      <a:lnTo>
                        <a:pt x="573" y="74"/>
                      </a:lnTo>
                      <a:close/>
                      <a:moveTo>
                        <a:pt x="563" y="85"/>
                      </a:moveTo>
                      <a:lnTo>
                        <a:pt x="563" y="85"/>
                      </a:lnTo>
                      <a:lnTo>
                        <a:pt x="570" y="78"/>
                      </a:lnTo>
                      <a:lnTo>
                        <a:pt x="567" y="77"/>
                      </a:lnTo>
                      <a:lnTo>
                        <a:pt x="567" y="77"/>
                      </a:lnTo>
                      <a:lnTo>
                        <a:pt x="562" y="84"/>
                      </a:lnTo>
                      <a:lnTo>
                        <a:pt x="563" y="85"/>
                      </a:lnTo>
                      <a:close/>
                      <a:moveTo>
                        <a:pt x="552" y="96"/>
                      </a:moveTo>
                      <a:lnTo>
                        <a:pt x="552" y="96"/>
                      </a:lnTo>
                      <a:lnTo>
                        <a:pt x="554" y="93"/>
                      </a:lnTo>
                      <a:lnTo>
                        <a:pt x="554" y="93"/>
                      </a:lnTo>
                      <a:lnTo>
                        <a:pt x="559" y="88"/>
                      </a:lnTo>
                      <a:lnTo>
                        <a:pt x="557" y="87"/>
                      </a:lnTo>
                      <a:lnTo>
                        <a:pt x="557" y="87"/>
                      </a:lnTo>
                      <a:lnTo>
                        <a:pt x="553" y="91"/>
                      </a:lnTo>
                      <a:lnTo>
                        <a:pt x="553" y="91"/>
                      </a:lnTo>
                      <a:lnTo>
                        <a:pt x="550" y="94"/>
                      </a:lnTo>
                      <a:lnTo>
                        <a:pt x="552" y="96"/>
                      </a:lnTo>
                      <a:close/>
                      <a:moveTo>
                        <a:pt x="538" y="104"/>
                      </a:moveTo>
                      <a:lnTo>
                        <a:pt x="538" y="104"/>
                      </a:lnTo>
                      <a:lnTo>
                        <a:pt x="547" y="98"/>
                      </a:lnTo>
                      <a:lnTo>
                        <a:pt x="546" y="97"/>
                      </a:lnTo>
                      <a:lnTo>
                        <a:pt x="546" y="97"/>
                      </a:lnTo>
                      <a:lnTo>
                        <a:pt x="537" y="101"/>
                      </a:lnTo>
                      <a:lnTo>
                        <a:pt x="538" y="104"/>
                      </a:lnTo>
                      <a:close/>
                      <a:moveTo>
                        <a:pt x="524" y="112"/>
                      </a:moveTo>
                      <a:lnTo>
                        <a:pt x="524" y="112"/>
                      </a:lnTo>
                      <a:lnTo>
                        <a:pt x="534" y="107"/>
                      </a:lnTo>
                      <a:lnTo>
                        <a:pt x="533" y="104"/>
                      </a:lnTo>
                      <a:lnTo>
                        <a:pt x="533" y="104"/>
                      </a:lnTo>
                      <a:lnTo>
                        <a:pt x="524" y="109"/>
                      </a:lnTo>
                      <a:lnTo>
                        <a:pt x="524" y="112"/>
                      </a:lnTo>
                      <a:close/>
                      <a:moveTo>
                        <a:pt x="511" y="114"/>
                      </a:moveTo>
                      <a:lnTo>
                        <a:pt x="511" y="114"/>
                      </a:lnTo>
                      <a:lnTo>
                        <a:pt x="515" y="113"/>
                      </a:lnTo>
                      <a:lnTo>
                        <a:pt x="520" y="112"/>
                      </a:lnTo>
                      <a:lnTo>
                        <a:pt x="520" y="109"/>
                      </a:lnTo>
                      <a:lnTo>
                        <a:pt x="520" y="109"/>
                      </a:lnTo>
                      <a:lnTo>
                        <a:pt x="514" y="110"/>
                      </a:lnTo>
                      <a:lnTo>
                        <a:pt x="510" y="113"/>
                      </a:lnTo>
                      <a:lnTo>
                        <a:pt x="511" y="114"/>
                      </a:lnTo>
                      <a:close/>
                      <a:moveTo>
                        <a:pt x="498" y="123"/>
                      </a:moveTo>
                      <a:lnTo>
                        <a:pt x="498" y="123"/>
                      </a:lnTo>
                      <a:lnTo>
                        <a:pt x="499" y="123"/>
                      </a:lnTo>
                      <a:lnTo>
                        <a:pt x="499" y="123"/>
                      </a:lnTo>
                      <a:lnTo>
                        <a:pt x="507" y="117"/>
                      </a:lnTo>
                      <a:lnTo>
                        <a:pt x="505" y="116"/>
                      </a:lnTo>
                      <a:lnTo>
                        <a:pt x="505" y="116"/>
                      </a:lnTo>
                      <a:lnTo>
                        <a:pt x="498" y="120"/>
                      </a:lnTo>
                      <a:lnTo>
                        <a:pt x="498" y="120"/>
                      </a:lnTo>
                      <a:lnTo>
                        <a:pt x="496" y="122"/>
                      </a:lnTo>
                      <a:lnTo>
                        <a:pt x="498" y="123"/>
                      </a:lnTo>
                      <a:close/>
                      <a:moveTo>
                        <a:pt x="482" y="123"/>
                      </a:moveTo>
                      <a:lnTo>
                        <a:pt x="482" y="123"/>
                      </a:lnTo>
                      <a:lnTo>
                        <a:pt x="492" y="125"/>
                      </a:lnTo>
                      <a:lnTo>
                        <a:pt x="492" y="122"/>
                      </a:lnTo>
                      <a:lnTo>
                        <a:pt x="492" y="122"/>
                      </a:lnTo>
                      <a:lnTo>
                        <a:pt x="482" y="120"/>
                      </a:lnTo>
                      <a:lnTo>
                        <a:pt x="482" y="123"/>
                      </a:lnTo>
                      <a:close/>
                      <a:moveTo>
                        <a:pt x="468" y="120"/>
                      </a:moveTo>
                      <a:lnTo>
                        <a:pt x="468" y="120"/>
                      </a:lnTo>
                      <a:lnTo>
                        <a:pt x="478" y="122"/>
                      </a:lnTo>
                      <a:lnTo>
                        <a:pt x="478" y="120"/>
                      </a:lnTo>
                      <a:lnTo>
                        <a:pt x="478" y="120"/>
                      </a:lnTo>
                      <a:lnTo>
                        <a:pt x="468" y="119"/>
                      </a:lnTo>
                      <a:lnTo>
                        <a:pt x="468" y="120"/>
                      </a:lnTo>
                      <a:close/>
                      <a:moveTo>
                        <a:pt x="456" y="127"/>
                      </a:moveTo>
                      <a:lnTo>
                        <a:pt x="456" y="127"/>
                      </a:lnTo>
                      <a:lnTo>
                        <a:pt x="459" y="123"/>
                      </a:lnTo>
                      <a:lnTo>
                        <a:pt x="459" y="123"/>
                      </a:lnTo>
                      <a:lnTo>
                        <a:pt x="460" y="122"/>
                      </a:lnTo>
                      <a:lnTo>
                        <a:pt x="462" y="120"/>
                      </a:lnTo>
                      <a:lnTo>
                        <a:pt x="462" y="119"/>
                      </a:lnTo>
                      <a:lnTo>
                        <a:pt x="462" y="119"/>
                      </a:lnTo>
                      <a:lnTo>
                        <a:pt x="459" y="120"/>
                      </a:lnTo>
                      <a:lnTo>
                        <a:pt x="457" y="122"/>
                      </a:lnTo>
                      <a:lnTo>
                        <a:pt x="457" y="122"/>
                      </a:lnTo>
                      <a:lnTo>
                        <a:pt x="454" y="125"/>
                      </a:lnTo>
                      <a:lnTo>
                        <a:pt x="456" y="127"/>
                      </a:lnTo>
                      <a:lnTo>
                        <a:pt x="456" y="127"/>
                      </a:lnTo>
                      <a:close/>
                      <a:moveTo>
                        <a:pt x="440" y="130"/>
                      </a:moveTo>
                      <a:lnTo>
                        <a:pt x="440" y="130"/>
                      </a:lnTo>
                      <a:lnTo>
                        <a:pt x="444" y="130"/>
                      </a:lnTo>
                      <a:lnTo>
                        <a:pt x="444" y="130"/>
                      </a:lnTo>
                      <a:lnTo>
                        <a:pt x="450" y="129"/>
                      </a:lnTo>
                      <a:lnTo>
                        <a:pt x="450" y="126"/>
                      </a:lnTo>
                      <a:lnTo>
                        <a:pt x="450" y="126"/>
                      </a:lnTo>
                      <a:lnTo>
                        <a:pt x="444" y="127"/>
                      </a:lnTo>
                      <a:lnTo>
                        <a:pt x="444" y="127"/>
                      </a:lnTo>
                      <a:lnTo>
                        <a:pt x="440" y="127"/>
                      </a:lnTo>
                      <a:lnTo>
                        <a:pt x="440" y="130"/>
                      </a:lnTo>
                      <a:close/>
                      <a:moveTo>
                        <a:pt x="424" y="127"/>
                      </a:moveTo>
                      <a:lnTo>
                        <a:pt x="424" y="127"/>
                      </a:lnTo>
                      <a:lnTo>
                        <a:pt x="434" y="130"/>
                      </a:lnTo>
                      <a:lnTo>
                        <a:pt x="436" y="127"/>
                      </a:lnTo>
                      <a:lnTo>
                        <a:pt x="436" y="127"/>
                      </a:lnTo>
                      <a:lnTo>
                        <a:pt x="425" y="126"/>
                      </a:lnTo>
                      <a:lnTo>
                        <a:pt x="424" y="127"/>
                      </a:lnTo>
                      <a:close/>
                      <a:moveTo>
                        <a:pt x="410" y="122"/>
                      </a:moveTo>
                      <a:lnTo>
                        <a:pt x="410" y="122"/>
                      </a:lnTo>
                      <a:lnTo>
                        <a:pt x="420" y="126"/>
                      </a:lnTo>
                      <a:lnTo>
                        <a:pt x="421" y="125"/>
                      </a:lnTo>
                      <a:lnTo>
                        <a:pt x="421" y="125"/>
                      </a:lnTo>
                      <a:lnTo>
                        <a:pt x="411" y="120"/>
                      </a:lnTo>
                      <a:lnTo>
                        <a:pt x="410" y="122"/>
                      </a:lnTo>
                      <a:close/>
                      <a:moveTo>
                        <a:pt x="397" y="117"/>
                      </a:moveTo>
                      <a:lnTo>
                        <a:pt x="397" y="117"/>
                      </a:lnTo>
                      <a:lnTo>
                        <a:pt x="404" y="119"/>
                      </a:lnTo>
                      <a:lnTo>
                        <a:pt x="404" y="119"/>
                      </a:lnTo>
                      <a:lnTo>
                        <a:pt x="405" y="120"/>
                      </a:lnTo>
                      <a:lnTo>
                        <a:pt x="407" y="117"/>
                      </a:lnTo>
                      <a:lnTo>
                        <a:pt x="407" y="117"/>
                      </a:lnTo>
                      <a:lnTo>
                        <a:pt x="405" y="117"/>
                      </a:lnTo>
                      <a:lnTo>
                        <a:pt x="405" y="117"/>
                      </a:lnTo>
                      <a:lnTo>
                        <a:pt x="401" y="116"/>
                      </a:lnTo>
                      <a:lnTo>
                        <a:pt x="397" y="114"/>
                      </a:lnTo>
                      <a:lnTo>
                        <a:pt x="397" y="117"/>
                      </a:lnTo>
                      <a:close/>
                      <a:moveTo>
                        <a:pt x="382" y="119"/>
                      </a:moveTo>
                      <a:lnTo>
                        <a:pt x="382" y="119"/>
                      </a:lnTo>
                      <a:lnTo>
                        <a:pt x="392" y="117"/>
                      </a:lnTo>
                      <a:lnTo>
                        <a:pt x="391" y="114"/>
                      </a:lnTo>
                      <a:lnTo>
                        <a:pt x="391" y="114"/>
                      </a:lnTo>
                      <a:lnTo>
                        <a:pt x="381" y="116"/>
                      </a:lnTo>
                      <a:lnTo>
                        <a:pt x="382" y="119"/>
                      </a:lnTo>
                      <a:close/>
                      <a:moveTo>
                        <a:pt x="368" y="122"/>
                      </a:moveTo>
                      <a:lnTo>
                        <a:pt x="368" y="122"/>
                      </a:lnTo>
                      <a:lnTo>
                        <a:pt x="376" y="119"/>
                      </a:lnTo>
                      <a:lnTo>
                        <a:pt x="376" y="117"/>
                      </a:lnTo>
                      <a:lnTo>
                        <a:pt x="376" y="117"/>
                      </a:lnTo>
                      <a:lnTo>
                        <a:pt x="366" y="119"/>
                      </a:lnTo>
                      <a:lnTo>
                        <a:pt x="368" y="122"/>
                      </a:lnTo>
                      <a:close/>
                      <a:moveTo>
                        <a:pt x="353" y="126"/>
                      </a:moveTo>
                      <a:lnTo>
                        <a:pt x="353" y="126"/>
                      </a:lnTo>
                      <a:lnTo>
                        <a:pt x="362" y="123"/>
                      </a:lnTo>
                      <a:lnTo>
                        <a:pt x="362" y="120"/>
                      </a:lnTo>
                      <a:lnTo>
                        <a:pt x="362" y="120"/>
                      </a:lnTo>
                      <a:lnTo>
                        <a:pt x="352" y="125"/>
                      </a:lnTo>
                      <a:lnTo>
                        <a:pt x="353" y="126"/>
                      </a:lnTo>
                      <a:close/>
                      <a:moveTo>
                        <a:pt x="339" y="132"/>
                      </a:moveTo>
                      <a:lnTo>
                        <a:pt x="339" y="132"/>
                      </a:lnTo>
                      <a:lnTo>
                        <a:pt x="344" y="130"/>
                      </a:lnTo>
                      <a:lnTo>
                        <a:pt x="349" y="129"/>
                      </a:lnTo>
                      <a:lnTo>
                        <a:pt x="349" y="129"/>
                      </a:lnTo>
                      <a:lnTo>
                        <a:pt x="347" y="127"/>
                      </a:lnTo>
                      <a:lnTo>
                        <a:pt x="347" y="127"/>
                      </a:lnTo>
                      <a:lnTo>
                        <a:pt x="347" y="127"/>
                      </a:lnTo>
                      <a:lnTo>
                        <a:pt x="343" y="127"/>
                      </a:lnTo>
                      <a:lnTo>
                        <a:pt x="339" y="129"/>
                      </a:lnTo>
                      <a:lnTo>
                        <a:pt x="339" y="132"/>
                      </a:lnTo>
                      <a:close/>
                      <a:moveTo>
                        <a:pt x="323" y="130"/>
                      </a:moveTo>
                      <a:lnTo>
                        <a:pt x="323" y="130"/>
                      </a:lnTo>
                      <a:lnTo>
                        <a:pt x="333" y="132"/>
                      </a:lnTo>
                      <a:lnTo>
                        <a:pt x="333" y="129"/>
                      </a:lnTo>
                      <a:lnTo>
                        <a:pt x="333" y="129"/>
                      </a:lnTo>
                      <a:lnTo>
                        <a:pt x="323" y="129"/>
                      </a:lnTo>
                      <a:lnTo>
                        <a:pt x="323" y="130"/>
                      </a:lnTo>
                      <a:close/>
                      <a:moveTo>
                        <a:pt x="308" y="130"/>
                      </a:moveTo>
                      <a:lnTo>
                        <a:pt x="308" y="130"/>
                      </a:lnTo>
                      <a:lnTo>
                        <a:pt x="308" y="130"/>
                      </a:lnTo>
                      <a:lnTo>
                        <a:pt x="314" y="130"/>
                      </a:lnTo>
                      <a:lnTo>
                        <a:pt x="314" y="130"/>
                      </a:lnTo>
                      <a:lnTo>
                        <a:pt x="318" y="130"/>
                      </a:lnTo>
                      <a:lnTo>
                        <a:pt x="318" y="129"/>
                      </a:lnTo>
                      <a:lnTo>
                        <a:pt x="318" y="129"/>
                      </a:lnTo>
                      <a:lnTo>
                        <a:pt x="314" y="129"/>
                      </a:lnTo>
                      <a:lnTo>
                        <a:pt x="314" y="129"/>
                      </a:lnTo>
                      <a:lnTo>
                        <a:pt x="308" y="129"/>
                      </a:lnTo>
                      <a:lnTo>
                        <a:pt x="308" y="129"/>
                      </a:lnTo>
                      <a:lnTo>
                        <a:pt x="308" y="130"/>
                      </a:lnTo>
                      <a:close/>
                      <a:moveTo>
                        <a:pt x="295" y="122"/>
                      </a:moveTo>
                      <a:lnTo>
                        <a:pt x="295" y="122"/>
                      </a:lnTo>
                      <a:lnTo>
                        <a:pt x="298" y="126"/>
                      </a:lnTo>
                      <a:lnTo>
                        <a:pt x="298" y="126"/>
                      </a:lnTo>
                      <a:lnTo>
                        <a:pt x="299" y="129"/>
                      </a:lnTo>
                      <a:lnTo>
                        <a:pt x="302" y="130"/>
                      </a:lnTo>
                      <a:lnTo>
                        <a:pt x="302" y="127"/>
                      </a:lnTo>
                      <a:lnTo>
                        <a:pt x="302" y="127"/>
                      </a:lnTo>
                      <a:lnTo>
                        <a:pt x="299" y="126"/>
                      </a:lnTo>
                      <a:lnTo>
                        <a:pt x="299" y="126"/>
                      </a:lnTo>
                      <a:lnTo>
                        <a:pt x="297" y="120"/>
                      </a:lnTo>
                      <a:lnTo>
                        <a:pt x="295" y="122"/>
                      </a:lnTo>
                      <a:close/>
                      <a:moveTo>
                        <a:pt x="284" y="117"/>
                      </a:moveTo>
                      <a:lnTo>
                        <a:pt x="284" y="117"/>
                      </a:lnTo>
                      <a:lnTo>
                        <a:pt x="286" y="117"/>
                      </a:lnTo>
                      <a:lnTo>
                        <a:pt x="286" y="117"/>
                      </a:lnTo>
                      <a:lnTo>
                        <a:pt x="289" y="117"/>
                      </a:lnTo>
                      <a:lnTo>
                        <a:pt x="292" y="119"/>
                      </a:lnTo>
                      <a:lnTo>
                        <a:pt x="294" y="117"/>
                      </a:lnTo>
                      <a:lnTo>
                        <a:pt x="294" y="117"/>
                      </a:lnTo>
                      <a:lnTo>
                        <a:pt x="294" y="117"/>
                      </a:lnTo>
                      <a:lnTo>
                        <a:pt x="291" y="114"/>
                      </a:lnTo>
                      <a:lnTo>
                        <a:pt x="286" y="114"/>
                      </a:lnTo>
                      <a:lnTo>
                        <a:pt x="286" y="114"/>
                      </a:lnTo>
                      <a:lnTo>
                        <a:pt x="282" y="116"/>
                      </a:lnTo>
                      <a:lnTo>
                        <a:pt x="284" y="117"/>
                      </a:lnTo>
                      <a:close/>
                      <a:moveTo>
                        <a:pt x="271" y="125"/>
                      </a:moveTo>
                      <a:lnTo>
                        <a:pt x="271" y="125"/>
                      </a:lnTo>
                      <a:lnTo>
                        <a:pt x="273" y="125"/>
                      </a:lnTo>
                      <a:lnTo>
                        <a:pt x="273" y="125"/>
                      </a:lnTo>
                      <a:lnTo>
                        <a:pt x="279" y="120"/>
                      </a:lnTo>
                      <a:lnTo>
                        <a:pt x="278" y="117"/>
                      </a:lnTo>
                      <a:lnTo>
                        <a:pt x="278" y="117"/>
                      </a:lnTo>
                      <a:lnTo>
                        <a:pt x="272" y="122"/>
                      </a:lnTo>
                      <a:lnTo>
                        <a:pt x="272" y="122"/>
                      </a:lnTo>
                      <a:lnTo>
                        <a:pt x="271" y="123"/>
                      </a:lnTo>
                      <a:lnTo>
                        <a:pt x="271" y="125"/>
                      </a:lnTo>
                      <a:close/>
                      <a:moveTo>
                        <a:pt x="257" y="116"/>
                      </a:moveTo>
                      <a:lnTo>
                        <a:pt x="257" y="116"/>
                      </a:lnTo>
                      <a:lnTo>
                        <a:pt x="259" y="117"/>
                      </a:lnTo>
                      <a:lnTo>
                        <a:pt x="259" y="117"/>
                      </a:lnTo>
                      <a:lnTo>
                        <a:pt x="265" y="123"/>
                      </a:lnTo>
                      <a:lnTo>
                        <a:pt x="266" y="120"/>
                      </a:lnTo>
                      <a:lnTo>
                        <a:pt x="266" y="120"/>
                      </a:lnTo>
                      <a:lnTo>
                        <a:pt x="260" y="116"/>
                      </a:lnTo>
                      <a:lnTo>
                        <a:pt x="260" y="116"/>
                      </a:lnTo>
                      <a:lnTo>
                        <a:pt x="257" y="114"/>
                      </a:lnTo>
                      <a:lnTo>
                        <a:pt x="257" y="116"/>
                      </a:lnTo>
                      <a:close/>
                      <a:moveTo>
                        <a:pt x="243" y="112"/>
                      </a:moveTo>
                      <a:lnTo>
                        <a:pt x="243" y="112"/>
                      </a:lnTo>
                      <a:lnTo>
                        <a:pt x="253" y="114"/>
                      </a:lnTo>
                      <a:lnTo>
                        <a:pt x="253" y="112"/>
                      </a:lnTo>
                      <a:lnTo>
                        <a:pt x="253" y="112"/>
                      </a:lnTo>
                      <a:lnTo>
                        <a:pt x="243" y="109"/>
                      </a:lnTo>
                      <a:lnTo>
                        <a:pt x="243" y="112"/>
                      </a:lnTo>
                      <a:close/>
                      <a:moveTo>
                        <a:pt x="229" y="109"/>
                      </a:moveTo>
                      <a:lnTo>
                        <a:pt x="230" y="109"/>
                      </a:lnTo>
                      <a:lnTo>
                        <a:pt x="230" y="109"/>
                      </a:lnTo>
                      <a:lnTo>
                        <a:pt x="239" y="110"/>
                      </a:lnTo>
                      <a:lnTo>
                        <a:pt x="239" y="107"/>
                      </a:lnTo>
                      <a:lnTo>
                        <a:pt x="239" y="107"/>
                      </a:lnTo>
                      <a:lnTo>
                        <a:pt x="230" y="106"/>
                      </a:lnTo>
                      <a:lnTo>
                        <a:pt x="229" y="106"/>
                      </a:lnTo>
                      <a:lnTo>
                        <a:pt x="229" y="109"/>
                      </a:lnTo>
                      <a:close/>
                      <a:moveTo>
                        <a:pt x="215" y="116"/>
                      </a:moveTo>
                      <a:lnTo>
                        <a:pt x="215" y="116"/>
                      </a:lnTo>
                      <a:lnTo>
                        <a:pt x="220" y="114"/>
                      </a:lnTo>
                      <a:lnTo>
                        <a:pt x="220" y="114"/>
                      </a:lnTo>
                      <a:lnTo>
                        <a:pt x="224" y="110"/>
                      </a:lnTo>
                      <a:lnTo>
                        <a:pt x="223" y="109"/>
                      </a:lnTo>
                      <a:lnTo>
                        <a:pt x="223" y="109"/>
                      </a:lnTo>
                      <a:lnTo>
                        <a:pt x="218" y="113"/>
                      </a:lnTo>
                      <a:lnTo>
                        <a:pt x="218" y="113"/>
                      </a:lnTo>
                      <a:lnTo>
                        <a:pt x="215" y="113"/>
                      </a:lnTo>
                      <a:lnTo>
                        <a:pt x="215" y="116"/>
                      </a:lnTo>
                      <a:close/>
                      <a:moveTo>
                        <a:pt x="200" y="114"/>
                      </a:moveTo>
                      <a:lnTo>
                        <a:pt x="200" y="114"/>
                      </a:lnTo>
                      <a:lnTo>
                        <a:pt x="210" y="116"/>
                      </a:lnTo>
                      <a:lnTo>
                        <a:pt x="211" y="114"/>
                      </a:lnTo>
                      <a:lnTo>
                        <a:pt x="211" y="114"/>
                      </a:lnTo>
                      <a:lnTo>
                        <a:pt x="201" y="112"/>
                      </a:lnTo>
                      <a:lnTo>
                        <a:pt x="200" y="114"/>
                      </a:lnTo>
                      <a:close/>
                      <a:moveTo>
                        <a:pt x="187" y="116"/>
                      </a:moveTo>
                      <a:lnTo>
                        <a:pt x="187" y="116"/>
                      </a:lnTo>
                      <a:lnTo>
                        <a:pt x="188" y="114"/>
                      </a:lnTo>
                      <a:lnTo>
                        <a:pt x="188" y="114"/>
                      </a:lnTo>
                      <a:lnTo>
                        <a:pt x="192" y="114"/>
                      </a:lnTo>
                      <a:lnTo>
                        <a:pt x="192" y="114"/>
                      </a:lnTo>
                      <a:lnTo>
                        <a:pt x="195" y="114"/>
                      </a:lnTo>
                      <a:lnTo>
                        <a:pt x="195" y="112"/>
                      </a:lnTo>
                      <a:lnTo>
                        <a:pt x="195" y="112"/>
                      </a:lnTo>
                      <a:lnTo>
                        <a:pt x="192" y="112"/>
                      </a:lnTo>
                      <a:lnTo>
                        <a:pt x="192" y="112"/>
                      </a:lnTo>
                      <a:lnTo>
                        <a:pt x="188" y="112"/>
                      </a:lnTo>
                      <a:lnTo>
                        <a:pt x="188" y="112"/>
                      </a:lnTo>
                      <a:lnTo>
                        <a:pt x="185" y="113"/>
                      </a:lnTo>
                      <a:lnTo>
                        <a:pt x="187" y="116"/>
                      </a:lnTo>
                      <a:close/>
                      <a:moveTo>
                        <a:pt x="175" y="125"/>
                      </a:moveTo>
                      <a:lnTo>
                        <a:pt x="175" y="125"/>
                      </a:lnTo>
                      <a:lnTo>
                        <a:pt x="179" y="123"/>
                      </a:lnTo>
                      <a:lnTo>
                        <a:pt x="179" y="123"/>
                      </a:lnTo>
                      <a:lnTo>
                        <a:pt x="184" y="120"/>
                      </a:lnTo>
                      <a:lnTo>
                        <a:pt x="185" y="120"/>
                      </a:lnTo>
                      <a:lnTo>
                        <a:pt x="182" y="117"/>
                      </a:lnTo>
                      <a:lnTo>
                        <a:pt x="182" y="119"/>
                      </a:lnTo>
                      <a:lnTo>
                        <a:pt x="182" y="119"/>
                      </a:lnTo>
                      <a:lnTo>
                        <a:pt x="179" y="120"/>
                      </a:lnTo>
                      <a:lnTo>
                        <a:pt x="179" y="120"/>
                      </a:lnTo>
                      <a:lnTo>
                        <a:pt x="173" y="122"/>
                      </a:lnTo>
                      <a:lnTo>
                        <a:pt x="175" y="125"/>
                      </a:lnTo>
                      <a:close/>
                      <a:moveTo>
                        <a:pt x="159" y="126"/>
                      </a:moveTo>
                      <a:lnTo>
                        <a:pt x="159" y="126"/>
                      </a:lnTo>
                      <a:lnTo>
                        <a:pt x="169" y="126"/>
                      </a:lnTo>
                      <a:lnTo>
                        <a:pt x="169" y="123"/>
                      </a:lnTo>
                      <a:lnTo>
                        <a:pt x="169" y="123"/>
                      </a:lnTo>
                      <a:lnTo>
                        <a:pt x="159" y="125"/>
                      </a:lnTo>
                      <a:lnTo>
                        <a:pt x="159" y="126"/>
                      </a:lnTo>
                      <a:close/>
                      <a:moveTo>
                        <a:pt x="145" y="125"/>
                      </a:moveTo>
                      <a:lnTo>
                        <a:pt x="145" y="125"/>
                      </a:lnTo>
                      <a:lnTo>
                        <a:pt x="155" y="126"/>
                      </a:lnTo>
                      <a:lnTo>
                        <a:pt x="155" y="123"/>
                      </a:lnTo>
                      <a:lnTo>
                        <a:pt x="155" y="123"/>
                      </a:lnTo>
                      <a:lnTo>
                        <a:pt x="145" y="122"/>
                      </a:lnTo>
                      <a:lnTo>
                        <a:pt x="145" y="125"/>
                      </a:lnTo>
                      <a:close/>
                      <a:moveTo>
                        <a:pt x="129" y="120"/>
                      </a:moveTo>
                      <a:lnTo>
                        <a:pt x="130" y="120"/>
                      </a:lnTo>
                      <a:lnTo>
                        <a:pt x="130" y="120"/>
                      </a:lnTo>
                      <a:lnTo>
                        <a:pt x="133" y="122"/>
                      </a:lnTo>
                      <a:lnTo>
                        <a:pt x="133" y="122"/>
                      </a:lnTo>
                      <a:lnTo>
                        <a:pt x="139" y="123"/>
                      </a:lnTo>
                      <a:lnTo>
                        <a:pt x="139" y="122"/>
                      </a:lnTo>
                      <a:lnTo>
                        <a:pt x="139" y="122"/>
                      </a:lnTo>
                      <a:lnTo>
                        <a:pt x="134" y="120"/>
                      </a:lnTo>
                      <a:lnTo>
                        <a:pt x="134" y="120"/>
                      </a:lnTo>
                      <a:lnTo>
                        <a:pt x="131" y="119"/>
                      </a:lnTo>
                      <a:lnTo>
                        <a:pt x="130" y="117"/>
                      </a:lnTo>
                      <a:lnTo>
                        <a:pt x="129" y="120"/>
                      </a:lnTo>
                      <a:close/>
                      <a:moveTo>
                        <a:pt x="117" y="119"/>
                      </a:moveTo>
                      <a:lnTo>
                        <a:pt x="117" y="119"/>
                      </a:lnTo>
                      <a:lnTo>
                        <a:pt x="118" y="117"/>
                      </a:lnTo>
                      <a:lnTo>
                        <a:pt x="118" y="117"/>
                      </a:lnTo>
                      <a:lnTo>
                        <a:pt x="123" y="117"/>
                      </a:lnTo>
                      <a:lnTo>
                        <a:pt x="123" y="117"/>
                      </a:lnTo>
                      <a:lnTo>
                        <a:pt x="126" y="117"/>
                      </a:lnTo>
                      <a:lnTo>
                        <a:pt x="126" y="114"/>
                      </a:lnTo>
                      <a:lnTo>
                        <a:pt x="126" y="114"/>
                      </a:lnTo>
                      <a:lnTo>
                        <a:pt x="123" y="114"/>
                      </a:lnTo>
                      <a:lnTo>
                        <a:pt x="123" y="114"/>
                      </a:lnTo>
                      <a:lnTo>
                        <a:pt x="118" y="114"/>
                      </a:lnTo>
                      <a:lnTo>
                        <a:pt x="118" y="114"/>
                      </a:lnTo>
                      <a:lnTo>
                        <a:pt x="116" y="117"/>
                      </a:lnTo>
                      <a:lnTo>
                        <a:pt x="117" y="119"/>
                      </a:lnTo>
                      <a:close/>
                      <a:moveTo>
                        <a:pt x="113" y="132"/>
                      </a:moveTo>
                      <a:lnTo>
                        <a:pt x="113" y="132"/>
                      </a:lnTo>
                      <a:lnTo>
                        <a:pt x="116" y="123"/>
                      </a:lnTo>
                      <a:lnTo>
                        <a:pt x="113" y="122"/>
                      </a:lnTo>
                      <a:lnTo>
                        <a:pt x="113" y="122"/>
                      </a:lnTo>
                      <a:lnTo>
                        <a:pt x="110" y="132"/>
                      </a:lnTo>
                      <a:lnTo>
                        <a:pt x="113" y="132"/>
                      </a:lnTo>
                      <a:close/>
                      <a:moveTo>
                        <a:pt x="108" y="148"/>
                      </a:moveTo>
                      <a:lnTo>
                        <a:pt x="108" y="148"/>
                      </a:lnTo>
                      <a:lnTo>
                        <a:pt x="111" y="138"/>
                      </a:lnTo>
                      <a:lnTo>
                        <a:pt x="108" y="136"/>
                      </a:lnTo>
                      <a:lnTo>
                        <a:pt x="108" y="136"/>
                      </a:lnTo>
                      <a:lnTo>
                        <a:pt x="105" y="146"/>
                      </a:lnTo>
                      <a:lnTo>
                        <a:pt x="108" y="148"/>
                      </a:lnTo>
                      <a:close/>
                      <a:moveTo>
                        <a:pt x="103" y="161"/>
                      </a:moveTo>
                      <a:lnTo>
                        <a:pt x="103" y="161"/>
                      </a:lnTo>
                      <a:lnTo>
                        <a:pt x="104" y="155"/>
                      </a:lnTo>
                      <a:lnTo>
                        <a:pt x="104" y="155"/>
                      </a:lnTo>
                      <a:lnTo>
                        <a:pt x="105" y="152"/>
                      </a:lnTo>
                      <a:lnTo>
                        <a:pt x="104" y="151"/>
                      </a:lnTo>
                      <a:lnTo>
                        <a:pt x="104" y="151"/>
                      </a:lnTo>
                      <a:lnTo>
                        <a:pt x="103" y="155"/>
                      </a:lnTo>
                      <a:lnTo>
                        <a:pt x="103" y="155"/>
                      </a:lnTo>
                      <a:lnTo>
                        <a:pt x="100" y="161"/>
                      </a:lnTo>
                      <a:lnTo>
                        <a:pt x="103" y="161"/>
                      </a:lnTo>
                      <a:close/>
                      <a:moveTo>
                        <a:pt x="101" y="177"/>
                      </a:moveTo>
                      <a:lnTo>
                        <a:pt x="101" y="177"/>
                      </a:lnTo>
                      <a:lnTo>
                        <a:pt x="101" y="167"/>
                      </a:lnTo>
                      <a:lnTo>
                        <a:pt x="98" y="165"/>
                      </a:lnTo>
                      <a:lnTo>
                        <a:pt x="98" y="165"/>
                      </a:lnTo>
                      <a:lnTo>
                        <a:pt x="98" y="177"/>
                      </a:lnTo>
                      <a:lnTo>
                        <a:pt x="101" y="177"/>
                      </a:lnTo>
                      <a:close/>
                      <a:moveTo>
                        <a:pt x="100" y="191"/>
                      </a:moveTo>
                      <a:lnTo>
                        <a:pt x="100" y="191"/>
                      </a:lnTo>
                      <a:lnTo>
                        <a:pt x="101" y="188"/>
                      </a:lnTo>
                      <a:lnTo>
                        <a:pt x="101" y="188"/>
                      </a:lnTo>
                      <a:lnTo>
                        <a:pt x="101" y="181"/>
                      </a:lnTo>
                      <a:lnTo>
                        <a:pt x="98" y="181"/>
                      </a:lnTo>
                      <a:lnTo>
                        <a:pt x="98" y="181"/>
                      </a:lnTo>
                      <a:lnTo>
                        <a:pt x="98" y="188"/>
                      </a:lnTo>
                      <a:lnTo>
                        <a:pt x="98" y="188"/>
                      </a:lnTo>
                      <a:lnTo>
                        <a:pt x="98" y="191"/>
                      </a:lnTo>
                      <a:lnTo>
                        <a:pt x="100" y="191"/>
                      </a:lnTo>
                      <a:close/>
                      <a:moveTo>
                        <a:pt x="92" y="206"/>
                      </a:moveTo>
                      <a:lnTo>
                        <a:pt x="92" y="206"/>
                      </a:lnTo>
                      <a:lnTo>
                        <a:pt x="95" y="201"/>
                      </a:lnTo>
                      <a:lnTo>
                        <a:pt x="98" y="197"/>
                      </a:lnTo>
                      <a:lnTo>
                        <a:pt x="97" y="196"/>
                      </a:lnTo>
                      <a:lnTo>
                        <a:pt x="97" y="196"/>
                      </a:lnTo>
                      <a:lnTo>
                        <a:pt x="94" y="200"/>
                      </a:lnTo>
                      <a:lnTo>
                        <a:pt x="91" y="203"/>
                      </a:lnTo>
                      <a:lnTo>
                        <a:pt x="92" y="206"/>
                      </a:lnTo>
                      <a:close/>
                      <a:moveTo>
                        <a:pt x="79" y="214"/>
                      </a:moveTo>
                      <a:lnTo>
                        <a:pt x="79" y="214"/>
                      </a:lnTo>
                      <a:lnTo>
                        <a:pt x="87" y="210"/>
                      </a:lnTo>
                      <a:lnTo>
                        <a:pt x="87" y="210"/>
                      </a:lnTo>
                      <a:lnTo>
                        <a:pt x="88" y="209"/>
                      </a:lnTo>
                      <a:lnTo>
                        <a:pt x="87" y="207"/>
                      </a:lnTo>
                      <a:lnTo>
                        <a:pt x="87" y="207"/>
                      </a:lnTo>
                      <a:lnTo>
                        <a:pt x="85" y="209"/>
                      </a:lnTo>
                      <a:lnTo>
                        <a:pt x="85" y="209"/>
                      </a:lnTo>
                      <a:lnTo>
                        <a:pt x="78" y="211"/>
                      </a:lnTo>
                      <a:lnTo>
                        <a:pt x="79" y="214"/>
                      </a:lnTo>
                      <a:close/>
                      <a:moveTo>
                        <a:pt x="71" y="223"/>
                      </a:moveTo>
                      <a:lnTo>
                        <a:pt x="71" y="223"/>
                      </a:lnTo>
                      <a:lnTo>
                        <a:pt x="72" y="219"/>
                      </a:lnTo>
                      <a:lnTo>
                        <a:pt x="72" y="219"/>
                      </a:lnTo>
                      <a:lnTo>
                        <a:pt x="75" y="216"/>
                      </a:lnTo>
                      <a:lnTo>
                        <a:pt x="74" y="214"/>
                      </a:lnTo>
                      <a:lnTo>
                        <a:pt x="74" y="214"/>
                      </a:lnTo>
                      <a:lnTo>
                        <a:pt x="71" y="217"/>
                      </a:lnTo>
                      <a:lnTo>
                        <a:pt x="71" y="217"/>
                      </a:lnTo>
                      <a:lnTo>
                        <a:pt x="69" y="220"/>
                      </a:lnTo>
                      <a:lnTo>
                        <a:pt x="68" y="223"/>
                      </a:lnTo>
                      <a:lnTo>
                        <a:pt x="71" y="223"/>
                      </a:lnTo>
                      <a:close/>
                      <a:moveTo>
                        <a:pt x="69" y="239"/>
                      </a:moveTo>
                      <a:lnTo>
                        <a:pt x="69" y="239"/>
                      </a:lnTo>
                      <a:lnTo>
                        <a:pt x="71" y="229"/>
                      </a:lnTo>
                      <a:lnTo>
                        <a:pt x="68" y="229"/>
                      </a:lnTo>
                      <a:lnTo>
                        <a:pt x="68" y="229"/>
                      </a:lnTo>
                      <a:lnTo>
                        <a:pt x="66" y="238"/>
                      </a:lnTo>
                      <a:lnTo>
                        <a:pt x="69" y="239"/>
                      </a:lnTo>
                      <a:close/>
                      <a:moveTo>
                        <a:pt x="62" y="252"/>
                      </a:moveTo>
                      <a:lnTo>
                        <a:pt x="62" y="252"/>
                      </a:lnTo>
                      <a:lnTo>
                        <a:pt x="66" y="245"/>
                      </a:lnTo>
                      <a:lnTo>
                        <a:pt x="66" y="245"/>
                      </a:lnTo>
                      <a:lnTo>
                        <a:pt x="68" y="243"/>
                      </a:lnTo>
                      <a:lnTo>
                        <a:pt x="65" y="242"/>
                      </a:lnTo>
                      <a:lnTo>
                        <a:pt x="65" y="242"/>
                      </a:lnTo>
                      <a:lnTo>
                        <a:pt x="65" y="243"/>
                      </a:lnTo>
                      <a:lnTo>
                        <a:pt x="65" y="243"/>
                      </a:lnTo>
                      <a:lnTo>
                        <a:pt x="59" y="251"/>
                      </a:lnTo>
                      <a:lnTo>
                        <a:pt x="62" y="252"/>
                      </a:lnTo>
                      <a:close/>
                      <a:moveTo>
                        <a:pt x="53" y="265"/>
                      </a:moveTo>
                      <a:lnTo>
                        <a:pt x="53" y="265"/>
                      </a:lnTo>
                      <a:lnTo>
                        <a:pt x="59" y="256"/>
                      </a:lnTo>
                      <a:lnTo>
                        <a:pt x="56" y="255"/>
                      </a:lnTo>
                      <a:lnTo>
                        <a:pt x="56" y="255"/>
                      </a:lnTo>
                      <a:lnTo>
                        <a:pt x="50" y="264"/>
                      </a:lnTo>
                      <a:lnTo>
                        <a:pt x="53" y="265"/>
                      </a:lnTo>
                      <a:close/>
                      <a:moveTo>
                        <a:pt x="39" y="271"/>
                      </a:moveTo>
                      <a:lnTo>
                        <a:pt x="40" y="271"/>
                      </a:lnTo>
                      <a:lnTo>
                        <a:pt x="40" y="271"/>
                      </a:lnTo>
                      <a:lnTo>
                        <a:pt x="46" y="271"/>
                      </a:lnTo>
                      <a:lnTo>
                        <a:pt x="50" y="269"/>
                      </a:lnTo>
                      <a:lnTo>
                        <a:pt x="49" y="266"/>
                      </a:lnTo>
                      <a:lnTo>
                        <a:pt x="49" y="266"/>
                      </a:lnTo>
                      <a:lnTo>
                        <a:pt x="45" y="268"/>
                      </a:lnTo>
                      <a:lnTo>
                        <a:pt x="40" y="268"/>
                      </a:lnTo>
                      <a:lnTo>
                        <a:pt x="39" y="268"/>
                      </a:lnTo>
                      <a:lnTo>
                        <a:pt x="39" y="271"/>
                      </a:lnTo>
                      <a:close/>
                      <a:moveTo>
                        <a:pt x="24" y="269"/>
                      </a:moveTo>
                      <a:lnTo>
                        <a:pt x="24" y="269"/>
                      </a:lnTo>
                      <a:lnTo>
                        <a:pt x="27" y="271"/>
                      </a:lnTo>
                      <a:lnTo>
                        <a:pt x="27" y="271"/>
                      </a:lnTo>
                      <a:lnTo>
                        <a:pt x="34" y="271"/>
                      </a:lnTo>
                      <a:lnTo>
                        <a:pt x="34" y="268"/>
                      </a:lnTo>
                      <a:lnTo>
                        <a:pt x="34" y="268"/>
                      </a:lnTo>
                      <a:lnTo>
                        <a:pt x="27" y="268"/>
                      </a:lnTo>
                      <a:lnTo>
                        <a:pt x="27" y="268"/>
                      </a:lnTo>
                      <a:lnTo>
                        <a:pt x="24" y="268"/>
                      </a:lnTo>
                      <a:lnTo>
                        <a:pt x="24" y="269"/>
                      </a:lnTo>
                      <a:close/>
                      <a:moveTo>
                        <a:pt x="10" y="264"/>
                      </a:moveTo>
                      <a:lnTo>
                        <a:pt x="10" y="264"/>
                      </a:lnTo>
                      <a:lnTo>
                        <a:pt x="19" y="268"/>
                      </a:lnTo>
                      <a:lnTo>
                        <a:pt x="20" y="265"/>
                      </a:lnTo>
                      <a:lnTo>
                        <a:pt x="20" y="265"/>
                      </a:lnTo>
                      <a:lnTo>
                        <a:pt x="11" y="261"/>
                      </a:lnTo>
                      <a:lnTo>
                        <a:pt x="10" y="264"/>
                      </a:lnTo>
                      <a:close/>
                      <a:moveTo>
                        <a:pt x="3" y="272"/>
                      </a:moveTo>
                      <a:lnTo>
                        <a:pt x="3" y="272"/>
                      </a:lnTo>
                      <a:lnTo>
                        <a:pt x="7" y="264"/>
                      </a:lnTo>
                      <a:lnTo>
                        <a:pt x="5" y="262"/>
                      </a:lnTo>
                      <a:lnTo>
                        <a:pt x="5" y="262"/>
                      </a:lnTo>
                      <a:lnTo>
                        <a:pt x="0" y="271"/>
                      </a:lnTo>
                      <a:lnTo>
                        <a:pt x="3" y="27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47" name="Freeform 1601"/>
                <p:cNvSpPr>
                  <a:spLocks noEditPoints="1"/>
                </p:cNvSpPr>
                <p:nvPr/>
              </p:nvSpPr>
              <p:spPr bwMode="auto">
                <a:xfrm>
                  <a:off x="4940994" y="3037177"/>
                  <a:ext cx="89033" cy="218626"/>
                </a:xfrm>
                <a:custGeom>
                  <a:avLst/>
                  <a:gdLst>
                    <a:gd name="T0" fmla="*/ 90 w 90"/>
                    <a:gd name="T1" fmla="*/ 1 h 221"/>
                    <a:gd name="T2" fmla="*/ 85 w 90"/>
                    <a:gd name="T3" fmla="*/ 4 h 221"/>
                    <a:gd name="T4" fmla="*/ 74 w 90"/>
                    <a:gd name="T5" fmla="*/ 14 h 221"/>
                    <a:gd name="T6" fmla="*/ 81 w 90"/>
                    <a:gd name="T7" fmla="*/ 7 h 221"/>
                    <a:gd name="T8" fmla="*/ 64 w 90"/>
                    <a:gd name="T9" fmla="*/ 23 h 221"/>
                    <a:gd name="T10" fmla="*/ 65 w 90"/>
                    <a:gd name="T11" fmla="*/ 19 h 221"/>
                    <a:gd name="T12" fmla="*/ 68 w 90"/>
                    <a:gd name="T13" fmla="*/ 14 h 221"/>
                    <a:gd name="T14" fmla="*/ 61 w 90"/>
                    <a:gd name="T15" fmla="*/ 21 h 221"/>
                    <a:gd name="T16" fmla="*/ 59 w 90"/>
                    <a:gd name="T17" fmla="*/ 37 h 221"/>
                    <a:gd name="T18" fmla="*/ 59 w 90"/>
                    <a:gd name="T19" fmla="*/ 27 h 221"/>
                    <a:gd name="T20" fmla="*/ 58 w 90"/>
                    <a:gd name="T21" fmla="*/ 52 h 221"/>
                    <a:gd name="T22" fmla="*/ 56 w 90"/>
                    <a:gd name="T23" fmla="*/ 42 h 221"/>
                    <a:gd name="T24" fmla="*/ 58 w 90"/>
                    <a:gd name="T25" fmla="*/ 52 h 221"/>
                    <a:gd name="T26" fmla="*/ 56 w 90"/>
                    <a:gd name="T27" fmla="*/ 62 h 221"/>
                    <a:gd name="T28" fmla="*/ 55 w 90"/>
                    <a:gd name="T29" fmla="*/ 58 h 221"/>
                    <a:gd name="T30" fmla="*/ 54 w 90"/>
                    <a:gd name="T31" fmla="*/ 62 h 221"/>
                    <a:gd name="T32" fmla="*/ 54 w 90"/>
                    <a:gd name="T33" fmla="*/ 82 h 221"/>
                    <a:gd name="T34" fmla="*/ 52 w 90"/>
                    <a:gd name="T35" fmla="*/ 72 h 221"/>
                    <a:gd name="T36" fmla="*/ 54 w 90"/>
                    <a:gd name="T37" fmla="*/ 82 h 221"/>
                    <a:gd name="T38" fmla="*/ 49 w 90"/>
                    <a:gd name="T39" fmla="*/ 92 h 221"/>
                    <a:gd name="T40" fmla="*/ 51 w 90"/>
                    <a:gd name="T41" fmla="*/ 87 h 221"/>
                    <a:gd name="T42" fmla="*/ 48 w 90"/>
                    <a:gd name="T43" fmla="*/ 91 h 221"/>
                    <a:gd name="T44" fmla="*/ 35 w 90"/>
                    <a:gd name="T45" fmla="*/ 105 h 221"/>
                    <a:gd name="T46" fmla="*/ 42 w 90"/>
                    <a:gd name="T47" fmla="*/ 100 h 221"/>
                    <a:gd name="T48" fmla="*/ 33 w 90"/>
                    <a:gd name="T49" fmla="*/ 104 h 221"/>
                    <a:gd name="T50" fmla="*/ 30 w 90"/>
                    <a:gd name="T51" fmla="*/ 120 h 221"/>
                    <a:gd name="T52" fmla="*/ 30 w 90"/>
                    <a:gd name="T53" fmla="*/ 110 h 221"/>
                    <a:gd name="T54" fmla="*/ 30 w 90"/>
                    <a:gd name="T55" fmla="*/ 120 h 221"/>
                    <a:gd name="T56" fmla="*/ 25 w 90"/>
                    <a:gd name="T57" fmla="*/ 127 h 221"/>
                    <a:gd name="T58" fmla="*/ 25 w 90"/>
                    <a:gd name="T59" fmla="*/ 123 h 221"/>
                    <a:gd name="T60" fmla="*/ 22 w 90"/>
                    <a:gd name="T61" fmla="*/ 126 h 221"/>
                    <a:gd name="T62" fmla="*/ 20 w 90"/>
                    <a:gd name="T63" fmla="*/ 147 h 221"/>
                    <a:gd name="T64" fmla="*/ 19 w 90"/>
                    <a:gd name="T65" fmla="*/ 137 h 221"/>
                    <a:gd name="T66" fmla="*/ 20 w 90"/>
                    <a:gd name="T67" fmla="*/ 147 h 221"/>
                    <a:gd name="T68" fmla="*/ 19 w 90"/>
                    <a:gd name="T69" fmla="*/ 158 h 221"/>
                    <a:gd name="T70" fmla="*/ 19 w 90"/>
                    <a:gd name="T71" fmla="*/ 152 h 221"/>
                    <a:gd name="T72" fmla="*/ 16 w 90"/>
                    <a:gd name="T73" fmla="*/ 156 h 221"/>
                    <a:gd name="T74" fmla="*/ 12 w 90"/>
                    <a:gd name="T75" fmla="*/ 155 h 221"/>
                    <a:gd name="T76" fmla="*/ 3 w 90"/>
                    <a:gd name="T77" fmla="*/ 158 h 221"/>
                    <a:gd name="T78" fmla="*/ 1 w 90"/>
                    <a:gd name="T79" fmla="*/ 155 h 221"/>
                    <a:gd name="T80" fmla="*/ 3 w 90"/>
                    <a:gd name="T81" fmla="*/ 162 h 221"/>
                    <a:gd name="T82" fmla="*/ 1 w 90"/>
                    <a:gd name="T83" fmla="*/ 166 h 221"/>
                    <a:gd name="T84" fmla="*/ 3 w 90"/>
                    <a:gd name="T85" fmla="*/ 166 h 221"/>
                    <a:gd name="T86" fmla="*/ 0 w 90"/>
                    <a:gd name="T87" fmla="*/ 168 h 221"/>
                    <a:gd name="T88" fmla="*/ 1 w 90"/>
                    <a:gd name="T89" fmla="*/ 169 h 221"/>
                    <a:gd name="T90" fmla="*/ 22 w 90"/>
                    <a:gd name="T91" fmla="*/ 181 h 221"/>
                    <a:gd name="T92" fmla="*/ 16 w 90"/>
                    <a:gd name="T93" fmla="*/ 175 h 221"/>
                    <a:gd name="T94" fmla="*/ 13 w 90"/>
                    <a:gd name="T95" fmla="*/ 176 h 221"/>
                    <a:gd name="T96" fmla="*/ 20 w 90"/>
                    <a:gd name="T97" fmla="*/ 182 h 221"/>
                    <a:gd name="T98" fmla="*/ 30 w 90"/>
                    <a:gd name="T99" fmla="*/ 194 h 221"/>
                    <a:gd name="T100" fmla="*/ 23 w 90"/>
                    <a:gd name="T101" fmla="*/ 187 h 221"/>
                    <a:gd name="T102" fmla="*/ 39 w 90"/>
                    <a:gd name="T103" fmla="*/ 207 h 221"/>
                    <a:gd name="T104" fmla="*/ 32 w 90"/>
                    <a:gd name="T105" fmla="*/ 200 h 221"/>
                    <a:gd name="T106" fmla="*/ 39 w 90"/>
                    <a:gd name="T107" fmla="*/ 207 h 221"/>
                    <a:gd name="T108" fmla="*/ 40 w 90"/>
                    <a:gd name="T109" fmla="*/ 211 h 221"/>
                    <a:gd name="T110" fmla="*/ 43 w 90"/>
                    <a:gd name="T111" fmla="*/ 221 h 2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90" h="221">
                      <a:moveTo>
                        <a:pt x="87" y="5"/>
                      </a:moveTo>
                      <a:lnTo>
                        <a:pt x="87" y="5"/>
                      </a:lnTo>
                      <a:lnTo>
                        <a:pt x="90" y="1"/>
                      </a:lnTo>
                      <a:lnTo>
                        <a:pt x="88" y="0"/>
                      </a:lnTo>
                      <a:lnTo>
                        <a:pt x="88" y="0"/>
                      </a:lnTo>
                      <a:lnTo>
                        <a:pt x="85" y="4"/>
                      </a:lnTo>
                      <a:lnTo>
                        <a:pt x="87" y="5"/>
                      </a:lnTo>
                      <a:close/>
                      <a:moveTo>
                        <a:pt x="74" y="14"/>
                      </a:moveTo>
                      <a:lnTo>
                        <a:pt x="74" y="14"/>
                      </a:lnTo>
                      <a:lnTo>
                        <a:pt x="82" y="10"/>
                      </a:lnTo>
                      <a:lnTo>
                        <a:pt x="81" y="7"/>
                      </a:lnTo>
                      <a:lnTo>
                        <a:pt x="81" y="7"/>
                      </a:lnTo>
                      <a:lnTo>
                        <a:pt x="72" y="11"/>
                      </a:lnTo>
                      <a:lnTo>
                        <a:pt x="74" y="14"/>
                      </a:lnTo>
                      <a:close/>
                      <a:moveTo>
                        <a:pt x="64" y="23"/>
                      </a:moveTo>
                      <a:lnTo>
                        <a:pt x="64" y="23"/>
                      </a:lnTo>
                      <a:lnTo>
                        <a:pt x="65" y="19"/>
                      </a:lnTo>
                      <a:lnTo>
                        <a:pt x="65" y="19"/>
                      </a:lnTo>
                      <a:lnTo>
                        <a:pt x="69" y="16"/>
                      </a:lnTo>
                      <a:lnTo>
                        <a:pt x="68" y="14"/>
                      </a:lnTo>
                      <a:lnTo>
                        <a:pt x="68" y="14"/>
                      </a:lnTo>
                      <a:lnTo>
                        <a:pt x="64" y="17"/>
                      </a:lnTo>
                      <a:lnTo>
                        <a:pt x="64" y="17"/>
                      </a:lnTo>
                      <a:lnTo>
                        <a:pt x="61" y="21"/>
                      </a:lnTo>
                      <a:lnTo>
                        <a:pt x="64" y="23"/>
                      </a:lnTo>
                      <a:close/>
                      <a:moveTo>
                        <a:pt x="59" y="37"/>
                      </a:moveTo>
                      <a:lnTo>
                        <a:pt x="59" y="37"/>
                      </a:lnTo>
                      <a:lnTo>
                        <a:pt x="62" y="27"/>
                      </a:lnTo>
                      <a:lnTo>
                        <a:pt x="59" y="27"/>
                      </a:lnTo>
                      <a:lnTo>
                        <a:pt x="59" y="27"/>
                      </a:lnTo>
                      <a:lnTo>
                        <a:pt x="58" y="37"/>
                      </a:lnTo>
                      <a:lnTo>
                        <a:pt x="59" y="37"/>
                      </a:lnTo>
                      <a:close/>
                      <a:moveTo>
                        <a:pt x="58" y="52"/>
                      </a:moveTo>
                      <a:lnTo>
                        <a:pt x="58" y="52"/>
                      </a:lnTo>
                      <a:lnTo>
                        <a:pt x="59" y="42"/>
                      </a:lnTo>
                      <a:lnTo>
                        <a:pt x="56" y="42"/>
                      </a:lnTo>
                      <a:lnTo>
                        <a:pt x="56" y="42"/>
                      </a:lnTo>
                      <a:lnTo>
                        <a:pt x="56" y="52"/>
                      </a:lnTo>
                      <a:lnTo>
                        <a:pt x="58" y="52"/>
                      </a:lnTo>
                      <a:close/>
                      <a:moveTo>
                        <a:pt x="55" y="68"/>
                      </a:moveTo>
                      <a:lnTo>
                        <a:pt x="55" y="68"/>
                      </a:lnTo>
                      <a:lnTo>
                        <a:pt x="56" y="62"/>
                      </a:lnTo>
                      <a:lnTo>
                        <a:pt x="56" y="62"/>
                      </a:lnTo>
                      <a:lnTo>
                        <a:pt x="58" y="58"/>
                      </a:lnTo>
                      <a:lnTo>
                        <a:pt x="55" y="58"/>
                      </a:lnTo>
                      <a:lnTo>
                        <a:pt x="55" y="58"/>
                      </a:lnTo>
                      <a:lnTo>
                        <a:pt x="54" y="62"/>
                      </a:lnTo>
                      <a:lnTo>
                        <a:pt x="54" y="62"/>
                      </a:lnTo>
                      <a:lnTo>
                        <a:pt x="54" y="68"/>
                      </a:lnTo>
                      <a:lnTo>
                        <a:pt x="55" y="68"/>
                      </a:lnTo>
                      <a:close/>
                      <a:moveTo>
                        <a:pt x="54" y="82"/>
                      </a:moveTo>
                      <a:lnTo>
                        <a:pt x="54" y="82"/>
                      </a:lnTo>
                      <a:lnTo>
                        <a:pt x="55" y="72"/>
                      </a:lnTo>
                      <a:lnTo>
                        <a:pt x="52" y="72"/>
                      </a:lnTo>
                      <a:lnTo>
                        <a:pt x="52" y="72"/>
                      </a:lnTo>
                      <a:lnTo>
                        <a:pt x="51" y="82"/>
                      </a:lnTo>
                      <a:lnTo>
                        <a:pt x="54" y="82"/>
                      </a:lnTo>
                      <a:close/>
                      <a:moveTo>
                        <a:pt x="46" y="97"/>
                      </a:moveTo>
                      <a:lnTo>
                        <a:pt x="46" y="97"/>
                      </a:lnTo>
                      <a:lnTo>
                        <a:pt x="49" y="92"/>
                      </a:lnTo>
                      <a:lnTo>
                        <a:pt x="52" y="88"/>
                      </a:lnTo>
                      <a:lnTo>
                        <a:pt x="52" y="88"/>
                      </a:lnTo>
                      <a:lnTo>
                        <a:pt x="51" y="87"/>
                      </a:lnTo>
                      <a:lnTo>
                        <a:pt x="51" y="88"/>
                      </a:lnTo>
                      <a:lnTo>
                        <a:pt x="51" y="88"/>
                      </a:lnTo>
                      <a:lnTo>
                        <a:pt x="48" y="91"/>
                      </a:lnTo>
                      <a:lnTo>
                        <a:pt x="45" y="94"/>
                      </a:lnTo>
                      <a:lnTo>
                        <a:pt x="46" y="97"/>
                      </a:lnTo>
                      <a:close/>
                      <a:moveTo>
                        <a:pt x="35" y="105"/>
                      </a:moveTo>
                      <a:lnTo>
                        <a:pt x="35" y="105"/>
                      </a:lnTo>
                      <a:lnTo>
                        <a:pt x="35" y="105"/>
                      </a:lnTo>
                      <a:lnTo>
                        <a:pt x="42" y="100"/>
                      </a:lnTo>
                      <a:lnTo>
                        <a:pt x="40" y="97"/>
                      </a:lnTo>
                      <a:lnTo>
                        <a:pt x="40" y="97"/>
                      </a:lnTo>
                      <a:lnTo>
                        <a:pt x="33" y="104"/>
                      </a:lnTo>
                      <a:lnTo>
                        <a:pt x="33" y="104"/>
                      </a:lnTo>
                      <a:lnTo>
                        <a:pt x="35" y="105"/>
                      </a:lnTo>
                      <a:close/>
                      <a:moveTo>
                        <a:pt x="30" y="120"/>
                      </a:moveTo>
                      <a:lnTo>
                        <a:pt x="30" y="120"/>
                      </a:lnTo>
                      <a:lnTo>
                        <a:pt x="33" y="110"/>
                      </a:lnTo>
                      <a:lnTo>
                        <a:pt x="30" y="110"/>
                      </a:lnTo>
                      <a:lnTo>
                        <a:pt x="30" y="110"/>
                      </a:lnTo>
                      <a:lnTo>
                        <a:pt x="27" y="118"/>
                      </a:lnTo>
                      <a:lnTo>
                        <a:pt x="30" y="120"/>
                      </a:lnTo>
                      <a:close/>
                      <a:moveTo>
                        <a:pt x="23" y="133"/>
                      </a:moveTo>
                      <a:lnTo>
                        <a:pt x="23" y="133"/>
                      </a:lnTo>
                      <a:lnTo>
                        <a:pt x="25" y="127"/>
                      </a:lnTo>
                      <a:lnTo>
                        <a:pt x="26" y="124"/>
                      </a:lnTo>
                      <a:lnTo>
                        <a:pt x="27" y="124"/>
                      </a:lnTo>
                      <a:lnTo>
                        <a:pt x="25" y="123"/>
                      </a:lnTo>
                      <a:lnTo>
                        <a:pt x="25" y="123"/>
                      </a:lnTo>
                      <a:lnTo>
                        <a:pt x="25" y="123"/>
                      </a:lnTo>
                      <a:lnTo>
                        <a:pt x="22" y="126"/>
                      </a:lnTo>
                      <a:lnTo>
                        <a:pt x="20" y="132"/>
                      </a:lnTo>
                      <a:lnTo>
                        <a:pt x="23" y="133"/>
                      </a:lnTo>
                      <a:close/>
                      <a:moveTo>
                        <a:pt x="20" y="147"/>
                      </a:moveTo>
                      <a:lnTo>
                        <a:pt x="20" y="147"/>
                      </a:lnTo>
                      <a:lnTo>
                        <a:pt x="22" y="137"/>
                      </a:lnTo>
                      <a:lnTo>
                        <a:pt x="19" y="137"/>
                      </a:lnTo>
                      <a:lnTo>
                        <a:pt x="19" y="137"/>
                      </a:lnTo>
                      <a:lnTo>
                        <a:pt x="17" y="147"/>
                      </a:lnTo>
                      <a:lnTo>
                        <a:pt x="20" y="147"/>
                      </a:lnTo>
                      <a:close/>
                      <a:moveTo>
                        <a:pt x="12" y="158"/>
                      </a:moveTo>
                      <a:lnTo>
                        <a:pt x="17" y="158"/>
                      </a:lnTo>
                      <a:lnTo>
                        <a:pt x="19" y="158"/>
                      </a:lnTo>
                      <a:lnTo>
                        <a:pt x="19" y="156"/>
                      </a:lnTo>
                      <a:lnTo>
                        <a:pt x="19" y="156"/>
                      </a:lnTo>
                      <a:lnTo>
                        <a:pt x="19" y="152"/>
                      </a:lnTo>
                      <a:lnTo>
                        <a:pt x="16" y="152"/>
                      </a:lnTo>
                      <a:lnTo>
                        <a:pt x="16" y="152"/>
                      </a:lnTo>
                      <a:lnTo>
                        <a:pt x="16" y="156"/>
                      </a:lnTo>
                      <a:lnTo>
                        <a:pt x="17" y="156"/>
                      </a:lnTo>
                      <a:lnTo>
                        <a:pt x="17" y="155"/>
                      </a:lnTo>
                      <a:lnTo>
                        <a:pt x="12" y="155"/>
                      </a:lnTo>
                      <a:lnTo>
                        <a:pt x="12" y="158"/>
                      </a:lnTo>
                      <a:close/>
                      <a:moveTo>
                        <a:pt x="3" y="162"/>
                      </a:moveTo>
                      <a:lnTo>
                        <a:pt x="3" y="158"/>
                      </a:lnTo>
                      <a:lnTo>
                        <a:pt x="6" y="158"/>
                      </a:lnTo>
                      <a:lnTo>
                        <a:pt x="6" y="155"/>
                      </a:lnTo>
                      <a:lnTo>
                        <a:pt x="1" y="155"/>
                      </a:lnTo>
                      <a:lnTo>
                        <a:pt x="0" y="155"/>
                      </a:lnTo>
                      <a:lnTo>
                        <a:pt x="0" y="162"/>
                      </a:lnTo>
                      <a:lnTo>
                        <a:pt x="3" y="162"/>
                      </a:lnTo>
                      <a:close/>
                      <a:moveTo>
                        <a:pt x="10" y="171"/>
                      </a:moveTo>
                      <a:lnTo>
                        <a:pt x="10" y="171"/>
                      </a:lnTo>
                      <a:lnTo>
                        <a:pt x="1" y="166"/>
                      </a:lnTo>
                      <a:lnTo>
                        <a:pt x="1" y="168"/>
                      </a:lnTo>
                      <a:lnTo>
                        <a:pt x="3" y="168"/>
                      </a:lnTo>
                      <a:lnTo>
                        <a:pt x="3" y="166"/>
                      </a:lnTo>
                      <a:lnTo>
                        <a:pt x="0" y="166"/>
                      </a:lnTo>
                      <a:lnTo>
                        <a:pt x="0" y="168"/>
                      </a:lnTo>
                      <a:lnTo>
                        <a:pt x="0" y="168"/>
                      </a:lnTo>
                      <a:lnTo>
                        <a:pt x="1" y="169"/>
                      </a:lnTo>
                      <a:lnTo>
                        <a:pt x="1" y="169"/>
                      </a:lnTo>
                      <a:lnTo>
                        <a:pt x="1" y="169"/>
                      </a:lnTo>
                      <a:lnTo>
                        <a:pt x="9" y="174"/>
                      </a:lnTo>
                      <a:lnTo>
                        <a:pt x="10" y="171"/>
                      </a:lnTo>
                      <a:close/>
                      <a:moveTo>
                        <a:pt x="22" y="181"/>
                      </a:moveTo>
                      <a:lnTo>
                        <a:pt x="22" y="181"/>
                      </a:lnTo>
                      <a:lnTo>
                        <a:pt x="16" y="175"/>
                      </a:lnTo>
                      <a:lnTo>
                        <a:pt x="16" y="175"/>
                      </a:lnTo>
                      <a:lnTo>
                        <a:pt x="14" y="174"/>
                      </a:lnTo>
                      <a:lnTo>
                        <a:pt x="13" y="176"/>
                      </a:lnTo>
                      <a:lnTo>
                        <a:pt x="13" y="176"/>
                      </a:lnTo>
                      <a:lnTo>
                        <a:pt x="14" y="178"/>
                      </a:lnTo>
                      <a:lnTo>
                        <a:pt x="14" y="178"/>
                      </a:lnTo>
                      <a:lnTo>
                        <a:pt x="20" y="182"/>
                      </a:lnTo>
                      <a:lnTo>
                        <a:pt x="22" y="181"/>
                      </a:lnTo>
                      <a:close/>
                      <a:moveTo>
                        <a:pt x="30" y="194"/>
                      </a:moveTo>
                      <a:lnTo>
                        <a:pt x="30" y="194"/>
                      </a:lnTo>
                      <a:lnTo>
                        <a:pt x="26" y="185"/>
                      </a:lnTo>
                      <a:lnTo>
                        <a:pt x="23" y="187"/>
                      </a:lnTo>
                      <a:lnTo>
                        <a:pt x="23" y="187"/>
                      </a:lnTo>
                      <a:lnTo>
                        <a:pt x="29" y="195"/>
                      </a:lnTo>
                      <a:lnTo>
                        <a:pt x="30" y="194"/>
                      </a:lnTo>
                      <a:close/>
                      <a:moveTo>
                        <a:pt x="39" y="207"/>
                      </a:moveTo>
                      <a:lnTo>
                        <a:pt x="39" y="207"/>
                      </a:lnTo>
                      <a:lnTo>
                        <a:pt x="33" y="198"/>
                      </a:lnTo>
                      <a:lnTo>
                        <a:pt x="32" y="200"/>
                      </a:lnTo>
                      <a:lnTo>
                        <a:pt x="32" y="200"/>
                      </a:lnTo>
                      <a:lnTo>
                        <a:pt x="36" y="208"/>
                      </a:lnTo>
                      <a:lnTo>
                        <a:pt x="39" y="207"/>
                      </a:lnTo>
                      <a:close/>
                      <a:moveTo>
                        <a:pt x="46" y="220"/>
                      </a:moveTo>
                      <a:lnTo>
                        <a:pt x="46" y="220"/>
                      </a:lnTo>
                      <a:lnTo>
                        <a:pt x="40" y="211"/>
                      </a:lnTo>
                      <a:lnTo>
                        <a:pt x="39" y="213"/>
                      </a:lnTo>
                      <a:lnTo>
                        <a:pt x="39" y="213"/>
                      </a:lnTo>
                      <a:lnTo>
                        <a:pt x="43" y="221"/>
                      </a:lnTo>
                      <a:lnTo>
                        <a:pt x="46" y="22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48" name="Freeform 1602"/>
                <p:cNvSpPr>
                  <a:spLocks noEditPoints="1"/>
                </p:cNvSpPr>
                <p:nvPr/>
              </p:nvSpPr>
              <p:spPr bwMode="auto">
                <a:xfrm>
                  <a:off x="4995403" y="3091587"/>
                  <a:ext cx="105851" cy="39570"/>
                </a:xfrm>
                <a:custGeom>
                  <a:avLst/>
                  <a:gdLst>
                    <a:gd name="T0" fmla="*/ 0 w 107"/>
                    <a:gd name="T1" fmla="*/ 6 h 40"/>
                    <a:gd name="T2" fmla="*/ 1 w 107"/>
                    <a:gd name="T3" fmla="*/ 8 h 40"/>
                    <a:gd name="T4" fmla="*/ 16 w 107"/>
                    <a:gd name="T5" fmla="*/ 6 h 40"/>
                    <a:gd name="T6" fmla="*/ 12 w 107"/>
                    <a:gd name="T7" fmla="*/ 7 h 40"/>
                    <a:gd name="T8" fmla="*/ 7 w 107"/>
                    <a:gd name="T9" fmla="*/ 7 h 40"/>
                    <a:gd name="T10" fmla="*/ 7 w 107"/>
                    <a:gd name="T11" fmla="*/ 8 h 40"/>
                    <a:gd name="T12" fmla="*/ 12 w 107"/>
                    <a:gd name="T13" fmla="*/ 8 h 40"/>
                    <a:gd name="T14" fmla="*/ 16 w 107"/>
                    <a:gd name="T15" fmla="*/ 6 h 40"/>
                    <a:gd name="T16" fmla="*/ 29 w 107"/>
                    <a:gd name="T17" fmla="*/ 1 h 40"/>
                    <a:gd name="T18" fmla="*/ 23 w 107"/>
                    <a:gd name="T19" fmla="*/ 0 h 40"/>
                    <a:gd name="T20" fmla="*/ 22 w 107"/>
                    <a:gd name="T21" fmla="*/ 0 h 40"/>
                    <a:gd name="T22" fmla="*/ 22 w 107"/>
                    <a:gd name="T23" fmla="*/ 4 h 40"/>
                    <a:gd name="T24" fmla="*/ 23 w 107"/>
                    <a:gd name="T25" fmla="*/ 3 h 40"/>
                    <a:gd name="T26" fmla="*/ 23 w 107"/>
                    <a:gd name="T27" fmla="*/ 3 h 40"/>
                    <a:gd name="T28" fmla="*/ 23 w 107"/>
                    <a:gd name="T29" fmla="*/ 1 h 40"/>
                    <a:gd name="T30" fmla="*/ 23 w 107"/>
                    <a:gd name="T31" fmla="*/ 3 h 40"/>
                    <a:gd name="T32" fmla="*/ 23 w 107"/>
                    <a:gd name="T33" fmla="*/ 3 h 40"/>
                    <a:gd name="T34" fmla="*/ 29 w 107"/>
                    <a:gd name="T35" fmla="*/ 1 h 40"/>
                    <a:gd name="T36" fmla="*/ 43 w 107"/>
                    <a:gd name="T37" fmla="*/ 8 h 40"/>
                    <a:gd name="T38" fmla="*/ 33 w 107"/>
                    <a:gd name="T39" fmla="*/ 6 h 40"/>
                    <a:gd name="T40" fmla="*/ 42 w 107"/>
                    <a:gd name="T41" fmla="*/ 11 h 40"/>
                    <a:gd name="T42" fmla="*/ 58 w 107"/>
                    <a:gd name="T43" fmla="*/ 13 h 40"/>
                    <a:gd name="T44" fmla="*/ 48 w 107"/>
                    <a:gd name="T45" fmla="*/ 10 h 40"/>
                    <a:gd name="T46" fmla="*/ 46 w 107"/>
                    <a:gd name="T47" fmla="*/ 13 h 40"/>
                    <a:gd name="T48" fmla="*/ 58 w 107"/>
                    <a:gd name="T49" fmla="*/ 13 h 40"/>
                    <a:gd name="T50" fmla="*/ 71 w 107"/>
                    <a:gd name="T51" fmla="*/ 20 h 40"/>
                    <a:gd name="T52" fmla="*/ 62 w 107"/>
                    <a:gd name="T53" fmla="*/ 14 h 40"/>
                    <a:gd name="T54" fmla="*/ 61 w 107"/>
                    <a:gd name="T55" fmla="*/ 16 h 40"/>
                    <a:gd name="T56" fmla="*/ 70 w 107"/>
                    <a:gd name="T57" fmla="*/ 21 h 40"/>
                    <a:gd name="T58" fmla="*/ 80 w 107"/>
                    <a:gd name="T59" fmla="*/ 33 h 40"/>
                    <a:gd name="T60" fmla="*/ 74 w 107"/>
                    <a:gd name="T61" fmla="*/ 24 h 40"/>
                    <a:gd name="T62" fmla="*/ 72 w 107"/>
                    <a:gd name="T63" fmla="*/ 26 h 40"/>
                    <a:gd name="T64" fmla="*/ 80 w 107"/>
                    <a:gd name="T65" fmla="*/ 33 h 40"/>
                    <a:gd name="T66" fmla="*/ 91 w 107"/>
                    <a:gd name="T67" fmla="*/ 37 h 40"/>
                    <a:gd name="T68" fmla="*/ 88 w 107"/>
                    <a:gd name="T69" fmla="*/ 37 h 40"/>
                    <a:gd name="T70" fmla="*/ 87 w 107"/>
                    <a:gd name="T71" fmla="*/ 37 h 40"/>
                    <a:gd name="T72" fmla="*/ 81 w 107"/>
                    <a:gd name="T73" fmla="*/ 37 h 40"/>
                    <a:gd name="T74" fmla="*/ 87 w 107"/>
                    <a:gd name="T75" fmla="*/ 39 h 40"/>
                    <a:gd name="T76" fmla="*/ 88 w 107"/>
                    <a:gd name="T77" fmla="*/ 40 h 40"/>
                    <a:gd name="T78" fmla="*/ 93 w 107"/>
                    <a:gd name="T79" fmla="*/ 39 h 40"/>
                    <a:gd name="T80" fmla="*/ 107 w 107"/>
                    <a:gd name="T81" fmla="*/ 34 h 40"/>
                    <a:gd name="T82" fmla="*/ 97 w 107"/>
                    <a:gd name="T83" fmla="*/ 36 h 40"/>
                    <a:gd name="T84" fmla="*/ 97 w 107"/>
                    <a:gd name="T85" fmla="*/ 39 h 40"/>
                    <a:gd name="T86" fmla="*/ 107 w 107"/>
                    <a:gd name="T87" fmla="*/ 34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07" h="40">
                      <a:moveTo>
                        <a:pt x="1" y="6"/>
                      </a:move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1" y="8"/>
                      </a:lnTo>
                      <a:lnTo>
                        <a:pt x="1" y="6"/>
                      </a:lnTo>
                      <a:close/>
                      <a:moveTo>
                        <a:pt x="16" y="6"/>
                      </a:moveTo>
                      <a:lnTo>
                        <a:pt x="16" y="6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7" y="7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7" y="8"/>
                      </a:lnTo>
                      <a:lnTo>
                        <a:pt x="16" y="6"/>
                      </a:lnTo>
                      <a:close/>
                      <a:moveTo>
                        <a:pt x="29" y="1"/>
                      </a:moveTo>
                      <a:lnTo>
                        <a:pt x="29" y="1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19" y="3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3" y="3"/>
                      </a:lnTo>
                      <a:lnTo>
                        <a:pt x="23" y="1"/>
                      </a:lnTo>
                      <a:lnTo>
                        <a:pt x="23" y="3"/>
                      </a:lnTo>
                      <a:lnTo>
                        <a:pt x="23" y="3"/>
                      </a:lnTo>
                      <a:lnTo>
                        <a:pt x="23" y="1"/>
                      </a:lnTo>
                      <a:lnTo>
                        <a:pt x="23" y="3"/>
                      </a:lnTo>
                      <a:lnTo>
                        <a:pt x="23" y="3"/>
                      </a:lnTo>
                      <a:lnTo>
                        <a:pt x="23" y="3"/>
                      </a:lnTo>
                      <a:lnTo>
                        <a:pt x="23" y="3"/>
                      </a:lnTo>
                      <a:lnTo>
                        <a:pt x="29" y="4"/>
                      </a:lnTo>
                      <a:lnTo>
                        <a:pt x="29" y="1"/>
                      </a:lnTo>
                      <a:close/>
                      <a:moveTo>
                        <a:pt x="43" y="8"/>
                      </a:moveTo>
                      <a:lnTo>
                        <a:pt x="43" y="8"/>
                      </a:lnTo>
                      <a:lnTo>
                        <a:pt x="35" y="4"/>
                      </a:lnTo>
                      <a:lnTo>
                        <a:pt x="33" y="6"/>
                      </a:lnTo>
                      <a:lnTo>
                        <a:pt x="33" y="6"/>
                      </a:lnTo>
                      <a:lnTo>
                        <a:pt x="42" y="11"/>
                      </a:lnTo>
                      <a:lnTo>
                        <a:pt x="43" y="8"/>
                      </a:lnTo>
                      <a:close/>
                      <a:moveTo>
                        <a:pt x="58" y="13"/>
                      </a:moveTo>
                      <a:lnTo>
                        <a:pt x="58" y="13"/>
                      </a:lnTo>
                      <a:lnTo>
                        <a:pt x="48" y="10"/>
                      </a:lnTo>
                      <a:lnTo>
                        <a:pt x="46" y="13"/>
                      </a:lnTo>
                      <a:lnTo>
                        <a:pt x="46" y="13"/>
                      </a:lnTo>
                      <a:lnTo>
                        <a:pt x="56" y="14"/>
                      </a:lnTo>
                      <a:lnTo>
                        <a:pt x="58" y="13"/>
                      </a:lnTo>
                      <a:close/>
                      <a:moveTo>
                        <a:pt x="71" y="20"/>
                      </a:moveTo>
                      <a:lnTo>
                        <a:pt x="71" y="20"/>
                      </a:lnTo>
                      <a:lnTo>
                        <a:pt x="67" y="16"/>
                      </a:lnTo>
                      <a:lnTo>
                        <a:pt x="62" y="14"/>
                      </a:lnTo>
                      <a:lnTo>
                        <a:pt x="61" y="16"/>
                      </a:lnTo>
                      <a:lnTo>
                        <a:pt x="61" y="16"/>
                      </a:lnTo>
                      <a:lnTo>
                        <a:pt x="65" y="19"/>
                      </a:lnTo>
                      <a:lnTo>
                        <a:pt x="70" y="21"/>
                      </a:lnTo>
                      <a:lnTo>
                        <a:pt x="71" y="20"/>
                      </a:lnTo>
                      <a:close/>
                      <a:moveTo>
                        <a:pt x="80" y="33"/>
                      </a:moveTo>
                      <a:lnTo>
                        <a:pt x="80" y="33"/>
                      </a:lnTo>
                      <a:lnTo>
                        <a:pt x="74" y="24"/>
                      </a:lnTo>
                      <a:lnTo>
                        <a:pt x="72" y="26"/>
                      </a:lnTo>
                      <a:lnTo>
                        <a:pt x="72" y="26"/>
                      </a:lnTo>
                      <a:lnTo>
                        <a:pt x="78" y="34"/>
                      </a:lnTo>
                      <a:lnTo>
                        <a:pt x="80" y="33"/>
                      </a:lnTo>
                      <a:close/>
                      <a:moveTo>
                        <a:pt x="91" y="37"/>
                      </a:moveTo>
                      <a:lnTo>
                        <a:pt x="91" y="37"/>
                      </a:lnTo>
                      <a:lnTo>
                        <a:pt x="88" y="37"/>
                      </a:lnTo>
                      <a:lnTo>
                        <a:pt x="88" y="37"/>
                      </a:lnTo>
                      <a:lnTo>
                        <a:pt x="87" y="37"/>
                      </a:lnTo>
                      <a:lnTo>
                        <a:pt x="87" y="37"/>
                      </a:lnTo>
                      <a:lnTo>
                        <a:pt x="83" y="36"/>
                      </a:lnTo>
                      <a:lnTo>
                        <a:pt x="81" y="37"/>
                      </a:lnTo>
                      <a:lnTo>
                        <a:pt x="81" y="37"/>
                      </a:lnTo>
                      <a:lnTo>
                        <a:pt x="87" y="39"/>
                      </a:lnTo>
                      <a:lnTo>
                        <a:pt x="87" y="39"/>
                      </a:lnTo>
                      <a:lnTo>
                        <a:pt x="88" y="40"/>
                      </a:lnTo>
                      <a:lnTo>
                        <a:pt x="88" y="40"/>
                      </a:lnTo>
                      <a:lnTo>
                        <a:pt x="93" y="39"/>
                      </a:lnTo>
                      <a:lnTo>
                        <a:pt x="91" y="37"/>
                      </a:lnTo>
                      <a:close/>
                      <a:moveTo>
                        <a:pt x="107" y="34"/>
                      </a:moveTo>
                      <a:lnTo>
                        <a:pt x="107" y="34"/>
                      </a:lnTo>
                      <a:lnTo>
                        <a:pt x="97" y="36"/>
                      </a:lnTo>
                      <a:lnTo>
                        <a:pt x="97" y="39"/>
                      </a:lnTo>
                      <a:lnTo>
                        <a:pt x="97" y="39"/>
                      </a:lnTo>
                      <a:lnTo>
                        <a:pt x="107" y="37"/>
                      </a:lnTo>
                      <a:lnTo>
                        <a:pt x="107" y="3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49" name="Freeform 1603"/>
                <p:cNvSpPr>
                  <a:spLocks noEditPoints="1"/>
                </p:cNvSpPr>
                <p:nvPr/>
              </p:nvSpPr>
              <p:spPr bwMode="auto">
                <a:xfrm>
                  <a:off x="5048823" y="3260750"/>
                  <a:ext cx="14839" cy="95958"/>
                </a:xfrm>
                <a:custGeom>
                  <a:avLst/>
                  <a:gdLst>
                    <a:gd name="T0" fmla="*/ 9 w 15"/>
                    <a:gd name="T1" fmla="*/ 10 h 97"/>
                    <a:gd name="T2" fmla="*/ 15 w 15"/>
                    <a:gd name="T3" fmla="*/ 1 h 97"/>
                    <a:gd name="T4" fmla="*/ 13 w 15"/>
                    <a:gd name="T5" fmla="*/ 0 h 97"/>
                    <a:gd name="T6" fmla="*/ 8 w 15"/>
                    <a:gd name="T7" fmla="*/ 8 h 97"/>
                    <a:gd name="T8" fmla="*/ 9 w 15"/>
                    <a:gd name="T9" fmla="*/ 10 h 97"/>
                    <a:gd name="T10" fmla="*/ 3 w 15"/>
                    <a:gd name="T11" fmla="*/ 23 h 97"/>
                    <a:gd name="T12" fmla="*/ 3 w 15"/>
                    <a:gd name="T13" fmla="*/ 18 h 97"/>
                    <a:gd name="T14" fmla="*/ 6 w 15"/>
                    <a:gd name="T15" fmla="*/ 14 h 97"/>
                    <a:gd name="T16" fmla="*/ 5 w 15"/>
                    <a:gd name="T17" fmla="*/ 13 h 97"/>
                    <a:gd name="T18" fmla="*/ 0 w 15"/>
                    <a:gd name="T19" fmla="*/ 18 h 97"/>
                    <a:gd name="T20" fmla="*/ 0 w 15"/>
                    <a:gd name="T21" fmla="*/ 23 h 97"/>
                    <a:gd name="T22" fmla="*/ 3 w 15"/>
                    <a:gd name="T23" fmla="*/ 23 h 97"/>
                    <a:gd name="T24" fmla="*/ 3 w 15"/>
                    <a:gd name="T25" fmla="*/ 29 h 97"/>
                    <a:gd name="T26" fmla="*/ 0 w 15"/>
                    <a:gd name="T27" fmla="*/ 29 h 97"/>
                    <a:gd name="T28" fmla="*/ 0 w 15"/>
                    <a:gd name="T29" fmla="*/ 39 h 97"/>
                    <a:gd name="T30" fmla="*/ 3 w 15"/>
                    <a:gd name="T31" fmla="*/ 39 h 97"/>
                    <a:gd name="T32" fmla="*/ 3 w 15"/>
                    <a:gd name="T33" fmla="*/ 29 h 97"/>
                    <a:gd name="T34" fmla="*/ 3 w 15"/>
                    <a:gd name="T35" fmla="*/ 43 h 97"/>
                    <a:gd name="T36" fmla="*/ 0 w 15"/>
                    <a:gd name="T37" fmla="*/ 43 h 97"/>
                    <a:gd name="T38" fmla="*/ 0 w 15"/>
                    <a:gd name="T39" fmla="*/ 53 h 97"/>
                    <a:gd name="T40" fmla="*/ 3 w 15"/>
                    <a:gd name="T41" fmla="*/ 53 h 97"/>
                    <a:gd name="T42" fmla="*/ 3 w 15"/>
                    <a:gd name="T43" fmla="*/ 43 h 97"/>
                    <a:gd name="T44" fmla="*/ 3 w 15"/>
                    <a:gd name="T45" fmla="*/ 59 h 97"/>
                    <a:gd name="T46" fmla="*/ 0 w 15"/>
                    <a:gd name="T47" fmla="*/ 59 h 97"/>
                    <a:gd name="T48" fmla="*/ 0 w 15"/>
                    <a:gd name="T49" fmla="*/ 69 h 97"/>
                    <a:gd name="T50" fmla="*/ 3 w 15"/>
                    <a:gd name="T51" fmla="*/ 69 h 97"/>
                    <a:gd name="T52" fmla="*/ 3 w 15"/>
                    <a:gd name="T53" fmla="*/ 59 h 97"/>
                    <a:gd name="T54" fmla="*/ 3 w 15"/>
                    <a:gd name="T55" fmla="*/ 74 h 97"/>
                    <a:gd name="T56" fmla="*/ 0 w 15"/>
                    <a:gd name="T57" fmla="*/ 74 h 97"/>
                    <a:gd name="T58" fmla="*/ 0 w 15"/>
                    <a:gd name="T59" fmla="*/ 84 h 97"/>
                    <a:gd name="T60" fmla="*/ 3 w 15"/>
                    <a:gd name="T61" fmla="*/ 84 h 97"/>
                    <a:gd name="T62" fmla="*/ 3 w 15"/>
                    <a:gd name="T63" fmla="*/ 74 h 97"/>
                    <a:gd name="T64" fmla="*/ 9 w 15"/>
                    <a:gd name="T65" fmla="*/ 95 h 97"/>
                    <a:gd name="T66" fmla="*/ 3 w 15"/>
                    <a:gd name="T67" fmla="*/ 89 h 97"/>
                    <a:gd name="T68" fmla="*/ 3 w 15"/>
                    <a:gd name="T69" fmla="*/ 89 h 97"/>
                    <a:gd name="T70" fmla="*/ 0 w 15"/>
                    <a:gd name="T71" fmla="*/ 89 h 97"/>
                    <a:gd name="T72" fmla="*/ 0 w 15"/>
                    <a:gd name="T73" fmla="*/ 89 h 97"/>
                    <a:gd name="T74" fmla="*/ 0 w 15"/>
                    <a:gd name="T75" fmla="*/ 91 h 97"/>
                    <a:gd name="T76" fmla="*/ 8 w 15"/>
                    <a:gd name="T77" fmla="*/ 97 h 97"/>
                    <a:gd name="T78" fmla="*/ 9 w 15"/>
                    <a:gd name="T79" fmla="*/ 95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5" h="97">
                      <a:moveTo>
                        <a:pt x="9" y="10"/>
                      </a:moveTo>
                      <a:lnTo>
                        <a:pt x="15" y="1"/>
                      </a:lnTo>
                      <a:lnTo>
                        <a:pt x="13" y="0"/>
                      </a:lnTo>
                      <a:lnTo>
                        <a:pt x="8" y="8"/>
                      </a:lnTo>
                      <a:lnTo>
                        <a:pt x="9" y="10"/>
                      </a:lnTo>
                      <a:close/>
                      <a:moveTo>
                        <a:pt x="3" y="23"/>
                      </a:moveTo>
                      <a:lnTo>
                        <a:pt x="3" y="18"/>
                      </a:lnTo>
                      <a:lnTo>
                        <a:pt x="6" y="14"/>
                      </a:lnTo>
                      <a:lnTo>
                        <a:pt x="5" y="13"/>
                      </a:lnTo>
                      <a:lnTo>
                        <a:pt x="0" y="18"/>
                      </a:lnTo>
                      <a:lnTo>
                        <a:pt x="0" y="23"/>
                      </a:lnTo>
                      <a:lnTo>
                        <a:pt x="3" y="23"/>
                      </a:lnTo>
                      <a:close/>
                      <a:moveTo>
                        <a:pt x="3" y="29"/>
                      </a:moveTo>
                      <a:lnTo>
                        <a:pt x="0" y="29"/>
                      </a:lnTo>
                      <a:lnTo>
                        <a:pt x="0" y="39"/>
                      </a:lnTo>
                      <a:lnTo>
                        <a:pt x="3" y="39"/>
                      </a:lnTo>
                      <a:lnTo>
                        <a:pt x="3" y="29"/>
                      </a:lnTo>
                      <a:close/>
                      <a:moveTo>
                        <a:pt x="3" y="43"/>
                      </a:moveTo>
                      <a:lnTo>
                        <a:pt x="0" y="43"/>
                      </a:lnTo>
                      <a:lnTo>
                        <a:pt x="0" y="53"/>
                      </a:lnTo>
                      <a:lnTo>
                        <a:pt x="3" y="53"/>
                      </a:lnTo>
                      <a:lnTo>
                        <a:pt x="3" y="43"/>
                      </a:lnTo>
                      <a:close/>
                      <a:moveTo>
                        <a:pt x="3" y="59"/>
                      </a:moveTo>
                      <a:lnTo>
                        <a:pt x="0" y="59"/>
                      </a:lnTo>
                      <a:lnTo>
                        <a:pt x="0" y="69"/>
                      </a:lnTo>
                      <a:lnTo>
                        <a:pt x="3" y="69"/>
                      </a:lnTo>
                      <a:lnTo>
                        <a:pt x="3" y="59"/>
                      </a:lnTo>
                      <a:close/>
                      <a:moveTo>
                        <a:pt x="3" y="74"/>
                      </a:moveTo>
                      <a:lnTo>
                        <a:pt x="0" y="74"/>
                      </a:lnTo>
                      <a:lnTo>
                        <a:pt x="0" y="84"/>
                      </a:lnTo>
                      <a:lnTo>
                        <a:pt x="3" y="84"/>
                      </a:lnTo>
                      <a:lnTo>
                        <a:pt x="3" y="74"/>
                      </a:lnTo>
                      <a:close/>
                      <a:moveTo>
                        <a:pt x="9" y="95"/>
                      </a:moveTo>
                      <a:lnTo>
                        <a:pt x="3" y="89"/>
                      </a:lnTo>
                      <a:lnTo>
                        <a:pt x="3" y="89"/>
                      </a:lnTo>
                      <a:lnTo>
                        <a:pt x="0" y="89"/>
                      </a:lnTo>
                      <a:lnTo>
                        <a:pt x="0" y="89"/>
                      </a:lnTo>
                      <a:lnTo>
                        <a:pt x="0" y="91"/>
                      </a:lnTo>
                      <a:lnTo>
                        <a:pt x="8" y="97"/>
                      </a:lnTo>
                      <a:lnTo>
                        <a:pt x="9" y="9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50" name="Freeform 1604"/>
                <p:cNvSpPr>
                  <a:spLocks noEditPoints="1"/>
                </p:cNvSpPr>
                <p:nvPr/>
              </p:nvSpPr>
              <p:spPr bwMode="auto">
                <a:xfrm>
                  <a:off x="4561118" y="3299331"/>
                  <a:ext cx="65291" cy="84087"/>
                </a:xfrm>
                <a:custGeom>
                  <a:avLst/>
                  <a:gdLst>
                    <a:gd name="T0" fmla="*/ 63 w 66"/>
                    <a:gd name="T1" fmla="*/ 6 h 85"/>
                    <a:gd name="T2" fmla="*/ 59 w 66"/>
                    <a:gd name="T3" fmla="*/ 1 h 85"/>
                    <a:gd name="T4" fmla="*/ 62 w 66"/>
                    <a:gd name="T5" fmla="*/ 7 h 85"/>
                    <a:gd name="T6" fmla="*/ 66 w 66"/>
                    <a:gd name="T7" fmla="*/ 21 h 85"/>
                    <a:gd name="T8" fmla="*/ 66 w 66"/>
                    <a:gd name="T9" fmla="*/ 17 h 85"/>
                    <a:gd name="T10" fmla="*/ 65 w 66"/>
                    <a:gd name="T11" fmla="*/ 10 h 85"/>
                    <a:gd name="T12" fmla="*/ 63 w 66"/>
                    <a:gd name="T13" fmla="*/ 11 h 85"/>
                    <a:gd name="T14" fmla="*/ 65 w 66"/>
                    <a:gd name="T15" fmla="*/ 17 h 85"/>
                    <a:gd name="T16" fmla="*/ 66 w 66"/>
                    <a:gd name="T17" fmla="*/ 21 h 85"/>
                    <a:gd name="T18" fmla="*/ 59 w 66"/>
                    <a:gd name="T19" fmla="*/ 33 h 85"/>
                    <a:gd name="T20" fmla="*/ 63 w 66"/>
                    <a:gd name="T21" fmla="*/ 26 h 85"/>
                    <a:gd name="T22" fmla="*/ 62 w 66"/>
                    <a:gd name="T23" fmla="*/ 24 h 85"/>
                    <a:gd name="T24" fmla="*/ 56 w 66"/>
                    <a:gd name="T25" fmla="*/ 33 h 85"/>
                    <a:gd name="T26" fmla="*/ 62 w 66"/>
                    <a:gd name="T27" fmla="*/ 48 h 85"/>
                    <a:gd name="T28" fmla="*/ 57 w 66"/>
                    <a:gd name="T29" fmla="*/ 39 h 85"/>
                    <a:gd name="T30" fmla="*/ 56 w 66"/>
                    <a:gd name="T31" fmla="*/ 39 h 85"/>
                    <a:gd name="T32" fmla="*/ 62 w 66"/>
                    <a:gd name="T33" fmla="*/ 48 h 85"/>
                    <a:gd name="T34" fmla="*/ 65 w 66"/>
                    <a:gd name="T35" fmla="*/ 63 h 85"/>
                    <a:gd name="T36" fmla="*/ 65 w 66"/>
                    <a:gd name="T37" fmla="*/ 58 h 85"/>
                    <a:gd name="T38" fmla="*/ 62 w 66"/>
                    <a:gd name="T39" fmla="*/ 53 h 85"/>
                    <a:gd name="T40" fmla="*/ 62 w 66"/>
                    <a:gd name="T41" fmla="*/ 58 h 85"/>
                    <a:gd name="T42" fmla="*/ 62 w 66"/>
                    <a:gd name="T43" fmla="*/ 62 h 85"/>
                    <a:gd name="T44" fmla="*/ 52 w 66"/>
                    <a:gd name="T45" fmla="*/ 72 h 85"/>
                    <a:gd name="T46" fmla="*/ 55 w 66"/>
                    <a:gd name="T47" fmla="*/ 72 h 85"/>
                    <a:gd name="T48" fmla="*/ 59 w 66"/>
                    <a:gd name="T49" fmla="*/ 71 h 85"/>
                    <a:gd name="T50" fmla="*/ 59 w 66"/>
                    <a:gd name="T51" fmla="*/ 66 h 85"/>
                    <a:gd name="T52" fmla="*/ 55 w 66"/>
                    <a:gd name="T53" fmla="*/ 69 h 85"/>
                    <a:gd name="T54" fmla="*/ 52 w 66"/>
                    <a:gd name="T55" fmla="*/ 71 h 85"/>
                    <a:gd name="T56" fmla="*/ 39 w 66"/>
                    <a:gd name="T57" fmla="*/ 69 h 85"/>
                    <a:gd name="T58" fmla="*/ 40 w 66"/>
                    <a:gd name="T59" fmla="*/ 69 h 85"/>
                    <a:gd name="T60" fmla="*/ 46 w 66"/>
                    <a:gd name="T61" fmla="*/ 72 h 85"/>
                    <a:gd name="T62" fmla="*/ 47 w 66"/>
                    <a:gd name="T63" fmla="*/ 71 h 85"/>
                    <a:gd name="T64" fmla="*/ 40 w 66"/>
                    <a:gd name="T65" fmla="*/ 66 h 85"/>
                    <a:gd name="T66" fmla="*/ 39 w 66"/>
                    <a:gd name="T67" fmla="*/ 66 h 85"/>
                    <a:gd name="T68" fmla="*/ 39 w 66"/>
                    <a:gd name="T69" fmla="*/ 69 h 85"/>
                    <a:gd name="T70" fmla="*/ 31 w 66"/>
                    <a:gd name="T71" fmla="*/ 82 h 85"/>
                    <a:gd name="T72" fmla="*/ 33 w 66"/>
                    <a:gd name="T73" fmla="*/ 81 h 85"/>
                    <a:gd name="T74" fmla="*/ 34 w 66"/>
                    <a:gd name="T75" fmla="*/ 79 h 85"/>
                    <a:gd name="T76" fmla="*/ 34 w 66"/>
                    <a:gd name="T77" fmla="*/ 72 h 85"/>
                    <a:gd name="T78" fmla="*/ 33 w 66"/>
                    <a:gd name="T79" fmla="*/ 77 h 85"/>
                    <a:gd name="T80" fmla="*/ 31 w 66"/>
                    <a:gd name="T81" fmla="*/ 79 h 85"/>
                    <a:gd name="T82" fmla="*/ 31 w 66"/>
                    <a:gd name="T83" fmla="*/ 82 h 85"/>
                    <a:gd name="T84" fmla="*/ 17 w 66"/>
                    <a:gd name="T85" fmla="*/ 84 h 85"/>
                    <a:gd name="T86" fmla="*/ 26 w 66"/>
                    <a:gd name="T87" fmla="*/ 82 h 85"/>
                    <a:gd name="T88" fmla="*/ 26 w 66"/>
                    <a:gd name="T89" fmla="*/ 81 h 85"/>
                    <a:gd name="T90" fmla="*/ 15 w 66"/>
                    <a:gd name="T91" fmla="*/ 81 h 85"/>
                    <a:gd name="T92" fmla="*/ 1 w 66"/>
                    <a:gd name="T93" fmla="*/ 85 h 85"/>
                    <a:gd name="T94" fmla="*/ 7 w 66"/>
                    <a:gd name="T95" fmla="*/ 84 h 85"/>
                    <a:gd name="T96" fmla="*/ 11 w 66"/>
                    <a:gd name="T97" fmla="*/ 81 h 85"/>
                    <a:gd name="T98" fmla="*/ 5 w 66"/>
                    <a:gd name="T99" fmla="*/ 81 h 85"/>
                    <a:gd name="T100" fmla="*/ 1 w 66"/>
                    <a:gd name="T101" fmla="*/ 85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6" h="85">
                      <a:moveTo>
                        <a:pt x="63" y="6"/>
                      </a:moveTo>
                      <a:lnTo>
                        <a:pt x="63" y="6"/>
                      </a:lnTo>
                      <a:lnTo>
                        <a:pt x="62" y="0"/>
                      </a:lnTo>
                      <a:lnTo>
                        <a:pt x="59" y="1"/>
                      </a:lnTo>
                      <a:lnTo>
                        <a:pt x="59" y="1"/>
                      </a:lnTo>
                      <a:lnTo>
                        <a:pt x="62" y="7"/>
                      </a:lnTo>
                      <a:lnTo>
                        <a:pt x="63" y="6"/>
                      </a:lnTo>
                      <a:close/>
                      <a:moveTo>
                        <a:pt x="66" y="21"/>
                      </a:moveTo>
                      <a:lnTo>
                        <a:pt x="66" y="21"/>
                      </a:lnTo>
                      <a:lnTo>
                        <a:pt x="66" y="17"/>
                      </a:lnTo>
                      <a:lnTo>
                        <a:pt x="66" y="17"/>
                      </a:lnTo>
                      <a:lnTo>
                        <a:pt x="65" y="10"/>
                      </a:lnTo>
                      <a:lnTo>
                        <a:pt x="63" y="11"/>
                      </a:lnTo>
                      <a:lnTo>
                        <a:pt x="63" y="11"/>
                      </a:lnTo>
                      <a:lnTo>
                        <a:pt x="65" y="17"/>
                      </a:lnTo>
                      <a:lnTo>
                        <a:pt x="65" y="17"/>
                      </a:lnTo>
                      <a:lnTo>
                        <a:pt x="63" y="20"/>
                      </a:lnTo>
                      <a:lnTo>
                        <a:pt x="66" y="21"/>
                      </a:lnTo>
                      <a:close/>
                      <a:moveTo>
                        <a:pt x="59" y="35"/>
                      </a:moveTo>
                      <a:lnTo>
                        <a:pt x="59" y="33"/>
                      </a:lnTo>
                      <a:lnTo>
                        <a:pt x="59" y="33"/>
                      </a:lnTo>
                      <a:lnTo>
                        <a:pt x="63" y="26"/>
                      </a:lnTo>
                      <a:lnTo>
                        <a:pt x="62" y="24"/>
                      </a:lnTo>
                      <a:lnTo>
                        <a:pt x="62" y="24"/>
                      </a:lnTo>
                      <a:lnTo>
                        <a:pt x="57" y="32"/>
                      </a:lnTo>
                      <a:lnTo>
                        <a:pt x="56" y="33"/>
                      </a:lnTo>
                      <a:lnTo>
                        <a:pt x="59" y="35"/>
                      </a:lnTo>
                      <a:close/>
                      <a:moveTo>
                        <a:pt x="62" y="48"/>
                      </a:moveTo>
                      <a:lnTo>
                        <a:pt x="62" y="48"/>
                      </a:lnTo>
                      <a:lnTo>
                        <a:pt x="57" y="39"/>
                      </a:lnTo>
                      <a:lnTo>
                        <a:pt x="56" y="39"/>
                      </a:lnTo>
                      <a:lnTo>
                        <a:pt x="56" y="39"/>
                      </a:lnTo>
                      <a:lnTo>
                        <a:pt x="59" y="49"/>
                      </a:lnTo>
                      <a:lnTo>
                        <a:pt x="62" y="48"/>
                      </a:lnTo>
                      <a:close/>
                      <a:moveTo>
                        <a:pt x="65" y="63"/>
                      </a:moveTo>
                      <a:lnTo>
                        <a:pt x="65" y="63"/>
                      </a:lnTo>
                      <a:lnTo>
                        <a:pt x="65" y="58"/>
                      </a:lnTo>
                      <a:lnTo>
                        <a:pt x="65" y="58"/>
                      </a:lnTo>
                      <a:lnTo>
                        <a:pt x="63" y="52"/>
                      </a:lnTo>
                      <a:lnTo>
                        <a:pt x="62" y="53"/>
                      </a:lnTo>
                      <a:lnTo>
                        <a:pt x="62" y="53"/>
                      </a:lnTo>
                      <a:lnTo>
                        <a:pt x="62" y="58"/>
                      </a:lnTo>
                      <a:lnTo>
                        <a:pt x="62" y="58"/>
                      </a:lnTo>
                      <a:lnTo>
                        <a:pt x="62" y="62"/>
                      </a:lnTo>
                      <a:lnTo>
                        <a:pt x="65" y="63"/>
                      </a:lnTo>
                      <a:close/>
                      <a:moveTo>
                        <a:pt x="52" y="72"/>
                      </a:moveTo>
                      <a:lnTo>
                        <a:pt x="52" y="72"/>
                      </a:lnTo>
                      <a:lnTo>
                        <a:pt x="55" y="72"/>
                      </a:lnTo>
                      <a:lnTo>
                        <a:pt x="55" y="72"/>
                      </a:lnTo>
                      <a:lnTo>
                        <a:pt x="59" y="71"/>
                      </a:lnTo>
                      <a:lnTo>
                        <a:pt x="62" y="68"/>
                      </a:lnTo>
                      <a:lnTo>
                        <a:pt x="59" y="66"/>
                      </a:lnTo>
                      <a:lnTo>
                        <a:pt x="59" y="66"/>
                      </a:lnTo>
                      <a:lnTo>
                        <a:pt x="55" y="69"/>
                      </a:lnTo>
                      <a:lnTo>
                        <a:pt x="55" y="69"/>
                      </a:lnTo>
                      <a:lnTo>
                        <a:pt x="52" y="71"/>
                      </a:lnTo>
                      <a:lnTo>
                        <a:pt x="52" y="72"/>
                      </a:lnTo>
                      <a:close/>
                      <a:moveTo>
                        <a:pt x="39" y="69"/>
                      </a:moveTo>
                      <a:lnTo>
                        <a:pt x="39" y="68"/>
                      </a:lnTo>
                      <a:lnTo>
                        <a:pt x="40" y="69"/>
                      </a:lnTo>
                      <a:lnTo>
                        <a:pt x="40" y="69"/>
                      </a:lnTo>
                      <a:lnTo>
                        <a:pt x="46" y="72"/>
                      </a:lnTo>
                      <a:lnTo>
                        <a:pt x="47" y="71"/>
                      </a:lnTo>
                      <a:lnTo>
                        <a:pt x="47" y="71"/>
                      </a:lnTo>
                      <a:lnTo>
                        <a:pt x="40" y="66"/>
                      </a:lnTo>
                      <a:lnTo>
                        <a:pt x="40" y="66"/>
                      </a:lnTo>
                      <a:lnTo>
                        <a:pt x="39" y="66"/>
                      </a:lnTo>
                      <a:lnTo>
                        <a:pt x="39" y="66"/>
                      </a:lnTo>
                      <a:lnTo>
                        <a:pt x="37" y="66"/>
                      </a:lnTo>
                      <a:lnTo>
                        <a:pt x="39" y="69"/>
                      </a:lnTo>
                      <a:close/>
                      <a:moveTo>
                        <a:pt x="31" y="82"/>
                      </a:moveTo>
                      <a:lnTo>
                        <a:pt x="31" y="82"/>
                      </a:lnTo>
                      <a:lnTo>
                        <a:pt x="33" y="81"/>
                      </a:lnTo>
                      <a:lnTo>
                        <a:pt x="33" y="81"/>
                      </a:lnTo>
                      <a:lnTo>
                        <a:pt x="34" y="79"/>
                      </a:lnTo>
                      <a:lnTo>
                        <a:pt x="34" y="79"/>
                      </a:lnTo>
                      <a:lnTo>
                        <a:pt x="36" y="72"/>
                      </a:lnTo>
                      <a:lnTo>
                        <a:pt x="34" y="72"/>
                      </a:lnTo>
                      <a:lnTo>
                        <a:pt x="34" y="72"/>
                      </a:lnTo>
                      <a:lnTo>
                        <a:pt x="33" y="77"/>
                      </a:lnTo>
                      <a:lnTo>
                        <a:pt x="33" y="77"/>
                      </a:lnTo>
                      <a:lnTo>
                        <a:pt x="31" y="79"/>
                      </a:lnTo>
                      <a:lnTo>
                        <a:pt x="30" y="79"/>
                      </a:lnTo>
                      <a:lnTo>
                        <a:pt x="31" y="82"/>
                      </a:lnTo>
                      <a:close/>
                      <a:moveTo>
                        <a:pt x="15" y="84"/>
                      </a:moveTo>
                      <a:lnTo>
                        <a:pt x="17" y="84"/>
                      </a:lnTo>
                      <a:lnTo>
                        <a:pt x="17" y="84"/>
                      </a:lnTo>
                      <a:lnTo>
                        <a:pt x="26" y="82"/>
                      </a:lnTo>
                      <a:lnTo>
                        <a:pt x="26" y="81"/>
                      </a:lnTo>
                      <a:lnTo>
                        <a:pt x="26" y="81"/>
                      </a:lnTo>
                      <a:lnTo>
                        <a:pt x="17" y="81"/>
                      </a:lnTo>
                      <a:lnTo>
                        <a:pt x="15" y="81"/>
                      </a:lnTo>
                      <a:lnTo>
                        <a:pt x="15" y="84"/>
                      </a:lnTo>
                      <a:close/>
                      <a:moveTo>
                        <a:pt x="1" y="85"/>
                      </a:moveTo>
                      <a:lnTo>
                        <a:pt x="1" y="85"/>
                      </a:lnTo>
                      <a:lnTo>
                        <a:pt x="7" y="84"/>
                      </a:lnTo>
                      <a:lnTo>
                        <a:pt x="11" y="82"/>
                      </a:lnTo>
                      <a:lnTo>
                        <a:pt x="11" y="81"/>
                      </a:lnTo>
                      <a:lnTo>
                        <a:pt x="11" y="81"/>
                      </a:lnTo>
                      <a:lnTo>
                        <a:pt x="5" y="81"/>
                      </a:lnTo>
                      <a:lnTo>
                        <a:pt x="0" y="84"/>
                      </a:lnTo>
                      <a:lnTo>
                        <a:pt x="1" y="8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51" name="Freeform 1605"/>
                <p:cNvSpPr>
                  <a:spLocks noEditPoints="1"/>
                </p:cNvSpPr>
                <p:nvPr/>
              </p:nvSpPr>
              <p:spPr bwMode="auto">
                <a:xfrm>
                  <a:off x="4660044" y="3268664"/>
                  <a:ext cx="51442" cy="15828"/>
                </a:xfrm>
                <a:custGeom>
                  <a:avLst/>
                  <a:gdLst>
                    <a:gd name="T0" fmla="*/ 7 w 52"/>
                    <a:gd name="T1" fmla="*/ 12 h 16"/>
                    <a:gd name="T2" fmla="*/ 7 w 52"/>
                    <a:gd name="T3" fmla="*/ 12 h 16"/>
                    <a:gd name="T4" fmla="*/ 0 w 52"/>
                    <a:gd name="T5" fmla="*/ 13 h 16"/>
                    <a:gd name="T6" fmla="*/ 0 w 52"/>
                    <a:gd name="T7" fmla="*/ 16 h 16"/>
                    <a:gd name="T8" fmla="*/ 0 w 52"/>
                    <a:gd name="T9" fmla="*/ 16 h 16"/>
                    <a:gd name="T10" fmla="*/ 7 w 52"/>
                    <a:gd name="T11" fmla="*/ 15 h 16"/>
                    <a:gd name="T12" fmla="*/ 7 w 52"/>
                    <a:gd name="T13" fmla="*/ 12 h 16"/>
                    <a:gd name="T14" fmla="*/ 22 w 52"/>
                    <a:gd name="T15" fmla="*/ 9 h 16"/>
                    <a:gd name="T16" fmla="*/ 22 w 52"/>
                    <a:gd name="T17" fmla="*/ 9 h 16"/>
                    <a:gd name="T18" fmla="*/ 12 w 52"/>
                    <a:gd name="T19" fmla="*/ 10 h 16"/>
                    <a:gd name="T20" fmla="*/ 13 w 52"/>
                    <a:gd name="T21" fmla="*/ 13 h 16"/>
                    <a:gd name="T22" fmla="*/ 13 w 52"/>
                    <a:gd name="T23" fmla="*/ 13 h 16"/>
                    <a:gd name="T24" fmla="*/ 23 w 52"/>
                    <a:gd name="T25" fmla="*/ 12 h 16"/>
                    <a:gd name="T26" fmla="*/ 22 w 52"/>
                    <a:gd name="T27" fmla="*/ 9 h 16"/>
                    <a:gd name="T28" fmla="*/ 36 w 52"/>
                    <a:gd name="T29" fmla="*/ 5 h 16"/>
                    <a:gd name="T30" fmla="*/ 36 w 52"/>
                    <a:gd name="T31" fmla="*/ 5 h 16"/>
                    <a:gd name="T32" fmla="*/ 33 w 52"/>
                    <a:gd name="T33" fmla="*/ 5 h 16"/>
                    <a:gd name="T34" fmla="*/ 33 w 52"/>
                    <a:gd name="T35" fmla="*/ 5 h 16"/>
                    <a:gd name="T36" fmla="*/ 28 w 52"/>
                    <a:gd name="T37" fmla="*/ 8 h 16"/>
                    <a:gd name="T38" fmla="*/ 28 w 52"/>
                    <a:gd name="T39" fmla="*/ 10 h 16"/>
                    <a:gd name="T40" fmla="*/ 28 w 52"/>
                    <a:gd name="T41" fmla="*/ 10 h 16"/>
                    <a:gd name="T42" fmla="*/ 35 w 52"/>
                    <a:gd name="T43" fmla="*/ 8 h 16"/>
                    <a:gd name="T44" fmla="*/ 35 w 52"/>
                    <a:gd name="T45" fmla="*/ 8 h 16"/>
                    <a:gd name="T46" fmla="*/ 38 w 52"/>
                    <a:gd name="T47" fmla="*/ 6 h 16"/>
                    <a:gd name="T48" fmla="*/ 36 w 52"/>
                    <a:gd name="T49" fmla="*/ 5 h 16"/>
                    <a:gd name="T50" fmla="*/ 52 w 52"/>
                    <a:gd name="T51" fmla="*/ 0 h 16"/>
                    <a:gd name="T52" fmla="*/ 52 w 52"/>
                    <a:gd name="T53" fmla="*/ 0 h 16"/>
                    <a:gd name="T54" fmla="*/ 42 w 52"/>
                    <a:gd name="T55" fmla="*/ 3 h 16"/>
                    <a:gd name="T56" fmla="*/ 42 w 52"/>
                    <a:gd name="T57" fmla="*/ 5 h 16"/>
                    <a:gd name="T58" fmla="*/ 42 w 52"/>
                    <a:gd name="T59" fmla="*/ 5 h 16"/>
                    <a:gd name="T60" fmla="*/ 52 w 52"/>
                    <a:gd name="T61" fmla="*/ 3 h 16"/>
                    <a:gd name="T62" fmla="*/ 52 w 52"/>
                    <a:gd name="T63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52" h="16">
                      <a:moveTo>
                        <a:pt x="7" y="12"/>
                      </a:moveTo>
                      <a:lnTo>
                        <a:pt x="7" y="12"/>
                      </a:lnTo>
                      <a:lnTo>
                        <a:pt x="0" y="13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7" y="15"/>
                      </a:lnTo>
                      <a:lnTo>
                        <a:pt x="7" y="12"/>
                      </a:lnTo>
                      <a:close/>
                      <a:moveTo>
                        <a:pt x="22" y="9"/>
                      </a:moveTo>
                      <a:lnTo>
                        <a:pt x="22" y="9"/>
                      </a:lnTo>
                      <a:lnTo>
                        <a:pt x="12" y="10"/>
                      </a:lnTo>
                      <a:lnTo>
                        <a:pt x="13" y="13"/>
                      </a:lnTo>
                      <a:lnTo>
                        <a:pt x="13" y="13"/>
                      </a:lnTo>
                      <a:lnTo>
                        <a:pt x="23" y="12"/>
                      </a:lnTo>
                      <a:lnTo>
                        <a:pt x="22" y="9"/>
                      </a:lnTo>
                      <a:close/>
                      <a:moveTo>
                        <a:pt x="36" y="5"/>
                      </a:moveTo>
                      <a:lnTo>
                        <a:pt x="36" y="5"/>
                      </a:lnTo>
                      <a:lnTo>
                        <a:pt x="33" y="5"/>
                      </a:lnTo>
                      <a:lnTo>
                        <a:pt x="33" y="5"/>
                      </a:lnTo>
                      <a:lnTo>
                        <a:pt x="28" y="8"/>
                      </a:lnTo>
                      <a:lnTo>
                        <a:pt x="28" y="10"/>
                      </a:lnTo>
                      <a:lnTo>
                        <a:pt x="28" y="10"/>
                      </a:lnTo>
                      <a:lnTo>
                        <a:pt x="35" y="8"/>
                      </a:lnTo>
                      <a:lnTo>
                        <a:pt x="35" y="8"/>
                      </a:lnTo>
                      <a:lnTo>
                        <a:pt x="38" y="6"/>
                      </a:lnTo>
                      <a:lnTo>
                        <a:pt x="36" y="5"/>
                      </a:lnTo>
                      <a:close/>
                      <a:moveTo>
                        <a:pt x="52" y="0"/>
                      </a:moveTo>
                      <a:lnTo>
                        <a:pt x="52" y="0"/>
                      </a:lnTo>
                      <a:lnTo>
                        <a:pt x="42" y="3"/>
                      </a:lnTo>
                      <a:lnTo>
                        <a:pt x="42" y="5"/>
                      </a:lnTo>
                      <a:lnTo>
                        <a:pt x="42" y="5"/>
                      </a:lnTo>
                      <a:lnTo>
                        <a:pt x="52" y="3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52" name="Freeform 1606"/>
                <p:cNvSpPr>
                  <a:spLocks noEditPoints="1"/>
                </p:cNvSpPr>
                <p:nvPr/>
              </p:nvSpPr>
              <p:spPr bwMode="auto">
                <a:xfrm>
                  <a:off x="4778755" y="3149953"/>
                  <a:ext cx="72216" cy="101894"/>
                </a:xfrm>
                <a:custGeom>
                  <a:avLst/>
                  <a:gdLst>
                    <a:gd name="T0" fmla="*/ 9 w 73"/>
                    <a:gd name="T1" fmla="*/ 3 h 103"/>
                    <a:gd name="T2" fmla="*/ 0 w 73"/>
                    <a:gd name="T3" fmla="*/ 3 h 103"/>
                    <a:gd name="T4" fmla="*/ 9 w 73"/>
                    <a:gd name="T5" fmla="*/ 6 h 103"/>
                    <a:gd name="T6" fmla="*/ 22 w 73"/>
                    <a:gd name="T7" fmla="*/ 13 h 103"/>
                    <a:gd name="T8" fmla="*/ 19 w 73"/>
                    <a:gd name="T9" fmla="*/ 9 h 103"/>
                    <a:gd name="T10" fmla="*/ 13 w 73"/>
                    <a:gd name="T11" fmla="*/ 9 h 103"/>
                    <a:gd name="T12" fmla="*/ 16 w 73"/>
                    <a:gd name="T13" fmla="*/ 12 h 103"/>
                    <a:gd name="T14" fmla="*/ 22 w 73"/>
                    <a:gd name="T15" fmla="*/ 13 h 103"/>
                    <a:gd name="T16" fmla="*/ 22 w 73"/>
                    <a:gd name="T17" fmla="*/ 29 h 103"/>
                    <a:gd name="T18" fmla="*/ 25 w 73"/>
                    <a:gd name="T19" fmla="*/ 20 h 103"/>
                    <a:gd name="T20" fmla="*/ 25 w 73"/>
                    <a:gd name="T21" fmla="*/ 20 h 103"/>
                    <a:gd name="T22" fmla="*/ 22 w 73"/>
                    <a:gd name="T23" fmla="*/ 19 h 103"/>
                    <a:gd name="T24" fmla="*/ 22 w 73"/>
                    <a:gd name="T25" fmla="*/ 20 h 103"/>
                    <a:gd name="T26" fmla="*/ 22 w 73"/>
                    <a:gd name="T27" fmla="*/ 25 h 103"/>
                    <a:gd name="T28" fmla="*/ 22 w 73"/>
                    <a:gd name="T29" fmla="*/ 29 h 103"/>
                    <a:gd name="T30" fmla="*/ 18 w 73"/>
                    <a:gd name="T31" fmla="*/ 42 h 103"/>
                    <a:gd name="T32" fmla="*/ 18 w 73"/>
                    <a:gd name="T33" fmla="*/ 41 h 103"/>
                    <a:gd name="T34" fmla="*/ 21 w 73"/>
                    <a:gd name="T35" fmla="*/ 33 h 103"/>
                    <a:gd name="T36" fmla="*/ 18 w 73"/>
                    <a:gd name="T37" fmla="*/ 32 h 103"/>
                    <a:gd name="T38" fmla="*/ 15 w 73"/>
                    <a:gd name="T39" fmla="*/ 41 h 103"/>
                    <a:gd name="T40" fmla="*/ 15 w 73"/>
                    <a:gd name="T41" fmla="*/ 42 h 103"/>
                    <a:gd name="T42" fmla="*/ 29 w 73"/>
                    <a:gd name="T43" fmla="*/ 42 h 103"/>
                    <a:gd name="T44" fmla="*/ 28 w 73"/>
                    <a:gd name="T45" fmla="*/ 41 h 103"/>
                    <a:gd name="T46" fmla="*/ 22 w 73"/>
                    <a:gd name="T47" fmla="*/ 42 h 103"/>
                    <a:gd name="T48" fmla="*/ 19 w 73"/>
                    <a:gd name="T49" fmla="*/ 46 h 103"/>
                    <a:gd name="T50" fmla="*/ 23 w 73"/>
                    <a:gd name="T51" fmla="*/ 45 h 103"/>
                    <a:gd name="T52" fmla="*/ 28 w 73"/>
                    <a:gd name="T53" fmla="*/ 44 h 103"/>
                    <a:gd name="T54" fmla="*/ 41 w 73"/>
                    <a:gd name="T55" fmla="*/ 51 h 103"/>
                    <a:gd name="T56" fmla="*/ 34 w 73"/>
                    <a:gd name="T57" fmla="*/ 45 h 103"/>
                    <a:gd name="T58" fmla="*/ 32 w 73"/>
                    <a:gd name="T59" fmla="*/ 46 h 103"/>
                    <a:gd name="T60" fmla="*/ 41 w 73"/>
                    <a:gd name="T61" fmla="*/ 51 h 103"/>
                    <a:gd name="T62" fmla="*/ 51 w 73"/>
                    <a:gd name="T63" fmla="*/ 64 h 103"/>
                    <a:gd name="T64" fmla="*/ 42 w 73"/>
                    <a:gd name="T65" fmla="*/ 57 h 103"/>
                    <a:gd name="T66" fmla="*/ 48 w 73"/>
                    <a:gd name="T67" fmla="*/ 65 h 103"/>
                    <a:gd name="T68" fmla="*/ 58 w 73"/>
                    <a:gd name="T69" fmla="*/ 77 h 103"/>
                    <a:gd name="T70" fmla="*/ 58 w 73"/>
                    <a:gd name="T71" fmla="*/ 77 h 103"/>
                    <a:gd name="T72" fmla="*/ 51 w 73"/>
                    <a:gd name="T73" fmla="*/ 70 h 103"/>
                    <a:gd name="T74" fmla="*/ 55 w 73"/>
                    <a:gd name="T75" fmla="*/ 78 h 103"/>
                    <a:gd name="T76" fmla="*/ 58 w 73"/>
                    <a:gd name="T77" fmla="*/ 77 h 103"/>
                    <a:gd name="T78" fmla="*/ 68 w 73"/>
                    <a:gd name="T79" fmla="*/ 87 h 103"/>
                    <a:gd name="T80" fmla="*/ 61 w 73"/>
                    <a:gd name="T81" fmla="*/ 81 h 103"/>
                    <a:gd name="T82" fmla="*/ 58 w 73"/>
                    <a:gd name="T83" fmla="*/ 83 h 103"/>
                    <a:gd name="T84" fmla="*/ 67 w 73"/>
                    <a:gd name="T85" fmla="*/ 88 h 103"/>
                    <a:gd name="T86" fmla="*/ 73 w 73"/>
                    <a:gd name="T87" fmla="*/ 103 h 103"/>
                    <a:gd name="T88" fmla="*/ 73 w 73"/>
                    <a:gd name="T89" fmla="*/ 97 h 103"/>
                    <a:gd name="T90" fmla="*/ 70 w 73"/>
                    <a:gd name="T91" fmla="*/ 93 h 103"/>
                    <a:gd name="T92" fmla="*/ 70 w 73"/>
                    <a:gd name="T93" fmla="*/ 97 h 103"/>
                    <a:gd name="T94" fmla="*/ 73 w 73"/>
                    <a:gd name="T95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3" h="103">
                      <a:moveTo>
                        <a:pt x="9" y="3"/>
                      </a:moveTo>
                      <a:lnTo>
                        <a:pt x="9" y="3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9" y="6"/>
                      </a:lnTo>
                      <a:lnTo>
                        <a:pt x="9" y="3"/>
                      </a:lnTo>
                      <a:close/>
                      <a:moveTo>
                        <a:pt x="22" y="13"/>
                      </a:moveTo>
                      <a:lnTo>
                        <a:pt x="22" y="13"/>
                      </a:lnTo>
                      <a:lnTo>
                        <a:pt x="19" y="9"/>
                      </a:lnTo>
                      <a:lnTo>
                        <a:pt x="15" y="6"/>
                      </a:lnTo>
                      <a:lnTo>
                        <a:pt x="13" y="9"/>
                      </a:lnTo>
                      <a:lnTo>
                        <a:pt x="13" y="9"/>
                      </a:lnTo>
                      <a:lnTo>
                        <a:pt x="16" y="12"/>
                      </a:lnTo>
                      <a:lnTo>
                        <a:pt x="19" y="15"/>
                      </a:lnTo>
                      <a:lnTo>
                        <a:pt x="22" y="13"/>
                      </a:lnTo>
                      <a:close/>
                      <a:moveTo>
                        <a:pt x="22" y="29"/>
                      </a:moveTo>
                      <a:lnTo>
                        <a:pt x="22" y="29"/>
                      </a:lnTo>
                      <a:lnTo>
                        <a:pt x="23" y="25"/>
                      </a:lnTo>
                      <a:lnTo>
                        <a:pt x="25" y="20"/>
                      </a:lnTo>
                      <a:lnTo>
                        <a:pt x="25" y="20"/>
                      </a:lnTo>
                      <a:lnTo>
                        <a:pt x="25" y="20"/>
                      </a:lnTo>
                      <a:lnTo>
                        <a:pt x="25" y="19"/>
                      </a:lnTo>
                      <a:lnTo>
                        <a:pt x="22" y="19"/>
                      </a:lnTo>
                      <a:lnTo>
                        <a:pt x="22" y="20"/>
                      </a:lnTo>
                      <a:lnTo>
                        <a:pt x="22" y="20"/>
                      </a:lnTo>
                      <a:lnTo>
                        <a:pt x="22" y="20"/>
                      </a:lnTo>
                      <a:lnTo>
                        <a:pt x="22" y="25"/>
                      </a:lnTo>
                      <a:lnTo>
                        <a:pt x="21" y="28"/>
                      </a:lnTo>
                      <a:lnTo>
                        <a:pt x="22" y="29"/>
                      </a:lnTo>
                      <a:close/>
                      <a:moveTo>
                        <a:pt x="18" y="42"/>
                      </a:moveTo>
                      <a:lnTo>
                        <a:pt x="18" y="42"/>
                      </a:lnTo>
                      <a:lnTo>
                        <a:pt x="18" y="41"/>
                      </a:lnTo>
                      <a:lnTo>
                        <a:pt x="18" y="41"/>
                      </a:lnTo>
                      <a:lnTo>
                        <a:pt x="18" y="36"/>
                      </a:lnTo>
                      <a:lnTo>
                        <a:pt x="21" y="33"/>
                      </a:lnTo>
                      <a:lnTo>
                        <a:pt x="18" y="32"/>
                      </a:lnTo>
                      <a:lnTo>
                        <a:pt x="18" y="32"/>
                      </a:lnTo>
                      <a:lnTo>
                        <a:pt x="16" y="36"/>
                      </a:lnTo>
                      <a:lnTo>
                        <a:pt x="15" y="41"/>
                      </a:lnTo>
                      <a:lnTo>
                        <a:pt x="15" y="42"/>
                      </a:lnTo>
                      <a:lnTo>
                        <a:pt x="15" y="42"/>
                      </a:lnTo>
                      <a:lnTo>
                        <a:pt x="18" y="42"/>
                      </a:lnTo>
                      <a:close/>
                      <a:moveTo>
                        <a:pt x="29" y="42"/>
                      </a:moveTo>
                      <a:lnTo>
                        <a:pt x="29" y="42"/>
                      </a:lnTo>
                      <a:lnTo>
                        <a:pt x="28" y="41"/>
                      </a:lnTo>
                      <a:lnTo>
                        <a:pt x="28" y="41"/>
                      </a:lnTo>
                      <a:lnTo>
                        <a:pt x="22" y="42"/>
                      </a:lnTo>
                      <a:lnTo>
                        <a:pt x="19" y="45"/>
                      </a:lnTo>
                      <a:lnTo>
                        <a:pt x="19" y="46"/>
                      </a:lnTo>
                      <a:lnTo>
                        <a:pt x="19" y="46"/>
                      </a:lnTo>
                      <a:lnTo>
                        <a:pt x="23" y="45"/>
                      </a:lnTo>
                      <a:lnTo>
                        <a:pt x="28" y="44"/>
                      </a:lnTo>
                      <a:lnTo>
                        <a:pt x="28" y="44"/>
                      </a:lnTo>
                      <a:lnTo>
                        <a:pt x="29" y="42"/>
                      </a:lnTo>
                      <a:close/>
                      <a:moveTo>
                        <a:pt x="41" y="51"/>
                      </a:moveTo>
                      <a:lnTo>
                        <a:pt x="41" y="51"/>
                      </a:lnTo>
                      <a:lnTo>
                        <a:pt x="34" y="45"/>
                      </a:lnTo>
                      <a:lnTo>
                        <a:pt x="32" y="46"/>
                      </a:lnTo>
                      <a:lnTo>
                        <a:pt x="32" y="46"/>
                      </a:lnTo>
                      <a:lnTo>
                        <a:pt x="39" y="54"/>
                      </a:lnTo>
                      <a:lnTo>
                        <a:pt x="41" y="51"/>
                      </a:lnTo>
                      <a:close/>
                      <a:moveTo>
                        <a:pt x="51" y="64"/>
                      </a:moveTo>
                      <a:lnTo>
                        <a:pt x="51" y="64"/>
                      </a:lnTo>
                      <a:lnTo>
                        <a:pt x="45" y="55"/>
                      </a:lnTo>
                      <a:lnTo>
                        <a:pt x="42" y="57"/>
                      </a:lnTo>
                      <a:lnTo>
                        <a:pt x="42" y="57"/>
                      </a:lnTo>
                      <a:lnTo>
                        <a:pt x="48" y="65"/>
                      </a:lnTo>
                      <a:lnTo>
                        <a:pt x="51" y="64"/>
                      </a:lnTo>
                      <a:close/>
                      <a:moveTo>
                        <a:pt x="58" y="77"/>
                      </a:moveTo>
                      <a:lnTo>
                        <a:pt x="58" y="77"/>
                      </a:lnTo>
                      <a:lnTo>
                        <a:pt x="58" y="77"/>
                      </a:lnTo>
                      <a:lnTo>
                        <a:pt x="54" y="68"/>
                      </a:lnTo>
                      <a:lnTo>
                        <a:pt x="51" y="70"/>
                      </a:lnTo>
                      <a:lnTo>
                        <a:pt x="51" y="70"/>
                      </a:lnTo>
                      <a:lnTo>
                        <a:pt x="55" y="78"/>
                      </a:lnTo>
                      <a:lnTo>
                        <a:pt x="55" y="78"/>
                      </a:lnTo>
                      <a:lnTo>
                        <a:pt x="58" y="77"/>
                      </a:lnTo>
                      <a:close/>
                      <a:moveTo>
                        <a:pt x="68" y="87"/>
                      </a:moveTo>
                      <a:lnTo>
                        <a:pt x="68" y="87"/>
                      </a:lnTo>
                      <a:lnTo>
                        <a:pt x="64" y="84"/>
                      </a:lnTo>
                      <a:lnTo>
                        <a:pt x="61" y="81"/>
                      </a:lnTo>
                      <a:lnTo>
                        <a:pt x="58" y="83"/>
                      </a:lnTo>
                      <a:lnTo>
                        <a:pt x="58" y="83"/>
                      </a:lnTo>
                      <a:lnTo>
                        <a:pt x="63" y="86"/>
                      </a:lnTo>
                      <a:lnTo>
                        <a:pt x="67" y="88"/>
                      </a:lnTo>
                      <a:lnTo>
                        <a:pt x="68" y="87"/>
                      </a:lnTo>
                      <a:close/>
                      <a:moveTo>
                        <a:pt x="73" y="103"/>
                      </a:moveTo>
                      <a:lnTo>
                        <a:pt x="73" y="103"/>
                      </a:lnTo>
                      <a:lnTo>
                        <a:pt x="73" y="97"/>
                      </a:lnTo>
                      <a:lnTo>
                        <a:pt x="71" y="91"/>
                      </a:lnTo>
                      <a:lnTo>
                        <a:pt x="70" y="93"/>
                      </a:lnTo>
                      <a:lnTo>
                        <a:pt x="70" y="93"/>
                      </a:lnTo>
                      <a:lnTo>
                        <a:pt x="70" y="97"/>
                      </a:lnTo>
                      <a:lnTo>
                        <a:pt x="71" y="103"/>
                      </a:lnTo>
                      <a:lnTo>
                        <a:pt x="73" y="10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53" name="Freeform 1607"/>
                <p:cNvSpPr>
                  <a:spLocks noEditPoints="1"/>
                </p:cNvSpPr>
                <p:nvPr/>
              </p:nvSpPr>
              <p:spPr bwMode="auto">
                <a:xfrm>
                  <a:off x="4624431" y="2957047"/>
                  <a:ext cx="35613" cy="263143"/>
                </a:xfrm>
                <a:custGeom>
                  <a:avLst/>
                  <a:gdLst>
                    <a:gd name="T0" fmla="*/ 13 w 36"/>
                    <a:gd name="T1" fmla="*/ 0 h 266"/>
                    <a:gd name="T2" fmla="*/ 13 w 36"/>
                    <a:gd name="T3" fmla="*/ 10 h 266"/>
                    <a:gd name="T4" fmla="*/ 20 w 36"/>
                    <a:gd name="T5" fmla="*/ 23 h 266"/>
                    <a:gd name="T6" fmla="*/ 14 w 36"/>
                    <a:gd name="T7" fmla="*/ 14 h 266"/>
                    <a:gd name="T8" fmla="*/ 24 w 36"/>
                    <a:gd name="T9" fmla="*/ 37 h 266"/>
                    <a:gd name="T10" fmla="*/ 19 w 36"/>
                    <a:gd name="T11" fmla="*/ 29 h 266"/>
                    <a:gd name="T12" fmla="*/ 24 w 36"/>
                    <a:gd name="T13" fmla="*/ 37 h 266"/>
                    <a:gd name="T14" fmla="*/ 23 w 36"/>
                    <a:gd name="T15" fmla="*/ 47 h 266"/>
                    <a:gd name="T16" fmla="*/ 23 w 36"/>
                    <a:gd name="T17" fmla="*/ 43 h 266"/>
                    <a:gd name="T18" fmla="*/ 22 w 36"/>
                    <a:gd name="T19" fmla="*/ 53 h 266"/>
                    <a:gd name="T20" fmla="*/ 16 w 36"/>
                    <a:gd name="T21" fmla="*/ 62 h 266"/>
                    <a:gd name="T22" fmla="*/ 17 w 36"/>
                    <a:gd name="T23" fmla="*/ 56 h 266"/>
                    <a:gd name="T24" fmla="*/ 13 w 36"/>
                    <a:gd name="T25" fmla="*/ 60 h 266"/>
                    <a:gd name="T26" fmla="*/ 14 w 36"/>
                    <a:gd name="T27" fmla="*/ 81 h 266"/>
                    <a:gd name="T28" fmla="*/ 11 w 36"/>
                    <a:gd name="T29" fmla="*/ 71 h 266"/>
                    <a:gd name="T30" fmla="*/ 14 w 36"/>
                    <a:gd name="T31" fmla="*/ 81 h 266"/>
                    <a:gd name="T32" fmla="*/ 16 w 36"/>
                    <a:gd name="T33" fmla="*/ 85 h 266"/>
                    <a:gd name="T34" fmla="*/ 14 w 36"/>
                    <a:gd name="T35" fmla="*/ 97 h 266"/>
                    <a:gd name="T36" fmla="*/ 19 w 36"/>
                    <a:gd name="T37" fmla="*/ 110 h 266"/>
                    <a:gd name="T38" fmla="*/ 14 w 36"/>
                    <a:gd name="T39" fmla="*/ 101 h 266"/>
                    <a:gd name="T40" fmla="*/ 16 w 36"/>
                    <a:gd name="T41" fmla="*/ 111 h 266"/>
                    <a:gd name="T42" fmla="*/ 13 w 36"/>
                    <a:gd name="T43" fmla="*/ 126 h 266"/>
                    <a:gd name="T44" fmla="*/ 14 w 36"/>
                    <a:gd name="T45" fmla="*/ 115 h 266"/>
                    <a:gd name="T46" fmla="*/ 6 w 36"/>
                    <a:gd name="T47" fmla="*/ 139 h 266"/>
                    <a:gd name="T48" fmla="*/ 7 w 36"/>
                    <a:gd name="T49" fmla="*/ 128 h 266"/>
                    <a:gd name="T50" fmla="*/ 6 w 36"/>
                    <a:gd name="T51" fmla="*/ 139 h 266"/>
                    <a:gd name="T52" fmla="*/ 3 w 36"/>
                    <a:gd name="T53" fmla="*/ 146 h 266"/>
                    <a:gd name="T54" fmla="*/ 1 w 36"/>
                    <a:gd name="T55" fmla="*/ 143 h 266"/>
                    <a:gd name="T56" fmla="*/ 0 w 36"/>
                    <a:gd name="T57" fmla="*/ 146 h 266"/>
                    <a:gd name="T58" fmla="*/ 4 w 36"/>
                    <a:gd name="T59" fmla="*/ 152 h 266"/>
                    <a:gd name="T60" fmla="*/ 7 w 36"/>
                    <a:gd name="T61" fmla="*/ 156 h 266"/>
                    <a:gd name="T62" fmla="*/ 11 w 36"/>
                    <a:gd name="T63" fmla="*/ 166 h 266"/>
                    <a:gd name="T64" fmla="*/ 24 w 36"/>
                    <a:gd name="T65" fmla="*/ 175 h 266"/>
                    <a:gd name="T66" fmla="*/ 17 w 36"/>
                    <a:gd name="T67" fmla="*/ 168 h 266"/>
                    <a:gd name="T68" fmla="*/ 22 w 36"/>
                    <a:gd name="T69" fmla="*/ 175 h 266"/>
                    <a:gd name="T70" fmla="*/ 24 w 36"/>
                    <a:gd name="T71" fmla="*/ 175 h 266"/>
                    <a:gd name="T72" fmla="*/ 29 w 36"/>
                    <a:gd name="T73" fmla="*/ 184 h 266"/>
                    <a:gd name="T74" fmla="*/ 26 w 36"/>
                    <a:gd name="T75" fmla="*/ 181 h 266"/>
                    <a:gd name="T76" fmla="*/ 30 w 36"/>
                    <a:gd name="T77" fmla="*/ 205 h 266"/>
                    <a:gd name="T78" fmla="*/ 30 w 36"/>
                    <a:gd name="T79" fmla="*/ 195 h 266"/>
                    <a:gd name="T80" fmla="*/ 27 w 36"/>
                    <a:gd name="T81" fmla="*/ 195 h 266"/>
                    <a:gd name="T82" fmla="*/ 35 w 36"/>
                    <a:gd name="T83" fmla="*/ 218 h 266"/>
                    <a:gd name="T84" fmla="*/ 30 w 36"/>
                    <a:gd name="T85" fmla="*/ 210 h 266"/>
                    <a:gd name="T86" fmla="*/ 30 w 36"/>
                    <a:gd name="T87" fmla="*/ 215 h 266"/>
                    <a:gd name="T88" fmla="*/ 22 w 36"/>
                    <a:gd name="T89" fmla="*/ 221 h 266"/>
                    <a:gd name="T90" fmla="*/ 22 w 36"/>
                    <a:gd name="T91" fmla="*/ 218 h 266"/>
                    <a:gd name="T92" fmla="*/ 16 w 36"/>
                    <a:gd name="T93" fmla="*/ 227 h 266"/>
                    <a:gd name="T94" fmla="*/ 14 w 36"/>
                    <a:gd name="T95" fmla="*/ 218 h 266"/>
                    <a:gd name="T96" fmla="*/ 13 w 36"/>
                    <a:gd name="T97" fmla="*/ 220 h 266"/>
                    <a:gd name="T98" fmla="*/ 16 w 36"/>
                    <a:gd name="T99" fmla="*/ 218 h 266"/>
                    <a:gd name="T100" fmla="*/ 16 w 36"/>
                    <a:gd name="T101" fmla="*/ 220 h 266"/>
                    <a:gd name="T102" fmla="*/ 14 w 36"/>
                    <a:gd name="T103" fmla="*/ 218 h 266"/>
                    <a:gd name="T104" fmla="*/ 13 w 36"/>
                    <a:gd name="T105" fmla="*/ 221 h 266"/>
                    <a:gd name="T106" fmla="*/ 16 w 36"/>
                    <a:gd name="T107" fmla="*/ 228 h 266"/>
                    <a:gd name="T108" fmla="*/ 19 w 36"/>
                    <a:gd name="T109" fmla="*/ 236 h 266"/>
                    <a:gd name="T110" fmla="*/ 14 w 36"/>
                    <a:gd name="T111" fmla="*/ 233 h 266"/>
                    <a:gd name="T112" fmla="*/ 23 w 36"/>
                    <a:gd name="T113" fmla="*/ 240 h 266"/>
                    <a:gd name="T114" fmla="*/ 30 w 36"/>
                    <a:gd name="T115" fmla="*/ 247 h 266"/>
                    <a:gd name="T116" fmla="*/ 24 w 36"/>
                    <a:gd name="T117" fmla="*/ 244 h 266"/>
                    <a:gd name="T118" fmla="*/ 35 w 36"/>
                    <a:gd name="T119" fmla="*/ 266 h 266"/>
                    <a:gd name="T120" fmla="*/ 36 w 36"/>
                    <a:gd name="T121" fmla="*/ 260 h 266"/>
                    <a:gd name="T122" fmla="*/ 33 w 36"/>
                    <a:gd name="T123" fmla="*/ 256 h 266"/>
                    <a:gd name="T124" fmla="*/ 33 w 36"/>
                    <a:gd name="T125" fmla="*/ 266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6" h="266">
                      <a:moveTo>
                        <a:pt x="14" y="8"/>
                      </a:moveTo>
                      <a:lnTo>
                        <a:pt x="14" y="8"/>
                      </a:lnTo>
                      <a:lnTo>
                        <a:pt x="13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3" y="10"/>
                      </a:lnTo>
                      <a:lnTo>
                        <a:pt x="14" y="8"/>
                      </a:lnTo>
                      <a:close/>
                      <a:moveTo>
                        <a:pt x="20" y="23"/>
                      </a:moveTo>
                      <a:lnTo>
                        <a:pt x="20" y="23"/>
                      </a:lnTo>
                      <a:lnTo>
                        <a:pt x="16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7" y="24"/>
                      </a:lnTo>
                      <a:lnTo>
                        <a:pt x="20" y="23"/>
                      </a:lnTo>
                      <a:close/>
                      <a:moveTo>
                        <a:pt x="24" y="37"/>
                      </a:moveTo>
                      <a:lnTo>
                        <a:pt x="24" y="37"/>
                      </a:lnTo>
                      <a:lnTo>
                        <a:pt x="22" y="27"/>
                      </a:lnTo>
                      <a:lnTo>
                        <a:pt x="19" y="29"/>
                      </a:lnTo>
                      <a:lnTo>
                        <a:pt x="19" y="29"/>
                      </a:lnTo>
                      <a:lnTo>
                        <a:pt x="23" y="39"/>
                      </a:lnTo>
                      <a:lnTo>
                        <a:pt x="24" y="37"/>
                      </a:lnTo>
                      <a:close/>
                      <a:moveTo>
                        <a:pt x="22" y="53"/>
                      </a:moveTo>
                      <a:lnTo>
                        <a:pt x="22" y="53"/>
                      </a:lnTo>
                      <a:lnTo>
                        <a:pt x="23" y="47"/>
                      </a:lnTo>
                      <a:lnTo>
                        <a:pt x="24" y="43"/>
                      </a:lnTo>
                      <a:lnTo>
                        <a:pt x="23" y="43"/>
                      </a:lnTo>
                      <a:lnTo>
                        <a:pt x="23" y="43"/>
                      </a:lnTo>
                      <a:lnTo>
                        <a:pt x="22" y="47"/>
                      </a:lnTo>
                      <a:lnTo>
                        <a:pt x="19" y="52"/>
                      </a:lnTo>
                      <a:lnTo>
                        <a:pt x="22" y="53"/>
                      </a:lnTo>
                      <a:close/>
                      <a:moveTo>
                        <a:pt x="14" y="66"/>
                      </a:moveTo>
                      <a:lnTo>
                        <a:pt x="14" y="66"/>
                      </a:lnTo>
                      <a:lnTo>
                        <a:pt x="16" y="62"/>
                      </a:lnTo>
                      <a:lnTo>
                        <a:pt x="16" y="62"/>
                      </a:lnTo>
                      <a:lnTo>
                        <a:pt x="19" y="58"/>
                      </a:lnTo>
                      <a:lnTo>
                        <a:pt x="17" y="56"/>
                      </a:lnTo>
                      <a:lnTo>
                        <a:pt x="17" y="56"/>
                      </a:lnTo>
                      <a:lnTo>
                        <a:pt x="13" y="60"/>
                      </a:lnTo>
                      <a:lnTo>
                        <a:pt x="13" y="60"/>
                      </a:lnTo>
                      <a:lnTo>
                        <a:pt x="11" y="65"/>
                      </a:lnTo>
                      <a:lnTo>
                        <a:pt x="14" y="66"/>
                      </a:lnTo>
                      <a:close/>
                      <a:moveTo>
                        <a:pt x="14" y="81"/>
                      </a:moveTo>
                      <a:lnTo>
                        <a:pt x="14" y="81"/>
                      </a:lnTo>
                      <a:lnTo>
                        <a:pt x="14" y="71"/>
                      </a:lnTo>
                      <a:lnTo>
                        <a:pt x="11" y="71"/>
                      </a:lnTo>
                      <a:lnTo>
                        <a:pt x="11" y="71"/>
                      </a:lnTo>
                      <a:lnTo>
                        <a:pt x="13" y="81"/>
                      </a:lnTo>
                      <a:lnTo>
                        <a:pt x="14" y="81"/>
                      </a:lnTo>
                      <a:close/>
                      <a:moveTo>
                        <a:pt x="17" y="95"/>
                      </a:moveTo>
                      <a:lnTo>
                        <a:pt x="17" y="95"/>
                      </a:lnTo>
                      <a:lnTo>
                        <a:pt x="16" y="85"/>
                      </a:lnTo>
                      <a:lnTo>
                        <a:pt x="13" y="86"/>
                      </a:lnTo>
                      <a:lnTo>
                        <a:pt x="13" y="86"/>
                      </a:lnTo>
                      <a:lnTo>
                        <a:pt x="14" y="97"/>
                      </a:lnTo>
                      <a:lnTo>
                        <a:pt x="17" y="95"/>
                      </a:lnTo>
                      <a:close/>
                      <a:moveTo>
                        <a:pt x="19" y="111"/>
                      </a:moveTo>
                      <a:lnTo>
                        <a:pt x="19" y="110"/>
                      </a:lnTo>
                      <a:lnTo>
                        <a:pt x="19" y="110"/>
                      </a:lnTo>
                      <a:lnTo>
                        <a:pt x="17" y="101"/>
                      </a:lnTo>
                      <a:lnTo>
                        <a:pt x="14" y="101"/>
                      </a:lnTo>
                      <a:lnTo>
                        <a:pt x="14" y="101"/>
                      </a:lnTo>
                      <a:lnTo>
                        <a:pt x="16" y="110"/>
                      </a:lnTo>
                      <a:lnTo>
                        <a:pt x="16" y="111"/>
                      </a:lnTo>
                      <a:lnTo>
                        <a:pt x="19" y="111"/>
                      </a:lnTo>
                      <a:close/>
                      <a:moveTo>
                        <a:pt x="13" y="126"/>
                      </a:moveTo>
                      <a:lnTo>
                        <a:pt x="13" y="126"/>
                      </a:lnTo>
                      <a:lnTo>
                        <a:pt x="17" y="117"/>
                      </a:lnTo>
                      <a:lnTo>
                        <a:pt x="14" y="115"/>
                      </a:lnTo>
                      <a:lnTo>
                        <a:pt x="14" y="115"/>
                      </a:lnTo>
                      <a:lnTo>
                        <a:pt x="10" y="124"/>
                      </a:lnTo>
                      <a:lnTo>
                        <a:pt x="13" y="126"/>
                      </a:lnTo>
                      <a:close/>
                      <a:moveTo>
                        <a:pt x="6" y="139"/>
                      </a:moveTo>
                      <a:lnTo>
                        <a:pt x="6" y="139"/>
                      </a:lnTo>
                      <a:lnTo>
                        <a:pt x="10" y="130"/>
                      </a:lnTo>
                      <a:lnTo>
                        <a:pt x="7" y="128"/>
                      </a:lnTo>
                      <a:lnTo>
                        <a:pt x="7" y="128"/>
                      </a:lnTo>
                      <a:lnTo>
                        <a:pt x="3" y="139"/>
                      </a:lnTo>
                      <a:lnTo>
                        <a:pt x="6" y="139"/>
                      </a:lnTo>
                      <a:close/>
                      <a:moveTo>
                        <a:pt x="4" y="152"/>
                      </a:moveTo>
                      <a:lnTo>
                        <a:pt x="4" y="152"/>
                      </a:lnTo>
                      <a:lnTo>
                        <a:pt x="3" y="146"/>
                      </a:lnTo>
                      <a:lnTo>
                        <a:pt x="3" y="146"/>
                      </a:lnTo>
                      <a:lnTo>
                        <a:pt x="4" y="143"/>
                      </a:lnTo>
                      <a:lnTo>
                        <a:pt x="1" y="143"/>
                      </a:lnTo>
                      <a:lnTo>
                        <a:pt x="1" y="143"/>
                      </a:lnTo>
                      <a:lnTo>
                        <a:pt x="0" y="146"/>
                      </a:lnTo>
                      <a:lnTo>
                        <a:pt x="0" y="146"/>
                      </a:lnTo>
                      <a:lnTo>
                        <a:pt x="1" y="150"/>
                      </a:lnTo>
                      <a:lnTo>
                        <a:pt x="3" y="153"/>
                      </a:lnTo>
                      <a:lnTo>
                        <a:pt x="4" y="152"/>
                      </a:lnTo>
                      <a:close/>
                      <a:moveTo>
                        <a:pt x="14" y="165"/>
                      </a:moveTo>
                      <a:lnTo>
                        <a:pt x="14" y="165"/>
                      </a:lnTo>
                      <a:lnTo>
                        <a:pt x="7" y="156"/>
                      </a:lnTo>
                      <a:lnTo>
                        <a:pt x="6" y="157"/>
                      </a:lnTo>
                      <a:lnTo>
                        <a:pt x="6" y="157"/>
                      </a:lnTo>
                      <a:lnTo>
                        <a:pt x="11" y="166"/>
                      </a:lnTo>
                      <a:lnTo>
                        <a:pt x="14" y="165"/>
                      </a:lnTo>
                      <a:close/>
                      <a:moveTo>
                        <a:pt x="24" y="175"/>
                      </a:moveTo>
                      <a:lnTo>
                        <a:pt x="24" y="175"/>
                      </a:lnTo>
                      <a:lnTo>
                        <a:pt x="23" y="172"/>
                      </a:lnTo>
                      <a:lnTo>
                        <a:pt x="23" y="172"/>
                      </a:lnTo>
                      <a:lnTo>
                        <a:pt x="17" y="168"/>
                      </a:lnTo>
                      <a:lnTo>
                        <a:pt x="16" y="169"/>
                      </a:lnTo>
                      <a:lnTo>
                        <a:pt x="16" y="169"/>
                      </a:lnTo>
                      <a:lnTo>
                        <a:pt x="22" y="175"/>
                      </a:lnTo>
                      <a:lnTo>
                        <a:pt x="22" y="175"/>
                      </a:lnTo>
                      <a:lnTo>
                        <a:pt x="23" y="176"/>
                      </a:lnTo>
                      <a:lnTo>
                        <a:pt x="24" y="175"/>
                      </a:lnTo>
                      <a:close/>
                      <a:moveTo>
                        <a:pt x="30" y="189"/>
                      </a:moveTo>
                      <a:lnTo>
                        <a:pt x="30" y="189"/>
                      </a:lnTo>
                      <a:lnTo>
                        <a:pt x="29" y="184"/>
                      </a:lnTo>
                      <a:lnTo>
                        <a:pt x="27" y="179"/>
                      </a:lnTo>
                      <a:lnTo>
                        <a:pt x="26" y="181"/>
                      </a:lnTo>
                      <a:lnTo>
                        <a:pt x="26" y="181"/>
                      </a:lnTo>
                      <a:lnTo>
                        <a:pt x="27" y="189"/>
                      </a:lnTo>
                      <a:lnTo>
                        <a:pt x="30" y="189"/>
                      </a:lnTo>
                      <a:close/>
                      <a:moveTo>
                        <a:pt x="30" y="205"/>
                      </a:moveTo>
                      <a:lnTo>
                        <a:pt x="30" y="205"/>
                      </a:lnTo>
                      <a:lnTo>
                        <a:pt x="30" y="195"/>
                      </a:lnTo>
                      <a:lnTo>
                        <a:pt x="30" y="195"/>
                      </a:lnTo>
                      <a:lnTo>
                        <a:pt x="27" y="195"/>
                      </a:lnTo>
                      <a:lnTo>
                        <a:pt x="27" y="195"/>
                      </a:lnTo>
                      <a:lnTo>
                        <a:pt x="27" y="195"/>
                      </a:lnTo>
                      <a:lnTo>
                        <a:pt x="27" y="205"/>
                      </a:lnTo>
                      <a:lnTo>
                        <a:pt x="30" y="205"/>
                      </a:lnTo>
                      <a:close/>
                      <a:moveTo>
                        <a:pt x="35" y="218"/>
                      </a:moveTo>
                      <a:lnTo>
                        <a:pt x="35" y="218"/>
                      </a:lnTo>
                      <a:lnTo>
                        <a:pt x="32" y="215"/>
                      </a:lnTo>
                      <a:lnTo>
                        <a:pt x="30" y="210"/>
                      </a:lnTo>
                      <a:lnTo>
                        <a:pt x="27" y="210"/>
                      </a:lnTo>
                      <a:lnTo>
                        <a:pt x="27" y="210"/>
                      </a:lnTo>
                      <a:lnTo>
                        <a:pt x="30" y="215"/>
                      </a:lnTo>
                      <a:lnTo>
                        <a:pt x="33" y="220"/>
                      </a:lnTo>
                      <a:lnTo>
                        <a:pt x="35" y="218"/>
                      </a:lnTo>
                      <a:close/>
                      <a:moveTo>
                        <a:pt x="22" y="221"/>
                      </a:moveTo>
                      <a:lnTo>
                        <a:pt x="32" y="221"/>
                      </a:lnTo>
                      <a:lnTo>
                        <a:pt x="32" y="218"/>
                      </a:lnTo>
                      <a:lnTo>
                        <a:pt x="22" y="218"/>
                      </a:lnTo>
                      <a:lnTo>
                        <a:pt x="22" y="221"/>
                      </a:lnTo>
                      <a:close/>
                      <a:moveTo>
                        <a:pt x="16" y="228"/>
                      </a:moveTo>
                      <a:lnTo>
                        <a:pt x="16" y="227"/>
                      </a:lnTo>
                      <a:lnTo>
                        <a:pt x="16" y="220"/>
                      </a:lnTo>
                      <a:lnTo>
                        <a:pt x="16" y="218"/>
                      </a:lnTo>
                      <a:lnTo>
                        <a:pt x="14" y="218"/>
                      </a:lnTo>
                      <a:lnTo>
                        <a:pt x="13" y="218"/>
                      </a:lnTo>
                      <a:lnTo>
                        <a:pt x="13" y="220"/>
                      </a:lnTo>
                      <a:lnTo>
                        <a:pt x="13" y="220"/>
                      </a:lnTo>
                      <a:lnTo>
                        <a:pt x="13" y="221"/>
                      </a:lnTo>
                      <a:lnTo>
                        <a:pt x="16" y="221"/>
                      </a:lnTo>
                      <a:lnTo>
                        <a:pt x="16" y="218"/>
                      </a:lnTo>
                      <a:lnTo>
                        <a:pt x="14" y="218"/>
                      </a:lnTo>
                      <a:lnTo>
                        <a:pt x="14" y="220"/>
                      </a:lnTo>
                      <a:lnTo>
                        <a:pt x="16" y="220"/>
                      </a:lnTo>
                      <a:lnTo>
                        <a:pt x="16" y="220"/>
                      </a:lnTo>
                      <a:lnTo>
                        <a:pt x="16" y="218"/>
                      </a:lnTo>
                      <a:lnTo>
                        <a:pt x="14" y="218"/>
                      </a:lnTo>
                      <a:lnTo>
                        <a:pt x="13" y="218"/>
                      </a:lnTo>
                      <a:lnTo>
                        <a:pt x="13" y="220"/>
                      </a:lnTo>
                      <a:lnTo>
                        <a:pt x="13" y="221"/>
                      </a:lnTo>
                      <a:lnTo>
                        <a:pt x="13" y="227"/>
                      </a:lnTo>
                      <a:lnTo>
                        <a:pt x="13" y="228"/>
                      </a:lnTo>
                      <a:lnTo>
                        <a:pt x="16" y="228"/>
                      </a:lnTo>
                      <a:close/>
                      <a:moveTo>
                        <a:pt x="23" y="240"/>
                      </a:moveTo>
                      <a:lnTo>
                        <a:pt x="23" y="240"/>
                      </a:lnTo>
                      <a:lnTo>
                        <a:pt x="19" y="236"/>
                      </a:lnTo>
                      <a:lnTo>
                        <a:pt x="17" y="233"/>
                      </a:lnTo>
                      <a:lnTo>
                        <a:pt x="14" y="233"/>
                      </a:lnTo>
                      <a:lnTo>
                        <a:pt x="14" y="233"/>
                      </a:lnTo>
                      <a:lnTo>
                        <a:pt x="17" y="237"/>
                      </a:lnTo>
                      <a:lnTo>
                        <a:pt x="22" y="241"/>
                      </a:lnTo>
                      <a:lnTo>
                        <a:pt x="23" y="240"/>
                      </a:lnTo>
                      <a:close/>
                      <a:moveTo>
                        <a:pt x="33" y="252"/>
                      </a:moveTo>
                      <a:lnTo>
                        <a:pt x="33" y="252"/>
                      </a:lnTo>
                      <a:lnTo>
                        <a:pt x="30" y="247"/>
                      </a:lnTo>
                      <a:lnTo>
                        <a:pt x="27" y="243"/>
                      </a:lnTo>
                      <a:lnTo>
                        <a:pt x="24" y="244"/>
                      </a:lnTo>
                      <a:lnTo>
                        <a:pt x="24" y="244"/>
                      </a:lnTo>
                      <a:lnTo>
                        <a:pt x="32" y="253"/>
                      </a:lnTo>
                      <a:lnTo>
                        <a:pt x="33" y="252"/>
                      </a:lnTo>
                      <a:close/>
                      <a:moveTo>
                        <a:pt x="35" y="266"/>
                      </a:moveTo>
                      <a:lnTo>
                        <a:pt x="35" y="266"/>
                      </a:lnTo>
                      <a:lnTo>
                        <a:pt x="36" y="260"/>
                      </a:lnTo>
                      <a:lnTo>
                        <a:pt x="36" y="260"/>
                      </a:lnTo>
                      <a:lnTo>
                        <a:pt x="36" y="256"/>
                      </a:lnTo>
                      <a:lnTo>
                        <a:pt x="33" y="256"/>
                      </a:lnTo>
                      <a:lnTo>
                        <a:pt x="33" y="256"/>
                      </a:lnTo>
                      <a:lnTo>
                        <a:pt x="33" y="260"/>
                      </a:lnTo>
                      <a:lnTo>
                        <a:pt x="33" y="260"/>
                      </a:lnTo>
                      <a:lnTo>
                        <a:pt x="33" y="266"/>
                      </a:lnTo>
                      <a:lnTo>
                        <a:pt x="35" y="26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54" name="Freeform 1608"/>
                <p:cNvSpPr>
                  <a:spLocks noEditPoints="1"/>
                </p:cNvSpPr>
                <p:nvPr/>
              </p:nvSpPr>
              <p:spPr bwMode="auto">
                <a:xfrm>
                  <a:off x="4548258" y="3120275"/>
                  <a:ext cx="90023" cy="141464"/>
                </a:xfrm>
                <a:custGeom>
                  <a:avLst/>
                  <a:gdLst>
                    <a:gd name="T0" fmla="*/ 90 w 91"/>
                    <a:gd name="T1" fmla="*/ 7 h 143"/>
                    <a:gd name="T2" fmla="*/ 88 w 91"/>
                    <a:gd name="T3" fmla="*/ 0 h 143"/>
                    <a:gd name="T4" fmla="*/ 87 w 91"/>
                    <a:gd name="T5" fmla="*/ 7 h 143"/>
                    <a:gd name="T6" fmla="*/ 87 w 91"/>
                    <a:gd name="T7" fmla="*/ 23 h 143"/>
                    <a:gd name="T8" fmla="*/ 88 w 91"/>
                    <a:gd name="T9" fmla="*/ 13 h 143"/>
                    <a:gd name="T10" fmla="*/ 87 w 91"/>
                    <a:gd name="T11" fmla="*/ 11 h 143"/>
                    <a:gd name="T12" fmla="*/ 87 w 91"/>
                    <a:gd name="T13" fmla="*/ 23 h 143"/>
                    <a:gd name="T14" fmla="*/ 84 w 91"/>
                    <a:gd name="T15" fmla="*/ 37 h 143"/>
                    <a:gd name="T16" fmla="*/ 87 w 91"/>
                    <a:gd name="T17" fmla="*/ 27 h 143"/>
                    <a:gd name="T18" fmla="*/ 84 w 91"/>
                    <a:gd name="T19" fmla="*/ 27 h 143"/>
                    <a:gd name="T20" fmla="*/ 81 w 91"/>
                    <a:gd name="T21" fmla="*/ 36 h 143"/>
                    <a:gd name="T22" fmla="*/ 77 w 91"/>
                    <a:gd name="T23" fmla="*/ 50 h 143"/>
                    <a:gd name="T24" fmla="*/ 81 w 91"/>
                    <a:gd name="T25" fmla="*/ 42 h 143"/>
                    <a:gd name="T26" fmla="*/ 80 w 91"/>
                    <a:gd name="T27" fmla="*/ 40 h 143"/>
                    <a:gd name="T28" fmla="*/ 77 w 91"/>
                    <a:gd name="T29" fmla="*/ 50 h 143"/>
                    <a:gd name="T30" fmla="*/ 68 w 91"/>
                    <a:gd name="T31" fmla="*/ 63 h 143"/>
                    <a:gd name="T32" fmla="*/ 73 w 91"/>
                    <a:gd name="T33" fmla="*/ 55 h 143"/>
                    <a:gd name="T34" fmla="*/ 67 w 91"/>
                    <a:gd name="T35" fmla="*/ 62 h 143"/>
                    <a:gd name="T36" fmla="*/ 59 w 91"/>
                    <a:gd name="T37" fmla="*/ 76 h 143"/>
                    <a:gd name="T38" fmla="*/ 62 w 91"/>
                    <a:gd name="T39" fmla="*/ 72 h 143"/>
                    <a:gd name="T40" fmla="*/ 65 w 91"/>
                    <a:gd name="T41" fmla="*/ 68 h 143"/>
                    <a:gd name="T42" fmla="*/ 64 w 91"/>
                    <a:gd name="T43" fmla="*/ 66 h 143"/>
                    <a:gd name="T44" fmla="*/ 59 w 91"/>
                    <a:gd name="T45" fmla="*/ 71 h 143"/>
                    <a:gd name="T46" fmla="*/ 59 w 91"/>
                    <a:gd name="T47" fmla="*/ 76 h 143"/>
                    <a:gd name="T48" fmla="*/ 48 w 91"/>
                    <a:gd name="T49" fmla="*/ 87 h 143"/>
                    <a:gd name="T50" fmla="*/ 54 w 91"/>
                    <a:gd name="T51" fmla="*/ 78 h 143"/>
                    <a:gd name="T52" fmla="*/ 46 w 91"/>
                    <a:gd name="T53" fmla="*/ 85 h 143"/>
                    <a:gd name="T54" fmla="*/ 38 w 91"/>
                    <a:gd name="T55" fmla="*/ 97 h 143"/>
                    <a:gd name="T56" fmla="*/ 38 w 91"/>
                    <a:gd name="T57" fmla="*/ 97 h 143"/>
                    <a:gd name="T58" fmla="*/ 42 w 91"/>
                    <a:gd name="T59" fmla="*/ 88 h 143"/>
                    <a:gd name="T60" fmla="*/ 36 w 91"/>
                    <a:gd name="T61" fmla="*/ 95 h 143"/>
                    <a:gd name="T62" fmla="*/ 38 w 91"/>
                    <a:gd name="T63" fmla="*/ 97 h 143"/>
                    <a:gd name="T64" fmla="*/ 26 w 91"/>
                    <a:gd name="T65" fmla="*/ 108 h 143"/>
                    <a:gd name="T66" fmla="*/ 32 w 91"/>
                    <a:gd name="T67" fmla="*/ 100 h 143"/>
                    <a:gd name="T68" fmla="*/ 25 w 91"/>
                    <a:gd name="T69" fmla="*/ 105 h 143"/>
                    <a:gd name="T70" fmla="*/ 15 w 91"/>
                    <a:gd name="T71" fmla="*/ 117 h 143"/>
                    <a:gd name="T72" fmla="*/ 22 w 91"/>
                    <a:gd name="T73" fmla="*/ 111 h 143"/>
                    <a:gd name="T74" fmla="*/ 20 w 91"/>
                    <a:gd name="T75" fmla="*/ 108 h 143"/>
                    <a:gd name="T76" fmla="*/ 15 w 91"/>
                    <a:gd name="T77" fmla="*/ 117 h 143"/>
                    <a:gd name="T78" fmla="*/ 6 w 91"/>
                    <a:gd name="T79" fmla="*/ 129 h 143"/>
                    <a:gd name="T80" fmla="*/ 9 w 91"/>
                    <a:gd name="T81" fmla="*/ 118 h 143"/>
                    <a:gd name="T82" fmla="*/ 6 w 91"/>
                    <a:gd name="T83" fmla="*/ 123 h 143"/>
                    <a:gd name="T84" fmla="*/ 6 w 91"/>
                    <a:gd name="T85" fmla="*/ 129 h 143"/>
                    <a:gd name="T86" fmla="*/ 3 w 91"/>
                    <a:gd name="T87" fmla="*/ 143 h 143"/>
                    <a:gd name="T88" fmla="*/ 3 w 91"/>
                    <a:gd name="T89" fmla="*/ 133 h 143"/>
                    <a:gd name="T90" fmla="*/ 0 w 91"/>
                    <a:gd name="T91" fmla="*/ 143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91" h="143">
                      <a:moveTo>
                        <a:pt x="90" y="7"/>
                      </a:moveTo>
                      <a:lnTo>
                        <a:pt x="90" y="7"/>
                      </a:lnTo>
                      <a:lnTo>
                        <a:pt x="91" y="0"/>
                      </a:lnTo>
                      <a:lnTo>
                        <a:pt x="88" y="0"/>
                      </a:lnTo>
                      <a:lnTo>
                        <a:pt x="88" y="0"/>
                      </a:lnTo>
                      <a:lnTo>
                        <a:pt x="87" y="7"/>
                      </a:lnTo>
                      <a:lnTo>
                        <a:pt x="90" y="7"/>
                      </a:lnTo>
                      <a:close/>
                      <a:moveTo>
                        <a:pt x="87" y="23"/>
                      </a:moveTo>
                      <a:lnTo>
                        <a:pt x="87" y="23"/>
                      </a:lnTo>
                      <a:lnTo>
                        <a:pt x="88" y="13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6" y="21"/>
                      </a:lnTo>
                      <a:lnTo>
                        <a:pt x="87" y="23"/>
                      </a:lnTo>
                      <a:close/>
                      <a:moveTo>
                        <a:pt x="84" y="37"/>
                      </a:moveTo>
                      <a:lnTo>
                        <a:pt x="84" y="37"/>
                      </a:lnTo>
                      <a:lnTo>
                        <a:pt x="87" y="29"/>
                      </a:lnTo>
                      <a:lnTo>
                        <a:pt x="87" y="27"/>
                      </a:lnTo>
                      <a:lnTo>
                        <a:pt x="84" y="27"/>
                      </a:lnTo>
                      <a:lnTo>
                        <a:pt x="84" y="27"/>
                      </a:lnTo>
                      <a:lnTo>
                        <a:pt x="84" y="27"/>
                      </a:lnTo>
                      <a:lnTo>
                        <a:pt x="81" y="36"/>
                      </a:lnTo>
                      <a:lnTo>
                        <a:pt x="84" y="37"/>
                      </a:lnTo>
                      <a:close/>
                      <a:moveTo>
                        <a:pt x="77" y="50"/>
                      </a:moveTo>
                      <a:lnTo>
                        <a:pt x="77" y="50"/>
                      </a:lnTo>
                      <a:lnTo>
                        <a:pt x="81" y="42"/>
                      </a:lnTo>
                      <a:lnTo>
                        <a:pt x="80" y="40"/>
                      </a:lnTo>
                      <a:lnTo>
                        <a:pt x="80" y="40"/>
                      </a:lnTo>
                      <a:lnTo>
                        <a:pt x="74" y="50"/>
                      </a:lnTo>
                      <a:lnTo>
                        <a:pt x="77" y="50"/>
                      </a:lnTo>
                      <a:close/>
                      <a:moveTo>
                        <a:pt x="68" y="63"/>
                      </a:moveTo>
                      <a:lnTo>
                        <a:pt x="68" y="63"/>
                      </a:lnTo>
                      <a:lnTo>
                        <a:pt x="74" y="55"/>
                      </a:lnTo>
                      <a:lnTo>
                        <a:pt x="73" y="55"/>
                      </a:lnTo>
                      <a:lnTo>
                        <a:pt x="73" y="55"/>
                      </a:lnTo>
                      <a:lnTo>
                        <a:pt x="67" y="62"/>
                      </a:lnTo>
                      <a:lnTo>
                        <a:pt x="68" y="63"/>
                      </a:lnTo>
                      <a:close/>
                      <a:moveTo>
                        <a:pt x="59" y="76"/>
                      </a:moveTo>
                      <a:lnTo>
                        <a:pt x="59" y="76"/>
                      </a:lnTo>
                      <a:lnTo>
                        <a:pt x="62" y="72"/>
                      </a:lnTo>
                      <a:lnTo>
                        <a:pt x="62" y="72"/>
                      </a:lnTo>
                      <a:lnTo>
                        <a:pt x="65" y="68"/>
                      </a:lnTo>
                      <a:lnTo>
                        <a:pt x="64" y="66"/>
                      </a:lnTo>
                      <a:lnTo>
                        <a:pt x="64" y="66"/>
                      </a:lnTo>
                      <a:lnTo>
                        <a:pt x="59" y="71"/>
                      </a:lnTo>
                      <a:lnTo>
                        <a:pt x="59" y="71"/>
                      </a:lnTo>
                      <a:lnTo>
                        <a:pt x="57" y="74"/>
                      </a:lnTo>
                      <a:lnTo>
                        <a:pt x="59" y="76"/>
                      </a:lnTo>
                      <a:close/>
                      <a:moveTo>
                        <a:pt x="48" y="87"/>
                      </a:moveTo>
                      <a:lnTo>
                        <a:pt x="48" y="87"/>
                      </a:lnTo>
                      <a:lnTo>
                        <a:pt x="55" y="79"/>
                      </a:lnTo>
                      <a:lnTo>
                        <a:pt x="54" y="78"/>
                      </a:lnTo>
                      <a:lnTo>
                        <a:pt x="54" y="78"/>
                      </a:lnTo>
                      <a:lnTo>
                        <a:pt x="46" y="85"/>
                      </a:lnTo>
                      <a:lnTo>
                        <a:pt x="48" y="87"/>
                      </a:lnTo>
                      <a:close/>
                      <a:moveTo>
                        <a:pt x="38" y="97"/>
                      </a:moveTo>
                      <a:lnTo>
                        <a:pt x="38" y="97"/>
                      </a:lnTo>
                      <a:lnTo>
                        <a:pt x="38" y="97"/>
                      </a:lnTo>
                      <a:lnTo>
                        <a:pt x="44" y="90"/>
                      </a:lnTo>
                      <a:lnTo>
                        <a:pt x="42" y="88"/>
                      </a:lnTo>
                      <a:lnTo>
                        <a:pt x="42" y="88"/>
                      </a:lnTo>
                      <a:lnTo>
                        <a:pt x="36" y="95"/>
                      </a:lnTo>
                      <a:lnTo>
                        <a:pt x="35" y="95"/>
                      </a:lnTo>
                      <a:lnTo>
                        <a:pt x="38" y="97"/>
                      </a:lnTo>
                      <a:close/>
                      <a:moveTo>
                        <a:pt x="26" y="108"/>
                      </a:moveTo>
                      <a:lnTo>
                        <a:pt x="26" y="108"/>
                      </a:lnTo>
                      <a:lnTo>
                        <a:pt x="33" y="101"/>
                      </a:lnTo>
                      <a:lnTo>
                        <a:pt x="32" y="100"/>
                      </a:lnTo>
                      <a:lnTo>
                        <a:pt x="32" y="100"/>
                      </a:lnTo>
                      <a:lnTo>
                        <a:pt x="25" y="105"/>
                      </a:lnTo>
                      <a:lnTo>
                        <a:pt x="26" y="108"/>
                      </a:lnTo>
                      <a:close/>
                      <a:moveTo>
                        <a:pt x="15" y="117"/>
                      </a:moveTo>
                      <a:lnTo>
                        <a:pt x="15" y="117"/>
                      </a:lnTo>
                      <a:lnTo>
                        <a:pt x="22" y="111"/>
                      </a:lnTo>
                      <a:lnTo>
                        <a:pt x="20" y="108"/>
                      </a:lnTo>
                      <a:lnTo>
                        <a:pt x="20" y="108"/>
                      </a:lnTo>
                      <a:lnTo>
                        <a:pt x="13" y="116"/>
                      </a:lnTo>
                      <a:lnTo>
                        <a:pt x="15" y="117"/>
                      </a:lnTo>
                      <a:close/>
                      <a:moveTo>
                        <a:pt x="6" y="129"/>
                      </a:moveTo>
                      <a:lnTo>
                        <a:pt x="6" y="129"/>
                      </a:lnTo>
                      <a:lnTo>
                        <a:pt x="10" y="120"/>
                      </a:lnTo>
                      <a:lnTo>
                        <a:pt x="9" y="118"/>
                      </a:lnTo>
                      <a:lnTo>
                        <a:pt x="9" y="118"/>
                      </a:lnTo>
                      <a:lnTo>
                        <a:pt x="6" y="123"/>
                      </a:lnTo>
                      <a:lnTo>
                        <a:pt x="4" y="129"/>
                      </a:lnTo>
                      <a:lnTo>
                        <a:pt x="6" y="129"/>
                      </a:lnTo>
                      <a:close/>
                      <a:moveTo>
                        <a:pt x="3" y="143"/>
                      </a:moveTo>
                      <a:lnTo>
                        <a:pt x="3" y="143"/>
                      </a:lnTo>
                      <a:lnTo>
                        <a:pt x="4" y="134"/>
                      </a:lnTo>
                      <a:lnTo>
                        <a:pt x="3" y="133"/>
                      </a:lnTo>
                      <a:lnTo>
                        <a:pt x="3" y="133"/>
                      </a:lnTo>
                      <a:lnTo>
                        <a:pt x="0" y="143"/>
                      </a:lnTo>
                      <a:lnTo>
                        <a:pt x="3" y="14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55" name="Freeform 1609"/>
                <p:cNvSpPr>
                  <a:spLocks noEditPoints="1"/>
                </p:cNvSpPr>
                <p:nvPr/>
              </p:nvSpPr>
              <p:spPr bwMode="auto">
                <a:xfrm>
                  <a:off x="4455267" y="3108404"/>
                  <a:ext cx="173120" cy="121679"/>
                </a:xfrm>
                <a:custGeom>
                  <a:avLst/>
                  <a:gdLst>
                    <a:gd name="T0" fmla="*/ 0 w 175"/>
                    <a:gd name="T1" fmla="*/ 123 h 123"/>
                    <a:gd name="T2" fmla="*/ 3 w 175"/>
                    <a:gd name="T3" fmla="*/ 116 h 123"/>
                    <a:gd name="T4" fmla="*/ 1 w 175"/>
                    <a:gd name="T5" fmla="*/ 100 h 123"/>
                    <a:gd name="T6" fmla="*/ 3 w 175"/>
                    <a:gd name="T7" fmla="*/ 110 h 123"/>
                    <a:gd name="T8" fmla="*/ 4 w 175"/>
                    <a:gd name="T9" fmla="*/ 86 h 123"/>
                    <a:gd name="T10" fmla="*/ 4 w 175"/>
                    <a:gd name="T11" fmla="*/ 96 h 123"/>
                    <a:gd name="T12" fmla="*/ 4 w 175"/>
                    <a:gd name="T13" fmla="*/ 86 h 123"/>
                    <a:gd name="T14" fmla="*/ 6 w 175"/>
                    <a:gd name="T15" fmla="*/ 81 h 123"/>
                    <a:gd name="T16" fmla="*/ 12 w 175"/>
                    <a:gd name="T17" fmla="*/ 73 h 123"/>
                    <a:gd name="T18" fmla="*/ 14 w 175"/>
                    <a:gd name="T19" fmla="*/ 57 h 123"/>
                    <a:gd name="T20" fmla="*/ 12 w 175"/>
                    <a:gd name="T21" fmla="*/ 67 h 123"/>
                    <a:gd name="T22" fmla="*/ 14 w 175"/>
                    <a:gd name="T23" fmla="*/ 65 h 123"/>
                    <a:gd name="T24" fmla="*/ 14 w 175"/>
                    <a:gd name="T25" fmla="*/ 57 h 123"/>
                    <a:gd name="T26" fmla="*/ 17 w 175"/>
                    <a:gd name="T27" fmla="*/ 44 h 123"/>
                    <a:gd name="T28" fmla="*/ 17 w 175"/>
                    <a:gd name="T29" fmla="*/ 52 h 123"/>
                    <a:gd name="T30" fmla="*/ 20 w 175"/>
                    <a:gd name="T31" fmla="*/ 46 h 123"/>
                    <a:gd name="T32" fmla="*/ 20 w 175"/>
                    <a:gd name="T33" fmla="*/ 42 h 123"/>
                    <a:gd name="T34" fmla="*/ 16 w 175"/>
                    <a:gd name="T35" fmla="*/ 28 h 123"/>
                    <a:gd name="T36" fmla="*/ 17 w 175"/>
                    <a:gd name="T37" fmla="*/ 38 h 123"/>
                    <a:gd name="T38" fmla="*/ 19 w 175"/>
                    <a:gd name="T39" fmla="*/ 29 h 123"/>
                    <a:gd name="T40" fmla="*/ 16 w 175"/>
                    <a:gd name="T41" fmla="*/ 28 h 123"/>
                    <a:gd name="T42" fmla="*/ 17 w 175"/>
                    <a:gd name="T43" fmla="*/ 13 h 123"/>
                    <a:gd name="T44" fmla="*/ 19 w 175"/>
                    <a:gd name="T45" fmla="*/ 22 h 123"/>
                    <a:gd name="T46" fmla="*/ 17 w 175"/>
                    <a:gd name="T47" fmla="*/ 12 h 123"/>
                    <a:gd name="T48" fmla="*/ 22 w 175"/>
                    <a:gd name="T49" fmla="*/ 7 h 123"/>
                    <a:gd name="T50" fmla="*/ 32 w 175"/>
                    <a:gd name="T51" fmla="*/ 6 h 123"/>
                    <a:gd name="T52" fmla="*/ 46 w 175"/>
                    <a:gd name="T53" fmla="*/ 2 h 123"/>
                    <a:gd name="T54" fmla="*/ 42 w 175"/>
                    <a:gd name="T55" fmla="*/ 2 h 123"/>
                    <a:gd name="T56" fmla="*/ 36 w 175"/>
                    <a:gd name="T57" fmla="*/ 4 h 123"/>
                    <a:gd name="T58" fmla="*/ 43 w 175"/>
                    <a:gd name="T59" fmla="*/ 4 h 123"/>
                    <a:gd name="T60" fmla="*/ 59 w 175"/>
                    <a:gd name="T61" fmla="*/ 10 h 123"/>
                    <a:gd name="T62" fmla="*/ 56 w 175"/>
                    <a:gd name="T63" fmla="*/ 7 h 123"/>
                    <a:gd name="T64" fmla="*/ 51 w 175"/>
                    <a:gd name="T65" fmla="*/ 6 h 123"/>
                    <a:gd name="T66" fmla="*/ 58 w 175"/>
                    <a:gd name="T67" fmla="*/ 13 h 123"/>
                    <a:gd name="T68" fmla="*/ 72 w 175"/>
                    <a:gd name="T69" fmla="*/ 6 h 123"/>
                    <a:gd name="T70" fmla="*/ 64 w 175"/>
                    <a:gd name="T71" fmla="*/ 13 h 123"/>
                    <a:gd name="T72" fmla="*/ 74 w 175"/>
                    <a:gd name="T73" fmla="*/ 9 h 123"/>
                    <a:gd name="T74" fmla="*/ 88 w 175"/>
                    <a:gd name="T75" fmla="*/ 10 h 123"/>
                    <a:gd name="T76" fmla="*/ 78 w 175"/>
                    <a:gd name="T77" fmla="*/ 7 h 123"/>
                    <a:gd name="T78" fmla="*/ 87 w 175"/>
                    <a:gd name="T79" fmla="*/ 12 h 123"/>
                    <a:gd name="T80" fmla="*/ 101 w 175"/>
                    <a:gd name="T81" fmla="*/ 13 h 123"/>
                    <a:gd name="T82" fmla="*/ 93 w 175"/>
                    <a:gd name="T83" fmla="*/ 12 h 123"/>
                    <a:gd name="T84" fmla="*/ 100 w 175"/>
                    <a:gd name="T85" fmla="*/ 15 h 123"/>
                    <a:gd name="T86" fmla="*/ 101 w 175"/>
                    <a:gd name="T87" fmla="*/ 13 h 123"/>
                    <a:gd name="T88" fmla="*/ 107 w 175"/>
                    <a:gd name="T89" fmla="*/ 12 h 123"/>
                    <a:gd name="T90" fmla="*/ 117 w 175"/>
                    <a:gd name="T91" fmla="*/ 12 h 123"/>
                    <a:gd name="T92" fmla="*/ 132 w 175"/>
                    <a:gd name="T93" fmla="*/ 9 h 123"/>
                    <a:gd name="T94" fmla="*/ 122 w 175"/>
                    <a:gd name="T95" fmla="*/ 7 h 123"/>
                    <a:gd name="T96" fmla="*/ 125 w 175"/>
                    <a:gd name="T97" fmla="*/ 10 h 123"/>
                    <a:gd name="T98" fmla="*/ 132 w 175"/>
                    <a:gd name="T99" fmla="*/ 9 h 123"/>
                    <a:gd name="T100" fmla="*/ 142 w 175"/>
                    <a:gd name="T101" fmla="*/ 10 h 123"/>
                    <a:gd name="T102" fmla="*/ 138 w 175"/>
                    <a:gd name="T103" fmla="*/ 10 h 123"/>
                    <a:gd name="T104" fmla="*/ 138 w 175"/>
                    <a:gd name="T105" fmla="*/ 12 h 123"/>
                    <a:gd name="T106" fmla="*/ 148 w 175"/>
                    <a:gd name="T107" fmla="*/ 13 h 123"/>
                    <a:gd name="T108" fmla="*/ 161 w 175"/>
                    <a:gd name="T109" fmla="*/ 6 h 123"/>
                    <a:gd name="T110" fmla="*/ 152 w 175"/>
                    <a:gd name="T111" fmla="*/ 9 h 123"/>
                    <a:gd name="T112" fmla="*/ 158 w 175"/>
                    <a:gd name="T113" fmla="*/ 10 h 123"/>
                    <a:gd name="T114" fmla="*/ 161 w 175"/>
                    <a:gd name="T115" fmla="*/ 6 h 123"/>
                    <a:gd name="T116" fmla="*/ 165 w 175"/>
                    <a:gd name="T117" fmla="*/ 4 h 123"/>
                    <a:gd name="T118" fmla="*/ 175 w 175"/>
                    <a:gd name="T119" fmla="*/ 2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75" h="123">
                      <a:moveTo>
                        <a:pt x="0" y="116"/>
                      </a:moveTo>
                      <a:lnTo>
                        <a:pt x="0" y="116"/>
                      </a:lnTo>
                      <a:lnTo>
                        <a:pt x="0" y="123"/>
                      </a:lnTo>
                      <a:lnTo>
                        <a:pt x="3" y="123"/>
                      </a:lnTo>
                      <a:lnTo>
                        <a:pt x="3" y="123"/>
                      </a:lnTo>
                      <a:lnTo>
                        <a:pt x="3" y="116"/>
                      </a:lnTo>
                      <a:lnTo>
                        <a:pt x="0" y="116"/>
                      </a:lnTo>
                      <a:close/>
                      <a:moveTo>
                        <a:pt x="1" y="100"/>
                      </a:moveTo>
                      <a:lnTo>
                        <a:pt x="1" y="100"/>
                      </a:lnTo>
                      <a:lnTo>
                        <a:pt x="0" y="110"/>
                      </a:lnTo>
                      <a:lnTo>
                        <a:pt x="3" y="110"/>
                      </a:lnTo>
                      <a:lnTo>
                        <a:pt x="3" y="110"/>
                      </a:lnTo>
                      <a:lnTo>
                        <a:pt x="3" y="100"/>
                      </a:lnTo>
                      <a:lnTo>
                        <a:pt x="1" y="100"/>
                      </a:lnTo>
                      <a:close/>
                      <a:moveTo>
                        <a:pt x="4" y="86"/>
                      </a:moveTo>
                      <a:lnTo>
                        <a:pt x="4" y="86"/>
                      </a:lnTo>
                      <a:lnTo>
                        <a:pt x="1" y="96"/>
                      </a:lnTo>
                      <a:lnTo>
                        <a:pt x="4" y="96"/>
                      </a:lnTo>
                      <a:lnTo>
                        <a:pt x="4" y="96"/>
                      </a:lnTo>
                      <a:lnTo>
                        <a:pt x="7" y="86"/>
                      </a:lnTo>
                      <a:lnTo>
                        <a:pt x="4" y="86"/>
                      </a:lnTo>
                      <a:close/>
                      <a:moveTo>
                        <a:pt x="10" y="71"/>
                      </a:moveTo>
                      <a:lnTo>
                        <a:pt x="10" y="71"/>
                      </a:lnTo>
                      <a:lnTo>
                        <a:pt x="6" y="81"/>
                      </a:lnTo>
                      <a:lnTo>
                        <a:pt x="9" y="81"/>
                      </a:lnTo>
                      <a:lnTo>
                        <a:pt x="9" y="81"/>
                      </a:lnTo>
                      <a:lnTo>
                        <a:pt x="12" y="73"/>
                      </a:lnTo>
                      <a:lnTo>
                        <a:pt x="10" y="71"/>
                      </a:lnTo>
                      <a:close/>
                      <a:moveTo>
                        <a:pt x="14" y="57"/>
                      </a:moveTo>
                      <a:lnTo>
                        <a:pt x="14" y="57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2" y="67"/>
                      </a:lnTo>
                      <a:lnTo>
                        <a:pt x="13" y="67"/>
                      </a:lnTo>
                      <a:lnTo>
                        <a:pt x="13" y="67"/>
                      </a:lnTo>
                      <a:lnTo>
                        <a:pt x="14" y="65"/>
                      </a:lnTo>
                      <a:lnTo>
                        <a:pt x="14" y="65"/>
                      </a:lnTo>
                      <a:lnTo>
                        <a:pt x="17" y="58"/>
                      </a:lnTo>
                      <a:lnTo>
                        <a:pt x="14" y="57"/>
                      </a:lnTo>
                      <a:close/>
                      <a:moveTo>
                        <a:pt x="17" y="44"/>
                      </a:moveTo>
                      <a:lnTo>
                        <a:pt x="17" y="44"/>
                      </a:lnTo>
                      <a:lnTo>
                        <a:pt x="17" y="44"/>
                      </a:lnTo>
                      <a:lnTo>
                        <a:pt x="17" y="46"/>
                      </a:lnTo>
                      <a:lnTo>
                        <a:pt x="17" y="46"/>
                      </a:lnTo>
                      <a:lnTo>
                        <a:pt x="17" y="52"/>
                      </a:lnTo>
                      <a:lnTo>
                        <a:pt x="19" y="54"/>
                      </a:lnTo>
                      <a:lnTo>
                        <a:pt x="19" y="54"/>
                      </a:lnTo>
                      <a:lnTo>
                        <a:pt x="20" y="46"/>
                      </a:lnTo>
                      <a:lnTo>
                        <a:pt x="20" y="46"/>
                      </a:lnTo>
                      <a:lnTo>
                        <a:pt x="20" y="44"/>
                      </a:lnTo>
                      <a:lnTo>
                        <a:pt x="20" y="42"/>
                      </a:lnTo>
                      <a:lnTo>
                        <a:pt x="17" y="44"/>
                      </a:lnTo>
                      <a:close/>
                      <a:moveTo>
                        <a:pt x="16" y="28"/>
                      </a:moveTo>
                      <a:lnTo>
                        <a:pt x="16" y="28"/>
                      </a:lnTo>
                      <a:lnTo>
                        <a:pt x="16" y="29"/>
                      </a:lnTo>
                      <a:lnTo>
                        <a:pt x="16" y="29"/>
                      </a:lnTo>
                      <a:lnTo>
                        <a:pt x="17" y="38"/>
                      </a:lnTo>
                      <a:lnTo>
                        <a:pt x="19" y="38"/>
                      </a:lnTo>
                      <a:lnTo>
                        <a:pt x="19" y="38"/>
                      </a:lnTo>
                      <a:lnTo>
                        <a:pt x="19" y="29"/>
                      </a:lnTo>
                      <a:lnTo>
                        <a:pt x="19" y="29"/>
                      </a:lnTo>
                      <a:lnTo>
                        <a:pt x="19" y="28"/>
                      </a:lnTo>
                      <a:lnTo>
                        <a:pt x="16" y="28"/>
                      </a:lnTo>
                      <a:close/>
                      <a:moveTo>
                        <a:pt x="17" y="12"/>
                      </a:moveTo>
                      <a:lnTo>
                        <a:pt x="17" y="13"/>
                      </a:lnTo>
                      <a:lnTo>
                        <a:pt x="17" y="13"/>
                      </a:lnTo>
                      <a:lnTo>
                        <a:pt x="17" y="22"/>
                      </a:lnTo>
                      <a:lnTo>
                        <a:pt x="19" y="22"/>
                      </a:lnTo>
                      <a:lnTo>
                        <a:pt x="19" y="22"/>
                      </a:lnTo>
                      <a:lnTo>
                        <a:pt x="20" y="13"/>
                      </a:lnTo>
                      <a:lnTo>
                        <a:pt x="20" y="13"/>
                      </a:lnTo>
                      <a:lnTo>
                        <a:pt x="17" y="12"/>
                      </a:lnTo>
                      <a:close/>
                      <a:moveTo>
                        <a:pt x="32" y="3"/>
                      </a:moveTo>
                      <a:lnTo>
                        <a:pt x="32" y="3"/>
                      </a:lnTo>
                      <a:lnTo>
                        <a:pt x="22" y="7"/>
                      </a:lnTo>
                      <a:lnTo>
                        <a:pt x="23" y="10"/>
                      </a:lnTo>
                      <a:lnTo>
                        <a:pt x="23" y="10"/>
                      </a:lnTo>
                      <a:lnTo>
                        <a:pt x="32" y="6"/>
                      </a:lnTo>
                      <a:lnTo>
                        <a:pt x="32" y="3"/>
                      </a:lnTo>
                      <a:close/>
                      <a:moveTo>
                        <a:pt x="46" y="2"/>
                      </a:moveTo>
                      <a:lnTo>
                        <a:pt x="46" y="2"/>
                      </a:lnTo>
                      <a:lnTo>
                        <a:pt x="43" y="2"/>
                      </a:lnTo>
                      <a:lnTo>
                        <a:pt x="42" y="2"/>
                      </a:lnTo>
                      <a:lnTo>
                        <a:pt x="42" y="2"/>
                      </a:lnTo>
                      <a:lnTo>
                        <a:pt x="36" y="3"/>
                      </a:lnTo>
                      <a:lnTo>
                        <a:pt x="36" y="4"/>
                      </a:lnTo>
                      <a:lnTo>
                        <a:pt x="36" y="4"/>
                      </a:lnTo>
                      <a:lnTo>
                        <a:pt x="42" y="4"/>
                      </a:lnTo>
                      <a:lnTo>
                        <a:pt x="43" y="4"/>
                      </a:lnTo>
                      <a:lnTo>
                        <a:pt x="43" y="4"/>
                      </a:lnTo>
                      <a:lnTo>
                        <a:pt x="46" y="4"/>
                      </a:lnTo>
                      <a:lnTo>
                        <a:pt x="46" y="2"/>
                      </a:lnTo>
                      <a:close/>
                      <a:moveTo>
                        <a:pt x="59" y="10"/>
                      </a:moveTo>
                      <a:lnTo>
                        <a:pt x="59" y="10"/>
                      </a:lnTo>
                      <a:lnTo>
                        <a:pt x="59" y="10"/>
                      </a:lnTo>
                      <a:lnTo>
                        <a:pt x="56" y="7"/>
                      </a:lnTo>
                      <a:lnTo>
                        <a:pt x="52" y="4"/>
                      </a:lnTo>
                      <a:lnTo>
                        <a:pt x="51" y="6"/>
                      </a:lnTo>
                      <a:lnTo>
                        <a:pt x="51" y="6"/>
                      </a:lnTo>
                      <a:lnTo>
                        <a:pt x="55" y="9"/>
                      </a:lnTo>
                      <a:lnTo>
                        <a:pt x="58" y="12"/>
                      </a:lnTo>
                      <a:lnTo>
                        <a:pt x="58" y="13"/>
                      </a:lnTo>
                      <a:lnTo>
                        <a:pt x="59" y="10"/>
                      </a:lnTo>
                      <a:close/>
                      <a:moveTo>
                        <a:pt x="72" y="6"/>
                      </a:moveTo>
                      <a:lnTo>
                        <a:pt x="72" y="6"/>
                      </a:lnTo>
                      <a:lnTo>
                        <a:pt x="72" y="6"/>
                      </a:lnTo>
                      <a:lnTo>
                        <a:pt x="64" y="10"/>
                      </a:lnTo>
                      <a:lnTo>
                        <a:pt x="64" y="13"/>
                      </a:lnTo>
                      <a:lnTo>
                        <a:pt x="64" y="13"/>
                      </a:lnTo>
                      <a:lnTo>
                        <a:pt x="74" y="9"/>
                      </a:lnTo>
                      <a:lnTo>
                        <a:pt x="74" y="9"/>
                      </a:lnTo>
                      <a:lnTo>
                        <a:pt x="72" y="6"/>
                      </a:lnTo>
                      <a:close/>
                      <a:moveTo>
                        <a:pt x="88" y="10"/>
                      </a:moveTo>
                      <a:lnTo>
                        <a:pt x="88" y="10"/>
                      </a:lnTo>
                      <a:lnTo>
                        <a:pt x="83" y="7"/>
                      </a:lnTo>
                      <a:lnTo>
                        <a:pt x="78" y="6"/>
                      </a:lnTo>
                      <a:lnTo>
                        <a:pt x="78" y="7"/>
                      </a:lnTo>
                      <a:lnTo>
                        <a:pt x="78" y="7"/>
                      </a:lnTo>
                      <a:lnTo>
                        <a:pt x="83" y="9"/>
                      </a:lnTo>
                      <a:lnTo>
                        <a:pt x="87" y="12"/>
                      </a:lnTo>
                      <a:lnTo>
                        <a:pt x="88" y="10"/>
                      </a:lnTo>
                      <a:close/>
                      <a:moveTo>
                        <a:pt x="101" y="13"/>
                      </a:moveTo>
                      <a:lnTo>
                        <a:pt x="101" y="13"/>
                      </a:lnTo>
                      <a:lnTo>
                        <a:pt x="100" y="13"/>
                      </a:lnTo>
                      <a:lnTo>
                        <a:pt x="100" y="13"/>
                      </a:lnTo>
                      <a:lnTo>
                        <a:pt x="93" y="12"/>
                      </a:lnTo>
                      <a:lnTo>
                        <a:pt x="91" y="15"/>
                      </a:lnTo>
                      <a:lnTo>
                        <a:pt x="91" y="15"/>
                      </a:lnTo>
                      <a:lnTo>
                        <a:pt x="100" y="15"/>
                      </a:lnTo>
                      <a:lnTo>
                        <a:pt x="100" y="15"/>
                      </a:lnTo>
                      <a:lnTo>
                        <a:pt x="103" y="15"/>
                      </a:lnTo>
                      <a:lnTo>
                        <a:pt x="101" y="13"/>
                      </a:lnTo>
                      <a:close/>
                      <a:moveTo>
                        <a:pt x="116" y="10"/>
                      </a:moveTo>
                      <a:lnTo>
                        <a:pt x="116" y="10"/>
                      </a:lnTo>
                      <a:lnTo>
                        <a:pt x="107" y="12"/>
                      </a:lnTo>
                      <a:lnTo>
                        <a:pt x="107" y="15"/>
                      </a:lnTo>
                      <a:lnTo>
                        <a:pt x="107" y="15"/>
                      </a:lnTo>
                      <a:lnTo>
                        <a:pt x="117" y="12"/>
                      </a:lnTo>
                      <a:lnTo>
                        <a:pt x="116" y="10"/>
                      </a:lnTo>
                      <a:close/>
                      <a:moveTo>
                        <a:pt x="132" y="9"/>
                      </a:moveTo>
                      <a:lnTo>
                        <a:pt x="132" y="9"/>
                      </a:lnTo>
                      <a:lnTo>
                        <a:pt x="125" y="7"/>
                      </a:lnTo>
                      <a:lnTo>
                        <a:pt x="125" y="7"/>
                      </a:lnTo>
                      <a:lnTo>
                        <a:pt x="122" y="7"/>
                      </a:lnTo>
                      <a:lnTo>
                        <a:pt x="122" y="10"/>
                      </a:lnTo>
                      <a:lnTo>
                        <a:pt x="122" y="10"/>
                      </a:lnTo>
                      <a:lnTo>
                        <a:pt x="125" y="10"/>
                      </a:lnTo>
                      <a:lnTo>
                        <a:pt x="125" y="10"/>
                      </a:lnTo>
                      <a:lnTo>
                        <a:pt x="132" y="12"/>
                      </a:lnTo>
                      <a:lnTo>
                        <a:pt x="132" y="9"/>
                      </a:lnTo>
                      <a:close/>
                      <a:moveTo>
                        <a:pt x="146" y="10"/>
                      </a:moveTo>
                      <a:lnTo>
                        <a:pt x="146" y="10"/>
                      </a:lnTo>
                      <a:lnTo>
                        <a:pt x="142" y="10"/>
                      </a:lnTo>
                      <a:lnTo>
                        <a:pt x="142" y="10"/>
                      </a:lnTo>
                      <a:lnTo>
                        <a:pt x="139" y="10"/>
                      </a:lnTo>
                      <a:lnTo>
                        <a:pt x="138" y="10"/>
                      </a:lnTo>
                      <a:lnTo>
                        <a:pt x="136" y="12"/>
                      </a:lnTo>
                      <a:lnTo>
                        <a:pt x="138" y="12"/>
                      </a:lnTo>
                      <a:lnTo>
                        <a:pt x="138" y="12"/>
                      </a:lnTo>
                      <a:lnTo>
                        <a:pt x="142" y="13"/>
                      </a:lnTo>
                      <a:lnTo>
                        <a:pt x="142" y="13"/>
                      </a:lnTo>
                      <a:lnTo>
                        <a:pt x="148" y="13"/>
                      </a:lnTo>
                      <a:lnTo>
                        <a:pt x="146" y="10"/>
                      </a:lnTo>
                      <a:close/>
                      <a:moveTo>
                        <a:pt x="161" y="6"/>
                      </a:moveTo>
                      <a:lnTo>
                        <a:pt x="161" y="6"/>
                      </a:lnTo>
                      <a:lnTo>
                        <a:pt x="158" y="7"/>
                      </a:lnTo>
                      <a:lnTo>
                        <a:pt x="158" y="7"/>
                      </a:lnTo>
                      <a:lnTo>
                        <a:pt x="152" y="9"/>
                      </a:lnTo>
                      <a:lnTo>
                        <a:pt x="152" y="12"/>
                      </a:lnTo>
                      <a:lnTo>
                        <a:pt x="152" y="12"/>
                      </a:lnTo>
                      <a:lnTo>
                        <a:pt x="158" y="10"/>
                      </a:lnTo>
                      <a:lnTo>
                        <a:pt x="158" y="10"/>
                      </a:lnTo>
                      <a:lnTo>
                        <a:pt x="162" y="9"/>
                      </a:lnTo>
                      <a:lnTo>
                        <a:pt x="161" y="6"/>
                      </a:lnTo>
                      <a:close/>
                      <a:moveTo>
                        <a:pt x="175" y="0"/>
                      </a:moveTo>
                      <a:lnTo>
                        <a:pt x="175" y="0"/>
                      </a:lnTo>
                      <a:lnTo>
                        <a:pt x="165" y="4"/>
                      </a:lnTo>
                      <a:lnTo>
                        <a:pt x="167" y="6"/>
                      </a:lnTo>
                      <a:lnTo>
                        <a:pt x="167" y="6"/>
                      </a:lnTo>
                      <a:lnTo>
                        <a:pt x="175" y="2"/>
                      </a:lnTo>
                      <a:lnTo>
                        <a:pt x="175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56" name="Freeform 1610"/>
                <p:cNvSpPr>
                  <a:spLocks noEditPoints="1"/>
                </p:cNvSpPr>
                <p:nvPr/>
              </p:nvSpPr>
              <p:spPr bwMode="auto">
                <a:xfrm>
                  <a:off x="4360298" y="3134125"/>
                  <a:ext cx="113765" cy="113765"/>
                </a:xfrm>
                <a:custGeom>
                  <a:avLst/>
                  <a:gdLst>
                    <a:gd name="T0" fmla="*/ 5 w 115"/>
                    <a:gd name="T1" fmla="*/ 115 h 115"/>
                    <a:gd name="T2" fmla="*/ 6 w 115"/>
                    <a:gd name="T3" fmla="*/ 104 h 115"/>
                    <a:gd name="T4" fmla="*/ 0 w 115"/>
                    <a:gd name="T5" fmla="*/ 90 h 115"/>
                    <a:gd name="T6" fmla="*/ 3 w 115"/>
                    <a:gd name="T7" fmla="*/ 100 h 115"/>
                    <a:gd name="T8" fmla="*/ 3 w 115"/>
                    <a:gd name="T9" fmla="*/ 94 h 115"/>
                    <a:gd name="T10" fmla="*/ 0 w 115"/>
                    <a:gd name="T11" fmla="*/ 90 h 115"/>
                    <a:gd name="T12" fmla="*/ 3 w 115"/>
                    <a:gd name="T13" fmla="*/ 80 h 115"/>
                    <a:gd name="T14" fmla="*/ 3 w 115"/>
                    <a:gd name="T15" fmla="*/ 86 h 115"/>
                    <a:gd name="T16" fmla="*/ 8 w 115"/>
                    <a:gd name="T17" fmla="*/ 77 h 115"/>
                    <a:gd name="T18" fmla="*/ 12 w 115"/>
                    <a:gd name="T19" fmla="*/ 64 h 115"/>
                    <a:gd name="T20" fmla="*/ 12 w 115"/>
                    <a:gd name="T21" fmla="*/ 74 h 115"/>
                    <a:gd name="T22" fmla="*/ 15 w 115"/>
                    <a:gd name="T23" fmla="*/ 64 h 115"/>
                    <a:gd name="T24" fmla="*/ 11 w 115"/>
                    <a:gd name="T25" fmla="*/ 49 h 115"/>
                    <a:gd name="T26" fmla="*/ 12 w 115"/>
                    <a:gd name="T27" fmla="*/ 60 h 115"/>
                    <a:gd name="T28" fmla="*/ 13 w 115"/>
                    <a:gd name="T29" fmla="*/ 49 h 115"/>
                    <a:gd name="T30" fmla="*/ 8 w 115"/>
                    <a:gd name="T31" fmla="*/ 34 h 115"/>
                    <a:gd name="T32" fmla="*/ 9 w 115"/>
                    <a:gd name="T33" fmla="*/ 44 h 115"/>
                    <a:gd name="T34" fmla="*/ 11 w 115"/>
                    <a:gd name="T35" fmla="*/ 35 h 115"/>
                    <a:gd name="T36" fmla="*/ 18 w 115"/>
                    <a:gd name="T37" fmla="*/ 22 h 115"/>
                    <a:gd name="T38" fmla="*/ 13 w 115"/>
                    <a:gd name="T39" fmla="*/ 23 h 115"/>
                    <a:gd name="T40" fmla="*/ 12 w 115"/>
                    <a:gd name="T41" fmla="*/ 29 h 115"/>
                    <a:gd name="T42" fmla="*/ 15 w 115"/>
                    <a:gd name="T43" fmla="*/ 26 h 115"/>
                    <a:gd name="T44" fmla="*/ 18 w 115"/>
                    <a:gd name="T45" fmla="*/ 22 h 115"/>
                    <a:gd name="T46" fmla="*/ 28 w 115"/>
                    <a:gd name="T47" fmla="*/ 22 h 115"/>
                    <a:gd name="T48" fmla="*/ 24 w 115"/>
                    <a:gd name="T49" fmla="*/ 25 h 115"/>
                    <a:gd name="T50" fmla="*/ 28 w 115"/>
                    <a:gd name="T51" fmla="*/ 25 h 115"/>
                    <a:gd name="T52" fmla="*/ 48 w 115"/>
                    <a:gd name="T53" fmla="*/ 22 h 115"/>
                    <a:gd name="T54" fmla="*/ 47 w 115"/>
                    <a:gd name="T55" fmla="*/ 23 h 115"/>
                    <a:gd name="T56" fmla="*/ 38 w 115"/>
                    <a:gd name="T57" fmla="*/ 25 h 115"/>
                    <a:gd name="T58" fmla="*/ 50 w 115"/>
                    <a:gd name="T59" fmla="*/ 25 h 115"/>
                    <a:gd name="T60" fmla="*/ 63 w 115"/>
                    <a:gd name="T61" fmla="*/ 16 h 115"/>
                    <a:gd name="T62" fmla="*/ 54 w 115"/>
                    <a:gd name="T63" fmla="*/ 23 h 115"/>
                    <a:gd name="T64" fmla="*/ 77 w 115"/>
                    <a:gd name="T65" fmla="*/ 15 h 115"/>
                    <a:gd name="T66" fmla="*/ 71 w 115"/>
                    <a:gd name="T67" fmla="*/ 15 h 115"/>
                    <a:gd name="T68" fmla="*/ 67 w 115"/>
                    <a:gd name="T69" fmla="*/ 18 h 115"/>
                    <a:gd name="T70" fmla="*/ 77 w 115"/>
                    <a:gd name="T71" fmla="*/ 16 h 115"/>
                    <a:gd name="T72" fmla="*/ 89 w 115"/>
                    <a:gd name="T73" fmla="*/ 9 h 115"/>
                    <a:gd name="T74" fmla="*/ 83 w 115"/>
                    <a:gd name="T75" fmla="*/ 15 h 115"/>
                    <a:gd name="T76" fmla="*/ 86 w 115"/>
                    <a:gd name="T77" fmla="*/ 16 h 115"/>
                    <a:gd name="T78" fmla="*/ 92 w 115"/>
                    <a:gd name="T79" fmla="*/ 10 h 115"/>
                    <a:gd name="T80" fmla="*/ 102 w 115"/>
                    <a:gd name="T81" fmla="*/ 2 h 115"/>
                    <a:gd name="T82" fmla="*/ 95 w 115"/>
                    <a:gd name="T83" fmla="*/ 2 h 115"/>
                    <a:gd name="T84" fmla="*/ 92 w 115"/>
                    <a:gd name="T85" fmla="*/ 5 h 115"/>
                    <a:gd name="T86" fmla="*/ 95 w 115"/>
                    <a:gd name="T87" fmla="*/ 5 h 115"/>
                    <a:gd name="T88" fmla="*/ 99 w 115"/>
                    <a:gd name="T89" fmla="*/ 3 h 115"/>
                    <a:gd name="T90" fmla="*/ 115 w 115"/>
                    <a:gd name="T91" fmla="*/ 9 h 115"/>
                    <a:gd name="T92" fmla="*/ 106 w 115"/>
                    <a:gd name="T93" fmla="*/ 5 h 115"/>
                    <a:gd name="T94" fmla="*/ 109 w 115"/>
                    <a:gd name="T95" fmla="*/ 9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15" h="115">
                      <a:moveTo>
                        <a:pt x="3" y="106"/>
                      </a:moveTo>
                      <a:lnTo>
                        <a:pt x="3" y="106"/>
                      </a:lnTo>
                      <a:lnTo>
                        <a:pt x="5" y="115"/>
                      </a:lnTo>
                      <a:lnTo>
                        <a:pt x="6" y="115"/>
                      </a:lnTo>
                      <a:lnTo>
                        <a:pt x="6" y="115"/>
                      </a:lnTo>
                      <a:lnTo>
                        <a:pt x="6" y="104"/>
                      </a:lnTo>
                      <a:lnTo>
                        <a:pt x="3" y="106"/>
                      </a:lnTo>
                      <a:close/>
                      <a:moveTo>
                        <a:pt x="0" y="90"/>
                      </a:moveTo>
                      <a:lnTo>
                        <a:pt x="0" y="90"/>
                      </a:lnTo>
                      <a:lnTo>
                        <a:pt x="2" y="96"/>
                      </a:lnTo>
                      <a:lnTo>
                        <a:pt x="2" y="96"/>
                      </a:lnTo>
                      <a:lnTo>
                        <a:pt x="3" y="100"/>
                      </a:lnTo>
                      <a:lnTo>
                        <a:pt x="5" y="100"/>
                      </a:lnTo>
                      <a:lnTo>
                        <a:pt x="5" y="100"/>
                      </a:lnTo>
                      <a:lnTo>
                        <a:pt x="3" y="94"/>
                      </a:lnTo>
                      <a:lnTo>
                        <a:pt x="3" y="94"/>
                      </a:lnTo>
                      <a:lnTo>
                        <a:pt x="2" y="90"/>
                      </a:lnTo>
                      <a:lnTo>
                        <a:pt x="0" y="90"/>
                      </a:lnTo>
                      <a:close/>
                      <a:moveTo>
                        <a:pt x="8" y="77"/>
                      </a:moveTo>
                      <a:lnTo>
                        <a:pt x="8" y="77"/>
                      </a:lnTo>
                      <a:lnTo>
                        <a:pt x="3" y="80"/>
                      </a:lnTo>
                      <a:lnTo>
                        <a:pt x="0" y="86"/>
                      </a:lnTo>
                      <a:lnTo>
                        <a:pt x="3" y="86"/>
                      </a:lnTo>
                      <a:lnTo>
                        <a:pt x="3" y="86"/>
                      </a:lnTo>
                      <a:lnTo>
                        <a:pt x="5" y="81"/>
                      </a:lnTo>
                      <a:lnTo>
                        <a:pt x="9" y="78"/>
                      </a:lnTo>
                      <a:lnTo>
                        <a:pt x="8" y="77"/>
                      </a:lnTo>
                      <a:close/>
                      <a:moveTo>
                        <a:pt x="12" y="64"/>
                      </a:move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2" y="70"/>
                      </a:lnTo>
                      <a:lnTo>
                        <a:pt x="11" y="73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3" y="70"/>
                      </a:lnTo>
                      <a:lnTo>
                        <a:pt x="15" y="64"/>
                      </a:lnTo>
                      <a:lnTo>
                        <a:pt x="15" y="64"/>
                      </a:lnTo>
                      <a:lnTo>
                        <a:pt x="12" y="64"/>
                      </a:lnTo>
                      <a:close/>
                      <a:moveTo>
                        <a:pt x="11" y="49"/>
                      </a:moveTo>
                      <a:lnTo>
                        <a:pt x="11" y="49"/>
                      </a:lnTo>
                      <a:lnTo>
                        <a:pt x="11" y="49"/>
                      </a:lnTo>
                      <a:lnTo>
                        <a:pt x="12" y="60"/>
                      </a:lnTo>
                      <a:lnTo>
                        <a:pt x="15" y="60"/>
                      </a:lnTo>
                      <a:lnTo>
                        <a:pt x="15" y="60"/>
                      </a:lnTo>
                      <a:lnTo>
                        <a:pt x="13" y="49"/>
                      </a:lnTo>
                      <a:lnTo>
                        <a:pt x="13" y="49"/>
                      </a:lnTo>
                      <a:lnTo>
                        <a:pt x="11" y="49"/>
                      </a:lnTo>
                      <a:close/>
                      <a:moveTo>
                        <a:pt x="8" y="34"/>
                      </a:moveTo>
                      <a:lnTo>
                        <a:pt x="8" y="35"/>
                      </a:lnTo>
                      <a:lnTo>
                        <a:pt x="8" y="35"/>
                      </a:lnTo>
                      <a:lnTo>
                        <a:pt x="9" y="44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11" y="35"/>
                      </a:lnTo>
                      <a:lnTo>
                        <a:pt x="11" y="34"/>
                      </a:lnTo>
                      <a:lnTo>
                        <a:pt x="8" y="34"/>
                      </a:lnTo>
                      <a:close/>
                      <a:moveTo>
                        <a:pt x="18" y="22"/>
                      </a:moveTo>
                      <a:lnTo>
                        <a:pt x="18" y="22"/>
                      </a:lnTo>
                      <a:lnTo>
                        <a:pt x="13" y="23"/>
                      </a:lnTo>
                      <a:lnTo>
                        <a:pt x="13" y="23"/>
                      </a:lnTo>
                      <a:lnTo>
                        <a:pt x="11" y="26"/>
                      </a:lnTo>
                      <a:lnTo>
                        <a:pt x="9" y="29"/>
                      </a:lnTo>
                      <a:lnTo>
                        <a:pt x="12" y="29"/>
                      </a:lnTo>
                      <a:lnTo>
                        <a:pt x="12" y="29"/>
                      </a:lnTo>
                      <a:lnTo>
                        <a:pt x="13" y="28"/>
                      </a:lnTo>
                      <a:lnTo>
                        <a:pt x="15" y="26"/>
                      </a:lnTo>
                      <a:lnTo>
                        <a:pt x="15" y="26"/>
                      </a:lnTo>
                      <a:lnTo>
                        <a:pt x="19" y="25"/>
                      </a:lnTo>
                      <a:lnTo>
                        <a:pt x="18" y="22"/>
                      </a:lnTo>
                      <a:close/>
                      <a:moveTo>
                        <a:pt x="34" y="22"/>
                      </a:moveTo>
                      <a:lnTo>
                        <a:pt x="34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4" y="22"/>
                      </a:lnTo>
                      <a:lnTo>
                        <a:pt x="24" y="25"/>
                      </a:lnTo>
                      <a:lnTo>
                        <a:pt x="24" y="25"/>
                      </a:lnTo>
                      <a:lnTo>
                        <a:pt x="28" y="25"/>
                      </a:lnTo>
                      <a:lnTo>
                        <a:pt x="28" y="25"/>
                      </a:lnTo>
                      <a:lnTo>
                        <a:pt x="34" y="25"/>
                      </a:lnTo>
                      <a:lnTo>
                        <a:pt x="34" y="22"/>
                      </a:lnTo>
                      <a:close/>
                      <a:moveTo>
                        <a:pt x="48" y="22"/>
                      </a:moveTo>
                      <a:lnTo>
                        <a:pt x="48" y="22"/>
                      </a:lnTo>
                      <a:lnTo>
                        <a:pt x="47" y="23"/>
                      </a:lnTo>
                      <a:lnTo>
                        <a:pt x="47" y="23"/>
                      </a:lnTo>
                      <a:lnTo>
                        <a:pt x="38" y="22"/>
                      </a:lnTo>
                      <a:lnTo>
                        <a:pt x="38" y="25"/>
                      </a:lnTo>
                      <a:lnTo>
                        <a:pt x="38" y="25"/>
                      </a:lnTo>
                      <a:lnTo>
                        <a:pt x="47" y="25"/>
                      </a:lnTo>
                      <a:lnTo>
                        <a:pt x="47" y="25"/>
                      </a:lnTo>
                      <a:lnTo>
                        <a:pt x="50" y="25"/>
                      </a:lnTo>
                      <a:lnTo>
                        <a:pt x="48" y="22"/>
                      </a:lnTo>
                      <a:close/>
                      <a:moveTo>
                        <a:pt x="63" y="16"/>
                      </a:moveTo>
                      <a:lnTo>
                        <a:pt x="63" y="16"/>
                      </a:lnTo>
                      <a:lnTo>
                        <a:pt x="53" y="20"/>
                      </a:lnTo>
                      <a:lnTo>
                        <a:pt x="54" y="23"/>
                      </a:lnTo>
                      <a:lnTo>
                        <a:pt x="54" y="23"/>
                      </a:lnTo>
                      <a:lnTo>
                        <a:pt x="63" y="19"/>
                      </a:lnTo>
                      <a:lnTo>
                        <a:pt x="63" y="16"/>
                      </a:lnTo>
                      <a:close/>
                      <a:moveTo>
                        <a:pt x="77" y="15"/>
                      </a:moveTo>
                      <a:lnTo>
                        <a:pt x="77" y="15"/>
                      </a:lnTo>
                      <a:lnTo>
                        <a:pt x="71" y="15"/>
                      </a:lnTo>
                      <a:lnTo>
                        <a:pt x="71" y="15"/>
                      </a:lnTo>
                      <a:lnTo>
                        <a:pt x="67" y="15"/>
                      </a:lnTo>
                      <a:lnTo>
                        <a:pt x="67" y="18"/>
                      </a:lnTo>
                      <a:lnTo>
                        <a:pt x="67" y="18"/>
                      </a:lnTo>
                      <a:lnTo>
                        <a:pt x="71" y="16"/>
                      </a:lnTo>
                      <a:lnTo>
                        <a:pt x="71" y="16"/>
                      </a:lnTo>
                      <a:lnTo>
                        <a:pt x="77" y="16"/>
                      </a:lnTo>
                      <a:lnTo>
                        <a:pt x="77" y="15"/>
                      </a:lnTo>
                      <a:close/>
                      <a:moveTo>
                        <a:pt x="89" y="9"/>
                      </a:moveTo>
                      <a:lnTo>
                        <a:pt x="89" y="9"/>
                      </a:lnTo>
                      <a:lnTo>
                        <a:pt x="86" y="13"/>
                      </a:lnTo>
                      <a:lnTo>
                        <a:pt x="86" y="13"/>
                      </a:lnTo>
                      <a:lnTo>
                        <a:pt x="83" y="15"/>
                      </a:lnTo>
                      <a:lnTo>
                        <a:pt x="83" y="16"/>
                      </a:lnTo>
                      <a:lnTo>
                        <a:pt x="83" y="16"/>
                      </a:lnTo>
                      <a:lnTo>
                        <a:pt x="86" y="16"/>
                      </a:lnTo>
                      <a:lnTo>
                        <a:pt x="87" y="15"/>
                      </a:lnTo>
                      <a:lnTo>
                        <a:pt x="87" y="15"/>
                      </a:lnTo>
                      <a:lnTo>
                        <a:pt x="92" y="10"/>
                      </a:lnTo>
                      <a:lnTo>
                        <a:pt x="89" y="9"/>
                      </a:lnTo>
                      <a:close/>
                      <a:moveTo>
                        <a:pt x="102" y="2"/>
                      </a:moveTo>
                      <a:lnTo>
                        <a:pt x="102" y="2"/>
                      </a:lnTo>
                      <a:lnTo>
                        <a:pt x="99" y="0"/>
                      </a:lnTo>
                      <a:lnTo>
                        <a:pt x="99" y="0"/>
                      </a:lnTo>
                      <a:lnTo>
                        <a:pt x="95" y="2"/>
                      </a:lnTo>
                      <a:lnTo>
                        <a:pt x="93" y="3"/>
                      </a:lnTo>
                      <a:lnTo>
                        <a:pt x="93" y="3"/>
                      </a:lnTo>
                      <a:lnTo>
                        <a:pt x="92" y="5"/>
                      </a:lnTo>
                      <a:lnTo>
                        <a:pt x="93" y="6"/>
                      </a:lnTo>
                      <a:lnTo>
                        <a:pt x="93" y="6"/>
                      </a:lnTo>
                      <a:lnTo>
                        <a:pt x="95" y="5"/>
                      </a:lnTo>
                      <a:lnTo>
                        <a:pt x="95" y="5"/>
                      </a:lnTo>
                      <a:lnTo>
                        <a:pt x="99" y="3"/>
                      </a:lnTo>
                      <a:lnTo>
                        <a:pt x="99" y="3"/>
                      </a:lnTo>
                      <a:lnTo>
                        <a:pt x="100" y="3"/>
                      </a:lnTo>
                      <a:lnTo>
                        <a:pt x="102" y="2"/>
                      </a:lnTo>
                      <a:close/>
                      <a:moveTo>
                        <a:pt x="115" y="9"/>
                      </a:moveTo>
                      <a:lnTo>
                        <a:pt x="115" y="9"/>
                      </a:lnTo>
                      <a:lnTo>
                        <a:pt x="109" y="7"/>
                      </a:lnTo>
                      <a:lnTo>
                        <a:pt x="106" y="5"/>
                      </a:lnTo>
                      <a:lnTo>
                        <a:pt x="105" y="6"/>
                      </a:lnTo>
                      <a:lnTo>
                        <a:pt x="105" y="6"/>
                      </a:lnTo>
                      <a:lnTo>
                        <a:pt x="109" y="9"/>
                      </a:lnTo>
                      <a:lnTo>
                        <a:pt x="113" y="12"/>
                      </a:lnTo>
                      <a:lnTo>
                        <a:pt x="115" y="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57" name="Freeform 1611"/>
                <p:cNvSpPr>
                  <a:spLocks noEditPoints="1"/>
                </p:cNvSpPr>
                <p:nvPr/>
              </p:nvSpPr>
              <p:spPr bwMode="auto">
                <a:xfrm>
                  <a:off x="4412729" y="3155888"/>
                  <a:ext cx="14839" cy="83098"/>
                </a:xfrm>
                <a:custGeom>
                  <a:avLst/>
                  <a:gdLst>
                    <a:gd name="T0" fmla="*/ 5 w 15"/>
                    <a:gd name="T1" fmla="*/ 10 h 84"/>
                    <a:gd name="T2" fmla="*/ 5 w 15"/>
                    <a:gd name="T3" fmla="*/ 10 h 84"/>
                    <a:gd name="T4" fmla="*/ 1 w 15"/>
                    <a:gd name="T5" fmla="*/ 0 h 84"/>
                    <a:gd name="T6" fmla="*/ 0 w 15"/>
                    <a:gd name="T7" fmla="*/ 1 h 84"/>
                    <a:gd name="T8" fmla="*/ 0 w 15"/>
                    <a:gd name="T9" fmla="*/ 1 h 84"/>
                    <a:gd name="T10" fmla="*/ 2 w 15"/>
                    <a:gd name="T11" fmla="*/ 10 h 84"/>
                    <a:gd name="T12" fmla="*/ 5 w 15"/>
                    <a:gd name="T13" fmla="*/ 10 h 84"/>
                    <a:gd name="T14" fmla="*/ 10 w 15"/>
                    <a:gd name="T15" fmla="*/ 25 h 84"/>
                    <a:gd name="T16" fmla="*/ 10 w 15"/>
                    <a:gd name="T17" fmla="*/ 25 h 84"/>
                    <a:gd name="T18" fmla="*/ 7 w 15"/>
                    <a:gd name="T19" fmla="*/ 14 h 84"/>
                    <a:gd name="T20" fmla="*/ 5 w 15"/>
                    <a:gd name="T21" fmla="*/ 16 h 84"/>
                    <a:gd name="T22" fmla="*/ 5 w 15"/>
                    <a:gd name="T23" fmla="*/ 16 h 84"/>
                    <a:gd name="T24" fmla="*/ 8 w 15"/>
                    <a:gd name="T25" fmla="*/ 25 h 84"/>
                    <a:gd name="T26" fmla="*/ 10 w 15"/>
                    <a:gd name="T27" fmla="*/ 25 h 84"/>
                    <a:gd name="T28" fmla="*/ 14 w 15"/>
                    <a:gd name="T29" fmla="*/ 39 h 84"/>
                    <a:gd name="T30" fmla="*/ 14 w 15"/>
                    <a:gd name="T31" fmla="*/ 39 h 84"/>
                    <a:gd name="T32" fmla="*/ 13 w 15"/>
                    <a:gd name="T33" fmla="*/ 32 h 84"/>
                    <a:gd name="T34" fmla="*/ 13 w 15"/>
                    <a:gd name="T35" fmla="*/ 32 h 84"/>
                    <a:gd name="T36" fmla="*/ 11 w 15"/>
                    <a:gd name="T37" fmla="*/ 29 h 84"/>
                    <a:gd name="T38" fmla="*/ 10 w 15"/>
                    <a:gd name="T39" fmla="*/ 30 h 84"/>
                    <a:gd name="T40" fmla="*/ 10 w 15"/>
                    <a:gd name="T41" fmla="*/ 30 h 84"/>
                    <a:gd name="T42" fmla="*/ 10 w 15"/>
                    <a:gd name="T43" fmla="*/ 32 h 84"/>
                    <a:gd name="T44" fmla="*/ 10 w 15"/>
                    <a:gd name="T45" fmla="*/ 32 h 84"/>
                    <a:gd name="T46" fmla="*/ 11 w 15"/>
                    <a:gd name="T47" fmla="*/ 39 h 84"/>
                    <a:gd name="T48" fmla="*/ 14 w 15"/>
                    <a:gd name="T49" fmla="*/ 39 h 84"/>
                    <a:gd name="T50" fmla="*/ 11 w 15"/>
                    <a:gd name="T51" fmla="*/ 55 h 84"/>
                    <a:gd name="T52" fmla="*/ 11 w 15"/>
                    <a:gd name="T53" fmla="*/ 55 h 84"/>
                    <a:gd name="T54" fmla="*/ 13 w 15"/>
                    <a:gd name="T55" fmla="*/ 45 h 84"/>
                    <a:gd name="T56" fmla="*/ 11 w 15"/>
                    <a:gd name="T57" fmla="*/ 45 h 84"/>
                    <a:gd name="T58" fmla="*/ 11 w 15"/>
                    <a:gd name="T59" fmla="*/ 45 h 84"/>
                    <a:gd name="T60" fmla="*/ 8 w 15"/>
                    <a:gd name="T61" fmla="*/ 54 h 84"/>
                    <a:gd name="T62" fmla="*/ 11 w 15"/>
                    <a:gd name="T63" fmla="*/ 55 h 84"/>
                    <a:gd name="T64" fmla="*/ 13 w 15"/>
                    <a:gd name="T65" fmla="*/ 69 h 84"/>
                    <a:gd name="T66" fmla="*/ 13 w 15"/>
                    <a:gd name="T67" fmla="*/ 69 h 84"/>
                    <a:gd name="T68" fmla="*/ 11 w 15"/>
                    <a:gd name="T69" fmla="*/ 61 h 84"/>
                    <a:gd name="T70" fmla="*/ 11 w 15"/>
                    <a:gd name="T71" fmla="*/ 61 h 84"/>
                    <a:gd name="T72" fmla="*/ 11 w 15"/>
                    <a:gd name="T73" fmla="*/ 59 h 84"/>
                    <a:gd name="T74" fmla="*/ 8 w 15"/>
                    <a:gd name="T75" fmla="*/ 59 h 84"/>
                    <a:gd name="T76" fmla="*/ 8 w 15"/>
                    <a:gd name="T77" fmla="*/ 59 h 84"/>
                    <a:gd name="T78" fmla="*/ 8 w 15"/>
                    <a:gd name="T79" fmla="*/ 61 h 84"/>
                    <a:gd name="T80" fmla="*/ 8 w 15"/>
                    <a:gd name="T81" fmla="*/ 61 h 84"/>
                    <a:gd name="T82" fmla="*/ 10 w 15"/>
                    <a:gd name="T83" fmla="*/ 69 h 84"/>
                    <a:gd name="T84" fmla="*/ 13 w 15"/>
                    <a:gd name="T85" fmla="*/ 69 h 84"/>
                    <a:gd name="T86" fmla="*/ 15 w 15"/>
                    <a:gd name="T87" fmla="*/ 84 h 84"/>
                    <a:gd name="T88" fmla="*/ 15 w 15"/>
                    <a:gd name="T89" fmla="*/ 84 h 84"/>
                    <a:gd name="T90" fmla="*/ 13 w 15"/>
                    <a:gd name="T91" fmla="*/ 74 h 84"/>
                    <a:gd name="T92" fmla="*/ 11 w 15"/>
                    <a:gd name="T93" fmla="*/ 75 h 84"/>
                    <a:gd name="T94" fmla="*/ 11 w 15"/>
                    <a:gd name="T95" fmla="*/ 75 h 84"/>
                    <a:gd name="T96" fmla="*/ 13 w 15"/>
                    <a:gd name="T97" fmla="*/ 84 h 84"/>
                    <a:gd name="T98" fmla="*/ 15 w 15"/>
                    <a:gd name="T99" fmla="*/ 8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5" h="84">
                      <a:moveTo>
                        <a:pt x="5" y="10"/>
                      </a:moveTo>
                      <a:lnTo>
                        <a:pt x="5" y="1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2" y="10"/>
                      </a:lnTo>
                      <a:lnTo>
                        <a:pt x="5" y="10"/>
                      </a:lnTo>
                      <a:close/>
                      <a:moveTo>
                        <a:pt x="10" y="25"/>
                      </a:moveTo>
                      <a:lnTo>
                        <a:pt x="10" y="25"/>
                      </a:lnTo>
                      <a:lnTo>
                        <a:pt x="7" y="14"/>
                      </a:lnTo>
                      <a:lnTo>
                        <a:pt x="5" y="16"/>
                      </a:lnTo>
                      <a:lnTo>
                        <a:pt x="5" y="16"/>
                      </a:lnTo>
                      <a:lnTo>
                        <a:pt x="8" y="25"/>
                      </a:lnTo>
                      <a:lnTo>
                        <a:pt x="10" y="25"/>
                      </a:lnTo>
                      <a:close/>
                      <a:moveTo>
                        <a:pt x="14" y="39"/>
                      </a:moveTo>
                      <a:lnTo>
                        <a:pt x="14" y="39"/>
                      </a:lnTo>
                      <a:lnTo>
                        <a:pt x="13" y="32"/>
                      </a:lnTo>
                      <a:lnTo>
                        <a:pt x="13" y="32"/>
                      </a:lnTo>
                      <a:lnTo>
                        <a:pt x="11" y="29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2"/>
                      </a:lnTo>
                      <a:lnTo>
                        <a:pt x="10" y="32"/>
                      </a:lnTo>
                      <a:lnTo>
                        <a:pt x="11" y="39"/>
                      </a:lnTo>
                      <a:lnTo>
                        <a:pt x="14" y="39"/>
                      </a:lnTo>
                      <a:close/>
                      <a:moveTo>
                        <a:pt x="11" y="55"/>
                      </a:moveTo>
                      <a:lnTo>
                        <a:pt x="11" y="55"/>
                      </a:lnTo>
                      <a:lnTo>
                        <a:pt x="13" y="45"/>
                      </a:lnTo>
                      <a:lnTo>
                        <a:pt x="11" y="45"/>
                      </a:lnTo>
                      <a:lnTo>
                        <a:pt x="11" y="45"/>
                      </a:lnTo>
                      <a:lnTo>
                        <a:pt x="8" y="54"/>
                      </a:lnTo>
                      <a:lnTo>
                        <a:pt x="11" y="55"/>
                      </a:lnTo>
                      <a:close/>
                      <a:moveTo>
                        <a:pt x="13" y="69"/>
                      </a:moveTo>
                      <a:lnTo>
                        <a:pt x="13" y="69"/>
                      </a:lnTo>
                      <a:lnTo>
                        <a:pt x="11" y="61"/>
                      </a:lnTo>
                      <a:lnTo>
                        <a:pt x="11" y="61"/>
                      </a:lnTo>
                      <a:lnTo>
                        <a:pt x="11" y="59"/>
                      </a:lnTo>
                      <a:lnTo>
                        <a:pt x="8" y="59"/>
                      </a:lnTo>
                      <a:lnTo>
                        <a:pt x="8" y="59"/>
                      </a:lnTo>
                      <a:lnTo>
                        <a:pt x="8" y="61"/>
                      </a:lnTo>
                      <a:lnTo>
                        <a:pt x="8" y="61"/>
                      </a:lnTo>
                      <a:lnTo>
                        <a:pt x="10" y="69"/>
                      </a:lnTo>
                      <a:lnTo>
                        <a:pt x="13" y="69"/>
                      </a:lnTo>
                      <a:close/>
                      <a:moveTo>
                        <a:pt x="15" y="84"/>
                      </a:moveTo>
                      <a:lnTo>
                        <a:pt x="15" y="84"/>
                      </a:lnTo>
                      <a:lnTo>
                        <a:pt x="13" y="74"/>
                      </a:lnTo>
                      <a:lnTo>
                        <a:pt x="11" y="75"/>
                      </a:lnTo>
                      <a:lnTo>
                        <a:pt x="11" y="75"/>
                      </a:lnTo>
                      <a:lnTo>
                        <a:pt x="13" y="84"/>
                      </a:lnTo>
                      <a:lnTo>
                        <a:pt x="15" y="8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65" name="Freeform 1613"/>
                <p:cNvSpPr>
                  <a:spLocks noEditPoints="1"/>
                </p:cNvSpPr>
                <p:nvPr/>
              </p:nvSpPr>
              <p:spPr bwMode="auto">
                <a:xfrm>
                  <a:off x="4426578" y="3148964"/>
                  <a:ext cx="13850" cy="83098"/>
                </a:xfrm>
                <a:custGeom>
                  <a:avLst/>
                  <a:gdLst>
                    <a:gd name="T0" fmla="*/ 10 w 14"/>
                    <a:gd name="T1" fmla="*/ 74 h 84"/>
                    <a:gd name="T2" fmla="*/ 10 w 14"/>
                    <a:gd name="T3" fmla="*/ 74 h 84"/>
                    <a:gd name="T4" fmla="*/ 12 w 14"/>
                    <a:gd name="T5" fmla="*/ 84 h 84"/>
                    <a:gd name="T6" fmla="*/ 14 w 14"/>
                    <a:gd name="T7" fmla="*/ 82 h 84"/>
                    <a:gd name="T8" fmla="*/ 14 w 14"/>
                    <a:gd name="T9" fmla="*/ 82 h 84"/>
                    <a:gd name="T10" fmla="*/ 13 w 14"/>
                    <a:gd name="T11" fmla="*/ 74 h 84"/>
                    <a:gd name="T12" fmla="*/ 10 w 14"/>
                    <a:gd name="T13" fmla="*/ 74 h 84"/>
                    <a:gd name="T14" fmla="*/ 10 w 14"/>
                    <a:gd name="T15" fmla="*/ 58 h 84"/>
                    <a:gd name="T16" fmla="*/ 10 w 14"/>
                    <a:gd name="T17" fmla="*/ 58 h 84"/>
                    <a:gd name="T18" fmla="*/ 10 w 14"/>
                    <a:gd name="T19" fmla="*/ 68 h 84"/>
                    <a:gd name="T20" fmla="*/ 13 w 14"/>
                    <a:gd name="T21" fmla="*/ 68 h 84"/>
                    <a:gd name="T22" fmla="*/ 13 w 14"/>
                    <a:gd name="T23" fmla="*/ 68 h 84"/>
                    <a:gd name="T24" fmla="*/ 13 w 14"/>
                    <a:gd name="T25" fmla="*/ 58 h 84"/>
                    <a:gd name="T26" fmla="*/ 10 w 14"/>
                    <a:gd name="T27" fmla="*/ 58 h 84"/>
                    <a:gd name="T28" fmla="*/ 10 w 14"/>
                    <a:gd name="T29" fmla="*/ 43 h 84"/>
                    <a:gd name="T30" fmla="*/ 10 w 14"/>
                    <a:gd name="T31" fmla="*/ 43 h 84"/>
                    <a:gd name="T32" fmla="*/ 10 w 14"/>
                    <a:gd name="T33" fmla="*/ 50 h 84"/>
                    <a:gd name="T34" fmla="*/ 10 w 14"/>
                    <a:gd name="T35" fmla="*/ 50 h 84"/>
                    <a:gd name="T36" fmla="*/ 10 w 14"/>
                    <a:gd name="T37" fmla="*/ 53 h 84"/>
                    <a:gd name="T38" fmla="*/ 13 w 14"/>
                    <a:gd name="T39" fmla="*/ 53 h 84"/>
                    <a:gd name="T40" fmla="*/ 13 w 14"/>
                    <a:gd name="T41" fmla="*/ 53 h 84"/>
                    <a:gd name="T42" fmla="*/ 13 w 14"/>
                    <a:gd name="T43" fmla="*/ 50 h 84"/>
                    <a:gd name="T44" fmla="*/ 13 w 14"/>
                    <a:gd name="T45" fmla="*/ 50 h 84"/>
                    <a:gd name="T46" fmla="*/ 13 w 14"/>
                    <a:gd name="T47" fmla="*/ 43 h 84"/>
                    <a:gd name="T48" fmla="*/ 10 w 14"/>
                    <a:gd name="T49" fmla="*/ 43 h 84"/>
                    <a:gd name="T50" fmla="*/ 7 w 14"/>
                    <a:gd name="T51" fmla="*/ 29 h 84"/>
                    <a:gd name="T52" fmla="*/ 7 w 14"/>
                    <a:gd name="T53" fmla="*/ 29 h 84"/>
                    <a:gd name="T54" fmla="*/ 9 w 14"/>
                    <a:gd name="T55" fmla="*/ 33 h 84"/>
                    <a:gd name="T56" fmla="*/ 10 w 14"/>
                    <a:gd name="T57" fmla="*/ 37 h 84"/>
                    <a:gd name="T58" fmla="*/ 13 w 14"/>
                    <a:gd name="T59" fmla="*/ 37 h 84"/>
                    <a:gd name="T60" fmla="*/ 13 w 14"/>
                    <a:gd name="T61" fmla="*/ 37 h 84"/>
                    <a:gd name="T62" fmla="*/ 12 w 14"/>
                    <a:gd name="T63" fmla="*/ 32 h 84"/>
                    <a:gd name="T64" fmla="*/ 10 w 14"/>
                    <a:gd name="T65" fmla="*/ 27 h 84"/>
                    <a:gd name="T66" fmla="*/ 7 w 14"/>
                    <a:gd name="T67" fmla="*/ 29 h 84"/>
                    <a:gd name="T68" fmla="*/ 0 w 14"/>
                    <a:gd name="T69" fmla="*/ 14 h 84"/>
                    <a:gd name="T70" fmla="*/ 0 w 14"/>
                    <a:gd name="T71" fmla="*/ 14 h 84"/>
                    <a:gd name="T72" fmla="*/ 6 w 14"/>
                    <a:gd name="T73" fmla="*/ 24 h 84"/>
                    <a:gd name="T74" fmla="*/ 7 w 14"/>
                    <a:gd name="T75" fmla="*/ 23 h 84"/>
                    <a:gd name="T76" fmla="*/ 7 w 14"/>
                    <a:gd name="T77" fmla="*/ 23 h 84"/>
                    <a:gd name="T78" fmla="*/ 3 w 14"/>
                    <a:gd name="T79" fmla="*/ 14 h 84"/>
                    <a:gd name="T80" fmla="*/ 0 w 14"/>
                    <a:gd name="T81" fmla="*/ 14 h 84"/>
                    <a:gd name="T82" fmla="*/ 6 w 14"/>
                    <a:gd name="T83" fmla="*/ 0 h 84"/>
                    <a:gd name="T84" fmla="*/ 6 w 14"/>
                    <a:gd name="T85" fmla="*/ 0 h 84"/>
                    <a:gd name="T86" fmla="*/ 1 w 14"/>
                    <a:gd name="T87" fmla="*/ 8 h 84"/>
                    <a:gd name="T88" fmla="*/ 3 w 14"/>
                    <a:gd name="T89" fmla="*/ 10 h 84"/>
                    <a:gd name="T90" fmla="*/ 3 w 14"/>
                    <a:gd name="T91" fmla="*/ 10 h 84"/>
                    <a:gd name="T92" fmla="*/ 7 w 14"/>
                    <a:gd name="T93" fmla="*/ 1 h 84"/>
                    <a:gd name="T94" fmla="*/ 6 w 14"/>
                    <a:gd name="T95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4" h="84">
                      <a:moveTo>
                        <a:pt x="10" y="74"/>
                      </a:moveTo>
                      <a:lnTo>
                        <a:pt x="10" y="74"/>
                      </a:lnTo>
                      <a:lnTo>
                        <a:pt x="12" y="84"/>
                      </a:lnTo>
                      <a:lnTo>
                        <a:pt x="14" y="82"/>
                      </a:lnTo>
                      <a:lnTo>
                        <a:pt x="14" y="82"/>
                      </a:lnTo>
                      <a:lnTo>
                        <a:pt x="13" y="74"/>
                      </a:lnTo>
                      <a:lnTo>
                        <a:pt x="10" y="74"/>
                      </a:lnTo>
                      <a:close/>
                      <a:moveTo>
                        <a:pt x="10" y="58"/>
                      </a:moveTo>
                      <a:lnTo>
                        <a:pt x="10" y="58"/>
                      </a:lnTo>
                      <a:lnTo>
                        <a:pt x="10" y="68"/>
                      </a:lnTo>
                      <a:lnTo>
                        <a:pt x="13" y="68"/>
                      </a:lnTo>
                      <a:lnTo>
                        <a:pt x="13" y="68"/>
                      </a:lnTo>
                      <a:lnTo>
                        <a:pt x="13" y="58"/>
                      </a:lnTo>
                      <a:lnTo>
                        <a:pt x="10" y="58"/>
                      </a:lnTo>
                      <a:close/>
                      <a:moveTo>
                        <a:pt x="10" y="43"/>
                      </a:moveTo>
                      <a:lnTo>
                        <a:pt x="10" y="43"/>
                      </a:lnTo>
                      <a:lnTo>
                        <a:pt x="10" y="50"/>
                      </a:lnTo>
                      <a:lnTo>
                        <a:pt x="10" y="50"/>
                      </a:lnTo>
                      <a:lnTo>
                        <a:pt x="10" y="53"/>
                      </a:lnTo>
                      <a:lnTo>
                        <a:pt x="13" y="53"/>
                      </a:lnTo>
                      <a:lnTo>
                        <a:pt x="13" y="53"/>
                      </a:lnTo>
                      <a:lnTo>
                        <a:pt x="13" y="50"/>
                      </a:lnTo>
                      <a:lnTo>
                        <a:pt x="13" y="50"/>
                      </a:lnTo>
                      <a:lnTo>
                        <a:pt x="13" y="43"/>
                      </a:lnTo>
                      <a:lnTo>
                        <a:pt x="10" y="43"/>
                      </a:lnTo>
                      <a:close/>
                      <a:moveTo>
                        <a:pt x="7" y="29"/>
                      </a:moveTo>
                      <a:lnTo>
                        <a:pt x="7" y="29"/>
                      </a:lnTo>
                      <a:lnTo>
                        <a:pt x="9" y="33"/>
                      </a:lnTo>
                      <a:lnTo>
                        <a:pt x="10" y="37"/>
                      </a:lnTo>
                      <a:lnTo>
                        <a:pt x="13" y="37"/>
                      </a:lnTo>
                      <a:lnTo>
                        <a:pt x="13" y="37"/>
                      </a:lnTo>
                      <a:lnTo>
                        <a:pt x="12" y="32"/>
                      </a:lnTo>
                      <a:lnTo>
                        <a:pt x="10" y="27"/>
                      </a:lnTo>
                      <a:lnTo>
                        <a:pt x="7" y="29"/>
                      </a:lnTo>
                      <a:close/>
                      <a:moveTo>
                        <a:pt x="0" y="14"/>
                      </a:moveTo>
                      <a:lnTo>
                        <a:pt x="0" y="14"/>
                      </a:lnTo>
                      <a:lnTo>
                        <a:pt x="6" y="24"/>
                      </a:lnTo>
                      <a:lnTo>
                        <a:pt x="7" y="23"/>
                      </a:lnTo>
                      <a:lnTo>
                        <a:pt x="7" y="23"/>
                      </a:lnTo>
                      <a:lnTo>
                        <a:pt x="3" y="14"/>
                      </a:lnTo>
                      <a:lnTo>
                        <a:pt x="0" y="14"/>
                      </a:lnTo>
                      <a:close/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1" y="8"/>
                      </a:lnTo>
                      <a:lnTo>
                        <a:pt x="3" y="10"/>
                      </a:lnTo>
                      <a:lnTo>
                        <a:pt x="3" y="10"/>
                      </a:lnTo>
                      <a:lnTo>
                        <a:pt x="7" y="1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66" name="Freeform 1614"/>
                <p:cNvSpPr>
                  <a:spLocks noEditPoints="1"/>
                </p:cNvSpPr>
                <p:nvPr/>
              </p:nvSpPr>
              <p:spPr bwMode="auto">
                <a:xfrm>
                  <a:off x="4320728" y="3022338"/>
                  <a:ext cx="161249" cy="152346"/>
                </a:xfrm>
                <a:custGeom>
                  <a:avLst/>
                  <a:gdLst>
                    <a:gd name="T0" fmla="*/ 161 w 163"/>
                    <a:gd name="T1" fmla="*/ 0 h 154"/>
                    <a:gd name="T2" fmla="*/ 163 w 163"/>
                    <a:gd name="T3" fmla="*/ 6 h 154"/>
                    <a:gd name="T4" fmla="*/ 163 w 163"/>
                    <a:gd name="T5" fmla="*/ 16 h 154"/>
                    <a:gd name="T6" fmla="*/ 163 w 163"/>
                    <a:gd name="T7" fmla="*/ 31 h 154"/>
                    <a:gd name="T8" fmla="*/ 161 w 163"/>
                    <a:gd name="T9" fmla="*/ 20 h 154"/>
                    <a:gd name="T10" fmla="*/ 161 w 163"/>
                    <a:gd name="T11" fmla="*/ 31 h 154"/>
                    <a:gd name="T12" fmla="*/ 159 w 163"/>
                    <a:gd name="T13" fmla="*/ 47 h 154"/>
                    <a:gd name="T14" fmla="*/ 159 w 163"/>
                    <a:gd name="T15" fmla="*/ 35 h 154"/>
                    <a:gd name="T16" fmla="*/ 150 w 163"/>
                    <a:gd name="T17" fmla="*/ 61 h 154"/>
                    <a:gd name="T18" fmla="*/ 152 w 163"/>
                    <a:gd name="T19" fmla="*/ 60 h 154"/>
                    <a:gd name="T20" fmla="*/ 155 w 163"/>
                    <a:gd name="T21" fmla="*/ 49 h 154"/>
                    <a:gd name="T22" fmla="*/ 150 w 163"/>
                    <a:gd name="T23" fmla="*/ 57 h 154"/>
                    <a:gd name="T24" fmla="*/ 150 w 163"/>
                    <a:gd name="T25" fmla="*/ 58 h 154"/>
                    <a:gd name="T26" fmla="*/ 136 w 163"/>
                    <a:gd name="T27" fmla="*/ 61 h 154"/>
                    <a:gd name="T28" fmla="*/ 136 w 163"/>
                    <a:gd name="T29" fmla="*/ 58 h 154"/>
                    <a:gd name="T30" fmla="*/ 130 w 163"/>
                    <a:gd name="T31" fmla="*/ 61 h 154"/>
                    <a:gd name="T32" fmla="*/ 120 w 163"/>
                    <a:gd name="T33" fmla="*/ 61 h 154"/>
                    <a:gd name="T34" fmla="*/ 116 w 163"/>
                    <a:gd name="T35" fmla="*/ 61 h 154"/>
                    <a:gd name="T36" fmla="*/ 110 w 163"/>
                    <a:gd name="T37" fmla="*/ 58 h 154"/>
                    <a:gd name="T38" fmla="*/ 97 w 163"/>
                    <a:gd name="T39" fmla="*/ 65 h 154"/>
                    <a:gd name="T40" fmla="*/ 107 w 163"/>
                    <a:gd name="T41" fmla="*/ 65 h 154"/>
                    <a:gd name="T42" fmla="*/ 97 w 163"/>
                    <a:gd name="T43" fmla="*/ 65 h 154"/>
                    <a:gd name="T44" fmla="*/ 84 w 163"/>
                    <a:gd name="T45" fmla="*/ 62 h 154"/>
                    <a:gd name="T46" fmla="*/ 93 w 163"/>
                    <a:gd name="T47" fmla="*/ 64 h 154"/>
                    <a:gd name="T48" fmla="*/ 90 w 163"/>
                    <a:gd name="T49" fmla="*/ 61 h 154"/>
                    <a:gd name="T50" fmla="*/ 82 w 163"/>
                    <a:gd name="T51" fmla="*/ 60 h 154"/>
                    <a:gd name="T52" fmla="*/ 71 w 163"/>
                    <a:gd name="T53" fmla="*/ 70 h 154"/>
                    <a:gd name="T54" fmla="*/ 78 w 163"/>
                    <a:gd name="T55" fmla="*/ 61 h 154"/>
                    <a:gd name="T56" fmla="*/ 71 w 163"/>
                    <a:gd name="T57" fmla="*/ 70 h 154"/>
                    <a:gd name="T58" fmla="*/ 61 w 163"/>
                    <a:gd name="T59" fmla="*/ 78 h 154"/>
                    <a:gd name="T60" fmla="*/ 65 w 163"/>
                    <a:gd name="T61" fmla="*/ 71 h 154"/>
                    <a:gd name="T62" fmla="*/ 59 w 163"/>
                    <a:gd name="T63" fmla="*/ 76 h 154"/>
                    <a:gd name="T64" fmla="*/ 48 w 163"/>
                    <a:gd name="T65" fmla="*/ 89 h 154"/>
                    <a:gd name="T66" fmla="*/ 53 w 163"/>
                    <a:gd name="T67" fmla="*/ 80 h 154"/>
                    <a:gd name="T68" fmla="*/ 48 w 163"/>
                    <a:gd name="T69" fmla="*/ 89 h 154"/>
                    <a:gd name="T70" fmla="*/ 37 w 163"/>
                    <a:gd name="T71" fmla="*/ 96 h 154"/>
                    <a:gd name="T72" fmla="*/ 42 w 163"/>
                    <a:gd name="T73" fmla="*/ 90 h 154"/>
                    <a:gd name="T74" fmla="*/ 36 w 163"/>
                    <a:gd name="T75" fmla="*/ 93 h 154"/>
                    <a:gd name="T76" fmla="*/ 24 w 163"/>
                    <a:gd name="T77" fmla="*/ 106 h 154"/>
                    <a:gd name="T78" fmla="*/ 29 w 163"/>
                    <a:gd name="T79" fmla="*/ 97 h 154"/>
                    <a:gd name="T80" fmla="*/ 22 w 163"/>
                    <a:gd name="T81" fmla="*/ 104 h 154"/>
                    <a:gd name="T82" fmla="*/ 14 w 163"/>
                    <a:gd name="T83" fmla="*/ 119 h 154"/>
                    <a:gd name="T84" fmla="*/ 22 w 163"/>
                    <a:gd name="T85" fmla="*/ 110 h 154"/>
                    <a:gd name="T86" fmla="*/ 17 w 163"/>
                    <a:gd name="T87" fmla="*/ 112 h 154"/>
                    <a:gd name="T88" fmla="*/ 14 w 163"/>
                    <a:gd name="T89" fmla="*/ 119 h 154"/>
                    <a:gd name="T90" fmla="*/ 3 w 163"/>
                    <a:gd name="T91" fmla="*/ 128 h 154"/>
                    <a:gd name="T92" fmla="*/ 10 w 163"/>
                    <a:gd name="T93" fmla="*/ 120 h 154"/>
                    <a:gd name="T94" fmla="*/ 3 w 163"/>
                    <a:gd name="T95" fmla="*/ 128 h 154"/>
                    <a:gd name="T96" fmla="*/ 4 w 163"/>
                    <a:gd name="T97" fmla="*/ 135 h 154"/>
                    <a:gd name="T98" fmla="*/ 0 w 163"/>
                    <a:gd name="T99" fmla="*/ 132 h 154"/>
                    <a:gd name="T100" fmla="*/ 9 w 163"/>
                    <a:gd name="T101" fmla="*/ 138 h 154"/>
                    <a:gd name="T102" fmla="*/ 19 w 163"/>
                    <a:gd name="T103" fmla="*/ 147 h 154"/>
                    <a:gd name="T104" fmla="*/ 10 w 163"/>
                    <a:gd name="T105" fmla="*/ 144 h 154"/>
                    <a:gd name="T106" fmla="*/ 20 w 163"/>
                    <a:gd name="T107" fmla="*/ 147 h 154"/>
                    <a:gd name="T108" fmla="*/ 24 w 163"/>
                    <a:gd name="T109" fmla="*/ 148 h 154"/>
                    <a:gd name="T110" fmla="*/ 35 w 163"/>
                    <a:gd name="T111" fmla="*/ 152 h 154"/>
                    <a:gd name="T112" fmla="*/ 51 w 163"/>
                    <a:gd name="T113" fmla="*/ 151 h 154"/>
                    <a:gd name="T114" fmla="*/ 39 w 163"/>
                    <a:gd name="T115" fmla="*/ 152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63" h="154">
                      <a:moveTo>
                        <a:pt x="163" y="0"/>
                      </a:moveTo>
                      <a:lnTo>
                        <a:pt x="161" y="0"/>
                      </a:lnTo>
                      <a:lnTo>
                        <a:pt x="161" y="0"/>
                      </a:lnTo>
                      <a:lnTo>
                        <a:pt x="163" y="0"/>
                      </a:lnTo>
                      <a:lnTo>
                        <a:pt x="163" y="0"/>
                      </a:lnTo>
                      <a:close/>
                      <a:moveTo>
                        <a:pt x="163" y="6"/>
                      </a:moveTo>
                      <a:lnTo>
                        <a:pt x="161" y="6"/>
                      </a:lnTo>
                      <a:lnTo>
                        <a:pt x="161" y="16"/>
                      </a:lnTo>
                      <a:lnTo>
                        <a:pt x="163" y="16"/>
                      </a:lnTo>
                      <a:lnTo>
                        <a:pt x="163" y="6"/>
                      </a:lnTo>
                      <a:close/>
                      <a:moveTo>
                        <a:pt x="163" y="31"/>
                      </a:moveTo>
                      <a:lnTo>
                        <a:pt x="163" y="31"/>
                      </a:lnTo>
                      <a:lnTo>
                        <a:pt x="163" y="23"/>
                      </a:lnTo>
                      <a:lnTo>
                        <a:pt x="163" y="20"/>
                      </a:lnTo>
                      <a:lnTo>
                        <a:pt x="161" y="20"/>
                      </a:lnTo>
                      <a:lnTo>
                        <a:pt x="161" y="23"/>
                      </a:lnTo>
                      <a:lnTo>
                        <a:pt x="161" y="23"/>
                      </a:lnTo>
                      <a:lnTo>
                        <a:pt x="161" y="31"/>
                      </a:lnTo>
                      <a:lnTo>
                        <a:pt x="163" y="31"/>
                      </a:lnTo>
                      <a:close/>
                      <a:moveTo>
                        <a:pt x="159" y="47"/>
                      </a:moveTo>
                      <a:lnTo>
                        <a:pt x="159" y="47"/>
                      </a:lnTo>
                      <a:lnTo>
                        <a:pt x="162" y="36"/>
                      </a:lnTo>
                      <a:lnTo>
                        <a:pt x="159" y="35"/>
                      </a:lnTo>
                      <a:lnTo>
                        <a:pt x="159" y="35"/>
                      </a:lnTo>
                      <a:lnTo>
                        <a:pt x="156" y="45"/>
                      </a:lnTo>
                      <a:lnTo>
                        <a:pt x="159" y="47"/>
                      </a:lnTo>
                      <a:close/>
                      <a:moveTo>
                        <a:pt x="150" y="61"/>
                      </a:moveTo>
                      <a:lnTo>
                        <a:pt x="150" y="61"/>
                      </a:lnTo>
                      <a:lnTo>
                        <a:pt x="152" y="61"/>
                      </a:lnTo>
                      <a:lnTo>
                        <a:pt x="152" y="60"/>
                      </a:lnTo>
                      <a:lnTo>
                        <a:pt x="152" y="60"/>
                      </a:lnTo>
                      <a:lnTo>
                        <a:pt x="156" y="51"/>
                      </a:lnTo>
                      <a:lnTo>
                        <a:pt x="155" y="49"/>
                      </a:lnTo>
                      <a:lnTo>
                        <a:pt x="155" y="49"/>
                      </a:lnTo>
                      <a:lnTo>
                        <a:pt x="150" y="57"/>
                      </a:lnTo>
                      <a:lnTo>
                        <a:pt x="150" y="57"/>
                      </a:lnTo>
                      <a:lnTo>
                        <a:pt x="149" y="58"/>
                      </a:lnTo>
                      <a:lnTo>
                        <a:pt x="150" y="60"/>
                      </a:lnTo>
                      <a:lnTo>
                        <a:pt x="150" y="58"/>
                      </a:lnTo>
                      <a:lnTo>
                        <a:pt x="150" y="58"/>
                      </a:lnTo>
                      <a:lnTo>
                        <a:pt x="150" y="61"/>
                      </a:lnTo>
                      <a:close/>
                      <a:moveTo>
                        <a:pt x="136" y="61"/>
                      </a:moveTo>
                      <a:lnTo>
                        <a:pt x="146" y="61"/>
                      </a:lnTo>
                      <a:lnTo>
                        <a:pt x="146" y="58"/>
                      </a:lnTo>
                      <a:lnTo>
                        <a:pt x="136" y="58"/>
                      </a:lnTo>
                      <a:lnTo>
                        <a:pt x="136" y="61"/>
                      </a:lnTo>
                      <a:close/>
                      <a:moveTo>
                        <a:pt x="120" y="61"/>
                      </a:moveTo>
                      <a:lnTo>
                        <a:pt x="130" y="61"/>
                      </a:lnTo>
                      <a:lnTo>
                        <a:pt x="130" y="58"/>
                      </a:lnTo>
                      <a:lnTo>
                        <a:pt x="120" y="58"/>
                      </a:lnTo>
                      <a:lnTo>
                        <a:pt x="120" y="61"/>
                      </a:lnTo>
                      <a:close/>
                      <a:moveTo>
                        <a:pt x="113" y="65"/>
                      </a:moveTo>
                      <a:lnTo>
                        <a:pt x="113" y="61"/>
                      </a:lnTo>
                      <a:lnTo>
                        <a:pt x="116" y="61"/>
                      </a:lnTo>
                      <a:lnTo>
                        <a:pt x="116" y="58"/>
                      </a:lnTo>
                      <a:lnTo>
                        <a:pt x="111" y="58"/>
                      </a:lnTo>
                      <a:lnTo>
                        <a:pt x="110" y="58"/>
                      </a:lnTo>
                      <a:lnTo>
                        <a:pt x="110" y="65"/>
                      </a:lnTo>
                      <a:lnTo>
                        <a:pt x="113" y="65"/>
                      </a:lnTo>
                      <a:close/>
                      <a:moveTo>
                        <a:pt x="97" y="65"/>
                      </a:moveTo>
                      <a:lnTo>
                        <a:pt x="97" y="65"/>
                      </a:lnTo>
                      <a:lnTo>
                        <a:pt x="107" y="68"/>
                      </a:lnTo>
                      <a:lnTo>
                        <a:pt x="107" y="65"/>
                      </a:lnTo>
                      <a:lnTo>
                        <a:pt x="107" y="65"/>
                      </a:lnTo>
                      <a:lnTo>
                        <a:pt x="98" y="64"/>
                      </a:lnTo>
                      <a:lnTo>
                        <a:pt x="97" y="65"/>
                      </a:lnTo>
                      <a:close/>
                      <a:moveTo>
                        <a:pt x="82" y="62"/>
                      </a:moveTo>
                      <a:lnTo>
                        <a:pt x="84" y="62"/>
                      </a:lnTo>
                      <a:lnTo>
                        <a:pt x="84" y="62"/>
                      </a:lnTo>
                      <a:lnTo>
                        <a:pt x="88" y="62"/>
                      </a:lnTo>
                      <a:lnTo>
                        <a:pt x="88" y="62"/>
                      </a:lnTo>
                      <a:lnTo>
                        <a:pt x="93" y="64"/>
                      </a:lnTo>
                      <a:lnTo>
                        <a:pt x="93" y="62"/>
                      </a:lnTo>
                      <a:lnTo>
                        <a:pt x="93" y="62"/>
                      </a:lnTo>
                      <a:lnTo>
                        <a:pt x="90" y="61"/>
                      </a:lnTo>
                      <a:lnTo>
                        <a:pt x="90" y="61"/>
                      </a:lnTo>
                      <a:lnTo>
                        <a:pt x="84" y="60"/>
                      </a:lnTo>
                      <a:lnTo>
                        <a:pt x="82" y="60"/>
                      </a:lnTo>
                      <a:lnTo>
                        <a:pt x="82" y="62"/>
                      </a:lnTo>
                      <a:close/>
                      <a:moveTo>
                        <a:pt x="71" y="70"/>
                      </a:moveTo>
                      <a:lnTo>
                        <a:pt x="71" y="70"/>
                      </a:lnTo>
                      <a:lnTo>
                        <a:pt x="78" y="64"/>
                      </a:lnTo>
                      <a:lnTo>
                        <a:pt x="78" y="61"/>
                      </a:lnTo>
                      <a:lnTo>
                        <a:pt x="78" y="61"/>
                      </a:lnTo>
                      <a:lnTo>
                        <a:pt x="72" y="64"/>
                      </a:lnTo>
                      <a:lnTo>
                        <a:pt x="69" y="67"/>
                      </a:lnTo>
                      <a:lnTo>
                        <a:pt x="71" y="70"/>
                      </a:lnTo>
                      <a:close/>
                      <a:moveTo>
                        <a:pt x="59" y="80"/>
                      </a:moveTo>
                      <a:lnTo>
                        <a:pt x="59" y="80"/>
                      </a:lnTo>
                      <a:lnTo>
                        <a:pt x="61" y="78"/>
                      </a:lnTo>
                      <a:lnTo>
                        <a:pt x="61" y="78"/>
                      </a:lnTo>
                      <a:lnTo>
                        <a:pt x="66" y="73"/>
                      </a:lnTo>
                      <a:lnTo>
                        <a:pt x="65" y="71"/>
                      </a:lnTo>
                      <a:lnTo>
                        <a:pt x="65" y="71"/>
                      </a:lnTo>
                      <a:lnTo>
                        <a:pt x="59" y="76"/>
                      </a:lnTo>
                      <a:lnTo>
                        <a:pt x="59" y="76"/>
                      </a:lnTo>
                      <a:lnTo>
                        <a:pt x="58" y="77"/>
                      </a:lnTo>
                      <a:lnTo>
                        <a:pt x="59" y="80"/>
                      </a:lnTo>
                      <a:close/>
                      <a:moveTo>
                        <a:pt x="48" y="89"/>
                      </a:moveTo>
                      <a:lnTo>
                        <a:pt x="48" y="89"/>
                      </a:lnTo>
                      <a:lnTo>
                        <a:pt x="55" y="83"/>
                      </a:lnTo>
                      <a:lnTo>
                        <a:pt x="53" y="80"/>
                      </a:lnTo>
                      <a:lnTo>
                        <a:pt x="53" y="80"/>
                      </a:lnTo>
                      <a:lnTo>
                        <a:pt x="46" y="87"/>
                      </a:lnTo>
                      <a:lnTo>
                        <a:pt x="48" y="89"/>
                      </a:lnTo>
                      <a:close/>
                      <a:moveTo>
                        <a:pt x="35" y="96"/>
                      </a:moveTo>
                      <a:lnTo>
                        <a:pt x="35" y="96"/>
                      </a:lnTo>
                      <a:lnTo>
                        <a:pt x="37" y="96"/>
                      </a:lnTo>
                      <a:lnTo>
                        <a:pt x="37" y="96"/>
                      </a:lnTo>
                      <a:lnTo>
                        <a:pt x="43" y="91"/>
                      </a:lnTo>
                      <a:lnTo>
                        <a:pt x="42" y="90"/>
                      </a:lnTo>
                      <a:lnTo>
                        <a:pt x="42" y="90"/>
                      </a:lnTo>
                      <a:lnTo>
                        <a:pt x="36" y="93"/>
                      </a:lnTo>
                      <a:lnTo>
                        <a:pt x="36" y="93"/>
                      </a:lnTo>
                      <a:lnTo>
                        <a:pt x="33" y="94"/>
                      </a:lnTo>
                      <a:lnTo>
                        <a:pt x="35" y="96"/>
                      </a:lnTo>
                      <a:close/>
                      <a:moveTo>
                        <a:pt x="24" y="106"/>
                      </a:moveTo>
                      <a:lnTo>
                        <a:pt x="24" y="106"/>
                      </a:lnTo>
                      <a:lnTo>
                        <a:pt x="30" y="99"/>
                      </a:lnTo>
                      <a:lnTo>
                        <a:pt x="29" y="97"/>
                      </a:lnTo>
                      <a:lnTo>
                        <a:pt x="29" y="97"/>
                      </a:lnTo>
                      <a:lnTo>
                        <a:pt x="24" y="100"/>
                      </a:lnTo>
                      <a:lnTo>
                        <a:pt x="22" y="104"/>
                      </a:lnTo>
                      <a:lnTo>
                        <a:pt x="24" y="106"/>
                      </a:lnTo>
                      <a:close/>
                      <a:moveTo>
                        <a:pt x="14" y="119"/>
                      </a:moveTo>
                      <a:lnTo>
                        <a:pt x="14" y="119"/>
                      </a:lnTo>
                      <a:lnTo>
                        <a:pt x="20" y="113"/>
                      </a:lnTo>
                      <a:lnTo>
                        <a:pt x="20" y="113"/>
                      </a:lnTo>
                      <a:lnTo>
                        <a:pt x="22" y="110"/>
                      </a:lnTo>
                      <a:lnTo>
                        <a:pt x="19" y="109"/>
                      </a:lnTo>
                      <a:lnTo>
                        <a:pt x="19" y="109"/>
                      </a:lnTo>
                      <a:lnTo>
                        <a:pt x="17" y="112"/>
                      </a:lnTo>
                      <a:lnTo>
                        <a:pt x="17" y="112"/>
                      </a:lnTo>
                      <a:lnTo>
                        <a:pt x="13" y="118"/>
                      </a:lnTo>
                      <a:lnTo>
                        <a:pt x="14" y="119"/>
                      </a:lnTo>
                      <a:close/>
                      <a:moveTo>
                        <a:pt x="3" y="128"/>
                      </a:moveTo>
                      <a:lnTo>
                        <a:pt x="3" y="128"/>
                      </a:lnTo>
                      <a:lnTo>
                        <a:pt x="3" y="128"/>
                      </a:lnTo>
                      <a:lnTo>
                        <a:pt x="11" y="122"/>
                      </a:lnTo>
                      <a:lnTo>
                        <a:pt x="10" y="120"/>
                      </a:lnTo>
                      <a:lnTo>
                        <a:pt x="10" y="120"/>
                      </a:lnTo>
                      <a:lnTo>
                        <a:pt x="1" y="126"/>
                      </a:lnTo>
                      <a:lnTo>
                        <a:pt x="1" y="126"/>
                      </a:lnTo>
                      <a:lnTo>
                        <a:pt x="3" y="128"/>
                      </a:lnTo>
                      <a:close/>
                      <a:moveTo>
                        <a:pt x="9" y="138"/>
                      </a:moveTo>
                      <a:lnTo>
                        <a:pt x="9" y="138"/>
                      </a:lnTo>
                      <a:lnTo>
                        <a:pt x="4" y="135"/>
                      </a:lnTo>
                      <a:lnTo>
                        <a:pt x="3" y="131"/>
                      </a:lnTo>
                      <a:lnTo>
                        <a:pt x="0" y="132"/>
                      </a:lnTo>
                      <a:lnTo>
                        <a:pt x="0" y="132"/>
                      </a:lnTo>
                      <a:lnTo>
                        <a:pt x="3" y="136"/>
                      </a:lnTo>
                      <a:lnTo>
                        <a:pt x="7" y="141"/>
                      </a:lnTo>
                      <a:lnTo>
                        <a:pt x="9" y="138"/>
                      </a:lnTo>
                      <a:close/>
                      <a:moveTo>
                        <a:pt x="20" y="147"/>
                      </a:moveTo>
                      <a:lnTo>
                        <a:pt x="19" y="147"/>
                      </a:lnTo>
                      <a:lnTo>
                        <a:pt x="19" y="147"/>
                      </a:lnTo>
                      <a:lnTo>
                        <a:pt x="11" y="142"/>
                      </a:lnTo>
                      <a:lnTo>
                        <a:pt x="10" y="144"/>
                      </a:lnTo>
                      <a:lnTo>
                        <a:pt x="10" y="144"/>
                      </a:lnTo>
                      <a:lnTo>
                        <a:pt x="19" y="149"/>
                      </a:lnTo>
                      <a:lnTo>
                        <a:pt x="19" y="149"/>
                      </a:lnTo>
                      <a:lnTo>
                        <a:pt x="20" y="147"/>
                      </a:lnTo>
                      <a:close/>
                      <a:moveTo>
                        <a:pt x="35" y="149"/>
                      </a:moveTo>
                      <a:lnTo>
                        <a:pt x="35" y="149"/>
                      </a:lnTo>
                      <a:lnTo>
                        <a:pt x="24" y="148"/>
                      </a:lnTo>
                      <a:lnTo>
                        <a:pt x="24" y="151"/>
                      </a:lnTo>
                      <a:lnTo>
                        <a:pt x="24" y="151"/>
                      </a:lnTo>
                      <a:lnTo>
                        <a:pt x="35" y="152"/>
                      </a:lnTo>
                      <a:lnTo>
                        <a:pt x="35" y="149"/>
                      </a:lnTo>
                      <a:close/>
                      <a:moveTo>
                        <a:pt x="51" y="151"/>
                      </a:moveTo>
                      <a:lnTo>
                        <a:pt x="51" y="151"/>
                      </a:lnTo>
                      <a:lnTo>
                        <a:pt x="40" y="151"/>
                      </a:lnTo>
                      <a:lnTo>
                        <a:pt x="39" y="152"/>
                      </a:lnTo>
                      <a:lnTo>
                        <a:pt x="39" y="152"/>
                      </a:lnTo>
                      <a:lnTo>
                        <a:pt x="49" y="154"/>
                      </a:lnTo>
                      <a:lnTo>
                        <a:pt x="51" y="15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67" name="Freeform 1615"/>
                <p:cNvSpPr>
                  <a:spLocks noEditPoints="1"/>
                </p:cNvSpPr>
                <p:nvPr/>
              </p:nvSpPr>
              <p:spPr bwMode="auto">
                <a:xfrm>
                  <a:off x="4409761" y="3085651"/>
                  <a:ext cx="42538" cy="55399"/>
                </a:xfrm>
                <a:custGeom>
                  <a:avLst/>
                  <a:gdLst>
                    <a:gd name="T0" fmla="*/ 5 w 43"/>
                    <a:gd name="T1" fmla="*/ 10 h 56"/>
                    <a:gd name="T2" fmla="*/ 5 w 43"/>
                    <a:gd name="T3" fmla="*/ 10 h 56"/>
                    <a:gd name="T4" fmla="*/ 3 w 43"/>
                    <a:gd name="T5" fmla="*/ 0 h 56"/>
                    <a:gd name="T6" fmla="*/ 0 w 43"/>
                    <a:gd name="T7" fmla="*/ 1 h 56"/>
                    <a:gd name="T8" fmla="*/ 0 w 43"/>
                    <a:gd name="T9" fmla="*/ 1 h 56"/>
                    <a:gd name="T10" fmla="*/ 3 w 43"/>
                    <a:gd name="T11" fmla="*/ 10 h 56"/>
                    <a:gd name="T12" fmla="*/ 5 w 43"/>
                    <a:gd name="T13" fmla="*/ 10 h 56"/>
                    <a:gd name="T14" fmla="*/ 13 w 43"/>
                    <a:gd name="T15" fmla="*/ 22 h 56"/>
                    <a:gd name="T16" fmla="*/ 13 w 43"/>
                    <a:gd name="T17" fmla="*/ 22 h 56"/>
                    <a:gd name="T18" fmla="*/ 7 w 43"/>
                    <a:gd name="T19" fmla="*/ 14 h 56"/>
                    <a:gd name="T20" fmla="*/ 5 w 43"/>
                    <a:gd name="T21" fmla="*/ 16 h 56"/>
                    <a:gd name="T22" fmla="*/ 5 w 43"/>
                    <a:gd name="T23" fmla="*/ 16 h 56"/>
                    <a:gd name="T24" fmla="*/ 11 w 43"/>
                    <a:gd name="T25" fmla="*/ 23 h 56"/>
                    <a:gd name="T26" fmla="*/ 13 w 43"/>
                    <a:gd name="T27" fmla="*/ 22 h 56"/>
                    <a:gd name="T28" fmla="*/ 24 w 43"/>
                    <a:gd name="T29" fmla="*/ 32 h 56"/>
                    <a:gd name="T30" fmla="*/ 24 w 43"/>
                    <a:gd name="T31" fmla="*/ 32 h 56"/>
                    <a:gd name="T32" fmla="*/ 18 w 43"/>
                    <a:gd name="T33" fmla="*/ 27 h 56"/>
                    <a:gd name="T34" fmla="*/ 18 w 43"/>
                    <a:gd name="T35" fmla="*/ 27 h 56"/>
                    <a:gd name="T36" fmla="*/ 17 w 43"/>
                    <a:gd name="T37" fmla="*/ 25 h 56"/>
                    <a:gd name="T38" fmla="*/ 16 w 43"/>
                    <a:gd name="T39" fmla="*/ 27 h 56"/>
                    <a:gd name="T40" fmla="*/ 16 w 43"/>
                    <a:gd name="T41" fmla="*/ 27 h 56"/>
                    <a:gd name="T42" fmla="*/ 17 w 43"/>
                    <a:gd name="T43" fmla="*/ 29 h 56"/>
                    <a:gd name="T44" fmla="*/ 17 w 43"/>
                    <a:gd name="T45" fmla="*/ 29 h 56"/>
                    <a:gd name="T46" fmla="*/ 24 w 43"/>
                    <a:gd name="T47" fmla="*/ 33 h 56"/>
                    <a:gd name="T48" fmla="*/ 24 w 43"/>
                    <a:gd name="T49" fmla="*/ 32 h 56"/>
                    <a:gd name="T50" fmla="*/ 36 w 43"/>
                    <a:gd name="T51" fmla="*/ 42 h 56"/>
                    <a:gd name="T52" fmla="*/ 36 w 43"/>
                    <a:gd name="T53" fmla="*/ 42 h 56"/>
                    <a:gd name="T54" fmla="*/ 33 w 43"/>
                    <a:gd name="T55" fmla="*/ 36 h 56"/>
                    <a:gd name="T56" fmla="*/ 33 w 43"/>
                    <a:gd name="T57" fmla="*/ 36 h 56"/>
                    <a:gd name="T58" fmla="*/ 29 w 43"/>
                    <a:gd name="T59" fmla="*/ 33 h 56"/>
                    <a:gd name="T60" fmla="*/ 29 w 43"/>
                    <a:gd name="T61" fmla="*/ 36 h 56"/>
                    <a:gd name="T62" fmla="*/ 29 w 43"/>
                    <a:gd name="T63" fmla="*/ 36 h 56"/>
                    <a:gd name="T64" fmla="*/ 31 w 43"/>
                    <a:gd name="T65" fmla="*/ 38 h 56"/>
                    <a:gd name="T66" fmla="*/ 31 w 43"/>
                    <a:gd name="T67" fmla="*/ 38 h 56"/>
                    <a:gd name="T68" fmla="*/ 34 w 43"/>
                    <a:gd name="T69" fmla="*/ 42 h 56"/>
                    <a:gd name="T70" fmla="*/ 36 w 43"/>
                    <a:gd name="T71" fmla="*/ 42 h 56"/>
                    <a:gd name="T72" fmla="*/ 43 w 43"/>
                    <a:gd name="T73" fmla="*/ 55 h 56"/>
                    <a:gd name="T74" fmla="*/ 43 w 43"/>
                    <a:gd name="T75" fmla="*/ 55 h 56"/>
                    <a:gd name="T76" fmla="*/ 37 w 43"/>
                    <a:gd name="T77" fmla="*/ 46 h 56"/>
                    <a:gd name="T78" fmla="*/ 36 w 43"/>
                    <a:gd name="T79" fmla="*/ 48 h 56"/>
                    <a:gd name="T80" fmla="*/ 36 w 43"/>
                    <a:gd name="T81" fmla="*/ 48 h 56"/>
                    <a:gd name="T82" fmla="*/ 42 w 43"/>
                    <a:gd name="T83" fmla="*/ 56 h 56"/>
                    <a:gd name="T84" fmla="*/ 43 w 43"/>
                    <a:gd name="T85" fmla="*/ 55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43" h="56">
                      <a:moveTo>
                        <a:pt x="5" y="10"/>
                      </a:moveTo>
                      <a:lnTo>
                        <a:pt x="5" y="1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3" y="10"/>
                      </a:lnTo>
                      <a:lnTo>
                        <a:pt x="5" y="10"/>
                      </a:lnTo>
                      <a:close/>
                      <a:moveTo>
                        <a:pt x="13" y="22"/>
                      </a:moveTo>
                      <a:lnTo>
                        <a:pt x="13" y="22"/>
                      </a:lnTo>
                      <a:lnTo>
                        <a:pt x="7" y="14"/>
                      </a:lnTo>
                      <a:lnTo>
                        <a:pt x="5" y="16"/>
                      </a:lnTo>
                      <a:lnTo>
                        <a:pt x="5" y="16"/>
                      </a:lnTo>
                      <a:lnTo>
                        <a:pt x="11" y="23"/>
                      </a:lnTo>
                      <a:lnTo>
                        <a:pt x="13" y="22"/>
                      </a:lnTo>
                      <a:close/>
                      <a:moveTo>
                        <a:pt x="24" y="32"/>
                      </a:moveTo>
                      <a:lnTo>
                        <a:pt x="24" y="32"/>
                      </a:lnTo>
                      <a:lnTo>
                        <a:pt x="18" y="27"/>
                      </a:lnTo>
                      <a:lnTo>
                        <a:pt x="18" y="27"/>
                      </a:lnTo>
                      <a:lnTo>
                        <a:pt x="17" y="25"/>
                      </a:lnTo>
                      <a:lnTo>
                        <a:pt x="16" y="27"/>
                      </a:lnTo>
                      <a:lnTo>
                        <a:pt x="16" y="27"/>
                      </a:lnTo>
                      <a:lnTo>
                        <a:pt x="17" y="29"/>
                      </a:lnTo>
                      <a:lnTo>
                        <a:pt x="17" y="29"/>
                      </a:lnTo>
                      <a:lnTo>
                        <a:pt x="24" y="33"/>
                      </a:lnTo>
                      <a:lnTo>
                        <a:pt x="24" y="32"/>
                      </a:lnTo>
                      <a:close/>
                      <a:moveTo>
                        <a:pt x="36" y="42"/>
                      </a:moveTo>
                      <a:lnTo>
                        <a:pt x="36" y="42"/>
                      </a:lnTo>
                      <a:lnTo>
                        <a:pt x="33" y="36"/>
                      </a:lnTo>
                      <a:lnTo>
                        <a:pt x="33" y="36"/>
                      </a:lnTo>
                      <a:lnTo>
                        <a:pt x="29" y="33"/>
                      </a:lnTo>
                      <a:lnTo>
                        <a:pt x="29" y="36"/>
                      </a:lnTo>
                      <a:lnTo>
                        <a:pt x="29" y="36"/>
                      </a:lnTo>
                      <a:lnTo>
                        <a:pt x="31" y="38"/>
                      </a:lnTo>
                      <a:lnTo>
                        <a:pt x="31" y="38"/>
                      </a:lnTo>
                      <a:lnTo>
                        <a:pt x="34" y="42"/>
                      </a:lnTo>
                      <a:lnTo>
                        <a:pt x="36" y="42"/>
                      </a:lnTo>
                      <a:close/>
                      <a:moveTo>
                        <a:pt x="43" y="55"/>
                      </a:moveTo>
                      <a:lnTo>
                        <a:pt x="43" y="55"/>
                      </a:lnTo>
                      <a:lnTo>
                        <a:pt x="37" y="46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42" y="56"/>
                      </a:lnTo>
                      <a:lnTo>
                        <a:pt x="43" y="5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68" name="Freeform 1616"/>
                <p:cNvSpPr>
                  <a:spLocks noEditPoints="1"/>
                </p:cNvSpPr>
                <p:nvPr/>
              </p:nvSpPr>
              <p:spPr bwMode="auto">
                <a:xfrm>
                  <a:off x="4145629" y="2875928"/>
                  <a:ext cx="134539" cy="111786"/>
                </a:xfrm>
                <a:custGeom>
                  <a:avLst/>
                  <a:gdLst>
                    <a:gd name="T0" fmla="*/ 0 w 136"/>
                    <a:gd name="T1" fmla="*/ 111 h 113"/>
                    <a:gd name="T2" fmla="*/ 10 w 136"/>
                    <a:gd name="T3" fmla="*/ 113 h 113"/>
                    <a:gd name="T4" fmla="*/ 25 w 136"/>
                    <a:gd name="T5" fmla="*/ 111 h 113"/>
                    <a:gd name="T6" fmla="*/ 15 w 136"/>
                    <a:gd name="T7" fmla="*/ 113 h 113"/>
                    <a:gd name="T8" fmla="*/ 25 w 136"/>
                    <a:gd name="T9" fmla="*/ 111 h 113"/>
                    <a:gd name="T10" fmla="*/ 31 w 136"/>
                    <a:gd name="T11" fmla="*/ 111 h 113"/>
                    <a:gd name="T12" fmla="*/ 41 w 136"/>
                    <a:gd name="T13" fmla="*/ 113 h 113"/>
                    <a:gd name="T14" fmla="*/ 55 w 136"/>
                    <a:gd name="T15" fmla="*/ 111 h 113"/>
                    <a:gd name="T16" fmla="*/ 45 w 136"/>
                    <a:gd name="T17" fmla="*/ 113 h 113"/>
                    <a:gd name="T18" fmla="*/ 55 w 136"/>
                    <a:gd name="T19" fmla="*/ 111 h 113"/>
                    <a:gd name="T20" fmla="*/ 62 w 136"/>
                    <a:gd name="T21" fmla="*/ 111 h 113"/>
                    <a:gd name="T22" fmla="*/ 61 w 136"/>
                    <a:gd name="T23" fmla="*/ 113 h 113"/>
                    <a:gd name="T24" fmla="*/ 64 w 136"/>
                    <a:gd name="T25" fmla="*/ 113 h 113"/>
                    <a:gd name="T26" fmla="*/ 62 w 136"/>
                    <a:gd name="T27" fmla="*/ 103 h 113"/>
                    <a:gd name="T28" fmla="*/ 62 w 136"/>
                    <a:gd name="T29" fmla="*/ 89 h 113"/>
                    <a:gd name="T30" fmla="*/ 62 w 136"/>
                    <a:gd name="T31" fmla="*/ 99 h 113"/>
                    <a:gd name="T32" fmla="*/ 65 w 136"/>
                    <a:gd name="T33" fmla="*/ 90 h 113"/>
                    <a:gd name="T34" fmla="*/ 64 w 136"/>
                    <a:gd name="T35" fmla="*/ 89 h 113"/>
                    <a:gd name="T36" fmla="*/ 67 w 136"/>
                    <a:gd name="T37" fmla="*/ 84 h 113"/>
                    <a:gd name="T38" fmla="*/ 74 w 136"/>
                    <a:gd name="T39" fmla="*/ 77 h 113"/>
                    <a:gd name="T40" fmla="*/ 74 w 136"/>
                    <a:gd name="T41" fmla="*/ 71 h 113"/>
                    <a:gd name="T42" fmla="*/ 75 w 136"/>
                    <a:gd name="T43" fmla="*/ 61 h 113"/>
                    <a:gd name="T44" fmla="*/ 74 w 136"/>
                    <a:gd name="T45" fmla="*/ 71 h 113"/>
                    <a:gd name="T46" fmla="*/ 75 w 136"/>
                    <a:gd name="T47" fmla="*/ 57 h 113"/>
                    <a:gd name="T48" fmla="*/ 74 w 136"/>
                    <a:gd name="T49" fmla="*/ 47 h 113"/>
                    <a:gd name="T50" fmla="*/ 74 w 136"/>
                    <a:gd name="T51" fmla="*/ 41 h 113"/>
                    <a:gd name="T52" fmla="*/ 75 w 136"/>
                    <a:gd name="T53" fmla="*/ 31 h 113"/>
                    <a:gd name="T54" fmla="*/ 74 w 136"/>
                    <a:gd name="T55" fmla="*/ 41 h 113"/>
                    <a:gd name="T56" fmla="*/ 80 w 136"/>
                    <a:gd name="T57" fmla="*/ 29 h 113"/>
                    <a:gd name="T58" fmla="*/ 90 w 136"/>
                    <a:gd name="T59" fmla="*/ 32 h 113"/>
                    <a:gd name="T60" fmla="*/ 106 w 136"/>
                    <a:gd name="T61" fmla="*/ 29 h 113"/>
                    <a:gd name="T62" fmla="*/ 96 w 136"/>
                    <a:gd name="T63" fmla="*/ 32 h 113"/>
                    <a:gd name="T64" fmla="*/ 106 w 136"/>
                    <a:gd name="T65" fmla="*/ 29 h 113"/>
                    <a:gd name="T66" fmla="*/ 110 w 136"/>
                    <a:gd name="T67" fmla="*/ 29 h 113"/>
                    <a:gd name="T68" fmla="*/ 120 w 136"/>
                    <a:gd name="T69" fmla="*/ 32 h 113"/>
                    <a:gd name="T70" fmla="*/ 136 w 136"/>
                    <a:gd name="T71" fmla="*/ 29 h 113"/>
                    <a:gd name="T72" fmla="*/ 126 w 136"/>
                    <a:gd name="T73" fmla="*/ 32 h 113"/>
                    <a:gd name="T74" fmla="*/ 136 w 136"/>
                    <a:gd name="T75" fmla="*/ 29 h 113"/>
                    <a:gd name="T76" fmla="*/ 136 w 136"/>
                    <a:gd name="T77" fmla="*/ 27 h 113"/>
                    <a:gd name="T78" fmla="*/ 135 w 136"/>
                    <a:gd name="T79" fmla="*/ 16 h 113"/>
                    <a:gd name="T80" fmla="*/ 135 w 136"/>
                    <a:gd name="T81" fmla="*/ 11 h 113"/>
                    <a:gd name="T82" fmla="*/ 136 w 136"/>
                    <a:gd name="T83" fmla="*/ 0 h 113"/>
                    <a:gd name="T84" fmla="*/ 135 w 136"/>
                    <a:gd name="T85" fmla="*/ 11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36" h="113">
                      <a:moveTo>
                        <a:pt x="10" y="111"/>
                      </a:moveTo>
                      <a:lnTo>
                        <a:pt x="0" y="111"/>
                      </a:lnTo>
                      <a:lnTo>
                        <a:pt x="0" y="113"/>
                      </a:lnTo>
                      <a:lnTo>
                        <a:pt x="10" y="113"/>
                      </a:lnTo>
                      <a:lnTo>
                        <a:pt x="10" y="111"/>
                      </a:lnTo>
                      <a:close/>
                      <a:moveTo>
                        <a:pt x="25" y="111"/>
                      </a:moveTo>
                      <a:lnTo>
                        <a:pt x="15" y="111"/>
                      </a:lnTo>
                      <a:lnTo>
                        <a:pt x="15" y="113"/>
                      </a:lnTo>
                      <a:lnTo>
                        <a:pt x="25" y="113"/>
                      </a:lnTo>
                      <a:lnTo>
                        <a:pt x="25" y="111"/>
                      </a:lnTo>
                      <a:close/>
                      <a:moveTo>
                        <a:pt x="41" y="111"/>
                      </a:moveTo>
                      <a:lnTo>
                        <a:pt x="31" y="111"/>
                      </a:lnTo>
                      <a:lnTo>
                        <a:pt x="31" y="113"/>
                      </a:lnTo>
                      <a:lnTo>
                        <a:pt x="41" y="113"/>
                      </a:lnTo>
                      <a:lnTo>
                        <a:pt x="41" y="111"/>
                      </a:lnTo>
                      <a:close/>
                      <a:moveTo>
                        <a:pt x="55" y="111"/>
                      </a:moveTo>
                      <a:lnTo>
                        <a:pt x="45" y="111"/>
                      </a:lnTo>
                      <a:lnTo>
                        <a:pt x="45" y="113"/>
                      </a:lnTo>
                      <a:lnTo>
                        <a:pt x="55" y="113"/>
                      </a:lnTo>
                      <a:lnTo>
                        <a:pt x="55" y="111"/>
                      </a:lnTo>
                      <a:close/>
                      <a:moveTo>
                        <a:pt x="62" y="103"/>
                      </a:moveTo>
                      <a:lnTo>
                        <a:pt x="62" y="111"/>
                      </a:lnTo>
                      <a:lnTo>
                        <a:pt x="61" y="111"/>
                      </a:lnTo>
                      <a:lnTo>
                        <a:pt x="61" y="113"/>
                      </a:lnTo>
                      <a:lnTo>
                        <a:pt x="62" y="113"/>
                      </a:lnTo>
                      <a:lnTo>
                        <a:pt x="64" y="113"/>
                      </a:lnTo>
                      <a:lnTo>
                        <a:pt x="64" y="103"/>
                      </a:lnTo>
                      <a:lnTo>
                        <a:pt x="62" y="103"/>
                      </a:lnTo>
                      <a:close/>
                      <a:moveTo>
                        <a:pt x="64" y="89"/>
                      </a:moveTo>
                      <a:lnTo>
                        <a:pt x="62" y="89"/>
                      </a:lnTo>
                      <a:lnTo>
                        <a:pt x="62" y="89"/>
                      </a:lnTo>
                      <a:lnTo>
                        <a:pt x="62" y="99"/>
                      </a:lnTo>
                      <a:lnTo>
                        <a:pt x="65" y="99"/>
                      </a:lnTo>
                      <a:lnTo>
                        <a:pt x="65" y="90"/>
                      </a:lnTo>
                      <a:lnTo>
                        <a:pt x="65" y="90"/>
                      </a:lnTo>
                      <a:lnTo>
                        <a:pt x="64" y="89"/>
                      </a:lnTo>
                      <a:close/>
                      <a:moveTo>
                        <a:pt x="73" y="76"/>
                      </a:moveTo>
                      <a:lnTo>
                        <a:pt x="67" y="84"/>
                      </a:lnTo>
                      <a:lnTo>
                        <a:pt x="68" y="86"/>
                      </a:lnTo>
                      <a:lnTo>
                        <a:pt x="74" y="77"/>
                      </a:lnTo>
                      <a:lnTo>
                        <a:pt x="73" y="76"/>
                      </a:lnTo>
                      <a:close/>
                      <a:moveTo>
                        <a:pt x="74" y="71"/>
                      </a:moveTo>
                      <a:lnTo>
                        <a:pt x="75" y="71"/>
                      </a:lnTo>
                      <a:lnTo>
                        <a:pt x="75" y="61"/>
                      </a:lnTo>
                      <a:lnTo>
                        <a:pt x="74" y="61"/>
                      </a:lnTo>
                      <a:lnTo>
                        <a:pt x="74" y="71"/>
                      </a:lnTo>
                      <a:close/>
                      <a:moveTo>
                        <a:pt x="74" y="57"/>
                      </a:moveTo>
                      <a:lnTo>
                        <a:pt x="75" y="57"/>
                      </a:lnTo>
                      <a:lnTo>
                        <a:pt x="75" y="47"/>
                      </a:lnTo>
                      <a:lnTo>
                        <a:pt x="74" y="47"/>
                      </a:lnTo>
                      <a:lnTo>
                        <a:pt x="74" y="57"/>
                      </a:lnTo>
                      <a:close/>
                      <a:moveTo>
                        <a:pt x="74" y="41"/>
                      </a:moveTo>
                      <a:lnTo>
                        <a:pt x="75" y="41"/>
                      </a:lnTo>
                      <a:lnTo>
                        <a:pt x="75" y="31"/>
                      </a:lnTo>
                      <a:lnTo>
                        <a:pt x="74" y="31"/>
                      </a:lnTo>
                      <a:lnTo>
                        <a:pt x="74" y="41"/>
                      </a:lnTo>
                      <a:close/>
                      <a:moveTo>
                        <a:pt x="90" y="29"/>
                      </a:moveTo>
                      <a:lnTo>
                        <a:pt x="80" y="29"/>
                      </a:lnTo>
                      <a:lnTo>
                        <a:pt x="80" y="32"/>
                      </a:lnTo>
                      <a:lnTo>
                        <a:pt x="90" y="32"/>
                      </a:lnTo>
                      <a:lnTo>
                        <a:pt x="90" y="29"/>
                      </a:lnTo>
                      <a:close/>
                      <a:moveTo>
                        <a:pt x="106" y="29"/>
                      </a:moveTo>
                      <a:lnTo>
                        <a:pt x="96" y="29"/>
                      </a:lnTo>
                      <a:lnTo>
                        <a:pt x="96" y="32"/>
                      </a:lnTo>
                      <a:lnTo>
                        <a:pt x="106" y="32"/>
                      </a:lnTo>
                      <a:lnTo>
                        <a:pt x="106" y="29"/>
                      </a:lnTo>
                      <a:close/>
                      <a:moveTo>
                        <a:pt x="120" y="29"/>
                      </a:moveTo>
                      <a:lnTo>
                        <a:pt x="110" y="29"/>
                      </a:lnTo>
                      <a:lnTo>
                        <a:pt x="110" y="32"/>
                      </a:lnTo>
                      <a:lnTo>
                        <a:pt x="120" y="32"/>
                      </a:lnTo>
                      <a:lnTo>
                        <a:pt x="120" y="29"/>
                      </a:lnTo>
                      <a:close/>
                      <a:moveTo>
                        <a:pt x="136" y="29"/>
                      </a:moveTo>
                      <a:lnTo>
                        <a:pt x="126" y="29"/>
                      </a:lnTo>
                      <a:lnTo>
                        <a:pt x="126" y="32"/>
                      </a:lnTo>
                      <a:lnTo>
                        <a:pt x="136" y="32"/>
                      </a:lnTo>
                      <a:lnTo>
                        <a:pt x="136" y="29"/>
                      </a:lnTo>
                      <a:close/>
                      <a:moveTo>
                        <a:pt x="135" y="27"/>
                      </a:moveTo>
                      <a:lnTo>
                        <a:pt x="136" y="27"/>
                      </a:lnTo>
                      <a:lnTo>
                        <a:pt x="136" y="16"/>
                      </a:lnTo>
                      <a:lnTo>
                        <a:pt x="135" y="16"/>
                      </a:lnTo>
                      <a:lnTo>
                        <a:pt x="135" y="27"/>
                      </a:lnTo>
                      <a:close/>
                      <a:moveTo>
                        <a:pt x="135" y="11"/>
                      </a:moveTo>
                      <a:lnTo>
                        <a:pt x="136" y="11"/>
                      </a:lnTo>
                      <a:lnTo>
                        <a:pt x="136" y="0"/>
                      </a:lnTo>
                      <a:lnTo>
                        <a:pt x="135" y="0"/>
                      </a:lnTo>
                      <a:lnTo>
                        <a:pt x="135" y="1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69" name="Freeform 1617"/>
                <p:cNvSpPr>
                  <a:spLocks noEditPoints="1"/>
                </p:cNvSpPr>
                <p:nvPr/>
              </p:nvSpPr>
              <p:spPr bwMode="auto">
                <a:xfrm>
                  <a:off x="4154532" y="2925391"/>
                  <a:ext cx="201809" cy="164217"/>
                </a:xfrm>
                <a:custGeom>
                  <a:avLst/>
                  <a:gdLst>
                    <a:gd name="T0" fmla="*/ 0 w 204"/>
                    <a:gd name="T1" fmla="*/ 146 h 166"/>
                    <a:gd name="T2" fmla="*/ 17 w 204"/>
                    <a:gd name="T3" fmla="*/ 142 h 166"/>
                    <a:gd name="T4" fmla="*/ 7 w 204"/>
                    <a:gd name="T5" fmla="*/ 145 h 166"/>
                    <a:gd name="T6" fmla="*/ 32 w 204"/>
                    <a:gd name="T7" fmla="*/ 142 h 166"/>
                    <a:gd name="T8" fmla="*/ 22 w 204"/>
                    <a:gd name="T9" fmla="*/ 142 h 166"/>
                    <a:gd name="T10" fmla="*/ 24 w 204"/>
                    <a:gd name="T11" fmla="*/ 143 h 166"/>
                    <a:gd name="T12" fmla="*/ 45 w 204"/>
                    <a:gd name="T13" fmla="*/ 146 h 166"/>
                    <a:gd name="T14" fmla="*/ 37 w 204"/>
                    <a:gd name="T15" fmla="*/ 146 h 166"/>
                    <a:gd name="T16" fmla="*/ 36 w 204"/>
                    <a:gd name="T17" fmla="*/ 149 h 166"/>
                    <a:gd name="T18" fmla="*/ 53 w 204"/>
                    <a:gd name="T19" fmla="*/ 156 h 166"/>
                    <a:gd name="T20" fmla="*/ 52 w 204"/>
                    <a:gd name="T21" fmla="*/ 150 h 166"/>
                    <a:gd name="T22" fmla="*/ 52 w 204"/>
                    <a:gd name="T23" fmla="*/ 146 h 166"/>
                    <a:gd name="T24" fmla="*/ 51 w 204"/>
                    <a:gd name="T25" fmla="*/ 149 h 166"/>
                    <a:gd name="T26" fmla="*/ 49 w 204"/>
                    <a:gd name="T27" fmla="*/ 150 h 166"/>
                    <a:gd name="T28" fmla="*/ 53 w 204"/>
                    <a:gd name="T29" fmla="*/ 156 h 166"/>
                    <a:gd name="T30" fmla="*/ 61 w 204"/>
                    <a:gd name="T31" fmla="*/ 165 h 166"/>
                    <a:gd name="T32" fmla="*/ 53 w 204"/>
                    <a:gd name="T33" fmla="*/ 162 h 166"/>
                    <a:gd name="T34" fmla="*/ 58 w 204"/>
                    <a:gd name="T35" fmla="*/ 166 h 166"/>
                    <a:gd name="T36" fmla="*/ 62 w 204"/>
                    <a:gd name="T37" fmla="*/ 163 h 166"/>
                    <a:gd name="T38" fmla="*/ 68 w 204"/>
                    <a:gd name="T39" fmla="*/ 155 h 166"/>
                    <a:gd name="T40" fmla="*/ 68 w 204"/>
                    <a:gd name="T41" fmla="*/ 160 h 166"/>
                    <a:gd name="T42" fmla="*/ 72 w 204"/>
                    <a:gd name="T43" fmla="*/ 152 h 166"/>
                    <a:gd name="T44" fmla="*/ 81 w 204"/>
                    <a:gd name="T45" fmla="*/ 159 h 166"/>
                    <a:gd name="T46" fmla="*/ 74 w 204"/>
                    <a:gd name="T47" fmla="*/ 153 h 166"/>
                    <a:gd name="T48" fmla="*/ 82 w 204"/>
                    <a:gd name="T49" fmla="*/ 159 h 166"/>
                    <a:gd name="T50" fmla="*/ 87 w 204"/>
                    <a:gd name="T51" fmla="*/ 150 h 166"/>
                    <a:gd name="T52" fmla="*/ 87 w 204"/>
                    <a:gd name="T53" fmla="*/ 158 h 166"/>
                    <a:gd name="T54" fmla="*/ 88 w 204"/>
                    <a:gd name="T55" fmla="*/ 153 h 166"/>
                    <a:gd name="T56" fmla="*/ 107 w 204"/>
                    <a:gd name="T57" fmla="*/ 150 h 166"/>
                    <a:gd name="T58" fmla="*/ 101 w 204"/>
                    <a:gd name="T59" fmla="*/ 149 h 166"/>
                    <a:gd name="T60" fmla="*/ 97 w 204"/>
                    <a:gd name="T61" fmla="*/ 152 h 166"/>
                    <a:gd name="T62" fmla="*/ 106 w 204"/>
                    <a:gd name="T63" fmla="*/ 153 h 166"/>
                    <a:gd name="T64" fmla="*/ 116 w 204"/>
                    <a:gd name="T65" fmla="*/ 153 h 166"/>
                    <a:gd name="T66" fmla="*/ 111 w 204"/>
                    <a:gd name="T67" fmla="*/ 153 h 166"/>
                    <a:gd name="T68" fmla="*/ 113 w 204"/>
                    <a:gd name="T69" fmla="*/ 156 h 166"/>
                    <a:gd name="T70" fmla="*/ 120 w 204"/>
                    <a:gd name="T71" fmla="*/ 153 h 166"/>
                    <a:gd name="T72" fmla="*/ 126 w 204"/>
                    <a:gd name="T73" fmla="*/ 155 h 166"/>
                    <a:gd name="T74" fmla="*/ 150 w 204"/>
                    <a:gd name="T75" fmla="*/ 152 h 166"/>
                    <a:gd name="T76" fmla="*/ 140 w 204"/>
                    <a:gd name="T77" fmla="*/ 155 h 166"/>
                    <a:gd name="T78" fmla="*/ 163 w 204"/>
                    <a:gd name="T79" fmla="*/ 152 h 166"/>
                    <a:gd name="T80" fmla="*/ 156 w 204"/>
                    <a:gd name="T81" fmla="*/ 152 h 166"/>
                    <a:gd name="T82" fmla="*/ 165 w 204"/>
                    <a:gd name="T83" fmla="*/ 155 h 166"/>
                    <a:gd name="T84" fmla="*/ 166 w 204"/>
                    <a:gd name="T85" fmla="*/ 146 h 166"/>
                    <a:gd name="T86" fmla="*/ 168 w 204"/>
                    <a:gd name="T87" fmla="*/ 126 h 166"/>
                    <a:gd name="T88" fmla="*/ 175 w 204"/>
                    <a:gd name="T89" fmla="*/ 133 h 166"/>
                    <a:gd name="T90" fmla="*/ 177 w 204"/>
                    <a:gd name="T91" fmla="*/ 134 h 166"/>
                    <a:gd name="T92" fmla="*/ 168 w 204"/>
                    <a:gd name="T93" fmla="*/ 126 h 166"/>
                    <a:gd name="T94" fmla="*/ 171 w 204"/>
                    <a:gd name="T95" fmla="*/ 110 h 166"/>
                    <a:gd name="T96" fmla="*/ 169 w 204"/>
                    <a:gd name="T97" fmla="*/ 105 h 166"/>
                    <a:gd name="T98" fmla="*/ 166 w 204"/>
                    <a:gd name="T99" fmla="*/ 90 h 166"/>
                    <a:gd name="T100" fmla="*/ 165 w 204"/>
                    <a:gd name="T101" fmla="*/ 65 h 166"/>
                    <a:gd name="T102" fmla="*/ 165 w 204"/>
                    <a:gd name="T103" fmla="*/ 65 h 166"/>
                    <a:gd name="T104" fmla="*/ 166 w 204"/>
                    <a:gd name="T105" fmla="*/ 49 h 166"/>
                    <a:gd name="T106" fmla="*/ 166 w 204"/>
                    <a:gd name="T107" fmla="*/ 45 h 166"/>
                    <a:gd name="T108" fmla="*/ 162 w 204"/>
                    <a:gd name="T109" fmla="*/ 30 h 166"/>
                    <a:gd name="T110" fmla="*/ 161 w 204"/>
                    <a:gd name="T111" fmla="*/ 4 h 166"/>
                    <a:gd name="T112" fmla="*/ 161 w 204"/>
                    <a:gd name="T113" fmla="*/ 4 h 166"/>
                    <a:gd name="T114" fmla="*/ 174 w 204"/>
                    <a:gd name="T115" fmla="*/ 3 h 166"/>
                    <a:gd name="T116" fmla="*/ 179 w 204"/>
                    <a:gd name="T117" fmla="*/ 3 h 166"/>
                    <a:gd name="T118" fmla="*/ 194 w 204"/>
                    <a:gd name="T119" fmla="*/ 0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04" h="166">
                      <a:moveTo>
                        <a:pt x="1" y="143"/>
                      </a:moveTo>
                      <a:lnTo>
                        <a:pt x="1" y="143"/>
                      </a:lnTo>
                      <a:lnTo>
                        <a:pt x="0" y="143"/>
                      </a:lnTo>
                      <a:lnTo>
                        <a:pt x="0" y="146"/>
                      </a:lnTo>
                      <a:lnTo>
                        <a:pt x="0" y="146"/>
                      </a:lnTo>
                      <a:lnTo>
                        <a:pt x="3" y="145"/>
                      </a:lnTo>
                      <a:lnTo>
                        <a:pt x="1" y="143"/>
                      </a:lnTo>
                      <a:close/>
                      <a:moveTo>
                        <a:pt x="17" y="142"/>
                      </a:moveTo>
                      <a:lnTo>
                        <a:pt x="17" y="142"/>
                      </a:lnTo>
                      <a:lnTo>
                        <a:pt x="7" y="142"/>
                      </a:lnTo>
                      <a:lnTo>
                        <a:pt x="7" y="145"/>
                      </a:lnTo>
                      <a:lnTo>
                        <a:pt x="7" y="145"/>
                      </a:lnTo>
                      <a:lnTo>
                        <a:pt x="17" y="143"/>
                      </a:lnTo>
                      <a:lnTo>
                        <a:pt x="17" y="142"/>
                      </a:lnTo>
                      <a:close/>
                      <a:moveTo>
                        <a:pt x="33" y="142"/>
                      </a:moveTo>
                      <a:lnTo>
                        <a:pt x="32" y="142"/>
                      </a:lnTo>
                      <a:lnTo>
                        <a:pt x="32" y="142"/>
                      </a:lnTo>
                      <a:lnTo>
                        <a:pt x="24" y="142"/>
                      </a:lnTo>
                      <a:lnTo>
                        <a:pt x="24" y="142"/>
                      </a:lnTo>
                      <a:lnTo>
                        <a:pt x="22" y="142"/>
                      </a:lnTo>
                      <a:lnTo>
                        <a:pt x="22" y="143"/>
                      </a:lnTo>
                      <a:lnTo>
                        <a:pt x="22" y="143"/>
                      </a:lnTo>
                      <a:lnTo>
                        <a:pt x="24" y="143"/>
                      </a:lnTo>
                      <a:lnTo>
                        <a:pt x="24" y="143"/>
                      </a:lnTo>
                      <a:lnTo>
                        <a:pt x="32" y="145"/>
                      </a:lnTo>
                      <a:lnTo>
                        <a:pt x="32" y="145"/>
                      </a:lnTo>
                      <a:lnTo>
                        <a:pt x="33" y="142"/>
                      </a:lnTo>
                      <a:close/>
                      <a:moveTo>
                        <a:pt x="45" y="146"/>
                      </a:moveTo>
                      <a:lnTo>
                        <a:pt x="40" y="146"/>
                      </a:lnTo>
                      <a:lnTo>
                        <a:pt x="40" y="146"/>
                      </a:lnTo>
                      <a:lnTo>
                        <a:pt x="37" y="146"/>
                      </a:lnTo>
                      <a:lnTo>
                        <a:pt x="37" y="146"/>
                      </a:lnTo>
                      <a:lnTo>
                        <a:pt x="35" y="146"/>
                      </a:lnTo>
                      <a:lnTo>
                        <a:pt x="35" y="146"/>
                      </a:lnTo>
                      <a:lnTo>
                        <a:pt x="36" y="149"/>
                      </a:lnTo>
                      <a:lnTo>
                        <a:pt x="36" y="149"/>
                      </a:lnTo>
                      <a:lnTo>
                        <a:pt x="40" y="149"/>
                      </a:lnTo>
                      <a:lnTo>
                        <a:pt x="45" y="149"/>
                      </a:lnTo>
                      <a:lnTo>
                        <a:pt x="45" y="146"/>
                      </a:lnTo>
                      <a:close/>
                      <a:moveTo>
                        <a:pt x="53" y="156"/>
                      </a:moveTo>
                      <a:lnTo>
                        <a:pt x="53" y="156"/>
                      </a:lnTo>
                      <a:lnTo>
                        <a:pt x="52" y="153"/>
                      </a:lnTo>
                      <a:lnTo>
                        <a:pt x="52" y="150"/>
                      </a:lnTo>
                      <a:lnTo>
                        <a:pt x="52" y="150"/>
                      </a:lnTo>
                      <a:lnTo>
                        <a:pt x="52" y="149"/>
                      </a:lnTo>
                      <a:lnTo>
                        <a:pt x="52" y="149"/>
                      </a:lnTo>
                      <a:lnTo>
                        <a:pt x="52" y="149"/>
                      </a:lnTo>
                      <a:lnTo>
                        <a:pt x="52" y="146"/>
                      </a:lnTo>
                      <a:lnTo>
                        <a:pt x="51" y="146"/>
                      </a:lnTo>
                      <a:lnTo>
                        <a:pt x="51" y="146"/>
                      </a:lnTo>
                      <a:lnTo>
                        <a:pt x="51" y="149"/>
                      </a:lnTo>
                      <a:lnTo>
                        <a:pt x="51" y="149"/>
                      </a:lnTo>
                      <a:lnTo>
                        <a:pt x="51" y="147"/>
                      </a:lnTo>
                      <a:lnTo>
                        <a:pt x="49" y="147"/>
                      </a:lnTo>
                      <a:lnTo>
                        <a:pt x="49" y="147"/>
                      </a:lnTo>
                      <a:lnTo>
                        <a:pt x="49" y="150"/>
                      </a:lnTo>
                      <a:lnTo>
                        <a:pt x="49" y="150"/>
                      </a:lnTo>
                      <a:lnTo>
                        <a:pt x="49" y="153"/>
                      </a:lnTo>
                      <a:lnTo>
                        <a:pt x="51" y="158"/>
                      </a:lnTo>
                      <a:lnTo>
                        <a:pt x="53" y="156"/>
                      </a:lnTo>
                      <a:close/>
                      <a:moveTo>
                        <a:pt x="62" y="163"/>
                      </a:moveTo>
                      <a:lnTo>
                        <a:pt x="62" y="163"/>
                      </a:lnTo>
                      <a:lnTo>
                        <a:pt x="61" y="165"/>
                      </a:lnTo>
                      <a:lnTo>
                        <a:pt x="61" y="165"/>
                      </a:lnTo>
                      <a:lnTo>
                        <a:pt x="58" y="162"/>
                      </a:lnTo>
                      <a:lnTo>
                        <a:pt x="58" y="162"/>
                      </a:lnTo>
                      <a:lnTo>
                        <a:pt x="56" y="160"/>
                      </a:lnTo>
                      <a:lnTo>
                        <a:pt x="53" y="162"/>
                      </a:lnTo>
                      <a:lnTo>
                        <a:pt x="53" y="162"/>
                      </a:lnTo>
                      <a:lnTo>
                        <a:pt x="56" y="163"/>
                      </a:lnTo>
                      <a:lnTo>
                        <a:pt x="56" y="163"/>
                      </a:lnTo>
                      <a:lnTo>
                        <a:pt x="58" y="166"/>
                      </a:lnTo>
                      <a:lnTo>
                        <a:pt x="61" y="166"/>
                      </a:lnTo>
                      <a:lnTo>
                        <a:pt x="61" y="166"/>
                      </a:lnTo>
                      <a:lnTo>
                        <a:pt x="65" y="165"/>
                      </a:lnTo>
                      <a:lnTo>
                        <a:pt x="62" y="163"/>
                      </a:lnTo>
                      <a:close/>
                      <a:moveTo>
                        <a:pt x="71" y="150"/>
                      </a:moveTo>
                      <a:lnTo>
                        <a:pt x="71" y="150"/>
                      </a:lnTo>
                      <a:lnTo>
                        <a:pt x="71" y="150"/>
                      </a:lnTo>
                      <a:lnTo>
                        <a:pt x="68" y="155"/>
                      </a:lnTo>
                      <a:lnTo>
                        <a:pt x="68" y="155"/>
                      </a:lnTo>
                      <a:lnTo>
                        <a:pt x="65" y="159"/>
                      </a:lnTo>
                      <a:lnTo>
                        <a:pt x="68" y="160"/>
                      </a:lnTo>
                      <a:lnTo>
                        <a:pt x="68" y="160"/>
                      </a:lnTo>
                      <a:lnTo>
                        <a:pt x="69" y="156"/>
                      </a:lnTo>
                      <a:lnTo>
                        <a:pt x="69" y="156"/>
                      </a:lnTo>
                      <a:lnTo>
                        <a:pt x="72" y="152"/>
                      </a:lnTo>
                      <a:lnTo>
                        <a:pt x="72" y="152"/>
                      </a:lnTo>
                      <a:lnTo>
                        <a:pt x="71" y="150"/>
                      </a:lnTo>
                      <a:close/>
                      <a:moveTo>
                        <a:pt x="82" y="159"/>
                      </a:moveTo>
                      <a:lnTo>
                        <a:pt x="81" y="159"/>
                      </a:lnTo>
                      <a:lnTo>
                        <a:pt x="81" y="159"/>
                      </a:lnTo>
                      <a:lnTo>
                        <a:pt x="78" y="156"/>
                      </a:lnTo>
                      <a:lnTo>
                        <a:pt x="77" y="152"/>
                      </a:lnTo>
                      <a:lnTo>
                        <a:pt x="74" y="153"/>
                      </a:lnTo>
                      <a:lnTo>
                        <a:pt x="74" y="153"/>
                      </a:lnTo>
                      <a:lnTo>
                        <a:pt x="77" y="158"/>
                      </a:lnTo>
                      <a:lnTo>
                        <a:pt x="81" y="160"/>
                      </a:lnTo>
                      <a:lnTo>
                        <a:pt x="81" y="160"/>
                      </a:lnTo>
                      <a:lnTo>
                        <a:pt x="82" y="159"/>
                      </a:lnTo>
                      <a:close/>
                      <a:moveTo>
                        <a:pt x="91" y="150"/>
                      </a:moveTo>
                      <a:lnTo>
                        <a:pt x="91" y="150"/>
                      </a:lnTo>
                      <a:lnTo>
                        <a:pt x="87" y="150"/>
                      </a:lnTo>
                      <a:lnTo>
                        <a:pt x="87" y="150"/>
                      </a:lnTo>
                      <a:lnTo>
                        <a:pt x="84" y="153"/>
                      </a:lnTo>
                      <a:lnTo>
                        <a:pt x="84" y="153"/>
                      </a:lnTo>
                      <a:lnTo>
                        <a:pt x="84" y="158"/>
                      </a:lnTo>
                      <a:lnTo>
                        <a:pt x="87" y="158"/>
                      </a:lnTo>
                      <a:lnTo>
                        <a:pt x="87" y="158"/>
                      </a:lnTo>
                      <a:lnTo>
                        <a:pt x="87" y="155"/>
                      </a:lnTo>
                      <a:lnTo>
                        <a:pt x="87" y="155"/>
                      </a:lnTo>
                      <a:lnTo>
                        <a:pt x="88" y="153"/>
                      </a:lnTo>
                      <a:lnTo>
                        <a:pt x="88" y="153"/>
                      </a:lnTo>
                      <a:lnTo>
                        <a:pt x="91" y="152"/>
                      </a:lnTo>
                      <a:lnTo>
                        <a:pt x="91" y="150"/>
                      </a:lnTo>
                      <a:close/>
                      <a:moveTo>
                        <a:pt x="107" y="150"/>
                      </a:moveTo>
                      <a:lnTo>
                        <a:pt x="107" y="150"/>
                      </a:lnTo>
                      <a:lnTo>
                        <a:pt x="106" y="149"/>
                      </a:lnTo>
                      <a:lnTo>
                        <a:pt x="103" y="149"/>
                      </a:lnTo>
                      <a:lnTo>
                        <a:pt x="101" y="149"/>
                      </a:lnTo>
                      <a:lnTo>
                        <a:pt x="101" y="149"/>
                      </a:lnTo>
                      <a:lnTo>
                        <a:pt x="97" y="149"/>
                      </a:lnTo>
                      <a:lnTo>
                        <a:pt x="97" y="152"/>
                      </a:lnTo>
                      <a:lnTo>
                        <a:pt x="97" y="152"/>
                      </a:lnTo>
                      <a:lnTo>
                        <a:pt x="101" y="152"/>
                      </a:lnTo>
                      <a:lnTo>
                        <a:pt x="103" y="152"/>
                      </a:lnTo>
                      <a:lnTo>
                        <a:pt x="103" y="152"/>
                      </a:lnTo>
                      <a:lnTo>
                        <a:pt x="106" y="153"/>
                      </a:lnTo>
                      <a:lnTo>
                        <a:pt x="107" y="150"/>
                      </a:lnTo>
                      <a:close/>
                      <a:moveTo>
                        <a:pt x="120" y="153"/>
                      </a:moveTo>
                      <a:lnTo>
                        <a:pt x="120" y="153"/>
                      </a:lnTo>
                      <a:lnTo>
                        <a:pt x="116" y="153"/>
                      </a:lnTo>
                      <a:lnTo>
                        <a:pt x="116" y="153"/>
                      </a:lnTo>
                      <a:lnTo>
                        <a:pt x="113" y="153"/>
                      </a:lnTo>
                      <a:lnTo>
                        <a:pt x="113" y="153"/>
                      </a:lnTo>
                      <a:lnTo>
                        <a:pt x="111" y="153"/>
                      </a:lnTo>
                      <a:lnTo>
                        <a:pt x="110" y="155"/>
                      </a:lnTo>
                      <a:lnTo>
                        <a:pt x="110" y="155"/>
                      </a:lnTo>
                      <a:lnTo>
                        <a:pt x="113" y="156"/>
                      </a:lnTo>
                      <a:lnTo>
                        <a:pt x="113" y="156"/>
                      </a:lnTo>
                      <a:lnTo>
                        <a:pt x="116" y="156"/>
                      </a:lnTo>
                      <a:lnTo>
                        <a:pt x="116" y="156"/>
                      </a:lnTo>
                      <a:lnTo>
                        <a:pt x="121" y="155"/>
                      </a:lnTo>
                      <a:lnTo>
                        <a:pt x="120" y="153"/>
                      </a:lnTo>
                      <a:close/>
                      <a:moveTo>
                        <a:pt x="136" y="152"/>
                      </a:moveTo>
                      <a:lnTo>
                        <a:pt x="136" y="152"/>
                      </a:lnTo>
                      <a:lnTo>
                        <a:pt x="126" y="153"/>
                      </a:lnTo>
                      <a:lnTo>
                        <a:pt x="126" y="155"/>
                      </a:lnTo>
                      <a:lnTo>
                        <a:pt x="126" y="155"/>
                      </a:lnTo>
                      <a:lnTo>
                        <a:pt x="136" y="155"/>
                      </a:lnTo>
                      <a:lnTo>
                        <a:pt x="136" y="152"/>
                      </a:lnTo>
                      <a:close/>
                      <a:moveTo>
                        <a:pt x="150" y="152"/>
                      </a:moveTo>
                      <a:lnTo>
                        <a:pt x="150" y="152"/>
                      </a:lnTo>
                      <a:lnTo>
                        <a:pt x="140" y="152"/>
                      </a:lnTo>
                      <a:lnTo>
                        <a:pt x="140" y="155"/>
                      </a:lnTo>
                      <a:lnTo>
                        <a:pt x="140" y="155"/>
                      </a:lnTo>
                      <a:lnTo>
                        <a:pt x="150" y="155"/>
                      </a:lnTo>
                      <a:lnTo>
                        <a:pt x="150" y="152"/>
                      </a:lnTo>
                      <a:close/>
                      <a:moveTo>
                        <a:pt x="165" y="150"/>
                      </a:moveTo>
                      <a:lnTo>
                        <a:pt x="163" y="152"/>
                      </a:lnTo>
                      <a:lnTo>
                        <a:pt x="165" y="153"/>
                      </a:lnTo>
                      <a:lnTo>
                        <a:pt x="165" y="152"/>
                      </a:lnTo>
                      <a:lnTo>
                        <a:pt x="165" y="152"/>
                      </a:lnTo>
                      <a:lnTo>
                        <a:pt x="156" y="152"/>
                      </a:lnTo>
                      <a:lnTo>
                        <a:pt x="156" y="155"/>
                      </a:lnTo>
                      <a:lnTo>
                        <a:pt x="156" y="155"/>
                      </a:lnTo>
                      <a:lnTo>
                        <a:pt x="165" y="155"/>
                      </a:lnTo>
                      <a:lnTo>
                        <a:pt x="165" y="155"/>
                      </a:lnTo>
                      <a:lnTo>
                        <a:pt x="166" y="152"/>
                      </a:lnTo>
                      <a:lnTo>
                        <a:pt x="165" y="150"/>
                      </a:lnTo>
                      <a:close/>
                      <a:moveTo>
                        <a:pt x="171" y="137"/>
                      </a:moveTo>
                      <a:lnTo>
                        <a:pt x="166" y="146"/>
                      </a:lnTo>
                      <a:lnTo>
                        <a:pt x="169" y="147"/>
                      </a:lnTo>
                      <a:lnTo>
                        <a:pt x="174" y="139"/>
                      </a:lnTo>
                      <a:lnTo>
                        <a:pt x="171" y="137"/>
                      </a:lnTo>
                      <a:close/>
                      <a:moveTo>
                        <a:pt x="168" y="126"/>
                      </a:moveTo>
                      <a:lnTo>
                        <a:pt x="169" y="129"/>
                      </a:lnTo>
                      <a:lnTo>
                        <a:pt x="169" y="129"/>
                      </a:lnTo>
                      <a:lnTo>
                        <a:pt x="174" y="134"/>
                      </a:lnTo>
                      <a:lnTo>
                        <a:pt x="175" y="133"/>
                      </a:lnTo>
                      <a:lnTo>
                        <a:pt x="174" y="133"/>
                      </a:lnTo>
                      <a:lnTo>
                        <a:pt x="174" y="133"/>
                      </a:lnTo>
                      <a:lnTo>
                        <a:pt x="177" y="134"/>
                      </a:lnTo>
                      <a:lnTo>
                        <a:pt x="177" y="134"/>
                      </a:lnTo>
                      <a:lnTo>
                        <a:pt x="177" y="133"/>
                      </a:lnTo>
                      <a:lnTo>
                        <a:pt x="171" y="127"/>
                      </a:lnTo>
                      <a:lnTo>
                        <a:pt x="171" y="126"/>
                      </a:lnTo>
                      <a:lnTo>
                        <a:pt x="168" y="126"/>
                      </a:lnTo>
                      <a:close/>
                      <a:moveTo>
                        <a:pt x="168" y="110"/>
                      </a:moveTo>
                      <a:lnTo>
                        <a:pt x="168" y="120"/>
                      </a:lnTo>
                      <a:lnTo>
                        <a:pt x="171" y="120"/>
                      </a:lnTo>
                      <a:lnTo>
                        <a:pt x="171" y="110"/>
                      </a:lnTo>
                      <a:lnTo>
                        <a:pt x="168" y="110"/>
                      </a:lnTo>
                      <a:close/>
                      <a:moveTo>
                        <a:pt x="166" y="95"/>
                      </a:moveTo>
                      <a:lnTo>
                        <a:pt x="168" y="105"/>
                      </a:lnTo>
                      <a:lnTo>
                        <a:pt x="169" y="105"/>
                      </a:lnTo>
                      <a:lnTo>
                        <a:pt x="169" y="95"/>
                      </a:lnTo>
                      <a:lnTo>
                        <a:pt x="166" y="95"/>
                      </a:lnTo>
                      <a:close/>
                      <a:moveTo>
                        <a:pt x="166" y="79"/>
                      </a:moveTo>
                      <a:lnTo>
                        <a:pt x="166" y="90"/>
                      </a:lnTo>
                      <a:lnTo>
                        <a:pt x="169" y="90"/>
                      </a:lnTo>
                      <a:lnTo>
                        <a:pt x="168" y="79"/>
                      </a:lnTo>
                      <a:lnTo>
                        <a:pt x="166" y="79"/>
                      </a:lnTo>
                      <a:close/>
                      <a:moveTo>
                        <a:pt x="165" y="65"/>
                      </a:moveTo>
                      <a:lnTo>
                        <a:pt x="165" y="75"/>
                      </a:lnTo>
                      <a:lnTo>
                        <a:pt x="168" y="75"/>
                      </a:lnTo>
                      <a:lnTo>
                        <a:pt x="168" y="65"/>
                      </a:lnTo>
                      <a:lnTo>
                        <a:pt x="165" y="65"/>
                      </a:lnTo>
                      <a:close/>
                      <a:moveTo>
                        <a:pt x="163" y="50"/>
                      </a:moveTo>
                      <a:lnTo>
                        <a:pt x="165" y="59"/>
                      </a:lnTo>
                      <a:lnTo>
                        <a:pt x="166" y="59"/>
                      </a:lnTo>
                      <a:lnTo>
                        <a:pt x="166" y="49"/>
                      </a:lnTo>
                      <a:lnTo>
                        <a:pt x="163" y="50"/>
                      </a:lnTo>
                      <a:close/>
                      <a:moveTo>
                        <a:pt x="163" y="34"/>
                      </a:moveTo>
                      <a:lnTo>
                        <a:pt x="163" y="45"/>
                      </a:lnTo>
                      <a:lnTo>
                        <a:pt x="166" y="45"/>
                      </a:lnTo>
                      <a:lnTo>
                        <a:pt x="165" y="34"/>
                      </a:lnTo>
                      <a:lnTo>
                        <a:pt x="163" y="34"/>
                      </a:lnTo>
                      <a:close/>
                      <a:moveTo>
                        <a:pt x="162" y="20"/>
                      </a:moveTo>
                      <a:lnTo>
                        <a:pt x="162" y="30"/>
                      </a:lnTo>
                      <a:lnTo>
                        <a:pt x="165" y="29"/>
                      </a:lnTo>
                      <a:lnTo>
                        <a:pt x="165" y="19"/>
                      </a:lnTo>
                      <a:lnTo>
                        <a:pt x="162" y="20"/>
                      </a:lnTo>
                      <a:close/>
                      <a:moveTo>
                        <a:pt x="161" y="4"/>
                      </a:moveTo>
                      <a:lnTo>
                        <a:pt x="162" y="14"/>
                      </a:lnTo>
                      <a:lnTo>
                        <a:pt x="165" y="14"/>
                      </a:lnTo>
                      <a:lnTo>
                        <a:pt x="163" y="4"/>
                      </a:lnTo>
                      <a:lnTo>
                        <a:pt x="161" y="4"/>
                      </a:lnTo>
                      <a:close/>
                      <a:moveTo>
                        <a:pt x="174" y="0"/>
                      </a:moveTo>
                      <a:lnTo>
                        <a:pt x="163" y="0"/>
                      </a:lnTo>
                      <a:lnTo>
                        <a:pt x="163" y="3"/>
                      </a:lnTo>
                      <a:lnTo>
                        <a:pt x="174" y="3"/>
                      </a:lnTo>
                      <a:lnTo>
                        <a:pt x="174" y="0"/>
                      </a:lnTo>
                      <a:close/>
                      <a:moveTo>
                        <a:pt x="190" y="0"/>
                      </a:moveTo>
                      <a:lnTo>
                        <a:pt x="179" y="0"/>
                      </a:lnTo>
                      <a:lnTo>
                        <a:pt x="179" y="3"/>
                      </a:lnTo>
                      <a:lnTo>
                        <a:pt x="190" y="3"/>
                      </a:lnTo>
                      <a:lnTo>
                        <a:pt x="190" y="0"/>
                      </a:lnTo>
                      <a:close/>
                      <a:moveTo>
                        <a:pt x="204" y="0"/>
                      </a:moveTo>
                      <a:lnTo>
                        <a:pt x="194" y="0"/>
                      </a:lnTo>
                      <a:lnTo>
                        <a:pt x="194" y="3"/>
                      </a:lnTo>
                      <a:lnTo>
                        <a:pt x="204" y="3"/>
                      </a:lnTo>
                      <a:lnTo>
                        <a:pt x="204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0" name="Freeform 1618"/>
                <p:cNvSpPr>
                  <a:spLocks noEditPoints="1"/>
                </p:cNvSpPr>
                <p:nvPr/>
              </p:nvSpPr>
              <p:spPr bwMode="auto">
                <a:xfrm>
                  <a:off x="4274232" y="3164792"/>
                  <a:ext cx="24731" cy="93980"/>
                </a:xfrm>
                <a:custGeom>
                  <a:avLst/>
                  <a:gdLst>
                    <a:gd name="T0" fmla="*/ 22 w 25"/>
                    <a:gd name="T1" fmla="*/ 8 h 95"/>
                    <a:gd name="T2" fmla="*/ 22 w 25"/>
                    <a:gd name="T3" fmla="*/ 0 h 95"/>
                    <a:gd name="T4" fmla="*/ 21 w 25"/>
                    <a:gd name="T5" fmla="*/ 7 h 95"/>
                    <a:gd name="T6" fmla="*/ 22 w 25"/>
                    <a:gd name="T7" fmla="*/ 23 h 95"/>
                    <a:gd name="T8" fmla="*/ 22 w 25"/>
                    <a:gd name="T9" fmla="*/ 20 h 95"/>
                    <a:gd name="T10" fmla="*/ 22 w 25"/>
                    <a:gd name="T11" fmla="*/ 14 h 95"/>
                    <a:gd name="T12" fmla="*/ 22 w 25"/>
                    <a:gd name="T13" fmla="*/ 13 h 95"/>
                    <a:gd name="T14" fmla="*/ 19 w 25"/>
                    <a:gd name="T15" fmla="*/ 13 h 95"/>
                    <a:gd name="T16" fmla="*/ 19 w 25"/>
                    <a:gd name="T17" fmla="*/ 14 h 95"/>
                    <a:gd name="T18" fmla="*/ 19 w 25"/>
                    <a:gd name="T19" fmla="*/ 20 h 95"/>
                    <a:gd name="T20" fmla="*/ 22 w 25"/>
                    <a:gd name="T21" fmla="*/ 23 h 95"/>
                    <a:gd name="T22" fmla="*/ 21 w 25"/>
                    <a:gd name="T23" fmla="*/ 39 h 95"/>
                    <a:gd name="T24" fmla="*/ 19 w 25"/>
                    <a:gd name="T25" fmla="*/ 29 h 95"/>
                    <a:gd name="T26" fmla="*/ 18 w 25"/>
                    <a:gd name="T27" fmla="*/ 37 h 95"/>
                    <a:gd name="T28" fmla="*/ 9 w 25"/>
                    <a:gd name="T29" fmla="*/ 49 h 95"/>
                    <a:gd name="T30" fmla="*/ 12 w 25"/>
                    <a:gd name="T31" fmla="*/ 46 h 95"/>
                    <a:gd name="T32" fmla="*/ 18 w 25"/>
                    <a:gd name="T33" fmla="*/ 43 h 95"/>
                    <a:gd name="T34" fmla="*/ 15 w 25"/>
                    <a:gd name="T35" fmla="*/ 42 h 95"/>
                    <a:gd name="T36" fmla="*/ 11 w 25"/>
                    <a:gd name="T37" fmla="*/ 45 h 95"/>
                    <a:gd name="T38" fmla="*/ 9 w 25"/>
                    <a:gd name="T39" fmla="*/ 49 h 95"/>
                    <a:gd name="T40" fmla="*/ 6 w 25"/>
                    <a:gd name="T41" fmla="*/ 58 h 95"/>
                    <a:gd name="T42" fmla="*/ 3 w 25"/>
                    <a:gd name="T43" fmla="*/ 56 h 95"/>
                    <a:gd name="T44" fmla="*/ 3 w 25"/>
                    <a:gd name="T45" fmla="*/ 56 h 95"/>
                    <a:gd name="T46" fmla="*/ 3 w 25"/>
                    <a:gd name="T47" fmla="*/ 56 h 95"/>
                    <a:gd name="T48" fmla="*/ 3 w 25"/>
                    <a:gd name="T49" fmla="*/ 56 h 95"/>
                    <a:gd name="T50" fmla="*/ 5 w 25"/>
                    <a:gd name="T51" fmla="*/ 53 h 95"/>
                    <a:gd name="T52" fmla="*/ 5 w 25"/>
                    <a:gd name="T53" fmla="*/ 50 h 95"/>
                    <a:gd name="T54" fmla="*/ 3 w 25"/>
                    <a:gd name="T55" fmla="*/ 52 h 95"/>
                    <a:gd name="T56" fmla="*/ 0 w 25"/>
                    <a:gd name="T57" fmla="*/ 56 h 95"/>
                    <a:gd name="T58" fmla="*/ 2 w 25"/>
                    <a:gd name="T59" fmla="*/ 58 h 95"/>
                    <a:gd name="T60" fmla="*/ 6 w 25"/>
                    <a:gd name="T61" fmla="*/ 59 h 95"/>
                    <a:gd name="T62" fmla="*/ 19 w 25"/>
                    <a:gd name="T63" fmla="*/ 66 h 95"/>
                    <a:gd name="T64" fmla="*/ 15 w 25"/>
                    <a:gd name="T65" fmla="*/ 62 h 95"/>
                    <a:gd name="T66" fmla="*/ 12 w 25"/>
                    <a:gd name="T67" fmla="*/ 59 h 95"/>
                    <a:gd name="T68" fmla="*/ 11 w 25"/>
                    <a:gd name="T69" fmla="*/ 62 h 95"/>
                    <a:gd name="T70" fmla="*/ 14 w 25"/>
                    <a:gd name="T71" fmla="*/ 63 h 95"/>
                    <a:gd name="T72" fmla="*/ 19 w 25"/>
                    <a:gd name="T73" fmla="*/ 66 h 95"/>
                    <a:gd name="T74" fmla="*/ 22 w 25"/>
                    <a:gd name="T75" fmla="*/ 81 h 95"/>
                    <a:gd name="T76" fmla="*/ 22 w 25"/>
                    <a:gd name="T77" fmla="*/ 79 h 95"/>
                    <a:gd name="T78" fmla="*/ 24 w 25"/>
                    <a:gd name="T79" fmla="*/ 75 h 95"/>
                    <a:gd name="T80" fmla="*/ 21 w 25"/>
                    <a:gd name="T81" fmla="*/ 71 h 95"/>
                    <a:gd name="T82" fmla="*/ 22 w 25"/>
                    <a:gd name="T83" fmla="*/ 75 h 95"/>
                    <a:gd name="T84" fmla="*/ 21 w 25"/>
                    <a:gd name="T85" fmla="*/ 78 h 95"/>
                    <a:gd name="T86" fmla="*/ 19 w 25"/>
                    <a:gd name="T87" fmla="*/ 79 h 95"/>
                    <a:gd name="T88" fmla="*/ 22 w 25"/>
                    <a:gd name="T89" fmla="*/ 95 h 95"/>
                    <a:gd name="T90" fmla="*/ 21 w 25"/>
                    <a:gd name="T91" fmla="*/ 88 h 95"/>
                    <a:gd name="T92" fmla="*/ 21 w 25"/>
                    <a:gd name="T93" fmla="*/ 85 h 95"/>
                    <a:gd name="T94" fmla="*/ 19 w 25"/>
                    <a:gd name="T95" fmla="*/ 85 h 95"/>
                    <a:gd name="T96" fmla="*/ 19 w 25"/>
                    <a:gd name="T97" fmla="*/ 88 h 95"/>
                    <a:gd name="T98" fmla="*/ 22 w 25"/>
                    <a:gd name="T99" fmla="*/ 95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5" h="95">
                      <a:moveTo>
                        <a:pt x="22" y="8"/>
                      </a:moveTo>
                      <a:lnTo>
                        <a:pt x="22" y="8"/>
                      </a:lnTo>
                      <a:lnTo>
                        <a:pt x="25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1" y="7"/>
                      </a:lnTo>
                      <a:lnTo>
                        <a:pt x="22" y="8"/>
                      </a:lnTo>
                      <a:close/>
                      <a:moveTo>
                        <a:pt x="22" y="23"/>
                      </a:moveTo>
                      <a:lnTo>
                        <a:pt x="22" y="23"/>
                      </a:lnTo>
                      <a:lnTo>
                        <a:pt x="22" y="20"/>
                      </a:lnTo>
                      <a:lnTo>
                        <a:pt x="22" y="2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2" y="13"/>
                      </a:lnTo>
                      <a:lnTo>
                        <a:pt x="19" y="13"/>
                      </a:lnTo>
                      <a:lnTo>
                        <a:pt x="19" y="13"/>
                      </a:lnTo>
                      <a:lnTo>
                        <a:pt x="19" y="14"/>
                      </a:lnTo>
                      <a:lnTo>
                        <a:pt x="19" y="14"/>
                      </a:lnTo>
                      <a:lnTo>
                        <a:pt x="19" y="20"/>
                      </a:lnTo>
                      <a:lnTo>
                        <a:pt x="19" y="20"/>
                      </a:lnTo>
                      <a:lnTo>
                        <a:pt x="19" y="23"/>
                      </a:lnTo>
                      <a:lnTo>
                        <a:pt x="22" y="23"/>
                      </a:lnTo>
                      <a:close/>
                      <a:moveTo>
                        <a:pt x="21" y="39"/>
                      </a:moveTo>
                      <a:lnTo>
                        <a:pt x="21" y="39"/>
                      </a:lnTo>
                      <a:lnTo>
                        <a:pt x="22" y="29"/>
                      </a:lnTo>
                      <a:lnTo>
                        <a:pt x="19" y="29"/>
                      </a:lnTo>
                      <a:lnTo>
                        <a:pt x="19" y="29"/>
                      </a:lnTo>
                      <a:lnTo>
                        <a:pt x="18" y="37"/>
                      </a:lnTo>
                      <a:lnTo>
                        <a:pt x="21" y="39"/>
                      </a:lnTo>
                      <a:close/>
                      <a:moveTo>
                        <a:pt x="9" y="49"/>
                      </a:moveTo>
                      <a:lnTo>
                        <a:pt x="9" y="49"/>
                      </a:lnTo>
                      <a:lnTo>
                        <a:pt x="12" y="46"/>
                      </a:lnTo>
                      <a:lnTo>
                        <a:pt x="16" y="45"/>
                      </a:lnTo>
                      <a:lnTo>
                        <a:pt x="18" y="43"/>
                      </a:lnTo>
                      <a:lnTo>
                        <a:pt x="16" y="42"/>
                      </a:lnTo>
                      <a:lnTo>
                        <a:pt x="15" y="42"/>
                      </a:lnTo>
                      <a:lnTo>
                        <a:pt x="15" y="42"/>
                      </a:lnTo>
                      <a:lnTo>
                        <a:pt x="11" y="45"/>
                      </a:lnTo>
                      <a:lnTo>
                        <a:pt x="8" y="47"/>
                      </a:lnTo>
                      <a:lnTo>
                        <a:pt x="9" y="49"/>
                      </a:lnTo>
                      <a:close/>
                      <a:moveTo>
                        <a:pt x="6" y="58"/>
                      </a:moveTo>
                      <a:lnTo>
                        <a:pt x="6" y="58"/>
                      </a:lnTo>
                      <a:lnTo>
                        <a:pt x="3" y="56"/>
                      </a:lnTo>
                      <a:lnTo>
                        <a:pt x="3" y="56"/>
                      </a:lnTo>
                      <a:lnTo>
                        <a:pt x="3" y="56"/>
                      </a:lnTo>
                      <a:lnTo>
                        <a:pt x="3" y="56"/>
                      </a:lnTo>
                      <a:lnTo>
                        <a:pt x="3" y="56"/>
                      </a:lnTo>
                      <a:lnTo>
                        <a:pt x="3" y="56"/>
                      </a:lnTo>
                      <a:lnTo>
                        <a:pt x="3" y="56"/>
                      </a:lnTo>
                      <a:lnTo>
                        <a:pt x="3" y="56"/>
                      </a:lnTo>
                      <a:lnTo>
                        <a:pt x="3" y="56"/>
                      </a:lnTo>
                      <a:lnTo>
                        <a:pt x="5" y="53"/>
                      </a:lnTo>
                      <a:lnTo>
                        <a:pt x="6" y="53"/>
                      </a:lnTo>
                      <a:lnTo>
                        <a:pt x="5" y="50"/>
                      </a:lnTo>
                      <a:lnTo>
                        <a:pt x="3" y="52"/>
                      </a:lnTo>
                      <a:lnTo>
                        <a:pt x="3" y="52"/>
                      </a:lnTo>
                      <a:lnTo>
                        <a:pt x="2" y="55"/>
                      </a:lnTo>
                      <a:lnTo>
                        <a:pt x="0" y="56"/>
                      </a:lnTo>
                      <a:lnTo>
                        <a:pt x="0" y="56"/>
                      </a:lnTo>
                      <a:lnTo>
                        <a:pt x="2" y="58"/>
                      </a:lnTo>
                      <a:lnTo>
                        <a:pt x="2" y="58"/>
                      </a:lnTo>
                      <a:lnTo>
                        <a:pt x="6" y="59"/>
                      </a:lnTo>
                      <a:lnTo>
                        <a:pt x="6" y="58"/>
                      </a:lnTo>
                      <a:close/>
                      <a:moveTo>
                        <a:pt x="19" y="66"/>
                      </a:moveTo>
                      <a:lnTo>
                        <a:pt x="19" y="66"/>
                      </a:lnTo>
                      <a:lnTo>
                        <a:pt x="15" y="62"/>
                      </a:lnTo>
                      <a:lnTo>
                        <a:pt x="15" y="62"/>
                      </a:lnTo>
                      <a:lnTo>
                        <a:pt x="12" y="59"/>
                      </a:lnTo>
                      <a:lnTo>
                        <a:pt x="11" y="62"/>
                      </a:lnTo>
                      <a:lnTo>
                        <a:pt x="11" y="62"/>
                      </a:lnTo>
                      <a:lnTo>
                        <a:pt x="14" y="63"/>
                      </a:lnTo>
                      <a:lnTo>
                        <a:pt x="14" y="63"/>
                      </a:lnTo>
                      <a:lnTo>
                        <a:pt x="18" y="68"/>
                      </a:lnTo>
                      <a:lnTo>
                        <a:pt x="19" y="66"/>
                      </a:lnTo>
                      <a:close/>
                      <a:moveTo>
                        <a:pt x="22" y="81"/>
                      </a:moveTo>
                      <a:lnTo>
                        <a:pt x="22" y="81"/>
                      </a:lnTo>
                      <a:lnTo>
                        <a:pt x="22" y="79"/>
                      </a:lnTo>
                      <a:lnTo>
                        <a:pt x="22" y="79"/>
                      </a:lnTo>
                      <a:lnTo>
                        <a:pt x="24" y="75"/>
                      </a:lnTo>
                      <a:lnTo>
                        <a:pt x="24" y="75"/>
                      </a:lnTo>
                      <a:lnTo>
                        <a:pt x="24" y="71"/>
                      </a:lnTo>
                      <a:lnTo>
                        <a:pt x="21" y="71"/>
                      </a:lnTo>
                      <a:lnTo>
                        <a:pt x="21" y="71"/>
                      </a:lnTo>
                      <a:lnTo>
                        <a:pt x="22" y="75"/>
                      </a:lnTo>
                      <a:lnTo>
                        <a:pt x="22" y="75"/>
                      </a:lnTo>
                      <a:lnTo>
                        <a:pt x="21" y="78"/>
                      </a:lnTo>
                      <a:lnTo>
                        <a:pt x="21" y="78"/>
                      </a:lnTo>
                      <a:lnTo>
                        <a:pt x="19" y="79"/>
                      </a:lnTo>
                      <a:lnTo>
                        <a:pt x="22" y="81"/>
                      </a:lnTo>
                      <a:close/>
                      <a:moveTo>
                        <a:pt x="22" y="95"/>
                      </a:moveTo>
                      <a:lnTo>
                        <a:pt x="22" y="95"/>
                      </a:lnTo>
                      <a:lnTo>
                        <a:pt x="21" y="88"/>
                      </a:lnTo>
                      <a:lnTo>
                        <a:pt x="21" y="88"/>
                      </a:lnTo>
                      <a:lnTo>
                        <a:pt x="21" y="85"/>
                      </a:lnTo>
                      <a:lnTo>
                        <a:pt x="19" y="85"/>
                      </a:lnTo>
                      <a:lnTo>
                        <a:pt x="19" y="85"/>
                      </a:lnTo>
                      <a:lnTo>
                        <a:pt x="19" y="88"/>
                      </a:lnTo>
                      <a:lnTo>
                        <a:pt x="19" y="88"/>
                      </a:lnTo>
                      <a:lnTo>
                        <a:pt x="19" y="95"/>
                      </a:lnTo>
                      <a:lnTo>
                        <a:pt x="22" y="9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1" name="Freeform 1619"/>
                <p:cNvSpPr>
                  <a:spLocks noEditPoints="1"/>
                </p:cNvSpPr>
                <p:nvPr/>
              </p:nvSpPr>
              <p:spPr bwMode="auto">
                <a:xfrm>
                  <a:off x="4215866" y="3092576"/>
                  <a:ext cx="111786" cy="76173"/>
                </a:xfrm>
                <a:custGeom>
                  <a:avLst/>
                  <a:gdLst>
                    <a:gd name="T0" fmla="*/ 2 w 113"/>
                    <a:gd name="T1" fmla="*/ 0 h 77"/>
                    <a:gd name="T2" fmla="*/ 2 w 113"/>
                    <a:gd name="T3" fmla="*/ 10 h 77"/>
                    <a:gd name="T4" fmla="*/ 10 w 113"/>
                    <a:gd name="T5" fmla="*/ 23 h 77"/>
                    <a:gd name="T6" fmla="*/ 3 w 113"/>
                    <a:gd name="T7" fmla="*/ 16 h 77"/>
                    <a:gd name="T8" fmla="*/ 9 w 113"/>
                    <a:gd name="T9" fmla="*/ 25 h 77"/>
                    <a:gd name="T10" fmla="*/ 17 w 113"/>
                    <a:gd name="T11" fmla="*/ 36 h 77"/>
                    <a:gd name="T12" fmla="*/ 13 w 113"/>
                    <a:gd name="T13" fmla="*/ 26 h 77"/>
                    <a:gd name="T14" fmla="*/ 13 w 113"/>
                    <a:gd name="T15" fmla="*/ 32 h 77"/>
                    <a:gd name="T16" fmla="*/ 17 w 113"/>
                    <a:gd name="T17" fmla="*/ 36 h 77"/>
                    <a:gd name="T18" fmla="*/ 19 w 113"/>
                    <a:gd name="T19" fmla="*/ 47 h 77"/>
                    <a:gd name="T20" fmla="*/ 15 w 113"/>
                    <a:gd name="T21" fmla="*/ 42 h 77"/>
                    <a:gd name="T22" fmla="*/ 20 w 113"/>
                    <a:gd name="T23" fmla="*/ 51 h 77"/>
                    <a:gd name="T24" fmla="*/ 25 w 113"/>
                    <a:gd name="T25" fmla="*/ 52 h 77"/>
                    <a:gd name="T26" fmla="*/ 23 w 113"/>
                    <a:gd name="T27" fmla="*/ 54 h 77"/>
                    <a:gd name="T28" fmla="*/ 22 w 113"/>
                    <a:gd name="T29" fmla="*/ 57 h 77"/>
                    <a:gd name="T30" fmla="*/ 26 w 113"/>
                    <a:gd name="T31" fmla="*/ 57 h 77"/>
                    <a:gd name="T32" fmla="*/ 29 w 113"/>
                    <a:gd name="T33" fmla="*/ 48 h 77"/>
                    <a:gd name="T34" fmla="*/ 38 w 113"/>
                    <a:gd name="T35" fmla="*/ 45 h 77"/>
                    <a:gd name="T36" fmla="*/ 35 w 113"/>
                    <a:gd name="T37" fmla="*/ 42 h 77"/>
                    <a:gd name="T38" fmla="*/ 29 w 113"/>
                    <a:gd name="T39" fmla="*/ 41 h 77"/>
                    <a:gd name="T40" fmla="*/ 31 w 113"/>
                    <a:gd name="T41" fmla="*/ 44 h 77"/>
                    <a:gd name="T42" fmla="*/ 31 w 113"/>
                    <a:gd name="T43" fmla="*/ 44 h 77"/>
                    <a:gd name="T44" fmla="*/ 33 w 113"/>
                    <a:gd name="T45" fmla="*/ 44 h 77"/>
                    <a:gd name="T46" fmla="*/ 52 w 113"/>
                    <a:gd name="T47" fmla="*/ 49 h 77"/>
                    <a:gd name="T48" fmla="*/ 45 w 113"/>
                    <a:gd name="T49" fmla="*/ 48 h 77"/>
                    <a:gd name="T50" fmla="*/ 42 w 113"/>
                    <a:gd name="T51" fmla="*/ 49 h 77"/>
                    <a:gd name="T52" fmla="*/ 52 w 113"/>
                    <a:gd name="T53" fmla="*/ 52 h 77"/>
                    <a:gd name="T54" fmla="*/ 67 w 113"/>
                    <a:gd name="T55" fmla="*/ 49 h 77"/>
                    <a:gd name="T56" fmla="*/ 57 w 113"/>
                    <a:gd name="T57" fmla="*/ 49 h 77"/>
                    <a:gd name="T58" fmla="*/ 61 w 113"/>
                    <a:gd name="T59" fmla="*/ 52 h 77"/>
                    <a:gd name="T60" fmla="*/ 67 w 113"/>
                    <a:gd name="T61" fmla="*/ 49 h 77"/>
                    <a:gd name="T62" fmla="*/ 73 w 113"/>
                    <a:gd name="T63" fmla="*/ 54 h 77"/>
                    <a:gd name="T64" fmla="*/ 74 w 113"/>
                    <a:gd name="T65" fmla="*/ 64 h 77"/>
                    <a:gd name="T66" fmla="*/ 86 w 113"/>
                    <a:gd name="T67" fmla="*/ 73 h 77"/>
                    <a:gd name="T68" fmla="*/ 75 w 113"/>
                    <a:gd name="T69" fmla="*/ 68 h 77"/>
                    <a:gd name="T70" fmla="*/ 84 w 113"/>
                    <a:gd name="T71" fmla="*/ 76 h 77"/>
                    <a:gd name="T72" fmla="*/ 99 w 113"/>
                    <a:gd name="T73" fmla="*/ 73 h 77"/>
                    <a:gd name="T74" fmla="*/ 90 w 113"/>
                    <a:gd name="T75" fmla="*/ 74 h 77"/>
                    <a:gd name="T76" fmla="*/ 91 w 113"/>
                    <a:gd name="T77" fmla="*/ 77 h 77"/>
                    <a:gd name="T78" fmla="*/ 100 w 113"/>
                    <a:gd name="T79" fmla="*/ 76 h 77"/>
                    <a:gd name="T80" fmla="*/ 112 w 113"/>
                    <a:gd name="T81" fmla="*/ 67 h 77"/>
                    <a:gd name="T82" fmla="*/ 104 w 113"/>
                    <a:gd name="T83" fmla="*/ 73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13" h="77">
                      <a:moveTo>
                        <a:pt x="3" y="10"/>
                      </a:moveTo>
                      <a:lnTo>
                        <a:pt x="3" y="1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10"/>
                      </a:lnTo>
                      <a:lnTo>
                        <a:pt x="3" y="10"/>
                      </a:lnTo>
                      <a:close/>
                      <a:moveTo>
                        <a:pt x="10" y="23"/>
                      </a:moveTo>
                      <a:lnTo>
                        <a:pt x="10" y="23"/>
                      </a:lnTo>
                      <a:lnTo>
                        <a:pt x="7" y="19"/>
                      </a:lnTo>
                      <a:lnTo>
                        <a:pt x="4" y="15"/>
                      </a:lnTo>
                      <a:lnTo>
                        <a:pt x="3" y="16"/>
                      </a:lnTo>
                      <a:lnTo>
                        <a:pt x="3" y="16"/>
                      </a:lnTo>
                      <a:lnTo>
                        <a:pt x="6" y="20"/>
                      </a:lnTo>
                      <a:lnTo>
                        <a:pt x="9" y="25"/>
                      </a:lnTo>
                      <a:lnTo>
                        <a:pt x="10" y="23"/>
                      </a:lnTo>
                      <a:close/>
                      <a:moveTo>
                        <a:pt x="17" y="36"/>
                      </a:moveTo>
                      <a:lnTo>
                        <a:pt x="17" y="36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3" y="26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3" y="32"/>
                      </a:lnTo>
                      <a:lnTo>
                        <a:pt x="13" y="32"/>
                      </a:lnTo>
                      <a:lnTo>
                        <a:pt x="15" y="38"/>
                      </a:lnTo>
                      <a:lnTo>
                        <a:pt x="17" y="36"/>
                      </a:lnTo>
                      <a:close/>
                      <a:moveTo>
                        <a:pt x="20" y="51"/>
                      </a:moveTo>
                      <a:lnTo>
                        <a:pt x="20" y="51"/>
                      </a:lnTo>
                      <a:lnTo>
                        <a:pt x="19" y="47"/>
                      </a:lnTo>
                      <a:lnTo>
                        <a:pt x="17" y="42"/>
                      </a:lnTo>
                      <a:lnTo>
                        <a:pt x="15" y="42"/>
                      </a:lnTo>
                      <a:lnTo>
                        <a:pt x="15" y="42"/>
                      </a:lnTo>
                      <a:lnTo>
                        <a:pt x="16" y="48"/>
                      </a:lnTo>
                      <a:lnTo>
                        <a:pt x="17" y="52"/>
                      </a:lnTo>
                      <a:lnTo>
                        <a:pt x="20" y="51"/>
                      </a:lnTo>
                      <a:close/>
                      <a:moveTo>
                        <a:pt x="26" y="48"/>
                      </a:moveTo>
                      <a:lnTo>
                        <a:pt x="26" y="48"/>
                      </a:lnTo>
                      <a:lnTo>
                        <a:pt x="25" y="52"/>
                      </a:lnTo>
                      <a:lnTo>
                        <a:pt x="25" y="52"/>
                      </a:lnTo>
                      <a:lnTo>
                        <a:pt x="23" y="54"/>
                      </a:lnTo>
                      <a:lnTo>
                        <a:pt x="23" y="54"/>
                      </a:lnTo>
                      <a:lnTo>
                        <a:pt x="23" y="54"/>
                      </a:lnTo>
                      <a:lnTo>
                        <a:pt x="22" y="57"/>
                      </a:lnTo>
                      <a:lnTo>
                        <a:pt x="22" y="57"/>
                      </a:lnTo>
                      <a:lnTo>
                        <a:pt x="23" y="57"/>
                      </a:lnTo>
                      <a:lnTo>
                        <a:pt x="23" y="57"/>
                      </a:lnTo>
                      <a:lnTo>
                        <a:pt x="26" y="57"/>
                      </a:lnTo>
                      <a:lnTo>
                        <a:pt x="26" y="57"/>
                      </a:lnTo>
                      <a:lnTo>
                        <a:pt x="28" y="52"/>
                      </a:lnTo>
                      <a:lnTo>
                        <a:pt x="29" y="48"/>
                      </a:lnTo>
                      <a:lnTo>
                        <a:pt x="26" y="48"/>
                      </a:lnTo>
                      <a:lnTo>
                        <a:pt x="26" y="48"/>
                      </a:lnTo>
                      <a:close/>
                      <a:moveTo>
                        <a:pt x="38" y="45"/>
                      </a:moveTo>
                      <a:lnTo>
                        <a:pt x="38" y="45"/>
                      </a:lnTo>
                      <a:lnTo>
                        <a:pt x="35" y="42"/>
                      </a:lnTo>
                      <a:lnTo>
                        <a:pt x="35" y="42"/>
                      </a:lnTo>
                      <a:lnTo>
                        <a:pt x="31" y="41"/>
                      </a:lnTo>
                      <a:lnTo>
                        <a:pt x="31" y="41"/>
                      </a:lnTo>
                      <a:lnTo>
                        <a:pt x="29" y="41"/>
                      </a:lnTo>
                      <a:lnTo>
                        <a:pt x="29" y="41"/>
                      </a:lnTo>
                      <a:lnTo>
                        <a:pt x="28" y="42"/>
                      </a:lnTo>
                      <a:lnTo>
                        <a:pt x="31" y="44"/>
                      </a:lnTo>
                      <a:lnTo>
                        <a:pt x="31" y="44"/>
                      </a:lnTo>
                      <a:lnTo>
                        <a:pt x="31" y="44"/>
                      </a:lnTo>
                      <a:lnTo>
                        <a:pt x="31" y="44"/>
                      </a:lnTo>
                      <a:lnTo>
                        <a:pt x="31" y="44"/>
                      </a:lnTo>
                      <a:lnTo>
                        <a:pt x="33" y="44"/>
                      </a:lnTo>
                      <a:lnTo>
                        <a:pt x="33" y="44"/>
                      </a:lnTo>
                      <a:lnTo>
                        <a:pt x="36" y="47"/>
                      </a:lnTo>
                      <a:lnTo>
                        <a:pt x="38" y="45"/>
                      </a:lnTo>
                      <a:close/>
                      <a:moveTo>
                        <a:pt x="52" y="49"/>
                      </a:moveTo>
                      <a:lnTo>
                        <a:pt x="52" y="49"/>
                      </a:lnTo>
                      <a:lnTo>
                        <a:pt x="45" y="48"/>
                      </a:lnTo>
                      <a:lnTo>
                        <a:pt x="45" y="48"/>
                      </a:lnTo>
                      <a:lnTo>
                        <a:pt x="42" y="48"/>
                      </a:lnTo>
                      <a:lnTo>
                        <a:pt x="42" y="49"/>
                      </a:lnTo>
                      <a:lnTo>
                        <a:pt x="42" y="49"/>
                      </a:lnTo>
                      <a:lnTo>
                        <a:pt x="45" y="51"/>
                      </a:lnTo>
                      <a:lnTo>
                        <a:pt x="45" y="51"/>
                      </a:lnTo>
                      <a:lnTo>
                        <a:pt x="52" y="52"/>
                      </a:lnTo>
                      <a:lnTo>
                        <a:pt x="52" y="49"/>
                      </a:lnTo>
                      <a:close/>
                      <a:moveTo>
                        <a:pt x="67" y="49"/>
                      </a:moveTo>
                      <a:lnTo>
                        <a:pt x="67" y="49"/>
                      </a:lnTo>
                      <a:lnTo>
                        <a:pt x="61" y="49"/>
                      </a:lnTo>
                      <a:lnTo>
                        <a:pt x="61" y="49"/>
                      </a:lnTo>
                      <a:lnTo>
                        <a:pt x="57" y="49"/>
                      </a:lnTo>
                      <a:lnTo>
                        <a:pt x="57" y="52"/>
                      </a:lnTo>
                      <a:lnTo>
                        <a:pt x="57" y="52"/>
                      </a:lnTo>
                      <a:lnTo>
                        <a:pt x="61" y="52"/>
                      </a:lnTo>
                      <a:lnTo>
                        <a:pt x="61" y="52"/>
                      </a:lnTo>
                      <a:lnTo>
                        <a:pt x="67" y="52"/>
                      </a:lnTo>
                      <a:lnTo>
                        <a:pt x="67" y="49"/>
                      </a:lnTo>
                      <a:close/>
                      <a:moveTo>
                        <a:pt x="75" y="62"/>
                      </a:moveTo>
                      <a:lnTo>
                        <a:pt x="75" y="62"/>
                      </a:lnTo>
                      <a:lnTo>
                        <a:pt x="73" y="54"/>
                      </a:lnTo>
                      <a:lnTo>
                        <a:pt x="70" y="54"/>
                      </a:lnTo>
                      <a:lnTo>
                        <a:pt x="70" y="54"/>
                      </a:lnTo>
                      <a:lnTo>
                        <a:pt x="74" y="64"/>
                      </a:lnTo>
                      <a:lnTo>
                        <a:pt x="75" y="62"/>
                      </a:lnTo>
                      <a:close/>
                      <a:moveTo>
                        <a:pt x="86" y="73"/>
                      </a:moveTo>
                      <a:lnTo>
                        <a:pt x="86" y="73"/>
                      </a:lnTo>
                      <a:lnTo>
                        <a:pt x="81" y="70"/>
                      </a:lnTo>
                      <a:lnTo>
                        <a:pt x="78" y="67"/>
                      </a:lnTo>
                      <a:lnTo>
                        <a:pt x="75" y="68"/>
                      </a:lnTo>
                      <a:lnTo>
                        <a:pt x="75" y="68"/>
                      </a:lnTo>
                      <a:lnTo>
                        <a:pt x="80" y="73"/>
                      </a:lnTo>
                      <a:lnTo>
                        <a:pt x="84" y="76"/>
                      </a:lnTo>
                      <a:lnTo>
                        <a:pt x="86" y="73"/>
                      </a:lnTo>
                      <a:close/>
                      <a:moveTo>
                        <a:pt x="99" y="73"/>
                      </a:moveTo>
                      <a:lnTo>
                        <a:pt x="99" y="73"/>
                      </a:lnTo>
                      <a:lnTo>
                        <a:pt x="91" y="74"/>
                      </a:lnTo>
                      <a:lnTo>
                        <a:pt x="91" y="74"/>
                      </a:lnTo>
                      <a:lnTo>
                        <a:pt x="90" y="74"/>
                      </a:lnTo>
                      <a:lnTo>
                        <a:pt x="88" y="77"/>
                      </a:lnTo>
                      <a:lnTo>
                        <a:pt x="88" y="77"/>
                      </a:lnTo>
                      <a:lnTo>
                        <a:pt x="91" y="77"/>
                      </a:lnTo>
                      <a:lnTo>
                        <a:pt x="91" y="77"/>
                      </a:lnTo>
                      <a:lnTo>
                        <a:pt x="96" y="77"/>
                      </a:lnTo>
                      <a:lnTo>
                        <a:pt x="100" y="76"/>
                      </a:lnTo>
                      <a:lnTo>
                        <a:pt x="99" y="73"/>
                      </a:lnTo>
                      <a:close/>
                      <a:moveTo>
                        <a:pt x="112" y="67"/>
                      </a:moveTo>
                      <a:lnTo>
                        <a:pt x="112" y="67"/>
                      </a:lnTo>
                      <a:lnTo>
                        <a:pt x="103" y="71"/>
                      </a:lnTo>
                      <a:lnTo>
                        <a:pt x="104" y="73"/>
                      </a:lnTo>
                      <a:lnTo>
                        <a:pt x="104" y="73"/>
                      </a:lnTo>
                      <a:lnTo>
                        <a:pt x="113" y="68"/>
                      </a:lnTo>
                      <a:lnTo>
                        <a:pt x="112" y="6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2" name="Freeform 1620"/>
                <p:cNvSpPr>
                  <a:spLocks noEditPoints="1"/>
                </p:cNvSpPr>
                <p:nvPr/>
              </p:nvSpPr>
              <p:spPr bwMode="auto">
                <a:xfrm>
                  <a:off x="4149586" y="3128189"/>
                  <a:ext cx="83098" cy="8903"/>
                </a:xfrm>
                <a:custGeom>
                  <a:avLst/>
                  <a:gdLst>
                    <a:gd name="T0" fmla="*/ 8 w 84"/>
                    <a:gd name="T1" fmla="*/ 5 h 9"/>
                    <a:gd name="T2" fmla="*/ 8 w 84"/>
                    <a:gd name="T3" fmla="*/ 5 h 9"/>
                    <a:gd name="T4" fmla="*/ 0 w 84"/>
                    <a:gd name="T5" fmla="*/ 6 h 9"/>
                    <a:gd name="T6" fmla="*/ 0 w 84"/>
                    <a:gd name="T7" fmla="*/ 9 h 9"/>
                    <a:gd name="T8" fmla="*/ 0 w 84"/>
                    <a:gd name="T9" fmla="*/ 9 h 9"/>
                    <a:gd name="T10" fmla="*/ 8 w 84"/>
                    <a:gd name="T11" fmla="*/ 8 h 9"/>
                    <a:gd name="T12" fmla="*/ 8 w 84"/>
                    <a:gd name="T13" fmla="*/ 5 h 9"/>
                    <a:gd name="T14" fmla="*/ 24 w 84"/>
                    <a:gd name="T15" fmla="*/ 3 h 9"/>
                    <a:gd name="T16" fmla="*/ 24 w 84"/>
                    <a:gd name="T17" fmla="*/ 3 h 9"/>
                    <a:gd name="T18" fmla="*/ 14 w 84"/>
                    <a:gd name="T19" fmla="*/ 5 h 9"/>
                    <a:gd name="T20" fmla="*/ 14 w 84"/>
                    <a:gd name="T21" fmla="*/ 8 h 9"/>
                    <a:gd name="T22" fmla="*/ 14 w 84"/>
                    <a:gd name="T23" fmla="*/ 8 h 9"/>
                    <a:gd name="T24" fmla="*/ 24 w 84"/>
                    <a:gd name="T25" fmla="*/ 6 h 9"/>
                    <a:gd name="T26" fmla="*/ 24 w 84"/>
                    <a:gd name="T27" fmla="*/ 3 h 9"/>
                    <a:gd name="T28" fmla="*/ 38 w 84"/>
                    <a:gd name="T29" fmla="*/ 2 h 9"/>
                    <a:gd name="T30" fmla="*/ 38 w 84"/>
                    <a:gd name="T31" fmla="*/ 2 h 9"/>
                    <a:gd name="T32" fmla="*/ 28 w 84"/>
                    <a:gd name="T33" fmla="*/ 2 h 9"/>
                    <a:gd name="T34" fmla="*/ 28 w 84"/>
                    <a:gd name="T35" fmla="*/ 5 h 9"/>
                    <a:gd name="T36" fmla="*/ 28 w 84"/>
                    <a:gd name="T37" fmla="*/ 5 h 9"/>
                    <a:gd name="T38" fmla="*/ 38 w 84"/>
                    <a:gd name="T39" fmla="*/ 3 h 9"/>
                    <a:gd name="T40" fmla="*/ 38 w 84"/>
                    <a:gd name="T41" fmla="*/ 2 h 9"/>
                    <a:gd name="T42" fmla="*/ 54 w 84"/>
                    <a:gd name="T43" fmla="*/ 2 h 9"/>
                    <a:gd name="T44" fmla="*/ 54 w 84"/>
                    <a:gd name="T45" fmla="*/ 2 h 9"/>
                    <a:gd name="T46" fmla="*/ 44 w 84"/>
                    <a:gd name="T47" fmla="*/ 0 h 9"/>
                    <a:gd name="T48" fmla="*/ 44 w 84"/>
                    <a:gd name="T49" fmla="*/ 0 h 9"/>
                    <a:gd name="T50" fmla="*/ 44 w 84"/>
                    <a:gd name="T51" fmla="*/ 0 h 9"/>
                    <a:gd name="T52" fmla="*/ 44 w 84"/>
                    <a:gd name="T53" fmla="*/ 3 h 9"/>
                    <a:gd name="T54" fmla="*/ 44 w 84"/>
                    <a:gd name="T55" fmla="*/ 3 h 9"/>
                    <a:gd name="T56" fmla="*/ 44 w 84"/>
                    <a:gd name="T57" fmla="*/ 3 h 9"/>
                    <a:gd name="T58" fmla="*/ 44 w 84"/>
                    <a:gd name="T59" fmla="*/ 3 h 9"/>
                    <a:gd name="T60" fmla="*/ 54 w 84"/>
                    <a:gd name="T61" fmla="*/ 5 h 9"/>
                    <a:gd name="T62" fmla="*/ 54 w 84"/>
                    <a:gd name="T63" fmla="*/ 2 h 9"/>
                    <a:gd name="T64" fmla="*/ 69 w 84"/>
                    <a:gd name="T65" fmla="*/ 5 h 9"/>
                    <a:gd name="T66" fmla="*/ 69 w 84"/>
                    <a:gd name="T67" fmla="*/ 5 h 9"/>
                    <a:gd name="T68" fmla="*/ 58 w 84"/>
                    <a:gd name="T69" fmla="*/ 3 h 9"/>
                    <a:gd name="T70" fmla="*/ 58 w 84"/>
                    <a:gd name="T71" fmla="*/ 5 h 9"/>
                    <a:gd name="T72" fmla="*/ 58 w 84"/>
                    <a:gd name="T73" fmla="*/ 5 h 9"/>
                    <a:gd name="T74" fmla="*/ 69 w 84"/>
                    <a:gd name="T75" fmla="*/ 6 h 9"/>
                    <a:gd name="T76" fmla="*/ 69 w 84"/>
                    <a:gd name="T77" fmla="*/ 5 h 9"/>
                    <a:gd name="T78" fmla="*/ 83 w 84"/>
                    <a:gd name="T79" fmla="*/ 3 h 9"/>
                    <a:gd name="T80" fmla="*/ 83 w 84"/>
                    <a:gd name="T81" fmla="*/ 3 h 9"/>
                    <a:gd name="T82" fmla="*/ 80 w 84"/>
                    <a:gd name="T83" fmla="*/ 5 h 9"/>
                    <a:gd name="T84" fmla="*/ 76 w 84"/>
                    <a:gd name="T85" fmla="*/ 5 h 9"/>
                    <a:gd name="T86" fmla="*/ 76 w 84"/>
                    <a:gd name="T87" fmla="*/ 5 h 9"/>
                    <a:gd name="T88" fmla="*/ 76 w 84"/>
                    <a:gd name="T89" fmla="*/ 5 h 9"/>
                    <a:gd name="T90" fmla="*/ 74 w 84"/>
                    <a:gd name="T91" fmla="*/ 5 h 9"/>
                    <a:gd name="T92" fmla="*/ 73 w 84"/>
                    <a:gd name="T93" fmla="*/ 8 h 9"/>
                    <a:gd name="T94" fmla="*/ 73 w 84"/>
                    <a:gd name="T95" fmla="*/ 8 h 9"/>
                    <a:gd name="T96" fmla="*/ 74 w 84"/>
                    <a:gd name="T97" fmla="*/ 8 h 9"/>
                    <a:gd name="T98" fmla="*/ 74 w 84"/>
                    <a:gd name="T99" fmla="*/ 8 h 9"/>
                    <a:gd name="T100" fmla="*/ 76 w 84"/>
                    <a:gd name="T101" fmla="*/ 8 h 9"/>
                    <a:gd name="T102" fmla="*/ 76 w 84"/>
                    <a:gd name="T103" fmla="*/ 8 h 9"/>
                    <a:gd name="T104" fmla="*/ 80 w 84"/>
                    <a:gd name="T105" fmla="*/ 6 h 9"/>
                    <a:gd name="T106" fmla="*/ 84 w 84"/>
                    <a:gd name="T107" fmla="*/ 5 h 9"/>
                    <a:gd name="T108" fmla="*/ 83 w 84"/>
                    <a:gd name="T109" fmla="*/ 3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84" h="9">
                      <a:moveTo>
                        <a:pt x="8" y="5"/>
                      </a:moveTo>
                      <a:lnTo>
                        <a:pt x="8" y="5"/>
                      </a:lnTo>
                      <a:lnTo>
                        <a:pt x="0" y="6"/>
                      </a:lnTo>
                      <a:lnTo>
                        <a:pt x="0" y="9"/>
                      </a:lnTo>
                      <a:lnTo>
                        <a:pt x="0" y="9"/>
                      </a:lnTo>
                      <a:lnTo>
                        <a:pt x="8" y="8"/>
                      </a:lnTo>
                      <a:lnTo>
                        <a:pt x="8" y="5"/>
                      </a:lnTo>
                      <a:close/>
                      <a:moveTo>
                        <a:pt x="24" y="3"/>
                      </a:moveTo>
                      <a:lnTo>
                        <a:pt x="24" y="3"/>
                      </a:lnTo>
                      <a:lnTo>
                        <a:pt x="14" y="5"/>
                      </a:lnTo>
                      <a:lnTo>
                        <a:pt x="14" y="8"/>
                      </a:lnTo>
                      <a:lnTo>
                        <a:pt x="14" y="8"/>
                      </a:lnTo>
                      <a:lnTo>
                        <a:pt x="24" y="6"/>
                      </a:lnTo>
                      <a:lnTo>
                        <a:pt x="24" y="3"/>
                      </a:lnTo>
                      <a:close/>
                      <a:moveTo>
                        <a:pt x="38" y="2"/>
                      </a:moveTo>
                      <a:lnTo>
                        <a:pt x="38" y="2"/>
                      </a:lnTo>
                      <a:lnTo>
                        <a:pt x="28" y="2"/>
                      </a:lnTo>
                      <a:lnTo>
                        <a:pt x="28" y="5"/>
                      </a:lnTo>
                      <a:lnTo>
                        <a:pt x="28" y="5"/>
                      </a:lnTo>
                      <a:lnTo>
                        <a:pt x="38" y="3"/>
                      </a:lnTo>
                      <a:lnTo>
                        <a:pt x="38" y="2"/>
                      </a:lnTo>
                      <a:close/>
                      <a:moveTo>
                        <a:pt x="54" y="2"/>
                      </a:moveTo>
                      <a:lnTo>
                        <a:pt x="54" y="2"/>
                      </a:lnTo>
                      <a:lnTo>
                        <a:pt x="44" y="0"/>
                      </a:lnTo>
                      <a:lnTo>
                        <a:pt x="44" y="0"/>
                      </a:lnTo>
                      <a:lnTo>
                        <a:pt x="44" y="0"/>
                      </a:lnTo>
                      <a:lnTo>
                        <a:pt x="44" y="3"/>
                      </a:lnTo>
                      <a:lnTo>
                        <a:pt x="44" y="3"/>
                      </a:lnTo>
                      <a:lnTo>
                        <a:pt x="44" y="3"/>
                      </a:lnTo>
                      <a:lnTo>
                        <a:pt x="44" y="3"/>
                      </a:lnTo>
                      <a:lnTo>
                        <a:pt x="54" y="5"/>
                      </a:lnTo>
                      <a:lnTo>
                        <a:pt x="54" y="2"/>
                      </a:lnTo>
                      <a:close/>
                      <a:moveTo>
                        <a:pt x="69" y="5"/>
                      </a:moveTo>
                      <a:lnTo>
                        <a:pt x="69" y="5"/>
                      </a:lnTo>
                      <a:lnTo>
                        <a:pt x="58" y="3"/>
                      </a:lnTo>
                      <a:lnTo>
                        <a:pt x="58" y="5"/>
                      </a:lnTo>
                      <a:lnTo>
                        <a:pt x="58" y="5"/>
                      </a:lnTo>
                      <a:lnTo>
                        <a:pt x="69" y="6"/>
                      </a:lnTo>
                      <a:lnTo>
                        <a:pt x="69" y="5"/>
                      </a:lnTo>
                      <a:close/>
                      <a:moveTo>
                        <a:pt x="83" y="3"/>
                      </a:moveTo>
                      <a:lnTo>
                        <a:pt x="83" y="3"/>
                      </a:lnTo>
                      <a:lnTo>
                        <a:pt x="80" y="5"/>
                      </a:lnTo>
                      <a:lnTo>
                        <a:pt x="76" y="5"/>
                      </a:lnTo>
                      <a:lnTo>
                        <a:pt x="76" y="5"/>
                      </a:lnTo>
                      <a:lnTo>
                        <a:pt x="76" y="5"/>
                      </a:lnTo>
                      <a:lnTo>
                        <a:pt x="74" y="5"/>
                      </a:lnTo>
                      <a:lnTo>
                        <a:pt x="73" y="8"/>
                      </a:lnTo>
                      <a:lnTo>
                        <a:pt x="73" y="8"/>
                      </a:lnTo>
                      <a:lnTo>
                        <a:pt x="74" y="8"/>
                      </a:lnTo>
                      <a:lnTo>
                        <a:pt x="74" y="8"/>
                      </a:lnTo>
                      <a:lnTo>
                        <a:pt x="76" y="8"/>
                      </a:lnTo>
                      <a:lnTo>
                        <a:pt x="76" y="8"/>
                      </a:lnTo>
                      <a:lnTo>
                        <a:pt x="80" y="6"/>
                      </a:lnTo>
                      <a:lnTo>
                        <a:pt x="84" y="5"/>
                      </a:lnTo>
                      <a:lnTo>
                        <a:pt x="83" y="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3" name="Freeform 1621"/>
                <p:cNvSpPr>
                  <a:spLocks noEditPoints="1"/>
                </p:cNvSpPr>
                <p:nvPr/>
              </p:nvSpPr>
              <p:spPr bwMode="auto">
                <a:xfrm>
                  <a:off x="4148596" y="3105436"/>
                  <a:ext cx="42538" cy="17807"/>
                </a:xfrm>
                <a:custGeom>
                  <a:avLst/>
                  <a:gdLst>
                    <a:gd name="T0" fmla="*/ 1 w 43"/>
                    <a:gd name="T1" fmla="*/ 7 h 18"/>
                    <a:gd name="T2" fmla="*/ 0 w 43"/>
                    <a:gd name="T3" fmla="*/ 10 h 18"/>
                    <a:gd name="T4" fmla="*/ 1 w 43"/>
                    <a:gd name="T5" fmla="*/ 10 h 18"/>
                    <a:gd name="T6" fmla="*/ 16 w 43"/>
                    <a:gd name="T7" fmla="*/ 6 h 18"/>
                    <a:gd name="T8" fmla="*/ 7 w 43"/>
                    <a:gd name="T9" fmla="*/ 7 h 18"/>
                    <a:gd name="T10" fmla="*/ 7 w 43"/>
                    <a:gd name="T11" fmla="*/ 10 h 18"/>
                    <a:gd name="T12" fmla="*/ 16 w 43"/>
                    <a:gd name="T13" fmla="*/ 6 h 18"/>
                    <a:gd name="T14" fmla="*/ 30 w 43"/>
                    <a:gd name="T15" fmla="*/ 0 h 18"/>
                    <a:gd name="T16" fmla="*/ 28 w 43"/>
                    <a:gd name="T17" fmla="*/ 2 h 18"/>
                    <a:gd name="T18" fmla="*/ 22 w 43"/>
                    <a:gd name="T19" fmla="*/ 5 h 18"/>
                    <a:gd name="T20" fmla="*/ 22 w 43"/>
                    <a:gd name="T21" fmla="*/ 7 h 18"/>
                    <a:gd name="T22" fmla="*/ 29 w 43"/>
                    <a:gd name="T23" fmla="*/ 3 h 18"/>
                    <a:gd name="T24" fmla="*/ 30 w 43"/>
                    <a:gd name="T25" fmla="*/ 3 h 18"/>
                    <a:gd name="T26" fmla="*/ 43 w 43"/>
                    <a:gd name="T27" fmla="*/ 10 h 18"/>
                    <a:gd name="T28" fmla="*/ 41 w 43"/>
                    <a:gd name="T29" fmla="*/ 6 h 18"/>
                    <a:gd name="T30" fmla="*/ 35 w 43"/>
                    <a:gd name="T31" fmla="*/ 5 h 18"/>
                    <a:gd name="T32" fmla="*/ 39 w 43"/>
                    <a:gd name="T33" fmla="*/ 7 h 18"/>
                    <a:gd name="T34" fmla="*/ 43 w 43"/>
                    <a:gd name="T35" fmla="*/ 10 h 18"/>
                    <a:gd name="T36" fmla="*/ 32 w 43"/>
                    <a:gd name="T37" fmla="*/ 16 h 18"/>
                    <a:gd name="T38" fmla="*/ 36 w 43"/>
                    <a:gd name="T39" fmla="*/ 16 h 18"/>
                    <a:gd name="T40" fmla="*/ 41 w 43"/>
                    <a:gd name="T41" fmla="*/ 13 h 18"/>
                    <a:gd name="T42" fmla="*/ 36 w 43"/>
                    <a:gd name="T43" fmla="*/ 15 h 18"/>
                    <a:gd name="T44" fmla="*/ 32 w 43"/>
                    <a:gd name="T45" fmla="*/ 15 h 18"/>
                    <a:gd name="T46" fmla="*/ 16 w 43"/>
                    <a:gd name="T47" fmla="*/ 16 h 18"/>
                    <a:gd name="T48" fmla="*/ 22 w 43"/>
                    <a:gd name="T49" fmla="*/ 15 h 18"/>
                    <a:gd name="T50" fmla="*/ 26 w 43"/>
                    <a:gd name="T51" fmla="*/ 16 h 18"/>
                    <a:gd name="T52" fmla="*/ 26 w 43"/>
                    <a:gd name="T53" fmla="*/ 13 h 18"/>
                    <a:gd name="T54" fmla="*/ 22 w 43"/>
                    <a:gd name="T55" fmla="*/ 13 h 18"/>
                    <a:gd name="T56" fmla="*/ 16 w 43"/>
                    <a:gd name="T57" fmla="*/ 16 h 18"/>
                    <a:gd name="T58" fmla="*/ 1 w 43"/>
                    <a:gd name="T59" fmla="*/ 18 h 18"/>
                    <a:gd name="T60" fmla="*/ 12 w 43"/>
                    <a:gd name="T61" fmla="*/ 13 h 18"/>
                    <a:gd name="T62" fmla="*/ 1 w 43"/>
                    <a:gd name="T63" fmla="*/ 15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3" h="18">
                      <a:moveTo>
                        <a:pt x="1" y="7"/>
                      </a:moveTo>
                      <a:lnTo>
                        <a:pt x="1" y="7"/>
                      </a:lnTo>
                      <a:lnTo>
                        <a:pt x="0" y="7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1" y="10"/>
                      </a:lnTo>
                      <a:lnTo>
                        <a:pt x="1" y="7"/>
                      </a:lnTo>
                      <a:close/>
                      <a:moveTo>
                        <a:pt x="16" y="6"/>
                      </a:moveTo>
                      <a:lnTo>
                        <a:pt x="16" y="6"/>
                      </a:lnTo>
                      <a:lnTo>
                        <a:pt x="7" y="7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17" y="9"/>
                      </a:lnTo>
                      <a:lnTo>
                        <a:pt x="16" y="6"/>
                      </a:lnTo>
                      <a:close/>
                      <a:moveTo>
                        <a:pt x="30" y="0"/>
                      </a:move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28" y="2"/>
                      </a:lnTo>
                      <a:lnTo>
                        <a:pt x="28" y="2"/>
                      </a:lnTo>
                      <a:lnTo>
                        <a:pt x="22" y="5"/>
                      </a:lnTo>
                      <a:lnTo>
                        <a:pt x="22" y="7"/>
                      </a:lnTo>
                      <a:lnTo>
                        <a:pt x="22" y="7"/>
                      </a:lnTo>
                      <a:lnTo>
                        <a:pt x="29" y="3"/>
                      </a:lnTo>
                      <a:lnTo>
                        <a:pt x="29" y="3"/>
                      </a:lnTo>
                      <a:lnTo>
                        <a:pt x="30" y="3"/>
                      </a:lnTo>
                      <a:lnTo>
                        <a:pt x="30" y="3"/>
                      </a:lnTo>
                      <a:lnTo>
                        <a:pt x="30" y="0"/>
                      </a:lnTo>
                      <a:close/>
                      <a:moveTo>
                        <a:pt x="43" y="10"/>
                      </a:moveTo>
                      <a:lnTo>
                        <a:pt x="43" y="10"/>
                      </a:lnTo>
                      <a:lnTo>
                        <a:pt x="41" y="6"/>
                      </a:lnTo>
                      <a:lnTo>
                        <a:pt x="36" y="2"/>
                      </a:lnTo>
                      <a:lnTo>
                        <a:pt x="35" y="5"/>
                      </a:lnTo>
                      <a:lnTo>
                        <a:pt x="35" y="5"/>
                      </a:lnTo>
                      <a:lnTo>
                        <a:pt x="39" y="7"/>
                      </a:lnTo>
                      <a:lnTo>
                        <a:pt x="42" y="10"/>
                      </a:lnTo>
                      <a:lnTo>
                        <a:pt x="43" y="10"/>
                      </a:lnTo>
                      <a:close/>
                      <a:moveTo>
                        <a:pt x="32" y="16"/>
                      </a:moveTo>
                      <a:lnTo>
                        <a:pt x="32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42" y="16"/>
                      </a:lnTo>
                      <a:lnTo>
                        <a:pt x="41" y="13"/>
                      </a:lnTo>
                      <a:lnTo>
                        <a:pt x="41" y="13"/>
                      </a:lnTo>
                      <a:lnTo>
                        <a:pt x="36" y="15"/>
                      </a:lnTo>
                      <a:lnTo>
                        <a:pt x="36" y="15"/>
                      </a:lnTo>
                      <a:lnTo>
                        <a:pt x="32" y="15"/>
                      </a:lnTo>
                      <a:lnTo>
                        <a:pt x="32" y="16"/>
                      </a:lnTo>
                      <a:close/>
                      <a:moveTo>
                        <a:pt x="16" y="16"/>
                      </a:moveTo>
                      <a:lnTo>
                        <a:pt x="16" y="16"/>
                      </a:lnTo>
                      <a:lnTo>
                        <a:pt x="22" y="15"/>
                      </a:lnTo>
                      <a:lnTo>
                        <a:pt x="22" y="15"/>
                      </a:lnTo>
                      <a:lnTo>
                        <a:pt x="26" y="16"/>
                      </a:lnTo>
                      <a:lnTo>
                        <a:pt x="26" y="13"/>
                      </a:lnTo>
                      <a:lnTo>
                        <a:pt x="26" y="13"/>
                      </a:lnTo>
                      <a:lnTo>
                        <a:pt x="22" y="13"/>
                      </a:lnTo>
                      <a:lnTo>
                        <a:pt x="22" y="13"/>
                      </a:lnTo>
                      <a:lnTo>
                        <a:pt x="16" y="13"/>
                      </a:lnTo>
                      <a:lnTo>
                        <a:pt x="16" y="16"/>
                      </a:lnTo>
                      <a:close/>
                      <a:moveTo>
                        <a:pt x="1" y="18"/>
                      </a:moveTo>
                      <a:lnTo>
                        <a:pt x="1" y="18"/>
                      </a:lnTo>
                      <a:lnTo>
                        <a:pt x="12" y="16"/>
                      </a:lnTo>
                      <a:lnTo>
                        <a:pt x="12" y="13"/>
                      </a:lnTo>
                      <a:lnTo>
                        <a:pt x="12" y="13"/>
                      </a:lnTo>
                      <a:lnTo>
                        <a:pt x="1" y="15"/>
                      </a:lnTo>
                      <a:lnTo>
                        <a:pt x="1" y="1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4" name="Freeform 1622"/>
                <p:cNvSpPr>
                  <a:spLocks noEditPoints="1"/>
                </p:cNvSpPr>
                <p:nvPr/>
              </p:nvSpPr>
              <p:spPr bwMode="auto">
                <a:xfrm>
                  <a:off x="4171349" y="3131157"/>
                  <a:ext cx="28689" cy="27699"/>
                </a:xfrm>
                <a:custGeom>
                  <a:avLst/>
                  <a:gdLst>
                    <a:gd name="T0" fmla="*/ 28 w 29"/>
                    <a:gd name="T1" fmla="*/ 10 h 28"/>
                    <a:gd name="T2" fmla="*/ 28 w 29"/>
                    <a:gd name="T3" fmla="*/ 10 h 28"/>
                    <a:gd name="T4" fmla="*/ 29 w 29"/>
                    <a:gd name="T5" fmla="*/ 6 h 28"/>
                    <a:gd name="T6" fmla="*/ 29 w 29"/>
                    <a:gd name="T7" fmla="*/ 6 h 28"/>
                    <a:gd name="T8" fmla="*/ 28 w 29"/>
                    <a:gd name="T9" fmla="*/ 0 h 28"/>
                    <a:gd name="T10" fmla="*/ 26 w 29"/>
                    <a:gd name="T11" fmla="*/ 0 h 28"/>
                    <a:gd name="T12" fmla="*/ 26 w 29"/>
                    <a:gd name="T13" fmla="*/ 0 h 28"/>
                    <a:gd name="T14" fmla="*/ 26 w 29"/>
                    <a:gd name="T15" fmla="*/ 6 h 28"/>
                    <a:gd name="T16" fmla="*/ 26 w 29"/>
                    <a:gd name="T17" fmla="*/ 6 h 28"/>
                    <a:gd name="T18" fmla="*/ 26 w 29"/>
                    <a:gd name="T19" fmla="*/ 9 h 28"/>
                    <a:gd name="T20" fmla="*/ 28 w 29"/>
                    <a:gd name="T21" fmla="*/ 10 h 28"/>
                    <a:gd name="T22" fmla="*/ 15 w 29"/>
                    <a:gd name="T23" fmla="*/ 21 h 28"/>
                    <a:gd name="T24" fmla="*/ 15 w 29"/>
                    <a:gd name="T25" fmla="*/ 21 h 28"/>
                    <a:gd name="T26" fmla="*/ 23 w 29"/>
                    <a:gd name="T27" fmla="*/ 15 h 28"/>
                    <a:gd name="T28" fmla="*/ 22 w 29"/>
                    <a:gd name="T29" fmla="*/ 12 h 28"/>
                    <a:gd name="T30" fmla="*/ 22 w 29"/>
                    <a:gd name="T31" fmla="*/ 12 h 28"/>
                    <a:gd name="T32" fmla="*/ 13 w 29"/>
                    <a:gd name="T33" fmla="*/ 18 h 28"/>
                    <a:gd name="T34" fmla="*/ 15 w 29"/>
                    <a:gd name="T35" fmla="*/ 21 h 28"/>
                    <a:gd name="T36" fmla="*/ 2 w 29"/>
                    <a:gd name="T37" fmla="*/ 28 h 28"/>
                    <a:gd name="T38" fmla="*/ 2 w 29"/>
                    <a:gd name="T39" fmla="*/ 28 h 28"/>
                    <a:gd name="T40" fmla="*/ 10 w 29"/>
                    <a:gd name="T41" fmla="*/ 22 h 28"/>
                    <a:gd name="T42" fmla="*/ 9 w 29"/>
                    <a:gd name="T43" fmla="*/ 21 h 28"/>
                    <a:gd name="T44" fmla="*/ 9 w 29"/>
                    <a:gd name="T45" fmla="*/ 21 h 28"/>
                    <a:gd name="T46" fmla="*/ 0 w 29"/>
                    <a:gd name="T47" fmla="*/ 26 h 28"/>
                    <a:gd name="T48" fmla="*/ 2 w 29"/>
                    <a:gd name="T49" fmla="*/ 2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9" h="28">
                      <a:moveTo>
                        <a:pt x="28" y="10"/>
                      </a:moveTo>
                      <a:lnTo>
                        <a:pt x="28" y="10"/>
                      </a:lnTo>
                      <a:lnTo>
                        <a:pt x="29" y="6"/>
                      </a:lnTo>
                      <a:lnTo>
                        <a:pt x="29" y="6"/>
                      </a:lnTo>
                      <a:lnTo>
                        <a:pt x="28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6" y="9"/>
                      </a:lnTo>
                      <a:lnTo>
                        <a:pt x="28" y="10"/>
                      </a:lnTo>
                      <a:close/>
                      <a:moveTo>
                        <a:pt x="15" y="21"/>
                      </a:moveTo>
                      <a:lnTo>
                        <a:pt x="15" y="21"/>
                      </a:lnTo>
                      <a:lnTo>
                        <a:pt x="23" y="15"/>
                      </a:lnTo>
                      <a:lnTo>
                        <a:pt x="22" y="12"/>
                      </a:lnTo>
                      <a:lnTo>
                        <a:pt x="22" y="12"/>
                      </a:lnTo>
                      <a:lnTo>
                        <a:pt x="13" y="18"/>
                      </a:lnTo>
                      <a:lnTo>
                        <a:pt x="15" y="21"/>
                      </a:lnTo>
                      <a:close/>
                      <a:moveTo>
                        <a:pt x="2" y="28"/>
                      </a:moveTo>
                      <a:lnTo>
                        <a:pt x="2" y="28"/>
                      </a:lnTo>
                      <a:lnTo>
                        <a:pt x="10" y="22"/>
                      </a:lnTo>
                      <a:lnTo>
                        <a:pt x="9" y="21"/>
                      </a:lnTo>
                      <a:lnTo>
                        <a:pt x="9" y="21"/>
                      </a:lnTo>
                      <a:lnTo>
                        <a:pt x="0" y="26"/>
                      </a:lnTo>
                      <a:lnTo>
                        <a:pt x="2" y="2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5" name="Freeform 1623"/>
                <p:cNvSpPr>
                  <a:spLocks noEditPoints="1"/>
                </p:cNvSpPr>
                <p:nvPr/>
              </p:nvSpPr>
              <p:spPr bwMode="auto">
                <a:xfrm>
                  <a:off x="4203006" y="3171717"/>
                  <a:ext cx="82109" cy="39570"/>
                </a:xfrm>
                <a:custGeom>
                  <a:avLst/>
                  <a:gdLst>
                    <a:gd name="T0" fmla="*/ 4 w 83"/>
                    <a:gd name="T1" fmla="*/ 19 h 40"/>
                    <a:gd name="T2" fmla="*/ 3 w 83"/>
                    <a:gd name="T3" fmla="*/ 24 h 40"/>
                    <a:gd name="T4" fmla="*/ 6 w 83"/>
                    <a:gd name="T5" fmla="*/ 20 h 40"/>
                    <a:gd name="T6" fmla="*/ 15 w 83"/>
                    <a:gd name="T7" fmla="*/ 7 h 40"/>
                    <a:gd name="T8" fmla="*/ 9 w 83"/>
                    <a:gd name="T9" fmla="*/ 14 h 40"/>
                    <a:gd name="T10" fmla="*/ 10 w 83"/>
                    <a:gd name="T11" fmla="*/ 16 h 40"/>
                    <a:gd name="T12" fmla="*/ 15 w 83"/>
                    <a:gd name="T13" fmla="*/ 7 h 40"/>
                    <a:gd name="T14" fmla="*/ 29 w 83"/>
                    <a:gd name="T15" fmla="*/ 1 h 40"/>
                    <a:gd name="T16" fmla="*/ 26 w 83"/>
                    <a:gd name="T17" fmla="*/ 0 h 40"/>
                    <a:gd name="T18" fmla="*/ 19 w 83"/>
                    <a:gd name="T19" fmla="*/ 3 h 40"/>
                    <a:gd name="T20" fmla="*/ 20 w 83"/>
                    <a:gd name="T21" fmla="*/ 6 h 40"/>
                    <a:gd name="T22" fmla="*/ 26 w 83"/>
                    <a:gd name="T23" fmla="*/ 3 h 40"/>
                    <a:gd name="T24" fmla="*/ 29 w 83"/>
                    <a:gd name="T25" fmla="*/ 3 h 40"/>
                    <a:gd name="T26" fmla="*/ 39 w 83"/>
                    <a:gd name="T27" fmla="*/ 13 h 40"/>
                    <a:gd name="T28" fmla="*/ 38 w 83"/>
                    <a:gd name="T29" fmla="*/ 7 h 40"/>
                    <a:gd name="T30" fmla="*/ 32 w 83"/>
                    <a:gd name="T31" fmla="*/ 6 h 40"/>
                    <a:gd name="T32" fmla="*/ 35 w 83"/>
                    <a:gd name="T33" fmla="*/ 9 h 40"/>
                    <a:gd name="T34" fmla="*/ 39 w 83"/>
                    <a:gd name="T35" fmla="*/ 13 h 40"/>
                    <a:gd name="T36" fmla="*/ 48 w 83"/>
                    <a:gd name="T37" fmla="*/ 22 h 40"/>
                    <a:gd name="T38" fmla="*/ 44 w 83"/>
                    <a:gd name="T39" fmla="*/ 20 h 40"/>
                    <a:gd name="T40" fmla="*/ 41 w 83"/>
                    <a:gd name="T41" fmla="*/ 17 h 40"/>
                    <a:gd name="T42" fmla="*/ 39 w 83"/>
                    <a:gd name="T43" fmla="*/ 19 h 40"/>
                    <a:gd name="T44" fmla="*/ 41 w 83"/>
                    <a:gd name="T45" fmla="*/ 22 h 40"/>
                    <a:gd name="T46" fmla="*/ 42 w 83"/>
                    <a:gd name="T47" fmla="*/ 23 h 40"/>
                    <a:gd name="T48" fmla="*/ 48 w 83"/>
                    <a:gd name="T49" fmla="*/ 22 h 40"/>
                    <a:gd name="T50" fmla="*/ 64 w 83"/>
                    <a:gd name="T51" fmla="*/ 22 h 40"/>
                    <a:gd name="T52" fmla="*/ 61 w 83"/>
                    <a:gd name="T53" fmla="*/ 20 h 40"/>
                    <a:gd name="T54" fmla="*/ 54 w 83"/>
                    <a:gd name="T55" fmla="*/ 23 h 40"/>
                    <a:gd name="T56" fmla="*/ 61 w 83"/>
                    <a:gd name="T57" fmla="*/ 23 h 40"/>
                    <a:gd name="T58" fmla="*/ 62 w 83"/>
                    <a:gd name="T59" fmla="*/ 23 h 40"/>
                    <a:gd name="T60" fmla="*/ 70 w 83"/>
                    <a:gd name="T61" fmla="*/ 36 h 40"/>
                    <a:gd name="T62" fmla="*/ 67 w 83"/>
                    <a:gd name="T63" fmla="*/ 32 h 40"/>
                    <a:gd name="T64" fmla="*/ 64 w 83"/>
                    <a:gd name="T65" fmla="*/ 27 h 40"/>
                    <a:gd name="T66" fmla="*/ 65 w 83"/>
                    <a:gd name="T67" fmla="*/ 33 h 40"/>
                    <a:gd name="T68" fmla="*/ 70 w 83"/>
                    <a:gd name="T69" fmla="*/ 36 h 40"/>
                    <a:gd name="T70" fmla="*/ 83 w 83"/>
                    <a:gd name="T71" fmla="*/ 38 h 40"/>
                    <a:gd name="T72" fmla="*/ 78 w 83"/>
                    <a:gd name="T73" fmla="*/ 38 h 40"/>
                    <a:gd name="T74" fmla="*/ 72 w 83"/>
                    <a:gd name="T75" fmla="*/ 40 h 40"/>
                    <a:gd name="T76" fmla="*/ 78 w 83"/>
                    <a:gd name="T77" fmla="*/ 40 h 40"/>
                    <a:gd name="T78" fmla="*/ 83 w 83"/>
                    <a:gd name="T79" fmla="*/ 4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83" h="40">
                      <a:moveTo>
                        <a:pt x="4" y="19"/>
                      </a:moveTo>
                      <a:lnTo>
                        <a:pt x="4" y="19"/>
                      </a:lnTo>
                      <a:lnTo>
                        <a:pt x="0" y="22"/>
                      </a:lnTo>
                      <a:lnTo>
                        <a:pt x="3" y="24"/>
                      </a:lnTo>
                      <a:lnTo>
                        <a:pt x="3" y="24"/>
                      </a:lnTo>
                      <a:lnTo>
                        <a:pt x="6" y="20"/>
                      </a:lnTo>
                      <a:lnTo>
                        <a:pt x="4" y="19"/>
                      </a:lnTo>
                      <a:close/>
                      <a:moveTo>
                        <a:pt x="15" y="7"/>
                      </a:moveTo>
                      <a:lnTo>
                        <a:pt x="15" y="7"/>
                      </a:lnTo>
                      <a:lnTo>
                        <a:pt x="9" y="14"/>
                      </a:lnTo>
                      <a:lnTo>
                        <a:pt x="10" y="16"/>
                      </a:lnTo>
                      <a:lnTo>
                        <a:pt x="10" y="16"/>
                      </a:lnTo>
                      <a:lnTo>
                        <a:pt x="17" y="9"/>
                      </a:lnTo>
                      <a:lnTo>
                        <a:pt x="15" y="7"/>
                      </a:lnTo>
                      <a:close/>
                      <a:moveTo>
                        <a:pt x="29" y="1"/>
                      </a:moveTo>
                      <a:lnTo>
                        <a:pt x="29" y="1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2" y="1"/>
                      </a:lnTo>
                      <a:lnTo>
                        <a:pt x="19" y="3"/>
                      </a:lnTo>
                      <a:lnTo>
                        <a:pt x="20" y="6"/>
                      </a:lnTo>
                      <a:lnTo>
                        <a:pt x="20" y="6"/>
                      </a:lnTo>
                      <a:lnTo>
                        <a:pt x="23" y="4"/>
                      </a:lnTo>
                      <a:lnTo>
                        <a:pt x="26" y="3"/>
                      </a:lnTo>
                      <a:lnTo>
                        <a:pt x="26" y="3"/>
                      </a:lnTo>
                      <a:lnTo>
                        <a:pt x="29" y="3"/>
                      </a:lnTo>
                      <a:lnTo>
                        <a:pt x="29" y="1"/>
                      </a:lnTo>
                      <a:close/>
                      <a:moveTo>
                        <a:pt x="39" y="13"/>
                      </a:moveTo>
                      <a:lnTo>
                        <a:pt x="39" y="13"/>
                      </a:lnTo>
                      <a:lnTo>
                        <a:pt x="38" y="7"/>
                      </a:lnTo>
                      <a:lnTo>
                        <a:pt x="35" y="3"/>
                      </a:lnTo>
                      <a:lnTo>
                        <a:pt x="32" y="6"/>
                      </a:lnTo>
                      <a:lnTo>
                        <a:pt x="32" y="6"/>
                      </a:lnTo>
                      <a:lnTo>
                        <a:pt x="35" y="9"/>
                      </a:lnTo>
                      <a:lnTo>
                        <a:pt x="36" y="13"/>
                      </a:lnTo>
                      <a:lnTo>
                        <a:pt x="39" y="13"/>
                      </a:lnTo>
                      <a:close/>
                      <a:moveTo>
                        <a:pt x="48" y="22"/>
                      </a:moveTo>
                      <a:lnTo>
                        <a:pt x="48" y="22"/>
                      </a:lnTo>
                      <a:lnTo>
                        <a:pt x="44" y="20"/>
                      </a:lnTo>
                      <a:lnTo>
                        <a:pt x="44" y="20"/>
                      </a:lnTo>
                      <a:lnTo>
                        <a:pt x="41" y="17"/>
                      </a:lnTo>
                      <a:lnTo>
                        <a:pt x="41" y="17"/>
                      </a:lnTo>
                      <a:lnTo>
                        <a:pt x="38" y="19"/>
                      </a:lnTo>
                      <a:lnTo>
                        <a:pt x="39" y="19"/>
                      </a:lnTo>
                      <a:lnTo>
                        <a:pt x="39" y="19"/>
                      </a:lnTo>
                      <a:lnTo>
                        <a:pt x="41" y="22"/>
                      </a:lnTo>
                      <a:lnTo>
                        <a:pt x="42" y="23"/>
                      </a:lnTo>
                      <a:lnTo>
                        <a:pt x="42" y="23"/>
                      </a:lnTo>
                      <a:lnTo>
                        <a:pt x="48" y="23"/>
                      </a:lnTo>
                      <a:lnTo>
                        <a:pt x="48" y="22"/>
                      </a:lnTo>
                      <a:close/>
                      <a:moveTo>
                        <a:pt x="64" y="22"/>
                      </a:moveTo>
                      <a:lnTo>
                        <a:pt x="64" y="22"/>
                      </a:lnTo>
                      <a:lnTo>
                        <a:pt x="61" y="20"/>
                      </a:lnTo>
                      <a:lnTo>
                        <a:pt x="61" y="20"/>
                      </a:lnTo>
                      <a:lnTo>
                        <a:pt x="54" y="22"/>
                      </a:lnTo>
                      <a:lnTo>
                        <a:pt x="54" y="23"/>
                      </a:lnTo>
                      <a:lnTo>
                        <a:pt x="54" y="23"/>
                      </a:lnTo>
                      <a:lnTo>
                        <a:pt x="61" y="23"/>
                      </a:lnTo>
                      <a:lnTo>
                        <a:pt x="61" y="23"/>
                      </a:lnTo>
                      <a:lnTo>
                        <a:pt x="62" y="23"/>
                      </a:lnTo>
                      <a:lnTo>
                        <a:pt x="64" y="22"/>
                      </a:lnTo>
                      <a:close/>
                      <a:moveTo>
                        <a:pt x="70" y="36"/>
                      </a:moveTo>
                      <a:lnTo>
                        <a:pt x="70" y="36"/>
                      </a:lnTo>
                      <a:lnTo>
                        <a:pt x="67" y="32"/>
                      </a:lnTo>
                      <a:lnTo>
                        <a:pt x="67" y="27"/>
                      </a:lnTo>
                      <a:lnTo>
                        <a:pt x="64" y="27"/>
                      </a:lnTo>
                      <a:lnTo>
                        <a:pt x="64" y="27"/>
                      </a:lnTo>
                      <a:lnTo>
                        <a:pt x="65" y="33"/>
                      </a:lnTo>
                      <a:lnTo>
                        <a:pt x="67" y="38"/>
                      </a:lnTo>
                      <a:lnTo>
                        <a:pt x="70" y="36"/>
                      </a:lnTo>
                      <a:close/>
                      <a:moveTo>
                        <a:pt x="83" y="38"/>
                      </a:moveTo>
                      <a:lnTo>
                        <a:pt x="83" y="38"/>
                      </a:lnTo>
                      <a:lnTo>
                        <a:pt x="78" y="38"/>
                      </a:lnTo>
                      <a:lnTo>
                        <a:pt x="78" y="38"/>
                      </a:lnTo>
                      <a:lnTo>
                        <a:pt x="72" y="38"/>
                      </a:lnTo>
                      <a:lnTo>
                        <a:pt x="72" y="40"/>
                      </a:lnTo>
                      <a:lnTo>
                        <a:pt x="72" y="40"/>
                      </a:lnTo>
                      <a:lnTo>
                        <a:pt x="78" y="40"/>
                      </a:lnTo>
                      <a:lnTo>
                        <a:pt x="78" y="40"/>
                      </a:lnTo>
                      <a:lnTo>
                        <a:pt x="83" y="40"/>
                      </a:lnTo>
                      <a:lnTo>
                        <a:pt x="83" y="3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6" name="Freeform 1624"/>
                <p:cNvSpPr>
                  <a:spLocks noEditPoints="1"/>
                </p:cNvSpPr>
                <p:nvPr/>
              </p:nvSpPr>
              <p:spPr bwMode="auto">
                <a:xfrm>
                  <a:off x="4231694" y="3193480"/>
                  <a:ext cx="21764" cy="30667"/>
                </a:xfrm>
                <a:custGeom>
                  <a:avLst/>
                  <a:gdLst>
                    <a:gd name="T0" fmla="*/ 20 w 22"/>
                    <a:gd name="T1" fmla="*/ 8 h 31"/>
                    <a:gd name="T2" fmla="*/ 20 w 22"/>
                    <a:gd name="T3" fmla="*/ 8 h 31"/>
                    <a:gd name="T4" fmla="*/ 22 w 22"/>
                    <a:gd name="T5" fmla="*/ 1 h 31"/>
                    <a:gd name="T6" fmla="*/ 20 w 22"/>
                    <a:gd name="T7" fmla="*/ 0 h 31"/>
                    <a:gd name="T8" fmla="*/ 20 w 22"/>
                    <a:gd name="T9" fmla="*/ 0 h 31"/>
                    <a:gd name="T10" fmla="*/ 17 w 22"/>
                    <a:gd name="T11" fmla="*/ 7 h 31"/>
                    <a:gd name="T12" fmla="*/ 20 w 22"/>
                    <a:gd name="T13" fmla="*/ 8 h 31"/>
                    <a:gd name="T14" fmla="*/ 15 w 22"/>
                    <a:gd name="T15" fmla="*/ 23 h 31"/>
                    <a:gd name="T16" fmla="*/ 15 w 22"/>
                    <a:gd name="T17" fmla="*/ 23 h 31"/>
                    <a:gd name="T18" fmla="*/ 16 w 22"/>
                    <a:gd name="T19" fmla="*/ 20 h 31"/>
                    <a:gd name="T20" fmla="*/ 16 w 22"/>
                    <a:gd name="T21" fmla="*/ 20 h 31"/>
                    <a:gd name="T22" fmla="*/ 17 w 22"/>
                    <a:gd name="T23" fmla="*/ 13 h 31"/>
                    <a:gd name="T24" fmla="*/ 16 w 22"/>
                    <a:gd name="T25" fmla="*/ 13 h 31"/>
                    <a:gd name="T26" fmla="*/ 16 w 22"/>
                    <a:gd name="T27" fmla="*/ 13 h 31"/>
                    <a:gd name="T28" fmla="*/ 13 w 22"/>
                    <a:gd name="T29" fmla="*/ 18 h 31"/>
                    <a:gd name="T30" fmla="*/ 13 w 22"/>
                    <a:gd name="T31" fmla="*/ 18 h 31"/>
                    <a:gd name="T32" fmla="*/ 12 w 22"/>
                    <a:gd name="T33" fmla="*/ 21 h 31"/>
                    <a:gd name="T34" fmla="*/ 15 w 22"/>
                    <a:gd name="T35" fmla="*/ 23 h 31"/>
                    <a:gd name="T36" fmla="*/ 1 w 22"/>
                    <a:gd name="T37" fmla="*/ 31 h 31"/>
                    <a:gd name="T38" fmla="*/ 1 w 22"/>
                    <a:gd name="T39" fmla="*/ 31 h 31"/>
                    <a:gd name="T40" fmla="*/ 10 w 22"/>
                    <a:gd name="T41" fmla="*/ 26 h 31"/>
                    <a:gd name="T42" fmla="*/ 9 w 22"/>
                    <a:gd name="T43" fmla="*/ 24 h 31"/>
                    <a:gd name="T44" fmla="*/ 9 w 22"/>
                    <a:gd name="T45" fmla="*/ 24 h 31"/>
                    <a:gd name="T46" fmla="*/ 0 w 22"/>
                    <a:gd name="T47" fmla="*/ 30 h 31"/>
                    <a:gd name="T48" fmla="*/ 1 w 22"/>
                    <a:gd name="T49" fmla="*/ 3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2" h="31">
                      <a:moveTo>
                        <a:pt x="20" y="8"/>
                      </a:moveTo>
                      <a:lnTo>
                        <a:pt x="20" y="8"/>
                      </a:lnTo>
                      <a:lnTo>
                        <a:pt x="22" y="1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17" y="7"/>
                      </a:lnTo>
                      <a:lnTo>
                        <a:pt x="20" y="8"/>
                      </a:lnTo>
                      <a:close/>
                      <a:moveTo>
                        <a:pt x="15" y="23"/>
                      </a:moveTo>
                      <a:lnTo>
                        <a:pt x="15" y="23"/>
                      </a:lnTo>
                      <a:lnTo>
                        <a:pt x="16" y="20"/>
                      </a:lnTo>
                      <a:lnTo>
                        <a:pt x="16" y="20"/>
                      </a:lnTo>
                      <a:lnTo>
                        <a:pt x="17" y="13"/>
                      </a:lnTo>
                      <a:lnTo>
                        <a:pt x="16" y="13"/>
                      </a:lnTo>
                      <a:lnTo>
                        <a:pt x="16" y="13"/>
                      </a:lnTo>
                      <a:lnTo>
                        <a:pt x="13" y="18"/>
                      </a:lnTo>
                      <a:lnTo>
                        <a:pt x="13" y="18"/>
                      </a:lnTo>
                      <a:lnTo>
                        <a:pt x="12" y="21"/>
                      </a:lnTo>
                      <a:lnTo>
                        <a:pt x="15" y="23"/>
                      </a:lnTo>
                      <a:close/>
                      <a:moveTo>
                        <a:pt x="1" y="31"/>
                      </a:moveTo>
                      <a:lnTo>
                        <a:pt x="1" y="31"/>
                      </a:lnTo>
                      <a:lnTo>
                        <a:pt x="10" y="26"/>
                      </a:lnTo>
                      <a:lnTo>
                        <a:pt x="9" y="24"/>
                      </a:lnTo>
                      <a:lnTo>
                        <a:pt x="9" y="24"/>
                      </a:lnTo>
                      <a:lnTo>
                        <a:pt x="0" y="30"/>
                      </a:lnTo>
                      <a:lnTo>
                        <a:pt x="1" y="3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7" name="Freeform 1625"/>
                <p:cNvSpPr>
                  <a:spLocks noEditPoints="1"/>
                </p:cNvSpPr>
                <p:nvPr/>
              </p:nvSpPr>
              <p:spPr bwMode="auto">
                <a:xfrm>
                  <a:off x="4884606" y="3344837"/>
                  <a:ext cx="24731" cy="48474"/>
                </a:xfrm>
                <a:custGeom>
                  <a:avLst/>
                  <a:gdLst>
                    <a:gd name="T0" fmla="*/ 19 w 25"/>
                    <a:gd name="T1" fmla="*/ 2 h 49"/>
                    <a:gd name="T2" fmla="*/ 19 w 25"/>
                    <a:gd name="T3" fmla="*/ 0 h 49"/>
                    <a:gd name="T4" fmla="*/ 16 w 25"/>
                    <a:gd name="T5" fmla="*/ 2 h 49"/>
                    <a:gd name="T6" fmla="*/ 18 w 25"/>
                    <a:gd name="T7" fmla="*/ 3 h 49"/>
                    <a:gd name="T8" fmla="*/ 19 w 25"/>
                    <a:gd name="T9" fmla="*/ 2 h 49"/>
                    <a:gd name="T10" fmla="*/ 22 w 25"/>
                    <a:gd name="T11" fmla="*/ 17 h 49"/>
                    <a:gd name="T12" fmla="*/ 22 w 25"/>
                    <a:gd name="T13" fmla="*/ 17 h 49"/>
                    <a:gd name="T14" fmla="*/ 22 w 25"/>
                    <a:gd name="T15" fmla="*/ 15 h 49"/>
                    <a:gd name="T16" fmla="*/ 22 w 25"/>
                    <a:gd name="T17" fmla="*/ 15 h 49"/>
                    <a:gd name="T18" fmla="*/ 21 w 25"/>
                    <a:gd name="T19" fmla="*/ 7 h 49"/>
                    <a:gd name="T20" fmla="*/ 18 w 25"/>
                    <a:gd name="T21" fmla="*/ 7 h 49"/>
                    <a:gd name="T22" fmla="*/ 18 w 25"/>
                    <a:gd name="T23" fmla="*/ 7 h 49"/>
                    <a:gd name="T24" fmla="*/ 19 w 25"/>
                    <a:gd name="T25" fmla="*/ 15 h 49"/>
                    <a:gd name="T26" fmla="*/ 19 w 25"/>
                    <a:gd name="T27" fmla="*/ 15 h 49"/>
                    <a:gd name="T28" fmla="*/ 21 w 25"/>
                    <a:gd name="T29" fmla="*/ 17 h 49"/>
                    <a:gd name="T30" fmla="*/ 22 w 25"/>
                    <a:gd name="T31" fmla="*/ 17 h 49"/>
                    <a:gd name="T32" fmla="*/ 25 w 25"/>
                    <a:gd name="T33" fmla="*/ 32 h 49"/>
                    <a:gd name="T34" fmla="*/ 25 w 25"/>
                    <a:gd name="T35" fmla="*/ 32 h 49"/>
                    <a:gd name="T36" fmla="*/ 24 w 25"/>
                    <a:gd name="T37" fmla="*/ 22 h 49"/>
                    <a:gd name="T38" fmla="*/ 21 w 25"/>
                    <a:gd name="T39" fmla="*/ 22 h 49"/>
                    <a:gd name="T40" fmla="*/ 21 w 25"/>
                    <a:gd name="T41" fmla="*/ 22 h 49"/>
                    <a:gd name="T42" fmla="*/ 22 w 25"/>
                    <a:gd name="T43" fmla="*/ 32 h 49"/>
                    <a:gd name="T44" fmla="*/ 25 w 25"/>
                    <a:gd name="T45" fmla="*/ 32 h 49"/>
                    <a:gd name="T46" fmla="*/ 16 w 25"/>
                    <a:gd name="T47" fmla="*/ 45 h 49"/>
                    <a:gd name="T48" fmla="*/ 16 w 25"/>
                    <a:gd name="T49" fmla="*/ 45 h 49"/>
                    <a:gd name="T50" fmla="*/ 22 w 25"/>
                    <a:gd name="T51" fmla="*/ 42 h 49"/>
                    <a:gd name="T52" fmla="*/ 24 w 25"/>
                    <a:gd name="T53" fmla="*/ 41 h 49"/>
                    <a:gd name="T54" fmla="*/ 25 w 25"/>
                    <a:gd name="T55" fmla="*/ 38 h 49"/>
                    <a:gd name="T56" fmla="*/ 22 w 25"/>
                    <a:gd name="T57" fmla="*/ 36 h 49"/>
                    <a:gd name="T58" fmla="*/ 22 w 25"/>
                    <a:gd name="T59" fmla="*/ 36 h 49"/>
                    <a:gd name="T60" fmla="*/ 19 w 25"/>
                    <a:gd name="T61" fmla="*/ 41 h 49"/>
                    <a:gd name="T62" fmla="*/ 15 w 25"/>
                    <a:gd name="T63" fmla="*/ 42 h 49"/>
                    <a:gd name="T64" fmla="*/ 16 w 25"/>
                    <a:gd name="T65" fmla="*/ 45 h 49"/>
                    <a:gd name="T66" fmla="*/ 3 w 25"/>
                    <a:gd name="T67" fmla="*/ 49 h 49"/>
                    <a:gd name="T68" fmla="*/ 3 w 25"/>
                    <a:gd name="T69" fmla="*/ 49 h 49"/>
                    <a:gd name="T70" fmla="*/ 5 w 25"/>
                    <a:gd name="T71" fmla="*/ 48 h 49"/>
                    <a:gd name="T72" fmla="*/ 5 w 25"/>
                    <a:gd name="T73" fmla="*/ 48 h 49"/>
                    <a:gd name="T74" fmla="*/ 12 w 25"/>
                    <a:gd name="T75" fmla="*/ 46 h 49"/>
                    <a:gd name="T76" fmla="*/ 11 w 25"/>
                    <a:gd name="T77" fmla="*/ 44 h 49"/>
                    <a:gd name="T78" fmla="*/ 11 w 25"/>
                    <a:gd name="T79" fmla="*/ 44 h 49"/>
                    <a:gd name="T80" fmla="*/ 5 w 25"/>
                    <a:gd name="T81" fmla="*/ 45 h 49"/>
                    <a:gd name="T82" fmla="*/ 5 w 25"/>
                    <a:gd name="T83" fmla="*/ 45 h 49"/>
                    <a:gd name="T84" fmla="*/ 0 w 25"/>
                    <a:gd name="T85" fmla="*/ 48 h 49"/>
                    <a:gd name="T86" fmla="*/ 3 w 25"/>
                    <a:gd name="T87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5" h="49">
                      <a:moveTo>
                        <a:pt x="19" y="2"/>
                      </a:moveTo>
                      <a:lnTo>
                        <a:pt x="19" y="0"/>
                      </a:lnTo>
                      <a:lnTo>
                        <a:pt x="16" y="2"/>
                      </a:lnTo>
                      <a:lnTo>
                        <a:pt x="18" y="3"/>
                      </a:lnTo>
                      <a:lnTo>
                        <a:pt x="19" y="2"/>
                      </a:lnTo>
                      <a:close/>
                      <a:moveTo>
                        <a:pt x="22" y="17"/>
                      </a:moveTo>
                      <a:lnTo>
                        <a:pt x="22" y="17"/>
                      </a:lnTo>
                      <a:lnTo>
                        <a:pt x="22" y="15"/>
                      </a:lnTo>
                      <a:lnTo>
                        <a:pt x="22" y="15"/>
                      </a:lnTo>
                      <a:lnTo>
                        <a:pt x="21" y="7"/>
                      </a:lnTo>
                      <a:lnTo>
                        <a:pt x="18" y="7"/>
                      </a:lnTo>
                      <a:lnTo>
                        <a:pt x="18" y="7"/>
                      </a:lnTo>
                      <a:lnTo>
                        <a:pt x="19" y="15"/>
                      </a:lnTo>
                      <a:lnTo>
                        <a:pt x="19" y="15"/>
                      </a:lnTo>
                      <a:lnTo>
                        <a:pt x="21" y="17"/>
                      </a:lnTo>
                      <a:lnTo>
                        <a:pt x="22" y="17"/>
                      </a:lnTo>
                      <a:close/>
                      <a:moveTo>
                        <a:pt x="25" y="32"/>
                      </a:moveTo>
                      <a:lnTo>
                        <a:pt x="25" y="32"/>
                      </a:lnTo>
                      <a:lnTo>
                        <a:pt x="24" y="22"/>
                      </a:lnTo>
                      <a:lnTo>
                        <a:pt x="21" y="22"/>
                      </a:lnTo>
                      <a:lnTo>
                        <a:pt x="21" y="22"/>
                      </a:lnTo>
                      <a:lnTo>
                        <a:pt x="22" y="32"/>
                      </a:lnTo>
                      <a:lnTo>
                        <a:pt x="25" y="32"/>
                      </a:lnTo>
                      <a:close/>
                      <a:moveTo>
                        <a:pt x="16" y="45"/>
                      </a:moveTo>
                      <a:lnTo>
                        <a:pt x="16" y="45"/>
                      </a:lnTo>
                      <a:lnTo>
                        <a:pt x="22" y="42"/>
                      </a:lnTo>
                      <a:lnTo>
                        <a:pt x="24" y="41"/>
                      </a:lnTo>
                      <a:lnTo>
                        <a:pt x="25" y="38"/>
                      </a:lnTo>
                      <a:lnTo>
                        <a:pt x="22" y="36"/>
                      </a:lnTo>
                      <a:lnTo>
                        <a:pt x="22" y="36"/>
                      </a:lnTo>
                      <a:lnTo>
                        <a:pt x="19" y="41"/>
                      </a:lnTo>
                      <a:lnTo>
                        <a:pt x="15" y="42"/>
                      </a:lnTo>
                      <a:lnTo>
                        <a:pt x="16" y="45"/>
                      </a:lnTo>
                      <a:close/>
                      <a:moveTo>
                        <a:pt x="3" y="49"/>
                      </a:moveTo>
                      <a:lnTo>
                        <a:pt x="3" y="49"/>
                      </a:lnTo>
                      <a:lnTo>
                        <a:pt x="5" y="48"/>
                      </a:lnTo>
                      <a:lnTo>
                        <a:pt x="5" y="48"/>
                      </a:lnTo>
                      <a:lnTo>
                        <a:pt x="12" y="46"/>
                      </a:lnTo>
                      <a:lnTo>
                        <a:pt x="11" y="44"/>
                      </a:lnTo>
                      <a:lnTo>
                        <a:pt x="11" y="44"/>
                      </a:lnTo>
                      <a:lnTo>
                        <a:pt x="5" y="45"/>
                      </a:lnTo>
                      <a:lnTo>
                        <a:pt x="5" y="45"/>
                      </a:lnTo>
                      <a:lnTo>
                        <a:pt x="0" y="48"/>
                      </a:lnTo>
                      <a:lnTo>
                        <a:pt x="3" y="4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8" name="Freeform 1626"/>
                <p:cNvSpPr>
                  <a:spLocks noEditPoints="1"/>
                </p:cNvSpPr>
                <p:nvPr/>
              </p:nvSpPr>
              <p:spPr bwMode="auto">
                <a:xfrm>
                  <a:off x="4873724" y="3267675"/>
                  <a:ext cx="39570" cy="117722"/>
                </a:xfrm>
                <a:custGeom>
                  <a:avLst/>
                  <a:gdLst>
                    <a:gd name="T0" fmla="*/ 40 w 40"/>
                    <a:gd name="T1" fmla="*/ 10 h 119"/>
                    <a:gd name="T2" fmla="*/ 39 w 40"/>
                    <a:gd name="T3" fmla="*/ 0 h 119"/>
                    <a:gd name="T4" fmla="*/ 39 w 40"/>
                    <a:gd name="T5" fmla="*/ 10 h 119"/>
                    <a:gd name="T6" fmla="*/ 39 w 40"/>
                    <a:gd name="T7" fmla="*/ 25 h 119"/>
                    <a:gd name="T8" fmla="*/ 40 w 40"/>
                    <a:gd name="T9" fmla="*/ 19 h 119"/>
                    <a:gd name="T10" fmla="*/ 40 w 40"/>
                    <a:gd name="T11" fmla="*/ 14 h 119"/>
                    <a:gd name="T12" fmla="*/ 38 w 40"/>
                    <a:gd name="T13" fmla="*/ 14 h 119"/>
                    <a:gd name="T14" fmla="*/ 38 w 40"/>
                    <a:gd name="T15" fmla="*/ 19 h 119"/>
                    <a:gd name="T16" fmla="*/ 39 w 40"/>
                    <a:gd name="T17" fmla="*/ 25 h 119"/>
                    <a:gd name="T18" fmla="*/ 32 w 40"/>
                    <a:gd name="T19" fmla="*/ 39 h 119"/>
                    <a:gd name="T20" fmla="*/ 35 w 40"/>
                    <a:gd name="T21" fmla="*/ 29 h 119"/>
                    <a:gd name="T22" fmla="*/ 30 w 40"/>
                    <a:gd name="T23" fmla="*/ 38 h 119"/>
                    <a:gd name="T24" fmla="*/ 20 w 40"/>
                    <a:gd name="T25" fmla="*/ 49 h 119"/>
                    <a:gd name="T26" fmla="*/ 24 w 40"/>
                    <a:gd name="T27" fmla="*/ 46 h 119"/>
                    <a:gd name="T28" fmla="*/ 29 w 40"/>
                    <a:gd name="T29" fmla="*/ 43 h 119"/>
                    <a:gd name="T30" fmla="*/ 26 w 40"/>
                    <a:gd name="T31" fmla="*/ 40 h 119"/>
                    <a:gd name="T32" fmla="*/ 23 w 40"/>
                    <a:gd name="T33" fmla="*/ 43 h 119"/>
                    <a:gd name="T34" fmla="*/ 20 w 40"/>
                    <a:gd name="T35" fmla="*/ 49 h 119"/>
                    <a:gd name="T36" fmla="*/ 17 w 40"/>
                    <a:gd name="T37" fmla="*/ 62 h 119"/>
                    <a:gd name="T38" fmla="*/ 17 w 40"/>
                    <a:gd name="T39" fmla="*/ 61 h 119"/>
                    <a:gd name="T40" fmla="*/ 17 w 40"/>
                    <a:gd name="T41" fmla="*/ 56 h 119"/>
                    <a:gd name="T42" fmla="*/ 16 w 40"/>
                    <a:gd name="T43" fmla="*/ 52 h 119"/>
                    <a:gd name="T44" fmla="*/ 14 w 40"/>
                    <a:gd name="T45" fmla="*/ 56 h 119"/>
                    <a:gd name="T46" fmla="*/ 14 w 40"/>
                    <a:gd name="T47" fmla="*/ 61 h 119"/>
                    <a:gd name="T48" fmla="*/ 17 w 40"/>
                    <a:gd name="T49" fmla="*/ 62 h 119"/>
                    <a:gd name="T50" fmla="*/ 7 w 40"/>
                    <a:gd name="T51" fmla="*/ 74 h 119"/>
                    <a:gd name="T52" fmla="*/ 9 w 40"/>
                    <a:gd name="T53" fmla="*/ 72 h 119"/>
                    <a:gd name="T54" fmla="*/ 13 w 40"/>
                    <a:gd name="T55" fmla="*/ 67 h 119"/>
                    <a:gd name="T56" fmla="*/ 11 w 40"/>
                    <a:gd name="T57" fmla="*/ 65 h 119"/>
                    <a:gd name="T58" fmla="*/ 7 w 40"/>
                    <a:gd name="T59" fmla="*/ 71 h 119"/>
                    <a:gd name="T60" fmla="*/ 6 w 40"/>
                    <a:gd name="T61" fmla="*/ 74 h 119"/>
                    <a:gd name="T62" fmla="*/ 4 w 40"/>
                    <a:gd name="T63" fmla="*/ 88 h 119"/>
                    <a:gd name="T64" fmla="*/ 6 w 40"/>
                    <a:gd name="T65" fmla="*/ 78 h 119"/>
                    <a:gd name="T66" fmla="*/ 4 w 40"/>
                    <a:gd name="T67" fmla="*/ 78 h 119"/>
                    <a:gd name="T68" fmla="*/ 4 w 40"/>
                    <a:gd name="T69" fmla="*/ 88 h 119"/>
                    <a:gd name="T70" fmla="*/ 3 w 40"/>
                    <a:gd name="T71" fmla="*/ 103 h 119"/>
                    <a:gd name="T72" fmla="*/ 4 w 40"/>
                    <a:gd name="T73" fmla="*/ 94 h 119"/>
                    <a:gd name="T74" fmla="*/ 1 w 40"/>
                    <a:gd name="T75" fmla="*/ 94 h 119"/>
                    <a:gd name="T76" fmla="*/ 0 w 40"/>
                    <a:gd name="T77" fmla="*/ 104 h 119"/>
                    <a:gd name="T78" fmla="*/ 6 w 40"/>
                    <a:gd name="T79" fmla="*/ 119 h 119"/>
                    <a:gd name="T80" fmla="*/ 3 w 40"/>
                    <a:gd name="T81" fmla="*/ 109 h 119"/>
                    <a:gd name="T82" fmla="*/ 0 w 40"/>
                    <a:gd name="T83" fmla="*/ 109 h 119"/>
                    <a:gd name="T84" fmla="*/ 6 w 40"/>
                    <a:gd name="T85" fmla="*/ 119 h 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40" h="119">
                      <a:moveTo>
                        <a:pt x="40" y="10"/>
                      </a:moveTo>
                      <a:lnTo>
                        <a:pt x="40" y="10"/>
                      </a:lnTo>
                      <a:lnTo>
                        <a:pt x="40" y="0"/>
                      </a:lnTo>
                      <a:lnTo>
                        <a:pt x="39" y="0"/>
                      </a:lnTo>
                      <a:lnTo>
                        <a:pt x="39" y="0"/>
                      </a:lnTo>
                      <a:lnTo>
                        <a:pt x="39" y="10"/>
                      </a:lnTo>
                      <a:lnTo>
                        <a:pt x="40" y="10"/>
                      </a:lnTo>
                      <a:close/>
                      <a:moveTo>
                        <a:pt x="39" y="25"/>
                      </a:moveTo>
                      <a:lnTo>
                        <a:pt x="39" y="25"/>
                      </a:lnTo>
                      <a:lnTo>
                        <a:pt x="40" y="19"/>
                      </a:lnTo>
                      <a:lnTo>
                        <a:pt x="40" y="19"/>
                      </a:lnTo>
                      <a:lnTo>
                        <a:pt x="40" y="14"/>
                      </a:lnTo>
                      <a:lnTo>
                        <a:pt x="38" y="14"/>
                      </a:lnTo>
                      <a:lnTo>
                        <a:pt x="38" y="14"/>
                      </a:lnTo>
                      <a:lnTo>
                        <a:pt x="38" y="19"/>
                      </a:lnTo>
                      <a:lnTo>
                        <a:pt x="38" y="19"/>
                      </a:lnTo>
                      <a:lnTo>
                        <a:pt x="36" y="25"/>
                      </a:lnTo>
                      <a:lnTo>
                        <a:pt x="39" y="25"/>
                      </a:lnTo>
                      <a:close/>
                      <a:moveTo>
                        <a:pt x="32" y="39"/>
                      </a:moveTo>
                      <a:lnTo>
                        <a:pt x="32" y="39"/>
                      </a:lnTo>
                      <a:lnTo>
                        <a:pt x="38" y="30"/>
                      </a:lnTo>
                      <a:lnTo>
                        <a:pt x="35" y="29"/>
                      </a:lnTo>
                      <a:lnTo>
                        <a:pt x="35" y="29"/>
                      </a:lnTo>
                      <a:lnTo>
                        <a:pt x="30" y="38"/>
                      </a:lnTo>
                      <a:lnTo>
                        <a:pt x="32" y="39"/>
                      </a:lnTo>
                      <a:close/>
                      <a:moveTo>
                        <a:pt x="20" y="49"/>
                      </a:moveTo>
                      <a:lnTo>
                        <a:pt x="20" y="49"/>
                      </a:lnTo>
                      <a:lnTo>
                        <a:pt x="24" y="46"/>
                      </a:lnTo>
                      <a:lnTo>
                        <a:pt x="24" y="46"/>
                      </a:lnTo>
                      <a:lnTo>
                        <a:pt x="29" y="43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3" y="43"/>
                      </a:lnTo>
                      <a:lnTo>
                        <a:pt x="23" y="43"/>
                      </a:lnTo>
                      <a:lnTo>
                        <a:pt x="19" y="46"/>
                      </a:lnTo>
                      <a:lnTo>
                        <a:pt x="20" y="49"/>
                      </a:lnTo>
                      <a:close/>
                      <a:moveTo>
                        <a:pt x="17" y="62"/>
                      </a:moveTo>
                      <a:lnTo>
                        <a:pt x="17" y="62"/>
                      </a:lnTo>
                      <a:lnTo>
                        <a:pt x="17" y="61"/>
                      </a:lnTo>
                      <a:lnTo>
                        <a:pt x="17" y="61"/>
                      </a:lnTo>
                      <a:lnTo>
                        <a:pt x="17" y="56"/>
                      </a:lnTo>
                      <a:lnTo>
                        <a:pt x="17" y="56"/>
                      </a:lnTo>
                      <a:lnTo>
                        <a:pt x="17" y="52"/>
                      </a:lnTo>
                      <a:lnTo>
                        <a:pt x="16" y="52"/>
                      </a:lnTo>
                      <a:lnTo>
                        <a:pt x="16" y="52"/>
                      </a:lnTo>
                      <a:lnTo>
                        <a:pt x="14" y="56"/>
                      </a:lnTo>
                      <a:lnTo>
                        <a:pt x="14" y="56"/>
                      </a:lnTo>
                      <a:lnTo>
                        <a:pt x="14" y="61"/>
                      </a:lnTo>
                      <a:lnTo>
                        <a:pt x="14" y="62"/>
                      </a:lnTo>
                      <a:lnTo>
                        <a:pt x="17" y="62"/>
                      </a:lnTo>
                      <a:close/>
                      <a:moveTo>
                        <a:pt x="7" y="74"/>
                      </a:moveTo>
                      <a:lnTo>
                        <a:pt x="7" y="74"/>
                      </a:lnTo>
                      <a:lnTo>
                        <a:pt x="9" y="72"/>
                      </a:lnTo>
                      <a:lnTo>
                        <a:pt x="9" y="72"/>
                      </a:lnTo>
                      <a:lnTo>
                        <a:pt x="11" y="69"/>
                      </a:lnTo>
                      <a:lnTo>
                        <a:pt x="13" y="67"/>
                      </a:lnTo>
                      <a:lnTo>
                        <a:pt x="11" y="65"/>
                      </a:lnTo>
                      <a:lnTo>
                        <a:pt x="11" y="65"/>
                      </a:lnTo>
                      <a:lnTo>
                        <a:pt x="10" y="67"/>
                      </a:lnTo>
                      <a:lnTo>
                        <a:pt x="7" y="71"/>
                      </a:lnTo>
                      <a:lnTo>
                        <a:pt x="7" y="71"/>
                      </a:lnTo>
                      <a:lnTo>
                        <a:pt x="6" y="74"/>
                      </a:lnTo>
                      <a:lnTo>
                        <a:pt x="7" y="74"/>
                      </a:lnTo>
                      <a:close/>
                      <a:moveTo>
                        <a:pt x="4" y="88"/>
                      </a:moveTo>
                      <a:lnTo>
                        <a:pt x="4" y="88"/>
                      </a:lnTo>
                      <a:lnTo>
                        <a:pt x="6" y="78"/>
                      </a:lnTo>
                      <a:lnTo>
                        <a:pt x="4" y="78"/>
                      </a:lnTo>
                      <a:lnTo>
                        <a:pt x="4" y="78"/>
                      </a:lnTo>
                      <a:lnTo>
                        <a:pt x="3" y="88"/>
                      </a:lnTo>
                      <a:lnTo>
                        <a:pt x="4" y="88"/>
                      </a:lnTo>
                      <a:close/>
                      <a:moveTo>
                        <a:pt x="3" y="104"/>
                      </a:moveTo>
                      <a:lnTo>
                        <a:pt x="3" y="103"/>
                      </a:lnTo>
                      <a:lnTo>
                        <a:pt x="3" y="103"/>
                      </a:lnTo>
                      <a:lnTo>
                        <a:pt x="4" y="94"/>
                      </a:lnTo>
                      <a:lnTo>
                        <a:pt x="1" y="94"/>
                      </a:lnTo>
                      <a:lnTo>
                        <a:pt x="1" y="94"/>
                      </a:lnTo>
                      <a:lnTo>
                        <a:pt x="0" y="103"/>
                      </a:lnTo>
                      <a:lnTo>
                        <a:pt x="0" y="104"/>
                      </a:lnTo>
                      <a:lnTo>
                        <a:pt x="3" y="104"/>
                      </a:lnTo>
                      <a:close/>
                      <a:moveTo>
                        <a:pt x="6" y="119"/>
                      </a:moveTo>
                      <a:lnTo>
                        <a:pt x="6" y="119"/>
                      </a:lnTo>
                      <a:lnTo>
                        <a:pt x="3" y="109"/>
                      </a:lnTo>
                      <a:lnTo>
                        <a:pt x="0" y="109"/>
                      </a:lnTo>
                      <a:lnTo>
                        <a:pt x="0" y="109"/>
                      </a:lnTo>
                      <a:lnTo>
                        <a:pt x="3" y="119"/>
                      </a:lnTo>
                      <a:lnTo>
                        <a:pt x="6" y="11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79" name="Freeform 1627"/>
                <p:cNvSpPr>
                  <a:spLocks noEditPoints="1"/>
                </p:cNvSpPr>
                <p:nvPr/>
              </p:nvSpPr>
              <p:spPr bwMode="auto">
                <a:xfrm>
                  <a:off x="4877681" y="3335934"/>
                  <a:ext cx="47484" cy="14839"/>
                </a:xfrm>
                <a:custGeom>
                  <a:avLst/>
                  <a:gdLst>
                    <a:gd name="T0" fmla="*/ 6 w 48"/>
                    <a:gd name="T1" fmla="*/ 11 h 15"/>
                    <a:gd name="T2" fmla="*/ 6 w 48"/>
                    <a:gd name="T3" fmla="*/ 11 h 15"/>
                    <a:gd name="T4" fmla="*/ 2 w 48"/>
                    <a:gd name="T5" fmla="*/ 9 h 15"/>
                    <a:gd name="T6" fmla="*/ 0 w 48"/>
                    <a:gd name="T7" fmla="*/ 12 h 15"/>
                    <a:gd name="T8" fmla="*/ 0 w 48"/>
                    <a:gd name="T9" fmla="*/ 12 h 15"/>
                    <a:gd name="T10" fmla="*/ 5 w 48"/>
                    <a:gd name="T11" fmla="*/ 13 h 15"/>
                    <a:gd name="T12" fmla="*/ 6 w 48"/>
                    <a:gd name="T13" fmla="*/ 11 h 15"/>
                    <a:gd name="T14" fmla="*/ 19 w 48"/>
                    <a:gd name="T15" fmla="*/ 11 h 15"/>
                    <a:gd name="T16" fmla="*/ 19 w 48"/>
                    <a:gd name="T17" fmla="*/ 11 h 15"/>
                    <a:gd name="T18" fmla="*/ 12 w 48"/>
                    <a:gd name="T19" fmla="*/ 12 h 15"/>
                    <a:gd name="T20" fmla="*/ 10 w 48"/>
                    <a:gd name="T21" fmla="*/ 12 h 15"/>
                    <a:gd name="T22" fmla="*/ 10 w 48"/>
                    <a:gd name="T23" fmla="*/ 15 h 15"/>
                    <a:gd name="T24" fmla="*/ 12 w 48"/>
                    <a:gd name="T25" fmla="*/ 15 h 15"/>
                    <a:gd name="T26" fmla="*/ 12 w 48"/>
                    <a:gd name="T27" fmla="*/ 15 h 15"/>
                    <a:gd name="T28" fmla="*/ 20 w 48"/>
                    <a:gd name="T29" fmla="*/ 12 h 15"/>
                    <a:gd name="T30" fmla="*/ 19 w 48"/>
                    <a:gd name="T31" fmla="*/ 11 h 15"/>
                    <a:gd name="T32" fmla="*/ 34 w 48"/>
                    <a:gd name="T33" fmla="*/ 3 h 15"/>
                    <a:gd name="T34" fmla="*/ 34 w 48"/>
                    <a:gd name="T35" fmla="*/ 3 h 15"/>
                    <a:gd name="T36" fmla="*/ 25 w 48"/>
                    <a:gd name="T37" fmla="*/ 8 h 15"/>
                    <a:gd name="T38" fmla="*/ 25 w 48"/>
                    <a:gd name="T39" fmla="*/ 11 h 15"/>
                    <a:gd name="T40" fmla="*/ 25 w 48"/>
                    <a:gd name="T41" fmla="*/ 11 h 15"/>
                    <a:gd name="T42" fmla="*/ 35 w 48"/>
                    <a:gd name="T43" fmla="*/ 6 h 15"/>
                    <a:gd name="T44" fmla="*/ 34 w 48"/>
                    <a:gd name="T45" fmla="*/ 3 h 15"/>
                    <a:gd name="T46" fmla="*/ 48 w 48"/>
                    <a:gd name="T47" fmla="*/ 2 h 15"/>
                    <a:gd name="T48" fmla="*/ 48 w 48"/>
                    <a:gd name="T49" fmla="*/ 2 h 15"/>
                    <a:gd name="T50" fmla="*/ 42 w 48"/>
                    <a:gd name="T51" fmla="*/ 0 h 15"/>
                    <a:gd name="T52" fmla="*/ 42 w 48"/>
                    <a:gd name="T53" fmla="*/ 0 h 15"/>
                    <a:gd name="T54" fmla="*/ 38 w 48"/>
                    <a:gd name="T55" fmla="*/ 0 h 15"/>
                    <a:gd name="T56" fmla="*/ 38 w 48"/>
                    <a:gd name="T57" fmla="*/ 3 h 15"/>
                    <a:gd name="T58" fmla="*/ 38 w 48"/>
                    <a:gd name="T59" fmla="*/ 3 h 15"/>
                    <a:gd name="T60" fmla="*/ 42 w 48"/>
                    <a:gd name="T61" fmla="*/ 3 h 15"/>
                    <a:gd name="T62" fmla="*/ 42 w 48"/>
                    <a:gd name="T63" fmla="*/ 3 h 15"/>
                    <a:gd name="T64" fmla="*/ 48 w 48"/>
                    <a:gd name="T65" fmla="*/ 3 h 15"/>
                    <a:gd name="T66" fmla="*/ 48 w 48"/>
                    <a:gd name="T67" fmla="*/ 2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8" h="15">
                      <a:moveTo>
                        <a:pt x="6" y="11"/>
                      </a:moveTo>
                      <a:lnTo>
                        <a:pt x="6" y="11"/>
                      </a:lnTo>
                      <a:lnTo>
                        <a:pt x="2" y="9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5" y="13"/>
                      </a:lnTo>
                      <a:lnTo>
                        <a:pt x="6" y="11"/>
                      </a:lnTo>
                      <a:close/>
                      <a:moveTo>
                        <a:pt x="19" y="11"/>
                      </a:moveTo>
                      <a:lnTo>
                        <a:pt x="19" y="11"/>
                      </a:lnTo>
                      <a:lnTo>
                        <a:pt x="12" y="12"/>
                      </a:lnTo>
                      <a:lnTo>
                        <a:pt x="10" y="12"/>
                      </a:lnTo>
                      <a:lnTo>
                        <a:pt x="10" y="15"/>
                      </a:lnTo>
                      <a:lnTo>
                        <a:pt x="12" y="15"/>
                      </a:lnTo>
                      <a:lnTo>
                        <a:pt x="12" y="15"/>
                      </a:lnTo>
                      <a:lnTo>
                        <a:pt x="20" y="12"/>
                      </a:lnTo>
                      <a:lnTo>
                        <a:pt x="19" y="11"/>
                      </a:lnTo>
                      <a:close/>
                      <a:moveTo>
                        <a:pt x="34" y="3"/>
                      </a:moveTo>
                      <a:lnTo>
                        <a:pt x="34" y="3"/>
                      </a:lnTo>
                      <a:lnTo>
                        <a:pt x="25" y="8"/>
                      </a:lnTo>
                      <a:lnTo>
                        <a:pt x="25" y="11"/>
                      </a:lnTo>
                      <a:lnTo>
                        <a:pt x="25" y="11"/>
                      </a:lnTo>
                      <a:lnTo>
                        <a:pt x="35" y="6"/>
                      </a:lnTo>
                      <a:lnTo>
                        <a:pt x="34" y="3"/>
                      </a:lnTo>
                      <a:close/>
                      <a:moveTo>
                        <a:pt x="48" y="2"/>
                      </a:moveTo>
                      <a:lnTo>
                        <a:pt x="48" y="2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38" y="0"/>
                      </a:lnTo>
                      <a:lnTo>
                        <a:pt x="38" y="3"/>
                      </a:lnTo>
                      <a:lnTo>
                        <a:pt x="38" y="3"/>
                      </a:lnTo>
                      <a:lnTo>
                        <a:pt x="42" y="3"/>
                      </a:lnTo>
                      <a:lnTo>
                        <a:pt x="42" y="3"/>
                      </a:lnTo>
                      <a:lnTo>
                        <a:pt x="48" y="3"/>
                      </a:lnTo>
                      <a:lnTo>
                        <a:pt x="48" y="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80" name="Freeform 1628"/>
                <p:cNvSpPr>
                  <a:spLocks noEditPoints="1"/>
                </p:cNvSpPr>
                <p:nvPr/>
              </p:nvSpPr>
              <p:spPr bwMode="auto">
                <a:xfrm>
                  <a:off x="4874713" y="3357697"/>
                  <a:ext cx="30667" cy="14839"/>
                </a:xfrm>
                <a:custGeom>
                  <a:avLst/>
                  <a:gdLst>
                    <a:gd name="T0" fmla="*/ 10 w 31"/>
                    <a:gd name="T1" fmla="*/ 12 h 15"/>
                    <a:gd name="T2" fmla="*/ 10 w 31"/>
                    <a:gd name="T3" fmla="*/ 12 h 15"/>
                    <a:gd name="T4" fmla="*/ 2 w 31"/>
                    <a:gd name="T5" fmla="*/ 7 h 15"/>
                    <a:gd name="T6" fmla="*/ 0 w 31"/>
                    <a:gd name="T7" fmla="*/ 10 h 15"/>
                    <a:gd name="T8" fmla="*/ 0 w 31"/>
                    <a:gd name="T9" fmla="*/ 10 h 15"/>
                    <a:gd name="T10" fmla="*/ 9 w 31"/>
                    <a:gd name="T11" fmla="*/ 15 h 15"/>
                    <a:gd name="T12" fmla="*/ 10 w 31"/>
                    <a:gd name="T13" fmla="*/ 12 h 15"/>
                    <a:gd name="T14" fmla="*/ 16 w 31"/>
                    <a:gd name="T15" fmla="*/ 4 h 15"/>
                    <a:gd name="T16" fmla="*/ 15 w 31"/>
                    <a:gd name="T17" fmla="*/ 4 h 15"/>
                    <a:gd name="T18" fmla="*/ 15 w 31"/>
                    <a:gd name="T19" fmla="*/ 4 h 15"/>
                    <a:gd name="T20" fmla="*/ 15 w 31"/>
                    <a:gd name="T21" fmla="*/ 10 h 15"/>
                    <a:gd name="T22" fmla="*/ 15 w 31"/>
                    <a:gd name="T23" fmla="*/ 10 h 15"/>
                    <a:gd name="T24" fmla="*/ 13 w 31"/>
                    <a:gd name="T25" fmla="*/ 13 h 15"/>
                    <a:gd name="T26" fmla="*/ 16 w 31"/>
                    <a:gd name="T27" fmla="*/ 15 h 15"/>
                    <a:gd name="T28" fmla="*/ 16 w 31"/>
                    <a:gd name="T29" fmla="*/ 15 h 15"/>
                    <a:gd name="T30" fmla="*/ 16 w 31"/>
                    <a:gd name="T31" fmla="*/ 13 h 15"/>
                    <a:gd name="T32" fmla="*/ 18 w 31"/>
                    <a:gd name="T33" fmla="*/ 10 h 15"/>
                    <a:gd name="T34" fmla="*/ 18 w 31"/>
                    <a:gd name="T35" fmla="*/ 10 h 15"/>
                    <a:gd name="T36" fmla="*/ 18 w 31"/>
                    <a:gd name="T37" fmla="*/ 6 h 15"/>
                    <a:gd name="T38" fmla="*/ 18 w 31"/>
                    <a:gd name="T39" fmla="*/ 4 h 15"/>
                    <a:gd name="T40" fmla="*/ 16 w 31"/>
                    <a:gd name="T41" fmla="*/ 4 h 15"/>
                    <a:gd name="T42" fmla="*/ 31 w 31"/>
                    <a:gd name="T43" fmla="*/ 2 h 15"/>
                    <a:gd name="T44" fmla="*/ 31 w 31"/>
                    <a:gd name="T45" fmla="*/ 2 h 15"/>
                    <a:gd name="T46" fmla="*/ 23 w 31"/>
                    <a:gd name="T47" fmla="*/ 0 h 15"/>
                    <a:gd name="T48" fmla="*/ 23 w 31"/>
                    <a:gd name="T49" fmla="*/ 0 h 15"/>
                    <a:gd name="T50" fmla="*/ 21 w 31"/>
                    <a:gd name="T51" fmla="*/ 0 h 15"/>
                    <a:gd name="T52" fmla="*/ 22 w 31"/>
                    <a:gd name="T53" fmla="*/ 3 h 15"/>
                    <a:gd name="T54" fmla="*/ 22 w 31"/>
                    <a:gd name="T55" fmla="*/ 3 h 15"/>
                    <a:gd name="T56" fmla="*/ 23 w 31"/>
                    <a:gd name="T57" fmla="*/ 3 h 15"/>
                    <a:gd name="T58" fmla="*/ 23 w 31"/>
                    <a:gd name="T59" fmla="*/ 3 h 15"/>
                    <a:gd name="T60" fmla="*/ 31 w 31"/>
                    <a:gd name="T61" fmla="*/ 3 h 15"/>
                    <a:gd name="T62" fmla="*/ 31 w 31"/>
                    <a:gd name="T63" fmla="*/ 2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31" h="15">
                      <a:moveTo>
                        <a:pt x="10" y="12"/>
                      </a:moveTo>
                      <a:lnTo>
                        <a:pt x="10" y="12"/>
                      </a:lnTo>
                      <a:lnTo>
                        <a:pt x="2" y="7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9" y="15"/>
                      </a:lnTo>
                      <a:lnTo>
                        <a:pt x="10" y="12"/>
                      </a:lnTo>
                      <a:close/>
                      <a:moveTo>
                        <a:pt x="16" y="4"/>
                      </a:moveTo>
                      <a:lnTo>
                        <a:pt x="15" y="4"/>
                      </a:lnTo>
                      <a:lnTo>
                        <a:pt x="15" y="4"/>
                      </a:lnTo>
                      <a:lnTo>
                        <a:pt x="15" y="10"/>
                      </a:lnTo>
                      <a:lnTo>
                        <a:pt x="15" y="10"/>
                      </a:lnTo>
                      <a:lnTo>
                        <a:pt x="13" y="13"/>
                      </a:lnTo>
                      <a:lnTo>
                        <a:pt x="16" y="15"/>
                      </a:lnTo>
                      <a:lnTo>
                        <a:pt x="16" y="15"/>
                      </a:lnTo>
                      <a:lnTo>
                        <a:pt x="16" y="13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6"/>
                      </a:lnTo>
                      <a:lnTo>
                        <a:pt x="18" y="4"/>
                      </a:lnTo>
                      <a:lnTo>
                        <a:pt x="16" y="4"/>
                      </a:lnTo>
                      <a:close/>
                      <a:moveTo>
                        <a:pt x="31" y="2"/>
                      </a:moveTo>
                      <a:lnTo>
                        <a:pt x="31" y="2"/>
                      </a:lnTo>
                      <a:lnTo>
                        <a:pt x="23" y="0"/>
                      </a:lnTo>
                      <a:lnTo>
                        <a:pt x="23" y="0"/>
                      </a:lnTo>
                      <a:lnTo>
                        <a:pt x="21" y="0"/>
                      </a:lnTo>
                      <a:lnTo>
                        <a:pt x="22" y="3"/>
                      </a:lnTo>
                      <a:lnTo>
                        <a:pt x="22" y="3"/>
                      </a:lnTo>
                      <a:lnTo>
                        <a:pt x="23" y="3"/>
                      </a:lnTo>
                      <a:lnTo>
                        <a:pt x="23" y="3"/>
                      </a:lnTo>
                      <a:lnTo>
                        <a:pt x="31" y="3"/>
                      </a:lnTo>
                      <a:lnTo>
                        <a:pt x="31" y="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8" name="Freeform 1666"/>
                <p:cNvSpPr>
                  <a:spLocks noEditPoints="1"/>
                </p:cNvSpPr>
                <p:nvPr/>
              </p:nvSpPr>
              <p:spPr bwMode="auto">
                <a:xfrm>
                  <a:off x="4270275" y="2593989"/>
                  <a:ext cx="44517" cy="101894"/>
                </a:xfrm>
                <a:custGeom>
                  <a:avLst/>
                  <a:gdLst>
                    <a:gd name="T0" fmla="*/ 6 w 45"/>
                    <a:gd name="T1" fmla="*/ 0 h 103"/>
                    <a:gd name="T2" fmla="*/ 0 w 45"/>
                    <a:gd name="T3" fmla="*/ 4 h 103"/>
                    <a:gd name="T4" fmla="*/ 6 w 45"/>
                    <a:gd name="T5" fmla="*/ 3 h 103"/>
                    <a:gd name="T6" fmla="*/ 19 w 45"/>
                    <a:gd name="T7" fmla="*/ 6 h 103"/>
                    <a:gd name="T8" fmla="*/ 16 w 45"/>
                    <a:gd name="T9" fmla="*/ 4 h 103"/>
                    <a:gd name="T10" fmla="*/ 16 w 45"/>
                    <a:gd name="T11" fmla="*/ 4 h 103"/>
                    <a:gd name="T12" fmla="*/ 15 w 45"/>
                    <a:gd name="T13" fmla="*/ 4 h 103"/>
                    <a:gd name="T14" fmla="*/ 15 w 45"/>
                    <a:gd name="T15" fmla="*/ 3 h 103"/>
                    <a:gd name="T16" fmla="*/ 13 w 45"/>
                    <a:gd name="T17" fmla="*/ 2 h 103"/>
                    <a:gd name="T18" fmla="*/ 10 w 45"/>
                    <a:gd name="T19" fmla="*/ 3 h 103"/>
                    <a:gd name="T20" fmla="*/ 12 w 45"/>
                    <a:gd name="T21" fmla="*/ 3 h 103"/>
                    <a:gd name="T22" fmla="*/ 13 w 45"/>
                    <a:gd name="T23" fmla="*/ 4 h 103"/>
                    <a:gd name="T24" fmla="*/ 13 w 45"/>
                    <a:gd name="T25" fmla="*/ 6 h 103"/>
                    <a:gd name="T26" fmla="*/ 15 w 45"/>
                    <a:gd name="T27" fmla="*/ 7 h 103"/>
                    <a:gd name="T28" fmla="*/ 16 w 45"/>
                    <a:gd name="T29" fmla="*/ 7 h 103"/>
                    <a:gd name="T30" fmla="*/ 19 w 45"/>
                    <a:gd name="T31" fmla="*/ 7 h 103"/>
                    <a:gd name="T32" fmla="*/ 33 w 45"/>
                    <a:gd name="T33" fmla="*/ 6 h 103"/>
                    <a:gd name="T34" fmla="*/ 23 w 45"/>
                    <a:gd name="T35" fmla="*/ 6 h 103"/>
                    <a:gd name="T36" fmla="*/ 23 w 45"/>
                    <a:gd name="T37" fmla="*/ 7 h 103"/>
                    <a:gd name="T38" fmla="*/ 33 w 45"/>
                    <a:gd name="T39" fmla="*/ 6 h 103"/>
                    <a:gd name="T40" fmla="*/ 44 w 45"/>
                    <a:gd name="T41" fmla="*/ 17 h 103"/>
                    <a:gd name="T42" fmla="*/ 45 w 45"/>
                    <a:gd name="T43" fmla="*/ 13 h 103"/>
                    <a:gd name="T44" fmla="*/ 42 w 45"/>
                    <a:gd name="T45" fmla="*/ 9 h 103"/>
                    <a:gd name="T46" fmla="*/ 39 w 45"/>
                    <a:gd name="T47" fmla="*/ 7 h 103"/>
                    <a:gd name="T48" fmla="*/ 38 w 45"/>
                    <a:gd name="T49" fmla="*/ 10 h 103"/>
                    <a:gd name="T50" fmla="*/ 41 w 45"/>
                    <a:gd name="T51" fmla="*/ 12 h 103"/>
                    <a:gd name="T52" fmla="*/ 42 w 45"/>
                    <a:gd name="T53" fmla="*/ 13 h 103"/>
                    <a:gd name="T54" fmla="*/ 44 w 45"/>
                    <a:gd name="T55" fmla="*/ 17 h 103"/>
                    <a:gd name="T56" fmla="*/ 35 w 45"/>
                    <a:gd name="T57" fmla="*/ 29 h 103"/>
                    <a:gd name="T58" fmla="*/ 41 w 45"/>
                    <a:gd name="T59" fmla="*/ 22 h 103"/>
                    <a:gd name="T60" fmla="*/ 39 w 45"/>
                    <a:gd name="T61" fmla="*/ 20 h 103"/>
                    <a:gd name="T62" fmla="*/ 32 w 45"/>
                    <a:gd name="T63" fmla="*/ 28 h 103"/>
                    <a:gd name="T64" fmla="*/ 32 w 45"/>
                    <a:gd name="T65" fmla="*/ 44 h 103"/>
                    <a:gd name="T66" fmla="*/ 33 w 45"/>
                    <a:gd name="T67" fmla="*/ 33 h 103"/>
                    <a:gd name="T68" fmla="*/ 31 w 45"/>
                    <a:gd name="T69" fmla="*/ 33 h 103"/>
                    <a:gd name="T70" fmla="*/ 32 w 45"/>
                    <a:gd name="T71" fmla="*/ 44 h 103"/>
                    <a:gd name="T72" fmla="*/ 31 w 45"/>
                    <a:gd name="T73" fmla="*/ 60 h 103"/>
                    <a:gd name="T74" fmla="*/ 29 w 45"/>
                    <a:gd name="T75" fmla="*/ 48 h 103"/>
                    <a:gd name="T76" fmla="*/ 28 w 45"/>
                    <a:gd name="T77" fmla="*/ 58 h 103"/>
                    <a:gd name="T78" fmla="*/ 28 w 45"/>
                    <a:gd name="T79" fmla="*/ 74 h 103"/>
                    <a:gd name="T80" fmla="*/ 28 w 45"/>
                    <a:gd name="T81" fmla="*/ 74 h 103"/>
                    <a:gd name="T82" fmla="*/ 28 w 45"/>
                    <a:gd name="T83" fmla="*/ 64 h 103"/>
                    <a:gd name="T84" fmla="*/ 25 w 45"/>
                    <a:gd name="T85" fmla="*/ 73 h 103"/>
                    <a:gd name="T86" fmla="*/ 28 w 45"/>
                    <a:gd name="T87" fmla="*/ 74 h 103"/>
                    <a:gd name="T88" fmla="*/ 26 w 45"/>
                    <a:gd name="T89" fmla="*/ 90 h 103"/>
                    <a:gd name="T90" fmla="*/ 28 w 45"/>
                    <a:gd name="T91" fmla="*/ 86 h 103"/>
                    <a:gd name="T92" fmla="*/ 26 w 45"/>
                    <a:gd name="T93" fmla="*/ 78 h 103"/>
                    <a:gd name="T94" fmla="*/ 25 w 45"/>
                    <a:gd name="T95" fmla="*/ 78 h 103"/>
                    <a:gd name="T96" fmla="*/ 26 w 45"/>
                    <a:gd name="T97" fmla="*/ 86 h 103"/>
                    <a:gd name="T98" fmla="*/ 26 w 45"/>
                    <a:gd name="T99" fmla="*/ 90 h 103"/>
                    <a:gd name="T100" fmla="*/ 22 w 45"/>
                    <a:gd name="T101" fmla="*/ 103 h 103"/>
                    <a:gd name="T102" fmla="*/ 22 w 45"/>
                    <a:gd name="T103" fmla="*/ 93 h 103"/>
                    <a:gd name="T104" fmla="*/ 20 w 45"/>
                    <a:gd name="T105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45" h="103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6" y="3"/>
                      </a:lnTo>
                      <a:lnTo>
                        <a:pt x="6" y="0"/>
                      </a:lnTo>
                      <a:close/>
                      <a:moveTo>
                        <a:pt x="19" y="6"/>
                      </a:moveTo>
                      <a:lnTo>
                        <a:pt x="19" y="6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5" y="4"/>
                      </a:lnTo>
                      <a:lnTo>
                        <a:pt x="15" y="4"/>
                      </a:lnTo>
                      <a:lnTo>
                        <a:pt x="15" y="3"/>
                      </a:lnTo>
                      <a:lnTo>
                        <a:pt x="15" y="3"/>
                      </a:lnTo>
                      <a:lnTo>
                        <a:pt x="13" y="2"/>
                      </a:lnTo>
                      <a:lnTo>
                        <a:pt x="13" y="2"/>
                      </a:lnTo>
                      <a:lnTo>
                        <a:pt x="12" y="0"/>
                      </a:lnTo>
                      <a:lnTo>
                        <a:pt x="10" y="3"/>
                      </a:lnTo>
                      <a:lnTo>
                        <a:pt x="10" y="3"/>
                      </a:lnTo>
                      <a:lnTo>
                        <a:pt x="12" y="3"/>
                      </a:lnTo>
                      <a:lnTo>
                        <a:pt x="12" y="3"/>
                      </a:lnTo>
                      <a:lnTo>
                        <a:pt x="13" y="4"/>
                      </a:lnTo>
                      <a:lnTo>
                        <a:pt x="13" y="4"/>
                      </a:lnTo>
                      <a:lnTo>
                        <a:pt x="13" y="6"/>
                      </a:lnTo>
                      <a:lnTo>
                        <a:pt x="13" y="6"/>
                      </a:lnTo>
                      <a:lnTo>
                        <a:pt x="15" y="7"/>
                      </a:lnTo>
                      <a:lnTo>
                        <a:pt x="15" y="7"/>
                      </a:lnTo>
                      <a:lnTo>
                        <a:pt x="16" y="7"/>
                      </a:lnTo>
                      <a:lnTo>
                        <a:pt x="16" y="7"/>
                      </a:lnTo>
                      <a:lnTo>
                        <a:pt x="19" y="7"/>
                      </a:lnTo>
                      <a:lnTo>
                        <a:pt x="19" y="6"/>
                      </a:lnTo>
                      <a:close/>
                      <a:moveTo>
                        <a:pt x="33" y="6"/>
                      </a:moveTo>
                      <a:lnTo>
                        <a:pt x="33" y="6"/>
                      </a:lnTo>
                      <a:lnTo>
                        <a:pt x="23" y="6"/>
                      </a:lnTo>
                      <a:lnTo>
                        <a:pt x="23" y="7"/>
                      </a:lnTo>
                      <a:lnTo>
                        <a:pt x="23" y="7"/>
                      </a:lnTo>
                      <a:lnTo>
                        <a:pt x="33" y="9"/>
                      </a:lnTo>
                      <a:lnTo>
                        <a:pt x="33" y="6"/>
                      </a:lnTo>
                      <a:close/>
                      <a:moveTo>
                        <a:pt x="44" y="17"/>
                      </a:moveTo>
                      <a:lnTo>
                        <a:pt x="44" y="17"/>
                      </a:lnTo>
                      <a:lnTo>
                        <a:pt x="45" y="13"/>
                      </a:lnTo>
                      <a:lnTo>
                        <a:pt x="45" y="13"/>
                      </a:lnTo>
                      <a:lnTo>
                        <a:pt x="44" y="12"/>
                      </a:lnTo>
                      <a:lnTo>
                        <a:pt x="42" y="9"/>
                      </a:lnTo>
                      <a:lnTo>
                        <a:pt x="42" y="9"/>
                      </a:lnTo>
                      <a:lnTo>
                        <a:pt x="39" y="7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41" y="12"/>
                      </a:lnTo>
                      <a:lnTo>
                        <a:pt x="41" y="12"/>
                      </a:lnTo>
                      <a:lnTo>
                        <a:pt x="42" y="13"/>
                      </a:lnTo>
                      <a:lnTo>
                        <a:pt x="42" y="13"/>
                      </a:lnTo>
                      <a:lnTo>
                        <a:pt x="41" y="16"/>
                      </a:lnTo>
                      <a:lnTo>
                        <a:pt x="44" y="17"/>
                      </a:lnTo>
                      <a:close/>
                      <a:moveTo>
                        <a:pt x="35" y="29"/>
                      </a:moveTo>
                      <a:lnTo>
                        <a:pt x="35" y="29"/>
                      </a:lnTo>
                      <a:lnTo>
                        <a:pt x="38" y="25"/>
                      </a:lnTo>
                      <a:lnTo>
                        <a:pt x="41" y="22"/>
                      </a:lnTo>
                      <a:lnTo>
                        <a:pt x="39" y="20"/>
                      </a:lnTo>
                      <a:lnTo>
                        <a:pt x="39" y="20"/>
                      </a:lnTo>
                      <a:lnTo>
                        <a:pt x="35" y="23"/>
                      </a:lnTo>
                      <a:lnTo>
                        <a:pt x="32" y="28"/>
                      </a:lnTo>
                      <a:lnTo>
                        <a:pt x="35" y="29"/>
                      </a:lnTo>
                      <a:close/>
                      <a:moveTo>
                        <a:pt x="32" y="44"/>
                      </a:moveTo>
                      <a:lnTo>
                        <a:pt x="32" y="44"/>
                      </a:lnTo>
                      <a:lnTo>
                        <a:pt x="33" y="33"/>
                      </a:lnTo>
                      <a:lnTo>
                        <a:pt x="31" y="33"/>
                      </a:lnTo>
                      <a:lnTo>
                        <a:pt x="31" y="33"/>
                      </a:lnTo>
                      <a:lnTo>
                        <a:pt x="29" y="44"/>
                      </a:lnTo>
                      <a:lnTo>
                        <a:pt x="32" y="44"/>
                      </a:lnTo>
                      <a:close/>
                      <a:moveTo>
                        <a:pt x="31" y="60"/>
                      </a:moveTo>
                      <a:lnTo>
                        <a:pt x="31" y="60"/>
                      </a:lnTo>
                      <a:lnTo>
                        <a:pt x="32" y="49"/>
                      </a:lnTo>
                      <a:lnTo>
                        <a:pt x="29" y="48"/>
                      </a:lnTo>
                      <a:lnTo>
                        <a:pt x="29" y="48"/>
                      </a:lnTo>
                      <a:lnTo>
                        <a:pt x="28" y="58"/>
                      </a:lnTo>
                      <a:lnTo>
                        <a:pt x="31" y="60"/>
                      </a:lnTo>
                      <a:close/>
                      <a:moveTo>
                        <a:pt x="28" y="74"/>
                      </a:moveTo>
                      <a:lnTo>
                        <a:pt x="28" y="74"/>
                      </a:lnTo>
                      <a:lnTo>
                        <a:pt x="28" y="74"/>
                      </a:lnTo>
                      <a:lnTo>
                        <a:pt x="29" y="64"/>
                      </a:lnTo>
                      <a:lnTo>
                        <a:pt x="28" y="64"/>
                      </a:lnTo>
                      <a:lnTo>
                        <a:pt x="28" y="64"/>
                      </a:lnTo>
                      <a:lnTo>
                        <a:pt x="25" y="73"/>
                      </a:lnTo>
                      <a:lnTo>
                        <a:pt x="25" y="74"/>
                      </a:lnTo>
                      <a:lnTo>
                        <a:pt x="28" y="74"/>
                      </a:lnTo>
                      <a:close/>
                      <a:moveTo>
                        <a:pt x="26" y="90"/>
                      </a:moveTo>
                      <a:lnTo>
                        <a:pt x="26" y="90"/>
                      </a:lnTo>
                      <a:lnTo>
                        <a:pt x="28" y="87"/>
                      </a:lnTo>
                      <a:lnTo>
                        <a:pt x="28" y="86"/>
                      </a:lnTo>
                      <a:lnTo>
                        <a:pt x="28" y="86"/>
                      </a:lnTo>
                      <a:lnTo>
                        <a:pt x="26" y="78"/>
                      </a:lnTo>
                      <a:lnTo>
                        <a:pt x="25" y="78"/>
                      </a:lnTo>
                      <a:lnTo>
                        <a:pt x="25" y="78"/>
                      </a:lnTo>
                      <a:lnTo>
                        <a:pt x="26" y="86"/>
                      </a:lnTo>
                      <a:lnTo>
                        <a:pt x="26" y="86"/>
                      </a:lnTo>
                      <a:lnTo>
                        <a:pt x="25" y="87"/>
                      </a:lnTo>
                      <a:lnTo>
                        <a:pt x="26" y="90"/>
                      </a:lnTo>
                      <a:close/>
                      <a:moveTo>
                        <a:pt x="22" y="103"/>
                      </a:moveTo>
                      <a:lnTo>
                        <a:pt x="22" y="103"/>
                      </a:lnTo>
                      <a:lnTo>
                        <a:pt x="23" y="93"/>
                      </a:lnTo>
                      <a:lnTo>
                        <a:pt x="22" y="93"/>
                      </a:lnTo>
                      <a:lnTo>
                        <a:pt x="22" y="93"/>
                      </a:lnTo>
                      <a:lnTo>
                        <a:pt x="20" y="103"/>
                      </a:lnTo>
                      <a:lnTo>
                        <a:pt x="22" y="10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19" name="Freeform 1667"/>
                <p:cNvSpPr>
                  <a:spLocks noEditPoints="1"/>
                </p:cNvSpPr>
                <p:nvPr/>
              </p:nvSpPr>
              <p:spPr bwMode="auto">
                <a:xfrm>
                  <a:off x="4384040" y="2565301"/>
                  <a:ext cx="77162" cy="25721"/>
                </a:xfrm>
                <a:custGeom>
                  <a:avLst/>
                  <a:gdLst>
                    <a:gd name="T0" fmla="*/ 7 w 78"/>
                    <a:gd name="T1" fmla="*/ 4 h 26"/>
                    <a:gd name="T2" fmla="*/ 7 w 78"/>
                    <a:gd name="T3" fmla="*/ 4 h 26"/>
                    <a:gd name="T4" fmla="*/ 1 w 78"/>
                    <a:gd name="T5" fmla="*/ 0 h 26"/>
                    <a:gd name="T6" fmla="*/ 0 w 78"/>
                    <a:gd name="T7" fmla="*/ 2 h 26"/>
                    <a:gd name="T8" fmla="*/ 0 w 78"/>
                    <a:gd name="T9" fmla="*/ 2 h 26"/>
                    <a:gd name="T10" fmla="*/ 5 w 78"/>
                    <a:gd name="T11" fmla="*/ 6 h 26"/>
                    <a:gd name="T12" fmla="*/ 7 w 78"/>
                    <a:gd name="T13" fmla="*/ 4 h 26"/>
                    <a:gd name="T14" fmla="*/ 20 w 78"/>
                    <a:gd name="T15" fmla="*/ 12 h 26"/>
                    <a:gd name="T16" fmla="*/ 20 w 78"/>
                    <a:gd name="T17" fmla="*/ 12 h 26"/>
                    <a:gd name="T18" fmla="*/ 11 w 78"/>
                    <a:gd name="T19" fmla="*/ 7 h 26"/>
                    <a:gd name="T20" fmla="*/ 10 w 78"/>
                    <a:gd name="T21" fmla="*/ 9 h 26"/>
                    <a:gd name="T22" fmla="*/ 10 w 78"/>
                    <a:gd name="T23" fmla="*/ 9 h 26"/>
                    <a:gd name="T24" fmla="*/ 20 w 78"/>
                    <a:gd name="T25" fmla="*/ 13 h 26"/>
                    <a:gd name="T26" fmla="*/ 20 w 78"/>
                    <a:gd name="T27" fmla="*/ 12 h 26"/>
                    <a:gd name="T28" fmla="*/ 34 w 78"/>
                    <a:gd name="T29" fmla="*/ 15 h 26"/>
                    <a:gd name="T30" fmla="*/ 34 w 78"/>
                    <a:gd name="T31" fmla="*/ 15 h 26"/>
                    <a:gd name="T32" fmla="*/ 26 w 78"/>
                    <a:gd name="T33" fmla="*/ 13 h 26"/>
                    <a:gd name="T34" fmla="*/ 24 w 78"/>
                    <a:gd name="T35" fmla="*/ 15 h 26"/>
                    <a:gd name="T36" fmla="*/ 24 w 78"/>
                    <a:gd name="T37" fmla="*/ 15 h 26"/>
                    <a:gd name="T38" fmla="*/ 34 w 78"/>
                    <a:gd name="T39" fmla="*/ 18 h 26"/>
                    <a:gd name="T40" fmla="*/ 34 w 78"/>
                    <a:gd name="T41" fmla="*/ 15 h 26"/>
                    <a:gd name="T42" fmla="*/ 50 w 78"/>
                    <a:gd name="T43" fmla="*/ 16 h 26"/>
                    <a:gd name="T44" fmla="*/ 50 w 78"/>
                    <a:gd name="T45" fmla="*/ 16 h 26"/>
                    <a:gd name="T46" fmla="*/ 43 w 78"/>
                    <a:gd name="T47" fmla="*/ 16 h 26"/>
                    <a:gd name="T48" fmla="*/ 43 w 78"/>
                    <a:gd name="T49" fmla="*/ 16 h 26"/>
                    <a:gd name="T50" fmla="*/ 40 w 78"/>
                    <a:gd name="T51" fmla="*/ 15 h 26"/>
                    <a:gd name="T52" fmla="*/ 40 w 78"/>
                    <a:gd name="T53" fmla="*/ 18 h 26"/>
                    <a:gd name="T54" fmla="*/ 40 w 78"/>
                    <a:gd name="T55" fmla="*/ 18 h 26"/>
                    <a:gd name="T56" fmla="*/ 43 w 78"/>
                    <a:gd name="T57" fmla="*/ 18 h 26"/>
                    <a:gd name="T58" fmla="*/ 43 w 78"/>
                    <a:gd name="T59" fmla="*/ 18 h 26"/>
                    <a:gd name="T60" fmla="*/ 49 w 78"/>
                    <a:gd name="T61" fmla="*/ 19 h 26"/>
                    <a:gd name="T62" fmla="*/ 50 w 78"/>
                    <a:gd name="T63" fmla="*/ 16 h 26"/>
                    <a:gd name="T64" fmla="*/ 62 w 78"/>
                    <a:gd name="T65" fmla="*/ 23 h 26"/>
                    <a:gd name="T66" fmla="*/ 62 w 78"/>
                    <a:gd name="T67" fmla="*/ 23 h 26"/>
                    <a:gd name="T68" fmla="*/ 55 w 78"/>
                    <a:gd name="T69" fmla="*/ 22 h 26"/>
                    <a:gd name="T70" fmla="*/ 53 w 78"/>
                    <a:gd name="T71" fmla="*/ 20 h 26"/>
                    <a:gd name="T72" fmla="*/ 52 w 78"/>
                    <a:gd name="T73" fmla="*/ 22 h 26"/>
                    <a:gd name="T74" fmla="*/ 52 w 78"/>
                    <a:gd name="T75" fmla="*/ 22 h 26"/>
                    <a:gd name="T76" fmla="*/ 53 w 78"/>
                    <a:gd name="T77" fmla="*/ 23 h 26"/>
                    <a:gd name="T78" fmla="*/ 53 w 78"/>
                    <a:gd name="T79" fmla="*/ 23 h 26"/>
                    <a:gd name="T80" fmla="*/ 57 w 78"/>
                    <a:gd name="T81" fmla="*/ 25 h 26"/>
                    <a:gd name="T82" fmla="*/ 62 w 78"/>
                    <a:gd name="T83" fmla="*/ 26 h 26"/>
                    <a:gd name="T84" fmla="*/ 62 w 78"/>
                    <a:gd name="T85" fmla="*/ 23 h 26"/>
                    <a:gd name="T86" fmla="*/ 78 w 78"/>
                    <a:gd name="T87" fmla="*/ 23 h 26"/>
                    <a:gd name="T88" fmla="*/ 78 w 78"/>
                    <a:gd name="T89" fmla="*/ 23 h 26"/>
                    <a:gd name="T90" fmla="*/ 68 w 78"/>
                    <a:gd name="T91" fmla="*/ 23 h 26"/>
                    <a:gd name="T92" fmla="*/ 68 w 78"/>
                    <a:gd name="T93" fmla="*/ 26 h 26"/>
                    <a:gd name="T94" fmla="*/ 68 w 78"/>
                    <a:gd name="T95" fmla="*/ 26 h 26"/>
                    <a:gd name="T96" fmla="*/ 78 w 78"/>
                    <a:gd name="T97" fmla="*/ 26 h 26"/>
                    <a:gd name="T98" fmla="*/ 78 w 78"/>
                    <a:gd name="T99" fmla="*/ 23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78" h="26">
                      <a:moveTo>
                        <a:pt x="7" y="4"/>
                      </a:moveTo>
                      <a:lnTo>
                        <a:pt x="7" y="4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5" y="6"/>
                      </a:lnTo>
                      <a:lnTo>
                        <a:pt x="7" y="4"/>
                      </a:lnTo>
                      <a:close/>
                      <a:moveTo>
                        <a:pt x="20" y="12"/>
                      </a:moveTo>
                      <a:lnTo>
                        <a:pt x="20" y="12"/>
                      </a:lnTo>
                      <a:lnTo>
                        <a:pt x="11" y="7"/>
                      </a:lnTo>
                      <a:lnTo>
                        <a:pt x="10" y="9"/>
                      </a:lnTo>
                      <a:lnTo>
                        <a:pt x="10" y="9"/>
                      </a:lnTo>
                      <a:lnTo>
                        <a:pt x="20" y="13"/>
                      </a:lnTo>
                      <a:lnTo>
                        <a:pt x="20" y="12"/>
                      </a:lnTo>
                      <a:close/>
                      <a:moveTo>
                        <a:pt x="34" y="15"/>
                      </a:moveTo>
                      <a:lnTo>
                        <a:pt x="34" y="15"/>
                      </a:lnTo>
                      <a:lnTo>
                        <a:pt x="26" y="13"/>
                      </a:lnTo>
                      <a:lnTo>
                        <a:pt x="24" y="15"/>
                      </a:lnTo>
                      <a:lnTo>
                        <a:pt x="24" y="15"/>
                      </a:lnTo>
                      <a:lnTo>
                        <a:pt x="34" y="18"/>
                      </a:lnTo>
                      <a:lnTo>
                        <a:pt x="34" y="15"/>
                      </a:lnTo>
                      <a:close/>
                      <a:moveTo>
                        <a:pt x="50" y="16"/>
                      </a:moveTo>
                      <a:lnTo>
                        <a:pt x="50" y="16"/>
                      </a:lnTo>
                      <a:lnTo>
                        <a:pt x="43" y="16"/>
                      </a:lnTo>
                      <a:lnTo>
                        <a:pt x="43" y="16"/>
                      </a:lnTo>
                      <a:lnTo>
                        <a:pt x="40" y="15"/>
                      </a:lnTo>
                      <a:lnTo>
                        <a:pt x="40" y="18"/>
                      </a:lnTo>
                      <a:lnTo>
                        <a:pt x="40" y="18"/>
                      </a:lnTo>
                      <a:lnTo>
                        <a:pt x="43" y="18"/>
                      </a:lnTo>
                      <a:lnTo>
                        <a:pt x="43" y="18"/>
                      </a:lnTo>
                      <a:lnTo>
                        <a:pt x="49" y="19"/>
                      </a:lnTo>
                      <a:lnTo>
                        <a:pt x="50" y="16"/>
                      </a:lnTo>
                      <a:close/>
                      <a:moveTo>
                        <a:pt x="62" y="23"/>
                      </a:moveTo>
                      <a:lnTo>
                        <a:pt x="62" y="23"/>
                      </a:lnTo>
                      <a:lnTo>
                        <a:pt x="55" y="22"/>
                      </a:lnTo>
                      <a:lnTo>
                        <a:pt x="53" y="20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3" y="23"/>
                      </a:lnTo>
                      <a:lnTo>
                        <a:pt x="53" y="23"/>
                      </a:lnTo>
                      <a:lnTo>
                        <a:pt x="57" y="25"/>
                      </a:lnTo>
                      <a:lnTo>
                        <a:pt x="62" y="26"/>
                      </a:lnTo>
                      <a:lnTo>
                        <a:pt x="62" y="23"/>
                      </a:lnTo>
                      <a:close/>
                      <a:moveTo>
                        <a:pt x="78" y="23"/>
                      </a:moveTo>
                      <a:lnTo>
                        <a:pt x="78" y="23"/>
                      </a:lnTo>
                      <a:lnTo>
                        <a:pt x="68" y="23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78" y="26"/>
                      </a:lnTo>
                      <a:lnTo>
                        <a:pt x="78" y="2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3" name="Freeform 1671"/>
                <p:cNvSpPr>
                  <a:spLocks noEditPoints="1"/>
                </p:cNvSpPr>
                <p:nvPr/>
              </p:nvSpPr>
              <p:spPr bwMode="auto">
                <a:xfrm>
                  <a:off x="4698625" y="2455493"/>
                  <a:ext cx="185981" cy="127614"/>
                </a:xfrm>
                <a:custGeom>
                  <a:avLst/>
                  <a:gdLst>
                    <a:gd name="T0" fmla="*/ 188 w 188"/>
                    <a:gd name="T1" fmla="*/ 60 h 129"/>
                    <a:gd name="T2" fmla="*/ 171 w 188"/>
                    <a:gd name="T3" fmla="*/ 68 h 129"/>
                    <a:gd name="T4" fmla="*/ 177 w 188"/>
                    <a:gd name="T5" fmla="*/ 66 h 129"/>
                    <a:gd name="T6" fmla="*/ 180 w 188"/>
                    <a:gd name="T7" fmla="*/ 62 h 129"/>
                    <a:gd name="T8" fmla="*/ 173 w 188"/>
                    <a:gd name="T9" fmla="*/ 65 h 129"/>
                    <a:gd name="T10" fmla="*/ 161 w 188"/>
                    <a:gd name="T11" fmla="*/ 56 h 129"/>
                    <a:gd name="T12" fmla="*/ 164 w 188"/>
                    <a:gd name="T13" fmla="*/ 63 h 129"/>
                    <a:gd name="T14" fmla="*/ 165 w 188"/>
                    <a:gd name="T15" fmla="*/ 63 h 129"/>
                    <a:gd name="T16" fmla="*/ 165 w 188"/>
                    <a:gd name="T17" fmla="*/ 63 h 129"/>
                    <a:gd name="T18" fmla="*/ 165 w 188"/>
                    <a:gd name="T19" fmla="*/ 60 h 129"/>
                    <a:gd name="T20" fmla="*/ 161 w 188"/>
                    <a:gd name="T21" fmla="*/ 40 h 129"/>
                    <a:gd name="T22" fmla="*/ 161 w 188"/>
                    <a:gd name="T23" fmla="*/ 50 h 129"/>
                    <a:gd name="T24" fmla="*/ 162 w 188"/>
                    <a:gd name="T25" fmla="*/ 43 h 129"/>
                    <a:gd name="T26" fmla="*/ 158 w 188"/>
                    <a:gd name="T27" fmla="*/ 27 h 129"/>
                    <a:gd name="T28" fmla="*/ 164 w 188"/>
                    <a:gd name="T29" fmla="*/ 36 h 129"/>
                    <a:gd name="T30" fmla="*/ 161 w 188"/>
                    <a:gd name="T31" fmla="*/ 26 h 129"/>
                    <a:gd name="T32" fmla="*/ 151 w 188"/>
                    <a:gd name="T33" fmla="*/ 20 h 129"/>
                    <a:gd name="T34" fmla="*/ 157 w 188"/>
                    <a:gd name="T35" fmla="*/ 21 h 129"/>
                    <a:gd name="T36" fmla="*/ 149 w 188"/>
                    <a:gd name="T37" fmla="*/ 16 h 129"/>
                    <a:gd name="T38" fmla="*/ 144 w 188"/>
                    <a:gd name="T39" fmla="*/ 5 h 129"/>
                    <a:gd name="T40" fmla="*/ 145 w 188"/>
                    <a:gd name="T41" fmla="*/ 4 h 129"/>
                    <a:gd name="T42" fmla="*/ 126 w 188"/>
                    <a:gd name="T43" fmla="*/ 3 h 129"/>
                    <a:gd name="T44" fmla="*/ 136 w 188"/>
                    <a:gd name="T45" fmla="*/ 1 h 129"/>
                    <a:gd name="T46" fmla="*/ 112 w 188"/>
                    <a:gd name="T47" fmla="*/ 5 h 129"/>
                    <a:gd name="T48" fmla="*/ 120 w 188"/>
                    <a:gd name="T49" fmla="*/ 0 h 129"/>
                    <a:gd name="T50" fmla="*/ 112 w 188"/>
                    <a:gd name="T51" fmla="*/ 3 h 129"/>
                    <a:gd name="T52" fmla="*/ 99 w 188"/>
                    <a:gd name="T53" fmla="*/ 10 h 129"/>
                    <a:gd name="T54" fmla="*/ 106 w 188"/>
                    <a:gd name="T55" fmla="*/ 5 h 129"/>
                    <a:gd name="T56" fmla="*/ 97 w 188"/>
                    <a:gd name="T57" fmla="*/ 8 h 129"/>
                    <a:gd name="T58" fmla="*/ 91 w 188"/>
                    <a:gd name="T59" fmla="*/ 5 h 129"/>
                    <a:gd name="T60" fmla="*/ 73 w 188"/>
                    <a:gd name="T61" fmla="*/ 11 h 129"/>
                    <a:gd name="T62" fmla="*/ 78 w 188"/>
                    <a:gd name="T63" fmla="*/ 4 h 129"/>
                    <a:gd name="T64" fmla="*/ 74 w 188"/>
                    <a:gd name="T65" fmla="*/ 4 h 129"/>
                    <a:gd name="T66" fmla="*/ 64 w 188"/>
                    <a:gd name="T67" fmla="*/ 23 h 129"/>
                    <a:gd name="T68" fmla="*/ 68 w 188"/>
                    <a:gd name="T69" fmla="*/ 14 h 129"/>
                    <a:gd name="T70" fmla="*/ 55 w 188"/>
                    <a:gd name="T71" fmla="*/ 36 h 129"/>
                    <a:gd name="T72" fmla="*/ 52 w 188"/>
                    <a:gd name="T73" fmla="*/ 34 h 129"/>
                    <a:gd name="T74" fmla="*/ 45 w 188"/>
                    <a:gd name="T75" fmla="*/ 46 h 129"/>
                    <a:gd name="T76" fmla="*/ 42 w 188"/>
                    <a:gd name="T77" fmla="*/ 45 h 129"/>
                    <a:gd name="T78" fmla="*/ 29 w 188"/>
                    <a:gd name="T79" fmla="*/ 52 h 129"/>
                    <a:gd name="T80" fmla="*/ 29 w 188"/>
                    <a:gd name="T81" fmla="*/ 50 h 129"/>
                    <a:gd name="T82" fmla="*/ 22 w 188"/>
                    <a:gd name="T83" fmla="*/ 56 h 129"/>
                    <a:gd name="T84" fmla="*/ 25 w 188"/>
                    <a:gd name="T85" fmla="*/ 53 h 129"/>
                    <a:gd name="T86" fmla="*/ 20 w 188"/>
                    <a:gd name="T87" fmla="*/ 52 h 129"/>
                    <a:gd name="T88" fmla="*/ 19 w 188"/>
                    <a:gd name="T89" fmla="*/ 56 h 129"/>
                    <a:gd name="T90" fmla="*/ 26 w 188"/>
                    <a:gd name="T91" fmla="*/ 75 h 129"/>
                    <a:gd name="T92" fmla="*/ 23 w 188"/>
                    <a:gd name="T93" fmla="*/ 75 h 129"/>
                    <a:gd name="T94" fmla="*/ 28 w 188"/>
                    <a:gd name="T95" fmla="*/ 87 h 129"/>
                    <a:gd name="T96" fmla="*/ 25 w 188"/>
                    <a:gd name="T97" fmla="*/ 81 h 129"/>
                    <a:gd name="T98" fmla="*/ 28 w 188"/>
                    <a:gd name="T99" fmla="*/ 89 h 129"/>
                    <a:gd name="T100" fmla="*/ 26 w 188"/>
                    <a:gd name="T101" fmla="*/ 95 h 129"/>
                    <a:gd name="T102" fmla="*/ 20 w 188"/>
                    <a:gd name="T103" fmla="*/ 104 h 129"/>
                    <a:gd name="T104" fmla="*/ 16 w 188"/>
                    <a:gd name="T105" fmla="*/ 108 h 129"/>
                    <a:gd name="T106" fmla="*/ 9 w 188"/>
                    <a:gd name="T107" fmla="*/ 114 h 129"/>
                    <a:gd name="T108" fmla="*/ 7 w 188"/>
                    <a:gd name="T109" fmla="*/ 120 h 129"/>
                    <a:gd name="T110" fmla="*/ 2 w 188"/>
                    <a:gd name="T111" fmla="*/ 12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88" h="129">
                      <a:moveTo>
                        <a:pt x="186" y="63"/>
                      </a:moveTo>
                      <a:lnTo>
                        <a:pt x="186" y="63"/>
                      </a:lnTo>
                      <a:lnTo>
                        <a:pt x="188" y="63"/>
                      </a:lnTo>
                      <a:lnTo>
                        <a:pt x="188" y="60"/>
                      </a:lnTo>
                      <a:lnTo>
                        <a:pt x="188" y="60"/>
                      </a:lnTo>
                      <a:lnTo>
                        <a:pt x="186" y="60"/>
                      </a:lnTo>
                      <a:lnTo>
                        <a:pt x="186" y="63"/>
                      </a:lnTo>
                      <a:close/>
                      <a:moveTo>
                        <a:pt x="171" y="68"/>
                      </a:moveTo>
                      <a:lnTo>
                        <a:pt x="171" y="68"/>
                      </a:lnTo>
                      <a:lnTo>
                        <a:pt x="173" y="68"/>
                      </a:lnTo>
                      <a:lnTo>
                        <a:pt x="173" y="68"/>
                      </a:lnTo>
                      <a:lnTo>
                        <a:pt x="177" y="66"/>
                      </a:lnTo>
                      <a:lnTo>
                        <a:pt x="177" y="66"/>
                      </a:lnTo>
                      <a:lnTo>
                        <a:pt x="181" y="65"/>
                      </a:lnTo>
                      <a:lnTo>
                        <a:pt x="180" y="62"/>
                      </a:lnTo>
                      <a:lnTo>
                        <a:pt x="180" y="62"/>
                      </a:lnTo>
                      <a:lnTo>
                        <a:pt x="175" y="65"/>
                      </a:lnTo>
                      <a:lnTo>
                        <a:pt x="175" y="65"/>
                      </a:lnTo>
                      <a:lnTo>
                        <a:pt x="173" y="65"/>
                      </a:lnTo>
                      <a:lnTo>
                        <a:pt x="173" y="65"/>
                      </a:lnTo>
                      <a:lnTo>
                        <a:pt x="171" y="65"/>
                      </a:lnTo>
                      <a:lnTo>
                        <a:pt x="171" y="68"/>
                      </a:lnTo>
                      <a:close/>
                      <a:moveTo>
                        <a:pt x="161" y="56"/>
                      </a:moveTo>
                      <a:lnTo>
                        <a:pt x="161" y="56"/>
                      </a:lnTo>
                      <a:lnTo>
                        <a:pt x="162" y="62"/>
                      </a:lnTo>
                      <a:lnTo>
                        <a:pt x="162" y="62"/>
                      </a:lnTo>
                      <a:lnTo>
                        <a:pt x="164" y="63"/>
                      </a:lnTo>
                      <a:lnTo>
                        <a:pt x="164" y="63"/>
                      </a:lnTo>
                      <a:lnTo>
                        <a:pt x="165" y="65"/>
                      </a:lnTo>
                      <a:lnTo>
                        <a:pt x="165" y="66"/>
                      </a:lnTo>
                      <a:lnTo>
                        <a:pt x="167" y="63"/>
                      </a:lnTo>
                      <a:lnTo>
                        <a:pt x="165" y="63"/>
                      </a:lnTo>
                      <a:lnTo>
                        <a:pt x="165" y="63"/>
                      </a:lnTo>
                      <a:lnTo>
                        <a:pt x="165" y="63"/>
                      </a:lnTo>
                      <a:lnTo>
                        <a:pt x="165" y="63"/>
                      </a:lnTo>
                      <a:lnTo>
                        <a:pt x="165" y="63"/>
                      </a:lnTo>
                      <a:lnTo>
                        <a:pt x="165" y="63"/>
                      </a:lnTo>
                      <a:lnTo>
                        <a:pt x="165" y="63"/>
                      </a:lnTo>
                      <a:lnTo>
                        <a:pt x="165" y="63"/>
                      </a:lnTo>
                      <a:lnTo>
                        <a:pt x="165" y="60"/>
                      </a:lnTo>
                      <a:lnTo>
                        <a:pt x="165" y="60"/>
                      </a:lnTo>
                      <a:lnTo>
                        <a:pt x="164" y="56"/>
                      </a:lnTo>
                      <a:lnTo>
                        <a:pt x="161" y="56"/>
                      </a:lnTo>
                      <a:close/>
                      <a:moveTo>
                        <a:pt x="161" y="40"/>
                      </a:moveTo>
                      <a:lnTo>
                        <a:pt x="161" y="40"/>
                      </a:lnTo>
                      <a:lnTo>
                        <a:pt x="159" y="43"/>
                      </a:lnTo>
                      <a:lnTo>
                        <a:pt x="159" y="43"/>
                      </a:lnTo>
                      <a:lnTo>
                        <a:pt x="161" y="50"/>
                      </a:lnTo>
                      <a:lnTo>
                        <a:pt x="164" y="50"/>
                      </a:lnTo>
                      <a:lnTo>
                        <a:pt x="164" y="50"/>
                      </a:lnTo>
                      <a:lnTo>
                        <a:pt x="162" y="43"/>
                      </a:lnTo>
                      <a:lnTo>
                        <a:pt x="162" y="43"/>
                      </a:lnTo>
                      <a:lnTo>
                        <a:pt x="162" y="40"/>
                      </a:lnTo>
                      <a:lnTo>
                        <a:pt x="161" y="40"/>
                      </a:lnTo>
                      <a:close/>
                      <a:moveTo>
                        <a:pt x="158" y="27"/>
                      </a:moveTo>
                      <a:lnTo>
                        <a:pt x="158" y="27"/>
                      </a:lnTo>
                      <a:lnTo>
                        <a:pt x="161" y="31"/>
                      </a:lnTo>
                      <a:lnTo>
                        <a:pt x="161" y="36"/>
                      </a:lnTo>
                      <a:lnTo>
                        <a:pt x="161" y="36"/>
                      </a:lnTo>
                      <a:lnTo>
                        <a:pt x="164" y="36"/>
                      </a:lnTo>
                      <a:lnTo>
                        <a:pt x="164" y="36"/>
                      </a:lnTo>
                      <a:lnTo>
                        <a:pt x="164" y="36"/>
                      </a:lnTo>
                      <a:lnTo>
                        <a:pt x="164" y="30"/>
                      </a:lnTo>
                      <a:lnTo>
                        <a:pt x="161" y="26"/>
                      </a:lnTo>
                      <a:lnTo>
                        <a:pt x="158" y="27"/>
                      </a:lnTo>
                      <a:close/>
                      <a:moveTo>
                        <a:pt x="149" y="16"/>
                      </a:moveTo>
                      <a:lnTo>
                        <a:pt x="149" y="16"/>
                      </a:lnTo>
                      <a:lnTo>
                        <a:pt x="151" y="20"/>
                      </a:lnTo>
                      <a:lnTo>
                        <a:pt x="155" y="23"/>
                      </a:lnTo>
                      <a:lnTo>
                        <a:pt x="155" y="24"/>
                      </a:lnTo>
                      <a:lnTo>
                        <a:pt x="157" y="21"/>
                      </a:lnTo>
                      <a:lnTo>
                        <a:pt x="157" y="21"/>
                      </a:lnTo>
                      <a:lnTo>
                        <a:pt x="157" y="21"/>
                      </a:lnTo>
                      <a:lnTo>
                        <a:pt x="154" y="18"/>
                      </a:lnTo>
                      <a:lnTo>
                        <a:pt x="151" y="14"/>
                      </a:lnTo>
                      <a:lnTo>
                        <a:pt x="149" y="16"/>
                      </a:lnTo>
                      <a:close/>
                      <a:moveTo>
                        <a:pt x="141" y="4"/>
                      </a:moveTo>
                      <a:lnTo>
                        <a:pt x="141" y="4"/>
                      </a:lnTo>
                      <a:lnTo>
                        <a:pt x="144" y="5"/>
                      </a:lnTo>
                      <a:lnTo>
                        <a:pt x="144" y="5"/>
                      </a:lnTo>
                      <a:lnTo>
                        <a:pt x="146" y="11"/>
                      </a:lnTo>
                      <a:lnTo>
                        <a:pt x="148" y="10"/>
                      </a:lnTo>
                      <a:lnTo>
                        <a:pt x="148" y="10"/>
                      </a:lnTo>
                      <a:lnTo>
                        <a:pt x="145" y="4"/>
                      </a:lnTo>
                      <a:lnTo>
                        <a:pt x="145" y="4"/>
                      </a:lnTo>
                      <a:lnTo>
                        <a:pt x="142" y="1"/>
                      </a:lnTo>
                      <a:lnTo>
                        <a:pt x="141" y="4"/>
                      </a:lnTo>
                      <a:close/>
                      <a:moveTo>
                        <a:pt x="126" y="3"/>
                      </a:moveTo>
                      <a:lnTo>
                        <a:pt x="126" y="3"/>
                      </a:lnTo>
                      <a:lnTo>
                        <a:pt x="136" y="3"/>
                      </a:lnTo>
                      <a:lnTo>
                        <a:pt x="136" y="1"/>
                      </a:lnTo>
                      <a:lnTo>
                        <a:pt x="136" y="1"/>
                      </a:lnTo>
                      <a:lnTo>
                        <a:pt x="126" y="0"/>
                      </a:lnTo>
                      <a:lnTo>
                        <a:pt x="126" y="3"/>
                      </a:lnTo>
                      <a:close/>
                      <a:moveTo>
                        <a:pt x="112" y="5"/>
                      </a:moveTo>
                      <a:lnTo>
                        <a:pt x="112" y="5"/>
                      </a:lnTo>
                      <a:lnTo>
                        <a:pt x="119" y="3"/>
                      </a:lnTo>
                      <a:lnTo>
                        <a:pt x="119" y="3"/>
                      </a:lnTo>
                      <a:lnTo>
                        <a:pt x="122" y="3"/>
                      </a:lnTo>
                      <a:lnTo>
                        <a:pt x="120" y="0"/>
                      </a:lnTo>
                      <a:lnTo>
                        <a:pt x="120" y="0"/>
                      </a:lnTo>
                      <a:lnTo>
                        <a:pt x="119" y="0"/>
                      </a:lnTo>
                      <a:lnTo>
                        <a:pt x="119" y="0"/>
                      </a:lnTo>
                      <a:lnTo>
                        <a:pt x="112" y="3"/>
                      </a:lnTo>
                      <a:lnTo>
                        <a:pt x="112" y="5"/>
                      </a:lnTo>
                      <a:close/>
                      <a:moveTo>
                        <a:pt x="97" y="8"/>
                      </a:moveTo>
                      <a:lnTo>
                        <a:pt x="97" y="8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107" y="7"/>
                      </a:lnTo>
                      <a:lnTo>
                        <a:pt x="106" y="5"/>
                      </a:lnTo>
                      <a:lnTo>
                        <a:pt x="106" y="5"/>
                      </a:lnTo>
                      <a:lnTo>
                        <a:pt x="99" y="7"/>
                      </a:lnTo>
                      <a:lnTo>
                        <a:pt x="99" y="7"/>
                      </a:lnTo>
                      <a:lnTo>
                        <a:pt x="97" y="7"/>
                      </a:lnTo>
                      <a:lnTo>
                        <a:pt x="97" y="8"/>
                      </a:lnTo>
                      <a:close/>
                      <a:moveTo>
                        <a:pt x="81" y="5"/>
                      </a:moveTo>
                      <a:lnTo>
                        <a:pt x="81" y="5"/>
                      </a:lnTo>
                      <a:lnTo>
                        <a:pt x="91" y="8"/>
                      </a:lnTo>
                      <a:lnTo>
                        <a:pt x="91" y="5"/>
                      </a:lnTo>
                      <a:lnTo>
                        <a:pt x="91" y="5"/>
                      </a:lnTo>
                      <a:lnTo>
                        <a:pt x="83" y="3"/>
                      </a:lnTo>
                      <a:lnTo>
                        <a:pt x="81" y="5"/>
                      </a:lnTo>
                      <a:close/>
                      <a:moveTo>
                        <a:pt x="73" y="11"/>
                      </a:moveTo>
                      <a:lnTo>
                        <a:pt x="73" y="11"/>
                      </a:lnTo>
                      <a:lnTo>
                        <a:pt x="75" y="5"/>
                      </a:lnTo>
                      <a:lnTo>
                        <a:pt x="75" y="5"/>
                      </a:lnTo>
                      <a:lnTo>
                        <a:pt x="78" y="4"/>
                      </a:lnTo>
                      <a:lnTo>
                        <a:pt x="77" y="1"/>
                      </a:lnTo>
                      <a:lnTo>
                        <a:pt x="77" y="1"/>
                      </a:lnTo>
                      <a:lnTo>
                        <a:pt x="75" y="3"/>
                      </a:lnTo>
                      <a:lnTo>
                        <a:pt x="74" y="4"/>
                      </a:lnTo>
                      <a:lnTo>
                        <a:pt x="74" y="4"/>
                      </a:lnTo>
                      <a:lnTo>
                        <a:pt x="70" y="10"/>
                      </a:lnTo>
                      <a:lnTo>
                        <a:pt x="73" y="11"/>
                      </a:lnTo>
                      <a:close/>
                      <a:moveTo>
                        <a:pt x="64" y="23"/>
                      </a:moveTo>
                      <a:lnTo>
                        <a:pt x="64" y="23"/>
                      </a:lnTo>
                      <a:lnTo>
                        <a:pt x="70" y="16"/>
                      </a:lnTo>
                      <a:lnTo>
                        <a:pt x="68" y="14"/>
                      </a:lnTo>
                      <a:lnTo>
                        <a:pt x="68" y="14"/>
                      </a:lnTo>
                      <a:lnTo>
                        <a:pt x="62" y="21"/>
                      </a:lnTo>
                      <a:lnTo>
                        <a:pt x="64" y="23"/>
                      </a:lnTo>
                      <a:close/>
                      <a:moveTo>
                        <a:pt x="55" y="36"/>
                      </a:moveTo>
                      <a:lnTo>
                        <a:pt x="55" y="36"/>
                      </a:lnTo>
                      <a:lnTo>
                        <a:pt x="61" y="27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52" y="34"/>
                      </a:lnTo>
                      <a:lnTo>
                        <a:pt x="55" y="36"/>
                      </a:lnTo>
                      <a:close/>
                      <a:moveTo>
                        <a:pt x="44" y="46"/>
                      </a:moveTo>
                      <a:lnTo>
                        <a:pt x="45" y="46"/>
                      </a:lnTo>
                      <a:lnTo>
                        <a:pt x="45" y="46"/>
                      </a:lnTo>
                      <a:lnTo>
                        <a:pt x="51" y="39"/>
                      </a:lnTo>
                      <a:lnTo>
                        <a:pt x="49" y="37"/>
                      </a:lnTo>
                      <a:lnTo>
                        <a:pt x="49" y="37"/>
                      </a:lnTo>
                      <a:lnTo>
                        <a:pt x="42" y="45"/>
                      </a:lnTo>
                      <a:lnTo>
                        <a:pt x="42" y="45"/>
                      </a:lnTo>
                      <a:lnTo>
                        <a:pt x="44" y="46"/>
                      </a:lnTo>
                      <a:close/>
                      <a:moveTo>
                        <a:pt x="29" y="52"/>
                      </a:moveTo>
                      <a:lnTo>
                        <a:pt x="29" y="52"/>
                      </a:lnTo>
                      <a:lnTo>
                        <a:pt x="39" y="49"/>
                      </a:lnTo>
                      <a:lnTo>
                        <a:pt x="38" y="47"/>
                      </a:lnTo>
                      <a:lnTo>
                        <a:pt x="38" y="47"/>
                      </a:lnTo>
                      <a:lnTo>
                        <a:pt x="29" y="50"/>
                      </a:lnTo>
                      <a:lnTo>
                        <a:pt x="29" y="52"/>
                      </a:lnTo>
                      <a:close/>
                      <a:moveTo>
                        <a:pt x="22" y="60"/>
                      </a:moveTo>
                      <a:lnTo>
                        <a:pt x="22" y="60"/>
                      </a:lnTo>
                      <a:lnTo>
                        <a:pt x="22" y="56"/>
                      </a:lnTo>
                      <a:lnTo>
                        <a:pt x="22" y="55"/>
                      </a:lnTo>
                      <a:lnTo>
                        <a:pt x="22" y="55"/>
                      </a:lnTo>
                      <a:lnTo>
                        <a:pt x="22" y="55"/>
                      </a:lnTo>
                      <a:lnTo>
                        <a:pt x="25" y="53"/>
                      </a:lnTo>
                      <a:lnTo>
                        <a:pt x="23" y="52"/>
                      </a:lnTo>
                      <a:lnTo>
                        <a:pt x="23" y="52"/>
                      </a:lnTo>
                      <a:lnTo>
                        <a:pt x="20" y="52"/>
                      </a:lnTo>
                      <a:lnTo>
                        <a:pt x="20" y="52"/>
                      </a:lnTo>
                      <a:lnTo>
                        <a:pt x="19" y="55"/>
                      </a:lnTo>
                      <a:lnTo>
                        <a:pt x="19" y="55"/>
                      </a:lnTo>
                      <a:lnTo>
                        <a:pt x="19" y="56"/>
                      </a:lnTo>
                      <a:lnTo>
                        <a:pt x="19" y="56"/>
                      </a:lnTo>
                      <a:lnTo>
                        <a:pt x="19" y="60"/>
                      </a:lnTo>
                      <a:lnTo>
                        <a:pt x="22" y="60"/>
                      </a:lnTo>
                      <a:close/>
                      <a:moveTo>
                        <a:pt x="26" y="75"/>
                      </a:moveTo>
                      <a:lnTo>
                        <a:pt x="26" y="75"/>
                      </a:lnTo>
                      <a:lnTo>
                        <a:pt x="23" y="65"/>
                      </a:lnTo>
                      <a:lnTo>
                        <a:pt x="20" y="65"/>
                      </a:lnTo>
                      <a:lnTo>
                        <a:pt x="20" y="65"/>
                      </a:lnTo>
                      <a:lnTo>
                        <a:pt x="23" y="75"/>
                      </a:lnTo>
                      <a:lnTo>
                        <a:pt x="26" y="75"/>
                      </a:lnTo>
                      <a:close/>
                      <a:moveTo>
                        <a:pt x="28" y="89"/>
                      </a:moveTo>
                      <a:lnTo>
                        <a:pt x="28" y="89"/>
                      </a:lnTo>
                      <a:lnTo>
                        <a:pt x="28" y="87"/>
                      </a:lnTo>
                      <a:lnTo>
                        <a:pt x="28" y="87"/>
                      </a:lnTo>
                      <a:lnTo>
                        <a:pt x="28" y="79"/>
                      </a:lnTo>
                      <a:lnTo>
                        <a:pt x="25" y="81"/>
                      </a:lnTo>
                      <a:lnTo>
                        <a:pt x="25" y="81"/>
                      </a:lnTo>
                      <a:lnTo>
                        <a:pt x="25" y="87"/>
                      </a:lnTo>
                      <a:lnTo>
                        <a:pt x="25" y="87"/>
                      </a:lnTo>
                      <a:lnTo>
                        <a:pt x="25" y="89"/>
                      </a:lnTo>
                      <a:lnTo>
                        <a:pt x="28" y="89"/>
                      </a:lnTo>
                      <a:close/>
                      <a:moveTo>
                        <a:pt x="20" y="104"/>
                      </a:moveTo>
                      <a:lnTo>
                        <a:pt x="20" y="104"/>
                      </a:lnTo>
                      <a:lnTo>
                        <a:pt x="23" y="100"/>
                      </a:lnTo>
                      <a:lnTo>
                        <a:pt x="26" y="95"/>
                      </a:lnTo>
                      <a:lnTo>
                        <a:pt x="23" y="94"/>
                      </a:lnTo>
                      <a:lnTo>
                        <a:pt x="23" y="94"/>
                      </a:lnTo>
                      <a:lnTo>
                        <a:pt x="18" y="102"/>
                      </a:lnTo>
                      <a:lnTo>
                        <a:pt x="20" y="104"/>
                      </a:lnTo>
                      <a:close/>
                      <a:moveTo>
                        <a:pt x="10" y="115"/>
                      </a:moveTo>
                      <a:lnTo>
                        <a:pt x="10" y="115"/>
                      </a:lnTo>
                      <a:lnTo>
                        <a:pt x="16" y="108"/>
                      </a:lnTo>
                      <a:lnTo>
                        <a:pt x="16" y="108"/>
                      </a:lnTo>
                      <a:lnTo>
                        <a:pt x="15" y="105"/>
                      </a:lnTo>
                      <a:lnTo>
                        <a:pt x="15" y="107"/>
                      </a:lnTo>
                      <a:lnTo>
                        <a:pt x="15" y="107"/>
                      </a:lnTo>
                      <a:lnTo>
                        <a:pt x="9" y="114"/>
                      </a:lnTo>
                      <a:lnTo>
                        <a:pt x="10" y="115"/>
                      </a:lnTo>
                      <a:close/>
                      <a:moveTo>
                        <a:pt x="2" y="129"/>
                      </a:moveTo>
                      <a:lnTo>
                        <a:pt x="2" y="129"/>
                      </a:lnTo>
                      <a:lnTo>
                        <a:pt x="7" y="120"/>
                      </a:lnTo>
                      <a:lnTo>
                        <a:pt x="5" y="118"/>
                      </a:lnTo>
                      <a:lnTo>
                        <a:pt x="5" y="118"/>
                      </a:lnTo>
                      <a:lnTo>
                        <a:pt x="0" y="127"/>
                      </a:lnTo>
                      <a:lnTo>
                        <a:pt x="2" y="12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4" name="Freeform 1672"/>
                <p:cNvSpPr>
                  <a:spLocks noEditPoints="1"/>
                </p:cNvSpPr>
                <p:nvPr/>
              </p:nvSpPr>
              <p:spPr bwMode="auto">
                <a:xfrm>
                  <a:off x="4662022" y="2523752"/>
                  <a:ext cx="59356" cy="53420"/>
                </a:xfrm>
                <a:custGeom>
                  <a:avLst/>
                  <a:gdLst>
                    <a:gd name="T0" fmla="*/ 55 w 60"/>
                    <a:gd name="T1" fmla="*/ 3 h 54"/>
                    <a:gd name="T2" fmla="*/ 60 w 60"/>
                    <a:gd name="T3" fmla="*/ 0 h 54"/>
                    <a:gd name="T4" fmla="*/ 55 w 60"/>
                    <a:gd name="T5" fmla="*/ 2 h 54"/>
                    <a:gd name="T6" fmla="*/ 40 w 60"/>
                    <a:gd name="T7" fmla="*/ 4 h 54"/>
                    <a:gd name="T8" fmla="*/ 46 w 60"/>
                    <a:gd name="T9" fmla="*/ 4 h 54"/>
                    <a:gd name="T10" fmla="*/ 50 w 60"/>
                    <a:gd name="T11" fmla="*/ 4 h 54"/>
                    <a:gd name="T12" fmla="*/ 49 w 60"/>
                    <a:gd name="T13" fmla="*/ 2 h 54"/>
                    <a:gd name="T14" fmla="*/ 46 w 60"/>
                    <a:gd name="T15" fmla="*/ 2 h 54"/>
                    <a:gd name="T16" fmla="*/ 40 w 60"/>
                    <a:gd name="T17" fmla="*/ 4 h 54"/>
                    <a:gd name="T18" fmla="*/ 24 w 60"/>
                    <a:gd name="T19" fmla="*/ 3 h 54"/>
                    <a:gd name="T20" fmla="*/ 34 w 60"/>
                    <a:gd name="T21" fmla="*/ 2 h 54"/>
                    <a:gd name="T22" fmla="*/ 24 w 60"/>
                    <a:gd name="T23" fmla="*/ 2 h 54"/>
                    <a:gd name="T24" fmla="*/ 10 w 60"/>
                    <a:gd name="T25" fmla="*/ 4 h 54"/>
                    <a:gd name="T26" fmla="*/ 15 w 60"/>
                    <a:gd name="T27" fmla="*/ 3 h 54"/>
                    <a:gd name="T28" fmla="*/ 20 w 60"/>
                    <a:gd name="T29" fmla="*/ 3 h 54"/>
                    <a:gd name="T30" fmla="*/ 20 w 60"/>
                    <a:gd name="T31" fmla="*/ 2 h 54"/>
                    <a:gd name="T32" fmla="*/ 15 w 60"/>
                    <a:gd name="T33" fmla="*/ 2 h 54"/>
                    <a:gd name="T34" fmla="*/ 10 w 60"/>
                    <a:gd name="T35" fmla="*/ 4 h 54"/>
                    <a:gd name="T36" fmla="*/ 1 w 60"/>
                    <a:gd name="T37" fmla="*/ 13 h 54"/>
                    <a:gd name="T38" fmla="*/ 2 w 60"/>
                    <a:gd name="T39" fmla="*/ 10 h 54"/>
                    <a:gd name="T40" fmla="*/ 4 w 60"/>
                    <a:gd name="T41" fmla="*/ 4 h 54"/>
                    <a:gd name="T42" fmla="*/ 1 w 60"/>
                    <a:gd name="T43" fmla="*/ 9 h 54"/>
                    <a:gd name="T44" fmla="*/ 0 w 60"/>
                    <a:gd name="T45" fmla="*/ 15 h 54"/>
                    <a:gd name="T46" fmla="*/ 8 w 60"/>
                    <a:gd name="T47" fmla="*/ 28 h 54"/>
                    <a:gd name="T48" fmla="*/ 2 w 60"/>
                    <a:gd name="T49" fmla="*/ 19 h 54"/>
                    <a:gd name="T50" fmla="*/ 1 w 60"/>
                    <a:gd name="T51" fmla="*/ 19 h 54"/>
                    <a:gd name="T52" fmla="*/ 8 w 60"/>
                    <a:gd name="T53" fmla="*/ 28 h 54"/>
                    <a:gd name="T54" fmla="*/ 17 w 60"/>
                    <a:gd name="T55" fmla="*/ 39 h 54"/>
                    <a:gd name="T56" fmla="*/ 10 w 60"/>
                    <a:gd name="T57" fmla="*/ 32 h 54"/>
                    <a:gd name="T58" fmla="*/ 15 w 60"/>
                    <a:gd name="T59" fmla="*/ 41 h 54"/>
                    <a:gd name="T60" fmla="*/ 26 w 60"/>
                    <a:gd name="T61" fmla="*/ 52 h 54"/>
                    <a:gd name="T62" fmla="*/ 20 w 60"/>
                    <a:gd name="T63" fmla="*/ 44 h 54"/>
                    <a:gd name="T64" fmla="*/ 18 w 60"/>
                    <a:gd name="T65" fmla="*/ 45 h 54"/>
                    <a:gd name="T66" fmla="*/ 26 w 60"/>
                    <a:gd name="T67" fmla="*/ 52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60" h="54">
                      <a:moveTo>
                        <a:pt x="55" y="3"/>
                      </a:moveTo>
                      <a:lnTo>
                        <a:pt x="55" y="3"/>
                      </a:lnTo>
                      <a:lnTo>
                        <a:pt x="60" y="2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55" y="2"/>
                      </a:lnTo>
                      <a:lnTo>
                        <a:pt x="55" y="3"/>
                      </a:lnTo>
                      <a:close/>
                      <a:moveTo>
                        <a:pt x="40" y="4"/>
                      </a:moveTo>
                      <a:lnTo>
                        <a:pt x="40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50" y="4"/>
                      </a:lnTo>
                      <a:lnTo>
                        <a:pt x="49" y="2"/>
                      </a:lnTo>
                      <a:lnTo>
                        <a:pt x="49" y="2"/>
                      </a:lnTo>
                      <a:lnTo>
                        <a:pt x="46" y="2"/>
                      </a:lnTo>
                      <a:lnTo>
                        <a:pt x="46" y="2"/>
                      </a:lnTo>
                      <a:lnTo>
                        <a:pt x="40" y="2"/>
                      </a:lnTo>
                      <a:lnTo>
                        <a:pt x="40" y="4"/>
                      </a:lnTo>
                      <a:close/>
                      <a:moveTo>
                        <a:pt x="24" y="3"/>
                      </a:moveTo>
                      <a:lnTo>
                        <a:pt x="24" y="3"/>
                      </a:lnTo>
                      <a:lnTo>
                        <a:pt x="34" y="4"/>
                      </a:lnTo>
                      <a:lnTo>
                        <a:pt x="34" y="2"/>
                      </a:lnTo>
                      <a:lnTo>
                        <a:pt x="34" y="2"/>
                      </a:lnTo>
                      <a:lnTo>
                        <a:pt x="24" y="2"/>
                      </a:lnTo>
                      <a:lnTo>
                        <a:pt x="24" y="3"/>
                      </a:lnTo>
                      <a:close/>
                      <a:moveTo>
                        <a:pt x="10" y="4"/>
                      </a:moveTo>
                      <a:lnTo>
                        <a:pt x="10" y="4"/>
                      </a:lnTo>
                      <a:lnTo>
                        <a:pt x="15" y="3"/>
                      </a:lnTo>
                      <a:lnTo>
                        <a:pt x="15" y="3"/>
                      </a:lnTo>
                      <a:lnTo>
                        <a:pt x="20" y="3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15" y="2"/>
                      </a:lnTo>
                      <a:lnTo>
                        <a:pt x="15" y="2"/>
                      </a:lnTo>
                      <a:lnTo>
                        <a:pt x="8" y="2"/>
                      </a:lnTo>
                      <a:lnTo>
                        <a:pt x="10" y="4"/>
                      </a:lnTo>
                      <a:close/>
                      <a:moveTo>
                        <a:pt x="1" y="15"/>
                      </a:move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2" y="10"/>
                      </a:lnTo>
                      <a:lnTo>
                        <a:pt x="5" y="6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1" y="9"/>
                      </a:lnTo>
                      <a:lnTo>
                        <a:pt x="0" y="13"/>
                      </a:lnTo>
                      <a:lnTo>
                        <a:pt x="0" y="15"/>
                      </a:lnTo>
                      <a:lnTo>
                        <a:pt x="1" y="15"/>
                      </a:lnTo>
                      <a:close/>
                      <a:moveTo>
                        <a:pt x="8" y="28"/>
                      </a:moveTo>
                      <a:lnTo>
                        <a:pt x="8" y="28"/>
                      </a:lnTo>
                      <a:lnTo>
                        <a:pt x="2" y="19"/>
                      </a:lnTo>
                      <a:lnTo>
                        <a:pt x="1" y="19"/>
                      </a:lnTo>
                      <a:lnTo>
                        <a:pt x="1" y="19"/>
                      </a:lnTo>
                      <a:lnTo>
                        <a:pt x="7" y="29"/>
                      </a:lnTo>
                      <a:lnTo>
                        <a:pt x="8" y="28"/>
                      </a:lnTo>
                      <a:close/>
                      <a:moveTo>
                        <a:pt x="17" y="39"/>
                      </a:moveTo>
                      <a:lnTo>
                        <a:pt x="17" y="39"/>
                      </a:lnTo>
                      <a:lnTo>
                        <a:pt x="11" y="31"/>
                      </a:lnTo>
                      <a:lnTo>
                        <a:pt x="10" y="32"/>
                      </a:lnTo>
                      <a:lnTo>
                        <a:pt x="10" y="32"/>
                      </a:lnTo>
                      <a:lnTo>
                        <a:pt x="15" y="41"/>
                      </a:lnTo>
                      <a:lnTo>
                        <a:pt x="17" y="39"/>
                      </a:lnTo>
                      <a:close/>
                      <a:moveTo>
                        <a:pt x="26" y="52"/>
                      </a:moveTo>
                      <a:lnTo>
                        <a:pt x="26" y="52"/>
                      </a:lnTo>
                      <a:lnTo>
                        <a:pt x="20" y="44"/>
                      </a:lnTo>
                      <a:lnTo>
                        <a:pt x="18" y="45"/>
                      </a:lnTo>
                      <a:lnTo>
                        <a:pt x="18" y="45"/>
                      </a:lnTo>
                      <a:lnTo>
                        <a:pt x="24" y="54"/>
                      </a:lnTo>
                      <a:lnTo>
                        <a:pt x="26" y="5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5" name="Freeform 1673"/>
                <p:cNvSpPr>
                  <a:spLocks noEditPoints="1"/>
                </p:cNvSpPr>
                <p:nvPr/>
              </p:nvSpPr>
              <p:spPr bwMode="auto">
                <a:xfrm>
                  <a:off x="4825250" y="2593000"/>
                  <a:ext cx="30667" cy="29678"/>
                </a:xfrm>
                <a:custGeom>
                  <a:avLst/>
                  <a:gdLst>
                    <a:gd name="T0" fmla="*/ 21 w 31"/>
                    <a:gd name="T1" fmla="*/ 3 h 30"/>
                    <a:gd name="T2" fmla="*/ 21 w 31"/>
                    <a:gd name="T3" fmla="*/ 3 h 30"/>
                    <a:gd name="T4" fmla="*/ 31 w 31"/>
                    <a:gd name="T5" fmla="*/ 3 h 30"/>
                    <a:gd name="T6" fmla="*/ 31 w 31"/>
                    <a:gd name="T7" fmla="*/ 0 h 30"/>
                    <a:gd name="T8" fmla="*/ 31 w 31"/>
                    <a:gd name="T9" fmla="*/ 0 h 30"/>
                    <a:gd name="T10" fmla="*/ 21 w 31"/>
                    <a:gd name="T11" fmla="*/ 0 h 30"/>
                    <a:gd name="T12" fmla="*/ 21 w 31"/>
                    <a:gd name="T13" fmla="*/ 3 h 30"/>
                    <a:gd name="T14" fmla="*/ 7 w 31"/>
                    <a:gd name="T15" fmla="*/ 4 h 30"/>
                    <a:gd name="T16" fmla="*/ 7 w 31"/>
                    <a:gd name="T17" fmla="*/ 4 h 30"/>
                    <a:gd name="T18" fmla="*/ 17 w 31"/>
                    <a:gd name="T19" fmla="*/ 3 h 30"/>
                    <a:gd name="T20" fmla="*/ 16 w 31"/>
                    <a:gd name="T21" fmla="*/ 0 h 30"/>
                    <a:gd name="T22" fmla="*/ 16 w 31"/>
                    <a:gd name="T23" fmla="*/ 0 h 30"/>
                    <a:gd name="T24" fmla="*/ 5 w 31"/>
                    <a:gd name="T25" fmla="*/ 3 h 30"/>
                    <a:gd name="T26" fmla="*/ 7 w 31"/>
                    <a:gd name="T27" fmla="*/ 4 h 30"/>
                    <a:gd name="T28" fmla="*/ 3 w 31"/>
                    <a:gd name="T29" fmla="*/ 16 h 30"/>
                    <a:gd name="T30" fmla="*/ 3 w 31"/>
                    <a:gd name="T31" fmla="*/ 16 h 30"/>
                    <a:gd name="T32" fmla="*/ 3 w 31"/>
                    <a:gd name="T33" fmla="*/ 10 h 30"/>
                    <a:gd name="T34" fmla="*/ 3 w 31"/>
                    <a:gd name="T35" fmla="*/ 10 h 30"/>
                    <a:gd name="T36" fmla="*/ 3 w 31"/>
                    <a:gd name="T37" fmla="*/ 7 h 30"/>
                    <a:gd name="T38" fmla="*/ 3 w 31"/>
                    <a:gd name="T39" fmla="*/ 7 h 30"/>
                    <a:gd name="T40" fmla="*/ 1 w 31"/>
                    <a:gd name="T41" fmla="*/ 5 h 30"/>
                    <a:gd name="T42" fmla="*/ 1 w 31"/>
                    <a:gd name="T43" fmla="*/ 5 h 30"/>
                    <a:gd name="T44" fmla="*/ 1 w 31"/>
                    <a:gd name="T45" fmla="*/ 5 h 30"/>
                    <a:gd name="T46" fmla="*/ 0 w 31"/>
                    <a:gd name="T47" fmla="*/ 10 h 30"/>
                    <a:gd name="T48" fmla="*/ 0 w 31"/>
                    <a:gd name="T49" fmla="*/ 10 h 30"/>
                    <a:gd name="T50" fmla="*/ 1 w 31"/>
                    <a:gd name="T51" fmla="*/ 16 h 30"/>
                    <a:gd name="T52" fmla="*/ 3 w 31"/>
                    <a:gd name="T53" fmla="*/ 16 h 30"/>
                    <a:gd name="T54" fmla="*/ 8 w 31"/>
                    <a:gd name="T55" fmla="*/ 30 h 30"/>
                    <a:gd name="T56" fmla="*/ 8 w 31"/>
                    <a:gd name="T57" fmla="*/ 30 h 30"/>
                    <a:gd name="T58" fmla="*/ 5 w 31"/>
                    <a:gd name="T59" fmla="*/ 20 h 30"/>
                    <a:gd name="T60" fmla="*/ 3 w 31"/>
                    <a:gd name="T61" fmla="*/ 21 h 30"/>
                    <a:gd name="T62" fmla="*/ 3 w 31"/>
                    <a:gd name="T63" fmla="*/ 21 h 30"/>
                    <a:gd name="T64" fmla="*/ 5 w 31"/>
                    <a:gd name="T65" fmla="*/ 30 h 30"/>
                    <a:gd name="T66" fmla="*/ 8 w 31"/>
                    <a:gd name="T67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31" h="30">
                      <a:moveTo>
                        <a:pt x="21" y="3"/>
                      </a:moveTo>
                      <a:lnTo>
                        <a:pt x="21" y="3"/>
                      </a:lnTo>
                      <a:lnTo>
                        <a:pt x="31" y="3"/>
                      </a:lnTo>
                      <a:lnTo>
                        <a:pt x="31" y="0"/>
                      </a:lnTo>
                      <a:lnTo>
                        <a:pt x="31" y="0"/>
                      </a:lnTo>
                      <a:lnTo>
                        <a:pt x="21" y="0"/>
                      </a:lnTo>
                      <a:lnTo>
                        <a:pt x="21" y="3"/>
                      </a:lnTo>
                      <a:close/>
                      <a:moveTo>
                        <a:pt x="7" y="4"/>
                      </a:moveTo>
                      <a:lnTo>
                        <a:pt x="7" y="4"/>
                      </a:lnTo>
                      <a:lnTo>
                        <a:pt x="17" y="3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5" y="3"/>
                      </a:lnTo>
                      <a:lnTo>
                        <a:pt x="7" y="4"/>
                      </a:lnTo>
                      <a:close/>
                      <a:moveTo>
                        <a:pt x="3" y="16"/>
                      </a:moveTo>
                      <a:lnTo>
                        <a:pt x="3" y="16"/>
                      </a:lnTo>
                      <a:lnTo>
                        <a:pt x="3" y="10"/>
                      </a:lnTo>
                      <a:lnTo>
                        <a:pt x="3" y="10"/>
                      </a:lnTo>
                      <a:lnTo>
                        <a:pt x="3" y="7"/>
                      </a:lnTo>
                      <a:lnTo>
                        <a:pt x="3" y="7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1" y="16"/>
                      </a:lnTo>
                      <a:lnTo>
                        <a:pt x="3" y="16"/>
                      </a:lnTo>
                      <a:close/>
                      <a:moveTo>
                        <a:pt x="8" y="30"/>
                      </a:moveTo>
                      <a:lnTo>
                        <a:pt x="8" y="30"/>
                      </a:lnTo>
                      <a:lnTo>
                        <a:pt x="5" y="20"/>
                      </a:lnTo>
                      <a:lnTo>
                        <a:pt x="3" y="21"/>
                      </a:lnTo>
                      <a:lnTo>
                        <a:pt x="3" y="21"/>
                      </a:lnTo>
                      <a:lnTo>
                        <a:pt x="5" y="30"/>
                      </a:lnTo>
                      <a:lnTo>
                        <a:pt x="8" y="3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6" name="Freeform 1674"/>
                <p:cNvSpPr>
                  <a:spLocks noEditPoints="1"/>
                </p:cNvSpPr>
                <p:nvPr/>
              </p:nvSpPr>
              <p:spPr bwMode="auto">
                <a:xfrm>
                  <a:off x="4787658" y="2605860"/>
                  <a:ext cx="40560" cy="4946"/>
                </a:xfrm>
                <a:custGeom>
                  <a:avLst/>
                  <a:gdLst>
                    <a:gd name="T0" fmla="*/ 10 w 41"/>
                    <a:gd name="T1" fmla="*/ 0 h 5"/>
                    <a:gd name="T2" fmla="*/ 10 w 41"/>
                    <a:gd name="T3" fmla="*/ 0 h 5"/>
                    <a:gd name="T4" fmla="*/ 4 w 41"/>
                    <a:gd name="T5" fmla="*/ 1 h 5"/>
                    <a:gd name="T6" fmla="*/ 0 w 41"/>
                    <a:gd name="T7" fmla="*/ 3 h 5"/>
                    <a:gd name="T8" fmla="*/ 0 w 41"/>
                    <a:gd name="T9" fmla="*/ 5 h 5"/>
                    <a:gd name="T10" fmla="*/ 0 w 41"/>
                    <a:gd name="T11" fmla="*/ 5 h 5"/>
                    <a:gd name="T12" fmla="*/ 6 w 41"/>
                    <a:gd name="T13" fmla="*/ 4 h 5"/>
                    <a:gd name="T14" fmla="*/ 10 w 41"/>
                    <a:gd name="T15" fmla="*/ 3 h 5"/>
                    <a:gd name="T16" fmla="*/ 10 w 41"/>
                    <a:gd name="T17" fmla="*/ 0 h 5"/>
                    <a:gd name="T18" fmla="*/ 25 w 41"/>
                    <a:gd name="T19" fmla="*/ 1 h 5"/>
                    <a:gd name="T20" fmla="*/ 25 w 41"/>
                    <a:gd name="T21" fmla="*/ 1 h 5"/>
                    <a:gd name="T22" fmla="*/ 14 w 41"/>
                    <a:gd name="T23" fmla="*/ 0 h 5"/>
                    <a:gd name="T24" fmla="*/ 14 w 41"/>
                    <a:gd name="T25" fmla="*/ 3 h 5"/>
                    <a:gd name="T26" fmla="*/ 14 w 41"/>
                    <a:gd name="T27" fmla="*/ 3 h 5"/>
                    <a:gd name="T28" fmla="*/ 25 w 41"/>
                    <a:gd name="T29" fmla="*/ 3 h 5"/>
                    <a:gd name="T30" fmla="*/ 25 w 41"/>
                    <a:gd name="T31" fmla="*/ 1 h 5"/>
                    <a:gd name="T32" fmla="*/ 41 w 41"/>
                    <a:gd name="T33" fmla="*/ 1 h 5"/>
                    <a:gd name="T34" fmla="*/ 41 w 41"/>
                    <a:gd name="T35" fmla="*/ 1 h 5"/>
                    <a:gd name="T36" fmla="*/ 30 w 41"/>
                    <a:gd name="T37" fmla="*/ 1 h 5"/>
                    <a:gd name="T38" fmla="*/ 30 w 41"/>
                    <a:gd name="T39" fmla="*/ 4 h 5"/>
                    <a:gd name="T40" fmla="*/ 30 w 41"/>
                    <a:gd name="T41" fmla="*/ 4 h 5"/>
                    <a:gd name="T42" fmla="*/ 41 w 41"/>
                    <a:gd name="T43" fmla="*/ 4 h 5"/>
                    <a:gd name="T44" fmla="*/ 41 w 41"/>
                    <a:gd name="T45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41" h="5">
                      <a:moveTo>
                        <a:pt x="10" y="0"/>
                      </a:moveTo>
                      <a:lnTo>
                        <a:pt x="10" y="0"/>
                      </a:lnTo>
                      <a:lnTo>
                        <a:pt x="4" y="1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6" y="4"/>
                      </a:lnTo>
                      <a:lnTo>
                        <a:pt x="10" y="3"/>
                      </a:lnTo>
                      <a:lnTo>
                        <a:pt x="10" y="0"/>
                      </a:lnTo>
                      <a:close/>
                      <a:moveTo>
                        <a:pt x="25" y="1"/>
                      </a:moveTo>
                      <a:lnTo>
                        <a:pt x="25" y="1"/>
                      </a:lnTo>
                      <a:lnTo>
                        <a:pt x="14" y="0"/>
                      </a:lnTo>
                      <a:lnTo>
                        <a:pt x="14" y="3"/>
                      </a:lnTo>
                      <a:lnTo>
                        <a:pt x="14" y="3"/>
                      </a:lnTo>
                      <a:lnTo>
                        <a:pt x="25" y="3"/>
                      </a:lnTo>
                      <a:lnTo>
                        <a:pt x="25" y="1"/>
                      </a:lnTo>
                      <a:close/>
                      <a:moveTo>
                        <a:pt x="41" y="1"/>
                      </a:moveTo>
                      <a:lnTo>
                        <a:pt x="41" y="1"/>
                      </a:lnTo>
                      <a:lnTo>
                        <a:pt x="30" y="1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41" y="4"/>
                      </a:lnTo>
                      <a:lnTo>
                        <a:pt x="41" y="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7" name="Freeform 1675"/>
                <p:cNvSpPr>
                  <a:spLocks noEditPoints="1"/>
                </p:cNvSpPr>
                <p:nvPr/>
              </p:nvSpPr>
              <p:spPr bwMode="auto">
                <a:xfrm>
                  <a:off x="4767873" y="2548483"/>
                  <a:ext cx="87055" cy="38581"/>
                </a:xfrm>
                <a:custGeom>
                  <a:avLst/>
                  <a:gdLst>
                    <a:gd name="T0" fmla="*/ 78 w 88"/>
                    <a:gd name="T1" fmla="*/ 11 h 39"/>
                    <a:gd name="T2" fmla="*/ 88 w 88"/>
                    <a:gd name="T3" fmla="*/ 16 h 39"/>
                    <a:gd name="T4" fmla="*/ 79 w 88"/>
                    <a:gd name="T5" fmla="*/ 8 h 39"/>
                    <a:gd name="T6" fmla="*/ 66 w 88"/>
                    <a:gd name="T7" fmla="*/ 3 h 39"/>
                    <a:gd name="T8" fmla="*/ 69 w 88"/>
                    <a:gd name="T9" fmla="*/ 4 h 39"/>
                    <a:gd name="T10" fmla="*/ 74 w 88"/>
                    <a:gd name="T11" fmla="*/ 8 h 39"/>
                    <a:gd name="T12" fmla="*/ 75 w 88"/>
                    <a:gd name="T13" fmla="*/ 6 h 39"/>
                    <a:gd name="T14" fmla="*/ 71 w 88"/>
                    <a:gd name="T15" fmla="*/ 3 h 39"/>
                    <a:gd name="T16" fmla="*/ 66 w 88"/>
                    <a:gd name="T17" fmla="*/ 3 h 39"/>
                    <a:gd name="T18" fmla="*/ 53 w 88"/>
                    <a:gd name="T19" fmla="*/ 7 h 39"/>
                    <a:gd name="T20" fmla="*/ 62 w 88"/>
                    <a:gd name="T21" fmla="*/ 3 h 39"/>
                    <a:gd name="T22" fmla="*/ 61 w 88"/>
                    <a:gd name="T23" fmla="*/ 0 h 39"/>
                    <a:gd name="T24" fmla="*/ 52 w 88"/>
                    <a:gd name="T25" fmla="*/ 6 h 39"/>
                    <a:gd name="T26" fmla="*/ 37 w 88"/>
                    <a:gd name="T27" fmla="*/ 10 h 39"/>
                    <a:gd name="T28" fmla="*/ 42 w 88"/>
                    <a:gd name="T29" fmla="*/ 10 h 39"/>
                    <a:gd name="T30" fmla="*/ 47 w 88"/>
                    <a:gd name="T31" fmla="*/ 10 h 39"/>
                    <a:gd name="T32" fmla="*/ 47 w 88"/>
                    <a:gd name="T33" fmla="*/ 7 h 39"/>
                    <a:gd name="T34" fmla="*/ 47 w 88"/>
                    <a:gd name="T35" fmla="*/ 7 h 39"/>
                    <a:gd name="T36" fmla="*/ 42 w 88"/>
                    <a:gd name="T37" fmla="*/ 7 h 39"/>
                    <a:gd name="T38" fmla="*/ 37 w 88"/>
                    <a:gd name="T39" fmla="*/ 10 h 39"/>
                    <a:gd name="T40" fmla="*/ 23 w 88"/>
                    <a:gd name="T41" fmla="*/ 8 h 39"/>
                    <a:gd name="T42" fmla="*/ 33 w 88"/>
                    <a:gd name="T43" fmla="*/ 7 h 39"/>
                    <a:gd name="T44" fmla="*/ 23 w 88"/>
                    <a:gd name="T45" fmla="*/ 6 h 39"/>
                    <a:gd name="T46" fmla="*/ 10 w 88"/>
                    <a:gd name="T47" fmla="*/ 10 h 39"/>
                    <a:gd name="T48" fmla="*/ 11 w 88"/>
                    <a:gd name="T49" fmla="*/ 7 h 39"/>
                    <a:gd name="T50" fmla="*/ 13 w 88"/>
                    <a:gd name="T51" fmla="*/ 7 h 39"/>
                    <a:gd name="T52" fmla="*/ 17 w 88"/>
                    <a:gd name="T53" fmla="*/ 7 h 39"/>
                    <a:gd name="T54" fmla="*/ 17 w 88"/>
                    <a:gd name="T55" fmla="*/ 6 h 39"/>
                    <a:gd name="T56" fmla="*/ 13 w 88"/>
                    <a:gd name="T57" fmla="*/ 4 h 39"/>
                    <a:gd name="T58" fmla="*/ 10 w 88"/>
                    <a:gd name="T59" fmla="*/ 6 h 39"/>
                    <a:gd name="T60" fmla="*/ 10 w 88"/>
                    <a:gd name="T61" fmla="*/ 10 h 39"/>
                    <a:gd name="T62" fmla="*/ 4 w 88"/>
                    <a:gd name="T63" fmla="*/ 23 h 39"/>
                    <a:gd name="T64" fmla="*/ 5 w 88"/>
                    <a:gd name="T65" fmla="*/ 13 h 39"/>
                    <a:gd name="T66" fmla="*/ 1 w 88"/>
                    <a:gd name="T67" fmla="*/ 23 h 39"/>
                    <a:gd name="T68" fmla="*/ 3 w 88"/>
                    <a:gd name="T69" fmla="*/ 37 h 39"/>
                    <a:gd name="T70" fmla="*/ 3 w 88"/>
                    <a:gd name="T71" fmla="*/ 33 h 39"/>
                    <a:gd name="T72" fmla="*/ 3 w 88"/>
                    <a:gd name="T73" fmla="*/ 33 h 39"/>
                    <a:gd name="T74" fmla="*/ 1 w 88"/>
                    <a:gd name="T75" fmla="*/ 27 h 39"/>
                    <a:gd name="T76" fmla="*/ 0 w 88"/>
                    <a:gd name="T77" fmla="*/ 32 h 39"/>
                    <a:gd name="T78" fmla="*/ 0 w 88"/>
                    <a:gd name="T79" fmla="*/ 33 h 39"/>
                    <a:gd name="T80" fmla="*/ 3 w 88"/>
                    <a:gd name="T81" fmla="*/ 37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88" h="39">
                      <a:moveTo>
                        <a:pt x="78" y="11"/>
                      </a:moveTo>
                      <a:lnTo>
                        <a:pt x="78" y="11"/>
                      </a:lnTo>
                      <a:lnTo>
                        <a:pt x="87" y="17"/>
                      </a:lnTo>
                      <a:lnTo>
                        <a:pt x="88" y="16"/>
                      </a:lnTo>
                      <a:lnTo>
                        <a:pt x="88" y="16"/>
                      </a:lnTo>
                      <a:lnTo>
                        <a:pt x="79" y="8"/>
                      </a:lnTo>
                      <a:lnTo>
                        <a:pt x="78" y="11"/>
                      </a:lnTo>
                      <a:close/>
                      <a:moveTo>
                        <a:pt x="66" y="3"/>
                      </a:moveTo>
                      <a:lnTo>
                        <a:pt x="66" y="3"/>
                      </a:lnTo>
                      <a:lnTo>
                        <a:pt x="69" y="4"/>
                      </a:lnTo>
                      <a:lnTo>
                        <a:pt x="69" y="4"/>
                      </a:lnTo>
                      <a:lnTo>
                        <a:pt x="74" y="8"/>
                      </a:lnTo>
                      <a:lnTo>
                        <a:pt x="75" y="6"/>
                      </a:lnTo>
                      <a:lnTo>
                        <a:pt x="75" y="6"/>
                      </a:lnTo>
                      <a:lnTo>
                        <a:pt x="71" y="3"/>
                      </a:lnTo>
                      <a:lnTo>
                        <a:pt x="71" y="3"/>
                      </a:lnTo>
                      <a:lnTo>
                        <a:pt x="66" y="1"/>
                      </a:lnTo>
                      <a:lnTo>
                        <a:pt x="66" y="3"/>
                      </a:lnTo>
                      <a:close/>
                      <a:moveTo>
                        <a:pt x="53" y="7"/>
                      </a:moveTo>
                      <a:lnTo>
                        <a:pt x="53" y="7"/>
                      </a:lnTo>
                      <a:lnTo>
                        <a:pt x="58" y="4"/>
                      </a:lnTo>
                      <a:lnTo>
                        <a:pt x="62" y="3"/>
                      </a:lnTo>
                      <a:lnTo>
                        <a:pt x="61" y="0"/>
                      </a:lnTo>
                      <a:lnTo>
                        <a:pt x="61" y="0"/>
                      </a:lnTo>
                      <a:lnTo>
                        <a:pt x="56" y="3"/>
                      </a:lnTo>
                      <a:lnTo>
                        <a:pt x="52" y="6"/>
                      </a:lnTo>
                      <a:lnTo>
                        <a:pt x="53" y="7"/>
                      </a:lnTo>
                      <a:close/>
                      <a:moveTo>
                        <a:pt x="37" y="10"/>
                      </a:moveTo>
                      <a:lnTo>
                        <a:pt x="37" y="10"/>
                      </a:lnTo>
                      <a:lnTo>
                        <a:pt x="42" y="10"/>
                      </a:lnTo>
                      <a:lnTo>
                        <a:pt x="42" y="10"/>
                      </a:lnTo>
                      <a:lnTo>
                        <a:pt x="47" y="10"/>
                      </a:lnTo>
                      <a:lnTo>
                        <a:pt x="47" y="10"/>
                      </a:lnTo>
                      <a:lnTo>
                        <a:pt x="47" y="7"/>
                      </a:lnTo>
                      <a:lnTo>
                        <a:pt x="47" y="7"/>
                      </a:lnTo>
                      <a:lnTo>
                        <a:pt x="47" y="7"/>
                      </a:lnTo>
                      <a:lnTo>
                        <a:pt x="42" y="7"/>
                      </a:lnTo>
                      <a:lnTo>
                        <a:pt x="42" y="7"/>
                      </a:lnTo>
                      <a:lnTo>
                        <a:pt x="37" y="7"/>
                      </a:lnTo>
                      <a:lnTo>
                        <a:pt x="37" y="10"/>
                      </a:lnTo>
                      <a:close/>
                      <a:moveTo>
                        <a:pt x="23" y="8"/>
                      </a:moveTo>
                      <a:lnTo>
                        <a:pt x="23" y="8"/>
                      </a:lnTo>
                      <a:lnTo>
                        <a:pt x="33" y="10"/>
                      </a:lnTo>
                      <a:lnTo>
                        <a:pt x="33" y="7"/>
                      </a:lnTo>
                      <a:lnTo>
                        <a:pt x="33" y="7"/>
                      </a:lnTo>
                      <a:lnTo>
                        <a:pt x="23" y="6"/>
                      </a:lnTo>
                      <a:lnTo>
                        <a:pt x="23" y="8"/>
                      </a:lnTo>
                      <a:close/>
                      <a:moveTo>
                        <a:pt x="10" y="10"/>
                      </a:moveTo>
                      <a:lnTo>
                        <a:pt x="10" y="10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13" y="7"/>
                      </a:lnTo>
                      <a:lnTo>
                        <a:pt x="13" y="7"/>
                      </a:lnTo>
                      <a:lnTo>
                        <a:pt x="17" y="7"/>
                      </a:lnTo>
                      <a:lnTo>
                        <a:pt x="17" y="6"/>
                      </a:lnTo>
                      <a:lnTo>
                        <a:pt x="17" y="6"/>
                      </a:lnTo>
                      <a:lnTo>
                        <a:pt x="13" y="4"/>
                      </a:lnTo>
                      <a:lnTo>
                        <a:pt x="13" y="4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7" y="8"/>
                      </a:lnTo>
                      <a:lnTo>
                        <a:pt x="10" y="10"/>
                      </a:lnTo>
                      <a:close/>
                      <a:moveTo>
                        <a:pt x="4" y="23"/>
                      </a:moveTo>
                      <a:lnTo>
                        <a:pt x="4" y="23"/>
                      </a:lnTo>
                      <a:lnTo>
                        <a:pt x="7" y="14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1" y="23"/>
                      </a:lnTo>
                      <a:lnTo>
                        <a:pt x="4" y="23"/>
                      </a:lnTo>
                      <a:close/>
                      <a:moveTo>
                        <a:pt x="3" y="37"/>
                      </a:moveTo>
                      <a:lnTo>
                        <a:pt x="3" y="37"/>
                      </a:lnTo>
                      <a:lnTo>
                        <a:pt x="3" y="33"/>
                      </a:lnTo>
                      <a:lnTo>
                        <a:pt x="3" y="33"/>
                      </a:lnTo>
                      <a:lnTo>
                        <a:pt x="3" y="33"/>
                      </a:lnTo>
                      <a:lnTo>
                        <a:pt x="3" y="29"/>
                      </a:lnTo>
                      <a:lnTo>
                        <a:pt x="1" y="27"/>
                      </a:lnTo>
                      <a:lnTo>
                        <a:pt x="1" y="27"/>
                      </a:lnTo>
                      <a:lnTo>
                        <a:pt x="0" y="32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1" y="39"/>
                      </a:lnTo>
                      <a:lnTo>
                        <a:pt x="3" y="3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28" name="Freeform 1676"/>
                <p:cNvSpPr>
                  <a:spLocks noEditPoints="1"/>
                </p:cNvSpPr>
                <p:nvPr/>
              </p:nvSpPr>
              <p:spPr bwMode="auto">
                <a:xfrm>
                  <a:off x="4737206" y="2501988"/>
                  <a:ext cx="49463" cy="53420"/>
                </a:xfrm>
                <a:custGeom>
                  <a:avLst/>
                  <a:gdLst>
                    <a:gd name="T0" fmla="*/ 3 w 50"/>
                    <a:gd name="T1" fmla="*/ 5 h 54"/>
                    <a:gd name="T2" fmla="*/ 0 w 50"/>
                    <a:gd name="T3" fmla="*/ 0 h 54"/>
                    <a:gd name="T4" fmla="*/ 2 w 50"/>
                    <a:gd name="T5" fmla="*/ 5 h 54"/>
                    <a:gd name="T6" fmla="*/ 10 w 50"/>
                    <a:gd name="T7" fmla="*/ 18 h 54"/>
                    <a:gd name="T8" fmla="*/ 5 w 50"/>
                    <a:gd name="T9" fmla="*/ 9 h 54"/>
                    <a:gd name="T10" fmla="*/ 3 w 50"/>
                    <a:gd name="T11" fmla="*/ 11 h 54"/>
                    <a:gd name="T12" fmla="*/ 10 w 50"/>
                    <a:gd name="T13" fmla="*/ 18 h 54"/>
                    <a:gd name="T14" fmla="*/ 21 w 50"/>
                    <a:gd name="T15" fmla="*/ 29 h 54"/>
                    <a:gd name="T16" fmla="*/ 15 w 50"/>
                    <a:gd name="T17" fmla="*/ 22 h 54"/>
                    <a:gd name="T18" fmla="*/ 12 w 50"/>
                    <a:gd name="T19" fmla="*/ 24 h 54"/>
                    <a:gd name="T20" fmla="*/ 13 w 50"/>
                    <a:gd name="T21" fmla="*/ 25 h 54"/>
                    <a:gd name="T22" fmla="*/ 16 w 50"/>
                    <a:gd name="T23" fmla="*/ 28 h 54"/>
                    <a:gd name="T24" fmla="*/ 21 w 50"/>
                    <a:gd name="T25" fmla="*/ 29 h 54"/>
                    <a:gd name="T26" fmla="*/ 31 w 50"/>
                    <a:gd name="T27" fmla="*/ 35 h 54"/>
                    <a:gd name="T28" fmla="*/ 28 w 50"/>
                    <a:gd name="T29" fmla="*/ 35 h 54"/>
                    <a:gd name="T30" fmla="*/ 25 w 50"/>
                    <a:gd name="T31" fmla="*/ 35 h 54"/>
                    <a:gd name="T32" fmla="*/ 21 w 50"/>
                    <a:gd name="T33" fmla="*/ 35 h 54"/>
                    <a:gd name="T34" fmla="*/ 23 w 50"/>
                    <a:gd name="T35" fmla="*/ 37 h 54"/>
                    <a:gd name="T36" fmla="*/ 28 w 50"/>
                    <a:gd name="T37" fmla="*/ 38 h 54"/>
                    <a:gd name="T38" fmla="*/ 32 w 50"/>
                    <a:gd name="T39" fmla="*/ 38 h 54"/>
                    <a:gd name="T40" fmla="*/ 42 w 50"/>
                    <a:gd name="T41" fmla="*/ 40 h 54"/>
                    <a:gd name="T42" fmla="*/ 42 w 50"/>
                    <a:gd name="T43" fmla="*/ 38 h 54"/>
                    <a:gd name="T44" fmla="*/ 42 w 50"/>
                    <a:gd name="T45" fmla="*/ 37 h 54"/>
                    <a:gd name="T46" fmla="*/ 42 w 50"/>
                    <a:gd name="T47" fmla="*/ 34 h 54"/>
                    <a:gd name="T48" fmla="*/ 39 w 50"/>
                    <a:gd name="T49" fmla="*/ 34 h 54"/>
                    <a:gd name="T50" fmla="*/ 36 w 50"/>
                    <a:gd name="T51" fmla="*/ 34 h 54"/>
                    <a:gd name="T52" fmla="*/ 36 w 50"/>
                    <a:gd name="T53" fmla="*/ 37 h 54"/>
                    <a:gd name="T54" fmla="*/ 39 w 50"/>
                    <a:gd name="T55" fmla="*/ 35 h 54"/>
                    <a:gd name="T56" fmla="*/ 39 w 50"/>
                    <a:gd name="T57" fmla="*/ 35 h 54"/>
                    <a:gd name="T58" fmla="*/ 39 w 50"/>
                    <a:gd name="T59" fmla="*/ 35 h 54"/>
                    <a:gd name="T60" fmla="*/ 39 w 50"/>
                    <a:gd name="T61" fmla="*/ 35 h 54"/>
                    <a:gd name="T62" fmla="*/ 39 w 50"/>
                    <a:gd name="T63" fmla="*/ 35 h 54"/>
                    <a:gd name="T64" fmla="*/ 39 w 50"/>
                    <a:gd name="T65" fmla="*/ 35 h 54"/>
                    <a:gd name="T66" fmla="*/ 39 w 50"/>
                    <a:gd name="T67" fmla="*/ 35 h 54"/>
                    <a:gd name="T68" fmla="*/ 39 w 50"/>
                    <a:gd name="T69" fmla="*/ 35 h 54"/>
                    <a:gd name="T70" fmla="*/ 39 w 50"/>
                    <a:gd name="T71" fmla="*/ 35 h 54"/>
                    <a:gd name="T72" fmla="*/ 39 w 50"/>
                    <a:gd name="T73" fmla="*/ 37 h 54"/>
                    <a:gd name="T74" fmla="*/ 39 w 50"/>
                    <a:gd name="T75" fmla="*/ 38 h 54"/>
                    <a:gd name="T76" fmla="*/ 42 w 50"/>
                    <a:gd name="T77" fmla="*/ 40 h 54"/>
                    <a:gd name="T78" fmla="*/ 50 w 50"/>
                    <a:gd name="T79" fmla="*/ 53 h 54"/>
                    <a:gd name="T80" fmla="*/ 45 w 50"/>
                    <a:gd name="T81" fmla="*/ 42 h 54"/>
                    <a:gd name="T82" fmla="*/ 44 w 50"/>
                    <a:gd name="T83" fmla="*/ 45 h 54"/>
                    <a:gd name="T84" fmla="*/ 47 w 50"/>
                    <a:gd name="T85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50" h="54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5"/>
                      </a:lnTo>
                      <a:lnTo>
                        <a:pt x="3" y="5"/>
                      </a:lnTo>
                      <a:close/>
                      <a:moveTo>
                        <a:pt x="10" y="18"/>
                      </a:moveTo>
                      <a:lnTo>
                        <a:pt x="10" y="18"/>
                      </a:lnTo>
                      <a:lnTo>
                        <a:pt x="5" y="9"/>
                      </a:lnTo>
                      <a:lnTo>
                        <a:pt x="3" y="11"/>
                      </a:lnTo>
                      <a:lnTo>
                        <a:pt x="3" y="11"/>
                      </a:lnTo>
                      <a:lnTo>
                        <a:pt x="8" y="19"/>
                      </a:lnTo>
                      <a:lnTo>
                        <a:pt x="10" y="18"/>
                      </a:lnTo>
                      <a:close/>
                      <a:moveTo>
                        <a:pt x="21" y="29"/>
                      </a:moveTo>
                      <a:lnTo>
                        <a:pt x="21" y="29"/>
                      </a:lnTo>
                      <a:lnTo>
                        <a:pt x="18" y="26"/>
                      </a:lnTo>
                      <a:lnTo>
                        <a:pt x="15" y="22"/>
                      </a:lnTo>
                      <a:lnTo>
                        <a:pt x="13" y="22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3" y="25"/>
                      </a:lnTo>
                      <a:lnTo>
                        <a:pt x="13" y="25"/>
                      </a:lnTo>
                      <a:lnTo>
                        <a:pt x="16" y="28"/>
                      </a:lnTo>
                      <a:lnTo>
                        <a:pt x="18" y="31"/>
                      </a:lnTo>
                      <a:lnTo>
                        <a:pt x="21" y="29"/>
                      </a:lnTo>
                      <a:close/>
                      <a:moveTo>
                        <a:pt x="31" y="35"/>
                      </a:moveTo>
                      <a:lnTo>
                        <a:pt x="31" y="35"/>
                      </a:lnTo>
                      <a:lnTo>
                        <a:pt x="28" y="35"/>
                      </a:lnTo>
                      <a:lnTo>
                        <a:pt x="28" y="35"/>
                      </a:lnTo>
                      <a:lnTo>
                        <a:pt x="25" y="35"/>
                      </a:lnTo>
                      <a:lnTo>
                        <a:pt x="25" y="35"/>
                      </a:lnTo>
                      <a:lnTo>
                        <a:pt x="23" y="34"/>
                      </a:lnTo>
                      <a:lnTo>
                        <a:pt x="21" y="35"/>
                      </a:lnTo>
                      <a:lnTo>
                        <a:pt x="21" y="35"/>
                      </a:lnTo>
                      <a:lnTo>
                        <a:pt x="23" y="37"/>
                      </a:lnTo>
                      <a:lnTo>
                        <a:pt x="23" y="37"/>
                      </a:lnTo>
                      <a:lnTo>
                        <a:pt x="28" y="38"/>
                      </a:lnTo>
                      <a:lnTo>
                        <a:pt x="28" y="38"/>
                      </a:lnTo>
                      <a:lnTo>
                        <a:pt x="32" y="38"/>
                      </a:lnTo>
                      <a:lnTo>
                        <a:pt x="31" y="35"/>
                      </a:lnTo>
                      <a:close/>
                      <a:moveTo>
                        <a:pt x="42" y="40"/>
                      </a:moveTo>
                      <a:lnTo>
                        <a:pt x="42" y="38"/>
                      </a:lnTo>
                      <a:lnTo>
                        <a:pt x="42" y="38"/>
                      </a:lnTo>
                      <a:lnTo>
                        <a:pt x="42" y="37"/>
                      </a:lnTo>
                      <a:lnTo>
                        <a:pt x="42" y="37"/>
                      </a:lnTo>
                      <a:lnTo>
                        <a:pt x="42" y="34"/>
                      </a:lnTo>
                      <a:lnTo>
                        <a:pt x="42" y="34"/>
                      </a:lnTo>
                      <a:lnTo>
                        <a:pt x="39" y="34"/>
                      </a:lnTo>
                      <a:lnTo>
                        <a:pt x="39" y="34"/>
                      </a:lnTo>
                      <a:lnTo>
                        <a:pt x="39" y="34"/>
                      </a:lnTo>
                      <a:lnTo>
                        <a:pt x="36" y="34"/>
                      </a:lnTo>
                      <a:lnTo>
                        <a:pt x="36" y="37"/>
                      </a:lnTo>
                      <a:lnTo>
                        <a:pt x="36" y="37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5"/>
                      </a:lnTo>
                      <a:lnTo>
                        <a:pt x="39" y="37"/>
                      </a:lnTo>
                      <a:lnTo>
                        <a:pt x="39" y="37"/>
                      </a:lnTo>
                      <a:lnTo>
                        <a:pt x="39" y="38"/>
                      </a:lnTo>
                      <a:lnTo>
                        <a:pt x="39" y="38"/>
                      </a:lnTo>
                      <a:lnTo>
                        <a:pt x="39" y="41"/>
                      </a:lnTo>
                      <a:lnTo>
                        <a:pt x="42" y="40"/>
                      </a:lnTo>
                      <a:close/>
                      <a:moveTo>
                        <a:pt x="50" y="53"/>
                      </a:moveTo>
                      <a:lnTo>
                        <a:pt x="50" y="53"/>
                      </a:lnTo>
                      <a:lnTo>
                        <a:pt x="48" y="48"/>
                      </a:lnTo>
                      <a:lnTo>
                        <a:pt x="45" y="42"/>
                      </a:lnTo>
                      <a:lnTo>
                        <a:pt x="44" y="45"/>
                      </a:lnTo>
                      <a:lnTo>
                        <a:pt x="44" y="45"/>
                      </a:lnTo>
                      <a:lnTo>
                        <a:pt x="45" y="48"/>
                      </a:lnTo>
                      <a:lnTo>
                        <a:pt x="47" y="54"/>
                      </a:lnTo>
                      <a:lnTo>
                        <a:pt x="50" y="5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1" name="Freeform 1679"/>
                <p:cNvSpPr>
                  <a:spLocks noEditPoints="1"/>
                </p:cNvSpPr>
                <p:nvPr/>
              </p:nvSpPr>
              <p:spPr bwMode="auto">
                <a:xfrm>
                  <a:off x="4817336" y="2444611"/>
                  <a:ext cx="63313" cy="76173"/>
                </a:xfrm>
                <a:custGeom>
                  <a:avLst/>
                  <a:gdLst>
                    <a:gd name="T0" fmla="*/ 3 w 64"/>
                    <a:gd name="T1" fmla="*/ 8 h 77"/>
                    <a:gd name="T2" fmla="*/ 2 w 64"/>
                    <a:gd name="T3" fmla="*/ 14 h 77"/>
                    <a:gd name="T4" fmla="*/ 5 w 64"/>
                    <a:gd name="T5" fmla="*/ 9 h 77"/>
                    <a:gd name="T6" fmla="*/ 18 w 64"/>
                    <a:gd name="T7" fmla="*/ 0 h 77"/>
                    <a:gd name="T8" fmla="*/ 8 w 64"/>
                    <a:gd name="T9" fmla="*/ 5 h 77"/>
                    <a:gd name="T10" fmla="*/ 9 w 64"/>
                    <a:gd name="T11" fmla="*/ 8 h 77"/>
                    <a:gd name="T12" fmla="*/ 18 w 64"/>
                    <a:gd name="T13" fmla="*/ 0 h 77"/>
                    <a:gd name="T14" fmla="*/ 34 w 64"/>
                    <a:gd name="T15" fmla="*/ 0 h 77"/>
                    <a:gd name="T16" fmla="*/ 29 w 64"/>
                    <a:gd name="T17" fmla="*/ 0 h 77"/>
                    <a:gd name="T18" fmla="*/ 24 w 64"/>
                    <a:gd name="T19" fmla="*/ 3 h 77"/>
                    <a:gd name="T20" fmla="*/ 29 w 64"/>
                    <a:gd name="T21" fmla="*/ 2 h 77"/>
                    <a:gd name="T22" fmla="*/ 32 w 64"/>
                    <a:gd name="T23" fmla="*/ 3 h 77"/>
                    <a:gd name="T24" fmla="*/ 47 w 64"/>
                    <a:gd name="T25" fmla="*/ 8 h 77"/>
                    <a:gd name="T26" fmla="*/ 38 w 64"/>
                    <a:gd name="T27" fmla="*/ 2 h 77"/>
                    <a:gd name="T28" fmla="*/ 38 w 64"/>
                    <a:gd name="T29" fmla="*/ 5 h 77"/>
                    <a:gd name="T30" fmla="*/ 47 w 64"/>
                    <a:gd name="T31" fmla="*/ 8 h 77"/>
                    <a:gd name="T32" fmla="*/ 58 w 64"/>
                    <a:gd name="T33" fmla="*/ 19 h 77"/>
                    <a:gd name="T34" fmla="*/ 50 w 64"/>
                    <a:gd name="T35" fmla="*/ 14 h 77"/>
                    <a:gd name="T36" fmla="*/ 57 w 64"/>
                    <a:gd name="T37" fmla="*/ 21 h 77"/>
                    <a:gd name="T38" fmla="*/ 64 w 64"/>
                    <a:gd name="T39" fmla="*/ 34 h 77"/>
                    <a:gd name="T40" fmla="*/ 61 w 64"/>
                    <a:gd name="T41" fmla="*/ 24 h 77"/>
                    <a:gd name="T42" fmla="*/ 58 w 64"/>
                    <a:gd name="T43" fmla="*/ 25 h 77"/>
                    <a:gd name="T44" fmla="*/ 64 w 64"/>
                    <a:gd name="T45" fmla="*/ 34 h 77"/>
                    <a:gd name="T46" fmla="*/ 63 w 64"/>
                    <a:gd name="T47" fmla="*/ 50 h 77"/>
                    <a:gd name="T48" fmla="*/ 64 w 64"/>
                    <a:gd name="T49" fmla="*/ 40 h 77"/>
                    <a:gd name="T50" fmla="*/ 61 w 64"/>
                    <a:gd name="T51" fmla="*/ 40 h 77"/>
                    <a:gd name="T52" fmla="*/ 61 w 64"/>
                    <a:gd name="T53" fmla="*/ 40 h 77"/>
                    <a:gd name="T54" fmla="*/ 63 w 64"/>
                    <a:gd name="T55" fmla="*/ 50 h 77"/>
                    <a:gd name="T56" fmla="*/ 55 w 64"/>
                    <a:gd name="T57" fmla="*/ 63 h 77"/>
                    <a:gd name="T58" fmla="*/ 57 w 64"/>
                    <a:gd name="T59" fmla="*/ 53 h 77"/>
                    <a:gd name="T60" fmla="*/ 54 w 64"/>
                    <a:gd name="T61" fmla="*/ 63 h 77"/>
                    <a:gd name="T62" fmla="*/ 51 w 64"/>
                    <a:gd name="T63" fmla="*/ 77 h 77"/>
                    <a:gd name="T64" fmla="*/ 54 w 64"/>
                    <a:gd name="T65" fmla="*/ 67 h 77"/>
                    <a:gd name="T66" fmla="*/ 51 w 64"/>
                    <a:gd name="T67" fmla="*/ 67 h 77"/>
                    <a:gd name="T68" fmla="*/ 51 w 64"/>
                    <a:gd name="T69" fmla="*/ 77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64" h="77">
                      <a:moveTo>
                        <a:pt x="3" y="8"/>
                      </a:moveTo>
                      <a:lnTo>
                        <a:pt x="3" y="8"/>
                      </a:lnTo>
                      <a:lnTo>
                        <a:pt x="0" y="11"/>
                      </a:lnTo>
                      <a:lnTo>
                        <a:pt x="2" y="14"/>
                      </a:lnTo>
                      <a:lnTo>
                        <a:pt x="2" y="14"/>
                      </a:lnTo>
                      <a:lnTo>
                        <a:pt x="5" y="9"/>
                      </a:lnTo>
                      <a:lnTo>
                        <a:pt x="3" y="8"/>
                      </a:lnTo>
                      <a:close/>
                      <a:moveTo>
                        <a:pt x="18" y="0"/>
                      </a:moveTo>
                      <a:lnTo>
                        <a:pt x="18" y="0"/>
                      </a:lnTo>
                      <a:lnTo>
                        <a:pt x="8" y="5"/>
                      </a:lnTo>
                      <a:lnTo>
                        <a:pt x="9" y="8"/>
                      </a:lnTo>
                      <a:lnTo>
                        <a:pt x="9" y="8"/>
                      </a:lnTo>
                      <a:lnTo>
                        <a:pt x="19" y="3"/>
                      </a:lnTo>
                      <a:lnTo>
                        <a:pt x="18" y="0"/>
                      </a:lnTo>
                      <a:close/>
                      <a:moveTo>
                        <a:pt x="34" y="0"/>
                      </a:moveTo>
                      <a:lnTo>
                        <a:pt x="34" y="0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24" y="0"/>
                      </a:lnTo>
                      <a:lnTo>
                        <a:pt x="24" y="3"/>
                      </a:lnTo>
                      <a:lnTo>
                        <a:pt x="24" y="3"/>
                      </a:lnTo>
                      <a:lnTo>
                        <a:pt x="29" y="2"/>
                      </a:lnTo>
                      <a:lnTo>
                        <a:pt x="29" y="2"/>
                      </a:lnTo>
                      <a:lnTo>
                        <a:pt x="32" y="3"/>
                      </a:lnTo>
                      <a:lnTo>
                        <a:pt x="34" y="0"/>
                      </a:lnTo>
                      <a:close/>
                      <a:moveTo>
                        <a:pt x="47" y="8"/>
                      </a:moveTo>
                      <a:lnTo>
                        <a:pt x="47" y="8"/>
                      </a:lnTo>
                      <a:lnTo>
                        <a:pt x="38" y="2"/>
                      </a:lnTo>
                      <a:lnTo>
                        <a:pt x="38" y="5"/>
                      </a:lnTo>
                      <a:lnTo>
                        <a:pt x="38" y="5"/>
                      </a:lnTo>
                      <a:lnTo>
                        <a:pt x="45" y="11"/>
                      </a:lnTo>
                      <a:lnTo>
                        <a:pt x="47" y="8"/>
                      </a:lnTo>
                      <a:close/>
                      <a:moveTo>
                        <a:pt x="58" y="19"/>
                      </a:moveTo>
                      <a:lnTo>
                        <a:pt x="58" y="19"/>
                      </a:lnTo>
                      <a:lnTo>
                        <a:pt x="51" y="12"/>
                      </a:lnTo>
                      <a:lnTo>
                        <a:pt x="50" y="14"/>
                      </a:lnTo>
                      <a:lnTo>
                        <a:pt x="50" y="14"/>
                      </a:lnTo>
                      <a:lnTo>
                        <a:pt x="57" y="21"/>
                      </a:lnTo>
                      <a:lnTo>
                        <a:pt x="58" y="19"/>
                      </a:lnTo>
                      <a:close/>
                      <a:moveTo>
                        <a:pt x="64" y="34"/>
                      </a:moveTo>
                      <a:lnTo>
                        <a:pt x="64" y="34"/>
                      </a:lnTo>
                      <a:lnTo>
                        <a:pt x="61" y="24"/>
                      </a:lnTo>
                      <a:lnTo>
                        <a:pt x="58" y="25"/>
                      </a:lnTo>
                      <a:lnTo>
                        <a:pt x="58" y="25"/>
                      </a:lnTo>
                      <a:lnTo>
                        <a:pt x="61" y="34"/>
                      </a:lnTo>
                      <a:lnTo>
                        <a:pt x="64" y="34"/>
                      </a:lnTo>
                      <a:close/>
                      <a:moveTo>
                        <a:pt x="63" y="50"/>
                      </a:moveTo>
                      <a:lnTo>
                        <a:pt x="63" y="50"/>
                      </a:lnTo>
                      <a:lnTo>
                        <a:pt x="64" y="45"/>
                      </a:lnTo>
                      <a:lnTo>
                        <a:pt x="64" y="40"/>
                      </a:lnTo>
                      <a:lnTo>
                        <a:pt x="64" y="40"/>
                      </a:lnTo>
                      <a:lnTo>
                        <a:pt x="61" y="40"/>
                      </a:lnTo>
                      <a:lnTo>
                        <a:pt x="61" y="40"/>
                      </a:lnTo>
                      <a:lnTo>
                        <a:pt x="61" y="40"/>
                      </a:lnTo>
                      <a:lnTo>
                        <a:pt x="60" y="48"/>
                      </a:lnTo>
                      <a:lnTo>
                        <a:pt x="63" y="50"/>
                      </a:lnTo>
                      <a:close/>
                      <a:moveTo>
                        <a:pt x="55" y="63"/>
                      </a:moveTo>
                      <a:lnTo>
                        <a:pt x="55" y="63"/>
                      </a:lnTo>
                      <a:lnTo>
                        <a:pt x="60" y="54"/>
                      </a:lnTo>
                      <a:lnTo>
                        <a:pt x="57" y="53"/>
                      </a:lnTo>
                      <a:lnTo>
                        <a:pt x="57" y="53"/>
                      </a:lnTo>
                      <a:lnTo>
                        <a:pt x="54" y="63"/>
                      </a:lnTo>
                      <a:lnTo>
                        <a:pt x="55" y="63"/>
                      </a:lnTo>
                      <a:close/>
                      <a:moveTo>
                        <a:pt x="51" y="77"/>
                      </a:moveTo>
                      <a:lnTo>
                        <a:pt x="51" y="77"/>
                      </a:lnTo>
                      <a:lnTo>
                        <a:pt x="54" y="67"/>
                      </a:lnTo>
                      <a:lnTo>
                        <a:pt x="51" y="67"/>
                      </a:lnTo>
                      <a:lnTo>
                        <a:pt x="51" y="67"/>
                      </a:lnTo>
                      <a:lnTo>
                        <a:pt x="50" y="77"/>
                      </a:lnTo>
                      <a:lnTo>
                        <a:pt x="51" y="7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7" name="Freeform 1685"/>
                <p:cNvSpPr>
                  <a:spLocks noEditPoints="1"/>
                </p:cNvSpPr>
                <p:nvPr/>
              </p:nvSpPr>
              <p:spPr bwMode="auto">
                <a:xfrm>
                  <a:off x="4522536" y="2484181"/>
                  <a:ext cx="107829" cy="29678"/>
                </a:xfrm>
                <a:custGeom>
                  <a:avLst/>
                  <a:gdLst>
                    <a:gd name="T0" fmla="*/ 10 w 109"/>
                    <a:gd name="T1" fmla="*/ 20 h 30"/>
                    <a:gd name="T2" fmla="*/ 0 w 109"/>
                    <a:gd name="T3" fmla="*/ 24 h 30"/>
                    <a:gd name="T4" fmla="*/ 10 w 109"/>
                    <a:gd name="T5" fmla="*/ 23 h 30"/>
                    <a:gd name="T6" fmla="*/ 25 w 109"/>
                    <a:gd name="T7" fmla="*/ 18 h 30"/>
                    <a:gd name="T8" fmla="*/ 25 w 109"/>
                    <a:gd name="T9" fmla="*/ 18 h 30"/>
                    <a:gd name="T10" fmla="*/ 16 w 109"/>
                    <a:gd name="T11" fmla="*/ 21 h 30"/>
                    <a:gd name="T12" fmla="*/ 25 w 109"/>
                    <a:gd name="T13" fmla="*/ 21 h 30"/>
                    <a:gd name="T14" fmla="*/ 25 w 109"/>
                    <a:gd name="T15" fmla="*/ 18 h 30"/>
                    <a:gd name="T16" fmla="*/ 41 w 109"/>
                    <a:gd name="T17" fmla="*/ 18 h 30"/>
                    <a:gd name="T18" fmla="*/ 30 w 109"/>
                    <a:gd name="T19" fmla="*/ 21 h 30"/>
                    <a:gd name="T20" fmla="*/ 41 w 109"/>
                    <a:gd name="T21" fmla="*/ 21 h 30"/>
                    <a:gd name="T22" fmla="*/ 52 w 109"/>
                    <a:gd name="T23" fmla="*/ 14 h 30"/>
                    <a:gd name="T24" fmla="*/ 49 w 109"/>
                    <a:gd name="T25" fmla="*/ 17 h 30"/>
                    <a:gd name="T26" fmla="*/ 46 w 109"/>
                    <a:gd name="T27" fmla="*/ 18 h 30"/>
                    <a:gd name="T28" fmla="*/ 45 w 109"/>
                    <a:gd name="T29" fmla="*/ 18 h 30"/>
                    <a:gd name="T30" fmla="*/ 45 w 109"/>
                    <a:gd name="T31" fmla="*/ 21 h 30"/>
                    <a:gd name="T32" fmla="*/ 48 w 109"/>
                    <a:gd name="T33" fmla="*/ 21 h 30"/>
                    <a:gd name="T34" fmla="*/ 51 w 109"/>
                    <a:gd name="T35" fmla="*/ 18 h 30"/>
                    <a:gd name="T36" fmla="*/ 52 w 109"/>
                    <a:gd name="T37" fmla="*/ 14 h 30"/>
                    <a:gd name="T38" fmla="*/ 67 w 109"/>
                    <a:gd name="T39" fmla="*/ 5 h 30"/>
                    <a:gd name="T40" fmla="*/ 64 w 109"/>
                    <a:gd name="T41" fmla="*/ 7 h 30"/>
                    <a:gd name="T42" fmla="*/ 57 w 109"/>
                    <a:gd name="T43" fmla="*/ 10 h 30"/>
                    <a:gd name="T44" fmla="*/ 58 w 109"/>
                    <a:gd name="T45" fmla="*/ 13 h 30"/>
                    <a:gd name="T46" fmla="*/ 64 w 109"/>
                    <a:gd name="T47" fmla="*/ 10 h 30"/>
                    <a:gd name="T48" fmla="*/ 67 w 109"/>
                    <a:gd name="T49" fmla="*/ 5 h 30"/>
                    <a:gd name="T50" fmla="*/ 80 w 109"/>
                    <a:gd name="T51" fmla="*/ 0 h 30"/>
                    <a:gd name="T52" fmla="*/ 71 w 109"/>
                    <a:gd name="T53" fmla="*/ 4 h 30"/>
                    <a:gd name="T54" fmla="*/ 71 w 109"/>
                    <a:gd name="T55" fmla="*/ 5 h 30"/>
                    <a:gd name="T56" fmla="*/ 81 w 109"/>
                    <a:gd name="T57" fmla="*/ 2 h 30"/>
                    <a:gd name="T58" fmla="*/ 96 w 109"/>
                    <a:gd name="T59" fmla="*/ 5 h 30"/>
                    <a:gd name="T60" fmla="*/ 85 w 109"/>
                    <a:gd name="T61" fmla="*/ 1 h 30"/>
                    <a:gd name="T62" fmla="*/ 85 w 109"/>
                    <a:gd name="T63" fmla="*/ 2 h 30"/>
                    <a:gd name="T64" fmla="*/ 96 w 109"/>
                    <a:gd name="T65" fmla="*/ 5 h 30"/>
                    <a:gd name="T66" fmla="*/ 107 w 109"/>
                    <a:gd name="T67" fmla="*/ 16 h 30"/>
                    <a:gd name="T68" fmla="*/ 100 w 109"/>
                    <a:gd name="T69" fmla="*/ 8 h 30"/>
                    <a:gd name="T70" fmla="*/ 99 w 109"/>
                    <a:gd name="T71" fmla="*/ 10 h 30"/>
                    <a:gd name="T72" fmla="*/ 104 w 109"/>
                    <a:gd name="T73" fmla="*/ 17 h 30"/>
                    <a:gd name="T74" fmla="*/ 104 w 109"/>
                    <a:gd name="T75" fmla="*/ 30 h 30"/>
                    <a:gd name="T76" fmla="*/ 107 w 109"/>
                    <a:gd name="T77" fmla="*/ 26 h 30"/>
                    <a:gd name="T78" fmla="*/ 106 w 109"/>
                    <a:gd name="T79" fmla="*/ 20 h 30"/>
                    <a:gd name="T80" fmla="*/ 101 w 109"/>
                    <a:gd name="T81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09" h="30">
                      <a:moveTo>
                        <a:pt x="10" y="20"/>
                      </a:moveTo>
                      <a:lnTo>
                        <a:pt x="10" y="20"/>
                      </a:lnTo>
                      <a:lnTo>
                        <a:pt x="0" y="21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10" y="23"/>
                      </a:lnTo>
                      <a:lnTo>
                        <a:pt x="10" y="20"/>
                      </a:lnTo>
                      <a:close/>
                      <a:moveTo>
                        <a:pt x="25" y="18"/>
                      </a:moveTo>
                      <a:lnTo>
                        <a:pt x="25" y="18"/>
                      </a:lnTo>
                      <a:lnTo>
                        <a:pt x="25" y="18"/>
                      </a:lnTo>
                      <a:lnTo>
                        <a:pt x="15" y="18"/>
                      </a:lnTo>
                      <a:lnTo>
                        <a:pt x="16" y="21"/>
                      </a:lnTo>
                      <a:lnTo>
                        <a:pt x="16" y="21"/>
                      </a:lnTo>
                      <a:lnTo>
                        <a:pt x="25" y="21"/>
                      </a:lnTo>
                      <a:lnTo>
                        <a:pt x="25" y="21"/>
                      </a:lnTo>
                      <a:lnTo>
                        <a:pt x="25" y="18"/>
                      </a:lnTo>
                      <a:close/>
                      <a:moveTo>
                        <a:pt x="41" y="18"/>
                      </a:moveTo>
                      <a:lnTo>
                        <a:pt x="41" y="18"/>
                      </a:lnTo>
                      <a:lnTo>
                        <a:pt x="30" y="18"/>
                      </a:lnTo>
                      <a:lnTo>
                        <a:pt x="30" y="21"/>
                      </a:lnTo>
                      <a:lnTo>
                        <a:pt x="30" y="21"/>
                      </a:lnTo>
                      <a:lnTo>
                        <a:pt x="41" y="21"/>
                      </a:lnTo>
                      <a:lnTo>
                        <a:pt x="41" y="18"/>
                      </a:lnTo>
                      <a:close/>
                      <a:moveTo>
                        <a:pt x="52" y="14"/>
                      </a:moveTo>
                      <a:lnTo>
                        <a:pt x="52" y="14"/>
                      </a:lnTo>
                      <a:lnTo>
                        <a:pt x="49" y="17"/>
                      </a:lnTo>
                      <a:lnTo>
                        <a:pt x="49" y="17"/>
                      </a:lnTo>
                      <a:lnTo>
                        <a:pt x="46" y="18"/>
                      </a:lnTo>
                      <a:lnTo>
                        <a:pt x="46" y="18"/>
                      </a:lnTo>
                      <a:lnTo>
                        <a:pt x="45" y="18"/>
                      </a:lnTo>
                      <a:lnTo>
                        <a:pt x="45" y="21"/>
                      </a:lnTo>
                      <a:lnTo>
                        <a:pt x="45" y="21"/>
                      </a:lnTo>
                      <a:lnTo>
                        <a:pt x="48" y="21"/>
                      </a:lnTo>
                      <a:lnTo>
                        <a:pt x="48" y="21"/>
                      </a:lnTo>
                      <a:lnTo>
                        <a:pt x="51" y="18"/>
                      </a:lnTo>
                      <a:lnTo>
                        <a:pt x="51" y="18"/>
                      </a:lnTo>
                      <a:lnTo>
                        <a:pt x="55" y="16"/>
                      </a:lnTo>
                      <a:lnTo>
                        <a:pt x="52" y="14"/>
                      </a:lnTo>
                      <a:close/>
                      <a:moveTo>
                        <a:pt x="67" y="5"/>
                      </a:moveTo>
                      <a:lnTo>
                        <a:pt x="67" y="5"/>
                      </a:lnTo>
                      <a:lnTo>
                        <a:pt x="64" y="7"/>
                      </a:lnTo>
                      <a:lnTo>
                        <a:pt x="64" y="7"/>
                      </a:lnTo>
                      <a:lnTo>
                        <a:pt x="59" y="8"/>
                      </a:lnTo>
                      <a:lnTo>
                        <a:pt x="57" y="10"/>
                      </a:lnTo>
                      <a:lnTo>
                        <a:pt x="58" y="13"/>
                      </a:lnTo>
                      <a:lnTo>
                        <a:pt x="58" y="13"/>
                      </a:lnTo>
                      <a:lnTo>
                        <a:pt x="64" y="10"/>
                      </a:lnTo>
                      <a:lnTo>
                        <a:pt x="64" y="10"/>
                      </a:lnTo>
                      <a:lnTo>
                        <a:pt x="67" y="8"/>
                      </a:lnTo>
                      <a:lnTo>
                        <a:pt x="67" y="5"/>
                      </a:lnTo>
                      <a:close/>
                      <a:moveTo>
                        <a:pt x="80" y="0"/>
                      </a:moveTo>
                      <a:lnTo>
                        <a:pt x="80" y="0"/>
                      </a:lnTo>
                      <a:lnTo>
                        <a:pt x="75" y="1"/>
                      </a:lnTo>
                      <a:lnTo>
                        <a:pt x="71" y="4"/>
                      </a:lnTo>
                      <a:lnTo>
                        <a:pt x="71" y="5"/>
                      </a:lnTo>
                      <a:lnTo>
                        <a:pt x="71" y="5"/>
                      </a:lnTo>
                      <a:lnTo>
                        <a:pt x="77" y="4"/>
                      </a:lnTo>
                      <a:lnTo>
                        <a:pt x="81" y="2"/>
                      </a:lnTo>
                      <a:lnTo>
                        <a:pt x="80" y="0"/>
                      </a:lnTo>
                      <a:close/>
                      <a:moveTo>
                        <a:pt x="96" y="5"/>
                      </a:moveTo>
                      <a:lnTo>
                        <a:pt x="96" y="5"/>
                      </a:lnTo>
                      <a:lnTo>
                        <a:pt x="85" y="1"/>
                      </a:lnTo>
                      <a:lnTo>
                        <a:pt x="85" y="2"/>
                      </a:lnTo>
                      <a:lnTo>
                        <a:pt x="85" y="2"/>
                      </a:lnTo>
                      <a:lnTo>
                        <a:pt x="94" y="7"/>
                      </a:lnTo>
                      <a:lnTo>
                        <a:pt x="96" y="5"/>
                      </a:lnTo>
                      <a:close/>
                      <a:moveTo>
                        <a:pt x="107" y="16"/>
                      </a:moveTo>
                      <a:lnTo>
                        <a:pt x="107" y="16"/>
                      </a:lnTo>
                      <a:lnTo>
                        <a:pt x="104" y="11"/>
                      </a:lnTo>
                      <a:lnTo>
                        <a:pt x="100" y="8"/>
                      </a:lnTo>
                      <a:lnTo>
                        <a:pt x="99" y="10"/>
                      </a:lnTo>
                      <a:lnTo>
                        <a:pt x="99" y="10"/>
                      </a:lnTo>
                      <a:lnTo>
                        <a:pt x="103" y="13"/>
                      </a:lnTo>
                      <a:lnTo>
                        <a:pt x="104" y="17"/>
                      </a:lnTo>
                      <a:lnTo>
                        <a:pt x="107" y="16"/>
                      </a:lnTo>
                      <a:close/>
                      <a:moveTo>
                        <a:pt x="104" y="30"/>
                      </a:moveTo>
                      <a:lnTo>
                        <a:pt x="104" y="30"/>
                      </a:lnTo>
                      <a:lnTo>
                        <a:pt x="107" y="26"/>
                      </a:lnTo>
                      <a:lnTo>
                        <a:pt x="109" y="21"/>
                      </a:lnTo>
                      <a:lnTo>
                        <a:pt x="106" y="20"/>
                      </a:lnTo>
                      <a:lnTo>
                        <a:pt x="106" y="20"/>
                      </a:lnTo>
                      <a:lnTo>
                        <a:pt x="101" y="30"/>
                      </a:lnTo>
                      <a:lnTo>
                        <a:pt x="104" y="3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39" name="Freeform 1687"/>
                <p:cNvSpPr>
                  <a:spLocks noEditPoints="1"/>
                </p:cNvSpPr>
                <p:nvPr/>
              </p:nvSpPr>
              <p:spPr bwMode="auto">
                <a:xfrm>
                  <a:off x="4676861" y="2423836"/>
                  <a:ext cx="93980" cy="22753"/>
                </a:xfrm>
                <a:custGeom>
                  <a:avLst/>
                  <a:gdLst>
                    <a:gd name="T0" fmla="*/ 11 w 95"/>
                    <a:gd name="T1" fmla="*/ 17 h 23"/>
                    <a:gd name="T2" fmla="*/ 2 w 95"/>
                    <a:gd name="T3" fmla="*/ 23 h 23"/>
                    <a:gd name="T4" fmla="*/ 12 w 95"/>
                    <a:gd name="T5" fmla="*/ 19 h 23"/>
                    <a:gd name="T6" fmla="*/ 22 w 95"/>
                    <a:gd name="T7" fmla="*/ 8 h 23"/>
                    <a:gd name="T8" fmla="*/ 16 w 95"/>
                    <a:gd name="T9" fmla="*/ 14 h 23"/>
                    <a:gd name="T10" fmla="*/ 15 w 95"/>
                    <a:gd name="T11" fmla="*/ 14 h 23"/>
                    <a:gd name="T12" fmla="*/ 16 w 95"/>
                    <a:gd name="T13" fmla="*/ 17 h 23"/>
                    <a:gd name="T14" fmla="*/ 18 w 95"/>
                    <a:gd name="T15" fmla="*/ 16 h 23"/>
                    <a:gd name="T16" fmla="*/ 22 w 95"/>
                    <a:gd name="T17" fmla="*/ 8 h 23"/>
                    <a:gd name="T18" fmla="*/ 37 w 95"/>
                    <a:gd name="T19" fmla="*/ 1 h 23"/>
                    <a:gd name="T20" fmla="*/ 31 w 95"/>
                    <a:gd name="T21" fmla="*/ 3 h 23"/>
                    <a:gd name="T22" fmla="*/ 28 w 95"/>
                    <a:gd name="T23" fmla="*/ 7 h 23"/>
                    <a:gd name="T24" fmla="*/ 31 w 95"/>
                    <a:gd name="T25" fmla="*/ 6 h 23"/>
                    <a:gd name="T26" fmla="*/ 37 w 95"/>
                    <a:gd name="T27" fmla="*/ 4 h 23"/>
                    <a:gd name="T28" fmla="*/ 51 w 95"/>
                    <a:gd name="T29" fmla="*/ 4 h 23"/>
                    <a:gd name="T30" fmla="*/ 50 w 95"/>
                    <a:gd name="T31" fmla="*/ 3 h 23"/>
                    <a:gd name="T32" fmla="*/ 41 w 95"/>
                    <a:gd name="T33" fmla="*/ 1 h 23"/>
                    <a:gd name="T34" fmla="*/ 41 w 95"/>
                    <a:gd name="T35" fmla="*/ 4 h 23"/>
                    <a:gd name="T36" fmla="*/ 48 w 95"/>
                    <a:gd name="T37" fmla="*/ 6 h 23"/>
                    <a:gd name="T38" fmla="*/ 51 w 95"/>
                    <a:gd name="T39" fmla="*/ 4 h 23"/>
                    <a:gd name="T40" fmla="*/ 66 w 95"/>
                    <a:gd name="T41" fmla="*/ 3 h 23"/>
                    <a:gd name="T42" fmla="*/ 64 w 95"/>
                    <a:gd name="T43" fmla="*/ 3 h 23"/>
                    <a:gd name="T44" fmla="*/ 61 w 95"/>
                    <a:gd name="T45" fmla="*/ 3 h 23"/>
                    <a:gd name="T46" fmla="*/ 57 w 95"/>
                    <a:gd name="T47" fmla="*/ 6 h 23"/>
                    <a:gd name="T48" fmla="*/ 61 w 95"/>
                    <a:gd name="T49" fmla="*/ 6 h 23"/>
                    <a:gd name="T50" fmla="*/ 64 w 95"/>
                    <a:gd name="T51" fmla="*/ 6 h 23"/>
                    <a:gd name="T52" fmla="*/ 67 w 95"/>
                    <a:gd name="T53" fmla="*/ 4 h 23"/>
                    <a:gd name="T54" fmla="*/ 82 w 95"/>
                    <a:gd name="T55" fmla="*/ 1 h 23"/>
                    <a:gd name="T56" fmla="*/ 79 w 95"/>
                    <a:gd name="T57" fmla="*/ 0 h 23"/>
                    <a:gd name="T58" fmla="*/ 71 w 95"/>
                    <a:gd name="T59" fmla="*/ 1 h 23"/>
                    <a:gd name="T60" fmla="*/ 71 w 95"/>
                    <a:gd name="T61" fmla="*/ 3 h 23"/>
                    <a:gd name="T62" fmla="*/ 79 w 95"/>
                    <a:gd name="T63" fmla="*/ 3 h 23"/>
                    <a:gd name="T64" fmla="*/ 82 w 95"/>
                    <a:gd name="T65" fmla="*/ 1 h 23"/>
                    <a:gd name="T66" fmla="*/ 95 w 95"/>
                    <a:gd name="T67" fmla="*/ 8 h 23"/>
                    <a:gd name="T68" fmla="*/ 86 w 95"/>
                    <a:gd name="T69" fmla="*/ 6 h 23"/>
                    <a:gd name="T70" fmla="*/ 93 w 95"/>
                    <a:gd name="T71" fmla="*/ 1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95" h="23">
                      <a:moveTo>
                        <a:pt x="11" y="17"/>
                      </a:moveTo>
                      <a:lnTo>
                        <a:pt x="11" y="17"/>
                      </a:lnTo>
                      <a:lnTo>
                        <a:pt x="0" y="20"/>
                      </a:lnTo>
                      <a:lnTo>
                        <a:pt x="2" y="23"/>
                      </a:lnTo>
                      <a:lnTo>
                        <a:pt x="2" y="23"/>
                      </a:lnTo>
                      <a:lnTo>
                        <a:pt x="12" y="19"/>
                      </a:lnTo>
                      <a:lnTo>
                        <a:pt x="11" y="17"/>
                      </a:lnTo>
                      <a:close/>
                      <a:moveTo>
                        <a:pt x="22" y="8"/>
                      </a:moveTo>
                      <a:lnTo>
                        <a:pt x="22" y="8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15" y="14"/>
                      </a:lnTo>
                      <a:lnTo>
                        <a:pt x="16" y="17"/>
                      </a:lnTo>
                      <a:lnTo>
                        <a:pt x="16" y="17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24" y="10"/>
                      </a:lnTo>
                      <a:lnTo>
                        <a:pt x="22" y="8"/>
                      </a:lnTo>
                      <a:close/>
                      <a:moveTo>
                        <a:pt x="37" y="1"/>
                      </a:moveTo>
                      <a:lnTo>
                        <a:pt x="37" y="1"/>
                      </a:lnTo>
                      <a:lnTo>
                        <a:pt x="31" y="3"/>
                      </a:lnTo>
                      <a:lnTo>
                        <a:pt x="31" y="3"/>
                      </a:lnTo>
                      <a:lnTo>
                        <a:pt x="27" y="6"/>
                      </a:lnTo>
                      <a:lnTo>
                        <a:pt x="28" y="7"/>
                      </a:lnTo>
                      <a:lnTo>
                        <a:pt x="28" y="7"/>
                      </a:lnTo>
                      <a:lnTo>
                        <a:pt x="31" y="6"/>
                      </a:lnTo>
                      <a:lnTo>
                        <a:pt x="31" y="6"/>
                      </a:lnTo>
                      <a:lnTo>
                        <a:pt x="37" y="4"/>
                      </a:lnTo>
                      <a:lnTo>
                        <a:pt x="37" y="1"/>
                      </a:lnTo>
                      <a:close/>
                      <a:moveTo>
                        <a:pt x="51" y="4"/>
                      </a:moveTo>
                      <a:lnTo>
                        <a:pt x="51" y="4"/>
                      </a:lnTo>
                      <a:lnTo>
                        <a:pt x="50" y="3"/>
                      </a:lnTo>
                      <a:lnTo>
                        <a:pt x="50" y="3"/>
                      </a:lnTo>
                      <a:lnTo>
                        <a:pt x="41" y="1"/>
                      </a:lnTo>
                      <a:lnTo>
                        <a:pt x="41" y="4"/>
                      </a:lnTo>
                      <a:lnTo>
                        <a:pt x="41" y="4"/>
                      </a:lnTo>
                      <a:lnTo>
                        <a:pt x="48" y="6"/>
                      </a:lnTo>
                      <a:lnTo>
                        <a:pt x="48" y="6"/>
                      </a:lnTo>
                      <a:lnTo>
                        <a:pt x="51" y="6"/>
                      </a:lnTo>
                      <a:lnTo>
                        <a:pt x="51" y="4"/>
                      </a:lnTo>
                      <a:close/>
                      <a:moveTo>
                        <a:pt x="66" y="3"/>
                      </a:moveTo>
                      <a:lnTo>
                        <a:pt x="66" y="3"/>
                      </a:lnTo>
                      <a:lnTo>
                        <a:pt x="64" y="3"/>
                      </a:lnTo>
                      <a:lnTo>
                        <a:pt x="64" y="3"/>
                      </a:lnTo>
                      <a:lnTo>
                        <a:pt x="61" y="3"/>
                      </a:lnTo>
                      <a:lnTo>
                        <a:pt x="61" y="3"/>
                      </a:lnTo>
                      <a:lnTo>
                        <a:pt x="57" y="4"/>
                      </a:lnTo>
                      <a:lnTo>
                        <a:pt x="57" y="6"/>
                      </a:lnTo>
                      <a:lnTo>
                        <a:pt x="57" y="6"/>
                      </a:lnTo>
                      <a:lnTo>
                        <a:pt x="61" y="6"/>
                      </a:lnTo>
                      <a:lnTo>
                        <a:pt x="61" y="6"/>
                      </a:lnTo>
                      <a:lnTo>
                        <a:pt x="64" y="6"/>
                      </a:lnTo>
                      <a:lnTo>
                        <a:pt x="64" y="6"/>
                      </a:lnTo>
                      <a:lnTo>
                        <a:pt x="67" y="4"/>
                      </a:lnTo>
                      <a:lnTo>
                        <a:pt x="66" y="3"/>
                      </a:lnTo>
                      <a:close/>
                      <a:moveTo>
                        <a:pt x="82" y="1"/>
                      </a:moveTo>
                      <a:lnTo>
                        <a:pt x="82" y="1"/>
                      </a:lnTo>
                      <a:lnTo>
                        <a:pt x="79" y="0"/>
                      </a:lnTo>
                      <a:lnTo>
                        <a:pt x="79" y="0"/>
                      </a:lnTo>
                      <a:lnTo>
                        <a:pt x="71" y="1"/>
                      </a:lnTo>
                      <a:lnTo>
                        <a:pt x="71" y="3"/>
                      </a:lnTo>
                      <a:lnTo>
                        <a:pt x="71" y="3"/>
                      </a:lnTo>
                      <a:lnTo>
                        <a:pt x="79" y="3"/>
                      </a:lnTo>
                      <a:lnTo>
                        <a:pt x="79" y="3"/>
                      </a:lnTo>
                      <a:lnTo>
                        <a:pt x="82" y="3"/>
                      </a:lnTo>
                      <a:lnTo>
                        <a:pt x="82" y="1"/>
                      </a:lnTo>
                      <a:close/>
                      <a:moveTo>
                        <a:pt x="95" y="8"/>
                      </a:moveTo>
                      <a:lnTo>
                        <a:pt x="95" y="8"/>
                      </a:lnTo>
                      <a:lnTo>
                        <a:pt x="86" y="3"/>
                      </a:lnTo>
                      <a:lnTo>
                        <a:pt x="86" y="6"/>
                      </a:lnTo>
                      <a:lnTo>
                        <a:pt x="86" y="6"/>
                      </a:lnTo>
                      <a:lnTo>
                        <a:pt x="93" y="11"/>
                      </a:lnTo>
                      <a:lnTo>
                        <a:pt x="95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1" name="Freeform 1689"/>
                <p:cNvSpPr>
                  <a:spLocks noEditPoints="1"/>
                </p:cNvSpPr>
                <p:nvPr/>
              </p:nvSpPr>
              <p:spPr bwMode="auto">
                <a:xfrm>
                  <a:off x="4627398" y="2500009"/>
                  <a:ext cx="51442" cy="22753"/>
                </a:xfrm>
                <a:custGeom>
                  <a:avLst/>
                  <a:gdLst>
                    <a:gd name="T0" fmla="*/ 42 w 52"/>
                    <a:gd name="T1" fmla="*/ 4 h 23"/>
                    <a:gd name="T2" fmla="*/ 42 w 52"/>
                    <a:gd name="T3" fmla="*/ 4 h 23"/>
                    <a:gd name="T4" fmla="*/ 52 w 52"/>
                    <a:gd name="T5" fmla="*/ 2 h 23"/>
                    <a:gd name="T6" fmla="*/ 50 w 52"/>
                    <a:gd name="T7" fmla="*/ 0 h 23"/>
                    <a:gd name="T8" fmla="*/ 50 w 52"/>
                    <a:gd name="T9" fmla="*/ 0 h 23"/>
                    <a:gd name="T10" fmla="*/ 40 w 52"/>
                    <a:gd name="T11" fmla="*/ 2 h 23"/>
                    <a:gd name="T12" fmla="*/ 42 w 52"/>
                    <a:gd name="T13" fmla="*/ 4 h 23"/>
                    <a:gd name="T14" fmla="*/ 27 w 52"/>
                    <a:gd name="T15" fmla="*/ 8 h 23"/>
                    <a:gd name="T16" fmla="*/ 27 w 52"/>
                    <a:gd name="T17" fmla="*/ 8 h 23"/>
                    <a:gd name="T18" fmla="*/ 36 w 52"/>
                    <a:gd name="T19" fmla="*/ 5 h 23"/>
                    <a:gd name="T20" fmla="*/ 36 w 52"/>
                    <a:gd name="T21" fmla="*/ 2 h 23"/>
                    <a:gd name="T22" fmla="*/ 36 w 52"/>
                    <a:gd name="T23" fmla="*/ 2 h 23"/>
                    <a:gd name="T24" fmla="*/ 26 w 52"/>
                    <a:gd name="T25" fmla="*/ 5 h 23"/>
                    <a:gd name="T26" fmla="*/ 27 w 52"/>
                    <a:gd name="T27" fmla="*/ 8 h 23"/>
                    <a:gd name="T28" fmla="*/ 13 w 52"/>
                    <a:gd name="T29" fmla="*/ 14 h 23"/>
                    <a:gd name="T30" fmla="*/ 13 w 52"/>
                    <a:gd name="T31" fmla="*/ 14 h 23"/>
                    <a:gd name="T32" fmla="*/ 16 w 52"/>
                    <a:gd name="T33" fmla="*/ 11 h 23"/>
                    <a:gd name="T34" fmla="*/ 16 w 52"/>
                    <a:gd name="T35" fmla="*/ 11 h 23"/>
                    <a:gd name="T36" fmla="*/ 21 w 52"/>
                    <a:gd name="T37" fmla="*/ 10 h 23"/>
                    <a:gd name="T38" fmla="*/ 21 w 52"/>
                    <a:gd name="T39" fmla="*/ 7 h 23"/>
                    <a:gd name="T40" fmla="*/ 21 w 52"/>
                    <a:gd name="T41" fmla="*/ 7 h 23"/>
                    <a:gd name="T42" fmla="*/ 14 w 52"/>
                    <a:gd name="T43" fmla="*/ 10 h 23"/>
                    <a:gd name="T44" fmla="*/ 14 w 52"/>
                    <a:gd name="T45" fmla="*/ 10 h 23"/>
                    <a:gd name="T46" fmla="*/ 11 w 52"/>
                    <a:gd name="T47" fmla="*/ 11 h 23"/>
                    <a:gd name="T48" fmla="*/ 13 w 52"/>
                    <a:gd name="T49" fmla="*/ 14 h 23"/>
                    <a:gd name="T50" fmla="*/ 1 w 52"/>
                    <a:gd name="T51" fmla="*/ 23 h 23"/>
                    <a:gd name="T52" fmla="*/ 1 w 52"/>
                    <a:gd name="T53" fmla="*/ 23 h 23"/>
                    <a:gd name="T54" fmla="*/ 10 w 52"/>
                    <a:gd name="T55" fmla="*/ 17 h 23"/>
                    <a:gd name="T56" fmla="*/ 8 w 52"/>
                    <a:gd name="T57" fmla="*/ 15 h 23"/>
                    <a:gd name="T58" fmla="*/ 8 w 52"/>
                    <a:gd name="T59" fmla="*/ 15 h 23"/>
                    <a:gd name="T60" fmla="*/ 0 w 52"/>
                    <a:gd name="T61" fmla="*/ 21 h 23"/>
                    <a:gd name="T62" fmla="*/ 1 w 52"/>
                    <a:gd name="T6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52" h="23">
                      <a:moveTo>
                        <a:pt x="42" y="4"/>
                      </a:moveTo>
                      <a:lnTo>
                        <a:pt x="42" y="4"/>
                      </a:lnTo>
                      <a:lnTo>
                        <a:pt x="52" y="2"/>
                      </a:lnTo>
                      <a:lnTo>
                        <a:pt x="50" y="0"/>
                      </a:lnTo>
                      <a:lnTo>
                        <a:pt x="50" y="0"/>
                      </a:lnTo>
                      <a:lnTo>
                        <a:pt x="40" y="2"/>
                      </a:lnTo>
                      <a:lnTo>
                        <a:pt x="42" y="4"/>
                      </a:lnTo>
                      <a:close/>
                      <a:moveTo>
                        <a:pt x="27" y="8"/>
                      </a:moveTo>
                      <a:lnTo>
                        <a:pt x="27" y="8"/>
                      </a:lnTo>
                      <a:lnTo>
                        <a:pt x="36" y="5"/>
                      </a:lnTo>
                      <a:lnTo>
                        <a:pt x="36" y="2"/>
                      </a:lnTo>
                      <a:lnTo>
                        <a:pt x="36" y="2"/>
                      </a:lnTo>
                      <a:lnTo>
                        <a:pt x="26" y="5"/>
                      </a:lnTo>
                      <a:lnTo>
                        <a:pt x="27" y="8"/>
                      </a:lnTo>
                      <a:close/>
                      <a:moveTo>
                        <a:pt x="13" y="14"/>
                      </a:moveTo>
                      <a:lnTo>
                        <a:pt x="13" y="14"/>
                      </a:lnTo>
                      <a:lnTo>
                        <a:pt x="16" y="11"/>
                      </a:lnTo>
                      <a:lnTo>
                        <a:pt x="16" y="11"/>
                      </a:lnTo>
                      <a:lnTo>
                        <a:pt x="21" y="10"/>
                      </a:lnTo>
                      <a:lnTo>
                        <a:pt x="21" y="7"/>
                      </a:lnTo>
                      <a:lnTo>
                        <a:pt x="21" y="7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1" y="11"/>
                      </a:lnTo>
                      <a:lnTo>
                        <a:pt x="13" y="14"/>
                      </a:lnTo>
                      <a:close/>
                      <a:moveTo>
                        <a:pt x="1" y="23"/>
                      </a:moveTo>
                      <a:lnTo>
                        <a:pt x="1" y="23"/>
                      </a:lnTo>
                      <a:lnTo>
                        <a:pt x="10" y="17"/>
                      </a:lnTo>
                      <a:lnTo>
                        <a:pt x="8" y="15"/>
                      </a:lnTo>
                      <a:lnTo>
                        <a:pt x="8" y="15"/>
                      </a:lnTo>
                      <a:lnTo>
                        <a:pt x="0" y="21"/>
                      </a:lnTo>
                      <a:lnTo>
                        <a:pt x="1" y="2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2" name="Freeform 1690"/>
                <p:cNvSpPr>
                  <a:spLocks noEditPoints="1"/>
                </p:cNvSpPr>
                <p:nvPr/>
              </p:nvSpPr>
              <p:spPr bwMode="auto">
                <a:xfrm>
                  <a:off x="4624430" y="2488138"/>
                  <a:ext cx="45506" cy="9893"/>
                </a:xfrm>
                <a:custGeom>
                  <a:avLst/>
                  <a:gdLst>
                    <a:gd name="T0" fmla="*/ 1 w 46"/>
                    <a:gd name="T1" fmla="*/ 7 h 10"/>
                    <a:gd name="T2" fmla="*/ 0 w 46"/>
                    <a:gd name="T3" fmla="*/ 7 h 10"/>
                    <a:gd name="T4" fmla="*/ 1 w 46"/>
                    <a:gd name="T5" fmla="*/ 10 h 10"/>
                    <a:gd name="T6" fmla="*/ 1 w 46"/>
                    <a:gd name="T7" fmla="*/ 10 h 10"/>
                    <a:gd name="T8" fmla="*/ 1 w 46"/>
                    <a:gd name="T9" fmla="*/ 7 h 10"/>
                    <a:gd name="T10" fmla="*/ 17 w 46"/>
                    <a:gd name="T11" fmla="*/ 6 h 10"/>
                    <a:gd name="T12" fmla="*/ 17 w 46"/>
                    <a:gd name="T13" fmla="*/ 6 h 10"/>
                    <a:gd name="T14" fmla="*/ 7 w 46"/>
                    <a:gd name="T15" fmla="*/ 7 h 10"/>
                    <a:gd name="T16" fmla="*/ 7 w 46"/>
                    <a:gd name="T17" fmla="*/ 10 h 10"/>
                    <a:gd name="T18" fmla="*/ 7 w 46"/>
                    <a:gd name="T19" fmla="*/ 10 h 10"/>
                    <a:gd name="T20" fmla="*/ 17 w 46"/>
                    <a:gd name="T21" fmla="*/ 9 h 10"/>
                    <a:gd name="T22" fmla="*/ 17 w 46"/>
                    <a:gd name="T23" fmla="*/ 6 h 10"/>
                    <a:gd name="T24" fmla="*/ 32 w 46"/>
                    <a:gd name="T25" fmla="*/ 6 h 10"/>
                    <a:gd name="T26" fmla="*/ 32 w 46"/>
                    <a:gd name="T27" fmla="*/ 6 h 10"/>
                    <a:gd name="T28" fmla="*/ 22 w 46"/>
                    <a:gd name="T29" fmla="*/ 6 h 10"/>
                    <a:gd name="T30" fmla="*/ 22 w 46"/>
                    <a:gd name="T31" fmla="*/ 9 h 10"/>
                    <a:gd name="T32" fmla="*/ 22 w 46"/>
                    <a:gd name="T33" fmla="*/ 9 h 10"/>
                    <a:gd name="T34" fmla="*/ 32 w 46"/>
                    <a:gd name="T35" fmla="*/ 7 h 10"/>
                    <a:gd name="T36" fmla="*/ 32 w 46"/>
                    <a:gd name="T37" fmla="*/ 6 h 10"/>
                    <a:gd name="T38" fmla="*/ 45 w 46"/>
                    <a:gd name="T39" fmla="*/ 0 h 10"/>
                    <a:gd name="T40" fmla="*/ 45 w 46"/>
                    <a:gd name="T41" fmla="*/ 0 h 10"/>
                    <a:gd name="T42" fmla="*/ 36 w 46"/>
                    <a:gd name="T43" fmla="*/ 4 h 10"/>
                    <a:gd name="T44" fmla="*/ 38 w 46"/>
                    <a:gd name="T45" fmla="*/ 7 h 10"/>
                    <a:gd name="T46" fmla="*/ 38 w 46"/>
                    <a:gd name="T47" fmla="*/ 7 h 10"/>
                    <a:gd name="T48" fmla="*/ 42 w 46"/>
                    <a:gd name="T49" fmla="*/ 4 h 10"/>
                    <a:gd name="T50" fmla="*/ 46 w 46"/>
                    <a:gd name="T51" fmla="*/ 1 h 10"/>
                    <a:gd name="T52" fmla="*/ 45 w 46"/>
                    <a:gd name="T53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6" h="10">
                      <a:moveTo>
                        <a:pt x="1" y="7"/>
                      </a:moveTo>
                      <a:lnTo>
                        <a:pt x="0" y="7"/>
                      </a:lnTo>
                      <a:lnTo>
                        <a:pt x="1" y="10"/>
                      </a:lnTo>
                      <a:lnTo>
                        <a:pt x="1" y="10"/>
                      </a:lnTo>
                      <a:lnTo>
                        <a:pt x="1" y="7"/>
                      </a:lnTo>
                      <a:close/>
                      <a:moveTo>
                        <a:pt x="17" y="6"/>
                      </a:moveTo>
                      <a:lnTo>
                        <a:pt x="17" y="6"/>
                      </a:lnTo>
                      <a:lnTo>
                        <a:pt x="7" y="7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17" y="9"/>
                      </a:lnTo>
                      <a:lnTo>
                        <a:pt x="17" y="6"/>
                      </a:lnTo>
                      <a:close/>
                      <a:moveTo>
                        <a:pt x="32" y="6"/>
                      </a:moveTo>
                      <a:lnTo>
                        <a:pt x="32" y="6"/>
                      </a:lnTo>
                      <a:lnTo>
                        <a:pt x="22" y="6"/>
                      </a:lnTo>
                      <a:lnTo>
                        <a:pt x="22" y="9"/>
                      </a:lnTo>
                      <a:lnTo>
                        <a:pt x="22" y="9"/>
                      </a:lnTo>
                      <a:lnTo>
                        <a:pt x="32" y="7"/>
                      </a:lnTo>
                      <a:lnTo>
                        <a:pt x="32" y="6"/>
                      </a:lnTo>
                      <a:close/>
                      <a:moveTo>
                        <a:pt x="45" y="0"/>
                      </a:moveTo>
                      <a:lnTo>
                        <a:pt x="45" y="0"/>
                      </a:lnTo>
                      <a:lnTo>
                        <a:pt x="36" y="4"/>
                      </a:lnTo>
                      <a:lnTo>
                        <a:pt x="38" y="7"/>
                      </a:lnTo>
                      <a:lnTo>
                        <a:pt x="38" y="7"/>
                      </a:lnTo>
                      <a:lnTo>
                        <a:pt x="42" y="4"/>
                      </a:lnTo>
                      <a:lnTo>
                        <a:pt x="46" y="1"/>
                      </a:lnTo>
                      <a:lnTo>
                        <a:pt x="45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3" name="Freeform 1691"/>
                <p:cNvSpPr>
                  <a:spLocks noEditPoints="1"/>
                </p:cNvSpPr>
                <p:nvPr/>
              </p:nvSpPr>
              <p:spPr bwMode="auto">
                <a:xfrm>
                  <a:off x="4532429" y="2469342"/>
                  <a:ext cx="50452" cy="24731"/>
                </a:xfrm>
                <a:custGeom>
                  <a:avLst/>
                  <a:gdLst>
                    <a:gd name="T0" fmla="*/ 12 w 51"/>
                    <a:gd name="T1" fmla="*/ 2 h 25"/>
                    <a:gd name="T2" fmla="*/ 12 w 51"/>
                    <a:gd name="T3" fmla="*/ 2 h 25"/>
                    <a:gd name="T4" fmla="*/ 2 w 51"/>
                    <a:gd name="T5" fmla="*/ 0 h 25"/>
                    <a:gd name="T6" fmla="*/ 0 w 51"/>
                    <a:gd name="T7" fmla="*/ 3 h 25"/>
                    <a:gd name="T8" fmla="*/ 0 w 51"/>
                    <a:gd name="T9" fmla="*/ 3 h 25"/>
                    <a:gd name="T10" fmla="*/ 10 w 51"/>
                    <a:gd name="T11" fmla="*/ 4 h 25"/>
                    <a:gd name="T12" fmla="*/ 12 w 51"/>
                    <a:gd name="T13" fmla="*/ 2 h 25"/>
                    <a:gd name="T14" fmla="*/ 26 w 51"/>
                    <a:gd name="T15" fmla="*/ 6 h 25"/>
                    <a:gd name="T16" fmla="*/ 26 w 51"/>
                    <a:gd name="T17" fmla="*/ 6 h 25"/>
                    <a:gd name="T18" fmla="*/ 16 w 51"/>
                    <a:gd name="T19" fmla="*/ 3 h 25"/>
                    <a:gd name="T20" fmla="*/ 16 w 51"/>
                    <a:gd name="T21" fmla="*/ 6 h 25"/>
                    <a:gd name="T22" fmla="*/ 16 w 51"/>
                    <a:gd name="T23" fmla="*/ 6 h 25"/>
                    <a:gd name="T24" fmla="*/ 25 w 51"/>
                    <a:gd name="T25" fmla="*/ 7 h 25"/>
                    <a:gd name="T26" fmla="*/ 26 w 51"/>
                    <a:gd name="T27" fmla="*/ 6 h 25"/>
                    <a:gd name="T28" fmla="*/ 39 w 51"/>
                    <a:gd name="T29" fmla="*/ 12 h 25"/>
                    <a:gd name="T30" fmla="*/ 39 w 51"/>
                    <a:gd name="T31" fmla="*/ 12 h 25"/>
                    <a:gd name="T32" fmla="*/ 35 w 51"/>
                    <a:gd name="T33" fmla="*/ 9 h 25"/>
                    <a:gd name="T34" fmla="*/ 35 w 51"/>
                    <a:gd name="T35" fmla="*/ 9 h 25"/>
                    <a:gd name="T36" fmla="*/ 31 w 51"/>
                    <a:gd name="T37" fmla="*/ 7 h 25"/>
                    <a:gd name="T38" fmla="*/ 31 w 51"/>
                    <a:gd name="T39" fmla="*/ 9 h 25"/>
                    <a:gd name="T40" fmla="*/ 31 w 51"/>
                    <a:gd name="T41" fmla="*/ 9 h 25"/>
                    <a:gd name="T42" fmla="*/ 33 w 51"/>
                    <a:gd name="T43" fmla="*/ 10 h 25"/>
                    <a:gd name="T44" fmla="*/ 33 w 51"/>
                    <a:gd name="T45" fmla="*/ 10 h 25"/>
                    <a:gd name="T46" fmla="*/ 38 w 51"/>
                    <a:gd name="T47" fmla="*/ 15 h 25"/>
                    <a:gd name="T48" fmla="*/ 39 w 51"/>
                    <a:gd name="T49" fmla="*/ 12 h 25"/>
                    <a:gd name="T50" fmla="*/ 51 w 51"/>
                    <a:gd name="T51" fmla="*/ 23 h 25"/>
                    <a:gd name="T52" fmla="*/ 51 w 51"/>
                    <a:gd name="T53" fmla="*/ 23 h 25"/>
                    <a:gd name="T54" fmla="*/ 44 w 51"/>
                    <a:gd name="T55" fmla="*/ 16 h 25"/>
                    <a:gd name="T56" fmla="*/ 42 w 51"/>
                    <a:gd name="T57" fmla="*/ 17 h 25"/>
                    <a:gd name="T58" fmla="*/ 42 w 51"/>
                    <a:gd name="T59" fmla="*/ 17 h 25"/>
                    <a:gd name="T60" fmla="*/ 48 w 51"/>
                    <a:gd name="T61" fmla="*/ 25 h 25"/>
                    <a:gd name="T62" fmla="*/ 51 w 51"/>
                    <a:gd name="T63" fmla="*/ 23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51" h="25">
                      <a:moveTo>
                        <a:pt x="12" y="2"/>
                      </a:moveTo>
                      <a:lnTo>
                        <a:pt x="12" y="2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10" y="4"/>
                      </a:lnTo>
                      <a:lnTo>
                        <a:pt x="12" y="2"/>
                      </a:lnTo>
                      <a:close/>
                      <a:moveTo>
                        <a:pt x="26" y="6"/>
                      </a:moveTo>
                      <a:lnTo>
                        <a:pt x="26" y="6"/>
                      </a:lnTo>
                      <a:lnTo>
                        <a:pt x="16" y="3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25" y="7"/>
                      </a:lnTo>
                      <a:lnTo>
                        <a:pt x="26" y="6"/>
                      </a:lnTo>
                      <a:close/>
                      <a:moveTo>
                        <a:pt x="39" y="12"/>
                      </a:moveTo>
                      <a:lnTo>
                        <a:pt x="39" y="12"/>
                      </a:lnTo>
                      <a:lnTo>
                        <a:pt x="35" y="9"/>
                      </a:lnTo>
                      <a:lnTo>
                        <a:pt x="35" y="9"/>
                      </a:lnTo>
                      <a:lnTo>
                        <a:pt x="31" y="7"/>
                      </a:lnTo>
                      <a:lnTo>
                        <a:pt x="31" y="9"/>
                      </a:lnTo>
                      <a:lnTo>
                        <a:pt x="31" y="9"/>
                      </a:lnTo>
                      <a:lnTo>
                        <a:pt x="33" y="10"/>
                      </a:lnTo>
                      <a:lnTo>
                        <a:pt x="33" y="10"/>
                      </a:lnTo>
                      <a:lnTo>
                        <a:pt x="38" y="15"/>
                      </a:lnTo>
                      <a:lnTo>
                        <a:pt x="39" y="12"/>
                      </a:lnTo>
                      <a:close/>
                      <a:moveTo>
                        <a:pt x="51" y="23"/>
                      </a:moveTo>
                      <a:lnTo>
                        <a:pt x="51" y="23"/>
                      </a:lnTo>
                      <a:lnTo>
                        <a:pt x="44" y="16"/>
                      </a:lnTo>
                      <a:lnTo>
                        <a:pt x="42" y="17"/>
                      </a:lnTo>
                      <a:lnTo>
                        <a:pt x="42" y="17"/>
                      </a:lnTo>
                      <a:lnTo>
                        <a:pt x="48" y="25"/>
                      </a:lnTo>
                      <a:lnTo>
                        <a:pt x="51" y="2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4" name="Freeform 1692"/>
                <p:cNvSpPr>
                  <a:spLocks noEditPoints="1"/>
                </p:cNvSpPr>
                <p:nvPr/>
              </p:nvSpPr>
              <p:spPr bwMode="auto">
                <a:xfrm>
                  <a:off x="4564085" y="2439665"/>
                  <a:ext cx="71227" cy="39570"/>
                </a:xfrm>
                <a:custGeom>
                  <a:avLst/>
                  <a:gdLst>
                    <a:gd name="T0" fmla="*/ 67 w 72"/>
                    <a:gd name="T1" fmla="*/ 10 h 40"/>
                    <a:gd name="T2" fmla="*/ 67 w 72"/>
                    <a:gd name="T3" fmla="*/ 10 h 40"/>
                    <a:gd name="T4" fmla="*/ 72 w 72"/>
                    <a:gd name="T5" fmla="*/ 1 h 40"/>
                    <a:gd name="T6" fmla="*/ 71 w 72"/>
                    <a:gd name="T7" fmla="*/ 0 h 40"/>
                    <a:gd name="T8" fmla="*/ 71 w 72"/>
                    <a:gd name="T9" fmla="*/ 0 h 40"/>
                    <a:gd name="T10" fmla="*/ 65 w 72"/>
                    <a:gd name="T11" fmla="*/ 7 h 40"/>
                    <a:gd name="T12" fmla="*/ 67 w 72"/>
                    <a:gd name="T13" fmla="*/ 10 h 40"/>
                    <a:gd name="T14" fmla="*/ 58 w 72"/>
                    <a:gd name="T15" fmla="*/ 20 h 40"/>
                    <a:gd name="T16" fmla="*/ 58 w 72"/>
                    <a:gd name="T17" fmla="*/ 20 h 40"/>
                    <a:gd name="T18" fmla="*/ 59 w 72"/>
                    <a:gd name="T19" fmla="*/ 16 h 40"/>
                    <a:gd name="T20" fmla="*/ 62 w 72"/>
                    <a:gd name="T21" fmla="*/ 13 h 40"/>
                    <a:gd name="T22" fmla="*/ 61 w 72"/>
                    <a:gd name="T23" fmla="*/ 10 h 40"/>
                    <a:gd name="T24" fmla="*/ 61 w 72"/>
                    <a:gd name="T25" fmla="*/ 10 h 40"/>
                    <a:gd name="T26" fmla="*/ 58 w 72"/>
                    <a:gd name="T27" fmla="*/ 14 h 40"/>
                    <a:gd name="T28" fmla="*/ 55 w 72"/>
                    <a:gd name="T29" fmla="*/ 20 h 40"/>
                    <a:gd name="T30" fmla="*/ 58 w 72"/>
                    <a:gd name="T31" fmla="*/ 20 h 40"/>
                    <a:gd name="T32" fmla="*/ 45 w 72"/>
                    <a:gd name="T33" fmla="*/ 29 h 40"/>
                    <a:gd name="T34" fmla="*/ 45 w 72"/>
                    <a:gd name="T35" fmla="*/ 29 h 40"/>
                    <a:gd name="T36" fmla="*/ 52 w 72"/>
                    <a:gd name="T37" fmla="*/ 27 h 40"/>
                    <a:gd name="T38" fmla="*/ 52 w 72"/>
                    <a:gd name="T39" fmla="*/ 27 h 40"/>
                    <a:gd name="T40" fmla="*/ 54 w 72"/>
                    <a:gd name="T41" fmla="*/ 26 h 40"/>
                    <a:gd name="T42" fmla="*/ 54 w 72"/>
                    <a:gd name="T43" fmla="*/ 26 h 40"/>
                    <a:gd name="T44" fmla="*/ 55 w 72"/>
                    <a:gd name="T45" fmla="*/ 26 h 40"/>
                    <a:gd name="T46" fmla="*/ 54 w 72"/>
                    <a:gd name="T47" fmla="*/ 24 h 40"/>
                    <a:gd name="T48" fmla="*/ 54 w 72"/>
                    <a:gd name="T49" fmla="*/ 24 h 40"/>
                    <a:gd name="T50" fmla="*/ 54 w 72"/>
                    <a:gd name="T51" fmla="*/ 24 h 40"/>
                    <a:gd name="T52" fmla="*/ 54 w 72"/>
                    <a:gd name="T53" fmla="*/ 24 h 40"/>
                    <a:gd name="T54" fmla="*/ 54 w 72"/>
                    <a:gd name="T55" fmla="*/ 24 h 40"/>
                    <a:gd name="T56" fmla="*/ 54 w 72"/>
                    <a:gd name="T57" fmla="*/ 24 h 40"/>
                    <a:gd name="T58" fmla="*/ 54 w 72"/>
                    <a:gd name="T59" fmla="*/ 24 h 40"/>
                    <a:gd name="T60" fmla="*/ 51 w 72"/>
                    <a:gd name="T61" fmla="*/ 24 h 40"/>
                    <a:gd name="T62" fmla="*/ 51 w 72"/>
                    <a:gd name="T63" fmla="*/ 24 h 40"/>
                    <a:gd name="T64" fmla="*/ 45 w 72"/>
                    <a:gd name="T65" fmla="*/ 27 h 40"/>
                    <a:gd name="T66" fmla="*/ 45 w 72"/>
                    <a:gd name="T67" fmla="*/ 29 h 40"/>
                    <a:gd name="T68" fmla="*/ 30 w 72"/>
                    <a:gd name="T69" fmla="*/ 33 h 40"/>
                    <a:gd name="T70" fmla="*/ 30 w 72"/>
                    <a:gd name="T71" fmla="*/ 33 h 40"/>
                    <a:gd name="T72" fmla="*/ 41 w 72"/>
                    <a:gd name="T73" fmla="*/ 30 h 40"/>
                    <a:gd name="T74" fmla="*/ 41 w 72"/>
                    <a:gd name="T75" fmla="*/ 29 h 40"/>
                    <a:gd name="T76" fmla="*/ 41 w 72"/>
                    <a:gd name="T77" fmla="*/ 29 h 40"/>
                    <a:gd name="T78" fmla="*/ 30 w 72"/>
                    <a:gd name="T79" fmla="*/ 30 h 40"/>
                    <a:gd name="T80" fmla="*/ 30 w 72"/>
                    <a:gd name="T81" fmla="*/ 33 h 40"/>
                    <a:gd name="T82" fmla="*/ 16 w 72"/>
                    <a:gd name="T83" fmla="*/ 34 h 40"/>
                    <a:gd name="T84" fmla="*/ 16 w 72"/>
                    <a:gd name="T85" fmla="*/ 34 h 40"/>
                    <a:gd name="T86" fmla="*/ 19 w 72"/>
                    <a:gd name="T87" fmla="*/ 34 h 40"/>
                    <a:gd name="T88" fmla="*/ 19 w 72"/>
                    <a:gd name="T89" fmla="*/ 34 h 40"/>
                    <a:gd name="T90" fmla="*/ 26 w 72"/>
                    <a:gd name="T91" fmla="*/ 33 h 40"/>
                    <a:gd name="T92" fmla="*/ 25 w 72"/>
                    <a:gd name="T93" fmla="*/ 32 h 40"/>
                    <a:gd name="T94" fmla="*/ 25 w 72"/>
                    <a:gd name="T95" fmla="*/ 32 h 40"/>
                    <a:gd name="T96" fmla="*/ 19 w 72"/>
                    <a:gd name="T97" fmla="*/ 32 h 40"/>
                    <a:gd name="T98" fmla="*/ 19 w 72"/>
                    <a:gd name="T99" fmla="*/ 32 h 40"/>
                    <a:gd name="T100" fmla="*/ 15 w 72"/>
                    <a:gd name="T101" fmla="*/ 33 h 40"/>
                    <a:gd name="T102" fmla="*/ 16 w 72"/>
                    <a:gd name="T103" fmla="*/ 34 h 40"/>
                    <a:gd name="T104" fmla="*/ 1 w 72"/>
                    <a:gd name="T105" fmla="*/ 40 h 40"/>
                    <a:gd name="T106" fmla="*/ 1 w 72"/>
                    <a:gd name="T107" fmla="*/ 40 h 40"/>
                    <a:gd name="T108" fmla="*/ 10 w 72"/>
                    <a:gd name="T109" fmla="*/ 36 h 40"/>
                    <a:gd name="T110" fmla="*/ 10 w 72"/>
                    <a:gd name="T111" fmla="*/ 34 h 40"/>
                    <a:gd name="T112" fmla="*/ 10 w 72"/>
                    <a:gd name="T113" fmla="*/ 34 h 40"/>
                    <a:gd name="T114" fmla="*/ 0 w 72"/>
                    <a:gd name="T115" fmla="*/ 37 h 40"/>
                    <a:gd name="T116" fmla="*/ 1 w 72"/>
                    <a:gd name="T117" fmla="*/ 4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2" h="40">
                      <a:moveTo>
                        <a:pt x="67" y="10"/>
                      </a:moveTo>
                      <a:lnTo>
                        <a:pt x="67" y="10"/>
                      </a:lnTo>
                      <a:lnTo>
                        <a:pt x="72" y="1"/>
                      </a:lnTo>
                      <a:lnTo>
                        <a:pt x="71" y="0"/>
                      </a:lnTo>
                      <a:lnTo>
                        <a:pt x="71" y="0"/>
                      </a:lnTo>
                      <a:lnTo>
                        <a:pt x="65" y="7"/>
                      </a:lnTo>
                      <a:lnTo>
                        <a:pt x="67" y="10"/>
                      </a:lnTo>
                      <a:close/>
                      <a:moveTo>
                        <a:pt x="58" y="20"/>
                      </a:moveTo>
                      <a:lnTo>
                        <a:pt x="58" y="20"/>
                      </a:lnTo>
                      <a:lnTo>
                        <a:pt x="59" y="16"/>
                      </a:lnTo>
                      <a:lnTo>
                        <a:pt x="62" y="13"/>
                      </a:lnTo>
                      <a:lnTo>
                        <a:pt x="61" y="10"/>
                      </a:lnTo>
                      <a:lnTo>
                        <a:pt x="61" y="10"/>
                      </a:lnTo>
                      <a:lnTo>
                        <a:pt x="58" y="14"/>
                      </a:lnTo>
                      <a:lnTo>
                        <a:pt x="55" y="20"/>
                      </a:lnTo>
                      <a:lnTo>
                        <a:pt x="58" y="20"/>
                      </a:lnTo>
                      <a:close/>
                      <a:moveTo>
                        <a:pt x="45" y="29"/>
                      </a:moveTo>
                      <a:lnTo>
                        <a:pt x="45" y="29"/>
                      </a:lnTo>
                      <a:lnTo>
                        <a:pt x="52" y="27"/>
                      </a:lnTo>
                      <a:lnTo>
                        <a:pt x="52" y="27"/>
                      </a:lnTo>
                      <a:lnTo>
                        <a:pt x="54" y="26"/>
                      </a:lnTo>
                      <a:lnTo>
                        <a:pt x="54" y="26"/>
                      </a:lnTo>
                      <a:lnTo>
                        <a:pt x="55" y="26"/>
                      </a:lnTo>
                      <a:lnTo>
                        <a:pt x="54" y="24"/>
                      </a:lnTo>
                      <a:lnTo>
                        <a:pt x="54" y="24"/>
                      </a:lnTo>
                      <a:lnTo>
                        <a:pt x="54" y="24"/>
                      </a:lnTo>
                      <a:lnTo>
                        <a:pt x="54" y="24"/>
                      </a:lnTo>
                      <a:lnTo>
                        <a:pt x="54" y="24"/>
                      </a:lnTo>
                      <a:lnTo>
                        <a:pt x="54" y="24"/>
                      </a:lnTo>
                      <a:lnTo>
                        <a:pt x="54" y="24"/>
                      </a:lnTo>
                      <a:lnTo>
                        <a:pt x="51" y="24"/>
                      </a:lnTo>
                      <a:lnTo>
                        <a:pt x="51" y="24"/>
                      </a:lnTo>
                      <a:lnTo>
                        <a:pt x="45" y="27"/>
                      </a:lnTo>
                      <a:lnTo>
                        <a:pt x="45" y="29"/>
                      </a:lnTo>
                      <a:close/>
                      <a:moveTo>
                        <a:pt x="30" y="33"/>
                      </a:moveTo>
                      <a:lnTo>
                        <a:pt x="30" y="33"/>
                      </a:lnTo>
                      <a:lnTo>
                        <a:pt x="41" y="30"/>
                      </a:lnTo>
                      <a:lnTo>
                        <a:pt x="41" y="29"/>
                      </a:lnTo>
                      <a:lnTo>
                        <a:pt x="41" y="29"/>
                      </a:lnTo>
                      <a:lnTo>
                        <a:pt x="30" y="30"/>
                      </a:lnTo>
                      <a:lnTo>
                        <a:pt x="30" y="33"/>
                      </a:lnTo>
                      <a:close/>
                      <a:moveTo>
                        <a:pt x="16" y="34"/>
                      </a:moveTo>
                      <a:lnTo>
                        <a:pt x="16" y="34"/>
                      </a:lnTo>
                      <a:lnTo>
                        <a:pt x="19" y="34"/>
                      </a:lnTo>
                      <a:lnTo>
                        <a:pt x="19" y="34"/>
                      </a:lnTo>
                      <a:lnTo>
                        <a:pt x="26" y="33"/>
                      </a:lnTo>
                      <a:lnTo>
                        <a:pt x="25" y="32"/>
                      </a:lnTo>
                      <a:lnTo>
                        <a:pt x="25" y="32"/>
                      </a:lnTo>
                      <a:lnTo>
                        <a:pt x="19" y="32"/>
                      </a:lnTo>
                      <a:lnTo>
                        <a:pt x="19" y="32"/>
                      </a:lnTo>
                      <a:lnTo>
                        <a:pt x="15" y="33"/>
                      </a:lnTo>
                      <a:lnTo>
                        <a:pt x="16" y="34"/>
                      </a:lnTo>
                      <a:close/>
                      <a:moveTo>
                        <a:pt x="1" y="40"/>
                      </a:moveTo>
                      <a:lnTo>
                        <a:pt x="1" y="40"/>
                      </a:lnTo>
                      <a:lnTo>
                        <a:pt x="10" y="36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0" y="37"/>
                      </a:lnTo>
                      <a:lnTo>
                        <a:pt x="1" y="4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9" name="Freeform 1699"/>
                <p:cNvSpPr>
                  <a:spLocks noEditPoints="1"/>
                </p:cNvSpPr>
                <p:nvPr/>
              </p:nvSpPr>
              <p:spPr bwMode="auto">
                <a:xfrm>
                  <a:off x="5088393" y="2919455"/>
                  <a:ext cx="207745" cy="163228"/>
                </a:xfrm>
                <a:custGeom>
                  <a:avLst/>
                  <a:gdLst>
                    <a:gd name="T0" fmla="*/ 132 w 210"/>
                    <a:gd name="T1" fmla="*/ 1 h 165"/>
                    <a:gd name="T2" fmla="*/ 138 w 210"/>
                    <a:gd name="T3" fmla="*/ 14 h 165"/>
                    <a:gd name="T4" fmla="*/ 132 w 210"/>
                    <a:gd name="T5" fmla="*/ 7 h 165"/>
                    <a:gd name="T6" fmla="*/ 146 w 210"/>
                    <a:gd name="T7" fmla="*/ 27 h 165"/>
                    <a:gd name="T8" fmla="*/ 139 w 210"/>
                    <a:gd name="T9" fmla="*/ 20 h 165"/>
                    <a:gd name="T10" fmla="*/ 146 w 210"/>
                    <a:gd name="T11" fmla="*/ 27 h 165"/>
                    <a:gd name="T12" fmla="*/ 149 w 210"/>
                    <a:gd name="T13" fmla="*/ 33 h 165"/>
                    <a:gd name="T14" fmla="*/ 146 w 210"/>
                    <a:gd name="T15" fmla="*/ 33 h 165"/>
                    <a:gd name="T16" fmla="*/ 155 w 210"/>
                    <a:gd name="T17" fmla="*/ 39 h 165"/>
                    <a:gd name="T18" fmla="*/ 168 w 210"/>
                    <a:gd name="T19" fmla="*/ 38 h 165"/>
                    <a:gd name="T20" fmla="*/ 161 w 210"/>
                    <a:gd name="T21" fmla="*/ 40 h 165"/>
                    <a:gd name="T22" fmla="*/ 171 w 210"/>
                    <a:gd name="T23" fmla="*/ 38 h 165"/>
                    <a:gd name="T24" fmla="*/ 177 w 210"/>
                    <a:gd name="T25" fmla="*/ 40 h 165"/>
                    <a:gd name="T26" fmla="*/ 201 w 210"/>
                    <a:gd name="T27" fmla="*/ 38 h 165"/>
                    <a:gd name="T28" fmla="*/ 191 w 210"/>
                    <a:gd name="T29" fmla="*/ 38 h 165"/>
                    <a:gd name="T30" fmla="*/ 199 w 210"/>
                    <a:gd name="T31" fmla="*/ 39 h 165"/>
                    <a:gd name="T32" fmla="*/ 210 w 210"/>
                    <a:gd name="T33" fmla="*/ 51 h 165"/>
                    <a:gd name="T34" fmla="*/ 204 w 210"/>
                    <a:gd name="T35" fmla="*/ 42 h 165"/>
                    <a:gd name="T36" fmla="*/ 207 w 210"/>
                    <a:gd name="T37" fmla="*/ 67 h 165"/>
                    <a:gd name="T38" fmla="*/ 207 w 210"/>
                    <a:gd name="T39" fmla="*/ 56 h 165"/>
                    <a:gd name="T40" fmla="*/ 203 w 210"/>
                    <a:gd name="T41" fmla="*/ 81 h 165"/>
                    <a:gd name="T42" fmla="*/ 200 w 210"/>
                    <a:gd name="T43" fmla="*/ 80 h 165"/>
                    <a:gd name="T44" fmla="*/ 199 w 210"/>
                    <a:gd name="T45" fmla="*/ 88 h 165"/>
                    <a:gd name="T46" fmla="*/ 199 w 210"/>
                    <a:gd name="T47" fmla="*/ 84 h 165"/>
                    <a:gd name="T48" fmla="*/ 194 w 210"/>
                    <a:gd name="T49" fmla="*/ 94 h 165"/>
                    <a:gd name="T50" fmla="*/ 190 w 210"/>
                    <a:gd name="T51" fmla="*/ 97 h 165"/>
                    <a:gd name="T52" fmla="*/ 181 w 210"/>
                    <a:gd name="T53" fmla="*/ 103 h 165"/>
                    <a:gd name="T54" fmla="*/ 175 w 210"/>
                    <a:gd name="T55" fmla="*/ 103 h 165"/>
                    <a:gd name="T56" fmla="*/ 152 w 210"/>
                    <a:gd name="T57" fmla="*/ 113 h 165"/>
                    <a:gd name="T58" fmla="*/ 161 w 210"/>
                    <a:gd name="T59" fmla="*/ 109 h 165"/>
                    <a:gd name="T60" fmla="*/ 138 w 210"/>
                    <a:gd name="T61" fmla="*/ 117 h 165"/>
                    <a:gd name="T62" fmla="*/ 146 w 210"/>
                    <a:gd name="T63" fmla="*/ 113 h 165"/>
                    <a:gd name="T64" fmla="*/ 136 w 210"/>
                    <a:gd name="T65" fmla="*/ 116 h 165"/>
                    <a:gd name="T66" fmla="*/ 133 w 210"/>
                    <a:gd name="T67" fmla="*/ 120 h 165"/>
                    <a:gd name="T68" fmla="*/ 125 w 210"/>
                    <a:gd name="T69" fmla="*/ 124 h 165"/>
                    <a:gd name="T70" fmla="*/ 119 w 210"/>
                    <a:gd name="T71" fmla="*/ 124 h 165"/>
                    <a:gd name="T72" fmla="*/ 99 w 210"/>
                    <a:gd name="T73" fmla="*/ 140 h 165"/>
                    <a:gd name="T74" fmla="*/ 106 w 210"/>
                    <a:gd name="T75" fmla="*/ 133 h 165"/>
                    <a:gd name="T76" fmla="*/ 86 w 210"/>
                    <a:gd name="T77" fmla="*/ 148 h 165"/>
                    <a:gd name="T78" fmla="*/ 84 w 210"/>
                    <a:gd name="T79" fmla="*/ 146 h 165"/>
                    <a:gd name="T80" fmla="*/ 81 w 210"/>
                    <a:gd name="T81" fmla="*/ 151 h 165"/>
                    <a:gd name="T82" fmla="*/ 73 w 210"/>
                    <a:gd name="T83" fmla="*/ 156 h 165"/>
                    <a:gd name="T84" fmla="*/ 67 w 210"/>
                    <a:gd name="T85" fmla="*/ 156 h 165"/>
                    <a:gd name="T86" fmla="*/ 54 w 210"/>
                    <a:gd name="T87" fmla="*/ 155 h 165"/>
                    <a:gd name="T88" fmla="*/ 55 w 210"/>
                    <a:gd name="T89" fmla="*/ 165 h 165"/>
                    <a:gd name="T90" fmla="*/ 52 w 210"/>
                    <a:gd name="T91" fmla="*/ 140 h 165"/>
                    <a:gd name="T92" fmla="*/ 57 w 210"/>
                    <a:gd name="T93" fmla="*/ 151 h 165"/>
                    <a:gd name="T94" fmla="*/ 55 w 210"/>
                    <a:gd name="T95" fmla="*/ 139 h 165"/>
                    <a:gd name="T96" fmla="*/ 45 w 210"/>
                    <a:gd name="T97" fmla="*/ 138 h 165"/>
                    <a:gd name="T98" fmla="*/ 45 w 210"/>
                    <a:gd name="T99" fmla="*/ 135 h 165"/>
                    <a:gd name="T100" fmla="*/ 25 w 210"/>
                    <a:gd name="T101" fmla="*/ 135 h 165"/>
                    <a:gd name="T102" fmla="*/ 35 w 210"/>
                    <a:gd name="T103" fmla="*/ 133 h 165"/>
                    <a:gd name="T104" fmla="*/ 25 w 210"/>
                    <a:gd name="T105" fmla="*/ 135 h 165"/>
                    <a:gd name="T106" fmla="*/ 16 w 210"/>
                    <a:gd name="T107" fmla="*/ 135 h 165"/>
                    <a:gd name="T108" fmla="*/ 19 w 210"/>
                    <a:gd name="T109" fmla="*/ 130 h 165"/>
                    <a:gd name="T110" fmla="*/ 10 w 210"/>
                    <a:gd name="T111" fmla="*/ 136 h 165"/>
                    <a:gd name="T112" fmla="*/ 9 w 210"/>
                    <a:gd name="T113" fmla="*/ 140 h 165"/>
                    <a:gd name="T114" fmla="*/ 3 w 210"/>
                    <a:gd name="T115" fmla="*/ 149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10" h="165">
                      <a:moveTo>
                        <a:pt x="135" y="3"/>
                      </a:moveTo>
                      <a:lnTo>
                        <a:pt x="135" y="1"/>
                      </a:lnTo>
                      <a:lnTo>
                        <a:pt x="132" y="0"/>
                      </a:lnTo>
                      <a:lnTo>
                        <a:pt x="132" y="1"/>
                      </a:lnTo>
                      <a:lnTo>
                        <a:pt x="135" y="3"/>
                      </a:lnTo>
                      <a:lnTo>
                        <a:pt x="135" y="3"/>
                      </a:lnTo>
                      <a:close/>
                      <a:moveTo>
                        <a:pt x="138" y="14"/>
                      </a:moveTo>
                      <a:lnTo>
                        <a:pt x="138" y="14"/>
                      </a:lnTo>
                      <a:lnTo>
                        <a:pt x="135" y="12"/>
                      </a:lnTo>
                      <a:lnTo>
                        <a:pt x="133" y="7"/>
                      </a:lnTo>
                      <a:lnTo>
                        <a:pt x="132" y="7"/>
                      </a:lnTo>
                      <a:lnTo>
                        <a:pt x="132" y="7"/>
                      </a:lnTo>
                      <a:lnTo>
                        <a:pt x="133" y="13"/>
                      </a:lnTo>
                      <a:lnTo>
                        <a:pt x="136" y="17"/>
                      </a:lnTo>
                      <a:lnTo>
                        <a:pt x="138" y="14"/>
                      </a:lnTo>
                      <a:close/>
                      <a:moveTo>
                        <a:pt x="146" y="27"/>
                      </a:moveTo>
                      <a:lnTo>
                        <a:pt x="146" y="27"/>
                      </a:lnTo>
                      <a:lnTo>
                        <a:pt x="145" y="23"/>
                      </a:lnTo>
                      <a:lnTo>
                        <a:pt x="142" y="19"/>
                      </a:lnTo>
                      <a:lnTo>
                        <a:pt x="139" y="20"/>
                      </a:lnTo>
                      <a:lnTo>
                        <a:pt x="139" y="20"/>
                      </a:lnTo>
                      <a:lnTo>
                        <a:pt x="142" y="25"/>
                      </a:lnTo>
                      <a:lnTo>
                        <a:pt x="144" y="29"/>
                      </a:lnTo>
                      <a:lnTo>
                        <a:pt x="146" y="27"/>
                      </a:lnTo>
                      <a:close/>
                      <a:moveTo>
                        <a:pt x="157" y="36"/>
                      </a:moveTo>
                      <a:lnTo>
                        <a:pt x="157" y="36"/>
                      </a:lnTo>
                      <a:lnTo>
                        <a:pt x="152" y="36"/>
                      </a:lnTo>
                      <a:lnTo>
                        <a:pt x="149" y="33"/>
                      </a:lnTo>
                      <a:lnTo>
                        <a:pt x="149" y="33"/>
                      </a:lnTo>
                      <a:lnTo>
                        <a:pt x="149" y="32"/>
                      </a:lnTo>
                      <a:lnTo>
                        <a:pt x="146" y="33"/>
                      </a:lnTo>
                      <a:lnTo>
                        <a:pt x="146" y="33"/>
                      </a:lnTo>
                      <a:lnTo>
                        <a:pt x="148" y="36"/>
                      </a:lnTo>
                      <a:lnTo>
                        <a:pt x="148" y="36"/>
                      </a:lnTo>
                      <a:lnTo>
                        <a:pt x="151" y="38"/>
                      </a:lnTo>
                      <a:lnTo>
                        <a:pt x="155" y="39"/>
                      </a:lnTo>
                      <a:lnTo>
                        <a:pt x="157" y="36"/>
                      </a:lnTo>
                      <a:close/>
                      <a:moveTo>
                        <a:pt x="171" y="38"/>
                      </a:moveTo>
                      <a:lnTo>
                        <a:pt x="171" y="38"/>
                      </a:lnTo>
                      <a:lnTo>
                        <a:pt x="168" y="38"/>
                      </a:lnTo>
                      <a:lnTo>
                        <a:pt x="168" y="38"/>
                      </a:lnTo>
                      <a:lnTo>
                        <a:pt x="161" y="38"/>
                      </a:lnTo>
                      <a:lnTo>
                        <a:pt x="161" y="40"/>
                      </a:lnTo>
                      <a:lnTo>
                        <a:pt x="161" y="40"/>
                      </a:lnTo>
                      <a:lnTo>
                        <a:pt x="168" y="40"/>
                      </a:lnTo>
                      <a:lnTo>
                        <a:pt x="168" y="40"/>
                      </a:lnTo>
                      <a:lnTo>
                        <a:pt x="171" y="40"/>
                      </a:lnTo>
                      <a:lnTo>
                        <a:pt x="171" y="38"/>
                      </a:lnTo>
                      <a:close/>
                      <a:moveTo>
                        <a:pt x="187" y="38"/>
                      </a:moveTo>
                      <a:lnTo>
                        <a:pt x="187" y="38"/>
                      </a:lnTo>
                      <a:lnTo>
                        <a:pt x="177" y="38"/>
                      </a:lnTo>
                      <a:lnTo>
                        <a:pt x="177" y="40"/>
                      </a:lnTo>
                      <a:lnTo>
                        <a:pt x="177" y="40"/>
                      </a:lnTo>
                      <a:lnTo>
                        <a:pt x="187" y="39"/>
                      </a:lnTo>
                      <a:lnTo>
                        <a:pt x="187" y="38"/>
                      </a:lnTo>
                      <a:close/>
                      <a:moveTo>
                        <a:pt x="201" y="38"/>
                      </a:moveTo>
                      <a:lnTo>
                        <a:pt x="201" y="38"/>
                      </a:lnTo>
                      <a:lnTo>
                        <a:pt x="199" y="36"/>
                      </a:lnTo>
                      <a:lnTo>
                        <a:pt x="199" y="36"/>
                      </a:lnTo>
                      <a:lnTo>
                        <a:pt x="191" y="38"/>
                      </a:lnTo>
                      <a:lnTo>
                        <a:pt x="191" y="39"/>
                      </a:lnTo>
                      <a:lnTo>
                        <a:pt x="191" y="39"/>
                      </a:lnTo>
                      <a:lnTo>
                        <a:pt x="199" y="39"/>
                      </a:lnTo>
                      <a:lnTo>
                        <a:pt x="199" y="39"/>
                      </a:lnTo>
                      <a:lnTo>
                        <a:pt x="201" y="40"/>
                      </a:lnTo>
                      <a:lnTo>
                        <a:pt x="201" y="38"/>
                      </a:lnTo>
                      <a:close/>
                      <a:moveTo>
                        <a:pt x="210" y="51"/>
                      </a:moveTo>
                      <a:lnTo>
                        <a:pt x="210" y="51"/>
                      </a:lnTo>
                      <a:lnTo>
                        <a:pt x="209" y="45"/>
                      </a:lnTo>
                      <a:lnTo>
                        <a:pt x="207" y="40"/>
                      </a:lnTo>
                      <a:lnTo>
                        <a:pt x="204" y="42"/>
                      </a:lnTo>
                      <a:lnTo>
                        <a:pt x="204" y="42"/>
                      </a:lnTo>
                      <a:lnTo>
                        <a:pt x="206" y="46"/>
                      </a:lnTo>
                      <a:lnTo>
                        <a:pt x="207" y="51"/>
                      </a:lnTo>
                      <a:lnTo>
                        <a:pt x="210" y="51"/>
                      </a:lnTo>
                      <a:close/>
                      <a:moveTo>
                        <a:pt x="207" y="67"/>
                      </a:moveTo>
                      <a:lnTo>
                        <a:pt x="207" y="67"/>
                      </a:lnTo>
                      <a:lnTo>
                        <a:pt x="209" y="56"/>
                      </a:lnTo>
                      <a:lnTo>
                        <a:pt x="207" y="56"/>
                      </a:lnTo>
                      <a:lnTo>
                        <a:pt x="207" y="56"/>
                      </a:lnTo>
                      <a:lnTo>
                        <a:pt x="204" y="65"/>
                      </a:lnTo>
                      <a:lnTo>
                        <a:pt x="207" y="67"/>
                      </a:lnTo>
                      <a:close/>
                      <a:moveTo>
                        <a:pt x="203" y="81"/>
                      </a:moveTo>
                      <a:lnTo>
                        <a:pt x="203" y="81"/>
                      </a:lnTo>
                      <a:lnTo>
                        <a:pt x="206" y="71"/>
                      </a:lnTo>
                      <a:lnTo>
                        <a:pt x="203" y="71"/>
                      </a:lnTo>
                      <a:lnTo>
                        <a:pt x="203" y="71"/>
                      </a:lnTo>
                      <a:lnTo>
                        <a:pt x="200" y="80"/>
                      </a:lnTo>
                      <a:lnTo>
                        <a:pt x="203" y="81"/>
                      </a:lnTo>
                      <a:close/>
                      <a:moveTo>
                        <a:pt x="194" y="94"/>
                      </a:moveTo>
                      <a:lnTo>
                        <a:pt x="194" y="94"/>
                      </a:lnTo>
                      <a:lnTo>
                        <a:pt x="199" y="88"/>
                      </a:lnTo>
                      <a:lnTo>
                        <a:pt x="199" y="88"/>
                      </a:lnTo>
                      <a:lnTo>
                        <a:pt x="200" y="85"/>
                      </a:lnTo>
                      <a:lnTo>
                        <a:pt x="199" y="84"/>
                      </a:lnTo>
                      <a:lnTo>
                        <a:pt x="199" y="84"/>
                      </a:lnTo>
                      <a:lnTo>
                        <a:pt x="197" y="87"/>
                      </a:lnTo>
                      <a:lnTo>
                        <a:pt x="197" y="87"/>
                      </a:lnTo>
                      <a:lnTo>
                        <a:pt x="193" y="93"/>
                      </a:lnTo>
                      <a:lnTo>
                        <a:pt x="194" y="94"/>
                      </a:lnTo>
                      <a:lnTo>
                        <a:pt x="194" y="94"/>
                      </a:lnTo>
                      <a:close/>
                      <a:moveTo>
                        <a:pt x="181" y="103"/>
                      </a:moveTo>
                      <a:lnTo>
                        <a:pt x="181" y="103"/>
                      </a:lnTo>
                      <a:lnTo>
                        <a:pt x="190" y="97"/>
                      </a:lnTo>
                      <a:lnTo>
                        <a:pt x="188" y="96"/>
                      </a:lnTo>
                      <a:lnTo>
                        <a:pt x="188" y="96"/>
                      </a:lnTo>
                      <a:lnTo>
                        <a:pt x="180" y="100"/>
                      </a:lnTo>
                      <a:lnTo>
                        <a:pt x="181" y="103"/>
                      </a:lnTo>
                      <a:close/>
                      <a:moveTo>
                        <a:pt x="167" y="109"/>
                      </a:moveTo>
                      <a:lnTo>
                        <a:pt x="167" y="109"/>
                      </a:lnTo>
                      <a:lnTo>
                        <a:pt x="175" y="104"/>
                      </a:lnTo>
                      <a:lnTo>
                        <a:pt x="175" y="103"/>
                      </a:lnTo>
                      <a:lnTo>
                        <a:pt x="175" y="103"/>
                      </a:lnTo>
                      <a:lnTo>
                        <a:pt x="165" y="106"/>
                      </a:lnTo>
                      <a:lnTo>
                        <a:pt x="167" y="109"/>
                      </a:lnTo>
                      <a:close/>
                      <a:moveTo>
                        <a:pt x="152" y="113"/>
                      </a:moveTo>
                      <a:lnTo>
                        <a:pt x="152" y="113"/>
                      </a:lnTo>
                      <a:lnTo>
                        <a:pt x="162" y="110"/>
                      </a:lnTo>
                      <a:lnTo>
                        <a:pt x="161" y="109"/>
                      </a:lnTo>
                      <a:lnTo>
                        <a:pt x="161" y="109"/>
                      </a:lnTo>
                      <a:lnTo>
                        <a:pt x="151" y="111"/>
                      </a:lnTo>
                      <a:lnTo>
                        <a:pt x="152" y="113"/>
                      </a:lnTo>
                      <a:close/>
                      <a:moveTo>
                        <a:pt x="138" y="117"/>
                      </a:moveTo>
                      <a:lnTo>
                        <a:pt x="138" y="117"/>
                      </a:lnTo>
                      <a:lnTo>
                        <a:pt x="141" y="116"/>
                      </a:lnTo>
                      <a:lnTo>
                        <a:pt x="141" y="116"/>
                      </a:lnTo>
                      <a:lnTo>
                        <a:pt x="148" y="114"/>
                      </a:lnTo>
                      <a:lnTo>
                        <a:pt x="146" y="113"/>
                      </a:lnTo>
                      <a:lnTo>
                        <a:pt x="146" y="113"/>
                      </a:lnTo>
                      <a:lnTo>
                        <a:pt x="141" y="114"/>
                      </a:lnTo>
                      <a:lnTo>
                        <a:pt x="141" y="114"/>
                      </a:lnTo>
                      <a:lnTo>
                        <a:pt x="136" y="116"/>
                      </a:lnTo>
                      <a:lnTo>
                        <a:pt x="138" y="117"/>
                      </a:lnTo>
                      <a:close/>
                      <a:moveTo>
                        <a:pt x="125" y="124"/>
                      </a:moveTo>
                      <a:lnTo>
                        <a:pt x="125" y="124"/>
                      </a:lnTo>
                      <a:lnTo>
                        <a:pt x="133" y="120"/>
                      </a:lnTo>
                      <a:lnTo>
                        <a:pt x="132" y="117"/>
                      </a:lnTo>
                      <a:lnTo>
                        <a:pt x="132" y="117"/>
                      </a:lnTo>
                      <a:lnTo>
                        <a:pt x="123" y="122"/>
                      </a:lnTo>
                      <a:lnTo>
                        <a:pt x="125" y="124"/>
                      </a:lnTo>
                      <a:close/>
                      <a:moveTo>
                        <a:pt x="112" y="132"/>
                      </a:moveTo>
                      <a:lnTo>
                        <a:pt x="112" y="132"/>
                      </a:lnTo>
                      <a:lnTo>
                        <a:pt x="120" y="127"/>
                      </a:lnTo>
                      <a:lnTo>
                        <a:pt x="119" y="124"/>
                      </a:lnTo>
                      <a:lnTo>
                        <a:pt x="119" y="124"/>
                      </a:lnTo>
                      <a:lnTo>
                        <a:pt x="110" y="130"/>
                      </a:lnTo>
                      <a:lnTo>
                        <a:pt x="112" y="132"/>
                      </a:lnTo>
                      <a:close/>
                      <a:moveTo>
                        <a:pt x="99" y="140"/>
                      </a:moveTo>
                      <a:lnTo>
                        <a:pt x="99" y="140"/>
                      </a:lnTo>
                      <a:lnTo>
                        <a:pt x="107" y="135"/>
                      </a:lnTo>
                      <a:lnTo>
                        <a:pt x="106" y="133"/>
                      </a:lnTo>
                      <a:lnTo>
                        <a:pt x="106" y="133"/>
                      </a:lnTo>
                      <a:lnTo>
                        <a:pt x="97" y="138"/>
                      </a:lnTo>
                      <a:lnTo>
                        <a:pt x="99" y="140"/>
                      </a:lnTo>
                      <a:close/>
                      <a:moveTo>
                        <a:pt x="86" y="148"/>
                      </a:moveTo>
                      <a:lnTo>
                        <a:pt x="86" y="148"/>
                      </a:lnTo>
                      <a:lnTo>
                        <a:pt x="94" y="143"/>
                      </a:lnTo>
                      <a:lnTo>
                        <a:pt x="93" y="140"/>
                      </a:lnTo>
                      <a:lnTo>
                        <a:pt x="93" y="140"/>
                      </a:lnTo>
                      <a:lnTo>
                        <a:pt x="84" y="146"/>
                      </a:lnTo>
                      <a:lnTo>
                        <a:pt x="86" y="148"/>
                      </a:lnTo>
                      <a:close/>
                      <a:moveTo>
                        <a:pt x="73" y="156"/>
                      </a:moveTo>
                      <a:lnTo>
                        <a:pt x="73" y="156"/>
                      </a:lnTo>
                      <a:lnTo>
                        <a:pt x="81" y="151"/>
                      </a:lnTo>
                      <a:lnTo>
                        <a:pt x="80" y="149"/>
                      </a:lnTo>
                      <a:lnTo>
                        <a:pt x="80" y="149"/>
                      </a:lnTo>
                      <a:lnTo>
                        <a:pt x="71" y="153"/>
                      </a:lnTo>
                      <a:lnTo>
                        <a:pt x="73" y="156"/>
                      </a:lnTo>
                      <a:close/>
                      <a:moveTo>
                        <a:pt x="60" y="164"/>
                      </a:moveTo>
                      <a:lnTo>
                        <a:pt x="60" y="164"/>
                      </a:lnTo>
                      <a:lnTo>
                        <a:pt x="68" y="159"/>
                      </a:lnTo>
                      <a:lnTo>
                        <a:pt x="67" y="156"/>
                      </a:lnTo>
                      <a:lnTo>
                        <a:pt x="67" y="156"/>
                      </a:lnTo>
                      <a:lnTo>
                        <a:pt x="58" y="162"/>
                      </a:lnTo>
                      <a:lnTo>
                        <a:pt x="60" y="164"/>
                      </a:lnTo>
                      <a:close/>
                      <a:moveTo>
                        <a:pt x="54" y="155"/>
                      </a:moveTo>
                      <a:lnTo>
                        <a:pt x="54" y="155"/>
                      </a:lnTo>
                      <a:lnTo>
                        <a:pt x="54" y="165"/>
                      </a:lnTo>
                      <a:lnTo>
                        <a:pt x="55" y="165"/>
                      </a:lnTo>
                      <a:lnTo>
                        <a:pt x="55" y="165"/>
                      </a:lnTo>
                      <a:lnTo>
                        <a:pt x="57" y="155"/>
                      </a:lnTo>
                      <a:lnTo>
                        <a:pt x="54" y="155"/>
                      </a:lnTo>
                      <a:close/>
                      <a:moveTo>
                        <a:pt x="52" y="140"/>
                      </a:moveTo>
                      <a:lnTo>
                        <a:pt x="52" y="140"/>
                      </a:lnTo>
                      <a:lnTo>
                        <a:pt x="54" y="142"/>
                      </a:lnTo>
                      <a:lnTo>
                        <a:pt x="54" y="142"/>
                      </a:lnTo>
                      <a:lnTo>
                        <a:pt x="54" y="151"/>
                      </a:lnTo>
                      <a:lnTo>
                        <a:pt x="57" y="151"/>
                      </a:lnTo>
                      <a:lnTo>
                        <a:pt x="57" y="151"/>
                      </a:lnTo>
                      <a:lnTo>
                        <a:pt x="55" y="142"/>
                      </a:lnTo>
                      <a:lnTo>
                        <a:pt x="55" y="142"/>
                      </a:lnTo>
                      <a:lnTo>
                        <a:pt x="55" y="139"/>
                      </a:lnTo>
                      <a:lnTo>
                        <a:pt x="52" y="140"/>
                      </a:lnTo>
                      <a:close/>
                      <a:moveTo>
                        <a:pt x="39" y="136"/>
                      </a:moveTo>
                      <a:lnTo>
                        <a:pt x="39" y="136"/>
                      </a:lnTo>
                      <a:lnTo>
                        <a:pt x="45" y="138"/>
                      </a:lnTo>
                      <a:lnTo>
                        <a:pt x="49" y="138"/>
                      </a:lnTo>
                      <a:lnTo>
                        <a:pt x="51" y="136"/>
                      </a:lnTo>
                      <a:lnTo>
                        <a:pt x="51" y="136"/>
                      </a:lnTo>
                      <a:lnTo>
                        <a:pt x="45" y="135"/>
                      </a:lnTo>
                      <a:lnTo>
                        <a:pt x="41" y="133"/>
                      </a:lnTo>
                      <a:lnTo>
                        <a:pt x="39" y="136"/>
                      </a:lnTo>
                      <a:close/>
                      <a:moveTo>
                        <a:pt x="25" y="135"/>
                      </a:moveTo>
                      <a:lnTo>
                        <a:pt x="25" y="135"/>
                      </a:lnTo>
                      <a:lnTo>
                        <a:pt x="29" y="135"/>
                      </a:lnTo>
                      <a:lnTo>
                        <a:pt x="33" y="136"/>
                      </a:lnTo>
                      <a:lnTo>
                        <a:pt x="35" y="136"/>
                      </a:lnTo>
                      <a:lnTo>
                        <a:pt x="35" y="133"/>
                      </a:lnTo>
                      <a:lnTo>
                        <a:pt x="33" y="133"/>
                      </a:lnTo>
                      <a:lnTo>
                        <a:pt x="33" y="133"/>
                      </a:lnTo>
                      <a:lnTo>
                        <a:pt x="25" y="132"/>
                      </a:lnTo>
                      <a:lnTo>
                        <a:pt x="25" y="135"/>
                      </a:lnTo>
                      <a:close/>
                      <a:moveTo>
                        <a:pt x="12" y="138"/>
                      </a:moveTo>
                      <a:lnTo>
                        <a:pt x="12" y="138"/>
                      </a:lnTo>
                      <a:lnTo>
                        <a:pt x="16" y="135"/>
                      </a:lnTo>
                      <a:lnTo>
                        <a:pt x="16" y="135"/>
                      </a:lnTo>
                      <a:lnTo>
                        <a:pt x="19" y="133"/>
                      </a:lnTo>
                      <a:lnTo>
                        <a:pt x="20" y="133"/>
                      </a:lnTo>
                      <a:lnTo>
                        <a:pt x="20" y="130"/>
                      </a:lnTo>
                      <a:lnTo>
                        <a:pt x="19" y="130"/>
                      </a:lnTo>
                      <a:lnTo>
                        <a:pt x="19" y="130"/>
                      </a:lnTo>
                      <a:lnTo>
                        <a:pt x="15" y="132"/>
                      </a:lnTo>
                      <a:lnTo>
                        <a:pt x="15" y="132"/>
                      </a:lnTo>
                      <a:lnTo>
                        <a:pt x="10" y="136"/>
                      </a:lnTo>
                      <a:lnTo>
                        <a:pt x="12" y="138"/>
                      </a:lnTo>
                      <a:close/>
                      <a:moveTo>
                        <a:pt x="3" y="149"/>
                      </a:moveTo>
                      <a:lnTo>
                        <a:pt x="3" y="149"/>
                      </a:lnTo>
                      <a:lnTo>
                        <a:pt x="9" y="140"/>
                      </a:lnTo>
                      <a:lnTo>
                        <a:pt x="7" y="139"/>
                      </a:lnTo>
                      <a:lnTo>
                        <a:pt x="7" y="139"/>
                      </a:lnTo>
                      <a:lnTo>
                        <a:pt x="0" y="148"/>
                      </a:lnTo>
                      <a:lnTo>
                        <a:pt x="3" y="149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0" name="Freeform 1700"/>
                <p:cNvSpPr>
                  <a:spLocks noEditPoints="1"/>
                </p:cNvSpPr>
                <p:nvPr/>
              </p:nvSpPr>
              <p:spPr bwMode="auto">
                <a:xfrm>
                  <a:off x="5216007" y="2906595"/>
                  <a:ext cx="14839" cy="19785"/>
                </a:xfrm>
                <a:custGeom>
                  <a:avLst/>
                  <a:gdLst>
                    <a:gd name="T0" fmla="*/ 3 w 15"/>
                    <a:gd name="T1" fmla="*/ 10 h 20"/>
                    <a:gd name="T2" fmla="*/ 3 w 15"/>
                    <a:gd name="T3" fmla="*/ 9 h 20"/>
                    <a:gd name="T4" fmla="*/ 3 w 15"/>
                    <a:gd name="T5" fmla="*/ 9 h 20"/>
                    <a:gd name="T6" fmla="*/ 1 w 15"/>
                    <a:gd name="T7" fmla="*/ 0 h 20"/>
                    <a:gd name="T8" fmla="*/ 0 w 15"/>
                    <a:gd name="T9" fmla="*/ 0 h 20"/>
                    <a:gd name="T10" fmla="*/ 0 w 15"/>
                    <a:gd name="T11" fmla="*/ 0 h 20"/>
                    <a:gd name="T12" fmla="*/ 1 w 15"/>
                    <a:gd name="T13" fmla="*/ 10 h 20"/>
                    <a:gd name="T14" fmla="*/ 1 w 15"/>
                    <a:gd name="T15" fmla="*/ 11 h 20"/>
                    <a:gd name="T16" fmla="*/ 3 w 15"/>
                    <a:gd name="T17" fmla="*/ 10 h 20"/>
                    <a:gd name="T18" fmla="*/ 15 w 15"/>
                    <a:gd name="T19" fmla="*/ 17 h 20"/>
                    <a:gd name="T20" fmla="*/ 15 w 15"/>
                    <a:gd name="T21" fmla="*/ 17 h 20"/>
                    <a:gd name="T22" fmla="*/ 10 w 15"/>
                    <a:gd name="T23" fmla="*/ 16 h 20"/>
                    <a:gd name="T24" fmla="*/ 6 w 15"/>
                    <a:gd name="T25" fmla="*/ 13 h 20"/>
                    <a:gd name="T26" fmla="*/ 4 w 15"/>
                    <a:gd name="T27" fmla="*/ 16 h 20"/>
                    <a:gd name="T28" fmla="*/ 4 w 15"/>
                    <a:gd name="T29" fmla="*/ 16 h 20"/>
                    <a:gd name="T30" fmla="*/ 9 w 15"/>
                    <a:gd name="T31" fmla="*/ 19 h 20"/>
                    <a:gd name="T32" fmla="*/ 15 w 15"/>
                    <a:gd name="T33" fmla="*/ 20 h 20"/>
                    <a:gd name="T34" fmla="*/ 15 w 15"/>
                    <a:gd name="T35" fmla="*/ 17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" h="20">
                      <a:moveTo>
                        <a:pt x="3" y="10"/>
                      </a:moveTo>
                      <a:lnTo>
                        <a:pt x="3" y="9"/>
                      </a:lnTo>
                      <a:lnTo>
                        <a:pt x="3" y="9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10"/>
                      </a:lnTo>
                      <a:lnTo>
                        <a:pt x="1" y="11"/>
                      </a:lnTo>
                      <a:lnTo>
                        <a:pt x="3" y="10"/>
                      </a:lnTo>
                      <a:close/>
                      <a:moveTo>
                        <a:pt x="15" y="17"/>
                      </a:moveTo>
                      <a:lnTo>
                        <a:pt x="15" y="17"/>
                      </a:lnTo>
                      <a:lnTo>
                        <a:pt x="10" y="16"/>
                      </a:lnTo>
                      <a:lnTo>
                        <a:pt x="6" y="13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9" y="19"/>
                      </a:lnTo>
                      <a:lnTo>
                        <a:pt x="15" y="20"/>
                      </a:lnTo>
                      <a:lnTo>
                        <a:pt x="15" y="1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1" name="Freeform 1701"/>
                <p:cNvSpPr>
                  <a:spLocks noEditPoints="1"/>
                </p:cNvSpPr>
                <p:nvPr/>
              </p:nvSpPr>
              <p:spPr bwMode="auto">
                <a:xfrm>
                  <a:off x="5287234" y="2920445"/>
                  <a:ext cx="18796" cy="37592"/>
                </a:xfrm>
                <a:custGeom>
                  <a:avLst/>
                  <a:gdLst>
                    <a:gd name="T0" fmla="*/ 15 w 19"/>
                    <a:gd name="T1" fmla="*/ 11 h 38"/>
                    <a:gd name="T2" fmla="*/ 15 w 19"/>
                    <a:gd name="T3" fmla="*/ 11 h 38"/>
                    <a:gd name="T4" fmla="*/ 16 w 19"/>
                    <a:gd name="T5" fmla="*/ 6 h 38"/>
                    <a:gd name="T6" fmla="*/ 16 w 19"/>
                    <a:gd name="T7" fmla="*/ 6 h 38"/>
                    <a:gd name="T8" fmla="*/ 16 w 19"/>
                    <a:gd name="T9" fmla="*/ 5 h 38"/>
                    <a:gd name="T10" fmla="*/ 16 w 19"/>
                    <a:gd name="T11" fmla="*/ 5 h 38"/>
                    <a:gd name="T12" fmla="*/ 19 w 19"/>
                    <a:gd name="T13" fmla="*/ 3 h 38"/>
                    <a:gd name="T14" fmla="*/ 18 w 19"/>
                    <a:gd name="T15" fmla="*/ 0 h 38"/>
                    <a:gd name="T16" fmla="*/ 18 w 19"/>
                    <a:gd name="T17" fmla="*/ 0 h 38"/>
                    <a:gd name="T18" fmla="*/ 15 w 19"/>
                    <a:gd name="T19" fmla="*/ 2 h 38"/>
                    <a:gd name="T20" fmla="*/ 15 w 19"/>
                    <a:gd name="T21" fmla="*/ 2 h 38"/>
                    <a:gd name="T22" fmla="*/ 13 w 19"/>
                    <a:gd name="T23" fmla="*/ 3 h 38"/>
                    <a:gd name="T24" fmla="*/ 13 w 19"/>
                    <a:gd name="T25" fmla="*/ 6 h 38"/>
                    <a:gd name="T26" fmla="*/ 13 w 19"/>
                    <a:gd name="T27" fmla="*/ 6 h 38"/>
                    <a:gd name="T28" fmla="*/ 13 w 19"/>
                    <a:gd name="T29" fmla="*/ 11 h 38"/>
                    <a:gd name="T30" fmla="*/ 15 w 19"/>
                    <a:gd name="T31" fmla="*/ 11 h 38"/>
                    <a:gd name="T32" fmla="*/ 11 w 19"/>
                    <a:gd name="T33" fmla="*/ 25 h 38"/>
                    <a:gd name="T34" fmla="*/ 11 w 19"/>
                    <a:gd name="T35" fmla="*/ 25 h 38"/>
                    <a:gd name="T36" fmla="*/ 13 w 19"/>
                    <a:gd name="T37" fmla="*/ 18 h 38"/>
                    <a:gd name="T38" fmla="*/ 13 w 19"/>
                    <a:gd name="T39" fmla="*/ 18 h 38"/>
                    <a:gd name="T40" fmla="*/ 15 w 19"/>
                    <a:gd name="T41" fmla="*/ 16 h 38"/>
                    <a:gd name="T42" fmla="*/ 12 w 19"/>
                    <a:gd name="T43" fmla="*/ 15 h 38"/>
                    <a:gd name="T44" fmla="*/ 12 w 19"/>
                    <a:gd name="T45" fmla="*/ 15 h 38"/>
                    <a:gd name="T46" fmla="*/ 11 w 19"/>
                    <a:gd name="T47" fmla="*/ 18 h 38"/>
                    <a:gd name="T48" fmla="*/ 11 w 19"/>
                    <a:gd name="T49" fmla="*/ 18 h 38"/>
                    <a:gd name="T50" fmla="*/ 8 w 19"/>
                    <a:gd name="T51" fmla="*/ 24 h 38"/>
                    <a:gd name="T52" fmla="*/ 11 w 19"/>
                    <a:gd name="T53" fmla="*/ 25 h 38"/>
                    <a:gd name="T54" fmla="*/ 3 w 19"/>
                    <a:gd name="T55" fmla="*/ 38 h 38"/>
                    <a:gd name="T56" fmla="*/ 3 w 19"/>
                    <a:gd name="T57" fmla="*/ 38 h 38"/>
                    <a:gd name="T58" fmla="*/ 8 w 19"/>
                    <a:gd name="T59" fmla="*/ 29 h 38"/>
                    <a:gd name="T60" fmla="*/ 5 w 19"/>
                    <a:gd name="T61" fmla="*/ 28 h 38"/>
                    <a:gd name="T62" fmla="*/ 5 w 19"/>
                    <a:gd name="T63" fmla="*/ 28 h 38"/>
                    <a:gd name="T64" fmla="*/ 0 w 19"/>
                    <a:gd name="T65" fmla="*/ 38 h 38"/>
                    <a:gd name="T66" fmla="*/ 3 w 19"/>
                    <a:gd name="T67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9" h="38">
                      <a:moveTo>
                        <a:pt x="15" y="11"/>
                      </a:moveTo>
                      <a:lnTo>
                        <a:pt x="15" y="11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6" y="5"/>
                      </a:lnTo>
                      <a:lnTo>
                        <a:pt x="16" y="5"/>
                      </a:lnTo>
                      <a:lnTo>
                        <a:pt x="19" y="3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5" y="2"/>
                      </a:lnTo>
                      <a:lnTo>
                        <a:pt x="15" y="2"/>
                      </a:lnTo>
                      <a:lnTo>
                        <a:pt x="13" y="3"/>
                      </a:lnTo>
                      <a:lnTo>
                        <a:pt x="13" y="6"/>
                      </a:lnTo>
                      <a:lnTo>
                        <a:pt x="13" y="6"/>
                      </a:lnTo>
                      <a:lnTo>
                        <a:pt x="13" y="11"/>
                      </a:lnTo>
                      <a:lnTo>
                        <a:pt x="15" y="11"/>
                      </a:lnTo>
                      <a:close/>
                      <a:moveTo>
                        <a:pt x="11" y="25"/>
                      </a:moveTo>
                      <a:lnTo>
                        <a:pt x="11" y="25"/>
                      </a:lnTo>
                      <a:lnTo>
                        <a:pt x="13" y="18"/>
                      </a:lnTo>
                      <a:lnTo>
                        <a:pt x="13" y="18"/>
                      </a:lnTo>
                      <a:lnTo>
                        <a:pt x="15" y="16"/>
                      </a:lnTo>
                      <a:lnTo>
                        <a:pt x="12" y="15"/>
                      </a:lnTo>
                      <a:lnTo>
                        <a:pt x="12" y="15"/>
                      </a:lnTo>
                      <a:lnTo>
                        <a:pt x="11" y="18"/>
                      </a:lnTo>
                      <a:lnTo>
                        <a:pt x="11" y="18"/>
                      </a:lnTo>
                      <a:lnTo>
                        <a:pt x="8" y="24"/>
                      </a:lnTo>
                      <a:lnTo>
                        <a:pt x="11" y="25"/>
                      </a:lnTo>
                      <a:close/>
                      <a:moveTo>
                        <a:pt x="3" y="38"/>
                      </a:moveTo>
                      <a:lnTo>
                        <a:pt x="3" y="38"/>
                      </a:lnTo>
                      <a:lnTo>
                        <a:pt x="8" y="29"/>
                      </a:lnTo>
                      <a:lnTo>
                        <a:pt x="5" y="28"/>
                      </a:lnTo>
                      <a:lnTo>
                        <a:pt x="5" y="28"/>
                      </a:lnTo>
                      <a:lnTo>
                        <a:pt x="0" y="38"/>
                      </a:lnTo>
                      <a:lnTo>
                        <a:pt x="3" y="3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2" name="Freeform 1702"/>
                <p:cNvSpPr>
                  <a:spLocks noEditPoints="1"/>
                </p:cNvSpPr>
                <p:nvPr/>
              </p:nvSpPr>
              <p:spPr bwMode="auto">
                <a:xfrm>
                  <a:off x="5241728" y="3028274"/>
                  <a:ext cx="11871" cy="32646"/>
                </a:xfrm>
                <a:custGeom>
                  <a:avLst/>
                  <a:gdLst>
                    <a:gd name="T0" fmla="*/ 3 w 12"/>
                    <a:gd name="T1" fmla="*/ 3 h 33"/>
                    <a:gd name="T2" fmla="*/ 3 w 12"/>
                    <a:gd name="T3" fmla="*/ 3 h 33"/>
                    <a:gd name="T4" fmla="*/ 3 w 12"/>
                    <a:gd name="T5" fmla="*/ 0 h 33"/>
                    <a:gd name="T6" fmla="*/ 0 w 12"/>
                    <a:gd name="T7" fmla="*/ 1 h 33"/>
                    <a:gd name="T8" fmla="*/ 0 w 12"/>
                    <a:gd name="T9" fmla="*/ 1 h 33"/>
                    <a:gd name="T10" fmla="*/ 2 w 12"/>
                    <a:gd name="T11" fmla="*/ 4 h 33"/>
                    <a:gd name="T12" fmla="*/ 3 w 12"/>
                    <a:gd name="T13" fmla="*/ 3 h 33"/>
                    <a:gd name="T14" fmla="*/ 9 w 12"/>
                    <a:gd name="T15" fmla="*/ 17 h 33"/>
                    <a:gd name="T16" fmla="*/ 9 w 12"/>
                    <a:gd name="T17" fmla="*/ 17 h 33"/>
                    <a:gd name="T18" fmla="*/ 4 w 12"/>
                    <a:gd name="T19" fmla="*/ 7 h 33"/>
                    <a:gd name="T20" fmla="*/ 3 w 12"/>
                    <a:gd name="T21" fmla="*/ 9 h 33"/>
                    <a:gd name="T22" fmla="*/ 3 w 12"/>
                    <a:gd name="T23" fmla="*/ 9 h 33"/>
                    <a:gd name="T24" fmla="*/ 6 w 12"/>
                    <a:gd name="T25" fmla="*/ 19 h 33"/>
                    <a:gd name="T26" fmla="*/ 9 w 12"/>
                    <a:gd name="T27" fmla="*/ 17 h 33"/>
                    <a:gd name="T28" fmla="*/ 12 w 12"/>
                    <a:gd name="T29" fmla="*/ 32 h 33"/>
                    <a:gd name="T30" fmla="*/ 12 w 12"/>
                    <a:gd name="T31" fmla="*/ 32 h 33"/>
                    <a:gd name="T32" fmla="*/ 10 w 12"/>
                    <a:gd name="T33" fmla="*/ 22 h 33"/>
                    <a:gd name="T34" fmla="*/ 7 w 12"/>
                    <a:gd name="T35" fmla="*/ 23 h 33"/>
                    <a:gd name="T36" fmla="*/ 7 w 12"/>
                    <a:gd name="T37" fmla="*/ 23 h 33"/>
                    <a:gd name="T38" fmla="*/ 10 w 12"/>
                    <a:gd name="T39" fmla="*/ 33 h 33"/>
                    <a:gd name="T40" fmla="*/ 12 w 12"/>
                    <a:gd name="T41" fmla="*/ 32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2" h="33"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3"/>
                      </a:lnTo>
                      <a:close/>
                      <a:moveTo>
                        <a:pt x="9" y="17"/>
                      </a:moveTo>
                      <a:lnTo>
                        <a:pt x="9" y="17"/>
                      </a:lnTo>
                      <a:lnTo>
                        <a:pt x="4" y="7"/>
                      </a:lnTo>
                      <a:lnTo>
                        <a:pt x="3" y="9"/>
                      </a:lnTo>
                      <a:lnTo>
                        <a:pt x="3" y="9"/>
                      </a:lnTo>
                      <a:lnTo>
                        <a:pt x="6" y="19"/>
                      </a:lnTo>
                      <a:lnTo>
                        <a:pt x="9" y="17"/>
                      </a:lnTo>
                      <a:close/>
                      <a:moveTo>
                        <a:pt x="12" y="32"/>
                      </a:moveTo>
                      <a:lnTo>
                        <a:pt x="12" y="32"/>
                      </a:lnTo>
                      <a:lnTo>
                        <a:pt x="10" y="22"/>
                      </a:lnTo>
                      <a:lnTo>
                        <a:pt x="7" y="23"/>
                      </a:lnTo>
                      <a:lnTo>
                        <a:pt x="7" y="23"/>
                      </a:lnTo>
                      <a:lnTo>
                        <a:pt x="10" y="33"/>
                      </a:lnTo>
                      <a:lnTo>
                        <a:pt x="12" y="3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3" name="Freeform 1703"/>
                <p:cNvSpPr>
                  <a:spLocks noEditPoints="1"/>
                </p:cNvSpPr>
                <p:nvPr/>
              </p:nvSpPr>
              <p:spPr bwMode="auto">
                <a:xfrm>
                  <a:off x="5046844" y="2556397"/>
                  <a:ext cx="146410" cy="50452"/>
                </a:xfrm>
                <a:custGeom>
                  <a:avLst/>
                  <a:gdLst>
                    <a:gd name="T0" fmla="*/ 7 w 148"/>
                    <a:gd name="T1" fmla="*/ 3 h 51"/>
                    <a:gd name="T2" fmla="*/ 2 w 148"/>
                    <a:gd name="T3" fmla="*/ 9 h 51"/>
                    <a:gd name="T4" fmla="*/ 9 w 148"/>
                    <a:gd name="T5" fmla="*/ 6 h 51"/>
                    <a:gd name="T6" fmla="*/ 23 w 148"/>
                    <a:gd name="T7" fmla="*/ 2 h 51"/>
                    <a:gd name="T8" fmla="*/ 16 w 148"/>
                    <a:gd name="T9" fmla="*/ 0 h 51"/>
                    <a:gd name="T10" fmla="*/ 15 w 148"/>
                    <a:gd name="T11" fmla="*/ 0 h 51"/>
                    <a:gd name="T12" fmla="*/ 12 w 148"/>
                    <a:gd name="T13" fmla="*/ 2 h 51"/>
                    <a:gd name="T14" fmla="*/ 13 w 148"/>
                    <a:gd name="T15" fmla="*/ 3 h 51"/>
                    <a:gd name="T16" fmla="*/ 16 w 148"/>
                    <a:gd name="T17" fmla="*/ 3 h 51"/>
                    <a:gd name="T18" fmla="*/ 22 w 148"/>
                    <a:gd name="T19" fmla="*/ 5 h 51"/>
                    <a:gd name="T20" fmla="*/ 36 w 148"/>
                    <a:gd name="T21" fmla="*/ 9 h 51"/>
                    <a:gd name="T22" fmla="*/ 28 w 148"/>
                    <a:gd name="T23" fmla="*/ 5 h 51"/>
                    <a:gd name="T24" fmla="*/ 26 w 148"/>
                    <a:gd name="T25" fmla="*/ 6 h 51"/>
                    <a:gd name="T26" fmla="*/ 36 w 148"/>
                    <a:gd name="T27" fmla="*/ 9 h 51"/>
                    <a:gd name="T28" fmla="*/ 51 w 148"/>
                    <a:gd name="T29" fmla="*/ 15 h 51"/>
                    <a:gd name="T30" fmla="*/ 41 w 148"/>
                    <a:gd name="T31" fmla="*/ 12 h 51"/>
                    <a:gd name="T32" fmla="*/ 41 w 148"/>
                    <a:gd name="T33" fmla="*/ 13 h 51"/>
                    <a:gd name="T34" fmla="*/ 49 w 148"/>
                    <a:gd name="T35" fmla="*/ 18 h 51"/>
                    <a:gd name="T36" fmla="*/ 65 w 148"/>
                    <a:gd name="T37" fmla="*/ 19 h 51"/>
                    <a:gd name="T38" fmla="*/ 55 w 148"/>
                    <a:gd name="T39" fmla="*/ 16 h 51"/>
                    <a:gd name="T40" fmla="*/ 54 w 148"/>
                    <a:gd name="T41" fmla="*/ 19 h 51"/>
                    <a:gd name="T42" fmla="*/ 65 w 148"/>
                    <a:gd name="T43" fmla="*/ 19 h 51"/>
                    <a:gd name="T44" fmla="*/ 80 w 148"/>
                    <a:gd name="T45" fmla="*/ 24 h 51"/>
                    <a:gd name="T46" fmla="*/ 68 w 148"/>
                    <a:gd name="T47" fmla="*/ 24 h 51"/>
                    <a:gd name="T48" fmla="*/ 78 w 148"/>
                    <a:gd name="T49" fmla="*/ 27 h 51"/>
                    <a:gd name="T50" fmla="*/ 94 w 148"/>
                    <a:gd name="T51" fmla="*/ 28 h 51"/>
                    <a:gd name="T52" fmla="*/ 84 w 148"/>
                    <a:gd name="T53" fmla="*/ 25 h 51"/>
                    <a:gd name="T54" fmla="*/ 84 w 148"/>
                    <a:gd name="T55" fmla="*/ 28 h 51"/>
                    <a:gd name="T56" fmla="*/ 94 w 148"/>
                    <a:gd name="T57" fmla="*/ 28 h 51"/>
                    <a:gd name="T58" fmla="*/ 109 w 148"/>
                    <a:gd name="T59" fmla="*/ 34 h 51"/>
                    <a:gd name="T60" fmla="*/ 99 w 148"/>
                    <a:gd name="T61" fmla="*/ 32 h 51"/>
                    <a:gd name="T62" fmla="*/ 107 w 148"/>
                    <a:gd name="T63" fmla="*/ 37 h 51"/>
                    <a:gd name="T64" fmla="*/ 120 w 148"/>
                    <a:gd name="T65" fmla="*/ 42 h 51"/>
                    <a:gd name="T66" fmla="*/ 113 w 148"/>
                    <a:gd name="T67" fmla="*/ 37 h 51"/>
                    <a:gd name="T68" fmla="*/ 112 w 148"/>
                    <a:gd name="T69" fmla="*/ 40 h 51"/>
                    <a:gd name="T70" fmla="*/ 120 w 148"/>
                    <a:gd name="T71" fmla="*/ 42 h 51"/>
                    <a:gd name="T72" fmla="*/ 133 w 148"/>
                    <a:gd name="T73" fmla="*/ 48 h 51"/>
                    <a:gd name="T74" fmla="*/ 130 w 148"/>
                    <a:gd name="T75" fmla="*/ 48 h 51"/>
                    <a:gd name="T76" fmla="*/ 128 w 148"/>
                    <a:gd name="T77" fmla="*/ 48 h 51"/>
                    <a:gd name="T78" fmla="*/ 123 w 148"/>
                    <a:gd name="T79" fmla="*/ 48 h 51"/>
                    <a:gd name="T80" fmla="*/ 126 w 148"/>
                    <a:gd name="T81" fmla="*/ 50 h 51"/>
                    <a:gd name="T82" fmla="*/ 130 w 148"/>
                    <a:gd name="T83" fmla="*/ 51 h 51"/>
                    <a:gd name="T84" fmla="*/ 133 w 148"/>
                    <a:gd name="T85" fmla="*/ 51 h 51"/>
                    <a:gd name="T86" fmla="*/ 146 w 148"/>
                    <a:gd name="T87" fmla="*/ 42 h 51"/>
                    <a:gd name="T88" fmla="*/ 138 w 148"/>
                    <a:gd name="T89" fmla="*/ 47 h 51"/>
                    <a:gd name="T90" fmla="*/ 139 w 148"/>
                    <a:gd name="T91" fmla="*/ 50 h 51"/>
                    <a:gd name="T92" fmla="*/ 146 w 148"/>
                    <a:gd name="T93" fmla="*/ 42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48" h="51">
                      <a:moveTo>
                        <a:pt x="7" y="3"/>
                      </a:moveTo>
                      <a:lnTo>
                        <a:pt x="7" y="3"/>
                      </a:lnTo>
                      <a:lnTo>
                        <a:pt x="0" y="6"/>
                      </a:lnTo>
                      <a:lnTo>
                        <a:pt x="2" y="9"/>
                      </a:lnTo>
                      <a:lnTo>
                        <a:pt x="2" y="9"/>
                      </a:lnTo>
                      <a:lnTo>
                        <a:pt x="9" y="6"/>
                      </a:lnTo>
                      <a:lnTo>
                        <a:pt x="7" y="3"/>
                      </a:lnTo>
                      <a:close/>
                      <a:moveTo>
                        <a:pt x="23" y="2"/>
                      </a:moveTo>
                      <a:lnTo>
                        <a:pt x="23" y="2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5" y="0"/>
                      </a:lnTo>
                      <a:lnTo>
                        <a:pt x="12" y="2"/>
                      </a:lnTo>
                      <a:lnTo>
                        <a:pt x="13" y="3"/>
                      </a:lnTo>
                      <a:lnTo>
                        <a:pt x="13" y="3"/>
                      </a:lnTo>
                      <a:lnTo>
                        <a:pt x="15" y="3"/>
                      </a:lnTo>
                      <a:lnTo>
                        <a:pt x="16" y="3"/>
                      </a:lnTo>
                      <a:lnTo>
                        <a:pt x="16" y="3"/>
                      </a:lnTo>
                      <a:lnTo>
                        <a:pt x="22" y="5"/>
                      </a:lnTo>
                      <a:lnTo>
                        <a:pt x="23" y="2"/>
                      </a:lnTo>
                      <a:close/>
                      <a:moveTo>
                        <a:pt x="36" y="9"/>
                      </a:moveTo>
                      <a:lnTo>
                        <a:pt x="36" y="9"/>
                      </a:lnTo>
                      <a:lnTo>
                        <a:pt x="28" y="5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35" y="11"/>
                      </a:lnTo>
                      <a:lnTo>
                        <a:pt x="36" y="9"/>
                      </a:lnTo>
                      <a:close/>
                      <a:moveTo>
                        <a:pt x="51" y="15"/>
                      </a:moveTo>
                      <a:lnTo>
                        <a:pt x="51" y="15"/>
                      </a:lnTo>
                      <a:lnTo>
                        <a:pt x="42" y="12"/>
                      </a:lnTo>
                      <a:lnTo>
                        <a:pt x="41" y="12"/>
                      </a:lnTo>
                      <a:lnTo>
                        <a:pt x="39" y="13"/>
                      </a:lnTo>
                      <a:lnTo>
                        <a:pt x="41" y="13"/>
                      </a:lnTo>
                      <a:lnTo>
                        <a:pt x="41" y="13"/>
                      </a:lnTo>
                      <a:lnTo>
                        <a:pt x="49" y="18"/>
                      </a:lnTo>
                      <a:lnTo>
                        <a:pt x="51" y="15"/>
                      </a:lnTo>
                      <a:close/>
                      <a:moveTo>
                        <a:pt x="65" y="19"/>
                      </a:moveTo>
                      <a:lnTo>
                        <a:pt x="65" y="19"/>
                      </a:lnTo>
                      <a:lnTo>
                        <a:pt x="55" y="16"/>
                      </a:lnTo>
                      <a:lnTo>
                        <a:pt x="54" y="19"/>
                      </a:lnTo>
                      <a:lnTo>
                        <a:pt x="54" y="19"/>
                      </a:lnTo>
                      <a:lnTo>
                        <a:pt x="64" y="22"/>
                      </a:lnTo>
                      <a:lnTo>
                        <a:pt x="65" y="19"/>
                      </a:lnTo>
                      <a:close/>
                      <a:moveTo>
                        <a:pt x="80" y="24"/>
                      </a:moveTo>
                      <a:lnTo>
                        <a:pt x="80" y="24"/>
                      </a:lnTo>
                      <a:lnTo>
                        <a:pt x="70" y="21"/>
                      </a:lnTo>
                      <a:lnTo>
                        <a:pt x="68" y="24"/>
                      </a:lnTo>
                      <a:lnTo>
                        <a:pt x="68" y="24"/>
                      </a:lnTo>
                      <a:lnTo>
                        <a:pt x="78" y="27"/>
                      </a:lnTo>
                      <a:lnTo>
                        <a:pt x="80" y="24"/>
                      </a:lnTo>
                      <a:close/>
                      <a:moveTo>
                        <a:pt x="94" y="28"/>
                      </a:moveTo>
                      <a:lnTo>
                        <a:pt x="94" y="28"/>
                      </a:lnTo>
                      <a:lnTo>
                        <a:pt x="84" y="25"/>
                      </a:lnTo>
                      <a:lnTo>
                        <a:pt x="84" y="28"/>
                      </a:lnTo>
                      <a:lnTo>
                        <a:pt x="84" y="28"/>
                      </a:lnTo>
                      <a:lnTo>
                        <a:pt x="93" y="31"/>
                      </a:lnTo>
                      <a:lnTo>
                        <a:pt x="94" y="28"/>
                      </a:lnTo>
                      <a:close/>
                      <a:moveTo>
                        <a:pt x="109" y="34"/>
                      </a:moveTo>
                      <a:lnTo>
                        <a:pt x="109" y="34"/>
                      </a:lnTo>
                      <a:lnTo>
                        <a:pt x="99" y="29"/>
                      </a:lnTo>
                      <a:lnTo>
                        <a:pt x="99" y="32"/>
                      </a:lnTo>
                      <a:lnTo>
                        <a:pt x="99" y="32"/>
                      </a:lnTo>
                      <a:lnTo>
                        <a:pt x="107" y="37"/>
                      </a:lnTo>
                      <a:lnTo>
                        <a:pt x="109" y="34"/>
                      </a:lnTo>
                      <a:close/>
                      <a:moveTo>
                        <a:pt x="120" y="42"/>
                      </a:moveTo>
                      <a:lnTo>
                        <a:pt x="120" y="42"/>
                      </a:lnTo>
                      <a:lnTo>
                        <a:pt x="113" y="37"/>
                      </a:lnTo>
                      <a:lnTo>
                        <a:pt x="112" y="40"/>
                      </a:lnTo>
                      <a:lnTo>
                        <a:pt x="112" y="40"/>
                      </a:lnTo>
                      <a:lnTo>
                        <a:pt x="119" y="45"/>
                      </a:lnTo>
                      <a:lnTo>
                        <a:pt x="120" y="42"/>
                      </a:lnTo>
                      <a:close/>
                      <a:moveTo>
                        <a:pt x="133" y="48"/>
                      </a:moveTo>
                      <a:lnTo>
                        <a:pt x="133" y="48"/>
                      </a:lnTo>
                      <a:lnTo>
                        <a:pt x="130" y="48"/>
                      </a:lnTo>
                      <a:lnTo>
                        <a:pt x="130" y="48"/>
                      </a:lnTo>
                      <a:lnTo>
                        <a:pt x="128" y="48"/>
                      </a:lnTo>
                      <a:lnTo>
                        <a:pt x="128" y="48"/>
                      </a:lnTo>
                      <a:lnTo>
                        <a:pt x="125" y="45"/>
                      </a:lnTo>
                      <a:lnTo>
                        <a:pt x="123" y="48"/>
                      </a:lnTo>
                      <a:lnTo>
                        <a:pt x="123" y="48"/>
                      </a:lnTo>
                      <a:lnTo>
                        <a:pt x="126" y="50"/>
                      </a:lnTo>
                      <a:lnTo>
                        <a:pt x="126" y="50"/>
                      </a:lnTo>
                      <a:lnTo>
                        <a:pt x="130" y="51"/>
                      </a:lnTo>
                      <a:lnTo>
                        <a:pt x="130" y="51"/>
                      </a:lnTo>
                      <a:lnTo>
                        <a:pt x="133" y="51"/>
                      </a:lnTo>
                      <a:lnTo>
                        <a:pt x="133" y="48"/>
                      </a:lnTo>
                      <a:close/>
                      <a:moveTo>
                        <a:pt x="146" y="42"/>
                      </a:moveTo>
                      <a:lnTo>
                        <a:pt x="146" y="42"/>
                      </a:lnTo>
                      <a:lnTo>
                        <a:pt x="138" y="47"/>
                      </a:lnTo>
                      <a:lnTo>
                        <a:pt x="139" y="50"/>
                      </a:lnTo>
                      <a:lnTo>
                        <a:pt x="139" y="50"/>
                      </a:lnTo>
                      <a:lnTo>
                        <a:pt x="148" y="45"/>
                      </a:lnTo>
                      <a:lnTo>
                        <a:pt x="146" y="4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4" name="Freeform 1704"/>
                <p:cNvSpPr>
                  <a:spLocks noEditPoints="1"/>
                </p:cNvSpPr>
                <p:nvPr/>
              </p:nvSpPr>
              <p:spPr bwMode="auto">
                <a:xfrm>
                  <a:off x="5075533" y="2602892"/>
                  <a:ext cx="117722" cy="67270"/>
                </a:xfrm>
                <a:custGeom>
                  <a:avLst/>
                  <a:gdLst>
                    <a:gd name="T0" fmla="*/ 10 w 119"/>
                    <a:gd name="T1" fmla="*/ 3 h 68"/>
                    <a:gd name="T2" fmla="*/ 0 w 119"/>
                    <a:gd name="T3" fmla="*/ 1 h 68"/>
                    <a:gd name="T4" fmla="*/ 10 w 119"/>
                    <a:gd name="T5" fmla="*/ 6 h 68"/>
                    <a:gd name="T6" fmla="*/ 25 w 119"/>
                    <a:gd name="T7" fmla="*/ 10 h 68"/>
                    <a:gd name="T8" fmla="*/ 16 w 119"/>
                    <a:gd name="T9" fmla="*/ 6 h 68"/>
                    <a:gd name="T10" fmla="*/ 15 w 119"/>
                    <a:gd name="T11" fmla="*/ 7 h 68"/>
                    <a:gd name="T12" fmla="*/ 25 w 119"/>
                    <a:gd name="T13" fmla="*/ 10 h 68"/>
                    <a:gd name="T14" fmla="*/ 32 w 119"/>
                    <a:gd name="T15" fmla="*/ 23 h 68"/>
                    <a:gd name="T16" fmla="*/ 32 w 119"/>
                    <a:gd name="T17" fmla="*/ 22 h 68"/>
                    <a:gd name="T18" fmla="*/ 29 w 119"/>
                    <a:gd name="T19" fmla="*/ 14 h 68"/>
                    <a:gd name="T20" fmla="*/ 26 w 119"/>
                    <a:gd name="T21" fmla="*/ 16 h 68"/>
                    <a:gd name="T22" fmla="*/ 29 w 119"/>
                    <a:gd name="T23" fmla="*/ 22 h 68"/>
                    <a:gd name="T24" fmla="*/ 31 w 119"/>
                    <a:gd name="T25" fmla="*/ 24 h 68"/>
                    <a:gd name="T26" fmla="*/ 42 w 119"/>
                    <a:gd name="T27" fmla="*/ 35 h 68"/>
                    <a:gd name="T28" fmla="*/ 35 w 119"/>
                    <a:gd name="T29" fmla="*/ 27 h 68"/>
                    <a:gd name="T30" fmla="*/ 33 w 119"/>
                    <a:gd name="T31" fmla="*/ 29 h 68"/>
                    <a:gd name="T32" fmla="*/ 42 w 119"/>
                    <a:gd name="T33" fmla="*/ 35 h 68"/>
                    <a:gd name="T34" fmla="*/ 54 w 119"/>
                    <a:gd name="T35" fmla="*/ 45 h 68"/>
                    <a:gd name="T36" fmla="*/ 48 w 119"/>
                    <a:gd name="T37" fmla="*/ 39 h 68"/>
                    <a:gd name="T38" fmla="*/ 44 w 119"/>
                    <a:gd name="T39" fmla="*/ 39 h 68"/>
                    <a:gd name="T40" fmla="*/ 45 w 119"/>
                    <a:gd name="T41" fmla="*/ 40 h 68"/>
                    <a:gd name="T42" fmla="*/ 51 w 119"/>
                    <a:gd name="T43" fmla="*/ 46 h 68"/>
                    <a:gd name="T44" fmla="*/ 65 w 119"/>
                    <a:gd name="T45" fmla="*/ 53 h 68"/>
                    <a:gd name="T46" fmla="*/ 57 w 119"/>
                    <a:gd name="T47" fmla="*/ 48 h 68"/>
                    <a:gd name="T48" fmla="*/ 55 w 119"/>
                    <a:gd name="T49" fmla="*/ 49 h 68"/>
                    <a:gd name="T50" fmla="*/ 65 w 119"/>
                    <a:gd name="T51" fmla="*/ 53 h 68"/>
                    <a:gd name="T52" fmla="*/ 78 w 119"/>
                    <a:gd name="T53" fmla="*/ 58 h 68"/>
                    <a:gd name="T54" fmla="*/ 77 w 119"/>
                    <a:gd name="T55" fmla="*/ 58 h 68"/>
                    <a:gd name="T56" fmla="*/ 75 w 119"/>
                    <a:gd name="T57" fmla="*/ 58 h 68"/>
                    <a:gd name="T58" fmla="*/ 68 w 119"/>
                    <a:gd name="T59" fmla="*/ 58 h 68"/>
                    <a:gd name="T60" fmla="*/ 74 w 119"/>
                    <a:gd name="T61" fmla="*/ 61 h 68"/>
                    <a:gd name="T62" fmla="*/ 77 w 119"/>
                    <a:gd name="T63" fmla="*/ 61 h 68"/>
                    <a:gd name="T64" fmla="*/ 80 w 119"/>
                    <a:gd name="T65" fmla="*/ 61 h 68"/>
                    <a:gd name="T66" fmla="*/ 91 w 119"/>
                    <a:gd name="T67" fmla="*/ 51 h 68"/>
                    <a:gd name="T68" fmla="*/ 83 w 119"/>
                    <a:gd name="T69" fmla="*/ 56 h 68"/>
                    <a:gd name="T70" fmla="*/ 84 w 119"/>
                    <a:gd name="T71" fmla="*/ 58 h 68"/>
                    <a:gd name="T72" fmla="*/ 91 w 119"/>
                    <a:gd name="T73" fmla="*/ 51 h 68"/>
                    <a:gd name="T74" fmla="*/ 106 w 119"/>
                    <a:gd name="T75" fmla="*/ 45 h 68"/>
                    <a:gd name="T76" fmla="*/ 103 w 119"/>
                    <a:gd name="T77" fmla="*/ 45 h 68"/>
                    <a:gd name="T78" fmla="*/ 96 w 119"/>
                    <a:gd name="T79" fmla="*/ 48 h 68"/>
                    <a:gd name="T80" fmla="*/ 97 w 119"/>
                    <a:gd name="T81" fmla="*/ 51 h 68"/>
                    <a:gd name="T82" fmla="*/ 104 w 119"/>
                    <a:gd name="T83" fmla="*/ 46 h 68"/>
                    <a:gd name="T84" fmla="*/ 106 w 119"/>
                    <a:gd name="T85" fmla="*/ 46 h 68"/>
                    <a:gd name="T86" fmla="*/ 109 w 119"/>
                    <a:gd name="T87" fmla="*/ 59 h 68"/>
                    <a:gd name="T88" fmla="*/ 109 w 119"/>
                    <a:gd name="T89" fmla="*/ 56 h 68"/>
                    <a:gd name="T90" fmla="*/ 109 w 119"/>
                    <a:gd name="T91" fmla="*/ 49 h 68"/>
                    <a:gd name="T92" fmla="*/ 106 w 119"/>
                    <a:gd name="T93" fmla="*/ 49 h 68"/>
                    <a:gd name="T94" fmla="*/ 106 w 119"/>
                    <a:gd name="T95" fmla="*/ 56 h 68"/>
                    <a:gd name="T96" fmla="*/ 109 w 119"/>
                    <a:gd name="T97" fmla="*/ 59 h 68"/>
                    <a:gd name="T98" fmla="*/ 117 w 119"/>
                    <a:gd name="T99" fmla="*/ 65 h 68"/>
                    <a:gd name="T100" fmla="*/ 113 w 119"/>
                    <a:gd name="T101" fmla="*/ 65 h 68"/>
                    <a:gd name="T102" fmla="*/ 109 w 119"/>
                    <a:gd name="T103" fmla="*/ 65 h 68"/>
                    <a:gd name="T104" fmla="*/ 113 w 119"/>
                    <a:gd name="T105" fmla="*/ 68 h 68"/>
                    <a:gd name="T106" fmla="*/ 119 w 119"/>
                    <a:gd name="T107" fmla="*/ 68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19" h="68">
                      <a:moveTo>
                        <a:pt x="10" y="3"/>
                      </a:moveTo>
                      <a:lnTo>
                        <a:pt x="10" y="3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0" y="6"/>
                      </a:lnTo>
                      <a:lnTo>
                        <a:pt x="10" y="3"/>
                      </a:lnTo>
                      <a:close/>
                      <a:moveTo>
                        <a:pt x="25" y="10"/>
                      </a:moveTo>
                      <a:lnTo>
                        <a:pt x="25" y="10"/>
                      </a:lnTo>
                      <a:lnTo>
                        <a:pt x="16" y="6"/>
                      </a:lnTo>
                      <a:lnTo>
                        <a:pt x="15" y="7"/>
                      </a:lnTo>
                      <a:lnTo>
                        <a:pt x="15" y="7"/>
                      </a:lnTo>
                      <a:lnTo>
                        <a:pt x="23" y="13"/>
                      </a:lnTo>
                      <a:lnTo>
                        <a:pt x="25" y="10"/>
                      </a:lnTo>
                      <a:close/>
                      <a:moveTo>
                        <a:pt x="32" y="23"/>
                      </a:moveTo>
                      <a:lnTo>
                        <a:pt x="32" y="23"/>
                      </a:lnTo>
                      <a:lnTo>
                        <a:pt x="32" y="22"/>
                      </a:lnTo>
                      <a:lnTo>
                        <a:pt x="32" y="22"/>
                      </a:lnTo>
                      <a:lnTo>
                        <a:pt x="31" y="17"/>
                      </a:lnTo>
                      <a:lnTo>
                        <a:pt x="29" y="14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9" y="19"/>
                      </a:lnTo>
                      <a:lnTo>
                        <a:pt x="29" y="22"/>
                      </a:lnTo>
                      <a:lnTo>
                        <a:pt x="29" y="22"/>
                      </a:lnTo>
                      <a:lnTo>
                        <a:pt x="31" y="24"/>
                      </a:lnTo>
                      <a:lnTo>
                        <a:pt x="32" y="23"/>
                      </a:lnTo>
                      <a:close/>
                      <a:moveTo>
                        <a:pt x="42" y="35"/>
                      </a:moveTo>
                      <a:lnTo>
                        <a:pt x="42" y="35"/>
                      </a:lnTo>
                      <a:lnTo>
                        <a:pt x="35" y="27"/>
                      </a:lnTo>
                      <a:lnTo>
                        <a:pt x="33" y="29"/>
                      </a:lnTo>
                      <a:lnTo>
                        <a:pt x="33" y="29"/>
                      </a:lnTo>
                      <a:lnTo>
                        <a:pt x="41" y="36"/>
                      </a:lnTo>
                      <a:lnTo>
                        <a:pt x="42" y="35"/>
                      </a:lnTo>
                      <a:close/>
                      <a:moveTo>
                        <a:pt x="54" y="45"/>
                      </a:moveTo>
                      <a:lnTo>
                        <a:pt x="54" y="45"/>
                      </a:lnTo>
                      <a:lnTo>
                        <a:pt x="48" y="39"/>
                      </a:lnTo>
                      <a:lnTo>
                        <a:pt x="48" y="39"/>
                      </a:lnTo>
                      <a:lnTo>
                        <a:pt x="46" y="37"/>
                      </a:lnTo>
                      <a:lnTo>
                        <a:pt x="44" y="39"/>
                      </a:lnTo>
                      <a:lnTo>
                        <a:pt x="44" y="39"/>
                      </a:lnTo>
                      <a:lnTo>
                        <a:pt x="45" y="40"/>
                      </a:lnTo>
                      <a:lnTo>
                        <a:pt x="45" y="40"/>
                      </a:lnTo>
                      <a:lnTo>
                        <a:pt x="51" y="46"/>
                      </a:lnTo>
                      <a:lnTo>
                        <a:pt x="54" y="45"/>
                      </a:lnTo>
                      <a:close/>
                      <a:moveTo>
                        <a:pt x="65" y="53"/>
                      </a:moveTo>
                      <a:lnTo>
                        <a:pt x="65" y="53"/>
                      </a:lnTo>
                      <a:lnTo>
                        <a:pt x="57" y="48"/>
                      </a:lnTo>
                      <a:lnTo>
                        <a:pt x="55" y="49"/>
                      </a:lnTo>
                      <a:lnTo>
                        <a:pt x="55" y="49"/>
                      </a:lnTo>
                      <a:lnTo>
                        <a:pt x="64" y="55"/>
                      </a:lnTo>
                      <a:lnTo>
                        <a:pt x="65" y="53"/>
                      </a:lnTo>
                      <a:close/>
                      <a:moveTo>
                        <a:pt x="78" y="58"/>
                      </a:moveTo>
                      <a:lnTo>
                        <a:pt x="78" y="58"/>
                      </a:lnTo>
                      <a:lnTo>
                        <a:pt x="77" y="58"/>
                      </a:lnTo>
                      <a:lnTo>
                        <a:pt x="77" y="58"/>
                      </a:lnTo>
                      <a:lnTo>
                        <a:pt x="75" y="58"/>
                      </a:lnTo>
                      <a:lnTo>
                        <a:pt x="75" y="58"/>
                      </a:lnTo>
                      <a:lnTo>
                        <a:pt x="70" y="55"/>
                      </a:lnTo>
                      <a:lnTo>
                        <a:pt x="68" y="58"/>
                      </a:lnTo>
                      <a:lnTo>
                        <a:pt x="68" y="58"/>
                      </a:lnTo>
                      <a:lnTo>
                        <a:pt x="74" y="61"/>
                      </a:lnTo>
                      <a:lnTo>
                        <a:pt x="74" y="61"/>
                      </a:lnTo>
                      <a:lnTo>
                        <a:pt x="77" y="61"/>
                      </a:lnTo>
                      <a:lnTo>
                        <a:pt x="77" y="61"/>
                      </a:lnTo>
                      <a:lnTo>
                        <a:pt x="80" y="61"/>
                      </a:lnTo>
                      <a:lnTo>
                        <a:pt x="78" y="58"/>
                      </a:lnTo>
                      <a:close/>
                      <a:moveTo>
                        <a:pt x="91" y="51"/>
                      </a:moveTo>
                      <a:lnTo>
                        <a:pt x="91" y="51"/>
                      </a:lnTo>
                      <a:lnTo>
                        <a:pt x="83" y="56"/>
                      </a:lnTo>
                      <a:lnTo>
                        <a:pt x="84" y="58"/>
                      </a:lnTo>
                      <a:lnTo>
                        <a:pt x="84" y="58"/>
                      </a:lnTo>
                      <a:lnTo>
                        <a:pt x="93" y="53"/>
                      </a:lnTo>
                      <a:lnTo>
                        <a:pt x="91" y="51"/>
                      </a:lnTo>
                      <a:close/>
                      <a:moveTo>
                        <a:pt x="106" y="45"/>
                      </a:moveTo>
                      <a:lnTo>
                        <a:pt x="106" y="45"/>
                      </a:lnTo>
                      <a:lnTo>
                        <a:pt x="106" y="45"/>
                      </a:lnTo>
                      <a:lnTo>
                        <a:pt x="103" y="45"/>
                      </a:lnTo>
                      <a:lnTo>
                        <a:pt x="103" y="45"/>
                      </a:lnTo>
                      <a:lnTo>
                        <a:pt x="96" y="48"/>
                      </a:lnTo>
                      <a:lnTo>
                        <a:pt x="97" y="51"/>
                      </a:lnTo>
                      <a:lnTo>
                        <a:pt x="97" y="51"/>
                      </a:lnTo>
                      <a:lnTo>
                        <a:pt x="104" y="46"/>
                      </a:lnTo>
                      <a:lnTo>
                        <a:pt x="104" y="46"/>
                      </a:lnTo>
                      <a:lnTo>
                        <a:pt x="106" y="46"/>
                      </a:lnTo>
                      <a:lnTo>
                        <a:pt x="106" y="46"/>
                      </a:lnTo>
                      <a:lnTo>
                        <a:pt x="106" y="45"/>
                      </a:lnTo>
                      <a:close/>
                      <a:moveTo>
                        <a:pt x="109" y="59"/>
                      </a:moveTo>
                      <a:lnTo>
                        <a:pt x="109" y="59"/>
                      </a:lnTo>
                      <a:lnTo>
                        <a:pt x="109" y="56"/>
                      </a:lnTo>
                      <a:lnTo>
                        <a:pt x="109" y="56"/>
                      </a:lnTo>
                      <a:lnTo>
                        <a:pt x="109" y="49"/>
                      </a:lnTo>
                      <a:lnTo>
                        <a:pt x="106" y="49"/>
                      </a:lnTo>
                      <a:lnTo>
                        <a:pt x="106" y="49"/>
                      </a:lnTo>
                      <a:lnTo>
                        <a:pt x="106" y="56"/>
                      </a:lnTo>
                      <a:lnTo>
                        <a:pt x="106" y="56"/>
                      </a:lnTo>
                      <a:lnTo>
                        <a:pt x="106" y="59"/>
                      </a:lnTo>
                      <a:lnTo>
                        <a:pt x="109" y="59"/>
                      </a:lnTo>
                      <a:close/>
                      <a:moveTo>
                        <a:pt x="119" y="65"/>
                      </a:moveTo>
                      <a:lnTo>
                        <a:pt x="117" y="65"/>
                      </a:lnTo>
                      <a:lnTo>
                        <a:pt x="117" y="65"/>
                      </a:lnTo>
                      <a:lnTo>
                        <a:pt x="113" y="65"/>
                      </a:lnTo>
                      <a:lnTo>
                        <a:pt x="110" y="64"/>
                      </a:lnTo>
                      <a:lnTo>
                        <a:pt x="109" y="65"/>
                      </a:lnTo>
                      <a:lnTo>
                        <a:pt x="109" y="65"/>
                      </a:lnTo>
                      <a:lnTo>
                        <a:pt x="113" y="68"/>
                      </a:lnTo>
                      <a:lnTo>
                        <a:pt x="117" y="68"/>
                      </a:lnTo>
                      <a:lnTo>
                        <a:pt x="119" y="68"/>
                      </a:lnTo>
                      <a:lnTo>
                        <a:pt x="119" y="6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5" name="Freeform 1705"/>
                <p:cNvSpPr>
                  <a:spLocks noEditPoints="1"/>
                </p:cNvSpPr>
                <p:nvPr/>
              </p:nvSpPr>
              <p:spPr bwMode="auto">
                <a:xfrm>
                  <a:off x="5104221" y="2599925"/>
                  <a:ext cx="57377" cy="21764"/>
                </a:xfrm>
                <a:custGeom>
                  <a:avLst/>
                  <a:gdLst>
                    <a:gd name="T0" fmla="*/ 58 w 58"/>
                    <a:gd name="T1" fmla="*/ 11 h 22"/>
                    <a:gd name="T2" fmla="*/ 58 w 58"/>
                    <a:gd name="T3" fmla="*/ 7 h 22"/>
                    <a:gd name="T4" fmla="*/ 58 w 58"/>
                    <a:gd name="T5" fmla="*/ 6 h 22"/>
                    <a:gd name="T6" fmla="*/ 57 w 58"/>
                    <a:gd name="T7" fmla="*/ 0 h 22"/>
                    <a:gd name="T8" fmla="*/ 55 w 58"/>
                    <a:gd name="T9" fmla="*/ 6 h 22"/>
                    <a:gd name="T10" fmla="*/ 55 w 58"/>
                    <a:gd name="T11" fmla="*/ 7 h 22"/>
                    <a:gd name="T12" fmla="*/ 55 w 58"/>
                    <a:gd name="T13" fmla="*/ 11 h 22"/>
                    <a:gd name="T14" fmla="*/ 45 w 58"/>
                    <a:gd name="T15" fmla="*/ 14 h 22"/>
                    <a:gd name="T16" fmla="*/ 54 w 58"/>
                    <a:gd name="T17" fmla="*/ 17 h 22"/>
                    <a:gd name="T18" fmla="*/ 55 w 58"/>
                    <a:gd name="T19" fmla="*/ 16 h 22"/>
                    <a:gd name="T20" fmla="*/ 54 w 58"/>
                    <a:gd name="T21" fmla="*/ 14 h 22"/>
                    <a:gd name="T22" fmla="*/ 54 w 58"/>
                    <a:gd name="T23" fmla="*/ 14 h 22"/>
                    <a:gd name="T24" fmla="*/ 45 w 58"/>
                    <a:gd name="T25" fmla="*/ 14 h 22"/>
                    <a:gd name="T26" fmla="*/ 30 w 58"/>
                    <a:gd name="T27" fmla="*/ 14 h 22"/>
                    <a:gd name="T28" fmla="*/ 36 w 58"/>
                    <a:gd name="T29" fmla="*/ 13 h 22"/>
                    <a:gd name="T30" fmla="*/ 38 w 58"/>
                    <a:gd name="T31" fmla="*/ 13 h 22"/>
                    <a:gd name="T32" fmla="*/ 41 w 58"/>
                    <a:gd name="T33" fmla="*/ 11 h 22"/>
                    <a:gd name="T34" fmla="*/ 38 w 58"/>
                    <a:gd name="T35" fmla="*/ 10 h 22"/>
                    <a:gd name="T36" fmla="*/ 36 w 58"/>
                    <a:gd name="T37" fmla="*/ 10 h 22"/>
                    <a:gd name="T38" fmla="*/ 29 w 58"/>
                    <a:gd name="T39" fmla="*/ 13 h 22"/>
                    <a:gd name="T40" fmla="*/ 16 w 58"/>
                    <a:gd name="T41" fmla="*/ 17 h 22"/>
                    <a:gd name="T42" fmla="*/ 20 w 58"/>
                    <a:gd name="T43" fmla="*/ 17 h 22"/>
                    <a:gd name="T44" fmla="*/ 22 w 58"/>
                    <a:gd name="T45" fmla="*/ 17 h 22"/>
                    <a:gd name="T46" fmla="*/ 23 w 58"/>
                    <a:gd name="T47" fmla="*/ 17 h 22"/>
                    <a:gd name="T48" fmla="*/ 25 w 58"/>
                    <a:gd name="T49" fmla="*/ 14 h 22"/>
                    <a:gd name="T50" fmla="*/ 23 w 58"/>
                    <a:gd name="T51" fmla="*/ 14 h 22"/>
                    <a:gd name="T52" fmla="*/ 22 w 58"/>
                    <a:gd name="T53" fmla="*/ 14 h 22"/>
                    <a:gd name="T54" fmla="*/ 20 w 58"/>
                    <a:gd name="T55" fmla="*/ 14 h 22"/>
                    <a:gd name="T56" fmla="*/ 16 w 58"/>
                    <a:gd name="T57" fmla="*/ 17 h 22"/>
                    <a:gd name="T58" fmla="*/ 2 w 58"/>
                    <a:gd name="T59" fmla="*/ 22 h 22"/>
                    <a:gd name="T60" fmla="*/ 10 w 58"/>
                    <a:gd name="T61" fmla="*/ 16 h 22"/>
                    <a:gd name="T62" fmla="*/ 0 w 58"/>
                    <a:gd name="T63" fmla="*/ 19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58" h="22">
                      <a:moveTo>
                        <a:pt x="58" y="11"/>
                      </a:moveTo>
                      <a:lnTo>
                        <a:pt x="58" y="11"/>
                      </a:lnTo>
                      <a:lnTo>
                        <a:pt x="58" y="7"/>
                      </a:lnTo>
                      <a:lnTo>
                        <a:pt x="58" y="7"/>
                      </a:lnTo>
                      <a:lnTo>
                        <a:pt x="58" y="6"/>
                      </a:lnTo>
                      <a:lnTo>
                        <a:pt x="58" y="6"/>
                      </a:lnTo>
                      <a:lnTo>
                        <a:pt x="58" y="1"/>
                      </a:lnTo>
                      <a:lnTo>
                        <a:pt x="57" y="0"/>
                      </a:lnTo>
                      <a:lnTo>
                        <a:pt x="57" y="0"/>
                      </a:lnTo>
                      <a:lnTo>
                        <a:pt x="55" y="6"/>
                      </a:lnTo>
                      <a:lnTo>
                        <a:pt x="55" y="6"/>
                      </a:lnTo>
                      <a:lnTo>
                        <a:pt x="55" y="7"/>
                      </a:lnTo>
                      <a:lnTo>
                        <a:pt x="55" y="7"/>
                      </a:lnTo>
                      <a:lnTo>
                        <a:pt x="55" y="11"/>
                      </a:lnTo>
                      <a:lnTo>
                        <a:pt x="58" y="11"/>
                      </a:lnTo>
                      <a:close/>
                      <a:moveTo>
                        <a:pt x="45" y="14"/>
                      </a:moveTo>
                      <a:lnTo>
                        <a:pt x="45" y="14"/>
                      </a:lnTo>
                      <a:lnTo>
                        <a:pt x="54" y="17"/>
                      </a:lnTo>
                      <a:lnTo>
                        <a:pt x="54" y="17"/>
                      </a:lnTo>
                      <a:lnTo>
                        <a:pt x="55" y="16"/>
                      </a:lnTo>
                      <a:lnTo>
                        <a:pt x="54" y="14"/>
                      </a:lnTo>
                      <a:lnTo>
                        <a:pt x="54" y="14"/>
                      </a:lnTo>
                      <a:lnTo>
                        <a:pt x="54" y="14"/>
                      </a:lnTo>
                      <a:lnTo>
                        <a:pt x="54" y="14"/>
                      </a:lnTo>
                      <a:lnTo>
                        <a:pt x="45" y="13"/>
                      </a:lnTo>
                      <a:lnTo>
                        <a:pt x="45" y="14"/>
                      </a:lnTo>
                      <a:close/>
                      <a:moveTo>
                        <a:pt x="30" y="14"/>
                      </a:moveTo>
                      <a:lnTo>
                        <a:pt x="30" y="14"/>
                      </a:lnTo>
                      <a:lnTo>
                        <a:pt x="33" y="14"/>
                      </a:lnTo>
                      <a:lnTo>
                        <a:pt x="36" y="13"/>
                      </a:lnTo>
                      <a:lnTo>
                        <a:pt x="38" y="13"/>
                      </a:lnTo>
                      <a:lnTo>
                        <a:pt x="38" y="13"/>
                      </a:lnTo>
                      <a:lnTo>
                        <a:pt x="39" y="13"/>
                      </a:lnTo>
                      <a:lnTo>
                        <a:pt x="41" y="11"/>
                      </a:lnTo>
                      <a:lnTo>
                        <a:pt x="41" y="11"/>
                      </a:lnTo>
                      <a:lnTo>
                        <a:pt x="38" y="10"/>
                      </a:lnTo>
                      <a:lnTo>
                        <a:pt x="36" y="10"/>
                      </a:lnTo>
                      <a:lnTo>
                        <a:pt x="36" y="10"/>
                      </a:lnTo>
                      <a:lnTo>
                        <a:pt x="32" y="11"/>
                      </a:lnTo>
                      <a:lnTo>
                        <a:pt x="29" y="13"/>
                      </a:lnTo>
                      <a:lnTo>
                        <a:pt x="30" y="14"/>
                      </a:lnTo>
                      <a:close/>
                      <a:moveTo>
                        <a:pt x="16" y="17"/>
                      </a:moveTo>
                      <a:lnTo>
                        <a:pt x="16" y="17"/>
                      </a:lnTo>
                      <a:lnTo>
                        <a:pt x="20" y="17"/>
                      </a:lnTo>
                      <a:lnTo>
                        <a:pt x="22" y="17"/>
                      </a:lnTo>
                      <a:lnTo>
                        <a:pt x="22" y="17"/>
                      </a:lnTo>
                      <a:lnTo>
                        <a:pt x="23" y="17"/>
                      </a:lnTo>
                      <a:lnTo>
                        <a:pt x="23" y="17"/>
                      </a:lnTo>
                      <a:lnTo>
                        <a:pt x="26" y="17"/>
                      </a:lnTo>
                      <a:lnTo>
                        <a:pt x="25" y="14"/>
                      </a:lnTo>
                      <a:lnTo>
                        <a:pt x="25" y="14"/>
                      </a:lnTo>
                      <a:lnTo>
                        <a:pt x="23" y="14"/>
                      </a:lnTo>
                      <a:lnTo>
                        <a:pt x="23" y="14"/>
                      </a:lnTo>
                      <a:lnTo>
                        <a:pt x="22" y="14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15" y="14"/>
                      </a:lnTo>
                      <a:lnTo>
                        <a:pt x="16" y="17"/>
                      </a:lnTo>
                      <a:close/>
                      <a:moveTo>
                        <a:pt x="2" y="22"/>
                      </a:moveTo>
                      <a:lnTo>
                        <a:pt x="2" y="22"/>
                      </a:lnTo>
                      <a:lnTo>
                        <a:pt x="10" y="19"/>
                      </a:lnTo>
                      <a:lnTo>
                        <a:pt x="10" y="16"/>
                      </a:lnTo>
                      <a:lnTo>
                        <a:pt x="10" y="16"/>
                      </a:lnTo>
                      <a:lnTo>
                        <a:pt x="0" y="19"/>
                      </a:lnTo>
                      <a:lnTo>
                        <a:pt x="2" y="2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6" name="Freeform 1706"/>
                <p:cNvSpPr>
                  <a:spLocks noEditPoints="1"/>
                </p:cNvSpPr>
                <p:nvPr/>
              </p:nvSpPr>
              <p:spPr bwMode="auto">
                <a:xfrm>
                  <a:off x="5132910" y="2612785"/>
                  <a:ext cx="25721" cy="47484"/>
                </a:xfrm>
                <a:custGeom>
                  <a:avLst/>
                  <a:gdLst>
                    <a:gd name="T0" fmla="*/ 6 w 26"/>
                    <a:gd name="T1" fmla="*/ 7 h 48"/>
                    <a:gd name="T2" fmla="*/ 6 w 26"/>
                    <a:gd name="T3" fmla="*/ 7 h 48"/>
                    <a:gd name="T4" fmla="*/ 1 w 26"/>
                    <a:gd name="T5" fmla="*/ 0 h 48"/>
                    <a:gd name="T6" fmla="*/ 0 w 26"/>
                    <a:gd name="T7" fmla="*/ 1 h 48"/>
                    <a:gd name="T8" fmla="*/ 0 w 26"/>
                    <a:gd name="T9" fmla="*/ 1 h 48"/>
                    <a:gd name="T10" fmla="*/ 4 w 26"/>
                    <a:gd name="T11" fmla="*/ 9 h 48"/>
                    <a:gd name="T12" fmla="*/ 6 w 26"/>
                    <a:gd name="T13" fmla="*/ 7 h 48"/>
                    <a:gd name="T14" fmla="*/ 16 w 26"/>
                    <a:gd name="T15" fmla="*/ 19 h 48"/>
                    <a:gd name="T16" fmla="*/ 16 w 26"/>
                    <a:gd name="T17" fmla="*/ 19 h 48"/>
                    <a:gd name="T18" fmla="*/ 9 w 26"/>
                    <a:gd name="T19" fmla="*/ 12 h 48"/>
                    <a:gd name="T20" fmla="*/ 7 w 26"/>
                    <a:gd name="T21" fmla="*/ 13 h 48"/>
                    <a:gd name="T22" fmla="*/ 7 w 26"/>
                    <a:gd name="T23" fmla="*/ 13 h 48"/>
                    <a:gd name="T24" fmla="*/ 13 w 26"/>
                    <a:gd name="T25" fmla="*/ 22 h 48"/>
                    <a:gd name="T26" fmla="*/ 16 w 26"/>
                    <a:gd name="T27" fmla="*/ 19 h 48"/>
                    <a:gd name="T28" fmla="*/ 25 w 26"/>
                    <a:gd name="T29" fmla="*/ 32 h 48"/>
                    <a:gd name="T30" fmla="*/ 25 w 26"/>
                    <a:gd name="T31" fmla="*/ 32 h 48"/>
                    <a:gd name="T32" fmla="*/ 23 w 26"/>
                    <a:gd name="T33" fmla="*/ 29 h 48"/>
                    <a:gd name="T34" fmla="*/ 22 w 26"/>
                    <a:gd name="T35" fmla="*/ 26 h 48"/>
                    <a:gd name="T36" fmla="*/ 22 w 26"/>
                    <a:gd name="T37" fmla="*/ 26 h 48"/>
                    <a:gd name="T38" fmla="*/ 19 w 26"/>
                    <a:gd name="T39" fmla="*/ 23 h 48"/>
                    <a:gd name="T40" fmla="*/ 17 w 26"/>
                    <a:gd name="T41" fmla="*/ 25 h 48"/>
                    <a:gd name="T42" fmla="*/ 17 w 26"/>
                    <a:gd name="T43" fmla="*/ 25 h 48"/>
                    <a:gd name="T44" fmla="*/ 19 w 26"/>
                    <a:gd name="T45" fmla="*/ 27 h 48"/>
                    <a:gd name="T46" fmla="*/ 19 w 26"/>
                    <a:gd name="T47" fmla="*/ 27 h 48"/>
                    <a:gd name="T48" fmla="*/ 22 w 26"/>
                    <a:gd name="T49" fmla="*/ 33 h 48"/>
                    <a:gd name="T50" fmla="*/ 25 w 26"/>
                    <a:gd name="T51" fmla="*/ 32 h 48"/>
                    <a:gd name="T52" fmla="*/ 26 w 26"/>
                    <a:gd name="T53" fmla="*/ 48 h 48"/>
                    <a:gd name="T54" fmla="*/ 26 w 26"/>
                    <a:gd name="T55" fmla="*/ 48 h 48"/>
                    <a:gd name="T56" fmla="*/ 25 w 26"/>
                    <a:gd name="T57" fmla="*/ 38 h 48"/>
                    <a:gd name="T58" fmla="*/ 23 w 26"/>
                    <a:gd name="T59" fmla="*/ 38 h 48"/>
                    <a:gd name="T60" fmla="*/ 23 w 26"/>
                    <a:gd name="T61" fmla="*/ 38 h 48"/>
                    <a:gd name="T62" fmla="*/ 23 w 26"/>
                    <a:gd name="T63" fmla="*/ 48 h 48"/>
                    <a:gd name="T64" fmla="*/ 26 w 26"/>
                    <a:gd name="T65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6" h="48">
                      <a:moveTo>
                        <a:pt x="6" y="7"/>
                      </a:moveTo>
                      <a:lnTo>
                        <a:pt x="6" y="7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4" y="9"/>
                      </a:lnTo>
                      <a:lnTo>
                        <a:pt x="6" y="7"/>
                      </a:lnTo>
                      <a:close/>
                      <a:moveTo>
                        <a:pt x="16" y="19"/>
                      </a:moveTo>
                      <a:lnTo>
                        <a:pt x="16" y="19"/>
                      </a:lnTo>
                      <a:lnTo>
                        <a:pt x="9" y="12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13" y="22"/>
                      </a:lnTo>
                      <a:lnTo>
                        <a:pt x="16" y="19"/>
                      </a:lnTo>
                      <a:close/>
                      <a:moveTo>
                        <a:pt x="25" y="32"/>
                      </a:moveTo>
                      <a:lnTo>
                        <a:pt x="25" y="32"/>
                      </a:lnTo>
                      <a:lnTo>
                        <a:pt x="23" y="29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19" y="23"/>
                      </a:lnTo>
                      <a:lnTo>
                        <a:pt x="17" y="25"/>
                      </a:lnTo>
                      <a:lnTo>
                        <a:pt x="17" y="25"/>
                      </a:lnTo>
                      <a:lnTo>
                        <a:pt x="19" y="27"/>
                      </a:lnTo>
                      <a:lnTo>
                        <a:pt x="19" y="27"/>
                      </a:lnTo>
                      <a:lnTo>
                        <a:pt x="22" y="33"/>
                      </a:lnTo>
                      <a:lnTo>
                        <a:pt x="25" y="32"/>
                      </a:lnTo>
                      <a:close/>
                      <a:moveTo>
                        <a:pt x="26" y="48"/>
                      </a:moveTo>
                      <a:lnTo>
                        <a:pt x="26" y="48"/>
                      </a:lnTo>
                      <a:lnTo>
                        <a:pt x="25" y="38"/>
                      </a:lnTo>
                      <a:lnTo>
                        <a:pt x="23" y="38"/>
                      </a:lnTo>
                      <a:lnTo>
                        <a:pt x="23" y="38"/>
                      </a:lnTo>
                      <a:lnTo>
                        <a:pt x="23" y="48"/>
                      </a:lnTo>
                      <a:lnTo>
                        <a:pt x="26" y="48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7" name="Freeform 1707"/>
                <p:cNvSpPr>
                  <a:spLocks noEditPoints="1"/>
                </p:cNvSpPr>
                <p:nvPr/>
              </p:nvSpPr>
              <p:spPr bwMode="auto">
                <a:xfrm>
                  <a:off x="4972650" y="2795798"/>
                  <a:ext cx="214669" cy="70237"/>
                </a:xfrm>
                <a:custGeom>
                  <a:avLst/>
                  <a:gdLst>
                    <a:gd name="T0" fmla="*/ 0 w 217"/>
                    <a:gd name="T1" fmla="*/ 50 h 71"/>
                    <a:gd name="T2" fmla="*/ 24 w 217"/>
                    <a:gd name="T3" fmla="*/ 44 h 71"/>
                    <a:gd name="T4" fmla="*/ 16 w 217"/>
                    <a:gd name="T5" fmla="*/ 47 h 71"/>
                    <a:gd name="T6" fmla="*/ 16 w 217"/>
                    <a:gd name="T7" fmla="*/ 50 h 71"/>
                    <a:gd name="T8" fmla="*/ 26 w 217"/>
                    <a:gd name="T9" fmla="*/ 47 h 71"/>
                    <a:gd name="T10" fmla="*/ 35 w 217"/>
                    <a:gd name="T11" fmla="*/ 37 h 71"/>
                    <a:gd name="T12" fmla="*/ 29 w 217"/>
                    <a:gd name="T13" fmla="*/ 42 h 71"/>
                    <a:gd name="T14" fmla="*/ 35 w 217"/>
                    <a:gd name="T15" fmla="*/ 41 h 71"/>
                    <a:gd name="T16" fmla="*/ 36 w 217"/>
                    <a:gd name="T17" fmla="*/ 35 h 71"/>
                    <a:gd name="T18" fmla="*/ 35 w 217"/>
                    <a:gd name="T19" fmla="*/ 32 h 71"/>
                    <a:gd name="T20" fmla="*/ 32 w 217"/>
                    <a:gd name="T21" fmla="*/ 22 h 71"/>
                    <a:gd name="T22" fmla="*/ 32 w 217"/>
                    <a:gd name="T23" fmla="*/ 9 h 71"/>
                    <a:gd name="T24" fmla="*/ 26 w 217"/>
                    <a:gd name="T25" fmla="*/ 16 h 71"/>
                    <a:gd name="T26" fmla="*/ 29 w 217"/>
                    <a:gd name="T27" fmla="*/ 18 h 71"/>
                    <a:gd name="T28" fmla="*/ 29 w 217"/>
                    <a:gd name="T29" fmla="*/ 16 h 71"/>
                    <a:gd name="T30" fmla="*/ 33 w 217"/>
                    <a:gd name="T31" fmla="*/ 12 h 71"/>
                    <a:gd name="T32" fmla="*/ 46 w 217"/>
                    <a:gd name="T33" fmla="*/ 2 h 71"/>
                    <a:gd name="T34" fmla="*/ 37 w 217"/>
                    <a:gd name="T35" fmla="*/ 9 h 71"/>
                    <a:gd name="T36" fmla="*/ 61 w 217"/>
                    <a:gd name="T37" fmla="*/ 2 h 71"/>
                    <a:gd name="T38" fmla="*/ 50 w 217"/>
                    <a:gd name="T39" fmla="*/ 0 h 71"/>
                    <a:gd name="T40" fmla="*/ 52 w 217"/>
                    <a:gd name="T41" fmla="*/ 3 h 71"/>
                    <a:gd name="T42" fmla="*/ 77 w 217"/>
                    <a:gd name="T43" fmla="*/ 3 h 71"/>
                    <a:gd name="T44" fmla="*/ 66 w 217"/>
                    <a:gd name="T45" fmla="*/ 5 h 71"/>
                    <a:gd name="T46" fmla="*/ 77 w 217"/>
                    <a:gd name="T47" fmla="*/ 3 h 71"/>
                    <a:gd name="T48" fmla="*/ 81 w 217"/>
                    <a:gd name="T49" fmla="*/ 5 h 71"/>
                    <a:gd name="T50" fmla="*/ 91 w 217"/>
                    <a:gd name="T51" fmla="*/ 9 h 71"/>
                    <a:gd name="T52" fmla="*/ 106 w 217"/>
                    <a:gd name="T53" fmla="*/ 10 h 71"/>
                    <a:gd name="T54" fmla="*/ 95 w 217"/>
                    <a:gd name="T55" fmla="*/ 10 h 71"/>
                    <a:gd name="T56" fmla="*/ 121 w 217"/>
                    <a:gd name="T57" fmla="*/ 15 h 71"/>
                    <a:gd name="T58" fmla="*/ 110 w 217"/>
                    <a:gd name="T59" fmla="*/ 15 h 71"/>
                    <a:gd name="T60" fmla="*/ 121 w 217"/>
                    <a:gd name="T61" fmla="*/ 15 h 71"/>
                    <a:gd name="T62" fmla="*/ 130 w 217"/>
                    <a:gd name="T63" fmla="*/ 21 h 71"/>
                    <a:gd name="T64" fmla="*/ 124 w 217"/>
                    <a:gd name="T65" fmla="*/ 19 h 71"/>
                    <a:gd name="T66" fmla="*/ 127 w 217"/>
                    <a:gd name="T67" fmla="*/ 22 h 71"/>
                    <a:gd name="T68" fmla="*/ 140 w 217"/>
                    <a:gd name="T69" fmla="*/ 38 h 71"/>
                    <a:gd name="T70" fmla="*/ 133 w 217"/>
                    <a:gd name="T71" fmla="*/ 31 h 71"/>
                    <a:gd name="T72" fmla="*/ 140 w 217"/>
                    <a:gd name="T73" fmla="*/ 38 h 71"/>
                    <a:gd name="T74" fmla="*/ 145 w 217"/>
                    <a:gd name="T75" fmla="*/ 39 h 71"/>
                    <a:gd name="T76" fmla="*/ 153 w 217"/>
                    <a:gd name="T77" fmla="*/ 45 h 71"/>
                    <a:gd name="T78" fmla="*/ 169 w 217"/>
                    <a:gd name="T79" fmla="*/ 47 h 71"/>
                    <a:gd name="T80" fmla="*/ 158 w 217"/>
                    <a:gd name="T81" fmla="*/ 47 h 71"/>
                    <a:gd name="T82" fmla="*/ 184 w 217"/>
                    <a:gd name="T83" fmla="*/ 50 h 71"/>
                    <a:gd name="T84" fmla="*/ 174 w 217"/>
                    <a:gd name="T85" fmla="*/ 50 h 71"/>
                    <a:gd name="T86" fmla="*/ 184 w 217"/>
                    <a:gd name="T87" fmla="*/ 50 h 71"/>
                    <a:gd name="T88" fmla="*/ 192 w 217"/>
                    <a:gd name="T89" fmla="*/ 55 h 71"/>
                    <a:gd name="T90" fmla="*/ 188 w 217"/>
                    <a:gd name="T91" fmla="*/ 51 h 71"/>
                    <a:gd name="T92" fmla="*/ 190 w 217"/>
                    <a:gd name="T93" fmla="*/ 57 h 71"/>
                    <a:gd name="T94" fmla="*/ 195 w 217"/>
                    <a:gd name="T95" fmla="*/ 60 h 71"/>
                    <a:gd name="T96" fmla="*/ 200 w 217"/>
                    <a:gd name="T97" fmla="*/ 68 h 71"/>
                    <a:gd name="T98" fmla="*/ 198 w 217"/>
                    <a:gd name="T99" fmla="*/ 67 h 71"/>
                    <a:gd name="T100" fmla="*/ 194 w 217"/>
                    <a:gd name="T101" fmla="*/ 66 h 71"/>
                    <a:gd name="T102" fmla="*/ 198 w 217"/>
                    <a:gd name="T103" fmla="*/ 70 h 71"/>
                    <a:gd name="T104" fmla="*/ 204 w 217"/>
                    <a:gd name="T105" fmla="*/ 70 h 71"/>
                    <a:gd name="T106" fmla="*/ 216 w 217"/>
                    <a:gd name="T107" fmla="*/ 60 h 71"/>
                    <a:gd name="T108" fmla="*/ 208 w 217"/>
                    <a:gd name="T109" fmla="*/ 67 h 71"/>
                    <a:gd name="T110" fmla="*/ 217 w 217"/>
                    <a:gd name="T111" fmla="*/ 63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17" h="71">
                      <a:moveTo>
                        <a:pt x="10" y="47"/>
                      </a:moveTo>
                      <a:lnTo>
                        <a:pt x="0" y="47"/>
                      </a:lnTo>
                      <a:lnTo>
                        <a:pt x="0" y="50"/>
                      </a:lnTo>
                      <a:lnTo>
                        <a:pt x="10" y="50"/>
                      </a:lnTo>
                      <a:lnTo>
                        <a:pt x="10" y="47"/>
                      </a:lnTo>
                      <a:close/>
                      <a:moveTo>
                        <a:pt x="24" y="44"/>
                      </a:moveTo>
                      <a:lnTo>
                        <a:pt x="24" y="44"/>
                      </a:lnTo>
                      <a:lnTo>
                        <a:pt x="20" y="47"/>
                      </a:lnTo>
                      <a:lnTo>
                        <a:pt x="16" y="47"/>
                      </a:lnTo>
                      <a:lnTo>
                        <a:pt x="14" y="47"/>
                      </a:lnTo>
                      <a:lnTo>
                        <a:pt x="14" y="50"/>
                      </a:lnTo>
                      <a:lnTo>
                        <a:pt x="16" y="50"/>
                      </a:lnTo>
                      <a:lnTo>
                        <a:pt x="16" y="50"/>
                      </a:lnTo>
                      <a:lnTo>
                        <a:pt x="20" y="48"/>
                      </a:lnTo>
                      <a:lnTo>
                        <a:pt x="26" y="47"/>
                      </a:lnTo>
                      <a:lnTo>
                        <a:pt x="24" y="44"/>
                      </a:lnTo>
                      <a:close/>
                      <a:moveTo>
                        <a:pt x="36" y="35"/>
                      </a:moveTo>
                      <a:lnTo>
                        <a:pt x="35" y="37"/>
                      </a:lnTo>
                      <a:lnTo>
                        <a:pt x="35" y="37"/>
                      </a:lnTo>
                      <a:lnTo>
                        <a:pt x="33" y="39"/>
                      </a:lnTo>
                      <a:lnTo>
                        <a:pt x="29" y="42"/>
                      </a:lnTo>
                      <a:lnTo>
                        <a:pt x="30" y="44"/>
                      </a:lnTo>
                      <a:lnTo>
                        <a:pt x="30" y="44"/>
                      </a:lnTo>
                      <a:lnTo>
                        <a:pt x="35" y="41"/>
                      </a:lnTo>
                      <a:lnTo>
                        <a:pt x="37" y="38"/>
                      </a:lnTo>
                      <a:lnTo>
                        <a:pt x="37" y="37"/>
                      </a:lnTo>
                      <a:lnTo>
                        <a:pt x="36" y="35"/>
                      </a:lnTo>
                      <a:close/>
                      <a:moveTo>
                        <a:pt x="30" y="24"/>
                      </a:moveTo>
                      <a:lnTo>
                        <a:pt x="30" y="24"/>
                      </a:lnTo>
                      <a:lnTo>
                        <a:pt x="35" y="32"/>
                      </a:lnTo>
                      <a:lnTo>
                        <a:pt x="37" y="31"/>
                      </a:lnTo>
                      <a:lnTo>
                        <a:pt x="37" y="31"/>
                      </a:lnTo>
                      <a:lnTo>
                        <a:pt x="32" y="22"/>
                      </a:lnTo>
                      <a:lnTo>
                        <a:pt x="30" y="24"/>
                      </a:lnTo>
                      <a:close/>
                      <a:moveTo>
                        <a:pt x="32" y="9"/>
                      </a:moveTo>
                      <a:lnTo>
                        <a:pt x="32" y="9"/>
                      </a:lnTo>
                      <a:lnTo>
                        <a:pt x="27" y="12"/>
                      </a:lnTo>
                      <a:lnTo>
                        <a:pt x="27" y="12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7" y="19"/>
                      </a:lnTo>
                      <a:lnTo>
                        <a:pt x="29" y="18"/>
                      </a:lnTo>
                      <a:lnTo>
                        <a:pt x="29" y="18"/>
                      </a:lnTo>
                      <a:lnTo>
                        <a:pt x="29" y="16"/>
                      </a:lnTo>
                      <a:lnTo>
                        <a:pt x="29" y="16"/>
                      </a:lnTo>
                      <a:lnTo>
                        <a:pt x="30" y="15"/>
                      </a:lnTo>
                      <a:lnTo>
                        <a:pt x="30" y="15"/>
                      </a:lnTo>
                      <a:lnTo>
                        <a:pt x="33" y="12"/>
                      </a:lnTo>
                      <a:lnTo>
                        <a:pt x="32" y="9"/>
                      </a:lnTo>
                      <a:close/>
                      <a:moveTo>
                        <a:pt x="46" y="2"/>
                      </a:moveTo>
                      <a:lnTo>
                        <a:pt x="46" y="2"/>
                      </a:lnTo>
                      <a:lnTo>
                        <a:pt x="36" y="6"/>
                      </a:lnTo>
                      <a:lnTo>
                        <a:pt x="37" y="9"/>
                      </a:lnTo>
                      <a:lnTo>
                        <a:pt x="37" y="9"/>
                      </a:lnTo>
                      <a:lnTo>
                        <a:pt x="46" y="5"/>
                      </a:lnTo>
                      <a:lnTo>
                        <a:pt x="46" y="2"/>
                      </a:lnTo>
                      <a:close/>
                      <a:moveTo>
                        <a:pt x="61" y="2"/>
                      </a:moveTo>
                      <a:lnTo>
                        <a:pt x="61" y="2"/>
                      </a:lnTo>
                      <a:lnTo>
                        <a:pt x="52" y="0"/>
                      </a:lnTo>
                      <a:lnTo>
                        <a:pt x="50" y="0"/>
                      </a:lnTo>
                      <a:lnTo>
                        <a:pt x="50" y="3"/>
                      </a:lnTo>
                      <a:lnTo>
                        <a:pt x="52" y="3"/>
                      </a:lnTo>
                      <a:lnTo>
                        <a:pt x="52" y="3"/>
                      </a:lnTo>
                      <a:lnTo>
                        <a:pt x="61" y="3"/>
                      </a:lnTo>
                      <a:lnTo>
                        <a:pt x="61" y="2"/>
                      </a:lnTo>
                      <a:close/>
                      <a:moveTo>
                        <a:pt x="77" y="3"/>
                      </a:moveTo>
                      <a:lnTo>
                        <a:pt x="77" y="3"/>
                      </a:lnTo>
                      <a:lnTo>
                        <a:pt x="66" y="2"/>
                      </a:lnTo>
                      <a:lnTo>
                        <a:pt x="66" y="5"/>
                      </a:lnTo>
                      <a:lnTo>
                        <a:pt x="66" y="5"/>
                      </a:lnTo>
                      <a:lnTo>
                        <a:pt x="75" y="6"/>
                      </a:lnTo>
                      <a:lnTo>
                        <a:pt x="77" y="3"/>
                      </a:lnTo>
                      <a:close/>
                      <a:moveTo>
                        <a:pt x="91" y="8"/>
                      </a:moveTo>
                      <a:lnTo>
                        <a:pt x="91" y="8"/>
                      </a:lnTo>
                      <a:lnTo>
                        <a:pt x="81" y="5"/>
                      </a:lnTo>
                      <a:lnTo>
                        <a:pt x="81" y="8"/>
                      </a:lnTo>
                      <a:lnTo>
                        <a:pt x="81" y="8"/>
                      </a:lnTo>
                      <a:lnTo>
                        <a:pt x="91" y="9"/>
                      </a:lnTo>
                      <a:lnTo>
                        <a:pt x="91" y="8"/>
                      </a:lnTo>
                      <a:close/>
                      <a:moveTo>
                        <a:pt x="106" y="10"/>
                      </a:moveTo>
                      <a:lnTo>
                        <a:pt x="106" y="10"/>
                      </a:lnTo>
                      <a:lnTo>
                        <a:pt x="95" y="8"/>
                      </a:lnTo>
                      <a:lnTo>
                        <a:pt x="95" y="10"/>
                      </a:lnTo>
                      <a:lnTo>
                        <a:pt x="95" y="10"/>
                      </a:lnTo>
                      <a:lnTo>
                        <a:pt x="106" y="13"/>
                      </a:lnTo>
                      <a:lnTo>
                        <a:pt x="106" y="10"/>
                      </a:lnTo>
                      <a:close/>
                      <a:moveTo>
                        <a:pt x="121" y="15"/>
                      </a:moveTo>
                      <a:lnTo>
                        <a:pt x="121" y="15"/>
                      </a:lnTo>
                      <a:lnTo>
                        <a:pt x="111" y="12"/>
                      </a:lnTo>
                      <a:lnTo>
                        <a:pt x="110" y="15"/>
                      </a:lnTo>
                      <a:lnTo>
                        <a:pt x="110" y="15"/>
                      </a:lnTo>
                      <a:lnTo>
                        <a:pt x="120" y="18"/>
                      </a:lnTo>
                      <a:lnTo>
                        <a:pt x="121" y="15"/>
                      </a:lnTo>
                      <a:close/>
                      <a:moveTo>
                        <a:pt x="133" y="25"/>
                      </a:moveTo>
                      <a:lnTo>
                        <a:pt x="133" y="25"/>
                      </a:lnTo>
                      <a:lnTo>
                        <a:pt x="130" y="21"/>
                      </a:lnTo>
                      <a:lnTo>
                        <a:pt x="126" y="16"/>
                      </a:lnTo>
                      <a:lnTo>
                        <a:pt x="126" y="16"/>
                      </a:lnTo>
                      <a:lnTo>
                        <a:pt x="124" y="19"/>
                      </a:lnTo>
                      <a:lnTo>
                        <a:pt x="124" y="19"/>
                      </a:lnTo>
                      <a:lnTo>
                        <a:pt x="124" y="19"/>
                      </a:lnTo>
                      <a:lnTo>
                        <a:pt x="127" y="22"/>
                      </a:lnTo>
                      <a:lnTo>
                        <a:pt x="130" y="26"/>
                      </a:lnTo>
                      <a:lnTo>
                        <a:pt x="133" y="25"/>
                      </a:lnTo>
                      <a:close/>
                      <a:moveTo>
                        <a:pt x="140" y="38"/>
                      </a:moveTo>
                      <a:lnTo>
                        <a:pt x="140" y="38"/>
                      </a:lnTo>
                      <a:lnTo>
                        <a:pt x="136" y="29"/>
                      </a:lnTo>
                      <a:lnTo>
                        <a:pt x="133" y="31"/>
                      </a:lnTo>
                      <a:lnTo>
                        <a:pt x="133" y="31"/>
                      </a:lnTo>
                      <a:lnTo>
                        <a:pt x="139" y="39"/>
                      </a:lnTo>
                      <a:lnTo>
                        <a:pt x="140" y="38"/>
                      </a:lnTo>
                      <a:close/>
                      <a:moveTo>
                        <a:pt x="153" y="42"/>
                      </a:moveTo>
                      <a:lnTo>
                        <a:pt x="153" y="42"/>
                      </a:lnTo>
                      <a:lnTo>
                        <a:pt x="145" y="39"/>
                      </a:lnTo>
                      <a:lnTo>
                        <a:pt x="143" y="42"/>
                      </a:lnTo>
                      <a:lnTo>
                        <a:pt x="143" y="42"/>
                      </a:lnTo>
                      <a:lnTo>
                        <a:pt x="153" y="45"/>
                      </a:lnTo>
                      <a:lnTo>
                        <a:pt x="153" y="42"/>
                      </a:lnTo>
                      <a:close/>
                      <a:moveTo>
                        <a:pt x="169" y="47"/>
                      </a:moveTo>
                      <a:lnTo>
                        <a:pt x="169" y="47"/>
                      </a:lnTo>
                      <a:lnTo>
                        <a:pt x="159" y="44"/>
                      </a:lnTo>
                      <a:lnTo>
                        <a:pt x="158" y="47"/>
                      </a:lnTo>
                      <a:lnTo>
                        <a:pt x="158" y="47"/>
                      </a:lnTo>
                      <a:lnTo>
                        <a:pt x="168" y="48"/>
                      </a:lnTo>
                      <a:lnTo>
                        <a:pt x="169" y="47"/>
                      </a:lnTo>
                      <a:close/>
                      <a:moveTo>
                        <a:pt x="184" y="50"/>
                      </a:moveTo>
                      <a:lnTo>
                        <a:pt x="184" y="50"/>
                      </a:lnTo>
                      <a:lnTo>
                        <a:pt x="174" y="48"/>
                      </a:lnTo>
                      <a:lnTo>
                        <a:pt x="174" y="50"/>
                      </a:lnTo>
                      <a:lnTo>
                        <a:pt x="174" y="50"/>
                      </a:lnTo>
                      <a:lnTo>
                        <a:pt x="182" y="52"/>
                      </a:lnTo>
                      <a:lnTo>
                        <a:pt x="184" y="50"/>
                      </a:lnTo>
                      <a:close/>
                      <a:moveTo>
                        <a:pt x="195" y="60"/>
                      </a:moveTo>
                      <a:lnTo>
                        <a:pt x="195" y="60"/>
                      </a:lnTo>
                      <a:lnTo>
                        <a:pt x="192" y="55"/>
                      </a:lnTo>
                      <a:lnTo>
                        <a:pt x="192" y="55"/>
                      </a:lnTo>
                      <a:lnTo>
                        <a:pt x="191" y="52"/>
                      </a:lnTo>
                      <a:lnTo>
                        <a:pt x="188" y="51"/>
                      </a:lnTo>
                      <a:lnTo>
                        <a:pt x="188" y="54"/>
                      </a:lnTo>
                      <a:lnTo>
                        <a:pt x="188" y="54"/>
                      </a:lnTo>
                      <a:lnTo>
                        <a:pt x="190" y="57"/>
                      </a:lnTo>
                      <a:lnTo>
                        <a:pt x="190" y="57"/>
                      </a:lnTo>
                      <a:lnTo>
                        <a:pt x="192" y="61"/>
                      </a:lnTo>
                      <a:lnTo>
                        <a:pt x="195" y="60"/>
                      </a:lnTo>
                      <a:close/>
                      <a:moveTo>
                        <a:pt x="203" y="67"/>
                      </a:moveTo>
                      <a:lnTo>
                        <a:pt x="203" y="67"/>
                      </a:lnTo>
                      <a:lnTo>
                        <a:pt x="200" y="68"/>
                      </a:lnTo>
                      <a:lnTo>
                        <a:pt x="200" y="68"/>
                      </a:lnTo>
                      <a:lnTo>
                        <a:pt x="198" y="67"/>
                      </a:lnTo>
                      <a:lnTo>
                        <a:pt x="198" y="67"/>
                      </a:lnTo>
                      <a:lnTo>
                        <a:pt x="197" y="66"/>
                      </a:lnTo>
                      <a:lnTo>
                        <a:pt x="194" y="66"/>
                      </a:lnTo>
                      <a:lnTo>
                        <a:pt x="194" y="66"/>
                      </a:lnTo>
                      <a:lnTo>
                        <a:pt x="197" y="68"/>
                      </a:lnTo>
                      <a:lnTo>
                        <a:pt x="197" y="68"/>
                      </a:lnTo>
                      <a:lnTo>
                        <a:pt x="198" y="70"/>
                      </a:lnTo>
                      <a:lnTo>
                        <a:pt x="200" y="71"/>
                      </a:lnTo>
                      <a:lnTo>
                        <a:pt x="200" y="71"/>
                      </a:lnTo>
                      <a:lnTo>
                        <a:pt x="204" y="70"/>
                      </a:lnTo>
                      <a:lnTo>
                        <a:pt x="203" y="67"/>
                      </a:lnTo>
                      <a:close/>
                      <a:moveTo>
                        <a:pt x="216" y="60"/>
                      </a:moveTo>
                      <a:lnTo>
                        <a:pt x="216" y="60"/>
                      </a:lnTo>
                      <a:lnTo>
                        <a:pt x="208" y="64"/>
                      </a:lnTo>
                      <a:lnTo>
                        <a:pt x="207" y="64"/>
                      </a:lnTo>
                      <a:lnTo>
                        <a:pt x="208" y="67"/>
                      </a:lnTo>
                      <a:lnTo>
                        <a:pt x="208" y="66"/>
                      </a:lnTo>
                      <a:lnTo>
                        <a:pt x="208" y="66"/>
                      </a:lnTo>
                      <a:lnTo>
                        <a:pt x="217" y="63"/>
                      </a:lnTo>
                      <a:lnTo>
                        <a:pt x="216" y="6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8" name="Freeform 1708"/>
                <p:cNvSpPr>
                  <a:spLocks noEditPoints="1"/>
                </p:cNvSpPr>
                <p:nvPr/>
              </p:nvSpPr>
              <p:spPr bwMode="auto">
                <a:xfrm>
                  <a:off x="4954843" y="2803712"/>
                  <a:ext cx="14839" cy="59356"/>
                </a:xfrm>
                <a:custGeom>
                  <a:avLst/>
                  <a:gdLst>
                    <a:gd name="T0" fmla="*/ 5 w 15"/>
                    <a:gd name="T1" fmla="*/ 1 h 60"/>
                    <a:gd name="T2" fmla="*/ 5 w 15"/>
                    <a:gd name="T3" fmla="*/ 1 h 60"/>
                    <a:gd name="T4" fmla="*/ 3 w 15"/>
                    <a:gd name="T5" fmla="*/ 0 h 60"/>
                    <a:gd name="T6" fmla="*/ 0 w 15"/>
                    <a:gd name="T7" fmla="*/ 1 h 60"/>
                    <a:gd name="T8" fmla="*/ 0 w 15"/>
                    <a:gd name="T9" fmla="*/ 1 h 60"/>
                    <a:gd name="T10" fmla="*/ 2 w 15"/>
                    <a:gd name="T11" fmla="*/ 2 h 60"/>
                    <a:gd name="T12" fmla="*/ 5 w 15"/>
                    <a:gd name="T13" fmla="*/ 1 h 60"/>
                    <a:gd name="T14" fmla="*/ 12 w 15"/>
                    <a:gd name="T15" fmla="*/ 14 h 60"/>
                    <a:gd name="T16" fmla="*/ 12 w 15"/>
                    <a:gd name="T17" fmla="*/ 14 h 60"/>
                    <a:gd name="T18" fmla="*/ 8 w 15"/>
                    <a:gd name="T19" fmla="*/ 5 h 60"/>
                    <a:gd name="T20" fmla="*/ 5 w 15"/>
                    <a:gd name="T21" fmla="*/ 7 h 60"/>
                    <a:gd name="T22" fmla="*/ 5 w 15"/>
                    <a:gd name="T23" fmla="*/ 7 h 60"/>
                    <a:gd name="T24" fmla="*/ 11 w 15"/>
                    <a:gd name="T25" fmla="*/ 16 h 60"/>
                    <a:gd name="T26" fmla="*/ 12 w 15"/>
                    <a:gd name="T27" fmla="*/ 14 h 60"/>
                    <a:gd name="T28" fmla="*/ 15 w 15"/>
                    <a:gd name="T29" fmla="*/ 30 h 60"/>
                    <a:gd name="T30" fmla="*/ 15 w 15"/>
                    <a:gd name="T31" fmla="*/ 30 h 60"/>
                    <a:gd name="T32" fmla="*/ 15 w 15"/>
                    <a:gd name="T33" fmla="*/ 20 h 60"/>
                    <a:gd name="T34" fmla="*/ 12 w 15"/>
                    <a:gd name="T35" fmla="*/ 20 h 60"/>
                    <a:gd name="T36" fmla="*/ 12 w 15"/>
                    <a:gd name="T37" fmla="*/ 20 h 60"/>
                    <a:gd name="T38" fmla="*/ 13 w 15"/>
                    <a:gd name="T39" fmla="*/ 30 h 60"/>
                    <a:gd name="T40" fmla="*/ 15 w 15"/>
                    <a:gd name="T41" fmla="*/ 30 h 60"/>
                    <a:gd name="T42" fmla="*/ 15 w 15"/>
                    <a:gd name="T43" fmla="*/ 44 h 60"/>
                    <a:gd name="T44" fmla="*/ 15 w 15"/>
                    <a:gd name="T45" fmla="*/ 44 h 60"/>
                    <a:gd name="T46" fmla="*/ 15 w 15"/>
                    <a:gd name="T47" fmla="*/ 34 h 60"/>
                    <a:gd name="T48" fmla="*/ 13 w 15"/>
                    <a:gd name="T49" fmla="*/ 34 h 60"/>
                    <a:gd name="T50" fmla="*/ 13 w 15"/>
                    <a:gd name="T51" fmla="*/ 34 h 60"/>
                    <a:gd name="T52" fmla="*/ 12 w 15"/>
                    <a:gd name="T53" fmla="*/ 44 h 60"/>
                    <a:gd name="T54" fmla="*/ 15 w 15"/>
                    <a:gd name="T55" fmla="*/ 44 h 60"/>
                    <a:gd name="T56" fmla="*/ 13 w 15"/>
                    <a:gd name="T57" fmla="*/ 60 h 60"/>
                    <a:gd name="T58" fmla="*/ 13 w 15"/>
                    <a:gd name="T59" fmla="*/ 60 h 60"/>
                    <a:gd name="T60" fmla="*/ 15 w 15"/>
                    <a:gd name="T61" fmla="*/ 50 h 60"/>
                    <a:gd name="T62" fmla="*/ 12 w 15"/>
                    <a:gd name="T63" fmla="*/ 50 h 60"/>
                    <a:gd name="T64" fmla="*/ 12 w 15"/>
                    <a:gd name="T65" fmla="*/ 50 h 60"/>
                    <a:gd name="T66" fmla="*/ 11 w 15"/>
                    <a:gd name="T67" fmla="*/ 60 h 60"/>
                    <a:gd name="T68" fmla="*/ 13 w 15"/>
                    <a:gd name="T69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5" h="60">
                      <a:moveTo>
                        <a:pt x="5" y="1"/>
                      </a:move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2" y="2"/>
                      </a:lnTo>
                      <a:lnTo>
                        <a:pt x="5" y="1"/>
                      </a:lnTo>
                      <a:close/>
                      <a:moveTo>
                        <a:pt x="12" y="14"/>
                      </a:moveTo>
                      <a:lnTo>
                        <a:pt x="12" y="14"/>
                      </a:lnTo>
                      <a:lnTo>
                        <a:pt x="8" y="5"/>
                      </a:lnTo>
                      <a:lnTo>
                        <a:pt x="5" y="7"/>
                      </a:lnTo>
                      <a:lnTo>
                        <a:pt x="5" y="7"/>
                      </a:lnTo>
                      <a:lnTo>
                        <a:pt x="11" y="16"/>
                      </a:lnTo>
                      <a:lnTo>
                        <a:pt x="12" y="14"/>
                      </a:lnTo>
                      <a:close/>
                      <a:moveTo>
                        <a:pt x="15" y="30"/>
                      </a:moveTo>
                      <a:lnTo>
                        <a:pt x="15" y="30"/>
                      </a:lnTo>
                      <a:lnTo>
                        <a:pt x="15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3" y="30"/>
                      </a:lnTo>
                      <a:lnTo>
                        <a:pt x="15" y="30"/>
                      </a:lnTo>
                      <a:close/>
                      <a:moveTo>
                        <a:pt x="15" y="44"/>
                      </a:moveTo>
                      <a:lnTo>
                        <a:pt x="15" y="44"/>
                      </a:lnTo>
                      <a:lnTo>
                        <a:pt x="15" y="34"/>
                      </a:lnTo>
                      <a:lnTo>
                        <a:pt x="13" y="34"/>
                      </a:lnTo>
                      <a:lnTo>
                        <a:pt x="13" y="34"/>
                      </a:lnTo>
                      <a:lnTo>
                        <a:pt x="12" y="44"/>
                      </a:lnTo>
                      <a:lnTo>
                        <a:pt x="15" y="44"/>
                      </a:lnTo>
                      <a:close/>
                      <a:moveTo>
                        <a:pt x="13" y="60"/>
                      </a:moveTo>
                      <a:lnTo>
                        <a:pt x="13" y="60"/>
                      </a:lnTo>
                      <a:lnTo>
                        <a:pt x="15" y="50"/>
                      </a:lnTo>
                      <a:lnTo>
                        <a:pt x="12" y="50"/>
                      </a:lnTo>
                      <a:lnTo>
                        <a:pt x="12" y="50"/>
                      </a:lnTo>
                      <a:lnTo>
                        <a:pt x="11" y="60"/>
                      </a:lnTo>
                      <a:lnTo>
                        <a:pt x="13" y="6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9" name="Freeform 1709"/>
                <p:cNvSpPr>
                  <a:spLocks noEditPoints="1"/>
                </p:cNvSpPr>
                <p:nvPr/>
              </p:nvSpPr>
              <p:spPr bwMode="auto">
                <a:xfrm>
                  <a:off x="4967703" y="2741389"/>
                  <a:ext cx="28689" cy="94969"/>
                </a:xfrm>
                <a:custGeom>
                  <a:avLst/>
                  <a:gdLst>
                    <a:gd name="T0" fmla="*/ 18 w 29"/>
                    <a:gd name="T1" fmla="*/ 0 h 96"/>
                    <a:gd name="T2" fmla="*/ 15 w 29"/>
                    <a:gd name="T3" fmla="*/ 3 h 96"/>
                    <a:gd name="T4" fmla="*/ 18 w 29"/>
                    <a:gd name="T5" fmla="*/ 3 h 96"/>
                    <a:gd name="T6" fmla="*/ 28 w 29"/>
                    <a:gd name="T7" fmla="*/ 10 h 96"/>
                    <a:gd name="T8" fmla="*/ 29 w 29"/>
                    <a:gd name="T9" fmla="*/ 6 h 96"/>
                    <a:gd name="T10" fmla="*/ 28 w 29"/>
                    <a:gd name="T11" fmla="*/ 5 h 96"/>
                    <a:gd name="T12" fmla="*/ 22 w 29"/>
                    <a:gd name="T13" fmla="*/ 2 h 96"/>
                    <a:gd name="T14" fmla="*/ 22 w 29"/>
                    <a:gd name="T15" fmla="*/ 5 h 96"/>
                    <a:gd name="T16" fmla="*/ 27 w 29"/>
                    <a:gd name="T17" fmla="*/ 6 h 96"/>
                    <a:gd name="T18" fmla="*/ 25 w 29"/>
                    <a:gd name="T19" fmla="*/ 9 h 96"/>
                    <a:gd name="T20" fmla="*/ 19 w 29"/>
                    <a:gd name="T21" fmla="*/ 23 h 96"/>
                    <a:gd name="T22" fmla="*/ 25 w 29"/>
                    <a:gd name="T23" fmla="*/ 15 h 96"/>
                    <a:gd name="T24" fmla="*/ 24 w 29"/>
                    <a:gd name="T25" fmla="*/ 13 h 96"/>
                    <a:gd name="T26" fmla="*/ 19 w 29"/>
                    <a:gd name="T27" fmla="*/ 23 h 96"/>
                    <a:gd name="T28" fmla="*/ 13 w 29"/>
                    <a:gd name="T29" fmla="*/ 37 h 96"/>
                    <a:gd name="T30" fmla="*/ 15 w 29"/>
                    <a:gd name="T31" fmla="*/ 32 h 96"/>
                    <a:gd name="T32" fmla="*/ 15 w 29"/>
                    <a:gd name="T33" fmla="*/ 26 h 96"/>
                    <a:gd name="T34" fmla="*/ 12 w 29"/>
                    <a:gd name="T35" fmla="*/ 32 h 96"/>
                    <a:gd name="T36" fmla="*/ 11 w 29"/>
                    <a:gd name="T37" fmla="*/ 37 h 96"/>
                    <a:gd name="T38" fmla="*/ 13 w 29"/>
                    <a:gd name="T39" fmla="*/ 52 h 96"/>
                    <a:gd name="T40" fmla="*/ 13 w 29"/>
                    <a:gd name="T41" fmla="*/ 42 h 96"/>
                    <a:gd name="T42" fmla="*/ 11 w 29"/>
                    <a:gd name="T43" fmla="*/ 41 h 96"/>
                    <a:gd name="T44" fmla="*/ 13 w 29"/>
                    <a:gd name="T45" fmla="*/ 52 h 96"/>
                    <a:gd name="T46" fmla="*/ 12 w 29"/>
                    <a:gd name="T47" fmla="*/ 67 h 96"/>
                    <a:gd name="T48" fmla="*/ 11 w 29"/>
                    <a:gd name="T49" fmla="*/ 57 h 96"/>
                    <a:gd name="T50" fmla="*/ 9 w 29"/>
                    <a:gd name="T51" fmla="*/ 67 h 96"/>
                    <a:gd name="T52" fmla="*/ 9 w 29"/>
                    <a:gd name="T53" fmla="*/ 83 h 96"/>
                    <a:gd name="T54" fmla="*/ 11 w 29"/>
                    <a:gd name="T55" fmla="*/ 79 h 96"/>
                    <a:gd name="T56" fmla="*/ 12 w 29"/>
                    <a:gd name="T57" fmla="*/ 73 h 96"/>
                    <a:gd name="T58" fmla="*/ 9 w 29"/>
                    <a:gd name="T59" fmla="*/ 71 h 96"/>
                    <a:gd name="T60" fmla="*/ 8 w 29"/>
                    <a:gd name="T61" fmla="*/ 77 h 96"/>
                    <a:gd name="T62" fmla="*/ 9 w 29"/>
                    <a:gd name="T63" fmla="*/ 83 h 96"/>
                    <a:gd name="T64" fmla="*/ 2 w 29"/>
                    <a:gd name="T65" fmla="*/ 96 h 96"/>
                    <a:gd name="T66" fmla="*/ 5 w 29"/>
                    <a:gd name="T67" fmla="*/ 86 h 96"/>
                    <a:gd name="T68" fmla="*/ 0 w 29"/>
                    <a:gd name="T69" fmla="*/ 94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9" h="96">
                      <a:moveTo>
                        <a:pt x="18" y="0"/>
                      </a:moveTo>
                      <a:lnTo>
                        <a:pt x="18" y="0"/>
                      </a:lnTo>
                      <a:lnTo>
                        <a:pt x="15" y="0"/>
                      </a:lnTo>
                      <a:lnTo>
                        <a:pt x="15" y="3"/>
                      </a:lnTo>
                      <a:lnTo>
                        <a:pt x="15" y="3"/>
                      </a:lnTo>
                      <a:lnTo>
                        <a:pt x="18" y="3"/>
                      </a:lnTo>
                      <a:lnTo>
                        <a:pt x="18" y="0"/>
                      </a:lnTo>
                      <a:close/>
                      <a:moveTo>
                        <a:pt x="28" y="10"/>
                      </a:moveTo>
                      <a:lnTo>
                        <a:pt x="28" y="10"/>
                      </a:lnTo>
                      <a:lnTo>
                        <a:pt x="29" y="6"/>
                      </a:lnTo>
                      <a:lnTo>
                        <a:pt x="29" y="6"/>
                      </a:lnTo>
                      <a:lnTo>
                        <a:pt x="28" y="5"/>
                      </a:lnTo>
                      <a:lnTo>
                        <a:pt x="28" y="5"/>
                      </a:lnTo>
                      <a:lnTo>
                        <a:pt x="22" y="2"/>
                      </a:lnTo>
                      <a:lnTo>
                        <a:pt x="22" y="5"/>
                      </a:lnTo>
                      <a:lnTo>
                        <a:pt x="22" y="5"/>
                      </a:lnTo>
                      <a:lnTo>
                        <a:pt x="27" y="6"/>
                      </a:lnTo>
                      <a:lnTo>
                        <a:pt x="27" y="6"/>
                      </a:lnTo>
                      <a:lnTo>
                        <a:pt x="27" y="6"/>
                      </a:lnTo>
                      <a:lnTo>
                        <a:pt x="25" y="9"/>
                      </a:lnTo>
                      <a:lnTo>
                        <a:pt x="28" y="10"/>
                      </a:lnTo>
                      <a:close/>
                      <a:moveTo>
                        <a:pt x="19" y="23"/>
                      </a:moveTo>
                      <a:lnTo>
                        <a:pt x="19" y="23"/>
                      </a:lnTo>
                      <a:lnTo>
                        <a:pt x="25" y="15"/>
                      </a:lnTo>
                      <a:lnTo>
                        <a:pt x="24" y="13"/>
                      </a:lnTo>
                      <a:lnTo>
                        <a:pt x="24" y="13"/>
                      </a:lnTo>
                      <a:lnTo>
                        <a:pt x="18" y="22"/>
                      </a:lnTo>
                      <a:lnTo>
                        <a:pt x="19" y="23"/>
                      </a:lnTo>
                      <a:close/>
                      <a:moveTo>
                        <a:pt x="13" y="37"/>
                      </a:moveTo>
                      <a:lnTo>
                        <a:pt x="13" y="37"/>
                      </a:lnTo>
                      <a:lnTo>
                        <a:pt x="13" y="37"/>
                      </a:lnTo>
                      <a:lnTo>
                        <a:pt x="15" y="32"/>
                      </a:lnTo>
                      <a:lnTo>
                        <a:pt x="18" y="28"/>
                      </a:lnTo>
                      <a:lnTo>
                        <a:pt x="15" y="26"/>
                      </a:lnTo>
                      <a:lnTo>
                        <a:pt x="15" y="26"/>
                      </a:lnTo>
                      <a:lnTo>
                        <a:pt x="12" y="32"/>
                      </a:lnTo>
                      <a:lnTo>
                        <a:pt x="11" y="37"/>
                      </a:lnTo>
                      <a:lnTo>
                        <a:pt x="11" y="37"/>
                      </a:lnTo>
                      <a:lnTo>
                        <a:pt x="13" y="37"/>
                      </a:lnTo>
                      <a:close/>
                      <a:moveTo>
                        <a:pt x="13" y="52"/>
                      </a:moveTo>
                      <a:lnTo>
                        <a:pt x="13" y="52"/>
                      </a:lnTo>
                      <a:lnTo>
                        <a:pt x="13" y="42"/>
                      </a:lnTo>
                      <a:lnTo>
                        <a:pt x="11" y="41"/>
                      </a:lnTo>
                      <a:lnTo>
                        <a:pt x="11" y="41"/>
                      </a:lnTo>
                      <a:lnTo>
                        <a:pt x="11" y="51"/>
                      </a:lnTo>
                      <a:lnTo>
                        <a:pt x="13" y="52"/>
                      </a:lnTo>
                      <a:close/>
                      <a:moveTo>
                        <a:pt x="12" y="67"/>
                      </a:moveTo>
                      <a:lnTo>
                        <a:pt x="12" y="67"/>
                      </a:lnTo>
                      <a:lnTo>
                        <a:pt x="12" y="57"/>
                      </a:lnTo>
                      <a:lnTo>
                        <a:pt x="11" y="57"/>
                      </a:lnTo>
                      <a:lnTo>
                        <a:pt x="11" y="57"/>
                      </a:lnTo>
                      <a:lnTo>
                        <a:pt x="9" y="67"/>
                      </a:lnTo>
                      <a:lnTo>
                        <a:pt x="12" y="67"/>
                      </a:lnTo>
                      <a:close/>
                      <a:moveTo>
                        <a:pt x="9" y="83"/>
                      </a:moveTo>
                      <a:lnTo>
                        <a:pt x="9" y="83"/>
                      </a:lnTo>
                      <a:lnTo>
                        <a:pt x="11" y="79"/>
                      </a:lnTo>
                      <a:lnTo>
                        <a:pt x="11" y="79"/>
                      </a:lnTo>
                      <a:lnTo>
                        <a:pt x="12" y="73"/>
                      </a:lnTo>
                      <a:lnTo>
                        <a:pt x="9" y="71"/>
                      </a:lnTo>
                      <a:lnTo>
                        <a:pt x="9" y="71"/>
                      </a:lnTo>
                      <a:lnTo>
                        <a:pt x="8" y="77"/>
                      </a:lnTo>
                      <a:lnTo>
                        <a:pt x="8" y="77"/>
                      </a:lnTo>
                      <a:lnTo>
                        <a:pt x="6" y="81"/>
                      </a:lnTo>
                      <a:lnTo>
                        <a:pt x="9" y="83"/>
                      </a:lnTo>
                      <a:close/>
                      <a:moveTo>
                        <a:pt x="2" y="96"/>
                      </a:moveTo>
                      <a:lnTo>
                        <a:pt x="2" y="96"/>
                      </a:lnTo>
                      <a:lnTo>
                        <a:pt x="8" y="87"/>
                      </a:lnTo>
                      <a:lnTo>
                        <a:pt x="5" y="86"/>
                      </a:lnTo>
                      <a:lnTo>
                        <a:pt x="5" y="86"/>
                      </a:lnTo>
                      <a:lnTo>
                        <a:pt x="0" y="94"/>
                      </a:lnTo>
                      <a:lnTo>
                        <a:pt x="2" y="9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0" name="Freeform 1710"/>
                <p:cNvSpPr>
                  <a:spLocks/>
                </p:cNvSpPr>
                <p:nvPr/>
              </p:nvSpPr>
              <p:spPr bwMode="auto">
                <a:xfrm>
                  <a:off x="4970671" y="2772056"/>
                  <a:ext cx="9893" cy="3957"/>
                </a:xfrm>
                <a:custGeom>
                  <a:avLst/>
                  <a:gdLst>
                    <a:gd name="T0" fmla="*/ 10 w 10"/>
                    <a:gd name="T1" fmla="*/ 3 h 4"/>
                    <a:gd name="T2" fmla="*/ 10 w 10"/>
                    <a:gd name="T3" fmla="*/ 3 h 4"/>
                    <a:gd name="T4" fmla="*/ 0 w 10"/>
                    <a:gd name="T5" fmla="*/ 0 h 4"/>
                    <a:gd name="T6" fmla="*/ 0 w 10"/>
                    <a:gd name="T7" fmla="*/ 3 h 4"/>
                    <a:gd name="T8" fmla="*/ 0 w 10"/>
                    <a:gd name="T9" fmla="*/ 3 h 4"/>
                    <a:gd name="T10" fmla="*/ 9 w 10"/>
                    <a:gd name="T11" fmla="*/ 4 h 4"/>
                    <a:gd name="T12" fmla="*/ 10 w 10"/>
                    <a:gd name="T13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4">
                      <a:moveTo>
                        <a:pt x="10" y="3"/>
                      </a:moveTo>
                      <a:lnTo>
                        <a:pt x="10" y="3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9" y="4"/>
                      </a:lnTo>
                      <a:lnTo>
                        <a:pt x="10" y="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1" name="Freeform 1711"/>
                <p:cNvSpPr>
                  <a:spLocks noEditPoints="1"/>
                </p:cNvSpPr>
                <p:nvPr/>
              </p:nvSpPr>
              <p:spPr bwMode="auto">
                <a:xfrm>
                  <a:off x="4979574" y="2698851"/>
                  <a:ext cx="112776" cy="90023"/>
                </a:xfrm>
                <a:custGeom>
                  <a:avLst/>
                  <a:gdLst>
                    <a:gd name="T0" fmla="*/ 114 w 114"/>
                    <a:gd name="T1" fmla="*/ 1 h 91"/>
                    <a:gd name="T2" fmla="*/ 112 w 114"/>
                    <a:gd name="T3" fmla="*/ 0 h 91"/>
                    <a:gd name="T4" fmla="*/ 104 w 114"/>
                    <a:gd name="T5" fmla="*/ 13 h 91"/>
                    <a:gd name="T6" fmla="*/ 110 w 114"/>
                    <a:gd name="T7" fmla="*/ 6 h 91"/>
                    <a:gd name="T8" fmla="*/ 109 w 114"/>
                    <a:gd name="T9" fmla="*/ 3 h 91"/>
                    <a:gd name="T10" fmla="*/ 104 w 114"/>
                    <a:gd name="T11" fmla="*/ 13 h 91"/>
                    <a:gd name="T12" fmla="*/ 96 w 114"/>
                    <a:gd name="T13" fmla="*/ 26 h 91"/>
                    <a:gd name="T14" fmla="*/ 99 w 114"/>
                    <a:gd name="T15" fmla="*/ 16 h 91"/>
                    <a:gd name="T16" fmla="*/ 94 w 114"/>
                    <a:gd name="T17" fmla="*/ 24 h 91"/>
                    <a:gd name="T18" fmla="*/ 91 w 114"/>
                    <a:gd name="T19" fmla="*/ 39 h 91"/>
                    <a:gd name="T20" fmla="*/ 91 w 114"/>
                    <a:gd name="T21" fmla="*/ 39 h 91"/>
                    <a:gd name="T22" fmla="*/ 91 w 114"/>
                    <a:gd name="T23" fmla="*/ 36 h 91"/>
                    <a:gd name="T24" fmla="*/ 91 w 114"/>
                    <a:gd name="T25" fmla="*/ 29 h 91"/>
                    <a:gd name="T26" fmla="*/ 90 w 114"/>
                    <a:gd name="T27" fmla="*/ 35 h 91"/>
                    <a:gd name="T28" fmla="*/ 88 w 114"/>
                    <a:gd name="T29" fmla="*/ 39 h 91"/>
                    <a:gd name="T30" fmla="*/ 88 w 114"/>
                    <a:gd name="T31" fmla="*/ 39 h 91"/>
                    <a:gd name="T32" fmla="*/ 90 w 114"/>
                    <a:gd name="T33" fmla="*/ 39 h 91"/>
                    <a:gd name="T34" fmla="*/ 91 w 114"/>
                    <a:gd name="T35" fmla="*/ 39 h 91"/>
                    <a:gd name="T36" fmla="*/ 80 w 114"/>
                    <a:gd name="T37" fmla="*/ 51 h 91"/>
                    <a:gd name="T38" fmla="*/ 86 w 114"/>
                    <a:gd name="T39" fmla="*/ 42 h 91"/>
                    <a:gd name="T40" fmla="*/ 78 w 114"/>
                    <a:gd name="T41" fmla="*/ 49 h 91"/>
                    <a:gd name="T42" fmla="*/ 68 w 114"/>
                    <a:gd name="T43" fmla="*/ 59 h 91"/>
                    <a:gd name="T44" fmla="*/ 75 w 114"/>
                    <a:gd name="T45" fmla="*/ 53 h 91"/>
                    <a:gd name="T46" fmla="*/ 74 w 114"/>
                    <a:gd name="T47" fmla="*/ 52 h 91"/>
                    <a:gd name="T48" fmla="*/ 68 w 114"/>
                    <a:gd name="T49" fmla="*/ 59 h 91"/>
                    <a:gd name="T50" fmla="*/ 55 w 114"/>
                    <a:gd name="T51" fmla="*/ 69 h 91"/>
                    <a:gd name="T52" fmla="*/ 62 w 114"/>
                    <a:gd name="T53" fmla="*/ 61 h 91"/>
                    <a:gd name="T54" fmla="*/ 54 w 114"/>
                    <a:gd name="T55" fmla="*/ 66 h 91"/>
                    <a:gd name="T56" fmla="*/ 42 w 114"/>
                    <a:gd name="T57" fmla="*/ 78 h 91"/>
                    <a:gd name="T58" fmla="*/ 51 w 114"/>
                    <a:gd name="T59" fmla="*/ 72 h 91"/>
                    <a:gd name="T60" fmla="*/ 49 w 114"/>
                    <a:gd name="T61" fmla="*/ 69 h 91"/>
                    <a:gd name="T62" fmla="*/ 42 w 114"/>
                    <a:gd name="T63" fmla="*/ 78 h 91"/>
                    <a:gd name="T64" fmla="*/ 30 w 114"/>
                    <a:gd name="T65" fmla="*/ 87 h 91"/>
                    <a:gd name="T66" fmla="*/ 36 w 114"/>
                    <a:gd name="T67" fmla="*/ 78 h 91"/>
                    <a:gd name="T68" fmla="*/ 29 w 114"/>
                    <a:gd name="T69" fmla="*/ 84 h 91"/>
                    <a:gd name="T70" fmla="*/ 15 w 114"/>
                    <a:gd name="T71" fmla="*/ 91 h 91"/>
                    <a:gd name="T72" fmla="*/ 22 w 114"/>
                    <a:gd name="T73" fmla="*/ 91 h 91"/>
                    <a:gd name="T74" fmla="*/ 25 w 114"/>
                    <a:gd name="T75" fmla="*/ 87 h 91"/>
                    <a:gd name="T76" fmla="*/ 20 w 114"/>
                    <a:gd name="T77" fmla="*/ 88 h 91"/>
                    <a:gd name="T78" fmla="*/ 15 w 114"/>
                    <a:gd name="T79" fmla="*/ 91 h 91"/>
                    <a:gd name="T80" fmla="*/ 0 w 114"/>
                    <a:gd name="T81" fmla="*/ 91 h 91"/>
                    <a:gd name="T82" fmla="*/ 10 w 114"/>
                    <a:gd name="T83" fmla="*/ 88 h 91"/>
                    <a:gd name="T84" fmla="*/ 0 w 114"/>
                    <a:gd name="T85" fmla="*/ 88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14" h="91">
                      <a:moveTo>
                        <a:pt x="114" y="1"/>
                      </a:moveTo>
                      <a:lnTo>
                        <a:pt x="114" y="1"/>
                      </a:lnTo>
                      <a:lnTo>
                        <a:pt x="113" y="0"/>
                      </a:lnTo>
                      <a:lnTo>
                        <a:pt x="112" y="0"/>
                      </a:lnTo>
                      <a:lnTo>
                        <a:pt x="114" y="1"/>
                      </a:lnTo>
                      <a:close/>
                      <a:moveTo>
                        <a:pt x="104" y="13"/>
                      </a:moveTo>
                      <a:lnTo>
                        <a:pt x="104" y="13"/>
                      </a:lnTo>
                      <a:lnTo>
                        <a:pt x="110" y="6"/>
                      </a:lnTo>
                      <a:lnTo>
                        <a:pt x="109" y="3"/>
                      </a:lnTo>
                      <a:lnTo>
                        <a:pt x="109" y="3"/>
                      </a:lnTo>
                      <a:lnTo>
                        <a:pt x="101" y="11"/>
                      </a:lnTo>
                      <a:lnTo>
                        <a:pt x="104" y="13"/>
                      </a:lnTo>
                      <a:close/>
                      <a:moveTo>
                        <a:pt x="96" y="26"/>
                      </a:moveTo>
                      <a:lnTo>
                        <a:pt x="96" y="26"/>
                      </a:lnTo>
                      <a:lnTo>
                        <a:pt x="101" y="17"/>
                      </a:lnTo>
                      <a:lnTo>
                        <a:pt x="99" y="16"/>
                      </a:lnTo>
                      <a:lnTo>
                        <a:pt x="99" y="16"/>
                      </a:lnTo>
                      <a:lnTo>
                        <a:pt x="94" y="24"/>
                      </a:lnTo>
                      <a:lnTo>
                        <a:pt x="96" y="26"/>
                      </a:lnTo>
                      <a:close/>
                      <a:moveTo>
                        <a:pt x="91" y="39"/>
                      </a:moveTo>
                      <a:lnTo>
                        <a:pt x="91" y="39"/>
                      </a:lnTo>
                      <a:lnTo>
                        <a:pt x="91" y="39"/>
                      </a:lnTo>
                      <a:lnTo>
                        <a:pt x="91" y="36"/>
                      </a:lnTo>
                      <a:lnTo>
                        <a:pt x="91" y="36"/>
                      </a:lnTo>
                      <a:lnTo>
                        <a:pt x="94" y="30"/>
                      </a:lnTo>
                      <a:lnTo>
                        <a:pt x="91" y="29"/>
                      </a:lnTo>
                      <a:lnTo>
                        <a:pt x="91" y="29"/>
                      </a:lnTo>
                      <a:lnTo>
                        <a:pt x="90" y="35"/>
                      </a:lnTo>
                      <a:lnTo>
                        <a:pt x="90" y="35"/>
                      </a:lnTo>
                      <a:lnTo>
                        <a:pt x="88" y="39"/>
                      </a:lnTo>
                      <a:lnTo>
                        <a:pt x="90" y="39"/>
                      </a:lnTo>
                      <a:lnTo>
                        <a:pt x="88" y="39"/>
                      </a:lnTo>
                      <a:lnTo>
                        <a:pt x="88" y="39"/>
                      </a:lnTo>
                      <a:lnTo>
                        <a:pt x="90" y="39"/>
                      </a:lnTo>
                      <a:lnTo>
                        <a:pt x="88" y="39"/>
                      </a:lnTo>
                      <a:lnTo>
                        <a:pt x="91" y="39"/>
                      </a:lnTo>
                      <a:close/>
                      <a:moveTo>
                        <a:pt x="80" y="51"/>
                      </a:moveTo>
                      <a:lnTo>
                        <a:pt x="80" y="51"/>
                      </a:lnTo>
                      <a:lnTo>
                        <a:pt x="88" y="45"/>
                      </a:lnTo>
                      <a:lnTo>
                        <a:pt x="86" y="42"/>
                      </a:lnTo>
                      <a:lnTo>
                        <a:pt x="86" y="42"/>
                      </a:lnTo>
                      <a:lnTo>
                        <a:pt x="78" y="49"/>
                      </a:lnTo>
                      <a:lnTo>
                        <a:pt x="80" y="51"/>
                      </a:lnTo>
                      <a:close/>
                      <a:moveTo>
                        <a:pt x="68" y="59"/>
                      </a:moveTo>
                      <a:lnTo>
                        <a:pt x="68" y="59"/>
                      </a:lnTo>
                      <a:lnTo>
                        <a:pt x="75" y="53"/>
                      </a:lnTo>
                      <a:lnTo>
                        <a:pt x="74" y="52"/>
                      </a:lnTo>
                      <a:lnTo>
                        <a:pt x="74" y="52"/>
                      </a:lnTo>
                      <a:lnTo>
                        <a:pt x="67" y="58"/>
                      </a:lnTo>
                      <a:lnTo>
                        <a:pt x="68" y="59"/>
                      </a:lnTo>
                      <a:close/>
                      <a:moveTo>
                        <a:pt x="55" y="69"/>
                      </a:moveTo>
                      <a:lnTo>
                        <a:pt x="55" y="69"/>
                      </a:lnTo>
                      <a:lnTo>
                        <a:pt x="64" y="64"/>
                      </a:lnTo>
                      <a:lnTo>
                        <a:pt x="62" y="61"/>
                      </a:lnTo>
                      <a:lnTo>
                        <a:pt x="62" y="61"/>
                      </a:lnTo>
                      <a:lnTo>
                        <a:pt x="54" y="66"/>
                      </a:lnTo>
                      <a:lnTo>
                        <a:pt x="55" y="69"/>
                      </a:lnTo>
                      <a:close/>
                      <a:moveTo>
                        <a:pt x="42" y="78"/>
                      </a:moveTo>
                      <a:lnTo>
                        <a:pt x="42" y="78"/>
                      </a:lnTo>
                      <a:lnTo>
                        <a:pt x="51" y="72"/>
                      </a:lnTo>
                      <a:lnTo>
                        <a:pt x="49" y="69"/>
                      </a:lnTo>
                      <a:lnTo>
                        <a:pt x="49" y="69"/>
                      </a:lnTo>
                      <a:lnTo>
                        <a:pt x="41" y="75"/>
                      </a:lnTo>
                      <a:lnTo>
                        <a:pt x="42" y="78"/>
                      </a:lnTo>
                      <a:close/>
                      <a:moveTo>
                        <a:pt x="30" y="87"/>
                      </a:moveTo>
                      <a:lnTo>
                        <a:pt x="30" y="87"/>
                      </a:lnTo>
                      <a:lnTo>
                        <a:pt x="38" y="81"/>
                      </a:lnTo>
                      <a:lnTo>
                        <a:pt x="36" y="78"/>
                      </a:lnTo>
                      <a:lnTo>
                        <a:pt x="36" y="78"/>
                      </a:lnTo>
                      <a:lnTo>
                        <a:pt x="29" y="84"/>
                      </a:lnTo>
                      <a:lnTo>
                        <a:pt x="30" y="87"/>
                      </a:lnTo>
                      <a:close/>
                      <a:moveTo>
                        <a:pt x="15" y="91"/>
                      </a:moveTo>
                      <a:lnTo>
                        <a:pt x="15" y="91"/>
                      </a:lnTo>
                      <a:lnTo>
                        <a:pt x="22" y="91"/>
                      </a:lnTo>
                      <a:lnTo>
                        <a:pt x="26" y="90"/>
                      </a:lnTo>
                      <a:lnTo>
                        <a:pt x="25" y="87"/>
                      </a:lnTo>
                      <a:lnTo>
                        <a:pt x="25" y="87"/>
                      </a:lnTo>
                      <a:lnTo>
                        <a:pt x="20" y="88"/>
                      </a:lnTo>
                      <a:lnTo>
                        <a:pt x="15" y="88"/>
                      </a:lnTo>
                      <a:lnTo>
                        <a:pt x="15" y="91"/>
                      </a:lnTo>
                      <a:close/>
                      <a:moveTo>
                        <a:pt x="0" y="91"/>
                      </a:moveTo>
                      <a:lnTo>
                        <a:pt x="0" y="91"/>
                      </a:lnTo>
                      <a:lnTo>
                        <a:pt x="10" y="91"/>
                      </a:lnTo>
                      <a:lnTo>
                        <a:pt x="10" y="88"/>
                      </a:lnTo>
                      <a:lnTo>
                        <a:pt x="10" y="88"/>
                      </a:lnTo>
                      <a:lnTo>
                        <a:pt x="0" y="88"/>
                      </a:lnTo>
                      <a:lnTo>
                        <a:pt x="0" y="9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2" name="Freeform 1712"/>
                <p:cNvSpPr>
                  <a:spLocks noEditPoints="1"/>
                </p:cNvSpPr>
                <p:nvPr/>
              </p:nvSpPr>
              <p:spPr bwMode="auto">
                <a:xfrm>
                  <a:off x="5018156" y="2776013"/>
                  <a:ext cx="15828" cy="22753"/>
                </a:xfrm>
                <a:custGeom>
                  <a:avLst/>
                  <a:gdLst>
                    <a:gd name="T0" fmla="*/ 7 w 16"/>
                    <a:gd name="T1" fmla="*/ 9 h 23"/>
                    <a:gd name="T2" fmla="*/ 7 w 16"/>
                    <a:gd name="T3" fmla="*/ 9 h 23"/>
                    <a:gd name="T4" fmla="*/ 3 w 16"/>
                    <a:gd name="T5" fmla="*/ 0 h 23"/>
                    <a:gd name="T6" fmla="*/ 0 w 16"/>
                    <a:gd name="T7" fmla="*/ 2 h 23"/>
                    <a:gd name="T8" fmla="*/ 0 w 16"/>
                    <a:gd name="T9" fmla="*/ 2 h 23"/>
                    <a:gd name="T10" fmla="*/ 6 w 16"/>
                    <a:gd name="T11" fmla="*/ 10 h 23"/>
                    <a:gd name="T12" fmla="*/ 7 w 16"/>
                    <a:gd name="T13" fmla="*/ 9 h 23"/>
                    <a:gd name="T14" fmla="*/ 16 w 16"/>
                    <a:gd name="T15" fmla="*/ 22 h 23"/>
                    <a:gd name="T16" fmla="*/ 16 w 16"/>
                    <a:gd name="T17" fmla="*/ 22 h 23"/>
                    <a:gd name="T18" fmla="*/ 10 w 16"/>
                    <a:gd name="T19" fmla="*/ 13 h 23"/>
                    <a:gd name="T20" fmla="*/ 9 w 16"/>
                    <a:gd name="T21" fmla="*/ 15 h 23"/>
                    <a:gd name="T22" fmla="*/ 9 w 16"/>
                    <a:gd name="T23" fmla="*/ 15 h 23"/>
                    <a:gd name="T24" fmla="*/ 13 w 16"/>
                    <a:gd name="T25" fmla="*/ 23 h 23"/>
                    <a:gd name="T26" fmla="*/ 16 w 16"/>
                    <a:gd name="T27" fmla="*/ 22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" h="23">
                      <a:moveTo>
                        <a:pt x="7" y="9"/>
                      </a:moveTo>
                      <a:lnTo>
                        <a:pt x="7" y="9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6" y="10"/>
                      </a:lnTo>
                      <a:lnTo>
                        <a:pt x="7" y="9"/>
                      </a:lnTo>
                      <a:close/>
                      <a:moveTo>
                        <a:pt x="16" y="22"/>
                      </a:moveTo>
                      <a:lnTo>
                        <a:pt x="16" y="22"/>
                      </a:lnTo>
                      <a:lnTo>
                        <a:pt x="10" y="13"/>
                      </a:lnTo>
                      <a:lnTo>
                        <a:pt x="9" y="15"/>
                      </a:lnTo>
                      <a:lnTo>
                        <a:pt x="9" y="15"/>
                      </a:lnTo>
                      <a:lnTo>
                        <a:pt x="13" y="23"/>
                      </a:lnTo>
                      <a:lnTo>
                        <a:pt x="16" y="2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3" name="Freeform 1713"/>
                <p:cNvSpPr>
                  <a:spLocks noEditPoints="1"/>
                </p:cNvSpPr>
                <p:nvPr/>
              </p:nvSpPr>
              <p:spPr bwMode="auto">
                <a:xfrm>
                  <a:off x="5148738" y="2833390"/>
                  <a:ext cx="29678" cy="12860"/>
                </a:xfrm>
                <a:custGeom>
                  <a:avLst/>
                  <a:gdLst>
                    <a:gd name="T0" fmla="*/ 3 w 30"/>
                    <a:gd name="T1" fmla="*/ 9 h 13"/>
                    <a:gd name="T2" fmla="*/ 0 w 30"/>
                    <a:gd name="T3" fmla="*/ 12 h 13"/>
                    <a:gd name="T4" fmla="*/ 1 w 30"/>
                    <a:gd name="T5" fmla="*/ 13 h 13"/>
                    <a:gd name="T6" fmla="*/ 4 w 30"/>
                    <a:gd name="T7" fmla="*/ 10 h 13"/>
                    <a:gd name="T8" fmla="*/ 3 w 30"/>
                    <a:gd name="T9" fmla="*/ 9 h 13"/>
                    <a:gd name="T10" fmla="*/ 14 w 30"/>
                    <a:gd name="T11" fmla="*/ 0 h 13"/>
                    <a:gd name="T12" fmla="*/ 14 w 30"/>
                    <a:gd name="T13" fmla="*/ 0 h 13"/>
                    <a:gd name="T14" fmla="*/ 13 w 30"/>
                    <a:gd name="T15" fmla="*/ 0 h 13"/>
                    <a:gd name="T16" fmla="*/ 12 w 30"/>
                    <a:gd name="T17" fmla="*/ 0 h 13"/>
                    <a:gd name="T18" fmla="*/ 6 w 30"/>
                    <a:gd name="T19" fmla="*/ 6 h 13"/>
                    <a:gd name="T20" fmla="*/ 7 w 30"/>
                    <a:gd name="T21" fmla="*/ 7 h 13"/>
                    <a:gd name="T22" fmla="*/ 13 w 30"/>
                    <a:gd name="T23" fmla="*/ 1 h 13"/>
                    <a:gd name="T24" fmla="*/ 13 w 30"/>
                    <a:gd name="T25" fmla="*/ 1 h 13"/>
                    <a:gd name="T26" fmla="*/ 13 w 30"/>
                    <a:gd name="T27" fmla="*/ 3 h 13"/>
                    <a:gd name="T28" fmla="*/ 13 w 30"/>
                    <a:gd name="T29" fmla="*/ 3 h 13"/>
                    <a:gd name="T30" fmla="*/ 14 w 30"/>
                    <a:gd name="T31" fmla="*/ 3 h 13"/>
                    <a:gd name="T32" fmla="*/ 14 w 30"/>
                    <a:gd name="T33" fmla="*/ 0 h 13"/>
                    <a:gd name="T34" fmla="*/ 30 w 30"/>
                    <a:gd name="T35" fmla="*/ 1 h 13"/>
                    <a:gd name="T36" fmla="*/ 30 w 30"/>
                    <a:gd name="T37" fmla="*/ 1 h 13"/>
                    <a:gd name="T38" fmla="*/ 20 w 30"/>
                    <a:gd name="T39" fmla="*/ 0 h 13"/>
                    <a:gd name="T40" fmla="*/ 20 w 30"/>
                    <a:gd name="T41" fmla="*/ 3 h 13"/>
                    <a:gd name="T42" fmla="*/ 20 w 30"/>
                    <a:gd name="T43" fmla="*/ 3 h 13"/>
                    <a:gd name="T44" fmla="*/ 30 w 30"/>
                    <a:gd name="T45" fmla="*/ 3 h 13"/>
                    <a:gd name="T46" fmla="*/ 30 w 30"/>
                    <a:gd name="T47" fmla="*/ 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0" h="13">
                      <a:moveTo>
                        <a:pt x="3" y="9"/>
                      </a:moveTo>
                      <a:lnTo>
                        <a:pt x="0" y="12"/>
                      </a:lnTo>
                      <a:lnTo>
                        <a:pt x="1" y="13"/>
                      </a:lnTo>
                      <a:lnTo>
                        <a:pt x="4" y="10"/>
                      </a:lnTo>
                      <a:lnTo>
                        <a:pt x="3" y="9"/>
                      </a:lnTo>
                      <a:close/>
                      <a:moveTo>
                        <a:pt x="14" y="0"/>
                      </a:move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6" y="6"/>
                      </a:lnTo>
                      <a:lnTo>
                        <a:pt x="7" y="7"/>
                      </a:lnTo>
                      <a:lnTo>
                        <a:pt x="13" y="1"/>
                      </a:lnTo>
                      <a:lnTo>
                        <a:pt x="13" y="1"/>
                      </a:lnTo>
                      <a:lnTo>
                        <a:pt x="13" y="3"/>
                      </a:lnTo>
                      <a:lnTo>
                        <a:pt x="13" y="3"/>
                      </a:lnTo>
                      <a:lnTo>
                        <a:pt x="14" y="3"/>
                      </a:lnTo>
                      <a:lnTo>
                        <a:pt x="14" y="0"/>
                      </a:lnTo>
                      <a:close/>
                      <a:moveTo>
                        <a:pt x="30" y="1"/>
                      </a:moveTo>
                      <a:lnTo>
                        <a:pt x="30" y="1"/>
                      </a:lnTo>
                      <a:lnTo>
                        <a:pt x="20" y="0"/>
                      </a:lnTo>
                      <a:lnTo>
                        <a:pt x="20" y="3"/>
                      </a:lnTo>
                      <a:lnTo>
                        <a:pt x="20" y="3"/>
                      </a:lnTo>
                      <a:lnTo>
                        <a:pt x="30" y="3"/>
                      </a:lnTo>
                      <a:lnTo>
                        <a:pt x="30" y="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4" name="Freeform 1714"/>
                <p:cNvSpPr>
                  <a:spLocks noEditPoints="1"/>
                </p:cNvSpPr>
                <p:nvPr/>
              </p:nvSpPr>
              <p:spPr bwMode="auto">
                <a:xfrm>
                  <a:off x="5116092" y="2641474"/>
                  <a:ext cx="77162" cy="190927"/>
                </a:xfrm>
                <a:custGeom>
                  <a:avLst/>
                  <a:gdLst>
                    <a:gd name="T0" fmla="*/ 3 w 78"/>
                    <a:gd name="T1" fmla="*/ 0 h 193"/>
                    <a:gd name="T2" fmla="*/ 0 w 78"/>
                    <a:gd name="T3" fmla="*/ 10 h 193"/>
                    <a:gd name="T4" fmla="*/ 3 w 78"/>
                    <a:gd name="T5" fmla="*/ 25 h 193"/>
                    <a:gd name="T6" fmla="*/ 0 w 78"/>
                    <a:gd name="T7" fmla="*/ 14 h 193"/>
                    <a:gd name="T8" fmla="*/ 7 w 78"/>
                    <a:gd name="T9" fmla="*/ 39 h 193"/>
                    <a:gd name="T10" fmla="*/ 1 w 78"/>
                    <a:gd name="T11" fmla="*/ 30 h 193"/>
                    <a:gd name="T12" fmla="*/ 7 w 78"/>
                    <a:gd name="T13" fmla="*/ 39 h 193"/>
                    <a:gd name="T14" fmla="*/ 8 w 78"/>
                    <a:gd name="T15" fmla="*/ 43 h 193"/>
                    <a:gd name="T16" fmla="*/ 10 w 78"/>
                    <a:gd name="T17" fmla="*/ 55 h 193"/>
                    <a:gd name="T18" fmla="*/ 20 w 78"/>
                    <a:gd name="T19" fmla="*/ 67 h 193"/>
                    <a:gd name="T20" fmla="*/ 11 w 78"/>
                    <a:gd name="T21" fmla="*/ 59 h 193"/>
                    <a:gd name="T22" fmla="*/ 30 w 78"/>
                    <a:gd name="T23" fmla="*/ 78 h 193"/>
                    <a:gd name="T24" fmla="*/ 21 w 78"/>
                    <a:gd name="T25" fmla="*/ 71 h 193"/>
                    <a:gd name="T26" fmla="*/ 30 w 78"/>
                    <a:gd name="T27" fmla="*/ 78 h 193"/>
                    <a:gd name="T28" fmla="*/ 34 w 78"/>
                    <a:gd name="T29" fmla="*/ 90 h 193"/>
                    <a:gd name="T30" fmla="*/ 34 w 78"/>
                    <a:gd name="T31" fmla="*/ 85 h 193"/>
                    <a:gd name="T32" fmla="*/ 32 w 78"/>
                    <a:gd name="T33" fmla="*/ 82 h 193"/>
                    <a:gd name="T34" fmla="*/ 33 w 78"/>
                    <a:gd name="T35" fmla="*/ 87 h 193"/>
                    <a:gd name="T36" fmla="*/ 33 w 78"/>
                    <a:gd name="T37" fmla="*/ 93 h 193"/>
                    <a:gd name="T38" fmla="*/ 24 w 78"/>
                    <a:gd name="T39" fmla="*/ 103 h 193"/>
                    <a:gd name="T40" fmla="*/ 24 w 78"/>
                    <a:gd name="T41" fmla="*/ 103 h 193"/>
                    <a:gd name="T42" fmla="*/ 30 w 78"/>
                    <a:gd name="T43" fmla="*/ 96 h 193"/>
                    <a:gd name="T44" fmla="*/ 24 w 78"/>
                    <a:gd name="T45" fmla="*/ 98 h 193"/>
                    <a:gd name="T46" fmla="*/ 21 w 78"/>
                    <a:gd name="T47" fmla="*/ 103 h 193"/>
                    <a:gd name="T48" fmla="*/ 24 w 78"/>
                    <a:gd name="T49" fmla="*/ 103 h 193"/>
                    <a:gd name="T50" fmla="*/ 26 w 78"/>
                    <a:gd name="T51" fmla="*/ 107 h 193"/>
                    <a:gd name="T52" fmla="*/ 30 w 78"/>
                    <a:gd name="T53" fmla="*/ 117 h 193"/>
                    <a:gd name="T54" fmla="*/ 42 w 78"/>
                    <a:gd name="T55" fmla="*/ 127 h 193"/>
                    <a:gd name="T56" fmla="*/ 33 w 78"/>
                    <a:gd name="T57" fmla="*/ 120 h 193"/>
                    <a:gd name="T58" fmla="*/ 52 w 78"/>
                    <a:gd name="T59" fmla="*/ 139 h 193"/>
                    <a:gd name="T60" fmla="*/ 43 w 78"/>
                    <a:gd name="T61" fmla="*/ 133 h 193"/>
                    <a:gd name="T62" fmla="*/ 52 w 78"/>
                    <a:gd name="T63" fmla="*/ 139 h 193"/>
                    <a:gd name="T64" fmla="*/ 55 w 78"/>
                    <a:gd name="T65" fmla="*/ 142 h 193"/>
                    <a:gd name="T66" fmla="*/ 59 w 78"/>
                    <a:gd name="T67" fmla="*/ 152 h 193"/>
                    <a:gd name="T68" fmla="*/ 69 w 78"/>
                    <a:gd name="T69" fmla="*/ 164 h 193"/>
                    <a:gd name="T70" fmla="*/ 66 w 78"/>
                    <a:gd name="T71" fmla="*/ 155 h 193"/>
                    <a:gd name="T72" fmla="*/ 63 w 78"/>
                    <a:gd name="T73" fmla="*/ 155 h 193"/>
                    <a:gd name="T74" fmla="*/ 65 w 78"/>
                    <a:gd name="T75" fmla="*/ 156 h 193"/>
                    <a:gd name="T76" fmla="*/ 66 w 78"/>
                    <a:gd name="T77" fmla="*/ 164 h 193"/>
                    <a:gd name="T78" fmla="*/ 69 w 78"/>
                    <a:gd name="T79" fmla="*/ 178 h 193"/>
                    <a:gd name="T80" fmla="*/ 68 w 78"/>
                    <a:gd name="T81" fmla="*/ 174 h 193"/>
                    <a:gd name="T82" fmla="*/ 66 w 78"/>
                    <a:gd name="T83" fmla="*/ 168 h 193"/>
                    <a:gd name="T84" fmla="*/ 66 w 78"/>
                    <a:gd name="T85" fmla="*/ 175 h 193"/>
                    <a:gd name="T86" fmla="*/ 69 w 78"/>
                    <a:gd name="T87" fmla="*/ 178 h 193"/>
                    <a:gd name="T88" fmla="*/ 72 w 78"/>
                    <a:gd name="T89" fmla="*/ 182 h 193"/>
                    <a:gd name="T90" fmla="*/ 76 w 78"/>
                    <a:gd name="T91" fmla="*/ 193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8" h="193">
                      <a:moveTo>
                        <a:pt x="1" y="10"/>
                      </a:moveTo>
                      <a:lnTo>
                        <a:pt x="1" y="1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10"/>
                      </a:lnTo>
                      <a:lnTo>
                        <a:pt x="1" y="10"/>
                      </a:lnTo>
                      <a:close/>
                      <a:moveTo>
                        <a:pt x="3" y="25"/>
                      </a:moveTo>
                      <a:lnTo>
                        <a:pt x="3" y="25"/>
                      </a:lnTo>
                      <a:lnTo>
                        <a:pt x="1" y="14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1" y="25"/>
                      </a:lnTo>
                      <a:lnTo>
                        <a:pt x="3" y="25"/>
                      </a:lnTo>
                      <a:close/>
                      <a:moveTo>
                        <a:pt x="7" y="39"/>
                      </a:moveTo>
                      <a:lnTo>
                        <a:pt x="7" y="39"/>
                      </a:lnTo>
                      <a:lnTo>
                        <a:pt x="4" y="29"/>
                      </a:lnTo>
                      <a:lnTo>
                        <a:pt x="1" y="30"/>
                      </a:lnTo>
                      <a:lnTo>
                        <a:pt x="1" y="30"/>
                      </a:lnTo>
                      <a:lnTo>
                        <a:pt x="4" y="40"/>
                      </a:lnTo>
                      <a:lnTo>
                        <a:pt x="7" y="39"/>
                      </a:lnTo>
                      <a:close/>
                      <a:moveTo>
                        <a:pt x="11" y="54"/>
                      </a:moveTo>
                      <a:lnTo>
                        <a:pt x="11" y="54"/>
                      </a:lnTo>
                      <a:lnTo>
                        <a:pt x="8" y="43"/>
                      </a:lnTo>
                      <a:lnTo>
                        <a:pt x="5" y="45"/>
                      </a:lnTo>
                      <a:lnTo>
                        <a:pt x="5" y="45"/>
                      </a:lnTo>
                      <a:lnTo>
                        <a:pt x="10" y="55"/>
                      </a:lnTo>
                      <a:lnTo>
                        <a:pt x="11" y="54"/>
                      </a:lnTo>
                      <a:close/>
                      <a:moveTo>
                        <a:pt x="20" y="67"/>
                      </a:moveTo>
                      <a:lnTo>
                        <a:pt x="20" y="67"/>
                      </a:lnTo>
                      <a:lnTo>
                        <a:pt x="14" y="58"/>
                      </a:lnTo>
                      <a:lnTo>
                        <a:pt x="11" y="59"/>
                      </a:lnTo>
                      <a:lnTo>
                        <a:pt x="11" y="59"/>
                      </a:lnTo>
                      <a:lnTo>
                        <a:pt x="17" y="68"/>
                      </a:lnTo>
                      <a:lnTo>
                        <a:pt x="20" y="67"/>
                      </a:lnTo>
                      <a:close/>
                      <a:moveTo>
                        <a:pt x="30" y="78"/>
                      </a:moveTo>
                      <a:lnTo>
                        <a:pt x="30" y="78"/>
                      </a:lnTo>
                      <a:lnTo>
                        <a:pt x="23" y="69"/>
                      </a:lnTo>
                      <a:lnTo>
                        <a:pt x="21" y="71"/>
                      </a:lnTo>
                      <a:lnTo>
                        <a:pt x="21" y="71"/>
                      </a:lnTo>
                      <a:lnTo>
                        <a:pt x="27" y="80"/>
                      </a:lnTo>
                      <a:lnTo>
                        <a:pt x="30" y="78"/>
                      </a:lnTo>
                      <a:close/>
                      <a:moveTo>
                        <a:pt x="33" y="93"/>
                      </a:moveTo>
                      <a:lnTo>
                        <a:pt x="33" y="93"/>
                      </a:lnTo>
                      <a:lnTo>
                        <a:pt x="34" y="90"/>
                      </a:lnTo>
                      <a:lnTo>
                        <a:pt x="36" y="87"/>
                      </a:lnTo>
                      <a:lnTo>
                        <a:pt x="36" y="87"/>
                      </a:lnTo>
                      <a:lnTo>
                        <a:pt x="34" y="85"/>
                      </a:lnTo>
                      <a:lnTo>
                        <a:pt x="34" y="85"/>
                      </a:lnTo>
                      <a:lnTo>
                        <a:pt x="33" y="81"/>
                      </a:lnTo>
                      <a:lnTo>
                        <a:pt x="32" y="82"/>
                      </a:lnTo>
                      <a:lnTo>
                        <a:pt x="32" y="82"/>
                      </a:lnTo>
                      <a:lnTo>
                        <a:pt x="33" y="85"/>
                      </a:lnTo>
                      <a:lnTo>
                        <a:pt x="33" y="87"/>
                      </a:lnTo>
                      <a:lnTo>
                        <a:pt x="33" y="87"/>
                      </a:lnTo>
                      <a:lnTo>
                        <a:pt x="30" y="90"/>
                      </a:lnTo>
                      <a:lnTo>
                        <a:pt x="33" y="93"/>
                      </a:lnTo>
                      <a:close/>
                      <a:moveTo>
                        <a:pt x="24" y="103"/>
                      </a:moveTo>
                      <a:lnTo>
                        <a:pt x="24" y="103"/>
                      </a:lnTo>
                      <a:lnTo>
                        <a:pt x="24" y="103"/>
                      </a:lnTo>
                      <a:lnTo>
                        <a:pt x="24" y="103"/>
                      </a:lnTo>
                      <a:lnTo>
                        <a:pt x="24" y="103"/>
                      </a:lnTo>
                      <a:lnTo>
                        <a:pt x="24" y="103"/>
                      </a:lnTo>
                      <a:lnTo>
                        <a:pt x="24" y="103"/>
                      </a:lnTo>
                      <a:lnTo>
                        <a:pt x="24" y="103"/>
                      </a:lnTo>
                      <a:lnTo>
                        <a:pt x="30" y="96"/>
                      </a:lnTo>
                      <a:lnTo>
                        <a:pt x="27" y="94"/>
                      </a:lnTo>
                      <a:lnTo>
                        <a:pt x="27" y="94"/>
                      </a:lnTo>
                      <a:lnTo>
                        <a:pt x="24" y="98"/>
                      </a:lnTo>
                      <a:lnTo>
                        <a:pt x="21" y="103"/>
                      </a:lnTo>
                      <a:lnTo>
                        <a:pt x="23" y="103"/>
                      </a:lnTo>
                      <a:lnTo>
                        <a:pt x="21" y="103"/>
                      </a:lnTo>
                      <a:lnTo>
                        <a:pt x="21" y="103"/>
                      </a:lnTo>
                      <a:lnTo>
                        <a:pt x="21" y="103"/>
                      </a:lnTo>
                      <a:lnTo>
                        <a:pt x="24" y="103"/>
                      </a:lnTo>
                      <a:close/>
                      <a:moveTo>
                        <a:pt x="32" y="116"/>
                      </a:moveTo>
                      <a:lnTo>
                        <a:pt x="32" y="116"/>
                      </a:lnTo>
                      <a:lnTo>
                        <a:pt x="26" y="107"/>
                      </a:lnTo>
                      <a:lnTo>
                        <a:pt x="24" y="109"/>
                      </a:lnTo>
                      <a:lnTo>
                        <a:pt x="24" y="109"/>
                      </a:lnTo>
                      <a:lnTo>
                        <a:pt x="30" y="117"/>
                      </a:lnTo>
                      <a:lnTo>
                        <a:pt x="32" y="116"/>
                      </a:lnTo>
                      <a:close/>
                      <a:moveTo>
                        <a:pt x="42" y="127"/>
                      </a:moveTo>
                      <a:lnTo>
                        <a:pt x="42" y="127"/>
                      </a:lnTo>
                      <a:lnTo>
                        <a:pt x="34" y="119"/>
                      </a:lnTo>
                      <a:lnTo>
                        <a:pt x="33" y="120"/>
                      </a:lnTo>
                      <a:lnTo>
                        <a:pt x="33" y="120"/>
                      </a:lnTo>
                      <a:lnTo>
                        <a:pt x="39" y="129"/>
                      </a:lnTo>
                      <a:lnTo>
                        <a:pt x="42" y="127"/>
                      </a:lnTo>
                      <a:close/>
                      <a:moveTo>
                        <a:pt x="52" y="139"/>
                      </a:moveTo>
                      <a:lnTo>
                        <a:pt x="52" y="139"/>
                      </a:lnTo>
                      <a:lnTo>
                        <a:pt x="45" y="130"/>
                      </a:lnTo>
                      <a:lnTo>
                        <a:pt x="43" y="133"/>
                      </a:lnTo>
                      <a:lnTo>
                        <a:pt x="43" y="133"/>
                      </a:lnTo>
                      <a:lnTo>
                        <a:pt x="49" y="140"/>
                      </a:lnTo>
                      <a:lnTo>
                        <a:pt x="52" y="139"/>
                      </a:lnTo>
                      <a:close/>
                      <a:moveTo>
                        <a:pt x="62" y="151"/>
                      </a:moveTo>
                      <a:lnTo>
                        <a:pt x="62" y="151"/>
                      </a:lnTo>
                      <a:lnTo>
                        <a:pt x="55" y="142"/>
                      </a:lnTo>
                      <a:lnTo>
                        <a:pt x="53" y="145"/>
                      </a:lnTo>
                      <a:lnTo>
                        <a:pt x="53" y="145"/>
                      </a:lnTo>
                      <a:lnTo>
                        <a:pt x="59" y="152"/>
                      </a:lnTo>
                      <a:lnTo>
                        <a:pt x="62" y="151"/>
                      </a:lnTo>
                      <a:close/>
                      <a:moveTo>
                        <a:pt x="69" y="164"/>
                      </a:moveTo>
                      <a:lnTo>
                        <a:pt x="69" y="164"/>
                      </a:lnTo>
                      <a:lnTo>
                        <a:pt x="69" y="164"/>
                      </a:lnTo>
                      <a:lnTo>
                        <a:pt x="68" y="159"/>
                      </a:lnTo>
                      <a:lnTo>
                        <a:pt x="66" y="155"/>
                      </a:lnTo>
                      <a:lnTo>
                        <a:pt x="66" y="155"/>
                      </a:lnTo>
                      <a:lnTo>
                        <a:pt x="65" y="153"/>
                      </a:lnTo>
                      <a:lnTo>
                        <a:pt x="63" y="155"/>
                      </a:lnTo>
                      <a:lnTo>
                        <a:pt x="63" y="155"/>
                      </a:lnTo>
                      <a:lnTo>
                        <a:pt x="65" y="156"/>
                      </a:lnTo>
                      <a:lnTo>
                        <a:pt x="65" y="156"/>
                      </a:lnTo>
                      <a:lnTo>
                        <a:pt x="66" y="159"/>
                      </a:lnTo>
                      <a:lnTo>
                        <a:pt x="66" y="164"/>
                      </a:lnTo>
                      <a:lnTo>
                        <a:pt x="66" y="164"/>
                      </a:lnTo>
                      <a:lnTo>
                        <a:pt x="69" y="164"/>
                      </a:lnTo>
                      <a:close/>
                      <a:moveTo>
                        <a:pt x="69" y="178"/>
                      </a:moveTo>
                      <a:lnTo>
                        <a:pt x="69" y="178"/>
                      </a:lnTo>
                      <a:lnTo>
                        <a:pt x="68" y="174"/>
                      </a:lnTo>
                      <a:lnTo>
                        <a:pt x="68" y="174"/>
                      </a:lnTo>
                      <a:lnTo>
                        <a:pt x="68" y="174"/>
                      </a:lnTo>
                      <a:lnTo>
                        <a:pt x="68" y="169"/>
                      </a:lnTo>
                      <a:lnTo>
                        <a:pt x="66" y="168"/>
                      </a:lnTo>
                      <a:lnTo>
                        <a:pt x="66" y="168"/>
                      </a:lnTo>
                      <a:lnTo>
                        <a:pt x="65" y="174"/>
                      </a:lnTo>
                      <a:lnTo>
                        <a:pt x="65" y="174"/>
                      </a:lnTo>
                      <a:lnTo>
                        <a:pt x="66" y="175"/>
                      </a:lnTo>
                      <a:lnTo>
                        <a:pt x="66" y="175"/>
                      </a:lnTo>
                      <a:lnTo>
                        <a:pt x="68" y="180"/>
                      </a:lnTo>
                      <a:lnTo>
                        <a:pt x="69" y="178"/>
                      </a:lnTo>
                      <a:close/>
                      <a:moveTo>
                        <a:pt x="78" y="190"/>
                      </a:moveTo>
                      <a:lnTo>
                        <a:pt x="78" y="190"/>
                      </a:lnTo>
                      <a:lnTo>
                        <a:pt x="72" y="182"/>
                      </a:lnTo>
                      <a:lnTo>
                        <a:pt x="71" y="184"/>
                      </a:lnTo>
                      <a:lnTo>
                        <a:pt x="71" y="184"/>
                      </a:lnTo>
                      <a:lnTo>
                        <a:pt x="76" y="193"/>
                      </a:lnTo>
                      <a:lnTo>
                        <a:pt x="78" y="19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5" name="Freeform 1715"/>
                <p:cNvSpPr>
                  <a:spLocks noEditPoints="1"/>
                </p:cNvSpPr>
                <p:nvPr/>
              </p:nvSpPr>
              <p:spPr bwMode="auto">
                <a:xfrm>
                  <a:off x="4983531" y="2696872"/>
                  <a:ext cx="153335" cy="14839"/>
                </a:xfrm>
                <a:custGeom>
                  <a:avLst/>
                  <a:gdLst>
                    <a:gd name="T0" fmla="*/ 6 w 155"/>
                    <a:gd name="T1" fmla="*/ 9 h 15"/>
                    <a:gd name="T2" fmla="*/ 2 w 155"/>
                    <a:gd name="T3" fmla="*/ 13 h 15"/>
                    <a:gd name="T4" fmla="*/ 8 w 155"/>
                    <a:gd name="T5" fmla="*/ 12 h 15"/>
                    <a:gd name="T6" fmla="*/ 19 w 155"/>
                    <a:gd name="T7" fmla="*/ 3 h 15"/>
                    <a:gd name="T8" fmla="*/ 16 w 155"/>
                    <a:gd name="T9" fmla="*/ 3 h 15"/>
                    <a:gd name="T10" fmla="*/ 15 w 155"/>
                    <a:gd name="T11" fmla="*/ 3 h 15"/>
                    <a:gd name="T12" fmla="*/ 13 w 155"/>
                    <a:gd name="T13" fmla="*/ 5 h 15"/>
                    <a:gd name="T14" fmla="*/ 11 w 155"/>
                    <a:gd name="T15" fmla="*/ 6 h 15"/>
                    <a:gd name="T16" fmla="*/ 12 w 155"/>
                    <a:gd name="T17" fmla="*/ 9 h 15"/>
                    <a:gd name="T18" fmla="*/ 16 w 155"/>
                    <a:gd name="T19" fmla="*/ 5 h 15"/>
                    <a:gd name="T20" fmla="*/ 16 w 155"/>
                    <a:gd name="T21" fmla="*/ 5 h 15"/>
                    <a:gd name="T22" fmla="*/ 19 w 155"/>
                    <a:gd name="T23" fmla="*/ 3 h 15"/>
                    <a:gd name="T24" fmla="*/ 35 w 155"/>
                    <a:gd name="T25" fmla="*/ 2 h 15"/>
                    <a:gd name="T26" fmla="*/ 25 w 155"/>
                    <a:gd name="T27" fmla="*/ 5 h 15"/>
                    <a:gd name="T28" fmla="*/ 35 w 155"/>
                    <a:gd name="T29" fmla="*/ 5 h 15"/>
                    <a:gd name="T30" fmla="*/ 51 w 155"/>
                    <a:gd name="T31" fmla="*/ 2 h 15"/>
                    <a:gd name="T32" fmla="*/ 39 w 155"/>
                    <a:gd name="T33" fmla="*/ 2 h 15"/>
                    <a:gd name="T34" fmla="*/ 41 w 155"/>
                    <a:gd name="T35" fmla="*/ 5 h 15"/>
                    <a:gd name="T36" fmla="*/ 51 w 155"/>
                    <a:gd name="T37" fmla="*/ 2 h 15"/>
                    <a:gd name="T38" fmla="*/ 66 w 155"/>
                    <a:gd name="T39" fmla="*/ 2 h 15"/>
                    <a:gd name="T40" fmla="*/ 55 w 155"/>
                    <a:gd name="T41" fmla="*/ 5 h 15"/>
                    <a:gd name="T42" fmla="*/ 66 w 155"/>
                    <a:gd name="T43" fmla="*/ 3 h 15"/>
                    <a:gd name="T44" fmla="*/ 82 w 155"/>
                    <a:gd name="T45" fmla="*/ 2 h 15"/>
                    <a:gd name="T46" fmla="*/ 71 w 155"/>
                    <a:gd name="T47" fmla="*/ 2 h 15"/>
                    <a:gd name="T48" fmla="*/ 71 w 155"/>
                    <a:gd name="T49" fmla="*/ 3 h 15"/>
                    <a:gd name="T50" fmla="*/ 82 w 155"/>
                    <a:gd name="T51" fmla="*/ 2 h 15"/>
                    <a:gd name="T52" fmla="*/ 96 w 155"/>
                    <a:gd name="T53" fmla="*/ 0 h 15"/>
                    <a:gd name="T54" fmla="*/ 86 w 155"/>
                    <a:gd name="T55" fmla="*/ 0 h 15"/>
                    <a:gd name="T56" fmla="*/ 86 w 155"/>
                    <a:gd name="T57" fmla="*/ 3 h 15"/>
                    <a:gd name="T58" fmla="*/ 96 w 155"/>
                    <a:gd name="T59" fmla="*/ 3 h 15"/>
                    <a:gd name="T60" fmla="*/ 112 w 155"/>
                    <a:gd name="T61" fmla="*/ 2 h 15"/>
                    <a:gd name="T62" fmla="*/ 102 w 155"/>
                    <a:gd name="T63" fmla="*/ 0 h 15"/>
                    <a:gd name="T64" fmla="*/ 102 w 155"/>
                    <a:gd name="T65" fmla="*/ 3 h 15"/>
                    <a:gd name="T66" fmla="*/ 112 w 155"/>
                    <a:gd name="T67" fmla="*/ 2 h 15"/>
                    <a:gd name="T68" fmla="*/ 126 w 155"/>
                    <a:gd name="T69" fmla="*/ 3 h 15"/>
                    <a:gd name="T70" fmla="*/ 116 w 155"/>
                    <a:gd name="T71" fmla="*/ 3 h 15"/>
                    <a:gd name="T72" fmla="*/ 126 w 155"/>
                    <a:gd name="T73" fmla="*/ 5 h 15"/>
                    <a:gd name="T74" fmla="*/ 141 w 155"/>
                    <a:gd name="T75" fmla="*/ 8 h 15"/>
                    <a:gd name="T76" fmla="*/ 131 w 155"/>
                    <a:gd name="T77" fmla="*/ 5 h 15"/>
                    <a:gd name="T78" fmla="*/ 131 w 155"/>
                    <a:gd name="T79" fmla="*/ 8 h 15"/>
                    <a:gd name="T80" fmla="*/ 141 w 155"/>
                    <a:gd name="T81" fmla="*/ 8 h 15"/>
                    <a:gd name="T82" fmla="*/ 155 w 155"/>
                    <a:gd name="T83" fmla="*/ 12 h 15"/>
                    <a:gd name="T84" fmla="*/ 145 w 155"/>
                    <a:gd name="T85" fmla="*/ 12 h 15"/>
                    <a:gd name="T86" fmla="*/ 154 w 155"/>
                    <a:gd name="T87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55" h="15">
                      <a:moveTo>
                        <a:pt x="6" y="9"/>
                      </a:moveTo>
                      <a:lnTo>
                        <a:pt x="6" y="9"/>
                      </a:lnTo>
                      <a:lnTo>
                        <a:pt x="0" y="12"/>
                      </a:lnTo>
                      <a:lnTo>
                        <a:pt x="2" y="13"/>
                      </a:lnTo>
                      <a:lnTo>
                        <a:pt x="2" y="13"/>
                      </a:lnTo>
                      <a:lnTo>
                        <a:pt x="8" y="12"/>
                      </a:lnTo>
                      <a:lnTo>
                        <a:pt x="6" y="9"/>
                      </a:lnTo>
                      <a:close/>
                      <a:moveTo>
                        <a:pt x="19" y="3"/>
                      </a:moveTo>
                      <a:lnTo>
                        <a:pt x="19" y="3"/>
                      </a:lnTo>
                      <a:lnTo>
                        <a:pt x="16" y="3"/>
                      </a:lnTo>
                      <a:lnTo>
                        <a:pt x="15" y="3"/>
                      </a:lnTo>
                      <a:lnTo>
                        <a:pt x="15" y="3"/>
                      </a:lnTo>
                      <a:lnTo>
                        <a:pt x="15" y="3"/>
                      </a:lnTo>
                      <a:lnTo>
                        <a:pt x="13" y="5"/>
                      </a:lnTo>
                      <a:lnTo>
                        <a:pt x="13" y="5"/>
                      </a:lnTo>
                      <a:lnTo>
                        <a:pt x="11" y="6"/>
                      </a:lnTo>
                      <a:lnTo>
                        <a:pt x="12" y="9"/>
                      </a:lnTo>
                      <a:lnTo>
                        <a:pt x="12" y="9"/>
                      </a:lnTo>
                      <a:lnTo>
                        <a:pt x="16" y="5"/>
                      </a:lnTo>
                      <a:lnTo>
                        <a:pt x="16" y="5"/>
                      </a:lnTo>
                      <a:lnTo>
                        <a:pt x="16" y="5"/>
                      </a:lnTo>
                      <a:lnTo>
                        <a:pt x="16" y="5"/>
                      </a:lnTo>
                      <a:lnTo>
                        <a:pt x="21" y="5"/>
                      </a:lnTo>
                      <a:lnTo>
                        <a:pt x="19" y="3"/>
                      </a:lnTo>
                      <a:close/>
                      <a:moveTo>
                        <a:pt x="35" y="2"/>
                      </a:moveTo>
                      <a:lnTo>
                        <a:pt x="35" y="2"/>
                      </a:lnTo>
                      <a:lnTo>
                        <a:pt x="25" y="2"/>
                      </a:lnTo>
                      <a:lnTo>
                        <a:pt x="25" y="5"/>
                      </a:lnTo>
                      <a:lnTo>
                        <a:pt x="25" y="5"/>
                      </a:lnTo>
                      <a:lnTo>
                        <a:pt x="35" y="5"/>
                      </a:lnTo>
                      <a:lnTo>
                        <a:pt x="35" y="2"/>
                      </a:lnTo>
                      <a:close/>
                      <a:moveTo>
                        <a:pt x="51" y="2"/>
                      </a:moveTo>
                      <a:lnTo>
                        <a:pt x="51" y="2"/>
                      </a:lnTo>
                      <a:lnTo>
                        <a:pt x="39" y="2"/>
                      </a:lnTo>
                      <a:lnTo>
                        <a:pt x="41" y="5"/>
                      </a:lnTo>
                      <a:lnTo>
                        <a:pt x="41" y="5"/>
                      </a:lnTo>
                      <a:lnTo>
                        <a:pt x="51" y="5"/>
                      </a:lnTo>
                      <a:lnTo>
                        <a:pt x="51" y="2"/>
                      </a:lnTo>
                      <a:close/>
                      <a:moveTo>
                        <a:pt x="66" y="2"/>
                      </a:moveTo>
                      <a:lnTo>
                        <a:pt x="66" y="2"/>
                      </a:lnTo>
                      <a:lnTo>
                        <a:pt x="55" y="2"/>
                      </a:lnTo>
                      <a:lnTo>
                        <a:pt x="55" y="5"/>
                      </a:lnTo>
                      <a:lnTo>
                        <a:pt x="55" y="5"/>
                      </a:lnTo>
                      <a:lnTo>
                        <a:pt x="66" y="3"/>
                      </a:lnTo>
                      <a:lnTo>
                        <a:pt x="66" y="2"/>
                      </a:lnTo>
                      <a:close/>
                      <a:moveTo>
                        <a:pt x="82" y="2"/>
                      </a:moveTo>
                      <a:lnTo>
                        <a:pt x="82" y="2"/>
                      </a:lnTo>
                      <a:lnTo>
                        <a:pt x="71" y="2"/>
                      </a:lnTo>
                      <a:lnTo>
                        <a:pt x="71" y="3"/>
                      </a:lnTo>
                      <a:lnTo>
                        <a:pt x="71" y="3"/>
                      </a:lnTo>
                      <a:lnTo>
                        <a:pt x="82" y="3"/>
                      </a:lnTo>
                      <a:lnTo>
                        <a:pt x="82" y="2"/>
                      </a:lnTo>
                      <a:close/>
                      <a:moveTo>
                        <a:pt x="96" y="0"/>
                      </a:moveTo>
                      <a:lnTo>
                        <a:pt x="96" y="0"/>
                      </a:lnTo>
                      <a:lnTo>
                        <a:pt x="96" y="0"/>
                      </a:lnTo>
                      <a:lnTo>
                        <a:pt x="86" y="0"/>
                      </a:lnTo>
                      <a:lnTo>
                        <a:pt x="86" y="3"/>
                      </a:lnTo>
                      <a:lnTo>
                        <a:pt x="86" y="3"/>
                      </a:lnTo>
                      <a:lnTo>
                        <a:pt x="96" y="3"/>
                      </a:lnTo>
                      <a:lnTo>
                        <a:pt x="96" y="3"/>
                      </a:lnTo>
                      <a:lnTo>
                        <a:pt x="96" y="0"/>
                      </a:lnTo>
                      <a:close/>
                      <a:moveTo>
                        <a:pt x="112" y="2"/>
                      </a:moveTo>
                      <a:lnTo>
                        <a:pt x="112" y="2"/>
                      </a:lnTo>
                      <a:lnTo>
                        <a:pt x="102" y="0"/>
                      </a:lnTo>
                      <a:lnTo>
                        <a:pt x="102" y="3"/>
                      </a:lnTo>
                      <a:lnTo>
                        <a:pt x="102" y="3"/>
                      </a:lnTo>
                      <a:lnTo>
                        <a:pt x="112" y="3"/>
                      </a:lnTo>
                      <a:lnTo>
                        <a:pt x="112" y="2"/>
                      </a:lnTo>
                      <a:close/>
                      <a:moveTo>
                        <a:pt x="126" y="3"/>
                      </a:moveTo>
                      <a:lnTo>
                        <a:pt x="126" y="3"/>
                      </a:lnTo>
                      <a:lnTo>
                        <a:pt x="116" y="2"/>
                      </a:lnTo>
                      <a:lnTo>
                        <a:pt x="116" y="3"/>
                      </a:lnTo>
                      <a:lnTo>
                        <a:pt x="116" y="3"/>
                      </a:lnTo>
                      <a:lnTo>
                        <a:pt x="126" y="5"/>
                      </a:lnTo>
                      <a:lnTo>
                        <a:pt x="126" y="3"/>
                      </a:lnTo>
                      <a:close/>
                      <a:moveTo>
                        <a:pt x="141" y="8"/>
                      </a:moveTo>
                      <a:lnTo>
                        <a:pt x="141" y="8"/>
                      </a:lnTo>
                      <a:lnTo>
                        <a:pt x="131" y="5"/>
                      </a:lnTo>
                      <a:lnTo>
                        <a:pt x="131" y="8"/>
                      </a:lnTo>
                      <a:lnTo>
                        <a:pt x="131" y="8"/>
                      </a:lnTo>
                      <a:lnTo>
                        <a:pt x="141" y="11"/>
                      </a:lnTo>
                      <a:lnTo>
                        <a:pt x="141" y="8"/>
                      </a:lnTo>
                      <a:close/>
                      <a:moveTo>
                        <a:pt x="155" y="12"/>
                      </a:moveTo>
                      <a:lnTo>
                        <a:pt x="155" y="12"/>
                      </a:lnTo>
                      <a:lnTo>
                        <a:pt x="145" y="9"/>
                      </a:lnTo>
                      <a:lnTo>
                        <a:pt x="145" y="12"/>
                      </a:lnTo>
                      <a:lnTo>
                        <a:pt x="145" y="12"/>
                      </a:lnTo>
                      <a:lnTo>
                        <a:pt x="154" y="15"/>
                      </a:lnTo>
                      <a:lnTo>
                        <a:pt x="155" y="1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6" name="Freeform 1716"/>
                <p:cNvSpPr>
                  <a:spLocks noEditPoints="1"/>
                </p:cNvSpPr>
                <p:nvPr/>
              </p:nvSpPr>
              <p:spPr bwMode="auto">
                <a:xfrm>
                  <a:off x="5277342" y="2673130"/>
                  <a:ext cx="140475" cy="242369"/>
                </a:xfrm>
                <a:custGeom>
                  <a:avLst/>
                  <a:gdLst>
                    <a:gd name="T0" fmla="*/ 0 w 142"/>
                    <a:gd name="T1" fmla="*/ 14 h 245"/>
                    <a:gd name="T2" fmla="*/ 23 w 142"/>
                    <a:gd name="T3" fmla="*/ 3 h 245"/>
                    <a:gd name="T4" fmla="*/ 13 w 142"/>
                    <a:gd name="T5" fmla="*/ 7 h 245"/>
                    <a:gd name="T6" fmla="*/ 38 w 142"/>
                    <a:gd name="T7" fmla="*/ 0 h 245"/>
                    <a:gd name="T8" fmla="*/ 39 w 142"/>
                    <a:gd name="T9" fmla="*/ 3 h 245"/>
                    <a:gd name="T10" fmla="*/ 50 w 142"/>
                    <a:gd name="T11" fmla="*/ 1 h 245"/>
                    <a:gd name="T12" fmla="*/ 48 w 142"/>
                    <a:gd name="T13" fmla="*/ 4 h 245"/>
                    <a:gd name="T14" fmla="*/ 67 w 142"/>
                    <a:gd name="T15" fmla="*/ 7 h 245"/>
                    <a:gd name="T16" fmla="*/ 63 w 142"/>
                    <a:gd name="T17" fmla="*/ 10 h 245"/>
                    <a:gd name="T18" fmla="*/ 81 w 142"/>
                    <a:gd name="T19" fmla="*/ 13 h 245"/>
                    <a:gd name="T20" fmla="*/ 77 w 142"/>
                    <a:gd name="T21" fmla="*/ 8 h 245"/>
                    <a:gd name="T22" fmla="*/ 73 w 142"/>
                    <a:gd name="T23" fmla="*/ 10 h 245"/>
                    <a:gd name="T24" fmla="*/ 79 w 142"/>
                    <a:gd name="T25" fmla="*/ 13 h 245"/>
                    <a:gd name="T26" fmla="*/ 92 w 142"/>
                    <a:gd name="T27" fmla="*/ 24 h 245"/>
                    <a:gd name="T28" fmla="*/ 90 w 142"/>
                    <a:gd name="T29" fmla="*/ 26 h 245"/>
                    <a:gd name="T30" fmla="*/ 94 w 142"/>
                    <a:gd name="T31" fmla="*/ 27 h 245"/>
                    <a:gd name="T32" fmla="*/ 105 w 142"/>
                    <a:gd name="T33" fmla="*/ 30 h 245"/>
                    <a:gd name="T34" fmla="*/ 109 w 142"/>
                    <a:gd name="T35" fmla="*/ 35 h 245"/>
                    <a:gd name="T36" fmla="*/ 107 w 142"/>
                    <a:gd name="T37" fmla="*/ 35 h 245"/>
                    <a:gd name="T38" fmla="*/ 112 w 142"/>
                    <a:gd name="T39" fmla="*/ 59 h 245"/>
                    <a:gd name="T40" fmla="*/ 109 w 142"/>
                    <a:gd name="T41" fmla="*/ 49 h 245"/>
                    <a:gd name="T42" fmla="*/ 109 w 142"/>
                    <a:gd name="T43" fmla="*/ 59 h 245"/>
                    <a:gd name="T44" fmla="*/ 106 w 142"/>
                    <a:gd name="T45" fmla="*/ 69 h 245"/>
                    <a:gd name="T46" fmla="*/ 105 w 142"/>
                    <a:gd name="T47" fmla="*/ 68 h 245"/>
                    <a:gd name="T48" fmla="*/ 105 w 142"/>
                    <a:gd name="T49" fmla="*/ 85 h 245"/>
                    <a:gd name="T50" fmla="*/ 103 w 142"/>
                    <a:gd name="T51" fmla="*/ 87 h 245"/>
                    <a:gd name="T52" fmla="*/ 107 w 142"/>
                    <a:gd name="T53" fmla="*/ 95 h 245"/>
                    <a:gd name="T54" fmla="*/ 105 w 142"/>
                    <a:gd name="T55" fmla="*/ 91 h 245"/>
                    <a:gd name="T56" fmla="*/ 105 w 142"/>
                    <a:gd name="T57" fmla="*/ 94 h 245"/>
                    <a:gd name="T58" fmla="*/ 103 w 142"/>
                    <a:gd name="T59" fmla="*/ 116 h 245"/>
                    <a:gd name="T60" fmla="*/ 100 w 142"/>
                    <a:gd name="T61" fmla="*/ 116 h 245"/>
                    <a:gd name="T62" fmla="*/ 105 w 142"/>
                    <a:gd name="T63" fmla="*/ 126 h 245"/>
                    <a:gd name="T64" fmla="*/ 100 w 142"/>
                    <a:gd name="T65" fmla="*/ 121 h 245"/>
                    <a:gd name="T66" fmla="*/ 106 w 142"/>
                    <a:gd name="T67" fmla="*/ 129 h 245"/>
                    <a:gd name="T68" fmla="*/ 118 w 142"/>
                    <a:gd name="T69" fmla="*/ 137 h 245"/>
                    <a:gd name="T70" fmla="*/ 116 w 142"/>
                    <a:gd name="T71" fmla="*/ 139 h 245"/>
                    <a:gd name="T72" fmla="*/ 113 w 142"/>
                    <a:gd name="T73" fmla="*/ 153 h 245"/>
                    <a:gd name="T74" fmla="*/ 116 w 142"/>
                    <a:gd name="T75" fmla="*/ 143 h 245"/>
                    <a:gd name="T76" fmla="*/ 109 w 142"/>
                    <a:gd name="T77" fmla="*/ 165 h 245"/>
                    <a:gd name="T78" fmla="*/ 109 w 142"/>
                    <a:gd name="T79" fmla="*/ 159 h 245"/>
                    <a:gd name="T80" fmla="*/ 106 w 142"/>
                    <a:gd name="T81" fmla="*/ 158 h 245"/>
                    <a:gd name="T82" fmla="*/ 107 w 142"/>
                    <a:gd name="T83" fmla="*/ 166 h 245"/>
                    <a:gd name="T84" fmla="*/ 115 w 142"/>
                    <a:gd name="T85" fmla="*/ 175 h 245"/>
                    <a:gd name="T86" fmla="*/ 110 w 142"/>
                    <a:gd name="T87" fmla="*/ 171 h 245"/>
                    <a:gd name="T88" fmla="*/ 118 w 142"/>
                    <a:gd name="T89" fmla="*/ 178 h 245"/>
                    <a:gd name="T90" fmla="*/ 121 w 142"/>
                    <a:gd name="T91" fmla="*/ 181 h 245"/>
                    <a:gd name="T92" fmla="*/ 126 w 142"/>
                    <a:gd name="T93" fmla="*/ 190 h 245"/>
                    <a:gd name="T94" fmla="*/ 134 w 142"/>
                    <a:gd name="T95" fmla="*/ 197 h 245"/>
                    <a:gd name="T96" fmla="*/ 131 w 142"/>
                    <a:gd name="T97" fmla="*/ 192 h 245"/>
                    <a:gd name="T98" fmla="*/ 134 w 142"/>
                    <a:gd name="T99" fmla="*/ 203 h 245"/>
                    <a:gd name="T100" fmla="*/ 139 w 142"/>
                    <a:gd name="T101" fmla="*/ 210 h 245"/>
                    <a:gd name="T102" fmla="*/ 134 w 142"/>
                    <a:gd name="T103" fmla="*/ 208 h 245"/>
                    <a:gd name="T104" fmla="*/ 142 w 142"/>
                    <a:gd name="T105" fmla="*/ 214 h 245"/>
                    <a:gd name="T106" fmla="*/ 135 w 142"/>
                    <a:gd name="T107" fmla="*/ 219 h 245"/>
                    <a:gd name="T108" fmla="*/ 135 w 142"/>
                    <a:gd name="T109" fmla="*/ 216 h 245"/>
                    <a:gd name="T110" fmla="*/ 128 w 142"/>
                    <a:gd name="T111" fmla="*/ 219 h 245"/>
                    <a:gd name="T112" fmla="*/ 123 w 142"/>
                    <a:gd name="T113" fmla="*/ 220 h 245"/>
                    <a:gd name="T114" fmla="*/ 116 w 142"/>
                    <a:gd name="T115" fmla="*/ 245 h 245"/>
                    <a:gd name="T116" fmla="*/ 118 w 142"/>
                    <a:gd name="T117" fmla="*/ 234 h 2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42" h="245">
                      <a:moveTo>
                        <a:pt x="9" y="7"/>
                      </a:moveTo>
                      <a:lnTo>
                        <a:pt x="9" y="7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10" y="8"/>
                      </a:lnTo>
                      <a:lnTo>
                        <a:pt x="9" y="7"/>
                      </a:lnTo>
                      <a:close/>
                      <a:moveTo>
                        <a:pt x="23" y="3"/>
                      </a:moveTo>
                      <a:lnTo>
                        <a:pt x="23" y="3"/>
                      </a:lnTo>
                      <a:lnTo>
                        <a:pt x="13" y="6"/>
                      </a:lnTo>
                      <a:lnTo>
                        <a:pt x="13" y="7"/>
                      </a:lnTo>
                      <a:lnTo>
                        <a:pt x="13" y="7"/>
                      </a:lnTo>
                      <a:lnTo>
                        <a:pt x="23" y="6"/>
                      </a:lnTo>
                      <a:lnTo>
                        <a:pt x="23" y="3"/>
                      </a:lnTo>
                      <a:close/>
                      <a:moveTo>
                        <a:pt x="38" y="0"/>
                      </a:moveTo>
                      <a:lnTo>
                        <a:pt x="38" y="0"/>
                      </a:lnTo>
                      <a:lnTo>
                        <a:pt x="28" y="1"/>
                      </a:lnTo>
                      <a:lnTo>
                        <a:pt x="29" y="4"/>
                      </a:lnTo>
                      <a:lnTo>
                        <a:pt x="29" y="4"/>
                      </a:lnTo>
                      <a:lnTo>
                        <a:pt x="39" y="3"/>
                      </a:lnTo>
                      <a:lnTo>
                        <a:pt x="38" y="0"/>
                      </a:lnTo>
                      <a:close/>
                      <a:moveTo>
                        <a:pt x="54" y="4"/>
                      </a:moveTo>
                      <a:lnTo>
                        <a:pt x="54" y="4"/>
                      </a:lnTo>
                      <a:lnTo>
                        <a:pt x="50" y="1"/>
                      </a:lnTo>
                      <a:lnTo>
                        <a:pt x="44" y="0"/>
                      </a:lnTo>
                      <a:lnTo>
                        <a:pt x="44" y="3"/>
                      </a:lnTo>
                      <a:lnTo>
                        <a:pt x="44" y="3"/>
                      </a:lnTo>
                      <a:lnTo>
                        <a:pt x="48" y="4"/>
                      </a:lnTo>
                      <a:lnTo>
                        <a:pt x="52" y="6"/>
                      </a:lnTo>
                      <a:lnTo>
                        <a:pt x="54" y="4"/>
                      </a:lnTo>
                      <a:close/>
                      <a:moveTo>
                        <a:pt x="67" y="7"/>
                      </a:moveTo>
                      <a:lnTo>
                        <a:pt x="67" y="7"/>
                      </a:lnTo>
                      <a:lnTo>
                        <a:pt x="58" y="6"/>
                      </a:lnTo>
                      <a:lnTo>
                        <a:pt x="57" y="8"/>
                      </a:lnTo>
                      <a:lnTo>
                        <a:pt x="57" y="8"/>
                      </a:lnTo>
                      <a:lnTo>
                        <a:pt x="63" y="10"/>
                      </a:lnTo>
                      <a:lnTo>
                        <a:pt x="67" y="10"/>
                      </a:lnTo>
                      <a:lnTo>
                        <a:pt x="67" y="7"/>
                      </a:lnTo>
                      <a:close/>
                      <a:moveTo>
                        <a:pt x="81" y="13"/>
                      </a:moveTo>
                      <a:lnTo>
                        <a:pt x="81" y="13"/>
                      </a:lnTo>
                      <a:lnTo>
                        <a:pt x="81" y="11"/>
                      </a:lnTo>
                      <a:lnTo>
                        <a:pt x="81" y="11"/>
                      </a:lnTo>
                      <a:lnTo>
                        <a:pt x="80" y="10"/>
                      </a:lnTo>
                      <a:lnTo>
                        <a:pt x="77" y="8"/>
                      </a:lnTo>
                      <a:lnTo>
                        <a:pt x="77" y="8"/>
                      </a:lnTo>
                      <a:lnTo>
                        <a:pt x="73" y="7"/>
                      </a:lnTo>
                      <a:lnTo>
                        <a:pt x="73" y="10"/>
                      </a:lnTo>
                      <a:lnTo>
                        <a:pt x="73" y="10"/>
                      </a:lnTo>
                      <a:lnTo>
                        <a:pt x="77" y="10"/>
                      </a:lnTo>
                      <a:lnTo>
                        <a:pt x="77" y="10"/>
                      </a:lnTo>
                      <a:lnTo>
                        <a:pt x="79" y="13"/>
                      </a:lnTo>
                      <a:lnTo>
                        <a:pt x="79" y="13"/>
                      </a:lnTo>
                      <a:lnTo>
                        <a:pt x="80" y="14"/>
                      </a:lnTo>
                      <a:lnTo>
                        <a:pt x="81" y="13"/>
                      </a:lnTo>
                      <a:close/>
                      <a:moveTo>
                        <a:pt x="92" y="24"/>
                      </a:moveTo>
                      <a:lnTo>
                        <a:pt x="92" y="24"/>
                      </a:lnTo>
                      <a:lnTo>
                        <a:pt x="84" y="17"/>
                      </a:lnTo>
                      <a:lnTo>
                        <a:pt x="83" y="19"/>
                      </a:lnTo>
                      <a:lnTo>
                        <a:pt x="83" y="19"/>
                      </a:lnTo>
                      <a:lnTo>
                        <a:pt x="90" y="26"/>
                      </a:lnTo>
                      <a:lnTo>
                        <a:pt x="92" y="24"/>
                      </a:lnTo>
                      <a:close/>
                      <a:moveTo>
                        <a:pt x="105" y="30"/>
                      </a:moveTo>
                      <a:lnTo>
                        <a:pt x="105" y="30"/>
                      </a:lnTo>
                      <a:lnTo>
                        <a:pt x="94" y="27"/>
                      </a:lnTo>
                      <a:lnTo>
                        <a:pt x="93" y="30"/>
                      </a:lnTo>
                      <a:lnTo>
                        <a:pt x="93" y="30"/>
                      </a:lnTo>
                      <a:lnTo>
                        <a:pt x="103" y="33"/>
                      </a:lnTo>
                      <a:lnTo>
                        <a:pt x="105" y="30"/>
                      </a:lnTo>
                      <a:close/>
                      <a:moveTo>
                        <a:pt x="110" y="45"/>
                      </a:moveTo>
                      <a:lnTo>
                        <a:pt x="110" y="45"/>
                      </a:lnTo>
                      <a:lnTo>
                        <a:pt x="109" y="35"/>
                      </a:lnTo>
                      <a:lnTo>
                        <a:pt x="109" y="35"/>
                      </a:lnTo>
                      <a:lnTo>
                        <a:pt x="109" y="33"/>
                      </a:lnTo>
                      <a:lnTo>
                        <a:pt x="107" y="35"/>
                      </a:lnTo>
                      <a:lnTo>
                        <a:pt x="107" y="35"/>
                      </a:lnTo>
                      <a:lnTo>
                        <a:pt x="107" y="35"/>
                      </a:lnTo>
                      <a:lnTo>
                        <a:pt x="109" y="45"/>
                      </a:lnTo>
                      <a:lnTo>
                        <a:pt x="110" y="45"/>
                      </a:lnTo>
                      <a:close/>
                      <a:moveTo>
                        <a:pt x="112" y="59"/>
                      </a:moveTo>
                      <a:lnTo>
                        <a:pt x="112" y="59"/>
                      </a:lnTo>
                      <a:lnTo>
                        <a:pt x="112" y="58"/>
                      </a:lnTo>
                      <a:lnTo>
                        <a:pt x="112" y="58"/>
                      </a:lnTo>
                      <a:lnTo>
                        <a:pt x="112" y="49"/>
                      </a:lnTo>
                      <a:lnTo>
                        <a:pt x="109" y="49"/>
                      </a:lnTo>
                      <a:lnTo>
                        <a:pt x="109" y="49"/>
                      </a:lnTo>
                      <a:lnTo>
                        <a:pt x="110" y="58"/>
                      </a:lnTo>
                      <a:lnTo>
                        <a:pt x="110" y="58"/>
                      </a:lnTo>
                      <a:lnTo>
                        <a:pt x="109" y="59"/>
                      </a:lnTo>
                      <a:lnTo>
                        <a:pt x="112" y="59"/>
                      </a:lnTo>
                      <a:close/>
                      <a:moveTo>
                        <a:pt x="103" y="72"/>
                      </a:moveTo>
                      <a:lnTo>
                        <a:pt x="103" y="72"/>
                      </a:lnTo>
                      <a:lnTo>
                        <a:pt x="106" y="69"/>
                      </a:lnTo>
                      <a:lnTo>
                        <a:pt x="110" y="65"/>
                      </a:lnTo>
                      <a:lnTo>
                        <a:pt x="107" y="64"/>
                      </a:lnTo>
                      <a:lnTo>
                        <a:pt x="107" y="64"/>
                      </a:lnTo>
                      <a:lnTo>
                        <a:pt x="105" y="68"/>
                      </a:lnTo>
                      <a:lnTo>
                        <a:pt x="102" y="71"/>
                      </a:lnTo>
                      <a:lnTo>
                        <a:pt x="103" y="72"/>
                      </a:lnTo>
                      <a:close/>
                      <a:moveTo>
                        <a:pt x="105" y="85"/>
                      </a:moveTo>
                      <a:lnTo>
                        <a:pt x="105" y="85"/>
                      </a:lnTo>
                      <a:lnTo>
                        <a:pt x="102" y="77"/>
                      </a:lnTo>
                      <a:lnTo>
                        <a:pt x="100" y="77"/>
                      </a:lnTo>
                      <a:lnTo>
                        <a:pt x="100" y="77"/>
                      </a:lnTo>
                      <a:lnTo>
                        <a:pt x="103" y="87"/>
                      </a:lnTo>
                      <a:lnTo>
                        <a:pt x="105" y="85"/>
                      </a:lnTo>
                      <a:close/>
                      <a:moveTo>
                        <a:pt x="106" y="101"/>
                      </a:moveTo>
                      <a:lnTo>
                        <a:pt x="106" y="101"/>
                      </a:lnTo>
                      <a:lnTo>
                        <a:pt x="107" y="95"/>
                      </a:lnTo>
                      <a:lnTo>
                        <a:pt x="107" y="94"/>
                      </a:lnTo>
                      <a:lnTo>
                        <a:pt x="107" y="94"/>
                      </a:lnTo>
                      <a:lnTo>
                        <a:pt x="107" y="91"/>
                      </a:lnTo>
                      <a:lnTo>
                        <a:pt x="105" y="91"/>
                      </a:lnTo>
                      <a:lnTo>
                        <a:pt x="105" y="91"/>
                      </a:lnTo>
                      <a:lnTo>
                        <a:pt x="105" y="94"/>
                      </a:lnTo>
                      <a:lnTo>
                        <a:pt x="105" y="94"/>
                      </a:lnTo>
                      <a:lnTo>
                        <a:pt x="105" y="94"/>
                      </a:lnTo>
                      <a:lnTo>
                        <a:pt x="103" y="100"/>
                      </a:lnTo>
                      <a:lnTo>
                        <a:pt x="106" y="101"/>
                      </a:lnTo>
                      <a:close/>
                      <a:moveTo>
                        <a:pt x="103" y="116"/>
                      </a:moveTo>
                      <a:lnTo>
                        <a:pt x="103" y="116"/>
                      </a:lnTo>
                      <a:lnTo>
                        <a:pt x="105" y="106"/>
                      </a:lnTo>
                      <a:lnTo>
                        <a:pt x="102" y="106"/>
                      </a:lnTo>
                      <a:lnTo>
                        <a:pt x="102" y="106"/>
                      </a:lnTo>
                      <a:lnTo>
                        <a:pt x="100" y="116"/>
                      </a:lnTo>
                      <a:lnTo>
                        <a:pt x="103" y="116"/>
                      </a:lnTo>
                      <a:close/>
                      <a:moveTo>
                        <a:pt x="106" y="129"/>
                      </a:moveTo>
                      <a:lnTo>
                        <a:pt x="106" y="129"/>
                      </a:lnTo>
                      <a:lnTo>
                        <a:pt x="105" y="126"/>
                      </a:lnTo>
                      <a:lnTo>
                        <a:pt x="105" y="126"/>
                      </a:lnTo>
                      <a:lnTo>
                        <a:pt x="103" y="120"/>
                      </a:lnTo>
                      <a:lnTo>
                        <a:pt x="100" y="121"/>
                      </a:lnTo>
                      <a:lnTo>
                        <a:pt x="100" y="121"/>
                      </a:lnTo>
                      <a:lnTo>
                        <a:pt x="103" y="127"/>
                      </a:lnTo>
                      <a:lnTo>
                        <a:pt x="103" y="127"/>
                      </a:lnTo>
                      <a:lnTo>
                        <a:pt x="105" y="130"/>
                      </a:lnTo>
                      <a:lnTo>
                        <a:pt x="106" y="129"/>
                      </a:lnTo>
                      <a:close/>
                      <a:moveTo>
                        <a:pt x="119" y="139"/>
                      </a:moveTo>
                      <a:lnTo>
                        <a:pt x="119" y="139"/>
                      </a:lnTo>
                      <a:lnTo>
                        <a:pt x="118" y="137"/>
                      </a:lnTo>
                      <a:lnTo>
                        <a:pt x="118" y="137"/>
                      </a:lnTo>
                      <a:lnTo>
                        <a:pt x="110" y="133"/>
                      </a:lnTo>
                      <a:lnTo>
                        <a:pt x="109" y="134"/>
                      </a:lnTo>
                      <a:lnTo>
                        <a:pt x="109" y="134"/>
                      </a:lnTo>
                      <a:lnTo>
                        <a:pt x="116" y="139"/>
                      </a:lnTo>
                      <a:lnTo>
                        <a:pt x="116" y="140"/>
                      </a:lnTo>
                      <a:lnTo>
                        <a:pt x="119" y="139"/>
                      </a:lnTo>
                      <a:close/>
                      <a:moveTo>
                        <a:pt x="113" y="153"/>
                      </a:moveTo>
                      <a:lnTo>
                        <a:pt x="113" y="153"/>
                      </a:lnTo>
                      <a:lnTo>
                        <a:pt x="116" y="149"/>
                      </a:lnTo>
                      <a:lnTo>
                        <a:pt x="119" y="145"/>
                      </a:lnTo>
                      <a:lnTo>
                        <a:pt x="116" y="143"/>
                      </a:lnTo>
                      <a:lnTo>
                        <a:pt x="116" y="143"/>
                      </a:lnTo>
                      <a:lnTo>
                        <a:pt x="112" y="152"/>
                      </a:lnTo>
                      <a:lnTo>
                        <a:pt x="113" y="153"/>
                      </a:lnTo>
                      <a:close/>
                      <a:moveTo>
                        <a:pt x="109" y="165"/>
                      </a:moveTo>
                      <a:lnTo>
                        <a:pt x="109" y="165"/>
                      </a:lnTo>
                      <a:lnTo>
                        <a:pt x="107" y="162"/>
                      </a:lnTo>
                      <a:lnTo>
                        <a:pt x="107" y="162"/>
                      </a:lnTo>
                      <a:lnTo>
                        <a:pt x="109" y="159"/>
                      </a:lnTo>
                      <a:lnTo>
                        <a:pt x="109" y="159"/>
                      </a:lnTo>
                      <a:lnTo>
                        <a:pt x="110" y="158"/>
                      </a:lnTo>
                      <a:lnTo>
                        <a:pt x="109" y="156"/>
                      </a:lnTo>
                      <a:lnTo>
                        <a:pt x="109" y="156"/>
                      </a:lnTo>
                      <a:lnTo>
                        <a:pt x="106" y="158"/>
                      </a:lnTo>
                      <a:lnTo>
                        <a:pt x="106" y="158"/>
                      </a:lnTo>
                      <a:lnTo>
                        <a:pt x="106" y="162"/>
                      </a:lnTo>
                      <a:lnTo>
                        <a:pt x="106" y="162"/>
                      </a:lnTo>
                      <a:lnTo>
                        <a:pt x="107" y="166"/>
                      </a:lnTo>
                      <a:lnTo>
                        <a:pt x="109" y="165"/>
                      </a:lnTo>
                      <a:close/>
                      <a:moveTo>
                        <a:pt x="118" y="178"/>
                      </a:moveTo>
                      <a:lnTo>
                        <a:pt x="118" y="178"/>
                      </a:lnTo>
                      <a:lnTo>
                        <a:pt x="115" y="175"/>
                      </a:lnTo>
                      <a:lnTo>
                        <a:pt x="115" y="175"/>
                      </a:lnTo>
                      <a:lnTo>
                        <a:pt x="112" y="169"/>
                      </a:lnTo>
                      <a:lnTo>
                        <a:pt x="110" y="171"/>
                      </a:lnTo>
                      <a:lnTo>
                        <a:pt x="110" y="171"/>
                      </a:lnTo>
                      <a:lnTo>
                        <a:pt x="112" y="175"/>
                      </a:lnTo>
                      <a:lnTo>
                        <a:pt x="112" y="175"/>
                      </a:lnTo>
                      <a:lnTo>
                        <a:pt x="115" y="179"/>
                      </a:lnTo>
                      <a:lnTo>
                        <a:pt x="118" y="178"/>
                      </a:lnTo>
                      <a:close/>
                      <a:moveTo>
                        <a:pt x="128" y="188"/>
                      </a:moveTo>
                      <a:lnTo>
                        <a:pt x="128" y="188"/>
                      </a:lnTo>
                      <a:lnTo>
                        <a:pt x="128" y="188"/>
                      </a:lnTo>
                      <a:lnTo>
                        <a:pt x="121" y="181"/>
                      </a:lnTo>
                      <a:lnTo>
                        <a:pt x="119" y="184"/>
                      </a:lnTo>
                      <a:lnTo>
                        <a:pt x="119" y="184"/>
                      </a:lnTo>
                      <a:lnTo>
                        <a:pt x="126" y="190"/>
                      </a:lnTo>
                      <a:lnTo>
                        <a:pt x="126" y="190"/>
                      </a:lnTo>
                      <a:lnTo>
                        <a:pt x="128" y="188"/>
                      </a:lnTo>
                      <a:close/>
                      <a:moveTo>
                        <a:pt x="134" y="203"/>
                      </a:moveTo>
                      <a:lnTo>
                        <a:pt x="134" y="203"/>
                      </a:lnTo>
                      <a:lnTo>
                        <a:pt x="134" y="197"/>
                      </a:lnTo>
                      <a:lnTo>
                        <a:pt x="134" y="197"/>
                      </a:lnTo>
                      <a:lnTo>
                        <a:pt x="132" y="191"/>
                      </a:lnTo>
                      <a:lnTo>
                        <a:pt x="131" y="192"/>
                      </a:lnTo>
                      <a:lnTo>
                        <a:pt x="131" y="192"/>
                      </a:lnTo>
                      <a:lnTo>
                        <a:pt x="132" y="197"/>
                      </a:lnTo>
                      <a:lnTo>
                        <a:pt x="132" y="197"/>
                      </a:lnTo>
                      <a:lnTo>
                        <a:pt x="132" y="203"/>
                      </a:lnTo>
                      <a:lnTo>
                        <a:pt x="134" y="203"/>
                      </a:lnTo>
                      <a:close/>
                      <a:moveTo>
                        <a:pt x="142" y="214"/>
                      </a:moveTo>
                      <a:lnTo>
                        <a:pt x="142" y="214"/>
                      </a:lnTo>
                      <a:lnTo>
                        <a:pt x="141" y="211"/>
                      </a:lnTo>
                      <a:lnTo>
                        <a:pt x="139" y="210"/>
                      </a:lnTo>
                      <a:lnTo>
                        <a:pt x="139" y="210"/>
                      </a:lnTo>
                      <a:lnTo>
                        <a:pt x="135" y="207"/>
                      </a:lnTo>
                      <a:lnTo>
                        <a:pt x="134" y="208"/>
                      </a:lnTo>
                      <a:lnTo>
                        <a:pt x="134" y="208"/>
                      </a:lnTo>
                      <a:lnTo>
                        <a:pt x="138" y="213"/>
                      </a:lnTo>
                      <a:lnTo>
                        <a:pt x="138" y="213"/>
                      </a:lnTo>
                      <a:lnTo>
                        <a:pt x="139" y="214"/>
                      </a:lnTo>
                      <a:lnTo>
                        <a:pt x="142" y="214"/>
                      </a:lnTo>
                      <a:close/>
                      <a:moveTo>
                        <a:pt x="128" y="219"/>
                      </a:moveTo>
                      <a:lnTo>
                        <a:pt x="128" y="219"/>
                      </a:lnTo>
                      <a:lnTo>
                        <a:pt x="135" y="219"/>
                      </a:lnTo>
                      <a:lnTo>
                        <a:pt x="135" y="219"/>
                      </a:lnTo>
                      <a:lnTo>
                        <a:pt x="138" y="219"/>
                      </a:lnTo>
                      <a:lnTo>
                        <a:pt x="138" y="216"/>
                      </a:lnTo>
                      <a:lnTo>
                        <a:pt x="138" y="216"/>
                      </a:lnTo>
                      <a:lnTo>
                        <a:pt x="135" y="216"/>
                      </a:lnTo>
                      <a:lnTo>
                        <a:pt x="135" y="216"/>
                      </a:lnTo>
                      <a:lnTo>
                        <a:pt x="131" y="216"/>
                      </a:lnTo>
                      <a:lnTo>
                        <a:pt x="128" y="217"/>
                      </a:lnTo>
                      <a:lnTo>
                        <a:pt x="128" y="219"/>
                      </a:lnTo>
                      <a:close/>
                      <a:moveTo>
                        <a:pt x="121" y="230"/>
                      </a:moveTo>
                      <a:lnTo>
                        <a:pt x="121" y="230"/>
                      </a:lnTo>
                      <a:lnTo>
                        <a:pt x="125" y="221"/>
                      </a:lnTo>
                      <a:lnTo>
                        <a:pt x="123" y="220"/>
                      </a:lnTo>
                      <a:lnTo>
                        <a:pt x="123" y="220"/>
                      </a:lnTo>
                      <a:lnTo>
                        <a:pt x="119" y="230"/>
                      </a:lnTo>
                      <a:lnTo>
                        <a:pt x="121" y="230"/>
                      </a:lnTo>
                      <a:close/>
                      <a:moveTo>
                        <a:pt x="116" y="245"/>
                      </a:moveTo>
                      <a:lnTo>
                        <a:pt x="116" y="245"/>
                      </a:lnTo>
                      <a:lnTo>
                        <a:pt x="119" y="236"/>
                      </a:lnTo>
                      <a:lnTo>
                        <a:pt x="118" y="234"/>
                      </a:lnTo>
                      <a:lnTo>
                        <a:pt x="118" y="234"/>
                      </a:lnTo>
                      <a:lnTo>
                        <a:pt x="115" y="245"/>
                      </a:lnTo>
                      <a:lnTo>
                        <a:pt x="116" y="24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7" name="Freeform 1717"/>
                <p:cNvSpPr>
                  <a:spLocks noEditPoints="1"/>
                </p:cNvSpPr>
                <p:nvPr/>
              </p:nvSpPr>
              <p:spPr bwMode="auto">
                <a:xfrm>
                  <a:off x="5303062" y="2512870"/>
                  <a:ext cx="41549" cy="100904"/>
                </a:xfrm>
                <a:custGeom>
                  <a:avLst/>
                  <a:gdLst>
                    <a:gd name="T0" fmla="*/ 2 w 42"/>
                    <a:gd name="T1" fmla="*/ 94 h 102"/>
                    <a:gd name="T2" fmla="*/ 2 w 42"/>
                    <a:gd name="T3" fmla="*/ 102 h 102"/>
                    <a:gd name="T4" fmla="*/ 5 w 42"/>
                    <a:gd name="T5" fmla="*/ 102 h 102"/>
                    <a:gd name="T6" fmla="*/ 5 w 42"/>
                    <a:gd name="T7" fmla="*/ 94 h 102"/>
                    <a:gd name="T8" fmla="*/ 2 w 42"/>
                    <a:gd name="T9" fmla="*/ 94 h 102"/>
                    <a:gd name="T10" fmla="*/ 2 w 42"/>
                    <a:gd name="T11" fmla="*/ 79 h 102"/>
                    <a:gd name="T12" fmla="*/ 2 w 42"/>
                    <a:gd name="T13" fmla="*/ 89 h 102"/>
                    <a:gd name="T14" fmla="*/ 5 w 42"/>
                    <a:gd name="T15" fmla="*/ 89 h 102"/>
                    <a:gd name="T16" fmla="*/ 5 w 42"/>
                    <a:gd name="T17" fmla="*/ 79 h 102"/>
                    <a:gd name="T18" fmla="*/ 2 w 42"/>
                    <a:gd name="T19" fmla="*/ 79 h 102"/>
                    <a:gd name="T20" fmla="*/ 2 w 42"/>
                    <a:gd name="T21" fmla="*/ 63 h 102"/>
                    <a:gd name="T22" fmla="*/ 2 w 42"/>
                    <a:gd name="T23" fmla="*/ 73 h 102"/>
                    <a:gd name="T24" fmla="*/ 5 w 42"/>
                    <a:gd name="T25" fmla="*/ 73 h 102"/>
                    <a:gd name="T26" fmla="*/ 5 w 42"/>
                    <a:gd name="T27" fmla="*/ 63 h 102"/>
                    <a:gd name="T28" fmla="*/ 2 w 42"/>
                    <a:gd name="T29" fmla="*/ 63 h 102"/>
                    <a:gd name="T30" fmla="*/ 2 w 42"/>
                    <a:gd name="T31" fmla="*/ 49 h 102"/>
                    <a:gd name="T32" fmla="*/ 2 w 42"/>
                    <a:gd name="T33" fmla="*/ 59 h 102"/>
                    <a:gd name="T34" fmla="*/ 5 w 42"/>
                    <a:gd name="T35" fmla="*/ 59 h 102"/>
                    <a:gd name="T36" fmla="*/ 5 w 42"/>
                    <a:gd name="T37" fmla="*/ 49 h 102"/>
                    <a:gd name="T38" fmla="*/ 2 w 42"/>
                    <a:gd name="T39" fmla="*/ 49 h 102"/>
                    <a:gd name="T40" fmla="*/ 2 w 42"/>
                    <a:gd name="T41" fmla="*/ 33 h 102"/>
                    <a:gd name="T42" fmla="*/ 2 w 42"/>
                    <a:gd name="T43" fmla="*/ 43 h 102"/>
                    <a:gd name="T44" fmla="*/ 3 w 42"/>
                    <a:gd name="T45" fmla="*/ 43 h 102"/>
                    <a:gd name="T46" fmla="*/ 3 w 42"/>
                    <a:gd name="T47" fmla="*/ 33 h 102"/>
                    <a:gd name="T48" fmla="*/ 2 w 42"/>
                    <a:gd name="T49" fmla="*/ 33 h 102"/>
                    <a:gd name="T50" fmla="*/ 0 w 42"/>
                    <a:gd name="T51" fmla="*/ 18 h 102"/>
                    <a:gd name="T52" fmla="*/ 2 w 42"/>
                    <a:gd name="T53" fmla="*/ 29 h 102"/>
                    <a:gd name="T54" fmla="*/ 3 w 42"/>
                    <a:gd name="T55" fmla="*/ 29 h 102"/>
                    <a:gd name="T56" fmla="*/ 3 w 42"/>
                    <a:gd name="T57" fmla="*/ 18 h 102"/>
                    <a:gd name="T58" fmla="*/ 0 w 42"/>
                    <a:gd name="T59" fmla="*/ 18 h 102"/>
                    <a:gd name="T60" fmla="*/ 12 w 42"/>
                    <a:gd name="T61" fmla="*/ 8 h 102"/>
                    <a:gd name="T62" fmla="*/ 2 w 42"/>
                    <a:gd name="T63" fmla="*/ 13 h 102"/>
                    <a:gd name="T64" fmla="*/ 3 w 42"/>
                    <a:gd name="T65" fmla="*/ 14 h 102"/>
                    <a:gd name="T66" fmla="*/ 13 w 42"/>
                    <a:gd name="T67" fmla="*/ 11 h 102"/>
                    <a:gd name="T68" fmla="*/ 12 w 42"/>
                    <a:gd name="T69" fmla="*/ 8 h 102"/>
                    <a:gd name="T70" fmla="*/ 26 w 42"/>
                    <a:gd name="T71" fmla="*/ 4 h 102"/>
                    <a:gd name="T72" fmla="*/ 16 w 42"/>
                    <a:gd name="T73" fmla="*/ 7 h 102"/>
                    <a:gd name="T74" fmla="*/ 18 w 42"/>
                    <a:gd name="T75" fmla="*/ 10 h 102"/>
                    <a:gd name="T76" fmla="*/ 28 w 42"/>
                    <a:gd name="T77" fmla="*/ 7 h 102"/>
                    <a:gd name="T78" fmla="*/ 26 w 42"/>
                    <a:gd name="T79" fmla="*/ 4 h 102"/>
                    <a:gd name="T80" fmla="*/ 41 w 42"/>
                    <a:gd name="T81" fmla="*/ 0 h 102"/>
                    <a:gd name="T82" fmla="*/ 31 w 42"/>
                    <a:gd name="T83" fmla="*/ 2 h 102"/>
                    <a:gd name="T84" fmla="*/ 32 w 42"/>
                    <a:gd name="T85" fmla="*/ 5 h 102"/>
                    <a:gd name="T86" fmla="*/ 42 w 42"/>
                    <a:gd name="T87" fmla="*/ 2 h 102"/>
                    <a:gd name="T88" fmla="*/ 41 w 42"/>
                    <a:gd name="T89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42" h="102">
                      <a:moveTo>
                        <a:pt x="2" y="94"/>
                      </a:moveTo>
                      <a:lnTo>
                        <a:pt x="2" y="102"/>
                      </a:lnTo>
                      <a:lnTo>
                        <a:pt x="5" y="102"/>
                      </a:lnTo>
                      <a:lnTo>
                        <a:pt x="5" y="94"/>
                      </a:lnTo>
                      <a:lnTo>
                        <a:pt x="2" y="94"/>
                      </a:lnTo>
                      <a:close/>
                      <a:moveTo>
                        <a:pt x="2" y="79"/>
                      </a:moveTo>
                      <a:lnTo>
                        <a:pt x="2" y="89"/>
                      </a:lnTo>
                      <a:lnTo>
                        <a:pt x="5" y="89"/>
                      </a:lnTo>
                      <a:lnTo>
                        <a:pt x="5" y="79"/>
                      </a:lnTo>
                      <a:lnTo>
                        <a:pt x="2" y="79"/>
                      </a:lnTo>
                      <a:close/>
                      <a:moveTo>
                        <a:pt x="2" y="63"/>
                      </a:moveTo>
                      <a:lnTo>
                        <a:pt x="2" y="73"/>
                      </a:lnTo>
                      <a:lnTo>
                        <a:pt x="5" y="73"/>
                      </a:lnTo>
                      <a:lnTo>
                        <a:pt x="5" y="63"/>
                      </a:lnTo>
                      <a:lnTo>
                        <a:pt x="2" y="63"/>
                      </a:lnTo>
                      <a:close/>
                      <a:moveTo>
                        <a:pt x="2" y="49"/>
                      </a:moveTo>
                      <a:lnTo>
                        <a:pt x="2" y="59"/>
                      </a:lnTo>
                      <a:lnTo>
                        <a:pt x="5" y="59"/>
                      </a:lnTo>
                      <a:lnTo>
                        <a:pt x="5" y="49"/>
                      </a:lnTo>
                      <a:lnTo>
                        <a:pt x="2" y="49"/>
                      </a:lnTo>
                      <a:close/>
                      <a:moveTo>
                        <a:pt x="2" y="33"/>
                      </a:moveTo>
                      <a:lnTo>
                        <a:pt x="2" y="43"/>
                      </a:lnTo>
                      <a:lnTo>
                        <a:pt x="3" y="43"/>
                      </a:lnTo>
                      <a:lnTo>
                        <a:pt x="3" y="33"/>
                      </a:lnTo>
                      <a:lnTo>
                        <a:pt x="2" y="33"/>
                      </a:lnTo>
                      <a:close/>
                      <a:moveTo>
                        <a:pt x="0" y="18"/>
                      </a:moveTo>
                      <a:lnTo>
                        <a:pt x="2" y="29"/>
                      </a:lnTo>
                      <a:lnTo>
                        <a:pt x="3" y="29"/>
                      </a:lnTo>
                      <a:lnTo>
                        <a:pt x="3" y="18"/>
                      </a:lnTo>
                      <a:lnTo>
                        <a:pt x="0" y="18"/>
                      </a:lnTo>
                      <a:close/>
                      <a:moveTo>
                        <a:pt x="12" y="8"/>
                      </a:moveTo>
                      <a:lnTo>
                        <a:pt x="2" y="13"/>
                      </a:lnTo>
                      <a:lnTo>
                        <a:pt x="3" y="14"/>
                      </a:lnTo>
                      <a:lnTo>
                        <a:pt x="13" y="11"/>
                      </a:lnTo>
                      <a:lnTo>
                        <a:pt x="12" y="8"/>
                      </a:lnTo>
                      <a:close/>
                      <a:moveTo>
                        <a:pt x="26" y="4"/>
                      </a:moveTo>
                      <a:lnTo>
                        <a:pt x="16" y="7"/>
                      </a:lnTo>
                      <a:lnTo>
                        <a:pt x="18" y="10"/>
                      </a:lnTo>
                      <a:lnTo>
                        <a:pt x="28" y="7"/>
                      </a:lnTo>
                      <a:lnTo>
                        <a:pt x="26" y="4"/>
                      </a:lnTo>
                      <a:close/>
                      <a:moveTo>
                        <a:pt x="41" y="0"/>
                      </a:moveTo>
                      <a:lnTo>
                        <a:pt x="31" y="2"/>
                      </a:lnTo>
                      <a:lnTo>
                        <a:pt x="32" y="5"/>
                      </a:lnTo>
                      <a:lnTo>
                        <a:pt x="42" y="2"/>
                      </a:lnTo>
                      <a:lnTo>
                        <a:pt x="41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8" name="Freeform 1718"/>
                <p:cNvSpPr>
                  <a:spLocks noEditPoints="1"/>
                </p:cNvSpPr>
                <p:nvPr/>
              </p:nvSpPr>
              <p:spPr bwMode="auto">
                <a:xfrm>
                  <a:off x="5272395" y="2577172"/>
                  <a:ext cx="193895" cy="153335"/>
                </a:xfrm>
                <a:custGeom>
                  <a:avLst/>
                  <a:gdLst>
                    <a:gd name="T0" fmla="*/ 118 w 196"/>
                    <a:gd name="T1" fmla="*/ 150 h 155"/>
                    <a:gd name="T2" fmla="*/ 143 w 196"/>
                    <a:gd name="T3" fmla="*/ 152 h 155"/>
                    <a:gd name="T4" fmla="*/ 139 w 196"/>
                    <a:gd name="T5" fmla="*/ 153 h 155"/>
                    <a:gd name="T6" fmla="*/ 133 w 196"/>
                    <a:gd name="T7" fmla="*/ 155 h 155"/>
                    <a:gd name="T8" fmla="*/ 139 w 196"/>
                    <a:gd name="T9" fmla="*/ 155 h 155"/>
                    <a:gd name="T10" fmla="*/ 143 w 196"/>
                    <a:gd name="T11" fmla="*/ 152 h 155"/>
                    <a:gd name="T12" fmla="*/ 146 w 196"/>
                    <a:gd name="T13" fmla="*/ 147 h 155"/>
                    <a:gd name="T14" fmla="*/ 147 w 196"/>
                    <a:gd name="T15" fmla="*/ 149 h 155"/>
                    <a:gd name="T16" fmla="*/ 166 w 196"/>
                    <a:gd name="T17" fmla="*/ 133 h 155"/>
                    <a:gd name="T18" fmla="*/ 168 w 196"/>
                    <a:gd name="T19" fmla="*/ 136 h 155"/>
                    <a:gd name="T20" fmla="*/ 169 w 196"/>
                    <a:gd name="T21" fmla="*/ 130 h 155"/>
                    <a:gd name="T22" fmla="*/ 172 w 196"/>
                    <a:gd name="T23" fmla="*/ 120 h 155"/>
                    <a:gd name="T24" fmla="*/ 175 w 196"/>
                    <a:gd name="T25" fmla="*/ 116 h 155"/>
                    <a:gd name="T26" fmla="*/ 185 w 196"/>
                    <a:gd name="T27" fmla="*/ 114 h 155"/>
                    <a:gd name="T28" fmla="*/ 194 w 196"/>
                    <a:gd name="T29" fmla="*/ 110 h 155"/>
                    <a:gd name="T30" fmla="*/ 192 w 196"/>
                    <a:gd name="T31" fmla="*/ 111 h 155"/>
                    <a:gd name="T32" fmla="*/ 194 w 196"/>
                    <a:gd name="T33" fmla="*/ 114 h 155"/>
                    <a:gd name="T34" fmla="*/ 196 w 196"/>
                    <a:gd name="T35" fmla="*/ 110 h 155"/>
                    <a:gd name="T36" fmla="*/ 185 w 196"/>
                    <a:gd name="T37" fmla="*/ 95 h 155"/>
                    <a:gd name="T38" fmla="*/ 191 w 196"/>
                    <a:gd name="T39" fmla="*/ 103 h 155"/>
                    <a:gd name="T40" fmla="*/ 192 w 196"/>
                    <a:gd name="T41" fmla="*/ 98 h 155"/>
                    <a:gd name="T42" fmla="*/ 172 w 196"/>
                    <a:gd name="T43" fmla="*/ 88 h 155"/>
                    <a:gd name="T44" fmla="*/ 172 w 196"/>
                    <a:gd name="T45" fmla="*/ 85 h 155"/>
                    <a:gd name="T46" fmla="*/ 157 w 196"/>
                    <a:gd name="T47" fmla="*/ 81 h 155"/>
                    <a:gd name="T48" fmla="*/ 159 w 196"/>
                    <a:gd name="T49" fmla="*/ 79 h 155"/>
                    <a:gd name="T50" fmla="*/ 143 w 196"/>
                    <a:gd name="T51" fmla="*/ 77 h 155"/>
                    <a:gd name="T52" fmla="*/ 144 w 196"/>
                    <a:gd name="T53" fmla="*/ 75 h 155"/>
                    <a:gd name="T54" fmla="*/ 133 w 196"/>
                    <a:gd name="T55" fmla="*/ 72 h 155"/>
                    <a:gd name="T56" fmla="*/ 139 w 196"/>
                    <a:gd name="T57" fmla="*/ 74 h 155"/>
                    <a:gd name="T58" fmla="*/ 136 w 196"/>
                    <a:gd name="T59" fmla="*/ 71 h 155"/>
                    <a:gd name="T60" fmla="*/ 124 w 196"/>
                    <a:gd name="T61" fmla="*/ 53 h 155"/>
                    <a:gd name="T62" fmla="*/ 127 w 196"/>
                    <a:gd name="T63" fmla="*/ 52 h 155"/>
                    <a:gd name="T64" fmla="*/ 121 w 196"/>
                    <a:gd name="T65" fmla="*/ 49 h 155"/>
                    <a:gd name="T66" fmla="*/ 124 w 196"/>
                    <a:gd name="T67" fmla="*/ 48 h 155"/>
                    <a:gd name="T68" fmla="*/ 105 w 196"/>
                    <a:gd name="T69" fmla="*/ 33 h 155"/>
                    <a:gd name="T70" fmla="*/ 114 w 196"/>
                    <a:gd name="T71" fmla="*/ 37 h 155"/>
                    <a:gd name="T72" fmla="*/ 94 w 196"/>
                    <a:gd name="T73" fmla="*/ 20 h 155"/>
                    <a:gd name="T74" fmla="*/ 102 w 196"/>
                    <a:gd name="T75" fmla="*/ 27 h 155"/>
                    <a:gd name="T76" fmla="*/ 85 w 196"/>
                    <a:gd name="T77" fmla="*/ 8 h 155"/>
                    <a:gd name="T78" fmla="*/ 86 w 196"/>
                    <a:gd name="T79" fmla="*/ 7 h 155"/>
                    <a:gd name="T80" fmla="*/ 78 w 196"/>
                    <a:gd name="T81" fmla="*/ 1 h 155"/>
                    <a:gd name="T82" fmla="*/ 82 w 196"/>
                    <a:gd name="T83" fmla="*/ 4 h 155"/>
                    <a:gd name="T84" fmla="*/ 82 w 196"/>
                    <a:gd name="T85" fmla="*/ 1 h 155"/>
                    <a:gd name="T86" fmla="*/ 73 w 196"/>
                    <a:gd name="T87" fmla="*/ 0 h 155"/>
                    <a:gd name="T88" fmla="*/ 68 w 196"/>
                    <a:gd name="T89" fmla="*/ 7 h 155"/>
                    <a:gd name="T90" fmla="*/ 69 w 196"/>
                    <a:gd name="T91" fmla="*/ 3 h 155"/>
                    <a:gd name="T92" fmla="*/ 63 w 196"/>
                    <a:gd name="T93" fmla="*/ 11 h 155"/>
                    <a:gd name="T94" fmla="*/ 59 w 196"/>
                    <a:gd name="T95" fmla="*/ 16 h 155"/>
                    <a:gd name="T96" fmla="*/ 50 w 196"/>
                    <a:gd name="T97" fmla="*/ 21 h 155"/>
                    <a:gd name="T98" fmla="*/ 50 w 196"/>
                    <a:gd name="T99" fmla="*/ 32 h 155"/>
                    <a:gd name="T100" fmla="*/ 46 w 196"/>
                    <a:gd name="T101" fmla="*/ 36 h 155"/>
                    <a:gd name="T102" fmla="*/ 37 w 196"/>
                    <a:gd name="T103" fmla="*/ 40 h 155"/>
                    <a:gd name="T104" fmla="*/ 43 w 196"/>
                    <a:gd name="T105" fmla="*/ 39 h 155"/>
                    <a:gd name="T106" fmla="*/ 20 w 196"/>
                    <a:gd name="T107" fmla="*/ 30 h 155"/>
                    <a:gd name="T108" fmla="*/ 23 w 196"/>
                    <a:gd name="T109" fmla="*/ 33 h 155"/>
                    <a:gd name="T110" fmla="*/ 24 w 196"/>
                    <a:gd name="T111" fmla="*/ 30 h 155"/>
                    <a:gd name="T112" fmla="*/ 20 w 196"/>
                    <a:gd name="T113" fmla="*/ 30 h 155"/>
                    <a:gd name="T114" fmla="*/ 18 w 196"/>
                    <a:gd name="T115" fmla="*/ 24 h 155"/>
                    <a:gd name="T116" fmla="*/ 1 w 196"/>
                    <a:gd name="T117" fmla="*/ 14 h 155"/>
                    <a:gd name="T118" fmla="*/ 4 w 196"/>
                    <a:gd name="T119" fmla="*/ 11 h 155"/>
                    <a:gd name="T120" fmla="*/ 7 w 196"/>
                    <a:gd name="T121" fmla="*/ 10 h 155"/>
                    <a:gd name="T122" fmla="*/ 1 w 196"/>
                    <a:gd name="T123" fmla="*/ 10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96" h="155">
                      <a:moveTo>
                        <a:pt x="128" y="152"/>
                      </a:moveTo>
                      <a:lnTo>
                        <a:pt x="128" y="152"/>
                      </a:lnTo>
                      <a:lnTo>
                        <a:pt x="120" y="147"/>
                      </a:lnTo>
                      <a:lnTo>
                        <a:pt x="118" y="150"/>
                      </a:lnTo>
                      <a:lnTo>
                        <a:pt x="118" y="150"/>
                      </a:lnTo>
                      <a:lnTo>
                        <a:pt x="128" y="153"/>
                      </a:lnTo>
                      <a:lnTo>
                        <a:pt x="128" y="152"/>
                      </a:lnTo>
                      <a:close/>
                      <a:moveTo>
                        <a:pt x="143" y="152"/>
                      </a:moveTo>
                      <a:lnTo>
                        <a:pt x="143" y="152"/>
                      </a:lnTo>
                      <a:lnTo>
                        <a:pt x="140" y="152"/>
                      </a:lnTo>
                      <a:lnTo>
                        <a:pt x="139" y="153"/>
                      </a:lnTo>
                      <a:lnTo>
                        <a:pt x="139" y="153"/>
                      </a:lnTo>
                      <a:lnTo>
                        <a:pt x="136" y="153"/>
                      </a:lnTo>
                      <a:lnTo>
                        <a:pt x="136" y="153"/>
                      </a:lnTo>
                      <a:lnTo>
                        <a:pt x="134" y="152"/>
                      </a:lnTo>
                      <a:lnTo>
                        <a:pt x="133" y="155"/>
                      </a:lnTo>
                      <a:lnTo>
                        <a:pt x="133" y="155"/>
                      </a:lnTo>
                      <a:lnTo>
                        <a:pt x="136" y="155"/>
                      </a:lnTo>
                      <a:lnTo>
                        <a:pt x="136" y="155"/>
                      </a:lnTo>
                      <a:lnTo>
                        <a:pt x="139" y="155"/>
                      </a:lnTo>
                      <a:lnTo>
                        <a:pt x="139" y="155"/>
                      </a:lnTo>
                      <a:lnTo>
                        <a:pt x="141" y="155"/>
                      </a:lnTo>
                      <a:lnTo>
                        <a:pt x="144" y="153"/>
                      </a:lnTo>
                      <a:lnTo>
                        <a:pt x="143" y="152"/>
                      </a:lnTo>
                      <a:close/>
                      <a:moveTo>
                        <a:pt x="153" y="142"/>
                      </a:moveTo>
                      <a:lnTo>
                        <a:pt x="153" y="142"/>
                      </a:lnTo>
                      <a:lnTo>
                        <a:pt x="149" y="145"/>
                      </a:lnTo>
                      <a:lnTo>
                        <a:pt x="146" y="147"/>
                      </a:lnTo>
                      <a:lnTo>
                        <a:pt x="146" y="147"/>
                      </a:lnTo>
                      <a:lnTo>
                        <a:pt x="147" y="149"/>
                      </a:lnTo>
                      <a:lnTo>
                        <a:pt x="147" y="149"/>
                      </a:lnTo>
                      <a:lnTo>
                        <a:pt x="147" y="149"/>
                      </a:lnTo>
                      <a:lnTo>
                        <a:pt x="154" y="143"/>
                      </a:lnTo>
                      <a:lnTo>
                        <a:pt x="153" y="142"/>
                      </a:lnTo>
                      <a:close/>
                      <a:moveTo>
                        <a:pt x="166" y="133"/>
                      </a:moveTo>
                      <a:lnTo>
                        <a:pt x="166" y="133"/>
                      </a:lnTo>
                      <a:lnTo>
                        <a:pt x="157" y="139"/>
                      </a:lnTo>
                      <a:lnTo>
                        <a:pt x="159" y="140"/>
                      </a:lnTo>
                      <a:lnTo>
                        <a:pt x="159" y="140"/>
                      </a:lnTo>
                      <a:lnTo>
                        <a:pt x="168" y="136"/>
                      </a:lnTo>
                      <a:lnTo>
                        <a:pt x="166" y="133"/>
                      </a:lnTo>
                      <a:close/>
                      <a:moveTo>
                        <a:pt x="172" y="120"/>
                      </a:moveTo>
                      <a:lnTo>
                        <a:pt x="172" y="120"/>
                      </a:lnTo>
                      <a:lnTo>
                        <a:pt x="169" y="130"/>
                      </a:lnTo>
                      <a:lnTo>
                        <a:pt x="170" y="130"/>
                      </a:lnTo>
                      <a:lnTo>
                        <a:pt x="170" y="130"/>
                      </a:lnTo>
                      <a:lnTo>
                        <a:pt x="173" y="121"/>
                      </a:lnTo>
                      <a:lnTo>
                        <a:pt x="172" y="120"/>
                      </a:lnTo>
                      <a:close/>
                      <a:moveTo>
                        <a:pt x="185" y="113"/>
                      </a:moveTo>
                      <a:lnTo>
                        <a:pt x="185" y="113"/>
                      </a:lnTo>
                      <a:lnTo>
                        <a:pt x="181" y="113"/>
                      </a:lnTo>
                      <a:lnTo>
                        <a:pt x="175" y="116"/>
                      </a:lnTo>
                      <a:lnTo>
                        <a:pt x="176" y="117"/>
                      </a:lnTo>
                      <a:lnTo>
                        <a:pt x="176" y="117"/>
                      </a:lnTo>
                      <a:lnTo>
                        <a:pt x="181" y="116"/>
                      </a:lnTo>
                      <a:lnTo>
                        <a:pt x="185" y="114"/>
                      </a:lnTo>
                      <a:lnTo>
                        <a:pt x="185" y="113"/>
                      </a:lnTo>
                      <a:close/>
                      <a:moveTo>
                        <a:pt x="194" y="107"/>
                      </a:moveTo>
                      <a:lnTo>
                        <a:pt x="194" y="107"/>
                      </a:lnTo>
                      <a:lnTo>
                        <a:pt x="194" y="110"/>
                      </a:lnTo>
                      <a:lnTo>
                        <a:pt x="194" y="110"/>
                      </a:lnTo>
                      <a:lnTo>
                        <a:pt x="194" y="111"/>
                      </a:lnTo>
                      <a:lnTo>
                        <a:pt x="192" y="111"/>
                      </a:lnTo>
                      <a:lnTo>
                        <a:pt x="192" y="111"/>
                      </a:lnTo>
                      <a:lnTo>
                        <a:pt x="191" y="111"/>
                      </a:lnTo>
                      <a:lnTo>
                        <a:pt x="191" y="114"/>
                      </a:lnTo>
                      <a:lnTo>
                        <a:pt x="191" y="114"/>
                      </a:lnTo>
                      <a:lnTo>
                        <a:pt x="194" y="114"/>
                      </a:lnTo>
                      <a:lnTo>
                        <a:pt x="194" y="114"/>
                      </a:lnTo>
                      <a:lnTo>
                        <a:pt x="195" y="113"/>
                      </a:lnTo>
                      <a:lnTo>
                        <a:pt x="195" y="113"/>
                      </a:lnTo>
                      <a:lnTo>
                        <a:pt x="196" y="110"/>
                      </a:lnTo>
                      <a:lnTo>
                        <a:pt x="196" y="110"/>
                      </a:lnTo>
                      <a:lnTo>
                        <a:pt x="195" y="105"/>
                      </a:lnTo>
                      <a:lnTo>
                        <a:pt x="194" y="107"/>
                      </a:lnTo>
                      <a:close/>
                      <a:moveTo>
                        <a:pt x="185" y="95"/>
                      </a:moveTo>
                      <a:lnTo>
                        <a:pt x="185" y="95"/>
                      </a:lnTo>
                      <a:lnTo>
                        <a:pt x="189" y="100"/>
                      </a:lnTo>
                      <a:lnTo>
                        <a:pt x="189" y="100"/>
                      </a:lnTo>
                      <a:lnTo>
                        <a:pt x="191" y="103"/>
                      </a:lnTo>
                      <a:lnTo>
                        <a:pt x="194" y="101"/>
                      </a:lnTo>
                      <a:lnTo>
                        <a:pt x="194" y="101"/>
                      </a:lnTo>
                      <a:lnTo>
                        <a:pt x="192" y="98"/>
                      </a:lnTo>
                      <a:lnTo>
                        <a:pt x="192" y="98"/>
                      </a:lnTo>
                      <a:lnTo>
                        <a:pt x="186" y="94"/>
                      </a:lnTo>
                      <a:lnTo>
                        <a:pt x="185" y="95"/>
                      </a:lnTo>
                      <a:close/>
                      <a:moveTo>
                        <a:pt x="172" y="88"/>
                      </a:moveTo>
                      <a:lnTo>
                        <a:pt x="172" y="88"/>
                      </a:lnTo>
                      <a:lnTo>
                        <a:pt x="181" y="92"/>
                      </a:lnTo>
                      <a:lnTo>
                        <a:pt x="182" y="91"/>
                      </a:lnTo>
                      <a:lnTo>
                        <a:pt x="182" y="91"/>
                      </a:lnTo>
                      <a:lnTo>
                        <a:pt x="172" y="85"/>
                      </a:lnTo>
                      <a:lnTo>
                        <a:pt x="172" y="88"/>
                      </a:lnTo>
                      <a:close/>
                      <a:moveTo>
                        <a:pt x="157" y="81"/>
                      </a:moveTo>
                      <a:lnTo>
                        <a:pt x="157" y="81"/>
                      </a:lnTo>
                      <a:lnTo>
                        <a:pt x="157" y="81"/>
                      </a:lnTo>
                      <a:lnTo>
                        <a:pt x="166" y="85"/>
                      </a:lnTo>
                      <a:lnTo>
                        <a:pt x="168" y="84"/>
                      </a:lnTo>
                      <a:lnTo>
                        <a:pt x="168" y="84"/>
                      </a:lnTo>
                      <a:lnTo>
                        <a:pt x="159" y="79"/>
                      </a:lnTo>
                      <a:lnTo>
                        <a:pt x="159" y="79"/>
                      </a:lnTo>
                      <a:lnTo>
                        <a:pt x="157" y="81"/>
                      </a:lnTo>
                      <a:close/>
                      <a:moveTo>
                        <a:pt x="143" y="77"/>
                      </a:moveTo>
                      <a:lnTo>
                        <a:pt x="143" y="77"/>
                      </a:lnTo>
                      <a:lnTo>
                        <a:pt x="153" y="79"/>
                      </a:lnTo>
                      <a:lnTo>
                        <a:pt x="153" y="78"/>
                      </a:lnTo>
                      <a:lnTo>
                        <a:pt x="153" y="78"/>
                      </a:lnTo>
                      <a:lnTo>
                        <a:pt x="144" y="75"/>
                      </a:lnTo>
                      <a:lnTo>
                        <a:pt x="143" y="77"/>
                      </a:lnTo>
                      <a:close/>
                      <a:moveTo>
                        <a:pt x="131" y="68"/>
                      </a:moveTo>
                      <a:lnTo>
                        <a:pt x="131" y="68"/>
                      </a:lnTo>
                      <a:lnTo>
                        <a:pt x="133" y="72"/>
                      </a:lnTo>
                      <a:lnTo>
                        <a:pt x="136" y="75"/>
                      </a:lnTo>
                      <a:lnTo>
                        <a:pt x="136" y="75"/>
                      </a:lnTo>
                      <a:lnTo>
                        <a:pt x="139" y="75"/>
                      </a:lnTo>
                      <a:lnTo>
                        <a:pt x="139" y="74"/>
                      </a:lnTo>
                      <a:lnTo>
                        <a:pt x="139" y="74"/>
                      </a:lnTo>
                      <a:lnTo>
                        <a:pt x="137" y="72"/>
                      </a:lnTo>
                      <a:lnTo>
                        <a:pt x="137" y="72"/>
                      </a:lnTo>
                      <a:lnTo>
                        <a:pt x="136" y="71"/>
                      </a:lnTo>
                      <a:lnTo>
                        <a:pt x="133" y="66"/>
                      </a:lnTo>
                      <a:lnTo>
                        <a:pt x="131" y="68"/>
                      </a:lnTo>
                      <a:close/>
                      <a:moveTo>
                        <a:pt x="124" y="53"/>
                      </a:moveTo>
                      <a:lnTo>
                        <a:pt x="124" y="53"/>
                      </a:lnTo>
                      <a:lnTo>
                        <a:pt x="128" y="62"/>
                      </a:lnTo>
                      <a:lnTo>
                        <a:pt x="131" y="62"/>
                      </a:lnTo>
                      <a:lnTo>
                        <a:pt x="131" y="62"/>
                      </a:lnTo>
                      <a:lnTo>
                        <a:pt x="127" y="52"/>
                      </a:lnTo>
                      <a:lnTo>
                        <a:pt x="124" y="53"/>
                      </a:lnTo>
                      <a:close/>
                      <a:moveTo>
                        <a:pt x="115" y="42"/>
                      </a:moveTo>
                      <a:lnTo>
                        <a:pt x="115" y="42"/>
                      </a:lnTo>
                      <a:lnTo>
                        <a:pt x="121" y="49"/>
                      </a:lnTo>
                      <a:lnTo>
                        <a:pt x="123" y="49"/>
                      </a:lnTo>
                      <a:lnTo>
                        <a:pt x="124" y="48"/>
                      </a:lnTo>
                      <a:lnTo>
                        <a:pt x="124" y="48"/>
                      </a:lnTo>
                      <a:lnTo>
                        <a:pt x="124" y="48"/>
                      </a:lnTo>
                      <a:lnTo>
                        <a:pt x="117" y="40"/>
                      </a:lnTo>
                      <a:lnTo>
                        <a:pt x="115" y="42"/>
                      </a:lnTo>
                      <a:close/>
                      <a:moveTo>
                        <a:pt x="104" y="32"/>
                      </a:moveTo>
                      <a:lnTo>
                        <a:pt x="105" y="33"/>
                      </a:lnTo>
                      <a:lnTo>
                        <a:pt x="105" y="33"/>
                      </a:lnTo>
                      <a:lnTo>
                        <a:pt x="112" y="39"/>
                      </a:lnTo>
                      <a:lnTo>
                        <a:pt x="114" y="37"/>
                      </a:lnTo>
                      <a:lnTo>
                        <a:pt x="114" y="37"/>
                      </a:lnTo>
                      <a:lnTo>
                        <a:pt x="107" y="32"/>
                      </a:lnTo>
                      <a:lnTo>
                        <a:pt x="105" y="30"/>
                      </a:lnTo>
                      <a:lnTo>
                        <a:pt x="104" y="32"/>
                      </a:lnTo>
                      <a:close/>
                      <a:moveTo>
                        <a:pt x="94" y="20"/>
                      </a:moveTo>
                      <a:lnTo>
                        <a:pt x="94" y="20"/>
                      </a:lnTo>
                      <a:lnTo>
                        <a:pt x="101" y="29"/>
                      </a:lnTo>
                      <a:lnTo>
                        <a:pt x="102" y="27"/>
                      </a:lnTo>
                      <a:lnTo>
                        <a:pt x="102" y="27"/>
                      </a:lnTo>
                      <a:lnTo>
                        <a:pt x="95" y="19"/>
                      </a:lnTo>
                      <a:lnTo>
                        <a:pt x="94" y="20"/>
                      </a:lnTo>
                      <a:close/>
                      <a:moveTo>
                        <a:pt x="85" y="8"/>
                      </a:moveTo>
                      <a:lnTo>
                        <a:pt x="85" y="8"/>
                      </a:lnTo>
                      <a:lnTo>
                        <a:pt x="91" y="17"/>
                      </a:lnTo>
                      <a:lnTo>
                        <a:pt x="92" y="16"/>
                      </a:lnTo>
                      <a:lnTo>
                        <a:pt x="92" y="16"/>
                      </a:lnTo>
                      <a:lnTo>
                        <a:pt x="86" y="7"/>
                      </a:lnTo>
                      <a:lnTo>
                        <a:pt x="85" y="8"/>
                      </a:lnTo>
                      <a:close/>
                      <a:moveTo>
                        <a:pt x="75" y="3"/>
                      </a:moveTo>
                      <a:lnTo>
                        <a:pt x="75" y="3"/>
                      </a:lnTo>
                      <a:lnTo>
                        <a:pt x="78" y="1"/>
                      </a:lnTo>
                      <a:lnTo>
                        <a:pt x="78" y="1"/>
                      </a:lnTo>
                      <a:lnTo>
                        <a:pt x="81" y="3"/>
                      </a:lnTo>
                      <a:lnTo>
                        <a:pt x="81" y="3"/>
                      </a:lnTo>
                      <a:lnTo>
                        <a:pt x="82" y="4"/>
                      </a:lnTo>
                      <a:lnTo>
                        <a:pt x="84" y="3"/>
                      </a:lnTo>
                      <a:lnTo>
                        <a:pt x="84" y="3"/>
                      </a:lnTo>
                      <a:lnTo>
                        <a:pt x="82" y="1"/>
                      </a:lnTo>
                      <a:lnTo>
                        <a:pt x="82" y="1"/>
                      </a:lnTo>
                      <a:lnTo>
                        <a:pt x="81" y="0"/>
                      </a:lnTo>
                      <a:lnTo>
                        <a:pt x="78" y="0"/>
                      </a:lnTo>
                      <a:lnTo>
                        <a:pt x="78" y="0"/>
                      </a:lnTo>
                      <a:lnTo>
                        <a:pt x="73" y="0"/>
                      </a:lnTo>
                      <a:lnTo>
                        <a:pt x="75" y="3"/>
                      </a:lnTo>
                      <a:close/>
                      <a:moveTo>
                        <a:pt x="63" y="11"/>
                      </a:moveTo>
                      <a:lnTo>
                        <a:pt x="63" y="11"/>
                      </a:lnTo>
                      <a:lnTo>
                        <a:pt x="68" y="7"/>
                      </a:lnTo>
                      <a:lnTo>
                        <a:pt x="68" y="7"/>
                      </a:lnTo>
                      <a:lnTo>
                        <a:pt x="70" y="4"/>
                      </a:lnTo>
                      <a:lnTo>
                        <a:pt x="69" y="3"/>
                      </a:lnTo>
                      <a:lnTo>
                        <a:pt x="69" y="3"/>
                      </a:lnTo>
                      <a:lnTo>
                        <a:pt x="66" y="6"/>
                      </a:lnTo>
                      <a:lnTo>
                        <a:pt x="66" y="6"/>
                      </a:lnTo>
                      <a:lnTo>
                        <a:pt x="62" y="10"/>
                      </a:lnTo>
                      <a:lnTo>
                        <a:pt x="63" y="11"/>
                      </a:lnTo>
                      <a:close/>
                      <a:moveTo>
                        <a:pt x="53" y="23"/>
                      </a:moveTo>
                      <a:lnTo>
                        <a:pt x="53" y="21"/>
                      </a:lnTo>
                      <a:lnTo>
                        <a:pt x="53" y="21"/>
                      </a:lnTo>
                      <a:lnTo>
                        <a:pt x="59" y="16"/>
                      </a:lnTo>
                      <a:lnTo>
                        <a:pt x="57" y="14"/>
                      </a:lnTo>
                      <a:lnTo>
                        <a:pt x="57" y="14"/>
                      </a:lnTo>
                      <a:lnTo>
                        <a:pt x="52" y="20"/>
                      </a:lnTo>
                      <a:lnTo>
                        <a:pt x="50" y="21"/>
                      </a:lnTo>
                      <a:lnTo>
                        <a:pt x="53" y="23"/>
                      </a:lnTo>
                      <a:close/>
                      <a:moveTo>
                        <a:pt x="49" y="37"/>
                      </a:moveTo>
                      <a:lnTo>
                        <a:pt x="49" y="37"/>
                      </a:lnTo>
                      <a:lnTo>
                        <a:pt x="50" y="32"/>
                      </a:lnTo>
                      <a:lnTo>
                        <a:pt x="52" y="27"/>
                      </a:lnTo>
                      <a:lnTo>
                        <a:pt x="49" y="26"/>
                      </a:lnTo>
                      <a:lnTo>
                        <a:pt x="49" y="26"/>
                      </a:lnTo>
                      <a:lnTo>
                        <a:pt x="46" y="36"/>
                      </a:lnTo>
                      <a:lnTo>
                        <a:pt x="49" y="37"/>
                      </a:lnTo>
                      <a:close/>
                      <a:moveTo>
                        <a:pt x="33" y="39"/>
                      </a:moveTo>
                      <a:lnTo>
                        <a:pt x="33" y="39"/>
                      </a:lnTo>
                      <a:lnTo>
                        <a:pt x="37" y="40"/>
                      </a:lnTo>
                      <a:lnTo>
                        <a:pt x="43" y="40"/>
                      </a:lnTo>
                      <a:lnTo>
                        <a:pt x="43" y="40"/>
                      </a:lnTo>
                      <a:lnTo>
                        <a:pt x="43" y="39"/>
                      </a:lnTo>
                      <a:lnTo>
                        <a:pt x="43" y="39"/>
                      </a:lnTo>
                      <a:lnTo>
                        <a:pt x="43" y="39"/>
                      </a:lnTo>
                      <a:lnTo>
                        <a:pt x="34" y="36"/>
                      </a:lnTo>
                      <a:lnTo>
                        <a:pt x="33" y="39"/>
                      </a:lnTo>
                      <a:close/>
                      <a:moveTo>
                        <a:pt x="20" y="30"/>
                      </a:move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3" y="33"/>
                      </a:lnTo>
                      <a:lnTo>
                        <a:pt x="23" y="33"/>
                      </a:lnTo>
                      <a:lnTo>
                        <a:pt x="28" y="36"/>
                      </a:lnTo>
                      <a:lnTo>
                        <a:pt x="30" y="33"/>
                      </a:lnTo>
                      <a:lnTo>
                        <a:pt x="30" y="33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1" y="29"/>
                      </a:lnTo>
                      <a:lnTo>
                        <a:pt x="21" y="29"/>
                      </a:lnTo>
                      <a:lnTo>
                        <a:pt x="20" y="30"/>
                      </a:lnTo>
                      <a:close/>
                      <a:moveTo>
                        <a:pt x="11" y="17"/>
                      </a:moveTo>
                      <a:lnTo>
                        <a:pt x="11" y="17"/>
                      </a:lnTo>
                      <a:lnTo>
                        <a:pt x="17" y="26"/>
                      </a:lnTo>
                      <a:lnTo>
                        <a:pt x="18" y="24"/>
                      </a:lnTo>
                      <a:lnTo>
                        <a:pt x="18" y="24"/>
                      </a:lnTo>
                      <a:lnTo>
                        <a:pt x="13" y="16"/>
                      </a:lnTo>
                      <a:lnTo>
                        <a:pt x="11" y="17"/>
                      </a:lnTo>
                      <a:close/>
                      <a:moveTo>
                        <a:pt x="1" y="14"/>
                      </a:moveTo>
                      <a:lnTo>
                        <a:pt x="1" y="14"/>
                      </a:lnTo>
                      <a:lnTo>
                        <a:pt x="4" y="11"/>
                      </a:lnTo>
                      <a:lnTo>
                        <a:pt x="4" y="11"/>
                      </a:lnTo>
                      <a:lnTo>
                        <a:pt x="4" y="11"/>
                      </a:lnTo>
                      <a:lnTo>
                        <a:pt x="7" y="14"/>
                      </a:lnTo>
                      <a:lnTo>
                        <a:pt x="10" y="13"/>
                      </a:lnTo>
                      <a:lnTo>
                        <a:pt x="10" y="13"/>
                      </a:lnTo>
                      <a:lnTo>
                        <a:pt x="7" y="10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1" y="10"/>
                      </a:lnTo>
                      <a:lnTo>
                        <a:pt x="0" y="11"/>
                      </a:lnTo>
                      <a:lnTo>
                        <a:pt x="1" y="1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6" name="Freeform 1726"/>
                <p:cNvSpPr>
                  <a:spLocks noEditPoints="1"/>
                </p:cNvSpPr>
                <p:nvPr/>
              </p:nvSpPr>
              <p:spPr bwMode="auto">
                <a:xfrm>
                  <a:off x="5391106" y="2696872"/>
                  <a:ext cx="204777" cy="143443"/>
                </a:xfrm>
                <a:custGeom>
                  <a:avLst/>
                  <a:gdLst>
                    <a:gd name="T0" fmla="*/ 0 w 207"/>
                    <a:gd name="T1" fmla="*/ 145 h 145"/>
                    <a:gd name="T2" fmla="*/ 24 w 207"/>
                    <a:gd name="T3" fmla="*/ 141 h 145"/>
                    <a:gd name="T4" fmla="*/ 14 w 207"/>
                    <a:gd name="T5" fmla="*/ 142 h 145"/>
                    <a:gd name="T6" fmla="*/ 21 w 207"/>
                    <a:gd name="T7" fmla="*/ 144 h 145"/>
                    <a:gd name="T8" fmla="*/ 40 w 207"/>
                    <a:gd name="T9" fmla="*/ 141 h 145"/>
                    <a:gd name="T10" fmla="*/ 30 w 207"/>
                    <a:gd name="T11" fmla="*/ 144 h 145"/>
                    <a:gd name="T12" fmla="*/ 40 w 207"/>
                    <a:gd name="T13" fmla="*/ 144 h 145"/>
                    <a:gd name="T14" fmla="*/ 55 w 207"/>
                    <a:gd name="T15" fmla="*/ 141 h 145"/>
                    <a:gd name="T16" fmla="*/ 55 w 207"/>
                    <a:gd name="T17" fmla="*/ 144 h 145"/>
                    <a:gd name="T18" fmla="*/ 63 w 207"/>
                    <a:gd name="T19" fmla="*/ 139 h 145"/>
                    <a:gd name="T20" fmla="*/ 61 w 207"/>
                    <a:gd name="T21" fmla="*/ 144 h 145"/>
                    <a:gd name="T22" fmla="*/ 66 w 207"/>
                    <a:gd name="T23" fmla="*/ 135 h 145"/>
                    <a:gd name="T24" fmla="*/ 71 w 207"/>
                    <a:gd name="T25" fmla="*/ 132 h 145"/>
                    <a:gd name="T26" fmla="*/ 87 w 207"/>
                    <a:gd name="T27" fmla="*/ 113 h 145"/>
                    <a:gd name="T28" fmla="*/ 76 w 207"/>
                    <a:gd name="T29" fmla="*/ 118 h 145"/>
                    <a:gd name="T30" fmla="*/ 82 w 207"/>
                    <a:gd name="T31" fmla="*/ 116 h 145"/>
                    <a:gd name="T32" fmla="*/ 95 w 207"/>
                    <a:gd name="T33" fmla="*/ 108 h 145"/>
                    <a:gd name="T34" fmla="*/ 95 w 207"/>
                    <a:gd name="T35" fmla="*/ 110 h 145"/>
                    <a:gd name="T36" fmla="*/ 92 w 207"/>
                    <a:gd name="T37" fmla="*/ 113 h 145"/>
                    <a:gd name="T38" fmla="*/ 97 w 207"/>
                    <a:gd name="T39" fmla="*/ 115 h 145"/>
                    <a:gd name="T40" fmla="*/ 98 w 207"/>
                    <a:gd name="T41" fmla="*/ 110 h 145"/>
                    <a:gd name="T42" fmla="*/ 98 w 207"/>
                    <a:gd name="T43" fmla="*/ 109 h 145"/>
                    <a:gd name="T44" fmla="*/ 95 w 207"/>
                    <a:gd name="T45" fmla="*/ 108 h 145"/>
                    <a:gd name="T46" fmla="*/ 100 w 207"/>
                    <a:gd name="T47" fmla="*/ 103 h 145"/>
                    <a:gd name="T48" fmla="*/ 110 w 207"/>
                    <a:gd name="T49" fmla="*/ 100 h 145"/>
                    <a:gd name="T50" fmla="*/ 123 w 207"/>
                    <a:gd name="T51" fmla="*/ 97 h 145"/>
                    <a:gd name="T52" fmla="*/ 114 w 207"/>
                    <a:gd name="T53" fmla="*/ 100 h 145"/>
                    <a:gd name="T54" fmla="*/ 123 w 207"/>
                    <a:gd name="T55" fmla="*/ 100 h 145"/>
                    <a:gd name="T56" fmla="*/ 130 w 207"/>
                    <a:gd name="T57" fmla="*/ 84 h 145"/>
                    <a:gd name="T58" fmla="*/ 129 w 207"/>
                    <a:gd name="T59" fmla="*/ 95 h 145"/>
                    <a:gd name="T60" fmla="*/ 139 w 207"/>
                    <a:gd name="T61" fmla="*/ 73 h 145"/>
                    <a:gd name="T62" fmla="*/ 134 w 207"/>
                    <a:gd name="T63" fmla="*/ 82 h 145"/>
                    <a:gd name="T64" fmla="*/ 140 w 207"/>
                    <a:gd name="T65" fmla="*/ 74 h 145"/>
                    <a:gd name="T66" fmla="*/ 149 w 207"/>
                    <a:gd name="T67" fmla="*/ 68 h 145"/>
                    <a:gd name="T68" fmla="*/ 146 w 207"/>
                    <a:gd name="T69" fmla="*/ 71 h 145"/>
                    <a:gd name="T70" fmla="*/ 152 w 207"/>
                    <a:gd name="T71" fmla="*/ 66 h 145"/>
                    <a:gd name="T72" fmla="*/ 156 w 207"/>
                    <a:gd name="T73" fmla="*/ 58 h 145"/>
                    <a:gd name="T74" fmla="*/ 158 w 207"/>
                    <a:gd name="T75" fmla="*/ 63 h 145"/>
                    <a:gd name="T76" fmla="*/ 159 w 207"/>
                    <a:gd name="T77" fmla="*/ 58 h 145"/>
                    <a:gd name="T78" fmla="*/ 159 w 207"/>
                    <a:gd name="T79" fmla="*/ 38 h 145"/>
                    <a:gd name="T80" fmla="*/ 155 w 207"/>
                    <a:gd name="T81" fmla="*/ 44 h 145"/>
                    <a:gd name="T82" fmla="*/ 156 w 207"/>
                    <a:gd name="T83" fmla="*/ 47 h 145"/>
                    <a:gd name="T84" fmla="*/ 159 w 207"/>
                    <a:gd name="T85" fmla="*/ 41 h 145"/>
                    <a:gd name="T86" fmla="*/ 159 w 207"/>
                    <a:gd name="T87" fmla="*/ 25 h 145"/>
                    <a:gd name="T88" fmla="*/ 163 w 207"/>
                    <a:gd name="T89" fmla="*/ 35 h 145"/>
                    <a:gd name="T90" fmla="*/ 163 w 207"/>
                    <a:gd name="T91" fmla="*/ 29 h 145"/>
                    <a:gd name="T92" fmla="*/ 163 w 207"/>
                    <a:gd name="T93" fmla="*/ 11 h 145"/>
                    <a:gd name="T94" fmla="*/ 156 w 207"/>
                    <a:gd name="T95" fmla="*/ 18 h 145"/>
                    <a:gd name="T96" fmla="*/ 158 w 207"/>
                    <a:gd name="T97" fmla="*/ 21 h 145"/>
                    <a:gd name="T98" fmla="*/ 159 w 207"/>
                    <a:gd name="T99" fmla="*/ 18 h 145"/>
                    <a:gd name="T100" fmla="*/ 160 w 207"/>
                    <a:gd name="T101" fmla="*/ 16 h 145"/>
                    <a:gd name="T102" fmla="*/ 175 w 207"/>
                    <a:gd name="T103" fmla="*/ 2 h 145"/>
                    <a:gd name="T104" fmla="*/ 171 w 207"/>
                    <a:gd name="T105" fmla="*/ 5 h 145"/>
                    <a:gd name="T106" fmla="*/ 174 w 207"/>
                    <a:gd name="T107" fmla="*/ 6 h 145"/>
                    <a:gd name="T108" fmla="*/ 191 w 207"/>
                    <a:gd name="T109" fmla="*/ 0 h 145"/>
                    <a:gd name="T110" fmla="*/ 181 w 207"/>
                    <a:gd name="T111" fmla="*/ 3 h 145"/>
                    <a:gd name="T112" fmla="*/ 205 w 207"/>
                    <a:gd name="T113" fmla="*/ 0 h 145"/>
                    <a:gd name="T114" fmla="*/ 207 w 207"/>
                    <a:gd name="T115" fmla="*/ 2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07" h="145">
                      <a:moveTo>
                        <a:pt x="10" y="142"/>
                      </a:moveTo>
                      <a:lnTo>
                        <a:pt x="10" y="142"/>
                      </a:lnTo>
                      <a:lnTo>
                        <a:pt x="0" y="144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10" y="145"/>
                      </a:lnTo>
                      <a:lnTo>
                        <a:pt x="10" y="142"/>
                      </a:lnTo>
                      <a:close/>
                      <a:moveTo>
                        <a:pt x="24" y="141"/>
                      </a:moveTo>
                      <a:lnTo>
                        <a:pt x="24" y="141"/>
                      </a:lnTo>
                      <a:lnTo>
                        <a:pt x="20" y="141"/>
                      </a:lnTo>
                      <a:lnTo>
                        <a:pt x="20" y="141"/>
                      </a:lnTo>
                      <a:lnTo>
                        <a:pt x="14" y="142"/>
                      </a:lnTo>
                      <a:lnTo>
                        <a:pt x="14" y="145"/>
                      </a:lnTo>
                      <a:lnTo>
                        <a:pt x="14" y="145"/>
                      </a:lnTo>
                      <a:lnTo>
                        <a:pt x="21" y="144"/>
                      </a:lnTo>
                      <a:lnTo>
                        <a:pt x="21" y="144"/>
                      </a:lnTo>
                      <a:lnTo>
                        <a:pt x="24" y="144"/>
                      </a:lnTo>
                      <a:lnTo>
                        <a:pt x="24" y="141"/>
                      </a:lnTo>
                      <a:close/>
                      <a:moveTo>
                        <a:pt x="40" y="141"/>
                      </a:moveTo>
                      <a:lnTo>
                        <a:pt x="40" y="141"/>
                      </a:lnTo>
                      <a:lnTo>
                        <a:pt x="33" y="141"/>
                      </a:lnTo>
                      <a:lnTo>
                        <a:pt x="33" y="141"/>
                      </a:lnTo>
                      <a:lnTo>
                        <a:pt x="30" y="141"/>
                      </a:lnTo>
                      <a:lnTo>
                        <a:pt x="30" y="144"/>
                      </a:lnTo>
                      <a:lnTo>
                        <a:pt x="30" y="144"/>
                      </a:lnTo>
                      <a:lnTo>
                        <a:pt x="33" y="144"/>
                      </a:lnTo>
                      <a:lnTo>
                        <a:pt x="33" y="144"/>
                      </a:lnTo>
                      <a:lnTo>
                        <a:pt x="40" y="144"/>
                      </a:lnTo>
                      <a:lnTo>
                        <a:pt x="40" y="141"/>
                      </a:lnTo>
                      <a:lnTo>
                        <a:pt x="40" y="141"/>
                      </a:lnTo>
                      <a:close/>
                      <a:moveTo>
                        <a:pt x="55" y="141"/>
                      </a:moveTo>
                      <a:lnTo>
                        <a:pt x="55" y="141"/>
                      </a:lnTo>
                      <a:lnTo>
                        <a:pt x="45" y="141"/>
                      </a:lnTo>
                      <a:lnTo>
                        <a:pt x="45" y="144"/>
                      </a:lnTo>
                      <a:lnTo>
                        <a:pt x="45" y="144"/>
                      </a:lnTo>
                      <a:lnTo>
                        <a:pt x="55" y="144"/>
                      </a:lnTo>
                      <a:lnTo>
                        <a:pt x="55" y="141"/>
                      </a:lnTo>
                      <a:close/>
                      <a:moveTo>
                        <a:pt x="66" y="135"/>
                      </a:moveTo>
                      <a:lnTo>
                        <a:pt x="66" y="135"/>
                      </a:lnTo>
                      <a:lnTo>
                        <a:pt x="63" y="139"/>
                      </a:lnTo>
                      <a:lnTo>
                        <a:pt x="63" y="139"/>
                      </a:lnTo>
                      <a:lnTo>
                        <a:pt x="61" y="141"/>
                      </a:lnTo>
                      <a:lnTo>
                        <a:pt x="61" y="144"/>
                      </a:lnTo>
                      <a:lnTo>
                        <a:pt x="61" y="144"/>
                      </a:lnTo>
                      <a:lnTo>
                        <a:pt x="65" y="141"/>
                      </a:lnTo>
                      <a:lnTo>
                        <a:pt x="65" y="141"/>
                      </a:lnTo>
                      <a:lnTo>
                        <a:pt x="68" y="137"/>
                      </a:lnTo>
                      <a:lnTo>
                        <a:pt x="66" y="135"/>
                      </a:lnTo>
                      <a:close/>
                      <a:moveTo>
                        <a:pt x="74" y="122"/>
                      </a:moveTo>
                      <a:lnTo>
                        <a:pt x="74" y="122"/>
                      </a:lnTo>
                      <a:lnTo>
                        <a:pt x="69" y="131"/>
                      </a:lnTo>
                      <a:lnTo>
                        <a:pt x="71" y="132"/>
                      </a:lnTo>
                      <a:lnTo>
                        <a:pt x="71" y="132"/>
                      </a:lnTo>
                      <a:lnTo>
                        <a:pt x="76" y="124"/>
                      </a:lnTo>
                      <a:lnTo>
                        <a:pt x="74" y="122"/>
                      </a:lnTo>
                      <a:close/>
                      <a:moveTo>
                        <a:pt x="87" y="113"/>
                      </a:moveTo>
                      <a:lnTo>
                        <a:pt x="87" y="113"/>
                      </a:lnTo>
                      <a:lnTo>
                        <a:pt x="81" y="115"/>
                      </a:lnTo>
                      <a:lnTo>
                        <a:pt x="81" y="115"/>
                      </a:lnTo>
                      <a:lnTo>
                        <a:pt x="76" y="118"/>
                      </a:lnTo>
                      <a:lnTo>
                        <a:pt x="79" y="119"/>
                      </a:lnTo>
                      <a:lnTo>
                        <a:pt x="79" y="119"/>
                      </a:lnTo>
                      <a:lnTo>
                        <a:pt x="82" y="116"/>
                      </a:lnTo>
                      <a:lnTo>
                        <a:pt x="82" y="116"/>
                      </a:lnTo>
                      <a:lnTo>
                        <a:pt x="87" y="116"/>
                      </a:lnTo>
                      <a:lnTo>
                        <a:pt x="87" y="113"/>
                      </a:lnTo>
                      <a:close/>
                      <a:moveTo>
                        <a:pt x="95" y="108"/>
                      </a:moveTo>
                      <a:lnTo>
                        <a:pt x="95" y="108"/>
                      </a:lnTo>
                      <a:lnTo>
                        <a:pt x="95" y="109"/>
                      </a:lnTo>
                      <a:lnTo>
                        <a:pt x="95" y="109"/>
                      </a:lnTo>
                      <a:lnTo>
                        <a:pt x="95" y="110"/>
                      </a:lnTo>
                      <a:lnTo>
                        <a:pt x="95" y="110"/>
                      </a:lnTo>
                      <a:lnTo>
                        <a:pt x="95" y="112"/>
                      </a:lnTo>
                      <a:lnTo>
                        <a:pt x="95" y="112"/>
                      </a:lnTo>
                      <a:lnTo>
                        <a:pt x="95" y="112"/>
                      </a:lnTo>
                      <a:lnTo>
                        <a:pt x="92" y="113"/>
                      </a:lnTo>
                      <a:lnTo>
                        <a:pt x="92" y="116"/>
                      </a:lnTo>
                      <a:lnTo>
                        <a:pt x="92" y="116"/>
                      </a:lnTo>
                      <a:lnTo>
                        <a:pt x="97" y="115"/>
                      </a:lnTo>
                      <a:lnTo>
                        <a:pt x="97" y="115"/>
                      </a:lnTo>
                      <a:lnTo>
                        <a:pt x="98" y="112"/>
                      </a:lnTo>
                      <a:lnTo>
                        <a:pt x="98" y="112"/>
                      </a:lnTo>
                      <a:lnTo>
                        <a:pt x="98" y="110"/>
                      </a:lnTo>
                      <a:lnTo>
                        <a:pt x="98" y="110"/>
                      </a:lnTo>
                      <a:lnTo>
                        <a:pt x="98" y="109"/>
                      </a:lnTo>
                      <a:lnTo>
                        <a:pt x="97" y="109"/>
                      </a:lnTo>
                      <a:lnTo>
                        <a:pt x="98" y="109"/>
                      </a:lnTo>
                      <a:lnTo>
                        <a:pt x="98" y="109"/>
                      </a:lnTo>
                      <a:lnTo>
                        <a:pt x="97" y="109"/>
                      </a:lnTo>
                      <a:lnTo>
                        <a:pt x="98" y="109"/>
                      </a:lnTo>
                      <a:lnTo>
                        <a:pt x="98" y="109"/>
                      </a:lnTo>
                      <a:lnTo>
                        <a:pt x="95" y="108"/>
                      </a:lnTo>
                      <a:close/>
                      <a:moveTo>
                        <a:pt x="108" y="99"/>
                      </a:moveTo>
                      <a:lnTo>
                        <a:pt x="108" y="99"/>
                      </a:lnTo>
                      <a:lnTo>
                        <a:pt x="104" y="100"/>
                      </a:lnTo>
                      <a:lnTo>
                        <a:pt x="100" y="103"/>
                      </a:lnTo>
                      <a:lnTo>
                        <a:pt x="101" y="105"/>
                      </a:lnTo>
                      <a:lnTo>
                        <a:pt x="101" y="105"/>
                      </a:lnTo>
                      <a:lnTo>
                        <a:pt x="104" y="103"/>
                      </a:lnTo>
                      <a:lnTo>
                        <a:pt x="110" y="100"/>
                      </a:lnTo>
                      <a:lnTo>
                        <a:pt x="108" y="99"/>
                      </a:lnTo>
                      <a:close/>
                      <a:moveTo>
                        <a:pt x="123" y="97"/>
                      </a:moveTo>
                      <a:lnTo>
                        <a:pt x="123" y="97"/>
                      </a:lnTo>
                      <a:lnTo>
                        <a:pt x="123" y="97"/>
                      </a:lnTo>
                      <a:lnTo>
                        <a:pt x="116" y="97"/>
                      </a:lnTo>
                      <a:lnTo>
                        <a:pt x="116" y="97"/>
                      </a:lnTo>
                      <a:lnTo>
                        <a:pt x="114" y="97"/>
                      </a:lnTo>
                      <a:lnTo>
                        <a:pt x="114" y="100"/>
                      </a:lnTo>
                      <a:lnTo>
                        <a:pt x="114" y="100"/>
                      </a:lnTo>
                      <a:lnTo>
                        <a:pt x="116" y="100"/>
                      </a:lnTo>
                      <a:lnTo>
                        <a:pt x="116" y="100"/>
                      </a:lnTo>
                      <a:lnTo>
                        <a:pt x="123" y="100"/>
                      </a:lnTo>
                      <a:lnTo>
                        <a:pt x="123" y="100"/>
                      </a:lnTo>
                      <a:lnTo>
                        <a:pt x="124" y="100"/>
                      </a:lnTo>
                      <a:lnTo>
                        <a:pt x="123" y="97"/>
                      </a:lnTo>
                      <a:close/>
                      <a:moveTo>
                        <a:pt x="130" y="84"/>
                      </a:moveTo>
                      <a:lnTo>
                        <a:pt x="130" y="84"/>
                      </a:lnTo>
                      <a:lnTo>
                        <a:pt x="126" y="95"/>
                      </a:lnTo>
                      <a:lnTo>
                        <a:pt x="129" y="95"/>
                      </a:lnTo>
                      <a:lnTo>
                        <a:pt x="129" y="95"/>
                      </a:lnTo>
                      <a:lnTo>
                        <a:pt x="132" y="86"/>
                      </a:lnTo>
                      <a:lnTo>
                        <a:pt x="130" y="84"/>
                      </a:lnTo>
                      <a:close/>
                      <a:moveTo>
                        <a:pt x="139" y="73"/>
                      </a:moveTo>
                      <a:lnTo>
                        <a:pt x="139" y="73"/>
                      </a:lnTo>
                      <a:lnTo>
                        <a:pt x="136" y="76"/>
                      </a:lnTo>
                      <a:lnTo>
                        <a:pt x="133" y="80"/>
                      </a:lnTo>
                      <a:lnTo>
                        <a:pt x="133" y="80"/>
                      </a:lnTo>
                      <a:lnTo>
                        <a:pt x="134" y="82"/>
                      </a:lnTo>
                      <a:lnTo>
                        <a:pt x="134" y="82"/>
                      </a:lnTo>
                      <a:lnTo>
                        <a:pt x="134" y="82"/>
                      </a:lnTo>
                      <a:lnTo>
                        <a:pt x="137" y="77"/>
                      </a:lnTo>
                      <a:lnTo>
                        <a:pt x="140" y="74"/>
                      </a:lnTo>
                      <a:lnTo>
                        <a:pt x="139" y="73"/>
                      </a:lnTo>
                      <a:close/>
                      <a:moveTo>
                        <a:pt x="152" y="66"/>
                      </a:moveTo>
                      <a:lnTo>
                        <a:pt x="152" y="66"/>
                      </a:lnTo>
                      <a:lnTo>
                        <a:pt x="149" y="68"/>
                      </a:lnTo>
                      <a:lnTo>
                        <a:pt x="146" y="70"/>
                      </a:lnTo>
                      <a:lnTo>
                        <a:pt x="145" y="70"/>
                      </a:lnTo>
                      <a:lnTo>
                        <a:pt x="145" y="73"/>
                      </a:lnTo>
                      <a:lnTo>
                        <a:pt x="146" y="71"/>
                      </a:lnTo>
                      <a:lnTo>
                        <a:pt x="146" y="71"/>
                      </a:lnTo>
                      <a:lnTo>
                        <a:pt x="150" y="70"/>
                      </a:lnTo>
                      <a:lnTo>
                        <a:pt x="155" y="67"/>
                      </a:lnTo>
                      <a:lnTo>
                        <a:pt x="152" y="66"/>
                      </a:lnTo>
                      <a:close/>
                      <a:moveTo>
                        <a:pt x="155" y="53"/>
                      </a:moveTo>
                      <a:lnTo>
                        <a:pt x="155" y="53"/>
                      </a:lnTo>
                      <a:lnTo>
                        <a:pt x="156" y="58"/>
                      </a:lnTo>
                      <a:lnTo>
                        <a:pt x="156" y="58"/>
                      </a:lnTo>
                      <a:lnTo>
                        <a:pt x="156" y="60"/>
                      </a:lnTo>
                      <a:lnTo>
                        <a:pt x="156" y="60"/>
                      </a:lnTo>
                      <a:lnTo>
                        <a:pt x="155" y="61"/>
                      </a:lnTo>
                      <a:lnTo>
                        <a:pt x="158" y="63"/>
                      </a:lnTo>
                      <a:lnTo>
                        <a:pt x="158" y="63"/>
                      </a:lnTo>
                      <a:lnTo>
                        <a:pt x="158" y="61"/>
                      </a:lnTo>
                      <a:lnTo>
                        <a:pt x="158" y="61"/>
                      </a:lnTo>
                      <a:lnTo>
                        <a:pt x="159" y="58"/>
                      </a:lnTo>
                      <a:lnTo>
                        <a:pt x="159" y="58"/>
                      </a:lnTo>
                      <a:lnTo>
                        <a:pt x="158" y="53"/>
                      </a:lnTo>
                      <a:lnTo>
                        <a:pt x="155" y="53"/>
                      </a:lnTo>
                      <a:close/>
                      <a:moveTo>
                        <a:pt x="159" y="38"/>
                      </a:moveTo>
                      <a:lnTo>
                        <a:pt x="159" y="38"/>
                      </a:lnTo>
                      <a:lnTo>
                        <a:pt x="156" y="40"/>
                      </a:lnTo>
                      <a:lnTo>
                        <a:pt x="155" y="44"/>
                      </a:lnTo>
                      <a:lnTo>
                        <a:pt x="155" y="44"/>
                      </a:lnTo>
                      <a:lnTo>
                        <a:pt x="155" y="47"/>
                      </a:lnTo>
                      <a:lnTo>
                        <a:pt x="155" y="47"/>
                      </a:lnTo>
                      <a:lnTo>
                        <a:pt x="156" y="47"/>
                      </a:lnTo>
                      <a:lnTo>
                        <a:pt x="156" y="47"/>
                      </a:lnTo>
                      <a:lnTo>
                        <a:pt x="156" y="47"/>
                      </a:lnTo>
                      <a:lnTo>
                        <a:pt x="158" y="44"/>
                      </a:lnTo>
                      <a:lnTo>
                        <a:pt x="158" y="44"/>
                      </a:lnTo>
                      <a:lnTo>
                        <a:pt x="159" y="41"/>
                      </a:lnTo>
                      <a:lnTo>
                        <a:pt x="160" y="40"/>
                      </a:lnTo>
                      <a:lnTo>
                        <a:pt x="159" y="38"/>
                      </a:lnTo>
                      <a:close/>
                      <a:moveTo>
                        <a:pt x="159" y="25"/>
                      </a:moveTo>
                      <a:lnTo>
                        <a:pt x="159" y="25"/>
                      </a:lnTo>
                      <a:lnTo>
                        <a:pt x="160" y="34"/>
                      </a:lnTo>
                      <a:lnTo>
                        <a:pt x="160" y="34"/>
                      </a:lnTo>
                      <a:lnTo>
                        <a:pt x="160" y="34"/>
                      </a:lnTo>
                      <a:lnTo>
                        <a:pt x="163" y="35"/>
                      </a:lnTo>
                      <a:lnTo>
                        <a:pt x="163" y="34"/>
                      </a:lnTo>
                      <a:lnTo>
                        <a:pt x="163" y="34"/>
                      </a:lnTo>
                      <a:lnTo>
                        <a:pt x="163" y="34"/>
                      </a:lnTo>
                      <a:lnTo>
                        <a:pt x="163" y="29"/>
                      </a:lnTo>
                      <a:lnTo>
                        <a:pt x="162" y="24"/>
                      </a:lnTo>
                      <a:lnTo>
                        <a:pt x="159" y="25"/>
                      </a:lnTo>
                      <a:close/>
                      <a:moveTo>
                        <a:pt x="163" y="11"/>
                      </a:moveTo>
                      <a:lnTo>
                        <a:pt x="163" y="11"/>
                      </a:lnTo>
                      <a:lnTo>
                        <a:pt x="159" y="13"/>
                      </a:lnTo>
                      <a:lnTo>
                        <a:pt x="159" y="13"/>
                      </a:lnTo>
                      <a:lnTo>
                        <a:pt x="158" y="15"/>
                      </a:lnTo>
                      <a:lnTo>
                        <a:pt x="156" y="18"/>
                      </a:lnTo>
                      <a:lnTo>
                        <a:pt x="158" y="18"/>
                      </a:lnTo>
                      <a:lnTo>
                        <a:pt x="158" y="18"/>
                      </a:lnTo>
                      <a:lnTo>
                        <a:pt x="158" y="18"/>
                      </a:lnTo>
                      <a:lnTo>
                        <a:pt x="158" y="21"/>
                      </a:lnTo>
                      <a:lnTo>
                        <a:pt x="160" y="19"/>
                      </a:lnTo>
                      <a:lnTo>
                        <a:pt x="160" y="19"/>
                      </a:lnTo>
                      <a:lnTo>
                        <a:pt x="159" y="18"/>
                      </a:lnTo>
                      <a:lnTo>
                        <a:pt x="159" y="18"/>
                      </a:lnTo>
                      <a:lnTo>
                        <a:pt x="159" y="18"/>
                      </a:lnTo>
                      <a:lnTo>
                        <a:pt x="159" y="18"/>
                      </a:lnTo>
                      <a:lnTo>
                        <a:pt x="160" y="16"/>
                      </a:lnTo>
                      <a:lnTo>
                        <a:pt x="160" y="16"/>
                      </a:lnTo>
                      <a:lnTo>
                        <a:pt x="165" y="13"/>
                      </a:lnTo>
                      <a:lnTo>
                        <a:pt x="163" y="11"/>
                      </a:lnTo>
                      <a:lnTo>
                        <a:pt x="163" y="11"/>
                      </a:lnTo>
                      <a:close/>
                      <a:moveTo>
                        <a:pt x="175" y="2"/>
                      </a:moveTo>
                      <a:lnTo>
                        <a:pt x="175" y="2"/>
                      </a:lnTo>
                      <a:lnTo>
                        <a:pt x="174" y="3"/>
                      </a:lnTo>
                      <a:lnTo>
                        <a:pt x="171" y="5"/>
                      </a:lnTo>
                      <a:lnTo>
                        <a:pt x="171" y="5"/>
                      </a:lnTo>
                      <a:lnTo>
                        <a:pt x="168" y="9"/>
                      </a:lnTo>
                      <a:lnTo>
                        <a:pt x="169" y="11"/>
                      </a:lnTo>
                      <a:lnTo>
                        <a:pt x="169" y="11"/>
                      </a:lnTo>
                      <a:lnTo>
                        <a:pt x="174" y="6"/>
                      </a:lnTo>
                      <a:lnTo>
                        <a:pt x="174" y="6"/>
                      </a:lnTo>
                      <a:lnTo>
                        <a:pt x="176" y="5"/>
                      </a:lnTo>
                      <a:lnTo>
                        <a:pt x="175" y="2"/>
                      </a:lnTo>
                      <a:close/>
                      <a:moveTo>
                        <a:pt x="191" y="0"/>
                      </a:moveTo>
                      <a:lnTo>
                        <a:pt x="191" y="0"/>
                      </a:lnTo>
                      <a:lnTo>
                        <a:pt x="181" y="2"/>
                      </a:lnTo>
                      <a:lnTo>
                        <a:pt x="181" y="3"/>
                      </a:lnTo>
                      <a:lnTo>
                        <a:pt x="181" y="3"/>
                      </a:lnTo>
                      <a:lnTo>
                        <a:pt x="191" y="3"/>
                      </a:lnTo>
                      <a:lnTo>
                        <a:pt x="191" y="0"/>
                      </a:lnTo>
                      <a:close/>
                      <a:moveTo>
                        <a:pt x="205" y="0"/>
                      </a:moveTo>
                      <a:lnTo>
                        <a:pt x="205" y="0"/>
                      </a:lnTo>
                      <a:lnTo>
                        <a:pt x="195" y="0"/>
                      </a:lnTo>
                      <a:lnTo>
                        <a:pt x="197" y="3"/>
                      </a:lnTo>
                      <a:lnTo>
                        <a:pt x="197" y="3"/>
                      </a:lnTo>
                      <a:lnTo>
                        <a:pt x="207" y="2"/>
                      </a:lnTo>
                      <a:lnTo>
                        <a:pt x="205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7" name="Freeform 1727"/>
                <p:cNvSpPr>
                  <a:spLocks noEditPoints="1"/>
                </p:cNvSpPr>
                <p:nvPr/>
              </p:nvSpPr>
              <p:spPr bwMode="auto">
                <a:xfrm>
                  <a:off x="5465301" y="2667194"/>
                  <a:ext cx="131572" cy="29678"/>
                </a:xfrm>
                <a:custGeom>
                  <a:avLst/>
                  <a:gdLst>
                    <a:gd name="T0" fmla="*/ 3 w 133"/>
                    <a:gd name="T1" fmla="*/ 19 h 30"/>
                    <a:gd name="T2" fmla="*/ 0 w 133"/>
                    <a:gd name="T3" fmla="*/ 22 h 30"/>
                    <a:gd name="T4" fmla="*/ 3 w 133"/>
                    <a:gd name="T5" fmla="*/ 22 h 30"/>
                    <a:gd name="T6" fmla="*/ 17 w 133"/>
                    <a:gd name="T7" fmla="*/ 17 h 30"/>
                    <a:gd name="T8" fmla="*/ 16 w 133"/>
                    <a:gd name="T9" fmla="*/ 17 h 30"/>
                    <a:gd name="T10" fmla="*/ 7 w 133"/>
                    <a:gd name="T11" fmla="*/ 22 h 30"/>
                    <a:gd name="T12" fmla="*/ 16 w 133"/>
                    <a:gd name="T13" fmla="*/ 20 h 30"/>
                    <a:gd name="T14" fmla="*/ 17 w 133"/>
                    <a:gd name="T15" fmla="*/ 17 h 30"/>
                    <a:gd name="T16" fmla="*/ 30 w 133"/>
                    <a:gd name="T17" fmla="*/ 23 h 30"/>
                    <a:gd name="T18" fmla="*/ 26 w 133"/>
                    <a:gd name="T19" fmla="*/ 22 h 30"/>
                    <a:gd name="T20" fmla="*/ 22 w 133"/>
                    <a:gd name="T21" fmla="*/ 22 h 30"/>
                    <a:gd name="T22" fmla="*/ 26 w 133"/>
                    <a:gd name="T23" fmla="*/ 25 h 30"/>
                    <a:gd name="T24" fmla="*/ 32 w 133"/>
                    <a:gd name="T25" fmla="*/ 26 h 30"/>
                    <a:gd name="T26" fmla="*/ 45 w 133"/>
                    <a:gd name="T27" fmla="*/ 20 h 30"/>
                    <a:gd name="T28" fmla="*/ 42 w 133"/>
                    <a:gd name="T29" fmla="*/ 20 h 30"/>
                    <a:gd name="T30" fmla="*/ 38 w 133"/>
                    <a:gd name="T31" fmla="*/ 22 h 30"/>
                    <a:gd name="T32" fmla="*/ 38 w 133"/>
                    <a:gd name="T33" fmla="*/ 26 h 30"/>
                    <a:gd name="T34" fmla="*/ 39 w 133"/>
                    <a:gd name="T35" fmla="*/ 25 h 30"/>
                    <a:gd name="T36" fmla="*/ 42 w 133"/>
                    <a:gd name="T37" fmla="*/ 23 h 30"/>
                    <a:gd name="T38" fmla="*/ 45 w 133"/>
                    <a:gd name="T39" fmla="*/ 20 h 30"/>
                    <a:gd name="T40" fmla="*/ 59 w 133"/>
                    <a:gd name="T41" fmla="*/ 19 h 30"/>
                    <a:gd name="T42" fmla="*/ 51 w 133"/>
                    <a:gd name="T43" fmla="*/ 19 h 30"/>
                    <a:gd name="T44" fmla="*/ 51 w 133"/>
                    <a:gd name="T45" fmla="*/ 22 h 30"/>
                    <a:gd name="T46" fmla="*/ 61 w 133"/>
                    <a:gd name="T47" fmla="*/ 20 h 30"/>
                    <a:gd name="T48" fmla="*/ 68 w 133"/>
                    <a:gd name="T49" fmla="*/ 6 h 30"/>
                    <a:gd name="T50" fmla="*/ 64 w 133"/>
                    <a:gd name="T51" fmla="*/ 9 h 30"/>
                    <a:gd name="T52" fmla="*/ 62 w 133"/>
                    <a:gd name="T53" fmla="*/ 14 h 30"/>
                    <a:gd name="T54" fmla="*/ 65 w 133"/>
                    <a:gd name="T55" fmla="*/ 16 h 30"/>
                    <a:gd name="T56" fmla="*/ 67 w 133"/>
                    <a:gd name="T57" fmla="*/ 10 h 30"/>
                    <a:gd name="T58" fmla="*/ 68 w 133"/>
                    <a:gd name="T59" fmla="*/ 6 h 30"/>
                    <a:gd name="T60" fmla="*/ 83 w 133"/>
                    <a:gd name="T61" fmla="*/ 0 h 30"/>
                    <a:gd name="T62" fmla="*/ 78 w 133"/>
                    <a:gd name="T63" fmla="*/ 1 h 30"/>
                    <a:gd name="T64" fmla="*/ 74 w 133"/>
                    <a:gd name="T65" fmla="*/ 6 h 30"/>
                    <a:gd name="T66" fmla="*/ 78 w 133"/>
                    <a:gd name="T67" fmla="*/ 4 h 30"/>
                    <a:gd name="T68" fmla="*/ 83 w 133"/>
                    <a:gd name="T69" fmla="*/ 3 h 30"/>
                    <a:gd name="T70" fmla="*/ 87 w 133"/>
                    <a:gd name="T71" fmla="*/ 16 h 30"/>
                    <a:gd name="T72" fmla="*/ 87 w 133"/>
                    <a:gd name="T73" fmla="*/ 12 h 30"/>
                    <a:gd name="T74" fmla="*/ 87 w 133"/>
                    <a:gd name="T75" fmla="*/ 6 h 30"/>
                    <a:gd name="T76" fmla="*/ 84 w 133"/>
                    <a:gd name="T77" fmla="*/ 6 h 30"/>
                    <a:gd name="T78" fmla="*/ 84 w 133"/>
                    <a:gd name="T79" fmla="*/ 12 h 30"/>
                    <a:gd name="T80" fmla="*/ 87 w 133"/>
                    <a:gd name="T81" fmla="*/ 16 h 30"/>
                    <a:gd name="T82" fmla="*/ 88 w 133"/>
                    <a:gd name="T83" fmla="*/ 28 h 30"/>
                    <a:gd name="T84" fmla="*/ 87 w 133"/>
                    <a:gd name="T85" fmla="*/ 28 h 30"/>
                    <a:gd name="T86" fmla="*/ 85 w 133"/>
                    <a:gd name="T87" fmla="*/ 26 h 30"/>
                    <a:gd name="T88" fmla="*/ 84 w 133"/>
                    <a:gd name="T89" fmla="*/ 20 h 30"/>
                    <a:gd name="T90" fmla="*/ 84 w 133"/>
                    <a:gd name="T91" fmla="*/ 26 h 30"/>
                    <a:gd name="T92" fmla="*/ 85 w 133"/>
                    <a:gd name="T93" fmla="*/ 29 h 30"/>
                    <a:gd name="T94" fmla="*/ 88 w 133"/>
                    <a:gd name="T95" fmla="*/ 30 h 30"/>
                    <a:gd name="T96" fmla="*/ 103 w 133"/>
                    <a:gd name="T97" fmla="*/ 26 h 30"/>
                    <a:gd name="T98" fmla="*/ 97 w 133"/>
                    <a:gd name="T99" fmla="*/ 28 h 30"/>
                    <a:gd name="T100" fmla="*/ 93 w 133"/>
                    <a:gd name="T101" fmla="*/ 28 h 30"/>
                    <a:gd name="T102" fmla="*/ 93 w 133"/>
                    <a:gd name="T103" fmla="*/ 30 h 30"/>
                    <a:gd name="T104" fmla="*/ 97 w 133"/>
                    <a:gd name="T105" fmla="*/ 29 h 30"/>
                    <a:gd name="T106" fmla="*/ 103 w 133"/>
                    <a:gd name="T107" fmla="*/ 26 h 30"/>
                    <a:gd name="T108" fmla="*/ 117 w 133"/>
                    <a:gd name="T109" fmla="*/ 23 h 30"/>
                    <a:gd name="T110" fmla="*/ 116 w 133"/>
                    <a:gd name="T111" fmla="*/ 23 h 30"/>
                    <a:gd name="T112" fmla="*/ 109 w 133"/>
                    <a:gd name="T113" fmla="*/ 28 h 30"/>
                    <a:gd name="T114" fmla="*/ 116 w 133"/>
                    <a:gd name="T115" fmla="*/ 26 h 30"/>
                    <a:gd name="T116" fmla="*/ 117 w 133"/>
                    <a:gd name="T117" fmla="*/ 25 h 30"/>
                    <a:gd name="T118" fmla="*/ 133 w 133"/>
                    <a:gd name="T119" fmla="*/ 22 h 30"/>
                    <a:gd name="T120" fmla="*/ 123 w 133"/>
                    <a:gd name="T121" fmla="*/ 23 h 30"/>
                    <a:gd name="T122" fmla="*/ 123 w 133"/>
                    <a:gd name="T123" fmla="*/ 25 h 30"/>
                    <a:gd name="T124" fmla="*/ 133 w 133"/>
                    <a:gd name="T125" fmla="*/ 22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33" h="30">
                      <a:moveTo>
                        <a:pt x="3" y="19"/>
                      </a:moveTo>
                      <a:lnTo>
                        <a:pt x="3" y="19"/>
                      </a:lnTo>
                      <a:lnTo>
                        <a:pt x="0" y="19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3" y="22"/>
                      </a:lnTo>
                      <a:lnTo>
                        <a:pt x="3" y="19"/>
                      </a:lnTo>
                      <a:close/>
                      <a:moveTo>
                        <a:pt x="17" y="17"/>
                      </a:moveTo>
                      <a:lnTo>
                        <a:pt x="16" y="17"/>
                      </a:lnTo>
                      <a:lnTo>
                        <a:pt x="16" y="17"/>
                      </a:lnTo>
                      <a:lnTo>
                        <a:pt x="7" y="19"/>
                      </a:lnTo>
                      <a:lnTo>
                        <a:pt x="7" y="22"/>
                      </a:lnTo>
                      <a:lnTo>
                        <a:pt x="7" y="22"/>
                      </a:lnTo>
                      <a:lnTo>
                        <a:pt x="16" y="20"/>
                      </a:lnTo>
                      <a:lnTo>
                        <a:pt x="17" y="20"/>
                      </a:lnTo>
                      <a:lnTo>
                        <a:pt x="17" y="17"/>
                      </a:lnTo>
                      <a:close/>
                      <a:moveTo>
                        <a:pt x="32" y="23"/>
                      </a:moveTo>
                      <a:lnTo>
                        <a:pt x="30" y="23"/>
                      </a:lnTo>
                      <a:lnTo>
                        <a:pt x="30" y="23"/>
                      </a:lnTo>
                      <a:lnTo>
                        <a:pt x="26" y="22"/>
                      </a:lnTo>
                      <a:lnTo>
                        <a:pt x="23" y="20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6" y="25"/>
                      </a:lnTo>
                      <a:lnTo>
                        <a:pt x="30" y="26"/>
                      </a:lnTo>
                      <a:lnTo>
                        <a:pt x="32" y="26"/>
                      </a:lnTo>
                      <a:lnTo>
                        <a:pt x="32" y="23"/>
                      </a:lnTo>
                      <a:close/>
                      <a:moveTo>
                        <a:pt x="45" y="20"/>
                      </a:moveTo>
                      <a:lnTo>
                        <a:pt x="45" y="20"/>
                      </a:lnTo>
                      <a:lnTo>
                        <a:pt x="42" y="20"/>
                      </a:lnTo>
                      <a:lnTo>
                        <a:pt x="42" y="20"/>
                      </a:lnTo>
                      <a:lnTo>
                        <a:pt x="38" y="22"/>
                      </a:lnTo>
                      <a:lnTo>
                        <a:pt x="36" y="23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9" y="25"/>
                      </a:lnTo>
                      <a:lnTo>
                        <a:pt x="42" y="23"/>
                      </a:lnTo>
                      <a:lnTo>
                        <a:pt x="42" y="23"/>
                      </a:lnTo>
                      <a:lnTo>
                        <a:pt x="46" y="22"/>
                      </a:lnTo>
                      <a:lnTo>
                        <a:pt x="45" y="20"/>
                      </a:lnTo>
                      <a:close/>
                      <a:moveTo>
                        <a:pt x="61" y="17"/>
                      </a:moveTo>
                      <a:lnTo>
                        <a:pt x="59" y="19"/>
                      </a:lnTo>
                      <a:lnTo>
                        <a:pt x="59" y="19"/>
                      </a:lnTo>
                      <a:lnTo>
                        <a:pt x="51" y="19"/>
                      </a:lnTo>
                      <a:lnTo>
                        <a:pt x="51" y="22"/>
                      </a:lnTo>
                      <a:lnTo>
                        <a:pt x="51" y="22"/>
                      </a:lnTo>
                      <a:lnTo>
                        <a:pt x="61" y="20"/>
                      </a:lnTo>
                      <a:lnTo>
                        <a:pt x="61" y="20"/>
                      </a:lnTo>
                      <a:lnTo>
                        <a:pt x="61" y="17"/>
                      </a:lnTo>
                      <a:close/>
                      <a:moveTo>
                        <a:pt x="68" y="6"/>
                      </a:moveTo>
                      <a:lnTo>
                        <a:pt x="68" y="6"/>
                      </a:lnTo>
                      <a:lnTo>
                        <a:pt x="64" y="9"/>
                      </a:lnTo>
                      <a:lnTo>
                        <a:pt x="64" y="9"/>
                      </a:lnTo>
                      <a:lnTo>
                        <a:pt x="62" y="14"/>
                      </a:lnTo>
                      <a:lnTo>
                        <a:pt x="65" y="16"/>
                      </a:lnTo>
                      <a:lnTo>
                        <a:pt x="65" y="16"/>
                      </a:lnTo>
                      <a:lnTo>
                        <a:pt x="67" y="10"/>
                      </a:lnTo>
                      <a:lnTo>
                        <a:pt x="67" y="10"/>
                      </a:lnTo>
                      <a:lnTo>
                        <a:pt x="70" y="7"/>
                      </a:lnTo>
                      <a:lnTo>
                        <a:pt x="68" y="6"/>
                      </a:lnTo>
                      <a:close/>
                      <a:moveTo>
                        <a:pt x="83" y="0"/>
                      </a:moveTo>
                      <a:lnTo>
                        <a:pt x="83" y="0"/>
                      </a:lnTo>
                      <a:lnTo>
                        <a:pt x="83" y="0"/>
                      </a:lnTo>
                      <a:lnTo>
                        <a:pt x="78" y="1"/>
                      </a:lnTo>
                      <a:lnTo>
                        <a:pt x="72" y="3"/>
                      </a:lnTo>
                      <a:lnTo>
                        <a:pt x="74" y="6"/>
                      </a:lnTo>
                      <a:lnTo>
                        <a:pt x="74" y="6"/>
                      </a:lnTo>
                      <a:lnTo>
                        <a:pt x="78" y="4"/>
                      </a:lnTo>
                      <a:lnTo>
                        <a:pt x="83" y="3"/>
                      </a:lnTo>
                      <a:lnTo>
                        <a:pt x="83" y="3"/>
                      </a:lnTo>
                      <a:lnTo>
                        <a:pt x="83" y="0"/>
                      </a:lnTo>
                      <a:close/>
                      <a:moveTo>
                        <a:pt x="87" y="16"/>
                      </a:moveTo>
                      <a:lnTo>
                        <a:pt x="87" y="16"/>
                      </a:lnTo>
                      <a:lnTo>
                        <a:pt x="87" y="12"/>
                      </a:lnTo>
                      <a:lnTo>
                        <a:pt x="87" y="12"/>
                      </a:lnTo>
                      <a:lnTo>
                        <a:pt x="87" y="6"/>
                      </a:lnTo>
                      <a:lnTo>
                        <a:pt x="84" y="6"/>
                      </a:lnTo>
                      <a:lnTo>
                        <a:pt x="84" y="6"/>
                      </a:lnTo>
                      <a:lnTo>
                        <a:pt x="84" y="12"/>
                      </a:lnTo>
                      <a:lnTo>
                        <a:pt x="84" y="12"/>
                      </a:lnTo>
                      <a:lnTo>
                        <a:pt x="84" y="16"/>
                      </a:lnTo>
                      <a:lnTo>
                        <a:pt x="87" y="16"/>
                      </a:lnTo>
                      <a:close/>
                      <a:moveTo>
                        <a:pt x="88" y="28"/>
                      </a:moveTo>
                      <a:lnTo>
                        <a:pt x="88" y="28"/>
                      </a:lnTo>
                      <a:lnTo>
                        <a:pt x="87" y="28"/>
                      </a:lnTo>
                      <a:lnTo>
                        <a:pt x="87" y="28"/>
                      </a:lnTo>
                      <a:lnTo>
                        <a:pt x="85" y="26"/>
                      </a:lnTo>
                      <a:lnTo>
                        <a:pt x="85" y="26"/>
                      </a:lnTo>
                      <a:lnTo>
                        <a:pt x="87" y="22"/>
                      </a:lnTo>
                      <a:lnTo>
                        <a:pt x="84" y="20"/>
                      </a:lnTo>
                      <a:lnTo>
                        <a:pt x="84" y="20"/>
                      </a:lnTo>
                      <a:lnTo>
                        <a:pt x="84" y="26"/>
                      </a:lnTo>
                      <a:lnTo>
                        <a:pt x="84" y="26"/>
                      </a:lnTo>
                      <a:lnTo>
                        <a:pt x="85" y="29"/>
                      </a:lnTo>
                      <a:lnTo>
                        <a:pt x="85" y="29"/>
                      </a:lnTo>
                      <a:lnTo>
                        <a:pt x="88" y="30"/>
                      </a:lnTo>
                      <a:lnTo>
                        <a:pt x="88" y="28"/>
                      </a:lnTo>
                      <a:close/>
                      <a:moveTo>
                        <a:pt x="103" y="26"/>
                      </a:moveTo>
                      <a:lnTo>
                        <a:pt x="103" y="26"/>
                      </a:lnTo>
                      <a:lnTo>
                        <a:pt x="97" y="28"/>
                      </a:lnTo>
                      <a:lnTo>
                        <a:pt x="97" y="28"/>
                      </a:lnTo>
                      <a:lnTo>
                        <a:pt x="93" y="28"/>
                      </a:lnTo>
                      <a:lnTo>
                        <a:pt x="93" y="30"/>
                      </a:lnTo>
                      <a:lnTo>
                        <a:pt x="93" y="30"/>
                      </a:lnTo>
                      <a:lnTo>
                        <a:pt x="97" y="29"/>
                      </a:lnTo>
                      <a:lnTo>
                        <a:pt x="97" y="29"/>
                      </a:lnTo>
                      <a:lnTo>
                        <a:pt x="103" y="29"/>
                      </a:lnTo>
                      <a:lnTo>
                        <a:pt x="103" y="26"/>
                      </a:lnTo>
                      <a:close/>
                      <a:moveTo>
                        <a:pt x="117" y="23"/>
                      </a:moveTo>
                      <a:lnTo>
                        <a:pt x="117" y="23"/>
                      </a:lnTo>
                      <a:lnTo>
                        <a:pt x="116" y="23"/>
                      </a:lnTo>
                      <a:lnTo>
                        <a:pt x="116" y="23"/>
                      </a:lnTo>
                      <a:lnTo>
                        <a:pt x="107" y="25"/>
                      </a:lnTo>
                      <a:lnTo>
                        <a:pt x="109" y="28"/>
                      </a:lnTo>
                      <a:lnTo>
                        <a:pt x="109" y="28"/>
                      </a:lnTo>
                      <a:lnTo>
                        <a:pt x="116" y="26"/>
                      </a:lnTo>
                      <a:lnTo>
                        <a:pt x="116" y="26"/>
                      </a:lnTo>
                      <a:lnTo>
                        <a:pt x="117" y="25"/>
                      </a:lnTo>
                      <a:lnTo>
                        <a:pt x="117" y="23"/>
                      </a:lnTo>
                      <a:close/>
                      <a:moveTo>
                        <a:pt x="133" y="22"/>
                      </a:moveTo>
                      <a:lnTo>
                        <a:pt x="133" y="22"/>
                      </a:lnTo>
                      <a:lnTo>
                        <a:pt x="123" y="23"/>
                      </a:lnTo>
                      <a:lnTo>
                        <a:pt x="123" y="25"/>
                      </a:lnTo>
                      <a:lnTo>
                        <a:pt x="123" y="25"/>
                      </a:lnTo>
                      <a:lnTo>
                        <a:pt x="133" y="25"/>
                      </a:lnTo>
                      <a:lnTo>
                        <a:pt x="133" y="2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8" name="Freeform 1728"/>
                <p:cNvSpPr>
                  <a:spLocks noEditPoints="1"/>
                </p:cNvSpPr>
                <p:nvPr/>
              </p:nvSpPr>
              <p:spPr bwMode="auto">
                <a:xfrm>
                  <a:off x="5379235" y="2543537"/>
                  <a:ext cx="309638" cy="79141"/>
                </a:xfrm>
                <a:custGeom>
                  <a:avLst/>
                  <a:gdLst>
                    <a:gd name="T0" fmla="*/ 0 w 313"/>
                    <a:gd name="T1" fmla="*/ 2 h 80"/>
                    <a:gd name="T2" fmla="*/ 7 w 313"/>
                    <a:gd name="T3" fmla="*/ 5 h 80"/>
                    <a:gd name="T4" fmla="*/ 29 w 313"/>
                    <a:gd name="T5" fmla="*/ 16 h 80"/>
                    <a:gd name="T6" fmla="*/ 28 w 313"/>
                    <a:gd name="T7" fmla="*/ 19 h 80"/>
                    <a:gd name="T8" fmla="*/ 39 w 313"/>
                    <a:gd name="T9" fmla="*/ 21 h 80"/>
                    <a:gd name="T10" fmla="*/ 32 w 313"/>
                    <a:gd name="T11" fmla="*/ 21 h 80"/>
                    <a:gd name="T12" fmla="*/ 42 w 313"/>
                    <a:gd name="T13" fmla="*/ 21 h 80"/>
                    <a:gd name="T14" fmla="*/ 46 w 313"/>
                    <a:gd name="T15" fmla="*/ 19 h 80"/>
                    <a:gd name="T16" fmla="*/ 64 w 313"/>
                    <a:gd name="T17" fmla="*/ 6 h 80"/>
                    <a:gd name="T18" fmla="*/ 60 w 313"/>
                    <a:gd name="T19" fmla="*/ 5 h 80"/>
                    <a:gd name="T20" fmla="*/ 61 w 313"/>
                    <a:gd name="T21" fmla="*/ 8 h 80"/>
                    <a:gd name="T22" fmla="*/ 62 w 313"/>
                    <a:gd name="T23" fmla="*/ 6 h 80"/>
                    <a:gd name="T24" fmla="*/ 61 w 313"/>
                    <a:gd name="T25" fmla="*/ 6 h 80"/>
                    <a:gd name="T26" fmla="*/ 62 w 313"/>
                    <a:gd name="T27" fmla="*/ 8 h 80"/>
                    <a:gd name="T28" fmla="*/ 65 w 313"/>
                    <a:gd name="T29" fmla="*/ 15 h 80"/>
                    <a:gd name="T30" fmla="*/ 68 w 313"/>
                    <a:gd name="T31" fmla="*/ 40 h 80"/>
                    <a:gd name="T32" fmla="*/ 65 w 313"/>
                    <a:gd name="T33" fmla="*/ 29 h 80"/>
                    <a:gd name="T34" fmla="*/ 77 w 313"/>
                    <a:gd name="T35" fmla="*/ 51 h 80"/>
                    <a:gd name="T36" fmla="*/ 77 w 313"/>
                    <a:gd name="T37" fmla="*/ 51 h 80"/>
                    <a:gd name="T38" fmla="*/ 71 w 313"/>
                    <a:gd name="T39" fmla="*/ 61 h 80"/>
                    <a:gd name="T40" fmla="*/ 71 w 313"/>
                    <a:gd name="T41" fmla="*/ 61 h 80"/>
                    <a:gd name="T42" fmla="*/ 71 w 313"/>
                    <a:gd name="T43" fmla="*/ 61 h 80"/>
                    <a:gd name="T44" fmla="*/ 75 w 313"/>
                    <a:gd name="T45" fmla="*/ 55 h 80"/>
                    <a:gd name="T46" fmla="*/ 68 w 313"/>
                    <a:gd name="T47" fmla="*/ 60 h 80"/>
                    <a:gd name="T48" fmla="*/ 84 w 313"/>
                    <a:gd name="T49" fmla="*/ 66 h 80"/>
                    <a:gd name="T50" fmla="*/ 74 w 313"/>
                    <a:gd name="T51" fmla="*/ 66 h 80"/>
                    <a:gd name="T52" fmla="*/ 97 w 313"/>
                    <a:gd name="T53" fmla="*/ 74 h 80"/>
                    <a:gd name="T54" fmla="*/ 97 w 313"/>
                    <a:gd name="T55" fmla="*/ 74 h 80"/>
                    <a:gd name="T56" fmla="*/ 103 w 313"/>
                    <a:gd name="T57" fmla="*/ 77 h 80"/>
                    <a:gd name="T58" fmla="*/ 103 w 313"/>
                    <a:gd name="T59" fmla="*/ 80 h 80"/>
                    <a:gd name="T60" fmla="*/ 116 w 313"/>
                    <a:gd name="T61" fmla="*/ 63 h 80"/>
                    <a:gd name="T62" fmla="*/ 115 w 313"/>
                    <a:gd name="T63" fmla="*/ 73 h 80"/>
                    <a:gd name="T64" fmla="*/ 130 w 313"/>
                    <a:gd name="T65" fmla="*/ 58 h 80"/>
                    <a:gd name="T66" fmla="*/ 120 w 313"/>
                    <a:gd name="T67" fmla="*/ 58 h 80"/>
                    <a:gd name="T68" fmla="*/ 125 w 313"/>
                    <a:gd name="T69" fmla="*/ 60 h 80"/>
                    <a:gd name="T70" fmla="*/ 139 w 313"/>
                    <a:gd name="T71" fmla="*/ 58 h 80"/>
                    <a:gd name="T72" fmla="*/ 139 w 313"/>
                    <a:gd name="T73" fmla="*/ 61 h 80"/>
                    <a:gd name="T74" fmla="*/ 158 w 313"/>
                    <a:gd name="T75" fmla="*/ 54 h 80"/>
                    <a:gd name="T76" fmla="*/ 151 w 313"/>
                    <a:gd name="T77" fmla="*/ 60 h 80"/>
                    <a:gd name="T78" fmla="*/ 159 w 313"/>
                    <a:gd name="T79" fmla="*/ 55 h 80"/>
                    <a:gd name="T80" fmla="*/ 164 w 313"/>
                    <a:gd name="T81" fmla="*/ 40 h 80"/>
                    <a:gd name="T82" fmla="*/ 162 w 313"/>
                    <a:gd name="T83" fmla="*/ 50 h 80"/>
                    <a:gd name="T84" fmla="*/ 165 w 313"/>
                    <a:gd name="T85" fmla="*/ 40 h 80"/>
                    <a:gd name="T86" fmla="*/ 171 w 313"/>
                    <a:gd name="T87" fmla="*/ 40 h 80"/>
                    <a:gd name="T88" fmla="*/ 184 w 313"/>
                    <a:gd name="T89" fmla="*/ 34 h 80"/>
                    <a:gd name="T90" fmla="*/ 209 w 313"/>
                    <a:gd name="T91" fmla="*/ 25 h 80"/>
                    <a:gd name="T92" fmla="*/ 209 w 313"/>
                    <a:gd name="T93" fmla="*/ 26 h 80"/>
                    <a:gd name="T94" fmla="*/ 219 w 313"/>
                    <a:gd name="T95" fmla="*/ 21 h 80"/>
                    <a:gd name="T96" fmla="*/ 214 w 313"/>
                    <a:gd name="T97" fmla="*/ 22 h 80"/>
                    <a:gd name="T98" fmla="*/ 216 w 313"/>
                    <a:gd name="T99" fmla="*/ 24 h 80"/>
                    <a:gd name="T100" fmla="*/ 216 w 313"/>
                    <a:gd name="T101" fmla="*/ 24 h 80"/>
                    <a:gd name="T102" fmla="*/ 219 w 313"/>
                    <a:gd name="T103" fmla="*/ 24 h 80"/>
                    <a:gd name="T104" fmla="*/ 239 w 313"/>
                    <a:gd name="T105" fmla="*/ 22 h 80"/>
                    <a:gd name="T106" fmla="*/ 239 w 313"/>
                    <a:gd name="T107" fmla="*/ 22 h 80"/>
                    <a:gd name="T108" fmla="*/ 243 w 313"/>
                    <a:gd name="T109" fmla="*/ 22 h 80"/>
                    <a:gd name="T110" fmla="*/ 254 w 313"/>
                    <a:gd name="T111" fmla="*/ 26 h 80"/>
                    <a:gd name="T112" fmla="*/ 258 w 313"/>
                    <a:gd name="T113" fmla="*/ 28 h 80"/>
                    <a:gd name="T114" fmla="*/ 284 w 313"/>
                    <a:gd name="T115" fmla="*/ 31 h 80"/>
                    <a:gd name="T116" fmla="*/ 284 w 313"/>
                    <a:gd name="T117" fmla="*/ 31 h 80"/>
                    <a:gd name="T118" fmla="*/ 288 w 313"/>
                    <a:gd name="T119" fmla="*/ 34 h 80"/>
                    <a:gd name="T120" fmla="*/ 303 w 313"/>
                    <a:gd name="T121" fmla="*/ 37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313" h="80">
                      <a:moveTo>
                        <a:pt x="3" y="2"/>
                      </a:move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3"/>
                      </a:lnTo>
                      <a:lnTo>
                        <a:pt x="3" y="2"/>
                      </a:lnTo>
                      <a:close/>
                      <a:moveTo>
                        <a:pt x="15" y="11"/>
                      </a:moveTo>
                      <a:lnTo>
                        <a:pt x="15" y="11"/>
                      </a:lnTo>
                      <a:lnTo>
                        <a:pt x="7" y="5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13" y="13"/>
                      </a:lnTo>
                      <a:lnTo>
                        <a:pt x="15" y="11"/>
                      </a:lnTo>
                      <a:close/>
                      <a:moveTo>
                        <a:pt x="29" y="16"/>
                      </a:moveTo>
                      <a:lnTo>
                        <a:pt x="29" y="16"/>
                      </a:lnTo>
                      <a:lnTo>
                        <a:pt x="19" y="13"/>
                      </a:lnTo>
                      <a:lnTo>
                        <a:pt x="18" y="15"/>
                      </a:lnTo>
                      <a:lnTo>
                        <a:pt x="18" y="15"/>
                      </a:lnTo>
                      <a:lnTo>
                        <a:pt x="28" y="19"/>
                      </a:lnTo>
                      <a:lnTo>
                        <a:pt x="29" y="16"/>
                      </a:lnTo>
                      <a:close/>
                      <a:moveTo>
                        <a:pt x="42" y="21"/>
                      </a:moveTo>
                      <a:lnTo>
                        <a:pt x="42" y="21"/>
                      </a:lnTo>
                      <a:lnTo>
                        <a:pt x="39" y="21"/>
                      </a:lnTo>
                      <a:lnTo>
                        <a:pt x="39" y="21"/>
                      </a:lnTo>
                      <a:lnTo>
                        <a:pt x="33" y="19"/>
                      </a:lnTo>
                      <a:lnTo>
                        <a:pt x="33" y="19"/>
                      </a:lnTo>
                      <a:lnTo>
                        <a:pt x="32" y="21"/>
                      </a:lnTo>
                      <a:lnTo>
                        <a:pt x="32" y="21"/>
                      </a:lnTo>
                      <a:lnTo>
                        <a:pt x="32" y="21"/>
                      </a:lnTo>
                      <a:lnTo>
                        <a:pt x="36" y="24"/>
                      </a:lnTo>
                      <a:lnTo>
                        <a:pt x="39" y="24"/>
                      </a:lnTo>
                      <a:lnTo>
                        <a:pt x="39" y="24"/>
                      </a:lnTo>
                      <a:lnTo>
                        <a:pt x="44" y="22"/>
                      </a:lnTo>
                      <a:lnTo>
                        <a:pt x="42" y="21"/>
                      </a:lnTo>
                      <a:close/>
                      <a:moveTo>
                        <a:pt x="52" y="11"/>
                      </a:moveTo>
                      <a:lnTo>
                        <a:pt x="52" y="11"/>
                      </a:lnTo>
                      <a:lnTo>
                        <a:pt x="45" y="16"/>
                      </a:lnTo>
                      <a:lnTo>
                        <a:pt x="46" y="19"/>
                      </a:lnTo>
                      <a:lnTo>
                        <a:pt x="46" y="19"/>
                      </a:lnTo>
                      <a:lnTo>
                        <a:pt x="54" y="12"/>
                      </a:lnTo>
                      <a:lnTo>
                        <a:pt x="52" y="11"/>
                      </a:lnTo>
                      <a:close/>
                      <a:moveTo>
                        <a:pt x="65" y="9"/>
                      </a:moveTo>
                      <a:lnTo>
                        <a:pt x="65" y="9"/>
                      </a:lnTo>
                      <a:lnTo>
                        <a:pt x="64" y="6"/>
                      </a:lnTo>
                      <a:lnTo>
                        <a:pt x="64" y="5"/>
                      </a:lnTo>
                      <a:lnTo>
                        <a:pt x="64" y="5"/>
                      </a:lnTo>
                      <a:lnTo>
                        <a:pt x="62" y="5"/>
                      </a:lnTo>
                      <a:lnTo>
                        <a:pt x="62" y="5"/>
                      </a:lnTo>
                      <a:lnTo>
                        <a:pt x="60" y="5"/>
                      </a:lnTo>
                      <a:lnTo>
                        <a:pt x="60" y="5"/>
                      </a:lnTo>
                      <a:lnTo>
                        <a:pt x="57" y="6"/>
                      </a:lnTo>
                      <a:lnTo>
                        <a:pt x="58" y="9"/>
                      </a:lnTo>
                      <a:lnTo>
                        <a:pt x="58" y="9"/>
                      </a:lnTo>
                      <a:lnTo>
                        <a:pt x="61" y="8"/>
                      </a:lnTo>
                      <a:lnTo>
                        <a:pt x="61" y="8"/>
                      </a:lnTo>
                      <a:lnTo>
                        <a:pt x="62" y="6"/>
                      </a:lnTo>
                      <a:lnTo>
                        <a:pt x="62" y="6"/>
                      </a:lnTo>
                      <a:lnTo>
                        <a:pt x="61" y="6"/>
                      </a:lnTo>
                      <a:lnTo>
                        <a:pt x="62" y="6"/>
                      </a:lnTo>
                      <a:lnTo>
                        <a:pt x="62" y="6"/>
                      </a:lnTo>
                      <a:lnTo>
                        <a:pt x="61" y="6"/>
                      </a:lnTo>
                      <a:lnTo>
                        <a:pt x="61" y="6"/>
                      </a:lnTo>
                      <a:lnTo>
                        <a:pt x="61" y="6"/>
                      </a:lnTo>
                      <a:lnTo>
                        <a:pt x="61" y="6"/>
                      </a:lnTo>
                      <a:lnTo>
                        <a:pt x="61" y="6"/>
                      </a:lnTo>
                      <a:lnTo>
                        <a:pt x="61" y="6"/>
                      </a:lnTo>
                      <a:lnTo>
                        <a:pt x="61" y="6"/>
                      </a:lnTo>
                      <a:lnTo>
                        <a:pt x="62" y="8"/>
                      </a:lnTo>
                      <a:lnTo>
                        <a:pt x="62" y="8"/>
                      </a:lnTo>
                      <a:lnTo>
                        <a:pt x="62" y="11"/>
                      </a:lnTo>
                      <a:lnTo>
                        <a:pt x="65" y="9"/>
                      </a:lnTo>
                      <a:close/>
                      <a:moveTo>
                        <a:pt x="67" y="25"/>
                      </a:moveTo>
                      <a:lnTo>
                        <a:pt x="67" y="25"/>
                      </a:lnTo>
                      <a:lnTo>
                        <a:pt x="65" y="15"/>
                      </a:lnTo>
                      <a:lnTo>
                        <a:pt x="64" y="15"/>
                      </a:lnTo>
                      <a:lnTo>
                        <a:pt x="64" y="15"/>
                      </a:lnTo>
                      <a:lnTo>
                        <a:pt x="65" y="25"/>
                      </a:lnTo>
                      <a:lnTo>
                        <a:pt x="67" y="25"/>
                      </a:lnTo>
                      <a:close/>
                      <a:moveTo>
                        <a:pt x="68" y="40"/>
                      </a:moveTo>
                      <a:lnTo>
                        <a:pt x="68" y="40"/>
                      </a:lnTo>
                      <a:lnTo>
                        <a:pt x="68" y="40"/>
                      </a:lnTo>
                      <a:lnTo>
                        <a:pt x="68" y="29"/>
                      </a:lnTo>
                      <a:lnTo>
                        <a:pt x="65" y="29"/>
                      </a:lnTo>
                      <a:lnTo>
                        <a:pt x="65" y="29"/>
                      </a:lnTo>
                      <a:lnTo>
                        <a:pt x="65" y="40"/>
                      </a:lnTo>
                      <a:lnTo>
                        <a:pt x="65" y="41"/>
                      </a:lnTo>
                      <a:lnTo>
                        <a:pt x="68" y="40"/>
                      </a:lnTo>
                      <a:close/>
                      <a:moveTo>
                        <a:pt x="77" y="51"/>
                      </a:moveTo>
                      <a:lnTo>
                        <a:pt x="77" y="51"/>
                      </a:lnTo>
                      <a:lnTo>
                        <a:pt x="71" y="44"/>
                      </a:lnTo>
                      <a:lnTo>
                        <a:pt x="68" y="45"/>
                      </a:lnTo>
                      <a:lnTo>
                        <a:pt x="68" y="45"/>
                      </a:lnTo>
                      <a:lnTo>
                        <a:pt x="75" y="53"/>
                      </a:lnTo>
                      <a:lnTo>
                        <a:pt x="77" y="51"/>
                      </a:lnTo>
                      <a:close/>
                      <a:moveTo>
                        <a:pt x="71" y="61"/>
                      </a:moveTo>
                      <a:lnTo>
                        <a:pt x="71" y="61"/>
                      </a:lnTo>
                      <a:lnTo>
                        <a:pt x="70" y="61"/>
                      </a:lnTo>
                      <a:lnTo>
                        <a:pt x="71" y="61"/>
                      </a:lnTo>
                      <a:lnTo>
                        <a:pt x="71" y="61"/>
                      </a:lnTo>
                      <a:lnTo>
                        <a:pt x="70" y="61"/>
                      </a:lnTo>
                      <a:lnTo>
                        <a:pt x="71" y="61"/>
                      </a:lnTo>
                      <a:lnTo>
                        <a:pt x="70" y="61"/>
                      </a:lnTo>
                      <a:lnTo>
                        <a:pt x="71" y="61"/>
                      </a:lnTo>
                      <a:lnTo>
                        <a:pt x="71" y="61"/>
                      </a:lnTo>
                      <a:lnTo>
                        <a:pt x="70" y="61"/>
                      </a:lnTo>
                      <a:lnTo>
                        <a:pt x="71" y="61"/>
                      </a:lnTo>
                      <a:lnTo>
                        <a:pt x="71" y="61"/>
                      </a:lnTo>
                      <a:lnTo>
                        <a:pt x="71" y="61"/>
                      </a:lnTo>
                      <a:lnTo>
                        <a:pt x="71" y="61"/>
                      </a:lnTo>
                      <a:lnTo>
                        <a:pt x="74" y="60"/>
                      </a:lnTo>
                      <a:lnTo>
                        <a:pt x="74" y="60"/>
                      </a:lnTo>
                      <a:lnTo>
                        <a:pt x="78" y="58"/>
                      </a:lnTo>
                      <a:lnTo>
                        <a:pt x="75" y="55"/>
                      </a:lnTo>
                      <a:lnTo>
                        <a:pt x="75" y="55"/>
                      </a:lnTo>
                      <a:lnTo>
                        <a:pt x="73" y="58"/>
                      </a:lnTo>
                      <a:lnTo>
                        <a:pt x="73" y="58"/>
                      </a:lnTo>
                      <a:lnTo>
                        <a:pt x="70" y="58"/>
                      </a:lnTo>
                      <a:lnTo>
                        <a:pt x="68" y="60"/>
                      </a:lnTo>
                      <a:lnTo>
                        <a:pt x="68" y="60"/>
                      </a:lnTo>
                      <a:lnTo>
                        <a:pt x="68" y="61"/>
                      </a:lnTo>
                      <a:lnTo>
                        <a:pt x="68" y="61"/>
                      </a:lnTo>
                      <a:lnTo>
                        <a:pt x="70" y="63"/>
                      </a:lnTo>
                      <a:lnTo>
                        <a:pt x="71" y="61"/>
                      </a:lnTo>
                      <a:close/>
                      <a:moveTo>
                        <a:pt x="84" y="66"/>
                      </a:moveTo>
                      <a:lnTo>
                        <a:pt x="84" y="64"/>
                      </a:lnTo>
                      <a:lnTo>
                        <a:pt x="84" y="64"/>
                      </a:lnTo>
                      <a:lnTo>
                        <a:pt x="75" y="63"/>
                      </a:lnTo>
                      <a:lnTo>
                        <a:pt x="74" y="66"/>
                      </a:lnTo>
                      <a:lnTo>
                        <a:pt x="74" y="66"/>
                      </a:lnTo>
                      <a:lnTo>
                        <a:pt x="83" y="67"/>
                      </a:lnTo>
                      <a:lnTo>
                        <a:pt x="84" y="67"/>
                      </a:lnTo>
                      <a:lnTo>
                        <a:pt x="84" y="66"/>
                      </a:lnTo>
                      <a:close/>
                      <a:moveTo>
                        <a:pt x="97" y="74"/>
                      </a:moveTo>
                      <a:lnTo>
                        <a:pt x="97" y="74"/>
                      </a:lnTo>
                      <a:lnTo>
                        <a:pt x="90" y="68"/>
                      </a:lnTo>
                      <a:lnTo>
                        <a:pt x="87" y="70"/>
                      </a:lnTo>
                      <a:lnTo>
                        <a:pt x="87" y="70"/>
                      </a:lnTo>
                      <a:lnTo>
                        <a:pt x="96" y="77"/>
                      </a:lnTo>
                      <a:lnTo>
                        <a:pt x="97" y="74"/>
                      </a:lnTo>
                      <a:close/>
                      <a:moveTo>
                        <a:pt x="109" y="76"/>
                      </a:moveTo>
                      <a:lnTo>
                        <a:pt x="109" y="76"/>
                      </a:lnTo>
                      <a:lnTo>
                        <a:pt x="106" y="77"/>
                      </a:lnTo>
                      <a:lnTo>
                        <a:pt x="103" y="77"/>
                      </a:lnTo>
                      <a:lnTo>
                        <a:pt x="103" y="77"/>
                      </a:lnTo>
                      <a:lnTo>
                        <a:pt x="102" y="77"/>
                      </a:lnTo>
                      <a:lnTo>
                        <a:pt x="100" y="80"/>
                      </a:lnTo>
                      <a:lnTo>
                        <a:pt x="100" y="80"/>
                      </a:lnTo>
                      <a:lnTo>
                        <a:pt x="103" y="80"/>
                      </a:lnTo>
                      <a:lnTo>
                        <a:pt x="103" y="80"/>
                      </a:lnTo>
                      <a:lnTo>
                        <a:pt x="107" y="80"/>
                      </a:lnTo>
                      <a:lnTo>
                        <a:pt x="110" y="77"/>
                      </a:lnTo>
                      <a:lnTo>
                        <a:pt x="109" y="76"/>
                      </a:lnTo>
                      <a:close/>
                      <a:moveTo>
                        <a:pt x="116" y="63"/>
                      </a:moveTo>
                      <a:lnTo>
                        <a:pt x="116" y="63"/>
                      </a:lnTo>
                      <a:lnTo>
                        <a:pt x="113" y="68"/>
                      </a:lnTo>
                      <a:lnTo>
                        <a:pt x="113" y="68"/>
                      </a:lnTo>
                      <a:lnTo>
                        <a:pt x="112" y="71"/>
                      </a:lnTo>
                      <a:lnTo>
                        <a:pt x="115" y="73"/>
                      </a:lnTo>
                      <a:lnTo>
                        <a:pt x="115" y="73"/>
                      </a:lnTo>
                      <a:lnTo>
                        <a:pt x="116" y="70"/>
                      </a:lnTo>
                      <a:lnTo>
                        <a:pt x="116" y="70"/>
                      </a:lnTo>
                      <a:lnTo>
                        <a:pt x="117" y="64"/>
                      </a:lnTo>
                      <a:lnTo>
                        <a:pt x="116" y="63"/>
                      </a:lnTo>
                      <a:close/>
                      <a:moveTo>
                        <a:pt x="130" y="58"/>
                      </a:moveTo>
                      <a:lnTo>
                        <a:pt x="130" y="58"/>
                      </a:lnTo>
                      <a:lnTo>
                        <a:pt x="125" y="58"/>
                      </a:lnTo>
                      <a:lnTo>
                        <a:pt x="125" y="58"/>
                      </a:lnTo>
                      <a:lnTo>
                        <a:pt x="120" y="58"/>
                      </a:lnTo>
                      <a:lnTo>
                        <a:pt x="120" y="58"/>
                      </a:lnTo>
                      <a:lnTo>
                        <a:pt x="120" y="61"/>
                      </a:lnTo>
                      <a:lnTo>
                        <a:pt x="122" y="61"/>
                      </a:lnTo>
                      <a:lnTo>
                        <a:pt x="122" y="61"/>
                      </a:lnTo>
                      <a:lnTo>
                        <a:pt x="125" y="60"/>
                      </a:lnTo>
                      <a:lnTo>
                        <a:pt x="125" y="60"/>
                      </a:lnTo>
                      <a:lnTo>
                        <a:pt x="130" y="61"/>
                      </a:lnTo>
                      <a:lnTo>
                        <a:pt x="130" y="58"/>
                      </a:lnTo>
                      <a:close/>
                      <a:moveTo>
                        <a:pt x="145" y="58"/>
                      </a:moveTo>
                      <a:lnTo>
                        <a:pt x="145" y="58"/>
                      </a:lnTo>
                      <a:lnTo>
                        <a:pt x="139" y="58"/>
                      </a:lnTo>
                      <a:lnTo>
                        <a:pt x="139" y="58"/>
                      </a:lnTo>
                      <a:lnTo>
                        <a:pt x="136" y="58"/>
                      </a:lnTo>
                      <a:lnTo>
                        <a:pt x="135" y="61"/>
                      </a:lnTo>
                      <a:lnTo>
                        <a:pt x="135" y="61"/>
                      </a:lnTo>
                      <a:lnTo>
                        <a:pt x="139" y="61"/>
                      </a:lnTo>
                      <a:lnTo>
                        <a:pt x="139" y="61"/>
                      </a:lnTo>
                      <a:lnTo>
                        <a:pt x="146" y="60"/>
                      </a:lnTo>
                      <a:lnTo>
                        <a:pt x="145" y="58"/>
                      </a:lnTo>
                      <a:close/>
                      <a:moveTo>
                        <a:pt x="158" y="54"/>
                      </a:moveTo>
                      <a:lnTo>
                        <a:pt x="158" y="54"/>
                      </a:lnTo>
                      <a:lnTo>
                        <a:pt x="158" y="54"/>
                      </a:lnTo>
                      <a:lnTo>
                        <a:pt x="155" y="55"/>
                      </a:lnTo>
                      <a:lnTo>
                        <a:pt x="155" y="55"/>
                      </a:lnTo>
                      <a:lnTo>
                        <a:pt x="151" y="57"/>
                      </a:lnTo>
                      <a:lnTo>
                        <a:pt x="151" y="60"/>
                      </a:lnTo>
                      <a:lnTo>
                        <a:pt x="151" y="60"/>
                      </a:lnTo>
                      <a:lnTo>
                        <a:pt x="157" y="57"/>
                      </a:lnTo>
                      <a:lnTo>
                        <a:pt x="157" y="57"/>
                      </a:lnTo>
                      <a:lnTo>
                        <a:pt x="159" y="55"/>
                      </a:lnTo>
                      <a:lnTo>
                        <a:pt x="159" y="55"/>
                      </a:lnTo>
                      <a:lnTo>
                        <a:pt x="161" y="54"/>
                      </a:lnTo>
                      <a:lnTo>
                        <a:pt x="158" y="54"/>
                      </a:lnTo>
                      <a:close/>
                      <a:moveTo>
                        <a:pt x="165" y="40"/>
                      </a:moveTo>
                      <a:lnTo>
                        <a:pt x="164" y="40"/>
                      </a:lnTo>
                      <a:lnTo>
                        <a:pt x="164" y="40"/>
                      </a:lnTo>
                      <a:lnTo>
                        <a:pt x="162" y="44"/>
                      </a:lnTo>
                      <a:lnTo>
                        <a:pt x="162" y="44"/>
                      </a:lnTo>
                      <a:lnTo>
                        <a:pt x="161" y="48"/>
                      </a:lnTo>
                      <a:lnTo>
                        <a:pt x="162" y="50"/>
                      </a:lnTo>
                      <a:lnTo>
                        <a:pt x="162" y="50"/>
                      </a:lnTo>
                      <a:lnTo>
                        <a:pt x="164" y="45"/>
                      </a:lnTo>
                      <a:lnTo>
                        <a:pt x="164" y="45"/>
                      </a:lnTo>
                      <a:lnTo>
                        <a:pt x="165" y="41"/>
                      </a:lnTo>
                      <a:lnTo>
                        <a:pt x="167" y="41"/>
                      </a:lnTo>
                      <a:lnTo>
                        <a:pt x="165" y="40"/>
                      </a:lnTo>
                      <a:close/>
                      <a:moveTo>
                        <a:pt x="180" y="34"/>
                      </a:moveTo>
                      <a:lnTo>
                        <a:pt x="180" y="34"/>
                      </a:lnTo>
                      <a:lnTo>
                        <a:pt x="170" y="37"/>
                      </a:lnTo>
                      <a:lnTo>
                        <a:pt x="171" y="40"/>
                      </a:lnTo>
                      <a:lnTo>
                        <a:pt x="171" y="40"/>
                      </a:lnTo>
                      <a:lnTo>
                        <a:pt x="180" y="37"/>
                      </a:lnTo>
                      <a:lnTo>
                        <a:pt x="180" y="34"/>
                      </a:lnTo>
                      <a:close/>
                      <a:moveTo>
                        <a:pt x="194" y="29"/>
                      </a:moveTo>
                      <a:lnTo>
                        <a:pt x="194" y="29"/>
                      </a:lnTo>
                      <a:lnTo>
                        <a:pt x="184" y="34"/>
                      </a:lnTo>
                      <a:lnTo>
                        <a:pt x="186" y="35"/>
                      </a:lnTo>
                      <a:lnTo>
                        <a:pt x="186" y="35"/>
                      </a:lnTo>
                      <a:lnTo>
                        <a:pt x="196" y="32"/>
                      </a:lnTo>
                      <a:lnTo>
                        <a:pt x="194" y="29"/>
                      </a:lnTo>
                      <a:close/>
                      <a:moveTo>
                        <a:pt x="209" y="25"/>
                      </a:moveTo>
                      <a:lnTo>
                        <a:pt x="209" y="25"/>
                      </a:lnTo>
                      <a:lnTo>
                        <a:pt x="199" y="28"/>
                      </a:lnTo>
                      <a:lnTo>
                        <a:pt x="200" y="31"/>
                      </a:lnTo>
                      <a:lnTo>
                        <a:pt x="200" y="31"/>
                      </a:lnTo>
                      <a:lnTo>
                        <a:pt x="209" y="26"/>
                      </a:lnTo>
                      <a:lnTo>
                        <a:pt x="209" y="25"/>
                      </a:lnTo>
                      <a:lnTo>
                        <a:pt x="209" y="25"/>
                      </a:lnTo>
                      <a:close/>
                      <a:moveTo>
                        <a:pt x="223" y="21"/>
                      </a:moveTo>
                      <a:lnTo>
                        <a:pt x="223" y="21"/>
                      </a:lnTo>
                      <a:lnTo>
                        <a:pt x="219" y="21"/>
                      </a:lnTo>
                      <a:lnTo>
                        <a:pt x="219" y="21"/>
                      </a:lnTo>
                      <a:lnTo>
                        <a:pt x="217" y="21"/>
                      </a:lnTo>
                      <a:lnTo>
                        <a:pt x="217" y="21"/>
                      </a:lnTo>
                      <a:lnTo>
                        <a:pt x="214" y="22"/>
                      </a:lnTo>
                      <a:lnTo>
                        <a:pt x="214" y="22"/>
                      </a:lnTo>
                      <a:lnTo>
                        <a:pt x="214" y="22"/>
                      </a:lnTo>
                      <a:lnTo>
                        <a:pt x="213" y="22"/>
                      </a:lnTo>
                      <a:lnTo>
                        <a:pt x="214" y="25"/>
                      </a:lnTo>
                      <a:lnTo>
                        <a:pt x="214" y="25"/>
                      </a:lnTo>
                      <a:lnTo>
                        <a:pt x="216" y="24"/>
                      </a:lnTo>
                      <a:lnTo>
                        <a:pt x="216" y="24"/>
                      </a:lnTo>
                      <a:lnTo>
                        <a:pt x="216" y="24"/>
                      </a:lnTo>
                      <a:lnTo>
                        <a:pt x="216" y="24"/>
                      </a:lnTo>
                      <a:lnTo>
                        <a:pt x="216" y="24"/>
                      </a:lnTo>
                      <a:lnTo>
                        <a:pt x="216" y="24"/>
                      </a:lnTo>
                      <a:lnTo>
                        <a:pt x="216" y="24"/>
                      </a:lnTo>
                      <a:lnTo>
                        <a:pt x="216" y="24"/>
                      </a:lnTo>
                      <a:lnTo>
                        <a:pt x="217" y="24"/>
                      </a:lnTo>
                      <a:lnTo>
                        <a:pt x="217" y="24"/>
                      </a:lnTo>
                      <a:lnTo>
                        <a:pt x="219" y="24"/>
                      </a:lnTo>
                      <a:lnTo>
                        <a:pt x="219" y="24"/>
                      </a:lnTo>
                      <a:lnTo>
                        <a:pt x="223" y="24"/>
                      </a:lnTo>
                      <a:lnTo>
                        <a:pt x="223" y="21"/>
                      </a:lnTo>
                      <a:close/>
                      <a:moveTo>
                        <a:pt x="239" y="22"/>
                      </a:moveTo>
                      <a:lnTo>
                        <a:pt x="239" y="22"/>
                      </a:lnTo>
                      <a:lnTo>
                        <a:pt x="229" y="21"/>
                      </a:lnTo>
                      <a:lnTo>
                        <a:pt x="229" y="24"/>
                      </a:lnTo>
                      <a:lnTo>
                        <a:pt x="229" y="24"/>
                      </a:lnTo>
                      <a:lnTo>
                        <a:pt x="238" y="25"/>
                      </a:lnTo>
                      <a:lnTo>
                        <a:pt x="239" y="22"/>
                      </a:lnTo>
                      <a:close/>
                      <a:moveTo>
                        <a:pt x="254" y="24"/>
                      </a:moveTo>
                      <a:lnTo>
                        <a:pt x="254" y="24"/>
                      </a:lnTo>
                      <a:lnTo>
                        <a:pt x="249" y="24"/>
                      </a:lnTo>
                      <a:lnTo>
                        <a:pt x="249" y="24"/>
                      </a:lnTo>
                      <a:lnTo>
                        <a:pt x="243" y="22"/>
                      </a:lnTo>
                      <a:lnTo>
                        <a:pt x="243" y="25"/>
                      </a:lnTo>
                      <a:lnTo>
                        <a:pt x="243" y="25"/>
                      </a:lnTo>
                      <a:lnTo>
                        <a:pt x="249" y="26"/>
                      </a:lnTo>
                      <a:lnTo>
                        <a:pt x="249" y="26"/>
                      </a:lnTo>
                      <a:lnTo>
                        <a:pt x="254" y="26"/>
                      </a:lnTo>
                      <a:lnTo>
                        <a:pt x="254" y="24"/>
                      </a:lnTo>
                      <a:close/>
                      <a:moveTo>
                        <a:pt x="270" y="26"/>
                      </a:moveTo>
                      <a:lnTo>
                        <a:pt x="270" y="26"/>
                      </a:lnTo>
                      <a:lnTo>
                        <a:pt x="259" y="25"/>
                      </a:lnTo>
                      <a:lnTo>
                        <a:pt x="258" y="28"/>
                      </a:lnTo>
                      <a:lnTo>
                        <a:pt x="258" y="28"/>
                      </a:lnTo>
                      <a:lnTo>
                        <a:pt x="268" y="29"/>
                      </a:lnTo>
                      <a:lnTo>
                        <a:pt x="270" y="26"/>
                      </a:lnTo>
                      <a:close/>
                      <a:moveTo>
                        <a:pt x="284" y="31"/>
                      </a:moveTo>
                      <a:lnTo>
                        <a:pt x="284" y="31"/>
                      </a:lnTo>
                      <a:lnTo>
                        <a:pt x="274" y="28"/>
                      </a:lnTo>
                      <a:lnTo>
                        <a:pt x="274" y="31"/>
                      </a:lnTo>
                      <a:lnTo>
                        <a:pt x="274" y="31"/>
                      </a:lnTo>
                      <a:lnTo>
                        <a:pt x="283" y="34"/>
                      </a:lnTo>
                      <a:lnTo>
                        <a:pt x="284" y="31"/>
                      </a:lnTo>
                      <a:close/>
                      <a:moveTo>
                        <a:pt x="298" y="35"/>
                      </a:moveTo>
                      <a:lnTo>
                        <a:pt x="298" y="35"/>
                      </a:lnTo>
                      <a:lnTo>
                        <a:pt x="288" y="32"/>
                      </a:lnTo>
                      <a:lnTo>
                        <a:pt x="288" y="34"/>
                      </a:lnTo>
                      <a:lnTo>
                        <a:pt x="288" y="34"/>
                      </a:lnTo>
                      <a:lnTo>
                        <a:pt x="297" y="37"/>
                      </a:lnTo>
                      <a:lnTo>
                        <a:pt x="298" y="35"/>
                      </a:lnTo>
                      <a:close/>
                      <a:moveTo>
                        <a:pt x="313" y="40"/>
                      </a:moveTo>
                      <a:lnTo>
                        <a:pt x="313" y="40"/>
                      </a:lnTo>
                      <a:lnTo>
                        <a:pt x="303" y="37"/>
                      </a:lnTo>
                      <a:lnTo>
                        <a:pt x="303" y="40"/>
                      </a:lnTo>
                      <a:lnTo>
                        <a:pt x="303" y="40"/>
                      </a:lnTo>
                      <a:lnTo>
                        <a:pt x="313" y="41"/>
                      </a:lnTo>
                      <a:lnTo>
                        <a:pt x="313" y="4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9" name="Freeform 1729"/>
                <p:cNvSpPr>
                  <a:spLocks noEditPoints="1"/>
                </p:cNvSpPr>
                <p:nvPr/>
              </p:nvSpPr>
              <p:spPr bwMode="auto">
                <a:xfrm>
                  <a:off x="5477172" y="2596957"/>
                  <a:ext cx="93980" cy="89033"/>
                </a:xfrm>
                <a:custGeom>
                  <a:avLst/>
                  <a:gdLst>
                    <a:gd name="T0" fmla="*/ 63 w 95"/>
                    <a:gd name="T1" fmla="*/ 6 h 90"/>
                    <a:gd name="T2" fmla="*/ 60 w 95"/>
                    <a:gd name="T3" fmla="*/ 0 h 90"/>
                    <a:gd name="T4" fmla="*/ 60 w 95"/>
                    <a:gd name="T5" fmla="*/ 6 h 90"/>
                    <a:gd name="T6" fmla="*/ 79 w 95"/>
                    <a:gd name="T7" fmla="*/ 10 h 90"/>
                    <a:gd name="T8" fmla="*/ 68 w 95"/>
                    <a:gd name="T9" fmla="*/ 7 h 90"/>
                    <a:gd name="T10" fmla="*/ 78 w 95"/>
                    <a:gd name="T11" fmla="*/ 12 h 90"/>
                    <a:gd name="T12" fmla="*/ 91 w 95"/>
                    <a:gd name="T13" fmla="*/ 20 h 90"/>
                    <a:gd name="T14" fmla="*/ 82 w 95"/>
                    <a:gd name="T15" fmla="*/ 14 h 90"/>
                    <a:gd name="T16" fmla="*/ 88 w 95"/>
                    <a:gd name="T17" fmla="*/ 20 h 90"/>
                    <a:gd name="T18" fmla="*/ 94 w 95"/>
                    <a:gd name="T19" fmla="*/ 35 h 90"/>
                    <a:gd name="T20" fmla="*/ 95 w 95"/>
                    <a:gd name="T21" fmla="*/ 30 h 90"/>
                    <a:gd name="T22" fmla="*/ 92 w 95"/>
                    <a:gd name="T23" fmla="*/ 25 h 90"/>
                    <a:gd name="T24" fmla="*/ 92 w 95"/>
                    <a:gd name="T25" fmla="*/ 30 h 90"/>
                    <a:gd name="T26" fmla="*/ 92 w 95"/>
                    <a:gd name="T27" fmla="*/ 30 h 90"/>
                    <a:gd name="T28" fmla="*/ 78 w 95"/>
                    <a:gd name="T29" fmla="*/ 39 h 90"/>
                    <a:gd name="T30" fmla="*/ 82 w 95"/>
                    <a:gd name="T31" fmla="*/ 41 h 90"/>
                    <a:gd name="T32" fmla="*/ 88 w 95"/>
                    <a:gd name="T33" fmla="*/ 36 h 90"/>
                    <a:gd name="T34" fmla="*/ 81 w 95"/>
                    <a:gd name="T35" fmla="*/ 38 h 90"/>
                    <a:gd name="T36" fmla="*/ 78 w 95"/>
                    <a:gd name="T37" fmla="*/ 39 h 90"/>
                    <a:gd name="T38" fmla="*/ 73 w 95"/>
                    <a:gd name="T39" fmla="*/ 39 h 90"/>
                    <a:gd name="T40" fmla="*/ 63 w 95"/>
                    <a:gd name="T41" fmla="*/ 35 h 90"/>
                    <a:gd name="T42" fmla="*/ 59 w 95"/>
                    <a:gd name="T43" fmla="*/ 26 h 90"/>
                    <a:gd name="T44" fmla="*/ 56 w 95"/>
                    <a:gd name="T45" fmla="*/ 33 h 90"/>
                    <a:gd name="T46" fmla="*/ 59 w 95"/>
                    <a:gd name="T47" fmla="*/ 36 h 90"/>
                    <a:gd name="T48" fmla="*/ 59 w 95"/>
                    <a:gd name="T49" fmla="*/ 33 h 90"/>
                    <a:gd name="T50" fmla="*/ 59 w 95"/>
                    <a:gd name="T51" fmla="*/ 33 h 90"/>
                    <a:gd name="T52" fmla="*/ 59 w 95"/>
                    <a:gd name="T53" fmla="*/ 33 h 90"/>
                    <a:gd name="T54" fmla="*/ 58 w 95"/>
                    <a:gd name="T55" fmla="*/ 17 h 90"/>
                    <a:gd name="T56" fmla="*/ 59 w 95"/>
                    <a:gd name="T57" fmla="*/ 17 h 90"/>
                    <a:gd name="T58" fmla="*/ 60 w 95"/>
                    <a:gd name="T59" fmla="*/ 17 h 90"/>
                    <a:gd name="T60" fmla="*/ 63 w 95"/>
                    <a:gd name="T61" fmla="*/ 22 h 90"/>
                    <a:gd name="T62" fmla="*/ 63 w 95"/>
                    <a:gd name="T63" fmla="*/ 17 h 90"/>
                    <a:gd name="T64" fmla="*/ 62 w 95"/>
                    <a:gd name="T65" fmla="*/ 14 h 90"/>
                    <a:gd name="T66" fmla="*/ 58 w 95"/>
                    <a:gd name="T67" fmla="*/ 14 h 90"/>
                    <a:gd name="T68" fmla="*/ 43 w 95"/>
                    <a:gd name="T69" fmla="*/ 23 h 90"/>
                    <a:gd name="T70" fmla="*/ 52 w 95"/>
                    <a:gd name="T71" fmla="*/ 16 h 90"/>
                    <a:gd name="T72" fmla="*/ 34 w 95"/>
                    <a:gd name="T73" fmla="*/ 33 h 90"/>
                    <a:gd name="T74" fmla="*/ 37 w 95"/>
                    <a:gd name="T75" fmla="*/ 23 h 90"/>
                    <a:gd name="T76" fmla="*/ 34 w 95"/>
                    <a:gd name="T77" fmla="*/ 33 h 90"/>
                    <a:gd name="T78" fmla="*/ 26 w 95"/>
                    <a:gd name="T79" fmla="*/ 45 h 90"/>
                    <a:gd name="T80" fmla="*/ 29 w 95"/>
                    <a:gd name="T81" fmla="*/ 36 h 90"/>
                    <a:gd name="T82" fmla="*/ 24 w 95"/>
                    <a:gd name="T83" fmla="*/ 42 h 90"/>
                    <a:gd name="T84" fmla="*/ 8 w 95"/>
                    <a:gd name="T85" fmla="*/ 49 h 90"/>
                    <a:gd name="T86" fmla="*/ 18 w 95"/>
                    <a:gd name="T87" fmla="*/ 45 h 90"/>
                    <a:gd name="T88" fmla="*/ 8 w 95"/>
                    <a:gd name="T89" fmla="*/ 49 h 90"/>
                    <a:gd name="T90" fmla="*/ 4 w 95"/>
                    <a:gd name="T91" fmla="*/ 54 h 90"/>
                    <a:gd name="T92" fmla="*/ 4 w 95"/>
                    <a:gd name="T93" fmla="*/ 51 h 90"/>
                    <a:gd name="T94" fmla="*/ 3 w 95"/>
                    <a:gd name="T95" fmla="*/ 49 h 90"/>
                    <a:gd name="T96" fmla="*/ 1 w 95"/>
                    <a:gd name="T97" fmla="*/ 51 h 90"/>
                    <a:gd name="T98" fmla="*/ 4 w 95"/>
                    <a:gd name="T99" fmla="*/ 59 h 90"/>
                    <a:gd name="T100" fmla="*/ 3 w 95"/>
                    <a:gd name="T101" fmla="*/ 65 h 90"/>
                    <a:gd name="T102" fmla="*/ 0 w 95"/>
                    <a:gd name="T103" fmla="*/ 75 h 90"/>
                    <a:gd name="T104" fmla="*/ 3 w 95"/>
                    <a:gd name="T105" fmla="*/ 90 h 90"/>
                    <a:gd name="T106" fmla="*/ 0 w 95"/>
                    <a:gd name="T107" fmla="*/ 8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95" h="90">
                      <a:moveTo>
                        <a:pt x="63" y="7"/>
                      </a:moveTo>
                      <a:lnTo>
                        <a:pt x="63" y="7"/>
                      </a:lnTo>
                      <a:lnTo>
                        <a:pt x="63" y="6"/>
                      </a:lnTo>
                      <a:lnTo>
                        <a:pt x="63" y="6"/>
                      </a:lnTo>
                      <a:lnTo>
                        <a:pt x="62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0" y="6"/>
                      </a:lnTo>
                      <a:lnTo>
                        <a:pt x="60" y="6"/>
                      </a:lnTo>
                      <a:lnTo>
                        <a:pt x="63" y="9"/>
                      </a:lnTo>
                      <a:lnTo>
                        <a:pt x="63" y="7"/>
                      </a:lnTo>
                      <a:close/>
                      <a:moveTo>
                        <a:pt x="79" y="10"/>
                      </a:moveTo>
                      <a:lnTo>
                        <a:pt x="79" y="10"/>
                      </a:lnTo>
                      <a:lnTo>
                        <a:pt x="73" y="9"/>
                      </a:lnTo>
                      <a:lnTo>
                        <a:pt x="68" y="7"/>
                      </a:lnTo>
                      <a:lnTo>
                        <a:pt x="68" y="10"/>
                      </a:lnTo>
                      <a:lnTo>
                        <a:pt x="68" y="10"/>
                      </a:lnTo>
                      <a:lnTo>
                        <a:pt x="78" y="12"/>
                      </a:lnTo>
                      <a:lnTo>
                        <a:pt x="79" y="10"/>
                      </a:lnTo>
                      <a:close/>
                      <a:moveTo>
                        <a:pt x="91" y="20"/>
                      </a:moveTo>
                      <a:lnTo>
                        <a:pt x="91" y="20"/>
                      </a:lnTo>
                      <a:lnTo>
                        <a:pt x="88" y="16"/>
                      </a:lnTo>
                      <a:lnTo>
                        <a:pt x="84" y="12"/>
                      </a:lnTo>
                      <a:lnTo>
                        <a:pt x="82" y="14"/>
                      </a:lnTo>
                      <a:lnTo>
                        <a:pt x="82" y="14"/>
                      </a:lnTo>
                      <a:lnTo>
                        <a:pt x="85" y="17"/>
                      </a:lnTo>
                      <a:lnTo>
                        <a:pt x="88" y="20"/>
                      </a:lnTo>
                      <a:lnTo>
                        <a:pt x="91" y="20"/>
                      </a:lnTo>
                      <a:close/>
                      <a:moveTo>
                        <a:pt x="94" y="35"/>
                      </a:moveTo>
                      <a:lnTo>
                        <a:pt x="94" y="35"/>
                      </a:lnTo>
                      <a:lnTo>
                        <a:pt x="95" y="33"/>
                      </a:lnTo>
                      <a:lnTo>
                        <a:pt x="95" y="30"/>
                      </a:lnTo>
                      <a:lnTo>
                        <a:pt x="95" y="30"/>
                      </a:lnTo>
                      <a:lnTo>
                        <a:pt x="95" y="29"/>
                      </a:lnTo>
                      <a:lnTo>
                        <a:pt x="95" y="29"/>
                      </a:lnTo>
                      <a:lnTo>
                        <a:pt x="92" y="25"/>
                      </a:lnTo>
                      <a:lnTo>
                        <a:pt x="91" y="26"/>
                      </a:lnTo>
                      <a:lnTo>
                        <a:pt x="91" y="26"/>
                      </a:lnTo>
                      <a:lnTo>
                        <a:pt x="92" y="30"/>
                      </a:lnTo>
                      <a:lnTo>
                        <a:pt x="92" y="30"/>
                      </a:lnTo>
                      <a:lnTo>
                        <a:pt x="92" y="30"/>
                      </a:lnTo>
                      <a:lnTo>
                        <a:pt x="92" y="30"/>
                      </a:lnTo>
                      <a:lnTo>
                        <a:pt x="92" y="33"/>
                      </a:lnTo>
                      <a:lnTo>
                        <a:pt x="94" y="35"/>
                      </a:lnTo>
                      <a:close/>
                      <a:moveTo>
                        <a:pt x="78" y="39"/>
                      </a:moveTo>
                      <a:lnTo>
                        <a:pt x="78" y="39"/>
                      </a:lnTo>
                      <a:lnTo>
                        <a:pt x="81" y="41"/>
                      </a:lnTo>
                      <a:lnTo>
                        <a:pt x="82" y="41"/>
                      </a:lnTo>
                      <a:lnTo>
                        <a:pt x="82" y="41"/>
                      </a:lnTo>
                      <a:lnTo>
                        <a:pt x="89" y="38"/>
                      </a:lnTo>
                      <a:lnTo>
                        <a:pt x="88" y="36"/>
                      </a:lnTo>
                      <a:lnTo>
                        <a:pt x="88" y="36"/>
                      </a:lnTo>
                      <a:lnTo>
                        <a:pt x="82" y="38"/>
                      </a:lnTo>
                      <a:lnTo>
                        <a:pt x="81" y="38"/>
                      </a:lnTo>
                      <a:lnTo>
                        <a:pt x="81" y="38"/>
                      </a:lnTo>
                      <a:lnTo>
                        <a:pt x="79" y="38"/>
                      </a:lnTo>
                      <a:lnTo>
                        <a:pt x="78" y="39"/>
                      </a:lnTo>
                      <a:close/>
                      <a:moveTo>
                        <a:pt x="63" y="36"/>
                      </a:moveTo>
                      <a:lnTo>
                        <a:pt x="63" y="36"/>
                      </a:lnTo>
                      <a:lnTo>
                        <a:pt x="73" y="39"/>
                      </a:lnTo>
                      <a:lnTo>
                        <a:pt x="73" y="36"/>
                      </a:lnTo>
                      <a:lnTo>
                        <a:pt x="73" y="36"/>
                      </a:lnTo>
                      <a:lnTo>
                        <a:pt x="63" y="35"/>
                      </a:lnTo>
                      <a:lnTo>
                        <a:pt x="63" y="36"/>
                      </a:lnTo>
                      <a:close/>
                      <a:moveTo>
                        <a:pt x="59" y="26"/>
                      </a:moveTo>
                      <a:lnTo>
                        <a:pt x="59" y="26"/>
                      </a:lnTo>
                      <a:lnTo>
                        <a:pt x="56" y="30"/>
                      </a:lnTo>
                      <a:lnTo>
                        <a:pt x="56" y="33"/>
                      </a:lnTo>
                      <a:lnTo>
                        <a:pt x="56" y="33"/>
                      </a:lnTo>
                      <a:lnTo>
                        <a:pt x="56" y="35"/>
                      </a:lnTo>
                      <a:lnTo>
                        <a:pt x="56" y="35"/>
                      </a:lnTo>
                      <a:lnTo>
                        <a:pt x="59" y="36"/>
                      </a:lnTo>
                      <a:lnTo>
                        <a:pt x="59" y="33"/>
                      </a:lnTo>
                      <a:lnTo>
                        <a:pt x="59" y="33"/>
                      </a:lnTo>
                      <a:lnTo>
                        <a:pt x="59" y="33"/>
                      </a:lnTo>
                      <a:lnTo>
                        <a:pt x="59" y="33"/>
                      </a:lnTo>
                      <a:lnTo>
                        <a:pt x="59" y="33"/>
                      </a:lnTo>
                      <a:lnTo>
                        <a:pt x="59" y="33"/>
                      </a:lnTo>
                      <a:lnTo>
                        <a:pt x="59" y="33"/>
                      </a:lnTo>
                      <a:lnTo>
                        <a:pt x="59" y="33"/>
                      </a:lnTo>
                      <a:lnTo>
                        <a:pt x="59" y="33"/>
                      </a:lnTo>
                      <a:lnTo>
                        <a:pt x="60" y="26"/>
                      </a:lnTo>
                      <a:lnTo>
                        <a:pt x="59" y="26"/>
                      </a:lnTo>
                      <a:close/>
                      <a:moveTo>
                        <a:pt x="58" y="17"/>
                      </a:moveTo>
                      <a:lnTo>
                        <a:pt x="58" y="17"/>
                      </a:lnTo>
                      <a:lnTo>
                        <a:pt x="59" y="17"/>
                      </a:lnTo>
                      <a:lnTo>
                        <a:pt x="59" y="17"/>
                      </a:lnTo>
                      <a:lnTo>
                        <a:pt x="60" y="17"/>
                      </a:lnTo>
                      <a:lnTo>
                        <a:pt x="60" y="17"/>
                      </a:lnTo>
                      <a:lnTo>
                        <a:pt x="60" y="17"/>
                      </a:lnTo>
                      <a:lnTo>
                        <a:pt x="60" y="17"/>
                      </a:lnTo>
                      <a:lnTo>
                        <a:pt x="60" y="20"/>
                      </a:lnTo>
                      <a:lnTo>
                        <a:pt x="63" y="22"/>
                      </a:lnTo>
                      <a:lnTo>
                        <a:pt x="63" y="22"/>
                      </a:lnTo>
                      <a:lnTo>
                        <a:pt x="63" y="17"/>
                      </a:lnTo>
                      <a:lnTo>
                        <a:pt x="63" y="17"/>
                      </a:lnTo>
                      <a:lnTo>
                        <a:pt x="63" y="17"/>
                      </a:lnTo>
                      <a:lnTo>
                        <a:pt x="62" y="14"/>
                      </a:lnTo>
                      <a:lnTo>
                        <a:pt x="62" y="14"/>
                      </a:lnTo>
                      <a:lnTo>
                        <a:pt x="59" y="14"/>
                      </a:lnTo>
                      <a:lnTo>
                        <a:pt x="59" y="14"/>
                      </a:lnTo>
                      <a:lnTo>
                        <a:pt x="58" y="14"/>
                      </a:lnTo>
                      <a:lnTo>
                        <a:pt x="58" y="17"/>
                      </a:lnTo>
                      <a:close/>
                      <a:moveTo>
                        <a:pt x="43" y="23"/>
                      </a:moveTo>
                      <a:lnTo>
                        <a:pt x="43" y="23"/>
                      </a:lnTo>
                      <a:lnTo>
                        <a:pt x="53" y="19"/>
                      </a:lnTo>
                      <a:lnTo>
                        <a:pt x="52" y="16"/>
                      </a:lnTo>
                      <a:lnTo>
                        <a:pt x="52" y="16"/>
                      </a:lnTo>
                      <a:lnTo>
                        <a:pt x="42" y="20"/>
                      </a:lnTo>
                      <a:lnTo>
                        <a:pt x="43" y="23"/>
                      </a:lnTo>
                      <a:close/>
                      <a:moveTo>
                        <a:pt x="34" y="33"/>
                      </a:moveTo>
                      <a:lnTo>
                        <a:pt x="34" y="33"/>
                      </a:lnTo>
                      <a:lnTo>
                        <a:pt x="40" y="25"/>
                      </a:lnTo>
                      <a:lnTo>
                        <a:pt x="37" y="23"/>
                      </a:lnTo>
                      <a:lnTo>
                        <a:pt x="37" y="23"/>
                      </a:lnTo>
                      <a:lnTo>
                        <a:pt x="31" y="32"/>
                      </a:lnTo>
                      <a:lnTo>
                        <a:pt x="34" y="33"/>
                      </a:lnTo>
                      <a:close/>
                      <a:moveTo>
                        <a:pt x="24" y="45"/>
                      </a:moveTo>
                      <a:lnTo>
                        <a:pt x="24" y="45"/>
                      </a:lnTo>
                      <a:lnTo>
                        <a:pt x="26" y="45"/>
                      </a:lnTo>
                      <a:lnTo>
                        <a:pt x="26" y="45"/>
                      </a:lnTo>
                      <a:lnTo>
                        <a:pt x="31" y="38"/>
                      </a:lnTo>
                      <a:lnTo>
                        <a:pt x="29" y="36"/>
                      </a:lnTo>
                      <a:lnTo>
                        <a:pt x="29" y="36"/>
                      </a:lnTo>
                      <a:lnTo>
                        <a:pt x="24" y="42"/>
                      </a:lnTo>
                      <a:lnTo>
                        <a:pt x="24" y="42"/>
                      </a:lnTo>
                      <a:lnTo>
                        <a:pt x="23" y="43"/>
                      </a:lnTo>
                      <a:lnTo>
                        <a:pt x="24" y="45"/>
                      </a:lnTo>
                      <a:close/>
                      <a:moveTo>
                        <a:pt x="8" y="49"/>
                      </a:moveTo>
                      <a:lnTo>
                        <a:pt x="8" y="49"/>
                      </a:lnTo>
                      <a:lnTo>
                        <a:pt x="18" y="48"/>
                      </a:lnTo>
                      <a:lnTo>
                        <a:pt x="18" y="45"/>
                      </a:lnTo>
                      <a:lnTo>
                        <a:pt x="18" y="45"/>
                      </a:lnTo>
                      <a:lnTo>
                        <a:pt x="8" y="46"/>
                      </a:lnTo>
                      <a:lnTo>
                        <a:pt x="8" y="49"/>
                      </a:lnTo>
                      <a:close/>
                      <a:moveTo>
                        <a:pt x="4" y="59"/>
                      </a:moveTo>
                      <a:lnTo>
                        <a:pt x="4" y="59"/>
                      </a:lnTo>
                      <a:lnTo>
                        <a:pt x="4" y="54"/>
                      </a:lnTo>
                      <a:lnTo>
                        <a:pt x="4" y="54"/>
                      </a:lnTo>
                      <a:lnTo>
                        <a:pt x="4" y="52"/>
                      </a:lnTo>
                      <a:lnTo>
                        <a:pt x="4" y="51"/>
                      </a:lnTo>
                      <a:lnTo>
                        <a:pt x="4" y="51"/>
                      </a:lnTo>
                      <a:lnTo>
                        <a:pt x="4" y="51"/>
                      </a:lnTo>
                      <a:lnTo>
                        <a:pt x="3" y="49"/>
                      </a:lnTo>
                      <a:lnTo>
                        <a:pt x="3" y="49"/>
                      </a:lnTo>
                      <a:lnTo>
                        <a:pt x="3" y="49"/>
                      </a:lnTo>
                      <a:lnTo>
                        <a:pt x="1" y="51"/>
                      </a:lnTo>
                      <a:lnTo>
                        <a:pt x="1" y="51"/>
                      </a:lnTo>
                      <a:lnTo>
                        <a:pt x="1" y="59"/>
                      </a:lnTo>
                      <a:lnTo>
                        <a:pt x="4" y="59"/>
                      </a:lnTo>
                      <a:close/>
                      <a:moveTo>
                        <a:pt x="3" y="75"/>
                      </a:moveTo>
                      <a:lnTo>
                        <a:pt x="3" y="75"/>
                      </a:lnTo>
                      <a:lnTo>
                        <a:pt x="3" y="65"/>
                      </a:lnTo>
                      <a:lnTo>
                        <a:pt x="1" y="65"/>
                      </a:lnTo>
                      <a:lnTo>
                        <a:pt x="1" y="65"/>
                      </a:lnTo>
                      <a:lnTo>
                        <a:pt x="0" y="75"/>
                      </a:lnTo>
                      <a:lnTo>
                        <a:pt x="3" y="75"/>
                      </a:lnTo>
                      <a:close/>
                      <a:moveTo>
                        <a:pt x="3" y="90"/>
                      </a:moveTo>
                      <a:lnTo>
                        <a:pt x="3" y="90"/>
                      </a:lnTo>
                      <a:lnTo>
                        <a:pt x="3" y="80"/>
                      </a:lnTo>
                      <a:lnTo>
                        <a:pt x="0" y="80"/>
                      </a:lnTo>
                      <a:lnTo>
                        <a:pt x="0" y="80"/>
                      </a:lnTo>
                      <a:lnTo>
                        <a:pt x="0" y="90"/>
                      </a:lnTo>
                      <a:lnTo>
                        <a:pt x="3" y="9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0" name="Freeform 1730"/>
                <p:cNvSpPr>
                  <a:spLocks noEditPoints="1"/>
                </p:cNvSpPr>
                <p:nvPr/>
              </p:nvSpPr>
              <p:spPr bwMode="auto">
                <a:xfrm>
                  <a:off x="5552356" y="2634549"/>
                  <a:ext cx="33635" cy="19785"/>
                </a:xfrm>
                <a:custGeom>
                  <a:avLst/>
                  <a:gdLst>
                    <a:gd name="T0" fmla="*/ 6 w 34"/>
                    <a:gd name="T1" fmla="*/ 4 h 20"/>
                    <a:gd name="T2" fmla="*/ 6 w 34"/>
                    <a:gd name="T3" fmla="*/ 4 h 20"/>
                    <a:gd name="T4" fmla="*/ 8 w 34"/>
                    <a:gd name="T5" fmla="*/ 1 h 20"/>
                    <a:gd name="T6" fmla="*/ 5 w 34"/>
                    <a:gd name="T7" fmla="*/ 0 h 20"/>
                    <a:gd name="T8" fmla="*/ 5 w 34"/>
                    <a:gd name="T9" fmla="*/ 0 h 20"/>
                    <a:gd name="T10" fmla="*/ 3 w 34"/>
                    <a:gd name="T11" fmla="*/ 3 h 20"/>
                    <a:gd name="T12" fmla="*/ 6 w 34"/>
                    <a:gd name="T13" fmla="*/ 4 h 20"/>
                    <a:gd name="T14" fmla="*/ 5 w 34"/>
                    <a:gd name="T15" fmla="*/ 16 h 20"/>
                    <a:gd name="T16" fmla="*/ 5 w 34"/>
                    <a:gd name="T17" fmla="*/ 16 h 20"/>
                    <a:gd name="T18" fmla="*/ 3 w 34"/>
                    <a:gd name="T19" fmla="*/ 16 h 20"/>
                    <a:gd name="T20" fmla="*/ 3 w 34"/>
                    <a:gd name="T21" fmla="*/ 14 h 20"/>
                    <a:gd name="T22" fmla="*/ 3 w 34"/>
                    <a:gd name="T23" fmla="*/ 14 h 20"/>
                    <a:gd name="T24" fmla="*/ 5 w 34"/>
                    <a:gd name="T25" fmla="*/ 8 h 20"/>
                    <a:gd name="T26" fmla="*/ 2 w 34"/>
                    <a:gd name="T27" fmla="*/ 8 h 20"/>
                    <a:gd name="T28" fmla="*/ 2 w 34"/>
                    <a:gd name="T29" fmla="*/ 8 h 20"/>
                    <a:gd name="T30" fmla="*/ 0 w 34"/>
                    <a:gd name="T31" fmla="*/ 14 h 20"/>
                    <a:gd name="T32" fmla="*/ 0 w 34"/>
                    <a:gd name="T33" fmla="*/ 16 h 20"/>
                    <a:gd name="T34" fmla="*/ 0 w 34"/>
                    <a:gd name="T35" fmla="*/ 16 h 20"/>
                    <a:gd name="T36" fmla="*/ 2 w 34"/>
                    <a:gd name="T37" fmla="*/ 17 h 20"/>
                    <a:gd name="T38" fmla="*/ 3 w 34"/>
                    <a:gd name="T39" fmla="*/ 19 h 20"/>
                    <a:gd name="T40" fmla="*/ 5 w 34"/>
                    <a:gd name="T41" fmla="*/ 16 h 20"/>
                    <a:gd name="T42" fmla="*/ 19 w 34"/>
                    <a:gd name="T43" fmla="*/ 16 h 20"/>
                    <a:gd name="T44" fmla="*/ 19 w 34"/>
                    <a:gd name="T45" fmla="*/ 16 h 20"/>
                    <a:gd name="T46" fmla="*/ 9 w 34"/>
                    <a:gd name="T47" fmla="*/ 17 h 20"/>
                    <a:gd name="T48" fmla="*/ 9 w 34"/>
                    <a:gd name="T49" fmla="*/ 17 h 20"/>
                    <a:gd name="T50" fmla="*/ 9 w 34"/>
                    <a:gd name="T51" fmla="*/ 20 h 20"/>
                    <a:gd name="T52" fmla="*/ 9 w 34"/>
                    <a:gd name="T53" fmla="*/ 20 h 20"/>
                    <a:gd name="T54" fmla="*/ 9 w 34"/>
                    <a:gd name="T55" fmla="*/ 20 h 20"/>
                    <a:gd name="T56" fmla="*/ 19 w 34"/>
                    <a:gd name="T57" fmla="*/ 19 h 20"/>
                    <a:gd name="T58" fmla="*/ 19 w 34"/>
                    <a:gd name="T59" fmla="*/ 16 h 20"/>
                    <a:gd name="T60" fmla="*/ 34 w 34"/>
                    <a:gd name="T61" fmla="*/ 13 h 20"/>
                    <a:gd name="T62" fmla="*/ 34 w 34"/>
                    <a:gd name="T63" fmla="*/ 13 h 20"/>
                    <a:gd name="T64" fmla="*/ 24 w 34"/>
                    <a:gd name="T65" fmla="*/ 16 h 20"/>
                    <a:gd name="T66" fmla="*/ 24 w 34"/>
                    <a:gd name="T67" fmla="*/ 17 h 20"/>
                    <a:gd name="T68" fmla="*/ 24 w 34"/>
                    <a:gd name="T69" fmla="*/ 17 h 20"/>
                    <a:gd name="T70" fmla="*/ 34 w 34"/>
                    <a:gd name="T71" fmla="*/ 16 h 20"/>
                    <a:gd name="T72" fmla="*/ 34 w 34"/>
                    <a:gd name="T73" fmla="*/ 13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4" h="20">
                      <a:moveTo>
                        <a:pt x="6" y="4"/>
                      </a:moveTo>
                      <a:lnTo>
                        <a:pt x="6" y="4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3" y="3"/>
                      </a:lnTo>
                      <a:lnTo>
                        <a:pt x="6" y="4"/>
                      </a:lnTo>
                      <a:close/>
                      <a:moveTo>
                        <a:pt x="5" y="16"/>
                      </a:moveTo>
                      <a:lnTo>
                        <a:pt x="5" y="16"/>
                      </a:lnTo>
                      <a:lnTo>
                        <a:pt x="3" y="16"/>
                      </a:ln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5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2" y="17"/>
                      </a:lnTo>
                      <a:lnTo>
                        <a:pt x="3" y="19"/>
                      </a:lnTo>
                      <a:lnTo>
                        <a:pt x="5" y="16"/>
                      </a:lnTo>
                      <a:close/>
                      <a:moveTo>
                        <a:pt x="19" y="16"/>
                      </a:moveTo>
                      <a:lnTo>
                        <a:pt x="19" y="16"/>
                      </a:lnTo>
                      <a:lnTo>
                        <a:pt x="9" y="17"/>
                      </a:lnTo>
                      <a:lnTo>
                        <a:pt x="9" y="17"/>
                      </a:lnTo>
                      <a:lnTo>
                        <a:pt x="9" y="20"/>
                      </a:lnTo>
                      <a:lnTo>
                        <a:pt x="9" y="20"/>
                      </a:lnTo>
                      <a:lnTo>
                        <a:pt x="9" y="20"/>
                      </a:lnTo>
                      <a:lnTo>
                        <a:pt x="19" y="19"/>
                      </a:lnTo>
                      <a:lnTo>
                        <a:pt x="19" y="16"/>
                      </a:lnTo>
                      <a:close/>
                      <a:moveTo>
                        <a:pt x="34" y="13"/>
                      </a:moveTo>
                      <a:lnTo>
                        <a:pt x="34" y="13"/>
                      </a:lnTo>
                      <a:lnTo>
                        <a:pt x="24" y="16"/>
                      </a:lnTo>
                      <a:lnTo>
                        <a:pt x="24" y="17"/>
                      </a:lnTo>
                      <a:lnTo>
                        <a:pt x="24" y="17"/>
                      </a:lnTo>
                      <a:lnTo>
                        <a:pt x="34" y="16"/>
                      </a:lnTo>
                      <a:lnTo>
                        <a:pt x="34" y="1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3" name="Freeform 1733"/>
                <p:cNvSpPr>
                  <a:spLocks noEditPoints="1"/>
                </p:cNvSpPr>
                <p:nvPr/>
              </p:nvSpPr>
              <p:spPr bwMode="auto">
                <a:xfrm>
                  <a:off x="4956821" y="3260750"/>
                  <a:ext cx="12860" cy="64302"/>
                </a:xfrm>
                <a:custGeom>
                  <a:avLst/>
                  <a:gdLst>
                    <a:gd name="T0" fmla="*/ 3 w 13"/>
                    <a:gd name="T1" fmla="*/ 58 h 65"/>
                    <a:gd name="T2" fmla="*/ 3 w 13"/>
                    <a:gd name="T3" fmla="*/ 58 h 65"/>
                    <a:gd name="T4" fmla="*/ 0 w 13"/>
                    <a:gd name="T5" fmla="*/ 63 h 65"/>
                    <a:gd name="T6" fmla="*/ 3 w 13"/>
                    <a:gd name="T7" fmla="*/ 65 h 65"/>
                    <a:gd name="T8" fmla="*/ 3 w 13"/>
                    <a:gd name="T9" fmla="*/ 65 h 65"/>
                    <a:gd name="T10" fmla="*/ 6 w 13"/>
                    <a:gd name="T11" fmla="*/ 59 h 65"/>
                    <a:gd name="T12" fmla="*/ 3 w 13"/>
                    <a:gd name="T13" fmla="*/ 58 h 65"/>
                    <a:gd name="T14" fmla="*/ 9 w 13"/>
                    <a:gd name="T15" fmla="*/ 43 h 65"/>
                    <a:gd name="T16" fmla="*/ 9 w 13"/>
                    <a:gd name="T17" fmla="*/ 43 h 65"/>
                    <a:gd name="T18" fmla="*/ 6 w 13"/>
                    <a:gd name="T19" fmla="*/ 53 h 65"/>
                    <a:gd name="T20" fmla="*/ 7 w 13"/>
                    <a:gd name="T21" fmla="*/ 53 h 65"/>
                    <a:gd name="T22" fmla="*/ 7 w 13"/>
                    <a:gd name="T23" fmla="*/ 53 h 65"/>
                    <a:gd name="T24" fmla="*/ 11 w 13"/>
                    <a:gd name="T25" fmla="*/ 45 h 65"/>
                    <a:gd name="T26" fmla="*/ 9 w 13"/>
                    <a:gd name="T27" fmla="*/ 43 h 65"/>
                    <a:gd name="T28" fmla="*/ 10 w 13"/>
                    <a:gd name="T29" fmla="*/ 29 h 65"/>
                    <a:gd name="T30" fmla="*/ 10 w 13"/>
                    <a:gd name="T31" fmla="*/ 29 h 65"/>
                    <a:gd name="T32" fmla="*/ 10 w 13"/>
                    <a:gd name="T33" fmla="*/ 32 h 65"/>
                    <a:gd name="T34" fmla="*/ 10 w 13"/>
                    <a:gd name="T35" fmla="*/ 32 h 65"/>
                    <a:gd name="T36" fmla="*/ 10 w 13"/>
                    <a:gd name="T37" fmla="*/ 34 h 65"/>
                    <a:gd name="T38" fmla="*/ 10 w 13"/>
                    <a:gd name="T39" fmla="*/ 34 h 65"/>
                    <a:gd name="T40" fmla="*/ 10 w 13"/>
                    <a:gd name="T41" fmla="*/ 39 h 65"/>
                    <a:gd name="T42" fmla="*/ 13 w 13"/>
                    <a:gd name="T43" fmla="*/ 39 h 65"/>
                    <a:gd name="T44" fmla="*/ 13 w 13"/>
                    <a:gd name="T45" fmla="*/ 39 h 65"/>
                    <a:gd name="T46" fmla="*/ 13 w 13"/>
                    <a:gd name="T47" fmla="*/ 36 h 65"/>
                    <a:gd name="T48" fmla="*/ 13 w 13"/>
                    <a:gd name="T49" fmla="*/ 36 h 65"/>
                    <a:gd name="T50" fmla="*/ 13 w 13"/>
                    <a:gd name="T51" fmla="*/ 32 h 65"/>
                    <a:gd name="T52" fmla="*/ 13 w 13"/>
                    <a:gd name="T53" fmla="*/ 32 h 65"/>
                    <a:gd name="T54" fmla="*/ 13 w 13"/>
                    <a:gd name="T55" fmla="*/ 29 h 65"/>
                    <a:gd name="T56" fmla="*/ 10 w 13"/>
                    <a:gd name="T57" fmla="*/ 29 h 65"/>
                    <a:gd name="T58" fmla="*/ 6 w 13"/>
                    <a:gd name="T59" fmla="*/ 14 h 65"/>
                    <a:gd name="T60" fmla="*/ 6 w 13"/>
                    <a:gd name="T61" fmla="*/ 14 h 65"/>
                    <a:gd name="T62" fmla="*/ 10 w 13"/>
                    <a:gd name="T63" fmla="*/ 24 h 65"/>
                    <a:gd name="T64" fmla="*/ 11 w 13"/>
                    <a:gd name="T65" fmla="*/ 23 h 65"/>
                    <a:gd name="T66" fmla="*/ 11 w 13"/>
                    <a:gd name="T67" fmla="*/ 23 h 65"/>
                    <a:gd name="T68" fmla="*/ 9 w 13"/>
                    <a:gd name="T69" fmla="*/ 14 h 65"/>
                    <a:gd name="T70" fmla="*/ 6 w 13"/>
                    <a:gd name="T71" fmla="*/ 14 h 65"/>
                    <a:gd name="T72" fmla="*/ 0 w 13"/>
                    <a:gd name="T73" fmla="*/ 1 h 65"/>
                    <a:gd name="T74" fmla="*/ 0 w 13"/>
                    <a:gd name="T75" fmla="*/ 1 h 65"/>
                    <a:gd name="T76" fmla="*/ 4 w 13"/>
                    <a:gd name="T77" fmla="*/ 10 h 65"/>
                    <a:gd name="T78" fmla="*/ 7 w 13"/>
                    <a:gd name="T79" fmla="*/ 8 h 65"/>
                    <a:gd name="T80" fmla="*/ 7 w 13"/>
                    <a:gd name="T81" fmla="*/ 8 h 65"/>
                    <a:gd name="T82" fmla="*/ 1 w 13"/>
                    <a:gd name="T83" fmla="*/ 0 h 65"/>
                    <a:gd name="T84" fmla="*/ 0 w 13"/>
                    <a:gd name="T85" fmla="*/ 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3" h="65">
                      <a:moveTo>
                        <a:pt x="3" y="58"/>
                      </a:moveTo>
                      <a:lnTo>
                        <a:pt x="3" y="58"/>
                      </a:lnTo>
                      <a:lnTo>
                        <a:pt x="0" y="63"/>
                      </a:lnTo>
                      <a:lnTo>
                        <a:pt x="3" y="65"/>
                      </a:lnTo>
                      <a:lnTo>
                        <a:pt x="3" y="65"/>
                      </a:lnTo>
                      <a:lnTo>
                        <a:pt x="6" y="59"/>
                      </a:lnTo>
                      <a:lnTo>
                        <a:pt x="3" y="58"/>
                      </a:lnTo>
                      <a:close/>
                      <a:moveTo>
                        <a:pt x="9" y="43"/>
                      </a:moveTo>
                      <a:lnTo>
                        <a:pt x="9" y="43"/>
                      </a:lnTo>
                      <a:lnTo>
                        <a:pt x="6" y="53"/>
                      </a:lnTo>
                      <a:lnTo>
                        <a:pt x="7" y="53"/>
                      </a:lnTo>
                      <a:lnTo>
                        <a:pt x="7" y="53"/>
                      </a:lnTo>
                      <a:lnTo>
                        <a:pt x="11" y="45"/>
                      </a:lnTo>
                      <a:lnTo>
                        <a:pt x="9" y="43"/>
                      </a:lnTo>
                      <a:close/>
                      <a:moveTo>
                        <a:pt x="10" y="29"/>
                      </a:moveTo>
                      <a:lnTo>
                        <a:pt x="10" y="29"/>
                      </a:lnTo>
                      <a:lnTo>
                        <a:pt x="10" y="32"/>
                      </a:lnTo>
                      <a:lnTo>
                        <a:pt x="10" y="32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9"/>
                      </a:lnTo>
                      <a:lnTo>
                        <a:pt x="13" y="39"/>
                      </a:lnTo>
                      <a:lnTo>
                        <a:pt x="13" y="39"/>
                      </a:lnTo>
                      <a:lnTo>
                        <a:pt x="13" y="36"/>
                      </a:lnTo>
                      <a:lnTo>
                        <a:pt x="13" y="36"/>
                      </a:lnTo>
                      <a:lnTo>
                        <a:pt x="13" y="32"/>
                      </a:lnTo>
                      <a:lnTo>
                        <a:pt x="13" y="32"/>
                      </a:lnTo>
                      <a:lnTo>
                        <a:pt x="13" y="29"/>
                      </a:lnTo>
                      <a:lnTo>
                        <a:pt x="10" y="29"/>
                      </a:lnTo>
                      <a:close/>
                      <a:moveTo>
                        <a:pt x="6" y="14"/>
                      </a:moveTo>
                      <a:lnTo>
                        <a:pt x="6" y="14"/>
                      </a:lnTo>
                      <a:lnTo>
                        <a:pt x="10" y="24"/>
                      </a:lnTo>
                      <a:lnTo>
                        <a:pt x="11" y="23"/>
                      </a:lnTo>
                      <a:lnTo>
                        <a:pt x="11" y="23"/>
                      </a:lnTo>
                      <a:lnTo>
                        <a:pt x="9" y="14"/>
                      </a:lnTo>
                      <a:lnTo>
                        <a:pt x="6" y="14"/>
                      </a:lnTo>
                      <a:close/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4" y="10"/>
                      </a:lnTo>
                      <a:lnTo>
                        <a:pt x="7" y="8"/>
                      </a:lnTo>
                      <a:lnTo>
                        <a:pt x="7" y="8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5" name="Freeform 1735"/>
                <p:cNvSpPr>
                  <a:spLocks/>
                </p:cNvSpPr>
                <p:nvPr/>
              </p:nvSpPr>
              <p:spPr bwMode="auto">
                <a:xfrm>
                  <a:off x="4508687" y="2410976"/>
                  <a:ext cx="1979" cy="15828"/>
                </a:xfrm>
                <a:custGeom>
                  <a:avLst/>
                  <a:gdLst>
                    <a:gd name="T0" fmla="*/ 0 w 2"/>
                    <a:gd name="T1" fmla="*/ 0 h 16"/>
                    <a:gd name="T2" fmla="*/ 0 w 2"/>
                    <a:gd name="T3" fmla="*/ 0 h 16"/>
                    <a:gd name="T4" fmla="*/ 2 w 2"/>
                    <a:gd name="T5" fmla="*/ 7 h 16"/>
                    <a:gd name="T6" fmla="*/ 1 w 2"/>
                    <a:gd name="T7" fmla="*/ 16 h 16"/>
                    <a:gd name="T8" fmla="*/ 0 w 2"/>
                    <a:gd name="T9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7"/>
                      </a:lnTo>
                      <a:lnTo>
                        <a:pt x="1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6" name="Freeform 1736"/>
                <p:cNvSpPr>
                  <a:spLocks/>
                </p:cNvSpPr>
                <p:nvPr/>
              </p:nvSpPr>
              <p:spPr bwMode="auto">
                <a:xfrm>
                  <a:off x="4508687" y="2410976"/>
                  <a:ext cx="1979" cy="15828"/>
                </a:xfrm>
                <a:custGeom>
                  <a:avLst/>
                  <a:gdLst>
                    <a:gd name="T0" fmla="*/ 0 w 2"/>
                    <a:gd name="T1" fmla="*/ 0 h 16"/>
                    <a:gd name="T2" fmla="*/ 0 w 2"/>
                    <a:gd name="T3" fmla="*/ 0 h 16"/>
                    <a:gd name="T4" fmla="*/ 2 w 2"/>
                    <a:gd name="T5" fmla="*/ 7 h 16"/>
                    <a:gd name="T6" fmla="*/ 1 w 2"/>
                    <a:gd name="T7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7"/>
                      </a:lnTo>
                      <a:lnTo>
                        <a:pt x="1" y="16"/>
                      </a:ln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7" name="Freeform 1737"/>
                <p:cNvSpPr>
                  <a:spLocks noEditPoints="1"/>
                </p:cNvSpPr>
                <p:nvPr/>
              </p:nvSpPr>
              <p:spPr bwMode="auto">
                <a:xfrm>
                  <a:off x="4508687" y="2408998"/>
                  <a:ext cx="3957" cy="17807"/>
                </a:xfrm>
                <a:custGeom>
                  <a:avLst/>
                  <a:gdLst>
                    <a:gd name="T0" fmla="*/ 1 w 4"/>
                    <a:gd name="T1" fmla="*/ 16 h 18"/>
                    <a:gd name="T2" fmla="*/ 1 w 4"/>
                    <a:gd name="T3" fmla="*/ 16 h 18"/>
                    <a:gd name="T4" fmla="*/ 0 w 4"/>
                    <a:gd name="T5" fmla="*/ 18 h 18"/>
                    <a:gd name="T6" fmla="*/ 2 w 4"/>
                    <a:gd name="T7" fmla="*/ 18 h 18"/>
                    <a:gd name="T8" fmla="*/ 2 w 4"/>
                    <a:gd name="T9" fmla="*/ 18 h 18"/>
                    <a:gd name="T10" fmla="*/ 2 w 4"/>
                    <a:gd name="T11" fmla="*/ 16 h 18"/>
                    <a:gd name="T12" fmla="*/ 1 w 4"/>
                    <a:gd name="T13" fmla="*/ 16 h 18"/>
                    <a:gd name="T14" fmla="*/ 0 w 4"/>
                    <a:gd name="T15" fmla="*/ 2 h 18"/>
                    <a:gd name="T16" fmla="*/ 0 w 4"/>
                    <a:gd name="T17" fmla="*/ 2 h 18"/>
                    <a:gd name="T18" fmla="*/ 0 w 4"/>
                    <a:gd name="T19" fmla="*/ 6 h 18"/>
                    <a:gd name="T20" fmla="*/ 1 w 4"/>
                    <a:gd name="T21" fmla="*/ 12 h 18"/>
                    <a:gd name="T22" fmla="*/ 4 w 4"/>
                    <a:gd name="T23" fmla="*/ 12 h 18"/>
                    <a:gd name="T24" fmla="*/ 4 w 4"/>
                    <a:gd name="T25" fmla="*/ 12 h 18"/>
                    <a:gd name="T26" fmla="*/ 2 w 4"/>
                    <a:gd name="T27" fmla="*/ 6 h 18"/>
                    <a:gd name="T28" fmla="*/ 1 w 4"/>
                    <a:gd name="T29" fmla="*/ 0 h 18"/>
                    <a:gd name="T30" fmla="*/ 0 w 4"/>
                    <a:gd name="T31" fmla="*/ 2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" h="18">
                      <a:moveTo>
                        <a:pt x="1" y="16"/>
                      </a:moveTo>
                      <a:lnTo>
                        <a:pt x="1" y="16"/>
                      </a:lnTo>
                      <a:lnTo>
                        <a:pt x="0" y="18"/>
                      </a:lnTo>
                      <a:lnTo>
                        <a:pt x="2" y="18"/>
                      </a:lnTo>
                      <a:lnTo>
                        <a:pt x="2" y="18"/>
                      </a:lnTo>
                      <a:lnTo>
                        <a:pt x="2" y="16"/>
                      </a:lnTo>
                      <a:lnTo>
                        <a:pt x="1" y="16"/>
                      </a:lnTo>
                      <a:close/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1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2" y="6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8" name="Freeform 1738"/>
                <p:cNvSpPr>
                  <a:spLocks noEditPoints="1"/>
                </p:cNvSpPr>
                <p:nvPr/>
              </p:nvSpPr>
              <p:spPr bwMode="auto">
                <a:xfrm>
                  <a:off x="4203006" y="2874939"/>
                  <a:ext cx="77162" cy="2968"/>
                </a:xfrm>
                <a:custGeom>
                  <a:avLst/>
                  <a:gdLst>
                    <a:gd name="T0" fmla="*/ 2 w 78"/>
                    <a:gd name="T1" fmla="*/ 0 h 3"/>
                    <a:gd name="T2" fmla="*/ 0 w 78"/>
                    <a:gd name="T3" fmla="*/ 0 h 3"/>
                    <a:gd name="T4" fmla="*/ 0 w 78"/>
                    <a:gd name="T5" fmla="*/ 3 h 3"/>
                    <a:gd name="T6" fmla="*/ 2 w 78"/>
                    <a:gd name="T7" fmla="*/ 3 h 3"/>
                    <a:gd name="T8" fmla="*/ 2 w 78"/>
                    <a:gd name="T9" fmla="*/ 0 h 3"/>
                    <a:gd name="T10" fmla="*/ 17 w 78"/>
                    <a:gd name="T11" fmla="*/ 0 h 3"/>
                    <a:gd name="T12" fmla="*/ 7 w 78"/>
                    <a:gd name="T13" fmla="*/ 0 h 3"/>
                    <a:gd name="T14" fmla="*/ 7 w 78"/>
                    <a:gd name="T15" fmla="*/ 3 h 3"/>
                    <a:gd name="T16" fmla="*/ 17 w 78"/>
                    <a:gd name="T17" fmla="*/ 3 h 3"/>
                    <a:gd name="T18" fmla="*/ 17 w 78"/>
                    <a:gd name="T19" fmla="*/ 0 h 3"/>
                    <a:gd name="T20" fmla="*/ 32 w 78"/>
                    <a:gd name="T21" fmla="*/ 0 h 3"/>
                    <a:gd name="T22" fmla="*/ 22 w 78"/>
                    <a:gd name="T23" fmla="*/ 0 h 3"/>
                    <a:gd name="T24" fmla="*/ 22 w 78"/>
                    <a:gd name="T25" fmla="*/ 3 h 3"/>
                    <a:gd name="T26" fmla="*/ 32 w 78"/>
                    <a:gd name="T27" fmla="*/ 3 h 3"/>
                    <a:gd name="T28" fmla="*/ 32 w 78"/>
                    <a:gd name="T29" fmla="*/ 0 h 3"/>
                    <a:gd name="T30" fmla="*/ 48 w 78"/>
                    <a:gd name="T31" fmla="*/ 0 h 3"/>
                    <a:gd name="T32" fmla="*/ 38 w 78"/>
                    <a:gd name="T33" fmla="*/ 0 h 3"/>
                    <a:gd name="T34" fmla="*/ 38 w 78"/>
                    <a:gd name="T35" fmla="*/ 3 h 3"/>
                    <a:gd name="T36" fmla="*/ 48 w 78"/>
                    <a:gd name="T37" fmla="*/ 3 h 3"/>
                    <a:gd name="T38" fmla="*/ 48 w 78"/>
                    <a:gd name="T39" fmla="*/ 0 h 3"/>
                    <a:gd name="T40" fmla="*/ 62 w 78"/>
                    <a:gd name="T41" fmla="*/ 0 h 3"/>
                    <a:gd name="T42" fmla="*/ 52 w 78"/>
                    <a:gd name="T43" fmla="*/ 0 h 3"/>
                    <a:gd name="T44" fmla="*/ 52 w 78"/>
                    <a:gd name="T45" fmla="*/ 3 h 3"/>
                    <a:gd name="T46" fmla="*/ 62 w 78"/>
                    <a:gd name="T47" fmla="*/ 3 h 3"/>
                    <a:gd name="T48" fmla="*/ 62 w 78"/>
                    <a:gd name="T49" fmla="*/ 0 h 3"/>
                    <a:gd name="T50" fmla="*/ 78 w 78"/>
                    <a:gd name="T51" fmla="*/ 0 h 3"/>
                    <a:gd name="T52" fmla="*/ 68 w 78"/>
                    <a:gd name="T53" fmla="*/ 0 h 3"/>
                    <a:gd name="T54" fmla="*/ 68 w 78"/>
                    <a:gd name="T55" fmla="*/ 3 h 3"/>
                    <a:gd name="T56" fmla="*/ 78 w 78"/>
                    <a:gd name="T57" fmla="*/ 3 h 3"/>
                    <a:gd name="T58" fmla="*/ 78 w 78"/>
                    <a:gd name="T5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78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close/>
                      <a:moveTo>
                        <a:pt x="17" y="0"/>
                      </a:moveTo>
                      <a:lnTo>
                        <a:pt x="7" y="0"/>
                      </a:lnTo>
                      <a:lnTo>
                        <a:pt x="7" y="3"/>
                      </a:lnTo>
                      <a:lnTo>
                        <a:pt x="17" y="3"/>
                      </a:lnTo>
                      <a:lnTo>
                        <a:pt x="17" y="0"/>
                      </a:lnTo>
                      <a:close/>
                      <a:moveTo>
                        <a:pt x="32" y="0"/>
                      </a:moveTo>
                      <a:lnTo>
                        <a:pt x="22" y="0"/>
                      </a:lnTo>
                      <a:lnTo>
                        <a:pt x="22" y="3"/>
                      </a:lnTo>
                      <a:lnTo>
                        <a:pt x="32" y="3"/>
                      </a:lnTo>
                      <a:lnTo>
                        <a:pt x="32" y="0"/>
                      </a:lnTo>
                      <a:close/>
                      <a:moveTo>
                        <a:pt x="48" y="0"/>
                      </a:moveTo>
                      <a:lnTo>
                        <a:pt x="38" y="0"/>
                      </a:lnTo>
                      <a:lnTo>
                        <a:pt x="38" y="3"/>
                      </a:lnTo>
                      <a:lnTo>
                        <a:pt x="48" y="3"/>
                      </a:lnTo>
                      <a:lnTo>
                        <a:pt x="48" y="0"/>
                      </a:lnTo>
                      <a:close/>
                      <a:moveTo>
                        <a:pt x="62" y="0"/>
                      </a:moveTo>
                      <a:lnTo>
                        <a:pt x="52" y="0"/>
                      </a:lnTo>
                      <a:lnTo>
                        <a:pt x="52" y="3"/>
                      </a:lnTo>
                      <a:lnTo>
                        <a:pt x="62" y="3"/>
                      </a:lnTo>
                      <a:lnTo>
                        <a:pt x="62" y="0"/>
                      </a:lnTo>
                      <a:close/>
                      <a:moveTo>
                        <a:pt x="78" y="0"/>
                      </a:moveTo>
                      <a:lnTo>
                        <a:pt x="68" y="0"/>
                      </a:lnTo>
                      <a:lnTo>
                        <a:pt x="68" y="3"/>
                      </a:lnTo>
                      <a:lnTo>
                        <a:pt x="78" y="3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89" name="Freeform 1739"/>
                <p:cNvSpPr>
                  <a:spLocks noEditPoints="1"/>
                </p:cNvSpPr>
                <p:nvPr/>
              </p:nvSpPr>
              <p:spPr bwMode="auto">
                <a:xfrm>
                  <a:off x="4908348" y="3744498"/>
                  <a:ext cx="26710" cy="34624"/>
                </a:xfrm>
                <a:custGeom>
                  <a:avLst/>
                  <a:gdLst>
                    <a:gd name="T0" fmla="*/ 8 w 27"/>
                    <a:gd name="T1" fmla="*/ 7 h 35"/>
                    <a:gd name="T2" fmla="*/ 10 w 27"/>
                    <a:gd name="T3" fmla="*/ 6 h 35"/>
                    <a:gd name="T4" fmla="*/ 10 w 27"/>
                    <a:gd name="T5" fmla="*/ 6 h 35"/>
                    <a:gd name="T6" fmla="*/ 13 w 27"/>
                    <a:gd name="T7" fmla="*/ 5 h 35"/>
                    <a:gd name="T8" fmla="*/ 17 w 27"/>
                    <a:gd name="T9" fmla="*/ 3 h 35"/>
                    <a:gd name="T10" fmla="*/ 16 w 27"/>
                    <a:gd name="T11" fmla="*/ 0 h 35"/>
                    <a:gd name="T12" fmla="*/ 16 w 27"/>
                    <a:gd name="T13" fmla="*/ 0 h 35"/>
                    <a:gd name="T14" fmla="*/ 11 w 27"/>
                    <a:gd name="T15" fmla="*/ 2 h 35"/>
                    <a:gd name="T16" fmla="*/ 7 w 27"/>
                    <a:gd name="T17" fmla="*/ 5 h 35"/>
                    <a:gd name="T18" fmla="*/ 7 w 27"/>
                    <a:gd name="T19" fmla="*/ 5 h 35"/>
                    <a:gd name="T20" fmla="*/ 7 w 27"/>
                    <a:gd name="T21" fmla="*/ 6 h 35"/>
                    <a:gd name="T22" fmla="*/ 8 w 27"/>
                    <a:gd name="T23" fmla="*/ 7 h 35"/>
                    <a:gd name="T24" fmla="*/ 4 w 27"/>
                    <a:gd name="T25" fmla="*/ 21 h 35"/>
                    <a:gd name="T26" fmla="*/ 4 w 27"/>
                    <a:gd name="T27" fmla="*/ 21 h 35"/>
                    <a:gd name="T28" fmla="*/ 7 w 27"/>
                    <a:gd name="T29" fmla="*/ 12 h 35"/>
                    <a:gd name="T30" fmla="*/ 4 w 27"/>
                    <a:gd name="T31" fmla="*/ 10 h 35"/>
                    <a:gd name="T32" fmla="*/ 4 w 27"/>
                    <a:gd name="T33" fmla="*/ 10 h 35"/>
                    <a:gd name="T34" fmla="*/ 1 w 27"/>
                    <a:gd name="T35" fmla="*/ 21 h 35"/>
                    <a:gd name="T36" fmla="*/ 4 w 27"/>
                    <a:gd name="T37" fmla="*/ 21 h 35"/>
                    <a:gd name="T38" fmla="*/ 5 w 27"/>
                    <a:gd name="T39" fmla="*/ 32 h 35"/>
                    <a:gd name="T40" fmla="*/ 5 w 27"/>
                    <a:gd name="T41" fmla="*/ 32 h 35"/>
                    <a:gd name="T42" fmla="*/ 3 w 27"/>
                    <a:gd name="T43" fmla="*/ 32 h 35"/>
                    <a:gd name="T44" fmla="*/ 3 w 27"/>
                    <a:gd name="T45" fmla="*/ 31 h 35"/>
                    <a:gd name="T46" fmla="*/ 3 w 27"/>
                    <a:gd name="T47" fmla="*/ 31 h 35"/>
                    <a:gd name="T48" fmla="*/ 3 w 27"/>
                    <a:gd name="T49" fmla="*/ 26 h 35"/>
                    <a:gd name="T50" fmla="*/ 1 w 27"/>
                    <a:gd name="T51" fmla="*/ 25 h 35"/>
                    <a:gd name="T52" fmla="*/ 1 w 27"/>
                    <a:gd name="T53" fmla="*/ 25 h 35"/>
                    <a:gd name="T54" fmla="*/ 0 w 27"/>
                    <a:gd name="T55" fmla="*/ 31 h 35"/>
                    <a:gd name="T56" fmla="*/ 0 w 27"/>
                    <a:gd name="T57" fmla="*/ 31 h 35"/>
                    <a:gd name="T58" fmla="*/ 0 w 27"/>
                    <a:gd name="T59" fmla="*/ 32 h 35"/>
                    <a:gd name="T60" fmla="*/ 1 w 27"/>
                    <a:gd name="T61" fmla="*/ 34 h 35"/>
                    <a:gd name="T62" fmla="*/ 1 w 27"/>
                    <a:gd name="T63" fmla="*/ 34 h 35"/>
                    <a:gd name="T64" fmla="*/ 4 w 27"/>
                    <a:gd name="T65" fmla="*/ 35 h 35"/>
                    <a:gd name="T66" fmla="*/ 5 w 27"/>
                    <a:gd name="T67" fmla="*/ 32 h 35"/>
                    <a:gd name="T68" fmla="*/ 18 w 27"/>
                    <a:gd name="T69" fmla="*/ 29 h 35"/>
                    <a:gd name="T70" fmla="*/ 18 w 27"/>
                    <a:gd name="T71" fmla="*/ 29 h 35"/>
                    <a:gd name="T72" fmla="*/ 17 w 27"/>
                    <a:gd name="T73" fmla="*/ 31 h 35"/>
                    <a:gd name="T74" fmla="*/ 17 w 27"/>
                    <a:gd name="T75" fmla="*/ 31 h 35"/>
                    <a:gd name="T76" fmla="*/ 10 w 27"/>
                    <a:gd name="T77" fmla="*/ 32 h 35"/>
                    <a:gd name="T78" fmla="*/ 10 w 27"/>
                    <a:gd name="T79" fmla="*/ 35 h 35"/>
                    <a:gd name="T80" fmla="*/ 10 w 27"/>
                    <a:gd name="T81" fmla="*/ 35 h 35"/>
                    <a:gd name="T82" fmla="*/ 17 w 27"/>
                    <a:gd name="T83" fmla="*/ 34 h 35"/>
                    <a:gd name="T84" fmla="*/ 17 w 27"/>
                    <a:gd name="T85" fmla="*/ 34 h 35"/>
                    <a:gd name="T86" fmla="*/ 20 w 27"/>
                    <a:gd name="T87" fmla="*/ 32 h 35"/>
                    <a:gd name="T88" fmla="*/ 18 w 27"/>
                    <a:gd name="T89" fmla="*/ 29 h 35"/>
                    <a:gd name="T90" fmla="*/ 24 w 27"/>
                    <a:gd name="T91" fmla="*/ 16 h 35"/>
                    <a:gd name="T92" fmla="*/ 24 w 27"/>
                    <a:gd name="T93" fmla="*/ 16 h 35"/>
                    <a:gd name="T94" fmla="*/ 21 w 27"/>
                    <a:gd name="T95" fmla="*/ 26 h 35"/>
                    <a:gd name="T96" fmla="*/ 23 w 27"/>
                    <a:gd name="T97" fmla="*/ 28 h 35"/>
                    <a:gd name="T98" fmla="*/ 23 w 27"/>
                    <a:gd name="T99" fmla="*/ 28 h 35"/>
                    <a:gd name="T100" fmla="*/ 27 w 27"/>
                    <a:gd name="T101" fmla="*/ 18 h 35"/>
                    <a:gd name="T102" fmla="*/ 24 w 27"/>
                    <a:gd name="T103" fmla="*/ 16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7" h="35">
                      <a:moveTo>
                        <a:pt x="8" y="7"/>
                      </a:move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3" y="5"/>
                      </a:lnTo>
                      <a:lnTo>
                        <a:pt x="17" y="3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1" y="2"/>
                      </a:lnTo>
                      <a:lnTo>
                        <a:pt x="7" y="5"/>
                      </a:lnTo>
                      <a:lnTo>
                        <a:pt x="7" y="5"/>
                      </a:lnTo>
                      <a:lnTo>
                        <a:pt x="7" y="6"/>
                      </a:lnTo>
                      <a:lnTo>
                        <a:pt x="8" y="7"/>
                      </a:lnTo>
                      <a:close/>
                      <a:moveTo>
                        <a:pt x="4" y="21"/>
                      </a:moveTo>
                      <a:lnTo>
                        <a:pt x="4" y="21"/>
                      </a:lnTo>
                      <a:lnTo>
                        <a:pt x="7" y="12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1" y="21"/>
                      </a:lnTo>
                      <a:lnTo>
                        <a:pt x="4" y="21"/>
                      </a:lnTo>
                      <a:close/>
                      <a:moveTo>
                        <a:pt x="5" y="32"/>
                      </a:moveTo>
                      <a:lnTo>
                        <a:pt x="5" y="32"/>
                      </a:lnTo>
                      <a:lnTo>
                        <a:pt x="3" y="32"/>
                      </a:lnTo>
                      <a:lnTo>
                        <a:pt x="3" y="31"/>
                      </a:lnTo>
                      <a:lnTo>
                        <a:pt x="3" y="31"/>
                      </a:lnTo>
                      <a:lnTo>
                        <a:pt x="3" y="26"/>
                      </a:lnTo>
                      <a:lnTo>
                        <a:pt x="1" y="25"/>
                      </a:lnTo>
                      <a:lnTo>
                        <a:pt x="1" y="25"/>
                      </a:lnTo>
                      <a:lnTo>
                        <a:pt x="0" y="31"/>
                      </a:lnTo>
                      <a:lnTo>
                        <a:pt x="0" y="31"/>
                      </a:lnTo>
                      <a:lnTo>
                        <a:pt x="0" y="32"/>
                      </a:lnTo>
                      <a:lnTo>
                        <a:pt x="1" y="34"/>
                      </a:lnTo>
                      <a:lnTo>
                        <a:pt x="1" y="34"/>
                      </a:lnTo>
                      <a:lnTo>
                        <a:pt x="4" y="35"/>
                      </a:lnTo>
                      <a:lnTo>
                        <a:pt x="5" y="32"/>
                      </a:lnTo>
                      <a:close/>
                      <a:moveTo>
                        <a:pt x="18" y="29"/>
                      </a:moveTo>
                      <a:lnTo>
                        <a:pt x="18" y="29"/>
                      </a:lnTo>
                      <a:lnTo>
                        <a:pt x="17" y="31"/>
                      </a:lnTo>
                      <a:lnTo>
                        <a:pt x="17" y="31"/>
                      </a:lnTo>
                      <a:lnTo>
                        <a:pt x="10" y="32"/>
                      </a:lnTo>
                      <a:lnTo>
                        <a:pt x="10" y="35"/>
                      </a:lnTo>
                      <a:lnTo>
                        <a:pt x="10" y="35"/>
                      </a:lnTo>
                      <a:lnTo>
                        <a:pt x="17" y="34"/>
                      </a:lnTo>
                      <a:lnTo>
                        <a:pt x="17" y="34"/>
                      </a:lnTo>
                      <a:lnTo>
                        <a:pt x="20" y="32"/>
                      </a:lnTo>
                      <a:lnTo>
                        <a:pt x="18" y="29"/>
                      </a:lnTo>
                      <a:close/>
                      <a:moveTo>
                        <a:pt x="24" y="16"/>
                      </a:moveTo>
                      <a:lnTo>
                        <a:pt x="24" y="16"/>
                      </a:lnTo>
                      <a:lnTo>
                        <a:pt x="21" y="26"/>
                      </a:lnTo>
                      <a:lnTo>
                        <a:pt x="23" y="28"/>
                      </a:lnTo>
                      <a:lnTo>
                        <a:pt x="23" y="28"/>
                      </a:lnTo>
                      <a:lnTo>
                        <a:pt x="27" y="18"/>
                      </a:lnTo>
                      <a:lnTo>
                        <a:pt x="24" y="16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91" name="Freeform 1741"/>
                <p:cNvSpPr>
                  <a:spLocks noEditPoints="1"/>
                </p:cNvSpPr>
                <p:nvPr/>
              </p:nvSpPr>
              <p:spPr bwMode="auto">
                <a:xfrm>
                  <a:off x="4427568" y="2581129"/>
                  <a:ext cx="10882" cy="8903"/>
                </a:xfrm>
                <a:custGeom>
                  <a:avLst/>
                  <a:gdLst>
                    <a:gd name="T0" fmla="*/ 9 w 11"/>
                    <a:gd name="T1" fmla="*/ 7 h 9"/>
                    <a:gd name="T2" fmla="*/ 11 w 11"/>
                    <a:gd name="T3" fmla="*/ 7 h 9"/>
                    <a:gd name="T4" fmla="*/ 8 w 11"/>
                    <a:gd name="T5" fmla="*/ 4 h 9"/>
                    <a:gd name="T6" fmla="*/ 8 w 11"/>
                    <a:gd name="T7" fmla="*/ 6 h 9"/>
                    <a:gd name="T8" fmla="*/ 9 w 11"/>
                    <a:gd name="T9" fmla="*/ 7 h 9"/>
                    <a:gd name="T10" fmla="*/ 5 w 11"/>
                    <a:gd name="T11" fmla="*/ 9 h 9"/>
                    <a:gd name="T12" fmla="*/ 5 w 11"/>
                    <a:gd name="T13" fmla="*/ 9 h 9"/>
                    <a:gd name="T14" fmla="*/ 6 w 11"/>
                    <a:gd name="T15" fmla="*/ 9 h 9"/>
                    <a:gd name="T16" fmla="*/ 6 w 11"/>
                    <a:gd name="T17" fmla="*/ 9 h 9"/>
                    <a:gd name="T18" fmla="*/ 8 w 11"/>
                    <a:gd name="T19" fmla="*/ 9 h 9"/>
                    <a:gd name="T20" fmla="*/ 6 w 11"/>
                    <a:gd name="T21" fmla="*/ 6 h 9"/>
                    <a:gd name="T22" fmla="*/ 6 w 11"/>
                    <a:gd name="T23" fmla="*/ 6 h 9"/>
                    <a:gd name="T24" fmla="*/ 5 w 11"/>
                    <a:gd name="T25" fmla="*/ 6 h 9"/>
                    <a:gd name="T26" fmla="*/ 5 w 11"/>
                    <a:gd name="T27" fmla="*/ 7 h 9"/>
                    <a:gd name="T28" fmla="*/ 5 w 11"/>
                    <a:gd name="T29" fmla="*/ 6 h 9"/>
                    <a:gd name="T30" fmla="*/ 5 w 11"/>
                    <a:gd name="T31" fmla="*/ 6 h 9"/>
                    <a:gd name="T32" fmla="*/ 5 w 11"/>
                    <a:gd name="T33" fmla="*/ 7 h 9"/>
                    <a:gd name="T34" fmla="*/ 5 w 11"/>
                    <a:gd name="T35" fmla="*/ 6 h 9"/>
                    <a:gd name="T36" fmla="*/ 5 w 11"/>
                    <a:gd name="T37" fmla="*/ 7 h 9"/>
                    <a:gd name="T38" fmla="*/ 5 w 11"/>
                    <a:gd name="T39" fmla="*/ 6 h 9"/>
                    <a:gd name="T40" fmla="*/ 5 w 11"/>
                    <a:gd name="T41" fmla="*/ 6 h 9"/>
                    <a:gd name="T42" fmla="*/ 5 w 11"/>
                    <a:gd name="T43" fmla="*/ 7 h 9"/>
                    <a:gd name="T44" fmla="*/ 5 w 11"/>
                    <a:gd name="T45" fmla="*/ 6 h 9"/>
                    <a:gd name="T46" fmla="*/ 5 w 11"/>
                    <a:gd name="T47" fmla="*/ 9 h 9"/>
                    <a:gd name="T48" fmla="*/ 2 w 11"/>
                    <a:gd name="T49" fmla="*/ 4 h 9"/>
                    <a:gd name="T50" fmla="*/ 2 w 11"/>
                    <a:gd name="T51" fmla="*/ 4 h 9"/>
                    <a:gd name="T52" fmla="*/ 3 w 11"/>
                    <a:gd name="T53" fmla="*/ 7 h 9"/>
                    <a:gd name="T54" fmla="*/ 5 w 11"/>
                    <a:gd name="T55" fmla="*/ 6 h 9"/>
                    <a:gd name="T56" fmla="*/ 5 w 11"/>
                    <a:gd name="T57" fmla="*/ 6 h 9"/>
                    <a:gd name="T58" fmla="*/ 5 w 11"/>
                    <a:gd name="T59" fmla="*/ 4 h 9"/>
                    <a:gd name="T60" fmla="*/ 2 w 11"/>
                    <a:gd name="T61" fmla="*/ 4 h 9"/>
                    <a:gd name="T62" fmla="*/ 0 w 11"/>
                    <a:gd name="T63" fmla="*/ 2 h 9"/>
                    <a:gd name="T64" fmla="*/ 0 w 11"/>
                    <a:gd name="T65" fmla="*/ 2 h 9"/>
                    <a:gd name="T66" fmla="*/ 2 w 11"/>
                    <a:gd name="T67" fmla="*/ 3 h 9"/>
                    <a:gd name="T68" fmla="*/ 3 w 11"/>
                    <a:gd name="T69" fmla="*/ 3 h 9"/>
                    <a:gd name="T70" fmla="*/ 3 w 11"/>
                    <a:gd name="T71" fmla="*/ 3 h 9"/>
                    <a:gd name="T72" fmla="*/ 3 w 11"/>
                    <a:gd name="T73" fmla="*/ 0 h 9"/>
                    <a:gd name="T74" fmla="*/ 0 w 11"/>
                    <a:gd name="T75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1" h="9">
                      <a:moveTo>
                        <a:pt x="9" y="7"/>
                      </a:moveTo>
                      <a:lnTo>
                        <a:pt x="11" y="7"/>
                      </a:lnTo>
                      <a:lnTo>
                        <a:pt x="8" y="4"/>
                      </a:lnTo>
                      <a:lnTo>
                        <a:pt x="8" y="6"/>
                      </a:lnTo>
                      <a:lnTo>
                        <a:pt x="9" y="7"/>
                      </a:lnTo>
                      <a:close/>
                      <a:moveTo>
                        <a:pt x="5" y="9"/>
                      </a:moveTo>
                      <a:lnTo>
                        <a:pt x="5" y="9"/>
                      </a:lnTo>
                      <a:lnTo>
                        <a:pt x="6" y="9"/>
                      </a:lnTo>
                      <a:lnTo>
                        <a:pt x="6" y="9"/>
                      </a:lnTo>
                      <a:lnTo>
                        <a:pt x="8" y="9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5" y="6"/>
                      </a:lnTo>
                      <a:lnTo>
                        <a:pt x="5" y="7"/>
                      </a:lnTo>
                      <a:lnTo>
                        <a:pt x="5" y="6"/>
                      </a:lnTo>
                      <a:lnTo>
                        <a:pt x="5" y="6"/>
                      </a:lnTo>
                      <a:lnTo>
                        <a:pt x="5" y="7"/>
                      </a:lnTo>
                      <a:lnTo>
                        <a:pt x="5" y="6"/>
                      </a:lnTo>
                      <a:lnTo>
                        <a:pt x="5" y="7"/>
                      </a:lnTo>
                      <a:lnTo>
                        <a:pt x="5" y="6"/>
                      </a:lnTo>
                      <a:lnTo>
                        <a:pt x="5" y="6"/>
                      </a:lnTo>
                      <a:lnTo>
                        <a:pt x="5" y="7"/>
                      </a:lnTo>
                      <a:lnTo>
                        <a:pt x="5" y="6"/>
                      </a:lnTo>
                      <a:lnTo>
                        <a:pt x="5" y="9"/>
                      </a:lnTo>
                      <a:close/>
                      <a:moveTo>
                        <a:pt x="2" y="4"/>
                      </a:moveTo>
                      <a:lnTo>
                        <a:pt x="2" y="4"/>
                      </a:lnTo>
                      <a:lnTo>
                        <a:pt x="3" y="7"/>
                      </a:lnTo>
                      <a:lnTo>
                        <a:pt x="5" y="6"/>
                      </a:lnTo>
                      <a:lnTo>
                        <a:pt x="5" y="6"/>
                      </a:lnTo>
                      <a:lnTo>
                        <a:pt x="5" y="4"/>
                      </a:lnTo>
                      <a:lnTo>
                        <a:pt x="2" y="4"/>
                      </a:lnTo>
                      <a:close/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92" name="Freeform 1742"/>
                <p:cNvSpPr>
                  <a:spLocks/>
                </p:cNvSpPr>
                <p:nvPr/>
              </p:nvSpPr>
              <p:spPr bwMode="auto">
                <a:xfrm>
                  <a:off x="4568042" y="2475278"/>
                  <a:ext cx="2968" cy="5936"/>
                </a:xfrm>
                <a:custGeom>
                  <a:avLst/>
                  <a:gdLst>
                    <a:gd name="T0" fmla="*/ 0 w 3"/>
                    <a:gd name="T1" fmla="*/ 1 h 6"/>
                    <a:gd name="T2" fmla="*/ 0 w 3"/>
                    <a:gd name="T3" fmla="*/ 1 h 6"/>
                    <a:gd name="T4" fmla="*/ 0 w 3"/>
                    <a:gd name="T5" fmla="*/ 4 h 6"/>
                    <a:gd name="T6" fmla="*/ 0 w 3"/>
                    <a:gd name="T7" fmla="*/ 4 h 6"/>
                    <a:gd name="T8" fmla="*/ 0 w 3"/>
                    <a:gd name="T9" fmla="*/ 6 h 6"/>
                    <a:gd name="T10" fmla="*/ 3 w 3"/>
                    <a:gd name="T11" fmla="*/ 6 h 6"/>
                    <a:gd name="T12" fmla="*/ 3 w 3"/>
                    <a:gd name="T13" fmla="*/ 6 h 6"/>
                    <a:gd name="T14" fmla="*/ 3 w 3"/>
                    <a:gd name="T15" fmla="*/ 4 h 6"/>
                    <a:gd name="T16" fmla="*/ 3 w 3"/>
                    <a:gd name="T17" fmla="*/ 4 h 6"/>
                    <a:gd name="T18" fmla="*/ 3 w 3"/>
                    <a:gd name="T19" fmla="*/ 0 h 6"/>
                    <a:gd name="T20" fmla="*/ 0 w 3"/>
                    <a:gd name="T21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" h="6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93" name="Freeform 1743"/>
                <p:cNvSpPr>
                  <a:spLocks noEditPoints="1"/>
                </p:cNvSpPr>
                <p:nvPr/>
              </p:nvSpPr>
              <p:spPr bwMode="auto">
                <a:xfrm>
                  <a:off x="4512644" y="2558376"/>
                  <a:ext cx="9893" cy="10882"/>
                </a:xfrm>
                <a:custGeom>
                  <a:avLst/>
                  <a:gdLst>
                    <a:gd name="T0" fmla="*/ 0 w 10"/>
                    <a:gd name="T1" fmla="*/ 11 h 11"/>
                    <a:gd name="T2" fmla="*/ 0 w 10"/>
                    <a:gd name="T3" fmla="*/ 11 h 11"/>
                    <a:gd name="T4" fmla="*/ 0 w 10"/>
                    <a:gd name="T5" fmla="*/ 11 h 11"/>
                    <a:gd name="T6" fmla="*/ 1 w 10"/>
                    <a:gd name="T7" fmla="*/ 11 h 11"/>
                    <a:gd name="T8" fmla="*/ 1 w 10"/>
                    <a:gd name="T9" fmla="*/ 11 h 11"/>
                    <a:gd name="T10" fmla="*/ 1 w 10"/>
                    <a:gd name="T11" fmla="*/ 11 h 11"/>
                    <a:gd name="T12" fmla="*/ 0 w 10"/>
                    <a:gd name="T13" fmla="*/ 11 h 11"/>
                    <a:gd name="T14" fmla="*/ 0 w 10"/>
                    <a:gd name="T15" fmla="*/ 7 h 11"/>
                    <a:gd name="T16" fmla="*/ 0 w 10"/>
                    <a:gd name="T17" fmla="*/ 7 h 11"/>
                    <a:gd name="T18" fmla="*/ 0 w 10"/>
                    <a:gd name="T19" fmla="*/ 10 h 11"/>
                    <a:gd name="T20" fmla="*/ 1 w 10"/>
                    <a:gd name="T21" fmla="*/ 10 h 11"/>
                    <a:gd name="T22" fmla="*/ 1 w 10"/>
                    <a:gd name="T23" fmla="*/ 10 h 11"/>
                    <a:gd name="T24" fmla="*/ 1 w 10"/>
                    <a:gd name="T25" fmla="*/ 7 h 11"/>
                    <a:gd name="T26" fmla="*/ 0 w 10"/>
                    <a:gd name="T27" fmla="*/ 7 h 11"/>
                    <a:gd name="T28" fmla="*/ 1 w 10"/>
                    <a:gd name="T29" fmla="*/ 3 h 11"/>
                    <a:gd name="T30" fmla="*/ 1 w 10"/>
                    <a:gd name="T31" fmla="*/ 3 h 11"/>
                    <a:gd name="T32" fmla="*/ 0 w 10"/>
                    <a:gd name="T33" fmla="*/ 6 h 11"/>
                    <a:gd name="T34" fmla="*/ 1 w 10"/>
                    <a:gd name="T35" fmla="*/ 6 h 11"/>
                    <a:gd name="T36" fmla="*/ 1 w 10"/>
                    <a:gd name="T37" fmla="*/ 6 h 11"/>
                    <a:gd name="T38" fmla="*/ 3 w 10"/>
                    <a:gd name="T39" fmla="*/ 4 h 11"/>
                    <a:gd name="T40" fmla="*/ 1 w 10"/>
                    <a:gd name="T41" fmla="*/ 3 h 11"/>
                    <a:gd name="T42" fmla="*/ 4 w 10"/>
                    <a:gd name="T43" fmla="*/ 0 h 11"/>
                    <a:gd name="T44" fmla="*/ 4 w 10"/>
                    <a:gd name="T45" fmla="*/ 0 h 11"/>
                    <a:gd name="T46" fmla="*/ 4 w 10"/>
                    <a:gd name="T47" fmla="*/ 0 h 11"/>
                    <a:gd name="T48" fmla="*/ 3 w 10"/>
                    <a:gd name="T49" fmla="*/ 1 h 11"/>
                    <a:gd name="T50" fmla="*/ 1 w 10"/>
                    <a:gd name="T51" fmla="*/ 1 h 11"/>
                    <a:gd name="T52" fmla="*/ 3 w 10"/>
                    <a:gd name="T53" fmla="*/ 3 h 11"/>
                    <a:gd name="T54" fmla="*/ 3 w 10"/>
                    <a:gd name="T55" fmla="*/ 3 h 11"/>
                    <a:gd name="T56" fmla="*/ 3 w 10"/>
                    <a:gd name="T57" fmla="*/ 3 h 11"/>
                    <a:gd name="T58" fmla="*/ 4 w 10"/>
                    <a:gd name="T59" fmla="*/ 1 h 11"/>
                    <a:gd name="T60" fmla="*/ 4 w 10"/>
                    <a:gd name="T61" fmla="*/ 1 h 11"/>
                    <a:gd name="T62" fmla="*/ 4 w 10"/>
                    <a:gd name="T63" fmla="*/ 0 h 11"/>
                    <a:gd name="T64" fmla="*/ 7 w 10"/>
                    <a:gd name="T65" fmla="*/ 3 h 11"/>
                    <a:gd name="T66" fmla="*/ 7 w 10"/>
                    <a:gd name="T67" fmla="*/ 3 h 11"/>
                    <a:gd name="T68" fmla="*/ 6 w 10"/>
                    <a:gd name="T69" fmla="*/ 1 h 11"/>
                    <a:gd name="T70" fmla="*/ 6 w 10"/>
                    <a:gd name="T71" fmla="*/ 3 h 11"/>
                    <a:gd name="T72" fmla="*/ 6 w 10"/>
                    <a:gd name="T73" fmla="*/ 3 h 11"/>
                    <a:gd name="T74" fmla="*/ 7 w 10"/>
                    <a:gd name="T75" fmla="*/ 4 h 11"/>
                    <a:gd name="T76" fmla="*/ 7 w 10"/>
                    <a:gd name="T77" fmla="*/ 3 h 11"/>
                    <a:gd name="T78" fmla="*/ 10 w 10"/>
                    <a:gd name="T79" fmla="*/ 7 h 11"/>
                    <a:gd name="T80" fmla="*/ 10 w 10"/>
                    <a:gd name="T81" fmla="*/ 7 h 11"/>
                    <a:gd name="T82" fmla="*/ 9 w 10"/>
                    <a:gd name="T83" fmla="*/ 4 h 11"/>
                    <a:gd name="T84" fmla="*/ 7 w 10"/>
                    <a:gd name="T85" fmla="*/ 6 h 11"/>
                    <a:gd name="T86" fmla="*/ 7 w 10"/>
                    <a:gd name="T87" fmla="*/ 6 h 11"/>
                    <a:gd name="T88" fmla="*/ 9 w 10"/>
                    <a:gd name="T89" fmla="*/ 7 h 11"/>
                    <a:gd name="T90" fmla="*/ 10 w 10"/>
                    <a:gd name="T91" fmla="*/ 7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0" h="11">
                      <a:moveTo>
                        <a:pt x="0" y="11"/>
                      </a:moveTo>
                      <a:lnTo>
                        <a:pt x="0" y="11"/>
                      </a:lnTo>
                      <a:lnTo>
                        <a:pt x="0" y="11"/>
                      </a:lnTo>
                      <a:lnTo>
                        <a:pt x="1" y="11"/>
                      </a:lnTo>
                      <a:lnTo>
                        <a:pt x="1" y="11"/>
                      </a:lnTo>
                      <a:lnTo>
                        <a:pt x="1" y="11"/>
                      </a:lnTo>
                      <a:lnTo>
                        <a:pt x="0" y="11"/>
                      </a:lnTo>
                      <a:close/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0" y="10"/>
                      </a:lnTo>
                      <a:lnTo>
                        <a:pt x="1" y="10"/>
                      </a:lnTo>
                      <a:lnTo>
                        <a:pt x="1" y="10"/>
                      </a:lnTo>
                      <a:lnTo>
                        <a:pt x="1" y="7"/>
                      </a:lnTo>
                      <a:lnTo>
                        <a:pt x="0" y="7"/>
                      </a:lnTo>
                      <a:close/>
                      <a:moveTo>
                        <a:pt x="1" y="3"/>
                      </a:moveTo>
                      <a:lnTo>
                        <a:pt x="1" y="3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3" y="4"/>
                      </a:lnTo>
                      <a:lnTo>
                        <a:pt x="1" y="3"/>
                      </a:lnTo>
                      <a:close/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1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close/>
                      <a:moveTo>
                        <a:pt x="7" y="3"/>
                      </a:moveTo>
                      <a:lnTo>
                        <a:pt x="7" y="3"/>
                      </a:lnTo>
                      <a:lnTo>
                        <a:pt x="6" y="1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7" y="4"/>
                      </a:lnTo>
                      <a:lnTo>
                        <a:pt x="7" y="3"/>
                      </a:lnTo>
                      <a:close/>
                      <a:moveTo>
                        <a:pt x="10" y="7"/>
                      </a:moveTo>
                      <a:lnTo>
                        <a:pt x="10" y="7"/>
                      </a:lnTo>
                      <a:lnTo>
                        <a:pt x="9" y="4"/>
                      </a:lnTo>
                      <a:lnTo>
                        <a:pt x="7" y="6"/>
                      </a:lnTo>
                      <a:lnTo>
                        <a:pt x="7" y="6"/>
                      </a:lnTo>
                      <a:lnTo>
                        <a:pt x="9" y="7"/>
                      </a:lnTo>
                      <a:lnTo>
                        <a:pt x="10" y="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94" name="Freeform 1744"/>
                <p:cNvSpPr>
                  <a:spLocks/>
                </p:cNvSpPr>
                <p:nvPr/>
              </p:nvSpPr>
              <p:spPr bwMode="auto">
                <a:xfrm>
                  <a:off x="4602667" y="2549472"/>
                  <a:ext cx="5936" cy="4946"/>
                </a:xfrm>
                <a:custGeom>
                  <a:avLst/>
                  <a:gdLst>
                    <a:gd name="T0" fmla="*/ 3 w 6"/>
                    <a:gd name="T1" fmla="*/ 5 h 5"/>
                    <a:gd name="T2" fmla="*/ 3 w 6"/>
                    <a:gd name="T3" fmla="*/ 5 h 5"/>
                    <a:gd name="T4" fmla="*/ 2 w 6"/>
                    <a:gd name="T5" fmla="*/ 5 h 5"/>
                    <a:gd name="T6" fmla="*/ 0 w 6"/>
                    <a:gd name="T7" fmla="*/ 3 h 5"/>
                    <a:gd name="T8" fmla="*/ 0 w 6"/>
                    <a:gd name="T9" fmla="*/ 2 h 5"/>
                    <a:gd name="T10" fmla="*/ 3 w 6"/>
                    <a:gd name="T11" fmla="*/ 0 h 5"/>
                    <a:gd name="T12" fmla="*/ 3 w 6"/>
                    <a:gd name="T13" fmla="*/ 0 h 5"/>
                    <a:gd name="T14" fmla="*/ 4 w 6"/>
                    <a:gd name="T15" fmla="*/ 0 h 5"/>
                    <a:gd name="T16" fmla="*/ 6 w 6"/>
                    <a:gd name="T17" fmla="*/ 2 h 5"/>
                    <a:gd name="T18" fmla="*/ 3 w 6"/>
                    <a:gd name="T1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5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95" name="Freeform 1745"/>
                <p:cNvSpPr>
                  <a:spLocks/>
                </p:cNvSpPr>
                <p:nvPr/>
              </p:nvSpPr>
              <p:spPr bwMode="auto">
                <a:xfrm>
                  <a:off x="4602667" y="2549472"/>
                  <a:ext cx="5936" cy="4946"/>
                </a:xfrm>
                <a:custGeom>
                  <a:avLst/>
                  <a:gdLst>
                    <a:gd name="T0" fmla="*/ 3 w 6"/>
                    <a:gd name="T1" fmla="*/ 5 h 5"/>
                    <a:gd name="T2" fmla="*/ 3 w 6"/>
                    <a:gd name="T3" fmla="*/ 5 h 5"/>
                    <a:gd name="T4" fmla="*/ 2 w 6"/>
                    <a:gd name="T5" fmla="*/ 5 h 5"/>
                    <a:gd name="T6" fmla="*/ 0 w 6"/>
                    <a:gd name="T7" fmla="*/ 3 h 5"/>
                    <a:gd name="T8" fmla="*/ 0 w 6"/>
                    <a:gd name="T9" fmla="*/ 2 h 5"/>
                    <a:gd name="T10" fmla="*/ 3 w 6"/>
                    <a:gd name="T11" fmla="*/ 0 h 5"/>
                    <a:gd name="T12" fmla="*/ 3 w 6"/>
                    <a:gd name="T13" fmla="*/ 0 h 5"/>
                    <a:gd name="T14" fmla="*/ 4 w 6"/>
                    <a:gd name="T15" fmla="*/ 0 h 5"/>
                    <a:gd name="T16" fmla="*/ 6 w 6"/>
                    <a:gd name="T17" fmla="*/ 2 h 5"/>
                    <a:gd name="T18" fmla="*/ 3 w 6"/>
                    <a:gd name="T1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5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3" y="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96" name="Freeform 1746"/>
                <p:cNvSpPr>
                  <a:spLocks noEditPoints="1"/>
                </p:cNvSpPr>
                <p:nvPr/>
              </p:nvSpPr>
              <p:spPr bwMode="auto">
                <a:xfrm>
                  <a:off x="4602667" y="2548483"/>
                  <a:ext cx="5936" cy="5936"/>
                </a:xfrm>
                <a:custGeom>
                  <a:avLst/>
                  <a:gdLst>
                    <a:gd name="T0" fmla="*/ 3 w 6"/>
                    <a:gd name="T1" fmla="*/ 4 h 6"/>
                    <a:gd name="T2" fmla="*/ 3 w 6"/>
                    <a:gd name="T3" fmla="*/ 4 h 6"/>
                    <a:gd name="T4" fmla="*/ 2 w 6"/>
                    <a:gd name="T5" fmla="*/ 4 h 6"/>
                    <a:gd name="T6" fmla="*/ 0 w 6"/>
                    <a:gd name="T7" fmla="*/ 6 h 6"/>
                    <a:gd name="T8" fmla="*/ 0 w 6"/>
                    <a:gd name="T9" fmla="*/ 6 h 6"/>
                    <a:gd name="T10" fmla="*/ 3 w 6"/>
                    <a:gd name="T11" fmla="*/ 6 h 6"/>
                    <a:gd name="T12" fmla="*/ 3 w 6"/>
                    <a:gd name="T13" fmla="*/ 6 h 6"/>
                    <a:gd name="T14" fmla="*/ 4 w 6"/>
                    <a:gd name="T15" fmla="*/ 6 h 6"/>
                    <a:gd name="T16" fmla="*/ 3 w 6"/>
                    <a:gd name="T17" fmla="*/ 4 h 6"/>
                    <a:gd name="T18" fmla="*/ 4 w 6"/>
                    <a:gd name="T19" fmla="*/ 3 h 6"/>
                    <a:gd name="T20" fmla="*/ 4 w 6"/>
                    <a:gd name="T21" fmla="*/ 3 h 6"/>
                    <a:gd name="T22" fmla="*/ 3 w 6"/>
                    <a:gd name="T23" fmla="*/ 4 h 6"/>
                    <a:gd name="T24" fmla="*/ 4 w 6"/>
                    <a:gd name="T25" fmla="*/ 6 h 6"/>
                    <a:gd name="T26" fmla="*/ 4 w 6"/>
                    <a:gd name="T27" fmla="*/ 6 h 6"/>
                    <a:gd name="T28" fmla="*/ 6 w 6"/>
                    <a:gd name="T29" fmla="*/ 3 h 6"/>
                    <a:gd name="T30" fmla="*/ 4 w 6"/>
                    <a:gd name="T31" fmla="*/ 3 h 6"/>
                    <a:gd name="T32" fmla="*/ 3 w 6"/>
                    <a:gd name="T33" fmla="*/ 3 h 6"/>
                    <a:gd name="T34" fmla="*/ 3 w 6"/>
                    <a:gd name="T35" fmla="*/ 3 h 6"/>
                    <a:gd name="T36" fmla="*/ 4 w 6"/>
                    <a:gd name="T37" fmla="*/ 1 h 6"/>
                    <a:gd name="T38" fmla="*/ 4 w 6"/>
                    <a:gd name="T39" fmla="*/ 1 h 6"/>
                    <a:gd name="T40" fmla="*/ 6 w 6"/>
                    <a:gd name="T41" fmla="*/ 1 h 6"/>
                    <a:gd name="T42" fmla="*/ 6 w 6"/>
                    <a:gd name="T43" fmla="*/ 1 h 6"/>
                    <a:gd name="T44" fmla="*/ 4 w 6"/>
                    <a:gd name="T45" fmla="*/ 0 h 6"/>
                    <a:gd name="T46" fmla="*/ 4 w 6"/>
                    <a:gd name="T47" fmla="*/ 0 h 6"/>
                    <a:gd name="T48" fmla="*/ 3 w 6"/>
                    <a:gd name="T49" fmla="*/ 1 h 6"/>
                    <a:gd name="T50" fmla="*/ 3 w 6"/>
                    <a:gd name="T51" fmla="*/ 3 h 6"/>
                    <a:gd name="T52" fmla="*/ 2 w 6"/>
                    <a:gd name="T53" fmla="*/ 4 h 6"/>
                    <a:gd name="T54" fmla="*/ 2 w 6"/>
                    <a:gd name="T55" fmla="*/ 4 h 6"/>
                    <a:gd name="T56" fmla="*/ 2 w 6"/>
                    <a:gd name="T57" fmla="*/ 4 h 6"/>
                    <a:gd name="T58" fmla="*/ 2 w 6"/>
                    <a:gd name="T59" fmla="*/ 3 h 6"/>
                    <a:gd name="T60" fmla="*/ 2 w 6"/>
                    <a:gd name="T61" fmla="*/ 1 h 6"/>
                    <a:gd name="T62" fmla="*/ 2 w 6"/>
                    <a:gd name="T63" fmla="*/ 1 h 6"/>
                    <a:gd name="T64" fmla="*/ 0 w 6"/>
                    <a:gd name="T65" fmla="*/ 4 h 6"/>
                    <a:gd name="T66" fmla="*/ 0 w 6"/>
                    <a:gd name="T67" fmla="*/ 4 h 6"/>
                    <a:gd name="T68" fmla="*/ 2 w 6"/>
                    <a:gd name="T6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6" h="6">
                      <a:moveTo>
                        <a:pt x="3" y="4"/>
                      </a:move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3" y="4"/>
                      </a:lnTo>
                      <a:close/>
                      <a:moveTo>
                        <a:pt x="4" y="3"/>
                      </a:moveTo>
                      <a:lnTo>
                        <a:pt x="4" y="3"/>
                      </a:lnTo>
                      <a:lnTo>
                        <a:pt x="3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6" y="3"/>
                      </a:lnTo>
                      <a:lnTo>
                        <a:pt x="4" y="3"/>
                      </a:lnTo>
                      <a:close/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3" y="3"/>
                      </a:lnTo>
                      <a:close/>
                      <a:moveTo>
                        <a:pt x="2" y="4"/>
                      </a:move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97" name="Freeform 1747"/>
                <p:cNvSpPr>
                  <a:spLocks/>
                </p:cNvSpPr>
                <p:nvPr/>
              </p:nvSpPr>
              <p:spPr bwMode="auto">
                <a:xfrm>
                  <a:off x="4612559" y="2593000"/>
                  <a:ext cx="2968" cy="3957"/>
                </a:xfrm>
                <a:custGeom>
                  <a:avLst/>
                  <a:gdLst>
                    <a:gd name="T0" fmla="*/ 3 w 3"/>
                    <a:gd name="T1" fmla="*/ 4 h 4"/>
                    <a:gd name="T2" fmla="*/ 3 w 3"/>
                    <a:gd name="T3" fmla="*/ 4 h 4"/>
                    <a:gd name="T4" fmla="*/ 2 w 3"/>
                    <a:gd name="T5" fmla="*/ 4 h 4"/>
                    <a:gd name="T6" fmla="*/ 0 w 3"/>
                    <a:gd name="T7" fmla="*/ 3 h 4"/>
                    <a:gd name="T8" fmla="*/ 2 w 3"/>
                    <a:gd name="T9" fmla="*/ 0 h 4"/>
                    <a:gd name="T10" fmla="*/ 2 w 3"/>
                    <a:gd name="T11" fmla="*/ 0 h 4"/>
                    <a:gd name="T12" fmla="*/ 3 w 3"/>
                    <a:gd name="T13" fmla="*/ 1 h 4"/>
                    <a:gd name="T14" fmla="*/ 3 w 3"/>
                    <a:gd name="T15" fmla="*/ 3 h 4"/>
                    <a:gd name="T16" fmla="*/ 3 w 3"/>
                    <a:gd name="T17" fmla="*/ 4 h 4"/>
                    <a:gd name="T18" fmla="*/ 3 w 3"/>
                    <a:gd name="T1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98" name="Freeform 1748"/>
                <p:cNvSpPr>
                  <a:spLocks/>
                </p:cNvSpPr>
                <p:nvPr/>
              </p:nvSpPr>
              <p:spPr bwMode="auto">
                <a:xfrm>
                  <a:off x="4612559" y="2593000"/>
                  <a:ext cx="2968" cy="3957"/>
                </a:xfrm>
                <a:custGeom>
                  <a:avLst/>
                  <a:gdLst>
                    <a:gd name="T0" fmla="*/ 3 w 3"/>
                    <a:gd name="T1" fmla="*/ 4 h 4"/>
                    <a:gd name="T2" fmla="*/ 3 w 3"/>
                    <a:gd name="T3" fmla="*/ 4 h 4"/>
                    <a:gd name="T4" fmla="*/ 2 w 3"/>
                    <a:gd name="T5" fmla="*/ 4 h 4"/>
                    <a:gd name="T6" fmla="*/ 0 w 3"/>
                    <a:gd name="T7" fmla="*/ 3 h 4"/>
                    <a:gd name="T8" fmla="*/ 2 w 3"/>
                    <a:gd name="T9" fmla="*/ 0 h 4"/>
                    <a:gd name="T10" fmla="*/ 2 w 3"/>
                    <a:gd name="T11" fmla="*/ 0 h 4"/>
                    <a:gd name="T12" fmla="*/ 3 w 3"/>
                    <a:gd name="T13" fmla="*/ 1 h 4"/>
                    <a:gd name="T14" fmla="*/ 3 w 3"/>
                    <a:gd name="T15" fmla="*/ 3 h 4"/>
                    <a:gd name="T16" fmla="*/ 3 w 3"/>
                    <a:gd name="T17" fmla="*/ 4 h 4"/>
                    <a:gd name="T18" fmla="*/ 3 w 3"/>
                    <a:gd name="T1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3" y="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99" name="Freeform 1749"/>
                <p:cNvSpPr>
                  <a:spLocks noEditPoints="1"/>
                </p:cNvSpPr>
                <p:nvPr/>
              </p:nvSpPr>
              <p:spPr bwMode="auto">
                <a:xfrm>
                  <a:off x="4612559" y="2593989"/>
                  <a:ext cx="4946" cy="3957"/>
                </a:xfrm>
                <a:custGeom>
                  <a:avLst/>
                  <a:gdLst>
                    <a:gd name="T0" fmla="*/ 3 w 5"/>
                    <a:gd name="T1" fmla="*/ 3 h 4"/>
                    <a:gd name="T2" fmla="*/ 3 w 5"/>
                    <a:gd name="T3" fmla="*/ 3 h 4"/>
                    <a:gd name="T4" fmla="*/ 2 w 5"/>
                    <a:gd name="T5" fmla="*/ 2 h 4"/>
                    <a:gd name="T6" fmla="*/ 0 w 5"/>
                    <a:gd name="T7" fmla="*/ 2 h 4"/>
                    <a:gd name="T8" fmla="*/ 0 w 5"/>
                    <a:gd name="T9" fmla="*/ 2 h 4"/>
                    <a:gd name="T10" fmla="*/ 0 w 5"/>
                    <a:gd name="T11" fmla="*/ 3 h 4"/>
                    <a:gd name="T12" fmla="*/ 2 w 5"/>
                    <a:gd name="T13" fmla="*/ 4 h 4"/>
                    <a:gd name="T14" fmla="*/ 3 w 5"/>
                    <a:gd name="T15" fmla="*/ 3 h 4"/>
                    <a:gd name="T16" fmla="*/ 3 w 5"/>
                    <a:gd name="T17" fmla="*/ 0 h 4"/>
                    <a:gd name="T18" fmla="*/ 3 w 5"/>
                    <a:gd name="T19" fmla="*/ 0 h 4"/>
                    <a:gd name="T20" fmla="*/ 3 w 5"/>
                    <a:gd name="T21" fmla="*/ 2 h 4"/>
                    <a:gd name="T22" fmla="*/ 3 w 5"/>
                    <a:gd name="T23" fmla="*/ 3 h 4"/>
                    <a:gd name="T24" fmla="*/ 5 w 5"/>
                    <a:gd name="T25" fmla="*/ 3 h 4"/>
                    <a:gd name="T26" fmla="*/ 5 w 5"/>
                    <a:gd name="T27" fmla="*/ 2 h 4"/>
                    <a:gd name="T28" fmla="*/ 5 w 5"/>
                    <a:gd name="T29" fmla="*/ 2 h 4"/>
                    <a:gd name="T30" fmla="*/ 3 w 5"/>
                    <a:gd name="T31" fmla="*/ 0 h 4"/>
                    <a:gd name="T32" fmla="*/ 3 w 5"/>
                    <a:gd name="T3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" h="4"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3" y="3"/>
                      </a:lnTo>
                      <a:close/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00" name="Freeform 1750"/>
                <p:cNvSpPr>
                  <a:spLocks noEditPoints="1"/>
                </p:cNvSpPr>
                <p:nvPr/>
              </p:nvSpPr>
              <p:spPr bwMode="auto">
                <a:xfrm>
                  <a:off x="4720388" y="2551451"/>
                  <a:ext cx="16817" cy="32646"/>
                </a:xfrm>
                <a:custGeom>
                  <a:avLst/>
                  <a:gdLst>
                    <a:gd name="T0" fmla="*/ 7 w 17"/>
                    <a:gd name="T1" fmla="*/ 4 h 33"/>
                    <a:gd name="T2" fmla="*/ 7 w 17"/>
                    <a:gd name="T3" fmla="*/ 4 h 33"/>
                    <a:gd name="T4" fmla="*/ 3 w 17"/>
                    <a:gd name="T5" fmla="*/ 0 h 33"/>
                    <a:gd name="T6" fmla="*/ 0 w 17"/>
                    <a:gd name="T7" fmla="*/ 1 h 33"/>
                    <a:gd name="T8" fmla="*/ 0 w 17"/>
                    <a:gd name="T9" fmla="*/ 1 h 33"/>
                    <a:gd name="T10" fmla="*/ 6 w 17"/>
                    <a:gd name="T11" fmla="*/ 5 h 33"/>
                    <a:gd name="T12" fmla="*/ 7 w 17"/>
                    <a:gd name="T13" fmla="*/ 4 h 33"/>
                    <a:gd name="T14" fmla="*/ 16 w 17"/>
                    <a:gd name="T15" fmla="*/ 17 h 33"/>
                    <a:gd name="T16" fmla="*/ 16 w 17"/>
                    <a:gd name="T17" fmla="*/ 17 h 33"/>
                    <a:gd name="T18" fmla="*/ 16 w 17"/>
                    <a:gd name="T19" fmla="*/ 17 h 33"/>
                    <a:gd name="T20" fmla="*/ 14 w 17"/>
                    <a:gd name="T21" fmla="*/ 13 h 33"/>
                    <a:gd name="T22" fmla="*/ 10 w 17"/>
                    <a:gd name="T23" fmla="*/ 7 h 33"/>
                    <a:gd name="T24" fmla="*/ 9 w 17"/>
                    <a:gd name="T25" fmla="*/ 10 h 33"/>
                    <a:gd name="T26" fmla="*/ 9 w 17"/>
                    <a:gd name="T27" fmla="*/ 10 h 33"/>
                    <a:gd name="T28" fmla="*/ 13 w 17"/>
                    <a:gd name="T29" fmla="*/ 17 h 33"/>
                    <a:gd name="T30" fmla="*/ 14 w 17"/>
                    <a:gd name="T31" fmla="*/ 17 h 33"/>
                    <a:gd name="T32" fmla="*/ 16 w 17"/>
                    <a:gd name="T33" fmla="*/ 17 h 33"/>
                    <a:gd name="T34" fmla="*/ 16 w 17"/>
                    <a:gd name="T35" fmla="*/ 33 h 33"/>
                    <a:gd name="T36" fmla="*/ 16 w 17"/>
                    <a:gd name="T37" fmla="*/ 33 h 33"/>
                    <a:gd name="T38" fmla="*/ 17 w 17"/>
                    <a:gd name="T39" fmla="*/ 24 h 33"/>
                    <a:gd name="T40" fmla="*/ 17 w 17"/>
                    <a:gd name="T41" fmla="*/ 24 h 33"/>
                    <a:gd name="T42" fmla="*/ 17 w 17"/>
                    <a:gd name="T43" fmla="*/ 21 h 33"/>
                    <a:gd name="T44" fmla="*/ 14 w 17"/>
                    <a:gd name="T45" fmla="*/ 23 h 33"/>
                    <a:gd name="T46" fmla="*/ 14 w 17"/>
                    <a:gd name="T47" fmla="*/ 23 h 33"/>
                    <a:gd name="T48" fmla="*/ 14 w 17"/>
                    <a:gd name="T49" fmla="*/ 24 h 33"/>
                    <a:gd name="T50" fmla="*/ 14 w 17"/>
                    <a:gd name="T51" fmla="*/ 24 h 33"/>
                    <a:gd name="T52" fmla="*/ 13 w 17"/>
                    <a:gd name="T53" fmla="*/ 32 h 33"/>
                    <a:gd name="T54" fmla="*/ 16 w 17"/>
                    <a:gd name="T55" fmla="*/ 3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7" h="33">
                      <a:moveTo>
                        <a:pt x="7" y="4"/>
                      </a:moveTo>
                      <a:lnTo>
                        <a:pt x="7" y="4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6" y="5"/>
                      </a:lnTo>
                      <a:lnTo>
                        <a:pt x="7" y="4"/>
                      </a:lnTo>
                      <a:close/>
                      <a:moveTo>
                        <a:pt x="16" y="17"/>
                      </a:moveTo>
                      <a:lnTo>
                        <a:pt x="16" y="17"/>
                      </a:lnTo>
                      <a:lnTo>
                        <a:pt x="16" y="17"/>
                      </a:lnTo>
                      <a:lnTo>
                        <a:pt x="14" y="13"/>
                      </a:lnTo>
                      <a:lnTo>
                        <a:pt x="10" y="7"/>
                      </a:lnTo>
                      <a:lnTo>
                        <a:pt x="9" y="10"/>
                      </a:lnTo>
                      <a:lnTo>
                        <a:pt x="9" y="10"/>
                      </a:lnTo>
                      <a:lnTo>
                        <a:pt x="13" y="17"/>
                      </a:lnTo>
                      <a:lnTo>
                        <a:pt x="14" y="17"/>
                      </a:lnTo>
                      <a:lnTo>
                        <a:pt x="16" y="17"/>
                      </a:lnTo>
                      <a:close/>
                      <a:moveTo>
                        <a:pt x="16" y="33"/>
                      </a:moveTo>
                      <a:lnTo>
                        <a:pt x="16" y="33"/>
                      </a:lnTo>
                      <a:lnTo>
                        <a:pt x="17" y="24"/>
                      </a:lnTo>
                      <a:lnTo>
                        <a:pt x="17" y="24"/>
                      </a:lnTo>
                      <a:lnTo>
                        <a:pt x="17" y="21"/>
                      </a:lnTo>
                      <a:lnTo>
                        <a:pt x="14" y="23"/>
                      </a:lnTo>
                      <a:lnTo>
                        <a:pt x="14" y="23"/>
                      </a:lnTo>
                      <a:lnTo>
                        <a:pt x="14" y="24"/>
                      </a:lnTo>
                      <a:lnTo>
                        <a:pt x="14" y="24"/>
                      </a:lnTo>
                      <a:lnTo>
                        <a:pt x="13" y="32"/>
                      </a:lnTo>
                      <a:lnTo>
                        <a:pt x="16" y="3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01" name="Freeform 1751"/>
                <p:cNvSpPr>
                  <a:spLocks noEditPoints="1"/>
                </p:cNvSpPr>
                <p:nvPr/>
              </p:nvSpPr>
              <p:spPr bwMode="auto">
                <a:xfrm>
                  <a:off x="4675872" y="2449557"/>
                  <a:ext cx="92001" cy="18796"/>
                </a:xfrm>
                <a:custGeom>
                  <a:avLst/>
                  <a:gdLst>
                    <a:gd name="T0" fmla="*/ 6 w 93"/>
                    <a:gd name="T1" fmla="*/ 11 h 19"/>
                    <a:gd name="T2" fmla="*/ 6 w 93"/>
                    <a:gd name="T3" fmla="*/ 11 h 19"/>
                    <a:gd name="T4" fmla="*/ 1 w 93"/>
                    <a:gd name="T5" fmla="*/ 10 h 19"/>
                    <a:gd name="T6" fmla="*/ 0 w 93"/>
                    <a:gd name="T7" fmla="*/ 11 h 19"/>
                    <a:gd name="T8" fmla="*/ 0 w 93"/>
                    <a:gd name="T9" fmla="*/ 11 h 19"/>
                    <a:gd name="T10" fmla="*/ 4 w 93"/>
                    <a:gd name="T11" fmla="*/ 13 h 19"/>
                    <a:gd name="T12" fmla="*/ 6 w 93"/>
                    <a:gd name="T13" fmla="*/ 11 h 19"/>
                    <a:gd name="T14" fmla="*/ 19 w 93"/>
                    <a:gd name="T15" fmla="*/ 16 h 19"/>
                    <a:gd name="T16" fmla="*/ 19 w 93"/>
                    <a:gd name="T17" fmla="*/ 16 h 19"/>
                    <a:gd name="T18" fmla="*/ 19 w 93"/>
                    <a:gd name="T19" fmla="*/ 16 h 19"/>
                    <a:gd name="T20" fmla="*/ 10 w 93"/>
                    <a:gd name="T21" fmla="*/ 13 h 19"/>
                    <a:gd name="T22" fmla="*/ 9 w 93"/>
                    <a:gd name="T23" fmla="*/ 16 h 19"/>
                    <a:gd name="T24" fmla="*/ 9 w 93"/>
                    <a:gd name="T25" fmla="*/ 16 h 19"/>
                    <a:gd name="T26" fmla="*/ 19 w 93"/>
                    <a:gd name="T27" fmla="*/ 19 h 19"/>
                    <a:gd name="T28" fmla="*/ 19 w 93"/>
                    <a:gd name="T29" fmla="*/ 19 h 19"/>
                    <a:gd name="T30" fmla="*/ 19 w 93"/>
                    <a:gd name="T31" fmla="*/ 16 h 19"/>
                    <a:gd name="T32" fmla="*/ 33 w 93"/>
                    <a:gd name="T33" fmla="*/ 14 h 19"/>
                    <a:gd name="T34" fmla="*/ 33 w 93"/>
                    <a:gd name="T35" fmla="*/ 14 h 19"/>
                    <a:gd name="T36" fmla="*/ 23 w 93"/>
                    <a:gd name="T37" fmla="*/ 16 h 19"/>
                    <a:gd name="T38" fmla="*/ 25 w 93"/>
                    <a:gd name="T39" fmla="*/ 19 h 19"/>
                    <a:gd name="T40" fmla="*/ 25 w 93"/>
                    <a:gd name="T41" fmla="*/ 19 h 19"/>
                    <a:gd name="T42" fmla="*/ 35 w 93"/>
                    <a:gd name="T43" fmla="*/ 17 h 19"/>
                    <a:gd name="T44" fmla="*/ 33 w 93"/>
                    <a:gd name="T45" fmla="*/ 14 h 19"/>
                    <a:gd name="T46" fmla="*/ 48 w 93"/>
                    <a:gd name="T47" fmla="*/ 11 h 19"/>
                    <a:gd name="T48" fmla="*/ 48 w 93"/>
                    <a:gd name="T49" fmla="*/ 11 h 19"/>
                    <a:gd name="T50" fmla="*/ 46 w 93"/>
                    <a:gd name="T51" fmla="*/ 11 h 19"/>
                    <a:gd name="T52" fmla="*/ 46 w 93"/>
                    <a:gd name="T53" fmla="*/ 11 h 19"/>
                    <a:gd name="T54" fmla="*/ 39 w 93"/>
                    <a:gd name="T55" fmla="*/ 13 h 19"/>
                    <a:gd name="T56" fmla="*/ 39 w 93"/>
                    <a:gd name="T57" fmla="*/ 16 h 19"/>
                    <a:gd name="T58" fmla="*/ 39 w 93"/>
                    <a:gd name="T59" fmla="*/ 16 h 19"/>
                    <a:gd name="T60" fmla="*/ 46 w 93"/>
                    <a:gd name="T61" fmla="*/ 14 h 19"/>
                    <a:gd name="T62" fmla="*/ 46 w 93"/>
                    <a:gd name="T63" fmla="*/ 14 h 19"/>
                    <a:gd name="T64" fmla="*/ 49 w 93"/>
                    <a:gd name="T65" fmla="*/ 13 h 19"/>
                    <a:gd name="T66" fmla="*/ 48 w 93"/>
                    <a:gd name="T67" fmla="*/ 11 h 19"/>
                    <a:gd name="T68" fmla="*/ 62 w 93"/>
                    <a:gd name="T69" fmla="*/ 6 h 19"/>
                    <a:gd name="T70" fmla="*/ 62 w 93"/>
                    <a:gd name="T71" fmla="*/ 6 h 19"/>
                    <a:gd name="T72" fmla="*/ 54 w 93"/>
                    <a:gd name="T73" fmla="*/ 9 h 19"/>
                    <a:gd name="T74" fmla="*/ 54 w 93"/>
                    <a:gd name="T75" fmla="*/ 11 h 19"/>
                    <a:gd name="T76" fmla="*/ 54 w 93"/>
                    <a:gd name="T77" fmla="*/ 11 h 19"/>
                    <a:gd name="T78" fmla="*/ 64 w 93"/>
                    <a:gd name="T79" fmla="*/ 7 h 19"/>
                    <a:gd name="T80" fmla="*/ 62 w 93"/>
                    <a:gd name="T81" fmla="*/ 6 h 19"/>
                    <a:gd name="T82" fmla="*/ 78 w 93"/>
                    <a:gd name="T83" fmla="*/ 3 h 19"/>
                    <a:gd name="T84" fmla="*/ 78 w 93"/>
                    <a:gd name="T85" fmla="*/ 3 h 19"/>
                    <a:gd name="T86" fmla="*/ 72 w 93"/>
                    <a:gd name="T87" fmla="*/ 3 h 19"/>
                    <a:gd name="T88" fmla="*/ 72 w 93"/>
                    <a:gd name="T89" fmla="*/ 3 h 19"/>
                    <a:gd name="T90" fmla="*/ 68 w 93"/>
                    <a:gd name="T91" fmla="*/ 4 h 19"/>
                    <a:gd name="T92" fmla="*/ 68 w 93"/>
                    <a:gd name="T93" fmla="*/ 6 h 19"/>
                    <a:gd name="T94" fmla="*/ 68 w 93"/>
                    <a:gd name="T95" fmla="*/ 6 h 19"/>
                    <a:gd name="T96" fmla="*/ 72 w 93"/>
                    <a:gd name="T97" fmla="*/ 6 h 19"/>
                    <a:gd name="T98" fmla="*/ 72 w 93"/>
                    <a:gd name="T99" fmla="*/ 6 h 19"/>
                    <a:gd name="T100" fmla="*/ 78 w 93"/>
                    <a:gd name="T101" fmla="*/ 6 h 19"/>
                    <a:gd name="T102" fmla="*/ 78 w 93"/>
                    <a:gd name="T103" fmla="*/ 3 h 19"/>
                    <a:gd name="T104" fmla="*/ 93 w 93"/>
                    <a:gd name="T105" fmla="*/ 0 h 19"/>
                    <a:gd name="T106" fmla="*/ 93 w 93"/>
                    <a:gd name="T107" fmla="*/ 0 h 19"/>
                    <a:gd name="T108" fmla="*/ 83 w 93"/>
                    <a:gd name="T109" fmla="*/ 3 h 19"/>
                    <a:gd name="T110" fmla="*/ 83 w 93"/>
                    <a:gd name="T111" fmla="*/ 4 h 19"/>
                    <a:gd name="T112" fmla="*/ 83 w 93"/>
                    <a:gd name="T113" fmla="*/ 4 h 19"/>
                    <a:gd name="T114" fmla="*/ 93 w 93"/>
                    <a:gd name="T115" fmla="*/ 3 h 19"/>
                    <a:gd name="T116" fmla="*/ 93 w 93"/>
                    <a:gd name="T117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93" h="19">
                      <a:moveTo>
                        <a:pt x="6" y="11"/>
                      </a:moveTo>
                      <a:lnTo>
                        <a:pt x="6" y="11"/>
                      </a:lnTo>
                      <a:lnTo>
                        <a:pt x="1" y="10"/>
                      </a:lnTo>
                      <a:lnTo>
                        <a:pt x="0" y="11"/>
                      </a:lnTo>
                      <a:lnTo>
                        <a:pt x="0" y="11"/>
                      </a:lnTo>
                      <a:lnTo>
                        <a:pt x="4" y="13"/>
                      </a:lnTo>
                      <a:lnTo>
                        <a:pt x="6" y="11"/>
                      </a:lnTo>
                      <a:close/>
                      <a:moveTo>
                        <a:pt x="19" y="16"/>
                      </a:moveTo>
                      <a:lnTo>
                        <a:pt x="19" y="16"/>
                      </a:lnTo>
                      <a:lnTo>
                        <a:pt x="19" y="16"/>
                      </a:lnTo>
                      <a:lnTo>
                        <a:pt x="10" y="13"/>
                      </a:lnTo>
                      <a:lnTo>
                        <a:pt x="9" y="16"/>
                      </a:lnTo>
                      <a:lnTo>
                        <a:pt x="9" y="16"/>
                      </a:lnTo>
                      <a:lnTo>
                        <a:pt x="19" y="19"/>
                      </a:lnTo>
                      <a:lnTo>
                        <a:pt x="19" y="19"/>
                      </a:lnTo>
                      <a:lnTo>
                        <a:pt x="19" y="16"/>
                      </a:lnTo>
                      <a:close/>
                      <a:moveTo>
                        <a:pt x="33" y="14"/>
                      </a:moveTo>
                      <a:lnTo>
                        <a:pt x="33" y="14"/>
                      </a:lnTo>
                      <a:lnTo>
                        <a:pt x="23" y="16"/>
                      </a:lnTo>
                      <a:lnTo>
                        <a:pt x="25" y="19"/>
                      </a:lnTo>
                      <a:lnTo>
                        <a:pt x="25" y="19"/>
                      </a:lnTo>
                      <a:lnTo>
                        <a:pt x="35" y="17"/>
                      </a:lnTo>
                      <a:lnTo>
                        <a:pt x="33" y="14"/>
                      </a:lnTo>
                      <a:close/>
                      <a:moveTo>
                        <a:pt x="48" y="11"/>
                      </a:moveTo>
                      <a:lnTo>
                        <a:pt x="48" y="11"/>
                      </a:lnTo>
                      <a:lnTo>
                        <a:pt x="46" y="11"/>
                      </a:lnTo>
                      <a:lnTo>
                        <a:pt x="46" y="11"/>
                      </a:lnTo>
                      <a:lnTo>
                        <a:pt x="39" y="13"/>
                      </a:lnTo>
                      <a:lnTo>
                        <a:pt x="39" y="16"/>
                      </a:lnTo>
                      <a:lnTo>
                        <a:pt x="39" y="16"/>
                      </a:lnTo>
                      <a:lnTo>
                        <a:pt x="46" y="14"/>
                      </a:lnTo>
                      <a:lnTo>
                        <a:pt x="46" y="14"/>
                      </a:lnTo>
                      <a:lnTo>
                        <a:pt x="49" y="13"/>
                      </a:lnTo>
                      <a:lnTo>
                        <a:pt x="48" y="11"/>
                      </a:lnTo>
                      <a:close/>
                      <a:moveTo>
                        <a:pt x="62" y="6"/>
                      </a:moveTo>
                      <a:lnTo>
                        <a:pt x="62" y="6"/>
                      </a:lnTo>
                      <a:lnTo>
                        <a:pt x="54" y="9"/>
                      </a:lnTo>
                      <a:lnTo>
                        <a:pt x="54" y="11"/>
                      </a:lnTo>
                      <a:lnTo>
                        <a:pt x="54" y="11"/>
                      </a:lnTo>
                      <a:lnTo>
                        <a:pt x="64" y="7"/>
                      </a:lnTo>
                      <a:lnTo>
                        <a:pt x="62" y="6"/>
                      </a:lnTo>
                      <a:close/>
                      <a:moveTo>
                        <a:pt x="78" y="3"/>
                      </a:moveTo>
                      <a:lnTo>
                        <a:pt x="78" y="3"/>
                      </a:lnTo>
                      <a:lnTo>
                        <a:pt x="72" y="3"/>
                      </a:lnTo>
                      <a:lnTo>
                        <a:pt x="72" y="3"/>
                      </a:lnTo>
                      <a:lnTo>
                        <a:pt x="68" y="4"/>
                      </a:lnTo>
                      <a:lnTo>
                        <a:pt x="68" y="6"/>
                      </a:lnTo>
                      <a:lnTo>
                        <a:pt x="68" y="6"/>
                      </a:lnTo>
                      <a:lnTo>
                        <a:pt x="72" y="6"/>
                      </a:lnTo>
                      <a:lnTo>
                        <a:pt x="72" y="6"/>
                      </a:lnTo>
                      <a:lnTo>
                        <a:pt x="78" y="6"/>
                      </a:lnTo>
                      <a:lnTo>
                        <a:pt x="78" y="3"/>
                      </a:lnTo>
                      <a:close/>
                      <a:moveTo>
                        <a:pt x="93" y="0"/>
                      </a:moveTo>
                      <a:lnTo>
                        <a:pt x="93" y="0"/>
                      </a:lnTo>
                      <a:lnTo>
                        <a:pt x="83" y="3"/>
                      </a:lnTo>
                      <a:lnTo>
                        <a:pt x="83" y="4"/>
                      </a:lnTo>
                      <a:lnTo>
                        <a:pt x="83" y="4"/>
                      </a:lnTo>
                      <a:lnTo>
                        <a:pt x="93" y="3"/>
                      </a:lnTo>
                      <a:lnTo>
                        <a:pt x="9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02" name="Freeform 1752"/>
                <p:cNvSpPr>
                  <a:spLocks noEditPoints="1"/>
                </p:cNvSpPr>
                <p:nvPr/>
              </p:nvSpPr>
              <p:spPr bwMode="auto">
                <a:xfrm>
                  <a:off x="4967703" y="2790852"/>
                  <a:ext cx="11871" cy="25721"/>
                </a:xfrm>
                <a:custGeom>
                  <a:avLst/>
                  <a:gdLst>
                    <a:gd name="T0" fmla="*/ 12 w 12"/>
                    <a:gd name="T1" fmla="*/ 2 h 26"/>
                    <a:gd name="T2" fmla="*/ 12 w 12"/>
                    <a:gd name="T3" fmla="*/ 2 h 26"/>
                    <a:gd name="T4" fmla="*/ 12 w 12"/>
                    <a:gd name="T5" fmla="*/ 0 h 26"/>
                    <a:gd name="T6" fmla="*/ 11 w 12"/>
                    <a:gd name="T7" fmla="*/ 0 h 26"/>
                    <a:gd name="T8" fmla="*/ 12 w 12"/>
                    <a:gd name="T9" fmla="*/ 2 h 26"/>
                    <a:gd name="T10" fmla="*/ 3 w 12"/>
                    <a:gd name="T11" fmla="*/ 13 h 26"/>
                    <a:gd name="T12" fmla="*/ 3 w 12"/>
                    <a:gd name="T13" fmla="*/ 11 h 26"/>
                    <a:gd name="T14" fmla="*/ 3 w 12"/>
                    <a:gd name="T15" fmla="*/ 11 h 26"/>
                    <a:gd name="T16" fmla="*/ 5 w 12"/>
                    <a:gd name="T17" fmla="*/ 8 h 26"/>
                    <a:gd name="T18" fmla="*/ 8 w 12"/>
                    <a:gd name="T19" fmla="*/ 4 h 26"/>
                    <a:gd name="T20" fmla="*/ 6 w 12"/>
                    <a:gd name="T21" fmla="*/ 2 h 26"/>
                    <a:gd name="T22" fmla="*/ 6 w 12"/>
                    <a:gd name="T23" fmla="*/ 2 h 26"/>
                    <a:gd name="T24" fmla="*/ 3 w 12"/>
                    <a:gd name="T25" fmla="*/ 7 h 26"/>
                    <a:gd name="T26" fmla="*/ 2 w 12"/>
                    <a:gd name="T27" fmla="*/ 11 h 26"/>
                    <a:gd name="T28" fmla="*/ 2 w 12"/>
                    <a:gd name="T29" fmla="*/ 11 h 26"/>
                    <a:gd name="T30" fmla="*/ 0 w 12"/>
                    <a:gd name="T31" fmla="*/ 13 h 26"/>
                    <a:gd name="T32" fmla="*/ 3 w 12"/>
                    <a:gd name="T33" fmla="*/ 13 h 26"/>
                    <a:gd name="T34" fmla="*/ 11 w 12"/>
                    <a:gd name="T35" fmla="*/ 24 h 26"/>
                    <a:gd name="T36" fmla="*/ 11 w 12"/>
                    <a:gd name="T37" fmla="*/ 24 h 26"/>
                    <a:gd name="T38" fmla="*/ 8 w 12"/>
                    <a:gd name="T39" fmla="*/ 20 h 26"/>
                    <a:gd name="T40" fmla="*/ 5 w 12"/>
                    <a:gd name="T41" fmla="*/ 17 h 26"/>
                    <a:gd name="T42" fmla="*/ 2 w 12"/>
                    <a:gd name="T43" fmla="*/ 18 h 26"/>
                    <a:gd name="T44" fmla="*/ 2 w 12"/>
                    <a:gd name="T45" fmla="*/ 18 h 26"/>
                    <a:gd name="T46" fmla="*/ 5 w 12"/>
                    <a:gd name="T47" fmla="*/ 23 h 26"/>
                    <a:gd name="T48" fmla="*/ 9 w 12"/>
                    <a:gd name="T49" fmla="*/ 26 h 26"/>
                    <a:gd name="T50" fmla="*/ 11 w 12"/>
                    <a:gd name="T51" fmla="*/ 24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2" h="26">
                      <a:moveTo>
                        <a:pt x="12" y="2"/>
                      </a:moveTo>
                      <a:lnTo>
                        <a:pt x="12" y="2"/>
                      </a:lnTo>
                      <a:lnTo>
                        <a:pt x="12" y="0"/>
                      </a:lnTo>
                      <a:lnTo>
                        <a:pt x="11" y="0"/>
                      </a:lnTo>
                      <a:lnTo>
                        <a:pt x="12" y="2"/>
                      </a:lnTo>
                      <a:close/>
                      <a:moveTo>
                        <a:pt x="3" y="13"/>
                      </a:moveTo>
                      <a:lnTo>
                        <a:pt x="3" y="11"/>
                      </a:lnTo>
                      <a:lnTo>
                        <a:pt x="3" y="11"/>
                      </a:lnTo>
                      <a:lnTo>
                        <a:pt x="5" y="8"/>
                      </a:lnTo>
                      <a:lnTo>
                        <a:pt x="8" y="4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3" y="7"/>
                      </a:lnTo>
                      <a:lnTo>
                        <a:pt x="2" y="11"/>
                      </a:lnTo>
                      <a:lnTo>
                        <a:pt x="2" y="11"/>
                      </a:lnTo>
                      <a:lnTo>
                        <a:pt x="0" y="13"/>
                      </a:lnTo>
                      <a:lnTo>
                        <a:pt x="3" y="13"/>
                      </a:lnTo>
                      <a:close/>
                      <a:moveTo>
                        <a:pt x="11" y="24"/>
                      </a:moveTo>
                      <a:lnTo>
                        <a:pt x="11" y="24"/>
                      </a:lnTo>
                      <a:lnTo>
                        <a:pt x="8" y="20"/>
                      </a:lnTo>
                      <a:lnTo>
                        <a:pt x="5" y="17"/>
                      </a:lnTo>
                      <a:lnTo>
                        <a:pt x="2" y="18"/>
                      </a:lnTo>
                      <a:lnTo>
                        <a:pt x="2" y="18"/>
                      </a:lnTo>
                      <a:lnTo>
                        <a:pt x="5" y="23"/>
                      </a:lnTo>
                      <a:lnTo>
                        <a:pt x="9" y="26"/>
                      </a:lnTo>
                      <a:lnTo>
                        <a:pt x="11" y="24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03" name="Freeform 1753"/>
                <p:cNvSpPr>
                  <a:spLocks noEditPoints="1"/>
                </p:cNvSpPr>
                <p:nvPr/>
              </p:nvSpPr>
              <p:spPr bwMode="auto">
                <a:xfrm>
                  <a:off x="5079490" y="3130168"/>
                  <a:ext cx="18796" cy="23742"/>
                </a:xfrm>
                <a:custGeom>
                  <a:avLst/>
                  <a:gdLst>
                    <a:gd name="T0" fmla="*/ 3 w 19"/>
                    <a:gd name="T1" fmla="*/ 3 h 24"/>
                    <a:gd name="T2" fmla="*/ 3 w 19"/>
                    <a:gd name="T3" fmla="*/ 3 h 24"/>
                    <a:gd name="T4" fmla="*/ 3 w 19"/>
                    <a:gd name="T5" fmla="*/ 0 h 24"/>
                    <a:gd name="T6" fmla="*/ 3 w 19"/>
                    <a:gd name="T7" fmla="*/ 0 h 24"/>
                    <a:gd name="T8" fmla="*/ 0 w 19"/>
                    <a:gd name="T9" fmla="*/ 0 h 24"/>
                    <a:gd name="T10" fmla="*/ 0 w 19"/>
                    <a:gd name="T11" fmla="*/ 0 h 24"/>
                    <a:gd name="T12" fmla="*/ 0 w 19"/>
                    <a:gd name="T13" fmla="*/ 0 h 24"/>
                    <a:gd name="T14" fmla="*/ 0 w 19"/>
                    <a:gd name="T15" fmla="*/ 3 h 24"/>
                    <a:gd name="T16" fmla="*/ 3 w 19"/>
                    <a:gd name="T17" fmla="*/ 3 h 24"/>
                    <a:gd name="T18" fmla="*/ 6 w 19"/>
                    <a:gd name="T19" fmla="*/ 16 h 24"/>
                    <a:gd name="T20" fmla="*/ 6 w 19"/>
                    <a:gd name="T21" fmla="*/ 16 h 24"/>
                    <a:gd name="T22" fmla="*/ 5 w 19"/>
                    <a:gd name="T23" fmla="*/ 14 h 24"/>
                    <a:gd name="T24" fmla="*/ 5 w 19"/>
                    <a:gd name="T25" fmla="*/ 14 h 24"/>
                    <a:gd name="T26" fmla="*/ 3 w 19"/>
                    <a:gd name="T27" fmla="*/ 7 h 24"/>
                    <a:gd name="T28" fmla="*/ 0 w 19"/>
                    <a:gd name="T29" fmla="*/ 7 h 24"/>
                    <a:gd name="T30" fmla="*/ 0 w 19"/>
                    <a:gd name="T31" fmla="*/ 7 h 24"/>
                    <a:gd name="T32" fmla="*/ 3 w 19"/>
                    <a:gd name="T33" fmla="*/ 16 h 24"/>
                    <a:gd name="T34" fmla="*/ 3 w 19"/>
                    <a:gd name="T35" fmla="*/ 16 h 24"/>
                    <a:gd name="T36" fmla="*/ 5 w 19"/>
                    <a:gd name="T37" fmla="*/ 17 h 24"/>
                    <a:gd name="T38" fmla="*/ 6 w 19"/>
                    <a:gd name="T39" fmla="*/ 16 h 24"/>
                    <a:gd name="T40" fmla="*/ 19 w 19"/>
                    <a:gd name="T41" fmla="*/ 23 h 24"/>
                    <a:gd name="T42" fmla="*/ 19 w 19"/>
                    <a:gd name="T43" fmla="*/ 23 h 24"/>
                    <a:gd name="T44" fmla="*/ 11 w 19"/>
                    <a:gd name="T45" fmla="*/ 19 h 24"/>
                    <a:gd name="T46" fmla="*/ 9 w 19"/>
                    <a:gd name="T47" fmla="*/ 22 h 24"/>
                    <a:gd name="T48" fmla="*/ 9 w 19"/>
                    <a:gd name="T49" fmla="*/ 22 h 24"/>
                    <a:gd name="T50" fmla="*/ 19 w 19"/>
                    <a:gd name="T51" fmla="*/ 24 h 24"/>
                    <a:gd name="T52" fmla="*/ 19 w 19"/>
                    <a:gd name="T53" fmla="*/ 23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9" h="24"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close/>
                      <a:moveTo>
                        <a:pt x="6" y="16"/>
                      </a:moveTo>
                      <a:lnTo>
                        <a:pt x="6" y="16"/>
                      </a:lnTo>
                      <a:lnTo>
                        <a:pt x="5" y="14"/>
                      </a:lnTo>
                      <a:lnTo>
                        <a:pt x="5" y="14"/>
                      </a:lnTo>
                      <a:lnTo>
                        <a:pt x="3" y="7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3" y="16"/>
                      </a:lnTo>
                      <a:lnTo>
                        <a:pt x="3" y="16"/>
                      </a:lnTo>
                      <a:lnTo>
                        <a:pt x="5" y="17"/>
                      </a:lnTo>
                      <a:lnTo>
                        <a:pt x="6" y="16"/>
                      </a:lnTo>
                      <a:close/>
                      <a:moveTo>
                        <a:pt x="19" y="23"/>
                      </a:moveTo>
                      <a:lnTo>
                        <a:pt x="19" y="23"/>
                      </a:lnTo>
                      <a:lnTo>
                        <a:pt x="11" y="19"/>
                      </a:lnTo>
                      <a:lnTo>
                        <a:pt x="9" y="22"/>
                      </a:lnTo>
                      <a:lnTo>
                        <a:pt x="9" y="22"/>
                      </a:lnTo>
                      <a:lnTo>
                        <a:pt x="19" y="24"/>
                      </a:lnTo>
                      <a:lnTo>
                        <a:pt x="19" y="23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04" name="Freeform 1754"/>
                <p:cNvSpPr>
                  <a:spLocks/>
                </p:cNvSpPr>
                <p:nvPr/>
              </p:nvSpPr>
              <p:spPr bwMode="auto">
                <a:xfrm>
                  <a:off x="4851960" y="3798907"/>
                  <a:ext cx="30667" cy="30667"/>
                </a:xfrm>
                <a:custGeom>
                  <a:avLst/>
                  <a:gdLst>
                    <a:gd name="T0" fmla="*/ 13 w 31"/>
                    <a:gd name="T1" fmla="*/ 31 h 31"/>
                    <a:gd name="T2" fmla="*/ 13 w 31"/>
                    <a:gd name="T3" fmla="*/ 31 h 31"/>
                    <a:gd name="T4" fmla="*/ 10 w 31"/>
                    <a:gd name="T5" fmla="*/ 31 h 31"/>
                    <a:gd name="T6" fmla="*/ 10 w 31"/>
                    <a:gd name="T7" fmla="*/ 31 h 31"/>
                    <a:gd name="T8" fmla="*/ 7 w 31"/>
                    <a:gd name="T9" fmla="*/ 29 h 31"/>
                    <a:gd name="T10" fmla="*/ 4 w 31"/>
                    <a:gd name="T11" fmla="*/ 28 h 31"/>
                    <a:gd name="T12" fmla="*/ 2 w 31"/>
                    <a:gd name="T13" fmla="*/ 23 h 31"/>
                    <a:gd name="T14" fmla="*/ 0 w 31"/>
                    <a:gd name="T15" fmla="*/ 18 h 31"/>
                    <a:gd name="T16" fmla="*/ 2 w 31"/>
                    <a:gd name="T17" fmla="*/ 13 h 31"/>
                    <a:gd name="T18" fmla="*/ 2 w 31"/>
                    <a:gd name="T19" fmla="*/ 13 h 31"/>
                    <a:gd name="T20" fmla="*/ 4 w 31"/>
                    <a:gd name="T21" fmla="*/ 9 h 31"/>
                    <a:gd name="T22" fmla="*/ 4 w 31"/>
                    <a:gd name="T23" fmla="*/ 9 h 31"/>
                    <a:gd name="T24" fmla="*/ 15 w 31"/>
                    <a:gd name="T25" fmla="*/ 3 h 31"/>
                    <a:gd name="T26" fmla="*/ 19 w 31"/>
                    <a:gd name="T27" fmla="*/ 0 h 31"/>
                    <a:gd name="T28" fmla="*/ 25 w 31"/>
                    <a:gd name="T29" fmla="*/ 0 h 31"/>
                    <a:gd name="T30" fmla="*/ 25 w 31"/>
                    <a:gd name="T31" fmla="*/ 0 h 31"/>
                    <a:gd name="T32" fmla="*/ 28 w 31"/>
                    <a:gd name="T33" fmla="*/ 0 h 31"/>
                    <a:gd name="T34" fmla="*/ 28 w 31"/>
                    <a:gd name="T35" fmla="*/ 0 h 31"/>
                    <a:gd name="T36" fmla="*/ 29 w 31"/>
                    <a:gd name="T37" fmla="*/ 3 h 31"/>
                    <a:gd name="T38" fmla="*/ 29 w 31"/>
                    <a:gd name="T39" fmla="*/ 6 h 31"/>
                    <a:gd name="T40" fmla="*/ 31 w 31"/>
                    <a:gd name="T41" fmla="*/ 12 h 31"/>
                    <a:gd name="T42" fmla="*/ 28 w 31"/>
                    <a:gd name="T43" fmla="*/ 21 h 31"/>
                    <a:gd name="T44" fmla="*/ 25 w 31"/>
                    <a:gd name="T45" fmla="*/ 26 h 31"/>
                    <a:gd name="T46" fmla="*/ 25 w 31"/>
                    <a:gd name="T47" fmla="*/ 26 h 31"/>
                    <a:gd name="T48" fmla="*/ 23 w 31"/>
                    <a:gd name="T49" fmla="*/ 26 h 31"/>
                    <a:gd name="T50" fmla="*/ 23 w 31"/>
                    <a:gd name="T51" fmla="*/ 26 h 31"/>
                    <a:gd name="T52" fmla="*/ 19 w 31"/>
                    <a:gd name="T53" fmla="*/ 29 h 31"/>
                    <a:gd name="T54" fmla="*/ 13 w 31"/>
                    <a:gd name="T55" fmla="*/ 3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1" h="31">
                      <a:moveTo>
                        <a:pt x="13" y="31"/>
                      </a:move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10" y="31"/>
                      </a:lnTo>
                      <a:lnTo>
                        <a:pt x="7" y="29"/>
                      </a:lnTo>
                      <a:lnTo>
                        <a:pt x="4" y="28"/>
                      </a:lnTo>
                      <a:lnTo>
                        <a:pt x="2" y="23"/>
                      </a:lnTo>
                      <a:lnTo>
                        <a:pt x="0" y="18"/>
                      </a:lnTo>
                      <a:lnTo>
                        <a:pt x="2" y="13"/>
                      </a:lnTo>
                      <a:lnTo>
                        <a:pt x="2" y="13"/>
                      </a:lnTo>
                      <a:lnTo>
                        <a:pt x="4" y="9"/>
                      </a:lnTo>
                      <a:lnTo>
                        <a:pt x="4" y="9"/>
                      </a:lnTo>
                      <a:lnTo>
                        <a:pt x="15" y="3"/>
                      </a:lnTo>
                      <a:lnTo>
                        <a:pt x="19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8" y="0"/>
                      </a:lnTo>
                      <a:lnTo>
                        <a:pt x="28" y="0"/>
                      </a:lnTo>
                      <a:lnTo>
                        <a:pt x="29" y="3"/>
                      </a:lnTo>
                      <a:lnTo>
                        <a:pt x="29" y="6"/>
                      </a:lnTo>
                      <a:lnTo>
                        <a:pt x="31" y="12"/>
                      </a:lnTo>
                      <a:lnTo>
                        <a:pt x="28" y="21"/>
                      </a:lnTo>
                      <a:lnTo>
                        <a:pt x="25" y="26"/>
                      </a:lnTo>
                      <a:lnTo>
                        <a:pt x="25" y="26"/>
                      </a:lnTo>
                      <a:lnTo>
                        <a:pt x="23" y="26"/>
                      </a:lnTo>
                      <a:lnTo>
                        <a:pt x="23" y="26"/>
                      </a:lnTo>
                      <a:lnTo>
                        <a:pt x="19" y="29"/>
                      </a:lnTo>
                      <a:lnTo>
                        <a:pt x="13" y="31"/>
                      </a:lnTo>
                      <a:close/>
                    </a:path>
                  </a:pathLst>
                </a:custGeom>
                <a:grpFill/>
                <a:ln w="3175">
                  <a:noFill/>
                  <a:prstDash val="dash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05" name="Freeform 1755"/>
                <p:cNvSpPr>
                  <a:spLocks/>
                </p:cNvSpPr>
                <p:nvPr/>
              </p:nvSpPr>
              <p:spPr bwMode="auto">
                <a:xfrm>
                  <a:off x="4851960" y="3798907"/>
                  <a:ext cx="30667" cy="30667"/>
                </a:xfrm>
                <a:custGeom>
                  <a:avLst/>
                  <a:gdLst>
                    <a:gd name="T0" fmla="*/ 13 w 31"/>
                    <a:gd name="T1" fmla="*/ 31 h 31"/>
                    <a:gd name="T2" fmla="*/ 13 w 31"/>
                    <a:gd name="T3" fmla="*/ 31 h 31"/>
                    <a:gd name="T4" fmla="*/ 10 w 31"/>
                    <a:gd name="T5" fmla="*/ 31 h 31"/>
                    <a:gd name="T6" fmla="*/ 10 w 31"/>
                    <a:gd name="T7" fmla="*/ 31 h 31"/>
                    <a:gd name="T8" fmla="*/ 7 w 31"/>
                    <a:gd name="T9" fmla="*/ 29 h 31"/>
                    <a:gd name="T10" fmla="*/ 4 w 31"/>
                    <a:gd name="T11" fmla="*/ 28 h 31"/>
                    <a:gd name="T12" fmla="*/ 2 w 31"/>
                    <a:gd name="T13" fmla="*/ 23 h 31"/>
                    <a:gd name="T14" fmla="*/ 0 w 31"/>
                    <a:gd name="T15" fmla="*/ 18 h 31"/>
                    <a:gd name="T16" fmla="*/ 2 w 31"/>
                    <a:gd name="T17" fmla="*/ 13 h 31"/>
                    <a:gd name="T18" fmla="*/ 2 w 31"/>
                    <a:gd name="T19" fmla="*/ 13 h 31"/>
                    <a:gd name="T20" fmla="*/ 4 w 31"/>
                    <a:gd name="T21" fmla="*/ 9 h 31"/>
                    <a:gd name="T22" fmla="*/ 4 w 31"/>
                    <a:gd name="T23" fmla="*/ 9 h 31"/>
                    <a:gd name="T24" fmla="*/ 15 w 31"/>
                    <a:gd name="T25" fmla="*/ 3 h 31"/>
                    <a:gd name="T26" fmla="*/ 19 w 31"/>
                    <a:gd name="T27" fmla="*/ 0 h 31"/>
                    <a:gd name="T28" fmla="*/ 25 w 31"/>
                    <a:gd name="T29" fmla="*/ 0 h 31"/>
                    <a:gd name="T30" fmla="*/ 25 w 31"/>
                    <a:gd name="T31" fmla="*/ 0 h 31"/>
                    <a:gd name="T32" fmla="*/ 28 w 31"/>
                    <a:gd name="T33" fmla="*/ 0 h 31"/>
                    <a:gd name="T34" fmla="*/ 28 w 31"/>
                    <a:gd name="T35" fmla="*/ 0 h 31"/>
                    <a:gd name="T36" fmla="*/ 29 w 31"/>
                    <a:gd name="T37" fmla="*/ 3 h 31"/>
                    <a:gd name="T38" fmla="*/ 29 w 31"/>
                    <a:gd name="T39" fmla="*/ 6 h 31"/>
                    <a:gd name="T40" fmla="*/ 31 w 31"/>
                    <a:gd name="T41" fmla="*/ 12 h 31"/>
                    <a:gd name="T42" fmla="*/ 28 w 31"/>
                    <a:gd name="T43" fmla="*/ 21 h 31"/>
                    <a:gd name="T44" fmla="*/ 25 w 31"/>
                    <a:gd name="T45" fmla="*/ 26 h 31"/>
                    <a:gd name="T46" fmla="*/ 25 w 31"/>
                    <a:gd name="T47" fmla="*/ 26 h 31"/>
                    <a:gd name="T48" fmla="*/ 23 w 31"/>
                    <a:gd name="T49" fmla="*/ 26 h 31"/>
                    <a:gd name="T50" fmla="*/ 23 w 31"/>
                    <a:gd name="T51" fmla="*/ 26 h 31"/>
                    <a:gd name="T52" fmla="*/ 19 w 31"/>
                    <a:gd name="T53" fmla="*/ 29 h 31"/>
                    <a:gd name="T54" fmla="*/ 13 w 31"/>
                    <a:gd name="T55" fmla="*/ 3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1" h="31">
                      <a:moveTo>
                        <a:pt x="13" y="31"/>
                      </a:moveTo>
                      <a:lnTo>
                        <a:pt x="13" y="31"/>
                      </a:lnTo>
                      <a:lnTo>
                        <a:pt x="10" y="31"/>
                      </a:lnTo>
                      <a:lnTo>
                        <a:pt x="10" y="31"/>
                      </a:lnTo>
                      <a:lnTo>
                        <a:pt x="7" y="29"/>
                      </a:lnTo>
                      <a:lnTo>
                        <a:pt x="4" y="28"/>
                      </a:lnTo>
                      <a:lnTo>
                        <a:pt x="2" y="23"/>
                      </a:lnTo>
                      <a:lnTo>
                        <a:pt x="0" y="18"/>
                      </a:lnTo>
                      <a:lnTo>
                        <a:pt x="2" y="13"/>
                      </a:lnTo>
                      <a:lnTo>
                        <a:pt x="2" y="13"/>
                      </a:lnTo>
                      <a:lnTo>
                        <a:pt x="4" y="9"/>
                      </a:lnTo>
                      <a:lnTo>
                        <a:pt x="4" y="9"/>
                      </a:lnTo>
                      <a:lnTo>
                        <a:pt x="15" y="3"/>
                      </a:lnTo>
                      <a:lnTo>
                        <a:pt x="19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8" y="0"/>
                      </a:lnTo>
                      <a:lnTo>
                        <a:pt x="28" y="0"/>
                      </a:lnTo>
                      <a:lnTo>
                        <a:pt x="29" y="3"/>
                      </a:lnTo>
                      <a:lnTo>
                        <a:pt x="29" y="6"/>
                      </a:lnTo>
                      <a:lnTo>
                        <a:pt x="31" y="12"/>
                      </a:lnTo>
                      <a:lnTo>
                        <a:pt x="28" y="21"/>
                      </a:lnTo>
                      <a:lnTo>
                        <a:pt x="25" y="26"/>
                      </a:lnTo>
                      <a:lnTo>
                        <a:pt x="25" y="26"/>
                      </a:lnTo>
                      <a:lnTo>
                        <a:pt x="23" y="26"/>
                      </a:lnTo>
                      <a:lnTo>
                        <a:pt x="23" y="26"/>
                      </a:lnTo>
                      <a:lnTo>
                        <a:pt x="19" y="29"/>
                      </a:lnTo>
                      <a:lnTo>
                        <a:pt x="13" y="31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06" name="Freeform 1756"/>
                <p:cNvSpPr>
                  <a:spLocks/>
                </p:cNvSpPr>
                <p:nvPr/>
              </p:nvSpPr>
              <p:spPr bwMode="auto">
                <a:xfrm>
                  <a:off x="4855917" y="3797918"/>
                  <a:ext cx="26710" cy="26710"/>
                </a:xfrm>
                <a:custGeom>
                  <a:avLst/>
                  <a:gdLst>
                    <a:gd name="T0" fmla="*/ 19 w 27"/>
                    <a:gd name="T1" fmla="*/ 27 h 27"/>
                    <a:gd name="T2" fmla="*/ 19 w 27"/>
                    <a:gd name="T3" fmla="*/ 27 h 27"/>
                    <a:gd name="T4" fmla="*/ 21 w 27"/>
                    <a:gd name="T5" fmla="*/ 27 h 27"/>
                    <a:gd name="T6" fmla="*/ 21 w 27"/>
                    <a:gd name="T7" fmla="*/ 27 h 27"/>
                    <a:gd name="T8" fmla="*/ 24 w 27"/>
                    <a:gd name="T9" fmla="*/ 22 h 27"/>
                    <a:gd name="T10" fmla="*/ 27 w 27"/>
                    <a:gd name="T11" fmla="*/ 13 h 27"/>
                    <a:gd name="T12" fmla="*/ 25 w 27"/>
                    <a:gd name="T13" fmla="*/ 7 h 27"/>
                    <a:gd name="T14" fmla="*/ 25 w 27"/>
                    <a:gd name="T15" fmla="*/ 4 h 27"/>
                    <a:gd name="T16" fmla="*/ 24 w 27"/>
                    <a:gd name="T17" fmla="*/ 1 h 27"/>
                    <a:gd name="T18" fmla="*/ 24 w 27"/>
                    <a:gd name="T19" fmla="*/ 1 h 27"/>
                    <a:gd name="T20" fmla="*/ 21 w 27"/>
                    <a:gd name="T21" fmla="*/ 1 h 27"/>
                    <a:gd name="T22" fmla="*/ 21 w 27"/>
                    <a:gd name="T23" fmla="*/ 1 h 27"/>
                    <a:gd name="T24" fmla="*/ 15 w 27"/>
                    <a:gd name="T25" fmla="*/ 1 h 27"/>
                    <a:gd name="T26" fmla="*/ 11 w 27"/>
                    <a:gd name="T27" fmla="*/ 4 h 27"/>
                    <a:gd name="T28" fmla="*/ 0 w 27"/>
                    <a:gd name="T29" fmla="*/ 10 h 27"/>
                    <a:gd name="T30" fmla="*/ 0 w 27"/>
                    <a:gd name="T31" fmla="*/ 10 h 27"/>
                    <a:gd name="T32" fmla="*/ 11 w 27"/>
                    <a:gd name="T33" fmla="*/ 4 h 27"/>
                    <a:gd name="T34" fmla="*/ 16 w 27"/>
                    <a:gd name="T35" fmla="*/ 1 h 27"/>
                    <a:gd name="T36" fmla="*/ 21 w 27"/>
                    <a:gd name="T37" fmla="*/ 0 h 27"/>
                    <a:gd name="T38" fmla="*/ 21 w 27"/>
                    <a:gd name="T39" fmla="*/ 0 h 27"/>
                    <a:gd name="T40" fmla="*/ 24 w 27"/>
                    <a:gd name="T41" fmla="*/ 1 h 27"/>
                    <a:gd name="T42" fmla="*/ 24 w 27"/>
                    <a:gd name="T43" fmla="*/ 1 h 27"/>
                    <a:gd name="T44" fmla="*/ 25 w 27"/>
                    <a:gd name="T45" fmla="*/ 3 h 27"/>
                    <a:gd name="T46" fmla="*/ 27 w 27"/>
                    <a:gd name="T47" fmla="*/ 6 h 27"/>
                    <a:gd name="T48" fmla="*/ 27 w 27"/>
                    <a:gd name="T49" fmla="*/ 13 h 27"/>
                    <a:gd name="T50" fmla="*/ 25 w 27"/>
                    <a:gd name="T51" fmla="*/ 20 h 27"/>
                    <a:gd name="T52" fmla="*/ 21 w 27"/>
                    <a:gd name="T53" fmla="*/ 26 h 27"/>
                    <a:gd name="T54" fmla="*/ 21 w 27"/>
                    <a:gd name="T55" fmla="*/ 26 h 27"/>
                    <a:gd name="T56" fmla="*/ 19 w 27"/>
                    <a:gd name="T57" fmla="*/ 2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7" h="27">
                      <a:moveTo>
                        <a:pt x="19" y="27"/>
                      </a:moveTo>
                      <a:lnTo>
                        <a:pt x="19" y="27"/>
                      </a:lnTo>
                      <a:lnTo>
                        <a:pt x="21" y="27"/>
                      </a:lnTo>
                      <a:lnTo>
                        <a:pt x="21" y="27"/>
                      </a:lnTo>
                      <a:lnTo>
                        <a:pt x="24" y="22"/>
                      </a:lnTo>
                      <a:lnTo>
                        <a:pt x="27" y="13"/>
                      </a:lnTo>
                      <a:lnTo>
                        <a:pt x="25" y="7"/>
                      </a:lnTo>
                      <a:lnTo>
                        <a:pt x="25" y="4"/>
                      </a:lnTo>
                      <a:lnTo>
                        <a:pt x="24" y="1"/>
                      </a:lnTo>
                      <a:lnTo>
                        <a:pt x="24" y="1"/>
                      </a:lnTo>
                      <a:lnTo>
                        <a:pt x="21" y="1"/>
                      </a:lnTo>
                      <a:lnTo>
                        <a:pt x="21" y="1"/>
                      </a:lnTo>
                      <a:lnTo>
                        <a:pt x="15" y="1"/>
                      </a:lnTo>
                      <a:lnTo>
                        <a:pt x="11" y="4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11" y="4"/>
                      </a:lnTo>
                      <a:lnTo>
                        <a:pt x="16" y="1"/>
                      </a:lnTo>
                      <a:lnTo>
                        <a:pt x="21" y="0"/>
                      </a:lnTo>
                      <a:lnTo>
                        <a:pt x="21" y="0"/>
                      </a:lnTo>
                      <a:lnTo>
                        <a:pt x="24" y="1"/>
                      </a:lnTo>
                      <a:lnTo>
                        <a:pt x="24" y="1"/>
                      </a:lnTo>
                      <a:lnTo>
                        <a:pt x="25" y="3"/>
                      </a:lnTo>
                      <a:lnTo>
                        <a:pt x="27" y="6"/>
                      </a:lnTo>
                      <a:lnTo>
                        <a:pt x="27" y="13"/>
                      </a:lnTo>
                      <a:lnTo>
                        <a:pt x="25" y="20"/>
                      </a:lnTo>
                      <a:lnTo>
                        <a:pt x="21" y="26"/>
                      </a:lnTo>
                      <a:lnTo>
                        <a:pt x="21" y="26"/>
                      </a:lnTo>
                      <a:lnTo>
                        <a:pt x="19" y="2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08" name="Freeform 1757"/>
                <p:cNvSpPr>
                  <a:spLocks/>
                </p:cNvSpPr>
                <p:nvPr/>
              </p:nvSpPr>
              <p:spPr bwMode="auto">
                <a:xfrm>
                  <a:off x="4855917" y="3797918"/>
                  <a:ext cx="26710" cy="26710"/>
                </a:xfrm>
                <a:custGeom>
                  <a:avLst/>
                  <a:gdLst>
                    <a:gd name="T0" fmla="*/ 19 w 27"/>
                    <a:gd name="T1" fmla="*/ 27 h 27"/>
                    <a:gd name="T2" fmla="*/ 19 w 27"/>
                    <a:gd name="T3" fmla="*/ 27 h 27"/>
                    <a:gd name="T4" fmla="*/ 21 w 27"/>
                    <a:gd name="T5" fmla="*/ 27 h 27"/>
                    <a:gd name="T6" fmla="*/ 21 w 27"/>
                    <a:gd name="T7" fmla="*/ 27 h 27"/>
                    <a:gd name="T8" fmla="*/ 24 w 27"/>
                    <a:gd name="T9" fmla="*/ 22 h 27"/>
                    <a:gd name="T10" fmla="*/ 27 w 27"/>
                    <a:gd name="T11" fmla="*/ 13 h 27"/>
                    <a:gd name="T12" fmla="*/ 25 w 27"/>
                    <a:gd name="T13" fmla="*/ 7 h 27"/>
                    <a:gd name="T14" fmla="*/ 25 w 27"/>
                    <a:gd name="T15" fmla="*/ 4 h 27"/>
                    <a:gd name="T16" fmla="*/ 24 w 27"/>
                    <a:gd name="T17" fmla="*/ 1 h 27"/>
                    <a:gd name="T18" fmla="*/ 24 w 27"/>
                    <a:gd name="T19" fmla="*/ 1 h 27"/>
                    <a:gd name="T20" fmla="*/ 21 w 27"/>
                    <a:gd name="T21" fmla="*/ 1 h 27"/>
                    <a:gd name="T22" fmla="*/ 21 w 27"/>
                    <a:gd name="T23" fmla="*/ 1 h 27"/>
                    <a:gd name="T24" fmla="*/ 15 w 27"/>
                    <a:gd name="T25" fmla="*/ 1 h 27"/>
                    <a:gd name="T26" fmla="*/ 11 w 27"/>
                    <a:gd name="T27" fmla="*/ 4 h 27"/>
                    <a:gd name="T28" fmla="*/ 0 w 27"/>
                    <a:gd name="T29" fmla="*/ 10 h 27"/>
                    <a:gd name="T30" fmla="*/ 0 w 27"/>
                    <a:gd name="T31" fmla="*/ 10 h 27"/>
                    <a:gd name="T32" fmla="*/ 11 w 27"/>
                    <a:gd name="T33" fmla="*/ 4 h 27"/>
                    <a:gd name="T34" fmla="*/ 16 w 27"/>
                    <a:gd name="T35" fmla="*/ 1 h 27"/>
                    <a:gd name="T36" fmla="*/ 21 w 27"/>
                    <a:gd name="T37" fmla="*/ 0 h 27"/>
                    <a:gd name="T38" fmla="*/ 21 w 27"/>
                    <a:gd name="T39" fmla="*/ 0 h 27"/>
                    <a:gd name="T40" fmla="*/ 24 w 27"/>
                    <a:gd name="T41" fmla="*/ 1 h 27"/>
                    <a:gd name="T42" fmla="*/ 24 w 27"/>
                    <a:gd name="T43" fmla="*/ 1 h 27"/>
                    <a:gd name="T44" fmla="*/ 25 w 27"/>
                    <a:gd name="T45" fmla="*/ 3 h 27"/>
                    <a:gd name="T46" fmla="*/ 27 w 27"/>
                    <a:gd name="T47" fmla="*/ 6 h 27"/>
                    <a:gd name="T48" fmla="*/ 27 w 27"/>
                    <a:gd name="T49" fmla="*/ 13 h 27"/>
                    <a:gd name="T50" fmla="*/ 25 w 27"/>
                    <a:gd name="T51" fmla="*/ 20 h 27"/>
                    <a:gd name="T52" fmla="*/ 21 w 27"/>
                    <a:gd name="T53" fmla="*/ 26 h 27"/>
                    <a:gd name="T54" fmla="*/ 21 w 27"/>
                    <a:gd name="T55" fmla="*/ 26 h 27"/>
                    <a:gd name="T56" fmla="*/ 19 w 27"/>
                    <a:gd name="T57" fmla="*/ 2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7" h="27">
                      <a:moveTo>
                        <a:pt x="19" y="27"/>
                      </a:moveTo>
                      <a:lnTo>
                        <a:pt x="19" y="27"/>
                      </a:lnTo>
                      <a:lnTo>
                        <a:pt x="21" y="27"/>
                      </a:lnTo>
                      <a:lnTo>
                        <a:pt x="21" y="27"/>
                      </a:lnTo>
                      <a:lnTo>
                        <a:pt x="24" y="22"/>
                      </a:lnTo>
                      <a:lnTo>
                        <a:pt x="27" y="13"/>
                      </a:lnTo>
                      <a:lnTo>
                        <a:pt x="25" y="7"/>
                      </a:lnTo>
                      <a:lnTo>
                        <a:pt x="25" y="4"/>
                      </a:lnTo>
                      <a:lnTo>
                        <a:pt x="24" y="1"/>
                      </a:lnTo>
                      <a:lnTo>
                        <a:pt x="24" y="1"/>
                      </a:lnTo>
                      <a:lnTo>
                        <a:pt x="21" y="1"/>
                      </a:lnTo>
                      <a:lnTo>
                        <a:pt x="21" y="1"/>
                      </a:lnTo>
                      <a:lnTo>
                        <a:pt x="15" y="1"/>
                      </a:lnTo>
                      <a:lnTo>
                        <a:pt x="11" y="4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11" y="4"/>
                      </a:lnTo>
                      <a:lnTo>
                        <a:pt x="16" y="1"/>
                      </a:lnTo>
                      <a:lnTo>
                        <a:pt x="21" y="0"/>
                      </a:lnTo>
                      <a:lnTo>
                        <a:pt x="21" y="0"/>
                      </a:lnTo>
                      <a:lnTo>
                        <a:pt x="24" y="1"/>
                      </a:lnTo>
                      <a:lnTo>
                        <a:pt x="24" y="1"/>
                      </a:lnTo>
                      <a:lnTo>
                        <a:pt x="25" y="3"/>
                      </a:lnTo>
                      <a:lnTo>
                        <a:pt x="27" y="6"/>
                      </a:lnTo>
                      <a:lnTo>
                        <a:pt x="27" y="13"/>
                      </a:lnTo>
                      <a:lnTo>
                        <a:pt x="25" y="20"/>
                      </a:lnTo>
                      <a:lnTo>
                        <a:pt x="21" y="26"/>
                      </a:lnTo>
                      <a:lnTo>
                        <a:pt x="21" y="26"/>
                      </a:lnTo>
                      <a:lnTo>
                        <a:pt x="19" y="2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09" name="Freeform 1759"/>
                <p:cNvSpPr>
                  <a:spLocks noEditPoints="1"/>
                </p:cNvSpPr>
                <p:nvPr/>
              </p:nvSpPr>
              <p:spPr bwMode="auto">
                <a:xfrm>
                  <a:off x="4717421" y="2580139"/>
                  <a:ext cx="67270" cy="67270"/>
                </a:xfrm>
                <a:custGeom>
                  <a:avLst/>
                  <a:gdLst>
                    <a:gd name="T0" fmla="*/ 10 w 68"/>
                    <a:gd name="T1" fmla="*/ 66 h 68"/>
                    <a:gd name="T2" fmla="*/ 19 w 68"/>
                    <a:gd name="T3" fmla="*/ 62 h 68"/>
                    <a:gd name="T4" fmla="*/ 25 w 68"/>
                    <a:gd name="T5" fmla="*/ 49 h 68"/>
                    <a:gd name="T6" fmla="*/ 25 w 68"/>
                    <a:gd name="T7" fmla="*/ 52 h 68"/>
                    <a:gd name="T8" fmla="*/ 23 w 68"/>
                    <a:gd name="T9" fmla="*/ 58 h 68"/>
                    <a:gd name="T10" fmla="*/ 28 w 68"/>
                    <a:gd name="T11" fmla="*/ 53 h 68"/>
                    <a:gd name="T12" fmla="*/ 25 w 68"/>
                    <a:gd name="T13" fmla="*/ 47 h 68"/>
                    <a:gd name="T14" fmla="*/ 25 w 68"/>
                    <a:gd name="T15" fmla="*/ 42 h 68"/>
                    <a:gd name="T16" fmla="*/ 26 w 68"/>
                    <a:gd name="T17" fmla="*/ 30 h 68"/>
                    <a:gd name="T18" fmla="*/ 28 w 68"/>
                    <a:gd name="T19" fmla="*/ 34 h 68"/>
                    <a:gd name="T20" fmla="*/ 23 w 68"/>
                    <a:gd name="T21" fmla="*/ 24 h 68"/>
                    <a:gd name="T22" fmla="*/ 23 w 68"/>
                    <a:gd name="T23" fmla="*/ 24 h 68"/>
                    <a:gd name="T24" fmla="*/ 28 w 68"/>
                    <a:gd name="T25" fmla="*/ 34 h 68"/>
                    <a:gd name="T26" fmla="*/ 28 w 68"/>
                    <a:gd name="T27" fmla="*/ 37 h 68"/>
                    <a:gd name="T28" fmla="*/ 39 w 68"/>
                    <a:gd name="T29" fmla="*/ 40 h 68"/>
                    <a:gd name="T30" fmla="*/ 55 w 68"/>
                    <a:gd name="T31" fmla="*/ 36 h 68"/>
                    <a:gd name="T32" fmla="*/ 43 w 68"/>
                    <a:gd name="T33" fmla="*/ 40 h 68"/>
                    <a:gd name="T34" fmla="*/ 64 w 68"/>
                    <a:gd name="T35" fmla="*/ 30 h 68"/>
                    <a:gd name="T36" fmla="*/ 67 w 68"/>
                    <a:gd name="T37" fmla="*/ 31 h 68"/>
                    <a:gd name="T38" fmla="*/ 61 w 68"/>
                    <a:gd name="T39" fmla="*/ 37 h 68"/>
                    <a:gd name="T40" fmla="*/ 68 w 68"/>
                    <a:gd name="T41" fmla="*/ 33 h 68"/>
                    <a:gd name="T42" fmla="*/ 56 w 68"/>
                    <a:gd name="T43" fmla="*/ 14 h 68"/>
                    <a:gd name="T44" fmla="*/ 64 w 68"/>
                    <a:gd name="T45" fmla="*/ 23 h 68"/>
                    <a:gd name="T46" fmla="*/ 56 w 68"/>
                    <a:gd name="T47" fmla="*/ 14 h 68"/>
                    <a:gd name="T48" fmla="*/ 54 w 68"/>
                    <a:gd name="T49" fmla="*/ 7 h 68"/>
                    <a:gd name="T50" fmla="*/ 54 w 68"/>
                    <a:gd name="T51" fmla="*/ 10 h 68"/>
                    <a:gd name="T52" fmla="*/ 54 w 68"/>
                    <a:gd name="T53" fmla="*/ 4 h 68"/>
                    <a:gd name="T54" fmla="*/ 46 w 68"/>
                    <a:gd name="T55" fmla="*/ 7 h 68"/>
                    <a:gd name="T56" fmla="*/ 39 w 68"/>
                    <a:gd name="T57" fmla="*/ 8 h 68"/>
                    <a:gd name="T58" fmla="*/ 39 w 68"/>
                    <a:gd name="T59" fmla="*/ 5 h 68"/>
                    <a:gd name="T60" fmla="*/ 30 w 68"/>
                    <a:gd name="T61" fmla="*/ 11 h 68"/>
                    <a:gd name="T62" fmla="*/ 22 w 68"/>
                    <a:gd name="T63" fmla="*/ 14 h 68"/>
                    <a:gd name="T64" fmla="*/ 25 w 68"/>
                    <a:gd name="T65" fmla="*/ 11 h 68"/>
                    <a:gd name="T66" fmla="*/ 25 w 68"/>
                    <a:gd name="T67" fmla="*/ 14 h 68"/>
                    <a:gd name="T68" fmla="*/ 19 w 68"/>
                    <a:gd name="T69" fmla="*/ 5 h 68"/>
                    <a:gd name="T70" fmla="*/ 7 w 68"/>
                    <a:gd name="T71" fmla="*/ 3 h 68"/>
                    <a:gd name="T72" fmla="*/ 12 w 68"/>
                    <a:gd name="T73" fmla="*/ 3 h 68"/>
                    <a:gd name="T74" fmla="*/ 17 w 68"/>
                    <a:gd name="T75" fmla="*/ 3 h 68"/>
                    <a:gd name="T76" fmla="*/ 16 w 68"/>
                    <a:gd name="T77" fmla="*/ 1 h 68"/>
                    <a:gd name="T78" fmla="*/ 12 w 68"/>
                    <a:gd name="T79" fmla="*/ 0 h 68"/>
                    <a:gd name="T80" fmla="*/ 6 w 68"/>
                    <a:gd name="T81" fmla="*/ 0 h 68"/>
                    <a:gd name="T82" fmla="*/ 3 w 68"/>
                    <a:gd name="T83" fmla="*/ 17 h 68"/>
                    <a:gd name="T84" fmla="*/ 3 w 68"/>
                    <a:gd name="T85" fmla="*/ 5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68" h="68">
                      <a:moveTo>
                        <a:pt x="17" y="59"/>
                      </a:moveTo>
                      <a:lnTo>
                        <a:pt x="17" y="59"/>
                      </a:lnTo>
                      <a:lnTo>
                        <a:pt x="10" y="66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9" y="62"/>
                      </a:lnTo>
                      <a:lnTo>
                        <a:pt x="17" y="59"/>
                      </a:lnTo>
                      <a:close/>
                      <a:moveTo>
                        <a:pt x="25" y="47"/>
                      </a:moveTo>
                      <a:lnTo>
                        <a:pt x="25" y="49"/>
                      </a:lnTo>
                      <a:lnTo>
                        <a:pt x="25" y="49"/>
                      </a:lnTo>
                      <a:lnTo>
                        <a:pt x="25" y="52"/>
                      </a:lnTo>
                      <a:lnTo>
                        <a:pt x="25" y="52"/>
                      </a:lnTo>
                      <a:lnTo>
                        <a:pt x="22" y="56"/>
                      </a:lnTo>
                      <a:lnTo>
                        <a:pt x="23" y="58"/>
                      </a:lnTo>
                      <a:lnTo>
                        <a:pt x="23" y="58"/>
                      </a:lnTo>
                      <a:lnTo>
                        <a:pt x="26" y="56"/>
                      </a:lnTo>
                      <a:lnTo>
                        <a:pt x="28" y="53"/>
                      </a:lnTo>
                      <a:lnTo>
                        <a:pt x="28" y="53"/>
                      </a:lnTo>
                      <a:lnTo>
                        <a:pt x="28" y="49"/>
                      </a:lnTo>
                      <a:lnTo>
                        <a:pt x="28" y="47"/>
                      </a:lnTo>
                      <a:lnTo>
                        <a:pt x="25" y="47"/>
                      </a:lnTo>
                      <a:close/>
                      <a:moveTo>
                        <a:pt x="25" y="30"/>
                      </a:moveTo>
                      <a:lnTo>
                        <a:pt x="25" y="30"/>
                      </a:lnTo>
                      <a:lnTo>
                        <a:pt x="25" y="42"/>
                      </a:lnTo>
                      <a:lnTo>
                        <a:pt x="28" y="42"/>
                      </a:lnTo>
                      <a:lnTo>
                        <a:pt x="28" y="42"/>
                      </a:lnTo>
                      <a:lnTo>
                        <a:pt x="26" y="30"/>
                      </a:lnTo>
                      <a:lnTo>
                        <a:pt x="25" y="30"/>
                      </a:lnTo>
                      <a:close/>
                      <a:moveTo>
                        <a:pt x="28" y="34"/>
                      </a:moveTo>
                      <a:lnTo>
                        <a:pt x="28" y="34"/>
                      </a:lnTo>
                      <a:lnTo>
                        <a:pt x="26" y="24"/>
                      </a:lnTo>
                      <a:lnTo>
                        <a:pt x="23" y="24"/>
                      </a:lnTo>
                      <a:lnTo>
                        <a:pt x="23" y="24"/>
                      </a:lnTo>
                      <a:lnTo>
                        <a:pt x="26" y="24"/>
                      </a:lnTo>
                      <a:lnTo>
                        <a:pt x="26" y="24"/>
                      </a:lnTo>
                      <a:lnTo>
                        <a:pt x="23" y="24"/>
                      </a:lnTo>
                      <a:lnTo>
                        <a:pt x="23" y="24"/>
                      </a:lnTo>
                      <a:lnTo>
                        <a:pt x="25" y="34"/>
                      </a:lnTo>
                      <a:lnTo>
                        <a:pt x="28" y="34"/>
                      </a:lnTo>
                      <a:close/>
                      <a:moveTo>
                        <a:pt x="39" y="37"/>
                      </a:moveTo>
                      <a:lnTo>
                        <a:pt x="39" y="37"/>
                      </a:lnTo>
                      <a:lnTo>
                        <a:pt x="28" y="37"/>
                      </a:lnTo>
                      <a:lnTo>
                        <a:pt x="28" y="40"/>
                      </a:lnTo>
                      <a:lnTo>
                        <a:pt x="28" y="40"/>
                      </a:lnTo>
                      <a:lnTo>
                        <a:pt x="39" y="40"/>
                      </a:lnTo>
                      <a:lnTo>
                        <a:pt x="39" y="37"/>
                      </a:lnTo>
                      <a:close/>
                      <a:moveTo>
                        <a:pt x="55" y="36"/>
                      </a:moveTo>
                      <a:lnTo>
                        <a:pt x="55" y="36"/>
                      </a:lnTo>
                      <a:lnTo>
                        <a:pt x="43" y="37"/>
                      </a:lnTo>
                      <a:lnTo>
                        <a:pt x="43" y="40"/>
                      </a:lnTo>
                      <a:lnTo>
                        <a:pt x="43" y="40"/>
                      </a:lnTo>
                      <a:lnTo>
                        <a:pt x="55" y="39"/>
                      </a:lnTo>
                      <a:lnTo>
                        <a:pt x="55" y="36"/>
                      </a:lnTo>
                      <a:close/>
                      <a:moveTo>
                        <a:pt x="64" y="30"/>
                      </a:moveTo>
                      <a:lnTo>
                        <a:pt x="65" y="33"/>
                      </a:lnTo>
                      <a:lnTo>
                        <a:pt x="67" y="33"/>
                      </a:lnTo>
                      <a:lnTo>
                        <a:pt x="67" y="31"/>
                      </a:lnTo>
                      <a:lnTo>
                        <a:pt x="67" y="31"/>
                      </a:lnTo>
                      <a:lnTo>
                        <a:pt x="59" y="34"/>
                      </a:lnTo>
                      <a:lnTo>
                        <a:pt x="61" y="37"/>
                      </a:lnTo>
                      <a:lnTo>
                        <a:pt x="61" y="37"/>
                      </a:lnTo>
                      <a:lnTo>
                        <a:pt x="67" y="34"/>
                      </a:lnTo>
                      <a:lnTo>
                        <a:pt x="68" y="33"/>
                      </a:lnTo>
                      <a:lnTo>
                        <a:pt x="65" y="29"/>
                      </a:lnTo>
                      <a:lnTo>
                        <a:pt x="64" y="30"/>
                      </a:lnTo>
                      <a:close/>
                      <a:moveTo>
                        <a:pt x="56" y="14"/>
                      </a:moveTo>
                      <a:lnTo>
                        <a:pt x="56" y="14"/>
                      </a:lnTo>
                      <a:lnTo>
                        <a:pt x="61" y="24"/>
                      </a:lnTo>
                      <a:lnTo>
                        <a:pt x="64" y="23"/>
                      </a:lnTo>
                      <a:lnTo>
                        <a:pt x="64" y="23"/>
                      </a:lnTo>
                      <a:lnTo>
                        <a:pt x="58" y="13"/>
                      </a:lnTo>
                      <a:lnTo>
                        <a:pt x="56" y="14"/>
                      </a:lnTo>
                      <a:close/>
                      <a:moveTo>
                        <a:pt x="46" y="7"/>
                      </a:moveTo>
                      <a:lnTo>
                        <a:pt x="46" y="7"/>
                      </a:lnTo>
                      <a:lnTo>
                        <a:pt x="54" y="7"/>
                      </a:lnTo>
                      <a:lnTo>
                        <a:pt x="54" y="5"/>
                      </a:lnTo>
                      <a:lnTo>
                        <a:pt x="52" y="5"/>
                      </a:lnTo>
                      <a:lnTo>
                        <a:pt x="54" y="10"/>
                      </a:lnTo>
                      <a:lnTo>
                        <a:pt x="56" y="8"/>
                      </a:lnTo>
                      <a:lnTo>
                        <a:pt x="55" y="4"/>
                      </a:lnTo>
                      <a:lnTo>
                        <a:pt x="54" y="4"/>
                      </a:lnTo>
                      <a:lnTo>
                        <a:pt x="54" y="4"/>
                      </a:lnTo>
                      <a:lnTo>
                        <a:pt x="46" y="4"/>
                      </a:lnTo>
                      <a:lnTo>
                        <a:pt x="46" y="7"/>
                      </a:lnTo>
                      <a:close/>
                      <a:moveTo>
                        <a:pt x="30" y="11"/>
                      </a:moveTo>
                      <a:lnTo>
                        <a:pt x="30" y="11"/>
                      </a:lnTo>
                      <a:lnTo>
                        <a:pt x="39" y="8"/>
                      </a:lnTo>
                      <a:lnTo>
                        <a:pt x="42" y="8"/>
                      </a:lnTo>
                      <a:lnTo>
                        <a:pt x="41" y="5"/>
                      </a:lnTo>
                      <a:lnTo>
                        <a:pt x="39" y="5"/>
                      </a:lnTo>
                      <a:lnTo>
                        <a:pt x="39" y="5"/>
                      </a:lnTo>
                      <a:lnTo>
                        <a:pt x="30" y="10"/>
                      </a:lnTo>
                      <a:lnTo>
                        <a:pt x="30" y="11"/>
                      </a:lnTo>
                      <a:close/>
                      <a:moveTo>
                        <a:pt x="19" y="5"/>
                      </a:moveTo>
                      <a:lnTo>
                        <a:pt x="19" y="5"/>
                      </a:lnTo>
                      <a:lnTo>
                        <a:pt x="22" y="14"/>
                      </a:lnTo>
                      <a:lnTo>
                        <a:pt x="25" y="16"/>
                      </a:lnTo>
                      <a:lnTo>
                        <a:pt x="26" y="14"/>
                      </a:lnTo>
                      <a:lnTo>
                        <a:pt x="25" y="11"/>
                      </a:lnTo>
                      <a:lnTo>
                        <a:pt x="23" y="13"/>
                      </a:lnTo>
                      <a:lnTo>
                        <a:pt x="23" y="14"/>
                      </a:lnTo>
                      <a:lnTo>
                        <a:pt x="25" y="14"/>
                      </a:lnTo>
                      <a:lnTo>
                        <a:pt x="25" y="14"/>
                      </a:lnTo>
                      <a:lnTo>
                        <a:pt x="22" y="5"/>
                      </a:lnTo>
                      <a:lnTo>
                        <a:pt x="19" y="5"/>
                      </a:lnTo>
                      <a:lnTo>
                        <a:pt x="19" y="5"/>
                      </a:lnTo>
                      <a:close/>
                      <a:moveTo>
                        <a:pt x="7" y="3"/>
                      </a:moveTo>
                      <a:lnTo>
                        <a:pt x="7" y="3"/>
                      </a:lnTo>
                      <a:lnTo>
                        <a:pt x="12" y="3"/>
                      </a:lnTo>
                      <a:lnTo>
                        <a:pt x="12" y="1"/>
                      </a:lnTo>
                      <a:lnTo>
                        <a:pt x="12" y="3"/>
                      </a:lnTo>
                      <a:lnTo>
                        <a:pt x="16" y="3"/>
                      </a:lnTo>
                      <a:lnTo>
                        <a:pt x="16" y="3"/>
                      </a:lnTo>
                      <a:lnTo>
                        <a:pt x="17" y="3"/>
                      </a:lnTo>
                      <a:lnTo>
                        <a:pt x="19" y="0"/>
                      </a:lnTo>
                      <a:lnTo>
                        <a:pt x="16" y="0"/>
                      </a:lnTo>
                      <a:lnTo>
                        <a:pt x="16" y="1"/>
                      </a:lnTo>
                      <a:lnTo>
                        <a:pt x="16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9" y="0"/>
                      </a:lnTo>
                      <a:lnTo>
                        <a:pt x="6" y="0"/>
                      </a:lnTo>
                      <a:lnTo>
                        <a:pt x="7" y="3"/>
                      </a:lnTo>
                      <a:close/>
                      <a:moveTo>
                        <a:pt x="3" y="17"/>
                      </a:moveTo>
                      <a:lnTo>
                        <a:pt x="3" y="17"/>
                      </a:lnTo>
                      <a:lnTo>
                        <a:pt x="6" y="7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0" y="17"/>
                      </a:lnTo>
                      <a:lnTo>
                        <a:pt x="3" y="17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10" name="Freeform 1762"/>
                <p:cNvSpPr>
                  <a:spLocks/>
                </p:cNvSpPr>
                <p:nvPr/>
              </p:nvSpPr>
              <p:spPr bwMode="auto">
                <a:xfrm>
                  <a:off x="5493000" y="2821519"/>
                  <a:ext cx="91012" cy="110797"/>
                </a:xfrm>
                <a:custGeom>
                  <a:avLst/>
                  <a:gdLst>
                    <a:gd name="T0" fmla="*/ 0 w 92"/>
                    <a:gd name="T1" fmla="*/ 112 h 112"/>
                    <a:gd name="T2" fmla="*/ 0 w 92"/>
                    <a:gd name="T3" fmla="*/ 111 h 112"/>
                    <a:gd name="T4" fmla="*/ 4 w 92"/>
                    <a:gd name="T5" fmla="*/ 108 h 112"/>
                    <a:gd name="T6" fmla="*/ 13 w 92"/>
                    <a:gd name="T7" fmla="*/ 108 h 112"/>
                    <a:gd name="T8" fmla="*/ 13 w 92"/>
                    <a:gd name="T9" fmla="*/ 100 h 112"/>
                    <a:gd name="T10" fmla="*/ 13 w 92"/>
                    <a:gd name="T11" fmla="*/ 100 h 112"/>
                    <a:gd name="T12" fmla="*/ 14 w 92"/>
                    <a:gd name="T13" fmla="*/ 100 h 112"/>
                    <a:gd name="T14" fmla="*/ 14 w 92"/>
                    <a:gd name="T15" fmla="*/ 100 h 112"/>
                    <a:gd name="T16" fmla="*/ 33 w 92"/>
                    <a:gd name="T17" fmla="*/ 105 h 112"/>
                    <a:gd name="T18" fmla="*/ 39 w 92"/>
                    <a:gd name="T19" fmla="*/ 99 h 112"/>
                    <a:gd name="T20" fmla="*/ 40 w 92"/>
                    <a:gd name="T21" fmla="*/ 99 h 112"/>
                    <a:gd name="T22" fmla="*/ 40 w 92"/>
                    <a:gd name="T23" fmla="*/ 99 h 112"/>
                    <a:gd name="T24" fmla="*/ 44 w 92"/>
                    <a:gd name="T25" fmla="*/ 103 h 112"/>
                    <a:gd name="T26" fmla="*/ 49 w 92"/>
                    <a:gd name="T27" fmla="*/ 100 h 112"/>
                    <a:gd name="T28" fmla="*/ 42 w 92"/>
                    <a:gd name="T29" fmla="*/ 80 h 112"/>
                    <a:gd name="T30" fmla="*/ 33 w 92"/>
                    <a:gd name="T31" fmla="*/ 76 h 112"/>
                    <a:gd name="T32" fmla="*/ 33 w 92"/>
                    <a:gd name="T33" fmla="*/ 74 h 112"/>
                    <a:gd name="T34" fmla="*/ 34 w 92"/>
                    <a:gd name="T35" fmla="*/ 66 h 112"/>
                    <a:gd name="T36" fmla="*/ 24 w 92"/>
                    <a:gd name="T37" fmla="*/ 63 h 112"/>
                    <a:gd name="T38" fmla="*/ 24 w 92"/>
                    <a:gd name="T39" fmla="*/ 63 h 112"/>
                    <a:gd name="T40" fmla="*/ 23 w 92"/>
                    <a:gd name="T41" fmla="*/ 61 h 112"/>
                    <a:gd name="T42" fmla="*/ 26 w 92"/>
                    <a:gd name="T43" fmla="*/ 54 h 112"/>
                    <a:gd name="T44" fmla="*/ 39 w 92"/>
                    <a:gd name="T45" fmla="*/ 35 h 112"/>
                    <a:gd name="T46" fmla="*/ 40 w 92"/>
                    <a:gd name="T47" fmla="*/ 35 h 112"/>
                    <a:gd name="T48" fmla="*/ 40 w 92"/>
                    <a:gd name="T49" fmla="*/ 35 h 112"/>
                    <a:gd name="T50" fmla="*/ 40 w 92"/>
                    <a:gd name="T51" fmla="*/ 35 h 112"/>
                    <a:gd name="T52" fmla="*/ 46 w 92"/>
                    <a:gd name="T53" fmla="*/ 41 h 112"/>
                    <a:gd name="T54" fmla="*/ 60 w 92"/>
                    <a:gd name="T55" fmla="*/ 38 h 112"/>
                    <a:gd name="T56" fmla="*/ 69 w 92"/>
                    <a:gd name="T57" fmla="*/ 25 h 112"/>
                    <a:gd name="T58" fmla="*/ 78 w 92"/>
                    <a:gd name="T59" fmla="*/ 18 h 112"/>
                    <a:gd name="T60" fmla="*/ 86 w 92"/>
                    <a:gd name="T61" fmla="*/ 2 h 112"/>
                    <a:gd name="T62" fmla="*/ 92 w 92"/>
                    <a:gd name="T63" fmla="*/ 0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92" h="112">
                      <a:moveTo>
                        <a:pt x="0" y="112"/>
                      </a:moveTo>
                      <a:lnTo>
                        <a:pt x="0" y="111"/>
                      </a:lnTo>
                      <a:lnTo>
                        <a:pt x="4" y="108"/>
                      </a:lnTo>
                      <a:lnTo>
                        <a:pt x="13" y="108"/>
                      </a:lnTo>
                      <a:lnTo>
                        <a:pt x="13" y="100"/>
                      </a:lnTo>
                      <a:lnTo>
                        <a:pt x="13" y="100"/>
                      </a:lnTo>
                      <a:lnTo>
                        <a:pt x="14" y="100"/>
                      </a:lnTo>
                      <a:lnTo>
                        <a:pt x="14" y="100"/>
                      </a:lnTo>
                      <a:lnTo>
                        <a:pt x="33" y="105"/>
                      </a:lnTo>
                      <a:lnTo>
                        <a:pt x="39" y="99"/>
                      </a:lnTo>
                      <a:lnTo>
                        <a:pt x="40" y="99"/>
                      </a:lnTo>
                      <a:lnTo>
                        <a:pt x="40" y="99"/>
                      </a:lnTo>
                      <a:lnTo>
                        <a:pt x="44" y="103"/>
                      </a:lnTo>
                      <a:lnTo>
                        <a:pt x="49" y="100"/>
                      </a:lnTo>
                      <a:lnTo>
                        <a:pt x="42" y="80"/>
                      </a:lnTo>
                      <a:lnTo>
                        <a:pt x="33" y="76"/>
                      </a:lnTo>
                      <a:lnTo>
                        <a:pt x="33" y="74"/>
                      </a:lnTo>
                      <a:lnTo>
                        <a:pt x="34" y="66"/>
                      </a:lnTo>
                      <a:lnTo>
                        <a:pt x="24" y="63"/>
                      </a:lnTo>
                      <a:lnTo>
                        <a:pt x="24" y="63"/>
                      </a:lnTo>
                      <a:lnTo>
                        <a:pt x="23" y="61"/>
                      </a:lnTo>
                      <a:lnTo>
                        <a:pt x="26" y="54"/>
                      </a:lnTo>
                      <a:lnTo>
                        <a:pt x="39" y="35"/>
                      </a:lnTo>
                      <a:lnTo>
                        <a:pt x="40" y="35"/>
                      </a:lnTo>
                      <a:lnTo>
                        <a:pt x="40" y="35"/>
                      </a:lnTo>
                      <a:lnTo>
                        <a:pt x="40" y="35"/>
                      </a:lnTo>
                      <a:lnTo>
                        <a:pt x="46" y="41"/>
                      </a:lnTo>
                      <a:lnTo>
                        <a:pt x="60" y="38"/>
                      </a:lnTo>
                      <a:lnTo>
                        <a:pt x="69" y="25"/>
                      </a:lnTo>
                      <a:lnTo>
                        <a:pt x="78" y="18"/>
                      </a:lnTo>
                      <a:lnTo>
                        <a:pt x="86" y="2"/>
                      </a:lnTo>
                      <a:lnTo>
                        <a:pt x="92" y="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8" name="Freeform 1824"/>
                <p:cNvSpPr>
                  <a:spLocks/>
                </p:cNvSpPr>
                <p:nvPr/>
              </p:nvSpPr>
              <p:spPr bwMode="auto">
                <a:xfrm>
                  <a:off x="5576099" y="2820530"/>
                  <a:ext cx="9893" cy="5936"/>
                </a:xfrm>
                <a:custGeom>
                  <a:avLst/>
                  <a:gdLst>
                    <a:gd name="T0" fmla="*/ 2 w 10"/>
                    <a:gd name="T1" fmla="*/ 4 h 6"/>
                    <a:gd name="T2" fmla="*/ 8 w 10"/>
                    <a:gd name="T3" fmla="*/ 1 h 6"/>
                    <a:gd name="T4" fmla="*/ 10 w 10"/>
                    <a:gd name="T5" fmla="*/ 0 h 6"/>
                    <a:gd name="T6" fmla="*/ 7 w 10"/>
                    <a:gd name="T7" fmla="*/ 0 h 6"/>
                    <a:gd name="T8" fmla="*/ 7 w 10"/>
                    <a:gd name="T9" fmla="*/ 0 h 6"/>
                    <a:gd name="T10" fmla="*/ 1 w 10"/>
                    <a:gd name="T11" fmla="*/ 3 h 6"/>
                    <a:gd name="T12" fmla="*/ 0 w 10"/>
                    <a:gd name="T13" fmla="*/ 6 h 6"/>
                    <a:gd name="T14" fmla="*/ 1 w 10"/>
                    <a:gd name="T15" fmla="*/ 6 h 6"/>
                    <a:gd name="T16" fmla="*/ 2 w 10"/>
                    <a:gd name="T17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" h="6">
                      <a:moveTo>
                        <a:pt x="2" y="4"/>
                      </a:moveTo>
                      <a:lnTo>
                        <a:pt x="8" y="1"/>
                      </a:lnTo>
                      <a:lnTo>
                        <a:pt x="10" y="0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" y="3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2" y="4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9" name="Freeform 1825"/>
                <p:cNvSpPr>
                  <a:spLocks/>
                </p:cNvSpPr>
                <p:nvPr/>
              </p:nvSpPr>
              <p:spPr bwMode="auto">
                <a:xfrm>
                  <a:off x="5568185" y="2830423"/>
                  <a:ext cx="7914" cy="9893"/>
                </a:xfrm>
                <a:custGeom>
                  <a:avLst/>
                  <a:gdLst>
                    <a:gd name="T0" fmla="*/ 2 w 8"/>
                    <a:gd name="T1" fmla="*/ 10 h 10"/>
                    <a:gd name="T2" fmla="*/ 8 w 8"/>
                    <a:gd name="T3" fmla="*/ 0 h 10"/>
                    <a:gd name="T4" fmla="*/ 5 w 8"/>
                    <a:gd name="T5" fmla="*/ 0 h 10"/>
                    <a:gd name="T6" fmla="*/ 0 w 8"/>
                    <a:gd name="T7" fmla="*/ 9 h 10"/>
                    <a:gd name="T8" fmla="*/ 2 w 8"/>
                    <a:gd name="T9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10">
                      <a:moveTo>
                        <a:pt x="2" y="10"/>
                      </a:move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0" y="9"/>
                      </a:lnTo>
                      <a:lnTo>
                        <a:pt x="2" y="1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0" name="Freeform 1826"/>
                <p:cNvSpPr>
                  <a:spLocks/>
                </p:cNvSpPr>
                <p:nvPr/>
              </p:nvSpPr>
              <p:spPr bwMode="auto">
                <a:xfrm>
                  <a:off x="5557303" y="2842294"/>
                  <a:ext cx="7914" cy="7914"/>
                </a:xfrm>
                <a:custGeom>
                  <a:avLst/>
                  <a:gdLst>
                    <a:gd name="T0" fmla="*/ 3 w 8"/>
                    <a:gd name="T1" fmla="*/ 8 h 8"/>
                    <a:gd name="T2" fmla="*/ 4 w 8"/>
                    <a:gd name="T3" fmla="*/ 4 h 8"/>
                    <a:gd name="T4" fmla="*/ 8 w 8"/>
                    <a:gd name="T5" fmla="*/ 1 h 8"/>
                    <a:gd name="T6" fmla="*/ 7 w 8"/>
                    <a:gd name="T7" fmla="*/ 0 h 8"/>
                    <a:gd name="T8" fmla="*/ 3 w 8"/>
                    <a:gd name="T9" fmla="*/ 3 h 8"/>
                    <a:gd name="T10" fmla="*/ 0 w 8"/>
                    <a:gd name="T11" fmla="*/ 7 h 8"/>
                    <a:gd name="T12" fmla="*/ 3 w 8"/>
                    <a:gd name="T1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8">
                      <a:moveTo>
                        <a:pt x="3" y="8"/>
                      </a:moveTo>
                      <a:lnTo>
                        <a:pt x="4" y="4"/>
                      </a:lnTo>
                      <a:lnTo>
                        <a:pt x="8" y="1"/>
                      </a:lnTo>
                      <a:lnTo>
                        <a:pt x="7" y="0"/>
                      </a:lnTo>
                      <a:lnTo>
                        <a:pt x="3" y="3"/>
                      </a:lnTo>
                      <a:lnTo>
                        <a:pt x="0" y="7"/>
                      </a:lnTo>
                      <a:lnTo>
                        <a:pt x="3" y="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1" name="Freeform 1827"/>
                <p:cNvSpPr>
                  <a:spLocks/>
                </p:cNvSpPr>
                <p:nvPr/>
              </p:nvSpPr>
              <p:spPr bwMode="auto">
                <a:xfrm>
                  <a:off x="5548399" y="2853175"/>
                  <a:ext cx="8903" cy="7914"/>
                </a:xfrm>
                <a:custGeom>
                  <a:avLst/>
                  <a:gdLst>
                    <a:gd name="T0" fmla="*/ 1 w 9"/>
                    <a:gd name="T1" fmla="*/ 8 h 8"/>
                    <a:gd name="T2" fmla="*/ 6 w 9"/>
                    <a:gd name="T3" fmla="*/ 8 h 8"/>
                    <a:gd name="T4" fmla="*/ 6 w 9"/>
                    <a:gd name="T5" fmla="*/ 8 h 8"/>
                    <a:gd name="T6" fmla="*/ 9 w 9"/>
                    <a:gd name="T7" fmla="*/ 2 h 8"/>
                    <a:gd name="T8" fmla="*/ 7 w 9"/>
                    <a:gd name="T9" fmla="*/ 0 h 8"/>
                    <a:gd name="T10" fmla="*/ 4 w 9"/>
                    <a:gd name="T11" fmla="*/ 5 h 8"/>
                    <a:gd name="T12" fmla="*/ 0 w 9"/>
                    <a:gd name="T13" fmla="*/ 6 h 8"/>
                    <a:gd name="T14" fmla="*/ 1 w 9"/>
                    <a:gd name="T15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8">
                      <a:moveTo>
                        <a:pt x="1" y="8"/>
                      </a:move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9" y="2"/>
                      </a:lnTo>
                      <a:lnTo>
                        <a:pt x="7" y="0"/>
                      </a:lnTo>
                      <a:lnTo>
                        <a:pt x="4" y="5"/>
                      </a:lnTo>
                      <a:lnTo>
                        <a:pt x="0" y="6"/>
                      </a:lnTo>
                      <a:lnTo>
                        <a:pt x="1" y="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2" name="Freeform 1828"/>
                <p:cNvSpPr>
                  <a:spLocks/>
                </p:cNvSpPr>
                <p:nvPr/>
              </p:nvSpPr>
              <p:spPr bwMode="auto">
                <a:xfrm>
                  <a:off x="5535539" y="2859111"/>
                  <a:ext cx="8903" cy="3957"/>
                </a:xfrm>
                <a:custGeom>
                  <a:avLst/>
                  <a:gdLst>
                    <a:gd name="T0" fmla="*/ 0 w 9"/>
                    <a:gd name="T1" fmla="*/ 2 h 4"/>
                    <a:gd name="T2" fmla="*/ 3 w 9"/>
                    <a:gd name="T3" fmla="*/ 4 h 4"/>
                    <a:gd name="T4" fmla="*/ 3 w 9"/>
                    <a:gd name="T5" fmla="*/ 4 h 4"/>
                    <a:gd name="T6" fmla="*/ 9 w 9"/>
                    <a:gd name="T7" fmla="*/ 3 h 4"/>
                    <a:gd name="T8" fmla="*/ 9 w 9"/>
                    <a:gd name="T9" fmla="*/ 2 h 4"/>
                    <a:gd name="T10" fmla="*/ 4 w 9"/>
                    <a:gd name="T11" fmla="*/ 2 h 4"/>
                    <a:gd name="T12" fmla="*/ 1 w 9"/>
                    <a:gd name="T13" fmla="*/ 0 h 4"/>
                    <a:gd name="T14" fmla="*/ 0 w 9"/>
                    <a:gd name="T15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4">
                      <a:moveTo>
                        <a:pt x="0" y="2"/>
                      </a:move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9" y="3"/>
                      </a:lnTo>
                      <a:lnTo>
                        <a:pt x="9" y="2"/>
                      </a:lnTo>
                      <a:lnTo>
                        <a:pt x="4" y="2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3" name="Freeform 1829"/>
                <p:cNvSpPr>
                  <a:spLocks/>
                </p:cNvSpPr>
                <p:nvPr/>
              </p:nvSpPr>
              <p:spPr bwMode="auto">
                <a:xfrm>
                  <a:off x="5523668" y="2855154"/>
                  <a:ext cx="8903" cy="9893"/>
                </a:xfrm>
                <a:custGeom>
                  <a:avLst/>
                  <a:gdLst>
                    <a:gd name="T0" fmla="*/ 3 w 9"/>
                    <a:gd name="T1" fmla="*/ 10 h 10"/>
                    <a:gd name="T2" fmla="*/ 9 w 9"/>
                    <a:gd name="T3" fmla="*/ 3 h 10"/>
                    <a:gd name="T4" fmla="*/ 9 w 9"/>
                    <a:gd name="T5" fmla="*/ 3 h 10"/>
                    <a:gd name="T6" fmla="*/ 8 w 9"/>
                    <a:gd name="T7" fmla="*/ 0 h 10"/>
                    <a:gd name="T8" fmla="*/ 8 w 9"/>
                    <a:gd name="T9" fmla="*/ 1 h 10"/>
                    <a:gd name="T10" fmla="*/ 8 w 9"/>
                    <a:gd name="T11" fmla="*/ 1 h 10"/>
                    <a:gd name="T12" fmla="*/ 0 w 9"/>
                    <a:gd name="T13" fmla="*/ 8 h 10"/>
                    <a:gd name="T14" fmla="*/ 3 w 9"/>
                    <a:gd name="T1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10">
                      <a:moveTo>
                        <a:pt x="3" y="10"/>
                      </a:moveTo>
                      <a:lnTo>
                        <a:pt x="9" y="3"/>
                      </a:lnTo>
                      <a:lnTo>
                        <a:pt x="9" y="3"/>
                      </a:lnTo>
                      <a:lnTo>
                        <a:pt x="8" y="0"/>
                      </a:lnTo>
                      <a:lnTo>
                        <a:pt x="8" y="1"/>
                      </a:lnTo>
                      <a:lnTo>
                        <a:pt x="8" y="1"/>
                      </a:lnTo>
                      <a:lnTo>
                        <a:pt x="0" y="8"/>
                      </a:lnTo>
                      <a:lnTo>
                        <a:pt x="3" y="1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4" name="Freeform 1830"/>
                <p:cNvSpPr>
                  <a:spLocks/>
                </p:cNvSpPr>
                <p:nvPr/>
              </p:nvSpPr>
              <p:spPr bwMode="auto">
                <a:xfrm>
                  <a:off x="5515754" y="2868014"/>
                  <a:ext cx="7914" cy="7914"/>
                </a:xfrm>
                <a:custGeom>
                  <a:avLst/>
                  <a:gdLst>
                    <a:gd name="T0" fmla="*/ 3 w 8"/>
                    <a:gd name="T1" fmla="*/ 8 h 8"/>
                    <a:gd name="T2" fmla="*/ 3 w 8"/>
                    <a:gd name="T3" fmla="*/ 7 h 8"/>
                    <a:gd name="T4" fmla="*/ 8 w 8"/>
                    <a:gd name="T5" fmla="*/ 1 h 8"/>
                    <a:gd name="T6" fmla="*/ 6 w 8"/>
                    <a:gd name="T7" fmla="*/ 0 h 8"/>
                    <a:gd name="T8" fmla="*/ 1 w 8"/>
                    <a:gd name="T9" fmla="*/ 6 h 8"/>
                    <a:gd name="T10" fmla="*/ 0 w 8"/>
                    <a:gd name="T11" fmla="*/ 8 h 8"/>
                    <a:gd name="T12" fmla="*/ 3 w 8"/>
                    <a:gd name="T1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8">
                      <a:moveTo>
                        <a:pt x="3" y="8"/>
                      </a:moveTo>
                      <a:lnTo>
                        <a:pt x="3" y="7"/>
                      </a:lnTo>
                      <a:lnTo>
                        <a:pt x="8" y="1"/>
                      </a:lnTo>
                      <a:lnTo>
                        <a:pt x="6" y="0"/>
                      </a:lnTo>
                      <a:lnTo>
                        <a:pt x="1" y="6"/>
                      </a:lnTo>
                      <a:lnTo>
                        <a:pt x="0" y="8"/>
                      </a:lnTo>
                      <a:lnTo>
                        <a:pt x="3" y="8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5" name="Freeform 1831"/>
                <p:cNvSpPr>
                  <a:spLocks/>
                </p:cNvSpPr>
                <p:nvPr/>
              </p:nvSpPr>
              <p:spPr bwMode="auto">
                <a:xfrm>
                  <a:off x="5515754" y="2880875"/>
                  <a:ext cx="7914" cy="5936"/>
                </a:xfrm>
                <a:custGeom>
                  <a:avLst/>
                  <a:gdLst>
                    <a:gd name="T0" fmla="*/ 8 w 8"/>
                    <a:gd name="T1" fmla="*/ 3 h 6"/>
                    <a:gd name="T2" fmla="*/ 1 w 8"/>
                    <a:gd name="T3" fmla="*/ 1 h 6"/>
                    <a:gd name="T4" fmla="*/ 1 w 8"/>
                    <a:gd name="T5" fmla="*/ 3 h 6"/>
                    <a:gd name="T6" fmla="*/ 1 w 8"/>
                    <a:gd name="T7" fmla="*/ 3 h 6"/>
                    <a:gd name="T8" fmla="*/ 1 w 8"/>
                    <a:gd name="T9" fmla="*/ 1 h 6"/>
                    <a:gd name="T10" fmla="*/ 1 w 8"/>
                    <a:gd name="T11" fmla="*/ 3 h 6"/>
                    <a:gd name="T12" fmla="*/ 1 w 8"/>
                    <a:gd name="T13" fmla="*/ 3 h 6"/>
                    <a:gd name="T14" fmla="*/ 1 w 8"/>
                    <a:gd name="T15" fmla="*/ 3 h 6"/>
                    <a:gd name="T16" fmla="*/ 1 w 8"/>
                    <a:gd name="T17" fmla="*/ 3 h 6"/>
                    <a:gd name="T18" fmla="*/ 1 w 8"/>
                    <a:gd name="T19" fmla="*/ 3 h 6"/>
                    <a:gd name="T20" fmla="*/ 1 w 8"/>
                    <a:gd name="T21" fmla="*/ 3 h 6"/>
                    <a:gd name="T22" fmla="*/ 1 w 8"/>
                    <a:gd name="T23" fmla="*/ 3 h 6"/>
                    <a:gd name="T24" fmla="*/ 1 w 8"/>
                    <a:gd name="T25" fmla="*/ 1 h 6"/>
                    <a:gd name="T26" fmla="*/ 0 w 8"/>
                    <a:gd name="T27" fmla="*/ 0 h 6"/>
                    <a:gd name="T28" fmla="*/ 0 w 8"/>
                    <a:gd name="T29" fmla="*/ 1 h 6"/>
                    <a:gd name="T30" fmla="*/ 0 w 8"/>
                    <a:gd name="T31" fmla="*/ 3 h 6"/>
                    <a:gd name="T32" fmla="*/ 0 w 8"/>
                    <a:gd name="T33" fmla="*/ 3 h 6"/>
                    <a:gd name="T34" fmla="*/ 0 w 8"/>
                    <a:gd name="T35" fmla="*/ 3 h 6"/>
                    <a:gd name="T36" fmla="*/ 1 w 8"/>
                    <a:gd name="T37" fmla="*/ 4 h 6"/>
                    <a:gd name="T38" fmla="*/ 8 w 8"/>
                    <a:gd name="T39" fmla="*/ 6 h 6"/>
                    <a:gd name="T40" fmla="*/ 8 w 8"/>
                    <a:gd name="T41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8" h="6">
                      <a:moveTo>
                        <a:pt x="8" y="3"/>
                      </a:moveTo>
                      <a:lnTo>
                        <a:pt x="1" y="1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8" y="6"/>
                      </a:lnTo>
                      <a:lnTo>
                        <a:pt x="8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6" name="Freeform 1832"/>
                <p:cNvSpPr>
                  <a:spLocks/>
                </p:cNvSpPr>
                <p:nvPr/>
              </p:nvSpPr>
              <p:spPr bwMode="auto">
                <a:xfrm>
                  <a:off x="5523668" y="2887800"/>
                  <a:ext cx="4946" cy="9893"/>
                </a:xfrm>
                <a:custGeom>
                  <a:avLst/>
                  <a:gdLst>
                    <a:gd name="T0" fmla="*/ 5 w 5"/>
                    <a:gd name="T1" fmla="*/ 9 h 10"/>
                    <a:gd name="T2" fmla="*/ 3 w 5"/>
                    <a:gd name="T3" fmla="*/ 7 h 10"/>
                    <a:gd name="T4" fmla="*/ 3 w 5"/>
                    <a:gd name="T5" fmla="*/ 7 h 10"/>
                    <a:gd name="T6" fmla="*/ 5 w 5"/>
                    <a:gd name="T7" fmla="*/ 0 h 10"/>
                    <a:gd name="T8" fmla="*/ 2 w 5"/>
                    <a:gd name="T9" fmla="*/ 0 h 10"/>
                    <a:gd name="T10" fmla="*/ 0 w 5"/>
                    <a:gd name="T11" fmla="*/ 9 h 10"/>
                    <a:gd name="T12" fmla="*/ 2 w 5"/>
                    <a:gd name="T13" fmla="*/ 9 h 10"/>
                    <a:gd name="T14" fmla="*/ 2 w 5"/>
                    <a:gd name="T15" fmla="*/ 10 h 10"/>
                    <a:gd name="T16" fmla="*/ 3 w 5"/>
                    <a:gd name="T17" fmla="*/ 10 h 10"/>
                    <a:gd name="T18" fmla="*/ 5 w 5"/>
                    <a:gd name="T19" fmla="*/ 9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10">
                      <a:moveTo>
                        <a:pt x="5" y="9"/>
                      </a:moveTo>
                      <a:lnTo>
                        <a:pt x="3" y="7"/>
                      </a:lnTo>
                      <a:lnTo>
                        <a:pt x="3" y="7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9"/>
                      </a:lnTo>
                      <a:lnTo>
                        <a:pt x="2" y="9"/>
                      </a:lnTo>
                      <a:lnTo>
                        <a:pt x="2" y="10"/>
                      </a:lnTo>
                      <a:lnTo>
                        <a:pt x="3" y="10"/>
                      </a:lnTo>
                      <a:lnTo>
                        <a:pt x="5" y="9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7" name="Freeform 1833"/>
                <p:cNvSpPr>
                  <a:spLocks/>
                </p:cNvSpPr>
                <p:nvPr/>
              </p:nvSpPr>
              <p:spPr bwMode="auto">
                <a:xfrm>
                  <a:off x="5531582" y="2897692"/>
                  <a:ext cx="4946" cy="9893"/>
                </a:xfrm>
                <a:custGeom>
                  <a:avLst/>
                  <a:gdLst>
                    <a:gd name="T0" fmla="*/ 5 w 5"/>
                    <a:gd name="T1" fmla="*/ 9 h 10"/>
                    <a:gd name="T2" fmla="*/ 4 w 5"/>
                    <a:gd name="T3" fmla="*/ 2 h 10"/>
                    <a:gd name="T4" fmla="*/ 1 w 5"/>
                    <a:gd name="T5" fmla="*/ 0 h 10"/>
                    <a:gd name="T6" fmla="*/ 0 w 5"/>
                    <a:gd name="T7" fmla="*/ 3 h 10"/>
                    <a:gd name="T8" fmla="*/ 1 w 5"/>
                    <a:gd name="T9" fmla="*/ 3 h 10"/>
                    <a:gd name="T10" fmla="*/ 4 w 5"/>
                    <a:gd name="T11" fmla="*/ 10 h 10"/>
                    <a:gd name="T12" fmla="*/ 5 w 5"/>
                    <a:gd name="T13" fmla="*/ 9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10">
                      <a:moveTo>
                        <a:pt x="5" y="9"/>
                      </a:moveTo>
                      <a:lnTo>
                        <a:pt x="4" y="2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4" y="10"/>
                      </a:lnTo>
                      <a:lnTo>
                        <a:pt x="5" y="9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8" name="Freeform 1834"/>
                <p:cNvSpPr>
                  <a:spLocks/>
                </p:cNvSpPr>
                <p:nvPr/>
              </p:nvSpPr>
              <p:spPr bwMode="auto">
                <a:xfrm>
                  <a:off x="5536528" y="2912531"/>
                  <a:ext cx="5936" cy="9893"/>
                </a:xfrm>
                <a:custGeom>
                  <a:avLst/>
                  <a:gdLst>
                    <a:gd name="T0" fmla="*/ 5 w 6"/>
                    <a:gd name="T1" fmla="*/ 10 h 10"/>
                    <a:gd name="T2" fmla="*/ 6 w 6"/>
                    <a:gd name="T3" fmla="*/ 10 h 10"/>
                    <a:gd name="T4" fmla="*/ 6 w 6"/>
                    <a:gd name="T5" fmla="*/ 10 h 10"/>
                    <a:gd name="T6" fmla="*/ 3 w 6"/>
                    <a:gd name="T7" fmla="*/ 0 h 10"/>
                    <a:gd name="T8" fmla="*/ 0 w 6"/>
                    <a:gd name="T9" fmla="*/ 0 h 10"/>
                    <a:gd name="T10" fmla="*/ 3 w 6"/>
                    <a:gd name="T11" fmla="*/ 8 h 10"/>
                    <a:gd name="T12" fmla="*/ 5 w 6"/>
                    <a:gd name="T13" fmla="*/ 8 h 10"/>
                    <a:gd name="T14" fmla="*/ 5 w 6"/>
                    <a:gd name="T15" fmla="*/ 7 h 10"/>
                    <a:gd name="T16" fmla="*/ 3 w 6"/>
                    <a:gd name="T17" fmla="*/ 7 h 10"/>
                    <a:gd name="T18" fmla="*/ 5 w 6"/>
                    <a:gd name="T19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10">
                      <a:moveTo>
                        <a:pt x="5" y="10"/>
                      </a:moveTo>
                      <a:lnTo>
                        <a:pt x="6" y="10"/>
                      </a:lnTo>
                      <a:lnTo>
                        <a:pt x="6" y="1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3" y="8"/>
                      </a:lnTo>
                      <a:lnTo>
                        <a:pt x="5" y="8"/>
                      </a:lnTo>
                      <a:lnTo>
                        <a:pt x="5" y="7"/>
                      </a:lnTo>
                      <a:lnTo>
                        <a:pt x="3" y="7"/>
                      </a:lnTo>
                      <a:lnTo>
                        <a:pt x="5" y="10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9" name="Freeform 1835"/>
                <p:cNvSpPr>
                  <a:spLocks/>
                </p:cNvSpPr>
                <p:nvPr/>
              </p:nvSpPr>
              <p:spPr bwMode="auto">
                <a:xfrm>
                  <a:off x="5528614" y="2917477"/>
                  <a:ext cx="7914" cy="7914"/>
                </a:xfrm>
                <a:custGeom>
                  <a:avLst/>
                  <a:gdLst>
                    <a:gd name="T0" fmla="*/ 1 w 8"/>
                    <a:gd name="T1" fmla="*/ 5 h 8"/>
                    <a:gd name="T2" fmla="*/ 4 w 8"/>
                    <a:gd name="T3" fmla="*/ 3 h 8"/>
                    <a:gd name="T4" fmla="*/ 4 w 8"/>
                    <a:gd name="T5" fmla="*/ 3 h 8"/>
                    <a:gd name="T6" fmla="*/ 4 w 8"/>
                    <a:gd name="T7" fmla="*/ 2 h 8"/>
                    <a:gd name="T8" fmla="*/ 3 w 8"/>
                    <a:gd name="T9" fmla="*/ 3 h 8"/>
                    <a:gd name="T10" fmla="*/ 4 w 8"/>
                    <a:gd name="T11" fmla="*/ 3 h 8"/>
                    <a:gd name="T12" fmla="*/ 7 w 8"/>
                    <a:gd name="T13" fmla="*/ 8 h 8"/>
                    <a:gd name="T14" fmla="*/ 8 w 8"/>
                    <a:gd name="T15" fmla="*/ 8 h 8"/>
                    <a:gd name="T16" fmla="*/ 7 w 8"/>
                    <a:gd name="T17" fmla="*/ 5 h 8"/>
                    <a:gd name="T18" fmla="*/ 7 w 8"/>
                    <a:gd name="T19" fmla="*/ 5 h 8"/>
                    <a:gd name="T20" fmla="*/ 8 w 8"/>
                    <a:gd name="T21" fmla="*/ 6 h 8"/>
                    <a:gd name="T22" fmla="*/ 8 w 8"/>
                    <a:gd name="T23" fmla="*/ 5 h 8"/>
                    <a:gd name="T24" fmla="*/ 6 w 8"/>
                    <a:gd name="T25" fmla="*/ 2 h 8"/>
                    <a:gd name="T26" fmla="*/ 4 w 8"/>
                    <a:gd name="T27" fmla="*/ 0 h 8"/>
                    <a:gd name="T28" fmla="*/ 4 w 8"/>
                    <a:gd name="T29" fmla="*/ 0 h 8"/>
                    <a:gd name="T30" fmla="*/ 3 w 8"/>
                    <a:gd name="T31" fmla="*/ 0 h 8"/>
                    <a:gd name="T32" fmla="*/ 3 w 8"/>
                    <a:gd name="T33" fmla="*/ 2 h 8"/>
                    <a:gd name="T34" fmla="*/ 0 w 8"/>
                    <a:gd name="T35" fmla="*/ 3 h 8"/>
                    <a:gd name="T36" fmla="*/ 1 w 8"/>
                    <a:gd name="T37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8" h="8">
                      <a:moveTo>
                        <a:pt x="1" y="5"/>
                      </a:move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7" y="8"/>
                      </a:lnTo>
                      <a:lnTo>
                        <a:pt x="8" y="8"/>
                      </a:lnTo>
                      <a:lnTo>
                        <a:pt x="7" y="5"/>
                      </a:lnTo>
                      <a:lnTo>
                        <a:pt x="7" y="5"/>
                      </a:lnTo>
                      <a:lnTo>
                        <a:pt x="8" y="6"/>
                      </a:lnTo>
                      <a:lnTo>
                        <a:pt x="8" y="5"/>
                      </a:ln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0" y="3"/>
                      </a:lnTo>
                      <a:lnTo>
                        <a:pt x="1" y="5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0" name="Freeform 1836"/>
                <p:cNvSpPr>
                  <a:spLocks/>
                </p:cNvSpPr>
                <p:nvPr/>
              </p:nvSpPr>
              <p:spPr bwMode="auto">
                <a:xfrm>
                  <a:off x="5513775" y="2920445"/>
                  <a:ext cx="9893" cy="4946"/>
                </a:xfrm>
                <a:custGeom>
                  <a:avLst/>
                  <a:gdLst>
                    <a:gd name="T0" fmla="*/ 0 w 10"/>
                    <a:gd name="T1" fmla="*/ 3 h 5"/>
                    <a:gd name="T2" fmla="*/ 10 w 10"/>
                    <a:gd name="T3" fmla="*/ 5 h 5"/>
                    <a:gd name="T4" fmla="*/ 10 w 10"/>
                    <a:gd name="T5" fmla="*/ 3 h 5"/>
                    <a:gd name="T6" fmla="*/ 2 w 10"/>
                    <a:gd name="T7" fmla="*/ 0 h 5"/>
                    <a:gd name="T8" fmla="*/ 0 w 10"/>
                    <a:gd name="T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5">
                      <a:moveTo>
                        <a:pt x="0" y="3"/>
                      </a:moveTo>
                      <a:lnTo>
                        <a:pt x="10" y="5"/>
                      </a:lnTo>
                      <a:lnTo>
                        <a:pt x="10" y="3"/>
                      </a:lnTo>
                      <a:lnTo>
                        <a:pt x="2" y="0"/>
                      </a:lnTo>
                      <a:lnTo>
                        <a:pt x="0" y="3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1" name="Freeform 1837"/>
                <p:cNvSpPr>
                  <a:spLocks/>
                </p:cNvSpPr>
                <p:nvPr/>
              </p:nvSpPr>
              <p:spPr bwMode="auto">
                <a:xfrm>
                  <a:off x="5503883" y="2919456"/>
                  <a:ext cx="5936" cy="6925"/>
                </a:xfrm>
                <a:custGeom>
                  <a:avLst/>
                  <a:gdLst>
                    <a:gd name="T0" fmla="*/ 3 w 6"/>
                    <a:gd name="T1" fmla="*/ 7 h 7"/>
                    <a:gd name="T2" fmla="*/ 3 w 6"/>
                    <a:gd name="T3" fmla="*/ 3 h 7"/>
                    <a:gd name="T4" fmla="*/ 3 w 6"/>
                    <a:gd name="T5" fmla="*/ 1 h 7"/>
                    <a:gd name="T6" fmla="*/ 2 w 6"/>
                    <a:gd name="T7" fmla="*/ 1 h 7"/>
                    <a:gd name="T8" fmla="*/ 3 w 6"/>
                    <a:gd name="T9" fmla="*/ 3 h 7"/>
                    <a:gd name="T10" fmla="*/ 3 w 6"/>
                    <a:gd name="T11" fmla="*/ 3 h 7"/>
                    <a:gd name="T12" fmla="*/ 3 w 6"/>
                    <a:gd name="T13" fmla="*/ 1 h 7"/>
                    <a:gd name="T14" fmla="*/ 3 w 6"/>
                    <a:gd name="T15" fmla="*/ 3 h 7"/>
                    <a:gd name="T16" fmla="*/ 3 w 6"/>
                    <a:gd name="T17" fmla="*/ 3 h 7"/>
                    <a:gd name="T18" fmla="*/ 6 w 6"/>
                    <a:gd name="T19" fmla="*/ 3 h 7"/>
                    <a:gd name="T20" fmla="*/ 6 w 6"/>
                    <a:gd name="T21" fmla="*/ 0 h 7"/>
                    <a:gd name="T22" fmla="*/ 3 w 6"/>
                    <a:gd name="T23" fmla="*/ 0 h 7"/>
                    <a:gd name="T24" fmla="*/ 3 w 6"/>
                    <a:gd name="T25" fmla="*/ 0 h 7"/>
                    <a:gd name="T26" fmla="*/ 3 w 6"/>
                    <a:gd name="T27" fmla="*/ 0 h 7"/>
                    <a:gd name="T28" fmla="*/ 3 w 6"/>
                    <a:gd name="T29" fmla="*/ 0 h 7"/>
                    <a:gd name="T30" fmla="*/ 2 w 6"/>
                    <a:gd name="T31" fmla="*/ 0 h 7"/>
                    <a:gd name="T32" fmla="*/ 2 w 6"/>
                    <a:gd name="T33" fmla="*/ 0 h 7"/>
                    <a:gd name="T34" fmla="*/ 0 w 6"/>
                    <a:gd name="T35" fmla="*/ 1 h 7"/>
                    <a:gd name="T36" fmla="*/ 0 w 6"/>
                    <a:gd name="T37" fmla="*/ 1 h 7"/>
                    <a:gd name="T38" fmla="*/ 0 w 6"/>
                    <a:gd name="T39" fmla="*/ 7 h 7"/>
                    <a:gd name="T40" fmla="*/ 3 w 6"/>
                    <a:gd name="T4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" h="7">
                      <a:moveTo>
                        <a:pt x="3" y="7"/>
                      </a:move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6" y="3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7"/>
                      </a:lnTo>
                      <a:lnTo>
                        <a:pt x="3" y="7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2" name="Freeform 1838"/>
                <p:cNvSpPr>
                  <a:spLocks/>
                </p:cNvSpPr>
                <p:nvPr/>
              </p:nvSpPr>
              <p:spPr bwMode="auto">
                <a:xfrm>
                  <a:off x="5491022" y="2926381"/>
                  <a:ext cx="9893" cy="5936"/>
                </a:xfrm>
                <a:custGeom>
                  <a:avLst/>
                  <a:gdLst>
                    <a:gd name="T0" fmla="*/ 2 w 10"/>
                    <a:gd name="T1" fmla="*/ 6 h 6"/>
                    <a:gd name="T2" fmla="*/ 3 w 10"/>
                    <a:gd name="T3" fmla="*/ 6 h 6"/>
                    <a:gd name="T4" fmla="*/ 7 w 10"/>
                    <a:gd name="T5" fmla="*/ 3 h 6"/>
                    <a:gd name="T6" fmla="*/ 10 w 10"/>
                    <a:gd name="T7" fmla="*/ 3 h 6"/>
                    <a:gd name="T8" fmla="*/ 10 w 10"/>
                    <a:gd name="T9" fmla="*/ 0 h 6"/>
                    <a:gd name="T10" fmla="*/ 6 w 10"/>
                    <a:gd name="T11" fmla="*/ 0 h 6"/>
                    <a:gd name="T12" fmla="*/ 6 w 10"/>
                    <a:gd name="T13" fmla="*/ 0 h 6"/>
                    <a:gd name="T14" fmla="*/ 0 w 10"/>
                    <a:gd name="T15" fmla="*/ 5 h 6"/>
                    <a:gd name="T16" fmla="*/ 0 w 10"/>
                    <a:gd name="T17" fmla="*/ 5 h 6"/>
                    <a:gd name="T18" fmla="*/ 2 w 10"/>
                    <a:gd name="T1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6">
                      <a:moveTo>
                        <a:pt x="2" y="6"/>
                      </a:moveTo>
                      <a:lnTo>
                        <a:pt x="3" y="6"/>
                      </a:lnTo>
                      <a:lnTo>
                        <a:pt x="7" y="3"/>
                      </a:lnTo>
                      <a:lnTo>
                        <a:pt x="10" y="3"/>
                      </a:lnTo>
                      <a:lnTo>
                        <a:pt x="10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2" y="6"/>
                      </a:lnTo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3" name="Freeform 1839"/>
                <p:cNvSpPr>
                  <a:spLocks noEditPoints="1"/>
                </p:cNvSpPr>
                <p:nvPr/>
              </p:nvSpPr>
              <p:spPr bwMode="auto">
                <a:xfrm>
                  <a:off x="5584013" y="2712701"/>
                  <a:ext cx="105851" cy="113765"/>
                </a:xfrm>
                <a:custGeom>
                  <a:avLst/>
                  <a:gdLst>
                    <a:gd name="T0" fmla="*/ 55 w 107"/>
                    <a:gd name="T1" fmla="*/ 94 h 115"/>
                    <a:gd name="T2" fmla="*/ 48 w 107"/>
                    <a:gd name="T3" fmla="*/ 103 h 115"/>
                    <a:gd name="T4" fmla="*/ 35 w 107"/>
                    <a:gd name="T5" fmla="*/ 110 h 115"/>
                    <a:gd name="T6" fmla="*/ 28 w 107"/>
                    <a:gd name="T7" fmla="*/ 112 h 115"/>
                    <a:gd name="T8" fmla="*/ 15 w 107"/>
                    <a:gd name="T9" fmla="*/ 110 h 115"/>
                    <a:gd name="T10" fmla="*/ 0 w 107"/>
                    <a:gd name="T11" fmla="*/ 110 h 115"/>
                    <a:gd name="T12" fmla="*/ 10 w 107"/>
                    <a:gd name="T13" fmla="*/ 103 h 115"/>
                    <a:gd name="T14" fmla="*/ 23 w 107"/>
                    <a:gd name="T15" fmla="*/ 96 h 115"/>
                    <a:gd name="T16" fmla="*/ 29 w 107"/>
                    <a:gd name="T17" fmla="*/ 93 h 115"/>
                    <a:gd name="T18" fmla="*/ 34 w 107"/>
                    <a:gd name="T19" fmla="*/ 84 h 115"/>
                    <a:gd name="T20" fmla="*/ 31 w 107"/>
                    <a:gd name="T21" fmla="*/ 68 h 115"/>
                    <a:gd name="T22" fmla="*/ 35 w 107"/>
                    <a:gd name="T23" fmla="*/ 68 h 115"/>
                    <a:gd name="T24" fmla="*/ 22 w 107"/>
                    <a:gd name="T25" fmla="*/ 63 h 115"/>
                    <a:gd name="T26" fmla="*/ 28 w 107"/>
                    <a:gd name="T27" fmla="*/ 54 h 115"/>
                    <a:gd name="T28" fmla="*/ 22 w 107"/>
                    <a:gd name="T29" fmla="*/ 55 h 115"/>
                    <a:gd name="T30" fmla="*/ 28 w 107"/>
                    <a:gd name="T31" fmla="*/ 54 h 115"/>
                    <a:gd name="T32" fmla="*/ 28 w 107"/>
                    <a:gd name="T33" fmla="*/ 48 h 115"/>
                    <a:gd name="T34" fmla="*/ 21 w 107"/>
                    <a:gd name="T35" fmla="*/ 31 h 115"/>
                    <a:gd name="T36" fmla="*/ 23 w 107"/>
                    <a:gd name="T37" fmla="*/ 41 h 115"/>
                    <a:gd name="T38" fmla="*/ 19 w 107"/>
                    <a:gd name="T39" fmla="*/ 32 h 115"/>
                    <a:gd name="T40" fmla="*/ 18 w 107"/>
                    <a:gd name="T41" fmla="*/ 26 h 115"/>
                    <a:gd name="T42" fmla="*/ 13 w 107"/>
                    <a:gd name="T43" fmla="*/ 19 h 115"/>
                    <a:gd name="T44" fmla="*/ 10 w 107"/>
                    <a:gd name="T45" fmla="*/ 10 h 115"/>
                    <a:gd name="T46" fmla="*/ 9 w 107"/>
                    <a:gd name="T47" fmla="*/ 10 h 115"/>
                    <a:gd name="T48" fmla="*/ 7 w 107"/>
                    <a:gd name="T49" fmla="*/ 10 h 115"/>
                    <a:gd name="T50" fmla="*/ 10 w 107"/>
                    <a:gd name="T51" fmla="*/ 9 h 115"/>
                    <a:gd name="T52" fmla="*/ 13 w 107"/>
                    <a:gd name="T53" fmla="*/ 10 h 115"/>
                    <a:gd name="T54" fmla="*/ 23 w 107"/>
                    <a:gd name="T55" fmla="*/ 0 h 115"/>
                    <a:gd name="T56" fmla="*/ 36 w 107"/>
                    <a:gd name="T57" fmla="*/ 3 h 115"/>
                    <a:gd name="T58" fmla="*/ 49 w 107"/>
                    <a:gd name="T59" fmla="*/ 9 h 115"/>
                    <a:gd name="T60" fmla="*/ 54 w 107"/>
                    <a:gd name="T61" fmla="*/ 12 h 115"/>
                    <a:gd name="T62" fmla="*/ 67 w 107"/>
                    <a:gd name="T63" fmla="*/ 24 h 115"/>
                    <a:gd name="T64" fmla="*/ 71 w 107"/>
                    <a:gd name="T65" fmla="*/ 24 h 115"/>
                    <a:gd name="T66" fmla="*/ 76 w 107"/>
                    <a:gd name="T67" fmla="*/ 25 h 115"/>
                    <a:gd name="T68" fmla="*/ 97 w 107"/>
                    <a:gd name="T69" fmla="*/ 22 h 115"/>
                    <a:gd name="T70" fmla="*/ 97 w 107"/>
                    <a:gd name="T71" fmla="*/ 19 h 115"/>
                    <a:gd name="T72" fmla="*/ 103 w 107"/>
                    <a:gd name="T73" fmla="*/ 24 h 115"/>
                    <a:gd name="T74" fmla="*/ 103 w 107"/>
                    <a:gd name="T75" fmla="*/ 21 h 115"/>
                    <a:gd name="T76" fmla="*/ 105 w 107"/>
                    <a:gd name="T77" fmla="*/ 31 h 115"/>
                    <a:gd name="T78" fmla="*/ 103 w 107"/>
                    <a:gd name="T79" fmla="*/ 35 h 115"/>
                    <a:gd name="T80" fmla="*/ 105 w 107"/>
                    <a:gd name="T81" fmla="*/ 37 h 115"/>
                    <a:gd name="T82" fmla="*/ 103 w 107"/>
                    <a:gd name="T83" fmla="*/ 52 h 115"/>
                    <a:gd name="T84" fmla="*/ 100 w 107"/>
                    <a:gd name="T85" fmla="*/ 44 h 115"/>
                    <a:gd name="T86" fmla="*/ 103 w 107"/>
                    <a:gd name="T87" fmla="*/ 52 h 115"/>
                    <a:gd name="T88" fmla="*/ 99 w 107"/>
                    <a:gd name="T89" fmla="*/ 61 h 115"/>
                    <a:gd name="T90" fmla="*/ 84 w 107"/>
                    <a:gd name="T91" fmla="*/ 68 h 115"/>
                    <a:gd name="T92" fmla="*/ 93 w 107"/>
                    <a:gd name="T93" fmla="*/ 67 h 115"/>
                    <a:gd name="T94" fmla="*/ 86 w 107"/>
                    <a:gd name="T95" fmla="*/ 70 h 115"/>
                    <a:gd name="T96" fmla="*/ 86 w 107"/>
                    <a:gd name="T97" fmla="*/ 71 h 115"/>
                    <a:gd name="T98" fmla="*/ 91 w 107"/>
                    <a:gd name="T99" fmla="*/ 87 h 115"/>
                    <a:gd name="T100" fmla="*/ 96 w 107"/>
                    <a:gd name="T101" fmla="*/ 81 h 115"/>
                    <a:gd name="T102" fmla="*/ 96 w 107"/>
                    <a:gd name="T103" fmla="*/ 90 h 115"/>
                    <a:gd name="T104" fmla="*/ 93 w 107"/>
                    <a:gd name="T105" fmla="*/ 94 h 115"/>
                    <a:gd name="T106" fmla="*/ 70 w 107"/>
                    <a:gd name="T107" fmla="*/ 92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07" h="115">
                      <a:moveTo>
                        <a:pt x="49" y="97"/>
                      </a:moveTo>
                      <a:lnTo>
                        <a:pt x="55" y="92"/>
                      </a:lnTo>
                      <a:lnTo>
                        <a:pt x="65" y="92"/>
                      </a:lnTo>
                      <a:lnTo>
                        <a:pt x="64" y="94"/>
                      </a:lnTo>
                      <a:lnTo>
                        <a:pt x="55" y="94"/>
                      </a:lnTo>
                      <a:lnTo>
                        <a:pt x="51" y="99"/>
                      </a:lnTo>
                      <a:lnTo>
                        <a:pt x="49" y="97"/>
                      </a:lnTo>
                      <a:close/>
                      <a:moveTo>
                        <a:pt x="39" y="108"/>
                      </a:moveTo>
                      <a:lnTo>
                        <a:pt x="47" y="100"/>
                      </a:lnTo>
                      <a:lnTo>
                        <a:pt x="48" y="103"/>
                      </a:lnTo>
                      <a:lnTo>
                        <a:pt x="41" y="109"/>
                      </a:lnTo>
                      <a:lnTo>
                        <a:pt x="39" y="108"/>
                      </a:lnTo>
                      <a:close/>
                      <a:moveTo>
                        <a:pt x="28" y="112"/>
                      </a:moveTo>
                      <a:lnTo>
                        <a:pt x="34" y="113"/>
                      </a:lnTo>
                      <a:lnTo>
                        <a:pt x="35" y="110"/>
                      </a:lnTo>
                      <a:lnTo>
                        <a:pt x="36" y="113"/>
                      </a:lnTo>
                      <a:lnTo>
                        <a:pt x="35" y="115"/>
                      </a:lnTo>
                      <a:lnTo>
                        <a:pt x="35" y="115"/>
                      </a:lnTo>
                      <a:lnTo>
                        <a:pt x="28" y="115"/>
                      </a:lnTo>
                      <a:lnTo>
                        <a:pt x="28" y="112"/>
                      </a:lnTo>
                      <a:close/>
                      <a:moveTo>
                        <a:pt x="15" y="110"/>
                      </a:moveTo>
                      <a:lnTo>
                        <a:pt x="23" y="112"/>
                      </a:lnTo>
                      <a:lnTo>
                        <a:pt x="23" y="115"/>
                      </a:lnTo>
                      <a:lnTo>
                        <a:pt x="13" y="113"/>
                      </a:lnTo>
                      <a:lnTo>
                        <a:pt x="15" y="110"/>
                      </a:lnTo>
                      <a:close/>
                      <a:moveTo>
                        <a:pt x="0" y="110"/>
                      </a:moveTo>
                      <a:lnTo>
                        <a:pt x="9" y="110"/>
                      </a:lnTo>
                      <a:lnTo>
                        <a:pt x="9" y="113"/>
                      </a:lnTo>
                      <a:lnTo>
                        <a:pt x="0" y="112"/>
                      </a:lnTo>
                      <a:lnTo>
                        <a:pt x="0" y="110"/>
                      </a:lnTo>
                      <a:close/>
                      <a:moveTo>
                        <a:pt x="10" y="103"/>
                      </a:moveTo>
                      <a:lnTo>
                        <a:pt x="3" y="109"/>
                      </a:lnTo>
                      <a:lnTo>
                        <a:pt x="2" y="108"/>
                      </a:lnTo>
                      <a:lnTo>
                        <a:pt x="10" y="102"/>
                      </a:lnTo>
                      <a:lnTo>
                        <a:pt x="10" y="103"/>
                      </a:lnTo>
                      <a:close/>
                      <a:moveTo>
                        <a:pt x="23" y="96"/>
                      </a:moveTo>
                      <a:lnTo>
                        <a:pt x="15" y="102"/>
                      </a:lnTo>
                      <a:lnTo>
                        <a:pt x="13" y="99"/>
                      </a:lnTo>
                      <a:lnTo>
                        <a:pt x="22" y="93"/>
                      </a:lnTo>
                      <a:lnTo>
                        <a:pt x="23" y="96"/>
                      </a:lnTo>
                      <a:close/>
                      <a:moveTo>
                        <a:pt x="34" y="89"/>
                      </a:moveTo>
                      <a:lnTo>
                        <a:pt x="31" y="96"/>
                      </a:lnTo>
                      <a:lnTo>
                        <a:pt x="26" y="96"/>
                      </a:lnTo>
                      <a:lnTo>
                        <a:pt x="26" y="93"/>
                      </a:lnTo>
                      <a:lnTo>
                        <a:pt x="29" y="93"/>
                      </a:lnTo>
                      <a:lnTo>
                        <a:pt x="32" y="89"/>
                      </a:lnTo>
                      <a:lnTo>
                        <a:pt x="34" y="89"/>
                      </a:lnTo>
                      <a:close/>
                      <a:moveTo>
                        <a:pt x="35" y="74"/>
                      </a:moveTo>
                      <a:lnTo>
                        <a:pt x="34" y="77"/>
                      </a:lnTo>
                      <a:lnTo>
                        <a:pt x="34" y="84"/>
                      </a:lnTo>
                      <a:lnTo>
                        <a:pt x="32" y="84"/>
                      </a:lnTo>
                      <a:lnTo>
                        <a:pt x="31" y="77"/>
                      </a:lnTo>
                      <a:lnTo>
                        <a:pt x="32" y="74"/>
                      </a:lnTo>
                      <a:lnTo>
                        <a:pt x="35" y="74"/>
                      </a:lnTo>
                      <a:close/>
                      <a:moveTo>
                        <a:pt x="31" y="68"/>
                      </a:moveTo>
                      <a:lnTo>
                        <a:pt x="34" y="66"/>
                      </a:lnTo>
                      <a:lnTo>
                        <a:pt x="34" y="64"/>
                      </a:lnTo>
                      <a:lnTo>
                        <a:pt x="38" y="67"/>
                      </a:lnTo>
                      <a:lnTo>
                        <a:pt x="36" y="70"/>
                      </a:lnTo>
                      <a:lnTo>
                        <a:pt x="35" y="68"/>
                      </a:lnTo>
                      <a:lnTo>
                        <a:pt x="35" y="68"/>
                      </a:lnTo>
                      <a:lnTo>
                        <a:pt x="34" y="67"/>
                      </a:lnTo>
                      <a:lnTo>
                        <a:pt x="32" y="70"/>
                      </a:lnTo>
                      <a:lnTo>
                        <a:pt x="31" y="68"/>
                      </a:lnTo>
                      <a:close/>
                      <a:moveTo>
                        <a:pt x="22" y="63"/>
                      </a:moveTo>
                      <a:lnTo>
                        <a:pt x="29" y="70"/>
                      </a:lnTo>
                      <a:lnTo>
                        <a:pt x="28" y="71"/>
                      </a:lnTo>
                      <a:lnTo>
                        <a:pt x="21" y="66"/>
                      </a:lnTo>
                      <a:lnTo>
                        <a:pt x="22" y="63"/>
                      </a:lnTo>
                      <a:close/>
                      <a:moveTo>
                        <a:pt x="28" y="54"/>
                      </a:moveTo>
                      <a:lnTo>
                        <a:pt x="23" y="55"/>
                      </a:lnTo>
                      <a:lnTo>
                        <a:pt x="23" y="55"/>
                      </a:lnTo>
                      <a:lnTo>
                        <a:pt x="22" y="60"/>
                      </a:lnTo>
                      <a:lnTo>
                        <a:pt x="21" y="60"/>
                      </a:lnTo>
                      <a:lnTo>
                        <a:pt x="22" y="55"/>
                      </a:lnTo>
                      <a:lnTo>
                        <a:pt x="28" y="48"/>
                      </a:lnTo>
                      <a:lnTo>
                        <a:pt x="22" y="54"/>
                      </a:lnTo>
                      <a:lnTo>
                        <a:pt x="22" y="54"/>
                      </a:lnTo>
                      <a:lnTo>
                        <a:pt x="26" y="51"/>
                      </a:lnTo>
                      <a:lnTo>
                        <a:pt x="28" y="54"/>
                      </a:lnTo>
                      <a:close/>
                      <a:moveTo>
                        <a:pt x="28" y="38"/>
                      </a:moveTo>
                      <a:lnTo>
                        <a:pt x="31" y="39"/>
                      </a:lnTo>
                      <a:lnTo>
                        <a:pt x="31" y="39"/>
                      </a:lnTo>
                      <a:lnTo>
                        <a:pt x="31" y="48"/>
                      </a:lnTo>
                      <a:lnTo>
                        <a:pt x="28" y="48"/>
                      </a:lnTo>
                      <a:lnTo>
                        <a:pt x="29" y="41"/>
                      </a:lnTo>
                      <a:lnTo>
                        <a:pt x="28" y="41"/>
                      </a:lnTo>
                      <a:lnTo>
                        <a:pt x="28" y="38"/>
                      </a:lnTo>
                      <a:close/>
                      <a:moveTo>
                        <a:pt x="21" y="31"/>
                      </a:moveTo>
                      <a:lnTo>
                        <a:pt x="21" y="31"/>
                      </a:lnTo>
                      <a:lnTo>
                        <a:pt x="22" y="31"/>
                      </a:lnTo>
                      <a:lnTo>
                        <a:pt x="22" y="38"/>
                      </a:lnTo>
                      <a:lnTo>
                        <a:pt x="22" y="38"/>
                      </a:lnTo>
                      <a:lnTo>
                        <a:pt x="23" y="38"/>
                      </a:lnTo>
                      <a:lnTo>
                        <a:pt x="23" y="41"/>
                      </a:lnTo>
                      <a:lnTo>
                        <a:pt x="22" y="39"/>
                      </a:lnTo>
                      <a:lnTo>
                        <a:pt x="21" y="39"/>
                      </a:lnTo>
                      <a:lnTo>
                        <a:pt x="21" y="39"/>
                      </a:lnTo>
                      <a:lnTo>
                        <a:pt x="21" y="38"/>
                      </a:lnTo>
                      <a:lnTo>
                        <a:pt x="19" y="32"/>
                      </a:lnTo>
                      <a:lnTo>
                        <a:pt x="19" y="32"/>
                      </a:lnTo>
                      <a:lnTo>
                        <a:pt x="21" y="31"/>
                      </a:lnTo>
                      <a:close/>
                      <a:moveTo>
                        <a:pt x="13" y="19"/>
                      </a:moveTo>
                      <a:lnTo>
                        <a:pt x="15" y="25"/>
                      </a:lnTo>
                      <a:lnTo>
                        <a:pt x="18" y="26"/>
                      </a:lnTo>
                      <a:lnTo>
                        <a:pt x="16" y="29"/>
                      </a:lnTo>
                      <a:lnTo>
                        <a:pt x="13" y="26"/>
                      </a:lnTo>
                      <a:lnTo>
                        <a:pt x="13" y="26"/>
                      </a:lnTo>
                      <a:lnTo>
                        <a:pt x="10" y="19"/>
                      </a:lnTo>
                      <a:lnTo>
                        <a:pt x="13" y="19"/>
                      </a:lnTo>
                      <a:close/>
                      <a:moveTo>
                        <a:pt x="15" y="10"/>
                      </a:moveTo>
                      <a:lnTo>
                        <a:pt x="15" y="12"/>
                      </a:lnTo>
                      <a:lnTo>
                        <a:pt x="15" y="13"/>
                      </a:lnTo>
                      <a:lnTo>
                        <a:pt x="10" y="10"/>
                      </a:lnTo>
                      <a:lnTo>
                        <a:pt x="10" y="10"/>
                      </a:lnTo>
                      <a:lnTo>
                        <a:pt x="10" y="10"/>
                      </a:lnTo>
                      <a:lnTo>
                        <a:pt x="10" y="10"/>
                      </a:lnTo>
                      <a:lnTo>
                        <a:pt x="10" y="10"/>
                      </a:lnTo>
                      <a:lnTo>
                        <a:pt x="10" y="12"/>
                      </a:lnTo>
                      <a:lnTo>
                        <a:pt x="9" y="10"/>
                      </a:lnTo>
                      <a:lnTo>
                        <a:pt x="10" y="10"/>
                      </a:lnTo>
                      <a:lnTo>
                        <a:pt x="12" y="15"/>
                      </a:lnTo>
                      <a:lnTo>
                        <a:pt x="9" y="15"/>
                      </a:lnTo>
                      <a:lnTo>
                        <a:pt x="7" y="12"/>
                      </a:lnTo>
                      <a:lnTo>
                        <a:pt x="7" y="10"/>
                      </a:lnTo>
                      <a:lnTo>
                        <a:pt x="9" y="10"/>
                      </a:lnTo>
                      <a:lnTo>
                        <a:pt x="9" y="9"/>
                      </a:lnTo>
                      <a:lnTo>
                        <a:pt x="9" y="9"/>
                      </a:lnTo>
                      <a:lnTo>
                        <a:pt x="10" y="9"/>
                      </a:lnTo>
                      <a:lnTo>
                        <a:pt x="10" y="9"/>
                      </a:lnTo>
                      <a:lnTo>
                        <a:pt x="10" y="9"/>
                      </a:lnTo>
                      <a:lnTo>
                        <a:pt x="15" y="10"/>
                      </a:lnTo>
                      <a:lnTo>
                        <a:pt x="13" y="10"/>
                      </a:lnTo>
                      <a:lnTo>
                        <a:pt x="13" y="10"/>
                      </a:lnTo>
                      <a:lnTo>
                        <a:pt x="13" y="10"/>
                      </a:lnTo>
                      <a:lnTo>
                        <a:pt x="15" y="10"/>
                      </a:lnTo>
                      <a:close/>
                      <a:moveTo>
                        <a:pt x="25" y="2"/>
                      </a:moveTo>
                      <a:lnTo>
                        <a:pt x="16" y="8"/>
                      </a:lnTo>
                      <a:lnTo>
                        <a:pt x="15" y="6"/>
                      </a:lnTo>
                      <a:lnTo>
                        <a:pt x="23" y="0"/>
                      </a:lnTo>
                      <a:lnTo>
                        <a:pt x="25" y="2"/>
                      </a:lnTo>
                      <a:close/>
                      <a:moveTo>
                        <a:pt x="36" y="6"/>
                      </a:moveTo>
                      <a:lnTo>
                        <a:pt x="28" y="2"/>
                      </a:lnTo>
                      <a:lnTo>
                        <a:pt x="28" y="0"/>
                      </a:lnTo>
                      <a:lnTo>
                        <a:pt x="36" y="3"/>
                      </a:lnTo>
                      <a:lnTo>
                        <a:pt x="36" y="6"/>
                      </a:lnTo>
                      <a:close/>
                      <a:moveTo>
                        <a:pt x="49" y="12"/>
                      </a:moveTo>
                      <a:lnTo>
                        <a:pt x="41" y="8"/>
                      </a:lnTo>
                      <a:lnTo>
                        <a:pt x="41" y="5"/>
                      </a:lnTo>
                      <a:lnTo>
                        <a:pt x="49" y="9"/>
                      </a:lnTo>
                      <a:lnTo>
                        <a:pt x="49" y="12"/>
                      </a:lnTo>
                      <a:close/>
                      <a:moveTo>
                        <a:pt x="58" y="21"/>
                      </a:moveTo>
                      <a:lnTo>
                        <a:pt x="58" y="19"/>
                      </a:lnTo>
                      <a:lnTo>
                        <a:pt x="52" y="13"/>
                      </a:lnTo>
                      <a:lnTo>
                        <a:pt x="54" y="12"/>
                      </a:lnTo>
                      <a:lnTo>
                        <a:pt x="60" y="16"/>
                      </a:lnTo>
                      <a:lnTo>
                        <a:pt x="61" y="19"/>
                      </a:lnTo>
                      <a:lnTo>
                        <a:pt x="58" y="21"/>
                      </a:lnTo>
                      <a:close/>
                      <a:moveTo>
                        <a:pt x="71" y="25"/>
                      </a:moveTo>
                      <a:lnTo>
                        <a:pt x="67" y="24"/>
                      </a:lnTo>
                      <a:lnTo>
                        <a:pt x="63" y="25"/>
                      </a:lnTo>
                      <a:lnTo>
                        <a:pt x="63" y="22"/>
                      </a:lnTo>
                      <a:lnTo>
                        <a:pt x="67" y="22"/>
                      </a:lnTo>
                      <a:lnTo>
                        <a:pt x="67" y="22"/>
                      </a:lnTo>
                      <a:lnTo>
                        <a:pt x="71" y="24"/>
                      </a:lnTo>
                      <a:lnTo>
                        <a:pt x="71" y="25"/>
                      </a:lnTo>
                      <a:close/>
                      <a:moveTo>
                        <a:pt x="84" y="26"/>
                      </a:moveTo>
                      <a:lnTo>
                        <a:pt x="80" y="28"/>
                      </a:lnTo>
                      <a:lnTo>
                        <a:pt x="76" y="26"/>
                      </a:lnTo>
                      <a:lnTo>
                        <a:pt x="76" y="25"/>
                      </a:lnTo>
                      <a:lnTo>
                        <a:pt x="80" y="25"/>
                      </a:lnTo>
                      <a:lnTo>
                        <a:pt x="84" y="24"/>
                      </a:lnTo>
                      <a:lnTo>
                        <a:pt x="84" y="26"/>
                      </a:lnTo>
                      <a:close/>
                      <a:moveTo>
                        <a:pt x="97" y="22"/>
                      </a:moveTo>
                      <a:lnTo>
                        <a:pt x="97" y="22"/>
                      </a:lnTo>
                      <a:lnTo>
                        <a:pt x="97" y="21"/>
                      </a:lnTo>
                      <a:lnTo>
                        <a:pt x="99" y="22"/>
                      </a:lnTo>
                      <a:lnTo>
                        <a:pt x="90" y="25"/>
                      </a:lnTo>
                      <a:lnTo>
                        <a:pt x="89" y="22"/>
                      </a:lnTo>
                      <a:lnTo>
                        <a:pt x="97" y="19"/>
                      </a:lnTo>
                      <a:lnTo>
                        <a:pt x="99" y="19"/>
                      </a:lnTo>
                      <a:lnTo>
                        <a:pt x="97" y="22"/>
                      </a:lnTo>
                      <a:close/>
                      <a:moveTo>
                        <a:pt x="105" y="31"/>
                      </a:moveTo>
                      <a:lnTo>
                        <a:pt x="105" y="31"/>
                      </a:lnTo>
                      <a:lnTo>
                        <a:pt x="103" y="24"/>
                      </a:lnTo>
                      <a:lnTo>
                        <a:pt x="103" y="24"/>
                      </a:lnTo>
                      <a:lnTo>
                        <a:pt x="102" y="24"/>
                      </a:lnTo>
                      <a:lnTo>
                        <a:pt x="103" y="21"/>
                      </a:lnTo>
                      <a:lnTo>
                        <a:pt x="103" y="21"/>
                      </a:lnTo>
                      <a:lnTo>
                        <a:pt x="103" y="21"/>
                      </a:lnTo>
                      <a:lnTo>
                        <a:pt x="105" y="22"/>
                      </a:lnTo>
                      <a:lnTo>
                        <a:pt x="105" y="22"/>
                      </a:lnTo>
                      <a:lnTo>
                        <a:pt x="107" y="31"/>
                      </a:lnTo>
                      <a:lnTo>
                        <a:pt x="106" y="32"/>
                      </a:lnTo>
                      <a:lnTo>
                        <a:pt x="105" y="31"/>
                      </a:lnTo>
                      <a:close/>
                      <a:moveTo>
                        <a:pt x="102" y="42"/>
                      </a:moveTo>
                      <a:lnTo>
                        <a:pt x="99" y="39"/>
                      </a:lnTo>
                      <a:lnTo>
                        <a:pt x="97" y="38"/>
                      </a:lnTo>
                      <a:lnTo>
                        <a:pt x="103" y="35"/>
                      </a:lnTo>
                      <a:lnTo>
                        <a:pt x="103" y="35"/>
                      </a:lnTo>
                      <a:lnTo>
                        <a:pt x="103" y="35"/>
                      </a:lnTo>
                      <a:lnTo>
                        <a:pt x="105" y="34"/>
                      </a:lnTo>
                      <a:lnTo>
                        <a:pt x="106" y="34"/>
                      </a:lnTo>
                      <a:lnTo>
                        <a:pt x="106" y="35"/>
                      </a:lnTo>
                      <a:lnTo>
                        <a:pt x="105" y="37"/>
                      </a:lnTo>
                      <a:lnTo>
                        <a:pt x="105" y="37"/>
                      </a:lnTo>
                      <a:lnTo>
                        <a:pt x="102" y="39"/>
                      </a:lnTo>
                      <a:lnTo>
                        <a:pt x="103" y="39"/>
                      </a:lnTo>
                      <a:lnTo>
                        <a:pt x="102" y="42"/>
                      </a:lnTo>
                      <a:close/>
                      <a:moveTo>
                        <a:pt x="103" y="52"/>
                      </a:moveTo>
                      <a:lnTo>
                        <a:pt x="103" y="52"/>
                      </a:lnTo>
                      <a:lnTo>
                        <a:pt x="103" y="52"/>
                      </a:lnTo>
                      <a:lnTo>
                        <a:pt x="103" y="54"/>
                      </a:lnTo>
                      <a:lnTo>
                        <a:pt x="99" y="48"/>
                      </a:lnTo>
                      <a:lnTo>
                        <a:pt x="100" y="44"/>
                      </a:lnTo>
                      <a:lnTo>
                        <a:pt x="102" y="45"/>
                      </a:lnTo>
                      <a:lnTo>
                        <a:pt x="102" y="47"/>
                      </a:lnTo>
                      <a:lnTo>
                        <a:pt x="105" y="52"/>
                      </a:lnTo>
                      <a:lnTo>
                        <a:pt x="105" y="52"/>
                      </a:lnTo>
                      <a:lnTo>
                        <a:pt x="103" y="52"/>
                      </a:lnTo>
                      <a:close/>
                      <a:moveTo>
                        <a:pt x="93" y="61"/>
                      </a:moveTo>
                      <a:lnTo>
                        <a:pt x="97" y="60"/>
                      </a:lnTo>
                      <a:lnTo>
                        <a:pt x="100" y="55"/>
                      </a:lnTo>
                      <a:lnTo>
                        <a:pt x="102" y="58"/>
                      </a:lnTo>
                      <a:lnTo>
                        <a:pt x="99" y="61"/>
                      </a:lnTo>
                      <a:lnTo>
                        <a:pt x="99" y="61"/>
                      </a:lnTo>
                      <a:lnTo>
                        <a:pt x="94" y="63"/>
                      </a:lnTo>
                      <a:lnTo>
                        <a:pt x="93" y="61"/>
                      </a:lnTo>
                      <a:close/>
                      <a:moveTo>
                        <a:pt x="83" y="68"/>
                      </a:moveTo>
                      <a:lnTo>
                        <a:pt x="84" y="68"/>
                      </a:lnTo>
                      <a:lnTo>
                        <a:pt x="84" y="67"/>
                      </a:lnTo>
                      <a:lnTo>
                        <a:pt x="91" y="67"/>
                      </a:lnTo>
                      <a:lnTo>
                        <a:pt x="91" y="67"/>
                      </a:lnTo>
                      <a:lnTo>
                        <a:pt x="91" y="66"/>
                      </a:lnTo>
                      <a:lnTo>
                        <a:pt x="93" y="67"/>
                      </a:lnTo>
                      <a:lnTo>
                        <a:pt x="93" y="67"/>
                      </a:lnTo>
                      <a:lnTo>
                        <a:pt x="93" y="67"/>
                      </a:lnTo>
                      <a:lnTo>
                        <a:pt x="93" y="68"/>
                      </a:lnTo>
                      <a:lnTo>
                        <a:pt x="91" y="68"/>
                      </a:lnTo>
                      <a:lnTo>
                        <a:pt x="86" y="70"/>
                      </a:lnTo>
                      <a:lnTo>
                        <a:pt x="86" y="70"/>
                      </a:lnTo>
                      <a:lnTo>
                        <a:pt x="83" y="68"/>
                      </a:lnTo>
                      <a:close/>
                      <a:moveTo>
                        <a:pt x="93" y="79"/>
                      </a:moveTo>
                      <a:lnTo>
                        <a:pt x="84" y="74"/>
                      </a:lnTo>
                      <a:lnTo>
                        <a:pt x="86" y="71"/>
                      </a:lnTo>
                      <a:lnTo>
                        <a:pt x="93" y="77"/>
                      </a:lnTo>
                      <a:lnTo>
                        <a:pt x="93" y="79"/>
                      </a:lnTo>
                      <a:close/>
                      <a:moveTo>
                        <a:pt x="94" y="92"/>
                      </a:moveTo>
                      <a:lnTo>
                        <a:pt x="91" y="87"/>
                      </a:lnTo>
                      <a:lnTo>
                        <a:pt x="91" y="87"/>
                      </a:lnTo>
                      <a:lnTo>
                        <a:pt x="94" y="83"/>
                      </a:lnTo>
                      <a:lnTo>
                        <a:pt x="94" y="83"/>
                      </a:lnTo>
                      <a:lnTo>
                        <a:pt x="94" y="83"/>
                      </a:lnTo>
                      <a:lnTo>
                        <a:pt x="96" y="81"/>
                      </a:lnTo>
                      <a:lnTo>
                        <a:pt x="96" y="81"/>
                      </a:lnTo>
                      <a:lnTo>
                        <a:pt x="96" y="81"/>
                      </a:lnTo>
                      <a:lnTo>
                        <a:pt x="96" y="83"/>
                      </a:lnTo>
                      <a:lnTo>
                        <a:pt x="96" y="84"/>
                      </a:lnTo>
                      <a:lnTo>
                        <a:pt x="94" y="87"/>
                      </a:lnTo>
                      <a:lnTo>
                        <a:pt x="96" y="90"/>
                      </a:lnTo>
                      <a:lnTo>
                        <a:pt x="94" y="92"/>
                      </a:lnTo>
                      <a:close/>
                      <a:moveTo>
                        <a:pt x="83" y="93"/>
                      </a:moveTo>
                      <a:lnTo>
                        <a:pt x="91" y="93"/>
                      </a:lnTo>
                      <a:lnTo>
                        <a:pt x="91" y="92"/>
                      </a:lnTo>
                      <a:lnTo>
                        <a:pt x="93" y="94"/>
                      </a:lnTo>
                      <a:lnTo>
                        <a:pt x="91" y="94"/>
                      </a:lnTo>
                      <a:lnTo>
                        <a:pt x="91" y="96"/>
                      </a:lnTo>
                      <a:lnTo>
                        <a:pt x="83" y="94"/>
                      </a:lnTo>
                      <a:lnTo>
                        <a:pt x="83" y="93"/>
                      </a:lnTo>
                      <a:close/>
                      <a:moveTo>
                        <a:pt x="70" y="92"/>
                      </a:moveTo>
                      <a:lnTo>
                        <a:pt x="78" y="93"/>
                      </a:lnTo>
                      <a:lnTo>
                        <a:pt x="78" y="94"/>
                      </a:lnTo>
                      <a:lnTo>
                        <a:pt x="70" y="94"/>
                      </a:lnTo>
                      <a:lnTo>
                        <a:pt x="70" y="92"/>
                      </a:ln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4" name="Freeform 1840"/>
                <p:cNvSpPr>
                  <a:spLocks/>
                </p:cNvSpPr>
                <p:nvPr/>
              </p:nvSpPr>
              <p:spPr bwMode="auto">
                <a:xfrm>
                  <a:off x="4800519" y="3164792"/>
                  <a:ext cx="3957" cy="4946"/>
                </a:xfrm>
                <a:custGeom>
                  <a:avLst/>
                  <a:gdLst>
                    <a:gd name="T0" fmla="*/ 0 w 4"/>
                    <a:gd name="T1" fmla="*/ 5 h 5"/>
                    <a:gd name="T2" fmla="*/ 3 w 4"/>
                    <a:gd name="T3" fmla="*/ 3 h 5"/>
                    <a:gd name="T4" fmla="*/ 4 w 4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5">
                      <a:moveTo>
                        <a:pt x="0" y="5"/>
                      </a:moveTo>
                      <a:lnTo>
                        <a:pt x="3" y="3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5" name="Freeform 1841"/>
                <p:cNvSpPr>
                  <a:spLocks/>
                </p:cNvSpPr>
                <p:nvPr/>
              </p:nvSpPr>
              <p:spPr bwMode="auto">
                <a:xfrm>
                  <a:off x="4807444" y="3156878"/>
                  <a:ext cx="4946" cy="2968"/>
                </a:xfrm>
                <a:custGeom>
                  <a:avLst/>
                  <a:gdLst>
                    <a:gd name="T0" fmla="*/ 0 w 5"/>
                    <a:gd name="T1" fmla="*/ 3 h 3"/>
                    <a:gd name="T2" fmla="*/ 3 w 5"/>
                    <a:gd name="T3" fmla="*/ 0 h 3"/>
                    <a:gd name="T4" fmla="*/ 5 w 5"/>
                    <a:gd name="T5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5" h="3">
                      <a:moveTo>
                        <a:pt x="0" y="3"/>
                      </a:moveTo>
                      <a:lnTo>
                        <a:pt x="3" y="0"/>
                      </a:lnTo>
                      <a:lnTo>
                        <a:pt x="5" y="0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6" name="Freeform 1842"/>
                <p:cNvSpPr>
                  <a:spLocks/>
                </p:cNvSpPr>
                <p:nvPr/>
              </p:nvSpPr>
              <p:spPr bwMode="auto">
                <a:xfrm>
                  <a:off x="4817336" y="3153910"/>
                  <a:ext cx="5936" cy="1979"/>
                </a:xfrm>
                <a:custGeom>
                  <a:avLst/>
                  <a:gdLst>
                    <a:gd name="T0" fmla="*/ 0 w 6"/>
                    <a:gd name="T1" fmla="*/ 0 h 2"/>
                    <a:gd name="T2" fmla="*/ 2 w 6"/>
                    <a:gd name="T3" fmla="*/ 0 h 2"/>
                    <a:gd name="T4" fmla="*/ 6 w 6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6" y="2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7" name="Freeform 1843"/>
                <p:cNvSpPr>
                  <a:spLocks/>
                </p:cNvSpPr>
                <p:nvPr/>
              </p:nvSpPr>
              <p:spPr bwMode="auto">
                <a:xfrm>
                  <a:off x="4828218" y="3158857"/>
                  <a:ext cx="3957" cy="2968"/>
                </a:xfrm>
                <a:custGeom>
                  <a:avLst/>
                  <a:gdLst>
                    <a:gd name="T0" fmla="*/ 0 w 4"/>
                    <a:gd name="T1" fmla="*/ 0 h 3"/>
                    <a:gd name="T2" fmla="*/ 2 w 4"/>
                    <a:gd name="T3" fmla="*/ 1 h 3"/>
                    <a:gd name="T4" fmla="*/ 4 w 4"/>
                    <a:gd name="T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3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4" y="3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8" name="Freeform 1844"/>
                <p:cNvSpPr>
                  <a:spLocks/>
                </p:cNvSpPr>
                <p:nvPr/>
              </p:nvSpPr>
              <p:spPr bwMode="auto">
                <a:xfrm>
                  <a:off x="4836132" y="3165781"/>
                  <a:ext cx="1979" cy="5936"/>
                </a:xfrm>
                <a:custGeom>
                  <a:avLst/>
                  <a:gdLst>
                    <a:gd name="T0" fmla="*/ 0 w 2"/>
                    <a:gd name="T1" fmla="*/ 0 h 6"/>
                    <a:gd name="T2" fmla="*/ 0 w 2"/>
                    <a:gd name="T3" fmla="*/ 2 h 6"/>
                    <a:gd name="T4" fmla="*/ 2 w 2"/>
                    <a:gd name="T5" fmla="*/ 3 h 6"/>
                    <a:gd name="T6" fmla="*/ 2 w 2"/>
                    <a:gd name="T7" fmla="*/ 4 h 6"/>
                    <a:gd name="T8" fmla="*/ 2 w 2"/>
                    <a:gd name="T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6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2" y="6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49" name="Freeform 1845"/>
                <p:cNvSpPr>
                  <a:spLocks/>
                </p:cNvSpPr>
                <p:nvPr/>
              </p:nvSpPr>
              <p:spPr bwMode="auto">
                <a:xfrm>
                  <a:off x="4843057" y="3172706"/>
                  <a:ext cx="5936" cy="1979"/>
                </a:xfrm>
                <a:custGeom>
                  <a:avLst/>
                  <a:gdLst>
                    <a:gd name="T0" fmla="*/ 0 w 6"/>
                    <a:gd name="T1" fmla="*/ 0 h 2"/>
                    <a:gd name="T2" fmla="*/ 3 w 6"/>
                    <a:gd name="T3" fmla="*/ 2 h 2"/>
                    <a:gd name="T4" fmla="*/ 6 w 6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2">
                      <a:moveTo>
                        <a:pt x="0" y="0"/>
                      </a:moveTo>
                      <a:lnTo>
                        <a:pt x="3" y="2"/>
                      </a:lnTo>
                      <a:lnTo>
                        <a:pt x="6" y="2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0" name="Freeform 1846"/>
                <p:cNvSpPr>
                  <a:spLocks/>
                </p:cNvSpPr>
                <p:nvPr/>
              </p:nvSpPr>
              <p:spPr bwMode="auto">
                <a:xfrm>
                  <a:off x="4854928" y="3174685"/>
                  <a:ext cx="3957" cy="2968"/>
                </a:xfrm>
                <a:custGeom>
                  <a:avLst/>
                  <a:gdLst>
                    <a:gd name="T0" fmla="*/ 0 w 4"/>
                    <a:gd name="T1" fmla="*/ 0 h 3"/>
                    <a:gd name="T2" fmla="*/ 1 w 4"/>
                    <a:gd name="T3" fmla="*/ 1 h 3"/>
                    <a:gd name="T4" fmla="*/ 4 w 4"/>
                    <a:gd name="T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3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4" y="3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1" name="Line 1847"/>
                <p:cNvSpPr>
                  <a:spLocks noChangeShapeType="1"/>
                </p:cNvSpPr>
                <p:nvPr/>
              </p:nvSpPr>
              <p:spPr bwMode="auto">
                <a:xfrm flipV="1">
                  <a:off x="4863832" y="3178642"/>
                  <a:ext cx="5936" cy="1979"/>
                </a:xfrm>
                <a:prstGeom prst="line">
                  <a:avLst/>
                </a:pr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2" name="Freeform 1848"/>
                <p:cNvSpPr>
                  <a:spLocks/>
                </p:cNvSpPr>
                <p:nvPr/>
              </p:nvSpPr>
              <p:spPr bwMode="auto">
                <a:xfrm>
                  <a:off x="4874713" y="3174685"/>
                  <a:ext cx="4946" cy="2968"/>
                </a:xfrm>
                <a:custGeom>
                  <a:avLst/>
                  <a:gdLst>
                    <a:gd name="T0" fmla="*/ 0 w 5"/>
                    <a:gd name="T1" fmla="*/ 3 h 3"/>
                    <a:gd name="T2" fmla="*/ 0 w 5"/>
                    <a:gd name="T3" fmla="*/ 3 h 3"/>
                    <a:gd name="T4" fmla="*/ 5 w 5"/>
                    <a:gd name="T5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5" h="3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5" y="0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3" name="Freeform 1849"/>
                <p:cNvSpPr>
                  <a:spLocks/>
                </p:cNvSpPr>
                <p:nvPr/>
              </p:nvSpPr>
              <p:spPr bwMode="auto">
                <a:xfrm>
                  <a:off x="4884606" y="3168749"/>
                  <a:ext cx="4946" cy="2968"/>
                </a:xfrm>
                <a:custGeom>
                  <a:avLst/>
                  <a:gdLst>
                    <a:gd name="T0" fmla="*/ 0 w 5"/>
                    <a:gd name="T1" fmla="*/ 3 h 3"/>
                    <a:gd name="T2" fmla="*/ 3 w 5"/>
                    <a:gd name="T3" fmla="*/ 1 h 3"/>
                    <a:gd name="T4" fmla="*/ 5 w 5"/>
                    <a:gd name="T5" fmla="*/ 0 h 3"/>
                    <a:gd name="T6" fmla="*/ 5 w 5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3">
                      <a:moveTo>
                        <a:pt x="0" y="3"/>
                      </a:move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5" y="0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4" name="Freeform 1850"/>
                <p:cNvSpPr>
                  <a:spLocks/>
                </p:cNvSpPr>
                <p:nvPr/>
              </p:nvSpPr>
              <p:spPr bwMode="auto">
                <a:xfrm>
                  <a:off x="4892520" y="3164792"/>
                  <a:ext cx="3957" cy="989"/>
                </a:xfrm>
                <a:custGeom>
                  <a:avLst/>
                  <a:gdLst>
                    <a:gd name="T0" fmla="*/ 0 w 4"/>
                    <a:gd name="T1" fmla="*/ 0 h 1"/>
                    <a:gd name="T2" fmla="*/ 0 w 4"/>
                    <a:gd name="T3" fmla="*/ 0 h 1"/>
                    <a:gd name="T4" fmla="*/ 3 w 4"/>
                    <a:gd name="T5" fmla="*/ 0 h 1"/>
                    <a:gd name="T6" fmla="*/ 4 w 4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4" y="1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5" name="Freeform 1851"/>
                <p:cNvSpPr>
                  <a:spLocks/>
                </p:cNvSpPr>
                <p:nvPr/>
              </p:nvSpPr>
              <p:spPr bwMode="auto">
                <a:xfrm>
                  <a:off x="4902413" y="3168749"/>
                  <a:ext cx="3957" cy="2968"/>
                </a:xfrm>
                <a:custGeom>
                  <a:avLst/>
                  <a:gdLst>
                    <a:gd name="T0" fmla="*/ 0 w 4"/>
                    <a:gd name="T1" fmla="*/ 0 h 3"/>
                    <a:gd name="T2" fmla="*/ 4 w 4"/>
                    <a:gd name="T3" fmla="*/ 3 h 3"/>
                    <a:gd name="T4" fmla="*/ 4 w 4"/>
                    <a:gd name="T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3">
                      <a:moveTo>
                        <a:pt x="0" y="0"/>
                      </a:moveTo>
                      <a:lnTo>
                        <a:pt x="4" y="3"/>
                      </a:lnTo>
                      <a:lnTo>
                        <a:pt x="4" y="3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6" name="Freeform 1852"/>
                <p:cNvSpPr>
                  <a:spLocks/>
                </p:cNvSpPr>
                <p:nvPr/>
              </p:nvSpPr>
              <p:spPr bwMode="auto">
                <a:xfrm>
                  <a:off x="4912305" y="3167760"/>
                  <a:ext cx="5936" cy="1979"/>
                </a:xfrm>
                <a:custGeom>
                  <a:avLst/>
                  <a:gdLst>
                    <a:gd name="T0" fmla="*/ 0 w 6"/>
                    <a:gd name="T1" fmla="*/ 2 h 2"/>
                    <a:gd name="T2" fmla="*/ 3 w 6"/>
                    <a:gd name="T3" fmla="*/ 1 h 2"/>
                    <a:gd name="T4" fmla="*/ 6 w 6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2">
                      <a:moveTo>
                        <a:pt x="0" y="2"/>
                      </a:moveTo>
                      <a:lnTo>
                        <a:pt x="3" y="1"/>
                      </a:lnTo>
                      <a:lnTo>
                        <a:pt x="6" y="0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7" name="Freeform 1853"/>
                <p:cNvSpPr>
                  <a:spLocks/>
                </p:cNvSpPr>
                <p:nvPr/>
              </p:nvSpPr>
              <p:spPr bwMode="auto">
                <a:xfrm>
                  <a:off x="4922198" y="3158857"/>
                  <a:ext cx="2968" cy="3957"/>
                </a:xfrm>
                <a:custGeom>
                  <a:avLst/>
                  <a:gdLst>
                    <a:gd name="T0" fmla="*/ 0 w 3"/>
                    <a:gd name="T1" fmla="*/ 4 h 4"/>
                    <a:gd name="T2" fmla="*/ 2 w 3"/>
                    <a:gd name="T3" fmla="*/ 3 h 4"/>
                    <a:gd name="T4" fmla="*/ 3 w 3"/>
                    <a:gd name="T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4">
                      <a:moveTo>
                        <a:pt x="0" y="4"/>
                      </a:moveTo>
                      <a:lnTo>
                        <a:pt x="2" y="3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8" name="Freeform 1854"/>
                <p:cNvSpPr>
                  <a:spLocks/>
                </p:cNvSpPr>
                <p:nvPr/>
              </p:nvSpPr>
              <p:spPr bwMode="auto">
                <a:xfrm>
                  <a:off x="4929123" y="3149953"/>
                  <a:ext cx="2968" cy="3957"/>
                </a:xfrm>
                <a:custGeom>
                  <a:avLst/>
                  <a:gdLst>
                    <a:gd name="T0" fmla="*/ 0 w 3"/>
                    <a:gd name="T1" fmla="*/ 4 h 4"/>
                    <a:gd name="T2" fmla="*/ 0 w 3"/>
                    <a:gd name="T3" fmla="*/ 4 h 4"/>
                    <a:gd name="T4" fmla="*/ 3 w 3"/>
                    <a:gd name="T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4"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59" name="Freeform 1855"/>
                <p:cNvSpPr>
                  <a:spLocks/>
                </p:cNvSpPr>
                <p:nvPr/>
              </p:nvSpPr>
              <p:spPr bwMode="auto">
                <a:xfrm>
                  <a:off x="4935058" y="3140061"/>
                  <a:ext cx="1979" cy="5936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4 h 6"/>
                    <a:gd name="T4" fmla="*/ 0 w 2"/>
                    <a:gd name="T5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4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60" name="Freeform 1856"/>
                <p:cNvSpPr>
                  <a:spLocks/>
                </p:cNvSpPr>
                <p:nvPr/>
              </p:nvSpPr>
              <p:spPr bwMode="auto">
                <a:xfrm>
                  <a:off x="4934069" y="3128190"/>
                  <a:ext cx="989" cy="5936"/>
                </a:xfrm>
                <a:custGeom>
                  <a:avLst/>
                  <a:gdLst>
                    <a:gd name="T0" fmla="*/ 0 w 1"/>
                    <a:gd name="T1" fmla="*/ 6 h 6"/>
                    <a:gd name="T2" fmla="*/ 1 w 1"/>
                    <a:gd name="T3" fmla="*/ 2 h 6"/>
                    <a:gd name="T4" fmla="*/ 1 w 1"/>
                    <a:gd name="T5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6">
                      <a:moveTo>
                        <a:pt x="0" y="6"/>
                      </a:moveTo>
                      <a:lnTo>
                        <a:pt x="1" y="2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61" name="Freeform 1857"/>
                <p:cNvSpPr>
                  <a:spLocks/>
                </p:cNvSpPr>
                <p:nvPr/>
              </p:nvSpPr>
              <p:spPr bwMode="auto">
                <a:xfrm>
                  <a:off x="4940994" y="3127200"/>
                  <a:ext cx="3957" cy="2968"/>
                </a:xfrm>
                <a:custGeom>
                  <a:avLst/>
                  <a:gdLst>
                    <a:gd name="T0" fmla="*/ 0 w 4"/>
                    <a:gd name="T1" fmla="*/ 0 h 3"/>
                    <a:gd name="T2" fmla="*/ 3 w 4"/>
                    <a:gd name="T3" fmla="*/ 0 h 3"/>
                    <a:gd name="T4" fmla="*/ 4 w 4"/>
                    <a:gd name="T5" fmla="*/ 3 h 3"/>
                    <a:gd name="T6" fmla="*/ 4 w 4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4" y="3"/>
                      </a:lnTo>
                      <a:lnTo>
                        <a:pt x="4" y="3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62" name="Freeform 1858"/>
                <p:cNvSpPr>
                  <a:spLocks/>
                </p:cNvSpPr>
                <p:nvPr/>
              </p:nvSpPr>
              <p:spPr bwMode="auto">
                <a:xfrm>
                  <a:off x="4946929" y="3136104"/>
                  <a:ext cx="0" cy="4946"/>
                </a:xfrm>
                <a:custGeom>
                  <a:avLst/>
                  <a:gdLst>
                    <a:gd name="T0" fmla="*/ 0 h 5"/>
                    <a:gd name="T1" fmla="*/ 3 h 5"/>
                    <a:gd name="T2" fmla="*/ 5 h 5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</a:cxnLst>
                  <a:rect l="0" t="0" r="r" b="b"/>
                  <a:pathLst>
                    <a:path h="5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0" y="5"/>
                      </a:lnTo>
                    </a:path>
                  </a:pathLst>
                </a:cu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63" name="Line 1859"/>
                <p:cNvSpPr>
                  <a:spLocks noChangeShapeType="1"/>
                </p:cNvSpPr>
                <p:nvPr/>
              </p:nvSpPr>
              <p:spPr bwMode="auto">
                <a:xfrm>
                  <a:off x="4947919" y="3146986"/>
                  <a:ext cx="4946" cy="2968"/>
                </a:xfrm>
                <a:prstGeom prst="line">
                  <a:avLst/>
                </a:pr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64" name="Line 1860"/>
                <p:cNvSpPr>
                  <a:spLocks noChangeShapeType="1"/>
                </p:cNvSpPr>
                <p:nvPr/>
              </p:nvSpPr>
              <p:spPr bwMode="auto">
                <a:xfrm>
                  <a:off x="4956822" y="3153910"/>
                  <a:ext cx="3957" cy="2968"/>
                </a:xfrm>
                <a:prstGeom prst="line">
                  <a:avLst/>
                </a:prstGeom>
                <a:grpFill/>
                <a:ln w="3175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</p:grpSp>
      </p:grpSp>
      <p:sp>
        <p:nvSpPr>
          <p:cNvPr id="1856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545887" y="3561804"/>
            <a:ext cx="63478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764381"/>
            <a:r>
              <a:rPr lang="en-US" sz="1100" b="1" dirty="0">
                <a:solidFill>
                  <a:schemeClr val="accent2"/>
                </a:solidFill>
              </a:rPr>
              <a:t>Americas</a:t>
            </a:r>
          </a:p>
        </p:txBody>
      </p:sp>
      <p:sp>
        <p:nvSpPr>
          <p:cNvPr id="1857" name="TextBox 1856"/>
          <p:cNvSpPr txBox="1"/>
          <p:nvPr/>
        </p:nvSpPr>
        <p:spPr>
          <a:xfrm>
            <a:off x="545887" y="3842407"/>
            <a:ext cx="189955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100" b="1" dirty="0">
                <a:solidFill>
                  <a:schemeClr val="accent4"/>
                </a:solidFill>
              </a:rPr>
              <a:t>Europe / Middle East / Africa</a:t>
            </a:r>
          </a:p>
        </p:txBody>
      </p:sp>
      <p:sp>
        <p:nvSpPr>
          <p:cNvPr id="1858" name="TextBox 1857"/>
          <p:cNvSpPr txBox="1"/>
          <p:nvPr/>
        </p:nvSpPr>
        <p:spPr>
          <a:xfrm>
            <a:off x="545887" y="4133576"/>
            <a:ext cx="790281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100" b="1" dirty="0"/>
              <a:t>Asia Pacific</a:t>
            </a:r>
          </a:p>
        </p:txBody>
      </p:sp>
      <p:sp>
        <p:nvSpPr>
          <p:cNvPr id="1859" name="Rectangle 1858"/>
          <p:cNvSpPr/>
          <p:nvPr/>
        </p:nvSpPr>
        <p:spPr>
          <a:xfrm>
            <a:off x="230400" y="3812745"/>
            <a:ext cx="228600" cy="228600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>
            <a:spAutoFit/>
          </a:bodyPr>
          <a:lstStyle/>
          <a:p>
            <a:pPr algn="ctr"/>
            <a:endParaRPr lang="en-US" sz="1050" dirty="0" err="1">
              <a:solidFill>
                <a:schemeClr val="tx2"/>
              </a:solidFill>
            </a:endParaRPr>
          </a:p>
        </p:txBody>
      </p:sp>
      <p:sp>
        <p:nvSpPr>
          <p:cNvPr id="1860" name="Rectangle 1859"/>
          <p:cNvSpPr/>
          <p:nvPr/>
        </p:nvSpPr>
        <p:spPr>
          <a:xfrm>
            <a:off x="230400" y="3532142"/>
            <a:ext cx="228600" cy="228600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>
            <a:spAutoFit/>
          </a:bodyPr>
          <a:lstStyle/>
          <a:p>
            <a:pPr algn="ctr"/>
            <a:endParaRPr lang="en-US" sz="1050" dirty="0" err="1">
              <a:solidFill>
                <a:schemeClr val="tx2"/>
              </a:solidFill>
            </a:endParaRPr>
          </a:p>
        </p:txBody>
      </p:sp>
      <p:sp>
        <p:nvSpPr>
          <p:cNvPr id="1861" name="Rectangle 1860"/>
          <p:cNvSpPr/>
          <p:nvPr/>
        </p:nvSpPr>
        <p:spPr>
          <a:xfrm>
            <a:off x="230400" y="4103914"/>
            <a:ext cx="228600" cy="22860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>
            <a:spAutoFit/>
          </a:bodyPr>
          <a:lstStyle/>
          <a:p>
            <a:pPr algn="ctr"/>
            <a:endParaRPr lang="en-US" sz="1050" dirty="0" err="1">
              <a:solidFill>
                <a:schemeClr val="tx2"/>
              </a:solidFill>
            </a:endParaRPr>
          </a:p>
        </p:txBody>
      </p:sp>
      <p:sp>
        <p:nvSpPr>
          <p:cNvPr id="1855" name="Text Placeholder 41">
            <a:extLst>
              <a:ext uri="{FF2B5EF4-FFF2-40B4-BE49-F238E27FC236}">
                <a16:creationId xmlns:a16="http://schemas.microsoft.com/office/drawing/2014/main" id="{5B2C7DAF-BD59-49AE-A3D6-AA46DF4099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4476750"/>
            <a:ext cx="8686800" cy="457200"/>
          </a:xfrm>
        </p:spPr>
        <p:txBody>
          <a:bodyPr/>
          <a:lstStyle/>
          <a:p>
            <a:r>
              <a:rPr lang="en-US" dirty="0"/>
              <a:t>Optional Kicker Box</a:t>
            </a:r>
          </a:p>
        </p:txBody>
      </p:sp>
    </p:spTree>
    <p:extLst>
      <p:ext uri="{BB962C8B-B14F-4D97-AF65-F5344CB8AC3E}">
        <p14:creationId xmlns:p14="http://schemas.microsoft.com/office/powerpoint/2010/main" val="316490608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-648580" y="-20537"/>
            <a:ext cx="9890126" cy="4924425"/>
            <a:chOff x="-237" y="72"/>
            <a:chExt cx="6230" cy="3102"/>
          </a:xfrm>
          <a:solidFill>
            <a:schemeClr val="tx1">
              <a:alpha val="15000"/>
            </a:schemeClr>
          </a:solidFill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3414" y="2292"/>
              <a:ext cx="147" cy="285"/>
            </a:xfrm>
            <a:custGeom>
              <a:avLst/>
              <a:gdLst>
                <a:gd name="T0" fmla="*/ 69 w 83"/>
                <a:gd name="T1" fmla="*/ 0 h 161"/>
                <a:gd name="T2" fmla="*/ 32 w 83"/>
                <a:gd name="T3" fmla="*/ 38 h 161"/>
                <a:gd name="T4" fmla="*/ 19 w 83"/>
                <a:gd name="T5" fmla="*/ 89 h 161"/>
                <a:gd name="T6" fmla="*/ 52 w 83"/>
                <a:gd name="T7" fmla="*/ 123 h 161"/>
                <a:gd name="T8" fmla="*/ 78 w 83"/>
                <a:gd name="T9" fmla="*/ 36 h 161"/>
                <a:gd name="T10" fmla="*/ 83 w 83"/>
                <a:gd name="T11" fmla="*/ 38 h 161"/>
                <a:gd name="T12" fmla="*/ 69 w 83"/>
                <a:gd name="T13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161">
                  <a:moveTo>
                    <a:pt x="69" y="0"/>
                  </a:moveTo>
                  <a:cubicBezTo>
                    <a:pt x="68" y="18"/>
                    <a:pt x="47" y="32"/>
                    <a:pt x="32" y="38"/>
                  </a:cubicBezTo>
                  <a:cubicBezTo>
                    <a:pt x="11" y="47"/>
                    <a:pt x="30" y="72"/>
                    <a:pt x="19" y="89"/>
                  </a:cubicBezTo>
                  <a:cubicBezTo>
                    <a:pt x="0" y="101"/>
                    <a:pt x="24" y="161"/>
                    <a:pt x="52" y="123"/>
                  </a:cubicBezTo>
                  <a:cubicBezTo>
                    <a:pt x="67" y="103"/>
                    <a:pt x="78" y="61"/>
                    <a:pt x="78" y="36"/>
                  </a:cubicBezTo>
                  <a:cubicBezTo>
                    <a:pt x="79" y="37"/>
                    <a:pt x="81" y="37"/>
                    <a:pt x="83" y="38"/>
                  </a:cubicBezTo>
                  <a:cubicBezTo>
                    <a:pt x="83" y="25"/>
                    <a:pt x="81" y="7"/>
                    <a:pt x="69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4070" y="1903"/>
              <a:ext cx="37" cy="78"/>
            </a:xfrm>
            <a:custGeom>
              <a:avLst/>
              <a:gdLst>
                <a:gd name="T0" fmla="*/ 3 w 21"/>
                <a:gd name="T1" fmla="*/ 31 h 44"/>
                <a:gd name="T2" fmla="*/ 21 w 21"/>
                <a:gd name="T3" fmla="*/ 23 h 44"/>
                <a:gd name="T4" fmla="*/ 7 w 21"/>
                <a:gd name="T5" fmla="*/ 0 h 44"/>
                <a:gd name="T6" fmla="*/ 3 w 21"/>
                <a:gd name="T7" fmla="*/ 3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44">
                  <a:moveTo>
                    <a:pt x="3" y="31"/>
                  </a:moveTo>
                  <a:cubicBezTo>
                    <a:pt x="7" y="44"/>
                    <a:pt x="20" y="32"/>
                    <a:pt x="21" y="23"/>
                  </a:cubicBezTo>
                  <a:cubicBezTo>
                    <a:pt x="19" y="14"/>
                    <a:pt x="13" y="6"/>
                    <a:pt x="7" y="0"/>
                  </a:cubicBezTo>
                  <a:cubicBezTo>
                    <a:pt x="5" y="9"/>
                    <a:pt x="0" y="22"/>
                    <a:pt x="3" y="3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4345" y="1974"/>
              <a:ext cx="223" cy="201"/>
            </a:xfrm>
            <a:custGeom>
              <a:avLst/>
              <a:gdLst>
                <a:gd name="T0" fmla="*/ 83 w 126"/>
                <a:gd name="T1" fmla="*/ 58 h 113"/>
                <a:gd name="T2" fmla="*/ 48 w 126"/>
                <a:gd name="T3" fmla="*/ 27 h 113"/>
                <a:gd name="T4" fmla="*/ 29 w 126"/>
                <a:gd name="T5" fmla="*/ 8 h 113"/>
                <a:gd name="T6" fmla="*/ 0 w 126"/>
                <a:gd name="T7" fmla="*/ 0 h 113"/>
                <a:gd name="T8" fmla="*/ 26 w 126"/>
                <a:gd name="T9" fmla="*/ 32 h 113"/>
                <a:gd name="T10" fmla="*/ 47 w 126"/>
                <a:gd name="T11" fmla="*/ 58 h 113"/>
                <a:gd name="T12" fmla="*/ 94 w 126"/>
                <a:gd name="T13" fmla="*/ 113 h 113"/>
                <a:gd name="T14" fmla="*/ 83 w 126"/>
                <a:gd name="T15" fmla="*/ 5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6" h="113">
                  <a:moveTo>
                    <a:pt x="83" y="58"/>
                  </a:moveTo>
                  <a:cubicBezTo>
                    <a:pt x="76" y="47"/>
                    <a:pt x="63" y="39"/>
                    <a:pt x="48" y="27"/>
                  </a:cubicBezTo>
                  <a:cubicBezTo>
                    <a:pt x="43" y="22"/>
                    <a:pt x="34" y="11"/>
                    <a:pt x="29" y="8"/>
                  </a:cubicBezTo>
                  <a:cubicBezTo>
                    <a:pt x="19" y="3"/>
                    <a:pt x="10" y="4"/>
                    <a:pt x="0" y="0"/>
                  </a:cubicBezTo>
                  <a:cubicBezTo>
                    <a:pt x="2" y="10"/>
                    <a:pt x="18" y="27"/>
                    <a:pt x="26" y="32"/>
                  </a:cubicBezTo>
                  <a:cubicBezTo>
                    <a:pt x="37" y="39"/>
                    <a:pt x="38" y="52"/>
                    <a:pt x="47" y="58"/>
                  </a:cubicBezTo>
                  <a:cubicBezTo>
                    <a:pt x="55" y="69"/>
                    <a:pt x="78" y="113"/>
                    <a:pt x="94" y="113"/>
                  </a:cubicBezTo>
                  <a:cubicBezTo>
                    <a:pt x="126" y="113"/>
                    <a:pt x="88" y="65"/>
                    <a:pt x="83" y="58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4582" y="1949"/>
              <a:ext cx="179" cy="210"/>
            </a:xfrm>
            <a:custGeom>
              <a:avLst/>
              <a:gdLst>
                <a:gd name="T0" fmla="*/ 18 w 101"/>
                <a:gd name="T1" fmla="*/ 97 h 118"/>
                <a:gd name="T2" fmla="*/ 30 w 101"/>
                <a:gd name="T3" fmla="*/ 102 h 118"/>
                <a:gd name="T4" fmla="*/ 75 w 101"/>
                <a:gd name="T5" fmla="*/ 96 h 118"/>
                <a:gd name="T6" fmla="*/ 99 w 101"/>
                <a:gd name="T7" fmla="*/ 57 h 118"/>
                <a:gd name="T8" fmla="*/ 101 w 101"/>
                <a:gd name="T9" fmla="*/ 18 h 118"/>
                <a:gd name="T10" fmla="*/ 81 w 101"/>
                <a:gd name="T11" fmla="*/ 0 h 118"/>
                <a:gd name="T12" fmla="*/ 51 w 101"/>
                <a:gd name="T13" fmla="*/ 25 h 118"/>
                <a:gd name="T14" fmla="*/ 18 w 101"/>
                <a:gd name="T15" fmla="*/ 55 h 118"/>
                <a:gd name="T16" fmla="*/ 11 w 101"/>
                <a:gd name="T17" fmla="*/ 78 h 118"/>
                <a:gd name="T18" fmla="*/ 18 w 101"/>
                <a:gd name="T19" fmla="*/ 9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118">
                  <a:moveTo>
                    <a:pt x="18" y="97"/>
                  </a:moveTo>
                  <a:cubicBezTo>
                    <a:pt x="27" y="100"/>
                    <a:pt x="26" y="95"/>
                    <a:pt x="30" y="102"/>
                  </a:cubicBezTo>
                  <a:cubicBezTo>
                    <a:pt x="47" y="100"/>
                    <a:pt x="68" y="118"/>
                    <a:pt x="75" y="96"/>
                  </a:cubicBezTo>
                  <a:cubicBezTo>
                    <a:pt x="79" y="84"/>
                    <a:pt x="82" y="60"/>
                    <a:pt x="99" y="57"/>
                  </a:cubicBezTo>
                  <a:cubicBezTo>
                    <a:pt x="73" y="42"/>
                    <a:pt x="89" y="28"/>
                    <a:pt x="101" y="18"/>
                  </a:cubicBezTo>
                  <a:cubicBezTo>
                    <a:pt x="93" y="14"/>
                    <a:pt x="85" y="8"/>
                    <a:pt x="81" y="0"/>
                  </a:cubicBezTo>
                  <a:cubicBezTo>
                    <a:pt x="70" y="6"/>
                    <a:pt x="61" y="18"/>
                    <a:pt x="51" y="25"/>
                  </a:cubicBezTo>
                  <a:cubicBezTo>
                    <a:pt x="39" y="34"/>
                    <a:pt x="30" y="47"/>
                    <a:pt x="18" y="55"/>
                  </a:cubicBezTo>
                  <a:cubicBezTo>
                    <a:pt x="0" y="66"/>
                    <a:pt x="2" y="59"/>
                    <a:pt x="11" y="78"/>
                  </a:cubicBezTo>
                  <a:cubicBezTo>
                    <a:pt x="14" y="84"/>
                    <a:pt x="11" y="94"/>
                    <a:pt x="18" y="97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4754" y="2034"/>
              <a:ext cx="112" cy="137"/>
            </a:xfrm>
            <a:custGeom>
              <a:avLst/>
              <a:gdLst>
                <a:gd name="T0" fmla="*/ 29 w 63"/>
                <a:gd name="T1" fmla="*/ 17 h 77"/>
                <a:gd name="T2" fmla="*/ 63 w 63"/>
                <a:gd name="T3" fmla="*/ 4 h 77"/>
                <a:gd name="T4" fmla="*/ 11 w 63"/>
                <a:gd name="T5" fmla="*/ 20 h 77"/>
                <a:gd name="T6" fmla="*/ 13 w 63"/>
                <a:gd name="T7" fmla="*/ 77 h 77"/>
                <a:gd name="T8" fmla="*/ 23 w 63"/>
                <a:gd name="T9" fmla="*/ 48 h 77"/>
                <a:gd name="T10" fmla="*/ 27 w 63"/>
                <a:gd name="T11" fmla="*/ 69 h 77"/>
                <a:gd name="T12" fmla="*/ 27 w 63"/>
                <a:gd name="T13" fmla="*/ 39 h 77"/>
                <a:gd name="T14" fmla="*/ 45 w 63"/>
                <a:gd name="T15" fmla="*/ 26 h 77"/>
                <a:gd name="T16" fmla="*/ 25 w 63"/>
                <a:gd name="T17" fmla="*/ 31 h 77"/>
                <a:gd name="T18" fmla="*/ 29 w 63"/>
                <a:gd name="T19" fmla="*/ 1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77">
                  <a:moveTo>
                    <a:pt x="29" y="17"/>
                  </a:moveTo>
                  <a:cubicBezTo>
                    <a:pt x="43" y="15"/>
                    <a:pt x="59" y="23"/>
                    <a:pt x="63" y="4"/>
                  </a:cubicBezTo>
                  <a:cubicBezTo>
                    <a:pt x="45" y="21"/>
                    <a:pt x="27" y="0"/>
                    <a:pt x="11" y="20"/>
                  </a:cubicBezTo>
                  <a:cubicBezTo>
                    <a:pt x="0" y="35"/>
                    <a:pt x="0" y="66"/>
                    <a:pt x="13" y="77"/>
                  </a:cubicBezTo>
                  <a:cubicBezTo>
                    <a:pt x="21" y="67"/>
                    <a:pt x="10" y="51"/>
                    <a:pt x="23" y="48"/>
                  </a:cubicBezTo>
                  <a:cubicBezTo>
                    <a:pt x="22" y="55"/>
                    <a:pt x="24" y="63"/>
                    <a:pt x="27" y="69"/>
                  </a:cubicBezTo>
                  <a:cubicBezTo>
                    <a:pt x="46" y="67"/>
                    <a:pt x="33" y="50"/>
                    <a:pt x="27" y="39"/>
                  </a:cubicBezTo>
                  <a:cubicBezTo>
                    <a:pt x="35" y="36"/>
                    <a:pt x="42" y="33"/>
                    <a:pt x="45" y="26"/>
                  </a:cubicBezTo>
                  <a:cubicBezTo>
                    <a:pt x="40" y="27"/>
                    <a:pt x="27" y="31"/>
                    <a:pt x="25" y="31"/>
                  </a:cubicBezTo>
                  <a:cubicBezTo>
                    <a:pt x="12" y="36"/>
                    <a:pt x="12" y="19"/>
                    <a:pt x="29" y="17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4524" y="2162"/>
              <a:ext cx="179" cy="62"/>
            </a:xfrm>
            <a:custGeom>
              <a:avLst/>
              <a:gdLst>
                <a:gd name="T0" fmla="*/ 101 w 101"/>
                <a:gd name="T1" fmla="*/ 31 h 35"/>
                <a:gd name="T2" fmla="*/ 69 w 101"/>
                <a:gd name="T3" fmla="*/ 20 h 35"/>
                <a:gd name="T4" fmla="*/ 76 w 101"/>
                <a:gd name="T5" fmla="*/ 18 h 35"/>
                <a:gd name="T6" fmla="*/ 58 w 101"/>
                <a:gd name="T7" fmla="*/ 14 h 35"/>
                <a:gd name="T8" fmla="*/ 35 w 101"/>
                <a:gd name="T9" fmla="*/ 16 h 35"/>
                <a:gd name="T10" fmla="*/ 0 w 101"/>
                <a:gd name="T11" fmla="*/ 15 h 35"/>
                <a:gd name="T12" fmla="*/ 97 w 101"/>
                <a:gd name="T13" fmla="*/ 35 h 35"/>
                <a:gd name="T14" fmla="*/ 101 w 101"/>
                <a:gd name="T15" fmla="*/ 3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35">
                  <a:moveTo>
                    <a:pt x="101" y="31"/>
                  </a:moveTo>
                  <a:cubicBezTo>
                    <a:pt x="90" y="27"/>
                    <a:pt x="80" y="25"/>
                    <a:pt x="69" y="20"/>
                  </a:cubicBezTo>
                  <a:cubicBezTo>
                    <a:pt x="72" y="19"/>
                    <a:pt x="74" y="19"/>
                    <a:pt x="76" y="18"/>
                  </a:cubicBezTo>
                  <a:cubicBezTo>
                    <a:pt x="70" y="19"/>
                    <a:pt x="64" y="17"/>
                    <a:pt x="58" y="14"/>
                  </a:cubicBezTo>
                  <a:cubicBezTo>
                    <a:pt x="51" y="12"/>
                    <a:pt x="42" y="16"/>
                    <a:pt x="35" y="16"/>
                  </a:cubicBezTo>
                  <a:cubicBezTo>
                    <a:pt x="19" y="14"/>
                    <a:pt x="14" y="0"/>
                    <a:pt x="0" y="15"/>
                  </a:cubicBezTo>
                  <a:cubicBezTo>
                    <a:pt x="26" y="31"/>
                    <a:pt x="72" y="33"/>
                    <a:pt x="97" y="35"/>
                  </a:cubicBezTo>
                  <a:cubicBezTo>
                    <a:pt x="98" y="34"/>
                    <a:pt x="99" y="33"/>
                    <a:pt x="101" y="3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4658" y="2194"/>
              <a:ext cx="11" cy="0"/>
            </a:xfrm>
            <a:custGeom>
              <a:avLst/>
              <a:gdLst>
                <a:gd name="T0" fmla="*/ 0 w 6"/>
                <a:gd name="T1" fmla="*/ 6 w 6"/>
                <a:gd name="T2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cubicBezTo>
                    <a:pt x="2" y="0"/>
                    <a:pt x="4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4775" y="2215"/>
              <a:ext cx="54" cy="15"/>
            </a:xfrm>
            <a:custGeom>
              <a:avLst/>
              <a:gdLst>
                <a:gd name="T0" fmla="*/ 20 w 30"/>
                <a:gd name="T1" fmla="*/ 7 h 8"/>
                <a:gd name="T2" fmla="*/ 30 w 30"/>
                <a:gd name="T3" fmla="*/ 0 h 8"/>
                <a:gd name="T4" fmla="*/ 0 w 30"/>
                <a:gd name="T5" fmla="*/ 4 h 8"/>
                <a:gd name="T6" fmla="*/ 20 w 30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8">
                  <a:moveTo>
                    <a:pt x="20" y="7"/>
                  </a:moveTo>
                  <a:cubicBezTo>
                    <a:pt x="23" y="5"/>
                    <a:pt x="27" y="3"/>
                    <a:pt x="30" y="0"/>
                  </a:cubicBezTo>
                  <a:cubicBezTo>
                    <a:pt x="19" y="6"/>
                    <a:pt x="10" y="0"/>
                    <a:pt x="0" y="4"/>
                  </a:cubicBezTo>
                  <a:cubicBezTo>
                    <a:pt x="6" y="7"/>
                    <a:pt x="13" y="8"/>
                    <a:pt x="20" y="7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4722" y="2214"/>
              <a:ext cx="37" cy="16"/>
            </a:xfrm>
            <a:custGeom>
              <a:avLst/>
              <a:gdLst>
                <a:gd name="T0" fmla="*/ 0 w 21"/>
                <a:gd name="T1" fmla="*/ 7 h 9"/>
                <a:gd name="T2" fmla="*/ 21 w 21"/>
                <a:gd name="T3" fmla="*/ 8 h 9"/>
                <a:gd name="T4" fmla="*/ 0 w 21"/>
                <a:gd name="T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9">
                  <a:moveTo>
                    <a:pt x="0" y="7"/>
                  </a:moveTo>
                  <a:cubicBezTo>
                    <a:pt x="7" y="9"/>
                    <a:pt x="13" y="8"/>
                    <a:pt x="21" y="8"/>
                  </a:cubicBezTo>
                  <a:cubicBezTo>
                    <a:pt x="17" y="0"/>
                    <a:pt x="9" y="4"/>
                    <a:pt x="0" y="7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4761" y="2231"/>
              <a:ext cx="29" cy="23"/>
            </a:xfrm>
            <a:custGeom>
              <a:avLst/>
              <a:gdLst>
                <a:gd name="T0" fmla="*/ 0 w 16"/>
                <a:gd name="T1" fmla="*/ 4 h 13"/>
                <a:gd name="T2" fmla="*/ 11 w 16"/>
                <a:gd name="T3" fmla="*/ 13 h 13"/>
                <a:gd name="T4" fmla="*/ 0 w 16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0" y="4"/>
                  </a:moveTo>
                  <a:cubicBezTo>
                    <a:pt x="7" y="5"/>
                    <a:pt x="7" y="10"/>
                    <a:pt x="11" y="13"/>
                  </a:cubicBezTo>
                  <a:cubicBezTo>
                    <a:pt x="16" y="6"/>
                    <a:pt x="10" y="0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4706" y="2217"/>
              <a:ext cx="13" cy="11"/>
            </a:xfrm>
            <a:custGeom>
              <a:avLst/>
              <a:gdLst>
                <a:gd name="T0" fmla="*/ 4 w 7"/>
                <a:gd name="T1" fmla="*/ 6 h 6"/>
                <a:gd name="T2" fmla="*/ 7 w 7"/>
                <a:gd name="T3" fmla="*/ 3 h 6"/>
                <a:gd name="T4" fmla="*/ 1 w 7"/>
                <a:gd name="T5" fmla="*/ 0 h 6"/>
                <a:gd name="T6" fmla="*/ 4 w 7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4" y="6"/>
                  </a:moveTo>
                  <a:cubicBezTo>
                    <a:pt x="5" y="5"/>
                    <a:pt x="6" y="4"/>
                    <a:pt x="7" y="3"/>
                  </a:cubicBezTo>
                  <a:cubicBezTo>
                    <a:pt x="5" y="1"/>
                    <a:pt x="2" y="1"/>
                    <a:pt x="1" y="0"/>
                  </a:cubicBezTo>
                  <a:cubicBezTo>
                    <a:pt x="2" y="2"/>
                    <a:pt x="0" y="4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4836" y="2219"/>
              <a:ext cx="65" cy="35"/>
            </a:xfrm>
            <a:custGeom>
              <a:avLst/>
              <a:gdLst>
                <a:gd name="T0" fmla="*/ 16 w 37"/>
                <a:gd name="T1" fmla="*/ 10 h 20"/>
                <a:gd name="T2" fmla="*/ 37 w 37"/>
                <a:gd name="T3" fmla="*/ 2 h 20"/>
                <a:gd name="T4" fmla="*/ 4 w 37"/>
                <a:gd name="T5" fmla="*/ 20 h 20"/>
                <a:gd name="T6" fmla="*/ 16 w 37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0">
                  <a:moveTo>
                    <a:pt x="16" y="10"/>
                  </a:moveTo>
                  <a:cubicBezTo>
                    <a:pt x="24" y="10"/>
                    <a:pt x="31" y="7"/>
                    <a:pt x="37" y="2"/>
                  </a:cubicBezTo>
                  <a:cubicBezTo>
                    <a:pt x="25" y="0"/>
                    <a:pt x="0" y="7"/>
                    <a:pt x="4" y="20"/>
                  </a:cubicBezTo>
                  <a:cubicBezTo>
                    <a:pt x="11" y="19"/>
                    <a:pt x="14" y="15"/>
                    <a:pt x="1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5022" y="2169"/>
              <a:ext cx="9" cy="25"/>
            </a:xfrm>
            <a:custGeom>
              <a:avLst/>
              <a:gdLst>
                <a:gd name="T0" fmla="*/ 5 w 5"/>
                <a:gd name="T1" fmla="*/ 0 h 14"/>
                <a:gd name="T2" fmla="*/ 2 w 5"/>
                <a:gd name="T3" fmla="*/ 14 h 14"/>
                <a:gd name="T4" fmla="*/ 5 w 5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4">
                  <a:moveTo>
                    <a:pt x="5" y="0"/>
                  </a:moveTo>
                  <a:cubicBezTo>
                    <a:pt x="3" y="5"/>
                    <a:pt x="0" y="9"/>
                    <a:pt x="2" y="14"/>
                  </a:cubicBezTo>
                  <a:cubicBezTo>
                    <a:pt x="5" y="9"/>
                    <a:pt x="5" y="4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4882" y="2128"/>
              <a:ext cx="17" cy="13"/>
            </a:xfrm>
            <a:custGeom>
              <a:avLst/>
              <a:gdLst>
                <a:gd name="T0" fmla="*/ 7 w 10"/>
                <a:gd name="T1" fmla="*/ 7 h 7"/>
                <a:gd name="T2" fmla="*/ 10 w 10"/>
                <a:gd name="T3" fmla="*/ 2 h 7"/>
                <a:gd name="T4" fmla="*/ 0 w 10"/>
                <a:gd name="T5" fmla="*/ 0 h 7"/>
                <a:gd name="T6" fmla="*/ 7 w 10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7" y="7"/>
                  </a:moveTo>
                  <a:cubicBezTo>
                    <a:pt x="8" y="5"/>
                    <a:pt x="9" y="4"/>
                    <a:pt x="10" y="2"/>
                  </a:cubicBezTo>
                  <a:cubicBezTo>
                    <a:pt x="7" y="2"/>
                    <a:pt x="4" y="1"/>
                    <a:pt x="0" y="0"/>
                  </a:cubicBezTo>
                  <a:cubicBezTo>
                    <a:pt x="2" y="2"/>
                    <a:pt x="5" y="5"/>
                    <a:pt x="7" y="7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4914" y="2121"/>
              <a:ext cx="51" cy="15"/>
            </a:xfrm>
            <a:custGeom>
              <a:avLst/>
              <a:gdLst>
                <a:gd name="T0" fmla="*/ 0 w 29"/>
                <a:gd name="T1" fmla="*/ 4 h 8"/>
                <a:gd name="T2" fmla="*/ 29 w 29"/>
                <a:gd name="T3" fmla="*/ 8 h 8"/>
                <a:gd name="T4" fmla="*/ 25 w 29"/>
                <a:gd name="T5" fmla="*/ 2 h 8"/>
                <a:gd name="T6" fmla="*/ 0 w 29"/>
                <a:gd name="T7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8">
                  <a:moveTo>
                    <a:pt x="0" y="4"/>
                  </a:moveTo>
                  <a:cubicBezTo>
                    <a:pt x="10" y="5"/>
                    <a:pt x="20" y="7"/>
                    <a:pt x="29" y="8"/>
                  </a:cubicBezTo>
                  <a:cubicBezTo>
                    <a:pt x="27" y="6"/>
                    <a:pt x="26" y="4"/>
                    <a:pt x="25" y="2"/>
                  </a:cubicBezTo>
                  <a:cubicBezTo>
                    <a:pt x="16" y="1"/>
                    <a:pt x="7" y="0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4912" y="2070"/>
              <a:ext cx="7" cy="11"/>
            </a:xfrm>
            <a:custGeom>
              <a:avLst/>
              <a:gdLst>
                <a:gd name="T0" fmla="*/ 4 w 4"/>
                <a:gd name="T1" fmla="*/ 6 h 6"/>
                <a:gd name="T2" fmla="*/ 1 w 4"/>
                <a:gd name="T3" fmla="*/ 0 h 6"/>
                <a:gd name="T4" fmla="*/ 0 w 4"/>
                <a:gd name="T5" fmla="*/ 0 h 6"/>
                <a:gd name="T6" fmla="*/ 4 w 4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cubicBezTo>
                    <a:pt x="3" y="4"/>
                    <a:pt x="2" y="2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2" y="2"/>
                    <a:pt x="3" y="4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1" name="Freeform 21"/>
            <p:cNvSpPr>
              <a:spLocks/>
            </p:cNvSpPr>
            <p:nvPr/>
          </p:nvSpPr>
          <p:spPr bwMode="auto">
            <a:xfrm>
              <a:off x="4907" y="2031"/>
              <a:ext cx="21" cy="39"/>
            </a:xfrm>
            <a:custGeom>
              <a:avLst/>
              <a:gdLst>
                <a:gd name="T0" fmla="*/ 3 w 12"/>
                <a:gd name="T1" fmla="*/ 0 h 22"/>
                <a:gd name="T2" fmla="*/ 4 w 12"/>
                <a:gd name="T3" fmla="*/ 22 h 22"/>
                <a:gd name="T4" fmla="*/ 11 w 12"/>
                <a:gd name="T5" fmla="*/ 19 h 22"/>
                <a:gd name="T6" fmla="*/ 3 w 12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2">
                  <a:moveTo>
                    <a:pt x="3" y="0"/>
                  </a:moveTo>
                  <a:cubicBezTo>
                    <a:pt x="0" y="8"/>
                    <a:pt x="1" y="15"/>
                    <a:pt x="4" y="22"/>
                  </a:cubicBezTo>
                  <a:cubicBezTo>
                    <a:pt x="5" y="21"/>
                    <a:pt x="7" y="18"/>
                    <a:pt x="11" y="19"/>
                  </a:cubicBezTo>
                  <a:cubicBezTo>
                    <a:pt x="12" y="12"/>
                    <a:pt x="11" y="6"/>
                    <a:pt x="3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5275" y="2144"/>
              <a:ext cx="80" cy="41"/>
            </a:xfrm>
            <a:custGeom>
              <a:avLst/>
              <a:gdLst>
                <a:gd name="T0" fmla="*/ 0 w 45"/>
                <a:gd name="T1" fmla="*/ 14 h 23"/>
                <a:gd name="T2" fmla="*/ 10 w 45"/>
                <a:gd name="T3" fmla="*/ 21 h 23"/>
                <a:gd name="T4" fmla="*/ 36 w 45"/>
                <a:gd name="T5" fmla="*/ 0 h 23"/>
                <a:gd name="T6" fmla="*/ 0 w 45"/>
                <a:gd name="T7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23">
                  <a:moveTo>
                    <a:pt x="0" y="14"/>
                  </a:moveTo>
                  <a:cubicBezTo>
                    <a:pt x="4" y="16"/>
                    <a:pt x="7" y="19"/>
                    <a:pt x="10" y="21"/>
                  </a:cubicBezTo>
                  <a:cubicBezTo>
                    <a:pt x="14" y="23"/>
                    <a:pt x="45" y="17"/>
                    <a:pt x="36" y="0"/>
                  </a:cubicBezTo>
                  <a:cubicBezTo>
                    <a:pt x="30" y="13"/>
                    <a:pt x="13" y="14"/>
                    <a:pt x="0" y="1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4963" y="2073"/>
              <a:ext cx="355" cy="217"/>
            </a:xfrm>
            <a:custGeom>
              <a:avLst/>
              <a:gdLst>
                <a:gd name="T0" fmla="*/ 74 w 200"/>
                <a:gd name="T1" fmla="*/ 14 h 122"/>
                <a:gd name="T2" fmla="*/ 47 w 200"/>
                <a:gd name="T3" fmla="*/ 31 h 122"/>
                <a:gd name="T4" fmla="*/ 27 w 200"/>
                <a:gd name="T5" fmla="*/ 5 h 122"/>
                <a:gd name="T6" fmla="*/ 0 w 200"/>
                <a:gd name="T7" fmla="*/ 10 h 122"/>
                <a:gd name="T8" fmla="*/ 30 w 200"/>
                <a:gd name="T9" fmla="*/ 21 h 122"/>
                <a:gd name="T10" fmla="*/ 13 w 200"/>
                <a:gd name="T11" fmla="*/ 27 h 122"/>
                <a:gd name="T12" fmla="*/ 29 w 200"/>
                <a:gd name="T13" fmla="*/ 34 h 122"/>
                <a:gd name="T14" fmla="*/ 71 w 200"/>
                <a:gd name="T15" fmla="*/ 79 h 122"/>
                <a:gd name="T16" fmla="*/ 102 w 200"/>
                <a:gd name="T17" fmla="*/ 87 h 122"/>
                <a:gd name="T18" fmla="*/ 123 w 200"/>
                <a:gd name="T19" fmla="*/ 90 h 122"/>
                <a:gd name="T20" fmla="*/ 133 w 200"/>
                <a:gd name="T21" fmla="*/ 75 h 122"/>
                <a:gd name="T22" fmla="*/ 200 w 200"/>
                <a:gd name="T23" fmla="*/ 99 h 122"/>
                <a:gd name="T24" fmla="*/ 163 w 200"/>
                <a:gd name="T25" fmla="*/ 68 h 122"/>
                <a:gd name="T26" fmla="*/ 100 w 200"/>
                <a:gd name="T27" fmla="*/ 23 h 122"/>
                <a:gd name="T28" fmla="*/ 74 w 200"/>
                <a:gd name="T29" fmla="*/ 1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122">
                  <a:moveTo>
                    <a:pt x="74" y="14"/>
                  </a:moveTo>
                  <a:cubicBezTo>
                    <a:pt x="66" y="10"/>
                    <a:pt x="53" y="31"/>
                    <a:pt x="47" y="31"/>
                  </a:cubicBezTo>
                  <a:cubicBezTo>
                    <a:pt x="33" y="29"/>
                    <a:pt x="36" y="10"/>
                    <a:pt x="27" y="5"/>
                  </a:cubicBezTo>
                  <a:cubicBezTo>
                    <a:pt x="17" y="0"/>
                    <a:pt x="8" y="4"/>
                    <a:pt x="0" y="10"/>
                  </a:cubicBezTo>
                  <a:cubicBezTo>
                    <a:pt x="9" y="18"/>
                    <a:pt x="18" y="25"/>
                    <a:pt x="30" y="21"/>
                  </a:cubicBezTo>
                  <a:cubicBezTo>
                    <a:pt x="24" y="23"/>
                    <a:pt x="19" y="26"/>
                    <a:pt x="13" y="27"/>
                  </a:cubicBezTo>
                  <a:cubicBezTo>
                    <a:pt x="17" y="35"/>
                    <a:pt x="22" y="43"/>
                    <a:pt x="29" y="34"/>
                  </a:cubicBezTo>
                  <a:cubicBezTo>
                    <a:pt x="33" y="40"/>
                    <a:pt x="105" y="61"/>
                    <a:pt x="71" y="79"/>
                  </a:cubicBezTo>
                  <a:cubicBezTo>
                    <a:pt x="81" y="82"/>
                    <a:pt x="93" y="85"/>
                    <a:pt x="102" y="87"/>
                  </a:cubicBezTo>
                  <a:cubicBezTo>
                    <a:pt x="109" y="89"/>
                    <a:pt x="115" y="92"/>
                    <a:pt x="123" y="90"/>
                  </a:cubicBezTo>
                  <a:cubicBezTo>
                    <a:pt x="126" y="89"/>
                    <a:pt x="126" y="77"/>
                    <a:pt x="133" y="75"/>
                  </a:cubicBezTo>
                  <a:cubicBezTo>
                    <a:pt x="151" y="69"/>
                    <a:pt x="185" y="122"/>
                    <a:pt x="200" y="99"/>
                  </a:cubicBezTo>
                  <a:cubicBezTo>
                    <a:pt x="182" y="95"/>
                    <a:pt x="175" y="81"/>
                    <a:pt x="163" y="68"/>
                  </a:cubicBezTo>
                  <a:cubicBezTo>
                    <a:pt x="183" y="53"/>
                    <a:pt x="111" y="31"/>
                    <a:pt x="100" y="23"/>
                  </a:cubicBezTo>
                  <a:cubicBezTo>
                    <a:pt x="99" y="24"/>
                    <a:pt x="83" y="18"/>
                    <a:pt x="74" y="1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auto">
            <a:xfrm>
              <a:off x="5323" y="2116"/>
              <a:ext cx="36" cy="36"/>
            </a:xfrm>
            <a:custGeom>
              <a:avLst/>
              <a:gdLst>
                <a:gd name="T0" fmla="*/ 0 w 20"/>
                <a:gd name="T1" fmla="*/ 0 h 20"/>
                <a:gd name="T2" fmla="*/ 18 w 20"/>
                <a:gd name="T3" fmla="*/ 20 h 20"/>
                <a:gd name="T4" fmla="*/ 0 w 2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0">
                  <a:moveTo>
                    <a:pt x="0" y="0"/>
                  </a:moveTo>
                  <a:cubicBezTo>
                    <a:pt x="8" y="5"/>
                    <a:pt x="15" y="12"/>
                    <a:pt x="18" y="20"/>
                  </a:cubicBezTo>
                  <a:cubicBezTo>
                    <a:pt x="20" y="14"/>
                    <a:pt x="9" y="5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5380" y="2169"/>
              <a:ext cx="18" cy="23"/>
            </a:xfrm>
            <a:custGeom>
              <a:avLst/>
              <a:gdLst>
                <a:gd name="T0" fmla="*/ 5 w 10"/>
                <a:gd name="T1" fmla="*/ 7 h 13"/>
                <a:gd name="T2" fmla="*/ 7 w 10"/>
                <a:gd name="T3" fmla="*/ 13 h 13"/>
                <a:gd name="T4" fmla="*/ 10 w 10"/>
                <a:gd name="T5" fmla="*/ 10 h 13"/>
                <a:gd name="T6" fmla="*/ 0 w 10"/>
                <a:gd name="T7" fmla="*/ 0 h 13"/>
                <a:gd name="T8" fmla="*/ 5 w 10"/>
                <a:gd name="T9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3">
                  <a:moveTo>
                    <a:pt x="5" y="7"/>
                  </a:moveTo>
                  <a:cubicBezTo>
                    <a:pt x="6" y="9"/>
                    <a:pt x="5" y="11"/>
                    <a:pt x="7" y="13"/>
                  </a:cubicBezTo>
                  <a:cubicBezTo>
                    <a:pt x="8" y="12"/>
                    <a:pt x="9" y="11"/>
                    <a:pt x="10" y="10"/>
                  </a:cubicBezTo>
                  <a:cubicBezTo>
                    <a:pt x="7" y="6"/>
                    <a:pt x="3" y="3"/>
                    <a:pt x="0" y="0"/>
                  </a:cubicBezTo>
                  <a:cubicBezTo>
                    <a:pt x="2" y="2"/>
                    <a:pt x="3" y="5"/>
                    <a:pt x="5" y="7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5508" y="2260"/>
              <a:ext cx="1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5508" y="226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auto">
            <a:xfrm>
              <a:off x="5499" y="2251"/>
              <a:ext cx="9" cy="9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5 w 5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cubicBezTo>
                    <a:pt x="3" y="4"/>
                    <a:pt x="2" y="2"/>
                    <a:pt x="0" y="0"/>
                  </a:cubicBezTo>
                  <a:cubicBezTo>
                    <a:pt x="1" y="1"/>
                    <a:pt x="4" y="4"/>
                    <a:pt x="5" y="5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29"/>
            <p:cNvSpPr>
              <a:spLocks/>
            </p:cNvSpPr>
            <p:nvPr/>
          </p:nvSpPr>
          <p:spPr bwMode="auto">
            <a:xfrm>
              <a:off x="5472" y="2242"/>
              <a:ext cx="20" cy="7"/>
            </a:xfrm>
            <a:custGeom>
              <a:avLst/>
              <a:gdLst>
                <a:gd name="T0" fmla="*/ 11 w 11"/>
                <a:gd name="T1" fmla="*/ 4 h 4"/>
                <a:gd name="T2" fmla="*/ 0 w 11"/>
                <a:gd name="T3" fmla="*/ 0 h 4"/>
                <a:gd name="T4" fmla="*/ 11 w 11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4">
                  <a:moveTo>
                    <a:pt x="11" y="4"/>
                  </a:moveTo>
                  <a:cubicBezTo>
                    <a:pt x="7" y="3"/>
                    <a:pt x="3" y="1"/>
                    <a:pt x="0" y="0"/>
                  </a:cubicBezTo>
                  <a:cubicBezTo>
                    <a:pt x="3" y="2"/>
                    <a:pt x="8" y="3"/>
                    <a:pt x="11" y="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Freeform 30"/>
            <p:cNvSpPr>
              <a:spLocks/>
            </p:cNvSpPr>
            <p:nvPr/>
          </p:nvSpPr>
          <p:spPr bwMode="auto">
            <a:xfrm>
              <a:off x="5474" y="2217"/>
              <a:ext cx="18" cy="20"/>
            </a:xfrm>
            <a:custGeom>
              <a:avLst/>
              <a:gdLst>
                <a:gd name="T0" fmla="*/ 0 w 10"/>
                <a:gd name="T1" fmla="*/ 0 h 11"/>
                <a:gd name="T2" fmla="*/ 10 w 10"/>
                <a:gd name="T3" fmla="*/ 11 h 11"/>
                <a:gd name="T4" fmla="*/ 0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0" y="0"/>
                  </a:moveTo>
                  <a:cubicBezTo>
                    <a:pt x="3" y="6"/>
                    <a:pt x="6" y="7"/>
                    <a:pt x="10" y="11"/>
                  </a:cubicBezTo>
                  <a:cubicBezTo>
                    <a:pt x="7" y="7"/>
                    <a:pt x="5" y="3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1" name="Freeform 31"/>
            <p:cNvSpPr>
              <a:spLocks/>
            </p:cNvSpPr>
            <p:nvPr/>
          </p:nvSpPr>
          <p:spPr bwMode="auto">
            <a:xfrm>
              <a:off x="5440" y="2203"/>
              <a:ext cx="22" cy="12"/>
            </a:xfrm>
            <a:custGeom>
              <a:avLst/>
              <a:gdLst>
                <a:gd name="T0" fmla="*/ 12 w 12"/>
                <a:gd name="T1" fmla="*/ 7 h 7"/>
                <a:gd name="T2" fmla="*/ 0 w 12"/>
                <a:gd name="T3" fmla="*/ 0 h 7"/>
                <a:gd name="T4" fmla="*/ 12 w 12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7">
                  <a:moveTo>
                    <a:pt x="12" y="7"/>
                  </a:moveTo>
                  <a:cubicBezTo>
                    <a:pt x="8" y="4"/>
                    <a:pt x="4" y="2"/>
                    <a:pt x="0" y="0"/>
                  </a:cubicBezTo>
                  <a:cubicBezTo>
                    <a:pt x="1" y="1"/>
                    <a:pt x="6" y="7"/>
                    <a:pt x="12" y="7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Freeform 32"/>
            <p:cNvSpPr>
              <a:spLocks/>
            </p:cNvSpPr>
            <p:nvPr/>
          </p:nvSpPr>
          <p:spPr bwMode="auto">
            <a:xfrm>
              <a:off x="5410" y="2187"/>
              <a:ext cx="14" cy="9"/>
            </a:xfrm>
            <a:custGeom>
              <a:avLst/>
              <a:gdLst>
                <a:gd name="T0" fmla="*/ 8 w 8"/>
                <a:gd name="T1" fmla="*/ 5 h 5"/>
                <a:gd name="T2" fmla="*/ 0 w 8"/>
                <a:gd name="T3" fmla="*/ 0 h 5"/>
                <a:gd name="T4" fmla="*/ 8 w 8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5"/>
                  </a:moveTo>
                  <a:cubicBezTo>
                    <a:pt x="5" y="3"/>
                    <a:pt x="3" y="2"/>
                    <a:pt x="0" y="0"/>
                  </a:cubicBezTo>
                  <a:cubicBezTo>
                    <a:pt x="1" y="1"/>
                    <a:pt x="2" y="4"/>
                    <a:pt x="8" y="5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33"/>
            <p:cNvSpPr>
              <a:spLocks/>
            </p:cNvSpPr>
            <p:nvPr/>
          </p:nvSpPr>
          <p:spPr bwMode="auto">
            <a:xfrm>
              <a:off x="5199" y="2813"/>
              <a:ext cx="76" cy="91"/>
            </a:xfrm>
            <a:custGeom>
              <a:avLst/>
              <a:gdLst>
                <a:gd name="T0" fmla="*/ 19 w 43"/>
                <a:gd name="T1" fmla="*/ 11 h 51"/>
                <a:gd name="T2" fmla="*/ 0 w 43"/>
                <a:gd name="T3" fmla="*/ 11 h 51"/>
                <a:gd name="T4" fmla="*/ 26 w 43"/>
                <a:gd name="T5" fmla="*/ 41 h 51"/>
                <a:gd name="T6" fmla="*/ 19 w 43"/>
                <a:gd name="T7" fmla="*/ 1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51">
                  <a:moveTo>
                    <a:pt x="19" y="11"/>
                  </a:moveTo>
                  <a:cubicBezTo>
                    <a:pt x="13" y="9"/>
                    <a:pt x="6" y="9"/>
                    <a:pt x="0" y="11"/>
                  </a:cubicBezTo>
                  <a:cubicBezTo>
                    <a:pt x="2" y="21"/>
                    <a:pt x="13" y="51"/>
                    <a:pt x="26" y="41"/>
                  </a:cubicBezTo>
                  <a:cubicBezTo>
                    <a:pt x="40" y="30"/>
                    <a:pt x="43" y="0"/>
                    <a:pt x="19" y="1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Freeform 34"/>
            <p:cNvSpPr>
              <a:spLocks/>
            </p:cNvSpPr>
            <p:nvPr/>
          </p:nvSpPr>
          <p:spPr bwMode="auto">
            <a:xfrm>
              <a:off x="5252" y="2810"/>
              <a:ext cx="13" cy="11"/>
            </a:xfrm>
            <a:custGeom>
              <a:avLst/>
              <a:gdLst>
                <a:gd name="T0" fmla="*/ 6 w 7"/>
                <a:gd name="T1" fmla="*/ 6 h 6"/>
                <a:gd name="T2" fmla="*/ 7 w 7"/>
                <a:gd name="T3" fmla="*/ 0 h 6"/>
                <a:gd name="T4" fmla="*/ 6 w 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6"/>
                  </a:moveTo>
                  <a:cubicBezTo>
                    <a:pt x="7" y="4"/>
                    <a:pt x="7" y="2"/>
                    <a:pt x="7" y="0"/>
                  </a:cubicBezTo>
                  <a:cubicBezTo>
                    <a:pt x="5" y="3"/>
                    <a:pt x="0" y="0"/>
                    <a:pt x="6" y="6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Freeform 35"/>
            <p:cNvSpPr>
              <a:spLocks/>
            </p:cNvSpPr>
            <p:nvPr/>
          </p:nvSpPr>
          <p:spPr bwMode="auto">
            <a:xfrm>
              <a:off x="4944" y="2274"/>
              <a:ext cx="25" cy="9"/>
            </a:xfrm>
            <a:custGeom>
              <a:avLst/>
              <a:gdLst>
                <a:gd name="T0" fmla="*/ 14 w 14"/>
                <a:gd name="T1" fmla="*/ 5 h 5"/>
                <a:gd name="T2" fmla="*/ 14 w 14"/>
                <a:gd name="T3" fmla="*/ 0 h 5"/>
                <a:gd name="T4" fmla="*/ 0 w 14"/>
                <a:gd name="T5" fmla="*/ 1 h 5"/>
                <a:gd name="T6" fmla="*/ 14 w 14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5">
                  <a:moveTo>
                    <a:pt x="14" y="5"/>
                  </a:moveTo>
                  <a:cubicBezTo>
                    <a:pt x="14" y="3"/>
                    <a:pt x="14" y="1"/>
                    <a:pt x="14" y="0"/>
                  </a:cubicBezTo>
                  <a:cubicBezTo>
                    <a:pt x="9" y="0"/>
                    <a:pt x="5" y="0"/>
                    <a:pt x="0" y="1"/>
                  </a:cubicBezTo>
                  <a:cubicBezTo>
                    <a:pt x="4" y="4"/>
                    <a:pt x="9" y="4"/>
                    <a:pt x="14" y="5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Freeform 36"/>
            <p:cNvSpPr>
              <a:spLocks/>
            </p:cNvSpPr>
            <p:nvPr/>
          </p:nvSpPr>
          <p:spPr bwMode="auto">
            <a:xfrm>
              <a:off x="4648" y="2263"/>
              <a:ext cx="712" cy="549"/>
            </a:xfrm>
            <a:custGeom>
              <a:avLst/>
              <a:gdLst>
                <a:gd name="T0" fmla="*/ 376 w 402"/>
                <a:gd name="T1" fmla="*/ 131 h 309"/>
                <a:gd name="T2" fmla="*/ 371 w 402"/>
                <a:gd name="T3" fmla="*/ 118 h 309"/>
                <a:gd name="T4" fmla="*/ 360 w 402"/>
                <a:gd name="T5" fmla="*/ 114 h 309"/>
                <a:gd name="T6" fmla="*/ 346 w 402"/>
                <a:gd name="T7" fmla="*/ 93 h 309"/>
                <a:gd name="T8" fmla="*/ 329 w 402"/>
                <a:gd name="T9" fmla="*/ 78 h 309"/>
                <a:gd name="T10" fmla="*/ 307 w 402"/>
                <a:gd name="T11" fmla="*/ 37 h 309"/>
                <a:gd name="T12" fmla="*/ 293 w 402"/>
                <a:gd name="T13" fmla="*/ 0 h 309"/>
                <a:gd name="T14" fmla="*/ 265 w 402"/>
                <a:gd name="T15" fmla="*/ 70 h 309"/>
                <a:gd name="T16" fmla="*/ 234 w 402"/>
                <a:gd name="T17" fmla="*/ 19 h 309"/>
                <a:gd name="T18" fmla="*/ 187 w 402"/>
                <a:gd name="T19" fmla="*/ 5 h 309"/>
                <a:gd name="T20" fmla="*/ 193 w 402"/>
                <a:gd name="T21" fmla="*/ 13 h 309"/>
                <a:gd name="T22" fmla="*/ 161 w 402"/>
                <a:gd name="T23" fmla="*/ 44 h 309"/>
                <a:gd name="T24" fmla="*/ 148 w 402"/>
                <a:gd name="T25" fmla="*/ 45 h 309"/>
                <a:gd name="T26" fmla="*/ 112 w 402"/>
                <a:gd name="T27" fmla="*/ 59 h 309"/>
                <a:gd name="T28" fmla="*/ 105 w 402"/>
                <a:gd name="T29" fmla="*/ 56 h 309"/>
                <a:gd name="T30" fmla="*/ 101 w 402"/>
                <a:gd name="T31" fmla="*/ 66 h 309"/>
                <a:gd name="T32" fmla="*/ 96 w 402"/>
                <a:gd name="T33" fmla="*/ 59 h 309"/>
                <a:gd name="T34" fmla="*/ 50 w 402"/>
                <a:gd name="T35" fmla="*/ 97 h 309"/>
                <a:gd name="T36" fmla="*/ 9 w 402"/>
                <a:gd name="T37" fmla="*/ 114 h 309"/>
                <a:gd name="T38" fmla="*/ 9 w 402"/>
                <a:gd name="T39" fmla="*/ 160 h 309"/>
                <a:gd name="T40" fmla="*/ 6 w 402"/>
                <a:gd name="T41" fmla="*/ 156 h 309"/>
                <a:gd name="T42" fmla="*/ 27 w 402"/>
                <a:gd name="T43" fmla="*/ 223 h 309"/>
                <a:gd name="T44" fmla="*/ 38 w 402"/>
                <a:gd name="T45" fmla="*/ 254 h 309"/>
                <a:gd name="T46" fmla="*/ 75 w 402"/>
                <a:gd name="T47" fmla="*/ 244 h 309"/>
                <a:gd name="T48" fmla="*/ 158 w 402"/>
                <a:gd name="T49" fmla="*/ 218 h 309"/>
                <a:gd name="T50" fmla="*/ 222 w 402"/>
                <a:gd name="T51" fmla="*/ 253 h 309"/>
                <a:gd name="T52" fmla="*/ 244 w 402"/>
                <a:gd name="T53" fmla="*/ 230 h 309"/>
                <a:gd name="T54" fmla="*/ 234 w 402"/>
                <a:gd name="T55" fmla="*/ 254 h 309"/>
                <a:gd name="T56" fmla="*/ 238 w 402"/>
                <a:gd name="T57" fmla="*/ 257 h 309"/>
                <a:gd name="T58" fmla="*/ 247 w 402"/>
                <a:gd name="T59" fmla="*/ 246 h 309"/>
                <a:gd name="T60" fmla="*/ 249 w 402"/>
                <a:gd name="T61" fmla="*/ 260 h 309"/>
                <a:gd name="T62" fmla="*/ 260 w 402"/>
                <a:gd name="T63" fmla="*/ 259 h 309"/>
                <a:gd name="T64" fmla="*/ 310 w 402"/>
                <a:gd name="T65" fmla="*/ 292 h 309"/>
                <a:gd name="T66" fmla="*/ 329 w 402"/>
                <a:gd name="T67" fmla="*/ 299 h 309"/>
                <a:gd name="T68" fmla="*/ 339 w 402"/>
                <a:gd name="T69" fmla="*/ 290 h 309"/>
                <a:gd name="T70" fmla="*/ 366 w 402"/>
                <a:gd name="T71" fmla="*/ 275 h 309"/>
                <a:gd name="T72" fmla="*/ 394 w 402"/>
                <a:gd name="T73" fmla="*/ 213 h 309"/>
                <a:gd name="T74" fmla="*/ 390 w 402"/>
                <a:gd name="T75" fmla="*/ 146 h 309"/>
                <a:gd name="T76" fmla="*/ 376 w 402"/>
                <a:gd name="T77" fmla="*/ 13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02" h="309">
                  <a:moveTo>
                    <a:pt x="376" y="131"/>
                  </a:moveTo>
                  <a:cubicBezTo>
                    <a:pt x="372" y="127"/>
                    <a:pt x="374" y="122"/>
                    <a:pt x="371" y="118"/>
                  </a:cubicBezTo>
                  <a:cubicBezTo>
                    <a:pt x="369" y="115"/>
                    <a:pt x="362" y="117"/>
                    <a:pt x="360" y="114"/>
                  </a:cubicBezTo>
                  <a:cubicBezTo>
                    <a:pt x="354" y="107"/>
                    <a:pt x="352" y="100"/>
                    <a:pt x="346" y="93"/>
                  </a:cubicBezTo>
                  <a:cubicBezTo>
                    <a:pt x="340" y="87"/>
                    <a:pt x="332" y="87"/>
                    <a:pt x="329" y="78"/>
                  </a:cubicBezTo>
                  <a:cubicBezTo>
                    <a:pt x="324" y="64"/>
                    <a:pt x="322" y="42"/>
                    <a:pt x="307" y="37"/>
                  </a:cubicBezTo>
                  <a:cubicBezTo>
                    <a:pt x="300" y="34"/>
                    <a:pt x="295" y="8"/>
                    <a:pt x="293" y="0"/>
                  </a:cubicBezTo>
                  <a:cubicBezTo>
                    <a:pt x="282" y="7"/>
                    <a:pt x="284" y="81"/>
                    <a:pt x="265" y="70"/>
                  </a:cubicBezTo>
                  <a:cubicBezTo>
                    <a:pt x="247" y="59"/>
                    <a:pt x="202" y="42"/>
                    <a:pt x="234" y="19"/>
                  </a:cubicBezTo>
                  <a:cubicBezTo>
                    <a:pt x="229" y="12"/>
                    <a:pt x="199" y="10"/>
                    <a:pt x="187" y="5"/>
                  </a:cubicBezTo>
                  <a:cubicBezTo>
                    <a:pt x="189" y="8"/>
                    <a:pt x="191" y="11"/>
                    <a:pt x="193" y="13"/>
                  </a:cubicBezTo>
                  <a:cubicBezTo>
                    <a:pt x="174" y="18"/>
                    <a:pt x="163" y="22"/>
                    <a:pt x="161" y="44"/>
                  </a:cubicBezTo>
                  <a:cubicBezTo>
                    <a:pt x="159" y="44"/>
                    <a:pt x="150" y="45"/>
                    <a:pt x="148" y="45"/>
                  </a:cubicBezTo>
                  <a:cubicBezTo>
                    <a:pt x="144" y="17"/>
                    <a:pt x="116" y="44"/>
                    <a:pt x="112" y="59"/>
                  </a:cubicBezTo>
                  <a:cubicBezTo>
                    <a:pt x="110" y="58"/>
                    <a:pt x="107" y="57"/>
                    <a:pt x="105" y="56"/>
                  </a:cubicBezTo>
                  <a:cubicBezTo>
                    <a:pt x="104" y="59"/>
                    <a:pt x="102" y="63"/>
                    <a:pt x="101" y="66"/>
                  </a:cubicBezTo>
                  <a:cubicBezTo>
                    <a:pt x="99" y="64"/>
                    <a:pt x="98" y="62"/>
                    <a:pt x="96" y="59"/>
                  </a:cubicBezTo>
                  <a:cubicBezTo>
                    <a:pt x="86" y="85"/>
                    <a:pt x="77" y="89"/>
                    <a:pt x="50" y="97"/>
                  </a:cubicBezTo>
                  <a:cubicBezTo>
                    <a:pt x="39" y="100"/>
                    <a:pt x="14" y="116"/>
                    <a:pt x="9" y="114"/>
                  </a:cubicBezTo>
                  <a:cubicBezTo>
                    <a:pt x="0" y="128"/>
                    <a:pt x="7" y="145"/>
                    <a:pt x="9" y="160"/>
                  </a:cubicBezTo>
                  <a:cubicBezTo>
                    <a:pt x="8" y="159"/>
                    <a:pt x="7" y="157"/>
                    <a:pt x="6" y="156"/>
                  </a:cubicBezTo>
                  <a:cubicBezTo>
                    <a:pt x="3" y="175"/>
                    <a:pt x="24" y="203"/>
                    <a:pt x="27" y="223"/>
                  </a:cubicBezTo>
                  <a:cubicBezTo>
                    <a:pt x="30" y="239"/>
                    <a:pt x="11" y="249"/>
                    <a:pt x="38" y="254"/>
                  </a:cubicBezTo>
                  <a:cubicBezTo>
                    <a:pt x="52" y="256"/>
                    <a:pt x="62" y="248"/>
                    <a:pt x="75" y="244"/>
                  </a:cubicBezTo>
                  <a:cubicBezTo>
                    <a:pt x="103" y="237"/>
                    <a:pt x="129" y="232"/>
                    <a:pt x="158" y="218"/>
                  </a:cubicBezTo>
                  <a:cubicBezTo>
                    <a:pt x="189" y="203"/>
                    <a:pt x="209" y="232"/>
                    <a:pt x="222" y="253"/>
                  </a:cubicBezTo>
                  <a:cubicBezTo>
                    <a:pt x="233" y="248"/>
                    <a:pt x="237" y="238"/>
                    <a:pt x="244" y="230"/>
                  </a:cubicBezTo>
                  <a:cubicBezTo>
                    <a:pt x="245" y="239"/>
                    <a:pt x="242" y="248"/>
                    <a:pt x="234" y="254"/>
                  </a:cubicBezTo>
                  <a:cubicBezTo>
                    <a:pt x="235" y="255"/>
                    <a:pt x="237" y="256"/>
                    <a:pt x="238" y="257"/>
                  </a:cubicBezTo>
                  <a:cubicBezTo>
                    <a:pt x="241" y="252"/>
                    <a:pt x="246" y="252"/>
                    <a:pt x="247" y="246"/>
                  </a:cubicBezTo>
                  <a:cubicBezTo>
                    <a:pt x="247" y="251"/>
                    <a:pt x="250" y="254"/>
                    <a:pt x="249" y="260"/>
                  </a:cubicBezTo>
                  <a:cubicBezTo>
                    <a:pt x="252" y="259"/>
                    <a:pt x="256" y="261"/>
                    <a:pt x="260" y="259"/>
                  </a:cubicBezTo>
                  <a:cubicBezTo>
                    <a:pt x="268" y="280"/>
                    <a:pt x="282" y="309"/>
                    <a:pt x="310" y="292"/>
                  </a:cubicBezTo>
                  <a:cubicBezTo>
                    <a:pt x="315" y="289"/>
                    <a:pt x="323" y="296"/>
                    <a:pt x="329" y="299"/>
                  </a:cubicBezTo>
                  <a:cubicBezTo>
                    <a:pt x="333" y="301"/>
                    <a:pt x="334" y="293"/>
                    <a:pt x="339" y="290"/>
                  </a:cubicBezTo>
                  <a:cubicBezTo>
                    <a:pt x="349" y="285"/>
                    <a:pt x="360" y="284"/>
                    <a:pt x="366" y="275"/>
                  </a:cubicBezTo>
                  <a:cubicBezTo>
                    <a:pt x="368" y="251"/>
                    <a:pt x="386" y="234"/>
                    <a:pt x="394" y="213"/>
                  </a:cubicBezTo>
                  <a:cubicBezTo>
                    <a:pt x="401" y="194"/>
                    <a:pt x="402" y="164"/>
                    <a:pt x="390" y="146"/>
                  </a:cubicBezTo>
                  <a:cubicBezTo>
                    <a:pt x="388" y="142"/>
                    <a:pt x="381" y="136"/>
                    <a:pt x="376" y="13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Freeform 37"/>
            <p:cNvSpPr>
              <a:spLocks/>
            </p:cNvSpPr>
            <p:nvPr/>
          </p:nvSpPr>
          <p:spPr bwMode="auto">
            <a:xfrm>
              <a:off x="5596" y="2961"/>
              <a:ext cx="13" cy="10"/>
            </a:xfrm>
            <a:custGeom>
              <a:avLst/>
              <a:gdLst>
                <a:gd name="T0" fmla="*/ 0 w 7"/>
                <a:gd name="T1" fmla="*/ 6 h 6"/>
                <a:gd name="T2" fmla="*/ 7 w 7"/>
                <a:gd name="T3" fmla="*/ 0 h 6"/>
                <a:gd name="T4" fmla="*/ 0 w 7"/>
                <a:gd name="T5" fmla="*/ 0 h 6"/>
                <a:gd name="T6" fmla="*/ 0 w 7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6"/>
                  </a:moveTo>
                  <a:cubicBezTo>
                    <a:pt x="2" y="4"/>
                    <a:pt x="4" y="2"/>
                    <a:pt x="7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4"/>
                    <a:pt x="0" y="6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38"/>
            <p:cNvSpPr>
              <a:spLocks/>
            </p:cNvSpPr>
            <p:nvPr/>
          </p:nvSpPr>
          <p:spPr bwMode="auto">
            <a:xfrm>
              <a:off x="5563" y="2828"/>
              <a:ext cx="172" cy="136"/>
            </a:xfrm>
            <a:custGeom>
              <a:avLst/>
              <a:gdLst>
                <a:gd name="T0" fmla="*/ 75 w 97"/>
                <a:gd name="T1" fmla="*/ 8 h 77"/>
                <a:gd name="T2" fmla="*/ 70 w 97"/>
                <a:gd name="T3" fmla="*/ 0 h 77"/>
                <a:gd name="T4" fmla="*/ 55 w 97"/>
                <a:gd name="T5" fmla="*/ 20 h 77"/>
                <a:gd name="T6" fmla="*/ 16 w 97"/>
                <a:gd name="T7" fmla="*/ 53 h 77"/>
                <a:gd name="T8" fmla="*/ 42 w 97"/>
                <a:gd name="T9" fmla="*/ 71 h 77"/>
                <a:gd name="T10" fmla="*/ 55 w 97"/>
                <a:gd name="T11" fmla="*/ 50 h 77"/>
                <a:gd name="T12" fmla="*/ 71 w 97"/>
                <a:gd name="T13" fmla="*/ 34 h 77"/>
                <a:gd name="T14" fmla="*/ 75 w 97"/>
                <a:gd name="T15" fmla="*/ 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77">
                  <a:moveTo>
                    <a:pt x="75" y="8"/>
                  </a:moveTo>
                  <a:cubicBezTo>
                    <a:pt x="74" y="5"/>
                    <a:pt x="72" y="3"/>
                    <a:pt x="70" y="0"/>
                  </a:cubicBezTo>
                  <a:cubicBezTo>
                    <a:pt x="64" y="6"/>
                    <a:pt x="60" y="14"/>
                    <a:pt x="55" y="20"/>
                  </a:cubicBezTo>
                  <a:cubicBezTo>
                    <a:pt x="45" y="35"/>
                    <a:pt x="28" y="41"/>
                    <a:pt x="16" y="53"/>
                  </a:cubicBezTo>
                  <a:cubicBezTo>
                    <a:pt x="0" y="68"/>
                    <a:pt x="31" y="77"/>
                    <a:pt x="42" y="71"/>
                  </a:cubicBezTo>
                  <a:cubicBezTo>
                    <a:pt x="50" y="66"/>
                    <a:pt x="49" y="56"/>
                    <a:pt x="55" y="50"/>
                  </a:cubicBezTo>
                  <a:cubicBezTo>
                    <a:pt x="60" y="45"/>
                    <a:pt x="71" y="38"/>
                    <a:pt x="71" y="34"/>
                  </a:cubicBezTo>
                  <a:cubicBezTo>
                    <a:pt x="71" y="28"/>
                    <a:pt x="97" y="0"/>
                    <a:pt x="75" y="8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39"/>
            <p:cNvSpPr>
              <a:spLocks/>
            </p:cNvSpPr>
            <p:nvPr/>
          </p:nvSpPr>
          <p:spPr bwMode="auto">
            <a:xfrm>
              <a:off x="5688" y="2702"/>
              <a:ext cx="109" cy="149"/>
            </a:xfrm>
            <a:custGeom>
              <a:avLst/>
              <a:gdLst>
                <a:gd name="T0" fmla="*/ 29 w 61"/>
                <a:gd name="T1" fmla="*/ 25 h 84"/>
                <a:gd name="T2" fmla="*/ 0 w 61"/>
                <a:gd name="T3" fmla="*/ 0 h 84"/>
                <a:gd name="T4" fmla="*/ 18 w 61"/>
                <a:gd name="T5" fmla="*/ 31 h 84"/>
                <a:gd name="T6" fmla="*/ 10 w 61"/>
                <a:gd name="T7" fmla="*/ 56 h 84"/>
                <a:gd name="T8" fmla="*/ 28 w 61"/>
                <a:gd name="T9" fmla="*/ 79 h 84"/>
                <a:gd name="T10" fmla="*/ 44 w 61"/>
                <a:gd name="T11" fmla="*/ 56 h 84"/>
                <a:gd name="T12" fmla="*/ 55 w 61"/>
                <a:gd name="T13" fmla="*/ 37 h 84"/>
                <a:gd name="T14" fmla="*/ 29 w 61"/>
                <a:gd name="T15" fmla="*/ 2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84">
                  <a:moveTo>
                    <a:pt x="29" y="25"/>
                  </a:moveTo>
                  <a:cubicBezTo>
                    <a:pt x="20" y="32"/>
                    <a:pt x="11" y="7"/>
                    <a:pt x="0" y="0"/>
                  </a:cubicBezTo>
                  <a:cubicBezTo>
                    <a:pt x="3" y="14"/>
                    <a:pt x="15" y="18"/>
                    <a:pt x="18" y="31"/>
                  </a:cubicBezTo>
                  <a:cubicBezTo>
                    <a:pt x="20" y="35"/>
                    <a:pt x="18" y="49"/>
                    <a:pt x="10" y="56"/>
                  </a:cubicBezTo>
                  <a:cubicBezTo>
                    <a:pt x="23" y="62"/>
                    <a:pt x="18" y="84"/>
                    <a:pt x="28" y="79"/>
                  </a:cubicBezTo>
                  <a:cubicBezTo>
                    <a:pt x="37" y="74"/>
                    <a:pt x="38" y="60"/>
                    <a:pt x="44" y="56"/>
                  </a:cubicBezTo>
                  <a:cubicBezTo>
                    <a:pt x="46" y="55"/>
                    <a:pt x="61" y="41"/>
                    <a:pt x="55" y="37"/>
                  </a:cubicBezTo>
                  <a:cubicBezTo>
                    <a:pt x="47" y="31"/>
                    <a:pt x="30" y="47"/>
                    <a:pt x="29" y="25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40"/>
            <p:cNvSpPr>
              <a:spLocks/>
            </p:cNvSpPr>
            <p:nvPr/>
          </p:nvSpPr>
          <p:spPr bwMode="auto">
            <a:xfrm>
              <a:off x="5765" y="2380"/>
              <a:ext cx="26" cy="16"/>
            </a:xfrm>
            <a:custGeom>
              <a:avLst/>
              <a:gdLst>
                <a:gd name="T0" fmla="*/ 7 w 15"/>
                <a:gd name="T1" fmla="*/ 0 h 9"/>
                <a:gd name="T2" fmla="*/ 0 w 15"/>
                <a:gd name="T3" fmla="*/ 6 h 9"/>
                <a:gd name="T4" fmla="*/ 7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7" y="0"/>
                  </a:moveTo>
                  <a:cubicBezTo>
                    <a:pt x="5" y="2"/>
                    <a:pt x="2" y="4"/>
                    <a:pt x="0" y="6"/>
                  </a:cubicBezTo>
                  <a:cubicBezTo>
                    <a:pt x="9" y="9"/>
                    <a:pt x="15" y="8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41"/>
            <p:cNvSpPr>
              <a:spLocks/>
            </p:cNvSpPr>
            <p:nvPr/>
          </p:nvSpPr>
          <p:spPr bwMode="auto">
            <a:xfrm>
              <a:off x="5788" y="2363"/>
              <a:ext cx="19" cy="12"/>
            </a:xfrm>
            <a:custGeom>
              <a:avLst/>
              <a:gdLst>
                <a:gd name="T0" fmla="*/ 2 w 11"/>
                <a:gd name="T1" fmla="*/ 7 h 7"/>
                <a:gd name="T2" fmla="*/ 11 w 11"/>
                <a:gd name="T3" fmla="*/ 0 h 7"/>
                <a:gd name="T4" fmla="*/ 0 w 11"/>
                <a:gd name="T5" fmla="*/ 4 h 7"/>
                <a:gd name="T6" fmla="*/ 2 w 11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7">
                  <a:moveTo>
                    <a:pt x="2" y="7"/>
                  </a:moveTo>
                  <a:cubicBezTo>
                    <a:pt x="8" y="6"/>
                    <a:pt x="9" y="1"/>
                    <a:pt x="11" y="0"/>
                  </a:cubicBezTo>
                  <a:cubicBezTo>
                    <a:pt x="7" y="1"/>
                    <a:pt x="4" y="3"/>
                    <a:pt x="0" y="4"/>
                  </a:cubicBezTo>
                  <a:cubicBezTo>
                    <a:pt x="1" y="5"/>
                    <a:pt x="2" y="6"/>
                    <a:pt x="2" y="7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42"/>
            <p:cNvSpPr>
              <a:spLocks/>
            </p:cNvSpPr>
            <p:nvPr/>
          </p:nvSpPr>
          <p:spPr bwMode="auto">
            <a:xfrm>
              <a:off x="4880" y="196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43"/>
            <p:cNvSpPr>
              <a:spLocks/>
            </p:cNvSpPr>
            <p:nvPr/>
          </p:nvSpPr>
          <p:spPr bwMode="auto">
            <a:xfrm>
              <a:off x="4798" y="1901"/>
              <a:ext cx="94" cy="75"/>
            </a:xfrm>
            <a:custGeom>
              <a:avLst/>
              <a:gdLst>
                <a:gd name="T0" fmla="*/ 38 w 53"/>
                <a:gd name="T1" fmla="*/ 0 h 42"/>
                <a:gd name="T2" fmla="*/ 8 w 53"/>
                <a:gd name="T3" fmla="*/ 35 h 42"/>
                <a:gd name="T4" fmla="*/ 14 w 53"/>
                <a:gd name="T5" fmla="*/ 22 h 42"/>
                <a:gd name="T6" fmla="*/ 38 w 53"/>
                <a:gd name="T7" fmla="*/ 42 h 42"/>
                <a:gd name="T8" fmla="*/ 43 w 53"/>
                <a:gd name="T9" fmla="*/ 30 h 42"/>
                <a:gd name="T10" fmla="*/ 46 w 53"/>
                <a:gd name="T11" fmla="*/ 36 h 42"/>
                <a:gd name="T12" fmla="*/ 38 w 53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42">
                  <a:moveTo>
                    <a:pt x="38" y="0"/>
                  </a:moveTo>
                  <a:cubicBezTo>
                    <a:pt x="34" y="24"/>
                    <a:pt x="0" y="4"/>
                    <a:pt x="8" y="35"/>
                  </a:cubicBezTo>
                  <a:cubicBezTo>
                    <a:pt x="9" y="31"/>
                    <a:pt x="12" y="27"/>
                    <a:pt x="14" y="22"/>
                  </a:cubicBezTo>
                  <a:cubicBezTo>
                    <a:pt x="31" y="22"/>
                    <a:pt x="20" y="36"/>
                    <a:pt x="38" y="42"/>
                  </a:cubicBezTo>
                  <a:cubicBezTo>
                    <a:pt x="38" y="35"/>
                    <a:pt x="38" y="29"/>
                    <a:pt x="43" y="30"/>
                  </a:cubicBezTo>
                  <a:cubicBezTo>
                    <a:pt x="41" y="25"/>
                    <a:pt x="46" y="35"/>
                    <a:pt x="46" y="36"/>
                  </a:cubicBezTo>
                  <a:cubicBezTo>
                    <a:pt x="53" y="25"/>
                    <a:pt x="48" y="7"/>
                    <a:pt x="38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44"/>
            <p:cNvSpPr>
              <a:spLocks/>
            </p:cNvSpPr>
            <p:nvPr/>
          </p:nvSpPr>
          <p:spPr bwMode="auto">
            <a:xfrm>
              <a:off x="4736" y="1882"/>
              <a:ext cx="36" cy="41"/>
            </a:xfrm>
            <a:custGeom>
              <a:avLst/>
              <a:gdLst>
                <a:gd name="T0" fmla="*/ 1 w 20"/>
                <a:gd name="T1" fmla="*/ 23 h 23"/>
                <a:gd name="T2" fmla="*/ 18 w 20"/>
                <a:gd name="T3" fmla="*/ 0 h 23"/>
                <a:gd name="T4" fmla="*/ 1 w 20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3">
                  <a:moveTo>
                    <a:pt x="1" y="23"/>
                  </a:moveTo>
                  <a:cubicBezTo>
                    <a:pt x="10" y="16"/>
                    <a:pt x="20" y="8"/>
                    <a:pt x="18" y="0"/>
                  </a:cubicBezTo>
                  <a:cubicBezTo>
                    <a:pt x="14" y="9"/>
                    <a:pt x="0" y="17"/>
                    <a:pt x="1" y="23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45"/>
            <p:cNvSpPr>
              <a:spLocks/>
            </p:cNvSpPr>
            <p:nvPr/>
          </p:nvSpPr>
          <p:spPr bwMode="auto">
            <a:xfrm>
              <a:off x="4763" y="1749"/>
              <a:ext cx="74" cy="106"/>
            </a:xfrm>
            <a:custGeom>
              <a:avLst/>
              <a:gdLst>
                <a:gd name="T0" fmla="*/ 13 w 42"/>
                <a:gd name="T1" fmla="*/ 38 h 60"/>
                <a:gd name="T2" fmla="*/ 29 w 42"/>
                <a:gd name="T3" fmla="*/ 54 h 60"/>
                <a:gd name="T4" fmla="*/ 29 w 42"/>
                <a:gd name="T5" fmla="*/ 48 h 60"/>
                <a:gd name="T6" fmla="*/ 42 w 42"/>
                <a:gd name="T7" fmla="*/ 60 h 60"/>
                <a:gd name="T8" fmla="*/ 37 w 42"/>
                <a:gd name="T9" fmla="*/ 52 h 60"/>
                <a:gd name="T10" fmla="*/ 39 w 42"/>
                <a:gd name="T11" fmla="*/ 48 h 60"/>
                <a:gd name="T12" fmla="*/ 24 w 42"/>
                <a:gd name="T13" fmla="*/ 47 h 60"/>
                <a:gd name="T14" fmla="*/ 17 w 42"/>
                <a:gd name="T15" fmla="*/ 2 h 60"/>
                <a:gd name="T16" fmla="*/ 8 w 42"/>
                <a:gd name="T17" fmla="*/ 0 h 60"/>
                <a:gd name="T18" fmla="*/ 4 w 42"/>
                <a:gd name="T19" fmla="*/ 24 h 60"/>
                <a:gd name="T20" fmla="*/ 13 w 42"/>
                <a:gd name="T21" fmla="*/ 3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60">
                  <a:moveTo>
                    <a:pt x="13" y="38"/>
                  </a:moveTo>
                  <a:cubicBezTo>
                    <a:pt x="10" y="49"/>
                    <a:pt x="20" y="48"/>
                    <a:pt x="29" y="54"/>
                  </a:cubicBezTo>
                  <a:cubicBezTo>
                    <a:pt x="29" y="52"/>
                    <a:pt x="29" y="50"/>
                    <a:pt x="29" y="48"/>
                  </a:cubicBezTo>
                  <a:cubicBezTo>
                    <a:pt x="33" y="53"/>
                    <a:pt x="38" y="55"/>
                    <a:pt x="42" y="60"/>
                  </a:cubicBezTo>
                  <a:cubicBezTo>
                    <a:pt x="41" y="53"/>
                    <a:pt x="41" y="56"/>
                    <a:pt x="37" y="52"/>
                  </a:cubicBezTo>
                  <a:cubicBezTo>
                    <a:pt x="38" y="51"/>
                    <a:pt x="38" y="50"/>
                    <a:pt x="39" y="48"/>
                  </a:cubicBezTo>
                  <a:cubicBezTo>
                    <a:pt x="33" y="46"/>
                    <a:pt x="28" y="45"/>
                    <a:pt x="24" y="47"/>
                  </a:cubicBezTo>
                  <a:cubicBezTo>
                    <a:pt x="10" y="35"/>
                    <a:pt x="26" y="18"/>
                    <a:pt x="17" y="2"/>
                  </a:cubicBezTo>
                  <a:cubicBezTo>
                    <a:pt x="16" y="2"/>
                    <a:pt x="10" y="0"/>
                    <a:pt x="8" y="0"/>
                  </a:cubicBezTo>
                  <a:cubicBezTo>
                    <a:pt x="4" y="8"/>
                    <a:pt x="5" y="15"/>
                    <a:pt x="4" y="24"/>
                  </a:cubicBezTo>
                  <a:cubicBezTo>
                    <a:pt x="0" y="34"/>
                    <a:pt x="4" y="40"/>
                    <a:pt x="13" y="38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46"/>
            <p:cNvSpPr>
              <a:spLocks/>
            </p:cNvSpPr>
            <p:nvPr/>
          </p:nvSpPr>
          <p:spPr bwMode="auto">
            <a:xfrm>
              <a:off x="4843" y="1853"/>
              <a:ext cx="25" cy="45"/>
            </a:xfrm>
            <a:custGeom>
              <a:avLst/>
              <a:gdLst>
                <a:gd name="T0" fmla="*/ 0 w 14"/>
                <a:gd name="T1" fmla="*/ 3 h 25"/>
                <a:gd name="T2" fmla="*/ 7 w 14"/>
                <a:gd name="T3" fmla="*/ 11 h 25"/>
                <a:gd name="T4" fmla="*/ 1 w 14"/>
                <a:gd name="T5" fmla="*/ 13 h 25"/>
                <a:gd name="T6" fmla="*/ 7 w 14"/>
                <a:gd name="T7" fmla="*/ 25 h 25"/>
                <a:gd name="T8" fmla="*/ 10 w 14"/>
                <a:gd name="T9" fmla="*/ 25 h 25"/>
                <a:gd name="T10" fmla="*/ 12 w 14"/>
                <a:gd name="T11" fmla="*/ 17 h 25"/>
                <a:gd name="T12" fmla="*/ 0 w 14"/>
                <a:gd name="T13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5">
                  <a:moveTo>
                    <a:pt x="0" y="3"/>
                  </a:moveTo>
                  <a:cubicBezTo>
                    <a:pt x="2" y="6"/>
                    <a:pt x="4" y="9"/>
                    <a:pt x="7" y="11"/>
                  </a:cubicBezTo>
                  <a:cubicBezTo>
                    <a:pt x="6" y="12"/>
                    <a:pt x="2" y="13"/>
                    <a:pt x="1" y="13"/>
                  </a:cubicBezTo>
                  <a:cubicBezTo>
                    <a:pt x="3" y="16"/>
                    <a:pt x="5" y="22"/>
                    <a:pt x="7" y="25"/>
                  </a:cubicBezTo>
                  <a:cubicBezTo>
                    <a:pt x="8" y="25"/>
                    <a:pt x="9" y="25"/>
                    <a:pt x="10" y="25"/>
                  </a:cubicBezTo>
                  <a:cubicBezTo>
                    <a:pt x="6" y="17"/>
                    <a:pt x="12" y="19"/>
                    <a:pt x="12" y="17"/>
                  </a:cubicBezTo>
                  <a:cubicBezTo>
                    <a:pt x="14" y="8"/>
                    <a:pt x="10" y="0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47"/>
            <p:cNvSpPr>
              <a:spLocks/>
            </p:cNvSpPr>
            <p:nvPr/>
          </p:nvSpPr>
          <p:spPr bwMode="auto">
            <a:xfrm>
              <a:off x="4802" y="1868"/>
              <a:ext cx="23" cy="26"/>
            </a:xfrm>
            <a:custGeom>
              <a:avLst/>
              <a:gdLst>
                <a:gd name="T0" fmla="*/ 3 w 13"/>
                <a:gd name="T1" fmla="*/ 15 h 15"/>
                <a:gd name="T2" fmla="*/ 13 w 13"/>
                <a:gd name="T3" fmla="*/ 5 h 15"/>
                <a:gd name="T4" fmla="*/ 4 w 13"/>
                <a:gd name="T5" fmla="*/ 0 h 15"/>
                <a:gd name="T6" fmla="*/ 6 w 13"/>
                <a:gd name="T7" fmla="*/ 1 h 15"/>
                <a:gd name="T8" fmla="*/ 3 w 13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3" y="15"/>
                  </a:moveTo>
                  <a:cubicBezTo>
                    <a:pt x="8" y="12"/>
                    <a:pt x="10" y="10"/>
                    <a:pt x="13" y="5"/>
                  </a:cubicBezTo>
                  <a:cubicBezTo>
                    <a:pt x="10" y="4"/>
                    <a:pt x="7" y="2"/>
                    <a:pt x="4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3" y="3"/>
                    <a:pt x="0" y="6"/>
                    <a:pt x="3" y="15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48"/>
            <p:cNvSpPr>
              <a:spLocks/>
            </p:cNvSpPr>
            <p:nvPr/>
          </p:nvSpPr>
          <p:spPr bwMode="auto">
            <a:xfrm>
              <a:off x="4818" y="1885"/>
              <a:ext cx="27" cy="32"/>
            </a:xfrm>
            <a:custGeom>
              <a:avLst/>
              <a:gdLst>
                <a:gd name="T0" fmla="*/ 10 w 15"/>
                <a:gd name="T1" fmla="*/ 3 h 18"/>
                <a:gd name="T2" fmla="*/ 6 w 15"/>
                <a:gd name="T3" fmla="*/ 0 h 18"/>
                <a:gd name="T4" fmla="*/ 0 w 15"/>
                <a:gd name="T5" fmla="*/ 10 h 18"/>
                <a:gd name="T6" fmla="*/ 6 w 15"/>
                <a:gd name="T7" fmla="*/ 18 h 18"/>
                <a:gd name="T8" fmla="*/ 9 w 15"/>
                <a:gd name="T9" fmla="*/ 10 h 18"/>
                <a:gd name="T10" fmla="*/ 9 w 15"/>
                <a:gd name="T11" fmla="*/ 11 h 18"/>
                <a:gd name="T12" fmla="*/ 15 w 15"/>
                <a:gd name="T13" fmla="*/ 0 h 18"/>
                <a:gd name="T14" fmla="*/ 10 w 15"/>
                <a:gd name="T15" fmla="*/ 6 h 18"/>
                <a:gd name="T16" fmla="*/ 10 w 15"/>
                <a:gd name="T17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0" y="3"/>
                  </a:moveTo>
                  <a:cubicBezTo>
                    <a:pt x="9" y="2"/>
                    <a:pt x="7" y="1"/>
                    <a:pt x="6" y="0"/>
                  </a:cubicBezTo>
                  <a:cubicBezTo>
                    <a:pt x="5" y="1"/>
                    <a:pt x="0" y="8"/>
                    <a:pt x="0" y="10"/>
                  </a:cubicBezTo>
                  <a:cubicBezTo>
                    <a:pt x="2" y="13"/>
                    <a:pt x="4" y="15"/>
                    <a:pt x="6" y="18"/>
                  </a:cubicBezTo>
                  <a:cubicBezTo>
                    <a:pt x="7" y="16"/>
                    <a:pt x="8" y="13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2" y="9"/>
                    <a:pt x="13" y="4"/>
                    <a:pt x="15" y="0"/>
                  </a:cubicBezTo>
                  <a:cubicBezTo>
                    <a:pt x="14" y="1"/>
                    <a:pt x="11" y="3"/>
                    <a:pt x="10" y="6"/>
                  </a:cubicBezTo>
                  <a:cubicBezTo>
                    <a:pt x="10" y="5"/>
                    <a:pt x="10" y="4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49"/>
            <p:cNvSpPr>
              <a:spLocks/>
            </p:cNvSpPr>
            <p:nvPr/>
          </p:nvSpPr>
          <p:spPr bwMode="auto">
            <a:xfrm>
              <a:off x="4839" y="1898"/>
              <a:ext cx="13" cy="12"/>
            </a:xfrm>
            <a:custGeom>
              <a:avLst/>
              <a:gdLst>
                <a:gd name="T0" fmla="*/ 7 w 7"/>
                <a:gd name="T1" fmla="*/ 1 h 7"/>
                <a:gd name="T2" fmla="*/ 0 w 7"/>
                <a:gd name="T3" fmla="*/ 5 h 7"/>
                <a:gd name="T4" fmla="*/ 7 w 7"/>
                <a:gd name="T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7" y="1"/>
                  </a:moveTo>
                  <a:cubicBezTo>
                    <a:pt x="4" y="2"/>
                    <a:pt x="1" y="0"/>
                    <a:pt x="0" y="5"/>
                  </a:cubicBezTo>
                  <a:cubicBezTo>
                    <a:pt x="4" y="7"/>
                    <a:pt x="3" y="3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50"/>
            <p:cNvSpPr>
              <a:spLocks/>
            </p:cNvSpPr>
            <p:nvPr/>
          </p:nvSpPr>
          <p:spPr bwMode="auto">
            <a:xfrm>
              <a:off x="4825" y="1848"/>
              <a:ext cx="14" cy="21"/>
            </a:xfrm>
            <a:custGeom>
              <a:avLst/>
              <a:gdLst>
                <a:gd name="T0" fmla="*/ 0 w 8"/>
                <a:gd name="T1" fmla="*/ 9 h 12"/>
                <a:gd name="T2" fmla="*/ 8 w 8"/>
                <a:gd name="T3" fmla="*/ 12 h 12"/>
                <a:gd name="T4" fmla="*/ 0 w 8"/>
                <a:gd name="T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2">
                  <a:moveTo>
                    <a:pt x="0" y="9"/>
                  </a:moveTo>
                  <a:cubicBezTo>
                    <a:pt x="4" y="10"/>
                    <a:pt x="5" y="8"/>
                    <a:pt x="8" y="12"/>
                  </a:cubicBezTo>
                  <a:cubicBezTo>
                    <a:pt x="2" y="0"/>
                    <a:pt x="4" y="6"/>
                    <a:pt x="0" y="9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51"/>
            <p:cNvSpPr>
              <a:spLocks/>
            </p:cNvSpPr>
            <p:nvPr/>
          </p:nvSpPr>
          <p:spPr bwMode="auto">
            <a:xfrm>
              <a:off x="4779" y="1839"/>
              <a:ext cx="18" cy="20"/>
            </a:xfrm>
            <a:custGeom>
              <a:avLst/>
              <a:gdLst>
                <a:gd name="T0" fmla="*/ 0 w 10"/>
                <a:gd name="T1" fmla="*/ 0 h 11"/>
                <a:gd name="T2" fmla="*/ 9 w 10"/>
                <a:gd name="T3" fmla="*/ 11 h 11"/>
                <a:gd name="T4" fmla="*/ 0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0" y="0"/>
                  </a:moveTo>
                  <a:cubicBezTo>
                    <a:pt x="2" y="4"/>
                    <a:pt x="5" y="8"/>
                    <a:pt x="9" y="11"/>
                  </a:cubicBezTo>
                  <a:cubicBezTo>
                    <a:pt x="8" y="5"/>
                    <a:pt x="10" y="1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52"/>
            <p:cNvSpPr>
              <a:spLocks/>
            </p:cNvSpPr>
            <p:nvPr/>
          </p:nvSpPr>
          <p:spPr bwMode="auto">
            <a:xfrm>
              <a:off x="4765" y="1607"/>
              <a:ext cx="39" cy="55"/>
            </a:xfrm>
            <a:custGeom>
              <a:avLst/>
              <a:gdLst>
                <a:gd name="T0" fmla="*/ 16 w 22"/>
                <a:gd name="T1" fmla="*/ 0 h 31"/>
                <a:gd name="T2" fmla="*/ 9 w 22"/>
                <a:gd name="T3" fmla="*/ 31 h 31"/>
                <a:gd name="T4" fmla="*/ 16 w 22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31">
                  <a:moveTo>
                    <a:pt x="16" y="0"/>
                  </a:moveTo>
                  <a:cubicBezTo>
                    <a:pt x="5" y="7"/>
                    <a:pt x="0" y="20"/>
                    <a:pt x="9" y="31"/>
                  </a:cubicBezTo>
                  <a:cubicBezTo>
                    <a:pt x="18" y="24"/>
                    <a:pt x="22" y="10"/>
                    <a:pt x="16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Freeform 53"/>
            <p:cNvSpPr>
              <a:spLocks/>
            </p:cNvSpPr>
            <p:nvPr/>
          </p:nvSpPr>
          <p:spPr bwMode="auto">
            <a:xfrm>
              <a:off x="4571" y="1674"/>
              <a:ext cx="82" cy="96"/>
            </a:xfrm>
            <a:custGeom>
              <a:avLst/>
              <a:gdLst>
                <a:gd name="T0" fmla="*/ 0 w 46"/>
                <a:gd name="T1" fmla="*/ 24 h 54"/>
                <a:gd name="T2" fmla="*/ 0 w 46"/>
                <a:gd name="T3" fmla="*/ 2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6" h="54">
                  <a:moveTo>
                    <a:pt x="0" y="24"/>
                  </a:moveTo>
                  <a:cubicBezTo>
                    <a:pt x="2" y="54"/>
                    <a:pt x="46" y="0"/>
                    <a:pt x="0" y="2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Freeform 54"/>
            <p:cNvSpPr>
              <a:spLocks/>
            </p:cNvSpPr>
            <p:nvPr/>
          </p:nvSpPr>
          <p:spPr bwMode="auto">
            <a:xfrm>
              <a:off x="4513" y="2084"/>
              <a:ext cx="28" cy="28"/>
            </a:xfrm>
            <a:custGeom>
              <a:avLst/>
              <a:gdLst>
                <a:gd name="T0" fmla="*/ 9 w 16"/>
                <a:gd name="T1" fmla="*/ 14 h 16"/>
                <a:gd name="T2" fmla="*/ 16 w 16"/>
                <a:gd name="T3" fmla="*/ 16 h 16"/>
                <a:gd name="T4" fmla="*/ 7 w 16"/>
                <a:gd name="T5" fmla="*/ 0 h 16"/>
                <a:gd name="T6" fmla="*/ 0 w 16"/>
                <a:gd name="T7" fmla="*/ 5 h 16"/>
                <a:gd name="T8" fmla="*/ 9 w 16"/>
                <a:gd name="T9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9" y="14"/>
                  </a:moveTo>
                  <a:cubicBezTo>
                    <a:pt x="12" y="14"/>
                    <a:pt x="13" y="16"/>
                    <a:pt x="16" y="16"/>
                  </a:cubicBezTo>
                  <a:cubicBezTo>
                    <a:pt x="14" y="11"/>
                    <a:pt x="10" y="4"/>
                    <a:pt x="7" y="0"/>
                  </a:cubicBezTo>
                  <a:cubicBezTo>
                    <a:pt x="5" y="2"/>
                    <a:pt x="2" y="3"/>
                    <a:pt x="0" y="5"/>
                  </a:cubicBezTo>
                  <a:cubicBezTo>
                    <a:pt x="6" y="7"/>
                    <a:pt x="6" y="11"/>
                    <a:pt x="9" y="1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Freeform 55"/>
            <p:cNvSpPr>
              <a:spLocks/>
            </p:cNvSpPr>
            <p:nvPr/>
          </p:nvSpPr>
          <p:spPr bwMode="auto">
            <a:xfrm>
              <a:off x="4557" y="2105"/>
              <a:ext cx="11" cy="11"/>
            </a:xfrm>
            <a:custGeom>
              <a:avLst/>
              <a:gdLst>
                <a:gd name="T0" fmla="*/ 0 w 6"/>
                <a:gd name="T1" fmla="*/ 0 h 6"/>
                <a:gd name="T2" fmla="*/ 3 w 6"/>
                <a:gd name="T3" fmla="*/ 6 h 6"/>
                <a:gd name="T4" fmla="*/ 6 w 6"/>
                <a:gd name="T5" fmla="*/ 2 h 6"/>
                <a:gd name="T6" fmla="*/ 0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cubicBezTo>
                    <a:pt x="0" y="0"/>
                    <a:pt x="2" y="5"/>
                    <a:pt x="3" y="6"/>
                  </a:cubicBezTo>
                  <a:cubicBezTo>
                    <a:pt x="4" y="4"/>
                    <a:pt x="5" y="3"/>
                    <a:pt x="6" y="2"/>
                  </a:cubicBezTo>
                  <a:cubicBezTo>
                    <a:pt x="4" y="0"/>
                    <a:pt x="1" y="1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56"/>
            <p:cNvSpPr>
              <a:spLocks/>
            </p:cNvSpPr>
            <p:nvPr/>
          </p:nvSpPr>
          <p:spPr bwMode="auto">
            <a:xfrm>
              <a:off x="4401" y="2079"/>
              <a:ext cx="11" cy="16"/>
            </a:xfrm>
            <a:custGeom>
              <a:avLst/>
              <a:gdLst>
                <a:gd name="T0" fmla="*/ 0 w 6"/>
                <a:gd name="T1" fmla="*/ 0 h 9"/>
                <a:gd name="T2" fmla="*/ 6 w 6"/>
                <a:gd name="T3" fmla="*/ 9 h 9"/>
                <a:gd name="T4" fmla="*/ 2 w 6"/>
                <a:gd name="T5" fmla="*/ 0 h 9"/>
                <a:gd name="T6" fmla="*/ 0 w 6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9">
                  <a:moveTo>
                    <a:pt x="0" y="0"/>
                  </a:moveTo>
                  <a:cubicBezTo>
                    <a:pt x="2" y="3"/>
                    <a:pt x="4" y="6"/>
                    <a:pt x="6" y="9"/>
                  </a:cubicBezTo>
                  <a:cubicBezTo>
                    <a:pt x="5" y="6"/>
                    <a:pt x="3" y="3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57"/>
            <p:cNvSpPr>
              <a:spLocks/>
            </p:cNvSpPr>
            <p:nvPr/>
          </p:nvSpPr>
          <p:spPr bwMode="auto">
            <a:xfrm>
              <a:off x="4405" y="207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Freeform 58"/>
            <p:cNvSpPr>
              <a:spLocks/>
            </p:cNvSpPr>
            <p:nvPr/>
          </p:nvSpPr>
          <p:spPr bwMode="auto">
            <a:xfrm>
              <a:off x="4405" y="2079"/>
              <a:ext cx="2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59"/>
            <p:cNvSpPr>
              <a:spLocks/>
            </p:cNvSpPr>
            <p:nvPr/>
          </p:nvSpPr>
          <p:spPr bwMode="auto">
            <a:xfrm>
              <a:off x="4405" y="207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60"/>
            <p:cNvSpPr>
              <a:spLocks/>
            </p:cNvSpPr>
            <p:nvPr/>
          </p:nvSpPr>
          <p:spPr bwMode="auto">
            <a:xfrm>
              <a:off x="4382" y="2040"/>
              <a:ext cx="9" cy="16"/>
            </a:xfrm>
            <a:custGeom>
              <a:avLst/>
              <a:gdLst>
                <a:gd name="T0" fmla="*/ 5 w 5"/>
                <a:gd name="T1" fmla="*/ 9 h 9"/>
                <a:gd name="T2" fmla="*/ 0 w 5"/>
                <a:gd name="T3" fmla="*/ 1 h 9"/>
                <a:gd name="T4" fmla="*/ 5 w 5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9">
                  <a:moveTo>
                    <a:pt x="5" y="9"/>
                  </a:moveTo>
                  <a:cubicBezTo>
                    <a:pt x="4" y="6"/>
                    <a:pt x="2" y="3"/>
                    <a:pt x="0" y="1"/>
                  </a:cubicBezTo>
                  <a:cubicBezTo>
                    <a:pt x="0" y="0"/>
                    <a:pt x="2" y="7"/>
                    <a:pt x="5" y="9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61"/>
            <p:cNvSpPr>
              <a:spLocks/>
            </p:cNvSpPr>
            <p:nvPr/>
          </p:nvSpPr>
          <p:spPr bwMode="auto">
            <a:xfrm>
              <a:off x="4928" y="1433"/>
              <a:ext cx="60" cy="62"/>
            </a:xfrm>
            <a:custGeom>
              <a:avLst/>
              <a:gdLst>
                <a:gd name="T0" fmla="*/ 13 w 34"/>
                <a:gd name="T1" fmla="*/ 14 h 35"/>
                <a:gd name="T2" fmla="*/ 15 w 34"/>
                <a:gd name="T3" fmla="*/ 23 h 35"/>
                <a:gd name="T4" fmla="*/ 17 w 34"/>
                <a:gd name="T5" fmla="*/ 35 h 35"/>
                <a:gd name="T6" fmla="*/ 25 w 34"/>
                <a:gd name="T7" fmla="*/ 9 h 35"/>
                <a:gd name="T8" fmla="*/ 13 w 34"/>
                <a:gd name="T9" fmla="*/ 1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5">
                  <a:moveTo>
                    <a:pt x="13" y="14"/>
                  </a:moveTo>
                  <a:cubicBezTo>
                    <a:pt x="16" y="17"/>
                    <a:pt x="16" y="19"/>
                    <a:pt x="15" y="23"/>
                  </a:cubicBezTo>
                  <a:cubicBezTo>
                    <a:pt x="13" y="30"/>
                    <a:pt x="13" y="33"/>
                    <a:pt x="17" y="35"/>
                  </a:cubicBezTo>
                  <a:cubicBezTo>
                    <a:pt x="22" y="29"/>
                    <a:pt x="34" y="14"/>
                    <a:pt x="25" y="9"/>
                  </a:cubicBezTo>
                  <a:cubicBezTo>
                    <a:pt x="12" y="0"/>
                    <a:pt x="0" y="23"/>
                    <a:pt x="13" y="1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62"/>
            <p:cNvSpPr>
              <a:spLocks/>
            </p:cNvSpPr>
            <p:nvPr/>
          </p:nvSpPr>
          <p:spPr bwMode="auto">
            <a:xfrm>
              <a:off x="4972" y="1419"/>
              <a:ext cx="64" cy="44"/>
            </a:xfrm>
            <a:custGeom>
              <a:avLst/>
              <a:gdLst>
                <a:gd name="T0" fmla="*/ 26 w 36"/>
                <a:gd name="T1" fmla="*/ 19 h 25"/>
                <a:gd name="T2" fmla="*/ 12 w 36"/>
                <a:gd name="T3" fmla="*/ 25 h 25"/>
                <a:gd name="T4" fmla="*/ 26 w 36"/>
                <a:gd name="T5" fmla="*/ 1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25">
                  <a:moveTo>
                    <a:pt x="26" y="19"/>
                  </a:moveTo>
                  <a:cubicBezTo>
                    <a:pt x="36" y="0"/>
                    <a:pt x="0" y="9"/>
                    <a:pt x="12" y="25"/>
                  </a:cubicBezTo>
                  <a:cubicBezTo>
                    <a:pt x="17" y="16"/>
                    <a:pt x="20" y="19"/>
                    <a:pt x="26" y="19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63"/>
            <p:cNvSpPr>
              <a:spLocks/>
            </p:cNvSpPr>
            <p:nvPr/>
          </p:nvSpPr>
          <p:spPr bwMode="auto">
            <a:xfrm>
              <a:off x="4960" y="1291"/>
              <a:ext cx="202" cy="158"/>
            </a:xfrm>
            <a:custGeom>
              <a:avLst/>
              <a:gdLst>
                <a:gd name="T0" fmla="*/ 30 w 114"/>
                <a:gd name="T1" fmla="*/ 66 h 89"/>
                <a:gd name="T2" fmla="*/ 0 w 114"/>
                <a:gd name="T3" fmla="*/ 82 h 89"/>
                <a:gd name="T4" fmla="*/ 44 w 114"/>
                <a:gd name="T5" fmla="*/ 86 h 89"/>
                <a:gd name="T6" fmla="*/ 60 w 114"/>
                <a:gd name="T7" fmla="*/ 80 h 89"/>
                <a:gd name="T8" fmla="*/ 59 w 114"/>
                <a:gd name="T9" fmla="*/ 72 h 89"/>
                <a:gd name="T10" fmla="*/ 90 w 114"/>
                <a:gd name="T11" fmla="*/ 67 h 89"/>
                <a:gd name="T12" fmla="*/ 90 w 114"/>
                <a:gd name="T13" fmla="*/ 73 h 89"/>
                <a:gd name="T14" fmla="*/ 101 w 114"/>
                <a:gd name="T15" fmla="*/ 0 h 89"/>
                <a:gd name="T16" fmla="*/ 102 w 114"/>
                <a:gd name="T17" fmla="*/ 3 h 89"/>
                <a:gd name="T18" fmla="*/ 91 w 114"/>
                <a:gd name="T19" fmla="*/ 23 h 89"/>
                <a:gd name="T20" fmla="*/ 63 w 114"/>
                <a:gd name="T21" fmla="*/ 52 h 89"/>
                <a:gd name="T22" fmla="*/ 62 w 114"/>
                <a:gd name="T23" fmla="*/ 46 h 89"/>
                <a:gd name="T24" fmla="*/ 30 w 114"/>
                <a:gd name="T25" fmla="*/ 6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4" h="89">
                  <a:moveTo>
                    <a:pt x="30" y="66"/>
                  </a:moveTo>
                  <a:cubicBezTo>
                    <a:pt x="16" y="65"/>
                    <a:pt x="11" y="76"/>
                    <a:pt x="0" y="82"/>
                  </a:cubicBezTo>
                  <a:cubicBezTo>
                    <a:pt x="12" y="84"/>
                    <a:pt x="48" y="65"/>
                    <a:pt x="44" y="86"/>
                  </a:cubicBezTo>
                  <a:cubicBezTo>
                    <a:pt x="50" y="89"/>
                    <a:pt x="55" y="85"/>
                    <a:pt x="60" y="80"/>
                  </a:cubicBezTo>
                  <a:cubicBezTo>
                    <a:pt x="58" y="76"/>
                    <a:pt x="59" y="75"/>
                    <a:pt x="59" y="72"/>
                  </a:cubicBezTo>
                  <a:cubicBezTo>
                    <a:pt x="68" y="81"/>
                    <a:pt x="83" y="75"/>
                    <a:pt x="90" y="67"/>
                  </a:cubicBezTo>
                  <a:cubicBezTo>
                    <a:pt x="90" y="69"/>
                    <a:pt x="90" y="71"/>
                    <a:pt x="90" y="73"/>
                  </a:cubicBezTo>
                  <a:cubicBezTo>
                    <a:pt x="104" y="63"/>
                    <a:pt x="114" y="12"/>
                    <a:pt x="101" y="0"/>
                  </a:cubicBezTo>
                  <a:cubicBezTo>
                    <a:pt x="101" y="0"/>
                    <a:pt x="102" y="3"/>
                    <a:pt x="102" y="3"/>
                  </a:cubicBezTo>
                  <a:cubicBezTo>
                    <a:pt x="90" y="2"/>
                    <a:pt x="92" y="15"/>
                    <a:pt x="91" y="23"/>
                  </a:cubicBezTo>
                  <a:cubicBezTo>
                    <a:pt x="88" y="38"/>
                    <a:pt x="76" y="47"/>
                    <a:pt x="63" y="52"/>
                  </a:cubicBezTo>
                  <a:cubicBezTo>
                    <a:pt x="62" y="49"/>
                    <a:pt x="62" y="50"/>
                    <a:pt x="62" y="46"/>
                  </a:cubicBezTo>
                  <a:cubicBezTo>
                    <a:pt x="54" y="62"/>
                    <a:pt x="47" y="66"/>
                    <a:pt x="30" y="66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Freeform 64"/>
            <p:cNvSpPr>
              <a:spLocks/>
            </p:cNvSpPr>
            <p:nvPr/>
          </p:nvSpPr>
          <p:spPr bwMode="auto">
            <a:xfrm>
              <a:off x="5118" y="1204"/>
              <a:ext cx="101" cy="83"/>
            </a:xfrm>
            <a:custGeom>
              <a:avLst/>
              <a:gdLst>
                <a:gd name="T0" fmla="*/ 8 w 57"/>
                <a:gd name="T1" fmla="*/ 25 h 47"/>
                <a:gd name="T2" fmla="*/ 2 w 57"/>
                <a:gd name="T3" fmla="*/ 47 h 47"/>
                <a:gd name="T4" fmla="*/ 13 w 57"/>
                <a:gd name="T5" fmla="*/ 42 h 47"/>
                <a:gd name="T6" fmla="*/ 6 w 57"/>
                <a:gd name="T7" fmla="*/ 37 h 47"/>
                <a:gd name="T8" fmla="*/ 30 w 57"/>
                <a:gd name="T9" fmla="*/ 38 h 47"/>
                <a:gd name="T10" fmla="*/ 57 w 57"/>
                <a:gd name="T11" fmla="*/ 25 h 47"/>
                <a:gd name="T12" fmla="*/ 55 w 57"/>
                <a:gd name="T13" fmla="*/ 16 h 47"/>
                <a:gd name="T14" fmla="*/ 21 w 57"/>
                <a:gd name="T15" fmla="*/ 0 h 47"/>
                <a:gd name="T16" fmla="*/ 8 w 57"/>
                <a:gd name="T17" fmla="*/ 2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7">
                  <a:moveTo>
                    <a:pt x="8" y="25"/>
                  </a:moveTo>
                  <a:cubicBezTo>
                    <a:pt x="5" y="26"/>
                    <a:pt x="0" y="38"/>
                    <a:pt x="2" y="47"/>
                  </a:cubicBezTo>
                  <a:cubicBezTo>
                    <a:pt x="6" y="47"/>
                    <a:pt x="10" y="45"/>
                    <a:pt x="13" y="42"/>
                  </a:cubicBezTo>
                  <a:cubicBezTo>
                    <a:pt x="10" y="40"/>
                    <a:pt x="8" y="39"/>
                    <a:pt x="6" y="37"/>
                  </a:cubicBezTo>
                  <a:cubicBezTo>
                    <a:pt x="16" y="31"/>
                    <a:pt x="21" y="33"/>
                    <a:pt x="30" y="38"/>
                  </a:cubicBezTo>
                  <a:cubicBezTo>
                    <a:pt x="33" y="40"/>
                    <a:pt x="48" y="26"/>
                    <a:pt x="57" y="25"/>
                  </a:cubicBezTo>
                  <a:cubicBezTo>
                    <a:pt x="56" y="23"/>
                    <a:pt x="55" y="17"/>
                    <a:pt x="55" y="16"/>
                  </a:cubicBezTo>
                  <a:cubicBezTo>
                    <a:pt x="40" y="19"/>
                    <a:pt x="31" y="9"/>
                    <a:pt x="21" y="0"/>
                  </a:cubicBezTo>
                  <a:cubicBezTo>
                    <a:pt x="20" y="9"/>
                    <a:pt x="20" y="22"/>
                    <a:pt x="8" y="25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65"/>
            <p:cNvSpPr>
              <a:spLocks/>
            </p:cNvSpPr>
            <p:nvPr/>
          </p:nvSpPr>
          <p:spPr bwMode="auto">
            <a:xfrm>
              <a:off x="5217" y="1223"/>
              <a:ext cx="12" cy="16"/>
            </a:xfrm>
            <a:custGeom>
              <a:avLst/>
              <a:gdLst>
                <a:gd name="T0" fmla="*/ 0 w 7"/>
                <a:gd name="T1" fmla="*/ 9 h 9"/>
                <a:gd name="T2" fmla="*/ 7 w 7"/>
                <a:gd name="T3" fmla="*/ 0 h 9"/>
                <a:gd name="T4" fmla="*/ 0 w 7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9">
                  <a:moveTo>
                    <a:pt x="0" y="9"/>
                  </a:moveTo>
                  <a:cubicBezTo>
                    <a:pt x="5" y="7"/>
                    <a:pt x="7" y="1"/>
                    <a:pt x="7" y="0"/>
                  </a:cubicBezTo>
                  <a:cubicBezTo>
                    <a:pt x="6" y="1"/>
                    <a:pt x="2" y="5"/>
                    <a:pt x="0" y="9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66"/>
            <p:cNvSpPr>
              <a:spLocks/>
            </p:cNvSpPr>
            <p:nvPr/>
          </p:nvSpPr>
          <p:spPr bwMode="auto">
            <a:xfrm>
              <a:off x="5251" y="1199"/>
              <a:ext cx="23" cy="19"/>
            </a:xfrm>
            <a:custGeom>
              <a:avLst/>
              <a:gdLst>
                <a:gd name="T0" fmla="*/ 0 w 13"/>
                <a:gd name="T1" fmla="*/ 11 h 11"/>
                <a:gd name="T2" fmla="*/ 13 w 13"/>
                <a:gd name="T3" fmla="*/ 4 h 11"/>
                <a:gd name="T4" fmla="*/ 0 w 13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11"/>
                  </a:moveTo>
                  <a:cubicBezTo>
                    <a:pt x="4" y="8"/>
                    <a:pt x="9" y="7"/>
                    <a:pt x="13" y="4"/>
                  </a:cubicBezTo>
                  <a:cubicBezTo>
                    <a:pt x="8" y="0"/>
                    <a:pt x="3" y="4"/>
                    <a:pt x="0" y="1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67"/>
            <p:cNvSpPr>
              <a:spLocks/>
            </p:cNvSpPr>
            <p:nvPr/>
          </p:nvSpPr>
          <p:spPr bwMode="auto">
            <a:xfrm>
              <a:off x="5286" y="1184"/>
              <a:ext cx="18" cy="15"/>
            </a:xfrm>
            <a:custGeom>
              <a:avLst/>
              <a:gdLst>
                <a:gd name="T0" fmla="*/ 4 w 10"/>
                <a:gd name="T1" fmla="*/ 5 h 8"/>
                <a:gd name="T2" fmla="*/ 10 w 10"/>
                <a:gd name="T3" fmla="*/ 0 h 8"/>
                <a:gd name="T4" fmla="*/ 4 w 10"/>
                <a:gd name="T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4" y="5"/>
                  </a:moveTo>
                  <a:cubicBezTo>
                    <a:pt x="0" y="8"/>
                    <a:pt x="9" y="1"/>
                    <a:pt x="10" y="0"/>
                  </a:cubicBezTo>
                  <a:cubicBezTo>
                    <a:pt x="5" y="0"/>
                    <a:pt x="6" y="3"/>
                    <a:pt x="4" y="5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68"/>
            <p:cNvSpPr>
              <a:spLocks/>
            </p:cNvSpPr>
            <p:nvPr/>
          </p:nvSpPr>
          <p:spPr bwMode="auto">
            <a:xfrm>
              <a:off x="5149" y="998"/>
              <a:ext cx="50" cy="192"/>
            </a:xfrm>
            <a:custGeom>
              <a:avLst/>
              <a:gdLst>
                <a:gd name="T0" fmla="*/ 21 w 28"/>
                <a:gd name="T1" fmla="*/ 65 h 108"/>
                <a:gd name="T2" fmla="*/ 28 w 28"/>
                <a:gd name="T3" fmla="*/ 70 h 108"/>
                <a:gd name="T4" fmla="*/ 9 w 28"/>
                <a:gd name="T5" fmla="*/ 0 h 108"/>
                <a:gd name="T6" fmla="*/ 1 w 28"/>
                <a:gd name="T7" fmla="*/ 24 h 108"/>
                <a:gd name="T8" fmla="*/ 5 w 28"/>
                <a:gd name="T9" fmla="*/ 51 h 108"/>
                <a:gd name="T10" fmla="*/ 4 w 28"/>
                <a:gd name="T11" fmla="*/ 108 h 108"/>
                <a:gd name="T12" fmla="*/ 21 w 28"/>
                <a:gd name="T13" fmla="*/ 103 h 108"/>
                <a:gd name="T14" fmla="*/ 21 w 28"/>
                <a:gd name="T15" fmla="*/ 6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08">
                  <a:moveTo>
                    <a:pt x="21" y="65"/>
                  </a:moveTo>
                  <a:cubicBezTo>
                    <a:pt x="23" y="67"/>
                    <a:pt x="26" y="69"/>
                    <a:pt x="28" y="70"/>
                  </a:cubicBezTo>
                  <a:cubicBezTo>
                    <a:pt x="21" y="49"/>
                    <a:pt x="20" y="15"/>
                    <a:pt x="9" y="0"/>
                  </a:cubicBezTo>
                  <a:cubicBezTo>
                    <a:pt x="10" y="10"/>
                    <a:pt x="2" y="14"/>
                    <a:pt x="1" y="24"/>
                  </a:cubicBezTo>
                  <a:cubicBezTo>
                    <a:pt x="0" y="33"/>
                    <a:pt x="5" y="42"/>
                    <a:pt x="5" y="51"/>
                  </a:cubicBezTo>
                  <a:cubicBezTo>
                    <a:pt x="7" y="70"/>
                    <a:pt x="4" y="89"/>
                    <a:pt x="4" y="108"/>
                  </a:cubicBezTo>
                  <a:cubicBezTo>
                    <a:pt x="9" y="100"/>
                    <a:pt x="15" y="98"/>
                    <a:pt x="21" y="103"/>
                  </a:cubicBezTo>
                  <a:cubicBezTo>
                    <a:pt x="11" y="93"/>
                    <a:pt x="4" y="71"/>
                    <a:pt x="21" y="65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Freeform 69"/>
            <p:cNvSpPr>
              <a:spLocks/>
            </p:cNvSpPr>
            <p:nvPr/>
          </p:nvSpPr>
          <p:spPr bwMode="auto">
            <a:xfrm>
              <a:off x="3673" y="547"/>
              <a:ext cx="8" cy="9"/>
            </a:xfrm>
            <a:custGeom>
              <a:avLst/>
              <a:gdLst>
                <a:gd name="T0" fmla="*/ 3 w 5"/>
                <a:gd name="T1" fmla="*/ 4 h 5"/>
                <a:gd name="T2" fmla="*/ 5 w 5"/>
                <a:gd name="T3" fmla="*/ 5 h 5"/>
                <a:gd name="T4" fmla="*/ 3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4" y="4"/>
                    <a:pt x="4" y="4"/>
                    <a:pt x="5" y="5"/>
                  </a:cubicBezTo>
                  <a:cubicBezTo>
                    <a:pt x="5" y="3"/>
                    <a:pt x="0" y="0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Freeform 70"/>
            <p:cNvSpPr>
              <a:spLocks/>
            </p:cNvSpPr>
            <p:nvPr/>
          </p:nvSpPr>
          <p:spPr bwMode="auto">
            <a:xfrm>
              <a:off x="3561" y="316"/>
              <a:ext cx="335" cy="247"/>
            </a:xfrm>
            <a:custGeom>
              <a:avLst/>
              <a:gdLst>
                <a:gd name="T0" fmla="*/ 25 w 189"/>
                <a:gd name="T1" fmla="*/ 121 h 139"/>
                <a:gd name="T2" fmla="*/ 29 w 189"/>
                <a:gd name="T3" fmla="*/ 130 h 139"/>
                <a:gd name="T4" fmla="*/ 40 w 189"/>
                <a:gd name="T5" fmla="*/ 134 h 139"/>
                <a:gd name="T6" fmla="*/ 68 w 189"/>
                <a:gd name="T7" fmla="*/ 136 h 139"/>
                <a:gd name="T8" fmla="*/ 66 w 189"/>
                <a:gd name="T9" fmla="*/ 134 h 139"/>
                <a:gd name="T10" fmla="*/ 93 w 189"/>
                <a:gd name="T11" fmla="*/ 58 h 139"/>
                <a:gd name="T12" fmla="*/ 134 w 189"/>
                <a:gd name="T13" fmla="*/ 39 h 139"/>
                <a:gd name="T14" fmla="*/ 179 w 189"/>
                <a:gd name="T15" fmla="*/ 21 h 139"/>
                <a:gd name="T16" fmla="*/ 140 w 189"/>
                <a:gd name="T17" fmla="*/ 19 h 139"/>
                <a:gd name="T18" fmla="*/ 94 w 189"/>
                <a:gd name="T19" fmla="*/ 28 h 139"/>
                <a:gd name="T20" fmla="*/ 70 w 189"/>
                <a:gd name="T21" fmla="*/ 42 h 139"/>
                <a:gd name="T22" fmla="*/ 49 w 189"/>
                <a:gd name="T23" fmla="*/ 47 h 139"/>
                <a:gd name="T24" fmla="*/ 35 w 189"/>
                <a:gd name="T25" fmla="*/ 85 h 139"/>
                <a:gd name="T26" fmla="*/ 15 w 189"/>
                <a:gd name="T27" fmla="*/ 103 h 139"/>
                <a:gd name="T28" fmla="*/ 25 w 189"/>
                <a:gd name="T29" fmla="*/ 12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139">
                  <a:moveTo>
                    <a:pt x="25" y="121"/>
                  </a:moveTo>
                  <a:cubicBezTo>
                    <a:pt x="27" y="123"/>
                    <a:pt x="29" y="126"/>
                    <a:pt x="29" y="130"/>
                  </a:cubicBezTo>
                  <a:cubicBezTo>
                    <a:pt x="30" y="137"/>
                    <a:pt x="35" y="130"/>
                    <a:pt x="40" y="134"/>
                  </a:cubicBezTo>
                  <a:cubicBezTo>
                    <a:pt x="44" y="139"/>
                    <a:pt x="61" y="136"/>
                    <a:pt x="68" y="136"/>
                  </a:cubicBezTo>
                  <a:cubicBezTo>
                    <a:pt x="67" y="135"/>
                    <a:pt x="66" y="134"/>
                    <a:pt x="66" y="134"/>
                  </a:cubicBezTo>
                  <a:cubicBezTo>
                    <a:pt x="27" y="105"/>
                    <a:pt x="65" y="78"/>
                    <a:pt x="93" y="58"/>
                  </a:cubicBezTo>
                  <a:cubicBezTo>
                    <a:pt x="107" y="49"/>
                    <a:pt x="117" y="43"/>
                    <a:pt x="134" y="39"/>
                  </a:cubicBezTo>
                  <a:cubicBezTo>
                    <a:pt x="145" y="37"/>
                    <a:pt x="173" y="32"/>
                    <a:pt x="179" y="21"/>
                  </a:cubicBezTo>
                  <a:cubicBezTo>
                    <a:pt x="189" y="0"/>
                    <a:pt x="145" y="17"/>
                    <a:pt x="140" y="19"/>
                  </a:cubicBezTo>
                  <a:cubicBezTo>
                    <a:pt x="122" y="27"/>
                    <a:pt x="111" y="24"/>
                    <a:pt x="94" y="28"/>
                  </a:cubicBezTo>
                  <a:cubicBezTo>
                    <a:pt x="84" y="31"/>
                    <a:pt x="79" y="38"/>
                    <a:pt x="70" y="42"/>
                  </a:cubicBezTo>
                  <a:cubicBezTo>
                    <a:pt x="66" y="44"/>
                    <a:pt x="52" y="45"/>
                    <a:pt x="49" y="47"/>
                  </a:cubicBezTo>
                  <a:cubicBezTo>
                    <a:pt x="44" y="52"/>
                    <a:pt x="30" y="80"/>
                    <a:pt x="35" y="85"/>
                  </a:cubicBezTo>
                  <a:cubicBezTo>
                    <a:pt x="21" y="87"/>
                    <a:pt x="22" y="96"/>
                    <a:pt x="15" y="103"/>
                  </a:cubicBezTo>
                  <a:cubicBezTo>
                    <a:pt x="0" y="120"/>
                    <a:pt x="17" y="115"/>
                    <a:pt x="25" y="12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71"/>
            <p:cNvSpPr>
              <a:spLocks noEditPoints="1"/>
            </p:cNvSpPr>
            <p:nvPr/>
          </p:nvSpPr>
          <p:spPr bwMode="auto">
            <a:xfrm>
              <a:off x="2382" y="306"/>
              <a:ext cx="3611" cy="2401"/>
            </a:xfrm>
            <a:custGeom>
              <a:avLst/>
              <a:gdLst>
                <a:gd name="T0" fmla="*/ 1825 w 2037"/>
                <a:gd name="T1" fmla="*/ 156 h 1353"/>
                <a:gd name="T2" fmla="*/ 1655 w 2037"/>
                <a:gd name="T3" fmla="*/ 121 h 1353"/>
                <a:gd name="T4" fmla="*/ 1569 w 2037"/>
                <a:gd name="T5" fmla="*/ 96 h 1353"/>
                <a:gd name="T6" fmla="*/ 1316 w 2037"/>
                <a:gd name="T7" fmla="*/ 89 h 1353"/>
                <a:gd name="T8" fmla="*/ 1188 w 2037"/>
                <a:gd name="T9" fmla="*/ 5 h 1353"/>
                <a:gd name="T10" fmla="*/ 964 w 2037"/>
                <a:gd name="T11" fmla="*/ 109 h 1353"/>
                <a:gd name="T12" fmla="*/ 881 w 2037"/>
                <a:gd name="T13" fmla="*/ 134 h 1353"/>
                <a:gd name="T14" fmla="*/ 844 w 2037"/>
                <a:gd name="T15" fmla="*/ 175 h 1353"/>
                <a:gd name="T16" fmla="*/ 677 w 2037"/>
                <a:gd name="T17" fmla="*/ 176 h 1353"/>
                <a:gd name="T18" fmla="*/ 531 w 2037"/>
                <a:gd name="T19" fmla="*/ 249 h 1353"/>
                <a:gd name="T20" fmla="*/ 489 w 2037"/>
                <a:gd name="T21" fmla="*/ 157 h 1353"/>
                <a:gd name="T22" fmla="*/ 386 w 2037"/>
                <a:gd name="T23" fmla="*/ 140 h 1353"/>
                <a:gd name="T24" fmla="*/ 344 w 2037"/>
                <a:gd name="T25" fmla="*/ 164 h 1353"/>
                <a:gd name="T26" fmla="*/ 221 w 2037"/>
                <a:gd name="T27" fmla="*/ 321 h 1353"/>
                <a:gd name="T28" fmla="*/ 350 w 2037"/>
                <a:gd name="T29" fmla="*/ 319 h 1353"/>
                <a:gd name="T30" fmla="*/ 456 w 2037"/>
                <a:gd name="T31" fmla="*/ 312 h 1353"/>
                <a:gd name="T32" fmla="*/ 384 w 2037"/>
                <a:gd name="T33" fmla="*/ 345 h 1353"/>
                <a:gd name="T34" fmla="*/ 293 w 2037"/>
                <a:gd name="T35" fmla="*/ 380 h 1353"/>
                <a:gd name="T36" fmla="*/ 249 w 2037"/>
                <a:gd name="T37" fmla="*/ 371 h 1353"/>
                <a:gd name="T38" fmla="*/ 159 w 2037"/>
                <a:gd name="T39" fmla="*/ 464 h 1353"/>
                <a:gd name="T40" fmla="*/ 105 w 2037"/>
                <a:gd name="T41" fmla="*/ 534 h 1353"/>
                <a:gd name="T42" fmla="*/ 181 w 2037"/>
                <a:gd name="T43" fmla="*/ 562 h 1353"/>
                <a:gd name="T44" fmla="*/ 315 w 2037"/>
                <a:gd name="T45" fmla="*/ 568 h 1353"/>
                <a:gd name="T46" fmla="*/ 312 w 2037"/>
                <a:gd name="T47" fmla="*/ 550 h 1353"/>
                <a:gd name="T48" fmla="*/ 397 w 2037"/>
                <a:gd name="T49" fmla="*/ 608 h 1353"/>
                <a:gd name="T50" fmla="*/ 403 w 2037"/>
                <a:gd name="T51" fmla="*/ 575 h 1353"/>
                <a:gd name="T52" fmla="*/ 522 w 2037"/>
                <a:gd name="T53" fmla="*/ 508 h 1353"/>
                <a:gd name="T54" fmla="*/ 579 w 2037"/>
                <a:gd name="T55" fmla="*/ 556 h 1353"/>
                <a:gd name="T56" fmla="*/ 479 w 2037"/>
                <a:gd name="T57" fmla="*/ 613 h 1353"/>
                <a:gd name="T58" fmla="*/ 437 w 2037"/>
                <a:gd name="T59" fmla="*/ 673 h 1353"/>
                <a:gd name="T60" fmla="*/ 296 w 2037"/>
                <a:gd name="T61" fmla="*/ 649 h 1353"/>
                <a:gd name="T62" fmla="*/ 109 w 2037"/>
                <a:gd name="T63" fmla="*/ 628 h 1353"/>
                <a:gd name="T64" fmla="*/ 18 w 2037"/>
                <a:gd name="T65" fmla="*/ 747 h 1353"/>
                <a:gd name="T66" fmla="*/ 54 w 2037"/>
                <a:gd name="T67" fmla="*/ 925 h 1353"/>
                <a:gd name="T68" fmla="*/ 258 w 2037"/>
                <a:gd name="T69" fmla="*/ 947 h 1353"/>
                <a:gd name="T70" fmla="*/ 289 w 2037"/>
                <a:gd name="T71" fmla="*/ 1135 h 1353"/>
                <a:gd name="T72" fmla="*/ 370 w 2037"/>
                <a:gd name="T73" fmla="*/ 1350 h 1353"/>
                <a:gd name="T74" fmla="*/ 515 w 2037"/>
                <a:gd name="T75" fmla="*/ 1239 h 1353"/>
                <a:gd name="T76" fmla="*/ 551 w 2037"/>
                <a:gd name="T77" fmla="*/ 1041 h 1353"/>
                <a:gd name="T78" fmla="*/ 652 w 2037"/>
                <a:gd name="T79" fmla="*/ 879 h 1353"/>
                <a:gd name="T80" fmla="*/ 483 w 2037"/>
                <a:gd name="T81" fmla="*/ 685 h 1353"/>
                <a:gd name="T82" fmla="*/ 612 w 2037"/>
                <a:gd name="T83" fmla="*/ 866 h 1353"/>
                <a:gd name="T84" fmla="*/ 743 w 2037"/>
                <a:gd name="T85" fmla="*/ 749 h 1353"/>
                <a:gd name="T86" fmla="*/ 777 w 2037"/>
                <a:gd name="T87" fmla="*/ 739 h 1353"/>
                <a:gd name="T88" fmla="*/ 894 w 2037"/>
                <a:gd name="T89" fmla="*/ 836 h 1353"/>
                <a:gd name="T90" fmla="*/ 1017 w 2037"/>
                <a:gd name="T91" fmla="*/ 776 h 1353"/>
                <a:gd name="T92" fmla="*/ 1151 w 2037"/>
                <a:gd name="T93" fmla="*/ 852 h 1353"/>
                <a:gd name="T94" fmla="*/ 1241 w 2037"/>
                <a:gd name="T95" fmla="*/ 872 h 1353"/>
                <a:gd name="T96" fmla="*/ 1339 w 2037"/>
                <a:gd name="T97" fmla="*/ 738 h 1353"/>
                <a:gd name="T98" fmla="*/ 1341 w 2037"/>
                <a:gd name="T99" fmla="*/ 628 h 1353"/>
                <a:gd name="T100" fmla="*/ 1415 w 2037"/>
                <a:gd name="T101" fmla="*/ 602 h 1353"/>
                <a:gd name="T102" fmla="*/ 1517 w 2037"/>
                <a:gd name="T103" fmla="*/ 510 h 1353"/>
                <a:gd name="T104" fmla="*/ 1528 w 2037"/>
                <a:gd name="T105" fmla="*/ 359 h 1353"/>
                <a:gd name="T106" fmla="*/ 1708 w 2037"/>
                <a:gd name="T107" fmla="*/ 289 h 1353"/>
                <a:gd name="T108" fmla="*/ 1714 w 2037"/>
                <a:gd name="T109" fmla="*/ 433 h 1353"/>
                <a:gd name="T110" fmla="*/ 1813 w 2037"/>
                <a:gd name="T111" fmla="*/ 309 h 1353"/>
                <a:gd name="T112" fmla="*/ 1939 w 2037"/>
                <a:gd name="T113" fmla="*/ 229 h 1353"/>
                <a:gd name="T114" fmla="*/ 683 w 2037"/>
                <a:gd name="T115" fmla="*/ 573 h 1353"/>
                <a:gd name="T116" fmla="*/ 700 w 2037"/>
                <a:gd name="T117" fmla="*/ 506 h 1353"/>
                <a:gd name="T118" fmla="*/ 776 w 2037"/>
                <a:gd name="T119" fmla="*/ 6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37" h="1353">
                  <a:moveTo>
                    <a:pt x="1961" y="184"/>
                  </a:moveTo>
                  <a:cubicBezTo>
                    <a:pt x="1958" y="168"/>
                    <a:pt x="1948" y="174"/>
                    <a:pt x="1937" y="169"/>
                  </a:cubicBezTo>
                  <a:cubicBezTo>
                    <a:pt x="1933" y="167"/>
                    <a:pt x="1925" y="158"/>
                    <a:pt x="1922" y="157"/>
                  </a:cubicBezTo>
                  <a:cubicBezTo>
                    <a:pt x="1917" y="156"/>
                    <a:pt x="1913" y="161"/>
                    <a:pt x="1907" y="159"/>
                  </a:cubicBezTo>
                  <a:cubicBezTo>
                    <a:pt x="1886" y="152"/>
                    <a:pt x="1868" y="142"/>
                    <a:pt x="1843" y="154"/>
                  </a:cubicBezTo>
                  <a:cubicBezTo>
                    <a:pt x="1857" y="168"/>
                    <a:pt x="1840" y="168"/>
                    <a:pt x="1832" y="166"/>
                  </a:cubicBezTo>
                  <a:cubicBezTo>
                    <a:pt x="1826" y="165"/>
                    <a:pt x="1836" y="155"/>
                    <a:pt x="1825" y="156"/>
                  </a:cubicBezTo>
                  <a:cubicBezTo>
                    <a:pt x="1818" y="157"/>
                    <a:pt x="1813" y="154"/>
                    <a:pt x="1807" y="152"/>
                  </a:cubicBezTo>
                  <a:cubicBezTo>
                    <a:pt x="1799" y="151"/>
                    <a:pt x="1799" y="157"/>
                    <a:pt x="1793" y="157"/>
                  </a:cubicBezTo>
                  <a:cubicBezTo>
                    <a:pt x="1786" y="157"/>
                    <a:pt x="1780" y="153"/>
                    <a:pt x="1775" y="153"/>
                  </a:cubicBezTo>
                  <a:cubicBezTo>
                    <a:pt x="1763" y="153"/>
                    <a:pt x="1752" y="152"/>
                    <a:pt x="1741" y="153"/>
                  </a:cubicBezTo>
                  <a:cubicBezTo>
                    <a:pt x="1742" y="129"/>
                    <a:pt x="1716" y="126"/>
                    <a:pt x="1696" y="129"/>
                  </a:cubicBezTo>
                  <a:cubicBezTo>
                    <a:pt x="1687" y="130"/>
                    <a:pt x="1673" y="133"/>
                    <a:pt x="1665" y="131"/>
                  </a:cubicBezTo>
                  <a:cubicBezTo>
                    <a:pt x="1657" y="128"/>
                    <a:pt x="1660" y="125"/>
                    <a:pt x="1655" y="121"/>
                  </a:cubicBezTo>
                  <a:cubicBezTo>
                    <a:pt x="1654" y="118"/>
                    <a:pt x="1653" y="115"/>
                    <a:pt x="1653" y="112"/>
                  </a:cubicBezTo>
                  <a:cubicBezTo>
                    <a:pt x="1650" y="112"/>
                    <a:pt x="1647" y="112"/>
                    <a:pt x="1644" y="112"/>
                  </a:cubicBezTo>
                  <a:cubicBezTo>
                    <a:pt x="1638" y="108"/>
                    <a:pt x="1624" y="103"/>
                    <a:pt x="1618" y="102"/>
                  </a:cubicBezTo>
                  <a:cubicBezTo>
                    <a:pt x="1611" y="100"/>
                    <a:pt x="1590" y="102"/>
                    <a:pt x="1588" y="100"/>
                  </a:cubicBezTo>
                  <a:cubicBezTo>
                    <a:pt x="1585" y="97"/>
                    <a:pt x="1581" y="96"/>
                    <a:pt x="1578" y="95"/>
                  </a:cubicBezTo>
                  <a:cubicBezTo>
                    <a:pt x="1574" y="80"/>
                    <a:pt x="1555" y="81"/>
                    <a:pt x="1546" y="93"/>
                  </a:cubicBezTo>
                  <a:cubicBezTo>
                    <a:pt x="1553" y="92"/>
                    <a:pt x="1561" y="95"/>
                    <a:pt x="1569" y="96"/>
                  </a:cubicBezTo>
                  <a:cubicBezTo>
                    <a:pt x="1558" y="100"/>
                    <a:pt x="1549" y="113"/>
                    <a:pt x="1543" y="121"/>
                  </a:cubicBezTo>
                  <a:cubicBezTo>
                    <a:pt x="1539" y="126"/>
                    <a:pt x="1493" y="129"/>
                    <a:pt x="1486" y="128"/>
                  </a:cubicBezTo>
                  <a:cubicBezTo>
                    <a:pt x="1475" y="125"/>
                    <a:pt x="1477" y="117"/>
                    <a:pt x="1464" y="119"/>
                  </a:cubicBezTo>
                  <a:cubicBezTo>
                    <a:pt x="1458" y="120"/>
                    <a:pt x="1453" y="136"/>
                    <a:pt x="1443" y="133"/>
                  </a:cubicBezTo>
                  <a:cubicBezTo>
                    <a:pt x="1420" y="125"/>
                    <a:pt x="1449" y="92"/>
                    <a:pt x="1431" y="88"/>
                  </a:cubicBezTo>
                  <a:cubicBezTo>
                    <a:pt x="1417" y="84"/>
                    <a:pt x="1375" y="66"/>
                    <a:pt x="1379" y="96"/>
                  </a:cubicBezTo>
                  <a:cubicBezTo>
                    <a:pt x="1360" y="80"/>
                    <a:pt x="1334" y="103"/>
                    <a:pt x="1316" y="89"/>
                  </a:cubicBezTo>
                  <a:cubicBezTo>
                    <a:pt x="1302" y="79"/>
                    <a:pt x="1263" y="87"/>
                    <a:pt x="1260" y="68"/>
                  </a:cubicBezTo>
                  <a:cubicBezTo>
                    <a:pt x="1251" y="81"/>
                    <a:pt x="1238" y="84"/>
                    <a:pt x="1226" y="93"/>
                  </a:cubicBezTo>
                  <a:cubicBezTo>
                    <a:pt x="1221" y="68"/>
                    <a:pt x="1270" y="68"/>
                    <a:pt x="1281" y="50"/>
                  </a:cubicBezTo>
                  <a:cubicBezTo>
                    <a:pt x="1290" y="35"/>
                    <a:pt x="1282" y="32"/>
                    <a:pt x="1271" y="26"/>
                  </a:cubicBezTo>
                  <a:cubicBezTo>
                    <a:pt x="1260" y="21"/>
                    <a:pt x="1243" y="15"/>
                    <a:pt x="1231" y="21"/>
                  </a:cubicBezTo>
                  <a:cubicBezTo>
                    <a:pt x="1218" y="28"/>
                    <a:pt x="1213" y="6"/>
                    <a:pt x="1204" y="6"/>
                  </a:cubicBezTo>
                  <a:cubicBezTo>
                    <a:pt x="1197" y="7"/>
                    <a:pt x="1195" y="0"/>
                    <a:pt x="1188" y="5"/>
                  </a:cubicBezTo>
                  <a:cubicBezTo>
                    <a:pt x="1183" y="9"/>
                    <a:pt x="1179" y="10"/>
                    <a:pt x="1173" y="11"/>
                  </a:cubicBezTo>
                  <a:cubicBezTo>
                    <a:pt x="1168" y="11"/>
                    <a:pt x="1113" y="59"/>
                    <a:pt x="1114" y="29"/>
                  </a:cubicBezTo>
                  <a:cubicBezTo>
                    <a:pt x="1102" y="40"/>
                    <a:pt x="1081" y="36"/>
                    <a:pt x="1065" y="40"/>
                  </a:cubicBezTo>
                  <a:cubicBezTo>
                    <a:pt x="1057" y="43"/>
                    <a:pt x="1051" y="48"/>
                    <a:pt x="1044" y="49"/>
                  </a:cubicBezTo>
                  <a:cubicBezTo>
                    <a:pt x="1028" y="52"/>
                    <a:pt x="1033" y="54"/>
                    <a:pt x="1024" y="65"/>
                  </a:cubicBezTo>
                  <a:cubicBezTo>
                    <a:pt x="1008" y="83"/>
                    <a:pt x="1002" y="71"/>
                    <a:pt x="982" y="76"/>
                  </a:cubicBezTo>
                  <a:cubicBezTo>
                    <a:pt x="968" y="79"/>
                    <a:pt x="950" y="94"/>
                    <a:pt x="964" y="109"/>
                  </a:cubicBezTo>
                  <a:cubicBezTo>
                    <a:pt x="945" y="121"/>
                    <a:pt x="931" y="93"/>
                    <a:pt x="914" y="122"/>
                  </a:cubicBezTo>
                  <a:cubicBezTo>
                    <a:pt x="912" y="114"/>
                    <a:pt x="910" y="107"/>
                    <a:pt x="906" y="100"/>
                  </a:cubicBezTo>
                  <a:cubicBezTo>
                    <a:pt x="904" y="111"/>
                    <a:pt x="892" y="114"/>
                    <a:pt x="882" y="117"/>
                  </a:cubicBezTo>
                  <a:cubicBezTo>
                    <a:pt x="901" y="126"/>
                    <a:pt x="891" y="133"/>
                    <a:pt x="892" y="149"/>
                  </a:cubicBezTo>
                  <a:cubicBezTo>
                    <a:pt x="893" y="156"/>
                    <a:pt x="906" y="191"/>
                    <a:pt x="886" y="177"/>
                  </a:cubicBezTo>
                  <a:cubicBezTo>
                    <a:pt x="889" y="180"/>
                    <a:pt x="880" y="156"/>
                    <a:pt x="880" y="158"/>
                  </a:cubicBezTo>
                  <a:cubicBezTo>
                    <a:pt x="879" y="149"/>
                    <a:pt x="881" y="142"/>
                    <a:pt x="881" y="134"/>
                  </a:cubicBezTo>
                  <a:cubicBezTo>
                    <a:pt x="880" y="125"/>
                    <a:pt x="872" y="124"/>
                    <a:pt x="875" y="115"/>
                  </a:cubicBezTo>
                  <a:cubicBezTo>
                    <a:pt x="878" y="107"/>
                    <a:pt x="881" y="104"/>
                    <a:pt x="876" y="96"/>
                  </a:cubicBezTo>
                  <a:cubicBezTo>
                    <a:pt x="874" y="98"/>
                    <a:pt x="871" y="99"/>
                    <a:pt x="869" y="100"/>
                  </a:cubicBezTo>
                  <a:cubicBezTo>
                    <a:pt x="866" y="98"/>
                    <a:pt x="863" y="95"/>
                    <a:pt x="860" y="93"/>
                  </a:cubicBezTo>
                  <a:cubicBezTo>
                    <a:pt x="857" y="96"/>
                    <a:pt x="856" y="99"/>
                    <a:pt x="855" y="102"/>
                  </a:cubicBezTo>
                  <a:cubicBezTo>
                    <a:pt x="844" y="104"/>
                    <a:pt x="834" y="105"/>
                    <a:pt x="828" y="119"/>
                  </a:cubicBezTo>
                  <a:cubicBezTo>
                    <a:pt x="815" y="150"/>
                    <a:pt x="835" y="148"/>
                    <a:pt x="844" y="175"/>
                  </a:cubicBezTo>
                  <a:cubicBezTo>
                    <a:pt x="822" y="180"/>
                    <a:pt x="761" y="128"/>
                    <a:pt x="763" y="174"/>
                  </a:cubicBezTo>
                  <a:cubicBezTo>
                    <a:pt x="763" y="187"/>
                    <a:pt x="744" y="171"/>
                    <a:pt x="744" y="171"/>
                  </a:cubicBezTo>
                  <a:cubicBezTo>
                    <a:pt x="736" y="172"/>
                    <a:pt x="727" y="179"/>
                    <a:pt x="722" y="179"/>
                  </a:cubicBezTo>
                  <a:cubicBezTo>
                    <a:pt x="716" y="177"/>
                    <a:pt x="715" y="176"/>
                    <a:pt x="709" y="180"/>
                  </a:cubicBezTo>
                  <a:cubicBezTo>
                    <a:pt x="699" y="186"/>
                    <a:pt x="706" y="176"/>
                    <a:pt x="697" y="175"/>
                  </a:cubicBezTo>
                  <a:cubicBezTo>
                    <a:pt x="692" y="175"/>
                    <a:pt x="692" y="166"/>
                    <a:pt x="686" y="171"/>
                  </a:cubicBezTo>
                  <a:cubicBezTo>
                    <a:pt x="682" y="174"/>
                    <a:pt x="681" y="177"/>
                    <a:pt x="677" y="176"/>
                  </a:cubicBezTo>
                  <a:cubicBezTo>
                    <a:pt x="663" y="173"/>
                    <a:pt x="665" y="182"/>
                    <a:pt x="655" y="188"/>
                  </a:cubicBezTo>
                  <a:cubicBezTo>
                    <a:pt x="657" y="187"/>
                    <a:pt x="627" y="203"/>
                    <a:pt x="632" y="203"/>
                  </a:cubicBezTo>
                  <a:cubicBezTo>
                    <a:pt x="606" y="204"/>
                    <a:pt x="624" y="165"/>
                    <a:pt x="600" y="180"/>
                  </a:cubicBezTo>
                  <a:cubicBezTo>
                    <a:pt x="598" y="182"/>
                    <a:pt x="597" y="201"/>
                    <a:pt x="599" y="205"/>
                  </a:cubicBezTo>
                  <a:cubicBezTo>
                    <a:pt x="605" y="215"/>
                    <a:pt x="586" y="217"/>
                    <a:pt x="580" y="216"/>
                  </a:cubicBezTo>
                  <a:cubicBezTo>
                    <a:pt x="561" y="211"/>
                    <a:pt x="559" y="253"/>
                    <a:pt x="531" y="235"/>
                  </a:cubicBezTo>
                  <a:cubicBezTo>
                    <a:pt x="532" y="239"/>
                    <a:pt x="530" y="244"/>
                    <a:pt x="531" y="249"/>
                  </a:cubicBezTo>
                  <a:cubicBezTo>
                    <a:pt x="507" y="243"/>
                    <a:pt x="520" y="221"/>
                    <a:pt x="503" y="212"/>
                  </a:cubicBezTo>
                  <a:cubicBezTo>
                    <a:pt x="517" y="217"/>
                    <a:pt x="548" y="225"/>
                    <a:pt x="560" y="217"/>
                  </a:cubicBezTo>
                  <a:cubicBezTo>
                    <a:pt x="568" y="211"/>
                    <a:pt x="573" y="204"/>
                    <a:pt x="566" y="196"/>
                  </a:cubicBezTo>
                  <a:cubicBezTo>
                    <a:pt x="563" y="192"/>
                    <a:pt x="560" y="192"/>
                    <a:pt x="556" y="189"/>
                  </a:cubicBezTo>
                  <a:cubicBezTo>
                    <a:pt x="554" y="186"/>
                    <a:pt x="553" y="183"/>
                    <a:pt x="551" y="179"/>
                  </a:cubicBezTo>
                  <a:cubicBezTo>
                    <a:pt x="548" y="181"/>
                    <a:pt x="544" y="182"/>
                    <a:pt x="541" y="183"/>
                  </a:cubicBezTo>
                  <a:cubicBezTo>
                    <a:pt x="525" y="175"/>
                    <a:pt x="505" y="166"/>
                    <a:pt x="489" y="157"/>
                  </a:cubicBezTo>
                  <a:cubicBezTo>
                    <a:pt x="479" y="150"/>
                    <a:pt x="434" y="167"/>
                    <a:pt x="462" y="141"/>
                  </a:cubicBezTo>
                  <a:cubicBezTo>
                    <a:pt x="448" y="142"/>
                    <a:pt x="437" y="126"/>
                    <a:pt x="430" y="145"/>
                  </a:cubicBezTo>
                  <a:cubicBezTo>
                    <a:pt x="430" y="141"/>
                    <a:pt x="429" y="137"/>
                    <a:pt x="429" y="133"/>
                  </a:cubicBezTo>
                  <a:cubicBezTo>
                    <a:pt x="425" y="138"/>
                    <a:pt x="420" y="141"/>
                    <a:pt x="416" y="146"/>
                  </a:cubicBezTo>
                  <a:cubicBezTo>
                    <a:pt x="418" y="143"/>
                    <a:pt x="420" y="139"/>
                    <a:pt x="423" y="136"/>
                  </a:cubicBezTo>
                  <a:cubicBezTo>
                    <a:pt x="415" y="135"/>
                    <a:pt x="410" y="137"/>
                    <a:pt x="404" y="142"/>
                  </a:cubicBezTo>
                  <a:cubicBezTo>
                    <a:pt x="402" y="143"/>
                    <a:pt x="392" y="139"/>
                    <a:pt x="386" y="140"/>
                  </a:cubicBezTo>
                  <a:cubicBezTo>
                    <a:pt x="388" y="141"/>
                    <a:pt x="389" y="142"/>
                    <a:pt x="391" y="144"/>
                  </a:cubicBezTo>
                  <a:cubicBezTo>
                    <a:pt x="384" y="147"/>
                    <a:pt x="383" y="148"/>
                    <a:pt x="377" y="153"/>
                  </a:cubicBezTo>
                  <a:cubicBezTo>
                    <a:pt x="377" y="151"/>
                    <a:pt x="377" y="149"/>
                    <a:pt x="377" y="147"/>
                  </a:cubicBezTo>
                  <a:cubicBezTo>
                    <a:pt x="369" y="152"/>
                    <a:pt x="369" y="148"/>
                    <a:pt x="365" y="156"/>
                  </a:cubicBezTo>
                  <a:cubicBezTo>
                    <a:pt x="365" y="154"/>
                    <a:pt x="365" y="153"/>
                    <a:pt x="365" y="152"/>
                  </a:cubicBezTo>
                  <a:cubicBezTo>
                    <a:pt x="352" y="158"/>
                    <a:pt x="344" y="156"/>
                    <a:pt x="335" y="167"/>
                  </a:cubicBezTo>
                  <a:cubicBezTo>
                    <a:pt x="338" y="166"/>
                    <a:pt x="341" y="165"/>
                    <a:pt x="344" y="164"/>
                  </a:cubicBezTo>
                  <a:cubicBezTo>
                    <a:pt x="341" y="171"/>
                    <a:pt x="335" y="175"/>
                    <a:pt x="329" y="175"/>
                  </a:cubicBezTo>
                  <a:cubicBezTo>
                    <a:pt x="325" y="182"/>
                    <a:pt x="323" y="190"/>
                    <a:pt x="317" y="195"/>
                  </a:cubicBezTo>
                  <a:cubicBezTo>
                    <a:pt x="309" y="201"/>
                    <a:pt x="295" y="204"/>
                    <a:pt x="295" y="215"/>
                  </a:cubicBezTo>
                  <a:cubicBezTo>
                    <a:pt x="295" y="233"/>
                    <a:pt x="268" y="247"/>
                    <a:pt x="255" y="256"/>
                  </a:cubicBezTo>
                  <a:cubicBezTo>
                    <a:pt x="257" y="257"/>
                    <a:pt x="260" y="257"/>
                    <a:pt x="263" y="258"/>
                  </a:cubicBezTo>
                  <a:cubicBezTo>
                    <a:pt x="245" y="260"/>
                    <a:pt x="196" y="302"/>
                    <a:pt x="230" y="312"/>
                  </a:cubicBezTo>
                  <a:cubicBezTo>
                    <a:pt x="227" y="314"/>
                    <a:pt x="224" y="319"/>
                    <a:pt x="221" y="321"/>
                  </a:cubicBezTo>
                  <a:cubicBezTo>
                    <a:pt x="234" y="319"/>
                    <a:pt x="233" y="325"/>
                    <a:pt x="221" y="330"/>
                  </a:cubicBezTo>
                  <a:cubicBezTo>
                    <a:pt x="235" y="342"/>
                    <a:pt x="264" y="337"/>
                    <a:pt x="271" y="319"/>
                  </a:cubicBezTo>
                  <a:cubicBezTo>
                    <a:pt x="274" y="322"/>
                    <a:pt x="276" y="326"/>
                    <a:pt x="279" y="329"/>
                  </a:cubicBezTo>
                  <a:cubicBezTo>
                    <a:pt x="277" y="328"/>
                    <a:pt x="287" y="346"/>
                    <a:pt x="287" y="346"/>
                  </a:cubicBezTo>
                  <a:cubicBezTo>
                    <a:pt x="289" y="361"/>
                    <a:pt x="290" y="368"/>
                    <a:pt x="299" y="383"/>
                  </a:cubicBezTo>
                  <a:cubicBezTo>
                    <a:pt x="319" y="372"/>
                    <a:pt x="329" y="363"/>
                    <a:pt x="330" y="343"/>
                  </a:cubicBezTo>
                  <a:cubicBezTo>
                    <a:pt x="331" y="329"/>
                    <a:pt x="346" y="331"/>
                    <a:pt x="350" y="319"/>
                  </a:cubicBezTo>
                  <a:cubicBezTo>
                    <a:pt x="354" y="306"/>
                    <a:pt x="339" y="305"/>
                    <a:pt x="338" y="294"/>
                  </a:cubicBezTo>
                  <a:cubicBezTo>
                    <a:pt x="336" y="268"/>
                    <a:pt x="358" y="263"/>
                    <a:pt x="375" y="248"/>
                  </a:cubicBezTo>
                  <a:cubicBezTo>
                    <a:pt x="385" y="240"/>
                    <a:pt x="373" y="234"/>
                    <a:pt x="390" y="226"/>
                  </a:cubicBezTo>
                  <a:cubicBezTo>
                    <a:pt x="405" y="220"/>
                    <a:pt x="409" y="221"/>
                    <a:pt x="421" y="233"/>
                  </a:cubicBezTo>
                  <a:cubicBezTo>
                    <a:pt x="407" y="238"/>
                    <a:pt x="353" y="277"/>
                    <a:pt x="381" y="288"/>
                  </a:cubicBezTo>
                  <a:cubicBezTo>
                    <a:pt x="358" y="300"/>
                    <a:pt x="398" y="313"/>
                    <a:pt x="407" y="312"/>
                  </a:cubicBezTo>
                  <a:cubicBezTo>
                    <a:pt x="430" y="310"/>
                    <a:pt x="438" y="293"/>
                    <a:pt x="456" y="312"/>
                  </a:cubicBezTo>
                  <a:cubicBezTo>
                    <a:pt x="438" y="329"/>
                    <a:pt x="410" y="306"/>
                    <a:pt x="397" y="330"/>
                  </a:cubicBezTo>
                  <a:cubicBezTo>
                    <a:pt x="415" y="337"/>
                    <a:pt x="400" y="359"/>
                    <a:pt x="390" y="344"/>
                  </a:cubicBezTo>
                  <a:cubicBezTo>
                    <a:pt x="390" y="342"/>
                    <a:pt x="391" y="341"/>
                    <a:pt x="392" y="340"/>
                  </a:cubicBezTo>
                  <a:cubicBezTo>
                    <a:pt x="392" y="336"/>
                    <a:pt x="397" y="335"/>
                    <a:pt x="391" y="332"/>
                  </a:cubicBezTo>
                  <a:cubicBezTo>
                    <a:pt x="388" y="337"/>
                    <a:pt x="390" y="335"/>
                    <a:pt x="390" y="340"/>
                  </a:cubicBezTo>
                  <a:cubicBezTo>
                    <a:pt x="387" y="341"/>
                    <a:pt x="385" y="342"/>
                    <a:pt x="382" y="342"/>
                  </a:cubicBezTo>
                  <a:cubicBezTo>
                    <a:pt x="383" y="343"/>
                    <a:pt x="384" y="344"/>
                    <a:pt x="384" y="345"/>
                  </a:cubicBezTo>
                  <a:cubicBezTo>
                    <a:pt x="375" y="357"/>
                    <a:pt x="363" y="389"/>
                    <a:pt x="365" y="393"/>
                  </a:cubicBezTo>
                  <a:cubicBezTo>
                    <a:pt x="361" y="393"/>
                    <a:pt x="354" y="394"/>
                    <a:pt x="350" y="393"/>
                  </a:cubicBezTo>
                  <a:cubicBezTo>
                    <a:pt x="351" y="390"/>
                    <a:pt x="353" y="388"/>
                    <a:pt x="354" y="386"/>
                  </a:cubicBezTo>
                  <a:cubicBezTo>
                    <a:pt x="340" y="380"/>
                    <a:pt x="336" y="392"/>
                    <a:pt x="324" y="396"/>
                  </a:cubicBezTo>
                  <a:cubicBezTo>
                    <a:pt x="315" y="399"/>
                    <a:pt x="301" y="400"/>
                    <a:pt x="302" y="391"/>
                  </a:cubicBezTo>
                  <a:cubicBezTo>
                    <a:pt x="297" y="390"/>
                    <a:pt x="292" y="391"/>
                    <a:pt x="287" y="394"/>
                  </a:cubicBezTo>
                  <a:cubicBezTo>
                    <a:pt x="291" y="390"/>
                    <a:pt x="294" y="385"/>
                    <a:pt x="293" y="380"/>
                  </a:cubicBezTo>
                  <a:cubicBezTo>
                    <a:pt x="288" y="368"/>
                    <a:pt x="271" y="383"/>
                    <a:pt x="285" y="390"/>
                  </a:cubicBezTo>
                  <a:cubicBezTo>
                    <a:pt x="284" y="392"/>
                    <a:pt x="282" y="393"/>
                    <a:pt x="281" y="395"/>
                  </a:cubicBezTo>
                  <a:cubicBezTo>
                    <a:pt x="281" y="396"/>
                    <a:pt x="282" y="397"/>
                    <a:pt x="283" y="396"/>
                  </a:cubicBezTo>
                  <a:cubicBezTo>
                    <a:pt x="281" y="398"/>
                    <a:pt x="280" y="399"/>
                    <a:pt x="278" y="400"/>
                  </a:cubicBezTo>
                  <a:cubicBezTo>
                    <a:pt x="268" y="393"/>
                    <a:pt x="255" y="375"/>
                    <a:pt x="276" y="366"/>
                  </a:cubicBezTo>
                  <a:cubicBezTo>
                    <a:pt x="269" y="361"/>
                    <a:pt x="270" y="352"/>
                    <a:pt x="274" y="344"/>
                  </a:cubicBezTo>
                  <a:cubicBezTo>
                    <a:pt x="267" y="352"/>
                    <a:pt x="244" y="357"/>
                    <a:pt x="249" y="371"/>
                  </a:cubicBezTo>
                  <a:cubicBezTo>
                    <a:pt x="251" y="379"/>
                    <a:pt x="252" y="386"/>
                    <a:pt x="254" y="393"/>
                  </a:cubicBezTo>
                  <a:cubicBezTo>
                    <a:pt x="258" y="407"/>
                    <a:pt x="248" y="401"/>
                    <a:pt x="242" y="403"/>
                  </a:cubicBezTo>
                  <a:cubicBezTo>
                    <a:pt x="229" y="409"/>
                    <a:pt x="226" y="408"/>
                    <a:pt x="218" y="417"/>
                  </a:cubicBezTo>
                  <a:cubicBezTo>
                    <a:pt x="207" y="430"/>
                    <a:pt x="209" y="439"/>
                    <a:pt x="187" y="437"/>
                  </a:cubicBezTo>
                  <a:cubicBezTo>
                    <a:pt x="193" y="460"/>
                    <a:pt x="172" y="447"/>
                    <a:pt x="168" y="463"/>
                  </a:cubicBezTo>
                  <a:cubicBezTo>
                    <a:pt x="164" y="459"/>
                    <a:pt x="157" y="458"/>
                    <a:pt x="153" y="454"/>
                  </a:cubicBezTo>
                  <a:cubicBezTo>
                    <a:pt x="155" y="457"/>
                    <a:pt x="155" y="460"/>
                    <a:pt x="159" y="464"/>
                  </a:cubicBezTo>
                  <a:cubicBezTo>
                    <a:pt x="149" y="478"/>
                    <a:pt x="138" y="464"/>
                    <a:pt x="125" y="473"/>
                  </a:cubicBezTo>
                  <a:cubicBezTo>
                    <a:pt x="132" y="479"/>
                    <a:pt x="140" y="485"/>
                    <a:pt x="150" y="485"/>
                  </a:cubicBezTo>
                  <a:cubicBezTo>
                    <a:pt x="155" y="485"/>
                    <a:pt x="162" y="503"/>
                    <a:pt x="164" y="508"/>
                  </a:cubicBezTo>
                  <a:cubicBezTo>
                    <a:pt x="163" y="509"/>
                    <a:pt x="161" y="509"/>
                    <a:pt x="159" y="509"/>
                  </a:cubicBezTo>
                  <a:cubicBezTo>
                    <a:pt x="178" y="525"/>
                    <a:pt x="148" y="534"/>
                    <a:pt x="135" y="531"/>
                  </a:cubicBezTo>
                  <a:cubicBezTo>
                    <a:pt x="129" y="529"/>
                    <a:pt x="123" y="530"/>
                    <a:pt x="117" y="530"/>
                  </a:cubicBezTo>
                  <a:cubicBezTo>
                    <a:pt x="113" y="530"/>
                    <a:pt x="109" y="534"/>
                    <a:pt x="105" y="534"/>
                  </a:cubicBezTo>
                  <a:cubicBezTo>
                    <a:pt x="101" y="534"/>
                    <a:pt x="98" y="527"/>
                    <a:pt x="96" y="527"/>
                  </a:cubicBezTo>
                  <a:cubicBezTo>
                    <a:pt x="89" y="529"/>
                    <a:pt x="77" y="534"/>
                    <a:pt x="81" y="542"/>
                  </a:cubicBezTo>
                  <a:cubicBezTo>
                    <a:pt x="88" y="554"/>
                    <a:pt x="83" y="558"/>
                    <a:pt x="82" y="570"/>
                  </a:cubicBezTo>
                  <a:cubicBezTo>
                    <a:pt x="81" y="584"/>
                    <a:pt x="87" y="597"/>
                    <a:pt x="87" y="611"/>
                  </a:cubicBezTo>
                  <a:cubicBezTo>
                    <a:pt x="103" y="591"/>
                    <a:pt x="110" y="622"/>
                    <a:pt x="121" y="616"/>
                  </a:cubicBezTo>
                  <a:cubicBezTo>
                    <a:pt x="134" y="609"/>
                    <a:pt x="147" y="613"/>
                    <a:pt x="159" y="603"/>
                  </a:cubicBezTo>
                  <a:cubicBezTo>
                    <a:pt x="173" y="590"/>
                    <a:pt x="167" y="573"/>
                    <a:pt x="181" y="562"/>
                  </a:cubicBezTo>
                  <a:cubicBezTo>
                    <a:pt x="187" y="558"/>
                    <a:pt x="198" y="556"/>
                    <a:pt x="202" y="549"/>
                  </a:cubicBezTo>
                  <a:cubicBezTo>
                    <a:pt x="202" y="548"/>
                    <a:pt x="190" y="530"/>
                    <a:pt x="206" y="532"/>
                  </a:cubicBezTo>
                  <a:cubicBezTo>
                    <a:pt x="216" y="534"/>
                    <a:pt x="220" y="537"/>
                    <a:pt x="230" y="534"/>
                  </a:cubicBezTo>
                  <a:cubicBezTo>
                    <a:pt x="238" y="533"/>
                    <a:pt x="242" y="526"/>
                    <a:pt x="247" y="524"/>
                  </a:cubicBezTo>
                  <a:cubicBezTo>
                    <a:pt x="253" y="523"/>
                    <a:pt x="265" y="523"/>
                    <a:pt x="270" y="526"/>
                  </a:cubicBezTo>
                  <a:cubicBezTo>
                    <a:pt x="279" y="529"/>
                    <a:pt x="268" y="540"/>
                    <a:pt x="279" y="546"/>
                  </a:cubicBezTo>
                  <a:cubicBezTo>
                    <a:pt x="292" y="553"/>
                    <a:pt x="308" y="557"/>
                    <a:pt x="315" y="568"/>
                  </a:cubicBezTo>
                  <a:cubicBezTo>
                    <a:pt x="318" y="574"/>
                    <a:pt x="324" y="575"/>
                    <a:pt x="327" y="582"/>
                  </a:cubicBezTo>
                  <a:cubicBezTo>
                    <a:pt x="331" y="588"/>
                    <a:pt x="320" y="589"/>
                    <a:pt x="324" y="598"/>
                  </a:cubicBezTo>
                  <a:cubicBezTo>
                    <a:pt x="337" y="588"/>
                    <a:pt x="327" y="575"/>
                    <a:pt x="338" y="564"/>
                  </a:cubicBezTo>
                  <a:cubicBezTo>
                    <a:pt x="341" y="568"/>
                    <a:pt x="346" y="569"/>
                    <a:pt x="348" y="573"/>
                  </a:cubicBezTo>
                  <a:cubicBezTo>
                    <a:pt x="347" y="560"/>
                    <a:pt x="337" y="558"/>
                    <a:pt x="327" y="554"/>
                  </a:cubicBezTo>
                  <a:cubicBezTo>
                    <a:pt x="322" y="552"/>
                    <a:pt x="334" y="548"/>
                    <a:pt x="323" y="547"/>
                  </a:cubicBezTo>
                  <a:cubicBezTo>
                    <a:pt x="323" y="547"/>
                    <a:pt x="312" y="549"/>
                    <a:pt x="312" y="550"/>
                  </a:cubicBezTo>
                  <a:cubicBezTo>
                    <a:pt x="301" y="541"/>
                    <a:pt x="297" y="521"/>
                    <a:pt x="287" y="510"/>
                  </a:cubicBezTo>
                  <a:cubicBezTo>
                    <a:pt x="294" y="504"/>
                    <a:pt x="317" y="507"/>
                    <a:pt x="318" y="514"/>
                  </a:cubicBezTo>
                  <a:cubicBezTo>
                    <a:pt x="319" y="537"/>
                    <a:pt x="330" y="531"/>
                    <a:pt x="345" y="536"/>
                  </a:cubicBezTo>
                  <a:cubicBezTo>
                    <a:pt x="358" y="540"/>
                    <a:pt x="358" y="559"/>
                    <a:pt x="360" y="569"/>
                  </a:cubicBezTo>
                  <a:cubicBezTo>
                    <a:pt x="362" y="579"/>
                    <a:pt x="371" y="574"/>
                    <a:pt x="374" y="587"/>
                  </a:cubicBezTo>
                  <a:cubicBezTo>
                    <a:pt x="374" y="589"/>
                    <a:pt x="380" y="593"/>
                    <a:pt x="384" y="594"/>
                  </a:cubicBezTo>
                  <a:cubicBezTo>
                    <a:pt x="373" y="605"/>
                    <a:pt x="385" y="611"/>
                    <a:pt x="397" y="608"/>
                  </a:cubicBezTo>
                  <a:cubicBezTo>
                    <a:pt x="394" y="602"/>
                    <a:pt x="394" y="597"/>
                    <a:pt x="391" y="591"/>
                  </a:cubicBezTo>
                  <a:cubicBezTo>
                    <a:pt x="395" y="595"/>
                    <a:pt x="400" y="596"/>
                    <a:pt x="404" y="600"/>
                  </a:cubicBezTo>
                  <a:cubicBezTo>
                    <a:pt x="405" y="598"/>
                    <a:pt x="407" y="594"/>
                    <a:pt x="408" y="593"/>
                  </a:cubicBezTo>
                  <a:cubicBezTo>
                    <a:pt x="402" y="591"/>
                    <a:pt x="397" y="586"/>
                    <a:pt x="391" y="584"/>
                  </a:cubicBezTo>
                  <a:cubicBezTo>
                    <a:pt x="393" y="582"/>
                    <a:pt x="395" y="581"/>
                    <a:pt x="398" y="579"/>
                  </a:cubicBezTo>
                  <a:cubicBezTo>
                    <a:pt x="394" y="577"/>
                    <a:pt x="391" y="575"/>
                    <a:pt x="388" y="573"/>
                  </a:cubicBezTo>
                  <a:cubicBezTo>
                    <a:pt x="393" y="574"/>
                    <a:pt x="398" y="573"/>
                    <a:pt x="403" y="575"/>
                  </a:cubicBezTo>
                  <a:cubicBezTo>
                    <a:pt x="397" y="563"/>
                    <a:pt x="408" y="557"/>
                    <a:pt x="419" y="561"/>
                  </a:cubicBezTo>
                  <a:cubicBezTo>
                    <a:pt x="429" y="564"/>
                    <a:pt x="433" y="558"/>
                    <a:pt x="442" y="561"/>
                  </a:cubicBezTo>
                  <a:cubicBezTo>
                    <a:pt x="454" y="563"/>
                    <a:pt x="446" y="554"/>
                    <a:pt x="443" y="548"/>
                  </a:cubicBezTo>
                  <a:cubicBezTo>
                    <a:pt x="439" y="542"/>
                    <a:pt x="444" y="543"/>
                    <a:pt x="444" y="536"/>
                  </a:cubicBezTo>
                  <a:cubicBezTo>
                    <a:pt x="447" y="534"/>
                    <a:pt x="449" y="532"/>
                    <a:pt x="452" y="530"/>
                  </a:cubicBezTo>
                  <a:cubicBezTo>
                    <a:pt x="450" y="527"/>
                    <a:pt x="449" y="523"/>
                    <a:pt x="448" y="520"/>
                  </a:cubicBezTo>
                  <a:cubicBezTo>
                    <a:pt x="474" y="469"/>
                    <a:pt x="496" y="538"/>
                    <a:pt x="522" y="508"/>
                  </a:cubicBezTo>
                  <a:cubicBezTo>
                    <a:pt x="516" y="506"/>
                    <a:pt x="512" y="503"/>
                    <a:pt x="506" y="502"/>
                  </a:cubicBezTo>
                  <a:cubicBezTo>
                    <a:pt x="515" y="500"/>
                    <a:pt x="518" y="494"/>
                    <a:pt x="526" y="491"/>
                  </a:cubicBezTo>
                  <a:cubicBezTo>
                    <a:pt x="533" y="488"/>
                    <a:pt x="536" y="494"/>
                    <a:pt x="541" y="490"/>
                  </a:cubicBezTo>
                  <a:cubicBezTo>
                    <a:pt x="536" y="497"/>
                    <a:pt x="541" y="504"/>
                    <a:pt x="525" y="508"/>
                  </a:cubicBezTo>
                  <a:cubicBezTo>
                    <a:pt x="542" y="520"/>
                    <a:pt x="559" y="537"/>
                    <a:pt x="578" y="544"/>
                  </a:cubicBezTo>
                  <a:cubicBezTo>
                    <a:pt x="577" y="548"/>
                    <a:pt x="576" y="551"/>
                    <a:pt x="574" y="554"/>
                  </a:cubicBezTo>
                  <a:cubicBezTo>
                    <a:pt x="579" y="555"/>
                    <a:pt x="576" y="551"/>
                    <a:pt x="579" y="556"/>
                  </a:cubicBezTo>
                  <a:cubicBezTo>
                    <a:pt x="565" y="558"/>
                    <a:pt x="551" y="560"/>
                    <a:pt x="536" y="558"/>
                  </a:cubicBezTo>
                  <a:cubicBezTo>
                    <a:pt x="523" y="556"/>
                    <a:pt x="507" y="540"/>
                    <a:pt x="492" y="552"/>
                  </a:cubicBezTo>
                  <a:cubicBezTo>
                    <a:pt x="482" y="559"/>
                    <a:pt x="467" y="556"/>
                    <a:pt x="456" y="560"/>
                  </a:cubicBezTo>
                  <a:cubicBezTo>
                    <a:pt x="448" y="563"/>
                    <a:pt x="425" y="570"/>
                    <a:pt x="422" y="576"/>
                  </a:cubicBezTo>
                  <a:cubicBezTo>
                    <a:pt x="426" y="575"/>
                    <a:pt x="430" y="577"/>
                    <a:pt x="434" y="576"/>
                  </a:cubicBezTo>
                  <a:cubicBezTo>
                    <a:pt x="425" y="590"/>
                    <a:pt x="437" y="603"/>
                    <a:pt x="442" y="607"/>
                  </a:cubicBezTo>
                  <a:cubicBezTo>
                    <a:pt x="448" y="620"/>
                    <a:pt x="466" y="610"/>
                    <a:pt x="479" y="613"/>
                  </a:cubicBezTo>
                  <a:cubicBezTo>
                    <a:pt x="501" y="617"/>
                    <a:pt x="504" y="612"/>
                    <a:pt x="523" y="608"/>
                  </a:cubicBezTo>
                  <a:cubicBezTo>
                    <a:pt x="520" y="616"/>
                    <a:pt x="516" y="624"/>
                    <a:pt x="524" y="630"/>
                  </a:cubicBezTo>
                  <a:cubicBezTo>
                    <a:pt x="506" y="638"/>
                    <a:pt x="517" y="661"/>
                    <a:pt x="507" y="670"/>
                  </a:cubicBezTo>
                  <a:cubicBezTo>
                    <a:pt x="502" y="675"/>
                    <a:pt x="492" y="672"/>
                    <a:pt x="486" y="673"/>
                  </a:cubicBezTo>
                  <a:cubicBezTo>
                    <a:pt x="481" y="673"/>
                    <a:pt x="477" y="672"/>
                    <a:pt x="473" y="671"/>
                  </a:cubicBezTo>
                  <a:cubicBezTo>
                    <a:pt x="464" y="669"/>
                    <a:pt x="467" y="677"/>
                    <a:pt x="461" y="677"/>
                  </a:cubicBezTo>
                  <a:cubicBezTo>
                    <a:pt x="453" y="677"/>
                    <a:pt x="448" y="671"/>
                    <a:pt x="437" y="673"/>
                  </a:cubicBezTo>
                  <a:cubicBezTo>
                    <a:pt x="435" y="674"/>
                    <a:pt x="416" y="667"/>
                    <a:pt x="413" y="666"/>
                  </a:cubicBezTo>
                  <a:cubicBezTo>
                    <a:pt x="402" y="660"/>
                    <a:pt x="390" y="650"/>
                    <a:pt x="383" y="649"/>
                  </a:cubicBezTo>
                  <a:cubicBezTo>
                    <a:pt x="377" y="661"/>
                    <a:pt x="353" y="660"/>
                    <a:pt x="368" y="675"/>
                  </a:cubicBezTo>
                  <a:cubicBezTo>
                    <a:pt x="360" y="678"/>
                    <a:pt x="351" y="682"/>
                    <a:pt x="344" y="676"/>
                  </a:cubicBezTo>
                  <a:cubicBezTo>
                    <a:pt x="339" y="671"/>
                    <a:pt x="338" y="672"/>
                    <a:pt x="332" y="672"/>
                  </a:cubicBezTo>
                  <a:cubicBezTo>
                    <a:pt x="325" y="672"/>
                    <a:pt x="331" y="662"/>
                    <a:pt x="326" y="661"/>
                  </a:cubicBezTo>
                  <a:cubicBezTo>
                    <a:pt x="319" y="657"/>
                    <a:pt x="303" y="649"/>
                    <a:pt x="296" y="649"/>
                  </a:cubicBezTo>
                  <a:cubicBezTo>
                    <a:pt x="283" y="651"/>
                    <a:pt x="282" y="644"/>
                    <a:pt x="272" y="636"/>
                  </a:cubicBezTo>
                  <a:cubicBezTo>
                    <a:pt x="285" y="630"/>
                    <a:pt x="274" y="617"/>
                    <a:pt x="284" y="605"/>
                  </a:cubicBezTo>
                  <a:cubicBezTo>
                    <a:pt x="272" y="609"/>
                    <a:pt x="256" y="604"/>
                    <a:pt x="242" y="605"/>
                  </a:cubicBezTo>
                  <a:cubicBezTo>
                    <a:pt x="227" y="606"/>
                    <a:pt x="211" y="609"/>
                    <a:pt x="196" y="610"/>
                  </a:cubicBezTo>
                  <a:cubicBezTo>
                    <a:pt x="189" y="611"/>
                    <a:pt x="177" y="612"/>
                    <a:pt x="172" y="616"/>
                  </a:cubicBezTo>
                  <a:cubicBezTo>
                    <a:pt x="168" y="621"/>
                    <a:pt x="156" y="631"/>
                    <a:pt x="152" y="628"/>
                  </a:cubicBezTo>
                  <a:cubicBezTo>
                    <a:pt x="136" y="621"/>
                    <a:pt x="120" y="621"/>
                    <a:pt x="109" y="628"/>
                  </a:cubicBezTo>
                  <a:cubicBezTo>
                    <a:pt x="104" y="632"/>
                    <a:pt x="100" y="640"/>
                    <a:pt x="95" y="645"/>
                  </a:cubicBezTo>
                  <a:cubicBezTo>
                    <a:pt x="89" y="650"/>
                    <a:pt x="94" y="653"/>
                    <a:pt x="91" y="658"/>
                  </a:cubicBezTo>
                  <a:cubicBezTo>
                    <a:pt x="88" y="662"/>
                    <a:pt x="83" y="662"/>
                    <a:pt x="79" y="667"/>
                  </a:cubicBezTo>
                  <a:cubicBezTo>
                    <a:pt x="74" y="675"/>
                    <a:pt x="84" y="677"/>
                    <a:pt x="79" y="685"/>
                  </a:cubicBezTo>
                  <a:cubicBezTo>
                    <a:pt x="74" y="694"/>
                    <a:pt x="72" y="698"/>
                    <a:pt x="63" y="702"/>
                  </a:cubicBezTo>
                  <a:cubicBezTo>
                    <a:pt x="47" y="707"/>
                    <a:pt x="38" y="722"/>
                    <a:pt x="29" y="736"/>
                  </a:cubicBezTo>
                  <a:cubicBezTo>
                    <a:pt x="26" y="740"/>
                    <a:pt x="21" y="743"/>
                    <a:pt x="18" y="747"/>
                  </a:cubicBezTo>
                  <a:cubicBezTo>
                    <a:pt x="17" y="749"/>
                    <a:pt x="23" y="756"/>
                    <a:pt x="21" y="758"/>
                  </a:cubicBezTo>
                  <a:cubicBezTo>
                    <a:pt x="17" y="769"/>
                    <a:pt x="6" y="761"/>
                    <a:pt x="12" y="779"/>
                  </a:cubicBezTo>
                  <a:cubicBezTo>
                    <a:pt x="18" y="800"/>
                    <a:pt x="13" y="811"/>
                    <a:pt x="9" y="829"/>
                  </a:cubicBezTo>
                  <a:cubicBezTo>
                    <a:pt x="7" y="838"/>
                    <a:pt x="0" y="862"/>
                    <a:pt x="9" y="869"/>
                  </a:cubicBezTo>
                  <a:cubicBezTo>
                    <a:pt x="14" y="872"/>
                    <a:pt x="24" y="877"/>
                    <a:pt x="28" y="882"/>
                  </a:cubicBezTo>
                  <a:cubicBezTo>
                    <a:pt x="36" y="891"/>
                    <a:pt x="32" y="898"/>
                    <a:pt x="44" y="904"/>
                  </a:cubicBezTo>
                  <a:cubicBezTo>
                    <a:pt x="55" y="910"/>
                    <a:pt x="49" y="918"/>
                    <a:pt x="54" y="925"/>
                  </a:cubicBezTo>
                  <a:cubicBezTo>
                    <a:pt x="58" y="930"/>
                    <a:pt x="74" y="935"/>
                    <a:pt x="79" y="939"/>
                  </a:cubicBezTo>
                  <a:cubicBezTo>
                    <a:pt x="87" y="944"/>
                    <a:pt x="87" y="947"/>
                    <a:pt x="97" y="949"/>
                  </a:cubicBezTo>
                  <a:cubicBezTo>
                    <a:pt x="103" y="950"/>
                    <a:pt x="116" y="942"/>
                    <a:pt x="122" y="942"/>
                  </a:cubicBezTo>
                  <a:cubicBezTo>
                    <a:pt x="129" y="941"/>
                    <a:pt x="138" y="942"/>
                    <a:pt x="145" y="945"/>
                  </a:cubicBezTo>
                  <a:cubicBezTo>
                    <a:pt x="159" y="949"/>
                    <a:pt x="160" y="939"/>
                    <a:pt x="170" y="935"/>
                  </a:cubicBezTo>
                  <a:cubicBezTo>
                    <a:pt x="181" y="931"/>
                    <a:pt x="207" y="926"/>
                    <a:pt x="215" y="936"/>
                  </a:cubicBezTo>
                  <a:cubicBezTo>
                    <a:pt x="223" y="946"/>
                    <a:pt x="246" y="955"/>
                    <a:pt x="258" y="947"/>
                  </a:cubicBezTo>
                  <a:cubicBezTo>
                    <a:pt x="258" y="958"/>
                    <a:pt x="270" y="958"/>
                    <a:pt x="271" y="963"/>
                  </a:cubicBezTo>
                  <a:cubicBezTo>
                    <a:pt x="272" y="967"/>
                    <a:pt x="266" y="982"/>
                    <a:pt x="265" y="985"/>
                  </a:cubicBezTo>
                  <a:cubicBezTo>
                    <a:pt x="262" y="996"/>
                    <a:pt x="258" y="993"/>
                    <a:pt x="262" y="1008"/>
                  </a:cubicBezTo>
                  <a:cubicBezTo>
                    <a:pt x="265" y="1017"/>
                    <a:pt x="275" y="1031"/>
                    <a:pt x="283" y="1035"/>
                  </a:cubicBezTo>
                  <a:cubicBezTo>
                    <a:pt x="284" y="1035"/>
                    <a:pt x="299" y="1080"/>
                    <a:pt x="298" y="1083"/>
                  </a:cubicBezTo>
                  <a:cubicBezTo>
                    <a:pt x="297" y="1093"/>
                    <a:pt x="308" y="1096"/>
                    <a:pt x="308" y="1108"/>
                  </a:cubicBezTo>
                  <a:cubicBezTo>
                    <a:pt x="308" y="1116"/>
                    <a:pt x="294" y="1128"/>
                    <a:pt x="289" y="1135"/>
                  </a:cubicBezTo>
                  <a:cubicBezTo>
                    <a:pt x="282" y="1146"/>
                    <a:pt x="283" y="1179"/>
                    <a:pt x="291" y="1189"/>
                  </a:cubicBezTo>
                  <a:cubicBezTo>
                    <a:pt x="306" y="1207"/>
                    <a:pt x="306" y="1219"/>
                    <a:pt x="309" y="1242"/>
                  </a:cubicBezTo>
                  <a:cubicBezTo>
                    <a:pt x="312" y="1260"/>
                    <a:pt x="324" y="1279"/>
                    <a:pt x="332" y="1295"/>
                  </a:cubicBezTo>
                  <a:cubicBezTo>
                    <a:pt x="335" y="1300"/>
                    <a:pt x="340" y="1296"/>
                    <a:pt x="341" y="1302"/>
                  </a:cubicBezTo>
                  <a:cubicBezTo>
                    <a:pt x="342" y="1309"/>
                    <a:pt x="341" y="1311"/>
                    <a:pt x="345" y="1316"/>
                  </a:cubicBezTo>
                  <a:cubicBezTo>
                    <a:pt x="350" y="1321"/>
                    <a:pt x="350" y="1337"/>
                    <a:pt x="353" y="1345"/>
                  </a:cubicBezTo>
                  <a:cubicBezTo>
                    <a:pt x="356" y="1346"/>
                    <a:pt x="365" y="1353"/>
                    <a:pt x="370" y="1350"/>
                  </a:cubicBezTo>
                  <a:cubicBezTo>
                    <a:pt x="376" y="1346"/>
                    <a:pt x="391" y="1338"/>
                    <a:pt x="397" y="1338"/>
                  </a:cubicBezTo>
                  <a:cubicBezTo>
                    <a:pt x="409" y="1338"/>
                    <a:pt x="407" y="1349"/>
                    <a:pt x="419" y="1342"/>
                  </a:cubicBezTo>
                  <a:cubicBezTo>
                    <a:pt x="427" y="1338"/>
                    <a:pt x="435" y="1340"/>
                    <a:pt x="442" y="1333"/>
                  </a:cubicBezTo>
                  <a:cubicBezTo>
                    <a:pt x="452" y="1321"/>
                    <a:pt x="474" y="1307"/>
                    <a:pt x="476" y="1289"/>
                  </a:cubicBezTo>
                  <a:cubicBezTo>
                    <a:pt x="477" y="1278"/>
                    <a:pt x="492" y="1284"/>
                    <a:pt x="489" y="1268"/>
                  </a:cubicBezTo>
                  <a:cubicBezTo>
                    <a:pt x="487" y="1255"/>
                    <a:pt x="487" y="1259"/>
                    <a:pt x="494" y="1247"/>
                  </a:cubicBezTo>
                  <a:cubicBezTo>
                    <a:pt x="499" y="1238"/>
                    <a:pt x="512" y="1244"/>
                    <a:pt x="515" y="1239"/>
                  </a:cubicBezTo>
                  <a:cubicBezTo>
                    <a:pt x="521" y="1232"/>
                    <a:pt x="517" y="1217"/>
                    <a:pt x="515" y="1209"/>
                  </a:cubicBezTo>
                  <a:cubicBezTo>
                    <a:pt x="513" y="1198"/>
                    <a:pt x="504" y="1198"/>
                    <a:pt x="509" y="1185"/>
                  </a:cubicBezTo>
                  <a:cubicBezTo>
                    <a:pt x="511" y="1180"/>
                    <a:pt x="522" y="1174"/>
                    <a:pt x="528" y="1174"/>
                  </a:cubicBezTo>
                  <a:cubicBezTo>
                    <a:pt x="538" y="1173"/>
                    <a:pt x="565" y="1155"/>
                    <a:pt x="564" y="1142"/>
                  </a:cubicBezTo>
                  <a:cubicBezTo>
                    <a:pt x="563" y="1127"/>
                    <a:pt x="561" y="1106"/>
                    <a:pt x="570" y="1096"/>
                  </a:cubicBezTo>
                  <a:cubicBezTo>
                    <a:pt x="561" y="1089"/>
                    <a:pt x="556" y="1082"/>
                    <a:pt x="553" y="1071"/>
                  </a:cubicBezTo>
                  <a:cubicBezTo>
                    <a:pt x="553" y="1070"/>
                    <a:pt x="551" y="1041"/>
                    <a:pt x="551" y="1041"/>
                  </a:cubicBezTo>
                  <a:cubicBezTo>
                    <a:pt x="555" y="1031"/>
                    <a:pt x="568" y="1036"/>
                    <a:pt x="567" y="1021"/>
                  </a:cubicBezTo>
                  <a:cubicBezTo>
                    <a:pt x="566" y="1009"/>
                    <a:pt x="574" y="1002"/>
                    <a:pt x="583" y="995"/>
                  </a:cubicBezTo>
                  <a:cubicBezTo>
                    <a:pt x="591" y="989"/>
                    <a:pt x="599" y="988"/>
                    <a:pt x="607" y="983"/>
                  </a:cubicBezTo>
                  <a:cubicBezTo>
                    <a:pt x="616" y="977"/>
                    <a:pt x="620" y="965"/>
                    <a:pt x="630" y="961"/>
                  </a:cubicBezTo>
                  <a:cubicBezTo>
                    <a:pt x="638" y="958"/>
                    <a:pt x="640" y="940"/>
                    <a:pt x="645" y="933"/>
                  </a:cubicBezTo>
                  <a:cubicBezTo>
                    <a:pt x="650" y="925"/>
                    <a:pt x="655" y="911"/>
                    <a:pt x="663" y="906"/>
                  </a:cubicBezTo>
                  <a:cubicBezTo>
                    <a:pt x="671" y="902"/>
                    <a:pt x="674" y="852"/>
                    <a:pt x="652" y="879"/>
                  </a:cubicBezTo>
                  <a:cubicBezTo>
                    <a:pt x="649" y="883"/>
                    <a:pt x="603" y="887"/>
                    <a:pt x="597" y="883"/>
                  </a:cubicBezTo>
                  <a:cubicBezTo>
                    <a:pt x="589" y="876"/>
                    <a:pt x="592" y="865"/>
                    <a:pt x="586" y="862"/>
                  </a:cubicBezTo>
                  <a:cubicBezTo>
                    <a:pt x="578" y="860"/>
                    <a:pt x="584" y="856"/>
                    <a:pt x="579" y="851"/>
                  </a:cubicBezTo>
                  <a:cubicBezTo>
                    <a:pt x="574" y="846"/>
                    <a:pt x="568" y="843"/>
                    <a:pt x="564" y="839"/>
                  </a:cubicBezTo>
                  <a:cubicBezTo>
                    <a:pt x="553" y="826"/>
                    <a:pt x="547" y="800"/>
                    <a:pt x="530" y="795"/>
                  </a:cubicBezTo>
                  <a:cubicBezTo>
                    <a:pt x="538" y="786"/>
                    <a:pt x="520" y="753"/>
                    <a:pt x="514" y="741"/>
                  </a:cubicBezTo>
                  <a:cubicBezTo>
                    <a:pt x="506" y="721"/>
                    <a:pt x="490" y="705"/>
                    <a:pt x="483" y="685"/>
                  </a:cubicBezTo>
                  <a:cubicBezTo>
                    <a:pt x="493" y="688"/>
                    <a:pt x="494" y="705"/>
                    <a:pt x="495" y="705"/>
                  </a:cubicBezTo>
                  <a:cubicBezTo>
                    <a:pt x="503" y="708"/>
                    <a:pt x="509" y="698"/>
                    <a:pt x="514" y="691"/>
                  </a:cubicBezTo>
                  <a:cubicBezTo>
                    <a:pt x="508" y="712"/>
                    <a:pt x="541" y="741"/>
                    <a:pt x="548" y="760"/>
                  </a:cubicBezTo>
                  <a:cubicBezTo>
                    <a:pt x="551" y="767"/>
                    <a:pt x="548" y="788"/>
                    <a:pt x="558" y="789"/>
                  </a:cubicBezTo>
                  <a:cubicBezTo>
                    <a:pt x="567" y="789"/>
                    <a:pt x="567" y="789"/>
                    <a:pt x="567" y="798"/>
                  </a:cubicBezTo>
                  <a:cubicBezTo>
                    <a:pt x="568" y="809"/>
                    <a:pt x="577" y="807"/>
                    <a:pt x="581" y="813"/>
                  </a:cubicBezTo>
                  <a:cubicBezTo>
                    <a:pt x="588" y="826"/>
                    <a:pt x="589" y="878"/>
                    <a:pt x="612" y="866"/>
                  </a:cubicBezTo>
                  <a:cubicBezTo>
                    <a:pt x="623" y="860"/>
                    <a:pt x="636" y="859"/>
                    <a:pt x="645" y="854"/>
                  </a:cubicBezTo>
                  <a:cubicBezTo>
                    <a:pt x="652" y="850"/>
                    <a:pt x="649" y="841"/>
                    <a:pt x="659" y="842"/>
                  </a:cubicBezTo>
                  <a:cubicBezTo>
                    <a:pt x="667" y="844"/>
                    <a:pt x="674" y="838"/>
                    <a:pt x="683" y="838"/>
                  </a:cubicBezTo>
                  <a:cubicBezTo>
                    <a:pt x="674" y="818"/>
                    <a:pt x="715" y="821"/>
                    <a:pt x="722" y="809"/>
                  </a:cubicBezTo>
                  <a:cubicBezTo>
                    <a:pt x="730" y="797"/>
                    <a:pt x="769" y="771"/>
                    <a:pt x="750" y="759"/>
                  </a:cubicBezTo>
                  <a:cubicBezTo>
                    <a:pt x="749" y="761"/>
                    <a:pt x="748" y="763"/>
                    <a:pt x="747" y="764"/>
                  </a:cubicBezTo>
                  <a:cubicBezTo>
                    <a:pt x="747" y="759"/>
                    <a:pt x="743" y="754"/>
                    <a:pt x="743" y="749"/>
                  </a:cubicBezTo>
                  <a:cubicBezTo>
                    <a:pt x="729" y="758"/>
                    <a:pt x="717" y="738"/>
                    <a:pt x="717" y="725"/>
                  </a:cubicBezTo>
                  <a:cubicBezTo>
                    <a:pt x="704" y="733"/>
                    <a:pt x="707" y="745"/>
                    <a:pt x="692" y="747"/>
                  </a:cubicBezTo>
                  <a:cubicBezTo>
                    <a:pt x="680" y="749"/>
                    <a:pt x="670" y="742"/>
                    <a:pt x="673" y="730"/>
                  </a:cubicBezTo>
                  <a:cubicBezTo>
                    <a:pt x="651" y="731"/>
                    <a:pt x="636" y="690"/>
                    <a:pt x="648" y="676"/>
                  </a:cubicBezTo>
                  <a:cubicBezTo>
                    <a:pt x="666" y="684"/>
                    <a:pt x="696" y="747"/>
                    <a:pt x="721" y="714"/>
                  </a:cubicBezTo>
                  <a:cubicBezTo>
                    <a:pt x="726" y="732"/>
                    <a:pt x="742" y="736"/>
                    <a:pt x="759" y="735"/>
                  </a:cubicBezTo>
                  <a:cubicBezTo>
                    <a:pt x="766" y="735"/>
                    <a:pt x="771" y="739"/>
                    <a:pt x="777" y="739"/>
                  </a:cubicBezTo>
                  <a:cubicBezTo>
                    <a:pt x="784" y="738"/>
                    <a:pt x="788" y="732"/>
                    <a:pt x="797" y="732"/>
                  </a:cubicBezTo>
                  <a:cubicBezTo>
                    <a:pt x="821" y="732"/>
                    <a:pt x="817" y="735"/>
                    <a:pt x="829" y="752"/>
                  </a:cubicBezTo>
                  <a:cubicBezTo>
                    <a:pt x="834" y="758"/>
                    <a:pt x="865" y="758"/>
                    <a:pt x="847" y="767"/>
                  </a:cubicBezTo>
                  <a:cubicBezTo>
                    <a:pt x="854" y="795"/>
                    <a:pt x="873" y="776"/>
                    <a:pt x="880" y="766"/>
                  </a:cubicBezTo>
                  <a:cubicBezTo>
                    <a:pt x="879" y="775"/>
                    <a:pt x="883" y="772"/>
                    <a:pt x="885" y="781"/>
                  </a:cubicBezTo>
                  <a:cubicBezTo>
                    <a:pt x="885" y="786"/>
                    <a:pt x="880" y="793"/>
                    <a:pt x="880" y="795"/>
                  </a:cubicBezTo>
                  <a:cubicBezTo>
                    <a:pt x="880" y="810"/>
                    <a:pt x="890" y="823"/>
                    <a:pt x="894" y="836"/>
                  </a:cubicBezTo>
                  <a:cubicBezTo>
                    <a:pt x="901" y="860"/>
                    <a:pt x="907" y="895"/>
                    <a:pt x="929" y="907"/>
                  </a:cubicBezTo>
                  <a:cubicBezTo>
                    <a:pt x="933" y="899"/>
                    <a:pt x="944" y="894"/>
                    <a:pt x="951" y="886"/>
                  </a:cubicBezTo>
                  <a:cubicBezTo>
                    <a:pt x="946" y="875"/>
                    <a:pt x="962" y="851"/>
                    <a:pt x="953" y="843"/>
                  </a:cubicBezTo>
                  <a:cubicBezTo>
                    <a:pt x="942" y="833"/>
                    <a:pt x="966" y="833"/>
                    <a:pt x="968" y="829"/>
                  </a:cubicBezTo>
                  <a:cubicBezTo>
                    <a:pt x="972" y="820"/>
                    <a:pt x="978" y="812"/>
                    <a:pt x="985" y="806"/>
                  </a:cubicBezTo>
                  <a:cubicBezTo>
                    <a:pt x="989" y="803"/>
                    <a:pt x="1001" y="797"/>
                    <a:pt x="1005" y="794"/>
                  </a:cubicBezTo>
                  <a:cubicBezTo>
                    <a:pt x="1016" y="789"/>
                    <a:pt x="1011" y="781"/>
                    <a:pt x="1017" y="776"/>
                  </a:cubicBezTo>
                  <a:cubicBezTo>
                    <a:pt x="1031" y="764"/>
                    <a:pt x="1054" y="781"/>
                    <a:pt x="1059" y="760"/>
                  </a:cubicBezTo>
                  <a:cubicBezTo>
                    <a:pt x="1069" y="765"/>
                    <a:pt x="1080" y="781"/>
                    <a:pt x="1087" y="790"/>
                  </a:cubicBezTo>
                  <a:cubicBezTo>
                    <a:pt x="1097" y="805"/>
                    <a:pt x="1091" y="821"/>
                    <a:pt x="1101" y="835"/>
                  </a:cubicBezTo>
                  <a:cubicBezTo>
                    <a:pt x="1108" y="828"/>
                    <a:pt x="1114" y="825"/>
                    <a:pt x="1119" y="817"/>
                  </a:cubicBezTo>
                  <a:cubicBezTo>
                    <a:pt x="1130" y="828"/>
                    <a:pt x="1125" y="836"/>
                    <a:pt x="1128" y="850"/>
                  </a:cubicBezTo>
                  <a:cubicBezTo>
                    <a:pt x="1132" y="863"/>
                    <a:pt x="1143" y="872"/>
                    <a:pt x="1138" y="886"/>
                  </a:cubicBezTo>
                  <a:cubicBezTo>
                    <a:pt x="1149" y="877"/>
                    <a:pt x="1154" y="865"/>
                    <a:pt x="1151" y="852"/>
                  </a:cubicBezTo>
                  <a:cubicBezTo>
                    <a:pt x="1160" y="871"/>
                    <a:pt x="1167" y="859"/>
                    <a:pt x="1180" y="868"/>
                  </a:cubicBezTo>
                  <a:cubicBezTo>
                    <a:pt x="1190" y="875"/>
                    <a:pt x="1188" y="888"/>
                    <a:pt x="1203" y="892"/>
                  </a:cubicBezTo>
                  <a:cubicBezTo>
                    <a:pt x="1196" y="900"/>
                    <a:pt x="1199" y="897"/>
                    <a:pt x="1201" y="907"/>
                  </a:cubicBezTo>
                  <a:cubicBezTo>
                    <a:pt x="1202" y="903"/>
                    <a:pt x="1207" y="893"/>
                    <a:pt x="1210" y="890"/>
                  </a:cubicBezTo>
                  <a:cubicBezTo>
                    <a:pt x="1214" y="888"/>
                    <a:pt x="1217" y="886"/>
                    <a:pt x="1222" y="886"/>
                  </a:cubicBezTo>
                  <a:cubicBezTo>
                    <a:pt x="1231" y="885"/>
                    <a:pt x="1224" y="880"/>
                    <a:pt x="1230" y="875"/>
                  </a:cubicBezTo>
                  <a:cubicBezTo>
                    <a:pt x="1235" y="870"/>
                    <a:pt x="1236" y="881"/>
                    <a:pt x="1241" y="872"/>
                  </a:cubicBezTo>
                  <a:cubicBezTo>
                    <a:pt x="1244" y="867"/>
                    <a:pt x="1242" y="864"/>
                    <a:pt x="1242" y="859"/>
                  </a:cubicBezTo>
                  <a:cubicBezTo>
                    <a:pt x="1244" y="850"/>
                    <a:pt x="1242" y="831"/>
                    <a:pt x="1232" y="830"/>
                  </a:cubicBezTo>
                  <a:cubicBezTo>
                    <a:pt x="1223" y="828"/>
                    <a:pt x="1207" y="805"/>
                    <a:pt x="1208" y="794"/>
                  </a:cubicBezTo>
                  <a:cubicBezTo>
                    <a:pt x="1210" y="779"/>
                    <a:pt x="1248" y="758"/>
                    <a:pt x="1248" y="780"/>
                  </a:cubicBezTo>
                  <a:cubicBezTo>
                    <a:pt x="1260" y="771"/>
                    <a:pt x="1283" y="772"/>
                    <a:pt x="1286" y="755"/>
                  </a:cubicBezTo>
                  <a:cubicBezTo>
                    <a:pt x="1297" y="771"/>
                    <a:pt x="1309" y="753"/>
                    <a:pt x="1318" y="746"/>
                  </a:cubicBezTo>
                  <a:cubicBezTo>
                    <a:pt x="1324" y="741"/>
                    <a:pt x="1333" y="743"/>
                    <a:pt x="1339" y="738"/>
                  </a:cubicBezTo>
                  <a:cubicBezTo>
                    <a:pt x="1340" y="737"/>
                    <a:pt x="1335" y="729"/>
                    <a:pt x="1336" y="727"/>
                  </a:cubicBezTo>
                  <a:cubicBezTo>
                    <a:pt x="1339" y="722"/>
                    <a:pt x="1344" y="723"/>
                    <a:pt x="1346" y="718"/>
                  </a:cubicBezTo>
                  <a:cubicBezTo>
                    <a:pt x="1352" y="704"/>
                    <a:pt x="1361" y="698"/>
                    <a:pt x="1362" y="681"/>
                  </a:cubicBezTo>
                  <a:cubicBezTo>
                    <a:pt x="1362" y="678"/>
                    <a:pt x="1364" y="661"/>
                    <a:pt x="1363" y="658"/>
                  </a:cubicBezTo>
                  <a:cubicBezTo>
                    <a:pt x="1361" y="652"/>
                    <a:pt x="1352" y="652"/>
                    <a:pt x="1351" y="643"/>
                  </a:cubicBezTo>
                  <a:cubicBezTo>
                    <a:pt x="1350" y="643"/>
                    <a:pt x="1348" y="644"/>
                    <a:pt x="1346" y="644"/>
                  </a:cubicBezTo>
                  <a:cubicBezTo>
                    <a:pt x="1348" y="635"/>
                    <a:pt x="1349" y="636"/>
                    <a:pt x="1341" y="628"/>
                  </a:cubicBezTo>
                  <a:cubicBezTo>
                    <a:pt x="1352" y="620"/>
                    <a:pt x="1358" y="605"/>
                    <a:pt x="1373" y="603"/>
                  </a:cubicBezTo>
                  <a:cubicBezTo>
                    <a:pt x="1364" y="604"/>
                    <a:pt x="1356" y="601"/>
                    <a:pt x="1352" y="594"/>
                  </a:cubicBezTo>
                  <a:cubicBezTo>
                    <a:pt x="1350" y="617"/>
                    <a:pt x="1326" y="597"/>
                    <a:pt x="1329" y="583"/>
                  </a:cubicBezTo>
                  <a:cubicBezTo>
                    <a:pt x="1330" y="577"/>
                    <a:pt x="1359" y="561"/>
                    <a:pt x="1370" y="569"/>
                  </a:cubicBezTo>
                  <a:cubicBezTo>
                    <a:pt x="1363" y="574"/>
                    <a:pt x="1363" y="576"/>
                    <a:pt x="1359" y="583"/>
                  </a:cubicBezTo>
                  <a:cubicBezTo>
                    <a:pt x="1371" y="578"/>
                    <a:pt x="1388" y="568"/>
                    <a:pt x="1400" y="575"/>
                  </a:cubicBezTo>
                  <a:cubicBezTo>
                    <a:pt x="1387" y="590"/>
                    <a:pt x="1398" y="600"/>
                    <a:pt x="1415" y="602"/>
                  </a:cubicBezTo>
                  <a:cubicBezTo>
                    <a:pt x="1399" y="605"/>
                    <a:pt x="1415" y="622"/>
                    <a:pt x="1409" y="636"/>
                  </a:cubicBezTo>
                  <a:cubicBezTo>
                    <a:pt x="1422" y="629"/>
                    <a:pt x="1439" y="630"/>
                    <a:pt x="1442" y="614"/>
                  </a:cubicBezTo>
                  <a:cubicBezTo>
                    <a:pt x="1444" y="594"/>
                    <a:pt x="1422" y="593"/>
                    <a:pt x="1420" y="580"/>
                  </a:cubicBezTo>
                  <a:cubicBezTo>
                    <a:pt x="1418" y="567"/>
                    <a:pt x="1438" y="559"/>
                    <a:pt x="1447" y="553"/>
                  </a:cubicBezTo>
                  <a:cubicBezTo>
                    <a:pt x="1453" y="549"/>
                    <a:pt x="1452" y="539"/>
                    <a:pt x="1460" y="541"/>
                  </a:cubicBezTo>
                  <a:cubicBezTo>
                    <a:pt x="1465" y="542"/>
                    <a:pt x="1476" y="544"/>
                    <a:pt x="1480" y="543"/>
                  </a:cubicBezTo>
                  <a:cubicBezTo>
                    <a:pt x="1496" y="539"/>
                    <a:pt x="1510" y="522"/>
                    <a:pt x="1517" y="510"/>
                  </a:cubicBezTo>
                  <a:cubicBezTo>
                    <a:pt x="1521" y="502"/>
                    <a:pt x="1523" y="495"/>
                    <a:pt x="1527" y="487"/>
                  </a:cubicBezTo>
                  <a:cubicBezTo>
                    <a:pt x="1531" y="480"/>
                    <a:pt x="1539" y="482"/>
                    <a:pt x="1543" y="475"/>
                  </a:cubicBezTo>
                  <a:cubicBezTo>
                    <a:pt x="1548" y="467"/>
                    <a:pt x="1542" y="460"/>
                    <a:pt x="1545" y="451"/>
                  </a:cubicBezTo>
                  <a:cubicBezTo>
                    <a:pt x="1546" y="445"/>
                    <a:pt x="1554" y="437"/>
                    <a:pt x="1554" y="432"/>
                  </a:cubicBezTo>
                  <a:cubicBezTo>
                    <a:pt x="1554" y="421"/>
                    <a:pt x="1565" y="408"/>
                    <a:pt x="1551" y="398"/>
                  </a:cubicBezTo>
                  <a:cubicBezTo>
                    <a:pt x="1540" y="391"/>
                    <a:pt x="1527" y="400"/>
                    <a:pt x="1515" y="391"/>
                  </a:cubicBezTo>
                  <a:cubicBezTo>
                    <a:pt x="1498" y="377"/>
                    <a:pt x="1517" y="366"/>
                    <a:pt x="1528" y="359"/>
                  </a:cubicBezTo>
                  <a:cubicBezTo>
                    <a:pt x="1540" y="350"/>
                    <a:pt x="1547" y="337"/>
                    <a:pt x="1559" y="327"/>
                  </a:cubicBezTo>
                  <a:cubicBezTo>
                    <a:pt x="1566" y="322"/>
                    <a:pt x="1571" y="322"/>
                    <a:pt x="1580" y="321"/>
                  </a:cubicBezTo>
                  <a:cubicBezTo>
                    <a:pt x="1586" y="320"/>
                    <a:pt x="1595" y="323"/>
                    <a:pt x="1599" y="322"/>
                  </a:cubicBezTo>
                  <a:cubicBezTo>
                    <a:pt x="1604" y="321"/>
                    <a:pt x="1611" y="315"/>
                    <a:pt x="1618" y="314"/>
                  </a:cubicBezTo>
                  <a:cubicBezTo>
                    <a:pt x="1624" y="312"/>
                    <a:pt x="1633" y="310"/>
                    <a:pt x="1638" y="312"/>
                  </a:cubicBezTo>
                  <a:cubicBezTo>
                    <a:pt x="1653" y="317"/>
                    <a:pt x="1662" y="324"/>
                    <a:pt x="1679" y="321"/>
                  </a:cubicBezTo>
                  <a:cubicBezTo>
                    <a:pt x="1690" y="320"/>
                    <a:pt x="1700" y="297"/>
                    <a:pt x="1708" y="289"/>
                  </a:cubicBezTo>
                  <a:cubicBezTo>
                    <a:pt x="1713" y="284"/>
                    <a:pt x="1735" y="283"/>
                    <a:pt x="1745" y="285"/>
                  </a:cubicBezTo>
                  <a:cubicBezTo>
                    <a:pt x="1742" y="294"/>
                    <a:pt x="1745" y="292"/>
                    <a:pt x="1747" y="299"/>
                  </a:cubicBezTo>
                  <a:cubicBezTo>
                    <a:pt x="1755" y="290"/>
                    <a:pt x="1784" y="254"/>
                    <a:pt x="1785" y="288"/>
                  </a:cubicBezTo>
                  <a:cubicBezTo>
                    <a:pt x="1777" y="288"/>
                    <a:pt x="1774" y="292"/>
                    <a:pt x="1767" y="296"/>
                  </a:cubicBezTo>
                  <a:cubicBezTo>
                    <a:pt x="1763" y="298"/>
                    <a:pt x="1749" y="306"/>
                    <a:pt x="1749" y="307"/>
                  </a:cubicBezTo>
                  <a:cubicBezTo>
                    <a:pt x="1745" y="323"/>
                    <a:pt x="1723" y="332"/>
                    <a:pt x="1712" y="344"/>
                  </a:cubicBezTo>
                  <a:cubicBezTo>
                    <a:pt x="1696" y="362"/>
                    <a:pt x="1695" y="415"/>
                    <a:pt x="1714" y="433"/>
                  </a:cubicBezTo>
                  <a:cubicBezTo>
                    <a:pt x="1711" y="420"/>
                    <a:pt x="1734" y="392"/>
                    <a:pt x="1744" y="385"/>
                  </a:cubicBezTo>
                  <a:cubicBezTo>
                    <a:pt x="1747" y="383"/>
                    <a:pt x="1754" y="380"/>
                    <a:pt x="1756" y="377"/>
                  </a:cubicBezTo>
                  <a:cubicBezTo>
                    <a:pt x="1755" y="374"/>
                    <a:pt x="1754" y="371"/>
                    <a:pt x="1753" y="368"/>
                  </a:cubicBezTo>
                  <a:cubicBezTo>
                    <a:pt x="1756" y="367"/>
                    <a:pt x="1759" y="366"/>
                    <a:pt x="1763" y="365"/>
                  </a:cubicBezTo>
                  <a:cubicBezTo>
                    <a:pt x="1767" y="352"/>
                    <a:pt x="1762" y="341"/>
                    <a:pt x="1767" y="331"/>
                  </a:cubicBezTo>
                  <a:cubicBezTo>
                    <a:pt x="1772" y="322"/>
                    <a:pt x="1781" y="323"/>
                    <a:pt x="1784" y="310"/>
                  </a:cubicBezTo>
                  <a:cubicBezTo>
                    <a:pt x="1786" y="300"/>
                    <a:pt x="1806" y="307"/>
                    <a:pt x="1813" y="309"/>
                  </a:cubicBezTo>
                  <a:cubicBezTo>
                    <a:pt x="1826" y="312"/>
                    <a:pt x="1827" y="320"/>
                    <a:pt x="1843" y="312"/>
                  </a:cubicBezTo>
                  <a:cubicBezTo>
                    <a:pt x="1848" y="309"/>
                    <a:pt x="1853" y="305"/>
                    <a:pt x="1860" y="303"/>
                  </a:cubicBezTo>
                  <a:cubicBezTo>
                    <a:pt x="1868" y="301"/>
                    <a:pt x="1862" y="296"/>
                    <a:pt x="1868" y="291"/>
                  </a:cubicBezTo>
                  <a:cubicBezTo>
                    <a:pt x="1873" y="287"/>
                    <a:pt x="1889" y="276"/>
                    <a:pt x="1896" y="274"/>
                  </a:cubicBezTo>
                  <a:cubicBezTo>
                    <a:pt x="1905" y="272"/>
                    <a:pt x="1918" y="280"/>
                    <a:pt x="1927" y="272"/>
                  </a:cubicBezTo>
                  <a:cubicBezTo>
                    <a:pt x="1938" y="262"/>
                    <a:pt x="1928" y="261"/>
                    <a:pt x="1922" y="251"/>
                  </a:cubicBezTo>
                  <a:cubicBezTo>
                    <a:pt x="1911" y="234"/>
                    <a:pt x="1933" y="238"/>
                    <a:pt x="1939" y="229"/>
                  </a:cubicBezTo>
                  <a:cubicBezTo>
                    <a:pt x="1948" y="217"/>
                    <a:pt x="1941" y="218"/>
                    <a:pt x="1956" y="220"/>
                  </a:cubicBezTo>
                  <a:cubicBezTo>
                    <a:pt x="1967" y="222"/>
                    <a:pt x="1977" y="232"/>
                    <a:pt x="1988" y="237"/>
                  </a:cubicBezTo>
                  <a:cubicBezTo>
                    <a:pt x="1993" y="238"/>
                    <a:pt x="2011" y="252"/>
                    <a:pt x="2014" y="235"/>
                  </a:cubicBezTo>
                  <a:cubicBezTo>
                    <a:pt x="2015" y="224"/>
                    <a:pt x="2026" y="220"/>
                    <a:pt x="2037" y="218"/>
                  </a:cubicBezTo>
                  <a:cubicBezTo>
                    <a:pt x="2026" y="197"/>
                    <a:pt x="1980" y="188"/>
                    <a:pt x="1961" y="184"/>
                  </a:cubicBezTo>
                  <a:close/>
                  <a:moveTo>
                    <a:pt x="703" y="565"/>
                  </a:moveTo>
                  <a:cubicBezTo>
                    <a:pt x="694" y="563"/>
                    <a:pt x="687" y="566"/>
                    <a:pt x="683" y="573"/>
                  </a:cubicBezTo>
                  <a:cubicBezTo>
                    <a:pt x="706" y="570"/>
                    <a:pt x="706" y="617"/>
                    <a:pt x="678" y="610"/>
                  </a:cubicBezTo>
                  <a:cubicBezTo>
                    <a:pt x="668" y="608"/>
                    <a:pt x="649" y="603"/>
                    <a:pt x="648" y="589"/>
                  </a:cubicBezTo>
                  <a:cubicBezTo>
                    <a:pt x="648" y="582"/>
                    <a:pt x="663" y="568"/>
                    <a:pt x="654" y="565"/>
                  </a:cubicBezTo>
                  <a:cubicBezTo>
                    <a:pt x="638" y="558"/>
                    <a:pt x="643" y="541"/>
                    <a:pt x="639" y="529"/>
                  </a:cubicBezTo>
                  <a:cubicBezTo>
                    <a:pt x="636" y="522"/>
                    <a:pt x="627" y="530"/>
                    <a:pt x="629" y="520"/>
                  </a:cubicBezTo>
                  <a:cubicBezTo>
                    <a:pt x="630" y="508"/>
                    <a:pt x="631" y="510"/>
                    <a:pt x="637" y="502"/>
                  </a:cubicBezTo>
                  <a:cubicBezTo>
                    <a:pt x="655" y="479"/>
                    <a:pt x="682" y="484"/>
                    <a:pt x="700" y="506"/>
                  </a:cubicBezTo>
                  <a:cubicBezTo>
                    <a:pt x="689" y="505"/>
                    <a:pt x="644" y="509"/>
                    <a:pt x="671" y="525"/>
                  </a:cubicBezTo>
                  <a:cubicBezTo>
                    <a:pt x="667" y="537"/>
                    <a:pt x="683" y="542"/>
                    <a:pt x="684" y="557"/>
                  </a:cubicBezTo>
                  <a:cubicBezTo>
                    <a:pt x="693" y="549"/>
                    <a:pt x="704" y="552"/>
                    <a:pt x="703" y="565"/>
                  </a:cubicBezTo>
                  <a:close/>
                  <a:moveTo>
                    <a:pt x="776" y="627"/>
                  </a:moveTo>
                  <a:cubicBezTo>
                    <a:pt x="774" y="624"/>
                    <a:pt x="771" y="622"/>
                    <a:pt x="772" y="617"/>
                  </a:cubicBezTo>
                  <a:cubicBezTo>
                    <a:pt x="776" y="618"/>
                    <a:pt x="779" y="620"/>
                    <a:pt x="783" y="623"/>
                  </a:cubicBezTo>
                  <a:cubicBezTo>
                    <a:pt x="780" y="624"/>
                    <a:pt x="778" y="626"/>
                    <a:pt x="776" y="627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Freeform 72"/>
            <p:cNvSpPr>
              <a:spLocks/>
            </p:cNvSpPr>
            <p:nvPr/>
          </p:nvSpPr>
          <p:spPr bwMode="auto">
            <a:xfrm>
              <a:off x="2967" y="609"/>
              <a:ext cx="5" cy="6"/>
            </a:xfrm>
            <a:custGeom>
              <a:avLst/>
              <a:gdLst>
                <a:gd name="T0" fmla="*/ 3 w 3"/>
                <a:gd name="T1" fmla="*/ 0 h 3"/>
                <a:gd name="T2" fmla="*/ 0 w 3"/>
                <a:gd name="T3" fmla="*/ 3 h 3"/>
                <a:gd name="T4" fmla="*/ 3 w 3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2" y="1"/>
                    <a:pt x="1" y="2"/>
                    <a:pt x="0" y="3"/>
                  </a:cubicBezTo>
                  <a:cubicBezTo>
                    <a:pt x="1" y="2"/>
                    <a:pt x="2" y="1"/>
                    <a:pt x="3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73"/>
            <p:cNvSpPr>
              <a:spLocks/>
            </p:cNvSpPr>
            <p:nvPr/>
          </p:nvSpPr>
          <p:spPr bwMode="auto">
            <a:xfrm>
              <a:off x="2931" y="599"/>
              <a:ext cx="34" cy="30"/>
            </a:xfrm>
            <a:custGeom>
              <a:avLst/>
              <a:gdLst>
                <a:gd name="T0" fmla="*/ 14 w 19"/>
                <a:gd name="T1" fmla="*/ 0 h 17"/>
                <a:gd name="T2" fmla="*/ 0 w 19"/>
                <a:gd name="T3" fmla="*/ 16 h 17"/>
                <a:gd name="T4" fmla="*/ 19 w 19"/>
                <a:gd name="T5" fmla="*/ 10 h 17"/>
                <a:gd name="T6" fmla="*/ 14 w 19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7">
                  <a:moveTo>
                    <a:pt x="14" y="0"/>
                  </a:moveTo>
                  <a:cubicBezTo>
                    <a:pt x="5" y="6"/>
                    <a:pt x="7" y="8"/>
                    <a:pt x="0" y="16"/>
                  </a:cubicBezTo>
                  <a:cubicBezTo>
                    <a:pt x="7" y="17"/>
                    <a:pt x="14" y="15"/>
                    <a:pt x="19" y="10"/>
                  </a:cubicBezTo>
                  <a:cubicBezTo>
                    <a:pt x="15" y="10"/>
                    <a:pt x="12" y="7"/>
                    <a:pt x="14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Freeform 74"/>
            <p:cNvSpPr>
              <a:spLocks/>
            </p:cNvSpPr>
            <p:nvPr/>
          </p:nvSpPr>
          <p:spPr bwMode="auto">
            <a:xfrm>
              <a:off x="4398" y="1878"/>
              <a:ext cx="1" cy="4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0 h 2"/>
                <a:gd name="T4" fmla="*/ 0 w 1"/>
                <a:gd name="T5" fmla="*/ 2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Freeform 75"/>
            <p:cNvSpPr>
              <a:spLocks/>
            </p:cNvSpPr>
            <p:nvPr/>
          </p:nvSpPr>
          <p:spPr bwMode="auto">
            <a:xfrm>
              <a:off x="4391" y="1882"/>
              <a:ext cx="113" cy="158"/>
            </a:xfrm>
            <a:custGeom>
              <a:avLst/>
              <a:gdLst>
                <a:gd name="T0" fmla="*/ 0 w 64"/>
                <a:gd name="T1" fmla="*/ 17 h 89"/>
                <a:gd name="T2" fmla="*/ 25 w 64"/>
                <a:gd name="T3" fmla="*/ 53 h 89"/>
                <a:gd name="T4" fmla="*/ 53 w 64"/>
                <a:gd name="T5" fmla="*/ 89 h 89"/>
                <a:gd name="T6" fmla="*/ 56 w 64"/>
                <a:gd name="T7" fmla="*/ 82 h 89"/>
                <a:gd name="T8" fmla="*/ 64 w 64"/>
                <a:gd name="T9" fmla="*/ 86 h 89"/>
                <a:gd name="T10" fmla="*/ 52 w 64"/>
                <a:gd name="T11" fmla="*/ 69 h 89"/>
                <a:gd name="T12" fmla="*/ 53 w 64"/>
                <a:gd name="T13" fmla="*/ 45 h 89"/>
                <a:gd name="T14" fmla="*/ 32 w 64"/>
                <a:gd name="T15" fmla="*/ 34 h 89"/>
                <a:gd name="T16" fmla="*/ 16 w 64"/>
                <a:gd name="T17" fmla="*/ 17 h 89"/>
                <a:gd name="T18" fmla="*/ 20 w 64"/>
                <a:gd name="T19" fmla="*/ 16 h 89"/>
                <a:gd name="T20" fmla="*/ 5 w 64"/>
                <a:gd name="T21" fmla="*/ 0 h 89"/>
                <a:gd name="T22" fmla="*/ 3 w 64"/>
                <a:gd name="T23" fmla="*/ 2 h 89"/>
                <a:gd name="T24" fmla="*/ 0 w 64"/>
                <a:gd name="T25" fmla="*/ 1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89">
                  <a:moveTo>
                    <a:pt x="0" y="17"/>
                  </a:moveTo>
                  <a:cubicBezTo>
                    <a:pt x="9" y="16"/>
                    <a:pt x="20" y="43"/>
                    <a:pt x="25" y="53"/>
                  </a:cubicBezTo>
                  <a:cubicBezTo>
                    <a:pt x="34" y="73"/>
                    <a:pt x="35" y="76"/>
                    <a:pt x="53" y="89"/>
                  </a:cubicBezTo>
                  <a:cubicBezTo>
                    <a:pt x="54" y="86"/>
                    <a:pt x="55" y="84"/>
                    <a:pt x="56" y="82"/>
                  </a:cubicBezTo>
                  <a:cubicBezTo>
                    <a:pt x="58" y="83"/>
                    <a:pt x="61" y="84"/>
                    <a:pt x="64" y="86"/>
                  </a:cubicBezTo>
                  <a:cubicBezTo>
                    <a:pt x="61" y="82"/>
                    <a:pt x="53" y="73"/>
                    <a:pt x="52" y="69"/>
                  </a:cubicBezTo>
                  <a:cubicBezTo>
                    <a:pt x="51" y="62"/>
                    <a:pt x="56" y="52"/>
                    <a:pt x="53" y="45"/>
                  </a:cubicBezTo>
                  <a:cubicBezTo>
                    <a:pt x="55" y="48"/>
                    <a:pt x="31" y="34"/>
                    <a:pt x="32" y="34"/>
                  </a:cubicBezTo>
                  <a:cubicBezTo>
                    <a:pt x="25" y="32"/>
                    <a:pt x="24" y="21"/>
                    <a:pt x="16" y="17"/>
                  </a:cubicBezTo>
                  <a:cubicBezTo>
                    <a:pt x="17" y="17"/>
                    <a:pt x="19" y="16"/>
                    <a:pt x="20" y="16"/>
                  </a:cubicBezTo>
                  <a:cubicBezTo>
                    <a:pt x="18" y="9"/>
                    <a:pt x="12" y="3"/>
                    <a:pt x="5" y="0"/>
                  </a:cubicBezTo>
                  <a:cubicBezTo>
                    <a:pt x="4" y="1"/>
                    <a:pt x="4" y="2"/>
                    <a:pt x="3" y="2"/>
                  </a:cubicBezTo>
                  <a:cubicBezTo>
                    <a:pt x="4" y="3"/>
                    <a:pt x="2" y="13"/>
                    <a:pt x="0" y="17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Freeform 76"/>
            <p:cNvSpPr>
              <a:spLocks/>
            </p:cNvSpPr>
            <p:nvPr/>
          </p:nvSpPr>
          <p:spPr bwMode="auto">
            <a:xfrm>
              <a:off x="4396" y="1885"/>
              <a:ext cx="0" cy="2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Freeform 77"/>
            <p:cNvSpPr>
              <a:spLocks/>
            </p:cNvSpPr>
            <p:nvPr/>
          </p:nvSpPr>
          <p:spPr bwMode="auto">
            <a:xfrm>
              <a:off x="2965" y="615"/>
              <a:ext cx="2" cy="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Freeform 78"/>
            <p:cNvSpPr>
              <a:spLocks/>
            </p:cNvSpPr>
            <p:nvPr/>
          </p:nvSpPr>
          <p:spPr bwMode="auto">
            <a:xfrm>
              <a:off x="5781" y="513"/>
              <a:ext cx="72" cy="31"/>
            </a:xfrm>
            <a:custGeom>
              <a:avLst/>
              <a:gdLst>
                <a:gd name="T0" fmla="*/ 41 w 41"/>
                <a:gd name="T1" fmla="*/ 11 h 17"/>
                <a:gd name="T2" fmla="*/ 10 w 41"/>
                <a:gd name="T3" fmla="*/ 17 h 17"/>
                <a:gd name="T4" fmla="*/ 41 w 41"/>
                <a:gd name="T5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17">
                  <a:moveTo>
                    <a:pt x="41" y="11"/>
                  </a:moveTo>
                  <a:cubicBezTo>
                    <a:pt x="31" y="0"/>
                    <a:pt x="0" y="2"/>
                    <a:pt x="10" y="17"/>
                  </a:cubicBezTo>
                  <a:cubicBezTo>
                    <a:pt x="20" y="17"/>
                    <a:pt x="31" y="16"/>
                    <a:pt x="41" y="1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Freeform 79"/>
            <p:cNvSpPr>
              <a:spLocks/>
            </p:cNvSpPr>
            <p:nvPr/>
          </p:nvSpPr>
          <p:spPr bwMode="auto">
            <a:xfrm>
              <a:off x="5607" y="565"/>
              <a:ext cx="27" cy="16"/>
            </a:xfrm>
            <a:custGeom>
              <a:avLst/>
              <a:gdLst>
                <a:gd name="T0" fmla="*/ 0 w 15"/>
                <a:gd name="T1" fmla="*/ 2 h 9"/>
                <a:gd name="T2" fmla="*/ 10 w 15"/>
                <a:gd name="T3" fmla="*/ 9 h 9"/>
                <a:gd name="T4" fmla="*/ 0 w 15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2"/>
                  </a:moveTo>
                  <a:cubicBezTo>
                    <a:pt x="3" y="4"/>
                    <a:pt x="6" y="7"/>
                    <a:pt x="10" y="9"/>
                  </a:cubicBezTo>
                  <a:cubicBezTo>
                    <a:pt x="15" y="1"/>
                    <a:pt x="9" y="0"/>
                    <a:pt x="0" y="2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Freeform 80"/>
            <p:cNvSpPr>
              <a:spLocks/>
            </p:cNvSpPr>
            <p:nvPr/>
          </p:nvSpPr>
          <p:spPr bwMode="auto">
            <a:xfrm>
              <a:off x="5034" y="371"/>
              <a:ext cx="14" cy="16"/>
            </a:xfrm>
            <a:custGeom>
              <a:avLst/>
              <a:gdLst>
                <a:gd name="T0" fmla="*/ 8 w 8"/>
                <a:gd name="T1" fmla="*/ 4 h 9"/>
                <a:gd name="T2" fmla="*/ 4 w 8"/>
                <a:gd name="T3" fmla="*/ 9 h 9"/>
                <a:gd name="T4" fmla="*/ 8 w 8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9">
                  <a:moveTo>
                    <a:pt x="8" y="4"/>
                  </a:moveTo>
                  <a:cubicBezTo>
                    <a:pt x="5" y="5"/>
                    <a:pt x="0" y="0"/>
                    <a:pt x="4" y="9"/>
                  </a:cubicBezTo>
                  <a:cubicBezTo>
                    <a:pt x="6" y="6"/>
                    <a:pt x="8" y="4"/>
                    <a:pt x="8" y="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Freeform 81"/>
            <p:cNvSpPr>
              <a:spLocks/>
            </p:cNvSpPr>
            <p:nvPr/>
          </p:nvSpPr>
          <p:spPr bwMode="auto">
            <a:xfrm>
              <a:off x="4626" y="414"/>
              <a:ext cx="27" cy="21"/>
            </a:xfrm>
            <a:custGeom>
              <a:avLst/>
              <a:gdLst>
                <a:gd name="T0" fmla="*/ 0 w 15"/>
                <a:gd name="T1" fmla="*/ 7 h 12"/>
                <a:gd name="T2" fmla="*/ 15 w 15"/>
                <a:gd name="T3" fmla="*/ 9 h 12"/>
                <a:gd name="T4" fmla="*/ 0 w 15"/>
                <a:gd name="T5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0" y="7"/>
                  </a:moveTo>
                  <a:cubicBezTo>
                    <a:pt x="5" y="12"/>
                    <a:pt x="9" y="11"/>
                    <a:pt x="15" y="9"/>
                  </a:cubicBezTo>
                  <a:cubicBezTo>
                    <a:pt x="14" y="8"/>
                    <a:pt x="9" y="0"/>
                    <a:pt x="0" y="7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2" name="Freeform 82"/>
            <p:cNvSpPr>
              <a:spLocks/>
            </p:cNvSpPr>
            <p:nvPr/>
          </p:nvSpPr>
          <p:spPr bwMode="auto">
            <a:xfrm>
              <a:off x="4653" y="43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3" name="Freeform 83"/>
            <p:cNvSpPr>
              <a:spLocks/>
            </p:cNvSpPr>
            <p:nvPr/>
          </p:nvSpPr>
          <p:spPr bwMode="auto">
            <a:xfrm>
              <a:off x="4399" y="238"/>
              <a:ext cx="128" cy="63"/>
            </a:xfrm>
            <a:custGeom>
              <a:avLst/>
              <a:gdLst>
                <a:gd name="T0" fmla="*/ 11 w 72"/>
                <a:gd name="T1" fmla="*/ 35 h 35"/>
                <a:gd name="T2" fmla="*/ 60 w 72"/>
                <a:gd name="T3" fmla="*/ 26 h 35"/>
                <a:gd name="T4" fmla="*/ 40 w 72"/>
                <a:gd name="T5" fmla="*/ 9 h 35"/>
                <a:gd name="T6" fmla="*/ 41 w 72"/>
                <a:gd name="T7" fmla="*/ 1 h 35"/>
                <a:gd name="T8" fmla="*/ 11 w 72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35">
                  <a:moveTo>
                    <a:pt x="11" y="35"/>
                  </a:moveTo>
                  <a:cubicBezTo>
                    <a:pt x="21" y="31"/>
                    <a:pt x="54" y="32"/>
                    <a:pt x="60" y="26"/>
                  </a:cubicBezTo>
                  <a:cubicBezTo>
                    <a:pt x="72" y="14"/>
                    <a:pt x="51" y="2"/>
                    <a:pt x="40" y="9"/>
                  </a:cubicBezTo>
                  <a:cubicBezTo>
                    <a:pt x="41" y="6"/>
                    <a:pt x="41" y="4"/>
                    <a:pt x="41" y="1"/>
                  </a:cubicBezTo>
                  <a:cubicBezTo>
                    <a:pt x="28" y="0"/>
                    <a:pt x="0" y="25"/>
                    <a:pt x="11" y="35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4" name="Freeform 84"/>
            <p:cNvSpPr>
              <a:spLocks/>
            </p:cNvSpPr>
            <p:nvPr/>
          </p:nvSpPr>
          <p:spPr bwMode="auto">
            <a:xfrm>
              <a:off x="4261" y="212"/>
              <a:ext cx="43" cy="25"/>
            </a:xfrm>
            <a:custGeom>
              <a:avLst/>
              <a:gdLst>
                <a:gd name="T0" fmla="*/ 10 w 24"/>
                <a:gd name="T1" fmla="*/ 0 h 14"/>
                <a:gd name="T2" fmla="*/ 0 w 24"/>
                <a:gd name="T3" fmla="*/ 3 h 14"/>
                <a:gd name="T4" fmla="*/ 24 w 24"/>
                <a:gd name="T5" fmla="*/ 5 h 14"/>
                <a:gd name="T6" fmla="*/ 10 w 24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4">
                  <a:moveTo>
                    <a:pt x="10" y="0"/>
                  </a:moveTo>
                  <a:cubicBezTo>
                    <a:pt x="7" y="1"/>
                    <a:pt x="4" y="2"/>
                    <a:pt x="0" y="3"/>
                  </a:cubicBezTo>
                  <a:cubicBezTo>
                    <a:pt x="5" y="14"/>
                    <a:pt x="16" y="13"/>
                    <a:pt x="24" y="5"/>
                  </a:cubicBezTo>
                  <a:cubicBezTo>
                    <a:pt x="19" y="3"/>
                    <a:pt x="14" y="0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5" name="Freeform 85"/>
            <p:cNvSpPr>
              <a:spLocks/>
            </p:cNvSpPr>
            <p:nvPr/>
          </p:nvSpPr>
          <p:spPr bwMode="auto">
            <a:xfrm>
              <a:off x="4275" y="143"/>
              <a:ext cx="179" cy="140"/>
            </a:xfrm>
            <a:custGeom>
              <a:avLst/>
              <a:gdLst>
                <a:gd name="T0" fmla="*/ 14 w 101"/>
                <a:gd name="T1" fmla="*/ 52 h 79"/>
                <a:gd name="T2" fmla="*/ 78 w 101"/>
                <a:gd name="T3" fmla="*/ 65 h 79"/>
                <a:gd name="T4" fmla="*/ 72 w 101"/>
                <a:gd name="T5" fmla="*/ 61 h 79"/>
                <a:gd name="T6" fmla="*/ 46 w 101"/>
                <a:gd name="T7" fmla="*/ 40 h 79"/>
                <a:gd name="T8" fmla="*/ 57 w 101"/>
                <a:gd name="T9" fmla="*/ 26 h 79"/>
                <a:gd name="T10" fmla="*/ 0 w 101"/>
                <a:gd name="T11" fmla="*/ 33 h 79"/>
                <a:gd name="T12" fmla="*/ 40 w 101"/>
                <a:gd name="T13" fmla="*/ 41 h 79"/>
                <a:gd name="T14" fmla="*/ 14 w 101"/>
                <a:gd name="T15" fmla="*/ 5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79">
                  <a:moveTo>
                    <a:pt x="14" y="52"/>
                  </a:moveTo>
                  <a:cubicBezTo>
                    <a:pt x="28" y="63"/>
                    <a:pt x="63" y="79"/>
                    <a:pt x="78" y="65"/>
                  </a:cubicBezTo>
                  <a:cubicBezTo>
                    <a:pt x="76" y="64"/>
                    <a:pt x="74" y="63"/>
                    <a:pt x="72" y="61"/>
                  </a:cubicBezTo>
                  <a:cubicBezTo>
                    <a:pt x="101" y="48"/>
                    <a:pt x="56" y="40"/>
                    <a:pt x="46" y="40"/>
                  </a:cubicBezTo>
                  <a:cubicBezTo>
                    <a:pt x="50" y="34"/>
                    <a:pt x="54" y="29"/>
                    <a:pt x="57" y="26"/>
                  </a:cubicBezTo>
                  <a:cubicBezTo>
                    <a:pt x="35" y="0"/>
                    <a:pt x="23" y="23"/>
                    <a:pt x="0" y="33"/>
                  </a:cubicBezTo>
                  <a:cubicBezTo>
                    <a:pt x="12" y="40"/>
                    <a:pt x="26" y="41"/>
                    <a:pt x="40" y="41"/>
                  </a:cubicBezTo>
                  <a:cubicBezTo>
                    <a:pt x="31" y="44"/>
                    <a:pt x="22" y="48"/>
                    <a:pt x="14" y="52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6" name="Freeform 86"/>
            <p:cNvSpPr>
              <a:spLocks/>
            </p:cNvSpPr>
            <p:nvPr/>
          </p:nvSpPr>
          <p:spPr bwMode="auto">
            <a:xfrm>
              <a:off x="4339" y="325"/>
              <a:ext cx="18" cy="18"/>
            </a:xfrm>
            <a:custGeom>
              <a:avLst/>
              <a:gdLst>
                <a:gd name="T0" fmla="*/ 10 w 10"/>
                <a:gd name="T1" fmla="*/ 1 h 10"/>
                <a:gd name="T2" fmla="*/ 0 w 10"/>
                <a:gd name="T3" fmla="*/ 5 h 10"/>
                <a:gd name="T4" fmla="*/ 10 w 10"/>
                <a:gd name="T5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0">
                  <a:moveTo>
                    <a:pt x="10" y="1"/>
                  </a:moveTo>
                  <a:cubicBezTo>
                    <a:pt x="5" y="0"/>
                    <a:pt x="3" y="2"/>
                    <a:pt x="0" y="5"/>
                  </a:cubicBezTo>
                  <a:cubicBezTo>
                    <a:pt x="3" y="4"/>
                    <a:pt x="5" y="10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7" name="Freeform 87"/>
            <p:cNvSpPr>
              <a:spLocks/>
            </p:cNvSpPr>
            <p:nvPr/>
          </p:nvSpPr>
          <p:spPr bwMode="auto">
            <a:xfrm>
              <a:off x="4247" y="166"/>
              <a:ext cx="25" cy="9"/>
            </a:xfrm>
            <a:custGeom>
              <a:avLst/>
              <a:gdLst>
                <a:gd name="T0" fmla="*/ 14 w 14"/>
                <a:gd name="T1" fmla="*/ 4 h 5"/>
                <a:gd name="T2" fmla="*/ 0 w 14"/>
                <a:gd name="T3" fmla="*/ 1 h 5"/>
                <a:gd name="T4" fmla="*/ 14 w 1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5">
                  <a:moveTo>
                    <a:pt x="14" y="4"/>
                  </a:moveTo>
                  <a:cubicBezTo>
                    <a:pt x="10" y="3"/>
                    <a:pt x="6" y="0"/>
                    <a:pt x="0" y="1"/>
                  </a:cubicBezTo>
                  <a:cubicBezTo>
                    <a:pt x="5" y="5"/>
                    <a:pt x="8" y="4"/>
                    <a:pt x="14" y="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8" name="Freeform 88"/>
            <p:cNvSpPr>
              <a:spLocks/>
            </p:cNvSpPr>
            <p:nvPr/>
          </p:nvSpPr>
          <p:spPr bwMode="auto">
            <a:xfrm>
              <a:off x="4536" y="286"/>
              <a:ext cx="20" cy="15"/>
            </a:xfrm>
            <a:custGeom>
              <a:avLst/>
              <a:gdLst>
                <a:gd name="T0" fmla="*/ 11 w 11"/>
                <a:gd name="T1" fmla="*/ 0 h 8"/>
                <a:gd name="T2" fmla="*/ 0 w 11"/>
                <a:gd name="T3" fmla="*/ 1 h 8"/>
                <a:gd name="T4" fmla="*/ 11 w 11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8">
                  <a:moveTo>
                    <a:pt x="11" y="0"/>
                  </a:moveTo>
                  <a:cubicBezTo>
                    <a:pt x="7" y="1"/>
                    <a:pt x="3" y="1"/>
                    <a:pt x="0" y="1"/>
                  </a:cubicBezTo>
                  <a:cubicBezTo>
                    <a:pt x="6" y="8"/>
                    <a:pt x="6" y="2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9" name="Freeform 89"/>
            <p:cNvSpPr>
              <a:spLocks/>
            </p:cNvSpPr>
            <p:nvPr/>
          </p:nvSpPr>
          <p:spPr bwMode="auto">
            <a:xfrm>
              <a:off x="3548" y="201"/>
              <a:ext cx="6" cy="9"/>
            </a:xfrm>
            <a:custGeom>
              <a:avLst/>
              <a:gdLst>
                <a:gd name="T0" fmla="*/ 0 w 3"/>
                <a:gd name="T1" fmla="*/ 1 h 5"/>
                <a:gd name="T2" fmla="*/ 3 w 3"/>
                <a:gd name="T3" fmla="*/ 0 h 5"/>
                <a:gd name="T4" fmla="*/ 1 w 3"/>
                <a:gd name="T5" fmla="*/ 1 h 5"/>
                <a:gd name="T6" fmla="*/ 0 w 3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1"/>
                  </a:moveTo>
                  <a:cubicBezTo>
                    <a:pt x="0" y="5"/>
                    <a:pt x="1" y="1"/>
                    <a:pt x="3" y="0"/>
                  </a:cubicBezTo>
                  <a:cubicBezTo>
                    <a:pt x="2" y="0"/>
                    <a:pt x="2" y="0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0" name="Freeform 90"/>
            <p:cNvSpPr>
              <a:spLocks/>
            </p:cNvSpPr>
            <p:nvPr/>
          </p:nvSpPr>
          <p:spPr bwMode="auto">
            <a:xfrm>
              <a:off x="3449" y="178"/>
              <a:ext cx="122" cy="43"/>
            </a:xfrm>
            <a:custGeom>
              <a:avLst/>
              <a:gdLst>
                <a:gd name="T0" fmla="*/ 31 w 69"/>
                <a:gd name="T1" fmla="*/ 10 h 24"/>
                <a:gd name="T2" fmla="*/ 25 w 69"/>
                <a:gd name="T3" fmla="*/ 13 h 24"/>
                <a:gd name="T4" fmla="*/ 32 w 69"/>
                <a:gd name="T5" fmla="*/ 13 h 24"/>
                <a:gd name="T6" fmla="*/ 24 w 69"/>
                <a:gd name="T7" fmla="*/ 16 h 24"/>
                <a:gd name="T8" fmla="*/ 37 w 69"/>
                <a:gd name="T9" fmla="*/ 24 h 24"/>
                <a:gd name="T10" fmla="*/ 57 w 69"/>
                <a:gd name="T11" fmla="*/ 14 h 24"/>
                <a:gd name="T12" fmla="*/ 69 w 69"/>
                <a:gd name="T13" fmla="*/ 7 h 24"/>
                <a:gd name="T14" fmla="*/ 31 w 69"/>
                <a:gd name="T15" fmla="*/ 4 h 24"/>
                <a:gd name="T16" fmla="*/ 0 w 69"/>
                <a:gd name="T17" fmla="*/ 10 h 24"/>
                <a:gd name="T18" fmla="*/ 31 w 69"/>
                <a:gd name="T19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24">
                  <a:moveTo>
                    <a:pt x="31" y="10"/>
                  </a:moveTo>
                  <a:cubicBezTo>
                    <a:pt x="29" y="11"/>
                    <a:pt x="27" y="12"/>
                    <a:pt x="25" y="13"/>
                  </a:cubicBezTo>
                  <a:cubicBezTo>
                    <a:pt x="27" y="13"/>
                    <a:pt x="30" y="13"/>
                    <a:pt x="32" y="13"/>
                  </a:cubicBezTo>
                  <a:cubicBezTo>
                    <a:pt x="29" y="14"/>
                    <a:pt x="27" y="15"/>
                    <a:pt x="24" y="16"/>
                  </a:cubicBezTo>
                  <a:cubicBezTo>
                    <a:pt x="27" y="19"/>
                    <a:pt x="34" y="22"/>
                    <a:pt x="37" y="24"/>
                  </a:cubicBezTo>
                  <a:cubicBezTo>
                    <a:pt x="42" y="17"/>
                    <a:pt x="49" y="14"/>
                    <a:pt x="57" y="14"/>
                  </a:cubicBezTo>
                  <a:cubicBezTo>
                    <a:pt x="59" y="11"/>
                    <a:pt x="67" y="8"/>
                    <a:pt x="69" y="7"/>
                  </a:cubicBezTo>
                  <a:cubicBezTo>
                    <a:pt x="58" y="0"/>
                    <a:pt x="44" y="7"/>
                    <a:pt x="31" y="4"/>
                  </a:cubicBezTo>
                  <a:cubicBezTo>
                    <a:pt x="20" y="2"/>
                    <a:pt x="9" y="3"/>
                    <a:pt x="0" y="10"/>
                  </a:cubicBezTo>
                  <a:cubicBezTo>
                    <a:pt x="11" y="12"/>
                    <a:pt x="20" y="4"/>
                    <a:pt x="31" y="1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1" name="Freeform 91"/>
            <p:cNvSpPr>
              <a:spLocks/>
            </p:cNvSpPr>
            <p:nvPr/>
          </p:nvSpPr>
          <p:spPr bwMode="auto">
            <a:xfrm>
              <a:off x="3770" y="148"/>
              <a:ext cx="43" cy="39"/>
            </a:xfrm>
            <a:custGeom>
              <a:avLst/>
              <a:gdLst>
                <a:gd name="T0" fmla="*/ 24 w 24"/>
                <a:gd name="T1" fmla="*/ 17 h 22"/>
                <a:gd name="T2" fmla="*/ 0 w 24"/>
                <a:gd name="T3" fmla="*/ 17 h 22"/>
                <a:gd name="T4" fmla="*/ 6 w 24"/>
                <a:gd name="T5" fmla="*/ 22 h 22"/>
                <a:gd name="T6" fmla="*/ 24 w 24"/>
                <a:gd name="T7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2">
                  <a:moveTo>
                    <a:pt x="24" y="17"/>
                  </a:moveTo>
                  <a:cubicBezTo>
                    <a:pt x="22" y="0"/>
                    <a:pt x="7" y="8"/>
                    <a:pt x="0" y="17"/>
                  </a:cubicBezTo>
                  <a:cubicBezTo>
                    <a:pt x="2" y="18"/>
                    <a:pt x="4" y="20"/>
                    <a:pt x="6" y="22"/>
                  </a:cubicBezTo>
                  <a:cubicBezTo>
                    <a:pt x="12" y="22"/>
                    <a:pt x="18" y="19"/>
                    <a:pt x="24" y="17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2" name="Freeform 92"/>
            <p:cNvSpPr>
              <a:spLocks/>
            </p:cNvSpPr>
            <p:nvPr/>
          </p:nvSpPr>
          <p:spPr bwMode="auto">
            <a:xfrm>
              <a:off x="3713" y="175"/>
              <a:ext cx="45" cy="30"/>
            </a:xfrm>
            <a:custGeom>
              <a:avLst/>
              <a:gdLst>
                <a:gd name="T0" fmla="*/ 19 w 25"/>
                <a:gd name="T1" fmla="*/ 15 h 17"/>
                <a:gd name="T2" fmla="*/ 25 w 25"/>
                <a:gd name="T3" fmla="*/ 4 h 17"/>
                <a:gd name="T4" fmla="*/ 14 w 25"/>
                <a:gd name="T5" fmla="*/ 4 h 17"/>
                <a:gd name="T6" fmla="*/ 18 w 25"/>
                <a:gd name="T7" fmla="*/ 2 h 17"/>
                <a:gd name="T8" fmla="*/ 0 w 25"/>
                <a:gd name="T9" fmla="*/ 15 h 17"/>
                <a:gd name="T10" fmla="*/ 19 w 25"/>
                <a:gd name="T11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17">
                  <a:moveTo>
                    <a:pt x="19" y="15"/>
                  </a:moveTo>
                  <a:cubicBezTo>
                    <a:pt x="20" y="11"/>
                    <a:pt x="23" y="10"/>
                    <a:pt x="25" y="4"/>
                  </a:cubicBezTo>
                  <a:cubicBezTo>
                    <a:pt x="22" y="4"/>
                    <a:pt x="18" y="4"/>
                    <a:pt x="14" y="4"/>
                  </a:cubicBezTo>
                  <a:cubicBezTo>
                    <a:pt x="16" y="3"/>
                    <a:pt x="17" y="3"/>
                    <a:pt x="18" y="2"/>
                  </a:cubicBezTo>
                  <a:cubicBezTo>
                    <a:pt x="8" y="0"/>
                    <a:pt x="3" y="6"/>
                    <a:pt x="0" y="15"/>
                  </a:cubicBezTo>
                  <a:cubicBezTo>
                    <a:pt x="5" y="17"/>
                    <a:pt x="13" y="17"/>
                    <a:pt x="19" y="15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3" name="Freeform 93"/>
            <p:cNvSpPr>
              <a:spLocks/>
            </p:cNvSpPr>
            <p:nvPr/>
          </p:nvSpPr>
          <p:spPr bwMode="auto">
            <a:xfrm>
              <a:off x="3651" y="198"/>
              <a:ext cx="48" cy="19"/>
            </a:xfrm>
            <a:custGeom>
              <a:avLst/>
              <a:gdLst>
                <a:gd name="T0" fmla="*/ 0 w 27"/>
                <a:gd name="T1" fmla="*/ 9 h 11"/>
                <a:gd name="T2" fmla="*/ 16 w 27"/>
                <a:gd name="T3" fmla="*/ 11 h 11"/>
                <a:gd name="T4" fmla="*/ 27 w 27"/>
                <a:gd name="T5" fmla="*/ 6 h 11"/>
                <a:gd name="T6" fmla="*/ 0 w 27"/>
                <a:gd name="T7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1">
                  <a:moveTo>
                    <a:pt x="0" y="9"/>
                  </a:moveTo>
                  <a:cubicBezTo>
                    <a:pt x="5" y="9"/>
                    <a:pt x="10" y="11"/>
                    <a:pt x="16" y="11"/>
                  </a:cubicBezTo>
                  <a:cubicBezTo>
                    <a:pt x="20" y="10"/>
                    <a:pt x="23" y="8"/>
                    <a:pt x="27" y="6"/>
                  </a:cubicBezTo>
                  <a:cubicBezTo>
                    <a:pt x="18" y="0"/>
                    <a:pt x="8" y="1"/>
                    <a:pt x="0" y="9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4" name="Freeform 94"/>
            <p:cNvSpPr>
              <a:spLocks/>
            </p:cNvSpPr>
            <p:nvPr/>
          </p:nvSpPr>
          <p:spPr bwMode="auto">
            <a:xfrm>
              <a:off x="3625" y="146"/>
              <a:ext cx="72" cy="52"/>
            </a:xfrm>
            <a:custGeom>
              <a:avLst/>
              <a:gdLst>
                <a:gd name="T0" fmla="*/ 0 w 41"/>
                <a:gd name="T1" fmla="*/ 21 h 29"/>
                <a:gd name="T2" fmla="*/ 31 w 41"/>
                <a:gd name="T3" fmla="*/ 24 h 29"/>
                <a:gd name="T4" fmla="*/ 41 w 41"/>
                <a:gd name="T5" fmla="*/ 22 h 29"/>
                <a:gd name="T6" fmla="*/ 21 w 41"/>
                <a:gd name="T7" fmla="*/ 17 h 29"/>
                <a:gd name="T8" fmla="*/ 39 w 41"/>
                <a:gd name="T9" fmla="*/ 0 h 29"/>
                <a:gd name="T10" fmla="*/ 13 w 41"/>
                <a:gd name="T11" fmla="*/ 17 h 29"/>
                <a:gd name="T12" fmla="*/ 14 w 41"/>
                <a:gd name="T13" fmla="*/ 17 h 29"/>
                <a:gd name="T14" fmla="*/ 0 w 41"/>
                <a:gd name="T15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29">
                  <a:moveTo>
                    <a:pt x="0" y="21"/>
                  </a:moveTo>
                  <a:cubicBezTo>
                    <a:pt x="9" y="27"/>
                    <a:pt x="20" y="29"/>
                    <a:pt x="31" y="24"/>
                  </a:cubicBezTo>
                  <a:cubicBezTo>
                    <a:pt x="34" y="23"/>
                    <a:pt x="37" y="23"/>
                    <a:pt x="41" y="22"/>
                  </a:cubicBezTo>
                  <a:cubicBezTo>
                    <a:pt x="35" y="20"/>
                    <a:pt x="28" y="18"/>
                    <a:pt x="21" y="17"/>
                  </a:cubicBezTo>
                  <a:cubicBezTo>
                    <a:pt x="30" y="13"/>
                    <a:pt x="39" y="10"/>
                    <a:pt x="39" y="0"/>
                  </a:cubicBezTo>
                  <a:cubicBezTo>
                    <a:pt x="31" y="8"/>
                    <a:pt x="16" y="7"/>
                    <a:pt x="13" y="17"/>
                  </a:cubicBezTo>
                  <a:cubicBezTo>
                    <a:pt x="13" y="17"/>
                    <a:pt x="14" y="17"/>
                    <a:pt x="14" y="17"/>
                  </a:cubicBezTo>
                  <a:cubicBezTo>
                    <a:pt x="9" y="17"/>
                    <a:pt x="4" y="18"/>
                    <a:pt x="0" y="2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5" name="Freeform 95"/>
            <p:cNvSpPr>
              <a:spLocks/>
            </p:cNvSpPr>
            <p:nvPr/>
          </p:nvSpPr>
          <p:spPr bwMode="auto">
            <a:xfrm>
              <a:off x="2866" y="208"/>
              <a:ext cx="243" cy="146"/>
            </a:xfrm>
            <a:custGeom>
              <a:avLst/>
              <a:gdLst>
                <a:gd name="T0" fmla="*/ 18 w 137"/>
                <a:gd name="T1" fmla="*/ 40 h 82"/>
                <a:gd name="T2" fmla="*/ 56 w 137"/>
                <a:gd name="T3" fmla="*/ 39 h 82"/>
                <a:gd name="T4" fmla="*/ 29 w 137"/>
                <a:gd name="T5" fmla="*/ 52 h 82"/>
                <a:gd name="T6" fmla="*/ 58 w 137"/>
                <a:gd name="T7" fmla="*/ 58 h 82"/>
                <a:gd name="T8" fmla="*/ 33 w 137"/>
                <a:gd name="T9" fmla="*/ 60 h 82"/>
                <a:gd name="T10" fmla="*/ 60 w 137"/>
                <a:gd name="T11" fmla="*/ 82 h 82"/>
                <a:gd name="T12" fmla="*/ 103 w 137"/>
                <a:gd name="T13" fmla="*/ 41 h 82"/>
                <a:gd name="T14" fmla="*/ 98 w 137"/>
                <a:gd name="T15" fmla="*/ 42 h 82"/>
                <a:gd name="T16" fmla="*/ 100 w 137"/>
                <a:gd name="T17" fmla="*/ 61 h 82"/>
                <a:gd name="T18" fmla="*/ 116 w 137"/>
                <a:gd name="T19" fmla="*/ 62 h 82"/>
                <a:gd name="T20" fmla="*/ 115 w 137"/>
                <a:gd name="T21" fmla="*/ 68 h 82"/>
                <a:gd name="T22" fmla="*/ 137 w 137"/>
                <a:gd name="T23" fmla="*/ 56 h 82"/>
                <a:gd name="T24" fmla="*/ 107 w 137"/>
                <a:gd name="T25" fmla="*/ 39 h 82"/>
                <a:gd name="T26" fmla="*/ 110 w 137"/>
                <a:gd name="T27" fmla="*/ 38 h 82"/>
                <a:gd name="T28" fmla="*/ 75 w 137"/>
                <a:gd name="T29" fmla="*/ 15 h 82"/>
                <a:gd name="T30" fmla="*/ 69 w 137"/>
                <a:gd name="T31" fmla="*/ 20 h 82"/>
                <a:gd name="T32" fmla="*/ 53 w 137"/>
                <a:gd name="T33" fmla="*/ 26 h 82"/>
                <a:gd name="T34" fmla="*/ 34 w 137"/>
                <a:gd name="T35" fmla="*/ 22 h 82"/>
                <a:gd name="T36" fmla="*/ 25 w 137"/>
                <a:gd name="T37" fmla="*/ 17 h 82"/>
                <a:gd name="T38" fmla="*/ 29 w 137"/>
                <a:gd name="T39" fmla="*/ 12 h 82"/>
                <a:gd name="T40" fmla="*/ 0 w 137"/>
                <a:gd name="T41" fmla="*/ 18 h 82"/>
                <a:gd name="T42" fmla="*/ 18 w 137"/>
                <a:gd name="T43" fmla="*/ 4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7" h="82">
                  <a:moveTo>
                    <a:pt x="18" y="40"/>
                  </a:moveTo>
                  <a:cubicBezTo>
                    <a:pt x="30" y="51"/>
                    <a:pt x="41" y="36"/>
                    <a:pt x="56" y="39"/>
                  </a:cubicBezTo>
                  <a:cubicBezTo>
                    <a:pt x="48" y="45"/>
                    <a:pt x="39" y="48"/>
                    <a:pt x="29" y="52"/>
                  </a:cubicBezTo>
                  <a:cubicBezTo>
                    <a:pt x="37" y="60"/>
                    <a:pt x="47" y="55"/>
                    <a:pt x="58" y="58"/>
                  </a:cubicBezTo>
                  <a:cubicBezTo>
                    <a:pt x="50" y="61"/>
                    <a:pt x="41" y="61"/>
                    <a:pt x="33" y="60"/>
                  </a:cubicBezTo>
                  <a:cubicBezTo>
                    <a:pt x="37" y="72"/>
                    <a:pt x="50" y="77"/>
                    <a:pt x="60" y="82"/>
                  </a:cubicBezTo>
                  <a:cubicBezTo>
                    <a:pt x="66" y="69"/>
                    <a:pt x="86" y="26"/>
                    <a:pt x="103" y="41"/>
                  </a:cubicBezTo>
                  <a:cubicBezTo>
                    <a:pt x="101" y="42"/>
                    <a:pt x="100" y="42"/>
                    <a:pt x="98" y="42"/>
                  </a:cubicBezTo>
                  <a:cubicBezTo>
                    <a:pt x="105" y="48"/>
                    <a:pt x="106" y="54"/>
                    <a:pt x="100" y="61"/>
                  </a:cubicBezTo>
                  <a:cubicBezTo>
                    <a:pt x="105" y="60"/>
                    <a:pt x="111" y="63"/>
                    <a:pt x="116" y="62"/>
                  </a:cubicBezTo>
                  <a:cubicBezTo>
                    <a:pt x="115" y="64"/>
                    <a:pt x="115" y="66"/>
                    <a:pt x="115" y="68"/>
                  </a:cubicBezTo>
                  <a:cubicBezTo>
                    <a:pt x="123" y="64"/>
                    <a:pt x="129" y="60"/>
                    <a:pt x="137" y="56"/>
                  </a:cubicBezTo>
                  <a:cubicBezTo>
                    <a:pt x="126" y="47"/>
                    <a:pt x="116" y="44"/>
                    <a:pt x="107" y="39"/>
                  </a:cubicBezTo>
                  <a:cubicBezTo>
                    <a:pt x="108" y="39"/>
                    <a:pt x="109" y="39"/>
                    <a:pt x="110" y="38"/>
                  </a:cubicBezTo>
                  <a:cubicBezTo>
                    <a:pt x="99" y="30"/>
                    <a:pt x="79" y="28"/>
                    <a:pt x="75" y="15"/>
                  </a:cubicBezTo>
                  <a:cubicBezTo>
                    <a:pt x="73" y="17"/>
                    <a:pt x="71" y="18"/>
                    <a:pt x="69" y="20"/>
                  </a:cubicBezTo>
                  <a:cubicBezTo>
                    <a:pt x="72" y="0"/>
                    <a:pt x="39" y="5"/>
                    <a:pt x="53" y="26"/>
                  </a:cubicBezTo>
                  <a:cubicBezTo>
                    <a:pt x="47" y="18"/>
                    <a:pt x="32" y="4"/>
                    <a:pt x="34" y="22"/>
                  </a:cubicBezTo>
                  <a:cubicBezTo>
                    <a:pt x="31" y="20"/>
                    <a:pt x="28" y="18"/>
                    <a:pt x="25" y="17"/>
                  </a:cubicBezTo>
                  <a:cubicBezTo>
                    <a:pt x="26" y="15"/>
                    <a:pt x="28" y="13"/>
                    <a:pt x="29" y="12"/>
                  </a:cubicBezTo>
                  <a:cubicBezTo>
                    <a:pt x="18" y="9"/>
                    <a:pt x="7" y="9"/>
                    <a:pt x="0" y="18"/>
                  </a:cubicBezTo>
                  <a:cubicBezTo>
                    <a:pt x="7" y="24"/>
                    <a:pt x="17" y="38"/>
                    <a:pt x="18" y="4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6" name="Freeform 96"/>
            <p:cNvSpPr>
              <a:spLocks/>
            </p:cNvSpPr>
            <p:nvPr/>
          </p:nvSpPr>
          <p:spPr bwMode="auto">
            <a:xfrm>
              <a:off x="2993" y="198"/>
              <a:ext cx="158" cy="60"/>
            </a:xfrm>
            <a:custGeom>
              <a:avLst/>
              <a:gdLst>
                <a:gd name="T0" fmla="*/ 33 w 89"/>
                <a:gd name="T1" fmla="*/ 19 h 34"/>
                <a:gd name="T2" fmla="*/ 18 w 89"/>
                <a:gd name="T3" fmla="*/ 21 h 34"/>
                <a:gd name="T4" fmla="*/ 50 w 89"/>
                <a:gd name="T5" fmla="*/ 32 h 34"/>
                <a:gd name="T6" fmla="*/ 89 w 89"/>
                <a:gd name="T7" fmla="*/ 15 h 34"/>
                <a:gd name="T8" fmla="*/ 52 w 89"/>
                <a:gd name="T9" fmla="*/ 9 h 34"/>
                <a:gd name="T10" fmla="*/ 52 w 89"/>
                <a:gd name="T11" fmla="*/ 1 h 34"/>
                <a:gd name="T12" fmla="*/ 16 w 89"/>
                <a:gd name="T13" fmla="*/ 2 h 34"/>
                <a:gd name="T14" fmla="*/ 17 w 89"/>
                <a:gd name="T15" fmla="*/ 5 h 34"/>
                <a:gd name="T16" fmla="*/ 0 w 89"/>
                <a:gd name="T17" fmla="*/ 6 h 34"/>
                <a:gd name="T18" fmla="*/ 33 w 89"/>
                <a:gd name="T19" fmla="*/ 1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34">
                  <a:moveTo>
                    <a:pt x="33" y="19"/>
                  </a:moveTo>
                  <a:cubicBezTo>
                    <a:pt x="28" y="19"/>
                    <a:pt x="22" y="21"/>
                    <a:pt x="18" y="21"/>
                  </a:cubicBezTo>
                  <a:cubicBezTo>
                    <a:pt x="22" y="28"/>
                    <a:pt x="42" y="31"/>
                    <a:pt x="50" y="32"/>
                  </a:cubicBezTo>
                  <a:cubicBezTo>
                    <a:pt x="64" y="34"/>
                    <a:pt x="78" y="22"/>
                    <a:pt x="89" y="15"/>
                  </a:cubicBezTo>
                  <a:cubicBezTo>
                    <a:pt x="80" y="4"/>
                    <a:pt x="64" y="4"/>
                    <a:pt x="52" y="9"/>
                  </a:cubicBezTo>
                  <a:cubicBezTo>
                    <a:pt x="52" y="6"/>
                    <a:pt x="52" y="3"/>
                    <a:pt x="52" y="1"/>
                  </a:cubicBezTo>
                  <a:cubicBezTo>
                    <a:pt x="37" y="12"/>
                    <a:pt x="32" y="0"/>
                    <a:pt x="16" y="2"/>
                  </a:cubicBezTo>
                  <a:cubicBezTo>
                    <a:pt x="16" y="3"/>
                    <a:pt x="17" y="4"/>
                    <a:pt x="17" y="5"/>
                  </a:cubicBezTo>
                  <a:cubicBezTo>
                    <a:pt x="11" y="5"/>
                    <a:pt x="7" y="7"/>
                    <a:pt x="0" y="6"/>
                  </a:cubicBezTo>
                  <a:cubicBezTo>
                    <a:pt x="5" y="23"/>
                    <a:pt x="19" y="17"/>
                    <a:pt x="33" y="19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7" name="Freeform 97"/>
            <p:cNvSpPr>
              <a:spLocks/>
            </p:cNvSpPr>
            <p:nvPr/>
          </p:nvSpPr>
          <p:spPr bwMode="auto">
            <a:xfrm>
              <a:off x="2866" y="263"/>
              <a:ext cx="19" cy="27"/>
            </a:xfrm>
            <a:custGeom>
              <a:avLst/>
              <a:gdLst>
                <a:gd name="T0" fmla="*/ 11 w 11"/>
                <a:gd name="T1" fmla="*/ 15 h 15"/>
                <a:gd name="T2" fmla="*/ 0 w 11"/>
                <a:gd name="T3" fmla="*/ 0 h 15"/>
                <a:gd name="T4" fmla="*/ 11 w 11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5">
                  <a:moveTo>
                    <a:pt x="11" y="15"/>
                  </a:moveTo>
                  <a:cubicBezTo>
                    <a:pt x="8" y="9"/>
                    <a:pt x="4" y="4"/>
                    <a:pt x="0" y="0"/>
                  </a:cubicBezTo>
                  <a:cubicBezTo>
                    <a:pt x="0" y="4"/>
                    <a:pt x="4" y="12"/>
                    <a:pt x="11" y="15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8" name="Freeform 98"/>
            <p:cNvSpPr>
              <a:spLocks/>
            </p:cNvSpPr>
            <p:nvPr/>
          </p:nvSpPr>
          <p:spPr bwMode="auto">
            <a:xfrm>
              <a:off x="2506" y="978"/>
              <a:ext cx="90" cy="100"/>
            </a:xfrm>
            <a:custGeom>
              <a:avLst/>
              <a:gdLst>
                <a:gd name="T0" fmla="*/ 9 w 51"/>
                <a:gd name="T1" fmla="*/ 51 h 56"/>
                <a:gd name="T2" fmla="*/ 39 w 51"/>
                <a:gd name="T3" fmla="*/ 38 h 56"/>
                <a:gd name="T4" fmla="*/ 34 w 51"/>
                <a:gd name="T5" fmla="*/ 2 h 56"/>
                <a:gd name="T6" fmla="*/ 9 w 51"/>
                <a:gd name="T7" fmla="*/ 17 h 56"/>
                <a:gd name="T8" fmla="*/ 10 w 51"/>
                <a:gd name="T9" fmla="*/ 32 h 56"/>
                <a:gd name="T10" fmla="*/ 9 w 51"/>
                <a:gd name="T11" fmla="*/ 5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56">
                  <a:moveTo>
                    <a:pt x="9" y="51"/>
                  </a:moveTo>
                  <a:cubicBezTo>
                    <a:pt x="14" y="56"/>
                    <a:pt x="39" y="42"/>
                    <a:pt x="39" y="38"/>
                  </a:cubicBezTo>
                  <a:cubicBezTo>
                    <a:pt x="39" y="26"/>
                    <a:pt x="51" y="5"/>
                    <a:pt x="34" y="2"/>
                  </a:cubicBezTo>
                  <a:cubicBezTo>
                    <a:pt x="22" y="0"/>
                    <a:pt x="17" y="13"/>
                    <a:pt x="9" y="17"/>
                  </a:cubicBezTo>
                  <a:cubicBezTo>
                    <a:pt x="7" y="24"/>
                    <a:pt x="14" y="26"/>
                    <a:pt x="10" y="32"/>
                  </a:cubicBezTo>
                  <a:cubicBezTo>
                    <a:pt x="4" y="41"/>
                    <a:pt x="0" y="44"/>
                    <a:pt x="9" y="5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9" name="Freeform 99"/>
            <p:cNvSpPr>
              <a:spLocks/>
            </p:cNvSpPr>
            <p:nvPr/>
          </p:nvSpPr>
          <p:spPr bwMode="auto">
            <a:xfrm>
              <a:off x="2559" y="904"/>
              <a:ext cx="18" cy="14"/>
            </a:xfrm>
            <a:custGeom>
              <a:avLst/>
              <a:gdLst>
                <a:gd name="T0" fmla="*/ 10 w 10"/>
                <a:gd name="T1" fmla="*/ 0 h 8"/>
                <a:gd name="T2" fmla="*/ 3 w 10"/>
                <a:gd name="T3" fmla="*/ 8 h 8"/>
                <a:gd name="T4" fmla="*/ 10 w 10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10" y="0"/>
                  </a:moveTo>
                  <a:cubicBezTo>
                    <a:pt x="0" y="1"/>
                    <a:pt x="5" y="5"/>
                    <a:pt x="3" y="8"/>
                  </a:cubicBezTo>
                  <a:cubicBezTo>
                    <a:pt x="5" y="5"/>
                    <a:pt x="8" y="3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0" name="Freeform 100"/>
            <p:cNvSpPr>
              <a:spLocks/>
            </p:cNvSpPr>
            <p:nvPr/>
          </p:nvSpPr>
          <p:spPr bwMode="auto">
            <a:xfrm>
              <a:off x="2570" y="883"/>
              <a:ext cx="150" cy="223"/>
            </a:xfrm>
            <a:custGeom>
              <a:avLst/>
              <a:gdLst>
                <a:gd name="T0" fmla="*/ 6 w 85"/>
                <a:gd name="T1" fmla="*/ 37 h 126"/>
                <a:gd name="T2" fmla="*/ 12 w 85"/>
                <a:gd name="T3" fmla="*/ 51 h 126"/>
                <a:gd name="T4" fmla="*/ 12 w 85"/>
                <a:gd name="T5" fmla="*/ 46 h 126"/>
                <a:gd name="T6" fmla="*/ 31 w 85"/>
                <a:gd name="T7" fmla="*/ 63 h 126"/>
                <a:gd name="T8" fmla="*/ 22 w 85"/>
                <a:gd name="T9" fmla="*/ 83 h 126"/>
                <a:gd name="T10" fmla="*/ 15 w 85"/>
                <a:gd name="T11" fmla="*/ 104 h 126"/>
                <a:gd name="T12" fmla="*/ 36 w 85"/>
                <a:gd name="T13" fmla="*/ 105 h 126"/>
                <a:gd name="T14" fmla="*/ 13 w 85"/>
                <a:gd name="T15" fmla="*/ 126 h 126"/>
                <a:gd name="T16" fmla="*/ 41 w 85"/>
                <a:gd name="T17" fmla="*/ 119 h 126"/>
                <a:gd name="T18" fmla="*/ 78 w 85"/>
                <a:gd name="T19" fmla="*/ 109 h 126"/>
                <a:gd name="T20" fmla="*/ 71 w 85"/>
                <a:gd name="T21" fmla="*/ 108 h 126"/>
                <a:gd name="T22" fmla="*/ 70 w 85"/>
                <a:gd name="T23" fmla="*/ 89 h 126"/>
                <a:gd name="T24" fmla="*/ 68 w 85"/>
                <a:gd name="T25" fmla="*/ 90 h 126"/>
                <a:gd name="T26" fmla="*/ 34 w 85"/>
                <a:gd name="T27" fmla="*/ 47 h 126"/>
                <a:gd name="T28" fmla="*/ 46 w 85"/>
                <a:gd name="T29" fmla="*/ 23 h 126"/>
                <a:gd name="T30" fmla="*/ 33 w 85"/>
                <a:gd name="T31" fmla="*/ 11 h 126"/>
                <a:gd name="T32" fmla="*/ 8 w 85"/>
                <a:gd name="T33" fmla="*/ 27 h 126"/>
                <a:gd name="T34" fmla="*/ 0 w 85"/>
                <a:gd name="T35" fmla="*/ 23 h 126"/>
                <a:gd name="T36" fmla="*/ 6 w 85"/>
                <a:gd name="T37" fmla="*/ 3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5" h="126">
                  <a:moveTo>
                    <a:pt x="6" y="37"/>
                  </a:moveTo>
                  <a:cubicBezTo>
                    <a:pt x="10" y="42"/>
                    <a:pt x="12" y="47"/>
                    <a:pt x="12" y="51"/>
                  </a:cubicBezTo>
                  <a:cubicBezTo>
                    <a:pt x="12" y="49"/>
                    <a:pt x="12" y="48"/>
                    <a:pt x="12" y="46"/>
                  </a:cubicBezTo>
                  <a:cubicBezTo>
                    <a:pt x="26" y="50"/>
                    <a:pt x="7" y="70"/>
                    <a:pt x="31" y="63"/>
                  </a:cubicBezTo>
                  <a:cubicBezTo>
                    <a:pt x="36" y="69"/>
                    <a:pt x="41" y="83"/>
                    <a:pt x="22" y="83"/>
                  </a:cubicBezTo>
                  <a:cubicBezTo>
                    <a:pt x="26" y="92"/>
                    <a:pt x="23" y="99"/>
                    <a:pt x="15" y="104"/>
                  </a:cubicBezTo>
                  <a:cubicBezTo>
                    <a:pt x="21" y="106"/>
                    <a:pt x="28" y="107"/>
                    <a:pt x="36" y="105"/>
                  </a:cubicBezTo>
                  <a:cubicBezTo>
                    <a:pt x="30" y="109"/>
                    <a:pt x="17" y="116"/>
                    <a:pt x="13" y="126"/>
                  </a:cubicBezTo>
                  <a:cubicBezTo>
                    <a:pt x="24" y="125"/>
                    <a:pt x="30" y="121"/>
                    <a:pt x="41" y="119"/>
                  </a:cubicBezTo>
                  <a:cubicBezTo>
                    <a:pt x="52" y="118"/>
                    <a:pt x="73" y="119"/>
                    <a:pt x="78" y="109"/>
                  </a:cubicBezTo>
                  <a:cubicBezTo>
                    <a:pt x="76" y="109"/>
                    <a:pt x="73" y="108"/>
                    <a:pt x="71" y="108"/>
                  </a:cubicBezTo>
                  <a:cubicBezTo>
                    <a:pt x="82" y="101"/>
                    <a:pt x="85" y="88"/>
                    <a:pt x="70" y="89"/>
                  </a:cubicBezTo>
                  <a:cubicBezTo>
                    <a:pt x="72" y="85"/>
                    <a:pt x="70" y="88"/>
                    <a:pt x="68" y="90"/>
                  </a:cubicBezTo>
                  <a:cubicBezTo>
                    <a:pt x="70" y="77"/>
                    <a:pt x="47" y="45"/>
                    <a:pt x="34" y="47"/>
                  </a:cubicBezTo>
                  <a:cubicBezTo>
                    <a:pt x="40" y="40"/>
                    <a:pt x="43" y="32"/>
                    <a:pt x="46" y="23"/>
                  </a:cubicBezTo>
                  <a:cubicBezTo>
                    <a:pt x="34" y="23"/>
                    <a:pt x="14" y="25"/>
                    <a:pt x="33" y="11"/>
                  </a:cubicBezTo>
                  <a:cubicBezTo>
                    <a:pt x="20" y="0"/>
                    <a:pt x="10" y="18"/>
                    <a:pt x="8" y="27"/>
                  </a:cubicBezTo>
                  <a:cubicBezTo>
                    <a:pt x="5" y="24"/>
                    <a:pt x="4" y="25"/>
                    <a:pt x="0" y="23"/>
                  </a:cubicBezTo>
                  <a:cubicBezTo>
                    <a:pt x="8" y="30"/>
                    <a:pt x="8" y="29"/>
                    <a:pt x="6" y="37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1" name="Freeform 101"/>
            <p:cNvSpPr>
              <a:spLocks/>
            </p:cNvSpPr>
            <p:nvPr/>
          </p:nvSpPr>
          <p:spPr bwMode="auto">
            <a:xfrm>
              <a:off x="2596" y="1005"/>
              <a:ext cx="13" cy="9"/>
            </a:xfrm>
            <a:custGeom>
              <a:avLst/>
              <a:gdLst>
                <a:gd name="T0" fmla="*/ 6 w 7"/>
                <a:gd name="T1" fmla="*/ 4 h 5"/>
                <a:gd name="T2" fmla="*/ 5 w 7"/>
                <a:gd name="T3" fmla="*/ 0 h 5"/>
                <a:gd name="T4" fmla="*/ 6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4"/>
                  </a:moveTo>
                  <a:cubicBezTo>
                    <a:pt x="7" y="2"/>
                    <a:pt x="5" y="0"/>
                    <a:pt x="5" y="0"/>
                  </a:cubicBezTo>
                  <a:cubicBezTo>
                    <a:pt x="5" y="3"/>
                    <a:pt x="0" y="5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2" name="Freeform 102"/>
            <p:cNvSpPr>
              <a:spLocks/>
            </p:cNvSpPr>
            <p:nvPr/>
          </p:nvSpPr>
          <p:spPr bwMode="auto">
            <a:xfrm>
              <a:off x="2270" y="680"/>
              <a:ext cx="177" cy="98"/>
            </a:xfrm>
            <a:custGeom>
              <a:avLst/>
              <a:gdLst>
                <a:gd name="T0" fmla="*/ 100 w 100"/>
                <a:gd name="T1" fmla="*/ 25 h 55"/>
                <a:gd name="T2" fmla="*/ 90 w 100"/>
                <a:gd name="T3" fmla="*/ 4 h 55"/>
                <a:gd name="T4" fmla="*/ 47 w 100"/>
                <a:gd name="T5" fmla="*/ 10 h 55"/>
                <a:gd name="T6" fmla="*/ 30 w 100"/>
                <a:gd name="T7" fmla="*/ 6 h 55"/>
                <a:gd name="T8" fmla="*/ 16 w 100"/>
                <a:gd name="T9" fmla="*/ 1 h 55"/>
                <a:gd name="T10" fmla="*/ 0 w 100"/>
                <a:gd name="T11" fmla="*/ 7 h 55"/>
                <a:gd name="T12" fmla="*/ 19 w 100"/>
                <a:gd name="T13" fmla="*/ 17 h 55"/>
                <a:gd name="T14" fmla="*/ 1 w 100"/>
                <a:gd name="T15" fmla="*/ 20 h 55"/>
                <a:gd name="T16" fmla="*/ 16 w 100"/>
                <a:gd name="T17" fmla="*/ 22 h 55"/>
                <a:gd name="T18" fmla="*/ 11 w 100"/>
                <a:gd name="T19" fmla="*/ 34 h 55"/>
                <a:gd name="T20" fmla="*/ 100 w 100"/>
                <a:gd name="T21" fmla="*/ 2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100" y="25"/>
                  </a:moveTo>
                  <a:cubicBezTo>
                    <a:pt x="96" y="18"/>
                    <a:pt x="88" y="11"/>
                    <a:pt x="90" y="4"/>
                  </a:cubicBezTo>
                  <a:cubicBezTo>
                    <a:pt x="78" y="2"/>
                    <a:pt x="55" y="3"/>
                    <a:pt x="47" y="10"/>
                  </a:cubicBezTo>
                  <a:cubicBezTo>
                    <a:pt x="40" y="8"/>
                    <a:pt x="36" y="9"/>
                    <a:pt x="30" y="6"/>
                  </a:cubicBezTo>
                  <a:cubicBezTo>
                    <a:pt x="23" y="23"/>
                    <a:pt x="22" y="2"/>
                    <a:pt x="16" y="1"/>
                  </a:cubicBezTo>
                  <a:cubicBezTo>
                    <a:pt x="13" y="0"/>
                    <a:pt x="2" y="6"/>
                    <a:pt x="0" y="7"/>
                  </a:cubicBezTo>
                  <a:cubicBezTo>
                    <a:pt x="6" y="11"/>
                    <a:pt x="14" y="14"/>
                    <a:pt x="19" y="17"/>
                  </a:cubicBezTo>
                  <a:cubicBezTo>
                    <a:pt x="13" y="18"/>
                    <a:pt x="7" y="21"/>
                    <a:pt x="1" y="20"/>
                  </a:cubicBezTo>
                  <a:cubicBezTo>
                    <a:pt x="6" y="20"/>
                    <a:pt x="11" y="22"/>
                    <a:pt x="16" y="22"/>
                  </a:cubicBezTo>
                  <a:cubicBezTo>
                    <a:pt x="13" y="26"/>
                    <a:pt x="15" y="30"/>
                    <a:pt x="11" y="34"/>
                  </a:cubicBezTo>
                  <a:cubicBezTo>
                    <a:pt x="43" y="43"/>
                    <a:pt x="73" y="55"/>
                    <a:pt x="100" y="25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3" name="Freeform 103"/>
            <p:cNvSpPr>
              <a:spLocks/>
            </p:cNvSpPr>
            <p:nvPr/>
          </p:nvSpPr>
          <p:spPr bwMode="auto">
            <a:xfrm>
              <a:off x="1210" y="1623"/>
              <a:ext cx="182" cy="101"/>
            </a:xfrm>
            <a:custGeom>
              <a:avLst/>
              <a:gdLst>
                <a:gd name="T0" fmla="*/ 103 w 103"/>
                <a:gd name="T1" fmla="*/ 50 h 57"/>
                <a:gd name="T2" fmla="*/ 0 w 103"/>
                <a:gd name="T3" fmla="*/ 34 h 57"/>
                <a:gd name="T4" fmla="*/ 73 w 103"/>
                <a:gd name="T5" fmla="*/ 46 h 57"/>
                <a:gd name="T6" fmla="*/ 69 w 103"/>
                <a:gd name="T7" fmla="*/ 52 h 57"/>
                <a:gd name="T8" fmla="*/ 103 w 103"/>
                <a:gd name="T9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57">
                  <a:moveTo>
                    <a:pt x="103" y="50"/>
                  </a:moveTo>
                  <a:cubicBezTo>
                    <a:pt x="84" y="34"/>
                    <a:pt x="19" y="0"/>
                    <a:pt x="0" y="34"/>
                  </a:cubicBezTo>
                  <a:cubicBezTo>
                    <a:pt x="26" y="23"/>
                    <a:pt x="48" y="31"/>
                    <a:pt x="73" y="46"/>
                  </a:cubicBezTo>
                  <a:cubicBezTo>
                    <a:pt x="71" y="48"/>
                    <a:pt x="70" y="50"/>
                    <a:pt x="69" y="52"/>
                  </a:cubicBezTo>
                  <a:cubicBezTo>
                    <a:pt x="81" y="53"/>
                    <a:pt x="92" y="57"/>
                    <a:pt x="103" y="5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4" name="Freeform 104"/>
            <p:cNvSpPr>
              <a:spLocks/>
            </p:cNvSpPr>
            <p:nvPr/>
          </p:nvSpPr>
          <p:spPr bwMode="auto">
            <a:xfrm>
              <a:off x="1235" y="1679"/>
              <a:ext cx="8" cy="11"/>
            </a:xfrm>
            <a:custGeom>
              <a:avLst/>
              <a:gdLst>
                <a:gd name="T0" fmla="*/ 0 w 5"/>
                <a:gd name="T1" fmla="*/ 6 h 6"/>
                <a:gd name="T2" fmla="*/ 5 w 5"/>
                <a:gd name="T3" fmla="*/ 6 h 6"/>
                <a:gd name="T4" fmla="*/ 5 w 5"/>
                <a:gd name="T5" fmla="*/ 0 h 6"/>
                <a:gd name="T6" fmla="*/ 0 w 5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6">
                  <a:moveTo>
                    <a:pt x="0" y="6"/>
                  </a:moveTo>
                  <a:cubicBezTo>
                    <a:pt x="2" y="6"/>
                    <a:pt x="3" y="6"/>
                    <a:pt x="5" y="6"/>
                  </a:cubicBezTo>
                  <a:cubicBezTo>
                    <a:pt x="5" y="4"/>
                    <a:pt x="5" y="2"/>
                    <a:pt x="5" y="0"/>
                  </a:cubicBezTo>
                  <a:cubicBezTo>
                    <a:pt x="5" y="1"/>
                    <a:pt x="1" y="4"/>
                    <a:pt x="0" y="6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5" name="Freeform 105"/>
            <p:cNvSpPr>
              <a:spLocks/>
            </p:cNvSpPr>
            <p:nvPr/>
          </p:nvSpPr>
          <p:spPr bwMode="auto">
            <a:xfrm>
              <a:off x="1327" y="1742"/>
              <a:ext cx="25" cy="14"/>
            </a:xfrm>
            <a:custGeom>
              <a:avLst/>
              <a:gdLst>
                <a:gd name="T0" fmla="*/ 13 w 14"/>
                <a:gd name="T1" fmla="*/ 2 h 8"/>
                <a:gd name="T2" fmla="*/ 0 w 14"/>
                <a:gd name="T3" fmla="*/ 2 h 8"/>
                <a:gd name="T4" fmla="*/ 13 w 14"/>
                <a:gd name="T5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8">
                  <a:moveTo>
                    <a:pt x="13" y="2"/>
                  </a:moveTo>
                  <a:cubicBezTo>
                    <a:pt x="11" y="1"/>
                    <a:pt x="4" y="0"/>
                    <a:pt x="0" y="2"/>
                  </a:cubicBezTo>
                  <a:cubicBezTo>
                    <a:pt x="7" y="8"/>
                    <a:pt x="14" y="8"/>
                    <a:pt x="13" y="2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6" name="Freeform 106"/>
            <p:cNvSpPr>
              <a:spLocks/>
            </p:cNvSpPr>
            <p:nvPr/>
          </p:nvSpPr>
          <p:spPr bwMode="auto">
            <a:xfrm>
              <a:off x="1518" y="1738"/>
              <a:ext cx="25" cy="14"/>
            </a:xfrm>
            <a:custGeom>
              <a:avLst/>
              <a:gdLst>
                <a:gd name="T0" fmla="*/ 0 w 14"/>
                <a:gd name="T1" fmla="*/ 3 h 8"/>
                <a:gd name="T2" fmla="*/ 14 w 14"/>
                <a:gd name="T3" fmla="*/ 5 h 8"/>
                <a:gd name="T4" fmla="*/ 0 w 14"/>
                <a:gd name="T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8">
                  <a:moveTo>
                    <a:pt x="0" y="3"/>
                  </a:moveTo>
                  <a:cubicBezTo>
                    <a:pt x="6" y="8"/>
                    <a:pt x="9" y="5"/>
                    <a:pt x="14" y="5"/>
                  </a:cubicBezTo>
                  <a:cubicBezTo>
                    <a:pt x="8" y="3"/>
                    <a:pt x="6" y="0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7" name="Freeform 107"/>
            <p:cNvSpPr>
              <a:spLocks/>
            </p:cNvSpPr>
            <p:nvPr/>
          </p:nvSpPr>
          <p:spPr bwMode="auto">
            <a:xfrm>
              <a:off x="1392" y="1715"/>
              <a:ext cx="105" cy="43"/>
            </a:xfrm>
            <a:custGeom>
              <a:avLst/>
              <a:gdLst>
                <a:gd name="T0" fmla="*/ 4 w 59"/>
                <a:gd name="T1" fmla="*/ 20 h 24"/>
                <a:gd name="T2" fmla="*/ 28 w 59"/>
                <a:gd name="T3" fmla="*/ 23 h 24"/>
                <a:gd name="T4" fmla="*/ 59 w 59"/>
                <a:gd name="T5" fmla="*/ 16 h 24"/>
                <a:gd name="T6" fmla="*/ 49 w 59"/>
                <a:gd name="T7" fmla="*/ 8 h 24"/>
                <a:gd name="T8" fmla="*/ 51 w 59"/>
                <a:gd name="T9" fmla="*/ 10 h 24"/>
                <a:gd name="T10" fmla="*/ 10 w 59"/>
                <a:gd name="T11" fmla="*/ 2 h 24"/>
                <a:gd name="T12" fmla="*/ 17 w 59"/>
                <a:gd name="T13" fmla="*/ 13 h 24"/>
                <a:gd name="T14" fmla="*/ 0 w 59"/>
                <a:gd name="T15" fmla="*/ 15 h 24"/>
                <a:gd name="T16" fmla="*/ 4 w 59"/>
                <a:gd name="T17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24">
                  <a:moveTo>
                    <a:pt x="4" y="20"/>
                  </a:moveTo>
                  <a:cubicBezTo>
                    <a:pt x="12" y="13"/>
                    <a:pt x="21" y="24"/>
                    <a:pt x="28" y="23"/>
                  </a:cubicBezTo>
                  <a:cubicBezTo>
                    <a:pt x="38" y="23"/>
                    <a:pt x="46" y="15"/>
                    <a:pt x="59" y="16"/>
                  </a:cubicBezTo>
                  <a:cubicBezTo>
                    <a:pt x="56" y="13"/>
                    <a:pt x="53" y="10"/>
                    <a:pt x="49" y="8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39" y="0"/>
                    <a:pt x="23" y="0"/>
                    <a:pt x="10" y="2"/>
                  </a:cubicBezTo>
                  <a:cubicBezTo>
                    <a:pt x="15" y="6"/>
                    <a:pt x="14" y="9"/>
                    <a:pt x="17" y="13"/>
                  </a:cubicBezTo>
                  <a:cubicBezTo>
                    <a:pt x="12" y="13"/>
                    <a:pt x="5" y="15"/>
                    <a:pt x="0" y="15"/>
                  </a:cubicBezTo>
                  <a:cubicBezTo>
                    <a:pt x="2" y="17"/>
                    <a:pt x="3" y="19"/>
                    <a:pt x="4" y="2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8" name="Freeform 108"/>
            <p:cNvSpPr>
              <a:spLocks/>
            </p:cNvSpPr>
            <p:nvPr/>
          </p:nvSpPr>
          <p:spPr bwMode="auto">
            <a:xfrm>
              <a:off x="1614" y="1878"/>
              <a:ext cx="12" cy="16"/>
            </a:xfrm>
            <a:custGeom>
              <a:avLst/>
              <a:gdLst>
                <a:gd name="T0" fmla="*/ 0 w 7"/>
                <a:gd name="T1" fmla="*/ 9 h 9"/>
                <a:gd name="T2" fmla="*/ 7 w 7"/>
                <a:gd name="T3" fmla="*/ 4 h 9"/>
                <a:gd name="T4" fmla="*/ 0 w 7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9">
                  <a:moveTo>
                    <a:pt x="0" y="9"/>
                  </a:moveTo>
                  <a:cubicBezTo>
                    <a:pt x="4" y="9"/>
                    <a:pt x="4" y="6"/>
                    <a:pt x="7" y="4"/>
                  </a:cubicBezTo>
                  <a:cubicBezTo>
                    <a:pt x="6" y="4"/>
                    <a:pt x="3" y="0"/>
                    <a:pt x="0" y="9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9" name="Freeform 109"/>
            <p:cNvSpPr>
              <a:spLocks/>
            </p:cNvSpPr>
            <p:nvPr/>
          </p:nvSpPr>
          <p:spPr bwMode="auto">
            <a:xfrm>
              <a:off x="1655" y="3065"/>
              <a:ext cx="28" cy="22"/>
            </a:xfrm>
            <a:custGeom>
              <a:avLst/>
              <a:gdLst>
                <a:gd name="T0" fmla="*/ 4 w 16"/>
                <a:gd name="T1" fmla="*/ 4 h 12"/>
                <a:gd name="T2" fmla="*/ 1 w 16"/>
                <a:gd name="T3" fmla="*/ 12 h 12"/>
                <a:gd name="T4" fmla="*/ 16 w 16"/>
                <a:gd name="T5" fmla="*/ 1 h 12"/>
                <a:gd name="T6" fmla="*/ 4 w 16"/>
                <a:gd name="T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2">
                  <a:moveTo>
                    <a:pt x="4" y="4"/>
                  </a:moveTo>
                  <a:cubicBezTo>
                    <a:pt x="2" y="7"/>
                    <a:pt x="0" y="8"/>
                    <a:pt x="1" y="12"/>
                  </a:cubicBezTo>
                  <a:cubicBezTo>
                    <a:pt x="7" y="10"/>
                    <a:pt x="14" y="6"/>
                    <a:pt x="16" y="1"/>
                  </a:cubicBezTo>
                  <a:cubicBezTo>
                    <a:pt x="11" y="0"/>
                    <a:pt x="9" y="2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0" name="Freeform 110"/>
            <p:cNvSpPr>
              <a:spLocks/>
            </p:cNvSpPr>
            <p:nvPr/>
          </p:nvSpPr>
          <p:spPr bwMode="auto">
            <a:xfrm>
              <a:off x="1634" y="3060"/>
              <a:ext cx="26" cy="25"/>
            </a:xfrm>
            <a:custGeom>
              <a:avLst/>
              <a:gdLst>
                <a:gd name="T0" fmla="*/ 6 w 15"/>
                <a:gd name="T1" fmla="*/ 6 h 14"/>
                <a:gd name="T2" fmla="*/ 2 w 15"/>
                <a:gd name="T3" fmla="*/ 14 h 14"/>
                <a:gd name="T4" fmla="*/ 15 w 15"/>
                <a:gd name="T5" fmla="*/ 2 h 14"/>
                <a:gd name="T6" fmla="*/ 6 w 15"/>
                <a:gd name="T7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6" y="6"/>
                  </a:moveTo>
                  <a:cubicBezTo>
                    <a:pt x="3" y="10"/>
                    <a:pt x="0" y="10"/>
                    <a:pt x="2" y="14"/>
                  </a:cubicBezTo>
                  <a:cubicBezTo>
                    <a:pt x="8" y="11"/>
                    <a:pt x="13" y="7"/>
                    <a:pt x="15" y="2"/>
                  </a:cubicBezTo>
                  <a:cubicBezTo>
                    <a:pt x="3" y="0"/>
                    <a:pt x="7" y="4"/>
                    <a:pt x="6" y="6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1" name="Freeform 111"/>
            <p:cNvSpPr>
              <a:spLocks/>
            </p:cNvSpPr>
            <p:nvPr/>
          </p:nvSpPr>
          <p:spPr bwMode="auto">
            <a:xfrm>
              <a:off x="1321" y="1619"/>
              <a:ext cx="11" cy="14"/>
            </a:xfrm>
            <a:custGeom>
              <a:avLst/>
              <a:gdLst>
                <a:gd name="T0" fmla="*/ 3 w 6"/>
                <a:gd name="T1" fmla="*/ 8 h 8"/>
                <a:gd name="T2" fmla="*/ 1 w 6"/>
                <a:gd name="T3" fmla="*/ 2 h 8"/>
                <a:gd name="T4" fmla="*/ 3 w 6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8">
                  <a:moveTo>
                    <a:pt x="3" y="8"/>
                  </a:moveTo>
                  <a:cubicBezTo>
                    <a:pt x="6" y="5"/>
                    <a:pt x="2" y="5"/>
                    <a:pt x="1" y="2"/>
                  </a:cubicBezTo>
                  <a:cubicBezTo>
                    <a:pt x="0" y="0"/>
                    <a:pt x="2" y="7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2" name="Freeform 112"/>
            <p:cNvSpPr>
              <a:spLocks/>
            </p:cNvSpPr>
            <p:nvPr/>
          </p:nvSpPr>
          <p:spPr bwMode="auto">
            <a:xfrm>
              <a:off x="1311" y="1585"/>
              <a:ext cx="16" cy="7"/>
            </a:xfrm>
            <a:custGeom>
              <a:avLst/>
              <a:gdLst>
                <a:gd name="T0" fmla="*/ 0 w 9"/>
                <a:gd name="T1" fmla="*/ 4 h 4"/>
                <a:gd name="T2" fmla="*/ 9 w 9"/>
                <a:gd name="T3" fmla="*/ 4 h 4"/>
                <a:gd name="T4" fmla="*/ 0 w 9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4">
                  <a:moveTo>
                    <a:pt x="0" y="4"/>
                  </a:moveTo>
                  <a:cubicBezTo>
                    <a:pt x="3" y="4"/>
                    <a:pt x="6" y="4"/>
                    <a:pt x="9" y="4"/>
                  </a:cubicBezTo>
                  <a:cubicBezTo>
                    <a:pt x="5" y="0"/>
                    <a:pt x="5" y="3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3" name="Freeform 113"/>
            <p:cNvSpPr>
              <a:spLocks/>
            </p:cNvSpPr>
            <p:nvPr/>
          </p:nvSpPr>
          <p:spPr bwMode="auto">
            <a:xfrm>
              <a:off x="1401" y="1701"/>
              <a:ext cx="13" cy="10"/>
            </a:xfrm>
            <a:custGeom>
              <a:avLst/>
              <a:gdLst>
                <a:gd name="T0" fmla="*/ 7 w 7"/>
                <a:gd name="T1" fmla="*/ 0 h 6"/>
                <a:gd name="T2" fmla="*/ 0 w 7"/>
                <a:gd name="T3" fmla="*/ 3 h 6"/>
                <a:gd name="T4" fmla="*/ 7 w 7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7" y="0"/>
                  </a:moveTo>
                  <a:cubicBezTo>
                    <a:pt x="4" y="1"/>
                    <a:pt x="2" y="2"/>
                    <a:pt x="0" y="3"/>
                  </a:cubicBezTo>
                  <a:cubicBezTo>
                    <a:pt x="1" y="3"/>
                    <a:pt x="4" y="6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4" name="Freeform 114"/>
            <p:cNvSpPr>
              <a:spLocks/>
            </p:cNvSpPr>
            <p:nvPr/>
          </p:nvSpPr>
          <p:spPr bwMode="auto">
            <a:xfrm>
              <a:off x="286" y="922"/>
              <a:ext cx="51" cy="55"/>
            </a:xfrm>
            <a:custGeom>
              <a:avLst/>
              <a:gdLst>
                <a:gd name="T0" fmla="*/ 24 w 29"/>
                <a:gd name="T1" fmla="*/ 3 h 31"/>
                <a:gd name="T2" fmla="*/ 27 w 29"/>
                <a:gd name="T3" fmla="*/ 31 h 31"/>
                <a:gd name="T4" fmla="*/ 24 w 29"/>
                <a:gd name="T5" fmla="*/ 18 h 31"/>
                <a:gd name="T6" fmla="*/ 24 w 29"/>
                <a:gd name="T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31">
                  <a:moveTo>
                    <a:pt x="24" y="3"/>
                  </a:moveTo>
                  <a:cubicBezTo>
                    <a:pt x="0" y="0"/>
                    <a:pt x="24" y="22"/>
                    <a:pt x="27" y="31"/>
                  </a:cubicBezTo>
                  <a:cubicBezTo>
                    <a:pt x="29" y="23"/>
                    <a:pt x="26" y="21"/>
                    <a:pt x="24" y="18"/>
                  </a:cubicBezTo>
                  <a:cubicBezTo>
                    <a:pt x="25" y="14"/>
                    <a:pt x="23" y="8"/>
                    <a:pt x="24" y="3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5" name="Freeform 115"/>
            <p:cNvSpPr>
              <a:spLocks/>
            </p:cNvSpPr>
            <p:nvPr/>
          </p:nvSpPr>
          <p:spPr bwMode="auto">
            <a:xfrm>
              <a:off x="548" y="434"/>
              <a:ext cx="376" cy="209"/>
            </a:xfrm>
            <a:custGeom>
              <a:avLst/>
              <a:gdLst>
                <a:gd name="T0" fmla="*/ 212 w 212"/>
                <a:gd name="T1" fmla="*/ 92 h 118"/>
                <a:gd name="T2" fmla="*/ 171 w 212"/>
                <a:gd name="T3" fmla="*/ 54 h 118"/>
                <a:gd name="T4" fmla="*/ 155 w 212"/>
                <a:gd name="T5" fmla="*/ 24 h 118"/>
                <a:gd name="T6" fmla="*/ 137 w 212"/>
                <a:gd name="T7" fmla="*/ 33 h 118"/>
                <a:gd name="T8" fmla="*/ 145 w 212"/>
                <a:gd name="T9" fmla="*/ 57 h 118"/>
                <a:gd name="T10" fmla="*/ 116 w 212"/>
                <a:gd name="T11" fmla="*/ 38 h 118"/>
                <a:gd name="T12" fmla="*/ 117 w 212"/>
                <a:gd name="T13" fmla="*/ 44 h 118"/>
                <a:gd name="T14" fmla="*/ 81 w 212"/>
                <a:gd name="T15" fmla="*/ 42 h 118"/>
                <a:gd name="T16" fmla="*/ 50 w 212"/>
                <a:gd name="T17" fmla="*/ 67 h 118"/>
                <a:gd name="T18" fmla="*/ 40 w 212"/>
                <a:gd name="T19" fmla="*/ 74 h 118"/>
                <a:gd name="T20" fmla="*/ 93 w 212"/>
                <a:gd name="T21" fmla="*/ 84 h 118"/>
                <a:gd name="T22" fmla="*/ 48 w 212"/>
                <a:gd name="T23" fmla="*/ 92 h 118"/>
                <a:gd name="T24" fmla="*/ 86 w 212"/>
                <a:gd name="T25" fmla="*/ 110 h 118"/>
                <a:gd name="T26" fmla="*/ 124 w 212"/>
                <a:gd name="T27" fmla="*/ 113 h 118"/>
                <a:gd name="T28" fmla="*/ 164 w 212"/>
                <a:gd name="T29" fmla="*/ 104 h 118"/>
                <a:gd name="T30" fmla="*/ 202 w 212"/>
                <a:gd name="T31" fmla="*/ 106 h 118"/>
                <a:gd name="T32" fmla="*/ 194 w 212"/>
                <a:gd name="T33" fmla="*/ 98 h 118"/>
                <a:gd name="T34" fmla="*/ 198 w 212"/>
                <a:gd name="T35" fmla="*/ 95 h 118"/>
                <a:gd name="T36" fmla="*/ 212 w 212"/>
                <a:gd name="T37" fmla="*/ 9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2" h="118">
                  <a:moveTo>
                    <a:pt x="212" y="92"/>
                  </a:moveTo>
                  <a:cubicBezTo>
                    <a:pt x="191" y="80"/>
                    <a:pt x="182" y="76"/>
                    <a:pt x="171" y="54"/>
                  </a:cubicBezTo>
                  <a:cubicBezTo>
                    <a:pt x="165" y="41"/>
                    <a:pt x="183" y="10"/>
                    <a:pt x="155" y="24"/>
                  </a:cubicBezTo>
                  <a:cubicBezTo>
                    <a:pt x="153" y="25"/>
                    <a:pt x="138" y="30"/>
                    <a:pt x="137" y="33"/>
                  </a:cubicBezTo>
                  <a:cubicBezTo>
                    <a:pt x="135" y="40"/>
                    <a:pt x="147" y="52"/>
                    <a:pt x="145" y="57"/>
                  </a:cubicBezTo>
                  <a:cubicBezTo>
                    <a:pt x="143" y="61"/>
                    <a:pt x="127" y="36"/>
                    <a:pt x="116" y="38"/>
                  </a:cubicBezTo>
                  <a:cubicBezTo>
                    <a:pt x="116" y="40"/>
                    <a:pt x="117" y="42"/>
                    <a:pt x="117" y="44"/>
                  </a:cubicBezTo>
                  <a:cubicBezTo>
                    <a:pt x="102" y="51"/>
                    <a:pt x="97" y="26"/>
                    <a:pt x="81" y="42"/>
                  </a:cubicBezTo>
                  <a:cubicBezTo>
                    <a:pt x="77" y="0"/>
                    <a:pt x="0" y="74"/>
                    <a:pt x="50" y="67"/>
                  </a:cubicBezTo>
                  <a:cubicBezTo>
                    <a:pt x="45" y="68"/>
                    <a:pt x="44" y="71"/>
                    <a:pt x="40" y="74"/>
                  </a:cubicBezTo>
                  <a:cubicBezTo>
                    <a:pt x="52" y="88"/>
                    <a:pt x="77" y="76"/>
                    <a:pt x="93" y="84"/>
                  </a:cubicBezTo>
                  <a:cubicBezTo>
                    <a:pt x="78" y="84"/>
                    <a:pt x="61" y="83"/>
                    <a:pt x="48" y="92"/>
                  </a:cubicBezTo>
                  <a:cubicBezTo>
                    <a:pt x="58" y="108"/>
                    <a:pt x="77" y="98"/>
                    <a:pt x="86" y="110"/>
                  </a:cubicBezTo>
                  <a:cubicBezTo>
                    <a:pt x="92" y="118"/>
                    <a:pt x="116" y="117"/>
                    <a:pt x="124" y="113"/>
                  </a:cubicBezTo>
                  <a:cubicBezTo>
                    <a:pt x="137" y="108"/>
                    <a:pt x="152" y="103"/>
                    <a:pt x="164" y="104"/>
                  </a:cubicBezTo>
                  <a:cubicBezTo>
                    <a:pt x="179" y="106"/>
                    <a:pt x="187" y="118"/>
                    <a:pt x="202" y="106"/>
                  </a:cubicBezTo>
                  <a:cubicBezTo>
                    <a:pt x="199" y="103"/>
                    <a:pt x="198" y="100"/>
                    <a:pt x="194" y="98"/>
                  </a:cubicBezTo>
                  <a:cubicBezTo>
                    <a:pt x="196" y="97"/>
                    <a:pt x="197" y="96"/>
                    <a:pt x="198" y="95"/>
                  </a:cubicBezTo>
                  <a:cubicBezTo>
                    <a:pt x="204" y="95"/>
                    <a:pt x="208" y="95"/>
                    <a:pt x="212" y="92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6" name="Freeform 116"/>
            <p:cNvSpPr>
              <a:spLocks/>
            </p:cNvSpPr>
            <p:nvPr/>
          </p:nvSpPr>
          <p:spPr bwMode="auto">
            <a:xfrm>
              <a:off x="488" y="441"/>
              <a:ext cx="177" cy="131"/>
            </a:xfrm>
            <a:custGeom>
              <a:avLst/>
              <a:gdLst>
                <a:gd name="T0" fmla="*/ 20 w 100"/>
                <a:gd name="T1" fmla="*/ 64 h 74"/>
                <a:gd name="T2" fmla="*/ 58 w 100"/>
                <a:gd name="T3" fmla="*/ 44 h 74"/>
                <a:gd name="T4" fmla="*/ 100 w 100"/>
                <a:gd name="T5" fmla="*/ 23 h 74"/>
                <a:gd name="T6" fmla="*/ 10 w 100"/>
                <a:gd name="T7" fmla="*/ 4 h 74"/>
                <a:gd name="T8" fmla="*/ 2 w 100"/>
                <a:gd name="T9" fmla="*/ 41 h 74"/>
                <a:gd name="T10" fmla="*/ 20 w 100"/>
                <a:gd name="T11" fmla="*/ 6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74">
                  <a:moveTo>
                    <a:pt x="20" y="64"/>
                  </a:moveTo>
                  <a:cubicBezTo>
                    <a:pt x="36" y="74"/>
                    <a:pt x="50" y="55"/>
                    <a:pt x="58" y="44"/>
                  </a:cubicBezTo>
                  <a:cubicBezTo>
                    <a:pt x="70" y="30"/>
                    <a:pt x="85" y="31"/>
                    <a:pt x="100" y="23"/>
                  </a:cubicBezTo>
                  <a:cubicBezTo>
                    <a:pt x="88" y="1"/>
                    <a:pt x="32" y="0"/>
                    <a:pt x="10" y="4"/>
                  </a:cubicBezTo>
                  <a:cubicBezTo>
                    <a:pt x="24" y="23"/>
                    <a:pt x="3" y="26"/>
                    <a:pt x="2" y="41"/>
                  </a:cubicBezTo>
                  <a:cubicBezTo>
                    <a:pt x="0" y="58"/>
                    <a:pt x="10" y="50"/>
                    <a:pt x="20" y="6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7" name="Freeform 117"/>
            <p:cNvSpPr>
              <a:spLocks/>
            </p:cNvSpPr>
            <p:nvPr/>
          </p:nvSpPr>
          <p:spPr bwMode="auto">
            <a:xfrm>
              <a:off x="610" y="350"/>
              <a:ext cx="249" cy="108"/>
            </a:xfrm>
            <a:custGeom>
              <a:avLst/>
              <a:gdLst>
                <a:gd name="T0" fmla="*/ 22 w 140"/>
                <a:gd name="T1" fmla="*/ 21 h 61"/>
                <a:gd name="T2" fmla="*/ 29 w 140"/>
                <a:gd name="T3" fmla="*/ 23 h 61"/>
                <a:gd name="T4" fmla="*/ 18 w 140"/>
                <a:gd name="T5" fmla="*/ 22 h 61"/>
                <a:gd name="T6" fmla="*/ 22 w 140"/>
                <a:gd name="T7" fmla="*/ 28 h 61"/>
                <a:gd name="T8" fmla="*/ 45 w 140"/>
                <a:gd name="T9" fmla="*/ 38 h 61"/>
                <a:gd name="T10" fmla="*/ 51 w 140"/>
                <a:gd name="T11" fmla="*/ 46 h 61"/>
                <a:gd name="T12" fmla="*/ 42 w 140"/>
                <a:gd name="T13" fmla="*/ 50 h 61"/>
                <a:gd name="T14" fmla="*/ 51 w 140"/>
                <a:gd name="T15" fmla="*/ 55 h 61"/>
                <a:gd name="T16" fmla="*/ 127 w 140"/>
                <a:gd name="T17" fmla="*/ 38 h 61"/>
                <a:gd name="T18" fmla="*/ 103 w 140"/>
                <a:gd name="T19" fmla="*/ 16 h 61"/>
                <a:gd name="T20" fmla="*/ 81 w 140"/>
                <a:gd name="T21" fmla="*/ 16 h 61"/>
                <a:gd name="T22" fmla="*/ 87 w 140"/>
                <a:gd name="T23" fmla="*/ 26 h 61"/>
                <a:gd name="T24" fmla="*/ 93 w 140"/>
                <a:gd name="T25" fmla="*/ 28 h 61"/>
                <a:gd name="T26" fmla="*/ 28 w 140"/>
                <a:gd name="T27" fmla="*/ 14 h 61"/>
                <a:gd name="T28" fmla="*/ 38 w 140"/>
                <a:gd name="T29" fmla="*/ 18 h 61"/>
                <a:gd name="T30" fmla="*/ 22 w 140"/>
                <a:gd name="T31" fmla="*/ 2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0" h="61">
                  <a:moveTo>
                    <a:pt x="22" y="21"/>
                  </a:moveTo>
                  <a:cubicBezTo>
                    <a:pt x="25" y="22"/>
                    <a:pt x="27" y="23"/>
                    <a:pt x="29" y="23"/>
                  </a:cubicBezTo>
                  <a:cubicBezTo>
                    <a:pt x="26" y="23"/>
                    <a:pt x="22" y="23"/>
                    <a:pt x="18" y="22"/>
                  </a:cubicBezTo>
                  <a:cubicBezTo>
                    <a:pt x="19" y="25"/>
                    <a:pt x="20" y="27"/>
                    <a:pt x="22" y="28"/>
                  </a:cubicBezTo>
                  <a:cubicBezTo>
                    <a:pt x="0" y="26"/>
                    <a:pt x="25" y="61"/>
                    <a:pt x="45" y="38"/>
                  </a:cubicBezTo>
                  <a:cubicBezTo>
                    <a:pt x="47" y="41"/>
                    <a:pt x="49" y="43"/>
                    <a:pt x="51" y="46"/>
                  </a:cubicBezTo>
                  <a:cubicBezTo>
                    <a:pt x="48" y="47"/>
                    <a:pt x="45" y="49"/>
                    <a:pt x="42" y="50"/>
                  </a:cubicBezTo>
                  <a:cubicBezTo>
                    <a:pt x="45" y="52"/>
                    <a:pt x="48" y="53"/>
                    <a:pt x="51" y="55"/>
                  </a:cubicBezTo>
                  <a:cubicBezTo>
                    <a:pt x="64" y="55"/>
                    <a:pt x="121" y="47"/>
                    <a:pt x="127" y="38"/>
                  </a:cubicBezTo>
                  <a:cubicBezTo>
                    <a:pt x="140" y="16"/>
                    <a:pt x="109" y="28"/>
                    <a:pt x="103" y="16"/>
                  </a:cubicBezTo>
                  <a:cubicBezTo>
                    <a:pt x="97" y="5"/>
                    <a:pt x="89" y="0"/>
                    <a:pt x="81" y="16"/>
                  </a:cubicBezTo>
                  <a:cubicBezTo>
                    <a:pt x="90" y="22"/>
                    <a:pt x="90" y="20"/>
                    <a:pt x="87" y="26"/>
                  </a:cubicBezTo>
                  <a:cubicBezTo>
                    <a:pt x="89" y="27"/>
                    <a:pt x="91" y="27"/>
                    <a:pt x="93" y="28"/>
                  </a:cubicBezTo>
                  <a:cubicBezTo>
                    <a:pt x="77" y="40"/>
                    <a:pt x="46" y="13"/>
                    <a:pt x="28" y="14"/>
                  </a:cubicBezTo>
                  <a:cubicBezTo>
                    <a:pt x="31" y="15"/>
                    <a:pt x="35" y="17"/>
                    <a:pt x="38" y="18"/>
                  </a:cubicBezTo>
                  <a:cubicBezTo>
                    <a:pt x="31" y="17"/>
                    <a:pt x="29" y="20"/>
                    <a:pt x="22" y="2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8" name="Freeform 118"/>
            <p:cNvSpPr>
              <a:spLocks/>
            </p:cNvSpPr>
            <p:nvPr/>
          </p:nvSpPr>
          <p:spPr bwMode="auto">
            <a:xfrm>
              <a:off x="598" y="389"/>
              <a:ext cx="28" cy="23"/>
            </a:xfrm>
            <a:custGeom>
              <a:avLst/>
              <a:gdLst>
                <a:gd name="T0" fmla="*/ 5 w 16"/>
                <a:gd name="T1" fmla="*/ 13 h 13"/>
                <a:gd name="T2" fmla="*/ 16 w 16"/>
                <a:gd name="T3" fmla="*/ 0 h 13"/>
                <a:gd name="T4" fmla="*/ 0 w 16"/>
                <a:gd name="T5" fmla="*/ 8 h 13"/>
                <a:gd name="T6" fmla="*/ 5 w 16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3">
                  <a:moveTo>
                    <a:pt x="5" y="13"/>
                  </a:moveTo>
                  <a:cubicBezTo>
                    <a:pt x="11" y="9"/>
                    <a:pt x="14" y="7"/>
                    <a:pt x="16" y="0"/>
                  </a:cubicBezTo>
                  <a:cubicBezTo>
                    <a:pt x="8" y="1"/>
                    <a:pt x="5" y="3"/>
                    <a:pt x="0" y="8"/>
                  </a:cubicBezTo>
                  <a:cubicBezTo>
                    <a:pt x="2" y="10"/>
                    <a:pt x="3" y="11"/>
                    <a:pt x="5" y="13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9" name="Freeform 119"/>
            <p:cNvSpPr>
              <a:spLocks/>
            </p:cNvSpPr>
            <p:nvPr/>
          </p:nvSpPr>
          <p:spPr bwMode="auto">
            <a:xfrm>
              <a:off x="674" y="359"/>
              <a:ext cx="22" cy="9"/>
            </a:xfrm>
            <a:custGeom>
              <a:avLst/>
              <a:gdLst>
                <a:gd name="T0" fmla="*/ 0 w 12"/>
                <a:gd name="T1" fmla="*/ 0 h 5"/>
                <a:gd name="T2" fmla="*/ 5 w 12"/>
                <a:gd name="T3" fmla="*/ 5 h 5"/>
                <a:gd name="T4" fmla="*/ 12 w 12"/>
                <a:gd name="T5" fmla="*/ 5 h 5"/>
                <a:gd name="T6" fmla="*/ 12 w 12"/>
                <a:gd name="T7" fmla="*/ 0 h 5"/>
                <a:gd name="T8" fmla="*/ 0 w 1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5">
                  <a:moveTo>
                    <a:pt x="0" y="0"/>
                  </a:moveTo>
                  <a:cubicBezTo>
                    <a:pt x="2" y="2"/>
                    <a:pt x="3" y="3"/>
                    <a:pt x="5" y="5"/>
                  </a:cubicBezTo>
                  <a:cubicBezTo>
                    <a:pt x="7" y="5"/>
                    <a:pt x="10" y="5"/>
                    <a:pt x="12" y="5"/>
                  </a:cubicBezTo>
                  <a:cubicBezTo>
                    <a:pt x="12" y="3"/>
                    <a:pt x="12" y="2"/>
                    <a:pt x="12" y="0"/>
                  </a:cubicBezTo>
                  <a:cubicBezTo>
                    <a:pt x="9" y="0"/>
                    <a:pt x="4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0" name="Freeform 120"/>
            <p:cNvSpPr>
              <a:spLocks/>
            </p:cNvSpPr>
            <p:nvPr/>
          </p:nvSpPr>
          <p:spPr bwMode="auto">
            <a:xfrm>
              <a:off x="525" y="329"/>
              <a:ext cx="133" cy="76"/>
            </a:xfrm>
            <a:custGeom>
              <a:avLst/>
              <a:gdLst>
                <a:gd name="T0" fmla="*/ 25 w 75"/>
                <a:gd name="T1" fmla="*/ 34 h 43"/>
                <a:gd name="T2" fmla="*/ 31 w 75"/>
                <a:gd name="T3" fmla="*/ 40 h 43"/>
                <a:gd name="T4" fmla="*/ 38 w 75"/>
                <a:gd name="T5" fmla="*/ 32 h 43"/>
                <a:gd name="T6" fmla="*/ 50 w 75"/>
                <a:gd name="T7" fmla="*/ 21 h 43"/>
                <a:gd name="T8" fmla="*/ 75 w 75"/>
                <a:gd name="T9" fmla="*/ 8 h 43"/>
                <a:gd name="T10" fmla="*/ 14 w 75"/>
                <a:gd name="T11" fmla="*/ 26 h 43"/>
                <a:gd name="T12" fmla="*/ 25 w 75"/>
                <a:gd name="T13" fmla="*/ 3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43">
                  <a:moveTo>
                    <a:pt x="25" y="34"/>
                  </a:moveTo>
                  <a:cubicBezTo>
                    <a:pt x="27" y="36"/>
                    <a:pt x="29" y="38"/>
                    <a:pt x="31" y="40"/>
                  </a:cubicBezTo>
                  <a:cubicBezTo>
                    <a:pt x="33" y="37"/>
                    <a:pt x="36" y="35"/>
                    <a:pt x="38" y="32"/>
                  </a:cubicBezTo>
                  <a:cubicBezTo>
                    <a:pt x="45" y="29"/>
                    <a:pt x="46" y="28"/>
                    <a:pt x="50" y="21"/>
                  </a:cubicBezTo>
                  <a:cubicBezTo>
                    <a:pt x="60" y="43"/>
                    <a:pt x="73" y="17"/>
                    <a:pt x="75" y="8"/>
                  </a:cubicBezTo>
                  <a:cubicBezTo>
                    <a:pt x="57" y="0"/>
                    <a:pt x="27" y="13"/>
                    <a:pt x="14" y="26"/>
                  </a:cubicBezTo>
                  <a:cubicBezTo>
                    <a:pt x="0" y="39"/>
                    <a:pt x="13" y="35"/>
                    <a:pt x="25" y="3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1" name="Freeform 121"/>
            <p:cNvSpPr>
              <a:spLocks/>
            </p:cNvSpPr>
            <p:nvPr/>
          </p:nvSpPr>
          <p:spPr bwMode="auto">
            <a:xfrm>
              <a:off x="699" y="277"/>
              <a:ext cx="71" cy="34"/>
            </a:xfrm>
            <a:custGeom>
              <a:avLst/>
              <a:gdLst>
                <a:gd name="T0" fmla="*/ 16 w 40"/>
                <a:gd name="T1" fmla="*/ 18 h 19"/>
                <a:gd name="T2" fmla="*/ 40 w 40"/>
                <a:gd name="T3" fmla="*/ 14 h 19"/>
                <a:gd name="T4" fmla="*/ 0 w 40"/>
                <a:gd name="T5" fmla="*/ 18 h 19"/>
                <a:gd name="T6" fmla="*/ 16 w 40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19">
                  <a:moveTo>
                    <a:pt x="16" y="18"/>
                  </a:moveTo>
                  <a:cubicBezTo>
                    <a:pt x="24" y="19"/>
                    <a:pt x="32" y="18"/>
                    <a:pt x="40" y="14"/>
                  </a:cubicBezTo>
                  <a:cubicBezTo>
                    <a:pt x="30" y="0"/>
                    <a:pt x="10" y="8"/>
                    <a:pt x="0" y="18"/>
                  </a:cubicBezTo>
                  <a:cubicBezTo>
                    <a:pt x="7" y="14"/>
                    <a:pt x="9" y="17"/>
                    <a:pt x="16" y="18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2" name="Freeform 122"/>
            <p:cNvSpPr>
              <a:spLocks/>
            </p:cNvSpPr>
            <p:nvPr/>
          </p:nvSpPr>
          <p:spPr bwMode="auto">
            <a:xfrm>
              <a:off x="692" y="311"/>
              <a:ext cx="71" cy="41"/>
            </a:xfrm>
            <a:custGeom>
              <a:avLst/>
              <a:gdLst>
                <a:gd name="T0" fmla="*/ 7 w 40"/>
                <a:gd name="T1" fmla="*/ 12 h 23"/>
                <a:gd name="T2" fmla="*/ 35 w 40"/>
                <a:gd name="T3" fmla="*/ 8 h 23"/>
                <a:gd name="T4" fmla="*/ 25 w 40"/>
                <a:gd name="T5" fmla="*/ 8 h 23"/>
                <a:gd name="T6" fmla="*/ 40 w 40"/>
                <a:gd name="T7" fmla="*/ 4 h 23"/>
                <a:gd name="T8" fmla="*/ 7 w 40"/>
                <a:gd name="T9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3">
                  <a:moveTo>
                    <a:pt x="7" y="12"/>
                  </a:moveTo>
                  <a:cubicBezTo>
                    <a:pt x="14" y="23"/>
                    <a:pt x="30" y="18"/>
                    <a:pt x="35" y="8"/>
                  </a:cubicBezTo>
                  <a:cubicBezTo>
                    <a:pt x="31" y="8"/>
                    <a:pt x="28" y="8"/>
                    <a:pt x="25" y="8"/>
                  </a:cubicBezTo>
                  <a:cubicBezTo>
                    <a:pt x="31" y="8"/>
                    <a:pt x="34" y="6"/>
                    <a:pt x="40" y="4"/>
                  </a:cubicBezTo>
                  <a:cubicBezTo>
                    <a:pt x="33" y="0"/>
                    <a:pt x="0" y="1"/>
                    <a:pt x="7" y="12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3" name="Freeform 123"/>
            <p:cNvSpPr>
              <a:spLocks/>
            </p:cNvSpPr>
            <p:nvPr/>
          </p:nvSpPr>
          <p:spPr bwMode="auto">
            <a:xfrm>
              <a:off x="673" y="315"/>
              <a:ext cx="19" cy="21"/>
            </a:xfrm>
            <a:custGeom>
              <a:avLst/>
              <a:gdLst>
                <a:gd name="T0" fmla="*/ 11 w 11"/>
                <a:gd name="T1" fmla="*/ 6 h 12"/>
                <a:gd name="T2" fmla="*/ 0 w 11"/>
                <a:gd name="T3" fmla="*/ 5 h 12"/>
                <a:gd name="T4" fmla="*/ 11 w 11"/>
                <a:gd name="T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6" y="3"/>
                    <a:pt x="5" y="0"/>
                    <a:pt x="0" y="5"/>
                  </a:cubicBezTo>
                  <a:cubicBezTo>
                    <a:pt x="5" y="12"/>
                    <a:pt x="6" y="8"/>
                    <a:pt x="11" y="6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4" name="Freeform 124"/>
            <p:cNvSpPr>
              <a:spLocks/>
            </p:cNvSpPr>
            <p:nvPr/>
          </p:nvSpPr>
          <p:spPr bwMode="auto">
            <a:xfrm>
              <a:off x="898" y="458"/>
              <a:ext cx="120" cy="95"/>
            </a:xfrm>
            <a:custGeom>
              <a:avLst/>
              <a:gdLst>
                <a:gd name="T0" fmla="*/ 52 w 68"/>
                <a:gd name="T1" fmla="*/ 23 h 53"/>
                <a:gd name="T2" fmla="*/ 39 w 68"/>
                <a:gd name="T3" fmla="*/ 23 h 53"/>
                <a:gd name="T4" fmla="*/ 10 w 68"/>
                <a:gd name="T5" fmla="*/ 13 h 53"/>
                <a:gd name="T6" fmla="*/ 0 w 68"/>
                <a:gd name="T7" fmla="*/ 23 h 53"/>
                <a:gd name="T8" fmla="*/ 38 w 68"/>
                <a:gd name="T9" fmla="*/ 53 h 53"/>
                <a:gd name="T10" fmla="*/ 52 w 68"/>
                <a:gd name="T11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53">
                  <a:moveTo>
                    <a:pt x="52" y="23"/>
                  </a:moveTo>
                  <a:cubicBezTo>
                    <a:pt x="47" y="23"/>
                    <a:pt x="45" y="21"/>
                    <a:pt x="39" y="23"/>
                  </a:cubicBezTo>
                  <a:cubicBezTo>
                    <a:pt x="68" y="8"/>
                    <a:pt x="24" y="0"/>
                    <a:pt x="10" y="13"/>
                  </a:cubicBezTo>
                  <a:cubicBezTo>
                    <a:pt x="30" y="15"/>
                    <a:pt x="20" y="30"/>
                    <a:pt x="0" y="23"/>
                  </a:cubicBezTo>
                  <a:cubicBezTo>
                    <a:pt x="1" y="30"/>
                    <a:pt x="30" y="53"/>
                    <a:pt x="38" y="53"/>
                  </a:cubicBezTo>
                  <a:cubicBezTo>
                    <a:pt x="60" y="53"/>
                    <a:pt x="58" y="30"/>
                    <a:pt x="52" y="23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5" name="Freeform 125"/>
            <p:cNvSpPr>
              <a:spLocks/>
            </p:cNvSpPr>
            <p:nvPr/>
          </p:nvSpPr>
          <p:spPr bwMode="auto">
            <a:xfrm>
              <a:off x="848" y="366"/>
              <a:ext cx="147" cy="64"/>
            </a:xfrm>
            <a:custGeom>
              <a:avLst/>
              <a:gdLst>
                <a:gd name="T0" fmla="*/ 37 w 83"/>
                <a:gd name="T1" fmla="*/ 1 h 36"/>
                <a:gd name="T2" fmla="*/ 49 w 83"/>
                <a:gd name="T3" fmla="*/ 13 h 36"/>
                <a:gd name="T4" fmla="*/ 30 w 83"/>
                <a:gd name="T5" fmla="*/ 6 h 36"/>
                <a:gd name="T6" fmla="*/ 37 w 83"/>
                <a:gd name="T7" fmla="*/ 16 h 36"/>
                <a:gd name="T8" fmla="*/ 7 w 83"/>
                <a:gd name="T9" fmla="*/ 1 h 36"/>
                <a:gd name="T10" fmla="*/ 10 w 83"/>
                <a:gd name="T11" fmla="*/ 8 h 36"/>
                <a:gd name="T12" fmla="*/ 22 w 83"/>
                <a:gd name="T13" fmla="*/ 18 h 36"/>
                <a:gd name="T14" fmla="*/ 56 w 83"/>
                <a:gd name="T15" fmla="*/ 20 h 36"/>
                <a:gd name="T16" fmla="*/ 45 w 83"/>
                <a:gd name="T17" fmla="*/ 32 h 36"/>
                <a:gd name="T18" fmla="*/ 73 w 83"/>
                <a:gd name="T19" fmla="*/ 10 h 36"/>
                <a:gd name="T20" fmla="*/ 37 w 83"/>
                <a:gd name="T21" fmla="*/ 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36">
                  <a:moveTo>
                    <a:pt x="37" y="1"/>
                  </a:moveTo>
                  <a:cubicBezTo>
                    <a:pt x="44" y="3"/>
                    <a:pt x="49" y="6"/>
                    <a:pt x="49" y="13"/>
                  </a:cubicBezTo>
                  <a:cubicBezTo>
                    <a:pt x="43" y="11"/>
                    <a:pt x="36" y="9"/>
                    <a:pt x="30" y="6"/>
                  </a:cubicBezTo>
                  <a:cubicBezTo>
                    <a:pt x="32" y="9"/>
                    <a:pt x="33" y="12"/>
                    <a:pt x="37" y="16"/>
                  </a:cubicBezTo>
                  <a:cubicBezTo>
                    <a:pt x="26" y="13"/>
                    <a:pt x="19" y="3"/>
                    <a:pt x="7" y="1"/>
                  </a:cubicBezTo>
                  <a:cubicBezTo>
                    <a:pt x="8" y="4"/>
                    <a:pt x="9" y="6"/>
                    <a:pt x="10" y="8"/>
                  </a:cubicBezTo>
                  <a:cubicBezTo>
                    <a:pt x="0" y="5"/>
                    <a:pt x="18" y="16"/>
                    <a:pt x="22" y="18"/>
                  </a:cubicBezTo>
                  <a:cubicBezTo>
                    <a:pt x="33" y="22"/>
                    <a:pt x="43" y="18"/>
                    <a:pt x="56" y="20"/>
                  </a:cubicBezTo>
                  <a:cubicBezTo>
                    <a:pt x="48" y="24"/>
                    <a:pt x="49" y="26"/>
                    <a:pt x="45" y="32"/>
                  </a:cubicBezTo>
                  <a:cubicBezTo>
                    <a:pt x="59" y="36"/>
                    <a:pt x="83" y="30"/>
                    <a:pt x="73" y="10"/>
                  </a:cubicBezTo>
                  <a:cubicBezTo>
                    <a:pt x="67" y="0"/>
                    <a:pt x="49" y="1"/>
                    <a:pt x="37" y="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6" name="Freeform 126"/>
            <p:cNvSpPr>
              <a:spLocks/>
            </p:cNvSpPr>
            <p:nvPr/>
          </p:nvSpPr>
          <p:spPr bwMode="auto">
            <a:xfrm>
              <a:off x="949" y="588"/>
              <a:ext cx="69" cy="53"/>
            </a:xfrm>
            <a:custGeom>
              <a:avLst/>
              <a:gdLst>
                <a:gd name="T0" fmla="*/ 39 w 39"/>
                <a:gd name="T1" fmla="*/ 24 h 30"/>
                <a:gd name="T2" fmla="*/ 0 w 39"/>
                <a:gd name="T3" fmla="*/ 20 h 30"/>
                <a:gd name="T4" fmla="*/ 30 w 39"/>
                <a:gd name="T5" fmla="*/ 30 h 30"/>
                <a:gd name="T6" fmla="*/ 39 w 39"/>
                <a:gd name="T7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30">
                  <a:moveTo>
                    <a:pt x="39" y="24"/>
                  </a:moveTo>
                  <a:cubicBezTo>
                    <a:pt x="22" y="0"/>
                    <a:pt x="18" y="14"/>
                    <a:pt x="0" y="20"/>
                  </a:cubicBezTo>
                  <a:cubicBezTo>
                    <a:pt x="10" y="24"/>
                    <a:pt x="20" y="28"/>
                    <a:pt x="30" y="30"/>
                  </a:cubicBezTo>
                  <a:cubicBezTo>
                    <a:pt x="33" y="28"/>
                    <a:pt x="36" y="26"/>
                    <a:pt x="39" y="2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7" name="Freeform 127"/>
            <p:cNvSpPr>
              <a:spLocks/>
            </p:cNvSpPr>
            <p:nvPr/>
          </p:nvSpPr>
          <p:spPr bwMode="auto">
            <a:xfrm>
              <a:off x="1013" y="439"/>
              <a:ext cx="92" cy="92"/>
            </a:xfrm>
            <a:custGeom>
              <a:avLst/>
              <a:gdLst>
                <a:gd name="T0" fmla="*/ 1 w 52"/>
                <a:gd name="T1" fmla="*/ 18 h 52"/>
                <a:gd name="T2" fmla="*/ 6 w 52"/>
                <a:gd name="T3" fmla="*/ 51 h 52"/>
                <a:gd name="T4" fmla="*/ 16 w 52"/>
                <a:gd name="T5" fmla="*/ 40 h 52"/>
                <a:gd name="T6" fmla="*/ 52 w 52"/>
                <a:gd name="T7" fmla="*/ 18 h 52"/>
                <a:gd name="T8" fmla="*/ 1 w 52"/>
                <a:gd name="T9" fmla="*/ 1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2">
                  <a:moveTo>
                    <a:pt x="1" y="18"/>
                  </a:moveTo>
                  <a:cubicBezTo>
                    <a:pt x="0" y="30"/>
                    <a:pt x="7" y="39"/>
                    <a:pt x="6" y="51"/>
                  </a:cubicBezTo>
                  <a:cubicBezTo>
                    <a:pt x="16" y="52"/>
                    <a:pt x="23" y="44"/>
                    <a:pt x="16" y="40"/>
                  </a:cubicBezTo>
                  <a:cubicBezTo>
                    <a:pt x="34" y="37"/>
                    <a:pt x="40" y="29"/>
                    <a:pt x="52" y="18"/>
                  </a:cubicBezTo>
                  <a:cubicBezTo>
                    <a:pt x="45" y="0"/>
                    <a:pt x="11" y="18"/>
                    <a:pt x="1" y="18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8" name="Freeform 128"/>
            <p:cNvSpPr>
              <a:spLocks/>
            </p:cNvSpPr>
            <p:nvPr/>
          </p:nvSpPr>
          <p:spPr bwMode="auto">
            <a:xfrm>
              <a:off x="830" y="325"/>
              <a:ext cx="30" cy="29"/>
            </a:xfrm>
            <a:custGeom>
              <a:avLst/>
              <a:gdLst>
                <a:gd name="T0" fmla="*/ 17 w 17"/>
                <a:gd name="T1" fmla="*/ 10 h 16"/>
                <a:gd name="T2" fmla="*/ 0 w 17"/>
                <a:gd name="T3" fmla="*/ 0 h 16"/>
                <a:gd name="T4" fmla="*/ 17 w 17"/>
                <a:gd name="T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6">
                  <a:moveTo>
                    <a:pt x="17" y="10"/>
                  </a:moveTo>
                  <a:cubicBezTo>
                    <a:pt x="12" y="6"/>
                    <a:pt x="7" y="2"/>
                    <a:pt x="0" y="0"/>
                  </a:cubicBezTo>
                  <a:cubicBezTo>
                    <a:pt x="3" y="9"/>
                    <a:pt x="10" y="16"/>
                    <a:pt x="17" y="1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9" name="Freeform 129"/>
            <p:cNvSpPr>
              <a:spLocks/>
            </p:cNvSpPr>
            <p:nvPr/>
          </p:nvSpPr>
          <p:spPr bwMode="auto">
            <a:xfrm>
              <a:off x="850" y="409"/>
              <a:ext cx="19" cy="19"/>
            </a:xfrm>
            <a:custGeom>
              <a:avLst/>
              <a:gdLst>
                <a:gd name="T0" fmla="*/ 9 w 11"/>
                <a:gd name="T1" fmla="*/ 0 h 11"/>
                <a:gd name="T2" fmla="*/ 0 w 11"/>
                <a:gd name="T3" fmla="*/ 9 h 11"/>
                <a:gd name="T4" fmla="*/ 9 w 11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1">
                  <a:moveTo>
                    <a:pt x="9" y="0"/>
                  </a:moveTo>
                  <a:cubicBezTo>
                    <a:pt x="5" y="2"/>
                    <a:pt x="2" y="4"/>
                    <a:pt x="0" y="9"/>
                  </a:cubicBezTo>
                  <a:cubicBezTo>
                    <a:pt x="11" y="11"/>
                    <a:pt x="9" y="7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0" name="Freeform 130"/>
            <p:cNvSpPr>
              <a:spLocks/>
            </p:cNvSpPr>
            <p:nvPr/>
          </p:nvSpPr>
          <p:spPr bwMode="auto">
            <a:xfrm>
              <a:off x="839" y="261"/>
              <a:ext cx="114" cy="66"/>
            </a:xfrm>
            <a:custGeom>
              <a:avLst/>
              <a:gdLst>
                <a:gd name="T0" fmla="*/ 15 w 64"/>
                <a:gd name="T1" fmla="*/ 13 h 37"/>
                <a:gd name="T2" fmla="*/ 5 w 64"/>
                <a:gd name="T3" fmla="*/ 21 h 37"/>
                <a:gd name="T4" fmla="*/ 42 w 64"/>
                <a:gd name="T5" fmla="*/ 27 h 37"/>
                <a:gd name="T6" fmla="*/ 64 w 64"/>
                <a:gd name="T7" fmla="*/ 31 h 37"/>
                <a:gd name="T8" fmla="*/ 54 w 64"/>
                <a:gd name="T9" fmla="*/ 16 h 37"/>
                <a:gd name="T10" fmla="*/ 39 w 64"/>
                <a:gd name="T11" fmla="*/ 11 h 37"/>
                <a:gd name="T12" fmla="*/ 0 w 64"/>
                <a:gd name="T13" fmla="*/ 4 h 37"/>
                <a:gd name="T14" fmla="*/ 3 w 64"/>
                <a:gd name="T15" fmla="*/ 13 h 37"/>
                <a:gd name="T16" fmla="*/ 15 w 64"/>
                <a:gd name="T17" fmla="*/ 1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37">
                  <a:moveTo>
                    <a:pt x="15" y="13"/>
                  </a:moveTo>
                  <a:cubicBezTo>
                    <a:pt x="12" y="17"/>
                    <a:pt x="13" y="19"/>
                    <a:pt x="5" y="21"/>
                  </a:cubicBezTo>
                  <a:cubicBezTo>
                    <a:pt x="17" y="25"/>
                    <a:pt x="30" y="26"/>
                    <a:pt x="42" y="27"/>
                  </a:cubicBezTo>
                  <a:cubicBezTo>
                    <a:pt x="49" y="33"/>
                    <a:pt x="57" y="37"/>
                    <a:pt x="64" y="31"/>
                  </a:cubicBezTo>
                  <a:cubicBezTo>
                    <a:pt x="56" y="25"/>
                    <a:pt x="57" y="19"/>
                    <a:pt x="54" y="16"/>
                  </a:cubicBezTo>
                  <a:cubicBezTo>
                    <a:pt x="47" y="11"/>
                    <a:pt x="44" y="15"/>
                    <a:pt x="39" y="11"/>
                  </a:cubicBezTo>
                  <a:cubicBezTo>
                    <a:pt x="31" y="5"/>
                    <a:pt x="11" y="0"/>
                    <a:pt x="0" y="4"/>
                  </a:cubicBezTo>
                  <a:cubicBezTo>
                    <a:pt x="1" y="6"/>
                    <a:pt x="3" y="13"/>
                    <a:pt x="3" y="13"/>
                  </a:cubicBezTo>
                  <a:cubicBezTo>
                    <a:pt x="7" y="13"/>
                    <a:pt x="12" y="14"/>
                    <a:pt x="15" y="13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1" name="Freeform 131"/>
            <p:cNvSpPr>
              <a:spLocks/>
            </p:cNvSpPr>
            <p:nvPr/>
          </p:nvSpPr>
          <p:spPr bwMode="auto">
            <a:xfrm>
              <a:off x="894" y="311"/>
              <a:ext cx="20" cy="14"/>
            </a:xfrm>
            <a:custGeom>
              <a:avLst/>
              <a:gdLst>
                <a:gd name="T0" fmla="*/ 0 w 11"/>
                <a:gd name="T1" fmla="*/ 8 h 8"/>
                <a:gd name="T2" fmla="*/ 11 w 11"/>
                <a:gd name="T3" fmla="*/ 6 h 8"/>
                <a:gd name="T4" fmla="*/ 0 w 11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8">
                  <a:moveTo>
                    <a:pt x="0" y="8"/>
                  </a:moveTo>
                  <a:cubicBezTo>
                    <a:pt x="4" y="7"/>
                    <a:pt x="8" y="7"/>
                    <a:pt x="11" y="6"/>
                  </a:cubicBezTo>
                  <a:cubicBezTo>
                    <a:pt x="4" y="0"/>
                    <a:pt x="5" y="6"/>
                    <a:pt x="0" y="8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2" name="Freeform 132"/>
            <p:cNvSpPr>
              <a:spLocks/>
            </p:cNvSpPr>
            <p:nvPr/>
          </p:nvSpPr>
          <p:spPr bwMode="auto">
            <a:xfrm>
              <a:off x="995" y="340"/>
              <a:ext cx="300" cy="108"/>
            </a:xfrm>
            <a:custGeom>
              <a:avLst/>
              <a:gdLst>
                <a:gd name="T0" fmla="*/ 76 w 169"/>
                <a:gd name="T1" fmla="*/ 54 h 61"/>
                <a:gd name="T2" fmla="*/ 125 w 169"/>
                <a:gd name="T3" fmla="*/ 59 h 61"/>
                <a:gd name="T4" fmla="*/ 148 w 169"/>
                <a:gd name="T5" fmla="*/ 59 h 61"/>
                <a:gd name="T6" fmla="*/ 169 w 169"/>
                <a:gd name="T7" fmla="*/ 47 h 61"/>
                <a:gd name="T8" fmla="*/ 165 w 169"/>
                <a:gd name="T9" fmla="*/ 47 h 61"/>
                <a:gd name="T10" fmla="*/ 167 w 169"/>
                <a:gd name="T11" fmla="*/ 44 h 61"/>
                <a:gd name="T12" fmla="*/ 169 w 169"/>
                <a:gd name="T13" fmla="*/ 43 h 61"/>
                <a:gd name="T14" fmla="*/ 116 w 169"/>
                <a:gd name="T15" fmla="*/ 40 h 61"/>
                <a:gd name="T16" fmla="*/ 69 w 169"/>
                <a:gd name="T17" fmla="*/ 36 h 61"/>
                <a:gd name="T18" fmla="*/ 71 w 169"/>
                <a:gd name="T19" fmla="*/ 35 h 61"/>
                <a:gd name="T20" fmla="*/ 56 w 169"/>
                <a:gd name="T21" fmla="*/ 27 h 61"/>
                <a:gd name="T22" fmla="*/ 70 w 169"/>
                <a:gd name="T23" fmla="*/ 27 h 61"/>
                <a:gd name="T24" fmla="*/ 33 w 169"/>
                <a:gd name="T25" fmla="*/ 18 h 61"/>
                <a:gd name="T26" fmla="*/ 0 w 169"/>
                <a:gd name="T27" fmla="*/ 12 h 61"/>
                <a:gd name="T28" fmla="*/ 43 w 169"/>
                <a:gd name="T29" fmla="*/ 36 h 61"/>
                <a:gd name="T30" fmla="*/ 51 w 169"/>
                <a:gd name="T31" fmla="*/ 54 h 61"/>
                <a:gd name="T32" fmla="*/ 76 w 169"/>
                <a:gd name="T33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9" h="61">
                  <a:moveTo>
                    <a:pt x="76" y="54"/>
                  </a:moveTo>
                  <a:cubicBezTo>
                    <a:pt x="90" y="55"/>
                    <a:pt x="107" y="59"/>
                    <a:pt x="125" y="59"/>
                  </a:cubicBezTo>
                  <a:cubicBezTo>
                    <a:pt x="132" y="59"/>
                    <a:pt x="141" y="60"/>
                    <a:pt x="148" y="59"/>
                  </a:cubicBezTo>
                  <a:cubicBezTo>
                    <a:pt x="158" y="58"/>
                    <a:pt x="165" y="58"/>
                    <a:pt x="169" y="47"/>
                  </a:cubicBezTo>
                  <a:cubicBezTo>
                    <a:pt x="167" y="47"/>
                    <a:pt x="166" y="47"/>
                    <a:pt x="165" y="47"/>
                  </a:cubicBezTo>
                  <a:cubicBezTo>
                    <a:pt x="165" y="46"/>
                    <a:pt x="166" y="45"/>
                    <a:pt x="167" y="44"/>
                  </a:cubicBezTo>
                  <a:cubicBezTo>
                    <a:pt x="168" y="44"/>
                    <a:pt x="168" y="43"/>
                    <a:pt x="169" y="43"/>
                  </a:cubicBezTo>
                  <a:cubicBezTo>
                    <a:pt x="156" y="25"/>
                    <a:pt x="133" y="36"/>
                    <a:pt x="116" y="40"/>
                  </a:cubicBezTo>
                  <a:cubicBezTo>
                    <a:pt x="99" y="43"/>
                    <a:pt x="85" y="42"/>
                    <a:pt x="69" y="36"/>
                  </a:cubicBezTo>
                  <a:cubicBezTo>
                    <a:pt x="70" y="36"/>
                    <a:pt x="70" y="35"/>
                    <a:pt x="71" y="35"/>
                  </a:cubicBezTo>
                  <a:cubicBezTo>
                    <a:pt x="64" y="33"/>
                    <a:pt x="62" y="30"/>
                    <a:pt x="56" y="27"/>
                  </a:cubicBezTo>
                  <a:cubicBezTo>
                    <a:pt x="60" y="27"/>
                    <a:pt x="65" y="26"/>
                    <a:pt x="70" y="27"/>
                  </a:cubicBezTo>
                  <a:cubicBezTo>
                    <a:pt x="53" y="18"/>
                    <a:pt x="49" y="21"/>
                    <a:pt x="33" y="18"/>
                  </a:cubicBezTo>
                  <a:cubicBezTo>
                    <a:pt x="20" y="15"/>
                    <a:pt x="15" y="0"/>
                    <a:pt x="0" y="12"/>
                  </a:cubicBezTo>
                  <a:cubicBezTo>
                    <a:pt x="18" y="27"/>
                    <a:pt x="30" y="19"/>
                    <a:pt x="43" y="36"/>
                  </a:cubicBezTo>
                  <a:cubicBezTo>
                    <a:pt x="48" y="42"/>
                    <a:pt x="38" y="47"/>
                    <a:pt x="51" y="54"/>
                  </a:cubicBezTo>
                  <a:cubicBezTo>
                    <a:pt x="64" y="61"/>
                    <a:pt x="65" y="53"/>
                    <a:pt x="76" y="5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3" name="Freeform 133"/>
            <p:cNvSpPr>
              <a:spLocks/>
            </p:cNvSpPr>
            <p:nvPr/>
          </p:nvSpPr>
          <p:spPr bwMode="auto">
            <a:xfrm>
              <a:off x="999" y="379"/>
              <a:ext cx="83" cy="87"/>
            </a:xfrm>
            <a:custGeom>
              <a:avLst/>
              <a:gdLst>
                <a:gd name="T0" fmla="*/ 5 w 47"/>
                <a:gd name="T1" fmla="*/ 21 h 49"/>
                <a:gd name="T2" fmla="*/ 0 w 47"/>
                <a:gd name="T3" fmla="*/ 26 h 49"/>
                <a:gd name="T4" fmla="*/ 5 w 47"/>
                <a:gd name="T5" fmla="*/ 2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49">
                  <a:moveTo>
                    <a:pt x="5" y="21"/>
                  </a:moveTo>
                  <a:cubicBezTo>
                    <a:pt x="3" y="23"/>
                    <a:pt x="2" y="25"/>
                    <a:pt x="0" y="26"/>
                  </a:cubicBezTo>
                  <a:cubicBezTo>
                    <a:pt x="47" y="49"/>
                    <a:pt x="18" y="0"/>
                    <a:pt x="5" y="2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4" name="Freeform 134"/>
            <p:cNvSpPr>
              <a:spLocks/>
            </p:cNvSpPr>
            <p:nvPr/>
          </p:nvSpPr>
          <p:spPr bwMode="auto">
            <a:xfrm>
              <a:off x="1006" y="325"/>
              <a:ext cx="62" cy="18"/>
            </a:xfrm>
            <a:custGeom>
              <a:avLst/>
              <a:gdLst>
                <a:gd name="T0" fmla="*/ 22 w 35"/>
                <a:gd name="T1" fmla="*/ 0 h 10"/>
                <a:gd name="T2" fmla="*/ 0 w 35"/>
                <a:gd name="T3" fmla="*/ 4 h 10"/>
                <a:gd name="T4" fmla="*/ 22 w 35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" h="10">
                  <a:moveTo>
                    <a:pt x="22" y="0"/>
                  </a:moveTo>
                  <a:cubicBezTo>
                    <a:pt x="14" y="0"/>
                    <a:pt x="7" y="1"/>
                    <a:pt x="0" y="4"/>
                  </a:cubicBezTo>
                  <a:cubicBezTo>
                    <a:pt x="8" y="6"/>
                    <a:pt x="35" y="10"/>
                    <a:pt x="22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5" name="Freeform 135"/>
            <p:cNvSpPr>
              <a:spLocks/>
            </p:cNvSpPr>
            <p:nvPr/>
          </p:nvSpPr>
          <p:spPr bwMode="auto">
            <a:xfrm>
              <a:off x="954" y="263"/>
              <a:ext cx="89" cy="71"/>
            </a:xfrm>
            <a:custGeom>
              <a:avLst/>
              <a:gdLst>
                <a:gd name="T0" fmla="*/ 16 w 50"/>
                <a:gd name="T1" fmla="*/ 31 h 40"/>
                <a:gd name="T2" fmla="*/ 28 w 50"/>
                <a:gd name="T3" fmla="*/ 15 h 40"/>
                <a:gd name="T4" fmla="*/ 16 w 50"/>
                <a:gd name="T5" fmla="*/ 3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0" h="40">
                  <a:moveTo>
                    <a:pt x="16" y="31"/>
                  </a:moveTo>
                  <a:cubicBezTo>
                    <a:pt x="34" y="40"/>
                    <a:pt x="50" y="26"/>
                    <a:pt x="28" y="15"/>
                  </a:cubicBezTo>
                  <a:cubicBezTo>
                    <a:pt x="0" y="0"/>
                    <a:pt x="18" y="25"/>
                    <a:pt x="16" y="3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6" name="Freeform 136"/>
            <p:cNvSpPr>
              <a:spLocks/>
            </p:cNvSpPr>
            <p:nvPr/>
          </p:nvSpPr>
          <p:spPr bwMode="auto">
            <a:xfrm>
              <a:off x="947" y="238"/>
              <a:ext cx="22" cy="20"/>
            </a:xfrm>
            <a:custGeom>
              <a:avLst/>
              <a:gdLst>
                <a:gd name="T0" fmla="*/ 12 w 12"/>
                <a:gd name="T1" fmla="*/ 0 h 11"/>
                <a:gd name="T2" fmla="*/ 0 w 12"/>
                <a:gd name="T3" fmla="*/ 0 h 11"/>
                <a:gd name="T4" fmla="*/ 12 w 12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1">
                  <a:moveTo>
                    <a:pt x="12" y="0"/>
                  </a:moveTo>
                  <a:cubicBezTo>
                    <a:pt x="8" y="0"/>
                    <a:pt x="4" y="0"/>
                    <a:pt x="0" y="0"/>
                  </a:cubicBezTo>
                  <a:cubicBezTo>
                    <a:pt x="6" y="8"/>
                    <a:pt x="11" y="11"/>
                    <a:pt x="12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7" name="Freeform 137"/>
            <p:cNvSpPr>
              <a:spLocks/>
            </p:cNvSpPr>
            <p:nvPr/>
          </p:nvSpPr>
          <p:spPr bwMode="auto">
            <a:xfrm>
              <a:off x="1008" y="183"/>
              <a:ext cx="232" cy="133"/>
            </a:xfrm>
            <a:custGeom>
              <a:avLst/>
              <a:gdLst>
                <a:gd name="T0" fmla="*/ 0 w 131"/>
                <a:gd name="T1" fmla="*/ 28 h 75"/>
                <a:gd name="T2" fmla="*/ 20 w 131"/>
                <a:gd name="T3" fmla="*/ 39 h 75"/>
                <a:gd name="T4" fmla="*/ 12 w 131"/>
                <a:gd name="T5" fmla="*/ 43 h 75"/>
                <a:gd name="T6" fmla="*/ 52 w 131"/>
                <a:gd name="T7" fmla="*/ 48 h 75"/>
                <a:gd name="T8" fmla="*/ 26 w 131"/>
                <a:gd name="T9" fmla="*/ 55 h 75"/>
                <a:gd name="T10" fmla="*/ 41 w 131"/>
                <a:gd name="T11" fmla="*/ 64 h 75"/>
                <a:gd name="T12" fmla="*/ 71 w 131"/>
                <a:gd name="T13" fmla="*/ 71 h 75"/>
                <a:gd name="T14" fmla="*/ 77 w 131"/>
                <a:gd name="T15" fmla="*/ 67 h 75"/>
                <a:gd name="T16" fmla="*/ 77 w 131"/>
                <a:gd name="T17" fmla="*/ 54 h 75"/>
                <a:gd name="T18" fmla="*/ 84 w 131"/>
                <a:gd name="T19" fmla="*/ 39 h 75"/>
                <a:gd name="T20" fmla="*/ 75 w 131"/>
                <a:gd name="T21" fmla="*/ 23 h 75"/>
                <a:gd name="T22" fmla="*/ 72 w 131"/>
                <a:gd name="T23" fmla="*/ 30 h 75"/>
                <a:gd name="T24" fmla="*/ 50 w 131"/>
                <a:gd name="T25" fmla="*/ 15 h 75"/>
                <a:gd name="T26" fmla="*/ 19 w 131"/>
                <a:gd name="T27" fmla="*/ 0 h 75"/>
                <a:gd name="T28" fmla="*/ 30 w 131"/>
                <a:gd name="T29" fmla="*/ 8 h 75"/>
                <a:gd name="T30" fmla="*/ 11 w 131"/>
                <a:gd name="T31" fmla="*/ 11 h 75"/>
                <a:gd name="T32" fmla="*/ 25 w 131"/>
                <a:gd name="T33" fmla="*/ 16 h 75"/>
                <a:gd name="T34" fmla="*/ 4 w 131"/>
                <a:gd name="T35" fmla="*/ 21 h 75"/>
                <a:gd name="T36" fmla="*/ 19 w 131"/>
                <a:gd name="T37" fmla="*/ 28 h 75"/>
                <a:gd name="T38" fmla="*/ 0 w 131"/>
                <a:gd name="T39" fmla="*/ 2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1" h="75">
                  <a:moveTo>
                    <a:pt x="0" y="28"/>
                  </a:moveTo>
                  <a:cubicBezTo>
                    <a:pt x="3" y="37"/>
                    <a:pt x="11" y="40"/>
                    <a:pt x="20" y="39"/>
                  </a:cubicBezTo>
                  <a:cubicBezTo>
                    <a:pt x="18" y="40"/>
                    <a:pt x="15" y="42"/>
                    <a:pt x="12" y="43"/>
                  </a:cubicBezTo>
                  <a:cubicBezTo>
                    <a:pt x="24" y="48"/>
                    <a:pt x="37" y="43"/>
                    <a:pt x="52" y="48"/>
                  </a:cubicBezTo>
                  <a:cubicBezTo>
                    <a:pt x="43" y="48"/>
                    <a:pt x="33" y="50"/>
                    <a:pt x="26" y="55"/>
                  </a:cubicBezTo>
                  <a:cubicBezTo>
                    <a:pt x="31" y="60"/>
                    <a:pt x="33" y="63"/>
                    <a:pt x="41" y="64"/>
                  </a:cubicBezTo>
                  <a:cubicBezTo>
                    <a:pt x="31" y="75"/>
                    <a:pt x="64" y="65"/>
                    <a:pt x="71" y="71"/>
                  </a:cubicBezTo>
                  <a:cubicBezTo>
                    <a:pt x="74" y="68"/>
                    <a:pt x="73" y="70"/>
                    <a:pt x="77" y="67"/>
                  </a:cubicBezTo>
                  <a:cubicBezTo>
                    <a:pt x="74" y="58"/>
                    <a:pt x="77" y="62"/>
                    <a:pt x="77" y="54"/>
                  </a:cubicBezTo>
                  <a:cubicBezTo>
                    <a:pt x="83" y="65"/>
                    <a:pt x="131" y="41"/>
                    <a:pt x="84" y="39"/>
                  </a:cubicBezTo>
                  <a:cubicBezTo>
                    <a:pt x="87" y="31"/>
                    <a:pt x="82" y="25"/>
                    <a:pt x="75" y="23"/>
                  </a:cubicBezTo>
                  <a:cubicBezTo>
                    <a:pt x="79" y="29"/>
                    <a:pt x="73" y="28"/>
                    <a:pt x="72" y="30"/>
                  </a:cubicBezTo>
                  <a:cubicBezTo>
                    <a:pt x="67" y="14"/>
                    <a:pt x="56" y="25"/>
                    <a:pt x="50" y="15"/>
                  </a:cubicBezTo>
                  <a:cubicBezTo>
                    <a:pt x="41" y="4"/>
                    <a:pt x="33" y="1"/>
                    <a:pt x="19" y="0"/>
                  </a:cubicBezTo>
                  <a:cubicBezTo>
                    <a:pt x="23" y="2"/>
                    <a:pt x="26" y="6"/>
                    <a:pt x="30" y="8"/>
                  </a:cubicBezTo>
                  <a:cubicBezTo>
                    <a:pt x="22" y="7"/>
                    <a:pt x="17" y="9"/>
                    <a:pt x="11" y="11"/>
                  </a:cubicBezTo>
                  <a:cubicBezTo>
                    <a:pt x="17" y="14"/>
                    <a:pt x="16" y="17"/>
                    <a:pt x="25" y="16"/>
                  </a:cubicBezTo>
                  <a:cubicBezTo>
                    <a:pt x="18" y="18"/>
                    <a:pt x="12" y="18"/>
                    <a:pt x="4" y="21"/>
                  </a:cubicBezTo>
                  <a:cubicBezTo>
                    <a:pt x="10" y="23"/>
                    <a:pt x="13" y="27"/>
                    <a:pt x="19" y="28"/>
                  </a:cubicBezTo>
                  <a:cubicBezTo>
                    <a:pt x="14" y="31"/>
                    <a:pt x="7" y="30"/>
                    <a:pt x="0" y="28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8" name="Freeform 138"/>
            <p:cNvSpPr>
              <a:spLocks/>
            </p:cNvSpPr>
            <p:nvPr/>
          </p:nvSpPr>
          <p:spPr bwMode="auto">
            <a:xfrm>
              <a:off x="1162" y="718"/>
              <a:ext cx="124" cy="78"/>
            </a:xfrm>
            <a:custGeom>
              <a:avLst/>
              <a:gdLst>
                <a:gd name="T0" fmla="*/ 20 w 70"/>
                <a:gd name="T1" fmla="*/ 0 h 44"/>
                <a:gd name="T2" fmla="*/ 5 w 70"/>
                <a:gd name="T3" fmla="*/ 31 h 44"/>
                <a:gd name="T4" fmla="*/ 0 w 70"/>
                <a:gd name="T5" fmla="*/ 37 h 44"/>
                <a:gd name="T6" fmla="*/ 17 w 70"/>
                <a:gd name="T7" fmla="*/ 44 h 44"/>
                <a:gd name="T8" fmla="*/ 39 w 70"/>
                <a:gd name="T9" fmla="*/ 31 h 44"/>
                <a:gd name="T10" fmla="*/ 70 w 70"/>
                <a:gd name="T11" fmla="*/ 34 h 44"/>
                <a:gd name="T12" fmla="*/ 20 w 70"/>
                <a:gd name="T1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44">
                  <a:moveTo>
                    <a:pt x="20" y="0"/>
                  </a:moveTo>
                  <a:cubicBezTo>
                    <a:pt x="7" y="5"/>
                    <a:pt x="10" y="20"/>
                    <a:pt x="5" y="31"/>
                  </a:cubicBezTo>
                  <a:cubicBezTo>
                    <a:pt x="3" y="33"/>
                    <a:pt x="1" y="35"/>
                    <a:pt x="0" y="37"/>
                  </a:cubicBezTo>
                  <a:cubicBezTo>
                    <a:pt x="8" y="35"/>
                    <a:pt x="14" y="36"/>
                    <a:pt x="17" y="44"/>
                  </a:cubicBezTo>
                  <a:cubicBezTo>
                    <a:pt x="24" y="42"/>
                    <a:pt x="36" y="29"/>
                    <a:pt x="39" y="31"/>
                  </a:cubicBezTo>
                  <a:cubicBezTo>
                    <a:pt x="50" y="37"/>
                    <a:pt x="57" y="39"/>
                    <a:pt x="70" y="34"/>
                  </a:cubicBezTo>
                  <a:cubicBezTo>
                    <a:pt x="57" y="31"/>
                    <a:pt x="23" y="8"/>
                    <a:pt x="2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9" name="Freeform 139"/>
            <p:cNvSpPr>
              <a:spLocks/>
            </p:cNvSpPr>
            <p:nvPr/>
          </p:nvSpPr>
          <p:spPr bwMode="auto">
            <a:xfrm>
              <a:off x="1330" y="636"/>
              <a:ext cx="45" cy="44"/>
            </a:xfrm>
            <a:custGeom>
              <a:avLst/>
              <a:gdLst>
                <a:gd name="T0" fmla="*/ 25 w 25"/>
                <a:gd name="T1" fmla="*/ 16 h 25"/>
                <a:gd name="T2" fmla="*/ 6 w 25"/>
                <a:gd name="T3" fmla="*/ 18 h 25"/>
                <a:gd name="T4" fmla="*/ 25 w 25"/>
                <a:gd name="T5" fmla="*/ 1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25">
                  <a:moveTo>
                    <a:pt x="25" y="16"/>
                  </a:moveTo>
                  <a:cubicBezTo>
                    <a:pt x="19" y="0"/>
                    <a:pt x="0" y="12"/>
                    <a:pt x="6" y="18"/>
                  </a:cubicBezTo>
                  <a:cubicBezTo>
                    <a:pt x="14" y="24"/>
                    <a:pt x="19" y="25"/>
                    <a:pt x="25" y="16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0" name="Freeform 140"/>
            <p:cNvSpPr>
              <a:spLocks/>
            </p:cNvSpPr>
            <p:nvPr/>
          </p:nvSpPr>
          <p:spPr bwMode="auto">
            <a:xfrm>
              <a:off x="1224" y="801"/>
              <a:ext cx="32" cy="23"/>
            </a:xfrm>
            <a:custGeom>
              <a:avLst/>
              <a:gdLst>
                <a:gd name="T0" fmla="*/ 0 w 18"/>
                <a:gd name="T1" fmla="*/ 13 h 13"/>
                <a:gd name="T2" fmla="*/ 18 w 18"/>
                <a:gd name="T3" fmla="*/ 1 h 13"/>
                <a:gd name="T4" fmla="*/ 8 w 18"/>
                <a:gd name="T5" fmla="*/ 0 h 13"/>
                <a:gd name="T6" fmla="*/ 0 w 18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3">
                  <a:moveTo>
                    <a:pt x="0" y="13"/>
                  </a:moveTo>
                  <a:cubicBezTo>
                    <a:pt x="7" y="10"/>
                    <a:pt x="13" y="6"/>
                    <a:pt x="18" y="1"/>
                  </a:cubicBezTo>
                  <a:cubicBezTo>
                    <a:pt x="14" y="1"/>
                    <a:pt x="11" y="0"/>
                    <a:pt x="8" y="0"/>
                  </a:cubicBezTo>
                  <a:cubicBezTo>
                    <a:pt x="3" y="4"/>
                    <a:pt x="0" y="7"/>
                    <a:pt x="0" y="13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1" name="Freeform 141"/>
            <p:cNvSpPr>
              <a:spLocks/>
            </p:cNvSpPr>
            <p:nvPr/>
          </p:nvSpPr>
          <p:spPr bwMode="auto">
            <a:xfrm>
              <a:off x="1274" y="458"/>
              <a:ext cx="81" cy="50"/>
            </a:xfrm>
            <a:custGeom>
              <a:avLst/>
              <a:gdLst>
                <a:gd name="T0" fmla="*/ 17 w 46"/>
                <a:gd name="T1" fmla="*/ 26 h 28"/>
                <a:gd name="T2" fmla="*/ 46 w 46"/>
                <a:gd name="T3" fmla="*/ 20 h 28"/>
                <a:gd name="T4" fmla="*/ 0 w 46"/>
                <a:gd name="T5" fmla="*/ 11 h 28"/>
                <a:gd name="T6" fmla="*/ 17 w 46"/>
                <a:gd name="T7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28">
                  <a:moveTo>
                    <a:pt x="17" y="26"/>
                  </a:moveTo>
                  <a:cubicBezTo>
                    <a:pt x="28" y="21"/>
                    <a:pt x="38" y="28"/>
                    <a:pt x="46" y="20"/>
                  </a:cubicBezTo>
                  <a:cubicBezTo>
                    <a:pt x="36" y="12"/>
                    <a:pt x="10" y="0"/>
                    <a:pt x="0" y="11"/>
                  </a:cubicBezTo>
                  <a:cubicBezTo>
                    <a:pt x="5" y="19"/>
                    <a:pt x="9" y="24"/>
                    <a:pt x="17" y="26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2" name="Freeform 142"/>
            <p:cNvSpPr>
              <a:spLocks/>
            </p:cNvSpPr>
            <p:nvPr/>
          </p:nvSpPr>
          <p:spPr bwMode="auto">
            <a:xfrm>
              <a:off x="1279" y="817"/>
              <a:ext cx="21" cy="19"/>
            </a:xfrm>
            <a:custGeom>
              <a:avLst/>
              <a:gdLst>
                <a:gd name="T0" fmla="*/ 12 w 12"/>
                <a:gd name="T1" fmla="*/ 3 h 11"/>
                <a:gd name="T2" fmla="*/ 6 w 12"/>
                <a:gd name="T3" fmla="*/ 11 h 11"/>
                <a:gd name="T4" fmla="*/ 12 w 12"/>
                <a:gd name="T5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1">
                  <a:moveTo>
                    <a:pt x="12" y="3"/>
                  </a:moveTo>
                  <a:cubicBezTo>
                    <a:pt x="3" y="0"/>
                    <a:pt x="0" y="2"/>
                    <a:pt x="6" y="11"/>
                  </a:cubicBezTo>
                  <a:cubicBezTo>
                    <a:pt x="8" y="8"/>
                    <a:pt x="10" y="6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3" name="Freeform 143"/>
            <p:cNvSpPr>
              <a:spLocks/>
            </p:cNvSpPr>
            <p:nvPr/>
          </p:nvSpPr>
          <p:spPr bwMode="auto">
            <a:xfrm>
              <a:off x="1382" y="652"/>
              <a:ext cx="19" cy="9"/>
            </a:xfrm>
            <a:custGeom>
              <a:avLst/>
              <a:gdLst>
                <a:gd name="T0" fmla="*/ 11 w 11"/>
                <a:gd name="T1" fmla="*/ 5 h 5"/>
                <a:gd name="T2" fmla="*/ 0 w 11"/>
                <a:gd name="T3" fmla="*/ 3 h 5"/>
                <a:gd name="T4" fmla="*/ 4 w 11"/>
                <a:gd name="T5" fmla="*/ 5 h 5"/>
                <a:gd name="T6" fmla="*/ 11 w 11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5">
                  <a:moveTo>
                    <a:pt x="11" y="5"/>
                  </a:moveTo>
                  <a:cubicBezTo>
                    <a:pt x="3" y="0"/>
                    <a:pt x="7" y="1"/>
                    <a:pt x="0" y="3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5"/>
                    <a:pt x="9" y="5"/>
                    <a:pt x="11" y="5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4" name="Freeform 144"/>
            <p:cNvSpPr>
              <a:spLocks/>
            </p:cNvSpPr>
            <p:nvPr/>
          </p:nvSpPr>
          <p:spPr bwMode="auto">
            <a:xfrm>
              <a:off x="1066" y="442"/>
              <a:ext cx="550" cy="389"/>
            </a:xfrm>
            <a:custGeom>
              <a:avLst/>
              <a:gdLst>
                <a:gd name="T0" fmla="*/ 227 w 310"/>
                <a:gd name="T1" fmla="*/ 71 h 219"/>
                <a:gd name="T2" fmla="*/ 191 w 310"/>
                <a:gd name="T3" fmla="*/ 57 h 219"/>
                <a:gd name="T4" fmla="*/ 152 w 310"/>
                <a:gd name="T5" fmla="*/ 37 h 219"/>
                <a:gd name="T6" fmla="*/ 119 w 310"/>
                <a:gd name="T7" fmla="*/ 44 h 219"/>
                <a:gd name="T8" fmla="*/ 93 w 310"/>
                <a:gd name="T9" fmla="*/ 20 h 219"/>
                <a:gd name="T10" fmla="*/ 65 w 310"/>
                <a:gd name="T11" fmla="*/ 51 h 219"/>
                <a:gd name="T12" fmla="*/ 74 w 310"/>
                <a:gd name="T13" fmla="*/ 18 h 219"/>
                <a:gd name="T14" fmla="*/ 50 w 310"/>
                <a:gd name="T15" fmla="*/ 65 h 219"/>
                <a:gd name="T16" fmla="*/ 49 w 310"/>
                <a:gd name="T17" fmla="*/ 70 h 219"/>
                <a:gd name="T18" fmla="*/ 34 w 310"/>
                <a:gd name="T19" fmla="*/ 69 h 219"/>
                <a:gd name="T20" fmla="*/ 124 w 310"/>
                <a:gd name="T21" fmla="*/ 94 h 219"/>
                <a:gd name="T22" fmla="*/ 166 w 310"/>
                <a:gd name="T23" fmla="*/ 100 h 219"/>
                <a:gd name="T24" fmla="*/ 157 w 310"/>
                <a:gd name="T25" fmla="*/ 104 h 219"/>
                <a:gd name="T26" fmla="*/ 192 w 310"/>
                <a:gd name="T27" fmla="*/ 117 h 219"/>
                <a:gd name="T28" fmla="*/ 181 w 310"/>
                <a:gd name="T29" fmla="*/ 151 h 219"/>
                <a:gd name="T30" fmla="*/ 188 w 310"/>
                <a:gd name="T31" fmla="*/ 158 h 219"/>
                <a:gd name="T32" fmla="*/ 143 w 310"/>
                <a:gd name="T33" fmla="*/ 172 h 219"/>
                <a:gd name="T34" fmla="*/ 172 w 310"/>
                <a:gd name="T35" fmla="*/ 178 h 219"/>
                <a:gd name="T36" fmla="*/ 186 w 310"/>
                <a:gd name="T37" fmla="*/ 177 h 219"/>
                <a:gd name="T38" fmla="*/ 201 w 310"/>
                <a:gd name="T39" fmla="*/ 188 h 219"/>
                <a:gd name="T40" fmla="*/ 231 w 310"/>
                <a:gd name="T41" fmla="*/ 207 h 219"/>
                <a:gd name="T42" fmla="*/ 260 w 310"/>
                <a:gd name="T43" fmla="*/ 219 h 219"/>
                <a:gd name="T44" fmla="*/ 238 w 310"/>
                <a:gd name="T45" fmla="*/ 191 h 219"/>
                <a:gd name="T46" fmla="*/ 278 w 310"/>
                <a:gd name="T47" fmla="*/ 187 h 219"/>
                <a:gd name="T48" fmla="*/ 257 w 310"/>
                <a:gd name="T49" fmla="*/ 169 h 219"/>
                <a:gd name="T50" fmla="*/ 247 w 310"/>
                <a:gd name="T51" fmla="*/ 153 h 219"/>
                <a:gd name="T52" fmla="*/ 252 w 310"/>
                <a:gd name="T53" fmla="*/ 153 h 219"/>
                <a:gd name="T54" fmla="*/ 252 w 310"/>
                <a:gd name="T55" fmla="*/ 149 h 219"/>
                <a:gd name="T56" fmla="*/ 245 w 310"/>
                <a:gd name="T57" fmla="*/ 148 h 219"/>
                <a:gd name="T58" fmla="*/ 291 w 310"/>
                <a:gd name="T59" fmla="*/ 158 h 219"/>
                <a:gd name="T60" fmla="*/ 289 w 310"/>
                <a:gd name="T61" fmla="*/ 131 h 219"/>
                <a:gd name="T62" fmla="*/ 276 w 310"/>
                <a:gd name="T63" fmla="*/ 128 h 219"/>
                <a:gd name="T64" fmla="*/ 271 w 310"/>
                <a:gd name="T65" fmla="*/ 120 h 219"/>
                <a:gd name="T66" fmla="*/ 247 w 310"/>
                <a:gd name="T67" fmla="*/ 106 h 219"/>
                <a:gd name="T68" fmla="*/ 258 w 310"/>
                <a:gd name="T69" fmla="*/ 98 h 219"/>
                <a:gd name="T70" fmla="*/ 243 w 310"/>
                <a:gd name="T71" fmla="*/ 94 h 219"/>
                <a:gd name="T72" fmla="*/ 255 w 310"/>
                <a:gd name="T73" fmla="*/ 89 h 219"/>
                <a:gd name="T74" fmla="*/ 227 w 310"/>
                <a:gd name="T75" fmla="*/ 71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0" h="219">
                  <a:moveTo>
                    <a:pt x="227" y="71"/>
                  </a:moveTo>
                  <a:cubicBezTo>
                    <a:pt x="214" y="64"/>
                    <a:pt x="204" y="63"/>
                    <a:pt x="191" y="57"/>
                  </a:cubicBezTo>
                  <a:cubicBezTo>
                    <a:pt x="175" y="50"/>
                    <a:pt x="173" y="38"/>
                    <a:pt x="152" y="37"/>
                  </a:cubicBezTo>
                  <a:cubicBezTo>
                    <a:pt x="141" y="36"/>
                    <a:pt x="131" y="44"/>
                    <a:pt x="119" y="44"/>
                  </a:cubicBezTo>
                  <a:cubicBezTo>
                    <a:pt x="121" y="25"/>
                    <a:pt x="111" y="17"/>
                    <a:pt x="93" y="20"/>
                  </a:cubicBezTo>
                  <a:cubicBezTo>
                    <a:pt x="65" y="24"/>
                    <a:pt x="79" y="39"/>
                    <a:pt x="65" y="51"/>
                  </a:cubicBezTo>
                  <a:cubicBezTo>
                    <a:pt x="58" y="37"/>
                    <a:pt x="60" y="29"/>
                    <a:pt x="74" y="18"/>
                  </a:cubicBezTo>
                  <a:cubicBezTo>
                    <a:pt x="42" y="0"/>
                    <a:pt x="0" y="63"/>
                    <a:pt x="50" y="65"/>
                  </a:cubicBezTo>
                  <a:cubicBezTo>
                    <a:pt x="50" y="67"/>
                    <a:pt x="50" y="68"/>
                    <a:pt x="49" y="70"/>
                  </a:cubicBezTo>
                  <a:cubicBezTo>
                    <a:pt x="44" y="68"/>
                    <a:pt x="39" y="70"/>
                    <a:pt x="34" y="69"/>
                  </a:cubicBezTo>
                  <a:cubicBezTo>
                    <a:pt x="47" y="97"/>
                    <a:pt x="119" y="72"/>
                    <a:pt x="124" y="94"/>
                  </a:cubicBezTo>
                  <a:cubicBezTo>
                    <a:pt x="144" y="79"/>
                    <a:pt x="147" y="83"/>
                    <a:pt x="166" y="100"/>
                  </a:cubicBezTo>
                  <a:cubicBezTo>
                    <a:pt x="163" y="102"/>
                    <a:pt x="160" y="103"/>
                    <a:pt x="157" y="104"/>
                  </a:cubicBezTo>
                  <a:cubicBezTo>
                    <a:pt x="166" y="111"/>
                    <a:pt x="179" y="104"/>
                    <a:pt x="192" y="117"/>
                  </a:cubicBezTo>
                  <a:cubicBezTo>
                    <a:pt x="205" y="130"/>
                    <a:pt x="197" y="144"/>
                    <a:pt x="181" y="151"/>
                  </a:cubicBezTo>
                  <a:cubicBezTo>
                    <a:pt x="184" y="153"/>
                    <a:pt x="186" y="156"/>
                    <a:pt x="188" y="158"/>
                  </a:cubicBezTo>
                  <a:cubicBezTo>
                    <a:pt x="173" y="167"/>
                    <a:pt x="155" y="158"/>
                    <a:pt x="143" y="172"/>
                  </a:cubicBezTo>
                  <a:cubicBezTo>
                    <a:pt x="154" y="188"/>
                    <a:pt x="161" y="174"/>
                    <a:pt x="172" y="178"/>
                  </a:cubicBezTo>
                  <a:cubicBezTo>
                    <a:pt x="179" y="181"/>
                    <a:pt x="178" y="171"/>
                    <a:pt x="186" y="177"/>
                  </a:cubicBezTo>
                  <a:cubicBezTo>
                    <a:pt x="191" y="181"/>
                    <a:pt x="196" y="185"/>
                    <a:pt x="201" y="188"/>
                  </a:cubicBezTo>
                  <a:cubicBezTo>
                    <a:pt x="214" y="194"/>
                    <a:pt x="215" y="202"/>
                    <a:pt x="231" y="207"/>
                  </a:cubicBezTo>
                  <a:cubicBezTo>
                    <a:pt x="241" y="210"/>
                    <a:pt x="253" y="211"/>
                    <a:pt x="260" y="219"/>
                  </a:cubicBezTo>
                  <a:cubicBezTo>
                    <a:pt x="268" y="207"/>
                    <a:pt x="248" y="198"/>
                    <a:pt x="238" y="191"/>
                  </a:cubicBezTo>
                  <a:cubicBezTo>
                    <a:pt x="244" y="192"/>
                    <a:pt x="299" y="214"/>
                    <a:pt x="278" y="187"/>
                  </a:cubicBezTo>
                  <a:cubicBezTo>
                    <a:pt x="270" y="176"/>
                    <a:pt x="266" y="179"/>
                    <a:pt x="257" y="169"/>
                  </a:cubicBezTo>
                  <a:cubicBezTo>
                    <a:pt x="251" y="163"/>
                    <a:pt x="249" y="158"/>
                    <a:pt x="247" y="153"/>
                  </a:cubicBezTo>
                  <a:cubicBezTo>
                    <a:pt x="249" y="153"/>
                    <a:pt x="250" y="153"/>
                    <a:pt x="252" y="153"/>
                  </a:cubicBezTo>
                  <a:cubicBezTo>
                    <a:pt x="252" y="152"/>
                    <a:pt x="252" y="151"/>
                    <a:pt x="252" y="149"/>
                  </a:cubicBezTo>
                  <a:cubicBezTo>
                    <a:pt x="250" y="149"/>
                    <a:pt x="248" y="149"/>
                    <a:pt x="245" y="148"/>
                  </a:cubicBezTo>
                  <a:cubicBezTo>
                    <a:pt x="263" y="138"/>
                    <a:pt x="284" y="183"/>
                    <a:pt x="291" y="158"/>
                  </a:cubicBezTo>
                  <a:cubicBezTo>
                    <a:pt x="310" y="143"/>
                    <a:pt x="310" y="144"/>
                    <a:pt x="289" y="131"/>
                  </a:cubicBezTo>
                  <a:cubicBezTo>
                    <a:pt x="286" y="129"/>
                    <a:pt x="280" y="131"/>
                    <a:pt x="276" y="128"/>
                  </a:cubicBezTo>
                  <a:cubicBezTo>
                    <a:pt x="272" y="126"/>
                    <a:pt x="278" y="121"/>
                    <a:pt x="271" y="120"/>
                  </a:cubicBezTo>
                  <a:cubicBezTo>
                    <a:pt x="260" y="117"/>
                    <a:pt x="258" y="108"/>
                    <a:pt x="247" y="106"/>
                  </a:cubicBezTo>
                  <a:cubicBezTo>
                    <a:pt x="251" y="103"/>
                    <a:pt x="253" y="100"/>
                    <a:pt x="258" y="98"/>
                  </a:cubicBezTo>
                  <a:cubicBezTo>
                    <a:pt x="253" y="97"/>
                    <a:pt x="249" y="94"/>
                    <a:pt x="243" y="94"/>
                  </a:cubicBezTo>
                  <a:cubicBezTo>
                    <a:pt x="247" y="93"/>
                    <a:pt x="251" y="90"/>
                    <a:pt x="255" y="89"/>
                  </a:cubicBezTo>
                  <a:cubicBezTo>
                    <a:pt x="244" y="80"/>
                    <a:pt x="239" y="77"/>
                    <a:pt x="227" y="7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5" name="Freeform 145"/>
            <p:cNvSpPr>
              <a:spLocks/>
            </p:cNvSpPr>
            <p:nvPr/>
          </p:nvSpPr>
          <p:spPr bwMode="auto">
            <a:xfrm>
              <a:off x="1080" y="98"/>
              <a:ext cx="538" cy="311"/>
            </a:xfrm>
            <a:custGeom>
              <a:avLst/>
              <a:gdLst>
                <a:gd name="T0" fmla="*/ 14 w 303"/>
                <a:gd name="T1" fmla="*/ 47 h 175"/>
                <a:gd name="T2" fmla="*/ 41 w 303"/>
                <a:gd name="T3" fmla="*/ 44 h 175"/>
                <a:gd name="T4" fmla="*/ 20 w 303"/>
                <a:gd name="T5" fmla="*/ 55 h 175"/>
                <a:gd name="T6" fmla="*/ 35 w 303"/>
                <a:gd name="T7" fmla="*/ 55 h 175"/>
                <a:gd name="T8" fmla="*/ 26 w 303"/>
                <a:gd name="T9" fmla="*/ 59 h 175"/>
                <a:gd name="T10" fmla="*/ 55 w 303"/>
                <a:gd name="T11" fmla="*/ 63 h 175"/>
                <a:gd name="T12" fmla="*/ 74 w 303"/>
                <a:gd name="T13" fmla="*/ 68 h 175"/>
                <a:gd name="T14" fmla="*/ 99 w 303"/>
                <a:gd name="T15" fmla="*/ 69 h 175"/>
                <a:gd name="T16" fmla="*/ 121 w 303"/>
                <a:gd name="T17" fmla="*/ 61 h 175"/>
                <a:gd name="T18" fmla="*/ 98 w 303"/>
                <a:gd name="T19" fmla="*/ 85 h 175"/>
                <a:gd name="T20" fmla="*/ 53 w 303"/>
                <a:gd name="T21" fmla="*/ 72 h 175"/>
                <a:gd name="T22" fmla="*/ 58 w 303"/>
                <a:gd name="T23" fmla="*/ 76 h 175"/>
                <a:gd name="T24" fmla="*/ 49 w 303"/>
                <a:gd name="T25" fmla="*/ 79 h 175"/>
                <a:gd name="T26" fmla="*/ 65 w 303"/>
                <a:gd name="T27" fmla="*/ 104 h 175"/>
                <a:gd name="T28" fmla="*/ 43 w 303"/>
                <a:gd name="T29" fmla="*/ 121 h 175"/>
                <a:gd name="T30" fmla="*/ 72 w 303"/>
                <a:gd name="T31" fmla="*/ 136 h 175"/>
                <a:gd name="T32" fmla="*/ 36 w 303"/>
                <a:gd name="T33" fmla="*/ 130 h 175"/>
                <a:gd name="T34" fmla="*/ 47 w 303"/>
                <a:gd name="T35" fmla="*/ 140 h 175"/>
                <a:gd name="T36" fmla="*/ 22 w 303"/>
                <a:gd name="T37" fmla="*/ 154 h 175"/>
                <a:gd name="T38" fmla="*/ 139 w 303"/>
                <a:gd name="T39" fmla="*/ 150 h 175"/>
                <a:gd name="T40" fmla="*/ 125 w 303"/>
                <a:gd name="T41" fmla="*/ 147 h 175"/>
                <a:gd name="T42" fmla="*/ 137 w 303"/>
                <a:gd name="T43" fmla="*/ 126 h 175"/>
                <a:gd name="T44" fmla="*/ 169 w 303"/>
                <a:gd name="T45" fmla="*/ 110 h 175"/>
                <a:gd name="T46" fmla="*/ 159 w 303"/>
                <a:gd name="T47" fmla="*/ 102 h 175"/>
                <a:gd name="T48" fmla="*/ 169 w 303"/>
                <a:gd name="T49" fmla="*/ 95 h 175"/>
                <a:gd name="T50" fmla="*/ 160 w 303"/>
                <a:gd name="T51" fmla="*/ 96 h 175"/>
                <a:gd name="T52" fmla="*/ 214 w 303"/>
                <a:gd name="T53" fmla="*/ 73 h 175"/>
                <a:gd name="T54" fmla="*/ 271 w 303"/>
                <a:gd name="T55" fmla="*/ 44 h 175"/>
                <a:gd name="T56" fmla="*/ 245 w 303"/>
                <a:gd name="T57" fmla="*/ 43 h 175"/>
                <a:gd name="T58" fmla="*/ 303 w 303"/>
                <a:gd name="T59" fmla="*/ 25 h 175"/>
                <a:gd name="T60" fmla="*/ 241 w 303"/>
                <a:gd name="T61" fmla="*/ 16 h 175"/>
                <a:gd name="T62" fmla="*/ 247 w 303"/>
                <a:gd name="T63" fmla="*/ 12 h 175"/>
                <a:gd name="T64" fmla="*/ 174 w 303"/>
                <a:gd name="T65" fmla="*/ 8 h 175"/>
                <a:gd name="T66" fmla="*/ 149 w 303"/>
                <a:gd name="T67" fmla="*/ 7 h 175"/>
                <a:gd name="T68" fmla="*/ 110 w 303"/>
                <a:gd name="T69" fmla="*/ 10 h 175"/>
                <a:gd name="T70" fmla="*/ 84 w 303"/>
                <a:gd name="T71" fmla="*/ 24 h 175"/>
                <a:gd name="T72" fmla="*/ 56 w 303"/>
                <a:gd name="T73" fmla="*/ 23 h 175"/>
                <a:gd name="T74" fmla="*/ 0 w 303"/>
                <a:gd name="T75" fmla="*/ 44 h 175"/>
                <a:gd name="T76" fmla="*/ 23 w 303"/>
                <a:gd name="T77" fmla="*/ 41 h 175"/>
                <a:gd name="T78" fmla="*/ 14 w 303"/>
                <a:gd name="T79" fmla="*/ 4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03" h="175">
                  <a:moveTo>
                    <a:pt x="14" y="47"/>
                  </a:moveTo>
                  <a:cubicBezTo>
                    <a:pt x="24" y="52"/>
                    <a:pt x="30" y="43"/>
                    <a:pt x="41" y="44"/>
                  </a:cubicBezTo>
                  <a:cubicBezTo>
                    <a:pt x="32" y="45"/>
                    <a:pt x="24" y="48"/>
                    <a:pt x="20" y="55"/>
                  </a:cubicBezTo>
                  <a:cubicBezTo>
                    <a:pt x="25" y="55"/>
                    <a:pt x="30" y="56"/>
                    <a:pt x="35" y="55"/>
                  </a:cubicBezTo>
                  <a:cubicBezTo>
                    <a:pt x="32" y="56"/>
                    <a:pt x="29" y="57"/>
                    <a:pt x="26" y="59"/>
                  </a:cubicBezTo>
                  <a:cubicBezTo>
                    <a:pt x="38" y="68"/>
                    <a:pt x="43" y="64"/>
                    <a:pt x="55" y="63"/>
                  </a:cubicBezTo>
                  <a:cubicBezTo>
                    <a:pt x="62" y="62"/>
                    <a:pt x="64" y="74"/>
                    <a:pt x="74" y="68"/>
                  </a:cubicBezTo>
                  <a:cubicBezTo>
                    <a:pt x="81" y="64"/>
                    <a:pt x="90" y="70"/>
                    <a:pt x="99" y="69"/>
                  </a:cubicBezTo>
                  <a:cubicBezTo>
                    <a:pt x="107" y="68"/>
                    <a:pt x="113" y="62"/>
                    <a:pt x="121" y="61"/>
                  </a:cubicBezTo>
                  <a:cubicBezTo>
                    <a:pt x="112" y="71"/>
                    <a:pt x="66" y="70"/>
                    <a:pt x="98" y="85"/>
                  </a:cubicBezTo>
                  <a:cubicBezTo>
                    <a:pt x="80" y="80"/>
                    <a:pt x="74" y="71"/>
                    <a:pt x="53" y="72"/>
                  </a:cubicBezTo>
                  <a:cubicBezTo>
                    <a:pt x="55" y="74"/>
                    <a:pt x="56" y="75"/>
                    <a:pt x="58" y="76"/>
                  </a:cubicBezTo>
                  <a:cubicBezTo>
                    <a:pt x="55" y="77"/>
                    <a:pt x="52" y="78"/>
                    <a:pt x="49" y="79"/>
                  </a:cubicBezTo>
                  <a:cubicBezTo>
                    <a:pt x="55" y="83"/>
                    <a:pt x="86" y="100"/>
                    <a:pt x="65" y="104"/>
                  </a:cubicBezTo>
                  <a:cubicBezTo>
                    <a:pt x="55" y="105"/>
                    <a:pt x="43" y="108"/>
                    <a:pt x="43" y="121"/>
                  </a:cubicBezTo>
                  <a:cubicBezTo>
                    <a:pt x="59" y="114"/>
                    <a:pt x="60" y="128"/>
                    <a:pt x="72" y="136"/>
                  </a:cubicBezTo>
                  <a:cubicBezTo>
                    <a:pt x="59" y="135"/>
                    <a:pt x="50" y="122"/>
                    <a:pt x="36" y="130"/>
                  </a:cubicBezTo>
                  <a:cubicBezTo>
                    <a:pt x="41" y="133"/>
                    <a:pt x="42" y="138"/>
                    <a:pt x="47" y="140"/>
                  </a:cubicBezTo>
                  <a:cubicBezTo>
                    <a:pt x="38" y="142"/>
                    <a:pt x="26" y="145"/>
                    <a:pt x="22" y="154"/>
                  </a:cubicBezTo>
                  <a:cubicBezTo>
                    <a:pt x="47" y="153"/>
                    <a:pt x="119" y="175"/>
                    <a:pt x="139" y="150"/>
                  </a:cubicBezTo>
                  <a:cubicBezTo>
                    <a:pt x="134" y="149"/>
                    <a:pt x="131" y="146"/>
                    <a:pt x="125" y="147"/>
                  </a:cubicBezTo>
                  <a:cubicBezTo>
                    <a:pt x="130" y="141"/>
                    <a:pt x="140" y="136"/>
                    <a:pt x="137" y="126"/>
                  </a:cubicBezTo>
                  <a:cubicBezTo>
                    <a:pt x="152" y="129"/>
                    <a:pt x="159" y="120"/>
                    <a:pt x="169" y="110"/>
                  </a:cubicBezTo>
                  <a:cubicBezTo>
                    <a:pt x="165" y="108"/>
                    <a:pt x="163" y="104"/>
                    <a:pt x="159" y="102"/>
                  </a:cubicBezTo>
                  <a:cubicBezTo>
                    <a:pt x="166" y="100"/>
                    <a:pt x="164" y="98"/>
                    <a:pt x="169" y="95"/>
                  </a:cubicBezTo>
                  <a:cubicBezTo>
                    <a:pt x="166" y="95"/>
                    <a:pt x="163" y="95"/>
                    <a:pt x="160" y="96"/>
                  </a:cubicBezTo>
                  <a:cubicBezTo>
                    <a:pt x="179" y="83"/>
                    <a:pt x="196" y="90"/>
                    <a:pt x="214" y="73"/>
                  </a:cubicBezTo>
                  <a:cubicBezTo>
                    <a:pt x="231" y="58"/>
                    <a:pt x="253" y="58"/>
                    <a:pt x="271" y="44"/>
                  </a:cubicBezTo>
                  <a:cubicBezTo>
                    <a:pt x="262" y="45"/>
                    <a:pt x="254" y="46"/>
                    <a:pt x="245" y="43"/>
                  </a:cubicBezTo>
                  <a:cubicBezTo>
                    <a:pt x="265" y="36"/>
                    <a:pt x="286" y="38"/>
                    <a:pt x="303" y="25"/>
                  </a:cubicBezTo>
                  <a:cubicBezTo>
                    <a:pt x="279" y="10"/>
                    <a:pt x="268" y="9"/>
                    <a:pt x="241" y="16"/>
                  </a:cubicBezTo>
                  <a:cubicBezTo>
                    <a:pt x="243" y="14"/>
                    <a:pt x="245" y="13"/>
                    <a:pt x="247" y="12"/>
                  </a:cubicBezTo>
                  <a:cubicBezTo>
                    <a:pt x="231" y="3"/>
                    <a:pt x="188" y="0"/>
                    <a:pt x="174" y="8"/>
                  </a:cubicBezTo>
                  <a:cubicBezTo>
                    <a:pt x="170" y="10"/>
                    <a:pt x="154" y="7"/>
                    <a:pt x="149" y="7"/>
                  </a:cubicBezTo>
                  <a:cubicBezTo>
                    <a:pt x="138" y="7"/>
                    <a:pt x="120" y="5"/>
                    <a:pt x="110" y="10"/>
                  </a:cubicBezTo>
                  <a:cubicBezTo>
                    <a:pt x="99" y="15"/>
                    <a:pt x="90" y="12"/>
                    <a:pt x="84" y="24"/>
                  </a:cubicBezTo>
                  <a:cubicBezTo>
                    <a:pt x="80" y="33"/>
                    <a:pt x="64" y="16"/>
                    <a:pt x="56" y="23"/>
                  </a:cubicBezTo>
                  <a:cubicBezTo>
                    <a:pt x="39" y="36"/>
                    <a:pt x="15" y="26"/>
                    <a:pt x="0" y="44"/>
                  </a:cubicBezTo>
                  <a:cubicBezTo>
                    <a:pt x="8" y="42"/>
                    <a:pt x="15" y="42"/>
                    <a:pt x="23" y="41"/>
                  </a:cubicBezTo>
                  <a:cubicBezTo>
                    <a:pt x="20" y="43"/>
                    <a:pt x="17" y="45"/>
                    <a:pt x="14" y="47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6" name="Freeform 146"/>
            <p:cNvSpPr>
              <a:spLocks noEditPoints="1"/>
            </p:cNvSpPr>
            <p:nvPr/>
          </p:nvSpPr>
          <p:spPr bwMode="auto">
            <a:xfrm>
              <a:off x="1403" y="72"/>
              <a:ext cx="1069" cy="807"/>
            </a:xfrm>
            <a:custGeom>
              <a:avLst/>
              <a:gdLst>
                <a:gd name="T0" fmla="*/ 471 w 603"/>
                <a:gd name="T1" fmla="*/ 266 h 455"/>
                <a:gd name="T2" fmla="*/ 478 w 603"/>
                <a:gd name="T3" fmla="*/ 236 h 455"/>
                <a:gd name="T4" fmla="*/ 488 w 603"/>
                <a:gd name="T5" fmla="*/ 227 h 455"/>
                <a:gd name="T6" fmla="*/ 519 w 603"/>
                <a:gd name="T7" fmla="*/ 216 h 455"/>
                <a:gd name="T8" fmla="*/ 521 w 603"/>
                <a:gd name="T9" fmla="*/ 199 h 455"/>
                <a:gd name="T10" fmla="*/ 519 w 603"/>
                <a:gd name="T11" fmla="*/ 173 h 455"/>
                <a:gd name="T12" fmla="*/ 531 w 603"/>
                <a:gd name="T13" fmla="*/ 144 h 455"/>
                <a:gd name="T14" fmla="*/ 514 w 603"/>
                <a:gd name="T15" fmla="*/ 135 h 455"/>
                <a:gd name="T16" fmla="*/ 564 w 603"/>
                <a:gd name="T17" fmla="*/ 77 h 455"/>
                <a:gd name="T18" fmla="*/ 597 w 603"/>
                <a:gd name="T19" fmla="*/ 52 h 455"/>
                <a:gd name="T20" fmla="*/ 516 w 603"/>
                <a:gd name="T21" fmla="*/ 53 h 455"/>
                <a:gd name="T22" fmla="*/ 498 w 603"/>
                <a:gd name="T23" fmla="*/ 44 h 455"/>
                <a:gd name="T24" fmla="*/ 466 w 603"/>
                <a:gd name="T25" fmla="*/ 45 h 455"/>
                <a:gd name="T26" fmla="*/ 508 w 603"/>
                <a:gd name="T27" fmla="*/ 26 h 455"/>
                <a:gd name="T28" fmla="*/ 375 w 603"/>
                <a:gd name="T29" fmla="*/ 3 h 455"/>
                <a:gd name="T30" fmla="*/ 255 w 603"/>
                <a:gd name="T31" fmla="*/ 21 h 455"/>
                <a:gd name="T32" fmla="*/ 269 w 603"/>
                <a:gd name="T33" fmla="*/ 46 h 455"/>
                <a:gd name="T34" fmla="*/ 193 w 603"/>
                <a:gd name="T35" fmla="*/ 46 h 455"/>
                <a:gd name="T36" fmla="*/ 110 w 603"/>
                <a:gd name="T37" fmla="*/ 64 h 455"/>
                <a:gd name="T38" fmla="*/ 58 w 603"/>
                <a:gd name="T39" fmla="*/ 88 h 455"/>
                <a:gd name="T40" fmla="*/ 44 w 603"/>
                <a:gd name="T41" fmla="*/ 115 h 455"/>
                <a:gd name="T42" fmla="*/ 72 w 603"/>
                <a:gd name="T43" fmla="*/ 143 h 455"/>
                <a:gd name="T44" fmla="*/ 49 w 603"/>
                <a:gd name="T45" fmla="*/ 167 h 455"/>
                <a:gd name="T46" fmla="*/ 68 w 603"/>
                <a:gd name="T47" fmla="*/ 180 h 455"/>
                <a:gd name="T48" fmla="*/ 174 w 603"/>
                <a:gd name="T49" fmla="*/ 230 h 455"/>
                <a:gd name="T50" fmla="*/ 202 w 603"/>
                <a:gd name="T51" fmla="*/ 262 h 455"/>
                <a:gd name="T52" fmla="*/ 189 w 603"/>
                <a:gd name="T53" fmla="*/ 279 h 455"/>
                <a:gd name="T54" fmla="*/ 207 w 603"/>
                <a:gd name="T55" fmla="*/ 318 h 455"/>
                <a:gd name="T56" fmla="*/ 199 w 603"/>
                <a:gd name="T57" fmla="*/ 346 h 455"/>
                <a:gd name="T58" fmla="*/ 224 w 603"/>
                <a:gd name="T59" fmla="*/ 387 h 455"/>
                <a:gd name="T60" fmla="*/ 267 w 603"/>
                <a:gd name="T61" fmla="*/ 437 h 455"/>
                <a:gd name="T62" fmla="*/ 298 w 603"/>
                <a:gd name="T63" fmla="*/ 450 h 455"/>
                <a:gd name="T64" fmla="*/ 323 w 603"/>
                <a:gd name="T65" fmla="*/ 390 h 455"/>
                <a:gd name="T66" fmla="*/ 355 w 603"/>
                <a:gd name="T67" fmla="*/ 361 h 455"/>
                <a:gd name="T68" fmla="*/ 425 w 603"/>
                <a:gd name="T69" fmla="*/ 321 h 455"/>
                <a:gd name="T70" fmla="*/ 467 w 603"/>
                <a:gd name="T71" fmla="*/ 279 h 455"/>
                <a:gd name="T72" fmla="*/ 443 w 603"/>
                <a:gd name="T73" fmla="*/ 44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3" h="455">
                  <a:moveTo>
                    <a:pt x="467" y="279"/>
                  </a:moveTo>
                  <a:cubicBezTo>
                    <a:pt x="476" y="273"/>
                    <a:pt x="474" y="275"/>
                    <a:pt x="471" y="266"/>
                  </a:cubicBezTo>
                  <a:cubicBezTo>
                    <a:pt x="479" y="266"/>
                    <a:pt x="513" y="296"/>
                    <a:pt x="512" y="275"/>
                  </a:cubicBezTo>
                  <a:cubicBezTo>
                    <a:pt x="511" y="257"/>
                    <a:pt x="483" y="251"/>
                    <a:pt x="478" y="236"/>
                  </a:cubicBezTo>
                  <a:cubicBezTo>
                    <a:pt x="483" y="239"/>
                    <a:pt x="493" y="253"/>
                    <a:pt x="501" y="250"/>
                  </a:cubicBezTo>
                  <a:cubicBezTo>
                    <a:pt x="519" y="245"/>
                    <a:pt x="493" y="230"/>
                    <a:pt x="488" y="227"/>
                  </a:cubicBezTo>
                  <a:cubicBezTo>
                    <a:pt x="498" y="229"/>
                    <a:pt x="500" y="232"/>
                    <a:pt x="509" y="229"/>
                  </a:cubicBezTo>
                  <a:cubicBezTo>
                    <a:pt x="517" y="227"/>
                    <a:pt x="523" y="225"/>
                    <a:pt x="519" y="216"/>
                  </a:cubicBezTo>
                  <a:cubicBezTo>
                    <a:pt x="527" y="214"/>
                    <a:pt x="528" y="211"/>
                    <a:pt x="533" y="207"/>
                  </a:cubicBezTo>
                  <a:cubicBezTo>
                    <a:pt x="528" y="205"/>
                    <a:pt x="526" y="201"/>
                    <a:pt x="521" y="199"/>
                  </a:cubicBezTo>
                  <a:cubicBezTo>
                    <a:pt x="531" y="197"/>
                    <a:pt x="532" y="193"/>
                    <a:pt x="530" y="184"/>
                  </a:cubicBezTo>
                  <a:cubicBezTo>
                    <a:pt x="529" y="179"/>
                    <a:pt x="519" y="170"/>
                    <a:pt x="519" y="173"/>
                  </a:cubicBezTo>
                  <a:cubicBezTo>
                    <a:pt x="517" y="154"/>
                    <a:pt x="534" y="168"/>
                    <a:pt x="547" y="156"/>
                  </a:cubicBezTo>
                  <a:cubicBezTo>
                    <a:pt x="543" y="151"/>
                    <a:pt x="537" y="147"/>
                    <a:pt x="531" y="144"/>
                  </a:cubicBezTo>
                  <a:cubicBezTo>
                    <a:pt x="533" y="143"/>
                    <a:pt x="535" y="143"/>
                    <a:pt x="537" y="142"/>
                  </a:cubicBezTo>
                  <a:cubicBezTo>
                    <a:pt x="530" y="138"/>
                    <a:pt x="522" y="136"/>
                    <a:pt x="514" y="135"/>
                  </a:cubicBezTo>
                  <a:cubicBezTo>
                    <a:pt x="517" y="121"/>
                    <a:pt x="536" y="114"/>
                    <a:pt x="532" y="101"/>
                  </a:cubicBezTo>
                  <a:cubicBezTo>
                    <a:pt x="542" y="100"/>
                    <a:pt x="561" y="85"/>
                    <a:pt x="564" y="77"/>
                  </a:cubicBezTo>
                  <a:cubicBezTo>
                    <a:pt x="562" y="77"/>
                    <a:pt x="560" y="77"/>
                    <a:pt x="557" y="77"/>
                  </a:cubicBezTo>
                  <a:cubicBezTo>
                    <a:pt x="566" y="77"/>
                    <a:pt x="603" y="63"/>
                    <a:pt x="597" y="52"/>
                  </a:cubicBezTo>
                  <a:cubicBezTo>
                    <a:pt x="590" y="40"/>
                    <a:pt x="566" y="46"/>
                    <a:pt x="556" y="48"/>
                  </a:cubicBezTo>
                  <a:cubicBezTo>
                    <a:pt x="541" y="52"/>
                    <a:pt x="531" y="54"/>
                    <a:pt x="516" y="53"/>
                  </a:cubicBezTo>
                  <a:cubicBezTo>
                    <a:pt x="505" y="52"/>
                    <a:pt x="489" y="77"/>
                    <a:pt x="480" y="84"/>
                  </a:cubicBezTo>
                  <a:cubicBezTo>
                    <a:pt x="485" y="74"/>
                    <a:pt x="512" y="53"/>
                    <a:pt x="498" y="44"/>
                  </a:cubicBezTo>
                  <a:cubicBezTo>
                    <a:pt x="486" y="36"/>
                    <a:pt x="468" y="60"/>
                    <a:pt x="454" y="61"/>
                  </a:cubicBezTo>
                  <a:cubicBezTo>
                    <a:pt x="459" y="57"/>
                    <a:pt x="461" y="51"/>
                    <a:pt x="466" y="45"/>
                  </a:cubicBezTo>
                  <a:cubicBezTo>
                    <a:pt x="462" y="44"/>
                    <a:pt x="458" y="44"/>
                    <a:pt x="455" y="44"/>
                  </a:cubicBezTo>
                  <a:cubicBezTo>
                    <a:pt x="478" y="43"/>
                    <a:pt x="500" y="40"/>
                    <a:pt x="508" y="26"/>
                  </a:cubicBezTo>
                  <a:cubicBezTo>
                    <a:pt x="481" y="26"/>
                    <a:pt x="468" y="15"/>
                    <a:pt x="444" y="6"/>
                  </a:cubicBezTo>
                  <a:cubicBezTo>
                    <a:pt x="425" y="0"/>
                    <a:pt x="395" y="0"/>
                    <a:pt x="375" y="3"/>
                  </a:cubicBezTo>
                  <a:cubicBezTo>
                    <a:pt x="354" y="5"/>
                    <a:pt x="335" y="12"/>
                    <a:pt x="314" y="13"/>
                  </a:cubicBezTo>
                  <a:cubicBezTo>
                    <a:pt x="304" y="13"/>
                    <a:pt x="273" y="17"/>
                    <a:pt x="255" y="21"/>
                  </a:cubicBezTo>
                  <a:cubicBezTo>
                    <a:pt x="258" y="23"/>
                    <a:pt x="261" y="25"/>
                    <a:pt x="263" y="27"/>
                  </a:cubicBezTo>
                  <a:cubicBezTo>
                    <a:pt x="239" y="24"/>
                    <a:pt x="260" y="41"/>
                    <a:pt x="269" y="46"/>
                  </a:cubicBezTo>
                  <a:cubicBezTo>
                    <a:pt x="260" y="46"/>
                    <a:pt x="206" y="22"/>
                    <a:pt x="217" y="46"/>
                  </a:cubicBezTo>
                  <a:cubicBezTo>
                    <a:pt x="207" y="45"/>
                    <a:pt x="190" y="28"/>
                    <a:pt x="193" y="46"/>
                  </a:cubicBezTo>
                  <a:cubicBezTo>
                    <a:pt x="178" y="34"/>
                    <a:pt x="137" y="39"/>
                    <a:pt x="121" y="49"/>
                  </a:cubicBezTo>
                  <a:cubicBezTo>
                    <a:pt x="115" y="52"/>
                    <a:pt x="115" y="60"/>
                    <a:pt x="110" y="64"/>
                  </a:cubicBezTo>
                  <a:cubicBezTo>
                    <a:pt x="104" y="70"/>
                    <a:pt x="101" y="61"/>
                    <a:pt x="94" y="67"/>
                  </a:cubicBezTo>
                  <a:cubicBezTo>
                    <a:pt x="83" y="76"/>
                    <a:pt x="70" y="80"/>
                    <a:pt x="58" y="88"/>
                  </a:cubicBezTo>
                  <a:cubicBezTo>
                    <a:pt x="64" y="95"/>
                    <a:pt x="74" y="95"/>
                    <a:pt x="83" y="95"/>
                  </a:cubicBezTo>
                  <a:cubicBezTo>
                    <a:pt x="78" y="119"/>
                    <a:pt x="62" y="111"/>
                    <a:pt x="44" y="115"/>
                  </a:cubicBezTo>
                  <a:cubicBezTo>
                    <a:pt x="38" y="117"/>
                    <a:pt x="12" y="125"/>
                    <a:pt x="10" y="130"/>
                  </a:cubicBezTo>
                  <a:cubicBezTo>
                    <a:pt x="0" y="151"/>
                    <a:pt x="66" y="143"/>
                    <a:pt x="72" y="143"/>
                  </a:cubicBezTo>
                  <a:cubicBezTo>
                    <a:pt x="66" y="162"/>
                    <a:pt x="35" y="146"/>
                    <a:pt x="22" y="162"/>
                  </a:cubicBezTo>
                  <a:cubicBezTo>
                    <a:pt x="31" y="159"/>
                    <a:pt x="41" y="162"/>
                    <a:pt x="49" y="167"/>
                  </a:cubicBezTo>
                  <a:cubicBezTo>
                    <a:pt x="47" y="169"/>
                    <a:pt x="44" y="171"/>
                    <a:pt x="42" y="173"/>
                  </a:cubicBezTo>
                  <a:cubicBezTo>
                    <a:pt x="50" y="180"/>
                    <a:pt x="59" y="183"/>
                    <a:pt x="68" y="180"/>
                  </a:cubicBezTo>
                  <a:cubicBezTo>
                    <a:pt x="67" y="179"/>
                    <a:pt x="65" y="178"/>
                    <a:pt x="64" y="177"/>
                  </a:cubicBezTo>
                  <a:cubicBezTo>
                    <a:pt x="113" y="175"/>
                    <a:pt x="154" y="175"/>
                    <a:pt x="174" y="230"/>
                  </a:cubicBezTo>
                  <a:cubicBezTo>
                    <a:pt x="179" y="244"/>
                    <a:pt x="185" y="242"/>
                    <a:pt x="179" y="256"/>
                  </a:cubicBezTo>
                  <a:cubicBezTo>
                    <a:pt x="173" y="271"/>
                    <a:pt x="196" y="260"/>
                    <a:pt x="202" y="262"/>
                  </a:cubicBezTo>
                  <a:cubicBezTo>
                    <a:pt x="208" y="265"/>
                    <a:pt x="224" y="281"/>
                    <a:pt x="217" y="286"/>
                  </a:cubicBezTo>
                  <a:cubicBezTo>
                    <a:pt x="216" y="286"/>
                    <a:pt x="193" y="279"/>
                    <a:pt x="189" y="279"/>
                  </a:cubicBezTo>
                  <a:cubicBezTo>
                    <a:pt x="197" y="289"/>
                    <a:pt x="215" y="293"/>
                    <a:pt x="227" y="294"/>
                  </a:cubicBezTo>
                  <a:cubicBezTo>
                    <a:pt x="220" y="304"/>
                    <a:pt x="221" y="320"/>
                    <a:pt x="207" y="318"/>
                  </a:cubicBezTo>
                  <a:cubicBezTo>
                    <a:pt x="201" y="325"/>
                    <a:pt x="193" y="334"/>
                    <a:pt x="193" y="346"/>
                  </a:cubicBezTo>
                  <a:cubicBezTo>
                    <a:pt x="195" y="346"/>
                    <a:pt x="197" y="346"/>
                    <a:pt x="199" y="346"/>
                  </a:cubicBezTo>
                  <a:cubicBezTo>
                    <a:pt x="193" y="361"/>
                    <a:pt x="210" y="371"/>
                    <a:pt x="212" y="386"/>
                  </a:cubicBezTo>
                  <a:cubicBezTo>
                    <a:pt x="217" y="384"/>
                    <a:pt x="220" y="387"/>
                    <a:pt x="224" y="387"/>
                  </a:cubicBezTo>
                  <a:cubicBezTo>
                    <a:pt x="210" y="400"/>
                    <a:pt x="241" y="435"/>
                    <a:pt x="254" y="440"/>
                  </a:cubicBezTo>
                  <a:cubicBezTo>
                    <a:pt x="256" y="442"/>
                    <a:pt x="263" y="435"/>
                    <a:pt x="267" y="437"/>
                  </a:cubicBezTo>
                  <a:cubicBezTo>
                    <a:pt x="272" y="440"/>
                    <a:pt x="274" y="446"/>
                    <a:pt x="278" y="447"/>
                  </a:cubicBezTo>
                  <a:cubicBezTo>
                    <a:pt x="284" y="449"/>
                    <a:pt x="292" y="455"/>
                    <a:pt x="298" y="450"/>
                  </a:cubicBezTo>
                  <a:cubicBezTo>
                    <a:pt x="307" y="441"/>
                    <a:pt x="306" y="428"/>
                    <a:pt x="308" y="417"/>
                  </a:cubicBezTo>
                  <a:cubicBezTo>
                    <a:pt x="310" y="407"/>
                    <a:pt x="329" y="400"/>
                    <a:pt x="323" y="390"/>
                  </a:cubicBezTo>
                  <a:cubicBezTo>
                    <a:pt x="312" y="374"/>
                    <a:pt x="348" y="364"/>
                    <a:pt x="355" y="354"/>
                  </a:cubicBezTo>
                  <a:cubicBezTo>
                    <a:pt x="355" y="356"/>
                    <a:pt x="355" y="359"/>
                    <a:pt x="355" y="361"/>
                  </a:cubicBezTo>
                  <a:cubicBezTo>
                    <a:pt x="373" y="358"/>
                    <a:pt x="380" y="355"/>
                    <a:pt x="392" y="343"/>
                  </a:cubicBezTo>
                  <a:cubicBezTo>
                    <a:pt x="402" y="333"/>
                    <a:pt x="409" y="321"/>
                    <a:pt x="425" y="321"/>
                  </a:cubicBezTo>
                  <a:cubicBezTo>
                    <a:pt x="456" y="321"/>
                    <a:pt x="479" y="303"/>
                    <a:pt x="505" y="290"/>
                  </a:cubicBezTo>
                  <a:cubicBezTo>
                    <a:pt x="492" y="288"/>
                    <a:pt x="474" y="291"/>
                    <a:pt x="467" y="279"/>
                  </a:cubicBezTo>
                  <a:close/>
                  <a:moveTo>
                    <a:pt x="397" y="45"/>
                  </a:moveTo>
                  <a:cubicBezTo>
                    <a:pt x="407" y="43"/>
                    <a:pt x="425" y="44"/>
                    <a:pt x="443" y="44"/>
                  </a:cubicBezTo>
                  <a:cubicBezTo>
                    <a:pt x="427" y="45"/>
                    <a:pt x="412" y="48"/>
                    <a:pt x="397" y="45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7" name="Freeform 147"/>
            <p:cNvSpPr>
              <a:spLocks/>
            </p:cNvSpPr>
            <p:nvPr/>
          </p:nvSpPr>
          <p:spPr bwMode="auto">
            <a:xfrm>
              <a:off x="1722" y="577"/>
              <a:ext cx="57" cy="39"/>
            </a:xfrm>
            <a:custGeom>
              <a:avLst/>
              <a:gdLst>
                <a:gd name="T0" fmla="*/ 11 w 32"/>
                <a:gd name="T1" fmla="*/ 20 h 22"/>
                <a:gd name="T2" fmla="*/ 32 w 32"/>
                <a:gd name="T3" fmla="*/ 14 h 22"/>
                <a:gd name="T4" fmla="*/ 12 w 32"/>
                <a:gd name="T5" fmla="*/ 1 h 22"/>
                <a:gd name="T6" fmla="*/ 11 w 32"/>
                <a:gd name="T7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2">
                  <a:moveTo>
                    <a:pt x="11" y="20"/>
                  </a:moveTo>
                  <a:cubicBezTo>
                    <a:pt x="19" y="22"/>
                    <a:pt x="27" y="20"/>
                    <a:pt x="32" y="14"/>
                  </a:cubicBezTo>
                  <a:cubicBezTo>
                    <a:pt x="28" y="11"/>
                    <a:pt x="17" y="0"/>
                    <a:pt x="12" y="1"/>
                  </a:cubicBezTo>
                  <a:cubicBezTo>
                    <a:pt x="0" y="4"/>
                    <a:pt x="5" y="15"/>
                    <a:pt x="11" y="2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8" name="Freeform 148"/>
            <p:cNvSpPr>
              <a:spLocks/>
            </p:cNvSpPr>
            <p:nvPr/>
          </p:nvSpPr>
          <p:spPr bwMode="auto">
            <a:xfrm>
              <a:off x="2350" y="403"/>
              <a:ext cx="32" cy="22"/>
            </a:xfrm>
            <a:custGeom>
              <a:avLst/>
              <a:gdLst>
                <a:gd name="T0" fmla="*/ 7 w 18"/>
                <a:gd name="T1" fmla="*/ 12 h 12"/>
                <a:gd name="T2" fmla="*/ 18 w 18"/>
                <a:gd name="T3" fmla="*/ 7 h 12"/>
                <a:gd name="T4" fmla="*/ 7 w 18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7" y="12"/>
                  </a:moveTo>
                  <a:cubicBezTo>
                    <a:pt x="11" y="11"/>
                    <a:pt x="15" y="9"/>
                    <a:pt x="18" y="7"/>
                  </a:cubicBezTo>
                  <a:cubicBezTo>
                    <a:pt x="13" y="2"/>
                    <a:pt x="0" y="0"/>
                    <a:pt x="7" y="12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9" name="Freeform 149"/>
            <p:cNvSpPr>
              <a:spLocks/>
            </p:cNvSpPr>
            <p:nvPr/>
          </p:nvSpPr>
          <p:spPr bwMode="auto">
            <a:xfrm>
              <a:off x="1658" y="1087"/>
              <a:ext cx="123" cy="112"/>
            </a:xfrm>
            <a:custGeom>
              <a:avLst/>
              <a:gdLst>
                <a:gd name="T0" fmla="*/ 23 w 69"/>
                <a:gd name="T1" fmla="*/ 24 h 63"/>
                <a:gd name="T2" fmla="*/ 30 w 69"/>
                <a:gd name="T3" fmla="*/ 0 h 63"/>
                <a:gd name="T4" fmla="*/ 1 w 69"/>
                <a:gd name="T5" fmla="*/ 38 h 63"/>
                <a:gd name="T6" fmla="*/ 1 w 69"/>
                <a:gd name="T7" fmla="*/ 52 h 63"/>
                <a:gd name="T8" fmla="*/ 39 w 69"/>
                <a:gd name="T9" fmla="*/ 52 h 63"/>
                <a:gd name="T10" fmla="*/ 35 w 69"/>
                <a:gd name="T11" fmla="*/ 58 h 63"/>
                <a:gd name="T12" fmla="*/ 47 w 69"/>
                <a:gd name="T13" fmla="*/ 49 h 63"/>
                <a:gd name="T14" fmla="*/ 56 w 69"/>
                <a:gd name="T15" fmla="*/ 63 h 63"/>
                <a:gd name="T16" fmla="*/ 56 w 69"/>
                <a:gd name="T17" fmla="*/ 38 h 63"/>
                <a:gd name="T18" fmla="*/ 52 w 69"/>
                <a:gd name="T19" fmla="*/ 39 h 63"/>
                <a:gd name="T20" fmla="*/ 52 w 69"/>
                <a:gd name="T21" fmla="*/ 28 h 63"/>
                <a:gd name="T22" fmla="*/ 32 w 69"/>
                <a:gd name="T23" fmla="*/ 28 h 63"/>
                <a:gd name="T24" fmla="*/ 34 w 69"/>
                <a:gd name="T25" fmla="*/ 23 h 63"/>
                <a:gd name="T26" fmla="*/ 23 w 69"/>
                <a:gd name="T27" fmla="*/ 2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" h="63">
                  <a:moveTo>
                    <a:pt x="23" y="24"/>
                  </a:moveTo>
                  <a:cubicBezTo>
                    <a:pt x="26" y="16"/>
                    <a:pt x="32" y="8"/>
                    <a:pt x="30" y="0"/>
                  </a:cubicBezTo>
                  <a:cubicBezTo>
                    <a:pt x="15" y="8"/>
                    <a:pt x="15" y="28"/>
                    <a:pt x="1" y="38"/>
                  </a:cubicBezTo>
                  <a:cubicBezTo>
                    <a:pt x="1" y="43"/>
                    <a:pt x="0" y="47"/>
                    <a:pt x="1" y="52"/>
                  </a:cubicBezTo>
                  <a:cubicBezTo>
                    <a:pt x="12" y="48"/>
                    <a:pt x="27" y="52"/>
                    <a:pt x="39" y="52"/>
                  </a:cubicBezTo>
                  <a:cubicBezTo>
                    <a:pt x="37" y="54"/>
                    <a:pt x="36" y="56"/>
                    <a:pt x="35" y="58"/>
                  </a:cubicBezTo>
                  <a:cubicBezTo>
                    <a:pt x="39" y="54"/>
                    <a:pt x="43" y="53"/>
                    <a:pt x="47" y="49"/>
                  </a:cubicBezTo>
                  <a:cubicBezTo>
                    <a:pt x="49" y="56"/>
                    <a:pt x="52" y="57"/>
                    <a:pt x="56" y="63"/>
                  </a:cubicBezTo>
                  <a:cubicBezTo>
                    <a:pt x="69" y="45"/>
                    <a:pt x="48" y="53"/>
                    <a:pt x="56" y="38"/>
                  </a:cubicBezTo>
                  <a:cubicBezTo>
                    <a:pt x="55" y="39"/>
                    <a:pt x="53" y="39"/>
                    <a:pt x="52" y="39"/>
                  </a:cubicBezTo>
                  <a:cubicBezTo>
                    <a:pt x="53" y="37"/>
                    <a:pt x="53" y="31"/>
                    <a:pt x="52" y="28"/>
                  </a:cubicBezTo>
                  <a:cubicBezTo>
                    <a:pt x="43" y="29"/>
                    <a:pt x="39" y="29"/>
                    <a:pt x="32" y="28"/>
                  </a:cubicBezTo>
                  <a:cubicBezTo>
                    <a:pt x="32" y="25"/>
                    <a:pt x="33" y="25"/>
                    <a:pt x="34" y="23"/>
                  </a:cubicBezTo>
                  <a:cubicBezTo>
                    <a:pt x="29" y="24"/>
                    <a:pt x="28" y="22"/>
                    <a:pt x="23" y="2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0" name="Freeform 150"/>
            <p:cNvSpPr>
              <a:spLocks/>
            </p:cNvSpPr>
            <p:nvPr/>
          </p:nvSpPr>
          <p:spPr bwMode="auto">
            <a:xfrm>
              <a:off x="5048" y="354"/>
              <a:ext cx="156" cy="87"/>
            </a:xfrm>
            <a:custGeom>
              <a:avLst/>
              <a:gdLst>
                <a:gd name="T0" fmla="*/ 72 w 88"/>
                <a:gd name="T1" fmla="*/ 34 h 49"/>
                <a:gd name="T2" fmla="*/ 88 w 88"/>
                <a:gd name="T3" fmla="*/ 22 h 49"/>
                <a:gd name="T4" fmla="*/ 67 w 88"/>
                <a:gd name="T5" fmla="*/ 16 h 49"/>
                <a:gd name="T6" fmla="*/ 48 w 88"/>
                <a:gd name="T7" fmla="*/ 22 h 49"/>
                <a:gd name="T8" fmla="*/ 16 w 88"/>
                <a:gd name="T9" fmla="*/ 18 h 49"/>
                <a:gd name="T10" fmla="*/ 72 w 88"/>
                <a:gd name="T11" fmla="*/ 3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49">
                  <a:moveTo>
                    <a:pt x="72" y="34"/>
                  </a:moveTo>
                  <a:cubicBezTo>
                    <a:pt x="81" y="35"/>
                    <a:pt x="86" y="31"/>
                    <a:pt x="88" y="22"/>
                  </a:cubicBezTo>
                  <a:cubicBezTo>
                    <a:pt x="81" y="20"/>
                    <a:pt x="74" y="18"/>
                    <a:pt x="67" y="16"/>
                  </a:cubicBezTo>
                  <a:cubicBezTo>
                    <a:pt x="55" y="12"/>
                    <a:pt x="54" y="22"/>
                    <a:pt x="48" y="22"/>
                  </a:cubicBezTo>
                  <a:cubicBezTo>
                    <a:pt x="39" y="22"/>
                    <a:pt x="24" y="0"/>
                    <a:pt x="16" y="18"/>
                  </a:cubicBezTo>
                  <a:cubicBezTo>
                    <a:pt x="0" y="49"/>
                    <a:pt x="59" y="36"/>
                    <a:pt x="72" y="3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1" name="Freeform 151"/>
            <p:cNvSpPr>
              <a:spLocks/>
            </p:cNvSpPr>
            <p:nvPr/>
          </p:nvSpPr>
          <p:spPr bwMode="auto">
            <a:xfrm>
              <a:off x="1410" y="1323"/>
              <a:ext cx="16" cy="2"/>
            </a:xfrm>
            <a:custGeom>
              <a:avLst/>
              <a:gdLst>
                <a:gd name="T0" fmla="*/ 9 w 9"/>
                <a:gd name="T1" fmla="*/ 0 h 1"/>
                <a:gd name="T2" fmla="*/ 0 w 9"/>
                <a:gd name="T3" fmla="*/ 1 h 1"/>
                <a:gd name="T4" fmla="*/ 0 w 9"/>
                <a:gd name="T5" fmla="*/ 1 h 1"/>
                <a:gd name="T6" fmla="*/ 9 w 9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">
                  <a:moveTo>
                    <a:pt x="9" y="0"/>
                  </a:moveTo>
                  <a:cubicBezTo>
                    <a:pt x="6" y="0"/>
                    <a:pt x="3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6" y="0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2" name="Freeform 152"/>
            <p:cNvSpPr>
              <a:spLocks noEditPoints="1"/>
            </p:cNvSpPr>
            <p:nvPr/>
          </p:nvSpPr>
          <p:spPr bwMode="auto">
            <a:xfrm>
              <a:off x="-237" y="528"/>
              <a:ext cx="2339" cy="2646"/>
            </a:xfrm>
            <a:custGeom>
              <a:avLst/>
              <a:gdLst>
                <a:gd name="T0" fmla="*/ 1165 w 1319"/>
                <a:gd name="T1" fmla="*/ 892 h 1491"/>
                <a:gd name="T2" fmla="*/ 1156 w 1319"/>
                <a:gd name="T3" fmla="*/ 869 h 1491"/>
                <a:gd name="T4" fmla="*/ 1038 w 1319"/>
                <a:gd name="T5" fmla="*/ 770 h 1491"/>
                <a:gd name="T6" fmla="*/ 951 w 1319"/>
                <a:gd name="T7" fmla="*/ 758 h 1491"/>
                <a:gd name="T8" fmla="*/ 827 w 1319"/>
                <a:gd name="T9" fmla="*/ 742 h 1491"/>
                <a:gd name="T10" fmla="*/ 787 w 1319"/>
                <a:gd name="T11" fmla="*/ 696 h 1491"/>
                <a:gd name="T12" fmla="*/ 699 w 1319"/>
                <a:gd name="T13" fmla="*/ 590 h 1491"/>
                <a:gd name="T14" fmla="*/ 807 w 1319"/>
                <a:gd name="T15" fmla="*/ 574 h 1491"/>
                <a:gd name="T16" fmla="*/ 885 w 1319"/>
                <a:gd name="T17" fmla="*/ 528 h 1491"/>
                <a:gd name="T18" fmla="*/ 900 w 1319"/>
                <a:gd name="T19" fmla="*/ 472 h 1491"/>
                <a:gd name="T20" fmla="*/ 928 w 1319"/>
                <a:gd name="T21" fmla="*/ 446 h 1491"/>
                <a:gd name="T22" fmla="*/ 989 w 1319"/>
                <a:gd name="T23" fmla="*/ 398 h 1491"/>
                <a:gd name="T24" fmla="*/ 1017 w 1319"/>
                <a:gd name="T25" fmla="*/ 362 h 1491"/>
                <a:gd name="T26" fmla="*/ 1046 w 1319"/>
                <a:gd name="T27" fmla="*/ 333 h 1491"/>
                <a:gd name="T28" fmla="*/ 1056 w 1319"/>
                <a:gd name="T29" fmla="*/ 265 h 1491"/>
                <a:gd name="T30" fmla="*/ 952 w 1319"/>
                <a:gd name="T31" fmla="*/ 183 h 1491"/>
                <a:gd name="T32" fmla="*/ 892 w 1319"/>
                <a:gd name="T33" fmla="*/ 249 h 1491"/>
                <a:gd name="T34" fmla="*/ 820 w 1319"/>
                <a:gd name="T35" fmla="*/ 263 h 1491"/>
                <a:gd name="T36" fmla="*/ 714 w 1319"/>
                <a:gd name="T37" fmla="*/ 221 h 1491"/>
                <a:gd name="T38" fmla="*/ 793 w 1319"/>
                <a:gd name="T39" fmla="*/ 124 h 1491"/>
                <a:gd name="T40" fmla="*/ 811 w 1319"/>
                <a:gd name="T41" fmla="*/ 59 h 1491"/>
                <a:gd name="T42" fmla="*/ 735 w 1319"/>
                <a:gd name="T43" fmla="*/ 42 h 1491"/>
                <a:gd name="T44" fmla="*/ 719 w 1319"/>
                <a:gd name="T45" fmla="*/ 61 h 1491"/>
                <a:gd name="T46" fmla="*/ 577 w 1319"/>
                <a:gd name="T47" fmla="*/ 65 h 1491"/>
                <a:gd name="T48" fmla="*/ 522 w 1319"/>
                <a:gd name="T49" fmla="*/ 67 h 1491"/>
                <a:gd name="T50" fmla="*/ 358 w 1319"/>
                <a:gd name="T51" fmla="*/ 37 h 1491"/>
                <a:gd name="T52" fmla="*/ 220 w 1319"/>
                <a:gd name="T53" fmla="*/ 38 h 1491"/>
                <a:gd name="T54" fmla="*/ 37 w 1319"/>
                <a:gd name="T55" fmla="*/ 61 h 1491"/>
                <a:gd name="T56" fmla="*/ 13 w 1319"/>
                <a:gd name="T57" fmla="*/ 116 h 1491"/>
                <a:gd name="T58" fmla="*/ 71 w 1319"/>
                <a:gd name="T59" fmla="*/ 143 h 1491"/>
                <a:gd name="T60" fmla="*/ 62 w 1319"/>
                <a:gd name="T61" fmla="*/ 222 h 1491"/>
                <a:gd name="T62" fmla="*/ 78 w 1319"/>
                <a:gd name="T63" fmla="*/ 254 h 1491"/>
                <a:gd name="T64" fmla="*/ 153 w 1319"/>
                <a:gd name="T65" fmla="*/ 210 h 1491"/>
                <a:gd name="T66" fmla="*/ 305 w 1319"/>
                <a:gd name="T67" fmla="*/ 221 h 1491"/>
                <a:gd name="T68" fmla="*/ 345 w 1319"/>
                <a:gd name="T69" fmla="*/ 260 h 1491"/>
                <a:gd name="T70" fmla="*/ 361 w 1319"/>
                <a:gd name="T71" fmla="*/ 271 h 1491"/>
                <a:gd name="T72" fmla="*/ 438 w 1319"/>
                <a:gd name="T73" fmla="*/ 367 h 1491"/>
                <a:gd name="T74" fmla="*/ 445 w 1319"/>
                <a:gd name="T75" fmla="*/ 491 h 1491"/>
                <a:gd name="T76" fmla="*/ 546 w 1319"/>
                <a:gd name="T77" fmla="*/ 623 h 1491"/>
                <a:gd name="T78" fmla="*/ 543 w 1319"/>
                <a:gd name="T79" fmla="*/ 585 h 1491"/>
                <a:gd name="T80" fmla="*/ 656 w 1319"/>
                <a:gd name="T81" fmla="*/ 707 h 1491"/>
                <a:gd name="T82" fmla="*/ 810 w 1319"/>
                <a:gd name="T83" fmla="*/ 783 h 1491"/>
                <a:gd name="T84" fmla="*/ 890 w 1319"/>
                <a:gd name="T85" fmla="*/ 840 h 1491"/>
                <a:gd name="T86" fmla="*/ 947 w 1319"/>
                <a:gd name="T87" fmla="*/ 1053 h 1491"/>
                <a:gd name="T88" fmla="*/ 930 w 1319"/>
                <a:gd name="T89" fmla="*/ 1287 h 1491"/>
                <a:gd name="T90" fmla="*/ 928 w 1319"/>
                <a:gd name="T91" fmla="*/ 1318 h 1491"/>
                <a:gd name="T92" fmla="*/ 913 w 1319"/>
                <a:gd name="T93" fmla="*/ 1412 h 1491"/>
                <a:gd name="T94" fmla="*/ 987 w 1319"/>
                <a:gd name="T95" fmla="*/ 1489 h 1491"/>
                <a:gd name="T96" fmla="*/ 1008 w 1319"/>
                <a:gd name="T97" fmla="*/ 1389 h 1491"/>
                <a:gd name="T98" fmla="*/ 1019 w 1319"/>
                <a:gd name="T99" fmla="*/ 1326 h 1491"/>
                <a:gd name="T100" fmla="*/ 1080 w 1319"/>
                <a:gd name="T101" fmla="*/ 1231 h 1491"/>
                <a:gd name="T102" fmla="*/ 1221 w 1319"/>
                <a:gd name="T103" fmla="*/ 1103 h 1491"/>
                <a:gd name="T104" fmla="*/ 1268 w 1319"/>
                <a:gd name="T105" fmla="*/ 1022 h 1491"/>
                <a:gd name="T106" fmla="*/ 862 w 1319"/>
                <a:gd name="T107" fmla="*/ 431 h 1491"/>
                <a:gd name="T108" fmla="*/ 868 w 1319"/>
                <a:gd name="T109" fmla="*/ 418 h 1491"/>
                <a:gd name="T110" fmla="*/ 813 w 1319"/>
                <a:gd name="T111" fmla="*/ 367 h 1491"/>
                <a:gd name="T112" fmla="*/ 828 w 1319"/>
                <a:gd name="T113" fmla="*/ 411 h 1491"/>
                <a:gd name="T114" fmla="*/ 823 w 1319"/>
                <a:gd name="T115" fmla="*/ 387 h 1491"/>
                <a:gd name="T116" fmla="*/ 743 w 1319"/>
                <a:gd name="T117" fmla="*/ 379 h 1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19" h="1491">
                  <a:moveTo>
                    <a:pt x="1301" y="925"/>
                  </a:moveTo>
                  <a:cubicBezTo>
                    <a:pt x="1282" y="928"/>
                    <a:pt x="1275" y="906"/>
                    <a:pt x="1262" y="908"/>
                  </a:cubicBezTo>
                  <a:cubicBezTo>
                    <a:pt x="1249" y="910"/>
                    <a:pt x="1230" y="892"/>
                    <a:pt x="1217" y="906"/>
                  </a:cubicBezTo>
                  <a:cubicBezTo>
                    <a:pt x="1212" y="881"/>
                    <a:pt x="1179" y="879"/>
                    <a:pt x="1166" y="900"/>
                  </a:cubicBezTo>
                  <a:cubicBezTo>
                    <a:pt x="1166" y="898"/>
                    <a:pt x="1165" y="895"/>
                    <a:pt x="1165" y="892"/>
                  </a:cubicBezTo>
                  <a:cubicBezTo>
                    <a:pt x="1154" y="898"/>
                    <a:pt x="1145" y="890"/>
                    <a:pt x="1148" y="879"/>
                  </a:cubicBezTo>
                  <a:cubicBezTo>
                    <a:pt x="1148" y="876"/>
                    <a:pt x="1151" y="874"/>
                    <a:pt x="1153" y="872"/>
                  </a:cubicBezTo>
                  <a:cubicBezTo>
                    <a:pt x="1150" y="880"/>
                    <a:pt x="1163" y="889"/>
                    <a:pt x="1171" y="881"/>
                  </a:cubicBezTo>
                  <a:cubicBezTo>
                    <a:pt x="1180" y="872"/>
                    <a:pt x="1166" y="868"/>
                    <a:pt x="1159" y="867"/>
                  </a:cubicBezTo>
                  <a:cubicBezTo>
                    <a:pt x="1158" y="868"/>
                    <a:pt x="1157" y="868"/>
                    <a:pt x="1156" y="869"/>
                  </a:cubicBezTo>
                  <a:cubicBezTo>
                    <a:pt x="1157" y="859"/>
                    <a:pt x="1154" y="865"/>
                    <a:pt x="1152" y="857"/>
                  </a:cubicBezTo>
                  <a:cubicBezTo>
                    <a:pt x="1149" y="836"/>
                    <a:pt x="1139" y="831"/>
                    <a:pt x="1125" y="822"/>
                  </a:cubicBezTo>
                  <a:cubicBezTo>
                    <a:pt x="1115" y="815"/>
                    <a:pt x="1105" y="818"/>
                    <a:pt x="1093" y="816"/>
                  </a:cubicBezTo>
                  <a:cubicBezTo>
                    <a:pt x="1081" y="815"/>
                    <a:pt x="1080" y="806"/>
                    <a:pt x="1071" y="802"/>
                  </a:cubicBezTo>
                  <a:cubicBezTo>
                    <a:pt x="1063" y="798"/>
                    <a:pt x="1026" y="777"/>
                    <a:pt x="1038" y="770"/>
                  </a:cubicBezTo>
                  <a:cubicBezTo>
                    <a:pt x="1025" y="773"/>
                    <a:pt x="1010" y="776"/>
                    <a:pt x="996" y="773"/>
                  </a:cubicBezTo>
                  <a:cubicBezTo>
                    <a:pt x="982" y="770"/>
                    <a:pt x="977" y="766"/>
                    <a:pt x="960" y="759"/>
                  </a:cubicBezTo>
                  <a:cubicBezTo>
                    <a:pt x="963" y="762"/>
                    <a:pt x="965" y="764"/>
                    <a:pt x="967" y="766"/>
                  </a:cubicBezTo>
                  <a:cubicBezTo>
                    <a:pt x="947" y="754"/>
                    <a:pt x="952" y="779"/>
                    <a:pt x="950" y="785"/>
                  </a:cubicBezTo>
                  <a:cubicBezTo>
                    <a:pt x="940" y="777"/>
                    <a:pt x="945" y="767"/>
                    <a:pt x="951" y="758"/>
                  </a:cubicBezTo>
                  <a:cubicBezTo>
                    <a:pt x="943" y="761"/>
                    <a:pt x="932" y="762"/>
                    <a:pt x="922" y="766"/>
                  </a:cubicBezTo>
                  <a:cubicBezTo>
                    <a:pt x="908" y="772"/>
                    <a:pt x="905" y="787"/>
                    <a:pt x="895" y="789"/>
                  </a:cubicBezTo>
                  <a:cubicBezTo>
                    <a:pt x="896" y="793"/>
                    <a:pt x="897" y="791"/>
                    <a:pt x="896" y="796"/>
                  </a:cubicBezTo>
                  <a:cubicBezTo>
                    <a:pt x="880" y="781"/>
                    <a:pt x="873" y="784"/>
                    <a:pt x="853" y="787"/>
                  </a:cubicBezTo>
                  <a:cubicBezTo>
                    <a:pt x="825" y="790"/>
                    <a:pt x="831" y="757"/>
                    <a:pt x="827" y="742"/>
                  </a:cubicBezTo>
                  <a:cubicBezTo>
                    <a:pt x="826" y="735"/>
                    <a:pt x="836" y="727"/>
                    <a:pt x="825" y="725"/>
                  </a:cubicBezTo>
                  <a:cubicBezTo>
                    <a:pt x="814" y="722"/>
                    <a:pt x="808" y="717"/>
                    <a:pt x="796" y="717"/>
                  </a:cubicBezTo>
                  <a:cubicBezTo>
                    <a:pt x="788" y="717"/>
                    <a:pt x="778" y="728"/>
                    <a:pt x="774" y="717"/>
                  </a:cubicBezTo>
                  <a:cubicBezTo>
                    <a:pt x="772" y="712"/>
                    <a:pt x="790" y="705"/>
                    <a:pt x="782" y="692"/>
                  </a:cubicBezTo>
                  <a:cubicBezTo>
                    <a:pt x="784" y="693"/>
                    <a:pt x="785" y="693"/>
                    <a:pt x="787" y="696"/>
                  </a:cubicBezTo>
                  <a:cubicBezTo>
                    <a:pt x="785" y="683"/>
                    <a:pt x="791" y="673"/>
                    <a:pt x="795" y="662"/>
                  </a:cubicBezTo>
                  <a:cubicBezTo>
                    <a:pt x="773" y="666"/>
                    <a:pt x="770" y="663"/>
                    <a:pt x="755" y="680"/>
                  </a:cubicBezTo>
                  <a:cubicBezTo>
                    <a:pt x="745" y="691"/>
                    <a:pt x="736" y="702"/>
                    <a:pt x="716" y="691"/>
                  </a:cubicBezTo>
                  <a:cubicBezTo>
                    <a:pt x="686" y="676"/>
                    <a:pt x="684" y="631"/>
                    <a:pt x="694" y="613"/>
                  </a:cubicBezTo>
                  <a:cubicBezTo>
                    <a:pt x="682" y="603"/>
                    <a:pt x="692" y="598"/>
                    <a:pt x="699" y="590"/>
                  </a:cubicBezTo>
                  <a:cubicBezTo>
                    <a:pt x="705" y="584"/>
                    <a:pt x="712" y="591"/>
                    <a:pt x="714" y="582"/>
                  </a:cubicBezTo>
                  <a:cubicBezTo>
                    <a:pt x="715" y="575"/>
                    <a:pt x="720" y="575"/>
                    <a:pt x="726" y="572"/>
                  </a:cubicBezTo>
                  <a:cubicBezTo>
                    <a:pt x="730" y="569"/>
                    <a:pt x="785" y="592"/>
                    <a:pt x="766" y="568"/>
                  </a:cubicBezTo>
                  <a:cubicBezTo>
                    <a:pt x="774" y="567"/>
                    <a:pt x="781" y="567"/>
                    <a:pt x="785" y="571"/>
                  </a:cubicBezTo>
                  <a:cubicBezTo>
                    <a:pt x="794" y="562"/>
                    <a:pt x="799" y="569"/>
                    <a:pt x="807" y="574"/>
                  </a:cubicBezTo>
                  <a:cubicBezTo>
                    <a:pt x="816" y="579"/>
                    <a:pt x="825" y="566"/>
                    <a:pt x="832" y="578"/>
                  </a:cubicBezTo>
                  <a:cubicBezTo>
                    <a:pt x="836" y="586"/>
                    <a:pt x="831" y="594"/>
                    <a:pt x="835" y="602"/>
                  </a:cubicBezTo>
                  <a:cubicBezTo>
                    <a:pt x="838" y="610"/>
                    <a:pt x="850" y="614"/>
                    <a:pt x="854" y="623"/>
                  </a:cubicBezTo>
                  <a:cubicBezTo>
                    <a:pt x="872" y="606"/>
                    <a:pt x="851" y="594"/>
                    <a:pt x="848" y="577"/>
                  </a:cubicBezTo>
                  <a:cubicBezTo>
                    <a:pt x="841" y="545"/>
                    <a:pt x="864" y="542"/>
                    <a:pt x="885" y="528"/>
                  </a:cubicBezTo>
                  <a:cubicBezTo>
                    <a:pt x="884" y="520"/>
                    <a:pt x="897" y="522"/>
                    <a:pt x="902" y="514"/>
                  </a:cubicBezTo>
                  <a:cubicBezTo>
                    <a:pt x="900" y="514"/>
                    <a:pt x="898" y="513"/>
                    <a:pt x="895" y="513"/>
                  </a:cubicBezTo>
                  <a:cubicBezTo>
                    <a:pt x="899" y="510"/>
                    <a:pt x="900" y="507"/>
                    <a:pt x="906" y="505"/>
                  </a:cubicBezTo>
                  <a:cubicBezTo>
                    <a:pt x="904" y="504"/>
                    <a:pt x="902" y="503"/>
                    <a:pt x="900" y="502"/>
                  </a:cubicBezTo>
                  <a:cubicBezTo>
                    <a:pt x="903" y="492"/>
                    <a:pt x="898" y="483"/>
                    <a:pt x="900" y="472"/>
                  </a:cubicBezTo>
                  <a:cubicBezTo>
                    <a:pt x="902" y="479"/>
                    <a:pt x="903" y="486"/>
                    <a:pt x="904" y="492"/>
                  </a:cubicBezTo>
                  <a:cubicBezTo>
                    <a:pt x="910" y="485"/>
                    <a:pt x="912" y="477"/>
                    <a:pt x="909" y="469"/>
                  </a:cubicBezTo>
                  <a:cubicBezTo>
                    <a:pt x="918" y="470"/>
                    <a:pt x="930" y="458"/>
                    <a:pt x="919" y="451"/>
                  </a:cubicBezTo>
                  <a:cubicBezTo>
                    <a:pt x="922" y="451"/>
                    <a:pt x="926" y="450"/>
                    <a:pt x="929" y="449"/>
                  </a:cubicBezTo>
                  <a:cubicBezTo>
                    <a:pt x="929" y="448"/>
                    <a:pt x="929" y="447"/>
                    <a:pt x="928" y="446"/>
                  </a:cubicBezTo>
                  <a:cubicBezTo>
                    <a:pt x="939" y="444"/>
                    <a:pt x="952" y="435"/>
                    <a:pt x="963" y="438"/>
                  </a:cubicBezTo>
                  <a:cubicBezTo>
                    <a:pt x="954" y="437"/>
                    <a:pt x="949" y="421"/>
                    <a:pt x="960" y="417"/>
                  </a:cubicBezTo>
                  <a:cubicBezTo>
                    <a:pt x="964" y="416"/>
                    <a:pt x="967" y="414"/>
                    <a:pt x="968" y="410"/>
                  </a:cubicBezTo>
                  <a:cubicBezTo>
                    <a:pt x="974" y="400"/>
                    <a:pt x="973" y="413"/>
                    <a:pt x="980" y="408"/>
                  </a:cubicBezTo>
                  <a:cubicBezTo>
                    <a:pt x="988" y="403"/>
                    <a:pt x="990" y="402"/>
                    <a:pt x="989" y="398"/>
                  </a:cubicBezTo>
                  <a:cubicBezTo>
                    <a:pt x="998" y="400"/>
                    <a:pt x="1008" y="393"/>
                    <a:pt x="1016" y="387"/>
                  </a:cubicBezTo>
                  <a:cubicBezTo>
                    <a:pt x="1017" y="390"/>
                    <a:pt x="1018" y="393"/>
                    <a:pt x="1019" y="396"/>
                  </a:cubicBezTo>
                  <a:cubicBezTo>
                    <a:pt x="1005" y="391"/>
                    <a:pt x="999" y="409"/>
                    <a:pt x="1006" y="420"/>
                  </a:cubicBezTo>
                  <a:cubicBezTo>
                    <a:pt x="1015" y="406"/>
                    <a:pt x="1034" y="404"/>
                    <a:pt x="1046" y="393"/>
                  </a:cubicBezTo>
                  <a:cubicBezTo>
                    <a:pt x="1036" y="390"/>
                    <a:pt x="998" y="378"/>
                    <a:pt x="1017" y="362"/>
                  </a:cubicBezTo>
                  <a:cubicBezTo>
                    <a:pt x="1013" y="362"/>
                    <a:pt x="1009" y="361"/>
                    <a:pt x="1005" y="362"/>
                  </a:cubicBezTo>
                  <a:cubicBezTo>
                    <a:pt x="1012" y="360"/>
                    <a:pt x="1015" y="355"/>
                    <a:pt x="1020" y="350"/>
                  </a:cubicBezTo>
                  <a:cubicBezTo>
                    <a:pt x="1001" y="337"/>
                    <a:pt x="987" y="353"/>
                    <a:pt x="970" y="357"/>
                  </a:cubicBezTo>
                  <a:cubicBezTo>
                    <a:pt x="982" y="351"/>
                    <a:pt x="987" y="342"/>
                    <a:pt x="998" y="336"/>
                  </a:cubicBezTo>
                  <a:cubicBezTo>
                    <a:pt x="1011" y="328"/>
                    <a:pt x="1030" y="329"/>
                    <a:pt x="1046" y="333"/>
                  </a:cubicBezTo>
                  <a:cubicBezTo>
                    <a:pt x="1059" y="337"/>
                    <a:pt x="1077" y="316"/>
                    <a:pt x="1091" y="314"/>
                  </a:cubicBezTo>
                  <a:cubicBezTo>
                    <a:pt x="1111" y="311"/>
                    <a:pt x="1095" y="291"/>
                    <a:pt x="1090" y="281"/>
                  </a:cubicBezTo>
                  <a:cubicBezTo>
                    <a:pt x="1082" y="289"/>
                    <a:pt x="1065" y="292"/>
                    <a:pt x="1056" y="288"/>
                  </a:cubicBezTo>
                  <a:cubicBezTo>
                    <a:pt x="1066" y="284"/>
                    <a:pt x="1077" y="283"/>
                    <a:pt x="1084" y="275"/>
                  </a:cubicBezTo>
                  <a:cubicBezTo>
                    <a:pt x="1076" y="269"/>
                    <a:pt x="1065" y="270"/>
                    <a:pt x="1056" y="265"/>
                  </a:cubicBezTo>
                  <a:cubicBezTo>
                    <a:pt x="1055" y="265"/>
                    <a:pt x="1059" y="256"/>
                    <a:pt x="1056" y="253"/>
                  </a:cubicBezTo>
                  <a:cubicBezTo>
                    <a:pt x="1051" y="249"/>
                    <a:pt x="1043" y="256"/>
                    <a:pt x="1037" y="248"/>
                  </a:cubicBezTo>
                  <a:cubicBezTo>
                    <a:pt x="1053" y="240"/>
                    <a:pt x="1020" y="197"/>
                    <a:pt x="1012" y="191"/>
                  </a:cubicBezTo>
                  <a:cubicBezTo>
                    <a:pt x="1004" y="205"/>
                    <a:pt x="996" y="222"/>
                    <a:pt x="980" y="216"/>
                  </a:cubicBezTo>
                  <a:cubicBezTo>
                    <a:pt x="965" y="209"/>
                    <a:pt x="967" y="185"/>
                    <a:pt x="952" y="183"/>
                  </a:cubicBezTo>
                  <a:cubicBezTo>
                    <a:pt x="944" y="182"/>
                    <a:pt x="945" y="173"/>
                    <a:pt x="937" y="168"/>
                  </a:cubicBezTo>
                  <a:cubicBezTo>
                    <a:pt x="926" y="162"/>
                    <a:pt x="923" y="167"/>
                    <a:pt x="913" y="165"/>
                  </a:cubicBezTo>
                  <a:cubicBezTo>
                    <a:pt x="906" y="164"/>
                    <a:pt x="858" y="158"/>
                    <a:pt x="885" y="174"/>
                  </a:cubicBezTo>
                  <a:cubicBezTo>
                    <a:pt x="865" y="182"/>
                    <a:pt x="897" y="207"/>
                    <a:pt x="870" y="212"/>
                  </a:cubicBezTo>
                  <a:cubicBezTo>
                    <a:pt x="882" y="224"/>
                    <a:pt x="885" y="234"/>
                    <a:pt x="892" y="249"/>
                  </a:cubicBezTo>
                  <a:cubicBezTo>
                    <a:pt x="900" y="267"/>
                    <a:pt x="859" y="268"/>
                    <a:pt x="866" y="279"/>
                  </a:cubicBezTo>
                  <a:cubicBezTo>
                    <a:pt x="874" y="291"/>
                    <a:pt x="884" y="304"/>
                    <a:pt x="870" y="316"/>
                  </a:cubicBezTo>
                  <a:cubicBezTo>
                    <a:pt x="857" y="327"/>
                    <a:pt x="840" y="306"/>
                    <a:pt x="837" y="292"/>
                  </a:cubicBezTo>
                  <a:cubicBezTo>
                    <a:pt x="835" y="284"/>
                    <a:pt x="845" y="282"/>
                    <a:pt x="838" y="272"/>
                  </a:cubicBezTo>
                  <a:cubicBezTo>
                    <a:pt x="837" y="269"/>
                    <a:pt x="823" y="264"/>
                    <a:pt x="820" y="263"/>
                  </a:cubicBezTo>
                  <a:cubicBezTo>
                    <a:pt x="814" y="261"/>
                    <a:pt x="803" y="259"/>
                    <a:pt x="797" y="258"/>
                  </a:cubicBezTo>
                  <a:cubicBezTo>
                    <a:pt x="786" y="255"/>
                    <a:pt x="784" y="249"/>
                    <a:pt x="775" y="246"/>
                  </a:cubicBezTo>
                  <a:cubicBezTo>
                    <a:pt x="769" y="243"/>
                    <a:pt x="762" y="244"/>
                    <a:pt x="754" y="240"/>
                  </a:cubicBezTo>
                  <a:cubicBezTo>
                    <a:pt x="750" y="238"/>
                    <a:pt x="742" y="244"/>
                    <a:pt x="739" y="242"/>
                  </a:cubicBezTo>
                  <a:cubicBezTo>
                    <a:pt x="728" y="234"/>
                    <a:pt x="737" y="204"/>
                    <a:pt x="714" y="221"/>
                  </a:cubicBezTo>
                  <a:cubicBezTo>
                    <a:pt x="715" y="206"/>
                    <a:pt x="715" y="192"/>
                    <a:pt x="723" y="179"/>
                  </a:cubicBezTo>
                  <a:cubicBezTo>
                    <a:pt x="732" y="163"/>
                    <a:pt x="745" y="160"/>
                    <a:pt x="758" y="150"/>
                  </a:cubicBezTo>
                  <a:cubicBezTo>
                    <a:pt x="751" y="148"/>
                    <a:pt x="744" y="145"/>
                    <a:pt x="737" y="141"/>
                  </a:cubicBezTo>
                  <a:cubicBezTo>
                    <a:pt x="748" y="142"/>
                    <a:pt x="756" y="142"/>
                    <a:pt x="766" y="139"/>
                  </a:cubicBezTo>
                  <a:cubicBezTo>
                    <a:pt x="775" y="135"/>
                    <a:pt x="782" y="127"/>
                    <a:pt x="793" y="124"/>
                  </a:cubicBezTo>
                  <a:cubicBezTo>
                    <a:pt x="784" y="115"/>
                    <a:pt x="768" y="120"/>
                    <a:pt x="762" y="106"/>
                  </a:cubicBezTo>
                  <a:cubicBezTo>
                    <a:pt x="769" y="107"/>
                    <a:pt x="783" y="119"/>
                    <a:pt x="787" y="116"/>
                  </a:cubicBezTo>
                  <a:cubicBezTo>
                    <a:pt x="795" y="109"/>
                    <a:pt x="808" y="105"/>
                    <a:pt x="798" y="95"/>
                  </a:cubicBezTo>
                  <a:cubicBezTo>
                    <a:pt x="840" y="128"/>
                    <a:pt x="867" y="45"/>
                    <a:pt x="824" y="42"/>
                  </a:cubicBezTo>
                  <a:cubicBezTo>
                    <a:pt x="803" y="40"/>
                    <a:pt x="817" y="55"/>
                    <a:pt x="811" y="59"/>
                  </a:cubicBezTo>
                  <a:cubicBezTo>
                    <a:pt x="803" y="64"/>
                    <a:pt x="799" y="82"/>
                    <a:pt x="793" y="82"/>
                  </a:cubicBezTo>
                  <a:cubicBezTo>
                    <a:pt x="772" y="84"/>
                    <a:pt x="782" y="30"/>
                    <a:pt x="757" y="65"/>
                  </a:cubicBezTo>
                  <a:cubicBezTo>
                    <a:pt x="754" y="57"/>
                    <a:pt x="753" y="58"/>
                    <a:pt x="749" y="51"/>
                  </a:cubicBezTo>
                  <a:cubicBezTo>
                    <a:pt x="751" y="50"/>
                    <a:pt x="753" y="48"/>
                    <a:pt x="755" y="47"/>
                  </a:cubicBezTo>
                  <a:cubicBezTo>
                    <a:pt x="748" y="46"/>
                    <a:pt x="741" y="44"/>
                    <a:pt x="735" y="42"/>
                  </a:cubicBezTo>
                  <a:cubicBezTo>
                    <a:pt x="738" y="40"/>
                    <a:pt x="740" y="36"/>
                    <a:pt x="744" y="34"/>
                  </a:cubicBezTo>
                  <a:cubicBezTo>
                    <a:pt x="733" y="27"/>
                    <a:pt x="733" y="15"/>
                    <a:pt x="726" y="10"/>
                  </a:cubicBezTo>
                  <a:cubicBezTo>
                    <a:pt x="709" y="0"/>
                    <a:pt x="714" y="17"/>
                    <a:pt x="698" y="17"/>
                  </a:cubicBezTo>
                  <a:cubicBezTo>
                    <a:pt x="699" y="29"/>
                    <a:pt x="698" y="31"/>
                    <a:pt x="705" y="39"/>
                  </a:cubicBezTo>
                  <a:cubicBezTo>
                    <a:pt x="712" y="47"/>
                    <a:pt x="730" y="46"/>
                    <a:pt x="719" y="61"/>
                  </a:cubicBezTo>
                  <a:cubicBezTo>
                    <a:pt x="721" y="60"/>
                    <a:pt x="722" y="59"/>
                    <a:pt x="724" y="59"/>
                  </a:cubicBezTo>
                  <a:cubicBezTo>
                    <a:pt x="717" y="66"/>
                    <a:pt x="709" y="72"/>
                    <a:pt x="709" y="83"/>
                  </a:cubicBezTo>
                  <a:cubicBezTo>
                    <a:pt x="693" y="62"/>
                    <a:pt x="685" y="68"/>
                    <a:pt x="663" y="75"/>
                  </a:cubicBezTo>
                  <a:cubicBezTo>
                    <a:pt x="646" y="80"/>
                    <a:pt x="606" y="76"/>
                    <a:pt x="605" y="53"/>
                  </a:cubicBezTo>
                  <a:cubicBezTo>
                    <a:pt x="595" y="58"/>
                    <a:pt x="585" y="58"/>
                    <a:pt x="577" y="65"/>
                  </a:cubicBezTo>
                  <a:cubicBezTo>
                    <a:pt x="584" y="67"/>
                    <a:pt x="592" y="66"/>
                    <a:pt x="600" y="63"/>
                  </a:cubicBezTo>
                  <a:cubicBezTo>
                    <a:pt x="595" y="73"/>
                    <a:pt x="583" y="73"/>
                    <a:pt x="585" y="86"/>
                  </a:cubicBezTo>
                  <a:cubicBezTo>
                    <a:pt x="573" y="83"/>
                    <a:pt x="568" y="66"/>
                    <a:pt x="552" y="73"/>
                  </a:cubicBezTo>
                  <a:cubicBezTo>
                    <a:pt x="538" y="79"/>
                    <a:pt x="523" y="76"/>
                    <a:pt x="509" y="71"/>
                  </a:cubicBezTo>
                  <a:cubicBezTo>
                    <a:pt x="514" y="71"/>
                    <a:pt x="518" y="68"/>
                    <a:pt x="522" y="67"/>
                  </a:cubicBezTo>
                  <a:cubicBezTo>
                    <a:pt x="515" y="52"/>
                    <a:pt x="481" y="55"/>
                    <a:pt x="466" y="46"/>
                  </a:cubicBezTo>
                  <a:cubicBezTo>
                    <a:pt x="458" y="42"/>
                    <a:pt x="440" y="40"/>
                    <a:pt x="433" y="45"/>
                  </a:cubicBezTo>
                  <a:cubicBezTo>
                    <a:pt x="424" y="51"/>
                    <a:pt x="419" y="33"/>
                    <a:pt x="407" y="47"/>
                  </a:cubicBezTo>
                  <a:cubicBezTo>
                    <a:pt x="403" y="40"/>
                    <a:pt x="396" y="35"/>
                    <a:pt x="389" y="30"/>
                  </a:cubicBezTo>
                  <a:cubicBezTo>
                    <a:pt x="381" y="51"/>
                    <a:pt x="372" y="32"/>
                    <a:pt x="358" y="37"/>
                  </a:cubicBezTo>
                  <a:cubicBezTo>
                    <a:pt x="347" y="41"/>
                    <a:pt x="339" y="57"/>
                    <a:pt x="325" y="44"/>
                  </a:cubicBezTo>
                  <a:cubicBezTo>
                    <a:pt x="317" y="51"/>
                    <a:pt x="323" y="52"/>
                    <a:pt x="310" y="49"/>
                  </a:cubicBezTo>
                  <a:cubicBezTo>
                    <a:pt x="311" y="52"/>
                    <a:pt x="311" y="56"/>
                    <a:pt x="311" y="59"/>
                  </a:cubicBezTo>
                  <a:cubicBezTo>
                    <a:pt x="296" y="53"/>
                    <a:pt x="273" y="47"/>
                    <a:pt x="264" y="44"/>
                  </a:cubicBezTo>
                  <a:cubicBezTo>
                    <a:pt x="249" y="39"/>
                    <a:pt x="236" y="40"/>
                    <a:pt x="220" y="38"/>
                  </a:cubicBezTo>
                  <a:cubicBezTo>
                    <a:pt x="204" y="35"/>
                    <a:pt x="179" y="37"/>
                    <a:pt x="164" y="30"/>
                  </a:cubicBezTo>
                  <a:cubicBezTo>
                    <a:pt x="149" y="24"/>
                    <a:pt x="132" y="16"/>
                    <a:pt x="117" y="25"/>
                  </a:cubicBezTo>
                  <a:cubicBezTo>
                    <a:pt x="115" y="20"/>
                    <a:pt x="110" y="17"/>
                    <a:pt x="108" y="13"/>
                  </a:cubicBezTo>
                  <a:cubicBezTo>
                    <a:pt x="102" y="28"/>
                    <a:pt x="69" y="29"/>
                    <a:pt x="56" y="39"/>
                  </a:cubicBezTo>
                  <a:cubicBezTo>
                    <a:pt x="49" y="44"/>
                    <a:pt x="44" y="57"/>
                    <a:pt x="37" y="61"/>
                  </a:cubicBezTo>
                  <a:cubicBezTo>
                    <a:pt x="27" y="65"/>
                    <a:pt x="17" y="50"/>
                    <a:pt x="11" y="68"/>
                  </a:cubicBezTo>
                  <a:cubicBezTo>
                    <a:pt x="25" y="78"/>
                    <a:pt x="57" y="86"/>
                    <a:pt x="62" y="107"/>
                  </a:cubicBezTo>
                  <a:cubicBezTo>
                    <a:pt x="51" y="107"/>
                    <a:pt x="41" y="98"/>
                    <a:pt x="33" y="98"/>
                  </a:cubicBezTo>
                  <a:cubicBezTo>
                    <a:pt x="22" y="99"/>
                    <a:pt x="13" y="112"/>
                    <a:pt x="0" y="114"/>
                  </a:cubicBezTo>
                  <a:cubicBezTo>
                    <a:pt x="5" y="113"/>
                    <a:pt x="9" y="116"/>
                    <a:pt x="13" y="116"/>
                  </a:cubicBezTo>
                  <a:cubicBezTo>
                    <a:pt x="0" y="134"/>
                    <a:pt x="23" y="132"/>
                    <a:pt x="34" y="133"/>
                  </a:cubicBezTo>
                  <a:cubicBezTo>
                    <a:pt x="49" y="133"/>
                    <a:pt x="54" y="133"/>
                    <a:pt x="69" y="129"/>
                  </a:cubicBezTo>
                  <a:cubicBezTo>
                    <a:pt x="69" y="131"/>
                    <a:pt x="70" y="133"/>
                    <a:pt x="70" y="135"/>
                  </a:cubicBezTo>
                  <a:cubicBezTo>
                    <a:pt x="68" y="135"/>
                    <a:pt x="67" y="136"/>
                    <a:pt x="65" y="136"/>
                  </a:cubicBezTo>
                  <a:cubicBezTo>
                    <a:pt x="67" y="138"/>
                    <a:pt x="69" y="140"/>
                    <a:pt x="71" y="143"/>
                  </a:cubicBezTo>
                  <a:cubicBezTo>
                    <a:pt x="63" y="150"/>
                    <a:pt x="41" y="159"/>
                    <a:pt x="30" y="162"/>
                  </a:cubicBezTo>
                  <a:cubicBezTo>
                    <a:pt x="6" y="168"/>
                    <a:pt x="21" y="179"/>
                    <a:pt x="32" y="191"/>
                  </a:cubicBezTo>
                  <a:cubicBezTo>
                    <a:pt x="29" y="190"/>
                    <a:pt x="27" y="190"/>
                    <a:pt x="24" y="190"/>
                  </a:cubicBezTo>
                  <a:cubicBezTo>
                    <a:pt x="31" y="200"/>
                    <a:pt x="45" y="212"/>
                    <a:pt x="55" y="202"/>
                  </a:cubicBezTo>
                  <a:cubicBezTo>
                    <a:pt x="60" y="208"/>
                    <a:pt x="62" y="215"/>
                    <a:pt x="62" y="222"/>
                  </a:cubicBezTo>
                  <a:cubicBezTo>
                    <a:pt x="65" y="219"/>
                    <a:pt x="69" y="218"/>
                    <a:pt x="71" y="214"/>
                  </a:cubicBezTo>
                  <a:cubicBezTo>
                    <a:pt x="77" y="223"/>
                    <a:pt x="84" y="224"/>
                    <a:pt x="90" y="216"/>
                  </a:cubicBezTo>
                  <a:cubicBezTo>
                    <a:pt x="102" y="229"/>
                    <a:pt x="106" y="211"/>
                    <a:pt x="116" y="217"/>
                  </a:cubicBezTo>
                  <a:cubicBezTo>
                    <a:pt x="108" y="224"/>
                    <a:pt x="109" y="229"/>
                    <a:pt x="101" y="236"/>
                  </a:cubicBezTo>
                  <a:cubicBezTo>
                    <a:pt x="93" y="244"/>
                    <a:pt x="85" y="245"/>
                    <a:pt x="78" y="254"/>
                  </a:cubicBezTo>
                  <a:cubicBezTo>
                    <a:pt x="72" y="260"/>
                    <a:pt x="41" y="275"/>
                    <a:pt x="32" y="278"/>
                  </a:cubicBezTo>
                  <a:cubicBezTo>
                    <a:pt x="51" y="287"/>
                    <a:pt x="96" y="251"/>
                    <a:pt x="111" y="239"/>
                  </a:cubicBezTo>
                  <a:cubicBezTo>
                    <a:pt x="134" y="222"/>
                    <a:pt x="148" y="200"/>
                    <a:pt x="169" y="181"/>
                  </a:cubicBezTo>
                  <a:cubicBezTo>
                    <a:pt x="170" y="182"/>
                    <a:pt x="171" y="184"/>
                    <a:pt x="172" y="185"/>
                  </a:cubicBezTo>
                  <a:cubicBezTo>
                    <a:pt x="164" y="193"/>
                    <a:pt x="157" y="201"/>
                    <a:pt x="153" y="210"/>
                  </a:cubicBezTo>
                  <a:cubicBezTo>
                    <a:pt x="164" y="218"/>
                    <a:pt x="182" y="200"/>
                    <a:pt x="192" y="193"/>
                  </a:cubicBezTo>
                  <a:cubicBezTo>
                    <a:pt x="191" y="191"/>
                    <a:pt x="189" y="190"/>
                    <a:pt x="188" y="188"/>
                  </a:cubicBezTo>
                  <a:cubicBezTo>
                    <a:pt x="204" y="181"/>
                    <a:pt x="212" y="196"/>
                    <a:pt x="227" y="199"/>
                  </a:cubicBezTo>
                  <a:cubicBezTo>
                    <a:pt x="243" y="202"/>
                    <a:pt x="256" y="200"/>
                    <a:pt x="271" y="205"/>
                  </a:cubicBezTo>
                  <a:cubicBezTo>
                    <a:pt x="279" y="208"/>
                    <a:pt x="302" y="224"/>
                    <a:pt x="305" y="221"/>
                  </a:cubicBezTo>
                  <a:cubicBezTo>
                    <a:pt x="314" y="210"/>
                    <a:pt x="325" y="235"/>
                    <a:pt x="326" y="242"/>
                  </a:cubicBezTo>
                  <a:cubicBezTo>
                    <a:pt x="329" y="239"/>
                    <a:pt x="332" y="238"/>
                    <a:pt x="335" y="235"/>
                  </a:cubicBezTo>
                  <a:cubicBezTo>
                    <a:pt x="333" y="238"/>
                    <a:pt x="333" y="242"/>
                    <a:pt x="331" y="245"/>
                  </a:cubicBezTo>
                  <a:cubicBezTo>
                    <a:pt x="336" y="247"/>
                    <a:pt x="348" y="253"/>
                    <a:pt x="345" y="258"/>
                  </a:cubicBezTo>
                  <a:cubicBezTo>
                    <a:pt x="345" y="259"/>
                    <a:pt x="345" y="259"/>
                    <a:pt x="345" y="260"/>
                  </a:cubicBezTo>
                  <a:cubicBezTo>
                    <a:pt x="342" y="253"/>
                    <a:pt x="337" y="249"/>
                    <a:pt x="333" y="260"/>
                  </a:cubicBezTo>
                  <a:cubicBezTo>
                    <a:pt x="335" y="260"/>
                    <a:pt x="338" y="260"/>
                    <a:pt x="340" y="260"/>
                  </a:cubicBezTo>
                  <a:cubicBezTo>
                    <a:pt x="340" y="266"/>
                    <a:pt x="341" y="270"/>
                    <a:pt x="347" y="274"/>
                  </a:cubicBezTo>
                  <a:cubicBezTo>
                    <a:pt x="348" y="272"/>
                    <a:pt x="347" y="269"/>
                    <a:pt x="347" y="266"/>
                  </a:cubicBezTo>
                  <a:cubicBezTo>
                    <a:pt x="351" y="269"/>
                    <a:pt x="359" y="269"/>
                    <a:pt x="361" y="271"/>
                  </a:cubicBezTo>
                  <a:cubicBezTo>
                    <a:pt x="369" y="280"/>
                    <a:pt x="371" y="292"/>
                    <a:pt x="380" y="304"/>
                  </a:cubicBezTo>
                  <a:cubicBezTo>
                    <a:pt x="383" y="307"/>
                    <a:pt x="390" y="307"/>
                    <a:pt x="392" y="310"/>
                  </a:cubicBezTo>
                  <a:cubicBezTo>
                    <a:pt x="394" y="312"/>
                    <a:pt x="391" y="320"/>
                    <a:pt x="393" y="323"/>
                  </a:cubicBezTo>
                  <a:cubicBezTo>
                    <a:pt x="394" y="325"/>
                    <a:pt x="413" y="335"/>
                    <a:pt x="418" y="336"/>
                  </a:cubicBezTo>
                  <a:cubicBezTo>
                    <a:pt x="431" y="341"/>
                    <a:pt x="452" y="354"/>
                    <a:pt x="438" y="367"/>
                  </a:cubicBezTo>
                  <a:cubicBezTo>
                    <a:pt x="433" y="363"/>
                    <a:pt x="427" y="364"/>
                    <a:pt x="424" y="362"/>
                  </a:cubicBezTo>
                  <a:cubicBezTo>
                    <a:pt x="433" y="381"/>
                    <a:pt x="427" y="401"/>
                    <a:pt x="427" y="419"/>
                  </a:cubicBezTo>
                  <a:cubicBezTo>
                    <a:pt x="426" y="436"/>
                    <a:pt x="426" y="456"/>
                    <a:pt x="434" y="471"/>
                  </a:cubicBezTo>
                  <a:cubicBezTo>
                    <a:pt x="435" y="474"/>
                    <a:pt x="442" y="477"/>
                    <a:pt x="445" y="478"/>
                  </a:cubicBezTo>
                  <a:cubicBezTo>
                    <a:pt x="455" y="483"/>
                    <a:pt x="441" y="485"/>
                    <a:pt x="445" y="491"/>
                  </a:cubicBezTo>
                  <a:cubicBezTo>
                    <a:pt x="449" y="498"/>
                    <a:pt x="456" y="504"/>
                    <a:pt x="462" y="511"/>
                  </a:cubicBezTo>
                  <a:cubicBezTo>
                    <a:pt x="472" y="524"/>
                    <a:pt x="484" y="531"/>
                    <a:pt x="498" y="542"/>
                  </a:cubicBezTo>
                  <a:cubicBezTo>
                    <a:pt x="493" y="552"/>
                    <a:pt x="520" y="588"/>
                    <a:pt x="530" y="594"/>
                  </a:cubicBezTo>
                  <a:cubicBezTo>
                    <a:pt x="527" y="596"/>
                    <a:pt x="523" y="597"/>
                    <a:pt x="520" y="598"/>
                  </a:cubicBezTo>
                  <a:cubicBezTo>
                    <a:pt x="531" y="600"/>
                    <a:pt x="546" y="611"/>
                    <a:pt x="546" y="623"/>
                  </a:cubicBezTo>
                  <a:cubicBezTo>
                    <a:pt x="545" y="634"/>
                    <a:pt x="562" y="639"/>
                    <a:pt x="569" y="647"/>
                  </a:cubicBezTo>
                  <a:cubicBezTo>
                    <a:pt x="570" y="646"/>
                    <a:pt x="571" y="644"/>
                    <a:pt x="572" y="643"/>
                  </a:cubicBezTo>
                  <a:cubicBezTo>
                    <a:pt x="558" y="636"/>
                    <a:pt x="545" y="609"/>
                    <a:pt x="539" y="594"/>
                  </a:cubicBezTo>
                  <a:cubicBezTo>
                    <a:pt x="536" y="584"/>
                    <a:pt x="500" y="542"/>
                    <a:pt x="531" y="558"/>
                  </a:cubicBezTo>
                  <a:cubicBezTo>
                    <a:pt x="543" y="564"/>
                    <a:pt x="536" y="577"/>
                    <a:pt x="543" y="585"/>
                  </a:cubicBezTo>
                  <a:cubicBezTo>
                    <a:pt x="548" y="591"/>
                    <a:pt x="561" y="594"/>
                    <a:pt x="562" y="598"/>
                  </a:cubicBezTo>
                  <a:cubicBezTo>
                    <a:pt x="569" y="615"/>
                    <a:pt x="604" y="633"/>
                    <a:pt x="606" y="647"/>
                  </a:cubicBezTo>
                  <a:cubicBezTo>
                    <a:pt x="608" y="659"/>
                    <a:pt x="621" y="661"/>
                    <a:pt x="614" y="674"/>
                  </a:cubicBezTo>
                  <a:cubicBezTo>
                    <a:pt x="610" y="680"/>
                    <a:pt x="627" y="693"/>
                    <a:pt x="632" y="696"/>
                  </a:cubicBezTo>
                  <a:cubicBezTo>
                    <a:pt x="642" y="701"/>
                    <a:pt x="648" y="696"/>
                    <a:pt x="656" y="707"/>
                  </a:cubicBezTo>
                  <a:cubicBezTo>
                    <a:pt x="660" y="711"/>
                    <a:pt x="681" y="714"/>
                    <a:pt x="689" y="717"/>
                  </a:cubicBezTo>
                  <a:cubicBezTo>
                    <a:pt x="698" y="720"/>
                    <a:pt x="707" y="729"/>
                    <a:pt x="714" y="717"/>
                  </a:cubicBezTo>
                  <a:cubicBezTo>
                    <a:pt x="719" y="710"/>
                    <a:pt x="735" y="721"/>
                    <a:pt x="737" y="728"/>
                  </a:cubicBezTo>
                  <a:cubicBezTo>
                    <a:pt x="742" y="740"/>
                    <a:pt x="781" y="747"/>
                    <a:pt x="790" y="745"/>
                  </a:cubicBezTo>
                  <a:cubicBezTo>
                    <a:pt x="796" y="757"/>
                    <a:pt x="810" y="769"/>
                    <a:pt x="810" y="783"/>
                  </a:cubicBezTo>
                  <a:cubicBezTo>
                    <a:pt x="814" y="779"/>
                    <a:pt x="812" y="784"/>
                    <a:pt x="814" y="779"/>
                  </a:cubicBezTo>
                  <a:cubicBezTo>
                    <a:pt x="821" y="782"/>
                    <a:pt x="833" y="786"/>
                    <a:pt x="835" y="795"/>
                  </a:cubicBezTo>
                  <a:cubicBezTo>
                    <a:pt x="834" y="794"/>
                    <a:pt x="853" y="803"/>
                    <a:pt x="857" y="809"/>
                  </a:cubicBezTo>
                  <a:cubicBezTo>
                    <a:pt x="858" y="799"/>
                    <a:pt x="862" y="806"/>
                    <a:pt x="858" y="798"/>
                  </a:cubicBezTo>
                  <a:cubicBezTo>
                    <a:pt x="892" y="772"/>
                    <a:pt x="880" y="828"/>
                    <a:pt x="890" y="840"/>
                  </a:cubicBezTo>
                  <a:cubicBezTo>
                    <a:pt x="882" y="848"/>
                    <a:pt x="834" y="910"/>
                    <a:pt x="867" y="902"/>
                  </a:cubicBezTo>
                  <a:cubicBezTo>
                    <a:pt x="853" y="918"/>
                    <a:pt x="848" y="920"/>
                    <a:pt x="860" y="942"/>
                  </a:cubicBezTo>
                  <a:cubicBezTo>
                    <a:pt x="869" y="955"/>
                    <a:pt x="877" y="968"/>
                    <a:pt x="885" y="984"/>
                  </a:cubicBezTo>
                  <a:cubicBezTo>
                    <a:pt x="892" y="998"/>
                    <a:pt x="897" y="1016"/>
                    <a:pt x="907" y="1029"/>
                  </a:cubicBezTo>
                  <a:cubicBezTo>
                    <a:pt x="918" y="1041"/>
                    <a:pt x="934" y="1044"/>
                    <a:pt x="947" y="1053"/>
                  </a:cubicBezTo>
                  <a:cubicBezTo>
                    <a:pt x="975" y="1071"/>
                    <a:pt x="960" y="1118"/>
                    <a:pt x="955" y="1143"/>
                  </a:cubicBezTo>
                  <a:cubicBezTo>
                    <a:pt x="951" y="1159"/>
                    <a:pt x="946" y="1177"/>
                    <a:pt x="945" y="1193"/>
                  </a:cubicBezTo>
                  <a:cubicBezTo>
                    <a:pt x="945" y="1201"/>
                    <a:pt x="951" y="1212"/>
                    <a:pt x="950" y="1219"/>
                  </a:cubicBezTo>
                  <a:cubicBezTo>
                    <a:pt x="949" y="1229"/>
                    <a:pt x="941" y="1230"/>
                    <a:pt x="945" y="1242"/>
                  </a:cubicBezTo>
                  <a:cubicBezTo>
                    <a:pt x="932" y="1244"/>
                    <a:pt x="932" y="1273"/>
                    <a:pt x="930" y="1287"/>
                  </a:cubicBezTo>
                  <a:cubicBezTo>
                    <a:pt x="930" y="1288"/>
                    <a:pt x="926" y="1305"/>
                    <a:pt x="927" y="1314"/>
                  </a:cubicBezTo>
                  <a:cubicBezTo>
                    <a:pt x="926" y="1313"/>
                    <a:pt x="926" y="1312"/>
                    <a:pt x="925" y="1311"/>
                  </a:cubicBezTo>
                  <a:cubicBezTo>
                    <a:pt x="924" y="1315"/>
                    <a:pt x="922" y="1318"/>
                    <a:pt x="921" y="1322"/>
                  </a:cubicBezTo>
                  <a:cubicBezTo>
                    <a:pt x="923" y="1326"/>
                    <a:pt x="922" y="1330"/>
                    <a:pt x="928" y="1331"/>
                  </a:cubicBezTo>
                  <a:cubicBezTo>
                    <a:pt x="929" y="1326"/>
                    <a:pt x="929" y="1322"/>
                    <a:pt x="928" y="1318"/>
                  </a:cubicBezTo>
                  <a:cubicBezTo>
                    <a:pt x="930" y="1319"/>
                    <a:pt x="932" y="1319"/>
                    <a:pt x="936" y="1316"/>
                  </a:cubicBezTo>
                  <a:cubicBezTo>
                    <a:pt x="939" y="1334"/>
                    <a:pt x="935" y="1356"/>
                    <a:pt x="928" y="1373"/>
                  </a:cubicBezTo>
                  <a:cubicBezTo>
                    <a:pt x="926" y="1370"/>
                    <a:pt x="921" y="1368"/>
                    <a:pt x="918" y="1365"/>
                  </a:cubicBezTo>
                  <a:cubicBezTo>
                    <a:pt x="916" y="1367"/>
                    <a:pt x="914" y="1368"/>
                    <a:pt x="913" y="1369"/>
                  </a:cubicBezTo>
                  <a:cubicBezTo>
                    <a:pt x="930" y="1382"/>
                    <a:pt x="906" y="1395"/>
                    <a:pt x="913" y="1412"/>
                  </a:cubicBezTo>
                  <a:cubicBezTo>
                    <a:pt x="917" y="1424"/>
                    <a:pt x="926" y="1442"/>
                    <a:pt x="928" y="1451"/>
                  </a:cubicBezTo>
                  <a:cubicBezTo>
                    <a:pt x="925" y="1453"/>
                    <a:pt x="922" y="1455"/>
                    <a:pt x="920" y="1457"/>
                  </a:cubicBezTo>
                  <a:cubicBezTo>
                    <a:pt x="926" y="1467"/>
                    <a:pt x="933" y="1463"/>
                    <a:pt x="941" y="1468"/>
                  </a:cubicBezTo>
                  <a:cubicBezTo>
                    <a:pt x="947" y="1472"/>
                    <a:pt x="953" y="1479"/>
                    <a:pt x="963" y="1483"/>
                  </a:cubicBezTo>
                  <a:cubicBezTo>
                    <a:pt x="975" y="1489"/>
                    <a:pt x="973" y="1491"/>
                    <a:pt x="987" y="1489"/>
                  </a:cubicBezTo>
                  <a:cubicBezTo>
                    <a:pt x="996" y="1489"/>
                    <a:pt x="1004" y="1487"/>
                    <a:pt x="1012" y="1485"/>
                  </a:cubicBezTo>
                  <a:cubicBezTo>
                    <a:pt x="1000" y="1476"/>
                    <a:pt x="994" y="1477"/>
                    <a:pt x="985" y="1464"/>
                  </a:cubicBezTo>
                  <a:cubicBezTo>
                    <a:pt x="981" y="1459"/>
                    <a:pt x="969" y="1437"/>
                    <a:pt x="970" y="1433"/>
                  </a:cubicBezTo>
                  <a:cubicBezTo>
                    <a:pt x="972" y="1419"/>
                    <a:pt x="988" y="1423"/>
                    <a:pt x="991" y="1414"/>
                  </a:cubicBezTo>
                  <a:cubicBezTo>
                    <a:pt x="994" y="1403"/>
                    <a:pt x="999" y="1395"/>
                    <a:pt x="1008" y="1389"/>
                  </a:cubicBezTo>
                  <a:cubicBezTo>
                    <a:pt x="1003" y="1386"/>
                    <a:pt x="992" y="1379"/>
                    <a:pt x="992" y="1374"/>
                  </a:cubicBezTo>
                  <a:cubicBezTo>
                    <a:pt x="991" y="1360"/>
                    <a:pt x="994" y="1365"/>
                    <a:pt x="1000" y="1356"/>
                  </a:cubicBezTo>
                  <a:cubicBezTo>
                    <a:pt x="1006" y="1345"/>
                    <a:pt x="1012" y="1338"/>
                    <a:pt x="1016" y="1328"/>
                  </a:cubicBezTo>
                  <a:cubicBezTo>
                    <a:pt x="1024" y="1326"/>
                    <a:pt x="1020" y="1327"/>
                    <a:pt x="1023" y="1322"/>
                  </a:cubicBezTo>
                  <a:cubicBezTo>
                    <a:pt x="1022" y="1324"/>
                    <a:pt x="1020" y="1325"/>
                    <a:pt x="1019" y="1326"/>
                  </a:cubicBezTo>
                  <a:cubicBezTo>
                    <a:pt x="1016" y="1321"/>
                    <a:pt x="1009" y="1310"/>
                    <a:pt x="1012" y="1307"/>
                  </a:cubicBezTo>
                  <a:cubicBezTo>
                    <a:pt x="1019" y="1298"/>
                    <a:pt x="1024" y="1316"/>
                    <a:pt x="1030" y="1313"/>
                  </a:cubicBezTo>
                  <a:cubicBezTo>
                    <a:pt x="1049" y="1304"/>
                    <a:pt x="1030" y="1287"/>
                    <a:pt x="1056" y="1282"/>
                  </a:cubicBezTo>
                  <a:cubicBezTo>
                    <a:pt x="1075" y="1278"/>
                    <a:pt x="1075" y="1281"/>
                    <a:pt x="1089" y="1267"/>
                  </a:cubicBezTo>
                  <a:cubicBezTo>
                    <a:pt x="1104" y="1252"/>
                    <a:pt x="1082" y="1246"/>
                    <a:pt x="1080" y="1231"/>
                  </a:cubicBezTo>
                  <a:cubicBezTo>
                    <a:pt x="1096" y="1235"/>
                    <a:pt x="1118" y="1244"/>
                    <a:pt x="1130" y="1225"/>
                  </a:cubicBezTo>
                  <a:cubicBezTo>
                    <a:pt x="1140" y="1209"/>
                    <a:pt x="1151" y="1192"/>
                    <a:pt x="1159" y="1180"/>
                  </a:cubicBezTo>
                  <a:cubicBezTo>
                    <a:pt x="1162" y="1176"/>
                    <a:pt x="1172" y="1162"/>
                    <a:pt x="1171" y="1159"/>
                  </a:cubicBezTo>
                  <a:cubicBezTo>
                    <a:pt x="1171" y="1154"/>
                    <a:pt x="1172" y="1134"/>
                    <a:pt x="1175" y="1130"/>
                  </a:cubicBezTo>
                  <a:cubicBezTo>
                    <a:pt x="1180" y="1122"/>
                    <a:pt x="1212" y="1105"/>
                    <a:pt x="1221" y="1103"/>
                  </a:cubicBezTo>
                  <a:cubicBezTo>
                    <a:pt x="1233" y="1100"/>
                    <a:pt x="1235" y="1110"/>
                    <a:pt x="1247" y="1097"/>
                  </a:cubicBezTo>
                  <a:cubicBezTo>
                    <a:pt x="1249" y="1094"/>
                    <a:pt x="1245" y="1090"/>
                    <a:pt x="1248" y="1086"/>
                  </a:cubicBezTo>
                  <a:cubicBezTo>
                    <a:pt x="1252" y="1082"/>
                    <a:pt x="1259" y="1077"/>
                    <a:pt x="1261" y="1072"/>
                  </a:cubicBezTo>
                  <a:cubicBezTo>
                    <a:pt x="1265" y="1064"/>
                    <a:pt x="1252" y="1054"/>
                    <a:pt x="1266" y="1048"/>
                  </a:cubicBezTo>
                  <a:cubicBezTo>
                    <a:pt x="1274" y="1045"/>
                    <a:pt x="1268" y="1029"/>
                    <a:pt x="1268" y="1022"/>
                  </a:cubicBezTo>
                  <a:cubicBezTo>
                    <a:pt x="1269" y="1010"/>
                    <a:pt x="1268" y="1011"/>
                    <a:pt x="1275" y="1000"/>
                  </a:cubicBezTo>
                  <a:cubicBezTo>
                    <a:pt x="1277" y="996"/>
                    <a:pt x="1289" y="980"/>
                    <a:pt x="1294" y="978"/>
                  </a:cubicBezTo>
                  <a:cubicBezTo>
                    <a:pt x="1307" y="973"/>
                    <a:pt x="1319" y="932"/>
                    <a:pt x="1301" y="925"/>
                  </a:cubicBezTo>
                  <a:close/>
                  <a:moveTo>
                    <a:pt x="832" y="437"/>
                  </a:moveTo>
                  <a:cubicBezTo>
                    <a:pt x="843" y="436"/>
                    <a:pt x="851" y="425"/>
                    <a:pt x="862" y="431"/>
                  </a:cubicBezTo>
                  <a:cubicBezTo>
                    <a:pt x="856" y="438"/>
                    <a:pt x="837" y="448"/>
                    <a:pt x="832" y="437"/>
                  </a:cubicBezTo>
                  <a:close/>
                  <a:moveTo>
                    <a:pt x="868" y="418"/>
                  </a:moveTo>
                  <a:cubicBezTo>
                    <a:pt x="880" y="412"/>
                    <a:pt x="889" y="413"/>
                    <a:pt x="901" y="410"/>
                  </a:cubicBezTo>
                  <a:cubicBezTo>
                    <a:pt x="890" y="421"/>
                    <a:pt x="874" y="427"/>
                    <a:pt x="860" y="420"/>
                  </a:cubicBezTo>
                  <a:cubicBezTo>
                    <a:pt x="863" y="419"/>
                    <a:pt x="865" y="419"/>
                    <a:pt x="868" y="418"/>
                  </a:cubicBezTo>
                  <a:close/>
                  <a:moveTo>
                    <a:pt x="769" y="359"/>
                  </a:moveTo>
                  <a:cubicBezTo>
                    <a:pt x="776" y="358"/>
                    <a:pt x="779" y="360"/>
                    <a:pt x="784" y="353"/>
                  </a:cubicBezTo>
                  <a:cubicBezTo>
                    <a:pt x="786" y="356"/>
                    <a:pt x="790" y="358"/>
                    <a:pt x="792" y="361"/>
                  </a:cubicBezTo>
                  <a:cubicBezTo>
                    <a:pt x="791" y="358"/>
                    <a:pt x="791" y="355"/>
                    <a:pt x="791" y="352"/>
                  </a:cubicBezTo>
                  <a:cubicBezTo>
                    <a:pt x="798" y="357"/>
                    <a:pt x="806" y="360"/>
                    <a:pt x="813" y="367"/>
                  </a:cubicBezTo>
                  <a:cubicBezTo>
                    <a:pt x="821" y="375"/>
                    <a:pt x="819" y="384"/>
                    <a:pt x="833" y="388"/>
                  </a:cubicBezTo>
                  <a:cubicBezTo>
                    <a:pt x="842" y="391"/>
                    <a:pt x="852" y="383"/>
                    <a:pt x="859" y="392"/>
                  </a:cubicBezTo>
                  <a:cubicBezTo>
                    <a:pt x="867" y="403"/>
                    <a:pt x="857" y="406"/>
                    <a:pt x="848" y="401"/>
                  </a:cubicBezTo>
                  <a:cubicBezTo>
                    <a:pt x="848" y="409"/>
                    <a:pt x="845" y="416"/>
                    <a:pt x="839" y="420"/>
                  </a:cubicBezTo>
                  <a:cubicBezTo>
                    <a:pt x="834" y="410"/>
                    <a:pt x="836" y="412"/>
                    <a:pt x="828" y="411"/>
                  </a:cubicBezTo>
                  <a:cubicBezTo>
                    <a:pt x="840" y="388"/>
                    <a:pt x="801" y="387"/>
                    <a:pt x="796" y="413"/>
                  </a:cubicBezTo>
                  <a:cubicBezTo>
                    <a:pt x="795" y="416"/>
                    <a:pt x="794" y="457"/>
                    <a:pt x="784" y="432"/>
                  </a:cubicBezTo>
                  <a:cubicBezTo>
                    <a:pt x="781" y="424"/>
                    <a:pt x="792" y="405"/>
                    <a:pt x="793" y="397"/>
                  </a:cubicBezTo>
                  <a:cubicBezTo>
                    <a:pt x="790" y="399"/>
                    <a:pt x="787" y="400"/>
                    <a:pt x="784" y="402"/>
                  </a:cubicBezTo>
                  <a:cubicBezTo>
                    <a:pt x="795" y="387"/>
                    <a:pt x="804" y="380"/>
                    <a:pt x="823" y="387"/>
                  </a:cubicBezTo>
                  <a:cubicBezTo>
                    <a:pt x="819" y="375"/>
                    <a:pt x="811" y="381"/>
                    <a:pt x="802" y="379"/>
                  </a:cubicBezTo>
                  <a:cubicBezTo>
                    <a:pt x="794" y="378"/>
                    <a:pt x="795" y="390"/>
                    <a:pt x="790" y="379"/>
                  </a:cubicBezTo>
                  <a:cubicBezTo>
                    <a:pt x="785" y="371"/>
                    <a:pt x="786" y="377"/>
                    <a:pt x="779" y="379"/>
                  </a:cubicBezTo>
                  <a:cubicBezTo>
                    <a:pt x="781" y="375"/>
                    <a:pt x="783" y="371"/>
                    <a:pt x="785" y="367"/>
                  </a:cubicBezTo>
                  <a:cubicBezTo>
                    <a:pt x="772" y="381"/>
                    <a:pt x="758" y="376"/>
                    <a:pt x="743" y="379"/>
                  </a:cubicBezTo>
                  <a:cubicBezTo>
                    <a:pt x="752" y="372"/>
                    <a:pt x="761" y="367"/>
                    <a:pt x="769" y="359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3" name="Freeform 153"/>
            <p:cNvSpPr>
              <a:spLocks/>
            </p:cNvSpPr>
            <p:nvPr/>
          </p:nvSpPr>
          <p:spPr bwMode="auto">
            <a:xfrm>
              <a:off x="1258" y="1051"/>
              <a:ext cx="19" cy="11"/>
            </a:xfrm>
            <a:custGeom>
              <a:avLst/>
              <a:gdLst>
                <a:gd name="T0" fmla="*/ 11 w 11"/>
                <a:gd name="T1" fmla="*/ 6 h 6"/>
                <a:gd name="T2" fmla="*/ 0 w 11"/>
                <a:gd name="T3" fmla="*/ 0 h 6"/>
                <a:gd name="T4" fmla="*/ 11 w 11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11" y="6"/>
                  </a:moveTo>
                  <a:cubicBezTo>
                    <a:pt x="8" y="0"/>
                    <a:pt x="5" y="2"/>
                    <a:pt x="0" y="0"/>
                  </a:cubicBezTo>
                  <a:cubicBezTo>
                    <a:pt x="2" y="2"/>
                    <a:pt x="5" y="6"/>
                    <a:pt x="11" y="6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4" name="Freeform 154"/>
            <p:cNvSpPr>
              <a:spLocks/>
            </p:cNvSpPr>
            <p:nvPr/>
          </p:nvSpPr>
          <p:spPr bwMode="auto">
            <a:xfrm>
              <a:off x="449" y="1106"/>
              <a:ext cx="82" cy="57"/>
            </a:xfrm>
            <a:custGeom>
              <a:avLst/>
              <a:gdLst>
                <a:gd name="T0" fmla="*/ 0 w 46"/>
                <a:gd name="T1" fmla="*/ 4 h 32"/>
                <a:gd name="T2" fmla="*/ 6 w 46"/>
                <a:gd name="T3" fmla="*/ 5 h 32"/>
                <a:gd name="T4" fmla="*/ 3 w 46"/>
                <a:gd name="T5" fmla="*/ 8 h 32"/>
                <a:gd name="T6" fmla="*/ 21 w 46"/>
                <a:gd name="T7" fmla="*/ 16 h 32"/>
                <a:gd name="T8" fmla="*/ 46 w 46"/>
                <a:gd name="T9" fmla="*/ 32 h 32"/>
                <a:gd name="T10" fmla="*/ 0 w 46"/>
                <a:gd name="T11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32">
                  <a:moveTo>
                    <a:pt x="0" y="4"/>
                  </a:moveTo>
                  <a:cubicBezTo>
                    <a:pt x="2" y="4"/>
                    <a:pt x="4" y="4"/>
                    <a:pt x="6" y="5"/>
                  </a:cubicBezTo>
                  <a:cubicBezTo>
                    <a:pt x="5" y="6"/>
                    <a:pt x="4" y="7"/>
                    <a:pt x="3" y="8"/>
                  </a:cubicBezTo>
                  <a:cubicBezTo>
                    <a:pt x="9" y="12"/>
                    <a:pt x="13" y="15"/>
                    <a:pt x="21" y="16"/>
                  </a:cubicBezTo>
                  <a:cubicBezTo>
                    <a:pt x="17" y="24"/>
                    <a:pt x="35" y="31"/>
                    <a:pt x="46" y="32"/>
                  </a:cubicBezTo>
                  <a:cubicBezTo>
                    <a:pt x="41" y="19"/>
                    <a:pt x="14" y="0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5" name="Freeform 155"/>
            <p:cNvSpPr>
              <a:spLocks/>
            </p:cNvSpPr>
            <p:nvPr/>
          </p:nvSpPr>
          <p:spPr bwMode="auto">
            <a:xfrm>
              <a:off x="366" y="1032"/>
              <a:ext cx="25" cy="42"/>
            </a:xfrm>
            <a:custGeom>
              <a:avLst/>
              <a:gdLst>
                <a:gd name="T0" fmla="*/ 6 w 14"/>
                <a:gd name="T1" fmla="*/ 7 h 24"/>
                <a:gd name="T2" fmla="*/ 0 w 14"/>
                <a:gd name="T3" fmla="*/ 0 h 24"/>
                <a:gd name="T4" fmla="*/ 5 w 14"/>
                <a:gd name="T5" fmla="*/ 9 h 24"/>
                <a:gd name="T6" fmla="*/ 14 w 14"/>
                <a:gd name="T7" fmla="*/ 24 h 24"/>
                <a:gd name="T8" fmla="*/ 11 w 14"/>
                <a:gd name="T9" fmla="*/ 3 h 24"/>
                <a:gd name="T10" fmla="*/ 6 w 14"/>
                <a:gd name="T11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4">
                  <a:moveTo>
                    <a:pt x="6" y="7"/>
                  </a:moveTo>
                  <a:cubicBezTo>
                    <a:pt x="4" y="3"/>
                    <a:pt x="9" y="5"/>
                    <a:pt x="0" y="0"/>
                  </a:cubicBezTo>
                  <a:cubicBezTo>
                    <a:pt x="1" y="4"/>
                    <a:pt x="3" y="6"/>
                    <a:pt x="5" y="9"/>
                  </a:cubicBezTo>
                  <a:cubicBezTo>
                    <a:pt x="9" y="15"/>
                    <a:pt x="11" y="17"/>
                    <a:pt x="14" y="24"/>
                  </a:cubicBezTo>
                  <a:cubicBezTo>
                    <a:pt x="11" y="17"/>
                    <a:pt x="11" y="11"/>
                    <a:pt x="11" y="3"/>
                  </a:cubicBezTo>
                  <a:cubicBezTo>
                    <a:pt x="9" y="4"/>
                    <a:pt x="8" y="5"/>
                    <a:pt x="6" y="7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6" name="Freeform 156"/>
            <p:cNvSpPr>
              <a:spLocks/>
            </p:cNvSpPr>
            <p:nvPr/>
          </p:nvSpPr>
          <p:spPr bwMode="auto">
            <a:xfrm>
              <a:off x="-15" y="939"/>
              <a:ext cx="53" cy="31"/>
            </a:xfrm>
            <a:custGeom>
              <a:avLst/>
              <a:gdLst>
                <a:gd name="T0" fmla="*/ 21 w 30"/>
                <a:gd name="T1" fmla="*/ 0 h 17"/>
                <a:gd name="T2" fmla="*/ 12 w 30"/>
                <a:gd name="T3" fmla="*/ 14 h 17"/>
                <a:gd name="T4" fmla="*/ 21 w 3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17">
                  <a:moveTo>
                    <a:pt x="21" y="0"/>
                  </a:moveTo>
                  <a:cubicBezTo>
                    <a:pt x="9" y="1"/>
                    <a:pt x="0" y="17"/>
                    <a:pt x="12" y="14"/>
                  </a:cubicBezTo>
                  <a:cubicBezTo>
                    <a:pt x="19" y="13"/>
                    <a:pt x="30" y="4"/>
                    <a:pt x="21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7" name="Freeform 157"/>
            <p:cNvSpPr>
              <a:spLocks/>
            </p:cNvSpPr>
            <p:nvPr/>
          </p:nvSpPr>
          <p:spPr bwMode="auto">
            <a:xfrm>
              <a:off x="2899" y="1376"/>
              <a:ext cx="48" cy="39"/>
            </a:xfrm>
            <a:custGeom>
              <a:avLst/>
              <a:gdLst>
                <a:gd name="T0" fmla="*/ 27 w 27"/>
                <a:gd name="T1" fmla="*/ 0 h 22"/>
                <a:gd name="T2" fmla="*/ 0 w 27"/>
                <a:gd name="T3" fmla="*/ 2 h 22"/>
                <a:gd name="T4" fmla="*/ 27 w 27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2">
                  <a:moveTo>
                    <a:pt x="27" y="0"/>
                  </a:moveTo>
                  <a:cubicBezTo>
                    <a:pt x="18" y="4"/>
                    <a:pt x="8" y="2"/>
                    <a:pt x="0" y="2"/>
                  </a:cubicBezTo>
                  <a:cubicBezTo>
                    <a:pt x="11" y="15"/>
                    <a:pt x="25" y="22"/>
                    <a:pt x="27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8" name="Freeform 158"/>
            <p:cNvSpPr>
              <a:spLocks/>
            </p:cNvSpPr>
            <p:nvPr/>
          </p:nvSpPr>
          <p:spPr bwMode="auto">
            <a:xfrm>
              <a:off x="2836" y="1277"/>
              <a:ext cx="12" cy="32"/>
            </a:xfrm>
            <a:custGeom>
              <a:avLst/>
              <a:gdLst>
                <a:gd name="T0" fmla="*/ 6 w 7"/>
                <a:gd name="T1" fmla="*/ 0 h 18"/>
                <a:gd name="T2" fmla="*/ 0 w 7"/>
                <a:gd name="T3" fmla="*/ 4 h 18"/>
                <a:gd name="T4" fmla="*/ 4 w 7"/>
                <a:gd name="T5" fmla="*/ 18 h 18"/>
                <a:gd name="T6" fmla="*/ 6 w 7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6" y="0"/>
                  </a:moveTo>
                  <a:cubicBezTo>
                    <a:pt x="4" y="2"/>
                    <a:pt x="2" y="3"/>
                    <a:pt x="0" y="4"/>
                  </a:cubicBezTo>
                  <a:cubicBezTo>
                    <a:pt x="0" y="7"/>
                    <a:pt x="0" y="12"/>
                    <a:pt x="4" y="18"/>
                  </a:cubicBezTo>
                  <a:cubicBezTo>
                    <a:pt x="7" y="12"/>
                    <a:pt x="7" y="6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9" name="Freeform 159"/>
            <p:cNvSpPr>
              <a:spLocks/>
            </p:cNvSpPr>
            <p:nvPr/>
          </p:nvSpPr>
          <p:spPr bwMode="auto">
            <a:xfrm>
              <a:off x="2816" y="1293"/>
              <a:ext cx="69" cy="65"/>
            </a:xfrm>
            <a:custGeom>
              <a:avLst/>
              <a:gdLst>
                <a:gd name="T0" fmla="*/ 10 w 39"/>
                <a:gd name="T1" fmla="*/ 23 h 37"/>
                <a:gd name="T2" fmla="*/ 11 w 39"/>
                <a:gd name="T3" fmla="*/ 37 h 37"/>
                <a:gd name="T4" fmla="*/ 10 w 39"/>
                <a:gd name="T5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9" h="37">
                  <a:moveTo>
                    <a:pt x="10" y="23"/>
                  </a:moveTo>
                  <a:cubicBezTo>
                    <a:pt x="8" y="29"/>
                    <a:pt x="8" y="32"/>
                    <a:pt x="11" y="37"/>
                  </a:cubicBezTo>
                  <a:cubicBezTo>
                    <a:pt x="39" y="25"/>
                    <a:pt x="0" y="0"/>
                    <a:pt x="10" y="23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0" name="Freeform 160"/>
            <p:cNvSpPr>
              <a:spLocks/>
            </p:cNvSpPr>
            <p:nvPr/>
          </p:nvSpPr>
          <p:spPr bwMode="auto">
            <a:xfrm>
              <a:off x="2729" y="1337"/>
              <a:ext cx="13" cy="16"/>
            </a:xfrm>
            <a:custGeom>
              <a:avLst/>
              <a:gdLst>
                <a:gd name="T0" fmla="*/ 7 w 7"/>
                <a:gd name="T1" fmla="*/ 6 h 9"/>
                <a:gd name="T2" fmla="*/ 0 w 7"/>
                <a:gd name="T3" fmla="*/ 4 h 9"/>
                <a:gd name="T4" fmla="*/ 7 w 7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9">
                  <a:moveTo>
                    <a:pt x="7" y="6"/>
                  </a:moveTo>
                  <a:cubicBezTo>
                    <a:pt x="4" y="5"/>
                    <a:pt x="6" y="0"/>
                    <a:pt x="0" y="4"/>
                  </a:cubicBezTo>
                  <a:cubicBezTo>
                    <a:pt x="3" y="9"/>
                    <a:pt x="5" y="5"/>
                    <a:pt x="7" y="6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1" name="Freeform 161"/>
            <p:cNvSpPr>
              <a:spLocks/>
            </p:cNvSpPr>
            <p:nvPr/>
          </p:nvSpPr>
          <p:spPr bwMode="auto">
            <a:xfrm>
              <a:off x="2855" y="989"/>
              <a:ext cx="18" cy="14"/>
            </a:xfrm>
            <a:custGeom>
              <a:avLst/>
              <a:gdLst>
                <a:gd name="T0" fmla="*/ 8 w 10"/>
                <a:gd name="T1" fmla="*/ 8 h 8"/>
                <a:gd name="T2" fmla="*/ 0 w 10"/>
                <a:gd name="T3" fmla="*/ 0 h 8"/>
                <a:gd name="T4" fmla="*/ 8 w 10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8" y="8"/>
                  </a:moveTo>
                  <a:cubicBezTo>
                    <a:pt x="10" y="7"/>
                    <a:pt x="8" y="3"/>
                    <a:pt x="0" y="0"/>
                  </a:cubicBezTo>
                  <a:cubicBezTo>
                    <a:pt x="1" y="5"/>
                    <a:pt x="4" y="4"/>
                    <a:pt x="8" y="8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2" name="Freeform 162"/>
            <p:cNvSpPr>
              <a:spLocks/>
            </p:cNvSpPr>
            <p:nvPr/>
          </p:nvSpPr>
          <p:spPr bwMode="auto">
            <a:xfrm>
              <a:off x="2997" y="925"/>
              <a:ext cx="14" cy="23"/>
            </a:xfrm>
            <a:custGeom>
              <a:avLst/>
              <a:gdLst>
                <a:gd name="T0" fmla="*/ 8 w 8"/>
                <a:gd name="T1" fmla="*/ 0 h 13"/>
                <a:gd name="T2" fmla="*/ 0 w 8"/>
                <a:gd name="T3" fmla="*/ 13 h 13"/>
                <a:gd name="T4" fmla="*/ 5 w 8"/>
                <a:gd name="T5" fmla="*/ 5 h 13"/>
                <a:gd name="T6" fmla="*/ 8 w 8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3">
                  <a:moveTo>
                    <a:pt x="8" y="0"/>
                  </a:moveTo>
                  <a:cubicBezTo>
                    <a:pt x="3" y="6"/>
                    <a:pt x="2" y="8"/>
                    <a:pt x="0" y="13"/>
                  </a:cubicBezTo>
                  <a:cubicBezTo>
                    <a:pt x="2" y="11"/>
                    <a:pt x="3" y="8"/>
                    <a:pt x="5" y="5"/>
                  </a:cubicBezTo>
                  <a:cubicBezTo>
                    <a:pt x="6" y="3"/>
                    <a:pt x="7" y="2"/>
                    <a:pt x="8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3" name="Freeform 163"/>
            <p:cNvSpPr>
              <a:spLocks/>
            </p:cNvSpPr>
            <p:nvPr/>
          </p:nvSpPr>
          <p:spPr bwMode="auto">
            <a:xfrm>
              <a:off x="3098" y="1431"/>
              <a:ext cx="39" cy="7"/>
            </a:xfrm>
            <a:custGeom>
              <a:avLst/>
              <a:gdLst>
                <a:gd name="T0" fmla="*/ 22 w 22"/>
                <a:gd name="T1" fmla="*/ 3 h 4"/>
                <a:gd name="T2" fmla="*/ 0 w 22"/>
                <a:gd name="T3" fmla="*/ 1 h 4"/>
                <a:gd name="T4" fmla="*/ 22 w 22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4">
                  <a:moveTo>
                    <a:pt x="22" y="3"/>
                  </a:moveTo>
                  <a:cubicBezTo>
                    <a:pt x="14" y="1"/>
                    <a:pt x="7" y="0"/>
                    <a:pt x="0" y="1"/>
                  </a:cubicBezTo>
                  <a:cubicBezTo>
                    <a:pt x="7" y="3"/>
                    <a:pt x="14" y="4"/>
                    <a:pt x="22" y="3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4" name="Freeform 164"/>
            <p:cNvSpPr>
              <a:spLocks/>
            </p:cNvSpPr>
            <p:nvPr/>
          </p:nvSpPr>
          <p:spPr bwMode="auto">
            <a:xfrm>
              <a:off x="3245" y="1426"/>
              <a:ext cx="36" cy="17"/>
            </a:xfrm>
            <a:custGeom>
              <a:avLst/>
              <a:gdLst>
                <a:gd name="T0" fmla="*/ 20 w 20"/>
                <a:gd name="T1" fmla="*/ 0 h 10"/>
                <a:gd name="T2" fmla="*/ 0 w 20"/>
                <a:gd name="T3" fmla="*/ 7 h 10"/>
                <a:gd name="T4" fmla="*/ 4 w 20"/>
                <a:gd name="T5" fmla="*/ 10 h 10"/>
                <a:gd name="T6" fmla="*/ 20 w 2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0">
                  <a:moveTo>
                    <a:pt x="20" y="0"/>
                  </a:moveTo>
                  <a:cubicBezTo>
                    <a:pt x="13" y="1"/>
                    <a:pt x="6" y="4"/>
                    <a:pt x="0" y="7"/>
                  </a:cubicBezTo>
                  <a:cubicBezTo>
                    <a:pt x="1" y="8"/>
                    <a:pt x="3" y="9"/>
                    <a:pt x="4" y="10"/>
                  </a:cubicBezTo>
                  <a:cubicBezTo>
                    <a:pt x="11" y="8"/>
                    <a:pt x="16" y="5"/>
                    <a:pt x="2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5" name="Freeform 165"/>
            <p:cNvSpPr>
              <a:spLocks/>
            </p:cNvSpPr>
            <p:nvPr/>
          </p:nvSpPr>
          <p:spPr bwMode="auto">
            <a:xfrm>
              <a:off x="3609" y="1857"/>
              <a:ext cx="17" cy="9"/>
            </a:xfrm>
            <a:custGeom>
              <a:avLst/>
              <a:gdLst>
                <a:gd name="T0" fmla="*/ 10 w 10"/>
                <a:gd name="T1" fmla="*/ 0 h 5"/>
                <a:gd name="T2" fmla="*/ 0 w 10"/>
                <a:gd name="T3" fmla="*/ 2 h 5"/>
                <a:gd name="T4" fmla="*/ 10 w 10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10" y="0"/>
                  </a:moveTo>
                  <a:cubicBezTo>
                    <a:pt x="6" y="0"/>
                    <a:pt x="3" y="1"/>
                    <a:pt x="0" y="2"/>
                  </a:cubicBezTo>
                  <a:cubicBezTo>
                    <a:pt x="4" y="2"/>
                    <a:pt x="5" y="5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6" name="Freeform 166"/>
            <p:cNvSpPr>
              <a:spLocks/>
            </p:cNvSpPr>
            <p:nvPr/>
          </p:nvSpPr>
          <p:spPr bwMode="auto">
            <a:xfrm>
              <a:off x="3499" y="602"/>
              <a:ext cx="55" cy="36"/>
            </a:xfrm>
            <a:custGeom>
              <a:avLst/>
              <a:gdLst>
                <a:gd name="T0" fmla="*/ 13 w 31"/>
                <a:gd name="T1" fmla="*/ 3 h 20"/>
                <a:gd name="T2" fmla="*/ 29 w 31"/>
                <a:gd name="T3" fmla="*/ 9 h 20"/>
                <a:gd name="T4" fmla="*/ 13 w 31"/>
                <a:gd name="T5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20">
                  <a:moveTo>
                    <a:pt x="13" y="3"/>
                  </a:moveTo>
                  <a:cubicBezTo>
                    <a:pt x="0" y="20"/>
                    <a:pt x="28" y="15"/>
                    <a:pt x="29" y="9"/>
                  </a:cubicBezTo>
                  <a:cubicBezTo>
                    <a:pt x="31" y="0"/>
                    <a:pt x="18" y="0"/>
                    <a:pt x="13" y="3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7" name="Freeform 167"/>
            <p:cNvSpPr>
              <a:spLocks/>
            </p:cNvSpPr>
            <p:nvPr/>
          </p:nvSpPr>
          <p:spPr bwMode="auto">
            <a:xfrm>
              <a:off x="3697" y="577"/>
              <a:ext cx="30" cy="22"/>
            </a:xfrm>
            <a:custGeom>
              <a:avLst/>
              <a:gdLst>
                <a:gd name="T0" fmla="*/ 0 w 17"/>
                <a:gd name="T1" fmla="*/ 2 h 12"/>
                <a:gd name="T2" fmla="*/ 17 w 17"/>
                <a:gd name="T3" fmla="*/ 9 h 12"/>
                <a:gd name="T4" fmla="*/ 0 w 17"/>
                <a:gd name="T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2">
                  <a:moveTo>
                    <a:pt x="0" y="2"/>
                  </a:moveTo>
                  <a:cubicBezTo>
                    <a:pt x="4" y="9"/>
                    <a:pt x="10" y="12"/>
                    <a:pt x="17" y="9"/>
                  </a:cubicBezTo>
                  <a:cubicBezTo>
                    <a:pt x="13" y="2"/>
                    <a:pt x="7" y="0"/>
                    <a:pt x="0" y="2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8" name="Freeform 168"/>
            <p:cNvSpPr>
              <a:spLocks/>
            </p:cNvSpPr>
            <p:nvPr/>
          </p:nvSpPr>
          <p:spPr bwMode="auto">
            <a:xfrm>
              <a:off x="5233" y="396"/>
              <a:ext cx="78" cy="39"/>
            </a:xfrm>
            <a:custGeom>
              <a:avLst/>
              <a:gdLst>
                <a:gd name="T0" fmla="*/ 44 w 44"/>
                <a:gd name="T1" fmla="*/ 10 h 22"/>
                <a:gd name="T2" fmla="*/ 0 w 44"/>
                <a:gd name="T3" fmla="*/ 0 h 22"/>
                <a:gd name="T4" fmla="*/ 44 w 44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22">
                  <a:moveTo>
                    <a:pt x="44" y="10"/>
                  </a:moveTo>
                  <a:cubicBezTo>
                    <a:pt x="33" y="2"/>
                    <a:pt x="14" y="4"/>
                    <a:pt x="0" y="0"/>
                  </a:cubicBezTo>
                  <a:cubicBezTo>
                    <a:pt x="9" y="14"/>
                    <a:pt x="30" y="22"/>
                    <a:pt x="4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9" name="Freeform 169"/>
            <p:cNvSpPr>
              <a:spLocks/>
            </p:cNvSpPr>
            <p:nvPr/>
          </p:nvSpPr>
          <p:spPr bwMode="auto">
            <a:xfrm>
              <a:off x="5121" y="446"/>
              <a:ext cx="18" cy="12"/>
            </a:xfrm>
            <a:custGeom>
              <a:avLst/>
              <a:gdLst>
                <a:gd name="T0" fmla="*/ 10 w 10"/>
                <a:gd name="T1" fmla="*/ 0 h 7"/>
                <a:gd name="T2" fmla="*/ 0 w 10"/>
                <a:gd name="T3" fmla="*/ 0 h 7"/>
                <a:gd name="T4" fmla="*/ 10 w 10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7"/>
                    <a:pt x="5" y="1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0" name="Freeform 170"/>
            <p:cNvSpPr>
              <a:spLocks/>
            </p:cNvSpPr>
            <p:nvPr/>
          </p:nvSpPr>
          <p:spPr bwMode="auto">
            <a:xfrm>
              <a:off x="1564" y="1126"/>
              <a:ext cx="45" cy="19"/>
            </a:xfrm>
            <a:custGeom>
              <a:avLst/>
              <a:gdLst>
                <a:gd name="T0" fmla="*/ 0 w 25"/>
                <a:gd name="T1" fmla="*/ 1 h 11"/>
                <a:gd name="T2" fmla="*/ 20 w 25"/>
                <a:gd name="T3" fmla="*/ 11 h 11"/>
                <a:gd name="T4" fmla="*/ 25 w 25"/>
                <a:gd name="T5" fmla="*/ 9 h 11"/>
                <a:gd name="T6" fmla="*/ 0 w 25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1">
                  <a:moveTo>
                    <a:pt x="0" y="1"/>
                  </a:moveTo>
                  <a:cubicBezTo>
                    <a:pt x="6" y="6"/>
                    <a:pt x="13" y="9"/>
                    <a:pt x="20" y="11"/>
                  </a:cubicBezTo>
                  <a:cubicBezTo>
                    <a:pt x="21" y="11"/>
                    <a:pt x="23" y="10"/>
                    <a:pt x="25" y="9"/>
                  </a:cubicBezTo>
                  <a:cubicBezTo>
                    <a:pt x="18" y="4"/>
                    <a:pt x="9" y="0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1" name="Freeform 171"/>
            <p:cNvSpPr>
              <a:spLocks/>
            </p:cNvSpPr>
            <p:nvPr/>
          </p:nvSpPr>
          <p:spPr bwMode="auto">
            <a:xfrm>
              <a:off x="1570" y="1193"/>
              <a:ext cx="32" cy="29"/>
            </a:xfrm>
            <a:custGeom>
              <a:avLst/>
              <a:gdLst>
                <a:gd name="T0" fmla="*/ 0 w 18"/>
                <a:gd name="T1" fmla="*/ 0 h 16"/>
                <a:gd name="T2" fmla="*/ 18 w 18"/>
                <a:gd name="T3" fmla="*/ 6 h 16"/>
                <a:gd name="T4" fmla="*/ 0 w 18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6">
                  <a:moveTo>
                    <a:pt x="0" y="0"/>
                  </a:moveTo>
                  <a:cubicBezTo>
                    <a:pt x="1" y="8"/>
                    <a:pt x="13" y="16"/>
                    <a:pt x="18" y="6"/>
                  </a:cubicBezTo>
                  <a:cubicBezTo>
                    <a:pt x="10" y="7"/>
                    <a:pt x="7" y="4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2" name="Freeform 172"/>
            <p:cNvSpPr>
              <a:spLocks/>
            </p:cNvSpPr>
            <p:nvPr/>
          </p:nvSpPr>
          <p:spPr bwMode="auto">
            <a:xfrm>
              <a:off x="1610" y="1195"/>
              <a:ext cx="31" cy="37"/>
            </a:xfrm>
            <a:custGeom>
              <a:avLst/>
              <a:gdLst>
                <a:gd name="T0" fmla="*/ 17 w 17"/>
                <a:gd name="T1" fmla="*/ 8 h 21"/>
                <a:gd name="T2" fmla="*/ 12 w 17"/>
                <a:gd name="T3" fmla="*/ 0 h 21"/>
                <a:gd name="T4" fmla="*/ 17 w 17"/>
                <a:gd name="T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1">
                  <a:moveTo>
                    <a:pt x="17" y="8"/>
                  </a:moveTo>
                  <a:cubicBezTo>
                    <a:pt x="16" y="5"/>
                    <a:pt x="14" y="2"/>
                    <a:pt x="12" y="0"/>
                  </a:cubicBezTo>
                  <a:cubicBezTo>
                    <a:pt x="0" y="8"/>
                    <a:pt x="7" y="21"/>
                    <a:pt x="17" y="8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3" name="Freeform 173"/>
            <p:cNvSpPr>
              <a:spLocks/>
            </p:cNvSpPr>
            <p:nvPr/>
          </p:nvSpPr>
          <p:spPr bwMode="auto">
            <a:xfrm>
              <a:off x="-226" y="872"/>
              <a:ext cx="28" cy="14"/>
            </a:xfrm>
            <a:custGeom>
              <a:avLst/>
              <a:gdLst>
                <a:gd name="T0" fmla="*/ 6 w 16"/>
                <a:gd name="T1" fmla="*/ 5 h 8"/>
                <a:gd name="T2" fmla="*/ 0 w 16"/>
                <a:gd name="T3" fmla="*/ 5 h 8"/>
                <a:gd name="T4" fmla="*/ 16 w 16"/>
                <a:gd name="T5" fmla="*/ 8 h 8"/>
                <a:gd name="T6" fmla="*/ 6 w 16"/>
                <a:gd name="T7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6" y="5"/>
                  </a:moveTo>
                  <a:cubicBezTo>
                    <a:pt x="4" y="5"/>
                    <a:pt x="2" y="5"/>
                    <a:pt x="0" y="5"/>
                  </a:cubicBezTo>
                  <a:cubicBezTo>
                    <a:pt x="6" y="8"/>
                    <a:pt x="9" y="8"/>
                    <a:pt x="16" y="8"/>
                  </a:cubicBezTo>
                  <a:cubicBezTo>
                    <a:pt x="12" y="0"/>
                    <a:pt x="11" y="5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4" name="Freeform 174"/>
            <p:cNvSpPr>
              <a:spLocks/>
            </p:cNvSpPr>
            <p:nvPr/>
          </p:nvSpPr>
          <p:spPr bwMode="auto">
            <a:xfrm>
              <a:off x="-22" y="1742"/>
              <a:ext cx="14" cy="19"/>
            </a:xfrm>
            <a:custGeom>
              <a:avLst/>
              <a:gdLst>
                <a:gd name="T0" fmla="*/ 8 w 8"/>
                <a:gd name="T1" fmla="*/ 3 h 11"/>
                <a:gd name="T2" fmla="*/ 0 w 8"/>
                <a:gd name="T3" fmla="*/ 0 h 11"/>
                <a:gd name="T4" fmla="*/ 8 w 8"/>
                <a:gd name="T5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1">
                  <a:moveTo>
                    <a:pt x="8" y="3"/>
                  </a:moveTo>
                  <a:cubicBezTo>
                    <a:pt x="5" y="2"/>
                    <a:pt x="2" y="1"/>
                    <a:pt x="0" y="0"/>
                  </a:cubicBezTo>
                  <a:cubicBezTo>
                    <a:pt x="0" y="11"/>
                    <a:pt x="3" y="5"/>
                    <a:pt x="8" y="3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5" name="Freeform 175"/>
            <p:cNvSpPr>
              <a:spLocks/>
            </p:cNvSpPr>
            <p:nvPr/>
          </p:nvSpPr>
          <p:spPr bwMode="auto">
            <a:xfrm>
              <a:off x="-35" y="1722"/>
              <a:ext cx="9" cy="4"/>
            </a:xfrm>
            <a:custGeom>
              <a:avLst/>
              <a:gdLst>
                <a:gd name="T0" fmla="*/ 5 w 5"/>
                <a:gd name="T1" fmla="*/ 2 h 2"/>
                <a:gd name="T2" fmla="*/ 0 w 5"/>
                <a:gd name="T3" fmla="*/ 0 h 2"/>
                <a:gd name="T4" fmla="*/ 5 w 5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cubicBezTo>
                    <a:pt x="3" y="1"/>
                    <a:pt x="2" y="1"/>
                    <a:pt x="0" y="0"/>
                  </a:cubicBezTo>
                  <a:cubicBezTo>
                    <a:pt x="1" y="2"/>
                    <a:pt x="3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6" name="Freeform 176"/>
            <p:cNvSpPr>
              <a:spLocks/>
            </p:cNvSpPr>
            <p:nvPr/>
          </p:nvSpPr>
          <p:spPr bwMode="auto">
            <a:xfrm>
              <a:off x="-51" y="1715"/>
              <a:ext cx="13" cy="9"/>
            </a:xfrm>
            <a:custGeom>
              <a:avLst/>
              <a:gdLst>
                <a:gd name="T0" fmla="*/ 7 w 7"/>
                <a:gd name="T1" fmla="*/ 0 h 5"/>
                <a:gd name="T2" fmla="*/ 0 w 7"/>
                <a:gd name="T3" fmla="*/ 0 h 5"/>
                <a:gd name="T4" fmla="*/ 7 w 7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7" y="0"/>
                  </a:moveTo>
                  <a:cubicBezTo>
                    <a:pt x="5" y="0"/>
                    <a:pt x="3" y="0"/>
                    <a:pt x="0" y="0"/>
                  </a:cubicBezTo>
                  <a:cubicBezTo>
                    <a:pt x="3" y="5"/>
                    <a:pt x="3" y="1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7" name="Freeform 177"/>
            <p:cNvSpPr>
              <a:spLocks/>
            </p:cNvSpPr>
            <p:nvPr/>
          </p:nvSpPr>
          <p:spPr bwMode="auto">
            <a:xfrm>
              <a:off x="-65" y="1703"/>
              <a:ext cx="11" cy="10"/>
            </a:xfrm>
            <a:custGeom>
              <a:avLst/>
              <a:gdLst>
                <a:gd name="T0" fmla="*/ 2 w 6"/>
                <a:gd name="T1" fmla="*/ 4 h 6"/>
                <a:gd name="T2" fmla="*/ 5 w 6"/>
                <a:gd name="T3" fmla="*/ 5 h 6"/>
                <a:gd name="T4" fmla="*/ 2 w 6"/>
                <a:gd name="T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6">
                  <a:moveTo>
                    <a:pt x="2" y="4"/>
                  </a:moveTo>
                  <a:cubicBezTo>
                    <a:pt x="2" y="3"/>
                    <a:pt x="0" y="6"/>
                    <a:pt x="5" y="5"/>
                  </a:cubicBezTo>
                  <a:cubicBezTo>
                    <a:pt x="6" y="0"/>
                    <a:pt x="4" y="5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8" name="Freeform 178"/>
            <p:cNvSpPr>
              <a:spLocks/>
            </p:cNvSpPr>
            <p:nvPr/>
          </p:nvSpPr>
          <p:spPr bwMode="auto">
            <a:xfrm>
              <a:off x="-90" y="1690"/>
              <a:ext cx="9" cy="16"/>
            </a:xfrm>
            <a:custGeom>
              <a:avLst/>
              <a:gdLst>
                <a:gd name="T0" fmla="*/ 0 w 5"/>
                <a:gd name="T1" fmla="*/ 4 h 9"/>
                <a:gd name="T2" fmla="*/ 5 w 5"/>
                <a:gd name="T3" fmla="*/ 4 h 9"/>
                <a:gd name="T4" fmla="*/ 0 w 5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9">
                  <a:moveTo>
                    <a:pt x="0" y="4"/>
                  </a:moveTo>
                  <a:cubicBezTo>
                    <a:pt x="4" y="9"/>
                    <a:pt x="4" y="4"/>
                    <a:pt x="5" y="4"/>
                  </a:cubicBezTo>
                  <a:cubicBezTo>
                    <a:pt x="2" y="5"/>
                    <a:pt x="3" y="0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tx1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80" name="Oval 179"/>
          <p:cNvSpPr/>
          <p:nvPr/>
        </p:nvSpPr>
        <p:spPr>
          <a:xfrm>
            <a:off x="1873959" y="1892401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1" name="Oval 180"/>
          <p:cNvSpPr/>
          <p:nvPr/>
        </p:nvSpPr>
        <p:spPr>
          <a:xfrm>
            <a:off x="3986920" y="1561144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2" name="Oval 181"/>
          <p:cNvSpPr/>
          <p:nvPr/>
        </p:nvSpPr>
        <p:spPr>
          <a:xfrm>
            <a:off x="632634" y="2049564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3" name="Oval 182"/>
          <p:cNvSpPr/>
          <p:nvPr/>
        </p:nvSpPr>
        <p:spPr>
          <a:xfrm>
            <a:off x="2493084" y="3762327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4" name="Oval 183"/>
          <p:cNvSpPr/>
          <p:nvPr/>
        </p:nvSpPr>
        <p:spPr>
          <a:xfrm>
            <a:off x="5960185" y="2423419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5" name="Oval 184"/>
          <p:cNvSpPr/>
          <p:nvPr/>
        </p:nvSpPr>
        <p:spPr>
          <a:xfrm>
            <a:off x="4578265" y="3763740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6" name="Oval 185"/>
          <p:cNvSpPr/>
          <p:nvPr/>
        </p:nvSpPr>
        <p:spPr>
          <a:xfrm>
            <a:off x="7944922" y="4034733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7" name="Oval 186"/>
          <p:cNvSpPr/>
          <p:nvPr/>
        </p:nvSpPr>
        <p:spPr>
          <a:xfrm>
            <a:off x="7139697" y="2057500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8" name="Oval 187"/>
          <p:cNvSpPr/>
          <p:nvPr/>
        </p:nvSpPr>
        <p:spPr>
          <a:xfrm>
            <a:off x="7815972" y="1942525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9" name="Oval 188"/>
          <p:cNvSpPr/>
          <p:nvPr/>
        </p:nvSpPr>
        <p:spPr>
          <a:xfrm>
            <a:off x="7303209" y="2769495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0" name="Oval 189"/>
          <p:cNvSpPr/>
          <p:nvPr/>
        </p:nvSpPr>
        <p:spPr>
          <a:xfrm>
            <a:off x="3873772" y="1452664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1" name="Oval 190"/>
          <p:cNvSpPr/>
          <p:nvPr/>
        </p:nvSpPr>
        <p:spPr>
          <a:xfrm>
            <a:off x="4310772" y="1563639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2" name="Oval 191"/>
          <p:cNvSpPr/>
          <p:nvPr/>
        </p:nvSpPr>
        <p:spPr>
          <a:xfrm>
            <a:off x="8682747" y="4141888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4" name="TextBox 193"/>
          <p:cNvSpPr txBox="1"/>
          <p:nvPr/>
        </p:nvSpPr>
        <p:spPr>
          <a:xfrm>
            <a:off x="6073605" y="682537"/>
            <a:ext cx="3588892" cy="1154162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wrap="square" lIns="201168" tIns="137160" rIns="640080" bIns="137160" rtlCol="0">
            <a:spAutoFit/>
          </a:bodyPr>
          <a:lstStyle/>
          <a:p>
            <a:r>
              <a:rPr lang="en-US" sz="2400" dirty="0" err="1">
                <a:solidFill>
                  <a:schemeClr val="bg1"/>
                </a:solidFill>
              </a:rPr>
              <a:t>Xxxxxx</a:t>
            </a:r>
            <a:endParaRPr lang="en-US" sz="2400" dirty="0">
              <a:solidFill>
                <a:schemeClr val="bg1"/>
              </a:solidFill>
            </a:endParaRPr>
          </a:p>
          <a:p>
            <a:r>
              <a:rPr lang="en-US" sz="1100" dirty="0">
                <a:solidFill>
                  <a:schemeClr val="bg1"/>
                </a:solidFill>
              </a:rPr>
              <a:t>Xx </a:t>
            </a:r>
            <a:r>
              <a:rPr lang="en-US" sz="1100" dirty="0" err="1">
                <a:solidFill>
                  <a:schemeClr val="bg1"/>
                </a:solidFill>
              </a:rPr>
              <a:t>xx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xxxx</a:t>
            </a:r>
            <a:r>
              <a:rPr lang="en-US" sz="1100" dirty="0">
                <a:solidFill>
                  <a:schemeClr val="bg1"/>
                </a:solidFill>
              </a:rPr>
              <a:t> xx </a:t>
            </a:r>
            <a:r>
              <a:rPr lang="en-US" sz="1100" dirty="0" err="1">
                <a:solidFill>
                  <a:schemeClr val="bg1"/>
                </a:solidFill>
              </a:rPr>
              <a:t>xxxx</a:t>
            </a:r>
            <a:r>
              <a:rPr lang="en-US" sz="1100" dirty="0">
                <a:solidFill>
                  <a:schemeClr val="bg1"/>
                </a:solidFill>
              </a:rPr>
              <a:t> xxx </a:t>
            </a:r>
            <a:r>
              <a:rPr lang="en-US" sz="1100" dirty="0" err="1">
                <a:solidFill>
                  <a:schemeClr val="bg1"/>
                </a:solidFill>
              </a:rPr>
              <a:t>xxxxxx</a:t>
            </a:r>
            <a:r>
              <a:rPr lang="en-US" sz="1100" dirty="0">
                <a:solidFill>
                  <a:schemeClr val="bg1"/>
                </a:solidFill>
              </a:rPr>
              <a:t> x </a:t>
            </a:r>
            <a:r>
              <a:rPr lang="en-US" sz="1100" dirty="0" err="1">
                <a:solidFill>
                  <a:schemeClr val="bg1"/>
                </a:solidFill>
              </a:rPr>
              <a:t>xxxx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Xxxxxx</a:t>
            </a:r>
            <a:r>
              <a:rPr lang="en-US" sz="1100" dirty="0">
                <a:solidFill>
                  <a:schemeClr val="bg1"/>
                </a:solidFill>
              </a:rPr>
              <a:t> xx xxx </a:t>
            </a:r>
            <a:r>
              <a:rPr lang="en-US" sz="1100" dirty="0" err="1">
                <a:solidFill>
                  <a:schemeClr val="bg1"/>
                </a:solidFill>
              </a:rPr>
              <a:t>xxxx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xxxx</a:t>
            </a:r>
            <a:r>
              <a:rPr lang="en-US" sz="1100" dirty="0">
                <a:solidFill>
                  <a:schemeClr val="bg1"/>
                </a:solidFill>
              </a:rPr>
              <a:t> x xxx </a:t>
            </a:r>
            <a:r>
              <a:rPr lang="en-US" sz="1100" dirty="0" err="1">
                <a:solidFill>
                  <a:schemeClr val="bg1"/>
                </a:solidFill>
              </a:rPr>
              <a:t>xxx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xxx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xxxxxxx</a:t>
            </a:r>
            <a:r>
              <a:rPr lang="en-US" sz="1100" dirty="0">
                <a:solidFill>
                  <a:schemeClr val="bg1"/>
                </a:solidFill>
              </a:rPr>
              <a:t> xx</a:t>
            </a:r>
          </a:p>
        </p:txBody>
      </p:sp>
      <p:sp>
        <p:nvSpPr>
          <p:cNvPr id="195" name="Oval 194"/>
          <p:cNvSpPr/>
          <p:nvPr/>
        </p:nvSpPr>
        <p:spPr>
          <a:xfrm>
            <a:off x="533040" y="1589188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6" name="Oval 195"/>
          <p:cNvSpPr/>
          <p:nvPr/>
        </p:nvSpPr>
        <p:spPr>
          <a:xfrm>
            <a:off x="1188898" y="2539306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7" name="Oval 196"/>
          <p:cNvSpPr/>
          <p:nvPr/>
        </p:nvSpPr>
        <p:spPr>
          <a:xfrm>
            <a:off x="2166058" y="4283836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8" name="Oval 197"/>
          <p:cNvSpPr/>
          <p:nvPr/>
        </p:nvSpPr>
        <p:spPr>
          <a:xfrm>
            <a:off x="1962064" y="4014577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9" name="Oval 198"/>
          <p:cNvSpPr/>
          <p:nvPr/>
        </p:nvSpPr>
        <p:spPr>
          <a:xfrm>
            <a:off x="4343316" y="1173262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0" name="Oval 199"/>
          <p:cNvSpPr/>
          <p:nvPr/>
        </p:nvSpPr>
        <p:spPr>
          <a:xfrm>
            <a:off x="4915210" y="1258777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1" name="Oval 200"/>
          <p:cNvSpPr/>
          <p:nvPr/>
        </p:nvSpPr>
        <p:spPr>
          <a:xfrm>
            <a:off x="6694342" y="2972695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205" name="Straight Connector 204"/>
          <p:cNvCxnSpPr/>
          <p:nvPr/>
        </p:nvCxnSpPr>
        <p:spPr>
          <a:xfrm flipH="1">
            <a:off x="2051720" y="1383618"/>
            <a:ext cx="641439" cy="54133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Rectangle 192"/>
          <p:cNvSpPr/>
          <p:nvPr/>
        </p:nvSpPr>
        <p:spPr>
          <a:xfrm>
            <a:off x="2050171" y="835201"/>
            <a:ext cx="1324153" cy="584775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Xxx xxx </a:t>
            </a:r>
          </a:p>
          <a:p>
            <a:pPr algn="ctr"/>
            <a:r>
              <a:rPr lang="en-US" sz="1600" dirty="0" err="1">
                <a:solidFill>
                  <a:schemeClr val="bg1"/>
                </a:solidFill>
              </a:rPr>
              <a:t>Xxxx</a:t>
            </a: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206" name="Straight Connector 205"/>
          <p:cNvCxnSpPr/>
          <p:nvPr/>
        </p:nvCxnSpPr>
        <p:spPr>
          <a:xfrm flipH="1">
            <a:off x="5357627" y="2580469"/>
            <a:ext cx="641439" cy="54133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tangle 202"/>
          <p:cNvSpPr/>
          <p:nvPr/>
        </p:nvSpPr>
        <p:spPr>
          <a:xfrm>
            <a:off x="4756593" y="2880838"/>
            <a:ext cx="1324153" cy="584775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Xxx xxx </a:t>
            </a:r>
          </a:p>
          <a:p>
            <a:pPr algn="ctr"/>
            <a:r>
              <a:rPr lang="en-US" sz="1600" dirty="0" err="1">
                <a:solidFill>
                  <a:schemeClr val="bg1"/>
                </a:solidFill>
              </a:rPr>
              <a:t>Xxxx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02" name="Text Placeholder 201">
            <a:extLst>
              <a:ext uri="{FF2B5EF4-FFF2-40B4-BE49-F238E27FC236}">
                <a16:creationId xmlns:a16="http://schemas.microsoft.com/office/drawing/2014/main" id="{FF50BFEA-321D-CD46-B092-689D3BED6F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9" name="Title 178">
            <a:extLst>
              <a:ext uri="{FF2B5EF4-FFF2-40B4-BE49-F238E27FC236}">
                <a16:creationId xmlns:a16="http://schemas.microsoft.com/office/drawing/2014/main" id="{95C5BB08-5E04-664A-A858-C0D9BD293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689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5556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5556">
                                          <p:cBhvr additive="base">
                                            <p:cTn id="7" dur="900" fill="hold"/>
                                            <p:tgtEl>
                                              <p:spTgt spid="19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5556">
                                          <p:cBhvr additive="base">
                                            <p:cTn id="8" dur="900" fill="hold"/>
                                            <p:tgtEl>
                                              <p:spTgt spid="19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200"/>
                                            <p:tgtEl>
                                              <p:spTgt spid="19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200"/>
                                            <p:tgtEl>
                                              <p:spTgt spid="18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22" presetClass="entr" presetSubtype="4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7" dur="200"/>
                                            <p:tgtEl>
                                              <p:spTgt spid="20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300"/>
                                            <p:tgtEl>
                                              <p:spTgt spid="19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200"/>
                                            <p:tgtEl>
                                              <p:spTgt spid="18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200"/>
                                            <p:tgtEl>
                                              <p:spTgt spid="18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200"/>
                                            <p:tgtEl>
                                              <p:spTgt spid="19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200"/>
                                            <p:tgtEl>
                                              <p:spTgt spid="19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5" dur="200"/>
                                            <p:tgtEl>
                                              <p:spTgt spid="19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10" presetClass="entr" presetSubtype="0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8" dur="200"/>
                                            <p:tgtEl>
                                              <p:spTgt spid="18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200"/>
                                            <p:tgtEl>
                                              <p:spTgt spid="18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4" dur="200"/>
                                            <p:tgtEl>
                                              <p:spTgt spid="19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7" dur="200"/>
                                            <p:tgtEl>
                                              <p:spTgt spid="18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8" presetID="22" presetClass="entr" presetSubtype="1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50" dur="200"/>
                                            <p:tgtEl>
                                              <p:spTgt spid="20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1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3" dur="300"/>
                                            <p:tgtEl>
                                              <p:spTgt spid="20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10" presetClass="entr" presetSubtype="0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6" dur="200"/>
                                            <p:tgtEl>
                                              <p:spTgt spid="18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7" presetID="10" presetClass="entr" presetSubtype="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9" dur="200"/>
                                            <p:tgtEl>
                                              <p:spTgt spid="18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0" presetID="10" presetClass="entr" presetSubtype="0" fill="hold" grpId="0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2" dur="200"/>
                                            <p:tgtEl>
                                              <p:spTgt spid="18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3" presetID="10" presetClass="entr" presetSubtype="0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5" dur="200"/>
                                            <p:tgtEl>
                                              <p:spTgt spid="20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6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8" dur="200"/>
                                            <p:tgtEl>
                                              <p:spTgt spid="18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9" presetID="10" presetClass="entr" presetSubtype="0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1" dur="200"/>
                                            <p:tgtEl>
                                              <p:spTgt spid="19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2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7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4" dur="200"/>
                                            <p:tgtEl>
                                              <p:spTgt spid="19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5" presetID="10" presetClass="entr" presetSubtype="0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7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7" dur="200"/>
                                            <p:tgtEl>
                                              <p:spTgt spid="19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8" presetID="10" presetClass="entr" presetSubtype="0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7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0" dur="200"/>
                                            <p:tgtEl>
                                              <p:spTgt spid="20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0" grpId="0" animBg="1"/>
          <p:bldP spid="181" grpId="0" animBg="1"/>
          <p:bldP spid="182" grpId="0" animBg="1"/>
          <p:bldP spid="183" grpId="0" animBg="1"/>
          <p:bldP spid="184" grpId="0" animBg="1"/>
          <p:bldP spid="185" grpId="0" animBg="1"/>
          <p:bldP spid="186" grpId="0" animBg="1"/>
          <p:bldP spid="187" grpId="0" animBg="1"/>
          <p:bldP spid="188" grpId="0" animBg="1"/>
          <p:bldP spid="189" grpId="0" animBg="1"/>
          <p:bldP spid="190" grpId="0" animBg="1"/>
          <p:bldP spid="191" grpId="0" animBg="1"/>
          <p:bldP spid="192" grpId="0" animBg="1"/>
          <p:bldP spid="194" grpId="0" animBg="1"/>
          <p:bldP spid="195" grpId="0" animBg="1"/>
          <p:bldP spid="196" grpId="0" animBg="1"/>
          <p:bldP spid="197" grpId="0" animBg="1"/>
          <p:bldP spid="198" grpId="0" animBg="1"/>
          <p:bldP spid="199" grpId="0" animBg="1"/>
          <p:bldP spid="200" grpId="0" animBg="1"/>
          <p:bldP spid="201" grpId="0" animBg="1"/>
          <p:bldP spid="193" grpId="0" animBg="1"/>
          <p:bldP spid="20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900" fill="hold"/>
                                            <p:tgtEl>
                                              <p:spTgt spid="19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900" fill="hold"/>
                                            <p:tgtEl>
                                              <p:spTgt spid="19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200"/>
                                            <p:tgtEl>
                                              <p:spTgt spid="19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200"/>
                                            <p:tgtEl>
                                              <p:spTgt spid="18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22" presetClass="entr" presetSubtype="4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7" dur="200"/>
                                            <p:tgtEl>
                                              <p:spTgt spid="20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300"/>
                                            <p:tgtEl>
                                              <p:spTgt spid="19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200"/>
                                            <p:tgtEl>
                                              <p:spTgt spid="18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200"/>
                                            <p:tgtEl>
                                              <p:spTgt spid="18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200"/>
                                            <p:tgtEl>
                                              <p:spTgt spid="19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200"/>
                                            <p:tgtEl>
                                              <p:spTgt spid="19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5" dur="200"/>
                                            <p:tgtEl>
                                              <p:spTgt spid="19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10" presetClass="entr" presetSubtype="0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8" dur="200"/>
                                            <p:tgtEl>
                                              <p:spTgt spid="18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200"/>
                                            <p:tgtEl>
                                              <p:spTgt spid="18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4" dur="200"/>
                                            <p:tgtEl>
                                              <p:spTgt spid="19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7" dur="200"/>
                                            <p:tgtEl>
                                              <p:spTgt spid="18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8" presetID="22" presetClass="entr" presetSubtype="1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50" dur="200"/>
                                            <p:tgtEl>
                                              <p:spTgt spid="20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1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3" dur="300"/>
                                            <p:tgtEl>
                                              <p:spTgt spid="20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10" presetClass="entr" presetSubtype="0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6" dur="200"/>
                                            <p:tgtEl>
                                              <p:spTgt spid="18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7" presetID="10" presetClass="entr" presetSubtype="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9" dur="200"/>
                                            <p:tgtEl>
                                              <p:spTgt spid="18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0" presetID="10" presetClass="entr" presetSubtype="0" fill="hold" grpId="0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2" dur="200"/>
                                            <p:tgtEl>
                                              <p:spTgt spid="18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3" presetID="10" presetClass="entr" presetSubtype="0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5" dur="200"/>
                                            <p:tgtEl>
                                              <p:spTgt spid="20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6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8" dur="200"/>
                                            <p:tgtEl>
                                              <p:spTgt spid="18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9" presetID="10" presetClass="entr" presetSubtype="0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1" dur="200"/>
                                            <p:tgtEl>
                                              <p:spTgt spid="19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2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7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4" dur="200"/>
                                            <p:tgtEl>
                                              <p:spTgt spid="19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5" presetID="10" presetClass="entr" presetSubtype="0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7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7" dur="200"/>
                                            <p:tgtEl>
                                              <p:spTgt spid="19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8" presetID="10" presetClass="entr" presetSubtype="0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7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0" dur="200"/>
                                            <p:tgtEl>
                                              <p:spTgt spid="20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0" grpId="0" animBg="1"/>
          <p:bldP spid="181" grpId="0" animBg="1"/>
          <p:bldP spid="182" grpId="0" animBg="1"/>
          <p:bldP spid="183" grpId="0" animBg="1"/>
          <p:bldP spid="184" grpId="0" animBg="1"/>
          <p:bldP spid="185" grpId="0" animBg="1"/>
          <p:bldP spid="186" grpId="0" animBg="1"/>
          <p:bldP spid="187" grpId="0" animBg="1"/>
          <p:bldP spid="188" grpId="0" animBg="1"/>
          <p:bldP spid="189" grpId="0" animBg="1"/>
          <p:bldP spid="190" grpId="0" animBg="1"/>
          <p:bldP spid="191" grpId="0" animBg="1"/>
          <p:bldP spid="192" grpId="0" animBg="1"/>
          <p:bldP spid="194" grpId="0" animBg="1"/>
          <p:bldP spid="195" grpId="0" animBg="1"/>
          <p:bldP spid="196" grpId="0" animBg="1"/>
          <p:bldP spid="197" grpId="0" animBg="1"/>
          <p:bldP spid="198" grpId="0" animBg="1"/>
          <p:bldP spid="199" grpId="0" animBg="1"/>
          <p:bldP spid="200" grpId="0" animBg="1"/>
          <p:bldP spid="201" grpId="0" animBg="1"/>
          <p:bldP spid="193" grpId="0" animBg="1"/>
          <p:bldP spid="203" grpId="0" animBg="1"/>
        </p:bldLst>
      </p:timing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eform 40"/>
          <p:cNvSpPr>
            <a:spLocks noEditPoints="1"/>
          </p:cNvSpPr>
          <p:nvPr/>
        </p:nvSpPr>
        <p:spPr bwMode="auto">
          <a:xfrm>
            <a:off x="3381650" y="576913"/>
            <a:ext cx="657337" cy="614355"/>
          </a:xfrm>
          <a:custGeom>
            <a:avLst/>
            <a:gdLst>
              <a:gd name="T0" fmla="*/ 319 w 325"/>
              <a:gd name="T1" fmla="*/ 258 h 330"/>
              <a:gd name="T2" fmla="*/ 320 w 325"/>
              <a:gd name="T3" fmla="*/ 253 h 330"/>
              <a:gd name="T4" fmla="*/ 315 w 325"/>
              <a:gd name="T5" fmla="*/ 248 h 330"/>
              <a:gd name="T6" fmla="*/ 308 w 325"/>
              <a:gd name="T7" fmla="*/ 240 h 330"/>
              <a:gd name="T8" fmla="*/ 301 w 325"/>
              <a:gd name="T9" fmla="*/ 228 h 330"/>
              <a:gd name="T10" fmla="*/ 295 w 325"/>
              <a:gd name="T11" fmla="*/ 217 h 330"/>
              <a:gd name="T12" fmla="*/ 287 w 325"/>
              <a:gd name="T13" fmla="*/ 204 h 330"/>
              <a:gd name="T14" fmla="*/ 270 w 325"/>
              <a:gd name="T15" fmla="*/ 170 h 330"/>
              <a:gd name="T16" fmla="*/ 260 w 325"/>
              <a:gd name="T17" fmla="*/ 142 h 330"/>
              <a:gd name="T18" fmla="*/ 268 w 325"/>
              <a:gd name="T19" fmla="*/ 142 h 330"/>
              <a:gd name="T20" fmla="*/ 266 w 325"/>
              <a:gd name="T21" fmla="*/ 135 h 330"/>
              <a:gd name="T22" fmla="*/ 252 w 325"/>
              <a:gd name="T23" fmla="*/ 124 h 330"/>
              <a:gd name="T24" fmla="*/ 234 w 325"/>
              <a:gd name="T25" fmla="*/ 102 h 330"/>
              <a:gd name="T26" fmla="*/ 226 w 325"/>
              <a:gd name="T27" fmla="*/ 90 h 330"/>
              <a:gd name="T28" fmla="*/ 226 w 325"/>
              <a:gd name="T29" fmla="*/ 82 h 330"/>
              <a:gd name="T30" fmla="*/ 218 w 325"/>
              <a:gd name="T31" fmla="*/ 65 h 330"/>
              <a:gd name="T32" fmla="*/ 221 w 325"/>
              <a:gd name="T33" fmla="*/ 66 h 330"/>
              <a:gd name="T34" fmla="*/ 226 w 325"/>
              <a:gd name="T35" fmla="*/ 76 h 330"/>
              <a:gd name="T36" fmla="*/ 233 w 325"/>
              <a:gd name="T37" fmla="*/ 87 h 330"/>
              <a:gd name="T38" fmla="*/ 245 w 325"/>
              <a:gd name="T39" fmla="*/ 110 h 330"/>
              <a:gd name="T40" fmla="*/ 254 w 325"/>
              <a:gd name="T41" fmla="*/ 120 h 330"/>
              <a:gd name="T42" fmla="*/ 265 w 325"/>
              <a:gd name="T43" fmla="*/ 130 h 330"/>
              <a:gd name="T44" fmla="*/ 278 w 325"/>
              <a:gd name="T45" fmla="*/ 125 h 330"/>
              <a:gd name="T46" fmla="*/ 279 w 325"/>
              <a:gd name="T47" fmla="*/ 105 h 330"/>
              <a:gd name="T48" fmla="*/ 285 w 325"/>
              <a:gd name="T49" fmla="*/ 77 h 330"/>
              <a:gd name="T50" fmla="*/ 260 w 325"/>
              <a:gd name="T51" fmla="*/ 11 h 330"/>
              <a:gd name="T52" fmla="*/ 234 w 325"/>
              <a:gd name="T53" fmla="*/ 16 h 330"/>
              <a:gd name="T54" fmla="*/ 223 w 325"/>
              <a:gd name="T55" fmla="*/ 18 h 330"/>
              <a:gd name="T56" fmla="*/ 214 w 325"/>
              <a:gd name="T57" fmla="*/ 15 h 330"/>
              <a:gd name="T58" fmla="*/ 200 w 325"/>
              <a:gd name="T59" fmla="*/ 13 h 330"/>
              <a:gd name="T60" fmla="*/ 203 w 325"/>
              <a:gd name="T61" fmla="*/ 8 h 330"/>
              <a:gd name="T62" fmla="*/ 191 w 325"/>
              <a:gd name="T63" fmla="*/ 6 h 330"/>
              <a:gd name="T64" fmla="*/ 176 w 325"/>
              <a:gd name="T65" fmla="*/ 0 h 330"/>
              <a:gd name="T66" fmla="*/ 158 w 325"/>
              <a:gd name="T67" fmla="*/ 6 h 330"/>
              <a:gd name="T68" fmla="*/ 149 w 325"/>
              <a:gd name="T69" fmla="*/ 12 h 330"/>
              <a:gd name="T70" fmla="*/ 132 w 325"/>
              <a:gd name="T71" fmla="*/ 22 h 330"/>
              <a:gd name="T72" fmla="*/ 114 w 325"/>
              <a:gd name="T73" fmla="*/ 23 h 330"/>
              <a:gd name="T74" fmla="*/ 95 w 325"/>
              <a:gd name="T75" fmla="*/ 18 h 330"/>
              <a:gd name="T76" fmla="*/ 83 w 325"/>
              <a:gd name="T77" fmla="*/ 13 h 330"/>
              <a:gd name="T78" fmla="*/ 80 w 325"/>
              <a:gd name="T79" fmla="*/ 16 h 330"/>
              <a:gd name="T80" fmla="*/ 65 w 325"/>
              <a:gd name="T81" fmla="*/ 7 h 330"/>
              <a:gd name="T82" fmla="*/ 39 w 325"/>
              <a:gd name="T83" fmla="*/ 2 h 330"/>
              <a:gd name="T84" fmla="*/ 20 w 325"/>
              <a:gd name="T85" fmla="*/ 4 h 330"/>
              <a:gd name="T86" fmla="*/ 14 w 325"/>
              <a:gd name="T87" fmla="*/ 4 h 330"/>
              <a:gd name="T88" fmla="*/ 4 w 325"/>
              <a:gd name="T89" fmla="*/ 10 h 330"/>
              <a:gd name="T90" fmla="*/ 3 w 325"/>
              <a:gd name="T91" fmla="*/ 45 h 330"/>
              <a:gd name="T92" fmla="*/ 19 w 325"/>
              <a:gd name="T93" fmla="*/ 321 h 330"/>
              <a:gd name="T94" fmla="*/ 132 w 325"/>
              <a:gd name="T95" fmla="*/ 321 h 330"/>
              <a:gd name="T96" fmla="*/ 189 w 325"/>
              <a:gd name="T97" fmla="*/ 321 h 330"/>
              <a:gd name="T98" fmla="*/ 194 w 325"/>
              <a:gd name="T99" fmla="*/ 322 h 330"/>
              <a:gd name="T100" fmla="*/ 203 w 325"/>
              <a:gd name="T101" fmla="*/ 314 h 330"/>
              <a:gd name="T102" fmla="*/ 217 w 325"/>
              <a:gd name="T103" fmla="*/ 322 h 330"/>
              <a:gd name="T104" fmla="*/ 257 w 325"/>
              <a:gd name="T105" fmla="*/ 325 h 330"/>
              <a:gd name="T106" fmla="*/ 277 w 325"/>
              <a:gd name="T107" fmla="*/ 321 h 330"/>
              <a:gd name="T108" fmla="*/ 297 w 325"/>
              <a:gd name="T109" fmla="*/ 303 h 330"/>
              <a:gd name="T110" fmla="*/ 317 w 325"/>
              <a:gd name="T111" fmla="*/ 286 h 330"/>
              <a:gd name="T112" fmla="*/ 318 w 325"/>
              <a:gd name="T113" fmla="*/ 278 h 330"/>
              <a:gd name="T114" fmla="*/ 255 w 325"/>
              <a:gd name="T115" fmla="*/ 136 h 330"/>
              <a:gd name="T116" fmla="*/ 255 w 325"/>
              <a:gd name="T117" fmla="*/ 136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25" h="330">
                <a:moveTo>
                  <a:pt x="316" y="258"/>
                </a:moveTo>
                <a:cubicBezTo>
                  <a:pt x="316" y="258"/>
                  <a:pt x="316" y="258"/>
                  <a:pt x="316" y="258"/>
                </a:cubicBezTo>
                <a:cubicBezTo>
                  <a:pt x="316" y="258"/>
                  <a:pt x="317" y="258"/>
                  <a:pt x="317" y="258"/>
                </a:cubicBezTo>
                <a:cubicBezTo>
                  <a:pt x="318" y="258"/>
                  <a:pt x="319" y="258"/>
                  <a:pt x="319" y="258"/>
                </a:cubicBezTo>
                <a:cubicBezTo>
                  <a:pt x="320" y="258"/>
                  <a:pt x="321" y="258"/>
                  <a:pt x="322" y="258"/>
                </a:cubicBezTo>
                <a:cubicBezTo>
                  <a:pt x="325" y="258"/>
                  <a:pt x="325" y="258"/>
                  <a:pt x="325" y="258"/>
                </a:cubicBezTo>
                <a:cubicBezTo>
                  <a:pt x="323" y="255"/>
                  <a:pt x="323" y="255"/>
                  <a:pt x="323" y="255"/>
                </a:cubicBezTo>
                <a:cubicBezTo>
                  <a:pt x="322" y="254"/>
                  <a:pt x="321" y="253"/>
                  <a:pt x="320" y="253"/>
                </a:cubicBezTo>
                <a:cubicBezTo>
                  <a:pt x="320" y="253"/>
                  <a:pt x="320" y="253"/>
                  <a:pt x="320" y="253"/>
                </a:cubicBezTo>
                <a:cubicBezTo>
                  <a:pt x="319" y="252"/>
                  <a:pt x="318" y="251"/>
                  <a:pt x="317" y="251"/>
                </a:cubicBezTo>
                <a:cubicBezTo>
                  <a:pt x="317" y="250"/>
                  <a:pt x="317" y="250"/>
                  <a:pt x="317" y="250"/>
                </a:cubicBezTo>
                <a:cubicBezTo>
                  <a:pt x="316" y="249"/>
                  <a:pt x="315" y="249"/>
                  <a:pt x="315" y="248"/>
                </a:cubicBezTo>
                <a:cubicBezTo>
                  <a:pt x="314" y="247"/>
                  <a:pt x="313" y="246"/>
                  <a:pt x="313" y="246"/>
                </a:cubicBezTo>
                <a:cubicBezTo>
                  <a:pt x="312" y="245"/>
                  <a:pt x="312" y="245"/>
                  <a:pt x="311" y="244"/>
                </a:cubicBezTo>
                <a:cubicBezTo>
                  <a:pt x="310" y="243"/>
                  <a:pt x="309" y="242"/>
                  <a:pt x="308" y="241"/>
                </a:cubicBezTo>
                <a:cubicBezTo>
                  <a:pt x="308" y="241"/>
                  <a:pt x="308" y="240"/>
                  <a:pt x="308" y="240"/>
                </a:cubicBezTo>
                <a:cubicBezTo>
                  <a:pt x="307" y="239"/>
                  <a:pt x="307" y="239"/>
                  <a:pt x="307" y="238"/>
                </a:cubicBezTo>
                <a:cubicBezTo>
                  <a:pt x="306" y="237"/>
                  <a:pt x="306" y="236"/>
                  <a:pt x="305" y="236"/>
                </a:cubicBezTo>
                <a:cubicBezTo>
                  <a:pt x="305" y="236"/>
                  <a:pt x="304" y="235"/>
                  <a:pt x="304" y="235"/>
                </a:cubicBezTo>
                <a:cubicBezTo>
                  <a:pt x="303" y="233"/>
                  <a:pt x="302" y="230"/>
                  <a:pt x="301" y="228"/>
                </a:cubicBezTo>
                <a:cubicBezTo>
                  <a:pt x="301" y="227"/>
                  <a:pt x="300" y="227"/>
                  <a:pt x="300" y="226"/>
                </a:cubicBezTo>
                <a:cubicBezTo>
                  <a:pt x="299" y="224"/>
                  <a:pt x="298" y="222"/>
                  <a:pt x="297" y="220"/>
                </a:cubicBezTo>
                <a:cubicBezTo>
                  <a:pt x="296" y="219"/>
                  <a:pt x="296" y="219"/>
                  <a:pt x="295" y="218"/>
                </a:cubicBezTo>
                <a:cubicBezTo>
                  <a:pt x="295" y="217"/>
                  <a:pt x="295" y="217"/>
                  <a:pt x="295" y="217"/>
                </a:cubicBezTo>
                <a:cubicBezTo>
                  <a:pt x="294" y="215"/>
                  <a:pt x="292" y="213"/>
                  <a:pt x="291" y="211"/>
                </a:cubicBezTo>
                <a:cubicBezTo>
                  <a:pt x="291" y="211"/>
                  <a:pt x="291" y="210"/>
                  <a:pt x="290" y="209"/>
                </a:cubicBezTo>
                <a:cubicBezTo>
                  <a:pt x="290" y="208"/>
                  <a:pt x="290" y="208"/>
                  <a:pt x="289" y="207"/>
                </a:cubicBezTo>
                <a:cubicBezTo>
                  <a:pt x="289" y="206"/>
                  <a:pt x="288" y="205"/>
                  <a:pt x="287" y="204"/>
                </a:cubicBezTo>
                <a:cubicBezTo>
                  <a:pt x="287" y="203"/>
                  <a:pt x="287" y="203"/>
                  <a:pt x="286" y="202"/>
                </a:cubicBezTo>
                <a:cubicBezTo>
                  <a:pt x="285" y="200"/>
                  <a:pt x="285" y="199"/>
                  <a:pt x="284" y="196"/>
                </a:cubicBezTo>
                <a:cubicBezTo>
                  <a:pt x="283" y="195"/>
                  <a:pt x="283" y="194"/>
                  <a:pt x="282" y="193"/>
                </a:cubicBezTo>
                <a:cubicBezTo>
                  <a:pt x="279" y="185"/>
                  <a:pt x="275" y="177"/>
                  <a:pt x="270" y="170"/>
                </a:cubicBezTo>
                <a:cubicBezTo>
                  <a:pt x="268" y="167"/>
                  <a:pt x="266" y="163"/>
                  <a:pt x="266" y="158"/>
                </a:cubicBezTo>
                <a:cubicBezTo>
                  <a:pt x="266" y="157"/>
                  <a:pt x="265" y="156"/>
                  <a:pt x="265" y="155"/>
                </a:cubicBezTo>
                <a:cubicBezTo>
                  <a:pt x="265" y="152"/>
                  <a:pt x="264" y="147"/>
                  <a:pt x="262" y="144"/>
                </a:cubicBezTo>
                <a:cubicBezTo>
                  <a:pt x="261" y="143"/>
                  <a:pt x="261" y="143"/>
                  <a:pt x="260" y="142"/>
                </a:cubicBezTo>
                <a:cubicBezTo>
                  <a:pt x="260" y="142"/>
                  <a:pt x="260" y="141"/>
                  <a:pt x="259" y="141"/>
                </a:cubicBezTo>
                <a:cubicBezTo>
                  <a:pt x="260" y="141"/>
                  <a:pt x="261" y="141"/>
                  <a:pt x="261" y="140"/>
                </a:cubicBezTo>
                <a:cubicBezTo>
                  <a:pt x="263" y="141"/>
                  <a:pt x="266" y="142"/>
                  <a:pt x="266" y="142"/>
                </a:cubicBezTo>
                <a:cubicBezTo>
                  <a:pt x="268" y="142"/>
                  <a:pt x="268" y="142"/>
                  <a:pt x="268" y="142"/>
                </a:cubicBezTo>
                <a:cubicBezTo>
                  <a:pt x="268" y="141"/>
                  <a:pt x="268" y="141"/>
                  <a:pt x="268" y="141"/>
                </a:cubicBezTo>
                <a:cubicBezTo>
                  <a:pt x="269" y="140"/>
                  <a:pt x="269" y="139"/>
                  <a:pt x="269" y="138"/>
                </a:cubicBezTo>
                <a:cubicBezTo>
                  <a:pt x="269" y="137"/>
                  <a:pt x="267" y="136"/>
                  <a:pt x="266" y="135"/>
                </a:cubicBezTo>
                <a:cubicBezTo>
                  <a:pt x="266" y="135"/>
                  <a:pt x="266" y="135"/>
                  <a:pt x="266" y="135"/>
                </a:cubicBezTo>
                <a:cubicBezTo>
                  <a:pt x="264" y="134"/>
                  <a:pt x="262" y="132"/>
                  <a:pt x="260" y="131"/>
                </a:cubicBezTo>
                <a:cubicBezTo>
                  <a:pt x="259" y="130"/>
                  <a:pt x="258" y="129"/>
                  <a:pt x="257" y="128"/>
                </a:cubicBezTo>
                <a:cubicBezTo>
                  <a:pt x="256" y="127"/>
                  <a:pt x="256" y="126"/>
                  <a:pt x="255" y="125"/>
                </a:cubicBezTo>
                <a:cubicBezTo>
                  <a:pt x="254" y="125"/>
                  <a:pt x="253" y="124"/>
                  <a:pt x="252" y="124"/>
                </a:cubicBezTo>
                <a:cubicBezTo>
                  <a:pt x="251" y="123"/>
                  <a:pt x="251" y="122"/>
                  <a:pt x="250" y="121"/>
                </a:cubicBezTo>
                <a:cubicBezTo>
                  <a:pt x="245" y="116"/>
                  <a:pt x="242" y="112"/>
                  <a:pt x="239" y="108"/>
                </a:cubicBezTo>
                <a:cubicBezTo>
                  <a:pt x="238" y="107"/>
                  <a:pt x="238" y="107"/>
                  <a:pt x="238" y="107"/>
                </a:cubicBezTo>
                <a:cubicBezTo>
                  <a:pt x="237" y="105"/>
                  <a:pt x="235" y="104"/>
                  <a:pt x="234" y="102"/>
                </a:cubicBezTo>
                <a:cubicBezTo>
                  <a:pt x="234" y="101"/>
                  <a:pt x="233" y="100"/>
                  <a:pt x="233" y="99"/>
                </a:cubicBezTo>
                <a:cubicBezTo>
                  <a:pt x="232" y="98"/>
                  <a:pt x="232" y="96"/>
                  <a:pt x="231" y="95"/>
                </a:cubicBezTo>
                <a:cubicBezTo>
                  <a:pt x="230" y="94"/>
                  <a:pt x="229" y="93"/>
                  <a:pt x="228" y="92"/>
                </a:cubicBezTo>
                <a:cubicBezTo>
                  <a:pt x="227" y="91"/>
                  <a:pt x="226" y="90"/>
                  <a:pt x="226" y="90"/>
                </a:cubicBezTo>
                <a:cubicBezTo>
                  <a:pt x="226" y="89"/>
                  <a:pt x="226" y="89"/>
                  <a:pt x="226" y="88"/>
                </a:cubicBezTo>
                <a:cubicBezTo>
                  <a:pt x="226" y="87"/>
                  <a:pt x="226" y="87"/>
                  <a:pt x="226" y="86"/>
                </a:cubicBezTo>
                <a:cubicBezTo>
                  <a:pt x="226" y="86"/>
                  <a:pt x="226" y="85"/>
                  <a:pt x="226" y="84"/>
                </a:cubicBezTo>
                <a:cubicBezTo>
                  <a:pt x="226" y="84"/>
                  <a:pt x="226" y="83"/>
                  <a:pt x="226" y="82"/>
                </a:cubicBezTo>
                <a:cubicBezTo>
                  <a:pt x="226" y="79"/>
                  <a:pt x="224" y="77"/>
                  <a:pt x="222" y="74"/>
                </a:cubicBezTo>
                <a:cubicBezTo>
                  <a:pt x="221" y="73"/>
                  <a:pt x="220" y="73"/>
                  <a:pt x="219" y="72"/>
                </a:cubicBezTo>
                <a:cubicBezTo>
                  <a:pt x="218" y="71"/>
                  <a:pt x="217" y="71"/>
                  <a:pt x="217" y="70"/>
                </a:cubicBezTo>
                <a:cubicBezTo>
                  <a:pt x="216" y="69"/>
                  <a:pt x="217" y="66"/>
                  <a:pt x="218" y="65"/>
                </a:cubicBezTo>
                <a:cubicBezTo>
                  <a:pt x="219" y="64"/>
                  <a:pt x="219" y="63"/>
                  <a:pt x="220" y="62"/>
                </a:cubicBezTo>
                <a:cubicBezTo>
                  <a:pt x="220" y="62"/>
                  <a:pt x="220" y="62"/>
                  <a:pt x="220" y="62"/>
                </a:cubicBezTo>
                <a:cubicBezTo>
                  <a:pt x="220" y="63"/>
                  <a:pt x="220" y="64"/>
                  <a:pt x="221" y="65"/>
                </a:cubicBezTo>
                <a:cubicBezTo>
                  <a:pt x="221" y="65"/>
                  <a:pt x="221" y="66"/>
                  <a:pt x="221" y="66"/>
                </a:cubicBezTo>
                <a:cubicBezTo>
                  <a:pt x="222" y="67"/>
                  <a:pt x="222" y="67"/>
                  <a:pt x="222" y="68"/>
                </a:cubicBezTo>
                <a:cubicBezTo>
                  <a:pt x="222" y="68"/>
                  <a:pt x="222" y="69"/>
                  <a:pt x="223" y="69"/>
                </a:cubicBezTo>
                <a:cubicBezTo>
                  <a:pt x="223" y="70"/>
                  <a:pt x="223" y="72"/>
                  <a:pt x="224" y="73"/>
                </a:cubicBezTo>
                <a:cubicBezTo>
                  <a:pt x="225" y="74"/>
                  <a:pt x="225" y="75"/>
                  <a:pt x="226" y="76"/>
                </a:cubicBezTo>
                <a:cubicBezTo>
                  <a:pt x="226" y="77"/>
                  <a:pt x="227" y="78"/>
                  <a:pt x="228" y="80"/>
                </a:cubicBezTo>
                <a:cubicBezTo>
                  <a:pt x="228" y="80"/>
                  <a:pt x="228" y="80"/>
                  <a:pt x="228" y="80"/>
                </a:cubicBezTo>
                <a:cubicBezTo>
                  <a:pt x="229" y="83"/>
                  <a:pt x="231" y="85"/>
                  <a:pt x="233" y="86"/>
                </a:cubicBezTo>
                <a:cubicBezTo>
                  <a:pt x="233" y="87"/>
                  <a:pt x="233" y="87"/>
                  <a:pt x="233" y="87"/>
                </a:cubicBezTo>
                <a:cubicBezTo>
                  <a:pt x="235" y="89"/>
                  <a:pt x="237" y="90"/>
                  <a:pt x="237" y="91"/>
                </a:cubicBezTo>
                <a:cubicBezTo>
                  <a:pt x="237" y="93"/>
                  <a:pt x="237" y="94"/>
                  <a:pt x="237" y="96"/>
                </a:cubicBezTo>
                <a:cubicBezTo>
                  <a:pt x="238" y="97"/>
                  <a:pt x="238" y="98"/>
                  <a:pt x="238" y="99"/>
                </a:cubicBezTo>
                <a:cubicBezTo>
                  <a:pt x="238" y="104"/>
                  <a:pt x="242" y="107"/>
                  <a:pt x="245" y="110"/>
                </a:cubicBezTo>
                <a:cubicBezTo>
                  <a:pt x="246" y="111"/>
                  <a:pt x="247" y="112"/>
                  <a:pt x="247" y="112"/>
                </a:cubicBezTo>
                <a:cubicBezTo>
                  <a:pt x="248" y="113"/>
                  <a:pt x="249" y="114"/>
                  <a:pt x="249" y="114"/>
                </a:cubicBezTo>
                <a:cubicBezTo>
                  <a:pt x="250" y="115"/>
                  <a:pt x="251" y="117"/>
                  <a:pt x="252" y="118"/>
                </a:cubicBezTo>
                <a:cubicBezTo>
                  <a:pt x="253" y="118"/>
                  <a:pt x="253" y="119"/>
                  <a:pt x="254" y="120"/>
                </a:cubicBezTo>
                <a:cubicBezTo>
                  <a:pt x="255" y="122"/>
                  <a:pt x="256" y="123"/>
                  <a:pt x="258" y="125"/>
                </a:cubicBezTo>
                <a:cubicBezTo>
                  <a:pt x="259" y="125"/>
                  <a:pt x="260" y="126"/>
                  <a:pt x="261" y="127"/>
                </a:cubicBezTo>
                <a:cubicBezTo>
                  <a:pt x="262" y="127"/>
                  <a:pt x="263" y="128"/>
                  <a:pt x="264" y="129"/>
                </a:cubicBezTo>
                <a:cubicBezTo>
                  <a:pt x="264" y="129"/>
                  <a:pt x="265" y="129"/>
                  <a:pt x="265" y="130"/>
                </a:cubicBezTo>
                <a:cubicBezTo>
                  <a:pt x="266" y="131"/>
                  <a:pt x="268" y="133"/>
                  <a:pt x="270" y="133"/>
                </a:cubicBezTo>
                <a:cubicBezTo>
                  <a:pt x="271" y="133"/>
                  <a:pt x="272" y="132"/>
                  <a:pt x="273" y="132"/>
                </a:cubicBezTo>
                <a:cubicBezTo>
                  <a:pt x="274" y="130"/>
                  <a:pt x="275" y="129"/>
                  <a:pt x="276" y="127"/>
                </a:cubicBezTo>
                <a:cubicBezTo>
                  <a:pt x="277" y="126"/>
                  <a:pt x="277" y="125"/>
                  <a:pt x="278" y="125"/>
                </a:cubicBezTo>
                <a:cubicBezTo>
                  <a:pt x="280" y="122"/>
                  <a:pt x="280" y="120"/>
                  <a:pt x="279" y="116"/>
                </a:cubicBezTo>
                <a:cubicBezTo>
                  <a:pt x="279" y="116"/>
                  <a:pt x="278" y="116"/>
                  <a:pt x="278" y="115"/>
                </a:cubicBezTo>
                <a:cubicBezTo>
                  <a:pt x="277" y="113"/>
                  <a:pt x="277" y="112"/>
                  <a:pt x="277" y="110"/>
                </a:cubicBezTo>
                <a:cubicBezTo>
                  <a:pt x="278" y="109"/>
                  <a:pt x="278" y="107"/>
                  <a:pt x="279" y="105"/>
                </a:cubicBezTo>
                <a:cubicBezTo>
                  <a:pt x="280" y="104"/>
                  <a:pt x="280" y="103"/>
                  <a:pt x="280" y="102"/>
                </a:cubicBezTo>
                <a:cubicBezTo>
                  <a:pt x="282" y="98"/>
                  <a:pt x="282" y="93"/>
                  <a:pt x="283" y="88"/>
                </a:cubicBezTo>
                <a:cubicBezTo>
                  <a:pt x="283" y="86"/>
                  <a:pt x="283" y="84"/>
                  <a:pt x="283" y="82"/>
                </a:cubicBezTo>
                <a:cubicBezTo>
                  <a:pt x="284" y="81"/>
                  <a:pt x="284" y="78"/>
                  <a:pt x="285" y="77"/>
                </a:cubicBezTo>
                <a:cubicBezTo>
                  <a:pt x="285" y="77"/>
                  <a:pt x="285" y="77"/>
                  <a:pt x="285" y="77"/>
                </a:cubicBezTo>
                <a:cubicBezTo>
                  <a:pt x="285" y="67"/>
                  <a:pt x="285" y="67"/>
                  <a:pt x="285" y="67"/>
                </a:cubicBezTo>
                <a:cubicBezTo>
                  <a:pt x="262" y="10"/>
                  <a:pt x="262" y="10"/>
                  <a:pt x="262" y="10"/>
                </a:cubicBezTo>
                <a:cubicBezTo>
                  <a:pt x="260" y="11"/>
                  <a:pt x="260" y="11"/>
                  <a:pt x="260" y="11"/>
                </a:cubicBezTo>
                <a:cubicBezTo>
                  <a:pt x="256" y="14"/>
                  <a:pt x="250" y="15"/>
                  <a:pt x="245" y="16"/>
                </a:cubicBezTo>
                <a:cubicBezTo>
                  <a:pt x="243" y="16"/>
                  <a:pt x="243" y="16"/>
                  <a:pt x="243" y="16"/>
                </a:cubicBezTo>
                <a:cubicBezTo>
                  <a:pt x="241" y="16"/>
                  <a:pt x="239" y="16"/>
                  <a:pt x="237" y="16"/>
                </a:cubicBezTo>
                <a:cubicBezTo>
                  <a:pt x="236" y="16"/>
                  <a:pt x="235" y="16"/>
                  <a:pt x="234" y="16"/>
                </a:cubicBezTo>
                <a:cubicBezTo>
                  <a:pt x="233" y="16"/>
                  <a:pt x="233" y="16"/>
                  <a:pt x="233" y="16"/>
                </a:cubicBezTo>
                <a:cubicBezTo>
                  <a:pt x="232" y="16"/>
                  <a:pt x="231" y="16"/>
                  <a:pt x="230" y="16"/>
                </a:cubicBezTo>
                <a:cubicBezTo>
                  <a:pt x="229" y="16"/>
                  <a:pt x="228" y="16"/>
                  <a:pt x="227" y="16"/>
                </a:cubicBezTo>
                <a:cubicBezTo>
                  <a:pt x="226" y="16"/>
                  <a:pt x="224" y="17"/>
                  <a:pt x="223" y="18"/>
                </a:cubicBezTo>
                <a:cubicBezTo>
                  <a:pt x="223" y="18"/>
                  <a:pt x="222" y="19"/>
                  <a:pt x="222" y="19"/>
                </a:cubicBezTo>
                <a:cubicBezTo>
                  <a:pt x="221" y="19"/>
                  <a:pt x="221" y="19"/>
                  <a:pt x="221" y="19"/>
                </a:cubicBezTo>
                <a:cubicBezTo>
                  <a:pt x="220" y="19"/>
                  <a:pt x="218" y="18"/>
                  <a:pt x="217" y="17"/>
                </a:cubicBezTo>
                <a:cubicBezTo>
                  <a:pt x="216" y="16"/>
                  <a:pt x="215" y="15"/>
                  <a:pt x="214" y="15"/>
                </a:cubicBezTo>
                <a:cubicBezTo>
                  <a:pt x="213" y="14"/>
                  <a:pt x="212" y="14"/>
                  <a:pt x="211" y="14"/>
                </a:cubicBezTo>
                <a:cubicBezTo>
                  <a:pt x="209" y="14"/>
                  <a:pt x="207" y="15"/>
                  <a:pt x="205" y="17"/>
                </a:cubicBezTo>
                <a:cubicBezTo>
                  <a:pt x="204" y="15"/>
                  <a:pt x="204" y="14"/>
                  <a:pt x="202" y="13"/>
                </a:cubicBezTo>
                <a:cubicBezTo>
                  <a:pt x="201" y="13"/>
                  <a:pt x="200" y="13"/>
                  <a:pt x="200" y="13"/>
                </a:cubicBezTo>
                <a:cubicBezTo>
                  <a:pt x="199" y="13"/>
                  <a:pt x="199" y="13"/>
                  <a:pt x="199" y="13"/>
                </a:cubicBezTo>
                <a:cubicBezTo>
                  <a:pt x="199" y="12"/>
                  <a:pt x="199" y="12"/>
                  <a:pt x="199" y="12"/>
                </a:cubicBezTo>
                <a:cubicBezTo>
                  <a:pt x="200" y="12"/>
                  <a:pt x="201" y="12"/>
                  <a:pt x="202" y="11"/>
                </a:cubicBezTo>
                <a:cubicBezTo>
                  <a:pt x="203" y="10"/>
                  <a:pt x="203" y="9"/>
                  <a:pt x="203" y="8"/>
                </a:cubicBezTo>
                <a:cubicBezTo>
                  <a:pt x="202" y="6"/>
                  <a:pt x="199" y="5"/>
                  <a:pt x="199" y="5"/>
                </a:cubicBezTo>
                <a:cubicBezTo>
                  <a:pt x="198" y="4"/>
                  <a:pt x="197" y="4"/>
                  <a:pt x="196" y="4"/>
                </a:cubicBezTo>
                <a:cubicBezTo>
                  <a:pt x="195" y="4"/>
                  <a:pt x="194" y="4"/>
                  <a:pt x="193" y="5"/>
                </a:cubicBezTo>
                <a:cubicBezTo>
                  <a:pt x="192" y="5"/>
                  <a:pt x="192" y="5"/>
                  <a:pt x="191" y="6"/>
                </a:cubicBezTo>
                <a:cubicBezTo>
                  <a:pt x="191" y="6"/>
                  <a:pt x="190" y="7"/>
                  <a:pt x="190" y="7"/>
                </a:cubicBezTo>
                <a:cubicBezTo>
                  <a:pt x="189" y="7"/>
                  <a:pt x="188" y="6"/>
                  <a:pt x="188" y="6"/>
                </a:cubicBezTo>
                <a:cubicBezTo>
                  <a:pt x="187" y="5"/>
                  <a:pt x="186" y="5"/>
                  <a:pt x="185" y="4"/>
                </a:cubicBezTo>
                <a:cubicBezTo>
                  <a:pt x="182" y="2"/>
                  <a:pt x="179" y="0"/>
                  <a:pt x="176" y="0"/>
                </a:cubicBezTo>
                <a:cubicBezTo>
                  <a:pt x="175" y="0"/>
                  <a:pt x="175" y="0"/>
                  <a:pt x="174" y="0"/>
                </a:cubicBezTo>
                <a:cubicBezTo>
                  <a:pt x="173" y="0"/>
                  <a:pt x="163" y="3"/>
                  <a:pt x="162" y="6"/>
                </a:cubicBezTo>
                <a:cubicBezTo>
                  <a:pt x="162" y="6"/>
                  <a:pt x="161" y="6"/>
                  <a:pt x="161" y="6"/>
                </a:cubicBezTo>
                <a:cubicBezTo>
                  <a:pt x="160" y="6"/>
                  <a:pt x="159" y="6"/>
                  <a:pt x="158" y="6"/>
                </a:cubicBezTo>
                <a:cubicBezTo>
                  <a:pt x="158" y="6"/>
                  <a:pt x="158" y="6"/>
                  <a:pt x="158" y="6"/>
                </a:cubicBezTo>
                <a:cubicBezTo>
                  <a:pt x="155" y="6"/>
                  <a:pt x="154" y="8"/>
                  <a:pt x="153" y="10"/>
                </a:cubicBezTo>
                <a:cubicBezTo>
                  <a:pt x="153" y="11"/>
                  <a:pt x="152" y="11"/>
                  <a:pt x="152" y="12"/>
                </a:cubicBezTo>
                <a:cubicBezTo>
                  <a:pt x="151" y="12"/>
                  <a:pt x="151" y="12"/>
                  <a:pt x="149" y="12"/>
                </a:cubicBezTo>
                <a:cubicBezTo>
                  <a:pt x="148" y="12"/>
                  <a:pt x="148" y="12"/>
                  <a:pt x="148" y="12"/>
                </a:cubicBezTo>
                <a:cubicBezTo>
                  <a:pt x="147" y="12"/>
                  <a:pt x="147" y="13"/>
                  <a:pt x="146" y="13"/>
                </a:cubicBezTo>
                <a:cubicBezTo>
                  <a:pt x="142" y="13"/>
                  <a:pt x="139" y="16"/>
                  <a:pt x="136" y="19"/>
                </a:cubicBezTo>
                <a:cubicBezTo>
                  <a:pt x="134" y="20"/>
                  <a:pt x="133" y="22"/>
                  <a:pt x="132" y="22"/>
                </a:cubicBezTo>
                <a:cubicBezTo>
                  <a:pt x="128" y="25"/>
                  <a:pt x="125" y="26"/>
                  <a:pt x="122" y="26"/>
                </a:cubicBezTo>
                <a:cubicBezTo>
                  <a:pt x="121" y="26"/>
                  <a:pt x="120" y="26"/>
                  <a:pt x="119" y="26"/>
                </a:cubicBezTo>
                <a:cubicBezTo>
                  <a:pt x="118" y="25"/>
                  <a:pt x="117" y="25"/>
                  <a:pt x="116" y="24"/>
                </a:cubicBezTo>
                <a:cubicBezTo>
                  <a:pt x="115" y="23"/>
                  <a:pt x="115" y="23"/>
                  <a:pt x="114" y="23"/>
                </a:cubicBezTo>
                <a:cubicBezTo>
                  <a:pt x="113" y="22"/>
                  <a:pt x="111" y="21"/>
                  <a:pt x="110" y="21"/>
                </a:cubicBezTo>
                <a:cubicBezTo>
                  <a:pt x="109" y="20"/>
                  <a:pt x="108" y="20"/>
                  <a:pt x="107" y="20"/>
                </a:cubicBezTo>
                <a:cubicBezTo>
                  <a:pt x="104" y="18"/>
                  <a:pt x="102" y="18"/>
                  <a:pt x="99" y="18"/>
                </a:cubicBezTo>
                <a:cubicBezTo>
                  <a:pt x="98" y="18"/>
                  <a:pt x="96" y="18"/>
                  <a:pt x="95" y="18"/>
                </a:cubicBezTo>
                <a:cubicBezTo>
                  <a:pt x="94" y="18"/>
                  <a:pt x="93" y="18"/>
                  <a:pt x="91" y="17"/>
                </a:cubicBezTo>
                <a:cubicBezTo>
                  <a:pt x="90" y="17"/>
                  <a:pt x="90" y="17"/>
                  <a:pt x="89" y="16"/>
                </a:cubicBezTo>
                <a:cubicBezTo>
                  <a:pt x="89" y="16"/>
                  <a:pt x="88" y="15"/>
                  <a:pt x="88" y="15"/>
                </a:cubicBezTo>
                <a:cubicBezTo>
                  <a:pt x="86" y="14"/>
                  <a:pt x="84" y="13"/>
                  <a:pt x="83" y="13"/>
                </a:cubicBezTo>
                <a:cubicBezTo>
                  <a:pt x="82" y="13"/>
                  <a:pt x="82" y="13"/>
                  <a:pt x="81" y="13"/>
                </a:cubicBezTo>
                <a:cubicBezTo>
                  <a:pt x="81" y="14"/>
                  <a:pt x="80" y="14"/>
                  <a:pt x="80" y="14"/>
                </a:cubicBezTo>
                <a:cubicBezTo>
                  <a:pt x="80" y="16"/>
                  <a:pt x="80" y="16"/>
                  <a:pt x="80" y="16"/>
                </a:cubicBezTo>
                <a:cubicBezTo>
                  <a:pt x="80" y="16"/>
                  <a:pt x="80" y="16"/>
                  <a:pt x="80" y="16"/>
                </a:cubicBezTo>
                <a:cubicBezTo>
                  <a:pt x="80" y="14"/>
                  <a:pt x="80" y="14"/>
                  <a:pt x="80" y="14"/>
                </a:cubicBezTo>
                <a:cubicBezTo>
                  <a:pt x="77" y="13"/>
                  <a:pt x="76" y="13"/>
                  <a:pt x="75" y="12"/>
                </a:cubicBezTo>
                <a:cubicBezTo>
                  <a:pt x="72" y="10"/>
                  <a:pt x="71" y="9"/>
                  <a:pt x="68" y="8"/>
                </a:cubicBezTo>
                <a:cubicBezTo>
                  <a:pt x="67" y="8"/>
                  <a:pt x="66" y="8"/>
                  <a:pt x="65" y="7"/>
                </a:cubicBezTo>
                <a:cubicBezTo>
                  <a:pt x="64" y="7"/>
                  <a:pt x="63" y="6"/>
                  <a:pt x="62" y="6"/>
                </a:cubicBezTo>
                <a:cubicBezTo>
                  <a:pt x="60" y="6"/>
                  <a:pt x="60" y="6"/>
                  <a:pt x="60" y="6"/>
                </a:cubicBezTo>
                <a:cubicBezTo>
                  <a:pt x="58" y="6"/>
                  <a:pt x="56" y="5"/>
                  <a:pt x="54" y="5"/>
                </a:cubicBezTo>
                <a:cubicBezTo>
                  <a:pt x="47" y="5"/>
                  <a:pt x="42" y="4"/>
                  <a:pt x="39" y="2"/>
                </a:cubicBezTo>
                <a:cubicBezTo>
                  <a:pt x="37" y="1"/>
                  <a:pt x="34" y="1"/>
                  <a:pt x="32" y="1"/>
                </a:cubicBezTo>
                <a:cubicBezTo>
                  <a:pt x="29" y="1"/>
                  <a:pt x="27" y="1"/>
                  <a:pt x="25" y="2"/>
                </a:cubicBezTo>
                <a:cubicBezTo>
                  <a:pt x="24" y="2"/>
                  <a:pt x="24" y="3"/>
                  <a:pt x="23" y="3"/>
                </a:cubicBezTo>
                <a:cubicBezTo>
                  <a:pt x="22" y="3"/>
                  <a:pt x="21" y="3"/>
                  <a:pt x="20" y="4"/>
                </a:cubicBezTo>
                <a:cubicBezTo>
                  <a:pt x="19" y="4"/>
                  <a:pt x="19" y="4"/>
                  <a:pt x="18" y="4"/>
                </a:cubicBezTo>
                <a:cubicBezTo>
                  <a:pt x="18" y="4"/>
                  <a:pt x="17" y="4"/>
                  <a:pt x="17" y="4"/>
                </a:cubicBezTo>
                <a:cubicBezTo>
                  <a:pt x="16" y="4"/>
                  <a:pt x="16" y="4"/>
                  <a:pt x="15" y="4"/>
                </a:cubicBezTo>
                <a:cubicBezTo>
                  <a:pt x="15" y="4"/>
                  <a:pt x="14" y="4"/>
                  <a:pt x="14" y="4"/>
                </a:cubicBezTo>
                <a:cubicBezTo>
                  <a:pt x="14" y="4"/>
                  <a:pt x="13" y="4"/>
                  <a:pt x="13" y="4"/>
                </a:cubicBezTo>
                <a:cubicBezTo>
                  <a:pt x="13" y="4"/>
                  <a:pt x="12" y="0"/>
                  <a:pt x="12" y="0"/>
                </a:cubicBezTo>
                <a:cubicBezTo>
                  <a:pt x="9" y="3"/>
                  <a:pt x="9" y="3"/>
                  <a:pt x="9" y="3"/>
                </a:cubicBezTo>
                <a:cubicBezTo>
                  <a:pt x="7" y="5"/>
                  <a:pt x="5" y="8"/>
                  <a:pt x="4" y="10"/>
                </a:cubicBezTo>
                <a:cubicBezTo>
                  <a:pt x="2" y="14"/>
                  <a:pt x="3" y="18"/>
                  <a:pt x="5" y="21"/>
                </a:cubicBezTo>
                <a:cubicBezTo>
                  <a:pt x="5" y="22"/>
                  <a:pt x="5" y="23"/>
                  <a:pt x="6" y="24"/>
                </a:cubicBezTo>
                <a:cubicBezTo>
                  <a:pt x="7" y="29"/>
                  <a:pt x="8" y="35"/>
                  <a:pt x="6" y="40"/>
                </a:cubicBezTo>
                <a:cubicBezTo>
                  <a:pt x="6" y="42"/>
                  <a:pt x="5" y="43"/>
                  <a:pt x="3" y="45"/>
                </a:cubicBezTo>
                <a:cubicBezTo>
                  <a:pt x="1" y="47"/>
                  <a:pt x="0" y="49"/>
                  <a:pt x="0" y="53"/>
                </a:cubicBezTo>
                <a:cubicBezTo>
                  <a:pt x="10" y="81"/>
                  <a:pt x="10" y="81"/>
                  <a:pt x="10" y="81"/>
                </a:cubicBezTo>
                <a:cubicBezTo>
                  <a:pt x="17" y="321"/>
                  <a:pt x="17" y="321"/>
                  <a:pt x="17" y="321"/>
                </a:cubicBezTo>
                <a:cubicBezTo>
                  <a:pt x="19" y="321"/>
                  <a:pt x="19" y="321"/>
                  <a:pt x="19" y="321"/>
                </a:cubicBezTo>
                <a:cubicBezTo>
                  <a:pt x="28" y="321"/>
                  <a:pt x="37" y="321"/>
                  <a:pt x="46" y="321"/>
                </a:cubicBezTo>
                <a:cubicBezTo>
                  <a:pt x="56" y="321"/>
                  <a:pt x="66" y="321"/>
                  <a:pt x="77" y="321"/>
                </a:cubicBezTo>
                <a:cubicBezTo>
                  <a:pt x="93" y="321"/>
                  <a:pt x="93" y="321"/>
                  <a:pt x="93" y="321"/>
                </a:cubicBezTo>
                <a:cubicBezTo>
                  <a:pt x="106" y="321"/>
                  <a:pt x="119" y="321"/>
                  <a:pt x="132" y="321"/>
                </a:cubicBezTo>
                <a:cubicBezTo>
                  <a:pt x="147" y="321"/>
                  <a:pt x="161" y="321"/>
                  <a:pt x="173" y="321"/>
                </a:cubicBezTo>
                <a:cubicBezTo>
                  <a:pt x="178" y="321"/>
                  <a:pt x="178" y="321"/>
                  <a:pt x="178" y="321"/>
                </a:cubicBezTo>
                <a:cubicBezTo>
                  <a:pt x="180" y="321"/>
                  <a:pt x="183" y="321"/>
                  <a:pt x="186" y="321"/>
                </a:cubicBezTo>
                <a:cubicBezTo>
                  <a:pt x="187" y="321"/>
                  <a:pt x="188" y="321"/>
                  <a:pt x="189" y="321"/>
                </a:cubicBezTo>
                <a:cubicBezTo>
                  <a:pt x="190" y="321"/>
                  <a:pt x="191" y="321"/>
                  <a:pt x="191" y="321"/>
                </a:cubicBezTo>
                <a:cubicBezTo>
                  <a:pt x="192" y="322"/>
                  <a:pt x="193" y="322"/>
                  <a:pt x="193" y="322"/>
                </a:cubicBezTo>
                <a:cubicBezTo>
                  <a:pt x="194" y="322"/>
                  <a:pt x="194" y="322"/>
                  <a:pt x="194" y="322"/>
                </a:cubicBezTo>
                <a:cubicBezTo>
                  <a:pt x="194" y="322"/>
                  <a:pt x="194" y="322"/>
                  <a:pt x="194" y="322"/>
                </a:cubicBezTo>
                <a:cubicBezTo>
                  <a:pt x="196" y="321"/>
                  <a:pt x="197" y="319"/>
                  <a:pt x="198" y="317"/>
                </a:cubicBezTo>
                <a:cubicBezTo>
                  <a:pt x="199" y="316"/>
                  <a:pt x="200" y="314"/>
                  <a:pt x="201" y="314"/>
                </a:cubicBezTo>
                <a:cubicBezTo>
                  <a:pt x="201" y="314"/>
                  <a:pt x="201" y="314"/>
                  <a:pt x="202" y="314"/>
                </a:cubicBezTo>
                <a:cubicBezTo>
                  <a:pt x="202" y="314"/>
                  <a:pt x="202" y="314"/>
                  <a:pt x="203" y="314"/>
                </a:cubicBezTo>
                <a:cubicBezTo>
                  <a:pt x="204" y="315"/>
                  <a:pt x="204" y="317"/>
                  <a:pt x="204" y="319"/>
                </a:cubicBezTo>
                <a:cubicBezTo>
                  <a:pt x="203" y="321"/>
                  <a:pt x="203" y="321"/>
                  <a:pt x="203" y="321"/>
                </a:cubicBezTo>
                <a:cubicBezTo>
                  <a:pt x="205" y="321"/>
                  <a:pt x="205" y="321"/>
                  <a:pt x="205" y="321"/>
                </a:cubicBezTo>
                <a:cubicBezTo>
                  <a:pt x="209" y="322"/>
                  <a:pt x="213" y="322"/>
                  <a:pt x="217" y="322"/>
                </a:cubicBezTo>
                <a:cubicBezTo>
                  <a:pt x="223" y="322"/>
                  <a:pt x="229" y="322"/>
                  <a:pt x="234" y="321"/>
                </a:cubicBezTo>
                <a:cubicBezTo>
                  <a:pt x="237" y="321"/>
                  <a:pt x="237" y="321"/>
                  <a:pt x="237" y="321"/>
                </a:cubicBezTo>
                <a:cubicBezTo>
                  <a:pt x="239" y="321"/>
                  <a:pt x="241" y="321"/>
                  <a:pt x="243" y="321"/>
                </a:cubicBezTo>
                <a:cubicBezTo>
                  <a:pt x="248" y="321"/>
                  <a:pt x="253" y="321"/>
                  <a:pt x="257" y="325"/>
                </a:cubicBezTo>
                <a:cubicBezTo>
                  <a:pt x="259" y="328"/>
                  <a:pt x="264" y="330"/>
                  <a:pt x="268" y="330"/>
                </a:cubicBezTo>
                <a:cubicBezTo>
                  <a:pt x="268" y="330"/>
                  <a:pt x="269" y="330"/>
                  <a:pt x="269" y="330"/>
                </a:cubicBezTo>
                <a:cubicBezTo>
                  <a:pt x="272" y="329"/>
                  <a:pt x="274" y="328"/>
                  <a:pt x="275" y="325"/>
                </a:cubicBezTo>
                <a:cubicBezTo>
                  <a:pt x="276" y="324"/>
                  <a:pt x="276" y="323"/>
                  <a:pt x="277" y="321"/>
                </a:cubicBezTo>
                <a:cubicBezTo>
                  <a:pt x="277" y="319"/>
                  <a:pt x="278" y="317"/>
                  <a:pt x="280" y="315"/>
                </a:cubicBezTo>
                <a:cubicBezTo>
                  <a:pt x="282" y="314"/>
                  <a:pt x="284" y="314"/>
                  <a:pt x="286" y="313"/>
                </a:cubicBezTo>
                <a:cubicBezTo>
                  <a:pt x="287" y="313"/>
                  <a:pt x="289" y="313"/>
                  <a:pt x="290" y="313"/>
                </a:cubicBezTo>
                <a:cubicBezTo>
                  <a:pt x="294" y="311"/>
                  <a:pt x="296" y="307"/>
                  <a:pt x="297" y="303"/>
                </a:cubicBezTo>
                <a:cubicBezTo>
                  <a:pt x="298" y="300"/>
                  <a:pt x="299" y="297"/>
                  <a:pt x="301" y="295"/>
                </a:cubicBezTo>
                <a:cubicBezTo>
                  <a:pt x="303" y="294"/>
                  <a:pt x="304" y="294"/>
                  <a:pt x="306" y="293"/>
                </a:cubicBezTo>
                <a:cubicBezTo>
                  <a:pt x="308" y="293"/>
                  <a:pt x="309" y="293"/>
                  <a:pt x="311" y="292"/>
                </a:cubicBezTo>
                <a:cubicBezTo>
                  <a:pt x="314" y="291"/>
                  <a:pt x="315" y="288"/>
                  <a:pt x="317" y="286"/>
                </a:cubicBezTo>
                <a:cubicBezTo>
                  <a:pt x="318" y="285"/>
                  <a:pt x="318" y="285"/>
                  <a:pt x="318" y="284"/>
                </a:cubicBezTo>
                <a:cubicBezTo>
                  <a:pt x="320" y="283"/>
                  <a:pt x="320" y="283"/>
                  <a:pt x="320" y="283"/>
                </a:cubicBezTo>
                <a:cubicBezTo>
                  <a:pt x="320" y="283"/>
                  <a:pt x="319" y="281"/>
                  <a:pt x="319" y="281"/>
                </a:cubicBezTo>
                <a:cubicBezTo>
                  <a:pt x="319" y="280"/>
                  <a:pt x="318" y="279"/>
                  <a:pt x="318" y="278"/>
                </a:cubicBezTo>
                <a:cubicBezTo>
                  <a:pt x="317" y="275"/>
                  <a:pt x="316" y="272"/>
                  <a:pt x="316" y="269"/>
                </a:cubicBezTo>
                <a:cubicBezTo>
                  <a:pt x="316" y="266"/>
                  <a:pt x="316" y="263"/>
                  <a:pt x="316" y="260"/>
                </a:cubicBezTo>
                <a:cubicBezTo>
                  <a:pt x="316" y="259"/>
                  <a:pt x="316" y="259"/>
                  <a:pt x="316" y="258"/>
                </a:cubicBezTo>
                <a:close/>
                <a:moveTo>
                  <a:pt x="255" y="136"/>
                </a:moveTo>
                <a:cubicBezTo>
                  <a:pt x="255" y="136"/>
                  <a:pt x="256" y="136"/>
                  <a:pt x="256" y="137"/>
                </a:cubicBezTo>
                <a:cubicBezTo>
                  <a:pt x="256" y="137"/>
                  <a:pt x="256" y="137"/>
                  <a:pt x="256" y="137"/>
                </a:cubicBezTo>
                <a:cubicBezTo>
                  <a:pt x="256" y="137"/>
                  <a:pt x="256" y="137"/>
                  <a:pt x="256" y="138"/>
                </a:cubicBezTo>
                <a:cubicBezTo>
                  <a:pt x="255" y="137"/>
                  <a:pt x="255" y="136"/>
                  <a:pt x="255" y="136"/>
                </a:cubicBezTo>
                <a:close/>
              </a:path>
            </a:pathLst>
          </a:custGeom>
          <a:solidFill>
            <a:schemeClr val="tx1">
              <a:alpha val="15000"/>
            </a:schemeClr>
          </a:solidFill>
          <a:ln w="3175" cap="rnd">
            <a:solidFill>
              <a:schemeClr val="bg1">
                <a:lumMod val="75000"/>
              </a:schemeClr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grpSp>
        <p:nvGrpSpPr>
          <p:cNvPr id="2" name="Group 1"/>
          <p:cNvGrpSpPr/>
          <p:nvPr/>
        </p:nvGrpSpPr>
        <p:grpSpPr>
          <a:xfrm>
            <a:off x="501197" y="226587"/>
            <a:ext cx="4487525" cy="4438153"/>
            <a:chOff x="501196" y="226586"/>
            <a:chExt cx="4487525" cy="4438153"/>
          </a:xfrm>
        </p:grpSpPr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2347097" y="2489839"/>
              <a:ext cx="32365" cy="31848"/>
            </a:xfrm>
            <a:custGeom>
              <a:avLst/>
              <a:gdLst>
                <a:gd name="T0" fmla="*/ 12 w 16"/>
                <a:gd name="T1" fmla="*/ 0 h 17"/>
                <a:gd name="T2" fmla="*/ 9 w 16"/>
                <a:gd name="T3" fmla="*/ 0 h 17"/>
                <a:gd name="T4" fmla="*/ 5 w 16"/>
                <a:gd name="T5" fmla="*/ 3 h 17"/>
                <a:gd name="T6" fmla="*/ 3 w 16"/>
                <a:gd name="T7" fmla="*/ 4 h 17"/>
                <a:gd name="T8" fmla="*/ 1 w 16"/>
                <a:gd name="T9" fmla="*/ 11 h 17"/>
                <a:gd name="T10" fmla="*/ 3 w 16"/>
                <a:gd name="T11" fmla="*/ 17 h 17"/>
                <a:gd name="T12" fmla="*/ 5 w 16"/>
                <a:gd name="T13" fmla="*/ 17 h 17"/>
                <a:gd name="T14" fmla="*/ 9 w 16"/>
                <a:gd name="T15" fmla="*/ 11 h 17"/>
                <a:gd name="T16" fmla="*/ 10 w 16"/>
                <a:gd name="T17" fmla="*/ 9 h 17"/>
                <a:gd name="T18" fmla="*/ 12 w 16"/>
                <a:gd name="T19" fmla="*/ 8 h 17"/>
                <a:gd name="T20" fmla="*/ 14 w 16"/>
                <a:gd name="T21" fmla="*/ 6 h 17"/>
                <a:gd name="T22" fmla="*/ 16 w 16"/>
                <a:gd name="T23" fmla="*/ 2 h 17"/>
                <a:gd name="T24" fmla="*/ 12 w 16"/>
                <a:gd name="T2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7">
                  <a:moveTo>
                    <a:pt x="12" y="0"/>
                  </a:moveTo>
                  <a:cubicBezTo>
                    <a:pt x="11" y="0"/>
                    <a:pt x="10" y="0"/>
                    <a:pt x="9" y="0"/>
                  </a:cubicBezTo>
                  <a:cubicBezTo>
                    <a:pt x="7" y="1"/>
                    <a:pt x="6" y="2"/>
                    <a:pt x="5" y="3"/>
                  </a:cubicBezTo>
                  <a:cubicBezTo>
                    <a:pt x="4" y="3"/>
                    <a:pt x="3" y="4"/>
                    <a:pt x="3" y="4"/>
                  </a:cubicBezTo>
                  <a:cubicBezTo>
                    <a:pt x="1" y="5"/>
                    <a:pt x="0" y="9"/>
                    <a:pt x="1" y="11"/>
                  </a:cubicBezTo>
                  <a:cubicBezTo>
                    <a:pt x="1" y="12"/>
                    <a:pt x="1" y="16"/>
                    <a:pt x="3" y="17"/>
                  </a:cubicBezTo>
                  <a:cubicBezTo>
                    <a:pt x="4" y="17"/>
                    <a:pt x="4" y="17"/>
                    <a:pt x="5" y="17"/>
                  </a:cubicBezTo>
                  <a:cubicBezTo>
                    <a:pt x="8" y="17"/>
                    <a:pt x="9" y="13"/>
                    <a:pt x="9" y="11"/>
                  </a:cubicBezTo>
                  <a:cubicBezTo>
                    <a:pt x="9" y="10"/>
                    <a:pt x="10" y="10"/>
                    <a:pt x="10" y="9"/>
                  </a:cubicBezTo>
                  <a:cubicBezTo>
                    <a:pt x="10" y="8"/>
                    <a:pt x="10" y="8"/>
                    <a:pt x="12" y="8"/>
                  </a:cubicBezTo>
                  <a:cubicBezTo>
                    <a:pt x="12" y="7"/>
                    <a:pt x="13" y="7"/>
                    <a:pt x="14" y="6"/>
                  </a:cubicBezTo>
                  <a:cubicBezTo>
                    <a:pt x="16" y="5"/>
                    <a:pt x="16" y="3"/>
                    <a:pt x="16" y="2"/>
                  </a:cubicBezTo>
                  <a:cubicBezTo>
                    <a:pt x="16" y="1"/>
                    <a:pt x="15" y="0"/>
                    <a:pt x="12" y="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2397318" y="2411760"/>
              <a:ext cx="18972" cy="18492"/>
            </a:xfrm>
            <a:custGeom>
              <a:avLst/>
              <a:gdLst>
                <a:gd name="T0" fmla="*/ 7 w 9"/>
                <a:gd name="T1" fmla="*/ 1 h 10"/>
                <a:gd name="T2" fmla="*/ 5 w 9"/>
                <a:gd name="T3" fmla="*/ 0 h 10"/>
                <a:gd name="T4" fmla="*/ 2 w 9"/>
                <a:gd name="T5" fmla="*/ 1 h 10"/>
                <a:gd name="T6" fmla="*/ 0 w 9"/>
                <a:gd name="T7" fmla="*/ 8 h 10"/>
                <a:gd name="T8" fmla="*/ 0 w 9"/>
                <a:gd name="T9" fmla="*/ 9 h 10"/>
                <a:gd name="T10" fmla="*/ 2 w 9"/>
                <a:gd name="T11" fmla="*/ 10 h 10"/>
                <a:gd name="T12" fmla="*/ 2 w 9"/>
                <a:gd name="T13" fmla="*/ 10 h 10"/>
                <a:gd name="T14" fmla="*/ 2 w 9"/>
                <a:gd name="T15" fmla="*/ 10 h 10"/>
                <a:gd name="T16" fmla="*/ 9 w 9"/>
                <a:gd name="T17" fmla="*/ 5 h 10"/>
                <a:gd name="T18" fmla="*/ 7 w 9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0">
                  <a:moveTo>
                    <a:pt x="7" y="1"/>
                  </a:move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3" y="0"/>
                    <a:pt x="2" y="1"/>
                  </a:cubicBezTo>
                  <a:cubicBezTo>
                    <a:pt x="1" y="3"/>
                    <a:pt x="0" y="7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5" y="10"/>
                    <a:pt x="8" y="7"/>
                    <a:pt x="9" y="5"/>
                  </a:cubicBezTo>
                  <a:cubicBezTo>
                    <a:pt x="9" y="3"/>
                    <a:pt x="9" y="2"/>
                    <a:pt x="7" y="1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586014" y="1575497"/>
              <a:ext cx="30133" cy="39039"/>
            </a:xfrm>
            <a:custGeom>
              <a:avLst/>
              <a:gdLst>
                <a:gd name="T0" fmla="*/ 6 w 15"/>
                <a:gd name="T1" fmla="*/ 0 h 21"/>
                <a:gd name="T2" fmla="*/ 2 w 15"/>
                <a:gd name="T3" fmla="*/ 4 h 21"/>
                <a:gd name="T4" fmla="*/ 1 w 15"/>
                <a:gd name="T5" fmla="*/ 13 h 21"/>
                <a:gd name="T6" fmla="*/ 3 w 15"/>
                <a:gd name="T7" fmla="*/ 15 h 21"/>
                <a:gd name="T8" fmla="*/ 4 w 15"/>
                <a:gd name="T9" fmla="*/ 16 h 21"/>
                <a:gd name="T10" fmla="*/ 4 w 15"/>
                <a:gd name="T11" fmla="*/ 17 h 21"/>
                <a:gd name="T12" fmla="*/ 5 w 15"/>
                <a:gd name="T13" fmla="*/ 20 h 21"/>
                <a:gd name="T14" fmla="*/ 7 w 15"/>
                <a:gd name="T15" fmla="*/ 21 h 21"/>
                <a:gd name="T16" fmla="*/ 8 w 15"/>
                <a:gd name="T17" fmla="*/ 21 h 21"/>
                <a:gd name="T18" fmla="*/ 14 w 15"/>
                <a:gd name="T19" fmla="*/ 12 h 21"/>
                <a:gd name="T20" fmla="*/ 14 w 15"/>
                <a:gd name="T21" fmla="*/ 11 h 21"/>
                <a:gd name="T22" fmla="*/ 12 w 15"/>
                <a:gd name="T23" fmla="*/ 4 h 21"/>
                <a:gd name="T24" fmla="*/ 6 w 15"/>
                <a:gd name="T2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21">
                  <a:moveTo>
                    <a:pt x="6" y="0"/>
                  </a:moveTo>
                  <a:cubicBezTo>
                    <a:pt x="5" y="0"/>
                    <a:pt x="3" y="1"/>
                    <a:pt x="2" y="4"/>
                  </a:cubicBezTo>
                  <a:cubicBezTo>
                    <a:pt x="1" y="7"/>
                    <a:pt x="0" y="11"/>
                    <a:pt x="1" y="13"/>
                  </a:cubicBezTo>
                  <a:cubicBezTo>
                    <a:pt x="2" y="14"/>
                    <a:pt x="3" y="15"/>
                    <a:pt x="3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7"/>
                    <a:pt x="4" y="17"/>
                  </a:cubicBezTo>
                  <a:cubicBezTo>
                    <a:pt x="4" y="18"/>
                    <a:pt x="4" y="19"/>
                    <a:pt x="5" y="20"/>
                  </a:cubicBezTo>
                  <a:cubicBezTo>
                    <a:pt x="5" y="21"/>
                    <a:pt x="6" y="21"/>
                    <a:pt x="7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11" y="21"/>
                    <a:pt x="13" y="16"/>
                    <a:pt x="14" y="12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5" y="9"/>
                    <a:pt x="14" y="6"/>
                    <a:pt x="12" y="4"/>
                  </a:cubicBezTo>
                  <a:cubicBezTo>
                    <a:pt x="11" y="2"/>
                    <a:pt x="8" y="0"/>
                    <a:pt x="6" y="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634003" y="1513856"/>
              <a:ext cx="31249" cy="26711"/>
            </a:xfrm>
            <a:custGeom>
              <a:avLst/>
              <a:gdLst>
                <a:gd name="T0" fmla="*/ 11 w 15"/>
                <a:gd name="T1" fmla="*/ 1 h 14"/>
                <a:gd name="T2" fmla="*/ 8 w 15"/>
                <a:gd name="T3" fmla="*/ 0 h 14"/>
                <a:gd name="T4" fmla="*/ 2 w 15"/>
                <a:gd name="T5" fmla="*/ 3 h 14"/>
                <a:gd name="T6" fmla="*/ 0 w 15"/>
                <a:gd name="T7" fmla="*/ 9 h 14"/>
                <a:gd name="T8" fmla="*/ 6 w 15"/>
                <a:gd name="T9" fmla="*/ 14 h 14"/>
                <a:gd name="T10" fmla="*/ 8 w 15"/>
                <a:gd name="T11" fmla="*/ 14 h 14"/>
                <a:gd name="T12" fmla="*/ 14 w 15"/>
                <a:gd name="T13" fmla="*/ 9 h 14"/>
                <a:gd name="T14" fmla="*/ 11 w 15"/>
                <a:gd name="T1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4">
                  <a:moveTo>
                    <a:pt x="11" y="1"/>
                  </a:move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3" y="2"/>
                    <a:pt x="2" y="3"/>
                  </a:cubicBezTo>
                  <a:cubicBezTo>
                    <a:pt x="0" y="5"/>
                    <a:pt x="0" y="7"/>
                    <a:pt x="0" y="9"/>
                  </a:cubicBezTo>
                  <a:cubicBezTo>
                    <a:pt x="1" y="11"/>
                    <a:pt x="5" y="14"/>
                    <a:pt x="6" y="14"/>
                  </a:cubicBezTo>
                  <a:cubicBezTo>
                    <a:pt x="7" y="14"/>
                    <a:pt x="7" y="14"/>
                    <a:pt x="8" y="14"/>
                  </a:cubicBezTo>
                  <a:cubicBezTo>
                    <a:pt x="11" y="14"/>
                    <a:pt x="13" y="12"/>
                    <a:pt x="14" y="9"/>
                  </a:cubicBezTo>
                  <a:cubicBezTo>
                    <a:pt x="15" y="6"/>
                    <a:pt x="14" y="3"/>
                    <a:pt x="11" y="1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543605" y="1591934"/>
              <a:ext cx="24552" cy="18492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0 h 10"/>
                <a:gd name="T4" fmla="*/ 1 w 12"/>
                <a:gd name="T5" fmla="*/ 4 h 10"/>
                <a:gd name="T6" fmla="*/ 3 w 12"/>
                <a:gd name="T7" fmla="*/ 9 h 10"/>
                <a:gd name="T8" fmla="*/ 6 w 12"/>
                <a:gd name="T9" fmla="*/ 10 h 10"/>
                <a:gd name="T10" fmla="*/ 12 w 12"/>
                <a:gd name="T11" fmla="*/ 5 h 10"/>
                <a:gd name="T12" fmla="*/ 8 w 12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7" y="0"/>
                    <a:pt x="7" y="0"/>
                    <a:pt x="6" y="0"/>
                  </a:cubicBezTo>
                  <a:cubicBezTo>
                    <a:pt x="4" y="0"/>
                    <a:pt x="1" y="1"/>
                    <a:pt x="1" y="4"/>
                  </a:cubicBezTo>
                  <a:cubicBezTo>
                    <a:pt x="0" y="6"/>
                    <a:pt x="1" y="8"/>
                    <a:pt x="3" y="9"/>
                  </a:cubicBezTo>
                  <a:cubicBezTo>
                    <a:pt x="4" y="9"/>
                    <a:pt x="5" y="10"/>
                    <a:pt x="6" y="10"/>
                  </a:cubicBezTo>
                  <a:cubicBezTo>
                    <a:pt x="9" y="10"/>
                    <a:pt x="11" y="8"/>
                    <a:pt x="12" y="5"/>
                  </a:cubicBezTo>
                  <a:cubicBezTo>
                    <a:pt x="12" y="3"/>
                    <a:pt x="11" y="1"/>
                    <a:pt x="8" y="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555881" y="1490227"/>
              <a:ext cx="30133" cy="18492"/>
            </a:xfrm>
            <a:custGeom>
              <a:avLst/>
              <a:gdLst>
                <a:gd name="T0" fmla="*/ 7 w 15"/>
                <a:gd name="T1" fmla="*/ 0 h 10"/>
                <a:gd name="T2" fmla="*/ 1 w 15"/>
                <a:gd name="T3" fmla="*/ 3 h 10"/>
                <a:gd name="T4" fmla="*/ 1 w 15"/>
                <a:gd name="T5" fmla="*/ 8 h 10"/>
                <a:gd name="T6" fmla="*/ 5 w 15"/>
                <a:gd name="T7" fmla="*/ 10 h 10"/>
                <a:gd name="T8" fmla="*/ 8 w 15"/>
                <a:gd name="T9" fmla="*/ 8 h 10"/>
                <a:gd name="T10" fmla="*/ 9 w 15"/>
                <a:gd name="T11" fmla="*/ 9 h 10"/>
                <a:gd name="T12" fmla="*/ 12 w 15"/>
                <a:gd name="T13" fmla="*/ 9 h 10"/>
                <a:gd name="T14" fmla="*/ 15 w 15"/>
                <a:gd name="T15" fmla="*/ 8 h 10"/>
                <a:gd name="T16" fmla="*/ 15 w 15"/>
                <a:gd name="T17" fmla="*/ 4 h 10"/>
                <a:gd name="T18" fmla="*/ 7 w 15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0">
                  <a:moveTo>
                    <a:pt x="7" y="0"/>
                  </a:moveTo>
                  <a:cubicBezTo>
                    <a:pt x="4" y="0"/>
                    <a:pt x="2" y="1"/>
                    <a:pt x="1" y="3"/>
                  </a:cubicBezTo>
                  <a:cubicBezTo>
                    <a:pt x="1" y="4"/>
                    <a:pt x="0" y="5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6" y="10"/>
                    <a:pt x="7" y="9"/>
                    <a:pt x="8" y="8"/>
                  </a:cubicBezTo>
                  <a:cubicBezTo>
                    <a:pt x="8" y="8"/>
                    <a:pt x="8" y="9"/>
                    <a:pt x="9" y="9"/>
                  </a:cubicBezTo>
                  <a:cubicBezTo>
                    <a:pt x="10" y="9"/>
                    <a:pt x="11" y="9"/>
                    <a:pt x="12" y="9"/>
                  </a:cubicBezTo>
                  <a:cubicBezTo>
                    <a:pt x="13" y="9"/>
                    <a:pt x="14" y="9"/>
                    <a:pt x="15" y="8"/>
                  </a:cubicBezTo>
                  <a:cubicBezTo>
                    <a:pt x="15" y="7"/>
                    <a:pt x="15" y="6"/>
                    <a:pt x="15" y="4"/>
                  </a:cubicBezTo>
                  <a:cubicBezTo>
                    <a:pt x="14" y="1"/>
                    <a:pt x="11" y="0"/>
                    <a:pt x="7" y="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501196" y="1456324"/>
              <a:ext cx="35713" cy="36985"/>
            </a:xfrm>
            <a:custGeom>
              <a:avLst/>
              <a:gdLst>
                <a:gd name="T0" fmla="*/ 15 w 18"/>
                <a:gd name="T1" fmla="*/ 10 h 20"/>
                <a:gd name="T2" fmla="*/ 13 w 18"/>
                <a:gd name="T3" fmla="*/ 10 h 20"/>
                <a:gd name="T4" fmla="*/ 13 w 18"/>
                <a:gd name="T5" fmla="*/ 10 h 20"/>
                <a:gd name="T6" fmla="*/ 14 w 18"/>
                <a:gd name="T7" fmla="*/ 9 h 20"/>
                <a:gd name="T8" fmla="*/ 16 w 18"/>
                <a:gd name="T9" fmla="*/ 4 h 20"/>
                <a:gd name="T10" fmla="*/ 10 w 18"/>
                <a:gd name="T11" fmla="*/ 0 h 20"/>
                <a:gd name="T12" fmla="*/ 1 w 18"/>
                <a:gd name="T13" fmla="*/ 7 h 20"/>
                <a:gd name="T14" fmla="*/ 1 w 18"/>
                <a:gd name="T15" fmla="*/ 12 h 20"/>
                <a:gd name="T16" fmla="*/ 4 w 18"/>
                <a:gd name="T17" fmla="*/ 14 h 20"/>
                <a:gd name="T18" fmla="*/ 8 w 18"/>
                <a:gd name="T19" fmla="*/ 12 h 20"/>
                <a:gd name="T20" fmla="*/ 9 w 18"/>
                <a:gd name="T21" fmla="*/ 11 h 20"/>
                <a:gd name="T22" fmla="*/ 10 w 18"/>
                <a:gd name="T23" fmla="*/ 10 h 20"/>
                <a:gd name="T24" fmla="*/ 11 w 18"/>
                <a:gd name="T25" fmla="*/ 10 h 20"/>
                <a:gd name="T26" fmla="*/ 11 w 18"/>
                <a:gd name="T27" fmla="*/ 10 h 20"/>
                <a:gd name="T28" fmla="*/ 8 w 18"/>
                <a:gd name="T29" fmla="*/ 14 h 20"/>
                <a:gd name="T30" fmla="*/ 9 w 18"/>
                <a:gd name="T31" fmla="*/ 19 h 20"/>
                <a:gd name="T32" fmla="*/ 12 w 18"/>
                <a:gd name="T33" fmla="*/ 20 h 20"/>
                <a:gd name="T34" fmla="*/ 17 w 18"/>
                <a:gd name="T35" fmla="*/ 15 h 20"/>
                <a:gd name="T36" fmla="*/ 15 w 18"/>
                <a:gd name="T3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20">
                  <a:moveTo>
                    <a:pt x="15" y="10"/>
                  </a:moveTo>
                  <a:cubicBezTo>
                    <a:pt x="15" y="10"/>
                    <a:pt x="14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9"/>
                    <a:pt x="14" y="9"/>
                    <a:pt x="14" y="9"/>
                  </a:cubicBezTo>
                  <a:cubicBezTo>
                    <a:pt x="16" y="7"/>
                    <a:pt x="16" y="5"/>
                    <a:pt x="16" y="4"/>
                  </a:cubicBezTo>
                  <a:cubicBezTo>
                    <a:pt x="15" y="2"/>
                    <a:pt x="13" y="0"/>
                    <a:pt x="10" y="0"/>
                  </a:cubicBezTo>
                  <a:cubicBezTo>
                    <a:pt x="6" y="0"/>
                    <a:pt x="2" y="3"/>
                    <a:pt x="1" y="7"/>
                  </a:cubicBezTo>
                  <a:cubicBezTo>
                    <a:pt x="0" y="9"/>
                    <a:pt x="0" y="11"/>
                    <a:pt x="1" y="12"/>
                  </a:cubicBezTo>
                  <a:cubicBezTo>
                    <a:pt x="2" y="13"/>
                    <a:pt x="3" y="14"/>
                    <a:pt x="4" y="14"/>
                  </a:cubicBezTo>
                  <a:cubicBezTo>
                    <a:pt x="5" y="14"/>
                    <a:pt x="6" y="13"/>
                    <a:pt x="8" y="12"/>
                  </a:cubicBezTo>
                  <a:cubicBezTo>
                    <a:pt x="8" y="12"/>
                    <a:pt x="8" y="12"/>
                    <a:pt x="9" y="11"/>
                  </a:cubicBezTo>
                  <a:cubicBezTo>
                    <a:pt x="9" y="11"/>
                    <a:pt x="10" y="11"/>
                    <a:pt x="10" y="10"/>
                  </a:cubicBezTo>
                  <a:cubicBezTo>
                    <a:pt x="10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0" y="11"/>
                    <a:pt x="9" y="12"/>
                    <a:pt x="8" y="14"/>
                  </a:cubicBezTo>
                  <a:cubicBezTo>
                    <a:pt x="7" y="16"/>
                    <a:pt x="8" y="17"/>
                    <a:pt x="9" y="19"/>
                  </a:cubicBezTo>
                  <a:cubicBezTo>
                    <a:pt x="10" y="19"/>
                    <a:pt x="11" y="20"/>
                    <a:pt x="12" y="20"/>
                  </a:cubicBezTo>
                  <a:cubicBezTo>
                    <a:pt x="15" y="20"/>
                    <a:pt x="17" y="17"/>
                    <a:pt x="17" y="15"/>
                  </a:cubicBezTo>
                  <a:cubicBezTo>
                    <a:pt x="18" y="13"/>
                    <a:pt x="17" y="11"/>
                    <a:pt x="15" y="1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640699" y="1476871"/>
              <a:ext cx="15624" cy="23629"/>
            </a:xfrm>
            <a:custGeom>
              <a:avLst/>
              <a:gdLst>
                <a:gd name="T0" fmla="*/ 3 w 8"/>
                <a:gd name="T1" fmla="*/ 11 h 13"/>
                <a:gd name="T2" fmla="*/ 4 w 8"/>
                <a:gd name="T3" fmla="*/ 11 h 13"/>
                <a:gd name="T4" fmla="*/ 4 w 8"/>
                <a:gd name="T5" fmla="*/ 13 h 13"/>
                <a:gd name="T6" fmla="*/ 7 w 8"/>
                <a:gd name="T7" fmla="*/ 11 h 13"/>
                <a:gd name="T8" fmla="*/ 8 w 8"/>
                <a:gd name="T9" fmla="*/ 8 h 13"/>
                <a:gd name="T10" fmla="*/ 3 w 8"/>
                <a:gd name="T11" fmla="*/ 0 h 13"/>
                <a:gd name="T12" fmla="*/ 3 w 8"/>
                <a:gd name="T13" fmla="*/ 2 h 13"/>
                <a:gd name="T14" fmla="*/ 0 w 8"/>
                <a:gd name="T15" fmla="*/ 4 h 13"/>
                <a:gd name="T16" fmla="*/ 3 w 8"/>
                <a:gd name="T17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3">
                  <a:moveTo>
                    <a:pt x="3" y="11"/>
                  </a:moveTo>
                  <a:cubicBezTo>
                    <a:pt x="3" y="11"/>
                    <a:pt x="3" y="11"/>
                    <a:pt x="4" y="11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5" y="13"/>
                    <a:pt x="6" y="12"/>
                    <a:pt x="7" y="11"/>
                  </a:cubicBezTo>
                  <a:cubicBezTo>
                    <a:pt x="8" y="10"/>
                    <a:pt x="8" y="9"/>
                    <a:pt x="8" y="8"/>
                  </a:cubicBezTo>
                  <a:cubicBezTo>
                    <a:pt x="8" y="4"/>
                    <a:pt x="6" y="0"/>
                    <a:pt x="3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1" y="3"/>
                    <a:pt x="0" y="4"/>
                  </a:cubicBezTo>
                  <a:cubicBezTo>
                    <a:pt x="0" y="6"/>
                    <a:pt x="1" y="10"/>
                    <a:pt x="3" y="11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Freeform 21"/>
            <p:cNvSpPr>
              <a:spLocks/>
            </p:cNvSpPr>
            <p:nvPr/>
          </p:nvSpPr>
          <p:spPr bwMode="auto">
            <a:xfrm>
              <a:off x="962113" y="742316"/>
              <a:ext cx="24552" cy="31848"/>
            </a:xfrm>
            <a:custGeom>
              <a:avLst/>
              <a:gdLst>
                <a:gd name="T0" fmla="*/ 7 w 12"/>
                <a:gd name="T1" fmla="*/ 0 h 17"/>
                <a:gd name="T2" fmla="*/ 4 w 12"/>
                <a:gd name="T3" fmla="*/ 0 h 17"/>
                <a:gd name="T4" fmla="*/ 0 w 12"/>
                <a:gd name="T5" fmla="*/ 3 h 17"/>
                <a:gd name="T6" fmla="*/ 1 w 12"/>
                <a:gd name="T7" fmla="*/ 9 h 17"/>
                <a:gd name="T8" fmla="*/ 2 w 12"/>
                <a:gd name="T9" fmla="*/ 9 h 17"/>
                <a:gd name="T10" fmla="*/ 2 w 12"/>
                <a:gd name="T11" fmla="*/ 11 h 17"/>
                <a:gd name="T12" fmla="*/ 5 w 12"/>
                <a:gd name="T13" fmla="*/ 16 h 17"/>
                <a:gd name="T14" fmla="*/ 7 w 12"/>
                <a:gd name="T15" fmla="*/ 17 h 17"/>
                <a:gd name="T16" fmla="*/ 7 w 12"/>
                <a:gd name="T17" fmla="*/ 17 h 17"/>
                <a:gd name="T18" fmla="*/ 12 w 12"/>
                <a:gd name="T19" fmla="*/ 6 h 17"/>
                <a:gd name="T20" fmla="*/ 10 w 12"/>
                <a:gd name="T21" fmla="*/ 1 h 17"/>
                <a:gd name="T22" fmla="*/ 7 w 12"/>
                <a:gd name="T2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17">
                  <a:moveTo>
                    <a:pt x="7" y="0"/>
                  </a:moveTo>
                  <a:cubicBezTo>
                    <a:pt x="6" y="0"/>
                    <a:pt x="5" y="0"/>
                    <a:pt x="4" y="0"/>
                  </a:cubicBezTo>
                  <a:cubicBezTo>
                    <a:pt x="2" y="1"/>
                    <a:pt x="1" y="2"/>
                    <a:pt x="0" y="3"/>
                  </a:cubicBezTo>
                  <a:cubicBezTo>
                    <a:pt x="0" y="5"/>
                    <a:pt x="1" y="7"/>
                    <a:pt x="1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0"/>
                    <a:pt x="2" y="11"/>
                    <a:pt x="2" y="11"/>
                  </a:cubicBezTo>
                  <a:cubicBezTo>
                    <a:pt x="3" y="13"/>
                    <a:pt x="3" y="15"/>
                    <a:pt x="5" y="16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11" y="17"/>
                    <a:pt x="12" y="10"/>
                    <a:pt x="12" y="6"/>
                  </a:cubicBezTo>
                  <a:cubicBezTo>
                    <a:pt x="12" y="4"/>
                    <a:pt x="12" y="2"/>
                    <a:pt x="10" y="1"/>
                  </a:cubicBezTo>
                  <a:cubicBezTo>
                    <a:pt x="10" y="0"/>
                    <a:pt x="9" y="0"/>
                    <a:pt x="7" y="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1025726" y="757726"/>
              <a:ext cx="50221" cy="46231"/>
            </a:xfrm>
            <a:custGeom>
              <a:avLst/>
              <a:gdLst>
                <a:gd name="T0" fmla="*/ 23 w 25"/>
                <a:gd name="T1" fmla="*/ 0 h 25"/>
                <a:gd name="T2" fmla="*/ 22 w 25"/>
                <a:gd name="T3" fmla="*/ 0 h 25"/>
                <a:gd name="T4" fmla="*/ 12 w 25"/>
                <a:gd name="T5" fmla="*/ 4 h 25"/>
                <a:gd name="T6" fmla="*/ 7 w 25"/>
                <a:gd name="T7" fmla="*/ 6 h 25"/>
                <a:gd name="T8" fmla="*/ 0 w 25"/>
                <a:gd name="T9" fmla="*/ 11 h 25"/>
                <a:gd name="T10" fmla="*/ 1 w 25"/>
                <a:gd name="T11" fmla="*/ 17 h 25"/>
                <a:gd name="T12" fmla="*/ 4 w 25"/>
                <a:gd name="T13" fmla="*/ 22 h 25"/>
                <a:gd name="T14" fmla="*/ 10 w 25"/>
                <a:gd name="T15" fmla="*/ 25 h 25"/>
                <a:gd name="T16" fmla="*/ 10 w 25"/>
                <a:gd name="T17" fmla="*/ 25 h 25"/>
                <a:gd name="T18" fmla="*/ 14 w 25"/>
                <a:gd name="T19" fmla="*/ 21 h 25"/>
                <a:gd name="T20" fmla="*/ 14 w 25"/>
                <a:gd name="T21" fmla="*/ 20 h 25"/>
                <a:gd name="T22" fmla="*/ 15 w 25"/>
                <a:gd name="T23" fmla="*/ 19 h 25"/>
                <a:gd name="T24" fmla="*/ 18 w 25"/>
                <a:gd name="T25" fmla="*/ 16 h 25"/>
                <a:gd name="T26" fmla="*/ 19 w 25"/>
                <a:gd name="T27" fmla="*/ 14 h 25"/>
                <a:gd name="T28" fmla="*/ 19 w 25"/>
                <a:gd name="T29" fmla="*/ 12 h 25"/>
                <a:gd name="T30" fmla="*/ 21 w 25"/>
                <a:gd name="T31" fmla="*/ 10 h 25"/>
                <a:gd name="T32" fmla="*/ 25 w 25"/>
                <a:gd name="T33" fmla="*/ 2 h 25"/>
                <a:gd name="T34" fmla="*/ 25 w 25"/>
                <a:gd name="T35" fmla="*/ 1 h 25"/>
                <a:gd name="T36" fmla="*/ 23 w 25"/>
                <a:gd name="T3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5">
                  <a:moveTo>
                    <a:pt x="23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8" y="0"/>
                    <a:pt x="14" y="2"/>
                    <a:pt x="12" y="4"/>
                  </a:cubicBezTo>
                  <a:cubicBezTo>
                    <a:pt x="11" y="5"/>
                    <a:pt x="9" y="6"/>
                    <a:pt x="7" y="6"/>
                  </a:cubicBezTo>
                  <a:cubicBezTo>
                    <a:pt x="4" y="7"/>
                    <a:pt x="2" y="9"/>
                    <a:pt x="0" y="11"/>
                  </a:cubicBezTo>
                  <a:cubicBezTo>
                    <a:pt x="0" y="13"/>
                    <a:pt x="0" y="15"/>
                    <a:pt x="1" y="17"/>
                  </a:cubicBezTo>
                  <a:cubicBezTo>
                    <a:pt x="2" y="18"/>
                    <a:pt x="3" y="21"/>
                    <a:pt x="4" y="22"/>
                  </a:cubicBezTo>
                  <a:cubicBezTo>
                    <a:pt x="5" y="22"/>
                    <a:pt x="7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3" y="24"/>
                    <a:pt x="13" y="22"/>
                    <a:pt x="14" y="21"/>
                  </a:cubicBezTo>
                  <a:cubicBezTo>
                    <a:pt x="14" y="21"/>
                    <a:pt x="14" y="20"/>
                    <a:pt x="14" y="20"/>
                  </a:cubicBezTo>
                  <a:cubicBezTo>
                    <a:pt x="14" y="20"/>
                    <a:pt x="15" y="19"/>
                    <a:pt x="15" y="19"/>
                  </a:cubicBezTo>
                  <a:cubicBezTo>
                    <a:pt x="16" y="18"/>
                    <a:pt x="17" y="17"/>
                    <a:pt x="18" y="16"/>
                  </a:cubicBezTo>
                  <a:cubicBezTo>
                    <a:pt x="18" y="16"/>
                    <a:pt x="18" y="15"/>
                    <a:pt x="19" y="14"/>
                  </a:cubicBezTo>
                  <a:cubicBezTo>
                    <a:pt x="19" y="13"/>
                    <a:pt x="19" y="13"/>
                    <a:pt x="19" y="12"/>
                  </a:cubicBezTo>
                  <a:cubicBezTo>
                    <a:pt x="20" y="11"/>
                    <a:pt x="20" y="11"/>
                    <a:pt x="21" y="10"/>
                  </a:cubicBezTo>
                  <a:cubicBezTo>
                    <a:pt x="23" y="8"/>
                    <a:pt x="25" y="5"/>
                    <a:pt x="25" y="2"/>
                  </a:cubicBezTo>
                  <a:cubicBezTo>
                    <a:pt x="25" y="1"/>
                    <a:pt x="25" y="1"/>
                    <a:pt x="25" y="1"/>
                  </a:cubicBezTo>
                  <a:lnTo>
                    <a:pt x="23" y="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998942" y="785465"/>
              <a:ext cx="20088" cy="18492"/>
            </a:xfrm>
            <a:custGeom>
              <a:avLst/>
              <a:gdLst>
                <a:gd name="T0" fmla="*/ 6 w 10"/>
                <a:gd name="T1" fmla="*/ 0 h 10"/>
                <a:gd name="T2" fmla="*/ 3 w 10"/>
                <a:gd name="T3" fmla="*/ 1 h 10"/>
                <a:gd name="T4" fmla="*/ 1 w 10"/>
                <a:gd name="T5" fmla="*/ 7 h 10"/>
                <a:gd name="T6" fmla="*/ 5 w 10"/>
                <a:gd name="T7" fmla="*/ 10 h 10"/>
                <a:gd name="T8" fmla="*/ 6 w 10"/>
                <a:gd name="T9" fmla="*/ 10 h 10"/>
                <a:gd name="T10" fmla="*/ 10 w 10"/>
                <a:gd name="T11" fmla="*/ 4 h 10"/>
                <a:gd name="T12" fmla="*/ 6 w 10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cubicBezTo>
                    <a:pt x="5" y="0"/>
                    <a:pt x="4" y="0"/>
                    <a:pt x="3" y="1"/>
                  </a:cubicBezTo>
                  <a:cubicBezTo>
                    <a:pt x="1" y="2"/>
                    <a:pt x="0" y="5"/>
                    <a:pt x="1" y="7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5" y="10"/>
                    <a:pt x="5" y="10"/>
                    <a:pt x="6" y="10"/>
                  </a:cubicBezTo>
                  <a:cubicBezTo>
                    <a:pt x="8" y="9"/>
                    <a:pt x="10" y="6"/>
                    <a:pt x="10" y="4"/>
                  </a:cubicBezTo>
                  <a:cubicBezTo>
                    <a:pt x="9" y="1"/>
                    <a:pt x="8" y="0"/>
                    <a:pt x="6" y="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auto">
            <a:xfrm>
              <a:off x="1083760" y="785465"/>
              <a:ext cx="34597" cy="31848"/>
            </a:xfrm>
            <a:custGeom>
              <a:avLst/>
              <a:gdLst>
                <a:gd name="T0" fmla="*/ 16 w 17"/>
                <a:gd name="T1" fmla="*/ 1 h 17"/>
                <a:gd name="T2" fmla="*/ 14 w 17"/>
                <a:gd name="T3" fmla="*/ 1 h 17"/>
                <a:gd name="T4" fmla="*/ 12 w 17"/>
                <a:gd name="T5" fmla="*/ 1 h 17"/>
                <a:gd name="T6" fmla="*/ 9 w 17"/>
                <a:gd name="T7" fmla="*/ 0 h 17"/>
                <a:gd name="T8" fmla="*/ 5 w 17"/>
                <a:gd name="T9" fmla="*/ 1 h 17"/>
                <a:gd name="T10" fmla="*/ 3 w 17"/>
                <a:gd name="T11" fmla="*/ 4 h 17"/>
                <a:gd name="T12" fmla="*/ 2 w 17"/>
                <a:gd name="T13" fmla="*/ 5 h 17"/>
                <a:gd name="T14" fmla="*/ 1 w 17"/>
                <a:gd name="T15" fmla="*/ 12 h 17"/>
                <a:gd name="T16" fmla="*/ 8 w 17"/>
                <a:gd name="T17" fmla="*/ 17 h 17"/>
                <a:gd name="T18" fmla="*/ 14 w 17"/>
                <a:gd name="T19" fmla="*/ 14 h 17"/>
                <a:gd name="T20" fmla="*/ 16 w 17"/>
                <a:gd name="T21" fmla="*/ 2 h 17"/>
                <a:gd name="T22" fmla="*/ 16 w 17"/>
                <a:gd name="T2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17">
                  <a:moveTo>
                    <a:pt x="16" y="1"/>
                  </a:move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3" y="1"/>
                    <a:pt x="12" y="1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8" y="0"/>
                    <a:pt x="6" y="1"/>
                    <a:pt x="5" y="1"/>
                  </a:cubicBezTo>
                  <a:cubicBezTo>
                    <a:pt x="5" y="2"/>
                    <a:pt x="4" y="3"/>
                    <a:pt x="3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7"/>
                    <a:pt x="0" y="10"/>
                    <a:pt x="1" y="12"/>
                  </a:cubicBezTo>
                  <a:cubicBezTo>
                    <a:pt x="2" y="15"/>
                    <a:pt x="5" y="17"/>
                    <a:pt x="8" y="17"/>
                  </a:cubicBezTo>
                  <a:cubicBezTo>
                    <a:pt x="10" y="17"/>
                    <a:pt x="12" y="16"/>
                    <a:pt x="14" y="14"/>
                  </a:cubicBezTo>
                  <a:cubicBezTo>
                    <a:pt x="16" y="12"/>
                    <a:pt x="17" y="5"/>
                    <a:pt x="16" y="2"/>
                  </a:cubicBezTo>
                  <a:lnTo>
                    <a:pt x="16" y="1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1165229" y="751562"/>
              <a:ext cx="42409" cy="49313"/>
            </a:xfrm>
            <a:custGeom>
              <a:avLst/>
              <a:gdLst>
                <a:gd name="T0" fmla="*/ 17 w 21"/>
                <a:gd name="T1" fmla="*/ 0 h 26"/>
                <a:gd name="T2" fmla="*/ 13 w 21"/>
                <a:gd name="T3" fmla="*/ 2 h 26"/>
                <a:gd name="T4" fmla="*/ 9 w 21"/>
                <a:gd name="T5" fmla="*/ 11 h 26"/>
                <a:gd name="T6" fmla="*/ 8 w 21"/>
                <a:gd name="T7" fmla="*/ 13 h 26"/>
                <a:gd name="T8" fmla="*/ 4 w 21"/>
                <a:gd name="T9" fmla="*/ 18 h 26"/>
                <a:gd name="T10" fmla="*/ 2 w 21"/>
                <a:gd name="T11" fmla="*/ 21 h 26"/>
                <a:gd name="T12" fmla="*/ 1 w 21"/>
                <a:gd name="T13" fmla="*/ 25 h 26"/>
                <a:gd name="T14" fmla="*/ 4 w 21"/>
                <a:gd name="T15" fmla="*/ 26 h 26"/>
                <a:gd name="T16" fmla="*/ 14 w 21"/>
                <a:gd name="T17" fmla="*/ 22 h 26"/>
                <a:gd name="T18" fmla="*/ 20 w 21"/>
                <a:gd name="T19" fmla="*/ 10 h 26"/>
                <a:gd name="T20" fmla="*/ 19 w 21"/>
                <a:gd name="T21" fmla="*/ 1 h 26"/>
                <a:gd name="T22" fmla="*/ 17 w 21"/>
                <a:gd name="T2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6">
                  <a:moveTo>
                    <a:pt x="17" y="0"/>
                  </a:moveTo>
                  <a:cubicBezTo>
                    <a:pt x="15" y="0"/>
                    <a:pt x="14" y="1"/>
                    <a:pt x="13" y="2"/>
                  </a:cubicBezTo>
                  <a:cubicBezTo>
                    <a:pt x="11" y="5"/>
                    <a:pt x="9" y="8"/>
                    <a:pt x="9" y="11"/>
                  </a:cubicBezTo>
                  <a:cubicBezTo>
                    <a:pt x="8" y="12"/>
                    <a:pt x="8" y="13"/>
                    <a:pt x="8" y="13"/>
                  </a:cubicBezTo>
                  <a:cubicBezTo>
                    <a:pt x="7" y="16"/>
                    <a:pt x="6" y="17"/>
                    <a:pt x="4" y="18"/>
                  </a:cubicBezTo>
                  <a:cubicBezTo>
                    <a:pt x="4" y="19"/>
                    <a:pt x="3" y="20"/>
                    <a:pt x="2" y="21"/>
                  </a:cubicBezTo>
                  <a:cubicBezTo>
                    <a:pt x="2" y="22"/>
                    <a:pt x="0" y="23"/>
                    <a:pt x="1" y="25"/>
                  </a:cubicBezTo>
                  <a:cubicBezTo>
                    <a:pt x="1" y="25"/>
                    <a:pt x="2" y="26"/>
                    <a:pt x="4" y="26"/>
                  </a:cubicBezTo>
                  <a:cubicBezTo>
                    <a:pt x="6" y="26"/>
                    <a:pt x="12" y="23"/>
                    <a:pt x="14" y="22"/>
                  </a:cubicBezTo>
                  <a:cubicBezTo>
                    <a:pt x="17" y="19"/>
                    <a:pt x="19" y="15"/>
                    <a:pt x="20" y="10"/>
                  </a:cubicBezTo>
                  <a:cubicBezTo>
                    <a:pt x="20" y="10"/>
                    <a:pt x="21" y="4"/>
                    <a:pt x="19" y="1"/>
                  </a:cubicBezTo>
                  <a:cubicBezTo>
                    <a:pt x="18" y="0"/>
                    <a:pt x="18" y="0"/>
                    <a:pt x="17" y="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1199826" y="721769"/>
              <a:ext cx="32365" cy="28766"/>
            </a:xfrm>
            <a:custGeom>
              <a:avLst/>
              <a:gdLst>
                <a:gd name="T0" fmla="*/ 15 w 16"/>
                <a:gd name="T1" fmla="*/ 1 h 15"/>
                <a:gd name="T2" fmla="*/ 12 w 16"/>
                <a:gd name="T3" fmla="*/ 0 h 15"/>
                <a:gd name="T4" fmla="*/ 9 w 16"/>
                <a:gd name="T5" fmla="*/ 1 h 15"/>
                <a:gd name="T6" fmla="*/ 7 w 16"/>
                <a:gd name="T7" fmla="*/ 3 h 15"/>
                <a:gd name="T8" fmla="*/ 6 w 16"/>
                <a:gd name="T9" fmla="*/ 4 h 15"/>
                <a:gd name="T10" fmla="*/ 0 w 16"/>
                <a:gd name="T11" fmla="*/ 13 h 15"/>
                <a:gd name="T12" fmla="*/ 0 w 16"/>
                <a:gd name="T13" fmla="*/ 15 h 15"/>
                <a:gd name="T14" fmla="*/ 1 w 16"/>
                <a:gd name="T15" fmla="*/ 15 h 15"/>
                <a:gd name="T16" fmla="*/ 3 w 16"/>
                <a:gd name="T17" fmla="*/ 15 h 15"/>
                <a:gd name="T18" fmla="*/ 7 w 16"/>
                <a:gd name="T19" fmla="*/ 13 h 15"/>
                <a:gd name="T20" fmla="*/ 9 w 16"/>
                <a:gd name="T21" fmla="*/ 12 h 15"/>
                <a:gd name="T22" fmla="*/ 10 w 16"/>
                <a:gd name="T23" fmla="*/ 11 h 15"/>
                <a:gd name="T24" fmla="*/ 16 w 16"/>
                <a:gd name="T25" fmla="*/ 7 h 15"/>
                <a:gd name="T26" fmla="*/ 15 w 16"/>
                <a:gd name="T2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5">
                  <a:moveTo>
                    <a:pt x="15" y="1"/>
                  </a:moveTo>
                  <a:cubicBezTo>
                    <a:pt x="15" y="0"/>
                    <a:pt x="14" y="0"/>
                    <a:pt x="12" y="0"/>
                  </a:cubicBezTo>
                  <a:cubicBezTo>
                    <a:pt x="11" y="0"/>
                    <a:pt x="10" y="0"/>
                    <a:pt x="9" y="1"/>
                  </a:cubicBezTo>
                  <a:cubicBezTo>
                    <a:pt x="9" y="1"/>
                    <a:pt x="8" y="2"/>
                    <a:pt x="7" y="3"/>
                  </a:cubicBezTo>
                  <a:cubicBezTo>
                    <a:pt x="7" y="3"/>
                    <a:pt x="7" y="3"/>
                    <a:pt x="6" y="4"/>
                  </a:cubicBezTo>
                  <a:cubicBezTo>
                    <a:pt x="3" y="5"/>
                    <a:pt x="0" y="9"/>
                    <a:pt x="0" y="1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5" y="15"/>
                    <a:pt x="6" y="14"/>
                    <a:pt x="7" y="13"/>
                  </a:cubicBezTo>
                  <a:cubicBezTo>
                    <a:pt x="8" y="13"/>
                    <a:pt x="8" y="12"/>
                    <a:pt x="9" y="12"/>
                  </a:cubicBezTo>
                  <a:cubicBezTo>
                    <a:pt x="9" y="12"/>
                    <a:pt x="10" y="11"/>
                    <a:pt x="10" y="11"/>
                  </a:cubicBezTo>
                  <a:cubicBezTo>
                    <a:pt x="12" y="11"/>
                    <a:pt x="14" y="10"/>
                    <a:pt x="16" y="7"/>
                  </a:cubicBezTo>
                  <a:cubicBezTo>
                    <a:pt x="16" y="5"/>
                    <a:pt x="16" y="3"/>
                    <a:pt x="15" y="1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952069" y="808066"/>
              <a:ext cx="22320" cy="16438"/>
            </a:xfrm>
            <a:custGeom>
              <a:avLst/>
              <a:gdLst>
                <a:gd name="T0" fmla="*/ 7 w 11"/>
                <a:gd name="T1" fmla="*/ 0 h 9"/>
                <a:gd name="T2" fmla="*/ 6 w 11"/>
                <a:gd name="T3" fmla="*/ 0 h 9"/>
                <a:gd name="T4" fmla="*/ 1 w 11"/>
                <a:gd name="T5" fmla="*/ 4 h 9"/>
                <a:gd name="T6" fmla="*/ 4 w 11"/>
                <a:gd name="T7" fmla="*/ 8 h 9"/>
                <a:gd name="T8" fmla="*/ 5 w 11"/>
                <a:gd name="T9" fmla="*/ 9 h 9"/>
                <a:gd name="T10" fmla="*/ 6 w 11"/>
                <a:gd name="T11" fmla="*/ 9 h 9"/>
                <a:gd name="T12" fmla="*/ 11 w 11"/>
                <a:gd name="T13" fmla="*/ 5 h 9"/>
                <a:gd name="T14" fmla="*/ 7 w 11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9">
                  <a:moveTo>
                    <a:pt x="7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1" y="2"/>
                    <a:pt x="1" y="4"/>
                  </a:cubicBezTo>
                  <a:cubicBezTo>
                    <a:pt x="0" y="6"/>
                    <a:pt x="1" y="8"/>
                    <a:pt x="4" y="8"/>
                  </a:cubicBezTo>
                  <a:cubicBezTo>
                    <a:pt x="4" y="9"/>
                    <a:pt x="5" y="9"/>
                    <a:pt x="5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9" y="9"/>
                    <a:pt x="11" y="7"/>
                    <a:pt x="11" y="5"/>
                  </a:cubicBezTo>
                  <a:cubicBezTo>
                    <a:pt x="11" y="3"/>
                    <a:pt x="10" y="0"/>
                    <a:pt x="7" y="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auto">
            <a:xfrm>
              <a:off x="1025726" y="496779"/>
              <a:ext cx="35713" cy="24656"/>
            </a:xfrm>
            <a:custGeom>
              <a:avLst/>
              <a:gdLst>
                <a:gd name="T0" fmla="*/ 4 w 18"/>
                <a:gd name="T1" fmla="*/ 9 h 13"/>
                <a:gd name="T2" fmla="*/ 6 w 18"/>
                <a:gd name="T3" fmla="*/ 10 h 13"/>
                <a:gd name="T4" fmla="*/ 13 w 18"/>
                <a:gd name="T5" fmla="*/ 13 h 13"/>
                <a:gd name="T6" fmla="*/ 14 w 18"/>
                <a:gd name="T7" fmla="*/ 13 h 13"/>
                <a:gd name="T8" fmla="*/ 18 w 18"/>
                <a:gd name="T9" fmla="*/ 8 h 13"/>
                <a:gd name="T10" fmla="*/ 14 w 18"/>
                <a:gd name="T11" fmla="*/ 2 h 13"/>
                <a:gd name="T12" fmla="*/ 11 w 18"/>
                <a:gd name="T13" fmla="*/ 1 h 13"/>
                <a:gd name="T14" fmla="*/ 10 w 18"/>
                <a:gd name="T15" fmla="*/ 1 h 13"/>
                <a:gd name="T16" fmla="*/ 8 w 18"/>
                <a:gd name="T17" fmla="*/ 1 h 13"/>
                <a:gd name="T18" fmla="*/ 7 w 18"/>
                <a:gd name="T19" fmla="*/ 1 h 13"/>
                <a:gd name="T20" fmla="*/ 6 w 18"/>
                <a:gd name="T21" fmla="*/ 0 h 13"/>
                <a:gd name="T22" fmla="*/ 3 w 18"/>
                <a:gd name="T23" fmla="*/ 0 h 13"/>
                <a:gd name="T24" fmla="*/ 0 w 18"/>
                <a:gd name="T25" fmla="*/ 3 h 13"/>
                <a:gd name="T26" fmla="*/ 4 w 18"/>
                <a:gd name="T27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13">
                  <a:moveTo>
                    <a:pt x="4" y="9"/>
                  </a:moveTo>
                  <a:cubicBezTo>
                    <a:pt x="5" y="10"/>
                    <a:pt x="5" y="10"/>
                    <a:pt x="6" y="10"/>
                  </a:cubicBezTo>
                  <a:cubicBezTo>
                    <a:pt x="8" y="11"/>
                    <a:pt x="10" y="13"/>
                    <a:pt x="13" y="13"/>
                  </a:cubicBezTo>
                  <a:cubicBezTo>
                    <a:pt x="13" y="13"/>
                    <a:pt x="13" y="13"/>
                    <a:pt x="14" y="13"/>
                  </a:cubicBezTo>
                  <a:cubicBezTo>
                    <a:pt x="16" y="12"/>
                    <a:pt x="18" y="10"/>
                    <a:pt x="18" y="8"/>
                  </a:cubicBezTo>
                  <a:cubicBezTo>
                    <a:pt x="18" y="5"/>
                    <a:pt x="17" y="3"/>
                    <a:pt x="14" y="2"/>
                  </a:cubicBezTo>
                  <a:cubicBezTo>
                    <a:pt x="13" y="1"/>
                    <a:pt x="12" y="1"/>
                    <a:pt x="11" y="1"/>
                  </a:cubicBezTo>
                  <a:cubicBezTo>
                    <a:pt x="11" y="1"/>
                    <a:pt x="10" y="1"/>
                    <a:pt x="10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0" y="0"/>
                    <a:pt x="0" y="3"/>
                  </a:cubicBezTo>
                  <a:cubicBezTo>
                    <a:pt x="0" y="6"/>
                    <a:pt x="2" y="8"/>
                    <a:pt x="4" y="9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9" name="Freeform 29"/>
            <p:cNvSpPr>
              <a:spLocks/>
            </p:cNvSpPr>
            <p:nvPr/>
          </p:nvSpPr>
          <p:spPr bwMode="auto">
            <a:xfrm>
              <a:off x="1069251" y="480342"/>
              <a:ext cx="22320" cy="16438"/>
            </a:xfrm>
            <a:custGeom>
              <a:avLst/>
              <a:gdLst>
                <a:gd name="T0" fmla="*/ 10 w 11"/>
                <a:gd name="T1" fmla="*/ 6 h 9"/>
                <a:gd name="T2" fmla="*/ 9 w 11"/>
                <a:gd name="T3" fmla="*/ 2 h 9"/>
                <a:gd name="T4" fmla="*/ 6 w 11"/>
                <a:gd name="T5" fmla="*/ 0 h 9"/>
                <a:gd name="T6" fmla="*/ 1 w 11"/>
                <a:gd name="T7" fmla="*/ 3 h 9"/>
                <a:gd name="T8" fmla="*/ 2 w 11"/>
                <a:gd name="T9" fmla="*/ 7 h 9"/>
                <a:gd name="T10" fmla="*/ 5 w 11"/>
                <a:gd name="T11" fmla="*/ 9 h 9"/>
                <a:gd name="T12" fmla="*/ 10 w 11"/>
                <a:gd name="T1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10" y="6"/>
                  </a:moveTo>
                  <a:cubicBezTo>
                    <a:pt x="11" y="4"/>
                    <a:pt x="10" y="3"/>
                    <a:pt x="9" y="2"/>
                  </a:cubicBezTo>
                  <a:cubicBezTo>
                    <a:pt x="8" y="1"/>
                    <a:pt x="7" y="0"/>
                    <a:pt x="6" y="0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1" y="6"/>
                    <a:pt x="2" y="7"/>
                  </a:cubicBezTo>
                  <a:cubicBezTo>
                    <a:pt x="3" y="8"/>
                    <a:pt x="4" y="9"/>
                    <a:pt x="5" y="9"/>
                  </a:cubicBezTo>
                  <a:cubicBezTo>
                    <a:pt x="8" y="9"/>
                    <a:pt x="9" y="8"/>
                    <a:pt x="10" y="6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0" name="Freeform 30"/>
            <p:cNvSpPr>
              <a:spLocks/>
            </p:cNvSpPr>
            <p:nvPr/>
          </p:nvSpPr>
          <p:spPr bwMode="auto">
            <a:xfrm>
              <a:off x="1262323" y="984770"/>
              <a:ext cx="960895" cy="911260"/>
            </a:xfrm>
            <a:custGeom>
              <a:avLst/>
              <a:gdLst>
                <a:gd name="T0" fmla="*/ 448 w 475"/>
                <a:gd name="T1" fmla="*/ 200 h 489"/>
                <a:gd name="T2" fmla="*/ 445 w 475"/>
                <a:gd name="T3" fmla="*/ 190 h 489"/>
                <a:gd name="T4" fmla="*/ 445 w 475"/>
                <a:gd name="T5" fmla="*/ 175 h 489"/>
                <a:gd name="T6" fmla="*/ 425 w 475"/>
                <a:gd name="T7" fmla="*/ 164 h 489"/>
                <a:gd name="T8" fmla="*/ 412 w 475"/>
                <a:gd name="T9" fmla="*/ 158 h 489"/>
                <a:gd name="T10" fmla="*/ 402 w 475"/>
                <a:gd name="T11" fmla="*/ 151 h 489"/>
                <a:gd name="T12" fmla="*/ 391 w 475"/>
                <a:gd name="T13" fmla="*/ 143 h 489"/>
                <a:gd name="T14" fmla="*/ 382 w 475"/>
                <a:gd name="T15" fmla="*/ 124 h 489"/>
                <a:gd name="T16" fmla="*/ 354 w 475"/>
                <a:gd name="T17" fmla="*/ 102 h 489"/>
                <a:gd name="T18" fmla="*/ 242 w 475"/>
                <a:gd name="T19" fmla="*/ 20 h 489"/>
                <a:gd name="T20" fmla="*/ 193 w 475"/>
                <a:gd name="T21" fmla="*/ 280 h 489"/>
                <a:gd name="T22" fmla="*/ 87 w 475"/>
                <a:gd name="T23" fmla="*/ 311 h 489"/>
                <a:gd name="T24" fmla="*/ 81 w 475"/>
                <a:gd name="T25" fmla="*/ 313 h 489"/>
                <a:gd name="T26" fmla="*/ 54 w 475"/>
                <a:gd name="T27" fmla="*/ 314 h 489"/>
                <a:gd name="T28" fmla="*/ 42 w 475"/>
                <a:gd name="T29" fmla="*/ 321 h 489"/>
                <a:gd name="T30" fmla="*/ 36 w 475"/>
                <a:gd name="T31" fmla="*/ 320 h 489"/>
                <a:gd name="T32" fmla="*/ 13 w 475"/>
                <a:gd name="T33" fmla="*/ 321 h 489"/>
                <a:gd name="T34" fmla="*/ 5 w 475"/>
                <a:gd name="T35" fmla="*/ 340 h 489"/>
                <a:gd name="T36" fmla="*/ 7 w 475"/>
                <a:gd name="T37" fmla="*/ 361 h 489"/>
                <a:gd name="T38" fmla="*/ 6 w 475"/>
                <a:gd name="T39" fmla="*/ 370 h 489"/>
                <a:gd name="T40" fmla="*/ 15 w 475"/>
                <a:gd name="T41" fmla="*/ 383 h 489"/>
                <a:gd name="T42" fmla="*/ 23 w 475"/>
                <a:gd name="T43" fmla="*/ 409 h 489"/>
                <a:gd name="T44" fmla="*/ 28 w 475"/>
                <a:gd name="T45" fmla="*/ 427 h 489"/>
                <a:gd name="T46" fmla="*/ 41 w 475"/>
                <a:gd name="T47" fmla="*/ 426 h 489"/>
                <a:gd name="T48" fmla="*/ 50 w 475"/>
                <a:gd name="T49" fmla="*/ 425 h 489"/>
                <a:gd name="T50" fmla="*/ 74 w 475"/>
                <a:gd name="T51" fmla="*/ 424 h 489"/>
                <a:gd name="T52" fmla="*/ 84 w 475"/>
                <a:gd name="T53" fmla="*/ 412 h 489"/>
                <a:gd name="T54" fmla="*/ 96 w 475"/>
                <a:gd name="T55" fmla="*/ 426 h 489"/>
                <a:gd name="T56" fmla="*/ 110 w 475"/>
                <a:gd name="T57" fmla="*/ 449 h 489"/>
                <a:gd name="T58" fmla="*/ 104 w 475"/>
                <a:gd name="T59" fmla="*/ 463 h 489"/>
                <a:gd name="T60" fmla="*/ 113 w 475"/>
                <a:gd name="T61" fmla="*/ 469 h 489"/>
                <a:gd name="T62" fmla="*/ 122 w 475"/>
                <a:gd name="T63" fmla="*/ 488 h 489"/>
                <a:gd name="T64" fmla="*/ 132 w 475"/>
                <a:gd name="T65" fmla="*/ 480 h 489"/>
                <a:gd name="T66" fmla="*/ 148 w 475"/>
                <a:gd name="T67" fmla="*/ 489 h 489"/>
                <a:gd name="T68" fmla="*/ 161 w 475"/>
                <a:gd name="T69" fmla="*/ 482 h 489"/>
                <a:gd name="T70" fmla="*/ 164 w 475"/>
                <a:gd name="T71" fmla="*/ 476 h 489"/>
                <a:gd name="T72" fmla="*/ 173 w 475"/>
                <a:gd name="T73" fmla="*/ 482 h 489"/>
                <a:gd name="T74" fmla="*/ 181 w 475"/>
                <a:gd name="T75" fmla="*/ 483 h 489"/>
                <a:gd name="T76" fmla="*/ 193 w 475"/>
                <a:gd name="T77" fmla="*/ 478 h 489"/>
                <a:gd name="T78" fmla="*/ 199 w 475"/>
                <a:gd name="T79" fmla="*/ 457 h 489"/>
                <a:gd name="T80" fmla="*/ 220 w 475"/>
                <a:gd name="T81" fmla="*/ 423 h 489"/>
                <a:gd name="T82" fmla="*/ 229 w 475"/>
                <a:gd name="T83" fmla="*/ 403 h 489"/>
                <a:gd name="T84" fmla="*/ 236 w 475"/>
                <a:gd name="T85" fmla="*/ 381 h 489"/>
                <a:gd name="T86" fmla="*/ 251 w 475"/>
                <a:gd name="T87" fmla="*/ 389 h 489"/>
                <a:gd name="T88" fmla="*/ 257 w 475"/>
                <a:gd name="T89" fmla="*/ 385 h 489"/>
                <a:gd name="T90" fmla="*/ 260 w 475"/>
                <a:gd name="T91" fmla="*/ 373 h 489"/>
                <a:gd name="T92" fmla="*/ 268 w 475"/>
                <a:gd name="T93" fmla="*/ 372 h 489"/>
                <a:gd name="T94" fmla="*/ 283 w 475"/>
                <a:gd name="T95" fmla="*/ 353 h 489"/>
                <a:gd name="T96" fmla="*/ 296 w 475"/>
                <a:gd name="T97" fmla="*/ 350 h 489"/>
                <a:gd name="T98" fmla="*/ 321 w 475"/>
                <a:gd name="T99" fmla="*/ 336 h 489"/>
                <a:gd name="T100" fmla="*/ 340 w 475"/>
                <a:gd name="T101" fmla="*/ 329 h 489"/>
                <a:gd name="T102" fmla="*/ 357 w 475"/>
                <a:gd name="T103" fmla="*/ 330 h 489"/>
                <a:gd name="T104" fmla="*/ 373 w 475"/>
                <a:gd name="T105" fmla="*/ 331 h 489"/>
                <a:gd name="T106" fmla="*/ 409 w 475"/>
                <a:gd name="T107" fmla="*/ 321 h 489"/>
                <a:gd name="T108" fmla="*/ 429 w 475"/>
                <a:gd name="T109" fmla="*/ 320 h 489"/>
                <a:gd name="T110" fmla="*/ 442 w 475"/>
                <a:gd name="T111" fmla="*/ 317 h 489"/>
                <a:gd name="T112" fmla="*/ 457 w 475"/>
                <a:gd name="T113" fmla="*/ 313 h 489"/>
                <a:gd name="T114" fmla="*/ 469 w 475"/>
                <a:gd name="T115" fmla="*/ 290 h 489"/>
                <a:gd name="T116" fmla="*/ 474 w 475"/>
                <a:gd name="T117" fmla="*/ 205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75" h="489">
                  <a:moveTo>
                    <a:pt x="474" y="205"/>
                  </a:moveTo>
                  <a:cubicBezTo>
                    <a:pt x="474" y="204"/>
                    <a:pt x="474" y="203"/>
                    <a:pt x="474" y="202"/>
                  </a:cubicBezTo>
                  <a:cubicBezTo>
                    <a:pt x="475" y="200"/>
                    <a:pt x="475" y="198"/>
                    <a:pt x="474" y="196"/>
                  </a:cubicBezTo>
                  <a:cubicBezTo>
                    <a:pt x="474" y="194"/>
                    <a:pt x="474" y="194"/>
                    <a:pt x="474" y="194"/>
                  </a:cubicBezTo>
                  <a:cubicBezTo>
                    <a:pt x="448" y="200"/>
                    <a:pt x="448" y="200"/>
                    <a:pt x="448" y="200"/>
                  </a:cubicBezTo>
                  <a:cubicBezTo>
                    <a:pt x="447" y="198"/>
                    <a:pt x="446" y="196"/>
                    <a:pt x="444" y="195"/>
                  </a:cubicBezTo>
                  <a:cubicBezTo>
                    <a:pt x="444" y="195"/>
                    <a:pt x="444" y="194"/>
                    <a:pt x="443" y="194"/>
                  </a:cubicBezTo>
                  <a:cubicBezTo>
                    <a:pt x="443" y="194"/>
                    <a:pt x="443" y="194"/>
                    <a:pt x="443" y="194"/>
                  </a:cubicBezTo>
                  <a:cubicBezTo>
                    <a:pt x="443" y="193"/>
                    <a:pt x="443" y="192"/>
                    <a:pt x="443" y="192"/>
                  </a:cubicBezTo>
                  <a:cubicBezTo>
                    <a:pt x="444" y="191"/>
                    <a:pt x="444" y="190"/>
                    <a:pt x="445" y="190"/>
                  </a:cubicBezTo>
                  <a:cubicBezTo>
                    <a:pt x="446" y="188"/>
                    <a:pt x="447" y="187"/>
                    <a:pt x="447" y="184"/>
                  </a:cubicBezTo>
                  <a:cubicBezTo>
                    <a:pt x="447" y="183"/>
                    <a:pt x="447" y="182"/>
                    <a:pt x="446" y="182"/>
                  </a:cubicBezTo>
                  <a:cubicBezTo>
                    <a:pt x="446" y="181"/>
                    <a:pt x="446" y="181"/>
                    <a:pt x="446" y="180"/>
                  </a:cubicBezTo>
                  <a:cubicBezTo>
                    <a:pt x="445" y="179"/>
                    <a:pt x="445" y="178"/>
                    <a:pt x="445" y="177"/>
                  </a:cubicBezTo>
                  <a:cubicBezTo>
                    <a:pt x="445" y="176"/>
                    <a:pt x="445" y="176"/>
                    <a:pt x="445" y="175"/>
                  </a:cubicBezTo>
                  <a:cubicBezTo>
                    <a:pt x="445" y="172"/>
                    <a:pt x="444" y="169"/>
                    <a:pt x="440" y="168"/>
                  </a:cubicBezTo>
                  <a:cubicBezTo>
                    <a:pt x="440" y="167"/>
                    <a:pt x="439" y="167"/>
                    <a:pt x="439" y="167"/>
                  </a:cubicBezTo>
                  <a:cubicBezTo>
                    <a:pt x="437" y="166"/>
                    <a:pt x="435" y="165"/>
                    <a:pt x="433" y="165"/>
                  </a:cubicBezTo>
                  <a:cubicBezTo>
                    <a:pt x="432" y="165"/>
                    <a:pt x="431" y="164"/>
                    <a:pt x="430" y="164"/>
                  </a:cubicBezTo>
                  <a:cubicBezTo>
                    <a:pt x="428" y="164"/>
                    <a:pt x="426" y="164"/>
                    <a:pt x="425" y="164"/>
                  </a:cubicBezTo>
                  <a:cubicBezTo>
                    <a:pt x="423" y="163"/>
                    <a:pt x="422" y="161"/>
                    <a:pt x="421" y="160"/>
                  </a:cubicBezTo>
                  <a:cubicBezTo>
                    <a:pt x="420" y="160"/>
                    <a:pt x="420" y="159"/>
                    <a:pt x="420" y="159"/>
                  </a:cubicBezTo>
                  <a:cubicBezTo>
                    <a:pt x="419" y="158"/>
                    <a:pt x="419" y="157"/>
                    <a:pt x="417" y="157"/>
                  </a:cubicBezTo>
                  <a:cubicBezTo>
                    <a:pt x="416" y="157"/>
                    <a:pt x="415" y="157"/>
                    <a:pt x="414" y="158"/>
                  </a:cubicBezTo>
                  <a:cubicBezTo>
                    <a:pt x="413" y="158"/>
                    <a:pt x="412" y="158"/>
                    <a:pt x="412" y="158"/>
                  </a:cubicBezTo>
                  <a:cubicBezTo>
                    <a:pt x="411" y="158"/>
                    <a:pt x="411" y="158"/>
                    <a:pt x="411" y="158"/>
                  </a:cubicBezTo>
                  <a:cubicBezTo>
                    <a:pt x="410" y="158"/>
                    <a:pt x="409" y="157"/>
                    <a:pt x="408" y="157"/>
                  </a:cubicBezTo>
                  <a:cubicBezTo>
                    <a:pt x="407" y="156"/>
                    <a:pt x="407" y="156"/>
                    <a:pt x="407" y="156"/>
                  </a:cubicBezTo>
                  <a:cubicBezTo>
                    <a:pt x="405" y="155"/>
                    <a:pt x="404" y="155"/>
                    <a:pt x="403" y="153"/>
                  </a:cubicBezTo>
                  <a:cubicBezTo>
                    <a:pt x="403" y="153"/>
                    <a:pt x="403" y="152"/>
                    <a:pt x="402" y="151"/>
                  </a:cubicBezTo>
                  <a:cubicBezTo>
                    <a:pt x="402" y="150"/>
                    <a:pt x="402" y="149"/>
                    <a:pt x="401" y="148"/>
                  </a:cubicBezTo>
                  <a:cubicBezTo>
                    <a:pt x="400" y="146"/>
                    <a:pt x="398" y="145"/>
                    <a:pt x="398" y="145"/>
                  </a:cubicBezTo>
                  <a:cubicBezTo>
                    <a:pt x="397" y="144"/>
                    <a:pt x="396" y="144"/>
                    <a:pt x="395" y="144"/>
                  </a:cubicBezTo>
                  <a:cubicBezTo>
                    <a:pt x="394" y="144"/>
                    <a:pt x="393" y="144"/>
                    <a:pt x="393" y="143"/>
                  </a:cubicBezTo>
                  <a:cubicBezTo>
                    <a:pt x="392" y="143"/>
                    <a:pt x="392" y="143"/>
                    <a:pt x="391" y="143"/>
                  </a:cubicBezTo>
                  <a:cubicBezTo>
                    <a:pt x="390" y="142"/>
                    <a:pt x="390" y="142"/>
                    <a:pt x="389" y="142"/>
                  </a:cubicBezTo>
                  <a:cubicBezTo>
                    <a:pt x="389" y="142"/>
                    <a:pt x="388" y="142"/>
                    <a:pt x="388" y="142"/>
                  </a:cubicBezTo>
                  <a:cubicBezTo>
                    <a:pt x="388" y="141"/>
                    <a:pt x="388" y="139"/>
                    <a:pt x="388" y="138"/>
                  </a:cubicBezTo>
                  <a:cubicBezTo>
                    <a:pt x="388" y="135"/>
                    <a:pt x="388" y="131"/>
                    <a:pt x="387" y="129"/>
                  </a:cubicBezTo>
                  <a:cubicBezTo>
                    <a:pt x="386" y="127"/>
                    <a:pt x="384" y="126"/>
                    <a:pt x="382" y="124"/>
                  </a:cubicBezTo>
                  <a:cubicBezTo>
                    <a:pt x="381" y="124"/>
                    <a:pt x="380" y="123"/>
                    <a:pt x="379" y="122"/>
                  </a:cubicBezTo>
                  <a:cubicBezTo>
                    <a:pt x="378" y="122"/>
                    <a:pt x="378" y="121"/>
                    <a:pt x="377" y="120"/>
                  </a:cubicBezTo>
                  <a:cubicBezTo>
                    <a:pt x="375" y="118"/>
                    <a:pt x="374" y="117"/>
                    <a:pt x="372" y="116"/>
                  </a:cubicBezTo>
                  <a:cubicBezTo>
                    <a:pt x="369" y="114"/>
                    <a:pt x="365" y="111"/>
                    <a:pt x="361" y="108"/>
                  </a:cubicBezTo>
                  <a:cubicBezTo>
                    <a:pt x="359" y="106"/>
                    <a:pt x="356" y="104"/>
                    <a:pt x="354" y="102"/>
                  </a:cubicBezTo>
                  <a:cubicBezTo>
                    <a:pt x="352" y="101"/>
                    <a:pt x="350" y="100"/>
                    <a:pt x="348" y="99"/>
                  </a:cubicBezTo>
                  <a:cubicBezTo>
                    <a:pt x="340" y="93"/>
                    <a:pt x="340" y="93"/>
                    <a:pt x="340" y="93"/>
                  </a:cubicBezTo>
                  <a:cubicBezTo>
                    <a:pt x="331" y="86"/>
                    <a:pt x="324" y="80"/>
                    <a:pt x="316" y="75"/>
                  </a:cubicBezTo>
                  <a:cubicBezTo>
                    <a:pt x="306" y="66"/>
                    <a:pt x="294" y="57"/>
                    <a:pt x="280" y="47"/>
                  </a:cubicBezTo>
                  <a:cubicBezTo>
                    <a:pt x="267" y="38"/>
                    <a:pt x="253" y="28"/>
                    <a:pt x="242" y="20"/>
                  </a:cubicBezTo>
                  <a:cubicBezTo>
                    <a:pt x="241" y="19"/>
                    <a:pt x="241" y="19"/>
                    <a:pt x="241" y="19"/>
                  </a:cubicBezTo>
                  <a:cubicBezTo>
                    <a:pt x="235" y="15"/>
                    <a:pt x="229" y="10"/>
                    <a:pt x="223" y="6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193" y="280"/>
                    <a:pt x="193" y="280"/>
                    <a:pt x="193" y="280"/>
                  </a:cubicBezTo>
                  <a:cubicBezTo>
                    <a:pt x="194" y="281"/>
                    <a:pt x="194" y="281"/>
                    <a:pt x="194" y="281"/>
                  </a:cubicBezTo>
                  <a:cubicBezTo>
                    <a:pt x="201" y="285"/>
                    <a:pt x="200" y="290"/>
                    <a:pt x="199" y="292"/>
                  </a:cubicBezTo>
                  <a:cubicBezTo>
                    <a:pt x="195" y="313"/>
                    <a:pt x="195" y="313"/>
                    <a:pt x="195" y="313"/>
                  </a:cubicBezTo>
                  <a:cubicBezTo>
                    <a:pt x="88" y="313"/>
                    <a:pt x="88" y="313"/>
                    <a:pt x="88" y="313"/>
                  </a:cubicBezTo>
                  <a:cubicBezTo>
                    <a:pt x="88" y="312"/>
                    <a:pt x="87" y="312"/>
                    <a:pt x="87" y="311"/>
                  </a:cubicBezTo>
                  <a:cubicBezTo>
                    <a:pt x="87" y="310"/>
                    <a:pt x="86" y="310"/>
                    <a:pt x="86" y="309"/>
                  </a:cubicBezTo>
                  <a:cubicBezTo>
                    <a:pt x="84" y="307"/>
                    <a:pt x="84" y="307"/>
                    <a:pt x="84" y="307"/>
                  </a:cubicBezTo>
                  <a:cubicBezTo>
                    <a:pt x="83" y="309"/>
                    <a:pt x="83" y="309"/>
                    <a:pt x="83" y="309"/>
                  </a:cubicBezTo>
                  <a:cubicBezTo>
                    <a:pt x="82" y="310"/>
                    <a:pt x="82" y="311"/>
                    <a:pt x="82" y="311"/>
                  </a:cubicBezTo>
                  <a:cubicBezTo>
                    <a:pt x="82" y="312"/>
                    <a:pt x="82" y="313"/>
                    <a:pt x="81" y="313"/>
                  </a:cubicBezTo>
                  <a:cubicBezTo>
                    <a:pt x="79" y="315"/>
                    <a:pt x="78" y="315"/>
                    <a:pt x="76" y="315"/>
                  </a:cubicBezTo>
                  <a:cubicBezTo>
                    <a:pt x="76" y="315"/>
                    <a:pt x="76" y="315"/>
                    <a:pt x="75" y="315"/>
                  </a:cubicBezTo>
                  <a:cubicBezTo>
                    <a:pt x="75" y="315"/>
                    <a:pt x="75" y="315"/>
                    <a:pt x="75" y="315"/>
                  </a:cubicBezTo>
                  <a:cubicBezTo>
                    <a:pt x="72" y="315"/>
                    <a:pt x="70" y="316"/>
                    <a:pt x="67" y="316"/>
                  </a:cubicBezTo>
                  <a:cubicBezTo>
                    <a:pt x="63" y="316"/>
                    <a:pt x="59" y="315"/>
                    <a:pt x="54" y="314"/>
                  </a:cubicBezTo>
                  <a:cubicBezTo>
                    <a:pt x="54" y="314"/>
                    <a:pt x="54" y="314"/>
                    <a:pt x="54" y="314"/>
                  </a:cubicBezTo>
                  <a:cubicBezTo>
                    <a:pt x="53" y="313"/>
                    <a:pt x="51" y="313"/>
                    <a:pt x="50" y="313"/>
                  </a:cubicBezTo>
                  <a:cubicBezTo>
                    <a:pt x="49" y="313"/>
                    <a:pt x="48" y="314"/>
                    <a:pt x="47" y="314"/>
                  </a:cubicBezTo>
                  <a:cubicBezTo>
                    <a:pt x="45" y="315"/>
                    <a:pt x="44" y="317"/>
                    <a:pt x="43" y="319"/>
                  </a:cubicBezTo>
                  <a:cubicBezTo>
                    <a:pt x="43" y="320"/>
                    <a:pt x="43" y="320"/>
                    <a:pt x="42" y="321"/>
                  </a:cubicBezTo>
                  <a:cubicBezTo>
                    <a:pt x="41" y="323"/>
                    <a:pt x="41" y="324"/>
                    <a:pt x="40" y="324"/>
                  </a:cubicBezTo>
                  <a:cubicBezTo>
                    <a:pt x="40" y="324"/>
                    <a:pt x="40" y="324"/>
                    <a:pt x="40" y="324"/>
                  </a:cubicBezTo>
                  <a:cubicBezTo>
                    <a:pt x="40" y="324"/>
                    <a:pt x="39" y="323"/>
                    <a:pt x="38" y="322"/>
                  </a:cubicBezTo>
                  <a:cubicBezTo>
                    <a:pt x="38" y="322"/>
                    <a:pt x="38" y="321"/>
                    <a:pt x="38" y="321"/>
                  </a:cubicBezTo>
                  <a:cubicBezTo>
                    <a:pt x="37" y="321"/>
                    <a:pt x="37" y="320"/>
                    <a:pt x="36" y="320"/>
                  </a:cubicBezTo>
                  <a:cubicBezTo>
                    <a:pt x="35" y="318"/>
                    <a:pt x="34" y="317"/>
                    <a:pt x="33" y="316"/>
                  </a:cubicBezTo>
                  <a:cubicBezTo>
                    <a:pt x="32" y="315"/>
                    <a:pt x="32" y="315"/>
                    <a:pt x="32" y="315"/>
                  </a:cubicBezTo>
                  <a:cubicBezTo>
                    <a:pt x="30" y="312"/>
                    <a:pt x="27" y="309"/>
                    <a:pt x="23" y="309"/>
                  </a:cubicBezTo>
                  <a:cubicBezTo>
                    <a:pt x="23" y="309"/>
                    <a:pt x="23" y="309"/>
                    <a:pt x="22" y="309"/>
                  </a:cubicBezTo>
                  <a:cubicBezTo>
                    <a:pt x="17" y="310"/>
                    <a:pt x="14" y="316"/>
                    <a:pt x="13" y="321"/>
                  </a:cubicBezTo>
                  <a:cubicBezTo>
                    <a:pt x="13" y="322"/>
                    <a:pt x="13" y="324"/>
                    <a:pt x="13" y="326"/>
                  </a:cubicBezTo>
                  <a:cubicBezTo>
                    <a:pt x="13" y="329"/>
                    <a:pt x="13" y="331"/>
                    <a:pt x="11" y="334"/>
                  </a:cubicBezTo>
                  <a:cubicBezTo>
                    <a:pt x="10" y="336"/>
                    <a:pt x="9" y="337"/>
                    <a:pt x="7" y="338"/>
                  </a:cubicBezTo>
                  <a:cubicBezTo>
                    <a:pt x="6" y="339"/>
                    <a:pt x="6" y="339"/>
                    <a:pt x="5" y="339"/>
                  </a:cubicBezTo>
                  <a:cubicBezTo>
                    <a:pt x="5" y="340"/>
                    <a:pt x="5" y="340"/>
                    <a:pt x="5" y="340"/>
                  </a:cubicBezTo>
                  <a:cubicBezTo>
                    <a:pt x="5" y="340"/>
                    <a:pt x="5" y="340"/>
                    <a:pt x="5" y="340"/>
                  </a:cubicBezTo>
                  <a:cubicBezTo>
                    <a:pt x="4" y="340"/>
                    <a:pt x="3" y="341"/>
                    <a:pt x="3" y="343"/>
                  </a:cubicBezTo>
                  <a:cubicBezTo>
                    <a:pt x="0" y="346"/>
                    <a:pt x="2" y="349"/>
                    <a:pt x="4" y="352"/>
                  </a:cubicBezTo>
                  <a:cubicBezTo>
                    <a:pt x="5" y="353"/>
                    <a:pt x="6" y="354"/>
                    <a:pt x="6" y="355"/>
                  </a:cubicBezTo>
                  <a:cubicBezTo>
                    <a:pt x="7" y="357"/>
                    <a:pt x="7" y="359"/>
                    <a:pt x="7" y="361"/>
                  </a:cubicBezTo>
                  <a:cubicBezTo>
                    <a:pt x="7" y="362"/>
                    <a:pt x="7" y="364"/>
                    <a:pt x="8" y="365"/>
                  </a:cubicBezTo>
                  <a:cubicBezTo>
                    <a:pt x="8" y="365"/>
                    <a:pt x="8" y="366"/>
                    <a:pt x="8" y="366"/>
                  </a:cubicBezTo>
                  <a:cubicBezTo>
                    <a:pt x="8" y="367"/>
                    <a:pt x="8" y="367"/>
                    <a:pt x="8" y="368"/>
                  </a:cubicBezTo>
                  <a:cubicBezTo>
                    <a:pt x="8" y="368"/>
                    <a:pt x="7" y="369"/>
                    <a:pt x="7" y="369"/>
                  </a:cubicBezTo>
                  <a:cubicBezTo>
                    <a:pt x="7" y="370"/>
                    <a:pt x="6" y="370"/>
                    <a:pt x="6" y="370"/>
                  </a:cubicBezTo>
                  <a:cubicBezTo>
                    <a:pt x="5" y="371"/>
                    <a:pt x="5" y="373"/>
                    <a:pt x="6" y="374"/>
                  </a:cubicBezTo>
                  <a:cubicBezTo>
                    <a:pt x="6" y="375"/>
                    <a:pt x="7" y="377"/>
                    <a:pt x="9" y="378"/>
                  </a:cubicBezTo>
                  <a:cubicBezTo>
                    <a:pt x="10" y="379"/>
                    <a:pt x="10" y="379"/>
                    <a:pt x="10" y="380"/>
                  </a:cubicBezTo>
                  <a:cubicBezTo>
                    <a:pt x="12" y="382"/>
                    <a:pt x="13" y="382"/>
                    <a:pt x="15" y="382"/>
                  </a:cubicBezTo>
                  <a:cubicBezTo>
                    <a:pt x="15" y="383"/>
                    <a:pt x="15" y="383"/>
                    <a:pt x="15" y="383"/>
                  </a:cubicBezTo>
                  <a:cubicBezTo>
                    <a:pt x="19" y="384"/>
                    <a:pt x="20" y="387"/>
                    <a:pt x="21" y="390"/>
                  </a:cubicBezTo>
                  <a:cubicBezTo>
                    <a:pt x="22" y="391"/>
                    <a:pt x="22" y="392"/>
                    <a:pt x="22" y="393"/>
                  </a:cubicBezTo>
                  <a:cubicBezTo>
                    <a:pt x="24" y="397"/>
                    <a:pt x="24" y="400"/>
                    <a:pt x="23" y="405"/>
                  </a:cubicBezTo>
                  <a:cubicBezTo>
                    <a:pt x="23" y="406"/>
                    <a:pt x="23" y="406"/>
                    <a:pt x="23" y="406"/>
                  </a:cubicBezTo>
                  <a:cubicBezTo>
                    <a:pt x="23" y="407"/>
                    <a:pt x="23" y="408"/>
                    <a:pt x="23" y="409"/>
                  </a:cubicBezTo>
                  <a:cubicBezTo>
                    <a:pt x="23" y="409"/>
                    <a:pt x="23" y="410"/>
                    <a:pt x="23" y="410"/>
                  </a:cubicBezTo>
                  <a:cubicBezTo>
                    <a:pt x="24" y="412"/>
                    <a:pt x="23" y="414"/>
                    <a:pt x="23" y="416"/>
                  </a:cubicBezTo>
                  <a:cubicBezTo>
                    <a:pt x="22" y="417"/>
                    <a:pt x="22" y="418"/>
                    <a:pt x="22" y="420"/>
                  </a:cubicBezTo>
                  <a:cubicBezTo>
                    <a:pt x="22" y="422"/>
                    <a:pt x="23" y="425"/>
                    <a:pt x="25" y="426"/>
                  </a:cubicBezTo>
                  <a:cubicBezTo>
                    <a:pt x="26" y="427"/>
                    <a:pt x="27" y="427"/>
                    <a:pt x="28" y="427"/>
                  </a:cubicBezTo>
                  <a:cubicBezTo>
                    <a:pt x="28" y="427"/>
                    <a:pt x="29" y="427"/>
                    <a:pt x="29" y="427"/>
                  </a:cubicBezTo>
                  <a:cubicBezTo>
                    <a:pt x="30" y="426"/>
                    <a:pt x="31" y="425"/>
                    <a:pt x="32" y="424"/>
                  </a:cubicBezTo>
                  <a:cubicBezTo>
                    <a:pt x="34" y="423"/>
                    <a:pt x="35" y="421"/>
                    <a:pt x="37" y="421"/>
                  </a:cubicBezTo>
                  <a:cubicBezTo>
                    <a:pt x="37" y="421"/>
                    <a:pt x="38" y="421"/>
                    <a:pt x="39" y="422"/>
                  </a:cubicBezTo>
                  <a:cubicBezTo>
                    <a:pt x="40" y="423"/>
                    <a:pt x="41" y="425"/>
                    <a:pt x="41" y="426"/>
                  </a:cubicBezTo>
                  <a:cubicBezTo>
                    <a:pt x="42" y="427"/>
                    <a:pt x="42" y="428"/>
                    <a:pt x="42" y="428"/>
                  </a:cubicBezTo>
                  <a:cubicBezTo>
                    <a:pt x="44" y="431"/>
                    <a:pt x="44" y="431"/>
                    <a:pt x="44" y="431"/>
                  </a:cubicBezTo>
                  <a:cubicBezTo>
                    <a:pt x="45" y="429"/>
                    <a:pt x="45" y="429"/>
                    <a:pt x="45" y="429"/>
                  </a:cubicBezTo>
                  <a:cubicBezTo>
                    <a:pt x="45" y="429"/>
                    <a:pt x="46" y="429"/>
                    <a:pt x="46" y="428"/>
                  </a:cubicBezTo>
                  <a:cubicBezTo>
                    <a:pt x="48" y="427"/>
                    <a:pt x="49" y="426"/>
                    <a:pt x="50" y="425"/>
                  </a:cubicBezTo>
                  <a:cubicBezTo>
                    <a:pt x="52" y="422"/>
                    <a:pt x="54" y="420"/>
                    <a:pt x="58" y="420"/>
                  </a:cubicBezTo>
                  <a:cubicBezTo>
                    <a:pt x="59" y="420"/>
                    <a:pt x="59" y="420"/>
                    <a:pt x="59" y="420"/>
                  </a:cubicBezTo>
                  <a:cubicBezTo>
                    <a:pt x="61" y="420"/>
                    <a:pt x="63" y="422"/>
                    <a:pt x="64" y="423"/>
                  </a:cubicBezTo>
                  <a:cubicBezTo>
                    <a:pt x="66" y="424"/>
                    <a:pt x="68" y="425"/>
                    <a:pt x="70" y="425"/>
                  </a:cubicBezTo>
                  <a:cubicBezTo>
                    <a:pt x="72" y="425"/>
                    <a:pt x="73" y="425"/>
                    <a:pt x="74" y="424"/>
                  </a:cubicBezTo>
                  <a:cubicBezTo>
                    <a:pt x="74" y="423"/>
                    <a:pt x="74" y="423"/>
                    <a:pt x="75" y="423"/>
                  </a:cubicBezTo>
                  <a:cubicBezTo>
                    <a:pt x="76" y="422"/>
                    <a:pt x="77" y="421"/>
                    <a:pt x="79" y="421"/>
                  </a:cubicBezTo>
                  <a:cubicBezTo>
                    <a:pt x="79" y="421"/>
                    <a:pt x="80" y="421"/>
                    <a:pt x="81" y="421"/>
                  </a:cubicBezTo>
                  <a:cubicBezTo>
                    <a:pt x="84" y="420"/>
                    <a:pt x="84" y="418"/>
                    <a:pt x="84" y="415"/>
                  </a:cubicBezTo>
                  <a:cubicBezTo>
                    <a:pt x="84" y="414"/>
                    <a:pt x="83" y="413"/>
                    <a:pt x="84" y="412"/>
                  </a:cubicBezTo>
                  <a:cubicBezTo>
                    <a:pt x="84" y="412"/>
                    <a:pt x="85" y="411"/>
                    <a:pt x="86" y="411"/>
                  </a:cubicBezTo>
                  <a:cubicBezTo>
                    <a:pt x="86" y="411"/>
                    <a:pt x="86" y="411"/>
                    <a:pt x="86" y="411"/>
                  </a:cubicBezTo>
                  <a:cubicBezTo>
                    <a:pt x="90" y="412"/>
                    <a:pt x="94" y="415"/>
                    <a:pt x="94" y="419"/>
                  </a:cubicBezTo>
                  <a:cubicBezTo>
                    <a:pt x="95" y="420"/>
                    <a:pt x="95" y="420"/>
                    <a:pt x="95" y="420"/>
                  </a:cubicBezTo>
                  <a:cubicBezTo>
                    <a:pt x="95" y="423"/>
                    <a:pt x="95" y="425"/>
                    <a:pt x="96" y="426"/>
                  </a:cubicBezTo>
                  <a:cubicBezTo>
                    <a:pt x="96" y="427"/>
                    <a:pt x="97" y="428"/>
                    <a:pt x="97" y="428"/>
                  </a:cubicBezTo>
                  <a:cubicBezTo>
                    <a:pt x="98" y="429"/>
                    <a:pt x="99" y="430"/>
                    <a:pt x="99" y="432"/>
                  </a:cubicBezTo>
                  <a:cubicBezTo>
                    <a:pt x="99" y="433"/>
                    <a:pt x="99" y="434"/>
                    <a:pt x="100" y="435"/>
                  </a:cubicBezTo>
                  <a:cubicBezTo>
                    <a:pt x="100" y="438"/>
                    <a:pt x="100" y="441"/>
                    <a:pt x="104" y="443"/>
                  </a:cubicBezTo>
                  <a:cubicBezTo>
                    <a:pt x="106" y="445"/>
                    <a:pt x="109" y="447"/>
                    <a:pt x="110" y="449"/>
                  </a:cubicBezTo>
                  <a:cubicBezTo>
                    <a:pt x="110" y="451"/>
                    <a:pt x="109" y="452"/>
                    <a:pt x="108" y="454"/>
                  </a:cubicBezTo>
                  <a:cubicBezTo>
                    <a:pt x="108" y="454"/>
                    <a:pt x="107" y="454"/>
                    <a:pt x="107" y="455"/>
                  </a:cubicBezTo>
                  <a:cubicBezTo>
                    <a:pt x="103" y="458"/>
                    <a:pt x="102" y="459"/>
                    <a:pt x="102" y="461"/>
                  </a:cubicBezTo>
                  <a:cubicBezTo>
                    <a:pt x="102" y="463"/>
                    <a:pt x="102" y="463"/>
                    <a:pt x="102" y="463"/>
                  </a:cubicBezTo>
                  <a:cubicBezTo>
                    <a:pt x="104" y="463"/>
                    <a:pt x="104" y="463"/>
                    <a:pt x="104" y="463"/>
                  </a:cubicBezTo>
                  <a:cubicBezTo>
                    <a:pt x="105" y="463"/>
                    <a:pt x="105" y="462"/>
                    <a:pt x="108" y="461"/>
                  </a:cubicBezTo>
                  <a:cubicBezTo>
                    <a:pt x="109" y="460"/>
                    <a:pt x="110" y="459"/>
                    <a:pt x="111" y="459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2" y="459"/>
                    <a:pt x="113" y="461"/>
                    <a:pt x="113" y="462"/>
                  </a:cubicBezTo>
                  <a:cubicBezTo>
                    <a:pt x="114" y="464"/>
                    <a:pt x="113" y="467"/>
                    <a:pt x="113" y="469"/>
                  </a:cubicBezTo>
                  <a:cubicBezTo>
                    <a:pt x="113" y="471"/>
                    <a:pt x="112" y="474"/>
                    <a:pt x="113" y="476"/>
                  </a:cubicBezTo>
                  <a:cubicBezTo>
                    <a:pt x="114" y="479"/>
                    <a:pt x="116" y="480"/>
                    <a:pt x="117" y="481"/>
                  </a:cubicBezTo>
                  <a:cubicBezTo>
                    <a:pt x="119" y="481"/>
                    <a:pt x="120" y="482"/>
                    <a:pt x="121" y="484"/>
                  </a:cubicBezTo>
                  <a:cubicBezTo>
                    <a:pt x="122" y="485"/>
                    <a:pt x="122" y="486"/>
                    <a:pt x="122" y="487"/>
                  </a:cubicBezTo>
                  <a:cubicBezTo>
                    <a:pt x="122" y="488"/>
                    <a:pt x="122" y="488"/>
                    <a:pt x="122" y="488"/>
                  </a:cubicBezTo>
                  <a:cubicBezTo>
                    <a:pt x="124" y="488"/>
                    <a:pt x="124" y="488"/>
                    <a:pt x="124" y="488"/>
                  </a:cubicBezTo>
                  <a:cubicBezTo>
                    <a:pt x="125" y="488"/>
                    <a:pt x="125" y="488"/>
                    <a:pt x="125" y="488"/>
                  </a:cubicBezTo>
                  <a:cubicBezTo>
                    <a:pt x="126" y="488"/>
                    <a:pt x="126" y="488"/>
                    <a:pt x="127" y="487"/>
                  </a:cubicBezTo>
                  <a:cubicBezTo>
                    <a:pt x="128" y="486"/>
                    <a:pt x="129" y="485"/>
                    <a:pt x="129" y="484"/>
                  </a:cubicBezTo>
                  <a:cubicBezTo>
                    <a:pt x="130" y="482"/>
                    <a:pt x="131" y="481"/>
                    <a:pt x="132" y="480"/>
                  </a:cubicBezTo>
                  <a:cubicBezTo>
                    <a:pt x="132" y="480"/>
                    <a:pt x="133" y="480"/>
                    <a:pt x="133" y="480"/>
                  </a:cubicBezTo>
                  <a:cubicBezTo>
                    <a:pt x="134" y="480"/>
                    <a:pt x="134" y="480"/>
                    <a:pt x="135" y="481"/>
                  </a:cubicBezTo>
                  <a:cubicBezTo>
                    <a:pt x="136" y="482"/>
                    <a:pt x="137" y="483"/>
                    <a:pt x="138" y="483"/>
                  </a:cubicBezTo>
                  <a:cubicBezTo>
                    <a:pt x="139" y="484"/>
                    <a:pt x="139" y="485"/>
                    <a:pt x="140" y="486"/>
                  </a:cubicBezTo>
                  <a:cubicBezTo>
                    <a:pt x="142" y="487"/>
                    <a:pt x="145" y="489"/>
                    <a:pt x="148" y="489"/>
                  </a:cubicBezTo>
                  <a:cubicBezTo>
                    <a:pt x="150" y="489"/>
                    <a:pt x="150" y="488"/>
                    <a:pt x="151" y="487"/>
                  </a:cubicBezTo>
                  <a:cubicBezTo>
                    <a:pt x="152" y="487"/>
                    <a:pt x="152" y="486"/>
                    <a:pt x="152" y="485"/>
                  </a:cubicBezTo>
                  <a:cubicBezTo>
                    <a:pt x="153" y="484"/>
                    <a:pt x="153" y="484"/>
                    <a:pt x="156" y="484"/>
                  </a:cubicBezTo>
                  <a:cubicBezTo>
                    <a:pt x="158" y="483"/>
                    <a:pt x="159" y="483"/>
                    <a:pt x="159" y="483"/>
                  </a:cubicBezTo>
                  <a:cubicBezTo>
                    <a:pt x="161" y="482"/>
                    <a:pt x="161" y="482"/>
                    <a:pt x="161" y="482"/>
                  </a:cubicBezTo>
                  <a:cubicBezTo>
                    <a:pt x="161" y="480"/>
                    <a:pt x="161" y="480"/>
                    <a:pt x="161" y="480"/>
                  </a:cubicBezTo>
                  <a:cubicBezTo>
                    <a:pt x="161" y="480"/>
                    <a:pt x="160" y="480"/>
                    <a:pt x="160" y="479"/>
                  </a:cubicBezTo>
                  <a:cubicBezTo>
                    <a:pt x="159" y="477"/>
                    <a:pt x="158" y="476"/>
                    <a:pt x="159" y="474"/>
                  </a:cubicBezTo>
                  <a:cubicBezTo>
                    <a:pt x="161" y="476"/>
                    <a:pt x="162" y="476"/>
                    <a:pt x="164" y="476"/>
                  </a:cubicBezTo>
                  <a:cubicBezTo>
                    <a:pt x="164" y="476"/>
                    <a:pt x="164" y="476"/>
                    <a:pt x="164" y="476"/>
                  </a:cubicBezTo>
                  <a:cubicBezTo>
                    <a:pt x="165" y="476"/>
                    <a:pt x="166" y="475"/>
                    <a:pt x="167" y="473"/>
                  </a:cubicBezTo>
                  <a:cubicBezTo>
                    <a:pt x="167" y="472"/>
                    <a:pt x="168" y="470"/>
                    <a:pt x="169" y="470"/>
                  </a:cubicBezTo>
                  <a:cubicBezTo>
                    <a:pt x="170" y="470"/>
                    <a:pt x="170" y="470"/>
                    <a:pt x="170" y="470"/>
                  </a:cubicBezTo>
                  <a:cubicBezTo>
                    <a:pt x="171" y="471"/>
                    <a:pt x="173" y="475"/>
                    <a:pt x="173" y="479"/>
                  </a:cubicBezTo>
                  <a:cubicBezTo>
                    <a:pt x="173" y="480"/>
                    <a:pt x="173" y="481"/>
                    <a:pt x="173" y="482"/>
                  </a:cubicBezTo>
                  <a:cubicBezTo>
                    <a:pt x="172" y="484"/>
                    <a:pt x="171" y="487"/>
                    <a:pt x="173" y="488"/>
                  </a:cubicBezTo>
                  <a:cubicBezTo>
                    <a:pt x="174" y="488"/>
                    <a:pt x="174" y="488"/>
                    <a:pt x="174" y="488"/>
                  </a:cubicBezTo>
                  <a:cubicBezTo>
                    <a:pt x="175" y="488"/>
                    <a:pt x="175" y="488"/>
                    <a:pt x="175" y="488"/>
                  </a:cubicBezTo>
                  <a:cubicBezTo>
                    <a:pt x="176" y="488"/>
                    <a:pt x="178" y="487"/>
                    <a:pt x="180" y="484"/>
                  </a:cubicBezTo>
                  <a:cubicBezTo>
                    <a:pt x="181" y="484"/>
                    <a:pt x="181" y="484"/>
                    <a:pt x="181" y="483"/>
                  </a:cubicBezTo>
                  <a:cubicBezTo>
                    <a:pt x="183" y="482"/>
                    <a:pt x="185" y="480"/>
                    <a:pt x="188" y="480"/>
                  </a:cubicBezTo>
                  <a:cubicBezTo>
                    <a:pt x="188" y="480"/>
                    <a:pt x="189" y="480"/>
                    <a:pt x="189" y="480"/>
                  </a:cubicBezTo>
                  <a:cubicBezTo>
                    <a:pt x="192" y="482"/>
                    <a:pt x="192" y="482"/>
                    <a:pt x="192" y="482"/>
                  </a:cubicBezTo>
                  <a:cubicBezTo>
                    <a:pt x="193" y="479"/>
                    <a:pt x="193" y="479"/>
                    <a:pt x="193" y="479"/>
                  </a:cubicBezTo>
                  <a:cubicBezTo>
                    <a:pt x="193" y="478"/>
                    <a:pt x="193" y="478"/>
                    <a:pt x="193" y="478"/>
                  </a:cubicBezTo>
                  <a:cubicBezTo>
                    <a:pt x="194" y="477"/>
                    <a:pt x="194" y="475"/>
                    <a:pt x="194" y="473"/>
                  </a:cubicBezTo>
                  <a:cubicBezTo>
                    <a:pt x="195" y="471"/>
                    <a:pt x="194" y="468"/>
                    <a:pt x="194" y="466"/>
                  </a:cubicBezTo>
                  <a:cubicBezTo>
                    <a:pt x="194" y="465"/>
                    <a:pt x="194" y="464"/>
                    <a:pt x="194" y="463"/>
                  </a:cubicBezTo>
                  <a:cubicBezTo>
                    <a:pt x="194" y="460"/>
                    <a:pt x="195" y="459"/>
                    <a:pt x="196" y="459"/>
                  </a:cubicBezTo>
                  <a:cubicBezTo>
                    <a:pt x="197" y="459"/>
                    <a:pt x="198" y="458"/>
                    <a:pt x="199" y="457"/>
                  </a:cubicBezTo>
                  <a:cubicBezTo>
                    <a:pt x="200" y="455"/>
                    <a:pt x="201" y="451"/>
                    <a:pt x="202" y="447"/>
                  </a:cubicBezTo>
                  <a:cubicBezTo>
                    <a:pt x="202" y="445"/>
                    <a:pt x="201" y="442"/>
                    <a:pt x="200" y="440"/>
                  </a:cubicBezTo>
                  <a:cubicBezTo>
                    <a:pt x="199" y="436"/>
                    <a:pt x="198" y="433"/>
                    <a:pt x="202" y="431"/>
                  </a:cubicBezTo>
                  <a:cubicBezTo>
                    <a:pt x="205" y="430"/>
                    <a:pt x="207" y="429"/>
                    <a:pt x="210" y="429"/>
                  </a:cubicBezTo>
                  <a:cubicBezTo>
                    <a:pt x="213" y="428"/>
                    <a:pt x="217" y="427"/>
                    <a:pt x="220" y="423"/>
                  </a:cubicBezTo>
                  <a:cubicBezTo>
                    <a:pt x="221" y="422"/>
                    <a:pt x="221" y="422"/>
                    <a:pt x="221" y="422"/>
                  </a:cubicBezTo>
                  <a:cubicBezTo>
                    <a:pt x="222" y="420"/>
                    <a:pt x="224" y="417"/>
                    <a:pt x="225" y="415"/>
                  </a:cubicBezTo>
                  <a:cubicBezTo>
                    <a:pt x="226" y="412"/>
                    <a:pt x="226" y="410"/>
                    <a:pt x="225" y="408"/>
                  </a:cubicBezTo>
                  <a:cubicBezTo>
                    <a:pt x="225" y="407"/>
                    <a:pt x="225" y="405"/>
                    <a:pt x="225" y="404"/>
                  </a:cubicBezTo>
                  <a:cubicBezTo>
                    <a:pt x="226" y="403"/>
                    <a:pt x="227" y="403"/>
                    <a:pt x="229" y="403"/>
                  </a:cubicBezTo>
                  <a:cubicBezTo>
                    <a:pt x="231" y="403"/>
                    <a:pt x="231" y="403"/>
                    <a:pt x="231" y="403"/>
                  </a:cubicBezTo>
                  <a:cubicBezTo>
                    <a:pt x="231" y="402"/>
                    <a:pt x="231" y="402"/>
                    <a:pt x="231" y="402"/>
                  </a:cubicBezTo>
                  <a:cubicBezTo>
                    <a:pt x="232" y="399"/>
                    <a:pt x="231" y="398"/>
                    <a:pt x="230" y="396"/>
                  </a:cubicBezTo>
                  <a:cubicBezTo>
                    <a:pt x="229" y="395"/>
                    <a:pt x="228" y="393"/>
                    <a:pt x="228" y="391"/>
                  </a:cubicBezTo>
                  <a:cubicBezTo>
                    <a:pt x="229" y="388"/>
                    <a:pt x="233" y="383"/>
                    <a:pt x="236" y="381"/>
                  </a:cubicBezTo>
                  <a:cubicBezTo>
                    <a:pt x="237" y="380"/>
                    <a:pt x="238" y="380"/>
                    <a:pt x="239" y="380"/>
                  </a:cubicBezTo>
                  <a:cubicBezTo>
                    <a:pt x="240" y="380"/>
                    <a:pt x="240" y="380"/>
                    <a:pt x="241" y="380"/>
                  </a:cubicBezTo>
                  <a:cubicBezTo>
                    <a:pt x="242" y="381"/>
                    <a:pt x="243" y="383"/>
                    <a:pt x="245" y="384"/>
                  </a:cubicBezTo>
                  <a:cubicBezTo>
                    <a:pt x="247" y="387"/>
                    <a:pt x="248" y="389"/>
                    <a:pt x="251" y="389"/>
                  </a:cubicBezTo>
                  <a:cubicBezTo>
                    <a:pt x="251" y="389"/>
                    <a:pt x="251" y="389"/>
                    <a:pt x="251" y="389"/>
                  </a:cubicBezTo>
                  <a:cubicBezTo>
                    <a:pt x="252" y="389"/>
                    <a:pt x="252" y="389"/>
                    <a:pt x="252" y="389"/>
                  </a:cubicBezTo>
                  <a:cubicBezTo>
                    <a:pt x="253" y="389"/>
                    <a:pt x="253" y="389"/>
                    <a:pt x="253" y="389"/>
                  </a:cubicBezTo>
                  <a:cubicBezTo>
                    <a:pt x="253" y="388"/>
                    <a:pt x="254" y="387"/>
                    <a:pt x="254" y="387"/>
                  </a:cubicBezTo>
                  <a:cubicBezTo>
                    <a:pt x="254" y="387"/>
                    <a:pt x="255" y="386"/>
                    <a:pt x="255" y="386"/>
                  </a:cubicBezTo>
                  <a:cubicBezTo>
                    <a:pt x="256" y="386"/>
                    <a:pt x="256" y="385"/>
                    <a:pt x="257" y="385"/>
                  </a:cubicBezTo>
                  <a:cubicBezTo>
                    <a:pt x="257" y="385"/>
                    <a:pt x="257" y="385"/>
                    <a:pt x="257" y="385"/>
                  </a:cubicBezTo>
                  <a:cubicBezTo>
                    <a:pt x="258" y="385"/>
                    <a:pt x="259" y="384"/>
                    <a:pt x="259" y="383"/>
                  </a:cubicBezTo>
                  <a:cubicBezTo>
                    <a:pt x="260" y="381"/>
                    <a:pt x="259" y="378"/>
                    <a:pt x="259" y="376"/>
                  </a:cubicBezTo>
                  <a:cubicBezTo>
                    <a:pt x="259" y="375"/>
                    <a:pt x="259" y="374"/>
                    <a:pt x="259" y="373"/>
                  </a:cubicBezTo>
                  <a:cubicBezTo>
                    <a:pt x="259" y="373"/>
                    <a:pt x="260" y="373"/>
                    <a:pt x="260" y="373"/>
                  </a:cubicBezTo>
                  <a:cubicBezTo>
                    <a:pt x="261" y="373"/>
                    <a:pt x="262" y="373"/>
                    <a:pt x="264" y="373"/>
                  </a:cubicBezTo>
                  <a:cubicBezTo>
                    <a:pt x="264" y="374"/>
                    <a:pt x="265" y="374"/>
                    <a:pt x="266" y="374"/>
                  </a:cubicBezTo>
                  <a:cubicBezTo>
                    <a:pt x="266" y="374"/>
                    <a:pt x="266" y="374"/>
                    <a:pt x="266" y="374"/>
                  </a:cubicBezTo>
                  <a:cubicBezTo>
                    <a:pt x="269" y="373"/>
                    <a:pt x="269" y="373"/>
                    <a:pt x="269" y="373"/>
                  </a:cubicBezTo>
                  <a:cubicBezTo>
                    <a:pt x="268" y="372"/>
                    <a:pt x="268" y="372"/>
                    <a:pt x="268" y="372"/>
                  </a:cubicBezTo>
                  <a:cubicBezTo>
                    <a:pt x="268" y="371"/>
                    <a:pt x="268" y="371"/>
                    <a:pt x="268" y="370"/>
                  </a:cubicBezTo>
                  <a:cubicBezTo>
                    <a:pt x="269" y="369"/>
                    <a:pt x="269" y="368"/>
                    <a:pt x="269" y="367"/>
                  </a:cubicBezTo>
                  <a:cubicBezTo>
                    <a:pt x="269" y="364"/>
                    <a:pt x="270" y="361"/>
                    <a:pt x="272" y="359"/>
                  </a:cubicBezTo>
                  <a:cubicBezTo>
                    <a:pt x="274" y="357"/>
                    <a:pt x="279" y="354"/>
                    <a:pt x="282" y="353"/>
                  </a:cubicBezTo>
                  <a:cubicBezTo>
                    <a:pt x="282" y="353"/>
                    <a:pt x="282" y="353"/>
                    <a:pt x="283" y="353"/>
                  </a:cubicBezTo>
                  <a:cubicBezTo>
                    <a:pt x="284" y="353"/>
                    <a:pt x="286" y="354"/>
                    <a:pt x="287" y="355"/>
                  </a:cubicBezTo>
                  <a:cubicBezTo>
                    <a:pt x="289" y="355"/>
                    <a:pt x="290" y="356"/>
                    <a:pt x="292" y="356"/>
                  </a:cubicBezTo>
                  <a:cubicBezTo>
                    <a:pt x="293" y="356"/>
                    <a:pt x="293" y="356"/>
                    <a:pt x="293" y="356"/>
                  </a:cubicBezTo>
                  <a:cubicBezTo>
                    <a:pt x="295" y="355"/>
                    <a:pt x="295" y="353"/>
                    <a:pt x="295" y="352"/>
                  </a:cubicBezTo>
                  <a:cubicBezTo>
                    <a:pt x="295" y="351"/>
                    <a:pt x="295" y="350"/>
                    <a:pt x="296" y="350"/>
                  </a:cubicBezTo>
                  <a:cubicBezTo>
                    <a:pt x="296" y="348"/>
                    <a:pt x="298" y="347"/>
                    <a:pt x="301" y="346"/>
                  </a:cubicBezTo>
                  <a:cubicBezTo>
                    <a:pt x="302" y="346"/>
                    <a:pt x="302" y="346"/>
                    <a:pt x="303" y="346"/>
                  </a:cubicBezTo>
                  <a:cubicBezTo>
                    <a:pt x="307" y="344"/>
                    <a:pt x="310" y="343"/>
                    <a:pt x="313" y="339"/>
                  </a:cubicBezTo>
                  <a:cubicBezTo>
                    <a:pt x="315" y="338"/>
                    <a:pt x="317" y="337"/>
                    <a:pt x="319" y="337"/>
                  </a:cubicBezTo>
                  <a:cubicBezTo>
                    <a:pt x="319" y="337"/>
                    <a:pt x="320" y="336"/>
                    <a:pt x="321" y="336"/>
                  </a:cubicBezTo>
                  <a:cubicBezTo>
                    <a:pt x="323" y="335"/>
                    <a:pt x="324" y="334"/>
                    <a:pt x="326" y="332"/>
                  </a:cubicBezTo>
                  <a:cubicBezTo>
                    <a:pt x="327" y="331"/>
                    <a:pt x="327" y="331"/>
                    <a:pt x="327" y="331"/>
                  </a:cubicBezTo>
                  <a:cubicBezTo>
                    <a:pt x="329" y="328"/>
                    <a:pt x="331" y="328"/>
                    <a:pt x="333" y="328"/>
                  </a:cubicBezTo>
                  <a:cubicBezTo>
                    <a:pt x="335" y="328"/>
                    <a:pt x="337" y="328"/>
                    <a:pt x="339" y="329"/>
                  </a:cubicBezTo>
                  <a:cubicBezTo>
                    <a:pt x="340" y="329"/>
                    <a:pt x="340" y="329"/>
                    <a:pt x="340" y="329"/>
                  </a:cubicBezTo>
                  <a:cubicBezTo>
                    <a:pt x="342" y="329"/>
                    <a:pt x="343" y="329"/>
                    <a:pt x="344" y="329"/>
                  </a:cubicBezTo>
                  <a:cubicBezTo>
                    <a:pt x="346" y="329"/>
                    <a:pt x="347" y="329"/>
                    <a:pt x="348" y="329"/>
                  </a:cubicBezTo>
                  <a:cubicBezTo>
                    <a:pt x="349" y="329"/>
                    <a:pt x="350" y="329"/>
                    <a:pt x="351" y="329"/>
                  </a:cubicBezTo>
                  <a:cubicBezTo>
                    <a:pt x="354" y="329"/>
                    <a:pt x="356" y="329"/>
                    <a:pt x="357" y="330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358" y="331"/>
                    <a:pt x="358" y="331"/>
                    <a:pt x="358" y="331"/>
                  </a:cubicBezTo>
                  <a:cubicBezTo>
                    <a:pt x="358" y="330"/>
                    <a:pt x="358" y="330"/>
                    <a:pt x="358" y="330"/>
                  </a:cubicBezTo>
                  <a:cubicBezTo>
                    <a:pt x="361" y="331"/>
                    <a:pt x="364" y="331"/>
                    <a:pt x="366" y="331"/>
                  </a:cubicBezTo>
                  <a:cubicBezTo>
                    <a:pt x="368" y="331"/>
                    <a:pt x="369" y="331"/>
                    <a:pt x="370" y="331"/>
                  </a:cubicBezTo>
                  <a:cubicBezTo>
                    <a:pt x="371" y="331"/>
                    <a:pt x="372" y="331"/>
                    <a:pt x="373" y="331"/>
                  </a:cubicBezTo>
                  <a:cubicBezTo>
                    <a:pt x="376" y="331"/>
                    <a:pt x="376" y="331"/>
                    <a:pt x="376" y="331"/>
                  </a:cubicBezTo>
                  <a:cubicBezTo>
                    <a:pt x="380" y="331"/>
                    <a:pt x="383" y="331"/>
                    <a:pt x="386" y="327"/>
                  </a:cubicBezTo>
                  <a:cubicBezTo>
                    <a:pt x="389" y="323"/>
                    <a:pt x="391" y="321"/>
                    <a:pt x="397" y="321"/>
                  </a:cubicBezTo>
                  <a:cubicBezTo>
                    <a:pt x="399" y="321"/>
                    <a:pt x="401" y="321"/>
                    <a:pt x="402" y="321"/>
                  </a:cubicBezTo>
                  <a:cubicBezTo>
                    <a:pt x="404" y="321"/>
                    <a:pt x="406" y="321"/>
                    <a:pt x="409" y="321"/>
                  </a:cubicBezTo>
                  <a:cubicBezTo>
                    <a:pt x="410" y="321"/>
                    <a:pt x="411" y="321"/>
                    <a:pt x="413" y="321"/>
                  </a:cubicBezTo>
                  <a:cubicBezTo>
                    <a:pt x="414" y="321"/>
                    <a:pt x="414" y="321"/>
                    <a:pt x="414" y="321"/>
                  </a:cubicBezTo>
                  <a:cubicBezTo>
                    <a:pt x="416" y="321"/>
                    <a:pt x="418" y="321"/>
                    <a:pt x="420" y="321"/>
                  </a:cubicBezTo>
                  <a:cubicBezTo>
                    <a:pt x="422" y="321"/>
                    <a:pt x="424" y="320"/>
                    <a:pt x="426" y="320"/>
                  </a:cubicBezTo>
                  <a:cubicBezTo>
                    <a:pt x="427" y="320"/>
                    <a:pt x="428" y="320"/>
                    <a:pt x="429" y="320"/>
                  </a:cubicBezTo>
                  <a:cubicBezTo>
                    <a:pt x="430" y="321"/>
                    <a:pt x="430" y="321"/>
                    <a:pt x="430" y="321"/>
                  </a:cubicBezTo>
                  <a:cubicBezTo>
                    <a:pt x="431" y="321"/>
                    <a:pt x="432" y="321"/>
                    <a:pt x="432" y="321"/>
                  </a:cubicBezTo>
                  <a:cubicBezTo>
                    <a:pt x="434" y="321"/>
                    <a:pt x="435" y="320"/>
                    <a:pt x="436" y="320"/>
                  </a:cubicBezTo>
                  <a:cubicBezTo>
                    <a:pt x="437" y="320"/>
                    <a:pt x="438" y="319"/>
                    <a:pt x="439" y="319"/>
                  </a:cubicBezTo>
                  <a:cubicBezTo>
                    <a:pt x="440" y="318"/>
                    <a:pt x="441" y="317"/>
                    <a:pt x="442" y="317"/>
                  </a:cubicBezTo>
                  <a:cubicBezTo>
                    <a:pt x="443" y="317"/>
                    <a:pt x="443" y="317"/>
                    <a:pt x="444" y="317"/>
                  </a:cubicBezTo>
                  <a:cubicBezTo>
                    <a:pt x="445" y="317"/>
                    <a:pt x="446" y="317"/>
                    <a:pt x="448" y="317"/>
                  </a:cubicBezTo>
                  <a:cubicBezTo>
                    <a:pt x="449" y="318"/>
                    <a:pt x="450" y="318"/>
                    <a:pt x="451" y="318"/>
                  </a:cubicBezTo>
                  <a:cubicBezTo>
                    <a:pt x="453" y="318"/>
                    <a:pt x="454" y="317"/>
                    <a:pt x="455" y="316"/>
                  </a:cubicBezTo>
                  <a:cubicBezTo>
                    <a:pt x="456" y="315"/>
                    <a:pt x="456" y="314"/>
                    <a:pt x="457" y="313"/>
                  </a:cubicBezTo>
                  <a:cubicBezTo>
                    <a:pt x="457" y="312"/>
                    <a:pt x="458" y="311"/>
                    <a:pt x="459" y="310"/>
                  </a:cubicBezTo>
                  <a:cubicBezTo>
                    <a:pt x="460" y="310"/>
                    <a:pt x="460" y="309"/>
                    <a:pt x="461" y="309"/>
                  </a:cubicBezTo>
                  <a:cubicBezTo>
                    <a:pt x="462" y="308"/>
                    <a:pt x="463" y="308"/>
                    <a:pt x="464" y="307"/>
                  </a:cubicBezTo>
                  <a:cubicBezTo>
                    <a:pt x="466" y="304"/>
                    <a:pt x="466" y="301"/>
                    <a:pt x="467" y="298"/>
                  </a:cubicBezTo>
                  <a:cubicBezTo>
                    <a:pt x="467" y="295"/>
                    <a:pt x="467" y="292"/>
                    <a:pt x="469" y="290"/>
                  </a:cubicBezTo>
                  <a:cubicBezTo>
                    <a:pt x="471" y="285"/>
                    <a:pt x="474" y="280"/>
                    <a:pt x="474" y="274"/>
                  </a:cubicBezTo>
                  <a:cubicBezTo>
                    <a:pt x="474" y="268"/>
                    <a:pt x="474" y="268"/>
                    <a:pt x="474" y="268"/>
                  </a:cubicBezTo>
                  <a:cubicBezTo>
                    <a:pt x="474" y="254"/>
                    <a:pt x="474" y="240"/>
                    <a:pt x="475" y="226"/>
                  </a:cubicBezTo>
                  <a:cubicBezTo>
                    <a:pt x="475" y="222"/>
                    <a:pt x="475" y="219"/>
                    <a:pt x="474" y="215"/>
                  </a:cubicBezTo>
                  <a:cubicBezTo>
                    <a:pt x="474" y="212"/>
                    <a:pt x="474" y="209"/>
                    <a:pt x="474" y="205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1" name="Freeform 31"/>
            <p:cNvSpPr>
              <a:spLocks/>
            </p:cNvSpPr>
            <p:nvPr/>
          </p:nvSpPr>
          <p:spPr bwMode="auto">
            <a:xfrm>
              <a:off x="1004522" y="845051"/>
              <a:ext cx="694166" cy="773595"/>
            </a:xfrm>
            <a:custGeom>
              <a:avLst/>
              <a:gdLst>
                <a:gd name="T0" fmla="*/ 298 w 343"/>
                <a:gd name="T1" fmla="*/ 76 h 415"/>
                <a:gd name="T2" fmla="*/ 330 w 343"/>
                <a:gd name="T3" fmla="*/ 66 h 415"/>
                <a:gd name="T4" fmla="*/ 268 w 343"/>
                <a:gd name="T5" fmla="*/ 20 h 415"/>
                <a:gd name="T6" fmla="*/ 258 w 343"/>
                <a:gd name="T7" fmla="*/ 13 h 415"/>
                <a:gd name="T8" fmla="*/ 247 w 343"/>
                <a:gd name="T9" fmla="*/ 5 h 415"/>
                <a:gd name="T10" fmla="*/ 242 w 343"/>
                <a:gd name="T11" fmla="*/ 0 h 415"/>
                <a:gd name="T12" fmla="*/ 240 w 343"/>
                <a:gd name="T13" fmla="*/ 41 h 415"/>
                <a:gd name="T14" fmla="*/ 145 w 343"/>
                <a:gd name="T15" fmla="*/ 54 h 415"/>
                <a:gd name="T16" fmla="*/ 143 w 343"/>
                <a:gd name="T17" fmla="*/ 100 h 415"/>
                <a:gd name="T18" fmla="*/ 143 w 343"/>
                <a:gd name="T19" fmla="*/ 115 h 415"/>
                <a:gd name="T20" fmla="*/ 143 w 343"/>
                <a:gd name="T21" fmla="*/ 122 h 415"/>
                <a:gd name="T22" fmla="*/ 129 w 343"/>
                <a:gd name="T23" fmla="*/ 130 h 415"/>
                <a:gd name="T24" fmla="*/ 110 w 343"/>
                <a:gd name="T25" fmla="*/ 144 h 415"/>
                <a:gd name="T26" fmla="*/ 112 w 343"/>
                <a:gd name="T27" fmla="*/ 195 h 415"/>
                <a:gd name="T28" fmla="*/ 0 w 343"/>
                <a:gd name="T29" fmla="*/ 203 h 415"/>
                <a:gd name="T30" fmla="*/ 1 w 343"/>
                <a:gd name="T31" fmla="*/ 206 h 415"/>
                <a:gd name="T32" fmla="*/ 3 w 343"/>
                <a:gd name="T33" fmla="*/ 211 h 415"/>
                <a:gd name="T34" fmla="*/ 9 w 343"/>
                <a:gd name="T35" fmla="*/ 220 h 415"/>
                <a:gd name="T36" fmla="*/ 12 w 343"/>
                <a:gd name="T37" fmla="*/ 221 h 415"/>
                <a:gd name="T38" fmla="*/ 15 w 343"/>
                <a:gd name="T39" fmla="*/ 229 h 415"/>
                <a:gd name="T40" fmla="*/ 16 w 343"/>
                <a:gd name="T41" fmla="*/ 237 h 415"/>
                <a:gd name="T42" fmla="*/ 13 w 343"/>
                <a:gd name="T43" fmla="*/ 245 h 415"/>
                <a:gd name="T44" fmla="*/ 11 w 343"/>
                <a:gd name="T45" fmla="*/ 252 h 415"/>
                <a:gd name="T46" fmla="*/ 10 w 343"/>
                <a:gd name="T47" fmla="*/ 256 h 415"/>
                <a:gd name="T48" fmla="*/ 11 w 343"/>
                <a:gd name="T49" fmla="*/ 264 h 415"/>
                <a:gd name="T50" fmla="*/ 14 w 343"/>
                <a:gd name="T51" fmla="*/ 269 h 415"/>
                <a:gd name="T52" fmla="*/ 17 w 343"/>
                <a:gd name="T53" fmla="*/ 286 h 415"/>
                <a:gd name="T54" fmla="*/ 18 w 343"/>
                <a:gd name="T55" fmla="*/ 299 h 415"/>
                <a:gd name="T56" fmla="*/ 16 w 343"/>
                <a:gd name="T57" fmla="*/ 322 h 415"/>
                <a:gd name="T58" fmla="*/ 4 w 343"/>
                <a:gd name="T59" fmla="*/ 360 h 415"/>
                <a:gd name="T60" fmla="*/ 3 w 343"/>
                <a:gd name="T61" fmla="*/ 371 h 415"/>
                <a:gd name="T62" fmla="*/ 11 w 343"/>
                <a:gd name="T63" fmla="*/ 362 h 415"/>
                <a:gd name="T64" fmla="*/ 19 w 343"/>
                <a:gd name="T65" fmla="*/ 354 h 415"/>
                <a:gd name="T66" fmla="*/ 25 w 343"/>
                <a:gd name="T67" fmla="*/ 354 h 415"/>
                <a:gd name="T68" fmla="*/ 44 w 343"/>
                <a:gd name="T69" fmla="*/ 352 h 415"/>
                <a:gd name="T70" fmla="*/ 62 w 343"/>
                <a:gd name="T71" fmla="*/ 349 h 415"/>
                <a:gd name="T72" fmla="*/ 77 w 343"/>
                <a:gd name="T73" fmla="*/ 358 h 415"/>
                <a:gd name="T74" fmla="*/ 98 w 343"/>
                <a:gd name="T75" fmla="*/ 378 h 415"/>
                <a:gd name="T76" fmla="*/ 108 w 343"/>
                <a:gd name="T77" fmla="*/ 391 h 415"/>
                <a:gd name="T78" fmla="*/ 112 w 343"/>
                <a:gd name="T79" fmla="*/ 397 h 415"/>
                <a:gd name="T80" fmla="*/ 118 w 343"/>
                <a:gd name="T81" fmla="*/ 402 h 415"/>
                <a:gd name="T82" fmla="*/ 129 w 343"/>
                <a:gd name="T83" fmla="*/ 413 h 415"/>
                <a:gd name="T84" fmla="*/ 132 w 343"/>
                <a:gd name="T85" fmla="*/ 413 h 415"/>
                <a:gd name="T86" fmla="*/ 132 w 343"/>
                <a:gd name="T87" fmla="*/ 415 h 415"/>
                <a:gd name="T88" fmla="*/ 139 w 343"/>
                <a:gd name="T89" fmla="*/ 409 h 415"/>
                <a:gd name="T90" fmla="*/ 141 w 343"/>
                <a:gd name="T91" fmla="*/ 396 h 415"/>
                <a:gd name="T92" fmla="*/ 150 w 343"/>
                <a:gd name="T93" fmla="*/ 384 h 415"/>
                <a:gd name="T94" fmla="*/ 159 w 343"/>
                <a:gd name="T95" fmla="*/ 391 h 415"/>
                <a:gd name="T96" fmla="*/ 164 w 343"/>
                <a:gd name="T97" fmla="*/ 396 h 415"/>
                <a:gd name="T98" fmla="*/ 166 w 343"/>
                <a:gd name="T99" fmla="*/ 398 h 415"/>
                <a:gd name="T100" fmla="*/ 169 w 343"/>
                <a:gd name="T101" fmla="*/ 398 h 415"/>
                <a:gd name="T102" fmla="*/ 170 w 343"/>
                <a:gd name="T103" fmla="*/ 395 h 415"/>
                <a:gd name="T104" fmla="*/ 178 w 343"/>
                <a:gd name="T105" fmla="*/ 389 h 415"/>
                <a:gd name="T106" fmla="*/ 181 w 343"/>
                <a:gd name="T107" fmla="*/ 389 h 415"/>
                <a:gd name="T108" fmla="*/ 194 w 343"/>
                <a:gd name="T109" fmla="*/ 391 h 415"/>
                <a:gd name="T110" fmla="*/ 202 w 343"/>
                <a:gd name="T111" fmla="*/ 390 h 415"/>
                <a:gd name="T112" fmla="*/ 208 w 343"/>
                <a:gd name="T113" fmla="*/ 389 h 415"/>
                <a:gd name="T114" fmla="*/ 210 w 343"/>
                <a:gd name="T115" fmla="*/ 384 h 415"/>
                <a:gd name="T116" fmla="*/ 214 w 343"/>
                <a:gd name="T117" fmla="*/ 386 h 415"/>
                <a:gd name="T118" fmla="*/ 215 w 343"/>
                <a:gd name="T119" fmla="*/ 388 h 415"/>
                <a:gd name="T120" fmla="*/ 327 w 343"/>
                <a:gd name="T121" fmla="*/ 367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3" h="415">
                  <a:moveTo>
                    <a:pt x="320" y="355"/>
                  </a:moveTo>
                  <a:cubicBezTo>
                    <a:pt x="298" y="76"/>
                    <a:pt x="298" y="76"/>
                    <a:pt x="298" y="76"/>
                  </a:cubicBezTo>
                  <a:cubicBezTo>
                    <a:pt x="343" y="76"/>
                    <a:pt x="343" y="76"/>
                    <a:pt x="343" y="76"/>
                  </a:cubicBezTo>
                  <a:cubicBezTo>
                    <a:pt x="330" y="66"/>
                    <a:pt x="330" y="66"/>
                    <a:pt x="330" y="66"/>
                  </a:cubicBezTo>
                  <a:cubicBezTo>
                    <a:pt x="317" y="56"/>
                    <a:pt x="306" y="48"/>
                    <a:pt x="296" y="40"/>
                  </a:cubicBezTo>
                  <a:cubicBezTo>
                    <a:pt x="287" y="34"/>
                    <a:pt x="279" y="28"/>
                    <a:pt x="268" y="20"/>
                  </a:cubicBezTo>
                  <a:cubicBezTo>
                    <a:pt x="265" y="18"/>
                    <a:pt x="262" y="16"/>
                    <a:pt x="259" y="14"/>
                  </a:cubicBezTo>
                  <a:cubicBezTo>
                    <a:pt x="258" y="13"/>
                    <a:pt x="258" y="13"/>
                    <a:pt x="258" y="13"/>
                  </a:cubicBezTo>
                  <a:cubicBezTo>
                    <a:pt x="255" y="10"/>
                    <a:pt x="252" y="8"/>
                    <a:pt x="249" y="6"/>
                  </a:cubicBezTo>
                  <a:cubicBezTo>
                    <a:pt x="247" y="5"/>
                    <a:pt x="247" y="5"/>
                    <a:pt x="247" y="5"/>
                  </a:cubicBezTo>
                  <a:cubicBezTo>
                    <a:pt x="247" y="4"/>
                    <a:pt x="246" y="4"/>
                    <a:pt x="246" y="3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41" y="4"/>
                    <a:pt x="241" y="4"/>
                    <a:pt x="241" y="4"/>
                  </a:cubicBezTo>
                  <a:cubicBezTo>
                    <a:pt x="240" y="41"/>
                    <a:pt x="240" y="41"/>
                    <a:pt x="240" y="41"/>
                  </a:cubicBezTo>
                  <a:cubicBezTo>
                    <a:pt x="146" y="44"/>
                    <a:pt x="146" y="44"/>
                    <a:pt x="146" y="44"/>
                  </a:cubicBezTo>
                  <a:cubicBezTo>
                    <a:pt x="145" y="54"/>
                    <a:pt x="145" y="54"/>
                    <a:pt x="145" y="54"/>
                  </a:cubicBezTo>
                  <a:cubicBezTo>
                    <a:pt x="145" y="59"/>
                    <a:pt x="145" y="65"/>
                    <a:pt x="145" y="71"/>
                  </a:cubicBezTo>
                  <a:cubicBezTo>
                    <a:pt x="144" y="80"/>
                    <a:pt x="144" y="90"/>
                    <a:pt x="143" y="100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3" y="105"/>
                    <a:pt x="143" y="110"/>
                    <a:pt x="143" y="115"/>
                  </a:cubicBezTo>
                  <a:cubicBezTo>
                    <a:pt x="143" y="117"/>
                    <a:pt x="143" y="117"/>
                    <a:pt x="143" y="117"/>
                  </a:cubicBezTo>
                  <a:cubicBezTo>
                    <a:pt x="143" y="119"/>
                    <a:pt x="143" y="121"/>
                    <a:pt x="143" y="122"/>
                  </a:cubicBezTo>
                  <a:cubicBezTo>
                    <a:pt x="143" y="126"/>
                    <a:pt x="138" y="128"/>
                    <a:pt x="134" y="129"/>
                  </a:cubicBezTo>
                  <a:cubicBezTo>
                    <a:pt x="132" y="129"/>
                    <a:pt x="131" y="130"/>
                    <a:pt x="129" y="130"/>
                  </a:cubicBezTo>
                  <a:cubicBezTo>
                    <a:pt x="128" y="131"/>
                    <a:pt x="126" y="131"/>
                    <a:pt x="125" y="132"/>
                  </a:cubicBezTo>
                  <a:cubicBezTo>
                    <a:pt x="119" y="133"/>
                    <a:pt x="113" y="139"/>
                    <a:pt x="110" y="144"/>
                  </a:cubicBezTo>
                  <a:cubicBezTo>
                    <a:pt x="109" y="147"/>
                    <a:pt x="109" y="152"/>
                    <a:pt x="110" y="155"/>
                  </a:cubicBezTo>
                  <a:cubicBezTo>
                    <a:pt x="112" y="195"/>
                    <a:pt x="112" y="195"/>
                    <a:pt x="112" y="195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0" y="204"/>
                    <a:pt x="0" y="205"/>
                    <a:pt x="1" y="206"/>
                  </a:cubicBezTo>
                  <a:cubicBezTo>
                    <a:pt x="1" y="207"/>
                    <a:pt x="1" y="208"/>
                    <a:pt x="2" y="209"/>
                  </a:cubicBezTo>
                  <a:cubicBezTo>
                    <a:pt x="2" y="210"/>
                    <a:pt x="3" y="211"/>
                    <a:pt x="3" y="211"/>
                  </a:cubicBezTo>
                  <a:cubicBezTo>
                    <a:pt x="4" y="213"/>
                    <a:pt x="5" y="214"/>
                    <a:pt x="6" y="216"/>
                  </a:cubicBezTo>
                  <a:cubicBezTo>
                    <a:pt x="6" y="218"/>
                    <a:pt x="7" y="220"/>
                    <a:pt x="9" y="220"/>
                  </a:cubicBezTo>
                  <a:cubicBezTo>
                    <a:pt x="11" y="220"/>
                    <a:pt x="11" y="219"/>
                    <a:pt x="12" y="219"/>
                  </a:cubicBezTo>
                  <a:cubicBezTo>
                    <a:pt x="12" y="219"/>
                    <a:pt x="12" y="220"/>
                    <a:pt x="12" y="221"/>
                  </a:cubicBezTo>
                  <a:cubicBezTo>
                    <a:pt x="13" y="222"/>
                    <a:pt x="13" y="222"/>
                    <a:pt x="13" y="223"/>
                  </a:cubicBezTo>
                  <a:cubicBezTo>
                    <a:pt x="13" y="225"/>
                    <a:pt x="13" y="227"/>
                    <a:pt x="15" y="229"/>
                  </a:cubicBezTo>
                  <a:cubicBezTo>
                    <a:pt x="16" y="230"/>
                    <a:pt x="17" y="231"/>
                    <a:pt x="16" y="233"/>
                  </a:cubicBezTo>
                  <a:cubicBezTo>
                    <a:pt x="16" y="234"/>
                    <a:pt x="16" y="236"/>
                    <a:pt x="16" y="237"/>
                  </a:cubicBezTo>
                  <a:cubicBezTo>
                    <a:pt x="16" y="239"/>
                    <a:pt x="16" y="241"/>
                    <a:pt x="15" y="242"/>
                  </a:cubicBezTo>
                  <a:cubicBezTo>
                    <a:pt x="15" y="243"/>
                    <a:pt x="14" y="244"/>
                    <a:pt x="13" y="245"/>
                  </a:cubicBezTo>
                  <a:cubicBezTo>
                    <a:pt x="12" y="246"/>
                    <a:pt x="11" y="247"/>
                    <a:pt x="11" y="249"/>
                  </a:cubicBezTo>
                  <a:cubicBezTo>
                    <a:pt x="11" y="250"/>
                    <a:pt x="11" y="251"/>
                    <a:pt x="11" y="252"/>
                  </a:cubicBezTo>
                  <a:cubicBezTo>
                    <a:pt x="11" y="254"/>
                    <a:pt x="11" y="254"/>
                    <a:pt x="10" y="255"/>
                  </a:cubicBezTo>
                  <a:cubicBezTo>
                    <a:pt x="10" y="255"/>
                    <a:pt x="10" y="255"/>
                    <a:pt x="10" y="256"/>
                  </a:cubicBezTo>
                  <a:cubicBezTo>
                    <a:pt x="9" y="256"/>
                    <a:pt x="6" y="258"/>
                    <a:pt x="8" y="261"/>
                  </a:cubicBezTo>
                  <a:cubicBezTo>
                    <a:pt x="9" y="262"/>
                    <a:pt x="10" y="263"/>
                    <a:pt x="11" y="264"/>
                  </a:cubicBezTo>
                  <a:cubicBezTo>
                    <a:pt x="11" y="264"/>
                    <a:pt x="11" y="264"/>
                    <a:pt x="12" y="265"/>
                  </a:cubicBezTo>
                  <a:cubicBezTo>
                    <a:pt x="13" y="266"/>
                    <a:pt x="13" y="267"/>
                    <a:pt x="14" y="269"/>
                  </a:cubicBezTo>
                  <a:cubicBezTo>
                    <a:pt x="16" y="272"/>
                    <a:pt x="16" y="276"/>
                    <a:pt x="17" y="280"/>
                  </a:cubicBezTo>
                  <a:cubicBezTo>
                    <a:pt x="17" y="282"/>
                    <a:pt x="17" y="284"/>
                    <a:pt x="17" y="286"/>
                  </a:cubicBezTo>
                  <a:cubicBezTo>
                    <a:pt x="17" y="289"/>
                    <a:pt x="18" y="291"/>
                    <a:pt x="18" y="294"/>
                  </a:cubicBezTo>
                  <a:cubicBezTo>
                    <a:pt x="18" y="296"/>
                    <a:pt x="18" y="297"/>
                    <a:pt x="18" y="299"/>
                  </a:cubicBezTo>
                  <a:cubicBezTo>
                    <a:pt x="18" y="301"/>
                    <a:pt x="18" y="302"/>
                    <a:pt x="18" y="304"/>
                  </a:cubicBezTo>
                  <a:cubicBezTo>
                    <a:pt x="19" y="310"/>
                    <a:pt x="18" y="317"/>
                    <a:pt x="16" y="322"/>
                  </a:cubicBezTo>
                  <a:cubicBezTo>
                    <a:pt x="15" y="327"/>
                    <a:pt x="12" y="334"/>
                    <a:pt x="9" y="340"/>
                  </a:cubicBezTo>
                  <a:cubicBezTo>
                    <a:pt x="6" y="345"/>
                    <a:pt x="4" y="351"/>
                    <a:pt x="4" y="360"/>
                  </a:cubicBezTo>
                  <a:cubicBezTo>
                    <a:pt x="4" y="362"/>
                    <a:pt x="4" y="364"/>
                    <a:pt x="3" y="365"/>
                  </a:cubicBezTo>
                  <a:cubicBezTo>
                    <a:pt x="3" y="371"/>
                    <a:pt x="3" y="371"/>
                    <a:pt x="3" y="371"/>
                  </a:cubicBezTo>
                  <a:cubicBezTo>
                    <a:pt x="7" y="368"/>
                    <a:pt x="7" y="368"/>
                    <a:pt x="7" y="368"/>
                  </a:cubicBezTo>
                  <a:cubicBezTo>
                    <a:pt x="8" y="367"/>
                    <a:pt x="9" y="365"/>
                    <a:pt x="11" y="362"/>
                  </a:cubicBezTo>
                  <a:cubicBezTo>
                    <a:pt x="11" y="361"/>
                    <a:pt x="11" y="360"/>
                    <a:pt x="11" y="360"/>
                  </a:cubicBezTo>
                  <a:cubicBezTo>
                    <a:pt x="13" y="355"/>
                    <a:pt x="16" y="354"/>
                    <a:pt x="19" y="354"/>
                  </a:cubicBezTo>
                  <a:cubicBezTo>
                    <a:pt x="21" y="354"/>
                    <a:pt x="22" y="354"/>
                    <a:pt x="24" y="354"/>
                  </a:cubicBezTo>
                  <a:cubicBezTo>
                    <a:pt x="25" y="354"/>
                    <a:pt x="25" y="354"/>
                    <a:pt x="25" y="354"/>
                  </a:cubicBezTo>
                  <a:cubicBezTo>
                    <a:pt x="26" y="355"/>
                    <a:pt x="27" y="355"/>
                    <a:pt x="28" y="355"/>
                  </a:cubicBezTo>
                  <a:cubicBezTo>
                    <a:pt x="34" y="355"/>
                    <a:pt x="39" y="353"/>
                    <a:pt x="44" y="352"/>
                  </a:cubicBezTo>
                  <a:cubicBezTo>
                    <a:pt x="49" y="350"/>
                    <a:pt x="54" y="349"/>
                    <a:pt x="59" y="349"/>
                  </a:cubicBezTo>
                  <a:cubicBezTo>
                    <a:pt x="60" y="349"/>
                    <a:pt x="61" y="349"/>
                    <a:pt x="62" y="349"/>
                  </a:cubicBezTo>
                  <a:cubicBezTo>
                    <a:pt x="68" y="350"/>
                    <a:pt x="73" y="353"/>
                    <a:pt x="76" y="358"/>
                  </a:cubicBezTo>
                  <a:cubicBezTo>
                    <a:pt x="77" y="358"/>
                    <a:pt x="77" y="358"/>
                    <a:pt x="77" y="358"/>
                  </a:cubicBezTo>
                  <a:cubicBezTo>
                    <a:pt x="80" y="363"/>
                    <a:pt x="82" y="366"/>
                    <a:pt x="88" y="367"/>
                  </a:cubicBezTo>
                  <a:cubicBezTo>
                    <a:pt x="96" y="368"/>
                    <a:pt x="97" y="371"/>
                    <a:pt x="98" y="378"/>
                  </a:cubicBezTo>
                  <a:cubicBezTo>
                    <a:pt x="100" y="382"/>
                    <a:pt x="102" y="384"/>
                    <a:pt x="104" y="387"/>
                  </a:cubicBezTo>
                  <a:cubicBezTo>
                    <a:pt x="105" y="388"/>
                    <a:pt x="107" y="389"/>
                    <a:pt x="108" y="391"/>
                  </a:cubicBezTo>
                  <a:cubicBezTo>
                    <a:pt x="109" y="392"/>
                    <a:pt x="109" y="393"/>
                    <a:pt x="110" y="394"/>
                  </a:cubicBezTo>
                  <a:cubicBezTo>
                    <a:pt x="110" y="395"/>
                    <a:pt x="111" y="396"/>
                    <a:pt x="112" y="397"/>
                  </a:cubicBezTo>
                  <a:cubicBezTo>
                    <a:pt x="113" y="399"/>
                    <a:pt x="115" y="400"/>
                    <a:pt x="116" y="401"/>
                  </a:cubicBezTo>
                  <a:cubicBezTo>
                    <a:pt x="117" y="401"/>
                    <a:pt x="117" y="401"/>
                    <a:pt x="118" y="402"/>
                  </a:cubicBezTo>
                  <a:cubicBezTo>
                    <a:pt x="120" y="403"/>
                    <a:pt x="122" y="405"/>
                    <a:pt x="123" y="407"/>
                  </a:cubicBezTo>
                  <a:cubicBezTo>
                    <a:pt x="125" y="410"/>
                    <a:pt x="126" y="412"/>
                    <a:pt x="129" y="413"/>
                  </a:cubicBezTo>
                  <a:cubicBezTo>
                    <a:pt x="129" y="414"/>
                    <a:pt x="130" y="414"/>
                    <a:pt x="131" y="414"/>
                  </a:cubicBezTo>
                  <a:cubicBezTo>
                    <a:pt x="132" y="413"/>
                    <a:pt x="132" y="413"/>
                    <a:pt x="132" y="413"/>
                  </a:cubicBezTo>
                  <a:cubicBezTo>
                    <a:pt x="131" y="414"/>
                    <a:pt x="131" y="414"/>
                    <a:pt x="131" y="414"/>
                  </a:cubicBezTo>
                  <a:cubicBezTo>
                    <a:pt x="132" y="415"/>
                    <a:pt x="132" y="415"/>
                    <a:pt x="132" y="415"/>
                  </a:cubicBezTo>
                  <a:cubicBezTo>
                    <a:pt x="134" y="413"/>
                    <a:pt x="134" y="413"/>
                    <a:pt x="134" y="413"/>
                  </a:cubicBezTo>
                  <a:cubicBezTo>
                    <a:pt x="136" y="412"/>
                    <a:pt x="138" y="411"/>
                    <a:pt x="139" y="409"/>
                  </a:cubicBezTo>
                  <a:cubicBezTo>
                    <a:pt x="141" y="406"/>
                    <a:pt x="141" y="403"/>
                    <a:pt x="140" y="401"/>
                  </a:cubicBezTo>
                  <a:cubicBezTo>
                    <a:pt x="140" y="399"/>
                    <a:pt x="140" y="397"/>
                    <a:pt x="141" y="396"/>
                  </a:cubicBezTo>
                  <a:cubicBezTo>
                    <a:pt x="141" y="392"/>
                    <a:pt x="145" y="385"/>
                    <a:pt x="149" y="384"/>
                  </a:cubicBezTo>
                  <a:cubicBezTo>
                    <a:pt x="150" y="384"/>
                    <a:pt x="150" y="384"/>
                    <a:pt x="150" y="384"/>
                  </a:cubicBezTo>
                  <a:cubicBezTo>
                    <a:pt x="153" y="384"/>
                    <a:pt x="156" y="388"/>
                    <a:pt x="158" y="390"/>
                  </a:cubicBezTo>
                  <a:cubicBezTo>
                    <a:pt x="159" y="391"/>
                    <a:pt x="159" y="391"/>
                    <a:pt x="159" y="391"/>
                  </a:cubicBezTo>
                  <a:cubicBezTo>
                    <a:pt x="160" y="392"/>
                    <a:pt x="161" y="394"/>
                    <a:pt x="163" y="395"/>
                  </a:cubicBezTo>
                  <a:cubicBezTo>
                    <a:pt x="164" y="396"/>
                    <a:pt x="164" y="396"/>
                    <a:pt x="164" y="396"/>
                  </a:cubicBezTo>
                  <a:cubicBezTo>
                    <a:pt x="165" y="397"/>
                    <a:pt x="165" y="397"/>
                    <a:pt x="165" y="397"/>
                  </a:cubicBezTo>
                  <a:cubicBezTo>
                    <a:pt x="165" y="398"/>
                    <a:pt x="165" y="398"/>
                    <a:pt x="166" y="398"/>
                  </a:cubicBezTo>
                  <a:cubicBezTo>
                    <a:pt x="168" y="401"/>
                    <a:pt x="168" y="401"/>
                    <a:pt x="168" y="401"/>
                  </a:cubicBezTo>
                  <a:cubicBezTo>
                    <a:pt x="169" y="398"/>
                    <a:pt x="169" y="398"/>
                    <a:pt x="169" y="398"/>
                  </a:cubicBezTo>
                  <a:cubicBezTo>
                    <a:pt x="169" y="397"/>
                    <a:pt x="170" y="396"/>
                    <a:pt x="170" y="396"/>
                  </a:cubicBezTo>
                  <a:cubicBezTo>
                    <a:pt x="170" y="395"/>
                    <a:pt x="170" y="395"/>
                    <a:pt x="170" y="395"/>
                  </a:cubicBezTo>
                  <a:cubicBezTo>
                    <a:pt x="171" y="393"/>
                    <a:pt x="172" y="391"/>
                    <a:pt x="174" y="390"/>
                  </a:cubicBezTo>
                  <a:cubicBezTo>
                    <a:pt x="175" y="389"/>
                    <a:pt x="176" y="389"/>
                    <a:pt x="178" y="389"/>
                  </a:cubicBezTo>
                  <a:cubicBezTo>
                    <a:pt x="179" y="389"/>
                    <a:pt x="180" y="389"/>
                    <a:pt x="181" y="389"/>
                  </a:cubicBezTo>
                  <a:cubicBezTo>
                    <a:pt x="181" y="389"/>
                    <a:pt x="181" y="389"/>
                    <a:pt x="181" y="389"/>
                  </a:cubicBezTo>
                  <a:cubicBezTo>
                    <a:pt x="185" y="390"/>
                    <a:pt x="189" y="391"/>
                    <a:pt x="194" y="391"/>
                  </a:cubicBezTo>
                  <a:cubicBezTo>
                    <a:pt x="194" y="391"/>
                    <a:pt x="194" y="391"/>
                    <a:pt x="194" y="391"/>
                  </a:cubicBezTo>
                  <a:cubicBezTo>
                    <a:pt x="197" y="391"/>
                    <a:pt x="199" y="391"/>
                    <a:pt x="202" y="390"/>
                  </a:cubicBezTo>
                  <a:cubicBezTo>
                    <a:pt x="202" y="390"/>
                    <a:pt x="202" y="390"/>
                    <a:pt x="202" y="390"/>
                  </a:cubicBezTo>
                  <a:cubicBezTo>
                    <a:pt x="203" y="390"/>
                    <a:pt x="203" y="390"/>
                    <a:pt x="204" y="390"/>
                  </a:cubicBezTo>
                  <a:cubicBezTo>
                    <a:pt x="205" y="390"/>
                    <a:pt x="206" y="390"/>
                    <a:pt x="208" y="389"/>
                  </a:cubicBezTo>
                  <a:cubicBezTo>
                    <a:pt x="209" y="388"/>
                    <a:pt x="209" y="387"/>
                    <a:pt x="209" y="386"/>
                  </a:cubicBezTo>
                  <a:cubicBezTo>
                    <a:pt x="210" y="386"/>
                    <a:pt x="210" y="385"/>
                    <a:pt x="210" y="384"/>
                  </a:cubicBezTo>
                  <a:cubicBezTo>
                    <a:pt x="211" y="384"/>
                    <a:pt x="211" y="383"/>
                    <a:pt x="211" y="383"/>
                  </a:cubicBezTo>
                  <a:cubicBezTo>
                    <a:pt x="212" y="383"/>
                    <a:pt x="213" y="385"/>
                    <a:pt x="214" y="386"/>
                  </a:cubicBezTo>
                  <a:cubicBezTo>
                    <a:pt x="214" y="386"/>
                    <a:pt x="214" y="387"/>
                    <a:pt x="214" y="387"/>
                  </a:cubicBezTo>
                  <a:cubicBezTo>
                    <a:pt x="215" y="388"/>
                    <a:pt x="215" y="388"/>
                    <a:pt x="215" y="388"/>
                  </a:cubicBezTo>
                  <a:cubicBezTo>
                    <a:pt x="322" y="388"/>
                    <a:pt x="322" y="388"/>
                    <a:pt x="322" y="388"/>
                  </a:cubicBezTo>
                  <a:cubicBezTo>
                    <a:pt x="327" y="367"/>
                    <a:pt x="327" y="367"/>
                    <a:pt x="327" y="367"/>
                  </a:cubicBezTo>
                  <a:cubicBezTo>
                    <a:pt x="327" y="366"/>
                    <a:pt x="330" y="360"/>
                    <a:pt x="320" y="355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2" name="Freeform 32"/>
            <p:cNvSpPr>
              <a:spLocks/>
            </p:cNvSpPr>
            <p:nvPr/>
          </p:nvSpPr>
          <p:spPr bwMode="auto">
            <a:xfrm>
              <a:off x="1494456" y="240969"/>
              <a:ext cx="1170707" cy="1116730"/>
            </a:xfrm>
            <a:custGeom>
              <a:avLst/>
              <a:gdLst>
                <a:gd name="T0" fmla="*/ 537 w 578"/>
                <a:gd name="T1" fmla="*/ 418 h 599"/>
                <a:gd name="T2" fmla="*/ 530 w 578"/>
                <a:gd name="T3" fmla="*/ 410 h 599"/>
                <a:gd name="T4" fmla="*/ 525 w 578"/>
                <a:gd name="T5" fmla="*/ 405 h 599"/>
                <a:gd name="T6" fmla="*/ 508 w 578"/>
                <a:gd name="T7" fmla="*/ 366 h 599"/>
                <a:gd name="T8" fmla="*/ 520 w 578"/>
                <a:gd name="T9" fmla="*/ 350 h 599"/>
                <a:gd name="T10" fmla="*/ 522 w 578"/>
                <a:gd name="T11" fmla="*/ 303 h 599"/>
                <a:gd name="T12" fmla="*/ 517 w 578"/>
                <a:gd name="T13" fmla="*/ 260 h 599"/>
                <a:gd name="T14" fmla="*/ 504 w 578"/>
                <a:gd name="T15" fmla="*/ 234 h 599"/>
                <a:gd name="T16" fmla="*/ 479 w 578"/>
                <a:gd name="T17" fmla="*/ 155 h 599"/>
                <a:gd name="T18" fmla="*/ 459 w 578"/>
                <a:gd name="T19" fmla="*/ 126 h 599"/>
                <a:gd name="T20" fmla="*/ 454 w 578"/>
                <a:gd name="T21" fmla="*/ 113 h 599"/>
                <a:gd name="T22" fmla="*/ 465 w 578"/>
                <a:gd name="T23" fmla="*/ 91 h 599"/>
                <a:gd name="T24" fmla="*/ 477 w 578"/>
                <a:gd name="T25" fmla="*/ 69 h 599"/>
                <a:gd name="T26" fmla="*/ 475 w 578"/>
                <a:gd name="T27" fmla="*/ 47 h 599"/>
                <a:gd name="T28" fmla="*/ 475 w 578"/>
                <a:gd name="T29" fmla="*/ 20 h 599"/>
                <a:gd name="T30" fmla="*/ 483 w 578"/>
                <a:gd name="T31" fmla="*/ 11 h 599"/>
                <a:gd name="T32" fmla="*/ 476 w 578"/>
                <a:gd name="T33" fmla="*/ 6 h 599"/>
                <a:gd name="T34" fmla="*/ 464 w 578"/>
                <a:gd name="T35" fmla="*/ 8 h 599"/>
                <a:gd name="T36" fmla="*/ 456 w 578"/>
                <a:gd name="T37" fmla="*/ 3 h 599"/>
                <a:gd name="T38" fmla="*/ 439 w 578"/>
                <a:gd name="T39" fmla="*/ 7 h 599"/>
                <a:gd name="T40" fmla="*/ 434 w 578"/>
                <a:gd name="T41" fmla="*/ 7 h 599"/>
                <a:gd name="T42" fmla="*/ 418 w 578"/>
                <a:gd name="T43" fmla="*/ 5 h 599"/>
                <a:gd name="T44" fmla="*/ 397 w 578"/>
                <a:gd name="T45" fmla="*/ 13 h 599"/>
                <a:gd name="T46" fmla="*/ 389 w 578"/>
                <a:gd name="T47" fmla="*/ 11 h 599"/>
                <a:gd name="T48" fmla="*/ 363 w 578"/>
                <a:gd name="T49" fmla="*/ 7 h 599"/>
                <a:gd name="T50" fmla="*/ 355 w 578"/>
                <a:gd name="T51" fmla="*/ 6 h 599"/>
                <a:gd name="T52" fmla="*/ 335 w 578"/>
                <a:gd name="T53" fmla="*/ 8 h 599"/>
                <a:gd name="T54" fmla="*/ 317 w 578"/>
                <a:gd name="T55" fmla="*/ 15 h 599"/>
                <a:gd name="T56" fmla="*/ 279 w 578"/>
                <a:gd name="T57" fmla="*/ 20 h 599"/>
                <a:gd name="T58" fmla="*/ 250 w 578"/>
                <a:gd name="T59" fmla="*/ 37 h 599"/>
                <a:gd name="T60" fmla="*/ 233 w 578"/>
                <a:gd name="T61" fmla="*/ 42 h 599"/>
                <a:gd name="T62" fmla="*/ 206 w 578"/>
                <a:gd name="T63" fmla="*/ 59 h 599"/>
                <a:gd name="T64" fmla="*/ 200 w 578"/>
                <a:gd name="T65" fmla="*/ 78 h 599"/>
                <a:gd name="T66" fmla="*/ 200 w 578"/>
                <a:gd name="T67" fmla="*/ 85 h 599"/>
                <a:gd name="T68" fmla="*/ 201 w 578"/>
                <a:gd name="T69" fmla="*/ 109 h 599"/>
                <a:gd name="T70" fmla="*/ 203 w 578"/>
                <a:gd name="T71" fmla="*/ 131 h 599"/>
                <a:gd name="T72" fmla="*/ 214 w 578"/>
                <a:gd name="T73" fmla="*/ 156 h 599"/>
                <a:gd name="T74" fmla="*/ 199 w 578"/>
                <a:gd name="T75" fmla="*/ 165 h 599"/>
                <a:gd name="T76" fmla="*/ 175 w 578"/>
                <a:gd name="T77" fmla="*/ 166 h 599"/>
                <a:gd name="T78" fmla="*/ 155 w 578"/>
                <a:gd name="T79" fmla="*/ 178 h 599"/>
                <a:gd name="T80" fmla="*/ 138 w 578"/>
                <a:gd name="T81" fmla="*/ 181 h 599"/>
                <a:gd name="T82" fmla="*/ 144 w 578"/>
                <a:gd name="T83" fmla="*/ 200 h 599"/>
                <a:gd name="T84" fmla="*/ 126 w 578"/>
                <a:gd name="T85" fmla="*/ 211 h 599"/>
                <a:gd name="T86" fmla="*/ 108 w 578"/>
                <a:gd name="T87" fmla="*/ 218 h 599"/>
                <a:gd name="T88" fmla="*/ 74 w 578"/>
                <a:gd name="T89" fmla="*/ 240 h 599"/>
                <a:gd name="T90" fmla="*/ 58 w 578"/>
                <a:gd name="T91" fmla="*/ 247 h 599"/>
                <a:gd name="T92" fmla="*/ 39 w 578"/>
                <a:gd name="T93" fmla="*/ 252 h 599"/>
                <a:gd name="T94" fmla="*/ 15 w 578"/>
                <a:gd name="T95" fmla="*/ 267 h 599"/>
                <a:gd name="T96" fmla="*/ 5 w 578"/>
                <a:gd name="T97" fmla="*/ 329 h 599"/>
                <a:gd name="T98" fmla="*/ 88 w 578"/>
                <a:gd name="T99" fmla="*/ 390 h 599"/>
                <a:gd name="T100" fmla="*/ 201 w 578"/>
                <a:gd name="T101" fmla="*/ 474 h 599"/>
                <a:gd name="T102" fmla="*/ 261 w 578"/>
                <a:gd name="T103" fmla="*/ 519 h 599"/>
                <a:gd name="T104" fmla="*/ 273 w 578"/>
                <a:gd name="T105" fmla="*/ 541 h 599"/>
                <a:gd name="T106" fmla="*/ 286 w 578"/>
                <a:gd name="T107" fmla="*/ 547 h 599"/>
                <a:gd name="T108" fmla="*/ 296 w 578"/>
                <a:gd name="T109" fmla="*/ 558 h 599"/>
                <a:gd name="T110" fmla="*/ 305 w 578"/>
                <a:gd name="T111" fmla="*/ 559 h 599"/>
                <a:gd name="T112" fmla="*/ 330 w 578"/>
                <a:gd name="T113" fmla="*/ 574 h 599"/>
                <a:gd name="T114" fmla="*/ 328 w 578"/>
                <a:gd name="T115" fmla="*/ 591 h 599"/>
                <a:gd name="T116" fmla="*/ 406 w 578"/>
                <a:gd name="T117" fmla="*/ 583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8" h="599">
                  <a:moveTo>
                    <a:pt x="569" y="424"/>
                  </a:moveTo>
                  <a:cubicBezTo>
                    <a:pt x="547" y="417"/>
                    <a:pt x="547" y="417"/>
                    <a:pt x="547" y="417"/>
                  </a:cubicBezTo>
                  <a:cubicBezTo>
                    <a:pt x="546" y="417"/>
                    <a:pt x="545" y="416"/>
                    <a:pt x="544" y="416"/>
                  </a:cubicBezTo>
                  <a:cubicBezTo>
                    <a:pt x="542" y="416"/>
                    <a:pt x="541" y="417"/>
                    <a:pt x="540" y="417"/>
                  </a:cubicBezTo>
                  <a:cubicBezTo>
                    <a:pt x="539" y="417"/>
                    <a:pt x="538" y="418"/>
                    <a:pt x="538" y="418"/>
                  </a:cubicBezTo>
                  <a:cubicBezTo>
                    <a:pt x="537" y="418"/>
                    <a:pt x="537" y="418"/>
                    <a:pt x="537" y="418"/>
                  </a:cubicBezTo>
                  <a:cubicBezTo>
                    <a:pt x="535" y="418"/>
                    <a:pt x="535" y="417"/>
                    <a:pt x="534" y="416"/>
                  </a:cubicBezTo>
                  <a:cubicBezTo>
                    <a:pt x="533" y="416"/>
                    <a:pt x="533" y="416"/>
                    <a:pt x="533" y="416"/>
                  </a:cubicBezTo>
                  <a:cubicBezTo>
                    <a:pt x="533" y="416"/>
                    <a:pt x="533" y="415"/>
                    <a:pt x="532" y="415"/>
                  </a:cubicBezTo>
                  <a:cubicBezTo>
                    <a:pt x="532" y="415"/>
                    <a:pt x="531" y="415"/>
                    <a:pt x="531" y="414"/>
                  </a:cubicBezTo>
                  <a:cubicBezTo>
                    <a:pt x="530" y="413"/>
                    <a:pt x="530" y="413"/>
                    <a:pt x="530" y="412"/>
                  </a:cubicBezTo>
                  <a:cubicBezTo>
                    <a:pt x="530" y="412"/>
                    <a:pt x="530" y="411"/>
                    <a:pt x="530" y="410"/>
                  </a:cubicBezTo>
                  <a:cubicBezTo>
                    <a:pt x="530" y="409"/>
                    <a:pt x="529" y="409"/>
                    <a:pt x="528" y="408"/>
                  </a:cubicBezTo>
                  <a:cubicBezTo>
                    <a:pt x="528" y="408"/>
                    <a:pt x="528" y="408"/>
                    <a:pt x="527" y="408"/>
                  </a:cubicBezTo>
                  <a:cubicBezTo>
                    <a:pt x="527" y="407"/>
                    <a:pt x="527" y="407"/>
                    <a:pt x="526" y="406"/>
                  </a:cubicBezTo>
                  <a:cubicBezTo>
                    <a:pt x="526" y="406"/>
                    <a:pt x="526" y="406"/>
                    <a:pt x="526" y="405"/>
                  </a:cubicBezTo>
                  <a:cubicBezTo>
                    <a:pt x="526" y="405"/>
                    <a:pt x="526" y="405"/>
                    <a:pt x="526" y="405"/>
                  </a:cubicBezTo>
                  <a:cubicBezTo>
                    <a:pt x="525" y="405"/>
                    <a:pt x="525" y="405"/>
                    <a:pt x="525" y="405"/>
                  </a:cubicBezTo>
                  <a:cubicBezTo>
                    <a:pt x="525" y="403"/>
                    <a:pt x="525" y="400"/>
                    <a:pt x="524" y="398"/>
                  </a:cubicBezTo>
                  <a:cubicBezTo>
                    <a:pt x="524" y="394"/>
                    <a:pt x="524" y="391"/>
                    <a:pt x="523" y="388"/>
                  </a:cubicBezTo>
                  <a:cubicBezTo>
                    <a:pt x="522" y="385"/>
                    <a:pt x="520" y="382"/>
                    <a:pt x="518" y="379"/>
                  </a:cubicBezTo>
                  <a:cubicBezTo>
                    <a:pt x="517" y="378"/>
                    <a:pt x="516" y="377"/>
                    <a:pt x="515" y="376"/>
                  </a:cubicBezTo>
                  <a:cubicBezTo>
                    <a:pt x="514" y="374"/>
                    <a:pt x="513" y="373"/>
                    <a:pt x="512" y="372"/>
                  </a:cubicBezTo>
                  <a:cubicBezTo>
                    <a:pt x="511" y="370"/>
                    <a:pt x="509" y="368"/>
                    <a:pt x="508" y="366"/>
                  </a:cubicBezTo>
                  <a:cubicBezTo>
                    <a:pt x="507" y="364"/>
                    <a:pt x="506" y="362"/>
                    <a:pt x="507" y="361"/>
                  </a:cubicBezTo>
                  <a:cubicBezTo>
                    <a:pt x="507" y="358"/>
                    <a:pt x="510" y="357"/>
                    <a:pt x="512" y="356"/>
                  </a:cubicBezTo>
                  <a:cubicBezTo>
                    <a:pt x="513" y="355"/>
                    <a:pt x="514" y="355"/>
                    <a:pt x="515" y="354"/>
                  </a:cubicBezTo>
                  <a:cubicBezTo>
                    <a:pt x="516" y="353"/>
                    <a:pt x="517" y="352"/>
                    <a:pt x="519" y="352"/>
                  </a:cubicBezTo>
                  <a:cubicBezTo>
                    <a:pt x="520" y="351"/>
                    <a:pt x="520" y="351"/>
                    <a:pt x="520" y="351"/>
                  </a:cubicBezTo>
                  <a:cubicBezTo>
                    <a:pt x="520" y="350"/>
                    <a:pt x="520" y="350"/>
                    <a:pt x="520" y="350"/>
                  </a:cubicBezTo>
                  <a:cubicBezTo>
                    <a:pt x="520" y="345"/>
                    <a:pt x="520" y="341"/>
                    <a:pt x="519" y="337"/>
                  </a:cubicBezTo>
                  <a:cubicBezTo>
                    <a:pt x="519" y="335"/>
                    <a:pt x="518" y="333"/>
                    <a:pt x="517" y="331"/>
                  </a:cubicBezTo>
                  <a:cubicBezTo>
                    <a:pt x="514" y="327"/>
                    <a:pt x="516" y="322"/>
                    <a:pt x="517" y="318"/>
                  </a:cubicBezTo>
                  <a:cubicBezTo>
                    <a:pt x="518" y="316"/>
                    <a:pt x="519" y="314"/>
                    <a:pt x="519" y="313"/>
                  </a:cubicBezTo>
                  <a:cubicBezTo>
                    <a:pt x="520" y="310"/>
                    <a:pt x="520" y="310"/>
                    <a:pt x="520" y="310"/>
                  </a:cubicBezTo>
                  <a:cubicBezTo>
                    <a:pt x="521" y="307"/>
                    <a:pt x="522" y="305"/>
                    <a:pt x="522" y="303"/>
                  </a:cubicBezTo>
                  <a:cubicBezTo>
                    <a:pt x="521" y="302"/>
                    <a:pt x="520" y="301"/>
                    <a:pt x="519" y="300"/>
                  </a:cubicBezTo>
                  <a:cubicBezTo>
                    <a:pt x="518" y="299"/>
                    <a:pt x="518" y="299"/>
                    <a:pt x="517" y="298"/>
                  </a:cubicBezTo>
                  <a:cubicBezTo>
                    <a:pt x="515" y="294"/>
                    <a:pt x="517" y="287"/>
                    <a:pt x="518" y="284"/>
                  </a:cubicBezTo>
                  <a:cubicBezTo>
                    <a:pt x="519" y="279"/>
                    <a:pt x="519" y="275"/>
                    <a:pt x="519" y="269"/>
                  </a:cubicBezTo>
                  <a:cubicBezTo>
                    <a:pt x="519" y="266"/>
                    <a:pt x="518" y="264"/>
                    <a:pt x="517" y="262"/>
                  </a:cubicBezTo>
                  <a:cubicBezTo>
                    <a:pt x="517" y="261"/>
                    <a:pt x="517" y="261"/>
                    <a:pt x="517" y="260"/>
                  </a:cubicBezTo>
                  <a:cubicBezTo>
                    <a:pt x="516" y="259"/>
                    <a:pt x="516" y="258"/>
                    <a:pt x="516" y="256"/>
                  </a:cubicBezTo>
                  <a:cubicBezTo>
                    <a:pt x="516" y="256"/>
                    <a:pt x="516" y="255"/>
                    <a:pt x="516" y="255"/>
                  </a:cubicBezTo>
                  <a:cubicBezTo>
                    <a:pt x="516" y="254"/>
                    <a:pt x="516" y="253"/>
                    <a:pt x="516" y="252"/>
                  </a:cubicBezTo>
                  <a:cubicBezTo>
                    <a:pt x="515" y="250"/>
                    <a:pt x="514" y="248"/>
                    <a:pt x="512" y="246"/>
                  </a:cubicBezTo>
                  <a:cubicBezTo>
                    <a:pt x="511" y="245"/>
                    <a:pt x="511" y="244"/>
                    <a:pt x="510" y="243"/>
                  </a:cubicBezTo>
                  <a:cubicBezTo>
                    <a:pt x="508" y="240"/>
                    <a:pt x="506" y="237"/>
                    <a:pt x="504" y="234"/>
                  </a:cubicBezTo>
                  <a:cubicBezTo>
                    <a:pt x="505" y="233"/>
                    <a:pt x="506" y="231"/>
                    <a:pt x="508" y="230"/>
                  </a:cubicBezTo>
                  <a:cubicBezTo>
                    <a:pt x="510" y="229"/>
                    <a:pt x="510" y="229"/>
                    <a:pt x="510" y="229"/>
                  </a:cubicBezTo>
                  <a:cubicBezTo>
                    <a:pt x="496" y="167"/>
                    <a:pt x="496" y="167"/>
                    <a:pt x="496" y="167"/>
                  </a:cubicBezTo>
                  <a:cubicBezTo>
                    <a:pt x="496" y="166"/>
                    <a:pt x="496" y="166"/>
                    <a:pt x="496" y="166"/>
                  </a:cubicBezTo>
                  <a:cubicBezTo>
                    <a:pt x="493" y="163"/>
                    <a:pt x="489" y="161"/>
                    <a:pt x="485" y="158"/>
                  </a:cubicBezTo>
                  <a:cubicBezTo>
                    <a:pt x="483" y="157"/>
                    <a:pt x="481" y="156"/>
                    <a:pt x="479" y="155"/>
                  </a:cubicBezTo>
                  <a:cubicBezTo>
                    <a:pt x="476" y="153"/>
                    <a:pt x="476" y="150"/>
                    <a:pt x="475" y="147"/>
                  </a:cubicBezTo>
                  <a:cubicBezTo>
                    <a:pt x="475" y="144"/>
                    <a:pt x="475" y="142"/>
                    <a:pt x="473" y="139"/>
                  </a:cubicBezTo>
                  <a:cubicBezTo>
                    <a:pt x="472" y="137"/>
                    <a:pt x="470" y="135"/>
                    <a:pt x="467" y="133"/>
                  </a:cubicBezTo>
                  <a:cubicBezTo>
                    <a:pt x="467" y="132"/>
                    <a:pt x="465" y="132"/>
                    <a:pt x="464" y="131"/>
                  </a:cubicBezTo>
                  <a:cubicBezTo>
                    <a:pt x="462" y="131"/>
                    <a:pt x="461" y="131"/>
                    <a:pt x="460" y="130"/>
                  </a:cubicBezTo>
                  <a:cubicBezTo>
                    <a:pt x="459" y="129"/>
                    <a:pt x="459" y="127"/>
                    <a:pt x="459" y="126"/>
                  </a:cubicBezTo>
                  <a:cubicBezTo>
                    <a:pt x="459" y="124"/>
                    <a:pt x="459" y="123"/>
                    <a:pt x="459" y="122"/>
                  </a:cubicBezTo>
                  <a:cubicBezTo>
                    <a:pt x="459" y="121"/>
                    <a:pt x="458" y="120"/>
                    <a:pt x="458" y="120"/>
                  </a:cubicBezTo>
                  <a:cubicBezTo>
                    <a:pt x="457" y="120"/>
                    <a:pt x="457" y="119"/>
                    <a:pt x="457" y="119"/>
                  </a:cubicBezTo>
                  <a:cubicBezTo>
                    <a:pt x="456" y="118"/>
                    <a:pt x="456" y="118"/>
                    <a:pt x="456" y="117"/>
                  </a:cubicBezTo>
                  <a:cubicBezTo>
                    <a:pt x="456" y="116"/>
                    <a:pt x="456" y="116"/>
                    <a:pt x="455" y="115"/>
                  </a:cubicBezTo>
                  <a:cubicBezTo>
                    <a:pt x="455" y="114"/>
                    <a:pt x="455" y="113"/>
                    <a:pt x="454" y="113"/>
                  </a:cubicBezTo>
                  <a:cubicBezTo>
                    <a:pt x="453" y="111"/>
                    <a:pt x="453" y="110"/>
                    <a:pt x="452" y="108"/>
                  </a:cubicBezTo>
                  <a:cubicBezTo>
                    <a:pt x="452" y="104"/>
                    <a:pt x="452" y="103"/>
                    <a:pt x="455" y="100"/>
                  </a:cubicBezTo>
                  <a:cubicBezTo>
                    <a:pt x="456" y="100"/>
                    <a:pt x="457" y="99"/>
                    <a:pt x="458" y="99"/>
                  </a:cubicBezTo>
                  <a:cubicBezTo>
                    <a:pt x="459" y="98"/>
                    <a:pt x="460" y="97"/>
                    <a:pt x="461" y="96"/>
                  </a:cubicBezTo>
                  <a:cubicBezTo>
                    <a:pt x="462" y="95"/>
                    <a:pt x="462" y="94"/>
                    <a:pt x="463" y="93"/>
                  </a:cubicBezTo>
                  <a:cubicBezTo>
                    <a:pt x="463" y="92"/>
                    <a:pt x="464" y="91"/>
                    <a:pt x="465" y="91"/>
                  </a:cubicBezTo>
                  <a:cubicBezTo>
                    <a:pt x="465" y="90"/>
                    <a:pt x="466" y="90"/>
                    <a:pt x="467" y="89"/>
                  </a:cubicBezTo>
                  <a:cubicBezTo>
                    <a:pt x="468" y="89"/>
                    <a:pt x="469" y="88"/>
                    <a:pt x="470" y="88"/>
                  </a:cubicBezTo>
                  <a:cubicBezTo>
                    <a:pt x="472" y="86"/>
                    <a:pt x="474" y="82"/>
                    <a:pt x="474" y="80"/>
                  </a:cubicBezTo>
                  <a:cubicBezTo>
                    <a:pt x="475" y="79"/>
                    <a:pt x="475" y="77"/>
                    <a:pt x="475" y="76"/>
                  </a:cubicBezTo>
                  <a:cubicBezTo>
                    <a:pt x="475" y="75"/>
                    <a:pt x="475" y="74"/>
                    <a:pt x="475" y="73"/>
                  </a:cubicBezTo>
                  <a:cubicBezTo>
                    <a:pt x="475" y="71"/>
                    <a:pt x="476" y="70"/>
                    <a:pt x="477" y="69"/>
                  </a:cubicBezTo>
                  <a:cubicBezTo>
                    <a:pt x="477" y="68"/>
                    <a:pt x="478" y="68"/>
                    <a:pt x="478" y="67"/>
                  </a:cubicBezTo>
                  <a:cubicBezTo>
                    <a:pt x="479" y="66"/>
                    <a:pt x="479" y="64"/>
                    <a:pt x="479" y="63"/>
                  </a:cubicBezTo>
                  <a:cubicBezTo>
                    <a:pt x="479" y="62"/>
                    <a:pt x="478" y="62"/>
                    <a:pt x="477" y="61"/>
                  </a:cubicBezTo>
                  <a:cubicBezTo>
                    <a:pt x="477" y="61"/>
                    <a:pt x="477" y="61"/>
                    <a:pt x="477" y="60"/>
                  </a:cubicBezTo>
                  <a:cubicBezTo>
                    <a:pt x="475" y="59"/>
                    <a:pt x="476" y="56"/>
                    <a:pt x="476" y="54"/>
                  </a:cubicBezTo>
                  <a:cubicBezTo>
                    <a:pt x="476" y="51"/>
                    <a:pt x="476" y="49"/>
                    <a:pt x="475" y="47"/>
                  </a:cubicBezTo>
                  <a:cubicBezTo>
                    <a:pt x="475" y="45"/>
                    <a:pt x="474" y="42"/>
                    <a:pt x="475" y="40"/>
                  </a:cubicBezTo>
                  <a:cubicBezTo>
                    <a:pt x="475" y="38"/>
                    <a:pt x="475" y="36"/>
                    <a:pt x="476" y="34"/>
                  </a:cubicBezTo>
                  <a:cubicBezTo>
                    <a:pt x="476" y="32"/>
                    <a:pt x="477" y="29"/>
                    <a:pt x="476" y="26"/>
                  </a:cubicBezTo>
                  <a:cubicBezTo>
                    <a:pt x="476" y="25"/>
                    <a:pt x="476" y="24"/>
                    <a:pt x="475" y="23"/>
                  </a:cubicBezTo>
                  <a:cubicBezTo>
                    <a:pt x="475" y="22"/>
                    <a:pt x="475" y="22"/>
                    <a:pt x="475" y="22"/>
                  </a:cubicBezTo>
                  <a:cubicBezTo>
                    <a:pt x="475" y="21"/>
                    <a:pt x="474" y="21"/>
                    <a:pt x="475" y="20"/>
                  </a:cubicBezTo>
                  <a:cubicBezTo>
                    <a:pt x="475" y="20"/>
                    <a:pt x="475" y="19"/>
                    <a:pt x="476" y="19"/>
                  </a:cubicBezTo>
                  <a:cubicBezTo>
                    <a:pt x="476" y="19"/>
                    <a:pt x="477" y="19"/>
                    <a:pt x="477" y="18"/>
                  </a:cubicBezTo>
                  <a:cubicBezTo>
                    <a:pt x="477" y="18"/>
                    <a:pt x="477" y="17"/>
                    <a:pt x="478" y="17"/>
                  </a:cubicBezTo>
                  <a:cubicBezTo>
                    <a:pt x="478" y="17"/>
                    <a:pt x="478" y="16"/>
                    <a:pt x="478" y="16"/>
                  </a:cubicBezTo>
                  <a:cubicBezTo>
                    <a:pt x="479" y="15"/>
                    <a:pt x="480" y="14"/>
                    <a:pt x="481" y="13"/>
                  </a:cubicBezTo>
                  <a:cubicBezTo>
                    <a:pt x="482" y="13"/>
                    <a:pt x="483" y="12"/>
                    <a:pt x="483" y="11"/>
                  </a:cubicBezTo>
                  <a:cubicBezTo>
                    <a:pt x="484" y="11"/>
                    <a:pt x="484" y="11"/>
                    <a:pt x="484" y="10"/>
                  </a:cubicBezTo>
                  <a:cubicBezTo>
                    <a:pt x="485" y="7"/>
                    <a:pt x="485" y="7"/>
                    <a:pt x="485" y="7"/>
                  </a:cubicBezTo>
                  <a:cubicBezTo>
                    <a:pt x="482" y="7"/>
                    <a:pt x="482" y="7"/>
                    <a:pt x="482" y="7"/>
                  </a:cubicBezTo>
                  <a:cubicBezTo>
                    <a:pt x="481" y="7"/>
                    <a:pt x="480" y="7"/>
                    <a:pt x="480" y="7"/>
                  </a:cubicBezTo>
                  <a:cubicBezTo>
                    <a:pt x="479" y="6"/>
                    <a:pt x="478" y="6"/>
                    <a:pt x="477" y="6"/>
                  </a:cubicBezTo>
                  <a:cubicBezTo>
                    <a:pt x="477" y="6"/>
                    <a:pt x="476" y="6"/>
                    <a:pt x="476" y="6"/>
                  </a:cubicBezTo>
                  <a:cubicBezTo>
                    <a:pt x="475" y="5"/>
                    <a:pt x="474" y="5"/>
                    <a:pt x="473" y="5"/>
                  </a:cubicBezTo>
                  <a:cubicBezTo>
                    <a:pt x="472" y="5"/>
                    <a:pt x="472" y="5"/>
                    <a:pt x="471" y="5"/>
                  </a:cubicBezTo>
                  <a:cubicBezTo>
                    <a:pt x="470" y="5"/>
                    <a:pt x="470" y="5"/>
                    <a:pt x="470" y="5"/>
                  </a:cubicBezTo>
                  <a:cubicBezTo>
                    <a:pt x="469" y="6"/>
                    <a:pt x="467" y="7"/>
                    <a:pt x="466" y="8"/>
                  </a:cubicBezTo>
                  <a:cubicBezTo>
                    <a:pt x="466" y="8"/>
                    <a:pt x="466" y="8"/>
                    <a:pt x="466" y="8"/>
                  </a:cubicBezTo>
                  <a:cubicBezTo>
                    <a:pt x="465" y="8"/>
                    <a:pt x="465" y="8"/>
                    <a:pt x="464" y="8"/>
                  </a:cubicBezTo>
                  <a:cubicBezTo>
                    <a:pt x="463" y="8"/>
                    <a:pt x="463" y="8"/>
                    <a:pt x="463" y="7"/>
                  </a:cubicBezTo>
                  <a:cubicBezTo>
                    <a:pt x="463" y="7"/>
                    <a:pt x="463" y="7"/>
                    <a:pt x="463" y="7"/>
                  </a:cubicBezTo>
                  <a:cubicBezTo>
                    <a:pt x="463" y="6"/>
                    <a:pt x="462" y="5"/>
                    <a:pt x="460" y="4"/>
                  </a:cubicBezTo>
                  <a:cubicBezTo>
                    <a:pt x="460" y="4"/>
                    <a:pt x="459" y="4"/>
                    <a:pt x="459" y="4"/>
                  </a:cubicBezTo>
                  <a:cubicBezTo>
                    <a:pt x="458" y="4"/>
                    <a:pt x="458" y="4"/>
                    <a:pt x="458" y="4"/>
                  </a:cubicBezTo>
                  <a:cubicBezTo>
                    <a:pt x="457" y="3"/>
                    <a:pt x="457" y="3"/>
                    <a:pt x="456" y="3"/>
                  </a:cubicBezTo>
                  <a:cubicBezTo>
                    <a:pt x="455" y="2"/>
                    <a:pt x="455" y="1"/>
                    <a:pt x="453" y="1"/>
                  </a:cubicBezTo>
                  <a:cubicBezTo>
                    <a:pt x="452" y="1"/>
                    <a:pt x="451" y="0"/>
                    <a:pt x="450" y="0"/>
                  </a:cubicBezTo>
                  <a:cubicBezTo>
                    <a:pt x="448" y="0"/>
                    <a:pt x="447" y="1"/>
                    <a:pt x="446" y="1"/>
                  </a:cubicBezTo>
                  <a:cubicBezTo>
                    <a:pt x="445" y="2"/>
                    <a:pt x="445" y="3"/>
                    <a:pt x="444" y="4"/>
                  </a:cubicBezTo>
                  <a:cubicBezTo>
                    <a:pt x="444" y="5"/>
                    <a:pt x="444" y="5"/>
                    <a:pt x="444" y="5"/>
                  </a:cubicBezTo>
                  <a:cubicBezTo>
                    <a:pt x="443" y="6"/>
                    <a:pt x="441" y="7"/>
                    <a:pt x="439" y="7"/>
                  </a:cubicBezTo>
                  <a:cubicBezTo>
                    <a:pt x="439" y="7"/>
                    <a:pt x="438" y="6"/>
                    <a:pt x="438" y="6"/>
                  </a:cubicBezTo>
                  <a:cubicBezTo>
                    <a:pt x="438" y="6"/>
                    <a:pt x="438" y="6"/>
                    <a:pt x="437" y="5"/>
                  </a:cubicBezTo>
                  <a:cubicBezTo>
                    <a:pt x="436" y="5"/>
                    <a:pt x="435" y="5"/>
                    <a:pt x="435" y="5"/>
                  </a:cubicBezTo>
                  <a:cubicBezTo>
                    <a:pt x="435" y="5"/>
                    <a:pt x="435" y="5"/>
                    <a:pt x="435" y="5"/>
                  </a:cubicBezTo>
                  <a:cubicBezTo>
                    <a:pt x="434" y="7"/>
                    <a:pt x="434" y="7"/>
                    <a:pt x="434" y="7"/>
                  </a:cubicBezTo>
                  <a:cubicBezTo>
                    <a:pt x="434" y="7"/>
                    <a:pt x="434" y="7"/>
                    <a:pt x="434" y="7"/>
                  </a:cubicBezTo>
                  <a:cubicBezTo>
                    <a:pt x="434" y="5"/>
                    <a:pt x="434" y="5"/>
                    <a:pt x="434" y="5"/>
                  </a:cubicBezTo>
                  <a:cubicBezTo>
                    <a:pt x="434" y="5"/>
                    <a:pt x="433" y="5"/>
                    <a:pt x="433" y="4"/>
                  </a:cubicBezTo>
                  <a:cubicBezTo>
                    <a:pt x="432" y="4"/>
                    <a:pt x="432" y="4"/>
                    <a:pt x="431" y="4"/>
                  </a:cubicBezTo>
                  <a:cubicBezTo>
                    <a:pt x="430" y="3"/>
                    <a:pt x="430" y="3"/>
                    <a:pt x="429" y="2"/>
                  </a:cubicBezTo>
                  <a:cubicBezTo>
                    <a:pt x="428" y="1"/>
                    <a:pt x="426" y="0"/>
                    <a:pt x="424" y="0"/>
                  </a:cubicBezTo>
                  <a:cubicBezTo>
                    <a:pt x="421" y="0"/>
                    <a:pt x="419" y="3"/>
                    <a:pt x="418" y="5"/>
                  </a:cubicBezTo>
                  <a:cubicBezTo>
                    <a:pt x="417" y="6"/>
                    <a:pt x="417" y="7"/>
                    <a:pt x="417" y="7"/>
                  </a:cubicBezTo>
                  <a:cubicBezTo>
                    <a:pt x="416" y="8"/>
                    <a:pt x="414" y="8"/>
                    <a:pt x="412" y="8"/>
                  </a:cubicBezTo>
                  <a:cubicBezTo>
                    <a:pt x="411" y="8"/>
                    <a:pt x="411" y="9"/>
                    <a:pt x="410" y="9"/>
                  </a:cubicBezTo>
                  <a:cubicBezTo>
                    <a:pt x="407" y="9"/>
                    <a:pt x="404" y="10"/>
                    <a:pt x="401" y="11"/>
                  </a:cubicBezTo>
                  <a:cubicBezTo>
                    <a:pt x="401" y="12"/>
                    <a:pt x="400" y="12"/>
                    <a:pt x="400" y="12"/>
                  </a:cubicBezTo>
                  <a:cubicBezTo>
                    <a:pt x="399" y="12"/>
                    <a:pt x="398" y="12"/>
                    <a:pt x="397" y="13"/>
                  </a:cubicBezTo>
                  <a:cubicBezTo>
                    <a:pt x="397" y="13"/>
                    <a:pt x="397" y="14"/>
                    <a:pt x="396" y="14"/>
                  </a:cubicBezTo>
                  <a:cubicBezTo>
                    <a:pt x="396" y="14"/>
                    <a:pt x="396" y="14"/>
                    <a:pt x="395" y="14"/>
                  </a:cubicBezTo>
                  <a:cubicBezTo>
                    <a:pt x="395" y="14"/>
                    <a:pt x="394" y="14"/>
                    <a:pt x="394" y="14"/>
                  </a:cubicBezTo>
                  <a:cubicBezTo>
                    <a:pt x="393" y="14"/>
                    <a:pt x="392" y="14"/>
                    <a:pt x="392" y="14"/>
                  </a:cubicBezTo>
                  <a:cubicBezTo>
                    <a:pt x="392" y="14"/>
                    <a:pt x="391" y="13"/>
                    <a:pt x="391" y="13"/>
                  </a:cubicBezTo>
                  <a:cubicBezTo>
                    <a:pt x="391" y="12"/>
                    <a:pt x="390" y="11"/>
                    <a:pt x="389" y="11"/>
                  </a:cubicBezTo>
                  <a:cubicBezTo>
                    <a:pt x="388" y="10"/>
                    <a:pt x="388" y="10"/>
                    <a:pt x="387" y="10"/>
                  </a:cubicBezTo>
                  <a:cubicBezTo>
                    <a:pt x="386" y="9"/>
                    <a:pt x="384" y="7"/>
                    <a:pt x="381" y="7"/>
                  </a:cubicBezTo>
                  <a:cubicBezTo>
                    <a:pt x="379" y="7"/>
                    <a:pt x="376" y="7"/>
                    <a:pt x="374" y="7"/>
                  </a:cubicBezTo>
                  <a:cubicBezTo>
                    <a:pt x="372" y="7"/>
                    <a:pt x="372" y="7"/>
                    <a:pt x="372" y="7"/>
                  </a:cubicBezTo>
                  <a:cubicBezTo>
                    <a:pt x="371" y="7"/>
                    <a:pt x="369" y="7"/>
                    <a:pt x="367" y="7"/>
                  </a:cubicBezTo>
                  <a:cubicBezTo>
                    <a:pt x="366" y="7"/>
                    <a:pt x="365" y="7"/>
                    <a:pt x="363" y="7"/>
                  </a:cubicBezTo>
                  <a:cubicBezTo>
                    <a:pt x="363" y="7"/>
                    <a:pt x="362" y="7"/>
                    <a:pt x="362" y="7"/>
                  </a:cubicBezTo>
                  <a:cubicBezTo>
                    <a:pt x="361" y="7"/>
                    <a:pt x="361" y="7"/>
                    <a:pt x="360" y="7"/>
                  </a:cubicBezTo>
                  <a:cubicBezTo>
                    <a:pt x="360" y="7"/>
                    <a:pt x="360" y="7"/>
                    <a:pt x="359" y="7"/>
                  </a:cubicBezTo>
                  <a:cubicBezTo>
                    <a:pt x="359" y="7"/>
                    <a:pt x="359" y="7"/>
                    <a:pt x="358" y="7"/>
                  </a:cubicBezTo>
                  <a:cubicBezTo>
                    <a:pt x="357" y="6"/>
                    <a:pt x="356" y="6"/>
                    <a:pt x="355" y="6"/>
                  </a:cubicBezTo>
                  <a:cubicBezTo>
                    <a:pt x="355" y="6"/>
                    <a:pt x="355" y="6"/>
                    <a:pt x="355" y="6"/>
                  </a:cubicBezTo>
                  <a:cubicBezTo>
                    <a:pt x="352" y="6"/>
                    <a:pt x="349" y="8"/>
                    <a:pt x="346" y="10"/>
                  </a:cubicBezTo>
                  <a:cubicBezTo>
                    <a:pt x="345" y="11"/>
                    <a:pt x="344" y="11"/>
                    <a:pt x="343" y="11"/>
                  </a:cubicBezTo>
                  <a:cubicBezTo>
                    <a:pt x="343" y="11"/>
                    <a:pt x="343" y="11"/>
                    <a:pt x="343" y="11"/>
                  </a:cubicBezTo>
                  <a:cubicBezTo>
                    <a:pt x="343" y="11"/>
                    <a:pt x="343" y="11"/>
                    <a:pt x="342" y="10"/>
                  </a:cubicBezTo>
                  <a:cubicBezTo>
                    <a:pt x="342" y="10"/>
                    <a:pt x="341" y="9"/>
                    <a:pt x="340" y="9"/>
                  </a:cubicBezTo>
                  <a:cubicBezTo>
                    <a:pt x="338" y="9"/>
                    <a:pt x="336" y="8"/>
                    <a:pt x="335" y="8"/>
                  </a:cubicBezTo>
                  <a:cubicBezTo>
                    <a:pt x="330" y="8"/>
                    <a:pt x="327" y="10"/>
                    <a:pt x="323" y="13"/>
                  </a:cubicBezTo>
                  <a:cubicBezTo>
                    <a:pt x="322" y="13"/>
                    <a:pt x="322" y="14"/>
                    <a:pt x="322" y="14"/>
                  </a:cubicBezTo>
                  <a:cubicBezTo>
                    <a:pt x="321" y="15"/>
                    <a:pt x="321" y="15"/>
                    <a:pt x="320" y="15"/>
                  </a:cubicBezTo>
                  <a:cubicBezTo>
                    <a:pt x="320" y="15"/>
                    <a:pt x="320" y="16"/>
                    <a:pt x="319" y="16"/>
                  </a:cubicBezTo>
                  <a:cubicBezTo>
                    <a:pt x="319" y="16"/>
                    <a:pt x="318" y="16"/>
                    <a:pt x="318" y="15"/>
                  </a:cubicBezTo>
                  <a:cubicBezTo>
                    <a:pt x="317" y="15"/>
                    <a:pt x="317" y="15"/>
                    <a:pt x="317" y="15"/>
                  </a:cubicBezTo>
                  <a:cubicBezTo>
                    <a:pt x="316" y="15"/>
                    <a:pt x="314" y="15"/>
                    <a:pt x="313" y="15"/>
                  </a:cubicBezTo>
                  <a:cubicBezTo>
                    <a:pt x="311" y="15"/>
                    <a:pt x="309" y="15"/>
                    <a:pt x="308" y="16"/>
                  </a:cubicBezTo>
                  <a:cubicBezTo>
                    <a:pt x="304" y="16"/>
                    <a:pt x="300" y="16"/>
                    <a:pt x="297" y="16"/>
                  </a:cubicBezTo>
                  <a:cubicBezTo>
                    <a:pt x="295" y="17"/>
                    <a:pt x="293" y="17"/>
                    <a:pt x="292" y="17"/>
                  </a:cubicBezTo>
                  <a:cubicBezTo>
                    <a:pt x="290" y="17"/>
                    <a:pt x="289" y="17"/>
                    <a:pt x="288" y="17"/>
                  </a:cubicBezTo>
                  <a:cubicBezTo>
                    <a:pt x="284" y="18"/>
                    <a:pt x="281" y="19"/>
                    <a:pt x="279" y="20"/>
                  </a:cubicBezTo>
                  <a:cubicBezTo>
                    <a:pt x="277" y="20"/>
                    <a:pt x="276" y="21"/>
                    <a:pt x="275" y="21"/>
                  </a:cubicBezTo>
                  <a:cubicBezTo>
                    <a:pt x="274" y="21"/>
                    <a:pt x="272" y="22"/>
                    <a:pt x="271" y="23"/>
                  </a:cubicBezTo>
                  <a:cubicBezTo>
                    <a:pt x="269" y="23"/>
                    <a:pt x="267" y="24"/>
                    <a:pt x="265" y="25"/>
                  </a:cubicBezTo>
                  <a:cubicBezTo>
                    <a:pt x="264" y="26"/>
                    <a:pt x="263" y="27"/>
                    <a:pt x="262" y="28"/>
                  </a:cubicBezTo>
                  <a:cubicBezTo>
                    <a:pt x="259" y="29"/>
                    <a:pt x="256" y="31"/>
                    <a:pt x="254" y="33"/>
                  </a:cubicBezTo>
                  <a:cubicBezTo>
                    <a:pt x="252" y="34"/>
                    <a:pt x="251" y="36"/>
                    <a:pt x="250" y="37"/>
                  </a:cubicBezTo>
                  <a:cubicBezTo>
                    <a:pt x="248" y="40"/>
                    <a:pt x="247" y="41"/>
                    <a:pt x="245" y="41"/>
                  </a:cubicBezTo>
                  <a:cubicBezTo>
                    <a:pt x="244" y="41"/>
                    <a:pt x="244" y="41"/>
                    <a:pt x="243" y="41"/>
                  </a:cubicBezTo>
                  <a:cubicBezTo>
                    <a:pt x="243" y="41"/>
                    <a:pt x="242" y="41"/>
                    <a:pt x="242" y="40"/>
                  </a:cubicBezTo>
                  <a:cubicBezTo>
                    <a:pt x="240" y="40"/>
                    <a:pt x="239" y="39"/>
                    <a:pt x="238" y="39"/>
                  </a:cubicBezTo>
                  <a:cubicBezTo>
                    <a:pt x="237" y="39"/>
                    <a:pt x="236" y="39"/>
                    <a:pt x="235" y="40"/>
                  </a:cubicBezTo>
                  <a:cubicBezTo>
                    <a:pt x="234" y="40"/>
                    <a:pt x="233" y="41"/>
                    <a:pt x="233" y="42"/>
                  </a:cubicBezTo>
                  <a:cubicBezTo>
                    <a:pt x="232" y="42"/>
                    <a:pt x="231" y="43"/>
                    <a:pt x="230" y="43"/>
                  </a:cubicBezTo>
                  <a:cubicBezTo>
                    <a:pt x="228" y="43"/>
                    <a:pt x="228" y="43"/>
                    <a:pt x="228" y="43"/>
                  </a:cubicBezTo>
                  <a:cubicBezTo>
                    <a:pt x="226" y="43"/>
                    <a:pt x="223" y="44"/>
                    <a:pt x="220" y="45"/>
                  </a:cubicBezTo>
                  <a:cubicBezTo>
                    <a:pt x="218" y="47"/>
                    <a:pt x="216" y="50"/>
                    <a:pt x="214" y="53"/>
                  </a:cubicBezTo>
                  <a:cubicBezTo>
                    <a:pt x="213" y="55"/>
                    <a:pt x="211" y="57"/>
                    <a:pt x="209" y="58"/>
                  </a:cubicBezTo>
                  <a:cubicBezTo>
                    <a:pt x="208" y="58"/>
                    <a:pt x="207" y="58"/>
                    <a:pt x="206" y="59"/>
                  </a:cubicBezTo>
                  <a:cubicBezTo>
                    <a:pt x="205" y="59"/>
                    <a:pt x="203" y="60"/>
                    <a:pt x="202" y="61"/>
                  </a:cubicBezTo>
                  <a:cubicBezTo>
                    <a:pt x="198" y="64"/>
                    <a:pt x="194" y="66"/>
                    <a:pt x="191" y="66"/>
                  </a:cubicBezTo>
                  <a:cubicBezTo>
                    <a:pt x="189" y="66"/>
                    <a:pt x="189" y="66"/>
                    <a:pt x="189" y="66"/>
                  </a:cubicBezTo>
                  <a:cubicBezTo>
                    <a:pt x="189" y="68"/>
                    <a:pt x="189" y="68"/>
                    <a:pt x="189" y="68"/>
                  </a:cubicBezTo>
                  <a:cubicBezTo>
                    <a:pt x="190" y="70"/>
                    <a:pt x="190" y="71"/>
                    <a:pt x="192" y="73"/>
                  </a:cubicBezTo>
                  <a:cubicBezTo>
                    <a:pt x="194" y="75"/>
                    <a:pt x="197" y="77"/>
                    <a:pt x="200" y="78"/>
                  </a:cubicBezTo>
                  <a:cubicBezTo>
                    <a:pt x="200" y="79"/>
                    <a:pt x="200" y="80"/>
                    <a:pt x="199" y="81"/>
                  </a:cubicBezTo>
                  <a:cubicBezTo>
                    <a:pt x="199" y="82"/>
                    <a:pt x="199" y="82"/>
                    <a:pt x="199" y="83"/>
                  </a:cubicBezTo>
                  <a:cubicBezTo>
                    <a:pt x="198" y="84"/>
                    <a:pt x="198" y="84"/>
                    <a:pt x="198" y="84"/>
                  </a:cubicBezTo>
                  <a:cubicBezTo>
                    <a:pt x="198" y="84"/>
                    <a:pt x="198" y="85"/>
                    <a:pt x="198" y="85"/>
                  </a:cubicBezTo>
                  <a:cubicBezTo>
                    <a:pt x="198" y="86"/>
                    <a:pt x="198" y="86"/>
                    <a:pt x="198" y="86"/>
                  </a:cubicBezTo>
                  <a:cubicBezTo>
                    <a:pt x="200" y="85"/>
                    <a:pt x="200" y="85"/>
                    <a:pt x="200" y="85"/>
                  </a:cubicBezTo>
                  <a:cubicBezTo>
                    <a:pt x="199" y="86"/>
                    <a:pt x="199" y="86"/>
                    <a:pt x="199" y="86"/>
                  </a:cubicBezTo>
                  <a:cubicBezTo>
                    <a:pt x="199" y="87"/>
                    <a:pt x="199" y="87"/>
                    <a:pt x="199" y="87"/>
                  </a:cubicBezTo>
                  <a:cubicBezTo>
                    <a:pt x="200" y="90"/>
                    <a:pt x="200" y="92"/>
                    <a:pt x="200" y="96"/>
                  </a:cubicBezTo>
                  <a:cubicBezTo>
                    <a:pt x="200" y="97"/>
                    <a:pt x="200" y="99"/>
                    <a:pt x="200" y="100"/>
                  </a:cubicBezTo>
                  <a:cubicBezTo>
                    <a:pt x="201" y="103"/>
                    <a:pt x="201" y="105"/>
                    <a:pt x="201" y="107"/>
                  </a:cubicBezTo>
                  <a:cubicBezTo>
                    <a:pt x="201" y="108"/>
                    <a:pt x="201" y="108"/>
                    <a:pt x="201" y="109"/>
                  </a:cubicBezTo>
                  <a:cubicBezTo>
                    <a:pt x="201" y="110"/>
                    <a:pt x="201" y="111"/>
                    <a:pt x="201" y="112"/>
                  </a:cubicBezTo>
                  <a:cubicBezTo>
                    <a:pt x="201" y="113"/>
                    <a:pt x="201" y="114"/>
                    <a:pt x="202" y="115"/>
                  </a:cubicBezTo>
                  <a:cubicBezTo>
                    <a:pt x="202" y="116"/>
                    <a:pt x="203" y="116"/>
                    <a:pt x="203" y="117"/>
                  </a:cubicBezTo>
                  <a:cubicBezTo>
                    <a:pt x="203" y="119"/>
                    <a:pt x="202" y="120"/>
                    <a:pt x="202" y="122"/>
                  </a:cubicBezTo>
                  <a:cubicBezTo>
                    <a:pt x="201" y="123"/>
                    <a:pt x="200" y="125"/>
                    <a:pt x="200" y="126"/>
                  </a:cubicBezTo>
                  <a:cubicBezTo>
                    <a:pt x="200" y="129"/>
                    <a:pt x="201" y="130"/>
                    <a:pt x="203" y="131"/>
                  </a:cubicBezTo>
                  <a:cubicBezTo>
                    <a:pt x="203" y="132"/>
                    <a:pt x="204" y="133"/>
                    <a:pt x="205" y="134"/>
                  </a:cubicBezTo>
                  <a:cubicBezTo>
                    <a:pt x="205" y="135"/>
                    <a:pt x="205" y="137"/>
                    <a:pt x="205" y="139"/>
                  </a:cubicBezTo>
                  <a:cubicBezTo>
                    <a:pt x="205" y="141"/>
                    <a:pt x="205" y="143"/>
                    <a:pt x="206" y="144"/>
                  </a:cubicBezTo>
                  <a:cubicBezTo>
                    <a:pt x="207" y="145"/>
                    <a:pt x="208" y="146"/>
                    <a:pt x="209" y="146"/>
                  </a:cubicBezTo>
                  <a:cubicBezTo>
                    <a:pt x="211" y="147"/>
                    <a:pt x="212" y="148"/>
                    <a:pt x="213" y="149"/>
                  </a:cubicBezTo>
                  <a:cubicBezTo>
                    <a:pt x="216" y="152"/>
                    <a:pt x="216" y="153"/>
                    <a:pt x="214" y="156"/>
                  </a:cubicBezTo>
                  <a:cubicBezTo>
                    <a:pt x="214" y="157"/>
                    <a:pt x="213" y="157"/>
                    <a:pt x="213" y="157"/>
                  </a:cubicBezTo>
                  <a:cubicBezTo>
                    <a:pt x="212" y="158"/>
                    <a:pt x="212" y="158"/>
                    <a:pt x="211" y="160"/>
                  </a:cubicBezTo>
                  <a:cubicBezTo>
                    <a:pt x="211" y="161"/>
                    <a:pt x="211" y="162"/>
                    <a:pt x="211" y="164"/>
                  </a:cubicBezTo>
                  <a:cubicBezTo>
                    <a:pt x="211" y="165"/>
                    <a:pt x="211" y="165"/>
                    <a:pt x="211" y="166"/>
                  </a:cubicBezTo>
                  <a:cubicBezTo>
                    <a:pt x="211" y="166"/>
                    <a:pt x="211" y="166"/>
                    <a:pt x="209" y="166"/>
                  </a:cubicBezTo>
                  <a:cubicBezTo>
                    <a:pt x="205" y="166"/>
                    <a:pt x="200" y="166"/>
                    <a:pt x="199" y="165"/>
                  </a:cubicBezTo>
                  <a:cubicBezTo>
                    <a:pt x="197" y="165"/>
                    <a:pt x="195" y="165"/>
                    <a:pt x="192" y="165"/>
                  </a:cubicBezTo>
                  <a:cubicBezTo>
                    <a:pt x="190" y="165"/>
                    <a:pt x="188" y="165"/>
                    <a:pt x="186" y="165"/>
                  </a:cubicBezTo>
                  <a:cubicBezTo>
                    <a:pt x="183" y="165"/>
                    <a:pt x="183" y="165"/>
                    <a:pt x="183" y="165"/>
                  </a:cubicBezTo>
                  <a:cubicBezTo>
                    <a:pt x="182" y="165"/>
                    <a:pt x="182" y="165"/>
                    <a:pt x="181" y="165"/>
                  </a:cubicBezTo>
                  <a:cubicBezTo>
                    <a:pt x="181" y="165"/>
                    <a:pt x="181" y="165"/>
                    <a:pt x="181" y="165"/>
                  </a:cubicBezTo>
                  <a:cubicBezTo>
                    <a:pt x="179" y="165"/>
                    <a:pt x="177" y="165"/>
                    <a:pt x="175" y="166"/>
                  </a:cubicBezTo>
                  <a:cubicBezTo>
                    <a:pt x="173" y="167"/>
                    <a:pt x="170" y="167"/>
                    <a:pt x="168" y="167"/>
                  </a:cubicBezTo>
                  <a:cubicBezTo>
                    <a:pt x="165" y="168"/>
                    <a:pt x="164" y="169"/>
                    <a:pt x="164" y="172"/>
                  </a:cubicBezTo>
                  <a:cubicBezTo>
                    <a:pt x="164" y="172"/>
                    <a:pt x="164" y="173"/>
                    <a:pt x="165" y="174"/>
                  </a:cubicBezTo>
                  <a:cubicBezTo>
                    <a:pt x="164" y="174"/>
                    <a:pt x="162" y="175"/>
                    <a:pt x="162" y="175"/>
                  </a:cubicBezTo>
                  <a:cubicBezTo>
                    <a:pt x="161" y="176"/>
                    <a:pt x="160" y="177"/>
                    <a:pt x="158" y="177"/>
                  </a:cubicBezTo>
                  <a:cubicBezTo>
                    <a:pt x="157" y="178"/>
                    <a:pt x="156" y="178"/>
                    <a:pt x="155" y="178"/>
                  </a:cubicBezTo>
                  <a:cubicBezTo>
                    <a:pt x="154" y="178"/>
                    <a:pt x="153" y="178"/>
                    <a:pt x="152" y="179"/>
                  </a:cubicBezTo>
                  <a:cubicBezTo>
                    <a:pt x="151" y="179"/>
                    <a:pt x="150" y="179"/>
                    <a:pt x="149" y="179"/>
                  </a:cubicBezTo>
                  <a:cubicBezTo>
                    <a:pt x="148" y="179"/>
                    <a:pt x="147" y="179"/>
                    <a:pt x="147" y="179"/>
                  </a:cubicBezTo>
                  <a:cubicBezTo>
                    <a:pt x="146" y="179"/>
                    <a:pt x="145" y="178"/>
                    <a:pt x="145" y="178"/>
                  </a:cubicBezTo>
                  <a:cubicBezTo>
                    <a:pt x="144" y="178"/>
                    <a:pt x="143" y="178"/>
                    <a:pt x="143" y="178"/>
                  </a:cubicBezTo>
                  <a:cubicBezTo>
                    <a:pt x="141" y="178"/>
                    <a:pt x="139" y="179"/>
                    <a:pt x="138" y="181"/>
                  </a:cubicBezTo>
                  <a:cubicBezTo>
                    <a:pt x="137" y="183"/>
                    <a:pt x="138" y="184"/>
                    <a:pt x="139" y="185"/>
                  </a:cubicBezTo>
                  <a:cubicBezTo>
                    <a:pt x="139" y="186"/>
                    <a:pt x="140" y="187"/>
                    <a:pt x="140" y="187"/>
                  </a:cubicBezTo>
                  <a:cubicBezTo>
                    <a:pt x="140" y="189"/>
                    <a:pt x="140" y="190"/>
                    <a:pt x="139" y="191"/>
                  </a:cubicBezTo>
                  <a:cubicBezTo>
                    <a:pt x="139" y="192"/>
                    <a:pt x="138" y="194"/>
                    <a:pt x="139" y="195"/>
                  </a:cubicBezTo>
                  <a:cubicBezTo>
                    <a:pt x="140" y="196"/>
                    <a:pt x="141" y="197"/>
                    <a:pt x="142" y="197"/>
                  </a:cubicBezTo>
                  <a:cubicBezTo>
                    <a:pt x="143" y="198"/>
                    <a:pt x="144" y="198"/>
                    <a:pt x="144" y="200"/>
                  </a:cubicBezTo>
                  <a:cubicBezTo>
                    <a:pt x="145" y="202"/>
                    <a:pt x="143" y="203"/>
                    <a:pt x="141" y="203"/>
                  </a:cubicBezTo>
                  <a:cubicBezTo>
                    <a:pt x="141" y="203"/>
                    <a:pt x="140" y="204"/>
                    <a:pt x="140" y="204"/>
                  </a:cubicBezTo>
                  <a:cubicBezTo>
                    <a:pt x="138" y="204"/>
                    <a:pt x="138" y="204"/>
                    <a:pt x="138" y="204"/>
                  </a:cubicBezTo>
                  <a:cubicBezTo>
                    <a:pt x="136" y="205"/>
                    <a:pt x="133" y="205"/>
                    <a:pt x="132" y="206"/>
                  </a:cubicBezTo>
                  <a:cubicBezTo>
                    <a:pt x="131" y="207"/>
                    <a:pt x="130" y="208"/>
                    <a:pt x="129" y="209"/>
                  </a:cubicBezTo>
                  <a:cubicBezTo>
                    <a:pt x="129" y="210"/>
                    <a:pt x="128" y="211"/>
                    <a:pt x="126" y="211"/>
                  </a:cubicBezTo>
                  <a:cubicBezTo>
                    <a:pt x="125" y="212"/>
                    <a:pt x="123" y="213"/>
                    <a:pt x="122" y="214"/>
                  </a:cubicBezTo>
                  <a:cubicBezTo>
                    <a:pt x="120" y="214"/>
                    <a:pt x="120" y="214"/>
                    <a:pt x="120" y="214"/>
                  </a:cubicBezTo>
                  <a:cubicBezTo>
                    <a:pt x="119" y="215"/>
                    <a:pt x="118" y="215"/>
                    <a:pt x="117" y="215"/>
                  </a:cubicBezTo>
                  <a:cubicBezTo>
                    <a:pt x="116" y="216"/>
                    <a:pt x="115" y="216"/>
                    <a:pt x="114" y="216"/>
                  </a:cubicBezTo>
                  <a:cubicBezTo>
                    <a:pt x="114" y="216"/>
                    <a:pt x="113" y="216"/>
                    <a:pt x="112" y="217"/>
                  </a:cubicBezTo>
                  <a:cubicBezTo>
                    <a:pt x="111" y="217"/>
                    <a:pt x="109" y="217"/>
                    <a:pt x="108" y="218"/>
                  </a:cubicBezTo>
                  <a:cubicBezTo>
                    <a:pt x="107" y="219"/>
                    <a:pt x="104" y="223"/>
                    <a:pt x="103" y="224"/>
                  </a:cubicBezTo>
                  <a:cubicBezTo>
                    <a:pt x="101" y="229"/>
                    <a:pt x="98" y="232"/>
                    <a:pt x="94" y="236"/>
                  </a:cubicBezTo>
                  <a:cubicBezTo>
                    <a:pt x="91" y="239"/>
                    <a:pt x="87" y="239"/>
                    <a:pt x="83" y="239"/>
                  </a:cubicBezTo>
                  <a:cubicBezTo>
                    <a:pt x="82" y="240"/>
                    <a:pt x="82" y="240"/>
                    <a:pt x="81" y="240"/>
                  </a:cubicBezTo>
                  <a:cubicBezTo>
                    <a:pt x="80" y="240"/>
                    <a:pt x="79" y="240"/>
                    <a:pt x="78" y="240"/>
                  </a:cubicBezTo>
                  <a:cubicBezTo>
                    <a:pt x="77" y="240"/>
                    <a:pt x="75" y="240"/>
                    <a:pt x="74" y="240"/>
                  </a:cubicBezTo>
                  <a:cubicBezTo>
                    <a:pt x="72" y="240"/>
                    <a:pt x="70" y="239"/>
                    <a:pt x="69" y="239"/>
                  </a:cubicBezTo>
                  <a:cubicBezTo>
                    <a:pt x="68" y="239"/>
                    <a:pt x="67" y="239"/>
                    <a:pt x="66" y="240"/>
                  </a:cubicBezTo>
                  <a:cubicBezTo>
                    <a:pt x="64" y="240"/>
                    <a:pt x="64" y="240"/>
                    <a:pt x="64" y="240"/>
                  </a:cubicBezTo>
                  <a:cubicBezTo>
                    <a:pt x="64" y="242"/>
                    <a:pt x="64" y="242"/>
                    <a:pt x="64" y="242"/>
                  </a:cubicBezTo>
                  <a:cubicBezTo>
                    <a:pt x="64" y="245"/>
                    <a:pt x="63" y="246"/>
                    <a:pt x="62" y="247"/>
                  </a:cubicBezTo>
                  <a:cubicBezTo>
                    <a:pt x="61" y="247"/>
                    <a:pt x="59" y="247"/>
                    <a:pt x="58" y="247"/>
                  </a:cubicBezTo>
                  <a:cubicBezTo>
                    <a:pt x="55" y="247"/>
                    <a:pt x="55" y="247"/>
                    <a:pt x="55" y="247"/>
                  </a:cubicBezTo>
                  <a:cubicBezTo>
                    <a:pt x="55" y="247"/>
                    <a:pt x="54" y="247"/>
                    <a:pt x="54" y="247"/>
                  </a:cubicBezTo>
                  <a:cubicBezTo>
                    <a:pt x="53" y="247"/>
                    <a:pt x="52" y="247"/>
                    <a:pt x="51" y="247"/>
                  </a:cubicBezTo>
                  <a:cubicBezTo>
                    <a:pt x="50" y="247"/>
                    <a:pt x="46" y="247"/>
                    <a:pt x="46" y="247"/>
                  </a:cubicBezTo>
                  <a:cubicBezTo>
                    <a:pt x="43" y="247"/>
                    <a:pt x="41" y="248"/>
                    <a:pt x="39" y="251"/>
                  </a:cubicBezTo>
                  <a:cubicBezTo>
                    <a:pt x="39" y="251"/>
                    <a:pt x="39" y="252"/>
                    <a:pt x="39" y="252"/>
                  </a:cubicBezTo>
                  <a:cubicBezTo>
                    <a:pt x="38" y="254"/>
                    <a:pt x="37" y="255"/>
                    <a:pt x="35" y="256"/>
                  </a:cubicBezTo>
                  <a:cubicBezTo>
                    <a:pt x="34" y="256"/>
                    <a:pt x="33" y="256"/>
                    <a:pt x="32" y="256"/>
                  </a:cubicBezTo>
                  <a:cubicBezTo>
                    <a:pt x="30" y="256"/>
                    <a:pt x="29" y="256"/>
                    <a:pt x="27" y="257"/>
                  </a:cubicBezTo>
                  <a:cubicBezTo>
                    <a:pt x="25" y="258"/>
                    <a:pt x="23" y="260"/>
                    <a:pt x="21" y="262"/>
                  </a:cubicBezTo>
                  <a:cubicBezTo>
                    <a:pt x="20" y="263"/>
                    <a:pt x="19" y="264"/>
                    <a:pt x="18" y="265"/>
                  </a:cubicBezTo>
                  <a:cubicBezTo>
                    <a:pt x="17" y="266"/>
                    <a:pt x="16" y="266"/>
                    <a:pt x="15" y="267"/>
                  </a:cubicBezTo>
                  <a:cubicBezTo>
                    <a:pt x="13" y="269"/>
                    <a:pt x="11" y="272"/>
                    <a:pt x="8" y="273"/>
                  </a:cubicBezTo>
                  <a:cubicBezTo>
                    <a:pt x="6" y="274"/>
                    <a:pt x="4" y="275"/>
                    <a:pt x="3" y="276"/>
                  </a:cubicBezTo>
                  <a:cubicBezTo>
                    <a:pt x="1" y="277"/>
                    <a:pt x="1" y="277"/>
                    <a:pt x="1" y="277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2" y="327"/>
                    <a:pt x="4" y="328"/>
                    <a:pt x="5" y="329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9" y="332"/>
                    <a:pt x="12" y="334"/>
                    <a:pt x="15" y="336"/>
                  </a:cubicBezTo>
                  <a:cubicBezTo>
                    <a:pt x="16" y="337"/>
                    <a:pt x="16" y="337"/>
                    <a:pt x="16" y="337"/>
                  </a:cubicBezTo>
                  <a:cubicBezTo>
                    <a:pt x="19" y="339"/>
                    <a:pt x="22" y="342"/>
                    <a:pt x="25" y="344"/>
                  </a:cubicBezTo>
                  <a:cubicBezTo>
                    <a:pt x="36" y="352"/>
                    <a:pt x="45" y="359"/>
                    <a:pt x="53" y="365"/>
                  </a:cubicBezTo>
                  <a:cubicBezTo>
                    <a:pt x="63" y="372"/>
                    <a:pt x="74" y="380"/>
                    <a:pt x="88" y="390"/>
                  </a:cubicBezTo>
                  <a:cubicBezTo>
                    <a:pt x="94" y="395"/>
                    <a:pt x="100" y="399"/>
                    <a:pt x="107" y="404"/>
                  </a:cubicBezTo>
                  <a:cubicBezTo>
                    <a:pt x="108" y="405"/>
                    <a:pt x="108" y="405"/>
                    <a:pt x="108" y="405"/>
                  </a:cubicBezTo>
                  <a:cubicBezTo>
                    <a:pt x="114" y="409"/>
                    <a:pt x="120" y="414"/>
                    <a:pt x="126" y="418"/>
                  </a:cubicBezTo>
                  <a:cubicBezTo>
                    <a:pt x="126" y="419"/>
                    <a:pt x="126" y="419"/>
                    <a:pt x="126" y="419"/>
                  </a:cubicBezTo>
                  <a:cubicBezTo>
                    <a:pt x="139" y="428"/>
                    <a:pt x="152" y="438"/>
                    <a:pt x="164" y="447"/>
                  </a:cubicBezTo>
                  <a:cubicBezTo>
                    <a:pt x="178" y="457"/>
                    <a:pt x="190" y="466"/>
                    <a:pt x="201" y="474"/>
                  </a:cubicBezTo>
                  <a:cubicBezTo>
                    <a:pt x="209" y="480"/>
                    <a:pt x="217" y="486"/>
                    <a:pt x="225" y="492"/>
                  </a:cubicBezTo>
                  <a:cubicBezTo>
                    <a:pt x="233" y="498"/>
                    <a:pt x="233" y="498"/>
                    <a:pt x="233" y="498"/>
                  </a:cubicBezTo>
                  <a:cubicBezTo>
                    <a:pt x="235" y="499"/>
                    <a:pt x="236" y="500"/>
                    <a:pt x="239" y="502"/>
                  </a:cubicBezTo>
                  <a:cubicBezTo>
                    <a:pt x="241" y="503"/>
                    <a:pt x="244" y="505"/>
                    <a:pt x="246" y="507"/>
                  </a:cubicBezTo>
                  <a:cubicBezTo>
                    <a:pt x="250" y="511"/>
                    <a:pt x="253" y="513"/>
                    <a:pt x="257" y="515"/>
                  </a:cubicBezTo>
                  <a:cubicBezTo>
                    <a:pt x="259" y="516"/>
                    <a:pt x="260" y="518"/>
                    <a:pt x="261" y="519"/>
                  </a:cubicBezTo>
                  <a:cubicBezTo>
                    <a:pt x="262" y="520"/>
                    <a:pt x="263" y="521"/>
                    <a:pt x="264" y="522"/>
                  </a:cubicBezTo>
                  <a:cubicBezTo>
                    <a:pt x="265" y="522"/>
                    <a:pt x="266" y="523"/>
                    <a:pt x="267" y="523"/>
                  </a:cubicBezTo>
                  <a:cubicBezTo>
                    <a:pt x="269" y="525"/>
                    <a:pt x="271" y="526"/>
                    <a:pt x="272" y="528"/>
                  </a:cubicBezTo>
                  <a:cubicBezTo>
                    <a:pt x="273" y="530"/>
                    <a:pt x="273" y="534"/>
                    <a:pt x="273" y="537"/>
                  </a:cubicBezTo>
                  <a:cubicBezTo>
                    <a:pt x="273" y="538"/>
                    <a:pt x="273" y="539"/>
                    <a:pt x="273" y="539"/>
                  </a:cubicBezTo>
                  <a:cubicBezTo>
                    <a:pt x="273" y="541"/>
                    <a:pt x="273" y="541"/>
                    <a:pt x="273" y="541"/>
                  </a:cubicBezTo>
                  <a:cubicBezTo>
                    <a:pt x="274" y="541"/>
                    <a:pt x="274" y="541"/>
                    <a:pt x="274" y="541"/>
                  </a:cubicBezTo>
                  <a:cubicBezTo>
                    <a:pt x="275" y="541"/>
                    <a:pt x="276" y="542"/>
                    <a:pt x="276" y="542"/>
                  </a:cubicBezTo>
                  <a:cubicBezTo>
                    <a:pt x="277" y="542"/>
                    <a:pt x="277" y="543"/>
                    <a:pt x="278" y="543"/>
                  </a:cubicBezTo>
                  <a:cubicBezTo>
                    <a:pt x="278" y="543"/>
                    <a:pt x="279" y="543"/>
                    <a:pt x="280" y="543"/>
                  </a:cubicBezTo>
                  <a:cubicBezTo>
                    <a:pt x="281" y="544"/>
                    <a:pt x="282" y="544"/>
                    <a:pt x="282" y="544"/>
                  </a:cubicBezTo>
                  <a:cubicBezTo>
                    <a:pt x="283" y="545"/>
                    <a:pt x="284" y="546"/>
                    <a:pt x="286" y="547"/>
                  </a:cubicBezTo>
                  <a:cubicBezTo>
                    <a:pt x="286" y="548"/>
                    <a:pt x="287" y="549"/>
                    <a:pt x="287" y="550"/>
                  </a:cubicBezTo>
                  <a:cubicBezTo>
                    <a:pt x="287" y="551"/>
                    <a:pt x="287" y="552"/>
                    <a:pt x="288" y="553"/>
                  </a:cubicBezTo>
                  <a:cubicBezTo>
                    <a:pt x="288" y="554"/>
                    <a:pt x="289" y="554"/>
                    <a:pt x="291" y="555"/>
                  </a:cubicBezTo>
                  <a:cubicBezTo>
                    <a:pt x="292" y="556"/>
                    <a:pt x="292" y="556"/>
                    <a:pt x="293" y="556"/>
                  </a:cubicBezTo>
                  <a:cubicBezTo>
                    <a:pt x="294" y="557"/>
                    <a:pt x="295" y="557"/>
                    <a:pt x="296" y="557"/>
                  </a:cubicBezTo>
                  <a:cubicBezTo>
                    <a:pt x="296" y="558"/>
                    <a:pt x="296" y="558"/>
                    <a:pt x="296" y="558"/>
                  </a:cubicBezTo>
                  <a:cubicBezTo>
                    <a:pt x="297" y="558"/>
                    <a:pt x="297" y="558"/>
                    <a:pt x="297" y="558"/>
                  </a:cubicBezTo>
                  <a:cubicBezTo>
                    <a:pt x="298" y="558"/>
                    <a:pt x="298" y="557"/>
                    <a:pt x="299" y="557"/>
                  </a:cubicBezTo>
                  <a:cubicBezTo>
                    <a:pt x="300" y="557"/>
                    <a:pt x="301" y="556"/>
                    <a:pt x="302" y="556"/>
                  </a:cubicBezTo>
                  <a:cubicBezTo>
                    <a:pt x="302" y="556"/>
                    <a:pt x="302" y="556"/>
                    <a:pt x="302" y="556"/>
                  </a:cubicBezTo>
                  <a:cubicBezTo>
                    <a:pt x="304" y="556"/>
                    <a:pt x="304" y="557"/>
                    <a:pt x="305" y="558"/>
                  </a:cubicBezTo>
                  <a:cubicBezTo>
                    <a:pt x="305" y="559"/>
                    <a:pt x="305" y="559"/>
                    <a:pt x="305" y="559"/>
                  </a:cubicBezTo>
                  <a:cubicBezTo>
                    <a:pt x="306" y="561"/>
                    <a:pt x="308" y="562"/>
                    <a:pt x="310" y="563"/>
                  </a:cubicBezTo>
                  <a:cubicBezTo>
                    <a:pt x="311" y="564"/>
                    <a:pt x="313" y="564"/>
                    <a:pt x="315" y="564"/>
                  </a:cubicBezTo>
                  <a:cubicBezTo>
                    <a:pt x="316" y="564"/>
                    <a:pt x="317" y="564"/>
                    <a:pt x="318" y="564"/>
                  </a:cubicBezTo>
                  <a:cubicBezTo>
                    <a:pt x="320" y="565"/>
                    <a:pt x="322" y="565"/>
                    <a:pt x="323" y="566"/>
                  </a:cubicBezTo>
                  <a:cubicBezTo>
                    <a:pt x="324" y="567"/>
                    <a:pt x="325" y="567"/>
                    <a:pt x="325" y="567"/>
                  </a:cubicBezTo>
                  <a:cubicBezTo>
                    <a:pt x="329" y="569"/>
                    <a:pt x="329" y="571"/>
                    <a:pt x="330" y="574"/>
                  </a:cubicBezTo>
                  <a:cubicBezTo>
                    <a:pt x="330" y="576"/>
                    <a:pt x="330" y="576"/>
                    <a:pt x="330" y="576"/>
                  </a:cubicBezTo>
                  <a:cubicBezTo>
                    <a:pt x="330" y="577"/>
                    <a:pt x="330" y="578"/>
                    <a:pt x="330" y="579"/>
                  </a:cubicBezTo>
                  <a:cubicBezTo>
                    <a:pt x="331" y="580"/>
                    <a:pt x="331" y="580"/>
                    <a:pt x="331" y="581"/>
                  </a:cubicBezTo>
                  <a:cubicBezTo>
                    <a:pt x="332" y="582"/>
                    <a:pt x="332" y="582"/>
                    <a:pt x="332" y="583"/>
                  </a:cubicBezTo>
                  <a:cubicBezTo>
                    <a:pt x="332" y="585"/>
                    <a:pt x="331" y="587"/>
                    <a:pt x="329" y="589"/>
                  </a:cubicBezTo>
                  <a:cubicBezTo>
                    <a:pt x="329" y="589"/>
                    <a:pt x="328" y="590"/>
                    <a:pt x="328" y="591"/>
                  </a:cubicBezTo>
                  <a:cubicBezTo>
                    <a:pt x="327" y="593"/>
                    <a:pt x="327" y="593"/>
                    <a:pt x="327" y="593"/>
                  </a:cubicBezTo>
                  <a:cubicBezTo>
                    <a:pt x="328" y="594"/>
                    <a:pt x="328" y="594"/>
                    <a:pt x="328" y="594"/>
                  </a:cubicBezTo>
                  <a:cubicBezTo>
                    <a:pt x="329" y="594"/>
                    <a:pt x="329" y="594"/>
                    <a:pt x="329" y="594"/>
                  </a:cubicBezTo>
                  <a:cubicBezTo>
                    <a:pt x="330" y="595"/>
                    <a:pt x="331" y="596"/>
                    <a:pt x="332" y="598"/>
                  </a:cubicBezTo>
                  <a:cubicBezTo>
                    <a:pt x="333" y="599"/>
                    <a:pt x="333" y="599"/>
                    <a:pt x="333" y="599"/>
                  </a:cubicBezTo>
                  <a:cubicBezTo>
                    <a:pt x="406" y="583"/>
                    <a:pt x="406" y="583"/>
                    <a:pt x="406" y="583"/>
                  </a:cubicBezTo>
                  <a:cubicBezTo>
                    <a:pt x="407" y="583"/>
                    <a:pt x="407" y="583"/>
                    <a:pt x="407" y="583"/>
                  </a:cubicBezTo>
                  <a:cubicBezTo>
                    <a:pt x="411" y="578"/>
                    <a:pt x="446" y="539"/>
                    <a:pt x="461" y="530"/>
                  </a:cubicBezTo>
                  <a:cubicBezTo>
                    <a:pt x="578" y="450"/>
                    <a:pt x="578" y="450"/>
                    <a:pt x="578" y="450"/>
                  </a:cubicBezTo>
                  <a:lnTo>
                    <a:pt x="569" y="424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3" name="Freeform 33"/>
            <p:cNvSpPr>
              <a:spLocks/>
            </p:cNvSpPr>
            <p:nvPr/>
          </p:nvSpPr>
          <p:spPr bwMode="auto">
            <a:xfrm>
              <a:off x="1648467" y="1593989"/>
              <a:ext cx="467613" cy="345190"/>
            </a:xfrm>
            <a:custGeom>
              <a:avLst/>
              <a:gdLst>
                <a:gd name="T0" fmla="*/ 225 w 231"/>
                <a:gd name="T1" fmla="*/ 98 h 185"/>
                <a:gd name="T2" fmla="*/ 226 w 231"/>
                <a:gd name="T3" fmla="*/ 86 h 185"/>
                <a:gd name="T4" fmla="*/ 215 w 231"/>
                <a:gd name="T5" fmla="*/ 80 h 185"/>
                <a:gd name="T6" fmla="*/ 206 w 231"/>
                <a:gd name="T7" fmla="*/ 80 h 185"/>
                <a:gd name="T8" fmla="*/ 189 w 231"/>
                <a:gd name="T9" fmla="*/ 60 h 185"/>
                <a:gd name="T10" fmla="*/ 200 w 231"/>
                <a:gd name="T11" fmla="*/ 58 h 185"/>
                <a:gd name="T12" fmla="*/ 191 w 231"/>
                <a:gd name="T13" fmla="*/ 51 h 185"/>
                <a:gd name="T14" fmla="*/ 177 w 231"/>
                <a:gd name="T15" fmla="*/ 41 h 185"/>
                <a:gd name="T16" fmla="*/ 173 w 231"/>
                <a:gd name="T17" fmla="*/ 29 h 185"/>
                <a:gd name="T18" fmla="*/ 167 w 231"/>
                <a:gd name="T19" fmla="*/ 22 h 185"/>
                <a:gd name="T20" fmla="*/ 166 w 231"/>
                <a:gd name="T21" fmla="*/ 3 h 185"/>
                <a:gd name="T22" fmla="*/ 153 w 231"/>
                <a:gd name="T23" fmla="*/ 2 h 185"/>
                <a:gd name="T24" fmla="*/ 142 w 231"/>
                <a:gd name="T25" fmla="*/ 0 h 185"/>
                <a:gd name="T26" fmla="*/ 130 w 231"/>
                <a:gd name="T27" fmla="*/ 9 h 185"/>
                <a:gd name="T28" fmla="*/ 112 w 231"/>
                <a:gd name="T29" fmla="*/ 18 h 185"/>
                <a:gd name="T30" fmla="*/ 104 w 231"/>
                <a:gd name="T31" fmla="*/ 25 h 185"/>
                <a:gd name="T32" fmla="*/ 96 w 231"/>
                <a:gd name="T33" fmla="*/ 27 h 185"/>
                <a:gd name="T34" fmla="*/ 81 w 231"/>
                <a:gd name="T35" fmla="*/ 31 h 185"/>
                <a:gd name="T36" fmla="*/ 75 w 231"/>
                <a:gd name="T37" fmla="*/ 46 h 185"/>
                <a:gd name="T38" fmla="*/ 70 w 231"/>
                <a:gd name="T39" fmla="*/ 45 h 185"/>
                <a:gd name="T40" fmla="*/ 67 w 231"/>
                <a:gd name="T41" fmla="*/ 56 h 185"/>
                <a:gd name="T42" fmla="*/ 63 w 231"/>
                <a:gd name="T43" fmla="*/ 60 h 185"/>
                <a:gd name="T44" fmla="*/ 54 w 231"/>
                <a:gd name="T45" fmla="*/ 57 h 185"/>
                <a:gd name="T46" fmla="*/ 45 w 231"/>
                <a:gd name="T47" fmla="*/ 54 h 185"/>
                <a:gd name="T48" fmla="*/ 40 w 231"/>
                <a:gd name="T49" fmla="*/ 76 h 185"/>
                <a:gd name="T50" fmla="*/ 33 w 231"/>
                <a:gd name="T51" fmla="*/ 76 h 185"/>
                <a:gd name="T52" fmla="*/ 34 w 231"/>
                <a:gd name="T53" fmla="*/ 88 h 185"/>
                <a:gd name="T54" fmla="*/ 18 w 231"/>
                <a:gd name="T55" fmla="*/ 101 h 185"/>
                <a:gd name="T56" fmla="*/ 10 w 231"/>
                <a:gd name="T57" fmla="*/ 120 h 185"/>
                <a:gd name="T58" fmla="*/ 3 w 231"/>
                <a:gd name="T59" fmla="*/ 136 h 185"/>
                <a:gd name="T60" fmla="*/ 2 w 231"/>
                <a:gd name="T61" fmla="*/ 151 h 185"/>
                <a:gd name="T62" fmla="*/ 2 w 231"/>
                <a:gd name="T63" fmla="*/ 156 h 185"/>
                <a:gd name="T64" fmla="*/ 20 w 231"/>
                <a:gd name="T65" fmla="*/ 171 h 185"/>
                <a:gd name="T66" fmla="*/ 31 w 231"/>
                <a:gd name="T67" fmla="*/ 178 h 185"/>
                <a:gd name="T68" fmla="*/ 35 w 231"/>
                <a:gd name="T69" fmla="*/ 180 h 185"/>
                <a:gd name="T70" fmla="*/ 45 w 231"/>
                <a:gd name="T71" fmla="*/ 173 h 185"/>
                <a:gd name="T72" fmla="*/ 71 w 231"/>
                <a:gd name="T73" fmla="*/ 174 h 185"/>
                <a:gd name="T74" fmla="*/ 80 w 231"/>
                <a:gd name="T75" fmla="*/ 155 h 185"/>
                <a:gd name="T76" fmla="*/ 144 w 231"/>
                <a:gd name="T77" fmla="*/ 137 h 185"/>
                <a:gd name="T78" fmla="*/ 163 w 231"/>
                <a:gd name="T79" fmla="*/ 133 h 185"/>
                <a:gd name="T80" fmla="*/ 170 w 231"/>
                <a:gd name="T81" fmla="*/ 134 h 185"/>
                <a:gd name="T82" fmla="*/ 177 w 231"/>
                <a:gd name="T83" fmla="*/ 137 h 185"/>
                <a:gd name="T84" fmla="*/ 188 w 231"/>
                <a:gd name="T85" fmla="*/ 133 h 185"/>
                <a:gd name="T86" fmla="*/ 195 w 231"/>
                <a:gd name="T87" fmla="*/ 127 h 185"/>
                <a:gd name="T88" fmla="*/ 201 w 231"/>
                <a:gd name="T89" fmla="*/ 121 h 185"/>
                <a:gd name="T90" fmla="*/ 205 w 231"/>
                <a:gd name="T91" fmla="*/ 121 h 185"/>
                <a:gd name="T92" fmla="*/ 209 w 231"/>
                <a:gd name="T93" fmla="*/ 121 h 185"/>
                <a:gd name="T94" fmla="*/ 216 w 231"/>
                <a:gd name="T95" fmla="*/ 122 h 185"/>
                <a:gd name="T96" fmla="*/ 224 w 231"/>
                <a:gd name="T97" fmla="*/ 115 h 185"/>
                <a:gd name="T98" fmla="*/ 227 w 231"/>
                <a:gd name="T99" fmla="*/ 10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31" h="185">
                  <a:moveTo>
                    <a:pt x="227" y="100"/>
                  </a:moveTo>
                  <a:cubicBezTo>
                    <a:pt x="226" y="99"/>
                    <a:pt x="226" y="99"/>
                    <a:pt x="226" y="99"/>
                  </a:cubicBezTo>
                  <a:cubicBezTo>
                    <a:pt x="226" y="99"/>
                    <a:pt x="226" y="98"/>
                    <a:pt x="225" y="98"/>
                  </a:cubicBezTo>
                  <a:cubicBezTo>
                    <a:pt x="223" y="96"/>
                    <a:pt x="221" y="93"/>
                    <a:pt x="221" y="92"/>
                  </a:cubicBezTo>
                  <a:cubicBezTo>
                    <a:pt x="221" y="91"/>
                    <a:pt x="222" y="90"/>
                    <a:pt x="224" y="89"/>
                  </a:cubicBezTo>
                  <a:cubicBezTo>
                    <a:pt x="225" y="88"/>
                    <a:pt x="226" y="88"/>
                    <a:pt x="226" y="86"/>
                  </a:cubicBezTo>
                  <a:cubicBezTo>
                    <a:pt x="227" y="84"/>
                    <a:pt x="224" y="79"/>
                    <a:pt x="222" y="78"/>
                  </a:cubicBezTo>
                  <a:cubicBezTo>
                    <a:pt x="221" y="78"/>
                    <a:pt x="221" y="78"/>
                    <a:pt x="220" y="78"/>
                  </a:cubicBezTo>
                  <a:cubicBezTo>
                    <a:pt x="218" y="78"/>
                    <a:pt x="217" y="79"/>
                    <a:pt x="215" y="80"/>
                  </a:cubicBezTo>
                  <a:cubicBezTo>
                    <a:pt x="215" y="81"/>
                    <a:pt x="214" y="81"/>
                    <a:pt x="214" y="82"/>
                  </a:cubicBezTo>
                  <a:cubicBezTo>
                    <a:pt x="213" y="83"/>
                    <a:pt x="212" y="83"/>
                    <a:pt x="211" y="83"/>
                  </a:cubicBezTo>
                  <a:cubicBezTo>
                    <a:pt x="209" y="83"/>
                    <a:pt x="207" y="81"/>
                    <a:pt x="206" y="80"/>
                  </a:cubicBezTo>
                  <a:cubicBezTo>
                    <a:pt x="204" y="79"/>
                    <a:pt x="203" y="77"/>
                    <a:pt x="201" y="76"/>
                  </a:cubicBezTo>
                  <a:cubicBezTo>
                    <a:pt x="199" y="72"/>
                    <a:pt x="196" y="69"/>
                    <a:pt x="191" y="67"/>
                  </a:cubicBezTo>
                  <a:cubicBezTo>
                    <a:pt x="190" y="65"/>
                    <a:pt x="189" y="62"/>
                    <a:pt x="189" y="60"/>
                  </a:cubicBezTo>
                  <a:cubicBezTo>
                    <a:pt x="191" y="60"/>
                    <a:pt x="191" y="60"/>
                    <a:pt x="191" y="60"/>
                  </a:cubicBezTo>
                  <a:cubicBezTo>
                    <a:pt x="195" y="60"/>
                    <a:pt x="196" y="60"/>
                    <a:pt x="197" y="59"/>
                  </a:cubicBezTo>
                  <a:cubicBezTo>
                    <a:pt x="200" y="58"/>
                    <a:pt x="200" y="58"/>
                    <a:pt x="200" y="58"/>
                  </a:cubicBezTo>
                  <a:cubicBezTo>
                    <a:pt x="200" y="58"/>
                    <a:pt x="197" y="56"/>
                    <a:pt x="197" y="56"/>
                  </a:cubicBezTo>
                  <a:cubicBezTo>
                    <a:pt x="197" y="56"/>
                    <a:pt x="197" y="55"/>
                    <a:pt x="196" y="55"/>
                  </a:cubicBezTo>
                  <a:cubicBezTo>
                    <a:pt x="195" y="53"/>
                    <a:pt x="193" y="52"/>
                    <a:pt x="191" y="51"/>
                  </a:cubicBezTo>
                  <a:cubicBezTo>
                    <a:pt x="189" y="50"/>
                    <a:pt x="188" y="49"/>
                    <a:pt x="187" y="49"/>
                  </a:cubicBezTo>
                  <a:cubicBezTo>
                    <a:pt x="184" y="47"/>
                    <a:pt x="181" y="44"/>
                    <a:pt x="178" y="42"/>
                  </a:cubicBezTo>
                  <a:cubicBezTo>
                    <a:pt x="177" y="41"/>
                    <a:pt x="177" y="41"/>
                    <a:pt x="177" y="41"/>
                  </a:cubicBezTo>
                  <a:cubicBezTo>
                    <a:pt x="173" y="38"/>
                    <a:pt x="173" y="36"/>
                    <a:pt x="173" y="33"/>
                  </a:cubicBezTo>
                  <a:cubicBezTo>
                    <a:pt x="173" y="32"/>
                    <a:pt x="173" y="31"/>
                    <a:pt x="173" y="29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2" y="27"/>
                    <a:pt x="172" y="26"/>
                    <a:pt x="171" y="25"/>
                  </a:cubicBezTo>
                  <a:cubicBezTo>
                    <a:pt x="171" y="24"/>
                    <a:pt x="170" y="24"/>
                    <a:pt x="169" y="23"/>
                  </a:cubicBezTo>
                  <a:cubicBezTo>
                    <a:pt x="169" y="23"/>
                    <a:pt x="168" y="23"/>
                    <a:pt x="167" y="22"/>
                  </a:cubicBezTo>
                  <a:cubicBezTo>
                    <a:pt x="166" y="21"/>
                    <a:pt x="166" y="20"/>
                    <a:pt x="167" y="18"/>
                  </a:cubicBezTo>
                  <a:cubicBezTo>
                    <a:pt x="167" y="18"/>
                    <a:pt x="167" y="16"/>
                    <a:pt x="167" y="16"/>
                  </a:cubicBezTo>
                  <a:cubicBezTo>
                    <a:pt x="169" y="10"/>
                    <a:pt x="169" y="4"/>
                    <a:pt x="166" y="3"/>
                  </a:cubicBezTo>
                  <a:cubicBezTo>
                    <a:pt x="165" y="2"/>
                    <a:pt x="163" y="2"/>
                    <a:pt x="160" y="2"/>
                  </a:cubicBezTo>
                  <a:cubicBezTo>
                    <a:pt x="159" y="2"/>
                    <a:pt x="158" y="2"/>
                    <a:pt x="157" y="2"/>
                  </a:cubicBezTo>
                  <a:cubicBezTo>
                    <a:pt x="156" y="2"/>
                    <a:pt x="155" y="2"/>
                    <a:pt x="153" y="2"/>
                  </a:cubicBezTo>
                  <a:cubicBezTo>
                    <a:pt x="152" y="2"/>
                    <a:pt x="151" y="2"/>
                    <a:pt x="150" y="2"/>
                  </a:cubicBezTo>
                  <a:cubicBezTo>
                    <a:pt x="148" y="1"/>
                    <a:pt x="148" y="1"/>
                    <a:pt x="148" y="1"/>
                  </a:cubicBezTo>
                  <a:cubicBezTo>
                    <a:pt x="146" y="1"/>
                    <a:pt x="144" y="0"/>
                    <a:pt x="142" y="0"/>
                  </a:cubicBezTo>
                  <a:cubicBezTo>
                    <a:pt x="140" y="0"/>
                    <a:pt x="137" y="1"/>
                    <a:pt x="135" y="4"/>
                  </a:cubicBezTo>
                  <a:cubicBezTo>
                    <a:pt x="135" y="5"/>
                    <a:pt x="135" y="5"/>
                    <a:pt x="135" y="5"/>
                  </a:cubicBezTo>
                  <a:cubicBezTo>
                    <a:pt x="133" y="6"/>
                    <a:pt x="132" y="8"/>
                    <a:pt x="130" y="9"/>
                  </a:cubicBezTo>
                  <a:cubicBezTo>
                    <a:pt x="129" y="9"/>
                    <a:pt x="128" y="9"/>
                    <a:pt x="128" y="9"/>
                  </a:cubicBezTo>
                  <a:cubicBezTo>
                    <a:pt x="126" y="10"/>
                    <a:pt x="124" y="11"/>
                    <a:pt x="122" y="12"/>
                  </a:cubicBezTo>
                  <a:cubicBezTo>
                    <a:pt x="119" y="15"/>
                    <a:pt x="115" y="17"/>
                    <a:pt x="112" y="18"/>
                  </a:cubicBezTo>
                  <a:cubicBezTo>
                    <a:pt x="111" y="19"/>
                    <a:pt x="110" y="19"/>
                    <a:pt x="110" y="19"/>
                  </a:cubicBezTo>
                  <a:cubicBezTo>
                    <a:pt x="107" y="20"/>
                    <a:pt x="105" y="20"/>
                    <a:pt x="104" y="23"/>
                  </a:cubicBezTo>
                  <a:cubicBezTo>
                    <a:pt x="104" y="23"/>
                    <a:pt x="104" y="24"/>
                    <a:pt x="104" y="25"/>
                  </a:cubicBezTo>
                  <a:cubicBezTo>
                    <a:pt x="104" y="27"/>
                    <a:pt x="104" y="28"/>
                    <a:pt x="102" y="29"/>
                  </a:cubicBezTo>
                  <a:cubicBezTo>
                    <a:pt x="102" y="29"/>
                    <a:pt x="101" y="29"/>
                    <a:pt x="101" y="29"/>
                  </a:cubicBezTo>
                  <a:cubicBezTo>
                    <a:pt x="100" y="29"/>
                    <a:pt x="98" y="28"/>
                    <a:pt x="96" y="27"/>
                  </a:cubicBezTo>
                  <a:cubicBezTo>
                    <a:pt x="94" y="26"/>
                    <a:pt x="93" y="26"/>
                    <a:pt x="92" y="26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88" y="27"/>
                    <a:pt x="83" y="29"/>
                    <a:pt x="81" y="31"/>
                  </a:cubicBezTo>
                  <a:cubicBezTo>
                    <a:pt x="78" y="34"/>
                    <a:pt x="78" y="37"/>
                    <a:pt x="77" y="40"/>
                  </a:cubicBezTo>
                  <a:cubicBezTo>
                    <a:pt x="77" y="41"/>
                    <a:pt x="77" y="42"/>
                    <a:pt x="77" y="43"/>
                  </a:cubicBezTo>
                  <a:cubicBezTo>
                    <a:pt x="76" y="46"/>
                    <a:pt x="76" y="46"/>
                    <a:pt x="75" y="46"/>
                  </a:cubicBezTo>
                  <a:cubicBezTo>
                    <a:pt x="75" y="46"/>
                    <a:pt x="75" y="47"/>
                    <a:pt x="75" y="47"/>
                  </a:cubicBezTo>
                  <a:cubicBezTo>
                    <a:pt x="74" y="47"/>
                    <a:pt x="73" y="46"/>
                    <a:pt x="73" y="46"/>
                  </a:cubicBezTo>
                  <a:cubicBezTo>
                    <a:pt x="72" y="46"/>
                    <a:pt x="71" y="45"/>
                    <a:pt x="70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51"/>
                    <a:pt x="68" y="54"/>
                    <a:pt x="67" y="56"/>
                  </a:cubicBezTo>
                  <a:cubicBezTo>
                    <a:pt x="67" y="58"/>
                    <a:pt x="66" y="58"/>
                    <a:pt x="66" y="58"/>
                  </a:cubicBezTo>
                  <a:cubicBezTo>
                    <a:pt x="65" y="58"/>
                    <a:pt x="65" y="58"/>
                    <a:pt x="64" y="59"/>
                  </a:cubicBezTo>
                  <a:cubicBezTo>
                    <a:pt x="64" y="59"/>
                    <a:pt x="63" y="59"/>
                    <a:pt x="63" y="60"/>
                  </a:cubicBezTo>
                  <a:cubicBezTo>
                    <a:pt x="62" y="61"/>
                    <a:pt x="61" y="62"/>
                    <a:pt x="61" y="62"/>
                  </a:cubicBezTo>
                  <a:cubicBezTo>
                    <a:pt x="60" y="62"/>
                    <a:pt x="60" y="62"/>
                    <a:pt x="60" y="62"/>
                  </a:cubicBezTo>
                  <a:cubicBezTo>
                    <a:pt x="58" y="62"/>
                    <a:pt x="56" y="59"/>
                    <a:pt x="54" y="57"/>
                  </a:cubicBezTo>
                  <a:cubicBezTo>
                    <a:pt x="53" y="55"/>
                    <a:pt x="51" y="54"/>
                    <a:pt x="50" y="53"/>
                  </a:cubicBezTo>
                  <a:cubicBezTo>
                    <a:pt x="49" y="53"/>
                    <a:pt x="49" y="53"/>
                    <a:pt x="48" y="53"/>
                  </a:cubicBezTo>
                  <a:cubicBezTo>
                    <a:pt x="47" y="53"/>
                    <a:pt x="46" y="53"/>
                    <a:pt x="45" y="54"/>
                  </a:cubicBezTo>
                  <a:cubicBezTo>
                    <a:pt x="41" y="56"/>
                    <a:pt x="37" y="61"/>
                    <a:pt x="37" y="64"/>
                  </a:cubicBezTo>
                  <a:cubicBezTo>
                    <a:pt x="37" y="66"/>
                    <a:pt x="38" y="68"/>
                    <a:pt x="39" y="69"/>
                  </a:cubicBezTo>
                  <a:cubicBezTo>
                    <a:pt x="40" y="71"/>
                    <a:pt x="41" y="73"/>
                    <a:pt x="40" y="76"/>
                  </a:cubicBezTo>
                  <a:cubicBezTo>
                    <a:pt x="39" y="76"/>
                    <a:pt x="38" y="76"/>
                    <a:pt x="38" y="76"/>
                  </a:cubicBezTo>
                  <a:cubicBezTo>
                    <a:pt x="37" y="76"/>
                    <a:pt x="36" y="76"/>
                    <a:pt x="35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9"/>
                    <a:pt x="34" y="80"/>
                    <a:pt x="34" y="81"/>
                  </a:cubicBezTo>
                  <a:cubicBezTo>
                    <a:pt x="34" y="83"/>
                    <a:pt x="35" y="85"/>
                    <a:pt x="34" y="88"/>
                  </a:cubicBezTo>
                  <a:cubicBezTo>
                    <a:pt x="33" y="90"/>
                    <a:pt x="31" y="92"/>
                    <a:pt x="29" y="95"/>
                  </a:cubicBezTo>
                  <a:cubicBezTo>
                    <a:pt x="28" y="96"/>
                    <a:pt x="28" y="96"/>
                    <a:pt x="28" y="96"/>
                  </a:cubicBezTo>
                  <a:cubicBezTo>
                    <a:pt x="26" y="100"/>
                    <a:pt x="22" y="100"/>
                    <a:pt x="18" y="101"/>
                  </a:cubicBezTo>
                  <a:cubicBezTo>
                    <a:pt x="16" y="102"/>
                    <a:pt x="14" y="102"/>
                    <a:pt x="11" y="103"/>
                  </a:cubicBezTo>
                  <a:cubicBezTo>
                    <a:pt x="6" y="106"/>
                    <a:pt x="8" y="110"/>
                    <a:pt x="9" y="113"/>
                  </a:cubicBezTo>
                  <a:cubicBezTo>
                    <a:pt x="10" y="116"/>
                    <a:pt x="11" y="118"/>
                    <a:pt x="10" y="120"/>
                  </a:cubicBezTo>
                  <a:cubicBezTo>
                    <a:pt x="10" y="124"/>
                    <a:pt x="9" y="128"/>
                    <a:pt x="8" y="130"/>
                  </a:cubicBezTo>
                  <a:cubicBezTo>
                    <a:pt x="7" y="131"/>
                    <a:pt x="6" y="131"/>
                    <a:pt x="5" y="132"/>
                  </a:cubicBezTo>
                  <a:cubicBezTo>
                    <a:pt x="3" y="132"/>
                    <a:pt x="3" y="134"/>
                    <a:pt x="3" y="136"/>
                  </a:cubicBezTo>
                  <a:cubicBezTo>
                    <a:pt x="3" y="137"/>
                    <a:pt x="3" y="138"/>
                    <a:pt x="3" y="140"/>
                  </a:cubicBezTo>
                  <a:cubicBezTo>
                    <a:pt x="3" y="142"/>
                    <a:pt x="3" y="144"/>
                    <a:pt x="3" y="146"/>
                  </a:cubicBezTo>
                  <a:cubicBezTo>
                    <a:pt x="3" y="148"/>
                    <a:pt x="2" y="149"/>
                    <a:pt x="2" y="151"/>
                  </a:cubicBezTo>
                  <a:cubicBezTo>
                    <a:pt x="1" y="152"/>
                    <a:pt x="1" y="153"/>
                    <a:pt x="1" y="154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2" y="156"/>
                    <a:pt x="2" y="156"/>
                    <a:pt x="2" y="156"/>
                  </a:cubicBezTo>
                  <a:cubicBezTo>
                    <a:pt x="3" y="157"/>
                    <a:pt x="4" y="157"/>
                    <a:pt x="5" y="157"/>
                  </a:cubicBezTo>
                  <a:cubicBezTo>
                    <a:pt x="6" y="157"/>
                    <a:pt x="6" y="157"/>
                    <a:pt x="7" y="157"/>
                  </a:cubicBezTo>
                  <a:cubicBezTo>
                    <a:pt x="13" y="158"/>
                    <a:pt x="18" y="168"/>
                    <a:pt x="20" y="171"/>
                  </a:cubicBezTo>
                  <a:cubicBezTo>
                    <a:pt x="21" y="175"/>
                    <a:pt x="22" y="175"/>
                    <a:pt x="25" y="176"/>
                  </a:cubicBezTo>
                  <a:cubicBezTo>
                    <a:pt x="26" y="176"/>
                    <a:pt x="26" y="176"/>
                    <a:pt x="27" y="176"/>
                  </a:cubicBezTo>
                  <a:cubicBezTo>
                    <a:pt x="28" y="176"/>
                    <a:pt x="29" y="177"/>
                    <a:pt x="31" y="178"/>
                  </a:cubicBezTo>
                  <a:cubicBezTo>
                    <a:pt x="32" y="180"/>
                    <a:pt x="33" y="180"/>
                    <a:pt x="34" y="180"/>
                  </a:cubicBezTo>
                  <a:cubicBezTo>
                    <a:pt x="34" y="180"/>
                    <a:pt x="34" y="180"/>
                    <a:pt x="34" y="180"/>
                  </a:cubicBezTo>
                  <a:cubicBezTo>
                    <a:pt x="35" y="180"/>
                    <a:pt x="35" y="180"/>
                    <a:pt x="35" y="180"/>
                  </a:cubicBezTo>
                  <a:cubicBezTo>
                    <a:pt x="36" y="180"/>
                    <a:pt x="37" y="179"/>
                    <a:pt x="39" y="177"/>
                  </a:cubicBezTo>
                  <a:cubicBezTo>
                    <a:pt x="40" y="176"/>
                    <a:pt x="41" y="174"/>
                    <a:pt x="42" y="174"/>
                  </a:cubicBezTo>
                  <a:cubicBezTo>
                    <a:pt x="43" y="173"/>
                    <a:pt x="44" y="173"/>
                    <a:pt x="45" y="173"/>
                  </a:cubicBezTo>
                  <a:cubicBezTo>
                    <a:pt x="47" y="171"/>
                    <a:pt x="49" y="170"/>
                    <a:pt x="52" y="170"/>
                  </a:cubicBezTo>
                  <a:cubicBezTo>
                    <a:pt x="54" y="169"/>
                    <a:pt x="56" y="169"/>
                    <a:pt x="59" y="169"/>
                  </a:cubicBezTo>
                  <a:cubicBezTo>
                    <a:pt x="64" y="169"/>
                    <a:pt x="68" y="171"/>
                    <a:pt x="71" y="174"/>
                  </a:cubicBezTo>
                  <a:cubicBezTo>
                    <a:pt x="73" y="176"/>
                    <a:pt x="75" y="178"/>
                    <a:pt x="77" y="180"/>
                  </a:cubicBezTo>
                  <a:cubicBezTo>
                    <a:pt x="80" y="185"/>
                    <a:pt x="80" y="185"/>
                    <a:pt x="80" y="185"/>
                  </a:cubicBezTo>
                  <a:cubicBezTo>
                    <a:pt x="80" y="155"/>
                    <a:pt x="80" y="155"/>
                    <a:pt x="80" y="155"/>
                  </a:cubicBezTo>
                  <a:cubicBezTo>
                    <a:pt x="80" y="155"/>
                    <a:pt x="80" y="155"/>
                    <a:pt x="80" y="155"/>
                  </a:cubicBezTo>
                  <a:cubicBezTo>
                    <a:pt x="73" y="148"/>
                    <a:pt x="80" y="135"/>
                    <a:pt x="80" y="135"/>
                  </a:cubicBezTo>
                  <a:cubicBezTo>
                    <a:pt x="144" y="137"/>
                    <a:pt x="144" y="137"/>
                    <a:pt x="144" y="137"/>
                  </a:cubicBezTo>
                  <a:cubicBezTo>
                    <a:pt x="155" y="129"/>
                    <a:pt x="155" y="129"/>
                    <a:pt x="155" y="129"/>
                  </a:cubicBezTo>
                  <a:cubicBezTo>
                    <a:pt x="163" y="132"/>
                    <a:pt x="163" y="132"/>
                    <a:pt x="163" y="132"/>
                  </a:cubicBezTo>
                  <a:cubicBezTo>
                    <a:pt x="163" y="133"/>
                    <a:pt x="163" y="133"/>
                    <a:pt x="163" y="133"/>
                  </a:cubicBezTo>
                  <a:cubicBezTo>
                    <a:pt x="163" y="133"/>
                    <a:pt x="163" y="133"/>
                    <a:pt x="163" y="133"/>
                  </a:cubicBezTo>
                  <a:cubicBezTo>
                    <a:pt x="165" y="133"/>
                    <a:pt x="165" y="133"/>
                    <a:pt x="165" y="133"/>
                  </a:cubicBezTo>
                  <a:cubicBezTo>
                    <a:pt x="167" y="133"/>
                    <a:pt x="169" y="133"/>
                    <a:pt x="170" y="134"/>
                  </a:cubicBezTo>
                  <a:cubicBezTo>
                    <a:pt x="171" y="134"/>
                    <a:pt x="172" y="134"/>
                    <a:pt x="173" y="135"/>
                  </a:cubicBezTo>
                  <a:cubicBezTo>
                    <a:pt x="174" y="136"/>
                    <a:pt x="175" y="136"/>
                    <a:pt x="176" y="137"/>
                  </a:cubicBezTo>
                  <a:cubicBezTo>
                    <a:pt x="177" y="137"/>
                    <a:pt x="177" y="137"/>
                    <a:pt x="177" y="137"/>
                  </a:cubicBezTo>
                  <a:cubicBezTo>
                    <a:pt x="178" y="137"/>
                    <a:pt x="180" y="136"/>
                    <a:pt x="181" y="136"/>
                  </a:cubicBezTo>
                  <a:cubicBezTo>
                    <a:pt x="182" y="136"/>
                    <a:pt x="183" y="136"/>
                    <a:pt x="183" y="136"/>
                  </a:cubicBezTo>
                  <a:cubicBezTo>
                    <a:pt x="186" y="136"/>
                    <a:pt x="187" y="135"/>
                    <a:pt x="188" y="133"/>
                  </a:cubicBezTo>
                  <a:cubicBezTo>
                    <a:pt x="189" y="133"/>
                    <a:pt x="189" y="132"/>
                    <a:pt x="190" y="132"/>
                  </a:cubicBezTo>
                  <a:cubicBezTo>
                    <a:pt x="191" y="131"/>
                    <a:pt x="191" y="129"/>
                    <a:pt x="193" y="129"/>
                  </a:cubicBezTo>
                  <a:cubicBezTo>
                    <a:pt x="193" y="128"/>
                    <a:pt x="194" y="128"/>
                    <a:pt x="195" y="127"/>
                  </a:cubicBezTo>
                  <a:cubicBezTo>
                    <a:pt x="196" y="127"/>
                    <a:pt x="197" y="126"/>
                    <a:pt x="198" y="126"/>
                  </a:cubicBezTo>
                  <a:cubicBezTo>
                    <a:pt x="199" y="125"/>
                    <a:pt x="199" y="124"/>
                    <a:pt x="199" y="123"/>
                  </a:cubicBezTo>
                  <a:cubicBezTo>
                    <a:pt x="200" y="122"/>
                    <a:pt x="200" y="121"/>
                    <a:pt x="201" y="121"/>
                  </a:cubicBezTo>
                  <a:cubicBezTo>
                    <a:pt x="201" y="120"/>
                    <a:pt x="202" y="119"/>
                    <a:pt x="203" y="119"/>
                  </a:cubicBezTo>
                  <a:cubicBezTo>
                    <a:pt x="204" y="119"/>
                    <a:pt x="205" y="120"/>
                    <a:pt x="205" y="120"/>
                  </a:cubicBezTo>
                  <a:cubicBezTo>
                    <a:pt x="205" y="121"/>
                    <a:pt x="205" y="121"/>
                    <a:pt x="205" y="121"/>
                  </a:cubicBezTo>
                  <a:cubicBezTo>
                    <a:pt x="206" y="121"/>
                    <a:pt x="206" y="121"/>
                    <a:pt x="206" y="121"/>
                  </a:cubicBezTo>
                  <a:cubicBezTo>
                    <a:pt x="206" y="121"/>
                    <a:pt x="207" y="121"/>
                    <a:pt x="208" y="121"/>
                  </a:cubicBezTo>
                  <a:cubicBezTo>
                    <a:pt x="208" y="121"/>
                    <a:pt x="209" y="121"/>
                    <a:pt x="209" y="121"/>
                  </a:cubicBezTo>
                  <a:cubicBezTo>
                    <a:pt x="210" y="121"/>
                    <a:pt x="210" y="121"/>
                    <a:pt x="211" y="121"/>
                  </a:cubicBezTo>
                  <a:cubicBezTo>
                    <a:pt x="212" y="121"/>
                    <a:pt x="213" y="121"/>
                    <a:pt x="214" y="121"/>
                  </a:cubicBezTo>
                  <a:cubicBezTo>
                    <a:pt x="214" y="122"/>
                    <a:pt x="215" y="122"/>
                    <a:pt x="216" y="122"/>
                  </a:cubicBezTo>
                  <a:cubicBezTo>
                    <a:pt x="216" y="122"/>
                    <a:pt x="217" y="122"/>
                    <a:pt x="217" y="122"/>
                  </a:cubicBezTo>
                  <a:cubicBezTo>
                    <a:pt x="217" y="121"/>
                    <a:pt x="217" y="121"/>
                    <a:pt x="217" y="121"/>
                  </a:cubicBezTo>
                  <a:cubicBezTo>
                    <a:pt x="221" y="119"/>
                    <a:pt x="222" y="118"/>
                    <a:pt x="224" y="115"/>
                  </a:cubicBezTo>
                  <a:cubicBezTo>
                    <a:pt x="225" y="114"/>
                    <a:pt x="226" y="113"/>
                    <a:pt x="227" y="112"/>
                  </a:cubicBezTo>
                  <a:cubicBezTo>
                    <a:pt x="228" y="111"/>
                    <a:pt x="229" y="109"/>
                    <a:pt x="230" y="107"/>
                  </a:cubicBezTo>
                  <a:cubicBezTo>
                    <a:pt x="231" y="104"/>
                    <a:pt x="229" y="102"/>
                    <a:pt x="227" y="10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4" name="Freeform 34"/>
            <p:cNvSpPr>
              <a:spLocks/>
            </p:cNvSpPr>
            <p:nvPr/>
          </p:nvSpPr>
          <p:spPr bwMode="auto">
            <a:xfrm>
              <a:off x="2753329" y="1083396"/>
              <a:ext cx="618276" cy="982147"/>
            </a:xfrm>
            <a:custGeom>
              <a:avLst/>
              <a:gdLst>
                <a:gd name="T0" fmla="*/ 304 w 305"/>
                <a:gd name="T1" fmla="*/ 232 h 527"/>
                <a:gd name="T2" fmla="*/ 302 w 305"/>
                <a:gd name="T3" fmla="*/ 129 h 527"/>
                <a:gd name="T4" fmla="*/ 49 w 305"/>
                <a:gd name="T5" fmla="*/ 61 h 527"/>
                <a:gd name="T6" fmla="*/ 73 w 305"/>
                <a:gd name="T7" fmla="*/ 102 h 527"/>
                <a:gd name="T8" fmla="*/ 46 w 305"/>
                <a:gd name="T9" fmla="*/ 230 h 527"/>
                <a:gd name="T10" fmla="*/ 15 w 305"/>
                <a:gd name="T11" fmla="*/ 275 h 527"/>
                <a:gd name="T12" fmla="*/ 0 w 305"/>
                <a:gd name="T13" fmla="*/ 294 h 527"/>
                <a:gd name="T14" fmla="*/ 5 w 305"/>
                <a:gd name="T15" fmla="*/ 321 h 527"/>
                <a:gd name="T16" fmla="*/ 14 w 305"/>
                <a:gd name="T17" fmla="*/ 332 h 527"/>
                <a:gd name="T18" fmla="*/ 25 w 305"/>
                <a:gd name="T19" fmla="*/ 341 h 527"/>
                <a:gd name="T20" fmla="*/ 37 w 305"/>
                <a:gd name="T21" fmla="*/ 355 h 527"/>
                <a:gd name="T22" fmla="*/ 47 w 305"/>
                <a:gd name="T23" fmla="*/ 398 h 527"/>
                <a:gd name="T24" fmla="*/ 62 w 305"/>
                <a:gd name="T25" fmla="*/ 440 h 527"/>
                <a:gd name="T26" fmla="*/ 58 w 305"/>
                <a:gd name="T27" fmla="*/ 444 h 527"/>
                <a:gd name="T28" fmla="*/ 41 w 305"/>
                <a:gd name="T29" fmla="*/ 443 h 527"/>
                <a:gd name="T30" fmla="*/ 27 w 305"/>
                <a:gd name="T31" fmla="*/ 442 h 527"/>
                <a:gd name="T32" fmla="*/ 17 w 305"/>
                <a:gd name="T33" fmla="*/ 455 h 527"/>
                <a:gd name="T34" fmla="*/ 39 w 305"/>
                <a:gd name="T35" fmla="*/ 481 h 527"/>
                <a:gd name="T36" fmla="*/ 62 w 305"/>
                <a:gd name="T37" fmla="*/ 522 h 527"/>
                <a:gd name="T38" fmla="*/ 70 w 305"/>
                <a:gd name="T39" fmla="*/ 526 h 527"/>
                <a:gd name="T40" fmla="*/ 74 w 305"/>
                <a:gd name="T41" fmla="*/ 526 h 527"/>
                <a:gd name="T42" fmla="*/ 81 w 305"/>
                <a:gd name="T43" fmla="*/ 522 h 527"/>
                <a:gd name="T44" fmla="*/ 91 w 305"/>
                <a:gd name="T45" fmla="*/ 515 h 527"/>
                <a:gd name="T46" fmla="*/ 97 w 305"/>
                <a:gd name="T47" fmla="*/ 521 h 527"/>
                <a:gd name="T48" fmla="*/ 102 w 305"/>
                <a:gd name="T49" fmla="*/ 523 h 527"/>
                <a:gd name="T50" fmla="*/ 117 w 305"/>
                <a:gd name="T51" fmla="*/ 514 h 527"/>
                <a:gd name="T52" fmla="*/ 139 w 305"/>
                <a:gd name="T53" fmla="*/ 508 h 527"/>
                <a:gd name="T54" fmla="*/ 148 w 305"/>
                <a:gd name="T55" fmla="*/ 507 h 527"/>
                <a:gd name="T56" fmla="*/ 153 w 305"/>
                <a:gd name="T57" fmla="*/ 507 h 527"/>
                <a:gd name="T58" fmla="*/ 156 w 305"/>
                <a:gd name="T59" fmla="*/ 502 h 527"/>
                <a:gd name="T60" fmla="*/ 165 w 305"/>
                <a:gd name="T61" fmla="*/ 491 h 527"/>
                <a:gd name="T62" fmla="*/ 161 w 305"/>
                <a:gd name="T63" fmla="*/ 481 h 527"/>
                <a:gd name="T64" fmla="*/ 187 w 305"/>
                <a:gd name="T65" fmla="*/ 475 h 527"/>
                <a:gd name="T66" fmla="*/ 201 w 305"/>
                <a:gd name="T67" fmla="*/ 472 h 527"/>
                <a:gd name="T68" fmla="*/ 206 w 305"/>
                <a:gd name="T69" fmla="*/ 471 h 527"/>
                <a:gd name="T70" fmla="*/ 211 w 305"/>
                <a:gd name="T71" fmla="*/ 466 h 527"/>
                <a:gd name="T72" fmla="*/ 221 w 305"/>
                <a:gd name="T73" fmla="*/ 454 h 527"/>
                <a:gd name="T74" fmla="*/ 231 w 305"/>
                <a:gd name="T75" fmla="*/ 445 h 527"/>
                <a:gd name="T76" fmla="*/ 238 w 305"/>
                <a:gd name="T77" fmla="*/ 436 h 527"/>
                <a:gd name="T78" fmla="*/ 250 w 305"/>
                <a:gd name="T79" fmla="*/ 418 h 527"/>
                <a:gd name="T80" fmla="*/ 258 w 305"/>
                <a:gd name="T81" fmla="*/ 414 h 527"/>
                <a:gd name="T82" fmla="*/ 274 w 305"/>
                <a:gd name="T83" fmla="*/ 412 h 527"/>
                <a:gd name="T84" fmla="*/ 276 w 305"/>
                <a:gd name="T85" fmla="*/ 411 h 527"/>
                <a:gd name="T86" fmla="*/ 267 w 305"/>
                <a:gd name="T87" fmla="*/ 391 h 527"/>
                <a:gd name="T88" fmla="*/ 261 w 305"/>
                <a:gd name="T89" fmla="*/ 363 h 527"/>
                <a:gd name="T90" fmla="*/ 253 w 305"/>
                <a:gd name="T91" fmla="*/ 354 h 527"/>
                <a:gd name="T92" fmla="*/ 246 w 305"/>
                <a:gd name="T93" fmla="*/ 350 h 527"/>
                <a:gd name="T94" fmla="*/ 255 w 305"/>
                <a:gd name="T95" fmla="*/ 328 h 527"/>
                <a:gd name="T96" fmla="*/ 261 w 305"/>
                <a:gd name="T97" fmla="*/ 309 h 527"/>
                <a:gd name="T98" fmla="*/ 263 w 305"/>
                <a:gd name="T99" fmla="*/ 292 h 527"/>
                <a:gd name="T100" fmla="*/ 272 w 305"/>
                <a:gd name="T101" fmla="*/ 278 h 527"/>
                <a:gd name="T102" fmla="*/ 281 w 305"/>
                <a:gd name="T103" fmla="*/ 257 h 527"/>
                <a:gd name="T104" fmla="*/ 296 w 305"/>
                <a:gd name="T105" fmla="*/ 254 h 527"/>
                <a:gd name="T106" fmla="*/ 304 w 305"/>
                <a:gd name="T107" fmla="*/ 254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5" h="527">
                  <a:moveTo>
                    <a:pt x="305" y="248"/>
                  </a:moveTo>
                  <a:cubicBezTo>
                    <a:pt x="305" y="248"/>
                    <a:pt x="305" y="247"/>
                    <a:pt x="305" y="247"/>
                  </a:cubicBezTo>
                  <a:cubicBezTo>
                    <a:pt x="305" y="243"/>
                    <a:pt x="305" y="240"/>
                    <a:pt x="304" y="237"/>
                  </a:cubicBezTo>
                  <a:cubicBezTo>
                    <a:pt x="304" y="232"/>
                    <a:pt x="304" y="232"/>
                    <a:pt x="304" y="232"/>
                  </a:cubicBezTo>
                  <a:cubicBezTo>
                    <a:pt x="304" y="210"/>
                    <a:pt x="303" y="187"/>
                    <a:pt x="303" y="167"/>
                  </a:cubicBezTo>
                  <a:cubicBezTo>
                    <a:pt x="302" y="158"/>
                    <a:pt x="302" y="158"/>
                    <a:pt x="302" y="158"/>
                  </a:cubicBezTo>
                  <a:cubicBezTo>
                    <a:pt x="302" y="149"/>
                    <a:pt x="302" y="139"/>
                    <a:pt x="302" y="130"/>
                  </a:cubicBezTo>
                  <a:cubicBezTo>
                    <a:pt x="302" y="129"/>
                    <a:pt x="302" y="129"/>
                    <a:pt x="302" y="129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48" y="35"/>
                    <a:pt x="49" y="57"/>
                    <a:pt x="49" y="61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68" y="117"/>
                    <a:pt x="68" y="117"/>
                    <a:pt x="68" y="117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58" y="218"/>
                    <a:pt x="56" y="220"/>
                    <a:pt x="54" y="222"/>
                  </a:cubicBezTo>
                  <a:cubicBezTo>
                    <a:pt x="51" y="224"/>
                    <a:pt x="48" y="227"/>
                    <a:pt x="46" y="230"/>
                  </a:cubicBezTo>
                  <a:cubicBezTo>
                    <a:pt x="44" y="232"/>
                    <a:pt x="42" y="235"/>
                    <a:pt x="40" y="238"/>
                  </a:cubicBezTo>
                  <a:cubicBezTo>
                    <a:pt x="36" y="245"/>
                    <a:pt x="31" y="253"/>
                    <a:pt x="26" y="259"/>
                  </a:cubicBezTo>
                  <a:cubicBezTo>
                    <a:pt x="23" y="262"/>
                    <a:pt x="21" y="265"/>
                    <a:pt x="19" y="268"/>
                  </a:cubicBezTo>
                  <a:cubicBezTo>
                    <a:pt x="18" y="270"/>
                    <a:pt x="16" y="272"/>
                    <a:pt x="15" y="275"/>
                  </a:cubicBezTo>
                  <a:cubicBezTo>
                    <a:pt x="12" y="278"/>
                    <a:pt x="11" y="282"/>
                    <a:pt x="10" y="286"/>
                  </a:cubicBezTo>
                  <a:cubicBezTo>
                    <a:pt x="9" y="287"/>
                    <a:pt x="9" y="289"/>
                    <a:pt x="8" y="290"/>
                  </a:cubicBezTo>
                  <a:cubicBezTo>
                    <a:pt x="7" y="294"/>
                    <a:pt x="6" y="294"/>
                    <a:pt x="3" y="294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0" y="299"/>
                    <a:pt x="2" y="303"/>
                    <a:pt x="3" y="306"/>
                  </a:cubicBezTo>
                  <a:cubicBezTo>
                    <a:pt x="5" y="311"/>
                    <a:pt x="7" y="315"/>
                    <a:pt x="5" y="319"/>
                  </a:cubicBezTo>
                  <a:cubicBezTo>
                    <a:pt x="5" y="321"/>
                    <a:pt x="5" y="321"/>
                    <a:pt x="5" y="321"/>
                  </a:cubicBezTo>
                  <a:cubicBezTo>
                    <a:pt x="6" y="322"/>
                    <a:pt x="6" y="322"/>
                    <a:pt x="6" y="322"/>
                  </a:cubicBezTo>
                  <a:cubicBezTo>
                    <a:pt x="7" y="323"/>
                    <a:pt x="9" y="324"/>
                    <a:pt x="10" y="326"/>
                  </a:cubicBezTo>
                  <a:cubicBezTo>
                    <a:pt x="11" y="327"/>
                    <a:pt x="11" y="328"/>
                    <a:pt x="12" y="329"/>
                  </a:cubicBezTo>
                  <a:cubicBezTo>
                    <a:pt x="13" y="330"/>
                    <a:pt x="13" y="331"/>
                    <a:pt x="14" y="332"/>
                  </a:cubicBezTo>
                  <a:cubicBezTo>
                    <a:pt x="16" y="335"/>
                    <a:pt x="18" y="337"/>
                    <a:pt x="19" y="340"/>
                  </a:cubicBezTo>
                  <a:cubicBezTo>
                    <a:pt x="20" y="342"/>
                    <a:pt x="20" y="342"/>
                    <a:pt x="20" y="342"/>
                  </a:cubicBezTo>
                  <a:cubicBezTo>
                    <a:pt x="22" y="341"/>
                    <a:pt x="22" y="341"/>
                    <a:pt x="22" y="341"/>
                  </a:cubicBezTo>
                  <a:cubicBezTo>
                    <a:pt x="23" y="341"/>
                    <a:pt x="24" y="341"/>
                    <a:pt x="25" y="341"/>
                  </a:cubicBezTo>
                  <a:cubicBezTo>
                    <a:pt x="28" y="341"/>
                    <a:pt x="30" y="342"/>
                    <a:pt x="31" y="344"/>
                  </a:cubicBezTo>
                  <a:cubicBezTo>
                    <a:pt x="32" y="345"/>
                    <a:pt x="32" y="347"/>
                    <a:pt x="32" y="348"/>
                  </a:cubicBezTo>
                  <a:cubicBezTo>
                    <a:pt x="33" y="350"/>
                    <a:pt x="33" y="352"/>
                    <a:pt x="36" y="354"/>
                  </a:cubicBezTo>
                  <a:cubicBezTo>
                    <a:pt x="37" y="355"/>
                    <a:pt x="37" y="355"/>
                    <a:pt x="37" y="355"/>
                  </a:cubicBezTo>
                  <a:cubicBezTo>
                    <a:pt x="40" y="357"/>
                    <a:pt x="41" y="358"/>
                    <a:pt x="42" y="363"/>
                  </a:cubicBezTo>
                  <a:cubicBezTo>
                    <a:pt x="42" y="364"/>
                    <a:pt x="42" y="365"/>
                    <a:pt x="42" y="366"/>
                  </a:cubicBezTo>
                  <a:cubicBezTo>
                    <a:pt x="43" y="369"/>
                    <a:pt x="43" y="372"/>
                    <a:pt x="44" y="374"/>
                  </a:cubicBezTo>
                  <a:cubicBezTo>
                    <a:pt x="47" y="382"/>
                    <a:pt x="50" y="389"/>
                    <a:pt x="47" y="398"/>
                  </a:cubicBezTo>
                  <a:cubicBezTo>
                    <a:pt x="46" y="402"/>
                    <a:pt x="45" y="405"/>
                    <a:pt x="47" y="410"/>
                  </a:cubicBezTo>
                  <a:cubicBezTo>
                    <a:pt x="48" y="414"/>
                    <a:pt x="49" y="417"/>
                    <a:pt x="49" y="421"/>
                  </a:cubicBezTo>
                  <a:cubicBezTo>
                    <a:pt x="50" y="427"/>
                    <a:pt x="54" y="434"/>
                    <a:pt x="60" y="439"/>
                  </a:cubicBezTo>
                  <a:cubicBezTo>
                    <a:pt x="60" y="439"/>
                    <a:pt x="61" y="439"/>
                    <a:pt x="62" y="440"/>
                  </a:cubicBezTo>
                  <a:cubicBezTo>
                    <a:pt x="63" y="440"/>
                    <a:pt x="64" y="441"/>
                    <a:pt x="65" y="442"/>
                  </a:cubicBezTo>
                  <a:cubicBezTo>
                    <a:pt x="65" y="443"/>
                    <a:pt x="64" y="443"/>
                    <a:pt x="64" y="444"/>
                  </a:cubicBezTo>
                  <a:cubicBezTo>
                    <a:pt x="63" y="444"/>
                    <a:pt x="63" y="445"/>
                    <a:pt x="62" y="445"/>
                  </a:cubicBezTo>
                  <a:cubicBezTo>
                    <a:pt x="61" y="445"/>
                    <a:pt x="59" y="444"/>
                    <a:pt x="58" y="444"/>
                  </a:cubicBezTo>
                  <a:cubicBezTo>
                    <a:pt x="57" y="443"/>
                    <a:pt x="57" y="443"/>
                    <a:pt x="57" y="443"/>
                  </a:cubicBezTo>
                  <a:cubicBezTo>
                    <a:pt x="55" y="442"/>
                    <a:pt x="53" y="442"/>
                    <a:pt x="50" y="442"/>
                  </a:cubicBezTo>
                  <a:cubicBezTo>
                    <a:pt x="49" y="442"/>
                    <a:pt x="48" y="442"/>
                    <a:pt x="47" y="442"/>
                  </a:cubicBezTo>
                  <a:cubicBezTo>
                    <a:pt x="45" y="443"/>
                    <a:pt x="43" y="443"/>
                    <a:pt x="41" y="443"/>
                  </a:cubicBezTo>
                  <a:cubicBezTo>
                    <a:pt x="40" y="443"/>
                    <a:pt x="39" y="443"/>
                    <a:pt x="38" y="442"/>
                  </a:cubicBezTo>
                  <a:cubicBezTo>
                    <a:pt x="36" y="442"/>
                    <a:pt x="36" y="442"/>
                    <a:pt x="36" y="442"/>
                  </a:cubicBezTo>
                  <a:cubicBezTo>
                    <a:pt x="34" y="442"/>
                    <a:pt x="32" y="441"/>
                    <a:pt x="30" y="441"/>
                  </a:cubicBezTo>
                  <a:cubicBezTo>
                    <a:pt x="29" y="441"/>
                    <a:pt x="28" y="441"/>
                    <a:pt x="27" y="442"/>
                  </a:cubicBezTo>
                  <a:cubicBezTo>
                    <a:pt x="25" y="443"/>
                    <a:pt x="24" y="445"/>
                    <a:pt x="23" y="447"/>
                  </a:cubicBezTo>
                  <a:cubicBezTo>
                    <a:pt x="22" y="447"/>
                    <a:pt x="22" y="448"/>
                    <a:pt x="21" y="449"/>
                  </a:cubicBezTo>
                  <a:cubicBezTo>
                    <a:pt x="21" y="450"/>
                    <a:pt x="20" y="450"/>
                    <a:pt x="19" y="451"/>
                  </a:cubicBezTo>
                  <a:cubicBezTo>
                    <a:pt x="18" y="452"/>
                    <a:pt x="16" y="453"/>
                    <a:pt x="17" y="455"/>
                  </a:cubicBezTo>
                  <a:cubicBezTo>
                    <a:pt x="17" y="457"/>
                    <a:pt x="19" y="458"/>
                    <a:pt x="20" y="460"/>
                  </a:cubicBezTo>
                  <a:cubicBezTo>
                    <a:pt x="21" y="460"/>
                    <a:pt x="21" y="461"/>
                    <a:pt x="22" y="461"/>
                  </a:cubicBezTo>
                  <a:cubicBezTo>
                    <a:pt x="23" y="463"/>
                    <a:pt x="25" y="465"/>
                    <a:pt x="27" y="467"/>
                  </a:cubicBezTo>
                  <a:cubicBezTo>
                    <a:pt x="31" y="472"/>
                    <a:pt x="34" y="477"/>
                    <a:pt x="39" y="481"/>
                  </a:cubicBezTo>
                  <a:cubicBezTo>
                    <a:pt x="41" y="482"/>
                    <a:pt x="42" y="482"/>
                    <a:pt x="43" y="483"/>
                  </a:cubicBezTo>
                  <a:cubicBezTo>
                    <a:pt x="46" y="485"/>
                    <a:pt x="49" y="487"/>
                    <a:pt x="51" y="490"/>
                  </a:cubicBezTo>
                  <a:cubicBezTo>
                    <a:pt x="56" y="498"/>
                    <a:pt x="59" y="509"/>
                    <a:pt x="61" y="517"/>
                  </a:cubicBezTo>
                  <a:cubicBezTo>
                    <a:pt x="62" y="519"/>
                    <a:pt x="62" y="520"/>
                    <a:pt x="62" y="522"/>
                  </a:cubicBezTo>
                  <a:cubicBezTo>
                    <a:pt x="62" y="524"/>
                    <a:pt x="62" y="524"/>
                    <a:pt x="62" y="524"/>
                  </a:cubicBezTo>
                  <a:cubicBezTo>
                    <a:pt x="63" y="524"/>
                    <a:pt x="63" y="524"/>
                    <a:pt x="63" y="524"/>
                  </a:cubicBezTo>
                  <a:cubicBezTo>
                    <a:pt x="64" y="524"/>
                    <a:pt x="66" y="525"/>
                    <a:pt x="67" y="525"/>
                  </a:cubicBezTo>
                  <a:cubicBezTo>
                    <a:pt x="68" y="525"/>
                    <a:pt x="69" y="526"/>
                    <a:pt x="70" y="526"/>
                  </a:cubicBezTo>
                  <a:cubicBezTo>
                    <a:pt x="71" y="526"/>
                    <a:pt x="71" y="526"/>
                    <a:pt x="71" y="526"/>
                  </a:cubicBezTo>
                  <a:cubicBezTo>
                    <a:pt x="72" y="527"/>
                    <a:pt x="72" y="527"/>
                    <a:pt x="72" y="527"/>
                  </a:cubicBezTo>
                  <a:cubicBezTo>
                    <a:pt x="73" y="526"/>
                    <a:pt x="73" y="526"/>
                    <a:pt x="73" y="526"/>
                  </a:cubicBezTo>
                  <a:cubicBezTo>
                    <a:pt x="74" y="526"/>
                    <a:pt x="74" y="526"/>
                    <a:pt x="74" y="526"/>
                  </a:cubicBezTo>
                  <a:cubicBezTo>
                    <a:pt x="75" y="525"/>
                    <a:pt x="75" y="525"/>
                    <a:pt x="76" y="525"/>
                  </a:cubicBezTo>
                  <a:cubicBezTo>
                    <a:pt x="76" y="525"/>
                    <a:pt x="77" y="524"/>
                    <a:pt x="77" y="524"/>
                  </a:cubicBezTo>
                  <a:cubicBezTo>
                    <a:pt x="78" y="524"/>
                    <a:pt x="78" y="524"/>
                    <a:pt x="79" y="523"/>
                  </a:cubicBezTo>
                  <a:cubicBezTo>
                    <a:pt x="79" y="523"/>
                    <a:pt x="80" y="522"/>
                    <a:pt x="81" y="522"/>
                  </a:cubicBezTo>
                  <a:cubicBezTo>
                    <a:pt x="81" y="522"/>
                    <a:pt x="82" y="522"/>
                    <a:pt x="82" y="521"/>
                  </a:cubicBezTo>
                  <a:cubicBezTo>
                    <a:pt x="83" y="521"/>
                    <a:pt x="84" y="521"/>
                    <a:pt x="85" y="520"/>
                  </a:cubicBezTo>
                  <a:cubicBezTo>
                    <a:pt x="87" y="520"/>
                    <a:pt x="88" y="518"/>
                    <a:pt x="88" y="517"/>
                  </a:cubicBezTo>
                  <a:cubicBezTo>
                    <a:pt x="89" y="516"/>
                    <a:pt x="90" y="515"/>
                    <a:pt x="91" y="515"/>
                  </a:cubicBezTo>
                  <a:cubicBezTo>
                    <a:pt x="92" y="515"/>
                    <a:pt x="92" y="514"/>
                    <a:pt x="92" y="514"/>
                  </a:cubicBezTo>
                  <a:cubicBezTo>
                    <a:pt x="93" y="514"/>
                    <a:pt x="93" y="514"/>
                    <a:pt x="93" y="515"/>
                  </a:cubicBezTo>
                  <a:cubicBezTo>
                    <a:pt x="94" y="515"/>
                    <a:pt x="95" y="517"/>
                    <a:pt x="96" y="520"/>
                  </a:cubicBezTo>
                  <a:cubicBezTo>
                    <a:pt x="96" y="520"/>
                    <a:pt x="96" y="521"/>
                    <a:pt x="97" y="521"/>
                  </a:cubicBezTo>
                  <a:cubicBezTo>
                    <a:pt x="97" y="523"/>
                    <a:pt x="98" y="523"/>
                    <a:pt x="99" y="523"/>
                  </a:cubicBezTo>
                  <a:cubicBezTo>
                    <a:pt x="100" y="524"/>
                    <a:pt x="100" y="524"/>
                    <a:pt x="100" y="524"/>
                  </a:cubicBezTo>
                  <a:cubicBezTo>
                    <a:pt x="100" y="523"/>
                    <a:pt x="100" y="523"/>
                    <a:pt x="100" y="523"/>
                  </a:cubicBezTo>
                  <a:cubicBezTo>
                    <a:pt x="101" y="523"/>
                    <a:pt x="101" y="523"/>
                    <a:pt x="102" y="523"/>
                  </a:cubicBezTo>
                  <a:cubicBezTo>
                    <a:pt x="103" y="521"/>
                    <a:pt x="105" y="521"/>
                    <a:pt x="107" y="520"/>
                  </a:cubicBezTo>
                  <a:cubicBezTo>
                    <a:pt x="108" y="520"/>
                    <a:pt x="109" y="519"/>
                    <a:pt x="111" y="518"/>
                  </a:cubicBezTo>
                  <a:cubicBezTo>
                    <a:pt x="112" y="518"/>
                    <a:pt x="113" y="517"/>
                    <a:pt x="113" y="516"/>
                  </a:cubicBezTo>
                  <a:cubicBezTo>
                    <a:pt x="114" y="515"/>
                    <a:pt x="115" y="514"/>
                    <a:pt x="117" y="514"/>
                  </a:cubicBezTo>
                  <a:cubicBezTo>
                    <a:pt x="119" y="513"/>
                    <a:pt x="120" y="513"/>
                    <a:pt x="122" y="512"/>
                  </a:cubicBezTo>
                  <a:cubicBezTo>
                    <a:pt x="123" y="512"/>
                    <a:pt x="125" y="511"/>
                    <a:pt x="126" y="511"/>
                  </a:cubicBezTo>
                  <a:cubicBezTo>
                    <a:pt x="129" y="510"/>
                    <a:pt x="132" y="510"/>
                    <a:pt x="135" y="508"/>
                  </a:cubicBezTo>
                  <a:cubicBezTo>
                    <a:pt x="136" y="508"/>
                    <a:pt x="138" y="508"/>
                    <a:pt x="139" y="508"/>
                  </a:cubicBezTo>
                  <a:cubicBezTo>
                    <a:pt x="142" y="508"/>
                    <a:pt x="142" y="508"/>
                    <a:pt x="142" y="508"/>
                  </a:cubicBezTo>
                  <a:cubicBezTo>
                    <a:pt x="143" y="508"/>
                    <a:pt x="143" y="508"/>
                    <a:pt x="144" y="508"/>
                  </a:cubicBezTo>
                  <a:cubicBezTo>
                    <a:pt x="144" y="507"/>
                    <a:pt x="145" y="507"/>
                    <a:pt x="146" y="507"/>
                  </a:cubicBezTo>
                  <a:cubicBezTo>
                    <a:pt x="147" y="507"/>
                    <a:pt x="147" y="507"/>
                    <a:pt x="148" y="507"/>
                  </a:cubicBezTo>
                  <a:cubicBezTo>
                    <a:pt x="149" y="507"/>
                    <a:pt x="149" y="507"/>
                    <a:pt x="150" y="507"/>
                  </a:cubicBezTo>
                  <a:cubicBezTo>
                    <a:pt x="150" y="507"/>
                    <a:pt x="151" y="507"/>
                    <a:pt x="152" y="507"/>
                  </a:cubicBezTo>
                  <a:cubicBezTo>
                    <a:pt x="152" y="507"/>
                    <a:pt x="152" y="507"/>
                    <a:pt x="152" y="507"/>
                  </a:cubicBezTo>
                  <a:cubicBezTo>
                    <a:pt x="153" y="507"/>
                    <a:pt x="153" y="507"/>
                    <a:pt x="153" y="507"/>
                  </a:cubicBezTo>
                  <a:cubicBezTo>
                    <a:pt x="153" y="507"/>
                    <a:pt x="153" y="507"/>
                    <a:pt x="153" y="507"/>
                  </a:cubicBezTo>
                  <a:cubicBezTo>
                    <a:pt x="154" y="506"/>
                    <a:pt x="154" y="505"/>
                    <a:pt x="154" y="504"/>
                  </a:cubicBezTo>
                  <a:cubicBezTo>
                    <a:pt x="154" y="504"/>
                    <a:pt x="154" y="503"/>
                    <a:pt x="155" y="503"/>
                  </a:cubicBezTo>
                  <a:cubicBezTo>
                    <a:pt x="155" y="502"/>
                    <a:pt x="156" y="502"/>
                    <a:pt x="156" y="502"/>
                  </a:cubicBezTo>
                  <a:cubicBezTo>
                    <a:pt x="157" y="501"/>
                    <a:pt x="157" y="501"/>
                    <a:pt x="158" y="501"/>
                  </a:cubicBezTo>
                  <a:cubicBezTo>
                    <a:pt x="160" y="500"/>
                    <a:pt x="162" y="497"/>
                    <a:pt x="163" y="494"/>
                  </a:cubicBezTo>
                  <a:cubicBezTo>
                    <a:pt x="164" y="494"/>
                    <a:pt x="164" y="494"/>
                    <a:pt x="164" y="494"/>
                  </a:cubicBezTo>
                  <a:cubicBezTo>
                    <a:pt x="164" y="493"/>
                    <a:pt x="165" y="492"/>
                    <a:pt x="165" y="491"/>
                  </a:cubicBezTo>
                  <a:cubicBezTo>
                    <a:pt x="166" y="490"/>
                    <a:pt x="167" y="488"/>
                    <a:pt x="167" y="486"/>
                  </a:cubicBezTo>
                  <a:cubicBezTo>
                    <a:pt x="167" y="485"/>
                    <a:pt x="167" y="485"/>
                    <a:pt x="167" y="485"/>
                  </a:cubicBezTo>
                  <a:cubicBezTo>
                    <a:pt x="166" y="484"/>
                    <a:pt x="166" y="484"/>
                    <a:pt x="166" y="484"/>
                  </a:cubicBezTo>
                  <a:cubicBezTo>
                    <a:pt x="164" y="484"/>
                    <a:pt x="161" y="482"/>
                    <a:pt x="161" y="481"/>
                  </a:cubicBezTo>
                  <a:cubicBezTo>
                    <a:pt x="161" y="480"/>
                    <a:pt x="161" y="479"/>
                    <a:pt x="162" y="478"/>
                  </a:cubicBezTo>
                  <a:cubicBezTo>
                    <a:pt x="165" y="476"/>
                    <a:pt x="170" y="475"/>
                    <a:pt x="173" y="475"/>
                  </a:cubicBezTo>
                  <a:cubicBezTo>
                    <a:pt x="178" y="475"/>
                    <a:pt x="178" y="475"/>
                    <a:pt x="178" y="475"/>
                  </a:cubicBezTo>
                  <a:cubicBezTo>
                    <a:pt x="180" y="475"/>
                    <a:pt x="184" y="475"/>
                    <a:pt x="187" y="475"/>
                  </a:cubicBezTo>
                  <a:cubicBezTo>
                    <a:pt x="189" y="475"/>
                    <a:pt x="191" y="474"/>
                    <a:pt x="193" y="473"/>
                  </a:cubicBezTo>
                  <a:cubicBezTo>
                    <a:pt x="194" y="472"/>
                    <a:pt x="196" y="472"/>
                    <a:pt x="198" y="471"/>
                  </a:cubicBezTo>
                  <a:cubicBezTo>
                    <a:pt x="198" y="471"/>
                    <a:pt x="198" y="471"/>
                    <a:pt x="199" y="471"/>
                  </a:cubicBezTo>
                  <a:cubicBezTo>
                    <a:pt x="200" y="471"/>
                    <a:pt x="200" y="471"/>
                    <a:pt x="201" y="472"/>
                  </a:cubicBezTo>
                  <a:cubicBezTo>
                    <a:pt x="202" y="472"/>
                    <a:pt x="203" y="472"/>
                    <a:pt x="204" y="472"/>
                  </a:cubicBezTo>
                  <a:cubicBezTo>
                    <a:pt x="204" y="472"/>
                    <a:pt x="204" y="472"/>
                    <a:pt x="204" y="472"/>
                  </a:cubicBezTo>
                  <a:cubicBezTo>
                    <a:pt x="205" y="472"/>
                    <a:pt x="206" y="472"/>
                    <a:pt x="206" y="471"/>
                  </a:cubicBezTo>
                  <a:cubicBezTo>
                    <a:pt x="206" y="471"/>
                    <a:pt x="206" y="471"/>
                    <a:pt x="206" y="471"/>
                  </a:cubicBezTo>
                  <a:cubicBezTo>
                    <a:pt x="206" y="471"/>
                    <a:pt x="206" y="471"/>
                    <a:pt x="206" y="471"/>
                  </a:cubicBezTo>
                  <a:cubicBezTo>
                    <a:pt x="207" y="471"/>
                    <a:pt x="207" y="470"/>
                    <a:pt x="207" y="470"/>
                  </a:cubicBezTo>
                  <a:cubicBezTo>
                    <a:pt x="207" y="469"/>
                    <a:pt x="207" y="469"/>
                    <a:pt x="208" y="468"/>
                  </a:cubicBezTo>
                  <a:cubicBezTo>
                    <a:pt x="209" y="467"/>
                    <a:pt x="210" y="467"/>
                    <a:pt x="211" y="466"/>
                  </a:cubicBezTo>
                  <a:cubicBezTo>
                    <a:pt x="211" y="466"/>
                    <a:pt x="212" y="466"/>
                    <a:pt x="213" y="465"/>
                  </a:cubicBezTo>
                  <a:cubicBezTo>
                    <a:pt x="214" y="464"/>
                    <a:pt x="215" y="463"/>
                    <a:pt x="215" y="462"/>
                  </a:cubicBezTo>
                  <a:cubicBezTo>
                    <a:pt x="216" y="461"/>
                    <a:pt x="216" y="461"/>
                    <a:pt x="216" y="460"/>
                  </a:cubicBezTo>
                  <a:cubicBezTo>
                    <a:pt x="218" y="458"/>
                    <a:pt x="220" y="456"/>
                    <a:pt x="221" y="454"/>
                  </a:cubicBezTo>
                  <a:cubicBezTo>
                    <a:pt x="223" y="453"/>
                    <a:pt x="224" y="451"/>
                    <a:pt x="225" y="450"/>
                  </a:cubicBezTo>
                  <a:cubicBezTo>
                    <a:pt x="226" y="449"/>
                    <a:pt x="226" y="449"/>
                    <a:pt x="226" y="448"/>
                  </a:cubicBezTo>
                  <a:cubicBezTo>
                    <a:pt x="227" y="447"/>
                    <a:pt x="227" y="446"/>
                    <a:pt x="229" y="445"/>
                  </a:cubicBezTo>
                  <a:cubicBezTo>
                    <a:pt x="229" y="445"/>
                    <a:pt x="230" y="445"/>
                    <a:pt x="231" y="445"/>
                  </a:cubicBezTo>
                  <a:cubicBezTo>
                    <a:pt x="232" y="445"/>
                    <a:pt x="233" y="445"/>
                    <a:pt x="234" y="443"/>
                  </a:cubicBezTo>
                  <a:cubicBezTo>
                    <a:pt x="234" y="442"/>
                    <a:pt x="234" y="442"/>
                    <a:pt x="235" y="441"/>
                  </a:cubicBezTo>
                  <a:cubicBezTo>
                    <a:pt x="235" y="439"/>
                    <a:pt x="235" y="438"/>
                    <a:pt x="236" y="437"/>
                  </a:cubicBezTo>
                  <a:cubicBezTo>
                    <a:pt x="237" y="437"/>
                    <a:pt x="237" y="436"/>
                    <a:pt x="238" y="436"/>
                  </a:cubicBezTo>
                  <a:cubicBezTo>
                    <a:pt x="239" y="435"/>
                    <a:pt x="240" y="435"/>
                    <a:pt x="241" y="433"/>
                  </a:cubicBezTo>
                  <a:cubicBezTo>
                    <a:pt x="242" y="431"/>
                    <a:pt x="242" y="430"/>
                    <a:pt x="242" y="429"/>
                  </a:cubicBezTo>
                  <a:cubicBezTo>
                    <a:pt x="242" y="428"/>
                    <a:pt x="242" y="428"/>
                    <a:pt x="242" y="427"/>
                  </a:cubicBezTo>
                  <a:cubicBezTo>
                    <a:pt x="241" y="422"/>
                    <a:pt x="246" y="420"/>
                    <a:pt x="250" y="418"/>
                  </a:cubicBezTo>
                  <a:cubicBezTo>
                    <a:pt x="252" y="418"/>
                    <a:pt x="253" y="417"/>
                    <a:pt x="254" y="416"/>
                  </a:cubicBezTo>
                  <a:cubicBezTo>
                    <a:pt x="255" y="416"/>
                    <a:pt x="256" y="415"/>
                    <a:pt x="256" y="415"/>
                  </a:cubicBezTo>
                  <a:cubicBezTo>
                    <a:pt x="257" y="415"/>
                    <a:pt x="257" y="414"/>
                    <a:pt x="258" y="414"/>
                  </a:cubicBezTo>
                  <a:cubicBezTo>
                    <a:pt x="258" y="414"/>
                    <a:pt x="258" y="414"/>
                    <a:pt x="258" y="414"/>
                  </a:cubicBezTo>
                  <a:cubicBezTo>
                    <a:pt x="261" y="412"/>
                    <a:pt x="263" y="411"/>
                    <a:pt x="266" y="411"/>
                  </a:cubicBezTo>
                  <a:cubicBezTo>
                    <a:pt x="267" y="411"/>
                    <a:pt x="268" y="411"/>
                    <a:pt x="268" y="411"/>
                  </a:cubicBezTo>
                  <a:cubicBezTo>
                    <a:pt x="269" y="411"/>
                    <a:pt x="269" y="411"/>
                    <a:pt x="270" y="412"/>
                  </a:cubicBezTo>
                  <a:cubicBezTo>
                    <a:pt x="272" y="412"/>
                    <a:pt x="273" y="412"/>
                    <a:pt x="274" y="412"/>
                  </a:cubicBezTo>
                  <a:cubicBezTo>
                    <a:pt x="275" y="412"/>
                    <a:pt x="275" y="412"/>
                    <a:pt x="275" y="412"/>
                  </a:cubicBezTo>
                  <a:cubicBezTo>
                    <a:pt x="275" y="412"/>
                    <a:pt x="275" y="412"/>
                    <a:pt x="275" y="412"/>
                  </a:cubicBezTo>
                  <a:cubicBezTo>
                    <a:pt x="276" y="412"/>
                    <a:pt x="276" y="412"/>
                    <a:pt x="276" y="412"/>
                  </a:cubicBezTo>
                  <a:cubicBezTo>
                    <a:pt x="276" y="411"/>
                    <a:pt x="276" y="411"/>
                    <a:pt x="276" y="411"/>
                  </a:cubicBezTo>
                  <a:cubicBezTo>
                    <a:pt x="277" y="408"/>
                    <a:pt x="278" y="406"/>
                    <a:pt x="278" y="402"/>
                  </a:cubicBezTo>
                  <a:cubicBezTo>
                    <a:pt x="278" y="399"/>
                    <a:pt x="278" y="397"/>
                    <a:pt x="275" y="395"/>
                  </a:cubicBezTo>
                  <a:cubicBezTo>
                    <a:pt x="274" y="394"/>
                    <a:pt x="273" y="394"/>
                    <a:pt x="272" y="394"/>
                  </a:cubicBezTo>
                  <a:cubicBezTo>
                    <a:pt x="270" y="393"/>
                    <a:pt x="269" y="393"/>
                    <a:pt x="267" y="391"/>
                  </a:cubicBezTo>
                  <a:cubicBezTo>
                    <a:pt x="265" y="389"/>
                    <a:pt x="266" y="386"/>
                    <a:pt x="267" y="383"/>
                  </a:cubicBezTo>
                  <a:cubicBezTo>
                    <a:pt x="267" y="380"/>
                    <a:pt x="268" y="378"/>
                    <a:pt x="267" y="375"/>
                  </a:cubicBezTo>
                  <a:cubicBezTo>
                    <a:pt x="266" y="373"/>
                    <a:pt x="265" y="372"/>
                    <a:pt x="263" y="371"/>
                  </a:cubicBezTo>
                  <a:cubicBezTo>
                    <a:pt x="261" y="368"/>
                    <a:pt x="260" y="366"/>
                    <a:pt x="261" y="363"/>
                  </a:cubicBezTo>
                  <a:cubicBezTo>
                    <a:pt x="262" y="360"/>
                    <a:pt x="262" y="357"/>
                    <a:pt x="260" y="355"/>
                  </a:cubicBezTo>
                  <a:cubicBezTo>
                    <a:pt x="260" y="354"/>
                    <a:pt x="258" y="353"/>
                    <a:pt x="255" y="353"/>
                  </a:cubicBezTo>
                  <a:cubicBezTo>
                    <a:pt x="254" y="353"/>
                    <a:pt x="254" y="353"/>
                    <a:pt x="254" y="353"/>
                  </a:cubicBezTo>
                  <a:cubicBezTo>
                    <a:pt x="253" y="354"/>
                    <a:pt x="253" y="354"/>
                    <a:pt x="253" y="354"/>
                  </a:cubicBezTo>
                  <a:cubicBezTo>
                    <a:pt x="253" y="355"/>
                    <a:pt x="252" y="356"/>
                    <a:pt x="251" y="356"/>
                  </a:cubicBezTo>
                  <a:cubicBezTo>
                    <a:pt x="251" y="356"/>
                    <a:pt x="250" y="356"/>
                    <a:pt x="250" y="356"/>
                  </a:cubicBezTo>
                  <a:cubicBezTo>
                    <a:pt x="249" y="356"/>
                    <a:pt x="249" y="356"/>
                    <a:pt x="248" y="356"/>
                  </a:cubicBezTo>
                  <a:cubicBezTo>
                    <a:pt x="246" y="355"/>
                    <a:pt x="246" y="353"/>
                    <a:pt x="246" y="350"/>
                  </a:cubicBezTo>
                  <a:cubicBezTo>
                    <a:pt x="246" y="345"/>
                    <a:pt x="249" y="340"/>
                    <a:pt x="252" y="337"/>
                  </a:cubicBezTo>
                  <a:cubicBezTo>
                    <a:pt x="253" y="337"/>
                    <a:pt x="254" y="336"/>
                    <a:pt x="254" y="336"/>
                  </a:cubicBezTo>
                  <a:cubicBezTo>
                    <a:pt x="256" y="336"/>
                    <a:pt x="257" y="335"/>
                    <a:pt x="257" y="333"/>
                  </a:cubicBezTo>
                  <a:cubicBezTo>
                    <a:pt x="257" y="331"/>
                    <a:pt x="256" y="330"/>
                    <a:pt x="255" y="328"/>
                  </a:cubicBezTo>
                  <a:cubicBezTo>
                    <a:pt x="255" y="328"/>
                    <a:pt x="254" y="327"/>
                    <a:pt x="254" y="327"/>
                  </a:cubicBezTo>
                  <a:cubicBezTo>
                    <a:pt x="252" y="322"/>
                    <a:pt x="250" y="319"/>
                    <a:pt x="254" y="315"/>
                  </a:cubicBezTo>
                  <a:cubicBezTo>
                    <a:pt x="256" y="313"/>
                    <a:pt x="257" y="311"/>
                    <a:pt x="259" y="310"/>
                  </a:cubicBezTo>
                  <a:cubicBezTo>
                    <a:pt x="260" y="310"/>
                    <a:pt x="260" y="310"/>
                    <a:pt x="261" y="309"/>
                  </a:cubicBezTo>
                  <a:cubicBezTo>
                    <a:pt x="263" y="309"/>
                    <a:pt x="264" y="308"/>
                    <a:pt x="265" y="307"/>
                  </a:cubicBezTo>
                  <a:cubicBezTo>
                    <a:pt x="267" y="304"/>
                    <a:pt x="264" y="301"/>
                    <a:pt x="262" y="299"/>
                  </a:cubicBezTo>
                  <a:cubicBezTo>
                    <a:pt x="259" y="297"/>
                    <a:pt x="259" y="295"/>
                    <a:pt x="260" y="294"/>
                  </a:cubicBezTo>
                  <a:cubicBezTo>
                    <a:pt x="261" y="293"/>
                    <a:pt x="262" y="293"/>
                    <a:pt x="263" y="292"/>
                  </a:cubicBezTo>
                  <a:cubicBezTo>
                    <a:pt x="265" y="292"/>
                    <a:pt x="266" y="292"/>
                    <a:pt x="267" y="290"/>
                  </a:cubicBezTo>
                  <a:cubicBezTo>
                    <a:pt x="268" y="289"/>
                    <a:pt x="268" y="288"/>
                    <a:pt x="268" y="286"/>
                  </a:cubicBezTo>
                  <a:cubicBezTo>
                    <a:pt x="268" y="285"/>
                    <a:pt x="268" y="284"/>
                    <a:pt x="268" y="283"/>
                  </a:cubicBezTo>
                  <a:cubicBezTo>
                    <a:pt x="269" y="281"/>
                    <a:pt x="270" y="280"/>
                    <a:pt x="272" y="278"/>
                  </a:cubicBezTo>
                  <a:cubicBezTo>
                    <a:pt x="274" y="277"/>
                    <a:pt x="275" y="275"/>
                    <a:pt x="276" y="274"/>
                  </a:cubicBezTo>
                  <a:cubicBezTo>
                    <a:pt x="277" y="271"/>
                    <a:pt x="276" y="269"/>
                    <a:pt x="276" y="267"/>
                  </a:cubicBezTo>
                  <a:cubicBezTo>
                    <a:pt x="275" y="264"/>
                    <a:pt x="275" y="262"/>
                    <a:pt x="276" y="259"/>
                  </a:cubicBezTo>
                  <a:cubicBezTo>
                    <a:pt x="277" y="258"/>
                    <a:pt x="279" y="257"/>
                    <a:pt x="281" y="257"/>
                  </a:cubicBezTo>
                  <a:cubicBezTo>
                    <a:pt x="282" y="257"/>
                    <a:pt x="283" y="257"/>
                    <a:pt x="284" y="257"/>
                  </a:cubicBezTo>
                  <a:cubicBezTo>
                    <a:pt x="285" y="257"/>
                    <a:pt x="286" y="257"/>
                    <a:pt x="287" y="257"/>
                  </a:cubicBezTo>
                  <a:cubicBezTo>
                    <a:pt x="289" y="257"/>
                    <a:pt x="290" y="256"/>
                    <a:pt x="292" y="256"/>
                  </a:cubicBezTo>
                  <a:cubicBezTo>
                    <a:pt x="293" y="255"/>
                    <a:pt x="294" y="254"/>
                    <a:pt x="296" y="254"/>
                  </a:cubicBezTo>
                  <a:cubicBezTo>
                    <a:pt x="297" y="254"/>
                    <a:pt x="297" y="254"/>
                    <a:pt x="297" y="254"/>
                  </a:cubicBezTo>
                  <a:cubicBezTo>
                    <a:pt x="298" y="254"/>
                    <a:pt x="298" y="254"/>
                    <a:pt x="299" y="254"/>
                  </a:cubicBezTo>
                  <a:cubicBezTo>
                    <a:pt x="300" y="254"/>
                    <a:pt x="301" y="255"/>
                    <a:pt x="302" y="255"/>
                  </a:cubicBezTo>
                  <a:cubicBezTo>
                    <a:pt x="303" y="255"/>
                    <a:pt x="303" y="255"/>
                    <a:pt x="304" y="254"/>
                  </a:cubicBezTo>
                  <a:cubicBezTo>
                    <a:pt x="304" y="254"/>
                    <a:pt x="305" y="253"/>
                    <a:pt x="305" y="252"/>
                  </a:cubicBezTo>
                  <a:cubicBezTo>
                    <a:pt x="305" y="251"/>
                    <a:pt x="305" y="250"/>
                    <a:pt x="305" y="248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5" name="Freeform 35"/>
            <p:cNvSpPr>
              <a:spLocks/>
            </p:cNvSpPr>
            <p:nvPr/>
          </p:nvSpPr>
          <p:spPr bwMode="auto">
            <a:xfrm>
              <a:off x="2818058" y="1847745"/>
              <a:ext cx="761127" cy="547578"/>
            </a:xfrm>
            <a:custGeom>
              <a:avLst/>
              <a:gdLst>
                <a:gd name="T0" fmla="*/ 366 w 376"/>
                <a:gd name="T1" fmla="*/ 170 h 294"/>
                <a:gd name="T2" fmla="*/ 353 w 376"/>
                <a:gd name="T3" fmla="*/ 164 h 294"/>
                <a:gd name="T4" fmla="*/ 346 w 376"/>
                <a:gd name="T5" fmla="*/ 147 h 294"/>
                <a:gd name="T6" fmla="*/ 343 w 376"/>
                <a:gd name="T7" fmla="*/ 140 h 294"/>
                <a:gd name="T8" fmla="*/ 330 w 376"/>
                <a:gd name="T9" fmla="*/ 127 h 294"/>
                <a:gd name="T10" fmla="*/ 314 w 376"/>
                <a:gd name="T11" fmla="*/ 110 h 294"/>
                <a:gd name="T12" fmla="*/ 303 w 376"/>
                <a:gd name="T13" fmla="*/ 95 h 294"/>
                <a:gd name="T14" fmla="*/ 283 w 376"/>
                <a:gd name="T15" fmla="*/ 83 h 294"/>
                <a:gd name="T16" fmla="*/ 264 w 376"/>
                <a:gd name="T17" fmla="*/ 75 h 294"/>
                <a:gd name="T18" fmla="*/ 263 w 376"/>
                <a:gd name="T19" fmla="*/ 60 h 294"/>
                <a:gd name="T20" fmla="*/ 266 w 376"/>
                <a:gd name="T21" fmla="*/ 46 h 294"/>
                <a:gd name="T22" fmla="*/ 248 w 376"/>
                <a:gd name="T23" fmla="*/ 11 h 294"/>
                <a:gd name="T24" fmla="*/ 238 w 376"/>
                <a:gd name="T25" fmla="*/ 1 h 294"/>
                <a:gd name="T26" fmla="*/ 222 w 376"/>
                <a:gd name="T27" fmla="*/ 6 h 294"/>
                <a:gd name="T28" fmla="*/ 206 w 376"/>
                <a:gd name="T29" fmla="*/ 26 h 294"/>
                <a:gd name="T30" fmla="*/ 196 w 376"/>
                <a:gd name="T31" fmla="*/ 35 h 294"/>
                <a:gd name="T32" fmla="*/ 183 w 376"/>
                <a:gd name="T33" fmla="*/ 52 h 294"/>
                <a:gd name="T34" fmla="*/ 172 w 376"/>
                <a:gd name="T35" fmla="*/ 61 h 294"/>
                <a:gd name="T36" fmla="*/ 160 w 376"/>
                <a:gd name="T37" fmla="*/ 63 h 294"/>
                <a:gd name="T38" fmla="*/ 129 w 376"/>
                <a:gd name="T39" fmla="*/ 71 h 294"/>
                <a:gd name="T40" fmla="*/ 126 w 376"/>
                <a:gd name="T41" fmla="*/ 91 h 294"/>
                <a:gd name="T42" fmla="*/ 120 w 376"/>
                <a:gd name="T43" fmla="*/ 97 h 294"/>
                <a:gd name="T44" fmla="*/ 112 w 376"/>
                <a:gd name="T45" fmla="*/ 97 h 294"/>
                <a:gd name="T46" fmla="*/ 90 w 376"/>
                <a:gd name="T47" fmla="*/ 102 h 294"/>
                <a:gd name="T48" fmla="*/ 70 w 376"/>
                <a:gd name="T49" fmla="*/ 112 h 294"/>
                <a:gd name="T50" fmla="*/ 61 w 376"/>
                <a:gd name="T51" fmla="*/ 104 h 294"/>
                <a:gd name="T52" fmla="*/ 50 w 376"/>
                <a:gd name="T53" fmla="*/ 111 h 294"/>
                <a:gd name="T54" fmla="*/ 42 w 376"/>
                <a:gd name="T55" fmla="*/ 115 h 294"/>
                <a:gd name="T56" fmla="*/ 35 w 376"/>
                <a:gd name="T57" fmla="*/ 115 h 294"/>
                <a:gd name="T58" fmla="*/ 20 w 376"/>
                <a:gd name="T59" fmla="*/ 130 h 294"/>
                <a:gd name="T60" fmla="*/ 1 w 376"/>
                <a:gd name="T61" fmla="*/ 164 h 294"/>
                <a:gd name="T62" fmla="*/ 6 w 376"/>
                <a:gd name="T63" fmla="*/ 191 h 294"/>
                <a:gd name="T64" fmla="*/ 15 w 376"/>
                <a:gd name="T65" fmla="*/ 216 h 294"/>
                <a:gd name="T66" fmla="*/ 34 w 376"/>
                <a:gd name="T67" fmla="*/ 253 h 294"/>
                <a:gd name="T68" fmla="*/ 49 w 376"/>
                <a:gd name="T69" fmla="*/ 288 h 294"/>
                <a:gd name="T70" fmla="*/ 59 w 376"/>
                <a:gd name="T71" fmla="*/ 274 h 294"/>
                <a:gd name="T72" fmla="*/ 86 w 376"/>
                <a:gd name="T73" fmla="*/ 243 h 294"/>
                <a:gd name="T74" fmla="*/ 112 w 376"/>
                <a:gd name="T75" fmla="*/ 246 h 294"/>
                <a:gd name="T76" fmla="*/ 122 w 376"/>
                <a:gd name="T77" fmla="*/ 233 h 294"/>
                <a:gd name="T78" fmla="*/ 130 w 376"/>
                <a:gd name="T79" fmla="*/ 210 h 294"/>
                <a:gd name="T80" fmla="*/ 174 w 376"/>
                <a:gd name="T81" fmla="*/ 211 h 294"/>
                <a:gd name="T82" fmla="*/ 193 w 376"/>
                <a:gd name="T83" fmla="*/ 219 h 294"/>
                <a:gd name="T84" fmla="*/ 220 w 376"/>
                <a:gd name="T85" fmla="*/ 225 h 294"/>
                <a:gd name="T86" fmla="*/ 247 w 376"/>
                <a:gd name="T87" fmla="*/ 205 h 294"/>
                <a:gd name="T88" fmla="*/ 269 w 376"/>
                <a:gd name="T89" fmla="*/ 208 h 294"/>
                <a:gd name="T90" fmla="*/ 295 w 376"/>
                <a:gd name="T91" fmla="*/ 199 h 294"/>
                <a:gd name="T92" fmla="*/ 318 w 376"/>
                <a:gd name="T93" fmla="*/ 192 h 294"/>
                <a:gd name="T94" fmla="*/ 334 w 376"/>
                <a:gd name="T95" fmla="*/ 193 h 294"/>
                <a:gd name="T96" fmla="*/ 346 w 376"/>
                <a:gd name="T97" fmla="*/ 193 h 294"/>
                <a:gd name="T98" fmla="*/ 357 w 376"/>
                <a:gd name="T99" fmla="*/ 196 h 294"/>
                <a:gd name="T100" fmla="*/ 370 w 376"/>
                <a:gd name="T101" fmla="*/ 19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76" h="294">
                  <a:moveTo>
                    <a:pt x="375" y="191"/>
                  </a:moveTo>
                  <a:cubicBezTo>
                    <a:pt x="374" y="188"/>
                    <a:pt x="373" y="185"/>
                    <a:pt x="372" y="181"/>
                  </a:cubicBezTo>
                  <a:cubicBezTo>
                    <a:pt x="372" y="180"/>
                    <a:pt x="372" y="180"/>
                    <a:pt x="372" y="180"/>
                  </a:cubicBezTo>
                  <a:cubicBezTo>
                    <a:pt x="372" y="176"/>
                    <a:pt x="370" y="174"/>
                    <a:pt x="368" y="172"/>
                  </a:cubicBezTo>
                  <a:cubicBezTo>
                    <a:pt x="368" y="171"/>
                    <a:pt x="367" y="171"/>
                    <a:pt x="366" y="170"/>
                  </a:cubicBezTo>
                  <a:cubicBezTo>
                    <a:pt x="366" y="170"/>
                    <a:pt x="365" y="170"/>
                    <a:pt x="365" y="170"/>
                  </a:cubicBezTo>
                  <a:cubicBezTo>
                    <a:pt x="364" y="169"/>
                    <a:pt x="363" y="169"/>
                    <a:pt x="363" y="168"/>
                  </a:cubicBezTo>
                  <a:cubicBezTo>
                    <a:pt x="362" y="168"/>
                    <a:pt x="362" y="168"/>
                    <a:pt x="362" y="167"/>
                  </a:cubicBezTo>
                  <a:cubicBezTo>
                    <a:pt x="360" y="166"/>
                    <a:pt x="359" y="166"/>
                    <a:pt x="357" y="166"/>
                  </a:cubicBezTo>
                  <a:cubicBezTo>
                    <a:pt x="356" y="165"/>
                    <a:pt x="354" y="165"/>
                    <a:pt x="353" y="164"/>
                  </a:cubicBezTo>
                  <a:cubicBezTo>
                    <a:pt x="351" y="163"/>
                    <a:pt x="351" y="162"/>
                    <a:pt x="351" y="160"/>
                  </a:cubicBezTo>
                  <a:cubicBezTo>
                    <a:pt x="351" y="158"/>
                    <a:pt x="351" y="157"/>
                    <a:pt x="350" y="155"/>
                  </a:cubicBezTo>
                  <a:cubicBezTo>
                    <a:pt x="349" y="155"/>
                    <a:pt x="348" y="154"/>
                    <a:pt x="347" y="154"/>
                  </a:cubicBezTo>
                  <a:cubicBezTo>
                    <a:pt x="345" y="153"/>
                    <a:pt x="344" y="152"/>
                    <a:pt x="344" y="150"/>
                  </a:cubicBezTo>
                  <a:cubicBezTo>
                    <a:pt x="345" y="149"/>
                    <a:pt x="345" y="148"/>
                    <a:pt x="346" y="147"/>
                  </a:cubicBezTo>
                  <a:cubicBezTo>
                    <a:pt x="346" y="147"/>
                    <a:pt x="347" y="146"/>
                    <a:pt x="347" y="146"/>
                  </a:cubicBezTo>
                  <a:cubicBezTo>
                    <a:pt x="348" y="143"/>
                    <a:pt x="348" y="143"/>
                    <a:pt x="348" y="143"/>
                  </a:cubicBezTo>
                  <a:cubicBezTo>
                    <a:pt x="346" y="143"/>
                    <a:pt x="346" y="143"/>
                    <a:pt x="346" y="143"/>
                  </a:cubicBezTo>
                  <a:cubicBezTo>
                    <a:pt x="346" y="143"/>
                    <a:pt x="345" y="142"/>
                    <a:pt x="345" y="142"/>
                  </a:cubicBezTo>
                  <a:cubicBezTo>
                    <a:pt x="344" y="141"/>
                    <a:pt x="343" y="141"/>
                    <a:pt x="343" y="140"/>
                  </a:cubicBezTo>
                  <a:cubicBezTo>
                    <a:pt x="342" y="140"/>
                    <a:pt x="342" y="140"/>
                    <a:pt x="342" y="140"/>
                  </a:cubicBezTo>
                  <a:cubicBezTo>
                    <a:pt x="341" y="139"/>
                    <a:pt x="340" y="138"/>
                    <a:pt x="339" y="137"/>
                  </a:cubicBezTo>
                  <a:cubicBezTo>
                    <a:pt x="338" y="136"/>
                    <a:pt x="337" y="134"/>
                    <a:pt x="336" y="133"/>
                  </a:cubicBezTo>
                  <a:cubicBezTo>
                    <a:pt x="336" y="131"/>
                    <a:pt x="335" y="130"/>
                    <a:pt x="334" y="129"/>
                  </a:cubicBezTo>
                  <a:cubicBezTo>
                    <a:pt x="333" y="128"/>
                    <a:pt x="331" y="128"/>
                    <a:pt x="330" y="127"/>
                  </a:cubicBezTo>
                  <a:cubicBezTo>
                    <a:pt x="328" y="127"/>
                    <a:pt x="326" y="127"/>
                    <a:pt x="325" y="126"/>
                  </a:cubicBezTo>
                  <a:cubicBezTo>
                    <a:pt x="323" y="124"/>
                    <a:pt x="320" y="121"/>
                    <a:pt x="318" y="119"/>
                  </a:cubicBezTo>
                  <a:cubicBezTo>
                    <a:pt x="317" y="119"/>
                    <a:pt x="317" y="119"/>
                    <a:pt x="317" y="119"/>
                  </a:cubicBezTo>
                  <a:cubicBezTo>
                    <a:pt x="316" y="117"/>
                    <a:pt x="313" y="115"/>
                    <a:pt x="313" y="114"/>
                  </a:cubicBezTo>
                  <a:cubicBezTo>
                    <a:pt x="313" y="113"/>
                    <a:pt x="313" y="112"/>
                    <a:pt x="314" y="110"/>
                  </a:cubicBezTo>
                  <a:cubicBezTo>
                    <a:pt x="315" y="109"/>
                    <a:pt x="316" y="107"/>
                    <a:pt x="315" y="105"/>
                  </a:cubicBezTo>
                  <a:cubicBezTo>
                    <a:pt x="314" y="103"/>
                    <a:pt x="312" y="103"/>
                    <a:pt x="311" y="103"/>
                  </a:cubicBezTo>
                  <a:cubicBezTo>
                    <a:pt x="310" y="103"/>
                    <a:pt x="309" y="102"/>
                    <a:pt x="308" y="102"/>
                  </a:cubicBezTo>
                  <a:cubicBezTo>
                    <a:pt x="306" y="101"/>
                    <a:pt x="306" y="99"/>
                    <a:pt x="305" y="98"/>
                  </a:cubicBezTo>
                  <a:cubicBezTo>
                    <a:pt x="304" y="97"/>
                    <a:pt x="304" y="96"/>
                    <a:pt x="303" y="95"/>
                  </a:cubicBezTo>
                  <a:cubicBezTo>
                    <a:pt x="301" y="92"/>
                    <a:pt x="297" y="91"/>
                    <a:pt x="293" y="90"/>
                  </a:cubicBezTo>
                  <a:cubicBezTo>
                    <a:pt x="292" y="90"/>
                    <a:pt x="291" y="90"/>
                    <a:pt x="290" y="90"/>
                  </a:cubicBezTo>
                  <a:cubicBezTo>
                    <a:pt x="288" y="90"/>
                    <a:pt x="288" y="90"/>
                    <a:pt x="288" y="90"/>
                  </a:cubicBezTo>
                  <a:cubicBezTo>
                    <a:pt x="287" y="90"/>
                    <a:pt x="285" y="90"/>
                    <a:pt x="284" y="90"/>
                  </a:cubicBezTo>
                  <a:cubicBezTo>
                    <a:pt x="282" y="88"/>
                    <a:pt x="282" y="87"/>
                    <a:pt x="283" y="83"/>
                  </a:cubicBezTo>
                  <a:cubicBezTo>
                    <a:pt x="284" y="81"/>
                    <a:pt x="285" y="79"/>
                    <a:pt x="284" y="78"/>
                  </a:cubicBezTo>
                  <a:cubicBezTo>
                    <a:pt x="283" y="75"/>
                    <a:pt x="281" y="74"/>
                    <a:pt x="279" y="74"/>
                  </a:cubicBezTo>
                  <a:cubicBezTo>
                    <a:pt x="277" y="74"/>
                    <a:pt x="275" y="75"/>
                    <a:pt x="273" y="76"/>
                  </a:cubicBezTo>
                  <a:cubicBezTo>
                    <a:pt x="271" y="76"/>
                    <a:pt x="269" y="77"/>
                    <a:pt x="267" y="77"/>
                  </a:cubicBezTo>
                  <a:cubicBezTo>
                    <a:pt x="266" y="77"/>
                    <a:pt x="265" y="76"/>
                    <a:pt x="264" y="75"/>
                  </a:cubicBezTo>
                  <a:cubicBezTo>
                    <a:pt x="264" y="74"/>
                    <a:pt x="264" y="73"/>
                    <a:pt x="264" y="72"/>
                  </a:cubicBezTo>
                  <a:cubicBezTo>
                    <a:pt x="264" y="71"/>
                    <a:pt x="264" y="70"/>
                    <a:pt x="264" y="69"/>
                  </a:cubicBezTo>
                  <a:cubicBezTo>
                    <a:pt x="264" y="68"/>
                    <a:pt x="263" y="68"/>
                    <a:pt x="262" y="67"/>
                  </a:cubicBezTo>
                  <a:cubicBezTo>
                    <a:pt x="262" y="67"/>
                    <a:pt x="261" y="66"/>
                    <a:pt x="261" y="66"/>
                  </a:cubicBezTo>
                  <a:cubicBezTo>
                    <a:pt x="260" y="63"/>
                    <a:pt x="261" y="62"/>
                    <a:pt x="263" y="60"/>
                  </a:cubicBezTo>
                  <a:cubicBezTo>
                    <a:pt x="264" y="60"/>
                    <a:pt x="265" y="59"/>
                    <a:pt x="266" y="57"/>
                  </a:cubicBezTo>
                  <a:cubicBezTo>
                    <a:pt x="267" y="55"/>
                    <a:pt x="266" y="54"/>
                    <a:pt x="266" y="53"/>
                  </a:cubicBezTo>
                  <a:cubicBezTo>
                    <a:pt x="266" y="53"/>
                    <a:pt x="266" y="52"/>
                    <a:pt x="266" y="51"/>
                  </a:cubicBezTo>
                  <a:cubicBezTo>
                    <a:pt x="265" y="50"/>
                    <a:pt x="265" y="49"/>
                    <a:pt x="266" y="47"/>
                  </a:cubicBezTo>
                  <a:cubicBezTo>
                    <a:pt x="266" y="46"/>
                    <a:pt x="266" y="46"/>
                    <a:pt x="266" y="46"/>
                  </a:cubicBezTo>
                  <a:cubicBezTo>
                    <a:pt x="268" y="40"/>
                    <a:pt x="265" y="36"/>
                    <a:pt x="262" y="32"/>
                  </a:cubicBezTo>
                  <a:cubicBezTo>
                    <a:pt x="261" y="30"/>
                    <a:pt x="260" y="29"/>
                    <a:pt x="259" y="27"/>
                  </a:cubicBezTo>
                  <a:cubicBezTo>
                    <a:pt x="258" y="26"/>
                    <a:pt x="257" y="24"/>
                    <a:pt x="256" y="22"/>
                  </a:cubicBezTo>
                  <a:cubicBezTo>
                    <a:pt x="254" y="19"/>
                    <a:pt x="253" y="16"/>
                    <a:pt x="250" y="13"/>
                  </a:cubicBezTo>
                  <a:cubicBezTo>
                    <a:pt x="250" y="12"/>
                    <a:pt x="249" y="11"/>
                    <a:pt x="248" y="11"/>
                  </a:cubicBezTo>
                  <a:cubicBezTo>
                    <a:pt x="246" y="9"/>
                    <a:pt x="244" y="7"/>
                    <a:pt x="244" y="4"/>
                  </a:cubicBezTo>
                  <a:cubicBezTo>
                    <a:pt x="244" y="2"/>
                    <a:pt x="244" y="2"/>
                    <a:pt x="244" y="2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1" y="2"/>
                    <a:pt x="239" y="1"/>
                    <a:pt x="238" y="1"/>
                  </a:cubicBezTo>
                  <a:cubicBezTo>
                    <a:pt x="238" y="1"/>
                    <a:pt x="238" y="1"/>
                    <a:pt x="238" y="1"/>
                  </a:cubicBezTo>
                  <a:cubicBezTo>
                    <a:pt x="237" y="1"/>
                    <a:pt x="237" y="1"/>
                    <a:pt x="236" y="1"/>
                  </a:cubicBezTo>
                  <a:cubicBezTo>
                    <a:pt x="236" y="1"/>
                    <a:pt x="235" y="0"/>
                    <a:pt x="234" y="0"/>
                  </a:cubicBezTo>
                  <a:cubicBezTo>
                    <a:pt x="231" y="0"/>
                    <a:pt x="229" y="2"/>
                    <a:pt x="226" y="3"/>
                  </a:cubicBezTo>
                  <a:cubicBezTo>
                    <a:pt x="225" y="4"/>
                    <a:pt x="225" y="4"/>
                    <a:pt x="224" y="5"/>
                  </a:cubicBezTo>
                  <a:cubicBezTo>
                    <a:pt x="223" y="5"/>
                    <a:pt x="223" y="5"/>
                    <a:pt x="222" y="6"/>
                  </a:cubicBezTo>
                  <a:cubicBezTo>
                    <a:pt x="221" y="6"/>
                    <a:pt x="220" y="7"/>
                    <a:pt x="218" y="8"/>
                  </a:cubicBezTo>
                  <a:cubicBezTo>
                    <a:pt x="214" y="9"/>
                    <a:pt x="209" y="12"/>
                    <a:pt x="209" y="17"/>
                  </a:cubicBezTo>
                  <a:cubicBezTo>
                    <a:pt x="209" y="18"/>
                    <a:pt x="209" y="18"/>
                    <a:pt x="209" y="19"/>
                  </a:cubicBezTo>
                  <a:cubicBezTo>
                    <a:pt x="210" y="20"/>
                    <a:pt x="210" y="21"/>
                    <a:pt x="209" y="23"/>
                  </a:cubicBezTo>
                  <a:cubicBezTo>
                    <a:pt x="208" y="24"/>
                    <a:pt x="207" y="25"/>
                    <a:pt x="206" y="26"/>
                  </a:cubicBezTo>
                  <a:cubicBezTo>
                    <a:pt x="205" y="26"/>
                    <a:pt x="204" y="26"/>
                    <a:pt x="204" y="27"/>
                  </a:cubicBezTo>
                  <a:cubicBezTo>
                    <a:pt x="203" y="28"/>
                    <a:pt x="202" y="29"/>
                    <a:pt x="202" y="31"/>
                  </a:cubicBezTo>
                  <a:cubicBezTo>
                    <a:pt x="202" y="31"/>
                    <a:pt x="202" y="32"/>
                    <a:pt x="201" y="33"/>
                  </a:cubicBezTo>
                  <a:cubicBezTo>
                    <a:pt x="201" y="34"/>
                    <a:pt x="200" y="34"/>
                    <a:pt x="199" y="34"/>
                  </a:cubicBezTo>
                  <a:cubicBezTo>
                    <a:pt x="198" y="34"/>
                    <a:pt x="197" y="35"/>
                    <a:pt x="196" y="35"/>
                  </a:cubicBezTo>
                  <a:cubicBezTo>
                    <a:pt x="195" y="35"/>
                    <a:pt x="195" y="37"/>
                    <a:pt x="194" y="38"/>
                  </a:cubicBezTo>
                  <a:cubicBezTo>
                    <a:pt x="194" y="38"/>
                    <a:pt x="193" y="39"/>
                    <a:pt x="193" y="40"/>
                  </a:cubicBezTo>
                  <a:cubicBezTo>
                    <a:pt x="192" y="41"/>
                    <a:pt x="190" y="42"/>
                    <a:pt x="189" y="44"/>
                  </a:cubicBezTo>
                  <a:cubicBezTo>
                    <a:pt x="187" y="46"/>
                    <a:pt x="186" y="48"/>
                    <a:pt x="184" y="50"/>
                  </a:cubicBezTo>
                  <a:cubicBezTo>
                    <a:pt x="184" y="50"/>
                    <a:pt x="183" y="51"/>
                    <a:pt x="183" y="52"/>
                  </a:cubicBezTo>
                  <a:cubicBezTo>
                    <a:pt x="182" y="53"/>
                    <a:pt x="182" y="54"/>
                    <a:pt x="181" y="55"/>
                  </a:cubicBezTo>
                  <a:cubicBezTo>
                    <a:pt x="180" y="55"/>
                    <a:pt x="179" y="56"/>
                    <a:pt x="178" y="56"/>
                  </a:cubicBezTo>
                  <a:cubicBezTo>
                    <a:pt x="177" y="56"/>
                    <a:pt x="176" y="57"/>
                    <a:pt x="176" y="58"/>
                  </a:cubicBezTo>
                  <a:cubicBezTo>
                    <a:pt x="175" y="58"/>
                    <a:pt x="175" y="59"/>
                    <a:pt x="175" y="60"/>
                  </a:cubicBezTo>
                  <a:cubicBezTo>
                    <a:pt x="174" y="61"/>
                    <a:pt x="174" y="61"/>
                    <a:pt x="172" y="61"/>
                  </a:cubicBezTo>
                  <a:cubicBezTo>
                    <a:pt x="172" y="61"/>
                    <a:pt x="172" y="61"/>
                    <a:pt x="172" y="61"/>
                  </a:cubicBezTo>
                  <a:cubicBezTo>
                    <a:pt x="171" y="61"/>
                    <a:pt x="170" y="61"/>
                    <a:pt x="169" y="61"/>
                  </a:cubicBezTo>
                  <a:cubicBezTo>
                    <a:pt x="168" y="61"/>
                    <a:pt x="168" y="61"/>
                    <a:pt x="167" y="61"/>
                  </a:cubicBezTo>
                  <a:cubicBezTo>
                    <a:pt x="166" y="61"/>
                    <a:pt x="166" y="61"/>
                    <a:pt x="166" y="61"/>
                  </a:cubicBezTo>
                  <a:cubicBezTo>
                    <a:pt x="164" y="61"/>
                    <a:pt x="162" y="62"/>
                    <a:pt x="160" y="63"/>
                  </a:cubicBezTo>
                  <a:cubicBezTo>
                    <a:pt x="158" y="64"/>
                    <a:pt x="157" y="64"/>
                    <a:pt x="155" y="65"/>
                  </a:cubicBezTo>
                  <a:cubicBezTo>
                    <a:pt x="152" y="65"/>
                    <a:pt x="149" y="65"/>
                    <a:pt x="146" y="65"/>
                  </a:cubicBezTo>
                  <a:cubicBezTo>
                    <a:pt x="141" y="65"/>
                    <a:pt x="141" y="65"/>
                    <a:pt x="141" y="65"/>
                  </a:cubicBezTo>
                  <a:cubicBezTo>
                    <a:pt x="138" y="65"/>
                    <a:pt x="133" y="66"/>
                    <a:pt x="130" y="68"/>
                  </a:cubicBezTo>
                  <a:cubicBezTo>
                    <a:pt x="129" y="69"/>
                    <a:pt x="128" y="70"/>
                    <a:pt x="129" y="71"/>
                  </a:cubicBezTo>
                  <a:cubicBezTo>
                    <a:pt x="129" y="73"/>
                    <a:pt x="133" y="75"/>
                    <a:pt x="135" y="75"/>
                  </a:cubicBezTo>
                  <a:cubicBezTo>
                    <a:pt x="135" y="77"/>
                    <a:pt x="134" y="79"/>
                    <a:pt x="133" y="81"/>
                  </a:cubicBezTo>
                  <a:cubicBezTo>
                    <a:pt x="132" y="82"/>
                    <a:pt x="132" y="83"/>
                    <a:pt x="131" y="83"/>
                  </a:cubicBezTo>
                  <a:cubicBezTo>
                    <a:pt x="131" y="84"/>
                    <a:pt x="131" y="84"/>
                    <a:pt x="131" y="84"/>
                  </a:cubicBezTo>
                  <a:cubicBezTo>
                    <a:pt x="130" y="86"/>
                    <a:pt x="128" y="90"/>
                    <a:pt x="126" y="91"/>
                  </a:cubicBezTo>
                  <a:cubicBezTo>
                    <a:pt x="125" y="91"/>
                    <a:pt x="125" y="91"/>
                    <a:pt x="124" y="91"/>
                  </a:cubicBezTo>
                  <a:cubicBezTo>
                    <a:pt x="123" y="91"/>
                    <a:pt x="122" y="92"/>
                    <a:pt x="122" y="93"/>
                  </a:cubicBezTo>
                  <a:cubicBezTo>
                    <a:pt x="122" y="93"/>
                    <a:pt x="122" y="94"/>
                    <a:pt x="122" y="94"/>
                  </a:cubicBezTo>
                  <a:cubicBezTo>
                    <a:pt x="122" y="96"/>
                    <a:pt x="122" y="96"/>
                    <a:pt x="121" y="97"/>
                  </a:cubicBezTo>
                  <a:cubicBezTo>
                    <a:pt x="120" y="97"/>
                    <a:pt x="120" y="97"/>
                    <a:pt x="120" y="97"/>
                  </a:cubicBezTo>
                  <a:cubicBezTo>
                    <a:pt x="119" y="97"/>
                    <a:pt x="118" y="97"/>
                    <a:pt x="118" y="97"/>
                  </a:cubicBezTo>
                  <a:cubicBezTo>
                    <a:pt x="117" y="97"/>
                    <a:pt x="117" y="96"/>
                    <a:pt x="116" y="96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15" y="96"/>
                    <a:pt x="115" y="97"/>
                    <a:pt x="114" y="97"/>
                  </a:cubicBezTo>
                  <a:cubicBezTo>
                    <a:pt x="113" y="97"/>
                    <a:pt x="112" y="97"/>
                    <a:pt x="112" y="97"/>
                  </a:cubicBezTo>
                  <a:cubicBezTo>
                    <a:pt x="111" y="97"/>
                    <a:pt x="111" y="97"/>
                    <a:pt x="110" y="97"/>
                  </a:cubicBezTo>
                  <a:cubicBezTo>
                    <a:pt x="107" y="97"/>
                    <a:pt x="107" y="97"/>
                    <a:pt x="107" y="97"/>
                  </a:cubicBezTo>
                  <a:cubicBezTo>
                    <a:pt x="106" y="97"/>
                    <a:pt x="104" y="97"/>
                    <a:pt x="103" y="98"/>
                  </a:cubicBezTo>
                  <a:cubicBezTo>
                    <a:pt x="100" y="99"/>
                    <a:pt x="97" y="100"/>
                    <a:pt x="94" y="101"/>
                  </a:cubicBezTo>
                  <a:cubicBezTo>
                    <a:pt x="93" y="101"/>
                    <a:pt x="91" y="101"/>
                    <a:pt x="90" y="102"/>
                  </a:cubicBezTo>
                  <a:cubicBezTo>
                    <a:pt x="88" y="102"/>
                    <a:pt x="87" y="103"/>
                    <a:pt x="85" y="103"/>
                  </a:cubicBezTo>
                  <a:cubicBezTo>
                    <a:pt x="83" y="104"/>
                    <a:pt x="82" y="105"/>
                    <a:pt x="81" y="106"/>
                  </a:cubicBezTo>
                  <a:cubicBezTo>
                    <a:pt x="80" y="107"/>
                    <a:pt x="79" y="107"/>
                    <a:pt x="78" y="108"/>
                  </a:cubicBezTo>
                  <a:cubicBezTo>
                    <a:pt x="77" y="109"/>
                    <a:pt x="76" y="109"/>
                    <a:pt x="75" y="110"/>
                  </a:cubicBezTo>
                  <a:cubicBezTo>
                    <a:pt x="73" y="110"/>
                    <a:pt x="71" y="111"/>
                    <a:pt x="70" y="112"/>
                  </a:cubicBezTo>
                  <a:cubicBezTo>
                    <a:pt x="69" y="113"/>
                    <a:pt x="68" y="113"/>
                    <a:pt x="67" y="113"/>
                  </a:cubicBezTo>
                  <a:cubicBezTo>
                    <a:pt x="67" y="113"/>
                    <a:pt x="67" y="113"/>
                    <a:pt x="67" y="113"/>
                  </a:cubicBezTo>
                  <a:cubicBezTo>
                    <a:pt x="66" y="113"/>
                    <a:pt x="66" y="112"/>
                    <a:pt x="65" y="111"/>
                  </a:cubicBezTo>
                  <a:cubicBezTo>
                    <a:pt x="65" y="111"/>
                    <a:pt x="64" y="110"/>
                    <a:pt x="64" y="109"/>
                  </a:cubicBezTo>
                  <a:cubicBezTo>
                    <a:pt x="63" y="106"/>
                    <a:pt x="62" y="105"/>
                    <a:pt x="61" y="104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59" y="104"/>
                    <a:pt x="59" y="104"/>
                    <a:pt x="59" y="104"/>
                  </a:cubicBezTo>
                  <a:cubicBezTo>
                    <a:pt x="58" y="105"/>
                    <a:pt x="57" y="106"/>
                    <a:pt x="56" y="107"/>
                  </a:cubicBezTo>
                  <a:cubicBezTo>
                    <a:pt x="55" y="108"/>
                    <a:pt x="54" y="109"/>
                    <a:pt x="53" y="110"/>
                  </a:cubicBezTo>
                  <a:cubicBezTo>
                    <a:pt x="52" y="110"/>
                    <a:pt x="51" y="111"/>
                    <a:pt x="50" y="111"/>
                  </a:cubicBezTo>
                  <a:cubicBezTo>
                    <a:pt x="50" y="111"/>
                    <a:pt x="49" y="111"/>
                    <a:pt x="49" y="112"/>
                  </a:cubicBezTo>
                  <a:cubicBezTo>
                    <a:pt x="48" y="112"/>
                    <a:pt x="47" y="112"/>
                    <a:pt x="46" y="113"/>
                  </a:cubicBezTo>
                  <a:cubicBezTo>
                    <a:pt x="46" y="113"/>
                    <a:pt x="46" y="113"/>
                    <a:pt x="45" y="114"/>
                  </a:cubicBezTo>
                  <a:cubicBezTo>
                    <a:pt x="45" y="114"/>
                    <a:pt x="44" y="114"/>
                    <a:pt x="44" y="114"/>
                  </a:cubicBezTo>
                  <a:cubicBezTo>
                    <a:pt x="43" y="115"/>
                    <a:pt x="42" y="115"/>
                    <a:pt x="42" y="115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40" y="116"/>
                    <a:pt x="39" y="116"/>
                    <a:pt x="39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6" y="115"/>
                    <a:pt x="35" y="115"/>
                  </a:cubicBezTo>
                  <a:cubicBezTo>
                    <a:pt x="34" y="114"/>
                    <a:pt x="32" y="114"/>
                    <a:pt x="32" y="114"/>
                  </a:cubicBezTo>
                  <a:cubicBezTo>
                    <a:pt x="30" y="113"/>
                    <a:pt x="30" y="113"/>
                    <a:pt x="30" y="113"/>
                  </a:cubicBezTo>
                  <a:cubicBezTo>
                    <a:pt x="29" y="115"/>
                    <a:pt x="29" y="115"/>
                    <a:pt x="29" y="115"/>
                  </a:cubicBezTo>
                  <a:cubicBezTo>
                    <a:pt x="28" y="117"/>
                    <a:pt x="27" y="119"/>
                    <a:pt x="25" y="121"/>
                  </a:cubicBezTo>
                  <a:cubicBezTo>
                    <a:pt x="24" y="123"/>
                    <a:pt x="21" y="126"/>
                    <a:pt x="20" y="130"/>
                  </a:cubicBezTo>
                  <a:cubicBezTo>
                    <a:pt x="19" y="134"/>
                    <a:pt x="18" y="137"/>
                    <a:pt x="15" y="141"/>
                  </a:cubicBezTo>
                  <a:cubicBezTo>
                    <a:pt x="14" y="143"/>
                    <a:pt x="13" y="145"/>
                    <a:pt x="12" y="147"/>
                  </a:cubicBezTo>
                  <a:cubicBezTo>
                    <a:pt x="12" y="148"/>
                    <a:pt x="11" y="150"/>
                    <a:pt x="11" y="151"/>
                  </a:cubicBezTo>
                  <a:cubicBezTo>
                    <a:pt x="10" y="153"/>
                    <a:pt x="8" y="155"/>
                    <a:pt x="6" y="156"/>
                  </a:cubicBezTo>
                  <a:cubicBezTo>
                    <a:pt x="2" y="160"/>
                    <a:pt x="0" y="162"/>
                    <a:pt x="1" y="164"/>
                  </a:cubicBezTo>
                  <a:cubicBezTo>
                    <a:pt x="1" y="166"/>
                    <a:pt x="3" y="167"/>
                    <a:pt x="6" y="167"/>
                  </a:cubicBezTo>
                  <a:cubicBezTo>
                    <a:pt x="6" y="172"/>
                    <a:pt x="6" y="176"/>
                    <a:pt x="5" y="180"/>
                  </a:cubicBezTo>
                  <a:cubicBezTo>
                    <a:pt x="5" y="181"/>
                    <a:pt x="5" y="181"/>
                    <a:pt x="5" y="181"/>
                  </a:cubicBezTo>
                  <a:cubicBezTo>
                    <a:pt x="4" y="184"/>
                    <a:pt x="4" y="187"/>
                    <a:pt x="5" y="190"/>
                  </a:cubicBezTo>
                  <a:cubicBezTo>
                    <a:pt x="6" y="191"/>
                    <a:pt x="6" y="191"/>
                    <a:pt x="6" y="191"/>
                  </a:cubicBezTo>
                  <a:cubicBezTo>
                    <a:pt x="7" y="192"/>
                    <a:pt x="7" y="192"/>
                    <a:pt x="8" y="194"/>
                  </a:cubicBezTo>
                  <a:cubicBezTo>
                    <a:pt x="8" y="195"/>
                    <a:pt x="8" y="197"/>
                    <a:pt x="8" y="198"/>
                  </a:cubicBezTo>
                  <a:cubicBezTo>
                    <a:pt x="8" y="201"/>
                    <a:pt x="8" y="201"/>
                    <a:pt x="8" y="201"/>
                  </a:cubicBezTo>
                  <a:cubicBezTo>
                    <a:pt x="8" y="205"/>
                    <a:pt x="9" y="209"/>
                    <a:pt x="11" y="212"/>
                  </a:cubicBezTo>
                  <a:cubicBezTo>
                    <a:pt x="12" y="214"/>
                    <a:pt x="13" y="215"/>
                    <a:pt x="15" y="216"/>
                  </a:cubicBezTo>
                  <a:cubicBezTo>
                    <a:pt x="17" y="217"/>
                    <a:pt x="18" y="218"/>
                    <a:pt x="19" y="221"/>
                  </a:cubicBezTo>
                  <a:cubicBezTo>
                    <a:pt x="20" y="224"/>
                    <a:pt x="20" y="226"/>
                    <a:pt x="20" y="229"/>
                  </a:cubicBezTo>
                  <a:cubicBezTo>
                    <a:pt x="20" y="232"/>
                    <a:pt x="19" y="236"/>
                    <a:pt x="21" y="239"/>
                  </a:cubicBezTo>
                  <a:cubicBezTo>
                    <a:pt x="24" y="242"/>
                    <a:pt x="26" y="245"/>
                    <a:pt x="29" y="248"/>
                  </a:cubicBezTo>
                  <a:cubicBezTo>
                    <a:pt x="31" y="250"/>
                    <a:pt x="33" y="251"/>
                    <a:pt x="34" y="253"/>
                  </a:cubicBezTo>
                  <a:cubicBezTo>
                    <a:pt x="36" y="255"/>
                    <a:pt x="38" y="256"/>
                    <a:pt x="40" y="258"/>
                  </a:cubicBezTo>
                  <a:cubicBezTo>
                    <a:pt x="43" y="260"/>
                    <a:pt x="46" y="262"/>
                    <a:pt x="48" y="265"/>
                  </a:cubicBezTo>
                  <a:cubicBezTo>
                    <a:pt x="50" y="269"/>
                    <a:pt x="49" y="273"/>
                    <a:pt x="49" y="278"/>
                  </a:cubicBezTo>
                  <a:cubicBezTo>
                    <a:pt x="49" y="280"/>
                    <a:pt x="48" y="282"/>
                    <a:pt x="48" y="284"/>
                  </a:cubicBezTo>
                  <a:cubicBezTo>
                    <a:pt x="48" y="286"/>
                    <a:pt x="49" y="287"/>
                    <a:pt x="49" y="288"/>
                  </a:cubicBezTo>
                  <a:cubicBezTo>
                    <a:pt x="50" y="294"/>
                    <a:pt x="50" y="294"/>
                    <a:pt x="50" y="294"/>
                  </a:cubicBezTo>
                  <a:cubicBezTo>
                    <a:pt x="53" y="289"/>
                    <a:pt x="53" y="289"/>
                    <a:pt x="53" y="289"/>
                  </a:cubicBezTo>
                  <a:cubicBezTo>
                    <a:pt x="53" y="288"/>
                    <a:pt x="54" y="287"/>
                    <a:pt x="54" y="286"/>
                  </a:cubicBezTo>
                  <a:cubicBezTo>
                    <a:pt x="54" y="285"/>
                    <a:pt x="55" y="284"/>
                    <a:pt x="55" y="284"/>
                  </a:cubicBezTo>
                  <a:cubicBezTo>
                    <a:pt x="57" y="281"/>
                    <a:pt x="58" y="277"/>
                    <a:pt x="59" y="274"/>
                  </a:cubicBezTo>
                  <a:cubicBezTo>
                    <a:pt x="60" y="271"/>
                    <a:pt x="61" y="268"/>
                    <a:pt x="61" y="265"/>
                  </a:cubicBezTo>
                  <a:cubicBezTo>
                    <a:pt x="62" y="261"/>
                    <a:pt x="63" y="257"/>
                    <a:pt x="65" y="253"/>
                  </a:cubicBezTo>
                  <a:cubicBezTo>
                    <a:pt x="68" y="246"/>
                    <a:pt x="70" y="246"/>
                    <a:pt x="75" y="246"/>
                  </a:cubicBezTo>
                  <a:cubicBezTo>
                    <a:pt x="77" y="246"/>
                    <a:pt x="79" y="246"/>
                    <a:pt x="82" y="245"/>
                  </a:cubicBezTo>
                  <a:cubicBezTo>
                    <a:pt x="83" y="245"/>
                    <a:pt x="85" y="244"/>
                    <a:pt x="86" y="243"/>
                  </a:cubicBezTo>
                  <a:cubicBezTo>
                    <a:pt x="88" y="242"/>
                    <a:pt x="90" y="241"/>
                    <a:pt x="92" y="241"/>
                  </a:cubicBezTo>
                  <a:cubicBezTo>
                    <a:pt x="93" y="241"/>
                    <a:pt x="96" y="243"/>
                    <a:pt x="98" y="244"/>
                  </a:cubicBezTo>
                  <a:cubicBezTo>
                    <a:pt x="99" y="244"/>
                    <a:pt x="100" y="245"/>
                    <a:pt x="101" y="245"/>
                  </a:cubicBezTo>
                  <a:cubicBezTo>
                    <a:pt x="103" y="246"/>
                    <a:pt x="106" y="247"/>
                    <a:pt x="108" y="247"/>
                  </a:cubicBezTo>
                  <a:cubicBezTo>
                    <a:pt x="110" y="247"/>
                    <a:pt x="111" y="246"/>
                    <a:pt x="112" y="246"/>
                  </a:cubicBezTo>
                  <a:cubicBezTo>
                    <a:pt x="114" y="246"/>
                    <a:pt x="115" y="246"/>
                    <a:pt x="116" y="246"/>
                  </a:cubicBezTo>
                  <a:cubicBezTo>
                    <a:pt x="117" y="246"/>
                    <a:pt x="118" y="246"/>
                    <a:pt x="118" y="246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1" y="240"/>
                    <a:pt x="122" y="237"/>
                    <a:pt x="122" y="233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2" y="228"/>
                    <a:pt x="122" y="225"/>
                    <a:pt x="124" y="221"/>
                  </a:cubicBezTo>
                  <a:cubicBezTo>
                    <a:pt x="125" y="219"/>
                    <a:pt x="126" y="217"/>
                    <a:pt x="127" y="215"/>
                  </a:cubicBezTo>
                  <a:cubicBezTo>
                    <a:pt x="128" y="214"/>
                    <a:pt x="129" y="213"/>
                    <a:pt x="129" y="212"/>
                  </a:cubicBezTo>
                  <a:cubicBezTo>
                    <a:pt x="130" y="210"/>
                    <a:pt x="130" y="210"/>
                    <a:pt x="130" y="210"/>
                  </a:cubicBezTo>
                  <a:cubicBezTo>
                    <a:pt x="132" y="207"/>
                    <a:pt x="134" y="204"/>
                    <a:pt x="136" y="202"/>
                  </a:cubicBezTo>
                  <a:cubicBezTo>
                    <a:pt x="139" y="198"/>
                    <a:pt x="144" y="194"/>
                    <a:pt x="150" y="194"/>
                  </a:cubicBezTo>
                  <a:cubicBezTo>
                    <a:pt x="152" y="194"/>
                    <a:pt x="154" y="195"/>
                    <a:pt x="156" y="196"/>
                  </a:cubicBezTo>
                  <a:cubicBezTo>
                    <a:pt x="163" y="199"/>
                    <a:pt x="169" y="203"/>
                    <a:pt x="173" y="209"/>
                  </a:cubicBezTo>
                  <a:cubicBezTo>
                    <a:pt x="173" y="210"/>
                    <a:pt x="174" y="211"/>
                    <a:pt x="174" y="211"/>
                  </a:cubicBezTo>
                  <a:cubicBezTo>
                    <a:pt x="176" y="214"/>
                    <a:pt x="177" y="216"/>
                    <a:pt x="180" y="217"/>
                  </a:cubicBezTo>
                  <a:cubicBezTo>
                    <a:pt x="181" y="217"/>
                    <a:pt x="182" y="217"/>
                    <a:pt x="183" y="217"/>
                  </a:cubicBezTo>
                  <a:cubicBezTo>
                    <a:pt x="185" y="217"/>
                    <a:pt x="185" y="217"/>
                    <a:pt x="185" y="217"/>
                  </a:cubicBezTo>
                  <a:cubicBezTo>
                    <a:pt x="188" y="217"/>
                    <a:pt x="190" y="217"/>
                    <a:pt x="192" y="218"/>
                  </a:cubicBezTo>
                  <a:cubicBezTo>
                    <a:pt x="193" y="219"/>
                    <a:pt x="193" y="219"/>
                    <a:pt x="193" y="219"/>
                  </a:cubicBezTo>
                  <a:cubicBezTo>
                    <a:pt x="196" y="221"/>
                    <a:pt x="198" y="222"/>
                    <a:pt x="202" y="223"/>
                  </a:cubicBezTo>
                  <a:cubicBezTo>
                    <a:pt x="203" y="223"/>
                    <a:pt x="204" y="223"/>
                    <a:pt x="206" y="223"/>
                  </a:cubicBezTo>
                  <a:cubicBezTo>
                    <a:pt x="209" y="223"/>
                    <a:pt x="209" y="223"/>
                    <a:pt x="209" y="223"/>
                  </a:cubicBezTo>
                  <a:cubicBezTo>
                    <a:pt x="211" y="223"/>
                    <a:pt x="212" y="223"/>
                    <a:pt x="213" y="223"/>
                  </a:cubicBezTo>
                  <a:cubicBezTo>
                    <a:pt x="216" y="223"/>
                    <a:pt x="218" y="224"/>
                    <a:pt x="220" y="225"/>
                  </a:cubicBezTo>
                  <a:cubicBezTo>
                    <a:pt x="223" y="225"/>
                    <a:pt x="226" y="226"/>
                    <a:pt x="229" y="226"/>
                  </a:cubicBezTo>
                  <a:cubicBezTo>
                    <a:pt x="232" y="226"/>
                    <a:pt x="234" y="225"/>
                    <a:pt x="236" y="223"/>
                  </a:cubicBezTo>
                  <a:cubicBezTo>
                    <a:pt x="237" y="221"/>
                    <a:pt x="238" y="219"/>
                    <a:pt x="239" y="216"/>
                  </a:cubicBezTo>
                  <a:cubicBezTo>
                    <a:pt x="240" y="212"/>
                    <a:pt x="242" y="207"/>
                    <a:pt x="245" y="206"/>
                  </a:cubicBezTo>
                  <a:cubicBezTo>
                    <a:pt x="246" y="205"/>
                    <a:pt x="247" y="205"/>
                    <a:pt x="247" y="205"/>
                  </a:cubicBezTo>
                  <a:cubicBezTo>
                    <a:pt x="248" y="205"/>
                    <a:pt x="249" y="206"/>
                    <a:pt x="250" y="206"/>
                  </a:cubicBezTo>
                  <a:cubicBezTo>
                    <a:pt x="252" y="207"/>
                    <a:pt x="253" y="207"/>
                    <a:pt x="254" y="208"/>
                  </a:cubicBezTo>
                  <a:cubicBezTo>
                    <a:pt x="256" y="210"/>
                    <a:pt x="257" y="211"/>
                    <a:pt x="260" y="211"/>
                  </a:cubicBezTo>
                  <a:cubicBezTo>
                    <a:pt x="260" y="211"/>
                    <a:pt x="261" y="211"/>
                    <a:pt x="261" y="211"/>
                  </a:cubicBezTo>
                  <a:cubicBezTo>
                    <a:pt x="264" y="211"/>
                    <a:pt x="266" y="209"/>
                    <a:pt x="269" y="208"/>
                  </a:cubicBezTo>
                  <a:cubicBezTo>
                    <a:pt x="270" y="207"/>
                    <a:pt x="272" y="206"/>
                    <a:pt x="273" y="205"/>
                  </a:cubicBezTo>
                  <a:cubicBezTo>
                    <a:pt x="278" y="203"/>
                    <a:pt x="282" y="201"/>
                    <a:pt x="285" y="199"/>
                  </a:cubicBezTo>
                  <a:cubicBezTo>
                    <a:pt x="287" y="197"/>
                    <a:pt x="288" y="197"/>
                    <a:pt x="290" y="197"/>
                  </a:cubicBezTo>
                  <a:cubicBezTo>
                    <a:pt x="291" y="197"/>
                    <a:pt x="293" y="198"/>
                    <a:pt x="295" y="198"/>
                  </a:cubicBezTo>
                  <a:cubicBezTo>
                    <a:pt x="295" y="199"/>
                    <a:pt x="295" y="199"/>
                    <a:pt x="295" y="199"/>
                  </a:cubicBezTo>
                  <a:cubicBezTo>
                    <a:pt x="298" y="199"/>
                    <a:pt x="299" y="200"/>
                    <a:pt x="301" y="200"/>
                  </a:cubicBezTo>
                  <a:cubicBezTo>
                    <a:pt x="303" y="200"/>
                    <a:pt x="304" y="200"/>
                    <a:pt x="307" y="199"/>
                  </a:cubicBezTo>
                  <a:cubicBezTo>
                    <a:pt x="308" y="199"/>
                    <a:pt x="309" y="199"/>
                    <a:pt x="310" y="199"/>
                  </a:cubicBezTo>
                  <a:cubicBezTo>
                    <a:pt x="312" y="198"/>
                    <a:pt x="313" y="198"/>
                    <a:pt x="315" y="198"/>
                  </a:cubicBezTo>
                  <a:cubicBezTo>
                    <a:pt x="317" y="197"/>
                    <a:pt x="317" y="194"/>
                    <a:pt x="318" y="192"/>
                  </a:cubicBezTo>
                  <a:cubicBezTo>
                    <a:pt x="318" y="189"/>
                    <a:pt x="319" y="186"/>
                    <a:pt x="322" y="186"/>
                  </a:cubicBezTo>
                  <a:cubicBezTo>
                    <a:pt x="323" y="186"/>
                    <a:pt x="323" y="186"/>
                    <a:pt x="323" y="186"/>
                  </a:cubicBezTo>
                  <a:cubicBezTo>
                    <a:pt x="325" y="186"/>
                    <a:pt x="326" y="188"/>
                    <a:pt x="328" y="190"/>
                  </a:cubicBezTo>
                  <a:cubicBezTo>
                    <a:pt x="329" y="192"/>
                    <a:pt x="330" y="193"/>
                    <a:pt x="332" y="193"/>
                  </a:cubicBezTo>
                  <a:cubicBezTo>
                    <a:pt x="333" y="193"/>
                    <a:pt x="333" y="193"/>
                    <a:pt x="334" y="193"/>
                  </a:cubicBezTo>
                  <a:cubicBezTo>
                    <a:pt x="335" y="192"/>
                    <a:pt x="335" y="192"/>
                    <a:pt x="336" y="191"/>
                  </a:cubicBezTo>
                  <a:cubicBezTo>
                    <a:pt x="337" y="190"/>
                    <a:pt x="338" y="190"/>
                    <a:pt x="340" y="190"/>
                  </a:cubicBezTo>
                  <a:cubicBezTo>
                    <a:pt x="340" y="190"/>
                    <a:pt x="340" y="190"/>
                    <a:pt x="340" y="190"/>
                  </a:cubicBezTo>
                  <a:cubicBezTo>
                    <a:pt x="342" y="190"/>
                    <a:pt x="343" y="191"/>
                    <a:pt x="345" y="192"/>
                  </a:cubicBezTo>
                  <a:cubicBezTo>
                    <a:pt x="346" y="193"/>
                    <a:pt x="346" y="193"/>
                    <a:pt x="346" y="193"/>
                  </a:cubicBezTo>
                  <a:cubicBezTo>
                    <a:pt x="348" y="196"/>
                    <a:pt x="350" y="196"/>
                    <a:pt x="353" y="196"/>
                  </a:cubicBezTo>
                  <a:cubicBezTo>
                    <a:pt x="353" y="196"/>
                    <a:pt x="353" y="196"/>
                    <a:pt x="353" y="196"/>
                  </a:cubicBezTo>
                  <a:cubicBezTo>
                    <a:pt x="354" y="196"/>
                    <a:pt x="354" y="196"/>
                    <a:pt x="355" y="196"/>
                  </a:cubicBezTo>
                  <a:cubicBezTo>
                    <a:pt x="356" y="196"/>
                    <a:pt x="356" y="196"/>
                    <a:pt x="357" y="196"/>
                  </a:cubicBezTo>
                  <a:cubicBezTo>
                    <a:pt x="357" y="196"/>
                    <a:pt x="357" y="196"/>
                    <a:pt x="357" y="196"/>
                  </a:cubicBezTo>
                  <a:cubicBezTo>
                    <a:pt x="358" y="196"/>
                    <a:pt x="359" y="196"/>
                    <a:pt x="360" y="196"/>
                  </a:cubicBezTo>
                  <a:cubicBezTo>
                    <a:pt x="362" y="197"/>
                    <a:pt x="362" y="197"/>
                    <a:pt x="362" y="197"/>
                  </a:cubicBezTo>
                  <a:cubicBezTo>
                    <a:pt x="363" y="196"/>
                    <a:pt x="363" y="196"/>
                    <a:pt x="363" y="196"/>
                  </a:cubicBezTo>
                  <a:cubicBezTo>
                    <a:pt x="364" y="194"/>
                    <a:pt x="365" y="193"/>
                    <a:pt x="367" y="193"/>
                  </a:cubicBezTo>
                  <a:cubicBezTo>
                    <a:pt x="368" y="193"/>
                    <a:pt x="369" y="194"/>
                    <a:pt x="370" y="194"/>
                  </a:cubicBezTo>
                  <a:cubicBezTo>
                    <a:pt x="371" y="194"/>
                    <a:pt x="372" y="194"/>
                    <a:pt x="373" y="194"/>
                  </a:cubicBezTo>
                  <a:cubicBezTo>
                    <a:pt x="376" y="194"/>
                    <a:pt x="376" y="194"/>
                    <a:pt x="376" y="194"/>
                  </a:cubicBezTo>
                  <a:lnTo>
                    <a:pt x="375" y="191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6" name="Freeform 36"/>
            <p:cNvSpPr>
              <a:spLocks/>
            </p:cNvSpPr>
            <p:nvPr/>
          </p:nvSpPr>
          <p:spPr bwMode="auto">
            <a:xfrm>
              <a:off x="3666235" y="2590519"/>
              <a:ext cx="121646" cy="104790"/>
            </a:xfrm>
            <a:custGeom>
              <a:avLst/>
              <a:gdLst>
                <a:gd name="T0" fmla="*/ 59 w 60"/>
                <a:gd name="T1" fmla="*/ 23 h 56"/>
                <a:gd name="T2" fmla="*/ 59 w 60"/>
                <a:gd name="T3" fmla="*/ 21 h 56"/>
                <a:gd name="T4" fmla="*/ 55 w 60"/>
                <a:gd name="T5" fmla="*/ 10 h 56"/>
                <a:gd name="T6" fmla="*/ 53 w 60"/>
                <a:gd name="T7" fmla="*/ 8 h 56"/>
                <a:gd name="T8" fmla="*/ 51 w 60"/>
                <a:gd name="T9" fmla="*/ 5 h 56"/>
                <a:gd name="T10" fmla="*/ 50 w 60"/>
                <a:gd name="T11" fmla="*/ 3 h 56"/>
                <a:gd name="T12" fmla="*/ 49 w 60"/>
                <a:gd name="T13" fmla="*/ 2 h 56"/>
                <a:gd name="T14" fmla="*/ 49 w 60"/>
                <a:gd name="T15" fmla="*/ 0 h 56"/>
                <a:gd name="T16" fmla="*/ 47 w 60"/>
                <a:gd name="T17" fmla="*/ 0 h 56"/>
                <a:gd name="T18" fmla="*/ 46 w 60"/>
                <a:gd name="T19" fmla="*/ 1 h 56"/>
                <a:gd name="T20" fmla="*/ 42 w 60"/>
                <a:gd name="T21" fmla="*/ 5 h 56"/>
                <a:gd name="T22" fmla="*/ 40 w 60"/>
                <a:gd name="T23" fmla="*/ 8 h 56"/>
                <a:gd name="T24" fmla="*/ 33 w 60"/>
                <a:gd name="T25" fmla="*/ 12 h 56"/>
                <a:gd name="T26" fmla="*/ 33 w 60"/>
                <a:gd name="T27" fmla="*/ 12 h 56"/>
                <a:gd name="T28" fmla="*/ 31 w 60"/>
                <a:gd name="T29" fmla="*/ 11 h 56"/>
                <a:gd name="T30" fmla="*/ 31 w 60"/>
                <a:gd name="T31" fmla="*/ 9 h 56"/>
                <a:gd name="T32" fmla="*/ 30 w 60"/>
                <a:gd name="T33" fmla="*/ 7 h 56"/>
                <a:gd name="T34" fmla="*/ 28 w 60"/>
                <a:gd name="T35" fmla="*/ 7 h 56"/>
                <a:gd name="T36" fmla="*/ 25 w 60"/>
                <a:gd name="T37" fmla="*/ 8 h 56"/>
                <a:gd name="T38" fmla="*/ 24 w 60"/>
                <a:gd name="T39" fmla="*/ 8 h 56"/>
                <a:gd name="T40" fmla="*/ 24 w 60"/>
                <a:gd name="T41" fmla="*/ 8 h 56"/>
                <a:gd name="T42" fmla="*/ 23 w 60"/>
                <a:gd name="T43" fmla="*/ 8 h 56"/>
                <a:gd name="T44" fmla="*/ 9 w 60"/>
                <a:gd name="T45" fmla="*/ 22 h 56"/>
                <a:gd name="T46" fmla="*/ 9 w 60"/>
                <a:gd name="T47" fmla="*/ 29 h 56"/>
                <a:gd name="T48" fmla="*/ 6 w 60"/>
                <a:gd name="T49" fmla="*/ 39 h 56"/>
                <a:gd name="T50" fmla="*/ 2 w 60"/>
                <a:gd name="T51" fmla="*/ 51 h 56"/>
                <a:gd name="T52" fmla="*/ 3 w 60"/>
                <a:gd name="T53" fmla="*/ 54 h 56"/>
                <a:gd name="T54" fmla="*/ 5 w 60"/>
                <a:gd name="T55" fmla="*/ 51 h 56"/>
                <a:gd name="T56" fmla="*/ 10 w 60"/>
                <a:gd name="T57" fmla="*/ 49 h 56"/>
                <a:gd name="T58" fmla="*/ 11 w 60"/>
                <a:gd name="T59" fmla="*/ 49 h 56"/>
                <a:gd name="T60" fmla="*/ 15 w 60"/>
                <a:gd name="T61" fmla="*/ 52 h 56"/>
                <a:gd name="T62" fmla="*/ 17 w 60"/>
                <a:gd name="T63" fmla="*/ 55 h 56"/>
                <a:gd name="T64" fmla="*/ 21 w 60"/>
                <a:gd name="T65" fmla="*/ 56 h 56"/>
                <a:gd name="T66" fmla="*/ 28 w 60"/>
                <a:gd name="T67" fmla="*/ 55 h 56"/>
                <a:gd name="T68" fmla="*/ 32 w 60"/>
                <a:gd name="T69" fmla="*/ 48 h 56"/>
                <a:gd name="T70" fmla="*/ 33 w 60"/>
                <a:gd name="T71" fmla="*/ 46 h 56"/>
                <a:gd name="T72" fmla="*/ 36 w 60"/>
                <a:gd name="T73" fmla="*/ 43 h 56"/>
                <a:gd name="T74" fmla="*/ 38 w 60"/>
                <a:gd name="T75" fmla="*/ 43 h 56"/>
                <a:gd name="T76" fmla="*/ 41 w 60"/>
                <a:gd name="T77" fmla="*/ 42 h 56"/>
                <a:gd name="T78" fmla="*/ 46 w 60"/>
                <a:gd name="T79" fmla="*/ 40 h 56"/>
                <a:gd name="T80" fmla="*/ 46 w 60"/>
                <a:gd name="T81" fmla="*/ 40 h 56"/>
                <a:gd name="T82" fmla="*/ 49 w 60"/>
                <a:gd name="T83" fmla="*/ 42 h 56"/>
                <a:gd name="T84" fmla="*/ 50 w 60"/>
                <a:gd name="T85" fmla="*/ 43 h 56"/>
                <a:gd name="T86" fmla="*/ 51 w 60"/>
                <a:gd name="T87" fmla="*/ 43 h 56"/>
                <a:gd name="T88" fmla="*/ 51 w 60"/>
                <a:gd name="T89" fmla="*/ 43 h 56"/>
                <a:gd name="T90" fmla="*/ 52 w 60"/>
                <a:gd name="T91" fmla="*/ 43 h 56"/>
                <a:gd name="T92" fmla="*/ 53 w 60"/>
                <a:gd name="T93" fmla="*/ 43 h 56"/>
                <a:gd name="T94" fmla="*/ 55 w 60"/>
                <a:gd name="T95" fmla="*/ 43 h 56"/>
                <a:gd name="T96" fmla="*/ 56 w 60"/>
                <a:gd name="T97" fmla="*/ 43 h 56"/>
                <a:gd name="T98" fmla="*/ 56 w 60"/>
                <a:gd name="T99" fmla="*/ 43 h 56"/>
                <a:gd name="T100" fmla="*/ 59 w 60"/>
                <a:gd name="T101" fmla="*/ 2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6">
                  <a:moveTo>
                    <a:pt x="59" y="23"/>
                  </a:moveTo>
                  <a:cubicBezTo>
                    <a:pt x="59" y="22"/>
                    <a:pt x="59" y="22"/>
                    <a:pt x="59" y="21"/>
                  </a:cubicBezTo>
                  <a:cubicBezTo>
                    <a:pt x="58" y="18"/>
                    <a:pt x="57" y="13"/>
                    <a:pt x="55" y="10"/>
                  </a:cubicBezTo>
                  <a:cubicBezTo>
                    <a:pt x="54" y="9"/>
                    <a:pt x="54" y="9"/>
                    <a:pt x="53" y="8"/>
                  </a:cubicBezTo>
                  <a:cubicBezTo>
                    <a:pt x="52" y="7"/>
                    <a:pt x="51" y="6"/>
                    <a:pt x="51" y="5"/>
                  </a:cubicBezTo>
                  <a:cubicBezTo>
                    <a:pt x="50" y="5"/>
                    <a:pt x="50" y="4"/>
                    <a:pt x="50" y="3"/>
                  </a:cubicBezTo>
                  <a:cubicBezTo>
                    <a:pt x="50" y="3"/>
                    <a:pt x="50" y="2"/>
                    <a:pt x="49" y="2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6" y="0"/>
                    <a:pt x="46" y="1"/>
                  </a:cubicBezTo>
                  <a:cubicBezTo>
                    <a:pt x="44" y="1"/>
                    <a:pt x="43" y="3"/>
                    <a:pt x="42" y="5"/>
                  </a:cubicBezTo>
                  <a:cubicBezTo>
                    <a:pt x="41" y="6"/>
                    <a:pt x="40" y="7"/>
                    <a:pt x="40" y="8"/>
                  </a:cubicBezTo>
                  <a:cubicBezTo>
                    <a:pt x="38" y="10"/>
                    <a:pt x="36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2" y="11"/>
                    <a:pt x="31" y="11"/>
                  </a:cubicBezTo>
                  <a:cubicBezTo>
                    <a:pt x="31" y="10"/>
                    <a:pt x="31" y="9"/>
                    <a:pt x="31" y="9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6" y="8"/>
                    <a:pt x="25" y="8"/>
                  </a:cubicBezTo>
                  <a:cubicBezTo>
                    <a:pt x="25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0" y="10"/>
                    <a:pt x="10" y="14"/>
                    <a:pt x="9" y="22"/>
                  </a:cubicBezTo>
                  <a:cubicBezTo>
                    <a:pt x="8" y="24"/>
                    <a:pt x="9" y="27"/>
                    <a:pt x="9" y="29"/>
                  </a:cubicBezTo>
                  <a:cubicBezTo>
                    <a:pt x="10" y="34"/>
                    <a:pt x="10" y="37"/>
                    <a:pt x="6" y="39"/>
                  </a:cubicBezTo>
                  <a:cubicBezTo>
                    <a:pt x="2" y="42"/>
                    <a:pt x="0" y="45"/>
                    <a:pt x="2" y="51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7" y="50"/>
                    <a:pt x="9" y="49"/>
                    <a:pt x="10" y="49"/>
                  </a:cubicBezTo>
                  <a:cubicBezTo>
                    <a:pt x="10" y="49"/>
                    <a:pt x="10" y="49"/>
                    <a:pt x="11" y="49"/>
                  </a:cubicBezTo>
                  <a:cubicBezTo>
                    <a:pt x="13" y="49"/>
                    <a:pt x="14" y="50"/>
                    <a:pt x="15" y="52"/>
                  </a:cubicBezTo>
                  <a:cubicBezTo>
                    <a:pt x="16" y="53"/>
                    <a:pt x="16" y="54"/>
                    <a:pt x="17" y="55"/>
                  </a:cubicBezTo>
                  <a:cubicBezTo>
                    <a:pt x="18" y="56"/>
                    <a:pt x="20" y="56"/>
                    <a:pt x="21" y="56"/>
                  </a:cubicBezTo>
                  <a:cubicBezTo>
                    <a:pt x="23" y="56"/>
                    <a:pt x="25" y="56"/>
                    <a:pt x="28" y="55"/>
                  </a:cubicBezTo>
                  <a:cubicBezTo>
                    <a:pt x="32" y="54"/>
                    <a:pt x="32" y="51"/>
                    <a:pt x="32" y="48"/>
                  </a:cubicBezTo>
                  <a:cubicBezTo>
                    <a:pt x="32" y="48"/>
                    <a:pt x="32" y="47"/>
                    <a:pt x="33" y="46"/>
                  </a:cubicBezTo>
                  <a:cubicBezTo>
                    <a:pt x="33" y="44"/>
                    <a:pt x="34" y="43"/>
                    <a:pt x="36" y="43"/>
                  </a:cubicBezTo>
                  <a:cubicBezTo>
                    <a:pt x="37" y="43"/>
                    <a:pt x="38" y="43"/>
                    <a:pt x="38" y="43"/>
                  </a:cubicBezTo>
                  <a:cubicBezTo>
                    <a:pt x="39" y="43"/>
                    <a:pt x="40" y="42"/>
                    <a:pt x="41" y="42"/>
                  </a:cubicBezTo>
                  <a:cubicBezTo>
                    <a:pt x="43" y="41"/>
                    <a:pt x="44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8" y="41"/>
                    <a:pt x="48" y="41"/>
                    <a:pt x="49" y="42"/>
                  </a:cubicBezTo>
                  <a:cubicBezTo>
                    <a:pt x="49" y="42"/>
                    <a:pt x="50" y="42"/>
                    <a:pt x="50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3" y="43"/>
                    <a:pt x="53" y="43"/>
                  </a:cubicBezTo>
                  <a:cubicBezTo>
                    <a:pt x="54" y="43"/>
                    <a:pt x="54" y="43"/>
                    <a:pt x="55" y="43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60" y="42"/>
                    <a:pt x="60" y="36"/>
                    <a:pt x="59" y="23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7" name="Freeform 37"/>
            <p:cNvSpPr>
              <a:spLocks noEditPoints="1"/>
            </p:cNvSpPr>
            <p:nvPr/>
          </p:nvSpPr>
          <p:spPr bwMode="auto">
            <a:xfrm>
              <a:off x="2409594" y="226586"/>
              <a:ext cx="233249" cy="443815"/>
            </a:xfrm>
            <a:custGeom>
              <a:avLst/>
              <a:gdLst>
                <a:gd name="T0" fmla="*/ 111 w 115"/>
                <a:gd name="T1" fmla="*/ 156 h 238"/>
                <a:gd name="T2" fmla="*/ 110 w 115"/>
                <a:gd name="T3" fmla="*/ 136 h 238"/>
                <a:gd name="T4" fmla="*/ 107 w 115"/>
                <a:gd name="T5" fmla="*/ 134 h 238"/>
                <a:gd name="T6" fmla="*/ 102 w 115"/>
                <a:gd name="T7" fmla="*/ 128 h 238"/>
                <a:gd name="T8" fmla="*/ 98 w 115"/>
                <a:gd name="T9" fmla="*/ 122 h 238"/>
                <a:gd name="T10" fmla="*/ 102 w 115"/>
                <a:gd name="T11" fmla="*/ 121 h 238"/>
                <a:gd name="T12" fmla="*/ 94 w 115"/>
                <a:gd name="T13" fmla="*/ 114 h 238"/>
                <a:gd name="T14" fmla="*/ 90 w 115"/>
                <a:gd name="T15" fmla="*/ 113 h 238"/>
                <a:gd name="T16" fmla="*/ 85 w 115"/>
                <a:gd name="T17" fmla="*/ 120 h 238"/>
                <a:gd name="T18" fmla="*/ 79 w 115"/>
                <a:gd name="T19" fmla="*/ 119 h 238"/>
                <a:gd name="T20" fmla="*/ 75 w 115"/>
                <a:gd name="T21" fmla="*/ 103 h 238"/>
                <a:gd name="T22" fmla="*/ 88 w 115"/>
                <a:gd name="T23" fmla="*/ 92 h 238"/>
                <a:gd name="T24" fmla="*/ 95 w 115"/>
                <a:gd name="T25" fmla="*/ 86 h 238"/>
                <a:gd name="T26" fmla="*/ 98 w 115"/>
                <a:gd name="T27" fmla="*/ 81 h 238"/>
                <a:gd name="T28" fmla="*/ 101 w 115"/>
                <a:gd name="T29" fmla="*/ 71 h 238"/>
                <a:gd name="T30" fmla="*/ 93 w 115"/>
                <a:gd name="T31" fmla="*/ 53 h 238"/>
                <a:gd name="T32" fmla="*/ 85 w 115"/>
                <a:gd name="T33" fmla="*/ 41 h 238"/>
                <a:gd name="T34" fmla="*/ 89 w 115"/>
                <a:gd name="T35" fmla="*/ 33 h 238"/>
                <a:gd name="T36" fmla="*/ 98 w 115"/>
                <a:gd name="T37" fmla="*/ 22 h 238"/>
                <a:gd name="T38" fmla="*/ 100 w 115"/>
                <a:gd name="T39" fmla="*/ 12 h 238"/>
                <a:gd name="T40" fmla="*/ 97 w 115"/>
                <a:gd name="T41" fmla="*/ 9 h 238"/>
                <a:gd name="T42" fmla="*/ 89 w 115"/>
                <a:gd name="T43" fmla="*/ 14 h 238"/>
                <a:gd name="T44" fmla="*/ 83 w 115"/>
                <a:gd name="T45" fmla="*/ 18 h 238"/>
                <a:gd name="T46" fmla="*/ 77 w 115"/>
                <a:gd name="T47" fmla="*/ 16 h 238"/>
                <a:gd name="T48" fmla="*/ 74 w 115"/>
                <a:gd name="T49" fmla="*/ 4 h 238"/>
                <a:gd name="T50" fmla="*/ 68 w 115"/>
                <a:gd name="T51" fmla="*/ 2 h 238"/>
                <a:gd name="T52" fmla="*/ 54 w 115"/>
                <a:gd name="T53" fmla="*/ 2 h 238"/>
                <a:gd name="T54" fmla="*/ 44 w 115"/>
                <a:gd name="T55" fmla="*/ 5 h 238"/>
                <a:gd name="T56" fmla="*/ 34 w 115"/>
                <a:gd name="T57" fmla="*/ 13 h 238"/>
                <a:gd name="T58" fmla="*/ 31 w 115"/>
                <a:gd name="T59" fmla="*/ 19 h 238"/>
                <a:gd name="T60" fmla="*/ 25 w 115"/>
                <a:gd name="T61" fmla="*/ 25 h 238"/>
                <a:gd name="T62" fmla="*/ 23 w 115"/>
                <a:gd name="T63" fmla="*/ 27 h 238"/>
                <a:gd name="T64" fmla="*/ 23 w 115"/>
                <a:gd name="T65" fmla="*/ 31 h 238"/>
                <a:gd name="T66" fmla="*/ 22 w 115"/>
                <a:gd name="T67" fmla="*/ 48 h 238"/>
                <a:gd name="T68" fmla="*/ 24 w 115"/>
                <a:gd name="T69" fmla="*/ 69 h 238"/>
                <a:gd name="T70" fmla="*/ 26 w 115"/>
                <a:gd name="T71" fmla="*/ 75 h 238"/>
                <a:gd name="T72" fmla="*/ 22 w 115"/>
                <a:gd name="T73" fmla="*/ 84 h 238"/>
                <a:gd name="T74" fmla="*/ 15 w 115"/>
                <a:gd name="T75" fmla="*/ 97 h 238"/>
                <a:gd name="T76" fmla="*/ 9 w 115"/>
                <a:gd name="T77" fmla="*/ 104 h 238"/>
                <a:gd name="T78" fmla="*/ 0 w 115"/>
                <a:gd name="T79" fmla="*/ 116 h 238"/>
                <a:gd name="T80" fmla="*/ 4 w 115"/>
                <a:gd name="T81" fmla="*/ 125 h 238"/>
                <a:gd name="T82" fmla="*/ 6 w 115"/>
                <a:gd name="T83" fmla="*/ 130 h 238"/>
                <a:gd name="T84" fmla="*/ 12 w 115"/>
                <a:gd name="T85" fmla="*/ 140 h 238"/>
                <a:gd name="T86" fmla="*/ 23 w 115"/>
                <a:gd name="T87" fmla="*/ 155 h 238"/>
                <a:gd name="T88" fmla="*/ 44 w 115"/>
                <a:gd name="T89" fmla="*/ 175 h 238"/>
                <a:gd name="T90" fmla="*/ 66 w 115"/>
                <a:gd name="T91" fmla="*/ 233 h 238"/>
                <a:gd name="T92" fmla="*/ 72 w 115"/>
                <a:gd name="T93" fmla="*/ 225 h 238"/>
                <a:gd name="T94" fmla="*/ 77 w 115"/>
                <a:gd name="T95" fmla="*/ 205 h 238"/>
                <a:gd name="T96" fmla="*/ 75 w 115"/>
                <a:gd name="T97" fmla="*/ 196 h 238"/>
                <a:gd name="T98" fmla="*/ 81 w 115"/>
                <a:gd name="T99" fmla="*/ 188 h 238"/>
                <a:gd name="T100" fmla="*/ 87 w 115"/>
                <a:gd name="T101" fmla="*/ 183 h 238"/>
                <a:gd name="T102" fmla="*/ 93 w 115"/>
                <a:gd name="T103" fmla="*/ 177 h 238"/>
                <a:gd name="T104" fmla="*/ 104 w 115"/>
                <a:gd name="T105" fmla="*/ 169 h 238"/>
                <a:gd name="T106" fmla="*/ 110 w 115"/>
                <a:gd name="T107" fmla="*/ 167 h 238"/>
                <a:gd name="T108" fmla="*/ 92 w 115"/>
                <a:gd name="T109" fmla="*/ 125 h 238"/>
                <a:gd name="T110" fmla="*/ 91 w 115"/>
                <a:gd name="T111" fmla="*/ 123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5" h="238">
                  <a:moveTo>
                    <a:pt x="112" y="160"/>
                  </a:moveTo>
                  <a:cubicBezTo>
                    <a:pt x="112" y="160"/>
                    <a:pt x="112" y="159"/>
                    <a:pt x="112" y="159"/>
                  </a:cubicBezTo>
                  <a:cubicBezTo>
                    <a:pt x="111" y="158"/>
                    <a:pt x="111" y="158"/>
                    <a:pt x="111" y="156"/>
                  </a:cubicBezTo>
                  <a:cubicBezTo>
                    <a:pt x="111" y="151"/>
                    <a:pt x="111" y="145"/>
                    <a:pt x="112" y="139"/>
                  </a:cubicBezTo>
                  <a:cubicBezTo>
                    <a:pt x="112" y="136"/>
                    <a:pt x="112" y="136"/>
                    <a:pt x="112" y="136"/>
                  </a:cubicBezTo>
                  <a:cubicBezTo>
                    <a:pt x="110" y="136"/>
                    <a:pt x="110" y="136"/>
                    <a:pt x="110" y="136"/>
                  </a:cubicBezTo>
                  <a:cubicBezTo>
                    <a:pt x="110" y="136"/>
                    <a:pt x="110" y="136"/>
                    <a:pt x="110" y="136"/>
                  </a:cubicBezTo>
                  <a:cubicBezTo>
                    <a:pt x="109" y="136"/>
                    <a:pt x="109" y="136"/>
                    <a:pt x="109" y="136"/>
                  </a:cubicBezTo>
                  <a:cubicBezTo>
                    <a:pt x="108" y="135"/>
                    <a:pt x="108" y="134"/>
                    <a:pt x="107" y="134"/>
                  </a:cubicBezTo>
                  <a:cubicBezTo>
                    <a:pt x="106" y="133"/>
                    <a:pt x="105" y="133"/>
                    <a:pt x="105" y="133"/>
                  </a:cubicBezTo>
                  <a:cubicBezTo>
                    <a:pt x="104" y="133"/>
                    <a:pt x="104" y="133"/>
                    <a:pt x="104" y="132"/>
                  </a:cubicBezTo>
                  <a:cubicBezTo>
                    <a:pt x="103" y="132"/>
                    <a:pt x="102" y="130"/>
                    <a:pt x="102" y="128"/>
                  </a:cubicBezTo>
                  <a:cubicBezTo>
                    <a:pt x="102" y="128"/>
                    <a:pt x="102" y="127"/>
                    <a:pt x="102" y="127"/>
                  </a:cubicBezTo>
                  <a:cubicBezTo>
                    <a:pt x="102" y="126"/>
                    <a:pt x="102" y="125"/>
                    <a:pt x="100" y="123"/>
                  </a:cubicBezTo>
                  <a:cubicBezTo>
                    <a:pt x="100" y="123"/>
                    <a:pt x="98" y="122"/>
                    <a:pt x="98" y="122"/>
                  </a:cubicBezTo>
                  <a:cubicBezTo>
                    <a:pt x="98" y="122"/>
                    <a:pt x="98" y="122"/>
                    <a:pt x="98" y="122"/>
                  </a:cubicBezTo>
                  <a:cubicBezTo>
                    <a:pt x="98" y="122"/>
                    <a:pt x="99" y="121"/>
                    <a:pt x="99" y="121"/>
                  </a:cubicBezTo>
                  <a:cubicBezTo>
                    <a:pt x="102" y="121"/>
                    <a:pt x="102" y="121"/>
                    <a:pt x="102" y="121"/>
                  </a:cubicBezTo>
                  <a:cubicBezTo>
                    <a:pt x="101" y="119"/>
                    <a:pt x="101" y="119"/>
                    <a:pt x="101" y="119"/>
                  </a:cubicBezTo>
                  <a:cubicBezTo>
                    <a:pt x="101" y="117"/>
                    <a:pt x="100" y="116"/>
                    <a:pt x="98" y="114"/>
                  </a:cubicBezTo>
                  <a:cubicBezTo>
                    <a:pt x="96" y="114"/>
                    <a:pt x="95" y="114"/>
                    <a:pt x="94" y="114"/>
                  </a:cubicBezTo>
                  <a:cubicBezTo>
                    <a:pt x="93" y="114"/>
                    <a:pt x="93" y="114"/>
                    <a:pt x="92" y="113"/>
                  </a:cubicBezTo>
                  <a:cubicBezTo>
                    <a:pt x="92" y="113"/>
                    <a:pt x="92" y="113"/>
                    <a:pt x="92" y="113"/>
                  </a:cubicBezTo>
                  <a:cubicBezTo>
                    <a:pt x="91" y="113"/>
                    <a:pt x="91" y="113"/>
                    <a:pt x="90" y="113"/>
                  </a:cubicBezTo>
                  <a:cubicBezTo>
                    <a:pt x="90" y="113"/>
                    <a:pt x="88" y="113"/>
                    <a:pt x="87" y="115"/>
                  </a:cubicBezTo>
                  <a:cubicBezTo>
                    <a:pt x="87" y="117"/>
                    <a:pt x="87" y="118"/>
                    <a:pt x="88" y="119"/>
                  </a:cubicBezTo>
                  <a:cubicBezTo>
                    <a:pt x="87" y="120"/>
                    <a:pt x="86" y="120"/>
                    <a:pt x="85" y="120"/>
                  </a:cubicBezTo>
                  <a:cubicBezTo>
                    <a:pt x="84" y="121"/>
                    <a:pt x="84" y="121"/>
                    <a:pt x="83" y="121"/>
                  </a:cubicBezTo>
                  <a:cubicBezTo>
                    <a:pt x="82" y="121"/>
                    <a:pt x="82" y="121"/>
                    <a:pt x="81" y="120"/>
                  </a:cubicBezTo>
                  <a:cubicBezTo>
                    <a:pt x="81" y="120"/>
                    <a:pt x="80" y="119"/>
                    <a:pt x="79" y="119"/>
                  </a:cubicBezTo>
                  <a:cubicBezTo>
                    <a:pt x="78" y="118"/>
                    <a:pt x="76" y="117"/>
                    <a:pt x="75" y="115"/>
                  </a:cubicBezTo>
                  <a:cubicBezTo>
                    <a:pt x="74" y="113"/>
                    <a:pt x="72" y="110"/>
                    <a:pt x="72" y="107"/>
                  </a:cubicBezTo>
                  <a:cubicBezTo>
                    <a:pt x="71" y="105"/>
                    <a:pt x="72" y="104"/>
                    <a:pt x="75" y="103"/>
                  </a:cubicBezTo>
                  <a:cubicBezTo>
                    <a:pt x="76" y="102"/>
                    <a:pt x="76" y="102"/>
                    <a:pt x="76" y="102"/>
                  </a:cubicBezTo>
                  <a:cubicBezTo>
                    <a:pt x="79" y="100"/>
                    <a:pt x="82" y="97"/>
                    <a:pt x="85" y="95"/>
                  </a:cubicBezTo>
                  <a:cubicBezTo>
                    <a:pt x="86" y="94"/>
                    <a:pt x="87" y="93"/>
                    <a:pt x="88" y="92"/>
                  </a:cubicBezTo>
                  <a:cubicBezTo>
                    <a:pt x="89" y="91"/>
                    <a:pt x="91" y="89"/>
                    <a:pt x="92" y="88"/>
                  </a:cubicBezTo>
                  <a:cubicBezTo>
                    <a:pt x="92" y="88"/>
                    <a:pt x="92" y="88"/>
                    <a:pt x="93" y="88"/>
                  </a:cubicBezTo>
                  <a:cubicBezTo>
                    <a:pt x="93" y="88"/>
                    <a:pt x="94" y="87"/>
                    <a:pt x="95" y="86"/>
                  </a:cubicBezTo>
                  <a:cubicBezTo>
                    <a:pt x="95" y="86"/>
                    <a:pt x="95" y="85"/>
                    <a:pt x="95" y="84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7" y="83"/>
                    <a:pt x="98" y="82"/>
                    <a:pt x="98" y="81"/>
                  </a:cubicBezTo>
                  <a:cubicBezTo>
                    <a:pt x="98" y="80"/>
                    <a:pt x="99" y="79"/>
                    <a:pt x="99" y="78"/>
                  </a:cubicBezTo>
                  <a:cubicBezTo>
                    <a:pt x="99" y="77"/>
                    <a:pt x="100" y="77"/>
                    <a:pt x="100" y="76"/>
                  </a:cubicBezTo>
                  <a:cubicBezTo>
                    <a:pt x="101" y="74"/>
                    <a:pt x="101" y="72"/>
                    <a:pt x="101" y="71"/>
                  </a:cubicBezTo>
                  <a:cubicBezTo>
                    <a:pt x="101" y="70"/>
                    <a:pt x="101" y="70"/>
                    <a:pt x="101" y="70"/>
                  </a:cubicBezTo>
                  <a:cubicBezTo>
                    <a:pt x="101" y="67"/>
                    <a:pt x="101" y="63"/>
                    <a:pt x="99" y="59"/>
                  </a:cubicBezTo>
                  <a:cubicBezTo>
                    <a:pt x="98" y="56"/>
                    <a:pt x="96" y="54"/>
                    <a:pt x="93" y="53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0" y="50"/>
                    <a:pt x="88" y="49"/>
                    <a:pt x="87" y="48"/>
                  </a:cubicBezTo>
                  <a:cubicBezTo>
                    <a:pt x="85" y="46"/>
                    <a:pt x="85" y="44"/>
                    <a:pt x="85" y="41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5" y="36"/>
                    <a:pt x="85" y="36"/>
                    <a:pt x="88" y="34"/>
                  </a:cubicBezTo>
                  <a:cubicBezTo>
                    <a:pt x="88" y="33"/>
                    <a:pt x="89" y="33"/>
                    <a:pt x="89" y="33"/>
                  </a:cubicBezTo>
                  <a:cubicBezTo>
                    <a:pt x="90" y="33"/>
                    <a:pt x="91" y="32"/>
                    <a:pt x="92" y="32"/>
                  </a:cubicBezTo>
                  <a:cubicBezTo>
                    <a:pt x="94" y="30"/>
                    <a:pt x="95" y="28"/>
                    <a:pt x="96" y="25"/>
                  </a:cubicBezTo>
                  <a:cubicBezTo>
                    <a:pt x="97" y="24"/>
                    <a:pt x="97" y="23"/>
                    <a:pt x="98" y="22"/>
                  </a:cubicBezTo>
                  <a:cubicBezTo>
                    <a:pt x="98" y="22"/>
                    <a:pt x="98" y="22"/>
                    <a:pt x="99" y="21"/>
                  </a:cubicBezTo>
                  <a:cubicBezTo>
                    <a:pt x="100" y="20"/>
                    <a:pt x="101" y="19"/>
                    <a:pt x="101" y="18"/>
                  </a:cubicBezTo>
                  <a:cubicBezTo>
                    <a:pt x="102" y="16"/>
                    <a:pt x="101" y="13"/>
                    <a:pt x="100" y="12"/>
                  </a:cubicBezTo>
                  <a:cubicBezTo>
                    <a:pt x="100" y="11"/>
                    <a:pt x="100" y="10"/>
                    <a:pt x="99" y="10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97" y="9"/>
                    <a:pt x="97" y="9"/>
                    <a:pt x="97" y="9"/>
                  </a:cubicBezTo>
                  <a:cubicBezTo>
                    <a:pt x="96" y="9"/>
                    <a:pt x="95" y="9"/>
                    <a:pt x="94" y="10"/>
                  </a:cubicBezTo>
                  <a:cubicBezTo>
                    <a:pt x="93" y="11"/>
                    <a:pt x="92" y="11"/>
                    <a:pt x="92" y="12"/>
                  </a:cubicBezTo>
                  <a:cubicBezTo>
                    <a:pt x="91" y="12"/>
                    <a:pt x="90" y="13"/>
                    <a:pt x="89" y="14"/>
                  </a:cubicBezTo>
                  <a:cubicBezTo>
                    <a:pt x="89" y="14"/>
                    <a:pt x="88" y="15"/>
                    <a:pt x="87" y="15"/>
                  </a:cubicBezTo>
                  <a:cubicBezTo>
                    <a:pt x="86" y="16"/>
                    <a:pt x="85" y="16"/>
                    <a:pt x="84" y="17"/>
                  </a:cubicBezTo>
                  <a:cubicBezTo>
                    <a:pt x="83" y="18"/>
                    <a:pt x="83" y="18"/>
                    <a:pt x="83" y="18"/>
                  </a:cubicBezTo>
                  <a:cubicBezTo>
                    <a:pt x="83" y="19"/>
                    <a:pt x="81" y="20"/>
                    <a:pt x="80" y="21"/>
                  </a:cubicBezTo>
                  <a:cubicBezTo>
                    <a:pt x="80" y="21"/>
                    <a:pt x="79" y="20"/>
                    <a:pt x="79" y="19"/>
                  </a:cubicBezTo>
                  <a:cubicBezTo>
                    <a:pt x="78" y="18"/>
                    <a:pt x="78" y="17"/>
                    <a:pt x="77" y="16"/>
                  </a:cubicBezTo>
                  <a:cubicBezTo>
                    <a:pt x="76" y="13"/>
                    <a:pt x="75" y="11"/>
                    <a:pt x="77" y="10"/>
                  </a:cubicBezTo>
                  <a:cubicBezTo>
                    <a:pt x="77" y="9"/>
                    <a:pt x="78" y="7"/>
                    <a:pt x="78" y="6"/>
                  </a:cubicBezTo>
                  <a:cubicBezTo>
                    <a:pt x="77" y="5"/>
                    <a:pt x="76" y="4"/>
                    <a:pt x="74" y="4"/>
                  </a:cubicBezTo>
                  <a:cubicBezTo>
                    <a:pt x="73" y="3"/>
                    <a:pt x="72" y="3"/>
                    <a:pt x="71" y="3"/>
                  </a:cubicBezTo>
                  <a:cubicBezTo>
                    <a:pt x="70" y="3"/>
                    <a:pt x="69" y="3"/>
                    <a:pt x="69" y="3"/>
                  </a:cubicBezTo>
                  <a:cubicBezTo>
                    <a:pt x="68" y="3"/>
                    <a:pt x="68" y="2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61" y="0"/>
                    <a:pt x="57" y="1"/>
                    <a:pt x="56" y="1"/>
                  </a:cubicBezTo>
                  <a:cubicBezTo>
                    <a:pt x="56" y="1"/>
                    <a:pt x="55" y="1"/>
                    <a:pt x="54" y="2"/>
                  </a:cubicBezTo>
                  <a:cubicBezTo>
                    <a:pt x="53" y="2"/>
                    <a:pt x="52" y="3"/>
                    <a:pt x="50" y="3"/>
                  </a:cubicBezTo>
                  <a:cubicBezTo>
                    <a:pt x="50" y="4"/>
                    <a:pt x="49" y="4"/>
                    <a:pt x="48" y="4"/>
                  </a:cubicBezTo>
                  <a:cubicBezTo>
                    <a:pt x="47" y="4"/>
                    <a:pt x="46" y="4"/>
                    <a:pt x="44" y="5"/>
                  </a:cubicBezTo>
                  <a:cubicBezTo>
                    <a:pt x="43" y="6"/>
                    <a:pt x="42" y="7"/>
                    <a:pt x="41" y="8"/>
                  </a:cubicBezTo>
                  <a:cubicBezTo>
                    <a:pt x="39" y="10"/>
                    <a:pt x="37" y="12"/>
                    <a:pt x="35" y="12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6"/>
                    <a:pt x="32" y="18"/>
                    <a:pt x="31" y="19"/>
                  </a:cubicBezTo>
                  <a:cubicBezTo>
                    <a:pt x="30" y="20"/>
                    <a:pt x="29" y="20"/>
                    <a:pt x="28" y="21"/>
                  </a:cubicBezTo>
                  <a:cubicBezTo>
                    <a:pt x="28" y="22"/>
                    <a:pt x="27" y="23"/>
                    <a:pt x="26" y="23"/>
                  </a:cubicBezTo>
                  <a:cubicBezTo>
                    <a:pt x="26" y="24"/>
                    <a:pt x="25" y="24"/>
                    <a:pt x="25" y="25"/>
                  </a:cubicBezTo>
                  <a:cubicBezTo>
                    <a:pt x="25" y="25"/>
                    <a:pt x="25" y="26"/>
                    <a:pt x="25" y="26"/>
                  </a:cubicBezTo>
                  <a:cubicBezTo>
                    <a:pt x="24" y="26"/>
                    <a:pt x="24" y="27"/>
                    <a:pt x="23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3" y="30"/>
                    <a:pt x="23" y="30"/>
                    <a:pt x="23" y="31"/>
                  </a:cubicBezTo>
                  <a:cubicBezTo>
                    <a:pt x="24" y="32"/>
                    <a:pt x="24" y="33"/>
                    <a:pt x="24" y="34"/>
                  </a:cubicBezTo>
                  <a:cubicBezTo>
                    <a:pt x="25" y="37"/>
                    <a:pt x="24" y="40"/>
                    <a:pt x="23" y="42"/>
                  </a:cubicBezTo>
                  <a:cubicBezTo>
                    <a:pt x="23" y="44"/>
                    <a:pt x="22" y="46"/>
                    <a:pt x="22" y="48"/>
                  </a:cubicBezTo>
                  <a:cubicBezTo>
                    <a:pt x="22" y="50"/>
                    <a:pt x="22" y="53"/>
                    <a:pt x="23" y="55"/>
                  </a:cubicBezTo>
                  <a:cubicBezTo>
                    <a:pt x="23" y="57"/>
                    <a:pt x="24" y="59"/>
                    <a:pt x="23" y="62"/>
                  </a:cubicBezTo>
                  <a:cubicBezTo>
                    <a:pt x="23" y="64"/>
                    <a:pt x="23" y="67"/>
                    <a:pt x="24" y="69"/>
                  </a:cubicBezTo>
                  <a:cubicBezTo>
                    <a:pt x="25" y="69"/>
                    <a:pt x="25" y="69"/>
                    <a:pt x="25" y="70"/>
                  </a:cubicBezTo>
                  <a:cubicBezTo>
                    <a:pt x="26" y="70"/>
                    <a:pt x="26" y="70"/>
                    <a:pt x="26" y="71"/>
                  </a:cubicBezTo>
                  <a:cubicBezTo>
                    <a:pt x="27" y="72"/>
                    <a:pt x="26" y="74"/>
                    <a:pt x="26" y="75"/>
                  </a:cubicBezTo>
                  <a:cubicBezTo>
                    <a:pt x="25" y="75"/>
                    <a:pt x="25" y="76"/>
                    <a:pt x="24" y="77"/>
                  </a:cubicBezTo>
                  <a:cubicBezTo>
                    <a:pt x="24" y="78"/>
                    <a:pt x="23" y="79"/>
                    <a:pt x="22" y="81"/>
                  </a:cubicBezTo>
                  <a:cubicBezTo>
                    <a:pt x="22" y="82"/>
                    <a:pt x="22" y="83"/>
                    <a:pt x="22" y="84"/>
                  </a:cubicBezTo>
                  <a:cubicBezTo>
                    <a:pt x="22" y="86"/>
                    <a:pt x="22" y="87"/>
                    <a:pt x="22" y="88"/>
                  </a:cubicBezTo>
                  <a:cubicBezTo>
                    <a:pt x="22" y="90"/>
                    <a:pt x="19" y="94"/>
                    <a:pt x="18" y="95"/>
                  </a:cubicBezTo>
                  <a:cubicBezTo>
                    <a:pt x="17" y="96"/>
                    <a:pt x="16" y="96"/>
                    <a:pt x="15" y="97"/>
                  </a:cubicBezTo>
                  <a:cubicBezTo>
                    <a:pt x="14" y="97"/>
                    <a:pt x="13" y="98"/>
                    <a:pt x="12" y="98"/>
                  </a:cubicBezTo>
                  <a:cubicBezTo>
                    <a:pt x="11" y="99"/>
                    <a:pt x="11" y="100"/>
                    <a:pt x="10" y="101"/>
                  </a:cubicBezTo>
                  <a:cubicBezTo>
                    <a:pt x="10" y="102"/>
                    <a:pt x="9" y="103"/>
                    <a:pt x="9" y="104"/>
                  </a:cubicBezTo>
                  <a:cubicBezTo>
                    <a:pt x="8" y="105"/>
                    <a:pt x="7" y="106"/>
                    <a:pt x="5" y="107"/>
                  </a:cubicBezTo>
                  <a:cubicBezTo>
                    <a:pt x="5" y="107"/>
                    <a:pt x="4" y="108"/>
                    <a:pt x="3" y="108"/>
                  </a:cubicBezTo>
                  <a:cubicBezTo>
                    <a:pt x="0" y="111"/>
                    <a:pt x="0" y="112"/>
                    <a:pt x="0" y="116"/>
                  </a:cubicBezTo>
                  <a:cubicBezTo>
                    <a:pt x="0" y="118"/>
                    <a:pt x="1" y="119"/>
                    <a:pt x="2" y="121"/>
                  </a:cubicBezTo>
                  <a:cubicBezTo>
                    <a:pt x="2" y="122"/>
                    <a:pt x="3" y="122"/>
                    <a:pt x="3" y="123"/>
                  </a:cubicBezTo>
                  <a:cubicBezTo>
                    <a:pt x="3" y="124"/>
                    <a:pt x="3" y="124"/>
                    <a:pt x="4" y="125"/>
                  </a:cubicBezTo>
                  <a:cubicBezTo>
                    <a:pt x="4" y="126"/>
                    <a:pt x="4" y="127"/>
                    <a:pt x="4" y="12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6" y="129"/>
                    <a:pt x="6" y="129"/>
                    <a:pt x="6" y="130"/>
                  </a:cubicBezTo>
                  <a:cubicBezTo>
                    <a:pt x="7" y="131"/>
                    <a:pt x="7" y="132"/>
                    <a:pt x="7" y="134"/>
                  </a:cubicBezTo>
                  <a:cubicBezTo>
                    <a:pt x="7" y="135"/>
                    <a:pt x="7" y="137"/>
                    <a:pt x="8" y="138"/>
                  </a:cubicBezTo>
                  <a:cubicBezTo>
                    <a:pt x="8" y="139"/>
                    <a:pt x="10" y="139"/>
                    <a:pt x="12" y="140"/>
                  </a:cubicBezTo>
                  <a:cubicBezTo>
                    <a:pt x="13" y="140"/>
                    <a:pt x="14" y="140"/>
                    <a:pt x="15" y="141"/>
                  </a:cubicBezTo>
                  <a:cubicBezTo>
                    <a:pt x="18" y="143"/>
                    <a:pt x="19" y="145"/>
                    <a:pt x="21" y="147"/>
                  </a:cubicBezTo>
                  <a:cubicBezTo>
                    <a:pt x="23" y="150"/>
                    <a:pt x="23" y="152"/>
                    <a:pt x="23" y="155"/>
                  </a:cubicBezTo>
                  <a:cubicBezTo>
                    <a:pt x="23" y="158"/>
                    <a:pt x="24" y="161"/>
                    <a:pt x="27" y="163"/>
                  </a:cubicBezTo>
                  <a:cubicBezTo>
                    <a:pt x="29" y="165"/>
                    <a:pt x="31" y="166"/>
                    <a:pt x="33" y="167"/>
                  </a:cubicBezTo>
                  <a:cubicBezTo>
                    <a:pt x="37" y="169"/>
                    <a:pt x="41" y="171"/>
                    <a:pt x="44" y="175"/>
                  </a:cubicBezTo>
                  <a:cubicBezTo>
                    <a:pt x="57" y="238"/>
                    <a:pt x="57" y="238"/>
                    <a:pt x="57" y="238"/>
                  </a:cubicBezTo>
                  <a:cubicBezTo>
                    <a:pt x="60" y="236"/>
                    <a:pt x="60" y="236"/>
                    <a:pt x="60" y="236"/>
                  </a:cubicBezTo>
                  <a:cubicBezTo>
                    <a:pt x="62" y="235"/>
                    <a:pt x="64" y="234"/>
                    <a:pt x="66" y="233"/>
                  </a:cubicBezTo>
                  <a:cubicBezTo>
                    <a:pt x="67" y="232"/>
                    <a:pt x="68" y="231"/>
                    <a:pt x="68" y="230"/>
                  </a:cubicBezTo>
                  <a:cubicBezTo>
                    <a:pt x="69" y="229"/>
                    <a:pt x="69" y="228"/>
                    <a:pt x="70" y="227"/>
                  </a:cubicBezTo>
                  <a:cubicBezTo>
                    <a:pt x="71" y="226"/>
                    <a:pt x="72" y="225"/>
                    <a:pt x="72" y="225"/>
                  </a:cubicBezTo>
                  <a:cubicBezTo>
                    <a:pt x="74" y="223"/>
                    <a:pt x="75" y="222"/>
                    <a:pt x="76" y="221"/>
                  </a:cubicBezTo>
                  <a:cubicBezTo>
                    <a:pt x="78" y="217"/>
                    <a:pt x="79" y="210"/>
                    <a:pt x="77" y="206"/>
                  </a:cubicBezTo>
                  <a:cubicBezTo>
                    <a:pt x="77" y="205"/>
                    <a:pt x="77" y="205"/>
                    <a:pt x="77" y="205"/>
                  </a:cubicBezTo>
                  <a:cubicBezTo>
                    <a:pt x="76" y="204"/>
                    <a:pt x="76" y="203"/>
                    <a:pt x="75" y="201"/>
                  </a:cubicBezTo>
                  <a:cubicBezTo>
                    <a:pt x="75" y="200"/>
                    <a:pt x="75" y="199"/>
                    <a:pt x="75" y="198"/>
                  </a:cubicBezTo>
                  <a:cubicBezTo>
                    <a:pt x="75" y="197"/>
                    <a:pt x="75" y="196"/>
                    <a:pt x="75" y="196"/>
                  </a:cubicBezTo>
                  <a:cubicBezTo>
                    <a:pt x="74" y="194"/>
                    <a:pt x="75" y="193"/>
                    <a:pt x="76" y="192"/>
                  </a:cubicBezTo>
                  <a:cubicBezTo>
                    <a:pt x="76" y="192"/>
                    <a:pt x="76" y="191"/>
                    <a:pt x="76" y="191"/>
                  </a:cubicBezTo>
                  <a:cubicBezTo>
                    <a:pt x="78" y="189"/>
                    <a:pt x="79" y="188"/>
                    <a:pt x="81" y="188"/>
                  </a:cubicBezTo>
                  <a:cubicBezTo>
                    <a:pt x="82" y="188"/>
                    <a:pt x="83" y="188"/>
                    <a:pt x="84" y="187"/>
                  </a:cubicBezTo>
                  <a:cubicBezTo>
                    <a:pt x="86" y="186"/>
                    <a:pt x="86" y="186"/>
                    <a:pt x="86" y="184"/>
                  </a:cubicBezTo>
                  <a:cubicBezTo>
                    <a:pt x="87" y="184"/>
                    <a:pt x="87" y="183"/>
                    <a:pt x="87" y="183"/>
                  </a:cubicBezTo>
                  <a:cubicBezTo>
                    <a:pt x="87" y="181"/>
                    <a:pt x="88" y="181"/>
                    <a:pt x="89" y="181"/>
                  </a:cubicBezTo>
                  <a:cubicBezTo>
                    <a:pt x="89" y="180"/>
                    <a:pt x="89" y="180"/>
                    <a:pt x="90" y="180"/>
                  </a:cubicBezTo>
                  <a:cubicBezTo>
                    <a:pt x="91" y="179"/>
                    <a:pt x="92" y="178"/>
                    <a:pt x="93" y="177"/>
                  </a:cubicBezTo>
                  <a:cubicBezTo>
                    <a:pt x="94" y="176"/>
                    <a:pt x="95" y="175"/>
                    <a:pt x="96" y="174"/>
                  </a:cubicBezTo>
                  <a:cubicBezTo>
                    <a:pt x="98" y="173"/>
                    <a:pt x="99" y="172"/>
                    <a:pt x="101" y="171"/>
                  </a:cubicBezTo>
                  <a:cubicBezTo>
                    <a:pt x="102" y="171"/>
                    <a:pt x="103" y="170"/>
                    <a:pt x="104" y="169"/>
                  </a:cubicBezTo>
                  <a:cubicBezTo>
                    <a:pt x="105" y="169"/>
                    <a:pt x="106" y="169"/>
                    <a:pt x="107" y="168"/>
                  </a:cubicBezTo>
                  <a:cubicBezTo>
                    <a:pt x="107" y="168"/>
                    <a:pt x="108" y="168"/>
                    <a:pt x="108" y="167"/>
                  </a:cubicBezTo>
                  <a:cubicBezTo>
                    <a:pt x="109" y="167"/>
                    <a:pt x="109" y="167"/>
                    <a:pt x="110" y="167"/>
                  </a:cubicBezTo>
                  <a:cubicBezTo>
                    <a:pt x="112" y="166"/>
                    <a:pt x="112" y="165"/>
                    <a:pt x="113" y="165"/>
                  </a:cubicBezTo>
                  <a:cubicBezTo>
                    <a:pt x="115" y="163"/>
                    <a:pt x="113" y="161"/>
                    <a:pt x="112" y="160"/>
                  </a:cubicBezTo>
                  <a:close/>
                  <a:moveTo>
                    <a:pt x="92" y="125"/>
                  </a:moveTo>
                  <a:cubicBezTo>
                    <a:pt x="92" y="125"/>
                    <a:pt x="91" y="126"/>
                    <a:pt x="91" y="126"/>
                  </a:cubicBezTo>
                  <a:cubicBezTo>
                    <a:pt x="91" y="126"/>
                    <a:pt x="91" y="125"/>
                    <a:pt x="91" y="125"/>
                  </a:cubicBezTo>
                  <a:cubicBezTo>
                    <a:pt x="91" y="124"/>
                    <a:pt x="91" y="124"/>
                    <a:pt x="91" y="123"/>
                  </a:cubicBezTo>
                  <a:cubicBezTo>
                    <a:pt x="91" y="123"/>
                    <a:pt x="91" y="123"/>
                    <a:pt x="91" y="123"/>
                  </a:cubicBezTo>
                  <a:cubicBezTo>
                    <a:pt x="92" y="124"/>
                    <a:pt x="92" y="125"/>
                    <a:pt x="92" y="125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8" name="Freeform 38"/>
            <p:cNvSpPr>
              <a:spLocks/>
            </p:cNvSpPr>
            <p:nvPr/>
          </p:nvSpPr>
          <p:spPr bwMode="auto">
            <a:xfrm>
              <a:off x="2513384" y="480342"/>
              <a:ext cx="908442" cy="843455"/>
            </a:xfrm>
            <a:custGeom>
              <a:avLst/>
              <a:gdLst>
                <a:gd name="T0" fmla="*/ 430 w 449"/>
                <a:gd name="T1" fmla="*/ 105 h 453"/>
                <a:gd name="T2" fmla="*/ 434 w 449"/>
                <a:gd name="T3" fmla="*/ 73 h 453"/>
                <a:gd name="T4" fmla="*/ 440 w 449"/>
                <a:gd name="T5" fmla="*/ 51 h 453"/>
                <a:gd name="T6" fmla="*/ 438 w 449"/>
                <a:gd name="T7" fmla="*/ 45 h 453"/>
                <a:gd name="T8" fmla="*/ 431 w 449"/>
                <a:gd name="T9" fmla="*/ 41 h 453"/>
                <a:gd name="T10" fmla="*/ 422 w 449"/>
                <a:gd name="T11" fmla="*/ 39 h 453"/>
                <a:gd name="T12" fmla="*/ 411 w 449"/>
                <a:gd name="T13" fmla="*/ 40 h 453"/>
                <a:gd name="T14" fmla="*/ 405 w 449"/>
                <a:gd name="T15" fmla="*/ 36 h 453"/>
                <a:gd name="T16" fmla="*/ 397 w 449"/>
                <a:gd name="T17" fmla="*/ 34 h 453"/>
                <a:gd name="T18" fmla="*/ 388 w 449"/>
                <a:gd name="T19" fmla="*/ 34 h 453"/>
                <a:gd name="T20" fmla="*/ 383 w 449"/>
                <a:gd name="T21" fmla="*/ 26 h 453"/>
                <a:gd name="T22" fmla="*/ 369 w 449"/>
                <a:gd name="T23" fmla="*/ 16 h 453"/>
                <a:gd name="T24" fmla="*/ 336 w 449"/>
                <a:gd name="T25" fmla="*/ 11 h 453"/>
                <a:gd name="T26" fmla="*/ 322 w 449"/>
                <a:gd name="T27" fmla="*/ 15 h 453"/>
                <a:gd name="T28" fmla="*/ 296 w 449"/>
                <a:gd name="T29" fmla="*/ 64 h 453"/>
                <a:gd name="T30" fmla="*/ 273 w 449"/>
                <a:gd name="T31" fmla="*/ 97 h 453"/>
                <a:gd name="T32" fmla="*/ 260 w 449"/>
                <a:gd name="T33" fmla="*/ 91 h 453"/>
                <a:gd name="T34" fmla="*/ 251 w 449"/>
                <a:gd name="T35" fmla="*/ 83 h 453"/>
                <a:gd name="T36" fmla="*/ 234 w 449"/>
                <a:gd name="T37" fmla="*/ 75 h 453"/>
                <a:gd name="T38" fmla="*/ 210 w 449"/>
                <a:gd name="T39" fmla="*/ 67 h 453"/>
                <a:gd name="T40" fmla="*/ 189 w 449"/>
                <a:gd name="T41" fmla="*/ 64 h 453"/>
                <a:gd name="T42" fmla="*/ 173 w 449"/>
                <a:gd name="T43" fmla="*/ 52 h 453"/>
                <a:gd name="T44" fmla="*/ 154 w 449"/>
                <a:gd name="T45" fmla="*/ 25 h 453"/>
                <a:gd name="T46" fmla="*/ 130 w 449"/>
                <a:gd name="T47" fmla="*/ 15 h 453"/>
                <a:gd name="T48" fmla="*/ 107 w 449"/>
                <a:gd name="T49" fmla="*/ 10 h 453"/>
                <a:gd name="T50" fmla="*/ 95 w 449"/>
                <a:gd name="T51" fmla="*/ 14 h 453"/>
                <a:gd name="T52" fmla="*/ 74 w 449"/>
                <a:gd name="T53" fmla="*/ 6 h 453"/>
                <a:gd name="T54" fmla="*/ 61 w 449"/>
                <a:gd name="T55" fmla="*/ 0 h 453"/>
                <a:gd name="T56" fmla="*/ 61 w 449"/>
                <a:gd name="T57" fmla="*/ 24 h 453"/>
                <a:gd name="T58" fmla="*/ 55 w 449"/>
                <a:gd name="T59" fmla="*/ 32 h 453"/>
                <a:gd name="T60" fmla="*/ 42 w 449"/>
                <a:gd name="T61" fmla="*/ 41 h 453"/>
                <a:gd name="T62" fmla="*/ 35 w 449"/>
                <a:gd name="T63" fmla="*/ 48 h 453"/>
                <a:gd name="T64" fmla="*/ 24 w 449"/>
                <a:gd name="T65" fmla="*/ 56 h 453"/>
                <a:gd name="T66" fmla="*/ 25 w 449"/>
                <a:gd name="T67" fmla="*/ 69 h 453"/>
                <a:gd name="T68" fmla="*/ 19 w 449"/>
                <a:gd name="T69" fmla="*/ 91 h 453"/>
                <a:gd name="T70" fmla="*/ 2 w 449"/>
                <a:gd name="T71" fmla="*/ 104 h 453"/>
                <a:gd name="T72" fmla="*/ 9 w 449"/>
                <a:gd name="T73" fmla="*/ 118 h 453"/>
                <a:gd name="T74" fmla="*/ 13 w 449"/>
                <a:gd name="T75" fmla="*/ 133 h 453"/>
                <a:gd name="T76" fmla="*/ 14 w 449"/>
                <a:gd name="T77" fmla="*/ 170 h 453"/>
                <a:gd name="T78" fmla="*/ 16 w 449"/>
                <a:gd name="T79" fmla="*/ 185 h 453"/>
                <a:gd name="T80" fmla="*/ 17 w 449"/>
                <a:gd name="T81" fmla="*/ 223 h 453"/>
                <a:gd name="T82" fmla="*/ 5 w 449"/>
                <a:gd name="T83" fmla="*/ 238 h 453"/>
                <a:gd name="T84" fmla="*/ 20 w 449"/>
                <a:gd name="T85" fmla="*/ 260 h 453"/>
                <a:gd name="T86" fmla="*/ 22 w 449"/>
                <a:gd name="T87" fmla="*/ 278 h 453"/>
                <a:gd name="T88" fmla="*/ 27 w 449"/>
                <a:gd name="T89" fmla="*/ 282 h 453"/>
                <a:gd name="T90" fmla="*/ 30 w 449"/>
                <a:gd name="T91" fmla="*/ 288 h 453"/>
                <a:gd name="T92" fmla="*/ 37 w 449"/>
                <a:gd name="T93" fmla="*/ 290 h 453"/>
                <a:gd name="T94" fmla="*/ 75 w 449"/>
                <a:gd name="T95" fmla="*/ 322 h 453"/>
                <a:gd name="T96" fmla="*/ 190 w 449"/>
                <a:gd name="T97" fmla="*/ 324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49" h="453">
                  <a:moveTo>
                    <a:pt x="420" y="438"/>
                  </a:moveTo>
                  <a:cubicBezTo>
                    <a:pt x="449" y="438"/>
                    <a:pt x="449" y="438"/>
                    <a:pt x="449" y="438"/>
                  </a:cubicBezTo>
                  <a:cubicBezTo>
                    <a:pt x="439" y="133"/>
                    <a:pt x="439" y="133"/>
                    <a:pt x="439" y="133"/>
                  </a:cubicBezTo>
                  <a:cubicBezTo>
                    <a:pt x="430" y="105"/>
                    <a:pt x="430" y="105"/>
                    <a:pt x="430" y="105"/>
                  </a:cubicBezTo>
                  <a:cubicBezTo>
                    <a:pt x="429" y="101"/>
                    <a:pt x="431" y="99"/>
                    <a:pt x="433" y="97"/>
                  </a:cubicBezTo>
                  <a:cubicBezTo>
                    <a:pt x="434" y="96"/>
                    <a:pt x="435" y="94"/>
                    <a:pt x="436" y="92"/>
                  </a:cubicBezTo>
                  <a:cubicBezTo>
                    <a:pt x="438" y="87"/>
                    <a:pt x="437" y="82"/>
                    <a:pt x="435" y="76"/>
                  </a:cubicBezTo>
                  <a:cubicBezTo>
                    <a:pt x="435" y="75"/>
                    <a:pt x="434" y="74"/>
                    <a:pt x="434" y="73"/>
                  </a:cubicBezTo>
                  <a:cubicBezTo>
                    <a:pt x="433" y="70"/>
                    <a:pt x="431" y="66"/>
                    <a:pt x="433" y="62"/>
                  </a:cubicBezTo>
                  <a:cubicBezTo>
                    <a:pt x="434" y="61"/>
                    <a:pt x="437" y="56"/>
                    <a:pt x="440" y="54"/>
                  </a:cubicBezTo>
                  <a:cubicBezTo>
                    <a:pt x="441" y="53"/>
                    <a:pt x="441" y="53"/>
                    <a:pt x="441" y="53"/>
                  </a:cubicBezTo>
                  <a:cubicBezTo>
                    <a:pt x="440" y="51"/>
                    <a:pt x="440" y="51"/>
                    <a:pt x="440" y="51"/>
                  </a:cubicBezTo>
                  <a:cubicBezTo>
                    <a:pt x="440" y="51"/>
                    <a:pt x="440" y="50"/>
                    <a:pt x="440" y="50"/>
                  </a:cubicBezTo>
                  <a:cubicBezTo>
                    <a:pt x="440" y="49"/>
                    <a:pt x="440" y="49"/>
                    <a:pt x="440" y="48"/>
                  </a:cubicBezTo>
                  <a:cubicBezTo>
                    <a:pt x="439" y="47"/>
                    <a:pt x="439" y="47"/>
                    <a:pt x="438" y="46"/>
                  </a:cubicBezTo>
                  <a:cubicBezTo>
                    <a:pt x="438" y="45"/>
                    <a:pt x="438" y="45"/>
                    <a:pt x="438" y="45"/>
                  </a:cubicBezTo>
                  <a:cubicBezTo>
                    <a:pt x="438" y="45"/>
                    <a:pt x="438" y="45"/>
                    <a:pt x="438" y="44"/>
                  </a:cubicBezTo>
                  <a:cubicBezTo>
                    <a:pt x="437" y="44"/>
                    <a:pt x="437" y="43"/>
                    <a:pt x="437" y="42"/>
                  </a:cubicBezTo>
                  <a:cubicBezTo>
                    <a:pt x="436" y="41"/>
                    <a:pt x="434" y="40"/>
                    <a:pt x="433" y="40"/>
                  </a:cubicBezTo>
                  <a:cubicBezTo>
                    <a:pt x="432" y="40"/>
                    <a:pt x="431" y="40"/>
                    <a:pt x="431" y="41"/>
                  </a:cubicBezTo>
                  <a:cubicBezTo>
                    <a:pt x="430" y="41"/>
                    <a:pt x="430" y="41"/>
                    <a:pt x="429" y="41"/>
                  </a:cubicBezTo>
                  <a:cubicBezTo>
                    <a:pt x="428" y="41"/>
                    <a:pt x="427" y="40"/>
                    <a:pt x="426" y="40"/>
                  </a:cubicBezTo>
                  <a:cubicBezTo>
                    <a:pt x="425" y="40"/>
                    <a:pt x="425" y="40"/>
                    <a:pt x="424" y="40"/>
                  </a:cubicBezTo>
                  <a:cubicBezTo>
                    <a:pt x="423" y="39"/>
                    <a:pt x="422" y="39"/>
                    <a:pt x="422" y="39"/>
                  </a:cubicBezTo>
                  <a:cubicBezTo>
                    <a:pt x="420" y="39"/>
                    <a:pt x="418" y="40"/>
                    <a:pt x="417" y="40"/>
                  </a:cubicBezTo>
                  <a:cubicBezTo>
                    <a:pt x="416" y="40"/>
                    <a:pt x="416" y="40"/>
                    <a:pt x="415" y="40"/>
                  </a:cubicBezTo>
                  <a:cubicBezTo>
                    <a:pt x="414" y="40"/>
                    <a:pt x="414" y="40"/>
                    <a:pt x="413" y="40"/>
                  </a:cubicBezTo>
                  <a:cubicBezTo>
                    <a:pt x="412" y="40"/>
                    <a:pt x="412" y="40"/>
                    <a:pt x="411" y="40"/>
                  </a:cubicBezTo>
                  <a:cubicBezTo>
                    <a:pt x="410" y="40"/>
                    <a:pt x="410" y="40"/>
                    <a:pt x="409" y="39"/>
                  </a:cubicBezTo>
                  <a:cubicBezTo>
                    <a:pt x="409" y="39"/>
                    <a:pt x="409" y="38"/>
                    <a:pt x="408" y="38"/>
                  </a:cubicBezTo>
                  <a:cubicBezTo>
                    <a:pt x="407" y="37"/>
                    <a:pt x="407" y="37"/>
                    <a:pt x="406" y="37"/>
                  </a:cubicBezTo>
                  <a:cubicBezTo>
                    <a:pt x="406" y="37"/>
                    <a:pt x="405" y="36"/>
                    <a:pt x="405" y="36"/>
                  </a:cubicBezTo>
                  <a:cubicBezTo>
                    <a:pt x="405" y="36"/>
                    <a:pt x="405" y="36"/>
                    <a:pt x="404" y="36"/>
                  </a:cubicBezTo>
                  <a:cubicBezTo>
                    <a:pt x="404" y="35"/>
                    <a:pt x="403" y="35"/>
                    <a:pt x="403" y="34"/>
                  </a:cubicBezTo>
                  <a:cubicBezTo>
                    <a:pt x="402" y="34"/>
                    <a:pt x="401" y="33"/>
                    <a:pt x="399" y="33"/>
                  </a:cubicBezTo>
                  <a:cubicBezTo>
                    <a:pt x="399" y="33"/>
                    <a:pt x="398" y="34"/>
                    <a:pt x="397" y="34"/>
                  </a:cubicBezTo>
                  <a:cubicBezTo>
                    <a:pt x="396" y="34"/>
                    <a:pt x="396" y="34"/>
                    <a:pt x="396" y="34"/>
                  </a:cubicBezTo>
                  <a:cubicBezTo>
                    <a:pt x="395" y="34"/>
                    <a:pt x="395" y="34"/>
                    <a:pt x="395" y="34"/>
                  </a:cubicBezTo>
                  <a:cubicBezTo>
                    <a:pt x="393" y="34"/>
                    <a:pt x="391" y="34"/>
                    <a:pt x="389" y="34"/>
                  </a:cubicBezTo>
                  <a:cubicBezTo>
                    <a:pt x="388" y="34"/>
                    <a:pt x="388" y="34"/>
                    <a:pt x="388" y="34"/>
                  </a:cubicBezTo>
                  <a:cubicBezTo>
                    <a:pt x="387" y="34"/>
                    <a:pt x="387" y="34"/>
                    <a:pt x="386" y="33"/>
                  </a:cubicBezTo>
                  <a:cubicBezTo>
                    <a:pt x="385" y="32"/>
                    <a:pt x="385" y="32"/>
                    <a:pt x="384" y="31"/>
                  </a:cubicBezTo>
                  <a:cubicBezTo>
                    <a:pt x="383" y="30"/>
                    <a:pt x="383" y="30"/>
                    <a:pt x="383" y="29"/>
                  </a:cubicBezTo>
                  <a:cubicBezTo>
                    <a:pt x="382" y="28"/>
                    <a:pt x="383" y="27"/>
                    <a:pt x="383" y="26"/>
                  </a:cubicBezTo>
                  <a:cubicBezTo>
                    <a:pt x="383" y="25"/>
                    <a:pt x="383" y="24"/>
                    <a:pt x="383" y="23"/>
                  </a:cubicBezTo>
                  <a:cubicBezTo>
                    <a:pt x="383" y="21"/>
                    <a:pt x="382" y="18"/>
                    <a:pt x="376" y="17"/>
                  </a:cubicBezTo>
                  <a:cubicBezTo>
                    <a:pt x="375" y="17"/>
                    <a:pt x="375" y="17"/>
                    <a:pt x="375" y="17"/>
                  </a:cubicBezTo>
                  <a:cubicBezTo>
                    <a:pt x="373" y="17"/>
                    <a:pt x="371" y="17"/>
                    <a:pt x="369" y="16"/>
                  </a:cubicBezTo>
                  <a:cubicBezTo>
                    <a:pt x="367" y="15"/>
                    <a:pt x="366" y="15"/>
                    <a:pt x="364" y="14"/>
                  </a:cubicBezTo>
                  <a:cubicBezTo>
                    <a:pt x="361" y="12"/>
                    <a:pt x="358" y="10"/>
                    <a:pt x="354" y="10"/>
                  </a:cubicBezTo>
                  <a:cubicBezTo>
                    <a:pt x="351" y="9"/>
                    <a:pt x="348" y="9"/>
                    <a:pt x="346" y="9"/>
                  </a:cubicBezTo>
                  <a:cubicBezTo>
                    <a:pt x="342" y="9"/>
                    <a:pt x="339" y="10"/>
                    <a:pt x="336" y="11"/>
                  </a:cubicBezTo>
                  <a:cubicBezTo>
                    <a:pt x="335" y="12"/>
                    <a:pt x="335" y="12"/>
                    <a:pt x="335" y="12"/>
                  </a:cubicBezTo>
                  <a:cubicBezTo>
                    <a:pt x="333" y="13"/>
                    <a:pt x="332" y="14"/>
                    <a:pt x="330" y="15"/>
                  </a:cubicBezTo>
                  <a:cubicBezTo>
                    <a:pt x="329" y="15"/>
                    <a:pt x="327" y="15"/>
                    <a:pt x="326" y="15"/>
                  </a:cubicBezTo>
                  <a:cubicBezTo>
                    <a:pt x="325" y="15"/>
                    <a:pt x="323" y="15"/>
                    <a:pt x="322" y="15"/>
                  </a:cubicBezTo>
                  <a:cubicBezTo>
                    <a:pt x="318" y="16"/>
                    <a:pt x="314" y="19"/>
                    <a:pt x="310" y="21"/>
                  </a:cubicBezTo>
                  <a:cubicBezTo>
                    <a:pt x="309" y="22"/>
                    <a:pt x="308" y="23"/>
                    <a:pt x="307" y="24"/>
                  </a:cubicBezTo>
                  <a:cubicBezTo>
                    <a:pt x="296" y="31"/>
                    <a:pt x="290" y="45"/>
                    <a:pt x="292" y="57"/>
                  </a:cubicBezTo>
                  <a:cubicBezTo>
                    <a:pt x="293" y="59"/>
                    <a:pt x="294" y="62"/>
                    <a:pt x="296" y="64"/>
                  </a:cubicBezTo>
                  <a:cubicBezTo>
                    <a:pt x="297" y="66"/>
                    <a:pt x="299" y="68"/>
                    <a:pt x="299" y="71"/>
                  </a:cubicBezTo>
                  <a:cubicBezTo>
                    <a:pt x="299" y="76"/>
                    <a:pt x="296" y="81"/>
                    <a:pt x="293" y="85"/>
                  </a:cubicBezTo>
                  <a:cubicBezTo>
                    <a:pt x="290" y="90"/>
                    <a:pt x="285" y="93"/>
                    <a:pt x="280" y="95"/>
                  </a:cubicBezTo>
                  <a:cubicBezTo>
                    <a:pt x="278" y="96"/>
                    <a:pt x="275" y="97"/>
                    <a:pt x="273" y="97"/>
                  </a:cubicBezTo>
                  <a:cubicBezTo>
                    <a:pt x="272" y="97"/>
                    <a:pt x="272" y="97"/>
                    <a:pt x="271" y="97"/>
                  </a:cubicBezTo>
                  <a:cubicBezTo>
                    <a:pt x="268" y="96"/>
                    <a:pt x="266" y="96"/>
                    <a:pt x="263" y="94"/>
                  </a:cubicBezTo>
                  <a:cubicBezTo>
                    <a:pt x="263" y="94"/>
                    <a:pt x="263" y="94"/>
                    <a:pt x="262" y="93"/>
                  </a:cubicBezTo>
                  <a:cubicBezTo>
                    <a:pt x="261" y="93"/>
                    <a:pt x="260" y="92"/>
                    <a:pt x="260" y="91"/>
                  </a:cubicBezTo>
                  <a:cubicBezTo>
                    <a:pt x="258" y="89"/>
                    <a:pt x="257" y="88"/>
                    <a:pt x="256" y="87"/>
                  </a:cubicBezTo>
                  <a:cubicBezTo>
                    <a:pt x="255" y="86"/>
                    <a:pt x="254" y="86"/>
                    <a:pt x="254" y="85"/>
                  </a:cubicBezTo>
                  <a:cubicBezTo>
                    <a:pt x="253" y="85"/>
                    <a:pt x="253" y="84"/>
                    <a:pt x="252" y="84"/>
                  </a:cubicBezTo>
                  <a:cubicBezTo>
                    <a:pt x="252" y="84"/>
                    <a:pt x="251" y="83"/>
                    <a:pt x="251" y="83"/>
                  </a:cubicBezTo>
                  <a:cubicBezTo>
                    <a:pt x="250" y="82"/>
                    <a:pt x="249" y="81"/>
                    <a:pt x="247" y="80"/>
                  </a:cubicBezTo>
                  <a:cubicBezTo>
                    <a:pt x="246" y="80"/>
                    <a:pt x="246" y="79"/>
                    <a:pt x="245" y="79"/>
                  </a:cubicBezTo>
                  <a:cubicBezTo>
                    <a:pt x="242" y="78"/>
                    <a:pt x="240" y="77"/>
                    <a:pt x="238" y="77"/>
                  </a:cubicBezTo>
                  <a:cubicBezTo>
                    <a:pt x="237" y="76"/>
                    <a:pt x="235" y="75"/>
                    <a:pt x="234" y="75"/>
                  </a:cubicBezTo>
                  <a:cubicBezTo>
                    <a:pt x="232" y="74"/>
                    <a:pt x="231" y="73"/>
                    <a:pt x="229" y="72"/>
                  </a:cubicBezTo>
                  <a:cubicBezTo>
                    <a:pt x="226" y="72"/>
                    <a:pt x="223" y="71"/>
                    <a:pt x="219" y="69"/>
                  </a:cubicBezTo>
                  <a:cubicBezTo>
                    <a:pt x="218" y="69"/>
                    <a:pt x="216" y="68"/>
                    <a:pt x="214" y="68"/>
                  </a:cubicBezTo>
                  <a:cubicBezTo>
                    <a:pt x="213" y="68"/>
                    <a:pt x="211" y="68"/>
                    <a:pt x="210" y="67"/>
                  </a:cubicBezTo>
                  <a:cubicBezTo>
                    <a:pt x="207" y="66"/>
                    <a:pt x="205" y="66"/>
                    <a:pt x="202" y="66"/>
                  </a:cubicBezTo>
                  <a:cubicBezTo>
                    <a:pt x="201" y="66"/>
                    <a:pt x="200" y="65"/>
                    <a:pt x="199" y="65"/>
                  </a:cubicBezTo>
                  <a:cubicBezTo>
                    <a:pt x="198" y="65"/>
                    <a:pt x="196" y="65"/>
                    <a:pt x="195" y="65"/>
                  </a:cubicBezTo>
                  <a:cubicBezTo>
                    <a:pt x="193" y="64"/>
                    <a:pt x="191" y="64"/>
                    <a:pt x="189" y="64"/>
                  </a:cubicBezTo>
                  <a:cubicBezTo>
                    <a:pt x="186" y="64"/>
                    <a:pt x="184" y="63"/>
                    <a:pt x="182" y="61"/>
                  </a:cubicBezTo>
                  <a:cubicBezTo>
                    <a:pt x="181" y="61"/>
                    <a:pt x="181" y="61"/>
                    <a:pt x="181" y="61"/>
                  </a:cubicBezTo>
                  <a:cubicBezTo>
                    <a:pt x="180" y="60"/>
                    <a:pt x="178" y="59"/>
                    <a:pt x="177" y="58"/>
                  </a:cubicBezTo>
                  <a:cubicBezTo>
                    <a:pt x="176" y="57"/>
                    <a:pt x="174" y="55"/>
                    <a:pt x="173" y="52"/>
                  </a:cubicBezTo>
                  <a:cubicBezTo>
                    <a:pt x="171" y="48"/>
                    <a:pt x="170" y="44"/>
                    <a:pt x="170" y="41"/>
                  </a:cubicBezTo>
                  <a:cubicBezTo>
                    <a:pt x="170" y="40"/>
                    <a:pt x="170" y="39"/>
                    <a:pt x="169" y="39"/>
                  </a:cubicBezTo>
                  <a:cubicBezTo>
                    <a:pt x="169" y="35"/>
                    <a:pt x="169" y="31"/>
                    <a:pt x="165" y="28"/>
                  </a:cubicBezTo>
                  <a:cubicBezTo>
                    <a:pt x="161" y="25"/>
                    <a:pt x="158" y="25"/>
                    <a:pt x="154" y="25"/>
                  </a:cubicBezTo>
                  <a:cubicBezTo>
                    <a:pt x="153" y="25"/>
                    <a:pt x="152" y="25"/>
                    <a:pt x="152" y="25"/>
                  </a:cubicBezTo>
                  <a:cubicBezTo>
                    <a:pt x="147" y="25"/>
                    <a:pt x="144" y="24"/>
                    <a:pt x="141" y="22"/>
                  </a:cubicBezTo>
                  <a:cubicBezTo>
                    <a:pt x="140" y="21"/>
                    <a:pt x="140" y="21"/>
                    <a:pt x="140" y="21"/>
                  </a:cubicBezTo>
                  <a:cubicBezTo>
                    <a:pt x="137" y="18"/>
                    <a:pt x="134" y="16"/>
                    <a:pt x="130" y="15"/>
                  </a:cubicBezTo>
                  <a:cubicBezTo>
                    <a:pt x="128" y="15"/>
                    <a:pt x="126" y="15"/>
                    <a:pt x="125" y="14"/>
                  </a:cubicBezTo>
                  <a:cubicBezTo>
                    <a:pt x="122" y="14"/>
                    <a:pt x="120" y="13"/>
                    <a:pt x="117" y="12"/>
                  </a:cubicBezTo>
                  <a:cubicBezTo>
                    <a:pt x="116" y="12"/>
                    <a:pt x="114" y="12"/>
                    <a:pt x="113" y="12"/>
                  </a:cubicBezTo>
                  <a:cubicBezTo>
                    <a:pt x="111" y="11"/>
                    <a:pt x="109" y="10"/>
                    <a:pt x="107" y="10"/>
                  </a:cubicBezTo>
                  <a:cubicBezTo>
                    <a:pt x="106" y="10"/>
                    <a:pt x="105" y="10"/>
                    <a:pt x="104" y="11"/>
                  </a:cubicBezTo>
                  <a:cubicBezTo>
                    <a:pt x="103" y="11"/>
                    <a:pt x="102" y="12"/>
                    <a:pt x="101" y="12"/>
                  </a:cubicBezTo>
                  <a:cubicBezTo>
                    <a:pt x="100" y="12"/>
                    <a:pt x="99" y="13"/>
                    <a:pt x="99" y="13"/>
                  </a:cubicBezTo>
                  <a:cubicBezTo>
                    <a:pt x="98" y="13"/>
                    <a:pt x="96" y="14"/>
                    <a:pt x="95" y="14"/>
                  </a:cubicBezTo>
                  <a:cubicBezTo>
                    <a:pt x="94" y="14"/>
                    <a:pt x="94" y="14"/>
                    <a:pt x="93" y="13"/>
                  </a:cubicBezTo>
                  <a:cubicBezTo>
                    <a:pt x="90" y="13"/>
                    <a:pt x="85" y="13"/>
                    <a:pt x="82" y="11"/>
                  </a:cubicBezTo>
                  <a:cubicBezTo>
                    <a:pt x="80" y="10"/>
                    <a:pt x="79" y="9"/>
                    <a:pt x="77" y="8"/>
                  </a:cubicBezTo>
                  <a:cubicBezTo>
                    <a:pt x="76" y="7"/>
                    <a:pt x="75" y="6"/>
                    <a:pt x="74" y="6"/>
                  </a:cubicBezTo>
                  <a:cubicBezTo>
                    <a:pt x="71" y="4"/>
                    <a:pt x="69" y="4"/>
                    <a:pt x="67" y="3"/>
                  </a:cubicBezTo>
                  <a:cubicBezTo>
                    <a:pt x="66" y="3"/>
                    <a:pt x="65" y="3"/>
                    <a:pt x="64" y="2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0" y="9"/>
                    <a:pt x="59" y="15"/>
                    <a:pt x="59" y="20"/>
                  </a:cubicBezTo>
                  <a:cubicBezTo>
                    <a:pt x="59" y="22"/>
                    <a:pt x="59" y="22"/>
                    <a:pt x="60" y="23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3" y="27"/>
                    <a:pt x="62" y="28"/>
                    <a:pt x="61" y="29"/>
                  </a:cubicBezTo>
                  <a:cubicBezTo>
                    <a:pt x="61" y="29"/>
                    <a:pt x="60" y="30"/>
                    <a:pt x="58" y="31"/>
                  </a:cubicBezTo>
                  <a:cubicBezTo>
                    <a:pt x="58" y="31"/>
                    <a:pt x="58" y="31"/>
                    <a:pt x="57" y="31"/>
                  </a:cubicBezTo>
                  <a:cubicBezTo>
                    <a:pt x="57" y="31"/>
                    <a:pt x="56" y="32"/>
                    <a:pt x="55" y="32"/>
                  </a:cubicBezTo>
                  <a:cubicBezTo>
                    <a:pt x="55" y="32"/>
                    <a:pt x="54" y="33"/>
                    <a:pt x="53" y="33"/>
                  </a:cubicBezTo>
                  <a:cubicBezTo>
                    <a:pt x="52" y="34"/>
                    <a:pt x="51" y="34"/>
                    <a:pt x="50" y="35"/>
                  </a:cubicBezTo>
                  <a:cubicBezTo>
                    <a:pt x="48" y="35"/>
                    <a:pt x="46" y="36"/>
                    <a:pt x="45" y="37"/>
                  </a:cubicBezTo>
                  <a:cubicBezTo>
                    <a:pt x="44" y="38"/>
                    <a:pt x="43" y="39"/>
                    <a:pt x="42" y="41"/>
                  </a:cubicBezTo>
                  <a:cubicBezTo>
                    <a:pt x="41" y="42"/>
                    <a:pt x="40" y="43"/>
                    <a:pt x="38" y="44"/>
                  </a:cubicBezTo>
                  <a:cubicBezTo>
                    <a:pt x="38" y="44"/>
                    <a:pt x="38" y="44"/>
                    <a:pt x="37" y="44"/>
                  </a:cubicBezTo>
                  <a:cubicBezTo>
                    <a:pt x="36" y="45"/>
                    <a:pt x="36" y="46"/>
                    <a:pt x="35" y="47"/>
                  </a:cubicBezTo>
                  <a:cubicBezTo>
                    <a:pt x="35" y="47"/>
                    <a:pt x="35" y="48"/>
                    <a:pt x="35" y="48"/>
                  </a:cubicBezTo>
                  <a:cubicBezTo>
                    <a:pt x="35" y="49"/>
                    <a:pt x="35" y="50"/>
                    <a:pt x="33" y="51"/>
                  </a:cubicBezTo>
                  <a:cubicBezTo>
                    <a:pt x="32" y="51"/>
                    <a:pt x="31" y="51"/>
                    <a:pt x="30" y="52"/>
                  </a:cubicBezTo>
                  <a:cubicBezTo>
                    <a:pt x="28" y="52"/>
                    <a:pt x="27" y="52"/>
                    <a:pt x="25" y="55"/>
                  </a:cubicBezTo>
                  <a:cubicBezTo>
                    <a:pt x="25" y="55"/>
                    <a:pt x="25" y="55"/>
                    <a:pt x="24" y="56"/>
                  </a:cubicBezTo>
                  <a:cubicBezTo>
                    <a:pt x="24" y="57"/>
                    <a:pt x="23" y="58"/>
                    <a:pt x="23" y="60"/>
                  </a:cubicBezTo>
                  <a:cubicBezTo>
                    <a:pt x="23" y="60"/>
                    <a:pt x="23" y="61"/>
                    <a:pt x="24" y="62"/>
                  </a:cubicBezTo>
                  <a:cubicBezTo>
                    <a:pt x="24" y="63"/>
                    <a:pt x="24" y="64"/>
                    <a:pt x="24" y="65"/>
                  </a:cubicBezTo>
                  <a:cubicBezTo>
                    <a:pt x="24" y="67"/>
                    <a:pt x="25" y="68"/>
                    <a:pt x="25" y="69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7" y="74"/>
                    <a:pt x="27" y="81"/>
                    <a:pt x="24" y="85"/>
                  </a:cubicBezTo>
                  <a:cubicBezTo>
                    <a:pt x="24" y="86"/>
                    <a:pt x="22" y="87"/>
                    <a:pt x="21" y="88"/>
                  </a:cubicBezTo>
                  <a:cubicBezTo>
                    <a:pt x="20" y="89"/>
                    <a:pt x="19" y="90"/>
                    <a:pt x="19" y="91"/>
                  </a:cubicBezTo>
                  <a:cubicBezTo>
                    <a:pt x="18" y="92"/>
                    <a:pt x="17" y="93"/>
                    <a:pt x="17" y="93"/>
                  </a:cubicBezTo>
                  <a:cubicBezTo>
                    <a:pt x="16" y="94"/>
                    <a:pt x="16" y="96"/>
                    <a:pt x="14" y="97"/>
                  </a:cubicBezTo>
                  <a:cubicBezTo>
                    <a:pt x="11" y="99"/>
                    <a:pt x="9" y="100"/>
                    <a:pt x="7" y="101"/>
                  </a:cubicBezTo>
                  <a:cubicBezTo>
                    <a:pt x="5" y="102"/>
                    <a:pt x="3" y="103"/>
                    <a:pt x="2" y="104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4" y="110"/>
                    <a:pt x="5" y="113"/>
                    <a:pt x="7" y="115"/>
                  </a:cubicBezTo>
                  <a:cubicBezTo>
                    <a:pt x="7" y="116"/>
                    <a:pt x="8" y="117"/>
                    <a:pt x="9" y="118"/>
                  </a:cubicBezTo>
                  <a:cubicBezTo>
                    <a:pt x="10" y="120"/>
                    <a:pt x="12" y="122"/>
                    <a:pt x="12" y="124"/>
                  </a:cubicBezTo>
                  <a:cubicBezTo>
                    <a:pt x="13" y="125"/>
                    <a:pt x="12" y="126"/>
                    <a:pt x="12" y="127"/>
                  </a:cubicBezTo>
                  <a:cubicBezTo>
                    <a:pt x="12" y="127"/>
                    <a:pt x="12" y="128"/>
                    <a:pt x="12" y="128"/>
                  </a:cubicBezTo>
                  <a:cubicBezTo>
                    <a:pt x="12" y="130"/>
                    <a:pt x="13" y="131"/>
                    <a:pt x="13" y="133"/>
                  </a:cubicBezTo>
                  <a:cubicBezTo>
                    <a:pt x="14" y="133"/>
                    <a:pt x="14" y="134"/>
                    <a:pt x="14" y="134"/>
                  </a:cubicBezTo>
                  <a:cubicBezTo>
                    <a:pt x="15" y="136"/>
                    <a:pt x="15" y="139"/>
                    <a:pt x="15" y="141"/>
                  </a:cubicBezTo>
                  <a:cubicBezTo>
                    <a:pt x="16" y="147"/>
                    <a:pt x="15" y="151"/>
                    <a:pt x="14" y="156"/>
                  </a:cubicBezTo>
                  <a:cubicBezTo>
                    <a:pt x="13" y="161"/>
                    <a:pt x="12" y="167"/>
                    <a:pt x="14" y="170"/>
                  </a:cubicBezTo>
                  <a:cubicBezTo>
                    <a:pt x="15" y="171"/>
                    <a:pt x="15" y="171"/>
                    <a:pt x="16" y="172"/>
                  </a:cubicBezTo>
                  <a:cubicBezTo>
                    <a:pt x="17" y="173"/>
                    <a:pt x="18" y="174"/>
                    <a:pt x="18" y="175"/>
                  </a:cubicBezTo>
                  <a:cubicBezTo>
                    <a:pt x="19" y="177"/>
                    <a:pt x="18" y="180"/>
                    <a:pt x="17" y="181"/>
                  </a:cubicBezTo>
                  <a:cubicBezTo>
                    <a:pt x="16" y="185"/>
                    <a:pt x="16" y="185"/>
                    <a:pt x="16" y="185"/>
                  </a:cubicBezTo>
                  <a:cubicBezTo>
                    <a:pt x="15" y="186"/>
                    <a:pt x="14" y="188"/>
                    <a:pt x="14" y="190"/>
                  </a:cubicBezTo>
                  <a:cubicBezTo>
                    <a:pt x="12" y="195"/>
                    <a:pt x="11" y="199"/>
                    <a:pt x="14" y="203"/>
                  </a:cubicBezTo>
                  <a:cubicBezTo>
                    <a:pt x="15" y="205"/>
                    <a:pt x="16" y="207"/>
                    <a:pt x="16" y="209"/>
                  </a:cubicBezTo>
                  <a:cubicBezTo>
                    <a:pt x="17" y="213"/>
                    <a:pt x="17" y="218"/>
                    <a:pt x="17" y="223"/>
                  </a:cubicBezTo>
                  <a:cubicBezTo>
                    <a:pt x="15" y="223"/>
                    <a:pt x="13" y="225"/>
                    <a:pt x="11" y="226"/>
                  </a:cubicBezTo>
                  <a:cubicBezTo>
                    <a:pt x="11" y="226"/>
                    <a:pt x="10" y="227"/>
                    <a:pt x="9" y="227"/>
                  </a:cubicBezTo>
                  <a:cubicBezTo>
                    <a:pt x="6" y="229"/>
                    <a:pt x="4" y="231"/>
                    <a:pt x="3" y="233"/>
                  </a:cubicBezTo>
                  <a:cubicBezTo>
                    <a:pt x="3" y="234"/>
                    <a:pt x="3" y="236"/>
                    <a:pt x="5" y="238"/>
                  </a:cubicBezTo>
                  <a:cubicBezTo>
                    <a:pt x="6" y="240"/>
                    <a:pt x="7" y="242"/>
                    <a:pt x="9" y="244"/>
                  </a:cubicBezTo>
                  <a:cubicBezTo>
                    <a:pt x="10" y="245"/>
                    <a:pt x="11" y="247"/>
                    <a:pt x="12" y="248"/>
                  </a:cubicBezTo>
                  <a:cubicBezTo>
                    <a:pt x="13" y="249"/>
                    <a:pt x="14" y="250"/>
                    <a:pt x="15" y="251"/>
                  </a:cubicBezTo>
                  <a:cubicBezTo>
                    <a:pt x="17" y="254"/>
                    <a:pt x="19" y="257"/>
                    <a:pt x="20" y="260"/>
                  </a:cubicBezTo>
                  <a:cubicBezTo>
                    <a:pt x="21" y="263"/>
                    <a:pt x="21" y="266"/>
                    <a:pt x="21" y="270"/>
                  </a:cubicBezTo>
                  <a:cubicBezTo>
                    <a:pt x="21" y="272"/>
                    <a:pt x="21" y="274"/>
                    <a:pt x="22" y="276"/>
                  </a:cubicBezTo>
                  <a:cubicBezTo>
                    <a:pt x="22" y="277"/>
                    <a:pt x="22" y="277"/>
                    <a:pt x="22" y="277"/>
                  </a:cubicBezTo>
                  <a:cubicBezTo>
                    <a:pt x="22" y="278"/>
                    <a:pt x="22" y="278"/>
                    <a:pt x="22" y="278"/>
                  </a:cubicBezTo>
                  <a:cubicBezTo>
                    <a:pt x="23" y="278"/>
                    <a:pt x="23" y="278"/>
                    <a:pt x="23" y="279"/>
                  </a:cubicBezTo>
                  <a:cubicBezTo>
                    <a:pt x="23" y="279"/>
                    <a:pt x="23" y="280"/>
                    <a:pt x="24" y="280"/>
                  </a:cubicBezTo>
                  <a:cubicBezTo>
                    <a:pt x="24" y="280"/>
                    <a:pt x="25" y="281"/>
                    <a:pt x="25" y="281"/>
                  </a:cubicBezTo>
                  <a:cubicBezTo>
                    <a:pt x="26" y="281"/>
                    <a:pt x="26" y="282"/>
                    <a:pt x="27" y="282"/>
                  </a:cubicBezTo>
                  <a:cubicBezTo>
                    <a:pt x="27" y="283"/>
                    <a:pt x="27" y="284"/>
                    <a:pt x="27" y="284"/>
                  </a:cubicBezTo>
                  <a:cubicBezTo>
                    <a:pt x="27" y="285"/>
                    <a:pt x="27" y="286"/>
                    <a:pt x="27" y="286"/>
                  </a:cubicBezTo>
                  <a:cubicBezTo>
                    <a:pt x="28" y="287"/>
                    <a:pt x="28" y="287"/>
                    <a:pt x="29" y="288"/>
                  </a:cubicBezTo>
                  <a:cubicBezTo>
                    <a:pt x="29" y="288"/>
                    <a:pt x="30" y="288"/>
                    <a:pt x="30" y="288"/>
                  </a:cubicBezTo>
                  <a:cubicBezTo>
                    <a:pt x="31" y="289"/>
                    <a:pt x="31" y="289"/>
                    <a:pt x="31" y="289"/>
                  </a:cubicBezTo>
                  <a:cubicBezTo>
                    <a:pt x="32" y="290"/>
                    <a:pt x="32" y="290"/>
                    <a:pt x="34" y="290"/>
                  </a:cubicBezTo>
                  <a:cubicBezTo>
                    <a:pt x="34" y="290"/>
                    <a:pt x="34" y="290"/>
                    <a:pt x="35" y="290"/>
                  </a:cubicBezTo>
                  <a:cubicBezTo>
                    <a:pt x="36" y="290"/>
                    <a:pt x="36" y="290"/>
                    <a:pt x="37" y="290"/>
                  </a:cubicBezTo>
                  <a:cubicBezTo>
                    <a:pt x="38" y="289"/>
                    <a:pt x="39" y="289"/>
                    <a:pt x="41" y="289"/>
                  </a:cubicBezTo>
                  <a:cubicBezTo>
                    <a:pt x="42" y="289"/>
                    <a:pt x="43" y="289"/>
                    <a:pt x="44" y="289"/>
                  </a:cubicBezTo>
                  <a:cubicBezTo>
                    <a:pt x="65" y="296"/>
                    <a:pt x="65" y="296"/>
                    <a:pt x="65" y="296"/>
                  </a:cubicBezTo>
                  <a:cubicBezTo>
                    <a:pt x="75" y="322"/>
                    <a:pt x="75" y="322"/>
                    <a:pt x="75" y="322"/>
                  </a:cubicBezTo>
                  <a:cubicBezTo>
                    <a:pt x="76" y="322"/>
                    <a:pt x="76" y="322"/>
                    <a:pt x="76" y="322"/>
                  </a:cubicBezTo>
                  <a:cubicBezTo>
                    <a:pt x="107" y="328"/>
                    <a:pt x="121" y="332"/>
                    <a:pt x="122" y="334"/>
                  </a:cubicBezTo>
                  <a:cubicBezTo>
                    <a:pt x="141" y="352"/>
                    <a:pt x="141" y="352"/>
                    <a:pt x="141" y="352"/>
                  </a:cubicBezTo>
                  <a:cubicBezTo>
                    <a:pt x="190" y="324"/>
                    <a:pt x="190" y="324"/>
                    <a:pt x="190" y="324"/>
                  </a:cubicBezTo>
                  <a:cubicBezTo>
                    <a:pt x="421" y="453"/>
                    <a:pt x="421" y="453"/>
                    <a:pt x="421" y="453"/>
                  </a:cubicBezTo>
                  <a:cubicBezTo>
                    <a:pt x="421" y="450"/>
                    <a:pt x="421" y="450"/>
                    <a:pt x="421" y="450"/>
                  </a:cubicBezTo>
                  <a:lnTo>
                    <a:pt x="420" y="438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9" name="Freeform 39"/>
            <p:cNvSpPr>
              <a:spLocks/>
            </p:cNvSpPr>
            <p:nvPr/>
          </p:nvSpPr>
          <p:spPr bwMode="auto">
            <a:xfrm>
              <a:off x="2677439" y="2793934"/>
              <a:ext cx="70309" cy="80133"/>
            </a:xfrm>
            <a:custGeom>
              <a:avLst/>
              <a:gdLst>
                <a:gd name="T0" fmla="*/ 30 w 35"/>
                <a:gd name="T1" fmla="*/ 5 h 43"/>
                <a:gd name="T2" fmla="*/ 28 w 35"/>
                <a:gd name="T3" fmla="*/ 0 h 43"/>
                <a:gd name="T4" fmla="*/ 27 w 35"/>
                <a:gd name="T5" fmla="*/ 0 h 43"/>
                <a:gd name="T6" fmla="*/ 12 w 35"/>
                <a:gd name="T7" fmla="*/ 8 h 43"/>
                <a:gd name="T8" fmla="*/ 6 w 35"/>
                <a:gd name="T9" fmla="*/ 12 h 43"/>
                <a:gd name="T10" fmla="*/ 5 w 35"/>
                <a:gd name="T11" fmla="*/ 12 h 43"/>
                <a:gd name="T12" fmla="*/ 4 w 35"/>
                <a:gd name="T13" fmla="*/ 13 h 43"/>
                <a:gd name="T14" fmla="*/ 1 w 35"/>
                <a:gd name="T15" fmla="*/ 20 h 43"/>
                <a:gd name="T16" fmla="*/ 0 w 35"/>
                <a:gd name="T17" fmla="*/ 21 h 43"/>
                <a:gd name="T18" fmla="*/ 1 w 35"/>
                <a:gd name="T19" fmla="*/ 22 h 43"/>
                <a:gd name="T20" fmla="*/ 1 w 35"/>
                <a:gd name="T21" fmla="*/ 23 h 43"/>
                <a:gd name="T22" fmla="*/ 2 w 35"/>
                <a:gd name="T23" fmla="*/ 26 h 43"/>
                <a:gd name="T24" fmla="*/ 3 w 35"/>
                <a:gd name="T25" fmla="*/ 27 h 43"/>
                <a:gd name="T26" fmla="*/ 3 w 35"/>
                <a:gd name="T27" fmla="*/ 28 h 43"/>
                <a:gd name="T28" fmla="*/ 4 w 35"/>
                <a:gd name="T29" fmla="*/ 36 h 43"/>
                <a:gd name="T30" fmla="*/ 4 w 35"/>
                <a:gd name="T31" fmla="*/ 42 h 43"/>
                <a:gd name="T32" fmla="*/ 4 w 35"/>
                <a:gd name="T33" fmla="*/ 43 h 43"/>
                <a:gd name="T34" fmla="*/ 18 w 35"/>
                <a:gd name="T35" fmla="*/ 43 h 43"/>
                <a:gd name="T36" fmla="*/ 18 w 35"/>
                <a:gd name="T37" fmla="*/ 41 h 43"/>
                <a:gd name="T38" fmla="*/ 18 w 35"/>
                <a:gd name="T39" fmla="*/ 36 h 43"/>
                <a:gd name="T40" fmla="*/ 18 w 35"/>
                <a:gd name="T41" fmla="*/ 25 h 43"/>
                <a:gd name="T42" fmla="*/ 18 w 35"/>
                <a:gd name="T43" fmla="*/ 23 h 43"/>
                <a:gd name="T44" fmla="*/ 18 w 35"/>
                <a:gd name="T45" fmla="*/ 21 h 43"/>
                <a:gd name="T46" fmla="*/ 21 w 35"/>
                <a:gd name="T47" fmla="*/ 17 h 43"/>
                <a:gd name="T48" fmla="*/ 24 w 35"/>
                <a:gd name="T49" fmla="*/ 14 h 43"/>
                <a:gd name="T50" fmla="*/ 24 w 35"/>
                <a:gd name="T51" fmla="*/ 12 h 43"/>
                <a:gd name="T52" fmla="*/ 28 w 35"/>
                <a:gd name="T53" fmla="*/ 9 h 43"/>
                <a:gd name="T54" fmla="*/ 30 w 35"/>
                <a:gd name="T55" fmla="*/ 8 h 43"/>
                <a:gd name="T56" fmla="*/ 35 w 35"/>
                <a:gd name="T57" fmla="*/ 8 h 43"/>
                <a:gd name="T58" fmla="*/ 30 w 35"/>
                <a:gd name="T59" fmla="*/ 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43">
                  <a:moveTo>
                    <a:pt x="30" y="5"/>
                  </a:moveTo>
                  <a:cubicBezTo>
                    <a:pt x="30" y="3"/>
                    <a:pt x="30" y="1"/>
                    <a:pt x="28" y="0"/>
                  </a:cubicBezTo>
                  <a:cubicBezTo>
                    <a:pt x="28" y="0"/>
                    <a:pt x="27" y="0"/>
                    <a:pt x="27" y="0"/>
                  </a:cubicBezTo>
                  <a:cubicBezTo>
                    <a:pt x="23" y="0"/>
                    <a:pt x="18" y="4"/>
                    <a:pt x="12" y="8"/>
                  </a:cubicBezTo>
                  <a:cubicBezTo>
                    <a:pt x="9" y="10"/>
                    <a:pt x="7" y="11"/>
                    <a:pt x="6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5"/>
                    <a:pt x="2" y="18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3"/>
                    <a:pt x="1" y="23"/>
                  </a:cubicBezTo>
                  <a:cubicBezTo>
                    <a:pt x="1" y="24"/>
                    <a:pt x="2" y="25"/>
                    <a:pt x="2" y="26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5" y="31"/>
                    <a:pt x="5" y="33"/>
                    <a:pt x="4" y="36"/>
                  </a:cubicBezTo>
                  <a:cubicBezTo>
                    <a:pt x="4" y="38"/>
                    <a:pt x="4" y="40"/>
                    <a:pt x="4" y="42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8" y="40"/>
                    <a:pt x="18" y="38"/>
                    <a:pt x="18" y="36"/>
                  </a:cubicBezTo>
                  <a:cubicBezTo>
                    <a:pt x="18" y="33"/>
                    <a:pt x="17" y="29"/>
                    <a:pt x="18" y="25"/>
                  </a:cubicBezTo>
                  <a:cubicBezTo>
                    <a:pt x="18" y="24"/>
                    <a:pt x="18" y="24"/>
                    <a:pt x="18" y="23"/>
                  </a:cubicBezTo>
                  <a:cubicBezTo>
                    <a:pt x="18" y="22"/>
                    <a:pt x="17" y="21"/>
                    <a:pt x="18" y="21"/>
                  </a:cubicBezTo>
                  <a:cubicBezTo>
                    <a:pt x="18" y="19"/>
                    <a:pt x="20" y="18"/>
                    <a:pt x="21" y="17"/>
                  </a:cubicBezTo>
                  <a:cubicBezTo>
                    <a:pt x="22" y="16"/>
                    <a:pt x="23" y="15"/>
                    <a:pt x="24" y="14"/>
                  </a:cubicBezTo>
                  <a:cubicBezTo>
                    <a:pt x="24" y="13"/>
                    <a:pt x="24" y="13"/>
                    <a:pt x="24" y="12"/>
                  </a:cubicBezTo>
                  <a:cubicBezTo>
                    <a:pt x="25" y="11"/>
                    <a:pt x="26" y="10"/>
                    <a:pt x="28" y="9"/>
                  </a:cubicBezTo>
                  <a:cubicBezTo>
                    <a:pt x="28" y="9"/>
                    <a:pt x="29" y="8"/>
                    <a:pt x="30" y="8"/>
                  </a:cubicBezTo>
                  <a:cubicBezTo>
                    <a:pt x="35" y="8"/>
                    <a:pt x="35" y="8"/>
                    <a:pt x="35" y="8"/>
                  </a:cubicBezTo>
                  <a:lnTo>
                    <a:pt x="30" y="5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1" name="Freeform 41"/>
            <p:cNvSpPr>
              <a:spLocks/>
            </p:cNvSpPr>
            <p:nvPr/>
          </p:nvSpPr>
          <p:spPr bwMode="auto">
            <a:xfrm>
              <a:off x="3672931" y="2665515"/>
              <a:ext cx="117182" cy="134583"/>
            </a:xfrm>
            <a:custGeom>
              <a:avLst/>
              <a:gdLst>
                <a:gd name="T0" fmla="*/ 55 w 58"/>
                <a:gd name="T1" fmla="*/ 24 h 72"/>
                <a:gd name="T2" fmla="*/ 51 w 58"/>
                <a:gd name="T3" fmla="*/ 21 h 72"/>
                <a:gd name="T4" fmla="*/ 49 w 58"/>
                <a:gd name="T5" fmla="*/ 20 h 72"/>
                <a:gd name="T6" fmla="*/ 46 w 58"/>
                <a:gd name="T7" fmla="*/ 19 h 72"/>
                <a:gd name="T8" fmla="*/ 46 w 58"/>
                <a:gd name="T9" fmla="*/ 12 h 72"/>
                <a:gd name="T10" fmla="*/ 47 w 58"/>
                <a:gd name="T11" fmla="*/ 9 h 72"/>
                <a:gd name="T12" fmla="*/ 46 w 58"/>
                <a:gd name="T13" fmla="*/ 7 h 72"/>
                <a:gd name="T14" fmla="*/ 47 w 58"/>
                <a:gd name="T15" fmla="*/ 4 h 72"/>
                <a:gd name="T16" fmla="*/ 48 w 58"/>
                <a:gd name="T17" fmla="*/ 2 h 72"/>
                <a:gd name="T18" fmla="*/ 46 w 58"/>
                <a:gd name="T19" fmla="*/ 1 h 72"/>
                <a:gd name="T20" fmla="*/ 43 w 58"/>
                <a:gd name="T21" fmla="*/ 0 h 72"/>
                <a:gd name="T22" fmla="*/ 43 w 58"/>
                <a:gd name="T23" fmla="*/ 0 h 72"/>
                <a:gd name="T24" fmla="*/ 38 w 58"/>
                <a:gd name="T25" fmla="*/ 1 h 72"/>
                <a:gd name="T26" fmla="*/ 35 w 58"/>
                <a:gd name="T27" fmla="*/ 3 h 72"/>
                <a:gd name="T28" fmla="*/ 33 w 58"/>
                <a:gd name="T29" fmla="*/ 3 h 72"/>
                <a:gd name="T30" fmla="*/ 29 w 58"/>
                <a:gd name="T31" fmla="*/ 6 h 72"/>
                <a:gd name="T32" fmla="*/ 29 w 58"/>
                <a:gd name="T33" fmla="*/ 9 h 72"/>
                <a:gd name="T34" fmla="*/ 25 w 58"/>
                <a:gd name="T35" fmla="*/ 14 h 72"/>
                <a:gd name="T36" fmla="*/ 18 w 58"/>
                <a:gd name="T37" fmla="*/ 16 h 72"/>
                <a:gd name="T38" fmla="*/ 15 w 58"/>
                <a:gd name="T39" fmla="*/ 15 h 72"/>
                <a:gd name="T40" fmla="*/ 12 w 58"/>
                <a:gd name="T41" fmla="*/ 12 h 72"/>
                <a:gd name="T42" fmla="*/ 8 w 58"/>
                <a:gd name="T43" fmla="*/ 8 h 72"/>
                <a:gd name="T44" fmla="*/ 7 w 58"/>
                <a:gd name="T45" fmla="*/ 8 h 72"/>
                <a:gd name="T46" fmla="*/ 1 w 58"/>
                <a:gd name="T47" fmla="*/ 13 h 72"/>
                <a:gd name="T48" fmla="*/ 0 w 58"/>
                <a:gd name="T49" fmla="*/ 14 h 72"/>
                <a:gd name="T50" fmla="*/ 1 w 58"/>
                <a:gd name="T51" fmla="*/ 15 h 72"/>
                <a:gd name="T52" fmla="*/ 6 w 58"/>
                <a:gd name="T53" fmla="*/ 23 h 72"/>
                <a:gd name="T54" fmla="*/ 8 w 58"/>
                <a:gd name="T55" fmla="*/ 30 h 72"/>
                <a:gd name="T56" fmla="*/ 8 w 58"/>
                <a:gd name="T57" fmla="*/ 32 h 72"/>
                <a:gd name="T58" fmla="*/ 8 w 58"/>
                <a:gd name="T59" fmla="*/ 36 h 72"/>
                <a:gd name="T60" fmla="*/ 8 w 58"/>
                <a:gd name="T61" fmla="*/ 49 h 72"/>
                <a:gd name="T62" fmla="*/ 8 w 58"/>
                <a:gd name="T63" fmla="*/ 51 h 72"/>
                <a:gd name="T64" fmla="*/ 9 w 58"/>
                <a:gd name="T65" fmla="*/ 51 h 72"/>
                <a:gd name="T66" fmla="*/ 9 w 58"/>
                <a:gd name="T67" fmla="*/ 51 h 72"/>
                <a:gd name="T68" fmla="*/ 19 w 58"/>
                <a:gd name="T69" fmla="*/ 68 h 72"/>
                <a:gd name="T70" fmla="*/ 19 w 58"/>
                <a:gd name="T71" fmla="*/ 70 h 72"/>
                <a:gd name="T72" fmla="*/ 19 w 58"/>
                <a:gd name="T73" fmla="*/ 72 h 72"/>
                <a:gd name="T74" fmla="*/ 21 w 58"/>
                <a:gd name="T75" fmla="*/ 72 h 72"/>
                <a:gd name="T76" fmla="*/ 22 w 58"/>
                <a:gd name="T77" fmla="*/ 72 h 72"/>
                <a:gd name="T78" fmla="*/ 26 w 58"/>
                <a:gd name="T79" fmla="*/ 70 h 72"/>
                <a:gd name="T80" fmla="*/ 27 w 58"/>
                <a:gd name="T81" fmla="*/ 69 h 72"/>
                <a:gd name="T82" fmla="*/ 28 w 58"/>
                <a:gd name="T83" fmla="*/ 68 h 72"/>
                <a:gd name="T84" fmla="*/ 29 w 58"/>
                <a:gd name="T85" fmla="*/ 68 h 72"/>
                <a:gd name="T86" fmla="*/ 31 w 58"/>
                <a:gd name="T87" fmla="*/ 67 h 72"/>
                <a:gd name="T88" fmla="*/ 33 w 58"/>
                <a:gd name="T89" fmla="*/ 65 h 72"/>
                <a:gd name="T90" fmla="*/ 35 w 58"/>
                <a:gd name="T91" fmla="*/ 63 h 72"/>
                <a:gd name="T92" fmla="*/ 37 w 58"/>
                <a:gd name="T93" fmla="*/ 59 h 72"/>
                <a:gd name="T94" fmla="*/ 38 w 58"/>
                <a:gd name="T95" fmla="*/ 57 h 72"/>
                <a:gd name="T96" fmla="*/ 41 w 58"/>
                <a:gd name="T97" fmla="*/ 51 h 72"/>
                <a:gd name="T98" fmla="*/ 45 w 58"/>
                <a:gd name="T99" fmla="*/ 41 h 72"/>
                <a:gd name="T100" fmla="*/ 51 w 58"/>
                <a:gd name="T101" fmla="*/ 35 h 72"/>
                <a:gd name="T102" fmla="*/ 52 w 58"/>
                <a:gd name="T103" fmla="*/ 34 h 72"/>
                <a:gd name="T104" fmla="*/ 55 w 58"/>
                <a:gd name="T105" fmla="*/ 2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" h="72">
                  <a:moveTo>
                    <a:pt x="55" y="24"/>
                  </a:moveTo>
                  <a:cubicBezTo>
                    <a:pt x="54" y="23"/>
                    <a:pt x="52" y="22"/>
                    <a:pt x="51" y="21"/>
                  </a:cubicBezTo>
                  <a:cubicBezTo>
                    <a:pt x="51" y="21"/>
                    <a:pt x="50" y="21"/>
                    <a:pt x="49" y="20"/>
                  </a:cubicBezTo>
                  <a:cubicBezTo>
                    <a:pt x="48" y="20"/>
                    <a:pt x="47" y="20"/>
                    <a:pt x="46" y="19"/>
                  </a:cubicBezTo>
                  <a:cubicBezTo>
                    <a:pt x="45" y="18"/>
                    <a:pt x="45" y="15"/>
                    <a:pt x="46" y="12"/>
                  </a:cubicBezTo>
                  <a:cubicBezTo>
                    <a:pt x="46" y="11"/>
                    <a:pt x="46" y="10"/>
                    <a:pt x="47" y="9"/>
                  </a:cubicBezTo>
                  <a:cubicBezTo>
                    <a:pt x="47" y="9"/>
                    <a:pt x="47" y="8"/>
                    <a:pt x="46" y="7"/>
                  </a:cubicBezTo>
                  <a:cubicBezTo>
                    <a:pt x="46" y="6"/>
                    <a:pt x="46" y="5"/>
                    <a:pt x="47" y="4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5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1" y="0"/>
                    <a:pt x="40" y="1"/>
                    <a:pt x="38" y="1"/>
                  </a:cubicBezTo>
                  <a:cubicBezTo>
                    <a:pt x="37" y="2"/>
                    <a:pt x="36" y="2"/>
                    <a:pt x="35" y="3"/>
                  </a:cubicBezTo>
                  <a:cubicBezTo>
                    <a:pt x="34" y="3"/>
                    <a:pt x="34" y="3"/>
                    <a:pt x="33" y="3"/>
                  </a:cubicBezTo>
                  <a:cubicBezTo>
                    <a:pt x="31" y="3"/>
                    <a:pt x="30" y="3"/>
                    <a:pt x="29" y="6"/>
                  </a:cubicBezTo>
                  <a:cubicBezTo>
                    <a:pt x="29" y="7"/>
                    <a:pt x="29" y="8"/>
                    <a:pt x="29" y="9"/>
                  </a:cubicBezTo>
                  <a:cubicBezTo>
                    <a:pt x="28" y="12"/>
                    <a:pt x="28" y="13"/>
                    <a:pt x="25" y="14"/>
                  </a:cubicBezTo>
                  <a:cubicBezTo>
                    <a:pt x="23" y="15"/>
                    <a:pt x="21" y="16"/>
                    <a:pt x="18" y="16"/>
                  </a:cubicBezTo>
                  <a:cubicBezTo>
                    <a:pt x="17" y="16"/>
                    <a:pt x="16" y="15"/>
                    <a:pt x="15" y="15"/>
                  </a:cubicBezTo>
                  <a:cubicBezTo>
                    <a:pt x="14" y="14"/>
                    <a:pt x="13" y="13"/>
                    <a:pt x="12" y="12"/>
                  </a:cubicBezTo>
                  <a:cubicBezTo>
                    <a:pt x="11" y="10"/>
                    <a:pt x="10" y="9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4" y="8"/>
                    <a:pt x="1" y="12"/>
                    <a:pt x="1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8"/>
                    <a:pt x="3" y="20"/>
                    <a:pt x="6" y="23"/>
                  </a:cubicBezTo>
                  <a:cubicBezTo>
                    <a:pt x="8" y="25"/>
                    <a:pt x="8" y="27"/>
                    <a:pt x="8" y="30"/>
                  </a:cubicBezTo>
                  <a:cubicBezTo>
                    <a:pt x="8" y="30"/>
                    <a:pt x="8" y="31"/>
                    <a:pt x="8" y="32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40"/>
                    <a:pt x="8" y="45"/>
                    <a:pt x="8" y="49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12" y="54"/>
                    <a:pt x="18" y="64"/>
                    <a:pt x="19" y="68"/>
                  </a:cubicBezTo>
                  <a:cubicBezTo>
                    <a:pt x="19" y="68"/>
                    <a:pt x="19" y="69"/>
                    <a:pt x="19" y="70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1" y="72"/>
                    <a:pt x="22" y="72"/>
                    <a:pt x="22" y="72"/>
                  </a:cubicBezTo>
                  <a:cubicBezTo>
                    <a:pt x="24" y="72"/>
                    <a:pt x="25" y="71"/>
                    <a:pt x="26" y="70"/>
                  </a:cubicBezTo>
                  <a:cubicBezTo>
                    <a:pt x="26" y="70"/>
                    <a:pt x="26" y="70"/>
                    <a:pt x="27" y="69"/>
                  </a:cubicBezTo>
                  <a:cubicBezTo>
                    <a:pt x="27" y="69"/>
                    <a:pt x="27" y="68"/>
                    <a:pt x="28" y="68"/>
                  </a:cubicBezTo>
                  <a:cubicBezTo>
                    <a:pt x="28" y="68"/>
                    <a:pt x="29" y="68"/>
                    <a:pt x="29" y="68"/>
                  </a:cubicBezTo>
                  <a:cubicBezTo>
                    <a:pt x="30" y="68"/>
                    <a:pt x="30" y="68"/>
                    <a:pt x="31" y="67"/>
                  </a:cubicBezTo>
                  <a:cubicBezTo>
                    <a:pt x="31" y="66"/>
                    <a:pt x="32" y="66"/>
                    <a:pt x="33" y="65"/>
                  </a:cubicBezTo>
                  <a:cubicBezTo>
                    <a:pt x="34" y="64"/>
                    <a:pt x="34" y="64"/>
                    <a:pt x="35" y="63"/>
                  </a:cubicBezTo>
                  <a:cubicBezTo>
                    <a:pt x="36" y="62"/>
                    <a:pt x="37" y="60"/>
                    <a:pt x="37" y="59"/>
                  </a:cubicBezTo>
                  <a:cubicBezTo>
                    <a:pt x="37" y="58"/>
                    <a:pt x="37" y="57"/>
                    <a:pt x="38" y="57"/>
                  </a:cubicBezTo>
                  <a:cubicBezTo>
                    <a:pt x="39" y="55"/>
                    <a:pt x="40" y="53"/>
                    <a:pt x="41" y="51"/>
                  </a:cubicBezTo>
                  <a:cubicBezTo>
                    <a:pt x="43" y="48"/>
                    <a:pt x="44" y="44"/>
                    <a:pt x="45" y="41"/>
                  </a:cubicBezTo>
                  <a:cubicBezTo>
                    <a:pt x="46" y="38"/>
                    <a:pt x="48" y="37"/>
                    <a:pt x="51" y="35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5" y="31"/>
                    <a:pt x="58" y="28"/>
                    <a:pt x="55" y="24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2" name="Freeform 42"/>
            <p:cNvSpPr>
              <a:spLocks/>
            </p:cNvSpPr>
            <p:nvPr/>
          </p:nvSpPr>
          <p:spPr bwMode="auto">
            <a:xfrm>
              <a:off x="3249959" y="1103943"/>
              <a:ext cx="965359" cy="1204054"/>
            </a:xfrm>
            <a:custGeom>
              <a:avLst/>
              <a:gdLst>
                <a:gd name="T0" fmla="*/ 465 w 477"/>
                <a:gd name="T1" fmla="*/ 159 h 646"/>
                <a:gd name="T2" fmla="*/ 455 w 477"/>
                <a:gd name="T3" fmla="*/ 149 h 646"/>
                <a:gd name="T4" fmla="*/ 443 w 477"/>
                <a:gd name="T5" fmla="*/ 140 h 646"/>
                <a:gd name="T6" fmla="*/ 436 w 477"/>
                <a:gd name="T7" fmla="*/ 112 h 646"/>
                <a:gd name="T8" fmla="*/ 431 w 477"/>
                <a:gd name="T9" fmla="*/ 71 h 646"/>
                <a:gd name="T10" fmla="*/ 419 w 477"/>
                <a:gd name="T11" fmla="*/ 32 h 646"/>
                <a:gd name="T12" fmla="*/ 393 w 477"/>
                <a:gd name="T13" fmla="*/ 11 h 646"/>
                <a:gd name="T14" fmla="*/ 371 w 477"/>
                <a:gd name="T15" fmla="*/ 10 h 646"/>
                <a:gd name="T16" fmla="*/ 341 w 477"/>
                <a:gd name="T17" fmla="*/ 38 h 646"/>
                <a:gd name="T18" fmla="*/ 302 w 477"/>
                <a:gd name="T19" fmla="*/ 38 h 646"/>
                <a:gd name="T20" fmla="*/ 267 w 477"/>
                <a:gd name="T21" fmla="*/ 29 h 646"/>
                <a:gd name="T22" fmla="*/ 256 w 477"/>
                <a:gd name="T23" fmla="*/ 38 h 646"/>
                <a:gd name="T24" fmla="*/ 158 w 477"/>
                <a:gd name="T25" fmla="*/ 38 h 646"/>
                <a:gd name="T26" fmla="*/ 56 w 477"/>
                <a:gd name="T27" fmla="*/ 103 h 646"/>
                <a:gd name="T28" fmla="*/ 59 w 477"/>
                <a:gd name="T29" fmla="*/ 236 h 646"/>
                <a:gd name="T30" fmla="*/ 52 w 477"/>
                <a:gd name="T31" fmla="*/ 242 h 646"/>
                <a:gd name="T32" fmla="*/ 36 w 477"/>
                <a:gd name="T33" fmla="*/ 245 h 646"/>
                <a:gd name="T34" fmla="*/ 22 w 477"/>
                <a:gd name="T35" fmla="*/ 275 h 646"/>
                <a:gd name="T36" fmla="*/ 16 w 477"/>
                <a:gd name="T37" fmla="*/ 298 h 646"/>
                <a:gd name="T38" fmla="*/ 9 w 477"/>
                <a:gd name="T39" fmla="*/ 325 h 646"/>
                <a:gd name="T40" fmla="*/ 9 w 477"/>
                <a:gd name="T41" fmla="*/ 342 h 646"/>
                <a:gd name="T42" fmla="*/ 21 w 477"/>
                <a:gd name="T43" fmla="*/ 372 h 646"/>
                <a:gd name="T44" fmla="*/ 31 w 477"/>
                <a:gd name="T45" fmla="*/ 401 h 646"/>
                <a:gd name="T46" fmla="*/ 53 w 477"/>
                <a:gd name="T47" fmla="*/ 445 h 646"/>
                <a:gd name="T48" fmla="*/ 47 w 477"/>
                <a:gd name="T49" fmla="*/ 465 h 646"/>
                <a:gd name="T50" fmla="*/ 60 w 477"/>
                <a:gd name="T51" fmla="*/ 475 h 646"/>
                <a:gd name="T52" fmla="*/ 77 w 477"/>
                <a:gd name="T53" fmla="*/ 490 h 646"/>
                <a:gd name="T54" fmla="*/ 101 w 477"/>
                <a:gd name="T55" fmla="*/ 504 h 646"/>
                <a:gd name="T56" fmla="*/ 116 w 477"/>
                <a:gd name="T57" fmla="*/ 527 h 646"/>
                <a:gd name="T58" fmla="*/ 133 w 477"/>
                <a:gd name="T59" fmla="*/ 546 h 646"/>
                <a:gd name="T60" fmla="*/ 144 w 477"/>
                <a:gd name="T61" fmla="*/ 565 h 646"/>
                <a:gd name="T62" fmla="*/ 159 w 477"/>
                <a:gd name="T63" fmla="*/ 579 h 646"/>
                <a:gd name="T64" fmla="*/ 175 w 477"/>
                <a:gd name="T65" fmla="*/ 611 h 646"/>
                <a:gd name="T66" fmla="*/ 198 w 477"/>
                <a:gd name="T67" fmla="*/ 616 h 646"/>
                <a:gd name="T68" fmla="*/ 216 w 477"/>
                <a:gd name="T69" fmla="*/ 619 h 646"/>
                <a:gd name="T70" fmla="*/ 232 w 477"/>
                <a:gd name="T71" fmla="*/ 613 h 646"/>
                <a:gd name="T72" fmla="*/ 255 w 477"/>
                <a:gd name="T73" fmla="*/ 639 h 646"/>
                <a:gd name="T74" fmla="*/ 284 w 477"/>
                <a:gd name="T75" fmla="*/ 641 h 646"/>
                <a:gd name="T76" fmla="*/ 297 w 477"/>
                <a:gd name="T77" fmla="*/ 643 h 646"/>
                <a:gd name="T78" fmla="*/ 304 w 477"/>
                <a:gd name="T79" fmla="*/ 645 h 646"/>
                <a:gd name="T80" fmla="*/ 327 w 477"/>
                <a:gd name="T81" fmla="*/ 635 h 646"/>
                <a:gd name="T82" fmla="*/ 367 w 477"/>
                <a:gd name="T83" fmla="*/ 610 h 646"/>
                <a:gd name="T84" fmla="*/ 400 w 477"/>
                <a:gd name="T85" fmla="*/ 585 h 646"/>
                <a:gd name="T86" fmla="*/ 387 w 477"/>
                <a:gd name="T87" fmla="*/ 575 h 646"/>
                <a:gd name="T88" fmla="*/ 369 w 477"/>
                <a:gd name="T89" fmla="*/ 538 h 646"/>
                <a:gd name="T90" fmla="*/ 343 w 477"/>
                <a:gd name="T91" fmla="*/ 509 h 646"/>
                <a:gd name="T92" fmla="*/ 328 w 477"/>
                <a:gd name="T93" fmla="*/ 498 h 646"/>
                <a:gd name="T94" fmla="*/ 344 w 477"/>
                <a:gd name="T95" fmla="*/ 487 h 646"/>
                <a:gd name="T96" fmla="*/ 356 w 477"/>
                <a:gd name="T97" fmla="*/ 439 h 646"/>
                <a:gd name="T98" fmla="*/ 373 w 477"/>
                <a:gd name="T99" fmla="*/ 406 h 646"/>
                <a:gd name="T100" fmla="*/ 379 w 477"/>
                <a:gd name="T101" fmla="*/ 397 h 646"/>
                <a:gd name="T102" fmla="*/ 395 w 477"/>
                <a:gd name="T103" fmla="*/ 356 h 646"/>
                <a:gd name="T104" fmla="*/ 413 w 477"/>
                <a:gd name="T105" fmla="*/ 334 h 646"/>
                <a:gd name="T106" fmla="*/ 420 w 477"/>
                <a:gd name="T107" fmla="*/ 272 h 646"/>
                <a:gd name="T108" fmla="*/ 430 w 477"/>
                <a:gd name="T109" fmla="*/ 221 h 646"/>
                <a:gd name="T110" fmla="*/ 436 w 477"/>
                <a:gd name="T111" fmla="*/ 202 h 646"/>
                <a:gd name="T112" fmla="*/ 456 w 477"/>
                <a:gd name="T113" fmla="*/ 186 h 646"/>
                <a:gd name="T114" fmla="*/ 477 w 477"/>
                <a:gd name="T115" fmla="*/ 168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77" h="646">
                  <a:moveTo>
                    <a:pt x="476" y="166"/>
                  </a:moveTo>
                  <a:cubicBezTo>
                    <a:pt x="476" y="166"/>
                    <a:pt x="476" y="166"/>
                    <a:pt x="476" y="166"/>
                  </a:cubicBezTo>
                  <a:cubicBezTo>
                    <a:pt x="475" y="165"/>
                    <a:pt x="474" y="164"/>
                    <a:pt x="473" y="164"/>
                  </a:cubicBezTo>
                  <a:cubicBezTo>
                    <a:pt x="472" y="163"/>
                    <a:pt x="471" y="163"/>
                    <a:pt x="471" y="163"/>
                  </a:cubicBezTo>
                  <a:cubicBezTo>
                    <a:pt x="471" y="162"/>
                    <a:pt x="470" y="162"/>
                    <a:pt x="470" y="162"/>
                  </a:cubicBezTo>
                  <a:cubicBezTo>
                    <a:pt x="469" y="161"/>
                    <a:pt x="468" y="160"/>
                    <a:pt x="465" y="159"/>
                  </a:cubicBezTo>
                  <a:cubicBezTo>
                    <a:pt x="465" y="159"/>
                    <a:pt x="464" y="159"/>
                    <a:pt x="464" y="159"/>
                  </a:cubicBezTo>
                  <a:cubicBezTo>
                    <a:pt x="464" y="159"/>
                    <a:pt x="464" y="158"/>
                    <a:pt x="464" y="158"/>
                  </a:cubicBezTo>
                  <a:cubicBezTo>
                    <a:pt x="464" y="158"/>
                    <a:pt x="464" y="157"/>
                    <a:pt x="463" y="157"/>
                  </a:cubicBezTo>
                  <a:cubicBezTo>
                    <a:pt x="463" y="155"/>
                    <a:pt x="461" y="154"/>
                    <a:pt x="460" y="153"/>
                  </a:cubicBezTo>
                  <a:cubicBezTo>
                    <a:pt x="459" y="153"/>
                    <a:pt x="459" y="153"/>
                    <a:pt x="459" y="152"/>
                  </a:cubicBezTo>
                  <a:cubicBezTo>
                    <a:pt x="457" y="151"/>
                    <a:pt x="456" y="150"/>
                    <a:pt x="455" y="149"/>
                  </a:cubicBezTo>
                  <a:cubicBezTo>
                    <a:pt x="454" y="148"/>
                    <a:pt x="454" y="148"/>
                    <a:pt x="454" y="147"/>
                  </a:cubicBezTo>
                  <a:cubicBezTo>
                    <a:pt x="453" y="146"/>
                    <a:pt x="452" y="145"/>
                    <a:pt x="449" y="144"/>
                  </a:cubicBezTo>
                  <a:cubicBezTo>
                    <a:pt x="449" y="144"/>
                    <a:pt x="448" y="144"/>
                    <a:pt x="448" y="144"/>
                  </a:cubicBezTo>
                  <a:cubicBezTo>
                    <a:pt x="448" y="144"/>
                    <a:pt x="447" y="144"/>
                    <a:pt x="446" y="144"/>
                  </a:cubicBezTo>
                  <a:cubicBezTo>
                    <a:pt x="446" y="144"/>
                    <a:pt x="445" y="144"/>
                    <a:pt x="445" y="144"/>
                  </a:cubicBezTo>
                  <a:cubicBezTo>
                    <a:pt x="444" y="143"/>
                    <a:pt x="443" y="141"/>
                    <a:pt x="443" y="140"/>
                  </a:cubicBezTo>
                  <a:cubicBezTo>
                    <a:pt x="443" y="139"/>
                    <a:pt x="443" y="139"/>
                    <a:pt x="443" y="139"/>
                  </a:cubicBezTo>
                  <a:cubicBezTo>
                    <a:pt x="441" y="135"/>
                    <a:pt x="440" y="131"/>
                    <a:pt x="439" y="127"/>
                  </a:cubicBezTo>
                  <a:cubicBezTo>
                    <a:pt x="438" y="126"/>
                    <a:pt x="438" y="124"/>
                    <a:pt x="438" y="123"/>
                  </a:cubicBezTo>
                  <a:cubicBezTo>
                    <a:pt x="438" y="122"/>
                    <a:pt x="438" y="121"/>
                    <a:pt x="438" y="119"/>
                  </a:cubicBezTo>
                  <a:cubicBezTo>
                    <a:pt x="438" y="118"/>
                    <a:pt x="437" y="117"/>
                    <a:pt x="437" y="115"/>
                  </a:cubicBezTo>
                  <a:cubicBezTo>
                    <a:pt x="436" y="114"/>
                    <a:pt x="436" y="113"/>
                    <a:pt x="436" y="112"/>
                  </a:cubicBezTo>
                  <a:cubicBezTo>
                    <a:pt x="436" y="111"/>
                    <a:pt x="435" y="109"/>
                    <a:pt x="435" y="108"/>
                  </a:cubicBezTo>
                  <a:cubicBezTo>
                    <a:pt x="434" y="106"/>
                    <a:pt x="434" y="105"/>
                    <a:pt x="434" y="103"/>
                  </a:cubicBezTo>
                  <a:cubicBezTo>
                    <a:pt x="433" y="99"/>
                    <a:pt x="433" y="93"/>
                    <a:pt x="434" y="87"/>
                  </a:cubicBezTo>
                  <a:cubicBezTo>
                    <a:pt x="434" y="85"/>
                    <a:pt x="433" y="83"/>
                    <a:pt x="433" y="81"/>
                  </a:cubicBezTo>
                  <a:cubicBezTo>
                    <a:pt x="433" y="80"/>
                    <a:pt x="432" y="79"/>
                    <a:pt x="432" y="78"/>
                  </a:cubicBezTo>
                  <a:cubicBezTo>
                    <a:pt x="432" y="76"/>
                    <a:pt x="432" y="73"/>
                    <a:pt x="431" y="71"/>
                  </a:cubicBezTo>
                  <a:cubicBezTo>
                    <a:pt x="431" y="70"/>
                    <a:pt x="431" y="69"/>
                    <a:pt x="432" y="68"/>
                  </a:cubicBezTo>
                  <a:cubicBezTo>
                    <a:pt x="432" y="66"/>
                    <a:pt x="432" y="64"/>
                    <a:pt x="431" y="63"/>
                  </a:cubicBezTo>
                  <a:cubicBezTo>
                    <a:pt x="430" y="61"/>
                    <a:pt x="429" y="59"/>
                    <a:pt x="428" y="57"/>
                  </a:cubicBezTo>
                  <a:cubicBezTo>
                    <a:pt x="427" y="54"/>
                    <a:pt x="425" y="51"/>
                    <a:pt x="424" y="48"/>
                  </a:cubicBezTo>
                  <a:cubicBezTo>
                    <a:pt x="423" y="46"/>
                    <a:pt x="423" y="44"/>
                    <a:pt x="423" y="41"/>
                  </a:cubicBezTo>
                  <a:cubicBezTo>
                    <a:pt x="422" y="37"/>
                    <a:pt x="422" y="35"/>
                    <a:pt x="419" y="32"/>
                  </a:cubicBezTo>
                  <a:cubicBezTo>
                    <a:pt x="418" y="31"/>
                    <a:pt x="416" y="30"/>
                    <a:pt x="415" y="29"/>
                  </a:cubicBezTo>
                  <a:cubicBezTo>
                    <a:pt x="412" y="27"/>
                    <a:pt x="410" y="25"/>
                    <a:pt x="408" y="23"/>
                  </a:cubicBezTo>
                  <a:cubicBezTo>
                    <a:pt x="407" y="22"/>
                    <a:pt x="406" y="21"/>
                    <a:pt x="406" y="20"/>
                  </a:cubicBezTo>
                  <a:cubicBezTo>
                    <a:pt x="404" y="17"/>
                    <a:pt x="402" y="13"/>
                    <a:pt x="397" y="12"/>
                  </a:cubicBezTo>
                  <a:cubicBezTo>
                    <a:pt x="397" y="12"/>
                    <a:pt x="396" y="12"/>
                    <a:pt x="395" y="12"/>
                  </a:cubicBezTo>
                  <a:cubicBezTo>
                    <a:pt x="394" y="12"/>
                    <a:pt x="393" y="12"/>
                    <a:pt x="393" y="11"/>
                  </a:cubicBezTo>
                  <a:cubicBezTo>
                    <a:pt x="391" y="10"/>
                    <a:pt x="390" y="9"/>
                    <a:pt x="389" y="8"/>
                  </a:cubicBezTo>
                  <a:cubicBezTo>
                    <a:pt x="388" y="6"/>
                    <a:pt x="387" y="4"/>
                    <a:pt x="386" y="3"/>
                  </a:cubicBezTo>
                  <a:cubicBezTo>
                    <a:pt x="384" y="0"/>
                    <a:pt x="384" y="0"/>
                    <a:pt x="384" y="0"/>
                  </a:cubicBezTo>
                  <a:cubicBezTo>
                    <a:pt x="382" y="3"/>
                    <a:pt x="382" y="3"/>
                    <a:pt x="382" y="3"/>
                  </a:cubicBezTo>
                  <a:cubicBezTo>
                    <a:pt x="380" y="5"/>
                    <a:pt x="378" y="8"/>
                    <a:pt x="376" y="9"/>
                  </a:cubicBezTo>
                  <a:cubicBezTo>
                    <a:pt x="374" y="10"/>
                    <a:pt x="373" y="10"/>
                    <a:pt x="371" y="10"/>
                  </a:cubicBezTo>
                  <a:cubicBezTo>
                    <a:pt x="369" y="10"/>
                    <a:pt x="368" y="10"/>
                    <a:pt x="366" y="12"/>
                  </a:cubicBezTo>
                  <a:cubicBezTo>
                    <a:pt x="363" y="14"/>
                    <a:pt x="362" y="17"/>
                    <a:pt x="362" y="20"/>
                  </a:cubicBezTo>
                  <a:cubicBezTo>
                    <a:pt x="360" y="24"/>
                    <a:pt x="359" y="28"/>
                    <a:pt x="355" y="29"/>
                  </a:cubicBezTo>
                  <a:cubicBezTo>
                    <a:pt x="354" y="30"/>
                    <a:pt x="352" y="30"/>
                    <a:pt x="351" y="30"/>
                  </a:cubicBezTo>
                  <a:cubicBezTo>
                    <a:pt x="349" y="30"/>
                    <a:pt x="347" y="30"/>
                    <a:pt x="345" y="32"/>
                  </a:cubicBezTo>
                  <a:cubicBezTo>
                    <a:pt x="343" y="34"/>
                    <a:pt x="342" y="36"/>
                    <a:pt x="341" y="38"/>
                  </a:cubicBezTo>
                  <a:cubicBezTo>
                    <a:pt x="341" y="40"/>
                    <a:pt x="341" y="41"/>
                    <a:pt x="340" y="42"/>
                  </a:cubicBezTo>
                  <a:cubicBezTo>
                    <a:pt x="339" y="45"/>
                    <a:pt x="337" y="46"/>
                    <a:pt x="334" y="47"/>
                  </a:cubicBezTo>
                  <a:cubicBezTo>
                    <a:pt x="334" y="47"/>
                    <a:pt x="333" y="47"/>
                    <a:pt x="333" y="47"/>
                  </a:cubicBezTo>
                  <a:cubicBezTo>
                    <a:pt x="329" y="47"/>
                    <a:pt x="324" y="44"/>
                    <a:pt x="322" y="42"/>
                  </a:cubicBezTo>
                  <a:cubicBezTo>
                    <a:pt x="318" y="38"/>
                    <a:pt x="312" y="38"/>
                    <a:pt x="308" y="38"/>
                  </a:cubicBezTo>
                  <a:cubicBezTo>
                    <a:pt x="306" y="38"/>
                    <a:pt x="304" y="38"/>
                    <a:pt x="302" y="38"/>
                  </a:cubicBezTo>
                  <a:cubicBezTo>
                    <a:pt x="299" y="38"/>
                    <a:pt x="299" y="38"/>
                    <a:pt x="299" y="38"/>
                  </a:cubicBezTo>
                  <a:cubicBezTo>
                    <a:pt x="294" y="38"/>
                    <a:pt x="288" y="38"/>
                    <a:pt x="282" y="38"/>
                  </a:cubicBezTo>
                  <a:cubicBezTo>
                    <a:pt x="277" y="38"/>
                    <a:pt x="273" y="38"/>
                    <a:pt x="269" y="38"/>
                  </a:cubicBezTo>
                  <a:cubicBezTo>
                    <a:pt x="269" y="37"/>
                    <a:pt x="269" y="37"/>
                    <a:pt x="269" y="36"/>
                  </a:cubicBezTo>
                  <a:cubicBezTo>
                    <a:pt x="269" y="33"/>
                    <a:pt x="269" y="32"/>
                    <a:pt x="268" y="31"/>
                  </a:cubicBezTo>
                  <a:cubicBezTo>
                    <a:pt x="267" y="29"/>
                    <a:pt x="267" y="29"/>
                    <a:pt x="267" y="29"/>
                  </a:cubicBezTo>
                  <a:cubicBezTo>
                    <a:pt x="266" y="30"/>
                    <a:pt x="266" y="30"/>
                    <a:pt x="266" y="30"/>
                  </a:cubicBezTo>
                  <a:cubicBezTo>
                    <a:pt x="266" y="30"/>
                    <a:pt x="266" y="30"/>
                    <a:pt x="266" y="30"/>
                  </a:cubicBezTo>
                  <a:cubicBezTo>
                    <a:pt x="265" y="31"/>
                    <a:pt x="264" y="32"/>
                    <a:pt x="263" y="34"/>
                  </a:cubicBezTo>
                  <a:cubicBezTo>
                    <a:pt x="262" y="36"/>
                    <a:pt x="261" y="38"/>
                    <a:pt x="259" y="38"/>
                  </a:cubicBezTo>
                  <a:cubicBezTo>
                    <a:pt x="259" y="38"/>
                    <a:pt x="259" y="38"/>
                    <a:pt x="258" y="38"/>
                  </a:cubicBezTo>
                  <a:cubicBezTo>
                    <a:pt x="258" y="38"/>
                    <a:pt x="257" y="38"/>
                    <a:pt x="256" y="38"/>
                  </a:cubicBezTo>
                  <a:cubicBezTo>
                    <a:pt x="256" y="38"/>
                    <a:pt x="255" y="38"/>
                    <a:pt x="254" y="38"/>
                  </a:cubicBezTo>
                  <a:cubicBezTo>
                    <a:pt x="253" y="38"/>
                    <a:pt x="252" y="38"/>
                    <a:pt x="251" y="38"/>
                  </a:cubicBezTo>
                  <a:cubicBezTo>
                    <a:pt x="248" y="38"/>
                    <a:pt x="245" y="38"/>
                    <a:pt x="243" y="38"/>
                  </a:cubicBezTo>
                  <a:cubicBezTo>
                    <a:pt x="238" y="38"/>
                    <a:pt x="238" y="38"/>
                    <a:pt x="238" y="38"/>
                  </a:cubicBezTo>
                  <a:cubicBezTo>
                    <a:pt x="226" y="38"/>
                    <a:pt x="212" y="38"/>
                    <a:pt x="197" y="38"/>
                  </a:cubicBezTo>
                  <a:cubicBezTo>
                    <a:pt x="184" y="38"/>
                    <a:pt x="171" y="38"/>
                    <a:pt x="158" y="38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31" y="38"/>
                    <a:pt x="121" y="38"/>
                    <a:pt x="111" y="38"/>
                  </a:cubicBezTo>
                  <a:cubicBezTo>
                    <a:pt x="102" y="38"/>
                    <a:pt x="93" y="38"/>
                    <a:pt x="84" y="38"/>
                  </a:cubicBezTo>
                  <a:cubicBezTo>
                    <a:pt x="82" y="38"/>
                    <a:pt x="82" y="38"/>
                    <a:pt x="82" y="38"/>
                  </a:cubicBezTo>
                  <a:cubicBezTo>
                    <a:pt x="84" y="103"/>
                    <a:pt x="84" y="103"/>
                    <a:pt x="84" y="103"/>
                  </a:cubicBezTo>
                  <a:cubicBezTo>
                    <a:pt x="56" y="103"/>
                    <a:pt x="56" y="103"/>
                    <a:pt x="56" y="103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57" y="128"/>
                    <a:pt x="57" y="137"/>
                    <a:pt x="57" y="147"/>
                  </a:cubicBezTo>
                  <a:cubicBezTo>
                    <a:pt x="57" y="156"/>
                    <a:pt x="57" y="156"/>
                    <a:pt x="57" y="156"/>
                  </a:cubicBezTo>
                  <a:cubicBezTo>
                    <a:pt x="58" y="176"/>
                    <a:pt x="58" y="199"/>
                    <a:pt x="59" y="221"/>
                  </a:cubicBezTo>
                  <a:cubicBezTo>
                    <a:pt x="59" y="226"/>
                    <a:pt x="59" y="226"/>
                    <a:pt x="59" y="226"/>
                  </a:cubicBezTo>
                  <a:cubicBezTo>
                    <a:pt x="59" y="226"/>
                    <a:pt x="59" y="233"/>
                    <a:pt x="59" y="236"/>
                  </a:cubicBezTo>
                  <a:cubicBezTo>
                    <a:pt x="59" y="236"/>
                    <a:pt x="59" y="237"/>
                    <a:pt x="59" y="237"/>
                  </a:cubicBezTo>
                  <a:cubicBezTo>
                    <a:pt x="60" y="238"/>
                    <a:pt x="60" y="240"/>
                    <a:pt x="60" y="241"/>
                  </a:cubicBezTo>
                  <a:cubicBezTo>
                    <a:pt x="59" y="242"/>
                    <a:pt x="59" y="243"/>
                    <a:pt x="58" y="243"/>
                  </a:cubicBezTo>
                  <a:cubicBezTo>
                    <a:pt x="58" y="243"/>
                    <a:pt x="58" y="243"/>
                    <a:pt x="57" y="243"/>
                  </a:cubicBezTo>
                  <a:cubicBezTo>
                    <a:pt x="56" y="243"/>
                    <a:pt x="55" y="243"/>
                    <a:pt x="54" y="243"/>
                  </a:cubicBezTo>
                  <a:cubicBezTo>
                    <a:pt x="54" y="243"/>
                    <a:pt x="53" y="242"/>
                    <a:pt x="52" y="242"/>
                  </a:cubicBezTo>
                  <a:cubicBezTo>
                    <a:pt x="52" y="242"/>
                    <a:pt x="52" y="242"/>
                    <a:pt x="51" y="242"/>
                  </a:cubicBezTo>
                  <a:cubicBezTo>
                    <a:pt x="49" y="242"/>
                    <a:pt x="48" y="243"/>
                    <a:pt x="46" y="244"/>
                  </a:cubicBezTo>
                  <a:cubicBezTo>
                    <a:pt x="45" y="245"/>
                    <a:pt x="44" y="246"/>
                    <a:pt x="42" y="246"/>
                  </a:cubicBezTo>
                  <a:cubicBezTo>
                    <a:pt x="42" y="246"/>
                    <a:pt x="42" y="246"/>
                    <a:pt x="42" y="246"/>
                  </a:cubicBezTo>
                  <a:cubicBezTo>
                    <a:pt x="41" y="246"/>
                    <a:pt x="40" y="246"/>
                    <a:pt x="39" y="246"/>
                  </a:cubicBezTo>
                  <a:cubicBezTo>
                    <a:pt x="38" y="246"/>
                    <a:pt x="37" y="245"/>
                    <a:pt x="36" y="245"/>
                  </a:cubicBezTo>
                  <a:cubicBezTo>
                    <a:pt x="34" y="245"/>
                    <a:pt x="32" y="246"/>
                    <a:pt x="31" y="248"/>
                  </a:cubicBezTo>
                  <a:cubicBezTo>
                    <a:pt x="29" y="251"/>
                    <a:pt x="30" y="253"/>
                    <a:pt x="31" y="256"/>
                  </a:cubicBezTo>
                  <a:cubicBezTo>
                    <a:pt x="31" y="258"/>
                    <a:pt x="32" y="260"/>
                    <a:pt x="30" y="262"/>
                  </a:cubicBezTo>
                  <a:cubicBezTo>
                    <a:pt x="30" y="264"/>
                    <a:pt x="28" y="265"/>
                    <a:pt x="27" y="267"/>
                  </a:cubicBezTo>
                  <a:cubicBezTo>
                    <a:pt x="25" y="268"/>
                    <a:pt x="23" y="270"/>
                    <a:pt x="23" y="272"/>
                  </a:cubicBezTo>
                  <a:cubicBezTo>
                    <a:pt x="22" y="273"/>
                    <a:pt x="22" y="274"/>
                    <a:pt x="22" y="275"/>
                  </a:cubicBezTo>
                  <a:cubicBezTo>
                    <a:pt x="22" y="277"/>
                    <a:pt x="22" y="278"/>
                    <a:pt x="22" y="279"/>
                  </a:cubicBezTo>
                  <a:cubicBezTo>
                    <a:pt x="21" y="280"/>
                    <a:pt x="20" y="280"/>
                    <a:pt x="18" y="281"/>
                  </a:cubicBezTo>
                  <a:cubicBezTo>
                    <a:pt x="17" y="281"/>
                    <a:pt x="16" y="281"/>
                    <a:pt x="15" y="282"/>
                  </a:cubicBezTo>
                  <a:cubicBezTo>
                    <a:pt x="13" y="285"/>
                    <a:pt x="15" y="287"/>
                    <a:pt x="17" y="289"/>
                  </a:cubicBezTo>
                  <a:cubicBezTo>
                    <a:pt x="19" y="291"/>
                    <a:pt x="21" y="293"/>
                    <a:pt x="20" y="295"/>
                  </a:cubicBezTo>
                  <a:cubicBezTo>
                    <a:pt x="19" y="297"/>
                    <a:pt x="17" y="297"/>
                    <a:pt x="16" y="298"/>
                  </a:cubicBezTo>
                  <a:cubicBezTo>
                    <a:pt x="15" y="298"/>
                    <a:pt x="14" y="299"/>
                    <a:pt x="14" y="299"/>
                  </a:cubicBezTo>
                  <a:cubicBezTo>
                    <a:pt x="12" y="300"/>
                    <a:pt x="10" y="302"/>
                    <a:pt x="9" y="304"/>
                  </a:cubicBezTo>
                  <a:cubicBezTo>
                    <a:pt x="5" y="308"/>
                    <a:pt x="6" y="311"/>
                    <a:pt x="9" y="316"/>
                  </a:cubicBezTo>
                  <a:cubicBezTo>
                    <a:pt x="9" y="316"/>
                    <a:pt x="9" y="317"/>
                    <a:pt x="10" y="317"/>
                  </a:cubicBezTo>
                  <a:cubicBezTo>
                    <a:pt x="11" y="319"/>
                    <a:pt x="12" y="320"/>
                    <a:pt x="12" y="322"/>
                  </a:cubicBezTo>
                  <a:cubicBezTo>
                    <a:pt x="11" y="324"/>
                    <a:pt x="10" y="324"/>
                    <a:pt x="9" y="325"/>
                  </a:cubicBezTo>
                  <a:cubicBezTo>
                    <a:pt x="8" y="325"/>
                    <a:pt x="8" y="325"/>
                    <a:pt x="7" y="326"/>
                  </a:cubicBezTo>
                  <a:cubicBezTo>
                    <a:pt x="3" y="328"/>
                    <a:pt x="0" y="334"/>
                    <a:pt x="0" y="339"/>
                  </a:cubicBezTo>
                  <a:cubicBezTo>
                    <a:pt x="0" y="341"/>
                    <a:pt x="0" y="344"/>
                    <a:pt x="3" y="345"/>
                  </a:cubicBezTo>
                  <a:cubicBezTo>
                    <a:pt x="4" y="346"/>
                    <a:pt x="4" y="346"/>
                    <a:pt x="5" y="346"/>
                  </a:cubicBezTo>
                  <a:cubicBezTo>
                    <a:pt x="6" y="346"/>
                    <a:pt x="6" y="346"/>
                    <a:pt x="7" y="345"/>
                  </a:cubicBezTo>
                  <a:cubicBezTo>
                    <a:pt x="8" y="345"/>
                    <a:pt x="9" y="344"/>
                    <a:pt x="9" y="342"/>
                  </a:cubicBezTo>
                  <a:cubicBezTo>
                    <a:pt x="9" y="342"/>
                    <a:pt x="10" y="342"/>
                    <a:pt x="10" y="342"/>
                  </a:cubicBezTo>
                  <a:cubicBezTo>
                    <a:pt x="12" y="342"/>
                    <a:pt x="14" y="343"/>
                    <a:pt x="15" y="344"/>
                  </a:cubicBezTo>
                  <a:cubicBezTo>
                    <a:pt x="16" y="346"/>
                    <a:pt x="16" y="349"/>
                    <a:pt x="15" y="352"/>
                  </a:cubicBezTo>
                  <a:cubicBezTo>
                    <a:pt x="14" y="355"/>
                    <a:pt x="16" y="358"/>
                    <a:pt x="18" y="360"/>
                  </a:cubicBezTo>
                  <a:cubicBezTo>
                    <a:pt x="19" y="361"/>
                    <a:pt x="20" y="363"/>
                    <a:pt x="21" y="364"/>
                  </a:cubicBezTo>
                  <a:cubicBezTo>
                    <a:pt x="22" y="367"/>
                    <a:pt x="22" y="369"/>
                    <a:pt x="21" y="372"/>
                  </a:cubicBezTo>
                  <a:cubicBezTo>
                    <a:pt x="20" y="375"/>
                    <a:pt x="20" y="378"/>
                    <a:pt x="22" y="380"/>
                  </a:cubicBezTo>
                  <a:cubicBezTo>
                    <a:pt x="24" y="382"/>
                    <a:pt x="25" y="383"/>
                    <a:pt x="27" y="383"/>
                  </a:cubicBezTo>
                  <a:cubicBezTo>
                    <a:pt x="28" y="383"/>
                    <a:pt x="29" y="384"/>
                    <a:pt x="30" y="384"/>
                  </a:cubicBezTo>
                  <a:cubicBezTo>
                    <a:pt x="32" y="386"/>
                    <a:pt x="33" y="388"/>
                    <a:pt x="33" y="391"/>
                  </a:cubicBezTo>
                  <a:cubicBezTo>
                    <a:pt x="33" y="395"/>
                    <a:pt x="32" y="397"/>
                    <a:pt x="31" y="400"/>
                  </a:cubicBezTo>
                  <a:cubicBezTo>
                    <a:pt x="31" y="401"/>
                    <a:pt x="31" y="401"/>
                    <a:pt x="31" y="401"/>
                  </a:cubicBezTo>
                  <a:cubicBezTo>
                    <a:pt x="29" y="405"/>
                    <a:pt x="32" y="408"/>
                    <a:pt x="35" y="410"/>
                  </a:cubicBezTo>
                  <a:cubicBezTo>
                    <a:pt x="36" y="411"/>
                    <a:pt x="36" y="411"/>
                    <a:pt x="37" y="412"/>
                  </a:cubicBezTo>
                  <a:cubicBezTo>
                    <a:pt x="39" y="415"/>
                    <a:pt x="41" y="418"/>
                    <a:pt x="43" y="421"/>
                  </a:cubicBezTo>
                  <a:cubicBezTo>
                    <a:pt x="44" y="423"/>
                    <a:pt x="45" y="425"/>
                    <a:pt x="46" y="426"/>
                  </a:cubicBezTo>
                  <a:cubicBezTo>
                    <a:pt x="47" y="428"/>
                    <a:pt x="48" y="429"/>
                    <a:pt x="49" y="431"/>
                  </a:cubicBezTo>
                  <a:cubicBezTo>
                    <a:pt x="52" y="435"/>
                    <a:pt x="55" y="439"/>
                    <a:pt x="53" y="445"/>
                  </a:cubicBezTo>
                  <a:cubicBezTo>
                    <a:pt x="53" y="446"/>
                    <a:pt x="53" y="446"/>
                    <a:pt x="53" y="446"/>
                  </a:cubicBezTo>
                  <a:cubicBezTo>
                    <a:pt x="52" y="448"/>
                    <a:pt x="52" y="449"/>
                    <a:pt x="52" y="450"/>
                  </a:cubicBezTo>
                  <a:cubicBezTo>
                    <a:pt x="52" y="451"/>
                    <a:pt x="52" y="452"/>
                    <a:pt x="53" y="452"/>
                  </a:cubicBezTo>
                  <a:cubicBezTo>
                    <a:pt x="53" y="454"/>
                    <a:pt x="53" y="454"/>
                    <a:pt x="53" y="456"/>
                  </a:cubicBezTo>
                  <a:cubicBezTo>
                    <a:pt x="52" y="457"/>
                    <a:pt x="51" y="458"/>
                    <a:pt x="50" y="459"/>
                  </a:cubicBezTo>
                  <a:cubicBezTo>
                    <a:pt x="48" y="460"/>
                    <a:pt x="46" y="462"/>
                    <a:pt x="47" y="465"/>
                  </a:cubicBezTo>
                  <a:cubicBezTo>
                    <a:pt x="48" y="466"/>
                    <a:pt x="48" y="466"/>
                    <a:pt x="49" y="467"/>
                  </a:cubicBezTo>
                  <a:cubicBezTo>
                    <a:pt x="50" y="467"/>
                    <a:pt x="50" y="468"/>
                    <a:pt x="51" y="468"/>
                  </a:cubicBezTo>
                  <a:cubicBezTo>
                    <a:pt x="51" y="469"/>
                    <a:pt x="51" y="470"/>
                    <a:pt x="51" y="471"/>
                  </a:cubicBezTo>
                  <a:cubicBezTo>
                    <a:pt x="50" y="472"/>
                    <a:pt x="50" y="473"/>
                    <a:pt x="51" y="474"/>
                  </a:cubicBezTo>
                  <a:cubicBezTo>
                    <a:pt x="51" y="475"/>
                    <a:pt x="53" y="476"/>
                    <a:pt x="54" y="476"/>
                  </a:cubicBezTo>
                  <a:cubicBezTo>
                    <a:pt x="56" y="476"/>
                    <a:pt x="57" y="476"/>
                    <a:pt x="60" y="475"/>
                  </a:cubicBezTo>
                  <a:cubicBezTo>
                    <a:pt x="62" y="474"/>
                    <a:pt x="64" y="474"/>
                    <a:pt x="66" y="474"/>
                  </a:cubicBezTo>
                  <a:cubicBezTo>
                    <a:pt x="68" y="474"/>
                    <a:pt x="70" y="475"/>
                    <a:pt x="71" y="477"/>
                  </a:cubicBezTo>
                  <a:cubicBezTo>
                    <a:pt x="72" y="478"/>
                    <a:pt x="71" y="480"/>
                    <a:pt x="70" y="482"/>
                  </a:cubicBezTo>
                  <a:cubicBezTo>
                    <a:pt x="69" y="485"/>
                    <a:pt x="68" y="488"/>
                    <a:pt x="71" y="489"/>
                  </a:cubicBezTo>
                  <a:cubicBezTo>
                    <a:pt x="72" y="489"/>
                    <a:pt x="73" y="490"/>
                    <a:pt x="76" y="490"/>
                  </a:cubicBezTo>
                  <a:cubicBezTo>
                    <a:pt x="77" y="490"/>
                    <a:pt x="77" y="490"/>
                    <a:pt x="77" y="490"/>
                  </a:cubicBezTo>
                  <a:cubicBezTo>
                    <a:pt x="78" y="490"/>
                    <a:pt x="79" y="490"/>
                    <a:pt x="80" y="490"/>
                  </a:cubicBezTo>
                  <a:cubicBezTo>
                    <a:pt x="84" y="491"/>
                    <a:pt x="88" y="492"/>
                    <a:pt x="90" y="494"/>
                  </a:cubicBezTo>
                  <a:cubicBezTo>
                    <a:pt x="91" y="495"/>
                    <a:pt x="91" y="496"/>
                    <a:pt x="92" y="497"/>
                  </a:cubicBezTo>
                  <a:cubicBezTo>
                    <a:pt x="92" y="499"/>
                    <a:pt x="93" y="500"/>
                    <a:pt x="94" y="501"/>
                  </a:cubicBezTo>
                  <a:cubicBezTo>
                    <a:pt x="95" y="502"/>
                    <a:pt x="97" y="502"/>
                    <a:pt x="98" y="502"/>
                  </a:cubicBezTo>
                  <a:cubicBezTo>
                    <a:pt x="99" y="503"/>
                    <a:pt x="101" y="503"/>
                    <a:pt x="101" y="504"/>
                  </a:cubicBezTo>
                  <a:cubicBezTo>
                    <a:pt x="102" y="506"/>
                    <a:pt x="102" y="507"/>
                    <a:pt x="101" y="509"/>
                  </a:cubicBezTo>
                  <a:cubicBezTo>
                    <a:pt x="100" y="510"/>
                    <a:pt x="99" y="511"/>
                    <a:pt x="100" y="513"/>
                  </a:cubicBezTo>
                  <a:cubicBezTo>
                    <a:pt x="100" y="514"/>
                    <a:pt x="101" y="515"/>
                    <a:pt x="104" y="518"/>
                  </a:cubicBezTo>
                  <a:cubicBezTo>
                    <a:pt x="105" y="519"/>
                    <a:pt x="105" y="519"/>
                    <a:pt x="105" y="519"/>
                  </a:cubicBezTo>
                  <a:cubicBezTo>
                    <a:pt x="107" y="521"/>
                    <a:pt x="109" y="523"/>
                    <a:pt x="112" y="525"/>
                  </a:cubicBezTo>
                  <a:cubicBezTo>
                    <a:pt x="113" y="526"/>
                    <a:pt x="115" y="527"/>
                    <a:pt x="116" y="527"/>
                  </a:cubicBezTo>
                  <a:cubicBezTo>
                    <a:pt x="118" y="527"/>
                    <a:pt x="119" y="527"/>
                    <a:pt x="121" y="528"/>
                  </a:cubicBezTo>
                  <a:cubicBezTo>
                    <a:pt x="122" y="529"/>
                    <a:pt x="122" y="530"/>
                    <a:pt x="123" y="532"/>
                  </a:cubicBezTo>
                  <a:cubicBezTo>
                    <a:pt x="124" y="533"/>
                    <a:pt x="124" y="535"/>
                    <a:pt x="125" y="536"/>
                  </a:cubicBezTo>
                  <a:cubicBezTo>
                    <a:pt x="127" y="537"/>
                    <a:pt x="128" y="538"/>
                    <a:pt x="129" y="539"/>
                  </a:cubicBezTo>
                  <a:cubicBezTo>
                    <a:pt x="130" y="540"/>
                    <a:pt x="131" y="540"/>
                    <a:pt x="131" y="541"/>
                  </a:cubicBezTo>
                  <a:cubicBezTo>
                    <a:pt x="134" y="544"/>
                    <a:pt x="134" y="545"/>
                    <a:pt x="133" y="546"/>
                  </a:cubicBezTo>
                  <a:cubicBezTo>
                    <a:pt x="132" y="547"/>
                    <a:pt x="131" y="548"/>
                    <a:pt x="131" y="549"/>
                  </a:cubicBezTo>
                  <a:cubicBezTo>
                    <a:pt x="130" y="552"/>
                    <a:pt x="132" y="553"/>
                    <a:pt x="134" y="553"/>
                  </a:cubicBezTo>
                  <a:cubicBezTo>
                    <a:pt x="135" y="554"/>
                    <a:pt x="136" y="554"/>
                    <a:pt x="136" y="555"/>
                  </a:cubicBezTo>
                  <a:cubicBezTo>
                    <a:pt x="137" y="556"/>
                    <a:pt x="137" y="557"/>
                    <a:pt x="138" y="559"/>
                  </a:cubicBezTo>
                  <a:cubicBezTo>
                    <a:pt x="138" y="561"/>
                    <a:pt x="138" y="562"/>
                    <a:pt x="140" y="564"/>
                  </a:cubicBezTo>
                  <a:cubicBezTo>
                    <a:pt x="141" y="565"/>
                    <a:pt x="143" y="565"/>
                    <a:pt x="144" y="565"/>
                  </a:cubicBezTo>
                  <a:cubicBezTo>
                    <a:pt x="146" y="565"/>
                    <a:pt x="147" y="565"/>
                    <a:pt x="149" y="567"/>
                  </a:cubicBezTo>
                  <a:cubicBezTo>
                    <a:pt x="149" y="567"/>
                    <a:pt x="149" y="567"/>
                    <a:pt x="150" y="568"/>
                  </a:cubicBezTo>
                  <a:cubicBezTo>
                    <a:pt x="150" y="568"/>
                    <a:pt x="150" y="569"/>
                    <a:pt x="151" y="569"/>
                  </a:cubicBezTo>
                  <a:cubicBezTo>
                    <a:pt x="152" y="569"/>
                    <a:pt x="152" y="570"/>
                    <a:pt x="153" y="570"/>
                  </a:cubicBezTo>
                  <a:cubicBezTo>
                    <a:pt x="154" y="570"/>
                    <a:pt x="154" y="570"/>
                    <a:pt x="155" y="571"/>
                  </a:cubicBezTo>
                  <a:cubicBezTo>
                    <a:pt x="157" y="573"/>
                    <a:pt x="158" y="575"/>
                    <a:pt x="159" y="579"/>
                  </a:cubicBezTo>
                  <a:cubicBezTo>
                    <a:pt x="159" y="580"/>
                    <a:pt x="159" y="580"/>
                    <a:pt x="159" y="580"/>
                  </a:cubicBezTo>
                  <a:cubicBezTo>
                    <a:pt x="160" y="587"/>
                    <a:pt x="161" y="591"/>
                    <a:pt x="165" y="596"/>
                  </a:cubicBezTo>
                  <a:cubicBezTo>
                    <a:pt x="166" y="597"/>
                    <a:pt x="168" y="598"/>
                    <a:pt x="169" y="600"/>
                  </a:cubicBezTo>
                  <a:cubicBezTo>
                    <a:pt x="170" y="600"/>
                    <a:pt x="171" y="601"/>
                    <a:pt x="172" y="602"/>
                  </a:cubicBezTo>
                  <a:cubicBezTo>
                    <a:pt x="173" y="604"/>
                    <a:pt x="173" y="605"/>
                    <a:pt x="174" y="607"/>
                  </a:cubicBezTo>
                  <a:cubicBezTo>
                    <a:pt x="174" y="608"/>
                    <a:pt x="174" y="609"/>
                    <a:pt x="175" y="611"/>
                  </a:cubicBezTo>
                  <a:cubicBezTo>
                    <a:pt x="176" y="613"/>
                    <a:pt x="180" y="615"/>
                    <a:pt x="183" y="617"/>
                  </a:cubicBezTo>
                  <a:cubicBezTo>
                    <a:pt x="185" y="617"/>
                    <a:pt x="187" y="618"/>
                    <a:pt x="188" y="619"/>
                  </a:cubicBezTo>
                  <a:cubicBezTo>
                    <a:pt x="189" y="620"/>
                    <a:pt x="191" y="620"/>
                    <a:pt x="192" y="620"/>
                  </a:cubicBezTo>
                  <a:cubicBezTo>
                    <a:pt x="193" y="620"/>
                    <a:pt x="194" y="620"/>
                    <a:pt x="196" y="618"/>
                  </a:cubicBezTo>
                  <a:cubicBezTo>
                    <a:pt x="197" y="618"/>
                    <a:pt x="197" y="618"/>
                    <a:pt x="197" y="618"/>
                  </a:cubicBezTo>
                  <a:cubicBezTo>
                    <a:pt x="198" y="616"/>
                    <a:pt x="198" y="616"/>
                    <a:pt x="198" y="616"/>
                  </a:cubicBezTo>
                  <a:cubicBezTo>
                    <a:pt x="200" y="615"/>
                    <a:pt x="202" y="614"/>
                    <a:pt x="204" y="614"/>
                  </a:cubicBezTo>
                  <a:cubicBezTo>
                    <a:pt x="205" y="614"/>
                    <a:pt x="205" y="614"/>
                    <a:pt x="207" y="614"/>
                  </a:cubicBezTo>
                  <a:cubicBezTo>
                    <a:pt x="208" y="614"/>
                    <a:pt x="208" y="614"/>
                    <a:pt x="208" y="614"/>
                  </a:cubicBezTo>
                  <a:cubicBezTo>
                    <a:pt x="209" y="615"/>
                    <a:pt x="211" y="615"/>
                    <a:pt x="212" y="616"/>
                  </a:cubicBezTo>
                  <a:cubicBezTo>
                    <a:pt x="213" y="616"/>
                    <a:pt x="213" y="617"/>
                    <a:pt x="214" y="617"/>
                  </a:cubicBezTo>
                  <a:cubicBezTo>
                    <a:pt x="215" y="618"/>
                    <a:pt x="215" y="619"/>
                    <a:pt x="216" y="619"/>
                  </a:cubicBezTo>
                  <a:cubicBezTo>
                    <a:pt x="217" y="619"/>
                    <a:pt x="217" y="619"/>
                    <a:pt x="217" y="619"/>
                  </a:cubicBezTo>
                  <a:cubicBezTo>
                    <a:pt x="220" y="619"/>
                    <a:pt x="221" y="616"/>
                    <a:pt x="222" y="614"/>
                  </a:cubicBezTo>
                  <a:cubicBezTo>
                    <a:pt x="223" y="613"/>
                    <a:pt x="223" y="612"/>
                    <a:pt x="224" y="611"/>
                  </a:cubicBezTo>
                  <a:cubicBezTo>
                    <a:pt x="225" y="610"/>
                    <a:pt x="226" y="609"/>
                    <a:pt x="228" y="609"/>
                  </a:cubicBezTo>
                  <a:cubicBezTo>
                    <a:pt x="228" y="609"/>
                    <a:pt x="228" y="609"/>
                    <a:pt x="228" y="609"/>
                  </a:cubicBezTo>
                  <a:cubicBezTo>
                    <a:pt x="230" y="610"/>
                    <a:pt x="232" y="611"/>
                    <a:pt x="232" y="613"/>
                  </a:cubicBezTo>
                  <a:cubicBezTo>
                    <a:pt x="235" y="619"/>
                    <a:pt x="239" y="623"/>
                    <a:pt x="244" y="628"/>
                  </a:cubicBezTo>
                  <a:cubicBezTo>
                    <a:pt x="245" y="629"/>
                    <a:pt x="246" y="630"/>
                    <a:pt x="247" y="631"/>
                  </a:cubicBezTo>
                  <a:cubicBezTo>
                    <a:pt x="249" y="633"/>
                    <a:pt x="250" y="633"/>
                    <a:pt x="251" y="634"/>
                  </a:cubicBezTo>
                  <a:cubicBezTo>
                    <a:pt x="252" y="634"/>
                    <a:pt x="252" y="634"/>
                    <a:pt x="253" y="634"/>
                  </a:cubicBezTo>
                  <a:cubicBezTo>
                    <a:pt x="255" y="635"/>
                    <a:pt x="255" y="636"/>
                    <a:pt x="255" y="638"/>
                  </a:cubicBezTo>
                  <a:cubicBezTo>
                    <a:pt x="255" y="638"/>
                    <a:pt x="255" y="639"/>
                    <a:pt x="255" y="639"/>
                  </a:cubicBezTo>
                  <a:cubicBezTo>
                    <a:pt x="257" y="643"/>
                    <a:pt x="259" y="643"/>
                    <a:pt x="263" y="643"/>
                  </a:cubicBezTo>
                  <a:cubicBezTo>
                    <a:pt x="266" y="643"/>
                    <a:pt x="267" y="642"/>
                    <a:pt x="269" y="641"/>
                  </a:cubicBezTo>
                  <a:cubicBezTo>
                    <a:pt x="269" y="640"/>
                    <a:pt x="270" y="639"/>
                    <a:pt x="272" y="638"/>
                  </a:cubicBezTo>
                  <a:cubicBezTo>
                    <a:pt x="273" y="638"/>
                    <a:pt x="274" y="637"/>
                    <a:pt x="275" y="637"/>
                  </a:cubicBezTo>
                  <a:cubicBezTo>
                    <a:pt x="277" y="637"/>
                    <a:pt x="278" y="638"/>
                    <a:pt x="280" y="639"/>
                  </a:cubicBezTo>
                  <a:cubicBezTo>
                    <a:pt x="281" y="640"/>
                    <a:pt x="283" y="641"/>
                    <a:pt x="284" y="641"/>
                  </a:cubicBezTo>
                  <a:cubicBezTo>
                    <a:pt x="286" y="641"/>
                    <a:pt x="287" y="641"/>
                    <a:pt x="288" y="640"/>
                  </a:cubicBezTo>
                  <a:cubicBezTo>
                    <a:pt x="289" y="639"/>
                    <a:pt x="291" y="638"/>
                    <a:pt x="292" y="638"/>
                  </a:cubicBezTo>
                  <a:cubicBezTo>
                    <a:pt x="293" y="638"/>
                    <a:pt x="294" y="638"/>
                    <a:pt x="294" y="639"/>
                  </a:cubicBezTo>
                  <a:cubicBezTo>
                    <a:pt x="295" y="639"/>
                    <a:pt x="295" y="640"/>
                    <a:pt x="296" y="641"/>
                  </a:cubicBezTo>
                  <a:cubicBezTo>
                    <a:pt x="296" y="642"/>
                    <a:pt x="296" y="642"/>
                    <a:pt x="296" y="642"/>
                  </a:cubicBezTo>
                  <a:cubicBezTo>
                    <a:pt x="297" y="643"/>
                    <a:pt x="297" y="643"/>
                    <a:pt x="297" y="643"/>
                  </a:cubicBezTo>
                  <a:cubicBezTo>
                    <a:pt x="297" y="643"/>
                    <a:pt x="297" y="644"/>
                    <a:pt x="297" y="644"/>
                  </a:cubicBezTo>
                  <a:cubicBezTo>
                    <a:pt x="299" y="646"/>
                    <a:pt x="299" y="646"/>
                    <a:pt x="299" y="646"/>
                  </a:cubicBezTo>
                  <a:cubicBezTo>
                    <a:pt x="300" y="645"/>
                    <a:pt x="300" y="645"/>
                    <a:pt x="300" y="645"/>
                  </a:cubicBezTo>
                  <a:cubicBezTo>
                    <a:pt x="301" y="645"/>
                    <a:pt x="301" y="645"/>
                    <a:pt x="301" y="645"/>
                  </a:cubicBezTo>
                  <a:cubicBezTo>
                    <a:pt x="301" y="645"/>
                    <a:pt x="301" y="645"/>
                    <a:pt x="302" y="645"/>
                  </a:cubicBezTo>
                  <a:cubicBezTo>
                    <a:pt x="304" y="645"/>
                    <a:pt x="304" y="645"/>
                    <a:pt x="304" y="645"/>
                  </a:cubicBezTo>
                  <a:cubicBezTo>
                    <a:pt x="304" y="644"/>
                    <a:pt x="304" y="644"/>
                    <a:pt x="304" y="644"/>
                  </a:cubicBezTo>
                  <a:cubicBezTo>
                    <a:pt x="304" y="643"/>
                    <a:pt x="305" y="643"/>
                    <a:pt x="305" y="642"/>
                  </a:cubicBezTo>
                  <a:cubicBezTo>
                    <a:pt x="305" y="642"/>
                    <a:pt x="306" y="641"/>
                    <a:pt x="306" y="641"/>
                  </a:cubicBezTo>
                  <a:cubicBezTo>
                    <a:pt x="308" y="639"/>
                    <a:pt x="311" y="639"/>
                    <a:pt x="314" y="639"/>
                  </a:cubicBezTo>
                  <a:cubicBezTo>
                    <a:pt x="318" y="639"/>
                    <a:pt x="320" y="638"/>
                    <a:pt x="323" y="636"/>
                  </a:cubicBezTo>
                  <a:cubicBezTo>
                    <a:pt x="325" y="635"/>
                    <a:pt x="326" y="635"/>
                    <a:pt x="327" y="635"/>
                  </a:cubicBezTo>
                  <a:cubicBezTo>
                    <a:pt x="328" y="635"/>
                    <a:pt x="329" y="636"/>
                    <a:pt x="330" y="637"/>
                  </a:cubicBezTo>
                  <a:cubicBezTo>
                    <a:pt x="331" y="637"/>
                    <a:pt x="331" y="637"/>
                    <a:pt x="331" y="637"/>
                  </a:cubicBezTo>
                  <a:cubicBezTo>
                    <a:pt x="333" y="638"/>
                    <a:pt x="335" y="638"/>
                    <a:pt x="337" y="638"/>
                  </a:cubicBezTo>
                  <a:cubicBezTo>
                    <a:pt x="339" y="638"/>
                    <a:pt x="340" y="638"/>
                    <a:pt x="342" y="638"/>
                  </a:cubicBezTo>
                  <a:cubicBezTo>
                    <a:pt x="342" y="638"/>
                    <a:pt x="342" y="638"/>
                    <a:pt x="342" y="638"/>
                  </a:cubicBezTo>
                  <a:cubicBezTo>
                    <a:pt x="367" y="610"/>
                    <a:pt x="367" y="610"/>
                    <a:pt x="367" y="610"/>
                  </a:cubicBezTo>
                  <a:cubicBezTo>
                    <a:pt x="408" y="610"/>
                    <a:pt x="408" y="610"/>
                    <a:pt x="408" y="610"/>
                  </a:cubicBezTo>
                  <a:cubicBezTo>
                    <a:pt x="407" y="607"/>
                    <a:pt x="407" y="607"/>
                    <a:pt x="407" y="607"/>
                  </a:cubicBezTo>
                  <a:cubicBezTo>
                    <a:pt x="407" y="605"/>
                    <a:pt x="407" y="602"/>
                    <a:pt x="407" y="599"/>
                  </a:cubicBezTo>
                  <a:cubicBezTo>
                    <a:pt x="407" y="598"/>
                    <a:pt x="407" y="597"/>
                    <a:pt x="408" y="596"/>
                  </a:cubicBezTo>
                  <a:cubicBezTo>
                    <a:pt x="408" y="592"/>
                    <a:pt x="407" y="588"/>
                    <a:pt x="403" y="586"/>
                  </a:cubicBezTo>
                  <a:cubicBezTo>
                    <a:pt x="402" y="586"/>
                    <a:pt x="401" y="585"/>
                    <a:pt x="400" y="585"/>
                  </a:cubicBezTo>
                  <a:cubicBezTo>
                    <a:pt x="400" y="585"/>
                    <a:pt x="399" y="586"/>
                    <a:pt x="398" y="586"/>
                  </a:cubicBezTo>
                  <a:cubicBezTo>
                    <a:pt x="398" y="586"/>
                    <a:pt x="397" y="586"/>
                    <a:pt x="396" y="586"/>
                  </a:cubicBezTo>
                  <a:cubicBezTo>
                    <a:pt x="395" y="586"/>
                    <a:pt x="394" y="586"/>
                    <a:pt x="394" y="586"/>
                  </a:cubicBezTo>
                  <a:cubicBezTo>
                    <a:pt x="393" y="584"/>
                    <a:pt x="392" y="583"/>
                    <a:pt x="391" y="582"/>
                  </a:cubicBezTo>
                  <a:cubicBezTo>
                    <a:pt x="390" y="581"/>
                    <a:pt x="390" y="580"/>
                    <a:pt x="389" y="579"/>
                  </a:cubicBezTo>
                  <a:cubicBezTo>
                    <a:pt x="388" y="578"/>
                    <a:pt x="388" y="576"/>
                    <a:pt x="387" y="575"/>
                  </a:cubicBezTo>
                  <a:cubicBezTo>
                    <a:pt x="387" y="573"/>
                    <a:pt x="387" y="572"/>
                    <a:pt x="386" y="571"/>
                  </a:cubicBezTo>
                  <a:cubicBezTo>
                    <a:pt x="385" y="566"/>
                    <a:pt x="382" y="560"/>
                    <a:pt x="380" y="554"/>
                  </a:cubicBezTo>
                  <a:cubicBezTo>
                    <a:pt x="380" y="553"/>
                    <a:pt x="380" y="553"/>
                    <a:pt x="380" y="553"/>
                  </a:cubicBezTo>
                  <a:cubicBezTo>
                    <a:pt x="379" y="549"/>
                    <a:pt x="378" y="545"/>
                    <a:pt x="374" y="543"/>
                  </a:cubicBezTo>
                  <a:cubicBezTo>
                    <a:pt x="371" y="541"/>
                    <a:pt x="371" y="541"/>
                    <a:pt x="370" y="539"/>
                  </a:cubicBezTo>
                  <a:cubicBezTo>
                    <a:pt x="369" y="538"/>
                    <a:pt x="369" y="538"/>
                    <a:pt x="369" y="538"/>
                  </a:cubicBezTo>
                  <a:cubicBezTo>
                    <a:pt x="368" y="537"/>
                    <a:pt x="367" y="536"/>
                    <a:pt x="366" y="535"/>
                  </a:cubicBezTo>
                  <a:cubicBezTo>
                    <a:pt x="365" y="535"/>
                    <a:pt x="365" y="534"/>
                    <a:pt x="364" y="534"/>
                  </a:cubicBezTo>
                  <a:cubicBezTo>
                    <a:pt x="361" y="531"/>
                    <a:pt x="359" y="527"/>
                    <a:pt x="356" y="524"/>
                  </a:cubicBezTo>
                  <a:cubicBezTo>
                    <a:pt x="354" y="520"/>
                    <a:pt x="352" y="516"/>
                    <a:pt x="348" y="513"/>
                  </a:cubicBezTo>
                  <a:cubicBezTo>
                    <a:pt x="347" y="512"/>
                    <a:pt x="347" y="512"/>
                    <a:pt x="347" y="512"/>
                  </a:cubicBezTo>
                  <a:cubicBezTo>
                    <a:pt x="346" y="511"/>
                    <a:pt x="345" y="509"/>
                    <a:pt x="343" y="509"/>
                  </a:cubicBezTo>
                  <a:cubicBezTo>
                    <a:pt x="342" y="509"/>
                    <a:pt x="342" y="509"/>
                    <a:pt x="341" y="509"/>
                  </a:cubicBezTo>
                  <a:cubicBezTo>
                    <a:pt x="340" y="509"/>
                    <a:pt x="339" y="509"/>
                    <a:pt x="339" y="509"/>
                  </a:cubicBezTo>
                  <a:cubicBezTo>
                    <a:pt x="338" y="509"/>
                    <a:pt x="337" y="509"/>
                    <a:pt x="336" y="509"/>
                  </a:cubicBezTo>
                  <a:cubicBezTo>
                    <a:pt x="336" y="509"/>
                    <a:pt x="335" y="509"/>
                    <a:pt x="335" y="509"/>
                  </a:cubicBezTo>
                  <a:cubicBezTo>
                    <a:pt x="330" y="508"/>
                    <a:pt x="325" y="504"/>
                    <a:pt x="326" y="501"/>
                  </a:cubicBezTo>
                  <a:cubicBezTo>
                    <a:pt x="326" y="500"/>
                    <a:pt x="327" y="499"/>
                    <a:pt x="328" y="498"/>
                  </a:cubicBezTo>
                  <a:cubicBezTo>
                    <a:pt x="328" y="497"/>
                    <a:pt x="329" y="496"/>
                    <a:pt x="329" y="495"/>
                  </a:cubicBezTo>
                  <a:cubicBezTo>
                    <a:pt x="330" y="494"/>
                    <a:pt x="330" y="492"/>
                    <a:pt x="330" y="491"/>
                  </a:cubicBezTo>
                  <a:cubicBezTo>
                    <a:pt x="330" y="490"/>
                    <a:pt x="330" y="488"/>
                    <a:pt x="331" y="487"/>
                  </a:cubicBezTo>
                  <a:cubicBezTo>
                    <a:pt x="332" y="484"/>
                    <a:pt x="334" y="483"/>
                    <a:pt x="335" y="483"/>
                  </a:cubicBezTo>
                  <a:cubicBezTo>
                    <a:pt x="337" y="483"/>
                    <a:pt x="339" y="485"/>
                    <a:pt x="341" y="486"/>
                  </a:cubicBezTo>
                  <a:cubicBezTo>
                    <a:pt x="342" y="486"/>
                    <a:pt x="343" y="487"/>
                    <a:pt x="344" y="487"/>
                  </a:cubicBezTo>
                  <a:cubicBezTo>
                    <a:pt x="345" y="487"/>
                    <a:pt x="345" y="488"/>
                    <a:pt x="346" y="488"/>
                  </a:cubicBezTo>
                  <a:cubicBezTo>
                    <a:pt x="350" y="488"/>
                    <a:pt x="352" y="484"/>
                    <a:pt x="354" y="481"/>
                  </a:cubicBezTo>
                  <a:cubicBezTo>
                    <a:pt x="357" y="477"/>
                    <a:pt x="356" y="471"/>
                    <a:pt x="356" y="466"/>
                  </a:cubicBezTo>
                  <a:cubicBezTo>
                    <a:pt x="355" y="464"/>
                    <a:pt x="355" y="461"/>
                    <a:pt x="355" y="459"/>
                  </a:cubicBezTo>
                  <a:cubicBezTo>
                    <a:pt x="355" y="458"/>
                    <a:pt x="355" y="456"/>
                    <a:pt x="355" y="454"/>
                  </a:cubicBezTo>
                  <a:cubicBezTo>
                    <a:pt x="355" y="449"/>
                    <a:pt x="355" y="444"/>
                    <a:pt x="356" y="439"/>
                  </a:cubicBezTo>
                  <a:cubicBezTo>
                    <a:pt x="357" y="437"/>
                    <a:pt x="357" y="437"/>
                    <a:pt x="357" y="437"/>
                  </a:cubicBezTo>
                  <a:cubicBezTo>
                    <a:pt x="358" y="431"/>
                    <a:pt x="360" y="426"/>
                    <a:pt x="360" y="420"/>
                  </a:cubicBezTo>
                  <a:cubicBezTo>
                    <a:pt x="361" y="419"/>
                    <a:pt x="361" y="419"/>
                    <a:pt x="361" y="419"/>
                  </a:cubicBezTo>
                  <a:cubicBezTo>
                    <a:pt x="361" y="414"/>
                    <a:pt x="362" y="406"/>
                    <a:pt x="367" y="405"/>
                  </a:cubicBezTo>
                  <a:cubicBezTo>
                    <a:pt x="368" y="405"/>
                    <a:pt x="368" y="405"/>
                    <a:pt x="368" y="405"/>
                  </a:cubicBezTo>
                  <a:cubicBezTo>
                    <a:pt x="370" y="405"/>
                    <a:pt x="371" y="406"/>
                    <a:pt x="373" y="406"/>
                  </a:cubicBezTo>
                  <a:cubicBezTo>
                    <a:pt x="375" y="408"/>
                    <a:pt x="376" y="408"/>
                    <a:pt x="377" y="408"/>
                  </a:cubicBezTo>
                  <a:cubicBezTo>
                    <a:pt x="378" y="408"/>
                    <a:pt x="379" y="407"/>
                    <a:pt x="379" y="407"/>
                  </a:cubicBezTo>
                  <a:cubicBezTo>
                    <a:pt x="379" y="407"/>
                    <a:pt x="379" y="407"/>
                    <a:pt x="379" y="407"/>
                  </a:cubicBezTo>
                  <a:cubicBezTo>
                    <a:pt x="379" y="406"/>
                    <a:pt x="379" y="406"/>
                    <a:pt x="379" y="406"/>
                  </a:cubicBezTo>
                  <a:cubicBezTo>
                    <a:pt x="379" y="406"/>
                    <a:pt x="379" y="405"/>
                    <a:pt x="379" y="400"/>
                  </a:cubicBezTo>
                  <a:cubicBezTo>
                    <a:pt x="379" y="399"/>
                    <a:pt x="379" y="398"/>
                    <a:pt x="379" y="397"/>
                  </a:cubicBezTo>
                  <a:cubicBezTo>
                    <a:pt x="379" y="394"/>
                    <a:pt x="380" y="390"/>
                    <a:pt x="381" y="386"/>
                  </a:cubicBezTo>
                  <a:cubicBezTo>
                    <a:pt x="381" y="384"/>
                    <a:pt x="381" y="383"/>
                    <a:pt x="381" y="381"/>
                  </a:cubicBezTo>
                  <a:cubicBezTo>
                    <a:pt x="381" y="380"/>
                    <a:pt x="381" y="378"/>
                    <a:pt x="382" y="376"/>
                  </a:cubicBezTo>
                  <a:cubicBezTo>
                    <a:pt x="382" y="374"/>
                    <a:pt x="383" y="373"/>
                    <a:pt x="384" y="373"/>
                  </a:cubicBezTo>
                  <a:cubicBezTo>
                    <a:pt x="385" y="372"/>
                    <a:pt x="386" y="372"/>
                    <a:pt x="387" y="371"/>
                  </a:cubicBezTo>
                  <a:cubicBezTo>
                    <a:pt x="390" y="367"/>
                    <a:pt x="393" y="361"/>
                    <a:pt x="395" y="356"/>
                  </a:cubicBezTo>
                  <a:cubicBezTo>
                    <a:pt x="396" y="353"/>
                    <a:pt x="396" y="353"/>
                    <a:pt x="396" y="353"/>
                  </a:cubicBezTo>
                  <a:cubicBezTo>
                    <a:pt x="396" y="353"/>
                    <a:pt x="397" y="352"/>
                    <a:pt x="397" y="352"/>
                  </a:cubicBezTo>
                  <a:cubicBezTo>
                    <a:pt x="398" y="349"/>
                    <a:pt x="399" y="347"/>
                    <a:pt x="401" y="346"/>
                  </a:cubicBezTo>
                  <a:cubicBezTo>
                    <a:pt x="403" y="345"/>
                    <a:pt x="405" y="345"/>
                    <a:pt x="406" y="345"/>
                  </a:cubicBezTo>
                  <a:cubicBezTo>
                    <a:pt x="409" y="345"/>
                    <a:pt x="411" y="345"/>
                    <a:pt x="412" y="340"/>
                  </a:cubicBezTo>
                  <a:cubicBezTo>
                    <a:pt x="413" y="338"/>
                    <a:pt x="413" y="336"/>
                    <a:pt x="413" y="334"/>
                  </a:cubicBezTo>
                  <a:cubicBezTo>
                    <a:pt x="413" y="330"/>
                    <a:pt x="413" y="328"/>
                    <a:pt x="414" y="325"/>
                  </a:cubicBezTo>
                  <a:cubicBezTo>
                    <a:pt x="417" y="318"/>
                    <a:pt x="418" y="313"/>
                    <a:pt x="420" y="306"/>
                  </a:cubicBezTo>
                  <a:cubicBezTo>
                    <a:pt x="422" y="302"/>
                    <a:pt x="421" y="298"/>
                    <a:pt x="421" y="293"/>
                  </a:cubicBezTo>
                  <a:cubicBezTo>
                    <a:pt x="421" y="292"/>
                    <a:pt x="420" y="291"/>
                    <a:pt x="420" y="289"/>
                  </a:cubicBezTo>
                  <a:cubicBezTo>
                    <a:pt x="420" y="287"/>
                    <a:pt x="420" y="284"/>
                    <a:pt x="420" y="281"/>
                  </a:cubicBezTo>
                  <a:cubicBezTo>
                    <a:pt x="420" y="278"/>
                    <a:pt x="420" y="275"/>
                    <a:pt x="420" y="272"/>
                  </a:cubicBezTo>
                  <a:cubicBezTo>
                    <a:pt x="419" y="265"/>
                    <a:pt x="419" y="263"/>
                    <a:pt x="422" y="258"/>
                  </a:cubicBezTo>
                  <a:cubicBezTo>
                    <a:pt x="424" y="254"/>
                    <a:pt x="424" y="251"/>
                    <a:pt x="425" y="248"/>
                  </a:cubicBezTo>
                  <a:cubicBezTo>
                    <a:pt x="425" y="246"/>
                    <a:pt x="425" y="245"/>
                    <a:pt x="426" y="243"/>
                  </a:cubicBezTo>
                  <a:cubicBezTo>
                    <a:pt x="426" y="241"/>
                    <a:pt x="427" y="239"/>
                    <a:pt x="428" y="237"/>
                  </a:cubicBezTo>
                  <a:cubicBezTo>
                    <a:pt x="429" y="234"/>
                    <a:pt x="431" y="231"/>
                    <a:pt x="431" y="228"/>
                  </a:cubicBezTo>
                  <a:cubicBezTo>
                    <a:pt x="431" y="225"/>
                    <a:pt x="431" y="223"/>
                    <a:pt x="430" y="221"/>
                  </a:cubicBezTo>
                  <a:cubicBezTo>
                    <a:pt x="429" y="219"/>
                    <a:pt x="429" y="217"/>
                    <a:pt x="430" y="213"/>
                  </a:cubicBezTo>
                  <a:cubicBezTo>
                    <a:pt x="430" y="213"/>
                    <a:pt x="431" y="212"/>
                    <a:pt x="431" y="212"/>
                  </a:cubicBezTo>
                  <a:cubicBezTo>
                    <a:pt x="431" y="211"/>
                    <a:pt x="432" y="211"/>
                    <a:pt x="432" y="210"/>
                  </a:cubicBezTo>
                  <a:cubicBezTo>
                    <a:pt x="432" y="209"/>
                    <a:pt x="432" y="208"/>
                    <a:pt x="432" y="207"/>
                  </a:cubicBezTo>
                  <a:cubicBezTo>
                    <a:pt x="432" y="207"/>
                    <a:pt x="432" y="206"/>
                    <a:pt x="432" y="205"/>
                  </a:cubicBezTo>
                  <a:cubicBezTo>
                    <a:pt x="433" y="202"/>
                    <a:pt x="434" y="202"/>
                    <a:pt x="436" y="202"/>
                  </a:cubicBezTo>
                  <a:cubicBezTo>
                    <a:pt x="437" y="202"/>
                    <a:pt x="437" y="202"/>
                    <a:pt x="438" y="202"/>
                  </a:cubicBezTo>
                  <a:cubicBezTo>
                    <a:pt x="443" y="202"/>
                    <a:pt x="445" y="201"/>
                    <a:pt x="445" y="197"/>
                  </a:cubicBezTo>
                  <a:cubicBezTo>
                    <a:pt x="445" y="195"/>
                    <a:pt x="446" y="193"/>
                    <a:pt x="446" y="191"/>
                  </a:cubicBezTo>
                  <a:cubicBezTo>
                    <a:pt x="447" y="191"/>
                    <a:pt x="447" y="192"/>
                    <a:pt x="447" y="192"/>
                  </a:cubicBezTo>
                  <a:cubicBezTo>
                    <a:pt x="449" y="192"/>
                    <a:pt x="451" y="190"/>
                    <a:pt x="453" y="189"/>
                  </a:cubicBezTo>
                  <a:cubicBezTo>
                    <a:pt x="454" y="188"/>
                    <a:pt x="455" y="187"/>
                    <a:pt x="456" y="186"/>
                  </a:cubicBezTo>
                  <a:cubicBezTo>
                    <a:pt x="458" y="186"/>
                    <a:pt x="459" y="186"/>
                    <a:pt x="461" y="186"/>
                  </a:cubicBezTo>
                  <a:cubicBezTo>
                    <a:pt x="463" y="185"/>
                    <a:pt x="466" y="185"/>
                    <a:pt x="468" y="184"/>
                  </a:cubicBezTo>
                  <a:cubicBezTo>
                    <a:pt x="470" y="182"/>
                    <a:pt x="470" y="180"/>
                    <a:pt x="470" y="178"/>
                  </a:cubicBezTo>
                  <a:cubicBezTo>
                    <a:pt x="471" y="176"/>
                    <a:pt x="471" y="175"/>
                    <a:pt x="472" y="173"/>
                  </a:cubicBezTo>
                  <a:cubicBezTo>
                    <a:pt x="472" y="173"/>
                    <a:pt x="474" y="171"/>
                    <a:pt x="476" y="169"/>
                  </a:cubicBezTo>
                  <a:cubicBezTo>
                    <a:pt x="477" y="168"/>
                    <a:pt x="477" y="168"/>
                    <a:pt x="477" y="168"/>
                  </a:cubicBezTo>
                  <a:lnTo>
                    <a:pt x="476" y="166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3" name="Freeform 43"/>
            <p:cNvSpPr>
              <a:spLocks/>
            </p:cNvSpPr>
            <p:nvPr/>
          </p:nvSpPr>
          <p:spPr bwMode="auto">
            <a:xfrm>
              <a:off x="3713108" y="2260739"/>
              <a:ext cx="320298" cy="352381"/>
            </a:xfrm>
            <a:custGeom>
              <a:avLst/>
              <a:gdLst>
                <a:gd name="T0" fmla="*/ 154 w 158"/>
                <a:gd name="T1" fmla="*/ 72 h 189"/>
                <a:gd name="T2" fmla="*/ 153 w 158"/>
                <a:gd name="T3" fmla="*/ 55 h 189"/>
                <a:gd name="T4" fmla="*/ 147 w 158"/>
                <a:gd name="T5" fmla="*/ 47 h 189"/>
                <a:gd name="T6" fmla="*/ 144 w 158"/>
                <a:gd name="T7" fmla="*/ 38 h 189"/>
                <a:gd name="T8" fmla="*/ 141 w 158"/>
                <a:gd name="T9" fmla="*/ 37 h 189"/>
                <a:gd name="T10" fmla="*/ 140 w 158"/>
                <a:gd name="T11" fmla="*/ 29 h 189"/>
                <a:gd name="T12" fmla="*/ 141 w 158"/>
                <a:gd name="T13" fmla="*/ 23 h 189"/>
                <a:gd name="T14" fmla="*/ 134 w 158"/>
                <a:gd name="T15" fmla="*/ 18 h 189"/>
                <a:gd name="T16" fmla="*/ 130 w 158"/>
                <a:gd name="T17" fmla="*/ 8 h 189"/>
                <a:gd name="T18" fmla="*/ 113 w 158"/>
                <a:gd name="T19" fmla="*/ 16 h 189"/>
                <a:gd name="T20" fmla="*/ 102 w 158"/>
                <a:gd name="T21" fmla="*/ 15 h 189"/>
                <a:gd name="T22" fmla="*/ 85 w 158"/>
                <a:gd name="T23" fmla="*/ 17 h 189"/>
                <a:gd name="T24" fmla="*/ 74 w 158"/>
                <a:gd name="T25" fmla="*/ 23 h 189"/>
                <a:gd name="T26" fmla="*/ 70 w 158"/>
                <a:gd name="T27" fmla="*/ 23 h 189"/>
                <a:gd name="T28" fmla="*/ 67 w 158"/>
                <a:gd name="T29" fmla="*/ 20 h 189"/>
                <a:gd name="T30" fmla="*/ 59 w 158"/>
                <a:gd name="T31" fmla="*/ 18 h 189"/>
                <a:gd name="T32" fmla="*/ 46 w 158"/>
                <a:gd name="T33" fmla="*/ 16 h 189"/>
                <a:gd name="T34" fmla="*/ 38 w 158"/>
                <a:gd name="T35" fmla="*/ 21 h 189"/>
                <a:gd name="T36" fmla="*/ 35 w 158"/>
                <a:gd name="T37" fmla="*/ 34 h 189"/>
                <a:gd name="T38" fmla="*/ 36 w 158"/>
                <a:gd name="T39" fmla="*/ 45 h 189"/>
                <a:gd name="T40" fmla="*/ 34 w 158"/>
                <a:gd name="T41" fmla="*/ 52 h 189"/>
                <a:gd name="T42" fmla="*/ 33 w 158"/>
                <a:gd name="T43" fmla="*/ 61 h 189"/>
                <a:gd name="T44" fmla="*/ 48 w 158"/>
                <a:gd name="T45" fmla="*/ 70 h 189"/>
                <a:gd name="T46" fmla="*/ 27 w 158"/>
                <a:gd name="T47" fmla="*/ 99 h 189"/>
                <a:gd name="T48" fmla="*/ 18 w 158"/>
                <a:gd name="T49" fmla="*/ 106 h 189"/>
                <a:gd name="T50" fmla="*/ 9 w 158"/>
                <a:gd name="T51" fmla="*/ 117 h 189"/>
                <a:gd name="T52" fmla="*/ 3 w 158"/>
                <a:gd name="T53" fmla="*/ 149 h 189"/>
                <a:gd name="T54" fmla="*/ 0 w 158"/>
                <a:gd name="T55" fmla="*/ 182 h 189"/>
                <a:gd name="T56" fmla="*/ 5 w 158"/>
                <a:gd name="T57" fmla="*/ 184 h 189"/>
                <a:gd name="T58" fmla="*/ 10 w 158"/>
                <a:gd name="T59" fmla="*/ 189 h 189"/>
                <a:gd name="T60" fmla="*/ 19 w 158"/>
                <a:gd name="T61" fmla="*/ 182 h 189"/>
                <a:gd name="T62" fmla="*/ 26 w 158"/>
                <a:gd name="T63" fmla="*/ 178 h 189"/>
                <a:gd name="T64" fmla="*/ 32 w 158"/>
                <a:gd name="T65" fmla="*/ 176 h 189"/>
                <a:gd name="T66" fmla="*/ 46 w 158"/>
                <a:gd name="T67" fmla="*/ 174 h 189"/>
                <a:gd name="T68" fmla="*/ 51 w 158"/>
                <a:gd name="T69" fmla="*/ 174 h 189"/>
                <a:gd name="T70" fmla="*/ 62 w 158"/>
                <a:gd name="T71" fmla="*/ 174 h 189"/>
                <a:gd name="T72" fmla="*/ 65 w 158"/>
                <a:gd name="T73" fmla="*/ 171 h 189"/>
                <a:gd name="T74" fmla="*/ 64 w 158"/>
                <a:gd name="T75" fmla="*/ 164 h 189"/>
                <a:gd name="T76" fmla="*/ 67 w 158"/>
                <a:gd name="T77" fmla="*/ 156 h 189"/>
                <a:gd name="T78" fmla="*/ 72 w 158"/>
                <a:gd name="T79" fmla="*/ 147 h 189"/>
                <a:gd name="T80" fmla="*/ 84 w 158"/>
                <a:gd name="T81" fmla="*/ 141 h 189"/>
                <a:gd name="T82" fmla="*/ 91 w 158"/>
                <a:gd name="T83" fmla="*/ 138 h 189"/>
                <a:gd name="T84" fmla="*/ 102 w 158"/>
                <a:gd name="T85" fmla="*/ 135 h 189"/>
                <a:gd name="T86" fmla="*/ 111 w 158"/>
                <a:gd name="T87" fmla="*/ 135 h 189"/>
                <a:gd name="T88" fmla="*/ 117 w 158"/>
                <a:gd name="T89" fmla="*/ 134 h 189"/>
                <a:gd name="T90" fmla="*/ 123 w 158"/>
                <a:gd name="T91" fmla="*/ 139 h 189"/>
                <a:gd name="T92" fmla="*/ 128 w 158"/>
                <a:gd name="T93" fmla="*/ 133 h 189"/>
                <a:gd name="T94" fmla="*/ 134 w 158"/>
                <a:gd name="T95" fmla="*/ 121 h 189"/>
                <a:gd name="T96" fmla="*/ 137 w 158"/>
                <a:gd name="T97" fmla="*/ 117 h 189"/>
                <a:gd name="T98" fmla="*/ 141 w 158"/>
                <a:gd name="T99" fmla="*/ 110 h 189"/>
                <a:gd name="T100" fmla="*/ 150 w 158"/>
                <a:gd name="T101" fmla="*/ 101 h 189"/>
                <a:gd name="T102" fmla="*/ 154 w 158"/>
                <a:gd name="T103" fmla="*/ 91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8" h="189">
                  <a:moveTo>
                    <a:pt x="157" y="81"/>
                  </a:moveTo>
                  <a:cubicBezTo>
                    <a:pt x="157" y="80"/>
                    <a:pt x="156" y="78"/>
                    <a:pt x="155" y="77"/>
                  </a:cubicBezTo>
                  <a:cubicBezTo>
                    <a:pt x="155" y="75"/>
                    <a:pt x="154" y="73"/>
                    <a:pt x="154" y="72"/>
                  </a:cubicBezTo>
                  <a:cubicBezTo>
                    <a:pt x="153" y="70"/>
                    <a:pt x="154" y="67"/>
                    <a:pt x="154" y="65"/>
                  </a:cubicBezTo>
                  <a:cubicBezTo>
                    <a:pt x="155" y="62"/>
                    <a:pt x="155" y="59"/>
                    <a:pt x="154" y="57"/>
                  </a:cubicBezTo>
                  <a:cubicBezTo>
                    <a:pt x="154" y="56"/>
                    <a:pt x="153" y="55"/>
                    <a:pt x="153" y="55"/>
                  </a:cubicBezTo>
                  <a:cubicBezTo>
                    <a:pt x="152" y="54"/>
                    <a:pt x="152" y="54"/>
                    <a:pt x="151" y="53"/>
                  </a:cubicBezTo>
                  <a:cubicBezTo>
                    <a:pt x="150" y="52"/>
                    <a:pt x="150" y="52"/>
                    <a:pt x="150" y="52"/>
                  </a:cubicBezTo>
                  <a:cubicBezTo>
                    <a:pt x="150" y="50"/>
                    <a:pt x="149" y="49"/>
                    <a:pt x="147" y="47"/>
                  </a:cubicBezTo>
                  <a:cubicBezTo>
                    <a:pt x="145" y="45"/>
                    <a:pt x="145" y="45"/>
                    <a:pt x="145" y="42"/>
                  </a:cubicBezTo>
                  <a:cubicBezTo>
                    <a:pt x="145" y="41"/>
                    <a:pt x="145" y="41"/>
                    <a:pt x="145" y="41"/>
                  </a:cubicBezTo>
                  <a:cubicBezTo>
                    <a:pt x="145" y="40"/>
                    <a:pt x="145" y="39"/>
                    <a:pt x="144" y="38"/>
                  </a:cubicBezTo>
                  <a:cubicBezTo>
                    <a:pt x="144" y="37"/>
                    <a:pt x="144" y="37"/>
                    <a:pt x="144" y="37"/>
                  </a:cubicBezTo>
                  <a:cubicBezTo>
                    <a:pt x="143" y="37"/>
                    <a:pt x="143" y="37"/>
                    <a:pt x="143" y="37"/>
                  </a:cubicBezTo>
                  <a:cubicBezTo>
                    <a:pt x="142" y="37"/>
                    <a:pt x="142" y="37"/>
                    <a:pt x="141" y="37"/>
                  </a:cubicBezTo>
                  <a:cubicBezTo>
                    <a:pt x="140" y="36"/>
                    <a:pt x="140" y="34"/>
                    <a:pt x="140" y="32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29"/>
                  </a:cubicBezTo>
                  <a:cubicBezTo>
                    <a:pt x="140" y="28"/>
                    <a:pt x="140" y="28"/>
                    <a:pt x="140" y="27"/>
                  </a:cubicBezTo>
                  <a:cubicBezTo>
                    <a:pt x="140" y="26"/>
                    <a:pt x="140" y="26"/>
                    <a:pt x="140" y="25"/>
                  </a:cubicBezTo>
                  <a:cubicBezTo>
                    <a:pt x="141" y="25"/>
                    <a:pt x="141" y="24"/>
                    <a:pt x="141" y="23"/>
                  </a:cubicBezTo>
                  <a:cubicBezTo>
                    <a:pt x="141" y="20"/>
                    <a:pt x="140" y="19"/>
                    <a:pt x="137" y="19"/>
                  </a:cubicBezTo>
                  <a:cubicBezTo>
                    <a:pt x="137" y="18"/>
                    <a:pt x="136" y="18"/>
                    <a:pt x="136" y="18"/>
                  </a:cubicBezTo>
                  <a:cubicBezTo>
                    <a:pt x="135" y="18"/>
                    <a:pt x="135" y="18"/>
                    <a:pt x="134" y="18"/>
                  </a:cubicBezTo>
                  <a:cubicBezTo>
                    <a:pt x="134" y="17"/>
                    <a:pt x="133" y="17"/>
                    <a:pt x="132" y="16"/>
                  </a:cubicBezTo>
                  <a:cubicBezTo>
                    <a:pt x="132" y="15"/>
                    <a:pt x="132" y="15"/>
                    <a:pt x="132" y="15"/>
                  </a:cubicBezTo>
                  <a:cubicBezTo>
                    <a:pt x="130" y="13"/>
                    <a:pt x="130" y="10"/>
                    <a:pt x="130" y="8"/>
                  </a:cubicBezTo>
                  <a:cubicBezTo>
                    <a:pt x="130" y="6"/>
                    <a:pt x="129" y="5"/>
                    <a:pt x="129" y="3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13" y="16"/>
                    <a:pt x="113" y="16"/>
                    <a:pt x="113" y="16"/>
                  </a:cubicBezTo>
                  <a:cubicBezTo>
                    <a:pt x="112" y="16"/>
                    <a:pt x="110" y="17"/>
                    <a:pt x="108" y="17"/>
                  </a:cubicBezTo>
                  <a:cubicBezTo>
                    <a:pt x="106" y="17"/>
                    <a:pt x="104" y="16"/>
                    <a:pt x="103" y="16"/>
                  </a:cubicBezTo>
                  <a:cubicBezTo>
                    <a:pt x="102" y="15"/>
                    <a:pt x="102" y="15"/>
                    <a:pt x="102" y="15"/>
                  </a:cubicBezTo>
                  <a:cubicBezTo>
                    <a:pt x="100" y="14"/>
                    <a:pt x="99" y="14"/>
                    <a:pt x="98" y="14"/>
                  </a:cubicBezTo>
                  <a:cubicBezTo>
                    <a:pt x="96" y="14"/>
                    <a:pt x="95" y="14"/>
                    <a:pt x="94" y="15"/>
                  </a:cubicBezTo>
                  <a:cubicBezTo>
                    <a:pt x="91" y="16"/>
                    <a:pt x="89" y="17"/>
                    <a:pt x="85" y="17"/>
                  </a:cubicBezTo>
                  <a:cubicBezTo>
                    <a:pt x="82" y="18"/>
                    <a:pt x="79" y="18"/>
                    <a:pt x="77" y="20"/>
                  </a:cubicBezTo>
                  <a:cubicBezTo>
                    <a:pt x="76" y="20"/>
                    <a:pt x="76" y="21"/>
                    <a:pt x="76" y="21"/>
                  </a:cubicBezTo>
                  <a:cubicBezTo>
                    <a:pt x="75" y="22"/>
                    <a:pt x="75" y="22"/>
                    <a:pt x="74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2" y="23"/>
                    <a:pt x="72" y="23"/>
                    <a:pt x="71" y="23"/>
                  </a:cubicBezTo>
                  <a:cubicBezTo>
                    <a:pt x="70" y="23"/>
                    <a:pt x="70" y="23"/>
                    <a:pt x="70" y="23"/>
                  </a:cubicBezTo>
                  <a:cubicBezTo>
                    <a:pt x="69" y="23"/>
                    <a:pt x="69" y="23"/>
                    <a:pt x="68" y="2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67" y="21"/>
                    <a:pt x="67" y="20"/>
                    <a:pt x="67" y="20"/>
                  </a:cubicBezTo>
                  <a:cubicBezTo>
                    <a:pt x="67" y="19"/>
                    <a:pt x="66" y="18"/>
                    <a:pt x="66" y="17"/>
                  </a:cubicBezTo>
                  <a:cubicBezTo>
                    <a:pt x="66" y="17"/>
                    <a:pt x="65" y="16"/>
                    <a:pt x="63" y="16"/>
                  </a:cubicBezTo>
                  <a:cubicBezTo>
                    <a:pt x="62" y="16"/>
                    <a:pt x="61" y="17"/>
                    <a:pt x="59" y="18"/>
                  </a:cubicBezTo>
                  <a:cubicBezTo>
                    <a:pt x="57" y="19"/>
                    <a:pt x="56" y="20"/>
                    <a:pt x="55" y="20"/>
                  </a:cubicBezTo>
                  <a:cubicBezTo>
                    <a:pt x="54" y="20"/>
                    <a:pt x="53" y="19"/>
                    <a:pt x="51" y="18"/>
                  </a:cubicBezTo>
                  <a:cubicBezTo>
                    <a:pt x="50" y="17"/>
                    <a:pt x="48" y="16"/>
                    <a:pt x="46" y="16"/>
                  </a:cubicBezTo>
                  <a:cubicBezTo>
                    <a:pt x="45" y="16"/>
                    <a:pt x="44" y="16"/>
                    <a:pt x="43" y="17"/>
                  </a:cubicBezTo>
                  <a:cubicBezTo>
                    <a:pt x="41" y="18"/>
                    <a:pt x="40" y="19"/>
                    <a:pt x="39" y="20"/>
                  </a:cubicBezTo>
                  <a:cubicBezTo>
                    <a:pt x="39" y="20"/>
                    <a:pt x="39" y="20"/>
                    <a:pt x="38" y="21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9" y="26"/>
                    <a:pt x="37" y="30"/>
                    <a:pt x="35" y="34"/>
                  </a:cubicBezTo>
                  <a:cubicBezTo>
                    <a:pt x="33" y="38"/>
                    <a:pt x="32" y="40"/>
                    <a:pt x="33" y="42"/>
                  </a:cubicBezTo>
                  <a:cubicBezTo>
                    <a:pt x="33" y="42"/>
                    <a:pt x="34" y="43"/>
                    <a:pt x="34" y="43"/>
                  </a:cubicBezTo>
                  <a:cubicBezTo>
                    <a:pt x="35" y="44"/>
                    <a:pt x="35" y="44"/>
                    <a:pt x="36" y="45"/>
                  </a:cubicBezTo>
                  <a:cubicBezTo>
                    <a:pt x="36" y="47"/>
                    <a:pt x="36" y="48"/>
                    <a:pt x="35" y="49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5" y="50"/>
                    <a:pt x="34" y="51"/>
                    <a:pt x="34" y="52"/>
                  </a:cubicBezTo>
                  <a:cubicBezTo>
                    <a:pt x="33" y="54"/>
                    <a:pt x="32" y="57"/>
                    <a:pt x="32" y="59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4" y="61"/>
                    <a:pt x="35" y="62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42" y="64"/>
                    <a:pt x="47" y="66"/>
                    <a:pt x="48" y="70"/>
                  </a:cubicBezTo>
                  <a:cubicBezTo>
                    <a:pt x="48" y="72"/>
                    <a:pt x="47" y="74"/>
                    <a:pt x="45" y="76"/>
                  </a:cubicBezTo>
                  <a:cubicBezTo>
                    <a:pt x="41" y="80"/>
                    <a:pt x="38" y="84"/>
                    <a:pt x="35" y="89"/>
                  </a:cubicBezTo>
                  <a:cubicBezTo>
                    <a:pt x="32" y="92"/>
                    <a:pt x="30" y="96"/>
                    <a:pt x="27" y="99"/>
                  </a:cubicBezTo>
                  <a:cubicBezTo>
                    <a:pt x="25" y="101"/>
                    <a:pt x="24" y="101"/>
                    <a:pt x="23" y="101"/>
                  </a:cubicBezTo>
                  <a:cubicBezTo>
                    <a:pt x="22" y="102"/>
                    <a:pt x="21" y="102"/>
                    <a:pt x="20" y="102"/>
                  </a:cubicBezTo>
                  <a:cubicBezTo>
                    <a:pt x="18" y="103"/>
                    <a:pt x="18" y="104"/>
                    <a:pt x="18" y="106"/>
                  </a:cubicBezTo>
                  <a:cubicBezTo>
                    <a:pt x="18" y="107"/>
                    <a:pt x="18" y="107"/>
                    <a:pt x="18" y="108"/>
                  </a:cubicBezTo>
                  <a:cubicBezTo>
                    <a:pt x="17" y="111"/>
                    <a:pt x="15" y="111"/>
                    <a:pt x="13" y="112"/>
                  </a:cubicBezTo>
                  <a:cubicBezTo>
                    <a:pt x="11" y="113"/>
                    <a:pt x="9" y="114"/>
                    <a:pt x="9" y="117"/>
                  </a:cubicBezTo>
                  <a:cubicBezTo>
                    <a:pt x="9" y="119"/>
                    <a:pt x="9" y="121"/>
                    <a:pt x="9" y="123"/>
                  </a:cubicBezTo>
                  <a:cubicBezTo>
                    <a:pt x="9" y="126"/>
                    <a:pt x="9" y="129"/>
                    <a:pt x="7" y="132"/>
                  </a:cubicBezTo>
                  <a:cubicBezTo>
                    <a:pt x="5" y="138"/>
                    <a:pt x="4" y="143"/>
                    <a:pt x="3" y="149"/>
                  </a:cubicBezTo>
                  <a:cubicBezTo>
                    <a:pt x="1" y="155"/>
                    <a:pt x="1" y="162"/>
                    <a:pt x="0" y="171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76"/>
                    <a:pt x="0" y="179"/>
                    <a:pt x="0" y="182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3" y="185"/>
                    <a:pt x="3" y="185"/>
                    <a:pt x="3" y="185"/>
                  </a:cubicBezTo>
                  <a:cubicBezTo>
                    <a:pt x="4" y="185"/>
                    <a:pt x="5" y="185"/>
                    <a:pt x="5" y="184"/>
                  </a:cubicBezTo>
                  <a:cubicBezTo>
                    <a:pt x="7" y="184"/>
                    <a:pt x="7" y="185"/>
                    <a:pt x="7" y="186"/>
                  </a:cubicBezTo>
                  <a:cubicBezTo>
                    <a:pt x="7" y="187"/>
                    <a:pt x="8" y="187"/>
                    <a:pt x="8" y="188"/>
                  </a:cubicBezTo>
                  <a:cubicBezTo>
                    <a:pt x="9" y="189"/>
                    <a:pt x="10" y="189"/>
                    <a:pt x="10" y="189"/>
                  </a:cubicBezTo>
                  <a:cubicBezTo>
                    <a:pt x="11" y="189"/>
                    <a:pt x="11" y="189"/>
                    <a:pt x="11" y="189"/>
                  </a:cubicBezTo>
                  <a:cubicBezTo>
                    <a:pt x="13" y="189"/>
                    <a:pt x="15" y="188"/>
                    <a:pt x="17" y="185"/>
                  </a:cubicBezTo>
                  <a:cubicBezTo>
                    <a:pt x="18" y="184"/>
                    <a:pt x="18" y="183"/>
                    <a:pt x="19" y="182"/>
                  </a:cubicBezTo>
                  <a:cubicBezTo>
                    <a:pt x="20" y="180"/>
                    <a:pt x="21" y="179"/>
                    <a:pt x="23" y="178"/>
                  </a:cubicBezTo>
                  <a:cubicBezTo>
                    <a:pt x="24" y="178"/>
                    <a:pt x="24" y="178"/>
                    <a:pt x="25" y="178"/>
                  </a:cubicBezTo>
                  <a:cubicBezTo>
                    <a:pt x="25" y="178"/>
                    <a:pt x="26" y="178"/>
                    <a:pt x="26" y="178"/>
                  </a:cubicBezTo>
                  <a:cubicBezTo>
                    <a:pt x="26" y="178"/>
                    <a:pt x="27" y="178"/>
                    <a:pt x="27" y="178"/>
                  </a:cubicBezTo>
                  <a:cubicBezTo>
                    <a:pt x="27" y="178"/>
                    <a:pt x="28" y="178"/>
                    <a:pt x="29" y="177"/>
                  </a:cubicBezTo>
                  <a:cubicBezTo>
                    <a:pt x="30" y="177"/>
                    <a:pt x="31" y="176"/>
                    <a:pt x="32" y="176"/>
                  </a:cubicBezTo>
                  <a:cubicBezTo>
                    <a:pt x="33" y="175"/>
                    <a:pt x="34" y="175"/>
                    <a:pt x="36" y="175"/>
                  </a:cubicBezTo>
                  <a:cubicBezTo>
                    <a:pt x="36" y="175"/>
                    <a:pt x="37" y="175"/>
                    <a:pt x="37" y="175"/>
                  </a:cubicBezTo>
                  <a:cubicBezTo>
                    <a:pt x="40" y="175"/>
                    <a:pt x="43" y="175"/>
                    <a:pt x="46" y="174"/>
                  </a:cubicBezTo>
                  <a:cubicBezTo>
                    <a:pt x="46" y="174"/>
                    <a:pt x="46" y="174"/>
                    <a:pt x="46" y="174"/>
                  </a:cubicBezTo>
                  <a:cubicBezTo>
                    <a:pt x="47" y="174"/>
                    <a:pt x="49" y="174"/>
                    <a:pt x="50" y="174"/>
                  </a:cubicBezTo>
                  <a:cubicBezTo>
                    <a:pt x="51" y="174"/>
                    <a:pt x="51" y="174"/>
                    <a:pt x="51" y="174"/>
                  </a:cubicBezTo>
                  <a:cubicBezTo>
                    <a:pt x="53" y="174"/>
                    <a:pt x="55" y="174"/>
                    <a:pt x="57" y="174"/>
                  </a:cubicBezTo>
                  <a:cubicBezTo>
                    <a:pt x="58" y="174"/>
                    <a:pt x="59" y="174"/>
                    <a:pt x="60" y="174"/>
                  </a:cubicBezTo>
                  <a:cubicBezTo>
                    <a:pt x="61" y="174"/>
                    <a:pt x="61" y="174"/>
                    <a:pt x="62" y="174"/>
                  </a:cubicBezTo>
                  <a:cubicBezTo>
                    <a:pt x="62" y="174"/>
                    <a:pt x="63" y="174"/>
                    <a:pt x="63" y="174"/>
                  </a:cubicBezTo>
                  <a:cubicBezTo>
                    <a:pt x="67" y="175"/>
                    <a:pt x="67" y="175"/>
                    <a:pt x="67" y="175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64" y="170"/>
                    <a:pt x="64" y="170"/>
                    <a:pt x="64" y="170"/>
                  </a:cubicBezTo>
                  <a:cubicBezTo>
                    <a:pt x="64" y="169"/>
                    <a:pt x="64" y="168"/>
                    <a:pt x="64" y="166"/>
                  </a:cubicBezTo>
                  <a:cubicBezTo>
                    <a:pt x="64" y="164"/>
                    <a:pt x="64" y="164"/>
                    <a:pt x="64" y="164"/>
                  </a:cubicBezTo>
                  <a:cubicBezTo>
                    <a:pt x="64" y="162"/>
                    <a:pt x="64" y="162"/>
                    <a:pt x="65" y="160"/>
                  </a:cubicBezTo>
                  <a:cubicBezTo>
                    <a:pt x="65" y="160"/>
                    <a:pt x="65" y="159"/>
                    <a:pt x="66" y="159"/>
                  </a:cubicBezTo>
                  <a:cubicBezTo>
                    <a:pt x="66" y="158"/>
                    <a:pt x="67" y="157"/>
                    <a:pt x="67" y="156"/>
                  </a:cubicBezTo>
                  <a:cubicBezTo>
                    <a:pt x="67" y="156"/>
                    <a:pt x="68" y="156"/>
                    <a:pt x="68" y="156"/>
                  </a:cubicBezTo>
                  <a:cubicBezTo>
                    <a:pt x="69" y="155"/>
                    <a:pt x="70" y="155"/>
                    <a:pt x="71" y="153"/>
                  </a:cubicBezTo>
                  <a:cubicBezTo>
                    <a:pt x="73" y="151"/>
                    <a:pt x="72" y="149"/>
                    <a:pt x="72" y="147"/>
                  </a:cubicBezTo>
                  <a:cubicBezTo>
                    <a:pt x="72" y="145"/>
                    <a:pt x="72" y="144"/>
                    <a:pt x="73" y="144"/>
                  </a:cubicBezTo>
                  <a:cubicBezTo>
                    <a:pt x="74" y="143"/>
                    <a:pt x="75" y="143"/>
                    <a:pt x="77" y="143"/>
                  </a:cubicBezTo>
                  <a:cubicBezTo>
                    <a:pt x="79" y="142"/>
                    <a:pt x="82" y="142"/>
                    <a:pt x="84" y="141"/>
                  </a:cubicBezTo>
                  <a:cubicBezTo>
                    <a:pt x="85" y="140"/>
                    <a:pt x="85" y="140"/>
                    <a:pt x="86" y="139"/>
                  </a:cubicBezTo>
                  <a:cubicBezTo>
                    <a:pt x="87" y="138"/>
                    <a:pt x="88" y="138"/>
                    <a:pt x="89" y="138"/>
                  </a:cubicBezTo>
                  <a:cubicBezTo>
                    <a:pt x="89" y="138"/>
                    <a:pt x="90" y="138"/>
                    <a:pt x="91" y="138"/>
                  </a:cubicBezTo>
                  <a:cubicBezTo>
                    <a:pt x="91" y="138"/>
                    <a:pt x="92" y="138"/>
                    <a:pt x="92" y="138"/>
                  </a:cubicBezTo>
                  <a:cubicBezTo>
                    <a:pt x="94" y="139"/>
                    <a:pt x="95" y="139"/>
                    <a:pt x="96" y="139"/>
                  </a:cubicBezTo>
                  <a:cubicBezTo>
                    <a:pt x="98" y="139"/>
                    <a:pt x="100" y="138"/>
                    <a:pt x="102" y="135"/>
                  </a:cubicBezTo>
                  <a:cubicBezTo>
                    <a:pt x="102" y="135"/>
                    <a:pt x="102" y="135"/>
                    <a:pt x="102" y="135"/>
                  </a:cubicBezTo>
                  <a:cubicBezTo>
                    <a:pt x="103" y="133"/>
                    <a:pt x="105" y="131"/>
                    <a:pt x="106" y="130"/>
                  </a:cubicBezTo>
                  <a:cubicBezTo>
                    <a:pt x="108" y="132"/>
                    <a:pt x="110" y="134"/>
                    <a:pt x="111" y="135"/>
                  </a:cubicBezTo>
                  <a:cubicBezTo>
                    <a:pt x="112" y="135"/>
                    <a:pt x="113" y="136"/>
                    <a:pt x="114" y="136"/>
                  </a:cubicBezTo>
                  <a:cubicBezTo>
                    <a:pt x="115" y="136"/>
                    <a:pt x="116" y="135"/>
                    <a:pt x="117" y="134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8" y="135"/>
                    <a:pt x="119" y="136"/>
                    <a:pt x="120" y="136"/>
                  </a:cubicBezTo>
                  <a:cubicBezTo>
                    <a:pt x="120" y="136"/>
                    <a:pt x="120" y="137"/>
                    <a:pt x="121" y="137"/>
                  </a:cubicBezTo>
                  <a:cubicBezTo>
                    <a:pt x="121" y="138"/>
                    <a:pt x="122" y="138"/>
                    <a:pt x="123" y="139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7" y="138"/>
                    <a:pt x="128" y="135"/>
                    <a:pt x="128" y="133"/>
                  </a:cubicBezTo>
                  <a:cubicBezTo>
                    <a:pt x="132" y="131"/>
                    <a:pt x="132" y="127"/>
                    <a:pt x="132" y="123"/>
                  </a:cubicBezTo>
                  <a:cubicBezTo>
                    <a:pt x="132" y="122"/>
                    <a:pt x="132" y="122"/>
                    <a:pt x="132" y="121"/>
                  </a:cubicBezTo>
                  <a:cubicBezTo>
                    <a:pt x="133" y="121"/>
                    <a:pt x="134" y="121"/>
                    <a:pt x="134" y="121"/>
                  </a:cubicBezTo>
                  <a:cubicBezTo>
                    <a:pt x="135" y="121"/>
                    <a:pt x="136" y="121"/>
                    <a:pt x="136" y="120"/>
                  </a:cubicBezTo>
                  <a:cubicBezTo>
                    <a:pt x="142" y="118"/>
                    <a:pt x="142" y="118"/>
                    <a:pt x="142" y="118"/>
                  </a:cubicBezTo>
                  <a:cubicBezTo>
                    <a:pt x="137" y="117"/>
                    <a:pt x="137" y="117"/>
                    <a:pt x="137" y="117"/>
                  </a:cubicBezTo>
                  <a:cubicBezTo>
                    <a:pt x="137" y="117"/>
                    <a:pt x="137" y="116"/>
                    <a:pt x="138" y="116"/>
                  </a:cubicBezTo>
                  <a:cubicBezTo>
                    <a:pt x="138" y="115"/>
                    <a:pt x="139" y="114"/>
                    <a:pt x="139" y="114"/>
                  </a:cubicBezTo>
                  <a:cubicBezTo>
                    <a:pt x="140" y="113"/>
                    <a:pt x="141" y="112"/>
                    <a:pt x="141" y="110"/>
                  </a:cubicBezTo>
                  <a:cubicBezTo>
                    <a:pt x="142" y="107"/>
                    <a:pt x="142" y="107"/>
                    <a:pt x="145" y="105"/>
                  </a:cubicBezTo>
                  <a:cubicBezTo>
                    <a:pt x="145" y="104"/>
                    <a:pt x="146" y="104"/>
                    <a:pt x="146" y="104"/>
                  </a:cubicBezTo>
                  <a:cubicBezTo>
                    <a:pt x="147" y="102"/>
                    <a:pt x="148" y="101"/>
                    <a:pt x="150" y="101"/>
                  </a:cubicBezTo>
                  <a:cubicBezTo>
                    <a:pt x="151" y="100"/>
                    <a:pt x="151" y="100"/>
                    <a:pt x="151" y="100"/>
                  </a:cubicBezTo>
                  <a:cubicBezTo>
                    <a:pt x="151" y="98"/>
                    <a:pt x="151" y="98"/>
                    <a:pt x="151" y="98"/>
                  </a:cubicBezTo>
                  <a:cubicBezTo>
                    <a:pt x="152" y="96"/>
                    <a:pt x="152" y="94"/>
                    <a:pt x="154" y="91"/>
                  </a:cubicBezTo>
                  <a:cubicBezTo>
                    <a:pt x="155" y="89"/>
                    <a:pt x="158" y="85"/>
                    <a:pt x="157" y="81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4" name="Freeform 44"/>
            <p:cNvSpPr>
              <a:spLocks/>
            </p:cNvSpPr>
            <p:nvPr/>
          </p:nvSpPr>
          <p:spPr bwMode="auto">
            <a:xfrm>
              <a:off x="4095903" y="1415230"/>
              <a:ext cx="396188" cy="352381"/>
            </a:xfrm>
            <a:custGeom>
              <a:avLst/>
              <a:gdLst>
                <a:gd name="T0" fmla="*/ 191 w 196"/>
                <a:gd name="T1" fmla="*/ 171 h 189"/>
                <a:gd name="T2" fmla="*/ 188 w 196"/>
                <a:gd name="T3" fmla="*/ 171 h 189"/>
                <a:gd name="T4" fmla="*/ 175 w 196"/>
                <a:gd name="T5" fmla="*/ 157 h 189"/>
                <a:gd name="T6" fmla="*/ 168 w 196"/>
                <a:gd name="T7" fmla="*/ 145 h 189"/>
                <a:gd name="T8" fmla="*/ 158 w 196"/>
                <a:gd name="T9" fmla="*/ 136 h 189"/>
                <a:gd name="T10" fmla="*/ 152 w 196"/>
                <a:gd name="T11" fmla="*/ 131 h 189"/>
                <a:gd name="T12" fmla="*/ 144 w 196"/>
                <a:gd name="T13" fmla="*/ 121 h 189"/>
                <a:gd name="T14" fmla="*/ 142 w 196"/>
                <a:gd name="T15" fmla="*/ 116 h 189"/>
                <a:gd name="T16" fmla="*/ 135 w 196"/>
                <a:gd name="T17" fmla="*/ 111 h 189"/>
                <a:gd name="T18" fmla="*/ 124 w 196"/>
                <a:gd name="T19" fmla="*/ 105 h 189"/>
                <a:gd name="T20" fmla="*/ 114 w 196"/>
                <a:gd name="T21" fmla="*/ 100 h 189"/>
                <a:gd name="T22" fmla="*/ 109 w 196"/>
                <a:gd name="T23" fmla="*/ 100 h 189"/>
                <a:gd name="T24" fmla="*/ 106 w 196"/>
                <a:gd name="T25" fmla="*/ 92 h 189"/>
                <a:gd name="T26" fmla="*/ 96 w 196"/>
                <a:gd name="T27" fmla="*/ 83 h 189"/>
                <a:gd name="T28" fmla="*/ 91 w 196"/>
                <a:gd name="T29" fmla="*/ 81 h 189"/>
                <a:gd name="T30" fmla="*/ 87 w 196"/>
                <a:gd name="T31" fmla="*/ 72 h 189"/>
                <a:gd name="T32" fmla="*/ 83 w 196"/>
                <a:gd name="T33" fmla="*/ 71 h 189"/>
                <a:gd name="T34" fmla="*/ 80 w 196"/>
                <a:gd name="T35" fmla="*/ 61 h 189"/>
                <a:gd name="T36" fmla="*/ 78 w 196"/>
                <a:gd name="T37" fmla="*/ 50 h 189"/>
                <a:gd name="T38" fmla="*/ 75 w 196"/>
                <a:gd name="T39" fmla="*/ 37 h 189"/>
                <a:gd name="T40" fmla="*/ 71 w 196"/>
                <a:gd name="T41" fmla="*/ 26 h 189"/>
                <a:gd name="T42" fmla="*/ 62 w 196"/>
                <a:gd name="T43" fmla="*/ 6 h 189"/>
                <a:gd name="T44" fmla="*/ 58 w 196"/>
                <a:gd name="T45" fmla="*/ 2 h 189"/>
                <a:gd name="T46" fmla="*/ 49 w 196"/>
                <a:gd name="T47" fmla="*/ 16 h 189"/>
                <a:gd name="T48" fmla="*/ 34 w 196"/>
                <a:gd name="T49" fmla="*/ 21 h 189"/>
                <a:gd name="T50" fmla="*/ 28 w 196"/>
                <a:gd name="T51" fmla="*/ 25 h 189"/>
                <a:gd name="T52" fmla="*/ 18 w 196"/>
                <a:gd name="T53" fmla="*/ 35 h 189"/>
                <a:gd name="T54" fmla="*/ 14 w 196"/>
                <a:gd name="T55" fmla="*/ 40 h 189"/>
                <a:gd name="T56" fmla="*/ 12 w 196"/>
                <a:gd name="T57" fmla="*/ 46 h 189"/>
                <a:gd name="T58" fmla="*/ 10 w 196"/>
                <a:gd name="T59" fmla="*/ 70 h 189"/>
                <a:gd name="T60" fmla="*/ 3 w 196"/>
                <a:gd name="T61" fmla="*/ 90 h 189"/>
                <a:gd name="T62" fmla="*/ 2 w 196"/>
                <a:gd name="T63" fmla="*/ 123 h 189"/>
                <a:gd name="T64" fmla="*/ 8 w 196"/>
                <a:gd name="T65" fmla="*/ 125 h 189"/>
                <a:gd name="T66" fmla="*/ 19 w 196"/>
                <a:gd name="T67" fmla="*/ 125 h 189"/>
                <a:gd name="T68" fmla="*/ 25 w 196"/>
                <a:gd name="T69" fmla="*/ 119 h 189"/>
                <a:gd name="T70" fmla="*/ 32 w 196"/>
                <a:gd name="T71" fmla="*/ 129 h 189"/>
                <a:gd name="T72" fmla="*/ 38 w 196"/>
                <a:gd name="T73" fmla="*/ 118 h 189"/>
                <a:gd name="T74" fmla="*/ 41 w 196"/>
                <a:gd name="T75" fmla="*/ 108 h 189"/>
                <a:gd name="T76" fmla="*/ 44 w 196"/>
                <a:gd name="T77" fmla="*/ 108 h 189"/>
                <a:gd name="T78" fmla="*/ 51 w 196"/>
                <a:gd name="T79" fmla="*/ 113 h 189"/>
                <a:gd name="T80" fmla="*/ 61 w 196"/>
                <a:gd name="T81" fmla="*/ 120 h 189"/>
                <a:gd name="T82" fmla="*/ 77 w 196"/>
                <a:gd name="T83" fmla="*/ 114 h 189"/>
                <a:gd name="T84" fmla="*/ 81 w 196"/>
                <a:gd name="T85" fmla="*/ 118 h 189"/>
                <a:gd name="T86" fmla="*/ 90 w 196"/>
                <a:gd name="T87" fmla="*/ 117 h 189"/>
                <a:gd name="T88" fmla="*/ 98 w 196"/>
                <a:gd name="T89" fmla="*/ 120 h 189"/>
                <a:gd name="T90" fmla="*/ 114 w 196"/>
                <a:gd name="T91" fmla="*/ 124 h 189"/>
                <a:gd name="T92" fmla="*/ 136 w 196"/>
                <a:gd name="T93" fmla="*/ 139 h 189"/>
                <a:gd name="T94" fmla="*/ 162 w 196"/>
                <a:gd name="T95" fmla="*/ 170 h 189"/>
                <a:gd name="T96" fmla="*/ 168 w 196"/>
                <a:gd name="T97" fmla="*/ 176 h 189"/>
                <a:gd name="T98" fmla="*/ 175 w 196"/>
                <a:gd name="T99" fmla="*/ 186 h 189"/>
                <a:gd name="T100" fmla="*/ 180 w 196"/>
                <a:gd name="T101" fmla="*/ 186 h 189"/>
                <a:gd name="T102" fmla="*/ 188 w 196"/>
                <a:gd name="T103" fmla="*/ 186 h 189"/>
                <a:gd name="T104" fmla="*/ 192 w 196"/>
                <a:gd name="T105" fmla="*/ 178 h 189"/>
                <a:gd name="T106" fmla="*/ 195 w 196"/>
                <a:gd name="T107" fmla="*/ 17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6" h="189">
                  <a:moveTo>
                    <a:pt x="195" y="173"/>
                  </a:moveTo>
                  <a:cubicBezTo>
                    <a:pt x="195" y="173"/>
                    <a:pt x="194" y="171"/>
                    <a:pt x="191" y="171"/>
                  </a:cubicBezTo>
                  <a:cubicBezTo>
                    <a:pt x="191" y="171"/>
                    <a:pt x="191" y="171"/>
                    <a:pt x="191" y="171"/>
                  </a:cubicBezTo>
                  <a:cubicBezTo>
                    <a:pt x="190" y="171"/>
                    <a:pt x="189" y="171"/>
                    <a:pt x="189" y="171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89" y="171"/>
                    <a:pt x="189" y="171"/>
                    <a:pt x="188" y="171"/>
                  </a:cubicBezTo>
                  <a:cubicBezTo>
                    <a:pt x="188" y="170"/>
                    <a:pt x="187" y="169"/>
                    <a:pt x="187" y="168"/>
                  </a:cubicBezTo>
                  <a:cubicBezTo>
                    <a:pt x="185" y="165"/>
                    <a:pt x="183" y="162"/>
                    <a:pt x="179" y="161"/>
                  </a:cubicBezTo>
                  <a:cubicBezTo>
                    <a:pt x="177" y="160"/>
                    <a:pt x="176" y="159"/>
                    <a:pt x="175" y="157"/>
                  </a:cubicBezTo>
                  <a:cubicBezTo>
                    <a:pt x="175" y="156"/>
                    <a:pt x="175" y="156"/>
                    <a:pt x="175" y="155"/>
                  </a:cubicBezTo>
                  <a:cubicBezTo>
                    <a:pt x="174" y="152"/>
                    <a:pt x="173" y="148"/>
                    <a:pt x="169" y="146"/>
                  </a:cubicBezTo>
                  <a:cubicBezTo>
                    <a:pt x="168" y="145"/>
                    <a:pt x="168" y="145"/>
                    <a:pt x="168" y="145"/>
                  </a:cubicBezTo>
                  <a:cubicBezTo>
                    <a:pt x="166" y="144"/>
                    <a:pt x="166" y="144"/>
                    <a:pt x="165" y="142"/>
                  </a:cubicBezTo>
                  <a:cubicBezTo>
                    <a:pt x="164" y="141"/>
                    <a:pt x="163" y="139"/>
                    <a:pt x="160" y="137"/>
                  </a:cubicBezTo>
                  <a:cubicBezTo>
                    <a:pt x="159" y="137"/>
                    <a:pt x="159" y="136"/>
                    <a:pt x="158" y="136"/>
                  </a:cubicBezTo>
                  <a:cubicBezTo>
                    <a:pt x="157" y="136"/>
                    <a:pt x="156" y="135"/>
                    <a:pt x="155" y="135"/>
                  </a:cubicBezTo>
                  <a:cubicBezTo>
                    <a:pt x="154" y="134"/>
                    <a:pt x="153" y="133"/>
                    <a:pt x="153" y="132"/>
                  </a:cubicBezTo>
                  <a:cubicBezTo>
                    <a:pt x="152" y="132"/>
                    <a:pt x="152" y="131"/>
                    <a:pt x="152" y="131"/>
                  </a:cubicBezTo>
                  <a:cubicBezTo>
                    <a:pt x="151" y="129"/>
                    <a:pt x="150" y="128"/>
                    <a:pt x="149" y="127"/>
                  </a:cubicBezTo>
                  <a:cubicBezTo>
                    <a:pt x="146" y="124"/>
                    <a:pt x="146" y="124"/>
                    <a:pt x="146" y="124"/>
                  </a:cubicBezTo>
                  <a:cubicBezTo>
                    <a:pt x="145" y="123"/>
                    <a:pt x="144" y="122"/>
                    <a:pt x="144" y="121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3" y="119"/>
                    <a:pt x="143" y="119"/>
                    <a:pt x="143" y="118"/>
                  </a:cubicBezTo>
                  <a:cubicBezTo>
                    <a:pt x="143" y="118"/>
                    <a:pt x="142" y="117"/>
                    <a:pt x="142" y="116"/>
                  </a:cubicBezTo>
                  <a:cubicBezTo>
                    <a:pt x="141" y="116"/>
                    <a:pt x="141" y="116"/>
                    <a:pt x="141" y="115"/>
                  </a:cubicBezTo>
                  <a:cubicBezTo>
                    <a:pt x="140" y="115"/>
                    <a:pt x="140" y="115"/>
                    <a:pt x="140" y="115"/>
                  </a:cubicBezTo>
                  <a:cubicBezTo>
                    <a:pt x="139" y="113"/>
                    <a:pt x="138" y="111"/>
                    <a:pt x="135" y="111"/>
                  </a:cubicBezTo>
                  <a:cubicBezTo>
                    <a:pt x="135" y="111"/>
                    <a:pt x="134" y="110"/>
                    <a:pt x="133" y="110"/>
                  </a:cubicBezTo>
                  <a:cubicBezTo>
                    <a:pt x="131" y="110"/>
                    <a:pt x="130" y="110"/>
                    <a:pt x="129" y="110"/>
                  </a:cubicBezTo>
                  <a:cubicBezTo>
                    <a:pt x="127" y="109"/>
                    <a:pt x="126" y="107"/>
                    <a:pt x="124" y="105"/>
                  </a:cubicBezTo>
                  <a:cubicBezTo>
                    <a:pt x="123" y="104"/>
                    <a:pt x="122" y="103"/>
                    <a:pt x="122" y="102"/>
                  </a:cubicBezTo>
                  <a:cubicBezTo>
                    <a:pt x="121" y="101"/>
                    <a:pt x="118" y="99"/>
                    <a:pt x="115" y="99"/>
                  </a:cubicBezTo>
                  <a:cubicBezTo>
                    <a:pt x="115" y="99"/>
                    <a:pt x="114" y="99"/>
                    <a:pt x="114" y="100"/>
                  </a:cubicBezTo>
                  <a:cubicBezTo>
                    <a:pt x="113" y="100"/>
                    <a:pt x="113" y="100"/>
                    <a:pt x="112" y="100"/>
                  </a:cubicBezTo>
                  <a:cubicBezTo>
                    <a:pt x="111" y="100"/>
                    <a:pt x="111" y="101"/>
                    <a:pt x="110" y="101"/>
                  </a:cubicBezTo>
                  <a:cubicBezTo>
                    <a:pt x="110" y="101"/>
                    <a:pt x="110" y="101"/>
                    <a:pt x="109" y="100"/>
                  </a:cubicBezTo>
                  <a:cubicBezTo>
                    <a:pt x="109" y="100"/>
                    <a:pt x="109" y="100"/>
                    <a:pt x="108" y="99"/>
                  </a:cubicBezTo>
                  <a:cubicBezTo>
                    <a:pt x="108" y="98"/>
                    <a:pt x="108" y="97"/>
                    <a:pt x="107" y="97"/>
                  </a:cubicBezTo>
                  <a:cubicBezTo>
                    <a:pt x="106" y="95"/>
                    <a:pt x="106" y="94"/>
                    <a:pt x="106" y="92"/>
                  </a:cubicBezTo>
                  <a:cubicBezTo>
                    <a:pt x="106" y="90"/>
                    <a:pt x="105" y="88"/>
                    <a:pt x="103" y="85"/>
                  </a:cubicBezTo>
                  <a:cubicBezTo>
                    <a:pt x="102" y="84"/>
                    <a:pt x="100" y="83"/>
                    <a:pt x="98" y="83"/>
                  </a:cubicBezTo>
                  <a:cubicBezTo>
                    <a:pt x="97" y="83"/>
                    <a:pt x="96" y="83"/>
                    <a:pt x="96" y="83"/>
                  </a:cubicBezTo>
                  <a:cubicBezTo>
                    <a:pt x="95" y="84"/>
                    <a:pt x="94" y="85"/>
                    <a:pt x="94" y="86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3" y="83"/>
                    <a:pt x="92" y="82"/>
                    <a:pt x="91" y="81"/>
                  </a:cubicBezTo>
                  <a:cubicBezTo>
                    <a:pt x="91" y="80"/>
                    <a:pt x="91" y="80"/>
                    <a:pt x="90" y="79"/>
                  </a:cubicBezTo>
                  <a:cubicBezTo>
                    <a:pt x="90" y="79"/>
                    <a:pt x="90" y="78"/>
                    <a:pt x="90" y="77"/>
                  </a:cubicBezTo>
                  <a:cubicBezTo>
                    <a:pt x="89" y="75"/>
                    <a:pt x="89" y="74"/>
                    <a:pt x="87" y="72"/>
                  </a:cubicBezTo>
                  <a:cubicBezTo>
                    <a:pt x="86" y="71"/>
                    <a:pt x="85" y="71"/>
                    <a:pt x="84" y="71"/>
                  </a:cubicBezTo>
                  <a:cubicBezTo>
                    <a:pt x="84" y="71"/>
                    <a:pt x="84" y="71"/>
                    <a:pt x="84" y="71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3" y="71"/>
                    <a:pt x="82" y="69"/>
                    <a:pt x="82" y="68"/>
                  </a:cubicBezTo>
                  <a:cubicBezTo>
                    <a:pt x="82" y="67"/>
                    <a:pt x="82" y="66"/>
                    <a:pt x="81" y="65"/>
                  </a:cubicBezTo>
                  <a:cubicBezTo>
                    <a:pt x="81" y="64"/>
                    <a:pt x="81" y="62"/>
                    <a:pt x="80" y="61"/>
                  </a:cubicBezTo>
                  <a:cubicBezTo>
                    <a:pt x="80" y="60"/>
                    <a:pt x="80" y="59"/>
                    <a:pt x="80" y="59"/>
                  </a:cubicBezTo>
                  <a:cubicBezTo>
                    <a:pt x="80" y="57"/>
                    <a:pt x="80" y="56"/>
                    <a:pt x="79" y="55"/>
                  </a:cubicBezTo>
                  <a:cubicBezTo>
                    <a:pt x="79" y="53"/>
                    <a:pt x="79" y="52"/>
                    <a:pt x="78" y="50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5"/>
                    <a:pt x="77" y="42"/>
                    <a:pt x="76" y="38"/>
                  </a:cubicBezTo>
                  <a:cubicBezTo>
                    <a:pt x="76" y="38"/>
                    <a:pt x="76" y="37"/>
                    <a:pt x="75" y="37"/>
                  </a:cubicBezTo>
                  <a:cubicBezTo>
                    <a:pt x="75" y="36"/>
                    <a:pt x="75" y="35"/>
                    <a:pt x="74" y="34"/>
                  </a:cubicBezTo>
                  <a:cubicBezTo>
                    <a:pt x="74" y="32"/>
                    <a:pt x="73" y="30"/>
                    <a:pt x="73" y="29"/>
                  </a:cubicBezTo>
                  <a:cubicBezTo>
                    <a:pt x="72" y="28"/>
                    <a:pt x="72" y="27"/>
                    <a:pt x="71" y="26"/>
                  </a:cubicBezTo>
                  <a:cubicBezTo>
                    <a:pt x="71" y="25"/>
                    <a:pt x="70" y="24"/>
                    <a:pt x="70" y="22"/>
                  </a:cubicBezTo>
                  <a:cubicBezTo>
                    <a:pt x="68" y="18"/>
                    <a:pt x="67" y="13"/>
                    <a:pt x="64" y="9"/>
                  </a:cubicBezTo>
                  <a:cubicBezTo>
                    <a:pt x="64" y="8"/>
                    <a:pt x="63" y="7"/>
                    <a:pt x="62" y="6"/>
                  </a:cubicBezTo>
                  <a:cubicBezTo>
                    <a:pt x="62" y="5"/>
                    <a:pt x="61" y="4"/>
                    <a:pt x="61" y="2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6" y="3"/>
                    <a:pt x="55" y="5"/>
                    <a:pt x="54" y="6"/>
                  </a:cubicBezTo>
                  <a:cubicBezTo>
                    <a:pt x="53" y="8"/>
                    <a:pt x="52" y="9"/>
                    <a:pt x="52" y="11"/>
                  </a:cubicBezTo>
                  <a:cubicBezTo>
                    <a:pt x="52" y="13"/>
                    <a:pt x="51" y="15"/>
                    <a:pt x="49" y="16"/>
                  </a:cubicBezTo>
                  <a:cubicBezTo>
                    <a:pt x="47" y="18"/>
                    <a:pt x="45" y="18"/>
                    <a:pt x="43" y="18"/>
                  </a:cubicBezTo>
                  <a:cubicBezTo>
                    <a:pt x="41" y="18"/>
                    <a:pt x="40" y="18"/>
                    <a:pt x="38" y="19"/>
                  </a:cubicBezTo>
                  <a:cubicBezTo>
                    <a:pt x="37" y="19"/>
                    <a:pt x="36" y="20"/>
                    <a:pt x="34" y="21"/>
                  </a:cubicBezTo>
                  <a:cubicBezTo>
                    <a:pt x="33" y="23"/>
                    <a:pt x="31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7" y="27"/>
                    <a:pt x="27" y="28"/>
                    <a:pt x="27" y="30"/>
                  </a:cubicBezTo>
                  <a:cubicBezTo>
                    <a:pt x="26" y="33"/>
                    <a:pt x="26" y="34"/>
                    <a:pt x="20" y="35"/>
                  </a:cubicBezTo>
                  <a:cubicBezTo>
                    <a:pt x="19" y="35"/>
                    <a:pt x="19" y="35"/>
                    <a:pt x="18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5" y="35"/>
                    <a:pt x="14" y="35"/>
                    <a:pt x="14" y="38"/>
                  </a:cubicBezTo>
                  <a:cubicBezTo>
                    <a:pt x="13" y="39"/>
                    <a:pt x="13" y="39"/>
                    <a:pt x="14" y="40"/>
                  </a:cubicBezTo>
                  <a:cubicBezTo>
                    <a:pt x="14" y="41"/>
                    <a:pt x="14" y="42"/>
                    <a:pt x="14" y="42"/>
                  </a:cubicBezTo>
                  <a:cubicBezTo>
                    <a:pt x="13" y="43"/>
                    <a:pt x="13" y="44"/>
                    <a:pt x="13" y="45"/>
                  </a:cubicBezTo>
                  <a:cubicBezTo>
                    <a:pt x="12" y="45"/>
                    <a:pt x="12" y="45"/>
                    <a:pt x="12" y="46"/>
                  </a:cubicBezTo>
                  <a:cubicBezTo>
                    <a:pt x="10" y="50"/>
                    <a:pt x="11" y="52"/>
                    <a:pt x="12" y="55"/>
                  </a:cubicBezTo>
                  <a:cubicBezTo>
                    <a:pt x="12" y="56"/>
                    <a:pt x="13" y="58"/>
                    <a:pt x="13" y="61"/>
                  </a:cubicBezTo>
                  <a:cubicBezTo>
                    <a:pt x="12" y="64"/>
                    <a:pt x="11" y="67"/>
                    <a:pt x="10" y="70"/>
                  </a:cubicBezTo>
                  <a:cubicBezTo>
                    <a:pt x="9" y="72"/>
                    <a:pt x="8" y="74"/>
                    <a:pt x="7" y="76"/>
                  </a:cubicBezTo>
                  <a:cubicBezTo>
                    <a:pt x="7" y="78"/>
                    <a:pt x="6" y="79"/>
                    <a:pt x="6" y="81"/>
                  </a:cubicBezTo>
                  <a:cubicBezTo>
                    <a:pt x="6" y="84"/>
                    <a:pt x="5" y="87"/>
                    <a:pt x="3" y="90"/>
                  </a:cubicBezTo>
                  <a:cubicBezTo>
                    <a:pt x="0" y="96"/>
                    <a:pt x="0" y="98"/>
                    <a:pt x="1" y="105"/>
                  </a:cubicBezTo>
                  <a:cubicBezTo>
                    <a:pt x="2" y="108"/>
                    <a:pt x="2" y="111"/>
                    <a:pt x="2" y="114"/>
                  </a:cubicBezTo>
                  <a:cubicBezTo>
                    <a:pt x="1" y="117"/>
                    <a:pt x="1" y="120"/>
                    <a:pt x="2" y="123"/>
                  </a:cubicBezTo>
                  <a:cubicBezTo>
                    <a:pt x="2" y="124"/>
                    <a:pt x="2" y="124"/>
                    <a:pt x="2" y="124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5" y="125"/>
                    <a:pt x="7" y="125"/>
                    <a:pt x="8" y="125"/>
                  </a:cubicBezTo>
                  <a:cubicBezTo>
                    <a:pt x="10" y="126"/>
                    <a:pt x="12" y="126"/>
                    <a:pt x="14" y="126"/>
                  </a:cubicBezTo>
                  <a:cubicBezTo>
                    <a:pt x="15" y="126"/>
                    <a:pt x="16" y="126"/>
                    <a:pt x="17" y="126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4"/>
                    <a:pt x="19" y="124"/>
                    <a:pt x="19" y="124"/>
                  </a:cubicBezTo>
                  <a:cubicBezTo>
                    <a:pt x="19" y="123"/>
                    <a:pt x="19" y="122"/>
                    <a:pt x="20" y="121"/>
                  </a:cubicBezTo>
                  <a:cubicBezTo>
                    <a:pt x="21" y="120"/>
                    <a:pt x="23" y="119"/>
                    <a:pt x="25" y="119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19"/>
                    <a:pt x="27" y="119"/>
                    <a:pt x="27" y="119"/>
                  </a:cubicBezTo>
                  <a:cubicBezTo>
                    <a:pt x="29" y="123"/>
                    <a:pt x="31" y="127"/>
                    <a:pt x="32" y="129"/>
                  </a:cubicBezTo>
                  <a:cubicBezTo>
                    <a:pt x="35" y="133"/>
                    <a:pt x="35" y="133"/>
                    <a:pt x="35" y="133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36" y="125"/>
                    <a:pt x="37" y="121"/>
                    <a:pt x="38" y="118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9" y="114"/>
                    <a:pt x="39" y="114"/>
                    <a:pt x="39" y="113"/>
                  </a:cubicBezTo>
                  <a:cubicBezTo>
                    <a:pt x="40" y="111"/>
                    <a:pt x="40" y="108"/>
                    <a:pt x="41" y="108"/>
                  </a:cubicBezTo>
                  <a:cubicBezTo>
                    <a:pt x="41" y="107"/>
                    <a:pt x="42" y="107"/>
                    <a:pt x="42" y="107"/>
                  </a:cubicBezTo>
                  <a:cubicBezTo>
                    <a:pt x="42" y="107"/>
                    <a:pt x="42" y="107"/>
                    <a:pt x="42" y="107"/>
                  </a:cubicBezTo>
                  <a:cubicBezTo>
                    <a:pt x="43" y="107"/>
                    <a:pt x="43" y="107"/>
                    <a:pt x="44" y="108"/>
                  </a:cubicBezTo>
                  <a:cubicBezTo>
                    <a:pt x="44" y="109"/>
                    <a:pt x="44" y="109"/>
                    <a:pt x="45" y="110"/>
                  </a:cubicBezTo>
                  <a:cubicBezTo>
                    <a:pt x="47" y="112"/>
                    <a:pt x="48" y="112"/>
                    <a:pt x="49" y="113"/>
                  </a:cubicBezTo>
                  <a:cubicBezTo>
                    <a:pt x="50" y="113"/>
                    <a:pt x="51" y="113"/>
                    <a:pt x="51" y="113"/>
                  </a:cubicBezTo>
                  <a:cubicBezTo>
                    <a:pt x="54" y="114"/>
                    <a:pt x="54" y="115"/>
                    <a:pt x="56" y="116"/>
                  </a:cubicBezTo>
                  <a:cubicBezTo>
                    <a:pt x="56" y="117"/>
                    <a:pt x="56" y="117"/>
                    <a:pt x="56" y="117"/>
                  </a:cubicBezTo>
                  <a:cubicBezTo>
                    <a:pt x="58" y="119"/>
                    <a:pt x="59" y="120"/>
                    <a:pt x="61" y="120"/>
                  </a:cubicBezTo>
                  <a:cubicBezTo>
                    <a:pt x="62" y="120"/>
                    <a:pt x="64" y="119"/>
                    <a:pt x="66" y="118"/>
                  </a:cubicBezTo>
                  <a:cubicBezTo>
                    <a:pt x="66" y="118"/>
                    <a:pt x="67" y="117"/>
                    <a:pt x="68" y="117"/>
                  </a:cubicBezTo>
                  <a:cubicBezTo>
                    <a:pt x="71" y="115"/>
                    <a:pt x="74" y="114"/>
                    <a:pt x="77" y="114"/>
                  </a:cubicBezTo>
                  <a:cubicBezTo>
                    <a:pt x="78" y="114"/>
                    <a:pt x="78" y="114"/>
                    <a:pt x="79" y="114"/>
                  </a:cubicBezTo>
                  <a:cubicBezTo>
                    <a:pt x="80" y="115"/>
                    <a:pt x="80" y="115"/>
                    <a:pt x="81" y="117"/>
                  </a:cubicBezTo>
                  <a:cubicBezTo>
                    <a:pt x="81" y="118"/>
                    <a:pt x="81" y="118"/>
                    <a:pt x="81" y="118"/>
                  </a:cubicBezTo>
                  <a:cubicBezTo>
                    <a:pt x="83" y="118"/>
                    <a:pt x="83" y="118"/>
                    <a:pt x="83" y="118"/>
                  </a:cubicBezTo>
                  <a:cubicBezTo>
                    <a:pt x="84" y="118"/>
                    <a:pt x="85" y="118"/>
                    <a:pt x="86" y="118"/>
                  </a:cubicBezTo>
                  <a:cubicBezTo>
                    <a:pt x="88" y="117"/>
                    <a:pt x="89" y="117"/>
                    <a:pt x="90" y="117"/>
                  </a:cubicBezTo>
                  <a:cubicBezTo>
                    <a:pt x="91" y="117"/>
                    <a:pt x="92" y="117"/>
                    <a:pt x="93" y="118"/>
                  </a:cubicBezTo>
                  <a:cubicBezTo>
                    <a:pt x="93" y="118"/>
                    <a:pt x="94" y="118"/>
                    <a:pt x="95" y="119"/>
                  </a:cubicBezTo>
                  <a:cubicBezTo>
                    <a:pt x="96" y="119"/>
                    <a:pt x="97" y="120"/>
                    <a:pt x="98" y="120"/>
                  </a:cubicBezTo>
                  <a:cubicBezTo>
                    <a:pt x="100" y="120"/>
                    <a:pt x="102" y="120"/>
                    <a:pt x="104" y="121"/>
                  </a:cubicBezTo>
                  <a:cubicBezTo>
                    <a:pt x="107" y="121"/>
                    <a:pt x="110" y="121"/>
                    <a:pt x="113" y="123"/>
                  </a:cubicBezTo>
                  <a:cubicBezTo>
                    <a:pt x="114" y="124"/>
                    <a:pt x="114" y="124"/>
                    <a:pt x="114" y="124"/>
                  </a:cubicBezTo>
                  <a:cubicBezTo>
                    <a:pt x="116" y="126"/>
                    <a:pt x="118" y="128"/>
                    <a:pt x="121" y="129"/>
                  </a:cubicBezTo>
                  <a:cubicBezTo>
                    <a:pt x="123" y="130"/>
                    <a:pt x="124" y="131"/>
                    <a:pt x="126" y="131"/>
                  </a:cubicBezTo>
                  <a:cubicBezTo>
                    <a:pt x="130" y="133"/>
                    <a:pt x="133" y="135"/>
                    <a:pt x="136" y="139"/>
                  </a:cubicBezTo>
                  <a:cubicBezTo>
                    <a:pt x="139" y="145"/>
                    <a:pt x="144" y="150"/>
                    <a:pt x="149" y="155"/>
                  </a:cubicBezTo>
                  <a:cubicBezTo>
                    <a:pt x="153" y="159"/>
                    <a:pt x="157" y="163"/>
                    <a:pt x="161" y="168"/>
                  </a:cubicBezTo>
                  <a:cubicBezTo>
                    <a:pt x="161" y="169"/>
                    <a:pt x="162" y="169"/>
                    <a:pt x="162" y="170"/>
                  </a:cubicBezTo>
                  <a:cubicBezTo>
                    <a:pt x="162" y="171"/>
                    <a:pt x="163" y="172"/>
                    <a:pt x="164" y="173"/>
                  </a:cubicBezTo>
                  <a:cubicBezTo>
                    <a:pt x="164" y="174"/>
                    <a:pt x="165" y="174"/>
                    <a:pt x="166" y="174"/>
                  </a:cubicBezTo>
                  <a:cubicBezTo>
                    <a:pt x="167" y="175"/>
                    <a:pt x="168" y="175"/>
                    <a:pt x="168" y="176"/>
                  </a:cubicBezTo>
                  <a:cubicBezTo>
                    <a:pt x="169" y="177"/>
                    <a:pt x="170" y="179"/>
                    <a:pt x="171" y="180"/>
                  </a:cubicBezTo>
                  <a:cubicBezTo>
                    <a:pt x="171" y="182"/>
                    <a:pt x="172" y="184"/>
                    <a:pt x="173" y="185"/>
                  </a:cubicBezTo>
                  <a:cubicBezTo>
                    <a:pt x="175" y="186"/>
                    <a:pt x="175" y="186"/>
                    <a:pt x="175" y="186"/>
                  </a:cubicBezTo>
                  <a:cubicBezTo>
                    <a:pt x="176" y="185"/>
                    <a:pt x="176" y="185"/>
                    <a:pt x="176" y="185"/>
                  </a:cubicBezTo>
                  <a:cubicBezTo>
                    <a:pt x="176" y="184"/>
                    <a:pt x="177" y="184"/>
                    <a:pt x="177" y="183"/>
                  </a:cubicBezTo>
                  <a:cubicBezTo>
                    <a:pt x="178" y="184"/>
                    <a:pt x="179" y="185"/>
                    <a:pt x="180" y="186"/>
                  </a:cubicBezTo>
                  <a:cubicBezTo>
                    <a:pt x="182" y="188"/>
                    <a:pt x="183" y="189"/>
                    <a:pt x="184" y="189"/>
                  </a:cubicBezTo>
                  <a:cubicBezTo>
                    <a:pt x="185" y="189"/>
                    <a:pt x="185" y="189"/>
                    <a:pt x="185" y="189"/>
                  </a:cubicBezTo>
                  <a:cubicBezTo>
                    <a:pt x="186" y="189"/>
                    <a:pt x="187" y="188"/>
                    <a:pt x="188" y="186"/>
                  </a:cubicBezTo>
                  <a:cubicBezTo>
                    <a:pt x="188" y="185"/>
                    <a:pt x="188" y="184"/>
                    <a:pt x="188" y="183"/>
                  </a:cubicBezTo>
                  <a:cubicBezTo>
                    <a:pt x="188" y="182"/>
                    <a:pt x="189" y="181"/>
                    <a:pt x="190" y="180"/>
                  </a:cubicBezTo>
                  <a:cubicBezTo>
                    <a:pt x="190" y="179"/>
                    <a:pt x="191" y="178"/>
                    <a:pt x="192" y="178"/>
                  </a:cubicBezTo>
                  <a:cubicBezTo>
                    <a:pt x="193" y="177"/>
                    <a:pt x="194" y="177"/>
                    <a:pt x="195" y="176"/>
                  </a:cubicBezTo>
                  <a:cubicBezTo>
                    <a:pt x="196" y="174"/>
                    <a:pt x="196" y="174"/>
                    <a:pt x="196" y="174"/>
                  </a:cubicBezTo>
                  <a:lnTo>
                    <a:pt x="195" y="173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5" name="Freeform 45"/>
            <p:cNvSpPr>
              <a:spLocks/>
            </p:cNvSpPr>
            <p:nvPr/>
          </p:nvSpPr>
          <p:spPr bwMode="auto">
            <a:xfrm>
              <a:off x="3905064" y="1612481"/>
              <a:ext cx="887238" cy="702708"/>
            </a:xfrm>
            <a:custGeom>
              <a:avLst/>
              <a:gdLst>
                <a:gd name="T0" fmla="*/ 316 w 438"/>
                <a:gd name="T1" fmla="*/ 189 h 377"/>
                <a:gd name="T2" fmla="*/ 301 w 438"/>
                <a:gd name="T3" fmla="*/ 174 h 377"/>
                <a:gd name="T4" fmla="*/ 296 w 438"/>
                <a:gd name="T5" fmla="*/ 165 h 377"/>
                <a:gd name="T6" fmla="*/ 292 w 438"/>
                <a:gd name="T7" fmla="*/ 163 h 377"/>
                <a:gd name="T8" fmla="*/ 288 w 438"/>
                <a:gd name="T9" fmla="*/ 157 h 377"/>
                <a:gd name="T10" fmla="*/ 283 w 438"/>
                <a:gd name="T11" fmla="*/ 146 h 377"/>
                <a:gd name="T12" fmla="*/ 285 w 438"/>
                <a:gd name="T13" fmla="*/ 128 h 377"/>
                <a:gd name="T14" fmla="*/ 279 w 438"/>
                <a:gd name="T15" fmla="*/ 124 h 377"/>
                <a:gd name="T16" fmla="*/ 269 w 438"/>
                <a:gd name="T17" fmla="*/ 127 h 377"/>
                <a:gd name="T18" fmla="*/ 253 w 438"/>
                <a:gd name="T19" fmla="*/ 129 h 377"/>
                <a:gd name="T20" fmla="*/ 252 w 438"/>
                <a:gd name="T21" fmla="*/ 116 h 377"/>
                <a:gd name="T22" fmla="*/ 263 w 438"/>
                <a:gd name="T23" fmla="*/ 92 h 377"/>
                <a:gd name="T24" fmla="*/ 269 w 438"/>
                <a:gd name="T25" fmla="*/ 80 h 377"/>
                <a:gd name="T26" fmla="*/ 263 w 438"/>
                <a:gd name="T27" fmla="*/ 69 h 377"/>
                <a:gd name="T28" fmla="*/ 256 w 438"/>
                <a:gd name="T29" fmla="*/ 64 h 377"/>
                <a:gd name="T30" fmla="*/ 230 w 438"/>
                <a:gd name="T31" fmla="*/ 33 h 377"/>
                <a:gd name="T32" fmla="*/ 208 w 438"/>
                <a:gd name="T33" fmla="*/ 18 h 377"/>
                <a:gd name="T34" fmla="*/ 192 w 438"/>
                <a:gd name="T35" fmla="*/ 14 h 377"/>
                <a:gd name="T36" fmla="*/ 184 w 438"/>
                <a:gd name="T37" fmla="*/ 11 h 377"/>
                <a:gd name="T38" fmla="*/ 176 w 438"/>
                <a:gd name="T39" fmla="*/ 12 h 377"/>
                <a:gd name="T40" fmla="*/ 171 w 438"/>
                <a:gd name="T41" fmla="*/ 7 h 377"/>
                <a:gd name="T42" fmla="*/ 155 w 438"/>
                <a:gd name="T43" fmla="*/ 14 h 377"/>
                <a:gd name="T44" fmla="*/ 145 w 438"/>
                <a:gd name="T45" fmla="*/ 7 h 377"/>
                <a:gd name="T46" fmla="*/ 138 w 438"/>
                <a:gd name="T47" fmla="*/ 2 h 377"/>
                <a:gd name="T48" fmla="*/ 134 w 438"/>
                <a:gd name="T49" fmla="*/ 2 h 377"/>
                <a:gd name="T50" fmla="*/ 133 w 438"/>
                <a:gd name="T51" fmla="*/ 9 h 377"/>
                <a:gd name="T52" fmla="*/ 122 w 438"/>
                <a:gd name="T53" fmla="*/ 14 h 377"/>
                <a:gd name="T54" fmla="*/ 114 w 438"/>
                <a:gd name="T55" fmla="*/ 15 h 377"/>
                <a:gd name="T56" fmla="*/ 102 w 438"/>
                <a:gd name="T57" fmla="*/ 19 h 377"/>
                <a:gd name="T58" fmla="*/ 96 w 438"/>
                <a:gd name="T59" fmla="*/ 21 h 377"/>
                <a:gd name="T60" fmla="*/ 88 w 438"/>
                <a:gd name="T61" fmla="*/ 61 h 377"/>
                <a:gd name="T62" fmla="*/ 77 w 438"/>
                <a:gd name="T63" fmla="*/ 72 h 377"/>
                <a:gd name="T64" fmla="*/ 63 w 438"/>
                <a:gd name="T65" fmla="*/ 97 h 377"/>
                <a:gd name="T66" fmla="*/ 57 w 438"/>
                <a:gd name="T67" fmla="*/ 108 h 377"/>
                <a:gd name="T68" fmla="*/ 55 w 438"/>
                <a:gd name="T69" fmla="*/ 127 h 377"/>
                <a:gd name="T70" fmla="*/ 49 w 438"/>
                <a:gd name="T71" fmla="*/ 133 h 377"/>
                <a:gd name="T72" fmla="*/ 36 w 438"/>
                <a:gd name="T73" fmla="*/ 146 h 377"/>
                <a:gd name="T74" fmla="*/ 31 w 438"/>
                <a:gd name="T75" fmla="*/ 166 h 377"/>
                <a:gd name="T76" fmla="*/ 31 w 438"/>
                <a:gd name="T77" fmla="*/ 193 h 377"/>
                <a:gd name="T78" fmla="*/ 20 w 438"/>
                <a:gd name="T79" fmla="*/ 214 h 377"/>
                <a:gd name="T80" fmla="*/ 6 w 438"/>
                <a:gd name="T81" fmla="*/ 214 h 377"/>
                <a:gd name="T82" fmla="*/ 3 w 438"/>
                <a:gd name="T83" fmla="*/ 224 h 377"/>
                <a:gd name="T84" fmla="*/ 12 w 438"/>
                <a:gd name="T85" fmla="*/ 237 h 377"/>
                <a:gd name="T86" fmla="*/ 19 w 438"/>
                <a:gd name="T87" fmla="*/ 236 h 377"/>
                <a:gd name="T88" fmla="*/ 32 w 438"/>
                <a:gd name="T89" fmla="*/ 251 h 377"/>
                <a:gd name="T90" fmla="*/ 44 w 438"/>
                <a:gd name="T91" fmla="*/ 265 h 377"/>
                <a:gd name="T92" fmla="*/ 56 w 438"/>
                <a:gd name="T93" fmla="*/ 280 h 377"/>
                <a:gd name="T94" fmla="*/ 63 w 438"/>
                <a:gd name="T95" fmla="*/ 302 h 377"/>
                <a:gd name="T96" fmla="*/ 69 w 438"/>
                <a:gd name="T97" fmla="*/ 312 h 377"/>
                <a:gd name="T98" fmla="*/ 72 w 438"/>
                <a:gd name="T99" fmla="*/ 313 h 377"/>
                <a:gd name="T100" fmla="*/ 79 w 438"/>
                <a:gd name="T101" fmla="*/ 313 h 377"/>
                <a:gd name="T102" fmla="*/ 83 w 438"/>
                <a:gd name="T103" fmla="*/ 335 h 377"/>
                <a:gd name="T104" fmla="*/ 89 w 438"/>
                <a:gd name="T105" fmla="*/ 344 h 377"/>
                <a:gd name="T106" fmla="*/ 193 w 438"/>
                <a:gd name="T107" fmla="*/ 377 h 377"/>
                <a:gd name="T108" fmla="*/ 241 w 438"/>
                <a:gd name="T109" fmla="*/ 359 h 377"/>
                <a:gd name="T110" fmla="*/ 252 w 438"/>
                <a:gd name="T111" fmla="*/ 359 h 377"/>
                <a:gd name="T112" fmla="*/ 270 w 438"/>
                <a:gd name="T113" fmla="*/ 353 h 377"/>
                <a:gd name="T114" fmla="*/ 292 w 438"/>
                <a:gd name="T115" fmla="*/ 344 h 377"/>
                <a:gd name="T116" fmla="*/ 308 w 438"/>
                <a:gd name="T117" fmla="*/ 332 h 377"/>
                <a:gd name="T118" fmla="*/ 320 w 438"/>
                <a:gd name="T119" fmla="*/ 328 h 377"/>
                <a:gd name="T120" fmla="*/ 410 w 438"/>
                <a:gd name="T121" fmla="*/ 226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8" h="377">
                  <a:moveTo>
                    <a:pt x="410" y="226"/>
                  </a:moveTo>
                  <a:cubicBezTo>
                    <a:pt x="320" y="192"/>
                    <a:pt x="320" y="192"/>
                    <a:pt x="320" y="192"/>
                  </a:cubicBezTo>
                  <a:cubicBezTo>
                    <a:pt x="319" y="191"/>
                    <a:pt x="316" y="189"/>
                    <a:pt x="316" y="189"/>
                  </a:cubicBezTo>
                  <a:cubicBezTo>
                    <a:pt x="315" y="187"/>
                    <a:pt x="313" y="185"/>
                    <a:pt x="311" y="184"/>
                  </a:cubicBezTo>
                  <a:cubicBezTo>
                    <a:pt x="310" y="183"/>
                    <a:pt x="308" y="182"/>
                    <a:pt x="307" y="181"/>
                  </a:cubicBezTo>
                  <a:cubicBezTo>
                    <a:pt x="305" y="179"/>
                    <a:pt x="302" y="178"/>
                    <a:pt x="301" y="174"/>
                  </a:cubicBezTo>
                  <a:cubicBezTo>
                    <a:pt x="301" y="174"/>
                    <a:pt x="301" y="174"/>
                    <a:pt x="301" y="174"/>
                  </a:cubicBezTo>
                  <a:cubicBezTo>
                    <a:pt x="300" y="173"/>
                    <a:pt x="300" y="173"/>
                    <a:pt x="300" y="173"/>
                  </a:cubicBezTo>
                  <a:cubicBezTo>
                    <a:pt x="298" y="172"/>
                    <a:pt x="297" y="168"/>
                    <a:pt x="296" y="165"/>
                  </a:cubicBezTo>
                  <a:cubicBezTo>
                    <a:pt x="296" y="163"/>
                    <a:pt x="296" y="163"/>
                    <a:pt x="296" y="163"/>
                  </a:cubicBezTo>
                  <a:cubicBezTo>
                    <a:pt x="294" y="163"/>
                    <a:pt x="294" y="163"/>
                    <a:pt x="294" y="163"/>
                  </a:cubicBezTo>
                  <a:cubicBezTo>
                    <a:pt x="293" y="163"/>
                    <a:pt x="292" y="163"/>
                    <a:pt x="292" y="163"/>
                  </a:cubicBezTo>
                  <a:cubicBezTo>
                    <a:pt x="291" y="162"/>
                    <a:pt x="291" y="161"/>
                    <a:pt x="291" y="161"/>
                  </a:cubicBezTo>
                  <a:cubicBezTo>
                    <a:pt x="291" y="160"/>
                    <a:pt x="291" y="160"/>
                    <a:pt x="290" y="159"/>
                  </a:cubicBezTo>
                  <a:cubicBezTo>
                    <a:pt x="290" y="158"/>
                    <a:pt x="289" y="157"/>
                    <a:pt x="288" y="157"/>
                  </a:cubicBezTo>
                  <a:cubicBezTo>
                    <a:pt x="287" y="156"/>
                    <a:pt x="287" y="155"/>
                    <a:pt x="286" y="154"/>
                  </a:cubicBezTo>
                  <a:cubicBezTo>
                    <a:pt x="285" y="153"/>
                    <a:pt x="285" y="151"/>
                    <a:pt x="284" y="149"/>
                  </a:cubicBezTo>
                  <a:cubicBezTo>
                    <a:pt x="284" y="148"/>
                    <a:pt x="283" y="147"/>
                    <a:pt x="283" y="146"/>
                  </a:cubicBezTo>
                  <a:cubicBezTo>
                    <a:pt x="279" y="139"/>
                    <a:pt x="281" y="136"/>
                    <a:pt x="285" y="131"/>
                  </a:cubicBezTo>
                  <a:cubicBezTo>
                    <a:pt x="286" y="129"/>
                    <a:pt x="286" y="129"/>
                    <a:pt x="286" y="129"/>
                  </a:cubicBezTo>
                  <a:cubicBezTo>
                    <a:pt x="285" y="128"/>
                    <a:pt x="285" y="128"/>
                    <a:pt x="285" y="128"/>
                  </a:cubicBezTo>
                  <a:cubicBezTo>
                    <a:pt x="284" y="128"/>
                    <a:pt x="284" y="127"/>
                    <a:pt x="284" y="127"/>
                  </a:cubicBezTo>
                  <a:cubicBezTo>
                    <a:pt x="282" y="125"/>
                    <a:pt x="282" y="125"/>
                    <a:pt x="281" y="124"/>
                  </a:cubicBezTo>
                  <a:cubicBezTo>
                    <a:pt x="280" y="124"/>
                    <a:pt x="280" y="124"/>
                    <a:pt x="279" y="124"/>
                  </a:cubicBezTo>
                  <a:cubicBezTo>
                    <a:pt x="278" y="124"/>
                    <a:pt x="277" y="124"/>
                    <a:pt x="276" y="125"/>
                  </a:cubicBezTo>
                  <a:cubicBezTo>
                    <a:pt x="275" y="125"/>
                    <a:pt x="274" y="126"/>
                    <a:pt x="274" y="126"/>
                  </a:cubicBezTo>
                  <a:cubicBezTo>
                    <a:pt x="272" y="126"/>
                    <a:pt x="270" y="127"/>
                    <a:pt x="269" y="127"/>
                  </a:cubicBezTo>
                  <a:cubicBezTo>
                    <a:pt x="266" y="127"/>
                    <a:pt x="263" y="127"/>
                    <a:pt x="260" y="131"/>
                  </a:cubicBezTo>
                  <a:cubicBezTo>
                    <a:pt x="259" y="130"/>
                    <a:pt x="258" y="130"/>
                    <a:pt x="257" y="130"/>
                  </a:cubicBezTo>
                  <a:cubicBezTo>
                    <a:pt x="255" y="130"/>
                    <a:pt x="253" y="130"/>
                    <a:pt x="253" y="129"/>
                  </a:cubicBezTo>
                  <a:cubicBezTo>
                    <a:pt x="251" y="127"/>
                    <a:pt x="252" y="124"/>
                    <a:pt x="252" y="122"/>
                  </a:cubicBezTo>
                  <a:cubicBezTo>
                    <a:pt x="252" y="121"/>
                    <a:pt x="252" y="120"/>
                    <a:pt x="252" y="120"/>
                  </a:cubicBezTo>
                  <a:cubicBezTo>
                    <a:pt x="252" y="119"/>
                    <a:pt x="252" y="118"/>
                    <a:pt x="252" y="116"/>
                  </a:cubicBezTo>
                  <a:cubicBezTo>
                    <a:pt x="252" y="112"/>
                    <a:pt x="252" y="108"/>
                    <a:pt x="255" y="104"/>
                  </a:cubicBezTo>
                  <a:cubicBezTo>
                    <a:pt x="256" y="102"/>
                    <a:pt x="256" y="102"/>
                    <a:pt x="256" y="102"/>
                  </a:cubicBezTo>
                  <a:cubicBezTo>
                    <a:pt x="259" y="98"/>
                    <a:pt x="261" y="95"/>
                    <a:pt x="263" y="92"/>
                  </a:cubicBezTo>
                  <a:cubicBezTo>
                    <a:pt x="263" y="91"/>
                    <a:pt x="264" y="89"/>
                    <a:pt x="264" y="88"/>
                  </a:cubicBezTo>
                  <a:cubicBezTo>
                    <a:pt x="265" y="86"/>
                    <a:pt x="267" y="84"/>
                    <a:pt x="268" y="81"/>
                  </a:cubicBezTo>
                  <a:cubicBezTo>
                    <a:pt x="269" y="80"/>
                    <a:pt x="269" y="80"/>
                    <a:pt x="269" y="80"/>
                  </a:cubicBezTo>
                  <a:cubicBezTo>
                    <a:pt x="267" y="79"/>
                    <a:pt x="267" y="79"/>
                    <a:pt x="267" y="79"/>
                  </a:cubicBezTo>
                  <a:cubicBezTo>
                    <a:pt x="266" y="78"/>
                    <a:pt x="265" y="76"/>
                    <a:pt x="265" y="74"/>
                  </a:cubicBezTo>
                  <a:cubicBezTo>
                    <a:pt x="264" y="72"/>
                    <a:pt x="264" y="71"/>
                    <a:pt x="263" y="69"/>
                  </a:cubicBezTo>
                  <a:cubicBezTo>
                    <a:pt x="262" y="69"/>
                    <a:pt x="261" y="68"/>
                    <a:pt x="260" y="68"/>
                  </a:cubicBezTo>
                  <a:cubicBezTo>
                    <a:pt x="259" y="68"/>
                    <a:pt x="259" y="67"/>
                    <a:pt x="258" y="66"/>
                  </a:cubicBezTo>
                  <a:cubicBezTo>
                    <a:pt x="257" y="66"/>
                    <a:pt x="257" y="65"/>
                    <a:pt x="256" y="64"/>
                  </a:cubicBezTo>
                  <a:cubicBezTo>
                    <a:pt x="256" y="63"/>
                    <a:pt x="256" y="62"/>
                    <a:pt x="255" y="62"/>
                  </a:cubicBezTo>
                  <a:cubicBezTo>
                    <a:pt x="252" y="57"/>
                    <a:pt x="247" y="52"/>
                    <a:pt x="243" y="48"/>
                  </a:cubicBezTo>
                  <a:cubicBezTo>
                    <a:pt x="238" y="44"/>
                    <a:pt x="234" y="39"/>
                    <a:pt x="230" y="33"/>
                  </a:cubicBezTo>
                  <a:cubicBezTo>
                    <a:pt x="227" y="28"/>
                    <a:pt x="224" y="27"/>
                    <a:pt x="220" y="25"/>
                  </a:cubicBezTo>
                  <a:cubicBezTo>
                    <a:pt x="218" y="24"/>
                    <a:pt x="217" y="24"/>
                    <a:pt x="215" y="23"/>
                  </a:cubicBezTo>
                  <a:cubicBezTo>
                    <a:pt x="213" y="21"/>
                    <a:pt x="210" y="19"/>
                    <a:pt x="208" y="18"/>
                  </a:cubicBezTo>
                  <a:cubicBezTo>
                    <a:pt x="208" y="17"/>
                    <a:pt x="208" y="17"/>
                    <a:pt x="208" y="17"/>
                  </a:cubicBezTo>
                  <a:cubicBezTo>
                    <a:pt x="204" y="14"/>
                    <a:pt x="201" y="14"/>
                    <a:pt x="198" y="14"/>
                  </a:cubicBezTo>
                  <a:cubicBezTo>
                    <a:pt x="196" y="14"/>
                    <a:pt x="194" y="14"/>
                    <a:pt x="192" y="14"/>
                  </a:cubicBezTo>
                  <a:cubicBezTo>
                    <a:pt x="191" y="13"/>
                    <a:pt x="190" y="13"/>
                    <a:pt x="189" y="12"/>
                  </a:cubicBezTo>
                  <a:cubicBezTo>
                    <a:pt x="188" y="12"/>
                    <a:pt x="188" y="11"/>
                    <a:pt x="187" y="11"/>
                  </a:cubicBezTo>
                  <a:cubicBezTo>
                    <a:pt x="186" y="11"/>
                    <a:pt x="185" y="11"/>
                    <a:pt x="184" y="11"/>
                  </a:cubicBezTo>
                  <a:cubicBezTo>
                    <a:pt x="183" y="11"/>
                    <a:pt x="182" y="11"/>
                    <a:pt x="180" y="11"/>
                  </a:cubicBezTo>
                  <a:cubicBezTo>
                    <a:pt x="179" y="12"/>
                    <a:pt x="178" y="12"/>
                    <a:pt x="176" y="12"/>
                  </a:cubicBezTo>
                  <a:cubicBezTo>
                    <a:pt x="176" y="12"/>
                    <a:pt x="176" y="12"/>
                    <a:pt x="176" y="12"/>
                  </a:cubicBezTo>
                  <a:cubicBezTo>
                    <a:pt x="176" y="12"/>
                    <a:pt x="175" y="12"/>
                    <a:pt x="175" y="12"/>
                  </a:cubicBezTo>
                  <a:cubicBezTo>
                    <a:pt x="175" y="11"/>
                    <a:pt x="175" y="9"/>
                    <a:pt x="173" y="8"/>
                  </a:cubicBezTo>
                  <a:cubicBezTo>
                    <a:pt x="173" y="7"/>
                    <a:pt x="172" y="7"/>
                    <a:pt x="171" y="7"/>
                  </a:cubicBezTo>
                  <a:cubicBezTo>
                    <a:pt x="169" y="7"/>
                    <a:pt x="166" y="8"/>
                    <a:pt x="162" y="11"/>
                  </a:cubicBezTo>
                  <a:cubicBezTo>
                    <a:pt x="161" y="11"/>
                    <a:pt x="160" y="12"/>
                    <a:pt x="159" y="12"/>
                  </a:cubicBezTo>
                  <a:cubicBezTo>
                    <a:pt x="158" y="13"/>
                    <a:pt x="156" y="14"/>
                    <a:pt x="155" y="14"/>
                  </a:cubicBezTo>
                  <a:cubicBezTo>
                    <a:pt x="154" y="14"/>
                    <a:pt x="152" y="13"/>
                    <a:pt x="151" y="11"/>
                  </a:cubicBezTo>
                  <a:cubicBezTo>
                    <a:pt x="150" y="11"/>
                    <a:pt x="150" y="10"/>
                    <a:pt x="150" y="10"/>
                  </a:cubicBezTo>
                  <a:cubicBezTo>
                    <a:pt x="148" y="8"/>
                    <a:pt x="148" y="8"/>
                    <a:pt x="145" y="7"/>
                  </a:cubicBezTo>
                  <a:cubicBezTo>
                    <a:pt x="145" y="7"/>
                    <a:pt x="144" y="6"/>
                    <a:pt x="144" y="6"/>
                  </a:cubicBezTo>
                  <a:cubicBezTo>
                    <a:pt x="142" y="6"/>
                    <a:pt x="141" y="5"/>
                    <a:pt x="139" y="4"/>
                  </a:cubicBezTo>
                  <a:cubicBezTo>
                    <a:pt x="139" y="3"/>
                    <a:pt x="138" y="3"/>
                    <a:pt x="138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5" y="1"/>
                    <a:pt x="135" y="1"/>
                    <a:pt x="135" y="1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4" y="2"/>
                    <a:pt x="133" y="3"/>
                    <a:pt x="133" y="7"/>
                  </a:cubicBezTo>
                  <a:cubicBezTo>
                    <a:pt x="133" y="8"/>
                    <a:pt x="133" y="8"/>
                    <a:pt x="133" y="9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31" y="16"/>
                    <a:pt x="130" y="21"/>
                    <a:pt x="129" y="25"/>
                  </a:cubicBezTo>
                  <a:cubicBezTo>
                    <a:pt x="127" y="24"/>
                    <a:pt x="124" y="20"/>
                    <a:pt x="122" y="14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20" y="13"/>
                    <a:pt x="120" y="13"/>
                    <a:pt x="120" y="13"/>
                  </a:cubicBezTo>
                  <a:cubicBezTo>
                    <a:pt x="118" y="13"/>
                    <a:pt x="115" y="13"/>
                    <a:pt x="114" y="15"/>
                  </a:cubicBezTo>
                  <a:cubicBezTo>
                    <a:pt x="113" y="16"/>
                    <a:pt x="112" y="17"/>
                    <a:pt x="112" y="19"/>
                  </a:cubicBezTo>
                  <a:cubicBezTo>
                    <a:pt x="111" y="20"/>
                    <a:pt x="110" y="20"/>
                    <a:pt x="108" y="20"/>
                  </a:cubicBezTo>
                  <a:cubicBezTo>
                    <a:pt x="106" y="20"/>
                    <a:pt x="104" y="19"/>
                    <a:pt x="102" y="19"/>
                  </a:cubicBezTo>
                  <a:cubicBezTo>
                    <a:pt x="101" y="19"/>
                    <a:pt x="100" y="18"/>
                    <a:pt x="99" y="18"/>
                  </a:cubicBezTo>
                  <a:cubicBezTo>
                    <a:pt x="96" y="18"/>
                    <a:pt x="96" y="18"/>
                    <a:pt x="96" y="18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97" y="25"/>
                    <a:pt x="98" y="29"/>
                    <a:pt x="96" y="33"/>
                  </a:cubicBezTo>
                  <a:cubicBezTo>
                    <a:pt x="94" y="40"/>
                    <a:pt x="92" y="45"/>
                    <a:pt x="90" y="51"/>
                  </a:cubicBezTo>
                  <a:cubicBezTo>
                    <a:pt x="88" y="55"/>
                    <a:pt x="88" y="58"/>
                    <a:pt x="88" y="61"/>
                  </a:cubicBezTo>
                  <a:cubicBezTo>
                    <a:pt x="88" y="63"/>
                    <a:pt x="89" y="65"/>
                    <a:pt x="88" y="67"/>
                  </a:cubicBezTo>
                  <a:cubicBezTo>
                    <a:pt x="87" y="71"/>
                    <a:pt x="85" y="71"/>
                    <a:pt x="82" y="71"/>
                  </a:cubicBezTo>
                  <a:cubicBezTo>
                    <a:pt x="81" y="71"/>
                    <a:pt x="79" y="71"/>
                    <a:pt x="77" y="72"/>
                  </a:cubicBezTo>
                  <a:cubicBezTo>
                    <a:pt x="74" y="74"/>
                    <a:pt x="73" y="76"/>
                    <a:pt x="72" y="78"/>
                  </a:cubicBezTo>
                  <a:cubicBezTo>
                    <a:pt x="72" y="79"/>
                    <a:pt x="70" y="83"/>
                    <a:pt x="70" y="83"/>
                  </a:cubicBezTo>
                  <a:cubicBezTo>
                    <a:pt x="68" y="88"/>
                    <a:pt x="66" y="94"/>
                    <a:pt x="63" y="97"/>
                  </a:cubicBezTo>
                  <a:cubicBezTo>
                    <a:pt x="62" y="99"/>
                    <a:pt x="61" y="99"/>
                    <a:pt x="60" y="99"/>
                  </a:cubicBezTo>
                  <a:cubicBezTo>
                    <a:pt x="59" y="100"/>
                    <a:pt x="58" y="101"/>
                    <a:pt x="57" y="103"/>
                  </a:cubicBezTo>
                  <a:cubicBezTo>
                    <a:pt x="57" y="105"/>
                    <a:pt x="57" y="107"/>
                    <a:pt x="57" y="108"/>
                  </a:cubicBezTo>
                  <a:cubicBezTo>
                    <a:pt x="57" y="110"/>
                    <a:pt x="56" y="111"/>
                    <a:pt x="56" y="113"/>
                  </a:cubicBezTo>
                  <a:cubicBezTo>
                    <a:pt x="55" y="117"/>
                    <a:pt x="55" y="120"/>
                    <a:pt x="55" y="124"/>
                  </a:cubicBezTo>
                  <a:cubicBezTo>
                    <a:pt x="55" y="125"/>
                    <a:pt x="55" y="126"/>
                    <a:pt x="55" y="127"/>
                  </a:cubicBezTo>
                  <a:cubicBezTo>
                    <a:pt x="55" y="130"/>
                    <a:pt x="55" y="133"/>
                    <a:pt x="55" y="134"/>
                  </a:cubicBezTo>
                  <a:cubicBezTo>
                    <a:pt x="54" y="135"/>
                    <a:pt x="53" y="135"/>
                    <a:pt x="53" y="135"/>
                  </a:cubicBezTo>
                  <a:cubicBezTo>
                    <a:pt x="51" y="135"/>
                    <a:pt x="50" y="134"/>
                    <a:pt x="49" y="133"/>
                  </a:cubicBezTo>
                  <a:cubicBezTo>
                    <a:pt x="47" y="132"/>
                    <a:pt x="46" y="131"/>
                    <a:pt x="44" y="131"/>
                  </a:cubicBezTo>
                  <a:cubicBezTo>
                    <a:pt x="44" y="131"/>
                    <a:pt x="43" y="131"/>
                    <a:pt x="43" y="131"/>
                  </a:cubicBezTo>
                  <a:cubicBezTo>
                    <a:pt x="38" y="133"/>
                    <a:pt x="37" y="141"/>
                    <a:pt x="36" y="146"/>
                  </a:cubicBezTo>
                  <a:cubicBezTo>
                    <a:pt x="36" y="147"/>
                    <a:pt x="36" y="147"/>
                    <a:pt x="36" y="147"/>
                  </a:cubicBezTo>
                  <a:cubicBezTo>
                    <a:pt x="35" y="153"/>
                    <a:pt x="34" y="158"/>
                    <a:pt x="32" y="163"/>
                  </a:cubicBezTo>
                  <a:cubicBezTo>
                    <a:pt x="31" y="166"/>
                    <a:pt x="31" y="166"/>
                    <a:pt x="31" y="166"/>
                  </a:cubicBezTo>
                  <a:cubicBezTo>
                    <a:pt x="30" y="171"/>
                    <a:pt x="30" y="176"/>
                    <a:pt x="30" y="181"/>
                  </a:cubicBezTo>
                  <a:cubicBezTo>
                    <a:pt x="30" y="183"/>
                    <a:pt x="31" y="185"/>
                    <a:pt x="31" y="186"/>
                  </a:cubicBezTo>
                  <a:cubicBezTo>
                    <a:pt x="31" y="188"/>
                    <a:pt x="31" y="191"/>
                    <a:pt x="31" y="193"/>
                  </a:cubicBezTo>
                  <a:cubicBezTo>
                    <a:pt x="32" y="198"/>
                    <a:pt x="33" y="204"/>
                    <a:pt x="30" y="208"/>
                  </a:cubicBezTo>
                  <a:cubicBezTo>
                    <a:pt x="29" y="210"/>
                    <a:pt x="26" y="214"/>
                    <a:pt x="22" y="214"/>
                  </a:cubicBezTo>
                  <a:cubicBezTo>
                    <a:pt x="21" y="214"/>
                    <a:pt x="21" y="214"/>
                    <a:pt x="20" y="214"/>
                  </a:cubicBezTo>
                  <a:cubicBezTo>
                    <a:pt x="19" y="213"/>
                    <a:pt x="18" y="213"/>
                    <a:pt x="17" y="212"/>
                  </a:cubicBezTo>
                  <a:cubicBezTo>
                    <a:pt x="15" y="211"/>
                    <a:pt x="13" y="210"/>
                    <a:pt x="11" y="210"/>
                  </a:cubicBezTo>
                  <a:cubicBezTo>
                    <a:pt x="9" y="210"/>
                    <a:pt x="7" y="212"/>
                    <a:pt x="6" y="214"/>
                  </a:cubicBezTo>
                  <a:cubicBezTo>
                    <a:pt x="5" y="215"/>
                    <a:pt x="5" y="217"/>
                    <a:pt x="5" y="218"/>
                  </a:cubicBezTo>
                  <a:cubicBezTo>
                    <a:pt x="5" y="219"/>
                    <a:pt x="5" y="221"/>
                    <a:pt x="5" y="222"/>
                  </a:cubicBezTo>
                  <a:cubicBezTo>
                    <a:pt x="5" y="223"/>
                    <a:pt x="4" y="224"/>
                    <a:pt x="3" y="224"/>
                  </a:cubicBezTo>
                  <a:cubicBezTo>
                    <a:pt x="3" y="225"/>
                    <a:pt x="2" y="226"/>
                    <a:pt x="1" y="227"/>
                  </a:cubicBezTo>
                  <a:cubicBezTo>
                    <a:pt x="0" y="232"/>
                    <a:pt x="6" y="235"/>
                    <a:pt x="10" y="236"/>
                  </a:cubicBezTo>
                  <a:cubicBezTo>
                    <a:pt x="11" y="237"/>
                    <a:pt x="12" y="237"/>
                    <a:pt x="12" y="237"/>
                  </a:cubicBezTo>
                  <a:cubicBezTo>
                    <a:pt x="13" y="237"/>
                    <a:pt x="14" y="237"/>
                    <a:pt x="15" y="236"/>
                  </a:cubicBezTo>
                  <a:cubicBezTo>
                    <a:pt x="15" y="236"/>
                    <a:pt x="16" y="236"/>
                    <a:pt x="17" y="236"/>
                  </a:cubicBezTo>
                  <a:cubicBezTo>
                    <a:pt x="18" y="236"/>
                    <a:pt x="18" y="236"/>
                    <a:pt x="19" y="236"/>
                  </a:cubicBezTo>
                  <a:cubicBezTo>
                    <a:pt x="20" y="237"/>
                    <a:pt x="22" y="238"/>
                    <a:pt x="23" y="240"/>
                  </a:cubicBezTo>
                  <a:cubicBezTo>
                    <a:pt x="24" y="241"/>
                    <a:pt x="24" y="241"/>
                    <a:pt x="24" y="241"/>
                  </a:cubicBezTo>
                  <a:cubicBezTo>
                    <a:pt x="27" y="243"/>
                    <a:pt x="30" y="247"/>
                    <a:pt x="32" y="251"/>
                  </a:cubicBezTo>
                  <a:cubicBezTo>
                    <a:pt x="34" y="255"/>
                    <a:pt x="37" y="258"/>
                    <a:pt x="40" y="261"/>
                  </a:cubicBezTo>
                  <a:cubicBezTo>
                    <a:pt x="40" y="261"/>
                    <a:pt x="41" y="262"/>
                    <a:pt x="41" y="262"/>
                  </a:cubicBezTo>
                  <a:cubicBezTo>
                    <a:pt x="42" y="263"/>
                    <a:pt x="43" y="264"/>
                    <a:pt x="44" y="265"/>
                  </a:cubicBezTo>
                  <a:cubicBezTo>
                    <a:pt x="45" y="267"/>
                    <a:pt x="45" y="267"/>
                    <a:pt x="45" y="267"/>
                  </a:cubicBezTo>
                  <a:cubicBezTo>
                    <a:pt x="46" y="269"/>
                    <a:pt x="47" y="269"/>
                    <a:pt x="49" y="270"/>
                  </a:cubicBezTo>
                  <a:cubicBezTo>
                    <a:pt x="53" y="273"/>
                    <a:pt x="54" y="276"/>
                    <a:pt x="56" y="280"/>
                  </a:cubicBezTo>
                  <a:cubicBezTo>
                    <a:pt x="56" y="281"/>
                    <a:pt x="56" y="281"/>
                    <a:pt x="56" y="281"/>
                  </a:cubicBezTo>
                  <a:cubicBezTo>
                    <a:pt x="58" y="287"/>
                    <a:pt x="60" y="293"/>
                    <a:pt x="62" y="298"/>
                  </a:cubicBezTo>
                  <a:cubicBezTo>
                    <a:pt x="62" y="299"/>
                    <a:pt x="63" y="301"/>
                    <a:pt x="63" y="302"/>
                  </a:cubicBezTo>
                  <a:cubicBezTo>
                    <a:pt x="63" y="303"/>
                    <a:pt x="64" y="305"/>
                    <a:pt x="65" y="306"/>
                  </a:cubicBezTo>
                  <a:cubicBezTo>
                    <a:pt x="65" y="308"/>
                    <a:pt x="66" y="308"/>
                    <a:pt x="67" y="309"/>
                  </a:cubicBezTo>
                  <a:cubicBezTo>
                    <a:pt x="68" y="310"/>
                    <a:pt x="69" y="311"/>
                    <a:pt x="69" y="312"/>
                  </a:cubicBezTo>
                  <a:cubicBezTo>
                    <a:pt x="70" y="313"/>
                    <a:pt x="70" y="313"/>
                    <a:pt x="70" y="313"/>
                  </a:cubicBezTo>
                  <a:cubicBezTo>
                    <a:pt x="70" y="313"/>
                    <a:pt x="70" y="313"/>
                    <a:pt x="70" y="313"/>
                  </a:cubicBezTo>
                  <a:cubicBezTo>
                    <a:pt x="71" y="313"/>
                    <a:pt x="71" y="313"/>
                    <a:pt x="72" y="313"/>
                  </a:cubicBezTo>
                  <a:cubicBezTo>
                    <a:pt x="73" y="313"/>
                    <a:pt x="73" y="313"/>
                    <a:pt x="74" y="313"/>
                  </a:cubicBezTo>
                  <a:cubicBezTo>
                    <a:pt x="75" y="313"/>
                    <a:pt x="76" y="313"/>
                    <a:pt x="76" y="313"/>
                  </a:cubicBezTo>
                  <a:cubicBezTo>
                    <a:pt x="77" y="313"/>
                    <a:pt x="78" y="313"/>
                    <a:pt x="79" y="313"/>
                  </a:cubicBezTo>
                  <a:cubicBezTo>
                    <a:pt x="83" y="315"/>
                    <a:pt x="83" y="318"/>
                    <a:pt x="83" y="323"/>
                  </a:cubicBezTo>
                  <a:cubicBezTo>
                    <a:pt x="83" y="324"/>
                    <a:pt x="83" y="325"/>
                    <a:pt x="83" y="326"/>
                  </a:cubicBezTo>
                  <a:cubicBezTo>
                    <a:pt x="82" y="329"/>
                    <a:pt x="82" y="332"/>
                    <a:pt x="83" y="335"/>
                  </a:cubicBezTo>
                  <a:cubicBezTo>
                    <a:pt x="84" y="337"/>
                    <a:pt x="85" y="339"/>
                    <a:pt x="87" y="340"/>
                  </a:cubicBezTo>
                  <a:cubicBezTo>
                    <a:pt x="87" y="341"/>
                    <a:pt x="88" y="342"/>
                    <a:pt x="89" y="343"/>
                  </a:cubicBezTo>
                  <a:cubicBezTo>
                    <a:pt x="89" y="344"/>
                    <a:pt x="89" y="344"/>
                    <a:pt x="89" y="344"/>
                  </a:cubicBezTo>
                  <a:cubicBezTo>
                    <a:pt x="118" y="344"/>
                    <a:pt x="118" y="344"/>
                    <a:pt x="118" y="344"/>
                  </a:cubicBezTo>
                  <a:cubicBezTo>
                    <a:pt x="153" y="371"/>
                    <a:pt x="153" y="371"/>
                    <a:pt x="153" y="371"/>
                  </a:cubicBezTo>
                  <a:cubicBezTo>
                    <a:pt x="193" y="377"/>
                    <a:pt x="193" y="377"/>
                    <a:pt x="193" y="377"/>
                  </a:cubicBezTo>
                  <a:cubicBezTo>
                    <a:pt x="205" y="359"/>
                    <a:pt x="205" y="359"/>
                    <a:pt x="205" y="359"/>
                  </a:cubicBezTo>
                  <a:cubicBezTo>
                    <a:pt x="229" y="349"/>
                    <a:pt x="229" y="349"/>
                    <a:pt x="229" y="349"/>
                  </a:cubicBezTo>
                  <a:cubicBezTo>
                    <a:pt x="241" y="359"/>
                    <a:pt x="241" y="359"/>
                    <a:pt x="241" y="359"/>
                  </a:cubicBezTo>
                  <a:cubicBezTo>
                    <a:pt x="242" y="359"/>
                    <a:pt x="242" y="359"/>
                    <a:pt x="242" y="359"/>
                  </a:cubicBezTo>
                  <a:cubicBezTo>
                    <a:pt x="243" y="359"/>
                    <a:pt x="245" y="359"/>
                    <a:pt x="246" y="359"/>
                  </a:cubicBezTo>
                  <a:cubicBezTo>
                    <a:pt x="248" y="359"/>
                    <a:pt x="250" y="359"/>
                    <a:pt x="252" y="359"/>
                  </a:cubicBezTo>
                  <a:cubicBezTo>
                    <a:pt x="253" y="359"/>
                    <a:pt x="255" y="359"/>
                    <a:pt x="257" y="359"/>
                  </a:cubicBezTo>
                  <a:cubicBezTo>
                    <a:pt x="260" y="359"/>
                    <a:pt x="262" y="357"/>
                    <a:pt x="264" y="356"/>
                  </a:cubicBezTo>
                  <a:cubicBezTo>
                    <a:pt x="266" y="354"/>
                    <a:pt x="268" y="353"/>
                    <a:pt x="270" y="353"/>
                  </a:cubicBezTo>
                  <a:cubicBezTo>
                    <a:pt x="272" y="352"/>
                    <a:pt x="274" y="352"/>
                    <a:pt x="277" y="352"/>
                  </a:cubicBezTo>
                  <a:cubicBezTo>
                    <a:pt x="280" y="351"/>
                    <a:pt x="284" y="351"/>
                    <a:pt x="287" y="349"/>
                  </a:cubicBezTo>
                  <a:cubicBezTo>
                    <a:pt x="289" y="348"/>
                    <a:pt x="291" y="346"/>
                    <a:pt x="292" y="344"/>
                  </a:cubicBezTo>
                  <a:cubicBezTo>
                    <a:pt x="293" y="342"/>
                    <a:pt x="293" y="341"/>
                    <a:pt x="295" y="340"/>
                  </a:cubicBezTo>
                  <a:cubicBezTo>
                    <a:pt x="297" y="337"/>
                    <a:pt x="302" y="335"/>
                    <a:pt x="306" y="333"/>
                  </a:cubicBezTo>
                  <a:cubicBezTo>
                    <a:pt x="306" y="333"/>
                    <a:pt x="307" y="332"/>
                    <a:pt x="308" y="332"/>
                  </a:cubicBezTo>
                  <a:cubicBezTo>
                    <a:pt x="312" y="330"/>
                    <a:pt x="316" y="328"/>
                    <a:pt x="319" y="328"/>
                  </a:cubicBezTo>
                  <a:cubicBezTo>
                    <a:pt x="319" y="328"/>
                    <a:pt x="320" y="328"/>
                    <a:pt x="320" y="328"/>
                  </a:cubicBezTo>
                  <a:cubicBezTo>
                    <a:pt x="320" y="328"/>
                    <a:pt x="320" y="328"/>
                    <a:pt x="320" y="328"/>
                  </a:cubicBezTo>
                  <a:cubicBezTo>
                    <a:pt x="352" y="328"/>
                    <a:pt x="352" y="328"/>
                    <a:pt x="352" y="328"/>
                  </a:cubicBezTo>
                  <a:cubicBezTo>
                    <a:pt x="438" y="225"/>
                    <a:pt x="438" y="225"/>
                    <a:pt x="438" y="225"/>
                  </a:cubicBezTo>
                  <a:lnTo>
                    <a:pt x="410" y="226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9" name="Freeform 49"/>
            <p:cNvSpPr>
              <a:spLocks/>
            </p:cNvSpPr>
            <p:nvPr/>
          </p:nvSpPr>
          <p:spPr bwMode="auto">
            <a:xfrm>
              <a:off x="3710876" y="2583327"/>
              <a:ext cx="641713" cy="661614"/>
            </a:xfrm>
            <a:custGeom>
              <a:avLst/>
              <a:gdLst>
                <a:gd name="T0" fmla="*/ 291 w 317"/>
                <a:gd name="T1" fmla="*/ 275 h 355"/>
                <a:gd name="T2" fmla="*/ 285 w 317"/>
                <a:gd name="T3" fmla="*/ 252 h 355"/>
                <a:gd name="T4" fmla="*/ 287 w 317"/>
                <a:gd name="T5" fmla="*/ 232 h 355"/>
                <a:gd name="T6" fmla="*/ 282 w 317"/>
                <a:gd name="T7" fmla="*/ 219 h 355"/>
                <a:gd name="T8" fmla="*/ 282 w 317"/>
                <a:gd name="T9" fmla="*/ 189 h 355"/>
                <a:gd name="T10" fmla="*/ 270 w 317"/>
                <a:gd name="T11" fmla="*/ 176 h 355"/>
                <a:gd name="T12" fmla="*/ 275 w 317"/>
                <a:gd name="T13" fmla="*/ 147 h 355"/>
                <a:gd name="T14" fmla="*/ 280 w 317"/>
                <a:gd name="T15" fmla="*/ 130 h 355"/>
                <a:gd name="T16" fmla="*/ 240 w 317"/>
                <a:gd name="T17" fmla="*/ 92 h 355"/>
                <a:gd name="T18" fmla="*/ 235 w 317"/>
                <a:gd name="T19" fmla="*/ 79 h 355"/>
                <a:gd name="T20" fmla="*/ 181 w 317"/>
                <a:gd name="T21" fmla="*/ 34 h 355"/>
                <a:gd name="T22" fmla="*/ 127 w 317"/>
                <a:gd name="T23" fmla="*/ 1 h 355"/>
                <a:gd name="T24" fmla="*/ 122 w 317"/>
                <a:gd name="T25" fmla="*/ 12 h 355"/>
                <a:gd name="T26" fmla="*/ 116 w 317"/>
                <a:gd name="T27" fmla="*/ 21 h 355"/>
                <a:gd name="T28" fmla="*/ 113 w 317"/>
                <a:gd name="T29" fmla="*/ 25 h 355"/>
                <a:gd name="T30" fmla="*/ 109 w 317"/>
                <a:gd name="T31" fmla="*/ 32 h 355"/>
                <a:gd name="T32" fmla="*/ 114 w 317"/>
                <a:gd name="T33" fmla="*/ 42 h 355"/>
                <a:gd name="T34" fmla="*/ 114 w 317"/>
                <a:gd name="T35" fmla="*/ 46 h 355"/>
                <a:gd name="T36" fmla="*/ 107 w 317"/>
                <a:gd name="T37" fmla="*/ 49 h 355"/>
                <a:gd name="T38" fmla="*/ 93 w 317"/>
                <a:gd name="T39" fmla="*/ 49 h 355"/>
                <a:gd name="T40" fmla="*/ 85 w 317"/>
                <a:gd name="T41" fmla="*/ 47 h 355"/>
                <a:gd name="T42" fmla="*/ 73 w 317"/>
                <a:gd name="T43" fmla="*/ 46 h 355"/>
                <a:gd name="T44" fmla="*/ 67 w 317"/>
                <a:gd name="T45" fmla="*/ 51 h 355"/>
                <a:gd name="T46" fmla="*/ 62 w 317"/>
                <a:gd name="T47" fmla="*/ 43 h 355"/>
                <a:gd name="T48" fmla="*/ 62 w 317"/>
                <a:gd name="T49" fmla="*/ 33 h 355"/>
                <a:gd name="T50" fmla="*/ 66 w 317"/>
                <a:gd name="T51" fmla="*/ 18 h 355"/>
                <a:gd name="T52" fmla="*/ 66 w 317"/>
                <a:gd name="T53" fmla="*/ 1 h 355"/>
                <a:gd name="T54" fmla="*/ 52 w 317"/>
                <a:gd name="T55" fmla="*/ 0 h 355"/>
                <a:gd name="T56" fmla="*/ 32 w 317"/>
                <a:gd name="T57" fmla="*/ 3 h 355"/>
                <a:gd name="T58" fmla="*/ 27 w 317"/>
                <a:gd name="T59" fmla="*/ 7 h 355"/>
                <a:gd name="T60" fmla="*/ 37 w 317"/>
                <a:gd name="T61" fmla="*/ 27 h 355"/>
                <a:gd name="T62" fmla="*/ 29 w 317"/>
                <a:gd name="T63" fmla="*/ 46 h 355"/>
                <a:gd name="T64" fmla="*/ 28 w 317"/>
                <a:gd name="T65" fmla="*/ 47 h 355"/>
                <a:gd name="T66" fmla="*/ 30 w 317"/>
                <a:gd name="T67" fmla="*/ 65 h 355"/>
                <a:gd name="T68" fmla="*/ 26 w 317"/>
                <a:gd name="T69" fmla="*/ 85 h 355"/>
                <a:gd name="T70" fmla="*/ 13 w 317"/>
                <a:gd name="T71" fmla="*/ 109 h 355"/>
                <a:gd name="T72" fmla="*/ 7 w 317"/>
                <a:gd name="T73" fmla="*/ 114 h 355"/>
                <a:gd name="T74" fmla="*/ 2 w 317"/>
                <a:gd name="T75" fmla="*/ 132 h 355"/>
                <a:gd name="T76" fmla="*/ 3 w 317"/>
                <a:gd name="T77" fmla="*/ 165 h 355"/>
                <a:gd name="T78" fmla="*/ 27 w 317"/>
                <a:gd name="T79" fmla="*/ 208 h 355"/>
                <a:gd name="T80" fmla="*/ 33 w 317"/>
                <a:gd name="T81" fmla="*/ 228 h 355"/>
                <a:gd name="T82" fmla="*/ 53 w 317"/>
                <a:gd name="T83" fmla="*/ 254 h 355"/>
                <a:gd name="T84" fmla="*/ 69 w 317"/>
                <a:gd name="T85" fmla="*/ 265 h 355"/>
                <a:gd name="T86" fmla="*/ 73 w 317"/>
                <a:gd name="T87" fmla="*/ 268 h 355"/>
                <a:gd name="T88" fmla="*/ 86 w 317"/>
                <a:gd name="T89" fmla="*/ 273 h 355"/>
                <a:gd name="T90" fmla="*/ 100 w 317"/>
                <a:gd name="T91" fmla="*/ 282 h 355"/>
                <a:gd name="T92" fmla="*/ 116 w 317"/>
                <a:gd name="T93" fmla="*/ 284 h 355"/>
                <a:gd name="T94" fmla="*/ 129 w 317"/>
                <a:gd name="T95" fmla="*/ 283 h 355"/>
                <a:gd name="T96" fmla="*/ 143 w 317"/>
                <a:gd name="T97" fmla="*/ 327 h 355"/>
                <a:gd name="T98" fmla="*/ 151 w 317"/>
                <a:gd name="T99" fmla="*/ 351 h 355"/>
                <a:gd name="T100" fmla="*/ 165 w 317"/>
                <a:gd name="T101" fmla="*/ 351 h 355"/>
                <a:gd name="T102" fmla="*/ 187 w 317"/>
                <a:gd name="T103" fmla="*/ 351 h 355"/>
                <a:gd name="T104" fmla="*/ 199 w 317"/>
                <a:gd name="T105" fmla="*/ 354 h 355"/>
                <a:gd name="T106" fmla="*/ 211 w 317"/>
                <a:gd name="T107" fmla="*/ 351 h 355"/>
                <a:gd name="T108" fmla="*/ 236 w 317"/>
                <a:gd name="T109" fmla="*/ 347 h 355"/>
                <a:gd name="T110" fmla="*/ 255 w 317"/>
                <a:gd name="T111" fmla="*/ 345 h 355"/>
                <a:gd name="T112" fmla="*/ 275 w 317"/>
                <a:gd name="T113" fmla="*/ 337 h 355"/>
                <a:gd name="T114" fmla="*/ 297 w 317"/>
                <a:gd name="T115" fmla="*/ 326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17" h="355">
                  <a:moveTo>
                    <a:pt x="315" y="311"/>
                  </a:moveTo>
                  <a:cubicBezTo>
                    <a:pt x="314" y="308"/>
                    <a:pt x="312" y="306"/>
                    <a:pt x="308" y="305"/>
                  </a:cubicBezTo>
                  <a:cubicBezTo>
                    <a:pt x="305" y="304"/>
                    <a:pt x="303" y="303"/>
                    <a:pt x="300" y="301"/>
                  </a:cubicBezTo>
                  <a:cubicBezTo>
                    <a:pt x="297" y="298"/>
                    <a:pt x="296" y="294"/>
                    <a:pt x="294" y="289"/>
                  </a:cubicBezTo>
                  <a:cubicBezTo>
                    <a:pt x="293" y="285"/>
                    <a:pt x="292" y="280"/>
                    <a:pt x="291" y="275"/>
                  </a:cubicBezTo>
                  <a:cubicBezTo>
                    <a:pt x="291" y="272"/>
                    <a:pt x="290" y="269"/>
                    <a:pt x="289" y="267"/>
                  </a:cubicBezTo>
                  <a:cubicBezTo>
                    <a:pt x="289" y="265"/>
                    <a:pt x="288" y="264"/>
                    <a:pt x="288" y="262"/>
                  </a:cubicBezTo>
                  <a:cubicBezTo>
                    <a:pt x="287" y="260"/>
                    <a:pt x="286" y="258"/>
                    <a:pt x="286" y="256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5" y="254"/>
                    <a:pt x="285" y="253"/>
                    <a:pt x="285" y="252"/>
                  </a:cubicBezTo>
                  <a:cubicBezTo>
                    <a:pt x="284" y="251"/>
                    <a:pt x="284" y="250"/>
                    <a:pt x="283" y="250"/>
                  </a:cubicBezTo>
                  <a:cubicBezTo>
                    <a:pt x="283" y="250"/>
                    <a:pt x="283" y="249"/>
                    <a:pt x="283" y="249"/>
                  </a:cubicBezTo>
                  <a:cubicBezTo>
                    <a:pt x="282" y="248"/>
                    <a:pt x="282" y="245"/>
                    <a:pt x="283" y="244"/>
                  </a:cubicBezTo>
                  <a:cubicBezTo>
                    <a:pt x="283" y="242"/>
                    <a:pt x="284" y="241"/>
                    <a:pt x="285" y="239"/>
                  </a:cubicBezTo>
                  <a:cubicBezTo>
                    <a:pt x="286" y="237"/>
                    <a:pt x="287" y="235"/>
                    <a:pt x="287" y="232"/>
                  </a:cubicBezTo>
                  <a:cubicBezTo>
                    <a:pt x="287" y="229"/>
                    <a:pt x="287" y="226"/>
                    <a:pt x="286" y="225"/>
                  </a:cubicBezTo>
                  <a:cubicBezTo>
                    <a:pt x="285" y="224"/>
                    <a:pt x="284" y="223"/>
                    <a:pt x="284" y="222"/>
                  </a:cubicBezTo>
                  <a:cubicBezTo>
                    <a:pt x="283" y="222"/>
                    <a:pt x="283" y="222"/>
                    <a:pt x="283" y="222"/>
                  </a:cubicBezTo>
                  <a:cubicBezTo>
                    <a:pt x="282" y="221"/>
                    <a:pt x="282" y="221"/>
                    <a:pt x="282" y="220"/>
                  </a:cubicBezTo>
                  <a:cubicBezTo>
                    <a:pt x="282" y="220"/>
                    <a:pt x="282" y="220"/>
                    <a:pt x="282" y="219"/>
                  </a:cubicBezTo>
                  <a:cubicBezTo>
                    <a:pt x="282" y="216"/>
                    <a:pt x="283" y="213"/>
                    <a:pt x="285" y="210"/>
                  </a:cubicBezTo>
                  <a:cubicBezTo>
                    <a:pt x="285" y="210"/>
                    <a:pt x="286" y="209"/>
                    <a:pt x="286" y="209"/>
                  </a:cubicBezTo>
                  <a:cubicBezTo>
                    <a:pt x="288" y="206"/>
                    <a:pt x="290" y="203"/>
                    <a:pt x="290" y="200"/>
                  </a:cubicBezTo>
                  <a:cubicBezTo>
                    <a:pt x="290" y="196"/>
                    <a:pt x="287" y="193"/>
                    <a:pt x="285" y="191"/>
                  </a:cubicBezTo>
                  <a:cubicBezTo>
                    <a:pt x="284" y="190"/>
                    <a:pt x="283" y="189"/>
                    <a:pt x="282" y="189"/>
                  </a:cubicBezTo>
                  <a:cubicBezTo>
                    <a:pt x="282" y="188"/>
                    <a:pt x="281" y="187"/>
                    <a:pt x="281" y="186"/>
                  </a:cubicBezTo>
                  <a:cubicBezTo>
                    <a:pt x="280" y="185"/>
                    <a:pt x="279" y="184"/>
                    <a:pt x="278" y="183"/>
                  </a:cubicBezTo>
                  <a:cubicBezTo>
                    <a:pt x="277" y="181"/>
                    <a:pt x="275" y="181"/>
                    <a:pt x="274" y="181"/>
                  </a:cubicBezTo>
                  <a:cubicBezTo>
                    <a:pt x="273" y="180"/>
                    <a:pt x="273" y="180"/>
                    <a:pt x="272" y="180"/>
                  </a:cubicBezTo>
                  <a:cubicBezTo>
                    <a:pt x="271" y="180"/>
                    <a:pt x="271" y="178"/>
                    <a:pt x="270" y="176"/>
                  </a:cubicBezTo>
                  <a:cubicBezTo>
                    <a:pt x="270" y="176"/>
                    <a:pt x="270" y="175"/>
                    <a:pt x="270" y="174"/>
                  </a:cubicBezTo>
                  <a:cubicBezTo>
                    <a:pt x="270" y="172"/>
                    <a:pt x="270" y="171"/>
                    <a:pt x="270" y="169"/>
                  </a:cubicBezTo>
                  <a:cubicBezTo>
                    <a:pt x="269" y="167"/>
                    <a:pt x="269" y="166"/>
                    <a:pt x="269" y="164"/>
                  </a:cubicBezTo>
                  <a:cubicBezTo>
                    <a:pt x="269" y="161"/>
                    <a:pt x="270" y="158"/>
                    <a:pt x="272" y="155"/>
                  </a:cubicBezTo>
                  <a:cubicBezTo>
                    <a:pt x="274" y="153"/>
                    <a:pt x="274" y="150"/>
                    <a:pt x="275" y="147"/>
                  </a:cubicBezTo>
                  <a:cubicBezTo>
                    <a:pt x="276" y="145"/>
                    <a:pt x="276" y="145"/>
                    <a:pt x="276" y="145"/>
                  </a:cubicBezTo>
                  <a:cubicBezTo>
                    <a:pt x="276" y="143"/>
                    <a:pt x="277" y="141"/>
                    <a:pt x="277" y="140"/>
                  </a:cubicBezTo>
                  <a:cubicBezTo>
                    <a:pt x="278" y="138"/>
                    <a:pt x="278" y="137"/>
                    <a:pt x="279" y="135"/>
                  </a:cubicBezTo>
                  <a:cubicBezTo>
                    <a:pt x="279" y="134"/>
                    <a:pt x="279" y="134"/>
                    <a:pt x="279" y="134"/>
                  </a:cubicBezTo>
                  <a:cubicBezTo>
                    <a:pt x="280" y="133"/>
                    <a:pt x="280" y="132"/>
                    <a:pt x="280" y="130"/>
                  </a:cubicBezTo>
                  <a:cubicBezTo>
                    <a:pt x="281" y="129"/>
                    <a:pt x="281" y="128"/>
                    <a:pt x="281" y="127"/>
                  </a:cubicBezTo>
                  <a:cubicBezTo>
                    <a:pt x="282" y="125"/>
                    <a:pt x="282" y="125"/>
                    <a:pt x="282" y="125"/>
                  </a:cubicBezTo>
                  <a:cubicBezTo>
                    <a:pt x="244" y="94"/>
                    <a:pt x="244" y="94"/>
                    <a:pt x="244" y="94"/>
                  </a:cubicBezTo>
                  <a:cubicBezTo>
                    <a:pt x="244" y="94"/>
                    <a:pt x="243" y="94"/>
                    <a:pt x="243" y="94"/>
                  </a:cubicBezTo>
                  <a:cubicBezTo>
                    <a:pt x="242" y="93"/>
                    <a:pt x="241" y="93"/>
                    <a:pt x="240" y="92"/>
                  </a:cubicBezTo>
                  <a:cubicBezTo>
                    <a:pt x="240" y="91"/>
                    <a:pt x="240" y="90"/>
                    <a:pt x="240" y="89"/>
                  </a:cubicBezTo>
                  <a:cubicBezTo>
                    <a:pt x="240" y="89"/>
                    <a:pt x="240" y="88"/>
                    <a:pt x="239" y="87"/>
                  </a:cubicBezTo>
                  <a:cubicBezTo>
                    <a:pt x="239" y="86"/>
                    <a:pt x="238" y="86"/>
                    <a:pt x="236" y="85"/>
                  </a:cubicBezTo>
                  <a:cubicBezTo>
                    <a:pt x="235" y="85"/>
                    <a:pt x="234" y="84"/>
                    <a:pt x="234" y="83"/>
                  </a:cubicBezTo>
                  <a:cubicBezTo>
                    <a:pt x="233" y="82"/>
                    <a:pt x="234" y="80"/>
                    <a:pt x="235" y="79"/>
                  </a:cubicBezTo>
                  <a:cubicBezTo>
                    <a:pt x="235" y="77"/>
                    <a:pt x="236" y="76"/>
                    <a:pt x="236" y="75"/>
                  </a:cubicBezTo>
                  <a:cubicBezTo>
                    <a:pt x="236" y="72"/>
                    <a:pt x="234" y="69"/>
                    <a:pt x="232" y="66"/>
                  </a:cubicBezTo>
                  <a:cubicBezTo>
                    <a:pt x="230" y="63"/>
                    <a:pt x="226" y="61"/>
                    <a:pt x="223" y="59"/>
                  </a:cubicBezTo>
                  <a:cubicBezTo>
                    <a:pt x="221" y="59"/>
                    <a:pt x="220" y="58"/>
                    <a:pt x="218" y="57"/>
                  </a:cubicBezTo>
                  <a:cubicBezTo>
                    <a:pt x="206" y="49"/>
                    <a:pt x="193" y="41"/>
                    <a:pt x="181" y="34"/>
                  </a:cubicBezTo>
                  <a:cubicBezTo>
                    <a:pt x="181" y="34"/>
                    <a:pt x="181" y="34"/>
                    <a:pt x="181" y="34"/>
                  </a:cubicBezTo>
                  <a:cubicBezTo>
                    <a:pt x="174" y="29"/>
                    <a:pt x="167" y="25"/>
                    <a:pt x="160" y="21"/>
                  </a:cubicBezTo>
                  <a:cubicBezTo>
                    <a:pt x="156" y="18"/>
                    <a:pt x="151" y="16"/>
                    <a:pt x="147" y="13"/>
                  </a:cubicBezTo>
                  <a:cubicBezTo>
                    <a:pt x="141" y="9"/>
                    <a:pt x="135" y="6"/>
                    <a:pt x="129" y="2"/>
                  </a:cubicBezTo>
                  <a:cubicBezTo>
                    <a:pt x="127" y="1"/>
                    <a:pt x="127" y="1"/>
                    <a:pt x="127" y="1"/>
                  </a:cubicBezTo>
                  <a:cubicBezTo>
                    <a:pt x="126" y="3"/>
                    <a:pt x="126" y="3"/>
                    <a:pt x="126" y="3"/>
                  </a:cubicBezTo>
                  <a:cubicBezTo>
                    <a:pt x="126" y="3"/>
                    <a:pt x="126" y="3"/>
                    <a:pt x="126" y="3"/>
                  </a:cubicBezTo>
                  <a:cubicBezTo>
                    <a:pt x="125" y="5"/>
                    <a:pt x="125" y="6"/>
                    <a:pt x="124" y="7"/>
                  </a:cubicBezTo>
                  <a:cubicBezTo>
                    <a:pt x="124" y="7"/>
                    <a:pt x="124" y="8"/>
                    <a:pt x="124" y="8"/>
                  </a:cubicBezTo>
                  <a:cubicBezTo>
                    <a:pt x="122" y="9"/>
                    <a:pt x="122" y="11"/>
                    <a:pt x="122" y="12"/>
                  </a:cubicBezTo>
                  <a:cubicBezTo>
                    <a:pt x="122" y="13"/>
                    <a:pt x="121" y="14"/>
                    <a:pt x="121" y="14"/>
                  </a:cubicBezTo>
                  <a:cubicBezTo>
                    <a:pt x="121" y="15"/>
                    <a:pt x="120" y="15"/>
                    <a:pt x="120" y="15"/>
                  </a:cubicBezTo>
                  <a:cubicBezTo>
                    <a:pt x="119" y="15"/>
                    <a:pt x="117" y="16"/>
                    <a:pt x="116" y="18"/>
                  </a:cubicBezTo>
                  <a:cubicBezTo>
                    <a:pt x="115" y="19"/>
                    <a:pt x="116" y="20"/>
                    <a:pt x="116" y="21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5" y="22"/>
                    <a:pt x="115" y="22"/>
                    <a:pt x="115" y="23"/>
                  </a:cubicBezTo>
                  <a:cubicBezTo>
                    <a:pt x="115" y="23"/>
                    <a:pt x="114" y="23"/>
                    <a:pt x="114" y="23"/>
                  </a:cubicBezTo>
                  <a:cubicBezTo>
                    <a:pt x="114" y="24"/>
                    <a:pt x="113" y="24"/>
                    <a:pt x="113" y="25"/>
                  </a:cubicBezTo>
                  <a:cubicBezTo>
                    <a:pt x="113" y="25"/>
                    <a:pt x="113" y="26"/>
                    <a:pt x="113" y="27"/>
                  </a:cubicBezTo>
                  <a:cubicBezTo>
                    <a:pt x="112" y="27"/>
                    <a:pt x="111" y="27"/>
                    <a:pt x="110" y="28"/>
                  </a:cubicBezTo>
                  <a:cubicBezTo>
                    <a:pt x="110" y="29"/>
                    <a:pt x="110" y="30"/>
                    <a:pt x="110" y="31"/>
                  </a:cubicBezTo>
                  <a:cubicBezTo>
                    <a:pt x="109" y="31"/>
                    <a:pt x="109" y="32"/>
                    <a:pt x="109" y="32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32"/>
                    <a:pt x="109" y="32"/>
                    <a:pt x="108" y="32"/>
                  </a:cubicBezTo>
                  <a:cubicBezTo>
                    <a:pt x="107" y="32"/>
                    <a:pt x="107" y="32"/>
                    <a:pt x="106" y="32"/>
                  </a:cubicBezTo>
                  <a:cubicBezTo>
                    <a:pt x="104" y="34"/>
                    <a:pt x="104" y="36"/>
                    <a:pt x="104" y="37"/>
                  </a:cubicBezTo>
                  <a:cubicBezTo>
                    <a:pt x="105" y="40"/>
                    <a:pt x="110" y="41"/>
                    <a:pt x="113" y="42"/>
                  </a:cubicBezTo>
                  <a:cubicBezTo>
                    <a:pt x="113" y="42"/>
                    <a:pt x="114" y="42"/>
                    <a:pt x="114" y="42"/>
                  </a:cubicBezTo>
                  <a:cubicBezTo>
                    <a:pt x="116" y="42"/>
                    <a:pt x="117" y="42"/>
                    <a:pt x="119" y="41"/>
                  </a:cubicBezTo>
                  <a:cubicBezTo>
                    <a:pt x="120" y="41"/>
                    <a:pt x="120" y="41"/>
                    <a:pt x="121" y="40"/>
                  </a:cubicBezTo>
                  <a:cubicBezTo>
                    <a:pt x="121" y="42"/>
                    <a:pt x="120" y="43"/>
                    <a:pt x="117" y="45"/>
                  </a:cubicBezTo>
                  <a:cubicBezTo>
                    <a:pt x="117" y="45"/>
                    <a:pt x="116" y="45"/>
                    <a:pt x="116" y="45"/>
                  </a:cubicBezTo>
                  <a:cubicBezTo>
                    <a:pt x="115" y="46"/>
                    <a:pt x="114" y="46"/>
                    <a:pt x="114" y="46"/>
                  </a:cubicBezTo>
                  <a:cubicBezTo>
                    <a:pt x="113" y="47"/>
                    <a:pt x="112" y="48"/>
                    <a:pt x="112" y="48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110" y="50"/>
                    <a:pt x="109" y="50"/>
                    <a:pt x="108" y="50"/>
                  </a:cubicBezTo>
                  <a:cubicBezTo>
                    <a:pt x="108" y="50"/>
                    <a:pt x="108" y="50"/>
                    <a:pt x="108" y="50"/>
                  </a:cubicBezTo>
                  <a:cubicBezTo>
                    <a:pt x="107" y="50"/>
                    <a:pt x="107" y="50"/>
                    <a:pt x="107" y="49"/>
                  </a:cubicBezTo>
                  <a:cubicBezTo>
                    <a:pt x="107" y="49"/>
                    <a:pt x="106" y="48"/>
                    <a:pt x="105" y="47"/>
                  </a:cubicBezTo>
                  <a:cubicBezTo>
                    <a:pt x="104" y="46"/>
                    <a:pt x="103" y="45"/>
                    <a:pt x="101" y="45"/>
                  </a:cubicBezTo>
                  <a:cubicBezTo>
                    <a:pt x="99" y="45"/>
                    <a:pt x="98" y="47"/>
                    <a:pt x="97" y="48"/>
                  </a:cubicBezTo>
                  <a:cubicBezTo>
                    <a:pt x="96" y="49"/>
                    <a:pt x="95" y="49"/>
                    <a:pt x="95" y="49"/>
                  </a:cubicBezTo>
                  <a:cubicBezTo>
                    <a:pt x="95" y="49"/>
                    <a:pt x="93" y="49"/>
                    <a:pt x="93" y="49"/>
                  </a:cubicBezTo>
                  <a:cubicBezTo>
                    <a:pt x="92" y="49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9" y="48"/>
                    <a:pt x="88" y="48"/>
                    <a:pt x="88" y="47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4" y="48"/>
                    <a:pt x="84" y="48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5"/>
                    <a:pt x="84" y="43"/>
                    <a:pt x="82" y="42"/>
                  </a:cubicBezTo>
                  <a:cubicBezTo>
                    <a:pt x="82" y="41"/>
                    <a:pt x="81" y="41"/>
                    <a:pt x="80" y="41"/>
                  </a:cubicBezTo>
                  <a:cubicBezTo>
                    <a:pt x="77" y="41"/>
                    <a:pt x="75" y="44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2" y="47"/>
                    <a:pt x="72" y="47"/>
                    <a:pt x="71" y="48"/>
                  </a:cubicBezTo>
                  <a:cubicBezTo>
                    <a:pt x="71" y="48"/>
                    <a:pt x="70" y="48"/>
                    <a:pt x="70" y="49"/>
                  </a:cubicBezTo>
                  <a:cubicBezTo>
                    <a:pt x="70" y="49"/>
                    <a:pt x="69" y="49"/>
                    <a:pt x="69" y="50"/>
                  </a:cubicBezTo>
                  <a:cubicBezTo>
                    <a:pt x="68" y="50"/>
                    <a:pt x="67" y="51"/>
                    <a:pt x="67" y="51"/>
                  </a:cubicBezTo>
                  <a:cubicBezTo>
                    <a:pt x="66" y="52"/>
                    <a:pt x="66" y="53"/>
                    <a:pt x="66" y="53"/>
                  </a:cubicBezTo>
                  <a:cubicBezTo>
                    <a:pt x="65" y="53"/>
                    <a:pt x="65" y="52"/>
                    <a:pt x="65" y="52"/>
                  </a:cubicBezTo>
                  <a:cubicBezTo>
                    <a:pt x="65" y="51"/>
                    <a:pt x="65" y="50"/>
                    <a:pt x="65" y="50"/>
                  </a:cubicBezTo>
                  <a:cubicBezTo>
                    <a:pt x="65" y="48"/>
                    <a:pt x="66" y="46"/>
                    <a:pt x="64" y="45"/>
                  </a:cubicBezTo>
                  <a:cubicBezTo>
                    <a:pt x="64" y="44"/>
                    <a:pt x="63" y="44"/>
                    <a:pt x="62" y="43"/>
                  </a:cubicBezTo>
                  <a:cubicBezTo>
                    <a:pt x="63" y="43"/>
                    <a:pt x="63" y="42"/>
                    <a:pt x="63" y="42"/>
                  </a:cubicBezTo>
                  <a:cubicBezTo>
                    <a:pt x="63" y="40"/>
                    <a:pt x="64" y="39"/>
                    <a:pt x="64" y="37"/>
                  </a:cubicBezTo>
                  <a:cubicBezTo>
                    <a:pt x="63" y="36"/>
                    <a:pt x="63" y="35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3"/>
                    <a:pt x="62" y="33"/>
                  </a:cubicBezTo>
                  <a:cubicBezTo>
                    <a:pt x="62" y="33"/>
                    <a:pt x="62" y="32"/>
                    <a:pt x="63" y="31"/>
                  </a:cubicBezTo>
                  <a:cubicBezTo>
                    <a:pt x="63" y="30"/>
                    <a:pt x="63" y="30"/>
                    <a:pt x="63" y="29"/>
                  </a:cubicBezTo>
                  <a:cubicBezTo>
                    <a:pt x="63" y="27"/>
                    <a:pt x="63" y="26"/>
                    <a:pt x="64" y="25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6" y="22"/>
                    <a:pt x="66" y="21"/>
                    <a:pt x="66" y="18"/>
                  </a:cubicBezTo>
                  <a:cubicBezTo>
                    <a:pt x="66" y="16"/>
                    <a:pt x="67" y="15"/>
                    <a:pt x="67" y="13"/>
                  </a:cubicBezTo>
                  <a:cubicBezTo>
                    <a:pt x="68" y="10"/>
                    <a:pt x="69" y="7"/>
                    <a:pt x="68" y="4"/>
                  </a:cubicBezTo>
                  <a:cubicBezTo>
                    <a:pt x="68" y="3"/>
                    <a:pt x="68" y="3"/>
                    <a:pt x="68" y="2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5" y="1"/>
                    <a:pt x="65" y="1"/>
                  </a:cubicBezTo>
                  <a:cubicBezTo>
                    <a:pt x="64" y="1"/>
                    <a:pt x="63" y="1"/>
                    <a:pt x="63" y="1"/>
                  </a:cubicBezTo>
                  <a:cubicBezTo>
                    <a:pt x="62" y="0"/>
                    <a:pt x="62" y="0"/>
                    <a:pt x="61" y="0"/>
                  </a:cubicBezTo>
                  <a:cubicBezTo>
                    <a:pt x="60" y="0"/>
                    <a:pt x="59" y="0"/>
                    <a:pt x="58" y="0"/>
                  </a:cubicBezTo>
                  <a:cubicBezTo>
                    <a:pt x="56" y="0"/>
                    <a:pt x="54" y="0"/>
                    <a:pt x="52" y="0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0" y="1"/>
                    <a:pt x="48" y="1"/>
                    <a:pt x="47" y="1"/>
                  </a:cubicBezTo>
                  <a:cubicBezTo>
                    <a:pt x="44" y="1"/>
                    <a:pt x="41" y="1"/>
                    <a:pt x="38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5" y="1"/>
                    <a:pt x="34" y="2"/>
                    <a:pt x="32" y="3"/>
                  </a:cubicBezTo>
                  <a:cubicBezTo>
                    <a:pt x="32" y="3"/>
                    <a:pt x="31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8" y="8"/>
                    <a:pt x="28" y="9"/>
                    <a:pt x="28" y="10"/>
                  </a:cubicBezTo>
                  <a:cubicBezTo>
                    <a:pt x="29" y="11"/>
                    <a:pt x="30" y="12"/>
                    <a:pt x="31" y="12"/>
                  </a:cubicBezTo>
                  <a:cubicBezTo>
                    <a:pt x="31" y="13"/>
                    <a:pt x="32" y="13"/>
                    <a:pt x="33" y="14"/>
                  </a:cubicBezTo>
                  <a:cubicBezTo>
                    <a:pt x="35" y="17"/>
                    <a:pt x="36" y="22"/>
                    <a:pt x="36" y="25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33"/>
                    <a:pt x="39" y="45"/>
                    <a:pt x="34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2" y="47"/>
                    <a:pt x="32" y="47"/>
                    <a:pt x="31" y="46"/>
                  </a:cubicBezTo>
                  <a:cubicBezTo>
                    <a:pt x="31" y="46"/>
                    <a:pt x="30" y="46"/>
                    <a:pt x="30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7" y="48"/>
                    <a:pt x="27" y="50"/>
                    <a:pt x="27" y="51"/>
                  </a:cubicBezTo>
                  <a:cubicBezTo>
                    <a:pt x="27" y="52"/>
                    <a:pt x="27" y="53"/>
                    <a:pt x="27" y="53"/>
                  </a:cubicBezTo>
                  <a:cubicBezTo>
                    <a:pt x="27" y="54"/>
                    <a:pt x="27" y="55"/>
                    <a:pt x="26" y="56"/>
                  </a:cubicBezTo>
                  <a:cubicBezTo>
                    <a:pt x="26" y="59"/>
                    <a:pt x="25" y="62"/>
                    <a:pt x="27" y="64"/>
                  </a:cubicBezTo>
                  <a:cubicBezTo>
                    <a:pt x="28" y="65"/>
                    <a:pt x="29" y="65"/>
                    <a:pt x="30" y="65"/>
                  </a:cubicBezTo>
                  <a:cubicBezTo>
                    <a:pt x="31" y="65"/>
                    <a:pt x="31" y="65"/>
                    <a:pt x="32" y="65"/>
                  </a:cubicBezTo>
                  <a:cubicBezTo>
                    <a:pt x="33" y="66"/>
                    <a:pt x="35" y="68"/>
                    <a:pt x="35" y="69"/>
                  </a:cubicBezTo>
                  <a:cubicBezTo>
                    <a:pt x="38" y="72"/>
                    <a:pt x="36" y="74"/>
                    <a:pt x="33" y="78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29" y="80"/>
                    <a:pt x="27" y="82"/>
                    <a:pt x="26" y="85"/>
                  </a:cubicBezTo>
                  <a:cubicBezTo>
                    <a:pt x="25" y="88"/>
                    <a:pt x="23" y="91"/>
                    <a:pt x="22" y="94"/>
                  </a:cubicBezTo>
                  <a:cubicBezTo>
                    <a:pt x="20" y="96"/>
                    <a:pt x="19" y="98"/>
                    <a:pt x="18" y="101"/>
                  </a:cubicBezTo>
                  <a:cubicBezTo>
                    <a:pt x="18" y="101"/>
                    <a:pt x="18" y="102"/>
                    <a:pt x="18" y="103"/>
                  </a:cubicBezTo>
                  <a:cubicBezTo>
                    <a:pt x="17" y="104"/>
                    <a:pt x="17" y="106"/>
                    <a:pt x="16" y="107"/>
                  </a:cubicBezTo>
                  <a:cubicBezTo>
                    <a:pt x="15" y="107"/>
                    <a:pt x="14" y="108"/>
                    <a:pt x="13" y="109"/>
                  </a:cubicBezTo>
                  <a:cubicBezTo>
                    <a:pt x="13" y="110"/>
                    <a:pt x="12" y="110"/>
                    <a:pt x="11" y="111"/>
                  </a:cubicBezTo>
                  <a:cubicBezTo>
                    <a:pt x="11" y="111"/>
                    <a:pt x="10" y="111"/>
                    <a:pt x="10" y="112"/>
                  </a:cubicBezTo>
                  <a:cubicBezTo>
                    <a:pt x="10" y="112"/>
                    <a:pt x="9" y="112"/>
                    <a:pt x="9" y="112"/>
                  </a:cubicBezTo>
                  <a:cubicBezTo>
                    <a:pt x="8" y="112"/>
                    <a:pt x="8" y="113"/>
                    <a:pt x="7" y="113"/>
                  </a:cubicBezTo>
                  <a:cubicBezTo>
                    <a:pt x="7" y="113"/>
                    <a:pt x="7" y="113"/>
                    <a:pt x="7" y="114"/>
                  </a:cubicBezTo>
                  <a:cubicBezTo>
                    <a:pt x="6" y="115"/>
                    <a:pt x="4" y="115"/>
                    <a:pt x="3" y="115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8"/>
                    <a:pt x="0" y="119"/>
                    <a:pt x="0" y="120"/>
                  </a:cubicBezTo>
                  <a:cubicBezTo>
                    <a:pt x="0" y="124"/>
                    <a:pt x="0" y="127"/>
                    <a:pt x="2" y="132"/>
                  </a:cubicBezTo>
                  <a:cubicBezTo>
                    <a:pt x="3" y="135"/>
                    <a:pt x="4" y="138"/>
                    <a:pt x="4" y="142"/>
                  </a:cubicBezTo>
                  <a:cubicBezTo>
                    <a:pt x="4" y="145"/>
                    <a:pt x="4" y="148"/>
                    <a:pt x="5" y="151"/>
                  </a:cubicBezTo>
                  <a:cubicBezTo>
                    <a:pt x="5" y="152"/>
                    <a:pt x="5" y="152"/>
                    <a:pt x="6" y="153"/>
                  </a:cubicBezTo>
                  <a:cubicBezTo>
                    <a:pt x="8" y="159"/>
                    <a:pt x="9" y="163"/>
                    <a:pt x="4" y="165"/>
                  </a:cubicBezTo>
                  <a:cubicBezTo>
                    <a:pt x="3" y="165"/>
                    <a:pt x="3" y="165"/>
                    <a:pt x="3" y="165"/>
                  </a:cubicBezTo>
                  <a:cubicBezTo>
                    <a:pt x="3" y="166"/>
                    <a:pt x="3" y="166"/>
                    <a:pt x="3" y="166"/>
                  </a:cubicBezTo>
                  <a:cubicBezTo>
                    <a:pt x="2" y="174"/>
                    <a:pt x="5" y="182"/>
                    <a:pt x="13" y="185"/>
                  </a:cubicBezTo>
                  <a:cubicBezTo>
                    <a:pt x="21" y="188"/>
                    <a:pt x="24" y="194"/>
                    <a:pt x="25" y="202"/>
                  </a:cubicBezTo>
                  <a:cubicBezTo>
                    <a:pt x="25" y="204"/>
                    <a:pt x="26" y="205"/>
                    <a:pt x="26" y="206"/>
                  </a:cubicBezTo>
                  <a:cubicBezTo>
                    <a:pt x="27" y="206"/>
                    <a:pt x="27" y="207"/>
                    <a:pt x="27" y="208"/>
                  </a:cubicBezTo>
                  <a:cubicBezTo>
                    <a:pt x="28" y="209"/>
                    <a:pt x="27" y="210"/>
                    <a:pt x="27" y="211"/>
                  </a:cubicBezTo>
                  <a:cubicBezTo>
                    <a:pt x="27" y="212"/>
                    <a:pt x="27" y="214"/>
                    <a:pt x="27" y="215"/>
                  </a:cubicBezTo>
                  <a:cubicBezTo>
                    <a:pt x="28" y="217"/>
                    <a:pt x="28" y="218"/>
                    <a:pt x="29" y="220"/>
                  </a:cubicBezTo>
                  <a:cubicBezTo>
                    <a:pt x="29" y="220"/>
                    <a:pt x="29" y="220"/>
                    <a:pt x="30" y="221"/>
                  </a:cubicBezTo>
                  <a:cubicBezTo>
                    <a:pt x="31" y="224"/>
                    <a:pt x="32" y="226"/>
                    <a:pt x="33" y="228"/>
                  </a:cubicBezTo>
                  <a:cubicBezTo>
                    <a:pt x="34" y="233"/>
                    <a:pt x="36" y="238"/>
                    <a:pt x="39" y="242"/>
                  </a:cubicBezTo>
                  <a:cubicBezTo>
                    <a:pt x="41" y="246"/>
                    <a:pt x="43" y="248"/>
                    <a:pt x="43" y="251"/>
                  </a:cubicBezTo>
                  <a:cubicBezTo>
                    <a:pt x="44" y="252"/>
                    <a:pt x="44" y="252"/>
                    <a:pt x="44" y="252"/>
                  </a:cubicBezTo>
                  <a:cubicBezTo>
                    <a:pt x="47" y="252"/>
                    <a:pt x="47" y="252"/>
                    <a:pt x="47" y="252"/>
                  </a:cubicBezTo>
                  <a:cubicBezTo>
                    <a:pt x="50" y="252"/>
                    <a:pt x="52" y="252"/>
                    <a:pt x="53" y="254"/>
                  </a:cubicBezTo>
                  <a:cubicBezTo>
                    <a:pt x="55" y="255"/>
                    <a:pt x="56" y="256"/>
                    <a:pt x="56" y="257"/>
                  </a:cubicBezTo>
                  <a:cubicBezTo>
                    <a:pt x="57" y="259"/>
                    <a:pt x="58" y="261"/>
                    <a:pt x="60" y="262"/>
                  </a:cubicBezTo>
                  <a:cubicBezTo>
                    <a:pt x="62" y="263"/>
                    <a:pt x="64" y="264"/>
                    <a:pt x="65" y="264"/>
                  </a:cubicBezTo>
                  <a:cubicBezTo>
                    <a:pt x="67" y="264"/>
                    <a:pt x="68" y="265"/>
                    <a:pt x="69" y="265"/>
                  </a:cubicBezTo>
                  <a:cubicBezTo>
                    <a:pt x="69" y="265"/>
                    <a:pt x="69" y="265"/>
                    <a:pt x="69" y="265"/>
                  </a:cubicBezTo>
                  <a:cubicBezTo>
                    <a:pt x="69" y="266"/>
                    <a:pt x="69" y="266"/>
                    <a:pt x="69" y="266"/>
                  </a:cubicBezTo>
                  <a:cubicBezTo>
                    <a:pt x="70" y="267"/>
                    <a:pt x="70" y="267"/>
                    <a:pt x="70" y="267"/>
                  </a:cubicBezTo>
                  <a:cubicBezTo>
                    <a:pt x="70" y="267"/>
                    <a:pt x="71" y="268"/>
                    <a:pt x="72" y="268"/>
                  </a:cubicBezTo>
                  <a:cubicBezTo>
                    <a:pt x="72" y="268"/>
                    <a:pt x="72" y="268"/>
                    <a:pt x="73" y="268"/>
                  </a:cubicBezTo>
                  <a:cubicBezTo>
                    <a:pt x="73" y="268"/>
                    <a:pt x="73" y="268"/>
                    <a:pt x="73" y="268"/>
                  </a:cubicBezTo>
                  <a:cubicBezTo>
                    <a:pt x="75" y="268"/>
                    <a:pt x="75" y="268"/>
                    <a:pt x="75" y="268"/>
                  </a:cubicBezTo>
                  <a:cubicBezTo>
                    <a:pt x="76" y="269"/>
                    <a:pt x="77" y="270"/>
                    <a:pt x="78" y="270"/>
                  </a:cubicBezTo>
                  <a:cubicBezTo>
                    <a:pt x="79" y="270"/>
                    <a:pt x="80" y="271"/>
                    <a:pt x="81" y="271"/>
                  </a:cubicBezTo>
                  <a:cubicBezTo>
                    <a:pt x="81" y="271"/>
                    <a:pt x="82" y="271"/>
                    <a:pt x="83" y="271"/>
                  </a:cubicBezTo>
                  <a:cubicBezTo>
                    <a:pt x="84" y="272"/>
                    <a:pt x="85" y="273"/>
                    <a:pt x="86" y="273"/>
                  </a:cubicBezTo>
                  <a:cubicBezTo>
                    <a:pt x="86" y="274"/>
                    <a:pt x="87" y="274"/>
                    <a:pt x="87" y="275"/>
                  </a:cubicBezTo>
                  <a:cubicBezTo>
                    <a:pt x="89" y="276"/>
                    <a:pt x="90" y="276"/>
                    <a:pt x="92" y="276"/>
                  </a:cubicBezTo>
                  <a:cubicBezTo>
                    <a:pt x="94" y="276"/>
                    <a:pt x="96" y="277"/>
                    <a:pt x="97" y="278"/>
                  </a:cubicBezTo>
                  <a:cubicBezTo>
                    <a:pt x="98" y="278"/>
                    <a:pt x="98" y="279"/>
                    <a:pt x="99" y="280"/>
                  </a:cubicBezTo>
                  <a:cubicBezTo>
                    <a:pt x="99" y="280"/>
                    <a:pt x="99" y="281"/>
                    <a:pt x="100" y="282"/>
                  </a:cubicBezTo>
                  <a:cubicBezTo>
                    <a:pt x="101" y="282"/>
                    <a:pt x="102" y="282"/>
                    <a:pt x="103" y="282"/>
                  </a:cubicBezTo>
                  <a:cubicBezTo>
                    <a:pt x="104" y="282"/>
                    <a:pt x="104" y="282"/>
                    <a:pt x="105" y="282"/>
                  </a:cubicBezTo>
                  <a:cubicBezTo>
                    <a:pt x="105" y="282"/>
                    <a:pt x="106" y="282"/>
                    <a:pt x="106" y="282"/>
                  </a:cubicBezTo>
                  <a:cubicBezTo>
                    <a:pt x="107" y="282"/>
                    <a:pt x="107" y="282"/>
                    <a:pt x="107" y="282"/>
                  </a:cubicBezTo>
                  <a:cubicBezTo>
                    <a:pt x="111" y="282"/>
                    <a:pt x="113" y="283"/>
                    <a:pt x="116" y="284"/>
                  </a:cubicBezTo>
                  <a:cubicBezTo>
                    <a:pt x="117" y="285"/>
                    <a:pt x="117" y="285"/>
                    <a:pt x="117" y="285"/>
                  </a:cubicBezTo>
                  <a:cubicBezTo>
                    <a:pt x="119" y="285"/>
                    <a:pt x="121" y="286"/>
                    <a:pt x="123" y="286"/>
                  </a:cubicBezTo>
                  <a:cubicBezTo>
                    <a:pt x="123" y="286"/>
                    <a:pt x="124" y="286"/>
                    <a:pt x="124" y="286"/>
                  </a:cubicBezTo>
                  <a:cubicBezTo>
                    <a:pt x="125" y="286"/>
                    <a:pt x="125" y="285"/>
                    <a:pt x="126" y="284"/>
                  </a:cubicBezTo>
                  <a:cubicBezTo>
                    <a:pt x="127" y="284"/>
                    <a:pt x="127" y="283"/>
                    <a:pt x="129" y="283"/>
                  </a:cubicBezTo>
                  <a:cubicBezTo>
                    <a:pt x="130" y="283"/>
                    <a:pt x="132" y="283"/>
                    <a:pt x="133" y="288"/>
                  </a:cubicBezTo>
                  <a:cubicBezTo>
                    <a:pt x="133" y="289"/>
                    <a:pt x="133" y="289"/>
                    <a:pt x="133" y="289"/>
                  </a:cubicBezTo>
                  <a:cubicBezTo>
                    <a:pt x="134" y="289"/>
                    <a:pt x="134" y="289"/>
                    <a:pt x="134" y="289"/>
                  </a:cubicBezTo>
                  <a:cubicBezTo>
                    <a:pt x="141" y="295"/>
                    <a:pt x="144" y="317"/>
                    <a:pt x="144" y="324"/>
                  </a:cubicBezTo>
                  <a:cubicBezTo>
                    <a:pt x="144" y="325"/>
                    <a:pt x="143" y="326"/>
                    <a:pt x="143" y="327"/>
                  </a:cubicBezTo>
                  <a:cubicBezTo>
                    <a:pt x="142" y="330"/>
                    <a:pt x="141" y="333"/>
                    <a:pt x="142" y="336"/>
                  </a:cubicBezTo>
                  <a:cubicBezTo>
                    <a:pt x="144" y="338"/>
                    <a:pt x="145" y="339"/>
                    <a:pt x="146" y="340"/>
                  </a:cubicBezTo>
                  <a:cubicBezTo>
                    <a:pt x="148" y="342"/>
                    <a:pt x="149" y="344"/>
                    <a:pt x="150" y="346"/>
                  </a:cubicBezTo>
                  <a:cubicBezTo>
                    <a:pt x="150" y="347"/>
                    <a:pt x="150" y="348"/>
                    <a:pt x="151" y="349"/>
                  </a:cubicBezTo>
                  <a:cubicBezTo>
                    <a:pt x="151" y="351"/>
                    <a:pt x="151" y="351"/>
                    <a:pt x="151" y="351"/>
                  </a:cubicBezTo>
                  <a:cubicBezTo>
                    <a:pt x="154" y="351"/>
                    <a:pt x="154" y="351"/>
                    <a:pt x="154" y="351"/>
                  </a:cubicBezTo>
                  <a:cubicBezTo>
                    <a:pt x="155" y="351"/>
                    <a:pt x="157" y="351"/>
                    <a:pt x="158" y="351"/>
                  </a:cubicBezTo>
                  <a:cubicBezTo>
                    <a:pt x="159" y="351"/>
                    <a:pt x="159" y="351"/>
                    <a:pt x="159" y="351"/>
                  </a:cubicBezTo>
                  <a:cubicBezTo>
                    <a:pt x="160" y="351"/>
                    <a:pt x="160" y="351"/>
                    <a:pt x="160" y="351"/>
                  </a:cubicBezTo>
                  <a:cubicBezTo>
                    <a:pt x="162" y="351"/>
                    <a:pt x="164" y="351"/>
                    <a:pt x="165" y="351"/>
                  </a:cubicBezTo>
                  <a:cubicBezTo>
                    <a:pt x="168" y="351"/>
                    <a:pt x="170" y="351"/>
                    <a:pt x="173" y="350"/>
                  </a:cubicBezTo>
                  <a:cubicBezTo>
                    <a:pt x="174" y="349"/>
                    <a:pt x="175" y="348"/>
                    <a:pt x="176" y="348"/>
                  </a:cubicBezTo>
                  <a:cubicBezTo>
                    <a:pt x="178" y="347"/>
                    <a:pt x="179" y="346"/>
                    <a:pt x="180" y="346"/>
                  </a:cubicBezTo>
                  <a:cubicBezTo>
                    <a:pt x="181" y="346"/>
                    <a:pt x="182" y="347"/>
                    <a:pt x="184" y="347"/>
                  </a:cubicBezTo>
                  <a:cubicBezTo>
                    <a:pt x="185" y="348"/>
                    <a:pt x="186" y="350"/>
                    <a:pt x="187" y="351"/>
                  </a:cubicBezTo>
                  <a:cubicBezTo>
                    <a:pt x="189" y="353"/>
                    <a:pt x="190" y="354"/>
                    <a:pt x="194" y="354"/>
                  </a:cubicBezTo>
                  <a:cubicBezTo>
                    <a:pt x="194" y="354"/>
                    <a:pt x="195" y="354"/>
                    <a:pt x="196" y="354"/>
                  </a:cubicBezTo>
                  <a:cubicBezTo>
                    <a:pt x="196" y="354"/>
                    <a:pt x="197" y="353"/>
                    <a:pt x="197" y="353"/>
                  </a:cubicBezTo>
                  <a:cubicBezTo>
                    <a:pt x="197" y="353"/>
                    <a:pt x="197" y="353"/>
                    <a:pt x="197" y="353"/>
                  </a:cubicBezTo>
                  <a:cubicBezTo>
                    <a:pt x="198" y="353"/>
                    <a:pt x="198" y="354"/>
                    <a:pt x="199" y="354"/>
                  </a:cubicBezTo>
                  <a:cubicBezTo>
                    <a:pt x="199" y="354"/>
                    <a:pt x="200" y="355"/>
                    <a:pt x="201" y="355"/>
                  </a:cubicBezTo>
                  <a:cubicBezTo>
                    <a:pt x="201" y="355"/>
                    <a:pt x="201" y="355"/>
                    <a:pt x="202" y="354"/>
                  </a:cubicBezTo>
                  <a:cubicBezTo>
                    <a:pt x="203" y="354"/>
                    <a:pt x="204" y="354"/>
                    <a:pt x="205" y="353"/>
                  </a:cubicBezTo>
                  <a:cubicBezTo>
                    <a:pt x="205" y="352"/>
                    <a:pt x="206" y="352"/>
                    <a:pt x="207" y="351"/>
                  </a:cubicBezTo>
                  <a:cubicBezTo>
                    <a:pt x="208" y="351"/>
                    <a:pt x="209" y="351"/>
                    <a:pt x="211" y="351"/>
                  </a:cubicBezTo>
                  <a:cubicBezTo>
                    <a:pt x="213" y="351"/>
                    <a:pt x="215" y="352"/>
                    <a:pt x="218" y="353"/>
                  </a:cubicBezTo>
                  <a:cubicBezTo>
                    <a:pt x="220" y="354"/>
                    <a:pt x="220" y="354"/>
                    <a:pt x="220" y="354"/>
                  </a:cubicBezTo>
                  <a:cubicBezTo>
                    <a:pt x="222" y="355"/>
                    <a:pt x="223" y="355"/>
                    <a:pt x="225" y="355"/>
                  </a:cubicBezTo>
                  <a:cubicBezTo>
                    <a:pt x="228" y="355"/>
                    <a:pt x="230" y="354"/>
                    <a:pt x="233" y="351"/>
                  </a:cubicBezTo>
                  <a:cubicBezTo>
                    <a:pt x="235" y="350"/>
                    <a:pt x="235" y="348"/>
                    <a:pt x="236" y="347"/>
                  </a:cubicBezTo>
                  <a:cubicBezTo>
                    <a:pt x="237" y="345"/>
                    <a:pt x="238" y="343"/>
                    <a:pt x="240" y="342"/>
                  </a:cubicBezTo>
                  <a:cubicBezTo>
                    <a:pt x="242" y="341"/>
                    <a:pt x="243" y="340"/>
                    <a:pt x="244" y="340"/>
                  </a:cubicBezTo>
                  <a:cubicBezTo>
                    <a:pt x="246" y="340"/>
                    <a:pt x="247" y="341"/>
                    <a:pt x="249" y="342"/>
                  </a:cubicBezTo>
                  <a:cubicBezTo>
                    <a:pt x="250" y="343"/>
                    <a:pt x="251" y="343"/>
                    <a:pt x="252" y="344"/>
                  </a:cubicBezTo>
                  <a:cubicBezTo>
                    <a:pt x="253" y="344"/>
                    <a:pt x="254" y="345"/>
                    <a:pt x="255" y="345"/>
                  </a:cubicBezTo>
                  <a:cubicBezTo>
                    <a:pt x="258" y="345"/>
                    <a:pt x="259" y="343"/>
                    <a:pt x="261" y="341"/>
                  </a:cubicBezTo>
                  <a:cubicBezTo>
                    <a:pt x="262" y="341"/>
                    <a:pt x="263" y="340"/>
                    <a:pt x="264" y="339"/>
                  </a:cubicBezTo>
                  <a:cubicBezTo>
                    <a:pt x="266" y="337"/>
                    <a:pt x="268" y="337"/>
                    <a:pt x="269" y="337"/>
                  </a:cubicBezTo>
                  <a:cubicBezTo>
                    <a:pt x="270" y="337"/>
                    <a:pt x="271" y="337"/>
                    <a:pt x="272" y="337"/>
                  </a:cubicBezTo>
                  <a:cubicBezTo>
                    <a:pt x="273" y="337"/>
                    <a:pt x="274" y="337"/>
                    <a:pt x="275" y="337"/>
                  </a:cubicBezTo>
                  <a:cubicBezTo>
                    <a:pt x="275" y="337"/>
                    <a:pt x="276" y="337"/>
                    <a:pt x="276" y="337"/>
                  </a:cubicBezTo>
                  <a:cubicBezTo>
                    <a:pt x="279" y="337"/>
                    <a:pt x="281" y="335"/>
                    <a:pt x="283" y="334"/>
                  </a:cubicBezTo>
                  <a:cubicBezTo>
                    <a:pt x="283" y="333"/>
                    <a:pt x="284" y="332"/>
                    <a:pt x="286" y="331"/>
                  </a:cubicBezTo>
                  <a:cubicBezTo>
                    <a:pt x="288" y="330"/>
                    <a:pt x="289" y="329"/>
                    <a:pt x="291" y="329"/>
                  </a:cubicBezTo>
                  <a:cubicBezTo>
                    <a:pt x="293" y="328"/>
                    <a:pt x="295" y="328"/>
                    <a:pt x="297" y="326"/>
                  </a:cubicBezTo>
                  <a:cubicBezTo>
                    <a:pt x="299" y="325"/>
                    <a:pt x="301" y="323"/>
                    <a:pt x="303" y="322"/>
                  </a:cubicBezTo>
                  <a:cubicBezTo>
                    <a:pt x="306" y="319"/>
                    <a:pt x="310" y="315"/>
                    <a:pt x="314" y="314"/>
                  </a:cubicBezTo>
                  <a:cubicBezTo>
                    <a:pt x="317" y="313"/>
                    <a:pt x="317" y="313"/>
                    <a:pt x="317" y="313"/>
                  </a:cubicBezTo>
                  <a:lnTo>
                    <a:pt x="315" y="311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0" name="Freeform 50"/>
            <p:cNvSpPr>
              <a:spLocks/>
            </p:cNvSpPr>
            <p:nvPr/>
          </p:nvSpPr>
          <p:spPr bwMode="auto">
            <a:xfrm>
              <a:off x="4413970" y="1739873"/>
              <a:ext cx="100442" cy="117118"/>
            </a:xfrm>
            <a:custGeom>
              <a:avLst/>
              <a:gdLst>
                <a:gd name="T0" fmla="*/ 36 w 50"/>
                <a:gd name="T1" fmla="*/ 36 h 63"/>
                <a:gd name="T2" fmla="*/ 40 w 50"/>
                <a:gd name="T3" fmla="*/ 34 h 63"/>
                <a:gd name="T4" fmla="*/ 42 w 50"/>
                <a:gd name="T5" fmla="*/ 32 h 63"/>
                <a:gd name="T6" fmla="*/ 49 w 50"/>
                <a:gd name="T7" fmla="*/ 21 h 63"/>
                <a:gd name="T8" fmla="*/ 45 w 50"/>
                <a:gd name="T9" fmla="*/ 10 h 63"/>
                <a:gd name="T10" fmla="*/ 43 w 50"/>
                <a:gd name="T11" fmla="*/ 7 h 63"/>
                <a:gd name="T12" fmla="*/ 41 w 50"/>
                <a:gd name="T13" fmla="*/ 3 h 63"/>
                <a:gd name="T14" fmla="*/ 39 w 50"/>
                <a:gd name="T15" fmla="*/ 0 h 63"/>
                <a:gd name="T16" fmla="*/ 37 w 50"/>
                <a:gd name="T17" fmla="*/ 2 h 63"/>
                <a:gd name="T18" fmla="*/ 35 w 50"/>
                <a:gd name="T19" fmla="*/ 3 h 63"/>
                <a:gd name="T20" fmla="*/ 32 w 50"/>
                <a:gd name="T21" fmla="*/ 5 h 63"/>
                <a:gd name="T22" fmla="*/ 31 w 50"/>
                <a:gd name="T23" fmla="*/ 9 h 63"/>
                <a:gd name="T24" fmla="*/ 30 w 50"/>
                <a:gd name="T25" fmla="*/ 12 h 63"/>
                <a:gd name="T26" fmla="*/ 27 w 50"/>
                <a:gd name="T27" fmla="*/ 14 h 63"/>
                <a:gd name="T28" fmla="*/ 23 w 50"/>
                <a:gd name="T29" fmla="*/ 12 h 63"/>
                <a:gd name="T30" fmla="*/ 22 w 50"/>
                <a:gd name="T31" fmla="*/ 10 h 63"/>
                <a:gd name="T32" fmla="*/ 20 w 50"/>
                <a:gd name="T33" fmla="*/ 9 h 63"/>
                <a:gd name="T34" fmla="*/ 19 w 50"/>
                <a:gd name="T35" fmla="*/ 10 h 63"/>
                <a:gd name="T36" fmla="*/ 13 w 50"/>
                <a:gd name="T37" fmla="*/ 20 h 63"/>
                <a:gd name="T38" fmla="*/ 11 w 50"/>
                <a:gd name="T39" fmla="*/ 24 h 63"/>
                <a:gd name="T40" fmla="*/ 5 w 50"/>
                <a:gd name="T41" fmla="*/ 33 h 63"/>
                <a:gd name="T42" fmla="*/ 3 w 50"/>
                <a:gd name="T43" fmla="*/ 35 h 63"/>
                <a:gd name="T44" fmla="*/ 1 w 50"/>
                <a:gd name="T45" fmla="*/ 49 h 63"/>
                <a:gd name="T46" fmla="*/ 1 w 50"/>
                <a:gd name="T47" fmla="*/ 52 h 63"/>
                <a:gd name="T48" fmla="*/ 1 w 50"/>
                <a:gd name="T49" fmla="*/ 54 h 63"/>
                <a:gd name="T50" fmla="*/ 1 w 50"/>
                <a:gd name="T51" fmla="*/ 61 h 63"/>
                <a:gd name="T52" fmla="*/ 6 w 50"/>
                <a:gd name="T53" fmla="*/ 62 h 63"/>
                <a:gd name="T54" fmla="*/ 8 w 50"/>
                <a:gd name="T55" fmla="*/ 63 h 63"/>
                <a:gd name="T56" fmla="*/ 9 w 50"/>
                <a:gd name="T57" fmla="*/ 63 h 63"/>
                <a:gd name="T58" fmla="*/ 10 w 50"/>
                <a:gd name="T59" fmla="*/ 62 h 63"/>
                <a:gd name="T60" fmla="*/ 18 w 50"/>
                <a:gd name="T61" fmla="*/ 59 h 63"/>
                <a:gd name="T62" fmla="*/ 23 w 50"/>
                <a:gd name="T63" fmla="*/ 58 h 63"/>
                <a:gd name="T64" fmla="*/ 25 w 50"/>
                <a:gd name="T65" fmla="*/ 57 h 63"/>
                <a:gd name="T66" fmla="*/ 28 w 50"/>
                <a:gd name="T67" fmla="*/ 56 h 63"/>
                <a:gd name="T68" fmla="*/ 30 w 50"/>
                <a:gd name="T69" fmla="*/ 57 h 63"/>
                <a:gd name="T70" fmla="*/ 32 w 50"/>
                <a:gd name="T71" fmla="*/ 59 h 63"/>
                <a:gd name="T72" fmla="*/ 34 w 50"/>
                <a:gd name="T73" fmla="*/ 58 h 63"/>
                <a:gd name="T74" fmla="*/ 33 w 50"/>
                <a:gd name="T75" fmla="*/ 59 h 63"/>
                <a:gd name="T76" fmla="*/ 33 w 50"/>
                <a:gd name="T77" fmla="*/ 60 h 63"/>
                <a:gd name="T78" fmla="*/ 34 w 50"/>
                <a:gd name="T79" fmla="*/ 60 h 63"/>
                <a:gd name="T80" fmla="*/ 34 w 50"/>
                <a:gd name="T81" fmla="*/ 60 h 63"/>
                <a:gd name="T82" fmla="*/ 36 w 50"/>
                <a:gd name="T83" fmla="*/ 60 h 63"/>
                <a:gd name="T84" fmla="*/ 40 w 50"/>
                <a:gd name="T85" fmla="*/ 54 h 63"/>
                <a:gd name="T86" fmla="*/ 46 w 50"/>
                <a:gd name="T87" fmla="*/ 45 h 63"/>
                <a:gd name="T88" fmla="*/ 47 w 50"/>
                <a:gd name="T89" fmla="*/ 43 h 63"/>
                <a:gd name="T90" fmla="*/ 46 w 50"/>
                <a:gd name="T91" fmla="*/ 42 h 63"/>
                <a:gd name="T92" fmla="*/ 37 w 50"/>
                <a:gd name="T93" fmla="*/ 37 h 63"/>
                <a:gd name="T94" fmla="*/ 36 w 50"/>
                <a:gd name="T95" fmla="*/ 37 h 63"/>
                <a:gd name="T96" fmla="*/ 34 w 50"/>
                <a:gd name="T97" fmla="*/ 37 h 63"/>
                <a:gd name="T98" fmla="*/ 33 w 50"/>
                <a:gd name="T99" fmla="*/ 37 h 63"/>
                <a:gd name="T100" fmla="*/ 34 w 50"/>
                <a:gd name="T101" fmla="*/ 37 h 63"/>
                <a:gd name="T102" fmla="*/ 36 w 50"/>
                <a:gd name="T103" fmla="*/ 3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" h="63">
                  <a:moveTo>
                    <a:pt x="36" y="36"/>
                  </a:moveTo>
                  <a:cubicBezTo>
                    <a:pt x="37" y="35"/>
                    <a:pt x="39" y="34"/>
                    <a:pt x="40" y="34"/>
                  </a:cubicBezTo>
                  <a:cubicBezTo>
                    <a:pt x="41" y="33"/>
                    <a:pt x="41" y="33"/>
                    <a:pt x="42" y="32"/>
                  </a:cubicBezTo>
                  <a:cubicBezTo>
                    <a:pt x="46" y="30"/>
                    <a:pt x="49" y="25"/>
                    <a:pt x="49" y="21"/>
                  </a:cubicBezTo>
                  <a:cubicBezTo>
                    <a:pt x="50" y="17"/>
                    <a:pt x="47" y="13"/>
                    <a:pt x="45" y="10"/>
                  </a:cubicBezTo>
                  <a:cubicBezTo>
                    <a:pt x="45" y="9"/>
                    <a:pt x="44" y="8"/>
                    <a:pt x="43" y="7"/>
                  </a:cubicBezTo>
                  <a:cubicBezTo>
                    <a:pt x="43" y="6"/>
                    <a:pt x="42" y="5"/>
                    <a:pt x="41" y="3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6" y="3"/>
                    <a:pt x="35" y="3"/>
                  </a:cubicBezTo>
                  <a:cubicBezTo>
                    <a:pt x="34" y="4"/>
                    <a:pt x="33" y="4"/>
                    <a:pt x="32" y="5"/>
                  </a:cubicBezTo>
                  <a:cubicBezTo>
                    <a:pt x="31" y="7"/>
                    <a:pt x="31" y="8"/>
                    <a:pt x="31" y="9"/>
                  </a:cubicBezTo>
                  <a:cubicBezTo>
                    <a:pt x="31" y="10"/>
                    <a:pt x="31" y="11"/>
                    <a:pt x="30" y="12"/>
                  </a:cubicBezTo>
                  <a:cubicBezTo>
                    <a:pt x="29" y="14"/>
                    <a:pt x="28" y="14"/>
                    <a:pt x="27" y="14"/>
                  </a:cubicBezTo>
                  <a:cubicBezTo>
                    <a:pt x="26" y="14"/>
                    <a:pt x="25" y="13"/>
                    <a:pt x="23" y="12"/>
                  </a:cubicBezTo>
                  <a:cubicBezTo>
                    <a:pt x="23" y="11"/>
                    <a:pt x="22" y="10"/>
                    <a:pt x="22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6" y="13"/>
                    <a:pt x="15" y="17"/>
                    <a:pt x="13" y="20"/>
                  </a:cubicBezTo>
                  <a:cubicBezTo>
                    <a:pt x="12" y="21"/>
                    <a:pt x="12" y="22"/>
                    <a:pt x="11" y="24"/>
                  </a:cubicBezTo>
                  <a:cubicBezTo>
                    <a:pt x="10" y="27"/>
                    <a:pt x="7" y="30"/>
                    <a:pt x="5" y="33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0" y="40"/>
                    <a:pt x="1" y="44"/>
                    <a:pt x="1" y="49"/>
                  </a:cubicBezTo>
                  <a:cubicBezTo>
                    <a:pt x="1" y="50"/>
                    <a:pt x="1" y="51"/>
                    <a:pt x="1" y="52"/>
                  </a:cubicBezTo>
                  <a:cubicBezTo>
                    <a:pt x="1" y="52"/>
                    <a:pt x="1" y="53"/>
                    <a:pt x="1" y="54"/>
                  </a:cubicBezTo>
                  <a:cubicBezTo>
                    <a:pt x="0" y="58"/>
                    <a:pt x="0" y="60"/>
                    <a:pt x="1" y="61"/>
                  </a:cubicBezTo>
                  <a:cubicBezTo>
                    <a:pt x="2" y="62"/>
                    <a:pt x="4" y="62"/>
                    <a:pt x="6" y="62"/>
                  </a:cubicBezTo>
                  <a:cubicBezTo>
                    <a:pt x="6" y="63"/>
                    <a:pt x="7" y="63"/>
                    <a:pt x="8" y="63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2" y="60"/>
                    <a:pt x="15" y="59"/>
                    <a:pt x="18" y="59"/>
                  </a:cubicBezTo>
                  <a:cubicBezTo>
                    <a:pt x="19" y="59"/>
                    <a:pt x="21" y="59"/>
                    <a:pt x="23" y="58"/>
                  </a:cubicBezTo>
                  <a:cubicBezTo>
                    <a:pt x="24" y="58"/>
                    <a:pt x="24" y="58"/>
                    <a:pt x="25" y="57"/>
                  </a:cubicBezTo>
                  <a:cubicBezTo>
                    <a:pt x="26" y="57"/>
                    <a:pt x="27" y="56"/>
                    <a:pt x="28" y="56"/>
                  </a:cubicBezTo>
                  <a:cubicBezTo>
                    <a:pt x="29" y="56"/>
                    <a:pt x="29" y="56"/>
                    <a:pt x="30" y="57"/>
                  </a:cubicBezTo>
                  <a:cubicBezTo>
                    <a:pt x="31" y="57"/>
                    <a:pt x="32" y="58"/>
                    <a:pt x="32" y="59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2" y="51"/>
                    <a:pt x="44" y="48"/>
                    <a:pt x="46" y="45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4" y="40"/>
                    <a:pt x="42" y="38"/>
                    <a:pt x="37" y="3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7"/>
                    <a:pt x="35" y="37"/>
                    <a:pt x="34" y="37"/>
                  </a:cubicBezTo>
                  <a:cubicBezTo>
                    <a:pt x="34" y="37"/>
                    <a:pt x="33" y="37"/>
                    <a:pt x="33" y="37"/>
                  </a:cubicBezTo>
                  <a:cubicBezTo>
                    <a:pt x="33" y="37"/>
                    <a:pt x="34" y="37"/>
                    <a:pt x="34" y="37"/>
                  </a:cubicBezTo>
                  <a:cubicBezTo>
                    <a:pt x="35" y="36"/>
                    <a:pt x="35" y="36"/>
                    <a:pt x="36" y="36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1" name="Freeform 51"/>
            <p:cNvSpPr>
              <a:spLocks/>
            </p:cNvSpPr>
            <p:nvPr/>
          </p:nvSpPr>
          <p:spPr bwMode="auto">
            <a:xfrm>
              <a:off x="3138356" y="3611705"/>
              <a:ext cx="530111" cy="560933"/>
            </a:xfrm>
            <a:custGeom>
              <a:avLst/>
              <a:gdLst>
                <a:gd name="T0" fmla="*/ 260 w 262"/>
                <a:gd name="T1" fmla="*/ 142 h 301"/>
                <a:gd name="T2" fmla="*/ 259 w 262"/>
                <a:gd name="T3" fmla="*/ 137 h 301"/>
                <a:gd name="T4" fmla="*/ 237 w 262"/>
                <a:gd name="T5" fmla="*/ 129 h 301"/>
                <a:gd name="T6" fmla="*/ 231 w 262"/>
                <a:gd name="T7" fmla="*/ 128 h 301"/>
                <a:gd name="T8" fmla="*/ 225 w 262"/>
                <a:gd name="T9" fmla="*/ 118 h 301"/>
                <a:gd name="T10" fmla="*/ 221 w 262"/>
                <a:gd name="T11" fmla="*/ 104 h 301"/>
                <a:gd name="T12" fmla="*/ 220 w 262"/>
                <a:gd name="T13" fmla="*/ 92 h 301"/>
                <a:gd name="T14" fmla="*/ 210 w 262"/>
                <a:gd name="T15" fmla="*/ 89 h 301"/>
                <a:gd name="T16" fmla="*/ 200 w 262"/>
                <a:gd name="T17" fmla="*/ 76 h 301"/>
                <a:gd name="T18" fmla="*/ 191 w 262"/>
                <a:gd name="T19" fmla="*/ 70 h 301"/>
                <a:gd name="T20" fmla="*/ 183 w 262"/>
                <a:gd name="T21" fmla="*/ 62 h 301"/>
                <a:gd name="T22" fmla="*/ 174 w 262"/>
                <a:gd name="T23" fmla="*/ 48 h 301"/>
                <a:gd name="T24" fmla="*/ 171 w 262"/>
                <a:gd name="T25" fmla="*/ 37 h 301"/>
                <a:gd name="T26" fmla="*/ 154 w 262"/>
                <a:gd name="T27" fmla="*/ 10 h 301"/>
                <a:gd name="T28" fmla="*/ 153 w 262"/>
                <a:gd name="T29" fmla="*/ 0 h 301"/>
                <a:gd name="T30" fmla="*/ 141 w 262"/>
                <a:gd name="T31" fmla="*/ 5 h 301"/>
                <a:gd name="T32" fmla="*/ 131 w 262"/>
                <a:gd name="T33" fmla="*/ 10 h 301"/>
                <a:gd name="T34" fmla="*/ 120 w 262"/>
                <a:gd name="T35" fmla="*/ 13 h 301"/>
                <a:gd name="T36" fmla="*/ 98 w 262"/>
                <a:gd name="T37" fmla="*/ 7 h 301"/>
                <a:gd name="T38" fmla="*/ 29 w 262"/>
                <a:gd name="T39" fmla="*/ 140 h 301"/>
                <a:gd name="T40" fmla="*/ 1 w 262"/>
                <a:gd name="T41" fmla="*/ 234 h 301"/>
                <a:gd name="T42" fmla="*/ 22 w 262"/>
                <a:gd name="T43" fmla="*/ 269 h 301"/>
                <a:gd name="T44" fmla="*/ 17 w 262"/>
                <a:gd name="T45" fmla="*/ 299 h 301"/>
                <a:gd name="T46" fmla="*/ 21 w 262"/>
                <a:gd name="T47" fmla="*/ 300 h 301"/>
                <a:gd name="T48" fmla="*/ 32 w 262"/>
                <a:gd name="T49" fmla="*/ 301 h 301"/>
                <a:gd name="T50" fmla="*/ 39 w 262"/>
                <a:gd name="T51" fmla="*/ 301 h 301"/>
                <a:gd name="T52" fmla="*/ 46 w 262"/>
                <a:gd name="T53" fmla="*/ 301 h 301"/>
                <a:gd name="T54" fmla="*/ 52 w 262"/>
                <a:gd name="T55" fmla="*/ 296 h 301"/>
                <a:gd name="T56" fmla="*/ 59 w 262"/>
                <a:gd name="T57" fmla="*/ 291 h 301"/>
                <a:gd name="T58" fmla="*/ 65 w 262"/>
                <a:gd name="T59" fmla="*/ 285 h 301"/>
                <a:gd name="T60" fmla="*/ 75 w 262"/>
                <a:gd name="T61" fmla="*/ 274 h 301"/>
                <a:gd name="T62" fmla="*/ 80 w 262"/>
                <a:gd name="T63" fmla="*/ 259 h 301"/>
                <a:gd name="T64" fmla="*/ 100 w 262"/>
                <a:gd name="T65" fmla="*/ 252 h 301"/>
                <a:gd name="T66" fmla="*/ 115 w 262"/>
                <a:gd name="T67" fmla="*/ 261 h 301"/>
                <a:gd name="T68" fmla="*/ 122 w 262"/>
                <a:gd name="T69" fmla="*/ 263 h 301"/>
                <a:gd name="T70" fmla="*/ 135 w 262"/>
                <a:gd name="T71" fmla="*/ 267 h 301"/>
                <a:gd name="T72" fmla="*/ 145 w 262"/>
                <a:gd name="T73" fmla="*/ 264 h 301"/>
                <a:gd name="T74" fmla="*/ 152 w 262"/>
                <a:gd name="T75" fmla="*/ 265 h 301"/>
                <a:gd name="T76" fmla="*/ 161 w 262"/>
                <a:gd name="T77" fmla="*/ 252 h 301"/>
                <a:gd name="T78" fmla="*/ 168 w 262"/>
                <a:gd name="T79" fmla="*/ 233 h 301"/>
                <a:gd name="T80" fmla="*/ 183 w 262"/>
                <a:gd name="T81" fmla="*/ 226 h 301"/>
                <a:gd name="T82" fmla="*/ 195 w 262"/>
                <a:gd name="T83" fmla="*/ 213 h 301"/>
                <a:gd name="T84" fmla="*/ 209 w 262"/>
                <a:gd name="T85" fmla="*/ 189 h 301"/>
                <a:gd name="T86" fmla="*/ 225 w 262"/>
                <a:gd name="T87" fmla="*/ 176 h 301"/>
                <a:gd name="T88" fmla="*/ 233 w 262"/>
                <a:gd name="T89" fmla="*/ 166 h 301"/>
                <a:gd name="T90" fmla="*/ 243 w 262"/>
                <a:gd name="T91" fmla="*/ 161 h 301"/>
                <a:gd name="T92" fmla="*/ 251 w 262"/>
                <a:gd name="T93" fmla="*/ 158 h 301"/>
                <a:gd name="T94" fmla="*/ 256 w 262"/>
                <a:gd name="T95" fmla="*/ 153 h 301"/>
                <a:gd name="T96" fmla="*/ 260 w 262"/>
                <a:gd name="T97" fmla="*/ 148 h 301"/>
                <a:gd name="T98" fmla="*/ 261 w 262"/>
                <a:gd name="T99" fmla="*/ 143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62" h="301">
                  <a:moveTo>
                    <a:pt x="261" y="143"/>
                  </a:moveTo>
                  <a:cubicBezTo>
                    <a:pt x="261" y="143"/>
                    <a:pt x="261" y="143"/>
                    <a:pt x="261" y="143"/>
                  </a:cubicBezTo>
                  <a:cubicBezTo>
                    <a:pt x="260" y="142"/>
                    <a:pt x="260" y="142"/>
                    <a:pt x="260" y="142"/>
                  </a:cubicBezTo>
                  <a:cubicBezTo>
                    <a:pt x="259" y="142"/>
                    <a:pt x="259" y="141"/>
                    <a:pt x="259" y="140"/>
                  </a:cubicBezTo>
                  <a:cubicBezTo>
                    <a:pt x="259" y="140"/>
                    <a:pt x="259" y="140"/>
                    <a:pt x="259" y="139"/>
                  </a:cubicBezTo>
                  <a:cubicBezTo>
                    <a:pt x="259" y="138"/>
                    <a:pt x="259" y="138"/>
                    <a:pt x="259" y="137"/>
                  </a:cubicBezTo>
                  <a:cubicBezTo>
                    <a:pt x="258" y="134"/>
                    <a:pt x="254" y="133"/>
                    <a:pt x="252" y="132"/>
                  </a:cubicBezTo>
                  <a:cubicBezTo>
                    <a:pt x="251" y="131"/>
                    <a:pt x="250" y="131"/>
                    <a:pt x="250" y="131"/>
                  </a:cubicBezTo>
                  <a:cubicBezTo>
                    <a:pt x="246" y="129"/>
                    <a:pt x="242" y="129"/>
                    <a:pt x="237" y="129"/>
                  </a:cubicBezTo>
                  <a:cubicBezTo>
                    <a:pt x="237" y="129"/>
                    <a:pt x="236" y="129"/>
                    <a:pt x="236" y="129"/>
                  </a:cubicBezTo>
                  <a:cubicBezTo>
                    <a:pt x="235" y="129"/>
                    <a:pt x="235" y="129"/>
                    <a:pt x="234" y="129"/>
                  </a:cubicBezTo>
                  <a:cubicBezTo>
                    <a:pt x="233" y="129"/>
                    <a:pt x="232" y="129"/>
                    <a:pt x="231" y="128"/>
                  </a:cubicBezTo>
                  <a:cubicBezTo>
                    <a:pt x="230" y="128"/>
                    <a:pt x="230" y="126"/>
                    <a:pt x="230" y="125"/>
                  </a:cubicBezTo>
                  <a:cubicBezTo>
                    <a:pt x="229" y="124"/>
                    <a:pt x="229" y="124"/>
                    <a:pt x="229" y="123"/>
                  </a:cubicBezTo>
                  <a:cubicBezTo>
                    <a:pt x="228" y="122"/>
                    <a:pt x="227" y="120"/>
                    <a:pt x="225" y="118"/>
                  </a:cubicBezTo>
                  <a:cubicBezTo>
                    <a:pt x="225" y="117"/>
                    <a:pt x="224" y="117"/>
                    <a:pt x="223" y="116"/>
                  </a:cubicBezTo>
                  <a:cubicBezTo>
                    <a:pt x="222" y="115"/>
                    <a:pt x="221" y="114"/>
                    <a:pt x="221" y="111"/>
                  </a:cubicBezTo>
                  <a:cubicBezTo>
                    <a:pt x="220" y="109"/>
                    <a:pt x="221" y="107"/>
                    <a:pt x="221" y="104"/>
                  </a:cubicBezTo>
                  <a:cubicBezTo>
                    <a:pt x="221" y="103"/>
                    <a:pt x="221" y="102"/>
                    <a:pt x="222" y="101"/>
                  </a:cubicBezTo>
                  <a:cubicBezTo>
                    <a:pt x="222" y="101"/>
                    <a:pt x="222" y="100"/>
                    <a:pt x="222" y="99"/>
                  </a:cubicBezTo>
                  <a:cubicBezTo>
                    <a:pt x="222" y="96"/>
                    <a:pt x="223" y="93"/>
                    <a:pt x="220" y="92"/>
                  </a:cubicBezTo>
                  <a:cubicBezTo>
                    <a:pt x="219" y="91"/>
                    <a:pt x="219" y="91"/>
                    <a:pt x="219" y="91"/>
                  </a:cubicBezTo>
                  <a:cubicBezTo>
                    <a:pt x="210" y="92"/>
                    <a:pt x="210" y="92"/>
                    <a:pt x="210" y="92"/>
                  </a:cubicBezTo>
                  <a:cubicBezTo>
                    <a:pt x="210" y="91"/>
                    <a:pt x="210" y="90"/>
                    <a:pt x="210" y="89"/>
                  </a:cubicBezTo>
                  <a:cubicBezTo>
                    <a:pt x="211" y="85"/>
                    <a:pt x="211" y="80"/>
                    <a:pt x="206" y="77"/>
                  </a:cubicBezTo>
                  <a:cubicBezTo>
                    <a:pt x="205" y="77"/>
                    <a:pt x="204" y="76"/>
                    <a:pt x="203" y="76"/>
                  </a:cubicBezTo>
                  <a:cubicBezTo>
                    <a:pt x="202" y="76"/>
                    <a:pt x="201" y="76"/>
                    <a:pt x="200" y="76"/>
                  </a:cubicBezTo>
                  <a:cubicBezTo>
                    <a:pt x="199" y="75"/>
                    <a:pt x="199" y="75"/>
                    <a:pt x="199" y="75"/>
                  </a:cubicBezTo>
                  <a:cubicBezTo>
                    <a:pt x="198" y="74"/>
                    <a:pt x="197" y="73"/>
                    <a:pt x="195" y="73"/>
                  </a:cubicBezTo>
                  <a:cubicBezTo>
                    <a:pt x="193" y="73"/>
                    <a:pt x="192" y="71"/>
                    <a:pt x="191" y="70"/>
                  </a:cubicBezTo>
                  <a:cubicBezTo>
                    <a:pt x="190" y="70"/>
                    <a:pt x="190" y="70"/>
                    <a:pt x="190" y="69"/>
                  </a:cubicBezTo>
                  <a:cubicBezTo>
                    <a:pt x="188" y="68"/>
                    <a:pt x="186" y="67"/>
                    <a:pt x="185" y="65"/>
                  </a:cubicBezTo>
                  <a:cubicBezTo>
                    <a:pt x="184" y="64"/>
                    <a:pt x="184" y="63"/>
                    <a:pt x="183" y="62"/>
                  </a:cubicBezTo>
                  <a:cubicBezTo>
                    <a:pt x="183" y="61"/>
                    <a:pt x="182" y="61"/>
                    <a:pt x="182" y="60"/>
                  </a:cubicBezTo>
                  <a:cubicBezTo>
                    <a:pt x="181" y="59"/>
                    <a:pt x="181" y="59"/>
                    <a:pt x="181" y="59"/>
                  </a:cubicBezTo>
                  <a:cubicBezTo>
                    <a:pt x="178" y="56"/>
                    <a:pt x="176" y="52"/>
                    <a:pt x="174" y="48"/>
                  </a:cubicBezTo>
                  <a:cubicBezTo>
                    <a:pt x="174" y="47"/>
                    <a:pt x="174" y="45"/>
                    <a:pt x="174" y="44"/>
                  </a:cubicBezTo>
                  <a:cubicBezTo>
                    <a:pt x="174" y="43"/>
                    <a:pt x="174" y="41"/>
                    <a:pt x="173" y="40"/>
                  </a:cubicBezTo>
                  <a:cubicBezTo>
                    <a:pt x="173" y="39"/>
                    <a:pt x="172" y="38"/>
                    <a:pt x="171" y="37"/>
                  </a:cubicBezTo>
                  <a:cubicBezTo>
                    <a:pt x="171" y="36"/>
                    <a:pt x="170" y="36"/>
                    <a:pt x="170" y="35"/>
                  </a:cubicBezTo>
                  <a:cubicBezTo>
                    <a:pt x="167" y="29"/>
                    <a:pt x="164" y="25"/>
                    <a:pt x="162" y="21"/>
                  </a:cubicBezTo>
                  <a:cubicBezTo>
                    <a:pt x="159" y="17"/>
                    <a:pt x="156" y="14"/>
                    <a:pt x="154" y="10"/>
                  </a:cubicBezTo>
                  <a:cubicBezTo>
                    <a:pt x="154" y="9"/>
                    <a:pt x="154" y="7"/>
                    <a:pt x="154" y="6"/>
                  </a:cubicBezTo>
                  <a:cubicBezTo>
                    <a:pt x="154" y="5"/>
                    <a:pt x="154" y="5"/>
                    <a:pt x="154" y="4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0" y="3"/>
                    <a:pt x="150" y="3"/>
                    <a:pt x="150" y="3"/>
                  </a:cubicBezTo>
                  <a:cubicBezTo>
                    <a:pt x="149" y="4"/>
                    <a:pt x="147" y="4"/>
                    <a:pt x="145" y="4"/>
                  </a:cubicBezTo>
                  <a:cubicBezTo>
                    <a:pt x="143" y="4"/>
                    <a:pt x="142" y="4"/>
                    <a:pt x="141" y="5"/>
                  </a:cubicBezTo>
                  <a:cubicBezTo>
                    <a:pt x="138" y="6"/>
                    <a:pt x="135" y="8"/>
                    <a:pt x="135" y="11"/>
                  </a:cubicBezTo>
                  <a:cubicBezTo>
                    <a:pt x="134" y="11"/>
                    <a:pt x="134" y="11"/>
                    <a:pt x="134" y="11"/>
                  </a:cubicBezTo>
                  <a:cubicBezTo>
                    <a:pt x="133" y="11"/>
                    <a:pt x="132" y="10"/>
                    <a:pt x="131" y="10"/>
                  </a:cubicBezTo>
                  <a:cubicBezTo>
                    <a:pt x="130" y="9"/>
                    <a:pt x="130" y="8"/>
                    <a:pt x="128" y="8"/>
                  </a:cubicBezTo>
                  <a:cubicBezTo>
                    <a:pt x="128" y="8"/>
                    <a:pt x="127" y="8"/>
                    <a:pt x="127" y="9"/>
                  </a:cubicBezTo>
                  <a:cubicBezTo>
                    <a:pt x="124" y="9"/>
                    <a:pt x="122" y="11"/>
                    <a:pt x="120" y="13"/>
                  </a:cubicBezTo>
                  <a:cubicBezTo>
                    <a:pt x="119" y="14"/>
                    <a:pt x="119" y="14"/>
                    <a:pt x="118" y="15"/>
                  </a:cubicBezTo>
                  <a:cubicBezTo>
                    <a:pt x="114" y="18"/>
                    <a:pt x="111" y="21"/>
                    <a:pt x="107" y="24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40"/>
                    <a:pt x="29" y="140"/>
                    <a:pt x="29" y="140"/>
                  </a:cubicBezTo>
                  <a:cubicBezTo>
                    <a:pt x="2" y="140"/>
                    <a:pt x="2" y="140"/>
                    <a:pt x="2" y="14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1" y="234"/>
                    <a:pt x="1" y="234"/>
                    <a:pt x="1" y="234"/>
                  </a:cubicBezTo>
                  <a:cubicBezTo>
                    <a:pt x="10" y="236"/>
                    <a:pt x="15" y="246"/>
                    <a:pt x="18" y="255"/>
                  </a:cubicBezTo>
                  <a:cubicBezTo>
                    <a:pt x="19" y="258"/>
                    <a:pt x="20" y="262"/>
                    <a:pt x="21" y="265"/>
                  </a:cubicBezTo>
                  <a:cubicBezTo>
                    <a:pt x="22" y="269"/>
                    <a:pt x="22" y="269"/>
                    <a:pt x="22" y="269"/>
                  </a:cubicBezTo>
                  <a:cubicBezTo>
                    <a:pt x="24" y="274"/>
                    <a:pt x="25" y="278"/>
                    <a:pt x="21" y="283"/>
                  </a:cubicBezTo>
                  <a:cubicBezTo>
                    <a:pt x="17" y="287"/>
                    <a:pt x="17" y="292"/>
                    <a:pt x="17" y="297"/>
                  </a:cubicBezTo>
                  <a:cubicBezTo>
                    <a:pt x="17" y="297"/>
                    <a:pt x="17" y="298"/>
                    <a:pt x="17" y="299"/>
                  </a:cubicBezTo>
                  <a:cubicBezTo>
                    <a:pt x="17" y="301"/>
                    <a:pt x="17" y="301"/>
                    <a:pt x="17" y="301"/>
                  </a:cubicBezTo>
                  <a:cubicBezTo>
                    <a:pt x="20" y="301"/>
                    <a:pt x="20" y="301"/>
                    <a:pt x="20" y="301"/>
                  </a:cubicBezTo>
                  <a:cubicBezTo>
                    <a:pt x="20" y="301"/>
                    <a:pt x="21" y="301"/>
                    <a:pt x="21" y="300"/>
                  </a:cubicBezTo>
                  <a:cubicBezTo>
                    <a:pt x="23" y="300"/>
                    <a:pt x="24" y="299"/>
                    <a:pt x="25" y="299"/>
                  </a:cubicBezTo>
                  <a:cubicBezTo>
                    <a:pt x="27" y="299"/>
                    <a:pt x="28" y="300"/>
                    <a:pt x="29" y="300"/>
                  </a:cubicBezTo>
                  <a:cubicBezTo>
                    <a:pt x="30" y="301"/>
                    <a:pt x="31" y="301"/>
                    <a:pt x="32" y="301"/>
                  </a:cubicBezTo>
                  <a:cubicBezTo>
                    <a:pt x="33" y="301"/>
                    <a:pt x="33" y="301"/>
                    <a:pt x="34" y="301"/>
                  </a:cubicBezTo>
                  <a:cubicBezTo>
                    <a:pt x="34" y="301"/>
                    <a:pt x="35" y="301"/>
                    <a:pt x="36" y="301"/>
                  </a:cubicBezTo>
                  <a:cubicBezTo>
                    <a:pt x="37" y="301"/>
                    <a:pt x="38" y="301"/>
                    <a:pt x="39" y="301"/>
                  </a:cubicBezTo>
                  <a:cubicBezTo>
                    <a:pt x="40" y="301"/>
                    <a:pt x="41" y="301"/>
                    <a:pt x="42" y="301"/>
                  </a:cubicBezTo>
                  <a:cubicBezTo>
                    <a:pt x="43" y="301"/>
                    <a:pt x="43" y="301"/>
                    <a:pt x="44" y="301"/>
                  </a:cubicBezTo>
                  <a:cubicBezTo>
                    <a:pt x="45" y="301"/>
                    <a:pt x="45" y="301"/>
                    <a:pt x="46" y="301"/>
                  </a:cubicBezTo>
                  <a:cubicBezTo>
                    <a:pt x="47" y="301"/>
                    <a:pt x="48" y="300"/>
                    <a:pt x="48" y="299"/>
                  </a:cubicBezTo>
                  <a:cubicBezTo>
                    <a:pt x="48" y="298"/>
                    <a:pt x="48" y="297"/>
                    <a:pt x="49" y="297"/>
                  </a:cubicBezTo>
                  <a:cubicBezTo>
                    <a:pt x="49" y="296"/>
                    <a:pt x="50" y="296"/>
                    <a:pt x="52" y="296"/>
                  </a:cubicBezTo>
                  <a:cubicBezTo>
                    <a:pt x="53" y="296"/>
                    <a:pt x="53" y="296"/>
                    <a:pt x="53" y="296"/>
                  </a:cubicBezTo>
                  <a:cubicBezTo>
                    <a:pt x="53" y="296"/>
                    <a:pt x="54" y="296"/>
                    <a:pt x="55" y="295"/>
                  </a:cubicBezTo>
                  <a:cubicBezTo>
                    <a:pt x="57" y="295"/>
                    <a:pt x="58" y="293"/>
                    <a:pt x="59" y="291"/>
                  </a:cubicBezTo>
                  <a:cubicBezTo>
                    <a:pt x="59" y="291"/>
                    <a:pt x="59" y="291"/>
                    <a:pt x="59" y="290"/>
                  </a:cubicBezTo>
                  <a:cubicBezTo>
                    <a:pt x="60" y="288"/>
                    <a:pt x="60" y="287"/>
                    <a:pt x="62" y="286"/>
                  </a:cubicBezTo>
                  <a:cubicBezTo>
                    <a:pt x="63" y="285"/>
                    <a:pt x="64" y="285"/>
                    <a:pt x="65" y="285"/>
                  </a:cubicBezTo>
                  <a:cubicBezTo>
                    <a:pt x="66" y="284"/>
                    <a:pt x="67" y="284"/>
                    <a:pt x="69" y="282"/>
                  </a:cubicBezTo>
                  <a:cubicBezTo>
                    <a:pt x="70" y="281"/>
                    <a:pt x="71" y="279"/>
                    <a:pt x="72" y="277"/>
                  </a:cubicBezTo>
                  <a:cubicBezTo>
                    <a:pt x="73" y="276"/>
                    <a:pt x="74" y="275"/>
                    <a:pt x="75" y="274"/>
                  </a:cubicBezTo>
                  <a:cubicBezTo>
                    <a:pt x="76" y="272"/>
                    <a:pt x="77" y="271"/>
                    <a:pt x="78" y="269"/>
                  </a:cubicBezTo>
                  <a:cubicBezTo>
                    <a:pt x="79" y="266"/>
                    <a:pt x="80" y="263"/>
                    <a:pt x="80" y="260"/>
                  </a:cubicBezTo>
                  <a:cubicBezTo>
                    <a:pt x="80" y="259"/>
                    <a:pt x="80" y="259"/>
                    <a:pt x="80" y="259"/>
                  </a:cubicBezTo>
                  <a:cubicBezTo>
                    <a:pt x="81" y="253"/>
                    <a:pt x="84" y="249"/>
                    <a:pt x="88" y="249"/>
                  </a:cubicBezTo>
                  <a:cubicBezTo>
                    <a:pt x="89" y="248"/>
                    <a:pt x="91" y="248"/>
                    <a:pt x="92" y="248"/>
                  </a:cubicBezTo>
                  <a:cubicBezTo>
                    <a:pt x="95" y="248"/>
                    <a:pt x="98" y="249"/>
                    <a:pt x="100" y="252"/>
                  </a:cubicBezTo>
                  <a:cubicBezTo>
                    <a:pt x="103" y="255"/>
                    <a:pt x="107" y="259"/>
                    <a:pt x="111" y="260"/>
                  </a:cubicBezTo>
                  <a:cubicBezTo>
                    <a:pt x="112" y="261"/>
                    <a:pt x="112" y="261"/>
                    <a:pt x="113" y="261"/>
                  </a:cubicBezTo>
                  <a:cubicBezTo>
                    <a:pt x="114" y="261"/>
                    <a:pt x="114" y="261"/>
                    <a:pt x="115" y="261"/>
                  </a:cubicBezTo>
                  <a:cubicBezTo>
                    <a:pt x="116" y="261"/>
                    <a:pt x="117" y="260"/>
                    <a:pt x="118" y="260"/>
                  </a:cubicBezTo>
                  <a:cubicBezTo>
                    <a:pt x="118" y="260"/>
                    <a:pt x="118" y="260"/>
                    <a:pt x="118" y="260"/>
                  </a:cubicBezTo>
                  <a:cubicBezTo>
                    <a:pt x="120" y="260"/>
                    <a:pt x="121" y="261"/>
                    <a:pt x="122" y="263"/>
                  </a:cubicBezTo>
                  <a:cubicBezTo>
                    <a:pt x="125" y="266"/>
                    <a:pt x="129" y="266"/>
                    <a:pt x="133" y="267"/>
                  </a:cubicBezTo>
                  <a:cubicBezTo>
                    <a:pt x="134" y="267"/>
                    <a:pt x="134" y="267"/>
                    <a:pt x="134" y="267"/>
                  </a:cubicBezTo>
                  <a:cubicBezTo>
                    <a:pt x="135" y="267"/>
                    <a:pt x="135" y="267"/>
                    <a:pt x="135" y="267"/>
                  </a:cubicBezTo>
                  <a:cubicBezTo>
                    <a:pt x="137" y="267"/>
                    <a:pt x="138" y="266"/>
                    <a:pt x="140" y="266"/>
                  </a:cubicBezTo>
                  <a:cubicBezTo>
                    <a:pt x="141" y="265"/>
                    <a:pt x="142" y="264"/>
                    <a:pt x="143" y="264"/>
                  </a:cubicBezTo>
                  <a:cubicBezTo>
                    <a:pt x="144" y="264"/>
                    <a:pt x="145" y="264"/>
                    <a:pt x="145" y="264"/>
                  </a:cubicBezTo>
                  <a:cubicBezTo>
                    <a:pt x="146" y="265"/>
                    <a:pt x="146" y="265"/>
                    <a:pt x="147" y="265"/>
                  </a:cubicBezTo>
                  <a:cubicBezTo>
                    <a:pt x="148" y="265"/>
                    <a:pt x="149" y="266"/>
                    <a:pt x="150" y="266"/>
                  </a:cubicBezTo>
                  <a:cubicBezTo>
                    <a:pt x="151" y="266"/>
                    <a:pt x="151" y="266"/>
                    <a:pt x="152" y="265"/>
                  </a:cubicBezTo>
                  <a:cubicBezTo>
                    <a:pt x="154" y="264"/>
                    <a:pt x="156" y="262"/>
                    <a:pt x="157" y="260"/>
                  </a:cubicBezTo>
                  <a:cubicBezTo>
                    <a:pt x="158" y="260"/>
                    <a:pt x="158" y="260"/>
                    <a:pt x="158" y="260"/>
                  </a:cubicBezTo>
                  <a:cubicBezTo>
                    <a:pt x="160" y="257"/>
                    <a:pt x="160" y="254"/>
                    <a:pt x="161" y="252"/>
                  </a:cubicBezTo>
                  <a:cubicBezTo>
                    <a:pt x="162" y="250"/>
                    <a:pt x="162" y="248"/>
                    <a:pt x="163" y="246"/>
                  </a:cubicBezTo>
                  <a:cubicBezTo>
                    <a:pt x="164" y="244"/>
                    <a:pt x="165" y="242"/>
                    <a:pt x="165" y="239"/>
                  </a:cubicBezTo>
                  <a:cubicBezTo>
                    <a:pt x="166" y="237"/>
                    <a:pt x="167" y="235"/>
                    <a:pt x="168" y="233"/>
                  </a:cubicBezTo>
                  <a:cubicBezTo>
                    <a:pt x="169" y="230"/>
                    <a:pt x="172" y="229"/>
                    <a:pt x="175" y="228"/>
                  </a:cubicBezTo>
                  <a:cubicBezTo>
                    <a:pt x="176" y="228"/>
                    <a:pt x="177" y="228"/>
                    <a:pt x="178" y="228"/>
                  </a:cubicBezTo>
                  <a:cubicBezTo>
                    <a:pt x="179" y="228"/>
                    <a:pt x="181" y="228"/>
                    <a:pt x="183" y="226"/>
                  </a:cubicBezTo>
                  <a:cubicBezTo>
                    <a:pt x="185" y="224"/>
                    <a:pt x="188" y="222"/>
                    <a:pt x="191" y="220"/>
                  </a:cubicBezTo>
                  <a:cubicBezTo>
                    <a:pt x="192" y="219"/>
                    <a:pt x="192" y="219"/>
                    <a:pt x="192" y="219"/>
                  </a:cubicBezTo>
                  <a:cubicBezTo>
                    <a:pt x="195" y="217"/>
                    <a:pt x="195" y="216"/>
                    <a:pt x="195" y="213"/>
                  </a:cubicBezTo>
                  <a:cubicBezTo>
                    <a:pt x="195" y="212"/>
                    <a:pt x="195" y="212"/>
                    <a:pt x="195" y="212"/>
                  </a:cubicBezTo>
                  <a:cubicBezTo>
                    <a:pt x="196" y="206"/>
                    <a:pt x="197" y="199"/>
                    <a:pt x="201" y="195"/>
                  </a:cubicBezTo>
                  <a:cubicBezTo>
                    <a:pt x="204" y="193"/>
                    <a:pt x="207" y="191"/>
                    <a:pt x="209" y="189"/>
                  </a:cubicBezTo>
                  <a:cubicBezTo>
                    <a:pt x="212" y="187"/>
                    <a:pt x="215" y="185"/>
                    <a:pt x="218" y="183"/>
                  </a:cubicBezTo>
                  <a:cubicBezTo>
                    <a:pt x="219" y="182"/>
                    <a:pt x="220" y="181"/>
                    <a:pt x="221" y="180"/>
                  </a:cubicBezTo>
                  <a:cubicBezTo>
                    <a:pt x="223" y="179"/>
                    <a:pt x="224" y="178"/>
                    <a:pt x="225" y="176"/>
                  </a:cubicBezTo>
                  <a:cubicBezTo>
                    <a:pt x="228" y="173"/>
                    <a:pt x="228" y="173"/>
                    <a:pt x="228" y="173"/>
                  </a:cubicBezTo>
                  <a:cubicBezTo>
                    <a:pt x="229" y="172"/>
                    <a:pt x="230" y="170"/>
                    <a:pt x="231" y="168"/>
                  </a:cubicBezTo>
                  <a:cubicBezTo>
                    <a:pt x="232" y="168"/>
                    <a:pt x="232" y="167"/>
                    <a:pt x="233" y="166"/>
                  </a:cubicBezTo>
                  <a:cubicBezTo>
                    <a:pt x="235" y="164"/>
                    <a:pt x="237" y="162"/>
                    <a:pt x="239" y="161"/>
                  </a:cubicBezTo>
                  <a:cubicBezTo>
                    <a:pt x="240" y="161"/>
                    <a:pt x="240" y="160"/>
                    <a:pt x="241" y="160"/>
                  </a:cubicBezTo>
                  <a:cubicBezTo>
                    <a:pt x="242" y="160"/>
                    <a:pt x="243" y="161"/>
                    <a:pt x="243" y="161"/>
                  </a:cubicBezTo>
                  <a:cubicBezTo>
                    <a:pt x="244" y="161"/>
                    <a:pt x="245" y="161"/>
                    <a:pt x="246" y="161"/>
                  </a:cubicBezTo>
                  <a:cubicBezTo>
                    <a:pt x="247" y="161"/>
                    <a:pt x="248" y="160"/>
                    <a:pt x="249" y="160"/>
                  </a:cubicBezTo>
                  <a:cubicBezTo>
                    <a:pt x="250" y="159"/>
                    <a:pt x="250" y="159"/>
                    <a:pt x="251" y="158"/>
                  </a:cubicBezTo>
                  <a:cubicBezTo>
                    <a:pt x="252" y="157"/>
                    <a:pt x="252" y="157"/>
                    <a:pt x="253" y="156"/>
                  </a:cubicBezTo>
                  <a:cubicBezTo>
                    <a:pt x="254" y="156"/>
                    <a:pt x="254" y="156"/>
                    <a:pt x="254" y="156"/>
                  </a:cubicBezTo>
                  <a:cubicBezTo>
                    <a:pt x="255" y="155"/>
                    <a:pt x="256" y="154"/>
                    <a:pt x="256" y="153"/>
                  </a:cubicBezTo>
                  <a:cubicBezTo>
                    <a:pt x="257" y="152"/>
                    <a:pt x="257" y="152"/>
                    <a:pt x="257" y="152"/>
                  </a:cubicBezTo>
                  <a:cubicBezTo>
                    <a:pt x="257" y="151"/>
                    <a:pt x="257" y="150"/>
                    <a:pt x="258" y="149"/>
                  </a:cubicBezTo>
                  <a:cubicBezTo>
                    <a:pt x="259" y="149"/>
                    <a:pt x="259" y="148"/>
                    <a:pt x="260" y="148"/>
                  </a:cubicBezTo>
                  <a:cubicBezTo>
                    <a:pt x="261" y="147"/>
                    <a:pt x="262" y="147"/>
                    <a:pt x="262" y="145"/>
                  </a:cubicBezTo>
                  <a:cubicBezTo>
                    <a:pt x="262" y="144"/>
                    <a:pt x="262" y="144"/>
                    <a:pt x="262" y="144"/>
                  </a:cubicBezTo>
                  <a:lnTo>
                    <a:pt x="261" y="143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2" name="Freeform 52"/>
            <p:cNvSpPr>
              <a:spLocks/>
            </p:cNvSpPr>
            <p:nvPr/>
          </p:nvSpPr>
          <p:spPr bwMode="auto">
            <a:xfrm>
              <a:off x="2685251" y="2193962"/>
              <a:ext cx="1127182" cy="1153714"/>
            </a:xfrm>
            <a:custGeom>
              <a:avLst/>
              <a:gdLst>
                <a:gd name="T0" fmla="*/ 542 w 557"/>
                <a:gd name="T1" fmla="*/ 79 h 619"/>
                <a:gd name="T2" fmla="*/ 542 w 557"/>
                <a:gd name="T3" fmla="*/ 58 h 619"/>
                <a:gd name="T4" fmla="*/ 507 w 557"/>
                <a:gd name="T5" fmla="*/ 24 h 619"/>
                <a:gd name="T6" fmla="*/ 491 w 557"/>
                <a:gd name="T7" fmla="*/ 31 h 619"/>
                <a:gd name="T8" fmla="*/ 463 w 557"/>
                <a:gd name="T9" fmla="*/ 31 h 619"/>
                <a:gd name="T10" fmla="*/ 441 w 557"/>
                <a:gd name="T11" fmla="*/ 8 h 619"/>
                <a:gd name="T12" fmla="*/ 419 w 557"/>
                <a:gd name="T13" fmla="*/ 10 h 619"/>
                <a:gd name="T14" fmla="*/ 389 w 557"/>
                <a:gd name="T15" fmla="*/ 0 h 619"/>
                <a:gd name="T16" fmla="*/ 361 w 557"/>
                <a:gd name="T17" fmla="*/ 12 h 619"/>
                <a:gd name="T18" fmla="*/ 317 w 557"/>
                <a:gd name="T19" fmla="*/ 20 h 619"/>
                <a:gd name="T20" fmla="*/ 275 w 557"/>
                <a:gd name="T21" fmla="*/ 36 h 619"/>
                <a:gd name="T22" fmla="*/ 240 w 557"/>
                <a:gd name="T23" fmla="*/ 25 h 619"/>
                <a:gd name="T24" fmla="*/ 189 w 557"/>
                <a:gd name="T25" fmla="*/ 35 h 619"/>
                <a:gd name="T26" fmla="*/ 174 w 557"/>
                <a:gd name="T27" fmla="*/ 108 h 619"/>
                <a:gd name="T28" fmla="*/ 154 w 557"/>
                <a:gd name="T29" fmla="*/ 206 h 619"/>
                <a:gd name="T30" fmla="*/ 118 w 557"/>
                <a:gd name="T31" fmla="*/ 273 h 619"/>
                <a:gd name="T32" fmla="*/ 102 w 557"/>
                <a:gd name="T33" fmla="*/ 309 h 619"/>
                <a:gd name="T34" fmla="*/ 68 w 557"/>
                <a:gd name="T35" fmla="*/ 329 h 619"/>
                <a:gd name="T36" fmla="*/ 50 w 557"/>
                <a:gd name="T37" fmla="*/ 323 h 619"/>
                <a:gd name="T38" fmla="*/ 28 w 557"/>
                <a:gd name="T39" fmla="*/ 329 h 619"/>
                <a:gd name="T40" fmla="*/ 13 w 557"/>
                <a:gd name="T41" fmla="*/ 347 h 619"/>
                <a:gd name="T42" fmla="*/ 6 w 557"/>
                <a:gd name="T43" fmla="*/ 374 h 619"/>
                <a:gd name="T44" fmla="*/ 16 w 557"/>
                <a:gd name="T45" fmla="*/ 374 h 619"/>
                <a:gd name="T46" fmla="*/ 99 w 557"/>
                <a:gd name="T47" fmla="*/ 370 h 619"/>
                <a:gd name="T48" fmla="*/ 132 w 557"/>
                <a:gd name="T49" fmla="*/ 377 h 619"/>
                <a:gd name="T50" fmla="*/ 135 w 557"/>
                <a:gd name="T51" fmla="*/ 396 h 619"/>
                <a:gd name="T52" fmla="*/ 149 w 557"/>
                <a:gd name="T53" fmla="*/ 426 h 619"/>
                <a:gd name="T54" fmla="*/ 172 w 557"/>
                <a:gd name="T55" fmla="*/ 443 h 619"/>
                <a:gd name="T56" fmla="*/ 185 w 557"/>
                <a:gd name="T57" fmla="*/ 441 h 619"/>
                <a:gd name="T58" fmla="*/ 195 w 557"/>
                <a:gd name="T59" fmla="*/ 441 h 619"/>
                <a:gd name="T60" fmla="*/ 213 w 557"/>
                <a:gd name="T61" fmla="*/ 426 h 619"/>
                <a:gd name="T62" fmla="*/ 239 w 557"/>
                <a:gd name="T63" fmla="*/ 405 h 619"/>
                <a:gd name="T64" fmla="*/ 260 w 557"/>
                <a:gd name="T65" fmla="*/ 417 h 619"/>
                <a:gd name="T66" fmla="*/ 283 w 557"/>
                <a:gd name="T67" fmla="*/ 464 h 619"/>
                <a:gd name="T68" fmla="*/ 295 w 557"/>
                <a:gd name="T69" fmla="*/ 519 h 619"/>
                <a:gd name="T70" fmla="*/ 293 w 557"/>
                <a:gd name="T71" fmla="*/ 539 h 619"/>
                <a:gd name="T72" fmla="*/ 307 w 557"/>
                <a:gd name="T73" fmla="*/ 544 h 619"/>
                <a:gd name="T74" fmla="*/ 322 w 557"/>
                <a:gd name="T75" fmla="*/ 543 h 619"/>
                <a:gd name="T76" fmla="*/ 334 w 557"/>
                <a:gd name="T77" fmla="*/ 540 h 619"/>
                <a:gd name="T78" fmla="*/ 352 w 557"/>
                <a:gd name="T79" fmla="*/ 541 h 619"/>
                <a:gd name="T80" fmla="*/ 371 w 557"/>
                <a:gd name="T81" fmla="*/ 548 h 619"/>
                <a:gd name="T82" fmla="*/ 410 w 557"/>
                <a:gd name="T83" fmla="*/ 570 h 619"/>
                <a:gd name="T84" fmla="*/ 438 w 557"/>
                <a:gd name="T85" fmla="*/ 565 h 619"/>
                <a:gd name="T86" fmla="*/ 452 w 557"/>
                <a:gd name="T87" fmla="*/ 582 h 619"/>
                <a:gd name="T88" fmla="*/ 471 w 557"/>
                <a:gd name="T89" fmla="*/ 589 h 619"/>
                <a:gd name="T90" fmla="*/ 496 w 557"/>
                <a:gd name="T91" fmla="*/ 619 h 619"/>
                <a:gd name="T92" fmla="*/ 512 w 557"/>
                <a:gd name="T93" fmla="*/ 607 h 619"/>
                <a:gd name="T94" fmla="*/ 499 w 557"/>
                <a:gd name="T95" fmla="*/ 586 h 619"/>
                <a:gd name="T96" fmla="*/ 474 w 557"/>
                <a:gd name="T97" fmla="*/ 543 h 619"/>
                <a:gd name="T98" fmla="*/ 473 w 557"/>
                <a:gd name="T99" fmla="*/ 483 h 619"/>
                <a:gd name="T100" fmla="*/ 528 w 557"/>
                <a:gd name="T101" fmla="*/ 432 h 619"/>
                <a:gd name="T102" fmla="*/ 502 w 557"/>
                <a:gd name="T103" fmla="*/ 385 h 619"/>
                <a:gd name="T104" fmla="*/ 497 w 557"/>
                <a:gd name="T105" fmla="*/ 318 h 619"/>
                <a:gd name="T106" fmla="*/ 496 w 557"/>
                <a:gd name="T107" fmla="*/ 283 h 619"/>
                <a:gd name="T108" fmla="*/ 509 w 557"/>
                <a:gd name="T109" fmla="*/ 220 h 619"/>
                <a:gd name="T110" fmla="*/ 521 w 557"/>
                <a:gd name="T111" fmla="*/ 148 h 619"/>
                <a:gd name="T112" fmla="*/ 556 w 557"/>
                <a:gd name="T113" fmla="*/ 106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57" h="619">
                  <a:moveTo>
                    <a:pt x="556" y="106"/>
                  </a:moveTo>
                  <a:cubicBezTo>
                    <a:pt x="556" y="102"/>
                    <a:pt x="550" y="100"/>
                    <a:pt x="545" y="98"/>
                  </a:cubicBezTo>
                  <a:cubicBezTo>
                    <a:pt x="543" y="97"/>
                    <a:pt x="541" y="97"/>
                    <a:pt x="540" y="96"/>
                  </a:cubicBezTo>
                  <a:cubicBezTo>
                    <a:pt x="540" y="94"/>
                    <a:pt x="541" y="91"/>
                    <a:pt x="542" y="88"/>
                  </a:cubicBezTo>
                  <a:cubicBezTo>
                    <a:pt x="543" y="87"/>
                    <a:pt x="543" y="87"/>
                    <a:pt x="543" y="86"/>
                  </a:cubicBezTo>
                  <a:cubicBezTo>
                    <a:pt x="544" y="85"/>
                    <a:pt x="544" y="85"/>
                    <a:pt x="544" y="85"/>
                  </a:cubicBezTo>
                  <a:cubicBezTo>
                    <a:pt x="544" y="84"/>
                    <a:pt x="545" y="83"/>
                    <a:pt x="544" y="81"/>
                  </a:cubicBezTo>
                  <a:cubicBezTo>
                    <a:pt x="544" y="80"/>
                    <a:pt x="543" y="80"/>
                    <a:pt x="542" y="79"/>
                  </a:cubicBezTo>
                  <a:cubicBezTo>
                    <a:pt x="542" y="79"/>
                    <a:pt x="541" y="78"/>
                    <a:pt x="541" y="77"/>
                  </a:cubicBezTo>
                  <a:cubicBezTo>
                    <a:pt x="541" y="76"/>
                    <a:pt x="542" y="73"/>
                    <a:pt x="543" y="70"/>
                  </a:cubicBezTo>
                  <a:cubicBezTo>
                    <a:pt x="546" y="64"/>
                    <a:pt x="547" y="61"/>
                    <a:pt x="546" y="59"/>
                  </a:cubicBezTo>
                  <a:cubicBezTo>
                    <a:pt x="546" y="59"/>
                    <a:pt x="545" y="58"/>
                    <a:pt x="545" y="58"/>
                  </a:cubicBezTo>
                  <a:cubicBezTo>
                    <a:pt x="544" y="58"/>
                    <a:pt x="544" y="58"/>
                    <a:pt x="544" y="58"/>
                  </a:cubicBezTo>
                  <a:cubicBezTo>
                    <a:pt x="544" y="58"/>
                    <a:pt x="544" y="58"/>
                    <a:pt x="544" y="58"/>
                  </a:cubicBezTo>
                  <a:cubicBezTo>
                    <a:pt x="543" y="58"/>
                    <a:pt x="543" y="58"/>
                    <a:pt x="542" y="58"/>
                  </a:cubicBezTo>
                  <a:cubicBezTo>
                    <a:pt x="542" y="58"/>
                    <a:pt x="542" y="58"/>
                    <a:pt x="542" y="58"/>
                  </a:cubicBezTo>
                  <a:cubicBezTo>
                    <a:pt x="538" y="58"/>
                    <a:pt x="536" y="58"/>
                    <a:pt x="535" y="54"/>
                  </a:cubicBezTo>
                  <a:cubicBezTo>
                    <a:pt x="535" y="53"/>
                    <a:pt x="535" y="53"/>
                    <a:pt x="535" y="52"/>
                  </a:cubicBezTo>
                  <a:cubicBezTo>
                    <a:pt x="534" y="50"/>
                    <a:pt x="534" y="50"/>
                    <a:pt x="532" y="49"/>
                  </a:cubicBezTo>
                  <a:cubicBezTo>
                    <a:pt x="531" y="49"/>
                    <a:pt x="531" y="48"/>
                    <a:pt x="530" y="48"/>
                  </a:cubicBezTo>
                  <a:cubicBezTo>
                    <a:pt x="529" y="48"/>
                    <a:pt x="528" y="47"/>
                    <a:pt x="527" y="46"/>
                  </a:cubicBezTo>
                  <a:cubicBezTo>
                    <a:pt x="526" y="45"/>
                    <a:pt x="524" y="44"/>
                    <a:pt x="523" y="42"/>
                  </a:cubicBezTo>
                  <a:cubicBezTo>
                    <a:pt x="519" y="38"/>
                    <a:pt x="514" y="33"/>
                    <a:pt x="512" y="28"/>
                  </a:cubicBezTo>
                  <a:cubicBezTo>
                    <a:pt x="511" y="26"/>
                    <a:pt x="509" y="24"/>
                    <a:pt x="507" y="24"/>
                  </a:cubicBezTo>
                  <a:cubicBezTo>
                    <a:pt x="507" y="24"/>
                    <a:pt x="507" y="24"/>
                    <a:pt x="507" y="24"/>
                  </a:cubicBezTo>
                  <a:cubicBezTo>
                    <a:pt x="507" y="24"/>
                    <a:pt x="507" y="24"/>
                    <a:pt x="507" y="24"/>
                  </a:cubicBezTo>
                  <a:cubicBezTo>
                    <a:pt x="506" y="24"/>
                    <a:pt x="504" y="24"/>
                    <a:pt x="503" y="26"/>
                  </a:cubicBezTo>
                  <a:cubicBezTo>
                    <a:pt x="502" y="27"/>
                    <a:pt x="501" y="28"/>
                    <a:pt x="501" y="29"/>
                  </a:cubicBezTo>
                  <a:cubicBezTo>
                    <a:pt x="500" y="32"/>
                    <a:pt x="499" y="33"/>
                    <a:pt x="496" y="33"/>
                  </a:cubicBezTo>
                  <a:cubicBezTo>
                    <a:pt x="496" y="33"/>
                    <a:pt x="496" y="33"/>
                    <a:pt x="495" y="33"/>
                  </a:cubicBezTo>
                  <a:cubicBezTo>
                    <a:pt x="495" y="33"/>
                    <a:pt x="494" y="33"/>
                    <a:pt x="493" y="32"/>
                  </a:cubicBezTo>
                  <a:cubicBezTo>
                    <a:pt x="492" y="31"/>
                    <a:pt x="492" y="31"/>
                    <a:pt x="491" y="31"/>
                  </a:cubicBezTo>
                  <a:cubicBezTo>
                    <a:pt x="490" y="30"/>
                    <a:pt x="488" y="29"/>
                    <a:pt x="487" y="29"/>
                  </a:cubicBezTo>
                  <a:cubicBezTo>
                    <a:pt x="486" y="29"/>
                    <a:pt x="486" y="29"/>
                    <a:pt x="486" y="29"/>
                  </a:cubicBezTo>
                  <a:cubicBezTo>
                    <a:pt x="484" y="28"/>
                    <a:pt x="484" y="28"/>
                    <a:pt x="483" y="28"/>
                  </a:cubicBezTo>
                  <a:cubicBezTo>
                    <a:pt x="480" y="28"/>
                    <a:pt x="479" y="30"/>
                    <a:pt x="476" y="32"/>
                  </a:cubicBezTo>
                  <a:cubicBezTo>
                    <a:pt x="476" y="32"/>
                    <a:pt x="476" y="32"/>
                    <a:pt x="476" y="32"/>
                  </a:cubicBezTo>
                  <a:cubicBezTo>
                    <a:pt x="474" y="34"/>
                    <a:pt x="472" y="35"/>
                    <a:pt x="471" y="35"/>
                  </a:cubicBezTo>
                  <a:cubicBezTo>
                    <a:pt x="470" y="35"/>
                    <a:pt x="469" y="35"/>
                    <a:pt x="467" y="34"/>
                  </a:cubicBezTo>
                  <a:cubicBezTo>
                    <a:pt x="466" y="33"/>
                    <a:pt x="464" y="32"/>
                    <a:pt x="463" y="31"/>
                  </a:cubicBezTo>
                  <a:cubicBezTo>
                    <a:pt x="459" y="30"/>
                    <a:pt x="456" y="28"/>
                    <a:pt x="454" y="25"/>
                  </a:cubicBezTo>
                  <a:cubicBezTo>
                    <a:pt x="453" y="24"/>
                    <a:pt x="453" y="23"/>
                    <a:pt x="453" y="22"/>
                  </a:cubicBezTo>
                  <a:cubicBezTo>
                    <a:pt x="453" y="20"/>
                    <a:pt x="452" y="19"/>
                    <a:pt x="451" y="17"/>
                  </a:cubicBezTo>
                  <a:cubicBezTo>
                    <a:pt x="450" y="16"/>
                    <a:pt x="449" y="15"/>
                    <a:pt x="448" y="14"/>
                  </a:cubicBezTo>
                  <a:cubicBezTo>
                    <a:pt x="447" y="13"/>
                    <a:pt x="446" y="12"/>
                    <a:pt x="445" y="11"/>
                  </a:cubicBezTo>
                  <a:cubicBezTo>
                    <a:pt x="444" y="10"/>
                    <a:pt x="443" y="9"/>
                    <a:pt x="443" y="8"/>
                  </a:cubicBezTo>
                  <a:cubicBezTo>
                    <a:pt x="442" y="7"/>
                    <a:pt x="442" y="7"/>
                    <a:pt x="442" y="7"/>
                  </a:cubicBezTo>
                  <a:cubicBezTo>
                    <a:pt x="441" y="8"/>
                    <a:pt x="441" y="8"/>
                    <a:pt x="441" y="8"/>
                  </a:cubicBezTo>
                  <a:cubicBezTo>
                    <a:pt x="440" y="8"/>
                    <a:pt x="440" y="8"/>
                    <a:pt x="439" y="8"/>
                  </a:cubicBezTo>
                  <a:cubicBezTo>
                    <a:pt x="438" y="8"/>
                    <a:pt x="437" y="8"/>
                    <a:pt x="436" y="7"/>
                  </a:cubicBezTo>
                  <a:cubicBezTo>
                    <a:pt x="435" y="7"/>
                    <a:pt x="433" y="7"/>
                    <a:pt x="432" y="7"/>
                  </a:cubicBezTo>
                  <a:cubicBezTo>
                    <a:pt x="430" y="7"/>
                    <a:pt x="428" y="9"/>
                    <a:pt x="428" y="10"/>
                  </a:cubicBezTo>
                  <a:cubicBezTo>
                    <a:pt x="427" y="10"/>
                    <a:pt x="426" y="10"/>
                    <a:pt x="426" y="10"/>
                  </a:cubicBezTo>
                  <a:cubicBezTo>
                    <a:pt x="425" y="10"/>
                    <a:pt x="424" y="10"/>
                    <a:pt x="423" y="10"/>
                  </a:cubicBezTo>
                  <a:cubicBezTo>
                    <a:pt x="422" y="10"/>
                    <a:pt x="422" y="10"/>
                    <a:pt x="421" y="10"/>
                  </a:cubicBezTo>
                  <a:cubicBezTo>
                    <a:pt x="420" y="10"/>
                    <a:pt x="420" y="10"/>
                    <a:pt x="419" y="10"/>
                  </a:cubicBezTo>
                  <a:cubicBezTo>
                    <a:pt x="416" y="10"/>
                    <a:pt x="414" y="9"/>
                    <a:pt x="412" y="7"/>
                  </a:cubicBezTo>
                  <a:cubicBezTo>
                    <a:pt x="411" y="6"/>
                    <a:pt x="411" y="6"/>
                    <a:pt x="411" y="6"/>
                  </a:cubicBezTo>
                  <a:cubicBezTo>
                    <a:pt x="410" y="5"/>
                    <a:pt x="408" y="3"/>
                    <a:pt x="406" y="3"/>
                  </a:cubicBezTo>
                  <a:cubicBezTo>
                    <a:pt x="404" y="3"/>
                    <a:pt x="403" y="4"/>
                    <a:pt x="402" y="5"/>
                  </a:cubicBezTo>
                  <a:cubicBezTo>
                    <a:pt x="401" y="6"/>
                    <a:pt x="400" y="6"/>
                    <a:pt x="400" y="7"/>
                  </a:cubicBezTo>
                  <a:cubicBezTo>
                    <a:pt x="399" y="7"/>
                    <a:pt x="398" y="7"/>
                    <a:pt x="398" y="7"/>
                  </a:cubicBezTo>
                  <a:cubicBezTo>
                    <a:pt x="396" y="7"/>
                    <a:pt x="395" y="6"/>
                    <a:pt x="394" y="4"/>
                  </a:cubicBezTo>
                  <a:cubicBezTo>
                    <a:pt x="393" y="2"/>
                    <a:pt x="391" y="0"/>
                    <a:pt x="389" y="0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85" y="0"/>
                    <a:pt x="384" y="3"/>
                    <a:pt x="383" y="6"/>
                  </a:cubicBezTo>
                  <a:cubicBezTo>
                    <a:pt x="383" y="8"/>
                    <a:pt x="382" y="10"/>
                    <a:pt x="380" y="11"/>
                  </a:cubicBezTo>
                  <a:cubicBezTo>
                    <a:pt x="379" y="12"/>
                    <a:pt x="378" y="12"/>
                    <a:pt x="376" y="12"/>
                  </a:cubicBezTo>
                  <a:cubicBezTo>
                    <a:pt x="375" y="12"/>
                    <a:pt x="374" y="12"/>
                    <a:pt x="373" y="13"/>
                  </a:cubicBezTo>
                  <a:cubicBezTo>
                    <a:pt x="370" y="13"/>
                    <a:pt x="369" y="13"/>
                    <a:pt x="367" y="13"/>
                  </a:cubicBezTo>
                  <a:cubicBezTo>
                    <a:pt x="365" y="13"/>
                    <a:pt x="364" y="13"/>
                    <a:pt x="361" y="12"/>
                  </a:cubicBezTo>
                  <a:cubicBezTo>
                    <a:pt x="361" y="12"/>
                    <a:pt x="361" y="12"/>
                    <a:pt x="361" y="12"/>
                  </a:cubicBezTo>
                  <a:cubicBezTo>
                    <a:pt x="359" y="11"/>
                    <a:pt x="357" y="11"/>
                    <a:pt x="356" y="11"/>
                  </a:cubicBezTo>
                  <a:cubicBezTo>
                    <a:pt x="354" y="11"/>
                    <a:pt x="353" y="11"/>
                    <a:pt x="351" y="12"/>
                  </a:cubicBezTo>
                  <a:cubicBezTo>
                    <a:pt x="347" y="15"/>
                    <a:pt x="344" y="17"/>
                    <a:pt x="339" y="19"/>
                  </a:cubicBezTo>
                  <a:cubicBezTo>
                    <a:pt x="337" y="19"/>
                    <a:pt x="336" y="20"/>
                    <a:pt x="334" y="21"/>
                  </a:cubicBezTo>
                  <a:cubicBezTo>
                    <a:pt x="332" y="23"/>
                    <a:pt x="330" y="24"/>
                    <a:pt x="327" y="25"/>
                  </a:cubicBezTo>
                  <a:cubicBezTo>
                    <a:pt x="327" y="25"/>
                    <a:pt x="326" y="25"/>
                    <a:pt x="326" y="25"/>
                  </a:cubicBezTo>
                  <a:cubicBezTo>
                    <a:pt x="324" y="25"/>
                    <a:pt x="322" y="23"/>
                    <a:pt x="320" y="22"/>
                  </a:cubicBezTo>
                  <a:cubicBezTo>
                    <a:pt x="319" y="21"/>
                    <a:pt x="318" y="20"/>
                    <a:pt x="317" y="20"/>
                  </a:cubicBezTo>
                  <a:cubicBezTo>
                    <a:pt x="315" y="19"/>
                    <a:pt x="314" y="19"/>
                    <a:pt x="313" y="19"/>
                  </a:cubicBezTo>
                  <a:cubicBezTo>
                    <a:pt x="313" y="19"/>
                    <a:pt x="312" y="19"/>
                    <a:pt x="311" y="19"/>
                  </a:cubicBezTo>
                  <a:cubicBezTo>
                    <a:pt x="308" y="21"/>
                    <a:pt x="306" y="26"/>
                    <a:pt x="304" y="30"/>
                  </a:cubicBezTo>
                  <a:cubicBezTo>
                    <a:pt x="303" y="33"/>
                    <a:pt x="302" y="35"/>
                    <a:pt x="301" y="36"/>
                  </a:cubicBezTo>
                  <a:cubicBezTo>
                    <a:pt x="300" y="39"/>
                    <a:pt x="298" y="40"/>
                    <a:pt x="295" y="40"/>
                  </a:cubicBezTo>
                  <a:cubicBezTo>
                    <a:pt x="292" y="40"/>
                    <a:pt x="289" y="39"/>
                    <a:pt x="286" y="38"/>
                  </a:cubicBezTo>
                  <a:cubicBezTo>
                    <a:pt x="284" y="37"/>
                    <a:pt x="282" y="37"/>
                    <a:pt x="279" y="36"/>
                  </a:cubicBezTo>
                  <a:cubicBezTo>
                    <a:pt x="278" y="36"/>
                    <a:pt x="277" y="36"/>
                    <a:pt x="275" y="36"/>
                  </a:cubicBezTo>
                  <a:cubicBezTo>
                    <a:pt x="272" y="36"/>
                    <a:pt x="272" y="36"/>
                    <a:pt x="272" y="36"/>
                  </a:cubicBezTo>
                  <a:cubicBezTo>
                    <a:pt x="271" y="36"/>
                    <a:pt x="269" y="36"/>
                    <a:pt x="268" y="36"/>
                  </a:cubicBezTo>
                  <a:cubicBezTo>
                    <a:pt x="264" y="36"/>
                    <a:pt x="262" y="34"/>
                    <a:pt x="259" y="32"/>
                  </a:cubicBezTo>
                  <a:cubicBezTo>
                    <a:pt x="258" y="32"/>
                    <a:pt x="258" y="32"/>
                    <a:pt x="258" y="32"/>
                  </a:cubicBezTo>
                  <a:cubicBezTo>
                    <a:pt x="256" y="30"/>
                    <a:pt x="253" y="30"/>
                    <a:pt x="251" y="30"/>
                  </a:cubicBezTo>
                  <a:cubicBezTo>
                    <a:pt x="249" y="30"/>
                    <a:pt x="249" y="30"/>
                    <a:pt x="249" y="30"/>
                  </a:cubicBezTo>
                  <a:cubicBezTo>
                    <a:pt x="248" y="30"/>
                    <a:pt x="247" y="30"/>
                    <a:pt x="246" y="30"/>
                  </a:cubicBezTo>
                  <a:cubicBezTo>
                    <a:pt x="243" y="30"/>
                    <a:pt x="242" y="28"/>
                    <a:pt x="240" y="25"/>
                  </a:cubicBezTo>
                  <a:cubicBezTo>
                    <a:pt x="240" y="24"/>
                    <a:pt x="240" y="24"/>
                    <a:pt x="239" y="23"/>
                  </a:cubicBezTo>
                  <a:cubicBezTo>
                    <a:pt x="235" y="17"/>
                    <a:pt x="229" y="13"/>
                    <a:pt x="223" y="9"/>
                  </a:cubicBezTo>
                  <a:cubicBezTo>
                    <a:pt x="220" y="8"/>
                    <a:pt x="218" y="8"/>
                    <a:pt x="216" y="8"/>
                  </a:cubicBezTo>
                  <a:cubicBezTo>
                    <a:pt x="212" y="8"/>
                    <a:pt x="207" y="10"/>
                    <a:pt x="202" y="15"/>
                  </a:cubicBezTo>
                  <a:cubicBezTo>
                    <a:pt x="200" y="18"/>
                    <a:pt x="198" y="21"/>
                    <a:pt x="196" y="24"/>
                  </a:cubicBezTo>
                  <a:cubicBezTo>
                    <a:pt x="195" y="26"/>
                    <a:pt x="195" y="26"/>
                    <a:pt x="195" y="26"/>
                  </a:cubicBezTo>
                  <a:cubicBezTo>
                    <a:pt x="194" y="27"/>
                    <a:pt x="194" y="28"/>
                    <a:pt x="193" y="29"/>
                  </a:cubicBezTo>
                  <a:cubicBezTo>
                    <a:pt x="191" y="31"/>
                    <a:pt x="190" y="33"/>
                    <a:pt x="189" y="35"/>
                  </a:cubicBezTo>
                  <a:cubicBezTo>
                    <a:pt x="188" y="39"/>
                    <a:pt x="188" y="42"/>
                    <a:pt x="188" y="46"/>
                  </a:cubicBezTo>
                  <a:cubicBezTo>
                    <a:pt x="188" y="47"/>
                    <a:pt x="188" y="47"/>
                    <a:pt x="188" y="47"/>
                  </a:cubicBezTo>
                  <a:cubicBezTo>
                    <a:pt x="188" y="52"/>
                    <a:pt x="187" y="56"/>
                    <a:pt x="186" y="59"/>
                  </a:cubicBezTo>
                  <a:cubicBezTo>
                    <a:pt x="186" y="60"/>
                    <a:pt x="186" y="60"/>
                    <a:pt x="186" y="60"/>
                  </a:cubicBezTo>
                  <a:cubicBezTo>
                    <a:pt x="186" y="60"/>
                    <a:pt x="186" y="60"/>
                    <a:pt x="186" y="60"/>
                  </a:cubicBezTo>
                  <a:cubicBezTo>
                    <a:pt x="190" y="68"/>
                    <a:pt x="185" y="80"/>
                    <a:pt x="182" y="86"/>
                  </a:cubicBezTo>
                  <a:cubicBezTo>
                    <a:pt x="181" y="87"/>
                    <a:pt x="181" y="89"/>
                    <a:pt x="180" y="90"/>
                  </a:cubicBezTo>
                  <a:cubicBezTo>
                    <a:pt x="177" y="96"/>
                    <a:pt x="174" y="101"/>
                    <a:pt x="174" y="108"/>
                  </a:cubicBezTo>
                  <a:cubicBezTo>
                    <a:pt x="174" y="116"/>
                    <a:pt x="172" y="124"/>
                    <a:pt x="170" y="132"/>
                  </a:cubicBezTo>
                  <a:cubicBezTo>
                    <a:pt x="169" y="137"/>
                    <a:pt x="168" y="143"/>
                    <a:pt x="167" y="149"/>
                  </a:cubicBezTo>
                  <a:cubicBezTo>
                    <a:pt x="167" y="152"/>
                    <a:pt x="166" y="155"/>
                    <a:pt x="165" y="158"/>
                  </a:cubicBezTo>
                  <a:cubicBezTo>
                    <a:pt x="164" y="165"/>
                    <a:pt x="163" y="171"/>
                    <a:pt x="163" y="177"/>
                  </a:cubicBezTo>
                  <a:cubicBezTo>
                    <a:pt x="163" y="179"/>
                    <a:pt x="163" y="181"/>
                    <a:pt x="164" y="183"/>
                  </a:cubicBezTo>
                  <a:cubicBezTo>
                    <a:pt x="165" y="187"/>
                    <a:pt x="166" y="191"/>
                    <a:pt x="164" y="195"/>
                  </a:cubicBezTo>
                  <a:cubicBezTo>
                    <a:pt x="162" y="197"/>
                    <a:pt x="160" y="200"/>
                    <a:pt x="157" y="203"/>
                  </a:cubicBezTo>
                  <a:cubicBezTo>
                    <a:pt x="156" y="204"/>
                    <a:pt x="155" y="205"/>
                    <a:pt x="154" y="206"/>
                  </a:cubicBezTo>
                  <a:cubicBezTo>
                    <a:pt x="151" y="209"/>
                    <a:pt x="149" y="212"/>
                    <a:pt x="146" y="216"/>
                  </a:cubicBezTo>
                  <a:cubicBezTo>
                    <a:pt x="145" y="218"/>
                    <a:pt x="143" y="220"/>
                    <a:pt x="142" y="222"/>
                  </a:cubicBezTo>
                  <a:cubicBezTo>
                    <a:pt x="140" y="224"/>
                    <a:pt x="138" y="226"/>
                    <a:pt x="136" y="228"/>
                  </a:cubicBezTo>
                  <a:cubicBezTo>
                    <a:pt x="132" y="234"/>
                    <a:pt x="128" y="239"/>
                    <a:pt x="123" y="243"/>
                  </a:cubicBezTo>
                  <a:cubicBezTo>
                    <a:pt x="122" y="245"/>
                    <a:pt x="120" y="246"/>
                    <a:pt x="119" y="247"/>
                  </a:cubicBezTo>
                  <a:cubicBezTo>
                    <a:pt x="118" y="247"/>
                    <a:pt x="118" y="247"/>
                    <a:pt x="118" y="247"/>
                  </a:cubicBezTo>
                  <a:cubicBezTo>
                    <a:pt x="118" y="248"/>
                    <a:pt x="118" y="248"/>
                    <a:pt x="118" y="248"/>
                  </a:cubicBezTo>
                  <a:cubicBezTo>
                    <a:pt x="117" y="256"/>
                    <a:pt x="118" y="265"/>
                    <a:pt x="118" y="273"/>
                  </a:cubicBezTo>
                  <a:cubicBezTo>
                    <a:pt x="118" y="276"/>
                    <a:pt x="118" y="276"/>
                    <a:pt x="118" y="276"/>
                  </a:cubicBezTo>
                  <a:cubicBezTo>
                    <a:pt x="119" y="285"/>
                    <a:pt x="118" y="288"/>
                    <a:pt x="115" y="295"/>
                  </a:cubicBezTo>
                  <a:cubicBezTo>
                    <a:pt x="114" y="296"/>
                    <a:pt x="114" y="298"/>
                    <a:pt x="113" y="300"/>
                  </a:cubicBezTo>
                  <a:cubicBezTo>
                    <a:pt x="113" y="302"/>
                    <a:pt x="112" y="304"/>
                    <a:pt x="112" y="305"/>
                  </a:cubicBezTo>
                  <a:cubicBezTo>
                    <a:pt x="110" y="306"/>
                    <a:pt x="109" y="307"/>
                    <a:pt x="107" y="307"/>
                  </a:cubicBezTo>
                  <a:cubicBezTo>
                    <a:pt x="106" y="307"/>
                    <a:pt x="104" y="308"/>
                    <a:pt x="103" y="308"/>
                  </a:cubicBezTo>
                  <a:cubicBezTo>
                    <a:pt x="103" y="309"/>
                    <a:pt x="103" y="309"/>
                    <a:pt x="103" y="309"/>
                  </a:cubicBezTo>
                  <a:cubicBezTo>
                    <a:pt x="102" y="309"/>
                    <a:pt x="102" y="309"/>
                    <a:pt x="102" y="309"/>
                  </a:cubicBezTo>
                  <a:cubicBezTo>
                    <a:pt x="102" y="312"/>
                    <a:pt x="98" y="314"/>
                    <a:pt x="95" y="316"/>
                  </a:cubicBezTo>
                  <a:cubicBezTo>
                    <a:pt x="93" y="317"/>
                    <a:pt x="92" y="319"/>
                    <a:pt x="91" y="320"/>
                  </a:cubicBezTo>
                  <a:cubicBezTo>
                    <a:pt x="87" y="323"/>
                    <a:pt x="84" y="327"/>
                    <a:pt x="80" y="331"/>
                  </a:cubicBezTo>
                  <a:cubicBezTo>
                    <a:pt x="79" y="332"/>
                    <a:pt x="79" y="332"/>
                    <a:pt x="78" y="333"/>
                  </a:cubicBezTo>
                  <a:cubicBezTo>
                    <a:pt x="76" y="336"/>
                    <a:pt x="74" y="339"/>
                    <a:pt x="71" y="339"/>
                  </a:cubicBezTo>
                  <a:cubicBezTo>
                    <a:pt x="71" y="339"/>
                    <a:pt x="71" y="339"/>
                    <a:pt x="71" y="339"/>
                  </a:cubicBezTo>
                  <a:cubicBezTo>
                    <a:pt x="70" y="339"/>
                    <a:pt x="69" y="338"/>
                    <a:pt x="68" y="336"/>
                  </a:cubicBezTo>
                  <a:cubicBezTo>
                    <a:pt x="67" y="334"/>
                    <a:pt x="67" y="331"/>
                    <a:pt x="68" y="329"/>
                  </a:cubicBezTo>
                  <a:cubicBezTo>
                    <a:pt x="68" y="325"/>
                    <a:pt x="68" y="322"/>
                    <a:pt x="66" y="320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4" y="319"/>
                    <a:pt x="64" y="319"/>
                    <a:pt x="64" y="319"/>
                  </a:cubicBezTo>
                  <a:cubicBezTo>
                    <a:pt x="62" y="320"/>
                    <a:pt x="61" y="320"/>
                    <a:pt x="60" y="321"/>
                  </a:cubicBezTo>
                  <a:cubicBezTo>
                    <a:pt x="58" y="322"/>
                    <a:pt x="57" y="323"/>
                    <a:pt x="55" y="323"/>
                  </a:cubicBezTo>
                  <a:cubicBezTo>
                    <a:pt x="54" y="323"/>
                    <a:pt x="54" y="323"/>
                    <a:pt x="53" y="323"/>
                  </a:cubicBezTo>
                  <a:cubicBezTo>
                    <a:pt x="53" y="323"/>
                    <a:pt x="52" y="323"/>
                    <a:pt x="52" y="323"/>
                  </a:cubicBezTo>
                  <a:cubicBezTo>
                    <a:pt x="51" y="323"/>
                    <a:pt x="51" y="323"/>
                    <a:pt x="50" y="323"/>
                  </a:cubicBezTo>
                  <a:cubicBezTo>
                    <a:pt x="48" y="323"/>
                    <a:pt x="47" y="325"/>
                    <a:pt x="47" y="326"/>
                  </a:cubicBezTo>
                  <a:cubicBezTo>
                    <a:pt x="46" y="328"/>
                    <a:pt x="46" y="330"/>
                    <a:pt x="46" y="331"/>
                  </a:cubicBezTo>
                  <a:cubicBezTo>
                    <a:pt x="46" y="333"/>
                    <a:pt x="46" y="335"/>
                    <a:pt x="40" y="335"/>
                  </a:cubicBezTo>
                  <a:cubicBezTo>
                    <a:pt x="37" y="335"/>
                    <a:pt x="36" y="334"/>
                    <a:pt x="34" y="333"/>
                  </a:cubicBezTo>
                  <a:cubicBezTo>
                    <a:pt x="34" y="332"/>
                    <a:pt x="33" y="331"/>
                    <a:pt x="31" y="331"/>
                  </a:cubicBezTo>
                  <a:cubicBezTo>
                    <a:pt x="31" y="331"/>
                    <a:pt x="31" y="330"/>
                    <a:pt x="31" y="330"/>
                  </a:cubicBezTo>
                  <a:cubicBezTo>
                    <a:pt x="30" y="327"/>
                    <a:pt x="30" y="327"/>
                    <a:pt x="30" y="327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27" y="330"/>
                    <a:pt x="26" y="330"/>
                    <a:pt x="26" y="330"/>
                  </a:cubicBezTo>
                  <a:cubicBezTo>
                    <a:pt x="25" y="330"/>
                    <a:pt x="24" y="330"/>
                    <a:pt x="23" y="330"/>
                  </a:cubicBezTo>
                  <a:cubicBezTo>
                    <a:pt x="21" y="331"/>
                    <a:pt x="21" y="333"/>
                    <a:pt x="20" y="334"/>
                  </a:cubicBezTo>
                  <a:cubicBezTo>
                    <a:pt x="20" y="335"/>
                    <a:pt x="20" y="335"/>
                    <a:pt x="19" y="336"/>
                  </a:cubicBezTo>
                  <a:cubicBezTo>
                    <a:pt x="19" y="337"/>
                    <a:pt x="18" y="338"/>
                    <a:pt x="16" y="339"/>
                  </a:cubicBezTo>
                  <a:cubicBezTo>
                    <a:pt x="15" y="340"/>
                    <a:pt x="14" y="341"/>
                    <a:pt x="13" y="342"/>
                  </a:cubicBezTo>
                  <a:cubicBezTo>
                    <a:pt x="13" y="343"/>
                    <a:pt x="13" y="344"/>
                    <a:pt x="13" y="345"/>
                  </a:cubicBezTo>
                  <a:cubicBezTo>
                    <a:pt x="13" y="346"/>
                    <a:pt x="13" y="346"/>
                    <a:pt x="13" y="347"/>
                  </a:cubicBezTo>
                  <a:cubicBezTo>
                    <a:pt x="13" y="351"/>
                    <a:pt x="13" y="355"/>
                    <a:pt x="13" y="358"/>
                  </a:cubicBezTo>
                  <a:cubicBezTo>
                    <a:pt x="13" y="359"/>
                    <a:pt x="13" y="359"/>
                    <a:pt x="13" y="359"/>
                  </a:cubicBezTo>
                  <a:cubicBezTo>
                    <a:pt x="13" y="361"/>
                    <a:pt x="14" y="363"/>
                    <a:pt x="14" y="365"/>
                  </a:cubicBezTo>
                  <a:cubicBezTo>
                    <a:pt x="0" y="365"/>
                    <a:pt x="0" y="365"/>
                    <a:pt x="0" y="365"/>
                  </a:cubicBezTo>
                  <a:cubicBezTo>
                    <a:pt x="2" y="368"/>
                    <a:pt x="2" y="368"/>
                    <a:pt x="2" y="368"/>
                  </a:cubicBezTo>
                  <a:cubicBezTo>
                    <a:pt x="2" y="369"/>
                    <a:pt x="2" y="369"/>
                    <a:pt x="3" y="369"/>
                  </a:cubicBezTo>
                  <a:cubicBezTo>
                    <a:pt x="3" y="370"/>
                    <a:pt x="4" y="371"/>
                    <a:pt x="5" y="372"/>
                  </a:cubicBezTo>
                  <a:cubicBezTo>
                    <a:pt x="5" y="372"/>
                    <a:pt x="6" y="373"/>
                    <a:pt x="6" y="374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8" y="376"/>
                    <a:pt x="8" y="376"/>
                    <a:pt x="8" y="376"/>
                  </a:cubicBezTo>
                  <a:cubicBezTo>
                    <a:pt x="9" y="376"/>
                    <a:pt x="9" y="376"/>
                    <a:pt x="9" y="376"/>
                  </a:cubicBezTo>
                  <a:cubicBezTo>
                    <a:pt x="10" y="376"/>
                    <a:pt x="11" y="376"/>
                    <a:pt x="11" y="376"/>
                  </a:cubicBezTo>
                  <a:cubicBezTo>
                    <a:pt x="12" y="376"/>
                    <a:pt x="12" y="375"/>
                    <a:pt x="13" y="375"/>
                  </a:cubicBezTo>
                  <a:cubicBezTo>
                    <a:pt x="13" y="375"/>
                    <a:pt x="13" y="374"/>
                    <a:pt x="14" y="374"/>
                  </a:cubicBezTo>
                  <a:cubicBezTo>
                    <a:pt x="14" y="374"/>
                    <a:pt x="15" y="374"/>
                    <a:pt x="15" y="374"/>
                  </a:cubicBezTo>
                  <a:cubicBezTo>
                    <a:pt x="15" y="374"/>
                    <a:pt x="16" y="374"/>
                    <a:pt x="16" y="374"/>
                  </a:cubicBezTo>
                  <a:cubicBezTo>
                    <a:pt x="16" y="374"/>
                    <a:pt x="17" y="374"/>
                    <a:pt x="18" y="374"/>
                  </a:cubicBezTo>
                  <a:cubicBezTo>
                    <a:pt x="20" y="374"/>
                    <a:pt x="21" y="373"/>
                    <a:pt x="22" y="373"/>
                  </a:cubicBezTo>
                  <a:cubicBezTo>
                    <a:pt x="23" y="372"/>
                    <a:pt x="23" y="372"/>
                    <a:pt x="24" y="371"/>
                  </a:cubicBezTo>
                  <a:cubicBezTo>
                    <a:pt x="27" y="370"/>
                    <a:pt x="30" y="370"/>
                    <a:pt x="32" y="370"/>
                  </a:cubicBezTo>
                  <a:cubicBezTo>
                    <a:pt x="32" y="370"/>
                    <a:pt x="55" y="370"/>
                    <a:pt x="55" y="370"/>
                  </a:cubicBezTo>
                  <a:cubicBezTo>
                    <a:pt x="58" y="370"/>
                    <a:pt x="61" y="370"/>
                    <a:pt x="64" y="370"/>
                  </a:cubicBezTo>
                  <a:cubicBezTo>
                    <a:pt x="74" y="370"/>
                    <a:pt x="74" y="370"/>
                    <a:pt x="74" y="370"/>
                  </a:cubicBezTo>
                  <a:cubicBezTo>
                    <a:pt x="82" y="370"/>
                    <a:pt x="91" y="370"/>
                    <a:pt x="99" y="370"/>
                  </a:cubicBezTo>
                  <a:cubicBezTo>
                    <a:pt x="104" y="370"/>
                    <a:pt x="110" y="370"/>
                    <a:pt x="115" y="370"/>
                  </a:cubicBezTo>
                  <a:cubicBezTo>
                    <a:pt x="116" y="370"/>
                    <a:pt x="117" y="370"/>
                    <a:pt x="118" y="370"/>
                  </a:cubicBezTo>
                  <a:cubicBezTo>
                    <a:pt x="120" y="370"/>
                    <a:pt x="121" y="370"/>
                    <a:pt x="123" y="370"/>
                  </a:cubicBezTo>
                  <a:cubicBezTo>
                    <a:pt x="123" y="370"/>
                    <a:pt x="124" y="370"/>
                    <a:pt x="124" y="370"/>
                  </a:cubicBezTo>
                  <a:cubicBezTo>
                    <a:pt x="125" y="370"/>
                    <a:pt x="125" y="370"/>
                    <a:pt x="125" y="370"/>
                  </a:cubicBezTo>
                  <a:cubicBezTo>
                    <a:pt x="129" y="370"/>
                    <a:pt x="130" y="371"/>
                    <a:pt x="130" y="376"/>
                  </a:cubicBezTo>
                  <a:cubicBezTo>
                    <a:pt x="131" y="377"/>
                    <a:pt x="131" y="377"/>
                    <a:pt x="131" y="377"/>
                  </a:cubicBezTo>
                  <a:cubicBezTo>
                    <a:pt x="132" y="377"/>
                    <a:pt x="132" y="377"/>
                    <a:pt x="132" y="377"/>
                  </a:cubicBezTo>
                  <a:cubicBezTo>
                    <a:pt x="132" y="378"/>
                    <a:pt x="132" y="378"/>
                    <a:pt x="132" y="378"/>
                  </a:cubicBezTo>
                  <a:cubicBezTo>
                    <a:pt x="133" y="378"/>
                    <a:pt x="133" y="378"/>
                    <a:pt x="133" y="378"/>
                  </a:cubicBezTo>
                  <a:cubicBezTo>
                    <a:pt x="133" y="379"/>
                    <a:pt x="133" y="381"/>
                    <a:pt x="133" y="382"/>
                  </a:cubicBezTo>
                  <a:cubicBezTo>
                    <a:pt x="133" y="383"/>
                    <a:pt x="133" y="383"/>
                    <a:pt x="133" y="383"/>
                  </a:cubicBezTo>
                  <a:cubicBezTo>
                    <a:pt x="133" y="384"/>
                    <a:pt x="133" y="386"/>
                    <a:pt x="134" y="388"/>
                  </a:cubicBezTo>
                  <a:cubicBezTo>
                    <a:pt x="134" y="389"/>
                    <a:pt x="134" y="389"/>
                    <a:pt x="133" y="390"/>
                  </a:cubicBezTo>
                  <a:cubicBezTo>
                    <a:pt x="133" y="391"/>
                    <a:pt x="133" y="392"/>
                    <a:pt x="133" y="393"/>
                  </a:cubicBezTo>
                  <a:cubicBezTo>
                    <a:pt x="134" y="394"/>
                    <a:pt x="134" y="395"/>
                    <a:pt x="135" y="396"/>
                  </a:cubicBezTo>
                  <a:cubicBezTo>
                    <a:pt x="135" y="396"/>
                    <a:pt x="135" y="397"/>
                    <a:pt x="136" y="397"/>
                  </a:cubicBezTo>
                  <a:cubicBezTo>
                    <a:pt x="136" y="398"/>
                    <a:pt x="136" y="399"/>
                    <a:pt x="137" y="400"/>
                  </a:cubicBezTo>
                  <a:cubicBezTo>
                    <a:pt x="138" y="403"/>
                    <a:pt x="140" y="406"/>
                    <a:pt x="140" y="409"/>
                  </a:cubicBezTo>
                  <a:cubicBezTo>
                    <a:pt x="141" y="410"/>
                    <a:pt x="141" y="411"/>
                    <a:pt x="140" y="412"/>
                  </a:cubicBezTo>
                  <a:cubicBezTo>
                    <a:pt x="140" y="413"/>
                    <a:pt x="140" y="414"/>
                    <a:pt x="141" y="416"/>
                  </a:cubicBezTo>
                  <a:cubicBezTo>
                    <a:pt x="142" y="417"/>
                    <a:pt x="143" y="418"/>
                    <a:pt x="144" y="420"/>
                  </a:cubicBezTo>
                  <a:cubicBezTo>
                    <a:pt x="145" y="420"/>
                    <a:pt x="145" y="421"/>
                    <a:pt x="146" y="421"/>
                  </a:cubicBezTo>
                  <a:cubicBezTo>
                    <a:pt x="147" y="423"/>
                    <a:pt x="148" y="425"/>
                    <a:pt x="149" y="426"/>
                  </a:cubicBezTo>
                  <a:cubicBezTo>
                    <a:pt x="150" y="427"/>
                    <a:pt x="150" y="428"/>
                    <a:pt x="151" y="429"/>
                  </a:cubicBezTo>
                  <a:cubicBezTo>
                    <a:pt x="152" y="430"/>
                    <a:pt x="153" y="432"/>
                    <a:pt x="154" y="433"/>
                  </a:cubicBezTo>
                  <a:cubicBezTo>
                    <a:pt x="155" y="436"/>
                    <a:pt x="157" y="438"/>
                    <a:pt x="159" y="441"/>
                  </a:cubicBezTo>
                  <a:cubicBezTo>
                    <a:pt x="160" y="442"/>
                    <a:pt x="161" y="443"/>
                    <a:pt x="162" y="443"/>
                  </a:cubicBezTo>
                  <a:cubicBezTo>
                    <a:pt x="163" y="443"/>
                    <a:pt x="164" y="442"/>
                    <a:pt x="165" y="442"/>
                  </a:cubicBezTo>
                  <a:cubicBezTo>
                    <a:pt x="166" y="442"/>
                    <a:pt x="167" y="442"/>
                    <a:pt x="168" y="442"/>
                  </a:cubicBezTo>
                  <a:cubicBezTo>
                    <a:pt x="169" y="442"/>
                    <a:pt x="169" y="442"/>
                    <a:pt x="170" y="442"/>
                  </a:cubicBezTo>
                  <a:cubicBezTo>
                    <a:pt x="171" y="442"/>
                    <a:pt x="171" y="443"/>
                    <a:pt x="172" y="443"/>
                  </a:cubicBezTo>
                  <a:cubicBezTo>
                    <a:pt x="173" y="444"/>
                    <a:pt x="173" y="444"/>
                    <a:pt x="173" y="444"/>
                  </a:cubicBezTo>
                  <a:cubicBezTo>
                    <a:pt x="174" y="443"/>
                    <a:pt x="174" y="443"/>
                    <a:pt x="174" y="443"/>
                  </a:cubicBezTo>
                  <a:cubicBezTo>
                    <a:pt x="175" y="443"/>
                    <a:pt x="175" y="442"/>
                    <a:pt x="175" y="442"/>
                  </a:cubicBezTo>
                  <a:cubicBezTo>
                    <a:pt x="176" y="441"/>
                    <a:pt x="176" y="441"/>
                    <a:pt x="178" y="440"/>
                  </a:cubicBezTo>
                  <a:cubicBezTo>
                    <a:pt x="178" y="440"/>
                    <a:pt x="179" y="440"/>
                    <a:pt x="179" y="440"/>
                  </a:cubicBezTo>
                  <a:cubicBezTo>
                    <a:pt x="180" y="440"/>
                    <a:pt x="181" y="440"/>
                    <a:pt x="182" y="441"/>
                  </a:cubicBezTo>
                  <a:cubicBezTo>
                    <a:pt x="182" y="441"/>
                    <a:pt x="183" y="441"/>
                    <a:pt x="184" y="441"/>
                  </a:cubicBezTo>
                  <a:cubicBezTo>
                    <a:pt x="184" y="441"/>
                    <a:pt x="185" y="441"/>
                    <a:pt x="185" y="441"/>
                  </a:cubicBezTo>
                  <a:cubicBezTo>
                    <a:pt x="185" y="441"/>
                    <a:pt x="185" y="441"/>
                    <a:pt x="185" y="441"/>
                  </a:cubicBezTo>
                  <a:cubicBezTo>
                    <a:pt x="186" y="441"/>
                    <a:pt x="186" y="441"/>
                    <a:pt x="186" y="441"/>
                  </a:cubicBezTo>
                  <a:cubicBezTo>
                    <a:pt x="187" y="440"/>
                    <a:pt x="187" y="440"/>
                    <a:pt x="187" y="440"/>
                  </a:cubicBezTo>
                  <a:cubicBezTo>
                    <a:pt x="187" y="440"/>
                    <a:pt x="187" y="440"/>
                    <a:pt x="188" y="439"/>
                  </a:cubicBezTo>
                  <a:cubicBezTo>
                    <a:pt x="188" y="439"/>
                    <a:pt x="190" y="438"/>
                    <a:pt x="192" y="438"/>
                  </a:cubicBezTo>
                  <a:cubicBezTo>
                    <a:pt x="192" y="438"/>
                    <a:pt x="192" y="438"/>
                    <a:pt x="192" y="438"/>
                  </a:cubicBezTo>
                  <a:cubicBezTo>
                    <a:pt x="193" y="438"/>
                    <a:pt x="194" y="438"/>
                    <a:pt x="194" y="439"/>
                  </a:cubicBezTo>
                  <a:cubicBezTo>
                    <a:pt x="194" y="440"/>
                    <a:pt x="194" y="440"/>
                    <a:pt x="195" y="441"/>
                  </a:cubicBezTo>
                  <a:cubicBezTo>
                    <a:pt x="196" y="441"/>
                    <a:pt x="198" y="441"/>
                    <a:pt x="200" y="441"/>
                  </a:cubicBezTo>
                  <a:cubicBezTo>
                    <a:pt x="202" y="441"/>
                    <a:pt x="206" y="441"/>
                    <a:pt x="208" y="441"/>
                  </a:cubicBezTo>
                  <a:cubicBezTo>
                    <a:pt x="209" y="440"/>
                    <a:pt x="209" y="440"/>
                    <a:pt x="209" y="440"/>
                  </a:cubicBezTo>
                  <a:cubicBezTo>
                    <a:pt x="211" y="440"/>
                    <a:pt x="211" y="440"/>
                    <a:pt x="211" y="440"/>
                  </a:cubicBezTo>
                  <a:cubicBezTo>
                    <a:pt x="211" y="438"/>
                    <a:pt x="211" y="438"/>
                    <a:pt x="211" y="438"/>
                  </a:cubicBezTo>
                  <a:cubicBezTo>
                    <a:pt x="211" y="438"/>
                    <a:pt x="211" y="437"/>
                    <a:pt x="211" y="436"/>
                  </a:cubicBezTo>
                  <a:cubicBezTo>
                    <a:pt x="211" y="434"/>
                    <a:pt x="211" y="431"/>
                    <a:pt x="211" y="429"/>
                  </a:cubicBezTo>
                  <a:cubicBezTo>
                    <a:pt x="212" y="428"/>
                    <a:pt x="212" y="427"/>
                    <a:pt x="213" y="426"/>
                  </a:cubicBezTo>
                  <a:cubicBezTo>
                    <a:pt x="214" y="424"/>
                    <a:pt x="215" y="423"/>
                    <a:pt x="215" y="421"/>
                  </a:cubicBezTo>
                  <a:cubicBezTo>
                    <a:pt x="215" y="420"/>
                    <a:pt x="215" y="419"/>
                    <a:pt x="215" y="417"/>
                  </a:cubicBezTo>
                  <a:cubicBezTo>
                    <a:pt x="215" y="414"/>
                    <a:pt x="214" y="410"/>
                    <a:pt x="216" y="408"/>
                  </a:cubicBezTo>
                  <a:cubicBezTo>
                    <a:pt x="216" y="408"/>
                    <a:pt x="218" y="407"/>
                    <a:pt x="227" y="407"/>
                  </a:cubicBezTo>
                  <a:cubicBezTo>
                    <a:pt x="228" y="407"/>
                    <a:pt x="233" y="407"/>
                    <a:pt x="234" y="407"/>
                  </a:cubicBezTo>
                  <a:cubicBezTo>
                    <a:pt x="235" y="407"/>
                    <a:pt x="236" y="407"/>
                    <a:pt x="237" y="407"/>
                  </a:cubicBezTo>
                  <a:cubicBezTo>
                    <a:pt x="239" y="407"/>
                    <a:pt x="239" y="407"/>
                    <a:pt x="239" y="407"/>
                  </a:cubicBezTo>
                  <a:cubicBezTo>
                    <a:pt x="239" y="405"/>
                    <a:pt x="239" y="405"/>
                    <a:pt x="239" y="405"/>
                  </a:cubicBezTo>
                  <a:cubicBezTo>
                    <a:pt x="239" y="404"/>
                    <a:pt x="239" y="404"/>
                    <a:pt x="239" y="404"/>
                  </a:cubicBezTo>
                  <a:cubicBezTo>
                    <a:pt x="240" y="404"/>
                    <a:pt x="241" y="404"/>
                    <a:pt x="242" y="404"/>
                  </a:cubicBezTo>
                  <a:cubicBezTo>
                    <a:pt x="243" y="404"/>
                    <a:pt x="244" y="404"/>
                    <a:pt x="245" y="404"/>
                  </a:cubicBezTo>
                  <a:cubicBezTo>
                    <a:pt x="246" y="404"/>
                    <a:pt x="246" y="404"/>
                    <a:pt x="247" y="404"/>
                  </a:cubicBezTo>
                  <a:cubicBezTo>
                    <a:pt x="247" y="407"/>
                    <a:pt x="246" y="408"/>
                    <a:pt x="245" y="410"/>
                  </a:cubicBezTo>
                  <a:cubicBezTo>
                    <a:pt x="245" y="412"/>
                    <a:pt x="245" y="414"/>
                    <a:pt x="244" y="415"/>
                  </a:cubicBezTo>
                  <a:cubicBezTo>
                    <a:pt x="244" y="417"/>
                    <a:pt x="244" y="417"/>
                    <a:pt x="244" y="417"/>
                  </a:cubicBezTo>
                  <a:cubicBezTo>
                    <a:pt x="244" y="417"/>
                    <a:pt x="259" y="417"/>
                    <a:pt x="260" y="417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264" y="417"/>
                    <a:pt x="265" y="417"/>
                    <a:pt x="267" y="417"/>
                  </a:cubicBezTo>
                  <a:cubicBezTo>
                    <a:pt x="269" y="416"/>
                    <a:pt x="271" y="416"/>
                    <a:pt x="273" y="416"/>
                  </a:cubicBezTo>
                  <a:cubicBezTo>
                    <a:pt x="280" y="416"/>
                    <a:pt x="282" y="418"/>
                    <a:pt x="282" y="420"/>
                  </a:cubicBezTo>
                  <a:cubicBezTo>
                    <a:pt x="283" y="424"/>
                    <a:pt x="282" y="427"/>
                    <a:pt x="281" y="431"/>
                  </a:cubicBezTo>
                  <a:cubicBezTo>
                    <a:pt x="281" y="434"/>
                    <a:pt x="280" y="437"/>
                    <a:pt x="280" y="441"/>
                  </a:cubicBezTo>
                  <a:cubicBezTo>
                    <a:pt x="281" y="443"/>
                    <a:pt x="281" y="445"/>
                    <a:pt x="282" y="447"/>
                  </a:cubicBezTo>
                  <a:cubicBezTo>
                    <a:pt x="283" y="452"/>
                    <a:pt x="285" y="457"/>
                    <a:pt x="283" y="464"/>
                  </a:cubicBezTo>
                  <a:cubicBezTo>
                    <a:pt x="282" y="467"/>
                    <a:pt x="282" y="471"/>
                    <a:pt x="282" y="474"/>
                  </a:cubicBezTo>
                  <a:cubicBezTo>
                    <a:pt x="282" y="477"/>
                    <a:pt x="282" y="477"/>
                    <a:pt x="282" y="477"/>
                  </a:cubicBezTo>
                  <a:cubicBezTo>
                    <a:pt x="282" y="479"/>
                    <a:pt x="281" y="480"/>
                    <a:pt x="281" y="482"/>
                  </a:cubicBezTo>
                  <a:cubicBezTo>
                    <a:pt x="281" y="484"/>
                    <a:pt x="280" y="486"/>
                    <a:pt x="281" y="489"/>
                  </a:cubicBezTo>
                  <a:cubicBezTo>
                    <a:pt x="281" y="493"/>
                    <a:pt x="284" y="497"/>
                    <a:pt x="286" y="500"/>
                  </a:cubicBezTo>
                  <a:cubicBezTo>
                    <a:pt x="288" y="502"/>
                    <a:pt x="290" y="504"/>
                    <a:pt x="291" y="507"/>
                  </a:cubicBezTo>
                  <a:cubicBezTo>
                    <a:pt x="292" y="508"/>
                    <a:pt x="292" y="509"/>
                    <a:pt x="293" y="510"/>
                  </a:cubicBezTo>
                  <a:cubicBezTo>
                    <a:pt x="294" y="513"/>
                    <a:pt x="295" y="516"/>
                    <a:pt x="295" y="519"/>
                  </a:cubicBezTo>
                  <a:cubicBezTo>
                    <a:pt x="295" y="521"/>
                    <a:pt x="295" y="524"/>
                    <a:pt x="295" y="527"/>
                  </a:cubicBezTo>
                  <a:cubicBezTo>
                    <a:pt x="295" y="529"/>
                    <a:pt x="295" y="531"/>
                    <a:pt x="295" y="533"/>
                  </a:cubicBezTo>
                  <a:cubicBezTo>
                    <a:pt x="294" y="533"/>
                    <a:pt x="294" y="533"/>
                    <a:pt x="294" y="533"/>
                  </a:cubicBezTo>
                  <a:cubicBezTo>
                    <a:pt x="294" y="533"/>
                    <a:pt x="294" y="533"/>
                    <a:pt x="294" y="533"/>
                  </a:cubicBezTo>
                  <a:cubicBezTo>
                    <a:pt x="294" y="533"/>
                    <a:pt x="293" y="534"/>
                    <a:pt x="292" y="535"/>
                  </a:cubicBezTo>
                  <a:cubicBezTo>
                    <a:pt x="291" y="535"/>
                    <a:pt x="291" y="535"/>
                    <a:pt x="291" y="535"/>
                  </a:cubicBezTo>
                  <a:cubicBezTo>
                    <a:pt x="291" y="536"/>
                    <a:pt x="291" y="536"/>
                    <a:pt x="291" y="536"/>
                  </a:cubicBezTo>
                  <a:cubicBezTo>
                    <a:pt x="292" y="537"/>
                    <a:pt x="292" y="537"/>
                    <a:pt x="293" y="539"/>
                  </a:cubicBezTo>
                  <a:cubicBezTo>
                    <a:pt x="293" y="540"/>
                    <a:pt x="294" y="540"/>
                    <a:pt x="294" y="541"/>
                  </a:cubicBezTo>
                  <a:cubicBezTo>
                    <a:pt x="294" y="542"/>
                    <a:pt x="294" y="543"/>
                    <a:pt x="293" y="544"/>
                  </a:cubicBezTo>
                  <a:cubicBezTo>
                    <a:pt x="291" y="550"/>
                    <a:pt x="291" y="550"/>
                    <a:pt x="291" y="550"/>
                  </a:cubicBezTo>
                  <a:cubicBezTo>
                    <a:pt x="296" y="546"/>
                    <a:pt x="296" y="546"/>
                    <a:pt x="296" y="546"/>
                  </a:cubicBezTo>
                  <a:cubicBezTo>
                    <a:pt x="298" y="544"/>
                    <a:pt x="302" y="542"/>
                    <a:pt x="304" y="542"/>
                  </a:cubicBezTo>
                  <a:cubicBezTo>
                    <a:pt x="305" y="542"/>
                    <a:pt x="305" y="542"/>
                    <a:pt x="305" y="542"/>
                  </a:cubicBezTo>
                  <a:cubicBezTo>
                    <a:pt x="305" y="542"/>
                    <a:pt x="306" y="543"/>
                    <a:pt x="306" y="543"/>
                  </a:cubicBezTo>
                  <a:cubicBezTo>
                    <a:pt x="306" y="543"/>
                    <a:pt x="307" y="544"/>
                    <a:pt x="307" y="544"/>
                  </a:cubicBezTo>
                  <a:cubicBezTo>
                    <a:pt x="313" y="547"/>
                    <a:pt x="313" y="547"/>
                    <a:pt x="313" y="547"/>
                  </a:cubicBezTo>
                  <a:cubicBezTo>
                    <a:pt x="310" y="542"/>
                    <a:pt x="310" y="542"/>
                    <a:pt x="310" y="542"/>
                  </a:cubicBezTo>
                  <a:cubicBezTo>
                    <a:pt x="311" y="542"/>
                    <a:pt x="311" y="542"/>
                    <a:pt x="311" y="541"/>
                  </a:cubicBezTo>
                  <a:cubicBezTo>
                    <a:pt x="312" y="541"/>
                    <a:pt x="312" y="541"/>
                    <a:pt x="312" y="541"/>
                  </a:cubicBezTo>
                  <a:cubicBezTo>
                    <a:pt x="313" y="541"/>
                    <a:pt x="313" y="541"/>
                    <a:pt x="313" y="542"/>
                  </a:cubicBezTo>
                  <a:cubicBezTo>
                    <a:pt x="314" y="543"/>
                    <a:pt x="314" y="543"/>
                    <a:pt x="315" y="544"/>
                  </a:cubicBezTo>
                  <a:cubicBezTo>
                    <a:pt x="315" y="544"/>
                    <a:pt x="316" y="545"/>
                    <a:pt x="317" y="545"/>
                  </a:cubicBezTo>
                  <a:cubicBezTo>
                    <a:pt x="318" y="545"/>
                    <a:pt x="320" y="544"/>
                    <a:pt x="322" y="543"/>
                  </a:cubicBezTo>
                  <a:cubicBezTo>
                    <a:pt x="323" y="542"/>
                    <a:pt x="323" y="541"/>
                    <a:pt x="324" y="541"/>
                  </a:cubicBezTo>
                  <a:cubicBezTo>
                    <a:pt x="324" y="540"/>
                    <a:pt x="325" y="539"/>
                    <a:pt x="326" y="539"/>
                  </a:cubicBezTo>
                  <a:cubicBezTo>
                    <a:pt x="326" y="539"/>
                    <a:pt x="327" y="538"/>
                    <a:pt x="329" y="538"/>
                  </a:cubicBezTo>
                  <a:cubicBezTo>
                    <a:pt x="330" y="538"/>
                    <a:pt x="330" y="538"/>
                    <a:pt x="331" y="538"/>
                  </a:cubicBezTo>
                  <a:cubicBezTo>
                    <a:pt x="331" y="538"/>
                    <a:pt x="331" y="538"/>
                    <a:pt x="332" y="538"/>
                  </a:cubicBezTo>
                  <a:cubicBezTo>
                    <a:pt x="332" y="539"/>
                    <a:pt x="332" y="539"/>
                    <a:pt x="332" y="539"/>
                  </a:cubicBezTo>
                  <a:cubicBezTo>
                    <a:pt x="332" y="539"/>
                    <a:pt x="332" y="539"/>
                    <a:pt x="332" y="539"/>
                  </a:cubicBezTo>
                  <a:cubicBezTo>
                    <a:pt x="332" y="540"/>
                    <a:pt x="333" y="540"/>
                    <a:pt x="334" y="540"/>
                  </a:cubicBezTo>
                  <a:cubicBezTo>
                    <a:pt x="336" y="541"/>
                    <a:pt x="337" y="541"/>
                    <a:pt x="338" y="541"/>
                  </a:cubicBezTo>
                  <a:cubicBezTo>
                    <a:pt x="339" y="541"/>
                    <a:pt x="340" y="541"/>
                    <a:pt x="341" y="540"/>
                  </a:cubicBezTo>
                  <a:cubicBezTo>
                    <a:pt x="342" y="540"/>
                    <a:pt x="342" y="539"/>
                    <a:pt x="343" y="538"/>
                  </a:cubicBezTo>
                  <a:cubicBezTo>
                    <a:pt x="343" y="537"/>
                    <a:pt x="344" y="536"/>
                    <a:pt x="345" y="536"/>
                  </a:cubicBezTo>
                  <a:cubicBezTo>
                    <a:pt x="345" y="536"/>
                    <a:pt x="345" y="536"/>
                    <a:pt x="345" y="536"/>
                  </a:cubicBezTo>
                  <a:cubicBezTo>
                    <a:pt x="346" y="536"/>
                    <a:pt x="348" y="537"/>
                    <a:pt x="349" y="538"/>
                  </a:cubicBezTo>
                  <a:cubicBezTo>
                    <a:pt x="350" y="539"/>
                    <a:pt x="350" y="540"/>
                    <a:pt x="351" y="540"/>
                  </a:cubicBezTo>
                  <a:cubicBezTo>
                    <a:pt x="351" y="540"/>
                    <a:pt x="352" y="540"/>
                    <a:pt x="352" y="541"/>
                  </a:cubicBezTo>
                  <a:cubicBezTo>
                    <a:pt x="353" y="541"/>
                    <a:pt x="354" y="541"/>
                    <a:pt x="355" y="542"/>
                  </a:cubicBezTo>
                  <a:cubicBezTo>
                    <a:pt x="356" y="543"/>
                    <a:pt x="356" y="545"/>
                    <a:pt x="356" y="548"/>
                  </a:cubicBezTo>
                  <a:cubicBezTo>
                    <a:pt x="355" y="549"/>
                    <a:pt x="355" y="551"/>
                    <a:pt x="355" y="552"/>
                  </a:cubicBezTo>
                  <a:cubicBezTo>
                    <a:pt x="355" y="555"/>
                    <a:pt x="357" y="555"/>
                    <a:pt x="358" y="555"/>
                  </a:cubicBezTo>
                  <a:cubicBezTo>
                    <a:pt x="360" y="555"/>
                    <a:pt x="360" y="554"/>
                    <a:pt x="361" y="553"/>
                  </a:cubicBezTo>
                  <a:cubicBezTo>
                    <a:pt x="362" y="553"/>
                    <a:pt x="362" y="552"/>
                    <a:pt x="363" y="552"/>
                  </a:cubicBezTo>
                  <a:cubicBezTo>
                    <a:pt x="364" y="551"/>
                    <a:pt x="366" y="550"/>
                    <a:pt x="368" y="549"/>
                  </a:cubicBezTo>
                  <a:cubicBezTo>
                    <a:pt x="369" y="549"/>
                    <a:pt x="370" y="549"/>
                    <a:pt x="371" y="548"/>
                  </a:cubicBezTo>
                  <a:cubicBezTo>
                    <a:pt x="374" y="547"/>
                    <a:pt x="377" y="547"/>
                    <a:pt x="380" y="547"/>
                  </a:cubicBezTo>
                  <a:cubicBezTo>
                    <a:pt x="382" y="546"/>
                    <a:pt x="382" y="546"/>
                    <a:pt x="382" y="546"/>
                  </a:cubicBezTo>
                  <a:cubicBezTo>
                    <a:pt x="382" y="547"/>
                    <a:pt x="382" y="549"/>
                    <a:pt x="382" y="550"/>
                  </a:cubicBezTo>
                  <a:cubicBezTo>
                    <a:pt x="382" y="555"/>
                    <a:pt x="382" y="559"/>
                    <a:pt x="386" y="562"/>
                  </a:cubicBezTo>
                  <a:cubicBezTo>
                    <a:pt x="388" y="564"/>
                    <a:pt x="391" y="565"/>
                    <a:pt x="393" y="565"/>
                  </a:cubicBezTo>
                  <a:cubicBezTo>
                    <a:pt x="394" y="566"/>
                    <a:pt x="394" y="566"/>
                    <a:pt x="394" y="566"/>
                  </a:cubicBezTo>
                  <a:cubicBezTo>
                    <a:pt x="397" y="566"/>
                    <a:pt x="398" y="567"/>
                    <a:pt x="401" y="568"/>
                  </a:cubicBezTo>
                  <a:cubicBezTo>
                    <a:pt x="404" y="570"/>
                    <a:pt x="407" y="570"/>
                    <a:pt x="410" y="570"/>
                  </a:cubicBezTo>
                  <a:cubicBezTo>
                    <a:pt x="413" y="571"/>
                    <a:pt x="415" y="571"/>
                    <a:pt x="417" y="572"/>
                  </a:cubicBezTo>
                  <a:cubicBezTo>
                    <a:pt x="419" y="572"/>
                    <a:pt x="420" y="572"/>
                    <a:pt x="421" y="572"/>
                  </a:cubicBezTo>
                  <a:cubicBezTo>
                    <a:pt x="424" y="572"/>
                    <a:pt x="428" y="571"/>
                    <a:pt x="431" y="565"/>
                  </a:cubicBezTo>
                  <a:cubicBezTo>
                    <a:pt x="431" y="565"/>
                    <a:pt x="431" y="564"/>
                    <a:pt x="431" y="564"/>
                  </a:cubicBezTo>
                  <a:cubicBezTo>
                    <a:pt x="432" y="561"/>
                    <a:pt x="433" y="559"/>
                    <a:pt x="435" y="559"/>
                  </a:cubicBezTo>
                  <a:cubicBezTo>
                    <a:pt x="435" y="559"/>
                    <a:pt x="435" y="559"/>
                    <a:pt x="436" y="559"/>
                  </a:cubicBezTo>
                  <a:cubicBezTo>
                    <a:pt x="436" y="559"/>
                    <a:pt x="437" y="559"/>
                    <a:pt x="437" y="560"/>
                  </a:cubicBezTo>
                  <a:cubicBezTo>
                    <a:pt x="438" y="561"/>
                    <a:pt x="438" y="563"/>
                    <a:pt x="438" y="565"/>
                  </a:cubicBezTo>
                  <a:cubicBezTo>
                    <a:pt x="437" y="566"/>
                    <a:pt x="437" y="566"/>
                    <a:pt x="437" y="566"/>
                  </a:cubicBezTo>
                  <a:cubicBezTo>
                    <a:pt x="439" y="567"/>
                    <a:pt x="439" y="567"/>
                    <a:pt x="439" y="567"/>
                  </a:cubicBezTo>
                  <a:cubicBezTo>
                    <a:pt x="441" y="568"/>
                    <a:pt x="442" y="570"/>
                    <a:pt x="443" y="571"/>
                  </a:cubicBezTo>
                  <a:cubicBezTo>
                    <a:pt x="444" y="572"/>
                    <a:pt x="444" y="574"/>
                    <a:pt x="445" y="575"/>
                  </a:cubicBezTo>
                  <a:cubicBezTo>
                    <a:pt x="445" y="577"/>
                    <a:pt x="445" y="578"/>
                    <a:pt x="447" y="579"/>
                  </a:cubicBezTo>
                  <a:cubicBezTo>
                    <a:pt x="447" y="580"/>
                    <a:pt x="450" y="582"/>
                    <a:pt x="451" y="582"/>
                  </a:cubicBezTo>
                  <a:cubicBezTo>
                    <a:pt x="451" y="582"/>
                    <a:pt x="451" y="582"/>
                    <a:pt x="452" y="582"/>
                  </a:cubicBezTo>
                  <a:cubicBezTo>
                    <a:pt x="452" y="582"/>
                    <a:pt x="452" y="582"/>
                    <a:pt x="452" y="582"/>
                  </a:cubicBezTo>
                  <a:cubicBezTo>
                    <a:pt x="453" y="582"/>
                    <a:pt x="453" y="582"/>
                    <a:pt x="453" y="582"/>
                  </a:cubicBezTo>
                  <a:cubicBezTo>
                    <a:pt x="453" y="582"/>
                    <a:pt x="453" y="582"/>
                    <a:pt x="454" y="581"/>
                  </a:cubicBezTo>
                  <a:cubicBezTo>
                    <a:pt x="454" y="581"/>
                    <a:pt x="454" y="581"/>
                    <a:pt x="455" y="581"/>
                  </a:cubicBezTo>
                  <a:cubicBezTo>
                    <a:pt x="456" y="581"/>
                    <a:pt x="457" y="582"/>
                    <a:pt x="458" y="583"/>
                  </a:cubicBezTo>
                  <a:cubicBezTo>
                    <a:pt x="459" y="584"/>
                    <a:pt x="460" y="584"/>
                    <a:pt x="462" y="585"/>
                  </a:cubicBezTo>
                  <a:cubicBezTo>
                    <a:pt x="465" y="585"/>
                    <a:pt x="466" y="586"/>
                    <a:pt x="467" y="587"/>
                  </a:cubicBezTo>
                  <a:cubicBezTo>
                    <a:pt x="468" y="587"/>
                    <a:pt x="469" y="588"/>
                    <a:pt x="469" y="588"/>
                  </a:cubicBezTo>
                  <a:cubicBezTo>
                    <a:pt x="470" y="588"/>
                    <a:pt x="470" y="589"/>
                    <a:pt x="471" y="589"/>
                  </a:cubicBezTo>
                  <a:cubicBezTo>
                    <a:pt x="473" y="590"/>
                    <a:pt x="474" y="591"/>
                    <a:pt x="475" y="594"/>
                  </a:cubicBezTo>
                  <a:cubicBezTo>
                    <a:pt x="476" y="598"/>
                    <a:pt x="476" y="599"/>
                    <a:pt x="479" y="601"/>
                  </a:cubicBezTo>
                  <a:cubicBezTo>
                    <a:pt x="482" y="603"/>
                    <a:pt x="484" y="604"/>
                    <a:pt x="485" y="607"/>
                  </a:cubicBezTo>
                  <a:cubicBezTo>
                    <a:pt x="485" y="608"/>
                    <a:pt x="486" y="609"/>
                    <a:pt x="486" y="611"/>
                  </a:cubicBezTo>
                  <a:cubicBezTo>
                    <a:pt x="486" y="613"/>
                    <a:pt x="487" y="615"/>
                    <a:pt x="488" y="617"/>
                  </a:cubicBezTo>
                  <a:cubicBezTo>
                    <a:pt x="489" y="619"/>
                    <a:pt x="491" y="619"/>
                    <a:pt x="493" y="619"/>
                  </a:cubicBezTo>
                  <a:cubicBezTo>
                    <a:pt x="495" y="619"/>
                    <a:pt x="495" y="619"/>
                    <a:pt x="495" y="619"/>
                  </a:cubicBezTo>
                  <a:cubicBezTo>
                    <a:pt x="496" y="619"/>
                    <a:pt x="496" y="619"/>
                    <a:pt x="496" y="619"/>
                  </a:cubicBezTo>
                  <a:cubicBezTo>
                    <a:pt x="498" y="619"/>
                    <a:pt x="498" y="619"/>
                    <a:pt x="498" y="619"/>
                  </a:cubicBezTo>
                  <a:cubicBezTo>
                    <a:pt x="498" y="618"/>
                    <a:pt x="498" y="618"/>
                    <a:pt x="498" y="618"/>
                  </a:cubicBezTo>
                  <a:cubicBezTo>
                    <a:pt x="500" y="615"/>
                    <a:pt x="501" y="614"/>
                    <a:pt x="504" y="614"/>
                  </a:cubicBezTo>
                  <a:cubicBezTo>
                    <a:pt x="504" y="614"/>
                    <a:pt x="504" y="614"/>
                    <a:pt x="504" y="614"/>
                  </a:cubicBezTo>
                  <a:cubicBezTo>
                    <a:pt x="505" y="614"/>
                    <a:pt x="506" y="614"/>
                    <a:pt x="506" y="614"/>
                  </a:cubicBezTo>
                  <a:cubicBezTo>
                    <a:pt x="508" y="614"/>
                    <a:pt x="508" y="615"/>
                    <a:pt x="509" y="615"/>
                  </a:cubicBezTo>
                  <a:cubicBezTo>
                    <a:pt x="510" y="615"/>
                    <a:pt x="511" y="614"/>
                    <a:pt x="511" y="614"/>
                  </a:cubicBezTo>
                  <a:cubicBezTo>
                    <a:pt x="513" y="612"/>
                    <a:pt x="513" y="610"/>
                    <a:pt x="512" y="607"/>
                  </a:cubicBezTo>
                  <a:cubicBezTo>
                    <a:pt x="512" y="606"/>
                    <a:pt x="512" y="605"/>
                    <a:pt x="512" y="605"/>
                  </a:cubicBezTo>
                  <a:cubicBezTo>
                    <a:pt x="512" y="599"/>
                    <a:pt x="512" y="592"/>
                    <a:pt x="512" y="585"/>
                  </a:cubicBezTo>
                  <a:cubicBezTo>
                    <a:pt x="512" y="585"/>
                    <a:pt x="512" y="584"/>
                    <a:pt x="512" y="584"/>
                  </a:cubicBezTo>
                  <a:cubicBezTo>
                    <a:pt x="512" y="582"/>
                    <a:pt x="512" y="580"/>
                    <a:pt x="509" y="579"/>
                  </a:cubicBezTo>
                  <a:cubicBezTo>
                    <a:pt x="509" y="579"/>
                    <a:pt x="508" y="579"/>
                    <a:pt x="508" y="579"/>
                  </a:cubicBezTo>
                  <a:cubicBezTo>
                    <a:pt x="506" y="579"/>
                    <a:pt x="504" y="580"/>
                    <a:pt x="503" y="581"/>
                  </a:cubicBezTo>
                  <a:cubicBezTo>
                    <a:pt x="503" y="582"/>
                    <a:pt x="502" y="583"/>
                    <a:pt x="502" y="583"/>
                  </a:cubicBezTo>
                  <a:cubicBezTo>
                    <a:pt x="502" y="585"/>
                    <a:pt x="501" y="586"/>
                    <a:pt x="499" y="586"/>
                  </a:cubicBezTo>
                  <a:cubicBezTo>
                    <a:pt x="497" y="586"/>
                    <a:pt x="492" y="585"/>
                    <a:pt x="490" y="584"/>
                  </a:cubicBezTo>
                  <a:cubicBezTo>
                    <a:pt x="489" y="583"/>
                    <a:pt x="488" y="582"/>
                    <a:pt x="488" y="580"/>
                  </a:cubicBezTo>
                  <a:cubicBezTo>
                    <a:pt x="488" y="579"/>
                    <a:pt x="487" y="578"/>
                    <a:pt x="487" y="577"/>
                  </a:cubicBezTo>
                  <a:cubicBezTo>
                    <a:pt x="485" y="574"/>
                    <a:pt x="482" y="572"/>
                    <a:pt x="479" y="571"/>
                  </a:cubicBezTo>
                  <a:cubicBezTo>
                    <a:pt x="477" y="570"/>
                    <a:pt x="475" y="569"/>
                    <a:pt x="474" y="567"/>
                  </a:cubicBezTo>
                  <a:cubicBezTo>
                    <a:pt x="471" y="564"/>
                    <a:pt x="470" y="555"/>
                    <a:pt x="471" y="551"/>
                  </a:cubicBezTo>
                  <a:cubicBezTo>
                    <a:pt x="472" y="551"/>
                    <a:pt x="472" y="550"/>
                    <a:pt x="472" y="549"/>
                  </a:cubicBezTo>
                  <a:cubicBezTo>
                    <a:pt x="473" y="547"/>
                    <a:pt x="474" y="545"/>
                    <a:pt x="474" y="543"/>
                  </a:cubicBezTo>
                  <a:cubicBezTo>
                    <a:pt x="475" y="539"/>
                    <a:pt x="476" y="537"/>
                    <a:pt x="477" y="534"/>
                  </a:cubicBezTo>
                  <a:cubicBezTo>
                    <a:pt x="481" y="529"/>
                    <a:pt x="480" y="526"/>
                    <a:pt x="479" y="522"/>
                  </a:cubicBezTo>
                  <a:cubicBezTo>
                    <a:pt x="479" y="520"/>
                    <a:pt x="478" y="518"/>
                    <a:pt x="478" y="516"/>
                  </a:cubicBezTo>
                  <a:cubicBezTo>
                    <a:pt x="478" y="513"/>
                    <a:pt x="478" y="510"/>
                    <a:pt x="479" y="507"/>
                  </a:cubicBezTo>
                  <a:cubicBezTo>
                    <a:pt x="480" y="505"/>
                    <a:pt x="480" y="503"/>
                    <a:pt x="480" y="501"/>
                  </a:cubicBezTo>
                  <a:cubicBezTo>
                    <a:pt x="480" y="496"/>
                    <a:pt x="477" y="490"/>
                    <a:pt x="475" y="487"/>
                  </a:cubicBezTo>
                  <a:cubicBezTo>
                    <a:pt x="475" y="487"/>
                    <a:pt x="474" y="486"/>
                    <a:pt x="474" y="485"/>
                  </a:cubicBezTo>
                  <a:cubicBezTo>
                    <a:pt x="473" y="484"/>
                    <a:pt x="473" y="484"/>
                    <a:pt x="473" y="483"/>
                  </a:cubicBezTo>
                  <a:cubicBezTo>
                    <a:pt x="473" y="482"/>
                    <a:pt x="474" y="482"/>
                    <a:pt x="475" y="481"/>
                  </a:cubicBezTo>
                  <a:cubicBezTo>
                    <a:pt x="480" y="477"/>
                    <a:pt x="484" y="474"/>
                    <a:pt x="487" y="468"/>
                  </a:cubicBezTo>
                  <a:cubicBezTo>
                    <a:pt x="488" y="465"/>
                    <a:pt x="488" y="461"/>
                    <a:pt x="488" y="458"/>
                  </a:cubicBezTo>
                  <a:cubicBezTo>
                    <a:pt x="488" y="457"/>
                    <a:pt x="488" y="457"/>
                    <a:pt x="488" y="457"/>
                  </a:cubicBezTo>
                  <a:cubicBezTo>
                    <a:pt x="537" y="448"/>
                    <a:pt x="537" y="448"/>
                    <a:pt x="537" y="448"/>
                  </a:cubicBezTo>
                  <a:cubicBezTo>
                    <a:pt x="537" y="446"/>
                    <a:pt x="537" y="446"/>
                    <a:pt x="537" y="446"/>
                  </a:cubicBezTo>
                  <a:cubicBezTo>
                    <a:pt x="536" y="442"/>
                    <a:pt x="533" y="439"/>
                    <a:pt x="531" y="436"/>
                  </a:cubicBezTo>
                  <a:cubicBezTo>
                    <a:pt x="530" y="435"/>
                    <a:pt x="529" y="433"/>
                    <a:pt x="528" y="432"/>
                  </a:cubicBezTo>
                  <a:cubicBezTo>
                    <a:pt x="527" y="430"/>
                    <a:pt x="526" y="429"/>
                    <a:pt x="526" y="426"/>
                  </a:cubicBezTo>
                  <a:cubicBezTo>
                    <a:pt x="526" y="426"/>
                    <a:pt x="526" y="425"/>
                    <a:pt x="526" y="424"/>
                  </a:cubicBezTo>
                  <a:cubicBezTo>
                    <a:pt x="525" y="418"/>
                    <a:pt x="522" y="414"/>
                    <a:pt x="517" y="410"/>
                  </a:cubicBezTo>
                  <a:cubicBezTo>
                    <a:pt x="516" y="410"/>
                    <a:pt x="516" y="410"/>
                    <a:pt x="516" y="410"/>
                  </a:cubicBezTo>
                  <a:cubicBezTo>
                    <a:pt x="512" y="407"/>
                    <a:pt x="511" y="407"/>
                    <a:pt x="509" y="403"/>
                  </a:cubicBezTo>
                  <a:cubicBezTo>
                    <a:pt x="508" y="401"/>
                    <a:pt x="508" y="399"/>
                    <a:pt x="508" y="397"/>
                  </a:cubicBezTo>
                  <a:cubicBezTo>
                    <a:pt x="507" y="396"/>
                    <a:pt x="507" y="394"/>
                    <a:pt x="506" y="392"/>
                  </a:cubicBezTo>
                  <a:cubicBezTo>
                    <a:pt x="506" y="389"/>
                    <a:pt x="504" y="387"/>
                    <a:pt x="502" y="385"/>
                  </a:cubicBezTo>
                  <a:cubicBezTo>
                    <a:pt x="501" y="382"/>
                    <a:pt x="500" y="380"/>
                    <a:pt x="499" y="378"/>
                  </a:cubicBezTo>
                  <a:cubicBezTo>
                    <a:pt x="498" y="375"/>
                    <a:pt x="499" y="373"/>
                    <a:pt x="500" y="371"/>
                  </a:cubicBezTo>
                  <a:cubicBezTo>
                    <a:pt x="500" y="369"/>
                    <a:pt x="501" y="368"/>
                    <a:pt x="501" y="367"/>
                  </a:cubicBezTo>
                  <a:cubicBezTo>
                    <a:pt x="503" y="361"/>
                    <a:pt x="501" y="357"/>
                    <a:pt x="499" y="353"/>
                  </a:cubicBezTo>
                  <a:cubicBezTo>
                    <a:pt x="498" y="352"/>
                    <a:pt x="497" y="350"/>
                    <a:pt x="496" y="349"/>
                  </a:cubicBezTo>
                  <a:cubicBezTo>
                    <a:pt x="494" y="342"/>
                    <a:pt x="493" y="334"/>
                    <a:pt x="495" y="328"/>
                  </a:cubicBezTo>
                  <a:cubicBezTo>
                    <a:pt x="495" y="328"/>
                    <a:pt x="496" y="327"/>
                    <a:pt x="496" y="326"/>
                  </a:cubicBezTo>
                  <a:cubicBezTo>
                    <a:pt x="497" y="324"/>
                    <a:pt x="498" y="321"/>
                    <a:pt x="497" y="318"/>
                  </a:cubicBezTo>
                  <a:cubicBezTo>
                    <a:pt x="496" y="316"/>
                    <a:pt x="495" y="316"/>
                    <a:pt x="495" y="315"/>
                  </a:cubicBezTo>
                  <a:cubicBezTo>
                    <a:pt x="495" y="315"/>
                    <a:pt x="494" y="315"/>
                    <a:pt x="494" y="314"/>
                  </a:cubicBezTo>
                  <a:cubicBezTo>
                    <a:pt x="494" y="310"/>
                    <a:pt x="494" y="305"/>
                    <a:pt x="496" y="304"/>
                  </a:cubicBezTo>
                  <a:cubicBezTo>
                    <a:pt x="496" y="303"/>
                    <a:pt x="496" y="303"/>
                    <a:pt x="496" y="303"/>
                  </a:cubicBezTo>
                  <a:cubicBezTo>
                    <a:pt x="496" y="302"/>
                    <a:pt x="496" y="302"/>
                    <a:pt x="496" y="302"/>
                  </a:cubicBezTo>
                  <a:cubicBezTo>
                    <a:pt x="496" y="297"/>
                    <a:pt x="496" y="292"/>
                    <a:pt x="496" y="289"/>
                  </a:cubicBezTo>
                  <a:cubicBezTo>
                    <a:pt x="496" y="285"/>
                    <a:pt x="496" y="285"/>
                    <a:pt x="496" y="285"/>
                  </a:cubicBezTo>
                  <a:cubicBezTo>
                    <a:pt x="496" y="284"/>
                    <a:pt x="496" y="283"/>
                    <a:pt x="496" y="283"/>
                  </a:cubicBezTo>
                  <a:cubicBezTo>
                    <a:pt x="496" y="280"/>
                    <a:pt x="496" y="278"/>
                    <a:pt x="494" y="276"/>
                  </a:cubicBezTo>
                  <a:cubicBezTo>
                    <a:pt x="492" y="273"/>
                    <a:pt x="490" y="271"/>
                    <a:pt x="489" y="268"/>
                  </a:cubicBezTo>
                  <a:cubicBezTo>
                    <a:pt x="486" y="263"/>
                    <a:pt x="484" y="256"/>
                    <a:pt x="491" y="253"/>
                  </a:cubicBezTo>
                  <a:cubicBezTo>
                    <a:pt x="496" y="250"/>
                    <a:pt x="495" y="246"/>
                    <a:pt x="494" y="242"/>
                  </a:cubicBezTo>
                  <a:cubicBezTo>
                    <a:pt x="494" y="240"/>
                    <a:pt x="494" y="237"/>
                    <a:pt x="494" y="235"/>
                  </a:cubicBezTo>
                  <a:cubicBezTo>
                    <a:pt x="495" y="228"/>
                    <a:pt x="504" y="224"/>
                    <a:pt x="508" y="222"/>
                  </a:cubicBezTo>
                  <a:cubicBezTo>
                    <a:pt x="509" y="222"/>
                    <a:pt x="509" y="222"/>
                    <a:pt x="509" y="222"/>
                  </a:cubicBezTo>
                  <a:cubicBezTo>
                    <a:pt x="509" y="220"/>
                    <a:pt x="509" y="220"/>
                    <a:pt x="509" y="220"/>
                  </a:cubicBezTo>
                  <a:cubicBezTo>
                    <a:pt x="509" y="220"/>
                    <a:pt x="509" y="219"/>
                    <a:pt x="509" y="218"/>
                  </a:cubicBezTo>
                  <a:cubicBezTo>
                    <a:pt x="508" y="216"/>
                    <a:pt x="509" y="213"/>
                    <a:pt x="509" y="210"/>
                  </a:cubicBezTo>
                  <a:cubicBezTo>
                    <a:pt x="509" y="207"/>
                    <a:pt x="509" y="207"/>
                    <a:pt x="509" y="207"/>
                  </a:cubicBezTo>
                  <a:cubicBezTo>
                    <a:pt x="509" y="198"/>
                    <a:pt x="510" y="191"/>
                    <a:pt x="511" y="185"/>
                  </a:cubicBezTo>
                  <a:cubicBezTo>
                    <a:pt x="512" y="179"/>
                    <a:pt x="514" y="174"/>
                    <a:pt x="516" y="168"/>
                  </a:cubicBezTo>
                  <a:cubicBezTo>
                    <a:pt x="517" y="165"/>
                    <a:pt x="517" y="162"/>
                    <a:pt x="517" y="159"/>
                  </a:cubicBezTo>
                  <a:cubicBezTo>
                    <a:pt x="517" y="157"/>
                    <a:pt x="517" y="155"/>
                    <a:pt x="517" y="153"/>
                  </a:cubicBezTo>
                  <a:cubicBezTo>
                    <a:pt x="518" y="150"/>
                    <a:pt x="520" y="149"/>
                    <a:pt x="521" y="148"/>
                  </a:cubicBezTo>
                  <a:cubicBezTo>
                    <a:pt x="523" y="148"/>
                    <a:pt x="525" y="147"/>
                    <a:pt x="526" y="144"/>
                  </a:cubicBezTo>
                  <a:cubicBezTo>
                    <a:pt x="526" y="144"/>
                    <a:pt x="526" y="143"/>
                    <a:pt x="526" y="142"/>
                  </a:cubicBezTo>
                  <a:cubicBezTo>
                    <a:pt x="527" y="141"/>
                    <a:pt x="527" y="139"/>
                    <a:pt x="529" y="139"/>
                  </a:cubicBezTo>
                  <a:cubicBezTo>
                    <a:pt x="530" y="138"/>
                    <a:pt x="530" y="138"/>
                    <a:pt x="531" y="138"/>
                  </a:cubicBezTo>
                  <a:cubicBezTo>
                    <a:pt x="532" y="138"/>
                    <a:pt x="534" y="137"/>
                    <a:pt x="535" y="136"/>
                  </a:cubicBezTo>
                  <a:cubicBezTo>
                    <a:pt x="538" y="132"/>
                    <a:pt x="541" y="128"/>
                    <a:pt x="543" y="125"/>
                  </a:cubicBezTo>
                  <a:cubicBezTo>
                    <a:pt x="546" y="121"/>
                    <a:pt x="550" y="116"/>
                    <a:pt x="553" y="112"/>
                  </a:cubicBezTo>
                  <a:cubicBezTo>
                    <a:pt x="556" y="110"/>
                    <a:pt x="557" y="108"/>
                    <a:pt x="556" y="106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3" name="Freeform 53"/>
            <p:cNvSpPr>
              <a:spLocks/>
            </p:cNvSpPr>
            <p:nvPr/>
          </p:nvSpPr>
          <p:spPr bwMode="auto">
            <a:xfrm>
              <a:off x="2660699" y="2881259"/>
              <a:ext cx="724298" cy="743802"/>
            </a:xfrm>
            <a:custGeom>
              <a:avLst/>
              <a:gdLst>
                <a:gd name="T0" fmla="*/ 356 w 358"/>
                <a:gd name="T1" fmla="*/ 194 h 399"/>
                <a:gd name="T2" fmla="*/ 357 w 358"/>
                <a:gd name="T3" fmla="*/ 180 h 399"/>
                <a:gd name="T4" fmla="*/ 353 w 358"/>
                <a:gd name="T5" fmla="*/ 171 h 399"/>
                <a:gd name="T6" fmla="*/ 343 w 358"/>
                <a:gd name="T7" fmla="*/ 169 h 399"/>
                <a:gd name="T8" fmla="*/ 329 w 358"/>
                <a:gd name="T9" fmla="*/ 175 h 399"/>
                <a:gd name="T10" fmla="*/ 323 w 358"/>
                <a:gd name="T11" fmla="*/ 172 h 399"/>
                <a:gd name="T12" fmla="*/ 316 w 358"/>
                <a:gd name="T13" fmla="*/ 173 h 399"/>
                <a:gd name="T14" fmla="*/ 306 w 358"/>
                <a:gd name="T15" fmla="*/ 175 h 399"/>
                <a:gd name="T16" fmla="*/ 307 w 358"/>
                <a:gd name="T17" fmla="*/ 164 h 399"/>
                <a:gd name="T18" fmla="*/ 304 w 358"/>
                <a:gd name="T19" fmla="*/ 138 h 399"/>
                <a:gd name="T20" fmla="*/ 294 w 358"/>
                <a:gd name="T21" fmla="*/ 105 h 399"/>
                <a:gd name="T22" fmla="*/ 295 w 358"/>
                <a:gd name="T23" fmla="*/ 51 h 399"/>
                <a:gd name="T24" fmla="*/ 262 w 358"/>
                <a:gd name="T25" fmla="*/ 47 h 399"/>
                <a:gd name="T26" fmla="*/ 257 w 358"/>
                <a:gd name="T27" fmla="*/ 35 h 399"/>
                <a:gd name="T28" fmla="*/ 250 w 358"/>
                <a:gd name="T29" fmla="*/ 37 h 399"/>
                <a:gd name="T30" fmla="*/ 227 w 358"/>
                <a:gd name="T31" fmla="*/ 39 h 399"/>
                <a:gd name="T32" fmla="*/ 223 w 358"/>
                <a:gd name="T33" fmla="*/ 67 h 399"/>
                <a:gd name="T34" fmla="*/ 207 w 358"/>
                <a:gd name="T35" fmla="*/ 71 h 399"/>
                <a:gd name="T36" fmla="*/ 204 w 358"/>
                <a:gd name="T37" fmla="*/ 68 h 399"/>
                <a:gd name="T38" fmla="*/ 194 w 358"/>
                <a:gd name="T39" fmla="*/ 71 h 399"/>
                <a:gd name="T40" fmla="*/ 185 w 358"/>
                <a:gd name="T41" fmla="*/ 74 h 399"/>
                <a:gd name="T42" fmla="*/ 174 w 358"/>
                <a:gd name="T43" fmla="*/ 73 h 399"/>
                <a:gd name="T44" fmla="*/ 158 w 358"/>
                <a:gd name="T45" fmla="*/ 52 h 399"/>
                <a:gd name="T46" fmla="*/ 149 w 358"/>
                <a:gd name="T47" fmla="*/ 30 h 399"/>
                <a:gd name="T48" fmla="*/ 146 w 358"/>
                <a:gd name="T49" fmla="*/ 19 h 399"/>
                <a:gd name="T50" fmla="*/ 143 w 358"/>
                <a:gd name="T51" fmla="*/ 8 h 399"/>
                <a:gd name="T52" fmla="*/ 130 w 358"/>
                <a:gd name="T53" fmla="*/ 0 h 399"/>
                <a:gd name="T54" fmla="*/ 67 w 358"/>
                <a:gd name="T55" fmla="*/ 0 h 399"/>
                <a:gd name="T56" fmla="*/ 29 w 358"/>
                <a:gd name="T57" fmla="*/ 5 h 399"/>
                <a:gd name="T58" fmla="*/ 24 w 358"/>
                <a:gd name="T59" fmla="*/ 6 h 399"/>
                <a:gd name="T60" fmla="*/ 15 w 358"/>
                <a:gd name="T61" fmla="*/ 7 h 399"/>
                <a:gd name="T62" fmla="*/ 30 w 358"/>
                <a:gd name="T63" fmla="*/ 35 h 399"/>
                <a:gd name="T64" fmla="*/ 35 w 358"/>
                <a:gd name="T65" fmla="*/ 54 h 399"/>
                <a:gd name="T66" fmla="*/ 45 w 358"/>
                <a:gd name="T67" fmla="*/ 77 h 399"/>
                <a:gd name="T68" fmla="*/ 48 w 358"/>
                <a:gd name="T69" fmla="*/ 90 h 399"/>
                <a:gd name="T70" fmla="*/ 37 w 358"/>
                <a:gd name="T71" fmla="*/ 110 h 399"/>
                <a:gd name="T72" fmla="*/ 42 w 358"/>
                <a:gd name="T73" fmla="*/ 122 h 399"/>
                <a:gd name="T74" fmla="*/ 46 w 358"/>
                <a:gd name="T75" fmla="*/ 134 h 399"/>
                <a:gd name="T76" fmla="*/ 51 w 358"/>
                <a:gd name="T77" fmla="*/ 149 h 399"/>
                <a:gd name="T78" fmla="*/ 60 w 358"/>
                <a:gd name="T79" fmla="*/ 166 h 399"/>
                <a:gd name="T80" fmla="*/ 58 w 358"/>
                <a:gd name="T81" fmla="*/ 194 h 399"/>
                <a:gd name="T82" fmla="*/ 41 w 358"/>
                <a:gd name="T83" fmla="*/ 223 h 399"/>
                <a:gd name="T84" fmla="*/ 32 w 358"/>
                <a:gd name="T85" fmla="*/ 237 h 399"/>
                <a:gd name="T86" fmla="*/ 21 w 358"/>
                <a:gd name="T87" fmla="*/ 263 h 399"/>
                <a:gd name="T88" fmla="*/ 17 w 358"/>
                <a:gd name="T89" fmla="*/ 278 h 399"/>
                <a:gd name="T90" fmla="*/ 9 w 358"/>
                <a:gd name="T91" fmla="*/ 316 h 399"/>
                <a:gd name="T92" fmla="*/ 2 w 358"/>
                <a:gd name="T93" fmla="*/ 337 h 399"/>
                <a:gd name="T94" fmla="*/ 3 w 358"/>
                <a:gd name="T95" fmla="*/ 376 h 399"/>
                <a:gd name="T96" fmla="*/ 23 w 358"/>
                <a:gd name="T97" fmla="*/ 376 h 399"/>
                <a:gd name="T98" fmla="*/ 46 w 358"/>
                <a:gd name="T99" fmla="*/ 366 h 399"/>
                <a:gd name="T100" fmla="*/ 86 w 358"/>
                <a:gd name="T101" fmla="*/ 381 h 399"/>
                <a:gd name="T102" fmla="*/ 215 w 358"/>
                <a:gd name="T103" fmla="*/ 395 h 399"/>
                <a:gd name="T104" fmla="*/ 247 w 358"/>
                <a:gd name="T105" fmla="*/ 395 h 399"/>
                <a:gd name="T106" fmla="*/ 269 w 358"/>
                <a:gd name="T107" fmla="*/ 398 h 399"/>
                <a:gd name="T108" fmla="*/ 288 w 358"/>
                <a:gd name="T109" fmla="*/ 398 h 399"/>
                <a:gd name="T110" fmla="*/ 335 w 358"/>
                <a:gd name="T111" fmla="*/ 388 h 399"/>
                <a:gd name="T112" fmla="*/ 346 w 358"/>
                <a:gd name="T113" fmla="*/ 236 h 399"/>
                <a:gd name="T114" fmla="*/ 354 w 358"/>
                <a:gd name="T115" fmla="*/ 232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8" h="399">
                  <a:moveTo>
                    <a:pt x="357" y="213"/>
                  </a:moveTo>
                  <a:cubicBezTo>
                    <a:pt x="357" y="212"/>
                    <a:pt x="357" y="212"/>
                    <a:pt x="356" y="211"/>
                  </a:cubicBezTo>
                  <a:cubicBezTo>
                    <a:pt x="356" y="211"/>
                    <a:pt x="355" y="210"/>
                    <a:pt x="355" y="209"/>
                  </a:cubicBezTo>
                  <a:cubicBezTo>
                    <a:pt x="355" y="205"/>
                    <a:pt x="355" y="201"/>
                    <a:pt x="355" y="197"/>
                  </a:cubicBezTo>
                  <a:cubicBezTo>
                    <a:pt x="356" y="194"/>
                    <a:pt x="356" y="194"/>
                    <a:pt x="356" y="194"/>
                  </a:cubicBezTo>
                  <a:cubicBezTo>
                    <a:pt x="356" y="193"/>
                    <a:pt x="356" y="193"/>
                    <a:pt x="356" y="192"/>
                  </a:cubicBezTo>
                  <a:cubicBezTo>
                    <a:pt x="356" y="191"/>
                    <a:pt x="355" y="190"/>
                    <a:pt x="356" y="189"/>
                  </a:cubicBezTo>
                  <a:cubicBezTo>
                    <a:pt x="356" y="188"/>
                    <a:pt x="356" y="188"/>
                    <a:pt x="356" y="187"/>
                  </a:cubicBezTo>
                  <a:cubicBezTo>
                    <a:pt x="357" y="187"/>
                    <a:pt x="357" y="186"/>
                    <a:pt x="357" y="185"/>
                  </a:cubicBezTo>
                  <a:cubicBezTo>
                    <a:pt x="358" y="183"/>
                    <a:pt x="358" y="182"/>
                    <a:pt x="357" y="180"/>
                  </a:cubicBezTo>
                  <a:cubicBezTo>
                    <a:pt x="357" y="179"/>
                    <a:pt x="357" y="178"/>
                    <a:pt x="357" y="176"/>
                  </a:cubicBezTo>
                  <a:cubicBezTo>
                    <a:pt x="357" y="175"/>
                    <a:pt x="357" y="173"/>
                    <a:pt x="356" y="172"/>
                  </a:cubicBezTo>
                  <a:cubicBezTo>
                    <a:pt x="356" y="168"/>
                    <a:pt x="356" y="168"/>
                    <a:pt x="356" y="168"/>
                  </a:cubicBezTo>
                  <a:cubicBezTo>
                    <a:pt x="353" y="171"/>
                    <a:pt x="353" y="171"/>
                    <a:pt x="353" y="171"/>
                  </a:cubicBezTo>
                  <a:cubicBezTo>
                    <a:pt x="353" y="171"/>
                    <a:pt x="353" y="171"/>
                    <a:pt x="353" y="171"/>
                  </a:cubicBezTo>
                  <a:cubicBezTo>
                    <a:pt x="352" y="171"/>
                    <a:pt x="351" y="171"/>
                    <a:pt x="350" y="171"/>
                  </a:cubicBezTo>
                  <a:cubicBezTo>
                    <a:pt x="348" y="171"/>
                    <a:pt x="347" y="171"/>
                    <a:pt x="346" y="171"/>
                  </a:cubicBezTo>
                  <a:cubicBezTo>
                    <a:pt x="345" y="171"/>
                    <a:pt x="345" y="170"/>
                    <a:pt x="344" y="170"/>
                  </a:cubicBezTo>
                  <a:cubicBezTo>
                    <a:pt x="344" y="169"/>
                    <a:pt x="344" y="169"/>
                    <a:pt x="344" y="169"/>
                  </a:cubicBezTo>
                  <a:cubicBezTo>
                    <a:pt x="343" y="169"/>
                    <a:pt x="343" y="169"/>
                    <a:pt x="343" y="169"/>
                  </a:cubicBezTo>
                  <a:cubicBezTo>
                    <a:pt x="342" y="169"/>
                    <a:pt x="342" y="169"/>
                    <a:pt x="341" y="169"/>
                  </a:cubicBezTo>
                  <a:cubicBezTo>
                    <a:pt x="340" y="169"/>
                    <a:pt x="338" y="169"/>
                    <a:pt x="338" y="169"/>
                  </a:cubicBezTo>
                  <a:cubicBezTo>
                    <a:pt x="337" y="170"/>
                    <a:pt x="336" y="171"/>
                    <a:pt x="335" y="171"/>
                  </a:cubicBezTo>
                  <a:cubicBezTo>
                    <a:pt x="335" y="172"/>
                    <a:pt x="335" y="173"/>
                    <a:pt x="334" y="173"/>
                  </a:cubicBezTo>
                  <a:cubicBezTo>
                    <a:pt x="332" y="175"/>
                    <a:pt x="330" y="175"/>
                    <a:pt x="329" y="175"/>
                  </a:cubicBezTo>
                  <a:cubicBezTo>
                    <a:pt x="328" y="175"/>
                    <a:pt x="327" y="175"/>
                    <a:pt x="327" y="175"/>
                  </a:cubicBezTo>
                  <a:cubicBezTo>
                    <a:pt x="326" y="174"/>
                    <a:pt x="326" y="174"/>
                    <a:pt x="326" y="173"/>
                  </a:cubicBezTo>
                  <a:cubicBezTo>
                    <a:pt x="325" y="172"/>
                    <a:pt x="325" y="172"/>
                    <a:pt x="325" y="172"/>
                  </a:cubicBezTo>
                  <a:cubicBezTo>
                    <a:pt x="324" y="172"/>
                    <a:pt x="324" y="172"/>
                    <a:pt x="324" y="172"/>
                  </a:cubicBezTo>
                  <a:cubicBezTo>
                    <a:pt x="323" y="172"/>
                    <a:pt x="323" y="172"/>
                    <a:pt x="323" y="172"/>
                  </a:cubicBezTo>
                  <a:cubicBezTo>
                    <a:pt x="322" y="173"/>
                    <a:pt x="322" y="173"/>
                    <a:pt x="322" y="173"/>
                  </a:cubicBezTo>
                  <a:cubicBezTo>
                    <a:pt x="321" y="174"/>
                    <a:pt x="321" y="174"/>
                    <a:pt x="320" y="175"/>
                  </a:cubicBezTo>
                  <a:cubicBezTo>
                    <a:pt x="320" y="175"/>
                    <a:pt x="319" y="174"/>
                    <a:pt x="318" y="174"/>
                  </a:cubicBezTo>
                  <a:cubicBezTo>
                    <a:pt x="318" y="173"/>
                    <a:pt x="317" y="173"/>
                    <a:pt x="317" y="173"/>
                  </a:cubicBezTo>
                  <a:cubicBezTo>
                    <a:pt x="316" y="173"/>
                    <a:pt x="316" y="173"/>
                    <a:pt x="316" y="173"/>
                  </a:cubicBezTo>
                  <a:cubicBezTo>
                    <a:pt x="314" y="173"/>
                    <a:pt x="309" y="175"/>
                    <a:pt x="308" y="177"/>
                  </a:cubicBezTo>
                  <a:cubicBezTo>
                    <a:pt x="307" y="177"/>
                    <a:pt x="307" y="178"/>
                    <a:pt x="307" y="178"/>
                  </a:cubicBezTo>
                  <a:cubicBezTo>
                    <a:pt x="307" y="179"/>
                    <a:pt x="306" y="180"/>
                    <a:pt x="306" y="180"/>
                  </a:cubicBezTo>
                  <a:cubicBezTo>
                    <a:pt x="306" y="180"/>
                    <a:pt x="305" y="179"/>
                    <a:pt x="305" y="178"/>
                  </a:cubicBezTo>
                  <a:cubicBezTo>
                    <a:pt x="305" y="178"/>
                    <a:pt x="305" y="176"/>
                    <a:pt x="306" y="175"/>
                  </a:cubicBezTo>
                  <a:cubicBezTo>
                    <a:pt x="306" y="174"/>
                    <a:pt x="306" y="173"/>
                    <a:pt x="306" y="172"/>
                  </a:cubicBezTo>
                  <a:cubicBezTo>
                    <a:pt x="306" y="171"/>
                    <a:pt x="306" y="170"/>
                    <a:pt x="305" y="170"/>
                  </a:cubicBezTo>
                  <a:cubicBezTo>
                    <a:pt x="304" y="168"/>
                    <a:pt x="304" y="167"/>
                    <a:pt x="304" y="166"/>
                  </a:cubicBezTo>
                  <a:cubicBezTo>
                    <a:pt x="304" y="166"/>
                    <a:pt x="305" y="165"/>
                    <a:pt x="306" y="165"/>
                  </a:cubicBezTo>
                  <a:cubicBezTo>
                    <a:pt x="307" y="164"/>
                    <a:pt x="307" y="164"/>
                    <a:pt x="307" y="164"/>
                  </a:cubicBezTo>
                  <a:cubicBezTo>
                    <a:pt x="307" y="163"/>
                    <a:pt x="307" y="163"/>
                    <a:pt x="307" y="163"/>
                  </a:cubicBezTo>
                  <a:cubicBezTo>
                    <a:pt x="307" y="161"/>
                    <a:pt x="307" y="160"/>
                    <a:pt x="307" y="157"/>
                  </a:cubicBezTo>
                  <a:cubicBezTo>
                    <a:pt x="307" y="155"/>
                    <a:pt x="307" y="152"/>
                    <a:pt x="307" y="150"/>
                  </a:cubicBezTo>
                  <a:cubicBezTo>
                    <a:pt x="308" y="147"/>
                    <a:pt x="306" y="144"/>
                    <a:pt x="305" y="141"/>
                  </a:cubicBezTo>
                  <a:cubicBezTo>
                    <a:pt x="305" y="140"/>
                    <a:pt x="304" y="139"/>
                    <a:pt x="304" y="138"/>
                  </a:cubicBezTo>
                  <a:cubicBezTo>
                    <a:pt x="303" y="135"/>
                    <a:pt x="301" y="132"/>
                    <a:pt x="299" y="130"/>
                  </a:cubicBezTo>
                  <a:cubicBezTo>
                    <a:pt x="296" y="127"/>
                    <a:pt x="293" y="124"/>
                    <a:pt x="293" y="120"/>
                  </a:cubicBezTo>
                  <a:cubicBezTo>
                    <a:pt x="293" y="117"/>
                    <a:pt x="293" y="115"/>
                    <a:pt x="294" y="113"/>
                  </a:cubicBezTo>
                  <a:cubicBezTo>
                    <a:pt x="294" y="111"/>
                    <a:pt x="294" y="110"/>
                    <a:pt x="294" y="108"/>
                  </a:cubicBezTo>
                  <a:cubicBezTo>
                    <a:pt x="294" y="105"/>
                    <a:pt x="294" y="105"/>
                    <a:pt x="294" y="105"/>
                  </a:cubicBezTo>
                  <a:cubicBezTo>
                    <a:pt x="294" y="102"/>
                    <a:pt x="294" y="98"/>
                    <a:pt x="295" y="95"/>
                  </a:cubicBezTo>
                  <a:cubicBezTo>
                    <a:pt x="297" y="88"/>
                    <a:pt x="296" y="83"/>
                    <a:pt x="294" y="78"/>
                  </a:cubicBezTo>
                  <a:cubicBezTo>
                    <a:pt x="294" y="76"/>
                    <a:pt x="293" y="74"/>
                    <a:pt x="293" y="72"/>
                  </a:cubicBezTo>
                  <a:cubicBezTo>
                    <a:pt x="292" y="68"/>
                    <a:pt x="293" y="65"/>
                    <a:pt x="294" y="62"/>
                  </a:cubicBezTo>
                  <a:cubicBezTo>
                    <a:pt x="295" y="58"/>
                    <a:pt x="296" y="55"/>
                    <a:pt x="295" y="51"/>
                  </a:cubicBezTo>
                  <a:cubicBezTo>
                    <a:pt x="294" y="47"/>
                    <a:pt x="289" y="47"/>
                    <a:pt x="285" y="47"/>
                  </a:cubicBezTo>
                  <a:cubicBezTo>
                    <a:pt x="283" y="47"/>
                    <a:pt x="281" y="47"/>
                    <a:pt x="279" y="47"/>
                  </a:cubicBezTo>
                  <a:cubicBezTo>
                    <a:pt x="277" y="47"/>
                    <a:pt x="275" y="48"/>
                    <a:pt x="274" y="48"/>
                  </a:cubicBezTo>
                  <a:cubicBezTo>
                    <a:pt x="271" y="48"/>
                    <a:pt x="268" y="48"/>
                    <a:pt x="265" y="47"/>
                  </a:cubicBezTo>
                  <a:cubicBezTo>
                    <a:pt x="265" y="47"/>
                    <a:pt x="263" y="47"/>
                    <a:pt x="262" y="47"/>
                  </a:cubicBezTo>
                  <a:cubicBezTo>
                    <a:pt x="260" y="47"/>
                    <a:pt x="258" y="48"/>
                    <a:pt x="257" y="48"/>
                  </a:cubicBezTo>
                  <a:cubicBezTo>
                    <a:pt x="257" y="47"/>
                    <a:pt x="257" y="44"/>
                    <a:pt x="258" y="42"/>
                  </a:cubicBezTo>
                  <a:cubicBezTo>
                    <a:pt x="258" y="40"/>
                    <a:pt x="259" y="39"/>
                    <a:pt x="259" y="37"/>
                  </a:cubicBezTo>
                  <a:cubicBezTo>
                    <a:pt x="259" y="35"/>
                    <a:pt x="259" y="35"/>
                    <a:pt x="259" y="35"/>
                  </a:cubicBezTo>
                  <a:cubicBezTo>
                    <a:pt x="257" y="35"/>
                    <a:pt x="257" y="35"/>
                    <a:pt x="257" y="35"/>
                  </a:cubicBezTo>
                  <a:cubicBezTo>
                    <a:pt x="256" y="35"/>
                    <a:pt x="255" y="35"/>
                    <a:pt x="254" y="35"/>
                  </a:cubicBezTo>
                  <a:cubicBezTo>
                    <a:pt x="254" y="35"/>
                    <a:pt x="253" y="35"/>
                    <a:pt x="253" y="34"/>
                  </a:cubicBezTo>
                  <a:cubicBezTo>
                    <a:pt x="251" y="34"/>
                    <a:pt x="251" y="34"/>
                    <a:pt x="251" y="34"/>
                  </a:cubicBezTo>
                  <a:cubicBezTo>
                    <a:pt x="250" y="36"/>
                    <a:pt x="250" y="36"/>
                    <a:pt x="250" y="36"/>
                  </a:cubicBezTo>
                  <a:cubicBezTo>
                    <a:pt x="250" y="37"/>
                    <a:pt x="250" y="37"/>
                    <a:pt x="250" y="37"/>
                  </a:cubicBezTo>
                  <a:cubicBezTo>
                    <a:pt x="249" y="38"/>
                    <a:pt x="247" y="38"/>
                    <a:pt x="246" y="38"/>
                  </a:cubicBezTo>
                  <a:cubicBezTo>
                    <a:pt x="245" y="38"/>
                    <a:pt x="240" y="37"/>
                    <a:pt x="239" y="37"/>
                  </a:cubicBezTo>
                  <a:cubicBezTo>
                    <a:pt x="233" y="37"/>
                    <a:pt x="229" y="38"/>
                    <a:pt x="228" y="39"/>
                  </a:cubicBezTo>
                  <a:cubicBezTo>
                    <a:pt x="227" y="39"/>
                    <a:pt x="227" y="39"/>
                    <a:pt x="227" y="39"/>
                  </a:cubicBezTo>
                  <a:cubicBezTo>
                    <a:pt x="227" y="39"/>
                    <a:pt x="227" y="39"/>
                    <a:pt x="227" y="39"/>
                  </a:cubicBezTo>
                  <a:cubicBezTo>
                    <a:pt x="226" y="40"/>
                    <a:pt x="226" y="42"/>
                    <a:pt x="226" y="48"/>
                  </a:cubicBezTo>
                  <a:cubicBezTo>
                    <a:pt x="226" y="50"/>
                    <a:pt x="226" y="51"/>
                    <a:pt x="226" y="52"/>
                  </a:cubicBezTo>
                  <a:cubicBezTo>
                    <a:pt x="226" y="54"/>
                    <a:pt x="225" y="55"/>
                    <a:pt x="225" y="57"/>
                  </a:cubicBezTo>
                  <a:cubicBezTo>
                    <a:pt x="224" y="58"/>
                    <a:pt x="223" y="59"/>
                    <a:pt x="223" y="60"/>
                  </a:cubicBezTo>
                  <a:cubicBezTo>
                    <a:pt x="222" y="62"/>
                    <a:pt x="222" y="65"/>
                    <a:pt x="223" y="67"/>
                  </a:cubicBezTo>
                  <a:cubicBezTo>
                    <a:pt x="223" y="68"/>
                    <a:pt x="223" y="70"/>
                    <a:pt x="223" y="71"/>
                  </a:cubicBezTo>
                  <a:cubicBezTo>
                    <a:pt x="222" y="71"/>
                    <a:pt x="221" y="71"/>
                    <a:pt x="220" y="71"/>
                  </a:cubicBezTo>
                  <a:cubicBezTo>
                    <a:pt x="220" y="71"/>
                    <a:pt x="220" y="71"/>
                    <a:pt x="220" y="71"/>
                  </a:cubicBezTo>
                  <a:cubicBezTo>
                    <a:pt x="217" y="72"/>
                    <a:pt x="214" y="72"/>
                    <a:pt x="212" y="72"/>
                  </a:cubicBezTo>
                  <a:cubicBezTo>
                    <a:pt x="210" y="72"/>
                    <a:pt x="208" y="72"/>
                    <a:pt x="207" y="71"/>
                  </a:cubicBezTo>
                  <a:cubicBezTo>
                    <a:pt x="207" y="71"/>
                    <a:pt x="207" y="70"/>
                    <a:pt x="206" y="70"/>
                  </a:cubicBezTo>
                  <a:cubicBezTo>
                    <a:pt x="206" y="70"/>
                    <a:pt x="206" y="69"/>
                    <a:pt x="206" y="69"/>
                  </a:cubicBezTo>
                  <a:cubicBezTo>
                    <a:pt x="205" y="68"/>
                    <a:pt x="205" y="68"/>
                    <a:pt x="205" y="68"/>
                  </a:cubicBezTo>
                  <a:cubicBezTo>
                    <a:pt x="205" y="68"/>
                    <a:pt x="205" y="68"/>
                    <a:pt x="205" y="68"/>
                  </a:cubicBezTo>
                  <a:cubicBezTo>
                    <a:pt x="204" y="68"/>
                    <a:pt x="204" y="68"/>
                    <a:pt x="204" y="68"/>
                  </a:cubicBezTo>
                  <a:cubicBezTo>
                    <a:pt x="202" y="68"/>
                    <a:pt x="201" y="69"/>
                    <a:pt x="199" y="70"/>
                  </a:cubicBezTo>
                  <a:cubicBezTo>
                    <a:pt x="199" y="70"/>
                    <a:pt x="198" y="71"/>
                    <a:pt x="198" y="71"/>
                  </a:cubicBezTo>
                  <a:cubicBezTo>
                    <a:pt x="198" y="71"/>
                    <a:pt x="198" y="71"/>
                    <a:pt x="197" y="71"/>
                  </a:cubicBezTo>
                  <a:cubicBezTo>
                    <a:pt x="197" y="71"/>
                    <a:pt x="196" y="71"/>
                    <a:pt x="196" y="71"/>
                  </a:cubicBezTo>
                  <a:cubicBezTo>
                    <a:pt x="195" y="71"/>
                    <a:pt x="194" y="71"/>
                    <a:pt x="194" y="71"/>
                  </a:cubicBezTo>
                  <a:cubicBezTo>
                    <a:pt x="193" y="71"/>
                    <a:pt x="192" y="71"/>
                    <a:pt x="191" y="71"/>
                  </a:cubicBezTo>
                  <a:cubicBezTo>
                    <a:pt x="191" y="71"/>
                    <a:pt x="190" y="71"/>
                    <a:pt x="190" y="71"/>
                  </a:cubicBezTo>
                  <a:cubicBezTo>
                    <a:pt x="188" y="71"/>
                    <a:pt x="188" y="72"/>
                    <a:pt x="187" y="73"/>
                  </a:cubicBezTo>
                  <a:cubicBezTo>
                    <a:pt x="187" y="73"/>
                    <a:pt x="186" y="73"/>
                    <a:pt x="186" y="74"/>
                  </a:cubicBezTo>
                  <a:cubicBezTo>
                    <a:pt x="185" y="74"/>
                    <a:pt x="185" y="74"/>
                    <a:pt x="185" y="74"/>
                  </a:cubicBezTo>
                  <a:cubicBezTo>
                    <a:pt x="185" y="74"/>
                    <a:pt x="184" y="74"/>
                    <a:pt x="184" y="74"/>
                  </a:cubicBezTo>
                  <a:cubicBezTo>
                    <a:pt x="184" y="73"/>
                    <a:pt x="183" y="73"/>
                    <a:pt x="182" y="73"/>
                  </a:cubicBezTo>
                  <a:cubicBezTo>
                    <a:pt x="182" y="72"/>
                    <a:pt x="181" y="72"/>
                    <a:pt x="180" y="72"/>
                  </a:cubicBezTo>
                  <a:cubicBezTo>
                    <a:pt x="179" y="72"/>
                    <a:pt x="178" y="72"/>
                    <a:pt x="177" y="73"/>
                  </a:cubicBezTo>
                  <a:cubicBezTo>
                    <a:pt x="176" y="73"/>
                    <a:pt x="175" y="73"/>
                    <a:pt x="174" y="73"/>
                  </a:cubicBezTo>
                  <a:cubicBezTo>
                    <a:pt x="174" y="73"/>
                    <a:pt x="172" y="73"/>
                    <a:pt x="171" y="71"/>
                  </a:cubicBezTo>
                  <a:cubicBezTo>
                    <a:pt x="169" y="69"/>
                    <a:pt x="167" y="67"/>
                    <a:pt x="166" y="64"/>
                  </a:cubicBezTo>
                  <a:cubicBezTo>
                    <a:pt x="165" y="62"/>
                    <a:pt x="164" y="61"/>
                    <a:pt x="163" y="59"/>
                  </a:cubicBezTo>
                  <a:cubicBezTo>
                    <a:pt x="163" y="59"/>
                    <a:pt x="162" y="58"/>
                    <a:pt x="161" y="57"/>
                  </a:cubicBezTo>
                  <a:cubicBezTo>
                    <a:pt x="160" y="55"/>
                    <a:pt x="159" y="54"/>
                    <a:pt x="158" y="52"/>
                  </a:cubicBezTo>
                  <a:cubicBezTo>
                    <a:pt x="158" y="52"/>
                    <a:pt x="157" y="51"/>
                    <a:pt x="156" y="50"/>
                  </a:cubicBezTo>
                  <a:cubicBezTo>
                    <a:pt x="155" y="49"/>
                    <a:pt x="154" y="48"/>
                    <a:pt x="153" y="47"/>
                  </a:cubicBezTo>
                  <a:cubicBezTo>
                    <a:pt x="153" y="45"/>
                    <a:pt x="153" y="44"/>
                    <a:pt x="153" y="43"/>
                  </a:cubicBezTo>
                  <a:cubicBezTo>
                    <a:pt x="153" y="42"/>
                    <a:pt x="153" y="41"/>
                    <a:pt x="153" y="40"/>
                  </a:cubicBezTo>
                  <a:cubicBezTo>
                    <a:pt x="152" y="37"/>
                    <a:pt x="151" y="34"/>
                    <a:pt x="149" y="30"/>
                  </a:cubicBezTo>
                  <a:cubicBezTo>
                    <a:pt x="149" y="30"/>
                    <a:pt x="148" y="29"/>
                    <a:pt x="148" y="28"/>
                  </a:cubicBezTo>
                  <a:cubicBezTo>
                    <a:pt x="148" y="27"/>
                    <a:pt x="147" y="27"/>
                    <a:pt x="147" y="26"/>
                  </a:cubicBezTo>
                  <a:cubicBezTo>
                    <a:pt x="147" y="26"/>
                    <a:pt x="146" y="25"/>
                    <a:pt x="146" y="24"/>
                  </a:cubicBezTo>
                  <a:cubicBezTo>
                    <a:pt x="146" y="23"/>
                    <a:pt x="146" y="22"/>
                    <a:pt x="146" y="21"/>
                  </a:cubicBezTo>
                  <a:cubicBezTo>
                    <a:pt x="146" y="20"/>
                    <a:pt x="146" y="20"/>
                    <a:pt x="146" y="19"/>
                  </a:cubicBezTo>
                  <a:cubicBezTo>
                    <a:pt x="146" y="17"/>
                    <a:pt x="146" y="15"/>
                    <a:pt x="145" y="13"/>
                  </a:cubicBezTo>
                  <a:cubicBezTo>
                    <a:pt x="145" y="12"/>
                    <a:pt x="145" y="11"/>
                    <a:pt x="145" y="10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3" y="8"/>
                    <a:pt x="143" y="8"/>
                    <a:pt x="143" y="8"/>
                  </a:cubicBezTo>
                  <a:cubicBezTo>
                    <a:pt x="143" y="8"/>
                    <a:pt x="143" y="8"/>
                    <a:pt x="143" y="8"/>
                  </a:cubicBezTo>
                  <a:cubicBezTo>
                    <a:pt x="143" y="4"/>
                    <a:pt x="142" y="0"/>
                    <a:pt x="138" y="0"/>
                  </a:cubicBezTo>
                  <a:cubicBezTo>
                    <a:pt x="137" y="0"/>
                    <a:pt x="137" y="0"/>
                    <a:pt x="136" y="1"/>
                  </a:cubicBezTo>
                  <a:cubicBezTo>
                    <a:pt x="136" y="1"/>
                    <a:pt x="135" y="1"/>
                    <a:pt x="135" y="1"/>
                  </a:cubicBezTo>
                  <a:cubicBezTo>
                    <a:pt x="133" y="1"/>
                    <a:pt x="132" y="0"/>
                    <a:pt x="130" y="0"/>
                  </a:cubicBezTo>
                  <a:cubicBezTo>
                    <a:pt x="129" y="0"/>
                    <a:pt x="128" y="0"/>
                    <a:pt x="127" y="0"/>
                  </a:cubicBezTo>
                  <a:cubicBezTo>
                    <a:pt x="122" y="0"/>
                    <a:pt x="116" y="0"/>
                    <a:pt x="111" y="0"/>
                  </a:cubicBezTo>
                  <a:cubicBezTo>
                    <a:pt x="102" y="0"/>
                    <a:pt x="94" y="0"/>
                    <a:pt x="8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3" y="0"/>
                    <a:pt x="70" y="0"/>
                    <a:pt x="67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0"/>
                    <a:pt x="38" y="1"/>
                    <a:pt x="36" y="2"/>
                  </a:cubicBezTo>
                  <a:cubicBezTo>
                    <a:pt x="35" y="2"/>
                    <a:pt x="34" y="3"/>
                    <a:pt x="34" y="3"/>
                  </a:cubicBezTo>
                  <a:cubicBezTo>
                    <a:pt x="33" y="4"/>
                    <a:pt x="32" y="5"/>
                    <a:pt x="30" y="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5"/>
                    <a:pt x="28" y="5"/>
                    <a:pt x="28" y="5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6" y="5"/>
                    <a:pt x="26" y="5"/>
                  </a:cubicBezTo>
                  <a:cubicBezTo>
                    <a:pt x="25" y="5"/>
                    <a:pt x="25" y="5"/>
                    <a:pt x="24" y="6"/>
                  </a:cubicBezTo>
                  <a:cubicBezTo>
                    <a:pt x="24" y="6"/>
                    <a:pt x="24" y="6"/>
                    <a:pt x="23" y="6"/>
                  </a:cubicBezTo>
                  <a:cubicBezTo>
                    <a:pt x="22" y="7"/>
                    <a:pt x="22" y="7"/>
                    <a:pt x="21" y="7"/>
                  </a:cubicBezTo>
                  <a:cubicBezTo>
                    <a:pt x="20" y="7"/>
                    <a:pt x="19" y="6"/>
                    <a:pt x="18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8"/>
                    <a:pt x="15" y="8"/>
                    <a:pt x="15" y="9"/>
                  </a:cubicBezTo>
                  <a:cubicBezTo>
                    <a:pt x="16" y="11"/>
                    <a:pt x="16" y="12"/>
                    <a:pt x="17" y="14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0" y="18"/>
                    <a:pt x="22" y="22"/>
                    <a:pt x="23" y="25"/>
                  </a:cubicBezTo>
                  <a:cubicBezTo>
                    <a:pt x="25" y="29"/>
                    <a:pt x="27" y="32"/>
                    <a:pt x="30" y="35"/>
                  </a:cubicBezTo>
                  <a:cubicBezTo>
                    <a:pt x="31" y="36"/>
                    <a:pt x="31" y="36"/>
                    <a:pt x="31" y="38"/>
                  </a:cubicBezTo>
                  <a:cubicBezTo>
                    <a:pt x="31" y="38"/>
                    <a:pt x="31" y="39"/>
                    <a:pt x="31" y="40"/>
                  </a:cubicBezTo>
                  <a:cubicBezTo>
                    <a:pt x="31" y="41"/>
                    <a:pt x="31" y="42"/>
                    <a:pt x="31" y="43"/>
                  </a:cubicBezTo>
                  <a:cubicBezTo>
                    <a:pt x="31" y="45"/>
                    <a:pt x="32" y="47"/>
                    <a:pt x="33" y="49"/>
                  </a:cubicBezTo>
                  <a:cubicBezTo>
                    <a:pt x="34" y="51"/>
                    <a:pt x="34" y="52"/>
                    <a:pt x="35" y="54"/>
                  </a:cubicBezTo>
                  <a:cubicBezTo>
                    <a:pt x="35" y="57"/>
                    <a:pt x="37" y="60"/>
                    <a:pt x="38" y="63"/>
                  </a:cubicBezTo>
                  <a:cubicBezTo>
                    <a:pt x="39" y="65"/>
                    <a:pt x="39" y="66"/>
                    <a:pt x="40" y="68"/>
                  </a:cubicBezTo>
                  <a:cubicBezTo>
                    <a:pt x="40" y="69"/>
                    <a:pt x="41" y="70"/>
                    <a:pt x="41" y="71"/>
                  </a:cubicBezTo>
                  <a:cubicBezTo>
                    <a:pt x="42" y="73"/>
                    <a:pt x="43" y="74"/>
                    <a:pt x="43" y="75"/>
                  </a:cubicBezTo>
                  <a:cubicBezTo>
                    <a:pt x="44" y="76"/>
                    <a:pt x="44" y="76"/>
                    <a:pt x="45" y="77"/>
                  </a:cubicBezTo>
                  <a:cubicBezTo>
                    <a:pt x="45" y="79"/>
                    <a:pt x="46" y="80"/>
                    <a:pt x="46" y="82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7" y="83"/>
                    <a:pt x="47" y="84"/>
                    <a:pt x="46" y="85"/>
                  </a:cubicBezTo>
                  <a:cubicBezTo>
                    <a:pt x="46" y="86"/>
                    <a:pt x="46" y="87"/>
                    <a:pt x="46" y="88"/>
                  </a:cubicBezTo>
                  <a:cubicBezTo>
                    <a:pt x="47" y="89"/>
                    <a:pt x="47" y="90"/>
                    <a:pt x="48" y="90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48" y="92"/>
                    <a:pt x="48" y="94"/>
                    <a:pt x="47" y="94"/>
                  </a:cubicBezTo>
                  <a:cubicBezTo>
                    <a:pt x="46" y="96"/>
                    <a:pt x="44" y="97"/>
                    <a:pt x="42" y="98"/>
                  </a:cubicBezTo>
                  <a:cubicBezTo>
                    <a:pt x="42" y="99"/>
                    <a:pt x="41" y="99"/>
                    <a:pt x="40" y="100"/>
                  </a:cubicBezTo>
                  <a:cubicBezTo>
                    <a:pt x="37" y="102"/>
                    <a:pt x="36" y="106"/>
                    <a:pt x="37" y="110"/>
                  </a:cubicBezTo>
                  <a:cubicBezTo>
                    <a:pt x="38" y="111"/>
                    <a:pt x="38" y="111"/>
                    <a:pt x="38" y="112"/>
                  </a:cubicBezTo>
                  <a:cubicBezTo>
                    <a:pt x="39" y="113"/>
                    <a:pt x="39" y="113"/>
                    <a:pt x="39" y="114"/>
                  </a:cubicBezTo>
                  <a:cubicBezTo>
                    <a:pt x="40" y="114"/>
                    <a:pt x="40" y="115"/>
                    <a:pt x="40" y="115"/>
                  </a:cubicBezTo>
                  <a:cubicBezTo>
                    <a:pt x="40" y="116"/>
                    <a:pt x="40" y="117"/>
                    <a:pt x="41" y="119"/>
                  </a:cubicBezTo>
                  <a:cubicBezTo>
                    <a:pt x="42" y="120"/>
                    <a:pt x="42" y="121"/>
                    <a:pt x="42" y="122"/>
                  </a:cubicBezTo>
                  <a:cubicBezTo>
                    <a:pt x="42" y="123"/>
                    <a:pt x="42" y="123"/>
                    <a:pt x="42" y="124"/>
                  </a:cubicBezTo>
                  <a:cubicBezTo>
                    <a:pt x="42" y="125"/>
                    <a:pt x="42" y="127"/>
                    <a:pt x="43" y="129"/>
                  </a:cubicBezTo>
                  <a:cubicBezTo>
                    <a:pt x="43" y="130"/>
                    <a:pt x="44" y="130"/>
                    <a:pt x="44" y="131"/>
                  </a:cubicBezTo>
                  <a:cubicBezTo>
                    <a:pt x="45" y="131"/>
                    <a:pt x="45" y="132"/>
                    <a:pt x="45" y="132"/>
                  </a:cubicBezTo>
                  <a:cubicBezTo>
                    <a:pt x="46" y="133"/>
                    <a:pt x="46" y="134"/>
                    <a:pt x="46" y="134"/>
                  </a:cubicBezTo>
                  <a:cubicBezTo>
                    <a:pt x="46" y="135"/>
                    <a:pt x="46" y="136"/>
                    <a:pt x="46" y="137"/>
                  </a:cubicBezTo>
                  <a:cubicBezTo>
                    <a:pt x="47" y="138"/>
                    <a:pt x="48" y="140"/>
                    <a:pt x="48" y="141"/>
                  </a:cubicBezTo>
                  <a:cubicBezTo>
                    <a:pt x="49" y="143"/>
                    <a:pt x="49" y="144"/>
                    <a:pt x="50" y="145"/>
                  </a:cubicBezTo>
                  <a:cubicBezTo>
                    <a:pt x="50" y="145"/>
                    <a:pt x="50" y="146"/>
                    <a:pt x="50" y="146"/>
                  </a:cubicBezTo>
                  <a:cubicBezTo>
                    <a:pt x="50" y="147"/>
                    <a:pt x="50" y="148"/>
                    <a:pt x="51" y="149"/>
                  </a:cubicBezTo>
                  <a:cubicBezTo>
                    <a:pt x="52" y="151"/>
                    <a:pt x="53" y="152"/>
                    <a:pt x="54" y="153"/>
                  </a:cubicBezTo>
                  <a:cubicBezTo>
                    <a:pt x="55" y="154"/>
                    <a:pt x="56" y="155"/>
                    <a:pt x="56" y="156"/>
                  </a:cubicBezTo>
                  <a:cubicBezTo>
                    <a:pt x="57" y="157"/>
                    <a:pt x="57" y="158"/>
                    <a:pt x="57" y="160"/>
                  </a:cubicBezTo>
                  <a:cubicBezTo>
                    <a:pt x="57" y="161"/>
                    <a:pt x="57" y="162"/>
                    <a:pt x="57" y="163"/>
                  </a:cubicBezTo>
                  <a:cubicBezTo>
                    <a:pt x="58" y="165"/>
                    <a:pt x="59" y="166"/>
                    <a:pt x="60" y="166"/>
                  </a:cubicBezTo>
                  <a:cubicBezTo>
                    <a:pt x="60" y="167"/>
                    <a:pt x="60" y="167"/>
                    <a:pt x="60" y="167"/>
                  </a:cubicBezTo>
                  <a:cubicBezTo>
                    <a:pt x="61" y="169"/>
                    <a:pt x="60" y="171"/>
                    <a:pt x="60" y="174"/>
                  </a:cubicBezTo>
                  <a:cubicBezTo>
                    <a:pt x="59" y="175"/>
                    <a:pt x="59" y="177"/>
                    <a:pt x="59" y="179"/>
                  </a:cubicBezTo>
                  <a:cubicBezTo>
                    <a:pt x="59" y="180"/>
                    <a:pt x="59" y="180"/>
                    <a:pt x="59" y="180"/>
                  </a:cubicBezTo>
                  <a:cubicBezTo>
                    <a:pt x="59" y="185"/>
                    <a:pt x="59" y="189"/>
                    <a:pt x="58" y="194"/>
                  </a:cubicBezTo>
                  <a:cubicBezTo>
                    <a:pt x="58" y="198"/>
                    <a:pt x="57" y="201"/>
                    <a:pt x="56" y="206"/>
                  </a:cubicBezTo>
                  <a:cubicBezTo>
                    <a:pt x="55" y="208"/>
                    <a:pt x="55" y="208"/>
                    <a:pt x="55" y="208"/>
                  </a:cubicBezTo>
                  <a:cubicBezTo>
                    <a:pt x="54" y="212"/>
                    <a:pt x="50" y="216"/>
                    <a:pt x="47" y="219"/>
                  </a:cubicBezTo>
                  <a:cubicBezTo>
                    <a:pt x="45" y="220"/>
                    <a:pt x="44" y="221"/>
                    <a:pt x="42" y="222"/>
                  </a:cubicBezTo>
                  <a:cubicBezTo>
                    <a:pt x="42" y="222"/>
                    <a:pt x="41" y="223"/>
                    <a:pt x="41" y="223"/>
                  </a:cubicBezTo>
                  <a:cubicBezTo>
                    <a:pt x="40" y="223"/>
                    <a:pt x="38" y="224"/>
                    <a:pt x="37" y="225"/>
                  </a:cubicBezTo>
                  <a:cubicBezTo>
                    <a:pt x="35" y="228"/>
                    <a:pt x="35" y="230"/>
                    <a:pt x="35" y="233"/>
                  </a:cubicBezTo>
                  <a:cubicBezTo>
                    <a:pt x="35" y="234"/>
                    <a:pt x="35" y="234"/>
                    <a:pt x="35" y="234"/>
                  </a:cubicBezTo>
                  <a:cubicBezTo>
                    <a:pt x="35" y="235"/>
                    <a:pt x="35" y="235"/>
                    <a:pt x="34" y="235"/>
                  </a:cubicBezTo>
                  <a:cubicBezTo>
                    <a:pt x="33" y="236"/>
                    <a:pt x="33" y="236"/>
                    <a:pt x="32" y="237"/>
                  </a:cubicBezTo>
                  <a:cubicBezTo>
                    <a:pt x="31" y="238"/>
                    <a:pt x="30" y="240"/>
                    <a:pt x="29" y="241"/>
                  </a:cubicBezTo>
                  <a:cubicBezTo>
                    <a:pt x="28" y="242"/>
                    <a:pt x="27" y="243"/>
                    <a:pt x="26" y="244"/>
                  </a:cubicBezTo>
                  <a:cubicBezTo>
                    <a:pt x="24" y="247"/>
                    <a:pt x="22" y="250"/>
                    <a:pt x="22" y="253"/>
                  </a:cubicBezTo>
                  <a:cubicBezTo>
                    <a:pt x="22" y="255"/>
                    <a:pt x="22" y="256"/>
                    <a:pt x="22" y="257"/>
                  </a:cubicBezTo>
                  <a:cubicBezTo>
                    <a:pt x="22" y="259"/>
                    <a:pt x="22" y="261"/>
                    <a:pt x="21" y="263"/>
                  </a:cubicBezTo>
                  <a:cubicBezTo>
                    <a:pt x="21" y="263"/>
                    <a:pt x="21" y="264"/>
                    <a:pt x="20" y="264"/>
                  </a:cubicBezTo>
                  <a:cubicBezTo>
                    <a:pt x="20" y="265"/>
                    <a:pt x="20" y="265"/>
                    <a:pt x="20" y="265"/>
                  </a:cubicBezTo>
                  <a:cubicBezTo>
                    <a:pt x="19" y="267"/>
                    <a:pt x="18" y="268"/>
                    <a:pt x="18" y="269"/>
                  </a:cubicBezTo>
                  <a:cubicBezTo>
                    <a:pt x="17" y="271"/>
                    <a:pt x="17" y="273"/>
                    <a:pt x="17" y="275"/>
                  </a:cubicBezTo>
                  <a:cubicBezTo>
                    <a:pt x="17" y="276"/>
                    <a:pt x="17" y="277"/>
                    <a:pt x="17" y="278"/>
                  </a:cubicBezTo>
                  <a:cubicBezTo>
                    <a:pt x="17" y="279"/>
                    <a:pt x="17" y="280"/>
                    <a:pt x="17" y="280"/>
                  </a:cubicBezTo>
                  <a:cubicBezTo>
                    <a:pt x="16" y="282"/>
                    <a:pt x="16" y="284"/>
                    <a:pt x="16" y="286"/>
                  </a:cubicBezTo>
                  <a:cubicBezTo>
                    <a:pt x="16" y="290"/>
                    <a:pt x="15" y="295"/>
                    <a:pt x="13" y="299"/>
                  </a:cubicBezTo>
                  <a:cubicBezTo>
                    <a:pt x="11" y="303"/>
                    <a:pt x="9" y="308"/>
                    <a:pt x="9" y="314"/>
                  </a:cubicBezTo>
                  <a:cubicBezTo>
                    <a:pt x="9" y="315"/>
                    <a:pt x="9" y="315"/>
                    <a:pt x="9" y="316"/>
                  </a:cubicBezTo>
                  <a:cubicBezTo>
                    <a:pt x="9" y="317"/>
                    <a:pt x="9" y="318"/>
                    <a:pt x="8" y="320"/>
                  </a:cubicBezTo>
                  <a:cubicBezTo>
                    <a:pt x="7" y="320"/>
                    <a:pt x="6" y="321"/>
                    <a:pt x="5" y="322"/>
                  </a:cubicBezTo>
                  <a:cubicBezTo>
                    <a:pt x="4" y="323"/>
                    <a:pt x="3" y="325"/>
                    <a:pt x="2" y="327"/>
                  </a:cubicBezTo>
                  <a:cubicBezTo>
                    <a:pt x="0" y="330"/>
                    <a:pt x="1" y="333"/>
                    <a:pt x="1" y="335"/>
                  </a:cubicBezTo>
                  <a:cubicBezTo>
                    <a:pt x="1" y="336"/>
                    <a:pt x="2" y="337"/>
                    <a:pt x="2" y="337"/>
                  </a:cubicBezTo>
                  <a:cubicBezTo>
                    <a:pt x="2" y="342"/>
                    <a:pt x="3" y="346"/>
                    <a:pt x="3" y="350"/>
                  </a:cubicBezTo>
                  <a:cubicBezTo>
                    <a:pt x="3" y="353"/>
                    <a:pt x="3" y="356"/>
                    <a:pt x="2" y="358"/>
                  </a:cubicBezTo>
                  <a:cubicBezTo>
                    <a:pt x="1" y="364"/>
                    <a:pt x="0" y="368"/>
                    <a:pt x="0" y="373"/>
                  </a:cubicBezTo>
                  <a:cubicBezTo>
                    <a:pt x="0" y="378"/>
                    <a:pt x="0" y="378"/>
                    <a:pt x="0" y="378"/>
                  </a:cubicBezTo>
                  <a:cubicBezTo>
                    <a:pt x="3" y="376"/>
                    <a:pt x="3" y="376"/>
                    <a:pt x="3" y="376"/>
                  </a:cubicBezTo>
                  <a:cubicBezTo>
                    <a:pt x="7" y="374"/>
                    <a:pt x="10" y="372"/>
                    <a:pt x="13" y="372"/>
                  </a:cubicBezTo>
                  <a:cubicBezTo>
                    <a:pt x="14" y="372"/>
                    <a:pt x="14" y="372"/>
                    <a:pt x="15" y="372"/>
                  </a:cubicBezTo>
                  <a:cubicBezTo>
                    <a:pt x="16" y="372"/>
                    <a:pt x="17" y="373"/>
                    <a:pt x="18" y="374"/>
                  </a:cubicBezTo>
                  <a:cubicBezTo>
                    <a:pt x="19" y="375"/>
                    <a:pt x="20" y="375"/>
                    <a:pt x="22" y="376"/>
                  </a:cubicBezTo>
                  <a:cubicBezTo>
                    <a:pt x="22" y="376"/>
                    <a:pt x="22" y="376"/>
                    <a:pt x="23" y="376"/>
                  </a:cubicBezTo>
                  <a:cubicBezTo>
                    <a:pt x="25" y="376"/>
                    <a:pt x="29" y="375"/>
                    <a:pt x="31" y="374"/>
                  </a:cubicBezTo>
                  <a:cubicBezTo>
                    <a:pt x="32" y="373"/>
                    <a:pt x="33" y="372"/>
                    <a:pt x="34" y="371"/>
                  </a:cubicBezTo>
                  <a:cubicBezTo>
                    <a:pt x="35" y="369"/>
                    <a:pt x="36" y="368"/>
                    <a:pt x="37" y="368"/>
                  </a:cubicBezTo>
                  <a:cubicBezTo>
                    <a:pt x="38" y="367"/>
                    <a:pt x="44" y="366"/>
                    <a:pt x="46" y="366"/>
                  </a:cubicBezTo>
                  <a:cubicBezTo>
                    <a:pt x="46" y="366"/>
                    <a:pt x="46" y="366"/>
                    <a:pt x="46" y="366"/>
                  </a:cubicBezTo>
                  <a:cubicBezTo>
                    <a:pt x="50" y="366"/>
                    <a:pt x="53" y="369"/>
                    <a:pt x="55" y="372"/>
                  </a:cubicBezTo>
                  <a:cubicBezTo>
                    <a:pt x="56" y="374"/>
                    <a:pt x="57" y="375"/>
                    <a:pt x="58" y="376"/>
                  </a:cubicBezTo>
                  <a:cubicBezTo>
                    <a:pt x="60" y="377"/>
                    <a:pt x="63" y="379"/>
                    <a:pt x="65" y="380"/>
                  </a:cubicBezTo>
                  <a:cubicBezTo>
                    <a:pt x="68" y="381"/>
                    <a:pt x="71" y="382"/>
                    <a:pt x="76" y="382"/>
                  </a:cubicBezTo>
                  <a:cubicBezTo>
                    <a:pt x="80" y="382"/>
                    <a:pt x="83" y="381"/>
                    <a:pt x="86" y="381"/>
                  </a:cubicBezTo>
                  <a:cubicBezTo>
                    <a:pt x="88" y="381"/>
                    <a:pt x="90" y="381"/>
                    <a:pt x="92" y="381"/>
                  </a:cubicBezTo>
                  <a:cubicBezTo>
                    <a:pt x="195" y="381"/>
                    <a:pt x="195" y="381"/>
                    <a:pt x="195" y="381"/>
                  </a:cubicBezTo>
                  <a:cubicBezTo>
                    <a:pt x="198" y="385"/>
                    <a:pt x="200" y="390"/>
                    <a:pt x="204" y="393"/>
                  </a:cubicBezTo>
                  <a:cubicBezTo>
                    <a:pt x="206" y="395"/>
                    <a:pt x="210" y="396"/>
                    <a:pt x="212" y="396"/>
                  </a:cubicBezTo>
                  <a:cubicBezTo>
                    <a:pt x="213" y="396"/>
                    <a:pt x="214" y="396"/>
                    <a:pt x="215" y="395"/>
                  </a:cubicBezTo>
                  <a:cubicBezTo>
                    <a:pt x="216" y="395"/>
                    <a:pt x="217" y="395"/>
                    <a:pt x="218" y="395"/>
                  </a:cubicBezTo>
                  <a:cubicBezTo>
                    <a:pt x="223" y="395"/>
                    <a:pt x="227" y="396"/>
                    <a:pt x="231" y="397"/>
                  </a:cubicBezTo>
                  <a:cubicBezTo>
                    <a:pt x="232" y="397"/>
                    <a:pt x="233" y="397"/>
                    <a:pt x="234" y="397"/>
                  </a:cubicBezTo>
                  <a:cubicBezTo>
                    <a:pt x="237" y="397"/>
                    <a:pt x="239" y="396"/>
                    <a:pt x="242" y="396"/>
                  </a:cubicBezTo>
                  <a:cubicBezTo>
                    <a:pt x="243" y="395"/>
                    <a:pt x="245" y="395"/>
                    <a:pt x="247" y="395"/>
                  </a:cubicBezTo>
                  <a:cubicBezTo>
                    <a:pt x="248" y="395"/>
                    <a:pt x="248" y="395"/>
                    <a:pt x="248" y="395"/>
                  </a:cubicBezTo>
                  <a:cubicBezTo>
                    <a:pt x="251" y="395"/>
                    <a:pt x="254" y="396"/>
                    <a:pt x="256" y="397"/>
                  </a:cubicBezTo>
                  <a:cubicBezTo>
                    <a:pt x="258" y="397"/>
                    <a:pt x="260" y="398"/>
                    <a:pt x="262" y="398"/>
                  </a:cubicBezTo>
                  <a:cubicBezTo>
                    <a:pt x="263" y="399"/>
                    <a:pt x="264" y="399"/>
                    <a:pt x="264" y="399"/>
                  </a:cubicBezTo>
                  <a:cubicBezTo>
                    <a:pt x="266" y="399"/>
                    <a:pt x="268" y="398"/>
                    <a:pt x="269" y="398"/>
                  </a:cubicBezTo>
                  <a:cubicBezTo>
                    <a:pt x="270" y="398"/>
                    <a:pt x="272" y="398"/>
                    <a:pt x="273" y="398"/>
                  </a:cubicBezTo>
                  <a:cubicBezTo>
                    <a:pt x="274" y="398"/>
                    <a:pt x="275" y="398"/>
                    <a:pt x="276" y="398"/>
                  </a:cubicBezTo>
                  <a:cubicBezTo>
                    <a:pt x="278" y="398"/>
                    <a:pt x="278" y="398"/>
                    <a:pt x="278" y="398"/>
                  </a:cubicBezTo>
                  <a:cubicBezTo>
                    <a:pt x="280" y="399"/>
                    <a:pt x="281" y="399"/>
                    <a:pt x="283" y="399"/>
                  </a:cubicBezTo>
                  <a:cubicBezTo>
                    <a:pt x="285" y="399"/>
                    <a:pt x="286" y="399"/>
                    <a:pt x="288" y="398"/>
                  </a:cubicBezTo>
                  <a:cubicBezTo>
                    <a:pt x="292" y="397"/>
                    <a:pt x="296" y="395"/>
                    <a:pt x="300" y="395"/>
                  </a:cubicBezTo>
                  <a:cubicBezTo>
                    <a:pt x="304" y="394"/>
                    <a:pt x="304" y="394"/>
                    <a:pt x="304" y="394"/>
                  </a:cubicBezTo>
                  <a:cubicBezTo>
                    <a:pt x="312" y="394"/>
                    <a:pt x="319" y="393"/>
                    <a:pt x="326" y="390"/>
                  </a:cubicBezTo>
                  <a:cubicBezTo>
                    <a:pt x="328" y="390"/>
                    <a:pt x="330" y="389"/>
                    <a:pt x="332" y="389"/>
                  </a:cubicBezTo>
                  <a:cubicBezTo>
                    <a:pt x="335" y="388"/>
                    <a:pt x="335" y="388"/>
                    <a:pt x="335" y="388"/>
                  </a:cubicBezTo>
                  <a:cubicBezTo>
                    <a:pt x="302" y="351"/>
                    <a:pt x="302" y="351"/>
                    <a:pt x="302" y="351"/>
                  </a:cubicBezTo>
                  <a:cubicBezTo>
                    <a:pt x="302" y="350"/>
                    <a:pt x="302" y="343"/>
                    <a:pt x="297" y="341"/>
                  </a:cubicBezTo>
                  <a:cubicBezTo>
                    <a:pt x="299" y="236"/>
                    <a:pt x="299" y="236"/>
                    <a:pt x="299" y="236"/>
                  </a:cubicBezTo>
                  <a:cubicBezTo>
                    <a:pt x="331" y="236"/>
                    <a:pt x="331" y="236"/>
                    <a:pt x="331" y="236"/>
                  </a:cubicBezTo>
                  <a:cubicBezTo>
                    <a:pt x="336" y="236"/>
                    <a:pt x="341" y="236"/>
                    <a:pt x="346" y="236"/>
                  </a:cubicBezTo>
                  <a:cubicBezTo>
                    <a:pt x="352" y="236"/>
                    <a:pt x="352" y="236"/>
                    <a:pt x="352" y="236"/>
                  </a:cubicBezTo>
                  <a:cubicBezTo>
                    <a:pt x="352" y="236"/>
                    <a:pt x="353" y="236"/>
                    <a:pt x="353" y="236"/>
                  </a:cubicBezTo>
                  <a:cubicBezTo>
                    <a:pt x="356" y="236"/>
                    <a:pt x="356" y="236"/>
                    <a:pt x="356" y="236"/>
                  </a:cubicBezTo>
                  <a:cubicBezTo>
                    <a:pt x="355" y="233"/>
                    <a:pt x="355" y="233"/>
                    <a:pt x="355" y="233"/>
                  </a:cubicBezTo>
                  <a:cubicBezTo>
                    <a:pt x="355" y="233"/>
                    <a:pt x="354" y="233"/>
                    <a:pt x="354" y="232"/>
                  </a:cubicBezTo>
                  <a:cubicBezTo>
                    <a:pt x="353" y="231"/>
                    <a:pt x="353" y="230"/>
                    <a:pt x="353" y="228"/>
                  </a:cubicBezTo>
                  <a:cubicBezTo>
                    <a:pt x="353" y="226"/>
                    <a:pt x="354" y="223"/>
                    <a:pt x="356" y="220"/>
                  </a:cubicBezTo>
                  <a:cubicBezTo>
                    <a:pt x="357" y="218"/>
                    <a:pt x="358" y="216"/>
                    <a:pt x="357" y="213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4" name="Freeform 54"/>
            <p:cNvSpPr>
              <a:spLocks/>
            </p:cNvSpPr>
            <p:nvPr/>
          </p:nvSpPr>
          <p:spPr bwMode="auto">
            <a:xfrm>
              <a:off x="3889439" y="3109331"/>
              <a:ext cx="179680" cy="467444"/>
            </a:xfrm>
            <a:custGeom>
              <a:avLst/>
              <a:gdLst>
                <a:gd name="T0" fmla="*/ 88 w 89"/>
                <a:gd name="T1" fmla="*/ 192 h 251"/>
                <a:gd name="T2" fmla="*/ 88 w 89"/>
                <a:gd name="T3" fmla="*/ 188 h 251"/>
                <a:gd name="T4" fmla="*/ 69 w 89"/>
                <a:gd name="T5" fmla="*/ 144 h 251"/>
                <a:gd name="T6" fmla="*/ 67 w 89"/>
                <a:gd name="T7" fmla="*/ 148 h 251"/>
                <a:gd name="T8" fmla="*/ 69 w 89"/>
                <a:gd name="T9" fmla="*/ 156 h 251"/>
                <a:gd name="T10" fmla="*/ 62 w 89"/>
                <a:gd name="T11" fmla="*/ 148 h 251"/>
                <a:gd name="T12" fmla="*/ 57 w 89"/>
                <a:gd name="T13" fmla="*/ 154 h 251"/>
                <a:gd name="T14" fmla="*/ 52 w 89"/>
                <a:gd name="T15" fmla="*/ 134 h 251"/>
                <a:gd name="T16" fmla="*/ 46 w 89"/>
                <a:gd name="T17" fmla="*/ 108 h 251"/>
                <a:gd name="T18" fmla="*/ 45 w 89"/>
                <a:gd name="T19" fmla="*/ 78 h 251"/>
                <a:gd name="T20" fmla="*/ 47 w 89"/>
                <a:gd name="T21" fmla="*/ 56 h 251"/>
                <a:gd name="T22" fmla="*/ 47 w 89"/>
                <a:gd name="T23" fmla="*/ 40 h 251"/>
                <a:gd name="T24" fmla="*/ 44 w 89"/>
                <a:gd name="T25" fmla="*/ 21 h 251"/>
                <a:gd name="T26" fmla="*/ 40 w 89"/>
                <a:gd name="T27" fmla="*/ 7 h 251"/>
                <a:gd name="T28" fmla="*/ 46 w 89"/>
                <a:gd name="T29" fmla="*/ 6 h 251"/>
                <a:gd name="T30" fmla="*/ 41 w 89"/>
                <a:gd name="T31" fmla="*/ 0 h 251"/>
                <a:gd name="T32" fmla="*/ 36 w 89"/>
                <a:gd name="T33" fmla="*/ 3 h 251"/>
                <a:gd name="T34" fmla="*/ 30 w 89"/>
                <a:gd name="T35" fmla="*/ 2 h 251"/>
                <a:gd name="T36" fmla="*/ 19 w 89"/>
                <a:gd name="T37" fmla="*/ 0 h 251"/>
                <a:gd name="T38" fmla="*/ 17 w 89"/>
                <a:gd name="T39" fmla="*/ 0 h 251"/>
                <a:gd name="T40" fmla="*/ 14 w 89"/>
                <a:gd name="T41" fmla="*/ 3 h 251"/>
                <a:gd name="T42" fmla="*/ 19 w 89"/>
                <a:gd name="T43" fmla="*/ 9 h 251"/>
                <a:gd name="T44" fmla="*/ 19 w 89"/>
                <a:gd name="T45" fmla="*/ 16 h 251"/>
                <a:gd name="T46" fmla="*/ 26 w 89"/>
                <a:gd name="T47" fmla="*/ 22 h 251"/>
                <a:gd name="T48" fmla="*/ 30 w 89"/>
                <a:gd name="T49" fmla="*/ 32 h 251"/>
                <a:gd name="T50" fmla="*/ 20 w 89"/>
                <a:gd name="T51" fmla="*/ 42 h 251"/>
                <a:gd name="T52" fmla="*/ 18 w 89"/>
                <a:gd name="T53" fmla="*/ 49 h 251"/>
                <a:gd name="T54" fmla="*/ 19 w 89"/>
                <a:gd name="T55" fmla="*/ 57 h 251"/>
                <a:gd name="T56" fmla="*/ 18 w 89"/>
                <a:gd name="T57" fmla="*/ 66 h 251"/>
                <a:gd name="T58" fmla="*/ 18 w 89"/>
                <a:gd name="T59" fmla="*/ 77 h 251"/>
                <a:gd name="T60" fmla="*/ 21 w 89"/>
                <a:gd name="T61" fmla="*/ 91 h 251"/>
                <a:gd name="T62" fmla="*/ 15 w 89"/>
                <a:gd name="T63" fmla="*/ 101 h 251"/>
                <a:gd name="T64" fmla="*/ 8 w 89"/>
                <a:gd name="T65" fmla="*/ 103 h 251"/>
                <a:gd name="T66" fmla="*/ 8 w 89"/>
                <a:gd name="T67" fmla="*/ 111 h 251"/>
                <a:gd name="T68" fmla="*/ 4 w 89"/>
                <a:gd name="T69" fmla="*/ 129 h 251"/>
                <a:gd name="T70" fmla="*/ 2 w 89"/>
                <a:gd name="T71" fmla="*/ 140 h 251"/>
                <a:gd name="T72" fmla="*/ 4 w 89"/>
                <a:gd name="T73" fmla="*/ 144 h 251"/>
                <a:gd name="T74" fmla="*/ 10 w 89"/>
                <a:gd name="T75" fmla="*/ 148 h 251"/>
                <a:gd name="T76" fmla="*/ 12 w 89"/>
                <a:gd name="T77" fmla="*/ 148 h 251"/>
                <a:gd name="T78" fmla="*/ 18 w 89"/>
                <a:gd name="T79" fmla="*/ 156 h 251"/>
                <a:gd name="T80" fmla="*/ 27 w 89"/>
                <a:gd name="T81" fmla="*/ 166 h 251"/>
                <a:gd name="T82" fmla="*/ 44 w 89"/>
                <a:gd name="T83" fmla="*/ 161 h 251"/>
                <a:gd name="T84" fmla="*/ 49 w 89"/>
                <a:gd name="T85" fmla="*/ 194 h 251"/>
                <a:gd name="T86" fmla="*/ 46 w 89"/>
                <a:gd name="T87" fmla="*/ 203 h 251"/>
                <a:gd name="T88" fmla="*/ 45 w 89"/>
                <a:gd name="T89" fmla="*/ 212 h 251"/>
                <a:gd name="T90" fmla="*/ 48 w 89"/>
                <a:gd name="T91" fmla="*/ 218 h 251"/>
                <a:gd name="T92" fmla="*/ 48 w 89"/>
                <a:gd name="T93" fmla="*/ 223 h 251"/>
                <a:gd name="T94" fmla="*/ 61 w 89"/>
                <a:gd name="T95" fmla="*/ 237 h 251"/>
                <a:gd name="T96" fmla="*/ 64 w 89"/>
                <a:gd name="T97" fmla="*/ 247 h 251"/>
                <a:gd name="T98" fmla="*/ 67 w 89"/>
                <a:gd name="T99" fmla="*/ 251 h 251"/>
                <a:gd name="T100" fmla="*/ 71 w 89"/>
                <a:gd name="T101" fmla="*/ 251 h 251"/>
                <a:gd name="T102" fmla="*/ 70 w 89"/>
                <a:gd name="T103" fmla="*/ 239 h 251"/>
                <a:gd name="T104" fmla="*/ 71 w 89"/>
                <a:gd name="T105" fmla="*/ 225 h 251"/>
                <a:gd name="T106" fmla="*/ 78 w 89"/>
                <a:gd name="T107" fmla="*/ 218 h 251"/>
                <a:gd name="T108" fmla="*/ 89 w 89"/>
                <a:gd name="T109" fmla="*/ 20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" h="251">
                  <a:moveTo>
                    <a:pt x="88" y="199"/>
                  </a:moveTo>
                  <a:cubicBezTo>
                    <a:pt x="88" y="197"/>
                    <a:pt x="88" y="194"/>
                    <a:pt x="88" y="192"/>
                  </a:cubicBezTo>
                  <a:cubicBezTo>
                    <a:pt x="88" y="191"/>
                    <a:pt x="88" y="190"/>
                    <a:pt x="88" y="189"/>
                  </a:cubicBezTo>
                  <a:cubicBezTo>
                    <a:pt x="88" y="188"/>
                    <a:pt x="88" y="188"/>
                    <a:pt x="88" y="188"/>
                  </a:cubicBezTo>
                  <a:cubicBezTo>
                    <a:pt x="88" y="184"/>
                    <a:pt x="89" y="181"/>
                    <a:pt x="88" y="178"/>
                  </a:cubicBezTo>
                  <a:cubicBezTo>
                    <a:pt x="86" y="168"/>
                    <a:pt x="81" y="150"/>
                    <a:pt x="69" y="144"/>
                  </a:cubicBezTo>
                  <a:cubicBezTo>
                    <a:pt x="64" y="141"/>
                    <a:pt x="64" y="141"/>
                    <a:pt x="64" y="141"/>
                  </a:cubicBezTo>
                  <a:cubicBezTo>
                    <a:pt x="67" y="148"/>
                    <a:pt x="67" y="148"/>
                    <a:pt x="67" y="148"/>
                  </a:cubicBezTo>
                  <a:cubicBezTo>
                    <a:pt x="68" y="151"/>
                    <a:pt x="70" y="155"/>
                    <a:pt x="69" y="156"/>
                  </a:cubicBezTo>
                  <a:cubicBezTo>
                    <a:pt x="69" y="156"/>
                    <a:pt x="69" y="156"/>
                    <a:pt x="69" y="156"/>
                  </a:cubicBezTo>
                  <a:cubicBezTo>
                    <a:pt x="69" y="156"/>
                    <a:pt x="68" y="155"/>
                    <a:pt x="68" y="153"/>
                  </a:cubicBezTo>
                  <a:cubicBezTo>
                    <a:pt x="67" y="151"/>
                    <a:pt x="66" y="148"/>
                    <a:pt x="62" y="148"/>
                  </a:cubicBezTo>
                  <a:cubicBezTo>
                    <a:pt x="59" y="148"/>
                    <a:pt x="58" y="151"/>
                    <a:pt x="58" y="152"/>
                  </a:cubicBezTo>
                  <a:cubicBezTo>
                    <a:pt x="57" y="153"/>
                    <a:pt x="57" y="153"/>
                    <a:pt x="57" y="154"/>
                  </a:cubicBezTo>
                  <a:cubicBezTo>
                    <a:pt x="57" y="154"/>
                    <a:pt x="55" y="153"/>
                    <a:pt x="54" y="148"/>
                  </a:cubicBezTo>
                  <a:cubicBezTo>
                    <a:pt x="52" y="144"/>
                    <a:pt x="52" y="139"/>
                    <a:pt x="52" y="134"/>
                  </a:cubicBezTo>
                  <a:cubicBezTo>
                    <a:pt x="51" y="131"/>
                    <a:pt x="51" y="127"/>
                    <a:pt x="51" y="124"/>
                  </a:cubicBezTo>
                  <a:cubicBezTo>
                    <a:pt x="50" y="119"/>
                    <a:pt x="48" y="113"/>
                    <a:pt x="46" y="108"/>
                  </a:cubicBezTo>
                  <a:cubicBezTo>
                    <a:pt x="45" y="103"/>
                    <a:pt x="43" y="98"/>
                    <a:pt x="42" y="93"/>
                  </a:cubicBezTo>
                  <a:cubicBezTo>
                    <a:pt x="42" y="88"/>
                    <a:pt x="43" y="83"/>
                    <a:pt x="45" y="78"/>
                  </a:cubicBezTo>
                  <a:cubicBezTo>
                    <a:pt x="47" y="74"/>
                    <a:pt x="48" y="69"/>
                    <a:pt x="48" y="64"/>
                  </a:cubicBezTo>
                  <a:cubicBezTo>
                    <a:pt x="48" y="61"/>
                    <a:pt x="47" y="58"/>
                    <a:pt x="47" y="56"/>
                  </a:cubicBezTo>
                  <a:cubicBezTo>
                    <a:pt x="46" y="53"/>
                    <a:pt x="46" y="50"/>
                    <a:pt x="46" y="48"/>
                  </a:cubicBezTo>
                  <a:cubicBezTo>
                    <a:pt x="46" y="45"/>
                    <a:pt x="46" y="43"/>
                    <a:pt x="47" y="40"/>
                  </a:cubicBezTo>
                  <a:cubicBezTo>
                    <a:pt x="48" y="35"/>
                    <a:pt x="48" y="30"/>
                    <a:pt x="46" y="25"/>
                  </a:cubicBezTo>
                  <a:cubicBezTo>
                    <a:pt x="46" y="24"/>
                    <a:pt x="45" y="23"/>
                    <a:pt x="44" y="21"/>
                  </a:cubicBezTo>
                  <a:cubicBezTo>
                    <a:pt x="41" y="17"/>
                    <a:pt x="38" y="12"/>
                    <a:pt x="38" y="9"/>
                  </a:cubicBezTo>
                  <a:cubicBezTo>
                    <a:pt x="39" y="8"/>
                    <a:pt x="39" y="7"/>
                    <a:pt x="40" y="7"/>
                  </a:cubicBezTo>
                  <a:cubicBezTo>
                    <a:pt x="41" y="6"/>
                    <a:pt x="42" y="6"/>
                    <a:pt x="43" y="6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3" y="1"/>
                    <a:pt x="42" y="0"/>
                    <a:pt x="41" y="0"/>
                  </a:cubicBezTo>
                  <a:cubicBezTo>
                    <a:pt x="39" y="0"/>
                    <a:pt x="38" y="1"/>
                    <a:pt x="38" y="2"/>
                  </a:cubicBezTo>
                  <a:cubicBezTo>
                    <a:pt x="37" y="3"/>
                    <a:pt x="37" y="3"/>
                    <a:pt x="36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3" y="3"/>
                    <a:pt x="31" y="3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5" y="1"/>
                    <a:pt x="23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4"/>
                    <a:pt x="16" y="5"/>
                    <a:pt x="16" y="6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1" y="11"/>
                    <a:pt x="20" y="12"/>
                    <a:pt x="20" y="13"/>
                  </a:cubicBezTo>
                  <a:cubicBezTo>
                    <a:pt x="19" y="13"/>
                    <a:pt x="19" y="14"/>
                    <a:pt x="19" y="16"/>
                  </a:cubicBezTo>
                  <a:cubicBezTo>
                    <a:pt x="19" y="19"/>
                    <a:pt x="20" y="20"/>
                    <a:pt x="23" y="21"/>
                  </a:cubicBezTo>
                  <a:cubicBezTo>
                    <a:pt x="24" y="21"/>
                    <a:pt x="25" y="21"/>
                    <a:pt x="26" y="22"/>
                  </a:cubicBezTo>
                  <a:cubicBezTo>
                    <a:pt x="27" y="23"/>
                    <a:pt x="27" y="25"/>
                    <a:pt x="27" y="26"/>
                  </a:cubicBezTo>
                  <a:cubicBezTo>
                    <a:pt x="27" y="28"/>
                    <a:pt x="27" y="31"/>
                    <a:pt x="30" y="32"/>
                  </a:cubicBezTo>
                  <a:cubicBezTo>
                    <a:pt x="30" y="37"/>
                    <a:pt x="27" y="39"/>
                    <a:pt x="23" y="41"/>
                  </a:cubicBezTo>
                  <a:cubicBezTo>
                    <a:pt x="22" y="41"/>
                    <a:pt x="21" y="42"/>
                    <a:pt x="20" y="42"/>
                  </a:cubicBezTo>
                  <a:cubicBezTo>
                    <a:pt x="18" y="43"/>
                    <a:pt x="17" y="44"/>
                    <a:pt x="17" y="45"/>
                  </a:cubicBezTo>
                  <a:cubicBezTo>
                    <a:pt x="17" y="46"/>
                    <a:pt x="17" y="47"/>
                    <a:pt x="18" y="49"/>
                  </a:cubicBezTo>
                  <a:cubicBezTo>
                    <a:pt x="19" y="50"/>
                    <a:pt x="20" y="51"/>
                    <a:pt x="21" y="53"/>
                  </a:cubicBezTo>
                  <a:cubicBezTo>
                    <a:pt x="21" y="55"/>
                    <a:pt x="20" y="56"/>
                    <a:pt x="19" y="57"/>
                  </a:cubicBezTo>
                  <a:cubicBezTo>
                    <a:pt x="19" y="58"/>
                    <a:pt x="18" y="59"/>
                    <a:pt x="18" y="60"/>
                  </a:cubicBezTo>
                  <a:cubicBezTo>
                    <a:pt x="17" y="62"/>
                    <a:pt x="18" y="64"/>
                    <a:pt x="18" y="66"/>
                  </a:cubicBezTo>
                  <a:cubicBezTo>
                    <a:pt x="18" y="66"/>
                    <a:pt x="18" y="67"/>
                    <a:pt x="19" y="68"/>
                  </a:cubicBezTo>
                  <a:cubicBezTo>
                    <a:pt x="19" y="71"/>
                    <a:pt x="18" y="74"/>
                    <a:pt x="18" y="77"/>
                  </a:cubicBezTo>
                  <a:cubicBezTo>
                    <a:pt x="17" y="80"/>
                    <a:pt x="17" y="82"/>
                    <a:pt x="17" y="84"/>
                  </a:cubicBezTo>
                  <a:cubicBezTo>
                    <a:pt x="16" y="89"/>
                    <a:pt x="19" y="90"/>
                    <a:pt x="21" y="91"/>
                  </a:cubicBezTo>
                  <a:cubicBezTo>
                    <a:pt x="23" y="91"/>
                    <a:pt x="24" y="92"/>
                    <a:pt x="25" y="93"/>
                  </a:cubicBezTo>
                  <a:cubicBezTo>
                    <a:pt x="25" y="98"/>
                    <a:pt x="21" y="99"/>
                    <a:pt x="15" y="101"/>
                  </a:cubicBezTo>
                  <a:cubicBezTo>
                    <a:pt x="13" y="101"/>
                    <a:pt x="11" y="102"/>
                    <a:pt x="9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7"/>
                    <a:pt x="8" y="109"/>
                    <a:pt x="8" y="111"/>
                  </a:cubicBezTo>
                  <a:cubicBezTo>
                    <a:pt x="9" y="116"/>
                    <a:pt x="9" y="120"/>
                    <a:pt x="6" y="126"/>
                  </a:cubicBezTo>
                  <a:cubicBezTo>
                    <a:pt x="6" y="127"/>
                    <a:pt x="5" y="128"/>
                    <a:pt x="4" y="129"/>
                  </a:cubicBezTo>
                  <a:cubicBezTo>
                    <a:pt x="2" y="131"/>
                    <a:pt x="1" y="132"/>
                    <a:pt x="0" y="133"/>
                  </a:cubicBezTo>
                  <a:cubicBezTo>
                    <a:pt x="0" y="136"/>
                    <a:pt x="1" y="138"/>
                    <a:pt x="2" y="140"/>
                  </a:cubicBezTo>
                  <a:cubicBezTo>
                    <a:pt x="2" y="141"/>
                    <a:pt x="3" y="141"/>
                    <a:pt x="3" y="142"/>
                  </a:cubicBezTo>
                  <a:cubicBezTo>
                    <a:pt x="3" y="143"/>
                    <a:pt x="4" y="143"/>
                    <a:pt x="4" y="144"/>
                  </a:cubicBezTo>
                  <a:cubicBezTo>
                    <a:pt x="5" y="146"/>
                    <a:pt x="5" y="148"/>
                    <a:pt x="9" y="148"/>
                  </a:cubicBezTo>
                  <a:cubicBezTo>
                    <a:pt x="9" y="148"/>
                    <a:pt x="9" y="148"/>
                    <a:pt x="10" y="148"/>
                  </a:cubicBezTo>
                  <a:cubicBezTo>
                    <a:pt x="11" y="148"/>
                    <a:pt x="11" y="148"/>
                    <a:pt x="12" y="148"/>
                  </a:cubicBezTo>
                  <a:cubicBezTo>
                    <a:pt x="12" y="148"/>
                    <a:pt x="12" y="148"/>
                    <a:pt x="12" y="148"/>
                  </a:cubicBezTo>
                  <a:cubicBezTo>
                    <a:pt x="13" y="148"/>
                    <a:pt x="14" y="149"/>
                    <a:pt x="15" y="150"/>
                  </a:cubicBezTo>
                  <a:cubicBezTo>
                    <a:pt x="16" y="151"/>
                    <a:pt x="17" y="154"/>
                    <a:pt x="18" y="156"/>
                  </a:cubicBezTo>
                  <a:cubicBezTo>
                    <a:pt x="21" y="161"/>
                    <a:pt x="24" y="165"/>
                    <a:pt x="27" y="166"/>
                  </a:cubicBezTo>
                  <a:cubicBezTo>
                    <a:pt x="27" y="166"/>
                    <a:pt x="27" y="166"/>
                    <a:pt x="27" y="166"/>
                  </a:cubicBezTo>
                  <a:cubicBezTo>
                    <a:pt x="30" y="166"/>
                    <a:pt x="33" y="164"/>
                    <a:pt x="36" y="163"/>
                  </a:cubicBezTo>
                  <a:cubicBezTo>
                    <a:pt x="38" y="162"/>
                    <a:pt x="41" y="161"/>
                    <a:pt x="44" y="161"/>
                  </a:cubicBezTo>
                  <a:cubicBezTo>
                    <a:pt x="46" y="161"/>
                    <a:pt x="48" y="163"/>
                    <a:pt x="50" y="165"/>
                  </a:cubicBezTo>
                  <a:cubicBezTo>
                    <a:pt x="56" y="174"/>
                    <a:pt x="53" y="186"/>
                    <a:pt x="49" y="194"/>
                  </a:cubicBezTo>
                  <a:cubicBezTo>
                    <a:pt x="49" y="195"/>
                    <a:pt x="48" y="197"/>
                    <a:pt x="48" y="198"/>
                  </a:cubicBezTo>
                  <a:cubicBezTo>
                    <a:pt x="48" y="200"/>
                    <a:pt x="47" y="202"/>
                    <a:pt x="46" y="203"/>
                  </a:cubicBezTo>
                  <a:cubicBezTo>
                    <a:pt x="46" y="204"/>
                    <a:pt x="45" y="205"/>
                    <a:pt x="45" y="205"/>
                  </a:cubicBezTo>
                  <a:cubicBezTo>
                    <a:pt x="43" y="208"/>
                    <a:pt x="43" y="209"/>
                    <a:pt x="45" y="212"/>
                  </a:cubicBezTo>
                  <a:cubicBezTo>
                    <a:pt x="45" y="213"/>
                    <a:pt x="46" y="214"/>
                    <a:pt x="46" y="214"/>
                  </a:cubicBezTo>
                  <a:cubicBezTo>
                    <a:pt x="47" y="215"/>
                    <a:pt x="47" y="216"/>
                    <a:pt x="48" y="218"/>
                  </a:cubicBezTo>
                  <a:cubicBezTo>
                    <a:pt x="48" y="219"/>
                    <a:pt x="48" y="219"/>
                    <a:pt x="48" y="220"/>
                  </a:cubicBezTo>
                  <a:cubicBezTo>
                    <a:pt x="48" y="221"/>
                    <a:pt x="48" y="222"/>
                    <a:pt x="48" y="223"/>
                  </a:cubicBezTo>
                  <a:cubicBezTo>
                    <a:pt x="50" y="228"/>
                    <a:pt x="54" y="231"/>
                    <a:pt x="58" y="234"/>
                  </a:cubicBezTo>
                  <a:cubicBezTo>
                    <a:pt x="59" y="235"/>
                    <a:pt x="60" y="236"/>
                    <a:pt x="61" y="237"/>
                  </a:cubicBezTo>
                  <a:cubicBezTo>
                    <a:pt x="65" y="240"/>
                    <a:pt x="64" y="241"/>
                    <a:pt x="64" y="243"/>
                  </a:cubicBezTo>
                  <a:cubicBezTo>
                    <a:pt x="64" y="244"/>
                    <a:pt x="64" y="245"/>
                    <a:pt x="64" y="247"/>
                  </a:cubicBezTo>
                  <a:cubicBezTo>
                    <a:pt x="64" y="249"/>
                    <a:pt x="64" y="250"/>
                    <a:pt x="65" y="251"/>
                  </a:cubicBezTo>
                  <a:cubicBezTo>
                    <a:pt x="66" y="251"/>
                    <a:pt x="66" y="251"/>
                    <a:pt x="67" y="251"/>
                  </a:cubicBezTo>
                  <a:cubicBezTo>
                    <a:pt x="68" y="251"/>
                    <a:pt x="69" y="251"/>
                    <a:pt x="70" y="251"/>
                  </a:cubicBezTo>
                  <a:cubicBezTo>
                    <a:pt x="71" y="251"/>
                    <a:pt x="71" y="251"/>
                    <a:pt x="71" y="251"/>
                  </a:cubicBezTo>
                  <a:cubicBezTo>
                    <a:pt x="71" y="249"/>
                    <a:pt x="71" y="249"/>
                    <a:pt x="71" y="249"/>
                  </a:cubicBezTo>
                  <a:cubicBezTo>
                    <a:pt x="71" y="245"/>
                    <a:pt x="71" y="242"/>
                    <a:pt x="70" y="239"/>
                  </a:cubicBezTo>
                  <a:cubicBezTo>
                    <a:pt x="69" y="237"/>
                    <a:pt x="69" y="236"/>
                    <a:pt x="68" y="234"/>
                  </a:cubicBezTo>
                  <a:cubicBezTo>
                    <a:pt x="68" y="231"/>
                    <a:pt x="69" y="228"/>
                    <a:pt x="71" y="225"/>
                  </a:cubicBezTo>
                  <a:cubicBezTo>
                    <a:pt x="71" y="225"/>
                    <a:pt x="72" y="223"/>
                    <a:pt x="72" y="222"/>
                  </a:cubicBezTo>
                  <a:cubicBezTo>
                    <a:pt x="74" y="219"/>
                    <a:pt x="76" y="219"/>
                    <a:pt x="78" y="218"/>
                  </a:cubicBezTo>
                  <a:cubicBezTo>
                    <a:pt x="79" y="218"/>
                    <a:pt x="81" y="218"/>
                    <a:pt x="83" y="217"/>
                  </a:cubicBezTo>
                  <a:cubicBezTo>
                    <a:pt x="87" y="216"/>
                    <a:pt x="88" y="212"/>
                    <a:pt x="89" y="206"/>
                  </a:cubicBezTo>
                  <a:cubicBezTo>
                    <a:pt x="89" y="204"/>
                    <a:pt x="89" y="202"/>
                    <a:pt x="88" y="199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5" name="Freeform 55"/>
            <p:cNvSpPr>
              <a:spLocks/>
            </p:cNvSpPr>
            <p:nvPr/>
          </p:nvSpPr>
          <p:spPr bwMode="auto">
            <a:xfrm>
              <a:off x="3262235" y="3029197"/>
              <a:ext cx="689702" cy="605109"/>
            </a:xfrm>
            <a:custGeom>
              <a:avLst/>
              <a:gdLst>
                <a:gd name="T0" fmla="*/ 329 w 341"/>
                <a:gd name="T1" fmla="*/ 59 h 325"/>
                <a:gd name="T2" fmla="*/ 322 w 341"/>
                <a:gd name="T3" fmla="*/ 42 h 325"/>
                <a:gd name="T4" fmla="*/ 309 w 341"/>
                <a:gd name="T5" fmla="*/ 35 h 325"/>
                <a:gd name="T6" fmla="*/ 296 w 341"/>
                <a:gd name="T7" fmla="*/ 29 h 325"/>
                <a:gd name="T8" fmla="*/ 292 w 341"/>
                <a:gd name="T9" fmla="*/ 27 h 325"/>
                <a:gd name="T10" fmla="*/ 279 w 341"/>
                <a:gd name="T11" fmla="*/ 18 h 325"/>
                <a:gd name="T12" fmla="*/ 265 w 341"/>
                <a:gd name="T13" fmla="*/ 15 h 325"/>
                <a:gd name="T14" fmla="*/ 254 w 341"/>
                <a:gd name="T15" fmla="*/ 8 h 325"/>
                <a:gd name="T16" fmla="*/ 252 w 341"/>
                <a:gd name="T17" fmla="*/ 0 h 325"/>
                <a:gd name="T18" fmla="*/ 187 w 341"/>
                <a:gd name="T19" fmla="*/ 35 h 325"/>
                <a:gd name="T20" fmla="*/ 195 w 341"/>
                <a:gd name="T21" fmla="*/ 53 h 325"/>
                <a:gd name="T22" fmla="*/ 189 w 341"/>
                <a:gd name="T23" fmla="*/ 95 h 325"/>
                <a:gd name="T24" fmla="*/ 201 w 341"/>
                <a:gd name="T25" fmla="*/ 129 h 325"/>
                <a:gd name="T26" fmla="*/ 218 w 341"/>
                <a:gd name="T27" fmla="*/ 134 h 325"/>
                <a:gd name="T28" fmla="*/ 227 w 341"/>
                <a:gd name="T29" fmla="*/ 157 h 325"/>
                <a:gd name="T30" fmla="*/ 219 w 341"/>
                <a:gd name="T31" fmla="*/ 165 h 325"/>
                <a:gd name="T32" fmla="*/ 203 w 341"/>
                <a:gd name="T33" fmla="*/ 169 h 325"/>
                <a:gd name="T34" fmla="*/ 186 w 341"/>
                <a:gd name="T35" fmla="*/ 141 h 325"/>
                <a:gd name="T36" fmla="*/ 170 w 341"/>
                <a:gd name="T37" fmla="*/ 133 h 325"/>
                <a:gd name="T38" fmla="*/ 162 w 341"/>
                <a:gd name="T39" fmla="*/ 131 h 325"/>
                <a:gd name="T40" fmla="*/ 153 w 341"/>
                <a:gd name="T41" fmla="*/ 118 h 325"/>
                <a:gd name="T42" fmla="*/ 145 w 341"/>
                <a:gd name="T43" fmla="*/ 117 h 325"/>
                <a:gd name="T44" fmla="*/ 109 w 341"/>
                <a:gd name="T45" fmla="*/ 117 h 325"/>
                <a:gd name="T46" fmla="*/ 97 w 341"/>
                <a:gd name="T47" fmla="*/ 98 h 325"/>
                <a:gd name="T48" fmla="*/ 76 w 341"/>
                <a:gd name="T49" fmla="*/ 105 h 325"/>
                <a:gd name="T50" fmla="*/ 68 w 341"/>
                <a:gd name="T51" fmla="*/ 92 h 325"/>
                <a:gd name="T52" fmla="*/ 59 w 341"/>
                <a:gd name="T53" fmla="*/ 91 h 325"/>
                <a:gd name="T54" fmla="*/ 58 w 341"/>
                <a:gd name="T55" fmla="*/ 110 h 325"/>
                <a:gd name="T56" fmla="*/ 59 w 341"/>
                <a:gd name="T57" fmla="*/ 133 h 325"/>
                <a:gd name="T58" fmla="*/ 58 w 341"/>
                <a:gd name="T59" fmla="*/ 156 h 325"/>
                <a:gd name="T60" fmla="*/ 0 w 341"/>
                <a:gd name="T61" fmla="*/ 262 h 325"/>
                <a:gd name="T62" fmla="*/ 40 w 341"/>
                <a:gd name="T63" fmla="*/ 308 h 325"/>
                <a:gd name="T64" fmla="*/ 59 w 341"/>
                <a:gd name="T65" fmla="*/ 306 h 325"/>
                <a:gd name="T66" fmla="*/ 76 w 341"/>
                <a:gd name="T67" fmla="*/ 306 h 325"/>
                <a:gd name="T68" fmla="*/ 83 w 341"/>
                <a:gd name="T69" fmla="*/ 308 h 325"/>
                <a:gd name="T70" fmla="*/ 91 w 341"/>
                <a:gd name="T71" fmla="*/ 313 h 325"/>
                <a:gd name="T72" fmla="*/ 101 w 341"/>
                <a:gd name="T73" fmla="*/ 318 h 325"/>
                <a:gd name="T74" fmla="*/ 109 w 341"/>
                <a:gd name="T75" fmla="*/ 319 h 325"/>
                <a:gd name="T76" fmla="*/ 128 w 341"/>
                <a:gd name="T77" fmla="*/ 322 h 325"/>
                <a:gd name="T78" fmla="*/ 142 w 341"/>
                <a:gd name="T79" fmla="*/ 321 h 325"/>
                <a:gd name="T80" fmla="*/ 162 w 341"/>
                <a:gd name="T81" fmla="*/ 296 h 325"/>
                <a:gd name="T82" fmla="*/ 177 w 341"/>
                <a:gd name="T83" fmla="*/ 282 h 325"/>
                <a:gd name="T84" fmla="*/ 202 w 341"/>
                <a:gd name="T85" fmla="*/ 255 h 325"/>
                <a:gd name="T86" fmla="*/ 224 w 341"/>
                <a:gd name="T87" fmla="*/ 245 h 325"/>
                <a:gd name="T88" fmla="*/ 237 w 341"/>
                <a:gd name="T89" fmla="*/ 244 h 325"/>
                <a:gd name="T90" fmla="*/ 237 w 341"/>
                <a:gd name="T91" fmla="*/ 224 h 325"/>
                <a:gd name="T92" fmla="*/ 314 w 341"/>
                <a:gd name="T93" fmla="*/ 187 h 325"/>
                <a:gd name="T94" fmla="*/ 317 w 341"/>
                <a:gd name="T95" fmla="*/ 169 h 325"/>
                <a:gd name="T96" fmla="*/ 336 w 341"/>
                <a:gd name="T97" fmla="*/ 136 h 325"/>
                <a:gd name="T98" fmla="*/ 329 w 341"/>
                <a:gd name="T99" fmla="*/ 111 h 325"/>
                <a:gd name="T100" fmla="*/ 329 w 341"/>
                <a:gd name="T101" fmla="*/ 91 h 325"/>
                <a:gd name="T102" fmla="*/ 341 w 341"/>
                <a:gd name="T103" fmla="*/ 7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41" h="325">
                  <a:moveTo>
                    <a:pt x="339" y="74"/>
                  </a:moveTo>
                  <a:cubicBezTo>
                    <a:pt x="337" y="73"/>
                    <a:pt x="337" y="71"/>
                    <a:pt x="337" y="69"/>
                  </a:cubicBezTo>
                  <a:cubicBezTo>
                    <a:pt x="337" y="68"/>
                    <a:pt x="337" y="66"/>
                    <a:pt x="336" y="65"/>
                  </a:cubicBezTo>
                  <a:cubicBezTo>
                    <a:pt x="335" y="64"/>
                    <a:pt x="334" y="63"/>
                    <a:pt x="333" y="63"/>
                  </a:cubicBezTo>
                  <a:cubicBezTo>
                    <a:pt x="331" y="63"/>
                    <a:pt x="329" y="62"/>
                    <a:pt x="329" y="59"/>
                  </a:cubicBezTo>
                  <a:cubicBezTo>
                    <a:pt x="329" y="57"/>
                    <a:pt x="330" y="56"/>
                    <a:pt x="330" y="56"/>
                  </a:cubicBezTo>
                  <a:cubicBezTo>
                    <a:pt x="331" y="54"/>
                    <a:pt x="330" y="53"/>
                    <a:pt x="329" y="51"/>
                  </a:cubicBezTo>
                  <a:cubicBezTo>
                    <a:pt x="328" y="50"/>
                    <a:pt x="327" y="49"/>
                    <a:pt x="327" y="48"/>
                  </a:cubicBezTo>
                  <a:cubicBezTo>
                    <a:pt x="325" y="47"/>
                    <a:pt x="324" y="45"/>
                    <a:pt x="323" y="43"/>
                  </a:cubicBezTo>
                  <a:cubicBezTo>
                    <a:pt x="322" y="42"/>
                    <a:pt x="322" y="42"/>
                    <a:pt x="322" y="42"/>
                  </a:cubicBezTo>
                  <a:cubicBezTo>
                    <a:pt x="322" y="42"/>
                    <a:pt x="322" y="42"/>
                    <a:pt x="322" y="42"/>
                  </a:cubicBezTo>
                  <a:cubicBezTo>
                    <a:pt x="322" y="42"/>
                    <a:pt x="321" y="41"/>
                    <a:pt x="321" y="40"/>
                  </a:cubicBezTo>
                  <a:cubicBezTo>
                    <a:pt x="321" y="40"/>
                    <a:pt x="320" y="39"/>
                    <a:pt x="320" y="38"/>
                  </a:cubicBezTo>
                  <a:cubicBezTo>
                    <a:pt x="318" y="37"/>
                    <a:pt x="316" y="37"/>
                    <a:pt x="314" y="37"/>
                  </a:cubicBezTo>
                  <a:cubicBezTo>
                    <a:pt x="313" y="37"/>
                    <a:pt x="311" y="36"/>
                    <a:pt x="309" y="35"/>
                  </a:cubicBezTo>
                  <a:cubicBezTo>
                    <a:pt x="309" y="35"/>
                    <a:pt x="308" y="34"/>
                    <a:pt x="308" y="34"/>
                  </a:cubicBezTo>
                  <a:cubicBezTo>
                    <a:pt x="307" y="33"/>
                    <a:pt x="306" y="33"/>
                    <a:pt x="305" y="32"/>
                  </a:cubicBezTo>
                  <a:cubicBezTo>
                    <a:pt x="304" y="32"/>
                    <a:pt x="304" y="32"/>
                    <a:pt x="303" y="31"/>
                  </a:cubicBezTo>
                  <a:cubicBezTo>
                    <a:pt x="302" y="31"/>
                    <a:pt x="301" y="31"/>
                    <a:pt x="301" y="31"/>
                  </a:cubicBezTo>
                  <a:cubicBezTo>
                    <a:pt x="299" y="30"/>
                    <a:pt x="298" y="29"/>
                    <a:pt x="296" y="29"/>
                  </a:cubicBezTo>
                  <a:cubicBezTo>
                    <a:pt x="295" y="28"/>
                    <a:pt x="295" y="28"/>
                    <a:pt x="295" y="28"/>
                  </a:cubicBezTo>
                  <a:cubicBezTo>
                    <a:pt x="294" y="28"/>
                    <a:pt x="294" y="28"/>
                    <a:pt x="294" y="28"/>
                  </a:cubicBezTo>
                  <a:cubicBezTo>
                    <a:pt x="294" y="28"/>
                    <a:pt x="294" y="28"/>
                    <a:pt x="294" y="28"/>
                  </a:cubicBezTo>
                  <a:cubicBezTo>
                    <a:pt x="293" y="28"/>
                    <a:pt x="293" y="28"/>
                    <a:pt x="293" y="28"/>
                  </a:cubicBezTo>
                  <a:cubicBezTo>
                    <a:pt x="292" y="28"/>
                    <a:pt x="292" y="27"/>
                    <a:pt x="292" y="27"/>
                  </a:cubicBezTo>
                  <a:cubicBezTo>
                    <a:pt x="292" y="26"/>
                    <a:pt x="292" y="26"/>
                    <a:pt x="292" y="26"/>
                  </a:cubicBezTo>
                  <a:cubicBezTo>
                    <a:pt x="291" y="26"/>
                    <a:pt x="291" y="26"/>
                    <a:pt x="291" y="26"/>
                  </a:cubicBezTo>
                  <a:cubicBezTo>
                    <a:pt x="290" y="25"/>
                    <a:pt x="289" y="25"/>
                    <a:pt x="287" y="25"/>
                  </a:cubicBezTo>
                  <a:cubicBezTo>
                    <a:pt x="286" y="24"/>
                    <a:pt x="284" y="24"/>
                    <a:pt x="282" y="23"/>
                  </a:cubicBezTo>
                  <a:cubicBezTo>
                    <a:pt x="281" y="22"/>
                    <a:pt x="280" y="20"/>
                    <a:pt x="279" y="18"/>
                  </a:cubicBezTo>
                  <a:cubicBezTo>
                    <a:pt x="278" y="17"/>
                    <a:pt x="277" y="15"/>
                    <a:pt x="276" y="14"/>
                  </a:cubicBezTo>
                  <a:cubicBezTo>
                    <a:pt x="274" y="13"/>
                    <a:pt x="272" y="13"/>
                    <a:pt x="269" y="13"/>
                  </a:cubicBezTo>
                  <a:cubicBezTo>
                    <a:pt x="267" y="13"/>
                    <a:pt x="267" y="13"/>
                    <a:pt x="267" y="13"/>
                  </a:cubicBezTo>
                  <a:cubicBezTo>
                    <a:pt x="265" y="13"/>
                    <a:pt x="265" y="13"/>
                    <a:pt x="265" y="13"/>
                  </a:cubicBezTo>
                  <a:cubicBezTo>
                    <a:pt x="265" y="13"/>
                    <a:pt x="265" y="15"/>
                    <a:pt x="265" y="15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63" y="15"/>
                    <a:pt x="261" y="15"/>
                    <a:pt x="260" y="13"/>
                  </a:cubicBezTo>
                  <a:cubicBezTo>
                    <a:pt x="259" y="13"/>
                    <a:pt x="259" y="12"/>
                    <a:pt x="259" y="11"/>
                  </a:cubicBezTo>
                  <a:cubicBezTo>
                    <a:pt x="258" y="10"/>
                    <a:pt x="257" y="9"/>
                    <a:pt x="256" y="8"/>
                  </a:cubicBezTo>
                  <a:cubicBezTo>
                    <a:pt x="255" y="8"/>
                    <a:pt x="255" y="8"/>
                    <a:pt x="254" y="8"/>
                  </a:cubicBezTo>
                  <a:cubicBezTo>
                    <a:pt x="253" y="8"/>
                    <a:pt x="252" y="8"/>
                    <a:pt x="252" y="8"/>
                  </a:cubicBezTo>
                  <a:cubicBezTo>
                    <a:pt x="251" y="8"/>
                    <a:pt x="251" y="8"/>
                    <a:pt x="251" y="8"/>
                  </a:cubicBezTo>
                  <a:cubicBezTo>
                    <a:pt x="250" y="8"/>
                    <a:pt x="250" y="8"/>
                    <a:pt x="249" y="7"/>
                  </a:cubicBezTo>
                  <a:cubicBezTo>
                    <a:pt x="249" y="7"/>
                    <a:pt x="250" y="5"/>
                    <a:pt x="250" y="4"/>
                  </a:cubicBezTo>
                  <a:cubicBezTo>
                    <a:pt x="252" y="0"/>
                    <a:pt x="252" y="0"/>
                    <a:pt x="252" y="0"/>
                  </a:cubicBezTo>
                  <a:cubicBezTo>
                    <a:pt x="203" y="9"/>
                    <a:pt x="203" y="9"/>
                    <a:pt x="203" y="9"/>
                  </a:cubicBezTo>
                  <a:cubicBezTo>
                    <a:pt x="203" y="10"/>
                    <a:pt x="203" y="10"/>
                    <a:pt x="203" y="10"/>
                  </a:cubicBezTo>
                  <a:cubicBezTo>
                    <a:pt x="203" y="14"/>
                    <a:pt x="203" y="17"/>
                    <a:pt x="201" y="20"/>
                  </a:cubicBezTo>
                  <a:cubicBezTo>
                    <a:pt x="198" y="25"/>
                    <a:pt x="195" y="29"/>
                    <a:pt x="189" y="33"/>
                  </a:cubicBezTo>
                  <a:cubicBezTo>
                    <a:pt x="188" y="33"/>
                    <a:pt x="188" y="34"/>
                    <a:pt x="187" y="35"/>
                  </a:cubicBezTo>
                  <a:cubicBezTo>
                    <a:pt x="187" y="36"/>
                    <a:pt x="187" y="36"/>
                    <a:pt x="187" y="36"/>
                  </a:cubicBezTo>
                  <a:cubicBezTo>
                    <a:pt x="188" y="37"/>
                    <a:pt x="188" y="37"/>
                    <a:pt x="188" y="37"/>
                  </a:cubicBezTo>
                  <a:cubicBezTo>
                    <a:pt x="188" y="37"/>
                    <a:pt x="188" y="37"/>
                    <a:pt x="189" y="38"/>
                  </a:cubicBezTo>
                  <a:cubicBezTo>
                    <a:pt x="189" y="38"/>
                    <a:pt x="190" y="39"/>
                    <a:pt x="190" y="39"/>
                  </a:cubicBezTo>
                  <a:cubicBezTo>
                    <a:pt x="192" y="43"/>
                    <a:pt x="195" y="48"/>
                    <a:pt x="195" y="53"/>
                  </a:cubicBezTo>
                  <a:cubicBezTo>
                    <a:pt x="195" y="55"/>
                    <a:pt x="194" y="57"/>
                    <a:pt x="194" y="59"/>
                  </a:cubicBezTo>
                  <a:cubicBezTo>
                    <a:pt x="193" y="62"/>
                    <a:pt x="192" y="65"/>
                    <a:pt x="193" y="68"/>
                  </a:cubicBezTo>
                  <a:cubicBezTo>
                    <a:pt x="193" y="70"/>
                    <a:pt x="193" y="72"/>
                    <a:pt x="194" y="74"/>
                  </a:cubicBezTo>
                  <a:cubicBezTo>
                    <a:pt x="194" y="78"/>
                    <a:pt x="195" y="81"/>
                    <a:pt x="192" y="86"/>
                  </a:cubicBezTo>
                  <a:cubicBezTo>
                    <a:pt x="190" y="89"/>
                    <a:pt x="190" y="91"/>
                    <a:pt x="189" y="95"/>
                  </a:cubicBezTo>
                  <a:cubicBezTo>
                    <a:pt x="189" y="97"/>
                    <a:pt x="188" y="99"/>
                    <a:pt x="187" y="101"/>
                  </a:cubicBezTo>
                  <a:cubicBezTo>
                    <a:pt x="187" y="102"/>
                    <a:pt x="186" y="102"/>
                    <a:pt x="186" y="103"/>
                  </a:cubicBezTo>
                  <a:cubicBezTo>
                    <a:pt x="184" y="107"/>
                    <a:pt x="186" y="116"/>
                    <a:pt x="188" y="119"/>
                  </a:cubicBezTo>
                  <a:cubicBezTo>
                    <a:pt x="190" y="121"/>
                    <a:pt x="192" y="122"/>
                    <a:pt x="194" y="123"/>
                  </a:cubicBezTo>
                  <a:cubicBezTo>
                    <a:pt x="197" y="125"/>
                    <a:pt x="199" y="126"/>
                    <a:pt x="201" y="129"/>
                  </a:cubicBezTo>
                  <a:cubicBezTo>
                    <a:pt x="202" y="130"/>
                    <a:pt x="202" y="131"/>
                    <a:pt x="203" y="132"/>
                  </a:cubicBezTo>
                  <a:cubicBezTo>
                    <a:pt x="203" y="134"/>
                    <a:pt x="204" y="135"/>
                    <a:pt x="205" y="136"/>
                  </a:cubicBezTo>
                  <a:cubicBezTo>
                    <a:pt x="207" y="138"/>
                    <a:pt x="212" y="139"/>
                    <a:pt x="214" y="139"/>
                  </a:cubicBezTo>
                  <a:cubicBezTo>
                    <a:pt x="217" y="139"/>
                    <a:pt x="217" y="137"/>
                    <a:pt x="218" y="136"/>
                  </a:cubicBezTo>
                  <a:cubicBezTo>
                    <a:pt x="218" y="135"/>
                    <a:pt x="218" y="134"/>
                    <a:pt x="218" y="134"/>
                  </a:cubicBezTo>
                  <a:cubicBezTo>
                    <a:pt x="219" y="132"/>
                    <a:pt x="221" y="132"/>
                    <a:pt x="223" y="132"/>
                  </a:cubicBezTo>
                  <a:cubicBezTo>
                    <a:pt x="223" y="132"/>
                    <a:pt x="224" y="132"/>
                    <a:pt x="224" y="132"/>
                  </a:cubicBezTo>
                  <a:cubicBezTo>
                    <a:pt x="226" y="132"/>
                    <a:pt x="226" y="134"/>
                    <a:pt x="226" y="136"/>
                  </a:cubicBezTo>
                  <a:cubicBezTo>
                    <a:pt x="226" y="136"/>
                    <a:pt x="226" y="137"/>
                    <a:pt x="226" y="137"/>
                  </a:cubicBezTo>
                  <a:cubicBezTo>
                    <a:pt x="226" y="144"/>
                    <a:pt x="227" y="151"/>
                    <a:pt x="227" y="157"/>
                  </a:cubicBezTo>
                  <a:cubicBezTo>
                    <a:pt x="227" y="157"/>
                    <a:pt x="227" y="158"/>
                    <a:pt x="227" y="159"/>
                  </a:cubicBezTo>
                  <a:cubicBezTo>
                    <a:pt x="227" y="161"/>
                    <a:pt x="228" y="164"/>
                    <a:pt x="226" y="165"/>
                  </a:cubicBezTo>
                  <a:cubicBezTo>
                    <a:pt x="226" y="166"/>
                    <a:pt x="225" y="166"/>
                    <a:pt x="224" y="166"/>
                  </a:cubicBezTo>
                  <a:cubicBezTo>
                    <a:pt x="223" y="166"/>
                    <a:pt x="222" y="166"/>
                    <a:pt x="221" y="166"/>
                  </a:cubicBezTo>
                  <a:cubicBezTo>
                    <a:pt x="221" y="166"/>
                    <a:pt x="220" y="165"/>
                    <a:pt x="219" y="165"/>
                  </a:cubicBezTo>
                  <a:cubicBezTo>
                    <a:pt x="219" y="165"/>
                    <a:pt x="219" y="165"/>
                    <a:pt x="219" y="165"/>
                  </a:cubicBezTo>
                  <a:cubicBezTo>
                    <a:pt x="215" y="166"/>
                    <a:pt x="213" y="169"/>
                    <a:pt x="213" y="170"/>
                  </a:cubicBezTo>
                  <a:cubicBezTo>
                    <a:pt x="212" y="170"/>
                    <a:pt x="211" y="170"/>
                    <a:pt x="210" y="170"/>
                  </a:cubicBezTo>
                  <a:cubicBezTo>
                    <a:pt x="208" y="170"/>
                    <a:pt x="208" y="170"/>
                    <a:pt x="208" y="170"/>
                  </a:cubicBezTo>
                  <a:cubicBezTo>
                    <a:pt x="206" y="170"/>
                    <a:pt x="204" y="170"/>
                    <a:pt x="203" y="169"/>
                  </a:cubicBezTo>
                  <a:cubicBezTo>
                    <a:pt x="202" y="167"/>
                    <a:pt x="202" y="165"/>
                    <a:pt x="201" y="163"/>
                  </a:cubicBezTo>
                  <a:cubicBezTo>
                    <a:pt x="201" y="161"/>
                    <a:pt x="201" y="160"/>
                    <a:pt x="200" y="159"/>
                  </a:cubicBezTo>
                  <a:cubicBezTo>
                    <a:pt x="199" y="156"/>
                    <a:pt x="197" y="154"/>
                    <a:pt x="194" y="153"/>
                  </a:cubicBezTo>
                  <a:cubicBezTo>
                    <a:pt x="191" y="151"/>
                    <a:pt x="191" y="150"/>
                    <a:pt x="190" y="146"/>
                  </a:cubicBezTo>
                  <a:cubicBezTo>
                    <a:pt x="189" y="143"/>
                    <a:pt x="189" y="142"/>
                    <a:pt x="186" y="141"/>
                  </a:cubicBezTo>
                  <a:cubicBezTo>
                    <a:pt x="186" y="140"/>
                    <a:pt x="185" y="140"/>
                    <a:pt x="185" y="140"/>
                  </a:cubicBezTo>
                  <a:cubicBezTo>
                    <a:pt x="184" y="139"/>
                    <a:pt x="183" y="139"/>
                    <a:pt x="182" y="138"/>
                  </a:cubicBezTo>
                  <a:cubicBezTo>
                    <a:pt x="181" y="137"/>
                    <a:pt x="180" y="136"/>
                    <a:pt x="177" y="136"/>
                  </a:cubicBezTo>
                  <a:cubicBezTo>
                    <a:pt x="175" y="136"/>
                    <a:pt x="174" y="135"/>
                    <a:pt x="173" y="134"/>
                  </a:cubicBezTo>
                  <a:cubicBezTo>
                    <a:pt x="172" y="134"/>
                    <a:pt x="171" y="133"/>
                    <a:pt x="170" y="133"/>
                  </a:cubicBezTo>
                  <a:cubicBezTo>
                    <a:pt x="169" y="133"/>
                    <a:pt x="169" y="133"/>
                    <a:pt x="169" y="133"/>
                  </a:cubicBezTo>
                  <a:cubicBezTo>
                    <a:pt x="168" y="133"/>
                    <a:pt x="168" y="133"/>
                    <a:pt x="167" y="134"/>
                  </a:cubicBezTo>
                  <a:cubicBezTo>
                    <a:pt x="167" y="134"/>
                    <a:pt x="167" y="134"/>
                    <a:pt x="167" y="134"/>
                  </a:cubicBezTo>
                  <a:cubicBezTo>
                    <a:pt x="166" y="134"/>
                    <a:pt x="166" y="134"/>
                    <a:pt x="166" y="134"/>
                  </a:cubicBezTo>
                  <a:cubicBezTo>
                    <a:pt x="165" y="133"/>
                    <a:pt x="162" y="132"/>
                    <a:pt x="162" y="131"/>
                  </a:cubicBezTo>
                  <a:cubicBezTo>
                    <a:pt x="161" y="130"/>
                    <a:pt x="161" y="128"/>
                    <a:pt x="160" y="127"/>
                  </a:cubicBezTo>
                  <a:cubicBezTo>
                    <a:pt x="160" y="125"/>
                    <a:pt x="160" y="124"/>
                    <a:pt x="159" y="123"/>
                  </a:cubicBezTo>
                  <a:cubicBezTo>
                    <a:pt x="158" y="121"/>
                    <a:pt x="156" y="120"/>
                    <a:pt x="154" y="119"/>
                  </a:cubicBezTo>
                  <a:cubicBezTo>
                    <a:pt x="154" y="119"/>
                    <a:pt x="153" y="118"/>
                    <a:pt x="153" y="118"/>
                  </a:cubicBezTo>
                  <a:cubicBezTo>
                    <a:pt x="153" y="118"/>
                    <a:pt x="153" y="118"/>
                    <a:pt x="153" y="118"/>
                  </a:cubicBezTo>
                  <a:cubicBezTo>
                    <a:pt x="154" y="114"/>
                    <a:pt x="154" y="112"/>
                    <a:pt x="153" y="111"/>
                  </a:cubicBezTo>
                  <a:cubicBezTo>
                    <a:pt x="152" y="111"/>
                    <a:pt x="151" y="110"/>
                    <a:pt x="151" y="110"/>
                  </a:cubicBezTo>
                  <a:cubicBezTo>
                    <a:pt x="150" y="110"/>
                    <a:pt x="150" y="110"/>
                    <a:pt x="150" y="110"/>
                  </a:cubicBezTo>
                  <a:cubicBezTo>
                    <a:pt x="148" y="111"/>
                    <a:pt x="147" y="113"/>
                    <a:pt x="146" y="116"/>
                  </a:cubicBezTo>
                  <a:cubicBezTo>
                    <a:pt x="146" y="116"/>
                    <a:pt x="145" y="117"/>
                    <a:pt x="145" y="117"/>
                  </a:cubicBezTo>
                  <a:cubicBezTo>
                    <a:pt x="144" y="120"/>
                    <a:pt x="141" y="124"/>
                    <a:pt x="136" y="124"/>
                  </a:cubicBezTo>
                  <a:cubicBezTo>
                    <a:pt x="135" y="124"/>
                    <a:pt x="134" y="124"/>
                    <a:pt x="132" y="123"/>
                  </a:cubicBezTo>
                  <a:cubicBezTo>
                    <a:pt x="130" y="122"/>
                    <a:pt x="128" y="122"/>
                    <a:pt x="125" y="122"/>
                  </a:cubicBezTo>
                  <a:cubicBezTo>
                    <a:pt x="122" y="122"/>
                    <a:pt x="119" y="121"/>
                    <a:pt x="116" y="120"/>
                  </a:cubicBezTo>
                  <a:cubicBezTo>
                    <a:pt x="114" y="118"/>
                    <a:pt x="112" y="118"/>
                    <a:pt x="109" y="117"/>
                  </a:cubicBezTo>
                  <a:cubicBezTo>
                    <a:pt x="108" y="117"/>
                    <a:pt x="108" y="117"/>
                    <a:pt x="108" y="117"/>
                  </a:cubicBezTo>
                  <a:cubicBezTo>
                    <a:pt x="106" y="116"/>
                    <a:pt x="103" y="116"/>
                    <a:pt x="101" y="114"/>
                  </a:cubicBezTo>
                  <a:cubicBezTo>
                    <a:pt x="97" y="111"/>
                    <a:pt x="97" y="107"/>
                    <a:pt x="98" y="102"/>
                  </a:cubicBezTo>
                  <a:cubicBezTo>
                    <a:pt x="98" y="100"/>
                    <a:pt x="98" y="100"/>
                    <a:pt x="98" y="100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95" y="98"/>
                    <a:pt x="95" y="98"/>
                    <a:pt x="95" y="98"/>
                  </a:cubicBezTo>
                  <a:cubicBezTo>
                    <a:pt x="92" y="98"/>
                    <a:pt x="89" y="99"/>
                    <a:pt x="86" y="100"/>
                  </a:cubicBezTo>
                  <a:cubicBezTo>
                    <a:pt x="85" y="100"/>
                    <a:pt x="84" y="101"/>
                    <a:pt x="83" y="101"/>
                  </a:cubicBezTo>
                  <a:cubicBezTo>
                    <a:pt x="81" y="102"/>
                    <a:pt x="79" y="102"/>
                    <a:pt x="77" y="103"/>
                  </a:cubicBezTo>
                  <a:cubicBezTo>
                    <a:pt x="77" y="104"/>
                    <a:pt x="76" y="104"/>
                    <a:pt x="76" y="105"/>
                  </a:cubicBezTo>
                  <a:cubicBezTo>
                    <a:pt x="75" y="106"/>
                    <a:pt x="74" y="107"/>
                    <a:pt x="73" y="107"/>
                  </a:cubicBezTo>
                  <a:cubicBezTo>
                    <a:pt x="71" y="107"/>
                    <a:pt x="71" y="105"/>
                    <a:pt x="71" y="104"/>
                  </a:cubicBezTo>
                  <a:cubicBezTo>
                    <a:pt x="70" y="102"/>
                    <a:pt x="71" y="101"/>
                    <a:pt x="71" y="100"/>
                  </a:cubicBezTo>
                  <a:cubicBezTo>
                    <a:pt x="71" y="98"/>
                    <a:pt x="72" y="95"/>
                    <a:pt x="70" y="93"/>
                  </a:cubicBezTo>
                  <a:cubicBezTo>
                    <a:pt x="69" y="93"/>
                    <a:pt x="69" y="93"/>
                    <a:pt x="68" y="92"/>
                  </a:cubicBezTo>
                  <a:cubicBezTo>
                    <a:pt x="67" y="92"/>
                    <a:pt x="66" y="92"/>
                    <a:pt x="66" y="91"/>
                  </a:cubicBezTo>
                  <a:cubicBezTo>
                    <a:pt x="65" y="91"/>
                    <a:pt x="65" y="91"/>
                    <a:pt x="64" y="90"/>
                  </a:cubicBezTo>
                  <a:cubicBezTo>
                    <a:pt x="63" y="88"/>
                    <a:pt x="61" y="87"/>
                    <a:pt x="60" y="87"/>
                  </a:cubicBezTo>
                  <a:cubicBezTo>
                    <a:pt x="60" y="87"/>
                    <a:pt x="58" y="88"/>
                    <a:pt x="58" y="88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3"/>
                    <a:pt x="59" y="95"/>
                    <a:pt x="59" y="97"/>
                  </a:cubicBezTo>
                  <a:cubicBezTo>
                    <a:pt x="59" y="99"/>
                    <a:pt x="60" y="100"/>
                    <a:pt x="60" y="101"/>
                  </a:cubicBezTo>
                  <a:cubicBezTo>
                    <a:pt x="60" y="103"/>
                    <a:pt x="61" y="104"/>
                    <a:pt x="60" y="106"/>
                  </a:cubicBezTo>
                  <a:cubicBezTo>
                    <a:pt x="60" y="107"/>
                    <a:pt x="59" y="107"/>
                    <a:pt x="59" y="108"/>
                  </a:cubicBezTo>
                  <a:cubicBezTo>
                    <a:pt x="59" y="109"/>
                    <a:pt x="58" y="109"/>
                    <a:pt x="58" y="110"/>
                  </a:cubicBezTo>
                  <a:cubicBezTo>
                    <a:pt x="58" y="111"/>
                    <a:pt x="58" y="112"/>
                    <a:pt x="58" y="113"/>
                  </a:cubicBezTo>
                  <a:cubicBezTo>
                    <a:pt x="58" y="114"/>
                    <a:pt x="58" y="114"/>
                    <a:pt x="58" y="115"/>
                  </a:cubicBezTo>
                  <a:cubicBezTo>
                    <a:pt x="58" y="116"/>
                    <a:pt x="58" y="117"/>
                    <a:pt x="58" y="118"/>
                  </a:cubicBezTo>
                  <a:cubicBezTo>
                    <a:pt x="58" y="122"/>
                    <a:pt x="57" y="126"/>
                    <a:pt x="58" y="130"/>
                  </a:cubicBezTo>
                  <a:cubicBezTo>
                    <a:pt x="58" y="131"/>
                    <a:pt x="59" y="132"/>
                    <a:pt x="59" y="133"/>
                  </a:cubicBezTo>
                  <a:cubicBezTo>
                    <a:pt x="59" y="133"/>
                    <a:pt x="59" y="133"/>
                    <a:pt x="60" y="134"/>
                  </a:cubicBezTo>
                  <a:cubicBezTo>
                    <a:pt x="61" y="137"/>
                    <a:pt x="60" y="139"/>
                    <a:pt x="58" y="141"/>
                  </a:cubicBezTo>
                  <a:cubicBezTo>
                    <a:pt x="56" y="144"/>
                    <a:pt x="56" y="147"/>
                    <a:pt x="56" y="149"/>
                  </a:cubicBezTo>
                  <a:cubicBezTo>
                    <a:pt x="56" y="151"/>
                    <a:pt x="56" y="152"/>
                    <a:pt x="57" y="153"/>
                  </a:cubicBezTo>
                  <a:cubicBezTo>
                    <a:pt x="57" y="154"/>
                    <a:pt x="58" y="156"/>
                    <a:pt x="58" y="156"/>
                  </a:cubicBezTo>
                  <a:cubicBezTo>
                    <a:pt x="57" y="157"/>
                    <a:pt x="56" y="157"/>
                    <a:pt x="55" y="157"/>
                  </a:cubicBezTo>
                  <a:cubicBezTo>
                    <a:pt x="49" y="157"/>
                    <a:pt x="49" y="157"/>
                    <a:pt x="49" y="157"/>
                  </a:cubicBezTo>
                  <a:cubicBezTo>
                    <a:pt x="43" y="157"/>
                    <a:pt x="38" y="157"/>
                    <a:pt x="32" y="157"/>
                  </a:cubicBezTo>
                  <a:cubicBezTo>
                    <a:pt x="1" y="157"/>
                    <a:pt x="1" y="157"/>
                    <a:pt x="1" y="157"/>
                  </a:cubicBezTo>
                  <a:cubicBezTo>
                    <a:pt x="0" y="262"/>
                    <a:pt x="0" y="262"/>
                    <a:pt x="0" y="262"/>
                  </a:cubicBezTo>
                  <a:cubicBezTo>
                    <a:pt x="1" y="262"/>
                    <a:pt x="1" y="262"/>
                    <a:pt x="1" y="262"/>
                  </a:cubicBezTo>
                  <a:cubicBezTo>
                    <a:pt x="4" y="265"/>
                    <a:pt x="4" y="269"/>
                    <a:pt x="4" y="271"/>
                  </a:cubicBezTo>
                  <a:cubicBezTo>
                    <a:pt x="4" y="272"/>
                    <a:pt x="4" y="272"/>
                    <a:pt x="4" y="272"/>
                  </a:cubicBezTo>
                  <a:cubicBezTo>
                    <a:pt x="38" y="309"/>
                    <a:pt x="38" y="309"/>
                    <a:pt x="38" y="309"/>
                  </a:cubicBezTo>
                  <a:cubicBezTo>
                    <a:pt x="40" y="308"/>
                    <a:pt x="40" y="308"/>
                    <a:pt x="40" y="308"/>
                  </a:cubicBezTo>
                  <a:cubicBezTo>
                    <a:pt x="41" y="308"/>
                    <a:pt x="42" y="308"/>
                    <a:pt x="43" y="308"/>
                  </a:cubicBezTo>
                  <a:cubicBezTo>
                    <a:pt x="45" y="307"/>
                    <a:pt x="47" y="307"/>
                    <a:pt x="50" y="307"/>
                  </a:cubicBezTo>
                  <a:cubicBezTo>
                    <a:pt x="50" y="307"/>
                    <a:pt x="50" y="307"/>
                    <a:pt x="50" y="307"/>
                  </a:cubicBezTo>
                  <a:cubicBezTo>
                    <a:pt x="52" y="307"/>
                    <a:pt x="54" y="307"/>
                    <a:pt x="55" y="306"/>
                  </a:cubicBezTo>
                  <a:cubicBezTo>
                    <a:pt x="57" y="306"/>
                    <a:pt x="58" y="306"/>
                    <a:pt x="59" y="306"/>
                  </a:cubicBezTo>
                  <a:cubicBezTo>
                    <a:pt x="61" y="306"/>
                    <a:pt x="63" y="306"/>
                    <a:pt x="65" y="305"/>
                  </a:cubicBezTo>
                  <a:cubicBezTo>
                    <a:pt x="66" y="305"/>
                    <a:pt x="68" y="305"/>
                    <a:pt x="69" y="305"/>
                  </a:cubicBezTo>
                  <a:cubicBezTo>
                    <a:pt x="71" y="305"/>
                    <a:pt x="72" y="305"/>
                    <a:pt x="74" y="305"/>
                  </a:cubicBezTo>
                  <a:cubicBezTo>
                    <a:pt x="75" y="306"/>
                    <a:pt x="75" y="306"/>
                    <a:pt x="75" y="306"/>
                  </a:cubicBezTo>
                  <a:cubicBezTo>
                    <a:pt x="75" y="306"/>
                    <a:pt x="76" y="306"/>
                    <a:pt x="76" y="306"/>
                  </a:cubicBezTo>
                  <a:cubicBezTo>
                    <a:pt x="77" y="306"/>
                    <a:pt x="77" y="306"/>
                    <a:pt x="77" y="306"/>
                  </a:cubicBezTo>
                  <a:cubicBezTo>
                    <a:pt x="78" y="306"/>
                    <a:pt x="78" y="306"/>
                    <a:pt x="79" y="306"/>
                  </a:cubicBezTo>
                  <a:cubicBezTo>
                    <a:pt x="79" y="306"/>
                    <a:pt x="80" y="306"/>
                    <a:pt x="80" y="306"/>
                  </a:cubicBezTo>
                  <a:cubicBezTo>
                    <a:pt x="81" y="306"/>
                    <a:pt x="81" y="306"/>
                    <a:pt x="82" y="307"/>
                  </a:cubicBezTo>
                  <a:cubicBezTo>
                    <a:pt x="82" y="307"/>
                    <a:pt x="83" y="308"/>
                    <a:pt x="83" y="308"/>
                  </a:cubicBezTo>
                  <a:cubicBezTo>
                    <a:pt x="84" y="308"/>
                    <a:pt x="85" y="308"/>
                    <a:pt x="85" y="309"/>
                  </a:cubicBezTo>
                  <a:cubicBezTo>
                    <a:pt x="86" y="309"/>
                    <a:pt x="87" y="309"/>
                    <a:pt x="87" y="309"/>
                  </a:cubicBezTo>
                  <a:cubicBezTo>
                    <a:pt x="89" y="310"/>
                    <a:pt x="90" y="311"/>
                    <a:pt x="90" y="312"/>
                  </a:cubicBezTo>
                  <a:cubicBezTo>
                    <a:pt x="90" y="313"/>
                    <a:pt x="90" y="313"/>
                    <a:pt x="90" y="313"/>
                  </a:cubicBezTo>
                  <a:cubicBezTo>
                    <a:pt x="91" y="313"/>
                    <a:pt x="91" y="313"/>
                    <a:pt x="91" y="313"/>
                  </a:cubicBezTo>
                  <a:cubicBezTo>
                    <a:pt x="93" y="314"/>
                    <a:pt x="94" y="315"/>
                    <a:pt x="96" y="316"/>
                  </a:cubicBezTo>
                  <a:cubicBezTo>
                    <a:pt x="97" y="317"/>
                    <a:pt x="97" y="317"/>
                    <a:pt x="97" y="317"/>
                  </a:cubicBezTo>
                  <a:cubicBezTo>
                    <a:pt x="98" y="317"/>
                    <a:pt x="99" y="318"/>
                    <a:pt x="100" y="318"/>
                  </a:cubicBezTo>
                  <a:cubicBezTo>
                    <a:pt x="100" y="318"/>
                    <a:pt x="100" y="318"/>
                    <a:pt x="100" y="318"/>
                  </a:cubicBezTo>
                  <a:cubicBezTo>
                    <a:pt x="101" y="318"/>
                    <a:pt x="101" y="318"/>
                    <a:pt x="101" y="318"/>
                  </a:cubicBezTo>
                  <a:cubicBezTo>
                    <a:pt x="101" y="318"/>
                    <a:pt x="101" y="318"/>
                    <a:pt x="101" y="318"/>
                  </a:cubicBezTo>
                  <a:cubicBezTo>
                    <a:pt x="101" y="318"/>
                    <a:pt x="101" y="317"/>
                    <a:pt x="101" y="317"/>
                  </a:cubicBezTo>
                  <a:cubicBezTo>
                    <a:pt x="102" y="317"/>
                    <a:pt x="102" y="316"/>
                    <a:pt x="103" y="316"/>
                  </a:cubicBezTo>
                  <a:cubicBezTo>
                    <a:pt x="103" y="316"/>
                    <a:pt x="104" y="316"/>
                    <a:pt x="104" y="316"/>
                  </a:cubicBezTo>
                  <a:cubicBezTo>
                    <a:pt x="106" y="316"/>
                    <a:pt x="107" y="318"/>
                    <a:pt x="109" y="319"/>
                  </a:cubicBezTo>
                  <a:cubicBezTo>
                    <a:pt x="110" y="321"/>
                    <a:pt x="111" y="323"/>
                    <a:pt x="114" y="323"/>
                  </a:cubicBezTo>
                  <a:cubicBezTo>
                    <a:pt x="115" y="323"/>
                    <a:pt x="117" y="322"/>
                    <a:pt x="118" y="321"/>
                  </a:cubicBezTo>
                  <a:cubicBezTo>
                    <a:pt x="119" y="320"/>
                    <a:pt x="121" y="319"/>
                    <a:pt x="122" y="319"/>
                  </a:cubicBezTo>
                  <a:cubicBezTo>
                    <a:pt x="123" y="319"/>
                    <a:pt x="123" y="319"/>
                    <a:pt x="123" y="319"/>
                  </a:cubicBezTo>
                  <a:cubicBezTo>
                    <a:pt x="125" y="319"/>
                    <a:pt x="127" y="320"/>
                    <a:pt x="128" y="322"/>
                  </a:cubicBezTo>
                  <a:cubicBezTo>
                    <a:pt x="130" y="323"/>
                    <a:pt x="131" y="325"/>
                    <a:pt x="134" y="325"/>
                  </a:cubicBezTo>
                  <a:cubicBezTo>
                    <a:pt x="134" y="325"/>
                    <a:pt x="134" y="325"/>
                    <a:pt x="134" y="325"/>
                  </a:cubicBezTo>
                  <a:cubicBezTo>
                    <a:pt x="135" y="325"/>
                    <a:pt x="136" y="324"/>
                    <a:pt x="137" y="323"/>
                  </a:cubicBezTo>
                  <a:cubicBezTo>
                    <a:pt x="138" y="323"/>
                    <a:pt x="138" y="323"/>
                    <a:pt x="138" y="322"/>
                  </a:cubicBezTo>
                  <a:cubicBezTo>
                    <a:pt x="139" y="322"/>
                    <a:pt x="141" y="321"/>
                    <a:pt x="142" y="321"/>
                  </a:cubicBezTo>
                  <a:cubicBezTo>
                    <a:pt x="143" y="320"/>
                    <a:pt x="144" y="320"/>
                    <a:pt x="145" y="320"/>
                  </a:cubicBezTo>
                  <a:cubicBezTo>
                    <a:pt x="148" y="318"/>
                    <a:pt x="150" y="314"/>
                    <a:pt x="152" y="311"/>
                  </a:cubicBezTo>
                  <a:cubicBezTo>
                    <a:pt x="152" y="310"/>
                    <a:pt x="153" y="309"/>
                    <a:pt x="153" y="309"/>
                  </a:cubicBezTo>
                  <a:cubicBezTo>
                    <a:pt x="154" y="307"/>
                    <a:pt x="156" y="306"/>
                    <a:pt x="157" y="304"/>
                  </a:cubicBezTo>
                  <a:cubicBezTo>
                    <a:pt x="159" y="302"/>
                    <a:pt x="161" y="299"/>
                    <a:pt x="162" y="296"/>
                  </a:cubicBezTo>
                  <a:cubicBezTo>
                    <a:pt x="162" y="296"/>
                    <a:pt x="163" y="295"/>
                    <a:pt x="163" y="294"/>
                  </a:cubicBezTo>
                  <a:cubicBezTo>
                    <a:pt x="164" y="293"/>
                    <a:pt x="164" y="291"/>
                    <a:pt x="165" y="290"/>
                  </a:cubicBezTo>
                  <a:cubicBezTo>
                    <a:pt x="167" y="288"/>
                    <a:pt x="168" y="287"/>
                    <a:pt x="170" y="286"/>
                  </a:cubicBezTo>
                  <a:cubicBezTo>
                    <a:pt x="170" y="286"/>
                    <a:pt x="171" y="286"/>
                    <a:pt x="172" y="285"/>
                  </a:cubicBezTo>
                  <a:cubicBezTo>
                    <a:pt x="173" y="284"/>
                    <a:pt x="175" y="283"/>
                    <a:pt x="177" y="282"/>
                  </a:cubicBezTo>
                  <a:cubicBezTo>
                    <a:pt x="178" y="281"/>
                    <a:pt x="181" y="279"/>
                    <a:pt x="183" y="278"/>
                  </a:cubicBezTo>
                  <a:cubicBezTo>
                    <a:pt x="187" y="276"/>
                    <a:pt x="191" y="274"/>
                    <a:pt x="194" y="273"/>
                  </a:cubicBezTo>
                  <a:cubicBezTo>
                    <a:pt x="199" y="271"/>
                    <a:pt x="199" y="268"/>
                    <a:pt x="198" y="264"/>
                  </a:cubicBezTo>
                  <a:cubicBezTo>
                    <a:pt x="198" y="262"/>
                    <a:pt x="198" y="261"/>
                    <a:pt x="198" y="259"/>
                  </a:cubicBezTo>
                  <a:cubicBezTo>
                    <a:pt x="199" y="257"/>
                    <a:pt x="200" y="256"/>
                    <a:pt x="202" y="255"/>
                  </a:cubicBezTo>
                  <a:cubicBezTo>
                    <a:pt x="202" y="255"/>
                    <a:pt x="203" y="254"/>
                    <a:pt x="203" y="254"/>
                  </a:cubicBezTo>
                  <a:cubicBezTo>
                    <a:pt x="204" y="253"/>
                    <a:pt x="205" y="252"/>
                    <a:pt x="206" y="251"/>
                  </a:cubicBezTo>
                  <a:cubicBezTo>
                    <a:pt x="209" y="248"/>
                    <a:pt x="212" y="246"/>
                    <a:pt x="216" y="246"/>
                  </a:cubicBezTo>
                  <a:cubicBezTo>
                    <a:pt x="218" y="246"/>
                    <a:pt x="218" y="246"/>
                    <a:pt x="218" y="246"/>
                  </a:cubicBezTo>
                  <a:cubicBezTo>
                    <a:pt x="220" y="246"/>
                    <a:pt x="222" y="245"/>
                    <a:pt x="224" y="245"/>
                  </a:cubicBezTo>
                  <a:cubicBezTo>
                    <a:pt x="226" y="244"/>
                    <a:pt x="227" y="244"/>
                    <a:pt x="229" y="244"/>
                  </a:cubicBezTo>
                  <a:cubicBezTo>
                    <a:pt x="230" y="244"/>
                    <a:pt x="231" y="244"/>
                    <a:pt x="233" y="244"/>
                  </a:cubicBezTo>
                  <a:cubicBezTo>
                    <a:pt x="233" y="244"/>
                    <a:pt x="233" y="244"/>
                    <a:pt x="234" y="244"/>
                  </a:cubicBezTo>
                  <a:cubicBezTo>
                    <a:pt x="234" y="244"/>
                    <a:pt x="235" y="244"/>
                    <a:pt x="236" y="244"/>
                  </a:cubicBezTo>
                  <a:cubicBezTo>
                    <a:pt x="236" y="244"/>
                    <a:pt x="237" y="244"/>
                    <a:pt x="237" y="244"/>
                  </a:cubicBezTo>
                  <a:cubicBezTo>
                    <a:pt x="238" y="244"/>
                    <a:pt x="239" y="244"/>
                    <a:pt x="240" y="244"/>
                  </a:cubicBezTo>
                  <a:cubicBezTo>
                    <a:pt x="242" y="245"/>
                    <a:pt x="242" y="245"/>
                    <a:pt x="242" y="245"/>
                  </a:cubicBezTo>
                  <a:cubicBezTo>
                    <a:pt x="242" y="240"/>
                    <a:pt x="242" y="240"/>
                    <a:pt x="242" y="240"/>
                  </a:cubicBezTo>
                  <a:cubicBezTo>
                    <a:pt x="242" y="237"/>
                    <a:pt x="241" y="234"/>
                    <a:pt x="239" y="231"/>
                  </a:cubicBezTo>
                  <a:cubicBezTo>
                    <a:pt x="238" y="230"/>
                    <a:pt x="236" y="225"/>
                    <a:pt x="237" y="224"/>
                  </a:cubicBezTo>
                  <a:cubicBezTo>
                    <a:pt x="237" y="224"/>
                    <a:pt x="238" y="224"/>
                    <a:pt x="238" y="224"/>
                  </a:cubicBezTo>
                  <a:cubicBezTo>
                    <a:pt x="239" y="224"/>
                    <a:pt x="239" y="224"/>
                    <a:pt x="239" y="224"/>
                  </a:cubicBezTo>
                  <a:cubicBezTo>
                    <a:pt x="318" y="192"/>
                    <a:pt x="318" y="192"/>
                    <a:pt x="318" y="192"/>
                  </a:cubicBezTo>
                  <a:cubicBezTo>
                    <a:pt x="316" y="190"/>
                    <a:pt x="316" y="190"/>
                    <a:pt x="316" y="190"/>
                  </a:cubicBezTo>
                  <a:cubicBezTo>
                    <a:pt x="315" y="189"/>
                    <a:pt x="315" y="188"/>
                    <a:pt x="314" y="187"/>
                  </a:cubicBezTo>
                  <a:cubicBezTo>
                    <a:pt x="314" y="186"/>
                    <a:pt x="314" y="186"/>
                    <a:pt x="313" y="185"/>
                  </a:cubicBezTo>
                  <a:cubicBezTo>
                    <a:pt x="313" y="184"/>
                    <a:pt x="313" y="183"/>
                    <a:pt x="312" y="183"/>
                  </a:cubicBezTo>
                  <a:cubicBezTo>
                    <a:pt x="311" y="181"/>
                    <a:pt x="310" y="179"/>
                    <a:pt x="311" y="176"/>
                  </a:cubicBezTo>
                  <a:cubicBezTo>
                    <a:pt x="311" y="175"/>
                    <a:pt x="313" y="174"/>
                    <a:pt x="314" y="173"/>
                  </a:cubicBezTo>
                  <a:cubicBezTo>
                    <a:pt x="315" y="172"/>
                    <a:pt x="316" y="170"/>
                    <a:pt x="317" y="169"/>
                  </a:cubicBezTo>
                  <a:cubicBezTo>
                    <a:pt x="320" y="163"/>
                    <a:pt x="319" y="159"/>
                    <a:pt x="319" y="154"/>
                  </a:cubicBezTo>
                  <a:cubicBezTo>
                    <a:pt x="319" y="152"/>
                    <a:pt x="318" y="149"/>
                    <a:pt x="318" y="147"/>
                  </a:cubicBezTo>
                  <a:cubicBezTo>
                    <a:pt x="320" y="145"/>
                    <a:pt x="323" y="145"/>
                    <a:pt x="325" y="144"/>
                  </a:cubicBezTo>
                  <a:cubicBezTo>
                    <a:pt x="330" y="143"/>
                    <a:pt x="334" y="142"/>
                    <a:pt x="335" y="137"/>
                  </a:cubicBezTo>
                  <a:cubicBezTo>
                    <a:pt x="336" y="136"/>
                    <a:pt x="336" y="136"/>
                    <a:pt x="336" y="136"/>
                  </a:cubicBezTo>
                  <a:cubicBezTo>
                    <a:pt x="335" y="135"/>
                    <a:pt x="335" y="135"/>
                    <a:pt x="335" y="135"/>
                  </a:cubicBezTo>
                  <a:cubicBezTo>
                    <a:pt x="334" y="134"/>
                    <a:pt x="332" y="134"/>
                    <a:pt x="331" y="133"/>
                  </a:cubicBezTo>
                  <a:cubicBezTo>
                    <a:pt x="329" y="132"/>
                    <a:pt x="327" y="131"/>
                    <a:pt x="327" y="127"/>
                  </a:cubicBezTo>
                  <a:cubicBezTo>
                    <a:pt x="327" y="125"/>
                    <a:pt x="328" y="122"/>
                    <a:pt x="328" y="120"/>
                  </a:cubicBezTo>
                  <a:cubicBezTo>
                    <a:pt x="329" y="117"/>
                    <a:pt x="329" y="114"/>
                    <a:pt x="329" y="111"/>
                  </a:cubicBezTo>
                  <a:cubicBezTo>
                    <a:pt x="329" y="110"/>
                    <a:pt x="329" y="109"/>
                    <a:pt x="329" y="108"/>
                  </a:cubicBezTo>
                  <a:cubicBezTo>
                    <a:pt x="328" y="107"/>
                    <a:pt x="328" y="105"/>
                    <a:pt x="329" y="103"/>
                  </a:cubicBezTo>
                  <a:cubicBezTo>
                    <a:pt x="329" y="102"/>
                    <a:pt x="329" y="101"/>
                    <a:pt x="330" y="101"/>
                  </a:cubicBezTo>
                  <a:cubicBezTo>
                    <a:pt x="330" y="99"/>
                    <a:pt x="331" y="98"/>
                    <a:pt x="331" y="96"/>
                  </a:cubicBezTo>
                  <a:cubicBezTo>
                    <a:pt x="331" y="94"/>
                    <a:pt x="329" y="93"/>
                    <a:pt x="329" y="91"/>
                  </a:cubicBezTo>
                  <a:cubicBezTo>
                    <a:pt x="328" y="90"/>
                    <a:pt x="327" y="89"/>
                    <a:pt x="327" y="88"/>
                  </a:cubicBezTo>
                  <a:cubicBezTo>
                    <a:pt x="328" y="88"/>
                    <a:pt x="328" y="87"/>
                    <a:pt x="330" y="86"/>
                  </a:cubicBezTo>
                  <a:cubicBezTo>
                    <a:pt x="331" y="85"/>
                    <a:pt x="332" y="84"/>
                    <a:pt x="333" y="84"/>
                  </a:cubicBezTo>
                  <a:cubicBezTo>
                    <a:pt x="337" y="82"/>
                    <a:pt x="340" y="81"/>
                    <a:pt x="340" y="76"/>
                  </a:cubicBezTo>
                  <a:cubicBezTo>
                    <a:pt x="341" y="75"/>
                    <a:pt x="341" y="75"/>
                    <a:pt x="341" y="75"/>
                  </a:cubicBezTo>
                  <a:lnTo>
                    <a:pt x="339" y="74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6" name="Freeform 56"/>
            <p:cNvSpPr>
              <a:spLocks/>
            </p:cNvSpPr>
            <p:nvPr/>
          </p:nvSpPr>
          <p:spPr bwMode="auto">
            <a:xfrm>
              <a:off x="3448610" y="3483286"/>
              <a:ext cx="453105" cy="419159"/>
            </a:xfrm>
            <a:custGeom>
              <a:avLst/>
              <a:gdLst>
                <a:gd name="T0" fmla="*/ 223 w 224"/>
                <a:gd name="T1" fmla="*/ 52 h 225"/>
                <a:gd name="T2" fmla="*/ 221 w 224"/>
                <a:gd name="T3" fmla="*/ 41 h 225"/>
                <a:gd name="T4" fmla="*/ 211 w 224"/>
                <a:gd name="T5" fmla="*/ 28 h 225"/>
                <a:gd name="T6" fmla="*/ 199 w 224"/>
                <a:gd name="T7" fmla="*/ 27 h 225"/>
                <a:gd name="T8" fmla="*/ 182 w 224"/>
                <a:gd name="T9" fmla="*/ 18 h 225"/>
                <a:gd name="T10" fmla="*/ 173 w 224"/>
                <a:gd name="T11" fmla="*/ 13 h 225"/>
                <a:gd name="T12" fmla="*/ 149 w 224"/>
                <a:gd name="T13" fmla="*/ 0 h 225"/>
                <a:gd name="T14" fmla="*/ 142 w 224"/>
                <a:gd name="T15" fmla="*/ 0 h 225"/>
                <a:gd name="T16" fmla="*/ 132 w 224"/>
                <a:gd name="T17" fmla="*/ 0 h 225"/>
                <a:gd name="T18" fmla="*/ 115 w 224"/>
                <a:gd name="T19" fmla="*/ 6 h 225"/>
                <a:gd name="T20" fmla="*/ 109 w 224"/>
                <a:gd name="T21" fmla="*/ 11 h 225"/>
                <a:gd name="T22" fmla="*/ 102 w 224"/>
                <a:gd name="T23" fmla="*/ 28 h 225"/>
                <a:gd name="T24" fmla="*/ 79 w 224"/>
                <a:gd name="T25" fmla="*/ 41 h 225"/>
                <a:gd name="T26" fmla="*/ 71 w 224"/>
                <a:gd name="T27" fmla="*/ 50 h 225"/>
                <a:gd name="T28" fmla="*/ 61 w 224"/>
                <a:gd name="T29" fmla="*/ 65 h 225"/>
                <a:gd name="T30" fmla="*/ 50 w 224"/>
                <a:gd name="T31" fmla="*/ 76 h 225"/>
                <a:gd name="T32" fmla="*/ 42 w 224"/>
                <a:gd name="T33" fmla="*/ 81 h 225"/>
                <a:gd name="T34" fmla="*/ 31 w 224"/>
                <a:gd name="T35" fmla="*/ 74 h 225"/>
                <a:gd name="T36" fmla="*/ 22 w 224"/>
                <a:gd name="T37" fmla="*/ 78 h 225"/>
                <a:gd name="T38" fmla="*/ 11 w 224"/>
                <a:gd name="T39" fmla="*/ 72 h 225"/>
                <a:gd name="T40" fmla="*/ 5 w 224"/>
                <a:gd name="T41" fmla="*/ 72 h 225"/>
                <a:gd name="T42" fmla="*/ 0 w 224"/>
                <a:gd name="T43" fmla="*/ 73 h 225"/>
                <a:gd name="T44" fmla="*/ 8 w 224"/>
                <a:gd name="T45" fmla="*/ 90 h 225"/>
                <a:gd name="T46" fmla="*/ 20 w 224"/>
                <a:gd name="T47" fmla="*/ 109 h 225"/>
                <a:gd name="T48" fmla="*/ 28 w 224"/>
                <a:gd name="T49" fmla="*/ 129 h 225"/>
                <a:gd name="T50" fmla="*/ 32 w 224"/>
                <a:gd name="T51" fmla="*/ 135 h 225"/>
                <a:gd name="T52" fmla="*/ 42 w 224"/>
                <a:gd name="T53" fmla="*/ 142 h 225"/>
                <a:gd name="T54" fmla="*/ 50 w 224"/>
                <a:gd name="T55" fmla="*/ 146 h 225"/>
                <a:gd name="T56" fmla="*/ 57 w 224"/>
                <a:gd name="T57" fmla="*/ 161 h 225"/>
                <a:gd name="T58" fmla="*/ 68 w 224"/>
                <a:gd name="T59" fmla="*/ 170 h 225"/>
                <a:gd name="T60" fmla="*/ 70 w 224"/>
                <a:gd name="T61" fmla="*/ 185 h 225"/>
                <a:gd name="T62" fmla="*/ 76 w 224"/>
                <a:gd name="T63" fmla="*/ 194 h 225"/>
                <a:gd name="T64" fmla="*/ 83 w 224"/>
                <a:gd name="T65" fmla="*/ 198 h 225"/>
                <a:gd name="T66" fmla="*/ 97 w 224"/>
                <a:gd name="T67" fmla="*/ 200 h 225"/>
                <a:gd name="T68" fmla="*/ 105 w 224"/>
                <a:gd name="T69" fmla="*/ 208 h 225"/>
                <a:gd name="T70" fmla="*/ 108 w 224"/>
                <a:gd name="T71" fmla="*/ 212 h 225"/>
                <a:gd name="T72" fmla="*/ 109 w 224"/>
                <a:gd name="T73" fmla="*/ 214 h 225"/>
                <a:gd name="T74" fmla="*/ 118 w 224"/>
                <a:gd name="T75" fmla="*/ 217 h 225"/>
                <a:gd name="T76" fmla="*/ 130 w 224"/>
                <a:gd name="T77" fmla="*/ 217 h 225"/>
                <a:gd name="T78" fmla="*/ 144 w 224"/>
                <a:gd name="T79" fmla="*/ 222 h 225"/>
                <a:gd name="T80" fmla="*/ 158 w 224"/>
                <a:gd name="T81" fmla="*/ 220 h 225"/>
                <a:gd name="T82" fmla="*/ 170 w 224"/>
                <a:gd name="T83" fmla="*/ 225 h 225"/>
                <a:gd name="T84" fmla="*/ 202 w 224"/>
                <a:gd name="T85" fmla="*/ 191 h 225"/>
                <a:gd name="T86" fmla="*/ 204 w 224"/>
                <a:gd name="T87" fmla="*/ 180 h 225"/>
                <a:gd name="T88" fmla="*/ 206 w 224"/>
                <a:gd name="T89" fmla="*/ 167 h 225"/>
                <a:gd name="T90" fmla="*/ 213 w 224"/>
                <a:gd name="T91" fmla="*/ 160 h 225"/>
                <a:gd name="T92" fmla="*/ 223 w 224"/>
                <a:gd name="T93" fmla="*/ 140 h 225"/>
                <a:gd name="T94" fmla="*/ 218 w 224"/>
                <a:gd name="T95" fmla="*/ 120 h 225"/>
                <a:gd name="T96" fmla="*/ 216 w 224"/>
                <a:gd name="T97" fmla="*/ 111 h 225"/>
                <a:gd name="T98" fmla="*/ 219 w 224"/>
                <a:gd name="T99" fmla="*/ 104 h 225"/>
                <a:gd name="T100" fmla="*/ 221 w 224"/>
                <a:gd name="T101" fmla="*/ 95 h 225"/>
                <a:gd name="T102" fmla="*/ 223 w 224"/>
                <a:gd name="T103" fmla="*/ 8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4" h="225">
                  <a:moveTo>
                    <a:pt x="223" y="62"/>
                  </a:moveTo>
                  <a:cubicBezTo>
                    <a:pt x="223" y="61"/>
                    <a:pt x="224" y="60"/>
                    <a:pt x="224" y="59"/>
                  </a:cubicBezTo>
                  <a:cubicBezTo>
                    <a:pt x="224" y="57"/>
                    <a:pt x="224" y="55"/>
                    <a:pt x="223" y="52"/>
                  </a:cubicBezTo>
                  <a:cubicBezTo>
                    <a:pt x="223" y="51"/>
                    <a:pt x="222" y="50"/>
                    <a:pt x="222" y="49"/>
                  </a:cubicBezTo>
                  <a:cubicBezTo>
                    <a:pt x="221" y="47"/>
                    <a:pt x="220" y="46"/>
                    <a:pt x="221" y="43"/>
                  </a:cubicBezTo>
                  <a:cubicBezTo>
                    <a:pt x="221" y="42"/>
                    <a:pt x="221" y="41"/>
                    <a:pt x="221" y="41"/>
                  </a:cubicBezTo>
                  <a:cubicBezTo>
                    <a:pt x="222" y="37"/>
                    <a:pt x="221" y="37"/>
                    <a:pt x="219" y="35"/>
                  </a:cubicBezTo>
                  <a:cubicBezTo>
                    <a:pt x="217" y="34"/>
                    <a:pt x="216" y="33"/>
                    <a:pt x="215" y="32"/>
                  </a:cubicBezTo>
                  <a:cubicBezTo>
                    <a:pt x="214" y="31"/>
                    <a:pt x="212" y="29"/>
                    <a:pt x="211" y="28"/>
                  </a:cubicBezTo>
                  <a:cubicBezTo>
                    <a:pt x="209" y="28"/>
                    <a:pt x="207" y="27"/>
                    <a:pt x="205" y="27"/>
                  </a:cubicBezTo>
                  <a:cubicBezTo>
                    <a:pt x="204" y="27"/>
                    <a:pt x="203" y="27"/>
                    <a:pt x="202" y="27"/>
                  </a:cubicBezTo>
                  <a:cubicBezTo>
                    <a:pt x="201" y="27"/>
                    <a:pt x="200" y="27"/>
                    <a:pt x="199" y="27"/>
                  </a:cubicBezTo>
                  <a:cubicBezTo>
                    <a:pt x="196" y="27"/>
                    <a:pt x="195" y="26"/>
                    <a:pt x="193" y="24"/>
                  </a:cubicBezTo>
                  <a:cubicBezTo>
                    <a:pt x="192" y="23"/>
                    <a:pt x="192" y="23"/>
                    <a:pt x="192" y="23"/>
                  </a:cubicBezTo>
                  <a:cubicBezTo>
                    <a:pt x="189" y="19"/>
                    <a:pt x="186" y="18"/>
                    <a:pt x="182" y="18"/>
                  </a:cubicBezTo>
                  <a:cubicBezTo>
                    <a:pt x="179" y="17"/>
                    <a:pt x="178" y="16"/>
                    <a:pt x="176" y="15"/>
                  </a:cubicBezTo>
                  <a:cubicBezTo>
                    <a:pt x="175" y="14"/>
                    <a:pt x="174" y="14"/>
                    <a:pt x="173" y="13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52" y="13"/>
                    <a:pt x="152" y="13"/>
                    <a:pt x="152" y="13"/>
                  </a:cubicBezTo>
                  <a:cubicBezTo>
                    <a:pt x="150" y="1"/>
                    <a:pt x="150" y="1"/>
                    <a:pt x="150" y="1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8" y="0"/>
                    <a:pt x="147" y="0"/>
                    <a:pt x="146" y="0"/>
                  </a:cubicBezTo>
                  <a:cubicBezTo>
                    <a:pt x="145" y="0"/>
                    <a:pt x="144" y="0"/>
                    <a:pt x="144" y="0"/>
                  </a:cubicBezTo>
                  <a:cubicBezTo>
                    <a:pt x="143" y="0"/>
                    <a:pt x="142" y="0"/>
                    <a:pt x="142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39" y="0"/>
                    <a:pt x="138" y="0"/>
                    <a:pt x="137" y="0"/>
                  </a:cubicBezTo>
                  <a:cubicBezTo>
                    <a:pt x="135" y="0"/>
                    <a:pt x="134" y="0"/>
                    <a:pt x="132" y="0"/>
                  </a:cubicBezTo>
                  <a:cubicBezTo>
                    <a:pt x="129" y="1"/>
                    <a:pt x="128" y="1"/>
                    <a:pt x="126" y="1"/>
                  </a:cubicBezTo>
                  <a:cubicBezTo>
                    <a:pt x="124" y="1"/>
                    <a:pt x="124" y="1"/>
                    <a:pt x="124" y="1"/>
                  </a:cubicBezTo>
                  <a:cubicBezTo>
                    <a:pt x="120" y="1"/>
                    <a:pt x="117" y="4"/>
                    <a:pt x="115" y="6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3" y="8"/>
                    <a:pt x="112" y="9"/>
                    <a:pt x="111" y="10"/>
                  </a:cubicBezTo>
                  <a:cubicBezTo>
                    <a:pt x="110" y="10"/>
                    <a:pt x="110" y="10"/>
                    <a:pt x="109" y="11"/>
                  </a:cubicBezTo>
                  <a:cubicBezTo>
                    <a:pt x="108" y="12"/>
                    <a:pt x="106" y="13"/>
                    <a:pt x="106" y="15"/>
                  </a:cubicBezTo>
                  <a:cubicBezTo>
                    <a:pt x="106" y="17"/>
                    <a:pt x="106" y="18"/>
                    <a:pt x="106" y="20"/>
                  </a:cubicBezTo>
                  <a:cubicBezTo>
                    <a:pt x="106" y="24"/>
                    <a:pt x="106" y="27"/>
                    <a:pt x="102" y="28"/>
                  </a:cubicBezTo>
                  <a:cubicBezTo>
                    <a:pt x="99" y="29"/>
                    <a:pt x="95" y="31"/>
                    <a:pt x="91" y="34"/>
                  </a:cubicBezTo>
                  <a:cubicBezTo>
                    <a:pt x="88" y="35"/>
                    <a:pt x="86" y="36"/>
                    <a:pt x="84" y="38"/>
                  </a:cubicBezTo>
                  <a:cubicBezTo>
                    <a:pt x="83" y="39"/>
                    <a:pt x="81" y="40"/>
                    <a:pt x="79" y="41"/>
                  </a:cubicBezTo>
                  <a:cubicBezTo>
                    <a:pt x="79" y="41"/>
                    <a:pt x="78" y="42"/>
                    <a:pt x="78" y="42"/>
                  </a:cubicBezTo>
                  <a:cubicBezTo>
                    <a:pt x="76" y="43"/>
                    <a:pt x="74" y="44"/>
                    <a:pt x="73" y="46"/>
                  </a:cubicBezTo>
                  <a:cubicBezTo>
                    <a:pt x="72" y="47"/>
                    <a:pt x="71" y="49"/>
                    <a:pt x="71" y="50"/>
                  </a:cubicBezTo>
                  <a:cubicBezTo>
                    <a:pt x="70" y="51"/>
                    <a:pt x="70" y="51"/>
                    <a:pt x="70" y="52"/>
                  </a:cubicBezTo>
                  <a:cubicBezTo>
                    <a:pt x="68" y="55"/>
                    <a:pt x="67" y="57"/>
                    <a:pt x="65" y="60"/>
                  </a:cubicBezTo>
                  <a:cubicBezTo>
                    <a:pt x="63" y="61"/>
                    <a:pt x="62" y="63"/>
                    <a:pt x="61" y="65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58" y="70"/>
                    <a:pt x="55" y="74"/>
                    <a:pt x="52" y="75"/>
                  </a:cubicBezTo>
                  <a:cubicBezTo>
                    <a:pt x="52" y="76"/>
                    <a:pt x="51" y="76"/>
                    <a:pt x="50" y="76"/>
                  </a:cubicBezTo>
                  <a:cubicBezTo>
                    <a:pt x="49" y="77"/>
                    <a:pt x="47" y="77"/>
                    <a:pt x="46" y="78"/>
                  </a:cubicBezTo>
                  <a:cubicBezTo>
                    <a:pt x="46" y="78"/>
                    <a:pt x="45" y="79"/>
                    <a:pt x="45" y="79"/>
                  </a:cubicBezTo>
                  <a:cubicBezTo>
                    <a:pt x="44" y="80"/>
                    <a:pt x="43" y="81"/>
                    <a:pt x="42" y="81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39" y="80"/>
                    <a:pt x="38" y="79"/>
                    <a:pt x="36" y="77"/>
                  </a:cubicBezTo>
                  <a:cubicBezTo>
                    <a:pt x="35" y="76"/>
                    <a:pt x="33" y="74"/>
                    <a:pt x="31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29" y="74"/>
                    <a:pt x="27" y="75"/>
                    <a:pt x="26" y="76"/>
                  </a:cubicBezTo>
                  <a:cubicBezTo>
                    <a:pt x="24" y="78"/>
                    <a:pt x="23" y="78"/>
                    <a:pt x="22" y="78"/>
                  </a:cubicBezTo>
                  <a:cubicBezTo>
                    <a:pt x="20" y="78"/>
                    <a:pt x="19" y="77"/>
                    <a:pt x="17" y="75"/>
                  </a:cubicBezTo>
                  <a:cubicBezTo>
                    <a:pt x="16" y="73"/>
                    <a:pt x="14" y="72"/>
                    <a:pt x="12" y="72"/>
                  </a:cubicBezTo>
                  <a:cubicBezTo>
                    <a:pt x="12" y="72"/>
                    <a:pt x="11" y="72"/>
                    <a:pt x="11" y="72"/>
                  </a:cubicBezTo>
                  <a:cubicBezTo>
                    <a:pt x="10" y="72"/>
                    <a:pt x="10" y="72"/>
                    <a:pt x="9" y="73"/>
                  </a:cubicBezTo>
                  <a:cubicBezTo>
                    <a:pt x="9" y="73"/>
                    <a:pt x="8" y="73"/>
                    <a:pt x="8" y="73"/>
                  </a:cubicBezTo>
                  <a:cubicBezTo>
                    <a:pt x="7" y="73"/>
                    <a:pt x="6" y="73"/>
                    <a:pt x="5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4"/>
                    <a:pt x="0" y="74"/>
                    <a:pt x="0" y="75"/>
                  </a:cubicBezTo>
                  <a:cubicBezTo>
                    <a:pt x="0" y="76"/>
                    <a:pt x="0" y="78"/>
                    <a:pt x="1" y="79"/>
                  </a:cubicBezTo>
                  <a:cubicBezTo>
                    <a:pt x="3" y="83"/>
                    <a:pt x="6" y="86"/>
                    <a:pt x="8" y="90"/>
                  </a:cubicBezTo>
                  <a:cubicBezTo>
                    <a:pt x="11" y="94"/>
                    <a:pt x="14" y="99"/>
                    <a:pt x="16" y="104"/>
                  </a:cubicBezTo>
                  <a:cubicBezTo>
                    <a:pt x="17" y="105"/>
                    <a:pt x="17" y="106"/>
                    <a:pt x="18" y="106"/>
                  </a:cubicBezTo>
                  <a:cubicBezTo>
                    <a:pt x="19" y="107"/>
                    <a:pt x="19" y="108"/>
                    <a:pt x="20" y="109"/>
                  </a:cubicBezTo>
                  <a:cubicBezTo>
                    <a:pt x="20" y="110"/>
                    <a:pt x="20" y="112"/>
                    <a:pt x="20" y="113"/>
                  </a:cubicBezTo>
                  <a:cubicBezTo>
                    <a:pt x="20" y="114"/>
                    <a:pt x="20" y="116"/>
                    <a:pt x="21" y="117"/>
                  </a:cubicBezTo>
                  <a:cubicBezTo>
                    <a:pt x="22" y="122"/>
                    <a:pt x="25" y="125"/>
                    <a:pt x="28" y="129"/>
                  </a:cubicBezTo>
                  <a:cubicBezTo>
                    <a:pt x="28" y="129"/>
                    <a:pt x="28" y="129"/>
                    <a:pt x="28" y="129"/>
                  </a:cubicBezTo>
                  <a:cubicBezTo>
                    <a:pt x="29" y="130"/>
                    <a:pt x="29" y="131"/>
                    <a:pt x="30" y="132"/>
                  </a:cubicBezTo>
                  <a:cubicBezTo>
                    <a:pt x="30" y="133"/>
                    <a:pt x="31" y="134"/>
                    <a:pt x="32" y="135"/>
                  </a:cubicBezTo>
                  <a:cubicBezTo>
                    <a:pt x="33" y="136"/>
                    <a:pt x="34" y="137"/>
                    <a:pt x="36" y="139"/>
                  </a:cubicBezTo>
                  <a:cubicBezTo>
                    <a:pt x="37" y="139"/>
                    <a:pt x="37" y="139"/>
                    <a:pt x="37" y="140"/>
                  </a:cubicBezTo>
                  <a:cubicBezTo>
                    <a:pt x="39" y="141"/>
                    <a:pt x="40" y="142"/>
                    <a:pt x="42" y="142"/>
                  </a:cubicBezTo>
                  <a:cubicBezTo>
                    <a:pt x="43" y="143"/>
                    <a:pt x="44" y="143"/>
                    <a:pt x="46" y="144"/>
                  </a:cubicBezTo>
                  <a:cubicBezTo>
                    <a:pt x="47" y="145"/>
                    <a:pt x="47" y="145"/>
                    <a:pt x="47" y="145"/>
                  </a:cubicBezTo>
                  <a:cubicBezTo>
                    <a:pt x="48" y="145"/>
                    <a:pt x="49" y="146"/>
                    <a:pt x="50" y="146"/>
                  </a:cubicBezTo>
                  <a:cubicBezTo>
                    <a:pt x="51" y="146"/>
                    <a:pt x="52" y="146"/>
                    <a:pt x="53" y="147"/>
                  </a:cubicBezTo>
                  <a:cubicBezTo>
                    <a:pt x="57" y="149"/>
                    <a:pt x="57" y="153"/>
                    <a:pt x="57" y="158"/>
                  </a:cubicBezTo>
                  <a:cubicBezTo>
                    <a:pt x="57" y="161"/>
                    <a:pt x="57" y="161"/>
                    <a:pt x="57" y="161"/>
                  </a:cubicBezTo>
                  <a:cubicBezTo>
                    <a:pt x="66" y="161"/>
                    <a:pt x="66" y="161"/>
                    <a:pt x="66" y="161"/>
                  </a:cubicBezTo>
                  <a:cubicBezTo>
                    <a:pt x="69" y="162"/>
                    <a:pt x="69" y="164"/>
                    <a:pt x="68" y="168"/>
                  </a:cubicBezTo>
                  <a:cubicBezTo>
                    <a:pt x="68" y="169"/>
                    <a:pt x="68" y="170"/>
                    <a:pt x="68" y="170"/>
                  </a:cubicBezTo>
                  <a:cubicBezTo>
                    <a:pt x="68" y="171"/>
                    <a:pt x="68" y="172"/>
                    <a:pt x="68" y="173"/>
                  </a:cubicBezTo>
                  <a:cubicBezTo>
                    <a:pt x="67" y="176"/>
                    <a:pt x="67" y="178"/>
                    <a:pt x="67" y="180"/>
                  </a:cubicBezTo>
                  <a:cubicBezTo>
                    <a:pt x="67" y="183"/>
                    <a:pt x="69" y="184"/>
                    <a:pt x="70" y="185"/>
                  </a:cubicBezTo>
                  <a:cubicBezTo>
                    <a:pt x="71" y="186"/>
                    <a:pt x="71" y="186"/>
                    <a:pt x="72" y="187"/>
                  </a:cubicBezTo>
                  <a:cubicBezTo>
                    <a:pt x="73" y="188"/>
                    <a:pt x="75" y="190"/>
                    <a:pt x="76" y="192"/>
                  </a:cubicBezTo>
                  <a:cubicBezTo>
                    <a:pt x="76" y="193"/>
                    <a:pt x="76" y="194"/>
                    <a:pt x="76" y="194"/>
                  </a:cubicBezTo>
                  <a:cubicBezTo>
                    <a:pt x="77" y="196"/>
                    <a:pt x="77" y="197"/>
                    <a:pt x="78" y="198"/>
                  </a:cubicBezTo>
                  <a:cubicBezTo>
                    <a:pt x="79" y="198"/>
                    <a:pt x="80" y="198"/>
                    <a:pt x="81" y="198"/>
                  </a:cubicBezTo>
                  <a:cubicBezTo>
                    <a:pt x="82" y="198"/>
                    <a:pt x="82" y="198"/>
                    <a:pt x="83" y="198"/>
                  </a:cubicBezTo>
                  <a:cubicBezTo>
                    <a:pt x="84" y="198"/>
                    <a:pt x="84" y="198"/>
                    <a:pt x="84" y="198"/>
                  </a:cubicBezTo>
                  <a:cubicBezTo>
                    <a:pt x="84" y="198"/>
                    <a:pt x="85" y="198"/>
                    <a:pt x="85" y="198"/>
                  </a:cubicBezTo>
                  <a:cubicBezTo>
                    <a:pt x="89" y="198"/>
                    <a:pt x="93" y="199"/>
                    <a:pt x="97" y="200"/>
                  </a:cubicBezTo>
                  <a:cubicBezTo>
                    <a:pt x="97" y="201"/>
                    <a:pt x="98" y="201"/>
                    <a:pt x="98" y="201"/>
                  </a:cubicBezTo>
                  <a:cubicBezTo>
                    <a:pt x="101" y="202"/>
                    <a:pt x="105" y="204"/>
                    <a:pt x="105" y="206"/>
                  </a:cubicBezTo>
                  <a:cubicBezTo>
                    <a:pt x="105" y="207"/>
                    <a:pt x="105" y="207"/>
                    <a:pt x="105" y="208"/>
                  </a:cubicBezTo>
                  <a:cubicBezTo>
                    <a:pt x="105" y="208"/>
                    <a:pt x="105" y="208"/>
                    <a:pt x="105" y="209"/>
                  </a:cubicBezTo>
                  <a:cubicBezTo>
                    <a:pt x="104" y="210"/>
                    <a:pt x="104" y="210"/>
                    <a:pt x="104" y="210"/>
                  </a:cubicBezTo>
                  <a:cubicBezTo>
                    <a:pt x="108" y="212"/>
                    <a:pt x="108" y="212"/>
                    <a:pt x="108" y="212"/>
                  </a:cubicBezTo>
                  <a:cubicBezTo>
                    <a:pt x="108" y="212"/>
                    <a:pt x="108" y="212"/>
                    <a:pt x="108" y="212"/>
                  </a:cubicBezTo>
                  <a:cubicBezTo>
                    <a:pt x="108" y="213"/>
                    <a:pt x="108" y="213"/>
                    <a:pt x="108" y="213"/>
                  </a:cubicBezTo>
                  <a:cubicBezTo>
                    <a:pt x="109" y="214"/>
                    <a:pt x="109" y="214"/>
                    <a:pt x="109" y="214"/>
                  </a:cubicBezTo>
                  <a:cubicBezTo>
                    <a:pt x="110" y="214"/>
                    <a:pt x="110" y="214"/>
                    <a:pt x="110" y="214"/>
                  </a:cubicBezTo>
                  <a:cubicBezTo>
                    <a:pt x="112" y="214"/>
                    <a:pt x="113" y="215"/>
                    <a:pt x="115" y="216"/>
                  </a:cubicBezTo>
                  <a:cubicBezTo>
                    <a:pt x="116" y="216"/>
                    <a:pt x="117" y="217"/>
                    <a:pt x="118" y="217"/>
                  </a:cubicBezTo>
                  <a:cubicBezTo>
                    <a:pt x="119" y="217"/>
                    <a:pt x="121" y="217"/>
                    <a:pt x="122" y="217"/>
                  </a:cubicBezTo>
                  <a:cubicBezTo>
                    <a:pt x="126" y="217"/>
                    <a:pt x="126" y="217"/>
                    <a:pt x="126" y="217"/>
                  </a:cubicBezTo>
                  <a:cubicBezTo>
                    <a:pt x="127" y="217"/>
                    <a:pt x="128" y="217"/>
                    <a:pt x="130" y="217"/>
                  </a:cubicBezTo>
                  <a:cubicBezTo>
                    <a:pt x="132" y="217"/>
                    <a:pt x="133" y="218"/>
                    <a:pt x="134" y="219"/>
                  </a:cubicBezTo>
                  <a:cubicBezTo>
                    <a:pt x="135" y="220"/>
                    <a:pt x="137" y="221"/>
                    <a:pt x="139" y="222"/>
                  </a:cubicBezTo>
                  <a:cubicBezTo>
                    <a:pt x="141" y="222"/>
                    <a:pt x="142" y="222"/>
                    <a:pt x="144" y="222"/>
                  </a:cubicBezTo>
                  <a:cubicBezTo>
                    <a:pt x="145" y="222"/>
                    <a:pt x="147" y="222"/>
                    <a:pt x="148" y="222"/>
                  </a:cubicBezTo>
                  <a:cubicBezTo>
                    <a:pt x="149" y="222"/>
                    <a:pt x="150" y="221"/>
                    <a:pt x="151" y="221"/>
                  </a:cubicBezTo>
                  <a:cubicBezTo>
                    <a:pt x="153" y="220"/>
                    <a:pt x="155" y="220"/>
                    <a:pt x="158" y="220"/>
                  </a:cubicBezTo>
                  <a:cubicBezTo>
                    <a:pt x="158" y="220"/>
                    <a:pt x="159" y="220"/>
                    <a:pt x="160" y="220"/>
                  </a:cubicBezTo>
                  <a:cubicBezTo>
                    <a:pt x="163" y="221"/>
                    <a:pt x="165" y="222"/>
                    <a:pt x="168" y="224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98" y="195"/>
                    <a:pt x="198" y="195"/>
                    <a:pt x="198" y="195"/>
                  </a:cubicBezTo>
                  <a:cubicBezTo>
                    <a:pt x="198" y="194"/>
                    <a:pt x="199" y="194"/>
                    <a:pt x="200" y="193"/>
                  </a:cubicBezTo>
                  <a:cubicBezTo>
                    <a:pt x="200" y="193"/>
                    <a:pt x="201" y="192"/>
                    <a:pt x="202" y="191"/>
                  </a:cubicBezTo>
                  <a:cubicBezTo>
                    <a:pt x="203" y="189"/>
                    <a:pt x="203" y="188"/>
                    <a:pt x="203" y="185"/>
                  </a:cubicBezTo>
                  <a:cubicBezTo>
                    <a:pt x="203" y="185"/>
                    <a:pt x="203" y="184"/>
                    <a:pt x="203" y="183"/>
                  </a:cubicBezTo>
                  <a:cubicBezTo>
                    <a:pt x="203" y="181"/>
                    <a:pt x="203" y="181"/>
                    <a:pt x="204" y="180"/>
                  </a:cubicBezTo>
                  <a:cubicBezTo>
                    <a:pt x="204" y="180"/>
                    <a:pt x="205" y="179"/>
                    <a:pt x="205" y="179"/>
                  </a:cubicBezTo>
                  <a:cubicBezTo>
                    <a:pt x="207" y="176"/>
                    <a:pt x="206" y="174"/>
                    <a:pt x="206" y="171"/>
                  </a:cubicBezTo>
                  <a:cubicBezTo>
                    <a:pt x="206" y="170"/>
                    <a:pt x="206" y="169"/>
                    <a:pt x="206" y="167"/>
                  </a:cubicBezTo>
                  <a:cubicBezTo>
                    <a:pt x="206" y="165"/>
                    <a:pt x="207" y="165"/>
                    <a:pt x="208" y="164"/>
                  </a:cubicBezTo>
                  <a:cubicBezTo>
                    <a:pt x="209" y="163"/>
                    <a:pt x="210" y="163"/>
                    <a:pt x="210" y="163"/>
                  </a:cubicBezTo>
                  <a:cubicBezTo>
                    <a:pt x="211" y="162"/>
                    <a:pt x="212" y="162"/>
                    <a:pt x="213" y="160"/>
                  </a:cubicBezTo>
                  <a:cubicBezTo>
                    <a:pt x="215" y="157"/>
                    <a:pt x="216" y="154"/>
                    <a:pt x="218" y="151"/>
                  </a:cubicBezTo>
                  <a:cubicBezTo>
                    <a:pt x="218" y="149"/>
                    <a:pt x="219" y="148"/>
                    <a:pt x="220" y="147"/>
                  </a:cubicBezTo>
                  <a:cubicBezTo>
                    <a:pt x="221" y="145"/>
                    <a:pt x="223" y="143"/>
                    <a:pt x="223" y="140"/>
                  </a:cubicBezTo>
                  <a:cubicBezTo>
                    <a:pt x="223" y="137"/>
                    <a:pt x="222" y="135"/>
                    <a:pt x="220" y="134"/>
                  </a:cubicBezTo>
                  <a:cubicBezTo>
                    <a:pt x="219" y="133"/>
                    <a:pt x="219" y="132"/>
                    <a:pt x="218" y="131"/>
                  </a:cubicBezTo>
                  <a:cubicBezTo>
                    <a:pt x="216" y="128"/>
                    <a:pt x="217" y="123"/>
                    <a:pt x="218" y="120"/>
                  </a:cubicBezTo>
                  <a:cubicBezTo>
                    <a:pt x="218" y="119"/>
                    <a:pt x="218" y="119"/>
                    <a:pt x="218" y="118"/>
                  </a:cubicBezTo>
                  <a:cubicBezTo>
                    <a:pt x="218" y="117"/>
                    <a:pt x="219" y="116"/>
                    <a:pt x="218" y="114"/>
                  </a:cubicBezTo>
                  <a:cubicBezTo>
                    <a:pt x="218" y="113"/>
                    <a:pt x="217" y="112"/>
                    <a:pt x="216" y="111"/>
                  </a:cubicBezTo>
                  <a:cubicBezTo>
                    <a:pt x="215" y="110"/>
                    <a:pt x="215" y="109"/>
                    <a:pt x="215" y="108"/>
                  </a:cubicBezTo>
                  <a:cubicBezTo>
                    <a:pt x="214" y="106"/>
                    <a:pt x="215" y="106"/>
                    <a:pt x="217" y="105"/>
                  </a:cubicBezTo>
                  <a:cubicBezTo>
                    <a:pt x="217" y="105"/>
                    <a:pt x="218" y="105"/>
                    <a:pt x="219" y="104"/>
                  </a:cubicBezTo>
                  <a:cubicBezTo>
                    <a:pt x="219" y="103"/>
                    <a:pt x="219" y="102"/>
                    <a:pt x="219" y="100"/>
                  </a:cubicBezTo>
                  <a:cubicBezTo>
                    <a:pt x="219" y="99"/>
                    <a:pt x="219" y="98"/>
                    <a:pt x="220" y="97"/>
                  </a:cubicBezTo>
                  <a:cubicBezTo>
                    <a:pt x="220" y="96"/>
                    <a:pt x="221" y="95"/>
                    <a:pt x="221" y="95"/>
                  </a:cubicBezTo>
                  <a:cubicBezTo>
                    <a:pt x="222" y="94"/>
                    <a:pt x="222" y="93"/>
                    <a:pt x="223" y="93"/>
                  </a:cubicBezTo>
                  <a:cubicBezTo>
                    <a:pt x="224" y="91"/>
                    <a:pt x="224" y="88"/>
                    <a:pt x="223" y="84"/>
                  </a:cubicBezTo>
                  <a:cubicBezTo>
                    <a:pt x="223" y="83"/>
                    <a:pt x="223" y="81"/>
                    <a:pt x="223" y="80"/>
                  </a:cubicBezTo>
                  <a:cubicBezTo>
                    <a:pt x="223" y="77"/>
                    <a:pt x="223" y="74"/>
                    <a:pt x="223" y="71"/>
                  </a:cubicBezTo>
                  <a:cubicBezTo>
                    <a:pt x="223" y="68"/>
                    <a:pt x="223" y="65"/>
                    <a:pt x="223" y="62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7" name="Freeform 57"/>
            <p:cNvSpPr>
              <a:spLocks/>
            </p:cNvSpPr>
            <p:nvPr/>
          </p:nvSpPr>
          <p:spPr bwMode="auto">
            <a:xfrm>
              <a:off x="1984389" y="1078259"/>
              <a:ext cx="919602" cy="724282"/>
            </a:xfrm>
            <a:custGeom>
              <a:avLst/>
              <a:gdLst>
                <a:gd name="T0" fmla="*/ 424 w 454"/>
                <a:gd name="T1" fmla="*/ 22 h 389"/>
                <a:gd name="T2" fmla="*/ 383 w 454"/>
                <a:gd name="T3" fmla="*/ 13 h 389"/>
                <a:gd name="T4" fmla="*/ 164 w 454"/>
                <a:gd name="T5" fmla="*/ 134 h 389"/>
                <a:gd name="T6" fmla="*/ 117 w 454"/>
                <a:gd name="T7" fmla="*/ 155 h 389"/>
                <a:gd name="T8" fmla="*/ 116 w 454"/>
                <a:gd name="T9" fmla="*/ 224 h 389"/>
                <a:gd name="T10" fmla="*/ 104 w 454"/>
                <a:gd name="T11" fmla="*/ 259 h 389"/>
                <a:gd name="T12" fmla="*/ 94 w 454"/>
                <a:gd name="T13" fmla="*/ 267 h 389"/>
                <a:gd name="T14" fmla="*/ 82 w 454"/>
                <a:gd name="T15" fmla="*/ 268 h 389"/>
                <a:gd name="T16" fmla="*/ 72 w 454"/>
                <a:gd name="T17" fmla="*/ 270 h 389"/>
                <a:gd name="T18" fmla="*/ 56 w 454"/>
                <a:gd name="T19" fmla="*/ 270 h 389"/>
                <a:gd name="T20" fmla="*/ 28 w 454"/>
                <a:gd name="T21" fmla="*/ 277 h 389"/>
                <a:gd name="T22" fmla="*/ 9 w 454"/>
                <a:gd name="T23" fmla="*/ 281 h 389"/>
                <a:gd name="T24" fmla="*/ 1 w 454"/>
                <a:gd name="T25" fmla="*/ 293 h 389"/>
                <a:gd name="T26" fmla="*/ 3 w 454"/>
                <a:gd name="T27" fmla="*/ 301 h 389"/>
                <a:gd name="T28" fmla="*/ 7 w 454"/>
                <a:gd name="T29" fmla="*/ 310 h 389"/>
                <a:gd name="T30" fmla="*/ 24 w 454"/>
                <a:gd name="T31" fmla="*/ 328 h 389"/>
                <a:gd name="T32" fmla="*/ 23 w 454"/>
                <a:gd name="T33" fmla="*/ 337 h 389"/>
                <a:gd name="T34" fmla="*/ 25 w 454"/>
                <a:gd name="T35" fmla="*/ 345 h 389"/>
                <a:gd name="T36" fmla="*/ 48 w 454"/>
                <a:gd name="T37" fmla="*/ 359 h 389"/>
                <a:gd name="T38" fmla="*/ 60 w 454"/>
                <a:gd name="T39" fmla="*/ 363 h 389"/>
                <a:gd name="T40" fmla="*/ 60 w 454"/>
                <a:gd name="T41" fmla="*/ 377 h 389"/>
                <a:gd name="T42" fmla="*/ 66 w 454"/>
                <a:gd name="T43" fmla="*/ 379 h 389"/>
                <a:gd name="T44" fmla="*/ 68 w 454"/>
                <a:gd name="T45" fmla="*/ 369 h 389"/>
                <a:gd name="T46" fmla="*/ 76 w 454"/>
                <a:gd name="T47" fmla="*/ 366 h 389"/>
                <a:gd name="T48" fmla="*/ 87 w 454"/>
                <a:gd name="T49" fmla="*/ 377 h 389"/>
                <a:gd name="T50" fmla="*/ 97 w 454"/>
                <a:gd name="T51" fmla="*/ 387 h 389"/>
                <a:gd name="T52" fmla="*/ 100 w 454"/>
                <a:gd name="T53" fmla="*/ 386 h 389"/>
                <a:gd name="T54" fmla="*/ 104 w 454"/>
                <a:gd name="T55" fmla="*/ 358 h 389"/>
                <a:gd name="T56" fmla="*/ 114 w 454"/>
                <a:gd name="T57" fmla="*/ 340 h 389"/>
                <a:gd name="T58" fmla="*/ 121 w 454"/>
                <a:gd name="T59" fmla="*/ 325 h 389"/>
                <a:gd name="T60" fmla="*/ 139 w 454"/>
                <a:gd name="T61" fmla="*/ 323 h 389"/>
                <a:gd name="T62" fmla="*/ 154 w 454"/>
                <a:gd name="T63" fmla="*/ 318 h 389"/>
                <a:gd name="T64" fmla="*/ 170 w 454"/>
                <a:gd name="T65" fmla="*/ 325 h 389"/>
                <a:gd name="T66" fmla="*/ 176 w 454"/>
                <a:gd name="T67" fmla="*/ 325 h 389"/>
                <a:gd name="T68" fmla="*/ 199 w 454"/>
                <a:gd name="T69" fmla="*/ 346 h 389"/>
                <a:gd name="T70" fmla="*/ 225 w 454"/>
                <a:gd name="T71" fmla="*/ 336 h 389"/>
                <a:gd name="T72" fmla="*/ 254 w 454"/>
                <a:gd name="T73" fmla="*/ 352 h 389"/>
                <a:gd name="T74" fmla="*/ 267 w 454"/>
                <a:gd name="T75" fmla="*/ 352 h 389"/>
                <a:gd name="T76" fmla="*/ 271 w 454"/>
                <a:gd name="T77" fmla="*/ 350 h 389"/>
                <a:gd name="T78" fmla="*/ 276 w 454"/>
                <a:gd name="T79" fmla="*/ 348 h 389"/>
                <a:gd name="T80" fmla="*/ 321 w 454"/>
                <a:gd name="T81" fmla="*/ 335 h 389"/>
                <a:gd name="T82" fmla="*/ 341 w 454"/>
                <a:gd name="T83" fmla="*/ 342 h 389"/>
                <a:gd name="T84" fmla="*/ 359 w 454"/>
                <a:gd name="T85" fmla="*/ 339 h 389"/>
                <a:gd name="T86" fmla="*/ 374 w 454"/>
                <a:gd name="T87" fmla="*/ 328 h 389"/>
                <a:gd name="T88" fmla="*/ 385 w 454"/>
                <a:gd name="T89" fmla="*/ 324 h 389"/>
                <a:gd name="T90" fmla="*/ 383 w 454"/>
                <a:gd name="T91" fmla="*/ 297 h 389"/>
                <a:gd name="T92" fmla="*/ 400 w 454"/>
                <a:gd name="T93" fmla="*/ 271 h 389"/>
                <a:gd name="T94" fmla="*/ 434 w 454"/>
                <a:gd name="T95" fmla="*/ 225 h 389"/>
                <a:gd name="T96" fmla="*/ 454 w 454"/>
                <a:gd name="T97" fmla="*/ 105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4" h="389">
                  <a:moveTo>
                    <a:pt x="443" y="90"/>
                  </a:moveTo>
                  <a:cubicBezTo>
                    <a:pt x="440" y="82"/>
                    <a:pt x="440" y="82"/>
                    <a:pt x="440" y="82"/>
                  </a:cubicBezTo>
                  <a:cubicBezTo>
                    <a:pt x="429" y="65"/>
                    <a:pt x="429" y="65"/>
                    <a:pt x="429" y="65"/>
                  </a:cubicBezTo>
                  <a:cubicBezTo>
                    <a:pt x="429" y="64"/>
                    <a:pt x="429" y="41"/>
                    <a:pt x="424" y="22"/>
                  </a:cubicBezTo>
                  <a:cubicBezTo>
                    <a:pt x="423" y="19"/>
                    <a:pt x="423" y="19"/>
                    <a:pt x="423" y="19"/>
                  </a:cubicBezTo>
                  <a:cubicBezTo>
                    <a:pt x="421" y="20"/>
                    <a:pt x="421" y="20"/>
                    <a:pt x="421" y="20"/>
                  </a:cubicBezTo>
                  <a:cubicBezTo>
                    <a:pt x="402" y="31"/>
                    <a:pt x="402" y="31"/>
                    <a:pt x="402" y="31"/>
                  </a:cubicBezTo>
                  <a:cubicBezTo>
                    <a:pt x="383" y="13"/>
                    <a:pt x="383" y="13"/>
                    <a:pt x="383" y="13"/>
                  </a:cubicBezTo>
                  <a:cubicBezTo>
                    <a:pt x="379" y="9"/>
                    <a:pt x="338" y="1"/>
                    <a:pt x="337" y="1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218" y="81"/>
                    <a:pt x="218" y="81"/>
                    <a:pt x="218" y="81"/>
                  </a:cubicBezTo>
                  <a:cubicBezTo>
                    <a:pt x="203" y="90"/>
                    <a:pt x="164" y="134"/>
                    <a:pt x="164" y="134"/>
                  </a:cubicBezTo>
                  <a:cubicBezTo>
                    <a:pt x="116" y="144"/>
                    <a:pt x="116" y="144"/>
                    <a:pt x="116" y="144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18" y="148"/>
                    <a:pt x="117" y="150"/>
                    <a:pt x="117" y="152"/>
                  </a:cubicBezTo>
                  <a:cubicBezTo>
                    <a:pt x="117" y="153"/>
                    <a:pt x="117" y="154"/>
                    <a:pt x="117" y="155"/>
                  </a:cubicBezTo>
                  <a:cubicBezTo>
                    <a:pt x="116" y="159"/>
                    <a:pt x="117" y="162"/>
                    <a:pt x="117" y="166"/>
                  </a:cubicBezTo>
                  <a:cubicBezTo>
                    <a:pt x="117" y="169"/>
                    <a:pt x="117" y="172"/>
                    <a:pt x="117" y="176"/>
                  </a:cubicBezTo>
                  <a:cubicBezTo>
                    <a:pt x="116" y="190"/>
                    <a:pt x="116" y="204"/>
                    <a:pt x="116" y="218"/>
                  </a:cubicBezTo>
                  <a:cubicBezTo>
                    <a:pt x="116" y="224"/>
                    <a:pt x="116" y="224"/>
                    <a:pt x="116" y="224"/>
                  </a:cubicBezTo>
                  <a:cubicBezTo>
                    <a:pt x="116" y="230"/>
                    <a:pt x="114" y="235"/>
                    <a:pt x="111" y="240"/>
                  </a:cubicBezTo>
                  <a:cubicBezTo>
                    <a:pt x="110" y="242"/>
                    <a:pt x="110" y="245"/>
                    <a:pt x="109" y="248"/>
                  </a:cubicBezTo>
                  <a:cubicBezTo>
                    <a:pt x="109" y="251"/>
                    <a:pt x="109" y="254"/>
                    <a:pt x="107" y="256"/>
                  </a:cubicBezTo>
                  <a:cubicBezTo>
                    <a:pt x="106" y="258"/>
                    <a:pt x="105" y="258"/>
                    <a:pt x="104" y="259"/>
                  </a:cubicBezTo>
                  <a:cubicBezTo>
                    <a:pt x="103" y="259"/>
                    <a:pt x="102" y="259"/>
                    <a:pt x="102" y="260"/>
                  </a:cubicBezTo>
                  <a:cubicBezTo>
                    <a:pt x="100" y="261"/>
                    <a:pt x="100" y="262"/>
                    <a:pt x="99" y="263"/>
                  </a:cubicBezTo>
                  <a:cubicBezTo>
                    <a:pt x="99" y="264"/>
                    <a:pt x="98" y="265"/>
                    <a:pt x="98" y="265"/>
                  </a:cubicBezTo>
                  <a:cubicBezTo>
                    <a:pt x="97" y="267"/>
                    <a:pt x="96" y="267"/>
                    <a:pt x="94" y="267"/>
                  </a:cubicBezTo>
                  <a:cubicBezTo>
                    <a:pt x="93" y="267"/>
                    <a:pt x="92" y="267"/>
                    <a:pt x="91" y="267"/>
                  </a:cubicBezTo>
                  <a:cubicBezTo>
                    <a:pt x="90" y="267"/>
                    <a:pt x="88" y="266"/>
                    <a:pt x="87" y="266"/>
                  </a:cubicBezTo>
                  <a:cubicBezTo>
                    <a:pt x="86" y="266"/>
                    <a:pt x="86" y="266"/>
                    <a:pt x="85" y="267"/>
                  </a:cubicBezTo>
                  <a:cubicBezTo>
                    <a:pt x="84" y="267"/>
                    <a:pt x="83" y="268"/>
                    <a:pt x="82" y="268"/>
                  </a:cubicBezTo>
                  <a:cubicBezTo>
                    <a:pt x="81" y="269"/>
                    <a:pt x="80" y="269"/>
                    <a:pt x="79" y="270"/>
                  </a:cubicBezTo>
                  <a:cubicBezTo>
                    <a:pt x="78" y="270"/>
                    <a:pt x="77" y="270"/>
                    <a:pt x="75" y="270"/>
                  </a:cubicBezTo>
                  <a:cubicBezTo>
                    <a:pt x="75" y="270"/>
                    <a:pt x="74" y="270"/>
                    <a:pt x="73" y="270"/>
                  </a:cubicBezTo>
                  <a:cubicBezTo>
                    <a:pt x="72" y="270"/>
                    <a:pt x="72" y="270"/>
                    <a:pt x="72" y="270"/>
                  </a:cubicBezTo>
                  <a:cubicBezTo>
                    <a:pt x="71" y="270"/>
                    <a:pt x="70" y="270"/>
                    <a:pt x="70" y="270"/>
                  </a:cubicBezTo>
                  <a:cubicBezTo>
                    <a:pt x="67" y="270"/>
                    <a:pt x="65" y="270"/>
                    <a:pt x="63" y="270"/>
                  </a:cubicBezTo>
                  <a:cubicBezTo>
                    <a:pt x="61" y="270"/>
                    <a:pt x="59" y="270"/>
                    <a:pt x="57" y="270"/>
                  </a:cubicBezTo>
                  <a:cubicBezTo>
                    <a:pt x="56" y="270"/>
                    <a:pt x="56" y="270"/>
                    <a:pt x="56" y="270"/>
                  </a:cubicBezTo>
                  <a:cubicBezTo>
                    <a:pt x="54" y="270"/>
                    <a:pt x="53" y="270"/>
                    <a:pt x="51" y="270"/>
                  </a:cubicBezTo>
                  <a:cubicBezTo>
                    <a:pt x="49" y="270"/>
                    <a:pt x="47" y="270"/>
                    <a:pt x="45" y="270"/>
                  </a:cubicBezTo>
                  <a:cubicBezTo>
                    <a:pt x="44" y="270"/>
                    <a:pt x="42" y="270"/>
                    <a:pt x="40" y="270"/>
                  </a:cubicBezTo>
                  <a:cubicBezTo>
                    <a:pt x="34" y="271"/>
                    <a:pt x="32" y="273"/>
                    <a:pt x="28" y="277"/>
                  </a:cubicBezTo>
                  <a:cubicBezTo>
                    <a:pt x="26" y="280"/>
                    <a:pt x="23" y="281"/>
                    <a:pt x="19" y="281"/>
                  </a:cubicBezTo>
                  <a:cubicBezTo>
                    <a:pt x="16" y="281"/>
                    <a:pt x="16" y="281"/>
                    <a:pt x="16" y="281"/>
                  </a:cubicBezTo>
                  <a:cubicBezTo>
                    <a:pt x="15" y="281"/>
                    <a:pt x="14" y="281"/>
                    <a:pt x="13" y="281"/>
                  </a:cubicBezTo>
                  <a:cubicBezTo>
                    <a:pt x="12" y="281"/>
                    <a:pt x="11" y="281"/>
                    <a:pt x="9" y="281"/>
                  </a:cubicBezTo>
                  <a:cubicBezTo>
                    <a:pt x="8" y="281"/>
                    <a:pt x="6" y="281"/>
                    <a:pt x="4" y="280"/>
                  </a:cubicBezTo>
                  <a:cubicBezTo>
                    <a:pt x="1" y="280"/>
                    <a:pt x="1" y="280"/>
                    <a:pt x="1" y="280"/>
                  </a:cubicBezTo>
                  <a:cubicBezTo>
                    <a:pt x="2" y="283"/>
                    <a:pt x="2" y="283"/>
                    <a:pt x="2" y="283"/>
                  </a:cubicBezTo>
                  <a:cubicBezTo>
                    <a:pt x="2" y="286"/>
                    <a:pt x="1" y="290"/>
                    <a:pt x="1" y="293"/>
                  </a:cubicBezTo>
                  <a:cubicBezTo>
                    <a:pt x="1" y="294"/>
                    <a:pt x="1" y="294"/>
                    <a:pt x="1" y="294"/>
                  </a:cubicBezTo>
                  <a:cubicBezTo>
                    <a:pt x="1" y="294"/>
                    <a:pt x="0" y="295"/>
                    <a:pt x="0" y="295"/>
                  </a:cubicBezTo>
                  <a:cubicBezTo>
                    <a:pt x="0" y="297"/>
                    <a:pt x="0" y="298"/>
                    <a:pt x="1" y="299"/>
                  </a:cubicBezTo>
                  <a:cubicBezTo>
                    <a:pt x="2" y="300"/>
                    <a:pt x="2" y="300"/>
                    <a:pt x="3" y="301"/>
                  </a:cubicBezTo>
                  <a:cubicBezTo>
                    <a:pt x="4" y="301"/>
                    <a:pt x="5" y="301"/>
                    <a:pt x="5" y="302"/>
                  </a:cubicBezTo>
                  <a:cubicBezTo>
                    <a:pt x="6" y="303"/>
                    <a:pt x="6" y="304"/>
                    <a:pt x="6" y="306"/>
                  </a:cubicBezTo>
                  <a:cubicBezTo>
                    <a:pt x="6" y="306"/>
                    <a:pt x="6" y="306"/>
                    <a:pt x="6" y="306"/>
                  </a:cubicBezTo>
                  <a:cubicBezTo>
                    <a:pt x="7" y="308"/>
                    <a:pt x="7" y="309"/>
                    <a:pt x="7" y="310"/>
                  </a:cubicBezTo>
                  <a:cubicBezTo>
                    <a:pt x="7" y="313"/>
                    <a:pt x="7" y="315"/>
                    <a:pt x="10" y="318"/>
                  </a:cubicBezTo>
                  <a:cubicBezTo>
                    <a:pt x="12" y="319"/>
                    <a:pt x="12" y="319"/>
                    <a:pt x="12" y="319"/>
                  </a:cubicBezTo>
                  <a:cubicBezTo>
                    <a:pt x="15" y="322"/>
                    <a:pt x="18" y="324"/>
                    <a:pt x="21" y="326"/>
                  </a:cubicBezTo>
                  <a:cubicBezTo>
                    <a:pt x="22" y="327"/>
                    <a:pt x="23" y="328"/>
                    <a:pt x="24" y="328"/>
                  </a:cubicBezTo>
                  <a:cubicBezTo>
                    <a:pt x="26" y="329"/>
                    <a:pt x="28" y="330"/>
                    <a:pt x="30" y="332"/>
                  </a:cubicBezTo>
                  <a:cubicBezTo>
                    <a:pt x="31" y="334"/>
                    <a:pt x="32" y="335"/>
                    <a:pt x="32" y="335"/>
                  </a:cubicBezTo>
                  <a:cubicBezTo>
                    <a:pt x="31" y="337"/>
                    <a:pt x="27" y="337"/>
                    <a:pt x="26" y="337"/>
                  </a:cubicBezTo>
                  <a:cubicBezTo>
                    <a:pt x="23" y="337"/>
                    <a:pt x="23" y="337"/>
                    <a:pt x="23" y="337"/>
                  </a:cubicBezTo>
                  <a:cubicBezTo>
                    <a:pt x="23" y="339"/>
                    <a:pt x="23" y="339"/>
                    <a:pt x="23" y="339"/>
                  </a:cubicBezTo>
                  <a:cubicBezTo>
                    <a:pt x="23" y="341"/>
                    <a:pt x="24" y="342"/>
                    <a:pt x="24" y="344"/>
                  </a:cubicBezTo>
                  <a:cubicBezTo>
                    <a:pt x="24" y="345"/>
                    <a:pt x="24" y="345"/>
                    <a:pt x="24" y="345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0" y="346"/>
                    <a:pt x="32" y="350"/>
                    <a:pt x="35" y="353"/>
                  </a:cubicBezTo>
                  <a:cubicBezTo>
                    <a:pt x="37" y="355"/>
                    <a:pt x="38" y="356"/>
                    <a:pt x="39" y="357"/>
                  </a:cubicBezTo>
                  <a:cubicBezTo>
                    <a:pt x="41" y="359"/>
                    <a:pt x="43" y="360"/>
                    <a:pt x="45" y="360"/>
                  </a:cubicBezTo>
                  <a:cubicBezTo>
                    <a:pt x="46" y="360"/>
                    <a:pt x="47" y="360"/>
                    <a:pt x="48" y="359"/>
                  </a:cubicBezTo>
                  <a:cubicBezTo>
                    <a:pt x="48" y="359"/>
                    <a:pt x="49" y="358"/>
                    <a:pt x="50" y="358"/>
                  </a:cubicBezTo>
                  <a:cubicBezTo>
                    <a:pt x="51" y="357"/>
                    <a:pt x="53" y="355"/>
                    <a:pt x="54" y="355"/>
                  </a:cubicBezTo>
                  <a:cubicBezTo>
                    <a:pt x="55" y="355"/>
                    <a:pt x="55" y="355"/>
                    <a:pt x="55" y="355"/>
                  </a:cubicBezTo>
                  <a:cubicBezTo>
                    <a:pt x="57" y="356"/>
                    <a:pt x="60" y="361"/>
                    <a:pt x="60" y="363"/>
                  </a:cubicBezTo>
                  <a:cubicBezTo>
                    <a:pt x="60" y="364"/>
                    <a:pt x="59" y="365"/>
                    <a:pt x="57" y="366"/>
                  </a:cubicBezTo>
                  <a:cubicBezTo>
                    <a:pt x="56" y="367"/>
                    <a:pt x="55" y="367"/>
                    <a:pt x="55" y="369"/>
                  </a:cubicBezTo>
                  <a:cubicBezTo>
                    <a:pt x="55" y="371"/>
                    <a:pt x="56" y="372"/>
                    <a:pt x="59" y="375"/>
                  </a:cubicBezTo>
                  <a:cubicBezTo>
                    <a:pt x="59" y="376"/>
                    <a:pt x="60" y="376"/>
                    <a:pt x="60" y="377"/>
                  </a:cubicBezTo>
                  <a:cubicBezTo>
                    <a:pt x="61" y="378"/>
                    <a:pt x="61" y="378"/>
                    <a:pt x="61" y="378"/>
                  </a:cubicBezTo>
                  <a:cubicBezTo>
                    <a:pt x="62" y="378"/>
                    <a:pt x="62" y="379"/>
                    <a:pt x="63" y="380"/>
                  </a:cubicBezTo>
                  <a:cubicBezTo>
                    <a:pt x="67" y="386"/>
                    <a:pt x="67" y="386"/>
                    <a:pt x="67" y="386"/>
                  </a:cubicBezTo>
                  <a:cubicBezTo>
                    <a:pt x="66" y="379"/>
                    <a:pt x="66" y="379"/>
                    <a:pt x="66" y="379"/>
                  </a:cubicBezTo>
                  <a:cubicBezTo>
                    <a:pt x="66" y="378"/>
                    <a:pt x="66" y="377"/>
                    <a:pt x="66" y="376"/>
                  </a:cubicBezTo>
                  <a:cubicBezTo>
                    <a:pt x="66" y="376"/>
                    <a:pt x="66" y="375"/>
                    <a:pt x="65" y="375"/>
                  </a:cubicBezTo>
                  <a:cubicBezTo>
                    <a:pt x="64" y="373"/>
                    <a:pt x="64" y="372"/>
                    <a:pt x="64" y="371"/>
                  </a:cubicBezTo>
                  <a:cubicBezTo>
                    <a:pt x="65" y="371"/>
                    <a:pt x="67" y="370"/>
                    <a:pt x="68" y="369"/>
                  </a:cubicBezTo>
                  <a:cubicBezTo>
                    <a:pt x="68" y="369"/>
                    <a:pt x="69" y="369"/>
                    <a:pt x="69" y="369"/>
                  </a:cubicBezTo>
                  <a:cubicBezTo>
                    <a:pt x="70" y="368"/>
                    <a:pt x="70" y="368"/>
                    <a:pt x="70" y="368"/>
                  </a:cubicBezTo>
                  <a:cubicBezTo>
                    <a:pt x="72" y="367"/>
                    <a:pt x="74" y="366"/>
                    <a:pt x="75" y="366"/>
                  </a:cubicBezTo>
                  <a:cubicBezTo>
                    <a:pt x="76" y="366"/>
                    <a:pt x="76" y="366"/>
                    <a:pt x="76" y="366"/>
                  </a:cubicBezTo>
                  <a:cubicBezTo>
                    <a:pt x="77" y="366"/>
                    <a:pt x="79" y="368"/>
                    <a:pt x="80" y="369"/>
                  </a:cubicBezTo>
                  <a:cubicBezTo>
                    <a:pt x="80" y="370"/>
                    <a:pt x="81" y="370"/>
                    <a:pt x="81" y="371"/>
                  </a:cubicBezTo>
                  <a:cubicBezTo>
                    <a:pt x="83" y="372"/>
                    <a:pt x="84" y="373"/>
                    <a:pt x="85" y="375"/>
                  </a:cubicBezTo>
                  <a:cubicBezTo>
                    <a:pt x="87" y="377"/>
                    <a:pt x="87" y="377"/>
                    <a:pt x="87" y="377"/>
                  </a:cubicBezTo>
                  <a:cubicBezTo>
                    <a:pt x="88" y="378"/>
                    <a:pt x="89" y="379"/>
                    <a:pt x="90" y="380"/>
                  </a:cubicBezTo>
                  <a:cubicBezTo>
                    <a:pt x="91" y="381"/>
                    <a:pt x="92" y="382"/>
                    <a:pt x="93" y="383"/>
                  </a:cubicBezTo>
                  <a:cubicBezTo>
                    <a:pt x="94" y="384"/>
                    <a:pt x="94" y="384"/>
                    <a:pt x="94" y="384"/>
                  </a:cubicBezTo>
                  <a:cubicBezTo>
                    <a:pt x="95" y="385"/>
                    <a:pt x="96" y="386"/>
                    <a:pt x="97" y="387"/>
                  </a:cubicBezTo>
                  <a:cubicBezTo>
                    <a:pt x="98" y="385"/>
                    <a:pt x="98" y="385"/>
                    <a:pt x="98" y="385"/>
                  </a:cubicBezTo>
                  <a:cubicBezTo>
                    <a:pt x="97" y="387"/>
                    <a:pt x="97" y="387"/>
                    <a:pt x="97" y="387"/>
                  </a:cubicBezTo>
                  <a:cubicBezTo>
                    <a:pt x="99" y="389"/>
                    <a:pt x="99" y="389"/>
                    <a:pt x="99" y="389"/>
                  </a:cubicBezTo>
                  <a:cubicBezTo>
                    <a:pt x="100" y="386"/>
                    <a:pt x="100" y="386"/>
                    <a:pt x="100" y="386"/>
                  </a:cubicBezTo>
                  <a:cubicBezTo>
                    <a:pt x="102" y="382"/>
                    <a:pt x="101" y="377"/>
                    <a:pt x="100" y="373"/>
                  </a:cubicBezTo>
                  <a:cubicBezTo>
                    <a:pt x="100" y="372"/>
                    <a:pt x="100" y="370"/>
                    <a:pt x="99" y="369"/>
                  </a:cubicBezTo>
                  <a:cubicBezTo>
                    <a:pt x="99" y="365"/>
                    <a:pt x="99" y="362"/>
                    <a:pt x="101" y="360"/>
                  </a:cubicBezTo>
                  <a:cubicBezTo>
                    <a:pt x="102" y="359"/>
                    <a:pt x="103" y="359"/>
                    <a:pt x="104" y="358"/>
                  </a:cubicBezTo>
                  <a:cubicBezTo>
                    <a:pt x="105" y="357"/>
                    <a:pt x="106" y="356"/>
                    <a:pt x="107" y="355"/>
                  </a:cubicBezTo>
                  <a:cubicBezTo>
                    <a:pt x="108" y="354"/>
                    <a:pt x="108" y="353"/>
                    <a:pt x="109" y="352"/>
                  </a:cubicBezTo>
                  <a:cubicBezTo>
                    <a:pt x="110" y="351"/>
                    <a:pt x="112" y="349"/>
                    <a:pt x="113" y="348"/>
                  </a:cubicBezTo>
                  <a:cubicBezTo>
                    <a:pt x="114" y="345"/>
                    <a:pt x="114" y="343"/>
                    <a:pt x="114" y="340"/>
                  </a:cubicBezTo>
                  <a:cubicBezTo>
                    <a:pt x="114" y="340"/>
                    <a:pt x="114" y="339"/>
                    <a:pt x="114" y="339"/>
                  </a:cubicBezTo>
                  <a:cubicBezTo>
                    <a:pt x="114" y="338"/>
                    <a:pt x="114" y="337"/>
                    <a:pt x="114" y="337"/>
                  </a:cubicBezTo>
                  <a:cubicBezTo>
                    <a:pt x="114" y="334"/>
                    <a:pt x="114" y="331"/>
                    <a:pt x="115" y="330"/>
                  </a:cubicBezTo>
                  <a:cubicBezTo>
                    <a:pt x="116" y="328"/>
                    <a:pt x="118" y="326"/>
                    <a:pt x="121" y="325"/>
                  </a:cubicBezTo>
                  <a:cubicBezTo>
                    <a:pt x="122" y="325"/>
                    <a:pt x="122" y="324"/>
                    <a:pt x="123" y="324"/>
                  </a:cubicBezTo>
                  <a:cubicBezTo>
                    <a:pt x="125" y="323"/>
                    <a:pt x="127" y="322"/>
                    <a:pt x="130" y="322"/>
                  </a:cubicBezTo>
                  <a:cubicBezTo>
                    <a:pt x="132" y="322"/>
                    <a:pt x="133" y="322"/>
                    <a:pt x="135" y="323"/>
                  </a:cubicBezTo>
                  <a:cubicBezTo>
                    <a:pt x="136" y="323"/>
                    <a:pt x="138" y="323"/>
                    <a:pt x="139" y="323"/>
                  </a:cubicBezTo>
                  <a:cubicBezTo>
                    <a:pt x="140" y="323"/>
                    <a:pt x="141" y="323"/>
                    <a:pt x="142" y="323"/>
                  </a:cubicBezTo>
                  <a:cubicBezTo>
                    <a:pt x="144" y="322"/>
                    <a:pt x="146" y="321"/>
                    <a:pt x="147" y="320"/>
                  </a:cubicBezTo>
                  <a:cubicBezTo>
                    <a:pt x="149" y="319"/>
                    <a:pt x="150" y="317"/>
                    <a:pt x="152" y="317"/>
                  </a:cubicBezTo>
                  <a:cubicBezTo>
                    <a:pt x="153" y="317"/>
                    <a:pt x="153" y="317"/>
                    <a:pt x="154" y="318"/>
                  </a:cubicBezTo>
                  <a:cubicBezTo>
                    <a:pt x="155" y="318"/>
                    <a:pt x="155" y="318"/>
                    <a:pt x="156" y="318"/>
                  </a:cubicBezTo>
                  <a:cubicBezTo>
                    <a:pt x="159" y="319"/>
                    <a:pt x="163" y="320"/>
                    <a:pt x="165" y="322"/>
                  </a:cubicBezTo>
                  <a:cubicBezTo>
                    <a:pt x="166" y="322"/>
                    <a:pt x="166" y="323"/>
                    <a:pt x="167" y="323"/>
                  </a:cubicBezTo>
                  <a:cubicBezTo>
                    <a:pt x="168" y="324"/>
                    <a:pt x="168" y="325"/>
                    <a:pt x="170" y="325"/>
                  </a:cubicBezTo>
                  <a:cubicBezTo>
                    <a:pt x="170" y="325"/>
                    <a:pt x="170" y="325"/>
                    <a:pt x="171" y="325"/>
                  </a:cubicBezTo>
                  <a:cubicBezTo>
                    <a:pt x="171" y="325"/>
                    <a:pt x="172" y="325"/>
                    <a:pt x="173" y="325"/>
                  </a:cubicBezTo>
                  <a:cubicBezTo>
                    <a:pt x="173" y="325"/>
                    <a:pt x="174" y="324"/>
                    <a:pt x="175" y="324"/>
                  </a:cubicBezTo>
                  <a:cubicBezTo>
                    <a:pt x="175" y="324"/>
                    <a:pt x="176" y="324"/>
                    <a:pt x="176" y="325"/>
                  </a:cubicBezTo>
                  <a:cubicBezTo>
                    <a:pt x="180" y="326"/>
                    <a:pt x="184" y="330"/>
                    <a:pt x="185" y="332"/>
                  </a:cubicBezTo>
                  <a:cubicBezTo>
                    <a:pt x="186" y="333"/>
                    <a:pt x="187" y="335"/>
                    <a:pt x="188" y="337"/>
                  </a:cubicBezTo>
                  <a:cubicBezTo>
                    <a:pt x="190" y="342"/>
                    <a:pt x="192" y="346"/>
                    <a:pt x="196" y="346"/>
                  </a:cubicBezTo>
                  <a:cubicBezTo>
                    <a:pt x="197" y="346"/>
                    <a:pt x="198" y="346"/>
                    <a:pt x="199" y="346"/>
                  </a:cubicBezTo>
                  <a:cubicBezTo>
                    <a:pt x="202" y="344"/>
                    <a:pt x="205" y="343"/>
                    <a:pt x="208" y="341"/>
                  </a:cubicBezTo>
                  <a:cubicBezTo>
                    <a:pt x="209" y="341"/>
                    <a:pt x="210" y="340"/>
                    <a:pt x="212" y="339"/>
                  </a:cubicBezTo>
                  <a:cubicBezTo>
                    <a:pt x="215" y="337"/>
                    <a:pt x="217" y="335"/>
                    <a:pt x="221" y="335"/>
                  </a:cubicBezTo>
                  <a:cubicBezTo>
                    <a:pt x="222" y="335"/>
                    <a:pt x="223" y="336"/>
                    <a:pt x="225" y="336"/>
                  </a:cubicBezTo>
                  <a:cubicBezTo>
                    <a:pt x="229" y="337"/>
                    <a:pt x="232" y="340"/>
                    <a:pt x="236" y="343"/>
                  </a:cubicBezTo>
                  <a:cubicBezTo>
                    <a:pt x="237" y="344"/>
                    <a:pt x="237" y="344"/>
                    <a:pt x="237" y="344"/>
                  </a:cubicBezTo>
                  <a:cubicBezTo>
                    <a:pt x="241" y="348"/>
                    <a:pt x="248" y="351"/>
                    <a:pt x="253" y="352"/>
                  </a:cubicBezTo>
                  <a:cubicBezTo>
                    <a:pt x="253" y="352"/>
                    <a:pt x="253" y="352"/>
                    <a:pt x="254" y="352"/>
                  </a:cubicBezTo>
                  <a:cubicBezTo>
                    <a:pt x="255" y="352"/>
                    <a:pt x="257" y="352"/>
                    <a:pt x="259" y="351"/>
                  </a:cubicBezTo>
                  <a:cubicBezTo>
                    <a:pt x="260" y="351"/>
                    <a:pt x="261" y="351"/>
                    <a:pt x="263" y="351"/>
                  </a:cubicBezTo>
                  <a:cubicBezTo>
                    <a:pt x="263" y="351"/>
                    <a:pt x="263" y="351"/>
                    <a:pt x="263" y="351"/>
                  </a:cubicBezTo>
                  <a:cubicBezTo>
                    <a:pt x="264" y="351"/>
                    <a:pt x="265" y="351"/>
                    <a:pt x="267" y="352"/>
                  </a:cubicBezTo>
                  <a:cubicBezTo>
                    <a:pt x="267" y="352"/>
                    <a:pt x="268" y="352"/>
                    <a:pt x="269" y="352"/>
                  </a:cubicBezTo>
                  <a:cubicBezTo>
                    <a:pt x="270" y="352"/>
                    <a:pt x="270" y="352"/>
                    <a:pt x="271" y="352"/>
                  </a:cubicBezTo>
                  <a:cubicBezTo>
                    <a:pt x="271" y="352"/>
                    <a:pt x="271" y="352"/>
                    <a:pt x="271" y="352"/>
                  </a:cubicBezTo>
                  <a:cubicBezTo>
                    <a:pt x="271" y="350"/>
                    <a:pt x="271" y="350"/>
                    <a:pt x="271" y="350"/>
                  </a:cubicBezTo>
                  <a:cubicBezTo>
                    <a:pt x="271" y="350"/>
                    <a:pt x="271" y="350"/>
                    <a:pt x="271" y="350"/>
                  </a:cubicBezTo>
                  <a:cubicBezTo>
                    <a:pt x="273" y="352"/>
                    <a:pt x="273" y="352"/>
                    <a:pt x="273" y="352"/>
                  </a:cubicBezTo>
                  <a:cubicBezTo>
                    <a:pt x="273" y="351"/>
                    <a:pt x="273" y="351"/>
                    <a:pt x="273" y="351"/>
                  </a:cubicBezTo>
                  <a:cubicBezTo>
                    <a:pt x="274" y="350"/>
                    <a:pt x="275" y="349"/>
                    <a:pt x="276" y="348"/>
                  </a:cubicBezTo>
                  <a:cubicBezTo>
                    <a:pt x="278" y="347"/>
                    <a:pt x="280" y="345"/>
                    <a:pt x="282" y="344"/>
                  </a:cubicBezTo>
                  <a:cubicBezTo>
                    <a:pt x="290" y="337"/>
                    <a:pt x="300" y="334"/>
                    <a:pt x="310" y="333"/>
                  </a:cubicBezTo>
                  <a:cubicBezTo>
                    <a:pt x="310" y="333"/>
                    <a:pt x="310" y="333"/>
                    <a:pt x="310" y="333"/>
                  </a:cubicBezTo>
                  <a:cubicBezTo>
                    <a:pt x="314" y="333"/>
                    <a:pt x="317" y="334"/>
                    <a:pt x="321" y="335"/>
                  </a:cubicBezTo>
                  <a:cubicBezTo>
                    <a:pt x="322" y="335"/>
                    <a:pt x="323" y="336"/>
                    <a:pt x="324" y="336"/>
                  </a:cubicBezTo>
                  <a:cubicBezTo>
                    <a:pt x="326" y="336"/>
                    <a:pt x="327" y="336"/>
                    <a:pt x="328" y="336"/>
                  </a:cubicBezTo>
                  <a:cubicBezTo>
                    <a:pt x="331" y="337"/>
                    <a:pt x="334" y="338"/>
                    <a:pt x="338" y="339"/>
                  </a:cubicBezTo>
                  <a:cubicBezTo>
                    <a:pt x="339" y="340"/>
                    <a:pt x="340" y="341"/>
                    <a:pt x="341" y="342"/>
                  </a:cubicBezTo>
                  <a:cubicBezTo>
                    <a:pt x="343" y="343"/>
                    <a:pt x="344" y="345"/>
                    <a:pt x="348" y="345"/>
                  </a:cubicBezTo>
                  <a:cubicBezTo>
                    <a:pt x="348" y="345"/>
                    <a:pt x="349" y="345"/>
                    <a:pt x="350" y="345"/>
                  </a:cubicBezTo>
                  <a:cubicBezTo>
                    <a:pt x="352" y="345"/>
                    <a:pt x="355" y="344"/>
                    <a:pt x="357" y="342"/>
                  </a:cubicBezTo>
                  <a:cubicBezTo>
                    <a:pt x="357" y="341"/>
                    <a:pt x="358" y="340"/>
                    <a:pt x="359" y="339"/>
                  </a:cubicBezTo>
                  <a:cubicBezTo>
                    <a:pt x="360" y="337"/>
                    <a:pt x="361" y="335"/>
                    <a:pt x="362" y="334"/>
                  </a:cubicBezTo>
                  <a:cubicBezTo>
                    <a:pt x="364" y="332"/>
                    <a:pt x="365" y="332"/>
                    <a:pt x="367" y="331"/>
                  </a:cubicBezTo>
                  <a:cubicBezTo>
                    <a:pt x="368" y="331"/>
                    <a:pt x="369" y="331"/>
                    <a:pt x="370" y="330"/>
                  </a:cubicBezTo>
                  <a:cubicBezTo>
                    <a:pt x="371" y="330"/>
                    <a:pt x="373" y="329"/>
                    <a:pt x="374" y="328"/>
                  </a:cubicBezTo>
                  <a:cubicBezTo>
                    <a:pt x="375" y="327"/>
                    <a:pt x="376" y="326"/>
                    <a:pt x="377" y="325"/>
                  </a:cubicBezTo>
                  <a:cubicBezTo>
                    <a:pt x="379" y="324"/>
                    <a:pt x="381" y="324"/>
                    <a:pt x="383" y="324"/>
                  </a:cubicBezTo>
                  <a:cubicBezTo>
                    <a:pt x="383" y="324"/>
                    <a:pt x="383" y="324"/>
                    <a:pt x="383" y="324"/>
                  </a:cubicBezTo>
                  <a:cubicBezTo>
                    <a:pt x="385" y="324"/>
                    <a:pt x="385" y="324"/>
                    <a:pt x="385" y="324"/>
                  </a:cubicBezTo>
                  <a:cubicBezTo>
                    <a:pt x="386" y="322"/>
                    <a:pt x="386" y="322"/>
                    <a:pt x="386" y="322"/>
                  </a:cubicBezTo>
                  <a:cubicBezTo>
                    <a:pt x="387" y="318"/>
                    <a:pt x="385" y="314"/>
                    <a:pt x="383" y="309"/>
                  </a:cubicBezTo>
                  <a:cubicBezTo>
                    <a:pt x="382" y="305"/>
                    <a:pt x="380" y="301"/>
                    <a:pt x="381" y="298"/>
                  </a:cubicBezTo>
                  <a:cubicBezTo>
                    <a:pt x="382" y="297"/>
                    <a:pt x="383" y="297"/>
                    <a:pt x="383" y="297"/>
                  </a:cubicBezTo>
                  <a:cubicBezTo>
                    <a:pt x="387" y="297"/>
                    <a:pt x="388" y="297"/>
                    <a:pt x="389" y="293"/>
                  </a:cubicBezTo>
                  <a:cubicBezTo>
                    <a:pt x="389" y="292"/>
                    <a:pt x="390" y="291"/>
                    <a:pt x="390" y="289"/>
                  </a:cubicBezTo>
                  <a:cubicBezTo>
                    <a:pt x="391" y="285"/>
                    <a:pt x="392" y="282"/>
                    <a:pt x="395" y="278"/>
                  </a:cubicBezTo>
                  <a:cubicBezTo>
                    <a:pt x="397" y="276"/>
                    <a:pt x="398" y="273"/>
                    <a:pt x="400" y="271"/>
                  </a:cubicBezTo>
                  <a:cubicBezTo>
                    <a:pt x="402" y="268"/>
                    <a:pt x="404" y="265"/>
                    <a:pt x="406" y="262"/>
                  </a:cubicBezTo>
                  <a:cubicBezTo>
                    <a:pt x="411" y="256"/>
                    <a:pt x="416" y="249"/>
                    <a:pt x="421" y="241"/>
                  </a:cubicBezTo>
                  <a:cubicBezTo>
                    <a:pt x="423" y="239"/>
                    <a:pt x="425" y="236"/>
                    <a:pt x="427" y="233"/>
                  </a:cubicBezTo>
                  <a:cubicBezTo>
                    <a:pt x="428" y="230"/>
                    <a:pt x="431" y="228"/>
                    <a:pt x="434" y="225"/>
                  </a:cubicBezTo>
                  <a:cubicBezTo>
                    <a:pt x="436" y="224"/>
                    <a:pt x="438" y="222"/>
                    <a:pt x="440" y="220"/>
                  </a:cubicBezTo>
                  <a:cubicBezTo>
                    <a:pt x="440" y="220"/>
                    <a:pt x="440" y="220"/>
                    <a:pt x="440" y="220"/>
                  </a:cubicBezTo>
                  <a:cubicBezTo>
                    <a:pt x="449" y="120"/>
                    <a:pt x="449" y="120"/>
                    <a:pt x="449" y="120"/>
                  </a:cubicBezTo>
                  <a:cubicBezTo>
                    <a:pt x="454" y="105"/>
                    <a:pt x="454" y="105"/>
                    <a:pt x="454" y="105"/>
                  </a:cubicBezTo>
                  <a:lnTo>
                    <a:pt x="443" y="9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8" name="Freeform 58"/>
            <p:cNvSpPr>
              <a:spLocks/>
            </p:cNvSpPr>
            <p:nvPr/>
          </p:nvSpPr>
          <p:spPr bwMode="auto">
            <a:xfrm>
              <a:off x="2481019" y="2379912"/>
              <a:ext cx="345967" cy="388338"/>
            </a:xfrm>
            <a:custGeom>
              <a:avLst/>
              <a:gdLst>
                <a:gd name="T0" fmla="*/ 163 w 171"/>
                <a:gd name="T1" fmla="*/ 92 h 208"/>
                <a:gd name="T2" fmla="*/ 160 w 171"/>
                <a:gd name="T3" fmla="*/ 86 h 208"/>
                <a:gd name="T4" fmla="*/ 153 w 171"/>
                <a:gd name="T5" fmla="*/ 85 h 208"/>
                <a:gd name="T6" fmla="*/ 153 w 171"/>
                <a:gd name="T7" fmla="*/ 78 h 208"/>
                <a:gd name="T8" fmla="*/ 163 w 171"/>
                <a:gd name="T9" fmla="*/ 56 h 208"/>
                <a:gd name="T10" fmla="*/ 167 w 171"/>
                <a:gd name="T11" fmla="*/ 52 h 208"/>
                <a:gd name="T12" fmla="*/ 169 w 171"/>
                <a:gd name="T13" fmla="*/ 49 h 208"/>
                <a:gd name="T14" fmla="*/ 169 w 171"/>
                <a:gd name="T15" fmla="*/ 45 h 208"/>
                <a:gd name="T16" fmla="*/ 161 w 171"/>
                <a:gd name="T17" fmla="*/ 32 h 208"/>
                <a:gd name="T18" fmla="*/ 132 w 171"/>
                <a:gd name="T19" fmla="*/ 36 h 208"/>
                <a:gd name="T20" fmla="*/ 133 w 171"/>
                <a:gd name="T21" fmla="*/ 30 h 208"/>
                <a:gd name="T22" fmla="*/ 131 w 171"/>
                <a:gd name="T23" fmla="*/ 22 h 208"/>
                <a:gd name="T24" fmla="*/ 135 w 171"/>
                <a:gd name="T25" fmla="*/ 5 h 208"/>
                <a:gd name="T26" fmla="*/ 132 w 171"/>
                <a:gd name="T27" fmla="*/ 1 h 208"/>
                <a:gd name="T28" fmla="*/ 95 w 171"/>
                <a:gd name="T29" fmla="*/ 0 h 208"/>
                <a:gd name="T30" fmla="*/ 79 w 171"/>
                <a:gd name="T31" fmla="*/ 44 h 208"/>
                <a:gd name="T32" fmla="*/ 37 w 171"/>
                <a:gd name="T33" fmla="*/ 44 h 208"/>
                <a:gd name="T34" fmla="*/ 31 w 171"/>
                <a:gd name="T35" fmla="*/ 41 h 208"/>
                <a:gd name="T36" fmla="*/ 24 w 171"/>
                <a:gd name="T37" fmla="*/ 43 h 208"/>
                <a:gd name="T38" fmla="*/ 24 w 171"/>
                <a:gd name="T39" fmla="*/ 48 h 208"/>
                <a:gd name="T40" fmla="*/ 19 w 171"/>
                <a:gd name="T41" fmla="*/ 52 h 208"/>
                <a:gd name="T42" fmla="*/ 18 w 171"/>
                <a:gd name="T43" fmla="*/ 63 h 208"/>
                <a:gd name="T44" fmla="*/ 17 w 171"/>
                <a:gd name="T45" fmla="*/ 78 h 208"/>
                <a:gd name="T46" fmla="*/ 13 w 171"/>
                <a:gd name="T47" fmla="*/ 93 h 208"/>
                <a:gd name="T48" fmla="*/ 10 w 171"/>
                <a:gd name="T49" fmla="*/ 97 h 208"/>
                <a:gd name="T50" fmla="*/ 7 w 171"/>
                <a:gd name="T51" fmla="*/ 97 h 208"/>
                <a:gd name="T52" fmla="*/ 1 w 171"/>
                <a:gd name="T53" fmla="*/ 93 h 208"/>
                <a:gd name="T54" fmla="*/ 7 w 171"/>
                <a:gd name="T55" fmla="*/ 112 h 208"/>
                <a:gd name="T56" fmla="*/ 15 w 171"/>
                <a:gd name="T57" fmla="*/ 123 h 208"/>
                <a:gd name="T58" fmla="*/ 17 w 171"/>
                <a:gd name="T59" fmla="*/ 127 h 208"/>
                <a:gd name="T60" fmla="*/ 15 w 171"/>
                <a:gd name="T61" fmla="*/ 130 h 208"/>
                <a:gd name="T62" fmla="*/ 22 w 171"/>
                <a:gd name="T63" fmla="*/ 138 h 208"/>
                <a:gd name="T64" fmla="*/ 23 w 171"/>
                <a:gd name="T65" fmla="*/ 145 h 208"/>
                <a:gd name="T66" fmla="*/ 26 w 171"/>
                <a:gd name="T67" fmla="*/ 150 h 208"/>
                <a:gd name="T68" fmla="*/ 35 w 171"/>
                <a:gd name="T69" fmla="*/ 159 h 208"/>
                <a:gd name="T70" fmla="*/ 38 w 171"/>
                <a:gd name="T71" fmla="*/ 166 h 208"/>
                <a:gd name="T72" fmla="*/ 47 w 171"/>
                <a:gd name="T73" fmla="*/ 174 h 208"/>
                <a:gd name="T74" fmla="*/ 58 w 171"/>
                <a:gd name="T75" fmla="*/ 189 h 208"/>
                <a:gd name="T76" fmla="*/ 66 w 171"/>
                <a:gd name="T77" fmla="*/ 199 h 208"/>
                <a:gd name="T78" fmla="*/ 73 w 171"/>
                <a:gd name="T79" fmla="*/ 208 h 208"/>
                <a:gd name="T80" fmla="*/ 82 w 171"/>
                <a:gd name="T81" fmla="*/ 195 h 208"/>
                <a:gd name="T82" fmla="*/ 89 w 171"/>
                <a:gd name="T83" fmla="*/ 194 h 208"/>
                <a:gd name="T84" fmla="*/ 94 w 171"/>
                <a:gd name="T85" fmla="*/ 188 h 208"/>
                <a:gd name="T86" fmla="*/ 92 w 171"/>
                <a:gd name="T87" fmla="*/ 182 h 208"/>
                <a:gd name="T88" fmla="*/ 91 w 171"/>
                <a:gd name="T89" fmla="*/ 176 h 208"/>
                <a:gd name="T90" fmla="*/ 86 w 171"/>
                <a:gd name="T91" fmla="*/ 166 h 208"/>
                <a:gd name="T92" fmla="*/ 87 w 171"/>
                <a:gd name="T93" fmla="*/ 160 h 208"/>
                <a:gd name="T94" fmla="*/ 87 w 171"/>
                <a:gd name="T95" fmla="*/ 154 h 208"/>
                <a:gd name="T96" fmla="*/ 91 w 171"/>
                <a:gd name="T97" fmla="*/ 155 h 208"/>
                <a:gd name="T98" fmla="*/ 96 w 171"/>
                <a:gd name="T99" fmla="*/ 154 h 208"/>
                <a:gd name="T100" fmla="*/ 102 w 171"/>
                <a:gd name="T101" fmla="*/ 156 h 208"/>
                <a:gd name="T102" fmla="*/ 106 w 171"/>
                <a:gd name="T103" fmla="*/ 154 h 208"/>
                <a:gd name="T104" fmla="*/ 112 w 171"/>
                <a:gd name="T105" fmla="*/ 153 h 208"/>
                <a:gd name="T106" fmla="*/ 111 w 171"/>
                <a:gd name="T107" fmla="*/ 143 h 208"/>
                <a:gd name="T108" fmla="*/ 120 w 171"/>
                <a:gd name="T109" fmla="*/ 138 h 208"/>
                <a:gd name="T110" fmla="*/ 128 w 171"/>
                <a:gd name="T111" fmla="*/ 152 h 208"/>
                <a:gd name="T112" fmla="*/ 134 w 171"/>
                <a:gd name="T113" fmla="*/ 155 h 208"/>
                <a:gd name="T114" fmla="*/ 144 w 171"/>
                <a:gd name="T115" fmla="*/ 152 h 208"/>
                <a:gd name="T116" fmla="*/ 150 w 171"/>
                <a:gd name="T117" fmla="*/ 148 h 208"/>
                <a:gd name="T118" fmla="*/ 160 w 171"/>
                <a:gd name="T119" fmla="*/ 156 h 208"/>
                <a:gd name="T120" fmla="*/ 166 w 171"/>
                <a:gd name="T121" fmla="*/ 141 h 208"/>
                <a:gd name="T122" fmla="*/ 168 w 171"/>
                <a:gd name="T123" fmla="*/ 123 h 208"/>
                <a:gd name="T124" fmla="*/ 171 w 171"/>
                <a:gd name="T125" fmla="*/ 10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1" h="208">
                  <a:moveTo>
                    <a:pt x="171" y="100"/>
                  </a:moveTo>
                  <a:cubicBezTo>
                    <a:pt x="171" y="98"/>
                    <a:pt x="171" y="96"/>
                    <a:pt x="170" y="94"/>
                  </a:cubicBezTo>
                  <a:cubicBezTo>
                    <a:pt x="168" y="93"/>
                    <a:pt x="166" y="92"/>
                    <a:pt x="163" y="92"/>
                  </a:cubicBezTo>
                  <a:cubicBezTo>
                    <a:pt x="163" y="92"/>
                    <a:pt x="162" y="92"/>
                    <a:pt x="162" y="92"/>
                  </a:cubicBezTo>
                  <a:cubicBezTo>
                    <a:pt x="162" y="92"/>
                    <a:pt x="162" y="91"/>
                    <a:pt x="162" y="90"/>
                  </a:cubicBezTo>
                  <a:cubicBezTo>
                    <a:pt x="161" y="88"/>
                    <a:pt x="160" y="86"/>
                    <a:pt x="160" y="86"/>
                  </a:cubicBezTo>
                  <a:cubicBezTo>
                    <a:pt x="159" y="85"/>
                    <a:pt x="157" y="85"/>
                    <a:pt x="156" y="85"/>
                  </a:cubicBezTo>
                  <a:cubicBezTo>
                    <a:pt x="156" y="85"/>
                    <a:pt x="155" y="85"/>
                    <a:pt x="154" y="85"/>
                  </a:cubicBezTo>
                  <a:cubicBezTo>
                    <a:pt x="154" y="85"/>
                    <a:pt x="153" y="85"/>
                    <a:pt x="153" y="85"/>
                  </a:cubicBezTo>
                  <a:cubicBezTo>
                    <a:pt x="153" y="85"/>
                    <a:pt x="153" y="85"/>
                    <a:pt x="153" y="85"/>
                  </a:cubicBezTo>
                  <a:cubicBezTo>
                    <a:pt x="153" y="85"/>
                    <a:pt x="152" y="85"/>
                    <a:pt x="152" y="85"/>
                  </a:cubicBezTo>
                  <a:cubicBezTo>
                    <a:pt x="152" y="82"/>
                    <a:pt x="152" y="81"/>
                    <a:pt x="153" y="78"/>
                  </a:cubicBezTo>
                  <a:cubicBezTo>
                    <a:pt x="154" y="76"/>
                    <a:pt x="154" y="74"/>
                    <a:pt x="154" y="71"/>
                  </a:cubicBezTo>
                  <a:cubicBezTo>
                    <a:pt x="155" y="67"/>
                    <a:pt x="155" y="63"/>
                    <a:pt x="160" y="60"/>
                  </a:cubicBezTo>
                  <a:cubicBezTo>
                    <a:pt x="161" y="59"/>
                    <a:pt x="162" y="58"/>
                    <a:pt x="163" y="56"/>
                  </a:cubicBezTo>
                  <a:cubicBezTo>
                    <a:pt x="163" y="56"/>
                    <a:pt x="163" y="55"/>
                    <a:pt x="164" y="55"/>
                  </a:cubicBezTo>
                  <a:cubicBezTo>
                    <a:pt x="164" y="54"/>
                    <a:pt x="165" y="54"/>
                    <a:pt x="165" y="54"/>
                  </a:cubicBezTo>
                  <a:cubicBezTo>
                    <a:pt x="166" y="53"/>
                    <a:pt x="166" y="53"/>
                    <a:pt x="167" y="52"/>
                  </a:cubicBezTo>
                  <a:cubicBezTo>
                    <a:pt x="167" y="52"/>
                    <a:pt x="167" y="52"/>
                    <a:pt x="167" y="51"/>
                  </a:cubicBezTo>
                  <a:cubicBezTo>
                    <a:pt x="167" y="50"/>
                    <a:pt x="168" y="50"/>
                    <a:pt x="168" y="50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9" y="48"/>
                    <a:pt x="169" y="48"/>
                    <a:pt x="169" y="48"/>
                  </a:cubicBezTo>
                  <a:cubicBezTo>
                    <a:pt x="169" y="48"/>
                    <a:pt x="169" y="47"/>
                    <a:pt x="169" y="46"/>
                  </a:cubicBezTo>
                  <a:cubicBezTo>
                    <a:pt x="169" y="45"/>
                    <a:pt x="169" y="45"/>
                    <a:pt x="169" y="45"/>
                  </a:cubicBezTo>
                  <a:cubicBezTo>
                    <a:pt x="168" y="45"/>
                    <a:pt x="168" y="45"/>
                    <a:pt x="168" y="45"/>
                  </a:cubicBezTo>
                  <a:cubicBezTo>
                    <a:pt x="167" y="43"/>
                    <a:pt x="166" y="41"/>
                    <a:pt x="165" y="38"/>
                  </a:cubicBezTo>
                  <a:cubicBezTo>
                    <a:pt x="164" y="36"/>
                    <a:pt x="163" y="33"/>
                    <a:pt x="161" y="32"/>
                  </a:cubicBezTo>
                  <a:cubicBezTo>
                    <a:pt x="159" y="30"/>
                    <a:pt x="157" y="29"/>
                    <a:pt x="153" y="29"/>
                  </a:cubicBezTo>
                  <a:cubicBezTo>
                    <a:pt x="151" y="29"/>
                    <a:pt x="148" y="30"/>
                    <a:pt x="146" y="31"/>
                  </a:cubicBezTo>
                  <a:cubicBezTo>
                    <a:pt x="144" y="32"/>
                    <a:pt x="136" y="36"/>
                    <a:pt x="132" y="36"/>
                  </a:cubicBezTo>
                  <a:cubicBezTo>
                    <a:pt x="131" y="36"/>
                    <a:pt x="130" y="36"/>
                    <a:pt x="130" y="35"/>
                  </a:cubicBezTo>
                  <a:cubicBezTo>
                    <a:pt x="130" y="35"/>
                    <a:pt x="129" y="34"/>
                    <a:pt x="131" y="33"/>
                  </a:cubicBezTo>
                  <a:cubicBezTo>
                    <a:pt x="132" y="32"/>
                    <a:pt x="133" y="31"/>
                    <a:pt x="133" y="30"/>
                  </a:cubicBezTo>
                  <a:cubicBezTo>
                    <a:pt x="133" y="29"/>
                    <a:pt x="133" y="29"/>
                    <a:pt x="132" y="28"/>
                  </a:cubicBezTo>
                  <a:cubicBezTo>
                    <a:pt x="132" y="27"/>
                    <a:pt x="131" y="27"/>
                    <a:pt x="131" y="26"/>
                  </a:cubicBezTo>
                  <a:cubicBezTo>
                    <a:pt x="131" y="25"/>
                    <a:pt x="131" y="24"/>
                    <a:pt x="131" y="22"/>
                  </a:cubicBezTo>
                  <a:cubicBezTo>
                    <a:pt x="130" y="22"/>
                    <a:pt x="130" y="22"/>
                    <a:pt x="130" y="22"/>
                  </a:cubicBezTo>
                  <a:cubicBezTo>
                    <a:pt x="130" y="18"/>
                    <a:pt x="130" y="14"/>
                    <a:pt x="132" y="11"/>
                  </a:cubicBezTo>
                  <a:cubicBezTo>
                    <a:pt x="132" y="9"/>
                    <a:pt x="133" y="7"/>
                    <a:pt x="135" y="5"/>
                  </a:cubicBezTo>
                  <a:cubicBezTo>
                    <a:pt x="136" y="3"/>
                    <a:pt x="136" y="3"/>
                    <a:pt x="136" y="3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4" y="2"/>
                    <a:pt x="133" y="2"/>
                    <a:pt x="132" y="1"/>
                  </a:cubicBezTo>
                  <a:cubicBezTo>
                    <a:pt x="131" y="1"/>
                    <a:pt x="130" y="1"/>
                    <a:pt x="128" y="1"/>
                  </a:cubicBezTo>
                  <a:cubicBezTo>
                    <a:pt x="127" y="1"/>
                    <a:pt x="127" y="1"/>
                    <a:pt x="127" y="1"/>
                  </a:cubicBezTo>
                  <a:cubicBezTo>
                    <a:pt x="116" y="1"/>
                    <a:pt x="106" y="1"/>
                    <a:pt x="95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8" y="44"/>
                    <a:pt x="38" y="44"/>
                    <a:pt x="37" y="44"/>
                  </a:cubicBezTo>
                  <a:cubicBezTo>
                    <a:pt x="36" y="44"/>
                    <a:pt x="35" y="43"/>
                    <a:pt x="34" y="42"/>
                  </a:cubicBezTo>
                  <a:cubicBezTo>
                    <a:pt x="33" y="42"/>
                    <a:pt x="32" y="41"/>
                    <a:pt x="32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29" y="41"/>
                    <a:pt x="27" y="42"/>
                    <a:pt x="25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5"/>
                    <a:pt x="24" y="46"/>
                    <a:pt x="24" y="47"/>
                  </a:cubicBezTo>
                  <a:cubicBezTo>
                    <a:pt x="24" y="47"/>
                    <a:pt x="24" y="48"/>
                    <a:pt x="24" y="48"/>
                  </a:cubicBezTo>
                  <a:cubicBezTo>
                    <a:pt x="25" y="49"/>
                    <a:pt x="25" y="51"/>
                    <a:pt x="25" y="51"/>
                  </a:cubicBezTo>
                  <a:cubicBezTo>
                    <a:pt x="25" y="51"/>
                    <a:pt x="22" y="52"/>
                    <a:pt x="20" y="52"/>
                  </a:cubicBezTo>
                  <a:cubicBezTo>
                    <a:pt x="20" y="52"/>
                    <a:pt x="19" y="52"/>
                    <a:pt x="19" y="52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7" y="56"/>
                    <a:pt x="16" y="58"/>
                    <a:pt x="17" y="60"/>
                  </a:cubicBezTo>
                  <a:cubicBezTo>
                    <a:pt x="17" y="61"/>
                    <a:pt x="18" y="62"/>
                    <a:pt x="18" y="63"/>
                  </a:cubicBezTo>
                  <a:cubicBezTo>
                    <a:pt x="19" y="64"/>
                    <a:pt x="19" y="64"/>
                    <a:pt x="18" y="65"/>
                  </a:cubicBezTo>
                  <a:cubicBezTo>
                    <a:pt x="17" y="69"/>
                    <a:pt x="17" y="73"/>
                    <a:pt x="17" y="77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7" y="82"/>
                    <a:pt x="17" y="86"/>
                    <a:pt x="16" y="89"/>
                  </a:cubicBezTo>
                  <a:cubicBezTo>
                    <a:pt x="15" y="89"/>
                    <a:pt x="15" y="90"/>
                    <a:pt x="14" y="91"/>
                  </a:cubicBezTo>
                  <a:cubicBezTo>
                    <a:pt x="14" y="91"/>
                    <a:pt x="13" y="92"/>
                    <a:pt x="13" y="93"/>
                  </a:cubicBezTo>
                  <a:cubicBezTo>
                    <a:pt x="12" y="93"/>
                    <a:pt x="12" y="94"/>
                    <a:pt x="12" y="94"/>
                  </a:cubicBezTo>
                  <a:cubicBezTo>
                    <a:pt x="11" y="94"/>
                    <a:pt x="11" y="95"/>
                    <a:pt x="11" y="95"/>
                  </a:cubicBezTo>
                  <a:cubicBezTo>
                    <a:pt x="10" y="96"/>
                    <a:pt x="10" y="96"/>
                    <a:pt x="10" y="97"/>
                  </a:cubicBezTo>
                  <a:cubicBezTo>
                    <a:pt x="10" y="97"/>
                    <a:pt x="10" y="98"/>
                    <a:pt x="10" y="98"/>
                  </a:cubicBezTo>
                  <a:cubicBezTo>
                    <a:pt x="9" y="98"/>
                    <a:pt x="8" y="97"/>
                    <a:pt x="8" y="97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6" y="97"/>
                    <a:pt x="6" y="96"/>
                    <a:pt x="6" y="96"/>
                  </a:cubicBezTo>
                  <a:cubicBezTo>
                    <a:pt x="5" y="95"/>
                    <a:pt x="4" y="94"/>
                    <a:pt x="3" y="94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9"/>
                    <a:pt x="2" y="104"/>
                    <a:pt x="5" y="108"/>
                  </a:cubicBezTo>
                  <a:cubicBezTo>
                    <a:pt x="6" y="109"/>
                    <a:pt x="6" y="110"/>
                    <a:pt x="7" y="112"/>
                  </a:cubicBezTo>
                  <a:cubicBezTo>
                    <a:pt x="7" y="113"/>
                    <a:pt x="8" y="115"/>
                    <a:pt x="9" y="117"/>
                  </a:cubicBezTo>
                  <a:cubicBezTo>
                    <a:pt x="10" y="117"/>
                    <a:pt x="10" y="117"/>
                    <a:pt x="10" y="117"/>
                  </a:cubicBezTo>
                  <a:cubicBezTo>
                    <a:pt x="11" y="119"/>
                    <a:pt x="13" y="122"/>
                    <a:pt x="15" y="123"/>
                  </a:cubicBezTo>
                  <a:cubicBezTo>
                    <a:pt x="16" y="123"/>
                    <a:pt x="16" y="123"/>
                    <a:pt x="16" y="123"/>
                  </a:cubicBezTo>
                  <a:cubicBezTo>
                    <a:pt x="17" y="123"/>
                    <a:pt x="17" y="123"/>
                    <a:pt x="18" y="123"/>
                  </a:cubicBezTo>
                  <a:cubicBezTo>
                    <a:pt x="17" y="124"/>
                    <a:pt x="16" y="125"/>
                    <a:pt x="17" y="127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15" y="132"/>
                    <a:pt x="15" y="135"/>
                    <a:pt x="17" y="137"/>
                  </a:cubicBezTo>
                  <a:cubicBezTo>
                    <a:pt x="18" y="138"/>
                    <a:pt x="19" y="138"/>
                    <a:pt x="21" y="138"/>
                  </a:cubicBezTo>
                  <a:cubicBezTo>
                    <a:pt x="21" y="138"/>
                    <a:pt x="22" y="138"/>
                    <a:pt x="22" y="138"/>
                  </a:cubicBezTo>
                  <a:cubicBezTo>
                    <a:pt x="23" y="139"/>
                    <a:pt x="24" y="140"/>
                    <a:pt x="24" y="141"/>
                  </a:cubicBezTo>
                  <a:cubicBezTo>
                    <a:pt x="24" y="141"/>
                    <a:pt x="24" y="142"/>
                    <a:pt x="24" y="142"/>
                  </a:cubicBezTo>
                  <a:cubicBezTo>
                    <a:pt x="23" y="143"/>
                    <a:pt x="23" y="143"/>
                    <a:pt x="23" y="145"/>
                  </a:cubicBezTo>
                  <a:cubicBezTo>
                    <a:pt x="23" y="146"/>
                    <a:pt x="24" y="147"/>
                    <a:pt x="25" y="148"/>
                  </a:cubicBezTo>
                  <a:cubicBezTo>
                    <a:pt x="25" y="148"/>
                    <a:pt x="25" y="149"/>
                    <a:pt x="25" y="149"/>
                  </a:cubicBezTo>
                  <a:cubicBezTo>
                    <a:pt x="26" y="149"/>
                    <a:pt x="26" y="150"/>
                    <a:pt x="26" y="150"/>
                  </a:cubicBezTo>
                  <a:cubicBezTo>
                    <a:pt x="26" y="151"/>
                    <a:pt x="26" y="152"/>
                    <a:pt x="27" y="154"/>
                  </a:cubicBezTo>
                  <a:cubicBezTo>
                    <a:pt x="29" y="155"/>
                    <a:pt x="31" y="156"/>
                    <a:pt x="33" y="158"/>
                  </a:cubicBezTo>
                  <a:cubicBezTo>
                    <a:pt x="34" y="158"/>
                    <a:pt x="34" y="158"/>
                    <a:pt x="35" y="159"/>
                  </a:cubicBezTo>
                  <a:cubicBezTo>
                    <a:pt x="36" y="159"/>
                    <a:pt x="36" y="159"/>
                    <a:pt x="37" y="160"/>
                  </a:cubicBezTo>
                  <a:cubicBezTo>
                    <a:pt x="36" y="160"/>
                    <a:pt x="35" y="161"/>
                    <a:pt x="35" y="162"/>
                  </a:cubicBezTo>
                  <a:cubicBezTo>
                    <a:pt x="35" y="164"/>
                    <a:pt x="37" y="165"/>
                    <a:pt x="38" y="166"/>
                  </a:cubicBezTo>
                  <a:cubicBezTo>
                    <a:pt x="39" y="167"/>
                    <a:pt x="39" y="167"/>
                    <a:pt x="39" y="167"/>
                  </a:cubicBezTo>
                  <a:cubicBezTo>
                    <a:pt x="41" y="168"/>
                    <a:pt x="42" y="169"/>
                    <a:pt x="43" y="170"/>
                  </a:cubicBezTo>
                  <a:cubicBezTo>
                    <a:pt x="44" y="172"/>
                    <a:pt x="46" y="173"/>
                    <a:pt x="47" y="174"/>
                  </a:cubicBezTo>
                  <a:cubicBezTo>
                    <a:pt x="49" y="177"/>
                    <a:pt x="51" y="180"/>
                    <a:pt x="53" y="183"/>
                  </a:cubicBezTo>
                  <a:cubicBezTo>
                    <a:pt x="54" y="184"/>
                    <a:pt x="55" y="185"/>
                    <a:pt x="56" y="186"/>
                  </a:cubicBezTo>
                  <a:cubicBezTo>
                    <a:pt x="57" y="187"/>
                    <a:pt x="57" y="188"/>
                    <a:pt x="58" y="189"/>
                  </a:cubicBezTo>
                  <a:cubicBezTo>
                    <a:pt x="59" y="191"/>
                    <a:pt x="60" y="192"/>
                    <a:pt x="61" y="193"/>
                  </a:cubicBezTo>
                  <a:cubicBezTo>
                    <a:pt x="63" y="195"/>
                    <a:pt x="64" y="196"/>
                    <a:pt x="65" y="198"/>
                  </a:cubicBezTo>
                  <a:cubicBezTo>
                    <a:pt x="65" y="198"/>
                    <a:pt x="66" y="199"/>
                    <a:pt x="66" y="199"/>
                  </a:cubicBezTo>
                  <a:cubicBezTo>
                    <a:pt x="67" y="200"/>
                    <a:pt x="68" y="202"/>
                    <a:pt x="69" y="203"/>
                  </a:cubicBezTo>
                  <a:cubicBezTo>
                    <a:pt x="70" y="203"/>
                    <a:pt x="70" y="204"/>
                    <a:pt x="70" y="204"/>
                  </a:cubicBezTo>
                  <a:cubicBezTo>
                    <a:pt x="73" y="208"/>
                    <a:pt x="73" y="208"/>
                    <a:pt x="73" y="208"/>
                  </a:cubicBezTo>
                  <a:cubicBezTo>
                    <a:pt x="74" y="204"/>
                    <a:pt x="74" y="204"/>
                    <a:pt x="74" y="204"/>
                  </a:cubicBezTo>
                  <a:cubicBezTo>
                    <a:pt x="74" y="202"/>
                    <a:pt x="75" y="201"/>
                    <a:pt x="75" y="200"/>
                  </a:cubicBezTo>
                  <a:cubicBezTo>
                    <a:pt x="77" y="196"/>
                    <a:pt x="79" y="196"/>
                    <a:pt x="82" y="195"/>
                  </a:cubicBezTo>
                  <a:cubicBezTo>
                    <a:pt x="83" y="195"/>
                    <a:pt x="83" y="195"/>
                    <a:pt x="83" y="195"/>
                  </a:cubicBezTo>
                  <a:cubicBezTo>
                    <a:pt x="84" y="195"/>
                    <a:pt x="84" y="195"/>
                    <a:pt x="85" y="195"/>
                  </a:cubicBezTo>
                  <a:cubicBezTo>
                    <a:pt x="87" y="195"/>
                    <a:pt x="88" y="194"/>
                    <a:pt x="89" y="194"/>
                  </a:cubicBezTo>
                  <a:cubicBezTo>
                    <a:pt x="90" y="193"/>
                    <a:pt x="91" y="193"/>
                    <a:pt x="91" y="192"/>
                  </a:cubicBezTo>
                  <a:cubicBezTo>
                    <a:pt x="91" y="191"/>
                    <a:pt x="92" y="191"/>
                    <a:pt x="92" y="190"/>
                  </a:cubicBezTo>
                  <a:cubicBezTo>
                    <a:pt x="93" y="190"/>
                    <a:pt x="93" y="189"/>
                    <a:pt x="94" y="188"/>
                  </a:cubicBezTo>
                  <a:cubicBezTo>
                    <a:pt x="95" y="187"/>
                    <a:pt x="96" y="186"/>
                    <a:pt x="96" y="185"/>
                  </a:cubicBezTo>
                  <a:cubicBezTo>
                    <a:pt x="96" y="184"/>
                    <a:pt x="95" y="183"/>
                    <a:pt x="94" y="183"/>
                  </a:cubicBezTo>
                  <a:cubicBezTo>
                    <a:pt x="94" y="182"/>
                    <a:pt x="93" y="182"/>
                    <a:pt x="92" y="182"/>
                  </a:cubicBezTo>
                  <a:cubicBezTo>
                    <a:pt x="91" y="181"/>
                    <a:pt x="90" y="181"/>
                    <a:pt x="90" y="180"/>
                  </a:cubicBezTo>
                  <a:cubicBezTo>
                    <a:pt x="89" y="179"/>
                    <a:pt x="90" y="178"/>
                    <a:pt x="90" y="177"/>
                  </a:cubicBezTo>
                  <a:cubicBezTo>
                    <a:pt x="90" y="177"/>
                    <a:pt x="91" y="176"/>
                    <a:pt x="91" y="176"/>
                  </a:cubicBezTo>
                  <a:cubicBezTo>
                    <a:pt x="92" y="172"/>
                    <a:pt x="90" y="172"/>
                    <a:pt x="88" y="171"/>
                  </a:cubicBezTo>
                  <a:cubicBezTo>
                    <a:pt x="87" y="170"/>
                    <a:pt x="86" y="170"/>
                    <a:pt x="85" y="169"/>
                  </a:cubicBezTo>
                  <a:cubicBezTo>
                    <a:pt x="85" y="168"/>
                    <a:pt x="85" y="167"/>
                    <a:pt x="86" y="166"/>
                  </a:cubicBezTo>
                  <a:cubicBezTo>
                    <a:pt x="86" y="166"/>
                    <a:pt x="87" y="165"/>
                    <a:pt x="87" y="165"/>
                  </a:cubicBezTo>
                  <a:cubicBezTo>
                    <a:pt x="88" y="163"/>
                    <a:pt x="87" y="162"/>
                    <a:pt x="87" y="160"/>
                  </a:cubicBezTo>
                  <a:cubicBezTo>
                    <a:pt x="87" y="160"/>
                    <a:pt x="87" y="160"/>
                    <a:pt x="87" y="160"/>
                  </a:cubicBezTo>
                  <a:cubicBezTo>
                    <a:pt x="87" y="159"/>
                    <a:pt x="87" y="159"/>
                    <a:pt x="86" y="158"/>
                  </a:cubicBezTo>
                  <a:cubicBezTo>
                    <a:pt x="86" y="157"/>
                    <a:pt x="85" y="155"/>
                    <a:pt x="86" y="155"/>
                  </a:cubicBezTo>
                  <a:cubicBezTo>
                    <a:pt x="87" y="154"/>
                    <a:pt x="87" y="154"/>
                    <a:pt x="87" y="154"/>
                  </a:cubicBezTo>
                  <a:cubicBezTo>
                    <a:pt x="88" y="154"/>
                    <a:pt x="88" y="154"/>
                    <a:pt x="89" y="155"/>
                  </a:cubicBezTo>
                  <a:cubicBezTo>
                    <a:pt x="89" y="155"/>
                    <a:pt x="90" y="155"/>
                    <a:pt x="91" y="155"/>
                  </a:cubicBezTo>
                  <a:cubicBezTo>
                    <a:pt x="91" y="155"/>
                    <a:pt x="91" y="155"/>
                    <a:pt x="91" y="155"/>
                  </a:cubicBezTo>
                  <a:cubicBezTo>
                    <a:pt x="92" y="155"/>
                    <a:pt x="93" y="155"/>
                    <a:pt x="93" y="154"/>
                  </a:cubicBezTo>
                  <a:cubicBezTo>
                    <a:pt x="94" y="154"/>
                    <a:pt x="95" y="154"/>
                    <a:pt x="96" y="154"/>
                  </a:cubicBezTo>
                  <a:cubicBezTo>
                    <a:pt x="96" y="154"/>
                    <a:pt x="96" y="154"/>
                    <a:pt x="96" y="154"/>
                  </a:cubicBezTo>
                  <a:cubicBezTo>
                    <a:pt x="97" y="154"/>
                    <a:pt x="98" y="154"/>
                    <a:pt x="99" y="155"/>
                  </a:cubicBezTo>
                  <a:cubicBezTo>
                    <a:pt x="99" y="155"/>
                    <a:pt x="100" y="156"/>
                    <a:pt x="101" y="156"/>
                  </a:cubicBezTo>
                  <a:cubicBezTo>
                    <a:pt x="102" y="156"/>
                    <a:pt x="102" y="156"/>
                    <a:pt x="102" y="156"/>
                  </a:cubicBezTo>
                  <a:cubicBezTo>
                    <a:pt x="102" y="156"/>
                    <a:pt x="102" y="156"/>
                    <a:pt x="102" y="156"/>
                  </a:cubicBezTo>
                  <a:cubicBezTo>
                    <a:pt x="103" y="156"/>
                    <a:pt x="103" y="156"/>
                    <a:pt x="104" y="155"/>
                  </a:cubicBezTo>
                  <a:cubicBezTo>
                    <a:pt x="104" y="155"/>
                    <a:pt x="105" y="154"/>
                    <a:pt x="106" y="154"/>
                  </a:cubicBezTo>
                  <a:cubicBezTo>
                    <a:pt x="106" y="153"/>
                    <a:pt x="108" y="153"/>
                    <a:pt x="109" y="153"/>
                  </a:cubicBezTo>
                  <a:cubicBezTo>
                    <a:pt x="109" y="153"/>
                    <a:pt x="110" y="153"/>
                    <a:pt x="110" y="153"/>
                  </a:cubicBezTo>
                  <a:cubicBezTo>
                    <a:pt x="112" y="153"/>
                    <a:pt x="112" y="153"/>
                    <a:pt x="112" y="153"/>
                  </a:cubicBezTo>
                  <a:cubicBezTo>
                    <a:pt x="112" y="151"/>
                    <a:pt x="112" y="151"/>
                    <a:pt x="112" y="151"/>
                  </a:cubicBezTo>
                  <a:cubicBezTo>
                    <a:pt x="112" y="148"/>
                    <a:pt x="113" y="146"/>
                    <a:pt x="112" y="144"/>
                  </a:cubicBezTo>
                  <a:cubicBezTo>
                    <a:pt x="111" y="143"/>
                    <a:pt x="111" y="143"/>
                    <a:pt x="111" y="143"/>
                  </a:cubicBezTo>
                  <a:cubicBezTo>
                    <a:pt x="110" y="140"/>
                    <a:pt x="110" y="140"/>
                    <a:pt x="113" y="138"/>
                  </a:cubicBezTo>
                  <a:cubicBezTo>
                    <a:pt x="115" y="137"/>
                    <a:pt x="116" y="136"/>
                    <a:pt x="117" y="136"/>
                  </a:cubicBezTo>
                  <a:cubicBezTo>
                    <a:pt x="117" y="136"/>
                    <a:pt x="118" y="137"/>
                    <a:pt x="120" y="138"/>
                  </a:cubicBezTo>
                  <a:cubicBezTo>
                    <a:pt x="122" y="139"/>
                    <a:pt x="123" y="141"/>
                    <a:pt x="124" y="143"/>
                  </a:cubicBezTo>
                  <a:cubicBezTo>
                    <a:pt x="124" y="144"/>
                    <a:pt x="124" y="144"/>
                    <a:pt x="124" y="144"/>
                  </a:cubicBezTo>
                  <a:cubicBezTo>
                    <a:pt x="126" y="147"/>
                    <a:pt x="127" y="149"/>
                    <a:pt x="128" y="152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53"/>
                    <a:pt x="129" y="153"/>
                    <a:pt x="129" y="153"/>
                  </a:cubicBezTo>
                  <a:cubicBezTo>
                    <a:pt x="131" y="154"/>
                    <a:pt x="133" y="154"/>
                    <a:pt x="134" y="155"/>
                  </a:cubicBezTo>
                  <a:cubicBezTo>
                    <a:pt x="136" y="155"/>
                    <a:pt x="137" y="156"/>
                    <a:pt x="139" y="156"/>
                  </a:cubicBezTo>
                  <a:cubicBezTo>
                    <a:pt x="139" y="156"/>
                    <a:pt x="140" y="156"/>
                    <a:pt x="140" y="156"/>
                  </a:cubicBezTo>
                  <a:cubicBezTo>
                    <a:pt x="143" y="155"/>
                    <a:pt x="143" y="154"/>
                    <a:pt x="144" y="152"/>
                  </a:cubicBezTo>
                  <a:cubicBezTo>
                    <a:pt x="145" y="150"/>
                    <a:pt x="145" y="149"/>
                    <a:pt x="147" y="148"/>
                  </a:cubicBezTo>
                  <a:cubicBezTo>
                    <a:pt x="148" y="148"/>
                    <a:pt x="148" y="148"/>
                    <a:pt x="149" y="148"/>
                  </a:cubicBezTo>
                  <a:cubicBezTo>
                    <a:pt x="149" y="148"/>
                    <a:pt x="149" y="148"/>
                    <a:pt x="150" y="148"/>
                  </a:cubicBezTo>
                  <a:cubicBezTo>
                    <a:pt x="152" y="149"/>
                    <a:pt x="153" y="152"/>
                    <a:pt x="153" y="154"/>
                  </a:cubicBezTo>
                  <a:cubicBezTo>
                    <a:pt x="154" y="156"/>
                    <a:pt x="155" y="158"/>
                    <a:pt x="157" y="158"/>
                  </a:cubicBezTo>
                  <a:cubicBezTo>
                    <a:pt x="159" y="158"/>
                    <a:pt x="160" y="157"/>
                    <a:pt x="160" y="156"/>
                  </a:cubicBezTo>
                  <a:cubicBezTo>
                    <a:pt x="162" y="154"/>
                    <a:pt x="162" y="152"/>
                    <a:pt x="162" y="149"/>
                  </a:cubicBezTo>
                  <a:cubicBezTo>
                    <a:pt x="163" y="147"/>
                    <a:pt x="163" y="146"/>
                    <a:pt x="164" y="144"/>
                  </a:cubicBezTo>
                  <a:cubicBezTo>
                    <a:pt x="164" y="143"/>
                    <a:pt x="165" y="142"/>
                    <a:pt x="166" y="141"/>
                  </a:cubicBezTo>
                  <a:cubicBezTo>
                    <a:pt x="167" y="139"/>
                    <a:pt x="168" y="137"/>
                    <a:pt x="168" y="135"/>
                  </a:cubicBezTo>
                  <a:cubicBezTo>
                    <a:pt x="168" y="133"/>
                    <a:pt x="168" y="132"/>
                    <a:pt x="168" y="130"/>
                  </a:cubicBezTo>
                  <a:cubicBezTo>
                    <a:pt x="168" y="128"/>
                    <a:pt x="168" y="125"/>
                    <a:pt x="168" y="123"/>
                  </a:cubicBezTo>
                  <a:cubicBezTo>
                    <a:pt x="170" y="118"/>
                    <a:pt x="170" y="115"/>
                    <a:pt x="168" y="111"/>
                  </a:cubicBezTo>
                  <a:cubicBezTo>
                    <a:pt x="167" y="108"/>
                    <a:pt x="168" y="106"/>
                    <a:pt x="169" y="104"/>
                  </a:cubicBezTo>
                  <a:cubicBezTo>
                    <a:pt x="170" y="103"/>
                    <a:pt x="170" y="101"/>
                    <a:pt x="171" y="10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9" name="Freeform 59"/>
            <p:cNvSpPr>
              <a:spLocks/>
            </p:cNvSpPr>
            <p:nvPr/>
          </p:nvSpPr>
          <p:spPr bwMode="auto">
            <a:xfrm>
              <a:off x="3533428" y="4282565"/>
              <a:ext cx="131691" cy="123282"/>
            </a:xfrm>
            <a:custGeom>
              <a:avLst/>
              <a:gdLst>
                <a:gd name="T0" fmla="*/ 63 w 65"/>
                <a:gd name="T1" fmla="*/ 18 h 66"/>
                <a:gd name="T2" fmla="*/ 56 w 65"/>
                <a:gd name="T3" fmla="*/ 10 h 66"/>
                <a:gd name="T4" fmla="*/ 52 w 65"/>
                <a:gd name="T5" fmla="*/ 5 h 66"/>
                <a:gd name="T6" fmla="*/ 42 w 65"/>
                <a:gd name="T7" fmla="*/ 0 h 66"/>
                <a:gd name="T8" fmla="*/ 28 w 65"/>
                <a:gd name="T9" fmla="*/ 6 h 66"/>
                <a:gd name="T10" fmla="*/ 25 w 65"/>
                <a:gd name="T11" fmla="*/ 7 h 66"/>
                <a:gd name="T12" fmla="*/ 15 w 65"/>
                <a:gd name="T13" fmla="*/ 18 h 66"/>
                <a:gd name="T14" fmla="*/ 10 w 65"/>
                <a:gd name="T15" fmla="*/ 26 h 66"/>
                <a:gd name="T16" fmla="*/ 6 w 65"/>
                <a:gd name="T17" fmla="*/ 29 h 66"/>
                <a:gd name="T18" fmla="*/ 1 w 65"/>
                <a:gd name="T19" fmla="*/ 32 h 66"/>
                <a:gd name="T20" fmla="*/ 0 w 65"/>
                <a:gd name="T21" fmla="*/ 35 h 66"/>
                <a:gd name="T22" fmla="*/ 1 w 65"/>
                <a:gd name="T23" fmla="*/ 38 h 66"/>
                <a:gd name="T24" fmla="*/ 3 w 65"/>
                <a:gd name="T25" fmla="*/ 40 h 66"/>
                <a:gd name="T26" fmla="*/ 4 w 65"/>
                <a:gd name="T27" fmla="*/ 44 h 66"/>
                <a:gd name="T28" fmla="*/ 5 w 65"/>
                <a:gd name="T29" fmla="*/ 46 h 66"/>
                <a:gd name="T30" fmla="*/ 5 w 65"/>
                <a:gd name="T31" fmla="*/ 47 h 66"/>
                <a:gd name="T32" fmla="*/ 6 w 65"/>
                <a:gd name="T33" fmla="*/ 48 h 66"/>
                <a:gd name="T34" fmla="*/ 10 w 65"/>
                <a:gd name="T35" fmla="*/ 53 h 66"/>
                <a:gd name="T36" fmla="*/ 12 w 65"/>
                <a:gd name="T37" fmla="*/ 56 h 66"/>
                <a:gd name="T38" fmla="*/ 13 w 65"/>
                <a:gd name="T39" fmla="*/ 57 h 66"/>
                <a:gd name="T40" fmla="*/ 15 w 65"/>
                <a:gd name="T41" fmla="*/ 58 h 66"/>
                <a:gd name="T42" fmla="*/ 15 w 65"/>
                <a:gd name="T43" fmla="*/ 60 h 66"/>
                <a:gd name="T44" fmla="*/ 15 w 65"/>
                <a:gd name="T45" fmla="*/ 62 h 66"/>
                <a:gd name="T46" fmla="*/ 22 w 65"/>
                <a:gd name="T47" fmla="*/ 66 h 66"/>
                <a:gd name="T48" fmla="*/ 30 w 65"/>
                <a:gd name="T49" fmla="*/ 60 h 66"/>
                <a:gd name="T50" fmla="*/ 42 w 65"/>
                <a:gd name="T51" fmla="*/ 49 h 66"/>
                <a:gd name="T52" fmla="*/ 45 w 65"/>
                <a:gd name="T53" fmla="*/ 48 h 66"/>
                <a:gd name="T54" fmla="*/ 56 w 65"/>
                <a:gd name="T55" fmla="*/ 45 h 66"/>
                <a:gd name="T56" fmla="*/ 58 w 65"/>
                <a:gd name="T57" fmla="*/ 37 h 66"/>
                <a:gd name="T58" fmla="*/ 58 w 65"/>
                <a:gd name="T59" fmla="*/ 32 h 66"/>
                <a:gd name="T60" fmla="*/ 63 w 65"/>
                <a:gd name="T61" fmla="*/ 28 h 66"/>
                <a:gd name="T62" fmla="*/ 63 w 65"/>
                <a:gd name="T63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5" h="66">
                  <a:moveTo>
                    <a:pt x="63" y="18"/>
                  </a:moveTo>
                  <a:cubicBezTo>
                    <a:pt x="61" y="15"/>
                    <a:pt x="59" y="12"/>
                    <a:pt x="56" y="10"/>
                  </a:cubicBezTo>
                  <a:cubicBezTo>
                    <a:pt x="55" y="8"/>
                    <a:pt x="53" y="7"/>
                    <a:pt x="52" y="5"/>
                  </a:cubicBezTo>
                  <a:cubicBezTo>
                    <a:pt x="49" y="1"/>
                    <a:pt x="46" y="0"/>
                    <a:pt x="42" y="0"/>
                  </a:cubicBezTo>
                  <a:cubicBezTo>
                    <a:pt x="38" y="0"/>
                    <a:pt x="33" y="2"/>
                    <a:pt x="28" y="6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1" y="10"/>
                    <a:pt x="18" y="14"/>
                    <a:pt x="15" y="18"/>
                  </a:cubicBezTo>
                  <a:cubicBezTo>
                    <a:pt x="14" y="21"/>
                    <a:pt x="12" y="23"/>
                    <a:pt x="10" y="26"/>
                  </a:cubicBezTo>
                  <a:cubicBezTo>
                    <a:pt x="9" y="27"/>
                    <a:pt x="7" y="28"/>
                    <a:pt x="6" y="29"/>
                  </a:cubicBezTo>
                  <a:cubicBezTo>
                    <a:pt x="4" y="30"/>
                    <a:pt x="2" y="31"/>
                    <a:pt x="1" y="32"/>
                  </a:cubicBezTo>
                  <a:cubicBezTo>
                    <a:pt x="0" y="34"/>
                    <a:pt x="0" y="34"/>
                    <a:pt x="0" y="35"/>
                  </a:cubicBezTo>
                  <a:cubicBezTo>
                    <a:pt x="0" y="36"/>
                    <a:pt x="0" y="37"/>
                    <a:pt x="1" y="38"/>
                  </a:cubicBezTo>
                  <a:cubicBezTo>
                    <a:pt x="2" y="38"/>
                    <a:pt x="2" y="39"/>
                    <a:pt x="3" y="40"/>
                  </a:cubicBezTo>
                  <a:cubicBezTo>
                    <a:pt x="4" y="41"/>
                    <a:pt x="4" y="43"/>
                    <a:pt x="4" y="44"/>
                  </a:cubicBezTo>
                  <a:cubicBezTo>
                    <a:pt x="5" y="45"/>
                    <a:pt x="5" y="46"/>
                    <a:pt x="5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8" y="48"/>
                    <a:pt x="9" y="51"/>
                    <a:pt x="10" y="53"/>
                  </a:cubicBezTo>
                  <a:cubicBezTo>
                    <a:pt x="11" y="54"/>
                    <a:pt x="11" y="55"/>
                    <a:pt x="12" y="56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4" y="57"/>
                    <a:pt x="14" y="58"/>
                    <a:pt x="15" y="58"/>
                  </a:cubicBezTo>
                  <a:cubicBezTo>
                    <a:pt x="15" y="59"/>
                    <a:pt x="15" y="59"/>
                    <a:pt x="15" y="60"/>
                  </a:cubicBezTo>
                  <a:cubicBezTo>
                    <a:pt x="15" y="61"/>
                    <a:pt x="15" y="61"/>
                    <a:pt x="15" y="62"/>
                  </a:cubicBezTo>
                  <a:cubicBezTo>
                    <a:pt x="17" y="64"/>
                    <a:pt x="19" y="66"/>
                    <a:pt x="22" y="66"/>
                  </a:cubicBezTo>
                  <a:cubicBezTo>
                    <a:pt x="25" y="66"/>
                    <a:pt x="29" y="63"/>
                    <a:pt x="30" y="60"/>
                  </a:cubicBezTo>
                  <a:cubicBezTo>
                    <a:pt x="32" y="54"/>
                    <a:pt x="36" y="50"/>
                    <a:pt x="42" y="49"/>
                  </a:cubicBezTo>
                  <a:cubicBezTo>
                    <a:pt x="43" y="49"/>
                    <a:pt x="44" y="48"/>
                    <a:pt x="45" y="48"/>
                  </a:cubicBezTo>
                  <a:cubicBezTo>
                    <a:pt x="49" y="47"/>
                    <a:pt x="53" y="47"/>
                    <a:pt x="56" y="45"/>
                  </a:cubicBezTo>
                  <a:cubicBezTo>
                    <a:pt x="59" y="43"/>
                    <a:pt x="59" y="40"/>
                    <a:pt x="58" y="37"/>
                  </a:cubicBezTo>
                  <a:cubicBezTo>
                    <a:pt x="58" y="35"/>
                    <a:pt x="57" y="34"/>
                    <a:pt x="58" y="32"/>
                  </a:cubicBezTo>
                  <a:cubicBezTo>
                    <a:pt x="60" y="32"/>
                    <a:pt x="62" y="30"/>
                    <a:pt x="63" y="28"/>
                  </a:cubicBezTo>
                  <a:cubicBezTo>
                    <a:pt x="65" y="25"/>
                    <a:pt x="65" y="21"/>
                    <a:pt x="63" y="18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0" name="Freeform 60"/>
            <p:cNvSpPr>
              <a:spLocks/>
            </p:cNvSpPr>
            <p:nvPr/>
          </p:nvSpPr>
          <p:spPr bwMode="auto">
            <a:xfrm>
              <a:off x="2660699" y="3563420"/>
              <a:ext cx="785680" cy="737637"/>
            </a:xfrm>
            <a:custGeom>
              <a:avLst/>
              <a:gdLst>
                <a:gd name="T0" fmla="*/ 385 w 388"/>
                <a:gd name="T1" fmla="*/ 22 h 396"/>
                <a:gd name="T2" fmla="*/ 377 w 388"/>
                <a:gd name="T3" fmla="*/ 18 h 396"/>
                <a:gd name="T4" fmla="*/ 372 w 388"/>
                <a:gd name="T5" fmla="*/ 18 h 396"/>
                <a:gd name="T6" fmla="*/ 356 w 388"/>
                <a:gd name="T7" fmla="*/ 19 h 396"/>
                <a:gd name="T8" fmla="*/ 326 w 388"/>
                <a:gd name="T9" fmla="*/ 24 h 396"/>
                <a:gd name="T10" fmla="*/ 283 w 388"/>
                <a:gd name="T11" fmla="*/ 33 h 396"/>
                <a:gd name="T12" fmla="*/ 269 w 388"/>
                <a:gd name="T13" fmla="*/ 32 h 396"/>
                <a:gd name="T14" fmla="*/ 248 w 388"/>
                <a:gd name="T15" fmla="*/ 28 h 396"/>
                <a:gd name="T16" fmla="*/ 231 w 388"/>
                <a:gd name="T17" fmla="*/ 30 h 396"/>
                <a:gd name="T18" fmla="*/ 212 w 388"/>
                <a:gd name="T19" fmla="*/ 29 h 396"/>
                <a:gd name="T20" fmla="*/ 92 w 388"/>
                <a:gd name="T21" fmla="*/ 15 h 396"/>
                <a:gd name="T22" fmla="*/ 59 w 388"/>
                <a:gd name="T23" fmla="*/ 10 h 396"/>
                <a:gd name="T24" fmla="*/ 33 w 388"/>
                <a:gd name="T25" fmla="*/ 4 h 396"/>
                <a:gd name="T26" fmla="*/ 18 w 388"/>
                <a:gd name="T27" fmla="*/ 7 h 396"/>
                <a:gd name="T28" fmla="*/ 0 w 388"/>
                <a:gd name="T29" fmla="*/ 11 h 396"/>
                <a:gd name="T30" fmla="*/ 1 w 388"/>
                <a:gd name="T31" fmla="*/ 34 h 396"/>
                <a:gd name="T32" fmla="*/ 10 w 388"/>
                <a:gd name="T33" fmla="*/ 51 h 396"/>
                <a:gd name="T34" fmla="*/ 24 w 388"/>
                <a:gd name="T35" fmla="*/ 71 h 396"/>
                <a:gd name="T36" fmla="*/ 31 w 388"/>
                <a:gd name="T37" fmla="*/ 86 h 396"/>
                <a:gd name="T38" fmla="*/ 37 w 388"/>
                <a:gd name="T39" fmla="*/ 98 h 396"/>
                <a:gd name="T40" fmla="*/ 45 w 388"/>
                <a:gd name="T41" fmla="*/ 118 h 396"/>
                <a:gd name="T42" fmla="*/ 56 w 388"/>
                <a:gd name="T43" fmla="*/ 139 h 396"/>
                <a:gd name="T44" fmla="*/ 68 w 388"/>
                <a:gd name="T45" fmla="*/ 162 h 396"/>
                <a:gd name="T46" fmla="*/ 74 w 388"/>
                <a:gd name="T47" fmla="*/ 172 h 396"/>
                <a:gd name="T48" fmla="*/ 79 w 388"/>
                <a:gd name="T49" fmla="*/ 193 h 396"/>
                <a:gd name="T50" fmla="*/ 78 w 388"/>
                <a:gd name="T51" fmla="*/ 204 h 396"/>
                <a:gd name="T52" fmla="*/ 78 w 388"/>
                <a:gd name="T53" fmla="*/ 221 h 396"/>
                <a:gd name="T54" fmla="*/ 79 w 388"/>
                <a:gd name="T55" fmla="*/ 242 h 396"/>
                <a:gd name="T56" fmla="*/ 87 w 388"/>
                <a:gd name="T57" fmla="*/ 269 h 396"/>
                <a:gd name="T58" fmla="*/ 88 w 388"/>
                <a:gd name="T59" fmla="*/ 285 h 396"/>
                <a:gd name="T60" fmla="*/ 92 w 388"/>
                <a:gd name="T61" fmla="*/ 303 h 396"/>
                <a:gd name="T62" fmla="*/ 96 w 388"/>
                <a:gd name="T63" fmla="*/ 318 h 396"/>
                <a:gd name="T64" fmla="*/ 99 w 388"/>
                <a:gd name="T65" fmla="*/ 335 h 396"/>
                <a:gd name="T66" fmla="*/ 107 w 388"/>
                <a:gd name="T67" fmla="*/ 353 h 396"/>
                <a:gd name="T68" fmla="*/ 111 w 388"/>
                <a:gd name="T69" fmla="*/ 361 h 396"/>
                <a:gd name="T70" fmla="*/ 125 w 388"/>
                <a:gd name="T71" fmla="*/ 378 h 396"/>
                <a:gd name="T72" fmla="*/ 135 w 388"/>
                <a:gd name="T73" fmla="*/ 383 h 396"/>
                <a:gd name="T74" fmla="*/ 154 w 388"/>
                <a:gd name="T75" fmla="*/ 366 h 396"/>
                <a:gd name="T76" fmla="*/ 162 w 388"/>
                <a:gd name="T77" fmla="*/ 377 h 396"/>
                <a:gd name="T78" fmla="*/ 161 w 388"/>
                <a:gd name="T79" fmla="*/ 382 h 396"/>
                <a:gd name="T80" fmla="*/ 179 w 388"/>
                <a:gd name="T81" fmla="*/ 394 h 396"/>
                <a:gd name="T82" fmla="*/ 190 w 388"/>
                <a:gd name="T83" fmla="*/ 394 h 396"/>
                <a:gd name="T84" fmla="*/ 205 w 388"/>
                <a:gd name="T85" fmla="*/ 394 h 396"/>
                <a:gd name="T86" fmla="*/ 213 w 388"/>
                <a:gd name="T87" fmla="*/ 389 h 396"/>
                <a:gd name="T88" fmla="*/ 222 w 388"/>
                <a:gd name="T89" fmla="*/ 382 h 396"/>
                <a:gd name="T90" fmla="*/ 238 w 388"/>
                <a:gd name="T91" fmla="*/ 166 h 396"/>
                <a:gd name="T92" fmla="*/ 333 w 388"/>
                <a:gd name="T93" fmla="*/ 33 h 396"/>
                <a:gd name="T94" fmla="*/ 356 w 388"/>
                <a:gd name="T95" fmla="*/ 39 h 396"/>
                <a:gd name="T96" fmla="*/ 369 w 388"/>
                <a:gd name="T97" fmla="*/ 37 h 396"/>
                <a:gd name="T98" fmla="*/ 382 w 388"/>
                <a:gd name="T99" fmla="*/ 30 h 396"/>
                <a:gd name="T100" fmla="*/ 388 w 388"/>
                <a:gd name="T101" fmla="*/ 2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8" h="396">
                  <a:moveTo>
                    <a:pt x="388" y="26"/>
                  </a:moveTo>
                  <a:cubicBezTo>
                    <a:pt x="388" y="26"/>
                    <a:pt x="388" y="26"/>
                    <a:pt x="388" y="26"/>
                  </a:cubicBezTo>
                  <a:cubicBezTo>
                    <a:pt x="387" y="25"/>
                    <a:pt x="387" y="25"/>
                    <a:pt x="387" y="25"/>
                  </a:cubicBezTo>
                  <a:cubicBezTo>
                    <a:pt x="387" y="24"/>
                    <a:pt x="386" y="23"/>
                    <a:pt x="385" y="22"/>
                  </a:cubicBezTo>
                  <a:cubicBezTo>
                    <a:pt x="384" y="22"/>
                    <a:pt x="383" y="21"/>
                    <a:pt x="382" y="21"/>
                  </a:cubicBezTo>
                  <a:cubicBezTo>
                    <a:pt x="382" y="21"/>
                    <a:pt x="381" y="21"/>
                    <a:pt x="381" y="21"/>
                  </a:cubicBezTo>
                  <a:cubicBezTo>
                    <a:pt x="380" y="20"/>
                    <a:pt x="380" y="20"/>
                    <a:pt x="379" y="20"/>
                  </a:cubicBezTo>
                  <a:cubicBezTo>
                    <a:pt x="379" y="19"/>
                    <a:pt x="378" y="19"/>
                    <a:pt x="377" y="18"/>
                  </a:cubicBezTo>
                  <a:cubicBezTo>
                    <a:pt x="377" y="18"/>
                    <a:pt x="376" y="18"/>
                    <a:pt x="376" y="18"/>
                  </a:cubicBezTo>
                  <a:cubicBezTo>
                    <a:pt x="375" y="18"/>
                    <a:pt x="375" y="18"/>
                    <a:pt x="374" y="18"/>
                  </a:cubicBezTo>
                  <a:cubicBezTo>
                    <a:pt x="374" y="18"/>
                    <a:pt x="374" y="18"/>
                    <a:pt x="373" y="18"/>
                  </a:cubicBezTo>
                  <a:cubicBezTo>
                    <a:pt x="373" y="18"/>
                    <a:pt x="373" y="18"/>
                    <a:pt x="372" y="18"/>
                  </a:cubicBezTo>
                  <a:cubicBezTo>
                    <a:pt x="371" y="18"/>
                    <a:pt x="371" y="18"/>
                    <a:pt x="371" y="18"/>
                  </a:cubicBezTo>
                  <a:cubicBezTo>
                    <a:pt x="369" y="18"/>
                    <a:pt x="368" y="17"/>
                    <a:pt x="366" y="17"/>
                  </a:cubicBezTo>
                  <a:cubicBezTo>
                    <a:pt x="365" y="17"/>
                    <a:pt x="363" y="17"/>
                    <a:pt x="362" y="18"/>
                  </a:cubicBezTo>
                  <a:cubicBezTo>
                    <a:pt x="360" y="18"/>
                    <a:pt x="358" y="18"/>
                    <a:pt x="356" y="19"/>
                  </a:cubicBezTo>
                  <a:cubicBezTo>
                    <a:pt x="355" y="19"/>
                    <a:pt x="354" y="19"/>
                    <a:pt x="352" y="19"/>
                  </a:cubicBezTo>
                  <a:cubicBezTo>
                    <a:pt x="351" y="19"/>
                    <a:pt x="349" y="19"/>
                    <a:pt x="347" y="20"/>
                  </a:cubicBezTo>
                  <a:cubicBezTo>
                    <a:pt x="344" y="20"/>
                    <a:pt x="342" y="20"/>
                    <a:pt x="340" y="20"/>
                  </a:cubicBezTo>
                  <a:cubicBezTo>
                    <a:pt x="335" y="21"/>
                    <a:pt x="331" y="22"/>
                    <a:pt x="326" y="24"/>
                  </a:cubicBezTo>
                  <a:cubicBezTo>
                    <a:pt x="319" y="26"/>
                    <a:pt x="312" y="27"/>
                    <a:pt x="304" y="28"/>
                  </a:cubicBezTo>
                  <a:cubicBezTo>
                    <a:pt x="300" y="28"/>
                    <a:pt x="300" y="28"/>
                    <a:pt x="300" y="28"/>
                  </a:cubicBezTo>
                  <a:cubicBezTo>
                    <a:pt x="296" y="29"/>
                    <a:pt x="292" y="30"/>
                    <a:pt x="288" y="32"/>
                  </a:cubicBezTo>
                  <a:cubicBezTo>
                    <a:pt x="286" y="32"/>
                    <a:pt x="285" y="33"/>
                    <a:pt x="283" y="33"/>
                  </a:cubicBezTo>
                  <a:cubicBezTo>
                    <a:pt x="281" y="33"/>
                    <a:pt x="280" y="32"/>
                    <a:pt x="278" y="32"/>
                  </a:cubicBezTo>
                  <a:cubicBezTo>
                    <a:pt x="278" y="32"/>
                    <a:pt x="277" y="32"/>
                    <a:pt x="276" y="32"/>
                  </a:cubicBezTo>
                  <a:cubicBezTo>
                    <a:pt x="275" y="31"/>
                    <a:pt x="274" y="31"/>
                    <a:pt x="273" y="31"/>
                  </a:cubicBezTo>
                  <a:cubicBezTo>
                    <a:pt x="272" y="31"/>
                    <a:pt x="271" y="32"/>
                    <a:pt x="269" y="32"/>
                  </a:cubicBezTo>
                  <a:cubicBezTo>
                    <a:pt x="268" y="32"/>
                    <a:pt x="266" y="32"/>
                    <a:pt x="264" y="32"/>
                  </a:cubicBezTo>
                  <a:cubicBezTo>
                    <a:pt x="264" y="32"/>
                    <a:pt x="263" y="32"/>
                    <a:pt x="262" y="32"/>
                  </a:cubicBezTo>
                  <a:cubicBezTo>
                    <a:pt x="260" y="32"/>
                    <a:pt x="258" y="31"/>
                    <a:pt x="256" y="30"/>
                  </a:cubicBezTo>
                  <a:cubicBezTo>
                    <a:pt x="253" y="29"/>
                    <a:pt x="251" y="28"/>
                    <a:pt x="248" y="28"/>
                  </a:cubicBezTo>
                  <a:cubicBezTo>
                    <a:pt x="248" y="28"/>
                    <a:pt x="248" y="28"/>
                    <a:pt x="247" y="28"/>
                  </a:cubicBezTo>
                  <a:cubicBezTo>
                    <a:pt x="245" y="29"/>
                    <a:pt x="243" y="29"/>
                    <a:pt x="241" y="30"/>
                  </a:cubicBezTo>
                  <a:cubicBezTo>
                    <a:pt x="239" y="30"/>
                    <a:pt x="237" y="31"/>
                    <a:pt x="234" y="31"/>
                  </a:cubicBezTo>
                  <a:cubicBezTo>
                    <a:pt x="233" y="31"/>
                    <a:pt x="232" y="30"/>
                    <a:pt x="231" y="30"/>
                  </a:cubicBezTo>
                  <a:cubicBezTo>
                    <a:pt x="227" y="29"/>
                    <a:pt x="223" y="29"/>
                    <a:pt x="219" y="29"/>
                  </a:cubicBezTo>
                  <a:cubicBezTo>
                    <a:pt x="217" y="29"/>
                    <a:pt x="217" y="29"/>
                    <a:pt x="217" y="29"/>
                  </a:cubicBezTo>
                  <a:cubicBezTo>
                    <a:pt x="216" y="29"/>
                    <a:pt x="215" y="29"/>
                    <a:pt x="215" y="29"/>
                  </a:cubicBezTo>
                  <a:cubicBezTo>
                    <a:pt x="214" y="29"/>
                    <a:pt x="213" y="29"/>
                    <a:pt x="212" y="29"/>
                  </a:cubicBezTo>
                  <a:cubicBezTo>
                    <a:pt x="210" y="29"/>
                    <a:pt x="206" y="29"/>
                    <a:pt x="204" y="27"/>
                  </a:cubicBezTo>
                  <a:cubicBezTo>
                    <a:pt x="201" y="24"/>
                    <a:pt x="198" y="20"/>
                    <a:pt x="196" y="16"/>
                  </a:cubicBezTo>
                  <a:cubicBezTo>
                    <a:pt x="196" y="15"/>
                    <a:pt x="196" y="15"/>
                    <a:pt x="196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0" y="15"/>
                    <a:pt x="88" y="15"/>
                    <a:pt x="86" y="15"/>
                  </a:cubicBezTo>
                  <a:cubicBezTo>
                    <a:pt x="83" y="15"/>
                    <a:pt x="79" y="15"/>
                    <a:pt x="76" y="15"/>
                  </a:cubicBezTo>
                  <a:cubicBezTo>
                    <a:pt x="71" y="15"/>
                    <a:pt x="68" y="15"/>
                    <a:pt x="65" y="14"/>
                  </a:cubicBezTo>
                  <a:cubicBezTo>
                    <a:pt x="63" y="13"/>
                    <a:pt x="60" y="11"/>
                    <a:pt x="59" y="10"/>
                  </a:cubicBezTo>
                  <a:cubicBezTo>
                    <a:pt x="57" y="9"/>
                    <a:pt x="56" y="7"/>
                    <a:pt x="55" y="6"/>
                  </a:cubicBezTo>
                  <a:cubicBezTo>
                    <a:pt x="53" y="3"/>
                    <a:pt x="50" y="0"/>
                    <a:pt x="46" y="0"/>
                  </a:cubicBezTo>
                  <a:cubicBezTo>
                    <a:pt x="44" y="0"/>
                    <a:pt x="38" y="1"/>
                    <a:pt x="37" y="1"/>
                  </a:cubicBezTo>
                  <a:cubicBezTo>
                    <a:pt x="35" y="2"/>
                    <a:pt x="34" y="3"/>
                    <a:pt x="33" y="4"/>
                  </a:cubicBezTo>
                  <a:cubicBezTo>
                    <a:pt x="33" y="5"/>
                    <a:pt x="32" y="7"/>
                    <a:pt x="31" y="7"/>
                  </a:cubicBezTo>
                  <a:cubicBezTo>
                    <a:pt x="29" y="8"/>
                    <a:pt x="25" y="9"/>
                    <a:pt x="23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9"/>
                    <a:pt x="19" y="8"/>
                    <a:pt x="18" y="7"/>
                  </a:cubicBezTo>
                  <a:cubicBezTo>
                    <a:pt x="17" y="7"/>
                    <a:pt x="16" y="6"/>
                    <a:pt x="15" y="6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0" y="5"/>
                    <a:pt x="5" y="8"/>
                    <a:pt x="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5"/>
                    <a:pt x="0" y="19"/>
                    <a:pt x="0" y="24"/>
                  </a:cubicBezTo>
                  <a:cubicBezTo>
                    <a:pt x="0" y="24"/>
                    <a:pt x="0" y="25"/>
                    <a:pt x="0" y="26"/>
                  </a:cubicBezTo>
                  <a:cubicBezTo>
                    <a:pt x="0" y="29"/>
                    <a:pt x="1" y="32"/>
                    <a:pt x="1" y="34"/>
                  </a:cubicBezTo>
                  <a:cubicBezTo>
                    <a:pt x="2" y="37"/>
                    <a:pt x="3" y="38"/>
                    <a:pt x="4" y="40"/>
                  </a:cubicBezTo>
                  <a:cubicBezTo>
                    <a:pt x="5" y="41"/>
                    <a:pt x="5" y="42"/>
                    <a:pt x="6" y="43"/>
                  </a:cubicBezTo>
                  <a:cubicBezTo>
                    <a:pt x="6" y="44"/>
                    <a:pt x="7" y="45"/>
                    <a:pt x="7" y="46"/>
                  </a:cubicBezTo>
                  <a:cubicBezTo>
                    <a:pt x="8" y="48"/>
                    <a:pt x="8" y="50"/>
                    <a:pt x="10" y="51"/>
                  </a:cubicBezTo>
                  <a:cubicBezTo>
                    <a:pt x="11" y="53"/>
                    <a:pt x="12" y="54"/>
                    <a:pt x="14" y="56"/>
                  </a:cubicBezTo>
                  <a:cubicBezTo>
                    <a:pt x="15" y="57"/>
                    <a:pt x="16" y="57"/>
                    <a:pt x="17" y="58"/>
                  </a:cubicBezTo>
                  <a:cubicBezTo>
                    <a:pt x="18" y="61"/>
                    <a:pt x="20" y="64"/>
                    <a:pt x="22" y="67"/>
                  </a:cubicBezTo>
                  <a:cubicBezTo>
                    <a:pt x="22" y="68"/>
                    <a:pt x="23" y="70"/>
                    <a:pt x="24" y="71"/>
                  </a:cubicBezTo>
                  <a:cubicBezTo>
                    <a:pt x="25" y="73"/>
                    <a:pt x="25" y="75"/>
                    <a:pt x="26" y="76"/>
                  </a:cubicBezTo>
                  <a:cubicBezTo>
                    <a:pt x="27" y="78"/>
                    <a:pt x="28" y="79"/>
                    <a:pt x="28" y="80"/>
                  </a:cubicBezTo>
                  <a:cubicBezTo>
                    <a:pt x="29" y="82"/>
                    <a:pt x="29" y="83"/>
                    <a:pt x="30" y="84"/>
                  </a:cubicBezTo>
                  <a:cubicBezTo>
                    <a:pt x="30" y="85"/>
                    <a:pt x="30" y="86"/>
                    <a:pt x="31" y="86"/>
                  </a:cubicBezTo>
                  <a:cubicBezTo>
                    <a:pt x="31" y="87"/>
                    <a:pt x="31" y="88"/>
                    <a:pt x="31" y="88"/>
                  </a:cubicBezTo>
                  <a:cubicBezTo>
                    <a:pt x="32" y="89"/>
                    <a:pt x="33" y="90"/>
                    <a:pt x="33" y="91"/>
                  </a:cubicBezTo>
                  <a:cubicBezTo>
                    <a:pt x="33" y="91"/>
                    <a:pt x="34" y="91"/>
                    <a:pt x="34" y="91"/>
                  </a:cubicBezTo>
                  <a:cubicBezTo>
                    <a:pt x="35" y="93"/>
                    <a:pt x="36" y="95"/>
                    <a:pt x="37" y="98"/>
                  </a:cubicBezTo>
                  <a:cubicBezTo>
                    <a:pt x="37" y="101"/>
                    <a:pt x="38" y="104"/>
                    <a:pt x="41" y="107"/>
                  </a:cubicBezTo>
                  <a:cubicBezTo>
                    <a:pt x="42" y="108"/>
                    <a:pt x="42" y="110"/>
                    <a:pt x="43" y="111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4" y="114"/>
                    <a:pt x="44" y="116"/>
                    <a:pt x="45" y="118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6" y="124"/>
                    <a:pt x="47" y="128"/>
                    <a:pt x="49" y="131"/>
                  </a:cubicBezTo>
                  <a:cubicBezTo>
                    <a:pt x="50" y="133"/>
                    <a:pt x="52" y="134"/>
                    <a:pt x="53" y="136"/>
                  </a:cubicBezTo>
                  <a:cubicBezTo>
                    <a:pt x="54" y="137"/>
                    <a:pt x="55" y="138"/>
                    <a:pt x="56" y="139"/>
                  </a:cubicBezTo>
                  <a:cubicBezTo>
                    <a:pt x="58" y="142"/>
                    <a:pt x="60" y="146"/>
                    <a:pt x="62" y="150"/>
                  </a:cubicBezTo>
                  <a:cubicBezTo>
                    <a:pt x="62" y="151"/>
                    <a:pt x="63" y="152"/>
                    <a:pt x="63" y="153"/>
                  </a:cubicBezTo>
                  <a:cubicBezTo>
                    <a:pt x="63" y="155"/>
                    <a:pt x="64" y="157"/>
                    <a:pt x="65" y="159"/>
                  </a:cubicBezTo>
                  <a:cubicBezTo>
                    <a:pt x="66" y="160"/>
                    <a:pt x="67" y="161"/>
                    <a:pt x="68" y="162"/>
                  </a:cubicBezTo>
                  <a:cubicBezTo>
                    <a:pt x="68" y="162"/>
                    <a:pt x="69" y="163"/>
                    <a:pt x="69" y="163"/>
                  </a:cubicBezTo>
                  <a:cubicBezTo>
                    <a:pt x="70" y="164"/>
                    <a:pt x="70" y="165"/>
                    <a:pt x="71" y="166"/>
                  </a:cubicBezTo>
                  <a:cubicBezTo>
                    <a:pt x="71" y="166"/>
                    <a:pt x="71" y="167"/>
                    <a:pt x="71" y="167"/>
                  </a:cubicBezTo>
                  <a:cubicBezTo>
                    <a:pt x="72" y="169"/>
                    <a:pt x="73" y="170"/>
                    <a:pt x="74" y="172"/>
                  </a:cubicBezTo>
                  <a:cubicBezTo>
                    <a:pt x="75" y="173"/>
                    <a:pt x="76" y="174"/>
                    <a:pt x="76" y="176"/>
                  </a:cubicBezTo>
                  <a:cubicBezTo>
                    <a:pt x="78" y="178"/>
                    <a:pt x="78" y="181"/>
                    <a:pt x="79" y="184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80" y="187"/>
                    <a:pt x="80" y="191"/>
                    <a:pt x="79" y="193"/>
                  </a:cubicBezTo>
                  <a:cubicBezTo>
                    <a:pt x="79" y="193"/>
                    <a:pt x="79" y="193"/>
                    <a:pt x="78" y="194"/>
                  </a:cubicBezTo>
                  <a:cubicBezTo>
                    <a:pt x="78" y="195"/>
                    <a:pt x="77" y="196"/>
                    <a:pt x="77" y="197"/>
                  </a:cubicBezTo>
                  <a:cubicBezTo>
                    <a:pt x="76" y="199"/>
                    <a:pt x="77" y="201"/>
                    <a:pt x="78" y="202"/>
                  </a:cubicBezTo>
                  <a:cubicBezTo>
                    <a:pt x="78" y="203"/>
                    <a:pt x="78" y="203"/>
                    <a:pt x="78" y="204"/>
                  </a:cubicBezTo>
                  <a:cubicBezTo>
                    <a:pt x="78" y="205"/>
                    <a:pt x="78" y="207"/>
                    <a:pt x="78" y="209"/>
                  </a:cubicBezTo>
                  <a:cubicBezTo>
                    <a:pt x="78" y="210"/>
                    <a:pt x="78" y="211"/>
                    <a:pt x="78" y="212"/>
                  </a:cubicBezTo>
                  <a:cubicBezTo>
                    <a:pt x="78" y="214"/>
                    <a:pt x="78" y="215"/>
                    <a:pt x="78" y="217"/>
                  </a:cubicBezTo>
                  <a:cubicBezTo>
                    <a:pt x="78" y="218"/>
                    <a:pt x="78" y="219"/>
                    <a:pt x="78" y="221"/>
                  </a:cubicBezTo>
                  <a:cubicBezTo>
                    <a:pt x="78" y="223"/>
                    <a:pt x="78" y="226"/>
                    <a:pt x="78" y="229"/>
                  </a:cubicBezTo>
                  <a:cubicBezTo>
                    <a:pt x="78" y="230"/>
                    <a:pt x="78" y="230"/>
                    <a:pt x="78" y="230"/>
                  </a:cubicBezTo>
                  <a:cubicBezTo>
                    <a:pt x="77" y="232"/>
                    <a:pt x="77" y="235"/>
                    <a:pt x="78" y="237"/>
                  </a:cubicBezTo>
                  <a:cubicBezTo>
                    <a:pt x="78" y="239"/>
                    <a:pt x="79" y="240"/>
                    <a:pt x="79" y="242"/>
                  </a:cubicBezTo>
                  <a:cubicBezTo>
                    <a:pt x="80" y="243"/>
                    <a:pt x="81" y="244"/>
                    <a:pt x="81" y="245"/>
                  </a:cubicBezTo>
                  <a:cubicBezTo>
                    <a:pt x="81" y="246"/>
                    <a:pt x="81" y="247"/>
                    <a:pt x="81" y="248"/>
                  </a:cubicBezTo>
                  <a:cubicBezTo>
                    <a:pt x="81" y="250"/>
                    <a:pt x="82" y="252"/>
                    <a:pt x="83" y="254"/>
                  </a:cubicBezTo>
                  <a:cubicBezTo>
                    <a:pt x="86" y="259"/>
                    <a:pt x="87" y="264"/>
                    <a:pt x="87" y="269"/>
                  </a:cubicBezTo>
                  <a:cubicBezTo>
                    <a:pt x="87" y="272"/>
                    <a:pt x="88" y="275"/>
                    <a:pt x="88" y="277"/>
                  </a:cubicBezTo>
                  <a:cubicBezTo>
                    <a:pt x="89" y="279"/>
                    <a:pt x="89" y="281"/>
                    <a:pt x="89" y="282"/>
                  </a:cubicBezTo>
                  <a:cubicBezTo>
                    <a:pt x="89" y="283"/>
                    <a:pt x="89" y="283"/>
                    <a:pt x="89" y="283"/>
                  </a:cubicBezTo>
                  <a:cubicBezTo>
                    <a:pt x="89" y="284"/>
                    <a:pt x="88" y="285"/>
                    <a:pt x="88" y="285"/>
                  </a:cubicBezTo>
                  <a:cubicBezTo>
                    <a:pt x="88" y="288"/>
                    <a:pt x="88" y="291"/>
                    <a:pt x="89" y="294"/>
                  </a:cubicBezTo>
                  <a:cubicBezTo>
                    <a:pt x="90" y="295"/>
                    <a:pt x="90" y="296"/>
                    <a:pt x="90" y="296"/>
                  </a:cubicBezTo>
                  <a:cubicBezTo>
                    <a:pt x="91" y="298"/>
                    <a:pt x="92" y="300"/>
                    <a:pt x="92" y="301"/>
                  </a:cubicBezTo>
                  <a:cubicBezTo>
                    <a:pt x="92" y="302"/>
                    <a:pt x="92" y="303"/>
                    <a:pt x="92" y="303"/>
                  </a:cubicBezTo>
                  <a:cubicBezTo>
                    <a:pt x="91" y="305"/>
                    <a:pt x="91" y="308"/>
                    <a:pt x="93" y="310"/>
                  </a:cubicBezTo>
                  <a:cubicBezTo>
                    <a:pt x="94" y="311"/>
                    <a:pt x="94" y="312"/>
                    <a:pt x="95" y="313"/>
                  </a:cubicBezTo>
                  <a:cubicBezTo>
                    <a:pt x="97" y="314"/>
                    <a:pt x="97" y="315"/>
                    <a:pt x="97" y="316"/>
                  </a:cubicBezTo>
                  <a:cubicBezTo>
                    <a:pt x="97" y="317"/>
                    <a:pt x="97" y="317"/>
                    <a:pt x="96" y="318"/>
                  </a:cubicBezTo>
                  <a:cubicBezTo>
                    <a:pt x="95" y="320"/>
                    <a:pt x="94" y="322"/>
                    <a:pt x="95" y="324"/>
                  </a:cubicBezTo>
                  <a:cubicBezTo>
                    <a:pt x="95" y="326"/>
                    <a:pt x="96" y="327"/>
                    <a:pt x="97" y="329"/>
                  </a:cubicBezTo>
                  <a:cubicBezTo>
                    <a:pt x="98" y="330"/>
                    <a:pt x="98" y="331"/>
                    <a:pt x="98" y="332"/>
                  </a:cubicBezTo>
                  <a:cubicBezTo>
                    <a:pt x="99" y="333"/>
                    <a:pt x="99" y="334"/>
                    <a:pt x="99" y="335"/>
                  </a:cubicBezTo>
                  <a:cubicBezTo>
                    <a:pt x="99" y="337"/>
                    <a:pt x="99" y="339"/>
                    <a:pt x="100" y="341"/>
                  </a:cubicBezTo>
                  <a:cubicBezTo>
                    <a:pt x="101" y="343"/>
                    <a:pt x="102" y="346"/>
                    <a:pt x="104" y="348"/>
                  </a:cubicBezTo>
                  <a:cubicBezTo>
                    <a:pt x="105" y="350"/>
                    <a:pt x="106" y="351"/>
                    <a:pt x="107" y="352"/>
                  </a:cubicBezTo>
                  <a:cubicBezTo>
                    <a:pt x="107" y="352"/>
                    <a:pt x="107" y="353"/>
                    <a:pt x="107" y="353"/>
                  </a:cubicBezTo>
                  <a:cubicBezTo>
                    <a:pt x="108" y="354"/>
                    <a:pt x="108" y="355"/>
                    <a:pt x="108" y="356"/>
                  </a:cubicBezTo>
                  <a:cubicBezTo>
                    <a:pt x="108" y="356"/>
                    <a:pt x="109" y="357"/>
                    <a:pt x="109" y="358"/>
                  </a:cubicBezTo>
                  <a:cubicBezTo>
                    <a:pt x="110" y="358"/>
                    <a:pt x="110" y="359"/>
                    <a:pt x="110" y="359"/>
                  </a:cubicBezTo>
                  <a:cubicBezTo>
                    <a:pt x="111" y="360"/>
                    <a:pt x="111" y="360"/>
                    <a:pt x="111" y="361"/>
                  </a:cubicBezTo>
                  <a:cubicBezTo>
                    <a:pt x="111" y="362"/>
                    <a:pt x="112" y="363"/>
                    <a:pt x="112" y="364"/>
                  </a:cubicBezTo>
                  <a:cubicBezTo>
                    <a:pt x="114" y="366"/>
                    <a:pt x="115" y="368"/>
                    <a:pt x="117" y="369"/>
                  </a:cubicBezTo>
                  <a:cubicBezTo>
                    <a:pt x="118" y="370"/>
                    <a:pt x="119" y="371"/>
                    <a:pt x="120" y="371"/>
                  </a:cubicBezTo>
                  <a:cubicBezTo>
                    <a:pt x="122" y="373"/>
                    <a:pt x="123" y="376"/>
                    <a:pt x="125" y="378"/>
                  </a:cubicBezTo>
                  <a:cubicBezTo>
                    <a:pt x="126" y="380"/>
                    <a:pt x="128" y="381"/>
                    <a:pt x="130" y="383"/>
                  </a:cubicBezTo>
                  <a:cubicBezTo>
                    <a:pt x="131" y="383"/>
                    <a:pt x="131" y="383"/>
                    <a:pt x="131" y="383"/>
                  </a:cubicBezTo>
                  <a:cubicBezTo>
                    <a:pt x="132" y="383"/>
                    <a:pt x="132" y="383"/>
                    <a:pt x="132" y="383"/>
                  </a:cubicBezTo>
                  <a:cubicBezTo>
                    <a:pt x="133" y="383"/>
                    <a:pt x="134" y="383"/>
                    <a:pt x="135" y="383"/>
                  </a:cubicBezTo>
                  <a:cubicBezTo>
                    <a:pt x="136" y="382"/>
                    <a:pt x="136" y="382"/>
                    <a:pt x="137" y="382"/>
                  </a:cubicBezTo>
                  <a:cubicBezTo>
                    <a:pt x="141" y="381"/>
                    <a:pt x="142" y="381"/>
                    <a:pt x="143" y="376"/>
                  </a:cubicBezTo>
                  <a:cubicBezTo>
                    <a:pt x="145" y="371"/>
                    <a:pt x="147" y="366"/>
                    <a:pt x="153" y="366"/>
                  </a:cubicBezTo>
                  <a:cubicBezTo>
                    <a:pt x="153" y="366"/>
                    <a:pt x="154" y="366"/>
                    <a:pt x="154" y="366"/>
                  </a:cubicBezTo>
                  <a:cubicBezTo>
                    <a:pt x="154" y="366"/>
                    <a:pt x="155" y="366"/>
                    <a:pt x="155" y="366"/>
                  </a:cubicBezTo>
                  <a:cubicBezTo>
                    <a:pt x="156" y="369"/>
                    <a:pt x="157" y="370"/>
                    <a:pt x="159" y="371"/>
                  </a:cubicBezTo>
                  <a:cubicBezTo>
                    <a:pt x="160" y="371"/>
                    <a:pt x="161" y="372"/>
                    <a:pt x="162" y="374"/>
                  </a:cubicBezTo>
                  <a:cubicBezTo>
                    <a:pt x="163" y="375"/>
                    <a:pt x="162" y="376"/>
                    <a:pt x="162" y="377"/>
                  </a:cubicBezTo>
                  <a:cubicBezTo>
                    <a:pt x="162" y="378"/>
                    <a:pt x="162" y="378"/>
                    <a:pt x="161" y="379"/>
                  </a:cubicBezTo>
                  <a:cubicBezTo>
                    <a:pt x="161" y="380"/>
                    <a:pt x="161" y="380"/>
                    <a:pt x="161" y="381"/>
                  </a:cubicBezTo>
                  <a:cubicBezTo>
                    <a:pt x="161" y="382"/>
                    <a:pt x="161" y="382"/>
                    <a:pt x="161" y="382"/>
                  </a:cubicBezTo>
                  <a:cubicBezTo>
                    <a:pt x="161" y="382"/>
                    <a:pt x="161" y="382"/>
                    <a:pt x="161" y="382"/>
                  </a:cubicBezTo>
                  <a:cubicBezTo>
                    <a:pt x="161" y="383"/>
                    <a:pt x="162" y="384"/>
                    <a:pt x="162" y="384"/>
                  </a:cubicBezTo>
                  <a:cubicBezTo>
                    <a:pt x="164" y="388"/>
                    <a:pt x="165" y="388"/>
                    <a:pt x="169" y="389"/>
                  </a:cubicBezTo>
                  <a:cubicBezTo>
                    <a:pt x="170" y="389"/>
                    <a:pt x="171" y="389"/>
                    <a:pt x="171" y="389"/>
                  </a:cubicBezTo>
                  <a:cubicBezTo>
                    <a:pt x="177" y="389"/>
                    <a:pt x="177" y="390"/>
                    <a:pt x="179" y="394"/>
                  </a:cubicBezTo>
                  <a:cubicBezTo>
                    <a:pt x="179" y="395"/>
                    <a:pt x="179" y="395"/>
                    <a:pt x="179" y="395"/>
                  </a:cubicBezTo>
                  <a:cubicBezTo>
                    <a:pt x="181" y="395"/>
                    <a:pt x="181" y="395"/>
                    <a:pt x="181" y="395"/>
                  </a:cubicBezTo>
                  <a:cubicBezTo>
                    <a:pt x="183" y="395"/>
                    <a:pt x="184" y="395"/>
                    <a:pt x="186" y="394"/>
                  </a:cubicBezTo>
                  <a:cubicBezTo>
                    <a:pt x="187" y="394"/>
                    <a:pt x="188" y="394"/>
                    <a:pt x="190" y="394"/>
                  </a:cubicBezTo>
                  <a:cubicBezTo>
                    <a:pt x="192" y="393"/>
                    <a:pt x="195" y="393"/>
                    <a:pt x="198" y="393"/>
                  </a:cubicBezTo>
                  <a:cubicBezTo>
                    <a:pt x="199" y="393"/>
                    <a:pt x="200" y="393"/>
                    <a:pt x="201" y="393"/>
                  </a:cubicBezTo>
                  <a:cubicBezTo>
                    <a:pt x="201" y="393"/>
                    <a:pt x="201" y="393"/>
                    <a:pt x="201" y="393"/>
                  </a:cubicBezTo>
                  <a:cubicBezTo>
                    <a:pt x="203" y="393"/>
                    <a:pt x="204" y="393"/>
                    <a:pt x="205" y="394"/>
                  </a:cubicBezTo>
                  <a:cubicBezTo>
                    <a:pt x="206" y="395"/>
                    <a:pt x="207" y="396"/>
                    <a:pt x="208" y="396"/>
                  </a:cubicBezTo>
                  <a:cubicBezTo>
                    <a:pt x="209" y="396"/>
                    <a:pt x="209" y="396"/>
                    <a:pt x="210" y="396"/>
                  </a:cubicBezTo>
                  <a:cubicBezTo>
                    <a:pt x="210" y="396"/>
                    <a:pt x="211" y="396"/>
                    <a:pt x="212" y="395"/>
                  </a:cubicBezTo>
                  <a:cubicBezTo>
                    <a:pt x="213" y="394"/>
                    <a:pt x="213" y="391"/>
                    <a:pt x="213" y="389"/>
                  </a:cubicBezTo>
                  <a:cubicBezTo>
                    <a:pt x="214" y="389"/>
                    <a:pt x="215" y="389"/>
                    <a:pt x="216" y="388"/>
                  </a:cubicBezTo>
                  <a:cubicBezTo>
                    <a:pt x="217" y="388"/>
                    <a:pt x="218" y="388"/>
                    <a:pt x="219" y="387"/>
                  </a:cubicBezTo>
                  <a:cubicBezTo>
                    <a:pt x="220" y="386"/>
                    <a:pt x="220" y="385"/>
                    <a:pt x="220" y="384"/>
                  </a:cubicBezTo>
                  <a:cubicBezTo>
                    <a:pt x="220" y="384"/>
                    <a:pt x="220" y="383"/>
                    <a:pt x="222" y="382"/>
                  </a:cubicBezTo>
                  <a:cubicBezTo>
                    <a:pt x="224" y="381"/>
                    <a:pt x="226" y="380"/>
                    <a:pt x="229" y="380"/>
                  </a:cubicBezTo>
                  <a:cubicBezTo>
                    <a:pt x="230" y="379"/>
                    <a:pt x="232" y="379"/>
                    <a:pt x="233" y="378"/>
                  </a:cubicBezTo>
                  <a:cubicBezTo>
                    <a:pt x="234" y="378"/>
                    <a:pt x="234" y="378"/>
                    <a:pt x="234" y="378"/>
                  </a:cubicBezTo>
                  <a:cubicBezTo>
                    <a:pt x="238" y="166"/>
                    <a:pt x="238" y="166"/>
                    <a:pt x="238" y="166"/>
                  </a:cubicBezTo>
                  <a:cubicBezTo>
                    <a:pt x="265" y="166"/>
                    <a:pt x="265" y="166"/>
                    <a:pt x="265" y="166"/>
                  </a:cubicBezTo>
                  <a:cubicBezTo>
                    <a:pt x="265" y="46"/>
                    <a:pt x="265" y="46"/>
                    <a:pt x="265" y="46"/>
                  </a:cubicBezTo>
                  <a:cubicBezTo>
                    <a:pt x="289" y="44"/>
                    <a:pt x="289" y="44"/>
                    <a:pt x="289" y="44"/>
                  </a:cubicBezTo>
                  <a:cubicBezTo>
                    <a:pt x="333" y="33"/>
                    <a:pt x="333" y="33"/>
                    <a:pt x="333" y="33"/>
                  </a:cubicBezTo>
                  <a:cubicBezTo>
                    <a:pt x="343" y="50"/>
                    <a:pt x="343" y="50"/>
                    <a:pt x="343" y="50"/>
                  </a:cubicBezTo>
                  <a:cubicBezTo>
                    <a:pt x="345" y="49"/>
                    <a:pt x="345" y="49"/>
                    <a:pt x="345" y="49"/>
                  </a:cubicBezTo>
                  <a:cubicBezTo>
                    <a:pt x="348" y="46"/>
                    <a:pt x="351" y="43"/>
                    <a:pt x="354" y="41"/>
                  </a:cubicBezTo>
                  <a:cubicBezTo>
                    <a:pt x="355" y="41"/>
                    <a:pt x="356" y="40"/>
                    <a:pt x="356" y="39"/>
                  </a:cubicBezTo>
                  <a:cubicBezTo>
                    <a:pt x="358" y="38"/>
                    <a:pt x="361" y="36"/>
                    <a:pt x="363" y="35"/>
                  </a:cubicBezTo>
                  <a:cubicBezTo>
                    <a:pt x="363" y="35"/>
                    <a:pt x="364" y="35"/>
                    <a:pt x="364" y="35"/>
                  </a:cubicBezTo>
                  <a:cubicBezTo>
                    <a:pt x="365" y="35"/>
                    <a:pt x="366" y="35"/>
                    <a:pt x="367" y="36"/>
                  </a:cubicBezTo>
                  <a:cubicBezTo>
                    <a:pt x="367" y="36"/>
                    <a:pt x="368" y="37"/>
                    <a:pt x="369" y="37"/>
                  </a:cubicBezTo>
                  <a:cubicBezTo>
                    <a:pt x="370" y="38"/>
                    <a:pt x="370" y="38"/>
                    <a:pt x="370" y="38"/>
                  </a:cubicBezTo>
                  <a:cubicBezTo>
                    <a:pt x="371" y="36"/>
                    <a:pt x="371" y="36"/>
                    <a:pt x="371" y="36"/>
                  </a:cubicBezTo>
                  <a:cubicBezTo>
                    <a:pt x="372" y="33"/>
                    <a:pt x="375" y="32"/>
                    <a:pt x="377" y="31"/>
                  </a:cubicBezTo>
                  <a:cubicBezTo>
                    <a:pt x="378" y="30"/>
                    <a:pt x="380" y="30"/>
                    <a:pt x="382" y="30"/>
                  </a:cubicBezTo>
                  <a:cubicBezTo>
                    <a:pt x="384" y="30"/>
                    <a:pt x="385" y="30"/>
                    <a:pt x="386" y="29"/>
                  </a:cubicBezTo>
                  <a:cubicBezTo>
                    <a:pt x="387" y="29"/>
                    <a:pt x="387" y="28"/>
                    <a:pt x="388" y="27"/>
                  </a:cubicBezTo>
                  <a:cubicBezTo>
                    <a:pt x="388" y="27"/>
                    <a:pt x="388" y="27"/>
                    <a:pt x="388" y="27"/>
                  </a:cubicBezTo>
                  <a:lnTo>
                    <a:pt x="388" y="26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1" name="Freeform 61"/>
            <p:cNvSpPr>
              <a:spLocks/>
            </p:cNvSpPr>
            <p:nvPr/>
          </p:nvSpPr>
          <p:spPr bwMode="auto">
            <a:xfrm>
              <a:off x="2628334" y="2296697"/>
              <a:ext cx="440829" cy="538332"/>
            </a:xfrm>
            <a:custGeom>
              <a:avLst/>
              <a:gdLst>
                <a:gd name="T0" fmla="*/ 211 w 218"/>
                <a:gd name="T1" fmla="*/ 5 h 289"/>
                <a:gd name="T2" fmla="*/ 192 w 218"/>
                <a:gd name="T3" fmla="*/ 2 h 289"/>
                <a:gd name="T4" fmla="*/ 169 w 218"/>
                <a:gd name="T5" fmla="*/ 5 h 289"/>
                <a:gd name="T6" fmla="*/ 149 w 218"/>
                <a:gd name="T7" fmla="*/ 42 h 289"/>
                <a:gd name="T8" fmla="*/ 144 w 218"/>
                <a:gd name="T9" fmla="*/ 52 h 289"/>
                <a:gd name="T10" fmla="*/ 136 w 218"/>
                <a:gd name="T11" fmla="*/ 60 h 289"/>
                <a:gd name="T12" fmla="*/ 118 w 218"/>
                <a:gd name="T13" fmla="*/ 56 h 289"/>
                <a:gd name="T14" fmla="*/ 90 w 218"/>
                <a:gd name="T15" fmla="*/ 49 h 289"/>
                <a:gd name="T16" fmla="*/ 69 w 218"/>
                <a:gd name="T17" fmla="*/ 49 h 289"/>
                <a:gd name="T18" fmla="*/ 63 w 218"/>
                <a:gd name="T19" fmla="*/ 49 h 289"/>
                <a:gd name="T20" fmla="*/ 57 w 218"/>
                <a:gd name="T21" fmla="*/ 68 h 289"/>
                <a:gd name="T22" fmla="*/ 58 w 218"/>
                <a:gd name="T23" fmla="*/ 78 h 289"/>
                <a:gd name="T24" fmla="*/ 80 w 218"/>
                <a:gd name="T25" fmla="*/ 74 h 289"/>
                <a:gd name="T26" fmla="*/ 95 w 218"/>
                <a:gd name="T27" fmla="*/ 94 h 289"/>
                <a:gd name="T28" fmla="*/ 91 w 218"/>
                <a:gd name="T29" fmla="*/ 99 h 289"/>
                <a:gd name="T30" fmla="*/ 80 w 218"/>
                <a:gd name="T31" fmla="*/ 123 h 289"/>
                <a:gd name="T32" fmla="*/ 83 w 218"/>
                <a:gd name="T33" fmla="*/ 130 h 289"/>
                <a:gd name="T34" fmla="*/ 90 w 218"/>
                <a:gd name="T35" fmla="*/ 137 h 289"/>
                <a:gd name="T36" fmla="*/ 95 w 218"/>
                <a:gd name="T37" fmla="*/ 156 h 289"/>
                <a:gd name="T38" fmla="*/ 92 w 218"/>
                <a:gd name="T39" fmla="*/ 186 h 289"/>
                <a:gd name="T40" fmla="*/ 84 w 218"/>
                <a:gd name="T41" fmla="*/ 203 h 289"/>
                <a:gd name="T42" fmla="*/ 76 w 218"/>
                <a:gd name="T43" fmla="*/ 192 h 289"/>
                <a:gd name="T44" fmla="*/ 66 w 218"/>
                <a:gd name="T45" fmla="*/ 200 h 289"/>
                <a:gd name="T46" fmla="*/ 52 w 218"/>
                <a:gd name="T47" fmla="*/ 189 h 289"/>
                <a:gd name="T48" fmla="*/ 40 w 218"/>
                <a:gd name="T49" fmla="*/ 183 h 289"/>
                <a:gd name="T50" fmla="*/ 38 w 218"/>
                <a:gd name="T51" fmla="*/ 189 h 289"/>
                <a:gd name="T52" fmla="*/ 32 w 218"/>
                <a:gd name="T53" fmla="*/ 198 h 289"/>
                <a:gd name="T54" fmla="*/ 26 w 218"/>
                <a:gd name="T55" fmla="*/ 200 h 289"/>
                <a:gd name="T56" fmla="*/ 18 w 218"/>
                <a:gd name="T57" fmla="*/ 200 h 289"/>
                <a:gd name="T58" fmla="*/ 13 w 218"/>
                <a:gd name="T59" fmla="*/ 199 h 289"/>
                <a:gd name="T60" fmla="*/ 13 w 218"/>
                <a:gd name="T61" fmla="*/ 210 h 289"/>
                <a:gd name="T62" fmla="*/ 12 w 218"/>
                <a:gd name="T63" fmla="*/ 214 h 289"/>
                <a:gd name="T64" fmla="*/ 17 w 218"/>
                <a:gd name="T65" fmla="*/ 225 h 289"/>
                <a:gd name="T66" fmla="*/ 20 w 218"/>
                <a:gd name="T67" fmla="*/ 233 h 289"/>
                <a:gd name="T68" fmla="*/ 12 w 218"/>
                <a:gd name="T69" fmla="*/ 239 h 289"/>
                <a:gd name="T70" fmla="*/ 0 w 218"/>
                <a:gd name="T71" fmla="*/ 252 h 289"/>
                <a:gd name="T72" fmla="*/ 11 w 218"/>
                <a:gd name="T73" fmla="*/ 265 h 289"/>
                <a:gd name="T74" fmla="*/ 19 w 218"/>
                <a:gd name="T75" fmla="*/ 283 h 289"/>
                <a:gd name="T76" fmla="*/ 25 w 218"/>
                <a:gd name="T77" fmla="*/ 287 h 289"/>
                <a:gd name="T78" fmla="*/ 52 w 218"/>
                <a:gd name="T79" fmla="*/ 268 h 289"/>
                <a:gd name="T80" fmla="*/ 59 w 218"/>
                <a:gd name="T81" fmla="*/ 275 h 289"/>
                <a:gd name="T82" fmla="*/ 68 w 218"/>
                <a:gd name="T83" fmla="*/ 280 h 289"/>
                <a:gd name="T84" fmla="*/ 78 w 218"/>
                <a:gd name="T85" fmla="*/ 268 h 289"/>
                <a:gd name="T86" fmla="*/ 88 w 218"/>
                <a:gd name="T87" fmla="*/ 266 h 289"/>
                <a:gd name="T88" fmla="*/ 100 w 218"/>
                <a:gd name="T89" fmla="*/ 284 h 289"/>
                <a:gd name="T90" fmla="*/ 123 w 218"/>
                <a:gd name="T91" fmla="*/ 262 h 289"/>
                <a:gd name="T92" fmla="*/ 142 w 218"/>
                <a:gd name="T93" fmla="*/ 245 h 289"/>
                <a:gd name="T94" fmla="*/ 146 w 218"/>
                <a:gd name="T95" fmla="*/ 193 h 289"/>
                <a:gd name="T96" fmla="*/ 164 w 218"/>
                <a:gd name="T97" fmla="*/ 174 h 289"/>
                <a:gd name="T98" fmla="*/ 173 w 218"/>
                <a:gd name="T99" fmla="*/ 160 h 289"/>
                <a:gd name="T100" fmla="*/ 192 w 218"/>
                <a:gd name="T101" fmla="*/ 140 h 289"/>
                <a:gd name="T102" fmla="*/ 195 w 218"/>
                <a:gd name="T103" fmla="*/ 94 h 289"/>
                <a:gd name="T104" fmla="*/ 210 w 218"/>
                <a:gd name="T105" fmla="*/ 31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8" h="289">
                  <a:moveTo>
                    <a:pt x="215" y="6"/>
                  </a:moveTo>
                  <a:cubicBezTo>
                    <a:pt x="214" y="5"/>
                    <a:pt x="214" y="5"/>
                    <a:pt x="214" y="5"/>
                  </a:cubicBezTo>
                  <a:cubicBezTo>
                    <a:pt x="213" y="5"/>
                    <a:pt x="213" y="5"/>
                    <a:pt x="213" y="5"/>
                  </a:cubicBezTo>
                  <a:cubicBezTo>
                    <a:pt x="212" y="5"/>
                    <a:pt x="212" y="5"/>
                    <a:pt x="211" y="5"/>
                  </a:cubicBezTo>
                  <a:cubicBezTo>
                    <a:pt x="209" y="5"/>
                    <a:pt x="208" y="5"/>
                    <a:pt x="206" y="5"/>
                  </a:cubicBezTo>
                  <a:cubicBezTo>
                    <a:pt x="205" y="5"/>
                    <a:pt x="204" y="5"/>
                    <a:pt x="202" y="5"/>
                  </a:cubicBezTo>
                  <a:cubicBezTo>
                    <a:pt x="200" y="5"/>
                    <a:pt x="197" y="5"/>
                    <a:pt x="195" y="4"/>
                  </a:cubicBezTo>
                  <a:cubicBezTo>
                    <a:pt x="194" y="3"/>
                    <a:pt x="193" y="3"/>
                    <a:pt x="192" y="2"/>
                  </a:cubicBezTo>
                  <a:cubicBezTo>
                    <a:pt x="190" y="1"/>
                    <a:pt x="187" y="0"/>
                    <a:pt x="185" y="0"/>
                  </a:cubicBezTo>
                  <a:cubicBezTo>
                    <a:pt x="183" y="0"/>
                    <a:pt x="182" y="1"/>
                    <a:pt x="180" y="2"/>
                  </a:cubicBezTo>
                  <a:cubicBezTo>
                    <a:pt x="179" y="3"/>
                    <a:pt x="177" y="3"/>
                    <a:pt x="176" y="4"/>
                  </a:cubicBezTo>
                  <a:cubicBezTo>
                    <a:pt x="173" y="5"/>
                    <a:pt x="171" y="5"/>
                    <a:pt x="169" y="5"/>
                  </a:cubicBezTo>
                  <a:cubicBezTo>
                    <a:pt x="164" y="5"/>
                    <a:pt x="161" y="5"/>
                    <a:pt x="158" y="12"/>
                  </a:cubicBezTo>
                  <a:cubicBezTo>
                    <a:pt x="156" y="16"/>
                    <a:pt x="156" y="20"/>
                    <a:pt x="155" y="24"/>
                  </a:cubicBezTo>
                  <a:cubicBezTo>
                    <a:pt x="154" y="27"/>
                    <a:pt x="154" y="30"/>
                    <a:pt x="153" y="33"/>
                  </a:cubicBezTo>
                  <a:cubicBezTo>
                    <a:pt x="152" y="36"/>
                    <a:pt x="150" y="39"/>
                    <a:pt x="149" y="42"/>
                  </a:cubicBezTo>
                  <a:cubicBezTo>
                    <a:pt x="148" y="43"/>
                    <a:pt x="148" y="44"/>
                    <a:pt x="148" y="45"/>
                  </a:cubicBezTo>
                  <a:cubicBezTo>
                    <a:pt x="147" y="47"/>
                    <a:pt x="146" y="49"/>
                    <a:pt x="145" y="50"/>
                  </a:cubicBezTo>
                  <a:cubicBezTo>
                    <a:pt x="143" y="50"/>
                    <a:pt x="143" y="50"/>
                    <a:pt x="143" y="50"/>
                  </a:cubicBezTo>
                  <a:cubicBezTo>
                    <a:pt x="144" y="52"/>
                    <a:pt x="144" y="52"/>
                    <a:pt x="144" y="52"/>
                  </a:cubicBezTo>
                  <a:cubicBezTo>
                    <a:pt x="144" y="55"/>
                    <a:pt x="145" y="58"/>
                    <a:pt x="144" y="61"/>
                  </a:cubicBezTo>
                  <a:cubicBezTo>
                    <a:pt x="143" y="62"/>
                    <a:pt x="143" y="63"/>
                    <a:pt x="142" y="63"/>
                  </a:cubicBezTo>
                  <a:cubicBezTo>
                    <a:pt x="142" y="63"/>
                    <a:pt x="142" y="63"/>
                    <a:pt x="142" y="63"/>
                  </a:cubicBezTo>
                  <a:cubicBezTo>
                    <a:pt x="140" y="63"/>
                    <a:pt x="138" y="62"/>
                    <a:pt x="136" y="60"/>
                  </a:cubicBezTo>
                  <a:cubicBezTo>
                    <a:pt x="136" y="59"/>
                    <a:pt x="135" y="59"/>
                    <a:pt x="134" y="58"/>
                  </a:cubicBezTo>
                  <a:cubicBezTo>
                    <a:pt x="131" y="56"/>
                    <a:pt x="128" y="56"/>
                    <a:pt x="126" y="56"/>
                  </a:cubicBezTo>
                  <a:cubicBezTo>
                    <a:pt x="124" y="56"/>
                    <a:pt x="123" y="56"/>
                    <a:pt x="122" y="56"/>
                  </a:cubicBezTo>
                  <a:cubicBezTo>
                    <a:pt x="121" y="56"/>
                    <a:pt x="120" y="56"/>
                    <a:pt x="118" y="56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4" y="56"/>
                    <a:pt x="111" y="54"/>
                    <a:pt x="107" y="53"/>
                  </a:cubicBezTo>
                  <a:cubicBezTo>
                    <a:pt x="105" y="52"/>
                    <a:pt x="103" y="51"/>
                    <a:pt x="101" y="50"/>
                  </a:cubicBezTo>
                  <a:cubicBezTo>
                    <a:pt x="98" y="50"/>
                    <a:pt x="95" y="49"/>
                    <a:pt x="90" y="49"/>
                  </a:cubicBezTo>
                  <a:cubicBezTo>
                    <a:pt x="88" y="49"/>
                    <a:pt x="86" y="49"/>
                    <a:pt x="83" y="49"/>
                  </a:cubicBezTo>
                  <a:cubicBezTo>
                    <a:pt x="81" y="50"/>
                    <a:pt x="79" y="50"/>
                    <a:pt x="77" y="50"/>
                  </a:cubicBezTo>
                  <a:cubicBezTo>
                    <a:pt x="74" y="50"/>
                    <a:pt x="72" y="50"/>
                    <a:pt x="70" y="49"/>
                  </a:cubicBezTo>
                  <a:cubicBezTo>
                    <a:pt x="70" y="49"/>
                    <a:pt x="70" y="49"/>
                    <a:pt x="69" y="49"/>
                  </a:cubicBezTo>
                  <a:cubicBezTo>
                    <a:pt x="69" y="49"/>
                    <a:pt x="69" y="49"/>
                    <a:pt x="68" y="49"/>
                  </a:cubicBezTo>
                  <a:cubicBezTo>
                    <a:pt x="67" y="49"/>
                    <a:pt x="67" y="49"/>
                    <a:pt x="66" y="49"/>
                  </a:cubicBezTo>
                  <a:cubicBezTo>
                    <a:pt x="66" y="49"/>
                    <a:pt x="65" y="49"/>
                    <a:pt x="64" y="49"/>
                  </a:cubicBezTo>
                  <a:cubicBezTo>
                    <a:pt x="63" y="49"/>
                    <a:pt x="63" y="49"/>
                    <a:pt x="63" y="49"/>
                  </a:cubicBezTo>
                  <a:cubicBezTo>
                    <a:pt x="63" y="49"/>
                    <a:pt x="63" y="49"/>
                    <a:pt x="63" y="49"/>
                  </a:cubicBezTo>
                  <a:cubicBezTo>
                    <a:pt x="62" y="49"/>
                    <a:pt x="60" y="50"/>
                    <a:pt x="58" y="55"/>
                  </a:cubicBezTo>
                  <a:cubicBezTo>
                    <a:pt x="57" y="59"/>
                    <a:pt x="56" y="63"/>
                    <a:pt x="57" y="67"/>
                  </a:cubicBezTo>
                  <a:cubicBezTo>
                    <a:pt x="57" y="68"/>
                    <a:pt x="57" y="68"/>
                    <a:pt x="57" y="68"/>
                  </a:cubicBezTo>
                  <a:cubicBezTo>
                    <a:pt x="57" y="69"/>
                    <a:pt x="57" y="70"/>
                    <a:pt x="58" y="71"/>
                  </a:cubicBezTo>
                  <a:cubicBezTo>
                    <a:pt x="58" y="72"/>
                    <a:pt x="58" y="72"/>
                    <a:pt x="59" y="73"/>
                  </a:cubicBezTo>
                  <a:cubicBezTo>
                    <a:pt x="59" y="74"/>
                    <a:pt x="60" y="74"/>
                    <a:pt x="60" y="75"/>
                  </a:cubicBezTo>
                  <a:cubicBezTo>
                    <a:pt x="60" y="76"/>
                    <a:pt x="59" y="77"/>
                    <a:pt x="58" y="78"/>
                  </a:cubicBezTo>
                  <a:cubicBezTo>
                    <a:pt x="52" y="82"/>
                    <a:pt x="52" y="82"/>
                    <a:pt x="52" y="82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62" y="81"/>
                    <a:pt x="70" y="78"/>
                    <a:pt x="73" y="76"/>
                  </a:cubicBezTo>
                  <a:cubicBezTo>
                    <a:pt x="75" y="75"/>
                    <a:pt x="78" y="74"/>
                    <a:pt x="80" y="74"/>
                  </a:cubicBezTo>
                  <a:cubicBezTo>
                    <a:pt x="83" y="74"/>
                    <a:pt x="86" y="75"/>
                    <a:pt x="88" y="77"/>
                  </a:cubicBezTo>
                  <a:cubicBezTo>
                    <a:pt x="89" y="79"/>
                    <a:pt x="90" y="81"/>
                    <a:pt x="91" y="83"/>
                  </a:cubicBezTo>
                  <a:cubicBezTo>
                    <a:pt x="92" y="86"/>
                    <a:pt x="94" y="89"/>
                    <a:pt x="96" y="90"/>
                  </a:cubicBezTo>
                  <a:cubicBezTo>
                    <a:pt x="96" y="92"/>
                    <a:pt x="96" y="93"/>
                    <a:pt x="95" y="94"/>
                  </a:cubicBezTo>
                  <a:cubicBezTo>
                    <a:pt x="94" y="94"/>
                    <a:pt x="94" y="95"/>
                    <a:pt x="94" y="96"/>
                  </a:cubicBezTo>
                  <a:cubicBezTo>
                    <a:pt x="94" y="96"/>
                    <a:pt x="94" y="97"/>
                    <a:pt x="93" y="97"/>
                  </a:cubicBezTo>
                  <a:cubicBezTo>
                    <a:pt x="93" y="98"/>
                    <a:pt x="92" y="98"/>
                    <a:pt x="92" y="98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0" y="100"/>
                    <a:pt x="90" y="101"/>
                    <a:pt x="89" y="101"/>
                  </a:cubicBezTo>
                  <a:cubicBezTo>
                    <a:pt x="88" y="102"/>
                    <a:pt x="88" y="103"/>
                    <a:pt x="86" y="104"/>
                  </a:cubicBezTo>
                  <a:cubicBezTo>
                    <a:pt x="82" y="108"/>
                    <a:pt x="81" y="112"/>
                    <a:pt x="81" y="116"/>
                  </a:cubicBezTo>
                  <a:cubicBezTo>
                    <a:pt x="81" y="119"/>
                    <a:pt x="80" y="121"/>
                    <a:pt x="80" y="123"/>
                  </a:cubicBezTo>
                  <a:cubicBezTo>
                    <a:pt x="79" y="125"/>
                    <a:pt x="79" y="127"/>
                    <a:pt x="79" y="128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1" y="130"/>
                    <a:pt x="81" y="130"/>
                    <a:pt x="81" y="130"/>
                  </a:cubicBezTo>
                  <a:cubicBezTo>
                    <a:pt x="82" y="130"/>
                    <a:pt x="83" y="130"/>
                    <a:pt x="83" y="130"/>
                  </a:cubicBezTo>
                  <a:cubicBezTo>
                    <a:pt x="85" y="130"/>
                    <a:pt x="86" y="130"/>
                    <a:pt x="86" y="131"/>
                  </a:cubicBezTo>
                  <a:cubicBezTo>
                    <a:pt x="87" y="132"/>
                    <a:pt x="88" y="134"/>
                    <a:pt x="88" y="135"/>
                  </a:cubicBezTo>
                  <a:cubicBezTo>
                    <a:pt x="89" y="137"/>
                    <a:pt x="89" y="137"/>
                    <a:pt x="89" y="137"/>
                  </a:cubicBezTo>
                  <a:cubicBezTo>
                    <a:pt x="90" y="137"/>
                    <a:pt x="90" y="137"/>
                    <a:pt x="90" y="137"/>
                  </a:cubicBezTo>
                  <a:cubicBezTo>
                    <a:pt x="91" y="137"/>
                    <a:pt x="95" y="138"/>
                    <a:pt x="96" y="140"/>
                  </a:cubicBezTo>
                  <a:cubicBezTo>
                    <a:pt x="97" y="141"/>
                    <a:pt x="98" y="143"/>
                    <a:pt x="97" y="144"/>
                  </a:cubicBezTo>
                  <a:cubicBezTo>
                    <a:pt x="97" y="146"/>
                    <a:pt x="96" y="147"/>
                    <a:pt x="96" y="149"/>
                  </a:cubicBezTo>
                  <a:cubicBezTo>
                    <a:pt x="95" y="151"/>
                    <a:pt x="94" y="153"/>
                    <a:pt x="95" y="156"/>
                  </a:cubicBezTo>
                  <a:cubicBezTo>
                    <a:pt x="96" y="160"/>
                    <a:pt x="96" y="163"/>
                    <a:pt x="95" y="167"/>
                  </a:cubicBezTo>
                  <a:cubicBezTo>
                    <a:pt x="94" y="170"/>
                    <a:pt x="94" y="173"/>
                    <a:pt x="95" y="175"/>
                  </a:cubicBezTo>
                  <a:cubicBezTo>
                    <a:pt x="95" y="177"/>
                    <a:pt x="95" y="178"/>
                    <a:pt x="95" y="180"/>
                  </a:cubicBezTo>
                  <a:cubicBezTo>
                    <a:pt x="95" y="182"/>
                    <a:pt x="93" y="184"/>
                    <a:pt x="92" y="186"/>
                  </a:cubicBezTo>
                  <a:cubicBezTo>
                    <a:pt x="91" y="187"/>
                    <a:pt x="91" y="188"/>
                    <a:pt x="90" y="189"/>
                  </a:cubicBezTo>
                  <a:cubicBezTo>
                    <a:pt x="89" y="190"/>
                    <a:pt x="89" y="192"/>
                    <a:pt x="89" y="194"/>
                  </a:cubicBezTo>
                  <a:cubicBezTo>
                    <a:pt x="89" y="196"/>
                    <a:pt x="88" y="199"/>
                    <a:pt x="87" y="201"/>
                  </a:cubicBezTo>
                  <a:cubicBezTo>
                    <a:pt x="86" y="202"/>
                    <a:pt x="85" y="203"/>
                    <a:pt x="84" y="203"/>
                  </a:cubicBezTo>
                  <a:cubicBezTo>
                    <a:pt x="84" y="203"/>
                    <a:pt x="84" y="203"/>
                    <a:pt x="84" y="203"/>
                  </a:cubicBezTo>
                  <a:cubicBezTo>
                    <a:pt x="83" y="202"/>
                    <a:pt x="81" y="201"/>
                    <a:pt x="81" y="199"/>
                  </a:cubicBezTo>
                  <a:cubicBezTo>
                    <a:pt x="80" y="196"/>
                    <a:pt x="79" y="193"/>
                    <a:pt x="77" y="193"/>
                  </a:cubicBezTo>
                  <a:cubicBezTo>
                    <a:pt x="77" y="192"/>
                    <a:pt x="76" y="192"/>
                    <a:pt x="76" y="192"/>
                  </a:cubicBezTo>
                  <a:cubicBezTo>
                    <a:pt x="75" y="192"/>
                    <a:pt x="74" y="192"/>
                    <a:pt x="74" y="193"/>
                  </a:cubicBezTo>
                  <a:cubicBezTo>
                    <a:pt x="72" y="194"/>
                    <a:pt x="71" y="195"/>
                    <a:pt x="71" y="197"/>
                  </a:cubicBezTo>
                  <a:cubicBezTo>
                    <a:pt x="70" y="199"/>
                    <a:pt x="69" y="200"/>
                    <a:pt x="67" y="200"/>
                  </a:cubicBezTo>
                  <a:cubicBezTo>
                    <a:pt x="67" y="200"/>
                    <a:pt x="66" y="200"/>
                    <a:pt x="66" y="200"/>
                  </a:cubicBezTo>
                  <a:cubicBezTo>
                    <a:pt x="65" y="200"/>
                    <a:pt x="63" y="200"/>
                    <a:pt x="61" y="199"/>
                  </a:cubicBezTo>
                  <a:cubicBezTo>
                    <a:pt x="59" y="199"/>
                    <a:pt x="57" y="198"/>
                    <a:pt x="56" y="198"/>
                  </a:cubicBezTo>
                  <a:cubicBezTo>
                    <a:pt x="55" y="198"/>
                    <a:pt x="55" y="198"/>
                    <a:pt x="55" y="198"/>
                  </a:cubicBezTo>
                  <a:cubicBezTo>
                    <a:pt x="55" y="194"/>
                    <a:pt x="54" y="192"/>
                    <a:pt x="52" y="189"/>
                  </a:cubicBezTo>
                  <a:cubicBezTo>
                    <a:pt x="51" y="188"/>
                    <a:pt x="51" y="188"/>
                    <a:pt x="51" y="188"/>
                  </a:cubicBezTo>
                  <a:cubicBezTo>
                    <a:pt x="50" y="186"/>
                    <a:pt x="49" y="184"/>
                    <a:pt x="47" y="182"/>
                  </a:cubicBezTo>
                  <a:cubicBezTo>
                    <a:pt x="46" y="181"/>
                    <a:pt x="45" y="181"/>
                    <a:pt x="44" y="181"/>
                  </a:cubicBezTo>
                  <a:cubicBezTo>
                    <a:pt x="43" y="181"/>
                    <a:pt x="42" y="181"/>
                    <a:pt x="40" y="183"/>
                  </a:cubicBezTo>
                  <a:cubicBezTo>
                    <a:pt x="38" y="184"/>
                    <a:pt x="38" y="185"/>
                    <a:pt x="37" y="185"/>
                  </a:cubicBezTo>
                  <a:cubicBezTo>
                    <a:pt x="37" y="186"/>
                    <a:pt x="37" y="186"/>
                    <a:pt x="37" y="186"/>
                  </a:cubicBezTo>
                  <a:cubicBezTo>
                    <a:pt x="37" y="187"/>
                    <a:pt x="37" y="187"/>
                    <a:pt x="37" y="187"/>
                  </a:cubicBezTo>
                  <a:cubicBezTo>
                    <a:pt x="37" y="187"/>
                    <a:pt x="38" y="189"/>
                    <a:pt x="38" y="189"/>
                  </a:cubicBezTo>
                  <a:cubicBezTo>
                    <a:pt x="39" y="191"/>
                    <a:pt x="39" y="193"/>
                    <a:pt x="39" y="196"/>
                  </a:cubicBezTo>
                  <a:cubicBezTo>
                    <a:pt x="38" y="196"/>
                    <a:pt x="38" y="197"/>
                    <a:pt x="38" y="198"/>
                  </a:cubicBezTo>
                  <a:cubicBezTo>
                    <a:pt x="38" y="198"/>
                    <a:pt x="37" y="198"/>
                    <a:pt x="36" y="198"/>
                  </a:cubicBezTo>
                  <a:cubicBezTo>
                    <a:pt x="35" y="198"/>
                    <a:pt x="33" y="198"/>
                    <a:pt x="32" y="198"/>
                  </a:cubicBezTo>
                  <a:cubicBezTo>
                    <a:pt x="32" y="199"/>
                    <a:pt x="31" y="199"/>
                    <a:pt x="31" y="200"/>
                  </a:cubicBezTo>
                  <a:cubicBezTo>
                    <a:pt x="30" y="200"/>
                    <a:pt x="30" y="201"/>
                    <a:pt x="29" y="201"/>
                  </a:cubicBezTo>
                  <a:cubicBezTo>
                    <a:pt x="29" y="201"/>
                    <a:pt x="28" y="201"/>
                    <a:pt x="28" y="201"/>
                  </a:cubicBezTo>
                  <a:cubicBezTo>
                    <a:pt x="27" y="201"/>
                    <a:pt x="27" y="200"/>
                    <a:pt x="26" y="200"/>
                  </a:cubicBezTo>
                  <a:cubicBezTo>
                    <a:pt x="25" y="199"/>
                    <a:pt x="24" y="198"/>
                    <a:pt x="23" y="198"/>
                  </a:cubicBezTo>
                  <a:cubicBezTo>
                    <a:pt x="22" y="198"/>
                    <a:pt x="21" y="199"/>
                    <a:pt x="20" y="199"/>
                  </a:cubicBezTo>
                  <a:cubicBezTo>
                    <a:pt x="19" y="199"/>
                    <a:pt x="19" y="200"/>
                    <a:pt x="18" y="200"/>
                  </a:cubicBezTo>
                  <a:cubicBezTo>
                    <a:pt x="18" y="200"/>
                    <a:pt x="18" y="200"/>
                    <a:pt x="18" y="200"/>
                  </a:cubicBezTo>
                  <a:cubicBezTo>
                    <a:pt x="17" y="200"/>
                    <a:pt x="16" y="199"/>
                    <a:pt x="16" y="199"/>
                  </a:cubicBezTo>
                  <a:cubicBezTo>
                    <a:pt x="15" y="199"/>
                    <a:pt x="15" y="199"/>
                    <a:pt x="15" y="199"/>
                  </a:cubicBezTo>
                  <a:cubicBezTo>
                    <a:pt x="13" y="198"/>
                    <a:pt x="13" y="198"/>
                    <a:pt x="13" y="198"/>
                  </a:cubicBezTo>
                  <a:cubicBezTo>
                    <a:pt x="13" y="199"/>
                    <a:pt x="13" y="199"/>
                    <a:pt x="13" y="199"/>
                  </a:cubicBezTo>
                  <a:cubicBezTo>
                    <a:pt x="12" y="201"/>
                    <a:pt x="12" y="202"/>
                    <a:pt x="13" y="204"/>
                  </a:cubicBezTo>
                  <a:cubicBezTo>
                    <a:pt x="13" y="204"/>
                    <a:pt x="13" y="204"/>
                    <a:pt x="13" y="205"/>
                  </a:cubicBezTo>
                  <a:cubicBezTo>
                    <a:pt x="14" y="205"/>
                    <a:pt x="14" y="205"/>
                    <a:pt x="14" y="205"/>
                  </a:cubicBezTo>
                  <a:cubicBezTo>
                    <a:pt x="14" y="207"/>
                    <a:pt x="14" y="208"/>
                    <a:pt x="13" y="210"/>
                  </a:cubicBezTo>
                  <a:cubicBezTo>
                    <a:pt x="13" y="210"/>
                    <a:pt x="13" y="211"/>
                    <a:pt x="12" y="211"/>
                  </a:cubicBezTo>
                  <a:cubicBezTo>
                    <a:pt x="12" y="211"/>
                    <a:pt x="12" y="212"/>
                    <a:pt x="12" y="212"/>
                  </a:cubicBezTo>
                  <a:cubicBezTo>
                    <a:pt x="11" y="213"/>
                    <a:pt x="11" y="213"/>
                    <a:pt x="11" y="213"/>
                  </a:cubicBezTo>
                  <a:cubicBezTo>
                    <a:pt x="12" y="214"/>
                    <a:pt x="12" y="214"/>
                    <a:pt x="12" y="214"/>
                  </a:cubicBezTo>
                  <a:cubicBezTo>
                    <a:pt x="13" y="215"/>
                    <a:pt x="14" y="216"/>
                    <a:pt x="15" y="216"/>
                  </a:cubicBezTo>
                  <a:cubicBezTo>
                    <a:pt x="17" y="217"/>
                    <a:pt x="18" y="218"/>
                    <a:pt x="18" y="221"/>
                  </a:cubicBezTo>
                  <a:cubicBezTo>
                    <a:pt x="17" y="221"/>
                    <a:pt x="17" y="222"/>
                    <a:pt x="17" y="222"/>
                  </a:cubicBezTo>
                  <a:cubicBezTo>
                    <a:pt x="16" y="222"/>
                    <a:pt x="16" y="223"/>
                    <a:pt x="17" y="225"/>
                  </a:cubicBezTo>
                  <a:cubicBezTo>
                    <a:pt x="17" y="226"/>
                    <a:pt x="18" y="227"/>
                    <a:pt x="19" y="227"/>
                  </a:cubicBezTo>
                  <a:cubicBezTo>
                    <a:pt x="20" y="227"/>
                    <a:pt x="21" y="227"/>
                    <a:pt x="21" y="228"/>
                  </a:cubicBezTo>
                  <a:cubicBezTo>
                    <a:pt x="22" y="229"/>
                    <a:pt x="22" y="230"/>
                    <a:pt x="22" y="230"/>
                  </a:cubicBezTo>
                  <a:cubicBezTo>
                    <a:pt x="22" y="231"/>
                    <a:pt x="22" y="232"/>
                    <a:pt x="20" y="233"/>
                  </a:cubicBezTo>
                  <a:cubicBezTo>
                    <a:pt x="20" y="234"/>
                    <a:pt x="19" y="234"/>
                    <a:pt x="19" y="235"/>
                  </a:cubicBezTo>
                  <a:cubicBezTo>
                    <a:pt x="18" y="235"/>
                    <a:pt x="18" y="236"/>
                    <a:pt x="18" y="237"/>
                  </a:cubicBezTo>
                  <a:cubicBezTo>
                    <a:pt x="17" y="237"/>
                    <a:pt x="17" y="238"/>
                    <a:pt x="16" y="239"/>
                  </a:cubicBezTo>
                  <a:cubicBezTo>
                    <a:pt x="15" y="239"/>
                    <a:pt x="14" y="239"/>
                    <a:pt x="12" y="239"/>
                  </a:cubicBezTo>
                  <a:cubicBezTo>
                    <a:pt x="11" y="239"/>
                    <a:pt x="11" y="239"/>
                    <a:pt x="10" y="240"/>
                  </a:cubicBezTo>
                  <a:cubicBezTo>
                    <a:pt x="9" y="240"/>
                    <a:pt x="9" y="240"/>
                    <a:pt x="9" y="240"/>
                  </a:cubicBezTo>
                  <a:cubicBezTo>
                    <a:pt x="6" y="240"/>
                    <a:pt x="3" y="241"/>
                    <a:pt x="2" y="245"/>
                  </a:cubicBezTo>
                  <a:cubicBezTo>
                    <a:pt x="1" y="246"/>
                    <a:pt x="0" y="249"/>
                    <a:pt x="0" y="252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1" y="254"/>
                    <a:pt x="1" y="254"/>
                    <a:pt x="1" y="254"/>
                  </a:cubicBezTo>
                  <a:cubicBezTo>
                    <a:pt x="3" y="256"/>
                    <a:pt x="5" y="259"/>
                    <a:pt x="8" y="262"/>
                  </a:cubicBezTo>
                  <a:cubicBezTo>
                    <a:pt x="9" y="263"/>
                    <a:pt x="10" y="264"/>
                    <a:pt x="11" y="265"/>
                  </a:cubicBezTo>
                  <a:cubicBezTo>
                    <a:pt x="13" y="266"/>
                    <a:pt x="14" y="268"/>
                    <a:pt x="15" y="270"/>
                  </a:cubicBezTo>
                  <a:cubicBezTo>
                    <a:pt x="16" y="271"/>
                    <a:pt x="16" y="272"/>
                    <a:pt x="16" y="274"/>
                  </a:cubicBezTo>
                  <a:cubicBezTo>
                    <a:pt x="16" y="275"/>
                    <a:pt x="16" y="277"/>
                    <a:pt x="17" y="278"/>
                  </a:cubicBezTo>
                  <a:cubicBezTo>
                    <a:pt x="17" y="280"/>
                    <a:pt x="18" y="281"/>
                    <a:pt x="19" y="283"/>
                  </a:cubicBezTo>
                  <a:cubicBezTo>
                    <a:pt x="20" y="284"/>
                    <a:pt x="21" y="285"/>
                    <a:pt x="22" y="286"/>
                  </a:cubicBezTo>
                  <a:cubicBezTo>
                    <a:pt x="22" y="286"/>
                    <a:pt x="22" y="286"/>
                    <a:pt x="22" y="286"/>
                  </a:cubicBezTo>
                  <a:cubicBezTo>
                    <a:pt x="24" y="289"/>
                    <a:pt x="24" y="289"/>
                    <a:pt x="24" y="289"/>
                  </a:cubicBezTo>
                  <a:cubicBezTo>
                    <a:pt x="25" y="287"/>
                    <a:pt x="25" y="287"/>
                    <a:pt x="25" y="287"/>
                  </a:cubicBezTo>
                  <a:cubicBezTo>
                    <a:pt x="27" y="284"/>
                    <a:pt x="29" y="282"/>
                    <a:pt x="29" y="279"/>
                  </a:cubicBezTo>
                  <a:cubicBezTo>
                    <a:pt x="30" y="279"/>
                    <a:pt x="32" y="278"/>
                    <a:pt x="36" y="275"/>
                  </a:cubicBezTo>
                  <a:cubicBezTo>
                    <a:pt x="41" y="272"/>
                    <a:pt x="47" y="268"/>
                    <a:pt x="51" y="268"/>
                  </a:cubicBezTo>
                  <a:cubicBezTo>
                    <a:pt x="51" y="268"/>
                    <a:pt x="52" y="268"/>
                    <a:pt x="52" y="268"/>
                  </a:cubicBezTo>
                  <a:cubicBezTo>
                    <a:pt x="53" y="268"/>
                    <a:pt x="54" y="269"/>
                    <a:pt x="54" y="271"/>
                  </a:cubicBezTo>
                  <a:cubicBezTo>
                    <a:pt x="54" y="272"/>
                    <a:pt x="54" y="272"/>
                    <a:pt x="54" y="272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7" y="273"/>
                    <a:pt x="58" y="273"/>
                    <a:pt x="59" y="275"/>
                  </a:cubicBezTo>
                  <a:cubicBezTo>
                    <a:pt x="59" y="276"/>
                    <a:pt x="59" y="276"/>
                    <a:pt x="59" y="276"/>
                  </a:cubicBezTo>
                  <a:cubicBezTo>
                    <a:pt x="60" y="276"/>
                    <a:pt x="60" y="276"/>
                    <a:pt x="60" y="276"/>
                  </a:cubicBezTo>
                  <a:cubicBezTo>
                    <a:pt x="61" y="277"/>
                    <a:pt x="61" y="278"/>
                    <a:pt x="62" y="278"/>
                  </a:cubicBezTo>
                  <a:cubicBezTo>
                    <a:pt x="64" y="279"/>
                    <a:pt x="65" y="280"/>
                    <a:pt x="68" y="280"/>
                  </a:cubicBezTo>
                  <a:cubicBezTo>
                    <a:pt x="68" y="280"/>
                    <a:pt x="68" y="280"/>
                    <a:pt x="68" y="280"/>
                  </a:cubicBezTo>
                  <a:cubicBezTo>
                    <a:pt x="72" y="280"/>
                    <a:pt x="74" y="280"/>
                    <a:pt x="74" y="276"/>
                  </a:cubicBezTo>
                  <a:cubicBezTo>
                    <a:pt x="74" y="275"/>
                    <a:pt x="74" y="273"/>
                    <a:pt x="75" y="271"/>
                  </a:cubicBezTo>
                  <a:cubicBezTo>
                    <a:pt x="76" y="268"/>
                    <a:pt x="78" y="268"/>
                    <a:pt x="78" y="268"/>
                  </a:cubicBezTo>
                  <a:cubicBezTo>
                    <a:pt x="79" y="268"/>
                    <a:pt x="79" y="268"/>
                    <a:pt x="80" y="269"/>
                  </a:cubicBezTo>
                  <a:cubicBezTo>
                    <a:pt x="80" y="269"/>
                    <a:pt x="81" y="269"/>
                    <a:pt x="81" y="269"/>
                  </a:cubicBezTo>
                  <a:cubicBezTo>
                    <a:pt x="82" y="269"/>
                    <a:pt x="82" y="269"/>
                    <a:pt x="83" y="269"/>
                  </a:cubicBezTo>
                  <a:cubicBezTo>
                    <a:pt x="85" y="268"/>
                    <a:pt x="87" y="267"/>
                    <a:pt x="88" y="266"/>
                  </a:cubicBezTo>
                  <a:cubicBezTo>
                    <a:pt x="90" y="266"/>
                    <a:pt x="91" y="265"/>
                    <a:pt x="93" y="264"/>
                  </a:cubicBezTo>
                  <a:cubicBezTo>
                    <a:pt x="96" y="266"/>
                    <a:pt x="96" y="269"/>
                    <a:pt x="95" y="273"/>
                  </a:cubicBezTo>
                  <a:cubicBezTo>
                    <a:pt x="95" y="276"/>
                    <a:pt x="94" y="279"/>
                    <a:pt x="96" y="281"/>
                  </a:cubicBezTo>
                  <a:cubicBezTo>
                    <a:pt x="97" y="283"/>
                    <a:pt x="98" y="284"/>
                    <a:pt x="100" y="284"/>
                  </a:cubicBezTo>
                  <a:cubicBezTo>
                    <a:pt x="102" y="284"/>
                    <a:pt x="104" y="282"/>
                    <a:pt x="106" y="279"/>
                  </a:cubicBezTo>
                  <a:cubicBezTo>
                    <a:pt x="107" y="278"/>
                    <a:pt x="108" y="277"/>
                    <a:pt x="108" y="276"/>
                  </a:cubicBezTo>
                  <a:cubicBezTo>
                    <a:pt x="112" y="272"/>
                    <a:pt x="116" y="268"/>
                    <a:pt x="119" y="265"/>
                  </a:cubicBezTo>
                  <a:cubicBezTo>
                    <a:pt x="120" y="264"/>
                    <a:pt x="122" y="263"/>
                    <a:pt x="123" y="262"/>
                  </a:cubicBezTo>
                  <a:cubicBezTo>
                    <a:pt x="128" y="259"/>
                    <a:pt x="131" y="257"/>
                    <a:pt x="131" y="254"/>
                  </a:cubicBezTo>
                  <a:cubicBezTo>
                    <a:pt x="132" y="253"/>
                    <a:pt x="133" y="253"/>
                    <a:pt x="135" y="252"/>
                  </a:cubicBezTo>
                  <a:cubicBezTo>
                    <a:pt x="137" y="252"/>
                    <a:pt x="139" y="252"/>
                    <a:pt x="140" y="250"/>
                  </a:cubicBezTo>
                  <a:cubicBezTo>
                    <a:pt x="141" y="249"/>
                    <a:pt x="141" y="247"/>
                    <a:pt x="142" y="245"/>
                  </a:cubicBezTo>
                  <a:cubicBezTo>
                    <a:pt x="142" y="243"/>
                    <a:pt x="143" y="241"/>
                    <a:pt x="143" y="240"/>
                  </a:cubicBezTo>
                  <a:cubicBezTo>
                    <a:pt x="147" y="233"/>
                    <a:pt x="147" y="230"/>
                    <a:pt x="147" y="221"/>
                  </a:cubicBezTo>
                  <a:cubicBezTo>
                    <a:pt x="147" y="218"/>
                    <a:pt x="147" y="218"/>
                    <a:pt x="147" y="218"/>
                  </a:cubicBezTo>
                  <a:cubicBezTo>
                    <a:pt x="146" y="209"/>
                    <a:pt x="146" y="200"/>
                    <a:pt x="146" y="193"/>
                  </a:cubicBezTo>
                  <a:cubicBezTo>
                    <a:pt x="146" y="193"/>
                    <a:pt x="146" y="193"/>
                    <a:pt x="146" y="193"/>
                  </a:cubicBezTo>
                  <a:cubicBezTo>
                    <a:pt x="146" y="192"/>
                    <a:pt x="146" y="192"/>
                    <a:pt x="146" y="192"/>
                  </a:cubicBezTo>
                  <a:cubicBezTo>
                    <a:pt x="148" y="192"/>
                    <a:pt x="151" y="189"/>
                    <a:pt x="151" y="189"/>
                  </a:cubicBezTo>
                  <a:cubicBezTo>
                    <a:pt x="156" y="184"/>
                    <a:pt x="160" y="179"/>
                    <a:pt x="164" y="174"/>
                  </a:cubicBezTo>
                  <a:cubicBezTo>
                    <a:pt x="166" y="171"/>
                    <a:pt x="168" y="169"/>
                    <a:pt x="170" y="167"/>
                  </a:cubicBezTo>
                  <a:cubicBezTo>
                    <a:pt x="171" y="165"/>
                    <a:pt x="173" y="163"/>
                    <a:pt x="175" y="161"/>
                  </a:cubicBezTo>
                  <a:cubicBezTo>
                    <a:pt x="173" y="160"/>
                    <a:pt x="173" y="160"/>
                    <a:pt x="173" y="160"/>
                  </a:cubicBezTo>
                  <a:cubicBezTo>
                    <a:pt x="173" y="160"/>
                    <a:pt x="173" y="160"/>
                    <a:pt x="173" y="160"/>
                  </a:cubicBezTo>
                  <a:cubicBezTo>
                    <a:pt x="175" y="161"/>
                    <a:pt x="175" y="161"/>
                    <a:pt x="175" y="161"/>
                  </a:cubicBezTo>
                  <a:cubicBezTo>
                    <a:pt x="177" y="158"/>
                    <a:pt x="180" y="154"/>
                    <a:pt x="182" y="152"/>
                  </a:cubicBezTo>
                  <a:cubicBezTo>
                    <a:pt x="183" y="151"/>
                    <a:pt x="184" y="149"/>
                    <a:pt x="185" y="148"/>
                  </a:cubicBezTo>
                  <a:cubicBezTo>
                    <a:pt x="188" y="146"/>
                    <a:pt x="191" y="143"/>
                    <a:pt x="192" y="140"/>
                  </a:cubicBezTo>
                  <a:cubicBezTo>
                    <a:pt x="194" y="136"/>
                    <a:pt x="193" y="132"/>
                    <a:pt x="192" y="127"/>
                  </a:cubicBezTo>
                  <a:cubicBezTo>
                    <a:pt x="192" y="125"/>
                    <a:pt x="191" y="124"/>
                    <a:pt x="191" y="122"/>
                  </a:cubicBezTo>
                  <a:cubicBezTo>
                    <a:pt x="191" y="116"/>
                    <a:pt x="192" y="110"/>
                    <a:pt x="194" y="104"/>
                  </a:cubicBezTo>
                  <a:cubicBezTo>
                    <a:pt x="194" y="100"/>
                    <a:pt x="195" y="97"/>
                    <a:pt x="195" y="94"/>
                  </a:cubicBezTo>
                  <a:cubicBezTo>
                    <a:pt x="196" y="88"/>
                    <a:pt x="197" y="83"/>
                    <a:pt x="199" y="77"/>
                  </a:cubicBezTo>
                  <a:cubicBezTo>
                    <a:pt x="201" y="70"/>
                    <a:pt x="202" y="62"/>
                    <a:pt x="203" y="53"/>
                  </a:cubicBezTo>
                  <a:cubicBezTo>
                    <a:pt x="203" y="46"/>
                    <a:pt x="205" y="41"/>
                    <a:pt x="208" y="35"/>
                  </a:cubicBezTo>
                  <a:cubicBezTo>
                    <a:pt x="209" y="34"/>
                    <a:pt x="210" y="32"/>
                    <a:pt x="210" y="31"/>
                  </a:cubicBezTo>
                  <a:cubicBezTo>
                    <a:pt x="213" y="25"/>
                    <a:pt x="218" y="14"/>
                    <a:pt x="215" y="6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2" name="Freeform 62"/>
            <p:cNvSpPr>
              <a:spLocks/>
            </p:cNvSpPr>
            <p:nvPr/>
          </p:nvSpPr>
          <p:spPr bwMode="auto">
            <a:xfrm>
              <a:off x="2132820" y="1668986"/>
              <a:ext cx="697514" cy="593808"/>
            </a:xfrm>
            <a:custGeom>
              <a:avLst/>
              <a:gdLst>
                <a:gd name="T0" fmla="*/ 330 w 345"/>
                <a:gd name="T1" fmla="*/ 40 h 319"/>
                <a:gd name="T2" fmla="*/ 327 w 345"/>
                <a:gd name="T3" fmla="*/ 27 h 319"/>
                <a:gd name="T4" fmla="*/ 317 w 345"/>
                <a:gd name="T5" fmla="*/ 12 h 319"/>
                <a:gd name="T6" fmla="*/ 294 w 345"/>
                <a:gd name="T7" fmla="*/ 14 h 319"/>
                <a:gd name="T8" fmla="*/ 275 w 345"/>
                <a:gd name="T9" fmla="*/ 27 h 319"/>
                <a:gd name="T10" fmla="*/ 248 w 345"/>
                <a:gd name="T11" fmla="*/ 18 h 319"/>
                <a:gd name="T12" fmla="*/ 200 w 345"/>
                <a:gd name="T13" fmla="*/ 34 h 319"/>
                <a:gd name="T14" fmla="*/ 190 w 345"/>
                <a:gd name="T15" fmla="*/ 34 h 319"/>
                <a:gd name="T16" fmla="*/ 164 w 345"/>
                <a:gd name="T17" fmla="*/ 27 h 319"/>
                <a:gd name="T18" fmla="*/ 135 w 345"/>
                <a:gd name="T19" fmla="*/ 24 h 319"/>
                <a:gd name="T20" fmla="*/ 103 w 345"/>
                <a:gd name="T21" fmla="*/ 7 h 319"/>
                <a:gd name="T22" fmla="*/ 94 w 345"/>
                <a:gd name="T23" fmla="*/ 6 h 319"/>
                <a:gd name="T24" fmla="*/ 74 w 345"/>
                <a:gd name="T25" fmla="*/ 3 h 319"/>
                <a:gd name="T26" fmla="*/ 50 w 345"/>
                <a:gd name="T27" fmla="*/ 7 h 319"/>
                <a:gd name="T28" fmla="*/ 40 w 345"/>
                <a:gd name="T29" fmla="*/ 24 h 319"/>
                <a:gd name="T30" fmla="*/ 28 w 345"/>
                <a:gd name="T31" fmla="*/ 43 h 319"/>
                <a:gd name="T32" fmla="*/ 26 w 345"/>
                <a:gd name="T33" fmla="*/ 72 h 319"/>
                <a:gd name="T34" fmla="*/ 26 w 345"/>
                <a:gd name="T35" fmla="*/ 88 h 319"/>
                <a:gd name="T36" fmla="*/ 31 w 345"/>
                <a:gd name="T37" fmla="*/ 104 h 319"/>
                <a:gd name="T38" fmla="*/ 26 w 345"/>
                <a:gd name="T39" fmla="*/ 119 h 319"/>
                <a:gd name="T40" fmla="*/ 27 w 345"/>
                <a:gd name="T41" fmla="*/ 126 h 319"/>
                <a:gd name="T42" fmla="*/ 21 w 345"/>
                <a:gd name="T43" fmla="*/ 133 h 319"/>
                <a:gd name="T44" fmla="*/ 7 w 345"/>
                <a:gd name="T45" fmla="*/ 158 h 319"/>
                <a:gd name="T46" fmla="*/ 1 w 345"/>
                <a:gd name="T47" fmla="*/ 175 h 319"/>
                <a:gd name="T48" fmla="*/ 1 w 345"/>
                <a:gd name="T49" fmla="*/ 246 h 319"/>
                <a:gd name="T50" fmla="*/ 15 w 345"/>
                <a:gd name="T51" fmla="*/ 248 h 319"/>
                <a:gd name="T52" fmla="*/ 22 w 345"/>
                <a:gd name="T53" fmla="*/ 245 h 319"/>
                <a:gd name="T54" fmla="*/ 38 w 345"/>
                <a:gd name="T55" fmla="*/ 248 h 319"/>
                <a:gd name="T56" fmla="*/ 66 w 345"/>
                <a:gd name="T57" fmla="*/ 270 h 319"/>
                <a:gd name="T58" fmla="*/ 74 w 345"/>
                <a:gd name="T59" fmla="*/ 281 h 319"/>
                <a:gd name="T60" fmla="*/ 88 w 345"/>
                <a:gd name="T61" fmla="*/ 313 h 319"/>
                <a:gd name="T62" fmla="*/ 103 w 345"/>
                <a:gd name="T63" fmla="*/ 317 h 319"/>
                <a:gd name="T64" fmla="*/ 112 w 345"/>
                <a:gd name="T65" fmla="*/ 316 h 319"/>
                <a:gd name="T66" fmla="*/ 129 w 345"/>
                <a:gd name="T67" fmla="*/ 310 h 319"/>
                <a:gd name="T68" fmla="*/ 137 w 345"/>
                <a:gd name="T69" fmla="*/ 309 h 319"/>
                <a:gd name="T70" fmla="*/ 149 w 345"/>
                <a:gd name="T71" fmla="*/ 310 h 319"/>
                <a:gd name="T72" fmla="*/ 163 w 345"/>
                <a:gd name="T73" fmla="*/ 308 h 319"/>
                <a:gd name="T74" fmla="*/ 173 w 345"/>
                <a:gd name="T75" fmla="*/ 295 h 319"/>
                <a:gd name="T76" fmla="*/ 178 w 345"/>
                <a:gd name="T77" fmla="*/ 278 h 319"/>
                <a:gd name="T78" fmla="*/ 182 w 345"/>
                <a:gd name="T79" fmla="*/ 264 h 319"/>
                <a:gd name="T80" fmla="*/ 204 w 345"/>
                <a:gd name="T81" fmla="*/ 244 h 319"/>
                <a:gd name="T82" fmla="*/ 207 w 345"/>
                <a:gd name="T83" fmla="*/ 235 h 319"/>
                <a:gd name="T84" fmla="*/ 212 w 345"/>
                <a:gd name="T85" fmla="*/ 229 h 319"/>
                <a:gd name="T86" fmla="*/ 217 w 345"/>
                <a:gd name="T87" fmla="*/ 230 h 319"/>
                <a:gd name="T88" fmla="*/ 228 w 345"/>
                <a:gd name="T89" fmla="*/ 225 h 319"/>
                <a:gd name="T90" fmla="*/ 240 w 345"/>
                <a:gd name="T91" fmla="*/ 235 h 319"/>
                <a:gd name="T92" fmla="*/ 246 w 345"/>
                <a:gd name="T93" fmla="*/ 246 h 319"/>
                <a:gd name="T94" fmla="*/ 263 w 345"/>
                <a:gd name="T95" fmla="*/ 228 h 319"/>
                <a:gd name="T96" fmla="*/ 270 w 345"/>
                <a:gd name="T97" fmla="*/ 206 h 319"/>
                <a:gd name="T98" fmla="*/ 276 w 345"/>
                <a:gd name="T99" fmla="*/ 186 h 319"/>
                <a:gd name="T100" fmla="*/ 295 w 345"/>
                <a:gd name="T101" fmla="*/ 152 h 319"/>
                <a:gd name="T102" fmla="*/ 305 w 345"/>
                <a:gd name="T103" fmla="*/ 131 h 319"/>
                <a:gd name="T104" fmla="*/ 315 w 345"/>
                <a:gd name="T105" fmla="*/ 104 h 319"/>
                <a:gd name="T106" fmla="*/ 340 w 345"/>
                <a:gd name="T107" fmla="*/ 81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5" h="319">
                  <a:moveTo>
                    <a:pt x="343" y="55"/>
                  </a:moveTo>
                  <a:cubicBezTo>
                    <a:pt x="342" y="53"/>
                    <a:pt x="339" y="52"/>
                    <a:pt x="337" y="52"/>
                  </a:cubicBezTo>
                  <a:cubicBezTo>
                    <a:pt x="334" y="51"/>
                    <a:pt x="332" y="50"/>
                    <a:pt x="331" y="48"/>
                  </a:cubicBezTo>
                  <a:cubicBezTo>
                    <a:pt x="330" y="47"/>
                    <a:pt x="330" y="46"/>
                    <a:pt x="330" y="44"/>
                  </a:cubicBezTo>
                  <a:cubicBezTo>
                    <a:pt x="330" y="43"/>
                    <a:pt x="330" y="41"/>
                    <a:pt x="330" y="40"/>
                  </a:cubicBezTo>
                  <a:cubicBezTo>
                    <a:pt x="330" y="39"/>
                    <a:pt x="329" y="37"/>
                    <a:pt x="329" y="35"/>
                  </a:cubicBezTo>
                  <a:cubicBezTo>
                    <a:pt x="329" y="33"/>
                    <a:pt x="328" y="30"/>
                    <a:pt x="327" y="28"/>
                  </a:cubicBezTo>
                  <a:cubicBezTo>
                    <a:pt x="327" y="28"/>
                    <a:pt x="327" y="28"/>
                    <a:pt x="327" y="28"/>
                  </a:cubicBezTo>
                  <a:cubicBezTo>
                    <a:pt x="327" y="27"/>
                    <a:pt x="327" y="27"/>
                    <a:pt x="327" y="27"/>
                  </a:cubicBezTo>
                  <a:cubicBezTo>
                    <a:pt x="327" y="27"/>
                    <a:pt x="327" y="27"/>
                    <a:pt x="327" y="27"/>
                  </a:cubicBezTo>
                  <a:cubicBezTo>
                    <a:pt x="327" y="27"/>
                    <a:pt x="327" y="27"/>
                    <a:pt x="327" y="27"/>
                  </a:cubicBezTo>
                  <a:cubicBezTo>
                    <a:pt x="326" y="23"/>
                    <a:pt x="324" y="21"/>
                    <a:pt x="321" y="17"/>
                  </a:cubicBezTo>
                  <a:cubicBezTo>
                    <a:pt x="320" y="17"/>
                    <a:pt x="320" y="16"/>
                    <a:pt x="319" y="15"/>
                  </a:cubicBezTo>
                  <a:cubicBezTo>
                    <a:pt x="319" y="14"/>
                    <a:pt x="318" y="13"/>
                    <a:pt x="318" y="13"/>
                  </a:cubicBezTo>
                  <a:cubicBezTo>
                    <a:pt x="317" y="12"/>
                    <a:pt x="317" y="12"/>
                    <a:pt x="317" y="12"/>
                  </a:cubicBezTo>
                  <a:cubicBezTo>
                    <a:pt x="315" y="9"/>
                    <a:pt x="313" y="6"/>
                    <a:pt x="310" y="6"/>
                  </a:cubicBezTo>
                  <a:cubicBezTo>
                    <a:pt x="308" y="6"/>
                    <a:pt x="306" y="7"/>
                    <a:pt x="304" y="8"/>
                  </a:cubicBezTo>
                  <a:cubicBezTo>
                    <a:pt x="303" y="8"/>
                    <a:pt x="301" y="9"/>
                    <a:pt x="300" y="10"/>
                  </a:cubicBezTo>
                  <a:cubicBezTo>
                    <a:pt x="299" y="11"/>
                    <a:pt x="298" y="12"/>
                    <a:pt x="297" y="13"/>
                  </a:cubicBezTo>
                  <a:cubicBezTo>
                    <a:pt x="296" y="13"/>
                    <a:pt x="295" y="14"/>
                    <a:pt x="294" y="14"/>
                  </a:cubicBezTo>
                  <a:cubicBezTo>
                    <a:pt x="292" y="14"/>
                    <a:pt x="291" y="15"/>
                    <a:pt x="289" y="16"/>
                  </a:cubicBezTo>
                  <a:cubicBezTo>
                    <a:pt x="287" y="18"/>
                    <a:pt x="286" y="20"/>
                    <a:pt x="285" y="22"/>
                  </a:cubicBezTo>
                  <a:cubicBezTo>
                    <a:pt x="285" y="23"/>
                    <a:pt x="284" y="24"/>
                    <a:pt x="283" y="25"/>
                  </a:cubicBezTo>
                  <a:cubicBezTo>
                    <a:pt x="282" y="27"/>
                    <a:pt x="280" y="27"/>
                    <a:pt x="277" y="27"/>
                  </a:cubicBezTo>
                  <a:cubicBezTo>
                    <a:pt x="276" y="27"/>
                    <a:pt x="275" y="27"/>
                    <a:pt x="275" y="27"/>
                  </a:cubicBezTo>
                  <a:cubicBezTo>
                    <a:pt x="272" y="27"/>
                    <a:pt x="270" y="26"/>
                    <a:pt x="268" y="24"/>
                  </a:cubicBezTo>
                  <a:cubicBezTo>
                    <a:pt x="267" y="23"/>
                    <a:pt x="266" y="23"/>
                    <a:pt x="265" y="22"/>
                  </a:cubicBezTo>
                  <a:cubicBezTo>
                    <a:pt x="262" y="20"/>
                    <a:pt x="258" y="20"/>
                    <a:pt x="255" y="19"/>
                  </a:cubicBezTo>
                  <a:cubicBezTo>
                    <a:pt x="254" y="19"/>
                    <a:pt x="253" y="19"/>
                    <a:pt x="251" y="18"/>
                  </a:cubicBezTo>
                  <a:cubicBezTo>
                    <a:pt x="250" y="18"/>
                    <a:pt x="249" y="18"/>
                    <a:pt x="248" y="18"/>
                  </a:cubicBezTo>
                  <a:cubicBezTo>
                    <a:pt x="245" y="17"/>
                    <a:pt x="241" y="16"/>
                    <a:pt x="237" y="16"/>
                  </a:cubicBezTo>
                  <a:cubicBezTo>
                    <a:pt x="237" y="16"/>
                    <a:pt x="237" y="16"/>
                    <a:pt x="237" y="16"/>
                  </a:cubicBezTo>
                  <a:cubicBezTo>
                    <a:pt x="224" y="16"/>
                    <a:pt x="215" y="22"/>
                    <a:pt x="208" y="26"/>
                  </a:cubicBezTo>
                  <a:cubicBezTo>
                    <a:pt x="206" y="28"/>
                    <a:pt x="205" y="29"/>
                    <a:pt x="203" y="31"/>
                  </a:cubicBezTo>
                  <a:cubicBezTo>
                    <a:pt x="202" y="32"/>
                    <a:pt x="201" y="33"/>
                    <a:pt x="200" y="34"/>
                  </a:cubicBezTo>
                  <a:cubicBezTo>
                    <a:pt x="199" y="34"/>
                    <a:pt x="199" y="34"/>
                    <a:pt x="199" y="34"/>
                  </a:cubicBezTo>
                  <a:cubicBezTo>
                    <a:pt x="198" y="35"/>
                    <a:pt x="198" y="35"/>
                    <a:pt x="198" y="35"/>
                  </a:cubicBezTo>
                  <a:cubicBezTo>
                    <a:pt x="198" y="35"/>
                    <a:pt x="197" y="35"/>
                    <a:pt x="196" y="35"/>
                  </a:cubicBezTo>
                  <a:cubicBezTo>
                    <a:pt x="195" y="35"/>
                    <a:pt x="194" y="34"/>
                    <a:pt x="194" y="34"/>
                  </a:cubicBezTo>
                  <a:cubicBezTo>
                    <a:pt x="193" y="34"/>
                    <a:pt x="191" y="34"/>
                    <a:pt x="190" y="34"/>
                  </a:cubicBezTo>
                  <a:cubicBezTo>
                    <a:pt x="190" y="34"/>
                    <a:pt x="190" y="34"/>
                    <a:pt x="189" y="34"/>
                  </a:cubicBezTo>
                  <a:cubicBezTo>
                    <a:pt x="188" y="34"/>
                    <a:pt x="187" y="34"/>
                    <a:pt x="186" y="34"/>
                  </a:cubicBezTo>
                  <a:cubicBezTo>
                    <a:pt x="184" y="34"/>
                    <a:pt x="182" y="34"/>
                    <a:pt x="181" y="34"/>
                  </a:cubicBezTo>
                  <a:cubicBezTo>
                    <a:pt x="180" y="34"/>
                    <a:pt x="180" y="34"/>
                    <a:pt x="180" y="34"/>
                  </a:cubicBezTo>
                  <a:cubicBezTo>
                    <a:pt x="175" y="34"/>
                    <a:pt x="168" y="30"/>
                    <a:pt x="164" y="27"/>
                  </a:cubicBezTo>
                  <a:cubicBezTo>
                    <a:pt x="163" y="26"/>
                    <a:pt x="163" y="26"/>
                    <a:pt x="163" y="26"/>
                  </a:cubicBezTo>
                  <a:cubicBezTo>
                    <a:pt x="160" y="23"/>
                    <a:pt x="156" y="20"/>
                    <a:pt x="152" y="19"/>
                  </a:cubicBezTo>
                  <a:cubicBezTo>
                    <a:pt x="150" y="18"/>
                    <a:pt x="149" y="18"/>
                    <a:pt x="148" y="18"/>
                  </a:cubicBezTo>
                  <a:cubicBezTo>
                    <a:pt x="144" y="18"/>
                    <a:pt x="142" y="20"/>
                    <a:pt x="138" y="22"/>
                  </a:cubicBezTo>
                  <a:cubicBezTo>
                    <a:pt x="137" y="22"/>
                    <a:pt x="136" y="23"/>
                    <a:pt x="135" y="24"/>
                  </a:cubicBezTo>
                  <a:cubicBezTo>
                    <a:pt x="132" y="25"/>
                    <a:pt x="129" y="27"/>
                    <a:pt x="125" y="28"/>
                  </a:cubicBezTo>
                  <a:cubicBezTo>
                    <a:pt x="125" y="29"/>
                    <a:pt x="124" y="29"/>
                    <a:pt x="123" y="29"/>
                  </a:cubicBezTo>
                  <a:cubicBezTo>
                    <a:pt x="119" y="29"/>
                    <a:pt x="117" y="23"/>
                    <a:pt x="115" y="20"/>
                  </a:cubicBezTo>
                  <a:cubicBezTo>
                    <a:pt x="114" y="18"/>
                    <a:pt x="113" y="16"/>
                    <a:pt x="112" y="14"/>
                  </a:cubicBezTo>
                  <a:cubicBezTo>
                    <a:pt x="109" y="11"/>
                    <a:pt x="106" y="8"/>
                    <a:pt x="103" y="7"/>
                  </a:cubicBezTo>
                  <a:cubicBezTo>
                    <a:pt x="103" y="7"/>
                    <a:pt x="102" y="7"/>
                    <a:pt x="102" y="7"/>
                  </a:cubicBezTo>
                  <a:cubicBezTo>
                    <a:pt x="101" y="7"/>
                    <a:pt x="100" y="7"/>
                    <a:pt x="100" y="7"/>
                  </a:cubicBezTo>
                  <a:cubicBezTo>
                    <a:pt x="99" y="7"/>
                    <a:pt x="98" y="7"/>
                    <a:pt x="98" y="7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6" y="7"/>
                    <a:pt x="95" y="6"/>
                    <a:pt x="94" y="6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0" y="3"/>
                    <a:pt x="87" y="2"/>
                    <a:pt x="83" y="1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0" y="0"/>
                    <a:pt x="80" y="0"/>
                    <a:pt x="79" y="0"/>
                  </a:cubicBezTo>
                  <a:cubicBezTo>
                    <a:pt x="77" y="0"/>
                    <a:pt x="76" y="1"/>
                    <a:pt x="74" y="3"/>
                  </a:cubicBezTo>
                  <a:cubicBezTo>
                    <a:pt x="72" y="4"/>
                    <a:pt x="71" y="5"/>
                    <a:pt x="69" y="5"/>
                  </a:cubicBezTo>
                  <a:cubicBezTo>
                    <a:pt x="68" y="5"/>
                    <a:pt x="67" y="5"/>
                    <a:pt x="66" y="5"/>
                  </a:cubicBezTo>
                  <a:cubicBezTo>
                    <a:pt x="65" y="5"/>
                    <a:pt x="63" y="5"/>
                    <a:pt x="62" y="5"/>
                  </a:cubicBezTo>
                  <a:cubicBezTo>
                    <a:pt x="60" y="5"/>
                    <a:pt x="59" y="5"/>
                    <a:pt x="57" y="5"/>
                  </a:cubicBezTo>
                  <a:cubicBezTo>
                    <a:pt x="54" y="5"/>
                    <a:pt x="52" y="5"/>
                    <a:pt x="50" y="7"/>
                  </a:cubicBezTo>
                  <a:cubicBezTo>
                    <a:pt x="49" y="7"/>
                    <a:pt x="48" y="8"/>
                    <a:pt x="47" y="8"/>
                  </a:cubicBezTo>
                  <a:cubicBezTo>
                    <a:pt x="45" y="9"/>
                    <a:pt x="43" y="11"/>
                    <a:pt x="41" y="12"/>
                  </a:cubicBezTo>
                  <a:cubicBezTo>
                    <a:pt x="40" y="14"/>
                    <a:pt x="40" y="17"/>
                    <a:pt x="40" y="20"/>
                  </a:cubicBezTo>
                  <a:cubicBezTo>
                    <a:pt x="40" y="20"/>
                    <a:pt x="40" y="21"/>
                    <a:pt x="40" y="22"/>
                  </a:cubicBezTo>
                  <a:cubicBezTo>
                    <a:pt x="40" y="22"/>
                    <a:pt x="40" y="23"/>
                    <a:pt x="40" y="24"/>
                  </a:cubicBezTo>
                  <a:cubicBezTo>
                    <a:pt x="40" y="26"/>
                    <a:pt x="40" y="28"/>
                    <a:pt x="39" y="30"/>
                  </a:cubicBezTo>
                  <a:cubicBezTo>
                    <a:pt x="38" y="32"/>
                    <a:pt x="37" y="34"/>
                    <a:pt x="36" y="35"/>
                  </a:cubicBezTo>
                  <a:cubicBezTo>
                    <a:pt x="35" y="36"/>
                    <a:pt x="35" y="37"/>
                    <a:pt x="34" y="37"/>
                  </a:cubicBezTo>
                  <a:cubicBezTo>
                    <a:pt x="33" y="39"/>
                    <a:pt x="32" y="40"/>
                    <a:pt x="31" y="41"/>
                  </a:cubicBezTo>
                  <a:cubicBezTo>
                    <a:pt x="30" y="41"/>
                    <a:pt x="29" y="42"/>
                    <a:pt x="28" y="43"/>
                  </a:cubicBezTo>
                  <a:cubicBezTo>
                    <a:pt x="26" y="45"/>
                    <a:pt x="25" y="48"/>
                    <a:pt x="26" y="52"/>
                  </a:cubicBezTo>
                  <a:cubicBezTo>
                    <a:pt x="26" y="53"/>
                    <a:pt x="26" y="55"/>
                    <a:pt x="27" y="56"/>
                  </a:cubicBezTo>
                  <a:cubicBezTo>
                    <a:pt x="28" y="61"/>
                    <a:pt x="29" y="66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5" y="74"/>
                    <a:pt x="25" y="75"/>
                    <a:pt x="24" y="76"/>
                  </a:cubicBezTo>
                  <a:cubicBezTo>
                    <a:pt x="23" y="78"/>
                    <a:pt x="22" y="79"/>
                    <a:pt x="22" y="80"/>
                  </a:cubicBezTo>
                  <a:cubicBezTo>
                    <a:pt x="22" y="83"/>
                    <a:pt x="24" y="85"/>
                    <a:pt x="26" y="87"/>
                  </a:cubicBezTo>
                  <a:cubicBezTo>
                    <a:pt x="26" y="88"/>
                    <a:pt x="26" y="88"/>
                    <a:pt x="26" y="88"/>
                  </a:cubicBezTo>
                  <a:cubicBezTo>
                    <a:pt x="28" y="90"/>
                    <a:pt x="29" y="92"/>
                    <a:pt x="30" y="96"/>
                  </a:cubicBezTo>
                  <a:cubicBezTo>
                    <a:pt x="30" y="97"/>
                    <a:pt x="30" y="98"/>
                    <a:pt x="30" y="99"/>
                  </a:cubicBezTo>
                  <a:cubicBezTo>
                    <a:pt x="30" y="99"/>
                    <a:pt x="30" y="100"/>
                    <a:pt x="30" y="101"/>
                  </a:cubicBezTo>
                  <a:cubicBezTo>
                    <a:pt x="30" y="102"/>
                    <a:pt x="30" y="103"/>
                    <a:pt x="30" y="103"/>
                  </a:cubicBezTo>
                  <a:cubicBezTo>
                    <a:pt x="31" y="104"/>
                    <a:pt x="31" y="104"/>
                    <a:pt x="31" y="104"/>
                  </a:cubicBezTo>
                  <a:cubicBezTo>
                    <a:pt x="31" y="104"/>
                    <a:pt x="31" y="104"/>
                    <a:pt x="31" y="104"/>
                  </a:cubicBezTo>
                  <a:cubicBezTo>
                    <a:pt x="32" y="104"/>
                    <a:pt x="32" y="104"/>
                    <a:pt x="32" y="105"/>
                  </a:cubicBezTo>
                  <a:cubicBezTo>
                    <a:pt x="33" y="106"/>
                    <a:pt x="33" y="108"/>
                    <a:pt x="32" y="110"/>
                  </a:cubicBezTo>
                  <a:cubicBezTo>
                    <a:pt x="32" y="112"/>
                    <a:pt x="30" y="113"/>
                    <a:pt x="29" y="114"/>
                  </a:cubicBezTo>
                  <a:cubicBezTo>
                    <a:pt x="26" y="115"/>
                    <a:pt x="26" y="116"/>
                    <a:pt x="26" y="119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6" y="121"/>
                    <a:pt x="26" y="121"/>
                    <a:pt x="26" y="121"/>
                  </a:cubicBezTo>
                  <a:cubicBezTo>
                    <a:pt x="27" y="123"/>
                    <a:pt x="27" y="123"/>
                    <a:pt x="27" y="123"/>
                  </a:cubicBezTo>
                  <a:cubicBezTo>
                    <a:pt x="28" y="123"/>
                    <a:pt x="28" y="124"/>
                    <a:pt x="28" y="124"/>
                  </a:cubicBezTo>
                  <a:cubicBezTo>
                    <a:pt x="28" y="125"/>
                    <a:pt x="27" y="125"/>
                    <a:pt x="27" y="126"/>
                  </a:cubicBezTo>
                  <a:cubicBezTo>
                    <a:pt x="27" y="126"/>
                    <a:pt x="26" y="126"/>
                    <a:pt x="26" y="127"/>
                  </a:cubicBezTo>
                  <a:cubicBezTo>
                    <a:pt x="26" y="127"/>
                    <a:pt x="26" y="128"/>
                    <a:pt x="25" y="129"/>
                  </a:cubicBezTo>
                  <a:cubicBezTo>
                    <a:pt x="25" y="129"/>
                    <a:pt x="25" y="130"/>
                    <a:pt x="25" y="130"/>
                  </a:cubicBezTo>
                  <a:cubicBezTo>
                    <a:pt x="24" y="132"/>
                    <a:pt x="23" y="132"/>
                    <a:pt x="22" y="133"/>
                  </a:cubicBezTo>
                  <a:cubicBezTo>
                    <a:pt x="22" y="133"/>
                    <a:pt x="21" y="133"/>
                    <a:pt x="21" y="133"/>
                  </a:cubicBezTo>
                  <a:cubicBezTo>
                    <a:pt x="19" y="135"/>
                    <a:pt x="17" y="137"/>
                    <a:pt x="16" y="140"/>
                  </a:cubicBezTo>
                  <a:cubicBezTo>
                    <a:pt x="15" y="141"/>
                    <a:pt x="14" y="142"/>
                    <a:pt x="14" y="143"/>
                  </a:cubicBezTo>
                  <a:cubicBezTo>
                    <a:pt x="13" y="145"/>
                    <a:pt x="12" y="147"/>
                    <a:pt x="12" y="149"/>
                  </a:cubicBezTo>
                  <a:cubicBezTo>
                    <a:pt x="13" y="154"/>
                    <a:pt x="13" y="157"/>
                    <a:pt x="9" y="158"/>
                  </a:cubicBezTo>
                  <a:cubicBezTo>
                    <a:pt x="8" y="158"/>
                    <a:pt x="8" y="158"/>
                    <a:pt x="7" y="158"/>
                  </a:cubicBezTo>
                  <a:cubicBezTo>
                    <a:pt x="5" y="158"/>
                    <a:pt x="2" y="159"/>
                    <a:pt x="1" y="161"/>
                  </a:cubicBezTo>
                  <a:cubicBezTo>
                    <a:pt x="1" y="162"/>
                    <a:pt x="1" y="164"/>
                    <a:pt x="1" y="165"/>
                  </a:cubicBezTo>
                  <a:cubicBezTo>
                    <a:pt x="1" y="166"/>
                    <a:pt x="1" y="167"/>
                    <a:pt x="1" y="168"/>
                  </a:cubicBezTo>
                  <a:cubicBezTo>
                    <a:pt x="1" y="169"/>
                    <a:pt x="1" y="169"/>
                    <a:pt x="1" y="169"/>
                  </a:cubicBezTo>
                  <a:cubicBezTo>
                    <a:pt x="1" y="171"/>
                    <a:pt x="1" y="173"/>
                    <a:pt x="1" y="175"/>
                  </a:cubicBezTo>
                  <a:cubicBezTo>
                    <a:pt x="1" y="180"/>
                    <a:pt x="1" y="184"/>
                    <a:pt x="0" y="189"/>
                  </a:cubicBezTo>
                  <a:cubicBezTo>
                    <a:pt x="0" y="196"/>
                    <a:pt x="0" y="202"/>
                    <a:pt x="1" y="209"/>
                  </a:cubicBezTo>
                  <a:cubicBezTo>
                    <a:pt x="1" y="213"/>
                    <a:pt x="1" y="217"/>
                    <a:pt x="1" y="221"/>
                  </a:cubicBezTo>
                  <a:cubicBezTo>
                    <a:pt x="1" y="224"/>
                    <a:pt x="1" y="227"/>
                    <a:pt x="1" y="230"/>
                  </a:cubicBezTo>
                  <a:cubicBezTo>
                    <a:pt x="1" y="236"/>
                    <a:pt x="1" y="241"/>
                    <a:pt x="1" y="246"/>
                  </a:cubicBezTo>
                  <a:cubicBezTo>
                    <a:pt x="1" y="248"/>
                    <a:pt x="1" y="248"/>
                    <a:pt x="1" y="248"/>
                  </a:cubicBezTo>
                  <a:cubicBezTo>
                    <a:pt x="3" y="248"/>
                    <a:pt x="3" y="248"/>
                    <a:pt x="3" y="248"/>
                  </a:cubicBezTo>
                  <a:cubicBezTo>
                    <a:pt x="4" y="248"/>
                    <a:pt x="6" y="248"/>
                    <a:pt x="7" y="248"/>
                  </a:cubicBezTo>
                  <a:cubicBezTo>
                    <a:pt x="9" y="248"/>
                    <a:pt x="11" y="248"/>
                    <a:pt x="13" y="248"/>
                  </a:cubicBezTo>
                  <a:cubicBezTo>
                    <a:pt x="14" y="248"/>
                    <a:pt x="14" y="248"/>
                    <a:pt x="15" y="248"/>
                  </a:cubicBezTo>
                  <a:cubicBezTo>
                    <a:pt x="16" y="248"/>
                    <a:pt x="17" y="248"/>
                    <a:pt x="18" y="247"/>
                  </a:cubicBezTo>
                  <a:cubicBezTo>
                    <a:pt x="19" y="247"/>
                    <a:pt x="20" y="245"/>
                    <a:pt x="21" y="245"/>
                  </a:cubicBezTo>
                  <a:cubicBezTo>
                    <a:pt x="21" y="244"/>
                    <a:pt x="21" y="244"/>
                    <a:pt x="21" y="244"/>
                  </a:cubicBezTo>
                  <a:cubicBezTo>
                    <a:pt x="22" y="244"/>
                    <a:pt x="22" y="243"/>
                    <a:pt x="23" y="243"/>
                  </a:cubicBezTo>
                  <a:cubicBezTo>
                    <a:pt x="23" y="244"/>
                    <a:pt x="22" y="244"/>
                    <a:pt x="22" y="245"/>
                  </a:cubicBezTo>
                  <a:cubicBezTo>
                    <a:pt x="21" y="247"/>
                    <a:pt x="21" y="247"/>
                    <a:pt x="21" y="247"/>
                  </a:cubicBezTo>
                  <a:cubicBezTo>
                    <a:pt x="24" y="247"/>
                    <a:pt x="24" y="247"/>
                    <a:pt x="24" y="247"/>
                  </a:cubicBezTo>
                  <a:cubicBezTo>
                    <a:pt x="25" y="247"/>
                    <a:pt x="27" y="248"/>
                    <a:pt x="28" y="248"/>
                  </a:cubicBezTo>
                  <a:cubicBezTo>
                    <a:pt x="30" y="248"/>
                    <a:pt x="33" y="249"/>
                    <a:pt x="35" y="249"/>
                  </a:cubicBezTo>
                  <a:cubicBezTo>
                    <a:pt x="36" y="249"/>
                    <a:pt x="37" y="248"/>
                    <a:pt x="38" y="248"/>
                  </a:cubicBezTo>
                  <a:cubicBezTo>
                    <a:pt x="39" y="248"/>
                    <a:pt x="39" y="248"/>
                    <a:pt x="40" y="248"/>
                  </a:cubicBezTo>
                  <a:cubicBezTo>
                    <a:pt x="43" y="248"/>
                    <a:pt x="47" y="249"/>
                    <a:pt x="50" y="251"/>
                  </a:cubicBezTo>
                  <a:cubicBezTo>
                    <a:pt x="55" y="254"/>
                    <a:pt x="61" y="259"/>
                    <a:pt x="64" y="264"/>
                  </a:cubicBezTo>
                  <a:cubicBezTo>
                    <a:pt x="64" y="265"/>
                    <a:pt x="64" y="266"/>
                    <a:pt x="64" y="266"/>
                  </a:cubicBezTo>
                  <a:cubicBezTo>
                    <a:pt x="65" y="267"/>
                    <a:pt x="65" y="269"/>
                    <a:pt x="66" y="270"/>
                  </a:cubicBezTo>
                  <a:cubicBezTo>
                    <a:pt x="66" y="270"/>
                    <a:pt x="67" y="271"/>
                    <a:pt x="67" y="272"/>
                  </a:cubicBezTo>
                  <a:cubicBezTo>
                    <a:pt x="68" y="272"/>
                    <a:pt x="68" y="273"/>
                    <a:pt x="68" y="274"/>
                  </a:cubicBezTo>
                  <a:cubicBezTo>
                    <a:pt x="69" y="274"/>
                    <a:pt x="69" y="274"/>
                    <a:pt x="69" y="274"/>
                  </a:cubicBezTo>
                  <a:cubicBezTo>
                    <a:pt x="70" y="276"/>
                    <a:pt x="70" y="277"/>
                    <a:pt x="72" y="278"/>
                  </a:cubicBezTo>
                  <a:cubicBezTo>
                    <a:pt x="73" y="279"/>
                    <a:pt x="73" y="279"/>
                    <a:pt x="74" y="281"/>
                  </a:cubicBezTo>
                  <a:cubicBezTo>
                    <a:pt x="74" y="281"/>
                    <a:pt x="74" y="282"/>
                    <a:pt x="74" y="282"/>
                  </a:cubicBezTo>
                  <a:cubicBezTo>
                    <a:pt x="74" y="285"/>
                    <a:pt x="75" y="289"/>
                    <a:pt x="76" y="291"/>
                  </a:cubicBezTo>
                  <a:cubicBezTo>
                    <a:pt x="76" y="293"/>
                    <a:pt x="76" y="293"/>
                    <a:pt x="76" y="293"/>
                  </a:cubicBezTo>
                  <a:cubicBezTo>
                    <a:pt x="78" y="298"/>
                    <a:pt x="80" y="303"/>
                    <a:pt x="82" y="308"/>
                  </a:cubicBezTo>
                  <a:cubicBezTo>
                    <a:pt x="84" y="310"/>
                    <a:pt x="86" y="312"/>
                    <a:pt x="88" y="313"/>
                  </a:cubicBezTo>
                  <a:cubicBezTo>
                    <a:pt x="89" y="314"/>
                    <a:pt x="89" y="314"/>
                    <a:pt x="90" y="315"/>
                  </a:cubicBezTo>
                  <a:cubicBezTo>
                    <a:pt x="92" y="316"/>
                    <a:pt x="93" y="317"/>
                    <a:pt x="95" y="318"/>
                  </a:cubicBezTo>
                  <a:cubicBezTo>
                    <a:pt x="95" y="319"/>
                    <a:pt x="96" y="319"/>
                    <a:pt x="97" y="319"/>
                  </a:cubicBezTo>
                  <a:cubicBezTo>
                    <a:pt x="99" y="319"/>
                    <a:pt x="100" y="318"/>
                    <a:pt x="101" y="318"/>
                  </a:cubicBezTo>
                  <a:cubicBezTo>
                    <a:pt x="101" y="317"/>
                    <a:pt x="102" y="317"/>
                    <a:pt x="103" y="317"/>
                  </a:cubicBezTo>
                  <a:cubicBezTo>
                    <a:pt x="103" y="317"/>
                    <a:pt x="104" y="317"/>
                    <a:pt x="105" y="317"/>
                  </a:cubicBezTo>
                  <a:cubicBezTo>
                    <a:pt x="105" y="317"/>
                    <a:pt x="106" y="317"/>
                    <a:pt x="106" y="317"/>
                  </a:cubicBezTo>
                  <a:cubicBezTo>
                    <a:pt x="107" y="317"/>
                    <a:pt x="107" y="317"/>
                    <a:pt x="108" y="317"/>
                  </a:cubicBezTo>
                  <a:cubicBezTo>
                    <a:pt x="109" y="317"/>
                    <a:pt x="109" y="317"/>
                    <a:pt x="110" y="317"/>
                  </a:cubicBezTo>
                  <a:cubicBezTo>
                    <a:pt x="111" y="317"/>
                    <a:pt x="111" y="316"/>
                    <a:pt x="112" y="316"/>
                  </a:cubicBezTo>
                  <a:cubicBezTo>
                    <a:pt x="113" y="316"/>
                    <a:pt x="114" y="316"/>
                    <a:pt x="115" y="316"/>
                  </a:cubicBezTo>
                  <a:cubicBezTo>
                    <a:pt x="116" y="316"/>
                    <a:pt x="116" y="316"/>
                    <a:pt x="116" y="316"/>
                  </a:cubicBezTo>
                  <a:cubicBezTo>
                    <a:pt x="117" y="316"/>
                    <a:pt x="118" y="316"/>
                    <a:pt x="119" y="316"/>
                  </a:cubicBezTo>
                  <a:cubicBezTo>
                    <a:pt x="123" y="316"/>
                    <a:pt x="125" y="314"/>
                    <a:pt x="127" y="312"/>
                  </a:cubicBezTo>
                  <a:cubicBezTo>
                    <a:pt x="128" y="311"/>
                    <a:pt x="128" y="311"/>
                    <a:pt x="129" y="310"/>
                  </a:cubicBezTo>
                  <a:cubicBezTo>
                    <a:pt x="129" y="310"/>
                    <a:pt x="130" y="309"/>
                    <a:pt x="130" y="309"/>
                  </a:cubicBezTo>
                  <a:cubicBezTo>
                    <a:pt x="130" y="309"/>
                    <a:pt x="131" y="310"/>
                    <a:pt x="131" y="310"/>
                  </a:cubicBezTo>
                  <a:cubicBezTo>
                    <a:pt x="132" y="310"/>
                    <a:pt x="132" y="310"/>
                    <a:pt x="132" y="310"/>
                  </a:cubicBezTo>
                  <a:cubicBezTo>
                    <a:pt x="133" y="310"/>
                    <a:pt x="134" y="309"/>
                    <a:pt x="135" y="309"/>
                  </a:cubicBezTo>
                  <a:cubicBezTo>
                    <a:pt x="136" y="309"/>
                    <a:pt x="137" y="309"/>
                    <a:pt x="137" y="309"/>
                  </a:cubicBezTo>
                  <a:cubicBezTo>
                    <a:pt x="137" y="309"/>
                    <a:pt x="137" y="309"/>
                    <a:pt x="137" y="309"/>
                  </a:cubicBezTo>
                  <a:cubicBezTo>
                    <a:pt x="138" y="309"/>
                    <a:pt x="139" y="309"/>
                    <a:pt x="140" y="310"/>
                  </a:cubicBezTo>
                  <a:cubicBezTo>
                    <a:pt x="140" y="310"/>
                    <a:pt x="141" y="310"/>
                    <a:pt x="142" y="311"/>
                  </a:cubicBezTo>
                  <a:cubicBezTo>
                    <a:pt x="142" y="311"/>
                    <a:pt x="143" y="311"/>
                    <a:pt x="144" y="311"/>
                  </a:cubicBezTo>
                  <a:cubicBezTo>
                    <a:pt x="146" y="311"/>
                    <a:pt x="147" y="311"/>
                    <a:pt x="149" y="310"/>
                  </a:cubicBezTo>
                  <a:cubicBezTo>
                    <a:pt x="150" y="310"/>
                    <a:pt x="151" y="310"/>
                    <a:pt x="152" y="310"/>
                  </a:cubicBezTo>
                  <a:cubicBezTo>
                    <a:pt x="152" y="310"/>
                    <a:pt x="152" y="310"/>
                    <a:pt x="152" y="310"/>
                  </a:cubicBezTo>
                  <a:cubicBezTo>
                    <a:pt x="153" y="310"/>
                    <a:pt x="154" y="310"/>
                    <a:pt x="155" y="310"/>
                  </a:cubicBezTo>
                  <a:cubicBezTo>
                    <a:pt x="156" y="310"/>
                    <a:pt x="157" y="310"/>
                    <a:pt x="158" y="310"/>
                  </a:cubicBezTo>
                  <a:cubicBezTo>
                    <a:pt x="160" y="310"/>
                    <a:pt x="162" y="310"/>
                    <a:pt x="163" y="308"/>
                  </a:cubicBezTo>
                  <a:cubicBezTo>
                    <a:pt x="165" y="307"/>
                    <a:pt x="165" y="305"/>
                    <a:pt x="165" y="304"/>
                  </a:cubicBezTo>
                  <a:cubicBezTo>
                    <a:pt x="166" y="306"/>
                    <a:pt x="166" y="306"/>
                    <a:pt x="166" y="306"/>
                  </a:cubicBezTo>
                  <a:cubicBezTo>
                    <a:pt x="168" y="303"/>
                    <a:pt x="168" y="303"/>
                    <a:pt x="168" y="303"/>
                  </a:cubicBezTo>
                  <a:cubicBezTo>
                    <a:pt x="169" y="301"/>
                    <a:pt x="170" y="299"/>
                    <a:pt x="171" y="298"/>
                  </a:cubicBezTo>
                  <a:cubicBezTo>
                    <a:pt x="171" y="297"/>
                    <a:pt x="172" y="296"/>
                    <a:pt x="173" y="295"/>
                  </a:cubicBezTo>
                  <a:cubicBezTo>
                    <a:pt x="174" y="293"/>
                    <a:pt x="174" y="293"/>
                    <a:pt x="174" y="293"/>
                  </a:cubicBezTo>
                  <a:cubicBezTo>
                    <a:pt x="175" y="291"/>
                    <a:pt x="176" y="289"/>
                    <a:pt x="177" y="286"/>
                  </a:cubicBezTo>
                  <a:cubicBezTo>
                    <a:pt x="177" y="284"/>
                    <a:pt x="177" y="283"/>
                    <a:pt x="177" y="282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79"/>
                    <a:pt x="178" y="278"/>
                    <a:pt x="178" y="278"/>
                  </a:cubicBezTo>
                  <a:cubicBezTo>
                    <a:pt x="178" y="277"/>
                    <a:pt x="178" y="277"/>
                    <a:pt x="179" y="276"/>
                  </a:cubicBezTo>
                  <a:cubicBezTo>
                    <a:pt x="179" y="275"/>
                    <a:pt x="179" y="273"/>
                    <a:pt x="179" y="272"/>
                  </a:cubicBezTo>
                  <a:cubicBezTo>
                    <a:pt x="179" y="271"/>
                    <a:pt x="178" y="270"/>
                    <a:pt x="179" y="269"/>
                  </a:cubicBezTo>
                  <a:cubicBezTo>
                    <a:pt x="179" y="267"/>
                    <a:pt x="179" y="266"/>
                    <a:pt x="180" y="265"/>
                  </a:cubicBezTo>
                  <a:cubicBezTo>
                    <a:pt x="181" y="265"/>
                    <a:pt x="181" y="264"/>
                    <a:pt x="182" y="264"/>
                  </a:cubicBezTo>
                  <a:cubicBezTo>
                    <a:pt x="184" y="262"/>
                    <a:pt x="185" y="260"/>
                    <a:pt x="187" y="258"/>
                  </a:cubicBezTo>
                  <a:cubicBezTo>
                    <a:pt x="188" y="256"/>
                    <a:pt x="190" y="255"/>
                    <a:pt x="191" y="253"/>
                  </a:cubicBezTo>
                  <a:cubicBezTo>
                    <a:pt x="193" y="251"/>
                    <a:pt x="195" y="250"/>
                    <a:pt x="196" y="248"/>
                  </a:cubicBezTo>
                  <a:cubicBezTo>
                    <a:pt x="198" y="245"/>
                    <a:pt x="199" y="244"/>
                    <a:pt x="202" y="244"/>
                  </a:cubicBezTo>
                  <a:cubicBezTo>
                    <a:pt x="204" y="244"/>
                    <a:pt x="204" y="244"/>
                    <a:pt x="204" y="244"/>
                  </a:cubicBezTo>
                  <a:cubicBezTo>
                    <a:pt x="204" y="242"/>
                    <a:pt x="204" y="242"/>
                    <a:pt x="204" y="242"/>
                  </a:cubicBezTo>
                  <a:cubicBezTo>
                    <a:pt x="204" y="241"/>
                    <a:pt x="204" y="240"/>
                    <a:pt x="203" y="239"/>
                  </a:cubicBezTo>
                  <a:cubicBezTo>
                    <a:pt x="203" y="238"/>
                    <a:pt x="203" y="236"/>
                    <a:pt x="203" y="235"/>
                  </a:cubicBezTo>
                  <a:cubicBezTo>
                    <a:pt x="204" y="235"/>
                    <a:pt x="204" y="235"/>
                    <a:pt x="205" y="235"/>
                  </a:cubicBezTo>
                  <a:cubicBezTo>
                    <a:pt x="206" y="235"/>
                    <a:pt x="206" y="235"/>
                    <a:pt x="207" y="235"/>
                  </a:cubicBezTo>
                  <a:cubicBezTo>
                    <a:pt x="207" y="234"/>
                    <a:pt x="207" y="234"/>
                    <a:pt x="207" y="234"/>
                  </a:cubicBezTo>
                  <a:cubicBezTo>
                    <a:pt x="209" y="233"/>
                    <a:pt x="209" y="233"/>
                    <a:pt x="209" y="233"/>
                  </a:cubicBezTo>
                  <a:cubicBezTo>
                    <a:pt x="208" y="233"/>
                    <a:pt x="208" y="233"/>
                    <a:pt x="208" y="233"/>
                  </a:cubicBezTo>
                  <a:cubicBezTo>
                    <a:pt x="209" y="233"/>
                    <a:pt x="209" y="233"/>
                    <a:pt x="209" y="233"/>
                  </a:cubicBezTo>
                  <a:cubicBezTo>
                    <a:pt x="210" y="232"/>
                    <a:pt x="211" y="230"/>
                    <a:pt x="212" y="229"/>
                  </a:cubicBezTo>
                  <a:cubicBezTo>
                    <a:pt x="213" y="228"/>
                    <a:pt x="214" y="227"/>
                    <a:pt x="215" y="227"/>
                  </a:cubicBezTo>
                  <a:cubicBezTo>
                    <a:pt x="215" y="227"/>
                    <a:pt x="215" y="227"/>
                    <a:pt x="215" y="227"/>
                  </a:cubicBezTo>
                  <a:cubicBezTo>
                    <a:pt x="215" y="227"/>
                    <a:pt x="215" y="227"/>
                    <a:pt x="216" y="229"/>
                  </a:cubicBezTo>
                  <a:cubicBezTo>
                    <a:pt x="216" y="229"/>
                    <a:pt x="216" y="229"/>
                    <a:pt x="216" y="229"/>
                  </a:cubicBezTo>
                  <a:cubicBezTo>
                    <a:pt x="216" y="230"/>
                    <a:pt x="217" y="230"/>
                    <a:pt x="217" y="230"/>
                  </a:cubicBezTo>
                  <a:cubicBezTo>
                    <a:pt x="217" y="232"/>
                    <a:pt x="218" y="232"/>
                    <a:pt x="219" y="232"/>
                  </a:cubicBezTo>
                  <a:cubicBezTo>
                    <a:pt x="220" y="233"/>
                    <a:pt x="220" y="233"/>
                    <a:pt x="221" y="233"/>
                  </a:cubicBezTo>
                  <a:cubicBezTo>
                    <a:pt x="223" y="233"/>
                    <a:pt x="224" y="232"/>
                    <a:pt x="225" y="232"/>
                  </a:cubicBezTo>
                  <a:cubicBezTo>
                    <a:pt x="226" y="231"/>
                    <a:pt x="226" y="230"/>
                    <a:pt x="226" y="228"/>
                  </a:cubicBezTo>
                  <a:cubicBezTo>
                    <a:pt x="227" y="227"/>
                    <a:pt x="227" y="226"/>
                    <a:pt x="228" y="225"/>
                  </a:cubicBezTo>
                  <a:cubicBezTo>
                    <a:pt x="228" y="225"/>
                    <a:pt x="229" y="224"/>
                    <a:pt x="230" y="224"/>
                  </a:cubicBezTo>
                  <a:cubicBezTo>
                    <a:pt x="230" y="224"/>
                    <a:pt x="230" y="224"/>
                    <a:pt x="231" y="224"/>
                  </a:cubicBezTo>
                  <a:cubicBezTo>
                    <a:pt x="233" y="225"/>
                    <a:pt x="234" y="228"/>
                    <a:pt x="235" y="231"/>
                  </a:cubicBezTo>
                  <a:cubicBezTo>
                    <a:pt x="236" y="232"/>
                    <a:pt x="237" y="233"/>
                    <a:pt x="237" y="233"/>
                  </a:cubicBezTo>
                  <a:cubicBezTo>
                    <a:pt x="238" y="234"/>
                    <a:pt x="239" y="235"/>
                    <a:pt x="240" y="235"/>
                  </a:cubicBezTo>
                  <a:cubicBezTo>
                    <a:pt x="241" y="235"/>
                    <a:pt x="242" y="236"/>
                    <a:pt x="242" y="237"/>
                  </a:cubicBezTo>
                  <a:cubicBezTo>
                    <a:pt x="243" y="238"/>
                    <a:pt x="243" y="239"/>
                    <a:pt x="243" y="241"/>
                  </a:cubicBezTo>
                  <a:cubicBezTo>
                    <a:pt x="242" y="242"/>
                    <a:pt x="242" y="244"/>
                    <a:pt x="243" y="245"/>
                  </a:cubicBezTo>
                  <a:cubicBezTo>
                    <a:pt x="244" y="246"/>
                    <a:pt x="245" y="246"/>
                    <a:pt x="246" y="246"/>
                  </a:cubicBezTo>
                  <a:cubicBezTo>
                    <a:pt x="246" y="246"/>
                    <a:pt x="246" y="246"/>
                    <a:pt x="246" y="246"/>
                  </a:cubicBezTo>
                  <a:cubicBezTo>
                    <a:pt x="249" y="246"/>
                    <a:pt x="252" y="243"/>
                    <a:pt x="255" y="239"/>
                  </a:cubicBezTo>
                  <a:cubicBezTo>
                    <a:pt x="256" y="238"/>
                    <a:pt x="256" y="236"/>
                    <a:pt x="257" y="235"/>
                  </a:cubicBezTo>
                  <a:cubicBezTo>
                    <a:pt x="257" y="233"/>
                    <a:pt x="257" y="232"/>
                    <a:pt x="257" y="231"/>
                  </a:cubicBezTo>
                  <a:cubicBezTo>
                    <a:pt x="258" y="230"/>
                    <a:pt x="259" y="229"/>
                    <a:pt x="261" y="229"/>
                  </a:cubicBezTo>
                  <a:cubicBezTo>
                    <a:pt x="261" y="229"/>
                    <a:pt x="262" y="229"/>
                    <a:pt x="263" y="228"/>
                  </a:cubicBezTo>
                  <a:cubicBezTo>
                    <a:pt x="266" y="226"/>
                    <a:pt x="265" y="224"/>
                    <a:pt x="264" y="221"/>
                  </a:cubicBezTo>
                  <a:cubicBezTo>
                    <a:pt x="264" y="219"/>
                    <a:pt x="263" y="217"/>
                    <a:pt x="265" y="215"/>
                  </a:cubicBezTo>
                  <a:cubicBezTo>
                    <a:pt x="265" y="214"/>
                    <a:pt x="266" y="214"/>
                    <a:pt x="267" y="213"/>
                  </a:cubicBezTo>
                  <a:cubicBezTo>
                    <a:pt x="268" y="212"/>
                    <a:pt x="269" y="211"/>
                    <a:pt x="270" y="209"/>
                  </a:cubicBezTo>
                  <a:cubicBezTo>
                    <a:pt x="270" y="208"/>
                    <a:pt x="270" y="207"/>
                    <a:pt x="270" y="206"/>
                  </a:cubicBezTo>
                  <a:cubicBezTo>
                    <a:pt x="270" y="204"/>
                    <a:pt x="270" y="203"/>
                    <a:pt x="271" y="202"/>
                  </a:cubicBezTo>
                  <a:cubicBezTo>
                    <a:pt x="271" y="201"/>
                    <a:pt x="272" y="200"/>
                    <a:pt x="272" y="199"/>
                  </a:cubicBezTo>
                  <a:cubicBezTo>
                    <a:pt x="273" y="197"/>
                    <a:pt x="274" y="196"/>
                    <a:pt x="275" y="194"/>
                  </a:cubicBezTo>
                  <a:cubicBezTo>
                    <a:pt x="275" y="192"/>
                    <a:pt x="275" y="192"/>
                    <a:pt x="275" y="192"/>
                  </a:cubicBezTo>
                  <a:cubicBezTo>
                    <a:pt x="275" y="190"/>
                    <a:pt x="276" y="188"/>
                    <a:pt x="276" y="186"/>
                  </a:cubicBezTo>
                  <a:cubicBezTo>
                    <a:pt x="277" y="180"/>
                    <a:pt x="280" y="176"/>
                    <a:pt x="285" y="174"/>
                  </a:cubicBezTo>
                  <a:cubicBezTo>
                    <a:pt x="292" y="171"/>
                    <a:pt x="292" y="167"/>
                    <a:pt x="293" y="161"/>
                  </a:cubicBezTo>
                  <a:cubicBezTo>
                    <a:pt x="294" y="159"/>
                    <a:pt x="294" y="159"/>
                    <a:pt x="294" y="159"/>
                  </a:cubicBezTo>
                  <a:cubicBezTo>
                    <a:pt x="294" y="158"/>
                    <a:pt x="294" y="157"/>
                    <a:pt x="294" y="156"/>
                  </a:cubicBezTo>
                  <a:cubicBezTo>
                    <a:pt x="294" y="154"/>
                    <a:pt x="294" y="153"/>
                    <a:pt x="295" y="152"/>
                  </a:cubicBezTo>
                  <a:cubicBezTo>
                    <a:pt x="296" y="148"/>
                    <a:pt x="298" y="146"/>
                    <a:pt x="302" y="145"/>
                  </a:cubicBezTo>
                  <a:cubicBezTo>
                    <a:pt x="304" y="145"/>
                    <a:pt x="304" y="145"/>
                    <a:pt x="304" y="145"/>
                  </a:cubicBezTo>
                  <a:cubicBezTo>
                    <a:pt x="304" y="143"/>
                    <a:pt x="304" y="143"/>
                    <a:pt x="304" y="143"/>
                  </a:cubicBezTo>
                  <a:cubicBezTo>
                    <a:pt x="304" y="142"/>
                    <a:pt x="304" y="141"/>
                    <a:pt x="304" y="139"/>
                  </a:cubicBezTo>
                  <a:cubicBezTo>
                    <a:pt x="304" y="136"/>
                    <a:pt x="304" y="133"/>
                    <a:pt x="305" y="131"/>
                  </a:cubicBezTo>
                  <a:cubicBezTo>
                    <a:pt x="305" y="128"/>
                    <a:pt x="306" y="127"/>
                    <a:pt x="308" y="126"/>
                  </a:cubicBezTo>
                  <a:cubicBezTo>
                    <a:pt x="310" y="125"/>
                    <a:pt x="311" y="124"/>
                    <a:pt x="311" y="121"/>
                  </a:cubicBezTo>
                  <a:cubicBezTo>
                    <a:pt x="312" y="120"/>
                    <a:pt x="312" y="118"/>
                    <a:pt x="312" y="117"/>
                  </a:cubicBezTo>
                  <a:cubicBezTo>
                    <a:pt x="312" y="113"/>
                    <a:pt x="312" y="110"/>
                    <a:pt x="314" y="107"/>
                  </a:cubicBezTo>
                  <a:cubicBezTo>
                    <a:pt x="315" y="104"/>
                    <a:pt x="315" y="104"/>
                    <a:pt x="315" y="104"/>
                  </a:cubicBezTo>
                  <a:cubicBezTo>
                    <a:pt x="316" y="101"/>
                    <a:pt x="318" y="98"/>
                    <a:pt x="320" y="95"/>
                  </a:cubicBezTo>
                  <a:cubicBezTo>
                    <a:pt x="320" y="94"/>
                    <a:pt x="321" y="94"/>
                    <a:pt x="321" y="93"/>
                  </a:cubicBezTo>
                  <a:cubicBezTo>
                    <a:pt x="323" y="90"/>
                    <a:pt x="324" y="89"/>
                    <a:pt x="328" y="88"/>
                  </a:cubicBezTo>
                  <a:cubicBezTo>
                    <a:pt x="332" y="88"/>
                    <a:pt x="334" y="86"/>
                    <a:pt x="337" y="83"/>
                  </a:cubicBezTo>
                  <a:cubicBezTo>
                    <a:pt x="338" y="83"/>
                    <a:pt x="339" y="82"/>
                    <a:pt x="340" y="81"/>
                  </a:cubicBezTo>
                  <a:cubicBezTo>
                    <a:pt x="343" y="79"/>
                    <a:pt x="343" y="76"/>
                    <a:pt x="343" y="73"/>
                  </a:cubicBezTo>
                  <a:cubicBezTo>
                    <a:pt x="343" y="72"/>
                    <a:pt x="343" y="71"/>
                    <a:pt x="343" y="69"/>
                  </a:cubicBezTo>
                  <a:cubicBezTo>
                    <a:pt x="343" y="68"/>
                    <a:pt x="343" y="68"/>
                    <a:pt x="344" y="67"/>
                  </a:cubicBezTo>
                  <a:cubicBezTo>
                    <a:pt x="344" y="63"/>
                    <a:pt x="345" y="58"/>
                    <a:pt x="343" y="55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3" name="Freeform 63"/>
            <p:cNvSpPr>
              <a:spLocks/>
            </p:cNvSpPr>
            <p:nvPr/>
          </p:nvSpPr>
          <p:spPr bwMode="auto">
            <a:xfrm>
              <a:off x="2468743" y="1719326"/>
              <a:ext cx="453105" cy="696543"/>
            </a:xfrm>
            <a:custGeom>
              <a:avLst/>
              <a:gdLst>
                <a:gd name="T0" fmla="*/ 221 w 224"/>
                <a:gd name="T1" fmla="*/ 334 h 374"/>
                <a:gd name="T2" fmla="*/ 195 w 224"/>
                <a:gd name="T3" fmla="*/ 308 h 374"/>
                <a:gd name="T4" fmla="*/ 184 w 224"/>
                <a:gd name="T5" fmla="*/ 281 h 374"/>
                <a:gd name="T6" fmla="*/ 180 w 224"/>
                <a:gd name="T7" fmla="*/ 260 h 374"/>
                <a:gd name="T8" fmla="*/ 179 w 224"/>
                <a:gd name="T9" fmla="*/ 238 h 374"/>
                <a:gd name="T10" fmla="*/ 179 w 224"/>
                <a:gd name="T11" fmla="*/ 226 h 374"/>
                <a:gd name="T12" fmla="*/ 194 w 224"/>
                <a:gd name="T13" fmla="*/ 199 h 374"/>
                <a:gd name="T14" fmla="*/ 184 w 224"/>
                <a:gd name="T15" fmla="*/ 142 h 374"/>
                <a:gd name="T16" fmla="*/ 161 w 224"/>
                <a:gd name="T17" fmla="*/ 118 h 374"/>
                <a:gd name="T18" fmla="*/ 164 w 224"/>
                <a:gd name="T19" fmla="*/ 106 h 374"/>
                <a:gd name="T20" fmla="*/ 179 w 224"/>
                <a:gd name="T21" fmla="*/ 102 h 374"/>
                <a:gd name="T22" fmla="*/ 198 w 224"/>
                <a:gd name="T23" fmla="*/ 103 h 374"/>
                <a:gd name="T24" fmla="*/ 206 w 224"/>
                <a:gd name="T25" fmla="*/ 103 h 374"/>
                <a:gd name="T26" fmla="*/ 191 w 224"/>
                <a:gd name="T27" fmla="*/ 80 h 374"/>
                <a:gd name="T28" fmla="*/ 184 w 224"/>
                <a:gd name="T29" fmla="*/ 25 h 374"/>
                <a:gd name="T30" fmla="*/ 177 w 224"/>
                <a:gd name="T31" fmla="*/ 13 h 374"/>
                <a:gd name="T32" fmla="*/ 163 w 224"/>
                <a:gd name="T33" fmla="*/ 0 h 374"/>
                <a:gd name="T34" fmla="*/ 164 w 224"/>
                <a:gd name="T35" fmla="*/ 13 h 374"/>
                <a:gd name="T36" fmla="*/ 177 w 224"/>
                <a:gd name="T37" fmla="*/ 28 h 374"/>
                <a:gd name="T38" fmla="*/ 173 w 224"/>
                <a:gd name="T39" fmla="*/ 54 h 374"/>
                <a:gd name="T40" fmla="*/ 153 w 224"/>
                <a:gd name="T41" fmla="*/ 68 h 374"/>
                <a:gd name="T42" fmla="*/ 145 w 224"/>
                <a:gd name="T43" fmla="*/ 94 h 374"/>
                <a:gd name="T44" fmla="*/ 137 w 224"/>
                <a:gd name="T45" fmla="*/ 118 h 374"/>
                <a:gd name="T46" fmla="*/ 127 w 224"/>
                <a:gd name="T47" fmla="*/ 134 h 374"/>
                <a:gd name="T48" fmla="*/ 108 w 224"/>
                <a:gd name="T49" fmla="*/ 167 h 374"/>
                <a:gd name="T50" fmla="*/ 104 w 224"/>
                <a:gd name="T51" fmla="*/ 182 h 374"/>
                <a:gd name="T52" fmla="*/ 97 w 224"/>
                <a:gd name="T53" fmla="*/ 201 h 374"/>
                <a:gd name="T54" fmla="*/ 89 w 224"/>
                <a:gd name="T55" fmla="*/ 212 h 374"/>
                <a:gd name="T56" fmla="*/ 77 w 224"/>
                <a:gd name="T57" fmla="*/ 210 h 374"/>
                <a:gd name="T58" fmla="*/ 65 w 224"/>
                <a:gd name="T59" fmla="*/ 197 h 374"/>
                <a:gd name="T60" fmla="*/ 60 w 224"/>
                <a:gd name="T61" fmla="*/ 201 h 374"/>
                <a:gd name="T62" fmla="*/ 51 w 224"/>
                <a:gd name="T63" fmla="*/ 204 h 374"/>
                <a:gd name="T64" fmla="*/ 47 w 224"/>
                <a:gd name="T65" fmla="*/ 201 h 374"/>
                <a:gd name="T66" fmla="*/ 40 w 224"/>
                <a:gd name="T67" fmla="*/ 207 h 374"/>
                <a:gd name="T68" fmla="*/ 37 w 224"/>
                <a:gd name="T69" fmla="*/ 212 h 374"/>
                <a:gd name="T70" fmla="*/ 21 w 224"/>
                <a:gd name="T71" fmla="*/ 231 h 374"/>
                <a:gd name="T72" fmla="*/ 12 w 224"/>
                <a:gd name="T73" fmla="*/ 245 h 374"/>
                <a:gd name="T74" fmla="*/ 11 w 224"/>
                <a:gd name="T75" fmla="*/ 255 h 374"/>
                <a:gd name="T76" fmla="*/ 4 w 224"/>
                <a:gd name="T77" fmla="*/ 271 h 374"/>
                <a:gd name="T78" fmla="*/ 0 w 224"/>
                <a:gd name="T79" fmla="*/ 281 h 374"/>
                <a:gd name="T80" fmla="*/ 11 w 224"/>
                <a:gd name="T81" fmla="*/ 281 h 374"/>
                <a:gd name="T82" fmla="*/ 17 w 224"/>
                <a:gd name="T83" fmla="*/ 298 h 374"/>
                <a:gd name="T84" fmla="*/ 33 w 224"/>
                <a:gd name="T85" fmla="*/ 301 h 374"/>
                <a:gd name="T86" fmla="*/ 35 w 224"/>
                <a:gd name="T87" fmla="*/ 318 h 374"/>
                <a:gd name="T88" fmla="*/ 38 w 224"/>
                <a:gd name="T89" fmla="*/ 340 h 374"/>
                <a:gd name="T90" fmla="*/ 37 w 224"/>
                <a:gd name="T91" fmla="*/ 352 h 374"/>
                <a:gd name="T92" fmla="*/ 85 w 224"/>
                <a:gd name="T93" fmla="*/ 359 h 374"/>
                <a:gd name="T94" fmla="*/ 133 w 224"/>
                <a:gd name="T95" fmla="*/ 357 h 374"/>
                <a:gd name="T96" fmla="*/ 144 w 224"/>
                <a:gd name="T97" fmla="*/ 360 h 374"/>
                <a:gd name="T98" fmla="*/ 149 w 224"/>
                <a:gd name="T99" fmla="*/ 360 h 374"/>
                <a:gd name="T100" fmla="*/ 180 w 224"/>
                <a:gd name="T101" fmla="*/ 361 h 374"/>
                <a:gd name="T102" fmla="*/ 201 w 224"/>
                <a:gd name="T103" fmla="*/ 366 h 374"/>
                <a:gd name="T104" fmla="*/ 220 w 224"/>
                <a:gd name="T105" fmla="*/ 374 h 374"/>
                <a:gd name="T106" fmla="*/ 223 w 224"/>
                <a:gd name="T107" fmla="*/ 36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4" h="374">
                  <a:moveTo>
                    <a:pt x="223" y="360"/>
                  </a:moveTo>
                  <a:cubicBezTo>
                    <a:pt x="222" y="358"/>
                    <a:pt x="222" y="355"/>
                    <a:pt x="222" y="353"/>
                  </a:cubicBezTo>
                  <a:cubicBezTo>
                    <a:pt x="222" y="351"/>
                    <a:pt x="222" y="349"/>
                    <a:pt x="222" y="347"/>
                  </a:cubicBezTo>
                  <a:cubicBezTo>
                    <a:pt x="223" y="343"/>
                    <a:pt x="223" y="338"/>
                    <a:pt x="221" y="334"/>
                  </a:cubicBezTo>
                  <a:cubicBezTo>
                    <a:pt x="219" y="331"/>
                    <a:pt x="216" y="329"/>
                    <a:pt x="213" y="327"/>
                  </a:cubicBezTo>
                  <a:cubicBezTo>
                    <a:pt x="211" y="325"/>
                    <a:pt x="209" y="324"/>
                    <a:pt x="207" y="322"/>
                  </a:cubicBezTo>
                  <a:cubicBezTo>
                    <a:pt x="206" y="320"/>
                    <a:pt x="204" y="319"/>
                    <a:pt x="203" y="317"/>
                  </a:cubicBezTo>
                  <a:cubicBezTo>
                    <a:pt x="200" y="314"/>
                    <a:pt x="197" y="311"/>
                    <a:pt x="195" y="308"/>
                  </a:cubicBezTo>
                  <a:cubicBezTo>
                    <a:pt x="193" y="305"/>
                    <a:pt x="193" y="302"/>
                    <a:pt x="193" y="298"/>
                  </a:cubicBezTo>
                  <a:cubicBezTo>
                    <a:pt x="193" y="295"/>
                    <a:pt x="194" y="292"/>
                    <a:pt x="193" y="290"/>
                  </a:cubicBezTo>
                  <a:cubicBezTo>
                    <a:pt x="192" y="287"/>
                    <a:pt x="190" y="286"/>
                    <a:pt x="188" y="285"/>
                  </a:cubicBezTo>
                  <a:cubicBezTo>
                    <a:pt x="187" y="284"/>
                    <a:pt x="185" y="283"/>
                    <a:pt x="184" y="281"/>
                  </a:cubicBezTo>
                  <a:cubicBezTo>
                    <a:pt x="182" y="278"/>
                    <a:pt x="182" y="274"/>
                    <a:pt x="182" y="270"/>
                  </a:cubicBezTo>
                  <a:cubicBezTo>
                    <a:pt x="181" y="267"/>
                    <a:pt x="181" y="267"/>
                    <a:pt x="181" y="267"/>
                  </a:cubicBezTo>
                  <a:cubicBezTo>
                    <a:pt x="181" y="266"/>
                    <a:pt x="181" y="264"/>
                    <a:pt x="181" y="263"/>
                  </a:cubicBezTo>
                  <a:cubicBezTo>
                    <a:pt x="181" y="261"/>
                    <a:pt x="181" y="261"/>
                    <a:pt x="180" y="260"/>
                  </a:cubicBezTo>
                  <a:cubicBezTo>
                    <a:pt x="179" y="260"/>
                    <a:pt x="179" y="259"/>
                    <a:pt x="179" y="259"/>
                  </a:cubicBezTo>
                  <a:cubicBezTo>
                    <a:pt x="177" y="256"/>
                    <a:pt x="178" y="253"/>
                    <a:pt x="178" y="250"/>
                  </a:cubicBezTo>
                  <a:cubicBezTo>
                    <a:pt x="178" y="249"/>
                    <a:pt x="178" y="249"/>
                    <a:pt x="178" y="249"/>
                  </a:cubicBezTo>
                  <a:cubicBezTo>
                    <a:pt x="179" y="246"/>
                    <a:pt x="179" y="242"/>
                    <a:pt x="179" y="238"/>
                  </a:cubicBezTo>
                  <a:cubicBezTo>
                    <a:pt x="179" y="236"/>
                    <a:pt x="179" y="236"/>
                    <a:pt x="179" y="236"/>
                  </a:cubicBezTo>
                  <a:cubicBezTo>
                    <a:pt x="178" y="236"/>
                    <a:pt x="178" y="236"/>
                    <a:pt x="178" y="236"/>
                  </a:cubicBezTo>
                  <a:cubicBezTo>
                    <a:pt x="176" y="235"/>
                    <a:pt x="174" y="234"/>
                    <a:pt x="174" y="233"/>
                  </a:cubicBezTo>
                  <a:cubicBezTo>
                    <a:pt x="174" y="231"/>
                    <a:pt x="177" y="228"/>
                    <a:pt x="179" y="226"/>
                  </a:cubicBezTo>
                  <a:cubicBezTo>
                    <a:pt x="182" y="224"/>
                    <a:pt x="184" y="222"/>
                    <a:pt x="184" y="220"/>
                  </a:cubicBezTo>
                  <a:cubicBezTo>
                    <a:pt x="185" y="219"/>
                    <a:pt x="185" y="218"/>
                    <a:pt x="186" y="216"/>
                  </a:cubicBezTo>
                  <a:cubicBezTo>
                    <a:pt x="186" y="214"/>
                    <a:pt x="187" y="212"/>
                    <a:pt x="188" y="210"/>
                  </a:cubicBezTo>
                  <a:cubicBezTo>
                    <a:pt x="191" y="206"/>
                    <a:pt x="193" y="204"/>
                    <a:pt x="194" y="199"/>
                  </a:cubicBezTo>
                  <a:cubicBezTo>
                    <a:pt x="195" y="195"/>
                    <a:pt x="197" y="193"/>
                    <a:pt x="199" y="190"/>
                  </a:cubicBezTo>
                  <a:cubicBezTo>
                    <a:pt x="202" y="186"/>
                    <a:pt x="205" y="182"/>
                    <a:pt x="203" y="176"/>
                  </a:cubicBezTo>
                  <a:cubicBezTo>
                    <a:pt x="200" y="167"/>
                    <a:pt x="197" y="157"/>
                    <a:pt x="192" y="149"/>
                  </a:cubicBezTo>
                  <a:cubicBezTo>
                    <a:pt x="190" y="146"/>
                    <a:pt x="187" y="144"/>
                    <a:pt x="184" y="142"/>
                  </a:cubicBezTo>
                  <a:cubicBezTo>
                    <a:pt x="183" y="141"/>
                    <a:pt x="182" y="140"/>
                    <a:pt x="181" y="139"/>
                  </a:cubicBezTo>
                  <a:cubicBezTo>
                    <a:pt x="176" y="135"/>
                    <a:pt x="172" y="131"/>
                    <a:pt x="168" y="126"/>
                  </a:cubicBezTo>
                  <a:cubicBezTo>
                    <a:pt x="166" y="124"/>
                    <a:pt x="165" y="122"/>
                    <a:pt x="163" y="120"/>
                  </a:cubicBezTo>
                  <a:cubicBezTo>
                    <a:pt x="163" y="119"/>
                    <a:pt x="162" y="119"/>
                    <a:pt x="161" y="118"/>
                  </a:cubicBezTo>
                  <a:cubicBezTo>
                    <a:pt x="160" y="117"/>
                    <a:pt x="158" y="116"/>
                    <a:pt x="158" y="114"/>
                  </a:cubicBezTo>
                  <a:cubicBezTo>
                    <a:pt x="158" y="113"/>
                    <a:pt x="159" y="112"/>
                    <a:pt x="161" y="110"/>
                  </a:cubicBezTo>
                  <a:cubicBezTo>
                    <a:pt x="161" y="109"/>
                    <a:pt x="162" y="109"/>
                    <a:pt x="163" y="108"/>
                  </a:cubicBezTo>
                  <a:cubicBezTo>
                    <a:pt x="163" y="108"/>
                    <a:pt x="164" y="107"/>
                    <a:pt x="164" y="106"/>
                  </a:cubicBezTo>
                  <a:cubicBezTo>
                    <a:pt x="165" y="104"/>
                    <a:pt x="166" y="102"/>
                    <a:pt x="168" y="101"/>
                  </a:cubicBezTo>
                  <a:cubicBezTo>
                    <a:pt x="169" y="101"/>
                    <a:pt x="170" y="100"/>
                    <a:pt x="171" y="100"/>
                  </a:cubicBezTo>
                  <a:cubicBezTo>
                    <a:pt x="173" y="100"/>
                    <a:pt x="175" y="101"/>
                    <a:pt x="177" y="101"/>
                  </a:cubicBezTo>
                  <a:cubicBezTo>
                    <a:pt x="179" y="102"/>
                    <a:pt x="179" y="102"/>
                    <a:pt x="179" y="102"/>
                  </a:cubicBezTo>
                  <a:cubicBezTo>
                    <a:pt x="180" y="102"/>
                    <a:pt x="181" y="102"/>
                    <a:pt x="183" y="102"/>
                  </a:cubicBezTo>
                  <a:cubicBezTo>
                    <a:pt x="184" y="102"/>
                    <a:pt x="186" y="102"/>
                    <a:pt x="188" y="102"/>
                  </a:cubicBezTo>
                  <a:cubicBezTo>
                    <a:pt x="189" y="101"/>
                    <a:pt x="190" y="101"/>
                    <a:pt x="191" y="101"/>
                  </a:cubicBezTo>
                  <a:cubicBezTo>
                    <a:pt x="194" y="101"/>
                    <a:pt x="196" y="102"/>
                    <a:pt x="198" y="103"/>
                  </a:cubicBezTo>
                  <a:cubicBezTo>
                    <a:pt x="199" y="103"/>
                    <a:pt x="199" y="103"/>
                    <a:pt x="199" y="103"/>
                  </a:cubicBezTo>
                  <a:cubicBezTo>
                    <a:pt x="200" y="104"/>
                    <a:pt x="202" y="104"/>
                    <a:pt x="203" y="104"/>
                  </a:cubicBezTo>
                  <a:cubicBezTo>
                    <a:pt x="204" y="104"/>
                    <a:pt x="205" y="104"/>
                    <a:pt x="205" y="103"/>
                  </a:cubicBezTo>
                  <a:cubicBezTo>
                    <a:pt x="206" y="103"/>
                    <a:pt x="206" y="103"/>
                    <a:pt x="206" y="103"/>
                  </a:cubicBezTo>
                  <a:cubicBezTo>
                    <a:pt x="206" y="102"/>
                    <a:pt x="206" y="102"/>
                    <a:pt x="206" y="102"/>
                  </a:cubicBezTo>
                  <a:cubicBezTo>
                    <a:pt x="206" y="100"/>
                    <a:pt x="204" y="99"/>
                    <a:pt x="203" y="98"/>
                  </a:cubicBezTo>
                  <a:cubicBezTo>
                    <a:pt x="202" y="98"/>
                    <a:pt x="202" y="98"/>
                    <a:pt x="201" y="97"/>
                  </a:cubicBezTo>
                  <a:cubicBezTo>
                    <a:pt x="196" y="93"/>
                    <a:pt x="192" y="86"/>
                    <a:pt x="191" y="80"/>
                  </a:cubicBezTo>
                  <a:cubicBezTo>
                    <a:pt x="190" y="76"/>
                    <a:pt x="189" y="73"/>
                    <a:pt x="188" y="69"/>
                  </a:cubicBezTo>
                  <a:cubicBezTo>
                    <a:pt x="186" y="64"/>
                    <a:pt x="187" y="61"/>
                    <a:pt x="188" y="57"/>
                  </a:cubicBezTo>
                  <a:cubicBezTo>
                    <a:pt x="191" y="49"/>
                    <a:pt x="189" y="42"/>
                    <a:pt x="185" y="33"/>
                  </a:cubicBezTo>
                  <a:cubicBezTo>
                    <a:pt x="184" y="30"/>
                    <a:pt x="184" y="27"/>
                    <a:pt x="184" y="25"/>
                  </a:cubicBezTo>
                  <a:cubicBezTo>
                    <a:pt x="184" y="24"/>
                    <a:pt x="184" y="24"/>
                    <a:pt x="184" y="24"/>
                  </a:cubicBezTo>
                  <a:cubicBezTo>
                    <a:pt x="183" y="23"/>
                    <a:pt x="183" y="22"/>
                    <a:pt x="183" y="22"/>
                  </a:cubicBezTo>
                  <a:cubicBezTo>
                    <a:pt x="182" y="17"/>
                    <a:pt x="181" y="16"/>
                    <a:pt x="178" y="13"/>
                  </a:cubicBezTo>
                  <a:cubicBezTo>
                    <a:pt x="177" y="13"/>
                    <a:pt x="177" y="13"/>
                    <a:pt x="177" y="13"/>
                  </a:cubicBezTo>
                  <a:cubicBezTo>
                    <a:pt x="174" y="11"/>
                    <a:pt x="174" y="9"/>
                    <a:pt x="174" y="7"/>
                  </a:cubicBezTo>
                  <a:cubicBezTo>
                    <a:pt x="173" y="6"/>
                    <a:pt x="173" y="4"/>
                    <a:pt x="172" y="3"/>
                  </a:cubicBezTo>
                  <a:cubicBezTo>
                    <a:pt x="171" y="1"/>
                    <a:pt x="169" y="0"/>
                    <a:pt x="166" y="0"/>
                  </a:cubicBezTo>
                  <a:cubicBezTo>
                    <a:pt x="165" y="0"/>
                    <a:pt x="164" y="0"/>
                    <a:pt x="163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1" y="2"/>
                    <a:pt x="161" y="2"/>
                    <a:pt x="161" y="2"/>
                  </a:cubicBezTo>
                  <a:cubicBezTo>
                    <a:pt x="162" y="4"/>
                    <a:pt x="162" y="6"/>
                    <a:pt x="163" y="8"/>
                  </a:cubicBezTo>
                  <a:cubicBezTo>
                    <a:pt x="163" y="10"/>
                    <a:pt x="163" y="12"/>
                    <a:pt x="164" y="13"/>
                  </a:cubicBezTo>
                  <a:cubicBezTo>
                    <a:pt x="164" y="15"/>
                    <a:pt x="164" y="16"/>
                    <a:pt x="164" y="17"/>
                  </a:cubicBezTo>
                  <a:cubicBezTo>
                    <a:pt x="164" y="19"/>
                    <a:pt x="164" y="20"/>
                    <a:pt x="164" y="21"/>
                  </a:cubicBezTo>
                  <a:cubicBezTo>
                    <a:pt x="165" y="24"/>
                    <a:pt x="168" y="24"/>
                    <a:pt x="171" y="25"/>
                  </a:cubicBezTo>
                  <a:cubicBezTo>
                    <a:pt x="173" y="26"/>
                    <a:pt x="175" y="26"/>
                    <a:pt x="177" y="28"/>
                  </a:cubicBezTo>
                  <a:cubicBezTo>
                    <a:pt x="179" y="32"/>
                    <a:pt x="178" y="36"/>
                    <a:pt x="177" y="40"/>
                  </a:cubicBezTo>
                  <a:cubicBezTo>
                    <a:pt x="177" y="41"/>
                    <a:pt x="177" y="41"/>
                    <a:pt x="177" y="42"/>
                  </a:cubicBezTo>
                  <a:cubicBezTo>
                    <a:pt x="176" y="44"/>
                    <a:pt x="177" y="45"/>
                    <a:pt x="177" y="46"/>
                  </a:cubicBezTo>
                  <a:cubicBezTo>
                    <a:pt x="177" y="49"/>
                    <a:pt x="177" y="51"/>
                    <a:pt x="173" y="54"/>
                  </a:cubicBezTo>
                  <a:cubicBezTo>
                    <a:pt x="173" y="54"/>
                    <a:pt x="172" y="55"/>
                    <a:pt x="171" y="56"/>
                  </a:cubicBezTo>
                  <a:cubicBezTo>
                    <a:pt x="168" y="58"/>
                    <a:pt x="166" y="60"/>
                    <a:pt x="162" y="61"/>
                  </a:cubicBezTo>
                  <a:cubicBezTo>
                    <a:pt x="158" y="61"/>
                    <a:pt x="157" y="63"/>
                    <a:pt x="155" y="66"/>
                  </a:cubicBezTo>
                  <a:cubicBezTo>
                    <a:pt x="155" y="66"/>
                    <a:pt x="154" y="67"/>
                    <a:pt x="153" y="68"/>
                  </a:cubicBezTo>
                  <a:cubicBezTo>
                    <a:pt x="152" y="71"/>
                    <a:pt x="150" y="74"/>
                    <a:pt x="149" y="77"/>
                  </a:cubicBezTo>
                  <a:cubicBezTo>
                    <a:pt x="147" y="80"/>
                    <a:pt x="147" y="80"/>
                    <a:pt x="147" y="80"/>
                  </a:cubicBezTo>
                  <a:cubicBezTo>
                    <a:pt x="146" y="83"/>
                    <a:pt x="146" y="86"/>
                    <a:pt x="145" y="90"/>
                  </a:cubicBezTo>
                  <a:cubicBezTo>
                    <a:pt x="145" y="91"/>
                    <a:pt x="145" y="93"/>
                    <a:pt x="145" y="94"/>
                  </a:cubicBezTo>
                  <a:cubicBezTo>
                    <a:pt x="145" y="97"/>
                    <a:pt x="143" y="98"/>
                    <a:pt x="142" y="99"/>
                  </a:cubicBezTo>
                  <a:cubicBezTo>
                    <a:pt x="140" y="100"/>
                    <a:pt x="139" y="101"/>
                    <a:pt x="138" y="103"/>
                  </a:cubicBezTo>
                  <a:cubicBezTo>
                    <a:pt x="138" y="106"/>
                    <a:pt x="138" y="109"/>
                    <a:pt x="138" y="112"/>
                  </a:cubicBezTo>
                  <a:cubicBezTo>
                    <a:pt x="137" y="114"/>
                    <a:pt x="137" y="116"/>
                    <a:pt x="137" y="118"/>
                  </a:cubicBezTo>
                  <a:cubicBezTo>
                    <a:pt x="131" y="118"/>
                    <a:pt x="129" y="122"/>
                    <a:pt x="128" y="125"/>
                  </a:cubicBezTo>
                  <a:cubicBezTo>
                    <a:pt x="128" y="126"/>
                    <a:pt x="128" y="127"/>
                    <a:pt x="128" y="129"/>
                  </a:cubicBezTo>
                  <a:cubicBezTo>
                    <a:pt x="128" y="130"/>
                    <a:pt x="127" y="131"/>
                    <a:pt x="127" y="132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26" y="140"/>
                    <a:pt x="125" y="144"/>
                    <a:pt x="119" y="146"/>
                  </a:cubicBezTo>
                  <a:cubicBezTo>
                    <a:pt x="112" y="149"/>
                    <a:pt x="110" y="155"/>
                    <a:pt x="110" y="159"/>
                  </a:cubicBezTo>
                  <a:cubicBezTo>
                    <a:pt x="110" y="161"/>
                    <a:pt x="109" y="163"/>
                    <a:pt x="108" y="165"/>
                  </a:cubicBezTo>
                  <a:cubicBezTo>
                    <a:pt x="108" y="167"/>
                    <a:pt x="108" y="167"/>
                    <a:pt x="108" y="167"/>
                  </a:cubicBezTo>
                  <a:cubicBezTo>
                    <a:pt x="108" y="169"/>
                    <a:pt x="107" y="170"/>
                    <a:pt x="106" y="172"/>
                  </a:cubicBezTo>
                  <a:cubicBezTo>
                    <a:pt x="105" y="173"/>
                    <a:pt x="105" y="173"/>
                    <a:pt x="105" y="174"/>
                  </a:cubicBezTo>
                  <a:cubicBezTo>
                    <a:pt x="104" y="176"/>
                    <a:pt x="104" y="177"/>
                    <a:pt x="104" y="179"/>
                  </a:cubicBezTo>
                  <a:cubicBezTo>
                    <a:pt x="104" y="180"/>
                    <a:pt x="104" y="181"/>
                    <a:pt x="104" y="182"/>
                  </a:cubicBezTo>
                  <a:cubicBezTo>
                    <a:pt x="103" y="184"/>
                    <a:pt x="102" y="185"/>
                    <a:pt x="100" y="186"/>
                  </a:cubicBezTo>
                  <a:cubicBezTo>
                    <a:pt x="100" y="186"/>
                    <a:pt x="99" y="187"/>
                    <a:pt x="98" y="188"/>
                  </a:cubicBezTo>
                  <a:cubicBezTo>
                    <a:pt x="96" y="190"/>
                    <a:pt x="97" y="192"/>
                    <a:pt x="98" y="195"/>
                  </a:cubicBezTo>
                  <a:cubicBezTo>
                    <a:pt x="99" y="197"/>
                    <a:pt x="99" y="199"/>
                    <a:pt x="97" y="201"/>
                  </a:cubicBezTo>
                  <a:cubicBezTo>
                    <a:pt x="96" y="201"/>
                    <a:pt x="95" y="201"/>
                    <a:pt x="94" y="202"/>
                  </a:cubicBezTo>
                  <a:cubicBezTo>
                    <a:pt x="93" y="202"/>
                    <a:pt x="92" y="202"/>
                    <a:pt x="91" y="204"/>
                  </a:cubicBezTo>
                  <a:cubicBezTo>
                    <a:pt x="90" y="205"/>
                    <a:pt x="90" y="206"/>
                    <a:pt x="90" y="208"/>
                  </a:cubicBezTo>
                  <a:cubicBezTo>
                    <a:pt x="90" y="209"/>
                    <a:pt x="90" y="210"/>
                    <a:pt x="89" y="212"/>
                  </a:cubicBezTo>
                  <a:cubicBezTo>
                    <a:pt x="86" y="215"/>
                    <a:pt x="83" y="219"/>
                    <a:pt x="80" y="219"/>
                  </a:cubicBezTo>
                  <a:cubicBezTo>
                    <a:pt x="79" y="219"/>
                    <a:pt x="78" y="218"/>
                    <a:pt x="77" y="218"/>
                  </a:cubicBezTo>
                  <a:cubicBezTo>
                    <a:pt x="77" y="217"/>
                    <a:pt x="77" y="215"/>
                    <a:pt x="77" y="214"/>
                  </a:cubicBezTo>
                  <a:cubicBezTo>
                    <a:pt x="77" y="212"/>
                    <a:pt x="77" y="211"/>
                    <a:pt x="77" y="210"/>
                  </a:cubicBezTo>
                  <a:cubicBezTo>
                    <a:pt x="76" y="209"/>
                    <a:pt x="75" y="208"/>
                    <a:pt x="74" y="208"/>
                  </a:cubicBezTo>
                  <a:cubicBezTo>
                    <a:pt x="73" y="207"/>
                    <a:pt x="72" y="207"/>
                    <a:pt x="71" y="206"/>
                  </a:cubicBezTo>
                  <a:cubicBezTo>
                    <a:pt x="71" y="206"/>
                    <a:pt x="70" y="204"/>
                    <a:pt x="70" y="203"/>
                  </a:cubicBezTo>
                  <a:cubicBezTo>
                    <a:pt x="68" y="200"/>
                    <a:pt x="67" y="198"/>
                    <a:pt x="65" y="197"/>
                  </a:cubicBezTo>
                  <a:cubicBezTo>
                    <a:pt x="64" y="197"/>
                    <a:pt x="64" y="197"/>
                    <a:pt x="64" y="197"/>
                  </a:cubicBezTo>
                  <a:cubicBezTo>
                    <a:pt x="64" y="197"/>
                    <a:pt x="64" y="197"/>
                    <a:pt x="64" y="197"/>
                  </a:cubicBezTo>
                  <a:cubicBezTo>
                    <a:pt x="63" y="197"/>
                    <a:pt x="62" y="197"/>
                    <a:pt x="61" y="198"/>
                  </a:cubicBezTo>
                  <a:cubicBezTo>
                    <a:pt x="60" y="199"/>
                    <a:pt x="60" y="200"/>
                    <a:pt x="60" y="201"/>
                  </a:cubicBezTo>
                  <a:cubicBezTo>
                    <a:pt x="60" y="202"/>
                    <a:pt x="60" y="204"/>
                    <a:pt x="59" y="204"/>
                  </a:cubicBezTo>
                  <a:cubicBezTo>
                    <a:pt x="58" y="205"/>
                    <a:pt x="56" y="205"/>
                    <a:pt x="55" y="205"/>
                  </a:cubicBezTo>
                  <a:cubicBezTo>
                    <a:pt x="54" y="205"/>
                    <a:pt x="54" y="205"/>
                    <a:pt x="53" y="205"/>
                  </a:cubicBezTo>
                  <a:cubicBezTo>
                    <a:pt x="51" y="204"/>
                    <a:pt x="51" y="204"/>
                    <a:pt x="51" y="204"/>
                  </a:cubicBezTo>
                  <a:cubicBezTo>
                    <a:pt x="51" y="203"/>
                    <a:pt x="51" y="203"/>
                    <a:pt x="51" y="202"/>
                  </a:cubicBezTo>
                  <a:cubicBezTo>
                    <a:pt x="51" y="202"/>
                    <a:pt x="50" y="201"/>
                    <a:pt x="50" y="201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47" y="201"/>
                    <a:pt x="47" y="201"/>
                    <a:pt x="47" y="201"/>
                  </a:cubicBezTo>
                  <a:cubicBezTo>
                    <a:pt x="47" y="201"/>
                    <a:pt x="46" y="201"/>
                    <a:pt x="46" y="202"/>
                  </a:cubicBezTo>
                  <a:cubicBezTo>
                    <a:pt x="45" y="203"/>
                    <a:pt x="44" y="204"/>
                    <a:pt x="42" y="205"/>
                  </a:cubicBezTo>
                  <a:cubicBezTo>
                    <a:pt x="42" y="206"/>
                    <a:pt x="42" y="206"/>
                    <a:pt x="42" y="206"/>
                  </a:cubicBezTo>
                  <a:cubicBezTo>
                    <a:pt x="41" y="207"/>
                    <a:pt x="41" y="207"/>
                    <a:pt x="40" y="207"/>
                  </a:cubicBezTo>
                  <a:cubicBezTo>
                    <a:pt x="40" y="207"/>
                    <a:pt x="39" y="207"/>
                    <a:pt x="39" y="207"/>
                  </a:cubicBezTo>
                  <a:cubicBezTo>
                    <a:pt x="37" y="207"/>
                    <a:pt x="37" y="207"/>
                    <a:pt x="37" y="207"/>
                  </a:cubicBezTo>
                  <a:cubicBezTo>
                    <a:pt x="37" y="209"/>
                    <a:pt x="37" y="209"/>
                    <a:pt x="37" y="209"/>
                  </a:cubicBezTo>
                  <a:cubicBezTo>
                    <a:pt x="37" y="210"/>
                    <a:pt x="37" y="211"/>
                    <a:pt x="37" y="212"/>
                  </a:cubicBezTo>
                  <a:cubicBezTo>
                    <a:pt x="37" y="214"/>
                    <a:pt x="37" y="215"/>
                    <a:pt x="37" y="216"/>
                  </a:cubicBezTo>
                  <a:cubicBezTo>
                    <a:pt x="33" y="216"/>
                    <a:pt x="32" y="217"/>
                    <a:pt x="30" y="220"/>
                  </a:cubicBezTo>
                  <a:cubicBezTo>
                    <a:pt x="28" y="222"/>
                    <a:pt x="27" y="224"/>
                    <a:pt x="25" y="226"/>
                  </a:cubicBezTo>
                  <a:cubicBezTo>
                    <a:pt x="24" y="227"/>
                    <a:pt x="22" y="229"/>
                    <a:pt x="21" y="231"/>
                  </a:cubicBezTo>
                  <a:cubicBezTo>
                    <a:pt x="19" y="233"/>
                    <a:pt x="17" y="235"/>
                    <a:pt x="15" y="237"/>
                  </a:cubicBezTo>
                  <a:cubicBezTo>
                    <a:pt x="14" y="238"/>
                    <a:pt x="14" y="238"/>
                    <a:pt x="14" y="238"/>
                  </a:cubicBezTo>
                  <a:cubicBezTo>
                    <a:pt x="13" y="239"/>
                    <a:pt x="12" y="240"/>
                    <a:pt x="12" y="242"/>
                  </a:cubicBezTo>
                  <a:cubicBezTo>
                    <a:pt x="12" y="243"/>
                    <a:pt x="12" y="244"/>
                    <a:pt x="12" y="245"/>
                  </a:cubicBezTo>
                  <a:cubicBezTo>
                    <a:pt x="13" y="246"/>
                    <a:pt x="13" y="248"/>
                    <a:pt x="12" y="249"/>
                  </a:cubicBezTo>
                  <a:cubicBezTo>
                    <a:pt x="12" y="250"/>
                    <a:pt x="12" y="250"/>
                    <a:pt x="12" y="250"/>
                  </a:cubicBezTo>
                  <a:cubicBezTo>
                    <a:pt x="11" y="251"/>
                    <a:pt x="11" y="252"/>
                    <a:pt x="11" y="253"/>
                  </a:cubicBezTo>
                  <a:cubicBezTo>
                    <a:pt x="11" y="255"/>
                    <a:pt x="11" y="255"/>
                    <a:pt x="11" y="255"/>
                  </a:cubicBezTo>
                  <a:cubicBezTo>
                    <a:pt x="11" y="256"/>
                    <a:pt x="11" y="257"/>
                    <a:pt x="10" y="259"/>
                  </a:cubicBezTo>
                  <a:cubicBezTo>
                    <a:pt x="10" y="261"/>
                    <a:pt x="9" y="263"/>
                    <a:pt x="7" y="266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6" y="268"/>
                    <a:pt x="5" y="270"/>
                    <a:pt x="4" y="271"/>
                  </a:cubicBezTo>
                  <a:cubicBezTo>
                    <a:pt x="3" y="272"/>
                    <a:pt x="2" y="274"/>
                    <a:pt x="1" y="276"/>
                  </a:cubicBezTo>
                  <a:cubicBezTo>
                    <a:pt x="1" y="277"/>
                    <a:pt x="1" y="278"/>
                    <a:pt x="0" y="27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1"/>
                    <a:pt x="0" y="281"/>
                    <a:pt x="0" y="281"/>
                  </a:cubicBezTo>
                  <a:cubicBezTo>
                    <a:pt x="1" y="282"/>
                    <a:pt x="2" y="283"/>
                    <a:pt x="4" y="284"/>
                  </a:cubicBezTo>
                  <a:cubicBezTo>
                    <a:pt x="4" y="284"/>
                    <a:pt x="5" y="284"/>
                    <a:pt x="5" y="284"/>
                  </a:cubicBezTo>
                  <a:cubicBezTo>
                    <a:pt x="7" y="284"/>
                    <a:pt x="8" y="283"/>
                    <a:pt x="9" y="282"/>
                  </a:cubicBezTo>
                  <a:cubicBezTo>
                    <a:pt x="10" y="282"/>
                    <a:pt x="10" y="281"/>
                    <a:pt x="11" y="281"/>
                  </a:cubicBezTo>
                  <a:cubicBezTo>
                    <a:pt x="11" y="281"/>
                    <a:pt x="11" y="281"/>
                    <a:pt x="11" y="281"/>
                  </a:cubicBezTo>
                  <a:cubicBezTo>
                    <a:pt x="11" y="281"/>
                    <a:pt x="11" y="282"/>
                    <a:pt x="11" y="284"/>
                  </a:cubicBezTo>
                  <a:cubicBezTo>
                    <a:pt x="11" y="286"/>
                    <a:pt x="11" y="287"/>
                    <a:pt x="11" y="287"/>
                  </a:cubicBezTo>
                  <a:cubicBezTo>
                    <a:pt x="12" y="290"/>
                    <a:pt x="14" y="295"/>
                    <a:pt x="17" y="298"/>
                  </a:cubicBezTo>
                  <a:cubicBezTo>
                    <a:pt x="18" y="298"/>
                    <a:pt x="18" y="298"/>
                    <a:pt x="19" y="299"/>
                  </a:cubicBezTo>
                  <a:cubicBezTo>
                    <a:pt x="22" y="301"/>
                    <a:pt x="24" y="303"/>
                    <a:pt x="27" y="304"/>
                  </a:cubicBezTo>
                  <a:cubicBezTo>
                    <a:pt x="28" y="304"/>
                    <a:pt x="29" y="303"/>
                    <a:pt x="30" y="302"/>
                  </a:cubicBezTo>
                  <a:cubicBezTo>
                    <a:pt x="31" y="302"/>
                    <a:pt x="32" y="301"/>
                    <a:pt x="33" y="301"/>
                  </a:cubicBezTo>
                  <a:cubicBezTo>
                    <a:pt x="33" y="301"/>
                    <a:pt x="33" y="301"/>
                    <a:pt x="33" y="301"/>
                  </a:cubicBezTo>
                  <a:cubicBezTo>
                    <a:pt x="33" y="301"/>
                    <a:pt x="32" y="302"/>
                    <a:pt x="32" y="303"/>
                  </a:cubicBezTo>
                  <a:cubicBezTo>
                    <a:pt x="31" y="304"/>
                    <a:pt x="30" y="306"/>
                    <a:pt x="31" y="309"/>
                  </a:cubicBezTo>
                  <a:cubicBezTo>
                    <a:pt x="32" y="312"/>
                    <a:pt x="34" y="315"/>
                    <a:pt x="35" y="318"/>
                  </a:cubicBezTo>
                  <a:cubicBezTo>
                    <a:pt x="37" y="320"/>
                    <a:pt x="38" y="322"/>
                    <a:pt x="39" y="324"/>
                  </a:cubicBezTo>
                  <a:cubicBezTo>
                    <a:pt x="39" y="324"/>
                    <a:pt x="40" y="325"/>
                    <a:pt x="40" y="325"/>
                  </a:cubicBezTo>
                  <a:cubicBezTo>
                    <a:pt x="41" y="328"/>
                    <a:pt x="41" y="329"/>
                    <a:pt x="41" y="331"/>
                  </a:cubicBezTo>
                  <a:cubicBezTo>
                    <a:pt x="40" y="334"/>
                    <a:pt x="39" y="336"/>
                    <a:pt x="38" y="340"/>
                  </a:cubicBezTo>
                  <a:cubicBezTo>
                    <a:pt x="38" y="341"/>
                    <a:pt x="38" y="343"/>
                    <a:pt x="37" y="345"/>
                  </a:cubicBezTo>
                  <a:cubicBezTo>
                    <a:pt x="37" y="347"/>
                    <a:pt x="36" y="349"/>
                    <a:pt x="36" y="350"/>
                  </a:cubicBezTo>
                  <a:cubicBezTo>
                    <a:pt x="36" y="352"/>
                    <a:pt x="36" y="352"/>
                    <a:pt x="36" y="352"/>
                  </a:cubicBezTo>
                  <a:cubicBezTo>
                    <a:pt x="37" y="352"/>
                    <a:pt x="37" y="352"/>
                    <a:pt x="37" y="352"/>
                  </a:cubicBezTo>
                  <a:cubicBezTo>
                    <a:pt x="38" y="353"/>
                    <a:pt x="39" y="354"/>
                    <a:pt x="40" y="355"/>
                  </a:cubicBezTo>
                  <a:cubicBezTo>
                    <a:pt x="41" y="357"/>
                    <a:pt x="42" y="358"/>
                    <a:pt x="44" y="359"/>
                  </a:cubicBezTo>
                  <a:cubicBezTo>
                    <a:pt x="45" y="359"/>
                    <a:pt x="45" y="359"/>
                    <a:pt x="45" y="359"/>
                  </a:cubicBezTo>
                  <a:cubicBezTo>
                    <a:pt x="85" y="359"/>
                    <a:pt x="85" y="359"/>
                    <a:pt x="85" y="359"/>
                  </a:cubicBezTo>
                  <a:cubicBezTo>
                    <a:pt x="85" y="357"/>
                    <a:pt x="85" y="357"/>
                    <a:pt x="85" y="357"/>
                  </a:cubicBezTo>
                  <a:cubicBezTo>
                    <a:pt x="85" y="355"/>
                    <a:pt x="85" y="355"/>
                    <a:pt x="85" y="355"/>
                  </a:cubicBezTo>
                  <a:cubicBezTo>
                    <a:pt x="101" y="356"/>
                    <a:pt x="101" y="356"/>
                    <a:pt x="101" y="356"/>
                  </a:cubicBezTo>
                  <a:cubicBezTo>
                    <a:pt x="112" y="356"/>
                    <a:pt x="122" y="356"/>
                    <a:pt x="133" y="357"/>
                  </a:cubicBezTo>
                  <a:cubicBezTo>
                    <a:pt x="134" y="357"/>
                    <a:pt x="134" y="357"/>
                    <a:pt x="134" y="357"/>
                  </a:cubicBezTo>
                  <a:cubicBezTo>
                    <a:pt x="135" y="357"/>
                    <a:pt x="137" y="357"/>
                    <a:pt x="138" y="357"/>
                  </a:cubicBezTo>
                  <a:cubicBezTo>
                    <a:pt x="139" y="357"/>
                    <a:pt x="140" y="358"/>
                    <a:pt x="141" y="358"/>
                  </a:cubicBezTo>
                  <a:cubicBezTo>
                    <a:pt x="142" y="359"/>
                    <a:pt x="143" y="359"/>
                    <a:pt x="144" y="360"/>
                  </a:cubicBezTo>
                  <a:cubicBezTo>
                    <a:pt x="144" y="360"/>
                    <a:pt x="145" y="360"/>
                    <a:pt x="145" y="360"/>
                  </a:cubicBezTo>
                  <a:cubicBezTo>
                    <a:pt x="146" y="360"/>
                    <a:pt x="146" y="360"/>
                    <a:pt x="147" y="360"/>
                  </a:cubicBezTo>
                  <a:cubicBezTo>
                    <a:pt x="147" y="360"/>
                    <a:pt x="148" y="360"/>
                    <a:pt x="148" y="360"/>
                  </a:cubicBezTo>
                  <a:cubicBezTo>
                    <a:pt x="149" y="360"/>
                    <a:pt x="149" y="360"/>
                    <a:pt x="149" y="360"/>
                  </a:cubicBezTo>
                  <a:cubicBezTo>
                    <a:pt x="151" y="360"/>
                    <a:pt x="153" y="360"/>
                    <a:pt x="156" y="360"/>
                  </a:cubicBezTo>
                  <a:cubicBezTo>
                    <a:pt x="158" y="360"/>
                    <a:pt x="160" y="360"/>
                    <a:pt x="162" y="360"/>
                  </a:cubicBezTo>
                  <a:cubicBezTo>
                    <a:pt x="165" y="360"/>
                    <a:pt x="167" y="360"/>
                    <a:pt x="169" y="360"/>
                  </a:cubicBezTo>
                  <a:cubicBezTo>
                    <a:pt x="174" y="360"/>
                    <a:pt x="177" y="360"/>
                    <a:pt x="180" y="361"/>
                  </a:cubicBezTo>
                  <a:cubicBezTo>
                    <a:pt x="182" y="361"/>
                    <a:pt x="184" y="362"/>
                    <a:pt x="186" y="363"/>
                  </a:cubicBezTo>
                  <a:cubicBezTo>
                    <a:pt x="189" y="365"/>
                    <a:pt x="193" y="366"/>
                    <a:pt x="196" y="366"/>
                  </a:cubicBezTo>
                  <a:cubicBezTo>
                    <a:pt x="197" y="366"/>
                    <a:pt x="197" y="366"/>
                    <a:pt x="197" y="366"/>
                  </a:cubicBezTo>
                  <a:cubicBezTo>
                    <a:pt x="199" y="366"/>
                    <a:pt x="200" y="366"/>
                    <a:pt x="201" y="366"/>
                  </a:cubicBezTo>
                  <a:cubicBezTo>
                    <a:pt x="202" y="366"/>
                    <a:pt x="203" y="366"/>
                    <a:pt x="205" y="366"/>
                  </a:cubicBezTo>
                  <a:cubicBezTo>
                    <a:pt x="207" y="366"/>
                    <a:pt x="210" y="366"/>
                    <a:pt x="213" y="369"/>
                  </a:cubicBezTo>
                  <a:cubicBezTo>
                    <a:pt x="214" y="369"/>
                    <a:pt x="214" y="370"/>
                    <a:pt x="215" y="370"/>
                  </a:cubicBezTo>
                  <a:cubicBezTo>
                    <a:pt x="218" y="373"/>
                    <a:pt x="219" y="374"/>
                    <a:pt x="220" y="374"/>
                  </a:cubicBezTo>
                  <a:cubicBezTo>
                    <a:pt x="221" y="374"/>
                    <a:pt x="221" y="374"/>
                    <a:pt x="221" y="374"/>
                  </a:cubicBezTo>
                  <a:cubicBezTo>
                    <a:pt x="221" y="374"/>
                    <a:pt x="221" y="374"/>
                    <a:pt x="221" y="374"/>
                  </a:cubicBezTo>
                  <a:cubicBezTo>
                    <a:pt x="222" y="373"/>
                    <a:pt x="223" y="372"/>
                    <a:pt x="223" y="371"/>
                  </a:cubicBezTo>
                  <a:cubicBezTo>
                    <a:pt x="224" y="367"/>
                    <a:pt x="224" y="364"/>
                    <a:pt x="223" y="36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4" name="Freeform 64"/>
            <p:cNvSpPr>
              <a:spLocks/>
            </p:cNvSpPr>
            <p:nvPr/>
          </p:nvSpPr>
          <p:spPr bwMode="auto">
            <a:xfrm>
              <a:off x="2462047" y="2289505"/>
              <a:ext cx="39061" cy="39039"/>
            </a:xfrm>
            <a:custGeom>
              <a:avLst/>
              <a:gdLst>
                <a:gd name="T0" fmla="*/ 14 w 19"/>
                <a:gd name="T1" fmla="*/ 0 h 21"/>
                <a:gd name="T2" fmla="*/ 13 w 19"/>
                <a:gd name="T3" fmla="*/ 0 h 21"/>
                <a:gd name="T4" fmla="*/ 8 w 19"/>
                <a:gd name="T5" fmla="*/ 5 h 21"/>
                <a:gd name="T6" fmla="*/ 7 w 19"/>
                <a:gd name="T7" fmla="*/ 8 h 21"/>
                <a:gd name="T8" fmla="*/ 5 w 19"/>
                <a:gd name="T9" fmla="*/ 9 h 21"/>
                <a:gd name="T10" fmla="*/ 1 w 19"/>
                <a:gd name="T11" fmla="*/ 16 h 21"/>
                <a:gd name="T12" fmla="*/ 8 w 19"/>
                <a:gd name="T13" fmla="*/ 21 h 21"/>
                <a:gd name="T14" fmla="*/ 11 w 19"/>
                <a:gd name="T15" fmla="*/ 20 h 21"/>
                <a:gd name="T16" fmla="*/ 12 w 19"/>
                <a:gd name="T17" fmla="*/ 20 h 21"/>
                <a:gd name="T18" fmla="*/ 12 w 19"/>
                <a:gd name="T19" fmla="*/ 19 h 21"/>
                <a:gd name="T20" fmla="*/ 14 w 19"/>
                <a:gd name="T21" fmla="*/ 16 h 21"/>
                <a:gd name="T22" fmla="*/ 17 w 19"/>
                <a:gd name="T23" fmla="*/ 2 h 21"/>
                <a:gd name="T24" fmla="*/ 14 w 19"/>
                <a:gd name="T2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1">
                  <a:moveTo>
                    <a:pt x="14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9" y="0"/>
                    <a:pt x="8" y="3"/>
                    <a:pt x="8" y="5"/>
                  </a:cubicBezTo>
                  <a:cubicBezTo>
                    <a:pt x="7" y="6"/>
                    <a:pt x="7" y="7"/>
                    <a:pt x="7" y="8"/>
                  </a:cubicBezTo>
                  <a:cubicBezTo>
                    <a:pt x="6" y="8"/>
                    <a:pt x="6" y="8"/>
                    <a:pt x="5" y="9"/>
                  </a:cubicBezTo>
                  <a:cubicBezTo>
                    <a:pt x="3" y="10"/>
                    <a:pt x="0" y="12"/>
                    <a:pt x="1" y="16"/>
                  </a:cubicBezTo>
                  <a:cubicBezTo>
                    <a:pt x="2" y="19"/>
                    <a:pt x="5" y="21"/>
                    <a:pt x="8" y="21"/>
                  </a:cubicBezTo>
                  <a:cubicBezTo>
                    <a:pt x="9" y="21"/>
                    <a:pt x="10" y="21"/>
                    <a:pt x="11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3" y="19"/>
                    <a:pt x="13" y="17"/>
                    <a:pt x="14" y="16"/>
                  </a:cubicBezTo>
                  <a:cubicBezTo>
                    <a:pt x="17" y="10"/>
                    <a:pt x="19" y="5"/>
                    <a:pt x="17" y="2"/>
                  </a:cubicBezTo>
                  <a:cubicBezTo>
                    <a:pt x="17" y="1"/>
                    <a:pt x="16" y="0"/>
                    <a:pt x="14" y="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5" name="Freeform 65"/>
            <p:cNvSpPr>
              <a:spLocks/>
            </p:cNvSpPr>
            <p:nvPr/>
          </p:nvSpPr>
          <p:spPr bwMode="auto">
            <a:xfrm>
              <a:off x="2514500" y="2370666"/>
              <a:ext cx="126111" cy="91434"/>
            </a:xfrm>
            <a:custGeom>
              <a:avLst/>
              <a:gdLst>
                <a:gd name="T0" fmla="*/ 62 w 62"/>
                <a:gd name="T1" fmla="*/ 9 h 49"/>
                <a:gd name="T2" fmla="*/ 22 w 62"/>
                <a:gd name="T3" fmla="*/ 9 h 49"/>
                <a:gd name="T4" fmla="*/ 17 w 62"/>
                <a:gd name="T5" fmla="*/ 5 h 49"/>
                <a:gd name="T6" fmla="*/ 16 w 62"/>
                <a:gd name="T7" fmla="*/ 4 h 49"/>
                <a:gd name="T8" fmla="*/ 13 w 62"/>
                <a:gd name="T9" fmla="*/ 0 h 49"/>
                <a:gd name="T10" fmla="*/ 13 w 62"/>
                <a:gd name="T11" fmla="*/ 5 h 49"/>
                <a:gd name="T12" fmla="*/ 13 w 62"/>
                <a:gd name="T13" fmla="*/ 8 h 49"/>
                <a:gd name="T14" fmla="*/ 13 w 62"/>
                <a:gd name="T15" fmla="*/ 11 h 49"/>
                <a:gd name="T16" fmla="*/ 14 w 62"/>
                <a:gd name="T17" fmla="*/ 15 h 49"/>
                <a:gd name="T18" fmla="*/ 11 w 62"/>
                <a:gd name="T19" fmla="*/ 21 h 49"/>
                <a:gd name="T20" fmla="*/ 9 w 62"/>
                <a:gd name="T21" fmla="*/ 26 h 49"/>
                <a:gd name="T22" fmla="*/ 6 w 62"/>
                <a:gd name="T23" fmla="*/ 31 h 49"/>
                <a:gd name="T24" fmla="*/ 5 w 62"/>
                <a:gd name="T25" fmla="*/ 32 h 49"/>
                <a:gd name="T26" fmla="*/ 2 w 62"/>
                <a:gd name="T27" fmla="*/ 43 h 49"/>
                <a:gd name="T28" fmla="*/ 6 w 62"/>
                <a:gd name="T29" fmla="*/ 46 h 49"/>
                <a:gd name="T30" fmla="*/ 7 w 62"/>
                <a:gd name="T31" fmla="*/ 47 h 49"/>
                <a:gd name="T32" fmla="*/ 8 w 62"/>
                <a:gd name="T33" fmla="*/ 48 h 49"/>
                <a:gd name="T34" fmla="*/ 10 w 62"/>
                <a:gd name="T35" fmla="*/ 47 h 49"/>
                <a:gd name="T36" fmla="*/ 14 w 62"/>
                <a:gd name="T37" fmla="*/ 46 h 49"/>
                <a:gd name="T38" fmla="*/ 14 w 62"/>
                <a:gd name="T39" fmla="*/ 46 h 49"/>
                <a:gd name="T40" fmla="*/ 17 w 62"/>
                <a:gd name="T41" fmla="*/ 48 h 49"/>
                <a:gd name="T42" fmla="*/ 20 w 62"/>
                <a:gd name="T43" fmla="*/ 49 h 49"/>
                <a:gd name="T44" fmla="*/ 22 w 62"/>
                <a:gd name="T45" fmla="*/ 49 h 49"/>
                <a:gd name="T46" fmla="*/ 62 w 62"/>
                <a:gd name="T47" fmla="*/ 49 h 49"/>
                <a:gd name="T48" fmla="*/ 62 w 62"/>
                <a:gd name="T4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2" h="49">
                  <a:moveTo>
                    <a:pt x="62" y="9"/>
                  </a:moveTo>
                  <a:cubicBezTo>
                    <a:pt x="22" y="9"/>
                    <a:pt x="22" y="9"/>
                    <a:pt x="22" y="9"/>
                  </a:cubicBezTo>
                  <a:cubicBezTo>
                    <a:pt x="20" y="8"/>
                    <a:pt x="19" y="6"/>
                    <a:pt x="17" y="5"/>
                  </a:cubicBezTo>
                  <a:cubicBezTo>
                    <a:pt x="17" y="4"/>
                    <a:pt x="16" y="4"/>
                    <a:pt x="16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7"/>
                    <a:pt x="13" y="8"/>
                  </a:cubicBezTo>
                  <a:cubicBezTo>
                    <a:pt x="13" y="9"/>
                    <a:pt x="13" y="10"/>
                    <a:pt x="13" y="11"/>
                  </a:cubicBezTo>
                  <a:cubicBezTo>
                    <a:pt x="14" y="12"/>
                    <a:pt x="14" y="13"/>
                    <a:pt x="14" y="15"/>
                  </a:cubicBezTo>
                  <a:cubicBezTo>
                    <a:pt x="14" y="17"/>
                    <a:pt x="13" y="19"/>
                    <a:pt x="11" y="21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8" y="28"/>
                    <a:pt x="7" y="30"/>
                    <a:pt x="6" y="31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3" y="35"/>
                    <a:pt x="0" y="40"/>
                    <a:pt x="2" y="43"/>
                  </a:cubicBezTo>
                  <a:cubicBezTo>
                    <a:pt x="3" y="45"/>
                    <a:pt x="5" y="46"/>
                    <a:pt x="6" y="46"/>
                  </a:cubicBezTo>
                  <a:cubicBezTo>
                    <a:pt x="7" y="46"/>
                    <a:pt x="7" y="46"/>
                    <a:pt x="7" y="47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1" y="47"/>
                    <a:pt x="13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5" y="46"/>
                    <a:pt x="16" y="47"/>
                    <a:pt x="17" y="48"/>
                  </a:cubicBezTo>
                  <a:cubicBezTo>
                    <a:pt x="18" y="49"/>
                    <a:pt x="19" y="49"/>
                    <a:pt x="20" y="49"/>
                  </a:cubicBezTo>
                  <a:cubicBezTo>
                    <a:pt x="21" y="49"/>
                    <a:pt x="22" y="49"/>
                    <a:pt x="22" y="49"/>
                  </a:cubicBezTo>
                  <a:cubicBezTo>
                    <a:pt x="62" y="49"/>
                    <a:pt x="62" y="49"/>
                    <a:pt x="62" y="49"/>
                  </a:cubicBezTo>
                  <a:lnTo>
                    <a:pt x="62" y="9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6" name="Freeform 66"/>
            <p:cNvSpPr>
              <a:spLocks noEditPoints="1"/>
            </p:cNvSpPr>
            <p:nvPr/>
          </p:nvSpPr>
          <p:spPr bwMode="auto">
            <a:xfrm>
              <a:off x="3966445" y="2239165"/>
              <a:ext cx="467613" cy="579426"/>
            </a:xfrm>
            <a:custGeom>
              <a:avLst/>
              <a:gdLst>
                <a:gd name="T0" fmla="*/ 222 w 231"/>
                <a:gd name="T1" fmla="*/ 23 h 311"/>
                <a:gd name="T2" fmla="*/ 211 w 231"/>
                <a:gd name="T3" fmla="*/ 23 h 311"/>
                <a:gd name="T4" fmla="*/ 163 w 231"/>
                <a:gd name="T5" fmla="*/ 41 h 311"/>
                <a:gd name="T6" fmla="*/ 59 w 231"/>
                <a:gd name="T7" fmla="*/ 8 h 311"/>
                <a:gd name="T8" fmla="*/ 54 w 231"/>
                <a:gd name="T9" fmla="*/ 0 h 311"/>
                <a:gd name="T10" fmla="*/ 3 w 231"/>
                <a:gd name="T11" fmla="*/ 14 h 311"/>
                <a:gd name="T12" fmla="*/ 7 w 231"/>
                <a:gd name="T13" fmla="*/ 28 h 311"/>
                <a:gd name="T14" fmla="*/ 12 w 231"/>
                <a:gd name="T15" fmla="*/ 31 h 311"/>
                <a:gd name="T16" fmla="*/ 14 w 231"/>
                <a:gd name="T17" fmla="*/ 39 h 311"/>
                <a:gd name="T18" fmla="*/ 14 w 231"/>
                <a:gd name="T19" fmla="*/ 44 h 311"/>
                <a:gd name="T20" fmla="*/ 17 w 231"/>
                <a:gd name="T21" fmla="*/ 50 h 311"/>
                <a:gd name="T22" fmla="*/ 19 w 231"/>
                <a:gd name="T23" fmla="*/ 54 h 311"/>
                <a:gd name="T24" fmla="*/ 26 w 231"/>
                <a:gd name="T25" fmla="*/ 65 h 311"/>
                <a:gd name="T26" fmla="*/ 29 w 231"/>
                <a:gd name="T27" fmla="*/ 77 h 311"/>
                <a:gd name="T28" fmla="*/ 32 w 231"/>
                <a:gd name="T29" fmla="*/ 93 h 311"/>
                <a:gd name="T30" fmla="*/ 25 w 231"/>
                <a:gd name="T31" fmla="*/ 112 h 311"/>
                <a:gd name="T32" fmla="*/ 16 w 231"/>
                <a:gd name="T33" fmla="*/ 122 h 311"/>
                <a:gd name="T34" fmla="*/ 12 w 231"/>
                <a:gd name="T35" fmla="*/ 130 h 311"/>
                <a:gd name="T36" fmla="*/ 7 w 231"/>
                <a:gd name="T37" fmla="*/ 133 h 311"/>
                <a:gd name="T38" fmla="*/ 3 w 231"/>
                <a:gd name="T39" fmla="*/ 145 h 311"/>
                <a:gd name="T40" fmla="*/ 0 w 231"/>
                <a:gd name="T41" fmla="*/ 153 h 311"/>
                <a:gd name="T42" fmla="*/ 4 w 231"/>
                <a:gd name="T43" fmla="*/ 158 h 311"/>
                <a:gd name="T44" fmla="*/ 9 w 231"/>
                <a:gd name="T45" fmla="*/ 166 h 311"/>
                <a:gd name="T46" fmla="*/ 6 w 231"/>
                <a:gd name="T47" fmla="*/ 167 h 311"/>
                <a:gd name="T48" fmla="*/ 1 w 231"/>
                <a:gd name="T49" fmla="*/ 179 h 311"/>
                <a:gd name="T50" fmla="*/ 3 w 231"/>
                <a:gd name="T51" fmla="*/ 185 h 311"/>
                <a:gd name="T52" fmla="*/ 20 w 231"/>
                <a:gd name="T53" fmla="*/ 198 h 311"/>
                <a:gd name="T54" fmla="*/ 54 w 231"/>
                <a:gd name="T55" fmla="*/ 219 h 311"/>
                <a:gd name="T56" fmla="*/ 106 w 231"/>
                <a:gd name="T57" fmla="*/ 251 h 311"/>
                <a:gd name="T58" fmla="*/ 107 w 231"/>
                <a:gd name="T59" fmla="*/ 268 h 311"/>
                <a:gd name="T60" fmla="*/ 113 w 231"/>
                <a:gd name="T61" fmla="*/ 274 h 311"/>
                <a:gd name="T62" fmla="*/ 118 w 231"/>
                <a:gd name="T63" fmla="*/ 279 h 311"/>
                <a:gd name="T64" fmla="*/ 157 w 231"/>
                <a:gd name="T65" fmla="*/ 307 h 311"/>
                <a:gd name="T66" fmla="*/ 165 w 231"/>
                <a:gd name="T67" fmla="*/ 297 h 311"/>
                <a:gd name="T68" fmla="*/ 171 w 231"/>
                <a:gd name="T69" fmla="*/ 285 h 311"/>
                <a:gd name="T70" fmla="*/ 174 w 231"/>
                <a:gd name="T71" fmla="*/ 274 h 311"/>
                <a:gd name="T72" fmla="*/ 176 w 231"/>
                <a:gd name="T73" fmla="*/ 269 h 311"/>
                <a:gd name="T74" fmla="*/ 182 w 231"/>
                <a:gd name="T75" fmla="*/ 261 h 311"/>
                <a:gd name="T76" fmla="*/ 184 w 231"/>
                <a:gd name="T77" fmla="*/ 251 h 311"/>
                <a:gd name="T78" fmla="*/ 185 w 231"/>
                <a:gd name="T79" fmla="*/ 246 h 311"/>
                <a:gd name="T80" fmla="*/ 195 w 231"/>
                <a:gd name="T81" fmla="*/ 239 h 311"/>
                <a:gd name="T82" fmla="*/ 203 w 231"/>
                <a:gd name="T83" fmla="*/ 230 h 311"/>
                <a:gd name="T84" fmla="*/ 206 w 231"/>
                <a:gd name="T85" fmla="*/ 224 h 311"/>
                <a:gd name="T86" fmla="*/ 207 w 231"/>
                <a:gd name="T87" fmla="*/ 221 h 311"/>
                <a:gd name="T88" fmla="*/ 213 w 231"/>
                <a:gd name="T89" fmla="*/ 219 h 311"/>
                <a:gd name="T90" fmla="*/ 217 w 231"/>
                <a:gd name="T91" fmla="*/ 219 h 311"/>
                <a:gd name="T92" fmla="*/ 220 w 231"/>
                <a:gd name="T93" fmla="*/ 216 h 311"/>
                <a:gd name="T94" fmla="*/ 225 w 231"/>
                <a:gd name="T95" fmla="*/ 207 h 311"/>
                <a:gd name="T96" fmla="*/ 229 w 231"/>
                <a:gd name="T97" fmla="*/ 26 h 311"/>
                <a:gd name="T98" fmla="*/ 16 w 231"/>
                <a:gd name="T99" fmla="*/ 163 h 311"/>
                <a:gd name="T100" fmla="*/ 22 w 231"/>
                <a:gd name="T101" fmla="*/ 160 h 311"/>
                <a:gd name="T102" fmla="*/ 13 w 231"/>
                <a:gd name="T103" fmla="*/ 165 h 311"/>
                <a:gd name="T104" fmla="*/ 12 w 231"/>
                <a:gd name="T105" fmla="*/ 166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1" h="311">
                  <a:moveTo>
                    <a:pt x="231" y="22"/>
                  </a:moveTo>
                  <a:cubicBezTo>
                    <a:pt x="227" y="23"/>
                    <a:pt x="227" y="23"/>
                    <a:pt x="227" y="23"/>
                  </a:cubicBezTo>
                  <a:cubicBezTo>
                    <a:pt x="225" y="23"/>
                    <a:pt x="224" y="23"/>
                    <a:pt x="222" y="23"/>
                  </a:cubicBezTo>
                  <a:cubicBezTo>
                    <a:pt x="220" y="23"/>
                    <a:pt x="218" y="23"/>
                    <a:pt x="216" y="23"/>
                  </a:cubicBezTo>
                  <a:cubicBezTo>
                    <a:pt x="215" y="23"/>
                    <a:pt x="214" y="23"/>
                    <a:pt x="213" y="23"/>
                  </a:cubicBezTo>
                  <a:cubicBezTo>
                    <a:pt x="212" y="23"/>
                    <a:pt x="212" y="23"/>
                    <a:pt x="211" y="23"/>
                  </a:cubicBezTo>
                  <a:cubicBezTo>
                    <a:pt x="199" y="13"/>
                    <a:pt x="199" y="13"/>
                    <a:pt x="199" y="13"/>
                  </a:cubicBezTo>
                  <a:cubicBezTo>
                    <a:pt x="175" y="23"/>
                    <a:pt x="175" y="23"/>
                    <a:pt x="175" y="23"/>
                  </a:cubicBezTo>
                  <a:cubicBezTo>
                    <a:pt x="163" y="41"/>
                    <a:pt x="163" y="41"/>
                    <a:pt x="163" y="41"/>
                  </a:cubicBezTo>
                  <a:cubicBezTo>
                    <a:pt x="123" y="34"/>
                    <a:pt x="123" y="34"/>
                    <a:pt x="123" y="34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6"/>
                    <a:pt x="58" y="5"/>
                    <a:pt x="57" y="4"/>
                  </a:cubicBezTo>
                  <a:cubicBezTo>
                    <a:pt x="56" y="3"/>
                    <a:pt x="55" y="2"/>
                    <a:pt x="55" y="1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4" y="16"/>
                    <a:pt x="4" y="18"/>
                    <a:pt x="4" y="20"/>
                  </a:cubicBezTo>
                  <a:cubicBezTo>
                    <a:pt x="4" y="23"/>
                    <a:pt x="5" y="25"/>
                    <a:pt x="6" y="27"/>
                  </a:cubicBezTo>
                  <a:cubicBezTo>
                    <a:pt x="7" y="27"/>
                    <a:pt x="7" y="28"/>
                    <a:pt x="7" y="28"/>
                  </a:cubicBezTo>
                  <a:cubicBezTo>
                    <a:pt x="8" y="29"/>
                    <a:pt x="8" y="30"/>
                    <a:pt x="9" y="30"/>
                  </a:cubicBezTo>
                  <a:cubicBezTo>
                    <a:pt x="10" y="31"/>
                    <a:pt x="10" y="31"/>
                    <a:pt x="11" y="31"/>
                  </a:cubicBezTo>
                  <a:cubicBezTo>
                    <a:pt x="11" y="31"/>
                    <a:pt x="12" y="31"/>
                    <a:pt x="12" y="31"/>
                  </a:cubicBezTo>
                  <a:cubicBezTo>
                    <a:pt x="14" y="32"/>
                    <a:pt x="16" y="32"/>
                    <a:pt x="15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8"/>
                    <a:pt x="14" y="38"/>
                    <a:pt x="14" y="39"/>
                  </a:cubicBezTo>
                  <a:cubicBezTo>
                    <a:pt x="14" y="40"/>
                    <a:pt x="14" y="40"/>
                    <a:pt x="14" y="41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6"/>
                    <a:pt x="14" y="48"/>
                    <a:pt x="16" y="49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8" y="50"/>
                    <a:pt x="18" y="50"/>
                    <a:pt x="19" y="50"/>
                  </a:cubicBezTo>
                  <a:cubicBezTo>
                    <a:pt x="19" y="51"/>
                    <a:pt x="19" y="52"/>
                    <a:pt x="19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20" y="57"/>
                    <a:pt x="20" y="57"/>
                    <a:pt x="22" y="60"/>
                  </a:cubicBezTo>
                  <a:cubicBezTo>
                    <a:pt x="23" y="61"/>
                    <a:pt x="24" y="63"/>
                    <a:pt x="25" y="64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6"/>
                    <a:pt x="27" y="67"/>
                    <a:pt x="27" y="67"/>
                  </a:cubicBezTo>
                  <a:cubicBezTo>
                    <a:pt x="28" y="68"/>
                    <a:pt x="28" y="68"/>
                    <a:pt x="28" y="69"/>
                  </a:cubicBezTo>
                  <a:cubicBezTo>
                    <a:pt x="30" y="71"/>
                    <a:pt x="29" y="74"/>
                    <a:pt x="29" y="77"/>
                  </a:cubicBezTo>
                  <a:cubicBezTo>
                    <a:pt x="28" y="79"/>
                    <a:pt x="28" y="82"/>
                    <a:pt x="28" y="84"/>
                  </a:cubicBezTo>
                  <a:cubicBezTo>
                    <a:pt x="29" y="86"/>
                    <a:pt x="29" y="87"/>
                    <a:pt x="30" y="89"/>
                  </a:cubicBezTo>
                  <a:cubicBezTo>
                    <a:pt x="31" y="90"/>
                    <a:pt x="31" y="92"/>
                    <a:pt x="32" y="93"/>
                  </a:cubicBezTo>
                  <a:cubicBezTo>
                    <a:pt x="32" y="96"/>
                    <a:pt x="31" y="100"/>
                    <a:pt x="29" y="103"/>
                  </a:cubicBezTo>
                  <a:cubicBezTo>
                    <a:pt x="27" y="106"/>
                    <a:pt x="26" y="108"/>
                    <a:pt x="26" y="110"/>
                  </a:cubicBezTo>
                  <a:cubicBezTo>
                    <a:pt x="26" y="111"/>
                    <a:pt x="26" y="112"/>
                    <a:pt x="25" y="112"/>
                  </a:cubicBezTo>
                  <a:cubicBezTo>
                    <a:pt x="24" y="112"/>
                    <a:pt x="23" y="113"/>
                    <a:pt x="21" y="115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17" y="119"/>
                    <a:pt x="17" y="119"/>
                    <a:pt x="16" y="122"/>
                  </a:cubicBezTo>
                  <a:cubicBezTo>
                    <a:pt x="16" y="124"/>
                    <a:pt x="15" y="125"/>
                    <a:pt x="14" y="125"/>
                  </a:cubicBezTo>
                  <a:cubicBezTo>
                    <a:pt x="13" y="126"/>
                    <a:pt x="13" y="127"/>
                    <a:pt x="12" y="128"/>
                  </a:cubicBezTo>
                  <a:cubicBezTo>
                    <a:pt x="12" y="128"/>
                    <a:pt x="12" y="129"/>
                    <a:pt x="12" y="130"/>
                  </a:cubicBezTo>
                  <a:cubicBezTo>
                    <a:pt x="12" y="131"/>
                    <a:pt x="12" y="131"/>
                    <a:pt x="11" y="132"/>
                  </a:cubicBezTo>
                  <a:cubicBezTo>
                    <a:pt x="11" y="132"/>
                    <a:pt x="10" y="132"/>
                    <a:pt x="9" y="132"/>
                  </a:cubicBezTo>
                  <a:cubicBezTo>
                    <a:pt x="7" y="133"/>
                    <a:pt x="7" y="133"/>
                    <a:pt x="7" y="133"/>
                  </a:cubicBezTo>
                  <a:cubicBezTo>
                    <a:pt x="7" y="135"/>
                    <a:pt x="7" y="135"/>
                    <a:pt x="7" y="135"/>
                  </a:cubicBezTo>
                  <a:cubicBezTo>
                    <a:pt x="7" y="139"/>
                    <a:pt x="6" y="143"/>
                    <a:pt x="4" y="144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3" y="146"/>
                    <a:pt x="3" y="146"/>
                    <a:pt x="3" y="146"/>
                  </a:cubicBezTo>
                  <a:cubicBezTo>
                    <a:pt x="2" y="147"/>
                    <a:pt x="2" y="150"/>
                    <a:pt x="1" y="152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1" y="154"/>
                    <a:pt x="1" y="154"/>
                    <a:pt x="1" y="154"/>
                  </a:cubicBezTo>
                  <a:cubicBezTo>
                    <a:pt x="2" y="155"/>
                    <a:pt x="3" y="156"/>
                    <a:pt x="4" y="157"/>
                  </a:cubicBezTo>
                  <a:cubicBezTo>
                    <a:pt x="4" y="157"/>
                    <a:pt x="4" y="158"/>
                    <a:pt x="4" y="158"/>
                  </a:cubicBezTo>
                  <a:cubicBezTo>
                    <a:pt x="5" y="159"/>
                    <a:pt x="6" y="160"/>
                    <a:pt x="7" y="161"/>
                  </a:cubicBezTo>
                  <a:cubicBezTo>
                    <a:pt x="7" y="163"/>
                    <a:pt x="8" y="164"/>
                    <a:pt x="9" y="166"/>
                  </a:cubicBezTo>
                  <a:cubicBezTo>
                    <a:pt x="9" y="166"/>
                    <a:pt x="9" y="166"/>
                    <a:pt x="9" y="166"/>
                  </a:cubicBezTo>
                  <a:cubicBezTo>
                    <a:pt x="9" y="166"/>
                    <a:pt x="8" y="166"/>
                    <a:pt x="8" y="166"/>
                  </a:cubicBezTo>
                  <a:cubicBezTo>
                    <a:pt x="7" y="166"/>
                    <a:pt x="7" y="166"/>
                    <a:pt x="7" y="166"/>
                  </a:cubicBezTo>
                  <a:cubicBezTo>
                    <a:pt x="6" y="167"/>
                    <a:pt x="6" y="167"/>
                    <a:pt x="6" y="167"/>
                  </a:cubicBezTo>
                  <a:cubicBezTo>
                    <a:pt x="6" y="168"/>
                    <a:pt x="5" y="169"/>
                    <a:pt x="4" y="170"/>
                  </a:cubicBezTo>
                  <a:cubicBezTo>
                    <a:pt x="3" y="172"/>
                    <a:pt x="1" y="174"/>
                    <a:pt x="1" y="178"/>
                  </a:cubicBezTo>
                  <a:cubicBezTo>
                    <a:pt x="1" y="179"/>
                    <a:pt x="1" y="179"/>
                    <a:pt x="1" y="179"/>
                  </a:cubicBezTo>
                  <a:cubicBezTo>
                    <a:pt x="3" y="180"/>
                    <a:pt x="3" y="180"/>
                    <a:pt x="3" y="180"/>
                  </a:cubicBezTo>
                  <a:cubicBezTo>
                    <a:pt x="3" y="180"/>
                    <a:pt x="4" y="180"/>
                    <a:pt x="4" y="181"/>
                  </a:cubicBezTo>
                  <a:cubicBezTo>
                    <a:pt x="4" y="182"/>
                    <a:pt x="4" y="183"/>
                    <a:pt x="3" y="185"/>
                  </a:cubicBezTo>
                  <a:cubicBezTo>
                    <a:pt x="1" y="186"/>
                    <a:pt x="1" y="186"/>
                    <a:pt x="1" y="186"/>
                  </a:cubicBezTo>
                  <a:cubicBezTo>
                    <a:pt x="3" y="188"/>
                    <a:pt x="3" y="188"/>
                    <a:pt x="3" y="188"/>
                  </a:cubicBezTo>
                  <a:cubicBezTo>
                    <a:pt x="9" y="191"/>
                    <a:pt x="15" y="195"/>
                    <a:pt x="20" y="198"/>
                  </a:cubicBezTo>
                  <a:cubicBezTo>
                    <a:pt x="25" y="201"/>
                    <a:pt x="30" y="204"/>
                    <a:pt x="34" y="207"/>
                  </a:cubicBezTo>
                  <a:cubicBezTo>
                    <a:pt x="40" y="210"/>
                    <a:pt x="46" y="214"/>
                    <a:pt x="52" y="218"/>
                  </a:cubicBezTo>
                  <a:cubicBezTo>
                    <a:pt x="54" y="219"/>
                    <a:pt x="54" y="219"/>
                    <a:pt x="54" y="219"/>
                  </a:cubicBezTo>
                  <a:cubicBezTo>
                    <a:pt x="66" y="226"/>
                    <a:pt x="79" y="234"/>
                    <a:pt x="92" y="242"/>
                  </a:cubicBezTo>
                  <a:cubicBezTo>
                    <a:pt x="94" y="243"/>
                    <a:pt x="95" y="244"/>
                    <a:pt x="97" y="245"/>
                  </a:cubicBezTo>
                  <a:cubicBezTo>
                    <a:pt x="100" y="247"/>
                    <a:pt x="104" y="248"/>
                    <a:pt x="106" y="251"/>
                  </a:cubicBezTo>
                  <a:cubicBezTo>
                    <a:pt x="108" y="254"/>
                    <a:pt x="109" y="257"/>
                    <a:pt x="109" y="260"/>
                  </a:cubicBezTo>
                  <a:cubicBezTo>
                    <a:pt x="109" y="261"/>
                    <a:pt x="109" y="262"/>
                    <a:pt x="108" y="264"/>
                  </a:cubicBezTo>
                  <a:cubicBezTo>
                    <a:pt x="107" y="266"/>
                    <a:pt x="107" y="267"/>
                    <a:pt x="107" y="268"/>
                  </a:cubicBezTo>
                  <a:cubicBezTo>
                    <a:pt x="108" y="270"/>
                    <a:pt x="109" y="270"/>
                    <a:pt x="110" y="271"/>
                  </a:cubicBezTo>
                  <a:cubicBezTo>
                    <a:pt x="112" y="271"/>
                    <a:pt x="112" y="271"/>
                    <a:pt x="113" y="272"/>
                  </a:cubicBezTo>
                  <a:cubicBezTo>
                    <a:pt x="113" y="273"/>
                    <a:pt x="113" y="274"/>
                    <a:pt x="113" y="274"/>
                  </a:cubicBezTo>
                  <a:cubicBezTo>
                    <a:pt x="113" y="275"/>
                    <a:pt x="113" y="276"/>
                    <a:pt x="114" y="277"/>
                  </a:cubicBezTo>
                  <a:cubicBezTo>
                    <a:pt x="115" y="278"/>
                    <a:pt x="116" y="278"/>
                    <a:pt x="117" y="279"/>
                  </a:cubicBezTo>
                  <a:cubicBezTo>
                    <a:pt x="118" y="279"/>
                    <a:pt x="118" y="279"/>
                    <a:pt x="118" y="279"/>
                  </a:cubicBezTo>
                  <a:cubicBezTo>
                    <a:pt x="156" y="311"/>
                    <a:pt x="156" y="311"/>
                    <a:pt x="156" y="311"/>
                  </a:cubicBezTo>
                  <a:cubicBezTo>
                    <a:pt x="156" y="308"/>
                    <a:pt x="156" y="308"/>
                    <a:pt x="156" y="308"/>
                  </a:cubicBezTo>
                  <a:cubicBezTo>
                    <a:pt x="156" y="307"/>
                    <a:pt x="157" y="307"/>
                    <a:pt x="157" y="307"/>
                  </a:cubicBezTo>
                  <a:cubicBezTo>
                    <a:pt x="157" y="307"/>
                    <a:pt x="157" y="307"/>
                    <a:pt x="158" y="306"/>
                  </a:cubicBezTo>
                  <a:cubicBezTo>
                    <a:pt x="158" y="306"/>
                    <a:pt x="159" y="306"/>
                    <a:pt x="160" y="306"/>
                  </a:cubicBezTo>
                  <a:cubicBezTo>
                    <a:pt x="163" y="303"/>
                    <a:pt x="164" y="300"/>
                    <a:pt x="165" y="297"/>
                  </a:cubicBezTo>
                  <a:cubicBezTo>
                    <a:pt x="166" y="295"/>
                    <a:pt x="166" y="294"/>
                    <a:pt x="167" y="293"/>
                  </a:cubicBezTo>
                  <a:cubicBezTo>
                    <a:pt x="168" y="292"/>
                    <a:pt x="169" y="291"/>
                    <a:pt x="170" y="290"/>
                  </a:cubicBezTo>
                  <a:cubicBezTo>
                    <a:pt x="170" y="288"/>
                    <a:pt x="171" y="287"/>
                    <a:pt x="171" y="285"/>
                  </a:cubicBezTo>
                  <a:cubicBezTo>
                    <a:pt x="171" y="284"/>
                    <a:pt x="172" y="283"/>
                    <a:pt x="172" y="282"/>
                  </a:cubicBezTo>
                  <a:cubicBezTo>
                    <a:pt x="173" y="280"/>
                    <a:pt x="173" y="279"/>
                    <a:pt x="174" y="277"/>
                  </a:cubicBezTo>
                  <a:cubicBezTo>
                    <a:pt x="174" y="276"/>
                    <a:pt x="174" y="275"/>
                    <a:pt x="174" y="274"/>
                  </a:cubicBezTo>
                  <a:cubicBezTo>
                    <a:pt x="174" y="274"/>
                    <a:pt x="174" y="274"/>
                    <a:pt x="174" y="274"/>
                  </a:cubicBezTo>
                  <a:cubicBezTo>
                    <a:pt x="175" y="273"/>
                    <a:pt x="175" y="272"/>
                    <a:pt x="175" y="271"/>
                  </a:cubicBezTo>
                  <a:cubicBezTo>
                    <a:pt x="176" y="271"/>
                    <a:pt x="176" y="270"/>
                    <a:pt x="176" y="269"/>
                  </a:cubicBezTo>
                  <a:cubicBezTo>
                    <a:pt x="176" y="269"/>
                    <a:pt x="176" y="268"/>
                    <a:pt x="177" y="268"/>
                  </a:cubicBezTo>
                  <a:cubicBezTo>
                    <a:pt x="177" y="267"/>
                    <a:pt x="178" y="267"/>
                    <a:pt x="179" y="266"/>
                  </a:cubicBezTo>
                  <a:cubicBezTo>
                    <a:pt x="180" y="265"/>
                    <a:pt x="181" y="264"/>
                    <a:pt x="182" y="261"/>
                  </a:cubicBezTo>
                  <a:cubicBezTo>
                    <a:pt x="182" y="260"/>
                    <a:pt x="182" y="259"/>
                    <a:pt x="183" y="257"/>
                  </a:cubicBezTo>
                  <a:cubicBezTo>
                    <a:pt x="183" y="256"/>
                    <a:pt x="183" y="255"/>
                    <a:pt x="183" y="253"/>
                  </a:cubicBezTo>
                  <a:cubicBezTo>
                    <a:pt x="184" y="252"/>
                    <a:pt x="184" y="251"/>
                    <a:pt x="184" y="251"/>
                  </a:cubicBezTo>
                  <a:cubicBezTo>
                    <a:pt x="184" y="250"/>
                    <a:pt x="184" y="250"/>
                    <a:pt x="184" y="249"/>
                  </a:cubicBezTo>
                  <a:cubicBezTo>
                    <a:pt x="184" y="249"/>
                    <a:pt x="184" y="248"/>
                    <a:pt x="184" y="248"/>
                  </a:cubicBezTo>
                  <a:cubicBezTo>
                    <a:pt x="185" y="247"/>
                    <a:pt x="185" y="247"/>
                    <a:pt x="185" y="246"/>
                  </a:cubicBezTo>
                  <a:cubicBezTo>
                    <a:pt x="187" y="239"/>
                    <a:pt x="190" y="239"/>
                    <a:pt x="192" y="239"/>
                  </a:cubicBezTo>
                  <a:cubicBezTo>
                    <a:pt x="192" y="239"/>
                    <a:pt x="192" y="239"/>
                    <a:pt x="193" y="239"/>
                  </a:cubicBezTo>
                  <a:cubicBezTo>
                    <a:pt x="194" y="239"/>
                    <a:pt x="194" y="239"/>
                    <a:pt x="195" y="239"/>
                  </a:cubicBezTo>
                  <a:cubicBezTo>
                    <a:pt x="196" y="239"/>
                    <a:pt x="196" y="239"/>
                    <a:pt x="197" y="239"/>
                  </a:cubicBezTo>
                  <a:cubicBezTo>
                    <a:pt x="200" y="238"/>
                    <a:pt x="202" y="235"/>
                    <a:pt x="203" y="231"/>
                  </a:cubicBezTo>
                  <a:cubicBezTo>
                    <a:pt x="203" y="231"/>
                    <a:pt x="203" y="230"/>
                    <a:pt x="203" y="230"/>
                  </a:cubicBezTo>
                  <a:cubicBezTo>
                    <a:pt x="203" y="230"/>
                    <a:pt x="203" y="229"/>
                    <a:pt x="203" y="229"/>
                  </a:cubicBezTo>
                  <a:cubicBezTo>
                    <a:pt x="203" y="229"/>
                    <a:pt x="204" y="229"/>
                    <a:pt x="204" y="228"/>
                  </a:cubicBezTo>
                  <a:cubicBezTo>
                    <a:pt x="205" y="227"/>
                    <a:pt x="205" y="225"/>
                    <a:pt x="206" y="224"/>
                  </a:cubicBezTo>
                  <a:cubicBezTo>
                    <a:pt x="206" y="223"/>
                    <a:pt x="206" y="223"/>
                    <a:pt x="206" y="223"/>
                  </a:cubicBezTo>
                  <a:cubicBezTo>
                    <a:pt x="206" y="222"/>
                    <a:pt x="206" y="222"/>
                    <a:pt x="206" y="221"/>
                  </a:cubicBezTo>
                  <a:cubicBezTo>
                    <a:pt x="206" y="221"/>
                    <a:pt x="207" y="221"/>
                    <a:pt x="207" y="221"/>
                  </a:cubicBezTo>
                  <a:cubicBezTo>
                    <a:pt x="208" y="221"/>
                    <a:pt x="208" y="221"/>
                    <a:pt x="209" y="221"/>
                  </a:cubicBezTo>
                  <a:cubicBezTo>
                    <a:pt x="210" y="220"/>
                    <a:pt x="211" y="220"/>
                    <a:pt x="212" y="219"/>
                  </a:cubicBezTo>
                  <a:cubicBezTo>
                    <a:pt x="212" y="219"/>
                    <a:pt x="213" y="219"/>
                    <a:pt x="213" y="219"/>
                  </a:cubicBezTo>
                  <a:cubicBezTo>
                    <a:pt x="213" y="219"/>
                    <a:pt x="214" y="219"/>
                    <a:pt x="214" y="219"/>
                  </a:cubicBezTo>
                  <a:cubicBezTo>
                    <a:pt x="215" y="219"/>
                    <a:pt x="215" y="219"/>
                    <a:pt x="216" y="219"/>
                  </a:cubicBezTo>
                  <a:cubicBezTo>
                    <a:pt x="217" y="219"/>
                    <a:pt x="217" y="219"/>
                    <a:pt x="217" y="219"/>
                  </a:cubicBezTo>
                  <a:cubicBezTo>
                    <a:pt x="217" y="219"/>
                    <a:pt x="217" y="219"/>
                    <a:pt x="217" y="219"/>
                  </a:cubicBezTo>
                  <a:cubicBezTo>
                    <a:pt x="218" y="219"/>
                    <a:pt x="219" y="218"/>
                    <a:pt x="220" y="216"/>
                  </a:cubicBezTo>
                  <a:cubicBezTo>
                    <a:pt x="220" y="216"/>
                    <a:pt x="220" y="216"/>
                    <a:pt x="220" y="216"/>
                  </a:cubicBezTo>
                  <a:cubicBezTo>
                    <a:pt x="220" y="215"/>
                    <a:pt x="221" y="214"/>
                    <a:pt x="221" y="214"/>
                  </a:cubicBezTo>
                  <a:cubicBezTo>
                    <a:pt x="222" y="213"/>
                    <a:pt x="224" y="211"/>
                    <a:pt x="224" y="209"/>
                  </a:cubicBezTo>
                  <a:cubicBezTo>
                    <a:pt x="225" y="207"/>
                    <a:pt x="225" y="207"/>
                    <a:pt x="225" y="207"/>
                  </a:cubicBezTo>
                  <a:cubicBezTo>
                    <a:pt x="207" y="181"/>
                    <a:pt x="207" y="181"/>
                    <a:pt x="207" y="181"/>
                  </a:cubicBezTo>
                  <a:cubicBezTo>
                    <a:pt x="207" y="62"/>
                    <a:pt x="207" y="62"/>
                    <a:pt x="207" y="62"/>
                  </a:cubicBezTo>
                  <a:cubicBezTo>
                    <a:pt x="229" y="26"/>
                    <a:pt x="229" y="26"/>
                    <a:pt x="229" y="26"/>
                  </a:cubicBezTo>
                  <a:lnTo>
                    <a:pt x="231" y="22"/>
                  </a:lnTo>
                  <a:close/>
                  <a:moveTo>
                    <a:pt x="23" y="160"/>
                  </a:moveTo>
                  <a:cubicBezTo>
                    <a:pt x="22" y="161"/>
                    <a:pt x="20" y="161"/>
                    <a:pt x="16" y="163"/>
                  </a:cubicBezTo>
                  <a:cubicBezTo>
                    <a:pt x="16" y="163"/>
                    <a:pt x="16" y="163"/>
                    <a:pt x="15" y="163"/>
                  </a:cubicBezTo>
                  <a:cubicBezTo>
                    <a:pt x="17" y="161"/>
                    <a:pt x="19" y="159"/>
                    <a:pt x="21" y="159"/>
                  </a:cubicBezTo>
                  <a:cubicBezTo>
                    <a:pt x="21" y="159"/>
                    <a:pt x="21" y="159"/>
                    <a:pt x="22" y="160"/>
                  </a:cubicBezTo>
                  <a:cubicBezTo>
                    <a:pt x="22" y="160"/>
                    <a:pt x="22" y="160"/>
                    <a:pt x="23" y="160"/>
                  </a:cubicBezTo>
                  <a:close/>
                  <a:moveTo>
                    <a:pt x="12" y="166"/>
                  </a:moveTo>
                  <a:cubicBezTo>
                    <a:pt x="12" y="166"/>
                    <a:pt x="13" y="166"/>
                    <a:pt x="13" y="165"/>
                  </a:cubicBezTo>
                  <a:cubicBezTo>
                    <a:pt x="13" y="165"/>
                    <a:pt x="13" y="165"/>
                    <a:pt x="13" y="165"/>
                  </a:cubicBezTo>
                  <a:cubicBezTo>
                    <a:pt x="13" y="166"/>
                    <a:pt x="13" y="166"/>
                    <a:pt x="13" y="167"/>
                  </a:cubicBezTo>
                  <a:cubicBezTo>
                    <a:pt x="13" y="166"/>
                    <a:pt x="12" y="166"/>
                    <a:pt x="12" y="166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7" name="Freeform 67"/>
            <p:cNvSpPr>
              <a:spLocks/>
            </p:cNvSpPr>
            <p:nvPr/>
          </p:nvSpPr>
          <p:spPr bwMode="auto">
            <a:xfrm>
              <a:off x="4382721" y="1786104"/>
              <a:ext cx="606000" cy="840372"/>
            </a:xfrm>
            <a:custGeom>
              <a:avLst/>
              <a:gdLst>
                <a:gd name="T0" fmla="*/ 290 w 299"/>
                <a:gd name="T1" fmla="*/ 46 h 451"/>
                <a:gd name="T2" fmla="*/ 290 w 299"/>
                <a:gd name="T3" fmla="*/ 32 h 451"/>
                <a:gd name="T4" fmla="*/ 289 w 299"/>
                <a:gd name="T5" fmla="*/ 20 h 451"/>
                <a:gd name="T6" fmla="*/ 284 w 299"/>
                <a:gd name="T7" fmla="*/ 3 h 451"/>
                <a:gd name="T8" fmla="*/ 268 w 299"/>
                <a:gd name="T9" fmla="*/ 7 h 451"/>
                <a:gd name="T10" fmla="*/ 236 w 299"/>
                <a:gd name="T11" fmla="*/ 21 h 451"/>
                <a:gd name="T12" fmla="*/ 217 w 299"/>
                <a:gd name="T13" fmla="*/ 22 h 451"/>
                <a:gd name="T14" fmla="*/ 191 w 299"/>
                <a:gd name="T15" fmla="*/ 28 h 451"/>
                <a:gd name="T16" fmla="*/ 181 w 299"/>
                <a:gd name="T17" fmla="*/ 27 h 451"/>
                <a:gd name="T18" fmla="*/ 159 w 299"/>
                <a:gd name="T19" fmla="*/ 39 h 451"/>
                <a:gd name="T20" fmla="*/ 144 w 299"/>
                <a:gd name="T21" fmla="*/ 39 h 451"/>
                <a:gd name="T22" fmla="*/ 125 w 299"/>
                <a:gd name="T23" fmla="*/ 42 h 451"/>
                <a:gd name="T24" fmla="*/ 107 w 299"/>
                <a:gd name="T25" fmla="*/ 51 h 451"/>
                <a:gd name="T26" fmla="*/ 93 w 299"/>
                <a:gd name="T27" fmla="*/ 51 h 451"/>
                <a:gd name="T28" fmla="*/ 83 w 299"/>
                <a:gd name="T29" fmla="*/ 43 h 451"/>
                <a:gd name="T30" fmla="*/ 70 w 299"/>
                <a:gd name="T31" fmla="*/ 29 h 451"/>
                <a:gd name="T32" fmla="*/ 54 w 299"/>
                <a:gd name="T33" fmla="*/ 29 h 451"/>
                <a:gd name="T34" fmla="*/ 48 w 299"/>
                <a:gd name="T35" fmla="*/ 57 h 451"/>
                <a:gd name="T36" fmla="*/ 55 w 299"/>
                <a:gd name="T37" fmla="*/ 67 h 451"/>
                <a:gd name="T38" fmla="*/ 65 w 299"/>
                <a:gd name="T39" fmla="*/ 81 h 451"/>
                <a:gd name="T40" fmla="*/ 83 w 299"/>
                <a:gd name="T41" fmla="*/ 99 h 451"/>
                <a:gd name="T42" fmla="*/ 84 w 299"/>
                <a:gd name="T43" fmla="*/ 235 h 451"/>
                <a:gd name="T44" fmla="*/ 58 w 299"/>
                <a:gd name="T45" fmla="*/ 246 h 451"/>
                <a:gd name="T46" fmla="*/ 34 w 299"/>
                <a:gd name="T47" fmla="*/ 259 h 451"/>
                <a:gd name="T48" fmla="*/ 0 w 299"/>
                <a:gd name="T49" fmla="*/ 305 h 451"/>
                <a:gd name="T50" fmla="*/ 23 w 299"/>
                <a:gd name="T51" fmla="*/ 444 h 451"/>
                <a:gd name="T52" fmla="*/ 31 w 299"/>
                <a:gd name="T53" fmla="*/ 430 h 451"/>
                <a:gd name="T54" fmla="*/ 58 w 299"/>
                <a:gd name="T55" fmla="*/ 395 h 451"/>
                <a:gd name="T56" fmla="*/ 88 w 299"/>
                <a:gd name="T57" fmla="*/ 363 h 451"/>
                <a:gd name="T58" fmla="*/ 103 w 299"/>
                <a:gd name="T59" fmla="*/ 349 h 451"/>
                <a:gd name="T60" fmla="*/ 132 w 299"/>
                <a:gd name="T61" fmla="*/ 327 h 451"/>
                <a:gd name="T62" fmla="*/ 155 w 299"/>
                <a:gd name="T63" fmla="*/ 309 h 451"/>
                <a:gd name="T64" fmla="*/ 171 w 299"/>
                <a:gd name="T65" fmla="*/ 290 h 451"/>
                <a:gd name="T66" fmla="*/ 183 w 299"/>
                <a:gd name="T67" fmla="*/ 277 h 451"/>
                <a:gd name="T68" fmla="*/ 193 w 299"/>
                <a:gd name="T69" fmla="*/ 266 h 451"/>
                <a:gd name="T70" fmla="*/ 214 w 299"/>
                <a:gd name="T71" fmla="*/ 231 h 451"/>
                <a:gd name="T72" fmla="*/ 221 w 299"/>
                <a:gd name="T73" fmla="*/ 217 h 451"/>
                <a:gd name="T74" fmla="*/ 229 w 299"/>
                <a:gd name="T75" fmla="*/ 203 h 451"/>
                <a:gd name="T76" fmla="*/ 241 w 299"/>
                <a:gd name="T77" fmla="*/ 171 h 451"/>
                <a:gd name="T78" fmla="*/ 251 w 299"/>
                <a:gd name="T79" fmla="*/ 153 h 451"/>
                <a:gd name="T80" fmla="*/ 255 w 299"/>
                <a:gd name="T81" fmla="*/ 137 h 451"/>
                <a:gd name="T82" fmla="*/ 264 w 299"/>
                <a:gd name="T83" fmla="*/ 124 h 451"/>
                <a:gd name="T84" fmla="*/ 274 w 299"/>
                <a:gd name="T85" fmla="*/ 102 h 451"/>
                <a:gd name="T86" fmla="*/ 277 w 299"/>
                <a:gd name="T87" fmla="*/ 95 h 451"/>
                <a:gd name="T88" fmla="*/ 282 w 299"/>
                <a:gd name="T89" fmla="*/ 82 h 451"/>
                <a:gd name="T90" fmla="*/ 284 w 299"/>
                <a:gd name="T91" fmla="*/ 58 h 451"/>
                <a:gd name="T92" fmla="*/ 290 w 299"/>
                <a:gd name="T93" fmla="*/ 54 h 451"/>
                <a:gd name="T94" fmla="*/ 297 w 299"/>
                <a:gd name="T95" fmla="*/ 57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9" h="451">
                  <a:moveTo>
                    <a:pt x="294" y="49"/>
                  </a:moveTo>
                  <a:cubicBezTo>
                    <a:pt x="293" y="49"/>
                    <a:pt x="292" y="49"/>
                    <a:pt x="291" y="49"/>
                  </a:cubicBezTo>
                  <a:cubicBezTo>
                    <a:pt x="291" y="49"/>
                    <a:pt x="291" y="49"/>
                    <a:pt x="290" y="49"/>
                  </a:cubicBezTo>
                  <a:cubicBezTo>
                    <a:pt x="290" y="48"/>
                    <a:pt x="290" y="47"/>
                    <a:pt x="290" y="46"/>
                  </a:cubicBezTo>
                  <a:cubicBezTo>
                    <a:pt x="290" y="46"/>
                    <a:pt x="290" y="45"/>
                    <a:pt x="290" y="45"/>
                  </a:cubicBezTo>
                  <a:cubicBezTo>
                    <a:pt x="290" y="43"/>
                    <a:pt x="290" y="41"/>
                    <a:pt x="290" y="39"/>
                  </a:cubicBezTo>
                  <a:cubicBezTo>
                    <a:pt x="290" y="38"/>
                    <a:pt x="290" y="38"/>
                    <a:pt x="290" y="37"/>
                  </a:cubicBezTo>
                  <a:cubicBezTo>
                    <a:pt x="290" y="35"/>
                    <a:pt x="291" y="34"/>
                    <a:pt x="290" y="32"/>
                  </a:cubicBezTo>
                  <a:cubicBezTo>
                    <a:pt x="290" y="30"/>
                    <a:pt x="290" y="29"/>
                    <a:pt x="289" y="29"/>
                  </a:cubicBezTo>
                  <a:cubicBezTo>
                    <a:pt x="289" y="28"/>
                    <a:pt x="288" y="27"/>
                    <a:pt x="288" y="26"/>
                  </a:cubicBezTo>
                  <a:cubicBezTo>
                    <a:pt x="288" y="25"/>
                    <a:pt x="288" y="23"/>
                    <a:pt x="288" y="21"/>
                  </a:cubicBezTo>
                  <a:cubicBezTo>
                    <a:pt x="288" y="20"/>
                    <a:pt x="288" y="20"/>
                    <a:pt x="289" y="20"/>
                  </a:cubicBezTo>
                  <a:cubicBezTo>
                    <a:pt x="289" y="19"/>
                    <a:pt x="289" y="18"/>
                    <a:pt x="290" y="17"/>
                  </a:cubicBezTo>
                  <a:cubicBezTo>
                    <a:pt x="291" y="15"/>
                    <a:pt x="293" y="12"/>
                    <a:pt x="293" y="9"/>
                  </a:cubicBezTo>
                  <a:cubicBezTo>
                    <a:pt x="292" y="6"/>
                    <a:pt x="288" y="5"/>
                    <a:pt x="285" y="4"/>
                  </a:cubicBezTo>
                  <a:cubicBezTo>
                    <a:pt x="285" y="3"/>
                    <a:pt x="284" y="3"/>
                    <a:pt x="284" y="3"/>
                  </a:cubicBezTo>
                  <a:cubicBezTo>
                    <a:pt x="283" y="3"/>
                    <a:pt x="283" y="3"/>
                    <a:pt x="283" y="3"/>
                  </a:cubicBezTo>
                  <a:cubicBezTo>
                    <a:pt x="281" y="2"/>
                    <a:pt x="279" y="0"/>
                    <a:pt x="276" y="0"/>
                  </a:cubicBezTo>
                  <a:cubicBezTo>
                    <a:pt x="275" y="0"/>
                    <a:pt x="274" y="1"/>
                    <a:pt x="273" y="1"/>
                  </a:cubicBezTo>
                  <a:cubicBezTo>
                    <a:pt x="270" y="2"/>
                    <a:pt x="269" y="5"/>
                    <a:pt x="268" y="7"/>
                  </a:cubicBezTo>
                  <a:cubicBezTo>
                    <a:pt x="267" y="8"/>
                    <a:pt x="267" y="9"/>
                    <a:pt x="266" y="10"/>
                  </a:cubicBezTo>
                  <a:cubicBezTo>
                    <a:pt x="263" y="15"/>
                    <a:pt x="255" y="16"/>
                    <a:pt x="249" y="17"/>
                  </a:cubicBezTo>
                  <a:cubicBezTo>
                    <a:pt x="249" y="17"/>
                    <a:pt x="249" y="17"/>
                    <a:pt x="249" y="17"/>
                  </a:cubicBezTo>
                  <a:cubicBezTo>
                    <a:pt x="244" y="18"/>
                    <a:pt x="240" y="20"/>
                    <a:pt x="236" y="21"/>
                  </a:cubicBezTo>
                  <a:cubicBezTo>
                    <a:pt x="233" y="22"/>
                    <a:pt x="229" y="24"/>
                    <a:pt x="226" y="25"/>
                  </a:cubicBezTo>
                  <a:cubicBezTo>
                    <a:pt x="226" y="25"/>
                    <a:pt x="225" y="25"/>
                    <a:pt x="225" y="25"/>
                  </a:cubicBezTo>
                  <a:cubicBezTo>
                    <a:pt x="223" y="25"/>
                    <a:pt x="222" y="24"/>
                    <a:pt x="221" y="23"/>
                  </a:cubicBezTo>
                  <a:cubicBezTo>
                    <a:pt x="220" y="23"/>
                    <a:pt x="218" y="22"/>
                    <a:pt x="217" y="22"/>
                  </a:cubicBezTo>
                  <a:cubicBezTo>
                    <a:pt x="216" y="21"/>
                    <a:pt x="215" y="21"/>
                    <a:pt x="214" y="21"/>
                  </a:cubicBezTo>
                  <a:cubicBezTo>
                    <a:pt x="209" y="21"/>
                    <a:pt x="204" y="25"/>
                    <a:pt x="203" y="26"/>
                  </a:cubicBezTo>
                  <a:cubicBezTo>
                    <a:pt x="200" y="28"/>
                    <a:pt x="196" y="28"/>
                    <a:pt x="192" y="28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190" y="28"/>
                    <a:pt x="189" y="28"/>
                    <a:pt x="189" y="28"/>
                  </a:cubicBezTo>
                  <a:cubicBezTo>
                    <a:pt x="188" y="29"/>
                    <a:pt x="188" y="29"/>
                    <a:pt x="187" y="29"/>
                  </a:cubicBezTo>
                  <a:cubicBezTo>
                    <a:pt x="186" y="29"/>
                    <a:pt x="186" y="28"/>
                    <a:pt x="185" y="28"/>
                  </a:cubicBezTo>
                  <a:cubicBezTo>
                    <a:pt x="183" y="27"/>
                    <a:pt x="182" y="27"/>
                    <a:pt x="181" y="27"/>
                  </a:cubicBezTo>
                  <a:cubicBezTo>
                    <a:pt x="180" y="27"/>
                    <a:pt x="179" y="27"/>
                    <a:pt x="177" y="28"/>
                  </a:cubicBezTo>
                  <a:cubicBezTo>
                    <a:pt x="173" y="29"/>
                    <a:pt x="170" y="32"/>
                    <a:pt x="167" y="34"/>
                  </a:cubicBezTo>
                  <a:cubicBezTo>
                    <a:pt x="165" y="35"/>
                    <a:pt x="163" y="37"/>
                    <a:pt x="161" y="38"/>
                  </a:cubicBezTo>
                  <a:cubicBezTo>
                    <a:pt x="160" y="38"/>
                    <a:pt x="159" y="39"/>
                    <a:pt x="159" y="39"/>
                  </a:cubicBezTo>
                  <a:cubicBezTo>
                    <a:pt x="156" y="40"/>
                    <a:pt x="154" y="42"/>
                    <a:pt x="152" y="42"/>
                  </a:cubicBezTo>
                  <a:cubicBezTo>
                    <a:pt x="151" y="42"/>
                    <a:pt x="151" y="42"/>
                    <a:pt x="150" y="41"/>
                  </a:cubicBezTo>
                  <a:cubicBezTo>
                    <a:pt x="149" y="41"/>
                    <a:pt x="149" y="41"/>
                    <a:pt x="149" y="41"/>
                  </a:cubicBezTo>
                  <a:cubicBezTo>
                    <a:pt x="148" y="40"/>
                    <a:pt x="146" y="39"/>
                    <a:pt x="144" y="39"/>
                  </a:cubicBezTo>
                  <a:cubicBezTo>
                    <a:pt x="142" y="39"/>
                    <a:pt x="140" y="39"/>
                    <a:pt x="138" y="38"/>
                  </a:cubicBezTo>
                  <a:cubicBezTo>
                    <a:pt x="137" y="37"/>
                    <a:pt x="136" y="37"/>
                    <a:pt x="135" y="37"/>
                  </a:cubicBezTo>
                  <a:cubicBezTo>
                    <a:pt x="132" y="37"/>
                    <a:pt x="129" y="38"/>
                    <a:pt x="127" y="40"/>
                  </a:cubicBezTo>
                  <a:cubicBezTo>
                    <a:pt x="126" y="41"/>
                    <a:pt x="125" y="41"/>
                    <a:pt x="125" y="42"/>
                  </a:cubicBezTo>
                  <a:cubicBezTo>
                    <a:pt x="123" y="43"/>
                    <a:pt x="122" y="43"/>
                    <a:pt x="120" y="44"/>
                  </a:cubicBezTo>
                  <a:cubicBezTo>
                    <a:pt x="118" y="46"/>
                    <a:pt x="114" y="47"/>
                    <a:pt x="112" y="50"/>
                  </a:cubicBezTo>
                  <a:cubicBezTo>
                    <a:pt x="111" y="51"/>
                    <a:pt x="110" y="51"/>
                    <a:pt x="109" y="51"/>
                  </a:cubicBezTo>
                  <a:cubicBezTo>
                    <a:pt x="108" y="51"/>
                    <a:pt x="108" y="51"/>
                    <a:pt x="107" y="51"/>
                  </a:cubicBezTo>
                  <a:cubicBezTo>
                    <a:pt x="106" y="50"/>
                    <a:pt x="105" y="50"/>
                    <a:pt x="103" y="50"/>
                  </a:cubicBezTo>
                  <a:cubicBezTo>
                    <a:pt x="103" y="50"/>
                    <a:pt x="100" y="50"/>
                    <a:pt x="100" y="50"/>
                  </a:cubicBezTo>
                  <a:cubicBezTo>
                    <a:pt x="100" y="50"/>
                    <a:pt x="96" y="50"/>
                    <a:pt x="96" y="50"/>
                  </a:cubicBezTo>
                  <a:cubicBezTo>
                    <a:pt x="95" y="50"/>
                    <a:pt x="94" y="50"/>
                    <a:pt x="93" y="51"/>
                  </a:cubicBezTo>
                  <a:cubicBezTo>
                    <a:pt x="92" y="51"/>
                    <a:pt x="92" y="51"/>
                    <a:pt x="91" y="51"/>
                  </a:cubicBezTo>
                  <a:cubicBezTo>
                    <a:pt x="90" y="51"/>
                    <a:pt x="89" y="50"/>
                    <a:pt x="88" y="50"/>
                  </a:cubicBezTo>
                  <a:cubicBezTo>
                    <a:pt x="87" y="49"/>
                    <a:pt x="86" y="48"/>
                    <a:pt x="85" y="46"/>
                  </a:cubicBezTo>
                  <a:cubicBezTo>
                    <a:pt x="85" y="45"/>
                    <a:pt x="84" y="44"/>
                    <a:pt x="83" y="43"/>
                  </a:cubicBezTo>
                  <a:cubicBezTo>
                    <a:pt x="82" y="42"/>
                    <a:pt x="80" y="41"/>
                    <a:pt x="79" y="40"/>
                  </a:cubicBezTo>
                  <a:cubicBezTo>
                    <a:pt x="77" y="39"/>
                    <a:pt x="76" y="38"/>
                    <a:pt x="75" y="37"/>
                  </a:cubicBezTo>
                  <a:cubicBezTo>
                    <a:pt x="74" y="36"/>
                    <a:pt x="73" y="34"/>
                    <a:pt x="72" y="33"/>
                  </a:cubicBezTo>
                  <a:cubicBezTo>
                    <a:pt x="72" y="31"/>
                    <a:pt x="71" y="30"/>
                    <a:pt x="70" y="29"/>
                  </a:cubicBezTo>
                  <a:cubicBezTo>
                    <a:pt x="69" y="26"/>
                    <a:pt x="67" y="24"/>
                    <a:pt x="65" y="22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58" y="23"/>
                    <a:pt x="56" y="26"/>
                    <a:pt x="54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50" y="36"/>
                    <a:pt x="49" y="37"/>
                    <a:pt x="48" y="38"/>
                  </a:cubicBezTo>
                  <a:cubicBezTo>
                    <a:pt x="45" y="43"/>
                    <a:pt x="43" y="46"/>
                    <a:pt x="46" y="53"/>
                  </a:cubicBezTo>
                  <a:cubicBezTo>
                    <a:pt x="47" y="54"/>
                    <a:pt x="47" y="55"/>
                    <a:pt x="48" y="57"/>
                  </a:cubicBezTo>
                  <a:cubicBezTo>
                    <a:pt x="48" y="58"/>
                    <a:pt x="49" y="60"/>
                    <a:pt x="50" y="61"/>
                  </a:cubicBezTo>
                  <a:cubicBezTo>
                    <a:pt x="50" y="62"/>
                    <a:pt x="51" y="63"/>
                    <a:pt x="52" y="64"/>
                  </a:cubicBezTo>
                  <a:cubicBezTo>
                    <a:pt x="53" y="65"/>
                    <a:pt x="53" y="65"/>
                    <a:pt x="54" y="66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4" y="69"/>
                    <a:pt x="55" y="70"/>
                    <a:pt x="56" y="70"/>
                  </a:cubicBezTo>
                  <a:cubicBezTo>
                    <a:pt x="57" y="71"/>
                    <a:pt x="58" y="71"/>
                    <a:pt x="59" y="71"/>
                  </a:cubicBezTo>
                  <a:cubicBezTo>
                    <a:pt x="59" y="71"/>
                    <a:pt x="60" y="71"/>
                    <a:pt x="60" y="70"/>
                  </a:cubicBezTo>
                  <a:cubicBezTo>
                    <a:pt x="60" y="73"/>
                    <a:pt x="61" y="80"/>
                    <a:pt x="65" y="81"/>
                  </a:cubicBezTo>
                  <a:cubicBezTo>
                    <a:pt x="65" y="85"/>
                    <a:pt x="68" y="86"/>
                    <a:pt x="71" y="88"/>
                  </a:cubicBezTo>
                  <a:cubicBezTo>
                    <a:pt x="72" y="89"/>
                    <a:pt x="74" y="90"/>
                    <a:pt x="75" y="91"/>
                  </a:cubicBezTo>
                  <a:cubicBezTo>
                    <a:pt x="77" y="93"/>
                    <a:pt x="78" y="94"/>
                    <a:pt x="80" y="96"/>
                  </a:cubicBezTo>
                  <a:cubicBezTo>
                    <a:pt x="83" y="99"/>
                    <a:pt x="83" y="99"/>
                    <a:pt x="83" y="99"/>
                  </a:cubicBezTo>
                  <a:cubicBezTo>
                    <a:pt x="174" y="134"/>
                    <a:pt x="174" y="134"/>
                    <a:pt x="174" y="134"/>
                  </a:cubicBezTo>
                  <a:cubicBezTo>
                    <a:pt x="201" y="132"/>
                    <a:pt x="201" y="132"/>
                    <a:pt x="201" y="132"/>
                  </a:cubicBezTo>
                  <a:cubicBezTo>
                    <a:pt x="116" y="234"/>
                    <a:pt x="116" y="234"/>
                    <a:pt x="116" y="234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234"/>
                    <a:pt x="83" y="234"/>
                    <a:pt x="83" y="234"/>
                  </a:cubicBezTo>
                  <a:cubicBezTo>
                    <a:pt x="82" y="234"/>
                    <a:pt x="79" y="235"/>
                    <a:pt x="72" y="238"/>
                  </a:cubicBezTo>
                  <a:cubicBezTo>
                    <a:pt x="71" y="239"/>
                    <a:pt x="70" y="239"/>
                    <a:pt x="69" y="240"/>
                  </a:cubicBezTo>
                  <a:cubicBezTo>
                    <a:pt x="65" y="241"/>
                    <a:pt x="61" y="244"/>
                    <a:pt x="58" y="246"/>
                  </a:cubicBezTo>
                  <a:cubicBezTo>
                    <a:pt x="57" y="248"/>
                    <a:pt x="56" y="249"/>
                    <a:pt x="55" y="251"/>
                  </a:cubicBezTo>
                  <a:cubicBezTo>
                    <a:pt x="54" y="253"/>
                    <a:pt x="53" y="255"/>
                    <a:pt x="51" y="256"/>
                  </a:cubicBezTo>
                  <a:cubicBezTo>
                    <a:pt x="48" y="258"/>
                    <a:pt x="44" y="258"/>
                    <a:pt x="41" y="258"/>
                  </a:cubicBezTo>
                  <a:cubicBezTo>
                    <a:pt x="38" y="258"/>
                    <a:pt x="36" y="259"/>
                    <a:pt x="34" y="259"/>
                  </a:cubicBezTo>
                  <a:cubicBezTo>
                    <a:pt x="31" y="260"/>
                    <a:pt x="30" y="261"/>
                    <a:pt x="28" y="262"/>
                  </a:cubicBezTo>
                  <a:cubicBezTo>
                    <a:pt x="27" y="263"/>
                    <a:pt x="27" y="263"/>
                    <a:pt x="26" y="264"/>
                  </a:cubicBezTo>
                  <a:cubicBezTo>
                    <a:pt x="26" y="264"/>
                    <a:pt x="26" y="264"/>
                    <a:pt x="26" y="264"/>
                  </a:cubicBezTo>
                  <a:cubicBezTo>
                    <a:pt x="0" y="305"/>
                    <a:pt x="0" y="305"/>
                    <a:pt x="0" y="305"/>
                  </a:cubicBezTo>
                  <a:cubicBezTo>
                    <a:pt x="0" y="424"/>
                    <a:pt x="0" y="424"/>
                    <a:pt x="0" y="424"/>
                  </a:cubicBezTo>
                  <a:cubicBezTo>
                    <a:pt x="19" y="451"/>
                    <a:pt x="19" y="451"/>
                    <a:pt x="19" y="451"/>
                  </a:cubicBezTo>
                  <a:cubicBezTo>
                    <a:pt x="21" y="448"/>
                    <a:pt x="21" y="448"/>
                    <a:pt x="21" y="448"/>
                  </a:cubicBezTo>
                  <a:cubicBezTo>
                    <a:pt x="21" y="447"/>
                    <a:pt x="22" y="446"/>
                    <a:pt x="23" y="444"/>
                  </a:cubicBezTo>
                  <a:cubicBezTo>
                    <a:pt x="24" y="442"/>
                    <a:pt x="24" y="442"/>
                    <a:pt x="24" y="442"/>
                  </a:cubicBezTo>
                  <a:cubicBezTo>
                    <a:pt x="25" y="441"/>
                    <a:pt x="26" y="440"/>
                    <a:pt x="26" y="439"/>
                  </a:cubicBezTo>
                  <a:cubicBezTo>
                    <a:pt x="27" y="437"/>
                    <a:pt x="28" y="436"/>
                    <a:pt x="29" y="435"/>
                  </a:cubicBezTo>
                  <a:cubicBezTo>
                    <a:pt x="30" y="433"/>
                    <a:pt x="31" y="432"/>
                    <a:pt x="31" y="430"/>
                  </a:cubicBezTo>
                  <a:cubicBezTo>
                    <a:pt x="31" y="429"/>
                    <a:pt x="31" y="429"/>
                    <a:pt x="32" y="428"/>
                  </a:cubicBezTo>
                  <a:cubicBezTo>
                    <a:pt x="35" y="425"/>
                    <a:pt x="37" y="422"/>
                    <a:pt x="39" y="419"/>
                  </a:cubicBezTo>
                  <a:cubicBezTo>
                    <a:pt x="41" y="416"/>
                    <a:pt x="43" y="414"/>
                    <a:pt x="45" y="411"/>
                  </a:cubicBezTo>
                  <a:cubicBezTo>
                    <a:pt x="49" y="406"/>
                    <a:pt x="54" y="401"/>
                    <a:pt x="58" y="395"/>
                  </a:cubicBezTo>
                  <a:cubicBezTo>
                    <a:pt x="60" y="392"/>
                    <a:pt x="62" y="389"/>
                    <a:pt x="65" y="387"/>
                  </a:cubicBezTo>
                  <a:cubicBezTo>
                    <a:pt x="69" y="384"/>
                    <a:pt x="72" y="380"/>
                    <a:pt x="75" y="376"/>
                  </a:cubicBezTo>
                  <a:cubicBezTo>
                    <a:pt x="77" y="374"/>
                    <a:pt x="79" y="372"/>
                    <a:pt x="81" y="369"/>
                  </a:cubicBezTo>
                  <a:cubicBezTo>
                    <a:pt x="84" y="367"/>
                    <a:pt x="86" y="365"/>
                    <a:pt x="88" y="363"/>
                  </a:cubicBezTo>
                  <a:cubicBezTo>
                    <a:pt x="90" y="361"/>
                    <a:pt x="91" y="360"/>
                    <a:pt x="93" y="358"/>
                  </a:cubicBezTo>
                  <a:cubicBezTo>
                    <a:pt x="94" y="357"/>
                    <a:pt x="95" y="356"/>
                    <a:pt x="96" y="356"/>
                  </a:cubicBezTo>
                  <a:cubicBezTo>
                    <a:pt x="97" y="355"/>
                    <a:pt x="98" y="354"/>
                    <a:pt x="99" y="353"/>
                  </a:cubicBezTo>
                  <a:cubicBezTo>
                    <a:pt x="100" y="352"/>
                    <a:pt x="102" y="350"/>
                    <a:pt x="103" y="349"/>
                  </a:cubicBezTo>
                  <a:cubicBezTo>
                    <a:pt x="108" y="345"/>
                    <a:pt x="112" y="342"/>
                    <a:pt x="117" y="338"/>
                  </a:cubicBezTo>
                  <a:cubicBezTo>
                    <a:pt x="119" y="337"/>
                    <a:pt x="121" y="335"/>
                    <a:pt x="123" y="334"/>
                  </a:cubicBezTo>
                  <a:cubicBezTo>
                    <a:pt x="126" y="332"/>
                    <a:pt x="128" y="331"/>
                    <a:pt x="131" y="328"/>
                  </a:cubicBezTo>
                  <a:cubicBezTo>
                    <a:pt x="132" y="327"/>
                    <a:pt x="132" y="327"/>
                    <a:pt x="132" y="327"/>
                  </a:cubicBezTo>
                  <a:cubicBezTo>
                    <a:pt x="135" y="326"/>
                    <a:pt x="137" y="324"/>
                    <a:pt x="139" y="323"/>
                  </a:cubicBezTo>
                  <a:cubicBezTo>
                    <a:pt x="142" y="321"/>
                    <a:pt x="145" y="320"/>
                    <a:pt x="147" y="317"/>
                  </a:cubicBezTo>
                  <a:cubicBezTo>
                    <a:pt x="149" y="316"/>
                    <a:pt x="150" y="314"/>
                    <a:pt x="152" y="313"/>
                  </a:cubicBezTo>
                  <a:cubicBezTo>
                    <a:pt x="153" y="311"/>
                    <a:pt x="154" y="310"/>
                    <a:pt x="155" y="309"/>
                  </a:cubicBezTo>
                  <a:cubicBezTo>
                    <a:pt x="156" y="307"/>
                    <a:pt x="157" y="306"/>
                    <a:pt x="158" y="304"/>
                  </a:cubicBezTo>
                  <a:cubicBezTo>
                    <a:pt x="160" y="303"/>
                    <a:pt x="161" y="302"/>
                    <a:pt x="162" y="300"/>
                  </a:cubicBezTo>
                  <a:cubicBezTo>
                    <a:pt x="164" y="299"/>
                    <a:pt x="165" y="298"/>
                    <a:pt x="166" y="296"/>
                  </a:cubicBezTo>
                  <a:cubicBezTo>
                    <a:pt x="168" y="295"/>
                    <a:pt x="170" y="292"/>
                    <a:pt x="171" y="290"/>
                  </a:cubicBezTo>
                  <a:cubicBezTo>
                    <a:pt x="172" y="289"/>
                    <a:pt x="173" y="288"/>
                    <a:pt x="174" y="287"/>
                  </a:cubicBezTo>
                  <a:cubicBezTo>
                    <a:pt x="174" y="286"/>
                    <a:pt x="175" y="286"/>
                    <a:pt x="175" y="285"/>
                  </a:cubicBezTo>
                  <a:cubicBezTo>
                    <a:pt x="176" y="284"/>
                    <a:pt x="177" y="283"/>
                    <a:pt x="177" y="282"/>
                  </a:cubicBezTo>
                  <a:cubicBezTo>
                    <a:pt x="179" y="281"/>
                    <a:pt x="181" y="279"/>
                    <a:pt x="183" y="277"/>
                  </a:cubicBezTo>
                  <a:cubicBezTo>
                    <a:pt x="185" y="276"/>
                    <a:pt x="186" y="274"/>
                    <a:pt x="187" y="272"/>
                  </a:cubicBezTo>
                  <a:cubicBezTo>
                    <a:pt x="188" y="272"/>
                    <a:pt x="188" y="271"/>
                    <a:pt x="189" y="270"/>
                  </a:cubicBezTo>
                  <a:cubicBezTo>
                    <a:pt x="190" y="269"/>
                    <a:pt x="191" y="268"/>
                    <a:pt x="192" y="267"/>
                  </a:cubicBezTo>
                  <a:cubicBezTo>
                    <a:pt x="193" y="266"/>
                    <a:pt x="193" y="266"/>
                    <a:pt x="193" y="266"/>
                  </a:cubicBezTo>
                  <a:cubicBezTo>
                    <a:pt x="197" y="260"/>
                    <a:pt x="202" y="253"/>
                    <a:pt x="206" y="245"/>
                  </a:cubicBezTo>
                  <a:cubicBezTo>
                    <a:pt x="208" y="243"/>
                    <a:pt x="209" y="240"/>
                    <a:pt x="211" y="237"/>
                  </a:cubicBezTo>
                  <a:cubicBezTo>
                    <a:pt x="211" y="236"/>
                    <a:pt x="212" y="235"/>
                    <a:pt x="213" y="233"/>
                  </a:cubicBezTo>
                  <a:cubicBezTo>
                    <a:pt x="213" y="232"/>
                    <a:pt x="214" y="232"/>
                    <a:pt x="214" y="231"/>
                  </a:cubicBezTo>
                  <a:cubicBezTo>
                    <a:pt x="215" y="229"/>
                    <a:pt x="216" y="228"/>
                    <a:pt x="217" y="226"/>
                  </a:cubicBezTo>
                  <a:cubicBezTo>
                    <a:pt x="217" y="225"/>
                    <a:pt x="217" y="224"/>
                    <a:pt x="218" y="224"/>
                  </a:cubicBezTo>
                  <a:cubicBezTo>
                    <a:pt x="218" y="222"/>
                    <a:pt x="218" y="221"/>
                    <a:pt x="219" y="220"/>
                  </a:cubicBezTo>
                  <a:cubicBezTo>
                    <a:pt x="220" y="219"/>
                    <a:pt x="220" y="218"/>
                    <a:pt x="221" y="217"/>
                  </a:cubicBezTo>
                  <a:cubicBezTo>
                    <a:pt x="222" y="215"/>
                    <a:pt x="223" y="214"/>
                    <a:pt x="224" y="212"/>
                  </a:cubicBezTo>
                  <a:cubicBezTo>
                    <a:pt x="224" y="211"/>
                    <a:pt x="224" y="211"/>
                    <a:pt x="224" y="211"/>
                  </a:cubicBezTo>
                  <a:cubicBezTo>
                    <a:pt x="225" y="209"/>
                    <a:pt x="226" y="207"/>
                    <a:pt x="228" y="205"/>
                  </a:cubicBezTo>
                  <a:cubicBezTo>
                    <a:pt x="228" y="204"/>
                    <a:pt x="229" y="204"/>
                    <a:pt x="229" y="203"/>
                  </a:cubicBezTo>
                  <a:cubicBezTo>
                    <a:pt x="230" y="202"/>
                    <a:pt x="231" y="201"/>
                    <a:pt x="232" y="199"/>
                  </a:cubicBezTo>
                  <a:cubicBezTo>
                    <a:pt x="234" y="196"/>
                    <a:pt x="234" y="192"/>
                    <a:pt x="235" y="189"/>
                  </a:cubicBezTo>
                  <a:cubicBezTo>
                    <a:pt x="235" y="187"/>
                    <a:pt x="235" y="185"/>
                    <a:pt x="236" y="182"/>
                  </a:cubicBezTo>
                  <a:cubicBezTo>
                    <a:pt x="237" y="179"/>
                    <a:pt x="239" y="175"/>
                    <a:pt x="241" y="171"/>
                  </a:cubicBezTo>
                  <a:cubicBezTo>
                    <a:pt x="242" y="169"/>
                    <a:pt x="244" y="166"/>
                    <a:pt x="245" y="163"/>
                  </a:cubicBezTo>
                  <a:cubicBezTo>
                    <a:pt x="245" y="162"/>
                    <a:pt x="246" y="161"/>
                    <a:pt x="246" y="160"/>
                  </a:cubicBezTo>
                  <a:cubicBezTo>
                    <a:pt x="247" y="159"/>
                    <a:pt x="248" y="158"/>
                    <a:pt x="249" y="157"/>
                  </a:cubicBezTo>
                  <a:cubicBezTo>
                    <a:pt x="249" y="156"/>
                    <a:pt x="250" y="154"/>
                    <a:pt x="251" y="153"/>
                  </a:cubicBezTo>
                  <a:cubicBezTo>
                    <a:pt x="252" y="151"/>
                    <a:pt x="253" y="149"/>
                    <a:pt x="253" y="147"/>
                  </a:cubicBezTo>
                  <a:cubicBezTo>
                    <a:pt x="253" y="146"/>
                    <a:pt x="254" y="146"/>
                    <a:pt x="254" y="145"/>
                  </a:cubicBezTo>
                  <a:cubicBezTo>
                    <a:pt x="254" y="143"/>
                    <a:pt x="254" y="142"/>
                    <a:pt x="255" y="140"/>
                  </a:cubicBezTo>
                  <a:cubicBezTo>
                    <a:pt x="255" y="139"/>
                    <a:pt x="255" y="138"/>
                    <a:pt x="255" y="137"/>
                  </a:cubicBezTo>
                  <a:cubicBezTo>
                    <a:pt x="256" y="136"/>
                    <a:pt x="257" y="135"/>
                    <a:pt x="258" y="134"/>
                  </a:cubicBezTo>
                  <a:cubicBezTo>
                    <a:pt x="258" y="133"/>
                    <a:pt x="259" y="133"/>
                    <a:pt x="259" y="132"/>
                  </a:cubicBezTo>
                  <a:cubicBezTo>
                    <a:pt x="261" y="131"/>
                    <a:pt x="262" y="128"/>
                    <a:pt x="263" y="126"/>
                  </a:cubicBezTo>
                  <a:cubicBezTo>
                    <a:pt x="263" y="125"/>
                    <a:pt x="263" y="125"/>
                    <a:pt x="264" y="124"/>
                  </a:cubicBezTo>
                  <a:cubicBezTo>
                    <a:pt x="264" y="123"/>
                    <a:pt x="265" y="122"/>
                    <a:pt x="266" y="120"/>
                  </a:cubicBezTo>
                  <a:cubicBezTo>
                    <a:pt x="266" y="119"/>
                    <a:pt x="267" y="118"/>
                    <a:pt x="268" y="116"/>
                  </a:cubicBezTo>
                  <a:cubicBezTo>
                    <a:pt x="268" y="115"/>
                    <a:pt x="269" y="113"/>
                    <a:pt x="269" y="112"/>
                  </a:cubicBezTo>
                  <a:cubicBezTo>
                    <a:pt x="271" y="108"/>
                    <a:pt x="272" y="105"/>
                    <a:pt x="274" y="102"/>
                  </a:cubicBezTo>
                  <a:cubicBezTo>
                    <a:pt x="274" y="102"/>
                    <a:pt x="274" y="102"/>
                    <a:pt x="275" y="101"/>
                  </a:cubicBezTo>
                  <a:cubicBezTo>
                    <a:pt x="275" y="101"/>
                    <a:pt x="276" y="100"/>
                    <a:pt x="277" y="99"/>
                  </a:cubicBezTo>
                  <a:cubicBezTo>
                    <a:pt x="277" y="98"/>
                    <a:pt x="277" y="97"/>
                    <a:pt x="277" y="96"/>
                  </a:cubicBezTo>
                  <a:cubicBezTo>
                    <a:pt x="277" y="96"/>
                    <a:pt x="277" y="95"/>
                    <a:pt x="277" y="95"/>
                  </a:cubicBezTo>
                  <a:cubicBezTo>
                    <a:pt x="278" y="94"/>
                    <a:pt x="278" y="94"/>
                    <a:pt x="279" y="93"/>
                  </a:cubicBezTo>
                  <a:cubicBezTo>
                    <a:pt x="280" y="92"/>
                    <a:pt x="281" y="91"/>
                    <a:pt x="281" y="89"/>
                  </a:cubicBezTo>
                  <a:cubicBezTo>
                    <a:pt x="282" y="87"/>
                    <a:pt x="282" y="85"/>
                    <a:pt x="282" y="83"/>
                  </a:cubicBezTo>
                  <a:cubicBezTo>
                    <a:pt x="282" y="82"/>
                    <a:pt x="282" y="82"/>
                    <a:pt x="282" y="82"/>
                  </a:cubicBezTo>
                  <a:cubicBezTo>
                    <a:pt x="282" y="79"/>
                    <a:pt x="282" y="76"/>
                    <a:pt x="283" y="74"/>
                  </a:cubicBezTo>
                  <a:cubicBezTo>
                    <a:pt x="283" y="71"/>
                    <a:pt x="284" y="69"/>
                    <a:pt x="284" y="66"/>
                  </a:cubicBezTo>
                  <a:cubicBezTo>
                    <a:pt x="284" y="65"/>
                    <a:pt x="284" y="64"/>
                    <a:pt x="284" y="63"/>
                  </a:cubicBezTo>
                  <a:cubicBezTo>
                    <a:pt x="284" y="61"/>
                    <a:pt x="284" y="60"/>
                    <a:pt x="284" y="58"/>
                  </a:cubicBezTo>
                  <a:cubicBezTo>
                    <a:pt x="285" y="57"/>
                    <a:pt x="285" y="56"/>
                    <a:pt x="287" y="56"/>
                  </a:cubicBezTo>
                  <a:cubicBezTo>
                    <a:pt x="288" y="56"/>
                    <a:pt x="288" y="56"/>
                    <a:pt x="289" y="56"/>
                  </a:cubicBezTo>
                  <a:cubicBezTo>
                    <a:pt x="289" y="56"/>
                    <a:pt x="290" y="56"/>
                    <a:pt x="290" y="56"/>
                  </a:cubicBezTo>
                  <a:cubicBezTo>
                    <a:pt x="290" y="54"/>
                    <a:pt x="290" y="54"/>
                    <a:pt x="290" y="54"/>
                  </a:cubicBezTo>
                  <a:cubicBezTo>
                    <a:pt x="291" y="57"/>
                    <a:pt x="291" y="57"/>
                    <a:pt x="291" y="57"/>
                  </a:cubicBezTo>
                  <a:cubicBezTo>
                    <a:pt x="291" y="57"/>
                    <a:pt x="292" y="57"/>
                    <a:pt x="293" y="58"/>
                  </a:cubicBezTo>
                  <a:cubicBezTo>
                    <a:pt x="293" y="58"/>
                    <a:pt x="294" y="58"/>
                    <a:pt x="294" y="58"/>
                  </a:cubicBezTo>
                  <a:cubicBezTo>
                    <a:pt x="295" y="58"/>
                    <a:pt x="296" y="58"/>
                    <a:pt x="297" y="57"/>
                  </a:cubicBezTo>
                  <a:cubicBezTo>
                    <a:pt x="298" y="56"/>
                    <a:pt x="299" y="55"/>
                    <a:pt x="299" y="53"/>
                  </a:cubicBezTo>
                  <a:cubicBezTo>
                    <a:pt x="298" y="50"/>
                    <a:pt x="297" y="49"/>
                    <a:pt x="294" y="49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8" name="Freeform 68"/>
            <p:cNvSpPr>
              <a:spLocks noEditPoints="1"/>
            </p:cNvSpPr>
            <p:nvPr/>
          </p:nvSpPr>
          <p:spPr bwMode="auto">
            <a:xfrm>
              <a:off x="2924080" y="3881898"/>
              <a:ext cx="947503" cy="782841"/>
            </a:xfrm>
            <a:custGeom>
              <a:avLst/>
              <a:gdLst>
                <a:gd name="T0" fmla="*/ 445 w 468"/>
                <a:gd name="T1" fmla="*/ 157 h 420"/>
                <a:gd name="T2" fmla="*/ 426 w 468"/>
                <a:gd name="T3" fmla="*/ 170 h 420"/>
                <a:gd name="T4" fmla="*/ 416 w 468"/>
                <a:gd name="T5" fmla="*/ 157 h 420"/>
                <a:gd name="T6" fmla="*/ 418 w 468"/>
                <a:gd name="T7" fmla="*/ 131 h 420"/>
                <a:gd name="T8" fmla="*/ 443 w 468"/>
                <a:gd name="T9" fmla="*/ 126 h 420"/>
                <a:gd name="T10" fmla="*/ 447 w 468"/>
                <a:gd name="T11" fmla="*/ 80 h 420"/>
                <a:gd name="T12" fmla="*/ 437 w 468"/>
                <a:gd name="T13" fmla="*/ 47 h 420"/>
                <a:gd name="T14" fmla="*/ 429 w 468"/>
                <a:gd name="T15" fmla="*/ 11 h 420"/>
                <a:gd name="T16" fmla="*/ 403 w 468"/>
                <a:gd name="T17" fmla="*/ 8 h 420"/>
                <a:gd name="T18" fmla="*/ 374 w 468"/>
                <a:gd name="T19" fmla="*/ 1 h 420"/>
                <a:gd name="T20" fmla="*/ 362 w 468"/>
                <a:gd name="T21" fmla="*/ 7 h 420"/>
                <a:gd name="T22" fmla="*/ 349 w 468"/>
                <a:gd name="T23" fmla="*/ 15 h 420"/>
                <a:gd name="T24" fmla="*/ 327 w 468"/>
                <a:gd name="T25" fmla="*/ 34 h 420"/>
                <a:gd name="T26" fmla="*/ 297 w 468"/>
                <a:gd name="T27" fmla="*/ 74 h 420"/>
                <a:gd name="T28" fmla="*/ 267 w 468"/>
                <a:gd name="T29" fmla="*/ 107 h 420"/>
                <a:gd name="T30" fmla="*/ 250 w 468"/>
                <a:gd name="T31" fmla="*/ 119 h 420"/>
                <a:gd name="T32" fmla="*/ 223 w 468"/>
                <a:gd name="T33" fmla="*/ 115 h 420"/>
                <a:gd name="T34" fmla="*/ 194 w 468"/>
                <a:gd name="T35" fmla="*/ 103 h 420"/>
                <a:gd name="T36" fmla="*/ 170 w 468"/>
                <a:gd name="T37" fmla="*/ 139 h 420"/>
                <a:gd name="T38" fmla="*/ 154 w 468"/>
                <a:gd name="T39" fmla="*/ 152 h 420"/>
                <a:gd name="T40" fmla="*/ 142 w 468"/>
                <a:gd name="T41" fmla="*/ 155 h 420"/>
                <a:gd name="T42" fmla="*/ 125 w 468"/>
                <a:gd name="T43" fmla="*/ 155 h 420"/>
                <a:gd name="T44" fmla="*/ 124 w 468"/>
                <a:gd name="T45" fmla="*/ 110 h 420"/>
                <a:gd name="T46" fmla="*/ 89 w 468"/>
                <a:gd name="T47" fmla="*/ 215 h 420"/>
                <a:gd name="T48" fmla="*/ 78 w 468"/>
                <a:gd name="T49" fmla="*/ 225 h 420"/>
                <a:gd name="T50" fmla="*/ 50 w 468"/>
                <a:gd name="T51" fmla="*/ 224 h 420"/>
                <a:gd name="T52" fmla="*/ 32 w 468"/>
                <a:gd name="T53" fmla="*/ 206 h 420"/>
                <a:gd name="T54" fmla="*/ 13 w 468"/>
                <a:gd name="T55" fmla="*/ 205 h 420"/>
                <a:gd name="T56" fmla="*/ 11 w 468"/>
                <a:gd name="T57" fmla="*/ 228 h 420"/>
                <a:gd name="T58" fmla="*/ 28 w 468"/>
                <a:gd name="T59" fmla="*/ 275 h 420"/>
                <a:gd name="T60" fmla="*/ 45 w 468"/>
                <a:gd name="T61" fmla="*/ 308 h 420"/>
                <a:gd name="T62" fmla="*/ 52 w 468"/>
                <a:gd name="T63" fmla="*/ 342 h 420"/>
                <a:gd name="T64" fmla="*/ 44 w 468"/>
                <a:gd name="T65" fmla="*/ 363 h 420"/>
                <a:gd name="T66" fmla="*/ 52 w 468"/>
                <a:gd name="T67" fmla="*/ 399 h 420"/>
                <a:gd name="T68" fmla="*/ 62 w 468"/>
                <a:gd name="T69" fmla="*/ 395 h 420"/>
                <a:gd name="T70" fmla="*/ 73 w 468"/>
                <a:gd name="T71" fmla="*/ 406 h 420"/>
                <a:gd name="T72" fmla="*/ 81 w 468"/>
                <a:gd name="T73" fmla="*/ 413 h 420"/>
                <a:gd name="T74" fmla="*/ 101 w 468"/>
                <a:gd name="T75" fmla="*/ 419 h 420"/>
                <a:gd name="T76" fmla="*/ 125 w 468"/>
                <a:gd name="T77" fmla="*/ 405 h 420"/>
                <a:gd name="T78" fmla="*/ 140 w 468"/>
                <a:gd name="T79" fmla="*/ 405 h 420"/>
                <a:gd name="T80" fmla="*/ 153 w 468"/>
                <a:gd name="T81" fmla="*/ 402 h 420"/>
                <a:gd name="T82" fmla="*/ 171 w 468"/>
                <a:gd name="T83" fmla="*/ 393 h 420"/>
                <a:gd name="T84" fmla="*/ 195 w 468"/>
                <a:gd name="T85" fmla="*/ 393 h 420"/>
                <a:gd name="T86" fmla="*/ 225 w 468"/>
                <a:gd name="T87" fmla="*/ 399 h 420"/>
                <a:gd name="T88" fmla="*/ 250 w 468"/>
                <a:gd name="T89" fmla="*/ 393 h 420"/>
                <a:gd name="T90" fmla="*/ 266 w 468"/>
                <a:gd name="T91" fmla="*/ 383 h 420"/>
                <a:gd name="T92" fmla="*/ 305 w 468"/>
                <a:gd name="T93" fmla="*/ 371 h 420"/>
                <a:gd name="T94" fmla="*/ 338 w 468"/>
                <a:gd name="T95" fmla="*/ 345 h 420"/>
                <a:gd name="T96" fmla="*/ 357 w 468"/>
                <a:gd name="T97" fmla="*/ 326 h 420"/>
                <a:gd name="T98" fmla="*/ 403 w 468"/>
                <a:gd name="T99" fmla="*/ 272 h 420"/>
                <a:gd name="T100" fmla="*/ 416 w 468"/>
                <a:gd name="T101" fmla="*/ 249 h 420"/>
                <a:gd name="T102" fmla="*/ 441 w 468"/>
                <a:gd name="T103" fmla="*/ 224 h 420"/>
                <a:gd name="T104" fmla="*/ 458 w 468"/>
                <a:gd name="T105" fmla="*/ 201 h 420"/>
                <a:gd name="T106" fmla="*/ 468 w 468"/>
                <a:gd name="T107" fmla="*/ 161 h 420"/>
                <a:gd name="T108" fmla="*/ 323 w 468"/>
                <a:gd name="T109" fmla="*/ 280 h 420"/>
                <a:gd name="T110" fmla="*/ 307 w 468"/>
                <a:gd name="T111" fmla="*/ 262 h 420"/>
                <a:gd name="T112" fmla="*/ 311 w 468"/>
                <a:gd name="T113" fmla="*/ 241 h 420"/>
                <a:gd name="T114" fmla="*/ 364 w 468"/>
                <a:gd name="T115" fmla="*/ 233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8" h="420">
                  <a:moveTo>
                    <a:pt x="468" y="161"/>
                  </a:moveTo>
                  <a:cubicBezTo>
                    <a:pt x="468" y="160"/>
                    <a:pt x="468" y="160"/>
                    <a:pt x="468" y="160"/>
                  </a:cubicBezTo>
                  <a:cubicBezTo>
                    <a:pt x="467" y="159"/>
                    <a:pt x="467" y="159"/>
                    <a:pt x="467" y="159"/>
                  </a:cubicBezTo>
                  <a:cubicBezTo>
                    <a:pt x="463" y="158"/>
                    <a:pt x="460" y="158"/>
                    <a:pt x="457" y="157"/>
                  </a:cubicBezTo>
                  <a:cubicBezTo>
                    <a:pt x="454" y="157"/>
                    <a:pt x="451" y="156"/>
                    <a:pt x="447" y="155"/>
                  </a:cubicBezTo>
                  <a:cubicBezTo>
                    <a:pt x="446" y="155"/>
                    <a:pt x="446" y="155"/>
                    <a:pt x="446" y="155"/>
                  </a:cubicBezTo>
                  <a:cubicBezTo>
                    <a:pt x="445" y="157"/>
                    <a:pt x="445" y="157"/>
                    <a:pt x="445" y="157"/>
                  </a:cubicBezTo>
                  <a:cubicBezTo>
                    <a:pt x="445" y="158"/>
                    <a:pt x="444" y="160"/>
                    <a:pt x="444" y="162"/>
                  </a:cubicBezTo>
                  <a:cubicBezTo>
                    <a:pt x="443" y="166"/>
                    <a:pt x="443" y="170"/>
                    <a:pt x="441" y="172"/>
                  </a:cubicBezTo>
                  <a:cubicBezTo>
                    <a:pt x="440" y="172"/>
                    <a:pt x="439" y="173"/>
                    <a:pt x="438" y="173"/>
                  </a:cubicBezTo>
                  <a:cubicBezTo>
                    <a:pt x="436" y="173"/>
                    <a:pt x="434" y="172"/>
                    <a:pt x="432" y="171"/>
                  </a:cubicBezTo>
                  <a:cubicBezTo>
                    <a:pt x="430" y="171"/>
                    <a:pt x="429" y="170"/>
                    <a:pt x="428" y="170"/>
                  </a:cubicBezTo>
                  <a:cubicBezTo>
                    <a:pt x="427" y="170"/>
                    <a:pt x="427" y="170"/>
                    <a:pt x="427" y="170"/>
                  </a:cubicBezTo>
                  <a:cubicBezTo>
                    <a:pt x="426" y="170"/>
                    <a:pt x="426" y="170"/>
                    <a:pt x="426" y="170"/>
                  </a:cubicBezTo>
                  <a:cubicBezTo>
                    <a:pt x="425" y="170"/>
                    <a:pt x="425" y="170"/>
                    <a:pt x="425" y="170"/>
                  </a:cubicBezTo>
                  <a:cubicBezTo>
                    <a:pt x="425" y="170"/>
                    <a:pt x="424" y="170"/>
                    <a:pt x="424" y="170"/>
                  </a:cubicBezTo>
                  <a:cubicBezTo>
                    <a:pt x="423" y="170"/>
                    <a:pt x="423" y="170"/>
                    <a:pt x="422" y="170"/>
                  </a:cubicBezTo>
                  <a:cubicBezTo>
                    <a:pt x="421" y="169"/>
                    <a:pt x="420" y="169"/>
                    <a:pt x="420" y="168"/>
                  </a:cubicBezTo>
                  <a:cubicBezTo>
                    <a:pt x="420" y="167"/>
                    <a:pt x="420" y="167"/>
                    <a:pt x="420" y="167"/>
                  </a:cubicBezTo>
                  <a:cubicBezTo>
                    <a:pt x="420" y="167"/>
                    <a:pt x="420" y="167"/>
                    <a:pt x="420" y="167"/>
                  </a:cubicBezTo>
                  <a:cubicBezTo>
                    <a:pt x="416" y="163"/>
                    <a:pt x="416" y="162"/>
                    <a:pt x="416" y="157"/>
                  </a:cubicBezTo>
                  <a:cubicBezTo>
                    <a:pt x="416" y="156"/>
                    <a:pt x="416" y="156"/>
                    <a:pt x="416" y="156"/>
                  </a:cubicBezTo>
                  <a:cubicBezTo>
                    <a:pt x="414" y="155"/>
                    <a:pt x="414" y="155"/>
                    <a:pt x="414" y="155"/>
                  </a:cubicBezTo>
                  <a:cubicBezTo>
                    <a:pt x="413" y="155"/>
                    <a:pt x="411" y="154"/>
                    <a:pt x="411" y="154"/>
                  </a:cubicBezTo>
                  <a:cubicBezTo>
                    <a:pt x="410" y="153"/>
                    <a:pt x="410" y="152"/>
                    <a:pt x="410" y="150"/>
                  </a:cubicBezTo>
                  <a:cubicBezTo>
                    <a:pt x="409" y="149"/>
                    <a:pt x="409" y="149"/>
                    <a:pt x="409" y="149"/>
                  </a:cubicBezTo>
                  <a:cubicBezTo>
                    <a:pt x="409" y="144"/>
                    <a:pt x="412" y="140"/>
                    <a:pt x="415" y="136"/>
                  </a:cubicBezTo>
                  <a:cubicBezTo>
                    <a:pt x="416" y="134"/>
                    <a:pt x="417" y="132"/>
                    <a:pt x="418" y="131"/>
                  </a:cubicBezTo>
                  <a:cubicBezTo>
                    <a:pt x="420" y="127"/>
                    <a:pt x="422" y="124"/>
                    <a:pt x="425" y="122"/>
                  </a:cubicBezTo>
                  <a:cubicBezTo>
                    <a:pt x="427" y="120"/>
                    <a:pt x="428" y="120"/>
                    <a:pt x="429" y="120"/>
                  </a:cubicBezTo>
                  <a:cubicBezTo>
                    <a:pt x="430" y="120"/>
                    <a:pt x="430" y="120"/>
                    <a:pt x="431" y="121"/>
                  </a:cubicBezTo>
                  <a:cubicBezTo>
                    <a:pt x="432" y="122"/>
                    <a:pt x="432" y="123"/>
                    <a:pt x="433" y="123"/>
                  </a:cubicBezTo>
                  <a:cubicBezTo>
                    <a:pt x="435" y="125"/>
                    <a:pt x="437" y="126"/>
                    <a:pt x="440" y="127"/>
                  </a:cubicBezTo>
                  <a:cubicBezTo>
                    <a:pt x="443" y="128"/>
                    <a:pt x="443" y="128"/>
                    <a:pt x="443" y="128"/>
                  </a:cubicBezTo>
                  <a:cubicBezTo>
                    <a:pt x="443" y="126"/>
                    <a:pt x="443" y="126"/>
                    <a:pt x="443" y="126"/>
                  </a:cubicBezTo>
                  <a:cubicBezTo>
                    <a:pt x="443" y="125"/>
                    <a:pt x="444" y="123"/>
                    <a:pt x="444" y="122"/>
                  </a:cubicBezTo>
                  <a:cubicBezTo>
                    <a:pt x="445" y="121"/>
                    <a:pt x="445" y="119"/>
                    <a:pt x="445" y="117"/>
                  </a:cubicBezTo>
                  <a:cubicBezTo>
                    <a:pt x="445" y="115"/>
                    <a:pt x="445" y="113"/>
                    <a:pt x="445" y="110"/>
                  </a:cubicBezTo>
                  <a:cubicBezTo>
                    <a:pt x="445" y="108"/>
                    <a:pt x="445" y="106"/>
                    <a:pt x="446" y="104"/>
                  </a:cubicBezTo>
                  <a:cubicBezTo>
                    <a:pt x="446" y="101"/>
                    <a:pt x="446" y="97"/>
                    <a:pt x="446" y="93"/>
                  </a:cubicBezTo>
                  <a:cubicBezTo>
                    <a:pt x="446" y="92"/>
                    <a:pt x="446" y="92"/>
                    <a:pt x="446" y="92"/>
                  </a:cubicBezTo>
                  <a:cubicBezTo>
                    <a:pt x="447" y="88"/>
                    <a:pt x="447" y="84"/>
                    <a:pt x="447" y="80"/>
                  </a:cubicBezTo>
                  <a:cubicBezTo>
                    <a:pt x="447" y="77"/>
                    <a:pt x="446" y="75"/>
                    <a:pt x="446" y="73"/>
                  </a:cubicBezTo>
                  <a:cubicBezTo>
                    <a:pt x="445" y="72"/>
                    <a:pt x="444" y="70"/>
                    <a:pt x="444" y="69"/>
                  </a:cubicBezTo>
                  <a:cubicBezTo>
                    <a:pt x="444" y="68"/>
                    <a:pt x="444" y="66"/>
                    <a:pt x="444" y="65"/>
                  </a:cubicBezTo>
                  <a:cubicBezTo>
                    <a:pt x="444" y="64"/>
                    <a:pt x="444" y="63"/>
                    <a:pt x="444" y="63"/>
                  </a:cubicBezTo>
                  <a:cubicBezTo>
                    <a:pt x="444" y="61"/>
                    <a:pt x="444" y="60"/>
                    <a:pt x="443" y="59"/>
                  </a:cubicBezTo>
                  <a:cubicBezTo>
                    <a:pt x="442" y="58"/>
                    <a:pt x="442" y="58"/>
                    <a:pt x="442" y="57"/>
                  </a:cubicBezTo>
                  <a:cubicBezTo>
                    <a:pt x="440" y="55"/>
                    <a:pt x="439" y="51"/>
                    <a:pt x="437" y="47"/>
                  </a:cubicBezTo>
                  <a:cubicBezTo>
                    <a:pt x="436" y="45"/>
                    <a:pt x="436" y="43"/>
                    <a:pt x="436" y="41"/>
                  </a:cubicBezTo>
                  <a:cubicBezTo>
                    <a:pt x="436" y="39"/>
                    <a:pt x="436" y="37"/>
                    <a:pt x="436" y="35"/>
                  </a:cubicBezTo>
                  <a:cubicBezTo>
                    <a:pt x="435" y="33"/>
                    <a:pt x="435" y="31"/>
                    <a:pt x="434" y="30"/>
                  </a:cubicBezTo>
                  <a:cubicBezTo>
                    <a:pt x="434" y="29"/>
                    <a:pt x="434" y="29"/>
                    <a:pt x="434" y="29"/>
                  </a:cubicBezTo>
                  <a:cubicBezTo>
                    <a:pt x="433" y="27"/>
                    <a:pt x="433" y="25"/>
                    <a:pt x="432" y="23"/>
                  </a:cubicBezTo>
                  <a:cubicBezTo>
                    <a:pt x="432" y="22"/>
                    <a:pt x="432" y="20"/>
                    <a:pt x="431" y="19"/>
                  </a:cubicBezTo>
                  <a:cubicBezTo>
                    <a:pt x="431" y="16"/>
                    <a:pt x="430" y="13"/>
                    <a:pt x="429" y="11"/>
                  </a:cubicBezTo>
                  <a:cubicBezTo>
                    <a:pt x="429" y="10"/>
                    <a:pt x="429" y="10"/>
                    <a:pt x="429" y="10"/>
                  </a:cubicBezTo>
                  <a:cubicBezTo>
                    <a:pt x="427" y="9"/>
                    <a:pt x="427" y="9"/>
                    <a:pt x="427" y="9"/>
                  </a:cubicBezTo>
                  <a:cubicBezTo>
                    <a:pt x="424" y="8"/>
                    <a:pt x="422" y="6"/>
                    <a:pt x="419" y="6"/>
                  </a:cubicBezTo>
                  <a:cubicBezTo>
                    <a:pt x="418" y="6"/>
                    <a:pt x="418" y="5"/>
                    <a:pt x="417" y="5"/>
                  </a:cubicBezTo>
                  <a:cubicBezTo>
                    <a:pt x="414" y="5"/>
                    <a:pt x="412" y="6"/>
                    <a:pt x="410" y="7"/>
                  </a:cubicBezTo>
                  <a:cubicBezTo>
                    <a:pt x="409" y="7"/>
                    <a:pt x="408" y="7"/>
                    <a:pt x="407" y="7"/>
                  </a:cubicBezTo>
                  <a:cubicBezTo>
                    <a:pt x="406" y="8"/>
                    <a:pt x="404" y="8"/>
                    <a:pt x="403" y="8"/>
                  </a:cubicBezTo>
                  <a:cubicBezTo>
                    <a:pt x="401" y="8"/>
                    <a:pt x="400" y="8"/>
                    <a:pt x="398" y="7"/>
                  </a:cubicBezTo>
                  <a:cubicBezTo>
                    <a:pt x="396" y="7"/>
                    <a:pt x="395" y="6"/>
                    <a:pt x="393" y="5"/>
                  </a:cubicBezTo>
                  <a:cubicBezTo>
                    <a:pt x="392" y="4"/>
                    <a:pt x="391" y="3"/>
                    <a:pt x="389" y="3"/>
                  </a:cubicBezTo>
                  <a:cubicBezTo>
                    <a:pt x="387" y="3"/>
                    <a:pt x="386" y="3"/>
                    <a:pt x="385" y="3"/>
                  </a:cubicBezTo>
                  <a:cubicBezTo>
                    <a:pt x="381" y="3"/>
                    <a:pt x="381" y="3"/>
                    <a:pt x="381" y="3"/>
                  </a:cubicBezTo>
                  <a:cubicBezTo>
                    <a:pt x="380" y="3"/>
                    <a:pt x="378" y="3"/>
                    <a:pt x="377" y="2"/>
                  </a:cubicBezTo>
                  <a:cubicBezTo>
                    <a:pt x="376" y="2"/>
                    <a:pt x="375" y="2"/>
                    <a:pt x="374" y="1"/>
                  </a:cubicBezTo>
                  <a:cubicBezTo>
                    <a:pt x="372" y="0"/>
                    <a:pt x="371" y="0"/>
                    <a:pt x="370" y="0"/>
                  </a:cubicBezTo>
                  <a:cubicBezTo>
                    <a:pt x="369" y="0"/>
                    <a:pt x="369" y="0"/>
                    <a:pt x="36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67" y="2"/>
                    <a:pt x="366" y="2"/>
                    <a:pt x="365" y="3"/>
                  </a:cubicBezTo>
                  <a:cubicBezTo>
                    <a:pt x="365" y="3"/>
                    <a:pt x="365" y="3"/>
                    <a:pt x="364" y="4"/>
                  </a:cubicBezTo>
                  <a:cubicBezTo>
                    <a:pt x="363" y="5"/>
                    <a:pt x="363" y="6"/>
                    <a:pt x="362" y="7"/>
                  </a:cubicBezTo>
                  <a:cubicBezTo>
                    <a:pt x="362" y="8"/>
                    <a:pt x="362" y="8"/>
                    <a:pt x="362" y="8"/>
                  </a:cubicBezTo>
                  <a:cubicBezTo>
                    <a:pt x="361" y="9"/>
                    <a:pt x="361" y="10"/>
                    <a:pt x="360" y="10"/>
                  </a:cubicBezTo>
                  <a:cubicBezTo>
                    <a:pt x="359" y="11"/>
                    <a:pt x="359" y="11"/>
                    <a:pt x="359" y="11"/>
                  </a:cubicBezTo>
                  <a:cubicBezTo>
                    <a:pt x="358" y="11"/>
                    <a:pt x="357" y="12"/>
                    <a:pt x="357" y="13"/>
                  </a:cubicBezTo>
                  <a:cubicBezTo>
                    <a:pt x="356" y="13"/>
                    <a:pt x="356" y="14"/>
                    <a:pt x="355" y="14"/>
                  </a:cubicBezTo>
                  <a:cubicBezTo>
                    <a:pt x="354" y="15"/>
                    <a:pt x="353" y="15"/>
                    <a:pt x="352" y="15"/>
                  </a:cubicBezTo>
                  <a:cubicBezTo>
                    <a:pt x="351" y="15"/>
                    <a:pt x="350" y="15"/>
                    <a:pt x="349" y="15"/>
                  </a:cubicBezTo>
                  <a:cubicBezTo>
                    <a:pt x="349" y="15"/>
                    <a:pt x="348" y="15"/>
                    <a:pt x="347" y="15"/>
                  </a:cubicBezTo>
                  <a:cubicBezTo>
                    <a:pt x="346" y="15"/>
                    <a:pt x="345" y="15"/>
                    <a:pt x="345" y="15"/>
                  </a:cubicBezTo>
                  <a:cubicBezTo>
                    <a:pt x="342" y="16"/>
                    <a:pt x="340" y="19"/>
                    <a:pt x="339" y="21"/>
                  </a:cubicBezTo>
                  <a:cubicBezTo>
                    <a:pt x="338" y="22"/>
                    <a:pt x="338" y="23"/>
                    <a:pt x="337" y="23"/>
                  </a:cubicBezTo>
                  <a:cubicBezTo>
                    <a:pt x="336" y="25"/>
                    <a:pt x="334" y="26"/>
                    <a:pt x="333" y="28"/>
                  </a:cubicBezTo>
                  <a:cubicBezTo>
                    <a:pt x="332" y="29"/>
                    <a:pt x="332" y="30"/>
                    <a:pt x="331" y="31"/>
                  </a:cubicBezTo>
                  <a:cubicBezTo>
                    <a:pt x="330" y="32"/>
                    <a:pt x="328" y="33"/>
                    <a:pt x="327" y="34"/>
                  </a:cubicBezTo>
                  <a:cubicBezTo>
                    <a:pt x="326" y="35"/>
                    <a:pt x="324" y="36"/>
                    <a:pt x="323" y="38"/>
                  </a:cubicBezTo>
                  <a:cubicBezTo>
                    <a:pt x="321" y="40"/>
                    <a:pt x="318" y="42"/>
                    <a:pt x="315" y="44"/>
                  </a:cubicBezTo>
                  <a:cubicBezTo>
                    <a:pt x="312" y="46"/>
                    <a:pt x="310" y="47"/>
                    <a:pt x="307" y="50"/>
                  </a:cubicBezTo>
                  <a:cubicBezTo>
                    <a:pt x="303" y="54"/>
                    <a:pt x="302" y="61"/>
                    <a:pt x="301" y="67"/>
                  </a:cubicBezTo>
                  <a:cubicBezTo>
                    <a:pt x="301" y="68"/>
                    <a:pt x="301" y="68"/>
                    <a:pt x="301" y="68"/>
                  </a:cubicBezTo>
                  <a:cubicBezTo>
                    <a:pt x="300" y="71"/>
                    <a:pt x="300" y="72"/>
                    <a:pt x="298" y="74"/>
                  </a:cubicBezTo>
                  <a:cubicBezTo>
                    <a:pt x="297" y="74"/>
                    <a:pt x="297" y="74"/>
                    <a:pt x="297" y="74"/>
                  </a:cubicBezTo>
                  <a:cubicBezTo>
                    <a:pt x="294" y="76"/>
                    <a:pt x="291" y="78"/>
                    <a:pt x="289" y="81"/>
                  </a:cubicBezTo>
                  <a:cubicBezTo>
                    <a:pt x="287" y="82"/>
                    <a:pt x="285" y="83"/>
                    <a:pt x="283" y="83"/>
                  </a:cubicBezTo>
                  <a:cubicBezTo>
                    <a:pt x="283" y="83"/>
                    <a:pt x="282" y="83"/>
                    <a:pt x="281" y="83"/>
                  </a:cubicBezTo>
                  <a:cubicBezTo>
                    <a:pt x="278" y="84"/>
                    <a:pt x="275" y="84"/>
                    <a:pt x="273" y="87"/>
                  </a:cubicBezTo>
                  <a:cubicBezTo>
                    <a:pt x="272" y="90"/>
                    <a:pt x="272" y="92"/>
                    <a:pt x="271" y="94"/>
                  </a:cubicBezTo>
                  <a:cubicBezTo>
                    <a:pt x="270" y="97"/>
                    <a:pt x="270" y="99"/>
                    <a:pt x="269" y="101"/>
                  </a:cubicBezTo>
                  <a:cubicBezTo>
                    <a:pt x="268" y="103"/>
                    <a:pt x="267" y="105"/>
                    <a:pt x="267" y="107"/>
                  </a:cubicBezTo>
                  <a:cubicBezTo>
                    <a:pt x="266" y="109"/>
                    <a:pt x="265" y="112"/>
                    <a:pt x="263" y="114"/>
                  </a:cubicBezTo>
                  <a:cubicBezTo>
                    <a:pt x="263" y="115"/>
                    <a:pt x="263" y="115"/>
                    <a:pt x="263" y="115"/>
                  </a:cubicBezTo>
                  <a:cubicBezTo>
                    <a:pt x="261" y="117"/>
                    <a:pt x="260" y="119"/>
                    <a:pt x="258" y="120"/>
                  </a:cubicBezTo>
                  <a:cubicBezTo>
                    <a:pt x="257" y="120"/>
                    <a:pt x="257" y="120"/>
                    <a:pt x="256" y="120"/>
                  </a:cubicBezTo>
                  <a:cubicBezTo>
                    <a:pt x="255" y="120"/>
                    <a:pt x="254" y="120"/>
                    <a:pt x="253" y="120"/>
                  </a:cubicBezTo>
                  <a:cubicBezTo>
                    <a:pt x="252" y="119"/>
                    <a:pt x="252" y="119"/>
                    <a:pt x="251" y="119"/>
                  </a:cubicBezTo>
                  <a:cubicBezTo>
                    <a:pt x="251" y="119"/>
                    <a:pt x="250" y="119"/>
                    <a:pt x="250" y="119"/>
                  </a:cubicBezTo>
                  <a:cubicBezTo>
                    <a:pt x="248" y="119"/>
                    <a:pt x="247" y="119"/>
                    <a:pt x="245" y="120"/>
                  </a:cubicBezTo>
                  <a:cubicBezTo>
                    <a:pt x="244" y="121"/>
                    <a:pt x="243" y="122"/>
                    <a:pt x="241" y="122"/>
                  </a:cubicBezTo>
                  <a:cubicBezTo>
                    <a:pt x="241" y="122"/>
                    <a:pt x="241" y="122"/>
                    <a:pt x="240" y="122"/>
                  </a:cubicBezTo>
                  <a:cubicBezTo>
                    <a:pt x="239" y="121"/>
                    <a:pt x="239" y="121"/>
                    <a:pt x="239" y="121"/>
                  </a:cubicBezTo>
                  <a:cubicBezTo>
                    <a:pt x="235" y="121"/>
                    <a:pt x="231" y="121"/>
                    <a:pt x="229" y="118"/>
                  </a:cubicBezTo>
                  <a:cubicBezTo>
                    <a:pt x="227" y="116"/>
                    <a:pt x="226" y="115"/>
                    <a:pt x="224" y="115"/>
                  </a:cubicBezTo>
                  <a:cubicBezTo>
                    <a:pt x="223" y="115"/>
                    <a:pt x="223" y="115"/>
                    <a:pt x="223" y="115"/>
                  </a:cubicBezTo>
                  <a:cubicBezTo>
                    <a:pt x="223" y="115"/>
                    <a:pt x="222" y="115"/>
                    <a:pt x="222" y="115"/>
                  </a:cubicBezTo>
                  <a:cubicBezTo>
                    <a:pt x="221" y="115"/>
                    <a:pt x="221" y="115"/>
                    <a:pt x="221" y="115"/>
                  </a:cubicBezTo>
                  <a:cubicBezTo>
                    <a:pt x="221" y="115"/>
                    <a:pt x="220" y="115"/>
                    <a:pt x="219" y="115"/>
                  </a:cubicBezTo>
                  <a:cubicBezTo>
                    <a:pt x="218" y="115"/>
                    <a:pt x="218" y="115"/>
                    <a:pt x="217" y="115"/>
                  </a:cubicBezTo>
                  <a:cubicBezTo>
                    <a:pt x="213" y="114"/>
                    <a:pt x="209" y="110"/>
                    <a:pt x="207" y="107"/>
                  </a:cubicBezTo>
                  <a:cubicBezTo>
                    <a:pt x="204" y="104"/>
                    <a:pt x="201" y="103"/>
                    <a:pt x="198" y="103"/>
                  </a:cubicBezTo>
                  <a:cubicBezTo>
                    <a:pt x="197" y="103"/>
                    <a:pt x="195" y="103"/>
                    <a:pt x="194" y="103"/>
                  </a:cubicBezTo>
                  <a:cubicBezTo>
                    <a:pt x="191" y="104"/>
                    <a:pt x="187" y="106"/>
                    <a:pt x="186" y="114"/>
                  </a:cubicBezTo>
                  <a:cubicBezTo>
                    <a:pt x="186" y="115"/>
                    <a:pt x="186" y="115"/>
                    <a:pt x="186" y="115"/>
                  </a:cubicBezTo>
                  <a:cubicBezTo>
                    <a:pt x="185" y="118"/>
                    <a:pt x="185" y="121"/>
                    <a:pt x="183" y="124"/>
                  </a:cubicBezTo>
                  <a:cubicBezTo>
                    <a:pt x="183" y="126"/>
                    <a:pt x="182" y="127"/>
                    <a:pt x="181" y="128"/>
                  </a:cubicBezTo>
                  <a:cubicBezTo>
                    <a:pt x="180" y="129"/>
                    <a:pt x="179" y="131"/>
                    <a:pt x="178" y="132"/>
                  </a:cubicBezTo>
                  <a:cubicBezTo>
                    <a:pt x="177" y="134"/>
                    <a:pt x="176" y="136"/>
                    <a:pt x="174" y="137"/>
                  </a:cubicBezTo>
                  <a:cubicBezTo>
                    <a:pt x="173" y="138"/>
                    <a:pt x="172" y="139"/>
                    <a:pt x="170" y="139"/>
                  </a:cubicBezTo>
                  <a:cubicBezTo>
                    <a:pt x="169" y="140"/>
                    <a:pt x="169" y="140"/>
                    <a:pt x="168" y="140"/>
                  </a:cubicBezTo>
                  <a:cubicBezTo>
                    <a:pt x="166" y="141"/>
                    <a:pt x="166" y="143"/>
                    <a:pt x="165" y="145"/>
                  </a:cubicBezTo>
                  <a:cubicBezTo>
                    <a:pt x="165" y="145"/>
                    <a:pt x="165" y="146"/>
                    <a:pt x="165" y="146"/>
                  </a:cubicBezTo>
                  <a:cubicBezTo>
                    <a:pt x="164" y="148"/>
                    <a:pt x="162" y="149"/>
                    <a:pt x="161" y="150"/>
                  </a:cubicBezTo>
                  <a:cubicBezTo>
                    <a:pt x="160" y="150"/>
                    <a:pt x="159" y="150"/>
                    <a:pt x="159" y="150"/>
                  </a:cubicBezTo>
                  <a:cubicBezTo>
                    <a:pt x="158" y="150"/>
                    <a:pt x="158" y="150"/>
                    <a:pt x="158" y="150"/>
                  </a:cubicBezTo>
                  <a:cubicBezTo>
                    <a:pt x="156" y="150"/>
                    <a:pt x="155" y="150"/>
                    <a:pt x="154" y="152"/>
                  </a:cubicBezTo>
                  <a:cubicBezTo>
                    <a:pt x="154" y="152"/>
                    <a:pt x="154" y="153"/>
                    <a:pt x="154" y="154"/>
                  </a:cubicBezTo>
                  <a:cubicBezTo>
                    <a:pt x="153" y="155"/>
                    <a:pt x="153" y="156"/>
                    <a:pt x="151" y="156"/>
                  </a:cubicBezTo>
                  <a:cubicBezTo>
                    <a:pt x="151" y="156"/>
                    <a:pt x="151" y="156"/>
                    <a:pt x="150" y="156"/>
                  </a:cubicBezTo>
                  <a:cubicBezTo>
                    <a:pt x="150" y="156"/>
                    <a:pt x="149" y="156"/>
                    <a:pt x="148" y="156"/>
                  </a:cubicBezTo>
                  <a:cubicBezTo>
                    <a:pt x="147" y="155"/>
                    <a:pt x="146" y="155"/>
                    <a:pt x="145" y="155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4" y="155"/>
                    <a:pt x="143" y="155"/>
                    <a:pt x="142" y="155"/>
                  </a:cubicBezTo>
                  <a:cubicBezTo>
                    <a:pt x="141" y="156"/>
                    <a:pt x="141" y="156"/>
                    <a:pt x="140" y="156"/>
                  </a:cubicBezTo>
                  <a:cubicBezTo>
                    <a:pt x="139" y="156"/>
                    <a:pt x="139" y="156"/>
                    <a:pt x="138" y="156"/>
                  </a:cubicBezTo>
                  <a:cubicBezTo>
                    <a:pt x="137" y="155"/>
                    <a:pt x="136" y="155"/>
                    <a:pt x="135" y="155"/>
                  </a:cubicBezTo>
                  <a:cubicBezTo>
                    <a:pt x="134" y="154"/>
                    <a:pt x="133" y="154"/>
                    <a:pt x="131" y="154"/>
                  </a:cubicBezTo>
                  <a:cubicBezTo>
                    <a:pt x="130" y="154"/>
                    <a:pt x="129" y="154"/>
                    <a:pt x="127" y="155"/>
                  </a:cubicBezTo>
                  <a:cubicBezTo>
                    <a:pt x="127" y="155"/>
                    <a:pt x="126" y="156"/>
                    <a:pt x="126" y="156"/>
                  </a:cubicBezTo>
                  <a:cubicBezTo>
                    <a:pt x="125" y="156"/>
                    <a:pt x="125" y="155"/>
                    <a:pt x="125" y="155"/>
                  </a:cubicBezTo>
                  <a:cubicBezTo>
                    <a:pt x="125" y="155"/>
                    <a:pt x="124" y="155"/>
                    <a:pt x="124" y="155"/>
                  </a:cubicBezTo>
                  <a:cubicBezTo>
                    <a:pt x="124" y="155"/>
                    <a:pt x="124" y="155"/>
                    <a:pt x="124" y="156"/>
                  </a:cubicBezTo>
                  <a:cubicBezTo>
                    <a:pt x="124" y="154"/>
                    <a:pt x="124" y="153"/>
                    <a:pt x="124" y="152"/>
                  </a:cubicBezTo>
                  <a:cubicBezTo>
                    <a:pt x="124" y="147"/>
                    <a:pt x="123" y="142"/>
                    <a:pt x="127" y="138"/>
                  </a:cubicBezTo>
                  <a:cubicBezTo>
                    <a:pt x="131" y="134"/>
                    <a:pt x="131" y="130"/>
                    <a:pt x="129" y="124"/>
                  </a:cubicBezTo>
                  <a:cubicBezTo>
                    <a:pt x="128" y="120"/>
                    <a:pt x="128" y="120"/>
                    <a:pt x="128" y="120"/>
                  </a:cubicBezTo>
                  <a:cubicBezTo>
                    <a:pt x="127" y="117"/>
                    <a:pt x="126" y="113"/>
                    <a:pt x="124" y="110"/>
                  </a:cubicBezTo>
                  <a:cubicBezTo>
                    <a:pt x="121" y="101"/>
                    <a:pt x="117" y="92"/>
                    <a:pt x="109" y="89"/>
                  </a:cubicBezTo>
                  <a:cubicBezTo>
                    <a:pt x="106" y="88"/>
                    <a:pt x="106" y="88"/>
                    <a:pt x="106" y="88"/>
                  </a:cubicBezTo>
                  <a:cubicBezTo>
                    <a:pt x="104" y="207"/>
                    <a:pt x="104" y="207"/>
                    <a:pt x="104" y="207"/>
                  </a:cubicBezTo>
                  <a:cubicBezTo>
                    <a:pt x="102" y="207"/>
                    <a:pt x="101" y="208"/>
                    <a:pt x="99" y="208"/>
                  </a:cubicBezTo>
                  <a:cubicBezTo>
                    <a:pt x="96" y="209"/>
                    <a:pt x="94" y="210"/>
                    <a:pt x="92" y="211"/>
                  </a:cubicBezTo>
                  <a:cubicBezTo>
                    <a:pt x="90" y="211"/>
                    <a:pt x="90" y="212"/>
                    <a:pt x="90" y="213"/>
                  </a:cubicBezTo>
                  <a:cubicBezTo>
                    <a:pt x="90" y="214"/>
                    <a:pt x="89" y="215"/>
                    <a:pt x="89" y="215"/>
                  </a:cubicBezTo>
                  <a:cubicBezTo>
                    <a:pt x="88" y="216"/>
                    <a:pt x="87" y="217"/>
                    <a:pt x="85" y="217"/>
                  </a:cubicBezTo>
                  <a:cubicBezTo>
                    <a:pt x="85" y="217"/>
                    <a:pt x="85" y="217"/>
                    <a:pt x="84" y="217"/>
                  </a:cubicBezTo>
                  <a:cubicBezTo>
                    <a:pt x="83" y="218"/>
                    <a:pt x="83" y="218"/>
                    <a:pt x="83" y="218"/>
                  </a:cubicBezTo>
                  <a:cubicBezTo>
                    <a:pt x="83" y="219"/>
                    <a:pt x="83" y="219"/>
                    <a:pt x="83" y="219"/>
                  </a:cubicBezTo>
                  <a:cubicBezTo>
                    <a:pt x="83" y="221"/>
                    <a:pt x="83" y="223"/>
                    <a:pt x="81" y="224"/>
                  </a:cubicBezTo>
                  <a:cubicBezTo>
                    <a:pt x="81" y="225"/>
                    <a:pt x="80" y="225"/>
                    <a:pt x="80" y="225"/>
                  </a:cubicBezTo>
                  <a:cubicBezTo>
                    <a:pt x="79" y="225"/>
                    <a:pt x="79" y="225"/>
                    <a:pt x="78" y="225"/>
                  </a:cubicBezTo>
                  <a:cubicBezTo>
                    <a:pt x="77" y="224"/>
                    <a:pt x="76" y="224"/>
                    <a:pt x="75" y="223"/>
                  </a:cubicBezTo>
                  <a:cubicBezTo>
                    <a:pt x="74" y="222"/>
                    <a:pt x="73" y="222"/>
                    <a:pt x="71" y="222"/>
                  </a:cubicBezTo>
                  <a:cubicBezTo>
                    <a:pt x="68" y="222"/>
                    <a:pt x="68" y="222"/>
                    <a:pt x="68" y="222"/>
                  </a:cubicBezTo>
                  <a:cubicBezTo>
                    <a:pt x="65" y="222"/>
                    <a:pt x="62" y="222"/>
                    <a:pt x="59" y="222"/>
                  </a:cubicBezTo>
                  <a:cubicBezTo>
                    <a:pt x="58" y="222"/>
                    <a:pt x="57" y="223"/>
                    <a:pt x="56" y="223"/>
                  </a:cubicBezTo>
                  <a:cubicBezTo>
                    <a:pt x="54" y="223"/>
                    <a:pt x="53" y="224"/>
                    <a:pt x="51" y="224"/>
                  </a:cubicBezTo>
                  <a:cubicBezTo>
                    <a:pt x="51" y="224"/>
                    <a:pt x="50" y="224"/>
                    <a:pt x="50" y="224"/>
                  </a:cubicBezTo>
                  <a:cubicBezTo>
                    <a:pt x="49" y="223"/>
                    <a:pt x="49" y="223"/>
                    <a:pt x="49" y="223"/>
                  </a:cubicBezTo>
                  <a:cubicBezTo>
                    <a:pt x="47" y="218"/>
                    <a:pt x="47" y="218"/>
                    <a:pt x="41" y="217"/>
                  </a:cubicBezTo>
                  <a:cubicBezTo>
                    <a:pt x="39" y="217"/>
                    <a:pt x="39" y="217"/>
                    <a:pt x="39" y="217"/>
                  </a:cubicBezTo>
                  <a:cubicBezTo>
                    <a:pt x="36" y="217"/>
                    <a:pt x="34" y="217"/>
                    <a:pt x="32" y="213"/>
                  </a:cubicBezTo>
                  <a:cubicBezTo>
                    <a:pt x="31" y="211"/>
                    <a:pt x="31" y="211"/>
                    <a:pt x="31" y="210"/>
                  </a:cubicBezTo>
                  <a:cubicBezTo>
                    <a:pt x="32" y="210"/>
                    <a:pt x="32" y="209"/>
                    <a:pt x="32" y="208"/>
                  </a:cubicBezTo>
                  <a:cubicBezTo>
                    <a:pt x="32" y="208"/>
                    <a:pt x="32" y="207"/>
                    <a:pt x="32" y="206"/>
                  </a:cubicBezTo>
                  <a:cubicBezTo>
                    <a:pt x="33" y="205"/>
                    <a:pt x="33" y="204"/>
                    <a:pt x="32" y="203"/>
                  </a:cubicBezTo>
                  <a:cubicBezTo>
                    <a:pt x="31" y="201"/>
                    <a:pt x="30" y="200"/>
                    <a:pt x="29" y="199"/>
                  </a:cubicBezTo>
                  <a:cubicBezTo>
                    <a:pt x="27" y="198"/>
                    <a:pt x="26" y="197"/>
                    <a:pt x="25" y="196"/>
                  </a:cubicBezTo>
                  <a:cubicBezTo>
                    <a:pt x="25" y="195"/>
                    <a:pt x="25" y="195"/>
                    <a:pt x="25" y="195"/>
                  </a:cubicBezTo>
                  <a:cubicBezTo>
                    <a:pt x="24" y="195"/>
                    <a:pt x="24" y="195"/>
                    <a:pt x="24" y="195"/>
                  </a:cubicBezTo>
                  <a:cubicBezTo>
                    <a:pt x="23" y="195"/>
                    <a:pt x="23" y="195"/>
                    <a:pt x="23" y="195"/>
                  </a:cubicBezTo>
                  <a:cubicBezTo>
                    <a:pt x="17" y="195"/>
                    <a:pt x="15" y="200"/>
                    <a:pt x="13" y="205"/>
                  </a:cubicBezTo>
                  <a:cubicBezTo>
                    <a:pt x="11" y="210"/>
                    <a:pt x="11" y="210"/>
                    <a:pt x="7" y="211"/>
                  </a:cubicBezTo>
                  <a:cubicBezTo>
                    <a:pt x="6" y="211"/>
                    <a:pt x="5" y="211"/>
                    <a:pt x="5" y="211"/>
                  </a:cubicBezTo>
                  <a:cubicBezTo>
                    <a:pt x="0" y="212"/>
                    <a:pt x="0" y="212"/>
                    <a:pt x="0" y="212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4" y="216"/>
                    <a:pt x="6" y="217"/>
                    <a:pt x="7" y="220"/>
                  </a:cubicBezTo>
                  <a:cubicBezTo>
                    <a:pt x="7" y="220"/>
                    <a:pt x="7" y="221"/>
                    <a:pt x="8" y="222"/>
                  </a:cubicBezTo>
                  <a:cubicBezTo>
                    <a:pt x="9" y="224"/>
                    <a:pt x="10" y="226"/>
                    <a:pt x="11" y="228"/>
                  </a:cubicBezTo>
                  <a:cubicBezTo>
                    <a:pt x="12" y="230"/>
                    <a:pt x="13" y="233"/>
                    <a:pt x="14" y="236"/>
                  </a:cubicBezTo>
                  <a:cubicBezTo>
                    <a:pt x="15" y="238"/>
                    <a:pt x="16" y="241"/>
                    <a:pt x="17" y="243"/>
                  </a:cubicBezTo>
                  <a:cubicBezTo>
                    <a:pt x="18" y="245"/>
                    <a:pt x="18" y="247"/>
                    <a:pt x="19" y="249"/>
                  </a:cubicBezTo>
                  <a:cubicBezTo>
                    <a:pt x="19" y="250"/>
                    <a:pt x="19" y="251"/>
                    <a:pt x="20" y="252"/>
                  </a:cubicBezTo>
                  <a:cubicBezTo>
                    <a:pt x="20" y="254"/>
                    <a:pt x="21" y="256"/>
                    <a:pt x="21" y="258"/>
                  </a:cubicBezTo>
                  <a:cubicBezTo>
                    <a:pt x="22" y="260"/>
                    <a:pt x="22" y="263"/>
                    <a:pt x="23" y="265"/>
                  </a:cubicBezTo>
                  <a:cubicBezTo>
                    <a:pt x="24" y="269"/>
                    <a:pt x="26" y="272"/>
                    <a:pt x="28" y="275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0" y="279"/>
                    <a:pt x="31" y="282"/>
                    <a:pt x="32" y="284"/>
                  </a:cubicBezTo>
                  <a:cubicBezTo>
                    <a:pt x="33" y="287"/>
                    <a:pt x="34" y="289"/>
                    <a:pt x="35" y="291"/>
                  </a:cubicBezTo>
                  <a:cubicBezTo>
                    <a:pt x="36" y="293"/>
                    <a:pt x="36" y="294"/>
                    <a:pt x="37" y="295"/>
                  </a:cubicBezTo>
                  <a:cubicBezTo>
                    <a:pt x="38" y="297"/>
                    <a:pt x="39" y="299"/>
                    <a:pt x="40" y="302"/>
                  </a:cubicBezTo>
                  <a:cubicBezTo>
                    <a:pt x="41" y="303"/>
                    <a:pt x="42" y="304"/>
                    <a:pt x="43" y="306"/>
                  </a:cubicBezTo>
                  <a:cubicBezTo>
                    <a:pt x="44" y="307"/>
                    <a:pt x="45" y="307"/>
                    <a:pt x="45" y="308"/>
                  </a:cubicBezTo>
                  <a:cubicBezTo>
                    <a:pt x="46" y="309"/>
                    <a:pt x="46" y="310"/>
                    <a:pt x="47" y="311"/>
                  </a:cubicBezTo>
                  <a:cubicBezTo>
                    <a:pt x="47" y="312"/>
                    <a:pt x="48" y="313"/>
                    <a:pt x="48" y="314"/>
                  </a:cubicBezTo>
                  <a:cubicBezTo>
                    <a:pt x="49" y="315"/>
                    <a:pt x="49" y="315"/>
                    <a:pt x="49" y="315"/>
                  </a:cubicBezTo>
                  <a:cubicBezTo>
                    <a:pt x="49" y="315"/>
                    <a:pt x="50" y="316"/>
                    <a:pt x="50" y="317"/>
                  </a:cubicBezTo>
                  <a:cubicBezTo>
                    <a:pt x="52" y="321"/>
                    <a:pt x="52" y="327"/>
                    <a:pt x="52" y="332"/>
                  </a:cubicBezTo>
                  <a:cubicBezTo>
                    <a:pt x="52" y="333"/>
                    <a:pt x="52" y="334"/>
                    <a:pt x="52" y="336"/>
                  </a:cubicBezTo>
                  <a:cubicBezTo>
                    <a:pt x="52" y="338"/>
                    <a:pt x="53" y="340"/>
                    <a:pt x="52" y="342"/>
                  </a:cubicBezTo>
                  <a:cubicBezTo>
                    <a:pt x="52" y="345"/>
                    <a:pt x="50" y="348"/>
                    <a:pt x="47" y="349"/>
                  </a:cubicBezTo>
                  <a:cubicBezTo>
                    <a:pt x="47" y="349"/>
                    <a:pt x="47" y="348"/>
                    <a:pt x="46" y="348"/>
                  </a:cubicBezTo>
                  <a:cubicBezTo>
                    <a:pt x="45" y="348"/>
                    <a:pt x="44" y="347"/>
                    <a:pt x="43" y="347"/>
                  </a:cubicBezTo>
                  <a:cubicBezTo>
                    <a:pt x="42" y="347"/>
                    <a:pt x="41" y="348"/>
                    <a:pt x="41" y="348"/>
                  </a:cubicBezTo>
                  <a:cubicBezTo>
                    <a:pt x="39" y="351"/>
                    <a:pt x="40" y="354"/>
                    <a:pt x="40" y="356"/>
                  </a:cubicBezTo>
                  <a:cubicBezTo>
                    <a:pt x="41" y="356"/>
                    <a:pt x="41" y="356"/>
                    <a:pt x="41" y="356"/>
                  </a:cubicBezTo>
                  <a:cubicBezTo>
                    <a:pt x="41" y="359"/>
                    <a:pt x="43" y="361"/>
                    <a:pt x="44" y="363"/>
                  </a:cubicBezTo>
                  <a:cubicBezTo>
                    <a:pt x="45" y="365"/>
                    <a:pt x="46" y="366"/>
                    <a:pt x="47" y="367"/>
                  </a:cubicBezTo>
                  <a:cubicBezTo>
                    <a:pt x="48" y="369"/>
                    <a:pt x="49" y="371"/>
                    <a:pt x="50" y="373"/>
                  </a:cubicBezTo>
                  <a:cubicBezTo>
                    <a:pt x="55" y="379"/>
                    <a:pt x="57" y="383"/>
                    <a:pt x="54" y="388"/>
                  </a:cubicBezTo>
                  <a:cubicBezTo>
                    <a:pt x="54" y="388"/>
                    <a:pt x="54" y="388"/>
                    <a:pt x="53" y="389"/>
                  </a:cubicBezTo>
                  <a:cubicBezTo>
                    <a:pt x="52" y="390"/>
                    <a:pt x="52" y="391"/>
                    <a:pt x="51" y="392"/>
                  </a:cubicBezTo>
                  <a:cubicBezTo>
                    <a:pt x="51" y="394"/>
                    <a:pt x="51" y="396"/>
                    <a:pt x="52" y="398"/>
                  </a:cubicBezTo>
                  <a:cubicBezTo>
                    <a:pt x="52" y="399"/>
                    <a:pt x="52" y="399"/>
                    <a:pt x="52" y="399"/>
                  </a:cubicBezTo>
                  <a:cubicBezTo>
                    <a:pt x="52" y="399"/>
                    <a:pt x="52" y="399"/>
                    <a:pt x="52" y="399"/>
                  </a:cubicBezTo>
                  <a:cubicBezTo>
                    <a:pt x="53" y="401"/>
                    <a:pt x="54" y="404"/>
                    <a:pt x="56" y="404"/>
                  </a:cubicBezTo>
                  <a:cubicBezTo>
                    <a:pt x="57" y="404"/>
                    <a:pt x="57" y="404"/>
                    <a:pt x="57" y="404"/>
                  </a:cubicBezTo>
                  <a:cubicBezTo>
                    <a:pt x="60" y="402"/>
                    <a:pt x="59" y="399"/>
                    <a:pt x="59" y="398"/>
                  </a:cubicBezTo>
                  <a:cubicBezTo>
                    <a:pt x="59" y="398"/>
                    <a:pt x="59" y="397"/>
                    <a:pt x="59" y="397"/>
                  </a:cubicBezTo>
                  <a:cubicBezTo>
                    <a:pt x="59" y="397"/>
                    <a:pt x="59" y="396"/>
                    <a:pt x="59" y="396"/>
                  </a:cubicBezTo>
                  <a:cubicBezTo>
                    <a:pt x="60" y="395"/>
                    <a:pt x="61" y="395"/>
                    <a:pt x="62" y="395"/>
                  </a:cubicBezTo>
                  <a:cubicBezTo>
                    <a:pt x="64" y="395"/>
                    <a:pt x="65" y="396"/>
                    <a:pt x="65" y="396"/>
                  </a:cubicBezTo>
                  <a:cubicBezTo>
                    <a:pt x="65" y="399"/>
                    <a:pt x="65" y="402"/>
                    <a:pt x="68" y="404"/>
                  </a:cubicBezTo>
                  <a:cubicBezTo>
                    <a:pt x="69" y="405"/>
                    <a:pt x="69" y="405"/>
                    <a:pt x="69" y="405"/>
                  </a:cubicBezTo>
                  <a:cubicBezTo>
                    <a:pt x="70" y="404"/>
                    <a:pt x="70" y="404"/>
                    <a:pt x="70" y="404"/>
                  </a:cubicBezTo>
                  <a:cubicBezTo>
                    <a:pt x="70" y="404"/>
                    <a:pt x="71" y="404"/>
                    <a:pt x="71" y="404"/>
                  </a:cubicBezTo>
                  <a:cubicBezTo>
                    <a:pt x="72" y="404"/>
                    <a:pt x="72" y="404"/>
                    <a:pt x="72" y="404"/>
                  </a:cubicBezTo>
                  <a:cubicBezTo>
                    <a:pt x="72" y="404"/>
                    <a:pt x="73" y="405"/>
                    <a:pt x="73" y="406"/>
                  </a:cubicBezTo>
                  <a:cubicBezTo>
                    <a:pt x="74" y="406"/>
                    <a:pt x="74" y="406"/>
                    <a:pt x="75" y="406"/>
                  </a:cubicBezTo>
                  <a:cubicBezTo>
                    <a:pt x="75" y="406"/>
                    <a:pt x="76" y="406"/>
                    <a:pt x="76" y="406"/>
                  </a:cubicBezTo>
                  <a:cubicBezTo>
                    <a:pt x="76" y="406"/>
                    <a:pt x="76" y="406"/>
                    <a:pt x="76" y="406"/>
                  </a:cubicBezTo>
                  <a:cubicBezTo>
                    <a:pt x="77" y="406"/>
                    <a:pt x="78" y="406"/>
                    <a:pt x="78" y="407"/>
                  </a:cubicBezTo>
                  <a:cubicBezTo>
                    <a:pt x="78" y="407"/>
                    <a:pt x="78" y="408"/>
                    <a:pt x="78" y="408"/>
                  </a:cubicBezTo>
                  <a:cubicBezTo>
                    <a:pt x="78" y="409"/>
                    <a:pt x="78" y="410"/>
                    <a:pt x="79" y="411"/>
                  </a:cubicBezTo>
                  <a:cubicBezTo>
                    <a:pt x="80" y="412"/>
                    <a:pt x="81" y="412"/>
                    <a:pt x="81" y="413"/>
                  </a:cubicBezTo>
                  <a:cubicBezTo>
                    <a:pt x="82" y="413"/>
                    <a:pt x="82" y="413"/>
                    <a:pt x="82" y="413"/>
                  </a:cubicBezTo>
                  <a:cubicBezTo>
                    <a:pt x="82" y="413"/>
                    <a:pt x="83" y="414"/>
                    <a:pt x="83" y="414"/>
                  </a:cubicBezTo>
                  <a:cubicBezTo>
                    <a:pt x="84" y="415"/>
                    <a:pt x="84" y="415"/>
                    <a:pt x="85" y="416"/>
                  </a:cubicBezTo>
                  <a:cubicBezTo>
                    <a:pt x="87" y="417"/>
                    <a:pt x="89" y="417"/>
                    <a:pt x="90" y="418"/>
                  </a:cubicBezTo>
                  <a:cubicBezTo>
                    <a:pt x="91" y="418"/>
                    <a:pt x="92" y="418"/>
                    <a:pt x="92" y="419"/>
                  </a:cubicBezTo>
                  <a:cubicBezTo>
                    <a:pt x="94" y="419"/>
                    <a:pt x="96" y="420"/>
                    <a:pt x="99" y="420"/>
                  </a:cubicBezTo>
                  <a:cubicBezTo>
                    <a:pt x="100" y="420"/>
                    <a:pt x="100" y="420"/>
                    <a:pt x="101" y="419"/>
                  </a:cubicBezTo>
                  <a:cubicBezTo>
                    <a:pt x="103" y="419"/>
                    <a:pt x="105" y="416"/>
                    <a:pt x="107" y="414"/>
                  </a:cubicBezTo>
                  <a:cubicBezTo>
                    <a:pt x="108" y="413"/>
                    <a:pt x="108" y="412"/>
                    <a:pt x="108" y="412"/>
                  </a:cubicBezTo>
                  <a:cubicBezTo>
                    <a:pt x="109" y="411"/>
                    <a:pt x="110" y="409"/>
                    <a:pt x="111" y="409"/>
                  </a:cubicBezTo>
                  <a:cubicBezTo>
                    <a:pt x="113" y="408"/>
                    <a:pt x="114" y="408"/>
                    <a:pt x="116" y="408"/>
                  </a:cubicBezTo>
                  <a:cubicBezTo>
                    <a:pt x="117" y="408"/>
                    <a:pt x="119" y="408"/>
                    <a:pt x="121" y="407"/>
                  </a:cubicBezTo>
                  <a:cubicBezTo>
                    <a:pt x="122" y="407"/>
                    <a:pt x="122" y="406"/>
                    <a:pt x="123" y="406"/>
                  </a:cubicBezTo>
                  <a:cubicBezTo>
                    <a:pt x="124" y="405"/>
                    <a:pt x="124" y="405"/>
                    <a:pt x="125" y="405"/>
                  </a:cubicBezTo>
                  <a:cubicBezTo>
                    <a:pt x="125" y="405"/>
                    <a:pt x="126" y="405"/>
                    <a:pt x="126" y="405"/>
                  </a:cubicBezTo>
                  <a:cubicBezTo>
                    <a:pt x="127" y="405"/>
                    <a:pt x="129" y="405"/>
                    <a:pt x="130" y="405"/>
                  </a:cubicBezTo>
                  <a:cubicBezTo>
                    <a:pt x="130" y="405"/>
                    <a:pt x="131" y="406"/>
                    <a:pt x="131" y="406"/>
                  </a:cubicBezTo>
                  <a:cubicBezTo>
                    <a:pt x="132" y="406"/>
                    <a:pt x="134" y="407"/>
                    <a:pt x="135" y="407"/>
                  </a:cubicBezTo>
                  <a:cubicBezTo>
                    <a:pt x="135" y="407"/>
                    <a:pt x="135" y="407"/>
                    <a:pt x="135" y="407"/>
                  </a:cubicBezTo>
                  <a:cubicBezTo>
                    <a:pt x="137" y="407"/>
                    <a:pt x="138" y="406"/>
                    <a:pt x="139" y="406"/>
                  </a:cubicBezTo>
                  <a:cubicBezTo>
                    <a:pt x="139" y="405"/>
                    <a:pt x="140" y="405"/>
                    <a:pt x="140" y="405"/>
                  </a:cubicBezTo>
                  <a:cubicBezTo>
                    <a:pt x="141" y="405"/>
                    <a:pt x="141" y="405"/>
                    <a:pt x="142" y="405"/>
                  </a:cubicBezTo>
                  <a:cubicBezTo>
                    <a:pt x="143" y="405"/>
                    <a:pt x="144" y="405"/>
                    <a:pt x="145" y="405"/>
                  </a:cubicBezTo>
                  <a:cubicBezTo>
                    <a:pt x="146" y="405"/>
                    <a:pt x="146" y="405"/>
                    <a:pt x="146" y="405"/>
                  </a:cubicBezTo>
                  <a:cubicBezTo>
                    <a:pt x="147" y="406"/>
                    <a:pt x="148" y="406"/>
                    <a:pt x="149" y="406"/>
                  </a:cubicBezTo>
                  <a:cubicBezTo>
                    <a:pt x="150" y="406"/>
                    <a:pt x="151" y="405"/>
                    <a:pt x="152" y="404"/>
                  </a:cubicBezTo>
                  <a:cubicBezTo>
                    <a:pt x="153" y="404"/>
                    <a:pt x="153" y="403"/>
                    <a:pt x="153" y="402"/>
                  </a:cubicBezTo>
                  <a:cubicBezTo>
                    <a:pt x="153" y="402"/>
                    <a:pt x="153" y="402"/>
                    <a:pt x="153" y="402"/>
                  </a:cubicBezTo>
                  <a:cubicBezTo>
                    <a:pt x="154" y="401"/>
                    <a:pt x="154" y="401"/>
                    <a:pt x="155" y="401"/>
                  </a:cubicBezTo>
                  <a:cubicBezTo>
                    <a:pt x="155" y="400"/>
                    <a:pt x="155" y="400"/>
                    <a:pt x="155" y="400"/>
                  </a:cubicBezTo>
                  <a:cubicBezTo>
                    <a:pt x="157" y="399"/>
                    <a:pt x="158" y="398"/>
                    <a:pt x="158" y="397"/>
                  </a:cubicBezTo>
                  <a:cubicBezTo>
                    <a:pt x="158" y="397"/>
                    <a:pt x="159" y="397"/>
                    <a:pt x="159" y="396"/>
                  </a:cubicBezTo>
                  <a:cubicBezTo>
                    <a:pt x="159" y="396"/>
                    <a:pt x="161" y="396"/>
                    <a:pt x="162" y="396"/>
                  </a:cubicBezTo>
                  <a:cubicBezTo>
                    <a:pt x="163" y="395"/>
                    <a:pt x="163" y="395"/>
                    <a:pt x="164" y="395"/>
                  </a:cubicBezTo>
                  <a:cubicBezTo>
                    <a:pt x="166" y="394"/>
                    <a:pt x="168" y="393"/>
                    <a:pt x="171" y="393"/>
                  </a:cubicBezTo>
                  <a:cubicBezTo>
                    <a:pt x="171" y="393"/>
                    <a:pt x="171" y="393"/>
                    <a:pt x="172" y="393"/>
                  </a:cubicBezTo>
                  <a:cubicBezTo>
                    <a:pt x="174" y="393"/>
                    <a:pt x="177" y="394"/>
                    <a:pt x="179" y="394"/>
                  </a:cubicBezTo>
                  <a:cubicBezTo>
                    <a:pt x="180" y="394"/>
                    <a:pt x="181" y="394"/>
                    <a:pt x="182" y="395"/>
                  </a:cubicBezTo>
                  <a:cubicBezTo>
                    <a:pt x="182" y="395"/>
                    <a:pt x="182" y="395"/>
                    <a:pt x="182" y="395"/>
                  </a:cubicBezTo>
                  <a:cubicBezTo>
                    <a:pt x="184" y="395"/>
                    <a:pt x="186" y="395"/>
                    <a:pt x="188" y="396"/>
                  </a:cubicBezTo>
                  <a:cubicBezTo>
                    <a:pt x="189" y="396"/>
                    <a:pt x="190" y="396"/>
                    <a:pt x="190" y="396"/>
                  </a:cubicBezTo>
                  <a:cubicBezTo>
                    <a:pt x="193" y="396"/>
                    <a:pt x="194" y="395"/>
                    <a:pt x="195" y="393"/>
                  </a:cubicBezTo>
                  <a:cubicBezTo>
                    <a:pt x="195" y="392"/>
                    <a:pt x="196" y="391"/>
                    <a:pt x="199" y="391"/>
                  </a:cubicBezTo>
                  <a:cubicBezTo>
                    <a:pt x="202" y="391"/>
                    <a:pt x="207" y="393"/>
                    <a:pt x="210" y="394"/>
                  </a:cubicBezTo>
                  <a:cubicBezTo>
                    <a:pt x="212" y="395"/>
                    <a:pt x="213" y="396"/>
                    <a:pt x="214" y="396"/>
                  </a:cubicBezTo>
                  <a:cubicBezTo>
                    <a:pt x="215" y="396"/>
                    <a:pt x="216" y="396"/>
                    <a:pt x="217" y="396"/>
                  </a:cubicBezTo>
                  <a:cubicBezTo>
                    <a:pt x="218" y="397"/>
                    <a:pt x="219" y="397"/>
                    <a:pt x="220" y="397"/>
                  </a:cubicBezTo>
                  <a:cubicBezTo>
                    <a:pt x="220" y="397"/>
                    <a:pt x="220" y="398"/>
                    <a:pt x="221" y="398"/>
                  </a:cubicBezTo>
                  <a:cubicBezTo>
                    <a:pt x="222" y="399"/>
                    <a:pt x="223" y="399"/>
                    <a:pt x="225" y="399"/>
                  </a:cubicBezTo>
                  <a:cubicBezTo>
                    <a:pt x="226" y="399"/>
                    <a:pt x="226" y="399"/>
                    <a:pt x="226" y="399"/>
                  </a:cubicBezTo>
                  <a:cubicBezTo>
                    <a:pt x="228" y="399"/>
                    <a:pt x="230" y="399"/>
                    <a:pt x="232" y="398"/>
                  </a:cubicBezTo>
                  <a:cubicBezTo>
                    <a:pt x="234" y="397"/>
                    <a:pt x="235" y="396"/>
                    <a:pt x="236" y="394"/>
                  </a:cubicBezTo>
                  <a:cubicBezTo>
                    <a:pt x="236" y="394"/>
                    <a:pt x="236" y="393"/>
                    <a:pt x="236" y="393"/>
                  </a:cubicBezTo>
                  <a:cubicBezTo>
                    <a:pt x="237" y="392"/>
                    <a:pt x="239" y="391"/>
                    <a:pt x="240" y="391"/>
                  </a:cubicBezTo>
                  <a:cubicBezTo>
                    <a:pt x="241" y="391"/>
                    <a:pt x="243" y="392"/>
                    <a:pt x="244" y="392"/>
                  </a:cubicBezTo>
                  <a:cubicBezTo>
                    <a:pt x="246" y="393"/>
                    <a:pt x="248" y="393"/>
                    <a:pt x="250" y="393"/>
                  </a:cubicBezTo>
                  <a:cubicBezTo>
                    <a:pt x="251" y="393"/>
                    <a:pt x="253" y="393"/>
                    <a:pt x="254" y="393"/>
                  </a:cubicBezTo>
                  <a:cubicBezTo>
                    <a:pt x="255" y="392"/>
                    <a:pt x="256" y="391"/>
                    <a:pt x="257" y="390"/>
                  </a:cubicBezTo>
                  <a:cubicBezTo>
                    <a:pt x="257" y="389"/>
                    <a:pt x="257" y="389"/>
                    <a:pt x="257" y="389"/>
                  </a:cubicBezTo>
                  <a:cubicBezTo>
                    <a:pt x="258" y="388"/>
                    <a:pt x="259" y="387"/>
                    <a:pt x="260" y="386"/>
                  </a:cubicBezTo>
                  <a:cubicBezTo>
                    <a:pt x="260" y="386"/>
                    <a:pt x="261" y="385"/>
                    <a:pt x="261" y="385"/>
                  </a:cubicBezTo>
                  <a:cubicBezTo>
                    <a:pt x="263" y="384"/>
                    <a:pt x="264" y="383"/>
                    <a:pt x="266" y="383"/>
                  </a:cubicBezTo>
                  <a:cubicBezTo>
                    <a:pt x="266" y="383"/>
                    <a:pt x="266" y="383"/>
                    <a:pt x="266" y="383"/>
                  </a:cubicBezTo>
                  <a:cubicBezTo>
                    <a:pt x="268" y="383"/>
                    <a:pt x="269" y="384"/>
                    <a:pt x="270" y="384"/>
                  </a:cubicBezTo>
                  <a:cubicBezTo>
                    <a:pt x="272" y="385"/>
                    <a:pt x="274" y="385"/>
                    <a:pt x="276" y="385"/>
                  </a:cubicBezTo>
                  <a:cubicBezTo>
                    <a:pt x="278" y="385"/>
                    <a:pt x="280" y="385"/>
                    <a:pt x="281" y="384"/>
                  </a:cubicBezTo>
                  <a:cubicBezTo>
                    <a:pt x="283" y="384"/>
                    <a:pt x="284" y="383"/>
                    <a:pt x="286" y="382"/>
                  </a:cubicBezTo>
                  <a:cubicBezTo>
                    <a:pt x="289" y="381"/>
                    <a:pt x="293" y="379"/>
                    <a:pt x="296" y="377"/>
                  </a:cubicBezTo>
                  <a:cubicBezTo>
                    <a:pt x="298" y="375"/>
                    <a:pt x="298" y="375"/>
                    <a:pt x="298" y="375"/>
                  </a:cubicBezTo>
                  <a:cubicBezTo>
                    <a:pt x="300" y="374"/>
                    <a:pt x="302" y="372"/>
                    <a:pt x="305" y="371"/>
                  </a:cubicBezTo>
                  <a:cubicBezTo>
                    <a:pt x="306" y="369"/>
                    <a:pt x="308" y="368"/>
                    <a:pt x="310" y="367"/>
                  </a:cubicBezTo>
                  <a:cubicBezTo>
                    <a:pt x="312" y="366"/>
                    <a:pt x="314" y="366"/>
                    <a:pt x="315" y="364"/>
                  </a:cubicBezTo>
                  <a:cubicBezTo>
                    <a:pt x="318" y="362"/>
                    <a:pt x="321" y="360"/>
                    <a:pt x="323" y="358"/>
                  </a:cubicBezTo>
                  <a:cubicBezTo>
                    <a:pt x="325" y="357"/>
                    <a:pt x="328" y="354"/>
                    <a:pt x="330" y="352"/>
                  </a:cubicBezTo>
                  <a:cubicBezTo>
                    <a:pt x="331" y="351"/>
                    <a:pt x="332" y="350"/>
                    <a:pt x="333" y="349"/>
                  </a:cubicBezTo>
                  <a:cubicBezTo>
                    <a:pt x="334" y="348"/>
                    <a:pt x="335" y="347"/>
                    <a:pt x="336" y="346"/>
                  </a:cubicBezTo>
                  <a:cubicBezTo>
                    <a:pt x="337" y="346"/>
                    <a:pt x="338" y="345"/>
                    <a:pt x="338" y="345"/>
                  </a:cubicBezTo>
                  <a:cubicBezTo>
                    <a:pt x="339" y="344"/>
                    <a:pt x="340" y="344"/>
                    <a:pt x="340" y="343"/>
                  </a:cubicBezTo>
                  <a:cubicBezTo>
                    <a:pt x="342" y="341"/>
                    <a:pt x="342" y="341"/>
                    <a:pt x="342" y="341"/>
                  </a:cubicBezTo>
                  <a:cubicBezTo>
                    <a:pt x="343" y="340"/>
                    <a:pt x="344" y="339"/>
                    <a:pt x="345" y="338"/>
                  </a:cubicBezTo>
                  <a:cubicBezTo>
                    <a:pt x="346" y="337"/>
                    <a:pt x="347" y="336"/>
                    <a:pt x="348" y="335"/>
                  </a:cubicBezTo>
                  <a:cubicBezTo>
                    <a:pt x="349" y="334"/>
                    <a:pt x="350" y="333"/>
                    <a:pt x="351" y="332"/>
                  </a:cubicBezTo>
                  <a:cubicBezTo>
                    <a:pt x="352" y="331"/>
                    <a:pt x="352" y="330"/>
                    <a:pt x="353" y="329"/>
                  </a:cubicBezTo>
                  <a:cubicBezTo>
                    <a:pt x="354" y="328"/>
                    <a:pt x="356" y="327"/>
                    <a:pt x="357" y="326"/>
                  </a:cubicBezTo>
                  <a:cubicBezTo>
                    <a:pt x="357" y="325"/>
                    <a:pt x="357" y="325"/>
                    <a:pt x="357" y="325"/>
                  </a:cubicBezTo>
                  <a:cubicBezTo>
                    <a:pt x="361" y="321"/>
                    <a:pt x="363" y="318"/>
                    <a:pt x="367" y="315"/>
                  </a:cubicBezTo>
                  <a:cubicBezTo>
                    <a:pt x="370" y="312"/>
                    <a:pt x="373" y="310"/>
                    <a:pt x="376" y="307"/>
                  </a:cubicBezTo>
                  <a:cubicBezTo>
                    <a:pt x="384" y="299"/>
                    <a:pt x="391" y="290"/>
                    <a:pt x="398" y="281"/>
                  </a:cubicBezTo>
                  <a:cubicBezTo>
                    <a:pt x="400" y="278"/>
                    <a:pt x="400" y="278"/>
                    <a:pt x="400" y="278"/>
                  </a:cubicBezTo>
                  <a:cubicBezTo>
                    <a:pt x="401" y="277"/>
                    <a:pt x="401" y="275"/>
                    <a:pt x="402" y="274"/>
                  </a:cubicBezTo>
                  <a:cubicBezTo>
                    <a:pt x="402" y="273"/>
                    <a:pt x="402" y="273"/>
                    <a:pt x="403" y="272"/>
                  </a:cubicBezTo>
                  <a:cubicBezTo>
                    <a:pt x="404" y="270"/>
                    <a:pt x="405" y="269"/>
                    <a:pt x="406" y="267"/>
                  </a:cubicBezTo>
                  <a:cubicBezTo>
                    <a:pt x="407" y="266"/>
                    <a:pt x="407" y="266"/>
                    <a:pt x="407" y="266"/>
                  </a:cubicBezTo>
                  <a:cubicBezTo>
                    <a:pt x="408" y="264"/>
                    <a:pt x="409" y="262"/>
                    <a:pt x="409" y="261"/>
                  </a:cubicBezTo>
                  <a:cubicBezTo>
                    <a:pt x="410" y="260"/>
                    <a:pt x="410" y="260"/>
                    <a:pt x="410" y="260"/>
                  </a:cubicBezTo>
                  <a:cubicBezTo>
                    <a:pt x="410" y="259"/>
                    <a:pt x="411" y="257"/>
                    <a:pt x="412" y="256"/>
                  </a:cubicBezTo>
                  <a:cubicBezTo>
                    <a:pt x="413" y="255"/>
                    <a:pt x="413" y="255"/>
                    <a:pt x="413" y="255"/>
                  </a:cubicBezTo>
                  <a:cubicBezTo>
                    <a:pt x="414" y="253"/>
                    <a:pt x="415" y="251"/>
                    <a:pt x="416" y="249"/>
                  </a:cubicBezTo>
                  <a:cubicBezTo>
                    <a:pt x="417" y="247"/>
                    <a:pt x="418" y="245"/>
                    <a:pt x="420" y="243"/>
                  </a:cubicBezTo>
                  <a:cubicBezTo>
                    <a:pt x="421" y="241"/>
                    <a:pt x="422" y="240"/>
                    <a:pt x="424" y="239"/>
                  </a:cubicBezTo>
                  <a:cubicBezTo>
                    <a:pt x="425" y="238"/>
                    <a:pt x="425" y="238"/>
                    <a:pt x="425" y="238"/>
                  </a:cubicBezTo>
                  <a:cubicBezTo>
                    <a:pt x="426" y="237"/>
                    <a:pt x="427" y="236"/>
                    <a:pt x="428" y="235"/>
                  </a:cubicBezTo>
                  <a:cubicBezTo>
                    <a:pt x="428" y="234"/>
                    <a:pt x="429" y="233"/>
                    <a:pt x="430" y="233"/>
                  </a:cubicBezTo>
                  <a:cubicBezTo>
                    <a:pt x="432" y="231"/>
                    <a:pt x="434" y="229"/>
                    <a:pt x="436" y="228"/>
                  </a:cubicBezTo>
                  <a:cubicBezTo>
                    <a:pt x="438" y="227"/>
                    <a:pt x="439" y="225"/>
                    <a:pt x="441" y="224"/>
                  </a:cubicBezTo>
                  <a:cubicBezTo>
                    <a:pt x="442" y="223"/>
                    <a:pt x="443" y="222"/>
                    <a:pt x="444" y="221"/>
                  </a:cubicBezTo>
                  <a:cubicBezTo>
                    <a:pt x="445" y="221"/>
                    <a:pt x="446" y="220"/>
                    <a:pt x="447" y="220"/>
                  </a:cubicBezTo>
                  <a:cubicBezTo>
                    <a:pt x="448" y="219"/>
                    <a:pt x="450" y="218"/>
                    <a:pt x="451" y="216"/>
                  </a:cubicBezTo>
                  <a:cubicBezTo>
                    <a:pt x="454" y="214"/>
                    <a:pt x="454" y="212"/>
                    <a:pt x="455" y="210"/>
                  </a:cubicBezTo>
                  <a:cubicBezTo>
                    <a:pt x="455" y="209"/>
                    <a:pt x="455" y="208"/>
                    <a:pt x="455" y="208"/>
                  </a:cubicBezTo>
                  <a:cubicBezTo>
                    <a:pt x="455" y="206"/>
                    <a:pt x="456" y="205"/>
                    <a:pt x="456" y="204"/>
                  </a:cubicBezTo>
                  <a:cubicBezTo>
                    <a:pt x="457" y="203"/>
                    <a:pt x="457" y="202"/>
                    <a:pt x="458" y="201"/>
                  </a:cubicBezTo>
                  <a:cubicBezTo>
                    <a:pt x="458" y="199"/>
                    <a:pt x="459" y="197"/>
                    <a:pt x="459" y="195"/>
                  </a:cubicBezTo>
                  <a:cubicBezTo>
                    <a:pt x="459" y="194"/>
                    <a:pt x="459" y="193"/>
                    <a:pt x="459" y="192"/>
                  </a:cubicBezTo>
                  <a:cubicBezTo>
                    <a:pt x="460" y="187"/>
                    <a:pt x="462" y="182"/>
                    <a:pt x="463" y="177"/>
                  </a:cubicBezTo>
                  <a:cubicBezTo>
                    <a:pt x="465" y="174"/>
                    <a:pt x="465" y="174"/>
                    <a:pt x="465" y="174"/>
                  </a:cubicBezTo>
                  <a:cubicBezTo>
                    <a:pt x="465" y="173"/>
                    <a:pt x="465" y="172"/>
                    <a:pt x="466" y="171"/>
                  </a:cubicBezTo>
                  <a:cubicBezTo>
                    <a:pt x="467" y="170"/>
                    <a:pt x="468" y="168"/>
                    <a:pt x="468" y="166"/>
                  </a:cubicBezTo>
                  <a:cubicBezTo>
                    <a:pt x="468" y="164"/>
                    <a:pt x="468" y="163"/>
                    <a:pt x="468" y="161"/>
                  </a:cubicBezTo>
                  <a:close/>
                  <a:moveTo>
                    <a:pt x="359" y="252"/>
                  </a:moveTo>
                  <a:cubicBezTo>
                    <a:pt x="359" y="255"/>
                    <a:pt x="360" y="257"/>
                    <a:pt x="356" y="260"/>
                  </a:cubicBezTo>
                  <a:cubicBezTo>
                    <a:pt x="354" y="261"/>
                    <a:pt x="350" y="262"/>
                    <a:pt x="346" y="263"/>
                  </a:cubicBezTo>
                  <a:cubicBezTo>
                    <a:pt x="346" y="263"/>
                    <a:pt x="346" y="263"/>
                    <a:pt x="346" y="263"/>
                  </a:cubicBezTo>
                  <a:cubicBezTo>
                    <a:pt x="345" y="263"/>
                    <a:pt x="343" y="263"/>
                    <a:pt x="342" y="264"/>
                  </a:cubicBezTo>
                  <a:cubicBezTo>
                    <a:pt x="337" y="265"/>
                    <a:pt x="333" y="269"/>
                    <a:pt x="331" y="275"/>
                  </a:cubicBezTo>
                  <a:cubicBezTo>
                    <a:pt x="329" y="278"/>
                    <a:pt x="326" y="280"/>
                    <a:pt x="323" y="280"/>
                  </a:cubicBezTo>
                  <a:cubicBezTo>
                    <a:pt x="320" y="280"/>
                    <a:pt x="318" y="279"/>
                    <a:pt x="317" y="277"/>
                  </a:cubicBezTo>
                  <a:cubicBezTo>
                    <a:pt x="316" y="276"/>
                    <a:pt x="316" y="276"/>
                    <a:pt x="316" y="275"/>
                  </a:cubicBezTo>
                  <a:cubicBezTo>
                    <a:pt x="316" y="274"/>
                    <a:pt x="316" y="274"/>
                    <a:pt x="316" y="273"/>
                  </a:cubicBezTo>
                  <a:cubicBezTo>
                    <a:pt x="315" y="272"/>
                    <a:pt x="315" y="272"/>
                    <a:pt x="314" y="272"/>
                  </a:cubicBezTo>
                  <a:cubicBezTo>
                    <a:pt x="314" y="272"/>
                    <a:pt x="313" y="271"/>
                    <a:pt x="313" y="271"/>
                  </a:cubicBezTo>
                  <a:cubicBezTo>
                    <a:pt x="312" y="270"/>
                    <a:pt x="312" y="269"/>
                    <a:pt x="312" y="268"/>
                  </a:cubicBezTo>
                  <a:cubicBezTo>
                    <a:pt x="310" y="265"/>
                    <a:pt x="309" y="262"/>
                    <a:pt x="307" y="262"/>
                  </a:cubicBezTo>
                  <a:cubicBezTo>
                    <a:pt x="307" y="262"/>
                    <a:pt x="307" y="262"/>
                    <a:pt x="307" y="262"/>
                  </a:cubicBezTo>
                  <a:cubicBezTo>
                    <a:pt x="306" y="261"/>
                    <a:pt x="306" y="260"/>
                    <a:pt x="306" y="259"/>
                  </a:cubicBezTo>
                  <a:cubicBezTo>
                    <a:pt x="305" y="258"/>
                    <a:pt x="305" y="256"/>
                    <a:pt x="304" y="255"/>
                  </a:cubicBezTo>
                  <a:cubicBezTo>
                    <a:pt x="304" y="254"/>
                    <a:pt x="303" y="253"/>
                    <a:pt x="302" y="252"/>
                  </a:cubicBezTo>
                  <a:cubicBezTo>
                    <a:pt x="301" y="251"/>
                    <a:pt x="300" y="250"/>
                    <a:pt x="302" y="248"/>
                  </a:cubicBezTo>
                  <a:cubicBezTo>
                    <a:pt x="303" y="246"/>
                    <a:pt x="305" y="245"/>
                    <a:pt x="307" y="244"/>
                  </a:cubicBezTo>
                  <a:cubicBezTo>
                    <a:pt x="308" y="243"/>
                    <a:pt x="310" y="242"/>
                    <a:pt x="311" y="241"/>
                  </a:cubicBezTo>
                  <a:cubicBezTo>
                    <a:pt x="313" y="239"/>
                    <a:pt x="315" y="236"/>
                    <a:pt x="316" y="234"/>
                  </a:cubicBezTo>
                  <a:cubicBezTo>
                    <a:pt x="319" y="230"/>
                    <a:pt x="322" y="225"/>
                    <a:pt x="326" y="223"/>
                  </a:cubicBezTo>
                  <a:cubicBezTo>
                    <a:pt x="329" y="221"/>
                    <a:pt x="329" y="221"/>
                    <a:pt x="329" y="221"/>
                  </a:cubicBezTo>
                  <a:cubicBezTo>
                    <a:pt x="334" y="218"/>
                    <a:pt x="339" y="215"/>
                    <a:pt x="343" y="215"/>
                  </a:cubicBezTo>
                  <a:cubicBezTo>
                    <a:pt x="346" y="215"/>
                    <a:pt x="350" y="217"/>
                    <a:pt x="352" y="220"/>
                  </a:cubicBezTo>
                  <a:cubicBezTo>
                    <a:pt x="354" y="222"/>
                    <a:pt x="355" y="224"/>
                    <a:pt x="357" y="225"/>
                  </a:cubicBezTo>
                  <a:cubicBezTo>
                    <a:pt x="360" y="228"/>
                    <a:pt x="362" y="230"/>
                    <a:pt x="364" y="233"/>
                  </a:cubicBezTo>
                  <a:cubicBezTo>
                    <a:pt x="365" y="236"/>
                    <a:pt x="365" y="240"/>
                    <a:pt x="364" y="243"/>
                  </a:cubicBezTo>
                  <a:cubicBezTo>
                    <a:pt x="363" y="245"/>
                    <a:pt x="361" y="246"/>
                    <a:pt x="360" y="246"/>
                  </a:cubicBezTo>
                  <a:cubicBezTo>
                    <a:pt x="358" y="247"/>
                    <a:pt x="358" y="247"/>
                    <a:pt x="358" y="247"/>
                  </a:cubicBezTo>
                  <a:cubicBezTo>
                    <a:pt x="358" y="248"/>
                    <a:pt x="358" y="248"/>
                    <a:pt x="358" y="248"/>
                  </a:cubicBezTo>
                  <a:cubicBezTo>
                    <a:pt x="358" y="250"/>
                    <a:pt x="358" y="251"/>
                    <a:pt x="359" y="252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9" name="Freeform 69"/>
            <p:cNvSpPr>
              <a:spLocks/>
            </p:cNvSpPr>
            <p:nvPr/>
          </p:nvSpPr>
          <p:spPr bwMode="auto">
            <a:xfrm>
              <a:off x="3739892" y="3166862"/>
              <a:ext cx="624972" cy="1012967"/>
            </a:xfrm>
            <a:custGeom>
              <a:avLst/>
              <a:gdLst>
                <a:gd name="T0" fmla="*/ 303 w 309"/>
                <a:gd name="T1" fmla="*/ 119 h 544"/>
                <a:gd name="T2" fmla="*/ 302 w 309"/>
                <a:gd name="T3" fmla="*/ 92 h 544"/>
                <a:gd name="T4" fmla="*/ 303 w 309"/>
                <a:gd name="T5" fmla="*/ 70 h 544"/>
                <a:gd name="T6" fmla="*/ 300 w 309"/>
                <a:gd name="T7" fmla="*/ 28 h 544"/>
                <a:gd name="T8" fmla="*/ 301 w 309"/>
                <a:gd name="T9" fmla="*/ 0 h 544"/>
                <a:gd name="T10" fmla="*/ 262 w 309"/>
                <a:gd name="T11" fmla="*/ 24 h 544"/>
                <a:gd name="T12" fmla="*/ 241 w 309"/>
                <a:gd name="T13" fmla="*/ 31 h 544"/>
                <a:gd name="T14" fmla="*/ 219 w 309"/>
                <a:gd name="T15" fmla="*/ 38 h 544"/>
                <a:gd name="T16" fmla="*/ 190 w 309"/>
                <a:gd name="T17" fmla="*/ 40 h 544"/>
                <a:gd name="T18" fmla="*/ 179 w 309"/>
                <a:gd name="T19" fmla="*/ 41 h 544"/>
                <a:gd name="T20" fmla="*/ 159 w 309"/>
                <a:gd name="T21" fmla="*/ 36 h 544"/>
                <a:gd name="T22" fmla="*/ 137 w 309"/>
                <a:gd name="T23" fmla="*/ 38 h 544"/>
                <a:gd name="T24" fmla="*/ 131 w 309"/>
                <a:gd name="T25" fmla="*/ 80 h 544"/>
                <a:gd name="T26" fmla="*/ 162 w 309"/>
                <a:gd name="T27" fmla="*/ 157 h 544"/>
                <a:gd name="T28" fmla="*/ 152 w 309"/>
                <a:gd name="T29" fmla="*/ 187 h 544"/>
                <a:gd name="T30" fmla="*/ 141 w 309"/>
                <a:gd name="T31" fmla="*/ 220 h 544"/>
                <a:gd name="T32" fmla="*/ 123 w 309"/>
                <a:gd name="T33" fmla="*/ 192 h 544"/>
                <a:gd name="T34" fmla="*/ 121 w 309"/>
                <a:gd name="T35" fmla="*/ 172 h 544"/>
                <a:gd name="T36" fmla="*/ 101 w 309"/>
                <a:gd name="T37" fmla="*/ 134 h 544"/>
                <a:gd name="T38" fmla="*/ 85 w 309"/>
                <a:gd name="T39" fmla="*/ 117 h 544"/>
                <a:gd name="T40" fmla="*/ 3 w 309"/>
                <a:gd name="T41" fmla="*/ 157 h 544"/>
                <a:gd name="T42" fmla="*/ 47 w 309"/>
                <a:gd name="T43" fmla="*/ 193 h 544"/>
                <a:gd name="T44" fmla="*/ 66 w 309"/>
                <a:gd name="T45" fmla="*/ 199 h 544"/>
                <a:gd name="T46" fmla="*/ 79 w 309"/>
                <a:gd name="T47" fmla="*/ 222 h 544"/>
                <a:gd name="T48" fmla="*/ 79 w 309"/>
                <a:gd name="T49" fmla="*/ 262 h 544"/>
                <a:gd name="T50" fmla="*/ 70 w 309"/>
                <a:gd name="T51" fmla="*/ 278 h 544"/>
                <a:gd name="T52" fmla="*/ 76 w 309"/>
                <a:gd name="T53" fmla="*/ 304 h 544"/>
                <a:gd name="T54" fmla="*/ 64 w 309"/>
                <a:gd name="T55" fmla="*/ 333 h 544"/>
                <a:gd name="T56" fmla="*/ 59 w 309"/>
                <a:gd name="T57" fmla="*/ 355 h 544"/>
                <a:gd name="T58" fmla="*/ 28 w 309"/>
                <a:gd name="T59" fmla="*/ 403 h 544"/>
                <a:gd name="T60" fmla="*/ 38 w 309"/>
                <a:gd name="T61" fmla="*/ 442 h 544"/>
                <a:gd name="T62" fmla="*/ 44 w 309"/>
                <a:gd name="T63" fmla="*/ 464 h 544"/>
                <a:gd name="T64" fmla="*/ 42 w 309"/>
                <a:gd name="T65" fmla="*/ 501 h 544"/>
                <a:gd name="T66" fmla="*/ 43 w 309"/>
                <a:gd name="T67" fmla="*/ 522 h 544"/>
                <a:gd name="T68" fmla="*/ 53 w 309"/>
                <a:gd name="T69" fmla="*/ 542 h 544"/>
                <a:gd name="T70" fmla="*/ 69 w 309"/>
                <a:gd name="T71" fmla="*/ 527 h 544"/>
                <a:gd name="T72" fmla="*/ 72 w 309"/>
                <a:gd name="T73" fmla="*/ 495 h 544"/>
                <a:gd name="T74" fmla="*/ 89 w 309"/>
                <a:gd name="T75" fmla="*/ 487 h 544"/>
                <a:gd name="T76" fmla="*/ 113 w 309"/>
                <a:gd name="T77" fmla="*/ 477 h 544"/>
                <a:gd name="T78" fmla="*/ 144 w 309"/>
                <a:gd name="T79" fmla="*/ 439 h 544"/>
                <a:gd name="T80" fmla="*/ 143 w 309"/>
                <a:gd name="T81" fmla="*/ 430 h 544"/>
                <a:gd name="T82" fmla="*/ 147 w 309"/>
                <a:gd name="T83" fmla="*/ 409 h 544"/>
                <a:gd name="T84" fmla="*/ 142 w 309"/>
                <a:gd name="T85" fmla="*/ 384 h 544"/>
                <a:gd name="T86" fmla="*/ 139 w 309"/>
                <a:gd name="T87" fmla="*/ 365 h 544"/>
                <a:gd name="T88" fmla="*/ 134 w 309"/>
                <a:gd name="T89" fmla="*/ 340 h 544"/>
                <a:gd name="T90" fmla="*/ 126 w 309"/>
                <a:gd name="T91" fmla="*/ 326 h 544"/>
                <a:gd name="T92" fmla="*/ 149 w 309"/>
                <a:gd name="T93" fmla="*/ 295 h 544"/>
                <a:gd name="T94" fmla="*/ 166 w 309"/>
                <a:gd name="T95" fmla="*/ 280 h 544"/>
                <a:gd name="T96" fmla="*/ 178 w 309"/>
                <a:gd name="T97" fmla="*/ 269 h 544"/>
                <a:gd name="T98" fmla="*/ 193 w 309"/>
                <a:gd name="T99" fmla="*/ 251 h 544"/>
                <a:gd name="T100" fmla="*/ 229 w 309"/>
                <a:gd name="T101" fmla="*/ 225 h 544"/>
                <a:gd name="T102" fmla="*/ 260 w 309"/>
                <a:gd name="T103" fmla="*/ 211 h 544"/>
                <a:gd name="T104" fmla="*/ 279 w 309"/>
                <a:gd name="T105" fmla="*/ 192 h 544"/>
                <a:gd name="T106" fmla="*/ 291 w 309"/>
                <a:gd name="T107" fmla="*/ 177 h 544"/>
                <a:gd name="T108" fmla="*/ 299 w 309"/>
                <a:gd name="T109" fmla="*/ 166 h 544"/>
                <a:gd name="T110" fmla="*/ 302 w 309"/>
                <a:gd name="T111" fmla="*/ 155 h 544"/>
                <a:gd name="T112" fmla="*/ 306 w 309"/>
                <a:gd name="T113" fmla="*/ 147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9" h="544">
                  <a:moveTo>
                    <a:pt x="308" y="135"/>
                  </a:moveTo>
                  <a:cubicBezTo>
                    <a:pt x="309" y="134"/>
                    <a:pt x="309" y="132"/>
                    <a:pt x="308" y="130"/>
                  </a:cubicBezTo>
                  <a:cubicBezTo>
                    <a:pt x="308" y="129"/>
                    <a:pt x="307" y="128"/>
                    <a:pt x="306" y="127"/>
                  </a:cubicBezTo>
                  <a:cubicBezTo>
                    <a:pt x="306" y="127"/>
                    <a:pt x="306" y="126"/>
                    <a:pt x="306" y="126"/>
                  </a:cubicBezTo>
                  <a:cubicBezTo>
                    <a:pt x="306" y="123"/>
                    <a:pt x="304" y="122"/>
                    <a:pt x="302" y="122"/>
                  </a:cubicBezTo>
                  <a:cubicBezTo>
                    <a:pt x="302" y="121"/>
                    <a:pt x="303" y="120"/>
                    <a:pt x="303" y="119"/>
                  </a:cubicBezTo>
                  <a:cubicBezTo>
                    <a:pt x="303" y="119"/>
                    <a:pt x="303" y="119"/>
                    <a:pt x="303" y="118"/>
                  </a:cubicBezTo>
                  <a:cubicBezTo>
                    <a:pt x="303" y="116"/>
                    <a:pt x="303" y="115"/>
                    <a:pt x="303" y="113"/>
                  </a:cubicBezTo>
                  <a:cubicBezTo>
                    <a:pt x="302" y="113"/>
                    <a:pt x="302" y="112"/>
                    <a:pt x="302" y="111"/>
                  </a:cubicBezTo>
                  <a:cubicBezTo>
                    <a:pt x="302" y="109"/>
                    <a:pt x="302" y="106"/>
                    <a:pt x="302" y="104"/>
                  </a:cubicBezTo>
                  <a:cubicBezTo>
                    <a:pt x="302" y="102"/>
                    <a:pt x="302" y="100"/>
                    <a:pt x="302" y="99"/>
                  </a:cubicBezTo>
                  <a:cubicBezTo>
                    <a:pt x="302" y="97"/>
                    <a:pt x="302" y="94"/>
                    <a:pt x="302" y="92"/>
                  </a:cubicBezTo>
                  <a:cubicBezTo>
                    <a:pt x="302" y="90"/>
                    <a:pt x="301" y="87"/>
                    <a:pt x="301" y="85"/>
                  </a:cubicBezTo>
                  <a:cubicBezTo>
                    <a:pt x="301" y="84"/>
                    <a:pt x="301" y="84"/>
                    <a:pt x="301" y="84"/>
                  </a:cubicBezTo>
                  <a:cubicBezTo>
                    <a:pt x="302" y="83"/>
                    <a:pt x="302" y="81"/>
                    <a:pt x="302" y="79"/>
                  </a:cubicBezTo>
                  <a:cubicBezTo>
                    <a:pt x="302" y="79"/>
                    <a:pt x="302" y="79"/>
                    <a:pt x="302" y="79"/>
                  </a:cubicBezTo>
                  <a:cubicBezTo>
                    <a:pt x="303" y="77"/>
                    <a:pt x="304" y="76"/>
                    <a:pt x="303" y="73"/>
                  </a:cubicBezTo>
                  <a:cubicBezTo>
                    <a:pt x="303" y="72"/>
                    <a:pt x="303" y="71"/>
                    <a:pt x="303" y="70"/>
                  </a:cubicBezTo>
                  <a:cubicBezTo>
                    <a:pt x="302" y="69"/>
                    <a:pt x="302" y="68"/>
                    <a:pt x="302" y="67"/>
                  </a:cubicBezTo>
                  <a:cubicBezTo>
                    <a:pt x="301" y="65"/>
                    <a:pt x="301" y="62"/>
                    <a:pt x="301" y="59"/>
                  </a:cubicBezTo>
                  <a:cubicBezTo>
                    <a:pt x="302" y="56"/>
                    <a:pt x="301" y="52"/>
                    <a:pt x="301" y="48"/>
                  </a:cubicBezTo>
                  <a:cubicBezTo>
                    <a:pt x="301" y="45"/>
                    <a:pt x="300" y="41"/>
                    <a:pt x="300" y="38"/>
                  </a:cubicBezTo>
                  <a:cubicBezTo>
                    <a:pt x="300" y="36"/>
                    <a:pt x="300" y="35"/>
                    <a:pt x="300" y="33"/>
                  </a:cubicBezTo>
                  <a:cubicBezTo>
                    <a:pt x="300" y="31"/>
                    <a:pt x="299" y="29"/>
                    <a:pt x="300" y="28"/>
                  </a:cubicBezTo>
                  <a:cubicBezTo>
                    <a:pt x="300" y="26"/>
                    <a:pt x="300" y="25"/>
                    <a:pt x="301" y="24"/>
                  </a:cubicBezTo>
                  <a:cubicBezTo>
                    <a:pt x="302" y="23"/>
                    <a:pt x="303" y="21"/>
                    <a:pt x="303" y="18"/>
                  </a:cubicBezTo>
                  <a:cubicBezTo>
                    <a:pt x="303" y="15"/>
                    <a:pt x="303" y="12"/>
                    <a:pt x="304" y="9"/>
                  </a:cubicBezTo>
                  <a:cubicBezTo>
                    <a:pt x="305" y="6"/>
                    <a:pt x="304" y="3"/>
                    <a:pt x="303" y="2"/>
                  </a:cubicBezTo>
                  <a:cubicBezTo>
                    <a:pt x="303" y="0"/>
                    <a:pt x="303" y="0"/>
                    <a:pt x="303" y="0"/>
                  </a:cubicBezTo>
                  <a:cubicBezTo>
                    <a:pt x="301" y="0"/>
                    <a:pt x="301" y="0"/>
                    <a:pt x="301" y="0"/>
                  </a:cubicBezTo>
                  <a:cubicBezTo>
                    <a:pt x="296" y="1"/>
                    <a:pt x="292" y="5"/>
                    <a:pt x="288" y="8"/>
                  </a:cubicBezTo>
                  <a:cubicBezTo>
                    <a:pt x="287" y="10"/>
                    <a:pt x="285" y="11"/>
                    <a:pt x="283" y="13"/>
                  </a:cubicBezTo>
                  <a:cubicBezTo>
                    <a:pt x="281" y="14"/>
                    <a:pt x="279" y="15"/>
                    <a:pt x="277" y="15"/>
                  </a:cubicBezTo>
                  <a:cubicBezTo>
                    <a:pt x="275" y="16"/>
                    <a:pt x="273" y="17"/>
                    <a:pt x="272" y="18"/>
                  </a:cubicBezTo>
                  <a:cubicBezTo>
                    <a:pt x="270" y="19"/>
                    <a:pt x="269" y="20"/>
                    <a:pt x="268" y="20"/>
                  </a:cubicBezTo>
                  <a:cubicBezTo>
                    <a:pt x="267" y="22"/>
                    <a:pt x="265" y="23"/>
                    <a:pt x="262" y="24"/>
                  </a:cubicBezTo>
                  <a:cubicBezTo>
                    <a:pt x="262" y="24"/>
                    <a:pt x="261" y="24"/>
                    <a:pt x="261" y="24"/>
                  </a:cubicBezTo>
                  <a:cubicBezTo>
                    <a:pt x="260" y="24"/>
                    <a:pt x="259" y="24"/>
                    <a:pt x="258" y="24"/>
                  </a:cubicBezTo>
                  <a:cubicBezTo>
                    <a:pt x="257" y="23"/>
                    <a:pt x="256" y="23"/>
                    <a:pt x="255" y="23"/>
                  </a:cubicBezTo>
                  <a:cubicBezTo>
                    <a:pt x="254" y="23"/>
                    <a:pt x="252" y="24"/>
                    <a:pt x="249" y="25"/>
                  </a:cubicBezTo>
                  <a:cubicBezTo>
                    <a:pt x="248" y="26"/>
                    <a:pt x="247" y="27"/>
                    <a:pt x="246" y="28"/>
                  </a:cubicBezTo>
                  <a:cubicBezTo>
                    <a:pt x="245" y="30"/>
                    <a:pt x="243" y="31"/>
                    <a:pt x="241" y="31"/>
                  </a:cubicBezTo>
                  <a:cubicBezTo>
                    <a:pt x="240" y="31"/>
                    <a:pt x="239" y="31"/>
                    <a:pt x="238" y="30"/>
                  </a:cubicBezTo>
                  <a:cubicBezTo>
                    <a:pt x="237" y="30"/>
                    <a:pt x="236" y="29"/>
                    <a:pt x="235" y="29"/>
                  </a:cubicBezTo>
                  <a:cubicBezTo>
                    <a:pt x="233" y="28"/>
                    <a:pt x="232" y="27"/>
                    <a:pt x="230" y="27"/>
                  </a:cubicBezTo>
                  <a:cubicBezTo>
                    <a:pt x="229" y="27"/>
                    <a:pt x="228" y="27"/>
                    <a:pt x="226" y="28"/>
                  </a:cubicBezTo>
                  <a:cubicBezTo>
                    <a:pt x="224" y="30"/>
                    <a:pt x="223" y="32"/>
                    <a:pt x="222" y="33"/>
                  </a:cubicBezTo>
                  <a:cubicBezTo>
                    <a:pt x="221" y="35"/>
                    <a:pt x="220" y="36"/>
                    <a:pt x="219" y="38"/>
                  </a:cubicBezTo>
                  <a:cubicBezTo>
                    <a:pt x="216" y="40"/>
                    <a:pt x="214" y="42"/>
                    <a:pt x="211" y="42"/>
                  </a:cubicBezTo>
                  <a:cubicBezTo>
                    <a:pt x="209" y="42"/>
                    <a:pt x="208" y="41"/>
                    <a:pt x="206" y="40"/>
                  </a:cubicBezTo>
                  <a:cubicBezTo>
                    <a:pt x="205" y="40"/>
                    <a:pt x="205" y="40"/>
                    <a:pt x="204" y="39"/>
                  </a:cubicBezTo>
                  <a:cubicBezTo>
                    <a:pt x="201" y="38"/>
                    <a:pt x="199" y="37"/>
                    <a:pt x="197" y="37"/>
                  </a:cubicBezTo>
                  <a:cubicBezTo>
                    <a:pt x="195" y="37"/>
                    <a:pt x="194" y="38"/>
                    <a:pt x="193" y="38"/>
                  </a:cubicBezTo>
                  <a:cubicBezTo>
                    <a:pt x="192" y="38"/>
                    <a:pt x="191" y="39"/>
                    <a:pt x="190" y="40"/>
                  </a:cubicBezTo>
                  <a:cubicBezTo>
                    <a:pt x="190" y="40"/>
                    <a:pt x="189" y="41"/>
                    <a:pt x="188" y="41"/>
                  </a:cubicBezTo>
                  <a:cubicBezTo>
                    <a:pt x="187" y="41"/>
                    <a:pt x="187" y="41"/>
                    <a:pt x="187" y="41"/>
                  </a:cubicBezTo>
                  <a:cubicBezTo>
                    <a:pt x="186" y="41"/>
                    <a:pt x="186" y="41"/>
                    <a:pt x="185" y="41"/>
                  </a:cubicBezTo>
                  <a:cubicBezTo>
                    <a:pt x="185" y="40"/>
                    <a:pt x="184" y="40"/>
                    <a:pt x="183" y="40"/>
                  </a:cubicBezTo>
                  <a:cubicBezTo>
                    <a:pt x="182" y="40"/>
                    <a:pt x="182" y="40"/>
                    <a:pt x="181" y="41"/>
                  </a:cubicBezTo>
                  <a:cubicBezTo>
                    <a:pt x="181" y="41"/>
                    <a:pt x="180" y="41"/>
                    <a:pt x="179" y="41"/>
                  </a:cubicBezTo>
                  <a:cubicBezTo>
                    <a:pt x="179" y="41"/>
                    <a:pt x="179" y="41"/>
                    <a:pt x="179" y="41"/>
                  </a:cubicBezTo>
                  <a:cubicBezTo>
                    <a:pt x="177" y="41"/>
                    <a:pt x="175" y="39"/>
                    <a:pt x="174" y="38"/>
                  </a:cubicBezTo>
                  <a:cubicBezTo>
                    <a:pt x="173" y="36"/>
                    <a:pt x="172" y="35"/>
                    <a:pt x="170" y="34"/>
                  </a:cubicBezTo>
                  <a:cubicBezTo>
                    <a:pt x="168" y="33"/>
                    <a:pt x="167" y="33"/>
                    <a:pt x="166" y="33"/>
                  </a:cubicBezTo>
                  <a:cubicBezTo>
                    <a:pt x="165" y="33"/>
                    <a:pt x="164" y="33"/>
                    <a:pt x="162" y="34"/>
                  </a:cubicBezTo>
                  <a:cubicBezTo>
                    <a:pt x="161" y="35"/>
                    <a:pt x="160" y="36"/>
                    <a:pt x="159" y="36"/>
                  </a:cubicBezTo>
                  <a:cubicBezTo>
                    <a:pt x="156" y="37"/>
                    <a:pt x="154" y="38"/>
                    <a:pt x="151" y="38"/>
                  </a:cubicBezTo>
                  <a:cubicBezTo>
                    <a:pt x="149" y="38"/>
                    <a:pt x="148" y="38"/>
                    <a:pt x="146" y="38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45" y="37"/>
                    <a:pt x="145" y="37"/>
                    <a:pt x="144" y="37"/>
                  </a:cubicBezTo>
                  <a:cubicBezTo>
                    <a:pt x="143" y="37"/>
                    <a:pt x="141" y="38"/>
                    <a:pt x="140" y="38"/>
                  </a:cubicBezTo>
                  <a:cubicBezTo>
                    <a:pt x="137" y="38"/>
                    <a:pt x="137" y="38"/>
                    <a:pt x="137" y="38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7" y="43"/>
                    <a:pt x="136" y="46"/>
                    <a:pt x="135" y="48"/>
                  </a:cubicBezTo>
                  <a:cubicBezTo>
                    <a:pt x="135" y="50"/>
                    <a:pt x="134" y="51"/>
                    <a:pt x="134" y="52"/>
                  </a:cubicBezTo>
                  <a:cubicBezTo>
                    <a:pt x="133" y="54"/>
                    <a:pt x="132" y="56"/>
                    <a:pt x="131" y="59"/>
                  </a:cubicBezTo>
                  <a:cubicBezTo>
                    <a:pt x="131" y="63"/>
                    <a:pt x="131" y="67"/>
                    <a:pt x="131" y="70"/>
                  </a:cubicBezTo>
                  <a:cubicBezTo>
                    <a:pt x="131" y="74"/>
                    <a:pt x="132" y="77"/>
                    <a:pt x="131" y="80"/>
                  </a:cubicBezTo>
                  <a:cubicBezTo>
                    <a:pt x="130" y="86"/>
                    <a:pt x="131" y="90"/>
                    <a:pt x="132" y="94"/>
                  </a:cubicBezTo>
                  <a:cubicBezTo>
                    <a:pt x="133" y="100"/>
                    <a:pt x="135" y="105"/>
                    <a:pt x="138" y="111"/>
                  </a:cubicBezTo>
                  <a:cubicBezTo>
                    <a:pt x="138" y="111"/>
                    <a:pt x="138" y="111"/>
                    <a:pt x="138" y="111"/>
                  </a:cubicBezTo>
                  <a:cubicBezTo>
                    <a:pt x="139" y="112"/>
                    <a:pt x="139" y="112"/>
                    <a:pt x="139" y="112"/>
                  </a:cubicBezTo>
                  <a:cubicBezTo>
                    <a:pt x="153" y="116"/>
                    <a:pt x="160" y="135"/>
                    <a:pt x="162" y="147"/>
                  </a:cubicBezTo>
                  <a:cubicBezTo>
                    <a:pt x="162" y="150"/>
                    <a:pt x="162" y="154"/>
                    <a:pt x="162" y="157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62" y="159"/>
                    <a:pt x="162" y="160"/>
                    <a:pt x="161" y="161"/>
                  </a:cubicBezTo>
                  <a:cubicBezTo>
                    <a:pt x="161" y="163"/>
                    <a:pt x="162" y="166"/>
                    <a:pt x="162" y="168"/>
                  </a:cubicBezTo>
                  <a:cubicBezTo>
                    <a:pt x="162" y="171"/>
                    <a:pt x="162" y="173"/>
                    <a:pt x="162" y="175"/>
                  </a:cubicBezTo>
                  <a:cubicBezTo>
                    <a:pt x="162" y="181"/>
                    <a:pt x="160" y="185"/>
                    <a:pt x="157" y="186"/>
                  </a:cubicBezTo>
                  <a:cubicBezTo>
                    <a:pt x="155" y="187"/>
                    <a:pt x="153" y="187"/>
                    <a:pt x="152" y="187"/>
                  </a:cubicBezTo>
                  <a:cubicBezTo>
                    <a:pt x="149" y="187"/>
                    <a:pt x="148" y="188"/>
                    <a:pt x="146" y="191"/>
                  </a:cubicBezTo>
                  <a:cubicBezTo>
                    <a:pt x="146" y="192"/>
                    <a:pt x="145" y="193"/>
                    <a:pt x="145" y="193"/>
                  </a:cubicBezTo>
                  <a:cubicBezTo>
                    <a:pt x="143" y="197"/>
                    <a:pt x="141" y="200"/>
                    <a:pt x="142" y="203"/>
                  </a:cubicBezTo>
                  <a:cubicBezTo>
                    <a:pt x="142" y="205"/>
                    <a:pt x="143" y="207"/>
                    <a:pt x="143" y="208"/>
                  </a:cubicBezTo>
                  <a:cubicBezTo>
                    <a:pt x="144" y="212"/>
                    <a:pt x="145" y="215"/>
                    <a:pt x="145" y="219"/>
                  </a:cubicBezTo>
                  <a:cubicBezTo>
                    <a:pt x="144" y="220"/>
                    <a:pt x="142" y="220"/>
                    <a:pt x="141" y="220"/>
                  </a:cubicBezTo>
                  <a:cubicBezTo>
                    <a:pt x="140" y="220"/>
                    <a:pt x="140" y="220"/>
                    <a:pt x="139" y="220"/>
                  </a:cubicBezTo>
                  <a:cubicBezTo>
                    <a:pt x="139" y="219"/>
                    <a:pt x="138" y="219"/>
                    <a:pt x="138" y="216"/>
                  </a:cubicBezTo>
                  <a:cubicBezTo>
                    <a:pt x="138" y="214"/>
                    <a:pt x="138" y="213"/>
                    <a:pt x="138" y="212"/>
                  </a:cubicBezTo>
                  <a:cubicBezTo>
                    <a:pt x="139" y="209"/>
                    <a:pt x="139" y="208"/>
                    <a:pt x="136" y="205"/>
                  </a:cubicBezTo>
                  <a:cubicBezTo>
                    <a:pt x="135" y="205"/>
                    <a:pt x="134" y="204"/>
                    <a:pt x="133" y="203"/>
                  </a:cubicBezTo>
                  <a:cubicBezTo>
                    <a:pt x="129" y="200"/>
                    <a:pt x="125" y="196"/>
                    <a:pt x="123" y="192"/>
                  </a:cubicBezTo>
                  <a:cubicBezTo>
                    <a:pt x="122" y="191"/>
                    <a:pt x="122" y="190"/>
                    <a:pt x="122" y="189"/>
                  </a:cubicBezTo>
                  <a:cubicBezTo>
                    <a:pt x="122" y="188"/>
                    <a:pt x="122" y="188"/>
                    <a:pt x="122" y="187"/>
                  </a:cubicBezTo>
                  <a:cubicBezTo>
                    <a:pt x="122" y="185"/>
                    <a:pt x="121" y="184"/>
                    <a:pt x="120" y="183"/>
                  </a:cubicBezTo>
                  <a:cubicBezTo>
                    <a:pt x="120" y="182"/>
                    <a:pt x="120" y="182"/>
                    <a:pt x="119" y="181"/>
                  </a:cubicBezTo>
                  <a:cubicBezTo>
                    <a:pt x="118" y="177"/>
                    <a:pt x="118" y="177"/>
                    <a:pt x="119" y="175"/>
                  </a:cubicBezTo>
                  <a:cubicBezTo>
                    <a:pt x="120" y="174"/>
                    <a:pt x="120" y="173"/>
                    <a:pt x="121" y="172"/>
                  </a:cubicBezTo>
                  <a:cubicBezTo>
                    <a:pt x="122" y="171"/>
                    <a:pt x="122" y="169"/>
                    <a:pt x="122" y="167"/>
                  </a:cubicBezTo>
                  <a:cubicBezTo>
                    <a:pt x="123" y="166"/>
                    <a:pt x="123" y="164"/>
                    <a:pt x="124" y="163"/>
                  </a:cubicBezTo>
                  <a:cubicBezTo>
                    <a:pt x="128" y="155"/>
                    <a:pt x="130" y="142"/>
                    <a:pt x="124" y="134"/>
                  </a:cubicBezTo>
                  <a:cubicBezTo>
                    <a:pt x="123" y="131"/>
                    <a:pt x="120" y="130"/>
                    <a:pt x="118" y="130"/>
                  </a:cubicBezTo>
                  <a:cubicBezTo>
                    <a:pt x="115" y="130"/>
                    <a:pt x="113" y="131"/>
                    <a:pt x="110" y="132"/>
                  </a:cubicBezTo>
                  <a:cubicBezTo>
                    <a:pt x="107" y="133"/>
                    <a:pt x="104" y="134"/>
                    <a:pt x="101" y="134"/>
                  </a:cubicBezTo>
                  <a:cubicBezTo>
                    <a:pt x="101" y="134"/>
                    <a:pt x="101" y="134"/>
                    <a:pt x="101" y="134"/>
                  </a:cubicBezTo>
                  <a:cubicBezTo>
                    <a:pt x="98" y="134"/>
                    <a:pt x="95" y="129"/>
                    <a:pt x="93" y="125"/>
                  </a:cubicBezTo>
                  <a:cubicBezTo>
                    <a:pt x="91" y="122"/>
                    <a:pt x="90" y="120"/>
                    <a:pt x="89" y="119"/>
                  </a:cubicBezTo>
                  <a:cubicBezTo>
                    <a:pt x="88" y="118"/>
                    <a:pt x="88" y="117"/>
                    <a:pt x="88" y="117"/>
                  </a:cubicBezTo>
                  <a:cubicBezTo>
                    <a:pt x="87" y="116"/>
                    <a:pt x="87" y="116"/>
                    <a:pt x="87" y="116"/>
                  </a:cubicBezTo>
                  <a:cubicBezTo>
                    <a:pt x="85" y="117"/>
                    <a:pt x="85" y="117"/>
                    <a:pt x="85" y="117"/>
                  </a:cubicBezTo>
                  <a:cubicBezTo>
                    <a:pt x="85" y="117"/>
                    <a:pt x="85" y="117"/>
                    <a:pt x="84" y="117"/>
                  </a:cubicBezTo>
                  <a:cubicBezTo>
                    <a:pt x="84" y="117"/>
                    <a:pt x="83" y="117"/>
                    <a:pt x="83" y="117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1"/>
                    <a:pt x="1" y="151"/>
                    <a:pt x="1" y="151"/>
                  </a:cubicBezTo>
                  <a:cubicBezTo>
                    <a:pt x="1" y="152"/>
                    <a:pt x="1" y="154"/>
                    <a:pt x="3" y="157"/>
                  </a:cubicBezTo>
                  <a:cubicBezTo>
                    <a:pt x="4" y="160"/>
                    <a:pt x="5" y="163"/>
                    <a:pt x="6" y="166"/>
                  </a:cubicBezTo>
                  <a:cubicBezTo>
                    <a:pt x="7" y="183"/>
                    <a:pt x="7" y="183"/>
                    <a:pt x="7" y="183"/>
                  </a:cubicBezTo>
                  <a:cubicBezTo>
                    <a:pt x="29" y="183"/>
                    <a:pt x="29" y="183"/>
                    <a:pt x="29" y="183"/>
                  </a:cubicBezTo>
                  <a:cubicBezTo>
                    <a:pt x="30" y="184"/>
                    <a:pt x="31" y="184"/>
                    <a:pt x="32" y="185"/>
                  </a:cubicBezTo>
                  <a:cubicBezTo>
                    <a:pt x="33" y="187"/>
                    <a:pt x="35" y="188"/>
                    <a:pt x="38" y="188"/>
                  </a:cubicBezTo>
                  <a:cubicBezTo>
                    <a:pt x="42" y="189"/>
                    <a:pt x="44" y="189"/>
                    <a:pt x="47" y="193"/>
                  </a:cubicBezTo>
                  <a:cubicBezTo>
                    <a:pt x="48" y="194"/>
                    <a:pt x="48" y="194"/>
                    <a:pt x="48" y="194"/>
                  </a:cubicBezTo>
                  <a:cubicBezTo>
                    <a:pt x="50" y="196"/>
                    <a:pt x="52" y="198"/>
                    <a:pt x="56" y="198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198"/>
                    <a:pt x="57" y="198"/>
                    <a:pt x="58" y="198"/>
                  </a:cubicBezTo>
                  <a:cubicBezTo>
                    <a:pt x="59" y="198"/>
                    <a:pt x="60" y="198"/>
                    <a:pt x="61" y="198"/>
                  </a:cubicBezTo>
                  <a:cubicBezTo>
                    <a:pt x="62" y="198"/>
                    <a:pt x="64" y="198"/>
                    <a:pt x="66" y="199"/>
                  </a:cubicBezTo>
                  <a:cubicBezTo>
                    <a:pt x="68" y="200"/>
                    <a:pt x="69" y="201"/>
                    <a:pt x="71" y="202"/>
                  </a:cubicBezTo>
                  <a:cubicBezTo>
                    <a:pt x="72" y="203"/>
                    <a:pt x="73" y="204"/>
                    <a:pt x="75" y="205"/>
                  </a:cubicBezTo>
                  <a:cubicBezTo>
                    <a:pt x="78" y="207"/>
                    <a:pt x="78" y="208"/>
                    <a:pt x="77" y="211"/>
                  </a:cubicBezTo>
                  <a:cubicBezTo>
                    <a:pt x="77" y="211"/>
                    <a:pt x="77" y="212"/>
                    <a:pt x="76" y="213"/>
                  </a:cubicBezTo>
                  <a:cubicBezTo>
                    <a:pt x="76" y="216"/>
                    <a:pt x="77" y="217"/>
                    <a:pt x="78" y="219"/>
                  </a:cubicBezTo>
                  <a:cubicBezTo>
                    <a:pt x="78" y="220"/>
                    <a:pt x="78" y="221"/>
                    <a:pt x="79" y="222"/>
                  </a:cubicBezTo>
                  <a:cubicBezTo>
                    <a:pt x="80" y="225"/>
                    <a:pt x="79" y="227"/>
                    <a:pt x="79" y="229"/>
                  </a:cubicBezTo>
                  <a:cubicBezTo>
                    <a:pt x="79" y="230"/>
                    <a:pt x="79" y="231"/>
                    <a:pt x="79" y="232"/>
                  </a:cubicBezTo>
                  <a:cubicBezTo>
                    <a:pt x="79" y="235"/>
                    <a:pt x="79" y="238"/>
                    <a:pt x="79" y="241"/>
                  </a:cubicBezTo>
                  <a:cubicBezTo>
                    <a:pt x="79" y="244"/>
                    <a:pt x="78" y="247"/>
                    <a:pt x="78" y="250"/>
                  </a:cubicBezTo>
                  <a:cubicBezTo>
                    <a:pt x="78" y="251"/>
                    <a:pt x="78" y="253"/>
                    <a:pt x="79" y="254"/>
                  </a:cubicBezTo>
                  <a:cubicBezTo>
                    <a:pt x="79" y="257"/>
                    <a:pt x="79" y="261"/>
                    <a:pt x="79" y="262"/>
                  </a:cubicBezTo>
                  <a:cubicBezTo>
                    <a:pt x="78" y="263"/>
                    <a:pt x="78" y="264"/>
                    <a:pt x="77" y="264"/>
                  </a:cubicBezTo>
                  <a:cubicBezTo>
                    <a:pt x="76" y="265"/>
                    <a:pt x="76" y="266"/>
                    <a:pt x="75" y="267"/>
                  </a:cubicBezTo>
                  <a:cubicBezTo>
                    <a:pt x="75" y="268"/>
                    <a:pt x="75" y="269"/>
                    <a:pt x="75" y="270"/>
                  </a:cubicBezTo>
                  <a:cubicBezTo>
                    <a:pt x="75" y="271"/>
                    <a:pt x="75" y="273"/>
                    <a:pt x="74" y="274"/>
                  </a:cubicBezTo>
                  <a:cubicBezTo>
                    <a:pt x="74" y="274"/>
                    <a:pt x="73" y="275"/>
                    <a:pt x="72" y="275"/>
                  </a:cubicBezTo>
                  <a:cubicBezTo>
                    <a:pt x="71" y="276"/>
                    <a:pt x="70" y="276"/>
                    <a:pt x="70" y="278"/>
                  </a:cubicBezTo>
                  <a:cubicBezTo>
                    <a:pt x="70" y="279"/>
                    <a:pt x="71" y="280"/>
                    <a:pt x="72" y="282"/>
                  </a:cubicBezTo>
                  <a:cubicBezTo>
                    <a:pt x="73" y="282"/>
                    <a:pt x="73" y="283"/>
                    <a:pt x="74" y="284"/>
                  </a:cubicBezTo>
                  <a:cubicBezTo>
                    <a:pt x="74" y="286"/>
                    <a:pt x="74" y="287"/>
                    <a:pt x="74" y="288"/>
                  </a:cubicBezTo>
                  <a:cubicBezTo>
                    <a:pt x="73" y="289"/>
                    <a:pt x="73" y="289"/>
                    <a:pt x="73" y="289"/>
                  </a:cubicBezTo>
                  <a:cubicBezTo>
                    <a:pt x="72" y="293"/>
                    <a:pt x="72" y="299"/>
                    <a:pt x="74" y="301"/>
                  </a:cubicBezTo>
                  <a:cubicBezTo>
                    <a:pt x="74" y="303"/>
                    <a:pt x="75" y="303"/>
                    <a:pt x="76" y="304"/>
                  </a:cubicBezTo>
                  <a:cubicBezTo>
                    <a:pt x="77" y="306"/>
                    <a:pt x="79" y="307"/>
                    <a:pt x="78" y="310"/>
                  </a:cubicBezTo>
                  <a:cubicBezTo>
                    <a:pt x="78" y="313"/>
                    <a:pt x="77" y="315"/>
                    <a:pt x="75" y="317"/>
                  </a:cubicBezTo>
                  <a:cubicBezTo>
                    <a:pt x="75" y="318"/>
                    <a:pt x="74" y="319"/>
                    <a:pt x="73" y="320"/>
                  </a:cubicBezTo>
                  <a:cubicBezTo>
                    <a:pt x="72" y="324"/>
                    <a:pt x="70" y="327"/>
                    <a:pt x="68" y="330"/>
                  </a:cubicBezTo>
                  <a:cubicBezTo>
                    <a:pt x="67" y="332"/>
                    <a:pt x="67" y="332"/>
                    <a:pt x="66" y="333"/>
                  </a:cubicBezTo>
                  <a:cubicBezTo>
                    <a:pt x="65" y="333"/>
                    <a:pt x="65" y="333"/>
                    <a:pt x="64" y="333"/>
                  </a:cubicBezTo>
                  <a:cubicBezTo>
                    <a:pt x="62" y="335"/>
                    <a:pt x="62" y="335"/>
                    <a:pt x="62" y="337"/>
                  </a:cubicBezTo>
                  <a:cubicBezTo>
                    <a:pt x="62" y="339"/>
                    <a:pt x="62" y="340"/>
                    <a:pt x="62" y="341"/>
                  </a:cubicBezTo>
                  <a:cubicBezTo>
                    <a:pt x="62" y="344"/>
                    <a:pt x="62" y="346"/>
                    <a:pt x="61" y="349"/>
                  </a:cubicBezTo>
                  <a:cubicBezTo>
                    <a:pt x="60" y="349"/>
                    <a:pt x="60" y="350"/>
                    <a:pt x="60" y="350"/>
                  </a:cubicBezTo>
                  <a:cubicBezTo>
                    <a:pt x="59" y="351"/>
                    <a:pt x="59" y="352"/>
                    <a:pt x="59" y="353"/>
                  </a:cubicBezTo>
                  <a:cubicBezTo>
                    <a:pt x="59" y="354"/>
                    <a:pt x="59" y="355"/>
                    <a:pt x="59" y="355"/>
                  </a:cubicBezTo>
                  <a:cubicBezTo>
                    <a:pt x="59" y="358"/>
                    <a:pt x="59" y="359"/>
                    <a:pt x="57" y="361"/>
                  </a:cubicBezTo>
                  <a:cubicBezTo>
                    <a:pt x="57" y="362"/>
                    <a:pt x="56" y="362"/>
                    <a:pt x="55" y="363"/>
                  </a:cubicBezTo>
                  <a:cubicBezTo>
                    <a:pt x="54" y="365"/>
                    <a:pt x="54" y="365"/>
                    <a:pt x="54" y="365"/>
                  </a:cubicBezTo>
                  <a:cubicBezTo>
                    <a:pt x="26" y="395"/>
                    <a:pt x="26" y="395"/>
                    <a:pt x="26" y="395"/>
                  </a:cubicBezTo>
                  <a:cubicBezTo>
                    <a:pt x="26" y="396"/>
                    <a:pt x="26" y="396"/>
                    <a:pt x="26" y="396"/>
                  </a:cubicBezTo>
                  <a:cubicBezTo>
                    <a:pt x="27" y="398"/>
                    <a:pt x="27" y="401"/>
                    <a:pt x="28" y="403"/>
                  </a:cubicBezTo>
                  <a:cubicBezTo>
                    <a:pt x="28" y="405"/>
                    <a:pt x="28" y="406"/>
                    <a:pt x="29" y="407"/>
                  </a:cubicBezTo>
                  <a:cubicBezTo>
                    <a:pt x="29" y="409"/>
                    <a:pt x="30" y="411"/>
                    <a:pt x="30" y="413"/>
                  </a:cubicBezTo>
                  <a:cubicBezTo>
                    <a:pt x="31" y="415"/>
                    <a:pt x="32" y="417"/>
                    <a:pt x="32" y="419"/>
                  </a:cubicBezTo>
                  <a:cubicBezTo>
                    <a:pt x="33" y="421"/>
                    <a:pt x="33" y="423"/>
                    <a:pt x="33" y="425"/>
                  </a:cubicBezTo>
                  <a:cubicBezTo>
                    <a:pt x="33" y="427"/>
                    <a:pt x="33" y="429"/>
                    <a:pt x="33" y="431"/>
                  </a:cubicBezTo>
                  <a:cubicBezTo>
                    <a:pt x="35" y="436"/>
                    <a:pt x="37" y="439"/>
                    <a:pt x="38" y="442"/>
                  </a:cubicBezTo>
                  <a:cubicBezTo>
                    <a:pt x="39" y="442"/>
                    <a:pt x="39" y="443"/>
                    <a:pt x="39" y="443"/>
                  </a:cubicBezTo>
                  <a:cubicBezTo>
                    <a:pt x="40" y="444"/>
                    <a:pt x="41" y="445"/>
                    <a:pt x="41" y="447"/>
                  </a:cubicBezTo>
                  <a:cubicBezTo>
                    <a:pt x="41" y="447"/>
                    <a:pt x="41" y="448"/>
                    <a:pt x="41" y="449"/>
                  </a:cubicBezTo>
                  <a:cubicBezTo>
                    <a:pt x="41" y="450"/>
                    <a:pt x="40" y="452"/>
                    <a:pt x="41" y="453"/>
                  </a:cubicBezTo>
                  <a:cubicBezTo>
                    <a:pt x="41" y="455"/>
                    <a:pt x="42" y="456"/>
                    <a:pt x="42" y="458"/>
                  </a:cubicBezTo>
                  <a:cubicBezTo>
                    <a:pt x="43" y="460"/>
                    <a:pt x="44" y="461"/>
                    <a:pt x="44" y="464"/>
                  </a:cubicBezTo>
                  <a:cubicBezTo>
                    <a:pt x="44" y="468"/>
                    <a:pt x="43" y="472"/>
                    <a:pt x="43" y="476"/>
                  </a:cubicBezTo>
                  <a:cubicBezTo>
                    <a:pt x="43" y="476"/>
                    <a:pt x="43" y="476"/>
                    <a:pt x="43" y="476"/>
                  </a:cubicBezTo>
                  <a:cubicBezTo>
                    <a:pt x="43" y="480"/>
                    <a:pt x="42" y="484"/>
                    <a:pt x="42" y="488"/>
                  </a:cubicBezTo>
                  <a:cubicBezTo>
                    <a:pt x="42" y="490"/>
                    <a:pt x="42" y="492"/>
                    <a:pt x="42" y="494"/>
                  </a:cubicBezTo>
                  <a:cubicBezTo>
                    <a:pt x="42" y="494"/>
                    <a:pt x="42" y="494"/>
                    <a:pt x="42" y="494"/>
                  </a:cubicBezTo>
                  <a:cubicBezTo>
                    <a:pt x="42" y="496"/>
                    <a:pt x="42" y="499"/>
                    <a:pt x="42" y="501"/>
                  </a:cubicBezTo>
                  <a:cubicBezTo>
                    <a:pt x="42" y="503"/>
                    <a:pt x="41" y="504"/>
                    <a:pt x="41" y="506"/>
                  </a:cubicBezTo>
                  <a:cubicBezTo>
                    <a:pt x="40" y="508"/>
                    <a:pt x="40" y="509"/>
                    <a:pt x="39" y="511"/>
                  </a:cubicBezTo>
                  <a:cubicBezTo>
                    <a:pt x="39" y="512"/>
                    <a:pt x="39" y="512"/>
                    <a:pt x="39" y="512"/>
                  </a:cubicBezTo>
                  <a:cubicBezTo>
                    <a:pt x="41" y="513"/>
                    <a:pt x="41" y="513"/>
                    <a:pt x="41" y="513"/>
                  </a:cubicBezTo>
                  <a:cubicBezTo>
                    <a:pt x="41" y="514"/>
                    <a:pt x="41" y="514"/>
                    <a:pt x="42" y="514"/>
                  </a:cubicBezTo>
                  <a:cubicBezTo>
                    <a:pt x="44" y="516"/>
                    <a:pt x="44" y="518"/>
                    <a:pt x="43" y="522"/>
                  </a:cubicBezTo>
                  <a:cubicBezTo>
                    <a:pt x="43" y="523"/>
                    <a:pt x="43" y="525"/>
                    <a:pt x="43" y="526"/>
                  </a:cubicBezTo>
                  <a:cubicBezTo>
                    <a:pt x="43" y="527"/>
                    <a:pt x="43" y="527"/>
                    <a:pt x="43" y="527"/>
                  </a:cubicBezTo>
                  <a:cubicBezTo>
                    <a:pt x="43" y="531"/>
                    <a:pt x="44" y="534"/>
                    <a:pt x="43" y="538"/>
                  </a:cubicBezTo>
                  <a:cubicBezTo>
                    <a:pt x="43" y="539"/>
                    <a:pt x="43" y="539"/>
                    <a:pt x="43" y="539"/>
                  </a:cubicBezTo>
                  <a:cubicBezTo>
                    <a:pt x="44" y="540"/>
                    <a:pt x="44" y="540"/>
                    <a:pt x="44" y="540"/>
                  </a:cubicBezTo>
                  <a:cubicBezTo>
                    <a:pt x="47" y="541"/>
                    <a:pt x="51" y="541"/>
                    <a:pt x="53" y="542"/>
                  </a:cubicBezTo>
                  <a:cubicBezTo>
                    <a:pt x="56" y="542"/>
                    <a:pt x="60" y="542"/>
                    <a:pt x="63" y="543"/>
                  </a:cubicBezTo>
                  <a:cubicBezTo>
                    <a:pt x="65" y="544"/>
                    <a:pt x="65" y="544"/>
                    <a:pt x="65" y="544"/>
                  </a:cubicBezTo>
                  <a:cubicBezTo>
                    <a:pt x="65" y="542"/>
                    <a:pt x="65" y="542"/>
                    <a:pt x="65" y="542"/>
                  </a:cubicBezTo>
                  <a:cubicBezTo>
                    <a:pt x="65" y="542"/>
                    <a:pt x="65" y="541"/>
                    <a:pt x="66" y="541"/>
                  </a:cubicBezTo>
                  <a:cubicBezTo>
                    <a:pt x="66" y="540"/>
                    <a:pt x="66" y="540"/>
                    <a:pt x="66" y="540"/>
                  </a:cubicBezTo>
                  <a:cubicBezTo>
                    <a:pt x="67" y="536"/>
                    <a:pt x="68" y="532"/>
                    <a:pt x="69" y="527"/>
                  </a:cubicBezTo>
                  <a:cubicBezTo>
                    <a:pt x="69" y="525"/>
                    <a:pt x="69" y="522"/>
                    <a:pt x="67" y="520"/>
                  </a:cubicBezTo>
                  <a:cubicBezTo>
                    <a:pt x="67" y="519"/>
                    <a:pt x="66" y="519"/>
                    <a:pt x="66" y="518"/>
                  </a:cubicBezTo>
                  <a:cubicBezTo>
                    <a:pt x="65" y="518"/>
                    <a:pt x="64" y="517"/>
                    <a:pt x="64" y="516"/>
                  </a:cubicBezTo>
                  <a:cubicBezTo>
                    <a:pt x="62" y="513"/>
                    <a:pt x="62" y="509"/>
                    <a:pt x="63" y="506"/>
                  </a:cubicBezTo>
                  <a:cubicBezTo>
                    <a:pt x="64" y="502"/>
                    <a:pt x="67" y="499"/>
                    <a:pt x="69" y="496"/>
                  </a:cubicBezTo>
                  <a:cubicBezTo>
                    <a:pt x="70" y="496"/>
                    <a:pt x="71" y="496"/>
                    <a:pt x="72" y="495"/>
                  </a:cubicBezTo>
                  <a:cubicBezTo>
                    <a:pt x="73" y="495"/>
                    <a:pt x="74" y="494"/>
                    <a:pt x="75" y="493"/>
                  </a:cubicBezTo>
                  <a:cubicBezTo>
                    <a:pt x="76" y="492"/>
                    <a:pt x="76" y="492"/>
                    <a:pt x="76" y="492"/>
                  </a:cubicBezTo>
                  <a:cubicBezTo>
                    <a:pt x="78" y="491"/>
                    <a:pt x="78" y="491"/>
                    <a:pt x="80" y="490"/>
                  </a:cubicBezTo>
                  <a:cubicBezTo>
                    <a:pt x="81" y="490"/>
                    <a:pt x="81" y="489"/>
                    <a:pt x="82" y="489"/>
                  </a:cubicBezTo>
                  <a:cubicBezTo>
                    <a:pt x="84" y="488"/>
                    <a:pt x="85" y="488"/>
                    <a:pt x="86" y="487"/>
                  </a:cubicBezTo>
                  <a:cubicBezTo>
                    <a:pt x="87" y="487"/>
                    <a:pt x="88" y="487"/>
                    <a:pt x="89" y="487"/>
                  </a:cubicBezTo>
                  <a:cubicBezTo>
                    <a:pt x="91" y="486"/>
                    <a:pt x="92" y="486"/>
                    <a:pt x="93" y="485"/>
                  </a:cubicBezTo>
                  <a:cubicBezTo>
                    <a:pt x="95" y="485"/>
                    <a:pt x="96" y="484"/>
                    <a:pt x="98" y="483"/>
                  </a:cubicBezTo>
                  <a:cubicBezTo>
                    <a:pt x="98" y="483"/>
                    <a:pt x="99" y="483"/>
                    <a:pt x="100" y="482"/>
                  </a:cubicBezTo>
                  <a:cubicBezTo>
                    <a:pt x="100" y="482"/>
                    <a:pt x="102" y="481"/>
                    <a:pt x="103" y="481"/>
                  </a:cubicBezTo>
                  <a:cubicBezTo>
                    <a:pt x="104" y="481"/>
                    <a:pt x="105" y="480"/>
                    <a:pt x="106" y="480"/>
                  </a:cubicBezTo>
                  <a:cubicBezTo>
                    <a:pt x="108" y="479"/>
                    <a:pt x="111" y="478"/>
                    <a:pt x="113" y="477"/>
                  </a:cubicBezTo>
                  <a:cubicBezTo>
                    <a:pt x="115" y="476"/>
                    <a:pt x="116" y="475"/>
                    <a:pt x="118" y="475"/>
                  </a:cubicBezTo>
                  <a:cubicBezTo>
                    <a:pt x="125" y="473"/>
                    <a:pt x="131" y="468"/>
                    <a:pt x="137" y="463"/>
                  </a:cubicBezTo>
                  <a:cubicBezTo>
                    <a:pt x="138" y="462"/>
                    <a:pt x="138" y="462"/>
                    <a:pt x="138" y="462"/>
                  </a:cubicBezTo>
                  <a:cubicBezTo>
                    <a:pt x="143" y="457"/>
                    <a:pt x="145" y="448"/>
                    <a:pt x="145" y="441"/>
                  </a:cubicBezTo>
                  <a:cubicBezTo>
                    <a:pt x="145" y="439"/>
                    <a:pt x="145" y="439"/>
                    <a:pt x="145" y="439"/>
                  </a:cubicBezTo>
                  <a:cubicBezTo>
                    <a:pt x="144" y="439"/>
                    <a:pt x="144" y="439"/>
                    <a:pt x="144" y="439"/>
                  </a:cubicBezTo>
                  <a:cubicBezTo>
                    <a:pt x="143" y="439"/>
                    <a:pt x="143" y="439"/>
                    <a:pt x="143" y="439"/>
                  </a:cubicBezTo>
                  <a:cubicBezTo>
                    <a:pt x="143" y="439"/>
                    <a:pt x="143" y="439"/>
                    <a:pt x="143" y="439"/>
                  </a:cubicBezTo>
                  <a:cubicBezTo>
                    <a:pt x="142" y="439"/>
                    <a:pt x="142" y="439"/>
                    <a:pt x="142" y="439"/>
                  </a:cubicBezTo>
                  <a:cubicBezTo>
                    <a:pt x="142" y="439"/>
                    <a:pt x="142" y="439"/>
                    <a:pt x="142" y="439"/>
                  </a:cubicBezTo>
                  <a:cubicBezTo>
                    <a:pt x="142" y="437"/>
                    <a:pt x="142" y="436"/>
                    <a:pt x="142" y="434"/>
                  </a:cubicBezTo>
                  <a:cubicBezTo>
                    <a:pt x="142" y="433"/>
                    <a:pt x="142" y="432"/>
                    <a:pt x="143" y="430"/>
                  </a:cubicBezTo>
                  <a:cubicBezTo>
                    <a:pt x="144" y="428"/>
                    <a:pt x="145" y="425"/>
                    <a:pt x="146" y="422"/>
                  </a:cubicBezTo>
                  <a:cubicBezTo>
                    <a:pt x="146" y="421"/>
                    <a:pt x="146" y="421"/>
                    <a:pt x="146" y="420"/>
                  </a:cubicBezTo>
                  <a:cubicBezTo>
                    <a:pt x="146" y="419"/>
                    <a:pt x="146" y="418"/>
                    <a:pt x="146" y="418"/>
                  </a:cubicBezTo>
                  <a:cubicBezTo>
                    <a:pt x="146" y="417"/>
                    <a:pt x="147" y="417"/>
                    <a:pt x="147" y="416"/>
                  </a:cubicBezTo>
                  <a:cubicBezTo>
                    <a:pt x="147" y="416"/>
                    <a:pt x="148" y="415"/>
                    <a:pt x="148" y="414"/>
                  </a:cubicBezTo>
                  <a:cubicBezTo>
                    <a:pt x="148" y="412"/>
                    <a:pt x="148" y="410"/>
                    <a:pt x="147" y="409"/>
                  </a:cubicBezTo>
                  <a:cubicBezTo>
                    <a:pt x="146" y="406"/>
                    <a:pt x="145" y="401"/>
                    <a:pt x="146" y="398"/>
                  </a:cubicBezTo>
                  <a:cubicBezTo>
                    <a:pt x="146" y="397"/>
                    <a:pt x="147" y="397"/>
                    <a:pt x="147" y="396"/>
                  </a:cubicBezTo>
                  <a:cubicBezTo>
                    <a:pt x="148" y="393"/>
                    <a:pt x="149" y="391"/>
                    <a:pt x="149" y="388"/>
                  </a:cubicBezTo>
                  <a:cubicBezTo>
                    <a:pt x="149" y="386"/>
                    <a:pt x="147" y="383"/>
                    <a:pt x="145" y="383"/>
                  </a:cubicBezTo>
                  <a:cubicBezTo>
                    <a:pt x="144" y="383"/>
                    <a:pt x="144" y="384"/>
                    <a:pt x="143" y="384"/>
                  </a:cubicBezTo>
                  <a:cubicBezTo>
                    <a:pt x="143" y="384"/>
                    <a:pt x="143" y="384"/>
                    <a:pt x="142" y="384"/>
                  </a:cubicBezTo>
                  <a:cubicBezTo>
                    <a:pt x="142" y="384"/>
                    <a:pt x="143" y="383"/>
                    <a:pt x="143" y="383"/>
                  </a:cubicBezTo>
                  <a:cubicBezTo>
                    <a:pt x="143" y="380"/>
                    <a:pt x="143" y="379"/>
                    <a:pt x="142" y="376"/>
                  </a:cubicBezTo>
                  <a:cubicBezTo>
                    <a:pt x="141" y="375"/>
                    <a:pt x="141" y="374"/>
                    <a:pt x="141" y="373"/>
                  </a:cubicBezTo>
                  <a:cubicBezTo>
                    <a:pt x="141" y="372"/>
                    <a:pt x="141" y="372"/>
                    <a:pt x="141" y="371"/>
                  </a:cubicBezTo>
                  <a:cubicBezTo>
                    <a:pt x="141" y="369"/>
                    <a:pt x="140" y="367"/>
                    <a:pt x="140" y="366"/>
                  </a:cubicBezTo>
                  <a:cubicBezTo>
                    <a:pt x="139" y="365"/>
                    <a:pt x="139" y="365"/>
                    <a:pt x="139" y="365"/>
                  </a:cubicBezTo>
                  <a:cubicBezTo>
                    <a:pt x="139" y="364"/>
                    <a:pt x="138" y="363"/>
                    <a:pt x="138" y="362"/>
                  </a:cubicBezTo>
                  <a:cubicBezTo>
                    <a:pt x="138" y="361"/>
                    <a:pt x="137" y="361"/>
                    <a:pt x="137" y="360"/>
                  </a:cubicBezTo>
                  <a:cubicBezTo>
                    <a:pt x="136" y="357"/>
                    <a:pt x="136" y="353"/>
                    <a:pt x="137" y="350"/>
                  </a:cubicBezTo>
                  <a:cubicBezTo>
                    <a:pt x="138" y="347"/>
                    <a:pt x="137" y="345"/>
                    <a:pt x="136" y="343"/>
                  </a:cubicBezTo>
                  <a:cubicBezTo>
                    <a:pt x="135" y="342"/>
                    <a:pt x="135" y="341"/>
                    <a:pt x="134" y="340"/>
                  </a:cubicBezTo>
                  <a:cubicBezTo>
                    <a:pt x="134" y="340"/>
                    <a:pt x="134" y="340"/>
                    <a:pt x="134" y="340"/>
                  </a:cubicBezTo>
                  <a:cubicBezTo>
                    <a:pt x="134" y="339"/>
                    <a:pt x="134" y="338"/>
                    <a:pt x="134" y="337"/>
                  </a:cubicBezTo>
                  <a:cubicBezTo>
                    <a:pt x="133" y="337"/>
                    <a:pt x="133" y="336"/>
                    <a:pt x="132" y="336"/>
                  </a:cubicBezTo>
                  <a:cubicBezTo>
                    <a:pt x="132" y="336"/>
                    <a:pt x="132" y="336"/>
                    <a:pt x="132" y="336"/>
                  </a:cubicBezTo>
                  <a:cubicBezTo>
                    <a:pt x="131" y="335"/>
                    <a:pt x="130" y="334"/>
                    <a:pt x="130" y="334"/>
                  </a:cubicBezTo>
                  <a:cubicBezTo>
                    <a:pt x="129" y="333"/>
                    <a:pt x="129" y="333"/>
                    <a:pt x="128" y="332"/>
                  </a:cubicBezTo>
                  <a:cubicBezTo>
                    <a:pt x="126" y="330"/>
                    <a:pt x="125" y="328"/>
                    <a:pt x="126" y="326"/>
                  </a:cubicBezTo>
                  <a:cubicBezTo>
                    <a:pt x="126" y="324"/>
                    <a:pt x="127" y="323"/>
                    <a:pt x="127" y="321"/>
                  </a:cubicBezTo>
                  <a:cubicBezTo>
                    <a:pt x="127" y="320"/>
                    <a:pt x="128" y="318"/>
                    <a:pt x="128" y="317"/>
                  </a:cubicBezTo>
                  <a:cubicBezTo>
                    <a:pt x="128" y="316"/>
                    <a:pt x="128" y="316"/>
                    <a:pt x="128" y="316"/>
                  </a:cubicBezTo>
                  <a:cubicBezTo>
                    <a:pt x="129" y="313"/>
                    <a:pt x="129" y="312"/>
                    <a:pt x="131" y="311"/>
                  </a:cubicBezTo>
                  <a:cubicBezTo>
                    <a:pt x="137" y="308"/>
                    <a:pt x="142" y="303"/>
                    <a:pt x="146" y="298"/>
                  </a:cubicBezTo>
                  <a:cubicBezTo>
                    <a:pt x="147" y="297"/>
                    <a:pt x="148" y="296"/>
                    <a:pt x="149" y="295"/>
                  </a:cubicBezTo>
                  <a:cubicBezTo>
                    <a:pt x="150" y="294"/>
                    <a:pt x="151" y="293"/>
                    <a:pt x="152" y="292"/>
                  </a:cubicBezTo>
                  <a:cubicBezTo>
                    <a:pt x="154" y="290"/>
                    <a:pt x="156" y="288"/>
                    <a:pt x="158" y="286"/>
                  </a:cubicBezTo>
                  <a:cubicBezTo>
                    <a:pt x="159" y="285"/>
                    <a:pt x="161" y="284"/>
                    <a:pt x="162" y="282"/>
                  </a:cubicBezTo>
                  <a:cubicBezTo>
                    <a:pt x="163" y="282"/>
                    <a:pt x="163" y="282"/>
                    <a:pt x="163" y="282"/>
                  </a:cubicBezTo>
                  <a:cubicBezTo>
                    <a:pt x="163" y="281"/>
                    <a:pt x="164" y="280"/>
                    <a:pt x="165" y="280"/>
                  </a:cubicBezTo>
                  <a:cubicBezTo>
                    <a:pt x="165" y="280"/>
                    <a:pt x="166" y="280"/>
                    <a:pt x="166" y="280"/>
                  </a:cubicBezTo>
                  <a:cubicBezTo>
                    <a:pt x="167" y="280"/>
                    <a:pt x="168" y="281"/>
                    <a:pt x="169" y="281"/>
                  </a:cubicBezTo>
                  <a:cubicBezTo>
                    <a:pt x="169" y="281"/>
                    <a:pt x="170" y="281"/>
                    <a:pt x="171" y="280"/>
                  </a:cubicBezTo>
                  <a:cubicBezTo>
                    <a:pt x="172" y="280"/>
                    <a:pt x="173" y="279"/>
                    <a:pt x="174" y="277"/>
                  </a:cubicBezTo>
                  <a:cubicBezTo>
                    <a:pt x="177" y="276"/>
                    <a:pt x="177" y="273"/>
                    <a:pt x="178" y="271"/>
                  </a:cubicBezTo>
                  <a:cubicBezTo>
                    <a:pt x="178" y="271"/>
                    <a:pt x="178" y="270"/>
                    <a:pt x="178" y="270"/>
                  </a:cubicBezTo>
                  <a:cubicBezTo>
                    <a:pt x="178" y="270"/>
                    <a:pt x="178" y="269"/>
                    <a:pt x="178" y="269"/>
                  </a:cubicBezTo>
                  <a:cubicBezTo>
                    <a:pt x="178" y="268"/>
                    <a:pt x="179" y="268"/>
                    <a:pt x="179" y="267"/>
                  </a:cubicBezTo>
                  <a:cubicBezTo>
                    <a:pt x="180" y="267"/>
                    <a:pt x="180" y="267"/>
                    <a:pt x="181" y="266"/>
                  </a:cubicBezTo>
                  <a:cubicBezTo>
                    <a:pt x="182" y="265"/>
                    <a:pt x="182" y="265"/>
                    <a:pt x="182" y="265"/>
                  </a:cubicBezTo>
                  <a:cubicBezTo>
                    <a:pt x="185" y="262"/>
                    <a:pt x="188" y="260"/>
                    <a:pt x="190" y="257"/>
                  </a:cubicBezTo>
                  <a:cubicBezTo>
                    <a:pt x="191" y="256"/>
                    <a:pt x="192" y="254"/>
                    <a:pt x="192" y="253"/>
                  </a:cubicBezTo>
                  <a:cubicBezTo>
                    <a:pt x="193" y="252"/>
                    <a:pt x="193" y="252"/>
                    <a:pt x="193" y="251"/>
                  </a:cubicBezTo>
                  <a:cubicBezTo>
                    <a:pt x="194" y="250"/>
                    <a:pt x="195" y="249"/>
                    <a:pt x="196" y="247"/>
                  </a:cubicBezTo>
                  <a:cubicBezTo>
                    <a:pt x="196" y="246"/>
                    <a:pt x="196" y="246"/>
                    <a:pt x="196" y="246"/>
                  </a:cubicBezTo>
                  <a:cubicBezTo>
                    <a:pt x="200" y="240"/>
                    <a:pt x="206" y="235"/>
                    <a:pt x="214" y="231"/>
                  </a:cubicBezTo>
                  <a:cubicBezTo>
                    <a:pt x="216" y="230"/>
                    <a:pt x="218" y="229"/>
                    <a:pt x="220" y="229"/>
                  </a:cubicBezTo>
                  <a:cubicBezTo>
                    <a:pt x="221" y="228"/>
                    <a:pt x="223" y="228"/>
                    <a:pt x="224" y="227"/>
                  </a:cubicBezTo>
                  <a:cubicBezTo>
                    <a:pt x="226" y="226"/>
                    <a:pt x="227" y="226"/>
                    <a:pt x="229" y="225"/>
                  </a:cubicBezTo>
                  <a:cubicBezTo>
                    <a:pt x="231" y="224"/>
                    <a:pt x="232" y="223"/>
                    <a:pt x="234" y="222"/>
                  </a:cubicBezTo>
                  <a:cubicBezTo>
                    <a:pt x="236" y="221"/>
                    <a:pt x="239" y="221"/>
                    <a:pt x="241" y="220"/>
                  </a:cubicBezTo>
                  <a:cubicBezTo>
                    <a:pt x="246" y="219"/>
                    <a:pt x="251" y="218"/>
                    <a:pt x="255" y="215"/>
                  </a:cubicBezTo>
                  <a:cubicBezTo>
                    <a:pt x="256" y="215"/>
                    <a:pt x="256" y="214"/>
                    <a:pt x="257" y="213"/>
                  </a:cubicBezTo>
                  <a:cubicBezTo>
                    <a:pt x="258" y="212"/>
                    <a:pt x="258" y="212"/>
                    <a:pt x="259" y="211"/>
                  </a:cubicBezTo>
                  <a:cubicBezTo>
                    <a:pt x="260" y="211"/>
                    <a:pt x="260" y="211"/>
                    <a:pt x="260" y="211"/>
                  </a:cubicBezTo>
                  <a:cubicBezTo>
                    <a:pt x="261" y="210"/>
                    <a:pt x="262" y="209"/>
                    <a:pt x="263" y="208"/>
                  </a:cubicBezTo>
                  <a:cubicBezTo>
                    <a:pt x="265" y="207"/>
                    <a:pt x="266" y="206"/>
                    <a:pt x="267" y="206"/>
                  </a:cubicBezTo>
                  <a:cubicBezTo>
                    <a:pt x="271" y="204"/>
                    <a:pt x="275" y="202"/>
                    <a:pt x="276" y="198"/>
                  </a:cubicBezTo>
                  <a:cubicBezTo>
                    <a:pt x="277" y="197"/>
                    <a:pt x="277" y="196"/>
                    <a:pt x="277" y="195"/>
                  </a:cubicBezTo>
                  <a:cubicBezTo>
                    <a:pt x="277" y="195"/>
                    <a:pt x="277" y="195"/>
                    <a:pt x="277" y="194"/>
                  </a:cubicBezTo>
                  <a:cubicBezTo>
                    <a:pt x="277" y="193"/>
                    <a:pt x="278" y="193"/>
                    <a:pt x="279" y="192"/>
                  </a:cubicBezTo>
                  <a:cubicBezTo>
                    <a:pt x="280" y="192"/>
                    <a:pt x="280" y="191"/>
                    <a:pt x="281" y="191"/>
                  </a:cubicBezTo>
                  <a:cubicBezTo>
                    <a:pt x="282" y="190"/>
                    <a:pt x="283" y="188"/>
                    <a:pt x="284" y="186"/>
                  </a:cubicBezTo>
                  <a:cubicBezTo>
                    <a:pt x="284" y="185"/>
                    <a:pt x="285" y="185"/>
                    <a:pt x="285" y="184"/>
                  </a:cubicBezTo>
                  <a:cubicBezTo>
                    <a:pt x="286" y="183"/>
                    <a:pt x="287" y="182"/>
                    <a:pt x="288" y="181"/>
                  </a:cubicBezTo>
                  <a:cubicBezTo>
                    <a:pt x="289" y="180"/>
                    <a:pt x="289" y="180"/>
                    <a:pt x="290" y="179"/>
                  </a:cubicBezTo>
                  <a:cubicBezTo>
                    <a:pt x="290" y="179"/>
                    <a:pt x="290" y="178"/>
                    <a:pt x="291" y="177"/>
                  </a:cubicBezTo>
                  <a:cubicBezTo>
                    <a:pt x="291" y="177"/>
                    <a:pt x="291" y="177"/>
                    <a:pt x="292" y="176"/>
                  </a:cubicBezTo>
                  <a:cubicBezTo>
                    <a:pt x="292" y="176"/>
                    <a:pt x="292" y="176"/>
                    <a:pt x="293" y="176"/>
                  </a:cubicBezTo>
                  <a:cubicBezTo>
                    <a:pt x="293" y="175"/>
                    <a:pt x="294" y="175"/>
                    <a:pt x="294" y="174"/>
                  </a:cubicBezTo>
                  <a:cubicBezTo>
                    <a:pt x="295" y="173"/>
                    <a:pt x="295" y="173"/>
                    <a:pt x="295" y="173"/>
                  </a:cubicBezTo>
                  <a:cubicBezTo>
                    <a:pt x="296" y="171"/>
                    <a:pt x="297" y="170"/>
                    <a:pt x="298" y="169"/>
                  </a:cubicBezTo>
                  <a:cubicBezTo>
                    <a:pt x="299" y="168"/>
                    <a:pt x="299" y="167"/>
                    <a:pt x="299" y="166"/>
                  </a:cubicBezTo>
                  <a:cubicBezTo>
                    <a:pt x="299" y="166"/>
                    <a:pt x="300" y="166"/>
                    <a:pt x="300" y="165"/>
                  </a:cubicBezTo>
                  <a:cubicBezTo>
                    <a:pt x="300" y="165"/>
                    <a:pt x="300" y="165"/>
                    <a:pt x="300" y="165"/>
                  </a:cubicBezTo>
                  <a:cubicBezTo>
                    <a:pt x="301" y="164"/>
                    <a:pt x="301" y="163"/>
                    <a:pt x="302" y="163"/>
                  </a:cubicBezTo>
                  <a:cubicBezTo>
                    <a:pt x="302" y="162"/>
                    <a:pt x="302" y="162"/>
                    <a:pt x="302" y="162"/>
                  </a:cubicBezTo>
                  <a:cubicBezTo>
                    <a:pt x="302" y="161"/>
                    <a:pt x="303" y="160"/>
                    <a:pt x="303" y="159"/>
                  </a:cubicBezTo>
                  <a:cubicBezTo>
                    <a:pt x="303" y="157"/>
                    <a:pt x="303" y="156"/>
                    <a:pt x="302" y="155"/>
                  </a:cubicBezTo>
                  <a:cubicBezTo>
                    <a:pt x="302" y="155"/>
                    <a:pt x="302" y="155"/>
                    <a:pt x="302" y="155"/>
                  </a:cubicBezTo>
                  <a:cubicBezTo>
                    <a:pt x="301" y="154"/>
                    <a:pt x="302" y="153"/>
                    <a:pt x="303" y="152"/>
                  </a:cubicBezTo>
                  <a:cubicBezTo>
                    <a:pt x="303" y="152"/>
                    <a:pt x="303" y="152"/>
                    <a:pt x="303" y="152"/>
                  </a:cubicBezTo>
                  <a:cubicBezTo>
                    <a:pt x="304" y="151"/>
                    <a:pt x="304" y="151"/>
                    <a:pt x="305" y="149"/>
                  </a:cubicBezTo>
                  <a:cubicBezTo>
                    <a:pt x="305" y="149"/>
                    <a:pt x="305" y="149"/>
                    <a:pt x="305" y="149"/>
                  </a:cubicBezTo>
                  <a:cubicBezTo>
                    <a:pt x="305" y="148"/>
                    <a:pt x="305" y="147"/>
                    <a:pt x="306" y="147"/>
                  </a:cubicBezTo>
                  <a:cubicBezTo>
                    <a:pt x="307" y="145"/>
                    <a:pt x="308" y="143"/>
                    <a:pt x="308" y="141"/>
                  </a:cubicBezTo>
                  <a:cubicBezTo>
                    <a:pt x="308" y="140"/>
                    <a:pt x="308" y="139"/>
                    <a:pt x="308" y="138"/>
                  </a:cubicBezTo>
                  <a:cubicBezTo>
                    <a:pt x="308" y="137"/>
                    <a:pt x="308" y="137"/>
                    <a:pt x="308" y="135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0" name="Freeform 70"/>
            <p:cNvSpPr>
              <a:spLocks/>
            </p:cNvSpPr>
            <p:nvPr/>
          </p:nvSpPr>
          <p:spPr bwMode="auto">
            <a:xfrm>
              <a:off x="3752168" y="4103806"/>
              <a:ext cx="77006" cy="100680"/>
            </a:xfrm>
            <a:custGeom>
              <a:avLst/>
              <a:gdLst>
                <a:gd name="T0" fmla="*/ 37 w 38"/>
                <a:gd name="T1" fmla="*/ 23 h 54"/>
                <a:gd name="T2" fmla="*/ 38 w 38"/>
                <a:gd name="T3" fmla="*/ 19 h 54"/>
                <a:gd name="T4" fmla="*/ 36 w 38"/>
                <a:gd name="T5" fmla="*/ 11 h 54"/>
                <a:gd name="T6" fmla="*/ 31 w 38"/>
                <a:gd name="T7" fmla="*/ 8 h 54"/>
                <a:gd name="T8" fmla="*/ 24 w 38"/>
                <a:gd name="T9" fmla="*/ 4 h 54"/>
                <a:gd name="T10" fmla="*/ 23 w 38"/>
                <a:gd name="T11" fmla="*/ 2 h 54"/>
                <a:gd name="T12" fmla="*/ 21 w 38"/>
                <a:gd name="T13" fmla="*/ 0 h 54"/>
                <a:gd name="T14" fmla="*/ 19 w 38"/>
                <a:gd name="T15" fmla="*/ 0 h 54"/>
                <a:gd name="T16" fmla="*/ 19 w 38"/>
                <a:gd name="T17" fmla="*/ 0 h 54"/>
                <a:gd name="T18" fmla="*/ 16 w 38"/>
                <a:gd name="T19" fmla="*/ 2 h 54"/>
                <a:gd name="T20" fmla="*/ 9 w 38"/>
                <a:gd name="T21" fmla="*/ 11 h 54"/>
                <a:gd name="T22" fmla="*/ 5 w 38"/>
                <a:gd name="T23" fmla="*/ 17 h 54"/>
                <a:gd name="T24" fmla="*/ 0 w 38"/>
                <a:gd name="T25" fmla="*/ 30 h 54"/>
                <a:gd name="T26" fmla="*/ 0 w 38"/>
                <a:gd name="T27" fmla="*/ 31 h 54"/>
                <a:gd name="T28" fmla="*/ 2 w 38"/>
                <a:gd name="T29" fmla="*/ 35 h 54"/>
                <a:gd name="T30" fmla="*/ 2 w 38"/>
                <a:gd name="T31" fmla="*/ 36 h 54"/>
                <a:gd name="T32" fmla="*/ 2 w 38"/>
                <a:gd name="T33" fmla="*/ 36 h 54"/>
                <a:gd name="T34" fmla="*/ 6 w 38"/>
                <a:gd name="T35" fmla="*/ 37 h 54"/>
                <a:gd name="T36" fmla="*/ 6 w 38"/>
                <a:gd name="T37" fmla="*/ 37 h 54"/>
                <a:gd name="T38" fmla="*/ 7 w 38"/>
                <a:gd name="T39" fmla="*/ 36 h 54"/>
                <a:gd name="T40" fmla="*/ 7 w 38"/>
                <a:gd name="T41" fmla="*/ 38 h 54"/>
                <a:gd name="T42" fmla="*/ 11 w 38"/>
                <a:gd name="T43" fmla="*/ 48 h 54"/>
                <a:gd name="T44" fmla="*/ 11 w 38"/>
                <a:gd name="T45" fmla="*/ 49 h 54"/>
                <a:gd name="T46" fmla="*/ 11 w 38"/>
                <a:gd name="T47" fmla="*/ 50 h 54"/>
                <a:gd name="T48" fmla="*/ 12 w 38"/>
                <a:gd name="T49" fmla="*/ 51 h 54"/>
                <a:gd name="T50" fmla="*/ 13 w 38"/>
                <a:gd name="T51" fmla="*/ 51 h 54"/>
                <a:gd name="T52" fmla="*/ 15 w 38"/>
                <a:gd name="T53" fmla="*/ 51 h 54"/>
                <a:gd name="T54" fmla="*/ 17 w 38"/>
                <a:gd name="T55" fmla="*/ 51 h 54"/>
                <a:gd name="T56" fmla="*/ 18 w 38"/>
                <a:gd name="T57" fmla="*/ 51 h 54"/>
                <a:gd name="T58" fmla="*/ 19 w 38"/>
                <a:gd name="T59" fmla="*/ 51 h 54"/>
                <a:gd name="T60" fmla="*/ 23 w 38"/>
                <a:gd name="T61" fmla="*/ 53 h 54"/>
                <a:gd name="T62" fmla="*/ 29 w 38"/>
                <a:gd name="T63" fmla="*/ 54 h 54"/>
                <a:gd name="T64" fmla="*/ 32 w 38"/>
                <a:gd name="T65" fmla="*/ 53 h 54"/>
                <a:gd name="T66" fmla="*/ 35 w 38"/>
                <a:gd name="T67" fmla="*/ 43 h 54"/>
                <a:gd name="T68" fmla="*/ 36 w 38"/>
                <a:gd name="T69" fmla="*/ 38 h 54"/>
                <a:gd name="T70" fmla="*/ 37 w 38"/>
                <a:gd name="T71" fmla="*/ 24 h 54"/>
                <a:gd name="T72" fmla="*/ 37 w 38"/>
                <a:gd name="T73" fmla="*/ 2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8" h="54">
                  <a:moveTo>
                    <a:pt x="37" y="23"/>
                  </a:moveTo>
                  <a:cubicBezTo>
                    <a:pt x="37" y="22"/>
                    <a:pt x="37" y="20"/>
                    <a:pt x="38" y="19"/>
                  </a:cubicBezTo>
                  <a:cubicBezTo>
                    <a:pt x="38" y="16"/>
                    <a:pt x="38" y="13"/>
                    <a:pt x="36" y="11"/>
                  </a:cubicBezTo>
                  <a:cubicBezTo>
                    <a:pt x="34" y="9"/>
                    <a:pt x="33" y="9"/>
                    <a:pt x="31" y="8"/>
                  </a:cubicBezTo>
                  <a:cubicBezTo>
                    <a:pt x="28" y="7"/>
                    <a:pt x="26" y="6"/>
                    <a:pt x="24" y="4"/>
                  </a:cubicBezTo>
                  <a:cubicBezTo>
                    <a:pt x="23" y="3"/>
                    <a:pt x="23" y="3"/>
                    <a:pt x="23" y="2"/>
                  </a:cubicBezTo>
                  <a:cubicBezTo>
                    <a:pt x="22" y="1"/>
                    <a:pt x="21" y="1"/>
                    <a:pt x="21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8" y="1"/>
                    <a:pt x="17" y="1"/>
                    <a:pt x="16" y="2"/>
                  </a:cubicBezTo>
                  <a:cubicBezTo>
                    <a:pt x="13" y="5"/>
                    <a:pt x="11" y="8"/>
                    <a:pt x="9" y="11"/>
                  </a:cubicBezTo>
                  <a:cubicBezTo>
                    <a:pt x="8" y="13"/>
                    <a:pt x="7" y="15"/>
                    <a:pt x="5" y="17"/>
                  </a:cubicBezTo>
                  <a:cubicBezTo>
                    <a:pt x="2" y="21"/>
                    <a:pt x="0" y="25"/>
                    <a:pt x="0" y="3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3"/>
                    <a:pt x="0" y="34"/>
                    <a:pt x="2" y="35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3" y="36"/>
                    <a:pt x="5" y="37"/>
                    <a:pt x="6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7" y="43"/>
                    <a:pt x="7" y="44"/>
                    <a:pt x="11" y="48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3" y="51"/>
                    <a:pt x="13" y="51"/>
                  </a:cubicBezTo>
                  <a:cubicBezTo>
                    <a:pt x="14" y="51"/>
                    <a:pt x="14" y="51"/>
                    <a:pt x="15" y="51"/>
                  </a:cubicBezTo>
                  <a:cubicBezTo>
                    <a:pt x="16" y="51"/>
                    <a:pt x="16" y="51"/>
                    <a:pt x="17" y="51"/>
                  </a:cubicBezTo>
                  <a:cubicBezTo>
                    <a:pt x="17" y="51"/>
                    <a:pt x="17" y="51"/>
                    <a:pt x="18" y="51"/>
                  </a:cubicBezTo>
                  <a:cubicBezTo>
                    <a:pt x="18" y="51"/>
                    <a:pt x="18" y="51"/>
                    <a:pt x="19" y="51"/>
                  </a:cubicBezTo>
                  <a:cubicBezTo>
                    <a:pt x="20" y="52"/>
                    <a:pt x="21" y="52"/>
                    <a:pt x="23" y="53"/>
                  </a:cubicBezTo>
                  <a:cubicBezTo>
                    <a:pt x="25" y="53"/>
                    <a:pt x="27" y="54"/>
                    <a:pt x="29" y="54"/>
                  </a:cubicBezTo>
                  <a:cubicBezTo>
                    <a:pt x="30" y="54"/>
                    <a:pt x="31" y="54"/>
                    <a:pt x="32" y="53"/>
                  </a:cubicBezTo>
                  <a:cubicBezTo>
                    <a:pt x="34" y="52"/>
                    <a:pt x="34" y="49"/>
                    <a:pt x="35" y="43"/>
                  </a:cubicBezTo>
                  <a:cubicBezTo>
                    <a:pt x="36" y="41"/>
                    <a:pt x="36" y="39"/>
                    <a:pt x="36" y="38"/>
                  </a:cubicBezTo>
                  <a:cubicBezTo>
                    <a:pt x="38" y="33"/>
                    <a:pt x="38" y="29"/>
                    <a:pt x="37" y="24"/>
                  </a:cubicBezTo>
                  <a:lnTo>
                    <a:pt x="37" y="23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1" name="Freeform 71"/>
            <p:cNvSpPr>
              <a:spLocks/>
            </p:cNvSpPr>
            <p:nvPr/>
          </p:nvSpPr>
          <p:spPr bwMode="auto">
            <a:xfrm>
              <a:off x="1016798" y="1820006"/>
              <a:ext cx="44641" cy="23629"/>
            </a:xfrm>
            <a:custGeom>
              <a:avLst/>
              <a:gdLst>
                <a:gd name="T0" fmla="*/ 19 w 22"/>
                <a:gd name="T1" fmla="*/ 0 h 13"/>
                <a:gd name="T2" fmla="*/ 18 w 22"/>
                <a:gd name="T3" fmla="*/ 0 h 13"/>
                <a:gd name="T4" fmla="*/ 13 w 22"/>
                <a:gd name="T5" fmla="*/ 2 h 13"/>
                <a:gd name="T6" fmla="*/ 11 w 22"/>
                <a:gd name="T7" fmla="*/ 4 h 13"/>
                <a:gd name="T8" fmla="*/ 11 w 22"/>
                <a:gd name="T9" fmla="*/ 4 h 13"/>
                <a:gd name="T10" fmla="*/ 9 w 22"/>
                <a:gd name="T11" fmla="*/ 3 h 13"/>
                <a:gd name="T12" fmla="*/ 4 w 22"/>
                <a:gd name="T13" fmla="*/ 0 h 13"/>
                <a:gd name="T14" fmla="*/ 2 w 22"/>
                <a:gd name="T15" fmla="*/ 0 h 13"/>
                <a:gd name="T16" fmla="*/ 0 w 22"/>
                <a:gd name="T17" fmla="*/ 3 h 13"/>
                <a:gd name="T18" fmla="*/ 3 w 22"/>
                <a:gd name="T19" fmla="*/ 12 h 13"/>
                <a:gd name="T20" fmla="*/ 7 w 22"/>
                <a:gd name="T21" fmla="*/ 13 h 13"/>
                <a:gd name="T22" fmla="*/ 14 w 22"/>
                <a:gd name="T23" fmla="*/ 11 h 13"/>
                <a:gd name="T24" fmla="*/ 15 w 22"/>
                <a:gd name="T25" fmla="*/ 10 h 13"/>
                <a:gd name="T26" fmla="*/ 16 w 22"/>
                <a:gd name="T27" fmla="*/ 10 h 13"/>
                <a:gd name="T28" fmla="*/ 20 w 22"/>
                <a:gd name="T29" fmla="*/ 7 h 13"/>
                <a:gd name="T30" fmla="*/ 21 w 22"/>
                <a:gd name="T31" fmla="*/ 2 h 13"/>
                <a:gd name="T32" fmla="*/ 19 w 22"/>
                <a:gd name="T3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13">
                  <a:moveTo>
                    <a:pt x="19" y="0"/>
                  </a:moveTo>
                  <a:cubicBezTo>
                    <a:pt x="19" y="0"/>
                    <a:pt x="18" y="0"/>
                    <a:pt x="18" y="0"/>
                  </a:cubicBezTo>
                  <a:cubicBezTo>
                    <a:pt x="16" y="0"/>
                    <a:pt x="14" y="1"/>
                    <a:pt x="13" y="2"/>
                  </a:cubicBezTo>
                  <a:cubicBezTo>
                    <a:pt x="13" y="3"/>
                    <a:pt x="12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10" y="3"/>
                    <a:pt x="9" y="3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6"/>
                    <a:pt x="2" y="11"/>
                    <a:pt x="3" y="12"/>
                  </a:cubicBezTo>
                  <a:cubicBezTo>
                    <a:pt x="4" y="13"/>
                    <a:pt x="6" y="13"/>
                    <a:pt x="7" y="13"/>
                  </a:cubicBezTo>
                  <a:cubicBezTo>
                    <a:pt x="9" y="13"/>
                    <a:pt x="12" y="12"/>
                    <a:pt x="14" y="11"/>
                  </a:cubicBezTo>
                  <a:cubicBezTo>
                    <a:pt x="14" y="11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9"/>
                    <a:pt x="18" y="9"/>
                    <a:pt x="20" y="7"/>
                  </a:cubicBezTo>
                  <a:cubicBezTo>
                    <a:pt x="21" y="5"/>
                    <a:pt x="22" y="4"/>
                    <a:pt x="21" y="2"/>
                  </a:cubicBezTo>
                  <a:cubicBezTo>
                    <a:pt x="21" y="1"/>
                    <a:pt x="20" y="0"/>
                    <a:pt x="19" y="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2" name="Freeform 72"/>
            <p:cNvSpPr>
              <a:spLocks/>
            </p:cNvSpPr>
            <p:nvPr/>
          </p:nvSpPr>
          <p:spPr bwMode="auto">
            <a:xfrm>
              <a:off x="1003406" y="1739873"/>
              <a:ext cx="175215" cy="101708"/>
            </a:xfrm>
            <a:custGeom>
              <a:avLst/>
              <a:gdLst>
                <a:gd name="T0" fmla="*/ 86 w 87"/>
                <a:gd name="T1" fmla="*/ 11 h 55"/>
                <a:gd name="T2" fmla="*/ 86 w 87"/>
                <a:gd name="T3" fmla="*/ 2 h 55"/>
                <a:gd name="T4" fmla="*/ 84 w 87"/>
                <a:gd name="T5" fmla="*/ 0 h 55"/>
                <a:gd name="T6" fmla="*/ 63 w 87"/>
                <a:gd name="T7" fmla="*/ 0 h 55"/>
                <a:gd name="T8" fmla="*/ 41 w 87"/>
                <a:gd name="T9" fmla="*/ 0 h 55"/>
                <a:gd name="T10" fmla="*/ 33 w 87"/>
                <a:gd name="T11" fmla="*/ 6 h 55"/>
                <a:gd name="T12" fmla="*/ 21 w 87"/>
                <a:gd name="T13" fmla="*/ 7 h 55"/>
                <a:gd name="T14" fmla="*/ 12 w 87"/>
                <a:gd name="T15" fmla="*/ 7 h 55"/>
                <a:gd name="T16" fmla="*/ 1 w 87"/>
                <a:gd name="T17" fmla="*/ 11 h 55"/>
                <a:gd name="T18" fmla="*/ 1 w 87"/>
                <a:gd name="T19" fmla="*/ 15 h 55"/>
                <a:gd name="T20" fmla="*/ 6 w 87"/>
                <a:gd name="T21" fmla="*/ 18 h 55"/>
                <a:gd name="T22" fmla="*/ 12 w 87"/>
                <a:gd name="T23" fmla="*/ 26 h 55"/>
                <a:gd name="T24" fmla="*/ 16 w 87"/>
                <a:gd name="T25" fmla="*/ 30 h 55"/>
                <a:gd name="T26" fmla="*/ 19 w 87"/>
                <a:gd name="T27" fmla="*/ 36 h 55"/>
                <a:gd name="T28" fmla="*/ 18 w 87"/>
                <a:gd name="T29" fmla="*/ 36 h 55"/>
                <a:gd name="T30" fmla="*/ 18 w 87"/>
                <a:gd name="T31" fmla="*/ 41 h 55"/>
                <a:gd name="T32" fmla="*/ 22 w 87"/>
                <a:gd name="T33" fmla="*/ 42 h 55"/>
                <a:gd name="T34" fmla="*/ 22 w 87"/>
                <a:gd name="T35" fmla="*/ 35 h 55"/>
                <a:gd name="T36" fmla="*/ 27 w 87"/>
                <a:gd name="T37" fmla="*/ 30 h 55"/>
                <a:gd name="T38" fmla="*/ 30 w 87"/>
                <a:gd name="T39" fmla="*/ 28 h 55"/>
                <a:gd name="T40" fmla="*/ 31 w 87"/>
                <a:gd name="T41" fmla="*/ 28 h 55"/>
                <a:gd name="T42" fmla="*/ 31 w 87"/>
                <a:gd name="T43" fmla="*/ 34 h 55"/>
                <a:gd name="T44" fmla="*/ 32 w 87"/>
                <a:gd name="T45" fmla="*/ 37 h 55"/>
                <a:gd name="T46" fmla="*/ 32 w 87"/>
                <a:gd name="T47" fmla="*/ 41 h 55"/>
                <a:gd name="T48" fmla="*/ 36 w 87"/>
                <a:gd name="T49" fmla="*/ 48 h 55"/>
                <a:gd name="T50" fmla="*/ 39 w 87"/>
                <a:gd name="T51" fmla="*/ 52 h 55"/>
                <a:gd name="T52" fmla="*/ 42 w 87"/>
                <a:gd name="T53" fmla="*/ 53 h 55"/>
                <a:gd name="T54" fmla="*/ 45 w 87"/>
                <a:gd name="T55" fmla="*/ 55 h 55"/>
                <a:gd name="T56" fmla="*/ 50 w 87"/>
                <a:gd name="T57" fmla="*/ 49 h 55"/>
                <a:gd name="T58" fmla="*/ 55 w 87"/>
                <a:gd name="T59" fmla="*/ 42 h 55"/>
                <a:gd name="T60" fmla="*/ 66 w 87"/>
                <a:gd name="T61" fmla="*/ 36 h 55"/>
                <a:gd name="T62" fmla="*/ 75 w 87"/>
                <a:gd name="T63" fmla="*/ 34 h 55"/>
                <a:gd name="T64" fmla="*/ 84 w 87"/>
                <a:gd name="T65" fmla="*/ 21 h 55"/>
                <a:gd name="T66" fmla="*/ 79 w 87"/>
                <a:gd name="T67" fmla="*/ 1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7" h="55">
                  <a:moveTo>
                    <a:pt x="82" y="14"/>
                  </a:moveTo>
                  <a:cubicBezTo>
                    <a:pt x="84" y="13"/>
                    <a:pt x="86" y="13"/>
                    <a:pt x="86" y="11"/>
                  </a:cubicBezTo>
                  <a:cubicBezTo>
                    <a:pt x="87" y="9"/>
                    <a:pt x="87" y="6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1" y="0"/>
                    <a:pt x="77" y="0"/>
                    <a:pt x="74" y="0"/>
                  </a:cubicBezTo>
                  <a:cubicBezTo>
                    <a:pt x="70" y="0"/>
                    <a:pt x="67" y="0"/>
                    <a:pt x="63" y="0"/>
                  </a:cubicBezTo>
                  <a:cubicBezTo>
                    <a:pt x="58" y="0"/>
                    <a:pt x="54" y="0"/>
                    <a:pt x="49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8" y="3"/>
                    <a:pt x="35" y="5"/>
                    <a:pt x="33" y="6"/>
                  </a:cubicBezTo>
                  <a:cubicBezTo>
                    <a:pt x="31" y="7"/>
                    <a:pt x="29" y="7"/>
                    <a:pt x="26" y="7"/>
                  </a:cubicBezTo>
                  <a:cubicBezTo>
                    <a:pt x="25" y="7"/>
                    <a:pt x="23" y="7"/>
                    <a:pt x="21" y="7"/>
                  </a:cubicBezTo>
                  <a:cubicBezTo>
                    <a:pt x="20" y="7"/>
                    <a:pt x="18" y="7"/>
                    <a:pt x="16" y="7"/>
                  </a:cubicBezTo>
                  <a:cubicBezTo>
                    <a:pt x="15" y="7"/>
                    <a:pt x="14" y="7"/>
                    <a:pt x="12" y="7"/>
                  </a:cubicBezTo>
                  <a:cubicBezTo>
                    <a:pt x="9" y="8"/>
                    <a:pt x="6" y="8"/>
                    <a:pt x="3" y="10"/>
                  </a:cubicBezTo>
                  <a:cubicBezTo>
                    <a:pt x="3" y="10"/>
                    <a:pt x="2" y="11"/>
                    <a:pt x="1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6"/>
                    <a:pt x="4" y="17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9"/>
                    <a:pt x="6" y="20"/>
                    <a:pt x="7" y="22"/>
                  </a:cubicBezTo>
                  <a:cubicBezTo>
                    <a:pt x="8" y="24"/>
                    <a:pt x="10" y="25"/>
                    <a:pt x="12" y="26"/>
                  </a:cubicBezTo>
                  <a:cubicBezTo>
                    <a:pt x="12" y="27"/>
                    <a:pt x="13" y="28"/>
                    <a:pt x="13" y="29"/>
                  </a:cubicBezTo>
                  <a:cubicBezTo>
                    <a:pt x="14" y="30"/>
                    <a:pt x="15" y="30"/>
                    <a:pt x="16" y="30"/>
                  </a:cubicBezTo>
                  <a:cubicBezTo>
                    <a:pt x="16" y="32"/>
                    <a:pt x="16" y="35"/>
                    <a:pt x="19" y="35"/>
                  </a:cubicBezTo>
                  <a:cubicBezTo>
                    <a:pt x="19" y="36"/>
                    <a:pt x="19" y="35"/>
                    <a:pt x="19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19" y="36"/>
                    <a:pt x="18" y="36"/>
                  </a:cubicBezTo>
                  <a:cubicBezTo>
                    <a:pt x="16" y="36"/>
                    <a:pt x="15" y="41"/>
                    <a:pt x="18" y="41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20" y="43"/>
                    <a:pt x="21" y="43"/>
                    <a:pt x="22" y="42"/>
                  </a:cubicBezTo>
                  <a:cubicBezTo>
                    <a:pt x="23" y="41"/>
                    <a:pt x="23" y="39"/>
                    <a:pt x="23" y="38"/>
                  </a:cubicBezTo>
                  <a:cubicBezTo>
                    <a:pt x="23" y="37"/>
                    <a:pt x="23" y="36"/>
                    <a:pt x="22" y="35"/>
                  </a:cubicBezTo>
                  <a:cubicBezTo>
                    <a:pt x="23" y="34"/>
                    <a:pt x="24" y="32"/>
                    <a:pt x="24" y="31"/>
                  </a:cubicBezTo>
                  <a:cubicBezTo>
                    <a:pt x="25" y="31"/>
                    <a:pt x="26" y="30"/>
                    <a:pt x="27" y="30"/>
                  </a:cubicBezTo>
                  <a:cubicBezTo>
                    <a:pt x="27" y="29"/>
                    <a:pt x="28" y="29"/>
                    <a:pt x="28" y="28"/>
                  </a:cubicBezTo>
                  <a:cubicBezTo>
                    <a:pt x="29" y="28"/>
                    <a:pt x="29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1" y="28"/>
                    <a:pt x="31" y="28"/>
                  </a:cubicBezTo>
                  <a:cubicBezTo>
                    <a:pt x="31" y="29"/>
                    <a:pt x="30" y="29"/>
                    <a:pt x="30" y="30"/>
                  </a:cubicBezTo>
                  <a:cubicBezTo>
                    <a:pt x="30" y="31"/>
                    <a:pt x="29" y="32"/>
                    <a:pt x="31" y="34"/>
                  </a:cubicBezTo>
                  <a:cubicBezTo>
                    <a:pt x="31" y="35"/>
                    <a:pt x="32" y="36"/>
                    <a:pt x="33" y="36"/>
                  </a:cubicBezTo>
                  <a:cubicBezTo>
                    <a:pt x="32" y="36"/>
                    <a:pt x="32" y="36"/>
                    <a:pt x="32" y="37"/>
                  </a:cubicBezTo>
                  <a:cubicBezTo>
                    <a:pt x="32" y="37"/>
                    <a:pt x="31" y="38"/>
                    <a:pt x="31" y="40"/>
                  </a:cubicBezTo>
                  <a:cubicBezTo>
                    <a:pt x="31" y="40"/>
                    <a:pt x="32" y="41"/>
                    <a:pt x="32" y="41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1" y="46"/>
                    <a:pt x="34" y="47"/>
                    <a:pt x="36" y="48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8" y="49"/>
                    <a:pt x="39" y="50"/>
                    <a:pt x="39" y="52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4" y="54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8" y="53"/>
                    <a:pt x="49" y="51"/>
                    <a:pt x="50" y="49"/>
                  </a:cubicBezTo>
                  <a:cubicBezTo>
                    <a:pt x="51" y="49"/>
                    <a:pt x="51" y="48"/>
                    <a:pt x="52" y="46"/>
                  </a:cubicBezTo>
                  <a:cubicBezTo>
                    <a:pt x="53" y="45"/>
                    <a:pt x="53" y="43"/>
                    <a:pt x="55" y="42"/>
                  </a:cubicBezTo>
                  <a:cubicBezTo>
                    <a:pt x="57" y="40"/>
                    <a:pt x="59" y="39"/>
                    <a:pt x="61" y="38"/>
                  </a:cubicBezTo>
                  <a:cubicBezTo>
                    <a:pt x="63" y="37"/>
                    <a:pt x="65" y="37"/>
                    <a:pt x="66" y="36"/>
                  </a:cubicBezTo>
                  <a:cubicBezTo>
                    <a:pt x="67" y="35"/>
                    <a:pt x="68" y="35"/>
                    <a:pt x="69" y="35"/>
                  </a:cubicBezTo>
                  <a:cubicBezTo>
                    <a:pt x="70" y="34"/>
                    <a:pt x="73" y="34"/>
                    <a:pt x="75" y="34"/>
                  </a:cubicBezTo>
                  <a:cubicBezTo>
                    <a:pt x="79" y="33"/>
                    <a:pt x="84" y="33"/>
                    <a:pt x="85" y="30"/>
                  </a:cubicBezTo>
                  <a:cubicBezTo>
                    <a:pt x="86" y="27"/>
                    <a:pt x="86" y="23"/>
                    <a:pt x="84" y="21"/>
                  </a:cubicBezTo>
                  <a:cubicBezTo>
                    <a:pt x="83" y="21"/>
                    <a:pt x="82" y="20"/>
                    <a:pt x="81" y="20"/>
                  </a:cubicBezTo>
                  <a:cubicBezTo>
                    <a:pt x="79" y="19"/>
                    <a:pt x="78" y="18"/>
                    <a:pt x="79" y="16"/>
                  </a:cubicBezTo>
                  <a:cubicBezTo>
                    <a:pt x="79" y="15"/>
                    <a:pt x="80" y="14"/>
                    <a:pt x="82" y="14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3" name="Freeform 73"/>
            <p:cNvSpPr>
              <a:spLocks/>
            </p:cNvSpPr>
            <p:nvPr/>
          </p:nvSpPr>
          <p:spPr bwMode="auto">
            <a:xfrm>
              <a:off x="988898" y="1668986"/>
              <a:ext cx="186376" cy="51368"/>
            </a:xfrm>
            <a:custGeom>
              <a:avLst/>
              <a:gdLst>
                <a:gd name="T0" fmla="*/ 91 w 92"/>
                <a:gd name="T1" fmla="*/ 10 h 28"/>
                <a:gd name="T2" fmla="*/ 89 w 92"/>
                <a:gd name="T3" fmla="*/ 9 h 28"/>
                <a:gd name="T4" fmla="*/ 86 w 92"/>
                <a:gd name="T5" fmla="*/ 8 h 28"/>
                <a:gd name="T6" fmla="*/ 83 w 92"/>
                <a:gd name="T7" fmla="*/ 8 h 28"/>
                <a:gd name="T8" fmla="*/ 81 w 92"/>
                <a:gd name="T9" fmla="*/ 9 h 28"/>
                <a:gd name="T10" fmla="*/ 75 w 92"/>
                <a:gd name="T11" fmla="*/ 12 h 28"/>
                <a:gd name="T12" fmla="*/ 74 w 92"/>
                <a:gd name="T13" fmla="*/ 12 h 28"/>
                <a:gd name="T14" fmla="*/ 74 w 92"/>
                <a:gd name="T15" fmla="*/ 9 h 28"/>
                <a:gd name="T16" fmla="*/ 73 w 92"/>
                <a:gd name="T17" fmla="*/ 7 h 28"/>
                <a:gd name="T18" fmla="*/ 70 w 92"/>
                <a:gd name="T19" fmla="*/ 4 h 28"/>
                <a:gd name="T20" fmla="*/ 69 w 92"/>
                <a:gd name="T21" fmla="*/ 4 h 28"/>
                <a:gd name="T22" fmla="*/ 66 w 92"/>
                <a:gd name="T23" fmla="*/ 5 h 28"/>
                <a:gd name="T24" fmla="*/ 64 w 92"/>
                <a:gd name="T25" fmla="*/ 6 h 28"/>
                <a:gd name="T26" fmla="*/ 62 w 92"/>
                <a:gd name="T27" fmla="*/ 4 h 28"/>
                <a:gd name="T28" fmla="*/ 55 w 92"/>
                <a:gd name="T29" fmla="*/ 0 h 28"/>
                <a:gd name="T30" fmla="*/ 53 w 92"/>
                <a:gd name="T31" fmla="*/ 0 h 28"/>
                <a:gd name="T32" fmla="*/ 44 w 92"/>
                <a:gd name="T33" fmla="*/ 3 h 28"/>
                <a:gd name="T34" fmla="*/ 30 w 92"/>
                <a:gd name="T35" fmla="*/ 7 h 28"/>
                <a:gd name="T36" fmla="*/ 25 w 92"/>
                <a:gd name="T37" fmla="*/ 6 h 28"/>
                <a:gd name="T38" fmla="*/ 10 w 92"/>
                <a:gd name="T39" fmla="*/ 5 h 28"/>
                <a:gd name="T40" fmla="*/ 7 w 92"/>
                <a:gd name="T41" fmla="*/ 5 h 28"/>
                <a:gd name="T42" fmla="*/ 5 w 92"/>
                <a:gd name="T43" fmla="*/ 5 h 28"/>
                <a:gd name="T44" fmla="*/ 5 w 92"/>
                <a:gd name="T45" fmla="*/ 8 h 28"/>
                <a:gd name="T46" fmla="*/ 4 w 92"/>
                <a:gd name="T47" fmla="*/ 7 h 28"/>
                <a:gd name="T48" fmla="*/ 4 w 92"/>
                <a:gd name="T49" fmla="*/ 8 h 28"/>
                <a:gd name="T50" fmla="*/ 1 w 92"/>
                <a:gd name="T51" fmla="*/ 18 h 28"/>
                <a:gd name="T52" fmla="*/ 1 w 92"/>
                <a:gd name="T53" fmla="*/ 20 h 28"/>
                <a:gd name="T54" fmla="*/ 2 w 92"/>
                <a:gd name="T55" fmla="*/ 22 h 28"/>
                <a:gd name="T56" fmla="*/ 2 w 92"/>
                <a:gd name="T57" fmla="*/ 24 h 28"/>
                <a:gd name="T58" fmla="*/ 2 w 92"/>
                <a:gd name="T59" fmla="*/ 28 h 28"/>
                <a:gd name="T60" fmla="*/ 4 w 92"/>
                <a:gd name="T61" fmla="*/ 28 h 28"/>
                <a:gd name="T62" fmla="*/ 5 w 92"/>
                <a:gd name="T63" fmla="*/ 27 h 28"/>
                <a:gd name="T64" fmla="*/ 6 w 92"/>
                <a:gd name="T65" fmla="*/ 27 h 28"/>
                <a:gd name="T66" fmla="*/ 6 w 92"/>
                <a:gd name="T67" fmla="*/ 26 h 28"/>
                <a:gd name="T68" fmla="*/ 7 w 92"/>
                <a:gd name="T69" fmla="*/ 25 h 28"/>
                <a:gd name="T70" fmla="*/ 10 w 92"/>
                <a:gd name="T71" fmla="*/ 24 h 28"/>
                <a:gd name="T72" fmla="*/ 13 w 92"/>
                <a:gd name="T73" fmla="*/ 24 h 28"/>
                <a:gd name="T74" fmla="*/ 14 w 92"/>
                <a:gd name="T75" fmla="*/ 24 h 28"/>
                <a:gd name="T76" fmla="*/ 18 w 92"/>
                <a:gd name="T77" fmla="*/ 25 h 28"/>
                <a:gd name="T78" fmla="*/ 29 w 92"/>
                <a:gd name="T79" fmla="*/ 24 h 28"/>
                <a:gd name="T80" fmla="*/ 33 w 92"/>
                <a:gd name="T81" fmla="*/ 21 h 28"/>
                <a:gd name="T82" fmla="*/ 34 w 92"/>
                <a:gd name="T83" fmla="*/ 19 h 28"/>
                <a:gd name="T84" fmla="*/ 39 w 92"/>
                <a:gd name="T85" fmla="*/ 18 h 28"/>
                <a:gd name="T86" fmla="*/ 48 w 92"/>
                <a:gd name="T87" fmla="*/ 16 h 28"/>
                <a:gd name="T88" fmla="*/ 50 w 92"/>
                <a:gd name="T89" fmla="*/ 13 h 28"/>
                <a:gd name="T90" fmla="*/ 51 w 92"/>
                <a:gd name="T91" fmla="*/ 11 h 28"/>
                <a:gd name="T92" fmla="*/ 53 w 92"/>
                <a:gd name="T93" fmla="*/ 10 h 28"/>
                <a:gd name="T94" fmla="*/ 55 w 92"/>
                <a:gd name="T95" fmla="*/ 12 h 28"/>
                <a:gd name="T96" fmla="*/ 56 w 92"/>
                <a:gd name="T97" fmla="*/ 13 h 28"/>
                <a:gd name="T98" fmla="*/ 60 w 92"/>
                <a:gd name="T99" fmla="*/ 14 h 28"/>
                <a:gd name="T100" fmla="*/ 62 w 92"/>
                <a:gd name="T101" fmla="*/ 15 h 28"/>
                <a:gd name="T102" fmla="*/ 66 w 92"/>
                <a:gd name="T103" fmla="*/ 16 h 28"/>
                <a:gd name="T104" fmla="*/ 69 w 92"/>
                <a:gd name="T105" fmla="*/ 17 h 28"/>
                <a:gd name="T106" fmla="*/ 71 w 92"/>
                <a:gd name="T107" fmla="*/ 19 h 28"/>
                <a:gd name="T108" fmla="*/ 75 w 92"/>
                <a:gd name="T109" fmla="*/ 21 h 28"/>
                <a:gd name="T110" fmla="*/ 77 w 92"/>
                <a:gd name="T111" fmla="*/ 21 h 28"/>
                <a:gd name="T112" fmla="*/ 82 w 92"/>
                <a:gd name="T113" fmla="*/ 20 h 28"/>
                <a:gd name="T114" fmla="*/ 86 w 92"/>
                <a:gd name="T115" fmla="*/ 18 h 28"/>
                <a:gd name="T116" fmla="*/ 92 w 92"/>
                <a:gd name="T117" fmla="*/ 12 h 28"/>
                <a:gd name="T118" fmla="*/ 92 w 92"/>
                <a:gd name="T119" fmla="*/ 11 h 28"/>
                <a:gd name="T120" fmla="*/ 91 w 92"/>
                <a:gd name="T121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2" h="28">
                  <a:moveTo>
                    <a:pt x="91" y="10"/>
                  </a:moveTo>
                  <a:cubicBezTo>
                    <a:pt x="90" y="10"/>
                    <a:pt x="90" y="10"/>
                    <a:pt x="89" y="9"/>
                  </a:cubicBezTo>
                  <a:cubicBezTo>
                    <a:pt x="88" y="8"/>
                    <a:pt x="87" y="8"/>
                    <a:pt x="86" y="8"/>
                  </a:cubicBezTo>
                  <a:cubicBezTo>
                    <a:pt x="85" y="8"/>
                    <a:pt x="84" y="8"/>
                    <a:pt x="83" y="8"/>
                  </a:cubicBezTo>
                  <a:cubicBezTo>
                    <a:pt x="83" y="9"/>
                    <a:pt x="82" y="9"/>
                    <a:pt x="81" y="9"/>
                  </a:cubicBezTo>
                  <a:cubicBezTo>
                    <a:pt x="79" y="11"/>
                    <a:pt x="77" y="12"/>
                    <a:pt x="75" y="12"/>
                  </a:cubicBezTo>
                  <a:cubicBezTo>
                    <a:pt x="75" y="12"/>
                    <a:pt x="75" y="12"/>
                    <a:pt x="74" y="12"/>
                  </a:cubicBezTo>
                  <a:cubicBezTo>
                    <a:pt x="74" y="11"/>
                    <a:pt x="74" y="10"/>
                    <a:pt x="74" y="9"/>
                  </a:cubicBezTo>
                  <a:cubicBezTo>
                    <a:pt x="74" y="8"/>
                    <a:pt x="74" y="8"/>
                    <a:pt x="73" y="7"/>
                  </a:cubicBezTo>
                  <a:cubicBezTo>
                    <a:pt x="73" y="6"/>
                    <a:pt x="72" y="5"/>
                    <a:pt x="70" y="4"/>
                  </a:cubicBezTo>
                  <a:cubicBezTo>
                    <a:pt x="70" y="4"/>
                    <a:pt x="69" y="4"/>
                    <a:pt x="69" y="4"/>
                  </a:cubicBezTo>
                  <a:cubicBezTo>
                    <a:pt x="68" y="4"/>
                    <a:pt x="67" y="5"/>
                    <a:pt x="66" y="5"/>
                  </a:cubicBezTo>
                  <a:cubicBezTo>
                    <a:pt x="66" y="5"/>
                    <a:pt x="65" y="6"/>
                    <a:pt x="64" y="6"/>
                  </a:cubicBezTo>
                  <a:cubicBezTo>
                    <a:pt x="64" y="6"/>
                    <a:pt x="63" y="6"/>
                    <a:pt x="62" y="4"/>
                  </a:cubicBezTo>
                  <a:cubicBezTo>
                    <a:pt x="60" y="1"/>
                    <a:pt x="59" y="0"/>
                    <a:pt x="55" y="0"/>
                  </a:cubicBezTo>
                  <a:cubicBezTo>
                    <a:pt x="54" y="0"/>
                    <a:pt x="53" y="0"/>
                    <a:pt x="53" y="0"/>
                  </a:cubicBezTo>
                  <a:cubicBezTo>
                    <a:pt x="49" y="0"/>
                    <a:pt x="47" y="1"/>
                    <a:pt x="44" y="3"/>
                  </a:cubicBezTo>
                  <a:cubicBezTo>
                    <a:pt x="40" y="5"/>
                    <a:pt x="35" y="7"/>
                    <a:pt x="30" y="7"/>
                  </a:cubicBezTo>
                  <a:cubicBezTo>
                    <a:pt x="29" y="7"/>
                    <a:pt x="27" y="7"/>
                    <a:pt x="25" y="6"/>
                  </a:cubicBezTo>
                  <a:cubicBezTo>
                    <a:pt x="22" y="6"/>
                    <a:pt x="16" y="5"/>
                    <a:pt x="10" y="5"/>
                  </a:cubicBezTo>
                  <a:cubicBezTo>
                    <a:pt x="9" y="5"/>
                    <a:pt x="8" y="5"/>
                    <a:pt x="7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8"/>
                    <a:pt x="5" y="8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11"/>
                    <a:pt x="0" y="14"/>
                    <a:pt x="1" y="18"/>
                  </a:cubicBezTo>
                  <a:cubicBezTo>
                    <a:pt x="1" y="19"/>
                    <a:pt x="1" y="19"/>
                    <a:pt x="1" y="20"/>
                  </a:cubicBezTo>
                  <a:cubicBezTo>
                    <a:pt x="1" y="21"/>
                    <a:pt x="2" y="21"/>
                    <a:pt x="2" y="22"/>
                  </a:cubicBezTo>
                  <a:cubicBezTo>
                    <a:pt x="2" y="22"/>
                    <a:pt x="2" y="23"/>
                    <a:pt x="2" y="24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7" y="25"/>
                  </a:cubicBezTo>
                  <a:cubicBezTo>
                    <a:pt x="8" y="24"/>
                    <a:pt x="9" y="24"/>
                    <a:pt x="10" y="24"/>
                  </a:cubicBezTo>
                  <a:cubicBezTo>
                    <a:pt x="11" y="24"/>
                    <a:pt x="12" y="24"/>
                    <a:pt x="13" y="24"/>
                  </a:cubicBezTo>
                  <a:cubicBezTo>
                    <a:pt x="13" y="24"/>
                    <a:pt x="13" y="24"/>
                    <a:pt x="14" y="24"/>
                  </a:cubicBezTo>
                  <a:cubicBezTo>
                    <a:pt x="15" y="24"/>
                    <a:pt x="17" y="25"/>
                    <a:pt x="18" y="25"/>
                  </a:cubicBezTo>
                  <a:cubicBezTo>
                    <a:pt x="21" y="25"/>
                    <a:pt x="25" y="24"/>
                    <a:pt x="29" y="24"/>
                  </a:cubicBezTo>
                  <a:cubicBezTo>
                    <a:pt x="32" y="23"/>
                    <a:pt x="32" y="23"/>
                    <a:pt x="33" y="21"/>
                  </a:cubicBezTo>
                  <a:cubicBezTo>
                    <a:pt x="33" y="20"/>
                    <a:pt x="34" y="20"/>
                    <a:pt x="34" y="19"/>
                  </a:cubicBezTo>
                  <a:cubicBezTo>
                    <a:pt x="36" y="19"/>
                    <a:pt x="37" y="18"/>
                    <a:pt x="39" y="18"/>
                  </a:cubicBezTo>
                  <a:cubicBezTo>
                    <a:pt x="42" y="18"/>
                    <a:pt x="45" y="17"/>
                    <a:pt x="48" y="16"/>
                  </a:cubicBezTo>
                  <a:cubicBezTo>
                    <a:pt x="50" y="15"/>
                    <a:pt x="50" y="14"/>
                    <a:pt x="50" y="13"/>
                  </a:cubicBezTo>
                  <a:cubicBezTo>
                    <a:pt x="50" y="12"/>
                    <a:pt x="50" y="11"/>
                    <a:pt x="51" y="11"/>
                  </a:cubicBezTo>
                  <a:cubicBezTo>
                    <a:pt x="52" y="10"/>
                    <a:pt x="52" y="10"/>
                    <a:pt x="53" y="10"/>
                  </a:cubicBezTo>
                  <a:cubicBezTo>
                    <a:pt x="53" y="10"/>
                    <a:pt x="54" y="11"/>
                    <a:pt x="55" y="12"/>
                  </a:cubicBezTo>
                  <a:cubicBezTo>
                    <a:pt x="55" y="12"/>
                    <a:pt x="56" y="12"/>
                    <a:pt x="56" y="13"/>
                  </a:cubicBezTo>
                  <a:cubicBezTo>
                    <a:pt x="57" y="13"/>
                    <a:pt x="59" y="14"/>
                    <a:pt x="60" y="14"/>
                  </a:cubicBezTo>
                  <a:cubicBezTo>
                    <a:pt x="61" y="15"/>
                    <a:pt x="62" y="15"/>
                    <a:pt x="62" y="15"/>
                  </a:cubicBezTo>
                  <a:cubicBezTo>
                    <a:pt x="63" y="16"/>
                    <a:pt x="65" y="16"/>
                    <a:pt x="66" y="16"/>
                  </a:cubicBezTo>
                  <a:cubicBezTo>
                    <a:pt x="67" y="17"/>
                    <a:pt x="68" y="17"/>
                    <a:pt x="69" y="17"/>
                  </a:cubicBezTo>
                  <a:cubicBezTo>
                    <a:pt x="70" y="18"/>
                    <a:pt x="70" y="18"/>
                    <a:pt x="71" y="19"/>
                  </a:cubicBezTo>
                  <a:cubicBezTo>
                    <a:pt x="72" y="20"/>
                    <a:pt x="74" y="20"/>
                    <a:pt x="75" y="21"/>
                  </a:cubicBezTo>
                  <a:cubicBezTo>
                    <a:pt x="76" y="21"/>
                    <a:pt x="76" y="21"/>
                    <a:pt x="77" y="21"/>
                  </a:cubicBezTo>
                  <a:cubicBezTo>
                    <a:pt x="78" y="21"/>
                    <a:pt x="80" y="21"/>
                    <a:pt x="82" y="20"/>
                  </a:cubicBezTo>
                  <a:cubicBezTo>
                    <a:pt x="83" y="19"/>
                    <a:pt x="85" y="18"/>
                    <a:pt x="86" y="18"/>
                  </a:cubicBezTo>
                  <a:cubicBezTo>
                    <a:pt x="89" y="17"/>
                    <a:pt x="91" y="16"/>
                    <a:pt x="92" y="12"/>
                  </a:cubicBezTo>
                  <a:cubicBezTo>
                    <a:pt x="92" y="11"/>
                    <a:pt x="92" y="11"/>
                    <a:pt x="92" y="11"/>
                  </a:cubicBezTo>
                  <a:lnTo>
                    <a:pt x="91" y="1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4" name="Freeform 74"/>
            <p:cNvSpPr>
              <a:spLocks/>
            </p:cNvSpPr>
            <p:nvPr/>
          </p:nvSpPr>
          <p:spPr bwMode="auto">
            <a:xfrm>
              <a:off x="1093804" y="1739873"/>
              <a:ext cx="433017" cy="339026"/>
            </a:xfrm>
            <a:custGeom>
              <a:avLst/>
              <a:gdLst>
                <a:gd name="T0" fmla="*/ 208 w 214"/>
                <a:gd name="T1" fmla="*/ 130 h 182"/>
                <a:gd name="T2" fmla="*/ 209 w 214"/>
                <a:gd name="T3" fmla="*/ 121 h 182"/>
                <a:gd name="T4" fmla="*/ 207 w 214"/>
                <a:gd name="T5" fmla="*/ 112 h 182"/>
                <a:gd name="T6" fmla="*/ 201 w 214"/>
                <a:gd name="T7" fmla="*/ 89 h 182"/>
                <a:gd name="T8" fmla="*/ 197 w 214"/>
                <a:gd name="T9" fmla="*/ 71 h 182"/>
                <a:gd name="T10" fmla="*/ 194 w 214"/>
                <a:gd name="T11" fmla="*/ 54 h 182"/>
                <a:gd name="T12" fmla="*/ 186 w 214"/>
                <a:gd name="T13" fmla="*/ 57 h 182"/>
                <a:gd name="T14" fmla="*/ 193 w 214"/>
                <a:gd name="T15" fmla="*/ 44 h 182"/>
                <a:gd name="T16" fmla="*/ 181 w 214"/>
                <a:gd name="T17" fmla="*/ 23 h 182"/>
                <a:gd name="T18" fmla="*/ 169 w 214"/>
                <a:gd name="T19" fmla="*/ 6 h 182"/>
                <a:gd name="T20" fmla="*/ 166 w 214"/>
                <a:gd name="T21" fmla="*/ 10 h 182"/>
                <a:gd name="T22" fmla="*/ 156 w 214"/>
                <a:gd name="T23" fmla="*/ 18 h 182"/>
                <a:gd name="T24" fmla="*/ 141 w 214"/>
                <a:gd name="T25" fmla="*/ 15 h 182"/>
                <a:gd name="T26" fmla="*/ 126 w 214"/>
                <a:gd name="T27" fmla="*/ 24 h 182"/>
                <a:gd name="T28" fmla="*/ 115 w 214"/>
                <a:gd name="T29" fmla="*/ 19 h 182"/>
                <a:gd name="T30" fmla="*/ 105 w 214"/>
                <a:gd name="T31" fmla="*/ 15 h 182"/>
                <a:gd name="T32" fmla="*/ 104 w 214"/>
                <a:gd name="T33" fmla="*/ 8 h 182"/>
                <a:gd name="T34" fmla="*/ 92 w 214"/>
                <a:gd name="T35" fmla="*/ 9 h 182"/>
                <a:gd name="T36" fmla="*/ 81 w 214"/>
                <a:gd name="T37" fmla="*/ 11 h 182"/>
                <a:gd name="T38" fmla="*/ 76 w 214"/>
                <a:gd name="T39" fmla="*/ 8 h 182"/>
                <a:gd name="T40" fmla="*/ 73 w 214"/>
                <a:gd name="T41" fmla="*/ 9 h 182"/>
                <a:gd name="T42" fmla="*/ 67 w 214"/>
                <a:gd name="T43" fmla="*/ 6 h 182"/>
                <a:gd name="T44" fmla="*/ 58 w 214"/>
                <a:gd name="T45" fmla="*/ 0 h 182"/>
                <a:gd name="T46" fmla="*/ 52 w 214"/>
                <a:gd name="T47" fmla="*/ 0 h 182"/>
                <a:gd name="T48" fmla="*/ 41 w 214"/>
                <a:gd name="T49" fmla="*/ 11 h 182"/>
                <a:gd name="T50" fmla="*/ 38 w 214"/>
                <a:gd name="T51" fmla="*/ 22 h 182"/>
                <a:gd name="T52" fmla="*/ 21 w 214"/>
                <a:gd name="T53" fmla="*/ 35 h 182"/>
                <a:gd name="T54" fmla="*/ 5 w 214"/>
                <a:gd name="T55" fmla="*/ 49 h 182"/>
                <a:gd name="T56" fmla="*/ 2 w 214"/>
                <a:gd name="T57" fmla="*/ 58 h 182"/>
                <a:gd name="T58" fmla="*/ 7 w 214"/>
                <a:gd name="T59" fmla="*/ 64 h 182"/>
                <a:gd name="T60" fmla="*/ 12 w 214"/>
                <a:gd name="T61" fmla="*/ 75 h 182"/>
                <a:gd name="T62" fmla="*/ 24 w 214"/>
                <a:gd name="T63" fmla="*/ 86 h 182"/>
                <a:gd name="T64" fmla="*/ 27 w 214"/>
                <a:gd name="T65" fmla="*/ 89 h 182"/>
                <a:gd name="T66" fmla="*/ 37 w 214"/>
                <a:gd name="T67" fmla="*/ 99 h 182"/>
                <a:gd name="T68" fmla="*/ 46 w 214"/>
                <a:gd name="T69" fmla="*/ 112 h 182"/>
                <a:gd name="T70" fmla="*/ 48 w 214"/>
                <a:gd name="T71" fmla="*/ 121 h 182"/>
                <a:gd name="T72" fmla="*/ 61 w 214"/>
                <a:gd name="T73" fmla="*/ 116 h 182"/>
                <a:gd name="T74" fmla="*/ 70 w 214"/>
                <a:gd name="T75" fmla="*/ 104 h 182"/>
                <a:gd name="T76" fmla="*/ 80 w 214"/>
                <a:gd name="T77" fmla="*/ 91 h 182"/>
                <a:gd name="T78" fmla="*/ 91 w 214"/>
                <a:gd name="T79" fmla="*/ 91 h 182"/>
                <a:gd name="T80" fmla="*/ 114 w 214"/>
                <a:gd name="T81" fmla="*/ 93 h 182"/>
                <a:gd name="T82" fmla="*/ 125 w 214"/>
                <a:gd name="T83" fmla="*/ 115 h 182"/>
                <a:gd name="T84" fmla="*/ 126 w 214"/>
                <a:gd name="T85" fmla="*/ 120 h 182"/>
                <a:gd name="T86" fmla="*/ 130 w 214"/>
                <a:gd name="T87" fmla="*/ 130 h 182"/>
                <a:gd name="T88" fmla="*/ 126 w 214"/>
                <a:gd name="T89" fmla="*/ 147 h 182"/>
                <a:gd name="T90" fmla="*/ 138 w 214"/>
                <a:gd name="T91" fmla="*/ 139 h 182"/>
                <a:gd name="T92" fmla="*/ 145 w 214"/>
                <a:gd name="T93" fmla="*/ 140 h 182"/>
                <a:gd name="T94" fmla="*/ 160 w 214"/>
                <a:gd name="T95" fmla="*/ 146 h 182"/>
                <a:gd name="T96" fmla="*/ 163 w 214"/>
                <a:gd name="T97" fmla="*/ 160 h 182"/>
                <a:gd name="T98" fmla="*/ 161 w 214"/>
                <a:gd name="T99" fmla="*/ 173 h 182"/>
                <a:gd name="T100" fmla="*/ 164 w 214"/>
                <a:gd name="T101" fmla="*/ 176 h 182"/>
                <a:gd name="T102" fmla="*/ 171 w 214"/>
                <a:gd name="T103" fmla="*/ 182 h 182"/>
                <a:gd name="T104" fmla="*/ 183 w 214"/>
                <a:gd name="T105" fmla="*/ 168 h 182"/>
                <a:gd name="T106" fmla="*/ 192 w 214"/>
                <a:gd name="T107" fmla="*/ 169 h 182"/>
                <a:gd name="T108" fmla="*/ 196 w 214"/>
                <a:gd name="T109" fmla="*/ 168 h 182"/>
                <a:gd name="T110" fmla="*/ 201 w 214"/>
                <a:gd name="T111" fmla="*/ 157 h 182"/>
                <a:gd name="T112" fmla="*/ 200 w 214"/>
                <a:gd name="T113" fmla="*/ 149 h 182"/>
                <a:gd name="T114" fmla="*/ 202 w 214"/>
                <a:gd name="T115" fmla="*/ 138 h 182"/>
                <a:gd name="T116" fmla="*/ 209 w 214"/>
                <a:gd name="T117" fmla="*/ 141 h 182"/>
                <a:gd name="T118" fmla="*/ 213 w 214"/>
                <a:gd name="T119" fmla="*/ 14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4" h="182">
                  <a:moveTo>
                    <a:pt x="213" y="135"/>
                  </a:moveTo>
                  <a:cubicBezTo>
                    <a:pt x="212" y="133"/>
                    <a:pt x="212" y="133"/>
                    <a:pt x="211" y="133"/>
                  </a:cubicBezTo>
                  <a:cubicBezTo>
                    <a:pt x="211" y="133"/>
                    <a:pt x="211" y="133"/>
                    <a:pt x="210" y="133"/>
                  </a:cubicBezTo>
                  <a:cubicBezTo>
                    <a:pt x="210" y="132"/>
                    <a:pt x="209" y="131"/>
                    <a:pt x="208" y="130"/>
                  </a:cubicBezTo>
                  <a:cubicBezTo>
                    <a:pt x="207" y="129"/>
                    <a:pt x="207" y="129"/>
                    <a:pt x="206" y="128"/>
                  </a:cubicBezTo>
                  <a:cubicBezTo>
                    <a:pt x="205" y="126"/>
                    <a:pt x="205" y="125"/>
                    <a:pt x="206" y="123"/>
                  </a:cubicBezTo>
                  <a:cubicBezTo>
                    <a:pt x="206" y="122"/>
                    <a:pt x="207" y="122"/>
                    <a:pt x="207" y="121"/>
                  </a:cubicBezTo>
                  <a:cubicBezTo>
                    <a:pt x="208" y="121"/>
                    <a:pt x="208" y="121"/>
                    <a:pt x="209" y="121"/>
                  </a:cubicBezTo>
                  <a:cubicBezTo>
                    <a:pt x="212" y="120"/>
                    <a:pt x="212" y="120"/>
                    <a:pt x="212" y="120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09" y="116"/>
                    <a:pt x="208" y="115"/>
                    <a:pt x="207" y="114"/>
                  </a:cubicBezTo>
                  <a:cubicBezTo>
                    <a:pt x="207" y="113"/>
                    <a:pt x="207" y="113"/>
                    <a:pt x="207" y="112"/>
                  </a:cubicBezTo>
                  <a:cubicBezTo>
                    <a:pt x="208" y="110"/>
                    <a:pt x="206" y="109"/>
                    <a:pt x="205" y="109"/>
                  </a:cubicBezTo>
                  <a:cubicBezTo>
                    <a:pt x="204" y="109"/>
                    <a:pt x="204" y="108"/>
                    <a:pt x="203" y="108"/>
                  </a:cubicBezTo>
                  <a:cubicBezTo>
                    <a:pt x="201" y="107"/>
                    <a:pt x="201" y="106"/>
                    <a:pt x="201" y="103"/>
                  </a:cubicBezTo>
                  <a:cubicBezTo>
                    <a:pt x="200" y="99"/>
                    <a:pt x="200" y="94"/>
                    <a:pt x="201" y="89"/>
                  </a:cubicBezTo>
                  <a:cubicBezTo>
                    <a:pt x="203" y="88"/>
                    <a:pt x="204" y="87"/>
                    <a:pt x="205" y="85"/>
                  </a:cubicBezTo>
                  <a:cubicBezTo>
                    <a:pt x="206" y="83"/>
                    <a:pt x="206" y="81"/>
                    <a:pt x="205" y="79"/>
                  </a:cubicBezTo>
                  <a:cubicBezTo>
                    <a:pt x="204" y="77"/>
                    <a:pt x="202" y="76"/>
                    <a:pt x="201" y="75"/>
                  </a:cubicBezTo>
                  <a:cubicBezTo>
                    <a:pt x="199" y="74"/>
                    <a:pt x="197" y="73"/>
                    <a:pt x="197" y="71"/>
                  </a:cubicBezTo>
                  <a:cubicBezTo>
                    <a:pt x="196" y="69"/>
                    <a:pt x="196" y="67"/>
                    <a:pt x="196" y="64"/>
                  </a:cubicBezTo>
                  <a:cubicBezTo>
                    <a:pt x="197" y="62"/>
                    <a:pt x="197" y="59"/>
                    <a:pt x="196" y="57"/>
                  </a:cubicBezTo>
                  <a:cubicBezTo>
                    <a:pt x="196" y="55"/>
                    <a:pt x="195" y="54"/>
                    <a:pt x="194" y="54"/>
                  </a:cubicBezTo>
                  <a:cubicBezTo>
                    <a:pt x="194" y="54"/>
                    <a:pt x="194" y="54"/>
                    <a:pt x="194" y="54"/>
                  </a:cubicBezTo>
                  <a:cubicBezTo>
                    <a:pt x="193" y="54"/>
                    <a:pt x="193" y="54"/>
                    <a:pt x="193" y="54"/>
                  </a:cubicBezTo>
                  <a:cubicBezTo>
                    <a:pt x="193" y="54"/>
                    <a:pt x="192" y="54"/>
                    <a:pt x="190" y="55"/>
                  </a:cubicBezTo>
                  <a:cubicBezTo>
                    <a:pt x="189" y="56"/>
                    <a:pt x="188" y="57"/>
                    <a:pt x="187" y="57"/>
                  </a:cubicBezTo>
                  <a:cubicBezTo>
                    <a:pt x="187" y="57"/>
                    <a:pt x="186" y="57"/>
                    <a:pt x="186" y="57"/>
                  </a:cubicBezTo>
                  <a:cubicBezTo>
                    <a:pt x="186" y="57"/>
                    <a:pt x="185" y="56"/>
                    <a:pt x="185" y="56"/>
                  </a:cubicBezTo>
                  <a:cubicBezTo>
                    <a:pt x="185" y="54"/>
                    <a:pt x="188" y="51"/>
                    <a:pt x="190" y="50"/>
                  </a:cubicBezTo>
                  <a:cubicBezTo>
                    <a:pt x="191" y="49"/>
                    <a:pt x="191" y="49"/>
                    <a:pt x="191" y="49"/>
                  </a:cubicBezTo>
                  <a:cubicBezTo>
                    <a:pt x="193" y="47"/>
                    <a:pt x="193" y="46"/>
                    <a:pt x="193" y="44"/>
                  </a:cubicBezTo>
                  <a:cubicBezTo>
                    <a:pt x="193" y="41"/>
                    <a:pt x="190" y="39"/>
                    <a:pt x="187" y="38"/>
                  </a:cubicBezTo>
                  <a:cubicBezTo>
                    <a:pt x="183" y="35"/>
                    <a:pt x="183" y="33"/>
                    <a:pt x="183" y="30"/>
                  </a:cubicBezTo>
                  <a:cubicBezTo>
                    <a:pt x="183" y="29"/>
                    <a:pt x="183" y="28"/>
                    <a:pt x="183" y="27"/>
                  </a:cubicBezTo>
                  <a:cubicBezTo>
                    <a:pt x="182" y="25"/>
                    <a:pt x="181" y="24"/>
                    <a:pt x="181" y="23"/>
                  </a:cubicBezTo>
                  <a:cubicBezTo>
                    <a:pt x="180" y="22"/>
                    <a:pt x="180" y="22"/>
                    <a:pt x="179" y="21"/>
                  </a:cubicBezTo>
                  <a:cubicBezTo>
                    <a:pt x="178" y="19"/>
                    <a:pt x="178" y="18"/>
                    <a:pt x="178" y="15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77" y="10"/>
                    <a:pt x="173" y="6"/>
                    <a:pt x="169" y="6"/>
                  </a:cubicBezTo>
                  <a:cubicBezTo>
                    <a:pt x="168" y="6"/>
                    <a:pt x="168" y="6"/>
                    <a:pt x="168" y="6"/>
                  </a:cubicBezTo>
                  <a:cubicBezTo>
                    <a:pt x="167" y="6"/>
                    <a:pt x="167" y="6"/>
                    <a:pt x="167" y="6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8"/>
                    <a:pt x="166" y="8"/>
                    <a:pt x="166" y="10"/>
                  </a:cubicBezTo>
                  <a:cubicBezTo>
                    <a:pt x="166" y="13"/>
                    <a:pt x="166" y="15"/>
                    <a:pt x="164" y="16"/>
                  </a:cubicBezTo>
                  <a:cubicBezTo>
                    <a:pt x="163" y="16"/>
                    <a:pt x="162" y="16"/>
                    <a:pt x="162" y="16"/>
                  </a:cubicBezTo>
                  <a:cubicBezTo>
                    <a:pt x="160" y="16"/>
                    <a:pt x="159" y="16"/>
                    <a:pt x="157" y="17"/>
                  </a:cubicBezTo>
                  <a:cubicBezTo>
                    <a:pt x="157" y="18"/>
                    <a:pt x="157" y="18"/>
                    <a:pt x="156" y="18"/>
                  </a:cubicBezTo>
                  <a:cubicBezTo>
                    <a:pt x="155" y="19"/>
                    <a:pt x="154" y="20"/>
                    <a:pt x="153" y="20"/>
                  </a:cubicBezTo>
                  <a:cubicBezTo>
                    <a:pt x="151" y="20"/>
                    <a:pt x="149" y="19"/>
                    <a:pt x="148" y="18"/>
                  </a:cubicBezTo>
                  <a:cubicBezTo>
                    <a:pt x="146" y="16"/>
                    <a:pt x="144" y="15"/>
                    <a:pt x="142" y="15"/>
                  </a:cubicBezTo>
                  <a:cubicBezTo>
                    <a:pt x="141" y="15"/>
                    <a:pt x="141" y="15"/>
                    <a:pt x="141" y="15"/>
                  </a:cubicBezTo>
                  <a:cubicBezTo>
                    <a:pt x="137" y="15"/>
                    <a:pt x="135" y="17"/>
                    <a:pt x="132" y="20"/>
                  </a:cubicBezTo>
                  <a:cubicBezTo>
                    <a:pt x="131" y="21"/>
                    <a:pt x="130" y="22"/>
                    <a:pt x="129" y="23"/>
                  </a:cubicBezTo>
                  <a:cubicBezTo>
                    <a:pt x="129" y="23"/>
                    <a:pt x="128" y="24"/>
                    <a:pt x="126" y="24"/>
                  </a:cubicBezTo>
                  <a:cubicBezTo>
                    <a:pt x="126" y="24"/>
                    <a:pt x="126" y="24"/>
                    <a:pt x="126" y="24"/>
                  </a:cubicBezTo>
                  <a:cubicBezTo>
                    <a:pt x="125" y="24"/>
                    <a:pt x="125" y="23"/>
                    <a:pt x="125" y="21"/>
                  </a:cubicBezTo>
                  <a:cubicBezTo>
                    <a:pt x="124" y="19"/>
                    <a:pt x="124" y="18"/>
                    <a:pt x="122" y="17"/>
                  </a:cubicBezTo>
                  <a:cubicBezTo>
                    <a:pt x="122" y="16"/>
                    <a:pt x="121" y="15"/>
                    <a:pt x="120" y="15"/>
                  </a:cubicBezTo>
                  <a:cubicBezTo>
                    <a:pt x="118" y="15"/>
                    <a:pt x="116" y="17"/>
                    <a:pt x="115" y="19"/>
                  </a:cubicBezTo>
                  <a:cubicBezTo>
                    <a:pt x="114" y="20"/>
                    <a:pt x="113" y="21"/>
                    <a:pt x="112" y="21"/>
                  </a:cubicBezTo>
                  <a:cubicBezTo>
                    <a:pt x="112" y="22"/>
                    <a:pt x="111" y="22"/>
                    <a:pt x="111" y="22"/>
                  </a:cubicBezTo>
                  <a:cubicBezTo>
                    <a:pt x="110" y="22"/>
                    <a:pt x="109" y="21"/>
                    <a:pt x="108" y="21"/>
                  </a:cubicBezTo>
                  <a:cubicBezTo>
                    <a:pt x="106" y="19"/>
                    <a:pt x="105" y="17"/>
                    <a:pt x="105" y="15"/>
                  </a:cubicBezTo>
                  <a:cubicBezTo>
                    <a:pt x="105" y="13"/>
                    <a:pt x="106" y="12"/>
                    <a:pt x="106" y="11"/>
                  </a:cubicBezTo>
                  <a:cubicBezTo>
                    <a:pt x="106" y="10"/>
                    <a:pt x="106" y="10"/>
                    <a:pt x="106" y="10"/>
                  </a:cubicBezTo>
                  <a:cubicBezTo>
                    <a:pt x="107" y="7"/>
                    <a:pt x="107" y="7"/>
                    <a:pt x="107" y="7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2" y="8"/>
                    <a:pt x="99" y="8"/>
                    <a:pt x="97" y="8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5" y="9"/>
                    <a:pt x="95" y="9"/>
                    <a:pt x="94" y="9"/>
                  </a:cubicBezTo>
                  <a:cubicBezTo>
                    <a:pt x="94" y="9"/>
                    <a:pt x="93" y="9"/>
                    <a:pt x="92" y="9"/>
                  </a:cubicBezTo>
                  <a:cubicBezTo>
                    <a:pt x="91" y="8"/>
                    <a:pt x="91" y="8"/>
                    <a:pt x="90" y="8"/>
                  </a:cubicBezTo>
                  <a:cubicBezTo>
                    <a:pt x="89" y="8"/>
                    <a:pt x="87" y="9"/>
                    <a:pt x="85" y="10"/>
                  </a:cubicBezTo>
                  <a:cubicBezTo>
                    <a:pt x="85" y="10"/>
                    <a:pt x="84" y="10"/>
                    <a:pt x="84" y="10"/>
                  </a:cubicBezTo>
                  <a:cubicBezTo>
                    <a:pt x="83" y="11"/>
                    <a:pt x="82" y="11"/>
                    <a:pt x="81" y="11"/>
                  </a:cubicBezTo>
                  <a:cubicBezTo>
                    <a:pt x="81" y="11"/>
                    <a:pt x="80" y="11"/>
                    <a:pt x="80" y="11"/>
                  </a:cubicBezTo>
                  <a:cubicBezTo>
                    <a:pt x="79" y="11"/>
                    <a:pt x="79" y="10"/>
                    <a:pt x="78" y="10"/>
                  </a:cubicBezTo>
                  <a:cubicBezTo>
                    <a:pt x="78" y="9"/>
                    <a:pt x="77" y="8"/>
                    <a:pt x="76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4" y="8"/>
                    <a:pt x="74" y="9"/>
                    <a:pt x="73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3" y="9"/>
                    <a:pt x="73" y="8"/>
                    <a:pt x="72" y="8"/>
                  </a:cubicBezTo>
                  <a:cubicBezTo>
                    <a:pt x="72" y="8"/>
                    <a:pt x="71" y="8"/>
                    <a:pt x="71" y="8"/>
                  </a:cubicBezTo>
                  <a:cubicBezTo>
                    <a:pt x="70" y="7"/>
                    <a:pt x="69" y="7"/>
                    <a:pt x="69" y="6"/>
                  </a:cubicBezTo>
                  <a:cubicBezTo>
                    <a:pt x="68" y="6"/>
                    <a:pt x="68" y="6"/>
                    <a:pt x="67" y="6"/>
                  </a:cubicBezTo>
                  <a:cubicBezTo>
                    <a:pt x="67" y="5"/>
                    <a:pt x="66" y="5"/>
                    <a:pt x="66" y="5"/>
                  </a:cubicBezTo>
                  <a:cubicBezTo>
                    <a:pt x="64" y="4"/>
                    <a:pt x="63" y="4"/>
                    <a:pt x="62" y="3"/>
                  </a:cubicBezTo>
                  <a:cubicBezTo>
                    <a:pt x="61" y="3"/>
                    <a:pt x="61" y="2"/>
                    <a:pt x="60" y="2"/>
                  </a:cubicBezTo>
                  <a:cubicBezTo>
                    <a:pt x="60" y="1"/>
                    <a:pt x="59" y="0"/>
                    <a:pt x="58" y="0"/>
                  </a:cubicBezTo>
                  <a:cubicBezTo>
                    <a:pt x="57" y="0"/>
                    <a:pt x="57" y="0"/>
                    <a:pt x="56" y="0"/>
                  </a:cubicBezTo>
                  <a:cubicBezTo>
                    <a:pt x="56" y="0"/>
                    <a:pt x="55" y="0"/>
                    <a:pt x="54" y="0"/>
                  </a:cubicBezTo>
                  <a:cubicBezTo>
                    <a:pt x="54" y="0"/>
                    <a:pt x="53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9" y="0"/>
                    <a:pt x="46" y="0"/>
                    <a:pt x="43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6"/>
                    <a:pt x="42" y="9"/>
                    <a:pt x="41" y="11"/>
                  </a:cubicBezTo>
                  <a:cubicBezTo>
                    <a:pt x="40" y="13"/>
                    <a:pt x="39" y="13"/>
                    <a:pt x="37" y="13"/>
                  </a:cubicBezTo>
                  <a:cubicBezTo>
                    <a:pt x="36" y="14"/>
                    <a:pt x="34" y="14"/>
                    <a:pt x="33" y="16"/>
                  </a:cubicBezTo>
                  <a:cubicBezTo>
                    <a:pt x="32" y="19"/>
                    <a:pt x="34" y="20"/>
                    <a:pt x="36" y="20"/>
                  </a:cubicBezTo>
                  <a:cubicBezTo>
                    <a:pt x="37" y="21"/>
                    <a:pt x="38" y="21"/>
                    <a:pt x="38" y="22"/>
                  </a:cubicBezTo>
                  <a:cubicBezTo>
                    <a:pt x="40" y="23"/>
                    <a:pt x="41" y="27"/>
                    <a:pt x="40" y="30"/>
                  </a:cubicBezTo>
                  <a:cubicBezTo>
                    <a:pt x="39" y="33"/>
                    <a:pt x="35" y="33"/>
                    <a:pt x="30" y="33"/>
                  </a:cubicBezTo>
                  <a:cubicBezTo>
                    <a:pt x="28" y="33"/>
                    <a:pt x="25" y="33"/>
                    <a:pt x="23" y="34"/>
                  </a:cubicBezTo>
                  <a:cubicBezTo>
                    <a:pt x="23" y="35"/>
                    <a:pt x="22" y="35"/>
                    <a:pt x="21" y="35"/>
                  </a:cubicBezTo>
                  <a:cubicBezTo>
                    <a:pt x="20" y="36"/>
                    <a:pt x="18" y="37"/>
                    <a:pt x="16" y="38"/>
                  </a:cubicBezTo>
                  <a:cubicBezTo>
                    <a:pt x="14" y="38"/>
                    <a:pt x="11" y="40"/>
                    <a:pt x="9" y="41"/>
                  </a:cubicBezTo>
                  <a:cubicBezTo>
                    <a:pt x="8" y="43"/>
                    <a:pt x="7" y="44"/>
                    <a:pt x="6" y="46"/>
                  </a:cubicBezTo>
                  <a:cubicBezTo>
                    <a:pt x="6" y="47"/>
                    <a:pt x="5" y="48"/>
                    <a:pt x="5" y="49"/>
                  </a:cubicBezTo>
                  <a:cubicBezTo>
                    <a:pt x="4" y="51"/>
                    <a:pt x="2" y="52"/>
                    <a:pt x="1" y="53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2" y="57"/>
                    <a:pt x="2" y="58"/>
                    <a:pt x="2" y="58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5" y="59"/>
                    <a:pt x="5" y="59"/>
                  </a:cubicBezTo>
                  <a:cubicBezTo>
                    <a:pt x="5" y="61"/>
                    <a:pt x="6" y="62"/>
                    <a:pt x="7" y="64"/>
                  </a:cubicBezTo>
                  <a:cubicBezTo>
                    <a:pt x="7" y="64"/>
                    <a:pt x="8" y="66"/>
                    <a:pt x="9" y="66"/>
                  </a:cubicBezTo>
                  <a:cubicBezTo>
                    <a:pt x="9" y="67"/>
                    <a:pt x="8" y="69"/>
                    <a:pt x="9" y="71"/>
                  </a:cubicBezTo>
                  <a:cubicBezTo>
                    <a:pt x="10" y="72"/>
                    <a:pt x="10" y="73"/>
                    <a:pt x="11" y="74"/>
                  </a:cubicBezTo>
                  <a:cubicBezTo>
                    <a:pt x="11" y="74"/>
                    <a:pt x="12" y="74"/>
                    <a:pt x="12" y="75"/>
                  </a:cubicBezTo>
                  <a:cubicBezTo>
                    <a:pt x="12" y="75"/>
                    <a:pt x="13" y="76"/>
                    <a:pt x="13" y="76"/>
                  </a:cubicBezTo>
                  <a:cubicBezTo>
                    <a:pt x="13" y="77"/>
                    <a:pt x="14" y="78"/>
                    <a:pt x="14" y="79"/>
                  </a:cubicBezTo>
                  <a:cubicBezTo>
                    <a:pt x="16" y="81"/>
                    <a:pt x="19" y="84"/>
                    <a:pt x="21" y="85"/>
                  </a:cubicBezTo>
                  <a:cubicBezTo>
                    <a:pt x="22" y="85"/>
                    <a:pt x="23" y="86"/>
                    <a:pt x="24" y="86"/>
                  </a:cubicBezTo>
                  <a:cubicBezTo>
                    <a:pt x="24" y="86"/>
                    <a:pt x="25" y="86"/>
                    <a:pt x="25" y="85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6" y="85"/>
                    <a:pt x="26" y="86"/>
                    <a:pt x="26" y="86"/>
                  </a:cubicBezTo>
                  <a:cubicBezTo>
                    <a:pt x="26" y="86"/>
                    <a:pt x="26" y="88"/>
                    <a:pt x="27" y="89"/>
                  </a:cubicBezTo>
                  <a:cubicBezTo>
                    <a:pt x="28" y="91"/>
                    <a:pt x="32" y="93"/>
                    <a:pt x="34" y="94"/>
                  </a:cubicBezTo>
                  <a:cubicBezTo>
                    <a:pt x="35" y="94"/>
                    <a:pt x="35" y="94"/>
                    <a:pt x="36" y="94"/>
                  </a:cubicBezTo>
                  <a:cubicBezTo>
                    <a:pt x="38" y="95"/>
                    <a:pt x="38" y="95"/>
                    <a:pt x="38" y="95"/>
                  </a:cubicBezTo>
                  <a:cubicBezTo>
                    <a:pt x="38" y="96"/>
                    <a:pt x="37" y="97"/>
                    <a:pt x="37" y="99"/>
                  </a:cubicBezTo>
                  <a:cubicBezTo>
                    <a:pt x="37" y="100"/>
                    <a:pt x="38" y="101"/>
                    <a:pt x="39" y="101"/>
                  </a:cubicBezTo>
                  <a:cubicBezTo>
                    <a:pt x="39" y="102"/>
                    <a:pt x="39" y="102"/>
                    <a:pt x="39" y="102"/>
                  </a:cubicBezTo>
                  <a:cubicBezTo>
                    <a:pt x="40" y="104"/>
                    <a:pt x="41" y="105"/>
                    <a:pt x="42" y="106"/>
                  </a:cubicBezTo>
                  <a:cubicBezTo>
                    <a:pt x="44" y="108"/>
                    <a:pt x="45" y="110"/>
                    <a:pt x="46" y="112"/>
                  </a:cubicBezTo>
                  <a:cubicBezTo>
                    <a:pt x="47" y="113"/>
                    <a:pt x="47" y="113"/>
                    <a:pt x="48" y="114"/>
                  </a:cubicBezTo>
                  <a:cubicBezTo>
                    <a:pt x="48" y="115"/>
                    <a:pt x="49" y="116"/>
                    <a:pt x="49" y="117"/>
                  </a:cubicBezTo>
                  <a:cubicBezTo>
                    <a:pt x="49" y="117"/>
                    <a:pt x="49" y="118"/>
                    <a:pt x="49" y="118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52" y="120"/>
                    <a:pt x="52" y="120"/>
                    <a:pt x="52" y="120"/>
                  </a:cubicBezTo>
                  <a:cubicBezTo>
                    <a:pt x="53" y="120"/>
                    <a:pt x="53" y="120"/>
                    <a:pt x="54" y="120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59" y="119"/>
                    <a:pt x="60" y="119"/>
                    <a:pt x="61" y="116"/>
                  </a:cubicBezTo>
                  <a:cubicBezTo>
                    <a:pt x="62" y="113"/>
                    <a:pt x="62" y="113"/>
                    <a:pt x="64" y="112"/>
                  </a:cubicBezTo>
                  <a:cubicBezTo>
                    <a:pt x="64" y="112"/>
                    <a:pt x="65" y="112"/>
                    <a:pt x="66" y="111"/>
                  </a:cubicBezTo>
                  <a:cubicBezTo>
                    <a:pt x="68" y="110"/>
                    <a:pt x="68" y="108"/>
                    <a:pt x="69" y="106"/>
                  </a:cubicBezTo>
                  <a:cubicBezTo>
                    <a:pt x="70" y="105"/>
                    <a:pt x="70" y="105"/>
                    <a:pt x="70" y="104"/>
                  </a:cubicBezTo>
                  <a:cubicBezTo>
                    <a:pt x="71" y="102"/>
                    <a:pt x="72" y="100"/>
                    <a:pt x="73" y="98"/>
                  </a:cubicBezTo>
                  <a:cubicBezTo>
                    <a:pt x="74" y="97"/>
                    <a:pt x="74" y="97"/>
                    <a:pt x="74" y="96"/>
                  </a:cubicBezTo>
                  <a:cubicBezTo>
                    <a:pt x="75" y="94"/>
                    <a:pt x="76" y="93"/>
                    <a:pt x="78" y="92"/>
                  </a:cubicBezTo>
                  <a:cubicBezTo>
                    <a:pt x="79" y="92"/>
                    <a:pt x="79" y="91"/>
                    <a:pt x="80" y="91"/>
                  </a:cubicBezTo>
                  <a:cubicBezTo>
                    <a:pt x="81" y="91"/>
                    <a:pt x="82" y="92"/>
                    <a:pt x="82" y="92"/>
                  </a:cubicBezTo>
                  <a:cubicBezTo>
                    <a:pt x="83" y="93"/>
                    <a:pt x="84" y="93"/>
                    <a:pt x="84" y="94"/>
                  </a:cubicBezTo>
                  <a:cubicBezTo>
                    <a:pt x="85" y="94"/>
                    <a:pt x="85" y="94"/>
                    <a:pt x="86" y="94"/>
                  </a:cubicBezTo>
                  <a:cubicBezTo>
                    <a:pt x="88" y="94"/>
                    <a:pt x="90" y="92"/>
                    <a:pt x="91" y="91"/>
                  </a:cubicBezTo>
                  <a:cubicBezTo>
                    <a:pt x="93" y="89"/>
                    <a:pt x="97" y="88"/>
                    <a:pt x="102" y="88"/>
                  </a:cubicBezTo>
                  <a:cubicBezTo>
                    <a:pt x="103" y="88"/>
                    <a:pt x="105" y="88"/>
                    <a:pt x="106" y="88"/>
                  </a:cubicBezTo>
                  <a:cubicBezTo>
                    <a:pt x="109" y="88"/>
                    <a:pt x="110" y="89"/>
                    <a:pt x="112" y="91"/>
                  </a:cubicBezTo>
                  <a:cubicBezTo>
                    <a:pt x="112" y="92"/>
                    <a:pt x="113" y="93"/>
                    <a:pt x="114" y="93"/>
                  </a:cubicBezTo>
                  <a:cubicBezTo>
                    <a:pt x="115" y="95"/>
                    <a:pt x="117" y="97"/>
                    <a:pt x="118" y="100"/>
                  </a:cubicBezTo>
                  <a:cubicBezTo>
                    <a:pt x="119" y="103"/>
                    <a:pt x="121" y="107"/>
                    <a:pt x="123" y="110"/>
                  </a:cubicBezTo>
                  <a:cubicBezTo>
                    <a:pt x="124" y="110"/>
                    <a:pt x="124" y="110"/>
                    <a:pt x="124" y="110"/>
                  </a:cubicBezTo>
                  <a:cubicBezTo>
                    <a:pt x="126" y="112"/>
                    <a:pt x="126" y="112"/>
                    <a:pt x="125" y="115"/>
                  </a:cubicBezTo>
                  <a:cubicBezTo>
                    <a:pt x="125" y="115"/>
                    <a:pt x="125" y="116"/>
                    <a:pt x="124" y="116"/>
                  </a:cubicBezTo>
                  <a:cubicBezTo>
                    <a:pt x="123" y="118"/>
                    <a:pt x="123" y="118"/>
                    <a:pt x="123" y="118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5" y="119"/>
                    <a:pt x="126" y="119"/>
                    <a:pt x="126" y="120"/>
                  </a:cubicBezTo>
                  <a:cubicBezTo>
                    <a:pt x="128" y="121"/>
                    <a:pt x="128" y="121"/>
                    <a:pt x="128" y="123"/>
                  </a:cubicBezTo>
                  <a:cubicBezTo>
                    <a:pt x="128" y="123"/>
                    <a:pt x="128" y="124"/>
                    <a:pt x="128" y="125"/>
                  </a:cubicBezTo>
                  <a:cubicBezTo>
                    <a:pt x="127" y="127"/>
                    <a:pt x="128" y="128"/>
                    <a:pt x="129" y="129"/>
                  </a:cubicBezTo>
                  <a:cubicBezTo>
                    <a:pt x="129" y="129"/>
                    <a:pt x="130" y="130"/>
                    <a:pt x="130" y="130"/>
                  </a:cubicBezTo>
                  <a:cubicBezTo>
                    <a:pt x="131" y="132"/>
                    <a:pt x="130" y="134"/>
                    <a:pt x="129" y="136"/>
                  </a:cubicBezTo>
                  <a:cubicBezTo>
                    <a:pt x="128" y="137"/>
                    <a:pt x="128" y="137"/>
                    <a:pt x="128" y="138"/>
                  </a:cubicBezTo>
                  <a:cubicBezTo>
                    <a:pt x="127" y="139"/>
                    <a:pt x="127" y="141"/>
                    <a:pt x="127" y="142"/>
                  </a:cubicBezTo>
                  <a:cubicBezTo>
                    <a:pt x="126" y="147"/>
                    <a:pt x="126" y="147"/>
                    <a:pt x="126" y="147"/>
                  </a:cubicBezTo>
                  <a:cubicBezTo>
                    <a:pt x="130" y="144"/>
                    <a:pt x="130" y="144"/>
                    <a:pt x="130" y="144"/>
                  </a:cubicBezTo>
                  <a:cubicBezTo>
                    <a:pt x="130" y="144"/>
                    <a:pt x="131" y="143"/>
                    <a:pt x="132" y="143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4" y="141"/>
                    <a:pt x="136" y="139"/>
                    <a:pt x="138" y="139"/>
                  </a:cubicBezTo>
                  <a:cubicBezTo>
                    <a:pt x="138" y="139"/>
                    <a:pt x="139" y="139"/>
                    <a:pt x="139" y="139"/>
                  </a:cubicBezTo>
                  <a:cubicBezTo>
                    <a:pt x="140" y="139"/>
                    <a:pt x="141" y="139"/>
                    <a:pt x="142" y="139"/>
                  </a:cubicBezTo>
                  <a:cubicBezTo>
                    <a:pt x="143" y="140"/>
                    <a:pt x="144" y="140"/>
                    <a:pt x="145" y="140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0"/>
                    <a:pt x="147" y="140"/>
                    <a:pt x="148" y="139"/>
                  </a:cubicBezTo>
                  <a:cubicBezTo>
                    <a:pt x="149" y="139"/>
                    <a:pt x="150" y="139"/>
                    <a:pt x="152" y="139"/>
                  </a:cubicBezTo>
                  <a:cubicBezTo>
                    <a:pt x="152" y="139"/>
                    <a:pt x="152" y="139"/>
                    <a:pt x="152" y="139"/>
                  </a:cubicBezTo>
                  <a:cubicBezTo>
                    <a:pt x="157" y="139"/>
                    <a:pt x="160" y="142"/>
                    <a:pt x="160" y="146"/>
                  </a:cubicBezTo>
                  <a:cubicBezTo>
                    <a:pt x="160" y="149"/>
                    <a:pt x="160" y="150"/>
                    <a:pt x="161" y="152"/>
                  </a:cubicBezTo>
                  <a:cubicBezTo>
                    <a:pt x="161" y="152"/>
                    <a:pt x="161" y="153"/>
                    <a:pt x="161" y="153"/>
                  </a:cubicBezTo>
                  <a:cubicBezTo>
                    <a:pt x="162" y="154"/>
                    <a:pt x="162" y="155"/>
                    <a:pt x="162" y="156"/>
                  </a:cubicBezTo>
                  <a:cubicBezTo>
                    <a:pt x="162" y="158"/>
                    <a:pt x="162" y="159"/>
                    <a:pt x="163" y="160"/>
                  </a:cubicBezTo>
                  <a:cubicBezTo>
                    <a:pt x="163" y="161"/>
                    <a:pt x="163" y="161"/>
                    <a:pt x="163" y="161"/>
                  </a:cubicBezTo>
                  <a:cubicBezTo>
                    <a:pt x="164" y="163"/>
                    <a:pt x="165" y="165"/>
                    <a:pt x="164" y="167"/>
                  </a:cubicBezTo>
                  <a:cubicBezTo>
                    <a:pt x="164" y="168"/>
                    <a:pt x="163" y="169"/>
                    <a:pt x="162" y="170"/>
                  </a:cubicBezTo>
                  <a:cubicBezTo>
                    <a:pt x="162" y="171"/>
                    <a:pt x="161" y="172"/>
                    <a:pt x="161" y="173"/>
                  </a:cubicBezTo>
                  <a:cubicBezTo>
                    <a:pt x="161" y="174"/>
                    <a:pt x="161" y="174"/>
                    <a:pt x="161" y="175"/>
                  </a:cubicBezTo>
                  <a:cubicBezTo>
                    <a:pt x="163" y="174"/>
                    <a:pt x="163" y="174"/>
                    <a:pt x="163" y="174"/>
                  </a:cubicBezTo>
                  <a:cubicBezTo>
                    <a:pt x="164" y="176"/>
                    <a:pt x="164" y="176"/>
                    <a:pt x="164" y="176"/>
                  </a:cubicBezTo>
                  <a:cubicBezTo>
                    <a:pt x="164" y="176"/>
                    <a:pt x="164" y="176"/>
                    <a:pt x="164" y="176"/>
                  </a:cubicBezTo>
                  <a:cubicBezTo>
                    <a:pt x="165" y="176"/>
                    <a:pt x="165" y="176"/>
                    <a:pt x="166" y="176"/>
                  </a:cubicBezTo>
                  <a:cubicBezTo>
                    <a:pt x="166" y="176"/>
                    <a:pt x="167" y="176"/>
                    <a:pt x="167" y="176"/>
                  </a:cubicBezTo>
                  <a:cubicBezTo>
                    <a:pt x="169" y="177"/>
                    <a:pt x="170" y="178"/>
                    <a:pt x="170" y="180"/>
                  </a:cubicBezTo>
                  <a:cubicBezTo>
                    <a:pt x="171" y="182"/>
                    <a:pt x="171" y="182"/>
                    <a:pt x="171" y="182"/>
                  </a:cubicBezTo>
                  <a:cubicBezTo>
                    <a:pt x="172" y="181"/>
                    <a:pt x="172" y="181"/>
                    <a:pt x="172" y="181"/>
                  </a:cubicBezTo>
                  <a:cubicBezTo>
                    <a:pt x="175" y="181"/>
                    <a:pt x="176" y="180"/>
                    <a:pt x="178" y="178"/>
                  </a:cubicBezTo>
                  <a:cubicBezTo>
                    <a:pt x="179" y="177"/>
                    <a:pt x="179" y="177"/>
                    <a:pt x="179" y="177"/>
                  </a:cubicBezTo>
                  <a:cubicBezTo>
                    <a:pt x="182" y="174"/>
                    <a:pt x="182" y="172"/>
                    <a:pt x="183" y="168"/>
                  </a:cubicBezTo>
                  <a:cubicBezTo>
                    <a:pt x="183" y="167"/>
                    <a:pt x="184" y="166"/>
                    <a:pt x="185" y="166"/>
                  </a:cubicBezTo>
                  <a:cubicBezTo>
                    <a:pt x="185" y="166"/>
                    <a:pt x="186" y="167"/>
                    <a:pt x="187" y="167"/>
                  </a:cubicBezTo>
                  <a:cubicBezTo>
                    <a:pt x="188" y="168"/>
                    <a:pt x="189" y="169"/>
                    <a:pt x="190" y="169"/>
                  </a:cubicBezTo>
                  <a:cubicBezTo>
                    <a:pt x="191" y="169"/>
                    <a:pt x="191" y="169"/>
                    <a:pt x="192" y="169"/>
                  </a:cubicBezTo>
                  <a:cubicBezTo>
                    <a:pt x="193" y="168"/>
                    <a:pt x="193" y="168"/>
                    <a:pt x="194" y="168"/>
                  </a:cubicBezTo>
                  <a:cubicBezTo>
                    <a:pt x="195" y="168"/>
                    <a:pt x="195" y="168"/>
                    <a:pt x="195" y="168"/>
                  </a:cubicBezTo>
                  <a:cubicBezTo>
                    <a:pt x="195" y="168"/>
                    <a:pt x="195" y="168"/>
                    <a:pt x="196" y="168"/>
                  </a:cubicBezTo>
                  <a:cubicBezTo>
                    <a:pt x="196" y="168"/>
                    <a:pt x="196" y="168"/>
                    <a:pt x="196" y="168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199" y="166"/>
                    <a:pt x="199" y="166"/>
                    <a:pt x="199" y="166"/>
                  </a:cubicBezTo>
                  <a:cubicBezTo>
                    <a:pt x="200" y="164"/>
                    <a:pt x="200" y="163"/>
                    <a:pt x="200" y="161"/>
                  </a:cubicBezTo>
                  <a:cubicBezTo>
                    <a:pt x="201" y="160"/>
                    <a:pt x="201" y="159"/>
                    <a:pt x="201" y="157"/>
                  </a:cubicBezTo>
                  <a:cubicBezTo>
                    <a:pt x="202" y="157"/>
                    <a:pt x="202" y="156"/>
                    <a:pt x="203" y="155"/>
                  </a:cubicBezTo>
                  <a:cubicBezTo>
                    <a:pt x="204" y="154"/>
                    <a:pt x="205" y="153"/>
                    <a:pt x="204" y="152"/>
                  </a:cubicBezTo>
                  <a:cubicBezTo>
                    <a:pt x="204" y="152"/>
                    <a:pt x="204" y="151"/>
                    <a:pt x="203" y="150"/>
                  </a:cubicBezTo>
                  <a:cubicBezTo>
                    <a:pt x="202" y="149"/>
                    <a:pt x="201" y="149"/>
                    <a:pt x="200" y="149"/>
                  </a:cubicBezTo>
                  <a:cubicBezTo>
                    <a:pt x="198" y="148"/>
                    <a:pt x="197" y="147"/>
                    <a:pt x="197" y="144"/>
                  </a:cubicBezTo>
                  <a:cubicBezTo>
                    <a:pt x="197" y="142"/>
                    <a:pt x="198" y="140"/>
                    <a:pt x="199" y="139"/>
                  </a:cubicBezTo>
                  <a:cubicBezTo>
                    <a:pt x="200" y="138"/>
                    <a:pt x="201" y="138"/>
                    <a:pt x="201" y="138"/>
                  </a:cubicBezTo>
                  <a:cubicBezTo>
                    <a:pt x="202" y="138"/>
                    <a:pt x="202" y="138"/>
                    <a:pt x="202" y="138"/>
                  </a:cubicBezTo>
                  <a:cubicBezTo>
                    <a:pt x="203" y="138"/>
                    <a:pt x="204" y="139"/>
                    <a:pt x="205" y="140"/>
                  </a:cubicBezTo>
                  <a:cubicBezTo>
                    <a:pt x="205" y="140"/>
                    <a:pt x="206" y="141"/>
                    <a:pt x="207" y="141"/>
                  </a:cubicBezTo>
                  <a:cubicBezTo>
                    <a:pt x="207" y="141"/>
                    <a:pt x="208" y="141"/>
                    <a:pt x="208" y="141"/>
                  </a:cubicBezTo>
                  <a:cubicBezTo>
                    <a:pt x="209" y="141"/>
                    <a:pt x="209" y="141"/>
                    <a:pt x="209" y="141"/>
                  </a:cubicBezTo>
                  <a:cubicBezTo>
                    <a:pt x="209" y="141"/>
                    <a:pt x="209" y="141"/>
                    <a:pt x="210" y="141"/>
                  </a:cubicBezTo>
                  <a:cubicBezTo>
                    <a:pt x="210" y="141"/>
                    <a:pt x="210" y="142"/>
                    <a:pt x="210" y="142"/>
                  </a:cubicBezTo>
                  <a:cubicBezTo>
                    <a:pt x="213" y="144"/>
                    <a:pt x="213" y="144"/>
                    <a:pt x="213" y="144"/>
                  </a:cubicBezTo>
                  <a:cubicBezTo>
                    <a:pt x="213" y="141"/>
                    <a:pt x="213" y="141"/>
                    <a:pt x="213" y="141"/>
                  </a:cubicBezTo>
                  <a:cubicBezTo>
                    <a:pt x="214" y="139"/>
                    <a:pt x="214" y="137"/>
                    <a:pt x="213" y="135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5" name="Freeform 75"/>
            <p:cNvSpPr>
              <a:spLocks/>
            </p:cNvSpPr>
            <p:nvPr/>
          </p:nvSpPr>
          <p:spPr bwMode="auto">
            <a:xfrm>
              <a:off x="1232190" y="313911"/>
              <a:ext cx="699746" cy="507511"/>
            </a:xfrm>
            <a:custGeom>
              <a:avLst/>
              <a:gdLst>
                <a:gd name="T0" fmla="*/ 336 w 346"/>
                <a:gd name="T1" fmla="*/ 100 h 272"/>
                <a:gd name="T2" fmla="*/ 332 w 346"/>
                <a:gd name="T3" fmla="*/ 83 h 272"/>
                <a:gd name="T4" fmla="*/ 331 w 346"/>
                <a:gd name="T5" fmla="*/ 70 h 272"/>
                <a:gd name="T6" fmla="*/ 329 w 346"/>
                <a:gd name="T7" fmla="*/ 48 h 272"/>
                <a:gd name="T8" fmla="*/ 330 w 346"/>
                <a:gd name="T9" fmla="*/ 42 h 272"/>
                <a:gd name="T10" fmla="*/ 322 w 346"/>
                <a:gd name="T11" fmla="*/ 33 h 272"/>
                <a:gd name="T12" fmla="*/ 317 w 346"/>
                <a:gd name="T13" fmla="*/ 26 h 272"/>
                <a:gd name="T14" fmla="*/ 307 w 346"/>
                <a:gd name="T15" fmla="*/ 25 h 272"/>
                <a:gd name="T16" fmla="*/ 295 w 346"/>
                <a:gd name="T17" fmla="*/ 17 h 272"/>
                <a:gd name="T18" fmla="*/ 289 w 346"/>
                <a:gd name="T19" fmla="*/ 22 h 272"/>
                <a:gd name="T20" fmla="*/ 276 w 346"/>
                <a:gd name="T21" fmla="*/ 22 h 272"/>
                <a:gd name="T22" fmla="*/ 269 w 346"/>
                <a:gd name="T23" fmla="*/ 21 h 272"/>
                <a:gd name="T24" fmla="*/ 243 w 346"/>
                <a:gd name="T25" fmla="*/ 16 h 272"/>
                <a:gd name="T26" fmla="*/ 234 w 346"/>
                <a:gd name="T27" fmla="*/ 2 h 272"/>
                <a:gd name="T28" fmla="*/ 226 w 346"/>
                <a:gd name="T29" fmla="*/ 1 h 272"/>
                <a:gd name="T30" fmla="*/ 217 w 346"/>
                <a:gd name="T31" fmla="*/ 5 h 272"/>
                <a:gd name="T32" fmla="*/ 205 w 346"/>
                <a:gd name="T33" fmla="*/ 30 h 272"/>
                <a:gd name="T34" fmla="*/ 189 w 346"/>
                <a:gd name="T35" fmla="*/ 59 h 272"/>
                <a:gd name="T36" fmla="*/ 158 w 346"/>
                <a:gd name="T37" fmla="*/ 78 h 272"/>
                <a:gd name="T38" fmla="*/ 138 w 346"/>
                <a:gd name="T39" fmla="*/ 91 h 272"/>
                <a:gd name="T40" fmla="*/ 127 w 346"/>
                <a:gd name="T41" fmla="*/ 101 h 272"/>
                <a:gd name="T42" fmla="*/ 115 w 346"/>
                <a:gd name="T43" fmla="*/ 126 h 272"/>
                <a:gd name="T44" fmla="*/ 103 w 346"/>
                <a:gd name="T45" fmla="*/ 142 h 272"/>
                <a:gd name="T46" fmla="*/ 99 w 346"/>
                <a:gd name="T47" fmla="*/ 166 h 272"/>
                <a:gd name="T48" fmla="*/ 103 w 346"/>
                <a:gd name="T49" fmla="*/ 179 h 272"/>
                <a:gd name="T50" fmla="*/ 97 w 346"/>
                <a:gd name="T51" fmla="*/ 201 h 272"/>
                <a:gd name="T52" fmla="*/ 82 w 346"/>
                <a:gd name="T53" fmla="*/ 220 h 272"/>
                <a:gd name="T54" fmla="*/ 72 w 346"/>
                <a:gd name="T55" fmla="*/ 230 h 272"/>
                <a:gd name="T56" fmla="*/ 51 w 346"/>
                <a:gd name="T57" fmla="*/ 248 h 272"/>
                <a:gd name="T58" fmla="*/ 42 w 346"/>
                <a:gd name="T59" fmla="*/ 252 h 272"/>
                <a:gd name="T60" fmla="*/ 25 w 346"/>
                <a:gd name="T61" fmla="*/ 258 h 272"/>
                <a:gd name="T62" fmla="*/ 2 w 346"/>
                <a:gd name="T63" fmla="*/ 269 h 272"/>
                <a:gd name="T64" fmla="*/ 131 w 346"/>
                <a:gd name="T65" fmla="*/ 238 h 272"/>
                <a:gd name="T66" fmla="*/ 146 w 346"/>
                <a:gd name="T67" fmla="*/ 228 h 272"/>
                <a:gd name="T68" fmla="*/ 162 w 346"/>
                <a:gd name="T69" fmla="*/ 218 h 272"/>
                <a:gd name="T70" fmla="*/ 176 w 346"/>
                <a:gd name="T71" fmla="*/ 209 h 272"/>
                <a:gd name="T72" fmla="*/ 188 w 346"/>
                <a:gd name="T73" fmla="*/ 209 h 272"/>
                <a:gd name="T74" fmla="*/ 204 w 346"/>
                <a:gd name="T75" fmla="*/ 201 h 272"/>
                <a:gd name="T76" fmla="*/ 224 w 346"/>
                <a:gd name="T77" fmla="*/ 197 h 272"/>
                <a:gd name="T78" fmla="*/ 245 w 346"/>
                <a:gd name="T79" fmla="*/ 177 h 272"/>
                <a:gd name="T80" fmla="*/ 257 w 346"/>
                <a:gd name="T81" fmla="*/ 173 h 272"/>
                <a:gd name="T82" fmla="*/ 270 w 346"/>
                <a:gd name="T83" fmla="*/ 165 h 272"/>
                <a:gd name="T84" fmla="*/ 270 w 346"/>
                <a:gd name="T85" fmla="*/ 156 h 272"/>
                <a:gd name="T86" fmla="*/ 269 w 346"/>
                <a:gd name="T87" fmla="*/ 142 h 272"/>
                <a:gd name="T88" fmla="*/ 279 w 346"/>
                <a:gd name="T89" fmla="*/ 141 h 272"/>
                <a:gd name="T90" fmla="*/ 292 w 346"/>
                <a:gd name="T91" fmla="*/ 137 h 272"/>
                <a:gd name="T92" fmla="*/ 295 w 346"/>
                <a:gd name="T93" fmla="*/ 133 h 272"/>
                <a:gd name="T94" fmla="*/ 311 w 346"/>
                <a:gd name="T95" fmla="*/ 125 h 272"/>
                <a:gd name="T96" fmla="*/ 322 w 346"/>
                <a:gd name="T97" fmla="*/ 126 h 272"/>
                <a:gd name="T98" fmla="*/ 341 w 346"/>
                <a:gd name="T99" fmla="*/ 125 h 272"/>
                <a:gd name="T100" fmla="*/ 343 w 346"/>
                <a:gd name="T101" fmla="*/ 11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6" h="272">
                  <a:moveTo>
                    <a:pt x="343" y="110"/>
                  </a:moveTo>
                  <a:cubicBezTo>
                    <a:pt x="342" y="108"/>
                    <a:pt x="341" y="108"/>
                    <a:pt x="340" y="107"/>
                  </a:cubicBezTo>
                  <a:cubicBezTo>
                    <a:pt x="338" y="106"/>
                    <a:pt x="337" y="106"/>
                    <a:pt x="337" y="105"/>
                  </a:cubicBezTo>
                  <a:cubicBezTo>
                    <a:pt x="336" y="104"/>
                    <a:pt x="336" y="102"/>
                    <a:pt x="336" y="100"/>
                  </a:cubicBezTo>
                  <a:cubicBezTo>
                    <a:pt x="336" y="98"/>
                    <a:pt x="336" y="96"/>
                    <a:pt x="335" y="95"/>
                  </a:cubicBezTo>
                  <a:cubicBezTo>
                    <a:pt x="334" y="93"/>
                    <a:pt x="334" y="93"/>
                    <a:pt x="333" y="92"/>
                  </a:cubicBezTo>
                  <a:cubicBezTo>
                    <a:pt x="332" y="91"/>
                    <a:pt x="331" y="90"/>
                    <a:pt x="331" y="87"/>
                  </a:cubicBezTo>
                  <a:cubicBezTo>
                    <a:pt x="331" y="86"/>
                    <a:pt x="331" y="84"/>
                    <a:pt x="332" y="83"/>
                  </a:cubicBezTo>
                  <a:cubicBezTo>
                    <a:pt x="333" y="81"/>
                    <a:pt x="333" y="80"/>
                    <a:pt x="333" y="78"/>
                  </a:cubicBezTo>
                  <a:cubicBezTo>
                    <a:pt x="333" y="77"/>
                    <a:pt x="333" y="77"/>
                    <a:pt x="332" y="76"/>
                  </a:cubicBezTo>
                  <a:cubicBezTo>
                    <a:pt x="332" y="75"/>
                    <a:pt x="331" y="74"/>
                    <a:pt x="331" y="73"/>
                  </a:cubicBezTo>
                  <a:cubicBezTo>
                    <a:pt x="331" y="72"/>
                    <a:pt x="331" y="71"/>
                    <a:pt x="331" y="70"/>
                  </a:cubicBezTo>
                  <a:cubicBezTo>
                    <a:pt x="331" y="69"/>
                    <a:pt x="331" y="69"/>
                    <a:pt x="331" y="68"/>
                  </a:cubicBezTo>
                  <a:cubicBezTo>
                    <a:pt x="331" y="66"/>
                    <a:pt x="331" y="64"/>
                    <a:pt x="331" y="61"/>
                  </a:cubicBezTo>
                  <a:cubicBezTo>
                    <a:pt x="331" y="60"/>
                    <a:pt x="331" y="58"/>
                    <a:pt x="330" y="57"/>
                  </a:cubicBezTo>
                  <a:cubicBezTo>
                    <a:pt x="330" y="53"/>
                    <a:pt x="330" y="51"/>
                    <a:pt x="329" y="48"/>
                  </a:cubicBezTo>
                  <a:cubicBezTo>
                    <a:pt x="329" y="47"/>
                    <a:pt x="329" y="47"/>
                    <a:pt x="329" y="47"/>
                  </a:cubicBezTo>
                  <a:cubicBezTo>
                    <a:pt x="329" y="46"/>
                    <a:pt x="329" y="46"/>
                    <a:pt x="329" y="45"/>
                  </a:cubicBezTo>
                  <a:cubicBezTo>
                    <a:pt x="329" y="44"/>
                    <a:pt x="329" y="44"/>
                    <a:pt x="329" y="44"/>
                  </a:cubicBezTo>
                  <a:cubicBezTo>
                    <a:pt x="329" y="43"/>
                    <a:pt x="329" y="43"/>
                    <a:pt x="330" y="42"/>
                  </a:cubicBezTo>
                  <a:cubicBezTo>
                    <a:pt x="330" y="42"/>
                    <a:pt x="330" y="41"/>
                    <a:pt x="330" y="40"/>
                  </a:cubicBezTo>
                  <a:cubicBezTo>
                    <a:pt x="330" y="39"/>
                    <a:pt x="330" y="39"/>
                    <a:pt x="330" y="39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26" y="37"/>
                    <a:pt x="324" y="35"/>
                    <a:pt x="322" y="33"/>
                  </a:cubicBezTo>
                  <a:cubicBezTo>
                    <a:pt x="320" y="31"/>
                    <a:pt x="320" y="30"/>
                    <a:pt x="319" y="28"/>
                  </a:cubicBezTo>
                  <a:cubicBezTo>
                    <a:pt x="319" y="27"/>
                    <a:pt x="319" y="27"/>
                    <a:pt x="319" y="27"/>
                  </a:cubicBezTo>
                  <a:cubicBezTo>
                    <a:pt x="318" y="26"/>
                    <a:pt x="318" y="26"/>
                    <a:pt x="318" y="26"/>
                  </a:cubicBezTo>
                  <a:cubicBezTo>
                    <a:pt x="318" y="26"/>
                    <a:pt x="317" y="26"/>
                    <a:pt x="317" y="26"/>
                  </a:cubicBezTo>
                  <a:cubicBezTo>
                    <a:pt x="316" y="25"/>
                    <a:pt x="314" y="25"/>
                    <a:pt x="313" y="25"/>
                  </a:cubicBezTo>
                  <a:cubicBezTo>
                    <a:pt x="312" y="25"/>
                    <a:pt x="312" y="25"/>
                    <a:pt x="312" y="25"/>
                  </a:cubicBezTo>
                  <a:cubicBezTo>
                    <a:pt x="311" y="25"/>
                    <a:pt x="310" y="25"/>
                    <a:pt x="310" y="25"/>
                  </a:cubicBezTo>
                  <a:cubicBezTo>
                    <a:pt x="309" y="25"/>
                    <a:pt x="308" y="25"/>
                    <a:pt x="307" y="25"/>
                  </a:cubicBezTo>
                  <a:cubicBezTo>
                    <a:pt x="307" y="25"/>
                    <a:pt x="306" y="25"/>
                    <a:pt x="305" y="25"/>
                  </a:cubicBezTo>
                  <a:cubicBezTo>
                    <a:pt x="304" y="25"/>
                    <a:pt x="304" y="24"/>
                    <a:pt x="304" y="21"/>
                  </a:cubicBezTo>
                  <a:cubicBezTo>
                    <a:pt x="303" y="18"/>
                    <a:pt x="301" y="16"/>
                    <a:pt x="298" y="16"/>
                  </a:cubicBezTo>
                  <a:cubicBezTo>
                    <a:pt x="297" y="16"/>
                    <a:pt x="295" y="16"/>
                    <a:pt x="295" y="17"/>
                  </a:cubicBezTo>
                  <a:cubicBezTo>
                    <a:pt x="293" y="18"/>
                    <a:pt x="293" y="19"/>
                    <a:pt x="292" y="20"/>
                  </a:cubicBezTo>
                  <a:cubicBezTo>
                    <a:pt x="292" y="20"/>
                    <a:pt x="292" y="20"/>
                    <a:pt x="292" y="20"/>
                  </a:cubicBezTo>
                  <a:cubicBezTo>
                    <a:pt x="292" y="21"/>
                    <a:pt x="291" y="21"/>
                    <a:pt x="290" y="21"/>
                  </a:cubicBezTo>
                  <a:cubicBezTo>
                    <a:pt x="290" y="21"/>
                    <a:pt x="289" y="21"/>
                    <a:pt x="289" y="22"/>
                  </a:cubicBezTo>
                  <a:cubicBezTo>
                    <a:pt x="288" y="22"/>
                    <a:pt x="287" y="22"/>
                    <a:pt x="285" y="22"/>
                  </a:cubicBezTo>
                  <a:cubicBezTo>
                    <a:pt x="284" y="22"/>
                    <a:pt x="283" y="22"/>
                    <a:pt x="282" y="22"/>
                  </a:cubicBezTo>
                  <a:cubicBezTo>
                    <a:pt x="281" y="22"/>
                    <a:pt x="280" y="21"/>
                    <a:pt x="278" y="21"/>
                  </a:cubicBezTo>
                  <a:cubicBezTo>
                    <a:pt x="278" y="21"/>
                    <a:pt x="277" y="21"/>
                    <a:pt x="276" y="22"/>
                  </a:cubicBezTo>
                  <a:cubicBezTo>
                    <a:pt x="275" y="22"/>
                    <a:pt x="275" y="22"/>
                    <a:pt x="275" y="22"/>
                  </a:cubicBezTo>
                  <a:cubicBezTo>
                    <a:pt x="274" y="22"/>
                    <a:pt x="274" y="22"/>
                    <a:pt x="273" y="22"/>
                  </a:cubicBezTo>
                  <a:cubicBezTo>
                    <a:pt x="272" y="21"/>
                    <a:pt x="271" y="21"/>
                    <a:pt x="270" y="21"/>
                  </a:cubicBezTo>
                  <a:cubicBezTo>
                    <a:pt x="270" y="21"/>
                    <a:pt x="269" y="21"/>
                    <a:pt x="269" y="21"/>
                  </a:cubicBezTo>
                  <a:cubicBezTo>
                    <a:pt x="268" y="22"/>
                    <a:pt x="266" y="22"/>
                    <a:pt x="265" y="22"/>
                  </a:cubicBezTo>
                  <a:cubicBezTo>
                    <a:pt x="263" y="23"/>
                    <a:pt x="262" y="23"/>
                    <a:pt x="260" y="23"/>
                  </a:cubicBezTo>
                  <a:cubicBezTo>
                    <a:pt x="259" y="23"/>
                    <a:pt x="259" y="23"/>
                    <a:pt x="258" y="23"/>
                  </a:cubicBezTo>
                  <a:cubicBezTo>
                    <a:pt x="253" y="23"/>
                    <a:pt x="248" y="21"/>
                    <a:pt x="243" y="16"/>
                  </a:cubicBezTo>
                  <a:cubicBezTo>
                    <a:pt x="242" y="15"/>
                    <a:pt x="242" y="15"/>
                    <a:pt x="241" y="14"/>
                  </a:cubicBezTo>
                  <a:cubicBezTo>
                    <a:pt x="239" y="12"/>
                    <a:pt x="238" y="11"/>
                    <a:pt x="237" y="9"/>
                  </a:cubicBezTo>
                  <a:cubicBezTo>
                    <a:pt x="236" y="8"/>
                    <a:pt x="236" y="8"/>
                    <a:pt x="236" y="7"/>
                  </a:cubicBezTo>
                  <a:cubicBezTo>
                    <a:pt x="236" y="5"/>
                    <a:pt x="235" y="4"/>
                    <a:pt x="234" y="2"/>
                  </a:cubicBezTo>
                  <a:cubicBezTo>
                    <a:pt x="233" y="1"/>
                    <a:pt x="231" y="0"/>
                    <a:pt x="230" y="0"/>
                  </a:cubicBezTo>
                  <a:cubicBezTo>
                    <a:pt x="229" y="0"/>
                    <a:pt x="228" y="1"/>
                    <a:pt x="227" y="1"/>
                  </a:cubicBezTo>
                  <a:cubicBezTo>
                    <a:pt x="227" y="1"/>
                    <a:pt x="227" y="1"/>
                    <a:pt x="227" y="1"/>
                  </a:cubicBezTo>
                  <a:cubicBezTo>
                    <a:pt x="227" y="1"/>
                    <a:pt x="227" y="1"/>
                    <a:pt x="226" y="1"/>
                  </a:cubicBezTo>
                  <a:cubicBezTo>
                    <a:pt x="226" y="1"/>
                    <a:pt x="226" y="1"/>
                    <a:pt x="225" y="1"/>
                  </a:cubicBezTo>
                  <a:cubicBezTo>
                    <a:pt x="225" y="1"/>
                    <a:pt x="224" y="1"/>
                    <a:pt x="224" y="1"/>
                  </a:cubicBezTo>
                  <a:cubicBezTo>
                    <a:pt x="223" y="1"/>
                    <a:pt x="222" y="1"/>
                    <a:pt x="222" y="2"/>
                  </a:cubicBezTo>
                  <a:cubicBezTo>
                    <a:pt x="220" y="2"/>
                    <a:pt x="219" y="4"/>
                    <a:pt x="217" y="5"/>
                  </a:cubicBezTo>
                  <a:cubicBezTo>
                    <a:pt x="216" y="7"/>
                    <a:pt x="215" y="9"/>
                    <a:pt x="214" y="11"/>
                  </a:cubicBezTo>
                  <a:cubicBezTo>
                    <a:pt x="214" y="12"/>
                    <a:pt x="213" y="13"/>
                    <a:pt x="213" y="14"/>
                  </a:cubicBezTo>
                  <a:cubicBezTo>
                    <a:pt x="211" y="17"/>
                    <a:pt x="210" y="20"/>
                    <a:pt x="208" y="24"/>
                  </a:cubicBezTo>
                  <a:cubicBezTo>
                    <a:pt x="207" y="26"/>
                    <a:pt x="206" y="28"/>
                    <a:pt x="205" y="30"/>
                  </a:cubicBezTo>
                  <a:cubicBezTo>
                    <a:pt x="203" y="34"/>
                    <a:pt x="202" y="37"/>
                    <a:pt x="200" y="41"/>
                  </a:cubicBezTo>
                  <a:cubicBezTo>
                    <a:pt x="199" y="44"/>
                    <a:pt x="196" y="48"/>
                    <a:pt x="194" y="51"/>
                  </a:cubicBezTo>
                  <a:cubicBezTo>
                    <a:pt x="193" y="53"/>
                    <a:pt x="191" y="55"/>
                    <a:pt x="190" y="56"/>
                  </a:cubicBezTo>
                  <a:cubicBezTo>
                    <a:pt x="190" y="57"/>
                    <a:pt x="189" y="58"/>
                    <a:pt x="189" y="59"/>
                  </a:cubicBezTo>
                  <a:cubicBezTo>
                    <a:pt x="188" y="61"/>
                    <a:pt x="187" y="63"/>
                    <a:pt x="185" y="64"/>
                  </a:cubicBezTo>
                  <a:cubicBezTo>
                    <a:pt x="182" y="66"/>
                    <a:pt x="179" y="68"/>
                    <a:pt x="176" y="69"/>
                  </a:cubicBezTo>
                  <a:cubicBezTo>
                    <a:pt x="174" y="70"/>
                    <a:pt x="174" y="70"/>
                    <a:pt x="174" y="70"/>
                  </a:cubicBezTo>
                  <a:cubicBezTo>
                    <a:pt x="169" y="73"/>
                    <a:pt x="163" y="75"/>
                    <a:pt x="158" y="78"/>
                  </a:cubicBezTo>
                  <a:cubicBezTo>
                    <a:pt x="155" y="79"/>
                    <a:pt x="155" y="79"/>
                    <a:pt x="155" y="79"/>
                  </a:cubicBezTo>
                  <a:cubicBezTo>
                    <a:pt x="152" y="81"/>
                    <a:pt x="149" y="83"/>
                    <a:pt x="146" y="83"/>
                  </a:cubicBezTo>
                  <a:cubicBezTo>
                    <a:pt x="142" y="84"/>
                    <a:pt x="141" y="87"/>
                    <a:pt x="139" y="89"/>
                  </a:cubicBezTo>
                  <a:cubicBezTo>
                    <a:pt x="139" y="89"/>
                    <a:pt x="138" y="90"/>
                    <a:pt x="138" y="91"/>
                  </a:cubicBezTo>
                  <a:cubicBezTo>
                    <a:pt x="137" y="92"/>
                    <a:pt x="136" y="93"/>
                    <a:pt x="135" y="94"/>
                  </a:cubicBezTo>
                  <a:cubicBezTo>
                    <a:pt x="133" y="94"/>
                    <a:pt x="132" y="95"/>
                    <a:pt x="131" y="97"/>
                  </a:cubicBezTo>
                  <a:cubicBezTo>
                    <a:pt x="131" y="97"/>
                    <a:pt x="130" y="98"/>
                    <a:pt x="130" y="98"/>
                  </a:cubicBezTo>
                  <a:cubicBezTo>
                    <a:pt x="129" y="99"/>
                    <a:pt x="128" y="101"/>
                    <a:pt x="127" y="101"/>
                  </a:cubicBezTo>
                  <a:cubicBezTo>
                    <a:pt x="125" y="102"/>
                    <a:pt x="125" y="102"/>
                    <a:pt x="125" y="102"/>
                  </a:cubicBezTo>
                  <a:cubicBezTo>
                    <a:pt x="123" y="105"/>
                    <a:pt x="120" y="107"/>
                    <a:pt x="119" y="110"/>
                  </a:cubicBezTo>
                  <a:cubicBezTo>
                    <a:pt x="118" y="114"/>
                    <a:pt x="117" y="118"/>
                    <a:pt x="117" y="121"/>
                  </a:cubicBezTo>
                  <a:cubicBezTo>
                    <a:pt x="117" y="123"/>
                    <a:pt x="116" y="124"/>
                    <a:pt x="115" y="126"/>
                  </a:cubicBezTo>
                  <a:cubicBezTo>
                    <a:pt x="114" y="127"/>
                    <a:pt x="114" y="127"/>
                    <a:pt x="114" y="127"/>
                  </a:cubicBezTo>
                  <a:cubicBezTo>
                    <a:pt x="113" y="129"/>
                    <a:pt x="112" y="130"/>
                    <a:pt x="110" y="132"/>
                  </a:cubicBezTo>
                  <a:cubicBezTo>
                    <a:pt x="108" y="133"/>
                    <a:pt x="106" y="136"/>
                    <a:pt x="105" y="138"/>
                  </a:cubicBezTo>
                  <a:cubicBezTo>
                    <a:pt x="104" y="139"/>
                    <a:pt x="103" y="141"/>
                    <a:pt x="103" y="142"/>
                  </a:cubicBezTo>
                  <a:cubicBezTo>
                    <a:pt x="102" y="143"/>
                    <a:pt x="102" y="144"/>
                    <a:pt x="102" y="145"/>
                  </a:cubicBezTo>
                  <a:cubicBezTo>
                    <a:pt x="101" y="146"/>
                    <a:pt x="101" y="146"/>
                    <a:pt x="101" y="146"/>
                  </a:cubicBezTo>
                  <a:cubicBezTo>
                    <a:pt x="100" y="148"/>
                    <a:pt x="99" y="150"/>
                    <a:pt x="99" y="152"/>
                  </a:cubicBezTo>
                  <a:cubicBezTo>
                    <a:pt x="97" y="157"/>
                    <a:pt x="98" y="162"/>
                    <a:pt x="99" y="166"/>
                  </a:cubicBezTo>
                  <a:cubicBezTo>
                    <a:pt x="99" y="168"/>
                    <a:pt x="99" y="168"/>
                    <a:pt x="99" y="168"/>
                  </a:cubicBezTo>
                  <a:cubicBezTo>
                    <a:pt x="99" y="168"/>
                    <a:pt x="99" y="169"/>
                    <a:pt x="99" y="169"/>
                  </a:cubicBezTo>
                  <a:cubicBezTo>
                    <a:pt x="100" y="171"/>
                    <a:pt x="100" y="172"/>
                    <a:pt x="100" y="174"/>
                  </a:cubicBezTo>
                  <a:cubicBezTo>
                    <a:pt x="101" y="176"/>
                    <a:pt x="102" y="178"/>
                    <a:pt x="103" y="179"/>
                  </a:cubicBezTo>
                  <a:cubicBezTo>
                    <a:pt x="104" y="180"/>
                    <a:pt x="104" y="180"/>
                    <a:pt x="104" y="180"/>
                  </a:cubicBezTo>
                  <a:cubicBezTo>
                    <a:pt x="105" y="181"/>
                    <a:pt x="105" y="183"/>
                    <a:pt x="105" y="185"/>
                  </a:cubicBezTo>
                  <a:cubicBezTo>
                    <a:pt x="105" y="188"/>
                    <a:pt x="103" y="193"/>
                    <a:pt x="101" y="197"/>
                  </a:cubicBezTo>
                  <a:cubicBezTo>
                    <a:pt x="100" y="198"/>
                    <a:pt x="98" y="200"/>
                    <a:pt x="97" y="201"/>
                  </a:cubicBezTo>
                  <a:cubicBezTo>
                    <a:pt x="95" y="203"/>
                    <a:pt x="94" y="204"/>
                    <a:pt x="93" y="206"/>
                  </a:cubicBezTo>
                  <a:cubicBezTo>
                    <a:pt x="92" y="207"/>
                    <a:pt x="91" y="208"/>
                    <a:pt x="91" y="209"/>
                  </a:cubicBezTo>
                  <a:cubicBezTo>
                    <a:pt x="89" y="212"/>
                    <a:pt x="87" y="214"/>
                    <a:pt x="85" y="217"/>
                  </a:cubicBezTo>
                  <a:cubicBezTo>
                    <a:pt x="84" y="218"/>
                    <a:pt x="83" y="219"/>
                    <a:pt x="82" y="220"/>
                  </a:cubicBezTo>
                  <a:cubicBezTo>
                    <a:pt x="81" y="221"/>
                    <a:pt x="80" y="222"/>
                    <a:pt x="79" y="224"/>
                  </a:cubicBezTo>
                  <a:cubicBezTo>
                    <a:pt x="78" y="224"/>
                    <a:pt x="78" y="225"/>
                    <a:pt x="77" y="225"/>
                  </a:cubicBezTo>
                  <a:cubicBezTo>
                    <a:pt x="76" y="227"/>
                    <a:pt x="75" y="228"/>
                    <a:pt x="73" y="229"/>
                  </a:cubicBezTo>
                  <a:cubicBezTo>
                    <a:pt x="73" y="229"/>
                    <a:pt x="72" y="229"/>
                    <a:pt x="72" y="230"/>
                  </a:cubicBezTo>
                  <a:cubicBezTo>
                    <a:pt x="71" y="230"/>
                    <a:pt x="70" y="230"/>
                    <a:pt x="69" y="231"/>
                  </a:cubicBezTo>
                  <a:cubicBezTo>
                    <a:pt x="65" y="233"/>
                    <a:pt x="62" y="236"/>
                    <a:pt x="59" y="240"/>
                  </a:cubicBezTo>
                  <a:cubicBezTo>
                    <a:pt x="57" y="242"/>
                    <a:pt x="55" y="245"/>
                    <a:pt x="52" y="247"/>
                  </a:cubicBezTo>
                  <a:cubicBezTo>
                    <a:pt x="52" y="247"/>
                    <a:pt x="52" y="248"/>
                    <a:pt x="51" y="248"/>
                  </a:cubicBezTo>
                  <a:cubicBezTo>
                    <a:pt x="51" y="249"/>
                    <a:pt x="50" y="249"/>
                    <a:pt x="50" y="249"/>
                  </a:cubicBezTo>
                  <a:cubicBezTo>
                    <a:pt x="49" y="250"/>
                    <a:pt x="48" y="250"/>
                    <a:pt x="48" y="250"/>
                  </a:cubicBezTo>
                  <a:cubicBezTo>
                    <a:pt x="47" y="250"/>
                    <a:pt x="46" y="250"/>
                    <a:pt x="46" y="250"/>
                  </a:cubicBezTo>
                  <a:cubicBezTo>
                    <a:pt x="44" y="251"/>
                    <a:pt x="43" y="252"/>
                    <a:pt x="42" y="252"/>
                  </a:cubicBezTo>
                  <a:cubicBezTo>
                    <a:pt x="41" y="253"/>
                    <a:pt x="40" y="253"/>
                    <a:pt x="38" y="253"/>
                  </a:cubicBezTo>
                  <a:cubicBezTo>
                    <a:pt x="37" y="254"/>
                    <a:pt x="36" y="255"/>
                    <a:pt x="35" y="255"/>
                  </a:cubicBezTo>
                  <a:cubicBezTo>
                    <a:pt x="34" y="256"/>
                    <a:pt x="33" y="256"/>
                    <a:pt x="32" y="257"/>
                  </a:cubicBezTo>
                  <a:cubicBezTo>
                    <a:pt x="30" y="257"/>
                    <a:pt x="27" y="257"/>
                    <a:pt x="25" y="258"/>
                  </a:cubicBezTo>
                  <a:cubicBezTo>
                    <a:pt x="22" y="258"/>
                    <a:pt x="20" y="259"/>
                    <a:pt x="17" y="259"/>
                  </a:cubicBezTo>
                  <a:cubicBezTo>
                    <a:pt x="13" y="259"/>
                    <a:pt x="11" y="261"/>
                    <a:pt x="8" y="263"/>
                  </a:cubicBezTo>
                  <a:cubicBezTo>
                    <a:pt x="7" y="264"/>
                    <a:pt x="7" y="265"/>
                    <a:pt x="6" y="265"/>
                  </a:cubicBezTo>
                  <a:cubicBezTo>
                    <a:pt x="5" y="266"/>
                    <a:pt x="3" y="267"/>
                    <a:pt x="2" y="269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130" y="272"/>
                    <a:pt x="130" y="272"/>
                    <a:pt x="130" y="272"/>
                  </a:cubicBezTo>
                  <a:cubicBezTo>
                    <a:pt x="131" y="238"/>
                    <a:pt x="131" y="238"/>
                    <a:pt x="131" y="238"/>
                  </a:cubicBezTo>
                  <a:cubicBezTo>
                    <a:pt x="131" y="238"/>
                    <a:pt x="131" y="238"/>
                    <a:pt x="131" y="238"/>
                  </a:cubicBezTo>
                  <a:cubicBezTo>
                    <a:pt x="131" y="238"/>
                    <a:pt x="132" y="238"/>
                    <a:pt x="133" y="237"/>
                  </a:cubicBezTo>
                  <a:cubicBezTo>
                    <a:pt x="134" y="236"/>
                    <a:pt x="136" y="235"/>
                    <a:pt x="138" y="234"/>
                  </a:cubicBezTo>
                  <a:cubicBezTo>
                    <a:pt x="141" y="233"/>
                    <a:pt x="143" y="231"/>
                    <a:pt x="146" y="229"/>
                  </a:cubicBezTo>
                  <a:cubicBezTo>
                    <a:pt x="146" y="228"/>
                    <a:pt x="146" y="228"/>
                    <a:pt x="146" y="228"/>
                  </a:cubicBezTo>
                  <a:cubicBezTo>
                    <a:pt x="147" y="228"/>
                    <a:pt x="147" y="227"/>
                    <a:pt x="148" y="226"/>
                  </a:cubicBezTo>
                  <a:cubicBezTo>
                    <a:pt x="149" y="225"/>
                    <a:pt x="150" y="224"/>
                    <a:pt x="151" y="224"/>
                  </a:cubicBezTo>
                  <a:cubicBezTo>
                    <a:pt x="153" y="222"/>
                    <a:pt x="155" y="220"/>
                    <a:pt x="157" y="219"/>
                  </a:cubicBezTo>
                  <a:cubicBezTo>
                    <a:pt x="159" y="218"/>
                    <a:pt x="160" y="218"/>
                    <a:pt x="162" y="218"/>
                  </a:cubicBezTo>
                  <a:cubicBezTo>
                    <a:pt x="163" y="218"/>
                    <a:pt x="164" y="218"/>
                    <a:pt x="165" y="217"/>
                  </a:cubicBezTo>
                  <a:cubicBezTo>
                    <a:pt x="167" y="217"/>
                    <a:pt x="168" y="215"/>
                    <a:pt x="169" y="213"/>
                  </a:cubicBezTo>
                  <a:cubicBezTo>
                    <a:pt x="169" y="213"/>
                    <a:pt x="169" y="212"/>
                    <a:pt x="170" y="212"/>
                  </a:cubicBezTo>
                  <a:cubicBezTo>
                    <a:pt x="172" y="209"/>
                    <a:pt x="173" y="209"/>
                    <a:pt x="176" y="209"/>
                  </a:cubicBezTo>
                  <a:cubicBezTo>
                    <a:pt x="176" y="209"/>
                    <a:pt x="180" y="209"/>
                    <a:pt x="181" y="209"/>
                  </a:cubicBezTo>
                  <a:cubicBezTo>
                    <a:pt x="182" y="209"/>
                    <a:pt x="183" y="209"/>
                    <a:pt x="184" y="209"/>
                  </a:cubicBezTo>
                  <a:cubicBezTo>
                    <a:pt x="185" y="209"/>
                    <a:pt x="185" y="209"/>
                    <a:pt x="185" y="209"/>
                  </a:cubicBezTo>
                  <a:cubicBezTo>
                    <a:pt x="188" y="209"/>
                    <a:pt x="188" y="209"/>
                    <a:pt x="188" y="209"/>
                  </a:cubicBezTo>
                  <a:cubicBezTo>
                    <a:pt x="189" y="209"/>
                    <a:pt x="191" y="209"/>
                    <a:pt x="192" y="208"/>
                  </a:cubicBezTo>
                  <a:cubicBezTo>
                    <a:pt x="195" y="207"/>
                    <a:pt x="195" y="203"/>
                    <a:pt x="194" y="201"/>
                  </a:cubicBezTo>
                  <a:cubicBezTo>
                    <a:pt x="196" y="201"/>
                    <a:pt x="197" y="201"/>
                    <a:pt x="199" y="201"/>
                  </a:cubicBezTo>
                  <a:cubicBezTo>
                    <a:pt x="201" y="201"/>
                    <a:pt x="202" y="201"/>
                    <a:pt x="204" y="201"/>
                  </a:cubicBezTo>
                  <a:cubicBezTo>
                    <a:pt x="205" y="201"/>
                    <a:pt x="207" y="201"/>
                    <a:pt x="208" y="201"/>
                  </a:cubicBezTo>
                  <a:cubicBezTo>
                    <a:pt x="209" y="201"/>
                    <a:pt x="210" y="201"/>
                    <a:pt x="211" y="201"/>
                  </a:cubicBezTo>
                  <a:cubicBezTo>
                    <a:pt x="212" y="201"/>
                    <a:pt x="212" y="201"/>
                    <a:pt x="213" y="201"/>
                  </a:cubicBezTo>
                  <a:cubicBezTo>
                    <a:pt x="217" y="200"/>
                    <a:pt x="221" y="200"/>
                    <a:pt x="224" y="197"/>
                  </a:cubicBezTo>
                  <a:cubicBezTo>
                    <a:pt x="228" y="194"/>
                    <a:pt x="231" y="190"/>
                    <a:pt x="234" y="186"/>
                  </a:cubicBezTo>
                  <a:cubicBezTo>
                    <a:pt x="234" y="184"/>
                    <a:pt x="237" y="180"/>
                    <a:pt x="239" y="179"/>
                  </a:cubicBezTo>
                  <a:cubicBezTo>
                    <a:pt x="240" y="179"/>
                    <a:pt x="241" y="178"/>
                    <a:pt x="243" y="178"/>
                  </a:cubicBezTo>
                  <a:cubicBezTo>
                    <a:pt x="243" y="178"/>
                    <a:pt x="244" y="178"/>
                    <a:pt x="245" y="177"/>
                  </a:cubicBezTo>
                  <a:cubicBezTo>
                    <a:pt x="245" y="177"/>
                    <a:pt x="246" y="177"/>
                    <a:pt x="247" y="177"/>
                  </a:cubicBezTo>
                  <a:cubicBezTo>
                    <a:pt x="248" y="177"/>
                    <a:pt x="250" y="176"/>
                    <a:pt x="251" y="176"/>
                  </a:cubicBezTo>
                  <a:cubicBezTo>
                    <a:pt x="252" y="175"/>
                    <a:pt x="252" y="175"/>
                    <a:pt x="252" y="175"/>
                  </a:cubicBezTo>
                  <a:cubicBezTo>
                    <a:pt x="254" y="174"/>
                    <a:pt x="255" y="173"/>
                    <a:pt x="257" y="173"/>
                  </a:cubicBezTo>
                  <a:cubicBezTo>
                    <a:pt x="258" y="172"/>
                    <a:pt x="259" y="171"/>
                    <a:pt x="260" y="170"/>
                  </a:cubicBezTo>
                  <a:cubicBezTo>
                    <a:pt x="260" y="169"/>
                    <a:pt x="261" y="168"/>
                    <a:pt x="262" y="168"/>
                  </a:cubicBezTo>
                  <a:cubicBezTo>
                    <a:pt x="264" y="167"/>
                    <a:pt x="266" y="166"/>
                    <a:pt x="269" y="165"/>
                  </a:cubicBezTo>
                  <a:cubicBezTo>
                    <a:pt x="270" y="165"/>
                    <a:pt x="270" y="165"/>
                    <a:pt x="270" y="165"/>
                  </a:cubicBezTo>
                  <a:cubicBezTo>
                    <a:pt x="270" y="165"/>
                    <a:pt x="271" y="165"/>
                    <a:pt x="271" y="165"/>
                  </a:cubicBezTo>
                  <a:cubicBezTo>
                    <a:pt x="273" y="164"/>
                    <a:pt x="275" y="164"/>
                    <a:pt x="275" y="161"/>
                  </a:cubicBezTo>
                  <a:cubicBezTo>
                    <a:pt x="274" y="159"/>
                    <a:pt x="273" y="158"/>
                    <a:pt x="272" y="158"/>
                  </a:cubicBezTo>
                  <a:cubicBezTo>
                    <a:pt x="271" y="157"/>
                    <a:pt x="270" y="157"/>
                    <a:pt x="270" y="156"/>
                  </a:cubicBezTo>
                  <a:cubicBezTo>
                    <a:pt x="269" y="155"/>
                    <a:pt x="269" y="154"/>
                    <a:pt x="270" y="152"/>
                  </a:cubicBezTo>
                  <a:cubicBezTo>
                    <a:pt x="270" y="151"/>
                    <a:pt x="271" y="150"/>
                    <a:pt x="270" y="148"/>
                  </a:cubicBezTo>
                  <a:cubicBezTo>
                    <a:pt x="270" y="147"/>
                    <a:pt x="270" y="147"/>
                    <a:pt x="269" y="146"/>
                  </a:cubicBezTo>
                  <a:cubicBezTo>
                    <a:pt x="269" y="145"/>
                    <a:pt x="268" y="144"/>
                    <a:pt x="269" y="142"/>
                  </a:cubicBezTo>
                  <a:cubicBezTo>
                    <a:pt x="269" y="140"/>
                    <a:pt x="271" y="139"/>
                    <a:pt x="273" y="139"/>
                  </a:cubicBezTo>
                  <a:cubicBezTo>
                    <a:pt x="273" y="139"/>
                    <a:pt x="274" y="139"/>
                    <a:pt x="275" y="140"/>
                  </a:cubicBezTo>
                  <a:cubicBezTo>
                    <a:pt x="275" y="140"/>
                    <a:pt x="276" y="140"/>
                    <a:pt x="276" y="140"/>
                  </a:cubicBezTo>
                  <a:cubicBezTo>
                    <a:pt x="277" y="140"/>
                    <a:pt x="278" y="141"/>
                    <a:pt x="279" y="141"/>
                  </a:cubicBezTo>
                  <a:cubicBezTo>
                    <a:pt x="280" y="141"/>
                    <a:pt x="281" y="141"/>
                    <a:pt x="282" y="140"/>
                  </a:cubicBezTo>
                  <a:cubicBezTo>
                    <a:pt x="283" y="140"/>
                    <a:pt x="284" y="140"/>
                    <a:pt x="285" y="139"/>
                  </a:cubicBezTo>
                  <a:cubicBezTo>
                    <a:pt x="286" y="139"/>
                    <a:pt x="287" y="139"/>
                    <a:pt x="289" y="138"/>
                  </a:cubicBezTo>
                  <a:cubicBezTo>
                    <a:pt x="290" y="138"/>
                    <a:pt x="291" y="137"/>
                    <a:pt x="292" y="137"/>
                  </a:cubicBezTo>
                  <a:cubicBezTo>
                    <a:pt x="292" y="136"/>
                    <a:pt x="293" y="136"/>
                    <a:pt x="294" y="136"/>
                  </a:cubicBezTo>
                  <a:cubicBezTo>
                    <a:pt x="295" y="135"/>
                    <a:pt x="295" y="135"/>
                    <a:pt x="295" y="135"/>
                  </a:cubicBezTo>
                  <a:cubicBezTo>
                    <a:pt x="295" y="134"/>
                    <a:pt x="295" y="134"/>
                    <a:pt x="295" y="134"/>
                  </a:cubicBezTo>
                  <a:cubicBezTo>
                    <a:pt x="295" y="133"/>
                    <a:pt x="295" y="133"/>
                    <a:pt x="295" y="133"/>
                  </a:cubicBezTo>
                  <a:cubicBezTo>
                    <a:pt x="295" y="130"/>
                    <a:pt x="295" y="129"/>
                    <a:pt x="298" y="129"/>
                  </a:cubicBezTo>
                  <a:cubicBezTo>
                    <a:pt x="301" y="128"/>
                    <a:pt x="303" y="128"/>
                    <a:pt x="305" y="127"/>
                  </a:cubicBezTo>
                  <a:cubicBezTo>
                    <a:pt x="307" y="127"/>
                    <a:pt x="309" y="127"/>
                    <a:pt x="311" y="127"/>
                  </a:cubicBezTo>
                  <a:cubicBezTo>
                    <a:pt x="311" y="125"/>
                    <a:pt x="311" y="125"/>
                    <a:pt x="311" y="125"/>
                  </a:cubicBezTo>
                  <a:cubicBezTo>
                    <a:pt x="311" y="127"/>
                    <a:pt x="311" y="127"/>
                    <a:pt x="311" y="127"/>
                  </a:cubicBezTo>
                  <a:cubicBezTo>
                    <a:pt x="312" y="127"/>
                    <a:pt x="312" y="127"/>
                    <a:pt x="313" y="127"/>
                  </a:cubicBezTo>
                  <a:cubicBezTo>
                    <a:pt x="316" y="126"/>
                    <a:pt x="316" y="126"/>
                    <a:pt x="316" y="126"/>
                  </a:cubicBezTo>
                  <a:cubicBezTo>
                    <a:pt x="318" y="126"/>
                    <a:pt x="320" y="126"/>
                    <a:pt x="322" y="126"/>
                  </a:cubicBezTo>
                  <a:cubicBezTo>
                    <a:pt x="325" y="126"/>
                    <a:pt x="327" y="126"/>
                    <a:pt x="329" y="127"/>
                  </a:cubicBezTo>
                  <a:cubicBezTo>
                    <a:pt x="331" y="127"/>
                    <a:pt x="337" y="128"/>
                    <a:pt x="339" y="128"/>
                  </a:cubicBezTo>
                  <a:cubicBezTo>
                    <a:pt x="342" y="128"/>
                    <a:pt x="342" y="128"/>
                    <a:pt x="342" y="128"/>
                  </a:cubicBezTo>
                  <a:cubicBezTo>
                    <a:pt x="341" y="125"/>
                    <a:pt x="341" y="125"/>
                    <a:pt x="341" y="125"/>
                  </a:cubicBezTo>
                  <a:cubicBezTo>
                    <a:pt x="341" y="123"/>
                    <a:pt x="341" y="122"/>
                    <a:pt x="342" y="121"/>
                  </a:cubicBezTo>
                  <a:cubicBezTo>
                    <a:pt x="342" y="120"/>
                    <a:pt x="342" y="119"/>
                    <a:pt x="343" y="119"/>
                  </a:cubicBezTo>
                  <a:cubicBezTo>
                    <a:pt x="344" y="118"/>
                    <a:pt x="344" y="118"/>
                    <a:pt x="344" y="117"/>
                  </a:cubicBezTo>
                  <a:cubicBezTo>
                    <a:pt x="346" y="114"/>
                    <a:pt x="346" y="113"/>
                    <a:pt x="343" y="11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6" name="Freeform 76"/>
            <p:cNvSpPr>
              <a:spLocks/>
            </p:cNvSpPr>
            <p:nvPr/>
          </p:nvSpPr>
          <p:spPr bwMode="auto">
            <a:xfrm>
              <a:off x="959881" y="1495364"/>
              <a:ext cx="352663" cy="268138"/>
            </a:xfrm>
            <a:custGeom>
              <a:avLst/>
              <a:gdLst>
                <a:gd name="T0" fmla="*/ 173 w 174"/>
                <a:gd name="T1" fmla="*/ 135 h 144"/>
                <a:gd name="T2" fmla="*/ 172 w 174"/>
                <a:gd name="T3" fmla="*/ 119 h 144"/>
                <a:gd name="T4" fmla="*/ 164 w 174"/>
                <a:gd name="T5" fmla="*/ 108 h 144"/>
                <a:gd name="T6" fmla="*/ 155 w 174"/>
                <a:gd name="T7" fmla="*/ 100 h 144"/>
                <a:gd name="T8" fmla="*/ 157 w 174"/>
                <a:gd name="T9" fmla="*/ 94 h 144"/>
                <a:gd name="T10" fmla="*/ 157 w 174"/>
                <a:gd name="T11" fmla="*/ 92 h 144"/>
                <a:gd name="T12" fmla="*/ 156 w 174"/>
                <a:gd name="T13" fmla="*/ 81 h 144"/>
                <a:gd name="T14" fmla="*/ 153 w 174"/>
                <a:gd name="T15" fmla="*/ 68 h 144"/>
                <a:gd name="T16" fmla="*/ 151 w 174"/>
                <a:gd name="T17" fmla="*/ 64 h 144"/>
                <a:gd name="T18" fmla="*/ 139 w 174"/>
                <a:gd name="T19" fmla="*/ 51 h 144"/>
                <a:gd name="T20" fmla="*/ 130 w 174"/>
                <a:gd name="T21" fmla="*/ 42 h 144"/>
                <a:gd name="T22" fmla="*/ 110 w 174"/>
                <a:gd name="T23" fmla="*/ 18 h 144"/>
                <a:gd name="T24" fmla="*/ 84 w 174"/>
                <a:gd name="T25" fmla="*/ 0 h 144"/>
                <a:gd name="T26" fmla="*/ 50 w 174"/>
                <a:gd name="T27" fmla="*/ 5 h 144"/>
                <a:gd name="T28" fmla="*/ 41 w 174"/>
                <a:gd name="T29" fmla="*/ 4 h 144"/>
                <a:gd name="T30" fmla="*/ 27 w 174"/>
                <a:gd name="T31" fmla="*/ 20 h 144"/>
                <a:gd name="T32" fmla="*/ 24 w 174"/>
                <a:gd name="T33" fmla="*/ 30 h 144"/>
                <a:gd name="T34" fmla="*/ 19 w 174"/>
                <a:gd name="T35" fmla="*/ 40 h 144"/>
                <a:gd name="T36" fmla="*/ 13 w 174"/>
                <a:gd name="T37" fmla="*/ 47 h 144"/>
                <a:gd name="T38" fmla="*/ 4 w 174"/>
                <a:gd name="T39" fmla="*/ 64 h 144"/>
                <a:gd name="T40" fmla="*/ 15 w 174"/>
                <a:gd name="T41" fmla="*/ 81 h 144"/>
                <a:gd name="T42" fmla="*/ 21 w 174"/>
                <a:gd name="T43" fmla="*/ 86 h 144"/>
                <a:gd name="T44" fmla="*/ 21 w 174"/>
                <a:gd name="T45" fmla="*/ 93 h 144"/>
                <a:gd name="T46" fmla="*/ 19 w 174"/>
                <a:gd name="T47" fmla="*/ 99 h 144"/>
                <a:gd name="T48" fmla="*/ 39 w 174"/>
                <a:gd name="T49" fmla="*/ 100 h 144"/>
                <a:gd name="T50" fmla="*/ 67 w 174"/>
                <a:gd name="T51" fmla="*/ 93 h 144"/>
                <a:gd name="T52" fmla="*/ 78 w 174"/>
                <a:gd name="T53" fmla="*/ 99 h 144"/>
                <a:gd name="T54" fmla="*/ 83 w 174"/>
                <a:gd name="T55" fmla="*/ 98 h 144"/>
                <a:gd name="T56" fmla="*/ 87 w 174"/>
                <a:gd name="T57" fmla="*/ 102 h 144"/>
                <a:gd name="T58" fmla="*/ 90 w 174"/>
                <a:gd name="T59" fmla="*/ 106 h 144"/>
                <a:gd name="T60" fmla="*/ 100 w 174"/>
                <a:gd name="T61" fmla="*/ 101 h 144"/>
                <a:gd name="T62" fmla="*/ 100 w 174"/>
                <a:gd name="T63" fmla="*/ 111 h 144"/>
                <a:gd name="T64" fmla="*/ 89 w 174"/>
                <a:gd name="T65" fmla="*/ 113 h 144"/>
                <a:gd name="T66" fmla="*/ 80 w 174"/>
                <a:gd name="T67" fmla="*/ 109 h 144"/>
                <a:gd name="T68" fmla="*/ 70 w 174"/>
                <a:gd name="T69" fmla="*/ 105 h 144"/>
                <a:gd name="T70" fmla="*/ 66 w 174"/>
                <a:gd name="T71" fmla="*/ 103 h 144"/>
                <a:gd name="T72" fmla="*/ 62 w 174"/>
                <a:gd name="T73" fmla="*/ 109 h 144"/>
                <a:gd name="T74" fmla="*/ 48 w 174"/>
                <a:gd name="T75" fmla="*/ 112 h 144"/>
                <a:gd name="T76" fmla="*/ 43 w 174"/>
                <a:gd name="T77" fmla="*/ 116 h 144"/>
                <a:gd name="T78" fmla="*/ 27 w 174"/>
                <a:gd name="T79" fmla="*/ 117 h 144"/>
                <a:gd name="T80" fmla="*/ 20 w 174"/>
                <a:gd name="T81" fmla="*/ 119 h 144"/>
                <a:gd name="T82" fmla="*/ 16 w 174"/>
                <a:gd name="T83" fmla="*/ 122 h 144"/>
                <a:gd name="T84" fmla="*/ 17 w 174"/>
                <a:gd name="T85" fmla="*/ 133 h 144"/>
                <a:gd name="T86" fmla="*/ 21 w 174"/>
                <a:gd name="T87" fmla="*/ 144 h 144"/>
                <a:gd name="T88" fmla="*/ 34 w 174"/>
                <a:gd name="T89" fmla="*/ 138 h 144"/>
                <a:gd name="T90" fmla="*/ 47 w 174"/>
                <a:gd name="T91" fmla="*/ 139 h 144"/>
                <a:gd name="T92" fmla="*/ 73 w 174"/>
                <a:gd name="T93" fmla="*/ 131 h 144"/>
                <a:gd name="T94" fmla="*/ 95 w 174"/>
                <a:gd name="T95" fmla="*/ 131 h 144"/>
                <a:gd name="T96" fmla="*/ 120 w 174"/>
                <a:gd name="T97" fmla="*/ 132 h 144"/>
                <a:gd name="T98" fmla="*/ 126 w 174"/>
                <a:gd name="T99" fmla="*/ 133 h 144"/>
                <a:gd name="T100" fmla="*/ 133 w 174"/>
                <a:gd name="T101" fmla="*/ 137 h 144"/>
                <a:gd name="T102" fmla="*/ 138 w 174"/>
                <a:gd name="T103" fmla="*/ 139 h 144"/>
                <a:gd name="T104" fmla="*/ 140 w 174"/>
                <a:gd name="T105" fmla="*/ 140 h 144"/>
                <a:gd name="T106" fmla="*/ 142 w 174"/>
                <a:gd name="T107" fmla="*/ 140 h 144"/>
                <a:gd name="T108" fmla="*/ 147 w 174"/>
                <a:gd name="T109" fmla="*/ 143 h 144"/>
                <a:gd name="T110" fmla="*/ 156 w 174"/>
                <a:gd name="T111" fmla="*/ 140 h 144"/>
                <a:gd name="T112" fmla="*/ 162 w 174"/>
                <a:gd name="T113" fmla="*/ 140 h 144"/>
                <a:gd name="T114" fmla="*/ 173 w 174"/>
                <a:gd name="T115" fmla="*/ 13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4" h="144">
                  <a:moveTo>
                    <a:pt x="173" y="136"/>
                  </a:moveTo>
                  <a:cubicBezTo>
                    <a:pt x="173" y="136"/>
                    <a:pt x="173" y="136"/>
                    <a:pt x="173" y="136"/>
                  </a:cubicBezTo>
                  <a:cubicBezTo>
                    <a:pt x="173" y="136"/>
                    <a:pt x="173" y="135"/>
                    <a:pt x="173" y="135"/>
                  </a:cubicBezTo>
                  <a:cubicBezTo>
                    <a:pt x="173" y="134"/>
                    <a:pt x="172" y="133"/>
                    <a:pt x="173" y="132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3" y="126"/>
                    <a:pt x="174" y="123"/>
                    <a:pt x="172" y="119"/>
                  </a:cubicBezTo>
                  <a:cubicBezTo>
                    <a:pt x="171" y="118"/>
                    <a:pt x="171" y="117"/>
                    <a:pt x="171" y="116"/>
                  </a:cubicBezTo>
                  <a:cubicBezTo>
                    <a:pt x="170" y="112"/>
                    <a:pt x="169" y="109"/>
                    <a:pt x="165" y="108"/>
                  </a:cubicBezTo>
                  <a:cubicBezTo>
                    <a:pt x="164" y="108"/>
                    <a:pt x="164" y="108"/>
                    <a:pt x="164" y="108"/>
                  </a:cubicBezTo>
                  <a:cubicBezTo>
                    <a:pt x="162" y="107"/>
                    <a:pt x="161" y="107"/>
                    <a:pt x="160" y="105"/>
                  </a:cubicBezTo>
                  <a:cubicBezTo>
                    <a:pt x="159" y="105"/>
                    <a:pt x="159" y="104"/>
                    <a:pt x="158" y="104"/>
                  </a:cubicBezTo>
                  <a:cubicBezTo>
                    <a:pt x="157" y="102"/>
                    <a:pt x="156" y="101"/>
                    <a:pt x="155" y="100"/>
                  </a:cubicBezTo>
                  <a:cubicBezTo>
                    <a:pt x="155" y="99"/>
                    <a:pt x="155" y="98"/>
                    <a:pt x="155" y="96"/>
                  </a:cubicBezTo>
                  <a:cubicBezTo>
                    <a:pt x="156" y="96"/>
                    <a:pt x="156" y="96"/>
                    <a:pt x="156" y="95"/>
                  </a:cubicBezTo>
                  <a:cubicBezTo>
                    <a:pt x="157" y="95"/>
                    <a:pt x="157" y="94"/>
                    <a:pt x="157" y="94"/>
                  </a:cubicBezTo>
                  <a:cubicBezTo>
                    <a:pt x="157" y="94"/>
                    <a:pt x="157" y="94"/>
                    <a:pt x="157" y="94"/>
                  </a:cubicBezTo>
                  <a:cubicBezTo>
                    <a:pt x="157" y="93"/>
                    <a:pt x="157" y="93"/>
                    <a:pt x="157" y="93"/>
                  </a:cubicBezTo>
                  <a:cubicBezTo>
                    <a:pt x="158" y="93"/>
                    <a:pt x="157" y="93"/>
                    <a:pt x="157" y="92"/>
                  </a:cubicBezTo>
                  <a:cubicBezTo>
                    <a:pt x="157" y="92"/>
                    <a:pt x="157" y="91"/>
                    <a:pt x="157" y="91"/>
                  </a:cubicBezTo>
                  <a:cubicBezTo>
                    <a:pt x="157" y="90"/>
                    <a:pt x="157" y="88"/>
                    <a:pt x="157" y="87"/>
                  </a:cubicBezTo>
                  <a:cubicBezTo>
                    <a:pt x="157" y="85"/>
                    <a:pt x="157" y="83"/>
                    <a:pt x="156" y="81"/>
                  </a:cubicBezTo>
                  <a:cubicBezTo>
                    <a:pt x="155" y="80"/>
                    <a:pt x="155" y="79"/>
                    <a:pt x="154" y="78"/>
                  </a:cubicBezTo>
                  <a:cubicBezTo>
                    <a:pt x="151" y="74"/>
                    <a:pt x="150" y="72"/>
                    <a:pt x="152" y="69"/>
                  </a:cubicBezTo>
                  <a:cubicBezTo>
                    <a:pt x="152" y="68"/>
                    <a:pt x="152" y="68"/>
                    <a:pt x="153" y="68"/>
                  </a:cubicBezTo>
                  <a:cubicBezTo>
                    <a:pt x="154" y="65"/>
                    <a:pt x="154" y="65"/>
                    <a:pt x="154" y="65"/>
                  </a:cubicBezTo>
                  <a:cubicBezTo>
                    <a:pt x="152" y="64"/>
                    <a:pt x="152" y="64"/>
                    <a:pt x="152" y="64"/>
                  </a:cubicBezTo>
                  <a:cubicBezTo>
                    <a:pt x="152" y="64"/>
                    <a:pt x="151" y="64"/>
                    <a:pt x="151" y="64"/>
                  </a:cubicBezTo>
                  <a:cubicBezTo>
                    <a:pt x="149" y="62"/>
                    <a:pt x="147" y="60"/>
                    <a:pt x="145" y="58"/>
                  </a:cubicBezTo>
                  <a:cubicBezTo>
                    <a:pt x="144" y="56"/>
                    <a:pt x="142" y="54"/>
                    <a:pt x="140" y="52"/>
                  </a:cubicBezTo>
                  <a:cubicBezTo>
                    <a:pt x="139" y="52"/>
                    <a:pt x="139" y="52"/>
                    <a:pt x="139" y="51"/>
                  </a:cubicBezTo>
                  <a:cubicBezTo>
                    <a:pt x="137" y="50"/>
                    <a:pt x="136" y="50"/>
                    <a:pt x="134" y="48"/>
                  </a:cubicBezTo>
                  <a:cubicBezTo>
                    <a:pt x="133" y="47"/>
                    <a:pt x="133" y="46"/>
                    <a:pt x="132" y="44"/>
                  </a:cubicBezTo>
                  <a:cubicBezTo>
                    <a:pt x="131" y="43"/>
                    <a:pt x="131" y="43"/>
                    <a:pt x="130" y="42"/>
                  </a:cubicBezTo>
                  <a:cubicBezTo>
                    <a:pt x="129" y="40"/>
                    <a:pt x="128" y="38"/>
                    <a:pt x="126" y="37"/>
                  </a:cubicBezTo>
                  <a:cubicBezTo>
                    <a:pt x="124" y="35"/>
                    <a:pt x="122" y="33"/>
                    <a:pt x="121" y="29"/>
                  </a:cubicBezTo>
                  <a:cubicBezTo>
                    <a:pt x="119" y="22"/>
                    <a:pt x="118" y="19"/>
                    <a:pt x="110" y="18"/>
                  </a:cubicBezTo>
                  <a:cubicBezTo>
                    <a:pt x="104" y="17"/>
                    <a:pt x="102" y="14"/>
                    <a:pt x="99" y="9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95" y="2"/>
                    <a:pt x="88" y="0"/>
                    <a:pt x="84" y="0"/>
                  </a:cubicBezTo>
                  <a:cubicBezTo>
                    <a:pt x="83" y="0"/>
                    <a:pt x="82" y="0"/>
                    <a:pt x="81" y="0"/>
                  </a:cubicBezTo>
                  <a:cubicBezTo>
                    <a:pt x="76" y="0"/>
                    <a:pt x="71" y="1"/>
                    <a:pt x="66" y="2"/>
                  </a:cubicBezTo>
                  <a:cubicBezTo>
                    <a:pt x="61" y="4"/>
                    <a:pt x="56" y="5"/>
                    <a:pt x="50" y="5"/>
                  </a:cubicBezTo>
                  <a:cubicBezTo>
                    <a:pt x="49" y="5"/>
                    <a:pt x="48" y="5"/>
                    <a:pt x="47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4" y="5"/>
                    <a:pt x="43" y="4"/>
                    <a:pt x="41" y="4"/>
                  </a:cubicBezTo>
                  <a:cubicBezTo>
                    <a:pt x="37" y="4"/>
                    <a:pt x="35" y="6"/>
                    <a:pt x="33" y="10"/>
                  </a:cubicBezTo>
                  <a:cubicBezTo>
                    <a:pt x="33" y="11"/>
                    <a:pt x="32" y="12"/>
                    <a:pt x="32" y="12"/>
                  </a:cubicBezTo>
                  <a:cubicBezTo>
                    <a:pt x="31" y="16"/>
                    <a:pt x="29" y="19"/>
                    <a:pt x="27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5" y="24"/>
                    <a:pt x="25" y="27"/>
                    <a:pt x="24" y="30"/>
                  </a:cubicBezTo>
                  <a:cubicBezTo>
                    <a:pt x="24" y="31"/>
                    <a:pt x="23" y="33"/>
                    <a:pt x="22" y="35"/>
                  </a:cubicBezTo>
                  <a:cubicBezTo>
                    <a:pt x="21" y="35"/>
                    <a:pt x="21" y="36"/>
                    <a:pt x="21" y="37"/>
                  </a:cubicBezTo>
                  <a:cubicBezTo>
                    <a:pt x="20" y="38"/>
                    <a:pt x="20" y="39"/>
                    <a:pt x="19" y="40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8" y="41"/>
                    <a:pt x="17" y="42"/>
                    <a:pt x="16" y="43"/>
                  </a:cubicBezTo>
                  <a:cubicBezTo>
                    <a:pt x="15" y="44"/>
                    <a:pt x="14" y="46"/>
                    <a:pt x="13" y="47"/>
                  </a:cubicBezTo>
                  <a:cubicBezTo>
                    <a:pt x="12" y="49"/>
                    <a:pt x="10" y="52"/>
                    <a:pt x="8" y="53"/>
                  </a:cubicBezTo>
                  <a:cubicBezTo>
                    <a:pt x="6" y="55"/>
                    <a:pt x="0" y="58"/>
                    <a:pt x="4" y="64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6" y="67"/>
                    <a:pt x="8" y="70"/>
                    <a:pt x="10" y="72"/>
                  </a:cubicBezTo>
                  <a:cubicBezTo>
                    <a:pt x="11" y="74"/>
                    <a:pt x="12" y="75"/>
                    <a:pt x="12" y="77"/>
                  </a:cubicBezTo>
                  <a:cubicBezTo>
                    <a:pt x="13" y="78"/>
                    <a:pt x="14" y="80"/>
                    <a:pt x="15" y="81"/>
                  </a:cubicBezTo>
                  <a:cubicBezTo>
                    <a:pt x="15" y="81"/>
                    <a:pt x="15" y="82"/>
                    <a:pt x="15" y="82"/>
                  </a:cubicBezTo>
                  <a:cubicBezTo>
                    <a:pt x="16" y="84"/>
                    <a:pt x="17" y="85"/>
                    <a:pt x="19" y="86"/>
                  </a:cubicBezTo>
                  <a:cubicBezTo>
                    <a:pt x="20" y="86"/>
                    <a:pt x="20" y="86"/>
                    <a:pt x="21" y="86"/>
                  </a:cubicBezTo>
                  <a:cubicBezTo>
                    <a:pt x="22" y="86"/>
                    <a:pt x="22" y="86"/>
                    <a:pt x="23" y="86"/>
                  </a:cubicBezTo>
                  <a:cubicBezTo>
                    <a:pt x="23" y="86"/>
                    <a:pt x="23" y="86"/>
                    <a:pt x="24" y="86"/>
                  </a:cubicBezTo>
                  <a:cubicBezTo>
                    <a:pt x="24" y="89"/>
                    <a:pt x="23" y="90"/>
                    <a:pt x="21" y="93"/>
                  </a:cubicBezTo>
                  <a:cubicBezTo>
                    <a:pt x="20" y="94"/>
                    <a:pt x="20" y="94"/>
                    <a:pt x="20" y="94"/>
                  </a:cubicBezTo>
                  <a:cubicBezTo>
                    <a:pt x="20" y="95"/>
                    <a:pt x="20" y="95"/>
                    <a:pt x="20" y="96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3" y="98"/>
                    <a:pt x="24" y="98"/>
                  </a:cubicBezTo>
                  <a:cubicBezTo>
                    <a:pt x="30" y="98"/>
                    <a:pt x="36" y="99"/>
                    <a:pt x="39" y="100"/>
                  </a:cubicBezTo>
                  <a:cubicBezTo>
                    <a:pt x="41" y="100"/>
                    <a:pt x="43" y="100"/>
                    <a:pt x="44" y="100"/>
                  </a:cubicBezTo>
                  <a:cubicBezTo>
                    <a:pt x="49" y="100"/>
                    <a:pt x="54" y="99"/>
                    <a:pt x="58" y="96"/>
                  </a:cubicBezTo>
                  <a:cubicBezTo>
                    <a:pt x="61" y="94"/>
                    <a:pt x="64" y="93"/>
                    <a:pt x="67" y="93"/>
                  </a:cubicBezTo>
                  <a:cubicBezTo>
                    <a:pt x="68" y="93"/>
                    <a:pt x="68" y="93"/>
                    <a:pt x="69" y="93"/>
                  </a:cubicBezTo>
                  <a:cubicBezTo>
                    <a:pt x="72" y="94"/>
                    <a:pt x="74" y="94"/>
                    <a:pt x="76" y="98"/>
                  </a:cubicBezTo>
                  <a:cubicBezTo>
                    <a:pt x="77" y="99"/>
                    <a:pt x="77" y="99"/>
                    <a:pt x="78" y="99"/>
                  </a:cubicBezTo>
                  <a:cubicBezTo>
                    <a:pt x="78" y="99"/>
                    <a:pt x="78" y="99"/>
                    <a:pt x="79" y="99"/>
                  </a:cubicBezTo>
                  <a:cubicBezTo>
                    <a:pt x="79" y="99"/>
                    <a:pt x="79" y="99"/>
                    <a:pt x="80" y="98"/>
                  </a:cubicBezTo>
                  <a:cubicBezTo>
                    <a:pt x="81" y="98"/>
                    <a:pt x="82" y="98"/>
                    <a:pt x="83" y="98"/>
                  </a:cubicBezTo>
                  <a:cubicBezTo>
                    <a:pt x="83" y="98"/>
                    <a:pt x="84" y="98"/>
                    <a:pt x="84" y="98"/>
                  </a:cubicBezTo>
                  <a:cubicBezTo>
                    <a:pt x="85" y="98"/>
                    <a:pt x="87" y="99"/>
                    <a:pt x="87" y="100"/>
                  </a:cubicBezTo>
                  <a:cubicBezTo>
                    <a:pt x="87" y="101"/>
                    <a:pt x="87" y="101"/>
                    <a:pt x="87" y="102"/>
                  </a:cubicBezTo>
                  <a:cubicBezTo>
                    <a:pt x="87" y="103"/>
                    <a:pt x="87" y="104"/>
                    <a:pt x="88" y="104"/>
                  </a:cubicBezTo>
                  <a:cubicBezTo>
                    <a:pt x="88" y="105"/>
                    <a:pt x="88" y="105"/>
                    <a:pt x="88" y="105"/>
                  </a:cubicBezTo>
                  <a:cubicBezTo>
                    <a:pt x="90" y="106"/>
                    <a:pt x="90" y="106"/>
                    <a:pt x="90" y="106"/>
                  </a:cubicBezTo>
                  <a:cubicBezTo>
                    <a:pt x="90" y="106"/>
                    <a:pt x="91" y="106"/>
                    <a:pt x="96" y="103"/>
                  </a:cubicBezTo>
                  <a:cubicBezTo>
                    <a:pt x="96" y="102"/>
                    <a:pt x="97" y="102"/>
                    <a:pt x="97" y="102"/>
                  </a:cubicBezTo>
                  <a:cubicBezTo>
                    <a:pt x="98" y="101"/>
                    <a:pt x="99" y="101"/>
                    <a:pt x="100" y="101"/>
                  </a:cubicBezTo>
                  <a:cubicBezTo>
                    <a:pt x="101" y="101"/>
                    <a:pt x="102" y="102"/>
                    <a:pt x="103" y="103"/>
                  </a:cubicBezTo>
                  <a:cubicBezTo>
                    <a:pt x="104" y="103"/>
                    <a:pt x="105" y="104"/>
                    <a:pt x="105" y="104"/>
                  </a:cubicBezTo>
                  <a:cubicBezTo>
                    <a:pt x="105" y="109"/>
                    <a:pt x="103" y="110"/>
                    <a:pt x="100" y="111"/>
                  </a:cubicBezTo>
                  <a:cubicBezTo>
                    <a:pt x="98" y="111"/>
                    <a:pt x="97" y="112"/>
                    <a:pt x="96" y="112"/>
                  </a:cubicBezTo>
                  <a:cubicBezTo>
                    <a:pt x="94" y="113"/>
                    <a:pt x="92" y="114"/>
                    <a:pt x="91" y="114"/>
                  </a:cubicBezTo>
                  <a:cubicBezTo>
                    <a:pt x="90" y="114"/>
                    <a:pt x="90" y="114"/>
                    <a:pt x="89" y="113"/>
                  </a:cubicBezTo>
                  <a:cubicBezTo>
                    <a:pt x="88" y="113"/>
                    <a:pt x="87" y="112"/>
                    <a:pt x="85" y="111"/>
                  </a:cubicBezTo>
                  <a:cubicBezTo>
                    <a:pt x="85" y="111"/>
                    <a:pt x="84" y="110"/>
                    <a:pt x="83" y="110"/>
                  </a:cubicBezTo>
                  <a:cubicBezTo>
                    <a:pt x="82" y="109"/>
                    <a:pt x="81" y="109"/>
                    <a:pt x="80" y="109"/>
                  </a:cubicBezTo>
                  <a:cubicBezTo>
                    <a:pt x="79" y="109"/>
                    <a:pt x="78" y="108"/>
                    <a:pt x="77" y="108"/>
                  </a:cubicBezTo>
                  <a:cubicBezTo>
                    <a:pt x="76" y="108"/>
                    <a:pt x="75" y="107"/>
                    <a:pt x="74" y="107"/>
                  </a:cubicBezTo>
                  <a:cubicBezTo>
                    <a:pt x="73" y="107"/>
                    <a:pt x="71" y="106"/>
                    <a:pt x="70" y="105"/>
                  </a:cubicBezTo>
                  <a:cubicBezTo>
                    <a:pt x="70" y="105"/>
                    <a:pt x="70" y="105"/>
                    <a:pt x="69" y="104"/>
                  </a:cubicBezTo>
                  <a:cubicBezTo>
                    <a:pt x="68" y="103"/>
                    <a:pt x="68" y="103"/>
                    <a:pt x="67" y="103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4" y="104"/>
                    <a:pt x="64" y="105"/>
                    <a:pt x="64" y="106"/>
                  </a:cubicBezTo>
                  <a:cubicBezTo>
                    <a:pt x="63" y="107"/>
                    <a:pt x="63" y="108"/>
                    <a:pt x="62" y="109"/>
                  </a:cubicBezTo>
                  <a:cubicBezTo>
                    <a:pt x="59" y="110"/>
                    <a:pt x="56" y="110"/>
                    <a:pt x="53" y="111"/>
                  </a:cubicBezTo>
                  <a:cubicBezTo>
                    <a:pt x="52" y="111"/>
                    <a:pt x="50" y="111"/>
                    <a:pt x="49" y="111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7" y="113"/>
                    <a:pt x="47" y="113"/>
                    <a:pt x="47" y="114"/>
                  </a:cubicBezTo>
                  <a:cubicBezTo>
                    <a:pt x="46" y="115"/>
                    <a:pt x="45" y="116"/>
                    <a:pt x="43" y="116"/>
                  </a:cubicBezTo>
                  <a:cubicBezTo>
                    <a:pt x="39" y="117"/>
                    <a:pt x="35" y="117"/>
                    <a:pt x="32" y="117"/>
                  </a:cubicBezTo>
                  <a:cubicBezTo>
                    <a:pt x="31" y="117"/>
                    <a:pt x="29" y="117"/>
                    <a:pt x="28" y="117"/>
                  </a:cubicBezTo>
                  <a:cubicBezTo>
                    <a:pt x="27" y="117"/>
                    <a:pt x="27" y="117"/>
                    <a:pt x="27" y="117"/>
                  </a:cubicBezTo>
                  <a:cubicBezTo>
                    <a:pt x="26" y="117"/>
                    <a:pt x="25" y="117"/>
                    <a:pt x="24" y="117"/>
                  </a:cubicBezTo>
                  <a:cubicBezTo>
                    <a:pt x="23" y="117"/>
                    <a:pt x="22" y="117"/>
                    <a:pt x="21" y="118"/>
                  </a:cubicBezTo>
                  <a:cubicBezTo>
                    <a:pt x="20" y="118"/>
                    <a:pt x="20" y="119"/>
                    <a:pt x="20" y="119"/>
                  </a:cubicBezTo>
                  <a:cubicBezTo>
                    <a:pt x="19" y="120"/>
                    <a:pt x="19" y="120"/>
                    <a:pt x="18" y="120"/>
                  </a:cubicBezTo>
                  <a:cubicBezTo>
                    <a:pt x="16" y="120"/>
                    <a:pt x="16" y="120"/>
                    <a:pt x="16" y="120"/>
                  </a:cubicBezTo>
                  <a:cubicBezTo>
                    <a:pt x="16" y="122"/>
                    <a:pt x="16" y="122"/>
                    <a:pt x="16" y="122"/>
                  </a:cubicBezTo>
                  <a:cubicBezTo>
                    <a:pt x="16" y="129"/>
                    <a:pt x="16" y="131"/>
                    <a:pt x="19" y="131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8" y="132"/>
                    <a:pt x="17" y="132"/>
                    <a:pt x="17" y="133"/>
                  </a:cubicBezTo>
                  <a:cubicBezTo>
                    <a:pt x="14" y="136"/>
                    <a:pt x="15" y="139"/>
                    <a:pt x="17" y="142"/>
                  </a:cubicBezTo>
                  <a:cubicBezTo>
                    <a:pt x="18" y="142"/>
                    <a:pt x="19" y="143"/>
                    <a:pt x="20" y="144"/>
                  </a:cubicBezTo>
                  <a:cubicBezTo>
                    <a:pt x="21" y="144"/>
                    <a:pt x="21" y="144"/>
                    <a:pt x="21" y="144"/>
                  </a:cubicBezTo>
                  <a:cubicBezTo>
                    <a:pt x="22" y="143"/>
                    <a:pt x="22" y="143"/>
                    <a:pt x="22" y="143"/>
                  </a:cubicBezTo>
                  <a:cubicBezTo>
                    <a:pt x="23" y="143"/>
                    <a:pt x="23" y="142"/>
                    <a:pt x="25" y="141"/>
                  </a:cubicBezTo>
                  <a:cubicBezTo>
                    <a:pt x="28" y="140"/>
                    <a:pt x="31" y="139"/>
                    <a:pt x="34" y="138"/>
                  </a:cubicBezTo>
                  <a:cubicBezTo>
                    <a:pt x="35" y="138"/>
                    <a:pt x="36" y="138"/>
                    <a:pt x="37" y="138"/>
                  </a:cubicBezTo>
                  <a:cubicBezTo>
                    <a:pt x="39" y="138"/>
                    <a:pt x="41" y="138"/>
                    <a:pt x="42" y="138"/>
                  </a:cubicBezTo>
                  <a:cubicBezTo>
                    <a:pt x="44" y="139"/>
                    <a:pt x="46" y="139"/>
                    <a:pt x="47" y="139"/>
                  </a:cubicBezTo>
                  <a:cubicBezTo>
                    <a:pt x="50" y="139"/>
                    <a:pt x="52" y="138"/>
                    <a:pt x="54" y="138"/>
                  </a:cubicBezTo>
                  <a:cubicBezTo>
                    <a:pt x="57" y="136"/>
                    <a:pt x="60" y="134"/>
                    <a:pt x="62" y="131"/>
                  </a:cubicBezTo>
                  <a:cubicBezTo>
                    <a:pt x="73" y="131"/>
                    <a:pt x="73" y="131"/>
                    <a:pt x="73" y="131"/>
                  </a:cubicBezTo>
                  <a:cubicBezTo>
                    <a:pt x="76" y="132"/>
                    <a:pt x="80" y="132"/>
                    <a:pt x="83" y="132"/>
                  </a:cubicBezTo>
                  <a:cubicBezTo>
                    <a:pt x="85" y="132"/>
                    <a:pt x="85" y="132"/>
                    <a:pt x="85" y="132"/>
                  </a:cubicBezTo>
                  <a:cubicBezTo>
                    <a:pt x="88" y="132"/>
                    <a:pt x="92" y="132"/>
                    <a:pt x="95" y="131"/>
                  </a:cubicBezTo>
                  <a:cubicBezTo>
                    <a:pt x="98" y="131"/>
                    <a:pt x="102" y="131"/>
                    <a:pt x="105" y="131"/>
                  </a:cubicBezTo>
                  <a:cubicBezTo>
                    <a:pt x="110" y="131"/>
                    <a:pt x="114" y="131"/>
                    <a:pt x="119" y="132"/>
                  </a:cubicBezTo>
                  <a:cubicBezTo>
                    <a:pt x="119" y="132"/>
                    <a:pt x="120" y="132"/>
                    <a:pt x="120" y="132"/>
                  </a:cubicBezTo>
                  <a:cubicBezTo>
                    <a:pt x="121" y="131"/>
                    <a:pt x="122" y="131"/>
                    <a:pt x="122" y="131"/>
                  </a:cubicBezTo>
                  <a:cubicBezTo>
                    <a:pt x="123" y="131"/>
                    <a:pt x="123" y="131"/>
                    <a:pt x="124" y="132"/>
                  </a:cubicBezTo>
                  <a:cubicBezTo>
                    <a:pt x="125" y="132"/>
                    <a:pt x="125" y="133"/>
                    <a:pt x="126" y="133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29" y="135"/>
                    <a:pt x="130" y="136"/>
                    <a:pt x="132" y="136"/>
                  </a:cubicBezTo>
                  <a:cubicBezTo>
                    <a:pt x="133" y="137"/>
                    <a:pt x="133" y="137"/>
                    <a:pt x="133" y="137"/>
                  </a:cubicBezTo>
                  <a:cubicBezTo>
                    <a:pt x="134" y="137"/>
                    <a:pt x="134" y="138"/>
                    <a:pt x="135" y="138"/>
                  </a:cubicBezTo>
                  <a:cubicBezTo>
                    <a:pt x="135" y="138"/>
                    <a:pt x="136" y="139"/>
                    <a:pt x="137" y="139"/>
                  </a:cubicBezTo>
                  <a:cubicBezTo>
                    <a:pt x="137" y="139"/>
                    <a:pt x="138" y="139"/>
                    <a:pt x="138" y="139"/>
                  </a:cubicBezTo>
                  <a:cubicBezTo>
                    <a:pt x="138" y="140"/>
                    <a:pt x="139" y="140"/>
                    <a:pt x="139" y="140"/>
                  </a:cubicBezTo>
                  <a:cubicBezTo>
                    <a:pt x="139" y="140"/>
                    <a:pt x="139" y="140"/>
                    <a:pt x="139" y="140"/>
                  </a:cubicBezTo>
                  <a:cubicBezTo>
                    <a:pt x="140" y="140"/>
                    <a:pt x="140" y="140"/>
                    <a:pt x="140" y="140"/>
                  </a:cubicBezTo>
                  <a:cubicBezTo>
                    <a:pt x="140" y="140"/>
                    <a:pt x="140" y="140"/>
                    <a:pt x="141" y="140"/>
                  </a:cubicBezTo>
                  <a:cubicBezTo>
                    <a:pt x="141" y="140"/>
                    <a:pt x="141" y="140"/>
                    <a:pt x="142" y="140"/>
                  </a:cubicBezTo>
                  <a:cubicBezTo>
                    <a:pt x="142" y="140"/>
                    <a:pt x="142" y="140"/>
                    <a:pt x="142" y="140"/>
                  </a:cubicBezTo>
                  <a:cubicBezTo>
                    <a:pt x="143" y="140"/>
                    <a:pt x="143" y="140"/>
                    <a:pt x="144" y="141"/>
                  </a:cubicBezTo>
                  <a:cubicBezTo>
                    <a:pt x="145" y="142"/>
                    <a:pt x="145" y="142"/>
                    <a:pt x="146" y="143"/>
                  </a:cubicBezTo>
                  <a:cubicBezTo>
                    <a:pt x="146" y="143"/>
                    <a:pt x="147" y="143"/>
                    <a:pt x="147" y="143"/>
                  </a:cubicBezTo>
                  <a:cubicBezTo>
                    <a:pt x="148" y="143"/>
                    <a:pt x="149" y="142"/>
                    <a:pt x="150" y="142"/>
                  </a:cubicBezTo>
                  <a:cubicBezTo>
                    <a:pt x="151" y="141"/>
                    <a:pt x="151" y="141"/>
                    <a:pt x="151" y="141"/>
                  </a:cubicBezTo>
                  <a:cubicBezTo>
                    <a:pt x="153" y="140"/>
                    <a:pt x="154" y="140"/>
                    <a:pt x="156" y="140"/>
                  </a:cubicBezTo>
                  <a:cubicBezTo>
                    <a:pt x="157" y="140"/>
                    <a:pt x="157" y="140"/>
                    <a:pt x="158" y="140"/>
                  </a:cubicBezTo>
                  <a:cubicBezTo>
                    <a:pt x="159" y="140"/>
                    <a:pt x="160" y="140"/>
                    <a:pt x="160" y="140"/>
                  </a:cubicBezTo>
                  <a:cubicBezTo>
                    <a:pt x="161" y="140"/>
                    <a:pt x="161" y="140"/>
                    <a:pt x="162" y="140"/>
                  </a:cubicBezTo>
                  <a:cubicBezTo>
                    <a:pt x="163" y="140"/>
                    <a:pt x="163" y="140"/>
                    <a:pt x="163" y="140"/>
                  </a:cubicBezTo>
                  <a:cubicBezTo>
                    <a:pt x="166" y="140"/>
                    <a:pt x="168" y="139"/>
                    <a:pt x="171" y="138"/>
                  </a:cubicBezTo>
                  <a:cubicBezTo>
                    <a:pt x="173" y="138"/>
                    <a:pt x="173" y="138"/>
                    <a:pt x="173" y="138"/>
                  </a:cubicBezTo>
                  <a:cubicBezTo>
                    <a:pt x="173" y="137"/>
                    <a:pt x="173" y="137"/>
                    <a:pt x="173" y="137"/>
                  </a:cubicBezTo>
                  <a:lnTo>
                    <a:pt x="173" y="136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7" name="Freeform 77"/>
            <p:cNvSpPr>
              <a:spLocks/>
            </p:cNvSpPr>
            <p:nvPr/>
          </p:nvSpPr>
          <p:spPr bwMode="auto">
            <a:xfrm>
              <a:off x="2016754" y="1760420"/>
              <a:ext cx="181912" cy="380120"/>
            </a:xfrm>
            <a:custGeom>
              <a:avLst/>
              <a:gdLst>
                <a:gd name="T0" fmla="*/ 89 w 90"/>
                <a:gd name="T1" fmla="*/ 55 h 204"/>
                <a:gd name="T2" fmla="*/ 88 w 90"/>
                <a:gd name="T3" fmla="*/ 54 h 204"/>
                <a:gd name="T4" fmla="*/ 87 w 90"/>
                <a:gd name="T5" fmla="*/ 50 h 204"/>
                <a:gd name="T6" fmla="*/ 83 w 90"/>
                <a:gd name="T7" fmla="*/ 38 h 204"/>
                <a:gd name="T8" fmla="*/ 79 w 90"/>
                <a:gd name="T9" fmla="*/ 31 h 204"/>
                <a:gd name="T10" fmla="*/ 83 w 90"/>
                <a:gd name="T11" fmla="*/ 25 h 204"/>
                <a:gd name="T12" fmla="*/ 83 w 90"/>
                <a:gd name="T13" fmla="*/ 23 h 204"/>
                <a:gd name="T14" fmla="*/ 83 w 90"/>
                <a:gd name="T15" fmla="*/ 22 h 204"/>
                <a:gd name="T16" fmla="*/ 79 w 90"/>
                <a:gd name="T17" fmla="*/ 17 h 204"/>
                <a:gd name="T18" fmla="*/ 74 w 90"/>
                <a:gd name="T19" fmla="*/ 13 h 204"/>
                <a:gd name="T20" fmla="*/ 70 w 90"/>
                <a:gd name="T21" fmla="*/ 8 h 204"/>
                <a:gd name="T22" fmla="*/ 64 w 90"/>
                <a:gd name="T23" fmla="*/ 3 h 204"/>
                <a:gd name="T24" fmla="*/ 60 w 90"/>
                <a:gd name="T25" fmla="*/ 0 h 204"/>
                <a:gd name="T26" fmla="*/ 54 w 90"/>
                <a:gd name="T27" fmla="*/ 2 h 204"/>
                <a:gd name="T28" fmla="*/ 52 w 90"/>
                <a:gd name="T29" fmla="*/ 3 h 204"/>
                <a:gd name="T30" fmla="*/ 47 w 90"/>
                <a:gd name="T31" fmla="*/ 6 h 204"/>
                <a:gd name="T32" fmla="*/ 49 w 90"/>
                <a:gd name="T33" fmla="*/ 9 h 204"/>
                <a:gd name="T34" fmla="*/ 49 w 90"/>
                <a:gd name="T35" fmla="*/ 15 h 204"/>
                <a:gd name="T36" fmla="*/ 48 w 90"/>
                <a:gd name="T37" fmla="*/ 17 h 204"/>
                <a:gd name="T38" fmla="*/ 44 w 90"/>
                <a:gd name="T39" fmla="*/ 23 h 204"/>
                <a:gd name="T40" fmla="*/ 35 w 90"/>
                <a:gd name="T41" fmla="*/ 32 h 204"/>
                <a:gd name="T42" fmla="*/ 34 w 90"/>
                <a:gd name="T43" fmla="*/ 32 h 204"/>
                <a:gd name="T44" fmla="*/ 29 w 90"/>
                <a:gd name="T45" fmla="*/ 31 h 204"/>
                <a:gd name="T46" fmla="*/ 26 w 90"/>
                <a:gd name="T47" fmla="*/ 32 h 204"/>
                <a:gd name="T48" fmla="*/ 23 w 90"/>
                <a:gd name="T49" fmla="*/ 31 h 204"/>
                <a:gd name="T50" fmla="*/ 22 w 90"/>
                <a:gd name="T51" fmla="*/ 30 h 204"/>
                <a:gd name="T52" fmla="*/ 18 w 90"/>
                <a:gd name="T53" fmla="*/ 32 h 204"/>
                <a:gd name="T54" fmla="*/ 16 w 90"/>
                <a:gd name="T55" fmla="*/ 36 h 204"/>
                <a:gd name="T56" fmla="*/ 12 w 90"/>
                <a:gd name="T57" fmla="*/ 38 h 204"/>
                <a:gd name="T58" fmla="*/ 10 w 90"/>
                <a:gd name="T59" fmla="*/ 47 h 204"/>
                <a:gd name="T60" fmla="*/ 7 w 90"/>
                <a:gd name="T61" fmla="*/ 71 h 204"/>
                <a:gd name="T62" fmla="*/ 17 w 90"/>
                <a:gd name="T63" fmla="*/ 81 h 204"/>
                <a:gd name="T64" fmla="*/ 18 w 90"/>
                <a:gd name="T65" fmla="*/ 99 h 204"/>
                <a:gd name="T66" fmla="*/ 25 w 90"/>
                <a:gd name="T67" fmla="*/ 116 h 204"/>
                <a:gd name="T68" fmla="*/ 25 w 90"/>
                <a:gd name="T69" fmla="*/ 137 h 204"/>
                <a:gd name="T70" fmla="*/ 26 w 90"/>
                <a:gd name="T71" fmla="*/ 150 h 204"/>
                <a:gd name="T72" fmla="*/ 25 w 90"/>
                <a:gd name="T73" fmla="*/ 179 h 204"/>
                <a:gd name="T74" fmla="*/ 27 w 90"/>
                <a:gd name="T75" fmla="*/ 194 h 204"/>
                <a:gd name="T76" fmla="*/ 29 w 90"/>
                <a:gd name="T77" fmla="*/ 201 h 204"/>
                <a:gd name="T78" fmla="*/ 33 w 90"/>
                <a:gd name="T79" fmla="*/ 203 h 204"/>
                <a:gd name="T80" fmla="*/ 44 w 90"/>
                <a:gd name="T81" fmla="*/ 201 h 204"/>
                <a:gd name="T82" fmla="*/ 54 w 90"/>
                <a:gd name="T83" fmla="*/ 199 h 204"/>
                <a:gd name="T84" fmla="*/ 58 w 90"/>
                <a:gd name="T85" fmla="*/ 199 h 204"/>
                <a:gd name="T86" fmla="*/ 59 w 90"/>
                <a:gd name="T87" fmla="*/ 181 h 204"/>
                <a:gd name="T88" fmla="*/ 58 w 90"/>
                <a:gd name="T89" fmla="*/ 160 h 204"/>
                <a:gd name="T90" fmla="*/ 58 w 90"/>
                <a:gd name="T91" fmla="*/ 126 h 204"/>
                <a:gd name="T92" fmla="*/ 58 w 90"/>
                <a:gd name="T93" fmla="*/ 119 h 204"/>
                <a:gd name="T94" fmla="*/ 59 w 90"/>
                <a:gd name="T95" fmla="*/ 112 h 204"/>
                <a:gd name="T96" fmla="*/ 66 w 90"/>
                <a:gd name="T97" fmla="*/ 109 h 204"/>
                <a:gd name="T98" fmla="*/ 71 w 90"/>
                <a:gd name="T99" fmla="*/ 94 h 204"/>
                <a:gd name="T100" fmla="*/ 78 w 90"/>
                <a:gd name="T101" fmla="*/ 85 h 204"/>
                <a:gd name="T102" fmla="*/ 82 w 90"/>
                <a:gd name="T103" fmla="*/ 81 h 204"/>
                <a:gd name="T104" fmla="*/ 84 w 90"/>
                <a:gd name="T105" fmla="*/ 78 h 204"/>
                <a:gd name="T106" fmla="*/ 85 w 90"/>
                <a:gd name="T107" fmla="*/ 75 h 204"/>
                <a:gd name="T108" fmla="*/ 84 w 90"/>
                <a:gd name="T109" fmla="*/ 73 h 204"/>
                <a:gd name="T110" fmla="*/ 86 w 90"/>
                <a:gd name="T111" fmla="*/ 65 h 204"/>
                <a:gd name="T112" fmla="*/ 90 w 90"/>
                <a:gd name="T113" fmla="*/ 5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" h="204">
                  <a:moveTo>
                    <a:pt x="90" y="55"/>
                  </a:move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7" y="53"/>
                    <a:pt x="87" y="53"/>
                    <a:pt x="87" y="52"/>
                  </a:cubicBezTo>
                  <a:cubicBezTo>
                    <a:pt x="87" y="51"/>
                    <a:pt x="87" y="50"/>
                    <a:pt x="87" y="50"/>
                  </a:cubicBezTo>
                  <a:cubicBezTo>
                    <a:pt x="87" y="49"/>
                    <a:pt x="87" y="48"/>
                    <a:pt x="87" y="47"/>
                  </a:cubicBezTo>
                  <a:cubicBezTo>
                    <a:pt x="86" y="43"/>
                    <a:pt x="85" y="41"/>
                    <a:pt x="83" y="38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82" y="36"/>
                    <a:pt x="79" y="34"/>
                    <a:pt x="79" y="31"/>
                  </a:cubicBezTo>
                  <a:cubicBezTo>
                    <a:pt x="80" y="30"/>
                    <a:pt x="81" y="29"/>
                    <a:pt x="81" y="27"/>
                  </a:cubicBezTo>
                  <a:cubicBezTo>
                    <a:pt x="82" y="26"/>
                    <a:pt x="83" y="26"/>
                    <a:pt x="83" y="25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82" y="21"/>
                    <a:pt x="82" y="21"/>
                    <a:pt x="81" y="20"/>
                  </a:cubicBezTo>
                  <a:cubicBezTo>
                    <a:pt x="80" y="19"/>
                    <a:pt x="79" y="18"/>
                    <a:pt x="79" y="17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7" y="15"/>
                    <a:pt x="76" y="14"/>
                    <a:pt x="74" y="13"/>
                  </a:cubicBezTo>
                  <a:cubicBezTo>
                    <a:pt x="73" y="12"/>
                    <a:pt x="72" y="12"/>
                    <a:pt x="72" y="11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68" y="7"/>
                    <a:pt x="67" y="6"/>
                    <a:pt x="66" y="4"/>
                  </a:cubicBezTo>
                  <a:cubicBezTo>
                    <a:pt x="65" y="4"/>
                    <a:pt x="65" y="4"/>
                    <a:pt x="64" y="3"/>
                  </a:cubicBezTo>
                  <a:cubicBezTo>
                    <a:pt x="63" y="1"/>
                    <a:pt x="61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8" y="0"/>
                    <a:pt x="56" y="1"/>
                    <a:pt x="54" y="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2"/>
                    <a:pt x="52" y="3"/>
                    <a:pt x="52" y="3"/>
                  </a:cubicBezTo>
                  <a:cubicBezTo>
                    <a:pt x="50" y="4"/>
                    <a:pt x="49" y="4"/>
                    <a:pt x="48" y="5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9" y="8"/>
                    <a:pt x="49" y="9"/>
                  </a:cubicBezTo>
                  <a:cubicBezTo>
                    <a:pt x="49" y="9"/>
                    <a:pt x="50" y="10"/>
                    <a:pt x="50" y="10"/>
                  </a:cubicBezTo>
                  <a:cubicBezTo>
                    <a:pt x="50" y="13"/>
                    <a:pt x="50" y="15"/>
                    <a:pt x="49" y="15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20"/>
                    <a:pt x="46" y="21"/>
                    <a:pt x="44" y="23"/>
                  </a:cubicBezTo>
                  <a:cubicBezTo>
                    <a:pt x="43" y="24"/>
                    <a:pt x="42" y="25"/>
                    <a:pt x="42" y="26"/>
                  </a:cubicBezTo>
                  <a:cubicBezTo>
                    <a:pt x="40" y="29"/>
                    <a:pt x="38" y="30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2" y="32"/>
                    <a:pt x="32" y="32"/>
                  </a:cubicBezTo>
                  <a:cubicBezTo>
                    <a:pt x="31" y="32"/>
                    <a:pt x="30" y="31"/>
                    <a:pt x="29" y="31"/>
                  </a:cubicBezTo>
                  <a:cubicBezTo>
                    <a:pt x="28" y="31"/>
                    <a:pt x="28" y="31"/>
                    <a:pt x="27" y="32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4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1" y="30"/>
                  </a:cubicBezTo>
                  <a:cubicBezTo>
                    <a:pt x="20" y="30"/>
                    <a:pt x="19" y="31"/>
                    <a:pt x="18" y="32"/>
                  </a:cubicBezTo>
                  <a:cubicBezTo>
                    <a:pt x="18" y="32"/>
                    <a:pt x="17" y="33"/>
                    <a:pt x="17" y="34"/>
                  </a:cubicBezTo>
                  <a:cubicBezTo>
                    <a:pt x="17" y="35"/>
                    <a:pt x="16" y="36"/>
                    <a:pt x="16" y="36"/>
                  </a:cubicBezTo>
                  <a:cubicBezTo>
                    <a:pt x="15" y="37"/>
                    <a:pt x="14" y="37"/>
                    <a:pt x="13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4"/>
                    <a:pt x="12" y="46"/>
                    <a:pt x="10" y="47"/>
                  </a:cubicBezTo>
                  <a:cubicBezTo>
                    <a:pt x="5" y="49"/>
                    <a:pt x="3" y="55"/>
                    <a:pt x="2" y="57"/>
                  </a:cubicBezTo>
                  <a:cubicBezTo>
                    <a:pt x="0" y="64"/>
                    <a:pt x="1" y="66"/>
                    <a:pt x="7" y="71"/>
                  </a:cubicBezTo>
                  <a:cubicBezTo>
                    <a:pt x="8" y="72"/>
                    <a:pt x="8" y="72"/>
                    <a:pt x="9" y="73"/>
                  </a:cubicBezTo>
                  <a:cubicBezTo>
                    <a:pt x="12" y="75"/>
                    <a:pt x="15" y="78"/>
                    <a:pt x="17" y="81"/>
                  </a:cubicBezTo>
                  <a:cubicBezTo>
                    <a:pt x="19" y="84"/>
                    <a:pt x="19" y="88"/>
                    <a:pt x="18" y="92"/>
                  </a:cubicBezTo>
                  <a:cubicBezTo>
                    <a:pt x="18" y="94"/>
                    <a:pt x="18" y="97"/>
                    <a:pt x="18" y="99"/>
                  </a:cubicBezTo>
                  <a:cubicBezTo>
                    <a:pt x="19" y="102"/>
                    <a:pt x="20" y="105"/>
                    <a:pt x="22" y="108"/>
                  </a:cubicBezTo>
                  <a:cubicBezTo>
                    <a:pt x="23" y="111"/>
                    <a:pt x="25" y="113"/>
                    <a:pt x="25" y="116"/>
                  </a:cubicBezTo>
                  <a:cubicBezTo>
                    <a:pt x="27" y="120"/>
                    <a:pt x="26" y="125"/>
                    <a:pt x="26" y="131"/>
                  </a:cubicBezTo>
                  <a:cubicBezTo>
                    <a:pt x="26" y="133"/>
                    <a:pt x="25" y="135"/>
                    <a:pt x="25" y="137"/>
                  </a:cubicBezTo>
                  <a:cubicBezTo>
                    <a:pt x="25" y="141"/>
                    <a:pt x="26" y="145"/>
                    <a:pt x="26" y="149"/>
                  </a:cubicBezTo>
                  <a:cubicBezTo>
                    <a:pt x="26" y="150"/>
                    <a:pt x="26" y="150"/>
                    <a:pt x="26" y="150"/>
                  </a:cubicBezTo>
                  <a:cubicBezTo>
                    <a:pt x="26" y="157"/>
                    <a:pt x="26" y="166"/>
                    <a:pt x="25" y="174"/>
                  </a:cubicBezTo>
                  <a:cubicBezTo>
                    <a:pt x="25" y="176"/>
                    <a:pt x="25" y="177"/>
                    <a:pt x="25" y="179"/>
                  </a:cubicBezTo>
                  <a:cubicBezTo>
                    <a:pt x="24" y="184"/>
                    <a:pt x="23" y="188"/>
                    <a:pt x="26" y="192"/>
                  </a:cubicBezTo>
                  <a:cubicBezTo>
                    <a:pt x="26" y="193"/>
                    <a:pt x="27" y="194"/>
                    <a:pt x="27" y="194"/>
                  </a:cubicBezTo>
                  <a:cubicBezTo>
                    <a:pt x="28" y="195"/>
                    <a:pt x="29" y="196"/>
                    <a:pt x="29" y="198"/>
                  </a:cubicBezTo>
                  <a:cubicBezTo>
                    <a:pt x="29" y="199"/>
                    <a:pt x="29" y="200"/>
                    <a:pt x="29" y="201"/>
                  </a:cubicBezTo>
                  <a:cubicBezTo>
                    <a:pt x="28" y="204"/>
                    <a:pt x="28" y="204"/>
                    <a:pt x="28" y="204"/>
                  </a:cubicBezTo>
                  <a:cubicBezTo>
                    <a:pt x="33" y="203"/>
                    <a:pt x="33" y="203"/>
                    <a:pt x="33" y="203"/>
                  </a:cubicBezTo>
                  <a:cubicBezTo>
                    <a:pt x="35" y="203"/>
                    <a:pt x="37" y="203"/>
                    <a:pt x="39" y="202"/>
                  </a:cubicBezTo>
                  <a:cubicBezTo>
                    <a:pt x="41" y="202"/>
                    <a:pt x="42" y="201"/>
                    <a:pt x="44" y="201"/>
                  </a:cubicBezTo>
                  <a:cubicBezTo>
                    <a:pt x="46" y="200"/>
                    <a:pt x="48" y="199"/>
                    <a:pt x="50" y="199"/>
                  </a:cubicBezTo>
                  <a:cubicBezTo>
                    <a:pt x="51" y="199"/>
                    <a:pt x="52" y="199"/>
                    <a:pt x="54" y="199"/>
                  </a:cubicBezTo>
                  <a:cubicBezTo>
                    <a:pt x="55" y="199"/>
                    <a:pt x="55" y="199"/>
                    <a:pt x="56" y="199"/>
                  </a:cubicBezTo>
                  <a:cubicBezTo>
                    <a:pt x="58" y="199"/>
                    <a:pt x="58" y="199"/>
                    <a:pt x="58" y="199"/>
                  </a:cubicBezTo>
                  <a:cubicBezTo>
                    <a:pt x="59" y="197"/>
                    <a:pt x="59" y="197"/>
                    <a:pt x="59" y="197"/>
                  </a:cubicBezTo>
                  <a:cubicBezTo>
                    <a:pt x="59" y="193"/>
                    <a:pt x="59" y="187"/>
                    <a:pt x="59" y="181"/>
                  </a:cubicBezTo>
                  <a:cubicBezTo>
                    <a:pt x="58" y="178"/>
                    <a:pt x="58" y="175"/>
                    <a:pt x="58" y="172"/>
                  </a:cubicBezTo>
                  <a:cubicBezTo>
                    <a:pt x="59" y="168"/>
                    <a:pt x="59" y="164"/>
                    <a:pt x="58" y="160"/>
                  </a:cubicBezTo>
                  <a:cubicBezTo>
                    <a:pt x="58" y="153"/>
                    <a:pt x="57" y="147"/>
                    <a:pt x="58" y="140"/>
                  </a:cubicBezTo>
                  <a:cubicBezTo>
                    <a:pt x="58" y="135"/>
                    <a:pt x="58" y="131"/>
                    <a:pt x="58" y="126"/>
                  </a:cubicBezTo>
                  <a:cubicBezTo>
                    <a:pt x="58" y="124"/>
                    <a:pt x="58" y="122"/>
                    <a:pt x="58" y="120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18"/>
                    <a:pt x="59" y="117"/>
                    <a:pt x="59" y="116"/>
                  </a:cubicBezTo>
                  <a:cubicBezTo>
                    <a:pt x="58" y="115"/>
                    <a:pt x="58" y="114"/>
                    <a:pt x="59" y="112"/>
                  </a:cubicBezTo>
                  <a:cubicBezTo>
                    <a:pt x="59" y="110"/>
                    <a:pt x="61" y="110"/>
                    <a:pt x="64" y="109"/>
                  </a:cubicBezTo>
                  <a:cubicBezTo>
                    <a:pt x="65" y="109"/>
                    <a:pt x="65" y="109"/>
                    <a:pt x="66" y="109"/>
                  </a:cubicBezTo>
                  <a:cubicBezTo>
                    <a:pt x="70" y="108"/>
                    <a:pt x="70" y="104"/>
                    <a:pt x="70" y="100"/>
                  </a:cubicBezTo>
                  <a:cubicBezTo>
                    <a:pt x="70" y="98"/>
                    <a:pt x="70" y="96"/>
                    <a:pt x="71" y="94"/>
                  </a:cubicBezTo>
                  <a:cubicBezTo>
                    <a:pt x="72" y="93"/>
                    <a:pt x="72" y="92"/>
                    <a:pt x="73" y="91"/>
                  </a:cubicBezTo>
                  <a:cubicBezTo>
                    <a:pt x="74" y="89"/>
                    <a:pt x="76" y="86"/>
                    <a:pt x="78" y="85"/>
                  </a:cubicBezTo>
                  <a:cubicBezTo>
                    <a:pt x="79" y="84"/>
                    <a:pt x="79" y="84"/>
                    <a:pt x="79" y="84"/>
                  </a:cubicBezTo>
                  <a:cubicBezTo>
                    <a:pt x="81" y="83"/>
                    <a:pt x="82" y="83"/>
                    <a:pt x="82" y="81"/>
                  </a:cubicBezTo>
                  <a:cubicBezTo>
                    <a:pt x="83" y="81"/>
                    <a:pt x="83" y="80"/>
                    <a:pt x="83" y="80"/>
                  </a:cubicBezTo>
                  <a:cubicBezTo>
                    <a:pt x="83" y="79"/>
                    <a:pt x="83" y="79"/>
                    <a:pt x="84" y="78"/>
                  </a:cubicBezTo>
                  <a:cubicBezTo>
                    <a:pt x="84" y="78"/>
                    <a:pt x="84" y="77"/>
                    <a:pt x="84" y="77"/>
                  </a:cubicBezTo>
                  <a:cubicBezTo>
                    <a:pt x="85" y="77"/>
                    <a:pt x="85" y="76"/>
                    <a:pt x="85" y="75"/>
                  </a:cubicBezTo>
                  <a:cubicBezTo>
                    <a:pt x="85" y="74"/>
                    <a:pt x="85" y="73"/>
                    <a:pt x="85" y="73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84" y="72"/>
                    <a:pt x="83" y="71"/>
                    <a:pt x="83" y="70"/>
                  </a:cubicBezTo>
                  <a:cubicBezTo>
                    <a:pt x="83" y="68"/>
                    <a:pt x="83" y="66"/>
                    <a:pt x="86" y="65"/>
                  </a:cubicBezTo>
                  <a:cubicBezTo>
                    <a:pt x="88" y="65"/>
                    <a:pt x="89" y="63"/>
                    <a:pt x="90" y="61"/>
                  </a:cubicBezTo>
                  <a:cubicBezTo>
                    <a:pt x="90" y="59"/>
                    <a:pt x="90" y="57"/>
                    <a:pt x="90" y="55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8" name="Freeform 78"/>
            <p:cNvSpPr>
              <a:spLocks/>
            </p:cNvSpPr>
            <p:nvPr/>
          </p:nvSpPr>
          <p:spPr bwMode="auto">
            <a:xfrm>
              <a:off x="988898" y="821422"/>
              <a:ext cx="505558" cy="428405"/>
            </a:xfrm>
            <a:custGeom>
              <a:avLst/>
              <a:gdLst>
                <a:gd name="T0" fmla="*/ 120 w 250"/>
                <a:gd name="T1" fmla="*/ 1 h 230"/>
                <a:gd name="T2" fmla="*/ 116 w 250"/>
                <a:gd name="T3" fmla="*/ 10 h 230"/>
                <a:gd name="T4" fmla="*/ 106 w 250"/>
                <a:gd name="T5" fmla="*/ 31 h 230"/>
                <a:gd name="T6" fmla="*/ 90 w 250"/>
                <a:gd name="T7" fmla="*/ 41 h 230"/>
                <a:gd name="T8" fmla="*/ 81 w 250"/>
                <a:gd name="T9" fmla="*/ 47 h 230"/>
                <a:gd name="T10" fmla="*/ 80 w 250"/>
                <a:gd name="T11" fmla="*/ 53 h 230"/>
                <a:gd name="T12" fmla="*/ 74 w 250"/>
                <a:gd name="T13" fmla="*/ 65 h 230"/>
                <a:gd name="T14" fmla="*/ 70 w 250"/>
                <a:gd name="T15" fmla="*/ 73 h 230"/>
                <a:gd name="T16" fmla="*/ 69 w 250"/>
                <a:gd name="T17" fmla="*/ 92 h 230"/>
                <a:gd name="T18" fmla="*/ 63 w 250"/>
                <a:gd name="T19" fmla="*/ 100 h 230"/>
                <a:gd name="T20" fmla="*/ 51 w 250"/>
                <a:gd name="T21" fmla="*/ 112 h 230"/>
                <a:gd name="T22" fmla="*/ 47 w 250"/>
                <a:gd name="T23" fmla="*/ 117 h 230"/>
                <a:gd name="T24" fmla="*/ 42 w 250"/>
                <a:gd name="T25" fmla="*/ 120 h 230"/>
                <a:gd name="T26" fmla="*/ 39 w 250"/>
                <a:gd name="T27" fmla="*/ 124 h 230"/>
                <a:gd name="T28" fmla="*/ 35 w 250"/>
                <a:gd name="T29" fmla="*/ 130 h 230"/>
                <a:gd name="T30" fmla="*/ 38 w 250"/>
                <a:gd name="T31" fmla="*/ 132 h 230"/>
                <a:gd name="T32" fmla="*/ 32 w 250"/>
                <a:gd name="T33" fmla="*/ 143 h 230"/>
                <a:gd name="T34" fmla="*/ 29 w 250"/>
                <a:gd name="T35" fmla="*/ 152 h 230"/>
                <a:gd name="T36" fmla="*/ 26 w 250"/>
                <a:gd name="T37" fmla="*/ 156 h 230"/>
                <a:gd name="T38" fmla="*/ 24 w 250"/>
                <a:gd name="T39" fmla="*/ 162 h 230"/>
                <a:gd name="T40" fmla="*/ 23 w 250"/>
                <a:gd name="T41" fmla="*/ 166 h 230"/>
                <a:gd name="T42" fmla="*/ 19 w 250"/>
                <a:gd name="T43" fmla="*/ 173 h 230"/>
                <a:gd name="T44" fmla="*/ 17 w 250"/>
                <a:gd name="T45" fmla="*/ 174 h 230"/>
                <a:gd name="T46" fmla="*/ 9 w 250"/>
                <a:gd name="T47" fmla="*/ 181 h 230"/>
                <a:gd name="T48" fmla="*/ 5 w 250"/>
                <a:gd name="T49" fmla="*/ 199 h 230"/>
                <a:gd name="T50" fmla="*/ 2 w 250"/>
                <a:gd name="T51" fmla="*/ 216 h 230"/>
                <a:gd name="T52" fmla="*/ 1 w 250"/>
                <a:gd name="T53" fmla="*/ 219 h 230"/>
                <a:gd name="T54" fmla="*/ 2 w 250"/>
                <a:gd name="T55" fmla="*/ 230 h 230"/>
                <a:gd name="T56" fmla="*/ 7 w 250"/>
                <a:gd name="T57" fmla="*/ 222 h 230"/>
                <a:gd name="T58" fmla="*/ 8 w 250"/>
                <a:gd name="T59" fmla="*/ 217 h 230"/>
                <a:gd name="T60" fmla="*/ 8 w 250"/>
                <a:gd name="T61" fmla="*/ 208 h 230"/>
                <a:gd name="T62" fmla="*/ 119 w 250"/>
                <a:gd name="T63" fmla="*/ 168 h 230"/>
                <a:gd name="T64" fmla="*/ 119 w 250"/>
                <a:gd name="T65" fmla="*/ 158 h 230"/>
                <a:gd name="T66" fmla="*/ 137 w 250"/>
                <a:gd name="T67" fmla="*/ 144 h 230"/>
                <a:gd name="T68" fmla="*/ 151 w 250"/>
                <a:gd name="T69" fmla="*/ 135 h 230"/>
                <a:gd name="T70" fmla="*/ 151 w 250"/>
                <a:gd name="T71" fmla="*/ 128 h 230"/>
                <a:gd name="T72" fmla="*/ 152 w 250"/>
                <a:gd name="T73" fmla="*/ 113 h 230"/>
                <a:gd name="T74" fmla="*/ 154 w 250"/>
                <a:gd name="T75" fmla="*/ 68 h 230"/>
                <a:gd name="T76" fmla="*/ 154 w 250"/>
                <a:gd name="T77" fmla="*/ 57 h 230"/>
                <a:gd name="T78" fmla="*/ 250 w 250"/>
                <a:gd name="T7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0" h="230">
                  <a:moveTo>
                    <a:pt x="121" y="0"/>
                  </a:moveTo>
                  <a:cubicBezTo>
                    <a:pt x="120" y="1"/>
                    <a:pt x="120" y="1"/>
                    <a:pt x="120" y="1"/>
                  </a:cubicBezTo>
                  <a:cubicBezTo>
                    <a:pt x="120" y="2"/>
                    <a:pt x="119" y="4"/>
                    <a:pt x="118" y="5"/>
                  </a:cubicBezTo>
                  <a:cubicBezTo>
                    <a:pt x="118" y="7"/>
                    <a:pt x="117" y="9"/>
                    <a:pt x="116" y="10"/>
                  </a:cubicBezTo>
                  <a:cubicBezTo>
                    <a:pt x="116" y="12"/>
                    <a:pt x="116" y="13"/>
                    <a:pt x="115" y="14"/>
                  </a:cubicBezTo>
                  <a:cubicBezTo>
                    <a:pt x="113" y="20"/>
                    <a:pt x="111" y="27"/>
                    <a:pt x="106" y="31"/>
                  </a:cubicBezTo>
                  <a:cubicBezTo>
                    <a:pt x="103" y="35"/>
                    <a:pt x="98" y="37"/>
                    <a:pt x="94" y="39"/>
                  </a:cubicBezTo>
                  <a:cubicBezTo>
                    <a:pt x="93" y="39"/>
                    <a:pt x="91" y="40"/>
                    <a:pt x="90" y="41"/>
                  </a:cubicBezTo>
                  <a:cubicBezTo>
                    <a:pt x="89" y="41"/>
                    <a:pt x="88" y="42"/>
                    <a:pt x="87" y="42"/>
                  </a:cubicBezTo>
                  <a:cubicBezTo>
                    <a:pt x="84" y="43"/>
                    <a:pt x="82" y="44"/>
                    <a:pt x="81" y="47"/>
                  </a:cubicBezTo>
                  <a:cubicBezTo>
                    <a:pt x="80" y="49"/>
                    <a:pt x="80" y="51"/>
                    <a:pt x="80" y="52"/>
                  </a:cubicBezTo>
                  <a:cubicBezTo>
                    <a:pt x="80" y="52"/>
                    <a:pt x="80" y="53"/>
                    <a:pt x="80" y="53"/>
                  </a:cubicBezTo>
                  <a:cubicBezTo>
                    <a:pt x="80" y="55"/>
                    <a:pt x="80" y="55"/>
                    <a:pt x="79" y="57"/>
                  </a:cubicBezTo>
                  <a:cubicBezTo>
                    <a:pt x="78" y="59"/>
                    <a:pt x="75" y="62"/>
                    <a:pt x="74" y="65"/>
                  </a:cubicBezTo>
                  <a:cubicBezTo>
                    <a:pt x="74" y="67"/>
                    <a:pt x="73" y="68"/>
                    <a:pt x="73" y="69"/>
                  </a:cubicBezTo>
                  <a:cubicBezTo>
                    <a:pt x="72" y="70"/>
                    <a:pt x="71" y="71"/>
                    <a:pt x="70" y="73"/>
                  </a:cubicBezTo>
                  <a:cubicBezTo>
                    <a:pt x="70" y="76"/>
                    <a:pt x="69" y="80"/>
                    <a:pt x="70" y="83"/>
                  </a:cubicBezTo>
                  <a:cubicBezTo>
                    <a:pt x="70" y="86"/>
                    <a:pt x="69" y="89"/>
                    <a:pt x="69" y="92"/>
                  </a:cubicBezTo>
                  <a:cubicBezTo>
                    <a:pt x="68" y="94"/>
                    <a:pt x="67" y="96"/>
                    <a:pt x="65" y="98"/>
                  </a:cubicBezTo>
                  <a:cubicBezTo>
                    <a:pt x="63" y="100"/>
                    <a:pt x="63" y="100"/>
                    <a:pt x="63" y="100"/>
                  </a:cubicBezTo>
                  <a:cubicBezTo>
                    <a:pt x="62" y="101"/>
                    <a:pt x="60" y="103"/>
                    <a:pt x="58" y="105"/>
                  </a:cubicBezTo>
                  <a:cubicBezTo>
                    <a:pt x="55" y="107"/>
                    <a:pt x="53" y="110"/>
                    <a:pt x="51" y="112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49" y="115"/>
                    <a:pt x="48" y="116"/>
                    <a:pt x="47" y="117"/>
                  </a:cubicBezTo>
                  <a:cubicBezTo>
                    <a:pt x="46" y="117"/>
                    <a:pt x="46" y="117"/>
                    <a:pt x="45" y="118"/>
                  </a:cubicBezTo>
                  <a:cubicBezTo>
                    <a:pt x="44" y="118"/>
                    <a:pt x="43" y="119"/>
                    <a:pt x="42" y="120"/>
                  </a:cubicBezTo>
                  <a:cubicBezTo>
                    <a:pt x="41" y="121"/>
                    <a:pt x="40" y="122"/>
                    <a:pt x="39" y="123"/>
                  </a:cubicBezTo>
                  <a:cubicBezTo>
                    <a:pt x="39" y="124"/>
                    <a:pt x="39" y="124"/>
                    <a:pt x="39" y="124"/>
                  </a:cubicBezTo>
                  <a:cubicBezTo>
                    <a:pt x="39" y="124"/>
                    <a:pt x="38" y="125"/>
                    <a:pt x="38" y="125"/>
                  </a:cubicBezTo>
                  <a:cubicBezTo>
                    <a:pt x="36" y="127"/>
                    <a:pt x="35" y="128"/>
                    <a:pt x="35" y="130"/>
                  </a:cubicBezTo>
                  <a:cubicBezTo>
                    <a:pt x="36" y="133"/>
                    <a:pt x="36" y="133"/>
                    <a:pt x="36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7" y="132"/>
                    <a:pt x="37" y="132"/>
                    <a:pt x="37" y="133"/>
                  </a:cubicBezTo>
                  <a:cubicBezTo>
                    <a:pt x="35" y="136"/>
                    <a:pt x="33" y="139"/>
                    <a:pt x="32" y="143"/>
                  </a:cubicBezTo>
                  <a:cubicBezTo>
                    <a:pt x="31" y="144"/>
                    <a:pt x="31" y="146"/>
                    <a:pt x="30" y="147"/>
                  </a:cubicBezTo>
                  <a:cubicBezTo>
                    <a:pt x="30" y="149"/>
                    <a:pt x="30" y="151"/>
                    <a:pt x="29" y="152"/>
                  </a:cubicBezTo>
                  <a:cubicBezTo>
                    <a:pt x="29" y="153"/>
                    <a:pt x="28" y="153"/>
                    <a:pt x="28" y="153"/>
                  </a:cubicBezTo>
                  <a:cubicBezTo>
                    <a:pt x="27" y="154"/>
                    <a:pt x="26" y="155"/>
                    <a:pt x="26" y="156"/>
                  </a:cubicBezTo>
                  <a:cubicBezTo>
                    <a:pt x="25" y="158"/>
                    <a:pt x="25" y="159"/>
                    <a:pt x="24" y="161"/>
                  </a:cubicBezTo>
                  <a:cubicBezTo>
                    <a:pt x="24" y="162"/>
                    <a:pt x="24" y="162"/>
                    <a:pt x="24" y="162"/>
                  </a:cubicBezTo>
                  <a:cubicBezTo>
                    <a:pt x="24" y="162"/>
                    <a:pt x="24" y="163"/>
                    <a:pt x="24" y="163"/>
                  </a:cubicBezTo>
                  <a:cubicBezTo>
                    <a:pt x="24" y="164"/>
                    <a:pt x="24" y="165"/>
                    <a:pt x="23" y="166"/>
                  </a:cubicBezTo>
                  <a:cubicBezTo>
                    <a:pt x="22" y="168"/>
                    <a:pt x="22" y="169"/>
                    <a:pt x="21" y="170"/>
                  </a:cubicBezTo>
                  <a:cubicBezTo>
                    <a:pt x="21" y="171"/>
                    <a:pt x="20" y="172"/>
                    <a:pt x="19" y="173"/>
                  </a:cubicBezTo>
                  <a:cubicBezTo>
                    <a:pt x="19" y="174"/>
                    <a:pt x="19" y="174"/>
                    <a:pt x="17" y="174"/>
                  </a:cubicBezTo>
                  <a:cubicBezTo>
                    <a:pt x="17" y="174"/>
                    <a:pt x="17" y="174"/>
                    <a:pt x="17" y="174"/>
                  </a:cubicBezTo>
                  <a:cubicBezTo>
                    <a:pt x="13" y="175"/>
                    <a:pt x="11" y="178"/>
                    <a:pt x="10" y="181"/>
                  </a:cubicBezTo>
                  <a:cubicBezTo>
                    <a:pt x="9" y="181"/>
                    <a:pt x="9" y="181"/>
                    <a:pt x="9" y="181"/>
                  </a:cubicBezTo>
                  <a:cubicBezTo>
                    <a:pt x="8" y="184"/>
                    <a:pt x="7" y="187"/>
                    <a:pt x="6" y="189"/>
                  </a:cubicBezTo>
                  <a:cubicBezTo>
                    <a:pt x="5" y="192"/>
                    <a:pt x="5" y="196"/>
                    <a:pt x="5" y="199"/>
                  </a:cubicBezTo>
                  <a:cubicBezTo>
                    <a:pt x="5" y="201"/>
                    <a:pt x="5" y="204"/>
                    <a:pt x="4" y="206"/>
                  </a:cubicBezTo>
                  <a:cubicBezTo>
                    <a:pt x="3" y="209"/>
                    <a:pt x="2" y="213"/>
                    <a:pt x="2" y="216"/>
                  </a:cubicBezTo>
                  <a:cubicBezTo>
                    <a:pt x="2" y="217"/>
                    <a:pt x="2" y="217"/>
                    <a:pt x="2" y="217"/>
                  </a:cubicBezTo>
                  <a:cubicBezTo>
                    <a:pt x="1" y="218"/>
                    <a:pt x="1" y="218"/>
                    <a:pt x="1" y="219"/>
                  </a:cubicBezTo>
                  <a:cubicBezTo>
                    <a:pt x="0" y="222"/>
                    <a:pt x="0" y="225"/>
                    <a:pt x="1" y="228"/>
                  </a:cubicBezTo>
                  <a:cubicBezTo>
                    <a:pt x="2" y="230"/>
                    <a:pt x="2" y="230"/>
                    <a:pt x="2" y="230"/>
                  </a:cubicBezTo>
                  <a:cubicBezTo>
                    <a:pt x="4" y="229"/>
                    <a:pt x="4" y="229"/>
                    <a:pt x="4" y="229"/>
                  </a:cubicBezTo>
                  <a:cubicBezTo>
                    <a:pt x="6" y="227"/>
                    <a:pt x="7" y="224"/>
                    <a:pt x="7" y="222"/>
                  </a:cubicBezTo>
                  <a:cubicBezTo>
                    <a:pt x="7" y="221"/>
                    <a:pt x="7" y="220"/>
                    <a:pt x="7" y="220"/>
                  </a:cubicBezTo>
                  <a:cubicBezTo>
                    <a:pt x="8" y="219"/>
                    <a:pt x="8" y="218"/>
                    <a:pt x="8" y="217"/>
                  </a:cubicBezTo>
                  <a:cubicBezTo>
                    <a:pt x="8" y="217"/>
                    <a:pt x="8" y="217"/>
                    <a:pt x="8" y="217"/>
                  </a:cubicBezTo>
                  <a:cubicBezTo>
                    <a:pt x="8" y="208"/>
                    <a:pt x="8" y="208"/>
                    <a:pt x="8" y="208"/>
                  </a:cubicBezTo>
                  <a:cubicBezTo>
                    <a:pt x="120" y="208"/>
                    <a:pt x="120" y="208"/>
                    <a:pt x="120" y="208"/>
                  </a:cubicBezTo>
                  <a:cubicBezTo>
                    <a:pt x="119" y="168"/>
                    <a:pt x="119" y="168"/>
                    <a:pt x="119" y="168"/>
                  </a:cubicBezTo>
                  <a:cubicBezTo>
                    <a:pt x="118" y="167"/>
                    <a:pt x="118" y="167"/>
                    <a:pt x="118" y="167"/>
                  </a:cubicBezTo>
                  <a:cubicBezTo>
                    <a:pt x="117" y="165"/>
                    <a:pt x="117" y="160"/>
                    <a:pt x="119" y="158"/>
                  </a:cubicBezTo>
                  <a:cubicBezTo>
                    <a:pt x="121" y="153"/>
                    <a:pt x="128" y="147"/>
                    <a:pt x="133" y="145"/>
                  </a:cubicBezTo>
                  <a:cubicBezTo>
                    <a:pt x="135" y="145"/>
                    <a:pt x="136" y="144"/>
                    <a:pt x="137" y="144"/>
                  </a:cubicBezTo>
                  <a:cubicBezTo>
                    <a:pt x="139" y="143"/>
                    <a:pt x="140" y="143"/>
                    <a:pt x="142" y="142"/>
                  </a:cubicBezTo>
                  <a:cubicBezTo>
                    <a:pt x="145" y="141"/>
                    <a:pt x="151" y="140"/>
                    <a:pt x="151" y="135"/>
                  </a:cubicBezTo>
                  <a:cubicBezTo>
                    <a:pt x="151" y="134"/>
                    <a:pt x="151" y="132"/>
                    <a:pt x="151" y="130"/>
                  </a:cubicBezTo>
                  <a:cubicBezTo>
                    <a:pt x="151" y="128"/>
                    <a:pt x="151" y="128"/>
                    <a:pt x="151" y="128"/>
                  </a:cubicBezTo>
                  <a:cubicBezTo>
                    <a:pt x="151" y="123"/>
                    <a:pt x="152" y="118"/>
                    <a:pt x="152" y="113"/>
                  </a:cubicBezTo>
                  <a:cubicBezTo>
                    <a:pt x="152" y="113"/>
                    <a:pt x="152" y="113"/>
                    <a:pt x="152" y="113"/>
                  </a:cubicBezTo>
                  <a:cubicBezTo>
                    <a:pt x="152" y="103"/>
                    <a:pt x="153" y="93"/>
                    <a:pt x="153" y="84"/>
                  </a:cubicBezTo>
                  <a:cubicBezTo>
                    <a:pt x="153" y="78"/>
                    <a:pt x="154" y="73"/>
                    <a:pt x="154" y="68"/>
                  </a:cubicBezTo>
                  <a:cubicBezTo>
                    <a:pt x="154" y="67"/>
                    <a:pt x="154" y="67"/>
                    <a:pt x="154" y="67"/>
                  </a:cubicBezTo>
                  <a:cubicBezTo>
                    <a:pt x="154" y="63"/>
                    <a:pt x="154" y="60"/>
                    <a:pt x="154" y="57"/>
                  </a:cubicBezTo>
                  <a:cubicBezTo>
                    <a:pt x="249" y="55"/>
                    <a:pt x="249" y="55"/>
                    <a:pt x="249" y="55"/>
                  </a:cubicBezTo>
                  <a:cubicBezTo>
                    <a:pt x="250" y="0"/>
                    <a:pt x="250" y="0"/>
                    <a:pt x="250" y="0"/>
                  </a:cubicBezTo>
                  <a:lnTo>
                    <a:pt x="121" y="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9" name="Freeform 79"/>
            <p:cNvSpPr>
              <a:spLocks/>
            </p:cNvSpPr>
            <p:nvPr/>
          </p:nvSpPr>
          <p:spPr bwMode="auto">
            <a:xfrm>
              <a:off x="1471019" y="1860073"/>
              <a:ext cx="358243" cy="397585"/>
            </a:xfrm>
            <a:custGeom>
              <a:avLst/>
              <a:gdLst>
                <a:gd name="T0" fmla="*/ 172 w 177"/>
                <a:gd name="T1" fmla="*/ 59 h 213"/>
                <a:gd name="T2" fmla="*/ 170 w 177"/>
                <a:gd name="T3" fmla="*/ 46 h 213"/>
                <a:gd name="T4" fmla="*/ 139 w 177"/>
                <a:gd name="T5" fmla="*/ 26 h 213"/>
                <a:gd name="T6" fmla="*/ 130 w 177"/>
                <a:gd name="T7" fmla="*/ 30 h 213"/>
                <a:gd name="T8" fmla="*/ 119 w 177"/>
                <a:gd name="T9" fmla="*/ 35 h 213"/>
                <a:gd name="T10" fmla="*/ 108 w 177"/>
                <a:gd name="T11" fmla="*/ 28 h 213"/>
                <a:gd name="T12" fmla="*/ 90 w 177"/>
                <a:gd name="T13" fmla="*/ 13 h 213"/>
                <a:gd name="T14" fmla="*/ 85 w 177"/>
                <a:gd name="T15" fmla="*/ 9 h 213"/>
                <a:gd name="T16" fmla="*/ 71 w 177"/>
                <a:gd name="T17" fmla="*/ 18 h 213"/>
                <a:gd name="T18" fmla="*/ 70 w 177"/>
                <a:gd name="T19" fmla="*/ 9 h 213"/>
                <a:gd name="T20" fmla="*/ 65 w 177"/>
                <a:gd name="T21" fmla="*/ 0 h 213"/>
                <a:gd name="T22" fmla="*/ 59 w 177"/>
                <a:gd name="T23" fmla="*/ 5 h 213"/>
                <a:gd name="T24" fmla="*/ 57 w 177"/>
                <a:gd name="T25" fmla="*/ 9 h 213"/>
                <a:gd name="T26" fmla="*/ 49 w 177"/>
                <a:gd name="T27" fmla="*/ 15 h 213"/>
                <a:gd name="T28" fmla="*/ 38 w 177"/>
                <a:gd name="T29" fmla="*/ 16 h 213"/>
                <a:gd name="T30" fmla="*/ 30 w 177"/>
                <a:gd name="T31" fmla="*/ 10 h 213"/>
                <a:gd name="T32" fmla="*/ 26 w 177"/>
                <a:gd name="T33" fmla="*/ 14 h 213"/>
                <a:gd name="T34" fmla="*/ 22 w 177"/>
                <a:gd name="T35" fmla="*/ 18 h 213"/>
                <a:gd name="T36" fmla="*/ 19 w 177"/>
                <a:gd name="T37" fmla="*/ 20 h 213"/>
                <a:gd name="T38" fmla="*/ 14 w 177"/>
                <a:gd name="T39" fmla="*/ 25 h 213"/>
                <a:gd name="T40" fmla="*/ 19 w 177"/>
                <a:gd name="T41" fmla="*/ 44 h 213"/>
                <a:gd name="T42" fmla="*/ 21 w 177"/>
                <a:gd name="T43" fmla="*/ 50 h 213"/>
                <a:gd name="T44" fmla="*/ 25 w 177"/>
                <a:gd name="T45" fmla="*/ 55 h 213"/>
                <a:gd name="T46" fmla="*/ 19 w 177"/>
                <a:gd name="T47" fmla="*/ 58 h 213"/>
                <a:gd name="T48" fmla="*/ 24 w 177"/>
                <a:gd name="T49" fmla="*/ 67 h 213"/>
                <a:gd name="T50" fmla="*/ 26 w 177"/>
                <a:gd name="T51" fmla="*/ 69 h 213"/>
                <a:gd name="T52" fmla="*/ 25 w 177"/>
                <a:gd name="T53" fmla="*/ 76 h 213"/>
                <a:gd name="T54" fmla="*/ 23 w 177"/>
                <a:gd name="T55" fmla="*/ 76 h 213"/>
                <a:gd name="T56" fmla="*/ 21 w 177"/>
                <a:gd name="T57" fmla="*/ 76 h 213"/>
                <a:gd name="T58" fmla="*/ 15 w 177"/>
                <a:gd name="T59" fmla="*/ 73 h 213"/>
                <a:gd name="T60" fmla="*/ 14 w 177"/>
                <a:gd name="T61" fmla="*/ 84 h 213"/>
                <a:gd name="T62" fmla="*/ 16 w 177"/>
                <a:gd name="T63" fmla="*/ 90 h 213"/>
                <a:gd name="T64" fmla="*/ 12 w 177"/>
                <a:gd name="T65" fmla="*/ 101 h 213"/>
                <a:gd name="T66" fmla="*/ 8 w 177"/>
                <a:gd name="T67" fmla="*/ 103 h 213"/>
                <a:gd name="T68" fmla="*/ 4 w 177"/>
                <a:gd name="T69" fmla="*/ 105 h 213"/>
                <a:gd name="T70" fmla="*/ 9 w 177"/>
                <a:gd name="T71" fmla="*/ 119 h 213"/>
                <a:gd name="T72" fmla="*/ 2 w 177"/>
                <a:gd name="T73" fmla="*/ 141 h 213"/>
                <a:gd name="T74" fmla="*/ 14 w 177"/>
                <a:gd name="T75" fmla="*/ 146 h 213"/>
                <a:gd name="T76" fmla="*/ 23 w 177"/>
                <a:gd name="T77" fmla="*/ 153 h 213"/>
                <a:gd name="T78" fmla="*/ 32 w 177"/>
                <a:gd name="T79" fmla="*/ 161 h 213"/>
                <a:gd name="T80" fmla="*/ 34 w 177"/>
                <a:gd name="T81" fmla="*/ 178 h 213"/>
                <a:gd name="T82" fmla="*/ 30 w 177"/>
                <a:gd name="T83" fmla="*/ 197 h 213"/>
                <a:gd name="T84" fmla="*/ 32 w 177"/>
                <a:gd name="T85" fmla="*/ 212 h 213"/>
                <a:gd name="T86" fmla="*/ 48 w 177"/>
                <a:gd name="T87" fmla="*/ 203 h 213"/>
                <a:gd name="T88" fmla="*/ 59 w 177"/>
                <a:gd name="T89" fmla="*/ 199 h 213"/>
                <a:gd name="T90" fmla="*/ 80 w 177"/>
                <a:gd name="T91" fmla="*/ 189 h 213"/>
                <a:gd name="T92" fmla="*/ 92 w 177"/>
                <a:gd name="T93" fmla="*/ 187 h 213"/>
                <a:gd name="T94" fmla="*/ 96 w 177"/>
                <a:gd name="T95" fmla="*/ 184 h 213"/>
                <a:gd name="T96" fmla="*/ 103 w 177"/>
                <a:gd name="T97" fmla="*/ 185 h 213"/>
                <a:gd name="T98" fmla="*/ 109 w 177"/>
                <a:gd name="T99" fmla="*/ 187 h 213"/>
                <a:gd name="T100" fmla="*/ 112 w 177"/>
                <a:gd name="T101" fmla="*/ 182 h 213"/>
                <a:gd name="T102" fmla="*/ 123 w 177"/>
                <a:gd name="T103" fmla="*/ 182 h 213"/>
                <a:gd name="T104" fmla="*/ 138 w 177"/>
                <a:gd name="T105" fmla="*/ 182 h 213"/>
                <a:gd name="T106" fmla="*/ 145 w 177"/>
                <a:gd name="T107" fmla="*/ 187 h 213"/>
                <a:gd name="T108" fmla="*/ 149 w 177"/>
                <a:gd name="T109" fmla="*/ 186 h 213"/>
                <a:gd name="T110" fmla="*/ 154 w 177"/>
                <a:gd name="T111" fmla="*/ 185 h 213"/>
                <a:gd name="T112" fmla="*/ 161 w 177"/>
                <a:gd name="T113" fmla="*/ 189 h 213"/>
                <a:gd name="T114" fmla="*/ 166 w 177"/>
                <a:gd name="T115" fmla="*/ 189 h 213"/>
                <a:gd name="T116" fmla="*/ 169 w 177"/>
                <a:gd name="T117" fmla="*/ 171 h 213"/>
                <a:gd name="T118" fmla="*/ 161 w 177"/>
                <a:gd name="T119" fmla="*/ 159 h 213"/>
                <a:gd name="T120" fmla="*/ 156 w 177"/>
                <a:gd name="T121" fmla="*/ 136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" h="213">
                  <a:moveTo>
                    <a:pt x="173" y="88"/>
                  </a:moveTo>
                  <a:cubicBezTo>
                    <a:pt x="177" y="80"/>
                    <a:pt x="176" y="73"/>
                    <a:pt x="174" y="65"/>
                  </a:cubicBezTo>
                  <a:cubicBezTo>
                    <a:pt x="174" y="63"/>
                    <a:pt x="173" y="61"/>
                    <a:pt x="172" y="59"/>
                  </a:cubicBezTo>
                  <a:cubicBezTo>
                    <a:pt x="171" y="59"/>
                    <a:pt x="171" y="58"/>
                    <a:pt x="170" y="57"/>
                  </a:cubicBezTo>
                  <a:cubicBezTo>
                    <a:pt x="169" y="54"/>
                    <a:pt x="169" y="53"/>
                    <a:pt x="170" y="51"/>
                  </a:cubicBezTo>
                  <a:cubicBezTo>
                    <a:pt x="170" y="49"/>
                    <a:pt x="170" y="48"/>
                    <a:pt x="170" y="46"/>
                  </a:cubicBezTo>
                  <a:cubicBezTo>
                    <a:pt x="169" y="41"/>
                    <a:pt x="164" y="35"/>
                    <a:pt x="160" y="31"/>
                  </a:cubicBezTo>
                  <a:cubicBezTo>
                    <a:pt x="156" y="27"/>
                    <a:pt x="152" y="25"/>
                    <a:pt x="146" y="25"/>
                  </a:cubicBezTo>
                  <a:cubicBezTo>
                    <a:pt x="144" y="25"/>
                    <a:pt x="142" y="26"/>
                    <a:pt x="139" y="26"/>
                  </a:cubicBezTo>
                  <a:cubicBezTo>
                    <a:pt x="137" y="27"/>
                    <a:pt x="135" y="28"/>
                    <a:pt x="133" y="29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30"/>
                    <a:pt x="131" y="30"/>
                    <a:pt x="130" y="30"/>
                  </a:cubicBezTo>
                  <a:cubicBezTo>
                    <a:pt x="129" y="31"/>
                    <a:pt x="128" y="32"/>
                    <a:pt x="126" y="34"/>
                  </a:cubicBezTo>
                  <a:cubicBezTo>
                    <a:pt x="125" y="35"/>
                    <a:pt x="124" y="37"/>
                    <a:pt x="122" y="37"/>
                  </a:cubicBezTo>
                  <a:cubicBezTo>
                    <a:pt x="121" y="37"/>
                    <a:pt x="120" y="36"/>
                    <a:pt x="119" y="35"/>
                  </a:cubicBezTo>
                  <a:cubicBezTo>
                    <a:pt x="118" y="34"/>
                    <a:pt x="116" y="33"/>
                    <a:pt x="115" y="33"/>
                  </a:cubicBezTo>
                  <a:cubicBezTo>
                    <a:pt x="115" y="33"/>
                    <a:pt x="114" y="32"/>
                    <a:pt x="113" y="32"/>
                  </a:cubicBezTo>
                  <a:cubicBezTo>
                    <a:pt x="111" y="32"/>
                    <a:pt x="110" y="32"/>
                    <a:pt x="108" y="28"/>
                  </a:cubicBezTo>
                  <a:cubicBezTo>
                    <a:pt x="106" y="24"/>
                    <a:pt x="101" y="15"/>
                    <a:pt x="95" y="14"/>
                  </a:cubicBezTo>
                  <a:cubicBezTo>
                    <a:pt x="94" y="14"/>
                    <a:pt x="94" y="14"/>
                    <a:pt x="93" y="14"/>
                  </a:cubicBezTo>
                  <a:cubicBezTo>
                    <a:pt x="92" y="14"/>
                    <a:pt x="91" y="14"/>
                    <a:pt x="90" y="13"/>
                  </a:cubicBezTo>
                  <a:cubicBezTo>
                    <a:pt x="89" y="12"/>
                    <a:pt x="89" y="12"/>
                    <a:pt x="88" y="11"/>
                  </a:cubicBezTo>
                  <a:cubicBezTo>
                    <a:pt x="88" y="11"/>
                    <a:pt x="87" y="10"/>
                    <a:pt x="86" y="10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2" y="9"/>
                    <a:pt x="80" y="11"/>
                    <a:pt x="78" y="13"/>
                  </a:cubicBezTo>
                  <a:cubicBezTo>
                    <a:pt x="78" y="13"/>
                    <a:pt x="77" y="14"/>
                    <a:pt x="77" y="14"/>
                  </a:cubicBezTo>
                  <a:cubicBezTo>
                    <a:pt x="76" y="15"/>
                    <a:pt x="73" y="18"/>
                    <a:pt x="71" y="18"/>
                  </a:cubicBezTo>
                  <a:cubicBezTo>
                    <a:pt x="71" y="18"/>
                    <a:pt x="71" y="18"/>
                    <a:pt x="70" y="17"/>
                  </a:cubicBezTo>
                  <a:cubicBezTo>
                    <a:pt x="69" y="17"/>
                    <a:pt x="69" y="15"/>
                    <a:pt x="70" y="12"/>
                  </a:cubicBezTo>
                  <a:cubicBezTo>
                    <a:pt x="70" y="11"/>
                    <a:pt x="70" y="10"/>
                    <a:pt x="70" y="9"/>
                  </a:cubicBezTo>
                  <a:cubicBezTo>
                    <a:pt x="70" y="8"/>
                    <a:pt x="70" y="2"/>
                    <a:pt x="68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5" y="0"/>
                    <a:pt x="64" y="1"/>
                    <a:pt x="63" y="3"/>
                  </a:cubicBezTo>
                  <a:cubicBezTo>
                    <a:pt x="62" y="4"/>
                    <a:pt x="62" y="6"/>
                    <a:pt x="60" y="6"/>
                  </a:cubicBezTo>
                  <a:cubicBezTo>
                    <a:pt x="60" y="6"/>
                    <a:pt x="59" y="6"/>
                    <a:pt x="59" y="5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8"/>
                    <a:pt x="56" y="9"/>
                    <a:pt x="57" y="9"/>
                  </a:cubicBezTo>
                  <a:cubicBezTo>
                    <a:pt x="57" y="10"/>
                    <a:pt x="58" y="11"/>
                    <a:pt x="57" y="12"/>
                  </a:cubicBezTo>
                  <a:cubicBezTo>
                    <a:pt x="57" y="12"/>
                    <a:pt x="57" y="13"/>
                    <a:pt x="53" y="13"/>
                  </a:cubicBezTo>
                  <a:cubicBezTo>
                    <a:pt x="51" y="13"/>
                    <a:pt x="50" y="13"/>
                    <a:pt x="49" y="15"/>
                  </a:cubicBezTo>
                  <a:cubicBezTo>
                    <a:pt x="49" y="16"/>
                    <a:pt x="48" y="16"/>
                    <a:pt x="48" y="17"/>
                  </a:cubicBezTo>
                  <a:cubicBezTo>
                    <a:pt x="47" y="18"/>
                    <a:pt x="46" y="18"/>
                    <a:pt x="45" y="18"/>
                  </a:cubicBezTo>
                  <a:cubicBezTo>
                    <a:pt x="44" y="18"/>
                    <a:pt x="41" y="18"/>
                    <a:pt x="38" y="16"/>
                  </a:cubicBezTo>
                  <a:cubicBezTo>
                    <a:pt x="37" y="15"/>
                    <a:pt x="36" y="14"/>
                    <a:pt x="35" y="13"/>
                  </a:cubicBezTo>
                  <a:cubicBezTo>
                    <a:pt x="34" y="12"/>
                    <a:pt x="34" y="11"/>
                    <a:pt x="32" y="11"/>
                  </a:cubicBezTo>
                  <a:cubicBezTo>
                    <a:pt x="31" y="10"/>
                    <a:pt x="31" y="10"/>
                    <a:pt x="30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8" y="10"/>
                    <a:pt x="27" y="12"/>
                    <a:pt x="26" y="14"/>
                  </a:cubicBezTo>
                  <a:cubicBezTo>
                    <a:pt x="25" y="15"/>
                    <a:pt x="25" y="16"/>
                    <a:pt x="24" y="17"/>
                  </a:cubicBezTo>
                  <a:cubicBezTo>
                    <a:pt x="23" y="17"/>
                    <a:pt x="23" y="17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0" y="18"/>
                    <a:pt x="20" y="18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8" y="21"/>
                    <a:pt x="17" y="23"/>
                    <a:pt x="15" y="23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30"/>
                    <a:pt x="14" y="34"/>
                    <a:pt x="14" y="39"/>
                  </a:cubicBezTo>
                  <a:cubicBezTo>
                    <a:pt x="14" y="40"/>
                    <a:pt x="15" y="42"/>
                    <a:pt x="17" y="44"/>
                  </a:cubicBezTo>
                  <a:cubicBezTo>
                    <a:pt x="18" y="44"/>
                    <a:pt x="18" y="44"/>
                    <a:pt x="19" y="44"/>
                  </a:cubicBezTo>
                  <a:cubicBezTo>
                    <a:pt x="20" y="45"/>
                    <a:pt x="21" y="45"/>
                    <a:pt x="21" y="46"/>
                  </a:cubicBezTo>
                  <a:cubicBezTo>
                    <a:pt x="21" y="46"/>
                    <a:pt x="21" y="47"/>
                    <a:pt x="21" y="47"/>
                  </a:cubicBezTo>
                  <a:cubicBezTo>
                    <a:pt x="21" y="48"/>
                    <a:pt x="20" y="48"/>
                    <a:pt x="21" y="50"/>
                  </a:cubicBezTo>
                  <a:cubicBezTo>
                    <a:pt x="21" y="51"/>
                    <a:pt x="22" y="52"/>
                    <a:pt x="23" y="52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4"/>
                    <a:pt x="25" y="54"/>
                    <a:pt x="25" y="55"/>
                  </a:cubicBezTo>
                  <a:cubicBezTo>
                    <a:pt x="25" y="55"/>
                    <a:pt x="24" y="55"/>
                    <a:pt x="23" y="55"/>
                  </a:cubicBezTo>
                  <a:cubicBezTo>
                    <a:pt x="23" y="55"/>
                    <a:pt x="22" y="56"/>
                    <a:pt x="21" y="56"/>
                  </a:cubicBezTo>
                  <a:cubicBezTo>
                    <a:pt x="20" y="56"/>
                    <a:pt x="20" y="57"/>
                    <a:pt x="19" y="58"/>
                  </a:cubicBezTo>
                  <a:cubicBezTo>
                    <a:pt x="19" y="60"/>
                    <a:pt x="19" y="61"/>
                    <a:pt x="20" y="63"/>
                  </a:cubicBezTo>
                  <a:cubicBezTo>
                    <a:pt x="20" y="64"/>
                    <a:pt x="21" y="65"/>
                    <a:pt x="22" y="65"/>
                  </a:cubicBezTo>
                  <a:cubicBezTo>
                    <a:pt x="22" y="66"/>
                    <a:pt x="23" y="67"/>
                    <a:pt x="24" y="67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8" y="71"/>
                    <a:pt x="28" y="74"/>
                    <a:pt x="27" y="76"/>
                  </a:cubicBezTo>
                  <a:cubicBezTo>
                    <a:pt x="27" y="77"/>
                    <a:pt x="26" y="77"/>
                    <a:pt x="26" y="77"/>
                  </a:cubicBezTo>
                  <a:cubicBezTo>
                    <a:pt x="26" y="77"/>
                    <a:pt x="25" y="77"/>
                    <a:pt x="25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22" y="76"/>
                    <a:pt x="21" y="76"/>
                    <a:pt x="21" y="76"/>
                  </a:cubicBezTo>
                  <a:cubicBezTo>
                    <a:pt x="20" y="75"/>
                    <a:pt x="19" y="75"/>
                    <a:pt x="19" y="74"/>
                  </a:cubicBezTo>
                  <a:cubicBezTo>
                    <a:pt x="18" y="74"/>
                    <a:pt x="18" y="73"/>
                    <a:pt x="16" y="73"/>
                  </a:cubicBezTo>
                  <a:cubicBezTo>
                    <a:pt x="16" y="73"/>
                    <a:pt x="16" y="73"/>
                    <a:pt x="15" y="73"/>
                  </a:cubicBezTo>
                  <a:cubicBezTo>
                    <a:pt x="14" y="73"/>
                    <a:pt x="14" y="73"/>
                    <a:pt x="13" y="73"/>
                  </a:cubicBezTo>
                  <a:cubicBezTo>
                    <a:pt x="11" y="75"/>
                    <a:pt x="10" y="77"/>
                    <a:pt x="10" y="79"/>
                  </a:cubicBezTo>
                  <a:cubicBezTo>
                    <a:pt x="10" y="82"/>
                    <a:pt x="12" y="83"/>
                    <a:pt x="14" y="84"/>
                  </a:cubicBezTo>
                  <a:cubicBezTo>
                    <a:pt x="15" y="84"/>
                    <a:pt x="16" y="85"/>
                    <a:pt x="17" y="85"/>
                  </a:cubicBezTo>
                  <a:cubicBezTo>
                    <a:pt x="18" y="86"/>
                    <a:pt x="18" y="87"/>
                    <a:pt x="18" y="87"/>
                  </a:cubicBezTo>
                  <a:cubicBezTo>
                    <a:pt x="18" y="88"/>
                    <a:pt x="17" y="89"/>
                    <a:pt x="16" y="90"/>
                  </a:cubicBezTo>
                  <a:cubicBezTo>
                    <a:pt x="16" y="91"/>
                    <a:pt x="15" y="91"/>
                    <a:pt x="15" y="92"/>
                  </a:cubicBezTo>
                  <a:cubicBezTo>
                    <a:pt x="14" y="93"/>
                    <a:pt x="14" y="95"/>
                    <a:pt x="14" y="96"/>
                  </a:cubicBezTo>
                  <a:cubicBezTo>
                    <a:pt x="14" y="98"/>
                    <a:pt x="13" y="100"/>
                    <a:pt x="12" y="101"/>
                  </a:cubicBezTo>
                  <a:cubicBezTo>
                    <a:pt x="11" y="103"/>
                    <a:pt x="11" y="103"/>
                    <a:pt x="10" y="103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3"/>
                    <a:pt x="7" y="103"/>
                    <a:pt x="6" y="103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4" y="108"/>
                    <a:pt x="5" y="110"/>
                    <a:pt x="6" y="112"/>
                  </a:cubicBezTo>
                  <a:cubicBezTo>
                    <a:pt x="6" y="113"/>
                    <a:pt x="6" y="113"/>
                    <a:pt x="7" y="114"/>
                  </a:cubicBezTo>
                  <a:cubicBezTo>
                    <a:pt x="8" y="115"/>
                    <a:pt x="9" y="117"/>
                    <a:pt x="9" y="119"/>
                  </a:cubicBezTo>
                  <a:cubicBezTo>
                    <a:pt x="9" y="122"/>
                    <a:pt x="9" y="124"/>
                    <a:pt x="8" y="127"/>
                  </a:cubicBezTo>
                  <a:cubicBezTo>
                    <a:pt x="7" y="130"/>
                    <a:pt x="5" y="132"/>
                    <a:pt x="4" y="134"/>
                  </a:cubicBezTo>
                  <a:cubicBezTo>
                    <a:pt x="2" y="136"/>
                    <a:pt x="0" y="139"/>
                    <a:pt x="2" y="141"/>
                  </a:cubicBezTo>
                  <a:cubicBezTo>
                    <a:pt x="4" y="144"/>
                    <a:pt x="7" y="146"/>
                    <a:pt x="10" y="146"/>
                  </a:cubicBezTo>
                  <a:cubicBezTo>
                    <a:pt x="11" y="147"/>
                    <a:pt x="11" y="147"/>
                    <a:pt x="12" y="147"/>
                  </a:cubicBezTo>
                  <a:cubicBezTo>
                    <a:pt x="12" y="147"/>
                    <a:pt x="13" y="147"/>
                    <a:pt x="14" y="146"/>
                  </a:cubicBezTo>
                  <a:cubicBezTo>
                    <a:pt x="15" y="146"/>
                    <a:pt x="15" y="146"/>
                    <a:pt x="16" y="146"/>
                  </a:cubicBezTo>
                  <a:cubicBezTo>
                    <a:pt x="18" y="146"/>
                    <a:pt x="19" y="147"/>
                    <a:pt x="20" y="147"/>
                  </a:cubicBezTo>
                  <a:cubicBezTo>
                    <a:pt x="21" y="148"/>
                    <a:pt x="22" y="150"/>
                    <a:pt x="23" y="153"/>
                  </a:cubicBezTo>
                  <a:cubicBezTo>
                    <a:pt x="23" y="154"/>
                    <a:pt x="24" y="154"/>
                    <a:pt x="24" y="155"/>
                  </a:cubicBezTo>
                  <a:cubicBezTo>
                    <a:pt x="26" y="158"/>
                    <a:pt x="27" y="158"/>
                    <a:pt x="29" y="159"/>
                  </a:cubicBezTo>
                  <a:cubicBezTo>
                    <a:pt x="30" y="160"/>
                    <a:pt x="31" y="160"/>
                    <a:pt x="32" y="161"/>
                  </a:cubicBezTo>
                  <a:cubicBezTo>
                    <a:pt x="34" y="162"/>
                    <a:pt x="34" y="165"/>
                    <a:pt x="34" y="168"/>
                  </a:cubicBezTo>
                  <a:cubicBezTo>
                    <a:pt x="34" y="170"/>
                    <a:pt x="34" y="170"/>
                    <a:pt x="34" y="170"/>
                  </a:cubicBezTo>
                  <a:cubicBezTo>
                    <a:pt x="34" y="173"/>
                    <a:pt x="34" y="175"/>
                    <a:pt x="34" y="178"/>
                  </a:cubicBezTo>
                  <a:cubicBezTo>
                    <a:pt x="34" y="181"/>
                    <a:pt x="32" y="184"/>
                    <a:pt x="31" y="187"/>
                  </a:cubicBezTo>
                  <a:cubicBezTo>
                    <a:pt x="30" y="189"/>
                    <a:pt x="30" y="192"/>
                    <a:pt x="30" y="195"/>
                  </a:cubicBezTo>
                  <a:cubicBezTo>
                    <a:pt x="30" y="197"/>
                    <a:pt x="30" y="197"/>
                    <a:pt x="30" y="197"/>
                  </a:cubicBezTo>
                  <a:cubicBezTo>
                    <a:pt x="29" y="202"/>
                    <a:pt x="29" y="206"/>
                    <a:pt x="29" y="210"/>
                  </a:cubicBezTo>
                  <a:cubicBezTo>
                    <a:pt x="29" y="213"/>
                    <a:pt x="29" y="213"/>
                    <a:pt x="29" y="213"/>
                  </a:cubicBezTo>
                  <a:cubicBezTo>
                    <a:pt x="32" y="212"/>
                    <a:pt x="32" y="212"/>
                    <a:pt x="32" y="212"/>
                  </a:cubicBezTo>
                  <a:cubicBezTo>
                    <a:pt x="35" y="211"/>
                    <a:pt x="38" y="209"/>
                    <a:pt x="41" y="207"/>
                  </a:cubicBezTo>
                  <a:cubicBezTo>
                    <a:pt x="42" y="206"/>
                    <a:pt x="42" y="205"/>
                    <a:pt x="43" y="205"/>
                  </a:cubicBezTo>
                  <a:cubicBezTo>
                    <a:pt x="45" y="204"/>
                    <a:pt x="46" y="204"/>
                    <a:pt x="48" y="203"/>
                  </a:cubicBezTo>
                  <a:cubicBezTo>
                    <a:pt x="49" y="203"/>
                    <a:pt x="50" y="203"/>
                    <a:pt x="52" y="202"/>
                  </a:cubicBezTo>
                  <a:cubicBezTo>
                    <a:pt x="53" y="202"/>
                    <a:pt x="54" y="202"/>
                    <a:pt x="55" y="201"/>
                  </a:cubicBezTo>
                  <a:cubicBezTo>
                    <a:pt x="56" y="200"/>
                    <a:pt x="58" y="200"/>
                    <a:pt x="59" y="199"/>
                  </a:cubicBezTo>
                  <a:cubicBezTo>
                    <a:pt x="64" y="198"/>
                    <a:pt x="68" y="196"/>
                    <a:pt x="72" y="194"/>
                  </a:cubicBezTo>
                  <a:cubicBezTo>
                    <a:pt x="73" y="194"/>
                    <a:pt x="73" y="193"/>
                    <a:pt x="74" y="192"/>
                  </a:cubicBezTo>
                  <a:cubicBezTo>
                    <a:pt x="76" y="191"/>
                    <a:pt x="78" y="190"/>
                    <a:pt x="80" y="189"/>
                  </a:cubicBezTo>
                  <a:cubicBezTo>
                    <a:pt x="81" y="189"/>
                    <a:pt x="82" y="189"/>
                    <a:pt x="83" y="189"/>
                  </a:cubicBezTo>
                  <a:cubicBezTo>
                    <a:pt x="84" y="189"/>
                    <a:pt x="85" y="189"/>
                    <a:pt x="86" y="189"/>
                  </a:cubicBezTo>
                  <a:cubicBezTo>
                    <a:pt x="88" y="188"/>
                    <a:pt x="90" y="188"/>
                    <a:pt x="92" y="187"/>
                  </a:cubicBezTo>
                  <a:cubicBezTo>
                    <a:pt x="92" y="187"/>
                    <a:pt x="92" y="187"/>
                    <a:pt x="92" y="187"/>
                  </a:cubicBezTo>
                  <a:cubicBezTo>
                    <a:pt x="93" y="187"/>
                    <a:pt x="94" y="186"/>
                    <a:pt x="94" y="186"/>
                  </a:cubicBezTo>
                  <a:cubicBezTo>
                    <a:pt x="95" y="185"/>
                    <a:pt x="95" y="184"/>
                    <a:pt x="96" y="184"/>
                  </a:cubicBezTo>
                  <a:cubicBezTo>
                    <a:pt x="96" y="184"/>
                    <a:pt x="96" y="183"/>
                    <a:pt x="97" y="183"/>
                  </a:cubicBezTo>
                  <a:cubicBezTo>
                    <a:pt x="100" y="183"/>
                    <a:pt x="102" y="184"/>
                    <a:pt x="103" y="185"/>
                  </a:cubicBezTo>
                  <a:cubicBezTo>
                    <a:pt x="103" y="185"/>
                    <a:pt x="103" y="185"/>
                    <a:pt x="103" y="185"/>
                  </a:cubicBezTo>
                  <a:cubicBezTo>
                    <a:pt x="103" y="186"/>
                    <a:pt x="104" y="186"/>
                    <a:pt x="105" y="187"/>
                  </a:cubicBezTo>
                  <a:cubicBezTo>
                    <a:pt x="105" y="187"/>
                    <a:pt x="106" y="187"/>
                    <a:pt x="106" y="187"/>
                  </a:cubicBezTo>
                  <a:cubicBezTo>
                    <a:pt x="107" y="187"/>
                    <a:pt x="108" y="187"/>
                    <a:pt x="109" y="187"/>
                  </a:cubicBezTo>
                  <a:cubicBezTo>
                    <a:pt x="111" y="186"/>
                    <a:pt x="112" y="184"/>
                    <a:pt x="112" y="183"/>
                  </a:cubicBezTo>
                  <a:cubicBezTo>
                    <a:pt x="112" y="182"/>
                    <a:pt x="112" y="182"/>
                    <a:pt x="112" y="182"/>
                  </a:cubicBezTo>
                  <a:cubicBezTo>
                    <a:pt x="112" y="182"/>
                    <a:pt x="112" y="182"/>
                    <a:pt x="112" y="182"/>
                  </a:cubicBezTo>
                  <a:cubicBezTo>
                    <a:pt x="113" y="182"/>
                    <a:pt x="113" y="182"/>
                    <a:pt x="114" y="182"/>
                  </a:cubicBezTo>
                  <a:cubicBezTo>
                    <a:pt x="115" y="183"/>
                    <a:pt x="115" y="183"/>
                    <a:pt x="116" y="183"/>
                  </a:cubicBezTo>
                  <a:cubicBezTo>
                    <a:pt x="119" y="183"/>
                    <a:pt x="121" y="182"/>
                    <a:pt x="123" y="182"/>
                  </a:cubicBezTo>
                  <a:cubicBezTo>
                    <a:pt x="126" y="181"/>
                    <a:pt x="128" y="181"/>
                    <a:pt x="130" y="181"/>
                  </a:cubicBezTo>
                  <a:cubicBezTo>
                    <a:pt x="131" y="181"/>
                    <a:pt x="131" y="181"/>
                    <a:pt x="131" y="181"/>
                  </a:cubicBezTo>
                  <a:cubicBezTo>
                    <a:pt x="133" y="181"/>
                    <a:pt x="136" y="181"/>
                    <a:pt x="138" y="182"/>
                  </a:cubicBezTo>
                  <a:cubicBezTo>
                    <a:pt x="138" y="182"/>
                    <a:pt x="139" y="183"/>
                    <a:pt x="140" y="183"/>
                  </a:cubicBezTo>
                  <a:cubicBezTo>
                    <a:pt x="141" y="184"/>
                    <a:pt x="142" y="186"/>
                    <a:pt x="144" y="186"/>
                  </a:cubicBezTo>
                  <a:cubicBezTo>
                    <a:pt x="144" y="186"/>
                    <a:pt x="145" y="187"/>
                    <a:pt x="145" y="187"/>
                  </a:cubicBezTo>
                  <a:cubicBezTo>
                    <a:pt x="146" y="187"/>
                    <a:pt x="147" y="186"/>
                    <a:pt x="148" y="186"/>
                  </a:cubicBezTo>
                  <a:cubicBezTo>
                    <a:pt x="148" y="186"/>
                    <a:pt x="148" y="186"/>
                    <a:pt x="148" y="186"/>
                  </a:cubicBezTo>
                  <a:cubicBezTo>
                    <a:pt x="149" y="186"/>
                    <a:pt x="149" y="186"/>
                    <a:pt x="149" y="186"/>
                  </a:cubicBezTo>
                  <a:cubicBezTo>
                    <a:pt x="150" y="186"/>
                    <a:pt x="150" y="186"/>
                    <a:pt x="150" y="186"/>
                  </a:cubicBezTo>
                  <a:cubicBezTo>
                    <a:pt x="151" y="186"/>
                    <a:pt x="152" y="186"/>
                    <a:pt x="152" y="186"/>
                  </a:cubicBezTo>
                  <a:cubicBezTo>
                    <a:pt x="153" y="185"/>
                    <a:pt x="153" y="185"/>
                    <a:pt x="154" y="185"/>
                  </a:cubicBezTo>
                  <a:cubicBezTo>
                    <a:pt x="154" y="186"/>
                    <a:pt x="154" y="187"/>
                    <a:pt x="155" y="187"/>
                  </a:cubicBezTo>
                  <a:cubicBezTo>
                    <a:pt x="156" y="188"/>
                    <a:pt x="157" y="189"/>
                    <a:pt x="159" y="189"/>
                  </a:cubicBezTo>
                  <a:cubicBezTo>
                    <a:pt x="159" y="189"/>
                    <a:pt x="160" y="189"/>
                    <a:pt x="161" y="189"/>
                  </a:cubicBezTo>
                  <a:cubicBezTo>
                    <a:pt x="162" y="188"/>
                    <a:pt x="162" y="188"/>
                    <a:pt x="163" y="188"/>
                  </a:cubicBezTo>
                  <a:cubicBezTo>
                    <a:pt x="163" y="188"/>
                    <a:pt x="163" y="188"/>
                    <a:pt x="163" y="188"/>
                  </a:cubicBezTo>
                  <a:cubicBezTo>
                    <a:pt x="164" y="188"/>
                    <a:pt x="165" y="189"/>
                    <a:pt x="166" y="189"/>
                  </a:cubicBezTo>
                  <a:cubicBezTo>
                    <a:pt x="168" y="190"/>
                    <a:pt x="168" y="190"/>
                    <a:pt x="168" y="190"/>
                  </a:cubicBezTo>
                  <a:cubicBezTo>
                    <a:pt x="168" y="188"/>
                    <a:pt x="168" y="188"/>
                    <a:pt x="168" y="188"/>
                  </a:cubicBezTo>
                  <a:cubicBezTo>
                    <a:pt x="170" y="182"/>
                    <a:pt x="171" y="176"/>
                    <a:pt x="169" y="171"/>
                  </a:cubicBezTo>
                  <a:cubicBezTo>
                    <a:pt x="168" y="170"/>
                    <a:pt x="167" y="169"/>
                    <a:pt x="166" y="168"/>
                  </a:cubicBezTo>
                  <a:cubicBezTo>
                    <a:pt x="165" y="167"/>
                    <a:pt x="164" y="166"/>
                    <a:pt x="164" y="165"/>
                  </a:cubicBezTo>
                  <a:cubicBezTo>
                    <a:pt x="162" y="163"/>
                    <a:pt x="162" y="161"/>
                    <a:pt x="161" y="159"/>
                  </a:cubicBezTo>
                  <a:cubicBezTo>
                    <a:pt x="161" y="157"/>
                    <a:pt x="161" y="157"/>
                    <a:pt x="161" y="157"/>
                  </a:cubicBezTo>
                  <a:cubicBezTo>
                    <a:pt x="160" y="155"/>
                    <a:pt x="160" y="154"/>
                    <a:pt x="159" y="152"/>
                  </a:cubicBezTo>
                  <a:cubicBezTo>
                    <a:pt x="157" y="147"/>
                    <a:pt x="156" y="142"/>
                    <a:pt x="156" y="136"/>
                  </a:cubicBezTo>
                  <a:cubicBezTo>
                    <a:pt x="156" y="128"/>
                    <a:pt x="158" y="120"/>
                    <a:pt x="161" y="112"/>
                  </a:cubicBezTo>
                  <a:cubicBezTo>
                    <a:pt x="164" y="103"/>
                    <a:pt x="168" y="96"/>
                    <a:pt x="173" y="88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0" name="Freeform 80"/>
            <p:cNvSpPr>
              <a:spLocks/>
            </p:cNvSpPr>
            <p:nvPr/>
          </p:nvSpPr>
          <p:spPr bwMode="auto">
            <a:xfrm>
              <a:off x="1784621" y="1834389"/>
              <a:ext cx="261149" cy="400667"/>
            </a:xfrm>
            <a:custGeom>
              <a:avLst/>
              <a:gdLst>
                <a:gd name="T0" fmla="*/ 126 w 129"/>
                <a:gd name="T1" fmla="*/ 164 h 215"/>
                <a:gd name="T2" fmla="*/ 117 w 129"/>
                <a:gd name="T3" fmla="*/ 158 h 215"/>
                <a:gd name="T4" fmla="*/ 111 w 129"/>
                <a:gd name="T5" fmla="*/ 134 h 215"/>
                <a:gd name="T6" fmla="*/ 113 w 129"/>
                <a:gd name="T7" fmla="*/ 126 h 215"/>
                <a:gd name="T8" fmla="*/ 112 w 129"/>
                <a:gd name="T9" fmla="*/ 124 h 215"/>
                <a:gd name="T10" fmla="*/ 110 w 129"/>
                <a:gd name="T11" fmla="*/ 117 h 215"/>
                <a:gd name="T12" fmla="*/ 112 w 129"/>
                <a:gd name="T13" fmla="*/ 102 h 215"/>
                <a:gd name="T14" fmla="*/ 111 w 129"/>
                <a:gd name="T15" fmla="*/ 98 h 215"/>
                <a:gd name="T16" fmla="*/ 114 w 129"/>
                <a:gd name="T17" fmla="*/ 96 h 215"/>
                <a:gd name="T18" fmla="*/ 114 w 129"/>
                <a:gd name="T19" fmla="*/ 95 h 215"/>
                <a:gd name="T20" fmla="*/ 107 w 129"/>
                <a:gd name="T21" fmla="*/ 83 h 215"/>
                <a:gd name="T22" fmla="*/ 109 w 129"/>
                <a:gd name="T23" fmla="*/ 76 h 215"/>
                <a:gd name="T24" fmla="*/ 107 w 129"/>
                <a:gd name="T25" fmla="*/ 68 h 215"/>
                <a:gd name="T26" fmla="*/ 109 w 129"/>
                <a:gd name="T27" fmla="*/ 59 h 215"/>
                <a:gd name="T28" fmla="*/ 104 w 129"/>
                <a:gd name="T29" fmla="*/ 56 h 215"/>
                <a:gd name="T30" fmla="*/ 101 w 129"/>
                <a:gd name="T31" fmla="*/ 56 h 215"/>
                <a:gd name="T32" fmla="*/ 104 w 129"/>
                <a:gd name="T33" fmla="*/ 45 h 215"/>
                <a:gd name="T34" fmla="*/ 105 w 129"/>
                <a:gd name="T35" fmla="*/ 30 h 215"/>
                <a:gd name="T36" fmla="*/ 93 w 129"/>
                <a:gd name="T37" fmla="*/ 17 h 215"/>
                <a:gd name="T38" fmla="*/ 88 w 129"/>
                <a:gd name="T39" fmla="*/ 0 h 215"/>
                <a:gd name="T40" fmla="*/ 13 w 129"/>
                <a:gd name="T41" fmla="*/ 6 h 215"/>
                <a:gd name="T42" fmla="*/ 13 w 129"/>
                <a:gd name="T43" fmla="*/ 27 h 215"/>
                <a:gd name="T44" fmla="*/ 13 w 129"/>
                <a:gd name="T45" fmla="*/ 57 h 215"/>
                <a:gd name="T46" fmla="*/ 14 w 129"/>
                <a:gd name="T47" fmla="*/ 65 h 215"/>
                <a:gd name="T48" fmla="*/ 16 w 129"/>
                <a:gd name="T49" fmla="*/ 74 h 215"/>
                <a:gd name="T50" fmla="*/ 17 w 129"/>
                <a:gd name="T51" fmla="*/ 101 h 215"/>
                <a:gd name="T52" fmla="*/ 0 w 129"/>
                <a:gd name="T53" fmla="*/ 150 h 215"/>
                <a:gd name="T54" fmla="*/ 5 w 129"/>
                <a:gd name="T55" fmla="*/ 171 h 215"/>
                <a:gd name="T56" fmla="*/ 8 w 129"/>
                <a:gd name="T57" fmla="*/ 179 h 215"/>
                <a:gd name="T58" fmla="*/ 13 w 129"/>
                <a:gd name="T59" fmla="*/ 186 h 215"/>
                <a:gd name="T60" fmla="*/ 12 w 129"/>
                <a:gd name="T61" fmla="*/ 204 h 215"/>
                <a:gd name="T62" fmla="*/ 18 w 129"/>
                <a:gd name="T63" fmla="*/ 205 h 215"/>
                <a:gd name="T64" fmla="*/ 29 w 129"/>
                <a:gd name="T65" fmla="*/ 212 h 215"/>
                <a:gd name="T66" fmla="*/ 33 w 129"/>
                <a:gd name="T67" fmla="*/ 215 h 215"/>
                <a:gd name="T68" fmla="*/ 41 w 129"/>
                <a:gd name="T69" fmla="*/ 209 h 215"/>
                <a:gd name="T70" fmla="*/ 49 w 129"/>
                <a:gd name="T71" fmla="*/ 204 h 215"/>
                <a:gd name="T72" fmla="*/ 53 w 129"/>
                <a:gd name="T73" fmla="*/ 203 h 215"/>
                <a:gd name="T74" fmla="*/ 57 w 129"/>
                <a:gd name="T75" fmla="*/ 200 h 215"/>
                <a:gd name="T76" fmla="*/ 59 w 129"/>
                <a:gd name="T77" fmla="*/ 200 h 215"/>
                <a:gd name="T78" fmla="*/ 61 w 129"/>
                <a:gd name="T79" fmla="*/ 200 h 215"/>
                <a:gd name="T80" fmla="*/ 65 w 129"/>
                <a:gd name="T81" fmla="*/ 199 h 215"/>
                <a:gd name="T82" fmla="*/ 73 w 129"/>
                <a:gd name="T83" fmla="*/ 195 h 215"/>
                <a:gd name="T84" fmla="*/ 90 w 129"/>
                <a:gd name="T85" fmla="*/ 185 h 215"/>
                <a:gd name="T86" fmla="*/ 102 w 129"/>
                <a:gd name="T87" fmla="*/ 181 h 215"/>
                <a:gd name="T88" fmla="*/ 107 w 129"/>
                <a:gd name="T89" fmla="*/ 181 h 215"/>
                <a:gd name="T90" fmla="*/ 112 w 129"/>
                <a:gd name="T91" fmla="*/ 180 h 215"/>
                <a:gd name="T92" fmla="*/ 116 w 129"/>
                <a:gd name="T93" fmla="*/ 179 h 215"/>
                <a:gd name="T94" fmla="*/ 126 w 129"/>
                <a:gd name="T95" fmla="*/ 173 h 215"/>
                <a:gd name="T96" fmla="*/ 129 w 129"/>
                <a:gd name="T97" fmla="*/ 17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9" h="215">
                  <a:moveTo>
                    <a:pt x="128" y="169"/>
                  </a:moveTo>
                  <a:cubicBezTo>
                    <a:pt x="128" y="168"/>
                    <a:pt x="127" y="165"/>
                    <a:pt x="126" y="164"/>
                  </a:cubicBezTo>
                  <a:cubicBezTo>
                    <a:pt x="124" y="162"/>
                    <a:pt x="123" y="161"/>
                    <a:pt x="121" y="160"/>
                  </a:cubicBezTo>
                  <a:cubicBezTo>
                    <a:pt x="119" y="159"/>
                    <a:pt x="118" y="159"/>
                    <a:pt x="117" y="158"/>
                  </a:cubicBezTo>
                  <a:cubicBezTo>
                    <a:pt x="112" y="153"/>
                    <a:pt x="107" y="144"/>
                    <a:pt x="110" y="136"/>
                  </a:cubicBezTo>
                  <a:cubicBezTo>
                    <a:pt x="110" y="136"/>
                    <a:pt x="110" y="135"/>
                    <a:pt x="111" y="134"/>
                  </a:cubicBezTo>
                  <a:cubicBezTo>
                    <a:pt x="111" y="133"/>
                    <a:pt x="112" y="132"/>
                    <a:pt x="112" y="131"/>
                  </a:cubicBezTo>
                  <a:cubicBezTo>
                    <a:pt x="112" y="129"/>
                    <a:pt x="113" y="128"/>
                    <a:pt x="113" y="12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11" y="124"/>
                    <a:pt x="110" y="123"/>
                    <a:pt x="110" y="122"/>
                  </a:cubicBezTo>
                  <a:cubicBezTo>
                    <a:pt x="109" y="121"/>
                    <a:pt x="109" y="119"/>
                    <a:pt x="110" y="117"/>
                  </a:cubicBezTo>
                  <a:cubicBezTo>
                    <a:pt x="111" y="115"/>
                    <a:pt x="111" y="113"/>
                    <a:pt x="111" y="112"/>
                  </a:cubicBezTo>
                  <a:cubicBezTo>
                    <a:pt x="112" y="108"/>
                    <a:pt x="112" y="105"/>
                    <a:pt x="112" y="102"/>
                  </a:cubicBezTo>
                  <a:cubicBezTo>
                    <a:pt x="112" y="102"/>
                    <a:pt x="112" y="101"/>
                    <a:pt x="111" y="101"/>
                  </a:cubicBezTo>
                  <a:cubicBezTo>
                    <a:pt x="111" y="100"/>
                    <a:pt x="111" y="99"/>
                    <a:pt x="111" y="98"/>
                  </a:cubicBezTo>
                  <a:cubicBezTo>
                    <a:pt x="112" y="97"/>
                    <a:pt x="112" y="97"/>
                    <a:pt x="113" y="97"/>
                  </a:cubicBezTo>
                  <a:cubicBezTo>
                    <a:pt x="113" y="96"/>
                    <a:pt x="114" y="96"/>
                    <a:pt x="114" y="96"/>
                  </a:cubicBezTo>
                  <a:cubicBezTo>
                    <a:pt x="114" y="96"/>
                    <a:pt x="114" y="96"/>
                    <a:pt x="114" y="96"/>
                  </a:cubicBezTo>
                  <a:cubicBezTo>
                    <a:pt x="114" y="95"/>
                    <a:pt x="114" y="95"/>
                    <a:pt x="114" y="95"/>
                  </a:cubicBezTo>
                  <a:cubicBezTo>
                    <a:pt x="116" y="92"/>
                    <a:pt x="113" y="90"/>
                    <a:pt x="110" y="87"/>
                  </a:cubicBezTo>
                  <a:cubicBezTo>
                    <a:pt x="109" y="86"/>
                    <a:pt x="107" y="84"/>
                    <a:pt x="107" y="83"/>
                  </a:cubicBezTo>
                  <a:cubicBezTo>
                    <a:pt x="106" y="81"/>
                    <a:pt x="107" y="80"/>
                    <a:pt x="108" y="79"/>
                  </a:cubicBezTo>
                  <a:cubicBezTo>
                    <a:pt x="108" y="78"/>
                    <a:pt x="109" y="78"/>
                    <a:pt x="109" y="76"/>
                  </a:cubicBezTo>
                  <a:cubicBezTo>
                    <a:pt x="109" y="75"/>
                    <a:pt x="109" y="74"/>
                    <a:pt x="108" y="72"/>
                  </a:cubicBezTo>
                  <a:cubicBezTo>
                    <a:pt x="108" y="71"/>
                    <a:pt x="107" y="69"/>
                    <a:pt x="107" y="68"/>
                  </a:cubicBezTo>
                  <a:cubicBezTo>
                    <a:pt x="107" y="67"/>
                    <a:pt x="108" y="65"/>
                    <a:pt x="108" y="64"/>
                  </a:cubicBezTo>
                  <a:cubicBezTo>
                    <a:pt x="109" y="62"/>
                    <a:pt x="110" y="60"/>
                    <a:pt x="109" y="59"/>
                  </a:cubicBezTo>
                  <a:cubicBezTo>
                    <a:pt x="109" y="58"/>
                    <a:pt x="108" y="56"/>
                    <a:pt x="106" y="56"/>
                  </a:cubicBezTo>
                  <a:cubicBezTo>
                    <a:pt x="105" y="56"/>
                    <a:pt x="105" y="56"/>
                    <a:pt x="104" y="56"/>
                  </a:cubicBezTo>
                  <a:cubicBezTo>
                    <a:pt x="103" y="56"/>
                    <a:pt x="102" y="57"/>
                    <a:pt x="101" y="57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3"/>
                    <a:pt x="101" y="53"/>
                    <a:pt x="102" y="50"/>
                  </a:cubicBezTo>
                  <a:cubicBezTo>
                    <a:pt x="103" y="49"/>
                    <a:pt x="103" y="47"/>
                    <a:pt x="104" y="45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5" y="40"/>
                    <a:pt x="105" y="33"/>
                    <a:pt x="105" y="30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0" y="11"/>
                    <a:pt x="7" y="21"/>
                    <a:pt x="13" y="27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4" y="58"/>
                    <a:pt x="14" y="59"/>
                    <a:pt x="14" y="60"/>
                  </a:cubicBezTo>
                  <a:cubicBezTo>
                    <a:pt x="15" y="62"/>
                    <a:pt x="14" y="63"/>
                    <a:pt x="14" y="65"/>
                  </a:cubicBezTo>
                  <a:cubicBezTo>
                    <a:pt x="14" y="67"/>
                    <a:pt x="14" y="69"/>
                    <a:pt x="15" y="71"/>
                  </a:cubicBezTo>
                  <a:cubicBezTo>
                    <a:pt x="15" y="72"/>
                    <a:pt x="16" y="73"/>
                    <a:pt x="16" y="74"/>
                  </a:cubicBezTo>
                  <a:cubicBezTo>
                    <a:pt x="17" y="75"/>
                    <a:pt x="18" y="77"/>
                    <a:pt x="19" y="80"/>
                  </a:cubicBezTo>
                  <a:cubicBezTo>
                    <a:pt x="20" y="88"/>
                    <a:pt x="21" y="94"/>
                    <a:pt x="17" y="101"/>
                  </a:cubicBezTo>
                  <a:cubicBezTo>
                    <a:pt x="12" y="110"/>
                    <a:pt x="8" y="117"/>
                    <a:pt x="5" y="126"/>
                  </a:cubicBezTo>
                  <a:cubicBezTo>
                    <a:pt x="3" y="134"/>
                    <a:pt x="0" y="142"/>
                    <a:pt x="0" y="150"/>
                  </a:cubicBezTo>
                  <a:cubicBezTo>
                    <a:pt x="0" y="156"/>
                    <a:pt x="2" y="161"/>
                    <a:pt x="4" y="167"/>
                  </a:cubicBezTo>
                  <a:cubicBezTo>
                    <a:pt x="4" y="168"/>
                    <a:pt x="5" y="170"/>
                    <a:pt x="5" y="171"/>
                  </a:cubicBezTo>
                  <a:cubicBezTo>
                    <a:pt x="6" y="173"/>
                    <a:pt x="6" y="173"/>
                    <a:pt x="6" y="173"/>
                  </a:cubicBezTo>
                  <a:cubicBezTo>
                    <a:pt x="6" y="175"/>
                    <a:pt x="7" y="177"/>
                    <a:pt x="8" y="179"/>
                  </a:cubicBezTo>
                  <a:cubicBezTo>
                    <a:pt x="9" y="180"/>
                    <a:pt x="10" y="181"/>
                    <a:pt x="11" y="182"/>
                  </a:cubicBezTo>
                  <a:cubicBezTo>
                    <a:pt x="12" y="183"/>
                    <a:pt x="13" y="184"/>
                    <a:pt x="13" y="186"/>
                  </a:cubicBezTo>
                  <a:cubicBezTo>
                    <a:pt x="15" y="190"/>
                    <a:pt x="14" y="197"/>
                    <a:pt x="13" y="202"/>
                  </a:cubicBezTo>
                  <a:cubicBezTo>
                    <a:pt x="12" y="204"/>
                    <a:pt x="12" y="204"/>
                    <a:pt x="12" y="204"/>
                  </a:cubicBezTo>
                  <a:cubicBezTo>
                    <a:pt x="14" y="205"/>
                    <a:pt x="14" y="205"/>
                    <a:pt x="14" y="205"/>
                  </a:cubicBezTo>
                  <a:cubicBezTo>
                    <a:pt x="16" y="205"/>
                    <a:pt x="17" y="205"/>
                    <a:pt x="18" y="205"/>
                  </a:cubicBezTo>
                  <a:cubicBezTo>
                    <a:pt x="19" y="205"/>
                    <a:pt x="20" y="205"/>
                    <a:pt x="21" y="206"/>
                  </a:cubicBezTo>
                  <a:cubicBezTo>
                    <a:pt x="24" y="207"/>
                    <a:pt x="26" y="209"/>
                    <a:pt x="29" y="212"/>
                  </a:cubicBezTo>
                  <a:cubicBezTo>
                    <a:pt x="30" y="213"/>
                    <a:pt x="30" y="213"/>
                    <a:pt x="30" y="213"/>
                  </a:cubicBezTo>
                  <a:cubicBezTo>
                    <a:pt x="31" y="214"/>
                    <a:pt x="32" y="215"/>
                    <a:pt x="33" y="215"/>
                  </a:cubicBezTo>
                  <a:cubicBezTo>
                    <a:pt x="34" y="215"/>
                    <a:pt x="35" y="214"/>
                    <a:pt x="36" y="213"/>
                  </a:cubicBezTo>
                  <a:cubicBezTo>
                    <a:pt x="38" y="212"/>
                    <a:pt x="40" y="210"/>
                    <a:pt x="41" y="209"/>
                  </a:cubicBezTo>
                  <a:cubicBezTo>
                    <a:pt x="42" y="208"/>
                    <a:pt x="43" y="207"/>
                    <a:pt x="44" y="206"/>
                  </a:cubicBezTo>
                  <a:cubicBezTo>
                    <a:pt x="46" y="205"/>
                    <a:pt x="47" y="204"/>
                    <a:pt x="49" y="204"/>
                  </a:cubicBezTo>
                  <a:cubicBezTo>
                    <a:pt x="50" y="204"/>
                    <a:pt x="50" y="203"/>
                    <a:pt x="51" y="203"/>
                  </a:cubicBezTo>
                  <a:cubicBezTo>
                    <a:pt x="52" y="203"/>
                    <a:pt x="52" y="203"/>
                    <a:pt x="53" y="203"/>
                  </a:cubicBezTo>
                  <a:cubicBezTo>
                    <a:pt x="53" y="202"/>
                    <a:pt x="54" y="202"/>
                    <a:pt x="55" y="202"/>
                  </a:cubicBezTo>
                  <a:cubicBezTo>
                    <a:pt x="56" y="201"/>
                    <a:pt x="57" y="201"/>
                    <a:pt x="57" y="200"/>
                  </a:cubicBezTo>
                  <a:cubicBezTo>
                    <a:pt x="58" y="200"/>
                    <a:pt x="58" y="200"/>
                    <a:pt x="58" y="200"/>
                  </a:cubicBezTo>
                  <a:cubicBezTo>
                    <a:pt x="58" y="200"/>
                    <a:pt x="59" y="200"/>
                    <a:pt x="59" y="200"/>
                  </a:cubicBezTo>
                  <a:cubicBezTo>
                    <a:pt x="59" y="200"/>
                    <a:pt x="60" y="200"/>
                    <a:pt x="60" y="200"/>
                  </a:cubicBezTo>
                  <a:cubicBezTo>
                    <a:pt x="60" y="200"/>
                    <a:pt x="61" y="200"/>
                    <a:pt x="61" y="200"/>
                  </a:cubicBezTo>
                  <a:cubicBezTo>
                    <a:pt x="62" y="200"/>
                    <a:pt x="62" y="200"/>
                    <a:pt x="62" y="200"/>
                  </a:cubicBezTo>
                  <a:cubicBezTo>
                    <a:pt x="63" y="199"/>
                    <a:pt x="64" y="199"/>
                    <a:pt x="65" y="199"/>
                  </a:cubicBezTo>
                  <a:cubicBezTo>
                    <a:pt x="66" y="199"/>
                    <a:pt x="66" y="199"/>
                    <a:pt x="67" y="198"/>
                  </a:cubicBezTo>
                  <a:cubicBezTo>
                    <a:pt x="69" y="198"/>
                    <a:pt x="71" y="197"/>
                    <a:pt x="73" y="195"/>
                  </a:cubicBezTo>
                  <a:cubicBezTo>
                    <a:pt x="73" y="195"/>
                    <a:pt x="74" y="194"/>
                    <a:pt x="75" y="194"/>
                  </a:cubicBezTo>
                  <a:cubicBezTo>
                    <a:pt x="79" y="191"/>
                    <a:pt x="84" y="188"/>
                    <a:pt x="90" y="185"/>
                  </a:cubicBezTo>
                  <a:cubicBezTo>
                    <a:pt x="93" y="184"/>
                    <a:pt x="96" y="183"/>
                    <a:pt x="99" y="181"/>
                  </a:cubicBezTo>
                  <a:cubicBezTo>
                    <a:pt x="100" y="181"/>
                    <a:pt x="101" y="181"/>
                    <a:pt x="102" y="181"/>
                  </a:cubicBezTo>
                  <a:cubicBezTo>
                    <a:pt x="103" y="181"/>
                    <a:pt x="103" y="181"/>
                    <a:pt x="104" y="181"/>
                  </a:cubicBezTo>
                  <a:cubicBezTo>
                    <a:pt x="105" y="181"/>
                    <a:pt x="106" y="181"/>
                    <a:pt x="107" y="181"/>
                  </a:cubicBezTo>
                  <a:cubicBezTo>
                    <a:pt x="107" y="181"/>
                    <a:pt x="107" y="181"/>
                    <a:pt x="107" y="181"/>
                  </a:cubicBezTo>
                  <a:cubicBezTo>
                    <a:pt x="109" y="181"/>
                    <a:pt x="110" y="180"/>
                    <a:pt x="112" y="180"/>
                  </a:cubicBezTo>
                  <a:cubicBezTo>
                    <a:pt x="112" y="180"/>
                    <a:pt x="113" y="179"/>
                    <a:pt x="114" y="179"/>
                  </a:cubicBezTo>
                  <a:cubicBezTo>
                    <a:pt x="115" y="179"/>
                    <a:pt x="115" y="179"/>
                    <a:pt x="116" y="179"/>
                  </a:cubicBezTo>
                  <a:cubicBezTo>
                    <a:pt x="118" y="179"/>
                    <a:pt x="120" y="179"/>
                    <a:pt x="122" y="178"/>
                  </a:cubicBezTo>
                  <a:cubicBezTo>
                    <a:pt x="123" y="177"/>
                    <a:pt x="125" y="175"/>
                    <a:pt x="126" y="173"/>
                  </a:cubicBezTo>
                  <a:cubicBezTo>
                    <a:pt x="126" y="173"/>
                    <a:pt x="127" y="172"/>
                    <a:pt x="127" y="172"/>
                  </a:cubicBezTo>
                  <a:cubicBezTo>
                    <a:pt x="129" y="170"/>
                    <a:pt x="129" y="170"/>
                    <a:pt x="129" y="170"/>
                  </a:cubicBezTo>
                  <a:lnTo>
                    <a:pt x="128" y="169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1" name="Freeform 81"/>
            <p:cNvSpPr>
              <a:spLocks/>
            </p:cNvSpPr>
            <p:nvPr/>
          </p:nvSpPr>
          <p:spPr bwMode="auto">
            <a:xfrm>
              <a:off x="1972113" y="1829252"/>
              <a:ext cx="106022" cy="321561"/>
            </a:xfrm>
            <a:custGeom>
              <a:avLst/>
              <a:gdLst>
                <a:gd name="T0" fmla="*/ 48 w 52"/>
                <a:gd name="T1" fmla="*/ 155 h 173"/>
                <a:gd name="T2" fmla="*/ 48 w 52"/>
                <a:gd name="T3" fmla="*/ 137 h 173"/>
                <a:gd name="T4" fmla="*/ 48 w 52"/>
                <a:gd name="T5" fmla="*/ 100 h 173"/>
                <a:gd name="T6" fmla="*/ 48 w 52"/>
                <a:gd name="T7" fmla="*/ 78 h 173"/>
                <a:gd name="T8" fmla="*/ 41 w 52"/>
                <a:gd name="T9" fmla="*/ 62 h 173"/>
                <a:gd name="T10" fmla="*/ 39 w 52"/>
                <a:gd name="T11" fmla="*/ 43 h 173"/>
                <a:gd name="T12" fmla="*/ 29 w 52"/>
                <a:gd name="T13" fmla="*/ 34 h 173"/>
                <a:gd name="T14" fmla="*/ 32 w 52"/>
                <a:gd name="T15" fmla="*/ 11 h 173"/>
                <a:gd name="T16" fmla="*/ 34 w 52"/>
                <a:gd name="T17" fmla="*/ 0 h 173"/>
                <a:gd name="T18" fmla="*/ 29 w 52"/>
                <a:gd name="T19" fmla="*/ 5 h 173"/>
                <a:gd name="T20" fmla="*/ 23 w 52"/>
                <a:gd name="T21" fmla="*/ 9 h 173"/>
                <a:gd name="T22" fmla="*/ 17 w 52"/>
                <a:gd name="T23" fmla="*/ 10 h 173"/>
                <a:gd name="T24" fmla="*/ 13 w 52"/>
                <a:gd name="T25" fmla="*/ 9 h 173"/>
                <a:gd name="T26" fmla="*/ 5 w 52"/>
                <a:gd name="T27" fmla="*/ 7 h 173"/>
                <a:gd name="T28" fmla="*/ 0 w 52"/>
                <a:gd name="T29" fmla="*/ 20 h 173"/>
                <a:gd name="T30" fmla="*/ 11 w 52"/>
                <a:gd name="T31" fmla="*/ 47 h 173"/>
                <a:gd name="T32" fmla="*/ 9 w 52"/>
                <a:gd name="T33" fmla="*/ 53 h 173"/>
                <a:gd name="T34" fmla="*/ 8 w 52"/>
                <a:gd name="T35" fmla="*/ 60 h 173"/>
                <a:gd name="T36" fmla="*/ 13 w 52"/>
                <a:gd name="T37" fmla="*/ 59 h 173"/>
                <a:gd name="T38" fmla="*/ 15 w 52"/>
                <a:gd name="T39" fmla="*/ 67 h 173"/>
                <a:gd name="T40" fmla="*/ 15 w 52"/>
                <a:gd name="T41" fmla="*/ 75 h 173"/>
                <a:gd name="T42" fmla="*/ 14 w 52"/>
                <a:gd name="T43" fmla="*/ 82 h 173"/>
                <a:gd name="T44" fmla="*/ 17 w 52"/>
                <a:gd name="T45" fmla="*/ 90 h 173"/>
                <a:gd name="T46" fmla="*/ 20 w 52"/>
                <a:gd name="T47" fmla="*/ 99 h 173"/>
                <a:gd name="T48" fmla="*/ 18 w 52"/>
                <a:gd name="T49" fmla="*/ 104 h 173"/>
                <a:gd name="T50" fmla="*/ 18 w 52"/>
                <a:gd name="T51" fmla="*/ 114 h 173"/>
                <a:gd name="T52" fmla="*/ 16 w 52"/>
                <a:gd name="T53" fmla="*/ 126 h 173"/>
                <a:gd name="T54" fmla="*/ 19 w 52"/>
                <a:gd name="T55" fmla="*/ 134 h 173"/>
                <a:gd name="T56" fmla="*/ 16 w 52"/>
                <a:gd name="T57" fmla="*/ 139 h 173"/>
                <a:gd name="T58" fmla="*/ 28 w 52"/>
                <a:gd name="T59" fmla="*/ 163 h 173"/>
                <a:gd name="T60" fmla="*/ 34 w 52"/>
                <a:gd name="T61" fmla="*/ 170 h 173"/>
                <a:gd name="T62" fmla="*/ 37 w 52"/>
                <a:gd name="T63" fmla="*/ 171 h 173"/>
                <a:gd name="T64" fmla="*/ 45 w 52"/>
                <a:gd name="T65" fmla="*/ 168 h 173"/>
                <a:gd name="T66" fmla="*/ 50 w 52"/>
                <a:gd name="T67" fmla="*/ 167 h 173"/>
                <a:gd name="T68" fmla="*/ 51 w 52"/>
                <a:gd name="T69" fmla="*/ 16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173">
                  <a:moveTo>
                    <a:pt x="50" y="157"/>
                  </a:moveTo>
                  <a:cubicBezTo>
                    <a:pt x="49" y="156"/>
                    <a:pt x="49" y="156"/>
                    <a:pt x="48" y="155"/>
                  </a:cubicBezTo>
                  <a:cubicBezTo>
                    <a:pt x="46" y="151"/>
                    <a:pt x="47" y="146"/>
                    <a:pt x="47" y="142"/>
                  </a:cubicBezTo>
                  <a:cubicBezTo>
                    <a:pt x="48" y="141"/>
                    <a:pt x="48" y="139"/>
                    <a:pt x="48" y="137"/>
                  </a:cubicBezTo>
                  <a:cubicBezTo>
                    <a:pt x="48" y="129"/>
                    <a:pt x="48" y="121"/>
                    <a:pt x="48" y="113"/>
                  </a:cubicBezTo>
                  <a:cubicBezTo>
                    <a:pt x="48" y="108"/>
                    <a:pt x="48" y="104"/>
                    <a:pt x="48" y="100"/>
                  </a:cubicBezTo>
                  <a:cubicBezTo>
                    <a:pt x="48" y="98"/>
                    <a:pt x="48" y="96"/>
                    <a:pt x="48" y="94"/>
                  </a:cubicBezTo>
                  <a:cubicBezTo>
                    <a:pt x="49" y="88"/>
                    <a:pt x="49" y="83"/>
                    <a:pt x="48" y="78"/>
                  </a:cubicBezTo>
                  <a:cubicBezTo>
                    <a:pt x="47" y="76"/>
                    <a:pt x="46" y="73"/>
                    <a:pt x="44" y="71"/>
                  </a:cubicBezTo>
                  <a:cubicBezTo>
                    <a:pt x="43" y="68"/>
                    <a:pt x="41" y="65"/>
                    <a:pt x="41" y="62"/>
                  </a:cubicBezTo>
                  <a:cubicBezTo>
                    <a:pt x="40" y="59"/>
                    <a:pt x="40" y="57"/>
                    <a:pt x="41" y="55"/>
                  </a:cubicBezTo>
                  <a:cubicBezTo>
                    <a:pt x="41" y="51"/>
                    <a:pt x="41" y="47"/>
                    <a:pt x="39" y="43"/>
                  </a:cubicBezTo>
                  <a:cubicBezTo>
                    <a:pt x="38" y="40"/>
                    <a:pt x="34" y="38"/>
                    <a:pt x="31" y="35"/>
                  </a:cubicBezTo>
                  <a:cubicBezTo>
                    <a:pt x="31" y="35"/>
                    <a:pt x="30" y="34"/>
                    <a:pt x="29" y="34"/>
                  </a:cubicBezTo>
                  <a:cubicBezTo>
                    <a:pt x="24" y="29"/>
                    <a:pt x="23" y="27"/>
                    <a:pt x="25" y="20"/>
                  </a:cubicBezTo>
                  <a:cubicBezTo>
                    <a:pt x="25" y="17"/>
                    <a:pt x="27" y="12"/>
                    <a:pt x="32" y="11"/>
                  </a:cubicBezTo>
                  <a:cubicBezTo>
                    <a:pt x="35" y="9"/>
                    <a:pt x="35" y="7"/>
                    <a:pt x="34" y="5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0" y="4"/>
                    <a:pt x="30" y="5"/>
                    <a:pt x="29" y="5"/>
                  </a:cubicBezTo>
                  <a:cubicBezTo>
                    <a:pt x="29" y="6"/>
                    <a:pt x="29" y="6"/>
                    <a:pt x="28" y="7"/>
                  </a:cubicBezTo>
                  <a:cubicBezTo>
                    <a:pt x="26" y="9"/>
                    <a:pt x="26" y="9"/>
                    <a:pt x="23" y="9"/>
                  </a:cubicBezTo>
                  <a:cubicBezTo>
                    <a:pt x="23" y="9"/>
                    <a:pt x="22" y="10"/>
                    <a:pt x="21" y="10"/>
                  </a:cubicBezTo>
                  <a:cubicBezTo>
                    <a:pt x="20" y="10"/>
                    <a:pt x="18" y="10"/>
                    <a:pt x="17" y="10"/>
                  </a:cubicBezTo>
                  <a:cubicBezTo>
                    <a:pt x="17" y="10"/>
                    <a:pt x="17" y="10"/>
                    <a:pt x="16" y="10"/>
                  </a:cubicBezTo>
                  <a:cubicBezTo>
                    <a:pt x="15" y="10"/>
                    <a:pt x="14" y="9"/>
                    <a:pt x="13" y="9"/>
                  </a:cubicBezTo>
                  <a:cubicBezTo>
                    <a:pt x="12" y="8"/>
                    <a:pt x="11" y="8"/>
                    <a:pt x="10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6"/>
                    <a:pt x="12" y="42"/>
                    <a:pt x="11" y="47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50"/>
                    <a:pt x="9" y="52"/>
                    <a:pt x="9" y="53"/>
                  </a:cubicBezTo>
                  <a:cubicBezTo>
                    <a:pt x="8" y="55"/>
                    <a:pt x="8" y="56"/>
                    <a:pt x="8" y="58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59"/>
                    <a:pt x="12" y="59"/>
                    <a:pt x="13" y="59"/>
                  </a:cubicBezTo>
                  <a:cubicBezTo>
                    <a:pt x="14" y="59"/>
                    <a:pt x="15" y="59"/>
                    <a:pt x="16" y="62"/>
                  </a:cubicBezTo>
                  <a:cubicBezTo>
                    <a:pt x="16" y="63"/>
                    <a:pt x="16" y="65"/>
                    <a:pt x="15" y="67"/>
                  </a:cubicBezTo>
                  <a:cubicBezTo>
                    <a:pt x="14" y="68"/>
                    <a:pt x="14" y="70"/>
                    <a:pt x="14" y="71"/>
                  </a:cubicBezTo>
                  <a:cubicBezTo>
                    <a:pt x="14" y="72"/>
                    <a:pt x="14" y="74"/>
                    <a:pt x="15" y="75"/>
                  </a:cubicBezTo>
                  <a:cubicBezTo>
                    <a:pt x="15" y="77"/>
                    <a:pt x="16" y="78"/>
                    <a:pt x="16" y="79"/>
                  </a:cubicBezTo>
                  <a:cubicBezTo>
                    <a:pt x="16" y="80"/>
                    <a:pt x="15" y="81"/>
                    <a:pt x="14" y="82"/>
                  </a:cubicBezTo>
                  <a:cubicBezTo>
                    <a:pt x="13" y="83"/>
                    <a:pt x="13" y="84"/>
                    <a:pt x="13" y="86"/>
                  </a:cubicBezTo>
                  <a:cubicBezTo>
                    <a:pt x="14" y="87"/>
                    <a:pt x="16" y="89"/>
                    <a:pt x="17" y="90"/>
                  </a:cubicBezTo>
                  <a:cubicBezTo>
                    <a:pt x="20" y="93"/>
                    <a:pt x="22" y="95"/>
                    <a:pt x="21" y="98"/>
                  </a:cubicBezTo>
                  <a:cubicBezTo>
                    <a:pt x="20" y="99"/>
                    <a:pt x="20" y="99"/>
                    <a:pt x="20" y="99"/>
                  </a:cubicBezTo>
                  <a:cubicBezTo>
                    <a:pt x="19" y="100"/>
                    <a:pt x="18" y="100"/>
                    <a:pt x="18" y="101"/>
                  </a:cubicBezTo>
                  <a:cubicBezTo>
                    <a:pt x="18" y="102"/>
                    <a:pt x="18" y="103"/>
                    <a:pt x="18" y="104"/>
                  </a:cubicBezTo>
                  <a:cubicBezTo>
                    <a:pt x="18" y="105"/>
                    <a:pt x="18" y="105"/>
                    <a:pt x="18" y="105"/>
                  </a:cubicBezTo>
                  <a:cubicBezTo>
                    <a:pt x="18" y="108"/>
                    <a:pt x="18" y="111"/>
                    <a:pt x="18" y="114"/>
                  </a:cubicBezTo>
                  <a:cubicBezTo>
                    <a:pt x="18" y="116"/>
                    <a:pt x="17" y="118"/>
                    <a:pt x="17" y="120"/>
                  </a:cubicBezTo>
                  <a:cubicBezTo>
                    <a:pt x="16" y="122"/>
                    <a:pt x="15" y="124"/>
                    <a:pt x="16" y="126"/>
                  </a:cubicBezTo>
                  <a:cubicBezTo>
                    <a:pt x="17" y="127"/>
                    <a:pt x="18" y="127"/>
                    <a:pt x="20" y="128"/>
                  </a:cubicBezTo>
                  <a:cubicBezTo>
                    <a:pt x="19" y="130"/>
                    <a:pt x="19" y="132"/>
                    <a:pt x="19" y="134"/>
                  </a:cubicBezTo>
                  <a:cubicBezTo>
                    <a:pt x="18" y="135"/>
                    <a:pt x="18" y="136"/>
                    <a:pt x="17" y="137"/>
                  </a:cubicBezTo>
                  <a:cubicBezTo>
                    <a:pt x="17" y="138"/>
                    <a:pt x="17" y="139"/>
                    <a:pt x="16" y="139"/>
                  </a:cubicBezTo>
                  <a:cubicBezTo>
                    <a:pt x="14" y="147"/>
                    <a:pt x="19" y="157"/>
                    <a:pt x="24" y="161"/>
                  </a:cubicBezTo>
                  <a:cubicBezTo>
                    <a:pt x="25" y="162"/>
                    <a:pt x="26" y="163"/>
                    <a:pt x="28" y="163"/>
                  </a:cubicBezTo>
                  <a:cubicBezTo>
                    <a:pt x="29" y="164"/>
                    <a:pt x="31" y="165"/>
                    <a:pt x="32" y="167"/>
                  </a:cubicBezTo>
                  <a:cubicBezTo>
                    <a:pt x="33" y="167"/>
                    <a:pt x="33" y="169"/>
                    <a:pt x="34" y="170"/>
                  </a:cubicBezTo>
                  <a:cubicBezTo>
                    <a:pt x="35" y="173"/>
                    <a:pt x="35" y="173"/>
                    <a:pt x="35" y="173"/>
                  </a:cubicBezTo>
                  <a:cubicBezTo>
                    <a:pt x="37" y="171"/>
                    <a:pt x="37" y="171"/>
                    <a:pt x="37" y="171"/>
                  </a:cubicBezTo>
                  <a:cubicBezTo>
                    <a:pt x="38" y="170"/>
                    <a:pt x="39" y="170"/>
                    <a:pt x="40" y="170"/>
                  </a:cubicBezTo>
                  <a:cubicBezTo>
                    <a:pt x="41" y="169"/>
                    <a:pt x="43" y="168"/>
                    <a:pt x="45" y="168"/>
                  </a:cubicBezTo>
                  <a:cubicBezTo>
                    <a:pt x="46" y="168"/>
                    <a:pt x="47" y="168"/>
                    <a:pt x="48" y="167"/>
                  </a:cubicBezTo>
                  <a:cubicBezTo>
                    <a:pt x="48" y="167"/>
                    <a:pt x="50" y="167"/>
                    <a:pt x="50" y="167"/>
                  </a:cubicBezTo>
                  <a:cubicBezTo>
                    <a:pt x="50" y="166"/>
                    <a:pt x="50" y="166"/>
                    <a:pt x="50" y="166"/>
                  </a:cubicBezTo>
                  <a:cubicBezTo>
                    <a:pt x="51" y="164"/>
                    <a:pt x="52" y="163"/>
                    <a:pt x="51" y="161"/>
                  </a:cubicBezTo>
                  <a:cubicBezTo>
                    <a:pt x="51" y="159"/>
                    <a:pt x="51" y="158"/>
                    <a:pt x="50" y="157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2" name="Freeform 82"/>
            <p:cNvSpPr>
              <a:spLocks/>
            </p:cNvSpPr>
            <p:nvPr/>
          </p:nvSpPr>
          <p:spPr bwMode="auto">
            <a:xfrm>
              <a:off x="1300268" y="1996710"/>
              <a:ext cx="241061" cy="258892"/>
            </a:xfrm>
            <a:custGeom>
              <a:avLst/>
              <a:gdLst>
                <a:gd name="T0" fmla="*/ 113 w 119"/>
                <a:gd name="T1" fmla="*/ 86 h 139"/>
                <a:gd name="T2" fmla="*/ 107 w 119"/>
                <a:gd name="T3" fmla="*/ 79 h 139"/>
                <a:gd name="T4" fmla="*/ 100 w 119"/>
                <a:gd name="T5" fmla="*/ 73 h 139"/>
                <a:gd name="T6" fmla="*/ 96 w 119"/>
                <a:gd name="T7" fmla="*/ 73 h 139"/>
                <a:gd name="T8" fmla="*/ 87 w 119"/>
                <a:gd name="T9" fmla="*/ 68 h 139"/>
                <a:gd name="T10" fmla="*/ 92 w 119"/>
                <a:gd name="T11" fmla="*/ 54 h 139"/>
                <a:gd name="T12" fmla="*/ 91 w 119"/>
                <a:gd name="T13" fmla="*/ 40 h 139"/>
                <a:gd name="T14" fmla="*/ 88 w 119"/>
                <a:gd name="T15" fmla="*/ 32 h 139"/>
                <a:gd name="T16" fmla="*/ 87 w 119"/>
                <a:gd name="T17" fmla="*/ 30 h 139"/>
                <a:gd name="T18" fmla="*/ 84 w 119"/>
                <a:gd name="T19" fmla="*/ 28 h 139"/>
                <a:gd name="T20" fmla="*/ 81 w 119"/>
                <a:gd name="T21" fmla="*/ 29 h 139"/>
                <a:gd name="T22" fmla="*/ 76 w 119"/>
                <a:gd name="T23" fmla="*/ 39 h 139"/>
                <a:gd name="T24" fmla="*/ 69 w 119"/>
                <a:gd name="T25" fmla="*/ 43 h 139"/>
                <a:gd name="T26" fmla="*/ 64 w 119"/>
                <a:gd name="T27" fmla="*/ 37 h 139"/>
                <a:gd name="T28" fmla="*/ 61 w 119"/>
                <a:gd name="T29" fmla="*/ 37 h 139"/>
                <a:gd name="T30" fmla="*/ 59 w 119"/>
                <a:gd name="T31" fmla="*/ 35 h 139"/>
                <a:gd name="T32" fmla="*/ 62 w 119"/>
                <a:gd name="T33" fmla="*/ 29 h 139"/>
                <a:gd name="T34" fmla="*/ 61 w 119"/>
                <a:gd name="T35" fmla="*/ 22 h 139"/>
                <a:gd name="T36" fmla="*/ 60 w 119"/>
                <a:gd name="T37" fmla="*/ 15 h 139"/>
                <a:gd name="T38" fmla="*/ 58 w 119"/>
                <a:gd name="T39" fmla="*/ 8 h 139"/>
                <a:gd name="T40" fmla="*/ 49 w 119"/>
                <a:gd name="T41" fmla="*/ 0 h 139"/>
                <a:gd name="T42" fmla="*/ 43 w 119"/>
                <a:gd name="T43" fmla="*/ 2 h 139"/>
                <a:gd name="T44" fmla="*/ 38 w 119"/>
                <a:gd name="T45" fmla="*/ 0 h 139"/>
                <a:gd name="T46" fmla="*/ 36 w 119"/>
                <a:gd name="T47" fmla="*/ 2 h 139"/>
                <a:gd name="T48" fmla="*/ 35 w 119"/>
                <a:gd name="T49" fmla="*/ 10 h 139"/>
                <a:gd name="T50" fmla="*/ 30 w 119"/>
                <a:gd name="T51" fmla="*/ 11 h 139"/>
                <a:gd name="T52" fmla="*/ 26 w 119"/>
                <a:gd name="T53" fmla="*/ 19 h 139"/>
                <a:gd name="T54" fmla="*/ 23 w 119"/>
                <a:gd name="T55" fmla="*/ 27 h 139"/>
                <a:gd name="T56" fmla="*/ 13 w 119"/>
                <a:gd name="T57" fmla="*/ 36 h 139"/>
                <a:gd name="T58" fmla="*/ 4 w 119"/>
                <a:gd name="T59" fmla="*/ 46 h 139"/>
                <a:gd name="T60" fmla="*/ 0 w 119"/>
                <a:gd name="T61" fmla="*/ 54 h 139"/>
                <a:gd name="T62" fmla="*/ 0 w 119"/>
                <a:gd name="T63" fmla="*/ 56 h 139"/>
                <a:gd name="T64" fmla="*/ 8 w 119"/>
                <a:gd name="T65" fmla="*/ 65 h 139"/>
                <a:gd name="T66" fmla="*/ 18 w 119"/>
                <a:gd name="T67" fmla="*/ 71 h 139"/>
                <a:gd name="T68" fmla="*/ 35 w 119"/>
                <a:gd name="T69" fmla="*/ 84 h 139"/>
                <a:gd name="T70" fmla="*/ 41 w 119"/>
                <a:gd name="T71" fmla="*/ 91 h 139"/>
                <a:gd name="T72" fmla="*/ 47 w 119"/>
                <a:gd name="T73" fmla="*/ 97 h 139"/>
                <a:gd name="T74" fmla="*/ 56 w 119"/>
                <a:gd name="T75" fmla="*/ 105 h 139"/>
                <a:gd name="T76" fmla="*/ 61 w 119"/>
                <a:gd name="T77" fmla="*/ 109 h 139"/>
                <a:gd name="T78" fmla="*/ 74 w 119"/>
                <a:gd name="T79" fmla="*/ 118 h 139"/>
                <a:gd name="T80" fmla="*/ 80 w 119"/>
                <a:gd name="T81" fmla="*/ 122 h 139"/>
                <a:gd name="T82" fmla="*/ 87 w 119"/>
                <a:gd name="T83" fmla="*/ 128 h 139"/>
                <a:gd name="T84" fmla="*/ 93 w 119"/>
                <a:gd name="T85" fmla="*/ 131 h 139"/>
                <a:gd name="T86" fmla="*/ 100 w 119"/>
                <a:gd name="T87" fmla="*/ 134 h 139"/>
                <a:gd name="T88" fmla="*/ 111 w 119"/>
                <a:gd name="T89" fmla="*/ 139 h 139"/>
                <a:gd name="T90" fmla="*/ 113 w 119"/>
                <a:gd name="T91" fmla="*/ 137 h 139"/>
                <a:gd name="T92" fmla="*/ 114 w 119"/>
                <a:gd name="T93" fmla="*/ 122 h 139"/>
                <a:gd name="T94" fmla="*/ 118 w 119"/>
                <a:gd name="T95" fmla="*/ 105 h 139"/>
                <a:gd name="T96" fmla="*/ 119 w 119"/>
                <a:gd name="T97" fmla="*/ 9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9" h="139">
                  <a:moveTo>
                    <a:pt x="116" y="87"/>
                  </a:moveTo>
                  <a:cubicBezTo>
                    <a:pt x="115" y="87"/>
                    <a:pt x="114" y="87"/>
                    <a:pt x="113" y="86"/>
                  </a:cubicBezTo>
                  <a:cubicBezTo>
                    <a:pt x="112" y="85"/>
                    <a:pt x="110" y="84"/>
                    <a:pt x="109" y="82"/>
                  </a:cubicBezTo>
                  <a:cubicBezTo>
                    <a:pt x="108" y="81"/>
                    <a:pt x="108" y="80"/>
                    <a:pt x="107" y="79"/>
                  </a:cubicBezTo>
                  <a:cubicBezTo>
                    <a:pt x="107" y="77"/>
                    <a:pt x="106" y="75"/>
                    <a:pt x="104" y="74"/>
                  </a:cubicBezTo>
                  <a:cubicBezTo>
                    <a:pt x="103" y="73"/>
                    <a:pt x="101" y="73"/>
                    <a:pt x="100" y="73"/>
                  </a:cubicBezTo>
                  <a:cubicBezTo>
                    <a:pt x="100" y="73"/>
                    <a:pt x="99" y="73"/>
                    <a:pt x="98" y="73"/>
                  </a:cubicBezTo>
                  <a:cubicBezTo>
                    <a:pt x="97" y="73"/>
                    <a:pt x="96" y="73"/>
                    <a:pt x="96" y="73"/>
                  </a:cubicBezTo>
                  <a:cubicBezTo>
                    <a:pt x="95" y="73"/>
                    <a:pt x="95" y="73"/>
                    <a:pt x="94" y="73"/>
                  </a:cubicBezTo>
                  <a:cubicBezTo>
                    <a:pt x="91" y="73"/>
                    <a:pt x="88" y="71"/>
                    <a:pt x="87" y="68"/>
                  </a:cubicBezTo>
                  <a:cubicBezTo>
                    <a:pt x="85" y="66"/>
                    <a:pt x="86" y="63"/>
                    <a:pt x="88" y="61"/>
                  </a:cubicBezTo>
                  <a:cubicBezTo>
                    <a:pt x="90" y="59"/>
                    <a:pt x="91" y="57"/>
                    <a:pt x="92" y="54"/>
                  </a:cubicBezTo>
                  <a:cubicBezTo>
                    <a:pt x="93" y="51"/>
                    <a:pt x="93" y="49"/>
                    <a:pt x="93" y="46"/>
                  </a:cubicBezTo>
                  <a:cubicBezTo>
                    <a:pt x="93" y="44"/>
                    <a:pt x="92" y="42"/>
                    <a:pt x="91" y="40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89" y="37"/>
                    <a:pt x="89" y="35"/>
                    <a:pt x="88" y="32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7" y="30"/>
                    <a:pt x="86" y="30"/>
                    <a:pt x="85" y="29"/>
                  </a:cubicBezTo>
                  <a:cubicBezTo>
                    <a:pt x="85" y="29"/>
                    <a:pt x="84" y="28"/>
                    <a:pt x="84" y="28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1" y="30"/>
                    <a:pt x="81" y="30"/>
                  </a:cubicBezTo>
                  <a:cubicBezTo>
                    <a:pt x="80" y="34"/>
                    <a:pt x="79" y="36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3" y="42"/>
                    <a:pt x="72" y="43"/>
                    <a:pt x="69" y="43"/>
                  </a:cubicBezTo>
                  <a:cubicBezTo>
                    <a:pt x="68" y="40"/>
                    <a:pt x="67" y="38"/>
                    <a:pt x="65" y="37"/>
                  </a:cubicBezTo>
                  <a:cubicBezTo>
                    <a:pt x="65" y="37"/>
                    <a:pt x="64" y="37"/>
                    <a:pt x="64" y="37"/>
                  </a:cubicBezTo>
                  <a:cubicBezTo>
                    <a:pt x="63" y="37"/>
                    <a:pt x="63" y="37"/>
                    <a:pt x="62" y="37"/>
                  </a:cubicBezTo>
                  <a:cubicBezTo>
                    <a:pt x="62" y="37"/>
                    <a:pt x="62" y="37"/>
                    <a:pt x="61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59" y="37"/>
                    <a:pt x="59" y="36"/>
                    <a:pt x="59" y="35"/>
                  </a:cubicBezTo>
                  <a:cubicBezTo>
                    <a:pt x="59" y="34"/>
                    <a:pt x="60" y="33"/>
                    <a:pt x="61" y="32"/>
                  </a:cubicBezTo>
                  <a:cubicBezTo>
                    <a:pt x="61" y="31"/>
                    <a:pt x="62" y="30"/>
                    <a:pt x="62" y="29"/>
                  </a:cubicBezTo>
                  <a:cubicBezTo>
                    <a:pt x="63" y="27"/>
                    <a:pt x="62" y="25"/>
                    <a:pt x="62" y="23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1"/>
                    <a:pt x="61" y="19"/>
                    <a:pt x="60" y="18"/>
                  </a:cubicBezTo>
                  <a:cubicBezTo>
                    <a:pt x="60" y="17"/>
                    <a:pt x="60" y="16"/>
                    <a:pt x="60" y="15"/>
                  </a:cubicBezTo>
                  <a:cubicBezTo>
                    <a:pt x="60" y="15"/>
                    <a:pt x="59" y="14"/>
                    <a:pt x="59" y="13"/>
                  </a:cubicBezTo>
                  <a:cubicBezTo>
                    <a:pt x="59" y="12"/>
                    <a:pt x="58" y="10"/>
                    <a:pt x="58" y="8"/>
                  </a:cubicBezTo>
                  <a:cubicBezTo>
                    <a:pt x="58" y="3"/>
                    <a:pt x="54" y="1"/>
                    <a:pt x="5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8" y="0"/>
                    <a:pt x="47" y="1"/>
                    <a:pt x="46" y="1"/>
                  </a:cubicBezTo>
                  <a:cubicBezTo>
                    <a:pt x="45" y="1"/>
                    <a:pt x="44" y="2"/>
                    <a:pt x="43" y="2"/>
                  </a:cubicBezTo>
                  <a:cubicBezTo>
                    <a:pt x="42" y="2"/>
                    <a:pt x="41" y="1"/>
                    <a:pt x="40" y="1"/>
                  </a:cubicBezTo>
                  <a:cubicBezTo>
                    <a:pt x="39" y="1"/>
                    <a:pt x="39" y="1"/>
                    <a:pt x="38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4"/>
                    <a:pt x="36" y="5"/>
                    <a:pt x="36" y="6"/>
                  </a:cubicBezTo>
                  <a:cubicBezTo>
                    <a:pt x="36" y="7"/>
                    <a:pt x="36" y="9"/>
                    <a:pt x="35" y="10"/>
                  </a:cubicBezTo>
                  <a:cubicBezTo>
                    <a:pt x="35" y="11"/>
                    <a:pt x="34" y="11"/>
                    <a:pt x="32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28" y="11"/>
                    <a:pt x="28" y="12"/>
                  </a:cubicBezTo>
                  <a:cubicBezTo>
                    <a:pt x="26" y="13"/>
                    <a:pt x="26" y="16"/>
                    <a:pt x="26" y="19"/>
                  </a:cubicBezTo>
                  <a:cubicBezTo>
                    <a:pt x="26" y="19"/>
                    <a:pt x="26" y="19"/>
                    <a:pt x="26" y="20"/>
                  </a:cubicBezTo>
                  <a:cubicBezTo>
                    <a:pt x="26" y="23"/>
                    <a:pt x="25" y="25"/>
                    <a:pt x="23" y="27"/>
                  </a:cubicBezTo>
                  <a:cubicBezTo>
                    <a:pt x="21" y="29"/>
                    <a:pt x="19" y="31"/>
                    <a:pt x="17" y="33"/>
                  </a:cubicBezTo>
                  <a:cubicBezTo>
                    <a:pt x="15" y="34"/>
                    <a:pt x="14" y="35"/>
                    <a:pt x="13" y="36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8" y="40"/>
                    <a:pt x="4" y="43"/>
                    <a:pt x="4" y="46"/>
                  </a:cubicBezTo>
                  <a:cubicBezTo>
                    <a:pt x="3" y="48"/>
                    <a:pt x="3" y="50"/>
                    <a:pt x="1" y="53"/>
                  </a:cubicBezTo>
                  <a:cubicBezTo>
                    <a:pt x="1" y="53"/>
                    <a:pt x="1" y="54"/>
                    <a:pt x="0" y="5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7"/>
                    <a:pt x="0" y="58"/>
                    <a:pt x="1" y="60"/>
                  </a:cubicBezTo>
                  <a:cubicBezTo>
                    <a:pt x="2" y="63"/>
                    <a:pt x="5" y="64"/>
                    <a:pt x="8" y="65"/>
                  </a:cubicBezTo>
                  <a:cubicBezTo>
                    <a:pt x="9" y="65"/>
                    <a:pt x="10" y="66"/>
                    <a:pt x="11" y="67"/>
                  </a:cubicBezTo>
                  <a:cubicBezTo>
                    <a:pt x="13" y="68"/>
                    <a:pt x="16" y="70"/>
                    <a:pt x="18" y="71"/>
                  </a:cubicBezTo>
                  <a:cubicBezTo>
                    <a:pt x="20" y="72"/>
                    <a:pt x="21" y="73"/>
                    <a:pt x="23" y="74"/>
                  </a:cubicBezTo>
                  <a:cubicBezTo>
                    <a:pt x="28" y="77"/>
                    <a:pt x="31" y="80"/>
                    <a:pt x="35" y="84"/>
                  </a:cubicBezTo>
                  <a:cubicBezTo>
                    <a:pt x="36" y="85"/>
                    <a:pt x="38" y="87"/>
                    <a:pt x="39" y="88"/>
                  </a:cubicBezTo>
                  <a:cubicBezTo>
                    <a:pt x="40" y="89"/>
                    <a:pt x="41" y="90"/>
                    <a:pt x="41" y="91"/>
                  </a:cubicBezTo>
                  <a:cubicBezTo>
                    <a:pt x="42" y="92"/>
                    <a:pt x="43" y="92"/>
                    <a:pt x="44" y="93"/>
                  </a:cubicBezTo>
                  <a:cubicBezTo>
                    <a:pt x="45" y="94"/>
                    <a:pt x="46" y="96"/>
                    <a:pt x="47" y="97"/>
                  </a:cubicBezTo>
                  <a:cubicBezTo>
                    <a:pt x="48" y="98"/>
                    <a:pt x="50" y="99"/>
                    <a:pt x="51" y="100"/>
                  </a:cubicBezTo>
                  <a:cubicBezTo>
                    <a:pt x="53" y="102"/>
                    <a:pt x="55" y="103"/>
                    <a:pt x="56" y="105"/>
                  </a:cubicBezTo>
                  <a:cubicBezTo>
                    <a:pt x="57" y="106"/>
                    <a:pt x="58" y="107"/>
                    <a:pt x="59" y="108"/>
                  </a:cubicBezTo>
                  <a:cubicBezTo>
                    <a:pt x="60" y="108"/>
                    <a:pt x="60" y="108"/>
                    <a:pt x="61" y="109"/>
                  </a:cubicBezTo>
                  <a:cubicBezTo>
                    <a:pt x="63" y="110"/>
                    <a:pt x="65" y="112"/>
                    <a:pt x="67" y="113"/>
                  </a:cubicBezTo>
                  <a:cubicBezTo>
                    <a:pt x="70" y="115"/>
                    <a:pt x="72" y="116"/>
                    <a:pt x="74" y="118"/>
                  </a:cubicBezTo>
                  <a:cubicBezTo>
                    <a:pt x="75" y="118"/>
                    <a:pt x="76" y="119"/>
                    <a:pt x="76" y="119"/>
                  </a:cubicBezTo>
                  <a:cubicBezTo>
                    <a:pt x="78" y="120"/>
                    <a:pt x="79" y="121"/>
                    <a:pt x="80" y="122"/>
                  </a:cubicBezTo>
                  <a:cubicBezTo>
                    <a:pt x="81" y="123"/>
                    <a:pt x="81" y="123"/>
                    <a:pt x="81" y="123"/>
                  </a:cubicBezTo>
                  <a:cubicBezTo>
                    <a:pt x="83" y="125"/>
                    <a:pt x="85" y="126"/>
                    <a:pt x="87" y="128"/>
                  </a:cubicBezTo>
                  <a:cubicBezTo>
                    <a:pt x="88" y="129"/>
                    <a:pt x="89" y="129"/>
                    <a:pt x="91" y="130"/>
                  </a:cubicBezTo>
                  <a:cubicBezTo>
                    <a:pt x="92" y="130"/>
                    <a:pt x="92" y="131"/>
                    <a:pt x="93" y="131"/>
                  </a:cubicBezTo>
                  <a:cubicBezTo>
                    <a:pt x="94" y="131"/>
                    <a:pt x="94" y="132"/>
                    <a:pt x="95" y="132"/>
                  </a:cubicBezTo>
                  <a:cubicBezTo>
                    <a:pt x="97" y="133"/>
                    <a:pt x="98" y="134"/>
                    <a:pt x="100" y="134"/>
                  </a:cubicBezTo>
                  <a:cubicBezTo>
                    <a:pt x="102" y="135"/>
                    <a:pt x="103" y="136"/>
                    <a:pt x="105" y="137"/>
                  </a:cubicBezTo>
                  <a:cubicBezTo>
                    <a:pt x="107" y="138"/>
                    <a:pt x="109" y="139"/>
                    <a:pt x="111" y="139"/>
                  </a:cubicBezTo>
                  <a:cubicBezTo>
                    <a:pt x="113" y="139"/>
                    <a:pt x="113" y="139"/>
                    <a:pt x="113" y="139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4" y="132"/>
                    <a:pt x="114" y="128"/>
                    <a:pt x="114" y="124"/>
                  </a:cubicBezTo>
                  <a:cubicBezTo>
                    <a:pt x="114" y="122"/>
                    <a:pt x="114" y="122"/>
                    <a:pt x="114" y="122"/>
                  </a:cubicBezTo>
                  <a:cubicBezTo>
                    <a:pt x="114" y="119"/>
                    <a:pt x="114" y="116"/>
                    <a:pt x="116" y="114"/>
                  </a:cubicBezTo>
                  <a:cubicBezTo>
                    <a:pt x="117" y="111"/>
                    <a:pt x="118" y="108"/>
                    <a:pt x="118" y="105"/>
                  </a:cubicBezTo>
                  <a:cubicBezTo>
                    <a:pt x="119" y="102"/>
                    <a:pt x="119" y="100"/>
                    <a:pt x="119" y="97"/>
                  </a:cubicBezTo>
                  <a:cubicBezTo>
                    <a:pt x="119" y="95"/>
                    <a:pt x="119" y="95"/>
                    <a:pt x="119" y="95"/>
                  </a:cubicBezTo>
                  <a:cubicBezTo>
                    <a:pt x="119" y="92"/>
                    <a:pt x="119" y="89"/>
                    <a:pt x="116" y="87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3" name="Freeform 83"/>
            <p:cNvSpPr>
              <a:spLocks/>
            </p:cNvSpPr>
            <p:nvPr/>
          </p:nvSpPr>
          <p:spPr bwMode="auto">
            <a:xfrm>
              <a:off x="1190898" y="1901167"/>
              <a:ext cx="181912" cy="198279"/>
            </a:xfrm>
            <a:custGeom>
              <a:avLst/>
              <a:gdLst>
                <a:gd name="T0" fmla="*/ 90 w 90"/>
                <a:gd name="T1" fmla="*/ 51 h 106"/>
                <a:gd name="T2" fmla="*/ 84 w 90"/>
                <a:gd name="T3" fmla="*/ 55 h 106"/>
                <a:gd name="T4" fmla="*/ 79 w 90"/>
                <a:gd name="T5" fmla="*/ 58 h 106"/>
                <a:gd name="T6" fmla="*/ 79 w 90"/>
                <a:gd name="T7" fmla="*/ 58 h 106"/>
                <a:gd name="T8" fmla="*/ 81 w 90"/>
                <a:gd name="T9" fmla="*/ 49 h 106"/>
                <a:gd name="T10" fmla="*/ 81 w 90"/>
                <a:gd name="T11" fmla="*/ 41 h 106"/>
                <a:gd name="T12" fmla="*/ 80 w 90"/>
                <a:gd name="T13" fmla="*/ 36 h 106"/>
                <a:gd name="T14" fmla="*/ 80 w 90"/>
                <a:gd name="T15" fmla="*/ 34 h 106"/>
                <a:gd name="T16" fmla="*/ 78 w 90"/>
                <a:gd name="T17" fmla="*/ 32 h 106"/>
                <a:gd name="T18" fmla="*/ 78 w 90"/>
                <a:gd name="T19" fmla="*/ 28 h 106"/>
                <a:gd name="T20" fmla="*/ 76 w 90"/>
                <a:gd name="T21" fmla="*/ 22 h 106"/>
                <a:gd name="T22" fmla="*/ 66 w 90"/>
                <a:gd name="T23" fmla="*/ 6 h 106"/>
                <a:gd name="T24" fmla="*/ 64 w 90"/>
                <a:gd name="T25" fmla="*/ 4 h 106"/>
                <a:gd name="T26" fmla="*/ 54 w 90"/>
                <a:gd name="T27" fmla="*/ 0 h 106"/>
                <a:gd name="T28" fmla="*/ 38 w 90"/>
                <a:gd name="T29" fmla="*/ 6 h 106"/>
                <a:gd name="T30" fmla="*/ 34 w 90"/>
                <a:gd name="T31" fmla="*/ 5 h 106"/>
                <a:gd name="T32" fmla="*/ 30 w 90"/>
                <a:gd name="T33" fmla="*/ 4 h 106"/>
                <a:gd name="T34" fmla="*/ 25 w 90"/>
                <a:gd name="T35" fmla="*/ 11 h 106"/>
                <a:gd name="T36" fmla="*/ 21 w 90"/>
                <a:gd name="T37" fmla="*/ 19 h 106"/>
                <a:gd name="T38" fmla="*/ 16 w 90"/>
                <a:gd name="T39" fmla="*/ 25 h 106"/>
                <a:gd name="T40" fmla="*/ 8 w 90"/>
                <a:gd name="T41" fmla="*/ 32 h 106"/>
                <a:gd name="T42" fmla="*/ 3 w 90"/>
                <a:gd name="T43" fmla="*/ 33 h 106"/>
                <a:gd name="T44" fmla="*/ 2 w 90"/>
                <a:gd name="T45" fmla="*/ 36 h 106"/>
                <a:gd name="T46" fmla="*/ 3 w 90"/>
                <a:gd name="T47" fmla="*/ 38 h 106"/>
                <a:gd name="T48" fmla="*/ 3 w 90"/>
                <a:gd name="T49" fmla="*/ 49 h 106"/>
                <a:gd name="T50" fmla="*/ 3 w 90"/>
                <a:gd name="T51" fmla="*/ 52 h 106"/>
                <a:gd name="T52" fmla="*/ 7 w 90"/>
                <a:gd name="T53" fmla="*/ 63 h 106"/>
                <a:gd name="T54" fmla="*/ 10 w 90"/>
                <a:gd name="T55" fmla="*/ 65 h 106"/>
                <a:gd name="T56" fmla="*/ 11 w 90"/>
                <a:gd name="T57" fmla="*/ 72 h 106"/>
                <a:gd name="T58" fmla="*/ 15 w 90"/>
                <a:gd name="T59" fmla="*/ 78 h 106"/>
                <a:gd name="T60" fmla="*/ 16 w 90"/>
                <a:gd name="T61" fmla="*/ 83 h 106"/>
                <a:gd name="T62" fmla="*/ 21 w 90"/>
                <a:gd name="T63" fmla="*/ 84 h 106"/>
                <a:gd name="T64" fmla="*/ 22 w 90"/>
                <a:gd name="T65" fmla="*/ 84 h 106"/>
                <a:gd name="T66" fmla="*/ 29 w 90"/>
                <a:gd name="T67" fmla="*/ 91 h 106"/>
                <a:gd name="T68" fmla="*/ 37 w 90"/>
                <a:gd name="T69" fmla="*/ 96 h 106"/>
                <a:gd name="T70" fmla="*/ 48 w 90"/>
                <a:gd name="T71" fmla="*/ 102 h 106"/>
                <a:gd name="T72" fmla="*/ 54 w 90"/>
                <a:gd name="T73" fmla="*/ 106 h 106"/>
                <a:gd name="T74" fmla="*/ 58 w 90"/>
                <a:gd name="T75" fmla="*/ 97 h 106"/>
                <a:gd name="T76" fmla="*/ 67 w 90"/>
                <a:gd name="T77" fmla="*/ 87 h 106"/>
                <a:gd name="T78" fmla="*/ 78 w 90"/>
                <a:gd name="T79" fmla="*/ 78 h 106"/>
                <a:gd name="T80" fmla="*/ 80 w 90"/>
                <a:gd name="T81" fmla="*/ 70 h 106"/>
                <a:gd name="T82" fmla="*/ 85 w 90"/>
                <a:gd name="T83" fmla="*/ 63 h 106"/>
                <a:gd name="T84" fmla="*/ 89 w 90"/>
                <a:gd name="T85" fmla="*/ 61 h 106"/>
                <a:gd name="T86" fmla="*/ 90 w 90"/>
                <a:gd name="T87" fmla="*/ 5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0" h="106">
                  <a:moveTo>
                    <a:pt x="90" y="54"/>
                  </a:moveTo>
                  <a:cubicBezTo>
                    <a:pt x="90" y="51"/>
                    <a:pt x="90" y="51"/>
                    <a:pt x="90" y="51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6" y="53"/>
                    <a:pt x="85" y="54"/>
                    <a:pt x="84" y="55"/>
                  </a:cubicBezTo>
                  <a:cubicBezTo>
                    <a:pt x="84" y="55"/>
                    <a:pt x="83" y="55"/>
                    <a:pt x="83" y="56"/>
                  </a:cubicBezTo>
                  <a:cubicBezTo>
                    <a:pt x="82" y="57"/>
                    <a:pt x="81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6"/>
                    <a:pt x="79" y="53"/>
                    <a:pt x="80" y="51"/>
                  </a:cubicBezTo>
                  <a:cubicBezTo>
                    <a:pt x="80" y="50"/>
                    <a:pt x="81" y="50"/>
                    <a:pt x="81" y="49"/>
                  </a:cubicBezTo>
                  <a:cubicBezTo>
                    <a:pt x="82" y="47"/>
                    <a:pt x="83" y="46"/>
                    <a:pt x="82" y="43"/>
                  </a:cubicBezTo>
                  <a:cubicBezTo>
                    <a:pt x="82" y="43"/>
                    <a:pt x="82" y="42"/>
                    <a:pt x="81" y="41"/>
                  </a:cubicBezTo>
                  <a:cubicBezTo>
                    <a:pt x="81" y="40"/>
                    <a:pt x="80" y="39"/>
                    <a:pt x="80" y="38"/>
                  </a:cubicBezTo>
                  <a:cubicBezTo>
                    <a:pt x="80" y="37"/>
                    <a:pt x="80" y="36"/>
                    <a:pt x="80" y="36"/>
                  </a:cubicBezTo>
                  <a:cubicBezTo>
                    <a:pt x="80" y="35"/>
                    <a:pt x="80" y="35"/>
                    <a:pt x="80" y="34"/>
                  </a:cubicBezTo>
                  <a:cubicBezTo>
                    <a:pt x="80" y="34"/>
                    <a:pt x="80" y="34"/>
                    <a:pt x="80" y="34"/>
                  </a:cubicBezTo>
                  <a:cubicBezTo>
                    <a:pt x="80" y="34"/>
                    <a:pt x="80" y="34"/>
                    <a:pt x="80" y="34"/>
                  </a:cubicBezTo>
                  <a:cubicBezTo>
                    <a:pt x="80" y="33"/>
                    <a:pt x="79" y="33"/>
                    <a:pt x="78" y="32"/>
                  </a:cubicBezTo>
                  <a:cubicBezTo>
                    <a:pt x="76" y="31"/>
                    <a:pt x="76" y="30"/>
                    <a:pt x="77" y="29"/>
                  </a:cubicBezTo>
                  <a:cubicBezTo>
                    <a:pt x="77" y="29"/>
                    <a:pt x="77" y="28"/>
                    <a:pt x="78" y="28"/>
                  </a:cubicBezTo>
                  <a:cubicBezTo>
                    <a:pt x="79" y="26"/>
                    <a:pt x="78" y="25"/>
                    <a:pt x="76" y="23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3" y="20"/>
                    <a:pt x="71" y="16"/>
                    <a:pt x="70" y="12"/>
                  </a:cubicBezTo>
                  <a:cubicBezTo>
                    <a:pt x="69" y="10"/>
                    <a:pt x="67" y="8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5" y="5"/>
                    <a:pt x="65" y="4"/>
                    <a:pt x="64" y="4"/>
                  </a:cubicBezTo>
                  <a:cubicBezTo>
                    <a:pt x="62" y="1"/>
                    <a:pt x="61" y="1"/>
                    <a:pt x="58" y="1"/>
                  </a:cubicBezTo>
                  <a:cubicBezTo>
                    <a:pt x="57" y="1"/>
                    <a:pt x="56" y="0"/>
                    <a:pt x="54" y="0"/>
                  </a:cubicBezTo>
                  <a:cubicBezTo>
                    <a:pt x="49" y="0"/>
                    <a:pt x="45" y="1"/>
                    <a:pt x="43" y="4"/>
                  </a:cubicBezTo>
                  <a:cubicBezTo>
                    <a:pt x="42" y="5"/>
                    <a:pt x="40" y="6"/>
                    <a:pt x="38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6" y="6"/>
                    <a:pt x="35" y="5"/>
                    <a:pt x="34" y="5"/>
                  </a:cubicBezTo>
                  <a:cubicBezTo>
                    <a:pt x="34" y="4"/>
                    <a:pt x="33" y="4"/>
                    <a:pt x="32" y="4"/>
                  </a:cubicBezTo>
                  <a:cubicBezTo>
                    <a:pt x="31" y="4"/>
                    <a:pt x="30" y="4"/>
                    <a:pt x="30" y="4"/>
                  </a:cubicBezTo>
                  <a:cubicBezTo>
                    <a:pt x="28" y="5"/>
                    <a:pt x="27" y="7"/>
                    <a:pt x="26" y="9"/>
                  </a:cubicBezTo>
                  <a:cubicBezTo>
                    <a:pt x="26" y="9"/>
                    <a:pt x="25" y="10"/>
                    <a:pt x="25" y="11"/>
                  </a:cubicBezTo>
                  <a:cubicBezTo>
                    <a:pt x="24" y="13"/>
                    <a:pt x="22" y="15"/>
                    <a:pt x="22" y="17"/>
                  </a:cubicBezTo>
                  <a:cubicBezTo>
                    <a:pt x="21" y="17"/>
                    <a:pt x="21" y="18"/>
                    <a:pt x="21" y="19"/>
                  </a:cubicBezTo>
                  <a:cubicBezTo>
                    <a:pt x="20" y="21"/>
                    <a:pt x="19" y="23"/>
                    <a:pt x="18" y="24"/>
                  </a:cubicBezTo>
                  <a:cubicBezTo>
                    <a:pt x="17" y="24"/>
                    <a:pt x="16" y="25"/>
                    <a:pt x="16" y="25"/>
                  </a:cubicBezTo>
                  <a:cubicBezTo>
                    <a:pt x="14" y="26"/>
                    <a:pt x="13" y="26"/>
                    <a:pt x="13" y="29"/>
                  </a:cubicBezTo>
                  <a:cubicBezTo>
                    <a:pt x="12" y="32"/>
                    <a:pt x="11" y="32"/>
                    <a:pt x="8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" y="32"/>
                    <a:pt x="4" y="33"/>
                    <a:pt x="3" y="33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3" y="37"/>
                    <a:pt x="4" y="37"/>
                    <a:pt x="4" y="38"/>
                  </a:cubicBezTo>
                  <a:cubicBezTo>
                    <a:pt x="4" y="38"/>
                    <a:pt x="4" y="38"/>
                    <a:pt x="3" y="38"/>
                  </a:cubicBezTo>
                  <a:cubicBezTo>
                    <a:pt x="2" y="39"/>
                    <a:pt x="1" y="39"/>
                    <a:pt x="1" y="42"/>
                  </a:cubicBezTo>
                  <a:cubicBezTo>
                    <a:pt x="1" y="42"/>
                    <a:pt x="0" y="48"/>
                    <a:pt x="3" y="49"/>
                  </a:cubicBezTo>
                  <a:cubicBezTo>
                    <a:pt x="3" y="50"/>
                    <a:pt x="4" y="50"/>
                    <a:pt x="5" y="50"/>
                  </a:cubicBezTo>
                  <a:cubicBezTo>
                    <a:pt x="4" y="51"/>
                    <a:pt x="3" y="51"/>
                    <a:pt x="3" y="52"/>
                  </a:cubicBezTo>
                  <a:cubicBezTo>
                    <a:pt x="2" y="55"/>
                    <a:pt x="2" y="58"/>
                    <a:pt x="3" y="60"/>
                  </a:cubicBezTo>
                  <a:cubicBezTo>
                    <a:pt x="4" y="61"/>
                    <a:pt x="5" y="62"/>
                    <a:pt x="7" y="63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10" y="63"/>
                    <a:pt x="10" y="64"/>
                    <a:pt x="10" y="65"/>
                  </a:cubicBezTo>
                  <a:cubicBezTo>
                    <a:pt x="11" y="67"/>
                    <a:pt x="11" y="68"/>
                    <a:pt x="11" y="70"/>
                  </a:cubicBezTo>
                  <a:cubicBezTo>
                    <a:pt x="11" y="70"/>
                    <a:pt x="11" y="71"/>
                    <a:pt x="11" y="72"/>
                  </a:cubicBezTo>
                  <a:cubicBezTo>
                    <a:pt x="12" y="75"/>
                    <a:pt x="13" y="76"/>
                    <a:pt x="14" y="77"/>
                  </a:cubicBezTo>
                  <a:cubicBezTo>
                    <a:pt x="15" y="77"/>
                    <a:pt x="15" y="77"/>
                    <a:pt x="15" y="78"/>
                  </a:cubicBezTo>
                  <a:cubicBezTo>
                    <a:pt x="15" y="78"/>
                    <a:pt x="15" y="79"/>
                    <a:pt x="15" y="79"/>
                  </a:cubicBezTo>
                  <a:cubicBezTo>
                    <a:pt x="15" y="80"/>
                    <a:pt x="15" y="82"/>
                    <a:pt x="16" y="83"/>
                  </a:cubicBezTo>
                  <a:cubicBezTo>
                    <a:pt x="17" y="84"/>
                    <a:pt x="18" y="84"/>
                    <a:pt x="19" y="84"/>
                  </a:cubicBezTo>
                  <a:cubicBezTo>
                    <a:pt x="19" y="84"/>
                    <a:pt x="20" y="84"/>
                    <a:pt x="21" y="84"/>
                  </a:cubicBezTo>
                  <a:cubicBezTo>
                    <a:pt x="21" y="84"/>
                    <a:pt x="21" y="83"/>
                    <a:pt x="22" y="83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5"/>
                    <a:pt x="22" y="87"/>
                    <a:pt x="24" y="88"/>
                  </a:cubicBezTo>
                  <a:cubicBezTo>
                    <a:pt x="25" y="89"/>
                    <a:pt x="27" y="90"/>
                    <a:pt x="29" y="91"/>
                  </a:cubicBezTo>
                  <a:cubicBezTo>
                    <a:pt x="30" y="91"/>
                    <a:pt x="30" y="92"/>
                    <a:pt x="31" y="92"/>
                  </a:cubicBezTo>
                  <a:cubicBezTo>
                    <a:pt x="33" y="93"/>
                    <a:pt x="35" y="94"/>
                    <a:pt x="37" y="96"/>
                  </a:cubicBezTo>
                  <a:cubicBezTo>
                    <a:pt x="39" y="97"/>
                    <a:pt x="41" y="98"/>
                    <a:pt x="43" y="99"/>
                  </a:cubicBezTo>
                  <a:cubicBezTo>
                    <a:pt x="45" y="100"/>
                    <a:pt x="47" y="101"/>
                    <a:pt x="48" y="102"/>
                  </a:cubicBezTo>
                  <a:cubicBezTo>
                    <a:pt x="50" y="103"/>
                    <a:pt x="51" y="104"/>
                    <a:pt x="52" y="105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7" y="101"/>
                    <a:pt x="57" y="100"/>
                    <a:pt x="58" y="97"/>
                  </a:cubicBezTo>
                  <a:cubicBezTo>
                    <a:pt x="59" y="94"/>
                    <a:pt x="63" y="91"/>
                    <a:pt x="66" y="88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68" y="86"/>
                    <a:pt x="70" y="85"/>
                    <a:pt x="71" y="84"/>
                  </a:cubicBezTo>
                  <a:cubicBezTo>
                    <a:pt x="73" y="82"/>
                    <a:pt x="76" y="81"/>
                    <a:pt x="78" y="78"/>
                  </a:cubicBezTo>
                  <a:cubicBezTo>
                    <a:pt x="79" y="76"/>
                    <a:pt x="80" y="74"/>
                    <a:pt x="80" y="71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0" y="67"/>
                    <a:pt x="80" y="65"/>
                    <a:pt x="82" y="63"/>
                  </a:cubicBezTo>
                  <a:cubicBezTo>
                    <a:pt x="82" y="63"/>
                    <a:pt x="83" y="63"/>
                    <a:pt x="85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7" y="63"/>
                    <a:pt x="89" y="62"/>
                    <a:pt x="89" y="61"/>
                  </a:cubicBezTo>
                  <a:cubicBezTo>
                    <a:pt x="90" y="60"/>
                    <a:pt x="90" y="58"/>
                    <a:pt x="90" y="57"/>
                  </a:cubicBezTo>
                  <a:cubicBezTo>
                    <a:pt x="90" y="56"/>
                    <a:pt x="90" y="55"/>
                    <a:pt x="90" y="54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84" name="Rectangle 83"/>
          <p:cNvSpPr/>
          <p:nvPr/>
        </p:nvSpPr>
        <p:spPr>
          <a:xfrm>
            <a:off x="5500390" y="338623"/>
            <a:ext cx="2988332" cy="2178289"/>
          </a:xfrm>
          <a:prstGeom prst="rect">
            <a:avLst/>
          </a:prstGeom>
        </p:spPr>
        <p:txBody>
          <a:bodyPr wrap="square" lIns="54864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28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Xxxxx</a:t>
            </a:r>
            <a:r>
              <a:rPr lang="en-US" sz="2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pPr>
              <a:lnSpc>
                <a:spcPct val="95000"/>
              </a:lnSpc>
              <a:spcAft>
                <a:spcPts val="600"/>
              </a:spcAft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 </a:t>
            </a:r>
            <a:r>
              <a:rPr lang="en-US" sz="1100" dirty="0" err="1"/>
              <a:t>Xx</a:t>
            </a:r>
            <a:r>
              <a:rPr lang="en-US" sz="1100" dirty="0"/>
              <a:t> </a:t>
            </a:r>
            <a:r>
              <a:rPr lang="en-US" sz="1100" dirty="0" err="1"/>
              <a:t>xxxxxxxxx</a:t>
            </a:r>
            <a:r>
              <a:rPr lang="en-US" sz="1100" dirty="0"/>
              <a:t> x xxx Xx </a:t>
            </a:r>
            <a:r>
              <a:rPr lang="en-US" sz="1100" dirty="0" err="1"/>
              <a:t>xx</a:t>
            </a:r>
            <a:r>
              <a:rPr lang="en-US" sz="1100" dirty="0"/>
              <a:t> xxx x </a:t>
            </a:r>
            <a:r>
              <a:rPr lang="en-US" sz="1100" dirty="0" err="1"/>
              <a:t>xxxxxx</a:t>
            </a:r>
            <a:r>
              <a:rPr lang="en-US" sz="1100" dirty="0"/>
              <a:t> xxx </a:t>
            </a:r>
            <a:r>
              <a:rPr lang="en-US" sz="1100" dirty="0" err="1"/>
              <a:t>xxxxxxx</a:t>
            </a:r>
            <a:r>
              <a:rPr lang="en-US" sz="1100" dirty="0"/>
              <a:t> xx </a:t>
            </a:r>
            <a:r>
              <a:rPr lang="en-US" sz="1100" dirty="0" err="1"/>
              <a:t>xxxxxxxxx</a:t>
            </a:r>
            <a:r>
              <a:rPr lang="en-US" sz="1100" dirty="0"/>
              <a:t> x xx </a:t>
            </a:r>
            <a:r>
              <a:rPr lang="en-US" sz="1100" dirty="0" err="1"/>
              <a:t>xxxxxxxxxxxxxxxxxxx</a:t>
            </a:r>
            <a:r>
              <a:rPr lang="en-US" sz="1100" dirty="0"/>
              <a:t> xx </a:t>
            </a:r>
            <a:r>
              <a:rPr lang="en-US" sz="1100" dirty="0" err="1"/>
              <a:t>Xxxxxxxxx</a:t>
            </a:r>
            <a:r>
              <a:rPr lang="en-US" sz="1100" dirty="0"/>
              <a:t> </a:t>
            </a:r>
            <a:r>
              <a:rPr lang="en-US" sz="1100" dirty="0" err="1"/>
              <a:t>xxxxxxxxxx</a:t>
            </a:r>
            <a:r>
              <a:rPr lang="en-US" sz="1100" dirty="0"/>
              <a:t> x xxx </a:t>
            </a:r>
            <a:r>
              <a:rPr lang="en-US" sz="1100" dirty="0" err="1"/>
              <a:t>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xxxxxxxx</a:t>
            </a:r>
            <a:r>
              <a:rPr lang="en-US" sz="1100" dirty="0"/>
              <a:t> xxx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</a:t>
            </a:r>
            <a:r>
              <a:rPr lang="en-US" sz="1100" dirty="0"/>
              <a:t> x xxx x </a:t>
            </a:r>
            <a:r>
              <a:rPr lang="en-US" sz="1100" dirty="0" err="1"/>
              <a:t>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x</a:t>
            </a:r>
            <a:r>
              <a:rPr lang="en-US" sz="1100" dirty="0"/>
              <a:t> x </a:t>
            </a:r>
            <a:r>
              <a:rPr lang="en-US" sz="1100" dirty="0" err="1"/>
              <a:t>xxxx</a:t>
            </a:r>
            <a:r>
              <a:rPr lang="en-US" sz="1100" dirty="0"/>
              <a:t> xx x </a:t>
            </a:r>
            <a:r>
              <a:rPr lang="en-US" sz="1100" dirty="0" err="1"/>
              <a:t>xxxx</a:t>
            </a:r>
            <a:r>
              <a:rPr lang="en-US" sz="1100" dirty="0"/>
              <a:t> xxx </a:t>
            </a:r>
            <a:r>
              <a:rPr lang="en-US" sz="1100" dirty="0" err="1"/>
              <a:t>xxx</a:t>
            </a:r>
            <a:r>
              <a:rPr lang="en-US" sz="1100" dirty="0"/>
              <a:t> xx Xxx x </a:t>
            </a:r>
            <a:r>
              <a:rPr lang="en-US" sz="1100" dirty="0" err="1"/>
              <a:t>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x xxx </a:t>
            </a:r>
            <a:r>
              <a:rPr lang="en-US" sz="1100" dirty="0" err="1"/>
              <a:t>xxx</a:t>
            </a:r>
            <a:r>
              <a:rPr lang="en-US" sz="1100" dirty="0"/>
              <a:t> x xx </a:t>
            </a:r>
            <a:r>
              <a:rPr lang="en-US" sz="1100" dirty="0" err="1"/>
              <a:t>Xxxxxxx</a:t>
            </a:r>
            <a:r>
              <a:rPr lang="en-US" sz="1100" dirty="0"/>
              <a:t> xx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Xx x </a:t>
            </a:r>
            <a:r>
              <a:rPr lang="en-US" sz="1100" dirty="0" err="1"/>
              <a:t>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x</a:t>
            </a:r>
            <a:r>
              <a:rPr lang="en-US" sz="1100" dirty="0"/>
              <a:t> xx x </a:t>
            </a:r>
            <a:r>
              <a:rPr lang="en-US" sz="1100" dirty="0" err="1"/>
              <a:t>xxxxxxx</a:t>
            </a:r>
            <a:r>
              <a:rPr lang="en-US" sz="1100" dirty="0"/>
              <a:t> x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xx</a:t>
            </a:r>
            <a:r>
              <a:rPr lang="en-US" sz="1100" dirty="0"/>
              <a:t> xxx </a:t>
            </a:r>
            <a:r>
              <a:rPr lang="en-US" sz="1100" dirty="0" err="1"/>
              <a:t>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</a:t>
            </a:r>
            <a:r>
              <a:rPr lang="en-US" sz="1100" dirty="0" err="1"/>
              <a:t>xxxxxx</a:t>
            </a:r>
            <a:r>
              <a:rPr lang="en-US" sz="1100" dirty="0"/>
              <a:t> </a:t>
            </a:r>
            <a:r>
              <a:rPr lang="en-US" sz="1100" dirty="0" err="1"/>
              <a:t>x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</a:t>
            </a:r>
            <a:r>
              <a:rPr lang="en-US" sz="1100" dirty="0" err="1"/>
              <a:t>xxxxxxx</a:t>
            </a:r>
            <a:r>
              <a:rPr lang="en-US" sz="1100" dirty="0"/>
              <a:t> </a:t>
            </a:r>
            <a:r>
              <a:rPr lang="en-US" sz="1100" dirty="0" err="1"/>
              <a:t>xxxxxxxxx</a:t>
            </a:r>
            <a:r>
              <a:rPr lang="en-US" sz="1100" dirty="0"/>
              <a:t> xx </a:t>
            </a:r>
            <a:endParaRPr lang="en-US" sz="11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7" name="Oval 96"/>
          <p:cNvSpPr/>
          <p:nvPr/>
        </p:nvSpPr>
        <p:spPr>
          <a:xfrm>
            <a:off x="3196123" y="4429476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8" name="Oval 97"/>
          <p:cNvSpPr/>
          <p:nvPr/>
        </p:nvSpPr>
        <p:spPr>
          <a:xfrm>
            <a:off x="2501827" y="2320728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9" name="Oval 98"/>
          <p:cNvSpPr/>
          <p:nvPr/>
        </p:nvSpPr>
        <p:spPr>
          <a:xfrm>
            <a:off x="1602843" y="358677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1" name="Oval 100"/>
          <p:cNvSpPr/>
          <p:nvPr/>
        </p:nvSpPr>
        <p:spPr>
          <a:xfrm>
            <a:off x="3632325" y="696286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5" name="Freeform 5"/>
          <p:cNvSpPr>
            <a:spLocks noChangeAspect="1" noEditPoints="1"/>
          </p:cNvSpPr>
          <p:nvPr/>
        </p:nvSpPr>
        <p:spPr bwMode="auto">
          <a:xfrm>
            <a:off x="5587059" y="3835254"/>
            <a:ext cx="284453" cy="566854"/>
          </a:xfrm>
          <a:custGeom>
            <a:avLst/>
            <a:gdLst>
              <a:gd name="T0" fmla="*/ 116 w 117"/>
              <a:gd name="T1" fmla="*/ 130 h 233"/>
              <a:gd name="T2" fmla="*/ 93 w 117"/>
              <a:gd name="T3" fmla="*/ 63 h 233"/>
              <a:gd name="T4" fmla="*/ 24 w 117"/>
              <a:gd name="T5" fmla="*/ 63 h 233"/>
              <a:gd name="T6" fmla="*/ 1 w 117"/>
              <a:gd name="T7" fmla="*/ 130 h 233"/>
              <a:gd name="T8" fmla="*/ 7 w 117"/>
              <a:gd name="T9" fmla="*/ 140 h 233"/>
              <a:gd name="T10" fmla="*/ 18 w 117"/>
              <a:gd name="T11" fmla="*/ 136 h 233"/>
              <a:gd name="T12" fmla="*/ 30 w 117"/>
              <a:gd name="T13" fmla="*/ 223 h 233"/>
              <a:gd name="T14" fmla="*/ 41 w 117"/>
              <a:gd name="T15" fmla="*/ 233 h 233"/>
              <a:gd name="T16" fmla="*/ 59 w 117"/>
              <a:gd name="T17" fmla="*/ 165 h 233"/>
              <a:gd name="T18" fmla="*/ 76 w 117"/>
              <a:gd name="T19" fmla="*/ 233 h 233"/>
              <a:gd name="T20" fmla="*/ 87 w 117"/>
              <a:gd name="T21" fmla="*/ 224 h 233"/>
              <a:gd name="T22" fmla="*/ 84 w 117"/>
              <a:gd name="T23" fmla="*/ 101 h 233"/>
              <a:gd name="T24" fmla="*/ 107 w 117"/>
              <a:gd name="T25" fmla="*/ 141 h 233"/>
              <a:gd name="T26" fmla="*/ 116 w 117"/>
              <a:gd name="T27" fmla="*/ 130 h 233"/>
              <a:gd name="T28" fmla="*/ 104 w 117"/>
              <a:gd name="T29" fmla="*/ 134 h 233"/>
              <a:gd name="T30" fmla="*/ 80 w 117"/>
              <a:gd name="T31" fmla="*/ 87 h 233"/>
              <a:gd name="T32" fmla="*/ 80 w 117"/>
              <a:gd name="T33" fmla="*/ 157 h 233"/>
              <a:gd name="T34" fmla="*/ 82 w 117"/>
              <a:gd name="T35" fmla="*/ 218 h 233"/>
              <a:gd name="T36" fmla="*/ 82 w 117"/>
              <a:gd name="T37" fmla="*/ 223 h 233"/>
              <a:gd name="T38" fmla="*/ 76 w 117"/>
              <a:gd name="T39" fmla="*/ 230 h 233"/>
              <a:gd name="T40" fmla="*/ 70 w 117"/>
              <a:gd name="T41" fmla="*/ 223 h 233"/>
              <a:gd name="T42" fmla="*/ 59 w 117"/>
              <a:gd name="T43" fmla="*/ 143 h 233"/>
              <a:gd name="T44" fmla="*/ 47 w 117"/>
              <a:gd name="T45" fmla="*/ 223 h 233"/>
              <a:gd name="T46" fmla="*/ 35 w 117"/>
              <a:gd name="T47" fmla="*/ 223 h 233"/>
              <a:gd name="T48" fmla="*/ 35 w 117"/>
              <a:gd name="T49" fmla="*/ 218 h 233"/>
              <a:gd name="T50" fmla="*/ 37 w 117"/>
              <a:gd name="T51" fmla="*/ 157 h 233"/>
              <a:gd name="T52" fmla="*/ 37 w 117"/>
              <a:gd name="T53" fmla="*/ 87 h 233"/>
              <a:gd name="T54" fmla="*/ 13 w 117"/>
              <a:gd name="T55" fmla="*/ 134 h 233"/>
              <a:gd name="T56" fmla="*/ 9 w 117"/>
              <a:gd name="T57" fmla="*/ 136 h 233"/>
              <a:gd name="T58" fmla="*/ 6 w 117"/>
              <a:gd name="T59" fmla="*/ 131 h 233"/>
              <a:gd name="T60" fmla="*/ 8 w 117"/>
              <a:gd name="T61" fmla="*/ 123 h 233"/>
              <a:gd name="T62" fmla="*/ 59 w 117"/>
              <a:gd name="T63" fmla="*/ 54 h 233"/>
              <a:gd name="T64" fmla="*/ 109 w 117"/>
              <a:gd name="T65" fmla="*/ 123 h 233"/>
              <a:gd name="T66" fmla="*/ 111 w 117"/>
              <a:gd name="T67" fmla="*/ 131 h 233"/>
              <a:gd name="T68" fmla="*/ 109 w 117"/>
              <a:gd name="T69" fmla="*/ 136 h 233"/>
              <a:gd name="T70" fmla="*/ 81 w 117"/>
              <a:gd name="T71" fmla="*/ 22 h 233"/>
              <a:gd name="T72" fmla="*/ 36 w 117"/>
              <a:gd name="T73" fmla="*/ 22 h 233"/>
              <a:gd name="T74" fmla="*/ 59 w 117"/>
              <a:gd name="T75" fmla="*/ 4 h 233"/>
              <a:gd name="T76" fmla="*/ 59 w 117"/>
              <a:gd name="T77" fmla="*/ 39 h 233"/>
              <a:gd name="T78" fmla="*/ 59 w 117"/>
              <a:gd name="T79" fmla="*/ 4 h 2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17" h="233">
                <a:moveTo>
                  <a:pt x="116" y="130"/>
                </a:moveTo>
                <a:cubicBezTo>
                  <a:pt x="116" y="130"/>
                  <a:pt x="116" y="130"/>
                  <a:pt x="116" y="130"/>
                </a:cubicBezTo>
                <a:cubicBezTo>
                  <a:pt x="116" y="129"/>
                  <a:pt x="115" y="126"/>
                  <a:pt x="113" y="122"/>
                </a:cubicBezTo>
                <a:cubicBezTo>
                  <a:pt x="108" y="105"/>
                  <a:pt x="96" y="69"/>
                  <a:pt x="93" y="63"/>
                </a:cubicBezTo>
                <a:cubicBezTo>
                  <a:pt x="88" y="53"/>
                  <a:pt x="78" y="49"/>
                  <a:pt x="59" y="49"/>
                </a:cubicBezTo>
                <a:cubicBezTo>
                  <a:pt x="39" y="49"/>
                  <a:pt x="29" y="53"/>
                  <a:pt x="24" y="63"/>
                </a:cubicBezTo>
                <a:cubicBezTo>
                  <a:pt x="21" y="69"/>
                  <a:pt x="9" y="105"/>
                  <a:pt x="4" y="122"/>
                </a:cubicBezTo>
                <a:cubicBezTo>
                  <a:pt x="3" y="126"/>
                  <a:pt x="1" y="129"/>
                  <a:pt x="1" y="130"/>
                </a:cubicBezTo>
                <a:cubicBezTo>
                  <a:pt x="1" y="130"/>
                  <a:pt x="1" y="130"/>
                  <a:pt x="1" y="130"/>
                </a:cubicBezTo>
                <a:cubicBezTo>
                  <a:pt x="0" y="134"/>
                  <a:pt x="3" y="139"/>
                  <a:pt x="7" y="140"/>
                </a:cubicBezTo>
                <a:cubicBezTo>
                  <a:pt x="8" y="141"/>
                  <a:pt x="9" y="141"/>
                  <a:pt x="10" y="141"/>
                </a:cubicBezTo>
                <a:cubicBezTo>
                  <a:pt x="13" y="141"/>
                  <a:pt x="16" y="139"/>
                  <a:pt x="18" y="136"/>
                </a:cubicBezTo>
                <a:cubicBezTo>
                  <a:pt x="33" y="101"/>
                  <a:pt x="33" y="101"/>
                  <a:pt x="33" y="101"/>
                </a:cubicBezTo>
                <a:cubicBezTo>
                  <a:pt x="32" y="148"/>
                  <a:pt x="31" y="220"/>
                  <a:pt x="30" y="223"/>
                </a:cubicBezTo>
                <a:cubicBezTo>
                  <a:pt x="30" y="223"/>
                  <a:pt x="30" y="223"/>
                  <a:pt x="30" y="224"/>
                </a:cubicBezTo>
                <a:cubicBezTo>
                  <a:pt x="31" y="229"/>
                  <a:pt x="35" y="233"/>
                  <a:pt x="41" y="233"/>
                </a:cubicBezTo>
                <a:cubicBezTo>
                  <a:pt x="47" y="233"/>
                  <a:pt x="51" y="229"/>
                  <a:pt x="52" y="224"/>
                </a:cubicBezTo>
                <a:cubicBezTo>
                  <a:pt x="59" y="165"/>
                  <a:pt x="59" y="165"/>
                  <a:pt x="59" y="165"/>
                </a:cubicBezTo>
                <a:cubicBezTo>
                  <a:pt x="65" y="224"/>
                  <a:pt x="65" y="224"/>
                  <a:pt x="65" y="224"/>
                </a:cubicBezTo>
                <a:cubicBezTo>
                  <a:pt x="66" y="229"/>
                  <a:pt x="71" y="233"/>
                  <a:pt x="76" y="233"/>
                </a:cubicBezTo>
                <a:cubicBezTo>
                  <a:pt x="76" y="233"/>
                  <a:pt x="76" y="233"/>
                  <a:pt x="76" y="233"/>
                </a:cubicBezTo>
                <a:cubicBezTo>
                  <a:pt x="82" y="233"/>
                  <a:pt x="86" y="229"/>
                  <a:pt x="87" y="224"/>
                </a:cubicBezTo>
                <a:cubicBezTo>
                  <a:pt x="87" y="223"/>
                  <a:pt x="87" y="223"/>
                  <a:pt x="87" y="223"/>
                </a:cubicBezTo>
                <a:cubicBezTo>
                  <a:pt x="87" y="220"/>
                  <a:pt x="85" y="148"/>
                  <a:pt x="84" y="101"/>
                </a:cubicBezTo>
                <a:cubicBezTo>
                  <a:pt x="99" y="136"/>
                  <a:pt x="99" y="136"/>
                  <a:pt x="99" y="136"/>
                </a:cubicBezTo>
                <a:cubicBezTo>
                  <a:pt x="101" y="139"/>
                  <a:pt x="104" y="141"/>
                  <a:pt x="107" y="141"/>
                </a:cubicBezTo>
                <a:cubicBezTo>
                  <a:pt x="108" y="141"/>
                  <a:pt x="109" y="141"/>
                  <a:pt x="110" y="140"/>
                </a:cubicBezTo>
                <a:cubicBezTo>
                  <a:pt x="114" y="139"/>
                  <a:pt x="117" y="134"/>
                  <a:pt x="116" y="130"/>
                </a:cubicBezTo>
                <a:close/>
                <a:moveTo>
                  <a:pt x="109" y="136"/>
                </a:moveTo>
                <a:cubicBezTo>
                  <a:pt x="107" y="136"/>
                  <a:pt x="104" y="136"/>
                  <a:pt x="104" y="134"/>
                </a:cubicBezTo>
                <a:cubicBezTo>
                  <a:pt x="83" y="89"/>
                  <a:pt x="83" y="89"/>
                  <a:pt x="83" y="89"/>
                </a:cubicBezTo>
                <a:cubicBezTo>
                  <a:pt x="83" y="88"/>
                  <a:pt x="82" y="87"/>
                  <a:pt x="80" y="87"/>
                </a:cubicBezTo>
                <a:cubicBezTo>
                  <a:pt x="79" y="88"/>
                  <a:pt x="79" y="89"/>
                  <a:pt x="79" y="90"/>
                </a:cubicBezTo>
                <a:cubicBezTo>
                  <a:pt x="79" y="90"/>
                  <a:pt x="79" y="123"/>
                  <a:pt x="80" y="157"/>
                </a:cubicBezTo>
                <a:cubicBezTo>
                  <a:pt x="81" y="173"/>
                  <a:pt x="81" y="190"/>
                  <a:pt x="81" y="203"/>
                </a:cubicBezTo>
                <a:cubicBezTo>
                  <a:pt x="82" y="209"/>
                  <a:pt x="82" y="214"/>
                  <a:pt x="82" y="218"/>
                </a:cubicBezTo>
                <a:cubicBezTo>
                  <a:pt x="82" y="221"/>
                  <a:pt x="82" y="222"/>
                  <a:pt x="82" y="223"/>
                </a:cubicBezTo>
                <a:cubicBezTo>
                  <a:pt x="82" y="223"/>
                  <a:pt x="82" y="223"/>
                  <a:pt x="82" y="223"/>
                </a:cubicBezTo>
                <a:cubicBezTo>
                  <a:pt x="82" y="226"/>
                  <a:pt x="79" y="228"/>
                  <a:pt x="76" y="228"/>
                </a:cubicBezTo>
                <a:cubicBezTo>
                  <a:pt x="76" y="230"/>
                  <a:pt x="76" y="230"/>
                  <a:pt x="76" y="230"/>
                </a:cubicBezTo>
                <a:cubicBezTo>
                  <a:pt x="76" y="228"/>
                  <a:pt x="76" y="228"/>
                  <a:pt x="76" y="228"/>
                </a:cubicBezTo>
                <a:cubicBezTo>
                  <a:pt x="73" y="228"/>
                  <a:pt x="70" y="226"/>
                  <a:pt x="70" y="223"/>
                </a:cubicBezTo>
                <a:cubicBezTo>
                  <a:pt x="61" y="145"/>
                  <a:pt x="61" y="145"/>
                  <a:pt x="61" y="145"/>
                </a:cubicBezTo>
                <a:cubicBezTo>
                  <a:pt x="61" y="143"/>
                  <a:pt x="60" y="143"/>
                  <a:pt x="59" y="143"/>
                </a:cubicBezTo>
                <a:cubicBezTo>
                  <a:pt x="57" y="143"/>
                  <a:pt x="56" y="143"/>
                  <a:pt x="56" y="145"/>
                </a:cubicBezTo>
                <a:cubicBezTo>
                  <a:pt x="47" y="223"/>
                  <a:pt x="47" y="223"/>
                  <a:pt x="47" y="223"/>
                </a:cubicBezTo>
                <a:cubicBezTo>
                  <a:pt x="47" y="226"/>
                  <a:pt x="44" y="228"/>
                  <a:pt x="41" y="228"/>
                </a:cubicBezTo>
                <a:cubicBezTo>
                  <a:pt x="38" y="228"/>
                  <a:pt x="35" y="226"/>
                  <a:pt x="35" y="223"/>
                </a:cubicBezTo>
                <a:cubicBezTo>
                  <a:pt x="35" y="223"/>
                  <a:pt x="35" y="222"/>
                  <a:pt x="35" y="222"/>
                </a:cubicBezTo>
                <a:cubicBezTo>
                  <a:pt x="35" y="221"/>
                  <a:pt x="35" y="220"/>
                  <a:pt x="35" y="218"/>
                </a:cubicBezTo>
                <a:cubicBezTo>
                  <a:pt x="35" y="214"/>
                  <a:pt x="35" y="209"/>
                  <a:pt x="36" y="203"/>
                </a:cubicBezTo>
                <a:cubicBezTo>
                  <a:pt x="36" y="190"/>
                  <a:pt x="36" y="173"/>
                  <a:pt x="37" y="157"/>
                </a:cubicBezTo>
                <a:cubicBezTo>
                  <a:pt x="38" y="123"/>
                  <a:pt x="38" y="90"/>
                  <a:pt x="38" y="90"/>
                </a:cubicBezTo>
                <a:cubicBezTo>
                  <a:pt x="38" y="89"/>
                  <a:pt x="38" y="88"/>
                  <a:pt x="37" y="87"/>
                </a:cubicBezTo>
                <a:cubicBezTo>
                  <a:pt x="36" y="87"/>
                  <a:pt x="34" y="88"/>
                  <a:pt x="34" y="89"/>
                </a:cubicBezTo>
                <a:cubicBezTo>
                  <a:pt x="13" y="134"/>
                  <a:pt x="13" y="134"/>
                  <a:pt x="13" y="134"/>
                </a:cubicBezTo>
                <a:cubicBezTo>
                  <a:pt x="13" y="135"/>
                  <a:pt x="12" y="136"/>
                  <a:pt x="10" y="136"/>
                </a:cubicBezTo>
                <a:cubicBezTo>
                  <a:pt x="10" y="136"/>
                  <a:pt x="9" y="136"/>
                  <a:pt x="9" y="136"/>
                </a:cubicBezTo>
                <a:cubicBezTo>
                  <a:pt x="6" y="135"/>
                  <a:pt x="5" y="133"/>
                  <a:pt x="6" y="131"/>
                </a:cubicBezTo>
                <a:cubicBezTo>
                  <a:pt x="6" y="131"/>
                  <a:pt x="6" y="131"/>
                  <a:pt x="6" y="131"/>
                </a:cubicBezTo>
                <a:cubicBezTo>
                  <a:pt x="6" y="131"/>
                  <a:pt x="6" y="130"/>
                  <a:pt x="6" y="129"/>
                </a:cubicBezTo>
                <a:cubicBezTo>
                  <a:pt x="7" y="128"/>
                  <a:pt x="8" y="126"/>
                  <a:pt x="8" y="123"/>
                </a:cubicBezTo>
                <a:cubicBezTo>
                  <a:pt x="13" y="108"/>
                  <a:pt x="25" y="71"/>
                  <a:pt x="28" y="65"/>
                </a:cubicBezTo>
                <a:cubicBezTo>
                  <a:pt x="31" y="59"/>
                  <a:pt x="37" y="54"/>
                  <a:pt x="59" y="54"/>
                </a:cubicBezTo>
                <a:cubicBezTo>
                  <a:pt x="80" y="54"/>
                  <a:pt x="86" y="59"/>
                  <a:pt x="89" y="65"/>
                </a:cubicBezTo>
                <a:cubicBezTo>
                  <a:pt x="92" y="71"/>
                  <a:pt x="104" y="108"/>
                  <a:pt x="109" y="123"/>
                </a:cubicBezTo>
                <a:cubicBezTo>
                  <a:pt x="110" y="126"/>
                  <a:pt x="110" y="128"/>
                  <a:pt x="111" y="129"/>
                </a:cubicBezTo>
                <a:cubicBezTo>
                  <a:pt x="111" y="130"/>
                  <a:pt x="111" y="131"/>
                  <a:pt x="111" y="131"/>
                </a:cubicBezTo>
                <a:cubicBezTo>
                  <a:pt x="111" y="131"/>
                  <a:pt x="111" y="131"/>
                  <a:pt x="111" y="131"/>
                </a:cubicBezTo>
                <a:cubicBezTo>
                  <a:pt x="112" y="133"/>
                  <a:pt x="111" y="135"/>
                  <a:pt x="109" y="136"/>
                </a:cubicBezTo>
                <a:close/>
                <a:moveTo>
                  <a:pt x="59" y="44"/>
                </a:moveTo>
                <a:cubicBezTo>
                  <a:pt x="71" y="44"/>
                  <a:pt x="81" y="34"/>
                  <a:pt x="81" y="22"/>
                </a:cubicBezTo>
                <a:cubicBezTo>
                  <a:pt x="81" y="10"/>
                  <a:pt x="71" y="0"/>
                  <a:pt x="59" y="0"/>
                </a:cubicBezTo>
                <a:cubicBezTo>
                  <a:pt x="46" y="0"/>
                  <a:pt x="36" y="10"/>
                  <a:pt x="36" y="22"/>
                </a:cubicBezTo>
                <a:cubicBezTo>
                  <a:pt x="36" y="34"/>
                  <a:pt x="46" y="44"/>
                  <a:pt x="59" y="44"/>
                </a:cubicBezTo>
                <a:close/>
                <a:moveTo>
                  <a:pt x="59" y="4"/>
                </a:moveTo>
                <a:cubicBezTo>
                  <a:pt x="68" y="4"/>
                  <a:pt x="76" y="12"/>
                  <a:pt x="76" y="22"/>
                </a:cubicBezTo>
                <a:cubicBezTo>
                  <a:pt x="76" y="31"/>
                  <a:pt x="68" y="39"/>
                  <a:pt x="59" y="39"/>
                </a:cubicBezTo>
                <a:cubicBezTo>
                  <a:pt x="49" y="39"/>
                  <a:pt x="41" y="31"/>
                  <a:pt x="41" y="22"/>
                </a:cubicBezTo>
                <a:cubicBezTo>
                  <a:pt x="41" y="12"/>
                  <a:pt x="49" y="4"/>
                  <a:pt x="59" y="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86" name="Freeform 6"/>
          <p:cNvSpPr>
            <a:spLocks noChangeAspect="1" noEditPoints="1"/>
          </p:cNvSpPr>
          <p:nvPr/>
        </p:nvSpPr>
        <p:spPr bwMode="auto">
          <a:xfrm>
            <a:off x="5587058" y="3133163"/>
            <a:ext cx="282060" cy="566854"/>
          </a:xfrm>
          <a:custGeom>
            <a:avLst/>
            <a:gdLst>
              <a:gd name="T0" fmla="*/ 80 w 116"/>
              <a:gd name="T1" fmla="*/ 22 h 233"/>
              <a:gd name="T2" fmla="*/ 36 w 116"/>
              <a:gd name="T3" fmla="*/ 22 h 233"/>
              <a:gd name="T4" fmla="*/ 58 w 116"/>
              <a:gd name="T5" fmla="*/ 5 h 233"/>
              <a:gd name="T6" fmla="*/ 58 w 116"/>
              <a:gd name="T7" fmla="*/ 40 h 233"/>
              <a:gd name="T8" fmla="*/ 58 w 116"/>
              <a:gd name="T9" fmla="*/ 5 h 233"/>
              <a:gd name="T10" fmla="*/ 115 w 116"/>
              <a:gd name="T11" fmla="*/ 130 h 233"/>
              <a:gd name="T12" fmla="*/ 93 w 116"/>
              <a:gd name="T13" fmla="*/ 63 h 233"/>
              <a:gd name="T14" fmla="*/ 23 w 116"/>
              <a:gd name="T15" fmla="*/ 63 h 233"/>
              <a:gd name="T16" fmla="*/ 1 w 116"/>
              <a:gd name="T17" fmla="*/ 130 h 233"/>
              <a:gd name="T18" fmla="*/ 6 w 116"/>
              <a:gd name="T19" fmla="*/ 140 h 233"/>
              <a:gd name="T20" fmla="*/ 17 w 116"/>
              <a:gd name="T21" fmla="*/ 136 h 233"/>
              <a:gd name="T22" fmla="*/ 18 w 116"/>
              <a:gd name="T23" fmla="*/ 170 h 233"/>
              <a:gd name="T24" fmla="*/ 21 w 116"/>
              <a:gd name="T25" fmla="*/ 172 h 233"/>
              <a:gd name="T26" fmla="*/ 30 w 116"/>
              <a:gd name="T27" fmla="*/ 223 h 233"/>
              <a:gd name="T28" fmla="*/ 40 w 116"/>
              <a:gd name="T29" fmla="*/ 233 h 233"/>
              <a:gd name="T30" fmla="*/ 57 w 116"/>
              <a:gd name="T31" fmla="*/ 172 h 233"/>
              <a:gd name="T32" fmla="*/ 65 w 116"/>
              <a:gd name="T33" fmla="*/ 224 h 233"/>
              <a:gd name="T34" fmla="*/ 76 w 116"/>
              <a:gd name="T35" fmla="*/ 233 h 233"/>
              <a:gd name="T36" fmla="*/ 86 w 116"/>
              <a:gd name="T37" fmla="*/ 223 h 233"/>
              <a:gd name="T38" fmla="*/ 95 w 116"/>
              <a:gd name="T39" fmla="*/ 172 h 233"/>
              <a:gd name="T40" fmla="*/ 98 w 116"/>
              <a:gd name="T41" fmla="*/ 169 h 233"/>
              <a:gd name="T42" fmla="*/ 99 w 116"/>
              <a:gd name="T43" fmla="*/ 136 h 233"/>
              <a:gd name="T44" fmla="*/ 107 w 116"/>
              <a:gd name="T45" fmla="*/ 141 h 233"/>
              <a:gd name="T46" fmla="*/ 115 w 116"/>
              <a:gd name="T47" fmla="*/ 130 h 233"/>
              <a:gd name="T48" fmla="*/ 107 w 116"/>
              <a:gd name="T49" fmla="*/ 136 h 233"/>
              <a:gd name="T50" fmla="*/ 103 w 116"/>
              <a:gd name="T51" fmla="*/ 134 h 233"/>
              <a:gd name="T52" fmla="*/ 81 w 116"/>
              <a:gd name="T53" fmla="*/ 87 h 233"/>
              <a:gd name="T54" fmla="*/ 93 w 116"/>
              <a:gd name="T55" fmla="*/ 168 h 233"/>
              <a:gd name="T56" fmla="*/ 81 w 116"/>
              <a:gd name="T57" fmla="*/ 168 h 233"/>
              <a:gd name="T58" fmla="*/ 81 w 116"/>
              <a:gd name="T59" fmla="*/ 197 h 233"/>
              <a:gd name="T60" fmla="*/ 82 w 116"/>
              <a:gd name="T61" fmla="*/ 223 h 233"/>
              <a:gd name="T62" fmla="*/ 76 w 116"/>
              <a:gd name="T63" fmla="*/ 228 h 233"/>
              <a:gd name="T64" fmla="*/ 76 w 116"/>
              <a:gd name="T65" fmla="*/ 228 h 233"/>
              <a:gd name="T66" fmla="*/ 63 w 116"/>
              <a:gd name="T67" fmla="*/ 170 h 233"/>
              <a:gd name="T68" fmla="*/ 55 w 116"/>
              <a:gd name="T69" fmla="*/ 168 h 233"/>
              <a:gd name="T70" fmla="*/ 46 w 116"/>
              <a:gd name="T71" fmla="*/ 223 h 233"/>
              <a:gd name="T72" fmla="*/ 34 w 116"/>
              <a:gd name="T73" fmla="*/ 223 h 233"/>
              <a:gd name="T74" fmla="*/ 35 w 116"/>
              <a:gd name="T75" fmla="*/ 221 h 233"/>
              <a:gd name="T76" fmla="*/ 35 w 116"/>
              <a:gd name="T77" fmla="*/ 197 h 233"/>
              <a:gd name="T78" fmla="*/ 35 w 116"/>
              <a:gd name="T79" fmla="*/ 168 h 233"/>
              <a:gd name="T80" fmla="*/ 23 w 116"/>
              <a:gd name="T81" fmla="*/ 168 h 233"/>
              <a:gd name="T82" fmla="*/ 35 w 116"/>
              <a:gd name="T83" fmla="*/ 87 h 233"/>
              <a:gd name="T84" fmla="*/ 13 w 116"/>
              <a:gd name="T85" fmla="*/ 134 h 233"/>
              <a:gd name="T86" fmla="*/ 5 w 116"/>
              <a:gd name="T87" fmla="*/ 131 h 233"/>
              <a:gd name="T88" fmla="*/ 6 w 116"/>
              <a:gd name="T89" fmla="*/ 129 h 233"/>
              <a:gd name="T90" fmla="*/ 28 w 116"/>
              <a:gd name="T91" fmla="*/ 65 h 233"/>
              <a:gd name="T92" fmla="*/ 88 w 116"/>
              <a:gd name="T93" fmla="*/ 65 h 233"/>
              <a:gd name="T94" fmla="*/ 110 w 116"/>
              <a:gd name="T95" fmla="*/ 129 h 233"/>
              <a:gd name="T96" fmla="*/ 111 w 116"/>
              <a:gd name="T97" fmla="*/ 131 h 2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16" h="233">
                <a:moveTo>
                  <a:pt x="58" y="44"/>
                </a:moveTo>
                <a:cubicBezTo>
                  <a:pt x="70" y="44"/>
                  <a:pt x="80" y="34"/>
                  <a:pt x="80" y="22"/>
                </a:cubicBezTo>
                <a:cubicBezTo>
                  <a:pt x="80" y="10"/>
                  <a:pt x="70" y="0"/>
                  <a:pt x="58" y="0"/>
                </a:cubicBezTo>
                <a:cubicBezTo>
                  <a:pt x="46" y="0"/>
                  <a:pt x="36" y="10"/>
                  <a:pt x="36" y="22"/>
                </a:cubicBezTo>
                <a:cubicBezTo>
                  <a:pt x="36" y="34"/>
                  <a:pt x="46" y="44"/>
                  <a:pt x="58" y="44"/>
                </a:cubicBezTo>
                <a:close/>
                <a:moveTo>
                  <a:pt x="58" y="5"/>
                </a:moveTo>
                <a:cubicBezTo>
                  <a:pt x="68" y="5"/>
                  <a:pt x="75" y="13"/>
                  <a:pt x="75" y="22"/>
                </a:cubicBezTo>
                <a:cubicBezTo>
                  <a:pt x="75" y="32"/>
                  <a:pt x="68" y="40"/>
                  <a:pt x="58" y="40"/>
                </a:cubicBezTo>
                <a:cubicBezTo>
                  <a:pt x="48" y="40"/>
                  <a:pt x="41" y="32"/>
                  <a:pt x="41" y="22"/>
                </a:cubicBezTo>
                <a:cubicBezTo>
                  <a:pt x="41" y="13"/>
                  <a:pt x="48" y="5"/>
                  <a:pt x="58" y="5"/>
                </a:cubicBezTo>
                <a:close/>
                <a:moveTo>
                  <a:pt x="115" y="130"/>
                </a:moveTo>
                <a:cubicBezTo>
                  <a:pt x="115" y="130"/>
                  <a:pt x="115" y="130"/>
                  <a:pt x="115" y="130"/>
                </a:cubicBezTo>
                <a:cubicBezTo>
                  <a:pt x="115" y="129"/>
                  <a:pt x="114" y="126"/>
                  <a:pt x="113" y="122"/>
                </a:cubicBezTo>
                <a:cubicBezTo>
                  <a:pt x="107" y="105"/>
                  <a:pt x="96" y="69"/>
                  <a:pt x="93" y="63"/>
                </a:cubicBezTo>
                <a:cubicBezTo>
                  <a:pt x="88" y="53"/>
                  <a:pt x="77" y="49"/>
                  <a:pt x="58" y="49"/>
                </a:cubicBezTo>
                <a:cubicBezTo>
                  <a:pt x="39" y="49"/>
                  <a:pt x="28" y="53"/>
                  <a:pt x="23" y="63"/>
                </a:cubicBezTo>
                <a:cubicBezTo>
                  <a:pt x="20" y="69"/>
                  <a:pt x="9" y="105"/>
                  <a:pt x="3" y="122"/>
                </a:cubicBezTo>
                <a:cubicBezTo>
                  <a:pt x="2" y="126"/>
                  <a:pt x="1" y="129"/>
                  <a:pt x="1" y="130"/>
                </a:cubicBezTo>
                <a:cubicBezTo>
                  <a:pt x="1" y="130"/>
                  <a:pt x="1" y="130"/>
                  <a:pt x="1" y="130"/>
                </a:cubicBezTo>
                <a:cubicBezTo>
                  <a:pt x="0" y="134"/>
                  <a:pt x="2" y="139"/>
                  <a:pt x="6" y="140"/>
                </a:cubicBezTo>
                <a:cubicBezTo>
                  <a:pt x="7" y="141"/>
                  <a:pt x="8" y="141"/>
                  <a:pt x="10" y="141"/>
                </a:cubicBezTo>
                <a:cubicBezTo>
                  <a:pt x="13" y="141"/>
                  <a:pt x="16" y="139"/>
                  <a:pt x="17" y="136"/>
                </a:cubicBezTo>
                <a:cubicBezTo>
                  <a:pt x="29" y="109"/>
                  <a:pt x="29" y="109"/>
                  <a:pt x="29" y="109"/>
                </a:cubicBezTo>
                <a:cubicBezTo>
                  <a:pt x="18" y="170"/>
                  <a:pt x="18" y="170"/>
                  <a:pt x="18" y="170"/>
                </a:cubicBezTo>
                <a:cubicBezTo>
                  <a:pt x="18" y="170"/>
                  <a:pt x="18" y="171"/>
                  <a:pt x="19" y="172"/>
                </a:cubicBezTo>
                <a:cubicBezTo>
                  <a:pt x="19" y="172"/>
                  <a:pt x="20" y="172"/>
                  <a:pt x="21" y="172"/>
                </a:cubicBezTo>
                <a:cubicBezTo>
                  <a:pt x="31" y="172"/>
                  <a:pt x="31" y="172"/>
                  <a:pt x="31" y="172"/>
                </a:cubicBezTo>
                <a:cubicBezTo>
                  <a:pt x="31" y="188"/>
                  <a:pt x="30" y="221"/>
                  <a:pt x="30" y="223"/>
                </a:cubicBezTo>
                <a:cubicBezTo>
                  <a:pt x="30" y="223"/>
                  <a:pt x="30" y="223"/>
                  <a:pt x="30" y="224"/>
                </a:cubicBezTo>
                <a:cubicBezTo>
                  <a:pt x="30" y="229"/>
                  <a:pt x="35" y="233"/>
                  <a:pt x="40" y="233"/>
                </a:cubicBezTo>
                <a:cubicBezTo>
                  <a:pt x="46" y="233"/>
                  <a:pt x="51" y="229"/>
                  <a:pt x="51" y="224"/>
                </a:cubicBezTo>
                <a:cubicBezTo>
                  <a:pt x="57" y="172"/>
                  <a:pt x="57" y="172"/>
                  <a:pt x="57" y="172"/>
                </a:cubicBezTo>
                <a:cubicBezTo>
                  <a:pt x="59" y="172"/>
                  <a:pt x="59" y="172"/>
                  <a:pt x="59" y="172"/>
                </a:cubicBezTo>
                <a:cubicBezTo>
                  <a:pt x="65" y="224"/>
                  <a:pt x="65" y="224"/>
                  <a:pt x="65" y="224"/>
                </a:cubicBezTo>
                <a:cubicBezTo>
                  <a:pt x="65" y="229"/>
                  <a:pt x="70" y="233"/>
                  <a:pt x="76" y="233"/>
                </a:cubicBezTo>
                <a:cubicBezTo>
                  <a:pt x="76" y="233"/>
                  <a:pt x="76" y="233"/>
                  <a:pt x="76" y="233"/>
                </a:cubicBezTo>
                <a:cubicBezTo>
                  <a:pt x="81" y="233"/>
                  <a:pt x="86" y="229"/>
                  <a:pt x="86" y="224"/>
                </a:cubicBezTo>
                <a:cubicBezTo>
                  <a:pt x="86" y="223"/>
                  <a:pt x="86" y="223"/>
                  <a:pt x="86" y="223"/>
                </a:cubicBezTo>
                <a:cubicBezTo>
                  <a:pt x="86" y="221"/>
                  <a:pt x="85" y="188"/>
                  <a:pt x="8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7" y="172"/>
                  <a:pt x="98" y="171"/>
                  <a:pt x="98" y="170"/>
                </a:cubicBezTo>
                <a:cubicBezTo>
                  <a:pt x="98" y="170"/>
                  <a:pt x="98" y="170"/>
                  <a:pt x="98" y="169"/>
                </a:cubicBezTo>
                <a:cubicBezTo>
                  <a:pt x="87" y="109"/>
                  <a:pt x="87" y="109"/>
                  <a:pt x="87" y="109"/>
                </a:cubicBezTo>
                <a:cubicBezTo>
                  <a:pt x="99" y="136"/>
                  <a:pt x="99" y="136"/>
                  <a:pt x="99" y="136"/>
                </a:cubicBezTo>
                <a:cubicBezTo>
                  <a:pt x="100" y="139"/>
                  <a:pt x="103" y="141"/>
                  <a:pt x="107" y="141"/>
                </a:cubicBezTo>
                <a:cubicBezTo>
                  <a:pt x="107" y="141"/>
                  <a:pt x="107" y="141"/>
                  <a:pt x="107" y="141"/>
                </a:cubicBezTo>
                <a:cubicBezTo>
                  <a:pt x="108" y="141"/>
                  <a:pt x="109" y="141"/>
                  <a:pt x="110" y="140"/>
                </a:cubicBezTo>
                <a:cubicBezTo>
                  <a:pt x="114" y="139"/>
                  <a:pt x="116" y="134"/>
                  <a:pt x="115" y="130"/>
                </a:cubicBezTo>
                <a:close/>
                <a:moveTo>
                  <a:pt x="108" y="136"/>
                </a:moveTo>
                <a:cubicBezTo>
                  <a:pt x="108" y="136"/>
                  <a:pt x="107" y="136"/>
                  <a:pt x="107" y="136"/>
                </a:cubicBezTo>
                <a:cubicBezTo>
                  <a:pt x="107" y="136"/>
                  <a:pt x="107" y="136"/>
                  <a:pt x="107" y="136"/>
                </a:cubicBezTo>
                <a:cubicBezTo>
                  <a:pt x="105" y="136"/>
                  <a:pt x="104" y="135"/>
                  <a:pt x="103" y="134"/>
                </a:cubicBezTo>
                <a:cubicBezTo>
                  <a:pt x="84" y="89"/>
                  <a:pt x="84" y="89"/>
                  <a:pt x="84" y="89"/>
                </a:cubicBezTo>
                <a:cubicBezTo>
                  <a:pt x="84" y="88"/>
                  <a:pt x="82" y="87"/>
                  <a:pt x="81" y="87"/>
                </a:cubicBezTo>
                <a:cubicBezTo>
                  <a:pt x="80" y="88"/>
                  <a:pt x="79" y="89"/>
                  <a:pt x="80" y="90"/>
                </a:cubicBezTo>
                <a:cubicBezTo>
                  <a:pt x="93" y="168"/>
                  <a:pt x="93" y="168"/>
                  <a:pt x="93" y="168"/>
                </a:cubicBezTo>
                <a:cubicBezTo>
                  <a:pt x="82" y="168"/>
                  <a:pt x="82" y="168"/>
                  <a:pt x="82" y="168"/>
                </a:cubicBezTo>
                <a:cubicBezTo>
                  <a:pt x="82" y="168"/>
                  <a:pt x="81" y="168"/>
                  <a:pt x="81" y="168"/>
                </a:cubicBezTo>
                <a:cubicBezTo>
                  <a:pt x="80" y="169"/>
                  <a:pt x="80" y="170"/>
                  <a:pt x="80" y="170"/>
                </a:cubicBezTo>
                <a:cubicBezTo>
                  <a:pt x="80" y="170"/>
                  <a:pt x="80" y="183"/>
                  <a:pt x="81" y="197"/>
                </a:cubicBezTo>
                <a:cubicBezTo>
                  <a:pt x="81" y="203"/>
                  <a:pt x="81" y="210"/>
                  <a:pt x="81" y="215"/>
                </a:cubicBezTo>
                <a:cubicBezTo>
                  <a:pt x="81" y="220"/>
                  <a:pt x="81" y="222"/>
                  <a:pt x="82" y="223"/>
                </a:cubicBezTo>
                <a:cubicBezTo>
                  <a:pt x="82" y="223"/>
                  <a:pt x="82" y="223"/>
                  <a:pt x="82" y="223"/>
                </a:cubicBezTo>
                <a:cubicBezTo>
                  <a:pt x="81" y="226"/>
                  <a:pt x="79" y="228"/>
                  <a:pt x="76" y="228"/>
                </a:cubicBezTo>
                <a:cubicBezTo>
                  <a:pt x="76" y="230"/>
                  <a:pt x="76" y="230"/>
                  <a:pt x="76" y="230"/>
                </a:cubicBezTo>
                <a:cubicBezTo>
                  <a:pt x="76" y="228"/>
                  <a:pt x="76" y="228"/>
                  <a:pt x="76" y="228"/>
                </a:cubicBezTo>
                <a:cubicBezTo>
                  <a:pt x="72" y="228"/>
                  <a:pt x="70" y="226"/>
                  <a:pt x="70" y="223"/>
                </a:cubicBezTo>
                <a:cubicBezTo>
                  <a:pt x="63" y="170"/>
                  <a:pt x="63" y="170"/>
                  <a:pt x="63" y="170"/>
                </a:cubicBezTo>
                <a:cubicBezTo>
                  <a:pt x="63" y="169"/>
                  <a:pt x="62" y="168"/>
                  <a:pt x="61" y="168"/>
                </a:cubicBezTo>
                <a:cubicBezTo>
                  <a:pt x="55" y="168"/>
                  <a:pt x="55" y="168"/>
                  <a:pt x="55" y="168"/>
                </a:cubicBezTo>
                <a:cubicBezTo>
                  <a:pt x="54" y="168"/>
                  <a:pt x="53" y="169"/>
                  <a:pt x="53" y="170"/>
                </a:cubicBezTo>
                <a:cubicBezTo>
                  <a:pt x="46" y="223"/>
                  <a:pt x="46" y="223"/>
                  <a:pt x="46" y="223"/>
                </a:cubicBezTo>
                <a:cubicBezTo>
                  <a:pt x="46" y="226"/>
                  <a:pt x="44" y="228"/>
                  <a:pt x="40" y="228"/>
                </a:cubicBezTo>
                <a:cubicBezTo>
                  <a:pt x="37" y="228"/>
                  <a:pt x="35" y="226"/>
                  <a:pt x="34" y="223"/>
                </a:cubicBezTo>
                <a:cubicBezTo>
                  <a:pt x="34" y="223"/>
                  <a:pt x="34" y="223"/>
                  <a:pt x="34" y="223"/>
                </a:cubicBezTo>
                <a:cubicBezTo>
                  <a:pt x="35" y="223"/>
                  <a:pt x="35" y="222"/>
                  <a:pt x="35" y="221"/>
                </a:cubicBezTo>
                <a:cubicBezTo>
                  <a:pt x="35" y="220"/>
                  <a:pt x="35" y="218"/>
                  <a:pt x="35" y="215"/>
                </a:cubicBezTo>
                <a:cubicBezTo>
                  <a:pt x="35" y="210"/>
                  <a:pt x="35" y="203"/>
                  <a:pt x="35" y="197"/>
                </a:cubicBezTo>
                <a:cubicBezTo>
                  <a:pt x="36" y="184"/>
                  <a:pt x="36" y="170"/>
                  <a:pt x="36" y="170"/>
                </a:cubicBezTo>
                <a:cubicBezTo>
                  <a:pt x="36" y="170"/>
                  <a:pt x="36" y="169"/>
                  <a:pt x="35" y="168"/>
                </a:cubicBezTo>
                <a:cubicBezTo>
                  <a:pt x="35" y="168"/>
                  <a:pt x="34" y="168"/>
                  <a:pt x="34" y="168"/>
                </a:cubicBezTo>
                <a:cubicBezTo>
                  <a:pt x="23" y="168"/>
                  <a:pt x="23" y="168"/>
                  <a:pt x="23" y="168"/>
                </a:cubicBezTo>
                <a:cubicBezTo>
                  <a:pt x="36" y="90"/>
                  <a:pt x="36" y="90"/>
                  <a:pt x="36" y="90"/>
                </a:cubicBezTo>
                <a:cubicBezTo>
                  <a:pt x="37" y="89"/>
                  <a:pt x="36" y="88"/>
                  <a:pt x="35" y="87"/>
                </a:cubicBezTo>
                <a:cubicBezTo>
                  <a:pt x="34" y="87"/>
                  <a:pt x="32" y="88"/>
                  <a:pt x="32" y="89"/>
                </a:cubicBezTo>
                <a:cubicBezTo>
                  <a:pt x="13" y="134"/>
                  <a:pt x="13" y="134"/>
                  <a:pt x="13" y="134"/>
                </a:cubicBezTo>
                <a:cubicBezTo>
                  <a:pt x="12" y="136"/>
                  <a:pt x="10" y="136"/>
                  <a:pt x="8" y="136"/>
                </a:cubicBezTo>
                <a:cubicBezTo>
                  <a:pt x="6" y="135"/>
                  <a:pt x="5" y="133"/>
                  <a:pt x="5" y="131"/>
                </a:cubicBezTo>
                <a:cubicBezTo>
                  <a:pt x="5" y="131"/>
                  <a:pt x="5" y="131"/>
                  <a:pt x="5" y="131"/>
                </a:cubicBezTo>
                <a:cubicBezTo>
                  <a:pt x="5" y="131"/>
                  <a:pt x="6" y="130"/>
                  <a:pt x="6" y="129"/>
                </a:cubicBezTo>
                <a:cubicBezTo>
                  <a:pt x="6" y="128"/>
                  <a:pt x="7" y="126"/>
                  <a:pt x="8" y="123"/>
                </a:cubicBezTo>
                <a:cubicBezTo>
                  <a:pt x="13" y="108"/>
                  <a:pt x="25" y="71"/>
                  <a:pt x="28" y="65"/>
                </a:cubicBezTo>
                <a:cubicBezTo>
                  <a:pt x="30" y="59"/>
                  <a:pt x="36" y="54"/>
                  <a:pt x="58" y="54"/>
                </a:cubicBezTo>
                <a:cubicBezTo>
                  <a:pt x="80" y="54"/>
                  <a:pt x="86" y="59"/>
                  <a:pt x="88" y="65"/>
                </a:cubicBezTo>
                <a:cubicBezTo>
                  <a:pt x="91" y="71"/>
                  <a:pt x="103" y="108"/>
                  <a:pt x="108" y="123"/>
                </a:cubicBezTo>
                <a:cubicBezTo>
                  <a:pt x="109" y="126"/>
                  <a:pt x="110" y="128"/>
                  <a:pt x="110" y="129"/>
                </a:cubicBezTo>
                <a:cubicBezTo>
                  <a:pt x="111" y="130"/>
                  <a:pt x="111" y="131"/>
                  <a:pt x="111" y="131"/>
                </a:cubicBezTo>
                <a:cubicBezTo>
                  <a:pt x="111" y="131"/>
                  <a:pt x="111" y="131"/>
                  <a:pt x="111" y="131"/>
                </a:cubicBezTo>
                <a:cubicBezTo>
                  <a:pt x="111" y="133"/>
                  <a:pt x="110" y="135"/>
                  <a:pt x="108" y="13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87" name="TextBox 86"/>
          <p:cNvSpPr txBox="1"/>
          <p:nvPr/>
        </p:nvSpPr>
        <p:spPr>
          <a:xfrm>
            <a:off x="5900945" y="3831890"/>
            <a:ext cx="1664238" cy="6265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2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5%</a:t>
            </a:r>
          </a:p>
          <a:p>
            <a:pPr>
              <a:lnSpc>
                <a:spcPct val="89000"/>
              </a:lnSpc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5904148" y="3123434"/>
            <a:ext cx="1664238" cy="6265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2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5%</a:t>
            </a:r>
          </a:p>
          <a:p>
            <a:pPr>
              <a:lnSpc>
                <a:spcPct val="89000"/>
              </a:lnSpc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7B2B651-3FDD-744B-A69D-6407CF55AD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6928512-C016-F845-890E-F40F4E037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4105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98" grpId="0" animBg="1"/>
      <p:bldP spid="99" grpId="0" animBg="1"/>
      <p:bldP spid="101" grpId="0" animBg="1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547949" y="250246"/>
            <a:ext cx="8035843" cy="4215535"/>
            <a:chOff x="762" y="1755"/>
            <a:chExt cx="4362" cy="2567"/>
          </a:xfrm>
          <a:solidFill>
            <a:schemeClr val="accent1"/>
          </a:solidFill>
        </p:grpSpPr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1229" y="2907"/>
              <a:ext cx="31" cy="31"/>
            </a:xfrm>
            <a:custGeom>
              <a:avLst/>
              <a:gdLst>
                <a:gd name="T0" fmla="*/ 3 w 15"/>
                <a:gd name="T1" fmla="*/ 1 h 15"/>
                <a:gd name="T2" fmla="*/ 6 w 15"/>
                <a:gd name="T3" fmla="*/ 6 h 15"/>
                <a:gd name="T4" fmla="*/ 9 w 15"/>
                <a:gd name="T5" fmla="*/ 0 h 15"/>
                <a:gd name="T6" fmla="*/ 15 w 15"/>
                <a:gd name="T7" fmla="*/ 7 h 15"/>
                <a:gd name="T8" fmla="*/ 8 w 15"/>
                <a:gd name="T9" fmla="*/ 15 h 15"/>
                <a:gd name="T10" fmla="*/ 0 w 15"/>
                <a:gd name="T11" fmla="*/ 7 h 15"/>
                <a:gd name="T12" fmla="*/ 3 w 15"/>
                <a:gd name="T13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5">
                  <a:moveTo>
                    <a:pt x="3" y="1"/>
                  </a:moveTo>
                  <a:cubicBezTo>
                    <a:pt x="5" y="3"/>
                    <a:pt x="5" y="5"/>
                    <a:pt x="6" y="6"/>
                  </a:cubicBezTo>
                  <a:cubicBezTo>
                    <a:pt x="6" y="7"/>
                    <a:pt x="11" y="4"/>
                    <a:pt x="9" y="0"/>
                  </a:cubicBezTo>
                  <a:cubicBezTo>
                    <a:pt x="12" y="0"/>
                    <a:pt x="15" y="4"/>
                    <a:pt x="15" y="7"/>
                  </a:cubicBezTo>
                  <a:cubicBezTo>
                    <a:pt x="15" y="11"/>
                    <a:pt x="12" y="15"/>
                    <a:pt x="8" y="15"/>
                  </a:cubicBezTo>
                  <a:cubicBezTo>
                    <a:pt x="4" y="15"/>
                    <a:pt x="0" y="11"/>
                    <a:pt x="0" y="7"/>
                  </a:cubicBezTo>
                  <a:cubicBezTo>
                    <a:pt x="0" y="5"/>
                    <a:pt x="2" y="3"/>
                    <a:pt x="3" y="1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4234" y="2453"/>
              <a:ext cx="421" cy="565"/>
            </a:xfrm>
            <a:custGeom>
              <a:avLst/>
              <a:gdLst>
                <a:gd name="T0" fmla="*/ 193 w 202"/>
                <a:gd name="T1" fmla="*/ 56 h 271"/>
                <a:gd name="T2" fmla="*/ 200 w 202"/>
                <a:gd name="T3" fmla="*/ 95 h 271"/>
                <a:gd name="T4" fmla="*/ 181 w 202"/>
                <a:gd name="T5" fmla="*/ 88 h 271"/>
                <a:gd name="T6" fmla="*/ 164 w 202"/>
                <a:gd name="T7" fmla="*/ 88 h 271"/>
                <a:gd name="T8" fmla="*/ 155 w 202"/>
                <a:gd name="T9" fmla="*/ 104 h 271"/>
                <a:gd name="T10" fmla="*/ 154 w 202"/>
                <a:gd name="T11" fmla="*/ 124 h 271"/>
                <a:gd name="T12" fmla="*/ 164 w 202"/>
                <a:gd name="T13" fmla="*/ 144 h 271"/>
                <a:gd name="T14" fmla="*/ 167 w 202"/>
                <a:gd name="T15" fmla="*/ 169 h 271"/>
                <a:gd name="T16" fmla="*/ 176 w 202"/>
                <a:gd name="T17" fmla="*/ 184 h 271"/>
                <a:gd name="T18" fmla="*/ 193 w 202"/>
                <a:gd name="T19" fmla="*/ 181 h 271"/>
                <a:gd name="T20" fmla="*/ 187 w 202"/>
                <a:gd name="T21" fmla="*/ 198 h 271"/>
                <a:gd name="T22" fmla="*/ 178 w 202"/>
                <a:gd name="T23" fmla="*/ 213 h 271"/>
                <a:gd name="T24" fmla="*/ 163 w 202"/>
                <a:gd name="T25" fmla="*/ 231 h 271"/>
                <a:gd name="T26" fmla="*/ 161 w 202"/>
                <a:gd name="T27" fmla="*/ 217 h 271"/>
                <a:gd name="T28" fmla="*/ 147 w 202"/>
                <a:gd name="T29" fmla="*/ 227 h 271"/>
                <a:gd name="T30" fmla="*/ 127 w 202"/>
                <a:gd name="T31" fmla="*/ 241 h 271"/>
                <a:gd name="T32" fmla="*/ 130 w 202"/>
                <a:gd name="T33" fmla="*/ 255 h 271"/>
                <a:gd name="T34" fmla="*/ 113 w 202"/>
                <a:gd name="T35" fmla="*/ 269 h 271"/>
                <a:gd name="T36" fmla="*/ 103 w 202"/>
                <a:gd name="T37" fmla="*/ 260 h 271"/>
                <a:gd name="T38" fmla="*/ 89 w 202"/>
                <a:gd name="T39" fmla="*/ 260 h 271"/>
                <a:gd name="T40" fmla="*/ 74 w 202"/>
                <a:gd name="T41" fmla="*/ 266 h 271"/>
                <a:gd name="T42" fmla="*/ 75 w 202"/>
                <a:gd name="T43" fmla="*/ 253 h 271"/>
                <a:gd name="T44" fmla="*/ 75 w 202"/>
                <a:gd name="T45" fmla="*/ 245 h 271"/>
                <a:gd name="T46" fmla="*/ 59 w 202"/>
                <a:gd name="T47" fmla="*/ 230 h 271"/>
                <a:gd name="T48" fmla="*/ 36 w 202"/>
                <a:gd name="T49" fmla="*/ 238 h 271"/>
                <a:gd name="T50" fmla="*/ 30 w 202"/>
                <a:gd name="T51" fmla="*/ 227 h 271"/>
                <a:gd name="T52" fmla="*/ 10 w 202"/>
                <a:gd name="T53" fmla="*/ 208 h 271"/>
                <a:gd name="T54" fmla="*/ 4 w 202"/>
                <a:gd name="T55" fmla="*/ 189 h 271"/>
                <a:gd name="T56" fmla="*/ 7 w 202"/>
                <a:gd name="T57" fmla="*/ 176 h 271"/>
                <a:gd name="T58" fmla="*/ 18 w 202"/>
                <a:gd name="T59" fmla="*/ 171 h 271"/>
                <a:gd name="T60" fmla="*/ 9 w 202"/>
                <a:gd name="T61" fmla="*/ 159 h 271"/>
                <a:gd name="T62" fmla="*/ 22 w 202"/>
                <a:gd name="T63" fmla="*/ 149 h 271"/>
                <a:gd name="T64" fmla="*/ 30 w 202"/>
                <a:gd name="T65" fmla="*/ 142 h 271"/>
                <a:gd name="T66" fmla="*/ 39 w 202"/>
                <a:gd name="T67" fmla="*/ 131 h 271"/>
                <a:gd name="T68" fmla="*/ 48 w 202"/>
                <a:gd name="T69" fmla="*/ 119 h 271"/>
                <a:gd name="T70" fmla="*/ 34 w 202"/>
                <a:gd name="T71" fmla="*/ 101 h 271"/>
                <a:gd name="T72" fmla="*/ 25 w 202"/>
                <a:gd name="T73" fmla="*/ 79 h 271"/>
                <a:gd name="T74" fmla="*/ 25 w 202"/>
                <a:gd name="T75" fmla="*/ 69 h 271"/>
                <a:gd name="T76" fmla="*/ 29 w 202"/>
                <a:gd name="T77" fmla="*/ 61 h 271"/>
                <a:gd name="T78" fmla="*/ 38 w 202"/>
                <a:gd name="T79" fmla="*/ 51 h 271"/>
                <a:gd name="T80" fmla="*/ 50 w 202"/>
                <a:gd name="T81" fmla="*/ 43 h 271"/>
                <a:gd name="T82" fmla="*/ 50 w 202"/>
                <a:gd name="T83" fmla="*/ 26 h 271"/>
                <a:gd name="T84" fmla="*/ 55 w 202"/>
                <a:gd name="T85" fmla="*/ 17 h 271"/>
                <a:gd name="T86" fmla="*/ 72 w 202"/>
                <a:gd name="T87" fmla="*/ 27 h 271"/>
                <a:gd name="T88" fmla="*/ 94 w 202"/>
                <a:gd name="T89" fmla="*/ 24 h 271"/>
                <a:gd name="T90" fmla="*/ 109 w 202"/>
                <a:gd name="T91" fmla="*/ 14 h 271"/>
                <a:gd name="T92" fmla="*/ 131 w 202"/>
                <a:gd name="T93" fmla="*/ 2 h 271"/>
                <a:gd name="T94" fmla="*/ 139 w 202"/>
                <a:gd name="T95" fmla="*/ 16 h 271"/>
                <a:gd name="T96" fmla="*/ 147 w 202"/>
                <a:gd name="T97" fmla="*/ 20 h 271"/>
                <a:gd name="T98" fmla="*/ 157 w 202"/>
                <a:gd name="T99" fmla="*/ 32 h 271"/>
                <a:gd name="T100" fmla="*/ 174 w 202"/>
                <a:gd name="T101" fmla="*/ 35 h 271"/>
                <a:gd name="T102" fmla="*/ 179 w 202"/>
                <a:gd name="T103" fmla="*/ 52 h 271"/>
                <a:gd name="T104" fmla="*/ 187 w 202"/>
                <a:gd name="T105" fmla="*/ 54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2" h="271">
                  <a:moveTo>
                    <a:pt x="193" y="55"/>
                  </a:moveTo>
                  <a:cubicBezTo>
                    <a:pt x="193" y="55"/>
                    <a:pt x="193" y="55"/>
                    <a:pt x="193" y="56"/>
                  </a:cubicBezTo>
                  <a:cubicBezTo>
                    <a:pt x="194" y="58"/>
                    <a:pt x="199" y="80"/>
                    <a:pt x="200" y="84"/>
                  </a:cubicBezTo>
                  <a:cubicBezTo>
                    <a:pt x="201" y="89"/>
                    <a:pt x="202" y="94"/>
                    <a:pt x="200" y="95"/>
                  </a:cubicBezTo>
                  <a:cubicBezTo>
                    <a:pt x="199" y="95"/>
                    <a:pt x="195" y="89"/>
                    <a:pt x="192" y="90"/>
                  </a:cubicBezTo>
                  <a:cubicBezTo>
                    <a:pt x="189" y="92"/>
                    <a:pt x="184" y="91"/>
                    <a:pt x="181" y="88"/>
                  </a:cubicBezTo>
                  <a:cubicBezTo>
                    <a:pt x="178" y="86"/>
                    <a:pt x="175" y="76"/>
                    <a:pt x="171" y="78"/>
                  </a:cubicBezTo>
                  <a:cubicBezTo>
                    <a:pt x="168" y="81"/>
                    <a:pt x="166" y="88"/>
                    <a:pt x="164" y="88"/>
                  </a:cubicBezTo>
                  <a:cubicBezTo>
                    <a:pt x="162" y="88"/>
                    <a:pt x="160" y="90"/>
                    <a:pt x="158" y="93"/>
                  </a:cubicBezTo>
                  <a:cubicBezTo>
                    <a:pt x="156" y="95"/>
                    <a:pt x="158" y="101"/>
                    <a:pt x="155" y="104"/>
                  </a:cubicBezTo>
                  <a:cubicBezTo>
                    <a:pt x="152" y="107"/>
                    <a:pt x="151" y="109"/>
                    <a:pt x="151" y="114"/>
                  </a:cubicBezTo>
                  <a:cubicBezTo>
                    <a:pt x="152" y="118"/>
                    <a:pt x="149" y="119"/>
                    <a:pt x="154" y="124"/>
                  </a:cubicBezTo>
                  <a:cubicBezTo>
                    <a:pt x="160" y="128"/>
                    <a:pt x="159" y="129"/>
                    <a:pt x="160" y="133"/>
                  </a:cubicBezTo>
                  <a:cubicBezTo>
                    <a:pt x="160" y="137"/>
                    <a:pt x="161" y="140"/>
                    <a:pt x="164" y="144"/>
                  </a:cubicBezTo>
                  <a:cubicBezTo>
                    <a:pt x="166" y="149"/>
                    <a:pt x="163" y="151"/>
                    <a:pt x="163" y="155"/>
                  </a:cubicBezTo>
                  <a:cubicBezTo>
                    <a:pt x="162" y="159"/>
                    <a:pt x="164" y="164"/>
                    <a:pt x="167" y="169"/>
                  </a:cubicBezTo>
                  <a:cubicBezTo>
                    <a:pt x="170" y="173"/>
                    <a:pt x="171" y="175"/>
                    <a:pt x="171" y="178"/>
                  </a:cubicBezTo>
                  <a:cubicBezTo>
                    <a:pt x="171" y="182"/>
                    <a:pt x="175" y="184"/>
                    <a:pt x="176" y="184"/>
                  </a:cubicBezTo>
                  <a:cubicBezTo>
                    <a:pt x="178" y="184"/>
                    <a:pt x="181" y="181"/>
                    <a:pt x="182" y="178"/>
                  </a:cubicBezTo>
                  <a:cubicBezTo>
                    <a:pt x="182" y="174"/>
                    <a:pt x="191" y="175"/>
                    <a:pt x="193" y="181"/>
                  </a:cubicBezTo>
                  <a:cubicBezTo>
                    <a:pt x="194" y="186"/>
                    <a:pt x="189" y="186"/>
                    <a:pt x="187" y="189"/>
                  </a:cubicBezTo>
                  <a:cubicBezTo>
                    <a:pt x="186" y="193"/>
                    <a:pt x="191" y="197"/>
                    <a:pt x="187" y="198"/>
                  </a:cubicBezTo>
                  <a:cubicBezTo>
                    <a:pt x="183" y="199"/>
                    <a:pt x="180" y="200"/>
                    <a:pt x="179" y="203"/>
                  </a:cubicBezTo>
                  <a:cubicBezTo>
                    <a:pt x="178" y="206"/>
                    <a:pt x="178" y="209"/>
                    <a:pt x="178" y="213"/>
                  </a:cubicBezTo>
                  <a:cubicBezTo>
                    <a:pt x="177" y="216"/>
                    <a:pt x="173" y="214"/>
                    <a:pt x="172" y="218"/>
                  </a:cubicBezTo>
                  <a:cubicBezTo>
                    <a:pt x="171" y="223"/>
                    <a:pt x="168" y="231"/>
                    <a:pt x="163" y="231"/>
                  </a:cubicBezTo>
                  <a:cubicBezTo>
                    <a:pt x="158" y="230"/>
                    <a:pt x="155" y="228"/>
                    <a:pt x="158" y="224"/>
                  </a:cubicBezTo>
                  <a:cubicBezTo>
                    <a:pt x="161" y="221"/>
                    <a:pt x="165" y="217"/>
                    <a:pt x="161" y="217"/>
                  </a:cubicBezTo>
                  <a:cubicBezTo>
                    <a:pt x="158" y="217"/>
                    <a:pt x="155" y="216"/>
                    <a:pt x="150" y="219"/>
                  </a:cubicBezTo>
                  <a:cubicBezTo>
                    <a:pt x="145" y="222"/>
                    <a:pt x="152" y="227"/>
                    <a:pt x="147" y="227"/>
                  </a:cubicBezTo>
                  <a:cubicBezTo>
                    <a:pt x="142" y="227"/>
                    <a:pt x="133" y="229"/>
                    <a:pt x="130" y="232"/>
                  </a:cubicBezTo>
                  <a:cubicBezTo>
                    <a:pt x="127" y="235"/>
                    <a:pt x="126" y="236"/>
                    <a:pt x="127" y="241"/>
                  </a:cubicBezTo>
                  <a:cubicBezTo>
                    <a:pt x="128" y="246"/>
                    <a:pt x="131" y="245"/>
                    <a:pt x="129" y="247"/>
                  </a:cubicBezTo>
                  <a:cubicBezTo>
                    <a:pt x="127" y="249"/>
                    <a:pt x="136" y="251"/>
                    <a:pt x="130" y="255"/>
                  </a:cubicBezTo>
                  <a:cubicBezTo>
                    <a:pt x="125" y="259"/>
                    <a:pt x="121" y="255"/>
                    <a:pt x="120" y="260"/>
                  </a:cubicBezTo>
                  <a:cubicBezTo>
                    <a:pt x="119" y="265"/>
                    <a:pt x="117" y="266"/>
                    <a:pt x="113" y="269"/>
                  </a:cubicBezTo>
                  <a:cubicBezTo>
                    <a:pt x="111" y="270"/>
                    <a:pt x="110" y="271"/>
                    <a:pt x="108" y="271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89" y="260"/>
                    <a:pt x="89" y="260"/>
                    <a:pt x="89" y="260"/>
                  </a:cubicBezTo>
                  <a:cubicBezTo>
                    <a:pt x="81" y="268"/>
                    <a:pt x="81" y="268"/>
                    <a:pt x="81" y="268"/>
                  </a:cubicBezTo>
                  <a:cubicBezTo>
                    <a:pt x="74" y="266"/>
                    <a:pt x="74" y="266"/>
                    <a:pt x="74" y="26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5" y="253"/>
                    <a:pt x="75" y="253"/>
                    <a:pt x="75" y="253"/>
                  </a:cubicBezTo>
                  <a:cubicBezTo>
                    <a:pt x="80" y="251"/>
                    <a:pt x="80" y="251"/>
                    <a:pt x="80" y="251"/>
                  </a:cubicBezTo>
                  <a:cubicBezTo>
                    <a:pt x="75" y="245"/>
                    <a:pt x="75" y="245"/>
                    <a:pt x="75" y="245"/>
                  </a:cubicBezTo>
                  <a:cubicBezTo>
                    <a:pt x="75" y="240"/>
                    <a:pt x="75" y="240"/>
                    <a:pt x="75" y="240"/>
                  </a:cubicBezTo>
                  <a:cubicBezTo>
                    <a:pt x="59" y="230"/>
                    <a:pt x="59" y="230"/>
                    <a:pt x="59" y="230"/>
                  </a:cubicBezTo>
                  <a:cubicBezTo>
                    <a:pt x="44" y="229"/>
                    <a:pt x="44" y="229"/>
                    <a:pt x="44" y="229"/>
                  </a:cubicBezTo>
                  <a:cubicBezTo>
                    <a:pt x="36" y="238"/>
                    <a:pt x="36" y="238"/>
                    <a:pt x="36" y="238"/>
                  </a:cubicBezTo>
                  <a:cubicBezTo>
                    <a:pt x="32" y="238"/>
                    <a:pt x="32" y="238"/>
                    <a:pt x="32" y="238"/>
                  </a:cubicBezTo>
                  <a:cubicBezTo>
                    <a:pt x="30" y="227"/>
                    <a:pt x="30" y="227"/>
                    <a:pt x="30" y="227"/>
                  </a:cubicBezTo>
                  <a:cubicBezTo>
                    <a:pt x="21" y="220"/>
                    <a:pt x="21" y="220"/>
                    <a:pt x="21" y="220"/>
                  </a:cubicBezTo>
                  <a:cubicBezTo>
                    <a:pt x="10" y="208"/>
                    <a:pt x="10" y="208"/>
                    <a:pt x="10" y="208"/>
                  </a:cubicBezTo>
                  <a:cubicBezTo>
                    <a:pt x="5" y="197"/>
                    <a:pt x="5" y="197"/>
                    <a:pt x="5" y="197"/>
                  </a:cubicBezTo>
                  <a:cubicBezTo>
                    <a:pt x="4" y="189"/>
                    <a:pt x="4" y="189"/>
                    <a:pt x="4" y="189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7" y="176"/>
                    <a:pt x="7" y="176"/>
                    <a:pt x="7" y="176"/>
                  </a:cubicBezTo>
                  <a:cubicBezTo>
                    <a:pt x="15" y="172"/>
                    <a:pt x="15" y="172"/>
                    <a:pt x="15" y="172"/>
                  </a:cubicBezTo>
                  <a:cubicBezTo>
                    <a:pt x="18" y="171"/>
                    <a:pt x="18" y="171"/>
                    <a:pt x="18" y="171"/>
                  </a:cubicBezTo>
                  <a:cubicBezTo>
                    <a:pt x="22" y="165"/>
                    <a:pt x="22" y="165"/>
                    <a:pt x="22" y="165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15" y="154"/>
                    <a:pt x="15" y="154"/>
                    <a:pt x="15" y="154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3" y="141"/>
                    <a:pt x="23" y="141"/>
                    <a:pt x="23" y="141"/>
                  </a:cubicBezTo>
                  <a:cubicBezTo>
                    <a:pt x="30" y="142"/>
                    <a:pt x="30" y="142"/>
                    <a:pt x="30" y="142"/>
                  </a:cubicBezTo>
                  <a:cubicBezTo>
                    <a:pt x="37" y="142"/>
                    <a:pt x="37" y="142"/>
                    <a:pt x="37" y="142"/>
                  </a:cubicBezTo>
                  <a:cubicBezTo>
                    <a:pt x="39" y="131"/>
                    <a:pt x="39" y="131"/>
                    <a:pt x="39" y="131"/>
                  </a:cubicBezTo>
                  <a:cubicBezTo>
                    <a:pt x="42" y="122"/>
                    <a:pt x="42" y="122"/>
                    <a:pt x="42" y="122"/>
                  </a:cubicBezTo>
                  <a:cubicBezTo>
                    <a:pt x="48" y="119"/>
                    <a:pt x="48" y="119"/>
                    <a:pt x="48" y="119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94" y="24"/>
                    <a:pt x="94" y="24"/>
                    <a:pt x="94" y="24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39" y="16"/>
                    <a:pt x="139" y="16"/>
                    <a:pt x="139" y="16"/>
                  </a:cubicBezTo>
                  <a:cubicBezTo>
                    <a:pt x="140" y="20"/>
                    <a:pt x="140" y="20"/>
                    <a:pt x="140" y="20"/>
                  </a:cubicBezTo>
                  <a:cubicBezTo>
                    <a:pt x="147" y="20"/>
                    <a:pt x="147" y="20"/>
                    <a:pt x="147" y="20"/>
                  </a:cubicBezTo>
                  <a:cubicBezTo>
                    <a:pt x="154" y="27"/>
                    <a:pt x="154" y="27"/>
                    <a:pt x="154" y="27"/>
                  </a:cubicBezTo>
                  <a:cubicBezTo>
                    <a:pt x="157" y="32"/>
                    <a:pt x="157" y="32"/>
                    <a:pt x="157" y="32"/>
                  </a:cubicBezTo>
                  <a:cubicBezTo>
                    <a:pt x="166" y="37"/>
                    <a:pt x="166" y="37"/>
                    <a:pt x="166" y="37"/>
                  </a:cubicBezTo>
                  <a:cubicBezTo>
                    <a:pt x="174" y="35"/>
                    <a:pt x="174" y="35"/>
                    <a:pt x="174" y="35"/>
                  </a:cubicBezTo>
                  <a:cubicBezTo>
                    <a:pt x="177" y="41"/>
                    <a:pt x="177" y="41"/>
                    <a:pt x="177" y="41"/>
                  </a:cubicBezTo>
                  <a:cubicBezTo>
                    <a:pt x="179" y="52"/>
                    <a:pt x="179" y="52"/>
                    <a:pt x="179" y="52"/>
                  </a:cubicBezTo>
                  <a:cubicBezTo>
                    <a:pt x="187" y="50"/>
                    <a:pt x="187" y="50"/>
                    <a:pt x="187" y="50"/>
                  </a:cubicBezTo>
                  <a:cubicBezTo>
                    <a:pt x="187" y="54"/>
                    <a:pt x="187" y="54"/>
                    <a:pt x="187" y="54"/>
                  </a:cubicBezTo>
                  <a:lnTo>
                    <a:pt x="193" y="55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4574" y="3326"/>
              <a:ext cx="375" cy="409"/>
            </a:xfrm>
            <a:custGeom>
              <a:avLst/>
              <a:gdLst>
                <a:gd name="T0" fmla="*/ 1 w 180"/>
                <a:gd name="T1" fmla="*/ 5 h 196"/>
                <a:gd name="T2" fmla="*/ 7 w 180"/>
                <a:gd name="T3" fmla="*/ 13 h 196"/>
                <a:gd name="T4" fmla="*/ 15 w 180"/>
                <a:gd name="T5" fmla="*/ 20 h 196"/>
                <a:gd name="T6" fmla="*/ 16 w 180"/>
                <a:gd name="T7" fmla="*/ 27 h 196"/>
                <a:gd name="T8" fmla="*/ 11 w 180"/>
                <a:gd name="T9" fmla="*/ 37 h 196"/>
                <a:gd name="T10" fmla="*/ 22 w 180"/>
                <a:gd name="T11" fmla="*/ 47 h 196"/>
                <a:gd name="T12" fmla="*/ 38 w 180"/>
                <a:gd name="T13" fmla="*/ 68 h 196"/>
                <a:gd name="T14" fmla="*/ 58 w 180"/>
                <a:gd name="T15" fmla="*/ 74 h 196"/>
                <a:gd name="T16" fmla="*/ 66 w 180"/>
                <a:gd name="T17" fmla="*/ 89 h 196"/>
                <a:gd name="T18" fmla="*/ 83 w 180"/>
                <a:gd name="T19" fmla="*/ 104 h 196"/>
                <a:gd name="T20" fmla="*/ 103 w 180"/>
                <a:gd name="T21" fmla="*/ 133 h 196"/>
                <a:gd name="T22" fmla="*/ 116 w 180"/>
                <a:gd name="T23" fmla="*/ 141 h 196"/>
                <a:gd name="T24" fmla="*/ 127 w 180"/>
                <a:gd name="T25" fmla="*/ 156 h 196"/>
                <a:gd name="T26" fmla="*/ 136 w 180"/>
                <a:gd name="T27" fmla="*/ 166 h 196"/>
                <a:gd name="T28" fmla="*/ 143 w 180"/>
                <a:gd name="T29" fmla="*/ 179 h 196"/>
                <a:gd name="T30" fmla="*/ 159 w 180"/>
                <a:gd name="T31" fmla="*/ 193 h 196"/>
                <a:gd name="T32" fmla="*/ 162 w 180"/>
                <a:gd name="T33" fmla="*/ 186 h 196"/>
                <a:gd name="T34" fmla="*/ 155 w 180"/>
                <a:gd name="T35" fmla="*/ 172 h 196"/>
                <a:gd name="T36" fmla="*/ 161 w 180"/>
                <a:gd name="T37" fmla="*/ 167 h 196"/>
                <a:gd name="T38" fmla="*/ 166 w 180"/>
                <a:gd name="T39" fmla="*/ 163 h 196"/>
                <a:gd name="T40" fmla="*/ 178 w 180"/>
                <a:gd name="T41" fmla="*/ 168 h 196"/>
                <a:gd name="T42" fmla="*/ 170 w 180"/>
                <a:gd name="T43" fmla="*/ 156 h 196"/>
                <a:gd name="T44" fmla="*/ 162 w 180"/>
                <a:gd name="T45" fmla="*/ 158 h 196"/>
                <a:gd name="T46" fmla="*/ 153 w 180"/>
                <a:gd name="T47" fmla="*/ 152 h 196"/>
                <a:gd name="T48" fmla="*/ 138 w 180"/>
                <a:gd name="T49" fmla="*/ 150 h 196"/>
                <a:gd name="T50" fmla="*/ 124 w 180"/>
                <a:gd name="T51" fmla="*/ 133 h 196"/>
                <a:gd name="T52" fmla="*/ 114 w 180"/>
                <a:gd name="T53" fmla="*/ 114 h 196"/>
                <a:gd name="T54" fmla="*/ 114 w 180"/>
                <a:gd name="T55" fmla="*/ 100 h 196"/>
                <a:gd name="T56" fmla="*/ 128 w 180"/>
                <a:gd name="T57" fmla="*/ 94 h 196"/>
                <a:gd name="T58" fmla="*/ 137 w 180"/>
                <a:gd name="T59" fmla="*/ 95 h 196"/>
                <a:gd name="T60" fmla="*/ 120 w 180"/>
                <a:gd name="T61" fmla="*/ 88 h 196"/>
                <a:gd name="T62" fmla="*/ 74 w 180"/>
                <a:gd name="T63" fmla="*/ 58 h 196"/>
                <a:gd name="T64" fmla="*/ 61 w 180"/>
                <a:gd name="T65" fmla="*/ 50 h 196"/>
                <a:gd name="T66" fmla="*/ 51 w 180"/>
                <a:gd name="T67" fmla="*/ 42 h 196"/>
                <a:gd name="T68" fmla="*/ 43 w 180"/>
                <a:gd name="T69" fmla="*/ 30 h 196"/>
                <a:gd name="T70" fmla="*/ 25 w 180"/>
                <a:gd name="T71" fmla="*/ 16 h 196"/>
                <a:gd name="T72" fmla="*/ 12 w 180"/>
                <a:gd name="T73" fmla="*/ 7 h 196"/>
                <a:gd name="T74" fmla="*/ 5 w 180"/>
                <a:gd name="T75" fmla="*/ 0 h 196"/>
                <a:gd name="T76" fmla="*/ 1 w 180"/>
                <a:gd name="T77" fmla="*/ 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0" h="196">
                  <a:moveTo>
                    <a:pt x="1" y="5"/>
                  </a:moveTo>
                  <a:cubicBezTo>
                    <a:pt x="0" y="7"/>
                    <a:pt x="3" y="13"/>
                    <a:pt x="7" y="13"/>
                  </a:cubicBezTo>
                  <a:cubicBezTo>
                    <a:pt x="10" y="13"/>
                    <a:pt x="12" y="15"/>
                    <a:pt x="15" y="20"/>
                  </a:cubicBezTo>
                  <a:cubicBezTo>
                    <a:pt x="18" y="24"/>
                    <a:pt x="20" y="27"/>
                    <a:pt x="16" y="27"/>
                  </a:cubicBezTo>
                  <a:cubicBezTo>
                    <a:pt x="12" y="27"/>
                    <a:pt x="9" y="33"/>
                    <a:pt x="11" y="37"/>
                  </a:cubicBezTo>
                  <a:cubicBezTo>
                    <a:pt x="13" y="41"/>
                    <a:pt x="20" y="44"/>
                    <a:pt x="22" y="47"/>
                  </a:cubicBezTo>
                  <a:cubicBezTo>
                    <a:pt x="25" y="50"/>
                    <a:pt x="33" y="64"/>
                    <a:pt x="38" y="68"/>
                  </a:cubicBezTo>
                  <a:cubicBezTo>
                    <a:pt x="42" y="72"/>
                    <a:pt x="51" y="70"/>
                    <a:pt x="58" y="74"/>
                  </a:cubicBezTo>
                  <a:cubicBezTo>
                    <a:pt x="64" y="77"/>
                    <a:pt x="65" y="84"/>
                    <a:pt x="66" y="89"/>
                  </a:cubicBezTo>
                  <a:cubicBezTo>
                    <a:pt x="67" y="95"/>
                    <a:pt x="79" y="99"/>
                    <a:pt x="83" y="104"/>
                  </a:cubicBezTo>
                  <a:cubicBezTo>
                    <a:pt x="87" y="108"/>
                    <a:pt x="101" y="128"/>
                    <a:pt x="103" y="133"/>
                  </a:cubicBezTo>
                  <a:cubicBezTo>
                    <a:pt x="105" y="139"/>
                    <a:pt x="112" y="138"/>
                    <a:pt x="116" y="141"/>
                  </a:cubicBezTo>
                  <a:cubicBezTo>
                    <a:pt x="121" y="143"/>
                    <a:pt x="126" y="153"/>
                    <a:pt x="127" y="156"/>
                  </a:cubicBezTo>
                  <a:cubicBezTo>
                    <a:pt x="128" y="160"/>
                    <a:pt x="132" y="162"/>
                    <a:pt x="136" y="166"/>
                  </a:cubicBezTo>
                  <a:cubicBezTo>
                    <a:pt x="141" y="170"/>
                    <a:pt x="142" y="172"/>
                    <a:pt x="143" y="179"/>
                  </a:cubicBezTo>
                  <a:cubicBezTo>
                    <a:pt x="143" y="187"/>
                    <a:pt x="155" y="190"/>
                    <a:pt x="159" y="193"/>
                  </a:cubicBezTo>
                  <a:cubicBezTo>
                    <a:pt x="162" y="196"/>
                    <a:pt x="165" y="189"/>
                    <a:pt x="162" y="186"/>
                  </a:cubicBezTo>
                  <a:cubicBezTo>
                    <a:pt x="160" y="183"/>
                    <a:pt x="155" y="175"/>
                    <a:pt x="155" y="172"/>
                  </a:cubicBezTo>
                  <a:cubicBezTo>
                    <a:pt x="155" y="168"/>
                    <a:pt x="158" y="167"/>
                    <a:pt x="161" y="167"/>
                  </a:cubicBezTo>
                  <a:cubicBezTo>
                    <a:pt x="163" y="166"/>
                    <a:pt x="161" y="162"/>
                    <a:pt x="166" y="163"/>
                  </a:cubicBezTo>
                  <a:cubicBezTo>
                    <a:pt x="172" y="164"/>
                    <a:pt x="177" y="172"/>
                    <a:pt x="178" y="168"/>
                  </a:cubicBezTo>
                  <a:cubicBezTo>
                    <a:pt x="180" y="164"/>
                    <a:pt x="172" y="159"/>
                    <a:pt x="170" y="156"/>
                  </a:cubicBezTo>
                  <a:cubicBezTo>
                    <a:pt x="167" y="153"/>
                    <a:pt x="165" y="160"/>
                    <a:pt x="162" y="158"/>
                  </a:cubicBezTo>
                  <a:cubicBezTo>
                    <a:pt x="159" y="156"/>
                    <a:pt x="155" y="154"/>
                    <a:pt x="153" y="152"/>
                  </a:cubicBezTo>
                  <a:cubicBezTo>
                    <a:pt x="151" y="150"/>
                    <a:pt x="142" y="153"/>
                    <a:pt x="138" y="150"/>
                  </a:cubicBezTo>
                  <a:cubicBezTo>
                    <a:pt x="134" y="147"/>
                    <a:pt x="128" y="139"/>
                    <a:pt x="124" y="133"/>
                  </a:cubicBezTo>
                  <a:cubicBezTo>
                    <a:pt x="119" y="127"/>
                    <a:pt x="117" y="119"/>
                    <a:pt x="114" y="114"/>
                  </a:cubicBezTo>
                  <a:cubicBezTo>
                    <a:pt x="112" y="109"/>
                    <a:pt x="111" y="103"/>
                    <a:pt x="114" y="100"/>
                  </a:cubicBezTo>
                  <a:cubicBezTo>
                    <a:pt x="117" y="97"/>
                    <a:pt x="121" y="91"/>
                    <a:pt x="128" y="94"/>
                  </a:cubicBezTo>
                  <a:cubicBezTo>
                    <a:pt x="136" y="97"/>
                    <a:pt x="139" y="96"/>
                    <a:pt x="137" y="95"/>
                  </a:cubicBezTo>
                  <a:cubicBezTo>
                    <a:pt x="136" y="93"/>
                    <a:pt x="125" y="91"/>
                    <a:pt x="120" y="88"/>
                  </a:cubicBezTo>
                  <a:cubicBezTo>
                    <a:pt x="116" y="85"/>
                    <a:pt x="78" y="62"/>
                    <a:pt x="74" y="58"/>
                  </a:cubicBezTo>
                  <a:cubicBezTo>
                    <a:pt x="70" y="54"/>
                    <a:pt x="64" y="53"/>
                    <a:pt x="61" y="50"/>
                  </a:cubicBezTo>
                  <a:cubicBezTo>
                    <a:pt x="57" y="47"/>
                    <a:pt x="55" y="48"/>
                    <a:pt x="51" y="42"/>
                  </a:cubicBezTo>
                  <a:cubicBezTo>
                    <a:pt x="47" y="36"/>
                    <a:pt x="46" y="34"/>
                    <a:pt x="43" y="30"/>
                  </a:cubicBezTo>
                  <a:cubicBezTo>
                    <a:pt x="39" y="26"/>
                    <a:pt x="29" y="19"/>
                    <a:pt x="25" y="16"/>
                  </a:cubicBezTo>
                  <a:cubicBezTo>
                    <a:pt x="20" y="13"/>
                    <a:pt x="16" y="12"/>
                    <a:pt x="12" y="7"/>
                  </a:cubicBezTo>
                  <a:cubicBezTo>
                    <a:pt x="8" y="2"/>
                    <a:pt x="8" y="0"/>
                    <a:pt x="5" y="0"/>
                  </a:cubicBezTo>
                  <a:cubicBezTo>
                    <a:pt x="1" y="1"/>
                    <a:pt x="1" y="5"/>
                    <a:pt x="1" y="5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4432" y="3782"/>
              <a:ext cx="163" cy="148"/>
            </a:xfrm>
            <a:custGeom>
              <a:avLst/>
              <a:gdLst>
                <a:gd name="T0" fmla="*/ 77 w 78"/>
                <a:gd name="T1" fmla="*/ 27 h 71"/>
                <a:gd name="T2" fmla="*/ 73 w 78"/>
                <a:gd name="T3" fmla="*/ 20 h 71"/>
                <a:gd name="T4" fmla="*/ 65 w 78"/>
                <a:gd name="T5" fmla="*/ 15 h 71"/>
                <a:gd name="T6" fmla="*/ 55 w 78"/>
                <a:gd name="T7" fmla="*/ 29 h 71"/>
                <a:gd name="T8" fmla="*/ 50 w 78"/>
                <a:gd name="T9" fmla="*/ 37 h 71"/>
                <a:gd name="T10" fmla="*/ 45 w 78"/>
                <a:gd name="T11" fmla="*/ 48 h 71"/>
                <a:gd name="T12" fmla="*/ 41 w 78"/>
                <a:gd name="T13" fmla="*/ 57 h 71"/>
                <a:gd name="T14" fmla="*/ 23 w 78"/>
                <a:gd name="T15" fmla="*/ 69 h 71"/>
                <a:gd name="T16" fmla="*/ 12 w 78"/>
                <a:gd name="T17" fmla="*/ 66 h 71"/>
                <a:gd name="T18" fmla="*/ 8 w 78"/>
                <a:gd name="T19" fmla="*/ 59 h 71"/>
                <a:gd name="T20" fmla="*/ 0 w 78"/>
                <a:gd name="T21" fmla="*/ 53 h 71"/>
                <a:gd name="T22" fmla="*/ 0 w 78"/>
                <a:gd name="T23" fmla="*/ 53 h 71"/>
                <a:gd name="T24" fmla="*/ 0 w 78"/>
                <a:gd name="T25" fmla="*/ 46 h 71"/>
                <a:gd name="T26" fmla="*/ 0 w 78"/>
                <a:gd name="T27" fmla="*/ 37 h 71"/>
                <a:gd name="T28" fmla="*/ 3 w 78"/>
                <a:gd name="T29" fmla="*/ 34 h 71"/>
                <a:gd name="T30" fmla="*/ 9 w 78"/>
                <a:gd name="T31" fmla="*/ 33 h 71"/>
                <a:gd name="T32" fmla="*/ 15 w 78"/>
                <a:gd name="T33" fmla="*/ 27 h 71"/>
                <a:gd name="T34" fmla="*/ 15 w 78"/>
                <a:gd name="T35" fmla="*/ 17 h 71"/>
                <a:gd name="T36" fmla="*/ 26 w 78"/>
                <a:gd name="T37" fmla="*/ 18 h 71"/>
                <a:gd name="T38" fmla="*/ 32 w 78"/>
                <a:gd name="T39" fmla="*/ 15 h 71"/>
                <a:gd name="T40" fmla="*/ 41 w 78"/>
                <a:gd name="T41" fmla="*/ 20 h 71"/>
                <a:gd name="T42" fmla="*/ 47 w 78"/>
                <a:gd name="T43" fmla="*/ 16 h 71"/>
                <a:gd name="T44" fmla="*/ 52 w 78"/>
                <a:gd name="T45" fmla="*/ 15 h 71"/>
                <a:gd name="T46" fmla="*/ 57 w 78"/>
                <a:gd name="T47" fmla="*/ 8 h 71"/>
                <a:gd name="T48" fmla="*/ 69 w 78"/>
                <a:gd name="T49" fmla="*/ 6 h 71"/>
                <a:gd name="T50" fmla="*/ 75 w 78"/>
                <a:gd name="T51" fmla="*/ 0 h 71"/>
                <a:gd name="T52" fmla="*/ 78 w 78"/>
                <a:gd name="T53" fmla="*/ 1 h 71"/>
                <a:gd name="T54" fmla="*/ 77 w 78"/>
                <a:gd name="T55" fmla="*/ 2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8" h="71">
                  <a:moveTo>
                    <a:pt x="77" y="27"/>
                  </a:moveTo>
                  <a:cubicBezTo>
                    <a:pt x="74" y="25"/>
                    <a:pt x="73" y="21"/>
                    <a:pt x="73" y="20"/>
                  </a:cubicBezTo>
                  <a:cubicBezTo>
                    <a:pt x="72" y="18"/>
                    <a:pt x="68" y="11"/>
                    <a:pt x="65" y="15"/>
                  </a:cubicBezTo>
                  <a:cubicBezTo>
                    <a:pt x="63" y="19"/>
                    <a:pt x="55" y="24"/>
                    <a:pt x="55" y="29"/>
                  </a:cubicBezTo>
                  <a:cubicBezTo>
                    <a:pt x="55" y="33"/>
                    <a:pt x="53" y="33"/>
                    <a:pt x="50" y="37"/>
                  </a:cubicBezTo>
                  <a:cubicBezTo>
                    <a:pt x="46" y="40"/>
                    <a:pt x="44" y="44"/>
                    <a:pt x="45" y="48"/>
                  </a:cubicBezTo>
                  <a:cubicBezTo>
                    <a:pt x="45" y="51"/>
                    <a:pt x="44" y="54"/>
                    <a:pt x="41" y="57"/>
                  </a:cubicBezTo>
                  <a:cubicBezTo>
                    <a:pt x="37" y="59"/>
                    <a:pt x="26" y="67"/>
                    <a:pt x="23" y="69"/>
                  </a:cubicBezTo>
                  <a:cubicBezTo>
                    <a:pt x="19" y="71"/>
                    <a:pt x="15" y="69"/>
                    <a:pt x="12" y="66"/>
                  </a:cubicBezTo>
                  <a:cubicBezTo>
                    <a:pt x="9" y="63"/>
                    <a:pt x="11" y="59"/>
                    <a:pt x="8" y="59"/>
                  </a:cubicBezTo>
                  <a:cubicBezTo>
                    <a:pt x="4" y="58"/>
                    <a:pt x="1" y="56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37"/>
                    <a:pt x="0" y="37"/>
                  </a:cubicBezTo>
                  <a:cubicBezTo>
                    <a:pt x="0" y="36"/>
                    <a:pt x="3" y="34"/>
                    <a:pt x="3" y="34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6"/>
                    <a:pt x="69" y="6"/>
                    <a:pt x="69" y="6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8" y="1"/>
                    <a:pt x="78" y="1"/>
                    <a:pt x="78" y="1"/>
                  </a:cubicBezTo>
                  <a:lnTo>
                    <a:pt x="77" y="27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3840" y="3505"/>
              <a:ext cx="600" cy="396"/>
            </a:xfrm>
            <a:custGeom>
              <a:avLst/>
              <a:gdLst>
                <a:gd name="T0" fmla="*/ 283 w 288"/>
                <a:gd name="T1" fmla="*/ 184 h 190"/>
                <a:gd name="T2" fmla="*/ 259 w 288"/>
                <a:gd name="T3" fmla="*/ 180 h 190"/>
                <a:gd name="T4" fmla="*/ 235 w 288"/>
                <a:gd name="T5" fmla="*/ 182 h 190"/>
                <a:gd name="T6" fmla="*/ 210 w 288"/>
                <a:gd name="T7" fmla="*/ 181 h 190"/>
                <a:gd name="T8" fmla="*/ 194 w 288"/>
                <a:gd name="T9" fmla="*/ 166 h 190"/>
                <a:gd name="T10" fmla="*/ 166 w 288"/>
                <a:gd name="T11" fmla="*/ 142 h 190"/>
                <a:gd name="T12" fmla="*/ 139 w 288"/>
                <a:gd name="T13" fmla="*/ 124 h 190"/>
                <a:gd name="T14" fmla="*/ 102 w 288"/>
                <a:gd name="T15" fmla="*/ 125 h 190"/>
                <a:gd name="T16" fmla="*/ 76 w 288"/>
                <a:gd name="T17" fmla="*/ 142 h 190"/>
                <a:gd name="T18" fmla="*/ 64 w 288"/>
                <a:gd name="T19" fmla="*/ 131 h 190"/>
                <a:gd name="T20" fmla="*/ 64 w 288"/>
                <a:gd name="T21" fmla="*/ 119 h 190"/>
                <a:gd name="T22" fmla="*/ 54 w 288"/>
                <a:gd name="T23" fmla="*/ 111 h 190"/>
                <a:gd name="T24" fmla="*/ 49 w 288"/>
                <a:gd name="T25" fmla="*/ 92 h 190"/>
                <a:gd name="T26" fmla="*/ 41 w 288"/>
                <a:gd name="T27" fmla="*/ 93 h 190"/>
                <a:gd name="T28" fmla="*/ 35 w 288"/>
                <a:gd name="T29" fmla="*/ 86 h 190"/>
                <a:gd name="T30" fmla="*/ 23 w 288"/>
                <a:gd name="T31" fmla="*/ 89 h 190"/>
                <a:gd name="T32" fmla="*/ 14 w 288"/>
                <a:gd name="T33" fmla="*/ 87 h 190"/>
                <a:gd name="T34" fmla="*/ 16 w 288"/>
                <a:gd name="T35" fmla="*/ 77 h 190"/>
                <a:gd name="T36" fmla="*/ 5 w 288"/>
                <a:gd name="T37" fmla="*/ 76 h 190"/>
                <a:gd name="T38" fmla="*/ 0 w 288"/>
                <a:gd name="T39" fmla="*/ 69 h 190"/>
                <a:gd name="T40" fmla="*/ 19 w 288"/>
                <a:gd name="T41" fmla="*/ 58 h 190"/>
                <a:gd name="T42" fmla="*/ 29 w 288"/>
                <a:gd name="T43" fmla="*/ 59 h 190"/>
                <a:gd name="T44" fmla="*/ 44 w 288"/>
                <a:gd name="T45" fmla="*/ 60 h 190"/>
                <a:gd name="T46" fmla="*/ 60 w 288"/>
                <a:gd name="T47" fmla="*/ 58 h 190"/>
                <a:gd name="T48" fmla="*/ 71 w 288"/>
                <a:gd name="T49" fmla="*/ 54 h 190"/>
                <a:gd name="T50" fmla="*/ 92 w 288"/>
                <a:gd name="T51" fmla="*/ 58 h 190"/>
                <a:gd name="T52" fmla="*/ 99 w 288"/>
                <a:gd name="T53" fmla="*/ 57 h 190"/>
                <a:gd name="T54" fmla="*/ 109 w 288"/>
                <a:gd name="T55" fmla="*/ 57 h 190"/>
                <a:gd name="T56" fmla="*/ 131 w 288"/>
                <a:gd name="T57" fmla="*/ 45 h 190"/>
                <a:gd name="T58" fmla="*/ 137 w 288"/>
                <a:gd name="T59" fmla="*/ 38 h 190"/>
                <a:gd name="T60" fmla="*/ 153 w 288"/>
                <a:gd name="T61" fmla="*/ 33 h 190"/>
                <a:gd name="T62" fmla="*/ 172 w 288"/>
                <a:gd name="T63" fmla="*/ 13 h 190"/>
                <a:gd name="T64" fmla="*/ 184 w 288"/>
                <a:gd name="T65" fmla="*/ 8 h 190"/>
                <a:gd name="T66" fmla="*/ 197 w 288"/>
                <a:gd name="T67" fmla="*/ 1 h 190"/>
                <a:gd name="T68" fmla="*/ 207 w 288"/>
                <a:gd name="T69" fmla="*/ 2 h 190"/>
                <a:gd name="T70" fmla="*/ 201 w 288"/>
                <a:gd name="T71" fmla="*/ 20 h 190"/>
                <a:gd name="T72" fmla="*/ 197 w 288"/>
                <a:gd name="T73" fmla="*/ 35 h 190"/>
                <a:gd name="T74" fmla="*/ 194 w 288"/>
                <a:gd name="T75" fmla="*/ 52 h 190"/>
                <a:gd name="T76" fmla="*/ 207 w 288"/>
                <a:gd name="T77" fmla="*/ 60 h 190"/>
                <a:gd name="T78" fmla="*/ 226 w 288"/>
                <a:gd name="T79" fmla="*/ 70 h 190"/>
                <a:gd name="T80" fmla="*/ 241 w 288"/>
                <a:gd name="T81" fmla="*/ 54 h 190"/>
                <a:gd name="T82" fmla="*/ 248 w 288"/>
                <a:gd name="T83" fmla="*/ 44 h 190"/>
                <a:gd name="T84" fmla="*/ 256 w 288"/>
                <a:gd name="T85" fmla="*/ 37 h 190"/>
                <a:gd name="T86" fmla="*/ 269 w 288"/>
                <a:gd name="T87" fmla="*/ 29 h 190"/>
                <a:gd name="T88" fmla="*/ 280 w 288"/>
                <a:gd name="T89" fmla="*/ 47 h 190"/>
                <a:gd name="T90" fmla="*/ 269 w 288"/>
                <a:gd name="T91" fmla="*/ 60 h 190"/>
                <a:gd name="T92" fmla="*/ 259 w 288"/>
                <a:gd name="T93" fmla="*/ 63 h 190"/>
                <a:gd name="T94" fmla="*/ 267 w 288"/>
                <a:gd name="T95" fmla="*/ 76 h 190"/>
                <a:gd name="T96" fmla="*/ 261 w 288"/>
                <a:gd name="T97" fmla="*/ 91 h 190"/>
                <a:gd name="T98" fmla="*/ 254 w 288"/>
                <a:gd name="T99" fmla="*/ 102 h 190"/>
                <a:gd name="T100" fmla="*/ 251 w 288"/>
                <a:gd name="T101" fmla="*/ 113 h 190"/>
                <a:gd name="T102" fmla="*/ 252 w 288"/>
                <a:gd name="T103" fmla="*/ 133 h 190"/>
                <a:gd name="T104" fmla="*/ 264 w 288"/>
                <a:gd name="T105" fmla="*/ 143 h 190"/>
                <a:gd name="T106" fmla="*/ 274 w 288"/>
                <a:gd name="T107" fmla="*/ 141 h 190"/>
                <a:gd name="T108" fmla="*/ 279 w 288"/>
                <a:gd name="T109" fmla="*/ 151 h 190"/>
                <a:gd name="T110" fmla="*/ 288 w 288"/>
                <a:gd name="T111" fmla="*/ 158 h 190"/>
                <a:gd name="T112" fmla="*/ 284 w 288"/>
                <a:gd name="T113" fmla="*/ 170 h 190"/>
                <a:gd name="T114" fmla="*/ 284 w 288"/>
                <a:gd name="T115" fmla="*/ 18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" h="190">
                  <a:moveTo>
                    <a:pt x="284" y="186"/>
                  </a:moveTo>
                  <a:cubicBezTo>
                    <a:pt x="283" y="185"/>
                    <a:pt x="283" y="185"/>
                    <a:pt x="283" y="184"/>
                  </a:cubicBezTo>
                  <a:cubicBezTo>
                    <a:pt x="282" y="180"/>
                    <a:pt x="278" y="179"/>
                    <a:pt x="277" y="182"/>
                  </a:cubicBezTo>
                  <a:cubicBezTo>
                    <a:pt x="275" y="186"/>
                    <a:pt x="264" y="185"/>
                    <a:pt x="259" y="180"/>
                  </a:cubicBezTo>
                  <a:cubicBezTo>
                    <a:pt x="254" y="175"/>
                    <a:pt x="252" y="178"/>
                    <a:pt x="247" y="182"/>
                  </a:cubicBezTo>
                  <a:cubicBezTo>
                    <a:pt x="242" y="186"/>
                    <a:pt x="239" y="178"/>
                    <a:pt x="235" y="182"/>
                  </a:cubicBezTo>
                  <a:cubicBezTo>
                    <a:pt x="231" y="185"/>
                    <a:pt x="226" y="190"/>
                    <a:pt x="222" y="190"/>
                  </a:cubicBezTo>
                  <a:cubicBezTo>
                    <a:pt x="218" y="189"/>
                    <a:pt x="214" y="188"/>
                    <a:pt x="210" y="181"/>
                  </a:cubicBezTo>
                  <a:cubicBezTo>
                    <a:pt x="207" y="174"/>
                    <a:pt x="205" y="180"/>
                    <a:pt x="204" y="177"/>
                  </a:cubicBezTo>
                  <a:cubicBezTo>
                    <a:pt x="203" y="174"/>
                    <a:pt x="196" y="167"/>
                    <a:pt x="194" y="166"/>
                  </a:cubicBezTo>
                  <a:cubicBezTo>
                    <a:pt x="191" y="165"/>
                    <a:pt x="184" y="158"/>
                    <a:pt x="181" y="155"/>
                  </a:cubicBezTo>
                  <a:cubicBezTo>
                    <a:pt x="179" y="152"/>
                    <a:pt x="167" y="145"/>
                    <a:pt x="166" y="142"/>
                  </a:cubicBezTo>
                  <a:cubicBezTo>
                    <a:pt x="165" y="139"/>
                    <a:pt x="155" y="137"/>
                    <a:pt x="153" y="132"/>
                  </a:cubicBezTo>
                  <a:cubicBezTo>
                    <a:pt x="151" y="127"/>
                    <a:pt x="142" y="126"/>
                    <a:pt x="139" y="124"/>
                  </a:cubicBezTo>
                  <a:cubicBezTo>
                    <a:pt x="136" y="121"/>
                    <a:pt x="124" y="124"/>
                    <a:pt x="119" y="127"/>
                  </a:cubicBezTo>
                  <a:cubicBezTo>
                    <a:pt x="114" y="131"/>
                    <a:pt x="107" y="127"/>
                    <a:pt x="102" y="125"/>
                  </a:cubicBezTo>
                  <a:cubicBezTo>
                    <a:pt x="96" y="124"/>
                    <a:pt x="93" y="131"/>
                    <a:pt x="88" y="134"/>
                  </a:cubicBezTo>
                  <a:cubicBezTo>
                    <a:pt x="84" y="137"/>
                    <a:pt x="80" y="139"/>
                    <a:pt x="76" y="142"/>
                  </a:cubicBezTo>
                  <a:cubicBezTo>
                    <a:pt x="71" y="133"/>
                    <a:pt x="71" y="133"/>
                    <a:pt x="71" y="133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58" y="122"/>
                    <a:pt x="58" y="122"/>
                    <a:pt x="58" y="122"/>
                  </a:cubicBezTo>
                  <a:cubicBezTo>
                    <a:pt x="64" y="119"/>
                    <a:pt x="64" y="119"/>
                    <a:pt x="64" y="119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54" y="111"/>
                    <a:pt x="54" y="111"/>
                    <a:pt x="54" y="111"/>
                  </a:cubicBezTo>
                  <a:cubicBezTo>
                    <a:pt x="54" y="100"/>
                    <a:pt x="54" y="100"/>
                    <a:pt x="54" y="100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2" y="92"/>
                    <a:pt x="22" y="92"/>
                    <a:pt x="22" y="92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103" y="53"/>
                    <a:pt x="103" y="53"/>
                    <a:pt x="103" y="53"/>
                  </a:cubicBezTo>
                  <a:cubicBezTo>
                    <a:pt x="109" y="57"/>
                    <a:pt x="109" y="57"/>
                    <a:pt x="109" y="57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7" y="38"/>
                    <a:pt x="137" y="38"/>
                    <a:pt x="137" y="38"/>
                  </a:cubicBezTo>
                  <a:cubicBezTo>
                    <a:pt x="145" y="38"/>
                    <a:pt x="145" y="38"/>
                    <a:pt x="145" y="38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8" y="12"/>
                    <a:pt x="178" y="12"/>
                    <a:pt x="178" y="12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90" y="6"/>
                    <a:pt x="190" y="6"/>
                    <a:pt x="190" y="6"/>
                  </a:cubicBezTo>
                  <a:cubicBezTo>
                    <a:pt x="197" y="1"/>
                    <a:pt x="197" y="1"/>
                    <a:pt x="197" y="1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4" y="16"/>
                    <a:pt x="204" y="16"/>
                    <a:pt x="204" y="16"/>
                  </a:cubicBezTo>
                  <a:cubicBezTo>
                    <a:pt x="201" y="20"/>
                    <a:pt x="201" y="20"/>
                    <a:pt x="201" y="20"/>
                  </a:cubicBezTo>
                  <a:cubicBezTo>
                    <a:pt x="202" y="30"/>
                    <a:pt x="202" y="30"/>
                    <a:pt x="202" y="30"/>
                  </a:cubicBezTo>
                  <a:cubicBezTo>
                    <a:pt x="197" y="35"/>
                    <a:pt x="197" y="35"/>
                    <a:pt x="197" y="35"/>
                  </a:cubicBezTo>
                  <a:cubicBezTo>
                    <a:pt x="201" y="42"/>
                    <a:pt x="201" y="42"/>
                    <a:pt x="201" y="42"/>
                  </a:cubicBezTo>
                  <a:cubicBezTo>
                    <a:pt x="194" y="52"/>
                    <a:pt x="194" y="52"/>
                    <a:pt x="194" y="52"/>
                  </a:cubicBezTo>
                  <a:cubicBezTo>
                    <a:pt x="199" y="58"/>
                    <a:pt x="199" y="58"/>
                    <a:pt x="199" y="58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17" y="55"/>
                    <a:pt x="217" y="55"/>
                    <a:pt x="217" y="55"/>
                  </a:cubicBezTo>
                  <a:cubicBezTo>
                    <a:pt x="226" y="70"/>
                    <a:pt x="226" y="70"/>
                    <a:pt x="226" y="70"/>
                  </a:cubicBezTo>
                  <a:cubicBezTo>
                    <a:pt x="233" y="65"/>
                    <a:pt x="233" y="65"/>
                    <a:pt x="233" y="65"/>
                  </a:cubicBezTo>
                  <a:cubicBezTo>
                    <a:pt x="241" y="54"/>
                    <a:pt x="241" y="54"/>
                    <a:pt x="241" y="54"/>
                  </a:cubicBezTo>
                  <a:cubicBezTo>
                    <a:pt x="247" y="53"/>
                    <a:pt x="247" y="53"/>
                    <a:pt x="247" y="53"/>
                  </a:cubicBezTo>
                  <a:cubicBezTo>
                    <a:pt x="248" y="44"/>
                    <a:pt x="248" y="44"/>
                    <a:pt x="248" y="44"/>
                  </a:cubicBezTo>
                  <a:cubicBezTo>
                    <a:pt x="251" y="38"/>
                    <a:pt x="251" y="38"/>
                    <a:pt x="251" y="38"/>
                  </a:cubicBezTo>
                  <a:cubicBezTo>
                    <a:pt x="256" y="37"/>
                    <a:pt x="256" y="37"/>
                    <a:pt x="256" y="37"/>
                  </a:cubicBezTo>
                  <a:cubicBezTo>
                    <a:pt x="261" y="29"/>
                    <a:pt x="261" y="29"/>
                    <a:pt x="261" y="29"/>
                  </a:cubicBezTo>
                  <a:cubicBezTo>
                    <a:pt x="269" y="29"/>
                    <a:pt x="269" y="29"/>
                    <a:pt x="269" y="29"/>
                  </a:cubicBezTo>
                  <a:cubicBezTo>
                    <a:pt x="275" y="38"/>
                    <a:pt x="275" y="38"/>
                    <a:pt x="275" y="38"/>
                  </a:cubicBezTo>
                  <a:cubicBezTo>
                    <a:pt x="280" y="47"/>
                    <a:pt x="280" y="47"/>
                    <a:pt x="280" y="47"/>
                  </a:cubicBezTo>
                  <a:cubicBezTo>
                    <a:pt x="279" y="56"/>
                    <a:pt x="279" y="56"/>
                    <a:pt x="279" y="56"/>
                  </a:cubicBezTo>
                  <a:cubicBezTo>
                    <a:pt x="269" y="60"/>
                    <a:pt x="269" y="60"/>
                    <a:pt x="269" y="60"/>
                  </a:cubicBezTo>
                  <a:cubicBezTo>
                    <a:pt x="262" y="59"/>
                    <a:pt x="262" y="59"/>
                    <a:pt x="262" y="59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6"/>
                    <a:pt x="267" y="76"/>
                    <a:pt x="267" y="7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61" y="91"/>
                    <a:pt x="261" y="91"/>
                    <a:pt x="261" y="91"/>
                  </a:cubicBezTo>
                  <a:cubicBezTo>
                    <a:pt x="254" y="96"/>
                    <a:pt x="254" y="96"/>
                    <a:pt x="254" y="96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49" y="107"/>
                    <a:pt x="249" y="107"/>
                    <a:pt x="249" y="107"/>
                  </a:cubicBezTo>
                  <a:cubicBezTo>
                    <a:pt x="251" y="113"/>
                    <a:pt x="251" y="113"/>
                    <a:pt x="251" y="113"/>
                  </a:cubicBezTo>
                  <a:cubicBezTo>
                    <a:pt x="249" y="121"/>
                    <a:pt x="249" y="121"/>
                    <a:pt x="249" y="121"/>
                  </a:cubicBezTo>
                  <a:cubicBezTo>
                    <a:pt x="252" y="133"/>
                    <a:pt x="252" y="133"/>
                    <a:pt x="252" y="133"/>
                  </a:cubicBezTo>
                  <a:cubicBezTo>
                    <a:pt x="260" y="137"/>
                    <a:pt x="260" y="137"/>
                    <a:pt x="260" y="137"/>
                  </a:cubicBezTo>
                  <a:cubicBezTo>
                    <a:pt x="264" y="143"/>
                    <a:pt x="264" y="143"/>
                    <a:pt x="264" y="143"/>
                  </a:cubicBezTo>
                  <a:cubicBezTo>
                    <a:pt x="269" y="139"/>
                    <a:pt x="269" y="139"/>
                    <a:pt x="269" y="139"/>
                  </a:cubicBezTo>
                  <a:cubicBezTo>
                    <a:pt x="274" y="141"/>
                    <a:pt x="274" y="141"/>
                    <a:pt x="274" y="141"/>
                  </a:cubicBezTo>
                  <a:cubicBezTo>
                    <a:pt x="275" y="146"/>
                    <a:pt x="275" y="146"/>
                    <a:pt x="275" y="146"/>
                  </a:cubicBezTo>
                  <a:cubicBezTo>
                    <a:pt x="279" y="151"/>
                    <a:pt x="279" y="151"/>
                    <a:pt x="279" y="151"/>
                  </a:cubicBezTo>
                  <a:cubicBezTo>
                    <a:pt x="281" y="156"/>
                    <a:pt x="281" y="156"/>
                    <a:pt x="281" y="156"/>
                  </a:cubicBezTo>
                  <a:cubicBezTo>
                    <a:pt x="288" y="158"/>
                    <a:pt x="288" y="158"/>
                    <a:pt x="288" y="158"/>
                  </a:cubicBezTo>
                  <a:cubicBezTo>
                    <a:pt x="287" y="167"/>
                    <a:pt x="287" y="167"/>
                    <a:pt x="287" y="167"/>
                  </a:cubicBezTo>
                  <a:cubicBezTo>
                    <a:pt x="287" y="167"/>
                    <a:pt x="284" y="169"/>
                    <a:pt x="284" y="170"/>
                  </a:cubicBezTo>
                  <a:cubicBezTo>
                    <a:pt x="284" y="170"/>
                    <a:pt x="284" y="179"/>
                    <a:pt x="284" y="179"/>
                  </a:cubicBezTo>
                  <a:lnTo>
                    <a:pt x="284" y="186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14"/>
            <p:cNvSpPr>
              <a:spLocks noEditPoints="1"/>
            </p:cNvSpPr>
            <p:nvPr/>
          </p:nvSpPr>
          <p:spPr bwMode="auto">
            <a:xfrm>
              <a:off x="2125" y="2153"/>
              <a:ext cx="477" cy="690"/>
            </a:xfrm>
            <a:custGeom>
              <a:avLst/>
              <a:gdLst>
                <a:gd name="T0" fmla="*/ 126 w 229"/>
                <a:gd name="T1" fmla="*/ 16 h 331"/>
                <a:gd name="T2" fmla="*/ 140 w 229"/>
                <a:gd name="T3" fmla="*/ 12 h 331"/>
                <a:gd name="T4" fmla="*/ 123 w 229"/>
                <a:gd name="T5" fmla="*/ 3 h 331"/>
                <a:gd name="T6" fmla="*/ 171 w 229"/>
                <a:gd name="T7" fmla="*/ 48 h 331"/>
                <a:gd name="T8" fmla="*/ 173 w 229"/>
                <a:gd name="T9" fmla="*/ 58 h 331"/>
                <a:gd name="T10" fmla="*/ 187 w 229"/>
                <a:gd name="T11" fmla="*/ 52 h 331"/>
                <a:gd name="T12" fmla="*/ 206 w 229"/>
                <a:gd name="T13" fmla="*/ 50 h 331"/>
                <a:gd name="T14" fmla="*/ 227 w 229"/>
                <a:gd name="T15" fmla="*/ 51 h 331"/>
                <a:gd name="T16" fmla="*/ 212 w 229"/>
                <a:gd name="T17" fmla="*/ 46 h 331"/>
                <a:gd name="T18" fmla="*/ 211 w 229"/>
                <a:gd name="T19" fmla="*/ 39 h 331"/>
                <a:gd name="T20" fmla="*/ 201 w 229"/>
                <a:gd name="T21" fmla="*/ 43 h 331"/>
                <a:gd name="T22" fmla="*/ 188 w 229"/>
                <a:gd name="T23" fmla="*/ 50 h 331"/>
                <a:gd name="T24" fmla="*/ 171 w 229"/>
                <a:gd name="T25" fmla="*/ 48 h 331"/>
                <a:gd name="T26" fmla="*/ 171 w 229"/>
                <a:gd name="T27" fmla="*/ 24 h 331"/>
                <a:gd name="T28" fmla="*/ 181 w 229"/>
                <a:gd name="T29" fmla="*/ 22 h 331"/>
                <a:gd name="T30" fmla="*/ 192 w 229"/>
                <a:gd name="T31" fmla="*/ 15 h 331"/>
                <a:gd name="T32" fmla="*/ 194 w 229"/>
                <a:gd name="T33" fmla="*/ 22 h 331"/>
                <a:gd name="T34" fmla="*/ 188 w 229"/>
                <a:gd name="T35" fmla="*/ 35 h 331"/>
                <a:gd name="T36" fmla="*/ 172 w 229"/>
                <a:gd name="T37" fmla="*/ 34 h 331"/>
                <a:gd name="T38" fmla="*/ 125 w 229"/>
                <a:gd name="T39" fmla="*/ 22 h 331"/>
                <a:gd name="T40" fmla="*/ 138 w 229"/>
                <a:gd name="T41" fmla="*/ 21 h 331"/>
                <a:gd name="T42" fmla="*/ 153 w 229"/>
                <a:gd name="T43" fmla="*/ 18 h 331"/>
                <a:gd name="T44" fmla="*/ 143 w 229"/>
                <a:gd name="T45" fmla="*/ 28 h 331"/>
                <a:gd name="T46" fmla="*/ 126 w 229"/>
                <a:gd name="T47" fmla="*/ 31 h 331"/>
                <a:gd name="T48" fmla="*/ 125 w 229"/>
                <a:gd name="T49" fmla="*/ 22 h 331"/>
                <a:gd name="T50" fmla="*/ 21 w 229"/>
                <a:gd name="T51" fmla="*/ 263 h 331"/>
                <a:gd name="T52" fmla="*/ 1 w 229"/>
                <a:gd name="T53" fmla="*/ 272 h 331"/>
                <a:gd name="T54" fmla="*/ 10 w 229"/>
                <a:gd name="T55" fmla="*/ 285 h 331"/>
                <a:gd name="T56" fmla="*/ 3 w 229"/>
                <a:gd name="T57" fmla="*/ 297 h 331"/>
                <a:gd name="T58" fmla="*/ 14 w 229"/>
                <a:gd name="T59" fmla="*/ 290 h 331"/>
                <a:gd name="T60" fmla="*/ 6 w 229"/>
                <a:gd name="T61" fmla="*/ 306 h 331"/>
                <a:gd name="T62" fmla="*/ 21 w 229"/>
                <a:gd name="T63" fmla="*/ 323 h 331"/>
                <a:gd name="T64" fmla="*/ 40 w 229"/>
                <a:gd name="T65" fmla="*/ 323 h 331"/>
                <a:gd name="T66" fmla="*/ 39 w 229"/>
                <a:gd name="T67" fmla="*/ 292 h 331"/>
                <a:gd name="T68" fmla="*/ 55 w 229"/>
                <a:gd name="T69" fmla="*/ 265 h 331"/>
                <a:gd name="T70" fmla="*/ 76 w 229"/>
                <a:gd name="T71" fmla="*/ 253 h 331"/>
                <a:gd name="T72" fmla="*/ 105 w 229"/>
                <a:gd name="T73" fmla="*/ 231 h 331"/>
                <a:gd name="T74" fmla="*/ 134 w 229"/>
                <a:gd name="T75" fmla="*/ 214 h 331"/>
                <a:gd name="T76" fmla="*/ 188 w 229"/>
                <a:gd name="T77" fmla="*/ 204 h 331"/>
                <a:gd name="T78" fmla="*/ 195 w 229"/>
                <a:gd name="T79" fmla="*/ 180 h 331"/>
                <a:gd name="T80" fmla="*/ 158 w 229"/>
                <a:gd name="T81" fmla="*/ 190 h 331"/>
                <a:gd name="T82" fmla="*/ 124 w 229"/>
                <a:gd name="T83" fmla="*/ 188 h 331"/>
                <a:gd name="T84" fmla="*/ 93 w 229"/>
                <a:gd name="T85" fmla="*/ 200 h 331"/>
                <a:gd name="T86" fmla="*/ 79 w 229"/>
                <a:gd name="T87" fmla="*/ 214 h 331"/>
                <a:gd name="T88" fmla="*/ 53 w 229"/>
                <a:gd name="T89" fmla="*/ 227 h 331"/>
                <a:gd name="T90" fmla="*/ 48 w 229"/>
                <a:gd name="T91" fmla="*/ 242 h 331"/>
                <a:gd name="T92" fmla="*/ 30 w 229"/>
                <a:gd name="T93" fmla="*/ 24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9" h="331">
                  <a:moveTo>
                    <a:pt x="123" y="10"/>
                  </a:moveTo>
                  <a:cubicBezTo>
                    <a:pt x="124" y="12"/>
                    <a:pt x="122" y="18"/>
                    <a:pt x="126" y="16"/>
                  </a:cubicBezTo>
                  <a:cubicBezTo>
                    <a:pt x="130" y="15"/>
                    <a:pt x="134" y="12"/>
                    <a:pt x="135" y="14"/>
                  </a:cubicBezTo>
                  <a:cubicBezTo>
                    <a:pt x="136" y="16"/>
                    <a:pt x="143" y="16"/>
                    <a:pt x="140" y="12"/>
                  </a:cubicBezTo>
                  <a:cubicBezTo>
                    <a:pt x="138" y="8"/>
                    <a:pt x="132" y="7"/>
                    <a:pt x="129" y="7"/>
                  </a:cubicBezTo>
                  <a:cubicBezTo>
                    <a:pt x="127" y="7"/>
                    <a:pt x="124" y="0"/>
                    <a:pt x="123" y="3"/>
                  </a:cubicBezTo>
                  <a:cubicBezTo>
                    <a:pt x="122" y="6"/>
                    <a:pt x="123" y="10"/>
                    <a:pt x="123" y="10"/>
                  </a:cubicBezTo>
                  <a:close/>
                  <a:moveTo>
                    <a:pt x="171" y="48"/>
                  </a:moveTo>
                  <a:cubicBezTo>
                    <a:pt x="169" y="48"/>
                    <a:pt x="164" y="51"/>
                    <a:pt x="166" y="55"/>
                  </a:cubicBezTo>
                  <a:cubicBezTo>
                    <a:pt x="167" y="58"/>
                    <a:pt x="170" y="59"/>
                    <a:pt x="173" y="58"/>
                  </a:cubicBezTo>
                  <a:cubicBezTo>
                    <a:pt x="176" y="57"/>
                    <a:pt x="179" y="60"/>
                    <a:pt x="180" y="58"/>
                  </a:cubicBezTo>
                  <a:cubicBezTo>
                    <a:pt x="182" y="55"/>
                    <a:pt x="185" y="49"/>
                    <a:pt x="187" y="52"/>
                  </a:cubicBezTo>
                  <a:cubicBezTo>
                    <a:pt x="189" y="54"/>
                    <a:pt x="195" y="58"/>
                    <a:pt x="197" y="58"/>
                  </a:cubicBezTo>
                  <a:cubicBezTo>
                    <a:pt x="200" y="58"/>
                    <a:pt x="202" y="51"/>
                    <a:pt x="206" y="50"/>
                  </a:cubicBezTo>
                  <a:cubicBezTo>
                    <a:pt x="210" y="49"/>
                    <a:pt x="211" y="55"/>
                    <a:pt x="214" y="56"/>
                  </a:cubicBezTo>
                  <a:cubicBezTo>
                    <a:pt x="217" y="57"/>
                    <a:pt x="225" y="58"/>
                    <a:pt x="227" y="51"/>
                  </a:cubicBezTo>
                  <a:cubicBezTo>
                    <a:pt x="229" y="45"/>
                    <a:pt x="228" y="39"/>
                    <a:pt x="225" y="41"/>
                  </a:cubicBezTo>
                  <a:cubicBezTo>
                    <a:pt x="221" y="42"/>
                    <a:pt x="214" y="46"/>
                    <a:pt x="212" y="46"/>
                  </a:cubicBezTo>
                  <a:cubicBezTo>
                    <a:pt x="210" y="46"/>
                    <a:pt x="207" y="48"/>
                    <a:pt x="206" y="45"/>
                  </a:cubicBezTo>
                  <a:cubicBezTo>
                    <a:pt x="205" y="43"/>
                    <a:pt x="212" y="43"/>
                    <a:pt x="211" y="39"/>
                  </a:cubicBezTo>
                  <a:cubicBezTo>
                    <a:pt x="210" y="35"/>
                    <a:pt x="201" y="35"/>
                    <a:pt x="200" y="37"/>
                  </a:cubicBezTo>
                  <a:cubicBezTo>
                    <a:pt x="200" y="40"/>
                    <a:pt x="204" y="42"/>
                    <a:pt x="201" y="43"/>
                  </a:cubicBezTo>
                  <a:cubicBezTo>
                    <a:pt x="198" y="44"/>
                    <a:pt x="199" y="42"/>
                    <a:pt x="195" y="43"/>
                  </a:cubicBezTo>
                  <a:cubicBezTo>
                    <a:pt x="190" y="44"/>
                    <a:pt x="191" y="49"/>
                    <a:pt x="188" y="50"/>
                  </a:cubicBezTo>
                  <a:cubicBezTo>
                    <a:pt x="186" y="50"/>
                    <a:pt x="182" y="49"/>
                    <a:pt x="180" y="49"/>
                  </a:cubicBezTo>
                  <a:cubicBezTo>
                    <a:pt x="178" y="49"/>
                    <a:pt x="171" y="48"/>
                    <a:pt x="171" y="48"/>
                  </a:cubicBezTo>
                  <a:close/>
                  <a:moveTo>
                    <a:pt x="168" y="28"/>
                  </a:moveTo>
                  <a:cubicBezTo>
                    <a:pt x="168" y="28"/>
                    <a:pt x="172" y="27"/>
                    <a:pt x="171" y="24"/>
                  </a:cubicBezTo>
                  <a:cubicBezTo>
                    <a:pt x="170" y="21"/>
                    <a:pt x="176" y="21"/>
                    <a:pt x="176" y="21"/>
                  </a:cubicBezTo>
                  <a:cubicBezTo>
                    <a:pt x="176" y="21"/>
                    <a:pt x="177" y="23"/>
                    <a:pt x="181" y="22"/>
                  </a:cubicBezTo>
                  <a:cubicBezTo>
                    <a:pt x="184" y="20"/>
                    <a:pt x="181" y="18"/>
                    <a:pt x="183" y="18"/>
                  </a:cubicBezTo>
                  <a:cubicBezTo>
                    <a:pt x="185" y="18"/>
                    <a:pt x="191" y="17"/>
                    <a:pt x="192" y="15"/>
                  </a:cubicBezTo>
                  <a:cubicBezTo>
                    <a:pt x="193" y="12"/>
                    <a:pt x="196" y="13"/>
                    <a:pt x="199" y="18"/>
                  </a:cubicBezTo>
                  <a:cubicBezTo>
                    <a:pt x="201" y="23"/>
                    <a:pt x="196" y="23"/>
                    <a:pt x="194" y="22"/>
                  </a:cubicBezTo>
                  <a:cubicBezTo>
                    <a:pt x="192" y="21"/>
                    <a:pt x="191" y="24"/>
                    <a:pt x="189" y="27"/>
                  </a:cubicBezTo>
                  <a:cubicBezTo>
                    <a:pt x="187" y="30"/>
                    <a:pt x="189" y="31"/>
                    <a:pt x="188" y="35"/>
                  </a:cubicBezTo>
                  <a:cubicBezTo>
                    <a:pt x="186" y="38"/>
                    <a:pt x="182" y="41"/>
                    <a:pt x="178" y="41"/>
                  </a:cubicBezTo>
                  <a:cubicBezTo>
                    <a:pt x="175" y="41"/>
                    <a:pt x="174" y="38"/>
                    <a:pt x="172" y="34"/>
                  </a:cubicBezTo>
                  <a:cubicBezTo>
                    <a:pt x="171" y="30"/>
                    <a:pt x="165" y="29"/>
                    <a:pt x="168" y="28"/>
                  </a:cubicBezTo>
                  <a:close/>
                  <a:moveTo>
                    <a:pt x="125" y="22"/>
                  </a:moveTo>
                  <a:cubicBezTo>
                    <a:pt x="126" y="23"/>
                    <a:pt x="130" y="22"/>
                    <a:pt x="130" y="20"/>
                  </a:cubicBezTo>
                  <a:cubicBezTo>
                    <a:pt x="131" y="17"/>
                    <a:pt x="136" y="19"/>
                    <a:pt x="138" y="21"/>
                  </a:cubicBezTo>
                  <a:cubicBezTo>
                    <a:pt x="140" y="23"/>
                    <a:pt x="144" y="20"/>
                    <a:pt x="145" y="16"/>
                  </a:cubicBezTo>
                  <a:cubicBezTo>
                    <a:pt x="146" y="12"/>
                    <a:pt x="154" y="16"/>
                    <a:pt x="153" y="18"/>
                  </a:cubicBezTo>
                  <a:cubicBezTo>
                    <a:pt x="152" y="21"/>
                    <a:pt x="154" y="22"/>
                    <a:pt x="154" y="24"/>
                  </a:cubicBezTo>
                  <a:cubicBezTo>
                    <a:pt x="153" y="25"/>
                    <a:pt x="146" y="28"/>
                    <a:pt x="143" y="28"/>
                  </a:cubicBezTo>
                  <a:cubicBezTo>
                    <a:pt x="140" y="28"/>
                    <a:pt x="138" y="31"/>
                    <a:pt x="135" y="32"/>
                  </a:cubicBezTo>
                  <a:cubicBezTo>
                    <a:pt x="132" y="34"/>
                    <a:pt x="128" y="34"/>
                    <a:pt x="126" y="31"/>
                  </a:cubicBezTo>
                  <a:cubicBezTo>
                    <a:pt x="123" y="28"/>
                    <a:pt x="120" y="28"/>
                    <a:pt x="121" y="25"/>
                  </a:cubicBezTo>
                  <a:cubicBezTo>
                    <a:pt x="122" y="22"/>
                    <a:pt x="125" y="22"/>
                    <a:pt x="125" y="22"/>
                  </a:cubicBezTo>
                  <a:close/>
                  <a:moveTo>
                    <a:pt x="27" y="254"/>
                  </a:moveTo>
                  <a:cubicBezTo>
                    <a:pt x="24" y="257"/>
                    <a:pt x="25" y="261"/>
                    <a:pt x="21" y="263"/>
                  </a:cubicBezTo>
                  <a:cubicBezTo>
                    <a:pt x="16" y="265"/>
                    <a:pt x="16" y="265"/>
                    <a:pt x="11" y="263"/>
                  </a:cubicBezTo>
                  <a:cubicBezTo>
                    <a:pt x="7" y="261"/>
                    <a:pt x="3" y="269"/>
                    <a:pt x="1" y="272"/>
                  </a:cubicBezTo>
                  <a:cubicBezTo>
                    <a:pt x="0" y="276"/>
                    <a:pt x="1" y="281"/>
                    <a:pt x="3" y="281"/>
                  </a:cubicBezTo>
                  <a:cubicBezTo>
                    <a:pt x="6" y="281"/>
                    <a:pt x="10" y="284"/>
                    <a:pt x="10" y="285"/>
                  </a:cubicBezTo>
                  <a:cubicBezTo>
                    <a:pt x="11" y="286"/>
                    <a:pt x="7" y="282"/>
                    <a:pt x="4" y="286"/>
                  </a:cubicBezTo>
                  <a:cubicBezTo>
                    <a:pt x="1" y="291"/>
                    <a:pt x="2" y="296"/>
                    <a:pt x="3" y="297"/>
                  </a:cubicBezTo>
                  <a:cubicBezTo>
                    <a:pt x="4" y="299"/>
                    <a:pt x="10" y="293"/>
                    <a:pt x="11" y="290"/>
                  </a:cubicBezTo>
                  <a:cubicBezTo>
                    <a:pt x="11" y="287"/>
                    <a:pt x="13" y="287"/>
                    <a:pt x="14" y="290"/>
                  </a:cubicBezTo>
                  <a:cubicBezTo>
                    <a:pt x="14" y="293"/>
                    <a:pt x="15" y="299"/>
                    <a:pt x="12" y="301"/>
                  </a:cubicBezTo>
                  <a:cubicBezTo>
                    <a:pt x="9" y="302"/>
                    <a:pt x="6" y="304"/>
                    <a:pt x="6" y="306"/>
                  </a:cubicBezTo>
                  <a:cubicBezTo>
                    <a:pt x="7" y="309"/>
                    <a:pt x="10" y="314"/>
                    <a:pt x="11" y="315"/>
                  </a:cubicBezTo>
                  <a:cubicBezTo>
                    <a:pt x="13" y="316"/>
                    <a:pt x="18" y="320"/>
                    <a:pt x="21" y="323"/>
                  </a:cubicBezTo>
                  <a:cubicBezTo>
                    <a:pt x="25" y="326"/>
                    <a:pt x="31" y="328"/>
                    <a:pt x="33" y="330"/>
                  </a:cubicBezTo>
                  <a:cubicBezTo>
                    <a:pt x="36" y="331"/>
                    <a:pt x="44" y="329"/>
                    <a:pt x="40" y="323"/>
                  </a:cubicBezTo>
                  <a:cubicBezTo>
                    <a:pt x="36" y="318"/>
                    <a:pt x="36" y="310"/>
                    <a:pt x="37" y="306"/>
                  </a:cubicBezTo>
                  <a:cubicBezTo>
                    <a:pt x="37" y="303"/>
                    <a:pt x="38" y="298"/>
                    <a:pt x="39" y="292"/>
                  </a:cubicBezTo>
                  <a:cubicBezTo>
                    <a:pt x="39" y="287"/>
                    <a:pt x="39" y="282"/>
                    <a:pt x="43" y="277"/>
                  </a:cubicBezTo>
                  <a:cubicBezTo>
                    <a:pt x="47" y="273"/>
                    <a:pt x="50" y="269"/>
                    <a:pt x="55" y="265"/>
                  </a:cubicBezTo>
                  <a:cubicBezTo>
                    <a:pt x="59" y="260"/>
                    <a:pt x="63" y="259"/>
                    <a:pt x="65" y="256"/>
                  </a:cubicBezTo>
                  <a:cubicBezTo>
                    <a:pt x="67" y="254"/>
                    <a:pt x="74" y="255"/>
                    <a:pt x="76" y="253"/>
                  </a:cubicBezTo>
                  <a:cubicBezTo>
                    <a:pt x="77" y="251"/>
                    <a:pt x="90" y="241"/>
                    <a:pt x="93" y="239"/>
                  </a:cubicBezTo>
                  <a:cubicBezTo>
                    <a:pt x="96" y="237"/>
                    <a:pt x="103" y="232"/>
                    <a:pt x="105" y="231"/>
                  </a:cubicBezTo>
                  <a:cubicBezTo>
                    <a:pt x="108" y="230"/>
                    <a:pt x="117" y="227"/>
                    <a:pt x="120" y="224"/>
                  </a:cubicBezTo>
                  <a:cubicBezTo>
                    <a:pt x="123" y="222"/>
                    <a:pt x="121" y="217"/>
                    <a:pt x="134" y="214"/>
                  </a:cubicBezTo>
                  <a:cubicBezTo>
                    <a:pt x="147" y="210"/>
                    <a:pt x="155" y="210"/>
                    <a:pt x="163" y="211"/>
                  </a:cubicBezTo>
                  <a:cubicBezTo>
                    <a:pt x="171" y="211"/>
                    <a:pt x="185" y="204"/>
                    <a:pt x="188" y="204"/>
                  </a:cubicBezTo>
                  <a:cubicBezTo>
                    <a:pt x="191" y="204"/>
                    <a:pt x="199" y="201"/>
                    <a:pt x="201" y="195"/>
                  </a:cubicBezTo>
                  <a:cubicBezTo>
                    <a:pt x="203" y="188"/>
                    <a:pt x="203" y="179"/>
                    <a:pt x="195" y="180"/>
                  </a:cubicBezTo>
                  <a:cubicBezTo>
                    <a:pt x="187" y="181"/>
                    <a:pt x="185" y="184"/>
                    <a:pt x="176" y="188"/>
                  </a:cubicBezTo>
                  <a:cubicBezTo>
                    <a:pt x="168" y="192"/>
                    <a:pt x="162" y="193"/>
                    <a:pt x="158" y="190"/>
                  </a:cubicBezTo>
                  <a:cubicBezTo>
                    <a:pt x="153" y="187"/>
                    <a:pt x="146" y="179"/>
                    <a:pt x="141" y="183"/>
                  </a:cubicBezTo>
                  <a:cubicBezTo>
                    <a:pt x="135" y="187"/>
                    <a:pt x="132" y="188"/>
                    <a:pt x="124" y="188"/>
                  </a:cubicBezTo>
                  <a:cubicBezTo>
                    <a:pt x="116" y="188"/>
                    <a:pt x="107" y="191"/>
                    <a:pt x="102" y="195"/>
                  </a:cubicBezTo>
                  <a:cubicBezTo>
                    <a:pt x="98" y="199"/>
                    <a:pt x="96" y="202"/>
                    <a:pt x="93" y="200"/>
                  </a:cubicBezTo>
                  <a:cubicBezTo>
                    <a:pt x="90" y="198"/>
                    <a:pt x="89" y="202"/>
                    <a:pt x="88" y="207"/>
                  </a:cubicBezTo>
                  <a:cubicBezTo>
                    <a:pt x="87" y="213"/>
                    <a:pt x="84" y="212"/>
                    <a:pt x="79" y="214"/>
                  </a:cubicBezTo>
                  <a:cubicBezTo>
                    <a:pt x="74" y="217"/>
                    <a:pt x="73" y="221"/>
                    <a:pt x="67" y="223"/>
                  </a:cubicBezTo>
                  <a:cubicBezTo>
                    <a:pt x="62" y="225"/>
                    <a:pt x="55" y="224"/>
                    <a:pt x="53" y="227"/>
                  </a:cubicBezTo>
                  <a:cubicBezTo>
                    <a:pt x="52" y="231"/>
                    <a:pt x="56" y="234"/>
                    <a:pt x="53" y="236"/>
                  </a:cubicBezTo>
                  <a:cubicBezTo>
                    <a:pt x="49" y="238"/>
                    <a:pt x="56" y="241"/>
                    <a:pt x="48" y="242"/>
                  </a:cubicBezTo>
                  <a:cubicBezTo>
                    <a:pt x="40" y="242"/>
                    <a:pt x="37" y="243"/>
                    <a:pt x="36" y="244"/>
                  </a:cubicBezTo>
                  <a:cubicBezTo>
                    <a:pt x="35" y="246"/>
                    <a:pt x="32" y="246"/>
                    <a:pt x="30" y="247"/>
                  </a:cubicBezTo>
                  <a:cubicBezTo>
                    <a:pt x="28" y="249"/>
                    <a:pt x="27" y="254"/>
                    <a:pt x="27" y="254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1460" y="2832"/>
              <a:ext cx="432" cy="421"/>
            </a:xfrm>
            <a:custGeom>
              <a:avLst/>
              <a:gdLst>
                <a:gd name="T0" fmla="*/ 50 w 207"/>
                <a:gd name="T1" fmla="*/ 36 h 202"/>
                <a:gd name="T2" fmla="*/ 66 w 207"/>
                <a:gd name="T3" fmla="*/ 31 h 202"/>
                <a:gd name="T4" fmla="*/ 62 w 207"/>
                <a:gd name="T5" fmla="*/ 9 h 202"/>
                <a:gd name="T6" fmla="*/ 77 w 207"/>
                <a:gd name="T7" fmla="*/ 8 h 202"/>
                <a:gd name="T8" fmla="*/ 84 w 207"/>
                <a:gd name="T9" fmla="*/ 34 h 202"/>
                <a:gd name="T10" fmla="*/ 100 w 207"/>
                <a:gd name="T11" fmla="*/ 43 h 202"/>
                <a:gd name="T12" fmla="*/ 109 w 207"/>
                <a:gd name="T13" fmla="*/ 20 h 202"/>
                <a:gd name="T14" fmla="*/ 138 w 207"/>
                <a:gd name="T15" fmla="*/ 20 h 202"/>
                <a:gd name="T16" fmla="*/ 158 w 207"/>
                <a:gd name="T17" fmla="*/ 30 h 202"/>
                <a:gd name="T18" fmla="*/ 166 w 207"/>
                <a:gd name="T19" fmla="*/ 34 h 202"/>
                <a:gd name="T20" fmla="*/ 172 w 207"/>
                <a:gd name="T21" fmla="*/ 54 h 202"/>
                <a:gd name="T22" fmla="*/ 182 w 207"/>
                <a:gd name="T23" fmla="*/ 69 h 202"/>
                <a:gd name="T24" fmla="*/ 196 w 207"/>
                <a:gd name="T25" fmla="*/ 76 h 202"/>
                <a:gd name="T26" fmla="*/ 207 w 207"/>
                <a:gd name="T27" fmla="*/ 77 h 202"/>
                <a:gd name="T28" fmla="*/ 195 w 207"/>
                <a:gd name="T29" fmla="*/ 96 h 202"/>
                <a:gd name="T30" fmla="*/ 198 w 207"/>
                <a:gd name="T31" fmla="*/ 112 h 202"/>
                <a:gd name="T32" fmla="*/ 195 w 207"/>
                <a:gd name="T33" fmla="*/ 127 h 202"/>
                <a:gd name="T34" fmla="*/ 171 w 207"/>
                <a:gd name="T35" fmla="*/ 123 h 202"/>
                <a:gd name="T36" fmla="*/ 157 w 207"/>
                <a:gd name="T37" fmla="*/ 109 h 202"/>
                <a:gd name="T38" fmla="*/ 141 w 207"/>
                <a:gd name="T39" fmla="*/ 100 h 202"/>
                <a:gd name="T40" fmla="*/ 139 w 207"/>
                <a:gd name="T41" fmla="*/ 110 h 202"/>
                <a:gd name="T42" fmla="*/ 144 w 207"/>
                <a:gd name="T43" fmla="*/ 126 h 202"/>
                <a:gd name="T44" fmla="*/ 138 w 207"/>
                <a:gd name="T45" fmla="*/ 134 h 202"/>
                <a:gd name="T46" fmla="*/ 141 w 207"/>
                <a:gd name="T47" fmla="*/ 144 h 202"/>
                <a:gd name="T48" fmla="*/ 129 w 207"/>
                <a:gd name="T49" fmla="*/ 152 h 202"/>
                <a:gd name="T50" fmla="*/ 126 w 207"/>
                <a:gd name="T51" fmla="*/ 163 h 202"/>
                <a:gd name="T52" fmla="*/ 140 w 207"/>
                <a:gd name="T53" fmla="*/ 161 h 202"/>
                <a:gd name="T54" fmla="*/ 154 w 207"/>
                <a:gd name="T55" fmla="*/ 159 h 202"/>
                <a:gd name="T56" fmla="*/ 135 w 207"/>
                <a:gd name="T57" fmla="*/ 187 h 202"/>
                <a:gd name="T58" fmla="*/ 129 w 207"/>
                <a:gd name="T59" fmla="*/ 202 h 202"/>
                <a:gd name="T60" fmla="*/ 113 w 207"/>
                <a:gd name="T61" fmla="*/ 202 h 202"/>
                <a:gd name="T62" fmla="*/ 112 w 207"/>
                <a:gd name="T63" fmla="*/ 196 h 202"/>
                <a:gd name="T64" fmla="*/ 98 w 207"/>
                <a:gd name="T65" fmla="*/ 193 h 202"/>
                <a:gd name="T66" fmla="*/ 95 w 207"/>
                <a:gd name="T67" fmla="*/ 184 h 202"/>
                <a:gd name="T68" fmla="*/ 88 w 207"/>
                <a:gd name="T69" fmla="*/ 175 h 202"/>
                <a:gd name="T70" fmla="*/ 78 w 207"/>
                <a:gd name="T71" fmla="*/ 176 h 202"/>
                <a:gd name="T72" fmla="*/ 68 w 207"/>
                <a:gd name="T73" fmla="*/ 163 h 202"/>
                <a:gd name="T74" fmla="*/ 54 w 207"/>
                <a:gd name="T75" fmla="*/ 165 h 202"/>
                <a:gd name="T76" fmla="*/ 44 w 207"/>
                <a:gd name="T77" fmla="*/ 150 h 202"/>
                <a:gd name="T78" fmla="*/ 35 w 207"/>
                <a:gd name="T79" fmla="*/ 143 h 202"/>
                <a:gd name="T80" fmla="*/ 22 w 207"/>
                <a:gd name="T81" fmla="*/ 137 h 202"/>
                <a:gd name="T82" fmla="*/ 10 w 207"/>
                <a:gd name="T83" fmla="*/ 129 h 202"/>
                <a:gd name="T84" fmla="*/ 5 w 207"/>
                <a:gd name="T85" fmla="*/ 122 h 202"/>
                <a:gd name="T86" fmla="*/ 0 w 207"/>
                <a:gd name="T87" fmla="*/ 110 h 202"/>
                <a:gd name="T88" fmla="*/ 8 w 207"/>
                <a:gd name="T89" fmla="*/ 95 h 202"/>
                <a:gd name="T90" fmla="*/ 19 w 207"/>
                <a:gd name="T91" fmla="*/ 83 h 202"/>
                <a:gd name="T92" fmla="*/ 25 w 207"/>
                <a:gd name="T93" fmla="*/ 70 h 202"/>
                <a:gd name="T94" fmla="*/ 22 w 207"/>
                <a:gd name="T95" fmla="*/ 60 h 202"/>
                <a:gd name="T96" fmla="*/ 30 w 207"/>
                <a:gd name="T97" fmla="*/ 43 h 202"/>
                <a:gd name="T98" fmla="*/ 38 w 207"/>
                <a:gd name="T99" fmla="*/ 37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7" h="202">
                  <a:moveTo>
                    <a:pt x="46" y="29"/>
                  </a:moveTo>
                  <a:cubicBezTo>
                    <a:pt x="47" y="32"/>
                    <a:pt x="49" y="34"/>
                    <a:pt x="50" y="36"/>
                  </a:cubicBezTo>
                  <a:cubicBezTo>
                    <a:pt x="52" y="41"/>
                    <a:pt x="55" y="42"/>
                    <a:pt x="59" y="40"/>
                  </a:cubicBezTo>
                  <a:cubicBezTo>
                    <a:pt x="64" y="39"/>
                    <a:pt x="68" y="34"/>
                    <a:pt x="66" y="31"/>
                  </a:cubicBezTo>
                  <a:cubicBezTo>
                    <a:pt x="64" y="28"/>
                    <a:pt x="59" y="29"/>
                    <a:pt x="60" y="22"/>
                  </a:cubicBezTo>
                  <a:cubicBezTo>
                    <a:pt x="62" y="16"/>
                    <a:pt x="62" y="11"/>
                    <a:pt x="62" y="9"/>
                  </a:cubicBezTo>
                  <a:cubicBezTo>
                    <a:pt x="61" y="8"/>
                    <a:pt x="66" y="5"/>
                    <a:pt x="69" y="7"/>
                  </a:cubicBezTo>
                  <a:cubicBezTo>
                    <a:pt x="73" y="8"/>
                    <a:pt x="75" y="0"/>
                    <a:pt x="77" y="8"/>
                  </a:cubicBezTo>
                  <a:cubicBezTo>
                    <a:pt x="79" y="15"/>
                    <a:pt x="78" y="21"/>
                    <a:pt x="79" y="24"/>
                  </a:cubicBezTo>
                  <a:cubicBezTo>
                    <a:pt x="80" y="27"/>
                    <a:pt x="84" y="30"/>
                    <a:pt x="84" y="34"/>
                  </a:cubicBezTo>
                  <a:cubicBezTo>
                    <a:pt x="85" y="39"/>
                    <a:pt x="89" y="44"/>
                    <a:pt x="90" y="44"/>
                  </a:cubicBezTo>
                  <a:cubicBezTo>
                    <a:pt x="91" y="45"/>
                    <a:pt x="99" y="50"/>
                    <a:pt x="100" y="43"/>
                  </a:cubicBezTo>
                  <a:cubicBezTo>
                    <a:pt x="102" y="37"/>
                    <a:pt x="101" y="32"/>
                    <a:pt x="104" y="27"/>
                  </a:cubicBezTo>
                  <a:cubicBezTo>
                    <a:pt x="106" y="21"/>
                    <a:pt x="104" y="20"/>
                    <a:pt x="109" y="20"/>
                  </a:cubicBezTo>
                  <a:cubicBezTo>
                    <a:pt x="115" y="20"/>
                    <a:pt x="123" y="20"/>
                    <a:pt x="127" y="20"/>
                  </a:cubicBezTo>
                  <a:cubicBezTo>
                    <a:pt x="131" y="21"/>
                    <a:pt x="136" y="22"/>
                    <a:pt x="138" y="20"/>
                  </a:cubicBezTo>
                  <a:cubicBezTo>
                    <a:pt x="141" y="19"/>
                    <a:pt x="146" y="15"/>
                    <a:pt x="150" y="18"/>
                  </a:cubicBezTo>
                  <a:cubicBezTo>
                    <a:pt x="154" y="22"/>
                    <a:pt x="157" y="27"/>
                    <a:pt x="158" y="30"/>
                  </a:cubicBezTo>
                  <a:cubicBezTo>
                    <a:pt x="159" y="33"/>
                    <a:pt x="157" y="35"/>
                    <a:pt x="157" y="38"/>
                  </a:cubicBezTo>
                  <a:cubicBezTo>
                    <a:pt x="158" y="40"/>
                    <a:pt x="162" y="38"/>
                    <a:pt x="166" y="34"/>
                  </a:cubicBezTo>
                  <a:cubicBezTo>
                    <a:pt x="171" y="48"/>
                    <a:pt x="171" y="48"/>
                    <a:pt x="171" y="48"/>
                  </a:cubicBezTo>
                  <a:cubicBezTo>
                    <a:pt x="172" y="54"/>
                    <a:pt x="172" y="54"/>
                    <a:pt x="172" y="54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82" y="69"/>
                    <a:pt x="182" y="69"/>
                    <a:pt x="182" y="69"/>
                  </a:cubicBezTo>
                  <a:cubicBezTo>
                    <a:pt x="190" y="76"/>
                    <a:pt x="190" y="76"/>
                    <a:pt x="190" y="76"/>
                  </a:cubicBezTo>
                  <a:cubicBezTo>
                    <a:pt x="196" y="76"/>
                    <a:pt x="196" y="76"/>
                    <a:pt x="196" y="76"/>
                  </a:cubicBezTo>
                  <a:cubicBezTo>
                    <a:pt x="198" y="71"/>
                    <a:pt x="198" y="71"/>
                    <a:pt x="198" y="71"/>
                  </a:cubicBezTo>
                  <a:cubicBezTo>
                    <a:pt x="207" y="77"/>
                    <a:pt x="207" y="77"/>
                    <a:pt x="207" y="77"/>
                  </a:cubicBezTo>
                  <a:cubicBezTo>
                    <a:pt x="201" y="86"/>
                    <a:pt x="201" y="86"/>
                    <a:pt x="201" y="86"/>
                  </a:cubicBezTo>
                  <a:cubicBezTo>
                    <a:pt x="195" y="96"/>
                    <a:pt x="195" y="96"/>
                    <a:pt x="195" y="96"/>
                  </a:cubicBezTo>
                  <a:cubicBezTo>
                    <a:pt x="200" y="105"/>
                    <a:pt x="200" y="105"/>
                    <a:pt x="200" y="105"/>
                  </a:cubicBezTo>
                  <a:cubicBezTo>
                    <a:pt x="198" y="112"/>
                    <a:pt x="198" y="112"/>
                    <a:pt x="198" y="112"/>
                  </a:cubicBezTo>
                  <a:cubicBezTo>
                    <a:pt x="202" y="119"/>
                    <a:pt x="202" y="119"/>
                    <a:pt x="202" y="119"/>
                  </a:cubicBezTo>
                  <a:cubicBezTo>
                    <a:pt x="195" y="127"/>
                    <a:pt x="195" y="127"/>
                    <a:pt x="195" y="127"/>
                  </a:cubicBezTo>
                  <a:cubicBezTo>
                    <a:pt x="181" y="119"/>
                    <a:pt x="181" y="119"/>
                    <a:pt x="181" y="119"/>
                  </a:cubicBezTo>
                  <a:cubicBezTo>
                    <a:pt x="171" y="123"/>
                    <a:pt x="171" y="123"/>
                    <a:pt x="171" y="123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57" y="109"/>
                    <a:pt x="157" y="109"/>
                    <a:pt x="157" y="109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1" y="100"/>
                    <a:pt x="141" y="100"/>
                    <a:pt x="141" y="100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39" y="110"/>
                    <a:pt x="139" y="110"/>
                    <a:pt x="139" y="110"/>
                  </a:cubicBezTo>
                  <a:cubicBezTo>
                    <a:pt x="145" y="115"/>
                    <a:pt x="145" y="115"/>
                    <a:pt x="145" y="115"/>
                  </a:cubicBezTo>
                  <a:cubicBezTo>
                    <a:pt x="144" y="126"/>
                    <a:pt x="144" y="126"/>
                    <a:pt x="144" y="126"/>
                  </a:cubicBezTo>
                  <a:cubicBezTo>
                    <a:pt x="138" y="130"/>
                    <a:pt x="138" y="130"/>
                    <a:pt x="138" y="130"/>
                  </a:cubicBezTo>
                  <a:cubicBezTo>
                    <a:pt x="138" y="134"/>
                    <a:pt x="138" y="134"/>
                    <a:pt x="138" y="134"/>
                  </a:cubicBezTo>
                  <a:cubicBezTo>
                    <a:pt x="141" y="138"/>
                    <a:pt x="141" y="138"/>
                    <a:pt x="141" y="138"/>
                  </a:cubicBezTo>
                  <a:cubicBezTo>
                    <a:pt x="141" y="144"/>
                    <a:pt x="141" y="144"/>
                    <a:pt x="141" y="144"/>
                  </a:cubicBezTo>
                  <a:cubicBezTo>
                    <a:pt x="132" y="145"/>
                    <a:pt x="132" y="145"/>
                    <a:pt x="132" y="145"/>
                  </a:cubicBezTo>
                  <a:cubicBezTo>
                    <a:pt x="129" y="152"/>
                    <a:pt x="129" y="152"/>
                    <a:pt x="129" y="152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6" y="163"/>
                    <a:pt x="126" y="163"/>
                    <a:pt x="126" y="163"/>
                  </a:cubicBezTo>
                  <a:cubicBezTo>
                    <a:pt x="135" y="166"/>
                    <a:pt x="135" y="166"/>
                    <a:pt x="135" y="166"/>
                  </a:cubicBezTo>
                  <a:cubicBezTo>
                    <a:pt x="140" y="161"/>
                    <a:pt x="140" y="161"/>
                    <a:pt x="140" y="161"/>
                  </a:cubicBezTo>
                  <a:cubicBezTo>
                    <a:pt x="145" y="158"/>
                    <a:pt x="145" y="158"/>
                    <a:pt x="145" y="158"/>
                  </a:cubicBezTo>
                  <a:cubicBezTo>
                    <a:pt x="154" y="159"/>
                    <a:pt x="154" y="159"/>
                    <a:pt x="154" y="159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35" y="187"/>
                    <a:pt x="135" y="187"/>
                    <a:pt x="135" y="187"/>
                  </a:cubicBezTo>
                  <a:cubicBezTo>
                    <a:pt x="139" y="191"/>
                    <a:pt x="139" y="191"/>
                    <a:pt x="139" y="191"/>
                  </a:cubicBezTo>
                  <a:cubicBezTo>
                    <a:pt x="129" y="202"/>
                    <a:pt x="129" y="202"/>
                    <a:pt x="129" y="202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13" y="202"/>
                    <a:pt x="113" y="202"/>
                    <a:pt x="113" y="202"/>
                  </a:cubicBezTo>
                  <a:cubicBezTo>
                    <a:pt x="111" y="201"/>
                    <a:pt x="111" y="201"/>
                    <a:pt x="111" y="201"/>
                  </a:cubicBezTo>
                  <a:cubicBezTo>
                    <a:pt x="112" y="196"/>
                    <a:pt x="112" y="196"/>
                    <a:pt x="112" y="196"/>
                  </a:cubicBezTo>
                  <a:cubicBezTo>
                    <a:pt x="103" y="188"/>
                    <a:pt x="103" y="188"/>
                    <a:pt x="103" y="188"/>
                  </a:cubicBezTo>
                  <a:cubicBezTo>
                    <a:pt x="98" y="193"/>
                    <a:pt x="98" y="193"/>
                    <a:pt x="98" y="193"/>
                  </a:cubicBezTo>
                  <a:cubicBezTo>
                    <a:pt x="96" y="188"/>
                    <a:pt x="96" y="188"/>
                    <a:pt x="96" y="188"/>
                  </a:cubicBezTo>
                  <a:cubicBezTo>
                    <a:pt x="95" y="184"/>
                    <a:pt x="95" y="184"/>
                    <a:pt x="95" y="184"/>
                  </a:cubicBezTo>
                  <a:cubicBezTo>
                    <a:pt x="85" y="178"/>
                    <a:pt x="85" y="178"/>
                    <a:pt x="85" y="178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1" y="170"/>
                    <a:pt x="81" y="170"/>
                    <a:pt x="81" y="170"/>
                  </a:cubicBezTo>
                  <a:cubicBezTo>
                    <a:pt x="78" y="176"/>
                    <a:pt x="78" y="176"/>
                    <a:pt x="78" y="17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1" y="163"/>
                    <a:pt x="61" y="163"/>
                    <a:pt x="61" y="163"/>
                  </a:cubicBezTo>
                  <a:cubicBezTo>
                    <a:pt x="54" y="165"/>
                    <a:pt x="54" y="165"/>
                    <a:pt x="54" y="165"/>
                  </a:cubicBezTo>
                  <a:cubicBezTo>
                    <a:pt x="52" y="158"/>
                    <a:pt x="52" y="158"/>
                    <a:pt x="52" y="158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48"/>
                    <a:pt x="39" y="148"/>
                    <a:pt x="39" y="148"/>
                  </a:cubicBezTo>
                  <a:cubicBezTo>
                    <a:pt x="35" y="143"/>
                    <a:pt x="35" y="143"/>
                    <a:pt x="35" y="143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2" y="137"/>
                    <a:pt x="22" y="137"/>
                    <a:pt x="22" y="137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0" y="129"/>
                    <a:pt x="10" y="129"/>
                    <a:pt x="10" y="129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5" y="122"/>
                    <a:pt x="5" y="122"/>
                    <a:pt x="5" y="12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6" y="92"/>
                    <a:pt x="6" y="92"/>
                    <a:pt x="6" y="92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38" y="37"/>
                    <a:pt x="38" y="37"/>
                    <a:pt x="38" y="37"/>
                  </a:cubicBezTo>
                  <a:lnTo>
                    <a:pt x="46" y="29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1544" y="2528"/>
              <a:ext cx="252" cy="317"/>
            </a:xfrm>
            <a:custGeom>
              <a:avLst/>
              <a:gdLst>
                <a:gd name="T0" fmla="*/ 0 w 121"/>
                <a:gd name="T1" fmla="*/ 59 h 152"/>
                <a:gd name="T2" fmla="*/ 6 w 121"/>
                <a:gd name="T3" fmla="*/ 48 h 152"/>
                <a:gd name="T4" fmla="*/ 25 w 121"/>
                <a:gd name="T5" fmla="*/ 45 h 152"/>
                <a:gd name="T6" fmla="*/ 31 w 121"/>
                <a:gd name="T7" fmla="*/ 35 h 152"/>
                <a:gd name="T8" fmla="*/ 34 w 121"/>
                <a:gd name="T9" fmla="*/ 26 h 152"/>
                <a:gd name="T10" fmla="*/ 37 w 121"/>
                <a:gd name="T11" fmla="*/ 15 h 152"/>
                <a:gd name="T12" fmla="*/ 49 w 121"/>
                <a:gd name="T13" fmla="*/ 8 h 152"/>
                <a:gd name="T14" fmla="*/ 56 w 121"/>
                <a:gd name="T15" fmla="*/ 2 h 152"/>
                <a:gd name="T16" fmla="*/ 62 w 121"/>
                <a:gd name="T17" fmla="*/ 5 h 152"/>
                <a:gd name="T18" fmla="*/ 72 w 121"/>
                <a:gd name="T19" fmla="*/ 6 h 152"/>
                <a:gd name="T20" fmla="*/ 80 w 121"/>
                <a:gd name="T21" fmla="*/ 11 h 152"/>
                <a:gd name="T22" fmla="*/ 86 w 121"/>
                <a:gd name="T23" fmla="*/ 6 h 152"/>
                <a:gd name="T24" fmla="*/ 90 w 121"/>
                <a:gd name="T25" fmla="*/ 10 h 152"/>
                <a:gd name="T26" fmla="*/ 98 w 121"/>
                <a:gd name="T27" fmla="*/ 14 h 152"/>
                <a:gd name="T28" fmla="*/ 98 w 121"/>
                <a:gd name="T29" fmla="*/ 23 h 152"/>
                <a:gd name="T30" fmla="*/ 91 w 121"/>
                <a:gd name="T31" fmla="*/ 22 h 152"/>
                <a:gd name="T32" fmla="*/ 95 w 121"/>
                <a:gd name="T33" fmla="*/ 33 h 152"/>
                <a:gd name="T34" fmla="*/ 105 w 121"/>
                <a:gd name="T35" fmla="*/ 49 h 152"/>
                <a:gd name="T36" fmla="*/ 113 w 121"/>
                <a:gd name="T37" fmla="*/ 65 h 152"/>
                <a:gd name="T38" fmla="*/ 114 w 121"/>
                <a:gd name="T39" fmla="*/ 92 h 152"/>
                <a:gd name="T40" fmla="*/ 118 w 121"/>
                <a:gd name="T41" fmla="*/ 112 h 152"/>
                <a:gd name="T42" fmla="*/ 120 w 121"/>
                <a:gd name="T43" fmla="*/ 128 h 152"/>
                <a:gd name="T44" fmla="*/ 113 w 121"/>
                <a:gd name="T45" fmla="*/ 144 h 152"/>
                <a:gd name="T46" fmla="*/ 82 w 121"/>
                <a:gd name="T47" fmla="*/ 152 h 152"/>
                <a:gd name="T48" fmla="*/ 65 w 121"/>
                <a:gd name="T49" fmla="*/ 144 h 152"/>
                <a:gd name="T50" fmla="*/ 56 w 121"/>
                <a:gd name="T51" fmla="*/ 124 h 152"/>
                <a:gd name="T52" fmla="*/ 46 w 121"/>
                <a:gd name="T53" fmla="*/ 109 h 152"/>
                <a:gd name="T54" fmla="*/ 39 w 121"/>
                <a:gd name="T55" fmla="*/ 91 h 152"/>
                <a:gd name="T56" fmla="*/ 37 w 121"/>
                <a:gd name="T57" fmla="*/ 78 h 152"/>
                <a:gd name="T58" fmla="*/ 34 w 121"/>
                <a:gd name="T59" fmla="*/ 74 h 152"/>
                <a:gd name="T60" fmla="*/ 32 w 121"/>
                <a:gd name="T61" fmla="*/ 91 h 152"/>
                <a:gd name="T62" fmla="*/ 32 w 121"/>
                <a:gd name="T63" fmla="*/ 93 h 152"/>
                <a:gd name="T64" fmla="*/ 17 w 121"/>
                <a:gd name="T65" fmla="*/ 87 h 152"/>
                <a:gd name="T66" fmla="*/ 13 w 121"/>
                <a:gd name="T67" fmla="*/ 82 h 152"/>
                <a:gd name="T68" fmla="*/ 15 w 121"/>
                <a:gd name="T69" fmla="*/ 71 h 152"/>
                <a:gd name="T70" fmla="*/ 0 w 121"/>
                <a:gd name="T71" fmla="*/ 5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1" h="152">
                  <a:moveTo>
                    <a:pt x="0" y="59"/>
                  </a:moveTo>
                  <a:cubicBezTo>
                    <a:pt x="3" y="54"/>
                    <a:pt x="5" y="50"/>
                    <a:pt x="6" y="48"/>
                  </a:cubicBezTo>
                  <a:cubicBezTo>
                    <a:pt x="9" y="43"/>
                    <a:pt x="18" y="45"/>
                    <a:pt x="25" y="45"/>
                  </a:cubicBezTo>
                  <a:cubicBezTo>
                    <a:pt x="33" y="45"/>
                    <a:pt x="31" y="39"/>
                    <a:pt x="31" y="35"/>
                  </a:cubicBezTo>
                  <a:cubicBezTo>
                    <a:pt x="31" y="32"/>
                    <a:pt x="36" y="29"/>
                    <a:pt x="34" y="26"/>
                  </a:cubicBezTo>
                  <a:cubicBezTo>
                    <a:pt x="32" y="22"/>
                    <a:pt x="34" y="17"/>
                    <a:pt x="37" y="15"/>
                  </a:cubicBezTo>
                  <a:cubicBezTo>
                    <a:pt x="40" y="13"/>
                    <a:pt x="43" y="8"/>
                    <a:pt x="49" y="8"/>
                  </a:cubicBezTo>
                  <a:cubicBezTo>
                    <a:pt x="54" y="7"/>
                    <a:pt x="53" y="5"/>
                    <a:pt x="56" y="2"/>
                  </a:cubicBezTo>
                  <a:cubicBezTo>
                    <a:pt x="60" y="0"/>
                    <a:pt x="62" y="5"/>
                    <a:pt x="62" y="5"/>
                  </a:cubicBezTo>
                  <a:cubicBezTo>
                    <a:pt x="62" y="5"/>
                    <a:pt x="68" y="10"/>
                    <a:pt x="72" y="6"/>
                  </a:cubicBezTo>
                  <a:cubicBezTo>
                    <a:pt x="75" y="3"/>
                    <a:pt x="77" y="11"/>
                    <a:pt x="80" y="11"/>
                  </a:cubicBezTo>
                  <a:cubicBezTo>
                    <a:pt x="82" y="11"/>
                    <a:pt x="85" y="8"/>
                    <a:pt x="86" y="6"/>
                  </a:cubicBezTo>
                  <a:cubicBezTo>
                    <a:pt x="88" y="9"/>
                    <a:pt x="85" y="11"/>
                    <a:pt x="90" y="10"/>
                  </a:cubicBezTo>
                  <a:cubicBezTo>
                    <a:pt x="95" y="10"/>
                    <a:pt x="97" y="10"/>
                    <a:pt x="98" y="14"/>
                  </a:cubicBezTo>
                  <a:cubicBezTo>
                    <a:pt x="100" y="17"/>
                    <a:pt x="101" y="24"/>
                    <a:pt x="98" y="23"/>
                  </a:cubicBezTo>
                  <a:cubicBezTo>
                    <a:pt x="95" y="22"/>
                    <a:pt x="93" y="21"/>
                    <a:pt x="91" y="22"/>
                  </a:cubicBezTo>
                  <a:cubicBezTo>
                    <a:pt x="89" y="24"/>
                    <a:pt x="93" y="29"/>
                    <a:pt x="95" y="33"/>
                  </a:cubicBezTo>
                  <a:cubicBezTo>
                    <a:pt x="98" y="37"/>
                    <a:pt x="99" y="45"/>
                    <a:pt x="105" y="49"/>
                  </a:cubicBezTo>
                  <a:cubicBezTo>
                    <a:pt x="111" y="53"/>
                    <a:pt x="113" y="61"/>
                    <a:pt x="113" y="65"/>
                  </a:cubicBezTo>
                  <a:cubicBezTo>
                    <a:pt x="112" y="70"/>
                    <a:pt x="113" y="86"/>
                    <a:pt x="114" y="92"/>
                  </a:cubicBezTo>
                  <a:cubicBezTo>
                    <a:pt x="114" y="98"/>
                    <a:pt x="114" y="104"/>
                    <a:pt x="118" y="112"/>
                  </a:cubicBezTo>
                  <a:cubicBezTo>
                    <a:pt x="121" y="120"/>
                    <a:pt x="121" y="125"/>
                    <a:pt x="120" y="128"/>
                  </a:cubicBezTo>
                  <a:cubicBezTo>
                    <a:pt x="119" y="131"/>
                    <a:pt x="115" y="140"/>
                    <a:pt x="113" y="144"/>
                  </a:cubicBezTo>
                  <a:cubicBezTo>
                    <a:pt x="111" y="149"/>
                    <a:pt x="89" y="152"/>
                    <a:pt x="82" y="152"/>
                  </a:cubicBezTo>
                  <a:cubicBezTo>
                    <a:pt x="75" y="152"/>
                    <a:pt x="69" y="148"/>
                    <a:pt x="65" y="144"/>
                  </a:cubicBezTo>
                  <a:cubicBezTo>
                    <a:pt x="61" y="139"/>
                    <a:pt x="60" y="129"/>
                    <a:pt x="56" y="124"/>
                  </a:cubicBezTo>
                  <a:cubicBezTo>
                    <a:pt x="52" y="118"/>
                    <a:pt x="45" y="115"/>
                    <a:pt x="46" y="109"/>
                  </a:cubicBezTo>
                  <a:cubicBezTo>
                    <a:pt x="46" y="103"/>
                    <a:pt x="41" y="96"/>
                    <a:pt x="39" y="91"/>
                  </a:cubicBezTo>
                  <a:cubicBezTo>
                    <a:pt x="37" y="87"/>
                    <a:pt x="38" y="82"/>
                    <a:pt x="37" y="78"/>
                  </a:cubicBezTo>
                  <a:cubicBezTo>
                    <a:pt x="36" y="74"/>
                    <a:pt x="35" y="69"/>
                    <a:pt x="34" y="74"/>
                  </a:cubicBezTo>
                  <a:cubicBezTo>
                    <a:pt x="32" y="78"/>
                    <a:pt x="34" y="85"/>
                    <a:pt x="32" y="91"/>
                  </a:cubicBezTo>
                  <a:cubicBezTo>
                    <a:pt x="32" y="92"/>
                    <a:pt x="32" y="92"/>
                    <a:pt x="32" y="93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5" y="71"/>
                    <a:pt x="15" y="71"/>
                    <a:pt x="15" y="71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1298" y="2999"/>
              <a:ext cx="367" cy="300"/>
            </a:xfrm>
            <a:custGeom>
              <a:avLst/>
              <a:gdLst>
                <a:gd name="T0" fmla="*/ 344 w 367"/>
                <a:gd name="T1" fmla="*/ 258 h 300"/>
                <a:gd name="T2" fmla="*/ 321 w 367"/>
                <a:gd name="T3" fmla="*/ 258 h 300"/>
                <a:gd name="T4" fmla="*/ 327 w 367"/>
                <a:gd name="T5" fmla="*/ 281 h 300"/>
                <a:gd name="T6" fmla="*/ 323 w 367"/>
                <a:gd name="T7" fmla="*/ 298 h 300"/>
                <a:gd name="T8" fmla="*/ 296 w 367"/>
                <a:gd name="T9" fmla="*/ 298 h 300"/>
                <a:gd name="T10" fmla="*/ 275 w 367"/>
                <a:gd name="T11" fmla="*/ 300 h 300"/>
                <a:gd name="T12" fmla="*/ 241 w 367"/>
                <a:gd name="T13" fmla="*/ 271 h 300"/>
                <a:gd name="T14" fmla="*/ 223 w 367"/>
                <a:gd name="T15" fmla="*/ 246 h 300"/>
                <a:gd name="T16" fmla="*/ 191 w 367"/>
                <a:gd name="T17" fmla="*/ 219 h 300"/>
                <a:gd name="T18" fmla="*/ 158 w 367"/>
                <a:gd name="T19" fmla="*/ 221 h 300"/>
                <a:gd name="T20" fmla="*/ 112 w 367"/>
                <a:gd name="T21" fmla="*/ 212 h 300"/>
                <a:gd name="T22" fmla="*/ 104 w 367"/>
                <a:gd name="T23" fmla="*/ 175 h 300"/>
                <a:gd name="T24" fmla="*/ 73 w 367"/>
                <a:gd name="T25" fmla="*/ 160 h 300"/>
                <a:gd name="T26" fmla="*/ 46 w 367"/>
                <a:gd name="T27" fmla="*/ 133 h 300"/>
                <a:gd name="T28" fmla="*/ 16 w 367"/>
                <a:gd name="T29" fmla="*/ 131 h 300"/>
                <a:gd name="T30" fmla="*/ 14 w 367"/>
                <a:gd name="T31" fmla="*/ 104 h 300"/>
                <a:gd name="T32" fmla="*/ 8 w 367"/>
                <a:gd name="T33" fmla="*/ 79 h 300"/>
                <a:gd name="T34" fmla="*/ 19 w 367"/>
                <a:gd name="T35" fmla="*/ 75 h 300"/>
                <a:gd name="T36" fmla="*/ 62 w 367"/>
                <a:gd name="T37" fmla="*/ 33 h 300"/>
                <a:gd name="T38" fmla="*/ 89 w 367"/>
                <a:gd name="T39" fmla="*/ 8 h 300"/>
                <a:gd name="T40" fmla="*/ 112 w 367"/>
                <a:gd name="T41" fmla="*/ 4 h 300"/>
                <a:gd name="T42" fmla="*/ 139 w 367"/>
                <a:gd name="T43" fmla="*/ 8 h 300"/>
                <a:gd name="T44" fmla="*/ 166 w 367"/>
                <a:gd name="T45" fmla="*/ 8 h 300"/>
                <a:gd name="T46" fmla="*/ 169 w 367"/>
                <a:gd name="T47" fmla="*/ 46 h 300"/>
                <a:gd name="T48" fmla="*/ 162 w 367"/>
                <a:gd name="T49" fmla="*/ 77 h 300"/>
                <a:gd name="T50" fmla="*/ 173 w 367"/>
                <a:gd name="T51" fmla="*/ 98 h 300"/>
                <a:gd name="T52" fmla="*/ 191 w 367"/>
                <a:gd name="T53" fmla="*/ 117 h 300"/>
                <a:gd name="T54" fmla="*/ 210 w 367"/>
                <a:gd name="T55" fmla="*/ 133 h 300"/>
                <a:gd name="T56" fmla="*/ 244 w 367"/>
                <a:gd name="T57" fmla="*/ 142 h 300"/>
                <a:gd name="T58" fmla="*/ 271 w 367"/>
                <a:gd name="T59" fmla="*/ 162 h 300"/>
                <a:gd name="T60" fmla="*/ 289 w 367"/>
                <a:gd name="T61" fmla="*/ 173 h 300"/>
                <a:gd name="T62" fmla="*/ 308 w 367"/>
                <a:gd name="T63" fmla="*/ 187 h 300"/>
                <a:gd name="T64" fmla="*/ 331 w 367"/>
                <a:gd name="T65" fmla="*/ 187 h 300"/>
                <a:gd name="T66" fmla="*/ 339 w 367"/>
                <a:gd name="T67" fmla="*/ 204 h 300"/>
                <a:gd name="T68" fmla="*/ 362 w 367"/>
                <a:gd name="T69" fmla="*/ 22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7" h="300">
                  <a:moveTo>
                    <a:pt x="367" y="235"/>
                  </a:moveTo>
                  <a:lnTo>
                    <a:pt x="344" y="258"/>
                  </a:lnTo>
                  <a:lnTo>
                    <a:pt x="331" y="250"/>
                  </a:lnTo>
                  <a:lnTo>
                    <a:pt x="321" y="258"/>
                  </a:lnTo>
                  <a:lnTo>
                    <a:pt x="337" y="273"/>
                  </a:lnTo>
                  <a:lnTo>
                    <a:pt x="327" y="281"/>
                  </a:lnTo>
                  <a:lnTo>
                    <a:pt x="327" y="292"/>
                  </a:lnTo>
                  <a:lnTo>
                    <a:pt x="323" y="298"/>
                  </a:lnTo>
                  <a:lnTo>
                    <a:pt x="306" y="281"/>
                  </a:lnTo>
                  <a:lnTo>
                    <a:pt x="296" y="298"/>
                  </a:lnTo>
                  <a:lnTo>
                    <a:pt x="283" y="294"/>
                  </a:lnTo>
                  <a:lnTo>
                    <a:pt x="275" y="300"/>
                  </a:lnTo>
                  <a:lnTo>
                    <a:pt x="264" y="281"/>
                  </a:lnTo>
                  <a:lnTo>
                    <a:pt x="241" y="271"/>
                  </a:lnTo>
                  <a:lnTo>
                    <a:pt x="237" y="260"/>
                  </a:lnTo>
                  <a:lnTo>
                    <a:pt x="223" y="246"/>
                  </a:lnTo>
                  <a:lnTo>
                    <a:pt x="206" y="242"/>
                  </a:lnTo>
                  <a:lnTo>
                    <a:pt x="191" y="219"/>
                  </a:lnTo>
                  <a:lnTo>
                    <a:pt x="179" y="225"/>
                  </a:lnTo>
                  <a:lnTo>
                    <a:pt x="158" y="221"/>
                  </a:lnTo>
                  <a:lnTo>
                    <a:pt x="131" y="231"/>
                  </a:lnTo>
                  <a:lnTo>
                    <a:pt x="112" y="212"/>
                  </a:lnTo>
                  <a:lnTo>
                    <a:pt x="112" y="185"/>
                  </a:lnTo>
                  <a:lnTo>
                    <a:pt x="104" y="175"/>
                  </a:lnTo>
                  <a:lnTo>
                    <a:pt x="96" y="181"/>
                  </a:lnTo>
                  <a:lnTo>
                    <a:pt x="73" y="160"/>
                  </a:lnTo>
                  <a:lnTo>
                    <a:pt x="48" y="160"/>
                  </a:lnTo>
                  <a:lnTo>
                    <a:pt x="46" y="133"/>
                  </a:lnTo>
                  <a:lnTo>
                    <a:pt x="19" y="133"/>
                  </a:lnTo>
                  <a:lnTo>
                    <a:pt x="16" y="131"/>
                  </a:lnTo>
                  <a:lnTo>
                    <a:pt x="21" y="117"/>
                  </a:lnTo>
                  <a:lnTo>
                    <a:pt x="14" y="104"/>
                  </a:lnTo>
                  <a:lnTo>
                    <a:pt x="0" y="96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19" y="75"/>
                  </a:lnTo>
                  <a:lnTo>
                    <a:pt x="41" y="71"/>
                  </a:lnTo>
                  <a:lnTo>
                    <a:pt x="62" y="33"/>
                  </a:lnTo>
                  <a:lnTo>
                    <a:pt x="81" y="23"/>
                  </a:lnTo>
                  <a:lnTo>
                    <a:pt x="89" y="8"/>
                  </a:lnTo>
                  <a:lnTo>
                    <a:pt x="100" y="12"/>
                  </a:lnTo>
                  <a:lnTo>
                    <a:pt x="112" y="4"/>
                  </a:lnTo>
                  <a:lnTo>
                    <a:pt x="131" y="0"/>
                  </a:lnTo>
                  <a:lnTo>
                    <a:pt x="139" y="8"/>
                  </a:lnTo>
                  <a:lnTo>
                    <a:pt x="150" y="6"/>
                  </a:lnTo>
                  <a:lnTo>
                    <a:pt x="166" y="8"/>
                  </a:lnTo>
                  <a:lnTo>
                    <a:pt x="179" y="31"/>
                  </a:lnTo>
                  <a:lnTo>
                    <a:pt x="169" y="46"/>
                  </a:lnTo>
                  <a:lnTo>
                    <a:pt x="162" y="62"/>
                  </a:lnTo>
                  <a:lnTo>
                    <a:pt x="162" y="77"/>
                  </a:lnTo>
                  <a:lnTo>
                    <a:pt x="173" y="87"/>
                  </a:lnTo>
                  <a:lnTo>
                    <a:pt x="173" y="98"/>
                  </a:lnTo>
                  <a:lnTo>
                    <a:pt x="183" y="102"/>
                  </a:lnTo>
                  <a:lnTo>
                    <a:pt x="191" y="117"/>
                  </a:lnTo>
                  <a:lnTo>
                    <a:pt x="208" y="119"/>
                  </a:lnTo>
                  <a:lnTo>
                    <a:pt x="210" y="133"/>
                  </a:lnTo>
                  <a:lnTo>
                    <a:pt x="235" y="131"/>
                  </a:lnTo>
                  <a:lnTo>
                    <a:pt x="244" y="142"/>
                  </a:lnTo>
                  <a:lnTo>
                    <a:pt x="254" y="146"/>
                  </a:lnTo>
                  <a:lnTo>
                    <a:pt x="271" y="162"/>
                  </a:lnTo>
                  <a:lnTo>
                    <a:pt x="275" y="177"/>
                  </a:lnTo>
                  <a:lnTo>
                    <a:pt x="289" y="173"/>
                  </a:lnTo>
                  <a:lnTo>
                    <a:pt x="304" y="173"/>
                  </a:lnTo>
                  <a:lnTo>
                    <a:pt x="308" y="187"/>
                  </a:lnTo>
                  <a:lnTo>
                    <a:pt x="325" y="200"/>
                  </a:lnTo>
                  <a:lnTo>
                    <a:pt x="331" y="187"/>
                  </a:lnTo>
                  <a:lnTo>
                    <a:pt x="346" y="198"/>
                  </a:lnTo>
                  <a:lnTo>
                    <a:pt x="339" y="204"/>
                  </a:lnTo>
                  <a:lnTo>
                    <a:pt x="360" y="217"/>
                  </a:lnTo>
                  <a:lnTo>
                    <a:pt x="362" y="225"/>
                  </a:lnTo>
                  <a:lnTo>
                    <a:pt x="367" y="235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1152" y="2855"/>
              <a:ext cx="208" cy="219"/>
            </a:xfrm>
            <a:custGeom>
              <a:avLst/>
              <a:gdLst>
                <a:gd name="T0" fmla="*/ 16 w 100"/>
                <a:gd name="T1" fmla="*/ 18 h 105"/>
                <a:gd name="T2" fmla="*/ 20 w 100"/>
                <a:gd name="T3" fmla="*/ 15 h 105"/>
                <a:gd name="T4" fmla="*/ 30 w 100"/>
                <a:gd name="T5" fmla="*/ 19 h 105"/>
                <a:gd name="T6" fmla="*/ 37 w 100"/>
                <a:gd name="T7" fmla="*/ 23 h 105"/>
                <a:gd name="T8" fmla="*/ 40 w 100"/>
                <a:gd name="T9" fmla="*/ 26 h 105"/>
                <a:gd name="T10" fmla="*/ 37 w 100"/>
                <a:gd name="T11" fmla="*/ 32 h 105"/>
                <a:gd name="T12" fmla="*/ 45 w 100"/>
                <a:gd name="T13" fmla="*/ 40 h 105"/>
                <a:gd name="T14" fmla="*/ 52 w 100"/>
                <a:gd name="T15" fmla="*/ 32 h 105"/>
                <a:gd name="T16" fmla="*/ 46 w 100"/>
                <a:gd name="T17" fmla="*/ 25 h 105"/>
                <a:gd name="T18" fmla="*/ 45 w 100"/>
                <a:gd name="T19" fmla="*/ 23 h 105"/>
                <a:gd name="T20" fmla="*/ 40 w 100"/>
                <a:gd name="T21" fmla="*/ 14 h 105"/>
                <a:gd name="T22" fmla="*/ 39 w 100"/>
                <a:gd name="T23" fmla="*/ 3 h 105"/>
                <a:gd name="T24" fmla="*/ 35 w 100"/>
                <a:gd name="T25" fmla="*/ 0 h 105"/>
                <a:gd name="T26" fmla="*/ 67 w 100"/>
                <a:gd name="T27" fmla="*/ 0 h 105"/>
                <a:gd name="T28" fmla="*/ 68 w 100"/>
                <a:gd name="T29" fmla="*/ 0 h 105"/>
                <a:gd name="T30" fmla="*/ 68 w 100"/>
                <a:gd name="T31" fmla="*/ 13 h 105"/>
                <a:gd name="T32" fmla="*/ 83 w 100"/>
                <a:gd name="T33" fmla="*/ 58 h 105"/>
                <a:gd name="T34" fmla="*/ 92 w 100"/>
                <a:gd name="T35" fmla="*/ 62 h 105"/>
                <a:gd name="T36" fmla="*/ 100 w 100"/>
                <a:gd name="T37" fmla="*/ 85 h 105"/>
                <a:gd name="T38" fmla="*/ 90 w 100"/>
                <a:gd name="T39" fmla="*/ 103 h 105"/>
                <a:gd name="T40" fmla="*/ 79 w 100"/>
                <a:gd name="T41" fmla="*/ 105 h 105"/>
                <a:gd name="T42" fmla="*/ 74 w 100"/>
                <a:gd name="T43" fmla="*/ 105 h 105"/>
                <a:gd name="T44" fmla="*/ 72 w 100"/>
                <a:gd name="T45" fmla="*/ 97 h 105"/>
                <a:gd name="T46" fmla="*/ 64 w 100"/>
                <a:gd name="T47" fmla="*/ 94 h 105"/>
                <a:gd name="T48" fmla="*/ 68 w 100"/>
                <a:gd name="T49" fmla="*/ 85 h 105"/>
                <a:gd name="T50" fmla="*/ 63 w 100"/>
                <a:gd name="T51" fmla="*/ 83 h 105"/>
                <a:gd name="T52" fmla="*/ 64 w 100"/>
                <a:gd name="T53" fmla="*/ 79 h 105"/>
                <a:gd name="T54" fmla="*/ 57 w 100"/>
                <a:gd name="T55" fmla="*/ 79 h 105"/>
                <a:gd name="T56" fmla="*/ 55 w 100"/>
                <a:gd name="T57" fmla="*/ 81 h 105"/>
                <a:gd name="T58" fmla="*/ 52 w 100"/>
                <a:gd name="T59" fmla="*/ 78 h 105"/>
                <a:gd name="T60" fmla="*/ 54 w 100"/>
                <a:gd name="T61" fmla="*/ 70 h 105"/>
                <a:gd name="T62" fmla="*/ 46 w 100"/>
                <a:gd name="T63" fmla="*/ 64 h 105"/>
                <a:gd name="T64" fmla="*/ 42 w 100"/>
                <a:gd name="T65" fmla="*/ 67 h 105"/>
                <a:gd name="T66" fmla="*/ 38 w 100"/>
                <a:gd name="T67" fmla="*/ 68 h 105"/>
                <a:gd name="T68" fmla="*/ 32 w 100"/>
                <a:gd name="T69" fmla="*/ 65 h 105"/>
                <a:gd name="T70" fmla="*/ 21 w 100"/>
                <a:gd name="T71" fmla="*/ 65 h 105"/>
                <a:gd name="T72" fmla="*/ 20 w 100"/>
                <a:gd name="T73" fmla="*/ 60 h 105"/>
                <a:gd name="T74" fmla="*/ 14 w 100"/>
                <a:gd name="T75" fmla="*/ 64 h 105"/>
                <a:gd name="T76" fmla="*/ 9 w 100"/>
                <a:gd name="T77" fmla="*/ 63 h 105"/>
                <a:gd name="T78" fmla="*/ 9 w 100"/>
                <a:gd name="T79" fmla="*/ 63 h 105"/>
                <a:gd name="T80" fmla="*/ 7 w 100"/>
                <a:gd name="T81" fmla="*/ 56 h 105"/>
                <a:gd name="T82" fmla="*/ 9 w 100"/>
                <a:gd name="T83" fmla="*/ 50 h 105"/>
                <a:gd name="T84" fmla="*/ 8 w 100"/>
                <a:gd name="T85" fmla="*/ 42 h 105"/>
                <a:gd name="T86" fmla="*/ 2 w 100"/>
                <a:gd name="T87" fmla="*/ 35 h 105"/>
                <a:gd name="T88" fmla="*/ 4 w 100"/>
                <a:gd name="T89" fmla="*/ 31 h 105"/>
                <a:gd name="T90" fmla="*/ 0 w 100"/>
                <a:gd name="T91" fmla="*/ 27 h 105"/>
                <a:gd name="T92" fmla="*/ 16 w 100"/>
                <a:gd name="T93" fmla="*/ 26 h 105"/>
                <a:gd name="T94" fmla="*/ 16 w 100"/>
                <a:gd name="T95" fmla="*/ 1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0" h="105">
                  <a:moveTo>
                    <a:pt x="16" y="18"/>
                  </a:moveTo>
                  <a:cubicBezTo>
                    <a:pt x="18" y="18"/>
                    <a:pt x="19" y="16"/>
                    <a:pt x="20" y="15"/>
                  </a:cubicBezTo>
                  <a:cubicBezTo>
                    <a:pt x="22" y="11"/>
                    <a:pt x="29" y="16"/>
                    <a:pt x="30" y="19"/>
                  </a:cubicBezTo>
                  <a:cubicBezTo>
                    <a:pt x="32" y="23"/>
                    <a:pt x="35" y="22"/>
                    <a:pt x="37" y="23"/>
                  </a:cubicBezTo>
                  <a:cubicBezTo>
                    <a:pt x="38" y="23"/>
                    <a:pt x="39" y="25"/>
                    <a:pt x="40" y="26"/>
                  </a:cubicBezTo>
                  <a:cubicBezTo>
                    <a:pt x="39" y="28"/>
                    <a:pt x="37" y="30"/>
                    <a:pt x="37" y="32"/>
                  </a:cubicBezTo>
                  <a:cubicBezTo>
                    <a:pt x="37" y="36"/>
                    <a:pt x="41" y="40"/>
                    <a:pt x="45" y="40"/>
                  </a:cubicBezTo>
                  <a:cubicBezTo>
                    <a:pt x="49" y="40"/>
                    <a:pt x="52" y="36"/>
                    <a:pt x="52" y="32"/>
                  </a:cubicBezTo>
                  <a:cubicBezTo>
                    <a:pt x="52" y="29"/>
                    <a:pt x="49" y="25"/>
                    <a:pt x="46" y="25"/>
                  </a:cubicBezTo>
                  <a:cubicBezTo>
                    <a:pt x="45" y="24"/>
                    <a:pt x="45" y="24"/>
                    <a:pt x="45" y="23"/>
                  </a:cubicBezTo>
                  <a:cubicBezTo>
                    <a:pt x="40" y="19"/>
                    <a:pt x="39" y="17"/>
                    <a:pt x="40" y="14"/>
                  </a:cubicBezTo>
                  <a:cubicBezTo>
                    <a:pt x="41" y="10"/>
                    <a:pt x="48" y="9"/>
                    <a:pt x="39" y="3"/>
                  </a:cubicBezTo>
                  <a:cubicBezTo>
                    <a:pt x="37" y="2"/>
                    <a:pt x="36" y="1"/>
                    <a:pt x="35" y="0"/>
                  </a:cubicBezTo>
                  <a:cubicBezTo>
                    <a:pt x="46" y="0"/>
                    <a:pt x="60" y="0"/>
                    <a:pt x="67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100" y="85"/>
                    <a:pt x="100" y="85"/>
                    <a:pt x="100" y="8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79" y="105"/>
                    <a:pt x="79" y="105"/>
                    <a:pt x="79" y="105"/>
                  </a:cubicBezTo>
                  <a:cubicBezTo>
                    <a:pt x="74" y="105"/>
                    <a:pt x="74" y="105"/>
                    <a:pt x="74" y="105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6" y="27"/>
                    <a:pt x="13" y="27"/>
                    <a:pt x="16" y="26"/>
                  </a:cubicBezTo>
                  <a:cubicBezTo>
                    <a:pt x="17" y="25"/>
                    <a:pt x="17" y="22"/>
                    <a:pt x="16" y="18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1121" y="2980"/>
              <a:ext cx="198" cy="150"/>
            </a:xfrm>
            <a:custGeom>
              <a:avLst/>
              <a:gdLst>
                <a:gd name="T0" fmla="*/ 193 w 198"/>
                <a:gd name="T1" fmla="*/ 150 h 150"/>
                <a:gd name="T2" fmla="*/ 164 w 198"/>
                <a:gd name="T3" fmla="*/ 134 h 150"/>
                <a:gd name="T4" fmla="*/ 164 w 198"/>
                <a:gd name="T5" fmla="*/ 138 h 150"/>
                <a:gd name="T6" fmla="*/ 158 w 198"/>
                <a:gd name="T7" fmla="*/ 142 h 150"/>
                <a:gd name="T8" fmla="*/ 148 w 198"/>
                <a:gd name="T9" fmla="*/ 131 h 150"/>
                <a:gd name="T10" fmla="*/ 137 w 198"/>
                <a:gd name="T11" fmla="*/ 131 h 150"/>
                <a:gd name="T12" fmla="*/ 131 w 198"/>
                <a:gd name="T13" fmla="*/ 121 h 150"/>
                <a:gd name="T14" fmla="*/ 129 w 198"/>
                <a:gd name="T15" fmla="*/ 111 h 150"/>
                <a:gd name="T16" fmla="*/ 114 w 198"/>
                <a:gd name="T17" fmla="*/ 108 h 150"/>
                <a:gd name="T18" fmla="*/ 106 w 198"/>
                <a:gd name="T19" fmla="*/ 117 h 150"/>
                <a:gd name="T20" fmla="*/ 93 w 198"/>
                <a:gd name="T21" fmla="*/ 115 h 150"/>
                <a:gd name="T22" fmla="*/ 85 w 198"/>
                <a:gd name="T23" fmla="*/ 123 h 150"/>
                <a:gd name="T24" fmla="*/ 79 w 198"/>
                <a:gd name="T25" fmla="*/ 123 h 150"/>
                <a:gd name="T26" fmla="*/ 68 w 198"/>
                <a:gd name="T27" fmla="*/ 117 h 150"/>
                <a:gd name="T28" fmla="*/ 52 w 198"/>
                <a:gd name="T29" fmla="*/ 117 h 150"/>
                <a:gd name="T30" fmla="*/ 50 w 198"/>
                <a:gd name="T31" fmla="*/ 111 h 150"/>
                <a:gd name="T32" fmla="*/ 37 w 198"/>
                <a:gd name="T33" fmla="*/ 111 h 150"/>
                <a:gd name="T34" fmla="*/ 31 w 198"/>
                <a:gd name="T35" fmla="*/ 104 h 150"/>
                <a:gd name="T36" fmla="*/ 10 w 198"/>
                <a:gd name="T37" fmla="*/ 100 h 150"/>
                <a:gd name="T38" fmla="*/ 0 w 198"/>
                <a:gd name="T39" fmla="*/ 92 h 150"/>
                <a:gd name="T40" fmla="*/ 2 w 198"/>
                <a:gd name="T41" fmla="*/ 77 h 150"/>
                <a:gd name="T42" fmla="*/ 12 w 198"/>
                <a:gd name="T43" fmla="*/ 75 h 150"/>
                <a:gd name="T44" fmla="*/ 14 w 198"/>
                <a:gd name="T45" fmla="*/ 63 h 150"/>
                <a:gd name="T46" fmla="*/ 27 w 198"/>
                <a:gd name="T47" fmla="*/ 54 h 150"/>
                <a:gd name="T48" fmla="*/ 37 w 198"/>
                <a:gd name="T49" fmla="*/ 42 h 150"/>
                <a:gd name="T50" fmla="*/ 29 w 198"/>
                <a:gd name="T51" fmla="*/ 27 h 150"/>
                <a:gd name="T52" fmla="*/ 33 w 198"/>
                <a:gd name="T53" fmla="*/ 17 h 150"/>
                <a:gd name="T54" fmla="*/ 39 w 198"/>
                <a:gd name="T55" fmla="*/ 11 h 150"/>
                <a:gd name="T56" fmla="*/ 50 w 198"/>
                <a:gd name="T57" fmla="*/ 6 h 150"/>
                <a:gd name="T58" fmla="*/ 50 w 198"/>
                <a:gd name="T59" fmla="*/ 6 h 150"/>
                <a:gd name="T60" fmla="*/ 60 w 198"/>
                <a:gd name="T61" fmla="*/ 8 h 150"/>
                <a:gd name="T62" fmla="*/ 73 w 198"/>
                <a:gd name="T63" fmla="*/ 0 h 150"/>
                <a:gd name="T64" fmla="*/ 75 w 198"/>
                <a:gd name="T65" fmla="*/ 11 h 150"/>
                <a:gd name="T66" fmla="*/ 98 w 198"/>
                <a:gd name="T67" fmla="*/ 11 h 150"/>
                <a:gd name="T68" fmla="*/ 110 w 198"/>
                <a:gd name="T69" fmla="*/ 17 h 150"/>
                <a:gd name="T70" fmla="*/ 118 w 198"/>
                <a:gd name="T71" fmla="*/ 15 h 150"/>
                <a:gd name="T72" fmla="*/ 127 w 198"/>
                <a:gd name="T73" fmla="*/ 8 h 150"/>
                <a:gd name="T74" fmla="*/ 143 w 198"/>
                <a:gd name="T75" fmla="*/ 21 h 150"/>
                <a:gd name="T76" fmla="*/ 139 w 198"/>
                <a:gd name="T77" fmla="*/ 38 h 150"/>
                <a:gd name="T78" fmla="*/ 145 w 198"/>
                <a:gd name="T79" fmla="*/ 44 h 150"/>
                <a:gd name="T80" fmla="*/ 150 w 198"/>
                <a:gd name="T81" fmla="*/ 40 h 150"/>
                <a:gd name="T82" fmla="*/ 164 w 198"/>
                <a:gd name="T83" fmla="*/ 40 h 150"/>
                <a:gd name="T84" fmla="*/ 162 w 198"/>
                <a:gd name="T85" fmla="*/ 48 h 150"/>
                <a:gd name="T86" fmla="*/ 173 w 198"/>
                <a:gd name="T87" fmla="*/ 52 h 150"/>
                <a:gd name="T88" fmla="*/ 164 w 198"/>
                <a:gd name="T89" fmla="*/ 71 h 150"/>
                <a:gd name="T90" fmla="*/ 181 w 198"/>
                <a:gd name="T91" fmla="*/ 77 h 150"/>
                <a:gd name="T92" fmla="*/ 185 w 198"/>
                <a:gd name="T93" fmla="*/ 98 h 150"/>
                <a:gd name="T94" fmla="*/ 177 w 198"/>
                <a:gd name="T95" fmla="*/ 115 h 150"/>
                <a:gd name="T96" fmla="*/ 191 w 198"/>
                <a:gd name="T97" fmla="*/ 123 h 150"/>
                <a:gd name="T98" fmla="*/ 198 w 198"/>
                <a:gd name="T99" fmla="*/ 136 h 150"/>
                <a:gd name="T100" fmla="*/ 193 w 198"/>
                <a:gd name="T101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8" h="150">
                  <a:moveTo>
                    <a:pt x="193" y="150"/>
                  </a:moveTo>
                  <a:lnTo>
                    <a:pt x="164" y="134"/>
                  </a:lnTo>
                  <a:lnTo>
                    <a:pt x="164" y="138"/>
                  </a:lnTo>
                  <a:lnTo>
                    <a:pt x="158" y="142"/>
                  </a:lnTo>
                  <a:lnTo>
                    <a:pt x="148" y="131"/>
                  </a:lnTo>
                  <a:lnTo>
                    <a:pt x="137" y="131"/>
                  </a:lnTo>
                  <a:lnTo>
                    <a:pt x="131" y="121"/>
                  </a:lnTo>
                  <a:lnTo>
                    <a:pt x="129" y="111"/>
                  </a:lnTo>
                  <a:lnTo>
                    <a:pt x="114" y="108"/>
                  </a:lnTo>
                  <a:lnTo>
                    <a:pt x="106" y="117"/>
                  </a:lnTo>
                  <a:lnTo>
                    <a:pt x="93" y="115"/>
                  </a:lnTo>
                  <a:lnTo>
                    <a:pt x="85" y="123"/>
                  </a:lnTo>
                  <a:lnTo>
                    <a:pt x="79" y="123"/>
                  </a:lnTo>
                  <a:lnTo>
                    <a:pt x="68" y="117"/>
                  </a:lnTo>
                  <a:lnTo>
                    <a:pt x="52" y="117"/>
                  </a:lnTo>
                  <a:lnTo>
                    <a:pt x="50" y="111"/>
                  </a:lnTo>
                  <a:lnTo>
                    <a:pt x="37" y="111"/>
                  </a:lnTo>
                  <a:lnTo>
                    <a:pt x="31" y="104"/>
                  </a:lnTo>
                  <a:lnTo>
                    <a:pt x="10" y="100"/>
                  </a:lnTo>
                  <a:lnTo>
                    <a:pt x="0" y="92"/>
                  </a:lnTo>
                  <a:lnTo>
                    <a:pt x="2" y="77"/>
                  </a:lnTo>
                  <a:lnTo>
                    <a:pt x="12" y="75"/>
                  </a:lnTo>
                  <a:lnTo>
                    <a:pt x="14" y="63"/>
                  </a:lnTo>
                  <a:lnTo>
                    <a:pt x="27" y="54"/>
                  </a:lnTo>
                  <a:lnTo>
                    <a:pt x="37" y="42"/>
                  </a:lnTo>
                  <a:lnTo>
                    <a:pt x="29" y="27"/>
                  </a:lnTo>
                  <a:lnTo>
                    <a:pt x="33" y="17"/>
                  </a:lnTo>
                  <a:lnTo>
                    <a:pt x="39" y="11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60" y="8"/>
                  </a:lnTo>
                  <a:lnTo>
                    <a:pt x="73" y="0"/>
                  </a:lnTo>
                  <a:lnTo>
                    <a:pt x="75" y="11"/>
                  </a:lnTo>
                  <a:lnTo>
                    <a:pt x="98" y="11"/>
                  </a:lnTo>
                  <a:lnTo>
                    <a:pt x="110" y="17"/>
                  </a:lnTo>
                  <a:lnTo>
                    <a:pt x="118" y="15"/>
                  </a:lnTo>
                  <a:lnTo>
                    <a:pt x="127" y="8"/>
                  </a:lnTo>
                  <a:lnTo>
                    <a:pt x="143" y="21"/>
                  </a:lnTo>
                  <a:lnTo>
                    <a:pt x="139" y="38"/>
                  </a:lnTo>
                  <a:lnTo>
                    <a:pt x="145" y="44"/>
                  </a:lnTo>
                  <a:lnTo>
                    <a:pt x="150" y="40"/>
                  </a:lnTo>
                  <a:lnTo>
                    <a:pt x="164" y="40"/>
                  </a:lnTo>
                  <a:lnTo>
                    <a:pt x="162" y="48"/>
                  </a:lnTo>
                  <a:lnTo>
                    <a:pt x="173" y="52"/>
                  </a:lnTo>
                  <a:lnTo>
                    <a:pt x="164" y="71"/>
                  </a:lnTo>
                  <a:lnTo>
                    <a:pt x="181" y="77"/>
                  </a:lnTo>
                  <a:lnTo>
                    <a:pt x="185" y="98"/>
                  </a:lnTo>
                  <a:lnTo>
                    <a:pt x="177" y="115"/>
                  </a:lnTo>
                  <a:lnTo>
                    <a:pt x="191" y="123"/>
                  </a:lnTo>
                  <a:lnTo>
                    <a:pt x="198" y="136"/>
                  </a:lnTo>
                  <a:lnTo>
                    <a:pt x="193" y="15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1029" y="2911"/>
              <a:ext cx="142" cy="225"/>
            </a:xfrm>
            <a:custGeom>
              <a:avLst/>
              <a:gdLst>
                <a:gd name="T0" fmla="*/ 44 w 68"/>
                <a:gd name="T1" fmla="*/ 77 h 108"/>
                <a:gd name="T2" fmla="*/ 42 w 68"/>
                <a:gd name="T3" fmla="*/ 83 h 108"/>
                <a:gd name="T4" fmla="*/ 37 w 68"/>
                <a:gd name="T5" fmla="*/ 86 h 108"/>
                <a:gd name="T6" fmla="*/ 38 w 68"/>
                <a:gd name="T7" fmla="*/ 93 h 108"/>
                <a:gd name="T8" fmla="*/ 34 w 68"/>
                <a:gd name="T9" fmla="*/ 100 h 108"/>
                <a:gd name="T10" fmla="*/ 29 w 68"/>
                <a:gd name="T11" fmla="*/ 102 h 108"/>
                <a:gd name="T12" fmla="*/ 26 w 68"/>
                <a:gd name="T13" fmla="*/ 108 h 108"/>
                <a:gd name="T14" fmla="*/ 23 w 68"/>
                <a:gd name="T15" fmla="*/ 102 h 108"/>
                <a:gd name="T16" fmla="*/ 18 w 68"/>
                <a:gd name="T17" fmla="*/ 102 h 108"/>
                <a:gd name="T18" fmla="*/ 17 w 68"/>
                <a:gd name="T19" fmla="*/ 95 h 108"/>
                <a:gd name="T20" fmla="*/ 10 w 68"/>
                <a:gd name="T21" fmla="*/ 85 h 108"/>
                <a:gd name="T22" fmla="*/ 8 w 68"/>
                <a:gd name="T23" fmla="*/ 79 h 108"/>
                <a:gd name="T24" fmla="*/ 3 w 68"/>
                <a:gd name="T25" fmla="*/ 69 h 108"/>
                <a:gd name="T26" fmla="*/ 1 w 68"/>
                <a:gd name="T27" fmla="*/ 60 h 108"/>
                <a:gd name="T28" fmla="*/ 11 w 68"/>
                <a:gd name="T29" fmla="*/ 49 h 108"/>
                <a:gd name="T30" fmla="*/ 13 w 68"/>
                <a:gd name="T31" fmla="*/ 37 h 108"/>
                <a:gd name="T32" fmla="*/ 24 w 68"/>
                <a:gd name="T33" fmla="*/ 34 h 108"/>
                <a:gd name="T34" fmla="*/ 26 w 68"/>
                <a:gd name="T35" fmla="*/ 21 h 108"/>
                <a:gd name="T36" fmla="*/ 38 w 68"/>
                <a:gd name="T37" fmla="*/ 20 h 108"/>
                <a:gd name="T38" fmla="*/ 44 w 68"/>
                <a:gd name="T39" fmla="*/ 11 h 108"/>
                <a:gd name="T40" fmla="*/ 56 w 68"/>
                <a:gd name="T41" fmla="*/ 1 h 108"/>
                <a:gd name="T42" fmla="*/ 59 w 68"/>
                <a:gd name="T43" fmla="*/ 0 h 108"/>
                <a:gd name="T44" fmla="*/ 63 w 68"/>
                <a:gd name="T45" fmla="*/ 4 h 108"/>
                <a:gd name="T46" fmla="*/ 61 w 68"/>
                <a:gd name="T47" fmla="*/ 8 h 108"/>
                <a:gd name="T48" fmla="*/ 67 w 68"/>
                <a:gd name="T49" fmla="*/ 15 h 108"/>
                <a:gd name="T50" fmla="*/ 68 w 68"/>
                <a:gd name="T51" fmla="*/ 23 h 108"/>
                <a:gd name="T52" fmla="*/ 66 w 68"/>
                <a:gd name="T53" fmla="*/ 29 h 108"/>
                <a:gd name="T54" fmla="*/ 68 w 68"/>
                <a:gd name="T55" fmla="*/ 36 h 108"/>
                <a:gd name="T56" fmla="*/ 63 w 68"/>
                <a:gd name="T57" fmla="*/ 38 h 108"/>
                <a:gd name="T58" fmla="*/ 60 w 68"/>
                <a:gd name="T59" fmla="*/ 41 h 108"/>
                <a:gd name="T60" fmla="*/ 58 w 68"/>
                <a:gd name="T61" fmla="*/ 46 h 108"/>
                <a:gd name="T62" fmla="*/ 62 w 68"/>
                <a:gd name="T63" fmla="*/ 53 h 108"/>
                <a:gd name="T64" fmla="*/ 57 w 68"/>
                <a:gd name="T65" fmla="*/ 59 h 108"/>
                <a:gd name="T66" fmla="*/ 51 w 68"/>
                <a:gd name="T67" fmla="*/ 63 h 108"/>
                <a:gd name="T68" fmla="*/ 50 w 68"/>
                <a:gd name="T69" fmla="*/ 69 h 108"/>
                <a:gd name="T70" fmla="*/ 45 w 68"/>
                <a:gd name="T71" fmla="*/ 70 h 108"/>
                <a:gd name="T72" fmla="*/ 44 w 68"/>
                <a:gd name="T73" fmla="*/ 7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8" h="108">
                  <a:moveTo>
                    <a:pt x="44" y="77"/>
                  </a:moveTo>
                  <a:cubicBezTo>
                    <a:pt x="42" y="83"/>
                    <a:pt x="42" y="83"/>
                    <a:pt x="42" y="83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29" y="102"/>
                    <a:pt x="29" y="102"/>
                    <a:pt x="29" y="102"/>
                  </a:cubicBezTo>
                  <a:cubicBezTo>
                    <a:pt x="26" y="108"/>
                    <a:pt x="26" y="108"/>
                    <a:pt x="26" y="108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8" y="102"/>
                    <a:pt x="18" y="102"/>
                    <a:pt x="18" y="102"/>
                  </a:cubicBezTo>
                  <a:cubicBezTo>
                    <a:pt x="18" y="101"/>
                    <a:pt x="17" y="98"/>
                    <a:pt x="17" y="95"/>
                  </a:cubicBezTo>
                  <a:cubicBezTo>
                    <a:pt x="17" y="88"/>
                    <a:pt x="15" y="86"/>
                    <a:pt x="10" y="85"/>
                  </a:cubicBezTo>
                  <a:cubicBezTo>
                    <a:pt x="6" y="84"/>
                    <a:pt x="5" y="82"/>
                    <a:pt x="8" y="79"/>
                  </a:cubicBezTo>
                  <a:cubicBezTo>
                    <a:pt x="12" y="75"/>
                    <a:pt x="6" y="72"/>
                    <a:pt x="3" y="69"/>
                  </a:cubicBezTo>
                  <a:cubicBezTo>
                    <a:pt x="1" y="66"/>
                    <a:pt x="2" y="62"/>
                    <a:pt x="1" y="60"/>
                  </a:cubicBezTo>
                  <a:cubicBezTo>
                    <a:pt x="0" y="57"/>
                    <a:pt x="7" y="53"/>
                    <a:pt x="11" y="49"/>
                  </a:cubicBezTo>
                  <a:cubicBezTo>
                    <a:pt x="14" y="44"/>
                    <a:pt x="12" y="40"/>
                    <a:pt x="13" y="37"/>
                  </a:cubicBezTo>
                  <a:cubicBezTo>
                    <a:pt x="14" y="35"/>
                    <a:pt x="22" y="36"/>
                    <a:pt x="24" y="34"/>
                  </a:cubicBezTo>
                  <a:cubicBezTo>
                    <a:pt x="25" y="32"/>
                    <a:pt x="26" y="21"/>
                    <a:pt x="26" y="21"/>
                  </a:cubicBezTo>
                  <a:cubicBezTo>
                    <a:pt x="26" y="21"/>
                    <a:pt x="34" y="20"/>
                    <a:pt x="38" y="20"/>
                  </a:cubicBezTo>
                  <a:cubicBezTo>
                    <a:pt x="42" y="19"/>
                    <a:pt x="43" y="16"/>
                    <a:pt x="44" y="11"/>
                  </a:cubicBezTo>
                  <a:cubicBezTo>
                    <a:pt x="44" y="6"/>
                    <a:pt x="50" y="2"/>
                    <a:pt x="56" y="1"/>
                  </a:cubicBezTo>
                  <a:cubicBezTo>
                    <a:pt x="57" y="1"/>
                    <a:pt x="58" y="0"/>
                    <a:pt x="59" y="0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1" y="63"/>
                    <a:pt x="51" y="63"/>
                    <a:pt x="51" y="63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45" y="70"/>
                    <a:pt x="45" y="70"/>
                    <a:pt x="45" y="70"/>
                  </a:cubicBezTo>
                  <a:lnTo>
                    <a:pt x="44" y="77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1046" y="3595"/>
              <a:ext cx="256" cy="237"/>
            </a:xfrm>
            <a:custGeom>
              <a:avLst/>
              <a:gdLst>
                <a:gd name="T0" fmla="*/ 123 w 123"/>
                <a:gd name="T1" fmla="*/ 83 h 114"/>
                <a:gd name="T2" fmla="*/ 120 w 123"/>
                <a:gd name="T3" fmla="*/ 87 h 114"/>
                <a:gd name="T4" fmla="*/ 108 w 123"/>
                <a:gd name="T5" fmla="*/ 92 h 114"/>
                <a:gd name="T6" fmla="*/ 101 w 123"/>
                <a:gd name="T7" fmla="*/ 108 h 114"/>
                <a:gd name="T8" fmla="*/ 87 w 123"/>
                <a:gd name="T9" fmla="*/ 114 h 114"/>
                <a:gd name="T10" fmla="*/ 83 w 123"/>
                <a:gd name="T11" fmla="*/ 104 h 114"/>
                <a:gd name="T12" fmla="*/ 72 w 123"/>
                <a:gd name="T13" fmla="*/ 105 h 114"/>
                <a:gd name="T14" fmla="*/ 65 w 123"/>
                <a:gd name="T15" fmla="*/ 103 h 114"/>
                <a:gd name="T16" fmla="*/ 64 w 123"/>
                <a:gd name="T17" fmla="*/ 101 h 114"/>
                <a:gd name="T18" fmla="*/ 54 w 123"/>
                <a:gd name="T19" fmla="*/ 102 h 114"/>
                <a:gd name="T20" fmla="*/ 51 w 123"/>
                <a:gd name="T21" fmla="*/ 108 h 114"/>
                <a:gd name="T22" fmla="*/ 47 w 123"/>
                <a:gd name="T23" fmla="*/ 107 h 114"/>
                <a:gd name="T24" fmla="*/ 42 w 123"/>
                <a:gd name="T25" fmla="*/ 104 h 114"/>
                <a:gd name="T26" fmla="*/ 42 w 123"/>
                <a:gd name="T27" fmla="*/ 97 h 114"/>
                <a:gd name="T28" fmla="*/ 39 w 123"/>
                <a:gd name="T29" fmla="*/ 96 h 114"/>
                <a:gd name="T30" fmla="*/ 37 w 123"/>
                <a:gd name="T31" fmla="*/ 101 h 114"/>
                <a:gd name="T32" fmla="*/ 35 w 123"/>
                <a:gd name="T33" fmla="*/ 106 h 114"/>
                <a:gd name="T34" fmla="*/ 31 w 123"/>
                <a:gd name="T35" fmla="*/ 103 h 114"/>
                <a:gd name="T36" fmla="*/ 24 w 123"/>
                <a:gd name="T37" fmla="*/ 104 h 114"/>
                <a:gd name="T38" fmla="*/ 20 w 123"/>
                <a:gd name="T39" fmla="*/ 101 h 114"/>
                <a:gd name="T40" fmla="*/ 15 w 123"/>
                <a:gd name="T41" fmla="*/ 106 h 114"/>
                <a:gd name="T42" fmla="*/ 15 w 123"/>
                <a:gd name="T43" fmla="*/ 106 h 114"/>
                <a:gd name="T44" fmla="*/ 14 w 123"/>
                <a:gd name="T45" fmla="*/ 104 h 114"/>
                <a:gd name="T46" fmla="*/ 9 w 123"/>
                <a:gd name="T47" fmla="*/ 97 h 114"/>
                <a:gd name="T48" fmla="*/ 9 w 123"/>
                <a:gd name="T49" fmla="*/ 89 h 114"/>
                <a:gd name="T50" fmla="*/ 8 w 123"/>
                <a:gd name="T51" fmla="*/ 80 h 114"/>
                <a:gd name="T52" fmla="*/ 2 w 123"/>
                <a:gd name="T53" fmla="*/ 75 h 114"/>
                <a:gd name="T54" fmla="*/ 6 w 123"/>
                <a:gd name="T55" fmla="*/ 69 h 114"/>
                <a:gd name="T56" fmla="*/ 12 w 123"/>
                <a:gd name="T57" fmla="*/ 65 h 114"/>
                <a:gd name="T58" fmla="*/ 18 w 123"/>
                <a:gd name="T59" fmla="*/ 69 h 114"/>
                <a:gd name="T60" fmla="*/ 25 w 123"/>
                <a:gd name="T61" fmla="*/ 66 h 114"/>
                <a:gd name="T62" fmla="*/ 27 w 123"/>
                <a:gd name="T63" fmla="*/ 56 h 114"/>
                <a:gd name="T64" fmla="*/ 25 w 123"/>
                <a:gd name="T65" fmla="*/ 46 h 114"/>
                <a:gd name="T66" fmla="*/ 34 w 123"/>
                <a:gd name="T67" fmla="*/ 36 h 114"/>
                <a:gd name="T68" fmla="*/ 35 w 123"/>
                <a:gd name="T69" fmla="*/ 31 h 114"/>
                <a:gd name="T70" fmla="*/ 30 w 123"/>
                <a:gd name="T71" fmla="*/ 19 h 114"/>
                <a:gd name="T72" fmla="*/ 31 w 123"/>
                <a:gd name="T73" fmla="*/ 19 h 114"/>
                <a:gd name="T74" fmla="*/ 40 w 123"/>
                <a:gd name="T75" fmla="*/ 8 h 114"/>
                <a:gd name="T76" fmla="*/ 40 w 123"/>
                <a:gd name="T77" fmla="*/ 3 h 114"/>
                <a:gd name="T78" fmla="*/ 51 w 123"/>
                <a:gd name="T79" fmla="*/ 3 h 114"/>
                <a:gd name="T80" fmla="*/ 56 w 123"/>
                <a:gd name="T81" fmla="*/ 0 h 114"/>
                <a:gd name="T82" fmla="*/ 62 w 123"/>
                <a:gd name="T83" fmla="*/ 3 h 114"/>
                <a:gd name="T84" fmla="*/ 67 w 123"/>
                <a:gd name="T85" fmla="*/ 6 h 114"/>
                <a:gd name="T86" fmla="*/ 73 w 123"/>
                <a:gd name="T87" fmla="*/ 7 h 114"/>
                <a:gd name="T88" fmla="*/ 75 w 123"/>
                <a:gd name="T89" fmla="*/ 21 h 114"/>
                <a:gd name="T90" fmla="*/ 81 w 123"/>
                <a:gd name="T91" fmla="*/ 22 h 114"/>
                <a:gd name="T92" fmla="*/ 87 w 123"/>
                <a:gd name="T93" fmla="*/ 25 h 114"/>
                <a:gd name="T94" fmla="*/ 88 w 123"/>
                <a:gd name="T95" fmla="*/ 29 h 114"/>
                <a:gd name="T96" fmla="*/ 92 w 123"/>
                <a:gd name="T97" fmla="*/ 27 h 114"/>
                <a:gd name="T98" fmla="*/ 103 w 123"/>
                <a:gd name="T99" fmla="*/ 37 h 114"/>
                <a:gd name="T100" fmla="*/ 102 w 123"/>
                <a:gd name="T101" fmla="*/ 45 h 114"/>
                <a:gd name="T102" fmla="*/ 97 w 123"/>
                <a:gd name="T103" fmla="*/ 51 h 114"/>
                <a:gd name="T104" fmla="*/ 101 w 123"/>
                <a:gd name="T105" fmla="*/ 56 h 114"/>
                <a:gd name="T106" fmla="*/ 105 w 123"/>
                <a:gd name="T107" fmla="*/ 54 h 114"/>
                <a:gd name="T108" fmla="*/ 110 w 123"/>
                <a:gd name="T109" fmla="*/ 56 h 114"/>
                <a:gd name="T110" fmla="*/ 110 w 123"/>
                <a:gd name="T111" fmla="*/ 62 h 114"/>
                <a:gd name="T112" fmla="*/ 113 w 123"/>
                <a:gd name="T113" fmla="*/ 64 h 114"/>
                <a:gd name="T114" fmla="*/ 118 w 123"/>
                <a:gd name="T115" fmla="*/ 65 h 114"/>
                <a:gd name="T116" fmla="*/ 119 w 123"/>
                <a:gd name="T117" fmla="*/ 70 h 114"/>
                <a:gd name="T118" fmla="*/ 122 w 123"/>
                <a:gd name="T119" fmla="*/ 73 h 114"/>
                <a:gd name="T120" fmla="*/ 123 w 123"/>
                <a:gd name="T121" fmla="*/ 8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3" h="114">
                  <a:moveTo>
                    <a:pt x="123" y="83"/>
                  </a:moveTo>
                  <a:cubicBezTo>
                    <a:pt x="122" y="84"/>
                    <a:pt x="121" y="86"/>
                    <a:pt x="120" y="87"/>
                  </a:cubicBezTo>
                  <a:cubicBezTo>
                    <a:pt x="115" y="92"/>
                    <a:pt x="113" y="88"/>
                    <a:pt x="108" y="92"/>
                  </a:cubicBezTo>
                  <a:cubicBezTo>
                    <a:pt x="103" y="96"/>
                    <a:pt x="104" y="102"/>
                    <a:pt x="101" y="108"/>
                  </a:cubicBezTo>
                  <a:cubicBezTo>
                    <a:pt x="99" y="113"/>
                    <a:pt x="93" y="110"/>
                    <a:pt x="87" y="114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4" y="101"/>
                    <a:pt x="64" y="101"/>
                    <a:pt x="64" y="101"/>
                  </a:cubicBezTo>
                  <a:cubicBezTo>
                    <a:pt x="54" y="102"/>
                    <a:pt x="54" y="102"/>
                    <a:pt x="54" y="102"/>
                  </a:cubicBezTo>
                  <a:cubicBezTo>
                    <a:pt x="51" y="108"/>
                    <a:pt x="51" y="108"/>
                    <a:pt x="51" y="108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39" y="96"/>
                    <a:pt x="39" y="96"/>
                    <a:pt x="39" y="96"/>
                  </a:cubicBezTo>
                  <a:cubicBezTo>
                    <a:pt x="37" y="101"/>
                    <a:pt x="37" y="101"/>
                    <a:pt x="37" y="101"/>
                  </a:cubicBezTo>
                  <a:cubicBezTo>
                    <a:pt x="35" y="106"/>
                    <a:pt x="35" y="106"/>
                    <a:pt x="35" y="106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24" y="104"/>
                    <a:pt x="24" y="104"/>
                    <a:pt x="24" y="104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5"/>
                    <a:pt x="15" y="104"/>
                    <a:pt x="14" y="104"/>
                  </a:cubicBezTo>
                  <a:cubicBezTo>
                    <a:pt x="13" y="104"/>
                    <a:pt x="9" y="100"/>
                    <a:pt x="9" y="97"/>
                  </a:cubicBezTo>
                  <a:cubicBezTo>
                    <a:pt x="8" y="94"/>
                    <a:pt x="8" y="92"/>
                    <a:pt x="9" y="89"/>
                  </a:cubicBezTo>
                  <a:cubicBezTo>
                    <a:pt x="10" y="86"/>
                    <a:pt x="10" y="82"/>
                    <a:pt x="8" y="80"/>
                  </a:cubicBezTo>
                  <a:cubicBezTo>
                    <a:pt x="5" y="78"/>
                    <a:pt x="0" y="77"/>
                    <a:pt x="2" y="75"/>
                  </a:cubicBezTo>
                  <a:cubicBezTo>
                    <a:pt x="3" y="74"/>
                    <a:pt x="6" y="72"/>
                    <a:pt x="6" y="69"/>
                  </a:cubicBezTo>
                  <a:cubicBezTo>
                    <a:pt x="6" y="66"/>
                    <a:pt x="11" y="64"/>
                    <a:pt x="12" y="65"/>
                  </a:cubicBezTo>
                  <a:cubicBezTo>
                    <a:pt x="13" y="66"/>
                    <a:pt x="13" y="69"/>
                    <a:pt x="18" y="69"/>
                  </a:cubicBezTo>
                  <a:cubicBezTo>
                    <a:pt x="23" y="69"/>
                    <a:pt x="22" y="70"/>
                    <a:pt x="25" y="66"/>
                  </a:cubicBezTo>
                  <a:cubicBezTo>
                    <a:pt x="27" y="61"/>
                    <a:pt x="29" y="59"/>
                    <a:pt x="27" y="56"/>
                  </a:cubicBezTo>
                  <a:cubicBezTo>
                    <a:pt x="26" y="52"/>
                    <a:pt x="23" y="48"/>
                    <a:pt x="25" y="46"/>
                  </a:cubicBezTo>
                  <a:cubicBezTo>
                    <a:pt x="27" y="44"/>
                    <a:pt x="33" y="38"/>
                    <a:pt x="34" y="36"/>
                  </a:cubicBezTo>
                  <a:cubicBezTo>
                    <a:pt x="35" y="34"/>
                    <a:pt x="36" y="33"/>
                    <a:pt x="35" y="31"/>
                  </a:cubicBezTo>
                  <a:cubicBezTo>
                    <a:pt x="33" y="29"/>
                    <a:pt x="31" y="22"/>
                    <a:pt x="30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41" y="11"/>
                    <a:pt x="40" y="8"/>
                  </a:cubicBezTo>
                  <a:cubicBezTo>
                    <a:pt x="40" y="6"/>
                    <a:pt x="40" y="3"/>
                    <a:pt x="40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3"/>
                    <a:pt x="53" y="0"/>
                    <a:pt x="56" y="0"/>
                  </a:cubicBezTo>
                  <a:cubicBezTo>
                    <a:pt x="58" y="0"/>
                    <a:pt x="62" y="0"/>
                    <a:pt x="62" y="3"/>
                  </a:cubicBezTo>
                  <a:cubicBezTo>
                    <a:pt x="62" y="5"/>
                    <a:pt x="66" y="6"/>
                    <a:pt x="67" y="6"/>
                  </a:cubicBezTo>
                  <a:cubicBezTo>
                    <a:pt x="67" y="6"/>
                    <a:pt x="73" y="7"/>
                    <a:pt x="73" y="7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9" y="20"/>
                    <a:pt x="81" y="22"/>
                  </a:cubicBezTo>
                  <a:cubicBezTo>
                    <a:pt x="84" y="24"/>
                    <a:pt x="87" y="25"/>
                    <a:pt x="87" y="25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10" y="62"/>
                    <a:pt x="110" y="62"/>
                    <a:pt x="110" y="62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8" y="65"/>
                    <a:pt x="118" y="65"/>
                    <a:pt x="118" y="65"/>
                  </a:cubicBezTo>
                  <a:cubicBezTo>
                    <a:pt x="119" y="70"/>
                    <a:pt x="119" y="70"/>
                    <a:pt x="119" y="70"/>
                  </a:cubicBezTo>
                  <a:cubicBezTo>
                    <a:pt x="122" y="73"/>
                    <a:pt x="122" y="73"/>
                    <a:pt x="122" y="73"/>
                  </a:cubicBezTo>
                  <a:lnTo>
                    <a:pt x="123" y="83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Freeform 23"/>
            <p:cNvSpPr>
              <a:spLocks noEditPoints="1"/>
            </p:cNvSpPr>
            <p:nvPr/>
          </p:nvSpPr>
          <p:spPr bwMode="auto">
            <a:xfrm>
              <a:off x="1133" y="3805"/>
              <a:ext cx="115" cy="213"/>
            </a:xfrm>
            <a:custGeom>
              <a:avLst/>
              <a:gdLst>
                <a:gd name="T0" fmla="*/ 45 w 55"/>
                <a:gd name="T1" fmla="*/ 13 h 102"/>
                <a:gd name="T2" fmla="*/ 44 w 55"/>
                <a:gd name="T3" fmla="*/ 13 h 102"/>
                <a:gd name="T4" fmla="*/ 45 w 55"/>
                <a:gd name="T5" fmla="*/ 29 h 102"/>
                <a:gd name="T6" fmla="*/ 40 w 55"/>
                <a:gd name="T7" fmla="*/ 39 h 102"/>
                <a:gd name="T8" fmla="*/ 51 w 55"/>
                <a:gd name="T9" fmla="*/ 46 h 102"/>
                <a:gd name="T10" fmla="*/ 54 w 55"/>
                <a:gd name="T11" fmla="*/ 58 h 102"/>
                <a:gd name="T12" fmla="*/ 53 w 55"/>
                <a:gd name="T13" fmla="*/ 76 h 102"/>
                <a:gd name="T14" fmla="*/ 47 w 55"/>
                <a:gd name="T15" fmla="*/ 83 h 102"/>
                <a:gd name="T16" fmla="*/ 44 w 55"/>
                <a:gd name="T17" fmla="*/ 85 h 102"/>
                <a:gd name="T18" fmla="*/ 49 w 55"/>
                <a:gd name="T19" fmla="*/ 98 h 102"/>
                <a:gd name="T20" fmla="*/ 41 w 55"/>
                <a:gd name="T21" fmla="*/ 100 h 102"/>
                <a:gd name="T22" fmla="*/ 31 w 55"/>
                <a:gd name="T23" fmla="*/ 102 h 102"/>
                <a:gd name="T24" fmla="*/ 24 w 55"/>
                <a:gd name="T25" fmla="*/ 100 h 102"/>
                <a:gd name="T26" fmla="*/ 13 w 55"/>
                <a:gd name="T27" fmla="*/ 97 h 102"/>
                <a:gd name="T28" fmla="*/ 6 w 55"/>
                <a:gd name="T29" fmla="*/ 94 h 102"/>
                <a:gd name="T30" fmla="*/ 6 w 55"/>
                <a:gd name="T31" fmla="*/ 94 h 102"/>
                <a:gd name="T32" fmla="*/ 6 w 55"/>
                <a:gd name="T33" fmla="*/ 81 h 102"/>
                <a:gd name="T34" fmla="*/ 5 w 55"/>
                <a:gd name="T35" fmla="*/ 77 h 102"/>
                <a:gd name="T36" fmla="*/ 2 w 55"/>
                <a:gd name="T37" fmla="*/ 71 h 102"/>
                <a:gd name="T38" fmla="*/ 3 w 55"/>
                <a:gd name="T39" fmla="*/ 67 h 102"/>
                <a:gd name="T40" fmla="*/ 6 w 55"/>
                <a:gd name="T41" fmla="*/ 66 h 102"/>
                <a:gd name="T42" fmla="*/ 11 w 55"/>
                <a:gd name="T43" fmla="*/ 68 h 102"/>
                <a:gd name="T44" fmla="*/ 11 w 55"/>
                <a:gd name="T45" fmla="*/ 66 h 102"/>
                <a:gd name="T46" fmla="*/ 18 w 55"/>
                <a:gd name="T47" fmla="*/ 65 h 102"/>
                <a:gd name="T48" fmla="*/ 20 w 55"/>
                <a:gd name="T49" fmla="*/ 61 h 102"/>
                <a:gd name="T50" fmla="*/ 18 w 55"/>
                <a:gd name="T51" fmla="*/ 59 h 102"/>
                <a:gd name="T52" fmla="*/ 18 w 55"/>
                <a:gd name="T53" fmla="*/ 57 h 102"/>
                <a:gd name="T54" fmla="*/ 19 w 55"/>
                <a:gd name="T55" fmla="*/ 54 h 102"/>
                <a:gd name="T56" fmla="*/ 20 w 55"/>
                <a:gd name="T57" fmla="*/ 49 h 102"/>
                <a:gd name="T58" fmla="*/ 24 w 55"/>
                <a:gd name="T59" fmla="*/ 45 h 102"/>
                <a:gd name="T60" fmla="*/ 25 w 55"/>
                <a:gd name="T61" fmla="*/ 39 h 102"/>
                <a:gd name="T62" fmla="*/ 18 w 55"/>
                <a:gd name="T63" fmla="*/ 40 h 102"/>
                <a:gd name="T64" fmla="*/ 14 w 55"/>
                <a:gd name="T65" fmla="*/ 34 h 102"/>
                <a:gd name="T66" fmla="*/ 13 w 55"/>
                <a:gd name="T67" fmla="*/ 25 h 102"/>
                <a:gd name="T68" fmla="*/ 16 w 55"/>
                <a:gd name="T69" fmla="*/ 18 h 102"/>
                <a:gd name="T70" fmla="*/ 13 w 55"/>
                <a:gd name="T71" fmla="*/ 16 h 102"/>
                <a:gd name="T72" fmla="*/ 10 w 55"/>
                <a:gd name="T73" fmla="*/ 7 h 102"/>
                <a:gd name="T74" fmla="*/ 9 w 55"/>
                <a:gd name="T75" fmla="*/ 7 h 102"/>
                <a:gd name="T76" fmla="*/ 12 w 55"/>
                <a:gd name="T77" fmla="*/ 1 h 102"/>
                <a:gd name="T78" fmla="*/ 22 w 55"/>
                <a:gd name="T79" fmla="*/ 0 h 102"/>
                <a:gd name="T80" fmla="*/ 23 w 55"/>
                <a:gd name="T81" fmla="*/ 2 h 102"/>
                <a:gd name="T82" fmla="*/ 30 w 55"/>
                <a:gd name="T83" fmla="*/ 4 h 102"/>
                <a:gd name="T84" fmla="*/ 41 w 55"/>
                <a:gd name="T85" fmla="*/ 3 h 102"/>
                <a:gd name="T86" fmla="*/ 45 w 55"/>
                <a:gd name="T87" fmla="*/ 13 h 102"/>
                <a:gd name="T88" fmla="*/ 0 w 55"/>
                <a:gd name="T89" fmla="*/ 100 h 102"/>
                <a:gd name="T90" fmla="*/ 0 w 55"/>
                <a:gd name="T91" fmla="*/ 100 h 102"/>
                <a:gd name="T92" fmla="*/ 0 w 55"/>
                <a:gd name="T93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5" h="102">
                  <a:moveTo>
                    <a:pt x="45" y="13"/>
                  </a:moveTo>
                  <a:cubicBezTo>
                    <a:pt x="44" y="13"/>
                    <a:pt x="44" y="13"/>
                    <a:pt x="44" y="13"/>
                  </a:cubicBezTo>
                  <a:cubicBezTo>
                    <a:pt x="37" y="18"/>
                    <a:pt x="42" y="23"/>
                    <a:pt x="45" y="29"/>
                  </a:cubicBezTo>
                  <a:cubicBezTo>
                    <a:pt x="47" y="35"/>
                    <a:pt x="38" y="35"/>
                    <a:pt x="40" y="39"/>
                  </a:cubicBezTo>
                  <a:cubicBezTo>
                    <a:pt x="41" y="44"/>
                    <a:pt x="48" y="44"/>
                    <a:pt x="51" y="46"/>
                  </a:cubicBezTo>
                  <a:cubicBezTo>
                    <a:pt x="55" y="48"/>
                    <a:pt x="54" y="54"/>
                    <a:pt x="54" y="58"/>
                  </a:cubicBezTo>
                  <a:cubicBezTo>
                    <a:pt x="54" y="62"/>
                    <a:pt x="53" y="65"/>
                    <a:pt x="53" y="76"/>
                  </a:cubicBezTo>
                  <a:cubicBezTo>
                    <a:pt x="53" y="87"/>
                    <a:pt x="48" y="85"/>
                    <a:pt x="47" y="83"/>
                  </a:cubicBezTo>
                  <a:cubicBezTo>
                    <a:pt x="47" y="81"/>
                    <a:pt x="41" y="79"/>
                    <a:pt x="44" y="85"/>
                  </a:cubicBezTo>
                  <a:cubicBezTo>
                    <a:pt x="46" y="88"/>
                    <a:pt x="48" y="94"/>
                    <a:pt x="49" y="98"/>
                  </a:cubicBezTo>
                  <a:cubicBezTo>
                    <a:pt x="47" y="100"/>
                    <a:pt x="43" y="100"/>
                    <a:pt x="41" y="100"/>
                  </a:cubicBezTo>
                  <a:cubicBezTo>
                    <a:pt x="38" y="99"/>
                    <a:pt x="36" y="101"/>
                    <a:pt x="31" y="102"/>
                  </a:cubicBezTo>
                  <a:cubicBezTo>
                    <a:pt x="27" y="102"/>
                    <a:pt x="32" y="100"/>
                    <a:pt x="24" y="100"/>
                  </a:cubicBezTo>
                  <a:cubicBezTo>
                    <a:pt x="17" y="99"/>
                    <a:pt x="15" y="99"/>
                    <a:pt x="13" y="97"/>
                  </a:cubicBezTo>
                  <a:cubicBezTo>
                    <a:pt x="11" y="95"/>
                    <a:pt x="11" y="93"/>
                    <a:pt x="6" y="94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5" y="13"/>
                    <a:pt x="45" y="13"/>
                    <a:pt x="45" y="13"/>
                  </a:cubicBezTo>
                  <a:close/>
                  <a:moveTo>
                    <a:pt x="0" y="100"/>
                  </a:moveTo>
                  <a:cubicBezTo>
                    <a:pt x="0" y="100"/>
                    <a:pt x="0" y="100"/>
                    <a:pt x="0" y="100"/>
                  </a:cubicBezTo>
                  <a:cubicBezTo>
                    <a:pt x="0" y="100"/>
                    <a:pt x="0" y="100"/>
                    <a:pt x="0" y="10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auto">
            <a:xfrm>
              <a:off x="889" y="3622"/>
              <a:ext cx="232" cy="254"/>
            </a:xfrm>
            <a:custGeom>
              <a:avLst/>
              <a:gdLst>
                <a:gd name="T0" fmla="*/ 31 w 111"/>
                <a:gd name="T1" fmla="*/ 101 h 122"/>
                <a:gd name="T2" fmla="*/ 27 w 111"/>
                <a:gd name="T3" fmla="*/ 99 h 122"/>
                <a:gd name="T4" fmla="*/ 27 w 111"/>
                <a:gd name="T5" fmla="*/ 100 h 122"/>
                <a:gd name="T6" fmla="*/ 28 w 111"/>
                <a:gd name="T7" fmla="*/ 88 h 122"/>
                <a:gd name="T8" fmla="*/ 17 w 111"/>
                <a:gd name="T9" fmla="*/ 76 h 122"/>
                <a:gd name="T10" fmla="*/ 19 w 111"/>
                <a:gd name="T11" fmla="*/ 68 h 122"/>
                <a:gd name="T12" fmla="*/ 21 w 111"/>
                <a:gd name="T13" fmla="*/ 64 h 122"/>
                <a:gd name="T14" fmla="*/ 11 w 111"/>
                <a:gd name="T15" fmla="*/ 54 h 122"/>
                <a:gd name="T16" fmla="*/ 3 w 111"/>
                <a:gd name="T17" fmla="*/ 53 h 122"/>
                <a:gd name="T18" fmla="*/ 0 w 111"/>
                <a:gd name="T19" fmla="*/ 36 h 122"/>
                <a:gd name="T20" fmla="*/ 7 w 111"/>
                <a:gd name="T21" fmla="*/ 41 h 122"/>
                <a:gd name="T22" fmla="*/ 19 w 111"/>
                <a:gd name="T23" fmla="*/ 42 h 122"/>
                <a:gd name="T24" fmla="*/ 6 w 111"/>
                <a:gd name="T25" fmla="*/ 32 h 122"/>
                <a:gd name="T26" fmla="*/ 4 w 111"/>
                <a:gd name="T27" fmla="*/ 31 h 122"/>
                <a:gd name="T28" fmla="*/ 9 w 111"/>
                <a:gd name="T29" fmla="*/ 25 h 122"/>
                <a:gd name="T30" fmla="*/ 16 w 111"/>
                <a:gd name="T31" fmla="*/ 22 h 122"/>
                <a:gd name="T32" fmla="*/ 24 w 111"/>
                <a:gd name="T33" fmla="*/ 24 h 122"/>
                <a:gd name="T34" fmla="*/ 33 w 111"/>
                <a:gd name="T35" fmla="*/ 28 h 122"/>
                <a:gd name="T36" fmla="*/ 41 w 111"/>
                <a:gd name="T37" fmla="*/ 35 h 122"/>
                <a:gd name="T38" fmla="*/ 51 w 111"/>
                <a:gd name="T39" fmla="*/ 27 h 122"/>
                <a:gd name="T40" fmla="*/ 57 w 111"/>
                <a:gd name="T41" fmla="*/ 17 h 122"/>
                <a:gd name="T42" fmla="*/ 62 w 111"/>
                <a:gd name="T43" fmla="*/ 11 h 122"/>
                <a:gd name="T44" fmla="*/ 71 w 111"/>
                <a:gd name="T45" fmla="*/ 10 h 122"/>
                <a:gd name="T46" fmla="*/ 77 w 111"/>
                <a:gd name="T47" fmla="*/ 4 h 122"/>
                <a:gd name="T48" fmla="*/ 77 w 111"/>
                <a:gd name="T49" fmla="*/ 1 h 122"/>
                <a:gd name="T50" fmla="*/ 80 w 111"/>
                <a:gd name="T51" fmla="*/ 0 h 122"/>
                <a:gd name="T52" fmla="*/ 81 w 111"/>
                <a:gd name="T53" fmla="*/ 5 h 122"/>
                <a:gd name="T54" fmla="*/ 87 w 111"/>
                <a:gd name="T55" fmla="*/ 6 h 122"/>
                <a:gd name="T56" fmla="*/ 90 w 111"/>
                <a:gd name="T57" fmla="*/ 10 h 122"/>
                <a:gd name="T58" fmla="*/ 95 w 111"/>
                <a:gd name="T59" fmla="*/ 8 h 122"/>
                <a:gd name="T60" fmla="*/ 97 w 111"/>
                <a:gd name="T61" fmla="*/ 6 h 122"/>
                <a:gd name="T62" fmla="*/ 105 w 111"/>
                <a:gd name="T63" fmla="*/ 6 h 122"/>
                <a:gd name="T64" fmla="*/ 110 w 111"/>
                <a:gd name="T65" fmla="*/ 18 h 122"/>
                <a:gd name="T66" fmla="*/ 109 w 111"/>
                <a:gd name="T67" fmla="*/ 23 h 122"/>
                <a:gd name="T68" fmla="*/ 100 w 111"/>
                <a:gd name="T69" fmla="*/ 33 h 122"/>
                <a:gd name="T70" fmla="*/ 102 w 111"/>
                <a:gd name="T71" fmla="*/ 43 h 122"/>
                <a:gd name="T72" fmla="*/ 100 w 111"/>
                <a:gd name="T73" fmla="*/ 53 h 122"/>
                <a:gd name="T74" fmla="*/ 93 w 111"/>
                <a:gd name="T75" fmla="*/ 56 h 122"/>
                <a:gd name="T76" fmla="*/ 87 w 111"/>
                <a:gd name="T77" fmla="*/ 52 h 122"/>
                <a:gd name="T78" fmla="*/ 81 w 111"/>
                <a:gd name="T79" fmla="*/ 56 h 122"/>
                <a:gd name="T80" fmla="*/ 77 w 111"/>
                <a:gd name="T81" fmla="*/ 62 h 122"/>
                <a:gd name="T82" fmla="*/ 83 w 111"/>
                <a:gd name="T83" fmla="*/ 67 h 122"/>
                <a:gd name="T84" fmla="*/ 84 w 111"/>
                <a:gd name="T85" fmla="*/ 76 h 122"/>
                <a:gd name="T86" fmla="*/ 84 w 111"/>
                <a:gd name="T87" fmla="*/ 84 h 122"/>
                <a:gd name="T88" fmla="*/ 89 w 111"/>
                <a:gd name="T89" fmla="*/ 91 h 122"/>
                <a:gd name="T90" fmla="*/ 91 w 111"/>
                <a:gd name="T91" fmla="*/ 99 h 122"/>
                <a:gd name="T92" fmla="*/ 95 w 111"/>
                <a:gd name="T93" fmla="*/ 100 h 122"/>
                <a:gd name="T94" fmla="*/ 100 w 111"/>
                <a:gd name="T95" fmla="*/ 101 h 122"/>
                <a:gd name="T96" fmla="*/ 96 w 111"/>
                <a:gd name="T97" fmla="*/ 109 h 122"/>
                <a:gd name="T98" fmla="*/ 86 w 111"/>
                <a:gd name="T99" fmla="*/ 114 h 122"/>
                <a:gd name="T100" fmla="*/ 79 w 111"/>
                <a:gd name="T101" fmla="*/ 116 h 122"/>
                <a:gd name="T102" fmla="*/ 74 w 111"/>
                <a:gd name="T103" fmla="*/ 121 h 122"/>
                <a:gd name="T104" fmla="*/ 65 w 111"/>
                <a:gd name="T105" fmla="*/ 119 h 122"/>
                <a:gd name="T106" fmla="*/ 61 w 111"/>
                <a:gd name="T107" fmla="*/ 107 h 122"/>
                <a:gd name="T108" fmla="*/ 54 w 111"/>
                <a:gd name="T109" fmla="*/ 104 h 122"/>
                <a:gd name="T110" fmla="*/ 53 w 111"/>
                <a:gd name="T111" fmla="*/ 96 h 122"/>
                <a:gd name="T112" fmla="*/ 48 w 111"/>
                <a:gd name="T113" fmla="*/ 98 h 122"/>
                <a:gd name="T114" fmla="*/ 41 w 111"/>
                <a:gd name="T115" fmla="*/ 100 h 122"/>
                <a:gd name="T116" fmla="*/ 35 w 111"/>
                <a:gd name="T117" fmla="*/ 99 h 122"/>
                <a:gd name="T118" fmla="*/ 31 w 111"/>
                <a:gd name="T119" fmla="*/ 10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1" h="122">
                  <a:moveTo>
                    <a:pt x="31" y="101"/>
                  </a:moveTo>
                  <a:cubicBezTo>
                    <a:pt x="30" y="100"/>
                    <a:pt x="29" y="99"/>
                    <a:pt x="27" y="99"/>
                  </a:cubicBezTo>
                  <a:cubicBezTo>
                    <a:pt x="27" y="99"/>
                    <a:pt x="27" y="99"/>
                    <a:pt x="27" y="100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8" y="88"/>
                    <a:pt x="16" y="76"/>
                    <a:pt x="17" y="76"/>
                  </a:cubicBezTo>
                  <a:cubicBezTo>
                    <a:pt x="19" y="76"/>
                    <a:pt x="19" y="69"/>
                    <a:pt x="19" y="68"/>
                  </a:cubicBezTo>
                  <a:cubicBezTo>
                    <a:pt x="19" y="67"/>
                    <a:pt x="21" y="64"/>
                    <a:pt x="21" y="64"/>
                  </a:cubicBezTo>
                  <a:cubicBezTo>
                    <a:pt x="21" y="64"/>
                    <a:pt x="14" y="53"/>
                    <a:pt x="11" y="54"/>
                  </a:cubicBezTo>
                  <a:cubicBezTo>
                    <a:pt x="9" y="55"/>
                    <a:pt x="4" y="55"/>
                    <a:pt x="3" y="53"/>
                  </a:cubicBezTo>
                  <a:cubicBezTo>
                    <a:pt x="3" y="52"/>
                    <a:pt x="1" y="41"/>
                    <a:pt x="0" y="36"/>
                  </a:cubicBezTo>
                  <a:cubicBezTo>
                    <a:pt x="2" y="36"/>
                    <a:pt x="5" y="40"/>
                    <a:pt x="7" y="41"/>
                  </a:cubicBezTo>
                  <a:cubicBezTo>
                    <a:pt x="9" y="42"/>
                    <a:pt x="18" y="46"/>
                    <a:pt x="19" y="42"/>
                  </a:cubicBezTo>
                  <a:cubicBezTo>
                    <a:pt x="19" y="39"/>
                    <a:pt x="10" y="34"/>
                    <a:pt x="6" y="32"/>
                  </a:cubicBezTo>
                  <a:cubicBezTo>
                    <a:pt x="5" y="32"/>
                    <a:pt x="5" y="32"/>
                    <a:pt x="4" y="31"/>
                  </a:cubicBezTo>
                  <a:cubicBezTo>
                    <a:pt x="6" y="29"/>
                    <a:pt x="8" y="26"/>
                    <a:pt x="9" y="25"/>
                  </a:cubicBezTo>
                  <a:cubicBezTo>
                    <a:pt x="10" y="22"/>
                    <a:pt x="12" y="21"/>
                    <a:pt x="16" y="22"/>
                  </a:cubicBezTo>
                  <a:cubicBezTo>
                    <a:pt x="21" y="23"/>
                    <a:pt x="20" y="24"/>
                    <a:pt x="24" y="24"/>
                  </a:cubicBezTo>
                  <a:cubicBezTo>
                    <a:pt x="28" y="23"/>
                    <a:pt x="31" y="25"/>
                    <a:pt x="33" y="28"/>
                  </a:cubicBezTo>
                  <a:cubicBezTo>
                    <a:pt x="35" y="32"/>
                    <a:pt x="37" y="33"/>
                    <a:pt x="41" y="35"/>
                  </a:cubicBezTo>
                  <a:cubicBezTo>
                    <a:pt x="44" y="36"/>
                    <a:pt x="49" y="29"/>
                    <a:pt x="51" y="27"/>
                  </a:cubicBezTo>
                  <a:cubicBezTo>
                    <a:pt x="54" y="25"/>
                    <a:pt x="56" y="20"/>
                    <a:pt x="57" y="17"/>
                  </a:cubicBezTo>
                  <a:cubicBezTo>
                    <a:pt x="57" y="14"/>
                    <a:pt x="58" y="14"/>
                    <a:pt x="62" y="11"/>
                  </a:cubicBezTo>
                  <a:cubicBezTo>
                    <a:pt x="65" y="7"/>
                    <a:pt x="67" y="10"/>
                    <a:pt x="71" y="10"/>
                  </a:cubicBezTo>
                  <a:cubicBezTo>
                    <a:pt x="75" y="10"/>
                    <a:pt x="75" y="8"/>
                    <a:pt x="77" y="4"/>
                  </a:cubicBezTo>
                  <a:cubicBezTo>
                    <a:pt x="77" y="2"/>
                    <a:pt x="77" y="2"/>
                    <a:pt x="77" y="1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7" y="6"/>
                    <a:pt x="87" y="6"/>
                    <a:pt x="87" y="6"/>
                  </a:cubicBezTo>
                  <a:cubicBezTo>
                    <a:pt x="87" y="6"/>
                    <a:pt x="89" y="10"/>
                    <a:pt x="90" y="10"/>
                  </a:cubicBezTo>
                  <a:cubicBezTo>
                    <a:pt x="92" y="10"/>
                    <a:pt x="95" y="10"/>
                    <a:pt x="95" y="8"/>
                  </a:cubicBezTo>
                  <a:cubicBezTo>
                    <a:pt x="95" y="7"/>
                    <a:pt x="97" y="6"/>
                    <a:pt x="97" y="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6" y="9"/>
                    <a:pt x="108" y="16"/>
                    <a:pt x="110" y="18"/>
                  </a:cubicBezTo>
                  <a:cubicBezTo>
                    <a:pt x="111" y="20"/>
                    <a:pt x="110" y="21"/>
                    <a:pt x="109" y="23"/>
                  </a:cubicBezTo>
                  <a:cubicBezTo>
                    <a:pt x="108" y="25"/>
                    <a:pt x="102" y="31"/>
                    <a:pt x="100" y="33"/>
                  </a:cubicBezTo>
                  <a:cubicBezTo>
                    <a:pt x="98" y="35"/>
                    <a:pt x="101" y="39"/>
                    <a:pt x="102" y="43"/>
                  </a:cubicBezTo>
                  <a:cubicBezTo>
                    <a:pt x="104" y="46"/>
                    <a:pt x="102" y="48"/>
                    <a:pt x="100" y="53"/>
                  </a:cubicBezTo>
                  <a:cubicBezTo>
                    <a:pt x="97" y="57"/>
                    <a:pt x="98" y="56"/>
                    <a:pt x="93" y="56"/>
                  </a:cubicBezTo>
                  <a:cubicBezTo>
                    <a:pt x="88" y="56"/>
                    <a:pt x="88" y="53"/>
                    <a:pt x="87" y="52"/>
                  </a:cubicBezTo>
                  <a:cubicBezTo>
                    <a:pt x="86" y="51"/>
                    <a:pt x="81" y="53"/>
                    <a:pt x="81" y="56"/>
                  </a:cubicBezTo>
                  <a:cubicBezTo>
                    <a:pt x="81" y="59"/>
                    <a:pt x="78" y="61"/>
                    <a:pt x="77" y="62"/>
                  </a:cubicBezTo>
                  <a:cubicBezTo>
                    <a:pt x="75" y="64"/>
                    <a:pt x="80" y="65"/>
                    <a:pt x="83" y="67"/>
                  </a:cubicBezTo>
                  <a:cubicBezTo>
                    <a:pt x="85" y="69"/>
                    <a:pt x="85" y="73"/>
                    <a:pt x="84" y="76"/>
                  </a:cubicBezTo>
                  <a:cubicBezTo>
                    <a:pt x="83" y="79"/>
                    <a:pt x="83" y="81"/>
                    <a:pt x="84" y="84"/>
                  </a:cubicBezTo>
                  <a:cubicBezTo>
                    <a:pt x="84" y="87"/>
                    <a:pt x="88" y="91"/>
                    <a:pt x="89" y="91"/>
                  </a:cubicBezTo>
                  <a:cubicBezTo>
                    <a:pt x="91" y="92"/>
                    <a:pt x="91" y="96"/>
                    <a:pt x="91" y="99"/>
                  </a:cubicBezTo>
                  <a:cubicBezTo>
                    <a:pt x="90" y="101"/>
                    <a:pt x="92" y="101"/>
                    <a:pt x="95" y="100"/>
                  </a:cubicBezTo>
                  <a:cubicBezTo>
                    <a:pt x="98" y="99"/>
                    <a:pt x="100" y="98"/>
                    <a:pt x="100" y="101"/>
                  </a:cubicBezTo>
                  <a:cubicBezTo>
                    <a:pt x="100" y="103"/>
                    <a:pt x="99" y="106"/>
                    <a:pt x="96" y="109"/>
                  </a:cubicBezTo>
                  <a:cubicBezTo>
                    <a:pt x="93" y="112"/>
                    <a:pt x="92" y="116"/>
                    <a:pt x="86" y="114"/>
                  </a:cubicBezTo>
                  <a:cubicBezTo>
                    <a:pt x="80" y="113"/>
                    <a:pt x="80" y="114"/>
                    <a:pt x="79" y="116"/>
                  </a:cubicBezTo>
                  <a:cubicBezTo>
                    <a:pt x="78" y="118"/>
                    <a:pt x="77" y="120"/>
                    <a:pt x="74" y="121"/>
                  </a:cubicBezTo>
                  <a:cubicBezTo>
                    <a:pt x="70" y="122"/>
                    <a:pt x="68" y="122"/>
                    <a:pt x="65" y="119"/>
                  </a:cubicBezTo>
                  <a:cubicBezTo>
                    <a:pt x="62" y="117"/>
                    <a:pt x="62" y="110"/>
                    <a:pt x="61" y="107"/>
                  </a:cubicBezTo>
                  <a:cubicBezTo>
                    <a:pt x="61" y="104"/>
                    <a:pt x="54" y="105"/>
                    <a:pt x="54" y="104"/>
                  </a:cubicBezTo>
                  <a:cubicBezTo>
                    <a:pt x="53" y="103"/>
                    <a:pt x="53" y="99"/>
                    <a:pt x="53" y="96"/>
                  </a:cubicBezTo>
                  <a:cubicBezTo>
                    <a:pt x="53" y="93"/>
                    <a:pt x="48" y="96"/>
                    <a:pt x="48" y="98"/>
                  </a:cubicBezTo>
                  <a:cubicBezTo>
                    <a:pt x="48" y="101"/>
                    <a:pt x="44" y="100"/>
                    <a:pt x="41" y="100"/>
                  </a:cubicBezTo>
                  <a:cubicBezTo>
                    <a:pt x="38" y="99"/>
                    <a:pt x="35" y="99"/>
                    <a:pt x="35" y="99"/>
                  </a:cubicBezTo>
                  <a:lnTo>
                    <a:pt x="31" y="101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1519" y="3224"/>
              <a:ext cx="287" cy="317"/>
            </a:xfrm>
            <a:custGeom>
              <a:avLst/>
              <a:gdLst>
                <a:gd name="T0" fmla="*/ 39 w 287"/>
                <a:gd name="T1" fmla="*/ 121 h 317"/>
                <a:gd name="T2" fmla="*/ 62 w 287"/>
                <a:gd name="T3" fmla="*/ 121 h 317"/>
                <a:gd name="T4" fmla="*/ 93 w 287"/>
                <a:gd name="T5" fmla="*/ 115 h 317"/>
                <a:gd name="T6" fmla="*/ 106 w 287"/>
                <a:gd name="T7" fmla="*/ 67 h 317"/>
                <a:gd name="T8" fmla="*/ 116 w 287"/>
                <a:gd name="T9" fmla="*/ 48 h 317"/>
                <a:gd name="T10" fmla="*/ 110 w 287"/>
                <a:gd name="T11" fmla="*/ 25 h 317"/>
                <a:gd name="T12" fmla="*/ 156 w 287"/>
                <a:gd name="T13" fmla="*/ 0 h 317"/>
                <a:gd name="T14" fmla="*/ 173 w 287"/>
                <a:gd name="T15" fmla="*/ 27 h 317"/>
                <a:gd name="T16" fmla="*/ 173 w 287"/>
                <a:gd name="T17" fmla="*/ 46 h 317"/>
                <a:gd name="T18" fmla="*/ 158 w 287"/>
                <a:gd name="T19" fmla="*/ 62 h 317"/>
                <a:gd name="T20" fmla="*/ 148 w 287"/>
                <a:gd name="T21" fmla="*/ 85 h 317"/>
                <a:gd name="T22" fmla="*/ 156 w 287"/>
                <a:gd name="T23" fmla="*/ 104 h 317"/>
                <a:gd name="T24" fmla="*/ 154 w 287"/>
                <a:gd name="T25" fmla="*/ 133 h 317"/>
                <a:gd name="T26" fmla="*/ 171 w 287"/>
                <a:gd name="T27" fmla="*/ 127 h 317"/>
                <a:gd name="T28" fmla="*/ 185 w 287"/>
                <a:gd name="T29" fmla="*/ 110 h 317"/>
                <a:gd name="T30" fmla="*/ 206 w 287"/>
                <a:gd name="T31" fmla="*/ 125 h 317"/>
                <a:gd name="T32" fmla="*/ 227 w 287"/>
                <a:gd name="T33" fmla="*/ 129 h 317"/>
                <a:gd name="T34" fmla="*/ 241 w 287"/>
                <a:gd name="T35" fmla="*/ 121 h 317"/>
                <a:gd name="T36" fmla="*/ 275 w 287"/>
                <a:gd name="T37" fmla="*/ 137 h 317"/>
                <a:gd name="T38" fmla="*/ 287 w 287"/>
                <a:gd name="T39" fmla="*/ 162 h 317"/>
                <a:gd name="T40" fmla="*/ 254 w 287"/>
                <a:gd name="T41" fmla="*/ 196 h 317"/>
                <a:gd name="T42" fmla="*/ 258 w 287"/>
                <a:gd name="T43" fmla="*/ 213 h 317"/>
                <a:gd name="T44" fmla="*/ 243 w 287"/>
                <a:gd name="T45" fmla="*/ 242 h 317"/>
                <a:gd name="T46" fmla="*/ 231 w 287"/>
                <a:gd name="T47" fmla="*/ 225 h 317"/>
                <a:gd name="T48" fmla="*/ 193 w 287"/>
                <a:gd name="T49" fmla="*/ 210 h 317"/>
                <a:gd name="T50" fmla="*/ 168 w 287"/>
                <a:gd name="T51" fmla="*/ 254 h 317"/>
                <a:gd name="T52" fmla="*/ 143 w 287"/>
                <a:gd name="T53" fmla="*/ 248 h 317"/>
                <a:gd name="T54" fmla="*/ 127 w 287"/>
                <a:gd name="T55" fmla="*/ 281 h 317"/>
                <a:gd name="T56" fmla="*/ 102 w 287"/>
                <a:gd name="T57" fmla="*/ 317 h 317"/>
                <a:gd name="T58" fmla="*/ 85 w 287"/>
                <a:gd name="T59" fmla="*/ 279 h 317"/>
                <a:gd name="T60" fmla="*/ 87 w 287"/>
                <a:gd name="T61" fmla="*/ 242 h 317"/>
                <a:gd name="T62" fmla="*/ 71 w 287"/>
                <a:gd name="T63" fmla="*/ 221 h 317"/>
                <a:gd name="T64" fmla="*/ 46 w 287"/>
                <a:gd name="T65" fmla="*/ 208 h 317"/>
                <a:gd name="T66" fmla="*/ 31 w 287"/>
                <a:gd name="T67" fmla="*/ 213 h 317"/>
                <a:gd name="T68" fmla="*/ 0 w 287"/>
                <a:gd name="T69" fmla="*/ 198 h 317"/>
                <a:gd name="T70" fmla="*/ 27 w 287"/>
                <a:gd name="T71" fmla="*/ 177 h 317"/>
                <a:gd name="T72" fmla="*/ 62 w 287"/>
                <a:gd name="T73" fmla="*/ 165 h 317"/>
                <a:gd name="T74" fmla="*/ 29 w 287"/>
                <a:gd name="T75" fmla="*/ 133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7" h="317">
                  <a:moveTo>
                    <a:pt x="29" y="133"/>
                  </a:moveTo>
                  <a:lnTo>
                    <a:pt x="39" y="121"/>
                  </a:lnTo>
                  <a:lnTo>
                    <a:pt x="56" y="117"/>
                  </a:lnTo>
                  <a:lnTo>
                    <a:pt x="62" y="121"/>
                  </a:lnTo>
                  <a:lnTo>
                    <a:pt x="73" y="115"/>
                  </a:lnTo>
                  <a:lnTo>
                    <a:pt x="93" y="115"/>
                  </a:lnTo>
                  <a:lnTo>
                    <a:pt x="96" y="79"/>
                  </a:lnTo>
                  <a:lnTo>
                    <a:pt x="106" y="67"/>
                  </a:lnTo>
                  <a:lnTo>
                    <a:pt x="106" y="56"/>
                  </a:lnTo>
                  <a:lnTo>
                    <a:pt x="116" y="48"/>
                  </a:lnTo>
                  <a:lnTo>
                    <a:pt x="100" y="33"/>
                  </a:lnTo>
                  <a:lnTo>
                    <a:pt x="110" y="25"/>
                  </a:lnTo>
                  <a:lnTo>
                    <a:pt x="123" y="33"/>
                  </a:lnTo>
                  <a:lnTo>
                    <a:pt x="156" y="0"/>
                  </a:lnTo>
                  <a:lnTo>
                    <a:pt x="175" y="17"/>
                  </a:lnTo>
                  <a:lnTo>
                    <a:pt x="173" y="27"/>
                  </a:lnTo>
                  <a:lnTo>
                    <a:pt x="181" y="33"/>
                  </a:lnTo>
                  <a:lnTo>
                    <a:pt x="173" y="46"/>
                  </a:lnTo>
                  <a:lnTo>
                    <a:pt x="171" y="62"/>
                  </a:lnTo>
                  <a:lnTo>
                    <a:pt x="158" y="62"/>
                  </a:lnTo>
                  <a:lnTo>
                    <a:pt x="154" y="75"/>
                  </a:lnTo>
                  <a:lnTo>
                    <a:pt x="148" y="85"/>
                  </a:lnTo>
                  <a:lnTo>
                    <a:pt x="146" y="96"/>
                  </a:lnTo>
                  <a:lnTo>
                    <a:pt x="156" y="104"/>
                  </a:lnTo>
                  <a:lnTo>
                    <a:pt x="156" y="125"/>
                  </a:lnTo>
                  <a:lnTo>
                    <a:pt x="154" y="133"/>
                  </a:lnTo>
                  <a:lnTo>
                    <a:pt x="160" y="137"/>
                  </a:lnTo>
                  <a:lnTo>
                    <a:pt x="171" y="127"/>
                  </a:lnTo>
                  <a:lnTo>
                    <a:pt x="173" y="115"/>
                  </a:lnTo>
                  <a:lnTo>
                    <a:pt x="185" y="110"/>
                  </a:lnTo>
                  <a:lnTo>
                    <a:pt x="200" y="121"/>
                  </a:lnTo>
                  <a:lnTo>
                    <a:pt x="206" y="125"/>
                  </a:lnTo>
                  <a:lnTo>
                    <a:pt x="218" y="115"/>
                  </a:lnTo>
                  <a:lnTo>
                    <a:pt x="227" y="129"/>
                  </a:lnTo>
                  <a:lnTo>
                    <a:pt x="235" y="129"/>
                  </a:lnTo>
                  <a:lnTo>
                    <a:pt x="241" y="121"/>
                  </a:lnTo>
                  <a:lnTo>
                    <a:pt x="252" y="121"/>
                  </a:lnTo>
                  <a:lnTo>
                    <a:pt x="275" y="137"/>
                  </a:lnTo>
                  <a:lnTo>
                    <a:pt x="287" y="148"/>
                  </a:lnTo>
                  <a:lnTo>
                    <a:pt x="287" y="162"/>
                  </a:lnTo>
                  <a:lnTo>
                    <a:pt x="262" y="183"/>
                  </a:lnTo>
                  <a:lnTo>
                    <a:pt x="254" y="196"/>
                  </a:lnTo>
                  <a:lnTo>
                    <a:pt x="258" y="204"/>
                  </a:lnTo>
                  <a:lnTo>
                    <a:pt x="258" y="213"/>
                  </a:lnTo>
                  <a:lnTo>
                    <a:pt x="256" y="229"/>
                  </a:lnTo>
                  <a:lnTo>
                    <a:pt x="243" y="242"/>
                  </a:lnTo>
                  <a:lnTo>
                    <a:pt x="227" y="238"/>
                  </a:lnTo>
                  <a:lnTo>
                    <a:pt x="231" y="225"/>
                  </a:lnTo>
                  <a:lnTo>
                    <a:pt x="210" y="221"/>
                  </a:lnTo>
                  <a:lnTo>
                    <a:pt x="193" y="210"/>
                  </a:lnTo>
                  <a:lnTo>
                    <a:pt x="175" y="233"/>
                  </a:lnTo>
                  <a:lnTo>
                    <a:pt x="168" y="254"/>
                  </a:lnTo>
                  <a:lnTo>
                    <a:pt x="156" y="256"/>
                  </a:lnTo>
                  <a:lnTo>
                    <a:pt x="143" y="248"/>
                  </a:lnTo>
                  <a:lnTo>
                    <a:pt x="129" y="256"/>
                  </a:lnTo>
                  <a:lnTo>
                    <a:pt x="127" y="281"/>
                  </a:lnTo>
                  <a:lnTo>
                    <a:pt x="112" y="306"/>
                  </a:lnTo>
                  <a:lnTo>
                    <a:pt x="102" y="317"/>
                  </a:lnTo>
                  <a:lnTo>
                    <a:pt x="91" y="302"/>
                  </a:lnTo>
                  <a:lnTo>
                    <a:pt x="85" y="279"/>
                  </a:lnTo>
                  <a:lnTo>
                    <a:pt x="85" y="265"/>
                  </a:lnTo>
                  <a:lnTo>
                    <a:pt x="87" y="242"/>
                  </a:lnTo>
                  <a:lnTo>
                    <a:pt x="73" y="238"/>
                  </a:lnTo>
                  <a:lnTo>
                    <a:pt x="71" y="221"/>
                  </a:lnTo>
                  <a:lnTo>
                    <a:pt x="58" y="221"/>
                  </a:lnTo>
                  <a:lnTo>
                    <a:pt x="46" y="208"/>
                  </a:lnTo>
                  <a:lnTo>
                    <a:pt x="37" y="219"/>
                  </a:lnTo>
                  <a:lnTo>
                    <a:pt x="31" y="213"/>
                  </a:lnTo>
                  <a:lnTo>
                    <a:pt x="16" y="219"/>
                  </a:lnTo>
                  <a:lnTo>
                    <a:pt x="0" y="198"/>
                  </a:lnTo>
                  <a:lnTo>
                    <a:pt x="18" y="177"/>
                  </a:lnTo>
                  <a:lnTo>
                    <a:pt x="27" y="177"/>
                  </a:lnTo>
                  <a:lnTo>
                    <a:pt x="43" y="181"/>
                  </a:lnTo>
                  <a:lnTo>
                    <a:pt x="62" y="165"/>
                  </a:lnTo>
                  <a:lnTo>
                    <a:pt x="29" y="131"/>
                  </a:lnTo>
                  <a:lnTo>
                    <a:pt x="29" y="133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1317" y="3332"/>
              <a:ext cx="264" cy="175"/>
            </a:xfrm>
            <a:custGeom>
              <a:avLst/>
              <a:gdLst>
                <a:gd name="T0" fmla="*/ 12 w 264"/>
                <a:gd name="T1" fmla="*/ 113 h 175"/>
                <a:gd name="T2" fmla="*/ 12 w 264"/>
                <a:gd name="T3" fmla="*/ 100 h 175"/>
                <a:gd name="T4" fmla="*/ 0 w 264"/>
                <a:gd name="T5" fmla="*/ 88 h 175"/>
                <a:gd name="T6" fmla="*/ 2 w 264"/>
                <a:gd name="T7" fmla="*/ 73 h 175"/>
                <a:gd name="T8" fmla="*/ 12 w 264"/>
                <a:gd name="T9" fmla="*/ 65 h 175"/>
                <a:gd name="T10" fmla="*/ 20 w 264"/>
                <a:gd name="T11" fmla="*/ 65 h 175"/>
                <a:gd name="T12" fmla="*/ 29 w 264"/>
                <a:gd name="T13" fmla="*/ 57 h 175"/>
                <a:gd name="T14" fmla="*/ 43 w 264"/>
                <a:gd name="T15" fmla="*/ 54 h 175"/>
                <a:gd name="T16" fmla="*/ 56 w 264"/>
                <a:gd name="T17" fmla="*/ 50 h 175"/>
                <a:gd name="T18" fmla="*/ 72 w 264"/>
                <a:gd name="T19" fmla="*/ 48 h 175"/>
                <a:gd name="T20" fmla="*/ 83 w 264"/>
                <a:gd name="T21" fmla="*/ 38 h 175"/>
                <a:gd name="T22" fmla="*/ 87 w 264"/>
                <a:gd name="T23" fmla="*/ 23 h 175"/>
                <a:gd name="T24" fmla="*/ 95 w 264"/>
                <a:gd name="T25" fmla="*/ 15 h 175"/>
                <a:gd name="T26" fmla="*/ 106 w 264"/>
                <a:gd name="T27" fmla="*/ 25 h 175"/>
                <a:gd name="T28" fmla="*/ 122 w 264"/>
                <a:gd name="T29" fmla="*/ 25 h 175"/>
                <a:gd name="T30" fmla="*/ 122 w 264"/>
                <a:gd name="T31" fmla="*/ 13 h 175"/>
                <a:gd name="T32" fmla="*/ 150 w 264"/>
                <a:gd name="T33" fmla="*/ 13 h 175"/>
                <a:gd name="T34" fmla="*/ 158 w 264"/>
                <a:gd name="T35" fmla="*/ 17 h 175"/>
                <a:gd name="T36" fmla="*/ 162 w 264"/>
                <a:gd name="T37" fmla="*/ 9 h 175"/>
                <a:gd name="T38" fmla="*/ 172 w 264"/>
                <a:gd name="T39" fmla="*/ 11 h 175"/>
                <a:gd name="T40" fmla="*/ 187 w 264"/>
                <a:gd name="T41" fmla="*/ 0 h 175"/>
                <a:gd name="T42" fmla="*/ 197 w 264"/>
                <a:gd name="T43" fmla="*/ 2 h 175"/>
                <a:gd name="T44" fmla="*/ 208 w 264"/>
                <a:gd name="T45" fmla="*/ 19 h 175"/>
                <a:gd name="T46" fmla="*/ 227 w 264"/>
                <a:gd name="T47" fmla="*/ 19 h 175"/>
                <a:gd name="T48" fmla="*/ 231 w 264"/>
                <a:gd name="T49" fmla="*/ 25 h 175"/>
                <a:gd name="T50" fmla="*/ 231 w 264"/>
                <a:gd name="T51" fmla="*/ 23 h 175"/>
                <a:gd name="T52" fmla="*/ 264 w 264"/>
                <a:gd name="T53" fmla="*/ 57 h 175"/>
                <a:gd name="T54" fmla="*/ 245 w 264"/>
                <a:gd name="T55" fmla="*/ 73 h 175"/>
                <a:gd name="T56" fmla="*/ 229 w 264"/>
                <a:gd name="T57" fmla="*/ 69 h 175"/>
                <a:gd name="T58" fmla="*/ 220 w 264"/>
                <a:gd name="T59" fmla="*/ 69 h 175"/>
                <a:gd name="T60" fmla="*/ 202 w 264"/>
                <a:gd name="T61" fmla="*/ 90 h 175"/>
                <a:gd name="T62" fmla="*/ 181 w 264"/>
                <a:gd name="T63" fmla="*/ 77 h 175"/>
                <a:gd name="T64" fmla="*/ 175 w 264"/>
                <a:gd name="T65" fmla="*/ 88 h 175"/>
                <a:gd name="T66" fmla="*/ 156 w 264"/>
                <a:gd name="T67" fmla="*/ 88 h 175"/>
                <a:gd name="T68" fmla="*/ 158 w 264"/>
                <a:gd name="T69" fmla="*/ 100 h 175"/>
                <a:gd name="T70" fmla="*/ 147 w 264"/>
                <a:gd name="T71" fmla="*/ 111 h 175"/>
                <a:gd name="T72" fmla="*/ 156 w 264"/>
                <a:gd name="T73" fmla="*/ 123 h 175"/>
                <a:gd name="T74" fmla="*/ 135 w 264"/>
                <a:gd name="T75" fmla="*/ 138 h 175"/>
                <a:gd name="T76" fmla="*/ 135 w 264"/>
                <a:gd name="T77" fmla="*/ 155 h 175"/>
                <a:gd name="T78" fmla="*/ 112 w 264"/>
                <a:gd name="T79" fmla="*/ 173 h 175"/>
                <a:gd name="T80" fmla="*/ 118 w 264"/>
                <a:gd name="T81" fmla="*/ 175 h 175"/>
                <a:gd name="T82" fmla="*/ 108 w 264"/>
                <a:gd name="T83" fmla="*/ 171 h 175"/>
                <a:gd name="T84" fmla="*/ 108 w 264"/>
                <a:gd name="T85" fmla="*/ 159 h 175"/>
                <a:gd name="T86" fmla="*/ 95 w 264"/>
                <a:gd name="T87" fmla="*/ 157 h 175"/>
                <a:gd name="T88" fmla="*/ 91 w 264"/>
                <a:gd name="T89" fmla="*/ 165 h 175"/>
                <a:gd name="T90" fmla="*/ 79 w 264"/>
                <a:gd name="T91" fmla="*/ 163 h 175"/>
                <a:gd name="T92" fmla="*/ 68 w 264"/>
                <a:gd name="T93" fmla="*/ 169 h 175"/>
                <a:gd name="T94" fmla="*/ 56 w 264"/>
                <a:gd name="T95" fmla="*/ 169 h 175"/>
                <a:gd name="T96" fmla="*/ 56 w 264"/>
                <a:gd name="T97" fmla="*/ 161 h 175"/>
                <a:gd name="T98" fmla="*/ 45 w 264"/>
                <a:gd name="T99" fmla="*/ 150 h 175"/>
                <a:gd name="T100" fmla="*/ 45 w 264"/>
                <a:gd name="T101" fmla="*/ 136 h 175"/>
                <a:gd name="T102" fmla="*/ 35 w 264"/>
                <a:gd name="T103" fmla="*/ 127 h 175"/>
                <a:gd name="T104" fmla="*/ 35 w 264"/>
                <a:gd name="T105" fmla="*/ 117 h 175"/>
                <a:gd name="T106" fmla="*/ 20 w 264"/>
                <a:gd name="T107" fmla="*/ 117 h 175"/>
                <a:gd name="T108" fmla="*/ 12 w 264"/>
                <a:gd name="T109" fmla="*/ 1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4" h="175">
                  <a:moveTo>
                    <a:pt x="12" y="113"/>
                  </a:moveTo>
                  <a:lnTo>
                    <a:pt x="12" y="100"/>
                  </a:lnTo>
                  <a:lnTo>
                    <a:pt x="0" y="88"/>
                  </a:lnTo>
                  <a:lnTo>
                    <a:pt x="2" y="73"/>
                  </a:lnTo>
                  <a:lnTo>
                    <a:pt x="12" y="65"/>
                  </a:lnTo>
                  <a:lnTo>
                    <a:pt x="20" y="65"/>
                  </a:lnTo>
                  <a:lnTo>
                    <a:pt x="29" y="57"/>
                  </a:lnTo>
                  <a:lnTo>
                    <a:pt x="43" y="54"/>
                  </a:lnTo>
                  <a:lnTo>
                    <a:pt x="56" y="50"/>
                  </a:lnTo>
                  <a:lnTo>
                    <a:pt x="72" y="48"/>
                  </a:lnTo>
                  <a:lnTo>
                    <a:pt x="83" y="38"/>
                  </a:lnTo>
                  <a:lnTo>
                    <a:pt x="87" y="23"/>
                  </a:lnTo>
                  <a:lnTo>
                    <a:pt x="95" y="15"/>
                  </a:lnTo>
                  <a:lnTo>
                    <a:pt x="106" y="25"/>
                  </a:lnTo>
                  <a:lnTo>
                    <a:pt x="122" y="25"/>
                  </a:lnTo>
                  <a:lnTo>
                    <a:pt x="122" y="13"/>
                  </a:lnTo>
                  <a:lnTo>
                    <a:pt x="150" y="13"/>
                  </a:lnTo>
                  <a:lnTo>
                    <a:pt x="158" y="17"/>
                  </a:lnTo>
                  <a:lnTo>
                    <a:pt x="162" y="9"/>
                  </a:lnTo>
                  <a:lnTo>
                    <a:pt x="172" y="11"/>
                  </a:lnTo>
                  <a:lnTo>
                    <a:pt x="187" y="0"/>
                  </a:lnTo>
                  <a:lnTo>
                    <a:pt x="197" y="2"/>
                  </a:lnTo>
                  <a:lnTo>
                    <a:pt x="208" y="19"/>
                  </a:lnTo>
                  <a:lnTo>
                    <a:pt x="227" y="19"/>
                  </a:lnTo>
                  <a:lnTo>
                    <a:pt x="231" y="25"/>
                  </a:lnTo>
                  <a:lnTo>
                    <a:pt x="231" y="23"/>
                  </a:lnTo>
                  <a:lnTo>
                    <a:pt x="264" y="57"/>
                  </a:lnTo>
                  <a:lnTo>
                    <a:pt x="245" y="73"/>
                  </a:lnTo>
                  <a:lnTo>
                    <a:pt x="229" y="69"/>
                  </a:lnTo>
                  <a:lnTo>
                    <a:pt x="220" y="69"/>
                  </a:lnTo>
                  <a:lnTo>
                    <a:pt x="202" y="90"/>
                  </a:lnTo>
                  <a:lnTo>
                    <a:pt x="181" y="77"/>
                  </a:lnTo>
                  <a:lnTo>
                    <a:pt x="175" y="88"/>
                  </a:lnTo>
                  <a:lnTo>
                    <a:pt x="156" y="88"/>
                  </a:lnTo>
                  <a:lnTo>
                    <a:pt x="158" y="100"/>
                  </a:lnTo>
                  <a:lnTo>
                    <a:pt x="147" y="111"/>
                  </a:lnTo>
                  <a:lnTo>
                    <a:pt x="156" y="123"/>
                  </a:lnTo>
                  <a:lnTo>
                    <a:pt x="135" y="138"/>
                  </a:lnTo>
                  <a:lnTo>
                    <a:pt x="135" y="155"/>
                  </a:lnTo>
                  <a:lnTo>
                    <a:pt x="112" y="173"/>
                  </a:lnTo>
                  <a:lnTo>
                    <a:pt x="118" y="175"/>
                  </a:lnTo>
                  <a:lnTo>
                    <a:pt x="108" y="171"/>
                  </a:lnTo>
                  <a:lnTo>
                    <a:pt x="108" y="159"/>
                  </a:lnTo>
                  <a:lnTo>
                    <a:pt x="95" y="157"/>
                  </a:lnTo>
                  <a:lnTo>
                    <a:pt x="91" y="165"/>
                  </a:lnTo>
                  <a:lnTo>
                    <a:pt x="79" y="163"/>
                  </a:lnTo>
                  <a:lnTo>
                    <a:pt x="68" y="169"/>
                  </a:lnTo>
                  <a:lnTo>
                    <a:pt x="56" y="169"/>
                  </a:lnTo>
                  <a:lnTo>
                    <a:pt x="56" y="161"/>
                  </a:lnTo>
                  <a:lnTo>
                    <a:pt x="45" y="150"/>
                  </a:lnTo>
                  <a:lnTo>
                    <a:pt x="45" y="136"/>
                  </a:lnTo>
                  <a:lnTo>
                    <a:pt x="35" y="127"/>
                  </a:lnTo>
                  <a:lnTo>
                    <a:pt x="35" y="117"/>
                  </a:lnTo>
                  <a:lnTo>
                    <a:pt x="20" y="117"/>
                  </a:lnTo>
                  <a:lnTo>
                    <a:pt x="12" y="113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1248" y="3478"/>
              <a:ext cx="148" cy="156"/>
            </a:xfrm>
            <a:custGeom>
              <a:avLst/>
              <a:gdLst>
                <a:gd name="T0" fmla="*/ 0 w 71"/>
                <a:gd name="T1" fmla="*/ 37 h 75"/>
                <a:gd name="T2" fmla="*/ 0 w 71"/>
                <a:gd name="T3" fmla="*/ 36 h 75"/>
                <a:gd name="T4" fmla="*/ 8 w 71"/>
                <a:gd name="T5" fmla="*/ 37 h 75"/>
                <a:gd name="T6" fmla="*/ 8 w 71"/>
                <a:gd name="T7" fmla="*/ 27 h 75"/>
                <a:gd name="T8" fmla="*/ 5 w 71"/>
                <a:gd name="T9" fmla="*/ 22 h 75"/>
                <a:gd name="T10" fmla="*/ 7 w 71"/>
                <a:gd name="T11" fmla="*/ 12 h 75"/>
                <a:gd name="T12" fmla="*/ 6 w 71"/>
                <a:gd name="T13" fmla="*/ 6 h 75"/>
                <a:gd name="T14" fmla="*/ 12 w 71"/>
                <a:gd name="T15" fmla="*/ 0 h 75"/>
                <a:gd name="T16" fmla="*/ 16 w 71"/>
                <a:gd name="T17" fmla="*/ 0 h 75"/>
                <a:gd name="T18" fmla="*/ 18 w 71"/>
                <a:gd name="T19" fmla="*/ 5 h 75"/>
                <a:gd name="T20" fmla="*/ 22 w 71"/>
                <a:gd name="T21" fmla="*/ 5 h 75"/>
                <a:gd name="T22" fmla="*/ 27 w 71"/>
                <a:gd name="T23" fmla="*/ 9 h 75"/>
                <a:gd name="T24" fmla="*/ 34 w 71"/>
                <a:gd name="T25" fmla="*/ 10 h 75"/>
                <a:gd name="T26" fmla="*/ 39 w 71"/>
                <a:gd name="T27" fmla="*/ 14 h 75"/>
                <a:gd name="T28" fmla="*/ 39 w 71"/>
                <a:gd name="T29" fmla="*/ 22 h 75"/>
                <a:gd name="T30" fmla="*/ 45 w 71"/>
                <a:gd name="T31" fmla="*/ 28 h 75"/>
                <a:gd name="T32" fmla="*/ 49 w 71"/>
                <a:gd name="T33" fmla="*/ 27 h 75"/>
                <a:gd name="T34" fmla="*/ 56 w 71"/>
                <a:gd name="T35" fmla="*/ 28 h 75"/>
                <a:gd name="T36" fmla="*/ 62 w 71"/>
                <a:gd name="T37" fmla="*/ 34 h 75"/>
                <a:gd name="T38" fmla="*/ 69 w 71"/>
                <a:gd name="T39" fmla="*/ 36 h 75"/>
                <a:gd name="T40" fmla="*/ 71 w 71"/>
                <a:gd name="T41" fmla="*/ 43 h 75"/>
                <a:gd name="T42" fmla="*/ 69 w 71"/>
                <a:gd name="T43" fmla="*/ 49 h 75"/>
                <a:gd name="T44" fmla="*/ 67 w 71"/>
                <a:gd name="T45" fmla="*/ 55 h 75"/>
                <a:gd name="T46" fmla="*/ 71 w 71"/>
                <a:gd name="T47" fmla="*/ 58 h 75"/>
                <a:gd name="T48" fmla="*/ 68 w 71"/>
                <a:gd name="T49" fmla="*/ 64 h 75"/>
                <a:gd name="T50" fmla="*/ 59 w 71"/>
                <a:gd name="T51" fmla="*/ 75 h 75"/>
                <a:gd name="T52" fmla="*/ 55 w 71"/>
                <a:gd name="T53" fmla="*/ 71 h 75"/>
                <a:gd name="T54" fmla="*/ 52 w 71"/>
                <a:gd name="T55" fmla="*/ 72 h 75"/>
                <a:gd name="T56" fmla="*/ 46 w 71"/>
                <a:gd name="T57" fmla="*/ 73 h 75"/>
                <a:gd name="T58" fmla="*/ 28 w 71"/>
                <a:gd name="T59" fmla="*/ 62 h 75"/>
                <a:gd name="T60" fmla="*/ 24 w 71"/>
                <a:gd name="T61" fmla="*/ 56 h 75"/>
                <a:gd name="T62" fmla="*/ 17 w 71"/>
                <a:gd name="T63" fmla="*/ 56 h 75"/>
                <a:gd name="T64" fmla="*/ 6 w 71"/>
                <a:gd name="T65" fmla="*/ 49 h 75"/>
                <a:gd name="T66" fmla="*/ 6 w 71"/>
                <a:gd name="T67" fmla="*/ 44 h 75"/>
                <a:gd name="T68" fmla="*/ 3 w 71"/>
                <a:gd name="T69" fmla="*/ 42 h 75"/>
                <a:gd name="T70" fmla="*/ 0 w 71"/>
                <a:gd name="T71" fmla="*/ 3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1" h="75">
                  <a:moveTo>
                    <a:pt x="0" y="37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69" y="36"/>
                    <a:pt x="71" y="42"/>
                    <a:pt x="71" y="43"/>
                  </a:cubicBezTo>
                  <a:cubicBezTo>
                    <a:pt x="71" y="43"/>
                    <a:pt x="69" y="49"/>
                    <a:pt x="69" y="49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3" y="42"/>
                    <a:pt x="3" y="42"/>
                    <a:pt x="3" y="42"/>
                  </a:cubicBezTo>
                  <a:lnTo>
                    <a:pt x="0" y="37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auto">
            <a:xfrm>
              <a:off x="1467" y="3662"/>
              <a:ext cx="352" cy="341"/>
            </a:xfrm>
            <a:custGeom>
              <a:avLst/>
              <a:gdLst>
                <a:gd name="T0" fmla="*/ 150 w 169"/>
                <a:gd name="T1" fmla="*/ 121 h 164"/>
                <a:gd name="T2" fmla="*/ 165 w 169"/>
                <a:gd name="T3" fmla="*/ 144 h 164"/>
                <a:gd name="T4" fmla="*/ 154 w 169"/>
                <a:gd name="T5" fmla="*/ 163 h 164"/>
                <a:gd name="T6" fmla="*/ 135 w 169"/>
                <a:gd name="T7" fmla="*/ 151 h 164"/>
                <a:gd name="T8" fmla="*/ 117 w 169"/>
                <a:gd name="T9" fmla="*/ 145 h 164"/>
                <a:gd name="T10" fmla="*/ 108 w 169"/>
                <a:gd name="T11" fmla="*/ 130 h 164"/>
                <a:gd name="T12" fmla="*/ 92 w 169"/>
                <a:gd name="T13" fmla="*/ 132 h 164"/>
                <a:gd name="T14" fmla="*/ 74 w 169"/>
                <a:gd name="T15" fmla="*/ 120 h 164"/>
                <a:gd name="T16" fmla="*/ 53 w 169"/>
                <a:gd name="T17" fmla="*/ 108 h 164"/>
                <a:gd name="T18" fmla="*/ 40 w 169"/>
                <a:gd name="T19" fmla="*/ 110 h 164"/>
                <a:gd name="T20" fmla="*/ 38 w 169"/>
                <a:gd name="T21" fmla="*/ 86 h 164"/>
                <a:gd name="T22" fmla="*/ 24 w 169"/>
                <a:gd name="T23" fmla="*/ 66 h 164"/>
                <a:gd name="T24" fmla="*/ 7 w 169"/>
                <a:gd name="T25" fmla="*/ 61 h 164"/>
                <a:gd name="T26" fmla="*/ 0 w 169"/>
                <a:gd name="T27" fmla="*/ 50 h 164"/>
                <a:gd name="T28" fmla="*/ 0 w 169"/>
                <a:gd name="T29" fmla="*/ 46 h 164"/>
                <a:gd name="T30" fmla="*/ 14 w 169"/>
                <a:gd name="T31" fmla="*/ 46 h 164"/>
                <a:gd name="T32" fmla="*/ 27 w 169"/>
                <a:gd name="T33" fmla="*/ 36 h 164"/>
                <a:gd name="T34" fmla="*/ 37 w 169"/>
                <a:gd name="T35" fmla="*/ 31 h 164"/>
                <a:gd name="T36" fmla="*/ 55 w 169"/>
                <a:gd name="T37" fmla="*/ 11 h 164"/>
                <a:gd name="T38" fmla="*/ 59 w 169"/>
                <a:gd name="T39" fmla="*/ 0 h 164"/>
                <a:gd name="T40" fmla="*/ 69 w 169"/>
                <a:gd name="T41" fmla="*/ 5 h 164"/>
                <a:gd name="T42" fmla="*/ 71 w 169"/>
                <a:gd name="T43" fmla="*/ 14 h 164"/>
                <a:gd name="T44" fmla="*/ 75 w 169"/>
                <a:gd name="T45" fmla="*/ 29 h 164"/>
                <a:gd name="T46" fmla="*/ 72 w 169"/>
                <a:gd name="T47" fmla="*/ 36 h 164"/>
                <a:gd name="T48" fmla="*/ 84 w 169"/>
                <a:gd name="T49" fmla="*/ 51 h 164"/>
                <a:gd name="T50" fmla="*/ 86 w 169"/>
                <a:gd name="T51" fmla="*/ 66 h 164"/>
                <a:gd name="T52" fmla="*/ 83 w 169"/>
                <a:gd name="T53" fmla="*/ 77 h 164"/>
                <a:gd name="T54" fmla="*/ 92 w 169"/>
                <a:gd name="T55" fmla="*/ 78 h 164"/>
                <a:gd name="T56" fmla="*/ 98 w 169"/>
                <a:gd name="T57" fmla="*/ 84 h 164"/>
                <a:gd name="T58" fmla="*/ 90 w 169"/>
                <a:gd name="T59" fmla="*/ 91 h 164"/>
                <a:gd name="T60" fmla="*/ 92 w 169"/>
                <a:gd name="T61" fmla="*/ 98 h 164"/>
                <a:gd name="T62" fmla="*/ 94 w 169"/>
                <a:gd name="T63" fmla="*/ 106 h 164"/>
                <a:gd name="T64" fmla="*/ 104 w 169"/>
                <a:gd name="T65" fmla="*/ 112 h 164"/>
                <a:gd name="T66" fmla="*/ 119 w 169"/>
                <a:gd name="T67" fmla="*/ 116 h 164"/>
                <a:gd name="T68" fmla="*/ 130 w 169"/>
                <a:gd name="T69" fmla="*/ 104 h 164"/>
                <a:gd name="T70" fmla="*/ 139 w 169"/>
                <a:gd name="T71" fmla="*/ 107 h 164"/>
                <a:gd name="T72" fmla="*/ 152 w 169"/>
                <a:gd name="T73" fmla="*/ 107 h 164"/>
                <a:gd name="T74" fmla="*/ 151 w 169"/>
                <a:gd name="T75" fmla="*/ 117 h 164"/>
                <a:gd name="T76" fmla="*/ 151 w 169"/>
                <a:gd name="T77" fmla="*/ 12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9" h="164">
                  <a:moveTo>
                    <a:pt x="151" y="121"/>
                  </a:moveTo>
                  <a:cubicBezTo>
                    <a:pt x="151" y="121"/>
                    <a:pt x="151" y="121"/>
                    <a:pt x="150" y="121"/>
                  </a:cubicBezTo>
                  <a:cubicBezTo>
                    <a:pt x="147" y="123"/>
                    <a:pt x="155" y="130"/>
                    <a:pt x="157" y="134"/>
                  </a:cubicBezTo>
                  <a:cubicBezTo>
                    <a:pt x="159" y="137"/>
                    <a:pt x="161" y="140"/>
                    <a:pt x="165" y="144"/>
                  </a:cubicBezTo>
                  <a:cubicBezTo>
                    <a:pt x="169" y="148"/>
                    <a:pt x="167" y="151"/>
                    <a:pt x="164" y="155"/>
                  </a:cubicBezTo>
                  <a:cubicBezTo>
                    <a:pt x="162" y="160"/>
                    <a:pt x="161" y="164"/>
                    <a:pt x="154" y="163"/>
                  </a:cubicBezTo>
                  <a:cubicBezTo>
                    <a:pt x="147" y="162"/>
                    <a:pt x="139" y="159"/>
                    <a:pt x="139" y="156"/>
                  </a:cubicBezTo>
                  <a:cubicBezTo>
                    <a:pt x="139" y="154"/>
                    <a:pt x="137" y="151"/>
                    <a:pt x="135" y="151"/>
                  </a:cubicBezTo>
                  <a:cubicBezTo>
                    <a:pt x="134" y="151"/>
                    <a:pt x="132" y="155"/>
                    <a:pt x="129" y="155"/>
                  </a:cubicBezTo>
                  <a:cubicBezTo>
                    <a:pt x="127" y="155"/>
                    <a:pt x="119" y="148"/>
                    <a:pt x="117" y="145"/>
                  </a:cubicBezTo>
                  <a:cubicBezTo>
                    <a:pt x="115" y="142"/>
                    <a:pt x="113" y="141"/>
                    <a:pt x="115" y="136"/>
                  </a:cubicBezTo>
                  <a:cubicBezTo>
                    <a:pt x="117" y="132"/>
                    <a:pt x="111" y="134"/>
                    <a:pt x="108" y="130"/>
                  </a:cubicBezTo>
                  <a:cubicBezTo>
                    <a:pt x="105" y="127"/>
                    <a:pt x="103" y="127"/>
                    <a:pt x="102" y="129"/>
                  </a:cubicBezTo>
                  <a:cubicBezTo>
                    <a:pt x="101" y="132"/>
                    <a:pt x="92" y="135"/>
                    <a:pt x="92" y="132"/>
                  </a:cubicBezTo>
                  <a:cubicBezTo>
                    <a:pt x="91" y="129"/>
                    <a:pt x="90" y="124"/>
                    <a:pt x="88" y="121"/>
                  </a:cubicBezTo>
                  <a:cubicBezTo>
                    <a:pt x="85" y="117"/>
                    <a:pt x="79" y="116"/>
                    <a:pt x="74" y="120"/>
                  </a:cubicBezTo>
                  <a:cubicBezTo>
                    <a:pt x="69" y="123"/>
                    <a:pt x="60" y="126"/>
                    <a:pt x="60" y="123"/>
                  </a:cubicBezTo>
                  <a:cubicBezTo>
                    <a:pt x="59" y="119"/>
                    <a:pt x="53" y="112"/>
                    <a:pt x="53" y="108"/>
                  </a:cubicBezTo>
                  <a:cubicBezTo>
                    <a:pt x="52" y="104"/>
                    <a:pt x="47" y="104"/>
                    <a:pt x="46" y="109"/>
                  </a:cubicBezTo>
                  <a:cubicBezTo>
                    <a:pt x="46" y="114"/>
                    <a:pt x="38" y="116"/>
                    <a:pt x="40" y="110"/>
                  </a:cubicBezTo>
                  <a:cubicBezTo>
                    <a:pt x="42" y="104"/>
                    <a:pt x="43" y="102"/>
                    <a:pt x="42" y="100"/>
                  </a:cubicBezTo>
                  <a:cubicBezTo>
                    <a:pt x="41" y="97"/>
                    <a:pt x="39" y="91"/>
                    <a:pt x="38" y="86"/>
                  </a:cubicBezTo>
                  <a:cubicBezTo>
                    <a:pt x="38" y="80"/>
                    <a:pt x="35" y="80"/>
                    <a:pt x="28" y="76"/>
                  </a:cubicBezTo>
                  <a:cubicBezTo>
                    <a:pt x="20" y="71"/>
                    <a:pt x="24" y="70"/>
                    <a:pt x="24" y="66"/>
                  </a:cubicBezTo>
                  <a:cubicBezTo>
                    <a:pt x="24" y="62"/>
                    <a:pt x="19" y="61"/>
                    <a:pt x="15" y="62"/>
                  </a:cubicBezTo>
                  <a:cubicBezTo>
                    <a:pt x="12" y="63"/>
                    <a:pt x="7" y="64"/>
                    <a:pt x="7" y="61"/>
                  </a:cubicBezTo>
                  <a:cubicBezTo>
                    <a:pt x="6" y="59"/>
                    <a:pt x="7" y="57"/>
                    <a:pt x="3" y="52"/>
                  </a:cubicBezTo>
                  <a:cubicBezTo>
                    <a:pt x="2" y="51"/>
                    <a:pt x="1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8" y="80"/>
                    <a:pt x="88" y="80"/>
                    <a:pt x="88" y="80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1" y="87"/>
                    <a:pt x="91" y="87"/>
                    <a:pt x="91" y="87"/>
                  </a:cubicBezTo>
                  <a:cubicBezTo>
                    <a:pt x="90" y="91"/>
                    <a:pt x="90" y="91"/>
                    <a:pt x="90" y="91"/>
                  </a:cubicBezTo>
                  <a:cubicBezTo>
                    <a:pt x="90" y="91"/>
                    <a:pt x="97" y="92"/>
                    <a:pt x="96" y="93"/>
                  </a:cubicBezTo>
                  <a:cubicBezTo>
                    <a:pt x="96" y="94"/>
                    <a:pt x="92" y="98"/>
                    <a:pt x="92" y="9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94" y="106"/>
                    <a:pt x="94" y="106"/>
                    <a:pt x="94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104" y="112"/>
                    <a:pt x="104" y="112"/>
                    <a:pt x="104" y="112"/>
                  </a:cubicBezTo>
                  <a:cubicBezTo>
                    <a:pt x="109" y="108"/>
                    <a:pt x="109" y="108"/>
                    <a:pt x="109" y="108"/>
                  </a:cubicBezTo>
                  <a:cubicBezTo>
                    <a:pt x="119" y="116"/>
                    <a:pt x="119" y="116"/>
                    <a:pt x="119" y="116"/>
                  </a:cubicBezTo>
                  <a:cubicBezTo>
                    <a:pt x="129" y="104"/>
                    <a:pt x="129" y="104"/>
                    <a:pt x="129" y="104"/>
                  </a:cubicBezTo>
                  <a:cubicBezTo>
                    <a:pt x="130" y="104"/>
                    <a:pt x="130" y="104"/>
                    <a:pt x="130" y="104"/>
                  </a:cubicBezTo>
                  <a:cubicBezTo>
                    <a:pt x="129" y="105"/>
                    <a:pt x="129" y="105"/>
                    <a:pt x="129" y="105"/>
                  </a:cubicBezTo>
                  <a:cubicBezTo>
                    <a:pt x="139" y="107"/>
                    <a:pt x="139" y="107"/>
                    <a:pt x="139" y="107"/>
                  </a:cubicBezTo>
                  <a:cubicBezTo>
                    <a:pt x="145" y="105"/>
                    <a:pt x="145" y="105"/>
                    <a:pt x="145" y="105"/>
                  </a:cubicBezTo>
                  <a:cubicBezTo>
                    <a:pt x="152" y="107"/>
                    <a:pt x="152" y="107"/>
                    <a:pt x="152" y="107"/>
                  </a:cubicBezTo>
                  <a:cubicBezTo>
                    <a:pt x="154" y="111"/>
                    <a:pt x="154" y="111"/>
                    <a:pt x="154" y="111"/>
                  </a:cubicBezTo>
                  <a:cubicBezTo>
                    <a:pt x="151" y="117"/>
                    <a:pt x="151" y="117"/>
                    <a:pt x="151" y="117"/>
                  </a:cubicBezTo>
                  <a:cubicBezTo>
                    <a:pt x="148" y="119"/>
                    <a:pt x="148" y="119"/>
                    <a:pt x="148" y="119"/>
                  </a:cubicBezTo>
                  <a:lnTo>
                    <a:pt x="151" y="121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9" name="Freeform 29"/>
            <p:cNvSpPr>
              <a:spLocks/>
            </p:cNvSpPr>
            <p:nvPr/>
          </p:nvSpPr>
          <p:spPr bwMode="auto">
            <a:xfrm>
              <a:off x="1198" y="3555"/>
              <a:ext cx="269" cy="271"/>
            </a:xfrm>
            <a:custGeom>
              <a:avLst/>
              <a:gdLst>
                <a:gd name="T0" fmla="*/ 129 w 129"/>
                <a:gd name="T1" fmla="*/ 101 h 130"/>
                <a:gd name="T2" fmla="*/ 119 w 129"/>
                <a:gd name="T3" fmla="*/ 105 h 130"/>
                <a:gd name="T4" fmla="*/ 102 w 129"/>
                <a:gd name="T5" fmla="*/ 105 h 130"/>
                <a:gd name="T6" fmla="*/ 95 w 129"/>
                <a:gd name="T7" fmla="*/ 105 h 130"/>
                <a:gd name="T8" fmla="*/ 83 w 129"/>
                <a:gd name="T9" fmla="*/ 107 h 130"/>
                <a:gd name="T10" fmla="*/ 73 w 129"/>
                <a:gd name="T11" fmla="*/ 121 h 130"/>
                <a:gd name="T12" fmla="*/ 58 w 129"/>
                <a:gd name="T13" fmla="*/ 119 h 130"/>
                <a:gd name="T14" fmla="*/ 58 w 129"/>
                <a:gd name="T15" fmla="*/ 100 h 130"/>
                <a:gd name="T16" fmla="*/ 50 w 129"/>
                <a:gd name="T17" fmla="*/ 102 h 130"/>
                <a:gd name="T18" fmla="*/ 49 w 129"/>
                <a:gd name="T19" fmla="*/ 92 h 130"/>
                <a:gd name="T20" fmla="*/ 46 w 129"/>
                <a:gd name="T21" fmla="*/ 89 h 130"/>
                <a:gd name="T22" fmla="*/ 45 w 129"/>
                <a:gd name="T23" fmla="*/ 84 h 130"/>
                <a:gd name="T24" fmla="*/ 40 w 129"/>
                <a:gd name="T25" fmla="*/ 83 h 130"/>
                <a:gd name="T26" fmla="*/ 37 w 129"/>
                <a:gd name="T27" fmla="*/ 81 h 130"/>
                <a:gd name="T28" fmla="*/ 37 w 129"/>
                <a:gd name="T29" fmla="*/ 75 h 130"/>
                <a:gd name="T30" fmla="*/ 32 w 129"/>
                <a:gd name="T31" fmla="*/ 73 h 130"/>
                <a:gd name="T32" fmla="*/ 28 w 129"/>
                <a:gd name="T33" fmla="*/ 75 h 130"/>
                <a:gd name="T34" fmla="*/ 24 w 129"/>
                <a:gd name="T35" fmla="*/ 70 h 130"/>
                <a:gd name="T36" fmla="*/ 29 w 129"/>
                <a:gd name="T37" fmla="*/ 64 h 130"/>
                <a:gd name="T38" fmla="*/ 30 w 129"/>
                <a:gd name="T39" fmla="*/ 56 h 130"/>
                <a:gd name="T40" fmla="*/ 19 w 129"/>
                <a:gd name="T41" fmla="*/ 46 h 130"/>
                <a:gd name="T42" fmla="*/ 15 w 129"/>
                <a:gd name="T43" fmla="*/ 48 h 130"/>
                <a:gd name="T44" fmla="*/ 14 w 129"/>
                <a:gd name="T45" fmla="*/ 44 h 130"/>
                <a:gd name="T46" fmla="*/ 8 w 129"/>
                <a:gd name="T47" fmla="*/ 41 h 130"/>
                <a:gd name="T48" fmla="*/ 2 w 129"/>
                <a:gd name="T49" fmla="*/ 40 h 130"/>
                <a:gd name="T50" fmla="*/ 0 w 129"/>
                <a:gd name="T51" fmla="*/ 26 h 130"/>
                <a:gd name="T52" fmla="*/ 0 w 129"/>
                <a:gd name="T53" fmla="*/ 26 h 130"/>
                <a:gd name="T54" fmla="*/ 3 w 129"/>
                <a:gd name="T55" fmla="*/ 23 h 130"/>
                <a:gd name="T56" fmla="*/ 0 w 129"/>
                <a:gd name="T57" fmla="*/ 17 h 130"/>
                <a:gd name="T58" fmla="*/ 7 w 129"/>
                <a:gd name="T59" fmla="*/ 15 h 130"/>
                <a:gd name="T60" fmla="*/ 22 w 129"/>
                <a:gd name="T61" fmla="*/ 4 h 130"/>
                <a:gd name="T62" fmla="*/ 24 w 129"/>
                <a:gd name="T63" fmla="*/ 0 h 130"/>
                <a:gd name="T64" fmla="*/ 27 w 129"/>
                <a:gd name="T65" fmla="*/ 5 h 130"/>
                <a:gd name="T66" fmla="*/ 30 w 129"/>
                <a:gd name="T67" fmla="*/ 7 h 130"/>
                <a:gd name="T68" fmla="*/ 30 w 129"/>
                <a:gd name="T69" fmla="*/ 12 h 130"/>
                <a:gd name="T70" fmla="*/ 41 w 129"/>
                <a:gd name="T71" fmla="*/ 19 h 130"/>
                <a:gd name="T72" fmla="*/ 48 w 129"/>
                <a:gd name="T73" fmla="*/ 19 h 130"/>
                <a:gd name="T74" fmla="*/ 52 w 129"/>
                <a:gd name="T75" fmla="*/ 25 h 130"/>
                <a:gd name="T76" fmla="*/ 70 w 129"/>
                <a:gd name="T77" fmla="*/ 36 h 130"/>
                <a:gd name="T78" fmla="*/ 76 w 129"/>
                <a:gd name="T79" fmla="*/ 35 h 130"/>
                <a:gd name="T80" fmla="*/ 79 w 129"/>
                <a:gd name="T81" fmla="*/ 34 h 130"/>
                <a:gd name="T82" fmla="*/ 83 w 129"/>
                <a:gd name="T83" fmla="*/ 38 h 130"/>
                <a:gd name="T84" fmla="*/ 90 w 129"/>
                <a:gd name="T85" fmla="*/ 49 h 130"/>
                <a:gd name="T86" fmla="*/ 102 w 129"/>
                <a:gd name="T87" fmla="*/ 49 h 130"/>
                <a:gd name="T88" fmla="*/ 108 w 129"/>
                <a:gd name="T89" fmla="*/ 56 h 130"/>
                <a:gd name="T90" fmla="*/ 110 w 129"/>
                <a:gd name="T91" fmla="*/ 65 h 130"/>
                <a:gd name="T92" fmla="*/ 115 w 129"/>
                <a:gd name="T93" fmla="*/ 67 h 130"/>
                <a:gd name="T94" fmla="*/ 119 w 129"/>
                <a:gd name="T95" fmla="*/ 76 h 130"/>
                <a:gd name="T96" fmla="*/ 124 w 129"/>
                <a:gd name="T97" fmla="*/ 82 h 130"/>
                <a:gd name="T98" fmla="*/ 123 w 129"/>
                <a:gd name="T99" fmla="*/ 87 h 130"/>
                <a:gd name="T100" fmla="*/ 129 w 129"/>
                <a:gd name="T101" fmla="*/ 97 h 130"/>
                <a:gd name="T102" fmla="*/ 129 w 129"/>
                <a:gd name="T103" fmla="*/ 10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9" h="130">
                  <a:moveTo>
                    <a:pt x="129" y="101"/>
                  </a:moveTo>
                  <a:cubicBezTo>
                    <a:pt x="126" y="100"/>
                    <a:pt x="122" y="103"/>
                    <a:pt x="119" y="105"/>
                  </a:cubicBezTo>
                  <a:cubicBezTo>
                    <a:pt x="114" y="107"/>
                    <a:pt x="103" y="107"/>
                    <a:pt x="102" y="105"/>
                  </a:cubicBezTo>
                  <a:cubicBezTo>
                    <a:pt x="101" y="103"/>
                    <a:pt x="97" y="101"/>
                    <a:pt x="95" y="105"/>
                  </a:cubicBezTo>
                  <a:cubicBezTo>
                    <a:pt x="93" y="110"/>
                    <a:pt x="90" y="108"/>
                    <a:pt x="83" y="107"/>
                  </a:cubicBezTo>
                  <a:cubicBezTo>
                    <a:pt x="76" y="105"/>
                    <a:pt x="74" y="112"/>
                    <a:pt x="73" y="121"/>
                  </a:cubicBezTo>
                  <a:cubicBezTo>
                    <a:pt x="71" y="130"/>
                    <a:pt x="58" y="123"/>
                    <a:pt x="58" y="119"/>
                  </a:cubicBezTo>
                  <a:cubicBezTo>
                    <a:pt x="59" y="115"/>
                    <a:pt x="59" y="106"/>
                    <a:pt x="58" y="100"/>
                  </a:cubicBezTo>
                  <a:cubicBezTo>
                    <a:pt x="57" y="96"/>
                    <a:pt x="54" y="99"/>
                    <a:pt x="50" y="102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75"/>
                    <a:pt x="37" y="75"/>
                    <a:pt x="37" y="75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1" y="43"/>
                    <a:pt x="8" y="41"/>
                  </a:cubicBezTo>
                  <a:cubicBezTo>
                    <a:pt x="6" y="39"/>
                    <a:pt x="2" y="40"/>
                    <a:pt x="2" y="4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5" y="67"/>
                    <a:pt x="115" y="67"/>
                    <a:pt x="115" y="67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4" y="82"/>
                    <a:pt x="124" y="82"/>
                    <a:pt x="124" y="82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9" y="97"/>
                    <a:pt x="129" y="97"/>
                    <a:pt x="129" y="97"/>
                  </a:cubicBezTo>
                  <a:lnTo>
                    <a:pt x="129" y="101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0" name="Freeform 30"/>
            <p:cNvSpPr>
              <a:spLocks/>
            </p:cNvSpPr>
            <p:nvPr/>
          </p:nvSpPr>
          <p:spPr bwMode="auto">
            <a:xfrm>
              <a:off x="1417" y="3614"/>
              <a:ext cx="173" cy="143"/>
            </a:xfrm>
            <a:custGeom>
              <a:avLst/>
              <a:gdLst>
                <a:gd name="T0" fmla="*/ 0 w 83"/>
                <a:gd name="T1" fmla="*/ 24 h 69"/>
                <a:gd name="T2" fmla="*/ 8 w 83"/>
                <a:gd name="T3" fmla="*/ 22 h 69"/>
                <a:gd name="T4" fmla="*/ 7 w 83"/>
                <a:gd name="T5" fmla="*/ 17 h 69"/>
                <a:gd name="T6" fmla="*/ 4 w 83"/>
                <a:gd name="T7" fmla="*/ 11 h 69"/>
                <a:gd name="T8" fmla="*/ 7 w 83"/>
                <a:gd name="T9" fmla="*/ 5 h 69"/>
                <a:gd name="T10" fmla="*/ 13 w 83"/>
                <a:gd name="T11" fmla="*/ 4 h 69"/>
                <a:gd name="T12" fmla="*/ 20 w 83"/>
                <a:gd name="T13" fmla="*/ 0 h 69"/>
                <a:gd name="T14" fmla="*/ 24 w 83"/>
                <a:gd name="T15" fmla="*/ 6 h 69"/>
                <a:gd name="T16" fmla="*/ 30 w 83"/>
                <a:gd name="T17" fmla="*/ 3 h 69"/>
                <a:gd name="T18" fmla="*/ 36 w 83"/>
                <a:gd name="T19" fmla="*/ 6 h 69"/>
                <a:gd name="T20" fmla="*/ 41 w 83"/>
                <a:gd name="T21" fmla="*/ 14 h 69"/>
                <a:gd name="T22" fmla="*/ 50 w 83"/>
                <a:gd name="T23" fmla="*/ 8 h 69"/>
                <a:gd name="T24" fmla="*/ 55 w 83"/>
                <a:gd name="T25" fmla="*/ 0 h 69"/>
                <a:gd name="T26" fmla="*/ 64 w 83"/>
                <a:gd name="T27" fmla="*/ 9 h 69"/>
                <a:gd name="T28" fmla="*/ 70 w 83"/>
                <a:gd name="T29" fmla="*/ 4 h 69"/>
                <a:gd name="T30" fmla="*/ 83 w 83"/>
                <a:gd name="T31" fmla="*/ 12 h 69"/>
                <a:gd name="T32" fmla="*/ 81 w 83"/>
                <a:gd name="T33" fmla="*/ 18 h 69"/>
                <a:gd name="T34" fmla="*/ 83 w 83"/>
                <a:gd name="T35" fmla="*/ 23 h 69"/>
                <a:gd name="T36" fmla="*/ 83 w 83"/>
                <a:gd name="T37" fmla="*/ 23 h 69"/>
                <a:gd name="T38" fmla="*/ 82 w 83"/>
                <a:gd name="T39" fmla="*/ 29 h 69"/>
                <a:gd name="T40" fmla="*/ 79 w 83"/>
                <a:gd name="T41" fmla="*/ 34 h 69"/>
                <a:gd name="T42" fmla="*/ 67 w 83"/>
                <a:gd name="T43" fmla="*/ 44 h 69"/>
                <a:gd name="T44" fmla="*/ 61 w 83"/>
                <a:gd name="T45" fmla="*/ 54 h 69"/>
                <a:gd name="T46" fmla="*/ 53 w 83"/>
                <a:gd name="T47" fmla="*/ 56 h 69"/>
                <a:gd name="T48" fmla="*/ 51 w 83"/>
                <a:gd name="T49" fmla="*/ 59 h 69"/>
                <a:gd name="T50" fmla="*/ 43 w 83"/>
                <a:gd name="T51" fmla="*/ 61 h 69"/>
                <a:gd name="T52" fmla="*/ 38 w 83"/>
                <a:gd name="T53" fmla="*/ 69 h 69"/>
                <a:gd name="T54" fmla="*/ 24 w 83"/>
                <a:gd name="T55" fmla="*/ 69 h 69"/>
                <a:gd name="T56" fmla="*/ 24 w 83"/>
                <a:gd name="T57" fmla="*/ 69 h 69"/>
                <a:gd name="T58" fmla="*/ 18 w 83"/>
                <a:gd name="T59" fmla="*/ 59 h 69"/>
                <a:gd name="T60" fmla="*/ 19 w 83"/>
                <a:gd name="T61" fmla="*/ 54 h 69"/>
                <a:gd name="T62" fmla="*/ 14 w 83"/>
                <a:gd name="T63" fmla="*/ 48 h 69"/>
                <a:gd name="T64" fmla="*/ 10 w 83"/>
                <a:gd name="T65" fmla="*/ 39 h 69"/>
                <a:gd name="T66" fmla="*/ 5 w 83"/>
                <a:gd name="T67" fmla="*/ 37 h 69"/>
                <a:gd name="T68" fmla="*/ 3 w 83"/>
                <a:gd name="T69" fmla="*/ 28 h 69"/>
                <a:gd name="T70" fmla="*/ 0 w 83"/>
                <a:gd name="T71" fmla="*/ 2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3" h="69">
                  <a:moveTo>
                    <a:pt x="0" y="24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4" y="12"/>
                    <a:pt x="4" y="11"/>
                  </a:cubicBezTo>
                  <a:cubicBezTo>
                    <a:pt x="4" y="10"/>
                    <a:pt x="7" y="5"/>
                    <a:pt x="7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70" y="4"/>
                    <a:pt x="70" y="4"/>
                    <a:pt x="70" y="4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3" y="28"/>
                    <a:pt x="3" y="28"/>
                    <a:pt x="3" y="28"/>
                  </a:cubicBezTo>
                  <a:lnTo>
                    <a:pt x="0" y="24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1" name="Freeform 31"/>
            <p:cNvSpPr>
              <a:spLocks/>
            </p:cNvSpPr>
            <p:nvPr/>
          </p:nvSpPr>
          <p:spPr bwMode="auto">
            <a:xfrm>
              <a:off x="1371" y="3532"/>
              <a:ext cx="160" cy="132"/>
            </a:xfrm>
            <a:custGeom>
              <a:avLst/>
              <a:gdLst>
                <a:gd name="T0" fmla="*/ 7 w 77"/>
                <a:gd name="T1" fmla="*/ 9 h 63"/>
                <a:gd name="T2" fmla="*/ 12 w 77"/>
                <a:gd name="T3" fmla="*/ 4 h 63"/>
                <a:gd name="T4" fmla="*/ 18 w 77"/>
                <a:gd name="T5" fmla="*/ 9 h 63"/>
                <a:gd name="T6" fmla="*/ 28 w 77"/>
                <a:gd name="T7" fmla="*/ 8 h 63"/>
                <a:gd name="T8" fmla="*/ 27 w 77"/>
                <a:gd name="T9" fmla="*/ 2 h 63"/>
                <a:gd name="T10" fmla="*/ 30 w 77"/>
                <a:gd name="T11" fmla="*/ 0 h 63"/>
                <a:gd name="T12" fmla="*/ 39 w 77"/>
                <a:gd name="T13" fmla="*/ 6 h 63"/>
                <a:gd name="T14" fmla="*/ 39 w 77"/>
                <a:gd name="T15" fmla="*/ 11 h 63"/>
                <a:gd name="T16" fmla="*/ 45 w 77"/>
                <a:gd name="T17" fmla="*/ 10 h 63"/>
                <a:gd name="T18" fmla="*/ 49 w 77"/>
                <a:gd name="T19" fmla="*/ 11 h 63"/>
                <a:gd name="T20" fmla="*/ 61 w 77"/>
                <a:gd name="T21" fmla="*/ 22 h 63"/>
                <a:gd name="T22" fmla="*/ 64 w 77"/>
                <a:gd name="T23" fmla="*/ 21 h 63"/>
                <a:gd name="T24" fmla="*/ 67 w 77"/>
                <a:gd name="T25" fmla="*/ 19 h 63"/>
                <a:gd name="T26" fmla="*/ 70 w 77"/>
                <a:gd name="T27" fmla="*/ 24 h 63"/>
                <a:gd name="T28" fmla="*/ 71 w 77"/>
                <a:gd name="T29" fmla="*/ 30 h 63"/>
                <a:gd name="T30" fmla="*/ 77 w 77"/>
                <a:gd name="T31" fmla="*/ 37 h 63"/>
                <a:gd name="T32" fmla="*/ 77 w 77"/>
                <a:gd name="T33" fmla="*/ 40 h 63"/>
                <a:gd name="T34" fmla="*/ 77 w 77"/>
                <a:gd name="T35" fmla="*/ 39 h 63"/>
                <a:gd name="T36" fmla="*/ 72 w 77"/>
                <a:gd name="T37" fmla="*/ 47 h 63"/>
                <a:gd name="T38" fmla="*/ 63 w 77"/>
                <a:gd name="T39" fmla="*/ 53 h 63"/>
                <a:gd name="T40" fmla="*/ 58 w 77"/>
                <a:gd name="T41" fmla="*/ 45 h 63"/>
                <a:gd name="T42" fmla="*/ 52 w 77"/>
                <a:gd name="T43" fmla="*/ 42 h 63"/>
                <a:gd name="T44" fmla="*/ 46 w 77"/>
                <a:gd name="T45" fmla="*/ 45 h 63"/>
                <a:gd name="T46" fmla="*/ 42 w 77"/>
                <a:gd name="T47" fmla="*/ 39 h 63"/>
                <a:gd name="T48" fmla="*/ 35 w 77"/>
                <a:gd name="T49" fmla="*/ 43 h 63"/>
                <a:gd name="T50" fmla="*/ 29 w 77"/>
                <a:gd name="T51" fmla="*/ 44 h 63"/>
                <a:gd name="T52" fmla="*/ 26 w 77"/>
                <a:gd name="T53" fmla="*/ 50 h 63"/>
                <a:gd name="T54" fmla="*/ 29 w 77"/>
                <a:gd name="T55" fmla="*/ 56 h 63"/>
                <a:gd name="T56" fmla="*/ 30 w 77"/>
                <a:gd name="T57" fmla="*/ 61 h 63"/>
                <a:gd name="T58" fmla="*/ 22 w 77"/>
                <a:gd name="T59" fmla="*/ 63 h 63"/>
                <a:gd name="T60" fmla="*/ 19 w 77"/>
                <a:gd name="T61" fmla="*/ 60 h 63"/>
                <a:gd name="T62" fmla="*/ 7 w 77"/>
                <a:gd name="T63" fmla="*/ 60 h 63"/>
                <a:gd name="T64" fmla="*/ 0 w 77"/>
                <a:gd name="T65" fmla="*/ 49 h 63"/>
                <a:gd name="T66" fmla="*/ 0 w 77"/>
                <a:gd name="T67" fmla="*/ 49 h 63"/>
                <a:gd name="T68" fmla="*/ 9 w 77"/>
                <a:gd name="T69" fmla="*/ 38 h 63"/>
                <a:gd name="T70" fmla="*/ 12 w 77"/>
                <a:gd name="T71" fmla="*/ 32 h 63"/>
                <a:gd name="T72" fmla="*/ 8 w 77"/>
                <a:gd name="T73" fmla="*/ 29 h 63"/>
                <a:gd name="T74" fmla="*/ 10 w 77"/>
                <a:gd name="T75" fmla="*/ 23 h 63"/>
                <a:gd name="T76" fmla="*/ 12 w 77"/>
                <a:gd name="T77" fmla="*/ 17 h 63"/>
                <a:gd name="T78" fmla="*/ 10 w 77"/>
                <a:gd name="T79" fmla="*/ 10 h 63"/>
                <a:gd name="T80" fmla="*/ 7 w 77"/>
                <a:gd name="T81" fmla="*/ 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7" h="63">
                  <a:moveTo>
                    <a:pt x="7" y="9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9" y="44"/>
                    <a:pt x="26" y="49"/>
                    <a:pt x="26" y="50"/>
                  </a:cubicBezTo>
                  <a:cubicBezTo>
                    <a:pt x="26" y="51"/>
                    <a:pt x="29" y="56"/>
                    <a:pt x="29" y="5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3"/>
                    <a:pt x="12" y="17"/>
                    <a:pt x="12" y="17"/>
                  </a:cubicBezTo>
                  <a:cubicBezTo>
                    <a:pt x="12" y="16"/>
                    <a:pt x="10" y="10"/>
                    <a:pt x="10" y="10"/>
                  </a:cubicBezTo>
                  <a:lnTo>
                    <a:pt x="7" y="9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2" name="Freeform 32"/>
            <p:cNvSpPr>
              <a:spLocks/>
            </p:cNvSpPr>
            <p:nvPr/>
          </p:nvSpPr>
          <p:spPr bwMode="auto">
            <a:xfrm>
              <a:off x="1373" y="3218"/>
              <a:ext cx="248" cy="139"/>
            </a:xfrm>
            <a:custGeom>
              <a:avLst/>
              <a:gdLst>
                <a:gd name="T0" fmla="*/ 56 w 248"/>
                <a:gd name="T1" fmla="*/ 12 h 139"/>
                <a:gd name="T2" fmla="*/ 83 w 248"/>
                <a:gd name="T3" fmla="*/ 2 h 139"/>
                <a:gd name="T4" fmla="*/ 104 w 248"/>
                <a:gd name="T5" fmla="*/ 6 h 139"/>
                <a:gd name="T6" fmla="*/ 116 w 248"/>
                <a:gd name="T7" fmla="*/ 0 h 139"/>
                <a:gd name="T8" fmla="*/ 131 w 248"/>
                <a:gd name="T9" fmla="*/ 23 h 139"/>
                <a:gd name="T10" fmla="*/ 148 w 248"/>
                <a:gd name="T11" fmla="*/ 27 h 139"/>
                <a:gd name="T12" fmla="*/ 162 w 248"/>
                <a:gd name="T13" fmla="*/ 41 h 139"/>
                <a:gd name="T14" fmla="*/ 166 w 248"/>
                <a:gd name="T15" fmla="*/ 52 h 139"/>
                <a:gd name="T16" fmla="*/ 189 w 248"/>
                <a:gd name="T17" fmla="*/ 62 h 139"/>
                <a:gd name="T18" fmla="*/ 200 w 248"/>
                <a:gd name="T19" fmla="*/ 81 h 139"/>
                <a:gd name="T20" fmla="*/ 208 w 248"/>
                <a:gd name="T21" fmla="*/ 75 h 139"/>
                <a:gd name="T22" fmla="*/ 221 w 248"/>
                <a:gd name="T23" fmla="*/ 79 h 139"/>
                <a:gd name="T24" fmla="*/ 231 w 248"/>
                <a:gd name="T25" fmla="*/ 62 h 139"/>
                <a:gd name="T26" fmla="*/ 248 w 248"/>
                <a:gd name="T27" fmla="*/ 79 h 139"/>
                <a:gd name="T28" fmla="*/ 242 w 248"/>
                <a:gd name="T29" fmla="*/ 85 h 139"/>
                <a:gd name="T30" fmla="*/ 239 w 248"/>
                <a:gd name="T31" fmla="*/ 121 h 139"/>
                <a:gd name="T32" fmla="*/ 219 w 248"/>
                <a:gd name="T33" fmla="*/ 121 h 139"/>
                <a:gd name="T34" fmla="*/ 208 w 248"/>
                <a:gd name="T35" fmla="*/ 127 h 139"/>
                <a:gd name="T36" fmla="*/ 202 w 248"/>
                <a:gd name="T37" fmla="*/ 123 h 139"/>
                <a:gd name="T38" fmla="*/ 185 w 248"/>
                <a:gd name="T39" fmla="*/ 127 h 139"/>
                <a:gd name="T40" fmla="*/ 175 w 248"/>
                <a:gd name="T41" fmla="*/ 139 h 139"/>
                <a:gd name="T42" fmla="*/ 171 w 248"/>
                <a:gd name="T43" fmla="*/ 133 h 139"/>
                <a:gd name="T44" fmla="*/ 152 w 248"/>
                <a:gd name="T45" fmla="*/ 133 h 139"/>
                <a:gd name="T46" fmla="*/ 141 w 248"/>
                <a:gd name="T47" fmla="*/ 116 h 139"/>
                <a:gd name="T48" fmla="*/ 131 w 248"/>
                <a:gd name="T49" fmla="*/ 114 h 139"/>
                <a:gd name="T50" fmla="*/ 116 w 248"/>
                <a:gd name="T51" fmla="*/ 125 h 139"/>
                <a:gd name="T52" fmla="*/ 106 w 248"/>
                <a:gd name="T53" fmla="*/ 123 h 139"/>
                <a:gd name="T54" fmla="*/ 102 w 248"/>
                <a:gd name="T55" fmla="*/ 131 h 139"/>
                <a:gd name="T56" fmla="*/ 94 w 248"/>
                <a:gd name="T57" fmla="*/ 127 h 139"/>
                <a:gd name="T58" fmla="*/ 83 w 248"/>
                <a:gd name="T59" fmla="*/ 127 h 139"/>
                <a:gd name="T60" fmla="*/ 85 w 248"/>
                <a:gd name="T61" fmla="*/ 112 h 139"/>
                <a:gd name="T62" fmla="*/ 69 w 248"/>
                <a:gd name="T63" fmla="*/ 102 h 139"/>
                <a:gd name="T64" fmla="*/ 73 w 248"/>
                <a:gd name="T65" fmla="*/ 87 h 139"/>
                <a:gd name="T66" fmla="*/ 58 w 248"/>
                <a:gd name="T67" fmla="*/ 87 h 139"/>
                <a:gd name="T68" fmla="*/ 44 w 248"/>
                <a:gd name="T69" fmla="*/ 75 h 139"/>
                <a:gd name="T70" fmla="*/ 41 w 248"/>
                <a:gd name="T71" fmla="*/ 64 h 139"/>
                <a:gd name="T72" fmla="*/ 35 w 248"/>
                <a:gd name="T73" fmla="*/ 64 h 139"/>
                <a:gd name="T74" fmla="*/ 27 w 248"/>
                <a:gd name="T75" fmla="*/ 73 h 139"/>
                <a:gd name="T76" fmla="*/ 19 w 248"/>
                <a:gd name="T77" fmla="*/ 68 h 139"/>
                <a:gd name="T78" fmla="*/ 8 w 248"/>
                <a:gd name="T79" fmla="*/ 68 h 139"/>
                <a:gd name="T80" fmla="*/ 0 w 248"/>
                <a:gd name="T81" fmla="*/ 54 h 139"/>
                <a:gd name="T82" fmla="*/ 2 w 248"/>
                <a:gd name="T83" fmla="*/ 50 h 139"/>
                <a:gd name="T84" fmla="*/ 12 w 248"/>
                <a:gd name="T85" fmla="*/ 50 h 139"/>
                <a:gd name="T86" fmla="*/ 27 w 248"/>
                <a:gd name="T87" fmla="*/ 33 h 139"/>
                <a:gd name="T88" fmla="*/ 35 w 248"/>
                <a:gd name="T89" fmla="*/ 35 h 139"/>
                <a:gd name="T90" fmla="*/ 39 w 248"/>
                <a:gd name="T91" fmla="*/ 25 h 139"/>
                <a:gd name="T92" fmla="*/ 54 w 248"/>
                <a:gd name="T93" fmla="*/ 25 h 139"/>
                <a:gd name="T94" fmla="*/ 56 w 248"/>
                <a:gd name="T9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8" h="139">
                  <a:moveTo>
                    <a:pt x="56" y="12"/>
                  </a:moveTo>
                  <a:lnTo>
                    <a:pt x="83" y="2"/>
                  </a:lnTo>
                  <a:lnTo>
                    <a:pt x="104" y="6"/>
                  </a:lnTo>
                  <a:lnTo>
                    <a:pt x="116" y="0"/>
                  </a:lnTo>
                  <a:lnTo>
                    <a:pt x="131" y="23"/>
                  </a:lnTo>
                  <a:lnTo>
                    <a:pt x="148" y="27"/>
                  </a:lnTo>
                  <a:lnTo>
                    <a:pt x="162" y="41"/>
                  </a:lnTo>
                  <a:lnTo>
                    <a:pt x="166" y="52"/>
                  </a:lnTo>
                  <a:lnTo>
                    <a:pt x="189" y="62"/>
                  </a:lnTo>
                  <a:lnTo>
                    <a:pt x="200" y="81"/>
                  </a:lnTo>
                  <a:lnTo>
                    <a:pt x="208" y="75"/>
                  </a:lnTo>
                  <a:lnTo>
                    <a:pt x="221" y="79"/>
                  </a:lnTo>
                  <a:lnTo>
                    <a:pt x="231" y="62"/>
                  </a:lnTo>
                  <a:lnTo>
                    <a:pt x="248" y="79"/>
                  </a:lnTo>
                  <a:lnTo>
                    <a:pt x="242" y="85"/>
                  </a:lnTo>
                  <a:lnTo>
                    <a:pt x="239" y="121"/>
                  </a:lnTo>
                  <a:lnTo>
                    <a:pt x="219" y="121"/>
                  </a:lnTo>
                  <a:lnTo>
                    <a:pt x="208" y="127"/>
                  </a:lnTo>
                  <a:lnTo>
                    <a:pt x="202" y="123"/>
                  </a:lnTo>
                  <a:lnTo>
                    <a:pt x="185" y="127"/>
                  </a:lnTo>
                  <a:lnTo>
                    <a:pt x="175" y="139"/>
                  </a:lnTo>
                  <a:lnTo>
                    <a:pt x="171" y="133"/>
                  </a:lnTo>
                  <a:lnTo>
                    <a:pt x="152" y="133"/>
                  </a:lnTo>
                  <a:lnTo>
                    <a:pt x="141" y="116"/>
                  </a:lnTo>
                  <a:lnTo>
                    <a:pt x="131" y="114"/>
                  </a:lnTo>
                  <a:lnTo>
                    <a:pt x="116" y="125"/>
                  </a:lnTo>
                  <a:lnTo>
                    <a:pt x="106" y="123"/>
                  </a:lnTo>
                  <a:lnTo>
                    <a:pt x="102" y="131"/>
                  </a:lnTo>
                  <a:lnTo>
                    <a:pt x="94" y="127"/>
                  </a:lnTo>
                  <a:lnTo>
                    <a:pt x="83" y="127"/>
                  </a:lnTo>
                  <a:lnTo>
                    <a:pt x="85" y="112"/>
                  </a:lnTo>
                  <a:lnTo>
                    <a:pt x="69" y="102"/>
                  </a:lnTo>
                  <a:lnTo>
                    <a:pt x="73" y="87"/>
                  </a:lnTo>
                  <a:lnTo>
                    <a:pt x="58" y="87"/>
                  </a:lnTo>
                  <a:lnTo>
                    <a:pt x="44" y="75"/>
                  </a:lnTo>
                  <a:lnTo>
                    <a:pt x="41" y="64"/>
                  </a:lnTo>
                  <a:lnTo>
                    <a:pt x="35" y="64"/>
                  </a:lnTo>
                  <a:lnTo>
                    <a:pt x="27" y="73"/>
                  </a:lnTo>
                  <a:lnTo>
                    <a:pt x="19" y="68"/>
                  </a:lnTo>
                  <a:lnTo>
                    <a:pt x="8" y="68"/>
                  </a:lnTo>
                  <a:lnTo>
                    <a:pt x="0" y="54"/>
                  </a:lnTo>
                  <a:lnTo>
                    <a:pt x="2" y="50"/>
                  </a:lnTo>
                  <a:lnTo>
                    <a:pt x="12" y="50"/>
                  </a:lnTo>
                  <a:lnTo>
                    <a:pt x="27" y="33"/>
                  </a:lnTo>
                  <a:lnTo>
                    <a:pt x="35" y="35"/>
                  </a:lnTo>
                  <a:lnTo>
                    <a:pt x="39" y="25"/>
                  </a:lnTo>
                  <a:lnTo>
                    <a:pt x="54" y="25"/>
                  </a:lnTo>
                  <a:lnTo>
                    <a:pt x="56" y="12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3" name="Freeform 33"/>
            <p:cNvSpPr>
              <a:spLocks/>
            </p:cNvSpPr>
            <p:nvPr/>
          </p:nvSpPr>
          <p:spPr bwMode="auto">
            <a:xfrm>
              <a:off x="1323" y="3268"/>
              <a:ext cx="135" cy="118"/>
            </a:xfrm>
            <a:custGeom>
              <a:avLst/>
              <a:gdLst>
                <a:gd name="T0" fmla="*/ 133 w 135"/>
                <a:gd name="T1" fmla="*/ 77 h 118"/>
                <a:gd name="T2" fmla="*/ 116 w 135"/>
                <a:gd name="T3" fmla="*/ 77 h 118"/>
                <a:gd name="T4" fmla="*/ 116 w 135"/>
                <a:gd name="T5" fmla="*/ 89 h 118"/>
                <a:gd name="T6" fmla="*/ 100 w 135"/>
                <a:gd name="T7" fmla="*/ 89 h 118"/>
                <a:gd name="T8" fmla="*/ 89 w 135"/>
                <a:gd name="T9" fmla="*/ 79 h 118"/>
                <a:gd name="T10" fmla="*/ 81 w 135"/>
                <a:gd name="T11" fmla="*/ 87 h 118"/>
                <a:gd name="T12" fmla="*/ 77 w 135"/>
                <a:gd name="T13" fmla="*/ 102 h 118"/>
                <a:gd name="T14" fmla="*/ 66 w 135"/>
                <a:gd name="T15" fmla="*/ 112 h 118"/>
                <a:gd name="T16" fmla="*/ 50 w 135"/>
                <a:gd name="T17" fmla="*/ 114 h 118"/>
                <a:gd name="T18" fmla="*/ 37 w 135"/>
                <a:gd name="T19" fmla="*/ 118 h 118"/>
                <a:gd name="T20" fmla="*/ 41 w 135"/>
                <a:gd name="T21" fmla="*/ 116 h 118"/>
                <a:gd name="T22" fmla="*/ 48 w 135"/>
                <a:gd name="T23" fmla="*/ 75 h 118"/>
                <a:gd name="T24" fmla="*/ 21 w 135"/>
                <a:gd name="T25" fmla="*/ 46 h 118"/>
                <a:gd name="T26" fmla="*/ 4 w 135"/>
                <a:gd name="T27" fmla="*/ 41 h 118"/>
                <a:gd name="T28" fmla="*/ 4 w 135"/>
                <a:gd name="T29" fmla="*/ 31 h 118"/>
                <a:gd name="T30" fmla="*/ 8 w 135"/>
                <a:gd name="T31" fmla="*/ 16 h 118"/>
                <a:gd name="T32" fmla="*/ 0 w 135"/>
                <a:gd name="T33" fmla="*/ 8 h 118"/>
                <a:gd name="T34" fmla="*/ 10 w 135"/>
                <a:gd name="T35" fmla="*/ 0 h 118"/>
                <a:gd name="T36" fmla="*/ 31 w 135"/>
                <a:gd name="T37" fmla="*/ 0 h 118"/>
                <a:gd name="T38" fmla="*/ 35 w 135"/>
                <a:gd name="T39" fmla="*/ 6 h 118"/>
                <a:gd name="T40" fmla="*/ 50 w 135"/>
                <a:gd name="T41" fmla="*/ 8 h 118"/>
                <a:gd name="T42" fmla="*/ 50 w 135"/>
                <a:gd name="T43" fmla="*/ 4 h 118"/>
                <a:gd name="T44" fmla="*/ 58 w 135"/>
                <a:gd name="T45" fmla="*/ 18 h 118"/>
                <a:gd name="T46" fmla="*/ 69 w 135"/>
                <a:gd name="T47" fmla="*/ 18 h 118"/>
                <a:gd name="T48" fmla="*/ 77 w 135"/>
                <a:gd name="T49" fmla="*/ 23 h 118"/>
                <a:gd name="T50" fmla="*/ 85 w 135"/>
                <a:gd name="T51" fmla="*/ 14 h 118"/>
                <a:gd name="T52" fmla="*/ 91 w 135"/>
                <a:gd name="T53" fmla="*/ 14 h 118"/>
                <a:gd name="T54" fmla="*/ 94 w 135"/>
                <a:gd name="T55" fmla="*/ 25 h 118"/>
                <a:gd name="T56" fmla="*/ 108 w 135"/>
                <a:gd name="T57" fmla="*/ 37 h 118"/>
                <a:gd name="T58" fmla="*/ 123 w 135"/>
                <a:gd name="T59" fmla="*/ 37 h 118"/>
                <a:gd name="T60" fmla="*/ 119 w 135"/>
                <a:gd name="T61" fmla="*/ 52 h 118"/>
                <a:gd name="T62" fmla="*/ 135 w 135"/>
                <a:gd name="T63" fmla="*/ 62 h 118"/>
                <a:gd name="T64" fmla="*/ 133 w 135"/>
                <a:gd name="T65" fmla="*/ 7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5" h="118">
                  <a:moveTo>
                    <a:pt x="133" y="77"/>
                  </a:moveTo>
                  <a:lnTo>
                    <a:pt x="116" y="77"/>
                  </a:lnTo>
                  <a:lnTo>
                    <a:pt x="116" y="89"/>
                  </a:lnTo>
                  <a:lnTo>
                    <a:pt x="100" y="89"/>
                  </a:lnTo>
                  <a:lnTo>
                    <a:pt x="89" y="79"/>
                  </a:lnTo>
                  <a:lnTo>
                    <a:pt x="81" y="87"/>
                  </a:lnTo>
                  <a:lnTo>
                    <a:pt x="77" y="102"/>
                  </a:lnTo>
                  <a:lnTo>
                    <a:pt x="66" y="112"/>
                  </a:lnTo>
                  <a:lnTo>
                    <a:pt x="50" y="114"/>
                  </a:lnTo>
                  <a:lnTo>
                    <a:pt x="37" y="118"/>
                  </a:lnTo>
                  <a:lnTo>
                    <a:pt x="41" y="116"/>
                  </a:lnTo>
                  <a:lnTo>
                    <a:pt x="48" y="75"/>
                  </a:lnTo>
                  <a:lnTo>
                    <a:pt x="21" y="46"/>
                  </a:lnTo>
                  <a:lnTo>
                    <a:pt x="4" y="41"/>
                  </a:lnTo>
                  <a:lnTo>
                    <a:pt x="4" y="31"/>
                  </a:lnTo>
                  <a:lnTo>
                    <a:pt x="8" y="16"/>
                  </a:lnTo>
                  <a:lnTo>
                    <a:pt x="0" y="8"/>
                  </a:lnTo>
                  <a:lnTo>
                    <a:pt x="10" y="0"/>
                  </a:lnTo>
                  <a:lnTo>
                    <a:pt x="31" y="0"/>
                  </a:lnTo>
                  <a:lnTo>
                    <a:pt x="35" y="6"/>
                  </a:lnTo>
                  <a:lnTo>
                    <a:pt x="50" y="8"/>
                  </a:lnTo>
                  <a:lnTo>
                    <a:pt x="50" y="4"/>
                  </a:lnTo>
                  <a:lnTo>
                    <a:pt x="58" y="18"/>
                  </a:lnTo>
                  <a:lnTo>
                    <a:pt x="69" y="18"/>
                  </a:lnTo>
                  <a:lnTo>
                    <a:pt x="77" y="23"/>
                  </a:lnTo>
                  <a:lnTo>
                    <a:pt x="85" y="14"/>
                  </a:lnTo>
                  <a:lnTo>
                    <a:pt x="91" y="14"/>
                  </a:lnTo>
                  <a:lnTo>
                    <a:pt x="94" y="25"/>
                  </a:lnTo>
                  <a:lnTo>
                    <a:pt x="108" y="37"/>
                  </a:lnTo>
                  <a:lnTo>
                    <a:pt x="123" y="37"/>
                  </a:lnTo>
                  <a:lnTo>
                    <a:pt x="119" y="52"/>
                  </a:lnTo>
                  <a:lnTo>
                    <a:pt x="135" y="62"/>
                  </a:lnTo>
                  <a:lnTo>
                    <a:pt x="133" y="77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4" name="Freeform 34"/>
            <p:cNvSpPr>
              <a:spLocks/>
            </p:cNvSpPr>
            <p:nvPr/>
          </p:nvSpPr>
          <p:spPr bwMode="auto">
            <a:xfrm>
              <a:off x="1262" y="3264"/>
              <a:ext cx="109" cy="139"/>
            </a:xfrm>
            <a:custGeom>
              <a:avLst/>
              <a:gdLst>
                <a:gd name="T0" fmla="*/ 102 w 109"/>
                <a:gd name="T1" fmla="*/ 120 h 139"/>
                <a:gd name="T2" fmla="*/ 98 w 109"/>
                <a:gd name="T3" fmla="*/ 122 h 139"/>
                <a:gd name="T4" fmla="*/ 84 w 109"/>
                <a:gd name="T5" fmla="*/ 125 h 139"/>
                <a:gd name="T6" fmla="*/ 75 w 109"/>
                <a:gd name="T7" fmla="*/ 133 h 139"/>
                <a:gd name="T8" fmla="*/ 67 w 109"/>
                <a:gd name="T9" fmla="*/ 133 h 139"/>
                <a:gd name="T10" fmla="*/ 59 w 109"/>
                <a:gd name="T11" fmla="*/ 139 h 139"/>
                <a:gd name="T12" fmla="*/ 50 w 109"/>
                <a:gd name="T13" fmla="*/ 135 h 139"/>
                <a:gd name="T14" fmla="*/ 38 w 109"/>
                <a:gd name="T15" fmla="*/ 125 h 139"/>
                <a:gd name="T16" fmla="*/ 36 w 109"/>
                <a:gd name="T17" fmla="*/ 116 h 139"/>
                <a:gd name="T18" fmla="*/ 27 w 109"/>
                <a:gd name="T19" fmla="*/ 110 h 139"/>
                <a:gd name="T20" fmla="*/ 21 w 109"/>
                <a:gd name="T21" fmla="*/ 100 h 139"/>
                <a:gd name="T22" fmla="*/ 19 w 109"/>
                <a:gd name="T23" fmla="*/ 100 h 139"/>
                <a:gd name="T24" fmla="*/ 21 w 109"/>
                <a:gd name="T25" fmla="*/ 87 h 139"/>
                <a:gd name="T26" fmla="*/ 27 w 109"/>
                <a:gd name="T27" fmla="*/ 75 h 139"/>
                <a:gd name="T28" fmla="*/ 27 w 109"/>
                <a:gd name="T29" fmla="*/ 64 h 139"/>
                <a:gd name="T30" fmla="*/ 13 w 109"/>
                <a:gd name="T31" fmla="*/ 58 h 139"/>
                <a:gd name="T32" fmla="*/ 13 w 109"/>
                <a:gd name="T33" fmla="*/ 41 h 139"/>
                <a:gd name="T34" fmla="*/ 4 w 109"/>
                <a:gd name="T35" fmla="*/ 43 h 139"/>
                <a:gd name="T36" fmla="*/ 0 w 109"/>
                <a:gd name="T37" fmla="*/ 33 h 139"/>
                <a:gd name="T38" fmla="*/ 9 w 109"/>
                <a:gd name="T39" fmla="*/ 27 h 139"/>
                <a:gd name="T40" fmla="*/ 11 w 109"/>
                <a:gd name="T41" fmla="*/ 18 h 139"/>
                <a:gd name="T42" fmla="*/ 15 w 109"/>
                <a:gd name="T43" fmla="*/ 10 h 139"/>
                <a:gd name="T44" fmla="*/ 21 w 109"/>
                <a:gd name="T45" fmla="*/ 0 h 139"/>
                <a:gd name="T46" fmla="*/ 44 w 109"/>
                <a:gd name="T47" fmla="*/ 16 h 139"/>
                <a:gd name="T48" fmla="*/ 61 w 109"/>
                <a:gd name="T49" fmla="*/ 12 h 139"/>
                <a:gd name="T50" fmla="*/ 69 w 109"/>
                <a:gd name="T51" fmla="*/ 20 h 139"/>
                <a:gd name="T52" fmla="*/ 65 w 109"/>
                <a:gd name="T53" fmla="*/ 35 h 139"/>
                <a:gd name="T54" fmla="*/ 65 w 109"/>
                <a:gd name="T55" fmla="*/ 45 h 139"/>
                <a:gd name="T56" fmla="*/ 82 w 109"/>
                <a:gd name="T57" fmla="*/ 50 h 139"/>
                <a:gd name="T58" fmla="*/ 109 w 109"/>
                <a:gd name="T59" fmla="*/ 79 h 139"/>
                <a:gd name="T60" fmla="*/ 102 w 109"/>
                <a:gd name="T61" fmla="*/ 12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" h="139">
                  <a:moveTo>
                    <a:pt x="102" y="120"/>
                  </a:moveTo>
                  <a:lnTo>
                    <a:pt x="98" y="122"/>
                  </a:lnTo>
                  <a:lnTo>
                    <a:pt x="84" y="125"/>
                  </a:lnTo>
                  <a:lnTo>
                    <a:pt x="75" y="133"/>
                  </a:lnTo>
                  <a:lnTo>
                    <a:pt x="67" y="133"/>
                  </a:lnTo>
                  <a:lnTo>
                    <a:pt x="59" y="139"/>
                  </a:lnTo>
                  <a:lnTo>
                    <a:pt x="50" y="135"/>
                  </a:lnTo>
                  <a:lnTo>
                    <a:pt x="38" y="125"/>
                  </a:lnTo>
                  <a:lnTo>
                    <a:pt x="36" y="116"/>
                  </a:lnTo>
                  <a:lnTo>
                    <a:pt x="27" y="110"/>
                  </a:lnTo>
                  <a:lnTo>
                    <a:pt x="21" y="100"/>
                  </a:lnTo>
                  <a:lnTo>
                    <a:pt x="19" y="100"/>
                  </a:lnTo>
                  <a:lnTo>
                    <a:pt x="21" y="87"/>
                  </a:lnTo>
                  <a:lnTo>
                    <a:pt x="27" y="75"/>
                  </a:lnTo>
                  <a:lnTo>
                    <a:pt x="27" y="64"/>
                  </a:lnTo>
                  <a:lnTo>
                    <a:pt x="13" y="58"/>
                  </a:lnTo>
                  <a:lnTo>
                    <a:pt x="13" y="41"/>
                  </a:lnTo>
                  <a:lnTo>
                    <a:pt x="4" y="43"/>
                  </a:lnTo>
                  <a:lnTo>
                    <a:pt x="0" y="33"/>
                  </a:lnTo>
                  <a:lnTo>
                    <a:pt x="9" y="27"/>
                  </a:lnTo>
                  <a:lnTo>
                    <a:pt x="11" y="18"/>
                  </a:lnTo>
                  <a:lnTo>
                    <a:pt x="15" y="10"/>
                  </a:lnTo>
                  <a:lnTo>
                    <a:pt x="21" y="0"/>
                  </a:lnTo>
                  <a:lnTo>
                    <a:pt x="44" y="16"/>
                  </a:lnTo>
                  <a:lnTo>
                    <a:pt x="61" y="12"/>
                  </a:lnTo>
                  <a:lnTo>
                    <a:pt x="69" y="20"/>
                  </a:lnTo>
                  <a:lnTo>
                    <a:pt x="65" y="35"/>
                  </a:lnTo>
                  <a:lnTo>
                    <a:pt x="65" y="45"/>
                  </a:lnTo>
                  <a:lnTo>
                    <a:pt x="82" y="50"/>
                  </a:lnTo>
                  <a:lnTo>
                    <a:pt x="109" y="79"/>
                  </a:lnTo>
                  <a:lnTo>
                    <a:pt x="102" y="12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5" name="Freeform 35"/>
            <p:cNvSpPr>
              <a:spLocks/>
            </p:cNvSpPr>
            <p:nvPr/>
          </p:nvSpPr>
          <p:spPr bwMode="auto">
            <a:xfrm>
              <a:off x="1283" y="3159"/>
              <a:ext cx="146" cy="121"/>
            </a:xfrm>
            <a:custGeom>
              <a:avLst/>
              <a:gdLst>
                <a:gd name="T0" fmla="*/ 63 w 146"/>
                <a:gd name="T1" fmla="*/ 0 h 121"/>
                <a:gd name="T2" fmla="*/ 88 w 146"/>
                <a:gd name="T3" fmla="*/ 0 h 121"/>
                <a:gd name="T4" fmla="*/ 111 w 146"/>
                <a:gd name="T5" fmla="*/ 21 h 121"/>
                <a:gd name="T6" fmla="*/ 119 w 146"/>
                <a:gd name="T7" fmla="*/ 15 h 121"/>
                <a:gd name="T8" fmla="*/ 127 w 146"/>
                <a:gd name="T9" fmla="*/ 25 h 121"/>
                <a:gd name="T10" fmla="*/ 127 w 146"/>
                <a:gd name="T11" fmla="*/ 52 h 121"/>
                <a:gd name="T12" fmla="*/ 146 w 146"/>
                <a:gd name="T13" fmla="*/ 71 h 121"/>
                <a:gd name="T14" fmla="*/ 144 w 146"/>
                <a:gd name="T15" fmla="*/ 84 h 121"/>
                <a:gd name="T16" fmla="*/ 129 w 146"/>
                <a:gd name="T17" fmla="*/ 84 h 121"/>
                <a:gd name="T18" fmla="*/ 125 w 146"/>
                <a:gd name="T19" fmla="*/ 94 h 121"/>
                <a:gd name="T20" fmla="*/ 117 w 146"/>
                <a:gd name="T21" fmla="*/ 92 h 121"/>
                <a:gd name="T22" fmla="*/ 102 w 146"/>
                <a:gd name="T23" fmla="*/ 109 h 121"/>
                <a:gd name="T24" fmla="*/ 92 w 146"/>
                <a:gd name="T25" fmla="*/ 109 h 121"/>
                <a:gd name="T26" fmla="*/ 90 w 146"/>
                <a:gd name="T27" fmla="*/ 117 h 121"/>
                <a:gd name="T28" fmla="*/ 75 w 146"/>
                <a:gd name="T29" fmla="*/ 115 h 121"/>
                <a:gd name="T30" fmla="*/ 71 w 146"/>
                <a:gd name="T31" fmla="*/ 109 h 121"/>
                <a:gd name="T32" fmla="*/ 50 w 146"/>
                <a:gd name="T33" fmla="*/ 109 h 121"/>
                <a:gd name="T34" fmla="*/ 40 w 146"/>
                <a:gd name="T35" fmla="*/ 117 h 121"/>
                <a:gd name="T36" fmla="*/ 23 w 146"/>
                <a:gd name="T37" fmla="*/ 121 h 121"/>
                <a:gd name="T38" fmla="*/ 0 w 146"/>
                <a:gd name="T39" fmla="*/ 105 h 121"/>
                <a:gd name="T40" fmla="*/ 2 w 146"/>
                <a:gd name="T41" fmla="*/ 100 h 121"/>
                <a:gd name="T42" fmla="*/ 6 w 146"/>
                <a:gd name="T43" fmla="*/ 86 h 121"/>
                <a:gd name="T44" fmla="*/ 29 w 146"/>
                <a:gd name="T45" fmla="*/ 71 h 121"/>
                <a:gd name="T46" fmla="*/ 23 w 146"/>
                <a:gd name="T47" fmla="*/ 55 h 121"/>
                <a:gd name="T48" fmla="*/ 31 w 146"/>
                <a:gd name="T49" fmla="*/ 48 h 121"/>
                <a:gd name="T50" fmla="*/ 29 w 146"/>
                <a:gd name="T51" fmla="*/ 30 h 121"/>
                <a:gd name="T52" fmla="*/ 40 w 146"/>
                <a:gd name="T53" fmla="*/ 23 h 121"/>
                <a:gd name="T54" fmla="*/ 44 w 146"/>
                <a:gd name="T55" fmla="*/ 23 h 121"/>
                <a:gd name="T56" fmla="*/ 50 w 146"/>
                <a:gd name="T57" fmla="*/ 9 h 121"/>
                <a:gd name="T58" fmla="*/ 63 w 146"/>
                <a:gd name="T59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6" h="121">
                  <a:moveTo>
                    <a:pt x="63" y="0"/>
                  </a:moveTo>
                  <a:lnTo>
                    <a:pt x="88" y="0"/>
                  </a:lnTo>
                  <a:lnTo>
                    <a:pt x="111" y="21"/>
                  </a:lnTo>
                  <a:lnTo>
                    <a:pt x="119" y="15"/>
                  </a:lnTo>
                  <a:lnTo>
                    <a:pt x="127" y="25"/>
                  </a:lnTo>
                  <a:lnTo>
                    <a:pt x="127" y="52"/>
                  </a:lnTo>
                  <a:lnTo>
                    <a:pt x="146" y="71"/>
                  </a:lnTo>
                  <a:lnTo>
                    <a:pt x="144" y="84"/>
                  </a:lnTo>
                  <a:lnTo>
                    <a:pt x="129" y="84"/>
                  </a:lnTo>
                  <a:lnTo>
                    <a:pt x="125" y="94"/>
                  </a:lnTo>
                  <a:lnTo>
                    <a:pt x="117" y="92"/>
                  </a:lnTo>
                  <a:lnTo>
                    <a:pt x="102" y="109"/>
                  </a:lnTo>
                  <a:lnTo>
                    <a:pt x="92" y="109"/>
                  </a:lnTo>
                  <a:lnTo>
                    <a:pt x="90" y="117"/>
                  </a:lnTo>
                  <a:lnTo>
                    <a:pt x="75" y="115"/>
                  </a:lnTo>
                  <a:lnTo>
                    <a:pt x="71" y="109"/>
                  </a:lnTo>
                  <a:lnTo>
                    <a:pt x="50" y="109"/>
                  </a:lnTo>
                  <a:lnTo>
                    <a:pt x="40" y="117"/>
                  </a:lnTo>
                  <a:lnTo>
                    <a:pt x="23" y="121"/>
                  </a:lnTo>
                  <a:lnTo>
                    <a:pt x="0" y="105"/>
                  </a:lnTo>
                  <a:lnTo>
                    <a:pt x="2" y="100"/>
                  </a:lnTo>
                  <a:lnTo>
                    <a:pt x="6" y="86"/>
                  </a:lnTo>
                  <a:lnTo>
                    <a:pt x="29" y="71"/>
                  </a:lnTo>
                  <a:lnTo>
                    <a:pt x="23" y="55"/>
                  </a:lnTo>
                  <a:lnTo>
                    <a:pt x="31" y="48"/>
                  </a:lnTo>
                  <a:lnTo>
                    <a:pt x="29" y="30"/>
                  </a:lnTo>
                  <a:lnTo>
                    <a:pt x="40" y="23"/>
                  </a:lnTo>
                  <a:lnTo>
                    <a:pt x="44" y="23"/>
                  </a:lnTo>
                  <a:lnTo>
                    <a:pt x="50" y="9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6" name="Freeform 36"/>
            <p:cNvSpPr>
              <a:spLocks/>
            </p:cNvSpPr>
            <p:nvPr/>
          </p:nvSpPr>
          <p:spPr bwMode="auto">
            <a:xfrm>
              <a:off x="1083" y="3072"/>
              <a:ext cx="263" cy="173"/>
            </a:xfrm>
            <a:custGeom>
              <a:avLst/>
              <a:gdLst>
                <a:gd name="T0" fmla="*/ 0 w 263"/>
                <a:gd name="T1" fmla="*/ 64 h 173"/>
                <a:gd name="T2" fmla="*/ 6 w 263"/>
                <a:gd name="T3" fmla="*/ 52 h 173"/>
                <a:gd name="T4" fmla="*/ 17 w 263"/>
                <a:gd name="T5" fmla="*/ 48 h 173"/>
                <a:gd name="T6" fmla="*/ 25 w 263"/>
                <a:gd name="T7" fmla="*/ 33 h 173"/>
                <a:gd name="T8" fmla="*/ 23 w 263"/>
                <a:gd name="T9" fmla="*/ 19 h 173"/>
                <a:gd name="T10" fmla="*/ 33 w 263"/>
                <a:gd name="T11" fmla="*/ 12 h 173"/>
                <a:gd name="T12" fmla="*/ 38 w 263"/>
                <a:gd name="T13" fmla="*/ 0 h 173"/>
                <a:gd name="T14" fmla="*/ 48 w 263"/>
                <a:gd name="T15" fmla="*/ 8 h 173"/>
                <a:gd name="T16" fmla="*/ 69 w 263"/>
                <a:gd name="T17" fmla="*/ 12 h 173"/>
                <a:gd name="T18" fmla="*/ 75 w 263"/>
                <a:gd name="T19" fmla="*/ 19 h 173"/>
                <a:gd name="T20" fmla="*/ 88 w 263"/>
                <a:gd name="T21" fmla="*/ 19 h 173"/>
                <a:gd name="T22" fmla="*/ 90 w 263"/>
                <a:gd name="T23" fmla="*/ 25 h 173"/>
                <a:gd name="T24" fmla="*/ 106 w 263"/>
                <a:gd name="T25" fmla="*/ 25 h 173"/>
                <a:gd name="T26" fmla="*/ 117 w 263"/>
                <a:gd name="T27" fmla="*/ 31 h 173"/>
                <a:gd name="T28" fmla="*/ 123 w 263"/>
                <a:gd name="T29" fmla="*/ 31 h 173"/>
                <a:gd name="T30" fmla="*/ 131 w 263"/>
                <a:gd name="T31" fmla="*/ 23 h 173"/>
                <a:gd name="T32" fmla="*/ 144 w 263"/>
                <a:gd name="T33" fmla="*/ 25 h 173"/>
                <a:gd name="T34" fmla="*/ 152 w 263"/>
                <a:gd name="T35" fmla="*/ 16 h 173"/>
                <a:gd name="T36" fmla="*/ 167 w 263"/>
                <a:gd name="T37" fmla="*/ 19 h 173"/>
                <a:gd name="T38" fmla="*/ 169 w 263"/>
                <a:gd name="T39" fmla="*/ 29 h 173"/>
                <a:gd name="T40" fmla="*/ 175 w 263"/>
                <a:gd name="T41" fmla="*/ 39 h 173"/>
                <a:gd name="T42" fmla="*/ 186 w 263"/>
                <a:gd name="T43" fmla="*/ 39 h 173"/>
                <a:gd name="T44" fmla="*/ 196 w 263"/>
                <a:gd name="T45" fmla="*/ 50 h 173"/>
                <a:gd name="T46" fmla="*/ 202 w 263"/>
                <a:gd name="T47" fmla="*/ 46 h 173"/>
                <a:gd name="T48" fmla="*/ 202 w 263"/>
                <a:gd name="T49" fmla="*/ 42 h 173"/>
                <a:gd name="T50" fmla="*/ 234 w 263"/>
                <a:gd name="T51" fmla="*/ 60 h 173"/>
                <a:gd name="T52" fmla="*/ 261 w 263"/>
                <a:gd name="T53" fmla="*/ 60 h 173"/>
                <a:gd name="T54" fmla="*/ 263 w 263"/>
                <a:gd name="T55" fmla="*/ 87 h 173"/>
                <a:gd name="T56" fmla="*/ 250 w 263"/>
                <a:gd name="T57" fmla="*/ 96 h 173"/>
                <a:gd name="T58" fmla="*/ 244 w 263"/>
                <a:gd name="T59" fmla="*/ 110 h 173"/>
                <a:gd name="T60" fmla="*/ 240 w 263"/>
                <a:gd name="T61" fmla="*/ 110 h 173"/>
                <a:gd name="T62" fmla="*/ 229 w 263"/>
                <a:gd name="T63" fmla="*/ 117 h 173"/>
                <a:gd name="T64" fmla="*/ 231 w 263"/>
                <a:gd name="T65" fmla="*/ 135 h 173"/>
                <a:gd name="T66" fmla="*/ 223 w 263"/>
                <a:gd name="T67" fmla="*/ 142 h 173"/>
                <a:gd name="T68" fmla="*/ 229 w 263"/>
                <a:gd name="T69" fmla="*/ 158 h 173"/>
                <a:gd name="T70" fmla="*/ 206 w 263"/>
                <a:gd name="T71" fmla="*/ 173 h 173"/>
                <a:gd name="T72" fmla="*/ 190 w 263"/>
                <a:gd name="T73" fmla="*/ 169 h 173"/>
                <a:gd name="T74" fmla="*/ 171 w 263"/>
                <a:gd name="T75" fmla="*/ 160 h 173"/>
                <a:gd name="T76" fmla="*/ 163 w 263"/>
                <a:gd name="T77" fmla="*/ 160 h 173"/>
                <a:gd name="T78" fmla="*/ 146 w 263"/>
                <a:gd name="T79" fmla="*/ 152 h 173"/>
                <a:gd name="T80" fmla="*/ 133 w 263"/>
                <a:gd name="T81" fmla="*/ 150 h 173"/>
                <a:gd name="T82" fmla="*/ 125 w 263"/>
                <a:gd name="T83" fmla="*/ 133 h 173"/>
                <a:gd name="T84" fmla="*/ 113 w 263"/>
                <a:gd name="T85" fmla="*/ 144 h 173"/>
                <a:gd name="T86" fmla="*/ 100 w 263"/>
                <a:gd name="T87" fmla="*/ 144 h 173"/>
                <a:gd name="T88" fmla="*/ 100 w 263"/>
                <a:gd name="T89" fmla="*/ 146 h 173"/>
                <a:gd name="T90" fmla="*/ 90 w 263"/>
                <a:gd name="T91" fmla="*/ 131 h 173"/>
                <a:gd name="T92" fmla="*/ 77 w 263"/>
                <a:gd name="T93" fmla="*/ 121 h 173"/>
                <a:gd name="T94" fmla="*/ 75 w 263"/>
                <a:gd name="T95" fmla="*/ 110 h 173"/>
                <a:gd name="T96" fmla="*/ 69 w 263"/>
                <a:gd name="T97" fmla="*/ 108 h 173"/>
                <a:gd name="T98" fmla="*/ 58 w 263"/>
                <a:gd name="T99" fmla="*/ 110 h 173"/>
                <a:gd name="T100" fmla="*/ 46 w 263"/>
                <a:gd name="T101" fmla="*/ 112 h 173"/>
                <a:gd name="T102" fmla="*/ 15 w 263"/>
                <a:gd name="T103" fmla="*/ 87 h 173"/>
                <a:gd name="T104" fmla="*/ 15 w 263"/>
                <a:gd name="T105" fmla="*/ 75 h 173"/>
                <a:gd name="T106" fmla="*/ 0 w 263"/>
                <a:gd name="T107" fmla="*/ 6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3" h="173">
                  <a:moveTo>
                    <a:pt x="0" y="64"/>
                  </a:moveTo>
                  <a:lnTo>
                    <a:pt x="6" y="52"/>
                  </a:lnTo>
                  <a:lnTo>
                    <a:pt x="17" y="48"/>
                  </a:lnTo>
                  <a:lnTo>
                    <a:pt x="25" y="33"/>
                  </a:lnTo>
                  <a:lnTo>
                    <a:pt x="23" y="19"/>
                  </a:lnTo>
                  <a:lnTo>
                    <a:pt x="33" y="12"/>
                  </a:lnTo>
                  <a:lnTo>
                    <a:pt x="38" y="0"/>
                  </a:lnTo>
                  <a:lnTo>
                    <a:pt x="48" y="8"/>
                  </a:lnTo>
                  <a:lnTo>
                    <a:pt x="69" y="12"/>
                  </a:lnTo>
                  <a:lnTo>
                    <a:pt x="75" y="19"/>
                  </a:lnTo>
                  <a:lnTo>
                    <a:pt x="88" y="19"/>
                  </a:lnTo>
                  <a:lnTo>
                    <a:pt x="90" y="25"/>
                  </a:lnTo>
                  <a:lnTo>
                    <a:pt x="106" y="25"/>
                  </a:lnTo>
                  <a:lnTo>
                    <a:pt x="117" y="31"/>
                  </a:lnTo>
                  <a:lnTo>
                    <a:pt x="123" y="31"/>
                  </a:lnTo>
                  <a:lnTo>
                    <a:pt x="131" y="23"/>
                  </a:lnTo>
                  <a:lnTo>
                    <a:pt x="144" y="25"/>
                  </a:lnTo>
                  <a:lnTo>
                    <a:pt x="152" y="16"/>
                  </a:lnTo>
                  <a:lnTo>
                    <a:pt x="167" y="19"/>
                  </a:lnTo>
                  <a:lnTo>
                    <a:pt x="169" y="29"/>
                  </a:lnTo>
                  <a:lnTo>
                    <a:pt x="175" y="39"/>
                  </a:lnTo>
                  <a:lnTo>
                    <a:pt x="186" y="39"/>
                  </a:lnTo>
                  <a:lnTo>
                    <a:pt x="196" y="50"/>
                  </a:lnTo>
                  <a:lnTo>
                    <a:pt x="202" y="46"/>
                  </a:lnTo>
                  <a:lnTo>
                    <a:pt x="202" y="42"/>
                  </a:lnTo>
                  <a:lnTo>
                    <a:pt x="234" y="60"/>
                  </a:lnTo>
                  <a:lnTo>
                    <a:pt x="261" y="60"/>
                  </a:lnTo>
                  <a:lnTo>
                    <a:pt x="263" y="87"/>
                  </a:lnTo>
                  <a:lnTo>
                    <a:pt x="250" y="96"/>
                  </a:lnTo>
                  <a:lnTo>
                    <a:pt x="244" y="110"/>
                  </a:lnTo>
                  <a:lnTo>
                    <a:pt x="240" y="110"/>
                  </a:lnTo>
                  <a:lnTo>
                    <a:pt x="229" y="117"/>
                  </a:lnTo>
                  <a:lnTo>
                    <a:pt x="231" y="135"/>
                  </a:lnTo>
                  <a:lnTo>
                    <a:pt x="223" y="142"/>
                  </a:lnTo>
                  <a:lnTo>
                    <a:pt x="229" y="158"/>
                  </a:lnTo>
                  <a:lnTo>
                    <a:pt x="206" y="173"/>
                  </a:lnTo>
                  <a:lnTo>
                    <a:pt x="190" y="169"/>
                  </a:lnTo>
                  <a:lnTo>
                    <a:pt x="171" y="160"/>
                  </a:lnTo>
                  <a:lnTo>
                    <a:pt x="163" y="160"/>
                  </a:lnTo>
                  <a:lnTo>
                    <a:pt x="146" y="152"/>
                  </a:lnTo>
                  <a:lnTo>
                    <a:pt x="133" y="150"/>
                  </a:lnTo>
                  <a:lnTo>
                    <a:pt x="125" y="133"/>
                  </a:lnTo>
                  <a:lnTo>
                    <a:pt x="113" y="144"/>
                  </a:lnTo>
                  <a:lnTo>
                    <a:pt x="100" y="144"/>
                  </a:lnTo>
                  <a:lnTo>
                    <a:pt x="100" y="146"/>
                  </a:lnTo>
                  <a:lnTo>
                    <a:pt x="90" y="131"/>
                  </a:lnTo>
                  <a:lnTo>
                    <a:pt x="77" y="121"/>
                  </a:lnTo>
                  <a:lnTo>
                    <a:pt x="75" y="110"/>
                  </a:lnTo>
                  <a:lnTo>
                    <a:pt x="69" y="108"/>
                  </a:lnTo>
                  <a:lnTo>
                    <a:pt x="58" y="110"/>
                  </a:lnTo>
                  <a:lnTo>
                    <a:pt x="46" y="112"/>
                  </a:lnTo>
                  <a:lnTo>
                    <a:pt x="15" y="87"/>
                  </a:lnTo>
                  <a:lnTo>
                    <a:pt x="15" y="75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7" name="Freeform 37"/>
            <p:cNvSpPr>
              <a:spLocks/>
            </p:cNvSpPr>
            <p:nvPr/>
          </p:nvSpPr>
          <p:spPr bwMode="auto">
            <a:xfrm>
              <a:off x="1006" y="3124"/>
              <a:ext cx="177" cy="156"/>
            </a:xfrm>
            <a:custGeom>
              <a:avLst/>
              <a:gdLst>
                <a:gd name="T0" fmla="*/ 3 w 85"/>
                <a:gd name="T1" fmla="*/ 66 h 75"/>
                <a:gd name="T2" fmla="*/ 5 w 85"/>
                <a:gd name="T3" fmla="*/ 61 h 75"/>
                <a:gd name="T4" fmla="*/ 6 w 85"/>
                <a:gd name="T5" fmla="*/ 54 h 75"/>
                <a:gd name="T6" fmla="*/ 1 w 85"/>
                <a:gd name="T7" fmla="*/ 47 h 75"/>
                <a:gd name="T8" fmla="*/ 5 w 85"/>
                <a:gd name="T9" fmla="*/ 41 h 75"/>
                <a:gd name="T10" fmla="*/ 4 w 85"/>
                <a:gd name="T11" fmla="*/ 34 h 75"/>
                <a:gd name="T12" fmla="*/ 10 w 85"/>
                <a:gd name="T13" fmla="*/ 25 h 75"/>
                <a:gd name="T14" fmla="*/ 10 w 85"/>
                <a:gd name="T15" fmla="*/ 16 h 75"/>
                <a:gd name="T16" fmla="*/ 20 w 85"/>
                <a:gd name="T17" fmla="*/ 12 h 75"/>
                <a:gd name="T18" fmla="*/ 26 w 85"/>
                <a:gd name="T19" fmla="*/ 4 h 75"/>
                <a:gd name="T20" fmla="*/ 29 w 85"/>
                <a:gd name="T21" fmla="*/ 0 h 75"/>
                <a:gd name="T22" fmla="*/ 34 w 85"/>
                <a:gd name="T23" fmla="*/ 0 h 75"/>
                <a:gd name="T24" fmla="*/ 37 w 85"/>
                <a:gd name="T25" fmla="*/ 6 h 75"/>
                <a:gd name="T26" fmla="*/ 44 w 85"/>
                <a:gd name="T27" fmla="*/ 11 h 75"/>
                <a:gd name="T28" fmla="*/ 44 w 85"/>
                <a:gd name="T29" fmla="*/ 17 h 75"/>
                <a:gd name="T30" fmla="*/ 59 w 85"/>
                <a:gd name="T31" fmla="*/ 29 h 75"/>
                <a:gd name="T32" fmla="*/ 65 w 85"/>
                <a:gd name="T33" fmla="*/ 28 h 75"/>
                <a:gd name="T34" fmla="*/ 70 w 85"/>
                <a:gd name="T35" fmla="*/ 27 h 75"/>
                <a:gd name="T36" fmla="*/ 73 w 85"/>
                <a:gd name="T37" fmla="*/ 28 h 75"/>
                <a:gd name="T38" fmla="*/ 74 w 85"/>
                <a:gd name="T39" fmla="*/ 33 h 75"/>
                <a:gd name="T40" fmla="*/ 80 w 85"/>
                <a:gd name="T41" fmla="*/ 38 h 75"/>
                <a:gd name="T42" fmla="*/ 85 w 85"/>
                <a:gd name="T43" fmla="*/ 45 h 75"/>
                <a:gd name="T44" fmla="*/ 84 w 85"/>
                <a:gd name="T45" fmla="*/ 53 h 75"/>
                <a:gd name="T46" fmla="*/ 77 w 85"/>
                <a:gd name="T47" fmla="*/ 55 h 75"/>
                <a:gd name="T48" fmla="*/ 70 w 85"/>
                <a:gd name="T49" fmla="*/ 65 h 75"/>
                <a:gd name="T50" fmla="*/ 62 w 85"/>
                <a:gd name="T51" fmla="*/ 64 h 75"/>
                <a:gd name="T52" fmla="*/ 54 w 85"/>
                <a:gd name="T53" fmla="*/ 69 h 75"/>
                <a:gd name="T54" fmla="*/ 47 w 85"/>
                <a:gd name="T55" fmla="*/ 63 h 75"/>
                <a:gd name="T56" fmla="*/ 42 w 85"/>
                <a:gd name="T57" fmla="*/ 65 h 75"/>
                <a:gd name="T58" fmla="*/ 38 w 85"/>
                <a:gd name="T59" fmla="*/ 57 h 75"/>
                <a:gd name="T60" fmla="*/ 32 w 85"/>
                <a:gd name="T61" fmla="*/ 57 h 75"/>
                <a:gd name="T62" fmla="*/ 29 w 85"/>
                <a:gd name="T63" fmla="*/ 61 h 75"/>
                <a:gd name="T64" fmla="*/ 25 w 85"/>
                <a:gd name="T65" fmla="*/ 62 h 75"/>
                <a:gd name="T66" fmla="*/ 23 w 85"/>
                <a:gd name="T67" fmla="*/ 64 h 75"/>
                <a:gd name="T68" fmla="*/ 23 w 85"/>
                <a:gd name="T69" fmla="*/ 63 h 75"/>
                <a:gd name="T70" fmla="*/ 13 w 85"/>
                <a:gd name="T71" fmla="*/ 67 h 75"/>
                <a:gd name="T72" fmla="*/ 7 w 85"/>
                <a:gd name="T73" fmla="*/ 75 h 75"/>
                <a:gd name="T74" fmla="*/ 5 w 85"/>
                <a:gd name="T75" fmla="*/ 68 h 75"/>
                <a:gd name="T76" fmla="*/ 3 w 85"/>
                <a:gd name="T77" fmla="*/ 6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5" h="75">
                  <a:moveTo>
                    <a:pt x="3" y="66"/>
                  </a:moveTo>
                  <a:cubicBezTo>
                    <a:pt x="4" y="65"/>
                    <a:pt x="4" y="64"/>
                    <a:pt x="5" y="61"/>
                  </a:cubicBezTo>
                  <a:cubicBezTo>
                    <a:pt x="5" y="56"/>
                    <a:pt x="6" y="57"/>
                    <a:pt x="6" y="54"/>
                  </a:cubicBezTo>
                  <a:cubicBezTo>
                    <a:pt x="6" y="51"/>
                    <a:pt x="2" y="50"/>
                    <a:pt x="1" y="47"/>
                  </a:cubicBezTo>
                  <a:cubicBezTo>
                    <a:pt x="0" y="43"/>
                    <a:pt x="5" y="43"/>
                    <a:pt x="5" y="41"/>
                  </a:cubicBezTo>
                  <a:cubicBezTo>
                    <a:pt x="6" y="39"/>
                    <a:pt x="4" y="36"/>
                    <a:pt x="4" y="34"/>
                  </a:cubicBezTo>
                  <a:cubicBezTo>
                    <a:pt x="3" y="31"/>
                    <a:pt x="8" y="27"/>
                    <a:pt x="10" y="25"/>
                  </a:cubicBezTo>
                  <a:cubicBezTo>
                    <a:pt x="11" y="23"/>
                    <a:pt x="10" y="18"/>
                    <a:pt x="10" y="16"/>
                  </a:cubicBezTo>
                  <a:cubicBezTo>
                    <a:pt x="11" y="13"/>
                    <a:pt x="17" y="13"/>
                    <a:pt x="20" y="12"/>
                  </a:cubicBezTo>
                  <a:cubicBezTo>
                    <a:pt x="24" y="11"/>
                    <a:pt x="21" y="6"/>
                    <a:pt x="26" y="4"/>
                  </a:cubicBezTo>
                  <a:cubicBezTo>
                    <a:pt x="28" y="3"/>
                    <a:pt x="29" y="2"/>
                    <a:pt x="2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4" y="33"/>
                    <a:pt x="74" y="33"/>
                    <a:pt x="74" y="33"/>
                  </a:cubicBezTo>
                  <a:cubicBezTo>
                    <a:pt x="80" y="38"/>
                    <a:pt x="80" y="38"/>
                    <a:pt x="80" y="38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5" y="68"/>
                    <a:pt x="5" y="68"/>
                    <a:pt x="5" y="68"/>
                  </a:cubicBezTo>
                  <a:lnTo>
                    <a:pt x="3" y="66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8" name="Freeform 38"/>
            <p:cNvSpPr>
              <a:spLocks/>
            </p:cNvSpPr>
            <p:nvPr/>
          </p:nvSpPr>
          <p:spPr bwMode="auto">
            <a:xfrm>
              <a:off x="931" y="3236"/>
              <a:ext cx="135" cy="132"/>
            </a:xfrm>
            <a:custGeom>
              <a:avLst/>
              <a:gdLst>
                <a:gd name="T0" fmla="*/ 28 w 65"/>
                <a:gd name="T1" fmla="*/ 59 h 63"/>
                <a:gd name="T2" fmla="*/ 29 w 65"/>
                <a:gd name="T3" fmla="*/ 47 h 63"/>
                <a:gd name="T4" fmla="*/ 23 w 65"/>
                <a:gd name="T5" fmla="*/ 40 h 63"/>
                <a:gd name="T6" fmla="*/ 14 w 65"/>
                <a:gd name="T7" fmla="*/ 37 h 63"/>
                <a:gd name="T8" fmla="*/ 11 w 65"/>
                <a:gd name="T9" fmla="*/ 31 h 63"/>
                <a:gd name="T10" fmla="*/ 5 w 65"/>
                <a:gd name="T11" fmla="*/ 31 h 63"/>
                <a:gd name="T12" fmla="*/ 1 w 65"/>
                <a:gd name="T13" fmla="*/ 27 h 63"/>
                <a:gd name="T14" fmla="*/ 5 w 65"/>
                <a:gd name="T15" fmla="*/ 18 h 63"/>
                <a:gd name="T16" fmla="*/ 12 w 65"/>
                <a:gd name="T17" fmla="*/ 7 h 63"/>
                <a:gd name="T18" fmla="*/ 18 w 65"/>
                <a:gd name="T19" fmla="*/ 1 h 63"/>
                <a:gd name="T20" fmla="*/ 23 w 65"/>
                <a:gd name="T21" fmla="*/ 8 h 63"/>
                <a:gd name="T22" fmla="*/ 34 w 65"/>
                <a:gd name="T23" fmla="*/ 13 h 63"/>
                <a:gd name="T24" fmla="*/ 39 w 65"/>
                <a:gd name="T25" fmla="*/ 12 h 63"/>
                <a:gd name="T26" fmla="*/ 41 w 65"/>
                <a:gd name="T27" fmla="*/ 14 h 63"/>
                <a:gd name="T28" fmla="*/ 43 w 65"/>
                <a:gd name="T29" fmla="*/ 21 h 63"/>
                <a:gd name="T30" fmla="*/ 49 w 65"/>
                <a:gd name="T31" fmla="*/ 13 h 63"/>
                <a:gd name="T32" fmla="*/ 59 w 65"/>
                <a:gd name="T33" fmla="*/ 9 h 63"/>
                <a:gd name="T34" fmla="*/ 61 w 65"/>
                <a:gd name="T35" fmla="*/ 10 h 63"/>
                <a:gd name="T36" fmla="*/ 62 w 65"/>
                <a:gd name="T37" fmla="*/ 18 h 63"/>
                <a:gd name="T38" fmla="*/ 63 w 65"/>
                <a:gd name="T39" fmla="*/ 23 h 63"/>
                <a:gd name="T40" fmla="*/ 63 w 65"/>
                <a:gd name="T41" fmla="*/ 29 h 63"/>
                <a:gd name="T42" fmla="*/ 59 w 65"/>
                <a:gd name="T43" fmla="*/ 32 h 63"/>
                <a:gd name="T44" fmla="*/ 60 w 65"/>
                <a:gd name="T45" fmla="*/ 36 h 63"/>
                <a:gd name="T46" fmla="*/ 65 w 65"/>
                <a:gd name="T47" fmla="*/ 41 h 63"/>
                <a:gd name="T48" fmla="*/ 65 w 65"/>
                <a:gd name="T49" fmla="*/ 45 h 63"/>
                <a:gd name="T50" fmla="*/ 62 w 65"/>
                <a:gd name="T51" fmla="*/ 46 h 63"/>
                <a:gd name="T52" fmla="*/ 62 w 65"/>
                <a:gd name="T53" fmla="*/ 51 h 63"/>
                <a:gd name="T54" fmla="*/ 59 w 65"/>
                <a:gd name="T55" fmla="*/ 53 h 63"/>
                <a:gd name="T56" fmla="*/ 56 w 65"/>
                <a:gd name="T57" fmla="*/ 49 h 63"/>
                <a:gd name="T58" fmla="*/ 50 w 65"/>
                <a:gd name="T59" fmla="*/ 51 h 63"/>
                <a:gd name="T60" fmla="*/ 50 w 65"/>
                <a:gd name="T61" fmla="*/ 57 h 63"/>
                <a:gd name="T62" fmla="*/ 44 w 65"/>
                <a:gd name="T63" fmla="*/ 59 h 63"/>
                <a:gd name="T64" fmla="*/ 43 w 65"/>
                <a:gd name="T65" fmla="*/ 63 h 63"/>
                <a:gd name="T66" fmla="*/ 38 w 65"/>
                <a:gd name="T67" fmla="*/ 61 h 63"/>
                <a:gd name="T68" fmla="*/ 32 w 65"/>
                <a:gd name="T69" fmla="*/ 60 h 63"/>
                <a:gd name="T70" fmla="*/ 27 w 65"/>
                <a:gd name="T71" fmla="*/ 60 h 63"/>
                <a:gd name="T72" fmla="*/ 28 w 65"/>
                <a:gd name="T73" fmla="*/ 5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5" h="63">
                  <a:moveTo>
                    <a:pt x="28" y="59"/>
                  </a:moveTo>
                  <a:cubicBezTo>
                    <a:pt x="30" y="56"/>
                    <a:pt x="30" y="51"/>
                    <a:pt x="29" y="47"/>
                  </a:cubicBezTo>
                  <a:cubicBezTo>
                    <a:pt x="29" y="43"/>
                    <a:pt x="25" y="43"/>
                    <a:pt x="23" y="40"/>
                  </a:cubicBezTo>
                  <a:cubicBezTo>
                    <a:pt x="21" y="37"/>
                    <a:pt x="15" y="40"/>
                    <a:pt x="14" y="37"/>
                  </a:cubicBezTo>
                  <a:cubicBezTo>
                    <a:pt x="14" y="34"/>
                    <a:pt x="12" y="31"/>
                    <a:pt x="11" y="31"/>
                  </a:cubicBezTo>
                  <a:cubicBezTo>
                    <a:pt x="10" y="31"/>
                    <a:pt x="8" y="31"/>
                    <a:pt x="5" y="31"/>
                  </a:cubicBezTo>
                  <a:cubicBezTo>
                    <a:pt x="2" y="32"/>
                    <a:pt x="0" y="31"/>
                    <a:pt x="1" y="27"/>
                  </a:cubicBezTo>
                  <a:cubicBezTo>
                    <a:pt x="1" y="23"/>
                    <a:pt x="4" y="21"/>
                    <a:pt x="5" y="18"/>
                  </a:cubicBezTo>
                  <a:cubicBezTo>
                    <a:pt x="5" y="15"/>
                    <a:pt x="12" y="14"/>
                    <a:pt x="12" y="7"/>
                  </a:cubicBezTo>
                  <a:cubicBezTo>
                    <a:pt x="12" y="0"/>
                    <a:pt x="15" y="1"/>
                    <a:pt x="18" y="1"/>
                  </a:cubicBezTo>
                  <a:cubicBezTo>
                    <a:pt x="21" y="1"/>
                    <a:pt x="23" y="2"/>
                    <a:pt x="23" y="8"/>
                  </a:cubicBezTo>
                  <a:cubicBezTo>
                    <a:pt x="23" y="14"/>
                    <a:pt x="29" y="13"/>
                    <a:pt x="34" y="13"/>
                  </a:cubicBezTo>
                  <a:cubicBezTo>
                    <a:pt x="36" y="13"/>
                    <a:pt x="38" y="13"/>
                    <a:pt x="39" y="12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27" y="60"/>
                    <a:pt x="27" y="60"/>
                    <a:pt x="27" y="60"/>
                  </a:cubicBezTo>
                  <a:lnTo>
                    <a:pt x="28" y="59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9" name="Freeform 39"/>
            <p:cNvSpPr>
              <a:spLocks/>
            </p:cNvSpPr>
            <p:nvPr/>
          </p:nvSpPr>
          <p:spPr bwMode="auto">
            <a:xfrm>
              <a:off x="958" y="3361"/>
              <a:ext cx="138" cy="138"/>
            </a:xfrm>
            <a:custGeom>
              <a:avLst/>
              <a:gdLst>
                <a:gd name="T0" fmla="*/ 4 w 66"/>
                <a:gd name="T1" fmla="*/ 42 h 66"/>
                <a:gd name="T2" fmla="*/ 6 w 66"/>
                <a:gd name="T3" fmla="*/ 40 h 66"/>
                <a:gd name="T4" fmla="*/ 8 w 66"/>
                <a:gd name="T5" fmla="*/ 28 h 66"/>
                <a:gd name="T6" fmla="*/ 2 w 66"/>
                <a:gd name="T7" fmla="*/ 20 h 66"/>
                <a:gd name="T8" fmla="*/ 5 w 66"/>
                <a:gd name="T9" fmla="*/ 8 h 66"/>
                <a:gd name="T10" fmla="*/ 11 w 66"/>
                <a:gd name="T11" fmla="*/ 7 h 66"/>
                <a:gd name="T12" fmla="*/ 14 w 66"/>
                <a:gd name="T13" fmla="*/ 0 h 66"/>
                <a:gd name="T14" fmla="*/ 19 w 66"/>
                <a:gd name="T15" fmla="*/ 0 h 66"/>
                <a:gd name="T16" fmla="*/ 25 w 66"/>
                <a:gd name="T17" fmla="*/ 1 h 66"/>
                <a:gd name="T18" fmla="*/ 30 w 66"/>
                <a:gd name="T19" fmla="*/ 3 h 66"/>
                <a:gd name="T20" fmla="*/ 37 w 66"/>
                <a:gd name="T21" fmla="*/ 7 h 66"/>
                <a:gd name="T22" fmla="*/ 39 w 66"/>
                <a:gd name="T23" fmla="*/ 15 h 66"/>
                <a:gd name="T24" fmla="*/ 43 w 66"/>
                <a:gd name="T25" fmla="*/ 15 h 66"/>
                <a:gd name="T26" fmla="*/ 46 w 66"/>
                <a:gd name="T27" fmla="*/ 22 h 66"/>
                <a:gd name="T28" fmla="*/ 50 w 66"/>
                <a:gd name="T29" fmla="*/ 31 h 66"/>
                <a:gd name="T30" fmla="*/ 51 w 66"/>
                <a:gd name="T31" fmla="*/ 38 h 66"/>
                <a:gd name="T32" fmla="*/ 59 w 66"/>
                <a:gd name="T33" fmla="*/ 43 h 66"/>
                <a:gd name="T34" fmla="*/ 58 w 66"/>
                <a:gd name="T35" fmla="*/ 48 h 66"/>
                <a:gd name="T36" fmla="*/ 66 w 66"/>
                <a:gd name="T37" fmla="*/ 55 h 66"/>
                <a:gd name="T38" fmla="*/ 62 w 66"/>
                <a:gd name="T39" fmla="*/ 57 h 66"/>
                <a:gd name="T40" fmla="*/ 58 w 66"/>
                <a:gd name="T41" fmla="*/ 56 h 66"/>
                <a:gd name="T42" fmla="*/ 55 w 66"/>
                <a:gd name="T43" fmla="*/ 58 h 66"/>
                <a:gd name="T44" fmla="*/ 54 w 66"/>
                <a:gd name="T45" fmla="*/ 64 h 66"/>
                <a:gd name="T46" fmla="*/ 52 w 66"/>
                <a:gd name="T47" fmla="*/ 64 h 66"/>
                <a:gd name="T48" fmla="*/ 51 w 66"/>
                <a:gd name="T49" fmla="*/ 66 h 66"/>
                <a:gd name="T50" fmla="*/ 45 w 66"/>
                <a:gd name="T51" fmla="*/ 57 h 66"/>
                <a:gd name="T52" fmla="*/ 34 w 66"/>
                <a:gd name="T53" fmla="*/ 50 h 66"/>
                <a:gd name="T54" fmla="*/ 24 w 66"/>
                <a:gd name="T55" fmla="*/ 50 h 66"/>
                <a:gd name="T56" fmla="*/ 22 w 66"/>
                <a:gd name="T57" fmla="*/ 44 h 66"/>
                <a:gd name="T58" fmla="*/ 17 w 66"/>
                <a:gd name="T59" fmla="*/ 39 h 66"/>
                <a:gd name="T60" fmla="*/ 16 w 66"/>
                <a:gd name="T61" fmla="*/ 43 h 66"/>
                <a:gd name="T62" fmla="*/ 10 w 66"/>
                <a:gd name="T63" fmla="*/ 43 h 66"/>
                <a:gd name="T64" fmla="*/ 4 w 66"/>
                <a:gd name="T65" fmla="*/ 4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6" h="66">
                  <a:moveTo>
                    <a:pt x="4" y="42"/>
                  </a:moveTo>
                  <a:cubicBezTo>
                    <a:pt x="5" y="41"/>
                    <a:pt x="6" y="40"/>
                    <a:pt x="6" y="40"/>
                  </a:cubicBezTo>
                  <a:cubicBezTo>
                    <a:pt x="8" y="38"/>
                    <a:pt x="8" y="31"/>
                    <a:pt x="8" y="28"/>
                  </a:cubicBezTo>
                  <a:cubicBezTo>
                    <a:pt x="8" y="25"/>
                    <a:pt x="4" y="22"/>
                    <a:pt x="2" y="20"/>
                  </a:cubicBezTo>
                  <a:cubicBezTo>
                    <a:pt x="0" y="18"/>
                    <a:pt x="3" y="12"/>
                    <a:pt x="5" y="8"/>
                  </a:cubicBezTo>
                  <a:cubicBezTo>
                    <a:pt x="7" y="4"/>
                    <a:pt x="8" y="5"/>
                    <a:pt x="11" y="7"/>
                  </a:cubicBezTo>
                  <a:cubicBezTo>
                    <a:pt x="14" y="9"/>
                    <a:pt x="12" y="3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0" y="43"/>
                    <a:pt x="10" y="43"/>
                    <a:pt x="10" y="43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0" name="Freeform 40"/>
            <p:cNvSpPr>
              <a:spLocks/>
            </p:cNvSpPr>
            <p:nvPr/>
          </p:nvSpPr>
          <p:spPr bwMode="auto">
            <a:xfrm>
              <a:off x="1152" y="3455"/>
              <a:ext cx="123" cy="136"/>
            </a:xfrm>
            <a:custGeom>
              <a:avLst/>
              <a:gdLst>
                <a:gd name="T0" fmla="*/ 123 w 123"/>
                <a:gd name="T1" fmla="*/ 23 h 136"/>
                <a:gd name="T2" fmla="*/ 121 w 123"/>
                <a:gd name="T3" fmla="*/ 23 h 136"/>
                <a:gd name="T4" fmla="*/ 108 w 123"/>
                <a:gd name="T5" fmla="*/ 36 h 136"/>
                <a:gd name="T6" fmla="*/ 110 w 123"/>
                <a:gd name="T7" fmla="*/ 48 h 136"/>
                <a:gd name="T8" fmla="*/ 106 w 123"/>
                <a:gd name="T9" fmla="*/ 69 h 136"/>
                <a:gd name="T10" fmla="*/ 112 w 123"/>
                <a:gd name="T11" fmla="*/ 79 h 136"/>
                <a:gd name="T12" fmla="*/ 112 w 123"/>
                <a:gd name="T13" fmla="*/ 100 h 136"/>
                <a:gd name="T14" fmla="*/ 96 w 123"/>
                <a:gd name="T15" fmla="*/ 98 h 136"/>
                <a:gd name="T16" fmla="*/ 92 w 123"/>
                <a:gd name="T17" fmla="*/ 109 h 136"/>
                <a:gd name="T18" fmla="*/ 60 w 123"/>
                <a:gd name="T19" fmla="*/ 132 h 136"/>
                <a:gd name="T20" fmla="*/ 46 w 123"/>
                <a:gd name="T21" fmla="*/ 136 h 136"/>
                <a:gd name="T22" fmla="*/ 52 w 123"/>
                <a:gd name="T23" fmla="*/ 134 h 136"/>
                <a:gd name="T24" fmla="*/ 27 w 123"/>
                <a:gd name="T25" fmla="*/ 102 h 136"/>
                <a:gd name="T26" fmla="*/ 6 w 123"/>
                <a:gd name="T27" fmla="*/ 86 h 136"/>
                <a:gd name="T28" fmla="*/ 8 w 123"/>
                <a:gd name="T29" fmla="*/ 79 h 136"/>
                <a:gd name="T30" fmla="*/ 0 w 123"/>
                <a:gd name="T31" fmla="*/ 67 h 136"/>
                <a:gd name="T32" fmla="*/ 21 w 123"/>
                <a:gd name="T33" fmla="*/ 67 h 136"/>
                <a:gd name="T34" fmla="*/ 23 w 123"/>
                <a:gd name="T35" fmla="*/ 54 h 136"/>
                <a:gd name="T36" fmla="*/ 19 w 123"/>
                <a:gd name="T37" fmla="*/ 50 h 136"/>
                <a:gd name="T38" fmla="*/ 19 w 123"/>
                <a:gd name="T39" fmla="*/ 34 h 136"/>
                <a:gd name="T40" fmla="*/ 14 w 123"/>
                <a:gd name="T41" fmla="*/ 27 h 136"/>
                <a:gd name="T42" fmla="*/ 27 w 123"/>
                <a:gd name="T43" fmla="*/ 19 h 136"/>
                <a:gd name="T44" fmla="*/ 48 w 123"/>
                <a:gd name="T45" fmla="*/ 0 h 136"/>
                <a:gd name="T46" fmla="*/ 69 w 123"/>
                <a:gd name="T47" fmla="*/ 2 h 136"/>
                <a:gd name="T48" fmla="*/ 79 w 123"/>
                <a:gd name="T49" fmla="*/ 13 h 136"/>
                <a:gd name="T50" fmla="*/ 92 w 123"/>
                <a:gd name="T51" fmla="*/ 15 h 136"/>
                <a:gd name="T52" fmla="*/ 98 w 123"/>
                <a:gd name="T53" fmla="*/ 7 h 136"/>
                <a:gd name="T54" fmla="*/ 104 w 123"/>
                <a:gd name="T55" fmla="*/ 13 h 136"/>
                <a:gd name="T56" fmla="*/ 119 w 123"/>
                <a:gd name="T57" fmla="*/ 15 h 136"/>
                <a:gd name="T58" fmla="*/ 123 w 123"/>
                <a:gd name="T59" fmla="*/ 2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3" h="136">
                  <a:moveTo>
                    <a:pt x="123" y="23"/>
                  </a:moveTo>
                  <a:lnTo>
                    <a:pt x="121" y="23"/>
                  </a:lnTo>
                  <a:lnTo>
                    <a:pt x="108" y="36"/>
                  </a:lnTo>
                  <a:lnTo>
                    <a:pt x="110" y="48"/>
                  </a:lnTo>
                  <a:lnTo>
                    <a:pt x="106" y="69"/>
                  </a:lnTo>
                  <a:lnTo>
                    <a:pt x="112" y="79"/>
                  </a:lnTo>
                  <a:lnTo>
                    <a:pt x="112" y="100"/>
                  </a:lnTo>
                  <a:lnTo>
                    <a:pt x="96" y="98"/>
                  </a:lnTo>
                  <a:lnTo>
                    <a:pt x="92" y="109"/>
                  </a:lnTo>
                  <a:lnTo>
                    <a:pt x="60" y="132"/>
                  </a:lnTo>
                  <a:lnTo>
                    <a:pt x="46" y="136"/>
                  </a:lnTo>
                  <a:lnTo>
                    <a:pt x="52" y="134"/>
                  </a:lnTo>
                  <a:lnTo>
                    <a:pt x="27" y="102"/>
                  </a:lnTo>
                  <a:lnTo>
                    <a:pt x="6" y="86"/>
                  </a:lnTo>
                  <a:lnTo>
                    <a:pt x="8" y="79"/>
                  </a:lnTo>
                  <a:lnTo>
                    <a:pt x="0" y="67"/>
                  </a:lnTo>
                  <a:lnTo>
                    <a:pt x="21" y="67"/>
                  </a:lnTo>
                  <a:lnTo>
                    <a:pt x="23" y="54"/>
                  </a:lnTo>
                  <a:lnTo>
                    <a:pt x="19" y="50"/>
                  </a:lnTo>
                  <a:lnTo>
                    <a:pt x="19" y="34"/>
                  </a:lnTo>
                  <a:lnTo>
                    <a:pt x="14" y="27"/>
                  </a:lnTo>
                  <a:lnTo>
                    <a:pt x="27" y="19"/>
                  </a:lnTo>
                  <a:lnTo>
                    <a:pt x="48" y="0"/>
                  </a:lnTo>
                  <a:lnTo>
                    <a:pt x="69" y="2"/>
                  </a:lnTo>
                  <a:lnTo>
                    <a:pt x="79" y="13"/>
                  </a:lnTo>
                  <a:lnTo>
                    <a:pt x="92" y="15"/>
                  </a:lnTo>
                  <a:lnTo>
                    <a:pt x="98" y="7"/>
                  </a:lnTo>
                  <a:lnTo>
                    <a:pt x="104" y="13"/>
                  </a:lnTo>
                  <a:lnTo>
                    <a:pt x="119" y="15"/>
                  </a:lnTo>
                  <a:lnTo>
                    <a:pt x="123" y="23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1" name="Freeform 41"/>
            <p:cNvSpPr>
              <a:spLocks/>
            </p:cNvSpPr>
            <p:nvPr/>
          </p:nvSpPr>
          <p:spPr bwMode="auto">
            <a:xfrm>
              <a:off x="960" y="3443"/>
              <a:ext cx="109" cy="146"/>
            </a:xfrm>
            <a:custGeom>
              <a:avLst/>
              <a:gdLst>
                <a:gd name="T0" fmla="*/ 36 w 52"/>
                <a:gd name="T1" fmla="*/ 70 h 70"/>
                <a:gd name="T2" fmla="*/ 31 w 52"/>
                <a:gd name="T3" fmla="*/ 64 h 70"/>
                <a:gd name="T4" fmla="*/ 29 w 52"/>
                <a:gd name="T5" fmla="*/ 56 h 70"/>
                <a:gd name="T6" fmla="*/ 22 w 52"/>
                <a:gd name="T7" fmla="*/ 53 h 70"/>
                <a:gd name="T8" fmla="*/ 20 w 52"/>
                <a:gd name="T9" fmla="*/ 46 h 70"/>
                <a:gd name="T10" fmla="*/ 24 w 52"/>
                <a:gd name="T11" fmla="*/ 36 h 70"/>
                <a:gd name="T12" fmla="*/ 14 w 52"/>
                <a:gd name="T13" fmla="*/ 31 h 70"/>
                <a:gd name="T14" fmla="*/ 6 w 52"/>
                <a:gd name="T15" fmla="*/ 23 h 70"/>
                <a:gd name="T16" fmla="*/ 3 w 52"/>
                <a:gd name="T17" fmla="*/ 14 h 70"/>
                <a:gd name="T18" fmla="*/ 0 w 52"/>
                <a:gd name="T19" fmla="*/ 8 h 70"/>
                <a:gd name="T20" fmla="*/ 3 w 52"/>
                <a:gd name="T21" fmla="*/ 3 h 70"/>
                <a:gd name="T22" fmla="*/ 9 w 52"/>
                <a:gd name="T23" fmla="*/ 4 h 70"/>
                <a:gd name="T24" fmla="*/ 15 w 52"/>
                <a:gd name="T25" fmla="*/ 4 h 70"/>
                <a:gd name="T26" fmla="*/ 16 w 52"/>
                <a:gd name="T27" fmla="*/ 0 h 70"/>
                <a:gd name="T28" fmla="*/ 21 w 52"/>
                <a:gd name="T29" fmla="*/ 5 h 70"/>
                <a:gd name="T30" fmla="*/ 23 w 52"/>
                <a:gd name="T31" fmla="*/ 11 h 70"/>
                <a:gd name="T32" fmla="*/ 33 w 52"/>
                <a:gd name="T33" fmla="*/ 11 h 70"/>
                <a:gd name="T34" fmla="*/ 44 w 52"/>
                <a:gd name="T35" fmla="*/ 18 h 70"/>
                <a:gd name="T36" fmla="*/ 50 w 52"/>
                <a:gd name="T37" fmla="*/ 27 h 70"/>
                <a:gd name="T38" fmla="*/ 50 w 52"/>
                <a:gd name="T39" fmla="*/ 31 h 70"/>
                <a:gd name="T40" fmla="*/ 49 w 52"/>
                <a:gd name="T41" fmla="*/ 36 h 70"/>
                <a:gd name="T42" fmla="*/ 52 w 52"/>
                <a:gd name="T43" fmla="*/ 41 h 70"/>
                <a:gd name="T44" fmla="*/ 46 w 52"/>
                <a:gd name="T45" fmla="*/ 44 h 70"/>
                <a:gd name="T46" fmla="*/ 47 w 52"/>
                <a:gd name="T47" fmla="*/ 55 h 70"/>
                <a:gd name="T48" fmla="*/ 42 w 52"/>
                <a:gd name="T49" fmla="*/ 58 h 70"/>
                <a:gd name="T50" fmla="*/ 42 w 52"/>
                <a:gd name="T51" fmla="*/ 62 h 70"/>
                <a:gd name="T52" fmla="*/ 40 w 52"/>
                <a:gd name="T53" fmla="*/ 63 h 70"/>
                <a:gd name="T54" fmla="*/ 40 w 52"/>
                <a:gd name="T55" fmla="*/ 67 h 70"/>
                <a:gd name="T56" fmla="*/ 36 w 52"/>
                <a:gd name="T5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" h="70">
                  <a:moveTo>
                    <a:pt x="36" y="70"/>
                  </a:moveTo>
                  <a:cubicBezTo>
                    <a:pt x="34" y="69"/>
                    <a:pt x="32" y="67"/>
                    <a:pt x="31" y="64"/>
                  </a:cubicBezTo>
                  <a:cubicBezTo>
                    <a:pt x="30" y="60"/>
                    <a:pt x="29" y="60"/>
                    <a:pt x="29" y="56"/>
                  </a:cubicBezTo>
                  <a:cubicBezTo>
                    <a:pt x="29" y="53"/>
                    <a:pt x="25" y="55"/>
                    <a:pt x="22" y="53"/>
                  </a:cubicBezTo>
                  <a:cubicBezTo>
                    <a:pt x="19" y="50"/>
                    <a:pt x="20" y="49"/>
                    <a:pt x="20" y="46"/>
                  </a:cubicBezTo>
                  <a:cubicBezTo>
                    <a:pt x="20" y="43"/>
                    <a:pt x="23" y="41"/>
                    <a:pt x="24" y="36"/>
                  </a:cubicBezTo>
                  <a:cubicBezTo>
                    <a:pt x="24" y="32"/>
                    <a:pt x="18" y="33"/>
                    <a:pt x="14" y="31"/>
                  </a:cubicBezTo>
                  <a:cubicBezTo>
                    <a:pt x="10" y="29"/>
                    <a:pt x="6" y="27"/>
                    <a:pt x="6" y="23"/>
                  </a:cubicBezTo>
                  <a:cubicBezTo>
                    <a:pt x="6" y="19"/>
                    <a:pt x="6" y="14"/>
                    <a:pt x="3" y="14"/>
                  </a:cubicBezTo>
                  <a:cubicBezTo>
                    <a:pt x="1" y="14"/>
                    <a:pt x="0" y="11"/>
                    <a:pt x="0" y="8"/>
                  </a:cubicBezTo>
                  <a:cubicBezTo>
                    <a:pt x="0" y="6"/>
                    <a:pt x="2" y="4"/>
                    <a:pt x="3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67"/>
                    <a:pt x="40" y="67"/>
                    <a:pt x="40" y="67"/>
                  </a:cubicBezTo>
                  <a:lnTo>
                    <a:pt x="36" y="7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2" name="Freeform 42"/>
            <p:cNvSpPr>
              <a:spLocks/>
            </p:cNvSpPr>
            <p:nvPr/>
          </p:nvSpPr>
          <p:spPr bwMode="auto">
            <a:xfrm>
              <a:off x="1035" y="3474"/>
              <a:ext cx="169" cy="169"/>
            </a:xfrm>
            <a:custGeom>
              <a:avLst/>
              <a:gdLst>
                <a:gd name="T0" fmla="*/ 7 w 81"/>
                <a:gd name="T1" fmla="*/ 72 h 81"/>
                <a:gd name="T2" fmla="*/ 4 w 81"/>
                <a:gd name="T3" fmla="*/ 65 h 81"/>
                <a:gd name="T4" fmla="*/ 0 w 81"/>
                <a:gd name="T5" fmla="*/ 55 h 81"/>
                <a:gd name="T6" fmla="*/ 0 w 81"/>
                <a:gd name="T7" fmla="*/ 55 h 81"/>
                <a:gd name="T8" fmla="*/ 4 w 81"/>
                <a:gd name="T9" fmla="*/ 52 h 81"/>
                <a:gd name="T10" fmla="*/ 4 w 81"/>
                <a:gd name="T11" fmla="*/ 48 h 81"/>
                <a:gd name="T12" fmla="*/ 6 w 81"/>
                <a:gd name="T13" fmla="*/ 47 h 81"/>
                <a:gd name="T14" fmla="*/ 6 w 81"/>
                <a:gd name="T15" fmla="*/ 43 h 81"/>
                <a:gd name="T16" fmla="*/ 11 w 81"/>
                <a:gd name="T17" fmla="*/ 40 h 81"/>
                <a:gd name="T18" fmla="*/ 10 w 81"/>
                <a:gd name="T19" fmla="*/ 29 h 81"/>
                <a:gd name="T20" fmla="*/ 16 w 81"/>
                <a:gd name="T21" fmla="*/ 26 h 81"/>
                <a:gd name="T22" fmla="*/ 13 w 81"/>
                <a:gd name="T23" fmla="*/ 21 h 81"/>
                <a:gd name="T24" fmla="*/ 14 w 81"/>
                <a:gd name="T25" fmla="*/ 16 h 81"/>
                <a:gd name="T26" fmla="*/ 15 w 81"/>
                <a:gd name="T27" fmla="*/ 10 h 81"/>
                <a:gd name="T28" fmla="*/ 17 w 81"/>
                <a:gd name="T29" fmla="*/ 10 h 81"/>
                <a:gd name="T30" fmla="*/ 18 w 81"/>
                <a:gd name="T31" fmla="*/ 4 h 81"/>
                <a:gd name="T32" fmla="*/ 21 w 81"/>
                <a:gd name="T33" fmla="*/ 2 h 81"/>
                <a:gd name="T34" fmla="*/ 25 w 81"/>
                <a:gd name="T35" fmla="*/ 3 h 81"/>
                <a:gd name="T36" fmla="*/ 29 w 81"/>
                <a:gd name="T37" fmla="*/ 1 h 81"/>
                <a:gd name="T38" fmla="*/ 35 w 81"/>
                <a:gd name="T39" fmla="*/ 0 h 81"/>
                <a:gd name="T40" fmla="*/ 38 w 81"/>
                <a:gd name="T41" fmla="*/ 6 h 81"/>
                <a:gd name="T42" fmla="*/ 45 w 81"/>
                <a:gd name="T43" fmla="*/ 8 h 81"/>
                <a:gd name="T44" fmla="*/ 44 w 81"/>
                <a:gd name="T45" fmla="*/ 15 h 81"/>
                <a:gd name="T46" fmla="*/ 47 w 81"/>
                <a:gd name="T47" fmla="*/ 16 h 81"/>
                <a:gd name="T48" fmla="*/ 53 w 81"/>
                <a:gd name="T49" fmla="*/ 18 h 81"/>
                <a:gd name="T50" fmla="*/ 60 w 81"/>
                <a:gd name="T51" fmla="*/ 29 h 81"/>
                <a:gd name="T52" fmla="*/ 59 w 81"/>
                <a:gd name="T53" fmla="*/ 32 h 81"/>
                <a:gd name="T54" fmla="*/ 69 w 81"/>
                <a:gd name="T55" fmla="*/ 40 h 81"/>
                <a:gd name="T56" fmla="*/ 81 w 81"/>
                <a:gd name="T57" fmla="*/ 55 h 81"/>
                <a:gd name="T58" fmla="*/ 78 w 81"/>
                <a:gd name="T59" fmla="*/ 56 h 81"/>
                <a:gd name="T60" fmla="*/ 81 w 81"/>
                <a:gd name="T61" fmla="*/ 62 h 81"/>
                <a:gd name="T62" fmla="*/ 78 w 81"/>
                <a:gd name="T63" fmla="*/ 65 h 81"/>
                <a:gd name="T64" fmla="*/ 72 w 81"/>
                <a:gd name="T65" fmla="*/ 64 h 81"/>
                <a:gd name="T66" fmla="*/ 67 w 81"/>
                <a:gd name="T67" fmla="*/ 61 h 81"/>
                <a:gd name="T68" fmla="*/ 61 w 81"/>
                <a:gd name="T69" fmla="*/ 58 h 81"/>
                <a:gd name="T70" fmla="*/ 56 w 81"/>
                <a:gd name="T71" fmla="*/ 61 h 81"/>
                <a:gd name="T72" fmla="*/ 45 w 81"/>
                <a:gd name="T73" fmla="*/ 61 h 81"/>
                <a:gd name="T74" fmla="*/ 45 w 81"/>
                <a:gd name="T75" fmla="*/ 66 h 81"/>
                <a:gd name="T76" fmla="*/ 36 w 81"/>
                <a:gd name="T77" fmla="*/ 77 h 81"/>
                <a:gd name="T78" fmla="*/ 27 w 81"/>
                <a:gd name="T79" fmla="*/ 77 h 81"/>
                <a:gd name="T80" fmla="*/ 25 w 81"/>
                <a:gd name="T81" fmla="*/ 79 h 81"/>
                <a:gd name="T82" fmla="*/ 20 w 81"/>
                <a:gd name="T83" fmla="*/ 81 h 81"/>
                <a:gd name="T84" fmla="*/ 17 w 81"/>
                <a:gd name="T85" fmla="*/ 77 h 81"/>
                <a:gd name="T86" fmla="*/ 11 w 81"/>
                <a:gd name="T87" fmla="*/ 76 h 81"/>
                <a:gd name="T88" fmla="*/ 10 w 81"/>
                <a:gd name="T89" fmla="*/ 71 h 81"/>
                <a:gd name="T90" fmla="*/ 7 w 81"/>
                <a:gd name="T91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1" h="81">
                  <a:moveTo>
                    <a:pt x="7" y="72"/>
                  </a:moveTo>
                  <a:cubicBezTo>
                    <a:pt x="6" y="69"/>
                    <a:pt x="3" y="68"/>
                    <a:pt x="4" y="65"/>
                  </a:cubicBezTo>
                  <a:cubicBezTo>
                    <a:pt x="4" y="62"/>
                    <a:pt x="1" y="57"/>
                    <a:pt x="0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78" y="65"/>
                    <a:pt x="78" y="65"/>
                    <a:pt x="78" y="65"/>
                  </a:cubicBezTo>
                  <a:cubicBezTo>
                    <a:pt x="77" y="65"/>
                    <a:pt x="72" y="64"/>
                    <a:pt x="72" y="64"/>
                  </a:cubicBezTo>
                  <a:cubicBezTo>
                    <a:pt x="71" y="64"/>
                    <a:pt x="67" y="63"/>
                    <a:pt x="67" y="61"/>
                  </a:cubicBezTo>
                  <a:cubicBezTo>
                    <a:pt x="67" y="58"/>
                    <a:pt x="63" y="58"/>
                    <a:pt x="61" y="58"/>
                  </a:cubicBezTo>
                  <a:cubicBezTo>
                    <a:pt x="58" y="58"/>
                    <a:pt x="56" y="61"/>
                    <a:pt x="56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4"/>
                    <a:pt x="45" y="66"/>
                  </a:cubicBezTo>
                  <a:cubicBezTo>
                    <a:pt x="46" y="69"/>
                    <a:pt x="36" y="77"/>
                    <a:pt x="36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5" y="78"/>
                    <a:pt x="25" y="79"/>
                  </a:cubicBezTo>
                  <a:cubicBezTo>
                    <a:pt x="25" y="81"/>
                    <a:pt x="22" y="81"/>
                    <a:pt x="20" y="81"/>
                  </a:cubicBezTo>
                  <a:cubicBezTo>
                    <a:pt x="19" y="81"/>
                    <a:pt x="17" y="77"/>
                    <a:pt x="17" y="77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0" y="71"/>
                    <a:pt x="10" y="71"/>
                    <a:pt x="10" y="71"/>
                  </a:cubicBezTo>
                  <a:lnTo>
                    <a:pt x="7" y="72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3" name="Freeform 43"/>
            <p:cNvSpPr>
              <a:spLocks/>
            </p:cNvSpPr>
            <p:nvPr/>
          </p:nvSpPr>
          <p:spPr bwMode="auto">
            <a:xfrm>
              <a:off x="1175" y="3364"/>
              <a:ext cx="154" cy="114"/>
            </a:xfrm>
            <a:custGeom>
              <a:avLst/>
              <a:gdLst>
                <a:gd name="T0" fmla="*/ 146 w 154"/>
                <a:gd name="T1" fmla="*/ 39 h 114"/>
                <a:gd name="T2" fmla="*/ 144 w 154"/>
                <a:gd name="T3" fmla="*/ 41 h 114"/>
                <a:gd name="T4" fmla="*/ 142 w 154"/>
                <a:gd name="T5" fmla="*/ 56 h 114"/>
                <a:gd name="T6" fmla="*/ 154 w 154"/>
                <a:gd name="T7" fmla="*/ 68 h 114"/>
                <a:gd name="T8" fmla="*/ 154 w 154"/>
                <a:gd name="T9" fmla="*/ 85 h 114"/>
                <a:gd name="T10" fmla="*/ 137 w 154"/>
                <a:gd name="T11" fmla="*/ 87 h 114"/>
                <a:gd name="T12" fmla="*/ 129 w 154"/>
                <a:gd name="T13" fmla="*/ 100 h 114"/>
                <a:gd name="T14" fmla="*/ 121 w 154"/>
                <a:gd name="T15" fmla="*/ 100 h 114"/>
                <a:gd name="T16" fmla="*/ 121 w 154"/>
                <a:gd name="T17" fmla="*/ 106 h 114"/>
                <a:gd name="T18" fmla="*/ 110 w 154"/>
                <a:gd name="T19" fmla="*/ 114 h 114"/>
                <a:gd name="T20" fmla="*/ 100 w 154"/>
                <a:gd name="T21" fmla="*/ 114 h 114"/>
                <a:gd name="T22" fmla="*/ 96 w 154"/>
                <a:gd name="T23" fmla="*/ 106 h 114"/>
                <a:gd name="T24" fmla="*/ 81 w 154"/>
                <a:gd name="T25" fmla="*/ 104 h 114"/>
                <a:gd name="T26" fmla="*/ 75 w 154"/>
                <a:gd name="T27" fmla="*/ 98 h 114"/>
                <a:gd name="T28" fmla="*/ 69 w 154"/>
                <a:gd name="T29" fmla="*/ 106 h 114"/>
                <a:gd name="T30" fmla="*/ 56 w 154"/>
                <a:gd name="T31" fmla="*/ 104 h 114"/>
                <a:gd name="T32" fmla="*/ 46 w 154"/>
                <a:gd name="T33" fmla="*/ 93 h 114"/>
                <a:gd name="T34" fmla="*/ 29 w 154"/>
                <a:gd name="T35" fmla="*/ 91 h 114"/>
                <a:gd name="T36" fmla="*/ 27 w 154"/>
                <a:gd name="T37" fmla="*/ 73 h 114"/>
                <a:gd name="T38" fmla="*/ 16 w 154"/>
                <a:gd name="T39" fmla="*/ 62 h 114"/>
                <a:gd name="T40" fmla="*/ 6 w 154"/>
                <a:gd name="T41" fmla="*/ 68 h 114"/>
                <a:gd name="T42" fmla="*/ 4 w 154"/>
                <a:gd name="T43" fmla="*/ 60 h 114"/>
                <a:gd name="T44" fmla="*/ 4 w 154"/>
                <a:gd name="T45" fmla="*/ 50 h 114"/>
                <a:gd name="T46" fmla="*/ 0 w 154"/>
                <a:gd name="T47" fmla="*/ 48 h 114"/>
                <a:gd name="T48" fmla="*/ 4 w 154"/>
                <a:gd name="T49" fmla="*/ 41 h 114"/>
                <a:gd name="T50" fmla="*/ 19 w 154"/>
                <a:gd name="T51" fmla="*/ 31 h 114"/>
                <a:gd name="T52" fmla="*/ 19 w 154"/>
                <a:gd name="T53" fmla="*/ 18 h 114"/>
                <a:gd name="T54" fmla="*/ 33 w 154"/>
                <a:gd name="T55" fmla="*/ 10 h 114"/>
                <a:gd name="T56" fmla="*/ 37 w 154"/>
                <a:gd name="T57" fmla="*/ 2 h 114"/>
                <a:gd name="T58" fmla="*/ 46 w 154"/>
                <a:gd name="T59" fmla="*/ 2 h 114"/>
                <a:gd name="T60" fmla="*/ 50 w 154"/>
                <a:gd name="T61" fmla="*/ 6 h 114"/>
                <a:gd name="T62" fmla="*/ 64 w 154"/>
                <a:gd name="T63" fmla="*/ 0 h 114"/>
                <a:gd name="T64" fmla="*/ 79 w 154"/>
                <a:gd name="T65" fmla="*/ 6 h 114"/>
                <a:gd name="T66" fmla="*/ 91 w 154"/>
                <a:gd name="T67" fmla="*/ 0 h 114"/>
                <a:gd name="T68" fmla="*/ 108 w 154"/>
                <a:gd name="T69" fmla="*/ 0 h 114"/>
                <a:gd name="T70" fmla="*/ 114 w 154"/>
                <a:gd name="T71" fmla="*/ 10 h 114"/>
                <a:gd name="T72" fmla="*/ 123 w 154"/>
                <a:gd name="T73" fmla="*/ 16 h 114"/>
                <a:gd name="T74" fmla="*/ 125 w 154"/>
                <a:gd name="T75" fmla="*/ 25 h 114"/>
                <a:gd name="T76" fmla="*/ 137 w 154"/>
                <a:gd name="T77" fmla="*/ 35 h 114"/>
                <a:gd name="T78" fmla="*/ 146 w 154"/>
                <a:gd name="T79" fmla="*/ 3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4" h="114">
                  <a:moveTo>
                    <a:pt x="146" y="39"/>
                  </a:moveTo>
                  <a:lnTo>
                    <a:pt x="144" y="41"/>
                  </a:lnTo>
                  <a:lnTo>
                    <a:pt x="142" y="56"/>
                  </a:lnTo>
                  <a:lnTo>
                    <a:pt x="154" y="68"/>
                  </a:lnTo>
                  <a:lnTo>
                    <a:pt x="154" y="85"/>
                  </a:lnTo>
                  <a:lnTo>
                    <a:pt x="137" y="87"/>
                  </a:lnTo>
                  <a:lnTo>
                    <a:pt x="129" y="100"/>
                  </a:lnTo>
                  <a:lnTo>
                    <a:pt x="121" y="100"/>
                  </a:lnTo>
                  <a:lnTo>
                    <a:pt x="121" y="106"/>
                  </a:lnTo>
                  <a:lnTo>
                    <a:pt x="110" y="114"/>
                  </a:lnTo>
                  <a:lnTo>
                    <a:pt x="100" y="114"/>
                  </a:lnTo>
                  <a:lnTo>
                    <a:pt x="96" y="106"/>
                  </a:lnTo>
                  <a:lnTo>
                    <a:pt x="81" y="104"/>
                  </a:lnTo>
                  <a:lnTo>
                    <a:pt x="75" y="98"/>
                  </a:lnTo>
                  <a:lnTo>
                    <a:pt x="69" y="106"/>
                  </a:lnTo>
                  <a:lnTo>
                    <a:pt x="56" y="104"/>
                  </a:lnTo>
                  <a:lnTo>
                    <a:pt x="46" y="93"/>
                  </a:lnTo>
                  <a:lnTo>
                    <a:pt x="29" y="91"/>
                  </a:lnTo>
                  <a:lnTo>
                    <a:pt x="27" y="73"/>
                  </a:lnTo>
                  <a:lnTo>
                    <a:pt x="16" y="62"/>
                  </a:lnTo>
                  <a:lnTo>
                    <a:pt x="6" y="68"/>
                  </a:lnTo>
                  <a:lnTo>
                    <a:pt x="4" y="60"/>
                  </a:lnTo>
                  <a:lnTo>
                    <a:pt x="4" y="50"/>
                  </a:lnTo>
                  <a:lnTo>
                    <a:pt x="0" y="48"/>
                  </a:lnTo>
                  <a:lnTo>
                    <a:pt x="4" y="41"/>
                  </a:lnTo>
                  <a:lnTo>
                    <a:pt x="19" y="31"/>
                  </a:lnTo>
                  <a:lnTo>
                    <a:pt x="19" y="18"/>
                  </a:lnTo>
                  <a:lnTo>
                    <a:pt x="33" y="10"/>
                  </a:lnTo>
                  <a:lnTo>
                    <a:pt x="37" y="2"/>
                  </a:lnTo>
                  <a:lnTo>
                    <a:pt x="46" y="2"/>
                  </a:lnTo>
                  <a:lnTo>
                    <a:pt x="50" y="6"/>
                  </a:lnTo>
                  <a:lnTo>
                    <a:pt x="64" y="0"/>
                  </a:lnTo>
                  <a:lnTo>
                    <a:pt x="79" y="6"/>
                  </a:lnTo>
                  <a:lnTo>
                    <a:pt x="91" y="0"/>
                  </a:lnTo>
                  <a:lnTo>
                    <a:pt x="108" y="0"/>
                  </a:lnTo>
                  <a:lnTo>
                    <a:pt x="114" y="10"/>
                  </a:lnTo>
                  <a:lnTo>
                    <a:pt x="123" y="16"/>
                  </a:lnTo>
                  <a:lnTo>
                    <a:pt x="125" y="25"/>
                  </a:lnTo>
                  <a:lnTo>
                    <a:pt x="137" y="35"/>
                  </a:lnTo>
                  <a:lnTo>
                    <a:pt x="146" y="39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4" name="Freeform 44"/>
            <p:cNvSpPr>
              <a:spLocks/>
            </p:cNvSpPr>
            <p:nvPr/>
          </p:nvSpPr>
          <p:spPr bwMode="auto">
            <a:xfrm>
              <a:off x="1079" y="3412"/>
              <a:ext cx="125" cy="110"/>
            </a:xfrm>
            <a:custGeom>
              <a:avLst/>
              <a:gdLst>
                <a:gd name="T0" fmla="*/ 2 w 125"/>
                <a:gd name="T1" fmla="*/ 39 h 110"/>
                <a:gd name="T2" fmla="*/ 21 w 125"/>
                <a:gd name="T3" fmla="*/ 33 h 110"/>
                <a:gd name="T4" fmla="*/ 25 w 125"/>
                <a:gd name="T5" fmla="*/ 29 h 110"/>
                <a:gd name="T6" fmla="*/ 21 w 125"/>
                <a:gd name="T7" fmla="*/ 22 h 110"/>
                <a:gd name="T8" fmla="*/ 31 w 125"/>
                <a:gd name="T9" fmla="*/ 14 h 110"/>
                <a:gd name="T10" fmla="*/ 37 w 125"/>
                <a:gd name="T11" fmla="*/ 2 h 110"/>
                <a:gd name="T12" fmla="*/ 52 w 125"/>
                <a:gd name="T13" fmla="*/ 0 h 110"/>
                <a:gd name="T14" fmla="*/ 60 w 125"/>
                <a:gd name="T15" fmla="*/ 14 h 110"/>
                <a:gd name="T16" fmla="*/ 71 w 125"/>
                <a:gd name="T17" fmla="*/ 14 h 110"/>
                <a:gd name="T18" fmla="*/ 75 w 125"/>
                <a:gd name="T19" fmla="*/ 4 h 110"/>
                <a:gd name="T20" fmla="*/ 87 w 125"/>
                <a:gd name="T21" fmla="*/ 4 h 110"/>
                <a:gd name="T22" fmla="*/ 94 w 125"/>
                <a:gd name="T23" fmla="*/ 0 h 110"/>
                <a:gd name="T24" fmla="*/ 100 w 125"/>
                <a:gd name="T25" fmla="*/ 2 h 110"/>
                <a:gd name="T26" fmla="*/ 100 w 125"/>
                <a:gd name="T27" fmla="*/ 12 h 110"/>
                <a:gd name="T28" fmla="*/ 102 w 125"/>
                <a:gd name="T29" fmla="*/ 20 h 110"/>
                <a:gd name="T30" fmla="*/ 112 w 125"/>
                <a:gd name="T31" fmla="*/ 14 h 110"/>
                <a:gd name="T32" fmla="*/ 123 w 125"/>
                <a:gd name="T33" fmla="*/ 25 h 110"/>
                <a:gd name="T34" fmla="*/ 125 w 125"/>
                <a:gd name="T35" fmla="*/ 43 h 110"/>
                <a:gd name="T36" fmla="*/ 121 w 125"/>
                <a:gd name="T37" fmla="*/ 43 h 110"/>
                <a:gd name="T38" fmla="*/ 100 w 125"/>
                <a:gd name="T39" fmla="*/ 62 h 110"/>
                <a:gd name="T40" fmla="*/ 87 w 125"/>
                <a:gd name="T41" fmla="*/ 70 h 110"/>
                <a:gd name="T42" fmla="*/ 92 w 125"/>
                <a:gd name="T43" fmla="*/ 77 h 110"/>
                <a:gd name="T44" fmla="*/ 92 w 125"/>
                <a:gd name="T45" fmla="*/ 93 h 110"/>
                <a:gd name="T46" fmla="*/ 96 w 125"/>
                <a:gd name="T47" fmla="*/ 97 h 110"/>
                <a:gd name="T48" fmla="*/ 94 w 125"/>
                <a:gd name="T49" fmla="*/ 110 h 110"/>
                <a:gd name="T50" fmla="*/ 73 w 125"/>
                <a:gd name="T51" fmla="*/ 110 h 110"/>
                <a:gd name="T52" fmla="*/ 67 w 125"/>
                <a:gd name="T53" fmla="*/ 100 h 110"/>
                <a:gd name="T54" fmla="*/ 54 w 125"/>
                <a:gd name="T55" fmla="*/ 95 h 110"/>
                <a:gd name="T56" fmla="*/ 48 w 125"/>
                <a:gd name="T57" fmla="*/ 93 h 110"/>
                <a:gd name="T58" fmla="*/ 50 w 125"/>
                <a:gd name="T59" fmla="*/ 79 h 110"/>
                <a:gd name="T60" fmla="*/ 35 w 125"/>
                <a:gd name="T61" fmla="*/ 75 h 110"/>
                <a:gd name="T62" fmla="*/ 29 w 125"/>
                <a:gd name="T63" fmla="*/ 62 h 110"/>
                <a:gd name="T64" fmla="*/ 17 w 125"/>
                <a:gd name="T65" fmla="*/ 64 h 110"/>
                <a:gd name="T66" fmla="*/ 17 w 125"/>
                <a:gd name="T67" fmla="*/ 64 h 110"/>
                <a:gd name="T68" fmla="*/ 0 w 125"/>
                <a:gd name="T69" fmla="*/ 50 h 110"/>
                <a:gd name="T70" fmla="*/ 2 w 125"/>
                <a:gd name="T71" fmla="*/ 3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5" h="110">
                  <a:moveTo>
                    <a:pt x="2" y="39"/>
                  </a:moveTo>
                  <a:lnTo>
                    <a:pt x="21" y="33"/>
                  </a:lnTo>
                  <a:lnTo>
                    <a:pt x="25" y="29"/>
                  </a:lnTo>
                  <a:lnTo>
                    <a:pt x="21" y="22"/>
                  </a:lnTo>
                  <a:lnTo>
                    <a:pt x="31" y="14"/>
                  </a:lnTo>
                  <a:lnTo>
                    <a:pt x="37" y="2"/>
                  </a:lnTo>
                  <a:lnTo>
                    <a:pt x="52" y="0"/>
                  </a:lnTo>
                  <a:lnTo>
                    <a:pt x="60" y="14"/>
                  </a:lnTo>
                  <a:lnTo>
                    <a:pt x="71" y="14"/>
                  </a:lnTo>
                  <a:lnTo>
                    <a:pt x="75" y="4"/>
                  </a:lnTo>
                  <a:lnTo>
                    <a:pt x="87" y="4"/>
                  </a:lnTo>
                  <a:lnTo>
                    <a:pt x="94" y="0"/>
                  </a:lnTo>
                  <a:lnTo>
                    <a:pt x="100" y="2"/>
                  </a:lnTo>
                  <a:lnTo>
                    <a:pt x="100" y="12"/>
                  </a:lnTo>
                  <a:lnTo>
                    <a:pt x="102" y="20"/>
                  </a:lnTo>
                  <a:lnTo>
                    <a:pt x="112" y="14"/>
                  </a:lnTo>
                  <a:lnTo>
                    <a:pt x="123" y="25"/>
                  </a:lnTo>
                  <a:lnTo>
                    <a:pt x="125" y="43"/>
                  </a:lnTo>
                  <a:lnTo>
                    <a:pt x="121" y="43"/>
                  </a:lnTo>
                  <a:lnTo>
                    <a:pt x="100" y="62"/>
                  </a:lnTo>
                  <a:lnTo>
                    <a:pt x="87" y="70"/>
                  </a:lnTo>
                  <a:lnTo>
                    <a:pt x="92" y="77"/>
                  </a:lnTo>
                  <a:lnTo>
                    <a:pt x="92" y="93"/>
                  </a:lnTo>
                  <a:lnTo>
                    <a:pt x="96" y="97"/>
                  </a:lnTo>
                  <a:lnTo>
                    <a:pt x="94" y="110"/>
                  </a:lnTo>
                  <a:lnTo>
                    <a:pt x="73" y="110"/>
                  </a:lnTo>
                  <a:lnTo>
                    <a:pt x="67" y="100"/>
                  </a:lnTo>
                  <a:lnTo>
                    <a:pt x="54" y="95"/>
                  </a:lnTo>
                  <a:lnTo>
                    <a:pt x="48" y="93"/>
                  </a:lnTo>
                  <a:lnTo>
                    <a:pt x="50" y="79"/>
                  </a:lnTo>
                  <a:lnTo>
                    <a:pt x="35" y="75"/>
                  </a:lnTo>
                  <a:lnTo>
                    <a:pt x="29" y="62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0" y="50"/>
                  </a:lnTo>
                  <a:lnTo>
                    <a:pt x="2" y="39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5" name="Freeform 45"/>
            <p:cNvSpPr>
              <a:spLocks/>
            </p:cNvSpPr>
            <p:nvPr/>
          </p:nvSpPr>
          <p:spPr bwMode="auto">
            <a:xfrm>
              <a:off x="1021" y="3330"/>
              <a:ext cx="108" cy="121"/>
            </a:xfrm>
            <a:custGeom>
              <a:avLst/>
              <a:gdLst>
                <a:gd name="T0" fmla="*/ 0 w 108"/>
                <a:gd name="T1" fmla="*/ 38 h 121"/>
                <a:gd name="T2" fmla="*/ 2 w 108"/>
                <a:gd name="T3" fmla="*/ 29 h 121"/>
                <a:gd name="T4" fmla="*/ 14 w 108"/>
                <a:gd name="T5" fmla="*/ 25 h 121"/>
                <a:gd name="T6" fmla="*/ 14 w 108"/>
                <a:gd name="T7" fmla="*/ 13 h 121"/>
                <a:gd name="T8" fmla="*/ 27 w 108"/>
                <a:gd name="T9" fmla="*/ 9 h 121"/>
                <a:gd name="T10" fmla="*/ 33 w 108"/>
                <a:gd name="T11" fmla="*/ 17 h 121"/>
                <a:gd name="T12" fmla="*/ 39 w 108"/>
                <a:gd name="T13" fmla="*/ 13 h 121"/>
                <a:gd name="T14" fmla="*/ 39 w 108"/>
                <a:gd name="T15" fmla="*/ 2 h 121"/>
                <a:gd name="T16" fmla="*/ 45 w 108"/>
                <a:gd name="T17" fmla="*/ 0 h 121"/>
                <a:gd name="T18" fmla="*/ 60 w 108"/>
                <a:gd name="T19" fmla="*/ 6 h 121"/>
                <a:gd name="T20" fmla="*/ 75 w 108"/>
                <a:gd name="T21" fmla="*/ 6 h 121"/>
                <a:gd name="T22" fmla="*/ 79 w 108"/>
                <a:gd name="T23" fmla="*/ 11 h 121"/>
                <a:gd name="T24" fmla="*/ 81 w 108"/>
                <a:gd name="T25" fmla="*/ 27 h 121"/>
                <a:gd name="T26" fmla="*/ 95 w 108"/>
                <a:gd name="T27" fmla="*/ 50 h 121"/>
                <a:gd name="T28" fmla="*/ 108 w 108"/>
                <a:gd name="T29" fmla="*/ 59 h 121"/>
                <a:gd name="T30" fmla="*/ 108 w 108"/>
                <a:gd name="T31" fmla="*/ 82 h 121"/>
                <a:gd name="T32" fmla="*/ 95 w 108"/>
                <a:gd name="T33" fmla="*/ 84 h 121"/>
                <a:gd name="T34" fmla="*/ 89 w 108"/>
                <a:gd name="T35" fmla="*/ 96 h 121"/>
                <a:gd name="T36" fmla="*/ 79 w 108"/>
                <a:gd name="T37" fmla="*/ 104 h 121"/>
                <a:gd name="T38" fmla="*/ 83 w 108"/>
                <a:gd name="T39" fmla="*/ 111 h 121"/>
                <a:gd name="T40" fmla="*/ 79 w 108"/>
                <a:gd name="T41" fmla="*/ 115 h 121"/>
                <a:gd name="T42" fmla="*/ 60 w 108"/>
                <a:gd name="T43" fmla="*/ 121 h 121"/>
                <a:gd name="T44" fmla="*/ 60 w 108"/>
                <a:gd name="T45" fmla="*/ 121 h 121"/>
                <a:gd name="T46" fmla="*/ 43 w 108"/>
                <a:gd name="T47" fmla="*/ 111 h 121"/>
                <a:gd name="T48" fmla="*/ 41 w 108"/>
                <a:gd name="T49" fmla="*/ 96 h 121"/>
                <a:gd name="T50" fmla="*/ 33 w 108"/>
                <a:gd name="T51" fmla="*/ 77 h 121"/>
                <a:gd name="T52" fmla="*/ 27 w 108"/>
                <a:gd name="T53" fmla="*/ 63 h 121"/>
                <a:gd name="T54" fmla="*/ 18 w 108"/>
                <a:gd name="T55" fmla="*/ 63 h 121"/>
                <a:gd name="T56" fmla="*/ 14 w 108"/>
                <a:gd name="T57" fmla="*/ 46 h 121"/>
                <a:gd name="T58" fmla="*/ 0 w 108"/>
                <a:gd name="T59" fmla="*/ 38 h 121"/>
                <a:gd name="T60" fmla="*/ 0 w 108"/>
                <a:gd name="T61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8" h="121">
                  <a:moveTo>
                    <a:pt x="0" y="38"/>
                  </a:moveTo>
                  <a:lnTo>
                    <a:pt x="2" y="29"/>
                  </a:lnTo>
                  <a:lnTo>
                    <a:pt x="14" y="25"/>
                  </a:lnTo>
                  <a:lnTo>
                    <a:pt x="14" y="13"/>
                  </a:lnTo>
                  <a:lnTo>
                    <a:pt x="27" y="9"/>
                  </a:lnTo>
                  <a:lnTo>
                    <a:pt x="33" y="17"/>
                  </a:lnTo>
                  <a:lnTo>
                    <a:pt x="39" y="13"/>
                  </a:lnTo>
                  <a:lnTo>
                    <a:pt x="39" y="2"/>
                  </a:lnTo>
                  <a:lnTo>
                    <a:pt x="45" y="0"/>
                  </a:lnTo>
                  <a:lnTo>
                    <a:pt x="60" y="6"/>
                  </a:lnTo>
                  <a:lnTo>
                    <a:pt x="75" y="6"/>
                  </a:lnTo>
                  <a:lnTo>
                    <a:pt x="79" y="11"/>
                  </a:lnTo>
                  <a:lnTo>
                    <a:pt x="81" y="27"/>
                  </a:lnTo>
                  <a:lnTo>
                    <a:pt x="95" y="50"/>
                  </a:lnTo>
                  <a:lnTo>
                    <a:pt x="108" y="59"/>
                  </a:lnTo>
                  <a:lnTo>
                    <a:pt x="108" y="82"/>
                  </a:lnTo>
                  <a:lnTo>
                    <a:pt x="95" y="84"/>
                  </a:lnTo>
                  <a:lnTo>
                    <a:pt x="89" y="96"/>
                  </a:lnTo>
                  <a:lnTo>
                    <a:pt x="79" y="104"/>
                  </a:lnTo>
                  <a:lnTo>
                    <a:pt x="83" y="111"/>
                  </a:lnTo>
                  <a:lnTo>
                    <a:pt x="79" y="115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43" y="111"/>
                  </a:lnTo>
                  <a:lnTo>
                    <a:pt x="41" y="96"/>
                  </a:lnTo>
                  <a:lnTo>
                    <a:pt x="33" y="77"/>
                  </a:lnTo>
                  <a:lnTo>
                    <a:pt x="27" y="63"/>
                  </a:lnTo>
                  <a:lnTo>
                    <a:pt x="18" y="63"/>
                  </a:lnTo>
                  <a:lnTo>
                    <a:pt x="14" y="46"/>
                  </a:lnTo>
                  <a:lnTo>
                    <a:pt x="0" y="3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6" name="Freeform 46"/>
            <p:cNvSpPr>
              <a:spLocks noEditPoints="1"/>
            </p:cNvSpPr>
            <p:nvPr/>
          </p:nvSpPr>
          <p:spPr bwMode="auto">
            <a:xfrm>
              <a:off x="1098" y="3316"/>
              <a:ext cx="104" cy="112"/>
            </a:xfrm>
            <a:custGeom>
              <a:avLst/>
              <a:gdLst>
                <a:gd name="T0" fmla="*/ 0 w 104"/>
                <a:gd name="T1" fmla="*/ 23 h 112"/>
                <a:gd name="T2" fmla="*/ 10 w 104"/>
                <a:gd name="T3" fmla="*/ 10 h 112"/>
                <a:gd name="T4" fmla="*/ 23 w 104"/>
                <a:gd name="T5" fmla="*/ 12 h 112"/>
                <a:gd name="T6" fmla="*/ 27 w 104"/>
                <a:gd name="T7" fmla="*/ 4 h 112"/>
                <a:gd name="T8" fmla="*/ 37 w 104"/>
                <a:gd name="T9" fmla="*/ 2 h 112"/>
                <a:gd name="T10" fmla="*/ 54 w 104"/>
                <a:gd name="T11" fmla="*/ 14 h 112"/>
                <a:gd name="T12" fmla="*/ 60 w 104"/>
                <a:gd name="T13" fmla="*/ 14 h 112"/>
                <a:gd name="T14" fmla="*/ 60 w 104"/>
                <a:gd name="T15" fmla="*/ 2 h 112"/>
                <a:gd name="T16" fmla="*/ 68 w 104"/>
                <a:gd name="T17" fmla="*/ 0 h 112"/>
                <a:gd name="T18" fmla="*/ 79 w 104"/>
                <a:gd name="T19" fmla="*/ 10 h 112"/>
                <a:gd name="T20" fmla="*/ 83 w 104"/>
                <a:gd name="T21" fmla="*/ 4 h 112"/>
                <a:gd name="T22" fmla="*/ 91 w 104"/>
                <a:gd name="T23" fmla="*/ 10 h 112"/>
                <a:gd name="T24" fmla="*/ 104 w 104"/>
                <a:gd name="T25" fmla="*/ 14 h 112"/>
                <a:gd name="T26" fmla="*/ 100 w 104"/>
                <a:gd name="T27" fmla="*/ 35 h 112"/>
                <a:gd name="T28" fmla="*/ 100 w 104"/>
                <a:gd name="T29" fmla="*/ 48 h 112"/>
                <a:gd name="T30" fmla="*/ 102 w 104"/>
                <a:gd name="T31" fmla="*/ 62 h 112"/>
                <a:gd name="T32" fmla="*/ 96 w 104"/>
                <a:gd name="T33" fmla="*/ 66 h 112"/>
                <a:gd name="T34" fmla="*/ 96 w 104"/>
                <a:gd name="T35" fmla="*/ 79 h 112"/>
                <a:gd name="T36" fmla="*/ 81 w 104"/>
                <a:gd name="T37" fmla="*/ 89 h 112"/>
                <a:gd name="T38" fmla="*/ 77 w 104"/>
                <a:gd name="T39" fmla="*/ 96 h 112"/>
                <a:gd name="T40" fmla="*/ 75 w 104"/>
                <a:gd name="T41" fmla="*/ 96 h 112"/>
                <a:gd name="T42" fmla="*/ 68 w 104"/>
                <a:gd name="T43" fmla="*/ 100 h 112"/>
                <a:gd name="T44" fmla="*/ 56 w 104"/>
                <a:gd name="T45" fmla="*/ 100 h 112"/>
                <a:gd name="T46" fmla="*/ 52 w 104"/>
                <a:gd name="T47" fmla="*/ 110 h 112"/>
                <a:gd name="T48" fmla="*/ 41 w 104"/>
                <a:gd name="T49" fmla="*/ 110 h 112"/>
                <a:gd name="T50" fmla="*/ 33 w 104"/>
                <a:gd name="T51" fmla="*/ 96 h 112"/>
                <a:gd name="T52" fmla="*/ 18 w 104"/>
                <a:gd name="T53" fmla="*/ 98 h 112"/>
                <a:gd name="T54" fmla="*/ 31 w 104"/>
                <a:gd name="T55" fmla="*/ 96 h 112"/>
                <a:gd name="T56" fmla="*/ 31 w 104"/>
                <a:gd name="T57" fmla="*/ 73 h 112"/>
                <a:gd name="T58" fmla="*/ 18 w 104"/>
                <a:gd name="T59" fmla="*/ 64 h 112"/>
                <a:gd name="T60" fmla="*/ 4 w 104"/>
                <a:gd name="T61" fmla="*/ 41 h 112"/>
                <a:gd name="T62" fmla="*/ 2 w 104"/>
                <a:gd name="T63" fmla="*/ 25 h 112"/>
                <a:gd name="T64" fmla="*/ 0 w 104"/>
                <a:gd name="T65" fmla="*/ 23 h 112"/>
                <a:gd name="T66" fmla="*/ 0 w 104"/>
                <a:gd name="T67" fmla="*/ 23 h 112"/>
                <a:gd name="T68" fmla="*/ 10 w 104"/>
                <a:gd name="T69" fmla="*/ 112 h 112"/>
                <a:gd name="T70" fmla="*/ 10 w 104"/>
                <a:gd name="T71" fmla="*/ 112 h 112"/>
                <a:gd name="T72" fmla="*/ 12 w 104"/>
                <a:gd name="T73" fmla="*/ 110 h 112"/>
                <a:gd name="T74" fmla="*/ 10 w 104"/>
                <a:gd name="T75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4" h="112">
                  <a:moveTo>
                    <a:pt x="0" y="23"/>
                  </a:moveTo>
                  <a:lnTo>
                    <a:pt x="10" y="10"/>
                  </a:lnTo>
                  <a:lnTo>
                    <a:pt x="23" y="12"/>
                  </a:lnTo>
                  <a:lnTo>
                    <a:pt x="27" y="4"/>
                  </a:lnTo>
                  <a:lnTo>
                    <a:pt x="37" y="2"/>
                  </a:lnTo>
                  <a:lnTo>
                    <a:pt x="54" y="14"/>
                  </a:lnTo>
                  <a:lnTo>
                    <a:pt x="60" y="1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9" y="10"/>
                  </a:lnTo>
                  <a:lnTo>
                    <a:pt x="83" y="4"/>
                  </a:lnTo>
                  <a:lnTo>
                    <a:pt x="91" y="10"/>
                  </a:lnTo>
                  <a:lnTo>
                    <a:pt x="104" y="14"/>
                  </a:lnTo>
                  <a:lnTo>
                    <a:pt x="100" y="35"/>
                  </a:lnTo>
                  <a:lnTo>
                    <a:pt x="100" y="48"/>
                  </a:lnTo>
                  <a:lnTo>
                    <a:pt x="102" y="62"/>
                  </a:lnTo>
                  <a:lnTo>
                    <a:pt x="96" y="66"/>
                  </a:lnTo>
                  <a:lnTo>
                    <a:pt x="96" y="79"/>
                  </a:lnTo>
                  <a:lnTo>
                    <a:pt x="81" y="89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68" y="100"/>
                  </a:lnTo>
                  <a:lnTo>
                    <a:pt x="56" y="100"/>
                  </a:lnTo>
                  <a:lnTo>
                    <a:pt x="52" y="110"/>
                  </a:lnTo>
                  <a:lnTo>
                    <a:pt x="41" y="110"/>
                  </a:lnTo>
                  <a:lnTo>
                    <a:pt x="33" y="96"/>
                  </a:lnTo>
                  <a:lnTo>
                    <a:pt x="18" y="98"/>
                  </a:lnTo>
                  <a:lnTo>
                    <a:pt x="31" y="96"/>
                  </a:lnTo>
                  <a:lnTo>
                    <a:pt x="31" y="73"/>
                  </a:lnTo>
                  <a:lnTo>
                    <a:pt x="18" y="64"/>
                  </a:lnTo>
                  <a:lnTo>
                    <a:pt x="4" y="41"/>
                  </a:lnTo>
                  <a:lnTo>
                    <a:pt x="2" y="25"/>
                  </a:lnTo>
                  <a:lnTo>
                    <a:pt x="0" y="23"/>
                  </a:lnTo>
                  <a:lnTo>
                    <a:pt x="0" y="23"/>
                  </a:lnTo>
                  <a:close/>
                  <a:moveTo>
                    <a:pt x="10" y="112"/>
                  </a:moveTo>
                  <a:lnTo>
                    <a:pt x="10" y="112"/>
                  </a:lnTo>
                  <a:lnTo>
                    <a:pt x="12" y="110"/>
                  </a:lnTo>
                  <a:lnTo>
                    <a:pt x="10" y="112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7" name="Freeform 47"/>
            <p:cNvSpPr>
              <a:spLocks/>
            </p:cNvSpPr>
            <p:nvPr/>
          </p:nvSpPr>
          <p:spPr bwMode="auto">
            <a:xfrm>
              <a:off x="1054" y="3243"/>
              <a:ext cx="142" cy="96"/>
            </a:xfrm>
            <a:custGeom>
              <a:avLst/>
              <a:gdLst>
                <a:gd name="T0" fmla="*/ 0 w 142"/>
                <a:gd name="T1" fmla="*/ 14 h 96"/>
                <a:gd name="T2" fmla="*/ 4 w 142"/>
                <a:gd name="T3" fmla="*/ 10 h 96"/>
                <a:gd name="T4" fmla="*/ 12 w 142"/>
                <a:gd name="T5" fmla="*/ 8 h 96"/>
                <a:gd name="T6" fmla="*/ 19 w 142"/>
                <a:gd name="T7" fmla="*/ 0 h 96"/>
                <a:gd name="T8" fmla="*/ 31 w 142"/>
                <a:gd name="T9" fmla="*/ 0 h 96"/>
                <a:gd name="T10" fmla="*/ 40 w 142"/>
                <a:gd name="T11" fmla="*/ 16 h 96"/>
                <a:gd name="T12" fmla="*/ 50 w 142"/>
                <a:gd name="T13" fmla="*/ 12 h 96"/>
                <a:gd name="T14" fmla="*/ 65 w 142"/>
                <a:gd name="T15" fmla="*/ 25 h 96"/>
                <a:gd name="T16" fmla="*/ 81 w 142"/>
                <a:gd name="T17" fmla="*/ 14 h 96"/>
                <a:gd name="T18" fmla="*/ 104 w 142"/>
                <a:gd name="T19" fmla="*/ 16 h 96"/>
                <a:gd name="T20" fmla="*/ 121 w 142"/>
                <a:gd name="T21" fmla="*/ 33 h 96"/>
                <a:gd name="T22" fmla="*/ 133 w 142"/>
                <a:gd name="T23" fmla="*/ 35 h 96"/>
                <a:gd name="T24" fmla="*/ 142 w 142"/>
                <a:gd name="T25" fmla="*/ 50 h 96"/>
                <a:gd name="T26" fmla="*/ 131 w 142"/>
                <a:gd name="T27" fmla="*/ 62 h 96"/>
                <a:gd name="T28" fmla="*/ 131 w 142"/>
                <a:gd name="T29" fmla="*/ 81 h 96"/>
                <a:gd name="T30" fmla="*/ 127 w 142"/>
                <a:gd name="T31" fmla="*/ 77 h 96"/>
                <a:gd name="T32" fmla="*/ 123 w 142"/>
                <a:gd name="T33" fmla="*/ 83 h 96"/>
                <a:gd name="T34" fmla="*/ 112 w 142"/>
                <a:gd name="T35" fmla="*/ 73 h 96"/>
                <a:gd name="T36" fmla="*/ 104 w 142"/>
                <a:gd name="T37" fmla="*/ 75 h 96"/>
                <a:gd name="T38" fmla="*/ 104 w 142"/>
                <a:gd name="T39" fmla="*/ 87 h 96"/>
                <a:gd name="T40" fmla="*/ 98 w 142"/>
                <a:gd name="T41" fmla="*/ 87 h 96"/>
                <a:gd name="T42" fmla="*/ 81 w 142"/>
                <a:gd name="T43" fmla="*/ 75 h 96"/>
                <a:gd name="T44" fmla="*/ 71 w 142"/>
                <a:gd name="T45" fmla="*/ 77 h 96"/>
                <a:gd name="T46" fmla="*/ 67 w 142"/>
                <a:gd name="T47" fmla="*/ 85 h 96"/>
                <a:gd name="T48" fmla="*/ 54 w 142"/>
                <a:gd name="T49" fmla="*/ 83 h 96"/>
                <a:gd name="T50" fmla="*/ 44 w 142"/>
                <a:gd name="T51" fmla="*/ 96 h 96"/>
                <a:gd name="T52" fmla="*/ 42 w 142"/>
                <a:gd name="T53" fmla="*/ 93 h 96"/>
                <a:gd name="T54" fmla="*/ 27 w 142"/>
                <a:gd name="T55" fmla="*/ 93 h 96"/>
                <a:gd name="T56" fmla="*/ 12 w 142"/>
                <a:gd name="T57" fmla="*/ 87 h 96"/>
                <a:gd name="T58" fmla="*/ 12 w 142"/>
                <a:gd name="T59" fmla="*/ 79 h 96"/>
                <a:gd name="T60" fmla="*/ 2 w 142"/>
                <a:gd name="T61" fmla="*/ 68 h 96"/>
                <a:gd name="T62" fmla="*/ 0 w 142"/>
                <a:gd name="T63" fmla="*/ 60 h 96"/>
                <a:gd name="T64" fmla="*/ 8 w 142"/>
                <a:gd name="T65" fmla="*/ 54 h 96"/>
                <a:gd name="T66" fmla="*/ 8 w 142"/>
                <a:gd name="T67" fmla="*/ 41 h 96"/>
                <a:gd name="T68" fmla="*/ 6 w 142"/>
                <a:gd name="T69" fmla="*/ 31 h 96"/>
                <a:gd name="T70" fmla="*/ 4 w 142"/>
                <a:gd name="T71" fmla="*/ 14 h 96"/>
                <a:gd name="T72" fmla="*/ 0 w 142"/>
                <a:gd name="T73" fmla="*/ 1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2" h="96">
                  <a:moveTo>
                    <a:pt x="0" y="14"/>
                  </a:moveTo>
                  <a:lnTo>
                    <a:pt x="4" y="10"/>
                  </a:lnTo>
                  <a:lnTo>
                    <a:pt x="12" y="8"/>
                  </a:lnTo>
                  <a:lnTo>
                    <a:pt x="19" y="0"/>
                  </a:lnTo>
                  <a:lnTo>
                    <a:pt x="31" y="0"/>
                  </a:lnTo>
                  <a:lnTo>
                    <a:pt x="40" y="16"/>
                  </a:lnTo>
                  <a:lnTo>
                    <a:pt x="50" y="12"/>
                  </a:lnTo>
                  <a:lnTo>
                    <a:pt x="65" y="25"/>
                  </a:lnTo>
                  <a:lnTo>
                    <a:pt x="81" y="14"/>
                  </a:lnTo>
                  <a:lnTo>
                    <a:pt x="104" y="16"/>
                  </a:lnTo>
                  <a:lnTo>
                    <a:pt x="121" y="33"/>
                  </a:lnTo>
                  <a:lnTo>
                    <a:pt x="133" y="35"/>
                  </a:lnTo>
                  <a:lnTo>
                    <a:pt x="142" y="50"/>
                  </a:lnTo>
                  <a:lnTo>
                    <a:pt x="131" y="62"/>
                  </a:lnTo>
                  <a:lnTo>
                    <a:pt x="131" y="81"/>
                  </a:lnTo>
                  <a:lnTo>
                    <a:pt x="127" y="77"/>
                  </a:lnTo>
                  <a:lnTo>
                    <a:pt x="123" y="83"/>
                  </a:lnTo>
                  <a:lnTo>
                    <a:pt x="112" y="73"/>
                  </a:lnTo>
                  <a:lnTo>
                    <a:pt x="104" y="75"/>
                  </a:lnTo>
                  <a:lnTo>
                    <a:pt x="104" y="87"/>
                  </a:lnTo>
                  <a:lnTo>
                    <a:pt x="98" y="87"/>
                  </a:lnTo>
                  <a:lnTo>
                    <a:pt x="81" y="75"/>
                  </a:lnTo>
                  <a:lnTo>
                    <a:pt x="71" y="77"/>
                  </a:lnTo>
                  <a:lnTo>
                    <a:pt x="67" y="85"/>
                  </a:lnTo>
                  <a:lnTo>
                    <a:pt x="54" y="83"/>
                  </a:lnTo>
                  <a:lnTo>
                    <a:pt x="44" y="96"/>
                  </a:lnTo>
                  <a:lnTo>
                    <a:pt x="42" y="93"/>
                  </a:lnTo>
                  <a:lnTo>
                    <a:pt x="27" y="93"/>
                  </a:lnTo>
                  <a:lnTo>
                    <a:pt x="12" y="87"/>
                  </a:lnTo>
                  <a:lnTo>
                    <a:pt x="12" y="79"/>
                  </a:lnTo>
                  <a:lnTo>
                    <a:pt x="2" y="68"/>
                  </a:lnTo>
                  <a:lnTo>
                    <a:pt x="0" y="60"/>
                  </a:lnTo>
                  <a:lnTo>
                    <a:pt x="8" y="54"/>
                  </a:lnTo>
                  <a:lnTo>
                    <a:pt x="8" y="41"/>
                  </a:lnTo>
                  <a:lnTo>
                    <a:pt x="6" y="31"/>
                  </a:lnTo>
                  <a:lnTo>
                    <a:pt x="4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8" name="Freeform 48"/>
            <p:cNvSpPr>
              <a:spLocks noEditPoints="1"/>
            </p:cNvSpPr>
            <p:nvPr/>
          </p:nvSpPr>
          <p:spPr bwMode="auto">
            <a:xfrm>
              <a:off x="1152" y="3205"/>
              <a:ext cx="137" cy="173"/>
            </a:xfrm>
            <a:custGeom>
              <a:avLst/>
              <a:gdLst>
                <a:gd name="T0" fmla="*/ 31 w 137"/>
                <a:gd name="T1" fmla="*/ 11 h 173"/>
                <a:gd name="T2" fmla="*/ 44 w 137"/>
                <a:gd name="T3" fmla="*/ 11 h 173"/>
                <a:gd name="T4" fmla="*/ 56 w 137"/>
                <a:gd name="T5" fmla="*/ 0 h 173"/>
                <a:gd name="T6" fmla="*/ 64 w 137"/>
                <a:gd name="T7" fmla="*/ 17 h 173"/>
                <a:gd name="T8" fmla="*/ 77 w 137"/>
                <a:gd name="T9" fmla="*/ 19 h 173"/>
                <a:gd name="T10" fmla="*/ 94 w 137"/>
                <a:gd name="T11" fmla="*/ 27 h 173"/>
                <a:gd name="T12" fmla="*/ 102 w 137"/>
                <a:gd name="T13" fmla="*/ 27 h 173"/>
                <a:gd name="T14" fmla="*/ 121 w 137"/>
                <a:gd name="T15" fmla="*/ 36 h 173"/>
                <a:gd name="T16" fmla="*/ 137 w 137"/>
                <a:gd name="T17" fmla="*/ 40 h 173"/>
                <a:gd name="T18" fmla="*/ 133 w 137"/>
                <a:gd name="T19" fmla="*/ 54 h 173"/>
                <a:gd name="T20" fmla="*/ 125 w 137"/>
                <a:gd name="T21" fmla="*/ 69 h 173"/>
                <a:gd name="T22" fmla="*/ 121 w 137"/>
                <a:gd name="T23" fmla="*/ 77 h 173"/>
                <a:gd name="T24" fmla="*/ 119 w 137"/>
                <a:gd name="T25" fmla="*/ 86 h 173"/>
                <a:gd name="T26" fmla="*/ 110 w 137"/>
                <a:gd name="T27" fmla="*/ 92 h 173"/>
                <a:gd name="T28" fmla="*/ 114 w 137"/>
                <a:gd name="T29" fmla="*/ 102 h 173"/>
                <a:gd name="T30" fmla="*/ 123 w 137"/>
                <a:gd name="T31" fmla="*/ 100 h 173"/>
                <a:gd name="T32" fmla="*/ 123 w 137"/>
                <a:gd name="T33" fmla="*/ 117 h 173"/>
                <a:gd name="T34" fmla="*/ 137 w 137"/>
                <a:gd name="T35" fmla="*/ 123 h 173"/>
                <a:gd name="T36" fmla="*/ 137 w 137"/>
                <a:gd name="T37" fmla="*/ 134 h 173"/>
                <a:gd name="T38" fmla="*/ 131 w 137"/>
                <a:gd name="T39" fmla="*/ 146 h 173"/>
                <a:gd name="T40" fmla="*/ 129 w 137"/>
                <a:gd name="T41" fmla="*/ 159 h 173"/>
                <a:gd name="T42" fmla="*/ 114 w 137"/>
                <a:gd name="T43" fmla="*/ 159 h 173"/>
                <a:gd name="T44" fmla="*/ 102 w 137"/>
                <a:gd name="T45" fmla="*/ 165 h 173"/>
                <a:gd name="T46" fmla="*/ 87 w 137"/>
                <a:gd name="T47" fmla="*/ 159 h 173"/>
                <a:gd name="T48" fmla="*/ 73 w 137"/>
                <a:gd name="T49" fmla="*/ 165 h 173"/>
                <a:gd name="T50" fmla="*/ 69 w 137"/>
                <a:gd name="T51" fmla="*/ 161 h 173"/>
                <a:gd name="T52" fmla="*/ 60 w 137"/>
                <a:gd name="T53" fmla="*/ 161 h 173"/>
                <a:gd name="T54" fmla="*/ 56 w 137"/>
                <a:gd name="T55" fmla="*/ 169 h 173"/>
                <a:gd name="T56" fmla="*/ 48 w 137"/>
                <a:gd name="T57" fmla="*/ 173 h 173"/>
                <a:gd name="T58" fmla="*/ 46 w 137"/>
                <a:gd name="T59" fmla="*/ 159 h 173"/>
                <a:gd name="T60" fmla="*/ 46 w 137"/>
                <a:gd name="T61" fmla="*/ 146 h 173"/>
                <a:gd name="T62" fmla="*/ 50 w 137"/>
                <a:gd name="T63" fmla="*/ 125 h 173"/>
                <a:gd name="T64" fmla="*/ 37 w 137"/>
                <a:gd name="T65" fmla="*/ 121 h 173"/>
                <a:gd name="T66" fmla="*/ 33 w 137"/>
                <a:gd name="T67" fmla="*/ 119 h 173"/>
                <a:gd name="T68" fmla="*/ 33 w 137"/>
                <a:gd name="T69" fmla="*/ 100 h 173"/>
                <a:gd name="T70" fmla="*/ 44 w 137"/>
                <a:gd name="T71" fmla="*/ 88 h 173"/>
                <a:gd name="T72" fmla="*/ 35 w 137"/>
                <a:gd name="T73" fmla="*/ 73 h 173"/>
                <a:gd name="T74" fmla="*/ 23 w 137"/>
                <a:gd name="T75" fmla="*/ 71 h 173"/>
                <a:gd name="T76" fmla="*/ 6 w 137"/>
                <a:gd name="T77" fmla="*/ 54 h 173"/>
                <a:gd name="T78" fmla="*/ 0 w 137"/>
                <a:gd name="T79" fmla="*/ 54 h 173"/>
                <a:gd name="T80" fmla="*/ 14 w 137"/>
                <a:gd name="T81" fmla="*/ 34 h 173"/>
                <a:gd name="T82" fmla="*/ 29 w 137"/>
                <a:gd name="T83" fmla="*/ 29 h 173"/>
                <a:gd name="T84" fmla="*/ 31 w 137"/>
                <a:gd name="T85" fmla="*/ 13 h 173"/>
                <a:gd name="T86" fmla="*/ 31 w 137"/>
                <a:gd name="T87" fmla="*/ 11 h 173"/>
                <a:gd name="T88" fmla="*/ 31 w 137"/>
                <a:gd name="T89" fmla="*/ 11 h 173"/>
                <a:gd name="T90" fmla="*/ 60 w 137"/>
                <a:gd name="T91" fmla="*/ 73 h 173"/>
                <a:gd name="T92" fmla="*/ 62 w 137"/>
                <a:gd name="T93" fmla="*/ 81 h 173"/>
                <a:gd name="T94" fmla="*/ 60 w 137"/>
                <a:gd name="T95" fmla="*/ 88 h 173"/>
                <a:gd name="T96" fmla="*/ 58 w 137"/>
                <a:gd name="T97" fmla="*/ 98 h 173"/>
                <a:gd name="T98" fmla="*/ 69 w 137"/>
                <a:gd name="T99" fmla="*/ 98 h 173"/>
                <a:gd name="T100" fmla="*/ 75 w 137"/>
                <a:gd name="T101" fmla="*/ 92 h 173"/>
                <a:gd name="T102" fmla="*/ 81 w 137"/>
                <a:gd name="T103" fmla="*/ 98 h 173"/>
                <a:gd name="T104" fmla="*/ 89 w 137"/>
                <a:gd name="T105" fmla="*/ 98 h 173"/>
                <a:gd name="T106" fmla="*/ 89 w 137"/>
                <a:gd name="T107" fmla="*/ 86 h 173"/>
                <a:gd name="T108" fmla="*/ 98 w 137"/>
                <a:gd name="T109" fmla="*/ 77 h 173"/>
                <a:gd name="T110" fmla="*/ 87 w 137"/>
                <a:gd name="T111" fmla="*/ 69 h 173"/>
                <a:gd name="T112" fmla="*/ 85 w 137"/>
                <a:gd name="T113" fmla="*/ 56 h 173"/>
                <a:gd name="T114" fmla="*/ 73 w 137"/>
                <a:gd name="T115" fmla="*/ 61 h 173"/>
                <a:gd name="T116" fmla="*/ 73 w 137"/>
                <a:gd name="T117" fmla="*/ 73 h 173"/>
                <a:gd name="T118" fmla="*/ 60 w 137"/>
                <a:gd name="T119" fmla="*/ 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7" h="173">
                  <a:moveTo>
                    <a:pt x="31" y="11"/>
                  </a:moveTo>
                  <a:lnTo>
                    <a:pt x="44" y="11"/>
                  </a:lnTo>
                  <a:lnTo>
                    <a:pt x="56" y="0"/>
                  </a:lnTo>
                  <a:lnTo>
                    <a:pt x="64" y="17"/>
                  </a:lnTo>
                  <a:lnTo>
                    <a:pt x="77" y="19"/>
                  </a:lnTo>
                  <a:lnTo>
                    <a:pt x="94" y="27"/>
                  </a:lnTo>
                  <a:lnTo>
                    <a:pt x="102" y="27"/>
                  </a:lnTo>
                  <a:lnTo>
                    <a:pt x="121" y="36"/>
                  </a:lnTo>
                  <a:lnTo>
                    <a:pt x="137" y="40"/>
                  </a:lnTo>
                  <a:lnTo>
                    <a:pt x="133" y="54"/>
                  </a:lnTo>
                  <a:lnTo>
                    <a:pt x="125" y="69"/>
                  </a:lnTo>
                  <a:lnTo>
                    <a:pt x="121" y="77"/>
                  </a:lnTo>
                  <a:lnTo>
                    <a:pt x="119" y="86"/>
                  </a:lnTo>
                  <a:lnTo>
                    <a:pt x="110" y="92"/>
                  </a:lnTo>
                  <a:lnTo>
                    <a:pt x="114" y="102"/>
                  </a:lnTo>
                  <a:lnTo>
                    <a:pt x="123" y="100"/>
                  </a:lnTo>
                  <a:lnTo>
                    <a:pt x="123" y="117"/>
                  </a:lnTo>
                  <a:lnTo>
                    <a:pt x="137" y="123"/>
                  </a:lnTo>
                  <a:lnTo>
                    <a:pt x="137" y="134"/>
                  </a:lnTo>
                  <a:lnTo>
                    <a:pt x="131" y="146"/>
                  </a:lnTo>
                  <a:lnTo>
                    <a:pt x="129" y="159"/>
                  </a:lnTo>
                  <a:lnTo>
                    <a:pt x="114" y="159"/>
                  </a:lnTo>
                  <a:lnTo>
                    <a:pt x="102" y="165"/>
                  </a:lnTo>
                  <a:lnTo>
                    <a:pt x="87" y="159"/>
                  </a:lnTo>
                  <a:lnTo>
                    <a:pt x="73" y="165"/>
                  </a:lnTo>
                  <a:lnTo>
                    <a:pt x="69" y="161"/>
                  </a:lnTo>
                  <a:lnTo>
                    <a:pt x="60" y="161"/>
                  </a:lnTo>
                  <a:lnTo>
                    <a:pt x="56" y="169"/>
                  </a:lnTo>
                  <a:lnTo>
                    <a:pt x="48" y="173"/>
                  </a:lnTo>
                  <a:lnTo>
                    <a:pt x="46" y="159"/>
                  </a:lnTo>
                  <a:lnTo>
                    <a:pt x="46" y="146"/>
                  </a:lnTo>
                  <a:lnTo>
                    <a:pt x="50" y="125"/>
                  </a:lnTo>
                  <a:lnTo>
                    <a:pt x="37" y="121"/>
                  </a:lnTo>
                  <a:lnTo>
                    <a:pt x="33" y="119"/>
                  </a:lnTo>
                  <a:lnTo>
                    <a:pt x="33" y="100"/>
                  </a:lnTo>
                  <a:lnTo>
                    <a:pt x="44" y="88"/>
                  </a:lnTo>
                  <a:lnTo>
                    <a:pt x="35" y="73"/>
                  </a:lnTo>
                  <a:lnTo>
                    <a:pt x="23" y="71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14" y="34"/>
                  </a:lnTo>
                  <a:lnTo>
                    <a:pt x="29" y="29"/>
                  </a:lnTo>
                  <a:lnTo>
                    <a:pt x="31" y="13"/>
                  </a:lnTo>
                  <a:lnTo>
                    <a:pt x="31" y="11"/>
                  </a:lnTo>
                  <a:lnTo>
                    <a:pt x="31" y="11"/>
                  </a:lnTo>
                  <a:close/>
                  <a:moveTo>
                    <a:pt x="60" y="73"/>
                  </a:moveTo>
                  <a:lnTo>
                    <a:pt x="62" y="81"/>
                  </a:lnTo>
                  <a:lnTo>
                    <a:pt x="60" y="88"/>
                  </a:lnTo>
                  <a:lnTo>
                    <a:pt x="58" y="98"/>
                  </a:lnTo>
                  <a:lnTo>
                    <a:pt x="69" y="98"/>
                  </a:lnTo>
                  <a:lnTo>
                    <a:pt x="75" y="92"/>
                  </a:lnTo>
                  <a:lnTo>
                    <a:pt x="81" y="98"/>
                  </a:lnTo>
                  <a:lnTo>
                    <a:pt x="89" y="98"/>
                  </a:lnTo>
                  <a:lnTo>
                    <a:pt x="89" y="86"/>
                  </a:lnTo>
                  <a:lnTo>
                    <a:pt x="98" y="77"/>
                  </a:lnTo>
                  <a:lnTo>
                    <a:pt x="87" y="69"/>
                  </a:lnTo>
                  <a:lnTo>
                    <a:pt x="85" y="56"/>
                  </a:lnTo>
                  <a:lnTo>
                    <a:pt x="73" y="61"/>
                  </a:lnTo>
                  <a:lnTo>
                    <a:pt x="73" y="73"/>
                  </a:lnTo>
                  <a:lnTo>
                    <a:pt x="60" y="73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9" name="Freeform 49"/>
            <p:cNvSpPr>
              <a:spLocks/>
            </p:cNvSpPr>
            <p:nvPr/>
          </p:nvSpPr>
          <p:spPr bwMode="auto">
            <a:xfrm>
              <a:off x="1210" y="3261"/>
              <a:ext cx="40" cy="42"/>
            </a:xfrm>
            <a:custGeom>
              <a:avLst/>
              <a:gdLst>
                <a:gd name="T0" fmla="*/ 2 w 40"/>
                <a:gd name="T1" fmla="*/ 17 h 42"/>
                <a:gd name="T2" fmla="*/ 15 w 40"/>
                <a:gd name="T3" fmla="*/ 17 h 42"/>
                <a:gd name="T4" fmla="*/ 15 w 40"/>
                <a:gd name="T5" fmla="*/ 5 h 42"/>
                <a:gd name="T6" fmla="*/ 27 w 40"/>
                <a:gd name="T7" fmla="*/ 0 h 42"/>
                <a:gd name="T8" fmla="*/ 29 w 40"/>
                <a:gd name="T9" fmla="*/ 13 h 42"/>
                <a:gd name="T10" fmla="*/ 40 w 40"/>
                <a:gd name="T11" fmla="*/ 21 h 42"/>
                <a:gd name="T12" fmla="*/ 31 w 40"/>
                <a:gd name="T13" fmla="*/ 30 h 42"/>
                <a:gd name="T14" fmla="*/ 31 w 40"/>
                <a:gd name="T15" fmla="*/ 42 h 42"/>
                <a:gd name="T16" fmla="*/ 23 w 40"/>
                <a:gd name="T17" fmla="*/ 42 h 42"/>
                <a:gd name="T18" fmla="*/ 17 w 40"/>
                <a:gd name="T19" fmla="*/ 36 h 42"/>
                <a:gd name="T20" fmla="*/ 11 w 40"/>
                <a:gd name="T21" fmla="*/ 42 h 42"/>
                <a:gd name="T22" fmla="*/ 0 w 40"/>
                <a:gd name="T23" fmla="*/ 42 h 42"/>
                <a:gd name="T24" fmla="*/ 2 w 40"/>
                <a:gd name="T25" fmla="*/ 32 h 42"/>
                <a:gd name="T26" fmla="*/ 4 w 40"/>
                <a:gd name="T27" fmla="*/ 25 h 42"/>
                <a:gd name="T28" fmla="*/ 2 w 40"/>
                <a:gd name="T29" fmla="*/ 1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" h="42">
                  <a:moveTo>
                    <a:pt x="2" y="17"/>
                  </a:moveTo>
                  <a:lnTo>
                    <a:pt x="15" y="17"/>
                  </a:lnTo>
                  <a:lnTo>
                    <a:pt x="15" y="5"/>
                  </a:lnTo>
                  <a:lnTo>
                    <a:pt x="27" y="0"/>
                  </a:lnTo>
                  <a:lnTo>
                    <a:pt x="29" y="13"/>
                  </a:lnTo>
                  <a:lnTo>
                    <a:pt x="40" y="21"/>
                  </a:lnTo>
                  <a:lnTo>
                    <a:pt x="31" y="30"/>
                  </a:lnTo>
                  <a:lnTo>
                    <a:pt x="31" y="42"/>
                  </a:lnTo>
                  <a:lnTo>
                    <a:pt x="23" y="42"/>
                  </a:lnTo>
                  <a:lnTo>
                    <a:pt x="17" y="36"/>
                  </a:lnTo>
                  <a:lnTo>
                    <a:pt x="11" y="42"/>
                  </a:lnTo>
                  <a:lnTo>
                    <a:pt x="0" y="42"/>
                  </a:lnTo>
                  <a:lnTo>
                    <a:pt x="2" y="32"/>
                  </a:lnTo>
                  <a:lnTo>
                    <a:pt x="4" y="25"/>
                  </a:lnTo>
                  <a:lnTo>
                    <a:pt x="2" y="17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0" name="Freeform 50"/>
            <p:cNvSpPr>
              <a:spLocks/>
            </p:cNvSpPr>
            <p:nvPr/>
          </p:nvSpPr>
          <p:spPr bwMode="auto">
            <a:xfrm>
              <a:off x="2044" y="3574"/>
              <a:ext cx="354" cy="290"/>
            </a:xfrm>
            <a:custGeom>
              <a:avLst/>
              <a:gdLst>
                <a:gd name="T0" fmla="*/ 159 w 170"/>
                <a:gd name="T1" fmla="*/ 70 h 139"/>
                <a:gd name="T2" fmla="*/ 139 w 170"/>
                <a:gd name="T3" fmla="*/ 65 h 139"/>
                <a:gd name="T4" fmla="*/ 132 w 170"/>
                <a:gd name="T5" fmla="*/ 70 h 139"/>
                <a:gd name="T6" fmla="*/ 117 w 170"/>
                <a:gd name="T7" fmla="*/ 63 h 139"/>
                <a:gd name="T8" fmla="*/ 110 w 170"/>
                <a:gd name="T9" fmla="*/ 58 h 139"/>
                <a:gd name="T10" fmla="*/ 106 w 170"/>
                <a:gd name="T11" fmla="*/ 50 h 139"/>
                <a:gd name="T12" fmla="*/ 97 w 170"/>
                <a:gd name="T13" fmla="*/ 67 h 139"/>
                <a:gd name="T14" fmla="*/ 94 w 170"/>
                <a:gd name="T15" fmla="*/ 77 h 139"/>
                <a:gd name="T16" fmla="*/ 101 w 170"/>
                <a:gd name="T17" fmla="*/ 84 h 139"/>
                <a:gd name="T18" fmla="*/ 109 w 170"/>
                <a:gd name="T19" fmla="*/ 95 h 139"/>
                <a:gd name="T20" fmla="*/ 102 w 170"/>
                <a:gd name="T21" fmla="*/ 100 h 139"/>
                <a:gd name="T22" fmla="*/ 90 w 170"/>
                <a:gd name="T23" fmla="*/ 107 h 139"/>
                <a:gd name="T24" fmla="*/ 88 w 170"/>
                <a:gd name="T25" fmla="*/ 119 h 139"/>
                <a:gd name="T26" fmla="*/ 81 w 170"/>
                <a:gd name="T27" fmla="*/ 128 h 139"/>
                <a:gd name="T28" fmla="*/ 77 w 170"/>
                <a:gd name="T29" fmla="*/ 136 h 139"/>
                <a:gd name="T30" fmla="*/ 66 w 170"/>
                <a:gd name="T31" fmla="*/ 133 h 139"/>
                <a:gd name="T32" fmla="*/ 44 w 170"/>
                <a:gd name="T33" fmla="*/ 127 h 139"/>
                <a:gd name="T34" fmla="*/ 32 w 170"/>
                <a:gd name="T35" fmla="*/ 112 h 139"/>
                <a:gd name="T36" fmla="*/ 26 w 170"/>
                <a:gd name="T37" fmla="*/ 98 h 139"/>
                <a:gd name="T38" fmla="*/ 10 w 170"/>
                <a:gd name="T39" fmla="*/ 93 h 139"/>
                <a:gd name="T40" fmla="*/ 0 w 170"/>
                <a:gd name="T41" fmla="*/ 75 h 139"/>
                <a:gd name="T42" fmla="*/ 7 w 170"/>
                <a:gd name="T43" fmla="*/ 59 h 139"/>
                <a:gd name="T44" fmla="*/ 9 w 170"/>
                <a:gd name="T45" fmla="*/ 47 h 139"/>
                <a:gd name="T46" fmla="*/ 20 w 170"/>
                <a:gd name="T47" fmla="*/ 44 h 139"/>
                <a:gd name="T48" fmla="*/ 28 w 170"/>
                <a:gd name="T49" fmla="*/ 43 h 139"/>
                <a:gd name="T50" fmla="*/ 33 w 170"/>
                <a:gd name="T51" fmla="*/ 33 h 139"/>
                <a:gd name="T52" fmla="*/ 41 w 170"/>
                <a:gd name="T53" fmla="*/ 24 h 139"/>
                <a:gd name="T54" fmla="*/ 54 w 170"/>
                <a:gd name="T55" fmla="*/ 17 h 139"/>
                <a:gd name="T56" fmla="*/ 64 w 170"/>
                <a:gd name="T57" fmla="*/ 19 h 139"/>
                <a:gd name="T58" fmla="*/ 80 w 170"/>
                <a:gd name="T59" fmla="*/ 15 h 139"/>
                <a:gd name="T60" fmla="*/ 95 w 170"/>
                <a:gd name="T61" fmla="*/ 8 h 139"/>
                <a:gd name="T62" fmla="*/ 101 w 170"/>
                <a:gd name="T63" fmla="*/ 1 h 139"/>
                <a:gd name="T64" fmla="*/ 121 w 170"/>
                <a:gd name="T65" fmla="*/ 11 h 139"/>
                <a:gd name="T66" fmla="*/ 137 w 170"/>
                <a:gd name="T67" fmla="*/ 32 h 139"/>
                <a:gd name="T68" fmla="*/ 145 w 170"/>
                <a:gd name="T69" fmla="*/ 39 h 139"/>
                <a:gd name="T70" fmla="*/ 156 w 170"/>
                <a:gd name="T71" fmla="*/ 52 h 139"/>
                <a:gd name="T72" fmla="*/ 170 w 170"/>
                <a:gd name="T73" fmla="*/ 5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39">
                  <a:moveTo>
                    <a:pt x="170" y="61"/>
                  </a:moveTo>
                  <a:cubicBezTo>
                    <a:pt x="159" y="70"/>
                    <a:pt x="159" y="70"/>
                    <a:pt x="159" y="70"/>
                  </a:cubicBezTo>
                  <a:cubicBezTo>
                    <a:pt x="145" y="69"/>
                    <a:pt x="145" y="69"/>
                    <a:pt x="145" y="69"/>
                  </a:cubicBezTo>
                  <a:cubicBezTo>
                    <a:pt x="139" y="65"/>
                    <a:pt x="139" y="65"/>
                    <a:pt x="139" y="65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17" y="63"/>
                    <a:pt x="117" y="63"/>
                    <a:pt x="117" y="63"/>
                  </a:cubicBezTo>
                  <a:cubicBezTo>
                    <a:pt x="111" y="62"/>
                    <a:pt x="111" y="62"/>
                    <a:pt x="111" y="62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14" y="53"/>
                    <a:pt x="114" y="53"/>
                    <a:pt x="114" y="53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67"/>
                    <a:pt x="97" y="67"/>
                    <a:pt x="97" y="67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3" y="79"/>
                    <a:pt x="93" y="79"/>
                    <a:pt x="93" y="79"/>
                  </a:cubicBezTo>
                  <a:cubicBezTo>
                    <a:pt x="101" y="84"/>
                    <a:pt x="101" y="84"/>
                    <a:pt x="101" y="84"/>
                  </a:cubicBezTo>
                  <a:cubicBezTo>
                    <a:pt x="104" y="89"/>
                    <a:pt x="104" y="89"/>
                    <a:pt x="104" y="89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6" y="98"/>
                    <a:pt x="106" y="98"/>
                    <a:pt x="106" y="98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98" y="101"/>
                    <a:pt x="98" y="101"/>
                    <a:pt x="98" y="101"/>
                  </a:cubicBezTo>
                  <a:cubicBezTo>
                    <a:pt x="90" y="107"/>
                    <a:pt x="90" y="107"/>
                    <a:pt x="90" y="107"/>
                  </a:cubicBezTo>
                  <a:cubicBezTo>
                    <a:pt x="90" y="116"/>
                    <a:pt x="90" y="116"/>
                    <a:pt x="90" y="116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82" y="122"/>
                    <a:pt x="82" y="122"/>
                    <a:pt x="82" y="122"/>
                  </a:cubicBezTo>
                  <a:cubicBezTo>
                    <a:pt x="81" y="128"/>
                    <a:pt x="81" y="128"/>
                    <a:pt x="81" y="128"/>
                  </a:cubicBezTo>
                  <a:cubicBezTo>
                    <a:pt x="77" y="131"/>
                    <a:pt x="77" y="131"/>
                    <a:pt x="77" y="131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5" y="136"/>
                    <a:pt x="74" y="136"/>
                    <a:pt x="72" y="137"/>
                  </a:cubicBezTo>
                  <a:cubicBezTo>
                    <a:pt x="69" y="139"/>
                    <a:pt x="67" y="136"/>
                    <a:pt x="66" y="133"/>
                  </a:cubicBezTo>
                  <a:cubicBezTo>
                    <a:pt x="65" y="131"/>
                    <a:pt x="58" y="124"/>
                    <a:pt x="52" y="124"/>
                  </a:cubicBezTo>
                  <a:cubicBezTo>
                    <a:pt x="48" y="124"/>
                    <a:pt x="47" y="127"/>
                    <a:pt x="44" y="127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32" y="112"/>
                    <a:pt x="32" y="112"/>
                    <a:pt x="32" y="112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26" y="98"/>
                    <a:pt x="26" y="98"/>
                    <a:pt x="26" y="98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53" y="24"/>
                    <a:pt x="53" y="24"/>
                    <a:pt x="53" y="2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101" y="1"/>
                    <a:pt x="101" y="1"/>
                    <a:pt x="101" y="1"/>
                  </a:cubicBezTo>
                  <a:cubicBezTo>
                    <a:pt x="110" y="9"/>
                    <a:pt x="110" y="9"/>
                    <a:pt x="110" y="9"/>
                  </a:cubicBezTo>
                  <a:cubicBezTo>
                    <a:pt x="121" y="11"/>
                    <a:pt x="121" y="11"/>
                    <a:pt x="121" y="11"/>
                  </a:cubicBezTo>
                  <a:cubicBezTo>
                    <a:pt x="133" y="22"/>
                    <a:pt x="133" y="22"/>
                    <a:pt x="133" y="2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7" y="39"/>
                    <a:pt x="137" y="39"/>
                    <a:pt x="137" y="39"/>
                  </a:cubicBezTo>
                  <a:cubicBezTo>
                    <a:pt x="145" y="39"/>
                    <a:pt x="145" y="39"/>
                    <a:pt x="145" y="39"/>
                  </a:cubicBezTo>
                  <a:cubicBezTo>
                    <a:pt x="145" y="46"/>
                    <a:pt x="145" y="46"/>
                    <a:pt x="145" y="46"/>
                  </a:cubicBezTo>
                  <a:cubicBezTo>
                    <a:pt x="156" y="52"/>
                    <a:pt x="156" y="52"/>
                    <a:pt x="156" y="52"/>
                  </a:cubicBezTo>
                  <a:cubicBezTo>
                    <a:pt x="163" y="54"/>
                    <a:pt x="163" y="54"/>
                    <a:pt x="163" y="54"/>
                  </a:cubicBezTo>
                  <a:cubicBezTo>
                    <a:pt x="170" y="58"/>
                    <a:pt x="170" y="58"/>
                    <a:pt x="170" y="58"/>
                  </a:cubicBezTo>
                  <a:lnTo>
                    <a:pt x="170" y="61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1" name="Freeform 51"/>
            <p:cNvSpPr>
              <a:spLocks/>
            </p:cNvSpPr>
            <p:nvPr/>
          </p:nvSpPr>
          <p:spPr bwMode="auto">
            <a:xfrm>
              <a:off x="1913" y="3697"/>
              <a:ext cx="225" cy="160"/>
            </a:xfrm>
            <a:custGeom>
              <a:avLst/>
              <a:gdLst>
                <a:gd name="T0" fmla="*/ 107 w 108"/>
                <a:gd name="T1" fmla="*/ 68 h 77"/>
                <a:gd name="T2" fmla="*/ 106 w 108"/>
                <a:gd name="T3" fmla="*/ 68 h 77"/>
                <a:gd name="T4" fmla="*/ 100 w 108"/>
                <a:gd name="T5" fmla="*/ 73 h 77"/>
                <a:gd name="T6" fmla="*/ 87 w 108"/>
                <a:gd name="T7" fmla="*/ 74 h 77"/>
                <a:gd name="T8" fmla="*/ 73 w 108"/>
                <a:gd name="T9" fmla="*/ 73 h 77"/>
                <a:gd name="T10" fmla="*/ 59 w 108"/>
                <a:gd name="T11" fmla="*/ 69 h 77"/>
                <a:gd name="T12" fmla="*/ 47 w 108"/>
                <a:gd name="T13" fmla="*/ 73 h 77"/>
                <a:gd name="T14" fmla="*/ 35 w 108"/>
                <a:gd name="T15" fmla="*/ 70 h 77"/>
                <a:gd name="T16" fmla="*/ 20 w 108"/>
                <a:gd name="T17" fmla="*/ 68 h 77"/>
                <a:gd name="T18" fmla="*/ 14 w 108"/>
                <a:gd name="T19" fmla="*/ 67 h 77"/>
                <a:gd name="T20" fmla="*/ 18 w 108"/>
                <a:gd name="T21" fmla="*/ 60 h 77"/>
                <a:gd name="T22" fmla="*/ 14 w 108"/>
                <a:gd name="T23" fmla="*/ 53 h 77"/>
                <a:gd name="T24" fmla="*/ 7 w 108"/>
                <a:gd name="T25" fmla="*/ 51 h 77"/>
                <a:gd name="T26" fmla="*/ 1 w 108"/>
                <a:gd name="T27" fmla="*/ 49 h 77"/>
                <a:gd name="T28" fmla="*/ 0 w 108"/>
                <a:gd name="T29" fmla="*/ 42 h 77"/>
                <a:gd name="T30" fmla="*/ 4 w 108"/>
                <a:gd name="T31" fmla="*/ 42 h 77"/>
                <a:gd name="T32" fmla="*/ 8 w 108"/>
                <a:gd name="T33" fmla="*/ 37 h 77"/>
                <a:gd name="T34" fmla="*/ 6 w 108"/>
                <a:gd name="T35" fmla="*/ 33 h 77"/>
                <a:gd name="T36" fmla="*/ 9 w 108"/>
                <a:gd name="T37" fmla="*/ 28 h 77"/>
                <a:gd name="T38" fmla="*/ 17 w 108"/>
                <a:gd name="T39" fmla="*/ 28 h 77"/>
                <a:gd name="T40" fmla="*/ 19 w 108"/>
                <a:gd name="T41" fmla="*/ 22 h 77"/>
                <a:gd name="T42" fmla="*/ 18 w 108"/>
                <a:gd name="T43" fmla="*/ 7 h 77"/>
                <a:gd name="T44" fmla="*/ 16 w 108"/>
                <a:gd name="T45" fmla="*/ 5 h 77"/>
                <a:gd name="T46" fmla="*/ 25 w 108"/>
                <a:gd name="T47" fmla="*/ 0 h 77"/>
                <a:gd name="T48" fmla="*/ 36 w 108"/>
                <a:gd name="T49" fmla="*/ 4 h 77"/>
                <a:gd name="T50" fmla="*/ 45 w 108"/>
                <a:gd name="T51" fmla="*/ 4 h 77"/>
                <a:gd name="T52" fmla="*/ 49 w 108"/>
                <a:gd name="T53" fmla="*/ 11 h 77"/>
                <a:gd name="T54" fmla="*/ 61 w 108"/>
                <a:gd name="T55" fmla="*/ 4 h 77"/>
                <a:gd name="T56" fmla="*/ 68 w 108"/>
                <a:gd name="T57" fmla="*/ 8 h 77"/>
                <a:gd name="T58" fmla="*/ 63 w 108"/>
                <a:gd name="T59" fmla="*/ 16 h 77"/>
                <a:gd name="T60" fmla="*/ 71 w 108"/>
                <a:gd name="T61" fmla="*/ 25 h 77"/>
                <a:gd name="T62" fmla="*/ 73 w 108"/>
                <a:gd name="T63" fmla="*/ 34 h 77"/>
                <a:gd name="T64" fmla="*/ 81 w 108"/>
                <a:gd name="T65" fmla="*/ 37 h 77"/>
                <a:gd name="T66" fmla="*/ 89 w 108"/>
                <a:gd name="T67" fmla="*/ 39 h 77"/>
                <a:gd name="T68" fmla="*/ 95 w 108"/>
                <a:gd name="T69" fmla="*/ 45 h 77"/>
                <a:gd name="T70" fmla="*/ 95 w 108"/>
                <a:gd name="T71" fmla="*/ 53 h 77"/>
                <a:gd name="T72" fmla="*/ 108 w 108"/>
                <a:gd name="T73" fmla="*/ 58 h 77"/>
                <a:gd name="T74" fmla="*/ 107 w 108"/>
                <a:gd name="T75" fmla="*/ 6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8" h="77">
                  <a:moveTo>
                    <a:pt x="107" y="68"/>
                  </a:moveTo>
                  <a:cubicBezTo>
                    <a:pt x="107" y="68"/>
                    <a:pt x="106" y="68"/>
                    <a:pt x="106" y="68"/>
                  </a:cubicBezTo>
                  <a:cubicBezTo>
                    <a:pt x="102" y="69"/>
                    <a:pt x="102" y="73"/>
                    <a:pt x="100" y="73"/>
                  </a:cubicBezTo>
                  <a:cubicBezTo>
                    <a:pt x="99" y="74"/>
                    <a:pt x="89" y="75"/>
                    <a:pt x="87" y="74"/>
                  </a:cubicBezTo>
                  <a:cubicBezTo>
                    <a:pt x="85" y="73"/>
                    <a:pt x="77" y="73"/>
                    <a:pt x="73" y="73"/>
                  </a:cubicBezTo>
                  <a:cubicBezTo>
                    <a:pt x="68" y="73"/>
                    <a:pt x="64" y="73"/>
                    <a:pt x="59" y="69"/>
                  </a:cubicBezTo>
                  <a:cubicBezTo>
                    <a:pt x="55" y="66"/>
                    <a:pt x="51" y="69"/>
                    <a:pt x="47" y="73"/>
                  </a:cubicBezTo>
                  <a:cubicBezTo>
                    <a:pt x="43" y="77"/>
                    <a:pt x="39" y="70"/>
                    <a:pt x="35" y="70"/>
                  </a:cubicBezTo>
                  <a:cubicBezTo>
                    <a:pt x="31" y="69"/>
                    <a:pt x="25" y="69"/>
                    <a:pt x="20" y="68"/>
                  </a:cubicBezTo>
                  <a:cubicBezTo>
                    <a:pt x="18" y="67"/>
                    <a:pt x="16" y="67"/>
                    <a:pt x="14" y="67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3" y="16"/>
                    <a:pt x="63" y="16"/>
                    <a:pt x="63" y="1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9" y="39"/>
                    <a:pt x="89" y="39"/>
                    <a:pt x="89" y="39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108" y="58"/>
                    <a:pt x="108" y="58"/>
                    <a:pt x="108" y="58"/>
                  </a:cubicBezTo>
                  <a:lnTo>
                    <a:pt x="107" y="68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2" name="Freeform 52"/>
            <p:cNvSpPr>
              <a:spLocks/>
            </p:cNvSpPr>
            <p:nvPr/>
          </p:nvSpPr>
          <p:spPr bwMode="auto">
            <a:xfrm>
              <a:off x="1735" y="3664"/>
              <a:ext cx="217" cy="252"/>
            </a:xfrm>
            <a:custGeom>
              <a:avLst/>
              <a:gdLst>
                <a:gd name="T0" fmla="*/ 89 w 104"/>
                <a:gd name="T1" fmla="*/ 83 h 121"/>
                <a:gd name="T2" fmla="*/ 64 w 104"/>
                <a:gd name="T3" fmla="*/ 75 h 121"/>
                <a:gd name="T4" fmla="*/ 59 w 104"/>
                <a:gd name="T5" fmla="*/ 88 h 121"/>
                <a:gd name="T6" fmla="*/ 66 w 104"/>
                <a:gd name="T7" fmla="*/ 102 h 121"/>
                <a:gd name="T8" fmla="*/ 54 w 104"/>
                <a:gd name="T9" fmla="*/ 102 h 121"/>
                <a:gd name="T10" fmla="*/ 42 w 104"/>
                <a:gd name="T11" fmla="*/ 118 h 121"/>
                <a:gd name="T12" fmla="*/ 22 w 104"/>
                <a:gd name="T13" fmla="*/ 120 h 121"/>
                <a:gd name="T14" fmla="*/ 22 w 104"/>
                <a:gd name="T15" fmla="*/ 116 h 121"/>
                <a:gd name="T16" fmla="*/ 23 w 104"/>
                <a:gd name="T17" fmla="*/ 106 h 121"/>
                <a:gd name="T18" fmla="*/ 10 w 104"/>
                <a:gd name="T19" fmla="*/ 106 h 121"/>
                <a:gd name="T20" fmla="*/ 4 w 104"/>
                <a:gd name="T21" fmla="*/ 99 h 121"/>
                <a:gd name="T22" fmla="*/ 12 w 104"/>
                <a:gd name="T23" fmla="*/ 85 h 121"/>
                <a:gd name="T24" fmla="*/ 15 w 104"/>
                <a:gd name="T25" fmla="*/ 81 h 121"/>
                <a:gd name="T26" fmla="*/ 21 w 104"/>
                <a:gd name="T27" fmla="*/ 68 h 121"/>
                <a:gd name="T28" fmla="*/ 31 w 104"/>
                <a:gd name="T29" fmla="*/ 58 h 121"/>
                <a:gd name="T30" fmla="*/ 39 w 104"/>
                <a:gd name="T31" fmla="*/ 61 h 121"/>
                <a:gd name="T32" fmla="*/ 45 w 104"/>
                <a:gd name="T33" fmla="*/ 56 h 121"/>
                <a:gd name="T34" fmla="*/ 40 w 104"/>
                <a:gd name="T35" fmla="*/ 46 h 121"/>
                <a:gd name="T36" fmla="*/ 31 w 104"/>
                <a:gd name="T37" fmla="*/ 47 h 121"/>
                <a:gd name="T38" fmla="*/ 20 w 104"/>
                <a:gd name="T39" fmla="*/ 45 h 121"/>
                <a:gd name="T40" fmla="*/ 16 w 104"/>
                <a:gd name="T41" fmla="*/ 31 h 121"/>
                <a:gd name="T42" fmla="*/ 16 w 104"/>
                <a:gd name="T43" fmla="*/ 17 h 121"/>
                <a:gd name="T44" fmla="*/ 28 w 104"/>
                <a:gd name="T45" fmla="*/ 19 h 121"/>
                <a:gd name="T46" fmla="*/ 34 w 104"/>
                <a:gd name="T47" fmla="*/ 29 h 121"/>
                <a:gd name="T48" fmla="*/ 44 w 104"/>
                <a:gd name="T49" fmla="*/ 26 h 121"/>
                <a:gd name="T50" fmla="*/ 54 w 104"/>
                <a:gd name="T51" fmla="*/ 18 h 121"/>
                <a:gd name="T52" fmla="*/ 58 w 104"/>
                <a:gd name="T53" fmla="*/ 1 h 121"/>
                <a:gd name="T54" fmla="*/ 68 w 104"/>
                <a:gd name="T55" fmla="*/ 6 h 121"/>
                <a:gd name="T56" fmla="*/ 87 w 104"/>
                <a:gd name="T57" fmla="*/ 17 h 121"/>
                <a:gd name="T58" fmla="*/ 103 w 104"/>
                <a:gd name="T59" fmla="*/ 23 h 121"/>
                <a:gd name="T60" fmla="*/ 102 w 104"/>
                <a:gd name="T61" fmla="*/ 44 h 121"/>
                <a:gd name="T62" fmla="*/ 91 w 104"/>
                <a:gd name="T63" fmla="*/ 49 h 121"/>
                <a:gd name="T64" fmla="*/ 89 w 104"/>
                <a:gd name="T65" fmla="*/ 58 h 121"/>
                <a:gd name="T66" fmla="*/ 86 w 104"/>
                <a:gd name="T67" fmla="*/ 65 h 121"/>
                <a:gd name="T68" fmla="*/ 99 w 104"/>
                <a:gd name="T69" fmla="*/ 69 h 121"/>
                <a:gd name="T70" fmla="*/ 99 w 104"/>
                <a:gd name="T71" fmla="*/ 8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4" h="121">
                  <a:moveTo>
                    <a:pt x="99" y="83"/>
                  </a:moveTo>
                  <a:cubicBezTo>
                    <a:pt x="95" y="83"/>
                    <a:pt x="92" y="83"/>
                    <a:pt x="89" y="83"/>
                  </a:cubicBezTo>
                  <a:cubicBezTo>
                    <a:pt x="85" y="83"/>
                    <a:pt x="84" y="83"/>
                    <a:pt x="79" y="80"/>
                  </a:cubicBezTo>
                  <a:cubicBezTo>
                    <a:pt x="75" y="76"/>
                    <a:pt x="65" y="74"/>
                    <a:pt x="64" y="75"/>
                  </a:cubicBezTo>
                  <a:cubicBezTo>
                    <a:pt x="63" y="76"/>
                    <a:pt x="62" y="78"/>
                    <a:pt x="59" y="81"/>
                  </a:cubicBezTo>
                  <a:cubicBezTo>
                    <a:pt x="56" y="85"/>
                    <a:pt x="58" y="86"/>
                    <a:pt x="59" y="88"/>
                  </a:cubicBezTo>
                  <a:cubicBezTo>
                    <a:pt x="60" y="90"/>
                    <a:pt x="58" y="90"/>
                    <a:pt x="56" y="93"/>
                  </a:cubicBezTo>
                  <a:cubicBezTo>
                    <a:pt x="54" y="95"/>
                    <a:pt x="59" y="97"/>
                    <a:pt x="66" y="102"/>
                  </a:cubicBezTo>
                  <a:cubicBezTo>
                    <a:pt x="73" y="108"/>
                    <a:pt x="68" y="108"/>
                    <a:pt x="65" y="109"/>
                  </a:cubicBezTo>
                  <a:cubicBezTo>
                    <a:pt x="62" y="110"/>
                    <a:pt x="57" y="105"/>
                    <a:pt x="54" y="102"/>
                  </a:cubicBezTo>
                  <a:cubicBezTo>
                    <a:pt x="51" y="99"/>
                    <a:pt x="47" y="103"/>
                    <a:pt x="43" y="105"/>
                  </a:cubicBezTo>
                  <a:cubicBezTo>
                    <a:pt x="39" y="108"/>
                    <a:pt x="41" y="115"/>
                    <a:pt x="42" y="118"/>
                  </a:cubicBezTo>
                  <a:cubicBezTo>
                    <a:pt x="42" y="121"/>
                    <a:pt x="41" y="120"/>
                    <a:pt x="35" y="120"/>
                  </a:cubicBezTo>
                  <a:cubicBezTo>
                    <a:pt x="30" y="120"/>
                    <a:pt x="25" y="118"/>
                    <a:pt x="22" y="120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5" y="110"/>
                    <a:pt x="25" y="110"/>
                    <a:pt x="25" y="110"/>
                  </a:cubicBezTo>
                  <a:cubicBezTo>
                    <a:pt x="23" y="106"/>
                    <a:pt x="23" y="106"/>
                    <a:pt x="23" y="106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4" y="100"/>
                    <a:pt x="4" y="99"/>
                  </a:cubicBezTo>
                  <a:cubicBezTo>
                    <a:pt x="5" y="99"/>
                    <a:pt x="9" y="93"/>
                    <a:pt x="9" y="93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26" y="47"/>
                    <a:pt x="26" y="47"/>
                    <a:pt x="26" y="47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4" y="18"/>
                    <a:pt x="54" y="18"/>
                  </a:cubicBezTo>
                  <a:cubicBezTo>
                    <a:pt x="55" y="17"/>
                    <a:pt x="58" y="11"/>
                    <a:pt x="58" y="1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87" y="17"/>
                    <a:pt x="87" y="17"/>
                    <a:pt x="87" y="17"/>
                  </a:cubicBezTo>
                  <a:cubicBezTo>
                    <a:pt x="92" y="12"/>
                    <a:pt x="92" y="12"/>
                    <a:pt x="92" y="12"/>
                  </a:cubicBezTo>
                  <a:cubicBezTo>
                    <a:pt x="103" y="23"/>
                    <a:pt x="103" y="23"/>
                    <a:pt x="103" y="23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94" y="44"/>
                    <a:pt x="94" y="44"/>
                    <a:pt x="94" y="44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103" y="76"/>
                    <a:pt x="103" y="76"/>
                    <a:pt x="103" y="76"/>
                  </a:cubicBezTo>
                  <a:lnTo>
                    <a:pt x="99" y="83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3" name="Freeform 53"/>
            <p:cNvSpPr>
              <a:spLocks/>
            </p:cNvSpPr>
            <p:nvPr/>
          </p:nvSpPr>
          <p:spPr bwMode="auto">
            <a:xfrm>
              <a:off x="1802" y="3355"/>
              <a:ext cx="315" cy="365"/>
            </a:xfrm>
            <a:custGeom>
              <a:avLst/>
              <a:gdLst>
                <a:gd name="T0" fmla="*/ 225 w 315"/>
                <a:gd name="T1" fmla="*/ 9 h 365"/>
                <a:gd name="T2" fmla="*/ 261 w 315"/>
                <a:gd name="T3" fmla="*/ 50 h 365"/>
                <a:gd name="T4" fmla="*/ 279 w 315"/>
                <a:gd name="T5" fmla="*/ 77 h 365"/>
                <a:gd name="T6" fmla="*/ 273 w 315"/>
                <a:gd name="T7" fmla="*/ 109 h 365"/>
                <a:gd name="T8" fmla="*/ 271 w 315"/>
                <a:gd name="T9" fmla="*/ 146 h 365"/>
                <a:gd name="T10" fmla="*/ 279 w 315"/>
                <a:gd name="T11" fmla="*/ 171 h 365"/>
                <a:gd name="T12" fmla="*/ 275 w 315"/>
                <a:gd name="T13" fmla="*/ 196 h 365"/>
                <a:gd name="T14" fmla="*/ 296 w 315"/>
                <a:gd name="T15" fmla="*/ 223 h 365"/>
                <a:gd name="T16" fmla="*/ 306 w 315"/>
                <a:gd name="T17" fmla="*/ 242 h 365"/>
                <a:gd name="T18" fmla="*/ 315 w 315"/>
                <a:gd name="T19" fmla="*/ 265 h 365"/>
                <a:gd name="T20" fmla="*/ 315 w 315"/>
                <a:gd name="T21" fmla="*/ 300 h 365"/>
                <a:gd name="T22" fmla="*/ 288 w 315"/>
                <a:gd name="T23" fmla="*/ 302 h 365"/>
                <a:gd name="T24" fmla="*/ 271 w 315"/>
                <a:gd name="T25" fmla="*/ 307 h 365"/>
                <a:gd name="T26" fmla="*/ 261 w 315"/>
                <a:gd name="T27" fmla="*/ 327 h 365"/>
                <a:gd name="T28" fmla="*/ 252 w 315"/>
                <a:gd name="T29" fmla="*/ 359 h 365"/>
                <a:gd name="T30" fmla="*/ 213 w 315"/>
                <a:gd name="T31" fmla="*/ 365 h 365"/>
                <a:gd name="T32" fmla="*/ 186 w 315"/>
                <a:gd name="T33" fmla="*/ 350 h 365"/>
                <a:gd name="T34" fmla="*/ 144 w 315"/>
                <a:gd name="T35" fmla="*/ 352 h 365"/>
                <a:gd name="T36" fmla="*/ 115 w 315"/>
                <a:gd name="T37" fmla="*/ 344 h 365"/>
                <a:gd name="T38" fmla="*/ 75 w 315"/>
                <a:gd name="T39" fmla="*/ 321 h 365"/>
                <a:gd name="T40" fmla="*/ 54 w 315"/>
                <a:gd name="T41" fmla="*/ 311 h 365"/>
                <a:gd name="T42" fmla="*/ 36 w 315"/>
                <a:gd name="T43" fmla="*/ 309 h 365"/>
                <a:gd name="T44" fmla="*/ 0 w 315"/>
                <a:gd name="T45" fmla="*/ 284 h 365"/>
                <a:gd name="T46" fmla="*/ 19 w 315"/>
                <a:gd name="T47" fmla="*/ 248 h 365"/>
                <a:gd name="T48" fmla="*/ 50 w 315"/>
                <a:gd name="T49" fmla="*/ 244 h 365"/>
                <a:gd name="T50" fmla="*/ 67 w 315"/>
                <a:gd name="T51" fmla="*/ 221 h 365"/>
                <a:gd name="T52" fmla="*/ 92 w 315"/>
                <a:gd name="T53" fmla="*/ 221 h 365"/>
                <a:gd name="T54" fmla="*/ 98 w 315"/>
                <a:gd name="T55" fmla="*/ 200 h 365"/>
                <a:gd name="T56" fmla="*/ 127 w 315"/>
                <a:gd name="T57" fmla="*/ 186 h 365"/>
                <a:gd name="T58" fmla="*/ 129 w 315"/>
                <a:gd name="T59" fmla="*/ 161 h 365"/>
                <a:gd name="T60" fmla="*/ 121 w 315"/>
                <a:gd name="T61" fmla="*/ 136 h 365"/>
                <a:gd name="T62" fmla="*/ 131 w 315"/>
                <a:gd name="T63" fmla="*/ 107 h 365"/>
                <a:gd name="T64" fmla="*/ 177 w 315"/>
                <a:gd name="T65" fmla="*/ 67 h 365"/>
                <a:gd name="T66" fmla="*/ 188 w 315"/>
                <a:gd name="T67" fmla="*/ 36 h 365"/>
                <a:gd name="T68" fmla="*/ 200 w 315"/>
                <a:gd name="T69" fmla="*/ 15 h 365"/>
                <a:gd name="T70" fmla="*/ 213 w 315"/>
                <a:gd name="T71" fmla="*/ 0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5" h="365">
                  <a:moveTo>
                    <a:pt x="213" y="0"/>
                  </a:moveTo>
                  <a:lnTo>
                    <a:pt x="225" y="9"/>
                  </a:lnTo>
                  <a:lnTo>
                    <a:pt x="223" y="19"/>
                  </a:lnTo>
                  <a:lnTo>
                    <a:pt x="261" y="50"/>
                  </a:lnTo>
                  <a:lnTo>
                    <a:pt x="267" y="67"/>
                  </a:lnTo>
                  <a:lnTo>
                    <a:pt x="279" y="77"/>
                  </a:lnTo>
                  <a:lnTo>
                    <a:pt x="279" y="98"/>
                  </a:lnTo>
                  <a:lnTo>
                    <a:pt x="273" y="109"/>
                  </a:lnTo>
                  <a:lnTo>
                    <a:pt x="273" y="129"/>
                  </a:lnTo>
                  <a:lnTo>
                    <a:pt x="271" y="146"/>
                  </a:lnTo>
                  <a:lnTo>
                    <a:pt x="281" y="161"/>
                  </a:lnTo>
                  <a:lnTo>
                    <a:pt x="279" y="171"/>
                  </a:lnTo>
                  <a:lnTo>
                    <a:pt x="271" y="182"/>
                  </a:lnTo>
                  <a:lnTo>
                    <a:pt x="275" y="196"/>
                  </a:lnTo>
                  <a:lnTo>
                    <a:pt x="292" y="202"/>
                  </a:lnTo>
                  <a:lnTo>
                    <a:pt x="296" y="223"/>
                  </a:lnTo>
                  <a:lnTo>
                    <a:pt x="309" y="227"/>
                  </a:lnTo>
                  <a:lnTo>
                    <a:pt x="306" y="242"/>
                  </a:lnTo>
                  <a:lnTo>
                    <a:pt x="309" y="259"/>
                  </a:lnTo>
                  <a:lnTo>
                    <a:pt x="315" y="265"/>
                  </a:lnTo>
                  <a:lnTo>
                    <a:pt x="311" y="288"/>
                  </a:lnTo>
                  <a:lnTo>
                    <a:pt x="315" y="300"/>
                  </a:lnTo>
                  <a:lnTo>
                    <a:pt x="300" y="309"/>
                  </a:lnTo>
                  <a:lnTo>
                    <a:pt x="288" y="302"/>
                  </a:lnTo>
                  <a:lnTo>
                    <a:pt x="284" y="311"/>
                  </a:lnTo>
                  <a:lnTo>
                    <a:pt x="271" y="307"/>
                  </a:lnTo>
                  <a:lnTo>
                    <a:pt x="261" y="317"/>
                  </a:lnTo>
                  <a:lnTo>
                    <a:pt x="261" y="327"/>
                  </a:lnTo>
                  <a:lnTo>
                    <a:pt x="256" y="342"/>
                  </a:lnTo>
                  <a:lnTo>
                    <a:pt x="252" y="359"/>
                  </a:lnTo>
                  <a:lnTo>
                    <a:pt x="238" y="350"/>
                  </a:lnTo>
                  <a:lnTo>
                    <a:pt x="213" y="365"/>
                  </a:lnTo>
                  <a:lnTo>
                    <a:pt x="204" y="350"/>
                  </a:lnTo>
                  <a:lnTo>
                    <a:pt x="186" y="350"/>
                  </a:lnTo>
                  <a:lnTo>
                    <a:pt x="163" y="342"/>
                  </a:lnTo>
                  <a:lnTo>
                    <a:pt x="144" y="352"/>
                  </a:lnTo>
                  <a:lnTo>
                    <a:pt x="125" y="334"/>
                  </a:lnTo>
                  <a:lnTo>
                    <a:pt x="115" y="344"/>
                  </a:lnTo>
                  <a:lnTo>
                    <a:pt x="96" y="332"/>
                  </a:lnTo>
                  <a:lnTo>
                    <a:pt x="75" y="321"/>
                  </a:lnTo>
                  <a:lnTo>
                    <a:pt x="65" y="309"/>
                  </a:lnTo>
                  <a:lnTo>
                    <a:pt x="54" y="311"/>
                  </a:lnTo>
                  <a:lnTo>
                    <a:pt x="42" y="323"/>
                  </a:lnTo>
                  <a:lnTo>
                    <a:pt x="36" y="309"/>
                  </a:lnTo>
                  <a:lnTo>
                    <a:pt x="21" y="307"/>
                  </a:lnTo>
                  <a:lnTo>
                    <a:pt x="0" y="284"/>
                  </a:lnTo>
                  <a:lnTo>
                    <a:pt x="15" y="267"/>
                  </a:lnTo>
                  <a:lnTo>
                    <a:pt x="19" y="248"/>
                  </a:lnTo>
                  <a:lnTo>
                    <a:pt x="40" y="250"/>
                  </a:lnTo>
                  <a:lnTo>
                    <a:pt x="50" y="244"/>
                  </a:lnTo>
                  <a:lnTo>
                    <a:pt x="56" y="225"/>
                  </a:lnTo>
                  <a:lnTo>
                    <a:pt x="67" y="221"/>
                  </a:lnTo>
                  <a:lnTo>
                    <a:pt x="79" y="232"/>
                  </a:lnTo>
                  <a:lnTo>
                    <a:pt x="92" y="221"/>
                  </a:lnTo>
                  <a:lnTo>
                    <a:pt x="83" y="209"/>
                  </a:lnTo>
                  <a:lnTo>
                    <a:pt x="98" y="200"/>
                  </a:lnTo>
                  <a:lnTo>
                    <a:pt x="113" y="200"/>
                  </a:lnTo>
                  <a:lnTo>
                    <a:pt x="127" y="186"/>
                  </a:lnTo>
                  <a:lnTo>
                    <a:pt x="117" y="173"/>
                  </a:lnTo>
                  <a:lnTo>
                    <a:pt x="129" y="161"/>
                  </a:lnTo>
                  <a:lnTo>
                    <a:pt x="129" y="146"/>
                  </a:lnTo>
                  <a:lnTo>
                    <a:pt x="121" y="136"/>
                  </a:lnTo>
                  <a:lnTo>
                    <a:pt x="123" y="119"/>
                  </a:lnTo>
                  <a:lnTo>
                    <a:pt x="131" y="107"/>
                  </a:lnTo>
                  <a:lnTo>
                    <a:pt x="150" y="107"/>
                  </a:lnTo>
                  <a:lnTo>
                    <a:pt x="177" y="67"/>
                  </a:lnTo>
                  <a:lnTo>
                    <a:pt x="188" y="54"/>
                  </a:lnTo>
                  <a:lnTo>
                    <a:pt x="188" y="36"/>
                  </a:lnTo>
                  <a:lnTo>
                    <a:pt x="202" y="29"/>
                  </a:lnTo>
                  <a:lnTo>
                    <a:pt x="200" y="15"/>
                  </a:lnTo>
                  <a:lnTo>
                    <a:pt x="208" y="4"/>
                  </a:lnTo>
                  <a:lnTo>
                    <a:pt x="213" y="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4" name="Freeform 54"/>
            <p:cNvSpPr>
              <a:spLocks/>
            </p:cNvSpPr>
            <p:nvPr/>
          </p:nvSpPr>
          <p:spPr bwMode="auto">
            <a:xfrm>
              <a:off x="2398" y="3584"/>
              <a:ext cx="456" cy="334"/>
            </a:xfrm>
            <a:custGeom>
              <a:avLst/>
              <a:gdLst>
                <a:gd name="T0" fmla="*/ 31 w 456"/>
                <a:gd name="T1" fmla="*/ 207 h 334"/>
                <a:gd name="T2" fmla="*/ 69 w 456"/>
                <a:gd name="T3" fmla="*/ 219 h 334"/>
                <a:gd name="T4" fmla="*/ 146 w 456"/>
                <a:gd name="T5" fmla="*/ 278 h 334"/>
                <a:gd name="T6" fmla="*/ 192 w 456"/>
                <a:gd name="T7" fmla="*/ 292 h 334"/>
                <a:gd name="T8" fmla="*/ 231 w 456"/>
                <a:gd name="T9" fmla="*/ 278 h 334"/>
                <a:gd name="T10" fmla="*/ 244 w 456"/>
                <a:gd name="T11" fmla="*/ 313 h 334"/>
                <a:gd name="T12" fmla="*/ 244 w 456"/>
                <a:gd name="T13" fmla="*/ 326 h 334"/>
                <a:gd name="T14" fmla="*/ 269 w 456"/>
                <a:gd name="T15" fmla="*/ 313 h 334"/>
                <a:gd name="T16" fmla="*/ 300 w 456"/>
                <a:gd name="T17" fmla="*/ 307 h 334"/>
                <a:gd name="T18" fmla="*/ 352 w 456"/>
                <a:gd name="T19" fmla="*/ 290 h 334"/>
                <a:gd name="T20" fmla="*/ 377 w 456"/>
                <a:gd name="T21" fmla="*/ 294 h 334"/>
                <a:gd name="T22" fmla="*/ 398 w 456"/>
                <a:gd name="T23" fmla="*/ 290 h 334"/>
                <a:gd name="T24" fmla="*/ 427 w 456"/>
                <a:gd name="T25" fmla="*/ 271 h 334"/>
                <a:gd name="T26" fmla="*/ 442 w 456"/>
                <a:gd name="T27" fmla="*/ 232 h 334"/>
                <a:gd name="T28" fmla="*/ 452 w 456"/>
                <a:gd name="T29" fmla="*/ 213 h 334"/>
                <a:gd name="T30" fmla="*/ 421 w 456"/>
                <a:gd name="T31" fmla="*/ 205 h 334"/>
                <a:gd name="T32" fmla="*/ 411 w 456"/>
                <a:gd name="T33" fmla="*/ 171 h 334"/>
                <a:gd name="T34" fmla="*/ 429 w 456"/>
                <a:gd name="T35" fmla="*/ 128 h 334"/>
                <a:gd name="T36" fmla="*/ 406 w 456"/>
                <a:gd name="T37" fmla="*/ 111 h 334"/>
                <a:gd name="T38" fmla="*/ 338 w 456"/>
                <a:gd name="T39" fmla="*/ 82 h 334"/>
                <a:gd name="T40" fmla="*/ 313 w 456"/>
                <a:gd name="T41" fmla="*/ 82 h 334"/>
                <a:gd name="T42" fmla="*/ 319 w 456"/>
                <a:gd name="T43" fmla="*/ 55 h 334"/>
                <a:gd name="T44" fmla="*/ 275 w 456"/>
                <a:gd name="T45" fmla="*/ 7 h 334"/>
                <a:gd name="T46" fmla="*/ 244 w 456"/>
                <a:gd name="T47" fmla="*/ 36 h 334"/>
                <a:gd name="T48" fmla="*/ 213 w 456"/>
                <a:gd name="T49" fmla="*/ 28 h 334"/>
                <a:gd name="T50" fmla="*/ 181 w 456"/>
                <a:gd name="T51" fmla="*/ 17 h 334"/>
                <a:gd name="T52" fmla="*/ 150 w 456"/>
                <a:gd name="T53" fmla="*/ 7 h 334"/>
                <a:gd name="T54" fmla="*/ 113 w 456"/>
                <a:gd name="T55" fmla="*/ 0 h 334"/>
                <a:gd name="T56" fmla="*/ 71 w 456"/>
                <a:gd name="T57" fmla="*/ 40 h 334"/>
                <a:gd name="T58" fmla="*/ 52 w 456"/>
                <a:gd name="T59" fmla="*/ 67 h 334"/>
                <a:gd name="T60" fmla="*/ 27 w 456"/>
                <a:gd name="T61" fmla="*/ 96 h 334"/>
                <a:gd name="T62" fmla="*/ 2 w 456"/>
                <a:gd name="T63" fmla="*/ 115 h 334"/>
                <a:gd name="T64" fmla="*/ 0 w 456"/>
                <a:gd name="T65" fmla="*/ 151 h 334"/>
                <a:gd name="T66" fmla="*/ 8 w 456"/>
                <a:gd name="T67" fmla="*/ 173 h 334"/>
                <a:gd name="T68" fmla="*/ 19 w 456"/>
                <a:gd name="T69" fmla="*/ 20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6" h="334">
                  <a:moveTo>
                    <a:pt x="19" y="205"/>
                  </a:moveTo>
                  <a:lnTo>
                    <a:pt x="31" y="207"/>
                  </a:lnTo>
                  <a:lnTo>
                    <a:pt x="44" y="219"/>
                  </a:lnTo>
                  <a:lnTo>
                    <a:pt x="69" y="219"/>
                  </a:lnTo>
                  <a:lnTo>
                    <a:pt x="111" y="234"/>
                  </a:lnTo>
                  <a:lnTo>
                    <a:pt x="146" y="278"/>
                  </a:lnTo>
                  <a:lnTo>
                    <a:pt x="177" y="278"/>
                  </a:lnTo>
                  <a:lnTo>
                    <a:pt x="192" y="292"/>
                  </a:lnTo>
                  <a:lnTo>
                    <a:pt x="221" y="290"/>
                  </a:lnTo>
                  <a:lnTo>
                    <a:pt x="231" y="278"/>
                  </a:lnTo>
                  <a:lnTo>
                    <a:pt x="246" y="284"/>
                  </a:lnTo>
                  <a:lnTo>
                    <a:pt x="244" y="313"/>
                  </a:lnTo>
                  <a:lnTo>
                    <a:pt x="248" y="319"/>
                  </a:lnTo>
                  <a:lnTo>
                    <a:pt x="244" y="326"/>
                  </a:lnTo>
                  <a:lnTo>
                    <a:pt x="250" y="334"/>
                  </a:lnTo>
                  <a:lnTo>
                    <a:pt x="269" y="313"/>
                  </a:lnTo>
                  <a:lnTo>
                    <a:pt x="288" y="317"/>
                  </a:lnTo>
                  <a:lnTo>
                    <a:pt x="300" y="307"/>
                  </a:lnTo>
                  <a:lnTo>
                    <a:pt x="327" y="309"/>
                  </a:lnTo>
                  <a:lnTo>
                    <a:pt x="352" y="290"/>
                  </a:lnTo>
                  <a:lnTo>
                    <a:pt x="373" y="290"/>
                  </a:lnTo>
                  <a:lnTo>
                    <a:pt x="377" y="294"/>
                  </a:lnTo>
                  <a:lnTo>
                    <a:pt x="390" y="284"/>
                  </a:lnTo>
                  <a:lnTo>
                    <a:pt x="398" y="290"/>
                  </a:lnTo>
                  <a:lnTo>
                    <a:pt x="423" y="271"/>
                  </a:lnTo>
                  <a:lnTo>
                    <a:pt x="427" y="271"/>
                  </a:lnTo>
                  <a:lnTo>
                    <a:pt x="431" y="248"/>
                  </a:lnTo>
                  <a:lnTo>
                    <a:pt x="442" y="232"/>
                  </a:lnTo>
                  <a:lnTo>
                    <a:pt x="456" y="228"/>
                  </a:lnTo>
                  <a:lnTo>
                    <a:pt x="452" y="213"/>
                  </a:lnTo>
                  <a:lnTo>
                    <a:pt x="440" y="205"/>
                  </a:lnTo>
                  <a:lnTo>
                    <a:pt x="421" y="205"/>
                  </a:lnTo>
                  <a:lnTo>
                    <a:pt x="417" y="194"/>
                  </a:lnTo>
                  <a:lnTo>
                    <a:pt x="411" y="171"/>
                  </a:lnTo>
                  <a:lnTo>
                    <a:pt x="438" y="136"/>
                  </a:lnTo>
                  <a:lnTo>
                    <a:pt x="429" y="128"/>
                  </a:lnTo>
                  <a:lnTo>
                    <a:pt x="409" y="128"/>
                  </a:lnTo>
                  <a:lnTo>
                    <a:pt x="406" y="111"/>
                  </a:lnTo>
                  <a:lnTo>
                    <a:pt x="381" y="80"/>
                  </a:lnTo>
                  <a:lnTo>
                    <a:pt x="338" y="82"/>
                  </a:lnTo>
                  <a:lnTo>
                    <a:pt x="327" y="86"/>
                  </a:lnTo>
                  <a:lnTo>
                    <a:pt x="313" y="82"/>
                  </a:lnTo>
                  <a:lnTo>
                    <a:pt x="306" y="67"/>
                  </a:lnTo>
                  <a:lnTo>
                    <a:pt x="319" y="55"/>
                  </a:lnTo>
                  <a:lnTo>
                    <a:pt x="304" y="23"/>
                  </a:lnTo>
                  <a:lnTo>
                    <a:pt x="275" y="7"/>
                  </a:lnTo>
                  <a:lnTo>
                    <a:pt x="248" y="21"/>
                  </a:lnTo>
                  <a:lnTo>
                    <a:pt x="244" y="36"/>
                  </a:lnTo>
                  <a:lnTo>
                    <a:pt x="225" y="23"/>
                  </a:lnTo>
                  <a:lnTo>
                    <a:pt x="213" y="28"/>
                  </a:lnTo>
                  <a:lnTo>
                    <a:pt x="196" y="11"/>
                  </a:lnTo>
                  <a:lnTo>
                    <a:pt x="181" y="17"/>
                  </a:lnTo>
                  <a:lnTo>
                    <a:pt x="156" y="15"/>
                  </a:lnTo>
                  <a:lnTo>
                    <a:pt x="150" y="7"/>
                  </a:lnTo>
                  <a:lnTo>
                    <a:pt x="125" y="7"/>
                  </a:lnTo>
                  <a:lnTo>
                    <a:pt x="113" y="0"/>
                  </a:lnTo>
                  <a:lnTo>
                    <a:pt x="86" y="5"/>
                  </a:lnTo>
                  <a:lnTo>
                    <a:pt x="71" y="40"/>
                  </a:lnTo>
                  <a:lnTo>
                    <a:pt x="71" y="63"/>
                  </a:lnTo>
                  <a:lnTo>
                    <a:pt x="52" y="67"/>
                  </a:lnTo>
                  <a:lnTo>
                    <a:pt x="29" y="84"/>
                  </a:lnTo>
                  <a:lnTo>
                    <a:pt x="27" y="96"/>
                  </a:lnTo>
                  <a:lnTo>
                    <a:pt x="6" y="113"/>
                  </a:lnTo>
                  <a:lnTo>
                    <a:pt x="2" y="115"/>
                  </a:lnTo>
                  <a:lnTo>
                    <a:pt x="0" y="134"/>
                  </a:lnTo>
                  <a:lnTo>
                    <a:pt x="0" y="151"/>
                  </a:lnTo>
                  <a:lnTo>
                    <a:pt x="8" y="155"/>
                  </a:lnTo>
                  <a:lnTo>
                    <a:pt x="8" y="173"/>
                  </a:lnTo>
                  <a:lnTo>
                    <a:pt x="19" y="198"/>
                  </a:lnTo>
                  <a:lnTo>
                    <a:pt x="19" y="205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5" name="Freeform 55"/>
            <p:cNvSpPr>
              <a:spLocks/>
            </p:cNvSpPr>
            <p:nvPr/>
          </p:nvSpPr>
          <p:spPr bwMode="auto">
            <a:xfrm>
              <a:off x="3073" y="3349"/>
              <a:ext cx="715" cy="802"/>
            </a:xfrm>
            <a:custGeom>
              <a:avLst/>
              <a:gdLst>
                <a:gd name="T0" fmla="*/ 130 w 343"/>
                <a:gd name="T1" fmla="*/ 6 h 385"/>
                <a:gd name="T2" fmla="*/ 122 w 343"/>
                <a:gd name="T3" fmla="*/ 28 h 385"/>
                <a:gd name="T4" fmla="*/ 130 w 343"/>
                <a:gd name="T5" fmla="*/ 52 h 385"/>
                <a:gd name="T6" fmla="*/ 125 w 343"/>
                <a:gd name="T7" fmla="*/ 69 h 385"/>
                <a:gd name="T8" fmla="*/ 112 w 343"/>
                <a:gd name="T9" fmla="*/ 91 h 385"/>
                <a:gd name="T10" fmla="*/ 121 w 343"/>
                <a:gd name="T11" fmla="*/ 120 h 385"/>
                <a:gd name="T12" fmla="*/ 126 w 343"/>
                <a:gd name="T13" fmla="*/ 134 h 385"/>
                <a:gd name="T14" fmla="*/ 135 w 343"/>
                <a:gd name="T15" fmla="*/ 155 h 385"/>
                <a:gd name="T16" fmla="*/ 117 w 343"/>
                <a:gd name="T17" fmla="*/ 166 h 385"/>
                <a:gd name="T18" fmla="*/ 101 w 343"/>
                <a:gd name="T19" fmla="*/ 156 h 385"/>
                <a:gd name="T20" fmla="*/ 93 w 343"/>
                <a:gd name="T21" fmla="*/ 172 h 385"/>
                <a:gd name="T22" fmla="*/ 76 w 343"/>
                <a:gd name="T23" fmla="*/ 211 h 385"/>
                <a:gd name="T24" fmla="*/ 61 w 343"/>
                <a:gd name="T25" fmla="*/ 202 h 385"/>
                <a:gd name="T26" fmla="*/ 47 w 343"/>
                <a:gd name="T27" fmla="*/ 209 h 385"/>
                <a:gd name="T28" fmla="*/ 28 w 343"/>
                <a:gd name="T29" fmla="*/ 221 h 385"/>
                <a:gd name="T30" fmla="*/ 30 w 343"/>
                <a:gd name="T31" fmla="*/ 240 h 385"/>
                <a:gd name="T32" fmla="*/ 21 w 343"/>
                <a:gd name="T33" fmla="*/ 260 h 385"/>
                <a:gd name="T34" fmla="*/ 19 w 343"/>
                <a:gd name="T35" fmla="*/ 279 h 385"/>
                <a:gd name="T36" fmla="*/ 16 w 343"/>
                <a:gd name="T37" fmla="*/ 301 h 385"/>
                <a:gd name="T38" fmla="*/ 4 w 343"/>
                <a:gd name="T39" fmla="*/ 310 h 385"/>
                <a:gd name="T40" fmla="*/ 21 w 343"/>
                <a:gd name="T41" fmla="*/ 331 h 385"/>
                <a:gd name="T42" fmla="*/ 50 w 343"/>
                <a:gd name="T43" fmla="*/ 343 h 385"/>
                <a:gd name="T44" fmla="*/ 81 w 343"/>
                <a:gd name="T45" fmla="*/ 335 h 385"/>
                <a:gd name="T46" fmla="*/ 94 w 343"/>
                <a:gd name="T47" fmla="*/ 348 h 385"/>
                <a:gd name="T48" fmla="*/ 125 w 343"/>
                <a:gd name="T49" fmla="*/ 359 h 385"/>
                <a:gd name="T50" fmla="*/ 146 w 343"/>
                <a:gd name="T51" fmla="*/ 378 h 385"/>
                <a:gd name="T52" fmla="*/ 165 w 343"/>
                <a:gd name="T53" fmla="*/ 380 h 385"/>
                <a:gd name="T54" fmla="*/ 188 w 343"/>
                <a:gd name="T55" fmla="*/ 351 h 385"/>
                <a:gd name="T56" fmla="*/ 219 w 343"/>
                <a:gd name="T57" fmla="*/ 286 h 385"/>
                <a:gd name="T58" fmla="*/ 210 w 343"/>
                <a:gd name="T59" fmla="*/ 235 h 385"/>
                <a:gd name="T60" fmla="*/ 204 w 343"/>
                <a:gd name="T61" fmla="*/ 208 h 385"/>
                <a:gd name="T62" fmla="*/ 220 w 343"/>
                <a:gd name="T63" fmla="*/ 196 h 385"/>
                <a:gd name="T64" fmla="*/ 240 w 343"/>
                <a:gd name="T65" fmla="*/ 194 h 385"/>
                <a:gd name="T66" fmla="*/ 246 w 343"/>
                <a:gd name="T67" fmla="*/ 189 h 385"/>
                <a:gd name="T68" fmla="*/ 264 w 343"/>
                <a:gd name="T69" fmla="*/ 189 h 385"/>
                <a:gd name="T70" fmla="*/ 284 w 343"/>
                <a:gd name="T71" fmla="*/ 188 h 385"/>
                <a:gd name="T72" fmla="*/ 294 w 343"/>
                <a:gd name="T73" fmla="*/ 170 h 385"/>
                <a:gd name="T74" fmla="*/ 315 w 343"/>
                <a:gd name="T75" fmla="*/ 161 h 385"/>
                <a:gd name="T76" fmla="*/ 319 w 343"/>
                <a:gd name="T77" fmla="*/ 165 h 385"/>
                <a:gd name="T78" fmla="*/ 337 w 343"/>
                <a:gd name="T79" fmla="*/ 152 h 385"/>
                <a:gd name="T80" fmla="*/ 318 w 343"/>
                <a:gd name="T81" fmla="*/ 136 h 385"/>
                <a:gd name="T82" fmla="*/ 320 w 343"/>
                <a:gd name="T83" fmla="*/ 126 h 385"/>
                <a:gd name="T84" fmla="*/ 331 w 343"/>
                <a:gd name="T85" fmla="*/ 116 h 385"/>
                <a:gd name="T86" fmla="*/ 343 w 343"/>
                <a:gd name="T87" fmla="*/ 109 h 385"/>
                <a:gd name="T88" fmla="*/ 326 w 343"/>
                <a:gd name="T89" fmla="*/ 93 h 385"/>
                <a:gd name="T90" fmla="*/ 312 w 343"/>
                <a:gd name="T91" fmla="*/ 81 h 385"/>
                <a:gd name="T92" fmla="*/ 298 w 343"/>
                <a:gd name="T93" fmla="*/ 82 h 385"/>
                <a:gd name="T94" fmla="*/ 282 w 343"/>
                <a:gd name="T95" fmla="*/ 70 h 385"/>
                <a:gd name="T96" fmla="*/ 260 w 343"/>
                <a:gd name="T97" fmla="*/ 82 h 385"/>
                <a:gd name="T98" fmla="*/ 255 w 343"/>
                <a:gd name="T99" fmla="*/ 98 h 385"/>
                <a:gd name="T100" fmla="*/ 242 w 343"/>
                <a:gd name="T101" fmla="*/ 123 h 385"/>
                <a:gd name="T102" fmla="*/ 237 w 343"/>
                <a:gd name="T103" fmla="*/ 120 h 385"/>
                <a:gd name="T104" fmla="*/ 224 w 343"/>
                <a:gd name="T105" fmla="*/ 124 h 385"/>
                <a:gd name="T106" fmla="*/ 199 w 343"/>
                <a:gd name="T107" fmla="*/ 139 h 385"/>
                <a:gd name="T108" fmla="*/ 191 w 343"/>
                <a:gd name="T109" fmla="*/ 91 h 385"/>
                <a:gd name="T110" fmla="*/ 181 w 343"/>
                <a:gd name="T111" fmla="*/ 68 h 385"/>
                <a:gd name="T112" fmla="*/ 175 w 343"/>
                <a:gd name="T113" fmla="*/ 56 h 385"/>
                <a:gd name="T114" fmla="*/ 173 w 343"/>
                <a:gd name="T115" fmla="*/ 44 h 385"/>
                <a:gd name="T116" fmla="*/ 163 w 343"/>
                <a:gd name="T117" fmla="*/ 28 h 385"/>
                <a:gd name="T118" fmla="*/ 144 w 343"/>
                <a:gd name="T119" fmla="*/ 16 h 385"/>
                <a:gd name="T120" fmla="*/ 143 w 343"/>
                <a:gd name="T121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3" h="385">
                  <a:moveTo>
                    <a:pt x="143" y="0"/>
                  </a:moveTo>
                  <a:cubicBezTo>
                    <a:pt x="136" y="5"/>
                    <a:pt x="136" y="5"/>
                    <a:pt x="136" y="5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20" y="13"/>
                    <a:pt x="120" y="13"/>
                    <a:pt x="120" y="13"/>
                  </a:cubicBezTo>
                  <a:cubicBezTo>
                    <a:pt x="119" y="21"/>
                    <a:pt x="119" y="21"/>
                    <a:pt x="119" y="21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30" y="52"/>
                    <a:pt x="130" y="52"/>
                    <a:pt x="130" y="52"/>
                  </a:cubicBezTo>
                  <a:cubicBezTo>
                    <a:pt x="128" y="57"/>
                    <a:pt x="128" y="57"/>
                    <a:pt x="128" y="57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25" y="69"/>
                    <a:pt x="125" y="69"/>
                    <a:pt x="125" y="69"/>
                  </a:cubicBezTo>
                  <a:cubicBezTo>
                    <a:pt x="125" y="79"/>
                    <a:pt x="125" y="79"/>
                    <a:pt x="125" y="79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21" y="120"/>
                    <a:pt x="121" y="120"/>
                    <a:pt x="121" y="120"/>
                  </a:cubicBezTo>
                  <a:cubicBezTo>
                    <a:pt x="127" y="119"/>
                    <a:pt x="127" y="119"/>
                    <a:pt x="127" y="119"/>
                  </a:cubicBezTo>
                  <a:cubicBezTo>
                    <a:pt x="131" y="132"/>
                    <a:pt x="131" y="132"/>
                    <a:pt x="131" y="132"/>
                  </a:cubicBezTo>
                  <a:cubicBezTo>
                    <a:pt x="126" y="134"/>
                    <a:pt x="126" y="134"/>
                    <a:pt x="126" y="134"/>
                  </a:cubicBezTo>
                  <a:cubicBezTo>
                    <a:pt x="126" y="141"/>
                    <a:pt x="126" y="141"/>
                    <a:pt x="126" y="141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5" y="155"/>
                    <a:pt x="135" y="155"/>
                    <a:pt x="135" y="155"/>
                  </a:cubicBezTo>
                  <a:cubicBezTo>
                    <a:pt x="129" y="161"/>
                    <a:pt x="129" y="161"/>
                    <a:pt x="129" y="161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06" y="162"/>
                    <a:pt x="106" y="162"/>
                    <a:pt x="106" y="162"/>
                  </a:cubicBezTo>
                  <a:cubicBezTo>
                    <a:pt x="101" y="156"/>
                    <a:pt x="101" y="156"/>
                    <a:pt x="101" y="156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1" y="163"/>
                    <a:pt x="91" y="163"/>
                    <a:pt x="91" y="163"/>
                  </a:cubicBezTo>
                  <a:cubicBezTo>
                    <a:pt x="93" y="172"/>
                    <a:pt x="93" y="172"/>
                    <a:pt x="93" y="172"/>
                  </a:cubicBezTo>
                  <a:cubicBezTo>
                    <a:pt x="77" y="191"/>
                    <a:pt x="77" y="191"/>
                    <a:pt x="77" y="191"/>
                  </a:cubicBezTo>
                  <a:cubicBezTo>
                    <a:pt x="73" y="205"/>
                    <a:pt x="73" y="205"/>
                    <a:pt x="73" y="205"/>
                  </a:cubicBezTo>
                  <a:cubicBezTo>
                    <a:pt x="76" y="211"/>
                    <a:pt x="76" y="211"/>
                    <a:pt x="76" y="211"/>
                  </a:cubicBezTo>
                  <a:cubicBezTo>
                    <a:pt x="74" y="216"/>
                    <a:pt x="74" y="216"/>
                    <a:pt x="74" y="216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1" y="202"/>
                    <a:pt x="61" y="202"/>
                    <a:pt x="61" y="202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3" y="201"/>
                    <a:pt x="53" y="201"/>
                    <a:pt x="53" y="201"/>
                  </a:cubicBezTo>
                  <a:cubicBezTo>
                    <a:pt x="47" y="209"/>
                    <a:pt x="47" y="209"/>
                    <a:pt x="47" y="209"/>
                  </a:cubicBezTo>
                  <a:cubicBezTo>
                    <a:pt x="36" y="210"/>
                    <a:pt x="36" y="210"/>
                    <a:pt x="36" y="210"/>
                  </a:cubicBezTo>
                  <a:cubicBezTo>
                    <a:pt x="29" y="211"/>
                    <a:pt x="29" y="211"/>
                    <a:pt x="29" y="211"/>
                  </a:cubicBezTo>
                  <a:cubicBezTo>
                    <a:pt x="28" y="221"/>
                    <a:pt x="28" y="221"/>
                    <a:pt x="28" y="221"/>
                  </a:cubicBezTo>
                  <a:cubicBezTo>
                    <a:pt x="23" y="225"/>
                    <a:pt x="23" y="225"/>
                    <a:pt x="23" y="225"/>
                  </a:cubicBezTo>
                  <a:cubicBezTo>
                    <a:pt x="24" y="232"/>
                    <a:pt x="24" y="232"/>
                    <a:pt x="24" y="232"/>
                  </a:cubicBezTo>
                  <a:cubicBezTo>
                    <a:pt x="30" y="240"/>
                    <a:pt x="30" y="240"/>
                    <a:pt x="30" y="240"/>
                  </a:cubicBezTo>
                  <a:cubicBezTo>
                    <a:pt x="32" y="250"/>
                    <a:pt x="32" y="250"/>
                    <a:pt x="32" y="250"/>
                  </a:cubicBezTo>
                  <a:cubicBezTo>
                    <a:pt x="26" y="256"/>
                    <a:pt x="26" y="256"/>
                    <a:pt x="26" y="256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6" y="261"/>
                    <a:pt x="16" y="261"/>
                    <a:pt x="16" y="261"/>
                  </a:cubicBezTo>
                  <a:cubicBezTo>
                    <a:pt x="14" y="271"/>
                    <a:pt x="14" y="271"/>
                    <a:pt x="14" y="271"/>
                  </a:cubicBezTo>
                  <a:cubicBezTo>
                    <a:pt x="19" y="279"/>
                    <a:pt x="19" y="279"/>
                    <a:pt x="19" y="279"/>
                  </a:cubicBezTo>
                  <a:cubicBezTo>
                    <a:pt x="16" y="286"/>
                    <a:pt x="16" y="286"/>
                    <a:pt x="16" y="286"/>
                  </a:cubicBezTo>
                  <a:cubicBezTo>
                    <a:pt x="18" y="297"/>
                    <a:pt x="18" y="297"/>
                    <a:pt x="18" y="297"/>
                  </a:cubicBezTo>
                  <a:cubicBezTo>
                    <a:pt x="16" y="301"/>
                    <a:pt x="16" y="301"/>
                    <a:pt x="16" y="301"/>
                  </a:cubicBezTo>
                  <a:cubicBezTo>
                    <a:pt x="16" y="306"/>
                    <a:pt x="16" y="306"/>
                    <a:pt x="16" y="306"/>
                  </a:cubicBezTo>
                  <a:cubicBezTo>
                    <a:pt x="9" y="307"/>
                    <a:pt x="9" y="307"/>
                    <a:pt x="9" y="307"/>
                  </a:cubicBezTo>
                  <a:cubicBezTo>
                    <a:pt x="4" y="310"/>
                    <a:pt x="4" y="310"/>
                    <a:pt x="4" y="310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2" y="321"/>
                    <a:pt x="2" y="321"/>
                    <a:pt x="2" y="321"/>
                  </a:cubicBezTo>
                  <a:cubicBezTo>
                    <a:pt x="21" y="331"/>
                    <a:pt x="21" y="331"/>
                    <a:pt x="21" y="331"/>
                  </a:cubicBezTo>
                  <a:cubicBezTo>
                    <a:pt x="30" y="333"/>
                    <a:pt x="30" y="333"/>
                    <a:pt x="30" y="333"/>
                  </a:cubicBezTo>
                  <a:cubicBezTo>
                    <a:pt x="41" y="336"/>
                    <a:pt x="41" y="336"/>
                    <a:pt x="41" y="336"/>
                  </a:cubicBezTo>
                  <a:cubicBezTo>
                    <a:pt x="50" y="343"/>
                    <a:pt x="50" y="343"/>
                    <a:pt x="50" y="343"/>
                  </a:cubicBezTo>
                  <a:cubicBezTo>
                    <a:pt x="62" y="341"/>
                    <a:pt x="62" y="341"/>
                    <a:pt x="62" y="341"/>
                  </a:cubicBezTo>
                  <a:cubicBezTo>
                    <a:pt x="67" y="348"/>
                    <a:pt x="67" y="348"/>
                    <a:pt x="67" y="348"/>
                  </a:cubicBezTo>
                  <a:cubicBezTo>
                    <a:pt x="81" y="335"/>
                    <a:pt x="81" y="335"/>
                    <a:pt x="81" y="335"/>
                  </a:cubicBezTo>
                  <a:cubicBezTo>
                    <a:pt x="87" y="339"/>
                    <a:pt x="87" y="339"/>
                    <a:pt x="87" y="339"/>
                  </a:cubicBezTo>
                  <a:cubicBezTo>
                    <a:pt x="86" y="342"/>
                    <a:pt x="86" y="342"/>
                    <a:pt x="86" y="342"/>
                  </a:cubicBezTo>
                  <a:cubicBezTo>
                    <a:pt x="94" y="348"/>
                    <a:pt x="94" y="348"/>
                    <a:pt x="94" y="348"/>
                  </a:cubicBezTo>
                  <a:cubicBezTo>
                    <a:pt x="103" y="349"/>
                    <a:pt x="103" y="349"/>
                    <a:pt x="103" y="349"/>
                  </a:cubicBezTo>
                  <a:cubicBezTo>
                    <a:pt x="118" y="361"/>
                    <a:pt x="118" y="361"/>
                    <a:pt x="118" y="361"/>
                  </a:cubicBezTo>
                  <a:cubicBezTo>
                    <a:pt x="125" y="359"/>
                    <a:pt x="125" y="359"/>
                    <a:pt x="125" y="359"/>
                  </a:cubicBezTo>
                  <a:cubicBezTo>
                    <a:pt x="135" y="368"/>
                    <a:pt x="135" y="368"/>
                    <a:pt x="135" y="368"/>
                  </a:cubicBezTo>
                  <a:cubicBezTo>
                    <a:pt x="143" y="367"/>
                    <a:pt x="143" y="367"/>
                    <a:pt x="143" y="367"/>
                  </a:cubicBezTo>
                  <a:cubicBezTo>
                    <a:pt x="146" y="378"/>
                    <a:pt x="146" y="378"/>
                    <a:pt x="146" y="378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60" y="385"/>
                    <a:pt x="160" y="385"/>
                    <a:pt x="160" y="385"/>
                  </a:cubicBezTo>
                  <a:cubicBezTo>
                    <a:pt x="165" y="380"/>
                    <a:pt x="165" y="380"/>
                    <a:pt x="165" y="380"/>
                  </a:cubicBezTo>
                  <a:cubicBezTo>
                    <a:pt x="170" y="380"/>
                    <a:pt x="170" y="380"/>
                    <a:pt x="170" y="380"/>
                  </a:cubicBezTo>
                  <a:cubicBezTo>
                    <a:pt x="171" y="369"/>
                    <a:pt x="171" y="369"/>
                    <a:pt x="171" y="369"/>
                  </a:cubicBezTo>
                  <a:cubicBezTo>
                    <a:pt x="188" y="351"/>
                    <a:pt x="188" y="351"/>
                    <a:pt x="188" y="351"/>
                  </a:cubicBezTo>
                  <a:cubicBezTo>
                    <a:pt x="191" y="341"/>
                    <a:pt x="191" y="341"/>
                    <a:pt x="191" y="341"/>
                  </a:cubicBezTo>
                  <a:cubicBezTo>
                    <a:pt x="217" y="313"/>
                    <a:pt x="217" y="313"/>
                    <a:pt x="217" y="313"/>
                  </a:cubicBezTo>
                  <a:cubicBezTo>
                    <a:pt x="219" y="286"/>
                    <a:pt x="219" y="286"/>
                    <a:pt x="219" y="286"/>
                  </a:cubicBezTo>
                  <a:cubicBezTo>
                    <a:pt x="224" y="270"/>
                    <a:pt x="224" y="270"/>
                    <a:pt x="224" y="270"/>
                  </a:cubicBezTo>
                  <a:cubicBezTo>
                    <a:pt x="215" y="267"/>
                    <a:pt x="215" y="267"/>
                    <a:pt x="215" y="267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6" y="226"/>
                    <a:pt x="216" y="226"/>
                    <a:pt x="216" y="226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4" y="208"/>
                    <a:pt x="204" y="208"/>
                    <a:pt x="204" y="208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9" y="205"/>
                    <a:pt x="219" y="205"/>
                    <a:pt x="219" y="205"/>
                  </a:cubicBezTo>
                  <a:cubicBezTo>
                    <a:pt x="220" y="196"/>
                    <a:pt x="220" y="196"/>
                    <a:pt x="220" y="196"/>
                  </a:cubicBezTo>
                  <a:cubicBezTo>
                    <a:pt x="224" y="195"/>
                    <a:pt x="224" y="195"/>
                    <a:pt x="224" y="195"/>
                  </a:cubicBezTo>
                  <a:cubicBezTo>
                    <a:pt x="232" y="197"/>
                    <a:pt x="232" y="197"/>
                    <a:pt x="232" y="197"/>
                  </a:cubicBezTo>
                  <a:cubicBezTo>
                    <a:pt x="240" y="194"/>
                    <a:pt x="240" y="194"/>
                    <a:pt x="240" y="194"/>
                  </a:cubicBezTo>
                  <a:cubicBezTo>
                    <a:pt x="239" y="188"/>
                    <a:pt x="239" y="188"/>
                    <a:pt x="239" y="188"/>
                  </a:cubicBezTo>
                  <a:cubicBezTo>
                    <a:pt x="244" y="182"/>
                    <a:pt x="244" y="182"/>
                    <a:pt x="244" y="182"/>
                  </a:cubicBezTo>
                  <a:cubicBezTo>
                    <a:pt x="246" y="189"/>
                    <a:pt x="246" y="189"/>
                    <a:pt x="246" y="189"/>
                  </a:cubicBezTo>
                  <a:cubicBezTo>
                    <a:pt x="256" y="189"/>
                    <a:pt x="256" y="189"/>
                    <a:pt x="256" y="189"/>
                  </a:cubicBezTo>
                  <a:cubicBezTo>
                    <a:pt x="261" y="184"/>
                    <a:pt x="261" y="184"/>
                    <a:pt x="261" y="184"/>
                  </a:cubicBezTo>
                  <a:cubicBezTo>
                    <a:pt x="264" y="189"/>
                    <a:pt x="264" y="189"/>
                    <a:pt x="264" y="189"/>
                  </a:cubicBezTo>
                  <a:cubicBezTo>
                    <a:pt x="274" y="189"/>
                    <a:pt x="274" y="189"/>
                    <a:pt x="274" y="189"/>
                  </a:cubicBezTo>
                  <a:cubicBezTo>
                    <a:pt x="277" y="183"/>
                    <a:pt x="277" y="183"/>
                    <a:pt x="277" y="183"/>
                  </a:cubicBezTo>
                  <a:cubicBezTo>
                    <a:pt x="284" y="188"/>
                    <a:pt x="284" y="188"/>
                    <a:pt x="284" y="188"/>
                  </a:cubicBezTo>
                  <a:cubicBezTo>
                    <a:pt x="290" y="182"/>
                    <a:pt x="290" y="182"/>
                    <a:pt x="290" y="182"/>
                  </a:cubicBezTo>
                  <a:cubicBezTo>
                    <a:pt x="296" y="182"/>
                    <a:pt x="296" y="182"/>
                    <a:pt x="296" y="182"/>
                  </a:cubicBezTo>
                  <a:cubicBezTo>
                    <a:pt x="294" y="170"/>
                    <a:pt x="294" y="170"/>
                    <a:pt x="294" y="170"/>
                  </a:cubicBezTo>
                  <a:cubicBezTo>
                    <a:pt x="302" y="163"/>
                    <a:pt x="302" y="163"/>
                    <a:pt x="302" y="163"/>
                  </a:cubicBezTo>
                  <a:cubicBezTo>
                    <a:pt x="307" y="157"/>
                    <a:pt x="307" y="157"/>
                    <a:pt x="307" y="157"/>
                  </a:cubicBezTo>
                  <a:cubicBezTo>
                    <a:pt x="315" y="161"/>
                    <a:pt x="315" y="161"/>
                    <a:pt x="315" y="161"/>
                  </a:cubicBezTo>
                  <a:cubicBezTo>
                    <a:pt x="308" y="168"/>
                    <a:pt x="308" y="168"/>
                    <a:pt x="308" y="168"/>
                  </a:cubicBezTo>
                  <a:cubicBezTo>
                    <a:pt x="312" y="168"/>
                    <a:pt x="312" y="168"/>
                    <a:pt x="312" y="168"/>
                  </a:cubicBezTo>
                  <a:cubicBezTo>
                    <a:pt x="319" y="165"/>
                    <a:pt x="319" y="165"/>
                    <a:pt x="319" y="165"/>
                  </a:cubicBezTo>
                  <a:cubicBezTo>
                    <a:pt x="326" y="168"/>
                    <a:pt x="326" y="168"/>
                    <a:pt x="326" y="168"/>
                  </a:cubicBezTo>
                  <a:cubicBezTo>
                    <a:pt x="335" y="156"/>
                    <a:pt x="335" y="156"/>
                    <a:pt x="335" y="156"/>
                  </a:cubicBezTo>
                  <a:cubicBezTo>
                    <a:pt x="337" y="152"/>
                    <a:pt x="337" y="152"/>
                    <a:pt x="337" y="152"/>
                  </a:cubicBezTo>
                  <a:cubicBezTo>
                    <a:pt x="334" y="146"/>
                    <a:pt x="334" y="146"/>
                    <a:pt x="334" y="146"/>
                  </a:cubicBezTo>
                  <a:cubicBezTo>
                    <a:pt x="328" y="149"/>
                    <a:pt x="328" y="149"/>
                    <a:pt x="328" y="149"/>
                  </a:cubicBezTo>
                  <a:cubicBezTo>
                    <a:pt x="318" y="136"/>
                    <a:pt x="318" y="136"/>
                    <a:pt x="318" y="136"/>
                  </a:cubicBezTo>
                  <a:cubicBezTo>
                    <a:pt x="321" y="132"/>
                    <a:pt x="321" y="132"/>
                    <a:pt x="321" y="132"/>
                  </a:cubicBezTo>
                  <a:cubicBezTo>
                    <a:pt x="317" y="128"/>
                    <a:pt x="317" y="128"/>
                    <a:pt x="317" y="128"/>
                  </a:cubicBezTo>
                  <a:cubicBezTo>
                    <a:pt x="320" y="126"/>
                    <a:pt x="320" y="126"/>
                    <a:pt x="320" y="126"/>
                  </a:cubicBezTo>
                  <a:cubicBezTo>
                    <a:pt x="319" y="118"/>
                    <a:pt x="319" y="118"/>
                    <a:pt x="319" y="118"/>
                  </a:cubicBezTo>
                  <a:cubicBezTo>
                    <a:pt x="326" y="113"/>
                    <a:pt x="326" y="113"/>
                    <a:pt x="326" y="113"/>
                  </a:cubicBezTo>
                  <a:cubicBezTo>
                    <a:pt x="331" y="116"/>
                    <a:pt x="331" y="116"/>
                    <a:pt x="331" y="116"/>
                  </a:cubicBezTo>
                  <a:cubicBezTo>
                    <a:pt x="336" y="117"/>
                    <a:pt x="336" y="117"/>
                    <a:pt x="336" y="117"/>
                  </a:cubicBezTo>
                  <a:cubicBezTo>
                    <a:pt x="342" y="115"/>
                    <a:pt x="342" y="115"/>
                    <a:pt x="342" y="115"/>
                  </a:cubicBezTo>
                  <a:cubicBezTo>
                    <a:pt x="343" y="109"/>
                    <a:pt x="343" y="109"/>
                    <a:pt x="343" y="109"/>
                  </a:cubicBezTo>
                  <a:cubicBezTo>
                    <a:pt x="331" y="96"/>
                    <a:pt x="331" y="96"/>
                    <a:pt x="331" y="96"/>
                  </a:cubicBezTo>
                  <a:cubicBezTo>
                    <a:pt x="330" y="93"/>
                    <a:pt x="330" y="93"/>
                    <a:pt x="330" y="93"/>
                  </a:cubicBezTo>
                  <a:cubicBezTo>
                    <a:pt x="326" y="93"/>
                    <a:pt x="326" y="93"/>
                    <a:pt x="326" y="93"/>
                  </a:cubicBezTo>
                  <a:cubicBezTo>
                    <a:pt x="326" y="87"/>
                    <a:pt x="326" y="87"/>
                    <a:pt x="326" y="87"/>
                  </a:cubicBezTo>
                  <a:cubicBezTo>
                    <a:pt x="316" y="77"/>
                    <a:pt x="316" y="77"/>
                    <a:pt x="316" y="77"/>
                  </a:cubicBezTo>
                  <a:cubicBezTo>
                    <a:pt x="312" y="81"/>
                    <a:pt x="312" y="81"/>
                    <a:pt x="312" y="81"/>
                  </a:cubicBezTo>
                  <a:cubicBezTo>
                    <a:pt x="309" y="85"/>
                    <a:pt x="309" y="85"/>
                    <a:pt x="309" y="85"/>
                  </a:cubicBezTo>
                  <a:cubicBezTo>
                    <a:pt x="303" y="88"/>
                    <a:pt x="303" y="88"/>
                    <a:pt x="303" y="88"/>
                  </a:cubicBezTo>
                  <a:cubicBezTo>
                    <a:pt x="298" y="82"/>
                    <a:pt x="298" y="82"/>
                    <a:pt x="298" y="82"/>
                  </a:cubicBezTo>
                  <a:cubicBezTo>
                    <a:pt x="297" y="76"/>
                    <a:pt x="297" y="76"/>
                    <a:pt x="297" y="76"/>
                  </a:cubicBezTo>
                  <a:cubicBezTo>
                    <a:pt x="289" y="73"/>
                    <a:pt x="289" y="73"/>
                    <a:pt x="289" y="73"/>
                  </a:cubicBezTo>
                  <a:cubicBezTo>
                    <a:pt x="289" y="73"/>
                    <a:pt x="282" y="70"/>
                    <a:pt x="282" y="70"/>
                  </a:cubicBezTo>
                  <a:cubicBezTo>
                    <a:pt x="281" y="70"/>
                    <a:pt x="267" y="70"/>
                    <a:pt x="267" y="70"/>
                  </a:cubicBezTo>
                  <a:cubicBezTo>
                    <a:pt x="262" y="76"/>
                    <a:pt x="262" y="76"/>
                    <a:pt x="262" y="76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56" y="85"/>
                    <a:pt x="256" y="85"/>
                    <a:pt x="256" y="85"/>
                  </a:cubicBezTo>
                  <a:cubicBezTo>
                    <a:pt x="261" y="92"/>
                    <a:pt x="261" y="92"/>
                    <a:pt x="261" y="92"/>
                  </a:cubicBezTo>
                  <a:cubicBezTo>
                    <a:pt x="255" y="98"/>
                    <a:pt x="255" y="98"/>
                    <a:pt x="255" y="98"/>
                  </a:cubicBezTo>
                  <a:cubicBezTo>
                    <a:pt x="250" y="106"/>
                    <a:pt x="250" y="106"/>
                    <a:pt x="250" y="106"/>
                  </a:cubicBezTo>
                  <a:cubicBezTo>
                    <a:pt x="251" y="118"/>
                    <a:pt x="251" y="118"/>
                    <a:pt x="251" y="118"/>
                  </a:cubicBezTo>
                  <a:cubicBezTo>
                    <a:pt x="242" y="123"/>
                    <a:pt x="242" y="123"/>
                    <a:pt x="242" y="123"/>
                  </a:cubicBezTo>
                  <a:cubicBezTo>
                    <a:pt x="242" y="131"/>
                    <a:pt x="242" y="131"/>
                    <a:pt x="242" y="131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0"/>
                    <a:pt x="237" y="120"/>
                    <a:pt x="237" y="120"/>
                  </a:cubicBezTo>
                  <a:cubicBezTo>
                    <a:pt x="234" y="117"/>
                    <a:pt x="234" y="117"/>
                    <a:pt x="234" y="117"/>
                  </a:cubicBezTo>
                  <a:cubicBezTo>
                    <a:pt x="229" y="122"/>
                    <a:pt x="229" y="122"/>
                    <a:pt x="229" y="122"/>
                  </a:cubicBezTo>
                  <a:cubicBezTo>
                    <a:pt x="224" y="124"/>
                    <a:pt x="224" y="124"/>
                    <a:pt x="224" y="124"/>
                  </a:cubicBezTo>
                  <a:cubicBezTo>
                    <a:pt x="214" y="127"/>
                    <a:pt x="214" y="127"/>
                    <a:pt x="214" y="127"/>
                  </a:cubicBezTo>
                  <a:cubicBezTo>
                    <a:pt x="207" y="138"/>
                    <a:pt x="207" y="138"/>
                    <a:pt x="207" y="138"/>
                  </a:cubicBezTo>
                  <a:cubicBezTo>
                    <a:pt x="199" y="139"/>
                    <a:pt x="199" y="139"/>
                    <a:pt x="199" y="139"/>
                  </a:cubicBezTo>
                  <a:cubicBezTo>
                    <a:pt x="190" y="131"/>
                    <a:pt x="190" y="131"/>
                    <a:pt x="190" y="131"/>
                  </a:cubicBezTo>
                  <a:cubicBezTo>
                    <a:pt x="190" y="103"/>
                    <a:pt x="190" y="103"/>
                    <a:pt x="190" y="103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2" y="79"/>
                    <a:pt x="192" y="79"/>
                    <a:pt x="192" y="79"/>
                  </a:cubicBezTo>
                  <a:cubicBezTo>
                    <a:pt x="182" y="73"/>
                    <a:pt x="182" y="73"/>
                    <a:pt x="182" y="73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8" y="63"/>
                    <a:pt x="178" y="63"/>
                    <a:pt x="178" y="63"/>
                  </a:cubicBezTo>
                  <a:cubicBezTo>
                    <a:pt x="175" y="61"/>
                    <a:pt x="175" y="61"/>
                    <a:pt x="175" y="61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47"/>
                    <a:pt x="178" y="47"/>
                    <a:pt x="178" y="47"/>
                  </a:cubicBezTo>
                  <a:cubicBezTo>
                    <a:pt x="173" y="44"/>
                    <a:pt x="173" y="44"/>
                    <a:pt x="173" y="44"/>
                  </a:cubicBezTo>
                  <a:cubicBezTo>
                    <a:pt x="164" y="41"/>
                    <a:pt x="164" y="41"/>
                    <a:pt x="164" y="41"/>
                  </a:cubicBezTo>
                  <a:cubicBezTo>
                    <a:pt x="166" y="34"/>
                    <a:pt x="166" y="34"/>
                    <a:pt x="166" y="34"/>
                  </a:cubicBezTo>
                  <a:cubicBezTo>
                    <a:pt x="163" y="28"/>
                    <a:pt x="163" y="28"/>
                    <a:pt x="163" y="28"/>
                  </a:cubicBezTo>
                  <a:cubicBezTo>
                    <a:pt x="159" y="20"/>
                    <a:pt x="159" y="20"/>
                    <a:pt x="159" y="20"/>
                  </a:cubicBezTo>
                  <a:cubicBezTo>
                    <a:pt x="154" y="14"/>
                    <a:pt x="154" y="14"/>
                    <a:pt x="154" y="14"/>
                  </a:cubicBezTo>
                  <a:cubicBezTo>
                    <a:pt x="144" y="16"/>
                    <a:pt x="144" y="16"/>
                    <a:pt x="144" y="16"/>
                  </a:cubicBezTo>
                  <a:cubicBezTo>
                    <a:pt x="141" y="10"/>
                    <a:pt x="141" y="10"/>
                    <a:pt x="141" y="10"/>
                  </a:cubicBezTo>
                  <a:cubicBezTo>
                    <a:pt x="148" y="6"/>
                    <a:pt x="148" y="6"/>
                    <a:pt x="148" y="6"/>
                  </a:cubicBezTo>
                  <a:lnTo>
                    <a:pt x="143" y="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6" name="Freeform 56"/>
            <p:cNvSpPr>
              <a:spLocks/>
            </p:cNvSpPr>
            <p:nvPr/>
          </p:nvSpPr>
          <p:spPr bwMode="auto">
            <a:xfrm>
              <a:off x="2202" y="3678"/>
              <a:ext cx="215" cy="315"/>
            </a:xfrm>
            <a:custGeom>
              <a:avLst/>
              <a:gdLst>
                <a:gd name="T0" fmla="*/ 94 w 103"/>
                <a:gd name="T1" fmla="*/ 19 h 151"/>
                <a:gd name="T2" fmla="*/ 98 w 103"/>
                <a:gd name="T3" fmla="*/ 29 h 151"/>
                <a:gd name="T4" fmla="*/ 103 w 103"/>
                <a:gd name="T5" fmla="*/ 50 h 151"/>
                <a:gd name="T6" fmla="*/ 98 w 103"/>
                <a:gd name="T7" fmla="*/ 72 h 151"/>
                <a:gd name="T8" fmla="*/ 89 w 103"/>
                <a:gd name="T9" fmla="*/ 86 h 151"/>
                <a:gd name="T10" fmla="*/ 77 w 103"/>
                <a:gd name="T11" fmla="*/ 103 h 151"/>
                <a:gd name="T12" fmla="*/ 81 w 103"/>
                <a:gd name="T13" fmla="*/ 126 h 151"/>
                <a:gd name="T14" fmla="*/ 76 w 103"/>
                <a:gd name="T15" fmla="*/ 139 h 151"/>
                <a:gd name="T16" fmla="*/ 65 w 103"/>
                <a:gd name="T17" fmla="*/ 146 h 151"/>
                <a:gd name="T18" fmla="*/ 49 w 103"/>
                <a:gd name="T19" fmla="*/ 149 h 151"/>
                <a:gd name="T20" fmla="*/ 35 w 103"/>
                <a:gd name="T21" fmla="*/ 147 h 151"/>
                <a:gd name="T22" fmla="*/ 40 w 103"/>
                <a:gd name="T23" fmla="*/ 136 h 151"/>
                <a:gd name="T24" fmla="*/ 26 w 103"/>
                <a:gd name="T25" fmla="*/ 132 h 151"/>
                <a:gd name="T26" fmla="*/ 18 w 103"/>
                <a:gd name="T27" fmla="*/ 121 h 151"/>
                <a:gd name="T28" fmla="*/ 2 w 103"/>
                <a:gd name="T29" fmla="*/ 117 h 151"/>
                <a:gd name="T30" fmla="*/ 7 w 103"/>
                <a:gd name="T31" fmla="*/ 104 h 151"/>
                <a:gd name="T32" fmla="*/ 5 w 103"/>
                <a:gd name="T33" fmla="*/ 89 h 151"/>
                <a:gd name="T34" fmla="*/ 1 w 103"/>
                <a:gd name="T35" fmla="*/ 81 h 151"/>
                <a:gd name="T36" fmla="*/ 6 w 103"/>
                <a:gd name="T37" fmla="*/ 72 h 151"/>
                <a:gd name="T38" fmla="*/ 14 w 103"/>
                <a:gd name="T39" fmla="*/ 66 h 151"/>
                <a:gd name="T40" fmla="*/ 22 w 103"/>
                <a:gd name="T41" fmla="*/ 51 h 151"/>
                <a:gd name="T42" fmla="*/ 30 w 103"/>
                <a:gd name="T43" fmla="*/ 48 h 151"/>
                <a:gd name="T44" fmla="*/ 28 w 103"/>
                <a:gd name="T45" fmla="*/ 39 h 151"/>
                <a:gd name="T46" fmla="*/ 17 w 103"/>
                <a:gd name="T47" fmla="*/ 29 h 151"/>
                <a:gd name="T48" fmla="*/ 22 w 103"/>
                <a:gd name="T49" fmla="*/ 23 h 151"/>
                <a:gd name="T50" fmla="*/ 21 w 103"/>
                <a:gd name="T51" fmla="*/ 12 h 151"/>
                <a:gd name="T52" fmla="*/ 38 w 103"/>
                <a:gd name="T53" fmla="*/ 3 h 151"/>
                <a:gd name="T54" fmla="*/ 35 w 103"/>
                <a:gd name="T55" fmla="*/ 12 h 151"/>
                <a:gd name="T56" fmla="*/ 50 w 103"/>
                <a:gd name="T57" fmla="*/ 17 h 151"/>
                <a:gd name="T58" fmla="*/ 60 w 103"/>
                <a:gd name="T59" fmla="*/ 19 h 151"/>
                <a:gd name="T60" fmla="*/ 69 w 103"/>
                <a:gd name="T61" fmla="*/ 19 h 151"/>
                <a:gd name="T62" fmla="*/ 95 w 103"/>
                <a:gd name="T63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" h="151">
                  <a:moveTo>
                    <a:pt x="95" y="10"/>
                  </a:moveTo>
                  <a:cubicBezTo>
                    <a:pt x="94" y="19"/>
                    <a:pt x="94" y="19"/>
                    <a:pt x="94" y="19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8" y="38"/>
                    <a:pt x="98" y="38"/>
                    <a:pt x="98" y="38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8" y="120"/>
                    <a:pt x="78" y="120"/>
                    <a:pt x="78" y="120"/>
                  </a:cubicBezTo>
                  <a:cubicBezTo>
                    <a:pt x="81" y="126"/>
                    <a:pt x="81" y="126"/>
                    <a:pt x="81" y="126"/>
                  </a:cubicBezTo>
                  <a:cubicBezTo>
                    <a:pt x="77" y="134"/>
                    <a:pt x="77" y="134"/>
                    <a:pt x="77" y="134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74" y="139"/>
                    <a:pt x="72" y="140"/>
                    <a:pt x="71" y="141"/>
                  </a:cubicBezTo>
                  <a:cubicBezTo>
                    <a:pt x="69" y="144"/>
                    <a:pt x="65" y="146"/>
                    <a:pt x="65" y="146"/>
                  </a:cubicBezTo>
                  <a:cubicBezTo>
                    <a:pt x="64" y="146"/>
                    <a:pt x="58" y="146"/>
                    <a:pt x="56" y="149"/>
                  </a:cubicBezTo>
                  <a:cubicBezTo>
                    <a:pt x="53" y="151"/>
                    <a:pt x="49" y="151"/>
                    <a:pt x="49" y="149"/>
                  </a:cubicBezTo>
                  <a:cubicBezTo>
                    <a:pt x="48" y="147"/>
                    <a:pt x="45" y="146"/>
                    <a:pt x="43" y="148"/>
                  </a:cubicBezTo>
                  <a:cubicBezTo>
                    <a:pt x="41" y="150"/>
                    <a:pt x="36" y="149"/>
                    <a:pt x="35" y="147"/>
                  </a:cubicBezTo>
                  <a:cubicBezTo>
                    <a:pt x="35" y="145"/>
                    <a:pt x="33" y="143"/>
                    <a:pt x="35" y="141"/>
                  </a:cubicBezTo>
                  <a:cubicBezTo>
                    <a:pt x="36" y="139"/>
                    <a:pt x="40" y="136"/>
                    <a:pt x="40" y="136"/>
                  </a:cubicBezTo>
                  <a:cubicBezTo>
                    <a:pt x="40" y="136"/>
                    <a:pt x="35" y="133"/>
                    <a:pt x="33" y="131"/>
                  </a:cubicBezTo>
                  <a:cubicBezTo>
                    <a:pt x="31" y="129"/>
                    <a:pt x="28" y="130"/>
                    <a:pt x="26" y="132"/>
                  </a:cubicBezTo>
                  <a:cubicBezTo>
                    <a:pt x="23" y="134"/>
                    <a:pt x="23" y="126"/>
                    <a:pt x="23" y="124"/>
                  </a:cubicBezTo>
                  <a:cubicBezTo>
                    <a:pt x="23" y="122"/>
                    <a:pt x="20" y="118"/>
                    <a:pt x="18" y="121"/>
                  </a:cubicBezTo>
                  <a:cubicBezTo>
                    <a:pt x="16" y="124"/>
                    <a:pt x="9" y="123"/>
                    <a:pt x="9" y="122"/>
                  </a:cubicBezTo>
                  <a:cubicBezTo>
                    <a:pt x="8" y="120"/>
                    <a:pt x="4" y="120"/>
                    <a:pt x="2" y="117"/>
                  </a:cubicBezTo>
                  <a:cubicBezTo>
                    <a:pt x="0" y="115"/>
                    <a:pt x="3" y="115"/>
                    <a:pt x="4" y="112"/>
                  </a:cubicBezTo>
                  <a:cubicBezTo>
                    <a:pt x="6" y="110"/>
                    <a:pt x="7" y="108"/>
                    <a:pt x="7" y="104"/>
                  </a:cubicBezTo>
                  <a:cubicBezTo>
                    <a:pt x="8" y="101"/>
                    <a:pt x="6" y="99"/>
                    <a:pt x="7" y="97"/>
                  </a:cubicBezTo>
                  <a:cubicBezTo>
                    <a:pt x="8" y="95"/>
                    <a:pt x="6" y="92"/>
                    <a:pt x="5" y="89"/>
                  </a:cubicBezTo>
                  <a:cubicBezTo>
                    <a:pt x="5" y="88"/>
                    <a:pt x="3" y="86"/>
                    <a:pt x="1" y="86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4" y="66"/>
                    <a:pt x="14" y="66"/>
                    <a:pt x="14" y="66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83" y="20"/>
                    <a:pt x="83" y="20"/>
                    <a:pt x="83" y="20"/>
                  </a:cubicBezTo>
                  <a:lnTo>
                    <a:pt x="95" y="1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7" name="Freeform 57"/>
            <p:cNvSpPr>
              <a:spLocks noEditPoints="1"/>
            </p:cNvSpPr>
            <p:nvPr/>
          </p:nvSpPr>
          <p:spPr bwMode="auto">
            <a:xfrm>
              <a:off x="4484" y="2238"/>
              <a:ext cx="640" cy="1011"/>
            </a:xfrm>
            <a:custGeom>
              <a:avLst/>
              <a:gdLst>
                <a:gd name="T0" fmla="*/ 146 w 307"/>
                <a:gd name="T1" fmla="*/ 31 h 485"/>
                <a:gd name="T2" fmla="*/ 159 w 307"/>
                <a:gd name="T3" fmla="*/ 67 h 485"/>
                <a:gd name="T4" fmla="*/ 151 w 307"/>
                <a:gd name="T5" fmla="*/ 84 h 485"/>
                <a:gd name="T6" fmla="*/ 145 w 307"/>
                <a:gd name="T7" fmla="*/ 135 h 485"/>
                <a:gd name="T8" fmla="*/ 132 w 307"/>
                <a:gd name="T9" fmla="*/ 144 h 485"/>
                <a:gd name="T10" fmla="*/ 126 w 307"/>
                <a:gd name="T11" fmla="*/ 162 h 485"/>
                <a:gd name="T12" fmla="*/ 144 w 307"/>
                <a:gd name="T13" fmla="*/ 193 h 485"/>
                <a:gd name="T14" fmla="*/ 174 w 307"/>
                <a:gd name="T15" fmla="*/ 204 h 485"/>
                <a:gd name="T16" fmla="*/ 201 w 307"/>
                <a:gd name="T17" fmla="*/ 222 h 485"/>
                <a:gd name="T18" fmla="*/ 210 w 307"/>
                <a:gd name="T19" fmla="*/ 234 h 485"/>
                <a:gd name="T20" fmla="*/ 228 w 307"/>
                <a:gd name="T21" fmla="*/ 260 h 485"/>
                <a:gd name="T22" fmla="*/ 237 w 307"/>
                <a:gd name="T23" fmla="*/ 288 h 485"/>
                <a:gd name="T24" fmla="*/ 258 w 307"/>
                <a:gd name="T25" fmla="*/ 325 h 485"/>
                <a:gd name="T26" fmla="*/ 278 w 307"/>
                <a:gd name="T27" fmla="*/ 363 h 485"/>
                <a:gd name="T28" fmla="*/ 251 w 307"/>
                <a:gd name="T29" fmla="*/ 388 h 485"/>
                <a:gd name="T30" fmla="*/ 144 w 307"/>
                <a:gd name="T31" fmla="*/ 321 h 485"/>
                <a:gd name="T32" fmla="*/ 126 w 307"/>
                <a:gd name="T33" fmla="*/ 281 h 485"/>
                <a:gd name="T34" fmla="*/ 119 w 307"/>
                <a:gd name="T35" fmla="*/ 231 h 485"/>
                <a:gd name="T36" fmla="*/ 101 w 307"/>
                <a:gd name="T37" fmla="*/ 181 h 485"/>
                <a:gd name="T38" fmla="*/ 92 w 307"/>
                <a:gd name="T39" fmla="*/ 144 h 485"/>
                <a:gd name="T40" fmla="*/ 68 w 307"/>
                <a:gd name="T41" fmla="*/ 113 h 485"/>
                <a:gd name="T42" fmla="*/ 61 w 307"/>
                <a:gd name="T43" fmla="*/ 138 h 485"/>
                <a:gd name="T44" fmla="*/ 73 w 307"/>
                <a:gd name="T45" fmla="*/ 158 h 485"/>
                <a:gd name="T46" fmla="*/ 59 w 307"/>
                <a:gd name="T47" fmla="*/ 155 h 485"/>
                <a:gd name="T48" fmla="*/ 46 w 307"/>
                <a:gd name="T49" fmla="*/ 140 h 485"/>
                <a:gd name="T50" fmla="*/ 27 w 307"/>
                <a:gd name="T51" fmla="*/ 123 h 485"/>
                <a:gd name="T52" fmla="*/ 12 w 307"/>
                <a:gd name="T53" fmla="*/ 115 h 485"/>
                <a:gd name="T54" fmla="*/ 1 w 307"/>
                <a:gd name="T55" fmla="*/ 94 h 485"/>
                <a:gd name="T56" fmla="*/ 9 w 307"/>
                <a:gd name="T57" fmla="*/ 80 h 485"/>
                <a:gd name="T58" fmla="*/ 26 w 307"/>
                <a:gd name="T59" fmla="*/ 66 h 485"/>
                <a:gd name="T60" fmla="*/ 43 w 307"/>
                <a:gd name="T61" fmla="*/ 48 h 485"/>
                <a:gd name="T62" fmla="*/ 72 w 307"/>
                <a:gd name="T63" fmla="*/ 57 h 485"/>
                <a:gd name="T64" fmla="*/ 89 w 307"/>
                <a:gd name="T65" fmla="*/ 57 h 485"/>
                <a:gd name="T66" fmla="*/ 106 w 307"/>
                <a:gd name="T67" fmla="*/ 52 h 485"/>
                <a:gd name="T68" fmla="*/ 116 w 307"/>
                <a:gd name="T69" fmla="*/ 22 h 485"/>
                <a:gd name="T70" fmla="*/ 129 w 307"/>
                <a:gd name="T71" fmla="*/ 7 h 485"/>
                <a:gd name="T72" fmla="*/ 304 w 307"/>
                <a:gd name="T73" fmla="*/ 479 h 485"/>
                <a:gd name="T74" fmla="*/ 306 w 307"/>
                <a:gd name="T75" fmla="*/ 484 h 485"/>
                <a:gd name="T76" fmla="*/ 304 w 307"/>
                <a:gd name="T77" fmla="*/ 479 h 485"/>
                <a:gd name="T78" fmla="*/ 295 w 307"/>
                <a:gd name="T79" fmla="*/ 462 h 485"/>
                <a:gd name="T80" fmla="*/ 285 w 307"/>
                <a:gd name="T81" fmla="*/ 433 h 485"/>
                <a:gd name="T82" fmla="*/ 282 w 307"/>
                <a:gd name="T83" fmla="*/ 418 h 485"/>
                <a:gd name="T84" fmla="*/ 282 w 307"/>
                <a:gd name="T85" fmla="*/ 202 h 485"/>
                <a:gd name="T86" fmla="*/ 149 w 307"/>
                <a:gd name="T87" fmla="*/ 166 h 485"/>
                <a:gd name="T88" fmla="*/ 158 w 307"/>
                <a:gd name="T89" fmla="*/ 188 h 485"/>
                <a:gd name="T90" fmla="*/ 149 w 307"/>
                <a:gd name="T91" fmla="*/ 16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7" h="485">
                  <a:moveTo>
                    <a:pt x="140" y="0"/>
                  </a:moveTo>
                  <a:cubicBezTo>
                    <a:pt x="141" y="4"/>
                    <a:pt x="143" y="7"/>
                    <a:pt x="142" y="12"/>
                  </a:cubicBezTo>
                  <a:cubicBezTo>
                    <a:pt x="142" y="17"/>
                    <a:pt x="144" y="28"/>
                    <a:pt x="146" y="31"/>
                  </a:cubicBezTo>
                  <a:cubicBezTo>
                    <a:pt x="149" y="34"/>
                    <a:pt x="152" y="39"/>
                    <a:pt x="153" y="42"/>
                  </a:cubicBezTo>
                  <a:cubicBezTo>
                    <a:pt x="154" y="46"/>
                    <a:pt x="156" y="50"/>
                    <a:pt x="157" y="54"/>
                  </a:cubicBezTo>
                  <a:cubicBezTo>
                    <a:pt x="157" y="59"/>
                    <a:pt x="158" y="65"/>
                    <a:pt x="159" y="67"/>
                  </a:cubicBezTo>
                  <a:cubicBezTo>
                    <a:pt x="160" y="69"/>
                    <a:pt x="166" y="75"/>
                    <a:pt x="169" y="76"/>
                  </a:cubicBezTo>
                  <a:cubicBezTo>
                    <a:pt x="171" y="78"/>
                    <a:pt x="169" y="81"/>
                    <a:pt x="163" y="82"/>
                  </a:cubicBezTo>
                  <a:cubicBezTo>
                    <a:pt x="157" y="82"/>
                    <a:pt x="154" y="83"/>
                    <a:pt x="151" y="84"/>
                  </a:cubicBezTo>
                  <a:cubicBezTo>
                    <a:pt x="149" y="86"/>
                    <a:pt x="143" y="88"/>
                    <a:pt x="139" y="100"/>
                  </a:cubicBezTo>
                  <a:cubicBezTo>
                    <a:pt x="136" y="113"/>
                    <a:pt x="137" y="116"/>
                    <a:pt x="140" y="122"/>
                  </a:cubicBezTo>
                  <a:cubicBezTo>
                    <a:pt x="143" y="128"/>
                    <a:pt x="145" y="135"/>
                    <a:pt x="145" y="135"/>
                  </a:cubicBezTo>
                  <a:cubicBezTo>
                    <a:pt x="145" y="135"/>
                    <a:pt x="137" y="133"/>
                    <a:pt x="136" y="131"/>
                  </a:cubicBezTo>
                  <a:cubicBezTo>
                    <a:pt x="134" y="129"/>
                    <a:pt x="128" y="126"/>
                    <a:pt x="128" y="126"/>
                  </a:cubicBezTo>
                  <a:cubicBezTo>
                    <a:pt x="128" y="126"/>
                    <a:pt x="129" y="140"/>
                    <a:pt x="132" y="144"/>
                  </a:cubicBezTo>
                  <a:cubicBezTo>
                    <a:pt x="135" y="147"/>
                    <a:pt x="137" y="147"/>
                    <a:pt x="135" y="150"/>
                  </a:cubicBezTo>
                  <a:cubicBezTo>
                    <a:pt x="132" y="152"/>
                    <a:pt x="128" y="149"/>
                    <a:pt x="127" y="155"/>
                  </a:cubicBezTo>
                  <a:cubicBezTo>
                    <a:pt x="127" y="160"/>
                    <a:pt x="128" y="160"/>
                    <a:pt x="126" y="162"/>
                  </a:cubicBezTo>
                  <a:cubicBezTo>
                    <a:pt x="123" y="163"/>
                    <a:pt x="124" y="163"/>
                    <a:pt x="126" y="168"/>
                  </a:cubicBezTo>
                  <a:cubicBezTo>
                    <a:pt x="128" y="173"/>
                    <a:pt x="135" y="175"/>
                    <a:pt x="137" y="180"/>
                  </a:cubicBezTo>
                  <a:cubicBezTo>
                    <a:pt x="138" y="184"/>
                    <a:pt x="142" y="186"/>
                    <a:pt x="144" y="193"/>
                  </a:cubicBezTo>
                  <a:cubicBezTo>
                    <a:pt x="147" y="200"/>
                    <a:pt x="152" y="213"/>
                    <a:pt x="157" y="216"/>
                  </a:cubicBezTo>
                  <a:cubicBezTo>
                    <a:pt x="161" y="220"/>
                    <a:pt x="170" y="218"/>
                    <a:pt x="169" y="214"/>
                  </a:cubicBezTo>
                  <a:cubicBezTo>
                    <a:pt x="168" y="211"/>
                    <a:pt x="169" y="205"/>
                    <a:pt x="174" y="204"/>
                  </a:cubicBezTo>
                  <a:cubicBezTo>
                    <a:pt x="178" y="203"/>
                    <a:pt x="183" y="207"/>
                    <a:pt x="183" y="211"/>
                  </a:cubicBezTo>
                  <a:cubicBezTo>
                    <a:pt x="183" y="215"/>
                    <a:pt x="186" y="217"/>
                    <a:pt x="189" y="218"/>
                  </a:cubicBezTo>
                  <a:cubicBezTo>
                    <a:pt x="192" y="220"/>
                    <a:pt x="199" y="224"/>
                    <a:pt x="201" y="222"/>
                  </a:cubicBezTo>
                  <a:cubicBezTo>
                    <a:pt x="202" y="221"/>
                    <a:pt x="207" y="219"/>
                    <a:pt x="211" y="220"/>
                  </a:cubicBezTo>
                  <a:cubicBezTo>
                    <a:pt x="214" y="222"/>
                    <a:pt x="222" y="228"/>
                    <a:pt x="218" y="231"/>
                  </a:cubicBezTo>
                  <a:cubicBezTo>
                    <a:pt x="215" y="235"/>
                    <a:pt x="211" y="234"/>
                    <a:pt x="210" y="234"/>
                  </a:cubicBezTo>
                  <a:cubicBezTo>
                    <a:pt x="209" y="234"/>
                    <a:pt x="209" y="237"/>
                    <a:pt x="210" y="241"/>
                  </a:cubicBezTo>
                  <a:cubicBezTo>
                    <a:pt x="210" y="244"/>
                    <a:pt x="213" y="245"/>
                    <a:pt x="216" y="251"/>
                  </a:cubicBezTo>
                  <a:cubicBezTo>
                    <a:pt x="219" y="256"/>
                    <a:pt x="221" y="257"/>
                    <a:pt x="228" y="260"/>
                  </a:cubicBezTo>
                  <a:cubicBezTo>
                    <a:pt x="236" y="264"/>
                    <a:pt x="243" y="260"/>
                    <a:pt x="245" y="264"/>
                  </a:cubicBezTo>
                  <a:cubicBezTo>
                    <a:pt x="246" y="268"/>
                    <a:pt x="248" y="275"/>
                    <a:pt x="245" y="278"/>
                  </a:cubicBezTo>
                  <a:cubicBezTo>
                    <a:pt x="242" y="281"/>
                    <a:pt x="237" y="278"/>
                    <a:pt x="237" y="288"/>
                  </a:cubicBezTo>
                  <a:cubicBezTo>
                    <a:pt x="238" y="297"/>
                    <a:pt x="237" y="301"/>
                    <a:pt x="240" y="305"/>
                  </a:cubicBezTo>
                  <a:cubicBezTo>
                    <a:pt x="243" y="309"/>
                    <a:pt x="264" y="317"/>
                    <a:pt x="264" y="319"/>
                  </a:cubicBezTo>
                  <a:cubicBezTo>
                    <a:pt x="265" y="322"/>
                    <a:pt x="258" y="320"/>
                    <a:pt x="258" y="325"/>
                  </a:cubicBezTo>
                  <a:cubicBezTo>
                    <a:pt x="258" y="329"/>
                    <a:pt x="258" y="331"/>
                    <a:pt x="258" y="336"/>
                  </a:cubicBezTo>
                  <a:cubicBezTo>
                    <a:pt x="258" y="342"/>
                    <a:pt x="260" y="344"/>
                    <a:pt x="263" y="348"/>
                  </a:cubicBezTo>
                  <a:cubicBezTo>
                    <a:pt x="266" y="352"/>
                    <a:pt x="276" y="357"/>
                    <a:pt x="278" y="363"/>
                  </a:cubicBezTo>
                  <a:cubicBezTo>
                    <a:pt x="280" y="370"/>
                    <a:pt x="283" y="404"/>
                    <a:pt x="283" y="404"/>
                  </a:cubicBezTo>
                  <a:cubicBezTo>
                    <a:pt x="283" y="404"/>
                    <a:pt x="276" y="400"/>
                    <a:pt x="271" y="399"/>
                  </a:cubicBezTo>
                  <a:cubicBezTo>
                    <a:pt x="266" y="398"/>
                    <a:pt x="258" y="393"/>
                    <a:pt x="251" y="388"/>
                  </a:cubicBezTo>
                  <a:cubicBezTo>
                    <a:pt x="244" y="383"/>
                    <a:pt x="240" y="387"/>
                    <a:pt x="226" y="378"/>
                  </a:cubicBezTo>
                  <a:cubicBezTo>
                    <a:pt x="212" y="369"/>
                    <a:pt x="193" y="359"/>
                    <a:pt x="182" y="353"/>
                  </a:cubicBezTo>
                  <a:cubicBezTo>
                    <a:pt x="170" y="347"/>
                    <a:pt x="151" y="329"/>
                    <a:pt x="144" y="321"/>
                  </a:cubicBezTo>
                  <a:cubicBezTo>
                    <a:pt x="137" y="313"/>
                    <a:pt x="139" y="302"/>
                    <a:pt x="135" y="297"/>
                  </a:cubicBezTo>
                  <a:cubicBezTo>
                    <a:pt x="131" y="292"/>
                    <a:pt x="124" y="290"/>
                    <a:pt x="122" y="288"/>
                  </a:cubicBezTo>
                  <a:cubicBezTo>
                    <a:pt x="120" y="285"/>
                    <a:pt x="125" y="285"/>
                    <a:pt x="126" y="281"/>
                  </a:cubicBezTo>
                  <a:cubicBezTo>
                    <a:pt x="126" y="277"/>
                    <a:pt x="122" y="274"/>
                    <a:pt x="125" y="270"/>
                  </a:cubicBezTo>
                  <a:cubicBezTo>
                    <a:pt x="128" y="266"/>
                    <a:pt x="130" y="261"/>
                    <a:pt x="128" y="258"/>
                  </a:cubicBezTo>
                  <a:cubicBezTo>
                    <a:pt x="126" y="255"/>
                    <a:pt x="125" y="237"/>
                    <a:pt x="119" y="231"/>
                  </a:cubicBezTo>
                  <a:cubicBezTo>
                    <a:pt x="113" y="226"/>
                    <a:pt x="111" y="218"/>
                    <a:pt x="111" y="212"/>
                  </a:cubicBezTo>
                  <a:cubicBezTo>
                    <a:pt x="111" y="206"/>
                    <a:pt x="110" y="201"/>
                    <a:pt x="107" y="197"/>
                  </a:cubicBezTo>
                  <a:cubicBezTo>
                    <a:pt x="104" y="192"/>
                    <a:pt x="105" y="184"/>
                    <a:pt x="101" y="181"/>
                  </a:cubicBezTo>
                  <a:cubicBezTo>
                    <a:pt x="97" y="178"/>
                    <a:pt x="98" y="176"/>
                    <a:pt x="97" y="170"/>
                  </a:cubicBezTo>
                  <a:cubicBezTo>
                    <a:pt x="97" y="163"/>
                    <a:pt x="102" y="159"/>
                    <a:pt x="98" y="155"/>
                  </a:cubicBezTo>
                  <a:cubicBezTo>
                    <a:pt x="95" y="150"/>
                    <a:pt x="92" y="147"/>
                    <a:pt x="92" y="144"/>
                  </a:cubicBezTo>
                  <a:cubicBezTo>
                    <a:pt x="91" y="140"/>
                    <a:pt x="88" y="143"/>
                    <a:pt x="83" y="139"/>
                  </a:cubicBezTo>
                  <a:cubicBezTo>
                    <a:pt x="77" y="134"/>
                    <a:pt x="69" y="128"/>
                    <a:pt x="67" y="124"/>
                  </a:cubicBezTo>
                  <a:cubicBezTo>
                    <a:pt x="66" y="120"/>
                    <a:pt x="66" y="115"/>
                    <a:pt x="68" y="113"/>
                  </a:cubicBezTo>
                  <a:cubicBezTo>
                    <a:pt x="70" y="111"/>
                    <a:pt x="70" y="107"/>
                    <a:pt x="66" y="110"/>
                  </a:cubicBezTo>
                  <a:cubicBezTo>
                    <a:pt x="62" y="113"/>
                    <a:pt x="57" y="121"/>
                    <a:pt x="56" y="125"/>
                  </a:cubicBezTo>
                  <a:cubicBezTo>
                    <a:pt x="55" y="130"/>
                    <a:pt x="56" y="133"/>
                    <a:pt x="61" y="138"/>
                  </a:cubicBezTo>
                  <a:cubicBezTo>
                    <a:pt x="66" y="143"/>
                    <a:pt x="67" y="147"/>
                    <a:pt x="72" y="145"/>
                  </a:cubicBezTo>
                  <a:cubicBezTo>
                    <a:pt x="78" y="143"/>
                    <a:pt x="80" y="149"/>
                    <a:pt x="78" y="152"/>
                  </a:cubicBezTo>
                  <a:cubicBezTo>
                    <a:pt x="75" y="154"/>
                    <a:pt x="73" y="156"/>
                    <a:pt x="73" y="158"/>
                  </a:cubicBezTo>
                  <a:cubicBezTo>
                    <a:pt x="67" y="157"/>
                    <a:pt x="67" y="157"/>
                    <a:pt x="67" y="157"/>
                  </a:cubicBezTo>
                  <a:cubicBezTo>
                    <a:pt x="67" y="153"/>
                    <a:pt x="67" y="153"/>
                    <a:pt x="67" y="153"/>
                  </a:cubicBezTo>
                  <a:cubicBezTo>
                    <a:pt x="59" y="155"/>
                    <a:pt x="59" y="155"/>
                    <a:pt x="59" y="155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37" y="135"/>
                    <a:pt x="37" y="135"/>
                    <a:pt x="37" y="135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7" y="123"/>
                    <a:pt x="27" y="123"/>
                    <a:pt x="27" y="123"/>
                  </a:cubicBezTo>
                  <a:cubicBezTo>
                    <a:pt x="20" y="123"/>
                    <a:pt x="20" y="123"/>
                    <a:pt x="20" y="123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8" y="65"/>
                    <a:pt x="78" y="65"/>
                    <a:pt x="78" y="65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9" y="57"/>
                    <a:pt x="89" y="57"/>
                    <a:pt x="89" y="57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0" y="30"/>
                    <a:pt x="110" y="30"/>
                    <a:pt x="110" y="30"/>
                  </a:cubicBezTo>
                  <a:cubicBezTo>
                    <a:pt x="116" y="22"/>
                    <a:pt x="116" y="22"/>
                    <a:pt x="116" y="22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25" y="3"/>
                    <a:pt x="125" y="3"/>
                    <a:pt x="125" y="3"/>
                  </a:cubicBezTo>
                  <a:cubicBezTo>
                    <a:pt x="129" y="7"/>
                    <a:pt x="129" y="7"/>
                    <a:pt x="129" y="7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40" y="0"/>
                    <a:pt x="140" y="0"/>
                    <a:pt x="140" y="0"/>
                  </a:cubicBezTo>
                  <a:close/>
                  <a:moveTo>
                    <a:pt x="304" y="479"/>
                  </a:moveTo>
                  <a:cubicBezTo>
                    <a:pt x="304" y="478"/>
                    <a:pt x="304" y="478"/>
                    <a:pt x="305" y="478"/>
                  </a:cubicBezTo>
                  <a:cubicBezTo>
                    <a:pt x="306" y="478"/>
                    <a:pt x="306" y="478"/>
                    <a:pt x="306" y="479"/>
                  </a:cubicBezTo>
                  <a:cubicBezTo>
                    <a:pt x="307" y="481"/>
                    <a:pt x="306" y="484"/>
                    <a:pt x="306" y="484"/>
                  </a:cubicBezTo>
                  <a:cubicBezTo>
                    <a:pt x="306" y="485"/>
                    <a:pt x="306" y="485"/>
                    <a:pt x="305" y="485"/>
                  </a:cubicBezTo>
                  <a:cubicBezTo>
                    <a:pt x="305" y="485"/>
                    <a:pt x="304" y="484"/>
                    <a:pt x="304" y="484"/>
                  </a:cubicBezTo>
                  <a:cubicBezTo>
                    <a:pt x="304" y="484"/>
                    <a:pt x="305" y="481"/>
                    <a:pt x="304" y="479"/>
                  </a:cubicBezTo>
                  <a:close/>
                  <a:moveTo>
                    <a:pt x="295" y="455"/>
                  </a:moveTo>
                  <a:cubicBezTo>
                    <a:pt x="298" y="456"/>
                    <a:pt x="306" y="462"/>
                    <a:pt x="302" y="463"/>
                  </a:cubicBezTo>
                  <a:cubicBezTo>
                    <a:pt x="299" y="464"/>
                    <a:pt x="296" y="465"/>
                    <a:pt x="295" y="462"/>
                  </a:cubicBezTo>
                  <a:cubicBezTo>
                    <a:pt x="294" y="458"/>
                    <a:pt x="295" y="455"/>
                    <a:pt x="295" y="455"/>
                  </a:cubicBezTo>
                  <a:close/>
                  <a:moveTo>
                    <a:pt x="282" y="418"/>
                  </a:moveTo>
                  <a:cubicBezTo>
                    <a:pt x="282" y="422"/>
                    <a:pt x="287" y="427"/>
                    <a:pt x="285" y="433"/>
                  </a:cubicBezTo>
                  <a:cubicBezTo>
                    <a:pt x="283" y="440"/>
                    <a:pt x="289" y="443"/>
                    <a:pt x="290" y="437"/>
                  </a:cubicBezTo>
                  <a:cubicBezTo>
                    <a:pt x="292" y="431"/>
                    <a:pt x="294" y="426"/>
                    <a:pt x="289" y="421"/>
                  </a:cubicBezTo>
                  <a:cubicBezTo>
                    <a:pt x="285" y="415"/>
                    <a:pt x="282" y="418"/>
                    <a:pt x="282" y="418"/>
                  </a:cubicBezTo>
                  <a:close/>
                  <a:moveTo>
                    <a:pt x="263" y="195"/>
                  </a:moveTo>
                  <a:cubicBezTo>
                    <a:pt x="263" y="195"/>
                    <a:pt x="260" y="198"/>
                    <a:pt x="261" y="201"/>
                  </a:cubicBezTo>
                  <a:cubicBezTo>
                    <a:pt x="261" y="204"/>
                    <a:pt x="278" y="203"/>
                    <a:pt x="282" y="202"/>
                  </a:cubicBezTo>
                  <a:cubicBezTo>
                    <a:pt x="286" y="200"/>
                    <a:pt x="280" y="195"/>
                    <a:pt x="278" y="196"/>
                  </a:cubicBezTo>
                  <a:cubicBezTo>
                    <a:pt x="275" y="196"/>
                    <a:pt x="265" y="195"/>
                    <a:pt x="263" y="195"/>
                  </a:cubicBezTo>
                  <a:close/>
                  <a:moveTo>
                    <a:pt x="149" y="166"/>
                  </a:moveTo>
                  <a:cubicBezTo>
                    <a:pt x="148" y="169"/>
                    <a:pt x="149" y="176"/>
                    <a:pt x="151" y="179"/>
                  </a:cubicBezTo>
                  <a:cubicBezTo>
                    <a:pt x="151" y="180"/>
                    <a:pt x="153" y="180"/>
                    <a:pt x="154" y="181"/>
                  </a:cubicBezTo>
                  <a:cubicBezTo>
                    <a:pt x="157" y="183"/>
                    <a:pt x="155" y="188"/>
                    <a:pt x="158" y="188"/>
                  </a:cubicBezTo>
                  <a:cubicBezTo>
                    <a:pt x="160" y="189"/>
                    <a:pt x="159" y="181"/>
                    <a:pt x="159" y="174"/>
                  </a:cubicBezTo>
                  <a:cubicBezTo>
                    <a:pt x="158" y="168"/>
                    <a:pt x="159" y="167"/>
                    <a:pt x="157" y="167"/>
                  </a:cubicBezTo>
                  <a:cubicBezTo>
                    <a:pt x="154" y="166"/>
                    <a:pt x="149" y="166"/>
                    <a:pt x="149" y="166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8" name="Freeform 58"/>
            <p:cNvSpPr>
              <a:spLocks/>
            </p:cNvSpPr>
            <p:nvPr/>
          </p:nvSpPr>
          <p:spPr bwMode="auto">
            <a:xfrm>
              <a:off x="4565" y="3720"/>
              <a:ext cx="211" cy="488"/>
            </a:xfrm>
            <a:custGeom>
              <a:avLst/>
              <a:gdLst>
                <a:gd name="T0" fmla="*/ 92 w 101"/>
                <a:gd name="T1" fmla="*/ 20 h 234"/>
                <a:gd name="T2" fmla="*/ 100 w 101"/>
                <a:gd name="T3" fmla="*/ 54 h 234"/>
                <a:gd name="T4" fmla="*/ 99 w 101"/>
                <a:gd name="T5" fmla="*/ 114 h 234"/>
                <a:gd name="T6" fmla="*/ 99 w 101"/>
                <a:gd name="T7" fmla="*/ 150 h 234"/>
                <a:gd name="T8" fmla="*/ 89 w 101"/>
                <a:gd name="T9" fmla="*/ 180 h 234"/>
                <a:gd name="T10" fmla="*/ 77 w 101"/>
                <a:gd name="T11" fmla="*/ 198 h 234"/>
                <a:gd name="T12" fmla="*/ 64 w 101"/>
                <a:gd name="T13" fmla="*/ 201 h 234"/>
                <a:gd name="T14" fmla="*/ 53 w 101"/>
                <a:gd name="T15" fmla="*/ 197 h 234"/>
                <a:gd name="T16" fmla="*/ 43 w 101"/>
                <a:gd name="T17" fmla="*/ 206 h 234"/>
                <a:gd name="T18" fmla="*/ 43 w 101"/>
                <a:gd name="T19" fmla="*/ 223 h 234"/>
                <a:gd name="T20" fmla="*/ 38 w 101"/>
                <a:gd name="T21" fmla="*/ 234 h 234"/>
                <a:gd name="T22" fmla="*/ 36 w 101"/>
                <a:gd name="T23" fmla="*/ 218 h 234"/>
                <a:gd name="T24" fmla="*/ 28 w 101"/>
                <a:gd name="T25" fmla="*/ 198 h 234"/>
                <a:gd name="T26" fmla="*/ 3 w 101"/>
                <a:gd name="T27" fmla="*/ 172 h 234"/>
                <a:gd name="T28" fmla="*/ 9 w 101"/>
                <a:gd name="T29" fmla="*/ 150 h 234"/>
                <a:gd name="T30" fmla="*/ 31 w 101"/>
                <a:gd name="T31" fmla="*/ 135 h 234"/>
                <a:gd name="T32" fmla="*/ 30 w 101"/>
                <a:gd name="T33" fmla="*/ 116 h 234"/>
                <a:gd name="T34" fmla="*/ 26 w 101"/>
                <a:gd name="T35" fmla="*/ 97 h 234"/>
                <a:gd name="T36" fmla="*/ 31 w 101"/>
                <a:gd name="T37" fmla="*/ 89 h 234"/>
                <a:gd name="T38" fmla="*/ 31 w 101"/>
                <a:gd name="T39" fmla="*/ 73 h 234"/>
                <a:gd name="T40" fmla="*/ 43 w 101"/>
                <a:gd name="T41" fmla="*/ 71 h 234"/>
                <a:gd name="T42" fmla="*/ 56 w 101"/>
                <a:gd name="T43" fmla="*/ 70 h 234"/>
                <a:gd name="T44" fmla="*/ 67 w 101"/>
                <a:gd name="T45" fmla="*/ 60 h 234"/>
                <a:gd name="T46" fmla="*/ 63 w 101"/>
                <a:gd name="T47" fmla="*/ 50 h 234"/>
                <a:gd name="T48" fmla="*/ 74 w 101"/>
                <a:gd name="T49" fmla="*/ 39 h 234"/>
                <a:gd name="T50" fmla="*/ 74 w 101"/>
                <a:gd name="T51" fmla="*/ 21 h 234"/>
                <a:gd name="T52" fmla="*/ 68 w 101"/>
                <a:gd name="T53" fmla="*/ 26 h 234"/>
                <a:gd name="T54" fmla="*/ 59 w 101"/>
                <a:gd name="T55" fmla="*/ 21 h 234"/>
                <a:gd name="T56" fmla="*/ 53 w 101"/>
                <a:gd name="T57" fmla="*/ 16 h 234"/>
                <a:gd name="T58" fmla="*/ 62 w 101"/>
                <a:gd name="T59" fmla="*/ 1 h 234"/>
                <a:gd name="T60" fmla="*/ 74 w 101"/>
                <a:gd name="T61" fmla="*/ 6 h 234"/>
                <a:gd name="T62" fmla="*/ 81 w 101"/>
                <a:gd name="T63" fmla="*/ 15 h 234"/>
                <a:gd name="T64" fmla="*/ 92 w 101"/>
                <a:gd name="T65" fmla="*/ 1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1" h="234">
                  <a:moveTo>
                    <a:pt x="92" y="17"/>
                  </a:moveTo>
                  <a:cubicBezTo>
                    <a:pt x="92" y="18"/>
                    <a:pt x="92" y="19"/>
                    <a:pt x="92" y="20"/>
                  </a:cubicBezTo>
                  <a:cubicBezTo>
                    <a:pt x="94" y="31"/>
                    <a:pt x="91" y="32"/>
                    <a:pt x="95" y="37"/>
                  </a:cubicBezTo>
                  <a:cubicBezTo>
                    <a:pt x="99" y="43"/>
                    <a:pt x="99" y="49"/>
                    <a:pt x="100" y="54"/>
                  </a:cubicBezTo>
                  <a:cubicBezTo>
                    <a:pt x="100" y="60"/>
                    <a:pt x="97" y="83"/>
                    <a:pt x="98" y="93"/>
                  </a:cubicBezTo>
                  <a:cubicBezTo>
                    <a:pt x="99" y="103"/>
                    <a:pt x="101" y="104"/>
                    <a:pt x="99" y="114"/>
                  </a:cubicBezTo>
                  <a:cubicBezTo>
                    <a:pt x="96" y="124"/>
                    <a:pt x="95" y="123"/>
                    <a:pt x="97" y="127"/>
                  </a:cubicBezTo>
                  <a:cubicBezTo>
                    <a:pt x="99" y="131"/>
                    <a:pt x="99" y="145"/>
                    <a:pt x="99" y="150"/>
                  </a:cubicBezTo>
                  <a:cubicBezTo>
                    <a:pt x="98" y="156"/>
                    <a:pt x="96" y="165"/>
                    <a:pt x="94" y="171"/>
                  </a:cubicBezTo>
                  <a:cubicBezTo>
                    <a:pt x="91" y="177"/>
                    <a:pt x="89" y="175"/>
                    <a:pt x="89" y="180"/>
                  </a:cubicBezTo>
                  <a:cubicBezTo>
                    <a:pt x="88" y="184"/>
                    <a:pt x="84" y="189"/>
                    <a:pt x="82" y="191"/>
                  </a:cubicBezTo>
                  <a:cubicBezTo>
                    <a:pt x="81" y="193"/>
                    <a:pt x="79" y="198"/>
                    <a:pt x="77" y="198"/>
                  </a:cubicBezTo>
                  <a:cubicBezTo>
                    <a:pt x="75" y="198"/>
                    <a:pt x="71" y="197"/>
                    <a:pt x="69" y="199"/>
                  </a:cubicBezTo>
                  <a:cubicBezTo>
                    <a:pt x="67" y="201"/>
                    <a:pt x="66" y="200"/>
                    <a:pt x="64" y="201"/>
                  </a:cubicBezTo>
                  <a:cubicBezTo>
                    <a:pt x="62" y="202"/>
                    <a:pt x="60" y="204"/>
                    <a:pt x="59" y="202"/>
                  </a:cubicBezTo>
                  <a:cubicBezTo>
                    <a:pt x="58" y="199"/>
                    <a:pt x="54" y="195"/>
                    <a:pt x="53" y="197"/>
                  </a:cubicBezTo>
                  <a:cubicBezTo>
                    <a:pt x="52" y="200"/>
                    <a:pt x="50" y="202"/>
                    <a:pt x="48" y="200"/>
                  </a:cubicBezTo>
                  <a:cubicBezTo>
                    <a:pt x="46" y="199"/>
                    <a:pt x="43" y="203"/>
                    <a:pt x="43" y="206"/>
                  </a:cubicBezTo>
                  <a:cubicBezTo>
                    <a:pt x="44" y="208"/>
                    <a:pt x="44" y="212"/>
                    <a:pt x="43" y="213"/>
                  </a:cubicBezTo>
                  <a:cubicBezTo>
                    <a:pt x="41" y="215"/>
                    <a:pt x="44" y="223"/>
                    <a:pt x="43" y="223"/>
                  </a:cubicBezTo>
                  <a:cubicBezTo>
                    <a:pt x="41" y="224"/>
                    <a:pt x="39" y="225"/>
                    <a:pt x="38" y="227"/>
                  </a:cubicBezTo>
                  <a:cubicBezTo>
                    <a:pt x="38" y="228"/>
                    <a:pt x="39" y="231"/>
                    <a:pt x="38" y="234"/>
                  </a:cubicBezTo>
                  <a:cubicBezTo>
                    <a:pt x="34" y="232"/>
                    <a:pt x="31" y="230"/>
                    <a:pt x="30" y="228"/>
                  </a:cubicBezTo>
                  <a:cubicBezTo>
                    <a:pt x="29" y="225"/>
                    <a:pt x="32" y="222"/>
                    <a:pt x="36" y="218"/>
                  </a:cubicBezTo>
                  <a:cubicBezTo>
                    <a:pt x="40" y="214"/>
                    <a:pt x="36" y="214"/>
                    <a:pt x="35" y="210"/>
                  </a:cubicBezTo>
                  <a:cubicBezTo>
                    <a:pt x="33" y="207"/>
                    <a:pt x="30" y="203"/>
                    <a:pt x="28" y="198"/>
                  </a:cubicBezTo>
                  <a:cubicBezTo>
                    <a:pt x="25" y="193"/>
                    <a:pt x="21" y="187"/>
                    <a:pt x="17" y="182"/>
                  </a:cubicBezTo>
                  <a:cubicBezTo>
                    <a:pt x="14" y="176"/>
                    <a:pt x="6" y="175"/>
                    <a:pt x="3" y="172"/>
                  </a:cubicBezTo>
                  <a:cubicBezTo>
                    <a:pt x="0" y="169"/>
                    <a:pt x="4" y="166"/>
                    <a:pt x="9" y="162"/>
                  </a:cubicBezTo>
                  <a:cubicBezTo>
                    <a:pt x="13" y="158"/>
                    <a:pt x="7" y="156"/>
                    <a:pt x="9" y="150"/>
                  </a:cubicBezTo>
                  <a:cubicBezTo>
                    <a:pt x="12" y="144"/>
                    <a:pt x="26" y="147"/>
                    <a:pt x="31" y="145"/>
                  </a:cubicBezTo>
                  <a:cubicBezTo>
                    <a:pt x="37" y="142"/>
                    <a:pt x="33" y="139"/>
                    <a:pt x="31" y="135"/>
                  </a:cubicBezTo>
                  <a:cubicBezTo>
                    <a:pt x="29" y="132"/>
                    <a:pt x="30" y="129"/>
                    <a:pt x="32" y="126"/>
                  </a:cubicBezTo>
                  <a:cubicBezTo>
                    <a:pt x="34" y="124"/>
                    <a:pt x="30" y="118"/>
                    <a:pt x="30" y="116"/>
                  </a:cubicBezTo>
                  <a:cubicBezTo>
                    <a:pt x="29" y="115"/>
                    <a:pt x="29" y="110"/>
                    <a:pt x="29" y="107"/>
                  </a:cubicBezTo>
                  <a:cubicBezTo>
                    <a:pt x="29" y="104"/>
                    <a:pt x="27" y="100"/>
                    <a:pt x="26" y="97"/>
                  </a:cubicBezTo>
                  <a:cubicBezTo>
                    <a:pt x="25" y="96"/>
                    <a:pt x="24" y="94"/>
                    <a:pt x="23" y="92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61" y="11"/>
                    <a:pt x="61" y="11"/>
                    <a:pt x="61" y="1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7" y="20"/>
                    <a:pt x="87" y="20"/>
                    <a:pt x="87" y="20"/>
                  </a:cubicBezTo>
                  <a:lnTo>
                    <a:pt x="92" y="17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9" name="Freeform 59"/>
            <p:cNvSpPr>
              <a:spLocks noEditPoints="1"/>
            </p:cNvSpPr>
            <p:nvPr/>
          </p:nvSpPr>
          <p:spPr bwMode="auto">
            <a:xfrm>
              <a:off x="4142" y="2930"/>
              <a:ext cx="615" cy="982"/>
            </a:xfrm>
            <a:custGeom>
              <a:avLst/>
              <a:gdLst>
                <a:gd name="T0" fmla="*/ 137 w 295"/>
                <a:gd name="T1" fmla="*/ 58 h 471"/>
                <a:gd name="T2" fmla="*/ 112 w 295"/>
                <a:gd name="T3" fmla="*/ 142 h 471"/>
                <a:gd name="T4" fmla="*/ 102 w 295"/>
                <a:gd name="T5" fmla="*/ 255 h 471"/>
                <a:gd name="T6" fmla="*/ 142 w 295"/>
                <a:gd name="T7" fmla="*/ 260 h 471"/>
                <a:gd name="T8" fmla="*/ 154 w 295"/>
                <a:gd name="T9" fmla="*/ 271 h 471"/>
                <a:gd name="T10" fmla="*/ 161 w 295"/>
                <a:gd name="T11" fmla="*/ 237 h 471"/>
                <a:gd name="T12" fmla="*/ 215 w 295"/>
                <a:gd name="T13" fmla="*/ 233 h 471"/>
                <a:gd name="T14" fmla="*/ 234 w 295"/>
                <a:gd name="T15" fmla="*/ 256 h 471"/>
                <a:gd name="T16" fmla="*/ 253 w 295"/>
                <a:gd name="T17" fmla="*/ 301 h 471"/>
                <a:gd name="T18" fmla="*/ 293 w 295"/>
                <a:gd name="T19" fmla="*/ 358 h 471"/>
                <a:gd name="T20" fmla="*/ 284 w 295"/>
                <a:gd name="T21" fmla="*/ 394 h 471"/>
                <a:gd name="T22" fmla="*/ 265 w 295"/>
                <a:gd name="T23" fmla="*/ 380 h 471"/>
                <a:gd name="T24" fmla="*/ 262 w 295"/>
                <a:gd name="T25" fmla="*/ 400 h 471"/>
                <a:gd name="T26" fmla="*/ 277 w 295"/>
                <a:gd name="T27" fmla="*/ 400 h 471"/>
                <a:gd name="T28" fmla="*/ 266 w 295"/>
                <a:gd name="T29" fmla="*/ 429 h 471"/>
                <a:gd name="T30" fmla="*/ 259 w 295"/>
                <a:gd name="T31" fmla="*/ 449 h 471"/>
                <a:gd name="T32" fmla="*/ 234 w 295"/>
                <a:gd name="T33" fmla="*/ 452 h 471"/>
                <a:gd name="T34" fmla="*/ 224 w 295"/>
                <a:gd name="T35" fmla="*/ 465 h 471"/>
                <a:gd name="T36" fmla="*/ 216 w 295"/>
                <a:gd name="T37" fmla="*/ 436 h 471"/>
                <a:gd name="T38" fmla="*/ 196 w 295"/>
                <a:gd name="T39" fmla="*/ 417 h 471"/>
                <a:gd name="T40" fmla="*/ 171 w 295"/>
                <a:gd name="T41" fmla="*/ 424 h 471"/>
                <a:gd name="T42" fmla="*/ 148 w 295"/>
                <a:gd name="T43" fmla="*/ 442 h 471"/>
                <a:gd name="T44" fmla="*/ 134 w 295"/>
                <a:gd name="T45" fmla="*/ 427 h 471"/>
                <a:gd name="T46" fmla="*/ 119 w 295"/>
                <a:gd name="T47" fmla="*/ 419 h 471"/>
                <a:gd name="T48" fmla="*/ 106 w 295"/>
                <a:gd name="T49" fmla="*/ 389 h 471"/>
                <a:gd name="T50" fmla="*/ 116 w 295"/>
                <a:gd name="T51" fmla="*/ 367 h 471"/>
                <a:gd name="T52" fmla="*/ 114 w 295"/>
                <a:gd name="T53" fmla="*/ 339 h 471"/>
                <a:gd name="T54" fmla="*/ 135 w 295"/>
                <a:gd name="T55" fmla="*/ 323 h 471"/>
                <a:gd name="T56" fmla="*/ 111 w 295"/>
                <a:gd name="T57" fmla="*/ 313 h 471"/>
                <a:gd name="T58" fmla="*/ 96 w 295"/>
                <a:gd name="T59" fmla="*/ 330 h 471"/>
                <a:gd name="T60" fmla="*/ 62 w 295"/>
                <a:gd name="T61" fmla="*/ 336 h 471"/>
                <a:gd name="T62" fmla="*/ 52 w 295"/>
                <a:gd name="T63" fmla="*/ 311 h 471"/>
                <a:gd name="T64" fmla="*/ 62 w 295"/>
                <a:gd name="T65" fmla="*/ 278 h 471"/>
                <a:gd name="T66" fmla="*/ 39 w 295"/>
                <a:gd name="T67" fmla="*/ 284 h 471"/>
                <a:gd name="T68" fmla="*/ 26 w 295"/>
                <a:gd name="T69" fmla="*/ 273 h 471"/>
                <a:gd name="T70" fmla="*/ 18 w 295"/>
                <a:gd name="T71" fmla="*/ 251 h 471"/>
                <a:gd name="T72" fmla="*/ 10 w 295"/>
                <a:gd name="T73" fmla="*/ 238 h 471"/>
                <a:gd name="T74" fmla="*/ 6 w 295"/>
                <a:gd name="T75" fmla="*/ 221 h 471"/>
                <a:gd name="T76" fmla="*/ 0 w 295"/>
                <a:gd name="T77" fmla="*/ 196 h 471"/>
                <a:gd name="T78" fmla="*/ 10 w 295"/>
                <a:gd name="T79" fmla="*/ 174 h 471"/>
                <a:gd name="T80" fmla="*/ 26 w 295"/>
                <a:gd name="T81" fmla="*/ 158 h 471"/>
                <a:gd name="T82" fmla="*/ 43 w 295"/>
                <a:gd name="T83" fmla="*/ 129 h 471"/>
                <a:gd name="T84" fmla="*/ 38 w 295"/>
                <a:gd name="T85" fmla="*/ 105 h 471"/>
                <a:gd name="T86" fmla="*/ 32 w 295"/>
                <a:gd name="T87" fmla="*/ 75 h 471"/>
                <a:gd name="T88" fmla="*/ 24 w 295"/>
                <a:gd name="T89" fmla="*/ 36 h 471"/>
                <a:gd name="T90" fmla="*/ 57 w 295"/>
                <a:gd name="T91" fmla="*/ 32 h 471"/>
                <a:gd name="T92" fmla="*/ 74 w 295"/>
                <a:gd name="T93" fmla="*/ 9 h 471"/>
                <a:gd name="T94" fmla="*/ 119 w 295"/>
                <a:gd name="T95" fmla="*/ 11 h 471"/>
                <a:gd name="T96" fmla="*/ 116 w 295"/>
                <a:gd name="T97" fmla="*/ 30 h 471"/>
                <a:gd name="T98" fmla="*/ 142 w 295"/>
                <a:gd name="T99" fmla="*/ 35 h 471"/>
                <a:gd name="T100" fmla="*/ 130 w 295"/>
                <a:gd name="T101" fmla="*/ 24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5" h="471">
                  <a:moveTo>
                    <a:pt x="152" y="42"/>
                  </a:moveTo>
                  <a:cubicBezTo>
                    <a:pt x="149" y="44"/>
                    <a:pt x="147" y="45"/>
                    <a:pt x="148" y="47"/>
                  </a:cubicBezTo>
                  <a:cubicBezTo>
                    <a:pt x="149" y="50"/>
                    <a:pt x="153" y="53"/>
                    <a:pt x="149" y="55"/>
                  </a:cubicBezTo>
                  <a:cubicBezTo>
                    <a:pt x="144" y="56"/>
                    <a:pt x="141" y="56"/>
                    <a:pt x="137" y="58"/>
                  </a:cubicBezTo>
                  <a:cubicBezTo>
                    <a:pt x="134" y="60"/>
                    <a:pt x="117" y="73"/>
                    <a:pt x="111" y="84"/>
                  </a:cubicBezTo>
                  <a:cubicBezTo>
                    <a:pt x="106" y="95"/>
                    <a:pt x="106" y="100"/>
                    <a:pt x="108" y="106"/>
                  </a:cubicBezTo>
                  <a:cubicBezTo>
                    <a:pt x="110" y="112"/>
                    <a:pt x="110" y="120"/>
                    <a:pt x="108" y="124"/>
                  </a:cubicBezTo>
                  <a:cubicBezTo>
                    <a:pt x="106" y="128"/>
                    <a:pt x="115" y="136"/>
                    <a:pt x="112" y="142"/>
                  </a:cubicBezTo>
                  <a:cubicBezTo>
                    <a:pt x="110" y="149"/>
                    <a:pt x="112" y="164"/>
                    <a:pt x="112" y="171"/>
                  </a:cubicBezTo>
                  <a:cubicBezTo>
                    <a:pt x="112" y="178"/>
                    <a:pt x="111" y="196"/>
                    <a:pt x="112" y="205"/>
                  </a:cubicBezTo>
                  <a:cubicBezTo>
                    <a:pt x="114" y="215"/>
                    <a:pt x="105" y="225"/>
                    <a:pt x="104" y="234"/>
                  </a:cubicBezTo>
                  <a:cubicBezTo>
                    <a:pt x="102" y="243"/>
                    <a:pt x="106" y="250"/>
                    <a:pt x="102" y="255"/>
                  </a:cubicBezTo>
                  <a:cubicBezTo>
                    <a:pt x="98" y="260"/>
                    <a:pt x="108" y="272"/>
                    <a:pt x="118" y="261"/>
                  </a:cubicBezTo>
                  <a:cubicBezTo>
                    <a:pt x="128" y="251"/>
                    <a:pt x="129" y="249"/>
                    <a:pt x="133" y="259"/>
                  </a:cubicBezTo>
                  <a:cubicBezTo>
                    <a:pt x="137" y="269"/>
                    <a:pt x="142" y="272"/>
                    <a:pt x="144" y="268"/>
                  </a:cubicBezTo>
                  <a:cubicBezTo>
                    <a:pt x="145" y="264"/>
                    <a:pt x="146" y="265"/>
                    <a:pt x="142" y="260"/>
                  </a:cubicBezTo>
                  <a:cubicBezTo>
                    <a:pt x="139" y="256"/>
                    <a:pt x="140" y="248"/>
                    <a:pt x="143" y="253"/>
                  </a:cubicBezTo>
                  <a:cubicBezTo>
                    <a:pt x="147" y="258"/>
                    <a:pt x="149" y="260"/>
                    <a:pt x="150" y="259"/>
                  </a:cubicBezTo>
                  <a:cubicBezTo>
                    <a:pt x="151" y="258"/>
                    <a:pt x="155" y="256"/>
                    <a:pt x="155" y="260"/>
                  </a:cubicBezTo>
                  <a:cubicBezTo>
                    <a:pt x="155" y="263"/>
                    <a:pt x="151" y="270"/>
                    <a:pt x="154" y="271"/>
                  </a:cubicBezTo>
                  <a:cubicBezTo>
                    <a:pt x="156" y="272"/>
                    <a:pt x="164" y="265"/>
                    <a:pt x="163" y="262"/>
                  </a:cubicBezTo>
                  <a:cubicBezTo>
                    <a:pt x="163" y="260"/>
                    <a:pt x="163" y="257"/>
                    <a:pt x="164" y="254"/>
                  </a:cubicBezTo>
                  <a:cubicBezTo>
                    <a:pt x="165" y="252"/>
                    <a:pt x="164" y="246"/>
                    <a:pt x="160" y="244"/>
                  </a:cubicBezTo>
                  <a:cubicBezTo>
                    <a:pt x="157" y="241"/>
                    <a:pt x="158" y="238"/>
                    <a:pt x="161" y="237"/>
                  </a:cubicBezTo>
                  <a:cubicBezTo>
                    <a:pt x="164" y="237"/>
                    <a:pt x="170" y="234"/>
                    <a:pt x="170" y="232"/>
                  </a:cubicBezTo>
                  <a:cubicBezTo>
                    <a:pt x="171" y="230"/>
                    <a:pt x="178" y="227"/>
                    <a:pt x="183" y="229"/>
                  </a:cubicBezTo>
                  <a:cubicBezTo>
                    <a:pt x="188" y="231"/>
                    <a:pt x="191" y="232"/>
                    <a:pt x="197" y="232"/>
                  </a:cubicBezTo>
                  <a:cubicBezTo>
                    <a:pt x="203" y="231"/>
                    <a:pt x="215" y="229"/>
                    <a:pt x="215" y="233"/>
                  </a:cubicBezTo>
                  <a:cubicBezTo>
                    <a:pt x="215" y="237"/>
                    <a:pt x="217" y="240"/>
                    <a:pt x="215" y="241"/>
                  </a:cubicBezTo>
                  <a:cubicBezTo>
                    <a:pt x="214" y="243"/>
                    <a:pt x="222" y="246"/>
                    <a:pt x="225" y="247"/>
                  </a:cubicBezTo>
                  <a:cubicBezTo>
                    <a:pt x="228" y="248"/>
                    <a:pt x="229" y="250"/>
                    <a:pt x="230" y="252"/>
                  </a:cubicBezTo>
                  <a:cubicBezTo>
                    <a:pt x="231" y="255"/>
                    <a:pt x="233" y="254"/>
                    <a:pt x="234" y="256"/>
                  </a:cubicBezTo>
                  <a:cubicBezTo>
                    <a:pt x="236" y="257"/>
                    <a:pt x="238" y="254"/>
                    <a:pt x="239" y="260"/>
                  </a:cubicBezTo>
                  <a:cubicBezTo>
                    <a:pt x="240" y="266"/>
                    <a:pt x="241" y="267"/>
                    <a:pt x="241" y="272"/>
                  </a:cubicBezTo>
                  <a:cubicBezTo>
                    <a:pt x="242" y="276"/>
                    <a:pt x="244" y="280"/>
                    <a:pt x="244" y="281"/>
                  </a:cubicBezTo>
                  <a:cubicBezTo>
                    <a:pt x="244" y="282"/>
                    <a:pt x="248" y="295"/>
                    <a:pt x="253" y="301"/>
                  </a:cubicBezTo>
                  <a:cubicBezTo>
                    <a:pt x="259" y="308"/>
                    <a:pt x="266" y="307"/>
                    <a:pt x="268" y="313"/>
                  </a:cubicBezTo>
                  <a:cubicBezTo>
                    <a:pt x="269" y="319"/>
                    <a:pt x="271" y="318"/>
                    <a:pt x="273" y="322"/>
                  </a:cubicBezTo>
                  <a:cubicBezTo>
                    <a:pt x="275" y="325"/>
                    <a:pt x="276" y="328"/>
                    <a:pt x="279" y="334"/>
                  </a:cubicBezTo>
                  <a:cubicBezTo>
                    <a:pt x="281" y="340"/>
                    <a:pt x="292" y="353"/>
                    <a:pt x="293" y="358"/>
                  </a:cubicBezTo>
                  <a:cubicBezTo>
                    <a:pt x="293" y="362"/>
                    <a:pt x="289" y="370"/>
                    <a:pt x="291" y="380"/>
                  </a:cubicBezTo>
                  <a:cubicBezTo>
                    <a:pt x="292" y="390"/>
                    <a:pt x="293" y="388"/>
                    <a:pt x="295" y="396"/>
                  </a:cubicBezTo>
                  <a:cubicBezTo>
                    <a:pt x="290" y="399"/>
                    <a:pt x="290" y="399"/>
                    <a:pt x="290" y="399"/>
                  </a:cubicBezTo>
                  <a:cubicBezTo>
                    <a:pt x="284" y="394"/>
                    <a:pt x="284" y="394"/>
                    <a:pt x="284" y="394"/>
                  </a:cubicBezTo>
                  <a:cubicBezTo>
                    <a:pt x="285" y="388"/>
                    <a:pt x="285" y="388"/>
                    <a:pt x="285" y="388"/>
                  </a:cubicBezTo>
                  <a:cubicBezTo>
                    <a:pt x="277" y="385"/>
                    <a:pt x="277" y="385"/>
                    <a:pt x="277" y="385"/>
                  </a:cubicBezTo>
                  <a:cubicBezTo>
                    <a:pt x="269" y="379"/>
                    <a:pt x="269" y="379"/>
                    <a:pt x="269" y="379"/>
                  </a:cubicBezTo>
                  <a:cubicBezTo>
                    <a:pt x="265" y="380"/>
                    <a:pt x="265" y="380"/>
                    <a:pt x="265" y="380"/>
                  </a:cubicBezTo>
                  <a:cubicBezTo>
                    <a:pt x="264" y="390"/>
                    <a:pt x="264" y="390"/>
                    <a:pt x="264" y="390"/>
                  </a:cubicBezTo>
                  <a:cubicBezTo>
                    <a:pt x="256" y="395"/>
                    <a:pt x="256" y="395"/>
                    <a:pt x="256" y="395"/>
                  </a:cubicBezTo>
                  <a:cubicBezTo>
                    <a:pt x="257" y="401"/>
                    <a:pt x="257" y="401"/>
                    <a:pt x="257" y="401"/>
                  </a:cubicBezTo>
                  <a:cubicBezTo>
                    <a:pt x="262" y="400"/>
                    <a:pt x="262" y="400"/>
                    <a:pt x="262" y="400"/>
                  </a:cubicBezTo>
                  <a:cubicBezTo>
                    <a:pt x="266" y="405"/>
                    <a:pt x="266" y="405"/>
                    <a:pt x="266" y="405"/>
                  </a:cubicBezTo>
                  <a:cubicBezTo>
                    <a:pt x="271" y="405"/>
                    <a:pt x="271" y="405"/>
                    <a:pt x="271" y="405"/>
                  </a:cubicBezTo>
                  <a:cubicBezTo>
                    <a:pt x="274" y="401"/>
                    <a:pt x="274" y="401"/>
                    <a:pt x="274" y="401"/>
                  </a:cubicBezTo>
                  <a:cubicBezTo>
                    <a:pt x="277" y="400"/>
                    <a:pt x="277" y="400"/>
                    <a:pt x="277" y="400"/>
                  </a:cubicBezTo>
                  <a:cubicBezTo>
                    <a:pt x="278" y="407"/>
                    <a:pt x="278" y="407"/>
                    <a:pt x="278" y="407"/>
                  </a:cubicBezTo>
                  <a:cubicBezTo>
                    <a:pt x="277" y="418"/>
                    <a:pt x="277" y="418"/>
                    <a:pt x="277" y="418"/>
                  </a:cubicBezTo>
                  <a:cubicBezTo>
                    <a:pt x="270" y="421"/>
                    <a:pt x="270" y="421"/>
                    <a:pt x="270" y="421"/>
                  </a:cubicBezTo>
                  <a:cubicBezTo>
                    <a:pt x="266" y="429"/>
                    <a:pt x="266" y="429"/>
                    <a:pt x="266" y="429"/>
                  </a:cubicBezTo>
                  <a:cubicBezTo>
                    <a:pt x="268" y="430"/>
                    <a:pt x="268" y="430"/>
                    <a:pt x="268" y="430"/>
                  </a:cubicBezTo>
                  <a:cubicBezTo>
                    <a:pt x="270" y="439"/>
                    <a:pt x="270" y="439"/>
                    <a:pt x="270" y="439"/>
                  </a:cubicBezTo>
                  <a:cubicBezTo>
                    <a:pt x="263" y="446"/>
                    <a:pt x="263" y="446"/>
                    <a:pt x="263" y="446"/>
                  </a:cubicBezTo>
                  <a:cubicBezTo>
                    <a:pt x="259" y="449"/>
                    <a:pt x="259" y="449"/>
                    <a:pt x="259" y="449"/>
                  </a:cubicBezTo>
                  <a:cubicBezTo>
                    <a:pt x="254" y="447"/>
                    <a:pt x="254" y="447"/>
                    <a:pt x="254" y="447"/>
                  </a:cubicBezTo>
                  <a:cubicBezTo>
                    <a:pt x="246" y="450"/>
                    <a:pt x="246" y="450"/>
                    <a:pt x="246" y="450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4" y="452"/>
                    <a:pt x="234" y="452"/>
                    <a:pt x="234" y="452"/>
                  </a:cubicBezTo>
                  <a:cubicBezTo>
                    <a:pt x="231" y="461"/>
                    <a:pt x="231" y="461"/>
                    <a:pt x="231" y="461"/>
                  </a:cubicBezTo>
                  <a:cubicBezTo>
                    <a:pt x="234" y="468"/>
                    <a:pt x="234" y="468"/>
                    <a:pt x="234" y="468"/>
                  </a:cubicBezTo>
                  <a:cubicBezTo>
                    <a:pt x="226" y="471"/>
                    <a:pt x="226" y="471"/>
                    <a:pt x="226" y="471"/>
                  </a:cubicBezTo>
                  <a:cubicBezTo>
                    <a:pt x="225" y="470"/>
                    <a:pt x="225" y="467"/>
                    <a:pt x="224" y="465"/>
                  </a:cubicBezTo>
                  <a:cubicBezTo>
                    <a:pt x="222" y="459"/>
                    <a:pt x="224" y="460"/>
                    <a:pt x="221" y="454"/>
                  </a:cubicBezTo>
                  <a:cubicBezTo>
                    <a:pt x="218" y="449"/>
                    <a:pt x="221" y="450"/>
                    <a:pt x="222" y="445"/>
                  </a:cubicBezTo>
                  <a:cubicBezTo>
                    <a:pt x="222" y="439"/>
                    <a:pt x="222" y="436"/>
                    <a:pt x="218" y="436"/>
                  </a:cubicBezTo>
                  <a:cubicBezTo>
                    <a:pt x="217" y="436"/>
                    <a:pt x="217" y="436"/>
                    <a:pt x="216" y="436"/>
                  </a:cubicBezTo>
                  <a:cubicBezTo>
                    <a:pt x="217" y="410"/>
                    <a:pt x="217" y="410"/>
                    <a:pt x="217" y="410"/>
                  </a:cubicBezTo>
                  <a:cubicBezTo>
                    <a:pt x="214" y="409"/>
                    <a:pt x="214" y="409"/>
                    <a:pt x="214" y="409"/>
                  </a:cubicBezTo>
                  <a:cubicBezTo>
                    <a:pt x="208" y="415"/>
                    <a:pt x="208" y="415"/>
                    <a:pt x="208" y="415"/>
                  </a:cubicBezTo>
                  <a:cubicBezTo>
                    <a:pt x="196" y="417"/>
                    <a:pt x="196" y="417"/>
                    <a:pt x="196" y="417"/>
                  </a:cubicBezTo>
                  <a:cubicBezTo>
                    <a:pt x="191" y="424"/>
                    <a:pt x="191" y="424"/>
                    <a:pt x="191" y="424"/>
                  </a:cubicBezTo>
                  <a:cubicBezTo>
                    <a:pt x="186" y="425"/>
                    <a:pt x="186" y="425"/>
                    <a:pt x="186" y="425"/>
                  </a:cubicBezTo>
                  <a:cubicBezTo>
                    <a:pt x="180" y="429"/>
                    <a:pt x="180" y="429"/>
                    <a:pt x="180" y="429"/>
                  </a:cubicBezTo>
                  <a:cubicBezTo>
                    <a:pt x="171" y="424"/>
                    <a:pt x="171" y="424"/>
                    <a:pt x="171" y="424"/>
                  </a:cubicBezTo>
                  <a:cubicBezTo>
                    <a:pt x="165" y="427"/>
                    <a:pt x="165" y="427"/>
                    <a:pt x="165" y="427"/>
                  </a:cubicBezTo>
                  <a:cubicBezTo>
                    <a:pt x="154" y="426"/>
                    <a:pt x="154" y="426"/>
                    <a:pt x="154" y="426"/>
                  </a:cubicBezTo>
                  <a:cubicBezTo>
                    <a:pt x="154" y="436"/>
                    <a:pt x="154" y="436"/>
                    <a:pt x="154" y="436"/>
                  </a:cubicBezTo>
                  <a:cubicBezTo>
                    <a:pt x="148" y="442"/>
                    <a:pt x="148" y="442"/>
                    <a:pt x="148" y="442"/>
                  </a:cubicBezTo>
                  <a:cubicBezTo>
                    <a:pt x="142" y="443"/>
                    <a:pt x="142" y="443"/>
                    <a:pt x="142" y="443"/>
                  </a:cubicBezTo>
                  <a:cubicBezTo>
                    <a:pt x="143" y="434"/>
                    <a:pt x="143" y="434"/>
                    <a:pt x="143" y="434"/>
                  </a:cubicBezTo>
                  <a:cubicBezTo>
                    <a:pt x="136" y="432"/>
                    <a:pt x="136" y="432"/>
                    <a:pt x="136" y="432"/>
                  </a:cubicBezTo>
                  <a:cubicBezTo>
                    <a:pt x="134" y="427"/>
                    <a:pt x="134" y="427"/>
                    <a:pt x="134" y="427"/>
                  </a:cubicBezTo>
                  <a:cubicBezTo>
                    <a:pt x="130" y="422"/>
                    <a:pt x="130" y="422"/>
                    <a:pt x="130" y="422"/>
                  </a:cubicBezTo>
                  <a:cubicBezTo>
                    <a:pt x="129" y="417"/>
                    <a:pt x="129" y="417"/>
                    <a:pt x="129" y="417"/>
                  </a:cubicBezTo>
                  <a:cubicBezTo>
                    <a:pt x="124" y="415"/>
                    <a:pt x="124" y="415"/>
                    <a:pt x="124" y="415"/>
                  </a:cubicBezTo>
                  <a:cubicBezTo>
                    <a:pt x="119" y="419"/>
                    <a:pt x="119" y="419"/>
                    <a:pt x="119" y="419"/>
                  </a:cubicBezTo>
                  <a:cubicBezTo>
                    <a:pt x="115" y="413"/>
                    <a:pt x="115" y="413"/>
                    <a:pt x="115" y="413"/>
                  </a:cubicBezTo>
                  <a:cubicBezTo>
                    <a:pt x="107" y="409"/>
                    <a:pt x="107" y="409"/>
                    <a:pt x="107" y="409"/>
                  </a:cubicBezTo>
                  <a:cubicBezTo>
                    <a:pt x="104" y="397"/>
                    <a:pt x="104" y="397"/>
                    <a:pt x="104" y="397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4" y="383"/>
                    <a:pt x="104" y="383"/>
                    <a:pt x="104" y="383"/>
                  </a:cubicBezTo>
                  <a:cubicBezTo>
                    <a:pt x="109" y="378"/>
                    <a:pt x="109" y="378"/>
                    <a:pt x="109" y="378"/>
                  </a:cubicBezTo>
                  <a:cubicBezTo>
                    <a:pt x="109" y="372"/>
                    <a:pt x="109" y="372"/>
                    <a:pt x="109" y="372"/>
                  </a:cubicBezTo>
                  <a:cubicBezTo>
                    <a:pt x="116" y="367"/>
                    <a:pt x="116" y="367"/>
                    <a:pt x="116" y="367"/>
                  </a:cubicBezTo>
                  <a:cubicBezTo>
                    <a:pt x="115" y="356"/>
                    <a:pt x="115" y="356"/>
                    <a:pt x="115" y="356"/>
                  </a:cubicBezTo>
                  <a:cubicBezTo>
                    <a:pt x="122" y="352"/>
                    <a:pt x="122" y="352"/>
                    <a:pt x="122" y="352"/>
                  </a:cubicBezTo>
                  <a:cubicBezTo>
                    <a:pt x="122" y="347"/>
                    <a:pt x="122" y="347"/>
                    <a:pt x="122" y="347"/>
                  </a:cubicBezTo>
                  <a:cubicBezTo>
                    <a:pt x="114" y="339"/>
                    <a:pt x="114" y="339"/>
                    <a:pt x="114" y="339"/>
                  </a:cubicBezTo>
                  <a:cubicBezTo>
                    <a:pt x="117" y="335"/>
                    <a:pt x="117" y="335"/>
                    <a:pt x="117" y="335"/>
                  </a:cubicBezTo>
                  <a:cubicBezTo>
                    <a:pt x="124" y="336"/>
                    <a:pt x="124" y="336"/>
                    <a:pt x="124" y="336"/>
                  </a:cubicBezTo>
                  <a:cubicBezTo>
                    <a:pt x="134" y="332"/>
                    <a:pt x="134" y="332"/>
                    <a:pt x="134" y="332"/>
                  </a:cubicBezTo>
                  <a:cubicBezTo>
                    <a:pt x="135" y="323"/>
                    <a:pt x="135" y="323"/>
                    <a:pt x="135" y="323"/>
                  </a:cubicBezTo>
                  <a:cubicBezTo>
                    <a:pt x="130" y="314"/>
                    <a:pt x="130" y="314"/>
                    <a:pt x="130" y="314"/>
                  </a:cubicBezTo>
                  <a:cubicBezTo>
                    <a:pt x="124" y="305"/>
                    <a:pt x="124" y="305"/>
                    <a:pt x="124" y="305"/>
                  </a:cubicBezTo>
                  <a:cubicBezTo>
                    <a:pt x="116" y="305"/>
                    <a:pt x="116" y="305"/>
                    <a:pt x="116" y="305"/>
                  </a:cubicBezTo>
                  <a:cubicBezTo>
                    <a:pt x="111" y="313"/>
                    <a:pt x="111" y="313"/>
                    <a:pt x="111" y="313"/>
                  </a:cubicBezTo>
                  <a:cubicBezTo>
                    <a:pt x="106" y="314"/>
                    <a:pt x="106" y="314"/>
                    <a:pt x="106" y="314"/>
                  </a:cubicBezTo>
                  <a:cubicBezTo>
                    <a:pt x="103" y="320"/>
                    <a:pt x="103" y="320"/>
                    <a:pt x="103" y="320"/>
                  </a:cubicBezTo>
                  <a:cubicBezTo>
                    <a:pt x="102" y="329"/>
                    <a:pt x="102" y="329"/>
                    <a:pt x="102" y="329"/>
                  </a:cubicBezTo>
                  <a:cubicBezTo>
                    <a:pt x="96" y="330"/>
                    <a:pt x="96" y="330"/>
                    <a:pt x="96" y="330"/>
                  </a:cubicBezTo>
                  <a:cubicBezTo>
                    <a:pt x="88" y="341"/>
                    <a:pt x="88" y="341"/>
                    <a:pt x="88" y="341"/>
                  </a:cubicBezTo>
                  <a:cubicBezTo>
                    <a:pt x="81" y="346"/>
                    <a:pt x="81" y="346"/>
                    <a:pt x="81" y="346"/>
                  </a:cubicBezTo>
                  <a:cubicBezTo>
                    <a:pt x="72" y="331"/>
                    <a:pt x="72" y="331"/>
                    <a:pt x="72" y="331"/>
                  </a:cubicBezTo>
                  <a:cubicBezTo>
                    <a:pt x="62" y="336"/>
                    <a:pt x="62" y="336"/>
                    <a:pt x="62" y="336"/>
                  </a:cubicBezTo>
                  <a:cubicBezTo>
                    <a:pt x="54" y="334"/>
                    <a:pt x="54" y="334"/>
                    <a:pt x="54" y="334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56" y="318"/>
                    <a:pt x="56" y="318"/>
                    <a:pt x="56" y="318"/>
                  </a:cubicBezTo>
                  <a:cubicBezTo>
                    <a:pt x="52" y="311"/>
                    <a:pt x="52" y="311"/>
                    <a:pt x="52" y="311"/>
                  </a:cubicBezTo>
                  <a:cubicBezTo>
                    <a:pt x="57" y="306"/>
                    <a:pt x="57" y="306"/>
                    <a:pt x="57" y="306"/>
                  </a:cubicBezTo>
                  <a:cubicBezTo>
                    <a:pt x="56" y="296"/>
                    <a:pt x="56" y="296"/>
                    <a:pt x="56" y="296"/>
                  </a:cubicBezTo>
                  <a:cubicBezTo>
                    <a:pt x="59" y="292"/>
                    <a:pt x="59" y="292"/>
                    <a:pt x="59" y="292"/>
                  </a:cubicBezTo>
                  <a:cubicBezTo>
                    <a:pt x="62" y="278"/>
                    <a:pt x="62" y="278"/>
                    <a:pt x="62" y="278"/>
                  </a:cubicBezTo>
                  <a:cubicBezTo>
                    <a:pt x="59" y="276"/>
                    <a:pt x="59" y="276"/>
                    <a:pt x="59" y="276"/>
                  </a:cubicBezTo>
                  <a:cubicBezTo>
                    <a:pt x="52" y="277"/>
                    <a:pt x="52" y="277"/>
                    <a:pt x="52" y="277"/>
                  </a:cubicBezTo>
                  <a:cubicBezTo>
                    <a:pt x="45" y="282"/>
                    <a:pt x="45" y="282"/>
                    <a:pt x="45" y="282"/>
                  </a:cubicBezTo>
                  <a:cubicBezTo>
                    <a:pt x="39" y="284"/>
                    <a:pt x="39" y="284"/>
                    <a:pt x="39" y="284"/>
                  </a:cubicBezTo>
                  <a:cubicBezTo>
                    <a:pt x="33" y="288"/>
                    <a:pt x="33" y="288"/>
                    <a:pt x="33" y="288"/>
                  </a:cubicBezTo>
                  <a:cubicBezTo>
                    <a:pt x="29" y="289"/>
                    <a:pt x="29" y="289"/>
                    <a:pt x="29" y="289"/>
                  </a:cubicBezTo>
                  <a:cubicBezTo>
                    <a:pt x="25" y="282"/>
                    <a:pt x="25" y="282"/>
                    <a:pt x="25" y="282"/>
                  </a:cubicBezTo>
                  <a:cubicBezTo>
                    <a:pt x="26" y="273"/>
                    <a:pt x="26" y="273"/>
                    <a:pt x="26" y="273"/>
                  </a:cubicBezTo>
                  <a:cubicBezTo>
                    <a:pt x="21" y="269"/>
                    <a:pt x="21" y="269"/>
                    <a:pt x="21" y="269"/>
                  </a:cubicBezTo>
                  <a:cubicBezTo>
                    <a:pt x="27" y="263"/>
                    <a:pt x="27" y="263"/>
                    <a:pt x="27" y="263"/>
                  </a:cubicBezTo>
                  <a:cubicBezTo>
                    <a:pt x="27" y="254"/>
                    <a:pt x="27" y="254"/>
                    <a:pt x="27" y="254"/>
                  </a:cubicBezTo>
                  <a:cubicBezTo>
                    <a:pt x="18" y="251"/>
                    <a:pt x="18" y="251"/>
                    <a:pt x="18" y="251"/>
                  </a:cubicBezTo>
                  <a:cubicBezTo>
                    <a:pt x="8" y="253"/>
                    <a:pt x="8" y="253"/>
                    <a:pt x="8" y="253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13" y="243"/>
                    <a:pt x="13" y="243"/>
                    <a:pt x="13" y="243"/>
                  </a:cubicBezTo>
                  <a:cubicBezTo>
                    <a:pt x="10" y="238"/>
                    <a:pt x="10" y="238"/>
                    <a:pt x="10" y="238"/>
                  </a:cubicBezTo>
                  <a:cubicBezTo>
                    <a:pt x="13" y="229"/>
                    <a:pt x="13" y="229"/>
                    <a:pt x="13" y="229"/>
                  </a:cubicBezTo>
                  <a:cubicBezTo>
                    <a:pt x="7" y="228"/>
                    <a:pt x="7" y="228"/>
                    <a:pt x="7" y="228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6" y="221"/>
                    <a:pt x="6" y="221"/>
                    <a:pt x="6" y="221"/>
                  </a:cubicBezTo>
                  <a:cubicBezTo>
                    <a:pt x="6" y="213"/>
                    <a:pt x="6" y="213"/>
                    <a:pt x="6" y="213"/>
                  </a:cubicBezTo>
                  <a:cubicBezTo>
                    <a:pt x="1" y="206"/>
                    <a:pt x="1" y="206"/>
                    <a:pt x="1" y="206"/>
                  </a:cubicBezTo>
                  <a:cubicBezTo>
                    <a:pt x="5" y="201"/>
                    <a:pt x="5" y="201"/>
                    <a:pt x="5" y="201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4" y="191"/>
                    <a:pt x="4" y="191"/>
                    <a:pt x="4" y="191"/>
                  </a:cubicBezTo>
                  <a:cubicBezTo>
                    <a:pt x="1" y="189"/>
                    <a:pt x="1" y="189"/>
                    <a:pt x="1" y="189"/>
                  </a:cubicBezTo>
                  <a:cubicBezTo>
                    <a:pt x="2" y="180"/>
                    <a:pt x="2" y="180"/>
                    <a:pt x="2" y="180"/>
                  </a:cubicBezTo>
                  <a:cubicBezTo>
                    <a:pt x="10" y="174"/>
                    <a:pt x="10" y="174"/>
                    <a:pt x="10" y="174"/>
                  </a:cubicBezTo>
                  <a:cubicBezTo>
                    <a:pt x="17" y="174"/>
                    <a:pt x="17" y="174"/>
                    <a:pt x="17" y="174"/>
                  </a:cubicBezTo>
                  <a:cubicBezTo>
                    <a:pt x="26" y="170"/>
                    <a:pt x="26" y="170"/>
                    <a:pt x="26" y="170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26" y="158"/>
                    <a:pt x="26" y="158"/>
                    <a:pt x="26" y="158"/>
                  </a:cubicBezTo>
                  <a:cubicBezTo>
                    <a:pt x="27" y="152"/>
                    <a:pt x="27" y="152"/>
                    <a:pt x="27" y="152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44" y="143"/>
                    <a:pt x="44" y="143"/>
                    <a:pt x="44" y="143"/>
                  </a:cubicBezTo>
                  <a:cubicBezTo>
                    <a:pt x="43" y="129"/>
                    <a:pt x="43" y="129"/>
                    <a:pt x="43" y="129"/>
                  </a:cubicBezTo>
                  <a:cubicBezTo>
                    <a:pt x="51" y="127"/>
                    <a:pt x="51" y="127"/>
                    <a:pt x="51" y="127"/>
                  </a:cubicBezTo>
                  <a:cubicBezTo>
                    <a:pt x="51" y="123"/>
                    <a:pt x="51" y="123"/>
                    <a:pt x="51" y="123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124" y="22"/>
                    <a:pt x="124" y="22"/>
                    <a:pt x="124" y="22"/>
                  </a:cubicBezTo>
                  <a:cubicBezTo>
                    <a:pt x="119" y="24"/>
                    <a:pt x="119" y="24"/>
                    <a:pt x="119" y="24"/>
                  </a:cubicBezTo>
                  <a:cubicBezTo>
                    <a:pt x="116" y="30"/>
                    <a:pt x="116" y="30"/>
                    <a:pt x="116" y="30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42" y="35"/>
                    <a:pt x="142" y="35"/>
                    <a:pt x="142" y="35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52" y="42"/>
                    <a:pt x="152" y="42"/>
                    <a:pt x="152" y="42"/>
                  </a:cubicBezTo>
                  <a:close/>
                  <a:moveTo>
                    <a:pt x="130" y="232"/>
                  </a:moveTo>
                  <a:cubicBezTo>
                    <a:pt x="129" y="236"/>
                    <a:pt x="128" y="238"/>
                    <a:pt x="130" y="240"/>
                  </a:cubicBezTo>
                  <a:cubicBezTo>
                    <a:pt x="133" y="243"/>
                    <a:pt x="135" y="239"/>
                    <a:pt x="137" y="241"/>
                  </a:cubicBezTo>
                  <a:cubicBezTo>
                    <a:pt x="139" y="244"/>
                    <a:pt x="141" y="239"/>
                    <a:pt x="139" y="235"/>
                  </a:cubicBezTo>
                  <a:cubicBezTo>
                    <a:pt x="136" y="229"/>
                    <a:pt x="136" y="227"/>
                    <a:pt x="130" y="232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0" name="Freeform 60"/>
            <p:cNvSpPr>
              <a:spLocks/>
            </p:cNvSpPr>
            <p:nvPr/>
          </p:nvSpPr>
          <p:spPr bwMode="auto">
            <a:xfrm>
              <a:off x="898" y="3826"/>
              <a:ext cx="160" cy="213"/>
            </a:xfrm>
            <a:custGeom>
              <a:avLst/>
              <a:gdLst>
                <a:gd name="T0" fmla="*/ 4 w 77"/>
                <a:gd name="T1" fmla="*/ 70 h 102"/>
                <a:gd name="T2" fmla="*/ 6 w 77"/>
                <a:gd name="T3" fmla="*/ 70 h 102"/>
                <a:gd name="T4" fmla="*/ 12 w 77"/>
                <a:gd name="T5" fmla="*/ 71 h 102"/>
                <a:gd name="T6" fmla="*/ 16 w 77"/>
                <a:gd name="T7" fmla="*/ 73 h 102"/>
                <a:gd name="T8" fmla="*/ 22 w 77"/>
                <a:gd name="T9" fmla="*/ 82 h 102"/>
                <a:gd name="T10" fmla="*/ 27 w 77"/>
                <a:gd name="T11" fmla="*/ 81 h 102"/>
                <a:gd name="T12" fmla="*/ 33 w 77"/>
                <a:gd name="T13" fmla="*/ 85 h 102"/>
                <a:gd name="T14" fmla="*/ 33 w 77"/>
                <a:gd name="T15" fmla="*/ 89 h 102"/>
                <a:gd name="T16" fmla="*/ 33 w 77"/>
                <a:gd name="T17" fmla="*/ 90 h 102"/>
                <a:gd name="T18" fmla="*/ 32 w 77"/>
                <a:gd name="T19" fmla="*/ 90 h 102"/>
                <a:gd name="T20" fmla="*/ 36 w 77"/>
                <a:gd name="T21" fmla="*/ 92 h 102"/>
                <a:gd name="T22" fmla="*/ 39 w 77"/>
                <a:gd name="T23" fmla="*/ 95 h 102"/>
                <a:gd name="T24" fmla="*/ 39 w 77"/>
                <a:gd name="T25" fmla="*/ 101 h 102"/>
                <a:gd name="T26" fmla="*/ 41 w 77"/>
                <a:gd name="T27" fmla="*/ 101 h 102"/>
                <a:gd name="T28" fmla="*/ 45 w 77"/>
                <a:gd name="T29" fmla="*/ 96 h 102"/>
                <a:gd name="T30" fmla="*/ 51 w 77"/>
                <a:gd name="T31" fmla="*/ 102 h 102"/>
                <a:gd name="T32" fmla="*/ 56 w 77"/>
                <a:gd name="T33" fmla="*/ 102 h 102"/>
                <a:gd name="T34" fmla="*/ 56 w 77"/>
                <a:gd name="T35" fmla="*/ 102 h 102"/>
                <a:gd name="T36" fmla="*/ 57 w 77"/>
                <a:gd name="T37" fmla="*/ 98 h 102"/>
                <a:gd name="T38" fmla="*/ 56 w 77"/>
                <a:gd name="T39" fmla="*/ 92 h 102"/>
                <a:gd name="T40" fmla="*/ 61 w 77"/>
                <a:gd name="T41" fmla="*/ 91 h 102"/>
                <a:gd name="T42" fmla="*/ 63 w 77"/>
                <a:gd name="T43" fmla="*/ 84 h 102"/>
                <a:gd name="T44" fmla="*/ 71 w 77"/>
                <a:gd name="T45" fmla="*/ 85 h 102"/>
                <a:gd name="T46" fmla="*/ 77 w 77"/>
                <a:gd name="T47" fmla="*/ 81 h 102"/>
                <a:gd name="T48" fmla="*/ 77 w 77"/>
                <a:gd name="T49" fmla="*/ 80 h 102"/>
                <a:gd name="T50" fmla="*/ 76 w 77"/>
                <a:gd name="T51" fmla="*/ 71 h 102"/>
                <a:gd name="T52" fmla="*/ 74 w 77"/>
                <a:gd name="T53" fmla="*/ 64 h 102"/>
                <a:gd name="T54" fmla="*/ 69 w 77"/>
                <a:gd name="T55" fmla="*/ 55 h 102"/>
                <a:gd name="T56" fmla="*/ 61 w 77"/>
                <a:gd name="T57" fmla="*/ 44 h 102"/>
                <a:gd name="T58" fmla="*/ 62 w 77"/>
                <a:gd name="T59" fmla="*/ 34 h 102"/>
                <a:gd name="T60" fmla="*/ 56 w 77"/>
                <a:gd name="T61" fmla="*/ 27 h 102"/>
                <a:gd name="T62" fmla="*/ 51 w 77"/>
                <a:gd name="T63" fmla="*/ 17 h 102"/>
                <a:gd name="T64" fmla="*/ 42 w 77"/>
                <a:gd name="T65" fmla="*/ 16 h 102"/>
                <a:gd name="T66" fmla="*/ 36 w 77"/>
                <a:gd name="T67" fmla="*/ 10 h 102"/>
                <a:gd name="T68" fmla="*/ 30 w 77"/>
                <a:gd name="T69" fmla="*/ 7 h 102"/>
                <a:gd name="T70" fmla="*/ 23 w 77"/>
                <a:gd name="T71" fmla="*/ 1 h 102"/>
                <a:gd name="T72" fmla="*/ 15 w 77"/>
                <a:gd name="T73" fmla="*/ 5 h 102"/>
                <a:gd name="T74" fmla="*/ 6 w 77"/>
                <a:gd name="T75" fmla="*/ 3 h 102"/>
                <a:gd name="T76" fmla="*/ 5 w 77"/>
                <a:gd name="T77" fmla="*/ 10 h 102"/>
                <a:gd name="T78" fmla="*/ 7 w 77"/>
                <a:gd name="T79" fmla="*/ 16 h 102"/>
                <a:gd name="T80" fmla="*/ 7 w 77"/>
                <a:gd name="T81" fmla="*/ 21 h 102"/>
                <a:gd name="T82" fmla="*/ 9 w 77"/>
                <a:gd name="T83" fmla="*/ 27 h 102"/>
                <a:gd name="T84" fmla="*/ 0 w 77"/>
                <a:gd name="T85" fmla="*/ 32 h 102"/>
                <a:gd name="T86" fmla="*/ 0 w 77"/>
                <a:gd name="T87" fmla="*/ 40 h 102"/>
                <a:gd name="T88" fmla="*/ 2 w 77"/>
                <a:gd name="T89" fmla="*/ 41 h 102"/>
                <a:gd name="T90" fmla="*/ 3 w 77"/>
                <a:gd name="T91" fmla="*/ 44 h 102"/>
                <a:gd name="T92" fmla="*/ 5 w 77"/>
                <a:gd name="T93" fmla="*/ 49 h 102"/>
                <a:gd name="T94" fmla="*/ 9 w 77"/>
                <a:gd name="T95" fmla="*/ 55 h 102"/>
                <a:gd name="T96" fmla="*/ 3 w 77"/>
                <a:gd name="T97" fmla="*/ 57 h 102"/>
                <a:gd name="T98" fmla="*/ 3 w 77"/>
                <a:gd name="T99" fmla="*/ 60 h 102"/>
                <a:gd name="T100" fmla="*/ 6 w 77"/>
                <a:gd name="T101" fmla="*/ 64 h 102"/>
                <a:gd name="T102" fmla="*/ 5 w 77"/>
                <a:gd name="T103" fmla="*/ 68 h 102"/>
                <a:gd name="T104" fmla="*/ 4 w 77"/>
                <a:gd name="T105" fmla="*/ 7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7" h="102">
                  <a:moveTo>
                    <a:pt x="4" y="70"/>
                  </a:moveTo>
                  <a:cubicBezTo>
                    <a:pt x="6" y="70"/>
                    <a:pt x="6" y="70"/>
                    <a:pt x="6" y="70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90"/>
                    <a:pt x="33" y="90"/>
                    <a:pt x="33" y="90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39" y="101"/>
                    <a:pt x="39" y="101"/>
                    <a:pt x="39" y="101"/>
                  </a:cubicBezTo>
                  <a:cubicBezTo>
                    <a:pt x="40" y="101"/>
                    <a:pt x="40" y="101"/>
                    <a:pt x="41" y="101"/>
                  </a:cubicBezTo>
                  <a:cubicBezTo>
                    <a:pt x="42" y="100"/>
                    <a:pt x="45" y="96"/>
                    <a:pt x="45" y="96"/>
                  </a:cubicBezTo>
                  <a:cubicBezTo>
                    <a:pt x="45" y="96"/>
                    <a:pt x="50" y="102"/>
                    <a:pt x="51" y="102"/>
                  </a:cubicBezTo>
                  <a:cubicBezTo>
                    <a:pt x="51" y="102"/>
                    <a:pt x="53" y="102"/>
                    <a:pt x="56" y="102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9" y="100"/>
                    <a:pt x="57" y="98"/>
                  </a:cubicBezTo>
                  <a:cubicBezTo>
                    <a:pt x="56" y="95"/>
                    <a:pt x="55" y="92"/>
                    <a:pt x="56" y="92"/>
                  </a:cubicBezTo>
                  <a:cubicBezTo>
                    <a:pt x="57" y="92"/>
                    <a:pt x="61" y="92"/>
                    <a:pt x="61" y="91"/>
                  </a:cubicBezTo>
                  <a:cubicBezTo>
                    <a:pt x="61" y="89"/>
                    <a:pt x="62" y="84"/>
                    <a:pt x="63" y="84"/>
                  </a:cubicBezTo>
                  <a:cubicBezTo>
                    <a:pt x="65" y="84"/>
                    <a:pt x="68" y="87"/>
                    <a:pt x="71" y="85"/>
                  </a:cubicBezTo>
                  <a:cubicBezTo>
                    <a:pt x="72" y="84"/>
                    <a:pt x="74" y="82"/>
                    <a:pt x="77" y="81"/>
                  </a:cubicBezTo>
                  <a:cubicBezTo>
                    <a:pt x="77" y="80"/>
                    <a:pt x="77" y="80"/>
                    <a:pt x="77" y="80"/>
                  </a:cubicBezTo>
                  <a:cubicBezTo>
                    <a:pt x="77" y="80"/>
                    <a:pt x="77" y="73"/>
                    <a:pt x="76" y="71"/>
                  </a:cubicBezTo>
                  <a:cubicBezTo>
                    <a:pt x="76" y="70"/>
                    <a:pt x="74" y="67"/>
                    <a:pt x="74" y="64"/>
                  </a:cubicBezTo>
                  <a:cubicBezTo>
                    <a:pt x="74" y="61"/>
                    <a:pt x="70" y="60"/>
                    <a:pt x="69" y="55"/>
                  </a:cubicBezTo>
                  <a:cubicBezTo>
                    <a:pt x="68" y="50"/>
                    <a:pt x="61" y="48"/>
                    <a:pt x="61" y="44"/>
                  </a:cubicBezTo>
                  <a:cubicBezTo>
                    <a:pt x="62" y="41"/>
                    <a:pt x="65" y="37"/>
                    <a:pt x="62" y="34"/>
                  </a:cubicBezTo>
                  <a:cubicBezTo>
                    <a:pt x="59" y="30"/>
                    <a:pt x="58" y="33"/>
                    <a:pt x="56" y="27"/>
                  </a:cubicBezTo>
                  <a:cubicBezTo>
                    <a:pt x="54" y="21"/>
                    <a:pt x="54" y="19"/>
                    <a:pt x="51" y="17"/>
                  </a:cubicBezTo>
                  <a:cubicBezTo>
                    <a:pt x="49" y="16"/>
                    <a:pt x="45" y="18"/>
                    <a:pt x="42" y="16"/>
                  </a:cubicBezTo>
                  <a:cubicBezTo>
                    <a:pt x="40" y="13"/>
                    <a:pt x="39" y="10"/>
                    <a:pt x="36" y="10"/>
                  </a:cubicBezTo>
                  <a:cubicBezTo>
                    <a:pt x="33" y="11"/>
                    <a:pt x="32" y="12"/>
                    <a:pt x="30" y="7"/>
                  </a:cubicBezTo>
                  <a:cubicBezTo>
                    <a:pt x="27" y="3"/>
                    <a:pt x="27" y="1"/>
                    <a:pt x="23" y="1"/>
                  </a:cubicBezTo>
                  <a:cubicBezTo>
                    <a:pt x="20" y="2"/>
                    <a:pt x="18" y="6"/>
                    <a:pt x="15" y="5"/>
                  </a:cubicBezTo>
                  <a:cubicBezTo>
                    <a:pt x="12" y="4"/>
                    <a:pt x="9" y="0"/>
                    <a:pt x="6" y="3"/>
                  </a:cubicBezTo>
                  <a:cubicBezTo>
                    <a:pt x="3" y="6"/>
                    <a:pt x="7" y="9"/>
                    <a:pt x="5" y="10"/>
                  </a:cubicBezTo>
                  <a:cubicBezTo>
                    <a:pt x="3" y="12"/>
                    <a:pt x="6" y="15"/>
                    <a:pt x="7" y="16"/>
                  </a:cubicBezTo>
                  <a:cubicBezTo>
                    <a:pt x="8" y="17"/>
                    <a:pt x="8" y="20"/>
                    <a:pt x="7" y="21"/>
                  </a:cubicBezTo>
                  <a:cubicBezTo>
                    <a:pt x="6" y="23"/>
                    <a:pt x="10" y="26"/>
                    <a:pt x="9" y="27"/>
                  </a:cubicBezTo>
                  <a:cubicBezTo>
                    <a:pt x="8" y="28"/>
                    <a:pt x="0" y="32"/>
                    <a:pt x="0" y="32"/>
                  </a:cubicBezTo>
                  <a:cubicBezTo>
                    <a:pt x="0" y="32"/>
                    <a:pt x="0" y="37"/>
                    <a:pt x="0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9" y="55"/>
                    <a:pt x="3" y="56"/>
                    <a:pt x="3" y="57"/>
                  </a:cubicBezTo>
                  <a:cubicBezTo>
                    <a:pt x="2" y="58"/>
                    <a:pt x="3" y="60"/>
                    <a:pt x="3" y="60"/>
                  </a:cubicBezTo>
                  <a:cubicBezTo>
                    <a:pt x="3" y="60"/>
                    <a:pt x="6" y="64"/>
                    <a:pt x="6" y="64"/>
                  </a:cubicBezTo>
                  <a:cubicBezTo>
                    <a:pt x="5" y="68"/>
                    <a:pt x="5" y="68"/>
                    <a:pt x="5" y="68"/>
                  </a:cubicBezTo>
                  <a:lnTo>
                    <a:pt x="4" y="7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1" name="Freeform 61"/>
            <p:cNvSpPr>
              <a:spLocks noEditPoints="1"/>
            </p:cNvSpPr>
            <p:nvPr/>
          </p:nvSpPr>
          <p:spPr bwMode="auto">
            <a:xfrm>
              <a:off x="762" y="3691"/>
              <a:ext cx="186" cy="231"/>
            </a:xfrm>
            <a:custGeom>
              <a:avLst/>
              <a:gdLst>
                <a:gd name="T0" fmla="*/ 88 w 89"/>
                <a:gd name="T1" fmla="*/ 67 h 111"/>
                <a:gd name="T2" fmla="*/ 80 w 89"/>
                <a:gd name="T3" fmla="*/ 70 h 111"/>
                <a:gd name="T4" fmla="*/ 71 w 89"/>
                <a:gd name="T5" fmla="*/ 68 h 111"/>
                <a:gd name="T6" fmla="*/ 70 w 89"/>
                <a:gd name="T7" fmla="*/ 75 h 111"/>
                <a:gd name="T8" fmla="*/ 72 w 89"/>
                <a:gd name="T9" fmla="*/ 81 h 111"/>
                <a:gd name="T10" fmla="*/ 72 w 89"/>
                <a:gd name="T11" fmla="*/ 86 h 111"/>
                <a:gd name="T12" fmla="*/ 74 w 89"/>
                <a:gd name="T13" fmla="*/ 92 h 111"/>
                <a:gd name="T14" fmla="*/ 65 w 89"/>
                <a:gd name="T15" fmla="*/ 97 h 111"/>
                <a:gd name="T16" fmla="*/ 64 w 89"/>
                <a:gd name="T17" fmla="*/ 106 h 111"/>
                <a:gd name="T18" fmla="*/ 59 w 89"/>
                <a:gd name="T19" fmla="*/ 111 h 111"/>
                <a:gd name="T20" fmla="*/ 51 w 89"/>
                <a:gd name="T21" fmla="*/ 109 h 111"/>
                <a:gd name="T22" fmla="*/ 46 w 89"/>
                <a:gd name="T23" fmla="*/ 103 h 111"/>
                <a:gd name="T24" fmla="*/ 39 w 89"/>
                <a:gd name="T25" fmla="*/ 107 h 111"/>
                <a:gd name="T26" fmla="*/ 33 w 89"/>
                <a:gd name="T27" fmla="*/ 110 h 111"/>
                <a:gd name="T28" fmla="*/ 31 w 89"/>
                <a:gd name="T29" fmla="*/ 111 h 111"/>
                <a:gd name="T30" fmla="*/ 22 w 89"/>
                <a:gd name="T31" fmla="*/ 103 h 111"/>
                <a:gd name="T32" fmla="*/ 18 w 89"/>
                <a:gd name="T33" fmla="*/ 104 h 111"/>
                <a:gd name="T34" fmla="*/ 18 w 89"/>
                <a:gd name="T35" fmla="*/ 98 h 111"/>
                <a:gd name="T36" fmla="*/ 17 w 89"/>
                <a:gd name="T37" fmla="*/ 74 h 111"/>
                <a:gd name="T38" fmla="*/ 8 w 89"/>
                <a:gd name="T39" fmla="*/ 55 h 111"/>
                <a:gd name="T40" fmla="*/ 7 w 89"/>
                <a:gd name="T41" fmla="*/ 42 h 111"/>
                <a:gd name="T42" fmla="*/ 2 w 89"/>
                <a:gd name="T43" fmla="*/ 32 h 111"/>
                <a:gd name="T44" fmla="*/ 3 w 89"/>
                <a:gd name="T45" fmla="*/ 22 h 111"/>
                <a:gd name="T46" fmla="*/ 6 w 89"/>
                <a:gd name="T47" fmla="*/ 14 h 111"/>
                <a:gd name="T48" fmla="*/ 13 w 89"/>
                <a:gd name="T49" fmla="*/ 21 h 111"/>
                <a:gd name="T50" fmla="*/ 21 w 89"/>
                <a:gd name="T51" fmla="*/ 25 h 111"/>
                <a:gd name="T52" fmla="*/ 26 w 89"/>
                <a:gd name="T53" fmla="*/ 19 h 111"/>
                <a:gd name="T54" fmla="*/ 38 w 89"/>
                <a:gd name="T55" fmla="*/ 18 h 111"/>
                <a:gd name="T56" fmla="*/ 47 w 89"/>
                <a:gd name="T57" fmla="*/ 18 h 111"/>
                <a:gd name="T58" fmla="*/ 43 w 89"/>
                <a:gd name="T59" fmla="*/ 4 h 111"/>
                <a:gd name="T60" fmla="*/ 54 w 89"/>
                <a:gd name="T61" fmla="*/ 5 h 111"/>
                <a:gd name="T62" fmla="*/ 61 w 89"/>
                <a:gd name="T63" fmla="*/ 3 h 111"/>
                <a:gd name="T64" fmla="*/ 61 w 89"/>
                <a:gd name="T65" fmla="*/ 3 h 111"/>
                <a:gd name="T66" fmla="*/ 64 w 89"/>
                <a:gd name="T67" fmla="*/ 20 h 111"/>
                <a:gd name="T68" fmla="*/ 72 w 89"/>
                <a:gd name="T69" fmla="*/ 21 h 111"/>
                <a:gd name="T70" fmla="*/ 82 w 89"/>
                <a:gd name="T71" fmla="*/ 31 h 111"/>
                <a:gd name="T72" fmla="*/ 80 w 89"/>
                <a:gd name="T73" fmla="*/ 35 h 111"/>
                <a:gd name="T74" fmla="*/ 78 w 89"/>
                <a:gd name="T75" fmla="*/ 43 h 111"/>
                <a:gd name="T76" fmla="*/ 89 w 89"/>
                <a:gd name="T77" fmla="*/ 55 h 111"/>
                <a:gd name="T78" fmla="*/ 88 w 89"/>
                <a:gd name="T79" fmla="*/ 67 h 111"/>
                <a:gd name="T80" fmla="*/ 28 w 89"/>
                <a:gd name="T81" fmla="*/ 53 h 111"/>
                <a:gd name="T82" fmla="*/ 29 w 89"/>
                <a:gd name="T83" fmla="*/ 62 h 111"/>
                <a:gd name="T84" fmla="*/ 36 w 89"/>
                <a:gd name="T85" fmla="*/ 67 h 111"/>
                <a:gd name="T86" fmla="*/ 44 w 89"/>
                <a:gd name="T87" fmla="*/ 71 h 111"/>
                <a:gd name="T88" fmla="*/ 38 w 89"/>
                <a:gd name="T89" fmla="*/ 76 h 111"/>
                <a:gd name="T90" fmla="*/ 36 w 89"/>
                <a:gd name="T91" fmla="*/ 84 h 111"/>
                <a:gd name="T92" fmla="*/ 34 w 89"/>
                <a:gd name="T93" fmla="*/ 90 h 111"/>
                <a:gd name="T94" fmla="*/ 24 w 89"/>
                <a:gd name="T95" fmla="*/ 91 h 111"/>
                <a:gd name="T96" fmla="*/ 30 w 89"/>
                <a:gd name="T97" fmla="*/ 101 h 111"/>
                <a:gd name="T98" fmla="*/ 39 w 89"/>
                <a:gd name="T99" fmla="*/ 94 h 111"/>
                <a:gd name="T100" fmla="*/ 50 w 89"/>
                <a:gd name="T101" fmla="*/ 85 h 111"/>
                <a:gd name="T102" fmla="*/ 54 w 89"/>
                <a:gd name="T103" fmla="*/ 79 h 111"/>
                <a:gd name="T104" fmla="*/ 50 w 89"/>
                <a:gd name="T105" fmla="*/ 67 h 111"/>
                <a:gd name="T106" fmla="*/ 43 w 89"/>
                <a:gd name="T107" fmla="*/ 60 h 111"/>
                <a:gd name="T108" fmla="*/ 34 w 89"/>
                <a:gd name="T109" fmla="*/ 55 h 111"/>
                <a:gd name="T110" fmla="*/ 28 w 89"/>
                <a:gd name="T111" fmla="*/ 5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9" h="111">
                  <a:moveTo>
                    <a:pt x="88" y="67"/>
                  </a:moveTo>
                  <a:cubicBezTo>
                    <a:pt x="85" y="68"/>
                    <a:pt x="82" y="71"/>
                    <a:pt x="80" y="70"/>
                  </a:cubicBezTo>
                  <a:cubicBezTo>
                    <a:pt x="77" y="69"/>
                    <a:pt x="74" y="65"/>
                    <a:pt x="71" y="68"/>
                  </a:cubicBezTo>
                  <a:cubicBezTo>
                    <a:pt x="68" y="71"/>
                    <a:pt x="72" y="74"/>
                    <a:pt x="70" y="75"/>
                  </a:cubicBezTo>
                  <a:cubicBezTo>
                    <a:pt x="68" y="77"/>
                    <a:pt x="71" y="80"/>
                    <a:pt x="72" y="81"/>
                  </a:cubicBezTo>
                  <a:cubicBezTo>
                    <a:pt x="73" y="82"/>
                    <a:pt x="73" y="85"/>
                    <a:pt x="72" y="86"/>
                  </a:cubicBezTo>
                  <a:cubicBezTo>
                    <a:pt x="71" y="88"/>
                    <a:pt x="75" y="91"/>
                    <a:pt x="74" y="92"/>
                  </a:cubicBezTo>
                  <a:cubicBezTo>
                    <a:pt x="73" y="93"/>
                    <a:pt x="65" y="97"/>
                    <a:pt x="65" y="97"/>
                  </a:cubicBezTo>
                  <a:cubicBezTo>
                    <a:pt x="65" y="97"/>
                    <a:pt x="66" y="104"/>
                    <a:pt x="64" y="106"/>
                  </a:cubicBezTo>
                  <a:cubicBezTo>
                    <a:pt x="63" y="109"/>
                    <a:pt x="60" y="111"/>
                    <a:pt x="59" y="111"/>
                  </a:cubicBezTo>
                  <a:cubicBezTo>
                    <a:pt x="57" y="111"/>
                    <a:pt x="52" y="111"/>
                    <a:pt x="51" y="109"/>
                  </a:cubicBezTo>
                  <a:cubicBezTo>
                    <a:pt x="50" y="108"/>
                    <a:pt x="48" y="103"/>
                    <a:pt x="46" y="103"/>
                  </a:cubicBezTo>
                  <a:cubicBezTo>
                    <a:pt x="44" y="104"/>
                    <a:pt x="40" y="106"/>
                    <a:pt x="39" y="107"/>
                  </a:cubicBezTo>
                  <a:cubicBezTo>
                    <a:pt x="38" y="107"/>
                    <a:pt x="34" y="108"/>
                    <a:pt x="33" y="110"/>
                  </a:cubicBezTo>
                  <a:cubicBezTo>
                    <a:pt x="32" y="110"/>
                    <a:pt x="32" y="111"/>
                    <a:pt x="31" y="111"/>
                  </a:cubicBezTo>
                  <a:cubicBezTo>
                    <a:pt x="28" y="108"/>
                    <a:pt x="24" y="105"/>
                    <a:pt x="22" y="103"/>
                  </a:cubicBezTo>
                  <a:cubicBezTo>
                    <a:pt x="22" y="102"/>
                    <a:pt x="20" y="103"/>
                    <a:pt x="18" y="104"/>
                  </a:cubicBezTo>
                  <a:cubicBezTo>
                    <a:pt x="18" y="102"/>
                    <a:pt x="18" y="100"/>
                    <a:pt x="18" y="98"/>
                  </a:cubicBezTo>
                  <a:cubicBezTo>
                    <a:pt x="18" y="93"/>
                    <a:pt x="18" y="80"/>
                    <a:pt x="17" y="74"/>
                  </a:cubicBezTo>
                  <a:cubicBezTo>
                    <a:pt x="17" y="69"/>
                    <a:pt x="9" y="58"/>
                    <a:pt x="8" y="55"/>
                  </a:cubicBezTo>
                  <a:cubicBezTo>
                    <a:pt x="8" y="51"/>
                    <a:pt x="11" y="46"/>
                    <a:pt x="7" y="42"/>
                  </a:cubicBezTo>
                  <a:cubicBezTo>
                    <a:pt x="4" y="39"/>
                    <a:pt x="0" y="36"/>
                    <a:pt x="2" y="32"/>
                  </a:cubicBezTo>
                  <a:cubicBezTo>
                    <a:pt x="4" y="28"/>
                    <a:pt x="6" y="25"/>
                    <a:pt x="3" y="22"/>
                  </a:cubicBezTo>
                  <a:cubicBezTo>
                    <a:pt x="0" y="19"/>
                    <a:pt x="4" y="14"/>
                    <a:pt x="6" y="14"/>
                  </a:cubicBezTo>
                  <a:cubicBezTo>
                    <a:pt x="9" y="14"/>
                    <a:pt x="12" y="17"/>
                    <a:pt x="13" y="21"/>
                  </a:cubicBezTo>
                  <a:cubicBezTo>
                    <a:pt x="14" y="26"/>
                    <a:pt x="21" y="29"/>
                    <a:pt x="21" y="25"/>
                  </a:cubicBezTo>
                  <a:cubicBezTo>
                    <a:pt x="22" y="21"/>
                    <a:pt x="22" y="19"/>
                    <a:pt x="26" y="19"/>
                  </a:cubicBezTo>
                  <a:cubicBezTo>
                    <a:pt x="30" y="19"/>
                    <a:pt x="35" y="20"/>
                    <a:pt x="38" y="18"/>
                  </a:cubicBezTo>
                  <a:cubicBezTo>
                    <a:pt x="41" y="16"/>
                    <a:pt x="48" y="25"/>
                    <a:pt x="47" y="18"/>
                  </a:cubicBezTo>
                  <a:cubicBezTo>
                    <a:pt x="45" y="11"/>
                    <a:pt x="41" y="7"/>
                    <a:pt x="43" y="4"/>
                  </a:cubicBezTo>
                  <a:cubicBezTo>
                    <a:pt x="46" y="1"/>
                    <a:pt x="54" y="0"/>
                    <a:pt x="54" y="5"/>
                  </a:cubicBezTo>
                  <a:cubicBezTo>
                    <a:pt x="55" y="9"/>
                    <a:pt x="59" y="4"/>
                    <a:pt x="61" y="3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2" y="8"/>
                    <a:pt x="64" y="19"/>
                    <a:pt x="64" y="20"/>
                  </a:cubicBezTo>
                  <a:cubicBezTo>
                    <a:pt x="65" y="22"/>
                    <a:pt x="70" y="22"/>
                    <a:pt x="72" y="21"/>
                  </a:cubicBezTo>
                  <a:cubicBezTo>
                    <a:pt x="75" y="20"/>
                    <a:pt x="82" y="31"/>
                    <a:pt x="82" y="31"/>
                  </a:cubicBezTo>
                  <a:cubicBezTo>
                    <a:pt x="82" y="31"/>
                    <a:pt x="80" y="34"/>
                    <a:pt x="80" y="35"/>
                  </a:cubicBezTo>
                  <a:cubicBezTo>
                    <a:pt x="80" y="36"/>
                    <a:pt x="80" y="43"/>
                    <a:pt x="78" y="43"/>
                  </a:cubicBezTo>
                  <a:cubicBezTo>
                    <a:pt x="77" y="43"/>
                    <a:pt x="89" y="55"/>
                    <a:pt x="89" y="55"/>
                  </a:cubicBezTo>
                  <a:cubicBezTo>
                    <a:pt x="88" y="67"/>
                    <a:pt x="88" y="67"/>
                    <a:pt x="88" y="67"/>
                  </a:cubicBezTo>
                  <a:close/>
                  <a:moveTo>
                    <a:pt x="28" y="53"/>
                  </a:moveTo>
                  <a:cubicBezTo>
                    <a:pt x="27" y="59"/>
                    <a:pt x="28" y="60"/>
                    <a:pt x="29" y="62"/>
                  </a:cubicBezTo>
                  <a:cubicBezTo>
                    <a:pt x="30" y="65"/>
                    <a:pt x="32" y="66"/>
                    <a:pt x="36" y="67"/>
                  </a:cubicBezTo>
                  <a:cubicBezTo>
                    <a:pt x="40" y="68"/>
                    <a:pt x="45" y="67"/>
                    <a:pt x="44" y="71"/>
                  </a:cubicBezTo>
                  <a:cubicBezTo>
                    <a:pt x="43" y="75"/>
                    <a:pt x="41" y="73"/>
                    <a:pt x="38" y="76"/>
                  </a:cubicBezTo>
                  <a:cubicBezTo>
                    <a:pt x="36" y="79"/>
                    <a:pt x="36" y="83"/>
                    <a:pt x="36" y="84"/>
                  </a:cubicBezTo>
                  <a:cubicBezTo>
                    <a:pt x="37" y="85"/>
                    <a:pt x="39" y="90"/>
                    <a:pt x="34" y="90"/>
                  </a:cubicBezTo>
                  <a:cubicBezTo>
                    <a:pt x="29" y="90"/>
                    <a:pt x="24" y="88"/>
                    <a:pt x="24" y="91"/>
                  </a:cubicBezTo>
                  <a:cubicBezTo>
                    <a:pt x="24" y="93"/>
                    <a:pt x="30" y="101"/>
                    <a:pt x="30" y="101"/>
                  </a:cubicBezTo>
                  <a:cubicBezTo>
                    <a:pt x="30" y="101"/>
                    <a:pt x="37" y="98"/>
                    <a:pt x="39" y="94"/>
                  </a:cubicBezTo>
                  <a:cubicBezTo>
                    <a:pt x="41" y="89"/>
                    <a:pt x="49" y="81"/>
                    <a:pt x="50" y="85"/>
                  </a:cubicBezTo>
                  <a:cubicBezTo>
                    <a:pt x="51" y="88"/>
                    <a:pt x="54" y="84"/>
                    <a:pt x="54" y="79"/>
                  </a:cubicBezTo>
                  <a:cubicBezTo>
                    <a:pt x="55" y="73"/>
                    <a:pt x="55" y="72"/>
                    <a:pt x="50" y="67"/>
                  </a:cubicBezTo>
                  <a:cubicBezTo>
                    <a:pt x="45" y="62"/>
                    <a:pt x="49" y="61"/>
                    <a:pt x="43" y="60"/>
                  </a:cubicBezTo>
                  <a:cubicBezTo>
                    <a:pt x="38" y="59"/>
                    <a:pt x="34" y="57"/>
                    <a:pt x="34" y="55"/>
                  </a:cubicBezTo>
                  <a:cubicBezTo>
                    <a:pt x="34" y="53"/>
                    <a:pt x="28" y="53"/>
                    <a:pt x="28" y="53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2" name="Freeform 62"/>
            <p:cNvSpPr>
              <a:spLocks/>
            </p:cNvSpPr>
            <p:nvPr/>
          </p:nvSpPr>
          <p:spPr bwMode="auto">
            <a:xfrm>
              <a:off x="1715" y="3311"/>
              <a:ext cx="289" cy="330"/>
            </a:xfrm>
            <a:custGeom>
              <a:avLst/>
              <a:gdLst>
                <a:gd name="T0" fmla="*/ 64 w 289"/>
                <a:gd name="T1" fmla="*/ 32 h 330"/>
                <a:gd name="T2" fmla="*/ 68 w 289"/>
                <a:gd name="T3" fmla="*/ 19 h 330"/>
                <a:gd name="T4" fmla="*/ 68 w 289"/>
                <a:gd name="T5" fmla="*/ 3 h 330"/>
                <a:gd name="T6" fmla="*/ 89 w 289"/>
                <a:gd name="T7" fmla="*/ 5 h 330"/>
                <a:gd name="T8" fmla="*/ 100 w 289"/>
                <a:gd name="T9" fmla="*/ 0 h 330"/>
                <a:gd name="T10" fmla="*/ 110 w 289"/>
                <a:gd name="T11" fmla="*/ 23 h 330"/>
                <a:gd name="T12" fmla="*/ 131 w 289"/>
                <a:gd name="T13" fmla="*/ 25 h 330"/>
                <a:gd name="T14" fmla="*/ 162 w 289"/>
                <a:gd name="T15" fmla="*/ 36 h 330"/>
                <a:gd name="T16" fmla="*/ 183 w 289"/>
                <a:gd name="T17" fmla="*/ 34 h 330"/>
                <a:gd name="T18" fmla="*/ 198 w 289"/>
                <a:gd name="T19" fmla="*/ 42 h 330"/>
                <a:gd name="T20" fmla="*/ 225 w 289"/>
                <a:gd name="T21" fmla="*/ 36 h 330"/>
                <a:gd name="T22" fmla="*/ 287 w 289"/>
                <a:gd name="T23" fmla="*/ 59 h 330"/>
                <a:gd name="T24" fmla="*/ 275 w 289"/>
                <a:gd name="T25" fmla="*/ 80 h 330"/>
                <a:gd name="T26" fmla="*/ 264 w 289"/>
                <a:gd name="T27" fmla="*/ 111 h 330"/>
                <a:gd name="T28" fmla="*/ 218 w 289"/>
                <a:gd name="T29" fmla="*/ 151 h 330"/>
                <a:gd name="T30" fmla="*/ 208 w 289"/>
                <a:gd name="T31" fmla="*/ 180 h 330"/>
                <a:gd name="T32" fmla="*/ 216 w 289"/>
                <a:gd name="T33" fmla="*/ 205 h 330"/>
                <a:gd name="T34" fmla="*/ 214 w 289"/>
                <a:gd name="T35" fmla="*/ 230 h 330"/>
                <a:gd name="T36" fmla="*/ 185 w 289"/>
                <a:gd name="T37" fmla="*/ 244 h 330"/>
                <a:gd name="T38" fmla="*/ 179 w 289"/>
                <a:gd name="T39" fmla="*/ 265 h 330"/>
                <a:gd name="T40" fmla="*/ 154 w 289"/>
                <a:gd name="T41" fmla="*/ 265 h 330"/>
                <a:gd name="T42" fmla="*/ 137 w 289"/>
                <a:gd name="T43" fmla="*/ 288 h 330"/>
                <a:gd name="T44" fmla="*/ 106 w 289"/>
                <a:gd name="T45" fmla="*/ 292 h 330"/>
                <a:gd name="T46" fmla="*/ 87 w 289"/>
                <a:gd name="T47" fmla="*/ 328 h 330"/>
                <a:gd name="T48" fmla="*/ 68 w 289"/>
                <a:gd name="T49" fmla="*/ 328 h 330"/>
                <a:gd name="T50" fmla="*/ 50 w 289"/>
                <a:gd name="T51" fmla="*/ 307 h 330"/>
                <a:gd name="T52" fmla="*/ 31 w 289"/>
                <a:gd name="T53" fmla="*/ 294 h 330"/>
                <a:gd name="T54" fmla="*/ 16 w 289"/>
                <a:gd name="T55" fmla="*/ 273 h 330"/>
                <a:gd name="T56" fmla="*/ 6 w 289"/>
                <a:gd name="T57" fmla="*/ 276 h 330"/>
                <a:gd name="T58" fmla="*/ 0 w 289"/>
                <a:gd name="T59" fmla="*/ 248 h 330"/>
                <a:gd name="T60" fmla="*/ 29 w 289"/>
                <a:gd name="T61" fmla="*/ 213 h 330"/>
                <a:gd name="T62" fmla="*/ 41 w 289"/>
                <a:gd name="T63" fmla="*/ 186 h 330"/>
                <a:gd name="T64" fmla="*/ 31 w 289"/>
                <a:gd name="T65" fmla="*/ 151 h 330"/>
                <a:gd name="T66" fmla="*/ 60 w 289"/>
                <a:gd name="T67" fmla="*/ 142 h 330"/>
                <a:gd name="T68" fmla="*/ 62 w 289"/>
                <a:gd name="T69" fmla="*/ 117 h 330"/>
                <a:gd name="T70" fmla="*/ 66 w 289"/>
                <a:gd name="T71" fmla="*/ 96 h 330"/>
                <a:gd name="T72" fmla="*/ 91 w 289"/>
                <a:gd name="T73" fmla="*/ 61 h 330"/>
                <a:gd name="T74" fmla="*/ 56 w 289"/>
                <a:gd name="T75" fmla="*/ 34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9" h="330">
                  <a:moveTo>
                    <a:pt x="56" y="34"/>
                  </a:moveTo>
                  <a:lnTo>
                    <a:pt x="64" y="32"/>
                  </a:lnTo>
                  <a:lnTo>
                    <a:pt x="68" y="28"/>
                  </a:lnTo>
                  <a:lnTo>
                    <a:pt x="68" y="19"/>
                  </a:lnTo>
                  <a:lnTo>
                    <a:pt x="62" y="15"/>
                  </a:lnTo>
                  <a:lnTo>
                    <a:pt x="68" y="3"/>
                  </a:lnTo>
                  <a:lnTo>
                    <a:pt x="85" y="9"/>
                  </a:lnTo>
                  <a:lnTo>
                    <a:pt x="89" y="5"/>
                  </a:lnTo>
                  <a:lnTo>
                    <a:pt x="93" y="7"/>
                  </a:lnTo>
                  <a:lnTo>
                    <a:pt x="100" y="0"/>
                  </a:lnTo>
                  <a:lnTo>
                    <a:pt x="112" y="9"/>
                  </a:lnTo>
                  <a:lnTo>
                    <a:pt x="110" y="23"/>
                  </a:lnTo>
                  <a:lnTo>
                    <a:pt x="120" y="30"/>
                  </a:lnTo>
                  <a:lnTo>
                    <a:pt x="131" y="25"/>
                  </a:lnTo>
                  <a:lnTo>
                    <a:pt x="152" y="42"/>
                  </a:lnTo>
                  <a:lnTo>
                    <a:pt x="162" y="36"/>
                  </a:lnTo>
                  <a:lnTo>
                    <a:pt x="177" y="44"/>
                  </a:lnTo>
                  <a:lnTo>
                    <a:pt x="183" y="34"/>
                  </a:lnTo>
                  <a:lnTo>
                    <a:pt x="191" y="38"/>
                  </a:lnTo>
                  <a:lnTo>
                    <a:pt x="198" y="42"/>
                  </a:lnTo>
                  <a:lnTo>
                    <a:pt x="208" y="30"/>
                  </a:lnTo>
                  <a:lnTo>
                    <a:pt x="225" y="36"/>
                  </a:lnTo>
                  <a:lnTo>
                    <a:pt x="262" y="57"/>
                  </a:lnTo>
                  <a:lnTo>
                    <a:pt x="287" y="59"/>
                  </a:lnTo>
                  <a:lnTo>
                    <a:pt x="289" y="73"/>
                  </a:lnTo>
                  <a:lnTo>
                    <a:pt x="275" y="80"/>
                  </a:lnTo>
                  <a:lnTo>
                    <a:pt x="275" y="98"/>
                  </a:lnTo>
                  <a:lnTo>
                    <a:pt x="264" y="111"/>
                  </a:lnTo>
                  <a:lnTo>
                    <a:pt x="237" y="151"/>
                  </a:lnTo>
                  <a:lnTo>
                    <a:pt x="218" y="151"/>
                  </a:lnTo>
                  <a:lnTo>
                    <a:pt x="210" y="163"/>
                  </a:lnTo>
                  <a:lnTo>
                    <a:pt x="208" y="180"/>
                  </a:lnTo>
                  <a:lnTo>
                    <a:pt x="216" y="190"/>
                  </a:lnTo>
                  <a:lnTo>
                    <a:pt x="216" y="205"/>
                  </a:lnTo>
                  <a:lnTo>
                    <a:pt x="204" y="217"/>
                  </a:lnTo>
                  <a:lnTo>
                    <a:pt x="214" y="230"/>
                  </a:lnTo>
                  <a:lnTo>
                    <a:pt x="200" y="244"/>
                  </a:lnTo>
                  <a:lnTo>
                    <a:pt x="185" y="244"/>
                  </a:lnTo>
                  <a:lnTo>
                    <a:pt x="170" y="253"/>
                  </a:lnTo>
                  <a:lnTo>
                    <a:pt x="179" y="265"/>
                  </a:lnTo>
                  <a:lnTo>
                    <a:pt x="166" y="276"/>
                  </a:lnTo>
                  <a:lnTo>
                    <a:pt x="154" y="265"/>
                  </a:lnTo>
                  <a:lnTo>
                    <a:pt x="143" y="269"/>
                  </a:lnTo>
                  <a:lnTo>
                    <a:pt x="137" y="288"/>
                  </a:lnTo>
                  <a:lnTo>
                    <a:pt x="127" y="294"/>
                  </a:lnTo>
                  <a:lnTo>
                    <a:pt x="106" y="292"/>
                  </a:lnTo>
                  <a:lnTo>
                    <a:pt x="102" y="311"/>
                  </a:lnTo>
                  <a:lnTo>
                    <a:pt x="87" y="328"/>
                  </a:lnTo>
                  <a:lnTo>
                    <a:pt x="87" y="330"/>
                  </a:lnTo>
                  <a:lnTo>
                    <a:pt x="68" y="328"/>
                  </a:lnTo>
                  <a:lnTo>
                    <a:pt x="62" y="307"/>
                  </a:lnTo>
                  <a:lnTo>
                    <a:pt x="50" y="307"/>
                  </a:lnTo>
                  <a:lnTo>
                    <a:pt x="43" y="292"/>
                  </a:lnTo>
                  <a:lnTo>
                    <a:pt x="31" y="294"/>
                  </a:lnTo>
                  <a:lnTo>
                    <a:pt x="16" y="284"/>
                  </a:lnTo>
                  <a:lnTo>
                    <a:pt x="16" y="273"/>
                  </a:lnTo>
                  <a:lnTo>
                    <a:pt x="8" y="273"/>
                  </a:lnTo>
                  <a:lnTo>
                    <a:pt x="6" y="276"/>
                  </a:lnTo>
                  <a:lnTo>
                    <a:pt x="0" y="261"/>
                  </a:lnTo>
                  <a:lnTo>
                    <a:pt x="0" y="248"/>
                  </a:lnTo>
                  <a:lnTo>
                    <a:pt x="25" y="240"/>
                  </a:lnTo>
                  <a:lnTo>
                    <a:pt x="29" y="213"/>
                  </a:lnTo>
                  <a:lnTo>
                    <a:pt x="31" y="196"/>
                  </a:lnTo>
                  <a:lnTo>
                    <a:pt x="41" y="186"/>
                  </a:lnTo>
                  <a:lnTo>
                    <a:pt x="43" y="153"/>
                  </a:lnTo>
                  <a:lnTo>
                    <a:pt x="31" y="151"/>
                  </a:lnTo>
                  <a:lnTo>
                    <a:pt x="47" y="155"/>
                  </a:lnTo>
                  <a:lnTo>
                    <a:pt x="60" y="142"/>
                  </a:lnTo>
                  <a:lnTo>
                    <a:pt x="62" y="126"/>
                  </a:lnTo>
                  <a:lnTo>
                    <a:pt x="62" y="117"/>
                  </a:lnTo>
                  <a:lnTo>
                    <a:pt x="58" y="109"/>
                  </a:lnTo>
                  <a:lnTo>
                    <a:pt x="66" y="96"/>
                  </a:lnTo>
                  <a:lnTo>
                    <a:pt x="91" y="75"/>
                  </a:lnTo>
                  <a:lnTo>
                    <a:pt x="91" y="61"/>
                  </a:lnTo>
                  <a:lnTo>
                    <a:pt x="79" y="50"/>
                  </a:lnTo>
                  <a:lnTo>
                    <a:pt x="56" y="34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3" name="Freeform 63"/>
            <p:cNvSpPr>
              <a:spLocks noEditPoints="1"/>
            </p:cNvSpPr>
            <p:nvPr/>
          </p:nvSpPr>
          <p:spPr bwMode="auto">
            <a:xfrm>
              <a:off x="2632" y="2276"/>
              <a:ext cx="739" cy="1888"/>
            </a:xfrm>
            <a:custGeom>
              <a:avLst/>
              <a:gdLst>
                <a:gd name="T0" fmla="*/ 94 w 355"/>
                <a:gd name="T1" fmla="*/ 769 h 906"/>
                <a:gd name="T2" fmla="*/ 111 w 355"/>
                <a:gd name="T3" fmla="*/ 813 h 906"/>
                <a:gd name="T4" fmla="*/ 139 w 355"/>
                <a:gd name="T5" fmla="*/ 829 h 906"/>
                <a:gd name="T6" fmla="*/ 142 w 355"/>
                <a:gd name="T7" fmla="*/ 873 h 906"/>
                <a:gd name="T8" fmla="*/ 176 w 355"/>
                <a:gd name="T9" fmla="*/ 896 h 906"/>
                <a:gd name="T10" fmla="*/ 198 w 355"/>
                <a:gd name="T11" fmla="*/ 859 h 906"/>
                <a:gd name="T12" fmla="*/ 233 w 355"/>
                <a:gd name="T13" fmla="*/ 846 h 906"/>
                <a:gd name="T14" fmla="*/ 228 w 355"/>
                <a:gd name="T15" fmla="*/ 816 h 906"/>
                <a:gd name="T16" fmla="*/ 233 w 355"/>
                <a:gd name="T17" fmla="*/ 775 h 906"/>
                <a:gd name="T18" fmla="*/ 240 w 355"/>
                <a:gd name="T19" fmla="*/ 736 h 906"/>
                <a:gd name="T20" fmla="*/ 273 w 355"/>
                <a:gd name="T21" fmla="*/ 717 h 906"/>
                <a:gd name="T22" fmla="*/ 305 w 355"/>
                <a:gd name="T23" fmla="*/ 687 h 906"/>
                <a:gd name="T24" fmla="*/ 329 w 355"/>
                <a:gd name="T25" fmla="*/ 681 h 906"/>
                <a:gd name="T26" fmla="*/ 338 w 355"/>
                <a:gd name="T27" fmla="*/ 649 h 906"/>
                <a:gd name="T28" fmla="*/ 324 w 355"/>
                <a:gd name="T29" fmla="*/ 606 h 906"/>
                <a:gd name="T30" fmla="*/ 342 w 355"/>
                <a:gd name="T31" fmla="*/ 567 h 906"/>
                <a:gd name="T32" fmla="*/ 342 w 355"/>
                <a:gd name="T33" fmla="*/ 521 h 906"/>
                <a:gd name="T34" fmla="*/ 340 w 355"/>
                <a:gd name="T35" fmla="*/ 510 h 906"/>
                <a:gd name="T36" fmla="*/ 318 w 355"/>
                <a:gd name="T37" fmla="*/ 501 h 906"/>
                <a:gd name="T38" fmla="*/ 307 w 355"/>
                <a:gd name="T39" fmla="*/ 454 h 906"/>
                <a:gd name="T40" fmla="*/ 304 w 355"/>
                <a:gd name="T41" fmla="*/ 431 h 906"/>
                <a:gd name="T42" fmla="*/ 291 w 355"/>
                <a:gd name="T43" fmla="*/ 361 h 906"/>
                <a:gd name="T44" fmla="*/ 315 w 355"/>
                <a:gd name="T45" fmla="*/ 335 h 906"/>
                <a:gd name="T46" fmla="*/ 336 w 355"/>
                <a:gd name="T47" fmla="*/ 300 h 906"/>
                <a:gd name="T48" fmla="*/ 313 w 355"/>
                <a:gd name="T49" fmla="*/ 261 h 906"/>
                <a:gd name="T50" fmla="*/ 296 w 355"/>
                <a:gd name="T51" fmla="*/ 220 h 906"/>
                <a:gd name="T52" fmla="*/ 269 w 355"/>
                <a:gd name="T53" fmla="*/ 248 h 906"/>
                <a:gd name="T54" fmla="*/ 284 w 355"/>
                <a:gd name="T55" fmla="*/ 210 h 906"/>
                <a:gd name="T56" fmla="*/ 298 w 355"/>
                <a:gd name="T57" fmla="*/ 150 h 906"/>
                <a:gd name="T58" fmla="*/ 238 w 355"/>
                <a:gd name="T59" fmla="*/ 145 h 906"/>
                <a:gd name="T60" fmla="*/ 196 w 355"/>
                <a:gd name="T61" fmla="*/ 138 h 906"/>
                <a:gd name="T62" fmla="*/ 159 w 355"/>
                <a:gd name="T63" fmla="*/ 172 h 906"/>
                <a:gd name="T64" fmla="*/ 91 w 355"/>
                <a:gd name="T65" fmla="*/ 213 h 906"/>
                <a:gd name="T66" fmla="*/ 63 w 355"/>
                <a:gd name="T67" fmla="*/ 250 h 906"/>
                <a:gd name="T68" fmla="*/ 48 w 355"/>
                <a:gd name="T69" fmla="*/ 330 h 906"/>
                <a:gd name="T70" fmla="*/ 47 w 355"/>
                <a:gd name="T71" fmla="*/ 309 h 906"/>
                <a:gd name="T72" fmla="*/ 22 w 355"/>
                <a:gd name="T73" fmla="*/ 304 h 906"/>
                <a:gd name="T74" fmla="*/ 21 w 355"/>
                <a:gd name="T75" fmla="*/ 348 h 906"/>
                <a:gd name="T76" fmla="*/ 15 w 355"/>
                <a:gd name="T77" fmla="*/ 382 h 906"/>
                <a:gd name="T78" fmla="*/ 33 w 355"/>
                <a:gd name="T79" fmla="*/ 388 h 906"/>
                <a:gd name="T80" fmla="*/ 24 w 355"/>
                <a:gd name="T81" fmla="*/ 426 h 906"/>
                <a:gd name="T82" fmla="*/ 34 w 355"/>
                <a:gd name="T83" fmla="*/ 458 h 906"/>
                <a:gd name="T84" fmla="*/ 35 w 355"/>
                <a:gd name="T85" fmla="*/ 492 h 906"/>
                <a:gd name="T86" fmla="*/ 53 w 355"/>
                <a:gd name="T87" fmla="*/ 520 h 906"/>
                <a:gd name="T88" fmla="*/ 51 w 355"/>
                <a:gd name="T89" fmla="*/ 559 h 906"/>
                <a:gd name="T90" fmla="*/ 41 w 355"/>
                <a:gd name="T91" fmla="*/ 608 h 906"/>
                <a:gd name="T92" fmla="*/ 35 w 355"/>
                <a:gd name="T93" fmla="*/ 660 h 906"/>
                <a:gd name="T94" fmla="*/ 84 w 355"/>
                <a:gd name="T95" fmla="*/ 689 h 906"/>
                <a:gd name="T96" fmla="*/ 99 w 355"/>
                <a:gd name="T97" fmla="*/ 726 h 906"/>
                <a:gd name="T98" fmla="*/ 188 w 355"/>
                <a:gd name="T99" fmla="*/ 63 h 906"/>
                <a:gd name="T100" fmla="*/ 216 w 355"/>
                <a:gd name="T101" fmla="*/ 87 h 906"/>
                <a:gd name="T102" fmla="*/ 138 w 355"/>
                <a:gd name="T103" fmla="*/ 50 h 906"/>
                <a:gd name="T104" fmla="*/ 130 w 355"/>
                <a:gd name="T105" fmla="*/ 16 h 906"/>
                <a:gd name="T106" fmla="*/ 145 w 355"/>
                <a:gd name="T107" fmla="*/ 40 h 906"/>
                <a:gd name="T108" fmla="*/ 178 w 355"/>
                <a:gd name="T109" fmla="*/ 76 h 906"/>
                <a:gd name="T110" fmla="*/ 138 w 355"/>
                <a:gd name="T111" fmla="*/ 50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5" h="906">
                  <a:moveTo>
                    <a:pt x="0" y="326"/>
                  </a:moveTo>
                  <a:cubicBezTo>
                    <a:pt x="0" y="326"/>
                    <a:pt x="0" y="326"/>
                    <a:pt x="0" y="326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0" y="326"/>
                    <a:pt x="0" y="326"/>
                    <a:pt x="0" y="326"/>
                  </a:cubicBezTo>
                  <a:close/>
                  <a:moveTo>
                    <a:pt x="93" y="758"/>
                  </a:moveTo>
                  <a:cubicBezTo>
                    <a:pt x="94" y="769"/>
                    <a:pt x="94" y="769"/>
                    <a:pt x="94" y="769"/>
                  </a:cubicBezTo>
                  <a:cubicBezTo>
                    <a:pt x="101" y="775"/>
                    <a:pt x="101" y="775"/>
                    <a:pt x="101" y="775"/>
                  </a:cubicBezTo>
                  <a:cubicBezTo>
                    <a:pt x="105" y="781"/>
                    <a:pt x="105" y="781"/>
                    <a:pt x="105" y="781"/>
                  </a:cubicBezTo>
                  <a:cubicBezTo>
                    <a:pt x="105" y="792"/>
                    <a:pt x="105" y="792"/>
                    <a:pt x="105" y="792"/>
                  </a:cubicBezTo>
                  <a:cubicBezTo>
                    <a:pt x="97" y="799"/>
                    <a:pt x="97" y="799"/>
                    <a:pt x="97" y="799"/>
                  </a:cubicBezTo>
                  <a:cubicBezTo>
                    <a:pt x="105" y="813"/>
                    <a:pt x="105" y="813"/>
                    <a:pt x="105" y="813"/>
                  </a:cubicBezTo>
                  <a:cubicBezTo>
                    <a:pt x="111" y="813"/>
                    <a:pt x="111" y="813"/>
                    <a:pt x="111" y="813"/>
                  </a:cubicBezTo>
                  <a:cubicBezTo>
                    <a:pt x="115" y="810"/>
                    <a:pt x="115" y="810"/>
                    <a:pt x="115" y="810"/>
                  </a:cubicBezTo>
                  <a:cubicBezTo>
                    <a:pt x="128" y="813"/>
                    <a:pt x="128" y="813"/>
                    <a:pt x="128" y="813"/>
                  </a:cubicBezTo>
                  <a:cubicBezTo>
                    <a:pt x="132" y="811"/>
                    <a:pt x="132" y="811"/>
                    <a:pt x="132" y="811"/>
                  </a:cubicBezTo>
                  <a:cubicBezTo>
                    <a:pt x="135" y="816"/>
                    <a:pt x="135" y="816"/>
                    <a:pt x="135" y="816"/>
                  </a:cubicBezTo>
                  <a:cubicBezTo>
                    <a:pt x="132" y="822"/>
                    <a:pt x="132" y="822"/>
                    <a:pt x="132" y="822"/>
                  </a:cubicBezTo>
                  <a:cubicBezTo>
                    <a:pt x="139" y="829"/>
                    <a:pt x="139" y="829"/>
                    <a:pt x="139" y="829"/>
                  </a:cubicBezTo>
                  <a:cubicBezTo>
                    <a:pt x="139" y="838"/>
                    <a:pt x="139" y="838"/>
                    <a:pt x="139" y="838"/>
                  </a:cubicBezTo>
                  <a:cubicBezTo>
                    <a:pt x="148" y="845"/>
                    <a:pt x="148" y="845"/>
                    <a:pt x="148" y="845"/>
                  </a:cubicBezTo>
                  <a:cubicBezTo>
                    <a:pt x="147" y="854"/>
                    <a:pt x="147" y="854"/>
                    <a:pt x="147" y="854"/>
                  </a:cubicBezTo>
                  <a:cubicBezTo>
                    <a:pt x="150" y="860"/>
                    <a:pt x="150" y="860"/>
                    <a:pt x="150" y="860"/>
                  </a:cubicBezTo>
                  <a:cubicBezTo>
                    <a:pt x="141" y="868"/>
                    <a:pt x="141" y="868"/>
                    <a:pt x="141" y="868"/>
                  </a:cubicBezTo>
                  <a:cubicBezTo>
                    <a:pt x="142" y="873"/>
                    <a:pt x="142" y="873"/>
                    <a:pt x="142" y="873"/>
                  </a:cubicBezTo>
                  <a:cubicBezTo>
                    <a:pt x="130" y="884"/>
                    <a:pt x="130" y="884"/>
                    <a:pt x="130" y="884"/>
                  </a:cubicBezTo>
                  <a:cubicBezTo>
                    <a:pt x="125" y="898"/>
                    <a:pt x="125" y="898"/>
                    <a:pt x="125" y="898"/>
                  </a:cubicBezTo>
                  <a:cubicBezTo>
                    <a:pt x="137" y="905"/>
                    <a:pt x="137" y="905"/>
                    <a:pt x="137" y="905"/>
                  </a:cubicBezTo>
                  <a:cubicBezTo>
                    <a:pt x="151" y="906"/>
                    <a:pt x="151" y="906"/>
                    <a:pt x="151" y="906"/>
                  </a:cubicBezTo>
                  <a:cubicBezTo>
                    <a:pt x="164" y="905"/>
                    <a:pt x="164" y="905"/>
                    <a:pt x="164" y="905"/>
                  </a:cubicBezTo>
                  <a:cubicBezTo>
                    <a:pt x="176" y="896"/>
                    <a:pt x="176" y="896"/>
                    <a:pt x="176" y="896"/>
                  </a:cubicBezTo>
                  <a:cubicBezTo>
                    <a:pt x="183" y="896"/>
                    <a:pt x="183" y="896"/>
                    <a:pt x="183" y="896"/>
                  </a:cubicBezTo>
                  <a:cubicBezTo>
                    <a:pt x="183" y="886"/>
                    <a:pt x="183" y="886"/>
                    <a:pt x="183" y="886"/>
                  </a:cubicBezTo>
                  <a:cubicBezTo>
                    <a:pt x="189" y="881"/>
                    <a:pt x="189" y="881"/>
                    <a:pt x="189" y="881"/>
                  </a:cubicBezTo>
                  <a:cubicBezTo>
                    <a:pt x="188" y="875"/>
                    <a:pt x="188" y="875"/>
                    <a:pt x="188" y="875"/>
                  </a:cubicBezTo>
                  <a:cubicBezTo>
                    <a:pt x="196" y="872"/>
                    <a:pt x="196" y="872"/>
                    <a:pt x="196" y="872"/>
                  </a:cubicBezTo>
                  <a:cubicBezTo>
                    <a:pt x="198" y="859"/>
                    <a:pt x="198" y="859"/>
                    <a:pt x="198" y="859"/>
                  </a:cubicBezTo>
                  <a:cubicBezTo>
                    <a:pt x="206" y="857"/>
                    <a:pt x="206" y="857"/>
                    <a:pt x="206" y="857"/>
                  </a:cubicBezTo>
                  <a:cubicBezTo>
                    <a:pt x="212" y="857"/>
                    <a:pt x="212" y="857"/>
                    <a:pt x="212" y="857"/>
                  </a:cubicBezTo>
                  <a:cubicBezTo>
                    <a:pt x="215" y="854"/>
                    <a:pt x="215" y="854"/>
                    <a:pt x="215" y="854"/>
                  </a:cubicBezTo>
                  <a:cubicBezTo>
                    <a:pt x="225" y="852"/>
                    <a:pt x="225" y="852"/>
                    <a:pt x="225" y="852"/>
                  </a:cubicBezTo>
                  <a:cubicBezTo>
                    <a:pt x="231" y="850"/>
                    <a:pt x="231" y="850"/>
                    <a:pt x="231" y="850"/>
                  </a:cubicBezTo>
                  <a:cubicBezTo>
                    <a:pt x="233" y="846"/>
                    <a:pt x="233" y="846"/>
                    <a:pt x="233" y="846"/>
                  </a:cubicBezTo>
                  <a:cubicBezTo>
                    <a:pt x="214" y="836"/>
                    <a:pt x="214" y="836"/>
                    <a:pt x="214" y="836"/>
                  </a:cubicBezTo>
                  <a:cubicBezTo>
                    <a:pt x="212" y="827"/>
                    <a:pt x="212" y="827"/>
                    <a:pt x="212" y="827"/>
                  </a:cubicBezTo>
                  <a:cubicBezTo>
                    <a:pt x="216" y="825"/>
                    <a:pt x="216" y="825"/>
                    <a:pt x="216" y="825"/>
                  </a:cubicBezTo>
                  <a:cubicBezTo>
                    <a:pt x="221" y="822"/>
                    <a:pt x="221" y="822"/>
                    <a:pt x="221" y="822"/>
                  </a:cubicBezTo>
                  <a:cubicBezTo>
                    <a:pt x="228" y="821"/>
                    <a:pt x="228" y="821"/>
                    <a:pt x="228" y="821"/>
                  </a:cubicBezTo>
                  <a:cubicBezTo>
                    <a:pt x="228" y="816"/>
                    <a:pt x="228" y="816"/>
                    <a:pt x="228" y="816"/>
                  </a:cubicBezTo>
                  <a:cubicBezTo>
                    <a:pt x="230" y="812"/>
                    <a:pt x="230" y="812"/>
                    <a:pt x="230" y="812"/>
                  </a:cubicBezTo>
                  <a:cubicBezTo>
                    <a:pt x="228" y="801"/>
                    <a:pt x="228" y="801"/>
                    <a:pt x="228" y="801"/>
                  </a:cubicBezTo>
                  <a:cubicBezTo>
                    <a:pt x="231" y="794"/>
                    <a:pt x="231" y="794"/>
                    <a:pt x="231" y="794"/>
                  </a:cubicBezTo>
                  <a:cubicBezTo>
                    <a:pt x="226" y="786"/>
                    <a:pt x="226" y="786"/>
                    <a:pt x="226" y="786"/>
                  </a:cubicBezTo>
                  <a:cubicBezTo>
                    <a:pt x="228" y="776"/>
                    <a:pt x="228" y="776"/>
                    <a:pt x="228" y="776"/>
                  </a:cubicBezTo>
                  <a:cubicBezTo>
                    <a:pt x="233" y="775"/>
                    <a:pt x="233" y="775"/>
                    <a:pt x="233" y="775"/>
                  </a:cubicBezTo>
                  <a:cubicBezTo>
                    <a:pt x="238" y="771"/>
                    <a:pt x="238" y="771"/>
                    <a:pt x="238" y="771"/>
                  </a:cubicBezTo>
                  <a:cubicBezTo>
                    <a:pt x="244" y="765"/>
                    <a:pt x="244" y="765"/>
                    <a:pt x="244" y="765"/>
                  </a:cubicBezTo>
                  <a:cubicBezTo>
                    <a:pt x="242" y="755"/>
                    <a:pt x="242" y="755"/>
                    <a:pt x="242" y="755"/>
                  </a:cubicBezTo>
                  <a:cubicBezTo>
                    <a:pt x="236" y="747"/>
                    <a:pt x="236" y="747"/>
                    <a:pt x="236" y="747"/>
                  </a:cubicBezTo>
                  <a:cubicBezTo>
                    <a:pt x="235" y="740"/>
                    <a:pt x="235" y="740"/>
                    <a:pt x="235" y="740"/>
                  </a:cubicBezTo>
                  <a:cubicBezTo>
                    <a:pt x="240" y="736"/>
                    <a:pt x="240" y="736"/>
                    <a:pt x="240" y="736"/>
                  </a:cubicBezTo>
                  <a:cubicBezTo>
                    <a:pt x="241" y="726"/>
                    <a:pt x="241" y="726"/>
                    <a:pt x="241" y="726"/>
                  </a:cubicBezTo>
                  <a:cubicBezTo>
                    <a:pt x="248" y="725"/>
                    <a:pt x="248" y="725"/>
                    <a:pt x="248" y="725"/>
                  </a:cubicBezTo>
                  <a:cubicBezTo>
                    <a:pt x="259" y="724"/>
                    <a:pt x="259" y="724"/>
                    <a:pt x="259" y="724"/>
                  </a:cubicBezTo>
                  <a:cubicBezTo>
                    <a:pt x="265" y="716"/>
                    <a:pt x="265" y="716"/>
                    <a:pt x="265" y="716"/>
                  </a:cubicBezTo>
                  <a:cubicBezTo>
                    <a:pt x="268" y="713"/>
                    <a:pt x="268" y="713"/>
                    <a:pt x="268" y="713"/>
                  </a:cubicBezTo>
                  <a:cubicBezTo>
                    <a:pt x="273" y="717"/>
                    <a:pt x="273" y="717"/>
                    <a:pt x="273" y="717"/>
                  </a:cubicBezTo>
                  <a:cubicBezTo>
                    <a:pt x="279" y="727"/>
                    <a:pt x="279" y="727"/>
                    <a:pt x="279" y="727"/>
                  </a:cubicBezTo>
                  <a:cubicBezTo>
                    <a:pt x="286" y="731"/>
                    <a:pt x="286" y="731"/>
                    <a:pt x="286" y="731"/>
                  </a:cubicBezTo>
                  <a:cubicBezTo>
                    <a:pt x="288" y="726"/>
                    <a:pt x="288" y="726"/>
                    <a:pt x="288" y="726"/>
                  </a:cubicBezTo>
                  <a:cubicBezTo>
                    <a:pt x="285" y="720"/>
                    <a:pt x="285" y="720"/>
                    <a:pt x="285" y="720"/>
                  </a:cubicBezTo>
                  <a:cubicBezTo>
                    <a:pt x="289" y="706"/>
                    <a:pt x="289" y="706"/>
                    <a:pt x="289" y="706"/>
                  </a:cubicBezTo>
                  <a:cubicBezTo>
                    <a:pt x="305" y="687"/>
                    <a:pt x="305" y="687"/>
                    <a:pt x="305" y="687"/>
                  </a:cubicBezTo>
                  <a:cubicBezTo>
                    <a:pt x="303" y="678"/>
                    <a:pt x="303" y="678"/>
                    <a:pt x="303" y="678"/>
                  </a:cubicBezTo>
                  <a:cubicBezTo>
                    <a:pt x="307" y="673"/>
                    <a:pt x="307" y="673"/>
                    <a:pt x="307" y="673"/>
                  </a:cubicBezTo>
                  <a:cubicBezTo>
                    <a:pt x="313" y="671"/>
                    <a:pt x="313" y="671"/>
                    <a:pt x="313" y="671"/>
                  </a:cubicBezTo>
                  <a:cubicBezTo>
                    <a:pt x="318" y="677"/>
                    <a:pt x="318" y="677"/>
                    <a:pt x="318" y="677"/>
                  </a:cubicBezTo>
                  <a:cubicBezTo>
                    <a:pt x="325" y="678"/>
                    <a:pt x="325" y="678"/>
                    <a:pt x="325" y="678"/>
                  </a:cubicBezTo>
                  <a:cubicBezTo>
                    <a:pt x="329" y="681"/>
                    <a:pt x="329" y="681"/>
                    <a:pt x="329" y="681"/>
                  </a:cubicBezTo>
                  <a:cubicBezTo>
                    <a:pt x="337" y="682"/>
                    <a:pt x="337" y="682"/>
                    <a:pt x="337" y="682"/>
                  </a:cubicBezTo>
                  <a:cubicBezTo>
                    <a:pt x="341" y="676"/>
                    <a:pt x="341" y="676"/>
                    <a:pt x="341" y="676"/>
                  </a:cubicBezTo>
                  <a:cubicBezTo>
                    <a:pt x="347" y="670"/>
                    <a:pt x="347" y="670"/>
                    <a:pt x="347" y="670"/>
                  </a:cubicBezTo>
                  <a:cubicBezTo>
                    <a:pt x="344" y="657"/>
                    <a:pt x="344" y="657"/>
                    <a:pt x="344" y="657"/>
                  </a:cubicBezTo>
                  <a:cubicBezTo>
                    <a:pt x="338" y="656"/>
                    <a:pt x="338" y="656"/>
                    <a:pt x="338" y="656"/>
                  </a:cubicBezTo>
                  <a:cubicBezTo>
                    <a:pt x="338" y="649"/>
                    <a:pt x="338" y="649"/>
                    <a:pt x="338" y="649"/>
                  </a:cubicBezTo>
                  <a:cubicBezTo>
                    <a:pt x="343" y="647"/>
                    <a:pt x="343" y="647"/>
                    <a:pt x="343" y="647"/>
                  </a:cubicBezTo>
                  <a:cubicBezTo>
                    <a:pt x="339" y="634"/>
                    <a:pt x="339" y="634"/>
                    <a:pt x="339" y="634"/>
                  </a:cubicBezTo>
                  <a:cubicBezTo>
                    <a:pt x="333" y="635"/>
                    <a:pt x="333" y="635"/>
                    <a:pt x="333" y="635"/>
                  </a:cubicBezTo>
                  <a:cubicBezTo>
                    <a:pt x="323" y="628"/>
                    <a:pt x="323" y="628"/>
                    <a:pt x="323" y="628"/>
                  </a:cubicBezTo>
                  <a:cubicBezTo>
                    <a:pt x="325" y="619"/>
                    <a:pt x="325" y="619"/>
                    <a:pt x="325" y="619"/>
                  </a:cubicBezTo>
                  <a:cubicBezTo>
                    <a:pt x="324" y="606"/>
                    <a:pt x="324" y="606"/>
                    <a:pt x="324" y="606"/>
                  </a:cubicBezTo>
                  <a:cubicBezTo>
                    <a:pt x="333" y="599"/>
                    <a:pt x="333" y="599"/>
                    <a:pt x="333" y="599"/>
                  </a:cubicBezTo>
                  <a:cubicBezTo>
                    <a:pt x="337" y="594"/>
                    <a:pt x="337" y="594"/>
                    <a:pt x="337" y="594"/>
                  </a:cubicBezTo>
                  <a:cubicBezTo>
                    <a:pt x="337" y="584"/>
                    <a:pt x="337" y="584"/>
                    <a:pt x="337" y="584"/>
                  </a:cubicBezTo>
                  <a:cubicBezTo>
                    <a:pt x="343" y="578"/>
                    <a:pt x="343" y="578"/>
                    <a:pt x="343" y="578"/>
                  </a:cubicBezTo>
                  <a:cubicBezTo>
                    <a:pt x="340" y="572"/>
                    <a:pt x="340" y="572"/>
                    <a:pt x="340" y="572"/>
                  </a:cubicBezTo>
                  <a:cubicBezTo>
                    <a:pt x="342" y="567"/>
                    <a:pt x="342" y="567"/>
                    <a:pt x="342" y="567"/>
                  </a:cubicBezTo>
                  <a:cubicBezTo>
                    <a:pt x="333" y="557"/>
                    <a:pt x="333" y="557"/>
                    <a:pt x="333" y="557"/>
                  </a:cubicBezTo>
                  <a:cubicBezTo>
                    <a:pt x="333" y="550"/>
                    <a:pt x="333" y="550"/>
                    <a:pt x="333" y="550"/>
                  </a:cubicBezTo>
                  <a:cubicBezTo>
                    <a:pt x="334" y="543"/>
                    <a:pt x="334" y="543"/>
                    <a:pt x="334" y="543"/>
                  </a:cubicBezTo>
                  <a:cubicBezTo>
                    <a:pt x="331" y="536"/>
                    <a:pt x="331" y="536"/>
                    <a:pt x="331" y="536"/>
                  </a:cubicBezTo>
                  <a:cubicBezTo>
                    <a:pt x="332" y="528"/>
                    <a:pt x="332" y="528"/>
                    <a:pt x="332" y="528"/>
                  </a:cubicBezTo>
                  <a:cubicBezTo>
                    <a:pt x="342" y="521"/>
                    <a:pt x="342" y="521"/>
                    <a:pt x="342" y="521"/>
                  </a:cubicBezTo>
                  <a:cubicBezTo>
                    <a:pt x="348" y="520"/>
                    <a:pt x="348" y="520"/>
                    <a:pt x="348" y="520"/>
                  </a:cubicBezTo>
                  <a:cubicBezTo>
                    <a:pt x="355" y="515"/>
                    <a:pt x="355" y="515"/>
                    <a:pt x="355" y="515"/>
                  </a:cubicBezTo>
                  <a:cubicBezTo>
                    <a:pt x="354" y="509"/>
                    <a:pt x="354" y="509"/>
                    <a:pt x="354" y="509"/>
                  </a:cubicBezTo>
                  <a:cubicBezTo>
                    <a:pt x="350" y="509"/>
                    <a:pt x="350" y="509"/>
                    <a:pt x="350" y="509"/>
                  </a:cubicBezTo>
                  <a:cubicBezTo>
                    <a:pt x="346" y="512"/>
                    <a:pt x="346" y="512"/>
                    <a:pt x="346" y="512"/>
                  </a:cubicBezTo>
                  <a:cubicBezTo>
                    <a:pt x="340" y="510"/>
                    <a:pt x="340" y="510"/>
                    <a:pt x="340" y="510"/>
                  </a:cubicBezTo>
                  <a:cubicBezTo>
                    <a:pt x="335" y="513"/>
                    <a:pt x="335" y="513"/>
                    <a:pt x="335" y="513"/>
                  </a:cubicBezTo>
                  <a:cubicBezTo>
                    <a:pt x="331" y="510"/>
                    <a:pt x="331" y="510"/>
                    <a:pt x="331" y="510"/>
                  </a:cubicBezTo>
                  <a:cubicBezTo>
                    <a:pt x="324" y="513"/>
                    <a:pt x="324" y="513"/>
                    <a:pt x="324" y="513"/>
                  </a:cubicBezTo>
                  <a:cubicBezTo>
                    <a:pt x="317" y="512"/>
                    <a:pt x="317" y="512"/>
                    <a:pt x="317" y="512"/>
                  </a:cubicBezTo>
                  <a:cubicBezTo>
                    <a:pt x="317" y="503"/>
                    <a:pt x="317" y="503"/>
                    <a:pt x="317" y="503"/>
                  </a:cubicBezTo>
                  <a:cubicBezTo>
                    <a:pt x="318" y="501"/>
                    <a:pt x="318" y="501"/>
                    <a:pt x="318" y="501"/>
                  </a:cubicBezTo>
                  <a:cubicBezTo>
                    <a:pt x="318" y="494"/>
                    <a:pt x="318" y="494"/>
                    <a:pt x="318" y="494"/>
                  </a:cubicBezTo>
                  <a:cubicBezTo>
                    <a:pt x="322" y="480"/>
                    <a:pt x="322" y="480"/>
                    <a:pt x="322" y="480"/>
                  </a:cubicBezTo>
                  <a:cubicBezTo>
                    <a:pt x="315" y="472"/>
                    <a:pt x="315" y="472"/>
                    <a:pt x="315" y="472"/>
                  </a:cubicBezTo>
                  <a:cubicBezTo>
                    <a:pt x="314" y="463"/>
                    <a:pt x="314" y="463"/>
                    <a:pt x="314" y="463"/>
                  </a:cubicBezTo>
                  <a:cubicBezTo>
                    <a:pt x="308" y="459"/>
                    <a:pt x="308" y="459"/>
                    <a:pt x="308" y="459"/>
                  </a:cubicBezTo>
                  <a:cubicBezTo>
                    <a:pt x="307" y="454"/>
                    <a:pt x="307" y="454"/>
                    <a:pt x="307" y="454"/>
                  </a:cubicBezTo>
                  <a:cubicBezTo>
                    <a:pt x="310" y="451"/>
                    <a:pt x="310" y="451"/>
                    <a:pt x="310" y="451"/>
                  </a:cubicBezTo>
                  <a:cubicBezTo>
                    <a:pt x="307" y="447"/>
                    <a:pt x="307" y="447"/>
                    <a:pt x="307" y="447"/>
                  </a:cubicBezTo>
                  <a:cubicBezTo>
                    <a:pt x="307" y="442"/>
                    <a:pt x="307" y="442"/>
                    <a:pt x="307" y="442"/>
                  </a:cubicBezTo>
                  <a:cubicBezTo>
                    <a:pt x="298" y="442"/>
                    <a:pt x="298" y="442"/>
                    <a:pt x="298" y="442"/>
                  </a:cubicBezTo>
                  <a:cubicBezTo>
                    <a:pt x="297" y="438"/>
                    <a:pt x="297" y="438"/>
                    <a:pt x="297" y="438"/>
                  </a:cubicBezTo>
                  <a:cubicBezTo>
                    <a:pt x="304" y="431"/>
                    <a:pt x="304" y="431"/>
                    <a:pt x="304" y="431"/>
                  </a:cubicBezTo>
                  <a:cubicBezTo>
                    <a:pt x="309" y="429"/>
                    <a:pt x="309" y="429"/>
                    <a:pt x="309" y="429"/>
                  </a:cubicBezTo>
                  <a:cubicBezTo>
                    <a:pt x="305" y="400"/>
                    <a:pt x="305" y="400"/>
                    <a:pt x="305" y="400"/>
                  </a:cubicBezTo>
                  <a:cubicBezTo>
                    <a:pt x="301" y="390"/>
                    <a:pt x="301" y="390"/>
                    <a:pt x="301" y="390"/>
                  </a:cubicBezTo>
                  <a:cubicBezTo>
                    <a:pt x="299" y="379"/>
                    <a:pt x="299" y="379"/>
                    <a:pt x="299" y="379"/>
                  </a:cubicBezTo>
                  <a:cubicBezTo>
                    <a:pt x="290" y="367"/>
                    <a:pt x="290" y="367"/>
                    <a:pt x="290" y="367"/>
                  </a:cubicBezTo>
                  <a:cubicBezTo>
                    <a:pt x="291" y="361"/>
                    <a:pt x="291" y="361"/>
                    <a:pt x="291" y="361"/>
                  </a:cubicBezTo>
                  <a:cubicBezTo>
                    <a:pt x="295" y="360"/>
                    <a:pt x="295" y="360"/>
                    <a:pt x="295" y="360"/>
                  </a:cubicBezTo>
                  <a:cubicBezTo>
                    <a:pt x="304" y="347"/>
                    <a:pt x="304" y="347"/>
                    <a:pt x="304" y="347"/>
                  </a:cubicBezTo>
                  <a:cubicBezTo>
                    <a:pt x="311" y="349"/>
                    <a:pt x="311" y="349"/>
                    <a:pt x="311" y="349"/>
                  </a:cubicBezTo>
                  <a:cubicBezTo>
                    <a:pt x="316" y="349"/>
                    <a:pt x="316" y="349"/>
                    <a:pt x="316" y="349"/>
                  </a:cubicBezTo>
                  <a:cubicBezTo>
                    <a:pt x="319" y="340"/>
                    <a:pt x="319" y="340"/>
                    <a:pt x="319" y="340"/>
                  </a:cubicBezTo>
                  <a:cubicBezTo>
                    <a:pt x="315" y="335"/>
                    <a:pt x="315" y="335"/>
                    <a:pt x="315" y="335"/>
                  </a:cubicBezTo>
                  <a:cubicBezTo>
                    <a:pt x="317" y="327"/>
                    <a:pt x="317" y="327"/>
                    <a:pt x="317" y="327"/>
                  </a:cubicBezTo>
                  <a:cubicBezTo>
                    <a:pt x="321" y="327"/>
                    <a:pt x="321" y="327"/>
                    <a:pt x="321" y="327"/>
                  </a:cubicBezTo>
                  <a:cubicBezTo>
                    <a:pt x="321" y="316"/>
                    <a:pt x="321" y="316"/>
                    <a:pt x="321" y="316"/>
                  </a:cubicBezTo>
                  <a:cubicBezTo>
                    <a:pt x="332" y="305"/>
                    <a:pt x="332" y="305"/>
                    <a:pt x="332" y="305"/>
                  </a:cubicBezTo>
                  <a:cubicBezTo>
                    <a:pt x="333" y="300"/>
                    <a:pt x="333" y="300"/>
                    <a:pt x="333" y="300"/>
                  </a:cubicBezTo>
                  <a:cubicBezTo>
                    <a:pt x="336" y="300"/>
                    <a:pt x="336" y="300"/>
                    <a:pt x="336" y="300"/>
                  </a:cubicBezTo>
                  <a:cubicBezTo>
                    <a:pt x="337" y="291"/>
                    <a:pt x="337" y="291"/>
                    <a:pt x="337" y="291"/>
                  </a:cubicBezTo>
                  <a:cubicBezTo>
                    <a:pt x="330" y="293"/>
                    <a:pt x="330" y="293"/>
                    <a:pt x="330" y="293"/>
                  </a:cubicBezTo>
                  <a:cubicBezTo>
                    <a:pt x="327" y="285"/>
                    <a:pt x="327" y="285"/>
                    <a:pt x="327" y="285"/>
                  </a:cubicBezTo>
                  <a:cubicBezTo>
                    <a:pt x="325" y="275"/>
                    <a:pt x="325" y="275"/>
                    <a:pt x="325" y="275"/>
                  </a:cubicBezTo>
                  <a:cubicBezTo>
                    <a:pt x="314" y="265"/>
                    <a:pt x="314" y="265"/>
                    <a:pt x="314" y="265"/>
                  </a:cubicBezTo>
                  <a:cubicBezTo>
                    <a:pt x="313" y="261"/>
                    <a:pt x="313" y="261"/>
                    <a:pt x="313" y="261"/>
                  </a:cubicBezTo>
                  <a:cubicBezTo>
                    <a:pt x="306" y="260"/>
                    <a:pt x="306" y="260"/>
                    <a:pt x="306" y="260"/>
                  </a:cubicBezTo>
                  <a:cubicBezTo>
                    <a:pt x="303" y="254"/>
                    <a:pt x="303" y="254"/>
                    <a:pt x="303" y="254"/>
                  </a:cubicBezTo>
                  <a:cubicBezTo>
                    <a:pt x="304" y="245"/>
                    <a:pt x="304" y="245"/>
                    <a:pt x="304" y="245"/>
                  </a:cubicBezTo>
                  <a:cubicBezTo>
                    <a:pt x="297" y="236"/>
                    <a:pt x="297" y="236"/>
                    <a:pt x="297" y="236"/>
                  </a:cubicBezTo>
                  <a:cubicBezTo>
                    <a:pt x="301" y="229"/>
                    <a:pt x="301" y="229"/>
                    <a:pt x="301" y="229"/>
                  </a:cubicBezTo>
                  <a:cubicBezTo>
                    <a:pt x="296" y="220"/>
                    <a:pt x="296" y="220"/>
                    <a:pt x="296" y="220"/>
                  </a:cubicBezTo>
                  <a:cubicBezTo>
                    <a:pt x="294" y="216"/>
                    <a:pt x="294" y="216"/>
                    <a:pt x="294" y="216"/>
                  </a:cubicBezTo>
                  <a:cubicBezTo>
                    <a:pt x="291" y="218"/>
                    <a:pt x="287" y="217"/>
                    <a:pt x="286" y="219"/>
                  </a:cubicBezTo>
                  <a:cubicBezTo>
                    <a:pt x="285" y="221"/>
                    <a:pt x="285" y="227"/>
                    <a:pt x="288" y="228"/>
                  </a:cubicBezTo>
                  <a:cubicBezTo>
                    <a:pt x="290" y="228"/>
                    <a:pt x="296" y="226"/>
                    <a:pt x="293" y="230"/>
                  </a:cubicBezTo>
                  <a:cubicBezTo>
                    <a:pt x="290" y="233"/>
                    <a:pt x="282" y="240"/>
                    <a:pt x="279" y="241"/>
                  </a:cubicBezTo>
                  <a:cubicBezTo>
                    <a:pt x="276" y="243"/>
                    <a:pt x="273" y="245"/>
                    <a:pt x="269" y="248"/>
                  </a:cubicBezTo>
                  <a:cubicBezTo>
                    <a:pt x="266" y="250"/>
                    <a:pt x="259" y="253"/>
                    <a:pt x="260" y="251"/>
                  </a:cubicBezTo>
                  <a:cubicBezTo>
                    <a:pt x="262" y="249"/>
                    <a:pt x="263" y="248"/>
                    <a:pt x="264" y="245"/>
                  </a:cubicBezTo>
                  <a:cubicBezTo>
                    <a:pt x="265" y="243"/>
                    <a:pt x="267" y="241"/>
                    <a:pt x="269" y="238"/>
                  </a:cubicBezTo>
                  <a:cubicBezTo>
                    <a:pt x="271" y="235"/>
                    <a:pt x="273" y="232"/>
                    <a:pt x="276" y="229"/>
                  </a:cubicBezTo>
                  <a:cubicBezTo>
                    <a:pt x="278" y="226"/>
                    <a:pt x="279" y="223"/>
                    <a:pt x="280" y="221"/>
                  </a:cubicBezTo>
                  <a:cubicBezTo>
                    <a:pt x="281" y="219"/>
                    <a:pt x="283" y="215"/>
                    <a:pt x="284" y="210"/>
                  </a:cubicBezTo>
                  <a:cubicBezTo>
                    <a:pt x="286" y="205"/>
                    <a:pt x="285" y="204"/>
                    <a:pt x="289" y="198"/>
                  </a:cubicBezTo>
                  <a:cubicBezTo>
                    <a:pt x="292" y="193"/>
                    <a:pt x="294" y="195"/>
                    <a:pt x="295" y="191"/>
                  </a:cubicBezTo>
                  <a:cubicBezTo>
                    <a:pt x="297" y="187"/>
                    <a:pt x="296" y="185"/>
                    <a:pt x="300" y="182"/>
                  </a:cubicBezTo>
                  <a:cubicBezTo>
                    <a:pt x="303" y="179"/>
                    <a:pt x="304" y="175"/>
                    <a:pt x="304" y="167"/>
                  </a:cubicBezTo>
                  <a:cubicBezTo>
                    <a:pt x="303" y="159"/>
                    <a:pt x="301" y="162"/>
                    <a:pt x="301" y="158"/>
                  </a:cubicBezTo>
                  <a:cubicBezTo>
                    <a:pt x="300" y="154"/>
                    <a:pt x="299" y="152"/>
                    <a:pt x="298" y="150"/>
                  </a:cubicBezTo>
                  <a:cubicBezTo>
                    <a:pt x="297" y="148"/>
                    <a:pt x="292" y="143"/>
                    <a:pt x="290" y="142"/>
                  </a:cubicBezTo>
                  <a:cubicBezTo>
                    <a:pt x="287" y="142"/>
                    <a:pt x="283" y="140"/>
                    <a:pt x="278" y="135"/>
                  </a:cubicBezTo>
                  <a:cubicBezTo>
                    <a:pt x="273" y="130"/>
                    <a:pt x="271" y="129"/>
                    <a:pt x="268" y="132"/>
                  </a:cubicBezTo>
                  <a:cubicBezTo>
                    <a:pt x="265" y="135"/>
                    <a:pt x="258" y="134"/>
                    <a:pt x="252" y="136"/>
                  </a:cubicBezTo>
                  <a:cubicBezTo>
                    <a:pt x="247" y="137"/>
                    <a:pt x="250" y="140"/>
                    <a:pt x="246" y="145"/>
                  </a:cubicBezTo>
                  <a:cubicBezTo>
                    <a:pt x="242" y="149"/>
                    <a:pt x="236" y="147"/>
                    <a:pt x="238" y="145"/>
                  </a:cubicBezTo>
                  <a:cubicBezTo>
                    <a:pt x="240" y="142"/>
                    <a:pt x="243" y="131"/>
                    <a:pt x="241" y="131"/>
                  </a:cubicBezTo>
                  <a:cubicBezTo>
                    <a:pt x="240" y="130"/>
                    <a:pt x="232" y="129"/>
                    <a:pt x="229" y="130"/>
                  </a:cubicBezTo>
                  <a:cubicBezTo>
                    <a:pt x="227" y="131"/>
                    <a:pt x="219" y="131"/>
                    <a:pt x="224" y="126"/>
                  </a:cubicBezTo>
                  <a:cubicBezTo>
                    <a:pt x="230" y="121"/>
                    <a:pt x="230" y="120"/>
                    <a:pt x="224" y="117"/>
                  </a:cubicBezTo>
                  <a:cubicBezTo>
                    <a:pt x="219" y="113"/>
                    <a:pt x="213" y="113"/>
                    <a:pt x="207" y="118"/>
                  </a:cubicBezTo>
                  <a:cubicBezTo>
                    <a:pt x="201" y="122"/>
                    <a:pt x="201" y="129"/>
                    <a:pt x="196" y="138"/>
                  </a:cubicBezTo>
                  <a:cubicBezTo>
                    <a:pt x="192" y="147"/>
                    <a:pt x="194" y="147"/>
                    <a:pt x="196" y="151"/>
                  </a:cubicBezTo>
                  <a:cubicBezTo>
                    <a:pt x="199" y="155"/>
                    <a:pt x="193" y="156"/>
                    <a:pt x="190" y="157"/>
                  </a:cubicBezTo>
                  <a:cubicBezTo>
                    <a:pt x="187" y="157"/>
                    <a:pt x="183" y="158"/>
                    <a:pt x="183" y="162"/>
                  </a:cubicBezTo>
                  <a:cubicBezTo>
                    <a:pt x="184" y="166"/>
                    <a:pt x="183" y="167"/>
                    <a:pt x="180" y="168"/>
                  </a:cubicBezTo>
                  <a:cubicBezTo>
                    <a:pt x="177" y="169"/>
                    <a:pt x="174" y="174"/>
                    <a:pt x="170" y="177"/>
                  </a:cubicBezTo>
                  <a:cubicBezTo>
                    <a:pt x="167" y="180"/>
                    <a:pt x="161" y="176"/>
                    <a:pt x="159" y="172"/>
                  </a:cubicBezTo>
                  <a:cubicBezTo>
                    <a:pt x="156" y="168"/>
                    <a:pt x="141" y="173"/>
                    <a:pt x="136" y="176"/>
                  </a:cubicBezTo>
                  <a:cubicBezTo>
                    <a:pt x="132" y="180"/>
                    <a:pt x="139" y="184"/>
                    <a:pt x="135" y="185"/>
                  </a:cubicBezTo>
                  <a:cubicBezTo>
                    <a:pt x="131" y="186"/>
                    <a:pt x="123" y="191"/>
                    <a:pt x="118" y="191"/>
                  </a:cubicBezTo>
                  <a:cubicBezTo>
                    <a:pt x="113" y="190"/>
                    <a:pt x="107" y="197"/>
                    <a:pt x="103" y="202"/>
                  </a:cubicBezTo>
                  <a:cubicBezTo>
                    <a:pt x="99" y="207"/>
                    <a:pt x="97" y="203"/>
                    <a:pt x="92" y="203"/>
                  </a:cubicBezTo>
                  <a:cubicBezTo>
                    <a:pt x="86" y="203"/>
                    <a:pt x="91" y="209"/>
                    <a:pt x="91" y="213"/>
                  </a:cubicBezTo>
                  <a:cubicBezTo>
                    <a:pt x="92" y="217"/>
                    <a:pt x="85" y="218"/>
                    <a:pt x="83" y="216"/>
                  </a:cubicBezTo>
                  <a:cubicBezTo>
                    <a:pt x="81" y="214"/>
                    <a:pt x="77" y="219"/>
                    <a:pt x="80" y="222"/>
                  </a:cubicBezTo>
                  <a:cubicBezTo>
                    <a:pt x="84" y="225"/>
                    <a:pt x="85" y="228"/>
                    <a:pt x="81" y="228"/>
                  </a:cubicBezTo>
                  <a:cubicBezTo>
                    <a:pt x="77" y="228"/>
                    <a:pt x="83" y="235"/>
                    <a:pt x="85" y="236"/>
                  </a:cubicBezTo>
                  <a:cubicBezTo>
                    <a:pt x="87" y="236"/>
                    <a:pt x="96" y="244"/>
                    <a:pt x="84" y="245"/>
                  </a:cubicBezTo>
                  <a:cubicBezTo>
                    <a:pt x="71" y="247"/>
                    <a:pt x="68" y="249"/>
                    <a:pt x="63" y="250"/>
                  </a:cubicBezTo>
                  <a:cubicBezTo>
                    <a:pt x="58" y="250"/>
                    <a:pt x="47" y="249"/>
                    <a:pt x="37" y="249"/>
                  </a:cubicBezTo>
                  <a:cubicBezTo>
                    <a:pt x="27" y="248"/>
                    <a:pt x="25" y="257"/>
                    <a:pt x="29" y="265"/>
                  </a:cubicBezTo>
                  <a:cubicBezTo>
                    <a:pt x="34" y="272"/>
                    <a:pt x="27" y="275"/>
                    <a:pt x="29" y="282"/>
                  </a:cubicBezTo>
                  <a:cubicBezTo>
                    <a:pt x="31" y="288"/>
                    <a:pt x="39" y="292"/>
                    <a:pt x="43" y="297"/>
                  </a:cubicBezTo>
                  <a:cubicBezTo>
                    <a:pt x="47" y="301"/>
                    <a:pt x="56" y="311"/>
                    <a:pt x="52" y="316"/>
                  </a:cubicBezTo>
                  <a:cubicBezTo>
                    <a:pt x="49" y="321"/>
                    <a:pt x="47" y="325"/>
                    <a:pt x="48" y="330"/>
                  </a:cubicBezTo>
                  <a:cubicBezTo>
                    <a:pt x="48" y="335"/>
                    <a:pt x="51" y="347"/>
                    <a:pt x="48" y="348"/>
                  </a:cubicBezTo>
                  <a:cubicBezTo>
                    <a:pt x="46" y="350"/>
                    <a:pt x="44" y="361"/>
                    <a:pt x="42" y="357"/>
                  </a:cubicBezTo>
                  <a:cubicBezTo>
                    <a:pt x="40" y="353"/>
                    <a:pt x="43" y="348"/>
                    <a:pt x="44" y="339"/>
                  </a:cubicBezTo>
                  <a:cubicBezTo>
                    <a:pt x="46" y="330"/>
                    <a:pt x="42" y="335"/>
                    <a:pt x="40" y="332"/>
                  </a:cubicBezTo>
                  <a:cubicBezTo>
                    <a:pt x="39" y="330"/>
                    <a:pt x="40" y="327"/>
                    <a:pt x="45" y="320"/>
                  </a:cubicBezTo>
                  <a:cubicBezTo>
                    <a:pt x="49" y="313"/>
                    <a:pt x="49" y="312"/>
                    <a:pt x="47" y="309"/>
                  </a:cubicBezTo>
                  <a:cubicBezTo>
                    <a:pt x="44" y="305"/>
                    <a:pt x="35" y="309"/>
                    <a:pt x="32" y="306"/>
                  </a:cubicBezTo>
                  <a:cubicBezTo>
                    <a:pt x="28" y="303"/>
                    <a:pt x="24" y="296"/>
                    <a:pt x="21" y="289"/>
                  </a:cubicBezTo>
                  <a:cubicBezTo>
                    <a:pt x="19" y="285"/>
                    <a:pt x="12" y="284"/>
                    <a:pt x="6" y="285"/>
                  </a:cubicBezTo>
                  <a:cubicBezTo>
                    <a:pt x="5" y="293"/>
                    <a:pt x="5" y="293"/>
                    <a:pt x="5" y="293"/>
                  </a:cubicBezTo>
                  <a:cubicBezTo>
                    <a:pt x="15" y="298"/>
                    <a:pt x="15" y="298"/>
                    <a:pt x="15" y="298"/>
                  </a:cubicBezTo>
                  <a:cubicBezTo>
                    <a:pt x="22" y="304"/>
                    <a:pt x="22" y="304"/>
                    <a:pt x="22" y="304"/>
                  </a:cubicBezTo>
                  <a:cubicBezTo>
                    <a:pt x="19" y="312"/>
                    <a:pt x="19" y="312"/>
                    <a:pt x="19" y="312"/>
                  </a:cubicBezTo>
                  <a:cubicBezTo>
                    <a:pt x="15" y="311"/>
                    <a:pt x="15" y="311"/>
                    <a:pt x="15" y="311"/>
                  </a:cubicBezTo>
                  <a:cubicBezTo>
                    <a:pt x="9" y="319"/>
                    <a:pt x="9" y="319"/>
                    <a:pt x="9" y="319"/>
                  </a:cubicBezTo>
                  <a:cubicBezTo>
                    <a:pt x="13" y="324"/>
                    <a:pt x="13" y="324"/>
                    <a:pt x="13" y="324"/>
                  </a:cubicBezTo>
                  <a:cubicBezTo>
                    <a:pt x="21" y="329"/>
                    <a:pt x="21" y="329"/>
                    <a:pt x="21" y="329"/>
                  </a:cubicBezTo>
                  <a:cubicBezTo>
                    <a:pt x="21" y="348"/>
                    <a:pt x="21" y="348"/>
                    <a:pt x="21" y="348"/>
                  </a:cubicBezTo>
                  <a:cubicBezTo>
                    <a:pt x="14" y="349"/>
                    <a:pt x="14" y="349"/>
                    <a:pt x="14" y="349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369"/>
                    <a:pt x="0" y="369"/>
                    <a:pt x="0" y="369"/>
                  </a:cubicBezTo>
                  <a:cubicBezTo>
                    <a:pt x="8" y="380"/>
                    <a:pt x="8" y="380"/>
                    <a:pt x="8" y="380"/>
                  </a:cubicBezTo>
                  <a:cubicBezTo>
                    <a:pt x="14" y="380"/>
                    <a:pt x="14" y="380"/>
                    <a:pt x="14" y="380"/>
                  </a:cubicBezTo>
                  <a:cubicBezTo>
                    <a:pt x="15" y="382"/>
                    <a:pt x="15" y="382"/>
                    <a:pt x="15" y="382"/>
                  </a:cubicBezTo>
                  <a:cubicBezTo>
                    <a:pt x="18" y="387"/>
                    <a:pt x="18" y="387"/>
                    <a:pt x="18" y="387"/>
                  </a:cubicBezTo>
                  <a:cubicBezTo>
                    <a:pt x="21" y="383"/>
                    <a:pt x="21" y="383"/>
                    <a:pt x="21" y="383"/>
                  </a:cubicBezTo>
                  <a:cubicBezTo>
                    <a:pt x="26" y="384"/>
                    <a:pt x="26" y="384"/>
                    <a:pt x="26" y="384"/>
                  </a:cubicBezTo>
                  <a:cubicBezTo>
                    <a:pt x="31" y="381"/>
                    <a:pt x="31" y="381"/>
                    <a:pt x="31" y="381"/>
                  </a:cubicBezTo>
                  <a:cubicBezTo>
                    <a:pt x="31" y="381"/>
                    <a:pt x="31" y="386"/>
                    <a:pt x="31" y="387"/>
                  </a:cubicBezTo>
                  <a:cubicBezTo>
                    <a:pt x="31" y="388"/>
                    <a:pt x="33" y="388"/>
                    <a:pt x="33" y="388"/>
                  </a:cubicBezTo>
                  <a:cubicBezTo>
                    <a:pt x="34" y="393"/>
                    <a:pt x="34" y="393"/>
                    <a:pt x="34" y="393"/>
                  </a:cubicBezTo>
                  <a:cubicBezTo>
                    <a:pt x="37" y="403"/>
                    <a:pt x="37" y="403"/>
                    <a:pt x="37" y="403"/>
                  </a:cubicBezTo>
                  <a:cubicBezTo>
                    <a:pt x="33" y="407"/>
                    <a:pt x="33" y="407"/>
                    <a:pt x="33" y="407"/>
                  </a:cubicBezTo>
                  <a:cubicBezTo>
                    <a:pt x="35" y="416"/>
                    <a:pt x="35" y="416"/>
                    <a:pt x="35" y="416"/>
                  </a:cubicBezTo>
                  <a:cubicBezTo>
                    <a:pt x="29" y="426"/>
                    <a:pt x="29" y="426"/>
                    <a:pt x="29" y="426"/>
                  </a:cubicBezTo>
                  <a:cubicBezTo>
                    <a:pt x="24" y="426"/>
                    <a:pt x="24" y="426"/>
                    <a:pt x="24" y="426"/>
                  </a:cubicBezTo>
                  <a:cubicBezTo>
                    <a:pt x="24" y="434"/>
                    <a:pt x="24" y="434"/>
                    <a:pt x="24" y="434"/>
                  </a:cubicBezTo>
                  <a:cubicBezTo>
                    <a:pt x="30" y="439"/>
                    <a:pt x="30" y="439"/>
                    <a:pt x="30" y="439"/>
                  </a:cubicBezTo>
                  <a:cubicBezTo>
                    <a:pt x="24" y="446"/>
                    <a:pt x="24" y="446"/>
                    <a:pt x="24" y="446"/>
                  </a:cubicBezTo>
                  <a:cubicBezTo>
                    <a:pt x="27" y="449"/>
                    <a:pt x="27" y="449"/>
                    <a:pt x="27" y="449"/>
                  </a:cubicBezTo>
                  <a:cubicBezTo>
                    <a:pt x="28" y="455"/>
                    <a:pt x="28" y="455"/>
                    <a:pt x="28" y="455"/>
                  </a:cubicBezTo>
                  <a:cubicBezTo>
                    <a:pt x="34" y="458"/>
                    <a:pt x="34" y="458"/>
                    <a:pt x="34" y="458"/>
                  </a:cubicBezTo>
                  <a:cubicBezTo>
                    <a:pt x="38" y="463"/>
                    <a:pt x="38" y="463"/>
                    <a:pt x="38" y="463"/>
                  </a:cubicBezTo>
                  <a:cubicBezTo>
                    <a:pt x="33" y="470"/>
                    <a:pt x="33" y="470"/>
                    <a:pt x="33" y="470"/>
                  </a:cubicBezTo>
                  <a:cubicBezTo>
                    <a:pt x="36" y="474"/>
                    <a:pt x="36" y="474"/>
                    <a:pt x="36" y="474"/>
                  </a:cubicBezTo>
                  <a:cubicBezTo>
                    <a:pt x="37" y="482"/>
                    <a:pt x="37" y="482"/>
                    <a:pt x="37" y="482"/>
                  </a:cubicBezTo>
                  <a:cubicBezTo>
                    <a:pt x="32" y="484"/>
                    <a:pt x="32" y="484"/>
                    <a:pt x="32" y="484"/>
                  </a:cubicBezTo>
                  <a:cubicBezTo>
                    <a:pt x="35" y="492"/>
                    <a:pt x="35" y="492"/>
                    <a:pt x="35" y="492"/>
                  </a:cubicBezTo>
                  <a:cubicBezTo>
                    <a:pt x="41" y="491"/>
                    <a:pt x="41" y="491"/>
                    <a:pt x="41" y="491"/>
                  </a:cubicBezTo>
                  <a:cubicBezTo>
                    <a:pt x="47" y="497"/>
                    <a:pt x="47" y="497"/>
                    <a:pt x="47" y="497"/>
                  </a:cubicBezTo>
                  <a:cubicBezTo>
                    <a:pt x="50" y="508"/>
                    <a:pt x="50" y="508"/>
                    <a:pt x="50" y="508"/>
                  </a:cubicBezTo>
                  <a:cubicBezTo>
                    <a:pt x="44" y="514"/>
                    <a:pt x="44" y="514"/>
                    <a:pt x="44" y="514"/>
                  </a:cubicBezTo>
                  <a:cubicBezTo>
                    <a:pt x="47" y="520"/>
                    <a:pt x="47" y="520"/>
                    <a:pt x="47" y="520"/>
                  </a:cubicBezTo>
                  <a:cubicBezTo>
                    <a:pt x="53" y="520"/>
                    <a:pt x="53" y="520"/>
                    <a:pt x="53" y="520"/>
                  </a:cubicBezTo>
                  <a:cubicBezTo>
                    <a:pt x="59" y="525"/>
                    <a:pt x="59" y="525"/>
                    <a:pt x="59" y="525"/>
                  </a:cubicBezTo>
                  <a:cubicBezTo>
                    <a:pt x="63" y="521"/>
                    <a:pt x="63" y="521"/>
                    <a:pt x="63" y="521"/>
                  </a:cubicBezTo>
                  <a:cubicBezTo>
                    <a:pt x="63" y="536"/>
                    <a:pt x="63" y="536"/>
                    <a:pt x="63" y="536"/>
                  </a:cubicBezTo>
                  <a:cubicBezTo>
                    <a:pt x="66" y="542"/>
                    <a:pt x="66" y="542"/>
                    <a:pt x="66" y="542"/>
                  </a:cubicBezTo>
                  <a:cubicBezTo>
                    <a:pt x="57" y="550"/>
                    <a:pt x="57" y="550"/>
                    <a:pt x="57" y="550"/>
                  </a:cubicBezTo>
                  <a:cubicBezTo>
                    <a:pt x="51" y="559"/>
                    <a:pt x="51" y="559"/>
                    <a:pt x="51" y="559"/>
                  </a:cubicBezTo>
                  <a:cubicBezTo>
                    <a:pt x="57" y="566"/>
                    <a:pt x="57" y="566"/>
                    <a:pt x="57" y="566"/>
                  </a:cubicBezTo>
                  <a:cubicBezTo>
                    <a:pt x="58" y="575"/>
                    <a:pt x="58" y="575"/>
                    <a:pt x="58" y="575"/>
                  </a:cubicBezTo>
                  <a:cubicBezTo>
                    <a:pt x="52" y="579"/>
                    <a:pt x="52" y="579"/>
                    <a:pt x="52" y="579"/>
                  </a:cubicBezTo>
                  <a:cubicBezTo>
                    <a:pt x="51" y="587"/>
                    <a:pt x="51" y="587"/>
                    <a:pt x="51" y="587"/>
                  </a:cubicBezTo>
                  <a:cubicBezTo>
                    <a:pt x="41" y="597"/>
                    <a:pt x="41" y="597"/>
                    <a:pt x="41" y="597"/>
                  </a:cubicBezTo>
                  <a:cubicBezTo>
                    <a:pt x="41" y="608"/>
                    <a:pt x="41" y="608"/>
                    <a:pt x="41" y="608"/>
                  </a:cubicBezTo>
                  <a:cubicBezTo>
                    <a:pt x="58" y="619"/>
                    <a:pt x="58" y="619"/>
                    <a:pt x="58" y="619"/>
                  </a:cubicBezTo>
                  <a:cubicBezTo>
                    <a:pt x="51" y="629"/>
                    <a:pt x="51" y="629"/>
                    <a:pt x="51" y="629"/>
                  </a:cubicBezTo>
                  <a:cubicBezTo>
                    <a:pt x="44" y="631"/>
                    <a:pt x="44" y="631"/>
                    <a:pt x="44" y="631"/>
                  </a:cubicBezTo>
                  <a:cubicBezTo>
                    <a:pt x="34" y="639"/>
                    <a:pt x="34" y="639"/>
                    <a:pt x="34" y="639"/>
                  </a:cubicBezTo>
                  <a:cubicBezTo>
                    <a:pt x="41" y="654"/>
                    <a:pt x="41" y="654"/>
                    <a:pt x="41" y="654"/>
                  </a:cubicBezTo>
                  <a:cubicBezTo>
                    <a:pt x="35" y="660"/>
                    <a:pt x="35" y="660"/>
                    <a:pt x="35" y="660"/>
                  </a:cubicBezTo>
                  <a:cubicBezTo>
                    <a:pt x="38" y="667"/>
                    <a:pt x="38" y="667"/>
                    <a:pt x="38" y="667"/>
                  </a:cubicBezTo>
                  <a:cubicBezTo>
                    <a:pt x="45" y="669"/>
                    <a:pt x="45" y="669"/>
                    <a:pt x="45" y="669"/>
                  </a:cubicBezTo>
                  <a:cubicBezTo>
                    <a:pt x="50" y="667"/>
                    <a:pt x="50" y="667"/>
                    <a:pt x="50" y="667"/>
                  </a:cubicBezTo>
                  <a:cubicBezTo>
                    <a:pt x="71" y="666"/>
                    <a:pt x="71" y="666"/>
                    <a:pt x="71" y="666"/>
                  </a:cubicBezTo>
                  <a:cubicBezTo>
                    <a:pt x="83" y="681"/>
                    <a:pt x="83" y="681"/>
                    <a:pt x="83" y="681"/>
                  </a:cubicBezTo>
                  <a:cubicBezTo>
                    <a:pt x="84" y="689"/>
                    <a:pt x="84" y="689"/>
                    <a:pt x="84" y="689"/>
                  </a:cubicBezTo>
                  <a:cubicBezTo>
                    <a:pt x="94" y="689"/>
                    <a:pt x="94" y="689"/>
                    <a:pt x="94" y="689"/>
                  </a:cubicBezTo>
                  <a:cubicBezTo>
                    <a:pt x="98" y="693"/>
                    <a:pt x="98" y="693"/>
                    <a:pt x="98" y="693"/>
                  </a:cubicBezTo>
                  <a:cubicBezTo>
                    <a:pt x="85" y="710"/>
                    <a:pt x="85" y="710"/>
                    <a:pt x="85" y="710"/>
                  </a:cubicBezTo>
                  <a:cubicBezTo>
                    <a:pt x="88" y="721"/>
                    <a:pt x="88" y="721"/>
                    <a:pt x="88" y="721"/>
                  </a:cubicBezTo>
                  <a:cubicBezTo>
                    <a:pt x="90" y="726"/>
                    <a:pt x="90" y="726"/>
                    <a:pt x="90" y="726"/>
                  </a:cubicBezTo>
                  <a:cubicBezTo>
                    <a:pt x="99" y="726"/>
                    <a:pt x="99" y="726"/>
                    <a:pt x="99" y="726"/>
                  </a:cubicBezTo>
                  <a:cubicBezTo>
                    <a:pt x="105" y="730"/>
                    <a:pt x="105" y="730"/>
                    <a:pt x="105" y="730"/>
                  </a:cubicBezTo>
                  <a:cubicBezTo>
                    <a:pt x="107" y="737"/>
                    <a:pt x="107" y="737"/>
                    <a:pt x="107" y="737"/>
                  </a:cubicBezTo>
                  <a:cubicBezTo>
                    <a:pt x="100" y="739"/>
                    <a:pt x="100" y="739"/>
                    <a:pt x="100" y="739"/>
                  </a:cubicBezTo>
                  <a:cubicBezTo>
                    <a:pt x="95" y="747"/>
                    <a:pt x="95" y="747"/>
                    <a:pt x="95" y="747"/>
                  </a:cubicBezTo>
                  <a:cubicBezTo>
                    <a:pt x="93" y="758"/>
                    <a:pt x="93" y="758"/>
                    <a:pt x="93" y="758"/>
                  </a:cubicBezTo>
                  <a:close/>
                  <a:moveTo>
                    <a:pt x="188" y="63"/>
                  </a:moveTo>
                  <a:cubicBezTo>
                    <a:pt x="184" y="67"/>
                    <a:pt x="185" y="71"/>
                    <a:pt x="185" y="74"/>
                  </a:cubicBezTo>
                  <a:cubicBezTo>
                    <a:pt x="185" y="76"/>
                    <a:pt x="184" y="86"/>
                    <a:pt x="182" y="91"/>
                  </a:cubicBezTo>
                  <a:cubicBezTo>
                    <a:pt x="180" y="97"/>
                    <a:pt x="179" y="105"/>
                    <a:pt x="179" y="109"/>
                  </a:cubicBezTo>
                  <a:cubicBezTo>
                    <a:pt x="179" y="112"/>
                    <a:pt x="186" y="111"/>
                    <a:pt x="190" y="106"/>
                  </a:cubicBezTo>
                  <a:cubicBezTo>
                    <a:pt x="194" y="101"/>
                    <a:pt x="198" y="100"/>
                    <a:pt x="203" y="100"/>
                  </a:cubicBezTo>
                  <a:cubicBezTo>
                    <a:pt x="207" y="100"/>
                    <a:pt x="216" y="90"/>
                    <a:pt x="216" y="87"/>
                  </a:cubicBezTo>
                  <a:cubicBezTo>
                    <a:pt x="217" y="83"/>
                    <a:pt x="209" y="73"/>
                    <a:pt x="206" y="70"/>
                  </a:cubicBezTo>
                  <a:cubicBezTo>
                    <a:pt x="203" y="66"/>
                    <a:pt x="199" y="68"/>
                    <a:pt x="198" y="68"/>
                  </a:cubicBezTo>
                  <a:cubicBezTo>
                    <a:pt x="198" y="69"/>
                    <a:pt x="196" y="69"/>
                    <a:pt x="196" y="66"/>
                  </a:cubicBezTo>
                  <a:cubicBezTo>
                    <a:pt x="195" y="63"/>
                    <a:pt x="193" y="62"/>
                    <a:pt x="191" y="62"/>
                  </a:cubicBezTo>
                  <a:cubicBezTo>
                    <a:pt x="189" y="61"/>
                    <a:pt x="188" y="63"/>
                    <a:pt x="188" y="63"/>
                  </a:cubicBezTo>
                  <a:close/>
                  <a:moveTo>
                    <a:pt x="138" y="50"/>
                  </a:moveTo>
                  <a:cubicBezTo>
                    <a:pt x="136" y="51"/>
                    <a:pt x="135" y="58"/>
                    <a:pt x="132" y="57"/>
                  </a:cubicBezTo>
                  <a:cubicBezTo>
                    <a:pt x="130" y="56"/>
                    <a:pt x="122" y="53"/>
                    <a:pt x="120" y="51"/>
                  </a:cubicBezTo>
                  <a:cubicBezTo>
                    <a:pt x="118" y="49"/>
                    <a:pt x="120" y="44"/>
                    <a:pt x="124" y="45"/>
                  </a:cubicBezTo>
                  <a:cubicBezTo>
                    <a:pt x="128" y="45"/>
                    <a:pt x="133" y="45"/>
                    <a:pt x="128" y="39"/>
                  </a:cubicBezTo>
                  <a:cubicBezTo>
                    <a:pt x="124" y="34"/>
                    <a:pt x="123" y="35"/>
                    <a:pt x="128" y="29"/>
                  </a:cubicBezTo>
                  <a:cubicBezTo>
                    <a:pt x="132" y="24"/>
                    <a:pt x="131" y="20"/>
                    <a:pt x="130" y="16"/>
                  </a:cubicBezTo>
                  <a:cubicBezTo>
                    <a:pt x="130" y="12"/>
                    <a:pt x="141" y="12"/>
                    <a:pt x="141" y="9"/>
                  </a:cubicBezTo>
                  <a:cubicBezTo>
                    <a:pt x="142" y="5"/>
                    <a:pt x="143" y="0"/>
                    <a:pt x="148" y="7"/>
                  </a:cubicBezTo>
                  <a:cubicBezTo>
                    <a:pt x="152" y="13"/>
                    <a:pt x="154" y="16"/>
                    <a:pt x="157" y="17"/>
                  </a:cubicBezTo>
                  <a:cubicBezTo>
                    <a:pt x="160" y="18"/>
                    <a:pt x="156" y="21"/>
                    <a:pt x="155" y="24"/>
                  </a:cubicBezTo>
                  <a:cubicBezTo>
                    <a:pt x="154" y="27"/>
                    <a:pt x="157" y="33"/>
                    <a:pt x="156" y="34"/>
                  </a:cubicBezTo>
                  <a:cubicBezTo>
                    <a:pt x="156" y="36"/>
                    <a:pt x="146" y="39"/>
                    <a:pt x="145" y="40"/>
                  </a:cubicBezTo>
                  <a:cubicBezTo>
                    <a:pt x="145" y="41"/>
                    <a:pt x="153" y="41"/>
                    <a:pt x="156" y="39"/>
                  </a:cubicBezTo>
                  <a:cubicBezTo>
                    <a:pt x="160" y="37"/>
                    <a:pt x="160" y="38"/>
                    <a:pt x="160" y="42"/>
                  </a:cubicBezTo>
                  <a:cubicBezTo>
                    <a:pt x="160" y="45"/>
                    <a:pt x="166" y="48"/>
                    <a:pt x="167" y="45"/>
                  </a:cubicBezTo>
                  <a:cubicBezTo>
                    <a:pt x="167" y="42"/>
                    <a:pt x="173" y="44"/>
                    <a:pt x="175" y="50"/>
                  </a:cubicBezTo>
                  <a:cubicBezTo>
                    <a:pt x="177" y="57"/>
                    <a:pt x="175" y="63"/>
                    <a:pt x="175" y="66"/>
                  </a:cubicBezTo>
                  <a:cubicBezTo>
                    <a:pt x="175" y="69"/>
                    <a:pt x="178" y="72"/>
                    <a:pt x="178" y="76"/>
                  </a:cubicBezTo>
                  <a:cubicBezTo>
                    <a:pt x="178" y="80"/>
                    <a:pt x="170" y="84"/>
                    <a:pt x="166" y="85"/>
                  </a:cubicBezTo>
                  <a:cubicBezTo>
                    <a:pt x="163" y="85"/>
                    <a:pt x="153" y="75"/>
                    <a:pt x="148" y="76"/>
                  </a:cubicBezTo>
                  <a:cubicBezTo>
                    <a:pt x="143" y="77"/>
                    <a:pt x="142" y="71"/>
                    <a:pt x="140" y="68"/>
                  </a:cubicBezTo>
                  <a:cubicBezTo>
                    <a:pt x="138" y="64"/>
                    <a:pt x="136" y="66"/>
                    <a:pt x="136" y="61"/>
                  </a:cubicBezTo>
                  <a:cubicBezTo>
                    <a:pt x="137" y="57"/>
                    <a:pt x="141" y="54"/>
                    <a:pt x="141" y="52"/>
                  </a:cubicBezTo>
                  <a:cubicBezTo>
                    <a:pt x="140" y="50"/>
                    <a:pt x="138" y="50"/>
                    <a:pt x="138" y="5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4" name="Freeform 64"/>
            <p:cNvSpPr>
              <a:spLocks/>
            </p:cNvSpPr>
            <p:nvPr/>
          </p:nvSpPr>
          <p:spPr bwMode="auto">
            <a:xfrm>
              <a:off x="3571" y="3584"/>
              <a:ext cx="428" cy="630"/>
            </a:xfrm>
            <a:custGeom>
              <a:avLst/>
              <a:gdLst>
                <a:gd name="T0" fmla="*/ 97 w 205"/>
                <a:gd name="T1" fmla="*/ 4 h 302"/>
                <a:gd name="T2" fmla="*/ 87 w 205"/>
                <a:gd name="T3" fmla="*/ 0 h 302"/>
                <a:gd name="T4" fmla="*/ 81 w 205"/>
                <a:gd name="T5" fmla="*/ 13 h 302"/>
                <a:gd name="T6" fmla="*/ 82 w 205"/>
                <a:gd name="T7" fmla="*/ 19 h 302"/>
                <a:gd name="T8" fmla="*/ 89 w 205"/>
                <a:gd name="T9" fmla="*/ 36 h 302"/>
                <a:gd name="T10" fmla="*/ 98 w 205"/>
                <a:gd name="T11" fmla="*/ 39 h 302"/>
                <a:gd name="T12" fmla="*/ 87 w 205"/>
                <a:gd name="T13" fmla="*/ 55 h 302"/>
                <a:gd name="T14" fmla="*/ 73 w 205"/>
                <a:gd name="T15" fmla="*/ 55 h 302"/>
                <a:gd name="T16" fmla="*/ 67 w 205"/>
                <a:gd name="T17" fmla="*/ 63 h 302"/>
                <a:gd name="T18" fmla="*/ 77 w 205"/>
                <a:gd name="T19" fmla="*/ 77 h 302"/>
                <a:gd name="T20" fmla="*/ 86 w 205"/>
                <a:gd name="T21" fmla="*/ 94 h 302"/>
                <a:gd name="T22" fmla="*/ 97 w 205"/>
                <a:gd name="T23" fmla="*/ 93 h 302"/>
                <a:gd name="T24" fmla="*/ 109 w 205"/>
                <a:gd name="T25" fmla="*/ 114 h 302"/>
                <a:gd name="T26" fmla="*/ 98 w 205"/>
                <a:gd name="T27" fmla="*/ 121 h 302"/>
                <a:gd name="T28" fmla="*/ 76 w 205"/>
                <a:gd name="T29" fmla="*/ 150 h 302"/>
                <a:gd name="T30" fmla="*/ 80 w 205"/>
                <a:gd name="T31" fmla="*/ 167 h 302"/>
                <a:gd name="T32" fmla="*/ 84 w 205"/>
                <a:gd name="T33" fmla="*/ 183 h 302"/>
                <a:gd name="T34" fmla="*/ 54 w 205"/>
                <a:gd name="T35" fmla="*/ 204 h 302"/>
                <a:gd name="T36" fmla="*/ 43 w 205"/>
                <a:gd name="T37" fmla="*/ 222 h 302"/>
                <a:gd name="T38" fmla="*/ 28 w 205"/>
                <a:gd name="T39" fmla="*/ 233 h 302"/>
                <a:gd name="T40" fmla="*/ 3 w 205"/>
                <a:gd name="T41" fmla="*/ 244 h 302"/>
                <a:gd name="T42" fmla="*/ 2 w 205"/>
                <a:gd name="T43" fmla="*/ 258 h 302"/>
                <a:gd name="T44" fmla="*/ 10 w 205"/>
                <a:gd name="T45" fmla="*/ 273 h 302"/>
                <a:gd name="T46" fmla="*/ 0 w 205"/>
                <a:gd name="T47" fmla="*/ 288 h 302"/>
                <a:gd name="T48" fmla="*/ 10 w 205"/>
                <a:gd name="T49" fmla="*/ 299 h 302"/>
                <a:gd name="T50" fmla="*/ 34 w 205"/>
                <a:gd name="T51" fmla="*/ 299 h 302"/>
                <a:gd name="T52" fmla="*/ 55 w 205"/>
                <a:gd name="T53" fmla="*/ 295 h 302"/>
                <a:gd name="T54" fmla="*/ 89 w 205"/>
                <a:gd name="T55" fmla="*/ 274 h 302"/>
                <a:gd name="T56" fmla="*/ 104 w 205"/>
                <a:gd name="T57" fmla="*/ 253 h 302"/>
                <a:gd name="T58" fmla="*/ 131 w 205"/>
                <a:gd name="T59" fmla="*/ 244 h 302"/>
                <a:gd name="T60" fmla="*/ 155 w 205"/>
                <a:gd name="T61" fmla="*/ 237 h 302"/>
                <a:gd name="T62" fmla="*/ 178 w 205"/>
                <a:gd name="T63" fmla="*/ 239 h 302"/>
                <a:gd name="T64" fmla="*/ 198 w 205"/>
                <a:gd name="T65" fmla="*/ 218 h 302"/>
                <a:gd name="T66" fmla="*/ 196 w 205"/>
                <a:gd name="T67" fmla="*/ 199 h 302"/>
                <a:gd name="T68" fmla="*/ 197 w 205"/>
                <a:gd name="T69" fmla="*/ 176 h 302"/>
                <a:gd name="T70" fmla="*/ 199 w 205"/>
                <a:gd name="T71" fmla="*/ 145 h 302"/>
                <a:gd name="T72" fmla="*/ 187 w 205"/>
                <a:gd name="T73" fmla="*/ 141 h 302"/>
                <a:gd name="T74" fmla="*/ 186 w 205"/>
                <a:gd name="T75" fmla="*/ 120 h 302"/>
                <a:gd name="T76" fmla="*/ 205 w 205"/>
                <a:gd name="T77" fmla="*/ 104 h 302"/>
                <a:gd name="T78" fmla="*/ 193 w 205"/>
                <a:gd name="T79" fmla="*/ 93 h 302"/>
                <a:gd name="T80" fmla="*/ 193 w 205"/>
                <a:gd name="T81" fmla="*/ 81 h 302"/>
                <a:gd name="T82" fmla="*/ 183 w 205"/>
                <a:gd name="T83" fmla="*/ 73 h 302"/>
                <a:gd name="T84" fmla="*/ 178 w 205"/>
                <a:gd name="T85" fmla="*/ 54 h 302"/>
                <a:gd name="T86" fmla="*/ 170 w 205"/>
                <a:gd name="T87" fmla="*/ 55 h 302"/>
                <a:gd name="T88" fmla="*/ 164 w 205"/>
                <a:gd name="T89" fmla="*/ 48 h 302"/>
                <a:gd name="T90" fmla="*/ 152 w 205"/>
                <a:gd name="T91" fmla="*/ 51 h 302"/>
                <a:gd name="T92" fmla="*/ 143 w 205"/>
                <a:gd name="T93" fmla="*/ 49 h 302"/>
                <a:gd name="T94" fmla="*/ 145 w 205"/>
                <a:gd name="T95" fmla="*/ 39 h 302"/>
                <a:gd name="T96" fmla="*/ 134 w 205"/>
                <a:gd name="T97" fmla="*/ 38 h 302"/>
                <a:gd name="T98" fmla="*/ 129 w 205"/>
                <a:gd name="T99" fmla="*/ 31 h 302"/>
                <a:gd name="T100" fmla="*/ 125 w 205"/>
                <a:gd name="T101" fmla="*/ 24 h 302"/>
                <a:gd name="T102" fmla="*/ 114 w 205"/>
                <a:gd name="T103" fmla="*/ 14 h 302"/>
                <a:gd name="T104" fmla="*/ 106 w 205"/>
                <a:gd name="T105" fmla="*/ 5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5" h="302">
                  <a:moveTo>
                    <a:pt x="103" y="2"/>
                  </a:moveTo>
                  <a:cubicBezTo>
                    <a:pt x="97" y="4"/>
                    <a:pt x="97" y="4"/>
                    <a:pt x="97" y="4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0" y="5"/>
                    <a:pt x="80" y="5"/>
                    <a:pt x="80" y="5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89" y="36"/>
                    <a:pt x="89" y="36"/>
                    <a:pt x="89" y="36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84" y="84"/>
                    <a:pt x="84" y="84"/>
                    <a:pt x="84" y="84"/>
                  </a:cubicBezTo>
                  <a:cubicBezTo>
                    <a:pt x="86" y="94"/>
                    <a:pt x="86" y="94"/>
                    <a:pt x="86" y="94"/>
                  </a:cubicBezTo>
                  <a:cubicBezTo>
                    <a:pt x="92" y="94"/>
                    <a:pt x="92" y="94"/>
                    <a:pt x="92" y="94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108" y="103"/>
                    <a:pt x="108" y="103"/>
                    <a:pt x="108" y="103"/>
                  </a:cubicBezTo>
                  <a:cubicBezTo>
                    <a:pt x="109" y="114"/>
                    <a:pt x="109" y="114"/>
                    <a:pt x="109" y="114"/>
                  </a:cubicBezTo>
                  <a:cubicBezTo>
                    <a:pt x="107" y="119"/>
                    <a:pt x="107" y="119"/>
                    <a:pt x="107" y="119"/>
                  </a:cubicBezTo>
                  <a:cubicBezTo>
                    <a:pt x="98" y="121"/>
                    <a:pt x="98" y="121"/>
                    <a:pt x="98" y="121"/>
                  </a:cubicBezTo>
                  <a:cubicBezTo>
                    <a:pt x="84" y="143"/>
                    <a:pt x="84" y="143"/>
                    <a:pt x="84" y="143"/>
                  </a:cubicBezTo>
                  <a:cubicBezTo>
                    <a:pt x="76" y="150"/>
                    <a:pt x="76" y="150"/>
                    <a:pt x="76" y="150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84" y="183"/>
                    <a:pt x="84" y="183"/>
                    <a:pt x="84" y="183"/>
                  </a:cubicBezTo>
                  <a:cubicBezTo>
                    <a:pt x="71" y="197"/>
                    <a:pt x="71" y="197"/>
                    <a:pt x="71" y="197"/>
                  </a:cubicBezTo>
                  <a:cubicBezTo>
                    <a:pt x="54" y="204"/>
                    <a:pt x="54" y="204"/>
                    <a:pt x="54" y="204"/>
                  </a:cubicBezTo>
                  <a:cubicBezTo>
                    <a:pt x="52" y="214"/>
                    <a:pt x="52" y="214"/>
                    <a:pt x="52" y="214"/>
                  </a:cubicBezTo>
                  <a:cubicBezTo>
                    <a:pt x="43" y="222"/>
                    <a:pt x="43" y="222"/>
                    <a:pt x="43" y="222"/>
                  </a:cubicBezTo>
                  <a:cubicBezTo>
                    <a:pt x="40" y="234"/>
                    <a:pt x="40" y="234"/>
                    <a:pt x="40" y="234"/>
                  </a:cubicBezTo>
                  <a:cubicBezTo>
                    <a:pt x="28" y="233"/>
                    <a:pt x="28" y="233"/>
                    <a:pt x="28" y="233"/>
                  </a:cubicBezTo>
                  <a:cubicBezTo>
                    <a:pt x="14" y="244"/>
                    <a:pt x="14" y="244"/>
                    <a:pt x="14" y="244"/>
                  </a:cubicBezTo>
                  <a:cubicBezTo>
                    <a:pt x="3" y="244"/>
                    <a:pt x="3" y="244"/>
                    <a:pt x="3" y="244"/>
                  </a:cubicBezTo>
                  <a:cubicBezTo>
                    <a:pt x="3" y="252"/>
                    <a:pt x="3" y="252"/>
                    <a:pt x="3" y="252"/>
                  </a:cubicBezTo>
                  <a:cubicBezTo>
                    <a:pt x="2" y="258"/>
                    <a:pt x="2" y="258"/>
                    <a:pt x="2" y="258"/>
                  </a:cubicBezTo>
                  <a:cubicBezTo>
                    <a:pt x="3" y="273"/>
                    <a:pt x="3" y="273"/>
                    <a:pt x="3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1" y="281"/>
                    <a:pt x="1" y="281"/>
                    <a:pt x="1" y="281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1" y="288"/>
                    <a:pt x="1" y="289"/>
                    <a:pt x="1" y="290"/>
                  </a:cubicBezTo>
                  <a:cubicBezTo>
                    <a:pt x="1" y="295"/>
                    <a:pt x="7" y="296"/>
                    <a:pt x="10" y="299"/>
                  </a:cubicBezTo>
                  <a:cubicBezTo>
                    <a:pt x="13" y="302"/>
                    <a:pt x="20" y="302"/>
                    <a:pt x="24" y="300"/>
                  </a:cubicBezTo>
                  <a:cubicBezTo>
                    <a:pt x="27" y="298"/>
                    <a:pt x="30" y="296"/>
                    <a:pt x="34" y="299"/>
                  </a:cubicBezTo>
                  <a:cubicBezTo>
                    <a:pt x="37" y="301"/>
                    <a:pt x="41" y="299"/>
                    <a:pt x="45" y="298"/>
                  </a:cubicBezTo>
                  <a:cubicBezTo>
                    <a:pt x="49" y="298"/>
                    <a:pt x="52" y="294"/>
                    <a:pt x="55" y="295"/>
                  </a:cubicBezTo>
                  <a:cubicBezTo>
                    <a:pt x="58" y="297"/>
                    <a:pt x="62" y="292"/>
                    <a:pt x="64" y="289"/>
                  </a:cubicBezTo>
                  <a:cubicBezTo>
                    <a:pt x="66" y="286"/>
                    <a:pt x="82" y="274"/>
                    <a:pt x="89" y="274"/>
                  </a:cubicBezTo>
                  <a:cubicBezTo>
                    <a:pt x="95" y="274"/>
                    <a:pt x="96" y="271"/>
                    <a:pt x="97" y="265"/>
                  </a:cubicBezTo>
                  <a:cubicBezTo>
                    <a:pt x="98" y="259"/>
                    <a:pt x="101" y="258"/>
                    <a:pt x="104" y="253"/>
                  </a:cubicBezTo>
                  <a:cubicBezTo>
                    <a:pt x="107" y="248"/>
                    <a:pt x="112" y="242"/>
                    <a:pt x="116" y="242"/>
                  </a:cubicBezTo>
                  <a:cubicBezTo>
                    <a:pt x="120" y="242"/>
                    <a:pt x="127" y="240"/>
                    <a:pt x="131" y="244"/>
                  </a:cubicBezTo>
                  <a:cubicBezTo>
                    <a:pt x="134" y="247"/>
                    <a:pt x="142" y="242"/>
                    <a:pt x="145" y="239"/>
                  </a:cubicBezTo>
                  <a:cubicBezTo>
                    <a:pt x="149" y="236"/>
                    <a:pt x="154" y="235"/>
                    <a:pt x="155" y="237"/>
                  </a:cubicBezTo>
                  <a:cubicBezTo>
                    <a:pt x="157" y="239"/>
                    <a:pt x="160" y="239"/>
                    <a:pt x="164" y="239"/>
                  </a:cubicBezTo>
                  <a:cubicBezTo>
                    <a:pt x="168" y="239"/>
                    <a:pt x="173" y="240"/>
                    <a:pt x="178" y="239"/>
                  </a:cubicBezTo>
                  <a:cubicBezTo>
                    <a:pt x="182" y="239"/>
                    <a:pt x="187" y="235"/>
                    <a:pt x="188" y="231"/>
                  </a:cubicBezTo>
                  <a:cubicBezTo>
                    <a:pt x="189" y="227"/>
                    <a:pt x="193" y="220"/>
                    <a:pt x="198" y="218"/>
                  </a:cubicBezTo>
                  <a:cubicBezTo>
                    <a:pt x="202" y="216"/>
                    <a:pt x="204" y="212"/>
                    <a:pt x="201" y="209"/>
                  </a:cubicBezTo>
                  <a:cubicBezTo>
                    <a:pt x="198" y="205"/>
                    <a:pt x="195" y="202"/>
                    <a:pt x="196" y="199"/>
                  </a:cubicBezTo>
                  <a:cubicBezTo>
                    <a:pt x="197" y="196"/>
                    <a:pt x="197" y="193"/>
                    <a:pt x="197" y="190"/>
                  </a:cubicBezTo>
                  <a:cubicBezTo>
                    <a:pt x="196" y="186"/>
                    <a:pt x="197" y="181"/>
                    <a:pt x="197" y="176"/>
                  </a:cubicBezTo>
                  <a:cubicBezTo>
                    <a:pt x="197" y="170"/>
                    <a:pt x="196" y="166"/>
                    <a:pt x="198" y="163"/>
                  </a:cubicBezTo>
                  <a:cubicBezTo>
                    <a:pt x="200" y="159"/>
                    <a:pt x="202" y="149"/>
                    <a:pt x="199" y="145"/>
                  </a:cubicBezTo>
                  <a:cubicBezTo>
                    <a:pt x="196" y="142"/>
                    <a:pt x="199" y="139"/>
                    <a:pt x="195" y="137"/>
                  </a:cubicBezTo>
                  <a:cubicBezTo>
                    <a:pt x="192" y="135"/>
                    <a:pt x="189" y="139"/>
                    <a:pt x="187" y="141"/>
                  </a:cubicBezTo>
                  <a:cubicBezTo>
                    <a:pt x="184" y="143"/>
                    <a:pt x="180" y="143"/>
                    <a:pt x="182" y="137"/>
                  </a:cubicBezTo>
                  <a:cubicBezTo>
                    <a:pt x="183" y="130"/>
                    <a:pt x="186" y="123"/>
                    <a:pt x="186" y="120"/>
                  </a:cubicBezTo>
                  <a:cubicBezTo>
                    <a:pt x="186" y="117"/>
                    <a:pt x="198" y="111"/>
                    <a:pt x="202" y="107"/>
                  </a:cubicBezTo>
                  <a:cubicBezTo>
                    <a:pt x="203" y="105"/>
                    <a:pt x="204" y="104"/>
                    <a:pt x="205" y="104"/>
                  </a:cubicBezTo>
                  <a:cubicBezTo>
                    <a:pt x="200" y="95"/>
                    <a:pt x="200" y="95"/>
                    <a:pt x="200" y="95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93" y="81"/>
                    <a:pt x="193" y="81"/>
                    <a:pt x="193" y="81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3" y="73"/>
                    <a:pt x="183" y="73"/>
                    <a:pt x="183" y="73"/>
                  </a:cubicBezTo>
                  <a:cubicBezTo>
                    <a:pt x="183" y="62"/>
                    <a:pt x="183" y="62"/>
                    <a:pt x="183" y="62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74" y="51"/>
                    <a:pt x="174" y="51"/>
                    <a:pt x="174" y="51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59" y="45"/>
                    <a:pt x="159" y="45"/>
                    <a:pt x="159" y="45"/>
                  </a:cubicBezTo>
                  <a:cubicBezTo>
                    <a:pt x="152" y="51"/>
                    <a:pt x="152" y="51"/>
                    <a:pt x="152" y="51"/>
                  </a:cubicBezTo>
                  <a:cubicBezTo>
                    <a:pt x="151" y="54"/>
                    <a:pt x="151" y="54"/>
                    <a:pt x="151" y="54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5" y="39"/>
                    <a:pt x="145" y="39"/>
                    <a:pt x="145" y="39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6" y="30"/>
                    <a:pt x="126" y="30"/>
                    <a:pt x="126" y="30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6" y="5"/>
                    <a:pt x="106" y="5"/>
                    <a:pt x="106" y="5"/>
                  </a:cubicBezTo>
                  <a:lnTo>
                    <a:pt x="103" y="2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5" name="Freeform 65"/>
            <p:cNvSpPr>
              <a:spLocks/>
            </p:cNvSpPr>
            <p:nvPr/>
          </p:nvSpPr>
          <p:spPr bwMode="auto">
            <a:xfrm>
              <a:off x="2429" y="3995"/>
              <a:ext cx="340" cy="233"/>
            </a:xfrm>
            <a:custGeom>
              <a:avLst/>
              <a:gdLst>
                <a:gd name="T0" fmla="*/ 132 w 163"/>
                <a:gd name="T1" fmla="*/ 0 h 112"/>
                <a:gd name="T2" fmla="*/ 135 w 163"/>
                <a:gd name="T3" fmla="*/ 8 h 112"/>
                <a:gd name="T4" fmla="*/ 143 w 163"/>
                <a:gd name="T5" fmla="*/ 10 h 112"/>
                <a:gd name="T6" fmla="*/ 146 w 163"/>
                <a:gd name="T7" fmla="*/ 18 h 112"/>
                <a:gd name="T8" fmla="*/ 150 w 163"/>
                <a:gd name="T9" fmla="*/ 27 h 112"/>
                <a:gd name="T10" fmla="*/ 163 w 163"/>
                <a:gd name="T11" fmla="*/ 31 h 112"/>
                <a:gd name="T12" fmla="*/ 161 w 163"/>
                <a:gd name="T13" fmla="*/ 36 h 112"/>
                <a:gd name="T14" fmla="*/ 154 w 163"/>
                <a:gd name="T15" fmla="*/ 37 h 112"/>
                <a:gd name="T16" fmla="*/ 159 w 163"/>
                <a:gd name="T17" fmla="*/ 47 h 112"/>
                <a:gd name="T18" fmla="*/ 161 w 163"/>
                <a:gd name="T19" fmla="*/ 55 h 112"/>
                <a:gd name="T20" fmla="*/ 154 w 163"/>
                <a:gd name="T21" fmla="*/ 60 h 112"/>
                <a:gd name="T22" fmla="*/ 158 w 163"/>
                <a:gd name="T23" fmla="*/ 66 h 112"/>
                <a:gd name="T24" fmla="*/ 152 w 163"/>
                <a:gd name="T25" fmla="*/ 73 h 112"/>
                <a:gd name="T26" fmla="*/ 147 w 163"/>
                <a:gd name="T27" fmla="*/ 75 h 112"/>
                <a:gd name="T28" fmla="*/ 142 w 163"/>
                <a:gd name="T29" fmla="*/ 71 h 112"/>
                <a:gd name="T30" fmla="*/ 138 w 163"/>
                <a:gd name="T31" fmla="*/ 74 h 112"/>
                <a:gd name="T32" fmla="*/ 137 w 163"/>
                <a:gd name="T33" fmla="*/ 81 h 112"/>
                <a:gd name="T34" fmla="*/ 128 w 163"/>
                <a:gd name="T35" fmla="*/ 89 h 112"/>
                <a:gd name="T36" fmla="*/ 121 w 163"/>
                <a:gd name="T37" fmla="*/ 89 h 112"/>
                <a:gd name="T38" fmla="*/ 104 w 163"/>
                <a:gd name="T39" fmla="*/ 96 h 112"/>
                <a:gd name="T40" fmla="*/ 111 w 163"/>
                <a:gd name="T41" fmla="*/ 104 h 112"/>
                <a:gd name="T42" fmla="*/ 113 w 163"/>
                <a:gd name="T43" fmla="*/ 111 h 112"/>
                <a:gd name="T44" fmla="*/ 105 w 163"/>
                <a:gd name="T45" fmla="*/ 112 h 112"/>
                <a:gd name="T46" fmla="*/ 100 w 163"/>
                <a:gd name="T47" fmla="*/ 104 h 112"/>
                <a:gd name="T48" fmla="*/ 84 w 163"/>
                <a:gd name="T49" fmla="*/ 99 h 112"/>
                <a:gd name="T50" fmla="*/ 71 w 163"/>
                <a:gd name="T51" fmla="*/ 104 h 112"/>
                <a:gd name="T52" fmla="*/ 59 w 163"/>
                <a:gd name="T53" fmla="*/ 101 h 112"/>
                <a:gd name="T54" fmla="*/ 50 w 163"/>
                <a:gd name="T55" fmla="*/ 96 h 112"/>
                <a:gd name="T56" fmla="*/ 49 w 163"/>
                <a:gd name="T57" fmla="*/ 87 h 112"/>
                <a:gd name="T58" fmla="*/ 41 w 163"/>
                <a:gd name="T59" fmla="*/ 85 h 112"/>
                <a:gd name="T60" fmla="*/ 38 w 163"/>
                <a:gd name="T61" fmla="*/ 93 h 112"/>
                <a:gd name="T62" fmla="*/ 29 w 163"/>
                <a:gd name="T63" fmla="*/ 96 h 112"/>
                <a:gd name="T64" fmla="*/ 9 w 163"/>
                <a:gd name="T65" fmla="*/ 40 h 112"/>
                <a:gd name="T66" fmla="*/ 0 w 163"/>
                <a:gd name="T67" fmla="*/ 17 h 112"/>
                <a:gd name="T68" fmla="*/ 7 w 163"/>
                <a:gd name="T69" fmla="*/ 10 h 112"/>
                <a:gd name="T70" fmla="*/ 12 w 163"/>
                <a:gd name="T71" fmla="*/ 15 h 112"/>
                <a:gd name="T72" fmla="*/ 17 w 163"/>
                <a:gd name="T73" fmla="*/ 13 h 112"/>
                <a:gd name="T74" fmla="*/ 23 w 163"/>
                <a:gd name="T75" fmla="*/ 11 h 112"/>
                <a:gd name="T76" fmla="*/ 34 w 163"/>
                <a:gd name="T77" fmla="*/ 11 h 112"/>
                <a:gd name="T78" fmla="*/ 42 w 163"/>
                <a:gd name="T79" fmla="*/ 4 h 112"/>
                <a:gd name="T80" fmla="*/ 53 w 163"/>
                <a:gd name="T81" fmla="*/ 0 h 112"/>
                <a:gd name="T82" fmla="*/ 62 w 163"/>
                <a:gd name="T83" fmla="*/ 0 h 112"/>
                <a:gd name="T84" fmla="*/ 70 w 163"/>
                <a:gd name="T85" fmla="*/ 9 h 112"/>
                <a:gd name="T86" fmla="*/ 70 w 163"/>
                <a:gd name="T87" fmla="*/ 16 h 112"/>
                <a:gd name="T88" fmla="*/ 84 w 163"/>
                <a:gd name="T89" fmla="*/ 26 h 112"/>
                <a:gd name="T90" fmla="*/ 88 w 163"/>
                <a:gd name="T91" fmla="*/ 18 h 112"/>
                <a:gd name="T92" fmla="*/ 95 w 163"/>
                <a:gd name="T93" fmla="*/ 8 h 112"/>
                <a:gd name="T94" fmla="*/ 100 w 163"/>
                <a:gd name="T95" fmla="*/ 13 h 112"/>
                <a:gd name="T96" fmla="*/ 104 w 163"/>
                <a:gd name="T97" fmla="*/ 8 h 112"/>
                <a:gd name="T98" fmla="*/ 109 w 163"/>
                <a:gd name="T99" fmla="*/ 11 h 112"/>
                <a:gd name="T100" fmla="*/ 114 w 163"/>
                <a:gd name="T101" fmla="*/ 7 h 112"/>
                <a:gd name="T102" fmla="*/ 123 w 163"/>
                <a:gd name="T103" fmla="*/ 7 h 112"/>
                <a:gd name="T104" fmla="*/ 132 w 163"/>
                <a:gd name="T105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3" h="112">
                  <a:moveTo>
                    <a:pt x="132" y="0"/>
                  </a:moveTo>
                  <a:cubicBezTo>
                    <a:pt x="135" y="8"/>
                    <a:pt x="135" y="8"/>
                    <a:pt x="135" y="8"/>
                  </a:cubicBezTo>
                  <a:cubicBezTo>
                    <a:pt x="143" y="10"/>
                    <a:pt x="143" y="10"/>
                    <a:pt x="143" y="10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6"/>
                    <a:pt x="161" y="36"/>
                    <a:pt x="161" y="36"/>
                  </a:cubicBezTo>
                  <a:cubicBezTo>
                    <a:pt x="154" y="37"/>
                    <a:pt x="154" y="37"/>
                    <a:pt x="154" y="37"/>
                  </a:cubicBezTo>
                  <a:cubicBezTo>
                    <a:pt x="159" y="47"/>
                    <a:pt x="159" y="47"/>
                    <a:pt x="159" y="47"/>
                  </a:cubicBezTo>
                  <a:cubicBezTo>
                    <a:pt x="161" y="55"/>
                    <a:pt x="161" y="55"/>
                    <a:pt x="161" y="55"/>
                  </a:cubicBezTo>
                  <a:cubicBezTo>
                    <a:pt x="154" y="60"/>
                    <a:pt x="154" y="60"/>
                    <a:pt x="154" y="60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2" y="73"/>
                    <a:pt x="152" y="73"/>
                    <a:pt x="152" y="73"/>
                  </a:cubicBezTo>
                  <a:cubicBezTo>
                    <a:pt x="147" y="75"/>
                    <a:pt x="147" y="75"/>
                    <a:pt x="147" y="75"/>
                  </a:cubicBezTo>
                  <a:cubicBezTo>
                    <a:pt x="142" y="71"/>
                    <a:pt x="142" y="71"/>
                    <a:pt x="142" y="71"/>
                  </a:cubicBezTo>
                  <a:cubicBezTo>
                    <a:pt x="138" y="74"/>
                    <a:pt x="138" y="74"/>
                    <a:pt x="138" y="74"/>
                  </a:cubicBezTo>
                  <a:cubicBezTo>
                    <a:pt x="137" y="81"/>
                    <a:pt x="137" y="81"/>
                    <a:pt x="137" y="8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3" y="111"/>
                    <a:pt x="113" y="111"/>
                    <a:pt x="113" y="111"/>
                  </a:cubicBezTo>
                  <a:cubicBezTo>
                    <a:pt x="105" y="112"/>
                    <a:pt x="105" y="112"/>
                    <a:pt x="105" y="112"/>
                  </a:cubicBezTo>
                  <a:cubicBezTo>
                    <a:pt x="104" y="110"/>
                    <a:pt x="103" y="107"/>
                    <a:pt x="100" y="104"/>
                  </a:cubicBezTo>
                  <a:cubicBezTo>
                    <a:pt x="93" y="98"/>
                    <a:pt x="86" y="96"/>
                    <a:pt x="84" y="99"/>
                  </a:cubicBezTo>
                  <a:cubicBezTo>
                    <a:pt x="82" y="101"/>
                    <a:pt x="75" y="105"/>
                    <a:pt x="71" y="104"/>
                  </a:cubicBezTo>
                  <a:cubicBezTo>
                    <a:pt x="67" y="102"/>
                    <a:pt x="63" y="105"/>
                    <a:pt x="59" y="101"/>
                  </a:cubicBezTo>
                  <a:cubicBezTo>
                    <a:pt x="55" y="98"/>
                    <a:pt x="52" y="99"/>
                    <a:pt x="50" y="96"/>
                  </a:cubicBezTo>
                  <a:cubicBezTo>
                    <a:pt x="49" y="93"/>
                    <a:pt x="49" y="90"/>
                    <a:pt x="49" y="87"/>
                  </a:cubicBezTo>
                  <a:cubicBezTo>
                    <a:pt x="50" y="84"/>
                    <a:pt x="45" y="84"/>
                    <a:pt x="41" y="85"/>
                  </a:cubicBezTo>
                  <a:cubicBezTo>
                    <a:pt x="37" y="85"/>
                    <a:pt x="38" y="93"/>
                    <a:pt x="38" y="93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96"/>
                    <a:pt x="11" y="50"/>
                    <a:pt x="9" y="40"/>
                  </a:cubicBezTo>
                  <a:cubicBezTo>
                    <a:pt x="7" y="33"/>
                    <a:pt x="3" y="23"/>
                    <a:pt x="0" y="1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84" y="26"/>
                    <a:pt x="84" y="26"/>
                    <a:pt x="84" y="26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9" y="11"/>
                    <a:pt x="109" y="11"/>
                    <a:pt x="109" y="11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23" y="7"/>
                    <a:pt x="123" y="7"/>
                    <a:pt x="123" y="7"/>
                  </a:cubicBezTo>
                  <a:lnTo>
                    <a:pt x="132" y="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6" name="Freeform 66"/>
            <p:cNvSpPr>
              <a:spLocks/>
            </p:cNvSpPr>
            <p:nvPr/>
          </p:nvSpPr>
          <p:spPr bwMode="auto">
            <a:xfrm>
              <a:off x="2361" y="3789"/>
              <a:ext cx="343" cy="260"/>
            </a:xfrm>
            <a:custGeom>
              <a:avLst/>
              <a:gdLst>
                <a:gd name="T0" fmla="*/ 27 w 165"/>
                <a:gd name="T1" fmla="*/ 0 h 125"/>
                <a:gd name="T2" fmla="*/ 33 w 165"/>
                <a:gd name="T3" fmla="*/ 1 h 125"/>
                <a:gd name="T4" fmla="*/ 39 w 165"/>
                <a:gd name="T5" fmla="*/ 7 h 125"/>
                <a:gd name="T6" fmla="*/ 51 w 165"/>
                <a:gd name="T7" fmla="*/ 7 h 125"/>
                <a:gd name="T8" fmla="*/ 71 w 165"/>
                <a:gd name="T9" fmla="*/ 14 h 125"/>
                <a:gd name="T10" fmla="*/ 88 w 165"/>
                <a:gd name="T11" fmla="*/ 35 h 125"/>
                <a:gd name="T12" fmla="*/ 103 w 165"/>
                <a:gd name="T13" fmla="*/ 35 h 125"/>
                <a:gd name="T14" fmla="*/ 110 w 165"/>
                <a:gd name="T15" fmla="*/ 42 h 125"/>
                <a:gd name="T16" fmla="*/ 124 w 165"/>
                <a:gd name="T17" fmla="*/ 41 h 125"/>
                <a:gd name="T18" fmla="*/ 129 w 165"/>
                <a:gd name="T19" fmla="*/ 35 h 125"/>
                <a:gd name="T20" fmla="*/ 136 w 165"/>
                <a:gd name="T21" fmla="*/ 38 h 125"/>
                <a:gd name="T22" fmla="*/ 135 w 165"/>
                <a:gd name="T23" fmla="*/ 52 h 125"/>
                <a:gd name="T24" fmla="*/ 137 w 165"/>
                <a:gd name="T25" fmla="*/ 55 h 125"/>
                <a:gd name="T26" fmla="*/ 135 w 165"/>
                <a:gd name="T27" fmla="*/ 58 h 125"/>
                <a:gd name="T28" fmla="*/ 138 w 165"/>
                <a:gd name="T29" fmla="*/ 62 h 125"/>
                <a:gd name="T30" fmla="*/ 147 w 165"/>
                <a:gd name="T31" fmla="*/ 52 h 125"/>
                <a:gd name="T32" fmla="*/ 156 w 165"/>
                <a:gd name="T33" fmla="*/ 54 h 125"/>
                <a:gd name="T34" fmla="*/ 158 w 165"/>
                <a:gd name="T35" fmla="*/ 64 h 125"/>
                <a:gd name="T36" fmla="*/ 161 w 165"/>
                <a:gd name="T37" fmla="*/ 76 h 125"/>
                <a:gd name="T38" fmla="*/ 159 w 165"/>
                <a:gd name="T39" fmla="*/ 88 h 125"/>
                <a:gd name="T40" fmla="*/ 165 w 165"/>
                <a:gd name="T41" fmla="*/ 99 h 125"/>
                <a:gd name="T42" fmla="*/ 156 w 165"/>
                <a:gd name="T43" fmla="*/ 106 h 125"/>
                <a:gd name="T44" fmla="*/ 147 w 165"/>
                <a:gd name="T45" fmla="*/ 106 h 125"/>
                <a:gd name="T46" fmla="*/ 142 w 165"/>
                <a:gd name="T47" fmla="*/ 110 h 125"/>
                <a:gd name="T48" fmla="*/ 137 w 165"/>
                <a:gd name="T49" fmla="*/ 107 h 125"/>
                <a:gd name="T50" fmla="*/ 133 w 165"/>
                <a:gd name="T51" fmla="*/ 112 h 125"/>
                <a:gd name="T52" fmla="*/ 128 w 165"/>
                <a:gd name="T53" fmla="*/ 107 h 125"/>
                <a:gd name="T54" fmla="*/ 121 w 165"/>
                <a:gd name="T55" fmla="*/ 117 h 125"/>
                <a:gd name="T56" fmla="*/ 117 w 165"/>
                <a:gd name="T57" fmla="*/ 125 h 125"/>
                <a:gd name="T58" fmla="*/ 103 w 165"/>
                <a:gd name="T59" fmla="*/ 115 h 125"/>
                <a:gd name="T60" fmla="*/ 103 w 165"/>
                <a:gd name="T61" fmla="*/ 108 h 125"/>
                <a:gd name="T62" fmla="*/ 95 w 165"/>
                <a:gd name="T63" fmla="*/ 99 h 125"/>
                <a:gd name="T64" fmla="*/ 86 w 165"/>
                <a:gd name="T65" fmla="*/ 99 h 125"/>
                <a:gd name="T66" fmla="*/ 75 w 165"/>
                <a:gd name="T67" fmla="*/ 103 h 125"/>
                <a:gd name="T68" fmla="*/ 67 w 165"/>
                <a:gd name="T69" fmla="*/ 110 h 125"/>
                <a:gd name="T70" fmla="*/ 56 w 165"/>
                <a:gd name="T71" fmla="*/ 110 h 125"/>
                <a:gd name="T72" fmla="*/ 50 w 165"/>
                <a:gd name="T73" fmla="*/ 112 h 125"/>
                <a:gd name="T74" fmla="*/ 45 w 165"/>
                <a:gd name="T75" fmla="*/ 114 h 125"/>
                <a:gd name="T76" fmla="*/ 40 w 165"/>
                <a:gd name="T77" fmla="*/ 109 h 125"/>
                <a:gd name="T78" fmla="*/ 33 w 165"/>
                <a:gd name="T79" fmla="*/ 116 h 125"/>
                <a:gd name="T80" fmla="*/ 28 w 165"/>
                <a:gd name="T81" fmla="*/ 109 h 125"/>
                <a:gd name="T82" fmla="*/ 16 w 165"/>
                <a:gd name="T83" fmla="*/ 91 h 125"/>
                <a:gd name="T84" fmla="*/ 21 w 165"/>
                <a:gd name="T85" fmla="*/ 87 h 125"/>
                <a:gd name="T86" fmla="*/ 20 w 165"/>
                <a:gd name="T87" fmla="*/ 82 h 125"/>
                <a:gd name="T88" fmla="*/ 11 w 165"/>
                <a:gd name="T89" fmla="*/ 84 h 125"/>
                <a:gd name="T90" fmla="*/ 3 w 165"/>
                <a:gd name="T91" fmla="*/ 86 h 125"/>
                <a:gd name="T92" fmla="*/ 0 w 165"/>
                <a:gd name="T93" fmla="*/ 86 h 125"/>
                <a:gd name="T94" fmla="*/ 1 w 165"/>
                <a:gd name="T95" fmla="*/ 81 h 125"/>
                <a:gd name="T96" fmla="*/ 5 w 165"/>
                <a:gd name="T97" fmla="*/ 73 h 125"/>
                <a:gd name="T98" fmla="*/ 2 w 165"/>
                <a:gd name="T99" fmla="*/ 67 h 125"/>
                <a:gd name="T100" fmla="*/ 1 w 165"/>
                <a:gd name="T101" fmla="*/ 50 h 125"/>
                <a:gd name="T102" fmla="*/ 4 w 165"/>
                <a:gd name="T103" fmla="*/ 38 h 125"/>
                <a:gd name="T104" fmla="*/ 13 w 165"/>
                <a:gd name="T105" fmla="*/ 33 h 125"/>
                <a:gd name="T106" fmla="*/ 20 w 165"/>
                <a:gd name="T107" fmla="*/ 29 h 125"/>
                <a:gd name="T108" fmla="*/ 22 w 165"/>
                <a:gd name="T109" fmla="*/ 19 h 125"/>
                <a:gd name="T110" fmla="*/ 27 w 165"/>
                <a:gd name="T111" fmla="*/ 14 h 125"/>
                <a:gd name="T112" fmla="*/ 27 w 165"/>
                <a:gd name="T113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5" h="125">
                  <a:moveTo>
                    <a:pt x="27" y="0"/>
                  </a:moveTo>
                  <a:cubicBezTo>
                    <a:pt x="33" y="1"/>
                    <a:pt x="33" y="1"/>
                    <a:pt x="33" y="1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88" y="35"/>
                    <a:pt x="88" y="35"/>
                    <a:pt x="88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9" y="35"/>
                    <a:pt x="129" y="35"/>
                    <a:pt x="129" y="35"/>
                  </a:cubicBezTo>
                  <a:cubicBezTo>
                    <a:pt x="136" y="38"/>
                    <a:pt x="136" y="38"/>
                    <a:pt x="136" y="38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5" y="58"/>
                    <a:pt x="135" y="58"/>
                    <a:pt x="135" y="58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56" y="54"/>
                    <a:pt x="156" y="54"/>
                    <a:pt x="156" y="54"/>
                  </a:cubicBezTo>
                  <a:cubicBezTo>
                    <a:pt x="158" y="64"/>
                    <a:pt x="158" y="64"/>
                    <a:pt x="158" y="64"/>
                  </a:cubicBezTo>
                  <a:cubicBezTo>
                    <a:pt x="158" y="64"/>
                    <a:pt x="161" y="76"/>
                    <a:pt x="161" y="76"/>
                  </a:cubicBezTo>
                  <a:cubicBezTo>
                    <a:pt x="161" y="77"/>
                    <a:pt x="159" y="88"/>
                    <a:pt x="159" y="88"/>
                  </a:cubicBezTo>
                  <a:cubicBezTo>
                    <a:pt x="165" y="99"/>
                    <a:pt x="165" y="99"/>
                    <a:pt x="165" y="99"/>
                  </a:cubicBezTo>
                  <a:cubicBezTo>
                    <a:pt x="156" y="106"/>
                    <a:pt x="156" y="106"/>
                    <a:pt x="156" y="106"/>
                  </a:cubicBezTo>
                  <a:cubicBezTo>
                    <a:pt x="147" y="106"/>
                    <a:pt x="147" y="106"/>
                    <a:pt x="147" y="106"/>
                  </a:cubicBezTo>
                  <a:cubicBezTo>
                    <a:pt x="142" y="110"/>
                    <a:pt x="142" y="110"/>
                    <a:pt x="142" y="110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28" y="107"/>
                    <a:pt x="128" y="107"/>
                    <a:pt x="128" y="107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03" y="115"/>
                    <a:pt x="103" y="115"/>
                    <a:pt x="103" y="115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86" y="99"/>
                    <a:pt x="86" y="99"/>
                    <a:pt x="86" y="9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67" y="110"/>
                    <a:pt x="67" y="110"/>
                    <a:pt x="67" y="110"/>
                  </a:cubicBezTo>
                  <a:cubicBezTo>
                    <a:pt x="56" y="110"/>
                    <a:pt x="56" y="110"/>
                    <a:pt x="56" y="110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33" y="116"/>
                    <a:pt x="33" y="116"/>
                    <a:pt x="33" y="116"/>
                  </a:cubicBezTo>
                  <a:cubicBezTo>
                    <a:pt x="31" y="113"/>
                    <a:pt x="29" y="110"/>
                    <a:pt x="28" y="109"/>
                  </a:cubicBezTo>
                  <a:cubicBezTo>
                    <a:pt x="23" y="105"/>
                    <a:pt x="16" y="94"/>
                    <a:pt x="16" y="91"/>
                  </a:cubicBezTo>
                  <a:cubicBezTo>
                    <a:pt x="16" y="87"/>
                    <a:pt x="18" y="88"/>
                    <a:pt x="21" y="87"/>
                  </a:cubicBezTo>
                  <a:cubicBezTo>
                    <a:pt x="23" y="85"/>
                    <a:pt x="21" y="82"/>
                    <a:pt x="20" y="82"/>
                  </a:cubicBezTo>
                  <a:cubicBezTo>
                    <a:pt x="18" y="82"/>
                    <a:pt x="13" y="83"/>
                    <a:pt x="11" y="84"/>
                  </a:cubicBezTo>
                  <a:cubicBezTo>
                    <a:pt x="9" y="84"/>
                    <a:pt x="6" y="86"/>
                    <a:pt x="3" y="86"/>
                  </a:cubicBezTo>
                  <a:cubicBezTo>
                    <a:pt x="2" y="85"/>
                    <a:pt x="1" y="85"/>
                    <a:pt x="0" y="86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7" y="14"/>
                    <a:pt x="27" y="14"/>
                    <a:pt x="27" y="14"/>
                  </a:cubicBezTo>
                  <a:lnTo>
                    <a:pt x="27" y="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7" name="Freeform 67"/>
            <p:cNvSpPr>
              <a:spLocks/>
            </p:cNvSpPr>
            <p:nvPr/>
          </p:nvSpPr>
          <p:spPr bwMode="auto">
            <a:xfrm>
              <a:off x="2686" y="3855"/>
              <a:ext cx="164" cy="288"/>
            </a:xfrm>
            <a:custGeom>
              <a:avLst/>
              <a:gdLst>
                <a:gd name="T0" fmla="*/ 0 w 79"/>
                <a:gd name="T1" fmla="*/ 22 h 138"/>
                <a:gd name="T2" fmla="*/ 6 w 79"/>
                <a:gd name="T3" fmla="*/ 17 h 138"/>
                <a:gd name="T4" fmla="*/ 19 w 79"/>
                <a:gd name="T5" fmla="*/ 18 h 138"/>
                <a:gd name="T6" fmla="*/ 31 w 79"/>
                <a:gd name="T7" fmla="*/ 9 h 138"/>
                <a:gd name="T8" fmla="*/ 41 w 79"/>
                <a:gd name="T9" fmla="*/ 9 h 138"/>
                <a:gd name="T10" fmla="*/ 43 w 79"/>
                <a:gd name="T11" fmla="*/ 11 h 138"/>
                <a:gd name="T12" fmla="*/ 49 w 79"/>
                <a:gd name="T13" fmla="*/ 6 h 138"/>
                <a:gd name="T14" fmla="*/ 53 w 79"/>
                <a:gd name="T15" fmla="*/ 9 h 138"/>
                <a:gd name="T16" fmla="*/ 65 w 79"/>
                <a:gd name="T17" fmla="*/ 0 h 138"/>
                <a:gd name="T18" fmla="*/ 67 w 79"/>
                <a:gd name="T19" fmla="*/ 0 h 138"/>
                <a:gd name="T20" fmla="*/ 68 w 79"/>
                <a:gd name="T21" fmla="*/ 11 h 138"/>
                <a:gd name="T22" fmla="*/ 75 w 79"/>
                <a:gd name="T23" fmla="*/ 17 h 138"/>
                <a:gd name="T24" fmla="*/ 79 w 79"/>
                <a:gd name="T25" fmla="*/ 23 h 138"/>
                <a:gd name="T26" fmla="*/ 79 w 79"/>
                <a:gd name="T27" fmla="*/ 34 h 138"/>
                <a:gd name="T28" fmla="*/ 65 w 79"/>
                <a:gd name="T29" fmla="*/ 45 h 138"/>
                <a:gd name="T30" fmla="*/ 69 w 79"/>
                <a:gd name="T31" fmla="*/ 57 h 138"/>
                <a:gd name="T32" fmla="*/ 69 w 79"/>
                <a:gd name="T33" fmla="*/ 69 h 138"/>
                <a:gd name="T34" fmla="*/ 62 w 79"/>
                <a:gd name="T35" fmla="*/ 74 h 138"/>
                <a:gd name="T36" fmla="*/ 65 w 79"/>
                <a:gd name="T37" fmla="*/ 76 h 138"/>
                <a:gd name="T38" fmla="*/ 71 w 79"/>
                <a:gd name="T39" fmla="*/ 74 h 138"/>
                <a:gd name="T40" fmla="*/ 79 w 79"/>
                <a:gd name="T41" fmla="*/ 75 h 138"/>
                <a:gd name="T42" fmla="*/ 75 w 79"/>
                <a:gd name="T43" fmla="*/ 80 h 138"/>
                <a:gd name="T44" fmla="*/ 75 w 79"/>
                <a:gd name="T45" fmla="*/ 91 h 138"/>
                <a:gd name="T46" fmla="*/ 68 w 79"/>
                <a:gd name="T47" fmla="*/ 100 h 138"/>
                <a:gd name="T48" fmla="*/ 75 w 79"/>
                <a:gd name="T49" fmla="*/ 107 h 138"/>
                <a:gd name="T50" fmla="*/ 72 w 79"/>
                <a:gd name="T51" fmla="*/ 114 h 138"/>
                <a:gd name="T52" fmla="*/ 77 w 79"/>
                <a:gd name="T53" fmla="*/ 122 h 138"/>
                <a:gd name="T54" fmla="*/ 67 w 79"/>
                <a:gd name="T55" fmla="*/ 130 h 138"/>
                <a:gd name="T56" fmla="*/ 67 w 79"/>
                <a:gd name="T57" fmla="*/ 138 h 138"/>
                <a:gd name="T58" fmla="*/ 62 w 79"/>
                <a:gd name="T59" fmla="*/ 136 h 138"/>
                <a:gd name="T60" fmla="*/ 62 w 79"/>
                <a:gd name="T61" fmla="*/ 131 h 138"/>
                <a:gd name="T62" fmla="*/ 57 w 79"/>
                <a:gd name="T63" fmla="*/ 130 h 138"/>
                <a:gd name="T64" fmla="*/ 50 w 79"/>
                <a:gd name="T65" fmla="*/ 126 h 138"/>
                <a:gd name="T66" fmla="*/ 44 w 79"/>
                <a:gd name="T67" fmla="*/ 127 h 138"/>
                <a:gd name="T68" fmla="*/ 38 w 79"/>
                <a:gd name="T69" fmla="*/ 122 h 138"/>
                <a:gd name="T70" fmla="*/ 36 w 79"/>
                <a:gd name="T71" fmla="*/ 114 h 138"/>
                <a:gd name="T72" fmla="*/ 31 w 79"/>
                <a:gd name="T73" fmla="*/ 104 h 138"/>
                <a:gd name="T74" fmla="*/ 38 w 79"/>
                <a:gd name="T75" fmla="*/ 103 h 138"/>
                <a:gd name="T76" fmla="*/ 40 w 79"/>
                <a:gd name="T77" fmla="*/ 98 h 138"/>
                <a:gd name="T78" fmla="*/ 27 w 79"/>
                <a:gd name="T79" fmla="*/ 94 h 138"/>
                <a:gd name="T80" fmla="*/ 23 w 79"/>
                <a:gd name="T81" fmla="*/ 85 h 138"/>
                <a:gd name="T82" fmla="*/ 20 w 79"/>
                <a:gd name="T83" fmla="*/ 77 h 138"/>
                <a:gd name="T84" fmla="*/ 12 w 79"/>
                <a:gd name="T85" fmla="*/ 75 h 138"/>
                <a:gd name="T86" fmla="*/ 9 w 79"/>
                <a:gd name="T87" fmla="*/ 67 h 138"/>
                <a:gd name="T88" fmla="*/ 3 w 79"/>
                <a:gd name="T89" fmla="*/ 56 h 138"/>
                <a:gd name="T90" fmla="*/ 5 w 79"/>
                <a:gd name="T91" fmla="*/ 44 h 138"/>
                <a:gd name="T92" fmla="*/ 2 w 79"/>
                <a:gd name="T93" fmla="*/ 32 h 138"/>
                <a:gd name="T94" fmla="*/ 0 w 79"/>
                <a:gd name="T95" fmla="*/ 22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9" h="138">
                  <a:moveTo>
                    <a:pt x="0" y="22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79" y="75"/>
                    <a:pt x="79" y="75"/>
                    <a:pt x="79" y="75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5" y="91"/>
                    <a:pt x="75" y="91"/>
                    <a:pt x="75" y="91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75" y="107"/>
                    <a:pt x="75" y="107"/>
                    <a:pt x="75" y="107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7" y="122"/>
                    <a:pt x="77" y="122"/>
                    <a:pt x="77" y="122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7" y="138"/>
                    <a:pt x="67" y="138"/>
                    <a:pt x="67" y="138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1"/>
                    <a:pt x="62" y="131"/>
                    <a:pt x="62" y="131"/>
                  </a:cubicBezTo>
                  <a:cubicBezTo>
                    <a:pt x="57" y="130"/>
                    <a:pt x="57" y="130"/>
                    <a:pt x="57" y="130"/>
                  </a:cubicBezTo>
                  <a:cubicBezTo>
                    <a:pt x="50" y="126"/>
                    <a:pt x="50" y="126"/>
                    <a:pt x="50" y="126"/>
                  </a:cubicBezTo>
                  <a:cubicBezTo>
                    <a:pt x="44" y="127"/>
                    <a:pt x="44" y="127"/>
                    <a:pt x="44" y="127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6" y="114"/>
                    <a:pt x="36" y="114"/>
                    <a:pt x="36" y="114"/>
                  </a:cubicBezTo>
                  <a:cubicBezTo>
                    <a:pt x="31" y="104"/>
                    <a:pt x="31" y="104"/>
                    <a:pt x="31" y="104"/>
                  </a:cubicBezTo>
                  <a:cubicBezTo>
                    <a:pt x="38" y="103"/>
                    <a:pt x="38" y="103"/>
                    <a:pt x="38" y="103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27" y="94"/>
                    <a:pt x="27" y="94"/>
                    <a:pt x="27" y="94"/>
                  </a:cubicBezTo>
                  <a:cubicBezTo>
                    <a:pt x="23" y="85"/>
                    <a:pt x="23" y="85"/>
                    <a:pt x="23" y="85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3" y="56"/>
                    <a:pt x="5" y="45"/>
                    <a:pt x="5" y="44"/>
                  </a:cubicBezTo>
                  <a:cubicBezTo>
                    <a:pt x="5" y="44"/>
                    <a:pt x="2" y="32"/>
                    <a:pt x="2" y="32"/>
                  </a:cubicBezTo>
                  <a:lnTo>
                    <a:pt x="0" y="22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8" name="Freeform 68"/>
            <p:cNvSpPr>
              <a:spLocks noEditPoints="1"/>
            </p:cNvSpPr>
            <p:nvPr/>
          </p:nvSpPr>
          <p:spPr bwMode="auto">
            <a:xfrm>
              <a:off x="3236" y="2286"/>
              <a:ext cx="1104" cy="1363"/>
            </a:xfrm>
            <a:custGeom>
              <a:avLst/>
              <a:gdLst>
                <a:gd name="T0" fmla="*/ 30 w 530"/>
                <a:gd name="T1" fmla="*/ 215 h 654"/>
                <a:gd name="T2" fmla="*/ 118 w 530"/>
                <a:gd name="T3" fmla="*/ 199 h 654"/>
                <a:gd name="T4" fmla="*/ 163 w 530"/>
                <a:gd name="T5" fmla="*/ 171 h 654"/>
                <a:gd name="T6" fmla="*/ 171 w 530"/>
                <a:gd name="T7" fmla="*/ 197 h 654"/>
                <a:gd name="T8" fmla="*/ 222 w 530"/>
                <a:gd name="T9" fmla="*/ 187 h 654"/>
                <a:gd name="T10" fmla="*/ 272 w 530"/>
                <a:gd name="T11" fmla="*/ 151 h 654"/>
                <a:gd name="T12" fmla="*/ 251 w 530"/>
                <a:gd name="T13" fmla="*/ 113 h 654"/>
                <a:gd name="T14" fmla="*/ 302 w 530"/>
                <a:gd name="T15" fmla="*/ 92 h 654"/>
                <a:gd name="T16" fmla="*/ 336 w 530"/>
                <a:gd name="T17" fmla="*/ 79 h 654"/>
                <a:gd name="T18" fmla="*/ 407 w 530"/>
                <a:gd name="T19" fmla="*/ 23 h 654"/>
                <a:gd name="T20" fmla="*/ 465 w 530"/>
                <a:gd name="T21" fmla="*/ 20 h 654"/>
                <a:gd name="T22" fmla="*/ 490 w 530"/>
                <a:gd name="T23" fmla="*/ 46 h 654"/>
                <a:gd name="T24" fmla="*/ 490 w 530"/>
                <a:gd name="T25" fmla="*/ 91 h 654"/>
                <a:gd name="T26" fmla="*/ 529 w 530"/>
                <a:gd name="T27" fmla="*/ 123 h 654"/>
                <a:gd name="T28" fmla="*/ 504 w 530"/>
                <a:gd name="T29" fmla="*/ 149 h 654"/>
                <a:gd name="T30" fmla="*/ 527 w 530"/>
                <a:gd name="T31" fmla="*/ 199 h 654"/>
                <a:gd name="T32" fmla="*/ 501 w 530"/>
                <a:gd name="T33" fmla="*/ 229 h 654"/>
                <a:gd name="T34" fmla="*/ 486 w 530"/>
                <a:gd name="T35" fmla="*/ 256 h 654"/>
                <a:gd name="T36" fmla="*/ 509 w 530"/>
                <a:gd name="T37" fmla="*/ 307 h 654"/>
                <a:gd name="T38" fmla="*/ 492 w 530"/>
                <a:gd name="T39" fmla="*/ 341 h 654"/>
                <a:gd name="T40" fmla="*/ 462 w 530"/>
                <a:gd name="T41" fmla="*/ 358 h 654"/>
                <a:gd name="T42" fmla="*/ 473 w 530"/>
                <a:gd name="T43" fmla="*/ 414 h 654"/>
                <a:gd name="T44" fmla="*/ 469 w 530"/>
                <a:gd name="T45" fmla="*/ 461 h 654"/>
                <a:gd name="T46" fmla="*/ 445 w 530"/>
                <a:gd name="T47" fmla="*/ 483 h 654"/>
                <a:gd name="T48" fmla="*/ 436 w 530"/>
                <a:gd name="T49" fmla="*/ 515 h 654"/>
                <a:gd name="T50" fmla="*/ 445 w 530"/>
                <a:gd name="T51" fmla="*/ 547 h 654"/>
                <a:gd name="T52" fmla="*/ 462 w 530"/>
                <a:gd name="T53" fmla="*/ 572 h 654"/>
                <a:gd name="T54" fmla="*/ 462 w 530"/>
                <a:gd name="T55" fmla="*/ 598 h 654"/>
                <a:gd name="T56" fmla="*/ 421 w 530"/>
                <a:gd name="T57" fmla="*/ 630 h 654"/>
                <a:gd name="T58" fmla="*/ 382 w 530"/>
                <a:gd name="T59" fmla="*/ 643 h 654"/>
                <a:gd name="T60" fmla="*/ 334 w 530"/>
                <a:gd name="T61" fmla="*/ 645 h 654"/>
                <a:gd name="T62" fmla="*/ 290 w 530"/>
                <a:gd name="T63" fmla="*/ 654 h 654"/>
                <a:gd name="T64" fmla="*/ 267 w 530"/>
                <a:gd name="T65" fmla="*/ 628 h 654"/>
                <a:gd name="T66" fmla="*/ 248 w 530"/>
                <a:gd name="T67" fmla="*/ 597 h 654"/>
                <a:gd name="T68" fmla="*/ 219 w 530"/>
                <a:gd name="T69" fmla="*/ 586 h 654"/>
                <a:gd name="T70" fmla="*/ 178 w 530"/>
                <a:gd name="T71" fmla="*/ 595 h 654"/>
                <a:gd name="T72" fmla="*/ 164 w 530"/>
                <a:gd name="T73" fmla="*/ 641 h 654"/>
                <a:gd name="T74" fmla="*/ 136 w 530"/>
                <a:gd name="T75" fmla="*/ 637 h 654"/>
                <a:gd name="T76" fmla="*/ 114 w 530"/>
                <a:gd name="T77" fmla="*/ 589 h 654"/>
                <a:gd name="T78" fmla="*/ 100 w 530"/>
                <a:gd name="T79" fmla="*/ 563 h 654"/>
                <a:gd name="T80" fmla="*/ 81 w 530"/>
                <a:gd name="T81" fmla="*/ 530 h 654"/>
                <a:gd name="T82" fmla="*/ 64 w 530"/>
                <a:gd name="T83" fmla="*/ 504 h 654"/>
                <a:gd name="T84" fmla="*/ 34 w 530"/>
                <a:gd name="T85" fmla="*/ 508 h 654"/>
                <a:gd name="T86" fmla="*/ 25 w 530"/>
                <a:gd name="T87" fmla="*/ 467 h 654"/>
                <a:gd name="T88" fmla="*/ 17 w 530"/>
                <a:gd name="T89" fmla="*/ 437 h 654"/>
                <a:gd name="T90" fmla="*/ 11 w 530"/>
                <a:gd name="T91" fmla="*/ 385 h 654"/>
                <a:gd name="T92" fmla="*/ 21 w 530"/>
                <a:gd name="T93" fmla="*/ 344 h 654"/>
                <a:gd name="T94" fmla="*/ 31 w 530"/>
                <a:gd name="T95" fmla="*/ 311 h 654"/>
                <a:gd name="T96" fmla="*/ 37 w 530"/>
                <a:gd name="T97" fmla="*/ 280 h 654"/>
                <a:gd name="T98" fmla="*/ 14 w 530"/>
                <a:gd name="T99" fmla="*/ 240 h 654"/>
                <a:gd name="T100" fmla="*/ 234 w 530"/>
                <a:gd name="T101" fmla="*/ 26 h 654"/>
                <a:gd name="T102" fmla="*/ 251 w 530"/>
                <a:gd name="T103" fmla="*/ 6 h 654"/>
                <a:gd name="T104" fmla="*/ 223 w 530"/>
                <a:gd name="T105" fmla="*/ 53 h 654"/>
                <a:gd name="T106" fmla="*/ 203 w 530"/>
                <a:gd name="T107" fmla="*/ 27 h 654"/>
                <a:gd name="T108" fmla="*/ 169 w 530"/>
                <a:gd name="T109" fmla="*/ 47 h 654"/>
                <a:gd name="T110" fmla="*/ 217 w 530"/>
                <a:gd name="T111" fmla="*/ 54 h 654"/>
                <a:gd name="T112" fmla="*/ 235 w 530"/>
                <a:gd name="T113" fmla="*/ 98 h 654"/>
                <a:gd name="T114" fmla="*/ 234 w 530"/>
                <a:gd name="T115" fmla="*/ 90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0" h="654">
                  <a:moveTo>
                    <a:pt x="4" y="211"/>
                  </a:moveTo>
                  <a:cubicBezTo>
                    <a:pt x="4" y="211"/>
                    <a:pt x="4" y="211"/>
                    <a:pt x="4" y="211"/>
                  </a:cubicBezTo>
                  <a:cubicBezTo>
                    <a:pt x="7" y="209"/>
                    <a:pt x="10" y="207"/>
                    <a:pt x="11" y="211"/>
                  </a:cubicBezTo>
                  <a:cubicBezTo>
                    <a:pt x="12" y="215"/>
                    <a:pt x="16" y="217"/>
                    <a:pt x="19" y="214"/>
                  </a:cubicBezTo>
                  <a:cubicBezTo>
                    <a:pt x="22" y="211"/>
                    <a:pt x="22" y="206"/>
                    <a:pt x="25" y="207"/>
                  </a:cubicBezTo>
                  <a:cubicBezTo>
                    <a:pt x="28" y="209"/>
                    <a:pt x="29" y="215"/>
                    <a:pt x="30" y="215"/>
                  </a:cubicBezTo>
                  <a:cubicBezTo>
                    <a:pt x="32" y="215"/>
                    <a:pt x="38" y="212"/>
                    <a:pt x="41" y="209"/>
                  </a:cubicBezTo>
                  <a:cubicBezTo>
                    <a:pt x="43" y="206"/>
                    <a:pt x="52" y="204"/>
                    <a:pt x="61" y="203"/>
                  </a:cubicBezTo>
                  <a:cubicBezTo>
                    <a:pt x="70" y="201"/>
                    <a:pt x="74" y="197"/>
                    <a:pt x="74" y="201"/>
                  </a:cubicBezTo>
                  <a:cubicBezTo>
                    <a:pt x="74" y="205"/>
                    <a:pt x="75" y="207"/>
                    <a:pt x="81" y="210"/>
                  </a:cubicBezTo>
                  <a:cubicBezTo>
                    <a:pt x="87" y="212"/>
                    <a:pt x="99" y="207"/>
                    <a:pt x="103" y="204"/>
                  </a:cubicBezTo>
                  <a:cubicBezTo>
                    <a:pt x="107" y="201"/>
                    <a:pt x="116" y="202"/>
                    <a:pt x="118" y="199"/>
                  </a:cubicBezTo>
                  <a:cubicBezTo>
                    <a:pt x="119" y="195"/>
                    <a:pt x="117" y="191"/>
                    <a:pt x="114" y="189"/>
                  </a:cubicBezTo>
                  <a:cubicBezTo>
                    <a:pt x="111" y="187"/>
                    <a:pt x="108" y="182"/>
                    <a:pt x="110" y="178"/>
                  </a:cubicBezTo>
                  <a:cubicBezTo>
                    <a:pt x="111" y="174"/>
                    <a:pt x="116" y="169"/>
                    <a:pt x="120" y="172"/>
                  </a:cubicBezTo>
                  <a:cubicBezTo>
                    <a:pt x="124" y="174"/>
                    <a:pt x="132" y="174"/>
                    <a:pt x="135" y="171"/>
                  </a:cubicBezTo>
                  <a:cubicBezTo>
                    <a:pt x="138" y="169"/>
                    <a:pt x="144" y="165"/>
                    <a:pt x="148" y="166"/>
                  </a:cubicBezTo>
                  <a:cubicBezTo>
                    <a:pt x="151" y="167"/>
                    <a:pt x="162" y="168"/>
                    <a:pt x="163" y="171"/>
                  </a:cubicBezTo>
                  <a:cubicBezTo>
                    <a:pt x="164" y="174"/>
                    <a:pt x="165" y="176"/>
                    <a:pt x="164" y="177"/>
                  </a:cubicBezTo>
                  <a:cubicBezTo>
                    <a:pt x="162" y="179"/>
                    <a:pt x="170" y="178"/>
                    <a:pt x="171" y="178"/>
                  </a:cubicBezTo>
                  <a:cubicBezTo>
                    <a:pt x="172" y="179"/>
                    <a:pt x="168" y="185"/>
                    <a:pt x="165" y="187"/>
                  </a:cubicBezTo>
                  <a:cubicBezTo>
                    <a:pt x="163" y="188"/>
                    <a:pt x="172" y="183"/>
                    <a:pt x="176" y="186"/>
                  </a:cubicBezTo>
                  <a:cubicBezTo>
                    <a:pt x="180" y="190"/>
                    <a:pt x="183" y="190"/>
                    <a:pt x="181" y="193"/>
                  </a:cubicBezTo>
                  <a:cubicBezTo>
                    <a:pt x="179" y="195"/>
                    <a:pt x="173" y="195"/>
                    <a:pt x="171" y="197"/>
                  </a:cubicBezTo>
                  <a:cubicBezTo>
                    <a:pt x="170" y="198"/>
                    <a:pt x="175" y="198"/>
                    <a:pt x="182" y="203"/>
                  </a:cubicBezTo>
                  <a:cubicBezTo>
                    <a:pt x="189" y="208"/>
                    <a:pt x="201" y="217"/>
                    <a:pt x="203" y="218"/>
                  </a:cubicBezTo>
                  <a:cubicBezTo>
                    <a:pt x="205" y="219"/>
                    <a:pt x="219" y="223"/>
                    <a:pt x="218" y="216"/>
                  </a:cubicBezTo>
                  <a:cubicBezTo>
                    <a:pt x="218" y="210"/>
                    <a:pt x="215" y="202"/>
                    <a:pt x="212" y="196"/>
                  </a:cubicBezTo>
                  <a:cubicBezTo>
                    <a:pt x="209" y="191"/>
                    <a:pt x="208" y="183"/>
                    <a:pt x="210" y="183"/>
                  </a:cubicBezTo>
                  <a:cubicBezTo>
                    <a:pt x="212" y="182"/>
                    <a:pt x="218" y="186"/>
                    <a:pt x="222" y="187"/>
                  </a:cubicBezTo>
                  <a:cubicBezTo>
                    <a:pt x="226" y="189"/>
                    <a:pt x="236" y="186"/>
                    <a:pt x="236" y="184"/>
                  </a:cubicBezTo>
                  <a:cubicBezTo>
                    <a:pt x="237" y="182"/>
                    <a:pt x="236" y="174"/>
                    <a:pt x="243" y="171"/>
                  </a:cubicBezTo>
                  <a:cubicBezTo>
                    <a:pt x="249" y="167"/>
                    <a:pt x="251" y="166"/>
                    <a:pt x="257" y="168"/>
                  </a:cubicBezTo>
                  <a:cubicBezTo>
                    <a:pt x="263" y="170"/>
                    <a:pt x="265" y="164"/>
                    <a:pt x="261" y="163"/>
                  </a:cubicBezTo>
                  <a:cubicBezTo>
                    <a:pt x="258" y="162"/>
                    <a:pt x="258" y="159"/>
                    <a:pt x="261" y="156"/>
                  </a:cubicBezTo>
                  <a:cubicBezTo>
                    <a:pt x="265" y="154"/>
                    <a:pt x="273" y="154"/>
                    <a:pt x="272" y="151"/>
                  </a:cubicBezTo>
                  <a:cubicBezTo>
                    <a:pt x="271" y="148"/>
                    <a:pt x="262" y="142"/>
                    <a:pt x="261" y="139"/>
                  </a:cubicBezTo>
                  <a:cubicBezTo>
                    <a:pt x="261" y="136"/>
                    <a:pt x="262" y="131"/>
                    <a:pt x="260" y="132"/>
                  </a:cubicBezTo>
                  <a:cubicBezTo>
                    <a:pt x="258" y="134"/>
                    <a:pt x="255" y="139"/>
                    <a:pt x="252" y="134"/>
                  </a:cubicBezTo>
                  <a:cubicBezTo>
                    <a:pt x="248" y="129"/>
                    <a:pt x="252" y="127"/>
                    <a:pt x="255" y="126"/>
                  </a:cubicBezTo>
                  <a:cubicBezTo>
                    <a:pt x="259" y="125"/>
                    <a:pt x="259" y="120"/>
                    <a:pt x="258" y="118"/>
                  </a:cubicBezTo>
                  <a:cubicBezTo>
                    <a:pt x="257" y="117"/>
                    <a:pt x="250" y="114"/>
                    <a:pt x="251" y="113"/>
                  </a:cubicBezTo>
                  <a:cubicBezTo>
                    <a:pt x="252" y="112"/>
                    <a:pt x="253" y="109"/>
                    <a:pt x="257" y="109"/>
                  </a:cubicBezTo>
                  <a:cubicBezTo>
                    <a:pt x="260" y="110"/>
                    <a:pt x="267" y="105"/>
                    <a:pt x="271" y="102"/>
                  </a:cubicBezTo>
                  <a:cubicBezTo>
                    <a:pt x="275" y="98"/>
                    <a:pt x="281" y="96"/>
                    <a:pt x="286" y="92"/>
                  </a:cubicBezTo>
                  <a:cubicBezTo>
                    <a:pt x="290" y="89"/>
                    <a:pt x="298" y="83"/>
                    <a:pt x="299" y="86"/>
                  </a:cubicBezTo>
                  <a:cubicBezTo>
                    <a:pt x="301" y="88"/>
                    <a:pt x="295" y="92"/>
                    <a:pt x="294" y="95"/>
                  </a:cubicBezTo>
                  <a:cubicBezTo>
                    <a:pt x="293" y="98"/>
                    <a:pt x="300" y="94"/>
                    <a:pt x="302" y="92"/>
                  </a:cubicBezTo>
                  <a:cubicBezTo>
                    <a:pt x="304" y="90"/>
                    <a:pt x="305" y="95"/>
                    <a:pt x="306" y="97"/>
                  </a:cubicBezTo>
                  <a:cubicBezTo>
                    <a:pt x="307" y="99"/>
                    <a:pt x="310" y="95"/>
                    <a:pt x="307" y="90"/>
                  </a:cubicBezTo>
                  <a:cubicBezTo>
                    <a:pt x="304" y="85"/>
                    <a:pt x="305" y="82"/>
                    <a:pt x="308" y="78"/>
                  </a:cubicBezTo>
                  <a:cubicBezTo>
                    <a:pt x="312" y="75"/>
                    <a:pt x="319" y="71"/>
                    <a:pt x="325" y="69"/>
                  </a:cubicBezTo>
                  <a:cubicBezTo>
                    <a:pt x="331" y="67"/>
                    <a:pt x="336" y="69"/>
                    <a:pt x="335" y="72"/>
                  </a:cubicBezTo>
                  <a:cubicBezTo>
                    <a:pt x="333" y="75"/>
                    <a:pt x="331" y="81"/>
                    <a:pt x="336" y="79"/>
                  </a:cubicBezTo>
                  <a:cubicBezTo>
                    <a:pt x="341" y="78"/>
                    <a:pt x="345" y="74"/>
                    <a:pt x="347" y="76"/>
                  </a:cubicBezTo>
                  <a:cubicBezTo>
                    <a:pt x="349" y="78"/>
                    <a:pt x="353" y="78"/>
                    <a:pt x="356" y="74"/>
                  </a:cubicBezTo>
                  <a:cubicBezTo>
                    <a:pt x="359" y="70"/>
                    <a:pt x="366" y="69"/>
                    <a:pt x="368" y="72"/>
                  </a:cubicBezTo>
                  <a:cubicBezTo>
                    <a:pt x="370" y="75"/>
                    <a:pt x="381" y="71"/>
                    <a:pt x="383" y="64"/>
                  </a:cubicBezTo>
                  <a:cubicBezTo>
                    <a:pt x="385" y="56"/>
                    <a:pt x="385" y="49"/>
                    <a:pt x="391" y="43"/>
                  </a:cubicBezTo>
                  <a:cubicBezTo>
                    <a:pt x="396" y="37"/>
                    <a:pt x="399" y="30"/>
                    <a:pt x="407" y="23"/>
                  </a:cubicBezTo>
                  <a:cubicBezTo>
                    <a:pt x="415" y="15"/>
                    <a:pt x="428" y="16"/>
                    <a:pt x="434" y="19"/>
                  </a:cubicBezTo>
                  <a:cubicBezTo>
                    <a:pt x="440" y="22"/>
                    <a:pt x="438" y="25"/>
                    <a:pt x="443" y="29"/>
                  </a:cubicBezTo>
                  <a:cubicBezTo>
                    <a:pt x="447" y="32"/>
                    <a:pt x="452" y="26"/>
                    <a:pt x="453" y="23"/>
                  </a:cubicBezTo>
                  <a:cubicBezTo>
                    <a:pt x="455" y="20"/>
                    <a:pt x="460" y="24"/>
                    <a:pt x="464" y="27"/>
                  </a:cubicBezTo>
                  <a:cubicBezTo>
                    <a:pt x="468" y="31"/>
                    <a:pt x="474" y="32"/>
                    <a:pt x="474" y="30"/>
                  </a:cubicBezTo>
                  <a:cubicBezTo>
                    <a:pt x="474" y="28"/>
                    <a:pt x="468" y="26"/>
                    <a:pt x="465" y="20"/>
                  </a:cubicBezTo>
                  <a:cubicBezTo>
                    <a:pt x="462" y="15"/>
                    <a:pt x="462" y="14"/>
                    <a:pt x="464" y="9"/>
                  </a:cubicBezTo>
                  <a:cubicBezTo>
                    <a:pt x="476" y="16"/>
                    <a:pt x="476" y="16"/>
                    <a:pt x="476" y="16"/>
                  </a:cubicBezTo>
                  <a:cubicBezTo>
                    <a:pt x="489" y="23"/>
                    <a:pt x="489" y="23"/>
                    <a:pt x="489" y="23"/>
                  </a:cubicBezTo>
                  <a:cubicBezTo>
                    <a:pt x="494" y="27"/>
                    <a:pt x="494" y="27"/>
                    <a:pt x="494" y="27"/>
                  </a:cubicBezTo>
                  <a:cubicBezTo>
                    <a:pt x="501" y="36"/>
                    <a:pt x="501" y="36"/>
                    <a:pt x="501" y="36"/>
                  </a:cubicBezTo>
                  <a:cubicBezTo>
                    <a:pt x="490" y="46"/>
                    <a:pt x="490" y="46"/>
                    <a:pt x="490" y="46"/>
                  </a:cubicBezTo>
                  <a:cubicBezTo>
                    <a:pt x="490" y="53"/>
                    <a:pt x="490" y="53"/>
                    <a:pt x="490" y="53"/>
                  </a:cubicBezTo>
                  <a:cubicBezTo>
                    <a:pt x="486" y="62"/>
                    <a:pt x="486" y="62"/>
                    <a:pt x="486" y="62"/>
                  </a:cubicBezTo>
                  <a:cubicBezTo>
                    <a:pt x="484" y="67"/>
                    <a:pt x="484" y="67"/>
                    <a:pt x="484" y="67"/>
                  </a:cubicBezTo>
                  <a:cubicBezTo>
                    <a:pt x="483" y="75"/>
                    <a:pt x="483" y="75"/>
                    <a:pt x="483" y="75"/>
                  </a:cubicBezTo>
                  <a:cubicBezTo>
                    <a:pt x="490" y="83"/>
                    <a:pt x="490" y="83"/>
                    <a:pt x="490" y="83"/>
                  </a:cubicBezTo>
                  <a:cubicBezTo>
                    <a:pt x="490" y="91"/>
                    <a:pt x="490" y="91"/>
                    <a:pt x="490" y="91"/>
                  </a:cubicBezTo>
                  <a:cubicBezTo>
                    <a:pt x="503" y="91"/>
                    <a:pt x="503" y="91"/>
                    <a:pt x="503" y="91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23" y="99"/>
                    <a:pt x="523" y="99"/>
                    <a:pt x="523" y="99"/>
                  </a:cubicBezTo>
                  <a:cubicBezTo>
                    <a:pt x="529" y="106"/>
                    <a:pt x="529" y="106"/>
                    <a:pt x="529" y="106"/>
                  </a:cubicBezTo>
                  <a:cubicBezTo>
                    <a:pt x="530" y="116"/>
                    <a:pt x="530" y="116"/>
                    <a:pt x="530" y="116"/>
                  </a:cubicBezTo>
                  <a:cubicBezTo>
                    <a:pt x="529" y="123"/>
                    <a:pt x="529" y="123"/>
                    <a:pt x="529" y="123"/>
                  </a:cubicBezTo>
                  <a:cubicBezTo>
                    <a:pt x="517" y="123"/>
                    <a:pt x="517" y="123"/>
                    <a:pt x="517" y="123"/>
                  </a:cubicBezTo>
                  <a:cubicBezTo>
                    <a:pt x="517" y="131"/>
                    <a:pt x="517" y="131"/>
                    <a:pt x="517" y="131"/>
                  </a:cubicBezTo>
                  <a:cubicBezTo>
                    <a:pt x="509" y="131"/>
                    <a:pt x="509" y="131"/>
                    <a:pt x="509" y="131"/>
                  </a:cubicBezTo>
                  <a:cubicBezTo>
                    <a:pt x="508" y="141"/>
                    <a:pt x="508" y="141"/>
                    <a:pt x="508" y="141"/>
                  </a:cubicBezTo>
                  <a:cubicBezTo>
                    <a:pt x="502" y="144"/>
                    <a:pt x="502" y="144"/>
                    <a:pt x="502" y="144"/>
                  </a:cubicBezTo>
                  <a:cubicBezTo>
                    <a:pt x="504" y="149"/>
                    <a:pt x="504" y="149"/>
                    <a:pt x="504" y="149"/>
                  </a:cubicBezTo>
                  <a:cubicBezTo>
                    <a:pt x="512" y="153"/>
                    <a:pt x="512" y="153"/>
                    <a:pt x="512" y="153"/>
                  </a:cubicBezTo>
                  <a:cubicBezTo>
                    <a:pt x="504" y="159"/>
                    <a:pt x="504" y="159"/>
                    <a:pt x="504" y="159"/>
                  </a:cubicBezTo>
                  <a:cubicBezTo>
                    <a:pt x="514" y="168"/>
                    <a:pt x="514" y="168"/>
                    <a:pt x="514" y="168"/>
                  </a:cubicBezTo>
                  <a:cubicBezTo>
                    <a:pt x="513" y="181"/>
                    <a:pt x="513" y="181"/>
                    <a:pt x="513" y="181"/>
                  </a:cubicBezTo>
                  <a:cubicBezTo>
                    <a:pt x="525" y="191"/>
                    <a:pt x="525" y="191"/>
                    <a:pt x="525" y="191"/>
                  </a:cubicBezTo>
                  <a:cubicBezTo>
                    <a:pt x="527" y="199"/>
                    <a:pt x="527" y="199"/>
                    <a:pt x="527" y="199"/>
                  </a:cubicBezTo>
                  <a:cubicBezTo>
                    <a:pt x="521" y="202"/>
                    <a:pt x="521" y="202"/>
                    <a:pt x="521" y="202"/>
                  </a:cubicBezTo>
                  <a:cubicBezTo>
                    <a:pt x="518" y="211"/>
                    <a:pt x="518" y="211"/>
                    <a:pt x="518" y="211"/>
                  </a:cubicBezTo>
                  <a:cubicBezTo>
                    <a:pt x="516" y="222"/>
                    <a:pt x="516" y="222"/>
                    <a:pt x="516" y="222"/>
                  </a:cubicBezTo>
                  <a:cubicBezTo>
                    <a:pt x="509" y="222"/>
                    <a:pt x="509" y="222"/>
                    <a:pt x="509" y="222"/>
                  </a:cubicBezTo>
                  <a:cubicBezTo>
                    <a:pt x="502" y="221"/>
                    <a:pt x="502" y="221"/>
                    <a:pt x="502" y="221"/>
                  </a:cubicBezTo>
                  <a:cubicBezTo>
                    <a:pt x="501" y="229"/>
                    <a:pt x="501" y="229"/>
                    <a:pt x="501" y="229"/>
                  </a:cubicBezTo>
                  <a:cubicBezTo>
                    <a:pt x="494" y="234"/>
                    <a:pt x="494" y="234"/>
                    <a:pt x="494" y="234"/>
                  </a:cubicBezTo>
                  <a:cubicBezTo>
                    <a:pt x="488" y="239"/>
                    <a:pt x="488" y="239"/>
                    <a:pt x="488" y="239"/>
                  </a:cubicBezTo>
                  <a:cubicBezTo>
                    <a:pt x="501" y="245"/>
                    <a:pt x="501" y="245"/>
                    <a:pt x="501" y="245"/>
                  </a:cubicBezTo>
                  <a:cubicBezTo>
                    <a:pt x="497" y="251"/>
                    <a:pt x="497" y="251"/>
                    <a:pt x="497" y="251"/>
                  </a:cubicBezTo>
                  <a:cubicBezTo>
                    <a:pt x="494" y="252"/>
                    <a:pt x="494" y="252"/>
                    <a:pt x="494" y="252"/>
                  </a:cubicBezTo>
                  <a:cubicBezTo>
                    <a:pt x="486" y="256"/>
                    <a:pt x="486" y="256"/>
                    <a:pt x="486" y="256"/>
                  </a:cubicBezTo>
                  <a:cubicBezTo>
                    <a:pt x="479" y="263"/>
                    <a:pt x="479" y="263"/>
                    <a:pt x="479" y="263"/>
                  </a:cubicBezTo>
                  <a:cubicBezTo>
                    <a:pt x="483" y="269"/>
                    <a:pt x="483" y="269"/>
                    <a:pt x="483" y="269"/>
                  </a:cubicBezTo>
                  <a:cubicBezTo>
                    <a:pt x="484" y="277"/>
                    <a:pt x="484" y="277"/>
                    <a:pt x="484" y="277"/>
                  </a:cubicBezTo>
                  <a:cubicBezTo>
                    <a:pt x="489" y="288"/>
                    <a:pt x="489" y="288"/>
                    <a:pt x="489" y="288"/>
                  </a:cubicBezTo>
                  <a:cubicBezTo>
                    <a:pt x="500" y="300"/>
                    <a:pt x="500" y="300"/>
                    <a:pt x="500" y="300"/>
                  </a:cubicBezTo>
                  <a:cubicBezTo>
                    <a:pt x="509" y="307"/>
                    <a:pt x="509" y="307"/>
                    <a:pt x="509" y="307"/>
                  </a:cubicBezTo>
                  <a:cubicBezTo>
                    <a:pt x="511" y="318"/>
                    <a:pt x="511" y="318"/>
                    <a:pt x="511" y="318"/>
                  </a:cubicBezTo>
                  <a:cubicBezTo>
                    <a:pt x="509" y="318"/>
                    <a:pt x="509" y="318"/>
                    <a:pt x="509" y="318"/>
                  </a:cubicBezTo>
                  <a:cubicBezTo>
                    <a:pt x="512" y="336"/>
                    <a:pt x="512" y="336"/>
                    <a:pt x="512" y="336"/>
                  </a:cubicBezTo>
                  <a:cubicBezTo>
                    <a:pt x="504" y="332"/>
                    <a:pt x="504" y="332"/>
                    <a:pt x="504" y="332"/>
                  </a:cubicBezTo>
                  <a:cubicBezTo>
                    <a:pt x="499" y="333"/>
                    <a:pt x="499" y="333"/>
                    <a:pt x="499" y="333"/>
                  </a:cubicBezTo>
                  <a:cubicBezTo>
                    <a:pt x="492" y="341"/>
                    <a:pt x="492" y="341"/>
                    <a:pt x="492" y="341"/>
                  </a:cubicBezTo>
                  <a:cubicBezTo>
                    <a:pt x="484" y="348"/>
                    <a:pt x="484" y="348"/>
                    <a:pt x="484" y="348"/>
                  </a:cubicBezTo>
                  <a:cubicBezTo>
                    <a:pt x="478" y="350"/>
                    <a:pt x="478" y="350"/>
                    <a:pt x="478" y="350"/>
                  </a:cubicBezTo>
                  <a:cubicBezTo>
                    <a:pt x="467" y="345"/>
                    <a:pt x="467" y="345"/>
                    <a:pt x="467" y="345"/>
                  </a:cubicBezTo>
                  <a:cubicBezTo>
                    <a:pt x="459" y="345"/>
                    <a:pt x="459" y="345"/>
                    <a:pt x="459" y="345"/>
                  </a:cubicBezTo>
                  <a:cubicBezTo>
                    <a:pt x="457" y="353"/>
                    <a:pt x="457" y="353"/>
                    <a:pt x="457" y="353"/>
                  </a:cubicBezTo>
                  <a:cubicBezTo>
                    <a:pt x="462" y="358"/>
                    <a:pt x="462" y="358"/>
                    <a:pt x="462" y="358"/>
                  </a:cubicBezTo>
                  <a:cubicBezTo>
                    <a:pt x="465" y="366"/>
                    <a:pt x="465" y="366"/>
                    <a:pt x="465" y="366"/>
                  </a:cubicBezTo>
                  <a:cubicBezTo>
                    <a:pt x="467" y="384"/>
                    <a:pt x="467" y="384"/>
                    <a:pt x="467" y="384"/>
                  </a:cubicBezTo>
                  <a:cubicBezTo>
                    <a:pt x="460" y="391"/>
                    <a:pt x="460" y="391"/>
                    <a:pt x="460" y="391"/>
                  </a:cubicBezTo>
                  <a:cubicBezTo>
                    <a:pt x="463" y="397"/>
                    <a:pt x="463" y="397"/>
                    <a:pt x="463" y="397"/>
                  </a:cubicBezTo>
                  <a:cubicBezTo>
                    <a:pt x="463" y="411"/>
                    <a:pt x="463" y="411"/>
                    <a:pt x="463" y="411"/>
                  </a:cubicBezTo>
                  <a:cubicBezTo>
                    <a:pt x="473" y="414"/>
                    <a:pt x="473" y="414"/>
                    <a:pt x="473" y="414"/>
                  </a:cubicBezTo>
                  <a:cubicBezTo>
                    <a:pt x="479" y="423"/>
                    <a:pt x="479" y="423"/>
                    <a:pt x="479" y="423"/>
                  </a:cubicBezTo>
                  <a:cubicBezTo>
                    <a:pt x="486" y="432"/>
                    <a:pt x="486" y="432"/>
                    <a:pt x="486" y="432"/>
                  </a:cubicBezTo>
                  <a:cubicBezTo>
                    <a:pt x="486" y="436"/>
                    <a:pt x="486" y="436"/>
                    <a:pt x="486" y="436"/>
                  </a:cubicBezTo>
                  <a:cubicBezTo>
                    <a:pt x="478" y="438"/>
                    <a:pt x="478" y="438"/>
                    <a:pt x="478" y="43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69" y="461"/>
                    <a:pt x="469" y="461"/>
                    <a:pt x="469" y="461"/>
                  </a:cubicBezTo>
                  <a:cubicBezTo>
                    <a:pt x="462" y="461"/>
                    <a:pt x="462" y="461"/>
                    <a:pt x="462" y="461"/>
                  </a:cubicBezTo>
                  <a:cubicBezTo>
                    <a:pt x="461" y="467"/>
                    <a:pt x="461" y="467"/>
                    <a:pt x="461" y="467"/>
                  </a:cubicBezTo>
                  <a:cubicBezTo>
                    <a:pt x="464" y="472"/>
                    <a:pt x="464" y="472"/>
                    <a:pt x="464" y="472"/>
                  </a:cubicBezTo>
                  <a:cubicBezTo>
                    <a:pt x="461" y="479"/>
                    <a:pt x="461" y="479"/>
                    <a:pt x="461" y="479"/>
                  </a:cubicBezTo>
                  <a:cubicBezTo>
                    <a:pt x="452" y="483"/>
                    <a:pt x="452" y="483"/>
                    <a:pt x="452" y="483"/>
                  </a:cubicBezTo>
                  <a:cubicBezTo>
                    <a:pt x="445" y="483"/>
                    <a:pt x="445" y="483"/>
                    <a:pt x="445" y="483"/>
                  </a:cubicBezTo>
                  <a:cubicBezTo>
                    <a:pt x="437" y="489"/>
                    <a:pt x="437" y="489"/>
                    <a:pt x="437" y="489"/>
                  </a:cubicBezTo>
                  <a:cubicBezTo>
                    <a:pt x="436" y="498"/>
                    <a:pt x="436" y="498"/>
                    <a:pt x="436" y="498"/>
                  </a:cubicBezTo>
                  <a:cubicBezTo>
                    <a:pt x="439" y="500"/>
                    <a:pt x="439" y="500"/>
                    <a:pt x="439" y="500"/>
                  </a:cubicBezTo>
                  <a:cubicBezTo>
                    <a:pt x="435" y="505"/>
                    <a:pt x="435" y="505"/>
                    <a:pt x="435" y="505"/>
                  </a:cubicBezTo>
                  <a:cubicBezTo>
                    <a:pt x="440" y="510"/>
                    <a:pt x="440" y="510"/>
                    <a:pt x="440" y="510"/>
                  </a:cubicBezTo>
                  <a:cubicBezTo>
                    <a:pt x="436" y="515"/>
                    <a:pt x="436" y="515"/>
                    <a:pt x="436" y="515"/>
                  </a:cubicBezTo>
                  <a:cubicBezTo>
                    <a:pt x="441" y="522"/>
                    <a:pt x="441" y="522"/>
                    <a:pt x="441" y="522"/>
                  </a:cubicBezTo>
                  <a:cubicBezTo>
                    <a:pt x="441" y="530"/>
                    <a:pt x="441" y="530"/>
                    <a:pt x="441" y="530"/>
                  </a:cubicBezTo>
                  <a:cubicBezTo>
                    <a:pt x="435" y="530"/>
                    <a:pt x="435" y="530"/>
                    <a:pt x="435" y="530"/>
                  </a:cubicBezTo>
                  <a:cubicBezTo>
                    <a:pt x="442" y="537"/>
                    <a:pt x="442" y="537"/>
                    <a:pt x="442" y="537"/>
                  </a:cubicBezTo>
                  <a:cubicBezTo>
                    <a:pt x="448" y="538"/>
                    <a:pt x="448" y="538"/>
                    <a:pt x="448" y="538"/>
                  </a:cubicBezTo>
                  <a:cubicBezTo>
                    <a:pt x="445" y="547"/>
                    <a:pt x="445" y="547"/>
                    <a:pt x="445" y="547"/>
                  </a:cubicBezTo>
                  <a:cubicBezTo>
                    <a:pt x="448" y="552"/>
                    <a:pt x="448" y="552"/>
                    <a:pt x="448" y="552"/>
                  </a:cubicBezTo>
                  <a:cubicBezTo>
                    <a:pt x="442" y="557"/>
                    <a:pt x="442" y="557"/>
                    <a:pt x="442" y="557"/>
                  </a:cubicBezTo>
                  <a:cubicBezTo>
                    <a:pt x="443" y="562"/>
                    <a:pt x="443" y="562"/>
                    <a:pt x="443" y="562"/>
                  </a:cubicBezTo>
                  <a:cubicBezTo>
                    <a:pt x="453" y="560"/>
                    <a:pt x="453" y="560"/>
                    <a:pt x="453" y="560"/>
                  </a:cubicBezTo>
                  <a:cubicBezTo>
                    <a:pt x="462" y="563"/>
                    <a:pt x="462" y="563"/>
                    <a:pt x="462" y="563"/>
                  </a:cubicBezTo>
                  <a:cubicBezTo>
                    <a:pt x="462" y="572"/>
                    <a:pt x="462" y="572"/>
                    <a:pt x="462" y="572"/>
                  </a:cubicBezTo>
                  <a:cubicBezTo>
                    <a:pt x="456" y="578"/>
                    <a:pt x="456" y="578"/>
                    <a:pt x="456" y="578"/>
                  </a:cubicBezTo>
                  <a:cubicBezTo>
                    <a:pt x="461" y="582"/>
                    <a:pt x="461" y="582"/>
                    <a:pt x="461" y="582"/>
                  </a:cubicBezTo>
                  <a:cubicBezTo>
                    <a:pt x="460" y="591"/>
                    <a:pt x="460" y="591"/>
                    <a:pt x="460" y="591"/>
                  </a:cubicBezTo>
                  <a:cubicBezTo>
                    <a:pt x="464" y="598"/>
                    <a:pt x="464" y="598"/>
                    <a:pt x="464" y="598"/>
                  </a:cubicBezTo>
                  <a:cubicBezTo>
                    <a:pt x="468" y="597"/>
                    <a:pt x="468" y="597"/>
                    <a:pt x="468" y="597"/>
                  </a:cubicBezTo>
                  <a:cubicBezTo>
                    <a:pt x="462" y="598"/>
                    <a:pt x="462" y="598"/>
                    <a:pt x="462" y="598"/>
                  </a:cubicBezTo>
                  <a:cubicBezTo>
                    <a:pt x="442" y="613"/>
                    <a:pt x="442" y="613"/>
                    <a:pt x="442" y="613"/>
                  </a:cubicBezTo>
                  <a:cubicBezTo>
                    <a:pt x="443" y="618"/>
                    <a:pt x="443" y="618"/>
                    <a:pt x="443" y="618"/>
                  </a:cubicBezTo>
                  <a:cubicBezTo>
                    <a:pt x="435" y="623"/>
                    <a:pt x="435" y="623"/>
                    <a:pt x="435" y="623"/>
                  </a:cubicBezTo>
                  <a:cubicBezTo>
                    <a:pt x="427" y="623"/>
                    <a:pt x="427" y="623"/>
                    <a:pt x="427" y="623"/>
                  </a:cubicBezTo>
                  <a:cubicBezTo>
                    <a:pt x="422" y="625"/>
                    <a:pt x="422" y="625"/>
                    <a:pt x="422" y="625"/>
                  </a:cubicBezTo>
                  <a:cubicBezTo>
                    <a:pt x="421" y="630"/>
                    <a:pt x="421" y="630"/>
                    <a:pt x="421" y="630"/>
                  </a:cubicBezTo>
                  <a:cubicBezTo>
                    <a:pt x="411" y="628"/>
                    <a:pt x="411" y="628"/>
                    <a:pt x="411" y="628"/>
                  </a:cubicBezTo>
                  <a:cubicBezTo>
                    <a:pt x="399" y="642"/>
                    <a:pt x="399" y="642"/>
                    <a:pt x="399" y="642"/>
                  </a:cubicBezTo>
                  <a:cubicBezTo>
                    <a:pt x="393" y="638"/>
                    <a:pt x="393" y="638"/>
                    <a:pt x="393" y="638"/>
                  </a:cubicBezTo>
                  <a:cubicBezTo>
                    <a:pt x="389" y="642"/>
                    <a:pt x="389" y="642"/>
                    <a:pt x="389" y="642"/>
                  </a:cubicBezTo>
                  <a:cubicBezTo>
                    <a:pt x="385" y="639"/>
                    <a:pt x="385" y="639"/>
                    <a:pt x="385" y="639"/>
                  </a:cubicBezTo>
                  <a:cubicBezTo>
                    <a:pt x="382" y="643"/>
                    <a:pt x="382" y="643"/>
                    <a:pt x="382" y="643"/>
                  </a:cubicBezTo>
                  <a:cubicBezTo>
                    <a:pt x="372" y="648"/>
                    <a:pt x="372" y="648"/>
                    <a:pt x="372" y="648"/>
                  </a:cubicBezTo>
                  <a:cubicBezTo>
                    <a:pt x="361" y="639"/>
                    <a:pt x="361" y="639"/>
                    <a:pt x="361" y="639"/>
                  </a:cubicBezTo>
                  <a:cubicBezTo>
                    <a:pt x="353" y="638"/>
                    <a:pt x="353" y="638"/>
                    <a:pt x="353" y="638"/>
                  </a:cubicBezTo>
                  <a:cubicBezTo>
                    <a:pt x="350" y="643"/>
                    <a:pt x="350" y="643"/>
                    <a:pt x="350" y="643"/>
                  </a:cubicBezTo>
                  <a:cubicBezTo>
                    <a:pt x="339" y="639"/>
                    <a:pt x="339" y="639"/>
                    <a:pt x="339" y="639"/>
                  </a:cubicBezTo>
                  <a:cubicBezTo>
                    <a:pt x="334" y="645"/>
                    <a:pt x="334" y="645"/>
                    <a:pt x="334" y="645"/>
                  </a:cubicBezTo>
                  <a:cubicBezTo>
                    <a:pt x="325" y="641"/>
                    <a:pt x="325" y="641"/>
                    <a:pt x="325" y="641"/>
                  </a:cubicBezTo>
                  <a:cubicBezTo>
                    <a:pt x="319" y="644"/>
                    <a:pt x="319" y="644"/>
                    <a:pt x="319" y="644"/>
                  </a:cubicBezTo>
                  <a:cubicBezTo>
                    <a:pt x="312" y="638"/>
                    <a:pt x="312" y="638"/>
                    <a:pt x="312" y="638"/>
                  </a:cubicBezTo>
                  <a:cubicBezTo>
                    <a:pt x="309" y="643"/>
                    <a:pt x="309" y="643"/>
                    <a:pt x="309" y="643"/>
                  </a:cubicBezTo>
                  <a:cubicBezTo>
                    <a:pt x="301" y="643"/>
                    <a:pt x="301" y="643"/>
                    <a:pt x="301" y="643"/>
                  </a:cubicBezTo>
                  <a:cubicBezTo>
                    <a:pt x="290" y="654"/>
                    <a:pt x="290" y="654"/>
                    <a:pt x="290" y="654"/>
                  </a:cubicBezTo>
                  <a:cubicBezTo>
                    <a:pt x="287" y="653"/>
                    <a:pt x="287" y="653"/>
                    <a:pt x="287" y="653"/>
                  </a:cubicBezTo>
                  <a:cubicBezTo>
                    <a:pt x="286" y="647"/>
                    <a:pt x="286" y="647"/>
                    <a:pt x="286" y="647"/>
                  </a:cubicBezTo>
                  <a:cubicBezTo>
                    <a:pt x="281" y="643"/>
                    <a:pt x="281" y="643"/>
                    <a:pt x="281" y="643"/>
                  </a:cubicBezTo>
                  <a:cubicBezTo>
                    <a:pt x="275" y="637"/>
                    <a:pt x="275" y="637"/>
                    <a:pt x="275" y="637"/>
                  </a:cubicBezTo>
                  <a:cubicBezTo>
                    <a:pt x="269" y="636"/>
                    <a:pt x="269" y="636"/>
                    <a:pt x="269" y="636"/>
                  </a:cubicBezTo>
                  <a:cubicBezTo>
                    <a:pt x="267" y="628"/>
                    <a:pt x="267" y="628"/>
                    <a:pt x="267" y="628"/>
                  </a:cubicBezTo>
                  <a:cubicBezTo>
                    <a:pt x="264" y="625"/>
                    <a:pt x="264" y="625"/>
                    <a:pt x="264" y="625"/>
                  </a:cubicBezTo>
                  <a:cubicBezTo>
                    <a:pt x="265" y="619"/>
                    <a:pt x="265" y="619"/>
                    <a:pt x="265" y="619"/>
                  </a:cubicBezTo>
                  <a:cubicBezTo>
                    <a:pt x="253" y="606"/>
                    <a:pt x="253" y="606"/>
                    <a:pt x="253" y="606"/>
                  </a:cubicBezTo>
                  <a:cubicBezTo>
                    <a:pt x="252" y="603"/>
                    <a:pt x="252" y="603"/>
                    <a:pt x="252" y="603"/>
                  </a:cubicBezTo>
                  <a:cubicBezTo>
                    <a:pt x="248" y="603"/>
                    <a:pt x="248" y="603"/>
                    <a:pt x="248" y="603"/>
                  </a:cubicBezTo>
                  <a:cubicBezTo>
                    <a:pt x="248" y="597"/>
                    <a:pt x="248" y="597"/>
                    <a:pt x="248" y="597"/>
                  </a:cubicBezTo>
                  <a:cubicBezTo>
                    <a:pt x="238" y="587"/>
                    <a:pt x="238" y="587"/>
                    <a:pt x="238" y="587"/>
                  </a:cubicBezTo>
                  <a:cubicBezTo>
                    <a:pt x="234" y="591"/>
                    <a:pt x="234" y="591"/>
                    <a:pt x="234" y="591"/>
                  </a:cubicBezTo>
                  <a:cubicBezTo>
                    <a:pt x="231" y="595"/>
                    <a:pt x="231" y="595"/>
                    <a:pt x="231" y="595"/>
                  </a:cubicBezTo>
                  <a:cubicBezTo>
                    <a:pt x="225" y="598"/>
                    <a:pt x="225" y="598"/>
                    <a:pt x="225" y="598"/>
                  </a:cubicBezTo>
                  <a:cubicBezTo>
                    <a:pt x="220" y="592"/>
                    <a:pt x="220" y="592"/>
                    <a:pt x="220" y="592"/>
                  </a:cubicBezTo>
                  <a:cubicBezTo>
                    <a:pt x="219" y="586"/>
                    <a:pt x="219" y="586"/>
                    <a:pt x="219" y="586"/>
                  </a:cubicBezTo>
                  <a:cubicBezTo>
                    <a:pt x="211" y="583"/>
                    <a:pt x="211" y="583"/>
                    <a:pt x="211" y="583"/>
                  </a:cubicBezTo>
                  <a:cubicBezTo>
                    <a:pt x="211" y="583"/>
                    <a:pt x="204" y="580"/>
                    <a:pt x="204" y="580"/>
                  </a:cubicBezTo>
                  <a:cubicBezTo>
                    <a:pt x="203" y="580"/>
                    <a:pt x="189" y="580"/>
                    <a:pt x="189" y="580"/>
                  </a:cubicBezTo>
                  <a:cubicBezTo>
                    <a:pt x="184" y="586"/>
                    <a:pt x="184" y="586"/>
                    <a:pt x="184" y="586"/>
                  </a:cubicBezTo>
                  <a:cubicBezTo>
                    <a:pt x="182" y="592"/>
                    <a:pt x="182" y="592"/>
                    <a:pt x="182" y="592"/>
                  </a:cubicBezTo>
                  <a:cubicBezTo>
                    <a:pt x="178" y="595"/>
                    <a:pt x="178" y="595"/>
                    <a:pt x="178" y="595"/>
                  </a:cubicBezTo>
                  <a:cubicBezTo>
                    <a:pt x="183" y="602"/>
                    <a:pt x="183" y="602"/>
                    <a:pt x="183" y="602"/>
                  </a:cubicBezTo>
                  <a:cubicBezTo>
                    <a:pt x="177" y="608"/>
                    <a:pt x="177" y="608"/>
                    <a:pt x="177" y="608"/>
                  </a:cubicBezTo>
                  <a:cubicBezTo>
                    <a:pt x="172" y="616"/>
                    <a:pt x="172" y="616"/>
                    <a:pt x="172" y="616"/>
                  </a:cubicBezTo>
                  <a:cubicBezTo>
                    <a:pt x="173" y="628"/>
                    <a:pt x="173" y="628"/>
                    <a:pt x="173" y="628"/>
                  </a:cubicBezTo>
                  <a:cubicBezTo>
                    <a:pt x="164" y="633"/>
                    <a:pt x="164" y="633"/>
                    <a:pt x="164" y="633"/>
                  </a:cubicBezTo>
                  <a:cubicBezTo>
                    <a:pt x="164" y="641"/>
                    <a:pt x="164" y="641"/>
                    <a:pt x="164" y="641"/>
                  </a:cubicBezTo>
                  <a:cubicBezTo>
                    <a:pt x="160" y="637"/>
                    <a:pt x="160" y="637"/>
                    <a:pt x="160" y="637"/>
                  </a:cubicBezTo>
                  <a:cubicBezTo>
                    <a:pt x="159" y="630"/>
                    <a:pt x="159" y="630"/>
                    <a:pt x="159" y="630"/>
                  </a:cubicBezTo>
                  <a:cubicBezTo>
                    <a:pt x="156" y="627"/>
                    <a:pt x="156" y="627"/>
                    <a:pt x="156" y="627"/>
                  </a:cubicBezTo>
                  <a:cubicBezTo>
                    <a:pt x="151" y="632"/>
                    <a:pt x="151" y="632"/>
                    <a:pt x="151" y="632"/>
                  </a:cubicBezTo>
                  <a:cubicBezTo>
                    <a:pt x="146" y="634"/>
                    <a:pt x="146" y="634"/>
                    <a:pt x="146" y="634"/>
                  </a:cubicBezTo>
                  <a:cubicBezTo>
                    <a:pt x="136" y="637"/>
                    <a:pt x="136" y="637"/>
                    <a:pt x="136" y="637"/>
                  </a:cubicBezTo>
                  <a:cubicBezTo>
                    <a:pt x="129" y="648"/>
                    <a:pt x="129" y="648"/>
                    <a:pt x="129" y="648"/>
                  </a:cubicBezTo>
                  <a:cubicBezTo>
                    <a:pt x="121" y="649"/>
                    <a:pt x="121" y="649"/>
                    <a:pt x="121" y="649"/>
                  </a:cubicBezTo>
                  <a:cubicBezTo>
                    <a:pt x="112" y="641"/>
                    <a:pt x="112" y="641"/>
                    <a:pt x="112" y="641"/>
                  </a:cubicBezTo>
                  <a:cubicBezTo>
                    <a:pt x="112" y="613"/>
                    <a:pt x="112" y="613"/>
                    <a:pt x="112" y="613"/>
                  </a:cubicBezTo>
                  <a:cubicBezTo>
                    <a:pt x="113" y="601"/>
                    <a:pt x="113" y="601"/>
                    <a:pt x="113" y="601"/>
                  </a:cubicBezTo>
                  <a:cubicBezTo>
                    <a:pt x="114" y="589"/>
                    <a:pt x="114" y="589"/>
                    <a:pt x="114" y="589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3" y="578"/>
                    <a:pt x="103" y="578"/>
                    <a:pt x="103" y="578"/>
                  </a:cubicBezTo>
                  <a:cubicBezTo>
                    <a:pt x="100" y="573"/>
                    <a:pt x="100" y="573"/>
                    <a:pt x="100" y="573"/>
                  </a:cubicBezTo>
                  <a:cubicBezTo>
                    <a:pt x="97" y="571"/>
                    <a:pt x="97" y="571"/>
                    <a:pt x="97" y="571"/>
                  </a:cubicBezTo>
                  <a:cubicBezTo>
                    <a:pt x="97" y="566"/>
                    <a:pt x="97" y="566"/>
                    <a:pt x="97" y="566"/>
                  </a:cubicBezTo>
                  <a:cubicBezTo>
                    <a:pt x="100" y="563"/>
                    <a:pt x="100" y="563"/>
                    <a:pt x="100" y="563"/>
                  </a:cubicBezTo>
                  <a:cubicBezTo>
                    <a:pt x="100" y="557"/>
                    <a:pt x="100" y="557"/>
                    <a:pt x="100" y="557"/>
                  </a:cubicBezTo>
                  <a:cubicBezTo>
                    <a:pt x="95" y="554"/>
                    <a:pt x="95" y="554"/>
                    <a:pt x="95" y="554"/>
                  </a:cubicBezTo>
                  <a:cubicBezTo>
                    <a:pt x="86" y="551"/>
                    <a:pt x="86" y="551"/>
                    <a:pt x="86" y="551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85" y="538"/>
                    <a:pt x="85" y="538"/>
                    <a:pt x="85" y="538"/>
                  </a:cubicBezTo>
                  <a:cubicBezTo>
                    <a:pt x="81" y="530"/>
                    <a:pt x="81" y="530"/>
                    <a:pt x="81" y="530"/>
                  </a:cubicBezTo>
                  <a:cubicBezTo>
                    <a:pt x="76" y="524"/>
                    <a:pt x="76" y="524"/>
                    <a:pt x="76" y="524"/>
                  </a:cubicBezTo>
                  <a:cubicBezTo>
                    <a:pt x="66" y="526"/>
                    <a:pt x="66" y="526"/>
                    <a:pt x="66" y="526"/>
                  </a:cubicBezTo>
                  <a:cubicBezTo>
                    <a:pt x="63" y="520"/>
                    <a:pt x="63" y="520"/>
                    <a:pt x="63" y="520"/>
                  </a:cubicBezTo>
                  <a:cubicBezTo>
                    <a:pt x="70" y="516"/>
                    <a:pt x="70" y="516"/>
                    <a:pt x="70" y="516"/>
                  </a:cubicBezTo>
                  <a:cubicBezTo>
                    <a:pt x="65" y="510"/>
                    <a:pt x="65" y="510"/>
                    <a:pt x="65" y="510"/>
                  </a:cubicBezTo>
                  <a:cubicBezTo>
                    <a:pt x="64" y="504"/>
                    <a:pt x="64" y="504"/>
                    <a:pt x="64" y="504"/>
                  </a:cubicBezTo>
                  <a:cubicBezTo>
                    <a:pt x="60" y="504"/>
                    <a:pt x="60" y="504"/>
                    <a:pt x="60" y="504"/>
                  </a:cubicBezTo>
                  <a:cubicBezTo>
                    <a:pt x="56" y="507"/>
                    <a:pt x="56" y="507"/>
                    <a:pt x="56" y="507"/>
                  </a:cubicBezTo>
                  <a:cubicBezTo>
                    <a:pt x="50" y="505"/>
                    <a:pt x="50" y="505"/>
                    <a:pt x="50" y="505"/>
                  </a:cubicBezTo>
                  <a:cubicBezTo>
                    <a:pt x="45" y="508"/>
                    <a:pt x="45" y="508"/>
                    <a:pt x="45" y="508"/>
                  </a:cubicBezTo>
                  <a:cubicBezTo>
                    <a:pt x="41" y="505"/>
                    <a:pt x="41" y="505"/>
                    <a:pt x="41" y="505"/>
                  </a:cubicBezTo>
                  <a:cubicBezTo>
                    <a:pt x="34" y="508"/>
                    <a:pt x="34" y="508"/>
                    <a:pt x="34" y="508"/>
                  </a:cubicBezTo>
                  <a:cubicBezTo>
                    <a:pt x="27" y="507"/>
                    <a:pt x="27" y="507"/>
                    <a:pt x="27" y="507"/>
                  </a:cubicBezTo>
                  <a:cubicBezTo>
                    <a:pt x="27" y="498"/>
                    <a:pt x="27" y="498"/>
                    <a:pt x="27" y="498"/>
                  </a:cubicBezTo>
                  <a:cubicBezTo>
                    <a:pt x="28" y="496"/>
                    <a:pt x="28" y="496"/>
                    <a:pt x="28" y="496"/>
                  </a:cubicBezTo>
                  <a:cubicBezTo>
                    <a:pt x="28" y="489"/>
                    <a:pt x="28" y="489"/>
                    <a:pt x="28" y="489"/>
                  </a:cubicBezTo>
                  <a:cubicBezTo>
                    <a:pt x="32" y="475"/>
                    <a:pt x="32" y="475"/>
                    <a:pt x="32" y="475"/>
                  </a:cubicBezTo>
                  <a:cubicBezTo>
                    <a:pt x="25" y="467"/>
                    <a:pt x="25" y="467"/>
                    <a:pt x="25" y="467"/>
                  </a:cubicBezTo>
                  <a:cubicBezTo>
                    <a:pt x="24" y="458"/>
                    <a:pt x="24" y="458"/>
                    <a:pt x="24" y="458"/>
                  </a:cubicBezTo>
                  <a:cubicBezTo>
                    <a:pt x="18" y="454"/>
                    <a:pt x="18" y="454"/>
                    <a:pt x="18" y="454"/>
                  </a:cubicBezTo>
                  <a:cubicBezTo>
                    <a:pt x="17" y="449"/>
                    <a:pt x="17" y="449"/>
                    <a:pt x="17" y="449"/>
                  </a:cubicBezTo>
                  <a:cubicBezTo>
                    <a:pt x="20" y="446"/>
                    <a:pt x="20" y="446"/>
                    <a:pt x="20" y="446"/>
                  </a:cubicBezTo>
                  <a:cubicBezTo>
                    <a:pt x="17" y="442"/>
                    <a:pt x="17" y="442"/>
                    <a:pt x="17" y="442"/>
                  </a:cubicBezTo>
                  <a:cubicBezTo>
                    <a:pt x="17" y="437"/>
                    <a:pt x="17" y="437"/>
                    <a:pt x="17" y="437"/>
                  </a:cubicBezTo>
                  <a:cubicBezTo>
                    <a:pt x="8" y="437"/>
                    <a:pt x="8" y="437"/>
                    <a:pt x="8" y="437"/>
                  </a:cubicBezTo>
                  <a:cubicBezTo>
                    <a:pt x="7" y="433"/>
                    <a:pt x="7" y="433"/>
                    <a:pt x="7" y="433"/>
                  </a:cubicBezTo>
                  <a:cubicBezTo>
                    <a:pt x="14" y="426"/>
                    <a:pt x="14" y="426"/>
                    <a:pt x="14" y="426"/>
                  </a:cubicBezTo>
                  <a:cubicBezTo>
                    <a:pt x="19" y="424"/>
                    <a:pt x="19" y="424"/>
                    <a:pt x="19" y="424"/>
                  </a:cubicBezTo>
                  <a:cubicBezTo>
                    <a:pt x="15" y="395"/>
                    <a:pt x="15" y="395"/>
                    <a:pt x="15" y="395"/>
                  </a:cubicBezTo>
                  <a:cubicBezTo>
                    <a:pt x="11" y="385"/>
                    <a:pt x="11" y="385"/>
                    <a:pt x="11" y="38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62"/>
                    <a:pt x="0" y="362"/>
                    <a:pt x="0" y="362"/>
                  </a:cubicBezTo>
                  <a:cubicBezTo>
                    <a:pt x="1" y="356"/>
                    <a:pt x="1" y="356"/>
                    <a:pt x="1" y="356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14" y="342"/>
                    <a:pt x="14" y="342"/>
                    <a:pt x="14" y="342"/>
                  </a:cubicBezTo>
                  <a:cubicBezTo>
                    <a:pt x="21" y="344"/>
                    <a:pt x="21" y="344"/>
                    <a:pt x="21" y="344"/>
                  </a:cubicBezTo>
                  <a:cubicBezTo>
                    <a:pt x="26" y="344"/>
                    <a:pt x="26" y="344"/>
                    <a:pt x="26" y="344"/>
                  </a:cubicBezTo>
                  <a:cubicBezTo>
                    <a:pt x="29" y="335"/>
                    <a:pt x="29" y="335"/>
                    <a:pt x="29" y="335"/>
                  </a:cubicBezTo>
                  <a:cubicBezTo>
                    <a:pt x="25" y="330"/>
                    <a:pt x="25" y="330"/>
                    <a:pt x="25" y="330"/>
                  </a:cubicBezTo>
                  <a:cubicBezTo>
                    <a:pt x="27" y="322"/>
                    <a:pt x="27" y="322"/>
                    <a:pt x="27" y="322"/>
                  </a:cubicBezTo>
                  <a:cubicBezTo>
                    <a:pt x="31" y="322"/>
                    <a:pt x="31" y="322"/>
                    <a:pt x="31" y="322"/>
                  </a:cubicBezTo>
                  <a:cubicBezTo>
                    <a:pt x="31" y="311"/>
                    <a:pt x="31" y="311"/>
                    <a:pt x="31" y="311"/>
                  </a:cubicBezTo>
                  <a:cubicBezTo>
                    <a:pt x="42" y="300"/>
                    <a:pt x="42" y="300"/>
                    <a:pt x="42" y="300"/>
                  </a:cubicBezTo>
                  <a:cubicBezTo>
                    <a:pt x="43" y="295"/>
                    <a:pt x="43" y="295"/>
                    <a:pt x="43" y="295"/>
                  </a:cubicBezTo>
                  <a:cubicBezTo>
                    <a:pt x="46" y="295"/>
                    <a:pt x="46" y="295"/>
                    <a:pt x="46" y="295"/>
                  </a:cubicBezTo>
                  <a:cubicBezTo>
                    <a:pt x="47" y="286"/>
                    <a:pt x="47" y="286"/>
                    <a:pt x="47" y="286"/>
                  </a:cubicBezTo>
                  <a:cubicBezTo>
                    <a:pt x="40" y="288"/>
                    <a:pt x="40" y="288"/>
                    <a:pt x="40" y="288"/>
                  </a:cubicBezTo>
                  <a:cubicBezTo>
                    <a:pt x="37" y="280"/>
                    <a:pt x="37" y="280"/>
                    <a:pt x="37" y="280"/>
                  </a:cubicBezTo>
                  <a:cubicBezTo>
                    <a:pt x="35" y="270"/>
                    <a:pt x="35" y="270"/>
                    <a:pt x="35" y="270"/>
                  </a:cubicBezTo>
                  <a:cubicBezTo>
                    <a:pt x="24" y="260"/>
                    <a:pt x="24" y="260"/>
                    <a:pt x="24" y="260"/>
                  </a:cubicBezTo>
                  <a:cubicBezTo>
                    <a:pt x="23" y="256"/>
                    <a:pt x="23" y="256"/>
                    <a:pt x="23" y="256"/>
                  </a:cubicBezTo>
                  <a:cubicBezTo>
                    <a:pt x="16" y="255"/>
                    <a:pt x="16" y="255"/>
                    <a:pt x="16" y="255"/>
                  </a:cubicBezTo>
                  <a:cubicBezTo>
                    <a:pt x="13" y="249"/>
                    <a:pt x="13" y="249"/>
                    <a:pt x="13" y="249"/>
                  </a:cubicBezTo>
                  <a:cubicBezTo>
                    <a:pt x="14" y="240"/>
                    <a:pt x="14" y="240"/>
                    <a:pt x="14" y="240"/>
                  </a:cubicBezTo>
                  <a:cubicBezTo>
                    <a:pt x="7" y="231"/>
                    <a:pt x="7" y="231"/>
                    <a:pt x="7" y="231"/>
                  </a:cubicBezTo>
                  <a:cubicBezTo>
                    <a:pt x="11" y="224"/>
                    <a:pt x="11" y="224"/>
                    <a:pt x="11" y="224"/>
                  </a:cubicBezTo>
                  <a:cubicBezTo>
                    <a:pt x="6" y="215"/>
                    <a:pt x="6" y="215"/>
                    <a:pt x="6" y="215"/>
                  </a:cubicBezTo>
                  <a:cubicBezTo>
                    <a:pt x="4" y="211"/>
                    <a:pt x="4" y="211"/>
                    <a:pt x="4" y="211"/>
                  </a:cubicBezTo>
                  <a:close/>
                  <a:moveTo>
                    <a:pt x="229" y="18"/>
                  </a:moveTo>
                  <a:cubicBezTo>
                    <a:pt x="229" y="18"/>
                    <a:pt x="230" y="22"/>
                    <a:pt x="234" y="26"/>
                  </a:cubicBezTo>
                  <a:cubicBezTo>
                    <a:pt x="238" y="30"/>
                    <a:pt x="242" y="26"/>
                    <a:pt x="245" y="26"/>
                  </a:cubicBezTo>
                  <a:cubicBezTo>
                    <a:pt x="248" y="27"/>
                    <a:pt x="252" y="25"/>
                    <a:pt x="256" y="23"/>
                  </a:cubicBezTo>
                  <a:cubicBezTo>
                    <a:pt x="259" y="22"/>
                    <a:pt x="263" y="17"/>
                    <a:pt x="265" y="13"/>
                  </a:cubicBezTo>
                  <a:cubicBezTo>
                    <a:pt x="267" y="9"/>
                    <a:pt x="268" y="7"/>
                    <a:pt x="266" y="3"/>
                  </a:cubicBezTo>
                  <a:cubicBezTo>
                    <a:pt x="263" y="0"/>
                    <a:pt x="260" y="0"/>
                    <a:pt x="259" y="1"/>
                  </a:cubicBezTo>
                  <a:cubicBezTo>
                    <a:pt x="257" y="2"/>
                    <a:pt x="251" y="3"/>
                    <a:pt x="251" y="6"/>
                  </a:cubicBezTo>
                  <a:cubicBezTo>
                    <a:pt x="250" y="9"/>
                    <a:pt x="247" y="10"/>
                    <a:pt x="246" y="9"/>
                  </a:cubicBezTo>
                  <a:cubicBezTo>
                    <a:pt x="244" y="8"/>
                    <a:pt x="241" y="9"/>
                    <a:pt x="239" y="11"/>
                  </a:cubicBezTo>
                  <a:cubicBezTo>
                    <a:pt x="237" y="14"/>
                    <a:pt x="239" y="16"/>
                    <a:pt x="236" y="17"/>
                  </a:cubicBezTo>
                  <a:cubicBezTo>
                    <a:pt x="233" y="17"/>
                    <a:pt x="229" y="18"/>
                    <a:pt x="229" y="18"/>
                  </a:cubicBezTo>
                  <a:close/>
                  <a:moveTo>
                    <a:pt x="217" y="54"/>
                  </a:moveTo>
                  <a:cubicBezTo>
                    <a:pt x="217" y="54"/>
                    <a:pt x="221" y="54"/>
                    <a:pt x="223" y="53"/>
                  </a:cubicBezTo>
                  <a:cubicBezTo>
                    <a:pt x="224" y="53"/>
                    <a:pt x="225" y="49"/>
                    <a:pt x="225" y="48"/>
                  </a:cubicBezTo>
                  <a:cubicBezTo>
                    <a:pt x="224" y="46"/>
                    <a:pt x="220" y="45"/>
                    <a:pt x="222" y="45"/>
                  </a:cubicBezTo>
                  <a:cubicBezTo>
                    <a:pt x="224" y="45"/>
                    <a:pt x="226" y="44"/>
                    <a:pt x="228" y="41"/>
                  </a:cubicBezTo>
                  <a:cubicBezTo>
                    <a:pt x="230" y="38"/>
                    <a:pt x="227" y="36"/>
                    <a:pt x="225" y="32"/>
                  </a:cubicBezTo>
                  <a:cubicBezTo>
                    <a:pt x="223" y="29"/>
                    <a:pt x="221" y="24"/>
                    <a:pt x="217" y="23"/>
                  </a:cubicBezTo>
                  <a:cubicBezTo>
                    <a:pt x="213" y="21"/>
                    <a:pt x="205" y="25"/>
                    <a:pt x="203" y="27"/>
                  </a:cubicBezTo>
                  <a:cubicBezTo>
                    <a:pt x="201" y="29"/>
                    <a:pt x="199" y="32"/>
                    <a:pt x="197" y="31"/>
                  </a:cubicBezTo>
                  <a:cubicBezTo>
                    <a:pt x="195" y="30"/>
                    <a:pt x="189" y="30"/>
                    <a:pt x="188" y="32"/>
                  </a:cubicBezTo>
                  <a:cubicBezTo>
                    <a:pt x="187" y="35"/>
                    <a:pt x="192" y="40"/>
                    <a:pt x="193" y="42"/>
                  </a:cubicBezTo>
                  <a:cubicBezTo>
                    <a:pt x="193" y="43"/>
                    <a:pt x="190" y="46"/>
                    <a:pt x="188" y="44"/>
                  </a:cubicBezTo>
                  <a:cubicBezTo>
                    <a:pt x="186" y="42"/>
                    <a:pt x="183" y="49"/>
                    <a:pt x="179" y="45"/>
                  </a:cubicBezTo>
                  <a:cubicBezTo>
                    <a:pt x="175" y="40"/>
                    <a:pt x="169" y="44"/>
                    <a:pt x="169" y="47"/>
                  </a:cubicBezTo>
                  <a:cubicBezTo>
                    <a:pt x="168" y="50"/>
                    <a:pt x="168" y="62"/>
                    <a:pt x="173" y="67"/>
                  </a:cubicBezTo>
                  <a:cubicBezTo>
                    <a:pt x="178" y="71"/>
                    <a:pt x="177" y="74"/>
                    <a:pt x="180" y="76"/>
                  </a:cubicBezTo>
                  <a:cubicBezTo>
                    <a:pt x="183" y="78"/>
                    <a:pt x="202" y="79"/>
                    <a:pt x="204" y="79"/>
                  </a:cubicBezTo>
                  <a:cubicBezTo>
                    <a:pt x="207" y="78"/>
                    <a:pt x="201" y="72"/>
                    <a:pt x="202" y="68"/>
                  </a:cubicBezTo>
                  <a:cubicBezTo>
                    <a:pt x="202" y="64"/>
                    <a:pt x="206" y="66"/>
                    <a:pt x="208" y="63"/>
                  </a:cubicBezTo>
                  <a:cubicBezTo>
                    <a:pt x="210" y="60"/>
                    <a:pt x="217" y="54"/>
                    <a:pt x="217" y="54"/>
                  </a:cubicBezTo>
                  <a:close/>
                  <a:moveTo>
                    <a:pt x="222" y="79"/>
                  </a:moveTo>
                  <a:cubicBezTo>
                    <a:pt x="221" y="82"/>
                    <a:pt x="220" y="88"/>
                    <a:pt x="224" y="89"/>
                  </a:cubicBezTo>
                  <a:cubicBezTo>
                    <a:pt x="227" y="90"/>
                    <a:pt x="232" y="84"/>
                    <a:pt x="230" y="81"/>
                  </a:cubicBezTo>
                  <a:cubicBezTo>
                    <a:pt x="228" y="77"/>
                    <a:pt x="222" y="79"/>
                    <a:pt x="222" y="79"/>
                  </a:cubicBezTo>
                  <a:close/>
                  <a:moveTo>
                    <a:pt x="234" y="90"/>
                  </a:moveTo>
                  <a:cubicBezTo>
                    <a:pt x="234" y="90"/>
                    <a:pt x="237" y="95"/>
                    <a:pt x="235" y="98"/>
                  </a:cubicBezTo>
                  <a:cubicBezTo>
                    <a:pt x="233" y="100"/>
                    <a:pt x="235" y="107"/>
                    <a:pt x="237" y="103"/>
                  </a:cubicBezTo>
                  <a:cubicBezTo>
                    <a:pt x="239" y="100"/>
                    <a:pt x="244" y="98"/>
                    <a:pt x="246" y="98"/>
                  </a:cubicBezTo>
                  <a:cubicBezTo>
                    <a:pt x="248" y="98"/>
                    <a:pt x="262" y="91"/>
                    <a:pt x="261" y="86"/>
                  </a:cubicBezTo>
                  <a:cubicBezTo>
                    <a:pt x="261" y="82"/>
                    <a:pt x="258" y="81"/>
                    <a:pt x="250" y="80"/>
                  </a:cubicBezTo>
                  <a:cubicBezTo>
                    <a:pt x="243" y="79"/>
                    <a:pt x="239" y="80"/>
                    <a:pt x="236" y="82"/>
                  </a:cubicBezTo>
                  <a:cubicBezTo>
                    <a:pt x="234" y="83"/>
                    <a:pt x="234" y="90"/>
                    <a:pt x="234" y="90"/>
                  </a:cubicBezTo>
                  <a:close/>
                  <a:moveTo>
                    <a:pt x="15" y="190"/>
                  </a:moveTo>
                  <a:cubicBezTo>
                    <a:pt x="11" y="191"/>
                    <a:pt x="8" y="198"/>
                    <a:pt x="5" y="199"/>
                  </a:cubicBezTo>
                  <a:cubicBezTo>
                    <a:pt x="1" y="200"/>
                    <a:pt x="11" y="204"/>
                    <a:pt x="16" y="204"/>
                  </a:cubicBezTo>
                  <a:cubicBezTo>
                    <a:pt x="20" y="204"/>
                    <a:pt x="23" y="198"/>
                    <a:pt x="22" y="194"/>
                  </a:cubicBezTo>
                  <a:cubicBezTo>
                    <a:pt x="21" y="190"/>
                    <a:pt x="15" y="190"/>
                    <a:pt x="15" y="19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9" name="Freeform 69"/>
            <p:cNvSpPr>
              <a:spLocks/>
            </p:cNvSpPr>
            <p:nvPr/>
          </p:nvSpPr>
          <p:spPr bwMode="auto">
            <a:xfrm>
              <a:off x="1665" y="2986"/>
              <a:ext cx="654" cy="384"/>
            </a:xfrm>
            <a:custGeom>
              <a:avLst/>
              <a:gdLst>
                <a:gd name="T0" fmla="*/ 639 w 654"/>
                <a:gd name="T1" fmla="*/ 84 h 384"/>
                <a:gd name="T2" fmla="*/ 650 w 654"/>
                <a:gd name="T3" fmla="*/ 115 h 384"/>
                <a:gd name="T4" fmla="*/ 608 w 654"/>
                <a:gd name="T5" fmla="*/ 136 h 384"/>
                <a:gd name="T6" fmla="*/ 533 w 654"/>
                <a:gd name="T7" fmla="*/ 169 h 384"/>
                <a:gd name="T8" fmla="*/ 468 w 654"/>
                <a:gd name="T9" fmla="*/ 215 h 384"/>
                <a:gd name="T10" fmla="*/ 446 w 654"/>
                <a:gd name="T11" fmla="*/ 205 h 384"/>
                <a:gd name="T12" fmla="*/ 400 w 654"/>
                <a:gd name="T13" fmla="*/ 261 h 384"/>
                <a:gd name="T14" fmla="*/ 373 w 654"/>
                <a:gd name="T15" fmla="*/ 307 h 384"/>
                <a:gd name="T16" fmla="*/ 368 w 654"/>
                <a:gd name="T17" fmla="*/ 340 h 384"/>
                <a:gd name="T18" fmla="*/ 345 w 654"/>
                <a:gd name="T19" fmla="*/ 373 h 384"/>
                <a:gd name="T20" fmla="*/ 275 w 654"/>
                <a:gd name="T21" fmla="*/ 361 h 384"/>
                <a:gd name="T22" fmla="*/ 241 w 654"/>
                <a:gd name="T23" fmla="*/ 363 h 384"/>
                <a:gd name="T24" fmla="*/ 212 w 654"/>
                <a:gd name="T25" fmla="*/ 361 h 384"/>
                <a:gd name="T26" fmla="*/ 170 w 654"/>
                <a:gd name="T27" fmla="*/ 355 h 384"/>
                <a:gd name="T28" fmla="*/ 150 w 654"/>
                <a:gd name="T29" fmla="*/ 325 h 384"/>
                <a:gd name="T30" fmla="*/ 135 w 654"/>
                <a:gd name="T31" fmla="*/ 334 h 384"/>
                <a:gd name="T32" fmla="*/ 118 w 654"/>
                <a:gd name="T33" fmla="*/ 344 h 384"/>
                <a:gd name="T34" fmla="*/ 95 w 654"/>
                <a:gd name="T35" fmla="*/ 359 h 384"/>
                <a:gd name="T36" fmla="*/ 72 w 654"/>
                <a:gd name="T37" fmla="*/ 353 h 384"/>
                <a:gd name="T38" fmla="*/ 39 w 654"/>
                <a:gd name="T39" fmla="*/ 348 h 384"/>
                <a:gd name="T40" fmla="*/ 14 w 654"/>
                <a:gd name="T41" fmla="*/ 375 h 384"/>
                <a:gd name="T42" fmla="*/ 10 w 654"/>
                <a:gd name="T43" fmla="*/ 342 h 384"/>
                <a:gd name="T44" fmla="*/ 8 w 654"/>
                <a:gd name="T45" fmla="*/ 313 h 384"/>
                <a:gd name="T46" fmla="*/ 27 w 654"/>
                <a:gd name="T47" fmla="*/ 284 h 384"/>
                <a:gd name="T48" fmla="*/ 31 w 654"/>
                <a:gd name="T49" fmla="*/ 267 h 384"/>
                <a:gd name="T50" fmla="*/ 85 w 654"/>
                <a:gd name="T51" fmla="*/ 244 h 384"/>
                <a:gd name="T52" fmla="*/ 116 w 654"/>
                <a:gd name="T53" fmla="*/ 178 h 384"/>
                <a:gd name="T54" fmla="*/ 77 w 654"/>
                <a:gd name="T55" fmla="*/ 192 h 384"/>
                <a:gd name="T56" fmla="*/ 64 w 654"/>
                <a:gd name="T57" fmla="*/ 163 h 384"/>
                <a:gd name="T58" fmla="*/ 89 w 654"/>
                <a:gd name="T59" fmla="*/ 134 h 384"/>
                <a:gd name="T60" fmla="*/ 95 w 654"/>
                <a:gd name="T61" fmla="*/ 109 h 384"/>
                <a:gd name="T62" fmla="*/ 83 w 654"/>
                <a:gd name="T63" fmla="*/ 55 h 384"/>
                <a:gd name="T64" fmla="*/ 122 w 654"/>
                <a:gd name="T65" fmla="*/ 73 h 384"/>
                <a:gd name="T66" fmla="*/ 173 w 654"/>
                <a:gd name="T67" fmla="*/ 94 h 384"/>
                <a:gd name="T68" fmla="*/ 208 w 654"/>
                <a:gd name="T69" fmla="*/ 80 h 384"/>
                <a:gd name="T70" fmla="*/ 214 w 654"/>
                <a:gd name="T71" fmla="*/ 25 h 384"/>
                <a:gd name="T72" fmla="*/ 308 w 654"/>
                <a:gd name="T73" fmla="*/ 0 h 384"/>
                <a:gd name="T74" fmla="*/ 364 w 654"/>
                <a:gd name="T75" fmla="*/ 21 h 384"/>
                <a:gd name="T76" fmla="*/ 425 w 654"/>
                <a:gd name="T77" fmla="*/ 65 h 384"/>
                <a:gd name="T78" fmla="*/ 518 w 654"/>
                <a:gd name="T79" fmla="*/ 102 h 384"/>
                <a:gd name="T80" fmla="*/ 579 w 654"/>
                <a:gd name="T81" fmla="*/ 77 h 384"/>
                <a:gd name="T82" fmla="*/ 621 w 654"/>
                <a:gd name="T83" fmla="*/ 6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4" h="384">
                  <a:moveTo>
                    <a:pt x="654" y="61"/>
                  </a:moveTo>
                  <a:lnTo>
                    <a:pt x="643" y="67"/>
                  </a:lnTo>
                  <a:lnTo>
                    <a:pt x="639" y="84"/>
                  </a:lnTo>
                  <a:lnTo>
                    <a:pt x="652" y="96"/>
                  </a:lnTo>
                  <a:lnTo>
                    <a:pt x="637" y="107"/>
                  </a:lnTo>
                  <a:lnTo>
                    <a:pt x="650" y="115"/>
                  </a:lnTo>
                  <a:lnTo>
                    <a:pt x="633" y="123"/>
                  </a:lnTo>
                  <a:lnTo>
                    <a:pt x="618" y="136"/>
                  </a:lnTo>
                  <a:lnTo>
                    <a:pt x="608" y="136"/>
                  </a:lnTo>
                  <a:lnTo>
                    <a:pt x="604" y="153"/>
                  </a:lnTo>
                  <a:lnTo>
                    <a:pt x="566" y="153"/>
                  </a:lnTo>
                  <a:lnTo>
                    <a:pt x="533" y="169"/>
                  </a:lnTo>
                  <a:lnTo>
                    <a:pt x="531" y="184"/>
                  </a:lnTo>
                  <a:lnTo>
                    <a:pt x="502" y="184"/>
                  </a:lnTo>
                  <a:lnTo>
                    <a:pt x="468" y="215"/>
                  </a:lnTo>
                  <a:lnTo>
                    <a:pt x="454" y="217"/>
                  </a:lnTo>
                  <a:lnTo>
                    <a:pt x="458" y="209"/>
                  </a:lnTo>
                  <a:lnTo>
                    <a:pt x="446" y="205"/>
                  </a:lnTo>
                  <a:lnTo>
                    <a:pt x="414" y="236"/>
                  </a:lnTo>
                  <a:lnTo>
                    <a:pt x="416" y="255"/>
                  </a:lnTo>
                  <a:lnTo>
                    <a:pt x="400" y="261"/>
                  </a:lnTo>
                  <a:lnTo>
                    <a:pt x="400" y="280"/>
                  </a:lnTo>
                  <a:lnTo>
                    <a:pt x="379" y="288"/>
                  </a:lnTo>
                  <a:lnTo>
                    <a:pt x="373" y="307"/>
                  </a:lnTo>
                  <a:lnTo>
                    <a:pt x="375" y="321"/>
                  </a:lnTo>
                  <a:lnTo>
                    <a:pt x="373" y="325"/>
                  </a:lnTo>
                  <a:lnTo>
                    <a:pt x="368" y="340"/>
                  </a:lnTo>
                  <a:lnTo>
                    <a:pt x="350" y="359"/>
                  </a:lnTo>
                  <a:lnTo>
                    <a:pt x="352" y="369"/>
                  </a:lnTo>
                  <a:lnTo>
                    <a:pt x="345" y="373"/>
                  </a:lnTo>
                  <a:lnTo>
                    <a:pt x="337" y="384"/>
                  </a:lnTo>
                  <a:lnTo>
                    <a:pt x="312" y="382"/>
                  </a:lnTo>
                  <a:lnTo>
                    <a:pt x="275" y="361"/>
                  </a:lnTo>
                  <a:lnTo>
                    <a:pt x="258" y="355"/>
                  </a:lnTo>
                  <a:lnTo>
                    <a:pt x="248" y="367"/>
                  </a:lnTo>
                  <a:lnTo>
                    <a:pt x="241" y="363"/>
                  </a:lnTo>
                  <a:lnTo>
                    <a:pt x="233" y="359"/>
                  </a:lnTo>
                  <a:lnTo>
                    <a:pt x="227" y="369"/>
                  </a:lnTo>
                  <a:lnTo>
                    <a:pt x="212" y="361"/>
                  </a:lnTo>
                  <a:lnTo>
                    <a:pt x="202" y="367"/>
                  </a:lnTo>
                  <a:lnTo>
                    <a:pt x="181" y="350"/>
                  </a:lnTo>
                  <a:lnTo>
                    <a:pt x="170" y="355"/>
                  </a:lnTo>
                  <a:lnTo>
                    <a:pt x="160" y="348"/>
                  </a:lnTo>
                  <a:lnTo>
                    <a:pt x="162" y="334"/>
                  </a:lnTo>
                  <a:lnTo>
                    <a:pt x="150" y="325"/>
                  </a:lnTo>
                  <a:lnTo>
                    <a:pt x="143" y="332"/>
                  </a:lnTo>
                  <a:lnTo>
                    <a:pt x="139" y="330"/>
                  </a:lnTo>
                  <a:lnTo>
                    <a:pt x="135" y="334"/>
                  </a:lnTo>
                  <a:lnTo>
                    <a:pt x="118" y="328"/>
                  </a:lnTo>
                  <a:lnTo>
                    <a:pt x="112" y="340"/>
                  </a:lnTo>
                  <a:lnTo>
                    <a:pt x="118" y="344"/>
                  </a:lnTo>
                  <a:lnTo>
                    <a:pt x="118" y="353"/>
                  </a:lnTo>
                  <a:lnTo>
                    <a:pt x="114" y="357"/>
                  </a:lnTo>
                  <a:lnTo>
                    <a:pt x="95" y="359"/>
                  </a:lnTo>
                  <a:lnTo>
                    <a:pt x="89" y="367"/>
                  </a:lnTo>
                  <a:lnTo>
                    <a:pt x="81" y="367"/>
                  </a:lnTo>
                  <a:lnTo>
                    <a:pt x="72" y="353"/>
                  </a:lnTo>
                  <a:lnTo>
                    <a:pt x="60" y="363"/>
                  </a:lnTo>
                  <a:lnTo>
                    <a:pt x="54" y="359"/>
                  </a:lnTo>
                  <a:lnTo>
                    <a:pt x="39" y="348"/>
                  </a:lnTo>
                  <a:lnTo>
                    <a:pt x="27" y="353"/>
                  </a:lnTo>
                  <a:lnTo>
                    <a:pt x="25" y="365"/>
                  </a:lnTo>
                  <a:lnTo>
                    <a:pt x="14" y="375"/>
                  </a:lnTo>
                  <a:lnTo>
                    <a:pt x="8" y="371"/>
                  </a:lnTo>
                  <a:lnTo>
                    <a:pt x="10" y="363"/>
                  </a:lnTo>
                  <a:lnTo>
                    <a:pt x="10" y="342"/>
                  </a:lnTo>
                  <a:lnTo>
                    <a:pt x="0" y="334"/>
                  </a:lnTo>
                  <a:lnTo>
                    <a:pt x="2" y="323"/>
                  </a:lnTo>
                  <a:lnTo>
                    <a:pt x="8" y="313"/>
                  </a:lnTo>
                  <a:lnTo>
                    <a:pt x="12" y="300"/>
                  </a:lnTo>
                  <a:lnTo>
                    <a:pt x="25" y="300"/>
                  </a:lnTo>
                  <a:lnTo>
                    <a:pt x="27" y="284"/>
                  </a:lnTo>
                  <a:lnTo>
                    <a:pt x="35" y="271"/>
                  </a:lnTo>
                  <a:lnTo>
                    <a:pt x="27" y="265"/>
                  </a:lnTo>
                  <a:lnTo>
                    <a:pt x="31" y="267"/>
                  </a:lnTo>
                  <a:lnTo>
                    <a:pt x="54" y="259"/>
                  </a:lnTo>
                  <a:lnTo>
                    <a:pt x="64" y="267"/>
                  </a:lnTo>
                  <a:lnTo>
                    <a:pt x="85" y="244"/>
                  </a:lnTo>
                  <a:lnTo>
                    <a:pt x="77" y="236"/>
                  </a:lnTo>
                  <a:lnTo>
                    <a:pt x="127" y="192"/>
                  </a:lnTo>
                  <a:lnTo>
                    <a:pt x="116" y="178"/>
                  </a:lnTo>
                  <a:lnTo>
                    <a:pt x="97" y="175"/>
                  </a:lnTo>
                  <a:lnTo>
                    <a:pt x="87" y="182"/>
                  </a:lnTo>
                  <a:lnTo>
                    <a:pt x="77" y="192"/>
                  </a:lnTo>
                  <a:lnTo>
                    <a:pt x="58" y="186"/>
                  </a:lnTo>
                  <a:lnTo>
                    <a:pt x="56" y="173"/>
                  </a:lnTo>
                  <a:lnTo>
                    <a:pt x="64" y="163"/>
                  </a:lnTo>
                  <a:lnTo>
                    <a:pt x="70" y="148"/>
                  </a:lnTo>
                  <a:lnTo>
                    <a:pt x="89" y="146"/>
                  </a:lnTo>
                  <a:lnTo>
                    <a:pt x="89" y="134"/>
                  </a:lnTo>
                  <a:lnTo>
                    <a:pt x="83" y="125"/>
                  </a:lnTo>
                  <a:lnTo>
                    <a:pt x="83" y="117"/>
                  </a:lnTo>
                  <a:lnTo>
                    <a:pt x="95" y="109"/>
                  </a:lnTo>
                  <a:lnTo>
                    <a:pt x="97" y="86"/>
                  </a:lnTo>
                  <a:lnTo>
                    <a:pt x="85" y="75"/>
                  </a:lnTo>
                  <a:lnTo>
                    <a:pt x="83" y="55"/>
                  </a:lnTo>
                  <a:lnTo>
                    <a:pt x="89" y="55"/>
                  </a:lnTo>
                  <a:lnTo>
                    <a:pt x="104" y="61"/>
                  </a:lnTo>
                  <a:lnTo>
                    <a:pt x="122" y="73"/>
                  </a:lnTo>
                  <a:lnTo>
                    <a:pt x="143" y="84"/>
                  </a:lnTo>
                  <a:lnTo>
                    <a:pt x="152" y="102"/>
                  </a:lnTo>
                  <a:lnTo>
                    <a:pt x="173" y="94"/>
                  </a:lnTo>
                  <a:lnTo>
                    <a:pt x="202" y="111"/>
                  </a:lnTo>
                  <a:lnTo>
                    <a:pt x="216" y="94"/>
                  </a:lnTo>
                  <a:lnTo>
                    <a:pt x="208" y="80"/>
                  </a:lnTo>
                  <a:lnTo>
                    <a:pt x="212" y="65"/>
                  </a:lnTo>
                  <a:lnTo>
                    <a:pt x="202" y="46"/>
                  </a:lnTo>
                  <a:lnTo>
                    <a:pt x="214" y="25"/>
                  </a:lnTo>
                  <a:lnTo>
                    <a:pt x="227" y="7"/>
                  </a:lnTo>
                  <a:lnTo>
                    <a:pt x="302" y="9"/>
                  </a:lnTo>
                  <a:lnTo>
                    <a:pt x="308" y="0"/>
                  </a:lnTo>
                  <a:lnTo>
                    <a:pt x="335" y="2"/>
                  </a:lnTo>
                  <a:lnTo>
                    <a:pt x="348" y="17"/>
                  </a:lnTo>
                  <a:lnTo>
                    <a:pt x="364" y="21"/>
                  </a:lnTo>
                  <a:lnTo>
                    <a:pt x="395" y="44"/>
                  </a:lnTo>
                  <a:lnTo>
                    <a:pt x="412" y="50"/>
                  </a:lnTo>
                  <a:lnTo>
                    <a:pt x="425" y="65"/>
                  </a:lnTo>
                  <a:lnTo>
                    <a:pt x="452" y="69"/>
                  </a:lnTo>
                  <a:lnTo>
                    <a:pt x="500" y="102"/>
                  </a:lnTo>
                  <a:lnTo>
                    <a:pt x="518" y="102"/>
                  </a:lnTo>
                  <a:lnTo>
                    <a:pt x="527" y="109"/>
                  </a:lnTo>
                  <a:lnTo>
                    <a:pt x="560" y="100"/>
                  </a:lnTo>
                  <a:lnTo>
                    <a:pt x="579" y="77"/>
                  </a:lnTo>
                  <a:lnTo>
                    <a:pt x="600" y="82"/>
                  </a:lnTo>
                  <a:lnTo>
                    <a:pt x="606" y="67"/>
                  </a:lnTo>
                  <a:lnTo>
                    <a:pt x="621" y="65"/>
                  </a:lnTo>
                  <a:lnTo>
                    <a:pt x="637" y="52"/>
                  </a:lnTo>
                  <a:lnTo>
                    <a:pt x="654" y="61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0" name="Freeform 70"/>
            <p:cNvSpPr>
              <a:spLocks/>
            </p:cNvSpPr>
            <p:nvPr/>
          </p:nvSpPr>
          <p:spPr bwMode="auto">
            <a:xfrm>
              <a:off x="1294" y="2651"/>
              <a:ext cx="323" cy="381"/>
            </a:xfrm>
            <a:custGeom>
              <a:avLst/>
              <a:gdLst>
                <a:gd name="T0" fmla="*/ 0 w 155"/>
                <a:gd name="T1" fmla="*/ 98 h 183"/>
                <a:gd name="T2" fmla="*/ 32 w 155"/>
                <a:gd name="T3" fmla="*/ 98 h 183"/>
                <a:gd name="T4" fmla="*/ 55 w 155"/>
                <a:gd name="T5" fmla="*/ 94 h 183"/>
                <a:gd name="T6" fmla="*/ 60 w 155"/>
                <a:gd name="T7" fmla="*/ 81 h 183"/>
                <a:gd name="T8" fmla="*/ 61 w 155"/>
                <a:gd name="T9" fmla="*/ 62 h 183"/>
                <a:gd name="T10" fmla="*/ 71 w 155"/>
                <a:gd name="T11" fmla="*/ 59 h 183"/>
                <a:gd name="T12" fmla="*/ 77 w 155"/>
                <a:gd name="T13" fmla="*/ 49 h 183"/>
                <a:gd name="T14" fmla="*/ 81 w 155"/>
                <a:gd name="T15" fmla="*/ 41 h 183"/>
                <a:gd name="T16" fmla="*/ 83 w 155"/>
                <a:gd name="T17" fmla="*/ 36 h 183"/>
                <a:gd name="T18" fmla="*/ 91 w 155"/>
                <a:gd name="T19" fmla="*/ 30 h 183"/>
                <a:gd name="T20" fmla="*/ 101 w 155"/>
                <a:gd name="T21" fmla="*/ 21 h 183"/>
                <a:gd name="T22" fmla="*/ 108 w 155"/>
                <a:gd name="T23" fmla="*/ 22 h 183"/>
                <a:gd name="T24" fmla="*/ 120 w 155"/>
                <a:gd name="T25" fmla="*/ 0 h 183"/>
                <a:gd name="T26" fmla="*/ 135 w 155"/>
                <a:gd name="T27" fmla="*/ 12 h 183"/>
                <a:gd name="T28" fmla="*/ 133 w 155"/>
                <a:gd name="T29" fmla="*/ 23 h 183"/>
                <a:gd name="T30" fmla="*/ 137 w 155"/>
                <a:gd name="T31" fmla="*/ 28 h 183"/>
                <a:gd name="T32" fmla="*/ 152 w 155"/>
                <a:gd name="T33" fmla="*/ 33 h 183"/>
                <a:gd name="T34" fmla="*/ 151 w 155"/>
                <a:gd name="T35" fmla="*/ 43 h 183"/>
                <a:gd name="T36" fmla="*/ 151 w 155"/>
                <a:gd name="T37" fmla="*/ 58 h 183"/>
                <a:gd name="T38" fmla="*/ 140 w 155"/>
                <a:gd name="T39" fmla="*/ 65 h 183"/>
                <a:gd name="T40" fmla="*/ 133 w 155"/>
                <a:gd name="T41" fmla="*/ 70 h 183"/>
                <a:gd name="T42" fmla="*/ 126 w 155"/>
                <a:gd name="T43" fmla="*/ 85 h 183"/>
                <a:gd name="T44" fmla="*/ 121 w 155"/>
                <a:gd name="T45" fmla="*/ 93 h 183"/>
                <a:gd name="T46" fmla="*/ 126 w 155"/>
                <a:gd name="T47" fmla="*/ 103 h 183"/>
                <a:gd name="T48" fmla="*/ 125 w 155"/>
                <a:gd name="T49" fmla="*/ 113 h 183"/>
                <a:gd name="T50" fmla="*/ 126 w 155"/>
                <a:gd name="T51" fmla="*/ 116 h 183"/>
                <a:gd name="T52" fmla="*/ 118 w 155"/>
                <a:gd name="T53" fmla="*/ 124 h 183"/>
                <a:gd name="T54" fmla="*/ 109 w 155"/>
                <a:gd name="T55" fmla="*/ 120 h 183"/>
                <a:gd name="T56" fmla="*/ 110 w 155"/>
                <a:gd name="T57" fmla="*/ 130 h 183"/>
                <a:gd name="T58" fmla="*/ 101 w 155"/>
                <a:gd name="T59" fmla="*/ 137 h 183"/>
                <a:gd name="T60" fmla="*/ 102 w 155"/>
                <a:gd name="T61" fmla="*/ 147 h 183"/>
                <a:gd name="T62" fmla="*/ 108 w 155"/>
                <a:gd name="T63" fmla="*/ 152 h 183"/>
                <a:gd name="T64" fmla="*/ 105 w 155"/>
                <a:gd name="T65" fmla="*/ 157 h 183"/>
                <a:gd name="T66" fmla="*/ 98 w 155"/>
                <a:gd name="T67" fmla="*/ 161 h 183"/>
                <a:gd name="T68" fmla="*/ 99 w 155"/>
                <a:gd name="T69" fmla="*/ 170 h 183"/>
                <a:gd name="T70" fmla="*/ 86 w 155"/>
                <a:gd name="T71" fmla="*/ 179 h 183"/>
                <a:gd name="T72" fmla="*/ 82 w 155"/>
                <a:gd name="T73" fmla="*/ 171 h 183"/>
                <a:gd name="T74" fmla="*/ 74 w 155"/>
                <a:gd name="T75" fmla="*/ 170 h 183"/>
                <a:gd name="T76" fmla="*/ 69 w 155"/>
                <a:gd name="T77" fmla="*/ 171 h 183"/>
                <a:gd name="T78" fmla="*/ 65 w 155"/>
                <a:gd name="T79" fmla="*/ 167 h 183"/>
                <a:gd name="T80" fmla="*/ 56 w 155"/>
                <a:gd name="T81" fmla="*/ 169 h 183"/>
                <a:gd name="T82" fmla="*/ 50 w 155"/>
                <a:gd name="T83" fmla="*/ 173 h 183"/>
                <a:gd name="T84" fmla="*/ 45 w 155"/>
                <a:gd name="T85" fmla="*/ 171 h 183"/>
                <a:gd name="T86" fmla="*/ 41 w 155"/>
                <a:gd name="T87" fmla="*/ 178 h 183"/>
                <a:gd name="T88" fmla="*/ 32 w 155"/>
                <a:gd name="T89" fmla="*/ 183 h 183"/>
                <a:gd name="T90" fmla="*/ 24 w 155"/>
                <a:gd name="T91" fmla="*/ 160 h 183"/>
                <a:gd name="T92" fmla="*/ 15 w 155"/>
                <a:gd name="T93" fmla="*/ 156 h 183"/>
                <a:gd name="T94" fmla="*/ 0 w 155"/>
                <a:gd name="T95" fmla="*/ 111 h 183"/>
                <a:gd name="T96" fmla="*/ 0 w 155"/>
                <a:gd name="T97" fmla="*/ 98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5" h="183">
                  <a:moveTo>
                    <a:pt x="0" y="98"/>
                  </a:moveTo>
                  <a:cubicBezTo>
                    <a:pt x="32" y="98"/>
                    <a:pt x="32" y="98"/>
                    <a:pt x="32" y="98"/>
                  </a:cubicBezTo>
                  <a:cubicBezTo>
                    <a:pt x="43" y="98"/>
                    <a:pt x="47" y="95"/>
                    <a:pt x="55" y="94"/>
                  </a:cubicBezTo>
                  <a:cubicBezTo>
                    <a:pt x="62" y="93"/>
                    <a:pt x="59" y="87"/>
                    <a:pt x="60" y="81"/>
                  </a:cubicBezTo>
                  <a:cubicBezTo>
                    <a:pt x="60" y="75"/>
                    <a:pt x="61" y="65"/>
                    <a:pt x="61" y="62"/>
                  </a:cubicBezTo>
                  <a:cubicBezTo>
                    <a:pt x="61" y="59"/>
                    <a:pt x="65" y="59"/>
                    <a:pt x="71" y="59"/>
                  </a:cubicBezTo>
                  <a:cubicBezTo>
                    <a:pt x="77" y="59"/>
                    <a:pt x="77" y="56"/>
                    <a:pt x="77" y="49"/>
                  </a:cubicBezTo>
                  <a:cubicBezTo>
                    <a:pt x="77" y="42"/>
                    <a:pt x="77" y="41"/>
                    <a:pt x="81" y="41"/>
                  </a:cubicBezTo>
                  <a:cubicBezTo>
                    <a:pt x="86" y="42"/>
                    <a:pt x="84" y="40"/>
                    <a:pt x="83" y="36"/>
                  </a:cubicBezTo>
                  <a:cubicBezTo>
                    <a:pt x="83" y="33"/>
                    <a:pt x="89" y="33"/>
                    <a:pt x="91" y="30"/>
                  </a:cubicBezTo>
                  <a:cubicBezTo>
                    <a:pt x="93" y="28"/>
                    <a:pt x="98" y="23"/>
                    <a:pt x="101" y="21"/>
                  </a:cubicBezTo>
                  <a:cubicBezTo>
                    <a:pt x="105" y="19"/>
                    <a:pt x="106" y="23"/>
                    <a:pt x="108" y="22"/>
                  </a:cubicBezTo>
                  <a:cubicBezTo>
                    <a:pt x="109" y="21"/>
                    <a:pt x="115" y="9"/>
                    <a:pt x="120" y="0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52" y="33"/>
                    <a:pt x="152" y="33"/>
                    <a:pt x="152" y="33"/>
                  </a:cubicBezTo>
                  <a:cubicBezTo>
                    <a:pt x="150" y="37"/>
                    <a:pt x="148" y="35"/>
                    <a:pt x="151" y="43"/>
                  </a:cubicBezTo>
                  <a:cubicBezTo>
                    <a:pt x="155" y="53"/>
                    <a:pt x="153" y="56"/>
                    <a:pt x="151" y="58"/>
                  </a:cubicBezTo>
                  <a:cubicBezTo>
                    <a:pt x="149" y="60"/>
                    <a:pt x="143" y="65"/>
                    <a:pt x="140" y="65"/>
                  </a:cubicBezTo>
                  <a:cubicBezTo>
                    <a:pt x="137" y="66"/>
                    <a:pt x="133" y="66"/>
                    <a:pt x="133" y="70"/>
                  </a:cubicBezTo>
                  <a:cubicBezTo>
                    <a:pt x="133" y="75"/>
                    <a:pt x="130" y="83"/>
                    <a:pt x="126" y="85"/>
                  </a:cubicBezTo>
                  <a:cubicBezTo>
                    <a:pt x="121" y="87"/>
                    <a:pt x="122" y="91"/>
                    <a:pt x="121" y="93"/>
                  </a:cubicBezTo>
                  <a:cubicBezTo>
                    <a:pt x="120" y="95"/>
                    <a:pt x="126" y="98"/>
                    <a:pt x="126" y="103"/>
                  </a:cubicBezTo>
                  <a:cubicBezTo>
                    <a:pt x="126" y="107"/>
                    <a:pt x="124" y="109"/>
                    <a:pt x="125" y="113"/>
                  </a:cubicBezTo>
                  <a:cubicBezTo>
                    <a:pt x="125" y="115"/>
                    <a:pt x="125" y="115"/>
                    <a:pt x="126" y="116"/>
                  </a:cubicBezTo>
                  <a:cubicBezTo>
                    <a:pt x="118" y="124"/>
                    <a:pt x="118" y="124"/>
                    <a:pt x="118" y="124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10" y="130"/>
                    <a:pt x="110" y="130"/>
                    <a:pt x="110" y="130"/>
                  </a:cubicBezTo>
                  <a:cubicBezTo>
                    <a:pt x="101" y="137"/>
                    <a:pt x="101" y="137"/>
                    <a:pt x="101" y="137"/>
                  </a:cubicBezTo>
                  <a:cubicBezTo>
                    <a:pt x="102" y="147"/>
                    <a:pt x="102" y="147"/>
                    <a:pt x="102" y="147"/>
                  </a:cubicBezTo>
                  <a:cubicBezTo>
                    <a:pt x="108" y="152"/>
                    <a:pt x="108" y="152"/>
                    <a:pt x="108" y="152"/>
                  </a:cubicBezTo>
                  <a:cubicBezTo>
                    <a:pt x="105" y="157"/>
                    <a:pt x="105" y="157"/>
                    <a:pt x="105" y="157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99" y="170"/>
                    <a:pt x="99" y="170"/>
                    <a:pt x="99" y="170"/>
                  </a:cubicBezTo>
                  <a:cubicBezTo>
                    <a:pt x="86" y="179"/>
                    <a:pt x="86" y="179"/>
                    <a:pt x="86" y="179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74" y="170"/>
                    <a:pt x="74" y="170"/>
                    <a:pt x="74" y="170"/>
                  </a:cubicBezTo>
                  <a:cubicBezTo>
                    <a:pt x="69" y="171"/>
                    <a:pt x="69" y="171"/>
                    <a:pt x="69" y="171"/>
                  </a:cubicBezTo>
                  <a:cubicBezTo>
                    <a:pt x="65" y="167"/>
                    <a:pt x="65" y="167"/>
                    <a:pt x="65" y="167"/>
                  </a:cubicBezTo>
                  <a:cubicBezTo>
                    <a:pt x="56" y="169"/>
                    <a:pt x="56" y="169"/>
                    <a:pt x="56" y="169"/>
                  </a:cubicBezTo>
                  <a:cubicBezTo>
                    <a:pt x="50" y="173"/>
                    <a:pt x="50" y="173"/>
                    <a:pt x="50" y="173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41" y="178"/>
                    <a:pt x="41" y="178"/>
                    <a:pt x="41" y="178"/>
                  </a:cubicBezTo>
                  <a:cubicBezTo>
                    <a:pt x="32" y="183"/>
                    <a:pt x="32" y="183"/>
                    <a:pt x="32" y="183"/>
                  </a:cubicBezTo>
                  <a:cubicBezTo>
                    <a:pt x="24" y="160"/>
                    <a:pt x="24" y="160"/>
                    <a:pt x="24" y="160"/>
                  </a:cubicBezTo>
                  <a:cubicBezTo>
                    <a:pt x="15" y="156"/>
                    <a:pt x="15" y="156"/>
                    <a:pt x="15" y="156"/>
                  </a:cubicBezTo>
                  <a:cubicBezTo>
                    <a:pt x="0" y="111"/>
                    <a:pt x="0" y="111"/>
                    <a:pt x="0" y="111"/>
                  </a:cubicBezTo>
                  <a:lnTo>
                    <a:pt x="0" y="98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1" name="Freeform 71"/>
            <p:cNvSpPr>
              <a:spLocks/>
            </p:cNvSpPr>
            <p:nvPr/>
          </p:nvSpPr>
          <p:spPr bwMode="auto">
            <a:xfrm>
              <a:off x="827" y="3905"/>
              <a:ext cx="89" cy="77"/>
            </a:xfrm>
            <a:custGeom>
              <a:avLst/>
              <a:gdLst>
                <a:gd name="T0" fmla="*/ 34 w 43"/>
                <a:gd name="T1" fmla="*/ 2 h 37"/>
                <a:gd name="T2" fmla="*/ 36 w 43"/>
                <a:gd name="T3" fmla="*/ 3 h 37"/>
                <a:gd name="T4" fmla="*/ 37 w 43"/>
                <a:gd name="T5" fmla="*/ 6 h 37"/>
                <a:gd name="T6" fmla="*/ 39 w 43"/>
                <a:gd name="T7" fmla="*/ 11 h 37"/>
                <a:gd name="T8" fmla="*/ 43 w 43"/>
                <a:gd name="T9" fmla="*/ 17 h 37"/>
                <a:gd name="T10" fmla="*/ 37 w 43"/>
                <a:gd name="T11" fmla="*/ 19 h 37"/>
                <a:gd name="T12" fmla="*/ 37 w 43"/>
                <a:gd name="T13" fmla="*/ 22 h 37"/>
                <a:gd name="T14" fmla="*/ 40 w 43"/>
                <a:gd name="T15" fmla="*/ 26 h 37"/>
                <a:gd name="T16" fmla="*/ 39 w 43"/>
                <a:gd name="T17" fmla="*/ 30 h 37"/>
                <a:gd name="T18" fmla="*/ 38 w 43"/>
                <a:gd name="T19" fmla="*/ 32 h 37"/>
                <a:gd name="T20" fmla="*/ 37 w 43"/>
                <a:gd name="T21" fmla="*/ 32 h 37"/>
                <a:gd name="T22" fmla="*/ 29 w 43"/>
                <a:gd name="T23" fmla="*/ 35 h 37"/>
                <a:gd name="T24" fmla="*/ 24 w 43"/>
                <a:gd name="T25" fmla="*/ 37 h 37"/>
                <a:gd name="T26" fmla="*/ 24 w 43"/>
                <a:gd name="T27" fmla="*/ 37 h 37"/>
                <a:gd name="T28" fmla="*/ 14 w 43"/>
                <a:gd name="T29" fmla="*/ 31 h 37"/>
                <a:gd name="T30" fmla="*/ 5 w 43"/>
                <a:gd name="T31" fmla="*/ 15 h 37"/>
                <a:gd name="T32" fmla="*/ 0 w 43"/>
                <a:gd name="T33" fmla="*/ 8 h 37"/>
                <a:gd name="T34" fmla="*/ 2 w 43"/>
                <a:gd name="T35" fmla="*/ 7 h 37"/>
                <a:gd name="T36" fmla="*/ 8 w 43"/>
                <a:gd name="T37" fmla="*/ 4 h 37"/>
                <a:gd name="T38" fmla="*/ 15 w 43"/>
                <a:gd name="T39" fmla="*/ 0 h 37"/>
                <a:gd name="T40" fmla="*/ 20 w 43"/>
                <a:gd name="T41" fmla="*/ 6 h 37"/>
                <a:gd name="T42" fmla="*/ 28 w 43"/>
                <a:gd name="T43" fmla="*/ 8 h 37"/>
                <a:gd name="T44" fmla="*/ 33 w 43"/>
                <a:gd name="T45" fmla="*/ 3 h 37"/>
                <a:gd name="T46" fmla="*/ 34 w 43"/>
                <a:gd name="T47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" h="37">
                  <a:moveTo>
                    <a:pt x="34" y="2"/>
                  </a:moveTo>
                  <a:cubicBezTo>
                    <a:pt x="36" y="3"/>
                    <a:pt x="36" y="3"/>
                    <a:pt x="36" y="3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37" y="18"/>
                    <a:pt x="37" y="19"/>
                  </a:cubicBezTo>
                  <a:cubicBezTo>
                    <a:pt x="36" y="20"/>
                    <a:pt x="37" y="22"/>
                    <a:pt x="37" y="22"/>
                  </a:cubicBezTo>
                  <a:cubicBezTo>
                    <a:pt x="37" y="22"/>
                    <a:pt x="40" y="26"/>
                    <a:pt x="40" y="26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7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1" y="34"/>
                    <a:pt x="17" y="34"/>
                    <a:pt x="14" y="31"/>
                  </a:cubicBezTo>
                  <a:cubicBezTo>
                    <a:pt x="11" y="28"/>
                    <a:pt x="7" y="22"/>
                    <a:pt x="5" y="15"/>
                  </a:cubicBezTo>
                  <a:cubicBezTo>
                    <a:pt x="4" y="12"/>
                    <a:pt x="2" y="10"/>
                    <a:pt x="0" y="8"/>
                  </a:cubicBezTo>
                  <a:cubicBezTo>
                    <a:pt x="1" y="8"/>
                    <a:pt x="1" y="7"/>
                    <a:pt x="2" y="7"/>
                  </a:cubicBezTo>
                  <a:cubicBezTo>
                    <a:pt x="3" y="5"/>
                    <a:pt x="7" y="4"/>
                    <a:pt x="8" y="4"/>
                  </a:cubicBezTo>
                  <a:cubicBezTo>
                    <a:pt x="9" y="3"/>
                    <a:pt x="13" y="1"/>
                    <a:pt x="15" y="0"/>
                  </a:cubicBezTo>
                  <a:cubicBezTo>
                    <a:pt x="17" y="0"/>
                    <a:pt x="19" y="5"/>
                    <a:pt x="20" y="6"/>
                  </a:cubicBezTo>
                  <a:cubicBezTo>
                    <a:pt x="21" y="8"/>
                    <a:pt x="26" y="8"/>
                    <a:pt x="28" y="8"/>
                  </a:cubicBezTo>
                  <a:cubicBezTo>
                    <a:pt x="29" y="8"/>
                    <a:pt x="32" y="6"/>
                    <a:pt x="33" y="3"/>
                  </a:cubicBezTo>
                  <a:cubicBezTo>
                    <a:pt x="34" y="3"/>
                    <a:pt x="34" y="2"/>
                    <a:pt x="34" y="2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2" name="Freeform 72"/>
            <p:cNvSpPr>
              <a:spLocks/>
            </p:cNvSpPr>
            <p:nvPr/>
          </p:nvSpPr>
          <p:spPr bwMode="auto">
            <a:xfrm>
              <a:off x="877" y="3972"/>
              <a:ext cx="89" cy="63"/>
            </a:xfrm>
            <a:custGeom>
              <a:avLst/>
              <a:gdLst>
                <a:gd name="T0" fmla="*/ 0 w 43"/>
                <a:gd name="T1" fmla="*/ 5 h 30"/>
                <a:gd name="T2" fmla="*/ 5 w 43"/>
                <a:gd name="T3" fmla="*/ 3 h 30"/>
                <a:gd name="T4" fmla="*/ 13 w 43"/>
                <a:gd name="T5" fmla="*/ 0 h 30"/>
                <a:gd name="T6" fmla="*/ 16 w 43"/>
                <a:gd name="T7" fmla="*/ 0 h 30"/>
                <a:gd name="T8" fmla="*/ 22 w 43"/>
                <a:gd name="T9" fmla="*/ 1 h 30"/>
                <a:gd name="T10" fmla="*/ 26 w 43"/>
                <a:gd name="T11" fmla="*/ 3 h 30"/>
                <a:gd name="T12" fmla="*/ 32 w 43"/>
                <a:gd name="T13" fmla="*/ 12 h 30"/>
                <a:gd name="T14" fmla="*/ 37 w 43"/>
                <a:gd name="T15" fmla="*/ 11 h 30"/>
                <a:gd name="T16" fmla="*/ 43 w 43"/>
                <a:gd name="T17" fmla="*/ 15 h 30"/>
                <a:gd name="T18" fmla="*/ 43 w 43"/>
                <a:gd name="T19" fmla="*/ 19 h 30"/>
                <a:gd name="T20" fmla="*/ 43 w 43"/>
                <a:gd name="T21" fmla="*/ 20 h 30"/>
                <a:gd name="T22" fmla="*/ 42 w 43"/>
                <a:gd name="T23" fmla="*/ 20 h 30"/>
                <a:gd name="T24" fmla="*/ 38 w 43"/>
                <a:gd name="T25" fmla="*/ 21 h 30"/>
                <a:gd name="T26" fmla="*/ 38 w 43"/>
                <a:gd name="T27" fmla="*/ 27 h 30"/>
                <a:gd name="T28" fmla="*/ 35 w 43"/>
                <a:gd name="T29" fmla="*/ 27 h 30"/>
                <a:gd name="T30" fmla="*/ 29 w 43"/>
                <a:gd name="T31" fmla="*/ 30 h 30"/>
                <a:gd name="T32" fmla="*/ 26 w 43"/>
                <a:gd name="T33" fmla="*/ 28 h 30"/>
                <a:gd name="T34" fmla="*/ 20 w 43"/>
                <a:gd name="T35" fmla="*/ 27 h 30"/>
                <a:gd name="T36" fmla="*/ 12 w 43"/>
                <a:gd name="T37" fmla="*/ 29 h 30"/>
                <a:gd name="T38" fmla="*/ 11 w 43"/>
                <a:gd name="T39" fmla="*/ 26 h 30"/>
                <a:gd name="T40" fmla="*/ 10 w 43"/>
                <a:gd name="T41" fmla="*/ 18 h 30"/>
                <a:gd name="T42" fmla="*/ 0 w 43"/>
                <a:gd name="T43" fmla="*/ 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30">
                  <a:moveTo>
                    <a:pt x="0" y="5"/>
                  </a:moveTo>
                  <a:cubicBezTo>
                    <a:pt x="3" y="4"/>
                    <a:pt x="5" y="3"/>
                    <a:pt x="5" y="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8"/>
                    <a:pt x="11" y="27"/>
                    <a:pt x="11" y="26"/>
                  </a:cubicBezTo>
                  <a:cubicBezTo>
                    <a:pt x="8" y="23"/>
                    <a:pt x="8" y="22"/>
                    <a:pt x="10" y="18"/>
                  </a:cubicBezTo>
                  <a:cubicBezTo>
                    <a:pt x="11" y="13"/>
                    <a:pt x="2" y="9"/>
                    <a:pt x="0" y="5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3" name="Freeform 73"/>
            <p:cNvSpPr>
              <a:spLocks/>
            </p:cNvSpPr>
            <p:nvPr/>
          </p:nvSpPr>
          <p:spPr bwMode="auto">
            <a:xfrm>
              <a:off x="902" y="4014"/>
              <a:ext cx="77" cy="62"/>
            </a:xfrm>
            <a:custGeom>
              <a:avLst/>
              <a:gdLst>
                <a:gd name="T0" fmla="*/ 0 w 37"/>
                <a:gd name="T1" fmla="*/ 9 h 30"/>
                <a:gd name="T2" fmla="*/ 8 w 37"/>
                <a:gd name="T3" fmla="*/ 7 h 30"/>
                <a:gd name="T4" fmla="*/ 14 w 37"/>
                <a:gd name="T5" fmla="*/ 8 h 30"/>
                <a:gd name="T6" fmla="*/ 17 w 37"/>
                <a:gd name="T7" fmla="*/ 10 h 30"/>
                <a:gd name="T8" fmla="*/ 23 w 37"/>
                <a:gd name="T9" fmla="*/ 7 h 30"/>
                <a:gd name="T10" fmla="*/ 26 w 37"/>
                <a:gd name="T11" fmla="*/ 7 h 30"/>
                <a:gd name="T12" fmla="*/ 26 w 37"/>
                <a:gd name="T13" fmla="*/ 1 h 30"/>
                <a:gd name="T14" fmla="*/ 30 w 37"/>
                <a:gd name="T15" fmla="*/ 0 h 30"/>
                <a:gd name="T16" fmla="*/ 34 w 37"/>
                <a:gd name="T17" fmla="*/ 2 h 30"/>
                <a:gd name="T18" fmla="*/ 37 w 37"/>
                <a:gd name="T19" fmla="*/ 5 h 30"/>
                <a:gd name="T20" fmla="*/ 37 w 37"/>
                <a:gd name="T21" fmla="*/ 11 h 30"/>
                <a:gd name="T22" fmla="*/ 32 w 37"/>
                <a:gd name="T23" fmla="*/ 12 h 30"/>
                <a:gd name="T24" fmla="*/ 32 w 37"/>
                <a:gd name="T25" fmla="*/ 13 h 30"/>
                <a:gd name="T26" fmla="*/ 27 w 37"/>
                <a:gd name="T27" fmla="*/ 11 h 30"/>
                <a:gd name="T28" fmla="*/ 25 w 37"/>
                <a:gd name="T29" fmla="*/ 17 h 30"/>
                <a:gd name="T30" fmla="*/ 25 w 37"/>
                <a:gd name="T31" fmla="*/ 24 h 30"/>
                <a:gd name="T32" fmla="*/ 23 w 37"/>
                <a:gd name="T33" fmla="*/ 28 h 30"/>
                <a:gd name="T34" fmla="*/ 20 w 37"/>
                <a:gd name="T35" fmla="*/ 30 h 30"/>
                <a:gd name="T36" fmla="*/ 15 w 37"/>
                <a:gd name="T37" fmla="*/ 26 h 30"/>
                <a:gd name="T38" fmla="*/ 3 w 37"/>
                <a:gd name="T39" fmla="*/ 22 h 30"/>
                <a:gd name="T40" fmla="*/ 4 w 37"/>
                <a:gd name="T41" fmla="*/ 15 h 30"/>
                <a:gd name="T42" fmla="*/ 0 w 37"/>
                <a:gd name="T43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0">
                  <a:moveTo>
                    <a:pt x="0" y="9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5" y="11"/>
                    <a:pt x="32" y="11"/>
                    <a:pt x="32" y="12"/>
                  </a:cubicBezTo>
                  <a:cubicBezTo>
                    <a:pt x="32" y="12"/>
                    <a:pt x="32" y="13"/>
                    <a:pt x="32" y="13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5" y="16"/>
                    <a:pt x="25" y="17"/>
                  </a:cubicBezTo>
                  <a:cubicBezTo>
                    <a:pt x="25" y="18"/>
                    <a:pt x="25" y="24"/>
                    <a:pt x="25" y="24"/>
                  </a:cubicBezTo>
                  <a:cubicBezTo>
                    <a:pt x="25" y="24"/>
                    <a:pt x="24" y="28"/>
                    <a:pt x="23" y="28"/>
                  </a:cubicBezTo>
                  <a:cubicBezTo>
                    <a:pt x="23" y="28"/>
                    <a:pt x="21" y="29"/>
                    <a:pt x="20" y="30"/>
                  </a:cubicBezTo>
                  <a:cubicBezTo>
                    <a:pt x="18" y="28"/>
                    <a:pt x="16" y="27"/>
                    <a:pt x="15" y="26"/>
                  </a:cubicBezTo>
                  <a:cubicBezTo>
                    <a:pt x="12" y="24"/>
                    <a:pt x="5" y="25"/>
                    <a:pt x="3" y="22"/>
                  </a:cubicBezTo>
                  <a:cubicBezTo>
                    <a:pt x="2" y="19"/>
                    <a:pt x="3" y="18"/>
                    <a:pt x="4" y="15"/>
                  </a:cubicBezTo>
                  <a:cubicBezTo>
                    <a:pt x="4" y="13"/>
                    <a:pt x="2" y="11"/>
                    <a:pt x="0" y="9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4" name="Freeform 74"/>
            <p:cNvSpPr>
              <a:spLocks/>
            </p:cNvSpPr>
            <p:nvPr/>
          </p:nvSpPr>
          <p:spPr bwMode="auto">
            <a:xfrm>
              <a:off x="943" y="4037"/>
              <a:ext cx="40" cy="64"/>
            </a:xfrm>
            <a:custGeom>
              <a:avLst/>
              <a:gdLst>
                <a:gd name="T0" fmla="*/ 12 w 19"/>
                <a:gd name="T1" fmla="*/ 2 h 31"/>
                <a:gd name="T2" fmla="*/ 7 w 19"/>
                <a:gd name="T3" fmla="*/ 0 h 31"/>
                <a:gd name="T4" fmla="*/ 5 w 19"/>
                <a:gd name="T5" fmla="*/ 6 h 31"/>
                <a:gd name="T6" fmla="*/ 5 w 19"/>
                <a:gd name="T7" fmla="*/ 13 h 31"/>
                <a:gd name="T8" fmla="*/ 3 w 19"/>
                <a:gd name="T9" fmla="*/ 17 h 31"/>
                <a:gd name="T10" fmla="*/ 0 w 19"/>
                <a:gd name="T11" fmla="*/ 19 h 31"/>
                <a:gd name="T12" fmla="*/ 1 w 19"/>
                <a:gd name="T13" fmla="*/ 20 h 31"/>
                <a:gd name="T14" fmla="*/ 5 w 19"/>
                <a:gd name="T15" fmla="*/ 31 h 31"/>
                <a:gd name="T16" fmla="*/ 14 w 19"/>
                <a:gd name="T17" fmla="*/ 24 h 31"/>
                <a:gd name="T18" fmla="*/ 19 w 19"/>
                <a:gd name="T19" fmla="*/ 10 h 31"/>
                <a:gd name="T20" fmla="*/ 12 w 19"/>
                <a:gd name="T21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31">
                  <a:moveTo>
                    <a:pt x="12" y="2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5" y="5"/>
                    <a:pt x="5" y="6"/>
                  </a:cubicBezTo>
                  <a:cubicBezTo>
                    <a:pt x="5" y="7"/>
                    <a:pt x="5" y="13"/>
                    <a:pt x="5" y="13"/>
                  </a:cubicBezTo>
                  <a:cubicBezTo>
                    <a:pt x="5" y="13"/>
                    <a:pt x="4" y="17"/>
                    <a:pt x="3" y="17"/>
                  </a:cubicBezTo>
                  <a:cubicBezTo>
                    <a:pt x="3" y="17"/>
                    <a:pt x="1" y="18"/>
                    <a:pt x="0" y="19"/>
                  </a:cubicBezTo>
                  <a:cubicBezTo>
                    <a:pt x="0" y="19"/>
                    <a:pt x="1" y="20"/>
                    <a:pt x="1" y="20"/>
                  </a:cubicBezTo>
                  <a:cubicBezTo>
                    <a:pt x="2" y="22"/>
                    <a:pt x="4" y="26"/>
                    <a:pt x="5" y="31"/>
                  </a:cubicBezTo>
                  <a:cubicBezTo>
                    <a:pt x="9" y="29"/>
                    <a:pt x="13" y="26"/>
                    <a:pt x="14" y="24"/>
                  </a:cubicBezTo>
                  <a:cubicBezTo>
                    <a:pt x="15" y="19"/>
                    <a:pt x="19" y="10"/>
                    <a:pt x="19" y="10"/>
                  </a:cubicBezTo>
                  <a:cubicBezTo>
                    <a:pt x="19" y="10"/>
                    <a:pt x="13" y="4"/>
                    <a:pt x="12" y="2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5" name="Freeform 75"/>
            <p:cNvSpPr>
              <a:spLocks/>
            </p:cNvSpPr>
            <p:nvPr/>
          </p:nvSpPr>
          <p:spPr bwMode="auto">
            <a:xfrm>
              <a:off x="956" y="3995"/>
              <a:ext cx="131" cy="246"/>
            </a:xfrm>
            <a:custGeom>
              <a:avLst/>
              <a:gdLst>
                <a:gd name="T0" fmla="*/ 0 w 63"/>
                <a:gd name="T1" fmla="*/ 65 h 118"/>
                <a:gd name="T2" fmla="*/ 7 w 63"/>
                <a:gd name="T3" fmla="*/ 61 h 118"/>
                <a:gd name="T4" fmla="*/ 17 w 63"/>
                <a:gd name="T5" fmla="*/ 58 h 118"/>
                <a:gd name="T6" fmla="*/ 21 w 63"/>
                <a:gd name="T7" fmla="*/ 55 h 118"/>
                <a:gd name="T8" fmla="*/ 26 w 63"/>
                <a:gd name="T9" fmla="*/ 60 h 118"/>
                <a:gd name="T10" fmla="*/ 29 w 63"/>
                <a:gd name="T11" fmla="*/ 50 h 118"/>
                <a:gd name="T12" fmla="*/ 44 w 63"/>
                <a:gd name="T13" fmla="*/ 40 h 118"/>
                <a:gd name="T14" fmla="*/ 44 w 63"/>
                <a:gd name="T15" fmla="*/ 31 h 118"/>
                <a:gd name="T16" fmla="*/ 37 w 63"/>
                <a:gd name="T17" fmla="*/ 31 h 118"/>
                <a:gd name="T18" fmla="*/ 34 w 63"/>
                <a:gd name="T19" fmla="*/ 27 h 118"/>
                <a:gd name="T20" fmla="*/ 28 w 63"/>
                <a:gd name="T21" fmla="*/ 21 h 118"/>
                <a:gd name="T22" fmla="*/ 29 w 63"/>
                <a:gd name="T23" fmla="*/ 17 h 118"/>
                <a:gd name="T24" fmla="*/ 28 w 63"/>
                <a:gd name="T25" fmla="*/ 11 h 118"/>
                <a:gd name="T26" fmla="*/ 33 w 63"/>
                <a:gd name="T27" fmla="*/ 10 h 118"/>
                <a:gd name="T28" fmla="*/ 35 w 63"/>
                <a:gd name="T29" fmla="*/ 3 h 118"/>
                <a:gd name="T30" fmla="*/ 43 w 63"/>
                <a:gd name="T31" fmla="*/ 4 h 118"/>
                <a:gd name="T32" fmla="*/ 49 w 63"/>
                <a:gd name="T33" fmla="*/ 0 h 118"/>
                <a:gd name="T34" fmla="*/ 60 w 63"/>
                <a:gd name="T35" fmla="*/ 8 h 118"/>
                <a:gd name="T36" fmla="*/ 61 w 63"/>
                <a:gd name="T37" fmla="*/ 14 h 118"/>
                <a:gd name="T38" fmla="*/ 62 w 63"/>
                <a:gd name="T39" fmla="*/ 17 h 118"/>
                <a:gd name="T40" fmla="*/ 60 w 63"/>
                <a:gd name="T41" fmla="*/ 24 h 118"/>
                <a:gd name="T42" fmla="*/ 61 w 63"/>
                <a:gd name="T43" fmla="*/ 43 h 118"/>
                <a:gd name="T44" fmla="*/ 57 w 63"/>
                <a:gd name="T45" fmla="*/ 52 h 118"/>
                <a:gd name="T46" fmla="*/ 49 w 63"/>
                <a:gd name="T47" fmla="*/ 68 h 118"/>
                <a:gd name="T48" fmla="*/ 45 w 63"/>
                <a:gd name="T49" fmla="*/ 83 h 118"/>
                <a:gd name="T50" fmla="*/ 48 w 63"/>
                <a:gd name="T51" fmla="*/ 102 h 118"/>
                <a:gd name="T52" fmla="*/ 49 w 63"/>
                <a:gd name="T53" fmla="*/ 112 h 118"/>
                <a:gd name="T54" fmla="*/ 41 w 63"/>
                <a:gd name="T55" fmla="*/ 113 h 118"/>
                <a:gd name="T56" fmla="*/ 29 w 63"/>
                <a:gd name="T57" fmla="*/ 115 h 118"/>
                <a:gd name="T58" fmla="*/ 18 w 63"/>
                <a:gd name="T59" fmla="*/ 111 h 118"/>
                <a:gd name="T60" fmla="*/ 14 w 63"/>
                <a:gd name="T61" fmla="*/ 97 h 118"/>
                <a:gd name="T62" fmla="*/ 12 w 63"/>
                <a:gd name="T63" fmla="*/ 84 h 118"/>
                <a:gd name="T64" fmla="*/ 2 w 63"/>
                <a:gd name="T65" fmla="*/ 70 h 118"/>
                <a:gd name="T66" fmla="*/ 0 w 63"/>
                <a:gd name="T67" fmla="*/ 6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" h="118">
                  <a:moveTo>
                    <a:pt x="0" y="65"/>
                  </a:moveTo>
                  <a:cubicBezTo>
                    <a:pt x="2" y="63"/>
                    <a:pt x="4" y="61"/>
                    <a:pt x="7" y="61"/>
                  </a:cubicBezTo>
                  <a:cubicBezTo>
                    <a:pt x="14" y="60"/>
                    <a:pt x="16" y="58"/>
                    <a:pt x="17" y="58"/>
                  </a:cubicBezTo>
                  <a:cubicBezTo>
                    <a:pt x="17" y="57"/>
                    <a:pt x="21" y="55"/>
                    <a:pt x="21" y="55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7" y="54"/>
                    <a:pt x="29" y="50"/>
                  </a:cubicBezTo>
                  <a:cubicBezTo>
                    <a:pt x="32" y="46"/>
                    <a:pt x="44" y="40"/>
                    <a:pt x="44" y="40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1"/>
                    <a:pt x="36" y="29"/>
                    <a:pt x="34" y="27"/>
                  </a:cubicBezTo>
                  <a:cubicBezTo>
                    <a:pt x="32" y="25"/>
                    <a:pt x="28" y="21"/>
                    <a:pt x="28" y="21"/>
                  </a:cubicBezTo>
                  <a:cubicBezTo>
                    <a:pt x="28" y="21"/>
                    <a:pt x="31" y="19"/>
                    <a:pt x="29" y="17"/>
                  </a:cubicBezTo>
                  <a:cubicBezTo>
                    <a:pt x="28" y="14"/>
                    <a:pt x="27" y="11"/>
                    <a:pt x="28" y="11"/>
                  </a:cubicBezTo>
                  <a:cubicBezTo>
                    <a:pt x="29" y="11"/>
                    <a:pt x="33" y="11"/>
                    <a:pt x="33" y="10"/>
                  </a:cubicBezTo>
                  <a:cubicBezTo>
                    <a:pt x="33" y="8"/>
                    <a:pt x="34" y="3"/>
                    <a:pt x="35" y="3"/>
                  </a:cubicBezTo>
                  <a:cubicBezTo>
                    <a:pt x="37" y="3"/>
                    <a:pt x="40" y="6"/>
                    <a:pt x="43" y="4"/>
                  </a:cubicBezTo>
                  <a:cubicBezTo>
                    <a:pt x="44" y="3"/>
                    <a:pt x="46" y="1"/>
                    <a:pt x="49" y="0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0" y="19"/>
                    <a:pt x="60" y="20"/>
                    <a:pt x="60" y="24"/>
                  </a:cubicBezTo>
                  <a:cubicBezTo>
                    <a:pt x="61" y="29"/>
                    <a:pt x="62" y="39"/>
                    <a:pt x="61" y="43"/>
                  </a:cubicBezTo>
                  <a:cubicBezTo>
                    <a:pt x="61" y="48"/>
                    <a:pt x="63" y="48"/>
                    <a:pt x="57" y="52"/>
                  </a:cubicBezTo>
                  <a:cubicBezTo>
                    <a:pt x="50" y="56"/>
                    <a:pt x="49" y="63"/>
                    <a:pt x="49" y="68"/>
                  </a:cubicBezTo>
                  <a:cubicBezTo>
                    <a:pt x="49" y="73"/>
                    <a:pt x="45" y="78"/>
                    <a:pt x="45" y="83"/>
                  </a:cubicBezTo>
                  <a:cubicBezTo>
                    <a:pt x="45" y="87"/>
                    <a:pt x="48" y="95"/>
                    <a:pt x="48" y="102"/>
                  </a:cubicBezTo>
                  <a:cubicBezTo>
                    <a:pt x="48" y="106"/>
                    <a:pt x="49" y="109"/>
                    <a:pt x="49" y="112"/>
                  </a:cubicBezTo>
                  <a:cubicBezTo>
                    <a:pt x="46" y="113"/>
                    <a:pt x="43" y="113"/>
                    <a:pt x="41" y="113"/>
                  </a:cubicBezTo>
                  <a:cubicBezTo>
                    <a:pt x="35" y="113"/>
                    <a:pt x="31" y="113"/>
                    <a:pt x="29" y="115"/>
                  </a:cubicBezTo>
                  <a:cubicBezTo>
                    <a:pt x="26" y="118"/>
                    <a:pt x="20" y="114"/>
                    <a:pt x="18" y="111"/>
                  </a:cubicBezTo>
                  <a:cubicBezTo>
                    <a:pt x="16" y="107"/>
                    <a:pt x="14" y="100"/>
                    <a:pt x="14" y="97"/>
                  </a:cubicBezTo>
                  <a:cubicBezTo>
                    <a:pt x="14" y="94"/>
                    <a:pt x="13" y="88"/>
                    <a:pt x="12" y="84"/>
                  </a:cubicBezTo>
                  <a:cubicBezTo>
                    <a:pt x="12" y="80"/>
                    <a:pt x="3" y="74"/>
                    <a:pt x="2" y="70"/>
                  </a:cubicBezTo>
                  <a:cubicBezTo>
                    <a:pt x="1" y="68"/>
                    <a:pt x="0" y="67"/>
                    <a:pt x="0" y="65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6" name="Freeform 76"/>
            <p:cNvSpPr>
              <a:spLocks/>
            </p:cNvSpPr>
            <p:nvPr/>
          </p:nvSpPr>
          <p:spPr bwMode="auto">
            <a:xfrm>
              <a:off x="954" y="4026"/>
              <a:ext cx="94" cy="104"/>
            </a:xfrm>
            <a:custGeom>
              <a:avLst/>
              <a:gdLst>
                <a:gd name="T0" fmla="*/ 0 w 45"/>
                <a:gd name="T1" fmla="*/ 36 h 50"/>
                <a:gd name="T2" fmla="*/ 9 w 45"/>
                <a:gd name="T3" fmla="*/ 29 h 50"/>
                <a:gd name="T4" fmla="*/ 14 w 45"/>
                <a:gd name="T5" fmla="*/ 15 h 50"/>
                <a:gd name="T6" fmla="*/ 7 w 45"/>
                <a:gd name="T7" fmla="*/ 6 h 50"/>
                <a:gd name="T8" fmla="*/ 14 w 45"/>
                <a:gd name="T9" fmla="*/ 5 h 50"/>
                <a:gd name="T10" fmla="*/ 18 w 45"/>
                <a:gd name="T11" fmla="*/ 0 h 50"/>
                <a:gd name="T12" fmla="*/ 24 w 45"/>
                <a:gd name="T13" fmla="*/ 6 h 50"/>
                <a:gd name="T14" fmla="*/ 29 w 45"/>
                <a:gd name="T15" fmla="*/ 6 h 50"/>
                <a:gd name="T16" fmla="*/ 35 w 45"/>
                <a:gd name="T17" fmla="*/ 12 h 50"/>
                <a:gd name="T18" fmla="*/ 38 w 45"/>
                <a:gd name="T19" fmla="*/ 16 h 50"/>
                <a:gd name="T20" fmla="*/ 45 w 45"/>
                <a:gd name="T21" fmla="*/ 16 h 50"/>
                <a:gd name="T22" fmla="*/ 45 w 45"/>
                <a:gd name="T23" fmla="*/ 25 h 50"/>
                <a:gd name="T24" fmla="*/ 30 w 45"/>
                <a:gd name="T25" fmla="*/ 35 h 50"/>
                <a:gd name="T26" fmla="*/ 27 w 45"/>
                <a:gd name="T27" fmla="*/ 45 h 50"/>
                <a:gd name="T28" fmla="*/ 22 w 45"/>
                <a:gd name="T29" fmla="*/ 40 h 50"/>
                <a:gd name="T30" fmla="*/ 18 w 45"/>
                <a:gd name="T31" fmla="*/ 43 h 50"/>
                <a:gd name="T32" fmla="*/ 8 w 45"/>
                <a:gd name="T33" fmla="*/ 46 h 50"/>
                <a:gd name="T34" fmla="*/ 1 w 45"/>
                <a:gd name="T35" fmla="*/ 50 h 50"/>
                <a:gd name="T36" fmla="*/ 1 w 45"/>
                <a:gd name="T37" fmla="*/ 43 h 50"/>
                <a:gd name="T38" fmla="*/ 0 w 45"/>
                <a:gd name="T39" fmla="*/ 3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50">
                  <a:moveTo>
                    <a:pt x="0" y="36"/>
                  </a:moveTo>
                  <a:cubicBezTo>
                    <a:pt x="4" y="34"/>
                    <a:pt x="8" y="31"/>
                    <a:pt x="9" y="29"/>
                  </a:cubicBezTo>
                  <a:cubicBezTo>
                    <a:pt x="10" y="24"/>
                    <a:pt x="14" y="15"/>
                    <a:pt x="14" y="15"/>
                  </a:cubicBezTo>
                  <a:cubicBezTo>
                    <a:pt x="14" y="15"/>
                    <a:pt x="7" y="8"/>
                    <a:pt x="7" y="6"/>
                  </a:cubicBezTo>
                  <a:cubicBezTo>
                    <a:pt x="7" y="4"/>
                    <a:pt x="13" y="6"/>
                    <a:pt x="14" y="5"/>
                  </a:cubicBezTo>
                  <a:cubicBezTo>
                    <a:pt x="15" y="4"/>
                    <a:pt x="18" y="0"/>
                    <a:pt x="18" y="0"/>
                  </a:cubicBezTo>
                  <a:cubicBezTo>
                    <a:pt x="18" y="0"/>
                    <a:pt x="23" y="6"/>
                    <a:pt x="24" y="6"/>
                  </a:cubicBezTo>
                  <a:cubicBezTo>
                    <a:pt x="24" y="6"/>
                    <a:pt x="26" y="6"/>
                    <a:pt x="29" y="6"/>
                  </a:cubicBezTo>
                  <a:cubicBezTo>
                    <a:pt x="30" y="7"/>
                    <a:pt x="33" y="10"/>
                    <a:pt x="35" y="12"/>
                  </a:cubicBezTo>
                  <a:cubicBezTo>
                    <a:pt x="37" y="14"/>
                    <a:pt x="38" y="16"/>
                    <a:pt x="38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33" y="31"/>
                    <a:pt x="30" y="35"/>
                  </a:cubicBezTo>
                  <a:cubicBezTo>
                    <a:pt x="28" y="39"/>
                    <a:pt x="27" y="45"/>
                    <a:pt x="27" y="45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40"/>
                    <a:pt x="18" y="42"/>
                    <a:pt x="18" y="43"/>
                  </a:cubicBezTo>
                  <a:cubicBezTo>
                    <a:pt x="17" y="43"/>
                    <a:pt x="15" y="45"/>
                    <a:pt x="8" y="46"/>
                  </a:cubicBezTo>
                  <a:cubicBezTo>
                    <a:pt x="5" y="46"/>
                    <a:pt x="3" y="48"/>
                    <a:pt x="1" y="50"/>
                  </a:cubicBezTo>
                  <a:cubicBezTo>
                    <a:pt x="1" y="48"/>
                    <a:pt x="1" y="46"/>
                    <a:pt x="1" y="43"/>
                  </a:cubicBezTo>
                  <a:cubicBezTo>
                    <a:pt x="1" y="41"/>
                    <a:pt x="1" y="38"/>
                    <a:pt x="0" y="36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7" name="Freeform 77"/>
            <p:cNvSpPr>
              <a:spLocks/>
            </p:cNvSpPr>
            <p:nvPr/>
          </p:nvSpPr>
          <p:spPr bwMode="auto">
            <a:xfrm>
              <a:off x="954" y="3795"/>
              <a:ext cx="231" cy="235"/>
            </a:xfrm>
            <a:custGeom>
              <a:avLst/>
              <a:gdLst>
                <a:gd name="T0" fmla="*/ 86 w 111"/>
                <a:gd name="T1" fmla="*/ 105 h 113"/>
                <a:gd name="T2" fmla="*/ 63 w 111"/>
                <a:gd name="T3" fmla="*/ 113 h 113"/>
                <a:gd name="T4" fmla="*/ 61 w 111"/>
                <a:gd name="T5" fmla="*/ 104 h 113"/>
                <a:gd name="T6" fmla="*/ 49 w 111"/>
                <a:gd name="T7" fmla="*/ 86 h 113"/>
                <a:gd name="T8" fmla="*/ 42 w 111"/>
                <a:gd name="T9" fmla="*/ 70 h 113"/>
                <a:gd name="T10" fmla="*/ 35 w 111"/>
                <a:gd name="T11" fmla="*/ 49 h 113"/>
                <a:gd name="T12" fmla="*/ 24 w 111"/>
                <a:gd name="T13" fmla="*/ 32 h 113"/>
                <a:gd name="T14" fmla="*/ 9 w 111"/>
                <a:gd name="T15" fmla="*/ 25 h 113"/>
                <a:gd name="T16" fmla="*/ 0 w 111"/>
                <a:gd name="T17" fmla="*/ 18 h 113"/>
                <a:gd name="T18" fmla="*/ 10 w 111"/>
                <a:gd name="T19" fmla="*/ 17 h 113"/>
                <a:gd name="T20" fmla="*/ 22 w 111"/>
                <a:gd name="T21" fmla="*/ 13 h 113"/>
                <a:gd name="T22" fmla="*/ 30 w 111"/>
                <a:gd name="T23" fmla="*/ 24 h 113"/>
                <a:gd name="T24" fmla="*/ 43 w 111"/>
                <a:gd name="T25" fmla="*/ 38 h 113"/>
                <a:gd name="T26" fmla="*/ 55 w 111"/>
                <a:gd name="T27" fmla="*/ 31 h 113"/>
                <a:gd name="T28" fmla="*/ 69 w 111"/>
                <a:gd name="T29" fmla="*/ 18 h 113"/>
                <a:gd name="T30" fmla="*/ 60 w 111"/>
                <a:gd name="T31" fmla="*/ 16 h 113"/>
                <a:gd name="T32" fmla="*/ 64 w 111"/>
                <a:gd name="T33" fmla="*/ 5 h 113"/>
                <a:gd name="T34" fmla="*/ 75 w 111"/>
                <a:gd name="T35" fmla="*/ 7 h 113"/>
                <a:gd name="T36" fmla="*/ 81 w 111"/>
                <a:gd name="T37" fmla="*/ 5 h 113"/>
                <a:gd name="T38" fmla="*/ 86 w 111"/>
                <a:gd name="T39" fmla="*/ 1 h 113"/>
                <a:gd name="T40" fmla="*/ 91 w 111"/>
                <a:gd name="T41" fmla="*/ 11 h 113"/>
                <a:gd name="T42" fmla="*/ 99 w 111"/>
                <a:gd name="T43" fmla="*/ 21 h 113"/>
                <a:gd name="T44" fmla="*/ 99 w 111"/>
                <a:gd name="T45" fmla="*/ 30 h 113"/>
                <a:gd name="T46" fmla="*/ 104 w 111"/>
                <a:gd name="T47" fmla="*/ 45 h 113"/>
                <a:gd name="T48" fmla="*/ 110 w 111"/>
                <a:gd name="T49" fmla="*/ 50 h 113"/>
                <a:gd name="T50" fmla="*/ 105 w 111"/>
                <a:gd name="T51" fmla="*/ 59 h 113"/>
                <a:gd name="T52" fmla="*/ 104 w 111"/>
                <a:gd name="T53" fmla="*/ 64 h 113"/>
                <a:gd name="T54" fmla="*/ 104 w 111"/>
                <a:gd name="T55" fmla="*/ 70 h 113"/>
                <a:gd name="T56" fmla="*/ 97 w 111"/>
                <a:gd name="T57" fmla="*/ 73 h 113"/>
                <a:gd name="T58" fmla="*/ 89 w 111"/>
                <a:gd name="T59" fmla="*/ 72 h 113"/>
                <a:gd name="T60" fmla="*/ 91 w 111"/>
                <a:gd name="T61" fmla="*/ 82 h 113"/>
                <a:gd name="T62" fmla="*/ 92 w 111"/>
                <a:gd name="T63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1" h="113">
                  <a:moveTo>
                    <a:pt x="92" y="99"/>
                  </a:moveTo>
                  <a:cubicBezTo>
                    <a:pt x="88" y="100"/>
                    <a:pt x="86" y="105"/>
                    <a:pt x="86" y="105"/>
                  </a:cubicBezTo>
                  <a:cubicBezTo>
                    <a:pt x="79" y="106"/>
                    <a:pt x="74" y="110"/>
                    <a:pt x="68" y="111"/>
                  </a:cubicBezTo>
                  <a:cubicBezTo>
                    <a:pt x="66" y="112"/>
                    <a:pt x="64" y="112"/>
                    <a:pt x="63" y="113"/>
                  </a:cubicBezTo>
                  <a:cubicBezTo>
                    <a:pt x="62" y="110"/>
                    <a:pt x="62" y="110"/>
                    <a:pt x="62" y="110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50" y="95"/>
                    <a:pt x="50" y="88"/>
                    <a:pt x="49" y="86"/>
                  </a:cubicBezTo>
                  <a:cubicBezTo>
                    <a:pt x="49" y="85"/>
                    <a:pt x="47" y="82"/>
                    <a:pt x="47" y="79"/>
                  </a:cubicBezTo>
                  <a:cubicBezTo>
                    <a:pt x="47" y="76"/>
                    <a:pt x="43" y="75"/>
                    <a:pt x="42" y="70"/>
                  </a:cubicBezTo>
                  <a:cubicBezTo>
                    <a:pt x="41" y="65"/>
                    <a:pt x="34" y="63"/>
                    <a:pt x="34" y="59"/>
                  </a:cubicBezTo>
                  <a:cubicBezTo>
                    <a:pt x="35" y="56"/>
                    <a:pt x="38" y="52"/>
                    <a:pt x="35" y="49"/>
                  </a:cubicBezTo>
                  <a:cubicBezTo>
                    <a:pt x="32" y="45"/>
                    <a:pt x="31" y="48"/>
                    <a:pt x="29" y="42"/>
                  </a:cubicBezTo>
                  <a:cubicBezTo>
                    <a:pt x="27" y="36"/>
                    <a:pt x="27" y="34"/>
                    <a:pt x="24" y="32"/>
                  </a:cubicBezTo>
                  <a:cubicBezTo>
                    <a:pt x="22" y="31"/>
                    <a:pt x="18" y="33"/>
                    <a:pt x="15" y="31"/>
                  </a:cubicBezTo>
                  <a:cubicBezTo>
                    <a:pt x="13" y="28"/>
                    <a:pt x="12" y="25"/>
                    <a:pt x="9" y="25"/>
                  </a:cubicBezTo>
                  <a:cubicBezTo>
                    <a:pt x="6" y="26"/>
                    <a:pt x="5" y="27"/>
                    <a:pt x="3" y="22"/>
                  </a:cubicBezTo>
                  <a:cubicBezTo>
                    <a:pt x="2" y="21"/>
                    <a:pt x="1" y="19"/>
                    <a:pt x="0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7" y="16"/>
                    <a:pt x="10" y="17"/>
                  </a:cubicBezTo>
                  <a:cubicBezTo>
                    <a:pt x="13" y="17"/>
                    <a:pt x="17" y="18"/>
                    <a:pt x="17" y="15"/>
                  </a:cubicBezTo>
                  <a:cubicBezTo>
                    <a:pt x="17" y="13"/>
                    <a:pt x="22" y="10"/>
                    <a:pt x="22" y="13"/>
                  </a:cubicBezTo>
                  <a:cubicBezTo>
                    <a:pt x="22" y="16"/>
                    <a:pt x="22" y="20"/>
                    <a:pt x="23" y="21"/>
                  </a:cubicBezTo>
                  <a:cubicBezTo>
                    <a:pt x="23" y="22"/>
                    <a:pt x="30" y="21"/>
                    <a:pt x="30" y="24"/>
                  </a:cubicBezTo>
                  <a:cubicBezTo>
                    <a:pt x="31" y="27"/>
                    <a:pt x="31" y="34"/>
                    <a:pt x="34" y="36"/>
                  </a:cubicBezTo>
                  <a:cubicBezTo>
                    <a:pt x="37" y="39"/>
                    <a:pt x="39" y="39"/>
                    <a:pt x="43" y="38"/>
                  </a:cubicBezTo>
                  <a:cubicBezTo>
                    <a:pt x="46" y="37"/>
                    <a:pt x="47" y="35"/>
                    <a:pt x="48" y="33"/>
                  </a:cubicBezTo>
                  <a:cubicBezTo>
                    <a:pt x="49" y="31"/>
                    <a:pt x="49" y="30"/>
                    <a:pt x="55" y="31"/>
                  </a:cubicBezTo>
                  <a:cubicBezTo>
                    <a:pt x="61" y="33"/>
                    <a:pt x="62" y="29"/>
                    <a:pt x="65" y="26"/>
                  </a:cubicBezTo>
                  <a:cubicBezTo>
                    <a:pt x="68" y="23"/>
                    <a:pt x="69" y="20"/>
                    <a:pt x="69" y="18"/>
                  </a:cubicBezTo>
                  <a:cubicBezTo>
                    <a:pt x="69" y="15"/>
                    <a:pt x="67" y="16"/>
                    <a:pt x="64" y="17"/>
                  </a:cubicBezTo>
                  <a:cubicBezTo>
                    <a:pt x="61" y="18"/>
                    <a:pt x="59" y="18"/>
                    <a:pt x="60" y="16"/>
                  </a:cubicBezTo>
                  <a:cubicBezTo>
                    <a:pt x="60" y="14"/>
                    <a:pt x="60" y="11"/>
                    <a:pt x="59" y="10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91" y="11"/>
                    <a:pt x="91" y="11"/>
                    <a:pt x="91" y="11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102" y="23"/>
                    <a:pt x="102" y="23"/>
                    <a:pt x="102" y="23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0" y="50"/>
                    <a:pt x="110" y="50"/>
                    <a:pt x="110" y="50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4" y="62"/>
                    <a:pt x="104" y="62"/>
                    <a:pt x="104" y="6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6" y="66"/>
                    <a:pt x="106" y="66"/>
                    <a:pt x="106" y="66"/>
                  </a:cubicBezTo>
                  <a:cubicBezTo>
                    <a:pt x="104" y="70"/>
                    <a:pt x="104" y="70"/>
                    <a:pt x="104" y="70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2" y="71"/>
                    <a:pt x="92" y="71"/>
                    <a:pt x="92" y="71"/>
                  </a:cubicBezTo>
                  <a:cubicBezTo>
                    <a:pt x="89" y="72"/>
                    <a:pt x="89" y="72"/>
                    <a:pt x="89" y="72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91" y="82"/>
                    <a:pt x="91" y="82"/>
                    <a:pt x="91" y="82"/>
                  </a:cubicBezTo>
                  <a:cubicBezTo>
                    <a:pt x="92" y="86"/>
                    <a:pt x="92" y="86"/>
                    <a:pt x="92" y="86"/>
                  </a:cubicBezTo>
                  <a:lnTo>
                    <a:pt x="92" y="99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8" name="Freeform 78"/>
            <p:cNvSpPr>
              <a:spLocks/>
            </p:cNvSpPr>
            <p:nvPr/>
          </p:nvSpPr>
          <p:spPr bwMode="auto">
            <a:xfrm>
              <a:off x="812" y="3801"/>
              <a:ext cx="65" cy="100"/>
            </a:xfrm>
            <a:custGeom>
              <a:avLst/>
              <a:gdLst>
                <a:gd name="T0" fmla="*/ 4 w 31"/>
                <a:gd name="T1" fmla="*/ 0 h 48"/>
                <a:gd name="T2" fmla="*/ 5 w 31"/>
                <a:gd name="T3" fmla="*/ 9 h 48"/>
                <a:gd name="T4" fmla="*/ 12 w 31"/>
                <a:gd name="T5" fmla="*/ 14 h 48"/>
                <a:gd name="T6" fmla="*/ 20 w 31"/>
                <a:gd name="T7" fmla="*/ 18 h 48"/>
                <a:gd name="T8" fmla="*/ 14 w 31"/>
                <a:gd name="T9" fmla="*/ 23 h 48"/>
                <a:gd name="T10" fmla="*/ 12 w 31"/>
                <a:gd name="T11" fmla="*/ 31 h 48"/>
                <a:gd name="T12" fmla="*/ 10 w 31"/>
                <a:gd name="T13" fmla="*/ 37 h 48"/>
                <a:gd name="T14" fmla="*/ 0 w 31"/>
                <a:gd name="T15" fmla="*/ 38 h 48"/>
                <a:gd name="T16" fmla="*/ 6 w 31"/>
                <a:gd name="T17" fmla="*/ 48 h 48"/>
                <a:gd name="T18" fmla="*/ 15 w 31"/>
                <a:gd name="T19" fmla="*/ 41 h 48"/>
                <a:gd name="T20" fmla="*/ 26 w 31"/>
                <a:gd name="T21" fmla="*/ 32 h 48"/>
                <a:gd name="T22" fmla="*/ 30 w 31"/>
                <a:gd name="T23" fmla="*/ 26 h 48"/>
                <a:gd name="T24" fmla="*/ 26 w 31"/>
                <a:gd name="T25" fmla="*/ 14 h 48"/>
                <a:gd name="T26" fmla="*/ 19 w 31"/>
                <a:gd name="T27" fmla="*/ 7 h 48"/>
                <a:gd name="T28" fmla="*/ 10 w 31"/>
                <a:gd name="T29" fmla="*/ 2 h 48"/>
                <a:gd name="T30" fmla="*/ 4 w 31"/>
                <a:gd name="T3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8">
                  <a:moveTo>
                    <a:pt x="4" y="0"/>
                  </a:moveTo>
                  <a:cubicBezTo>
                    <a:pt x="3" y="6"/>
                    <a:pt x="4" y="7"/>
                    <a:pt x="5" y="9"/>
                  </a:cubicBezTo>
                  <a:cubicBezTo>
                    <a:pt x="6" y="12"/>
                    <a:pt x="8" y="13"/>
                    <a:pt x="12" y="14"/>
                  </a:cubicBezTo>
                  <a:cubicBezTo>
                    <a:pt x="16" y="15"/>
                    <a:pt x="21" y="14"/>
                    <a:pt x="20" y="18"/>
                  </a:cubicBezTo>
                  <a:cubicBezTo>
                    <a:pt x="19" y="22"/>
                    <a:pt x="17" y="20"/>
                    <a:pt x="14" y="23"/>
                  </a:cubicBezTo>
                  <a:cubicBezTo>
                    <a:pt x="12" y="26"/>
                    <a:pt x="12" y="30"/>
                    <a:pt x="12" y="31"/>
                  </a:cubicBezTo>
                  <a:cubicBezTo>
                    <a:pt x="13" y="32"/>
                    <a:pt x="15" y="37"/>
                    <a:pt x="10" y="37"/>
                  </a:cubicBezTo>
                  <a:cubicBezTo>
                    <a:pt x="5" y="37"/>
                    <a:pt x="0" y="35"/>
                    <a:pt x="0" y="38"/>
                  </a:cubicBezTo>
                  <a:cubicBezTo>
                    <a:pt x="0" y="40"/>
                    <a:pt x="6" y="48"/>
                    <a:pt x="6" y="48"/>
                  </a:cubicBezTo>
                  <a:cubicBezTo>
                    <a:pt x="6" y="48"/>
                    <a:pt x="13" y="45"/>
                    <a:pt x="15" y="41"/>
                  </a:cubicBezTo>
                  <a:cubicBezTo>
                    <a:pt x="17" y="36"/>
                    <a:pt x="25" y="28"/>
                    <a:pt x="26" y="32"/>
                  </a:cubicBezTo>
                  <a:cubicBezTo>
                    <a:pt x="27" y="35"/>
                    <a:pt x="30" y="31"/>
                    <a:pt x="30" y="26"/>
                  </a:cubicBezTo>
                  <a:cubicBezTo>
                    <a:pt x="31" y="20"/>
                    <a:pt x="31" y="19"/>
                    <a:pt x="26" y="14"/>
                  </a:cubicBezTo>
                  <a:cubicBezTo>
                    <a:pt x="21" y="9"/>
                    <a:pt x="25" y="8"/>
                    <a:pt x="19" y="7"/>
                  </a:cubicBezTo>
                  <a:cubicBezTo>
                    <a:pt x="14" y="6"/>
                    <a:pt x="10" y="4"/>
                    <a:pt x="10" y="2"/>
                  </a:cubicBezTo>
                  <a:cubicBezTo>
                    <a:pt x="10" y="0"/>
                    <a:pt x="4" y="0"/>
                    <a:pt x="4" y="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9" name="Freeform 79"/>
            <p:cNvSpPr>
              <a:spLocks/>
            </p:cNvSpPr>
            <p:nvPr/>
          </p:nvSpPr>
          <p:spPr bwMode="auto">
            <a:xfrm>
              <a:off x="1615" y="3584"/>
              <a:ext cx="241" cy="319"/>
            </a:xfrm>
            <a:custGeom>
              <a:avLst/>
              <a:gdLst>
                <a:gd name="T0" fmla="*/ 100 w 116"/>
                <a:gd name="T1" fmla="*/ 37 h 153"/>
                <a:gd name="T2" fmla="*/ 110 w 116"/>
                <a:gd name="T3" fmla="*/ 45 h 153"/>
                <a:gd name="T4" fmla="*/ 116 w 116"/>
                <a:gd name="T5" fmla="*/ 49 h 153"/>
                <a:gd name="T6" fmla="*/ 110 w 116"/>
                <a:gd name="T7" fmla="*/ 62 h 153"/>
                <a:gd name="T8" fmla="*/ 99 w 116"/>
                <a:gd name="T9" fmla="*/ 69 h 153"/>
                <a:gd name="T10" fmla="*/ 92 w 116"/>
                <a:gd name="T11" fmla="*/ 61 h 153"/>
                <a:gd name="T12" fmla="*/ 80 w 116"/>
                <a:gd name="T13" fmla="*/ 53 h 153"/>
                <a:gd name="T14" fmla="*/ 70 w 116"/>
                <a:gd name="T15" fmla="*/ 60 h 153"/>
                <a:gd name="T16" fmla="*/ 74 w 116"/>
                <a:gd name="T17" fmla="*/ 77 h 153"/>
                <a:gd name="T18" fmla="*/ 84 w 116"/>
                <a:gd name="T19" fmla="*/ 85 h 153"/>
                <a:gd name="T20" fmla="*/ 91 w 116"/>
                <a:gd name="T21" fmla="*/ 83 h 153"/>
                <a:gd name="T22" fmla="*/ 101 w 116"/>
                <a:gd name="T23" fmla="*/ 88 h 153"/>
                <a:gd name="T24" fmla="*/ 102 w 116"/>
                <a:gd name="T25" fmla="*/ 100 h 153"/>
                <a:gd name="T26" fmla="*/ 94 w 116"/>
                <a:gd name="T27" fmla="*/ 95 h 153"/>
                <a:gd name="T28" fmla="*/ 86 w 116"/>
                <a:gd name="T29" fmla="*/ 100 h 153"/>
                <a:gd name="T30" fmla="*/ 78 w 116"/>
                <a:gd name="T31" fmla="*/ 113 h 153"/>
                <a:gd name="T32" fmla="*/ 73 w 116"/>
                <a:gd name="T33" fmla="*/ 123 h 153"/>
                <a:gd name="T34" fmla="*/ 67 w 116"/>
                <a:gd name="T35" fmla="*/ 131 h 153"/>
                <a:gd name="T36" fmla="*/ 59 w 116"/>
                <a:gd name="T37" fmla="*/ 141 h 153"/>
                <a:gd name="T38" fmla="*/ 48 w 116"/>
                <a:gd name="T39" fmla="*/ 153 h 153"/>
                <a:gd name="T40" fmla="*/ 33 w 116"/>
                <a:gd name="T41" fmla="*/ 149 h 153"/>
                <a:gd name="T42" fmla="*/ 23 w 116"/>
                <a:gd name="T43" fmla="*/ 143 h 153"/>
                <a:gd name="T44" fmla="*/ 21 w 116"/>
                <a:gd name="T45" fmla="*/ 135 h 153"/>
                <a:gd name="T46" fmla="*/ 19 w 116"/>
                <a:gd name="T47" fmla="*/ 128 h 153"/>
                <a:gd name="T48" fmla="*/ 27 w 116"/>
                <a:gd name="T49" fmla="*/ 121 h 153"/>
                <a:gd name="T50" fmla="*/ 21 w 116"/>
                <a:gd name="T51" fmla="*/ 115 h 153"/>
                <a:gd name="T52" fmla="*/ 12 w 116"/>
                <a:gd name="T53" fmla="*/ 114 h 153"/>
                <a:gd name="T54" fmla="*/ 15 w 116"/>
                <a:gd name="T55" fmla="*/ 103 h 153"/>
                <a:gd name="T56" fmla="*/ 13 w 116"/>
                <a:gd name="T57" fmla="*/ 88 h 153"/>
                <a:gd name="T58" fmla="*/ 1 w 116"/>
                <a:gd name="T59" fmla="*/ 73 h 153"/>
                <a:gd name="T60" fmla="*/ 4 w 116"/>
                <a:gd name="T61" fmla="*/ 66 h 153"/>
                <a:gd name="T62" fmla="*/ 0 w 116"/>
                <a:gd name="T63" fmla="*/ 52 h 153"/>
                <a:gd name="T64" fmla="*/ 6 w 116"/>
                <a:gd name="T65" fmla="*/ 41 h 153"/>
                <a:gd name="T66" fmla="*/ 17 w 116"/>
                <a:gd name="T67" fmla="*/ 35 h 153"/>
                <a:gd name="T68" fmla="*/ 24 w 116"/>
                <a:gd name="T69" fmla="*/ 24 h 153"/>
                <a:gd name="T70" fmla="*/ 36 w 116"/>
                <a:gd name="T71" fmla="*/ 17 h 153"/>
                <a:gd name="T72" fmla="*/ 33 w 116"/>
                <a:gd name="T73" fmla="*/ 9 h 153"/>
                <a:gd name="T74" fmla="*/ 56 w 116"/>
                <a:gd name="T75" fmla="*/ 0 h 153"/>
                <a:gd name="T76" fmla="*/ 63 w 116"/>
                <a:gd name="T77" fmla="*/ 10 h 153"/>
                <a:gd name="T78" fmla="*/ 72 w 116"/>
                <a:gd name="T79" fmla="*/ 16 h 153"/>
                <a:gd name="T80" fmla="*/ 81 w 116"/>
                <a:gd name="T81" fmla="*/ 2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6" h="153">
                  <a:moveTo>
                    <a:pt x="90" y="27"/>
                  </a:moveTo>
                  <a:cubicBezTo>
                    <a:pt x="100" y="37"/>
                    <a:pt x="100" y="37"/>
                    <a:pt x="100" y="37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49"/>
                    <a:pt x="116" y="49"/>
                    <a:pt x="116" y="49"/>
                  </a:cubicBezTo>
                  <a:cubicBezTo>
                    <a:pt x="116" y="49"/>
                    <a:pt x="113" y="55"/>
                    <a:pt x="112" y="56"/>
                  </a:cubicBezTo>
                  <a:cubicBezTo>
                    <a:pt x="112" y="56"/>
                    <a:pt x="110" y="62"/>
                    <a:pt x="110" y="62"/>
                  </a:cubicBezTo>
                  <a:cubicBezTo>
                    <a:pt x="102" y="64"/>
                    <a:pt x="102" y="64"/>
                    <a:pt x="102" y="64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4" y="69"/>
                    <a:pt x="74" y="69"/>
                    <a:pt x="74" y="69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84" y="85"/>
                    <a:pt x="84" y="85"/>
                    <a:pt x="84" y="85"/>
                  </a:cubicBezTo>
                  <a:cubicBezTo>
                    <a:pt x="89" y="85"/>
                    <a:pt x="89" y="85"/>
                    <a:pt x="89" y="85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4" y="95"/>
                    <a:pt x="94" y="95"/>
                    <a:pt x="94" y="95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79" y="106"/>
                    <a:pt x="79" y="106"/>
                    <a:pt x="79" y="106"/>
                  </a:cubicBezTo>
                  <a:cubicBezTo>
                    <a:pt x="78" y="113"/>
                    <a:pt x="78" y="113"/>
                    <a:pt x="78" y="113"/>
                  </a:cubicBezTo>
                  <a:cubicBezTo>
                    <a:pt x="73" y="119"/>
                    <a:pt x="73" y="119"/>
                    <a:pt x="73" y="119"/>
                  </a:cubicBezTo>
                  <a:cubicBezTo>
                    <a:pt x="73" y="123"/>
                    <a:pt x="73" y="123"/>
                    <a:pt x="73" y="123"/>
                  </a:cubicBezTo>
                  <a:cubicBezTo>
                    <a:pt x="70" y="123"/>
                    <a:pt x="70" y="123"/>
                    <a:pt x="70" y="123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67" y="131"/>
                    <a:pt x="63" y="137"/>
                    <a:pt x="62" y="137"/>
                  </a:cubicBezTo>
                  <a:cubicBezTo>
                    <a:pt x="62" y="138"/>
                    <a:pt x="60" y="140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33" y="149"/>
                    <a:pt x="33" y="149"/>
                    <a:pt x="33" y="149"/>
                  </a:cubicBezTo>
                  <a:cubicBezTo>
                    <a:pt x="25" y="145"/>
                    <a:pt x="25" y="145"/>
                    <a:pt x="25" y="145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21" y="135"/>
                    <a:pt x="21" y="135"/>
                    <a:pt x="21" y="135"/>
                  </a:cubicBezTo>
                  <a:cubicBezTo>
                    <a:pt x="21" y="135"/>
                    <a:pt x="25" y="131"/>
                    <a:pt x="25" y="130"/>
                  </a:cubicBezTo>
                  <a:cubicBezTo>
                    <a:pt x="26" y="129"/>
                    <a:pt x="19" y="128"/>
                    <a:pt x="19" y="128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1" y="115"/>
                    <a:pt x="21" y="115"/>
                    <a:pt x="21" y="115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26"/>
                    <a:pt x="81" y="26"/>
                    <a:pt x="81" y="26"/>
                  </a:cubicBezTo>
                  <a:lnTo>
                    <a:pt x="90" y="27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0" name="Freeform 80"/>
            <p:cNvSpPr>
              <a:spLocks/>
            </p:cNvSpPr>
            <p:nvPr/>
          </p:nvSpPr>
          <p:spPr bwMode="auto">
            <a:xfrm>
              <a:off x="1281" y="3445"/>
              <a:ext cx="154" cy="106"/>
            </a:xfrm>
            <a:custGeom>
              <a:avLst/>
              <a:gdLst>
                <a:gd name="T0" fmla="*/ 0 w 154"/>
                <a:gd name="T1" fmla="*/ 33 h 106"/>
                <a:gd name="T2" fmla="*/ 4 w 154"/>
                <a:gd name="T3" fmla="*/ 33 h 106"/>
                <a:gd name="T4" fmla="*/ 15 w 154"/>
                <a:gd name="T5" fmla="*/ 25 h 106"/>
                <a:gd name="T6" fmla="*/ 15 w 154"/>
                <a:gd name="T7" fmla="*/ 19 h 106"/>
                <a:gd name="T8" fmla="*/ 23 w 154"/>
                <a:gd name="T9" fmla="*/ 19 h 106"/>
                <a:gd name="T10" fmla="*/ 31 w 154"/>
                <a:gd name="T11" fmla="*/ 6 h 106"/>
                <a:gd name="T12" fmla="*/ 48 w 154"/>
                <a:gd name="T13" fmla="*/ 4 h 106"/>
                <a:gd name="T14" fmla="*/ 48 w 154"/>
                <a:gd name="T15" fmla="*/ 0 h 106"/>
                <a:gd name="T16" fmla="*/ 56 w 154"/>
                <a:gd name="T17" fmla="*/ 4 h 106"/>
                <a:gd name="T18" fmla="*/ 71 w 154"/>
                <a:gd name="T19" fmla="*/ 4 h 106"/>
                <a:gd name="T20" fmla="*/ 71 w 154"/>
                <a:gd name="T21" fmla="*/ 14 h 106"/>
                <a:gd name="T22" fmla="*/ 81 w 154"/>
                <a:gd name="T23" fmla="*/ 23 h 106"/>
                <a:gd name="T24" fmla="*/ 81 w 154"/>
                <a:gd name="T25" fmla="*/ 37 h 106"/>
                <a:gd name="T26" fmla="*/ 92 w 154"/>
                <a:gd name="T27" fmla="*/ 48 h 106"/>
                <a:gd name="T28" fmla="*/ 92 w 154"/>
                <a:gd name="T29" fmla="*/ 56 h 106"/>
                <a:gd name="T30" fmla="*/ 104 w 154"/>
                <a:gd name="T31" fmla="*/ 56 h 106"/>
                <a:gd name="T32" fmla="*/ 115 w 154"/>
                <a:gd name="T33" fmla="*/ 50 h 106"/>
                <a:gd name="T34" fmla="*/ 127 w 154"/>
                <a:gd name="T35" fmla="*/ 52 h 106"/>
                <a:gd name="T36" fmla="*/ 131 w 154"/>
                <a:gd name="T37" fmla="*/ 44 h 106"/>
                <a:gd name="T38" fmla="*/ 144 w 154"/>
                <a:gd name="T39" fmla="*/ 46 h 106"/>
                <a:gd name="T40" fmla="*/ 144 w 154"/>
                <a:gd name="T41" fmla="*/ 58 h 106"/>
                <a:gd name="T42" fmla="*/ 154 w 154"/>
                <a:gd name="T43" fmla="*/ 62 h 106"/>
                <a:gd name="T44" fmla="*/ 154 w 154"/>
                <a:gd name="T45" fmla="*/ 75 h 106"/>
                <a:gd name="T46" fmla="*/ 150 w 154"/>
                <a:gd name="T47" fmla="*/ 77 h 106"/>
                <a:gd name="T48" fmla="*/ 152 w 154"/>
                <a:gd name="T49" fmla="*/ 87 h 106"/>
                <a:gd name="T50" fmla="*/ 146 w 154"/>
                <a:gd name="T51" fmla="*/ 92 h 106"/>
                <a:gd name="T52" fmla="*/ 148 w 154"/>
                <a:gd name="T53" fmla="*/ 104 h 106"/>
                <a:gd name="T54" fmla="*/ 127 w 154"/>
                <a:gd name="T55" fmla="*/ 106 h 106"/>
                <a:gd name="T56" fmla="*/ 115 w 154"/>
                <a:gd name="T57" fmla="*/ 96 h 106"/>
                <a:gd name="T58" fmla="*/ 104 w 154"/>
                <a:gd name="T59" fmla="*/ 106 h 106"/>
                <a:gd name="T60" fmla="*/ 96 w 154"/>
                <a:gd name="T61" fmla="*/ 104 h 106"/>
                <a:gd name="T62" fmla="*/ 83 w 154"/>
                <a:gd name="T63" fmla="*/ 92 h 106"/>
                <a:gd name="T64" fmla="*/ 69 w 154"/>
                <a:gd name="T65" fmla="*/ 89 h 106"/>
                <a:gd name="T66" fmla="*/ 61 w 154"/>
                <a:gd name="T67" fmla="*/ 92 h 106"/>
                <a:gd name="T68" fmla="*/ 48 w 154"/>
                <a:gd name="T69" fmla="*/ 79 h 106"/>
                <a:gd name="T70" fmla="*/ 48 w 154"/>
                <a:gd name="T71" fmla="*/ 62 h 106"/>
                <a:gd name="T72" fmla="*/ 38 w 154"/>
                <a:gd name="T73" fmla="*/ 54 h 106"/>
                <a:gd name="T74" fmla="*/ 23 w 154"/>
                <a:gd name="T75" fmla="*/ 52 h 106"/>
                <a:gd name="T76" fmla="*/ 13 w 154"/>
                <a:gd name="T77" fmla="*/ 44 h 106"/>
                <a:gd name="T78" fmla="*/ 4 w 154"/>
                <a:gd name="T79" fmla="*/ 44 h 106"/>
                <a:gd name="T80" fmla="*/ 0 w 154"/>
                <a:gd name="T81" fmla="*/ 3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4" h="106">
                  <a:moveTo>
                    <a:pt x="0" y="33"/>
                  </a:moveTo>
                  <a:lnTo>
                    <a:pt x="4" y="33"/>
                  </a:lnTo>
                  <a:lnTo>
                    <a:pt x="15" y="25"/>
                  </a:lnTo>
                  <a:lnTo>
                    <a:pt x="15" y="19"/>
                  </a:lnTo>
                  <a:lnTo>
                    <a:pt x="23" y="19"/>
                  </a:lnTo>
                  <a:lnTo>
                    <a:pt x="31" y="6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6" y="4"/>
                  </a:lnTo>
                  <a:lnTo>
                    <a:pt x="71" y="4"/>
                  </a:lnTo>
                  <a:lnTo>
                    <a:pt x="71" y="14"/>
                  </a:lnTo>
                  <a:lnTo>
                    <a:pt x="81" y="23"/>
                  </a:lnTo>
                  <a:lnTo>
                    <a:pt x="81" y="37"/>
                  </a:lnTo>
                  <a:lnTo>
                    <a:pt x="92" y="48"/>
                  </a:lnTo>
                  <a:lnTo>
                    <a:pt x="92" y="56"/>
                  </a:lnTo>
                  <a:lnTo>
                    <a:pt x="104" y="56"/>
                  </a:lnTo>
                  <a:lnTo>
                    <a:pt x="115" y="50"/>
                  </a:lnTo>
                  <a:lnTo>
                    <a:pt x="127" y="52"/>
                  </a:lnTo>
                  <a:lnTo>
                    <a:pt x="131" y="44"/>
                  </a:lnTo>
                  <a:lnTo>
                    <a:pt x="144" y="46"/>
                  </a:lnTo>
                  <a:lnTo>
                    <a:pt x="144" y="58"/>
                  </a:lnTo>
                  <a:lnTo>
                    <a:pt x="154" y="62"/>
                  </a:lnTo>
                  <a:lnTo>
                    <a:pt x="154" y="75"/>
                  </a:lnTo>
                  <a:lnTo>
                    <a:pt x="150" y="77"/>
                  </a:lnTo>
                  <a:lnTo>
                    <a:pt x="152" y="87"/>
                  </a:lnTo>
                  <a:lnTo>
                    <a:pt x="146" y="92"/>
                  </a:lnTo>
                  <a:lnTo>
                    <a:pt x="148" y="104"/>
                  </a:lnTo>
                  <a:lnTo>
                    <a:pt x="127" y="106"/>
                  </a:lnTo>
                  <a:lnTo>
                    <a:pt x="115" y="96"/>
                  </a:lnTo>
                  <a:lnTo>
                    <a:pt x="104" y="106"/>
                  </a:lnTo>
                  <a:lnTo>
                    <a:pt x="96" y="104"/>
                  </a:lnTo>
                  <a:lnTo>
                    <a:pt x="83" y="92"/>
                  </a:lnTo>
                  <a:lnTo>
                    <a:pt x="69" y="89"/>
                  </a:lnTo>
                  <a:lnTo>
                    <a:pt x="61" y="92"/>
                  </a:lnTo>
                  <a:lnTo>
                    <a:pt x="48" y="79"/>
                  </a:lnTo>
                  <a:lnTo>
                    <a:pt x="48" y="62"/>
                  </a:lnTo>
                  <a:lnTo>
                    <a:pt x="38" y="54"/>
                  </a:lnTo>
                  <a:lnTo>
                    <a:pt x="23" y="52"/>
                  </a:lnTo>
                  <a:lnTo>
                    <a:pt x="13" y="44"/>
                  </a:lnTo>
                  <a:lnTo>
                    <a:pt x="4" y="44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1" name="Freeform 81"/>
            <p:cNvSpPr>
              <a:spLocks/>
            </p:cNvSpPr>
            <p:nvPr/>
          </p:nvSpPr>
          <p:spPr bwMode="auto">
            <a:xfrm>
              <a:off x="1450" y="3491"/>
              <a:ext cx="240" cy="202"/>
            </a:xfrm>
            <a:custGeom>
              <a:avLst/>
              <a:gdLst>
                <a:gd name="T0" fmla="*/ 0 w 240"/>
                <a:gd name="T1" fmla="*/ 52 h 202"/>
                <a:gd name="T2" fmla="*/ 12 w 240"/>
                <a:gd name="T3" fmla="*/ 48 h 202"/>
                <a:gd name="T4" fmla="*/ 27 w 240"/>
                <a:gd name="T5" fmla="*/ 54 h 202"/>
                <a:gd name="T6" fmla="*/ 44 w 240"/>
                <a:gd name="T7" fmla="*/ 48 h 202"/>
                <a:gd name="T8" fmla="*/ 44 w 240"/>
                <a:gd name="T9" fmla="*/ 29 h 202"/>
                <a:gd name="T10" fmla="*/ 69 w 240"/>
                <a:gd name="T11" fmla="*/ 21 h 202"/>
                <a:gd name="T12" fmla="*/ 83 w 240"/>
                <a:gd name="T13" fmla="*/ 16 h 202"/>
                <a:gd name="T14" fmla="*/ 102 w 240"/>
                <a:gd name="T15" fmla="*/ 8 h 202"/>
                <a:gd name="T16" fmla="*/ 112 w 240"/>
                <a:gd name="T17" fmla="*/ 0 h 202"/>
                <a:gd name="T18" fmla="*/ 121 w 240"/>
                <a:gd name="T19" fmla="*/ 6 h 202"/>
                <a:gd name="T20" fmla="*/ 140 w 240"/>
                <a:gd name="T21" fmla="*/ 6 h 202"/>
                <a:gd name="T22" fmla="*/ 144 w 240"/>
                <a:gd name="T23" fmla="*/ 14 h 202"/>
                <a:gd name="T24" fmla="*/ 154 w 240"/>
                <a:gd name="T25" fmla="*/ 12 h 202"/>
                <a:gd name="T26" fmla="*/ 160 w 240"/>
                <a:gd name="T27" fmla="*/ 35 h 202"/>
                <a:gd name="T28" fmla="*/ 171 w 240"/>
                <a:gd name="T29" fmla="*/ 50 h 202"/>
                <a:gd name="T30" fmla="*/ 187 w 240"/>
                <a:gd name="T31" fmla="*/ 56 h 202"/>
                <a:gd name="T32" fmla="*/ 200 w 240"/>
                <a:gd name="T33" fmla="*/ 68 h 202"/>
                <a:gd name="T34" fmla="*/ 212 w 240"/>
                <a:gd name="T35" fmla="*/ 75 h 202"/>
                <a:gd name="T36" fmla="*/ 223 w 240"/>
                <a:gd name="T37" fmla="*/ 79 h 202"/>
                <a:gd name="T38" fmla="*/ 223 w 240"/>
                <a:gd name="T39" fmla="*/ 87 h 202"/>
                <a:gd name="T40" fmla="*/ 231 w 240"/>
                <a:gd name="T41" fmla="*/ 93 h 202"/>
                <a:gd name="T42" fmla="*/ 221 w 240"/>
                <a:gd name="T43" fmla="*/ 104 h 202"/>
                <a:gd name="T44" fmla="*/ 237 w 240"/>
                <a:gd name="T45" fmla="*/ 110 h 202"/>
                <a:gd name="T46" fmla="*/ 233 w 240"/>
                <a:gd name="T47" fmla="*/ 112 h 202"/>
                <a:gd name="T48" fmla="*/ 237 w 240"/>
                <a:gd name="T49" fmla="*/ 118 h 202"/>
                <a:gd name="T50" fmla="*/ 240 w 240"/>
                <a:gd name="T51" fmla="*/ 129 h 202"/>
                <a:gd name="T52" fmla="*/ 227 w 240"/>
                <a:gd name="T53" fmla="*/ 139 h 202"/>
                <a:gd name="T54" fmla="*/ 215 w 240"/>
                <a:gd name="T55" fmla="*/ 143 h 202"/>
                <a:gd name="T56" fmla="*/ 194 w 240"/>
                <a:gd name="T57" fmla="*/ 143 h 202"/>
                <a:gd name="T58" fmla="*/ 200 w 240"/>
                <a:gd name="T59" fmla="*/ 166 h 202"/>
                <a:gd name="T60" fmla="*/ 187 w 240"/>
                <a:gd name="T61" fmla="*/ 177 h 202"/>
                <a:gd name="T62" fmla="*/ 177 w 240"/>
                <a:gd name="T63" fmla="*/ 179 h 202"/>
                <a:gd name="T64" fmla="*/ 177 w 240"/>
                <a:gd name="T65" fmla="*/ 189 h 202"/>
                <a:gd name="T66" fmla="*/ 165 w 240"/>
                <a:gd name="T67" fmla="*/ 202 h 202"/>
                <a:gd name="T68" fmla="*/ 165 w 240"/>
                <a:gd name="T69" fmla="*/ 200 h 202"/>
                <a:gd name="T70" fmla="*/ 154 w 240"/>
                <a:gd name="T71" fmla="*/ 191 h 202"/>
                <a:gd name="T72" fmla="*/ 160 w 240"/>
                <a:gd name="T73" fmla="*/ 181 h 202"/>
                <a:gd name="T74" fmla="*/ 154 w 240"/>
                <a:gd name="T75" fmla="*/ 171 h 202"/>
                <a:gd name="T76" fmla="*/ 140 w 240"/>
                <a:gd name="T77" fmla="*/ 171 h 202"/>
                <a:gd name="T78" fmla="*/ 135 w 240"/>
                <a:gd name="T79" fmla="*/ 160 h 202"/>
                <a:gd name="T80" fmla="*/ 140 w 240"/>
                <a:gd name="T81" fmla="*/ 148 h 202"/>
                <a:gd name="T82" fmla="*/ 112 w 240"/>
                <a:gd name="T83" fmla="*/ 131 h 202"/>
                <a:gd name="T84" fmla="*/ 100 w 240"/>
                <a:gd name="T85" fmla="*/ 141 h 202"/>
                <a:gd name="T86" fmla="*/ 81 w 240"/>
                <a:gd name="T87" fmla="*/ 123 h 202"/>
                <a:gd name="T88" fmla="*/ 81 w 240"/>
                <a:gd name="T89" fmla="*/ 125 h 202"/>
                <a:gd name="T90" fmla="*/ 81 w 240"/>
                <a:gd name="T91" fmla="*/ 118 h 202"/>
                <a:gd name="T92" fmla="*/ 69 w 240"/>
                <a:gd name="T93" fmla="*/ 104 h 202"/>
                <a:gd name="T94" fmla="*/ 67 w 240"/>
                <a:gd name="T95" fmla="*/ 91 h 202"/>
                <a:gd name="T96" fmla="*/ 60 w 240"/>
                <a:gd name="T97" fmla="*/ 81 h 202"/>
                <a:gd name="T98" fmla="*/ 54 w 240"/>
                <a:gd name="T99" fmla="*/ 85 h 202"/>
                <a:gd name="T100" fmla="*/ 48 w 240"/>
                <a:gd name="T101" fmla="*/ 87 h 202"/>
                <a:gd name="T102" fmla="*/ 23 w 240"/>
                <a:gd name="T103" fmla="*/ 64 h 202"/>
                <a:gd name="T104" fmla="*/ 14 w 240"/>
                <a:gd name="T105" fmla="*/ 62 h 202"/>
                <a:gd name="T106" fmla="*/ 2 w 240"/>
                <a:gd name="T107" fmla="*/ 64 h 202"/>
                <a:gd name="T108" fmla="*/ 2 w 240"/>
                <a:gd name="T109" fmla="*/ 54 h 202"/>
                <a:gd name="T110" fmla="*/ 0 w 240"/>
                <a:gd name="T111" fmla="*/ 5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0" h="202">
                  <a:moveTo>
                    <a:pt x="0" y="52"/>
                  </a:moveTo>
                  <a:lnTo>
                    <a:pt x="12" y="48"/>
                  </a:lnTo>
                  <a:lnTo>
                    <a:pt x="27" y="54"/>
                  </a:lnTo>
                  <a:lnTo>
                    <a:pt x="44" y="48"/>
                  </a:lnTo>
                  <a:lnTo>
                    <a:pt x="44" y="29"/>
                  </a:lnTo>
                  <a:lnTo>
                    <a:pt x="69" y="21"/>
                  </a:lnTo>
                  <a:lnTo>
                    <a:pt x="83" y="16"/>
                  </a:lnTo>
                  <a:lnTo>
                    <a:pt x="102" y="8"/>
                  </a:lnTo>
                  <a:lnTo>
                    <a:pt x="112" y="0"/>
                  </a:lnTo>
                  <a:lnTo>
                    <a:pt x="121" y="6"/>
                  </a:lnTo>
                  <a:lnTo>
                    <a:pt x="140" y="6"/>
                  </a:lnTo>
                  <a:lnTo>
                    <a:pt x="144" y="14"/>
                  </a:lnTo>
                  <a:lnTo>
                    <a:pt x="154" y="12"/>
                  </a:lnTo>
                  <a:lnTo>
                    <a:pt x="160" y="35"/>
                  </a:lnTo>
                  <a:lnTo>
                    <a:pt x="171" y="50"/>
                  </a:lnTo>
                  <a:lnTo>
                    <a:pt x="187" y="56"/>
                  </a:lnTo>
                  <a:lnTo>
                    <a:pt x="200" y="68"/>
                  </a:lnTo>
                  <a:lnTo>
                    <a:pt x="212" y="75"/>
                  </a:lnTo>
                  <a:lnTo>
                    <a:pt x="223" y="79"/>
                  </a:lnTo>
                  <a:lnTo>
                    <a:pt x="223" y="87"/>
                  </a:lnTo>
                  <a:lnTo>
                    <a:pt x="231" y="93"/>
                  </a:lnTo>
                  <a:lnTo>
                    <a:pt x="221" y="104"/>
                  </a:lnTo>
                  <a:lnTo>
                    <a:pt x="237" y="110"/>
                  </a:lnTo>
                  <a:lnTo>
                    <a:pt x="233" y="112"/>
                  </a:lnTo>
                  <a:lnTo>
                    <a:pt x="237" y="118"/>
                  </a:lnTo>
                  <a:lnTo>
                    <a:pt x="240" y="129"/>
                  </a:lnTo>
                  <a:lnTo>
                    <a:pt x="227" y="139"/>
                  </a:lnTo>
                  <a:lnTo>
                    <a:pt x="215" y="143"/>
                  </a:lnTo>
                  <a:lnTo>
                    <a:pt x="194" y="143"/>
                  </a:lnTo>
                  <a:lnTo>
                    <a:pt x="200" y="166"/>
                  </a:lnTo>
                  <a:lnTo>
                    <a:pt x="187" y="177"/>
                  </a:lnTo>
                  <a:lnTo>
                    <a:pt x="177" y="179"/>
                  </a:lnTo>
                  <a:lnTo>
                    <a:pt x="177" y="189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54" y="191"/>
                  </a:lnTo>
                  <a:lnTo>
                    <a:pt x="160" y="181"/>
                  </a:lnTo>
                  <a:lnTo>
                    <a:pt x="154" y="171"/>
                  </a:lnTo>
                  <a:lnTo>
                    <a:pt x="140" y="171"/>
                  </a:lnTo>
                  <a:lnTo>
                    <a:pt x="135" y="160"/>
                  </a:lnTo>
                  <a:lnTo>
                    <a:pt x="140" y="148"/>
                  </a:lnTo>
                  <a:lnTo>
                    <a:pt x="112" y="131"/>
                  </a:lnTo>
                  <a:lnTo>
                    <a:pt x="100" y="141"/>
                  </a:lnTo>
                  <a:lnTo>
                    <a:pt x="81" y="123"/>
                  </a:lnTo>
                  <a:lnTo>
                    <a:pt x="81" y="125"/>
                  </a:lnTo>
                  <a:lnTo>
                    <a:pt x="81" y="118"/>
                  </a:lnTo>
                  <a:lnTo>
                    <a:pt x="69" y="104"/>
                  </a:lnTo>
                  <a:lnTo>
                    <a:pt x="67" y="91"/>
                  </a:lnTo>
                  <a:lnTo>
                    <a:pt x="60" y="81"/>
                  </a:lnTo>
                  <a:lnTo>
                    <a:pt x="54" y="85"/>
                  </a:lnTo>
                  <a:lnTo>
                    <a:pt x="48" y="87"/>
                  </a:lnTo>
                  <a:lnTo>
                    <a:pt x="23" y="64"/>
                  </a:lnTo>
                  <a:lnTo>
                    <a:pt x="14" y="62"/>
                  </a:lnTo>
                  <a:lnTo>
                    <a:pt x="2" y="64"/>
                  </a:lnTo>
                  <a:lnTo>
                    <a:pt x="2" y="54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2" name="Freeform 82"/>
            <p:cNvSpPr>
              <a:spLocks/>
            </p:cNvSpPr>
            <p:nvPr/>
          </p:nvSpPr>
          <p:spPr bwMode="auto">
            <a:xfrm>
              <a:off x="1429" y="3455"/>
              <a:ext cx="94" cy="90"/>
            </a:xfrm>
            <a:custGeom>
              <a:avLst/>
              <a:gdLst>
                <a:gd name="T0" fmla="*/ 0 w 94"/>
                <a:gd name="T1" fmla="*/ 50 h 90"/>
                <a:gd name="T2" fmla="*/ 23 w 94"/>
                <a:gd name="T3" fmla="*/ 32 h 90"/>
                <a:gd name="T4" fmla="*/ 23 w 94"/>
                <a:gd name="T5" fmla="*/ 15 h 90"/>
                <a:gd name="T6" fmla="*/ 44 w 94"/>
                <a:gd name="T7" fmla="*/ 0 h 90"/>
                <a:gd name="T8" fmla="*/ 56 w 94"/>
                <a:gd name="T9" fmla="*/ 7 h 90"/>
                <a:gd name="T10" fmla="*/ 83 w 94"/>
                <a:gd name="T11" fmla="*/ 7 h 90"/>
                <a:gd name="T12" fmla="*/ 83 w 94"/>
                <a:gd name="T13" fmla="*/ 17 h 90"/>
                <a:gd name="T14" fmla="*/ 94 w 94"/>
                <a:gd name="T15" fmla="*/ 27 h 90"/>
                <a:gd name="T16" fmla="*/ 85 w 94"/>
                <a:gd name="T17" fmla="*/ 40 h 90"/>
                <a:gd name="T18" fmla="*/ 94 w 94"/>
                <a:gd name="T19" fmla="*/ 54 h 90"/>
                <a:gd name="T20" fmla="*/ 90 w 94"/>
                <a:gd name="T21" fmla="*/ 57 h 90"/>
                <a:gd name="T22" fmla="*/ 65 w 94"/>
                <a:gd name="T23" fmla="*/ 65 h 90"/>
                <a:gd name="T24" fmla="*/ 65 w 94"/>
                <a:gd name="T25" fmla="*/ 84 h 90"/>
                <a:gd name="T26" fmla="*/ 48 w 94"/>
                <a:gd name="T27" fmla="*/ 90 h 90"/>
                <a:gd name="T28" fmla="*/ 33 w 94"/>
                <a:gd name="T29" fmla="*/ 84 h 90"/>
                <a:gd name="T30" fmla="*/ 21 w 94"/>
                <a:gd name="T31" fmla="*/ 88 h 90"/>
                <a:gd name="T32" fmla="*/ 4 w 94"/>
                <a:gd name="T33" fmla="*/ 77 h 90"/>
                <a:gd name="T34" fmla="*/ 4 w 94"/>
                <a:gd name="T35" fmla="*/ 77 h 90"/>
                <a:gd name="T36" fmla="*/ 2 w 94"/>
                <a:gd name="T37" fmla="*/ 67 h 90"/>
                <a:gd name="T38" fmla="*/ 6 w 94"/>
                <a:gd name="T39" fmla="*/ 65 h 90"/>
                <a:gd name="T40" fmla="*/ 6 w 94"/>
                <a:gd name="T41" fmla="*/ 52 h 90"/>
                <a:gd name="T42" fmla="*/ 0 w 94"/>
                <a:gd name="T4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4" h="90">
                  <a:moveTo>
                    <a:pt x="0" y="50"/>
                  </a:moveTo>
                  <a:lnTo>
                    <a:pt x="23" y="32"/>
                  </a:lnTo>
                  <a:lnTo>
                    <a:pt x="23" y="15"/>
                  </a:lnTo>
                  <a:lnTo>
                    <a:pt x="44" y="0"/>
                  </a:lnTo>
                  <a:lnTo>
                    <a:pt x="56" y="7"/>
                  </a:lnTo>
                  <a:lnTo>
                    <a:pt x="83" y="7"/>
                  </a:lnTo>
                  <a:lnTo>
                    <a:pt x="83" y="17"/>
                  </a:lnTo>
                  <a:lnTo>
                    <a:pt x="94" y="27"/>
                  </a:lnTo>
                  <a:lnTo>
                    <a:pt x="85" y="40"/>
                  </a:lnTo>
                  <a:lnTo>
                    <a:pt x="94" y="54"/>
                  </a:lnTo>
                  <a:lnTo>
                    <a:pt x="90" y="57"/>
                  </a:lnTo>
                  <a:lnTo>
                    <a:pt x="65" y="65"/>
                  </a:lnTo>
                  <a:lnTo>
                    <a:pt x="65" y="84"/>
                  </a:lnTo>
                  <a:lnTo>
                    <a:pt x="48" y="90"/>
                  </a:lnTo>
                  <a:lnTo>
                    <a:pt x="33" y="84"/>
                  </a:lnTo>
                  <a:lnTo>
                    <a:pt x="21" y="88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2" y="67"/>
                  </a:lnTo>
                  <a:lnTo>
                    <a:pt x="6" y="65"/>
                  </a:lnTo>
                  <a:lnTo>
                    <a:pt x="6" y="52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3" name="Freeform 83"/>
            <p:cNvSpPr>
              <a:spLocks/>
            </p:cNvSpPr>
            <p:nvPr/>
          </p:nvSpPr>
          <p:spPr bwMode="auto">
            <a:xfrm>
              <a:off x="1464" y="3409"/>
              <a:ext cx="142" cy="103"/>
            </a:xfrm>
            <a:custGeom>
              <a:avLst/>
              <a:gdLst>
                <a:gd name="T0" fmla="*/ 55 w 142"/>
                <a:gd name="T1" fmla="*/ 13 h 103"/>
                <a:gd name="T2" fmla="*/ 71 w 142"/>
                <a:gd name="T3" fmla="*/ 34 h 103"/>
                <a:gd name="T4" fmla="*/ 86 w 142"/>
                <a:gd name="T5" fmla="*/ 28 h 103"/>
                <a:gd name="T6" fmla="*/ 92 w 142"/>
                <a:gd name="T7" fmla="*/ 34 h 103"/>
                <a:gd name="T8" fmla="*/ 101 w 142"/>
                <a:gd name="T9" fmla="*/ 23 h 103"/>
                <a:gd name="T10" fmla="*/ 113 w 142"/>
                <a:gd name="T11" fmla="*/ 36 h 103"/>
                <a:gd name="T12" fmla="*/ 126 w 142"/>
                <a:gd name="T13" fmla="*/ 36 h 103"/>
                <a:gd name="T14" fmla="*/ 128 w 142"/>
                <a:gd name="T15" fmla="*/ 53 h 103"/>
                <a:gd name="T16" fmla="*/ 142 w 142"/>
                <a:gd name="T17" fmla="*/ 57 h 103"/>
                <a:gd name="T18" fmla="*/ 140 w 142"/>
                <a:gd name="T19" fmla="*/ 80 h 103"/>
                <a:gd name="T20" fmla="*/ 140 w 142"/>
                <a:gd name="T21" fmla="*/ 94 h 103"/>
                <a:gd name="T22" fmla="*/ 130 w 142"/>
                <a:gd name="T23" fmla="*/ 96 h 103"/>
                <a:gd name="T24" fmla="*/ 126 w 142"/>
                <a:gd name="T25" fmla="*/ 88 h 103"/>
                <a:gd name="T26" fmla="*/ 107 w 142"/>
                <a:gd name="T27" fmla="*/ 88 h 103"/>
                <a:gd name="T28" fmla="*/ 98 w 142"/>
                <a:gd name="T29" fmla="*/ 82 h 103"/>
                <a:gd name="T30" fmla="*/ 88 w 142"/>
                <a:gd name="T31" fmla="*/ 90 h 103"/>
                <a:gd name="T32" fmla="*/ 69 w 142"/>
                <a:gd name="T33" fmla="*/ 98 h 103"/>
                <a:gd name="T34" fmla="*/ 55 w 142"/>
                <a:gd name="T35" fmla="*/ 103 h 103"/>
                <a:gd name="T36" fmla="*/ 59 w 142"/>
                <a:gd name="T37" fmla="*/ 100 h 103"/>
                <a:gd name="T38" fmla="*/ 50 w 142"/>
                <a:gd name="T39" fmla="*/ 86 h 103"/>
                <a:gd name="T40" fmla="*/ 59 w 142"/>
                <a:gd name="T41" fmla="*/ 73 h 103"/>
                <a:gd name="T42" fmla="*/ 48 w 142"/>
                <a:gd name="T43" fmla="*/ 63 h 103"/>
                <a:gd name="T44" fmla="*/ 48 w 142"/>
                <a:gd name="T45" fmla="*/ 53 h 103"/>
                <a:gd name="T46" fmla="*/ 21 w 142"/>
                <a:gd name="T47" fmla="*/ 53 h 103"/>
                <a:gd name="T48" fmla="*/ 9 w 142"/>
                <a:gd name="T49" fmla="*/ 46 h 103"/>
                <a:gd name="T50" fmla="*/ 0 w 142"/>
                <a:gd name="T51" fmla="*/ 34 h 103"/>
                <a:gd name="T52" fmla="*/ 11 w 142"/>
                <a:gd name="T53" fmla="*/ 23 h 103"/>
                <a:gd name="T54" fmla="*/ 9 w 142"/>
                <a:gd name="T55" fmla="*/ 11 h 103"/>
                <a:gd name="T56" fmla="*/ 28 w 142"/>
                <a:gd name="T57" fmla="*/ 11 h 103"/>
                <a:gd name="T58" fmla="*/ 34 w 142"/>
                <a:gd name="T59" fmla="*/ 0 h 103"/>
                <a:gd name="T60" fmla="*/ 55 w 142"/>
                <a:gd name="T61" fmla="*/ 1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2" h="103">
                  <a:moveTo>
                    <a:pt x="55" y="13"/>
                  </a:moveTo>
                  <a:lnTo>
                    <a:pt x="71" y="34"/>
                  </a:lnTo>
                  <a:lnTo>
                    <a:pt x="86" y="28"/>
                  </a:lnTo>
                  <a:lnTo>
                    <a:pt x="92" y="34"/>
                  </a:lnTo>
                  <a:lnTo>
                    <a:pt x="101" y="23"/>
                  </a:lnTo>
                  <a:lnTo>
                    <a:pt x="113" y="36"/>
                  </a:lnTo>
                  <a:lnTo>
                    <a:pt x="126" y="36"/>
                  </a:lnTo>
                  <a:lnTo>
                    <a:pt x="128" y="53"/>
                  </a:lnTo>
                  <a:lnTo>
                    <a:pt x="142" y="57"/>
                  </a:lnTo>
                  <a:lnTo>
                    <a:pt x="140" y="80"/>
                  </a:lnTo>
                  <a:lnTo>
                    <a:pt x="140" y="94"/>
                  </a:lnTo>
                  <a:lnTo>
                    <a:pt x="130" y="96"/>
                  </a:lnTo>
                  <a:lnTo>
                    <a:pt x="126" y="88"/>
                  </a:lnTo>
                  <a:lnTo>
                    <a:pt x="107" y="88"/>
                  </a:lnTo>
                  <a:lnTo>
                    <a:pt x="98" y="82"/>
                  </a:lnTo>
                  <a:lnTo>
                    <a:pt x="88" y="90"/>
                  </a:lnTo>
                  <a:lnTo>
                    <a:pt x="69" y="98"/>
                  </a:lnTo>
                  <a:lnTo>
                    <a:pt x="55" y="103"/>
                  </a:lnTo>
                  <a:lnTo>
                    <a:pt x="59" y="100"/>
                  </a:lnTo>
                  <a:lnTo>
                    <a:pt x="50" y="86"/>
                  </a:lnTo>
                  <a:lnTo>
                    <a:pt x="59" y="73"/>
                  </a:lnTo>
                  <a:lnTo>
                    <a:pt x="48" y="63"/>
                  </a:lnTo>
                  <a:lnTo>
                    <a:pt x="48" y="53"/>
                  </a:lnTo>
                  <a:lnTo>
                    <a:pt x="21" y="53"/>
                  </a:lnTo>
                  <a:lnTo>
                    <a:pt x="9" y="46"/>
                  </a:lnTo>
                  <a:lnTo>
                    <a:pt x="0" y="34"/>
                  </a:lnTo>
                  <a:lnTo>
                    <a:pt x="11" y="23"/>
                  </a:lnTo>
                  <a:lnTo>
                    <a:pt x="9" y="11"/>
                  </a:lnTo>
                  <a:lnTo>
                    <a:pt x="28" y="11"/>
                  </a:lnTo>
                  <a:lnTo>
                    <a:pt x="34" y="0"/>
                  </a:lnTo>
                  <a:lnTo>
                    <a:pt x="55" y="13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4" name="Freeform 84"/>
            <p:cNvSpPr>
              <a:spLocks/>
            </p:cNvSpPr>
            <p:nvPr/>
          </p:nvSpPr>
          <p:spPr bwMode="auto">
            <a:xfrm>
              <a:off x="1621" y="3434"/>
              <a:ext cx="137" cy="167"/>
            </a:xfrm>
            <a:custGeom>
              <a:avLst/>
              <a:gdLst>
                <a:gd name="T0" fmla="*/ 100 w 137"/>
                <a:gd name="T1" fmla="*/ 153 h 167"/>
                <a:gd name="T2" fmla="*/ 94 w 137"/>
                <a:gd name="T3" fmla="*/ 138 h 167"/>
                <a:gd name="T4" fmla="*/ 94 w 137"/>
                <a:gd name="T5" fmla="*/ 125 h 167"/>
                <a:gd name="T6" fmla="*/ 119 w 137"/>
                <a:gd name="T7" fmla="*/ 117 h 167"/>
                <a:gd name="T8" fmla="*/ 123 w 137"/>
                <a:gd name="T9" fmla="*/ 90 h 167"/>
                <a:gd name="T10" fmla="*/ 125 w 137"/>
                <a:gd name="T11" fmla="*/ 73 h 167"/>
                <a:gd name="T12" fmla="*/ 135 w 137"/>
                <a:gd name="T13" fmla="*/ 63 h 167"/>
                <a:gd name="T14" fmla="*/ 137 w 137"/>
                <a:gd name="T15" fmla="*/ 30 h 167"/>
                <a:gd name="T16" fmla="*/ 125 w 137"/>
                <a:gd name="T17" fmla="*/ 28 h 167"/>
                <a:gd name="T18" fmla="*/ 129 w 137"/>
                <a:gd name="T19" fmla="*/ 15 h 167"/>
                <a:gd name="T20" fmla="*/ 108 w 137"/>
                <a:gd name="T21" fmla="*/ 11 h 167"/>
                <a:gd name="T22" fmla="*/ 91 w 137"/>
                <a:gd name="T23" fmla="*/ 0 h 167"/>
                <a:gd name="T24" fmla="*/ 73 w 137"/>
                <a:gd name="T25" fmla="*/ 23 h 167"/>
                <a:gd name="T26" fmla="*/ 66 w 137"/>
                <a:gd name="T27" fmla="*/ 44 h 167"/>
                <a:gd name="T28" fmla="*/ 54 w 137"/>
                <a:gd name="T29" fmla="*/ 46 h 167"/>
                <a:gd name="T30" fmla="*/ 41 w 137"/>
                <a:gd name="T31" fmla="*/ 38 h 167"/>
                <a:gd name="T32" fmla="*/ 27 w 137"/>
                <a:gd name="T33" fmla="*/ 46 h 167"/>
                <a:gd name="T34" fmla="*/ 25 w 137"/>
                <a:gd name="T35" fmla="*/ 71 h 167"/>
                <a:gd name="T36" fmla="*/ 10 w 137"/>
                <a:gd name="T37" fmla="*/ 96 h 167"/>
                <a:gd name="T38" fmla="*/ 0 w 137"/>
                <a:gd name="T39" fmla="*/ 107 h 167"/>
                <a:gd name="T40" fmla="*/ 0 w 137"/>
                <a:gd name="T41" fmla="*/ 107 h 167"/>
                <a:gd name="T42" fmla="*/ 16 w 137"/>
                <a:gd name="T43" fmla="*/ 113 h 167"/>
                <a:gd name="T44" fmla="*/ 29 w 137"/>
                <a:gd name="T45" fmla="*/ 125 h 167"/>
                <a:gd name="T46" fmla="*/ 41 w 137"/>
                <a:gd name="T47" fmla="*/ 132 h 167"/>
                <a:gd name="T48" fmla="*/ 52 w 137"/>
                <a:gd name="T49" fmla="*/ 136 h 167"/>
                <a:gd name="T50" fmla="*/ 52 w 137"/>
                <a:gd name="T51" fmla="*/ 144 h 167"/>
                <a:gd name="T52" fmla="*/ 60 w 137"/>
                <a:gd name="T53" fmla="*/ 150 h 167"/>
                <a:gd name="T54" fmla="*/ 50 w 137"/>
                <a:gd name="T55" fmla="*/ 161 h 167"/>
                <a:gd name="T56" fmla="*/ 66 w 137"/>
                <a:gd name="T57" fmla="*/ 167 h 167"/>
                <a:gd name="T58" fmla="*/ 100 w 137"/>
                <a:gd name="T59" fmla="*/ 15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7" h="167">
                  <a:moveTo>
                    <a:pt x="100" y="153"/>
                  </a:moveTo>
                  <a:lnTo>
                    <a:pt x="94" y="138"/>
                  </a:lnTo>
                  <a:lnTo>
                    <a:pt x="94" y="125"/>
                  </a:lnTo>
                  <a:lnTo>
                    <a:pt x="119" y="117"/>
                  </a:lnTo>
                  <a:lnTo>
                    <a:pt x="123" y="90"/>
                  </a:lnTo>
                  <a:lnTo>
                    <a:pt x="125" y="73"/>
                  </a:lnTo>
                  <a:lnTo>
                    <a:pt x="135" y="63"/>
                  </a:lnTo>
                  <a:lnTo>
                    <a:pt x="137" y="30"/>
                  </a:lnTo>
                  <a:lnTo>
                    <a:pt x="125" y="28"/>
                  </a:lnTo>
                  <a:lnTo>
                    <a:pt x="129" y="15"/>
                  </a:lnTo>
                  <a:lnTo>
                    <a:pt x="108" y="11"/>
                  </a:lnTo>
                  <a:lnTo>
                    <a:pt x="91" y="0"/>
                  </a:lnTo>
                  <a:lnTo>
                    <a:pt x="73" y="23"/>
                  </a:lnTo>
                  <a:lnTo>
                    <a:pt x="66" y="44"/>
                  </a:lnTo>
                  <a:lnTo>
                    <a:pt x="54" y="46"/>
                  </a:lnTo>
                  <a:lnTo>
                    <a:pt x="41" y="38"/>
                  </a:lnTo>
                  <a:lnTo>
                    <a:pt x="27" y="46"/>
                  </a:lnTo>
                  <a:lnTo>
                    <a:pt x="25" y="71"/>
                  </a:lnTo>
                  <a:lnTo>
                    <a:pt x="10" y="96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16" y="113"/>
                  </a:lnTo>
                  <a:lnTo>
                    <a:pt x="29" y="125"/>
                  </a:lnTo>
                  <a:lnTo>
                    <a:pt x="41" y="132"/>
                  </a:lnTo>
                  <a:lnTo>
                    <a:pt x="52" y="136"/>
                  </a:lnTo>
                  <a:lnTo>
                    <a:pt x="52" y="144"/>
                  </a:lnTo>
                  <a:lnTo>
                    <a:pt x="60" y="150"/>
                  </a:lnTo>
                  <a:lnTo>
                    <a:pt x="50" y="161"/>
                  </a:lnTo>
                  <a:lnTo>
                    <a:pt x="66" y="167"/>
                  </a:lnTo>
                  <a:lnTo>
                    <a:pt x="100" y="153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5" name="Freeform 85"/>
            <p:cNvSpPr>
              <a:spLocks/>
            </p:cNvSpPr>
            <p:nvPr/>
          </p:nvSpPr>
          <p:spPr bwMode="auto">
            <a:xfrm>
              <a:off x="3194" y="3676"/>
              <a:ext cx="605" cy="538"/>
            </a:xfrm>
            <a:custGeom>
              <a:avLst/>
              <a:gdLst>
                <a:gd name="T0" fmla="*/ 23 w 290"/>
                <a:gd name="T1" fmla="*/ 178 h 258"/>
                <a:gd name="T2" fmla="*/ 28 w 290"/>
                <a:gd name="T3" fmla="*/ 185 h 258"/>
                <a:gd name="T4" fmla="*/ 45 w 290"/>
                <a:gd name="T5" fmla="*/ 192 h 258"/>
                <a:gd name="T6" fmla="*/ 67 w 290"/>
                <a:gd name="T7" fmla="*/ 202 h 258"/>
                <a:gd name="T8" fmla="*/ 85 w 290"/>
                <a:gd name="T9" fmla="*/ 210 h 258"/>
                <a:gd name="T10" fmla="*/ 97 w 290"/>
                <a:gd name="T11" fmla="*/ 222 h 258"/>
                <a:gd name="T12" fmla="*/ 107 w 290"/>
                <a:gd name="T13" fmla="*/ 223 h 258"/>
                <a:gd name="T14" fmla="*/ 113 w 290"/>
                <a:gd name="T15" fmla="*/ 212 h 258"/>
                <a:gd name="T16" fmla="*/ 133 w 290"/>
                <a:gd name="T17" fmla="*/ 184 h 258"/>
                <a:gd name="T18" fmla="*/ 161 w 290"/>
                <a:gd name="T19" fmla="*/ 129 h 258"/>
                <a:gd name="T20" fmla="*/ 157 w 290"/>
                <a:gd name="T21" fmla="*/ 110 h 258"/>
                <a:gd name="T22" fmla="*/ 158 w 290"/>
                <a:gd name="T23" fmla="*/ 69 h 258"/>
                <a:gd name="T24" fmla="*/ 146 w 290"/>
                <a:gd name="T25" fmla="*/ 51 h 258"/>
                <a:gd name="T26" fmla="*/ 161 w 290"/>
                <a:gd name="T27" fmla="*/ 48 h 258"/>
                <a:gd name="T28" fmla="*/ 166 w 290"/>
                <a:gd name="T29" fmla="*/ 38 h 258"/>
                <a:gd name="T30" fmla="*/ 182 w 290"/>
                <a:gd name="T31" fmla="*/ 37 h 258"/>
                <a:gd name="T32" fmla="*/ 186 w 290"/>
                <a:gd name="T33" fmla="*/ 25 h 258"/>
                <a:gd name="T34" fmla="*/ 198 w 290"/>
                <a:gd name="T35" fmla="*/ 32 h 258"/>
                <a:gd name="T36" fmla="*/ 206 w 290"/>
                <a:gd name="T37" fmla="*/ 32 h 258"/>
                <a:gd name="T38" fmla="*/ 219 w 290"/>
                <a:gd name="T39" fmla="*/ 26 h 258"/>
                <a:gd name="T40" fmla="*/ 232 w 290"/>
                <a:gd name="T41" fmla="*/ 25 h 258"/>
                <a:gd name="T42" fmla="*/ 236 w 290"/>
                <a:gd name="T43" fmla="*/ 13 h 258"/>
                <a:gd name="T44" fmla="*/ 249 w 290"/>
                <a:gd name="T45" fmla="*/ 0 h 258"/>
                <a:gd name="T46" fmla="*/ 250 w 290"/>
                <a:gd name="T47" fmla="*/ 11 h 258"/>
                <a:gd name="T48" fmla="*/ 255 w 290"/>
                <a:gd name="T49" fmla="*/ 23 h 258"/>
                <a:gd name="T50" fmla="*/ 265 w 290"/>
                <a:gd name="T51" fmla="*/ 40 h 258"/>
                <a:gd name="T52" fmla="*/ 273 w 290"/>
                <a:gd name="T53" fmla="*/ 50 h 258"/>
                <a:gd name="T54" fmla="*/ 289 w 290"/>
                <a:gd name="T55" fmla="*/ 59 h 258"/>
                <a:gd name="T56" fmla="*/ 288 w 290"/>
                <a:gd name="T57" fmla="*/ 75 h 258"/>
                <a:gd name="T58" fmla="*/ 265 w 290"/>
                <a:gd name="T59" fmla="*/ 99 h 258"/>
                <a:gd name="T60" fmla="*/ 255 w 290"/>
                <a:gd name="T61" fmla="*/ 114 h 258"/>
                <a:gd name="T62" fmla="*/ 266 w 290"/>
                <a:gd name="T63" fmla="*/ 129 h 258"/>
                <a:gd name="T64" fmla="*/ 252 w 290"/>
                <a:gd name="T65" fmla="*/ 153 h 258"/>
                <a:gd name="T66" fmla="*/ 233 w 290"/>
                <a:gd name="T67" fmla="*/ 170 h 258"/>
                <a:gd name="T68" fmla="*/ 221 w 290"/>
                <a:gd name="T69" fmla="*/ 190 h 258"/>
                <a:gd name="T70" fmla="*/ 195 w 290"/>
                <a:gd name="T71" fmla="*/ 200 h 258"/>
                <a:gd name="T72" fmla="*/ 184 w 290"/>
                <a:gd name="T73" fmla="*/ 208 h 258"/>
                <a:gd name="T74" fmla="*/ 184 w 290"/>
                <a:gd name="T75" fmla="*/ 229 h 258"/>
                <a:gd name="T76" fmla="*/ 182 w 290"/>
                <a:gd name="T77" fmla="*/ 237 h 258"/>
                <a:gd name="T78" fmla="*/ 176 w 290"/>
                <a:gd name="T79" fmla="*/ 246 h 258"/>
                <a:gd name="T80" fmla="*/ 156 w 290"/>
                <a:gd name="T81" fmla="*/ 238 h 258"/>
                <a:gd name="T82" fmla="*/ 122 w 290"/>
                <a:gd name="T83" fmla="*/ 245 h 258"/>
                <a:gd name="T84" fmla="*/ 102 w 290"/>
                <a:gd name="T85" fmla="*/ 257 h 258"/>
                <a:gd name="T86" fmla="*/ 73 w 290"/>
                <a:gd name="T87" fmla="*/ 243 h 258"/>
                <a:gd name="T88" fmla="*/ 58 w 290"/>
                <a:gd name="T89" fmla="*/ 225 h 258"/>
                <a:gd name="T90" fmla="*/ 35 w 290"/>
                <a:gd name="T91" fmla="*/ 219 h 258"/>
                <a:gd name="T92" fmla="*/ 11 w 290"/>
                <a:gd name="T93" fmla="*/ 215 h 258"/>
                <a:gd name="T94" fmla="*/ 0 w 290"/>
                <a:gd name="T95" fmla="*/ 205 h 258"/>
                <a:gd name="T96" fmla="*/ 9 w 290"/>
                <a:gd name="T97" fmla="*/ 191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0" h="258">
                  <a:moveTo>
                    <a:pt x="9" y="191"/>
                  </a:moveTo>
                  <a:cubicBezTo>
                    <a:pt x="23" y="178"/>
                    <a:pt x="23" y="178"/>
                    <a:pt x="23" y="178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8" y="185"/>
                    <a:pt x="28" y="185"/>
                    <a:pt x="28" y="185"/>
                  </a:cubicBezTo>
                  <a:cubicBezTo>
                    <a:pt x="36" y="191"/>
                    <a:pt x="36" y="191"/>
                    <a:pt x="36" y="191"/>
                  </a:cubicBezTo>
                  <a:cubicBezTo>
                    <a:pt x="45" y="192"/>
                    <a:pt x="45" y="192"/>
                    <a:pt x="45" y="192"/>
                  </a:cubicBezTo>
                  <a:cubicBezTo>
                    <a:pt x="60" y="204"/>
                    <a:pt x="60" y="204"/>
                    <a:pt x="60" y="204"/>
                  </a:cubicBezTo>
                  <a:cubicBezTo>
                    <a:pt x="67" y="202"/>
                    <a:pt x="67" y="202"/>
                    <a:pt x="67" y="202"/>
                  </a:cubicBezTo>
                  <a:cubicBezTo>
                    <a:pt x="77" y="211"/>
                    <a:pt x="77" y="211"/>
                    <a:pt x="77" y="211"/>
                  </a:cubicBezTo>
                  <a:cubicBezTo>
                    <a:pt x="85" y="210"/>
                    <a:pt x="85" y="210"/>
                    <a:pt x="85" y="210"/>
                  </a:cubicBezTo>
                  <a:cubicBezTo>
                    <a:pt x="88" y="221"/>
                    <a:pt x="88" y="221"/>
                    <a:pt x="88" y="221"/>
                  </a:cubicBezTo>
                  <a:cubicBezTo>
                    <a:pt x="97" y="222"/>
                    <a:pt x="97" y="222"/>
                    <a:pt x="97" y="222"/>
                  </a:cubicBezTo>
                  <a:cubicBezTo>
                    <a:pt x="102" y="228"/>
                    <a:pt x="102" y="228"/>
                    <a:pt x="102" y="228"/>
                  </a:cubicBezTo>
                  <a:cubicBezTo>
                    <a:pt x="107" y="223"/>
                    <a:pt x="107" y="223"/>
                    <a:pt x="107" y="223"/>
                  </a:cubicBezTo>
                  <a:cubicBezTo>
                    <a:pt x="112" y="223"/>
                    <a:pt x="112" y="223"/>
                    <a:pt x="112" y="223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30" y="194"/>
                    <a:pt x="130" y="194"/>
                    <a:pt x="130" y="194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59" y="156"/>
                    <a:pt x="159" y="156"/>
                    <a:pt x="159" y="156"/>
                  </a:cubicBezTo>
                  <a:cubicBezTo>
                    <a:pt x="161" y="129"/>
                    <a:pt x="161" y="129"/>
                    <a:pt x="161" y="129"/>
                  </a:cubicBezTo>
                  <a:cubicBezTo>
                    <a:pt x="166" y="113"/>
                    <a:pt x="166" y="113"/>
                    <a:pt x="166" y="113"/>
                  </a:cubicBezTo>
                  <a:cubicBezTo>
                    <a:pt x="157" y="110"/>
                    <a:pt x="157" y="110"/>
                    <a:pt x="157" y="110"/>
                  </a:cubicBezTo>
                  <a:cubicBezTo>
                    <a:pt x="152" y="78"/>
                    <a:pt x="152" y="78"/>
                    <a:pt x="152" y="78"/>
                  </a:cubicBezTo>
                  <a:cubicBezTo>
                    <a:pt x="158" y="69"/>
                    <a:pt x="158" y="69"/>
                    <a:pt x="158" y="69"/>
                  </a:cubicBezTo>
                  <a:cubicBezTo>
                    <a:pt x="149" y="63"/>
                    <a:pt x="149" y="63"/>
                    <a:pt x="149" y="63"/>
                  </a:cubicBezTo>
                  <a:cubicBezTo>
                    <a:pt x="146" y="51"/>
                    <a:pt x="146" y="51"/>
                    <a:pt x="146" y="51"/>
                  </a:cubicBezTo>
                  <a:cubicBezTo>
                    <a:pt x="154" y="46"/>
                    <a:pt x="154" y="46"/>
                    <a:pt x="154" y="46"/>
                  </a:cubicBezTo>
                  <a:cubicBezTo>
                    <a:pt x="161" y="48"/>
                    <a:pt x="161" y="48"/>
                    <a:pt x="161" y="48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6" y="38"/>
                    <a:pt x="166" y="38"/>
                    <a:pt x="166" y="38"/>
                  </a:cubicBezTo>
                  <a:cubicBezTo>
                    <a:pt x="174" y="40"/>
                    <a:pt x="174" y="40"/>
                    <a:pt x="174" y="40"/>
                  </a:cubicBezTo>
                  <a:cubicBezTo>
                    <a:pt x="182" y="37"/>
                    <a:pt x="182" y="37"/>
                    <a:pt x="182" y="37"/>
                  </a:cubicBezTo>
                  <a:cubicBezTo>
                    <a:pt x="181" y="31"/>
                    <a:pt x="181" y="31"/>
                    <a:pt x="181" y="31"/>
                  </a:cubicBezTo>
                  <a:cubicBezTo>
                    <a:pt x="186" y="25"/>
                    <a:pt x="186" y="25"/>
                    <a:pt x="186" y="25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198" y="32"/>
                    <a:pt x="198" y="32"/>
                    <a:pt x="198" y="32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6" y="32"/>
                    <a:pt x="206" y="32"/>
                    <a:pt x="206" y="32"/>
                  </a:cubicBezTo>
                  <a:cubicBezTo>
                    <a:pt x="216" y="32"/>
                    <a:pt x="216" y="32"/>
                    <a:pt x="216" y="32"/>
                  </a:cubicBezTo>
                  <a:cubicBezTo>
                    <a:pt x="219" y="26"/>
                    <a:pt x="219" y="26"/>
                    <a:pt x="219" y="26"/>
                  </a:cubicBezTo>
                  <a:cubicBezTo>
                    <a:pt x="226" y="31"/>
                    <a:pt x="226" y="31"/>
                    <a:pt x="226" y="31"/>
                  </a:cubicBezTo>
                  <a:cubicBezTo>
                    <a:pt x="232" y="25"/>
                    <a:pt x="232" y="25"/>
                    <a:pt x="232" y="25"/>
                  </a:cubicBezTo>
                  <a:cubicBezTo>
                    <a:pt x="238" y="25"/>
                    <a:pt x="238" y="25"/>
                    <a:pt x="238" y="25"/>
                  </a:cubicBezTo>
                  <a:cubicBezTo>
                    <a:pt x="236" y="13"/>
                    <a:pt x="236" y="13"/>
                    <a:pt x="236" y="13"/>
                  </a:cubicBezTo>
                  <a:cubicBezTo>
                    <a:pt x="244" y="6"/>
                    <a:pt x="244" y="6"/>
                    <a:pt x="244" y="6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57" y="4"/>
                    <a:pt x="257" y="4"/>
                    <a:pt x="257" y="4"/>
                  </a:cubicBezTo>
                  <a:cubicBezTo>
                    <a:pt x="250" y="11"/>
                    <a:pt x="250" y="11"/>
                    <a:pt x="250" y="11"/>
                  </a:cubicBezTo>
                  <a:cubicBezTo>
                    <a:pt x="248" y="19"/>
                    <a:pt x="248" y="19"/>
                    <a:pt x="248" y="19"/>
                  </a:cubicBezTo>
                  <a:cubicBezTo>
                    <a:pt x="255" y="23"/>
                    <a:pt x="255" y="23"/>
                    <a:pt x="255" y="23"/>
                  </a:cubicBezTo>
                  <a:cubicBezTo>
                    <a:pt x="258" y="33"/>
                    <a:pt x="258" y="33"/>
                    <a:pt x="258" y="33"/>
                  </a:cubicBezTo>
                  <a:cubicBezTo>
                    <a:pt x="265" y="40"/>
                    <a:pt x="265" y="40"/>
                    <a:pt x="265" y="40"/>
                  </a:cubicBezTo>
                  <a:cubicBezTo>
                    <a:pt x="267" y="50"/>
                    <a:pt x="267" y="50"/>
                    <a:pt x="267" y="50"/>
                  </a:cubicBezTo>
                  <a:cubicBezTo>
                    <a:pt x="273" y="50"/>
                    <a:pt x="273" y="50"/>
                    <a:pt x="273" y="50"/>
                  </a:cubicBezTo>
                  <a:cubicBezTo>
                    <a:pt x="278" y="49"/>
                    <a:pt x="278" y="49"/>
                    <a:pt x="278" y="49"/>
                  </a:cubicBezTo>
                  <a:cubicBezTo>
                    <a:pt x="289" y="59"/>
                    <a:pt x="289" y="59"/>
                    <a:pt x="289" y="59"/>
                  </a:cubicBezTo>
                  <a:cubicBezTo>
                    <a:pt x="290" y="70"/>
                    <a:pt x="290" y="70"/>
                    <a:pt x="290" y="70"/>
                  </a:cubicBezTo>
                  <a:cubicBezTo>
                    <a:pt x="288" y="75"/>
                    <a:pt x="288" y="75"/>
                    <a:pt x="288" y="75"/>
                  </a:cubicBezTo>
                  <a:cubicBezTo>
                    <a:pt x="279" y="77"/>
                    <a:pt x="279" y="77"/>
                    <a:pt x="279" y="77"/>
                  </a:cubicBezTo>
                  <a:cubicBezTo>
                    <a:pt x="265" y="99"/>
                    <a:pt x="265" y="99"/>
                    <a:pt x="265" y="99"/>
                  </a:cubicBezTo>
                  <a:cubicBezTo>
                    <a:pt x="257" y="106"/>
                    <a:pt x="257" y="106"/>
                    <a:pt x="257" y="106"/>
                  </a:cubicBezTo>
                  <a:cubicBezTo>
                    <a:pt x="255" y="114"/>
                    <a:pt x="255" y="114"/>
                    <a:pt x="255" y="114"/>
                  </a:cubicBezTo>
                  <a:cubicBezTo>
                    <a:pt x="261" y="123"/>
                    <a:pt x="261" y="123"/>
                    <a:pt x="261" y="123"/>
                  </a:cubicBezTo>
                  <a:cubicBezTo>
                    <a:pt x="266" y="129"/>
                    <a:pt x="266" y="129"/>
                    <a:pt x="266" y="129"/>
                  </a:cubicBezTo>
                  <a:cubicBezTo>
                    <a:pt x="265" y="139"/>
                    <a:pt x="265" y="139"/>
                    <a:pt x="265" y="139"/>
                  </a:cubicBezTo>
                  <a:cubicBezTo>
                    <a:pt x="252" y="153"/>
                    <a:pt x="252" y="153"/>
                    <a:pt x="252" y="153"/>
                  </a:cubicBezTo>
                  <a:cubicBezTo>
                    <a:pt x="235" y="160"/>
                    <a:pt x="235" y="160"/>
                    <a:pt x="235" y="160"/>
                  </a:cubicBezTo>
                  <a:cubicBezTo>
                    <a:pt x="233" y="170"/>
                    <a:pt x="233" y="170"/>
                    <a:pt x="233" y="170"/>
                  </a:cubicBezTo>
                  <a:cubicBezTo>
                    <a:pt x="224" y="178"/>
                    <a:pt x="224" y="178"/>
                    <a:pt x="224" y="178"/>
                  </a:cubicBezTo>
                  <a:cubicBezTo>
                    <a:pt x="221" y="190"/>
                    <a:pt x="221" y="190"/>
                    <a:pt x="221" y="190"/>
                  </a:cubicBezTo>
                  <a:cubicBezTo>
                    <a:pt x="209" y="189"/>
                    <a:pt x="209" y="189"/>
                    <a:pt x="209" y="189"/>
                  </a:cubicBezTo>
                  <a:cubicBezTo>
                    <a:pt x="195" y="200"/>
                    <a:pt x="195" y="200"/>
                    <a:pt x="195" y="200"/>
                  </a:cubicBezTo>
                  <a:cubicBezTo>
                    <a:pt x="184" y="200"/>
                    <a:pt x="184" y="200"/>
                    <a:pt x="184" y="200"/>
                  </a:cubicBezTo>
                  <a:cubicBezTo>
                    <a:pt x="184" y="208"/>
                    <a:pt x="184" y="208"/>
                    <a:pt x="184" y="208"/>
                  </a:cubicBezTo>
                  <a:cubicBezTo>
                    <a:pt x="183" y="214"/>
                    <a:pt x="183" y="214"/>
                    <a:pt x="183" y="214"/>
                  </a:cubicBezTo>
                  <a:cubicBezTo>
                    <a:pt x="184" y="229"/>
                    <a:pt x="184" y="229"/>
                    <a:pt x="184" y="229"/>
                  </a:cubicBezTo>
                  <a:cubicBezTo>
                    <a:pt x="191" y="229"/>
                    <a:pt x="191" y="229"/>
                    <a:pt x="191" y="229"/>
                  </a:cubicBezTo>
                  <a:cubicBezTo>
                    <a:pt x="182" y="237"/>
                    <a:pt x="182" y="237"/>
                    <a:pt x="182" y="237"/>
                  </a:cubicBezTo>
                  <a:cubicBezTo>
                    <a:pt x="181" y="244"/>
                    <a:pt x="181" y="244"/>
                    <a:pt x="181" y="244"/>
                  </a:cubicBezTo>
                  <a:cubicBezTo>
                    <a:pt x="180" y="243"/>
                    <a:pt x="177" y="245"/>
                    <a:pt x="176" y="246"/>
                  </a:cubicBezTo>
                  <a:cubicBezTo>
                    <a:pt x="173" y="247"/>
                    <a:pt x="165" y="248"/>
                    <a:pt x="164" y="244"/>
                  </a:cubicBezTo>
                  <a:cubicBezTo>
                    <a:pt x="164" y="239"/>
                    <a:pt x="159" y="238"/>
                    <a:pt x="156" y="238"/>
                  </a:cubicBezTo>
                  <a:cubicBezTo>
                    <a:pt x="153" y="237"/>
                    <a:pt x="152" y="244"/>
                    <a:pt x="146" y="241"/>
                  </a:cubicBezTo>
                  <a:cubicBezTo>
                    <a:pt x="139" y="237"/>
                    <a:pt x="127" y="243"/>
                    <a:pt x="122" y="245"/>
                  </a:cubicBezTo>
                  <a:cubicBezTo>
                    <a:pt x="117" y="246"/>
                    <a:pt x="115" y="252"/>
                    <a:pt x="112" y="253"/>
                  </a:cubicBezTo>
                  <a:cubicBezTo>
                    <a:pt x="109" y="253"/>
                    <a:pt x="104" y="258"/>
                    <a:pt x="102" y="257"/>
                  </a:cubicBezTo>
                  <a:cubicBezTo>
                    <a:pt x="100" y="257"/>
                    <a:pt x="86" y="254"/>
                    <a:pt x="80" y="251"/>
                  </a:cubicBezTo>
                  <a:cubicBezTo>
                    <a:pt x="74" y="247"/>
                    <a:pt x="74" y="247"/>
                    <a:pt x="73" y="243"/>
                  </a:cubicBezTo>
                  <a:cubicBezTo>
                    <a:pt x="72" y="239"/>
                    <a:pt x="70" y="234"/>
                    <a:pt x="68" y="228"/>
                  </a:cubicBezTo>
                  <a:cubicBezTo>
                    <a:pt x="67" y="223"/>
                    <a:pt x="63" y="225"/>
                    <a:pt x="58" y="225"/>
                  </a:cubicBezTo>
                  <a:cubicBezTo>
                    <a:pt x="52" y="225"/>
                    <a:pt x="48" y="224"/>
                    <a:pt x="47" y="223"/>
                  </a:cubicBezTo>
                  <a:cubicBezTo>
                    <a:pt x="47" y="222"/>
                    <a:pt x="41" y="219"/>
                    <a:pt x="35" y="219"/>
                  </a:cubicBezTo>
                  <a:cubicBezTo>
                    <a:pt x="29" y="220"/>
                    <a:pt x="27" y="220"/>
                    <a:pt x="22" y="219"/>
                  </a:cubicBezTo>
                  <a:cubicBezTo>
                    <a:pt x="16" y="218"/>
                    <a:pt x="15" y="218"/>
                    <a:pt x="11" y="215"/>
                  </a:cubicBezTo>
                  <a:cubicBezTo>
                    <a:pt x="9" y="213"/>
                    <a:pt x="7" y="214"/>
                    <a:pt x="6" y="216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4" y="198"/>
                    <a:pt x="4" y="198"/>
                    <a:pt x="4" y="198"/>
                  </a:cubicBezTo>
                  <a:lnTo>
                    <a:pt x="9" y="191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6" name="Freeform 86"/>
            <p:cNvSpPr>
              <a:spLocks noEditPoints="1"/>
            </p:cNvSpPr>
            <p:nvPr/>
          </p:nvSpPr>
          <p:spPr bwMode="auto">
            <a:xfrm>
              <a:off x="2836" y="4039"/>
              <a:ext cx="377" cy="248"/>
            </a:xfrm>
            <a:custGeom>
              <a:avLst/>
              <a:gdLst>
                <a:gd name="T0" fmla="*/ 0 w 181"/>
                <a:gd name="T1" fmla="*/ 67 h 119"/>
                <a:gd name="T2" fmla="*/ 13 w 181"/>
                <a:gd name="T3" fmla="*/ 68 h 119"/>
                <a:gd name="T4" fmla="*/ 21 w 181"/>
                <a:gd name="T5" fmla="*/ 62 h 119"/>
                <a:gd name="T6" fmla="*/ 21 w 181"/>
                <a:gd name="T7" fmla="*/ 53 h 119"/>
                <a:gd name="T8" fmla="*/ 27 w 181"/>
                <a:gd name="T9" fmla="*/ 52 h 119"/>
                <a:gd name="T10" fmla="*/ 39 w 181"/>
                <a:gd name="T11" fmla="*/ 59 h 119"/>
                <a:gd name="T12" fmla="*/ 53 w 181"/>
                <a:gd name="T13" fmla="*/ 60 h 119"/>
                <a:gd name="T14" fmla="*/ 66 w 181"/>
                <a:gd name="T15" fmla="*/ 59 h 119"/>
                <a:gd name="T16" fmla="*/ 78 w 181"/>
                <a:gd name="T17" fmla="*/ 50 h 119"/>
                <a:gd name="T18" fmla="*/ 85 w 181"/>
                <a:gd name="T19" fmla="*/ 50 h 119"/>
                <a:gd name="T20" fmla="*/ 85 w 181"/>
                <a:gd name="T21" fmla="*/ 40 h 119"/>
                <a:gd name="T22" fmla="*/ 91 w 181"/>
                <a:gd name="T23" fmla="*/ 35 h 119"/>
                <a:gd name="T24" fmla="*/ 90 w 181"/>
                <a:gd name="T25" fmla="*/ 29 h 119"/>
                <a:gd name="T26" fmla="*/ 98 w 181"/>
                <a:gd name="T27" fmla="*/ 26 h 119"/>
                <a:gd name="T28" fmla="*/ 100 w 181"/>
                <a:gd name="T29" fmla="*/ 13 h 119"/>
                <a:gd name="T30" fmla="*/ 108 w 181"/>
                <a:gd name="T31" fmla="*/ 11 h 119"/>
                <a:gd name="T32" fmla="*/ 114 w 181"/>
                <a:gd name="T33" fmla="*/ 11 h 119"/>
                <a:gd name="T34" fmla="*/ 117 w 181"/>
                <a:gd name="T35" fmla="*/ 8 h 119"/>
                <a:gd name="T36" fmla="*/ 127 w 181"/>
                <a:gd name="T37" fmla="*/ 6 h 119"/>
                <a:gd name="T38" fmla="*/ 133 w 181"/>
                <a:gd name="T39" fmla="*/ 4 h 119"/>
                <a:gd name="T40" fmla="*/ 135 w 181"/>
                <a:gd name="T41" fmla="*/ 0 h 119"/>
                <a:gd name="T42" fmla="*/ 144 w 181"/>
                <a:gd name="T43" fmla="*/ 2 h 119"/>
                <a:gd name="T44" fmla="*/ 155 w 181"/>
                <a:gd name="T45" fmla="*/ 5 h 119"/>
                <a:gd name="T46" fmla="*/ 164 w 181"/>
                <a:gd name="T47" fmla="*/ 12 h 119"/>
                <a:gd name="T48" fmla="*/ 176 w 181"/>
                <a:gd name="T49" fmla="*/ 10 h 119"/>
                <a:gd name="T50" fmla="*/ 181 w 181"/>
                <a:gd name="T51" fmla="*/ 17 h 119"/>
                <a:gd name="T52" fmla="*/ 176 w 181"/>
                <a:gd name="T53" fmla="*/ 24 h 119"/>
                <a:gd name="T54" fmla="*/ 172 w 181"/>
                <a:gd name="T55" fmla="*/ 31 h 119"/>
                <a:gd name="T56" fmla="*/ 178 w 181"/>
                <a:gd name="T57" fmla="*/ 42 h 119"/>
                <a:gd name="T58" fmla="*/ 178 w 181"/>
                <a:gd name="T59" fmla="*/ 45 h 119"/>
                <a:gd name="T60" fmla="*/ 172 w 181"/>
                <a:gd name="T61" fmla="*/ 51 h 119"/>
                <a:gd name="T62" fmla="*/ 167 w 181"/>
                <a:gd name="T63" fmla="*/ 59 h 119"/>
                <a:gd name="T64" fmla="*/ 162 w 181"/>
                <a:gd name="T65" fmla="*/ 72 h 119"/>
                <a:gd name="T66" fmla="*/ 169 w 181"/>
                <a:gd name="T67" fmla="*/ 85 h 119"/>
                <a:gd name="T68" fmla="*/ 171 w 181"/>
                <a:gd name="T69" fmla="*/ 99 h 119"/>
                <a:gd name="T70" fmla="*/ 163 w 181"/>
                <a:gd name="T71" fmla="*/ 107 h 119"/>
                <a:gd name="T72" fmla="*/ 152 w 181"/>
                <a:gd name="T73" fmla="*/ 109 h 119"/>
                <a:gd name="T74" fmla="*/ 144 w 181"/>
                <a:gd name="T75" fmla="*/ 108 h 119"/>
                <a:gd name="T76" fmla="*/ 135 w 181"/>
                <a:gd name="T77" fmla="*/ 106 h 119"/>
                <a:gd name="T78" fmla="*/ 126 w 181"/>
                <a:gd name="T79" fmla="*/ 109 h 119"/>
                <a:gd name="T80" fmla="*/ 114 w 181"/>
                <a:gd name="T81" fmla="*/ 108 h 119"/>
                <a:gd name="T82" fmla="*/ 101 w 181"/>
                <a:gd name="T83" fmla="*/ 101 h 119"/>
                <a:gd name="T84" fmla="*/ 99 w 181"/>
                <a:gd name="T85" fmla="*/ 92 h 119"/>
                <a:gd name="T86" fmla="*/ 88 w 181"/>
                <a:gd name="T87" fmla="*/ 91 h 119"/>
                <a:gd name="T88" fmla="*/ 80 w 181"/>
                <a:gd name="T89" fmla="*/ 92 h 119"/>
                <a:gd name="T90" fmla="*/ 69 w 181"/>
                <a:gd name="T91" fmla="*/ 88 h 119"/>
                <a:gd name="T92" fmla="*/ 61 w 181"/>
                <a:gd name="T93" fmla="*/ 87 h 119"/>
                <a:gd name="T94" fmla="*/ 55 w 181"/>
                <a:gd name="T95" fmla="*/ 90 h 119"/>
                <a:gd name="T96" fmla="*/ 47 w 181"/>
                <a:gd name="T97" fmla="*/ 94 h 119"/>
                <a:gd name="T98" fmla="*/ 41 w 181"/>
                <a:gd name="T99" fmla="*/ 97 h 119"/>
                <a:gd name="T100" fmla="*/ 34 w 181"/>
                <a:gd name="T101" fmla="*/ 102 h 119"/>
                <a:gd name="T102" fmla="*/ 24 w 181"/>
                <a:gd name="T103" fmla="*/ 107 h 119"/>
                <a:gd name="T104" fmla="*/ 16 w 181"/>
                <a:gd name="T105" fmla="*/ 112 h 119"/>
                <a:gd name="T106" fmla="*/ 13 w 181"/>
                <a:gd name="T107" fmla="*/ 114 h 119"/>
                <a:gd name="T108" fmla="*/ 11 w 181"/>
                <a:gd name="T109" fmla="*/ 112 h 119"/>
                <a:gd name="T110" fmla="*/ 5 w 181"/>
                <a:gd name="T111" fmla="*/ 105 h 119"/>
                <a:gd name="T112" fmla="*/ 14 w 181"/>
                <a:gd name="T113" fmla="*/ 101 h 119"/>
                <a:gd name="T114" fmla="*/ 14 w 181"/>
                <a:gd name="T115" fmla="*/ 96 h 119"/>
                <a:gd name="T116" fmla="*/ 2 w 181"/>
                <a:gd name="T117" fmla="*/ 83 h 119"/>
                <a:gd name="T118" fmla="*/ 0 w 181"/>
                <a:gd name="T119" fmla="*/ 67 h 119"/>
                <a:gd name="T120" fmla="*/ 13 w 181"/>
                <a:gd name="T121" fmla="*/ 119 h 119"/>
                <a:gd name="T122" fmla="*/ 13 w 181"/>
                <a:gd name="T123" fmla="*/ 119 h 119"/>
                <a:gd name="T124" fmla="*/ 13 w 181"/>
                <a:gd name="T125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1" h="119">
                  <a:moveTo>
                    <a:pt x="0" y="67"/>
                  </a:moveTo>
                  <a:cubicBezTo>
                    <a:pt x="13" y="68"/>
                    <a:pt x="13" y="68"/>
                    <a:pt x="13" y="68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27" y="6"/>
                    <a:pt x="127" y="6"/>
                    <a:pt x="127" y="6"/>
                  </a:cubicBezTo>
                  <a:cubicBezTo>
                    <a:pt x="133" y="4"/>
                    <a:pt x="133" y="4"/>
                    <a:pt x="133" y="4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44" y="2"/>
                    <a:pt x="144" y="2"/>
                    <a:pt x="144" y="2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64" y="12"/>
                    <a:pt x="164" y="12"/>
                    <a:pt x="164" y="12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81" y="17"/>
                    <a:pt x="181" y="17"/>
                    <a:pt x="181" y="17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8" y="42"/>
                    <a:pt x="178" y="42"/>
                    <a:pt x="178" y="42"/>
                  </a:cubicBezTo>
                  <a:cubicBezTo>
                    <a:pt x="178" y="43"/>
                    <a:pt x="178" y="44"/>
                    <a:pt x="178" y="45"/>
                  </a:cubicBezTo>
                  <a:cubicBezTo>
                    <a:pt x="178" y="48"/>
                    <a:pt x="175" y="48"/>
                    <a:pt x="172" y="51"/>
                  </a:cubicBezTo>
                  <a:cubicBezTo>
                    <a:pt x="168" y="53"/>
                    <a:pt x="170" y="58"/>
                    <a:pt x="167" y="59"/>
                  </a:cubicBezTo>
                  <a:cubicBezTo>
                    <a:pt x="164" y="60"/>
                    <a:pt x="162" y="68"/>
                    <a:pt x="162" y="72"/>
                  </a:cubicBezTo>
                  <a:cubicBezTo>
                    <a:pt x="162" y="77"/>
                    <a:pt x="164" y="80"/>
                    <a:pt x="169" y="85"/>
                  </a:cubicBezTo>
                  <a:cubicBezTo>
                    <a:pt x="173" y="91"/>
                    <a:pt x="175" y="97"/>
                    <a:pt x="171" y="99"/>
                  </a:cubicBezTo>
                  <a:cubicBezTo>
                    <a:pt x="167" y="101"/>
                    <a:pt x="168" y="102"/>
                    <a:pt x="163" y="107"/>
                  </a:cubicBezTo>
                  <a:cubicBezTo>
                    <a:pt x="158" y="112"/>
                    <a:pt x="154" y="112"/>
                    <a:pt x="152" y="109"/>
                  </a:cubicBezTo>
                  <a:cubicBezTo>
                    <a:pt x="150" y="106"/>
                    <a:pt x="146" y="108"/>
                    <a:pt x="144" y="108"/>
                  </a:cubicBezTo>
                  <a:cubicBezTo>
                    <a:pt x="142" y="108"/>
                    <a:pt x="136" y="108"/>
                    <a:pt x="135" y="106"/>
                  </a:cubicBezTo>
                  <a:cubicBezTo>
                    <a:pt x="133" y="104"/>
                    <a:pt x="128" y="106"/>
                    <a:pt x="126" y="109"/>
                  </a:cubicBezTo>
                  <a:cubicBezTo>
                    <a:pt x="123" y="111"/>
                    <a:pt x="119" y="109"/>
                    <a:pt x="114" y="108"/>
                  </a:cubicBezTo>
                  <a:cubicBezTo>
                    <a:pt x="110" y="108"/>
                    <a:pt x="103" y="104"/>
                    <a:pt x="101" y="101"/>
                  </a:cubicBezTo>
                  <a:cubicBezTo>
                    <a:pt x="100" y="98"/>
                    <a:pt x="100" y="94"/>
                    <a:pt x="99" y="92"/>
                  </a:cubicBezTo>
                  <a:cubicBezTo>
                    <a:pt x="99" y="91"/>
                    <a:pt x="90" y="92"/>
                    <a:pt x="88" y="91"/>
                  </a:cubicBezTo>
                  <a:cubicBezTo>
                    <a:pt x="87" y="90"/>
                    <a:pt x="82" y="92"/>
                    <a:pt x="80" y="92"/>
                  </a:cubicBezTo>
                  <a:cubicBezTo>
                    <a:pt x="79" y="92"/>
                    <a:pt x="71" y="90"/>
                    <a:pt x="69" y="88"/>
                  </a:cubicBezTo>
                  <a:cubicBezTo>
                    <a:pt x="66" y="85"/>
                    <a:pt x="65" y="87"/>
                    <a:pt x="61" y="87"/>
                  </a:cubicBezTo>
                  <a:cubicBezTo>
                    <a:pt x="58" y="87"/>
                    <a:pt x="57" y="90"/>
                    <a:pt x="55" y="90"/>
                  </a:cubicBezTo>
                  <a:cubicBezTo>
                    <a:pt x="53" y="90"/>
                    <a:pt x="48" y="92"/>
                    <a:pt x="47" y="94"/>
                  </a:cubicBezTo>
                  <a:cubicBezTo>
                    <a:pt x="45" y="96"/>
                    <a:pt x="44" y="97"/>
                    <a:pt x="41" y="97"/>
                  </a:cubicBezTo>
                  <a:cubicBezTo>
                    <a:pt x="38" y="98"/>
                    <a:pt x="37" y="101"/>
                    <a:pt x="34" y="102"/>
                  </a:cubicBezTo>
                  <a:cubicBezTo>
                    <a:pt x="32" y="103"/>
                    <a:pt x="27" y="105"/>
                    <a:pt x="24" y="107"/>
                  </a:cubicBezTo>
                  <a:cubicBezTo>
                    <a:pt x="22" y="108"/>
                    <a:pt x="20" y="112"/>
                    <a:pt x="16" y="112"/>
                  </a:cubicBezTo>
                  <a:cubicBezTo>
                    <a:pt x="15" y="112"/>
                    <a:pt x="14" y="113"/>
                    <a:pt x="13" y="114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14" y="101"/>
                    <a:pt x="14" y="101"/>
                    <a:pt x="14" y="101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0" y="67"/>
                    <a:pt x="0" y="67"/>
                    <a:pt x="0" y="67"/>
                  </a:cubicBezTo>
                  <a:close/>
                  <a:moveTo>
                    <a:pt x="13" y="119"/>
                  </a:move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7" name="Freeform 87"/>
            <p:cNvSpPr>
              <a:spLocks/>
            </p:cNvSpPr>
            <p:nvPr/>
          </p:nvSpPr>
          <p:spPr bwMode="auto">
            <a:xfrm>
              <a:off x="2646" y="4110"/>
              <a:ext cx="219" cy="212"/>
            </a:xfrm>
            <a:custGeom>
              <a:avLst/>
              <a:gdLst>
                <a:gd name="T0" fmla="*/ 1 w 105"/>
                <a:gd name="T1" fmla="*/ 57 h 102"/>
                <a:gd name="T2" fmla="*/ 0 w 105"/>
                <a:gd name="T3" fmla="*/ 65 h 102"/>
                <a:gd name="T4" fmla="*/ 8 w 105"/>
                <a:gd name="T5" fmla="*/ 69 h 102"/>
                <a:gd name="T6" fmla="*/ 16 w 105"/>
                <a:gd name="T7" fmla="*/ 78 h 102"/>
                <a:gd name="T8" fmla="*/ 18 w 105"/>
                <a:gd name="T9" fmla="*/ 86 h 102"/>
                <a:gd name="T10" fmla="*/ 29 w 105"/>
                <a:gd name="T11" fmla="*/ 88 h 102"/>
                <a:gd name="T12" fmla="*/ 38 w 105"/>
                <a:gd name="T13" fmla="*/ 88 h 102"/>
                <a:gd name="T14" fmla="*/ 46 w 105"/>
                <a:gd name="T15" fmla="*/ 82 h 102"/>
                <a:gd name="T16" fmla="*/ 46 w 105"/>
                <a:gd name="T17" fmla="*/ 88 h 102"/>
                <a:gd name="T18" fmla="*/ 52 w 105"/>
                <a:gd name="T19" fmla="*/ 95 h 102"/>
                <a:gd name="T20" fmla="*/ 62 w 105"/>
                <a:gd name="T21" fmla="*/ 102 h 102"/>
                <a:gd name="T22" fmla="*/ 72 w 105"/>
                <a:gd name="T23" fmla="*/ 99 h 102"/>
                <a:gd name="T24" fmla="*/ 79 w 105"/>
                <a:gd name="T25" fmla="*/ 92 h 102"/>
                <a:gd name="T26" fmla="*/ 91 w 105"/>
                <a:gd name="T27" fmla="*/ 92 h 102"/>
                <a:gd name="T28" fmla="*/ 104 w 105"/>
                <a:gd name="T29" fmla="*/ 85 h 102"/>
                <a:gd name="T30" fmla="*/ 104 w 105"/>
                <a:gd name="T31" fmla="*/ 80 h 102"/>
                <a:gd name="T32" fmla="*/ 102 w 105"/>
                <a:gd name="T33" fmla="*/ 78 h 102"/>
                <a:gd name="T34" fmla="*/ 96 w 105"/>
                <a:gd name="T35" fmla="*/ 71 h 102"/>
                <a:gd name="T36" fmla="*/ 105 w 105"/>
                <a:gd name="T37" fmla="*/ 67 h 102"/>
                <a:gd name="T38" fmla="*/ 105 w 105"/>
                <a:gd name="T39" fmla="*/ 62 h 102"/>
                <a:gd name="T40" fmla="*/ 93 w 105"/>
                <a:gd name="T41" fmla="*/ 49 h 102"/>
                <a:gd name="T42" fmla="*/ 91 w 105"/>
                <a:gd name="T43" fmla="*/ 33 h 102"/>
                <a:gd name="T44" fmla="*/ 85 w 105"/>
                <a:gd name="T45" fmla="*/ 33 h 102"/>
                <a:gd name="T46" fmla="*/ 82 w 105"/>
                <a:gd name="T47" fmla="*/ 41 h 102"/>
                <a:gd name="T48" fmla="*/ 76 w 105"/>
                <a:gd name="T49" fmla="*/ 40 h 102"/>
                <a:gd name="T50" fmla="*/ 70 w 105"/>
                <a:gd name="T51" fmla="*/ 34 h 102"/>
                <a:gd name="T52" fmla="*/ 73 w 105"/>
                <a:gd name="T53" fmla="*/ 31 h 102"/>
                <a:gd name="T54" fmla="*/ 73 w 105"/>
                <a:gd name="T55" fmla="*/ 24 h 102"/>
                <a:gd name="T56" fmla="*/ 81 w 105"/>
                <a:gd name="T57" fmla="*/ 14 h 102"/>
                <a:gd name="T58" fmla="*/ 81 w 105"/>
                <a:gd name="T59" fmla="*/ 9 h 102"/>
                <a:gd name="T60" fmla="*/ 76 w 105"/>
                <a:gd name="T61" fmla="*/ 8 h 102"/>
                <a:gd name="T62" fmla="*/ 69 w 105"/>
                <a:gd name="T63" fmla="*/ 4 h 102"/>
                <a:gd name="T64" fmla="*/ 63 w 105"/>
                <a:gd name="T65" fmla="*/ 5 h 102"/>
                <a:gd name="T66" fmla="*/ 57 w 105"/>
                <a:gd name="T67" fmla="*/ 0 h 102"/>
                <a:gd name="T68" fmla="*/ 50 w 105"/>
                <a:gd name="T69" fmla="*/ 5 h 102"/>
                <a:gd name="T70" fmla="*/ 54 w 105"/>
                <a:gd name="T71" fmla="*/ 11 h 102"/>
                <a:gd name="T72" fmla="*/ 48 w 105"/>
                <a:gd name="T73" fmla="*/ 18 h 102"/>
                <a:gd name="T74" fmla="*/ 43 w 105"/>
                <a:gd name="T75" fmla="*/ 20 h 102"/>
                <a:gd name="T76" fmla="*/ 38 w 105"/>
                <a:gd name="T77" fmla="*/ 16 h 102"/>
                <a:gd name="T78" fmla="*/ 34 w 105"/>
                <a:gd name="T79" fmla="*/ 19 h 102"/>
                <a:gd name="T80" fmla="*/ 33 w 105"/>
                <a:gd name="T81" fmla="*/ 26 h 102"/>
                <a:gd name="T82" fmla="*/ 24 w 105"/>
                <a:gd name="T83" fmla="*/ 34 h 102"/>
                <a:gd name="T84" fmla="*/ 17 w 105"/>
                <a:gd name="T85" fmla="*/ 34 h 102"/>
                <a:gd name="T86" fmla="*/ 0 w 105"/>
                <a:gd name="T87" fmla="*/ 41 h 102"/>
                <a:gd name="T88" fmla="*/ 7 w 105"/>
                <a:gd name="T89" fmla="*/ 49 h 102"/>
                <a:gd name="T90" fmla="*/ 9 w 105"/>
                <a:gd name="T91" fmla="*/ 56 h 102"/>
                <a:gd name="T92" fmla="*/ 1 w 105"/>
                <a:gd name="T93" fmla="*/ 57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5" h="102">
                  <a:moveTo>
                    <a:pt x="1" y="57"/>
                  </a:moveTo>
                  <a:cubicBezTo>
                    <a:pt x="1" y="61"/>
                    <a:pt x="0" y="64"/>
                    <a:pt x="0" y="65"/>
                  </a:cubicBezTo>
                  <a:cubicBezTo>
                    <a:pt x="0" y="67"/>
                    <a:pt x="6" y="67"/>
                    <a:pt x="8" y="69"/>
                  </a:cubicBezTo>
                  <a:cubicBezTo>
                    <a:pt x="11" y="71"/>
                    <a:pt x="15" y="74"/>
                    <a:pt x="16" y="78"/>
                  </a:cubicBezTo>
                  <a:cubicBezTo>
                    <a:pt x="16" y="81"/>
                    <a:pt x="18" y="86"/>
                    <a:pt x="18" y="86"/>
                  </a:cubicBezTo>
                  <a:cubicBezTo>
                    <a:pt x="18" y="86"/>
                    <a:pt x="28" y="86"/>
                    <a:pt x="29" y="88"/>
                  </a:cubicBezTo>
                  <a:cubicBezTo>
                    <a:pt x="30" y="89"/>
                    <a:pt x="36" y="91"/>
                    <a:pt x="38" y="88"/>
                  </a:cubicBezTo>
                  <a:cubicBezTo>
                    <a:pt x="40" y="85"/>
                    <a:pt x="45" y="81"/>
                    <a:pt x="46" y="82"/>
                  </a:cubicBezTo>
                  <a:cubicBezTo>
                    <a:pt x="46" y="83"/>
                    <a:pt x="46" y="86"/>
                    <a:pt x="46" y="88"/>
                  </a:cubicBezTo>
                  <a:cubicBezTo>
                    <a:pt x="46" y="89"/>
                    <a:pt x="50" y="92"/>
                    <a:pt x="52" y="95"/>
                  </a:cubicBezTo>
                  <a:cubicBezTo>
                    <a:pt x="54" y="98"/>
                    <a:pt x="58" y="102"/>
                    <a:pt x="62" y="102"/>
                  </a:cubicBezTo>
                  <a:cubicBezTo>
                    <a:pt x="65" y="102"/>
                    <a:pt x="71" y="101"/>
                    <a:pt x="72" y="99"/>
                  </a:cubicBezTo>
                  <a:cubicBezTo>
                    <a:pt x="74" y="96"/>
                    <a:pt x="76" y="92"/>
                    <a:pt x="79" y="92"/>
                  </a:cubicBezTo>
                  <a:cubicBezTo>
                    <a:pt x="83" y="92"/>
                    <a:pt x="87" y="92"/>
                    <a:pt x="91" y="92"/>
                  </a:cubicBezTo>
                  <a:cubicBezTo>
                    <a:pt x="94" y="92"/>
                    <a:pt x="104" y="87"/>
                    <a:pt x="104" y="85"/>
                  </a:cubicBezTo>
                  <a:cubicBezTo>
                    <a:pt x="104" y="84"/>
                    <a:pt x="104" y="82"/>
                    <a:pt x="104" y="80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105" y="67"/>
                    <a:pt x="105" y="67"/>
                    <a:pt x="105" y="67"/>
                  </a:cubicBezTo>
                  <a:cubicBezTo>
                    <a:pt x="105" y="62"/>
                    <a:pt x="105" y="62"/>
                    <a:pt x="105" y="62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9" y="56"/>
                    <a:pt x="9" y="56"/>
                    <a:pt x="9" y="56"/>
                  </a:cubicBezTo>
                  <a:lnTo>
                    <a:pt x="1" y="57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8" name="Freeform 88"/>
            <p:cNvSpPr>
              <a:spLocks/>
            </p:cNvSpPr>
            <p:nvPr/>
          </p:nvSpPr>
          <p:spPr bwMode="auto">
            <a:xfrm>
              <a:off x="2792" y="3941"/>
              <a:ext cx="152" cy="254"/>
            </a:xfrm>
            <a:custGeom>
              <a:avLst/>
              <a:gdLst>
                <a:gd name="T0" fmla="*/ 42 w 152"/>
                <a:gd name="T1" fmla="*/ 0 h 254"/>
                <a:gd name="T2" fmla="*/ 58 w 152"/>
                <a:gd name="T3" fmla="*/ 29 h 254"/>
                <a:gd name="T4" fmla="*/ 71 w 152"/>
                <a:gd name="T5" fmla="*/ 29 h 254"/>
                <a:gd name="T6" fmla="*/ 79 w 152"/>
                <a:gd name="T7" fmla="*/ 23 h 254"/>
                <a:gd name="T8" fmla="*/ 106 w 152"/>
                <a:gd name="T9" fmla="*/ 29 h 254"/>
                <a:gd name="T10" fmla="*/ 115 w 152"/>
                <a:gd name="T11" fmla="*/ 25 h 254"/>
                <a:gd name="T12" fmla="*/ 121 w 152"/>
                <a:gd name="T13" fmla="*/ 35 h 254"/>
                <a:gd name="T14" fmla="*/ 115 w 152"/>
                <a:gd name="T15" fmla="*/ 48 h 254"/>
                <a:gd name="T16" fmla="*/ 129 w 152"/>
                <a:gd name="T17" fmla="*/ 62 h 254"/>
                <a:gd name="T18" fmla="*/ 129 w 152"/>
                <a:gd name="T19" fmla="*/ 81 h 254"/>
                <a:gd name="T20" fmla="*/ 148 w 152"/>
                <a:gd name="T21" fmla="*/ 96 h 254"/>
                <a:gd name="T22" fmla="*/ 146 w 152"/>
                <a:gd name="T23" fmla="*/ 114 h 254"/>
                <a:gd name="T24" fmla="*/ 152 w 152"/>
                <a:gd name="T25" fmla="*/ 127 h 254"/>
                <a:gd name="T26" fmla="*/ 133 w 152"/>
                <a:gd name="T27" fmla="*/ 144 h 254"/>
                <a:gd name="T28" fmla="*/ 135 w 152"/>
                <a:gd name="T29" fmla="*/ 154 h 254"/>
                <a:gd name="T30" fmla="*/ 110 w 152"/>
                <a:gd name="T31" fmla="*/ 177 h 254"/>
                <a:gd name="T32" fmla="*/ 100 w 152"/>
                <a:gd name="T33" fmla="*/ 206 h 254"/>
                <a:gd name="T34" fmla="*/ 87 w 152"/>
                <a:gd name="T35" fmla="*/ 208 h 254"/>
                <a:gd name="T36" fmla="*/ 87 w 152"/>
                <a:gd name="T37" fmla="*/ 227 h 254"/>
                <a:gd name="T38" fmla="*/ 71 w 152"/>
                <a:gd name="T39" fmla="*/ 239 h 254"/>
                <a:gd name="T40" fmla="*/ 44 w 152"/>
                <a:gd name="T41" fmla="*/ 237 h 254"/>
                <a:gd name="T42" fmla="*/ 31 w 152"/>
                <a:gd name="T43" fmla="*/ 237 h 254"/>
                <a:gd name="T44" fmla="*/ 25 w 152"/>
                <a:gd name="T45" fmla="*/ 254 h 254"/>
                <a:gd name="T46" fmla="*/ 12 w 152"/>
                <a:gd name="T47" fmla="*/ 252 h 254"/>
                <a:gd name="T48" fmla="*/ 0 w 152"/>
                <a:gd name="T49" fmla="*/ 239 h 254"/>
                <a:gd name="T50" fmla="*/ 6 w 152"/>
                <a:gd name="T51" fmla="*/ 233 h 254"/>
                <a:gd name="T52" fmla="*/ 6 w 152"/>
                <a:gd name="T53" fmla="*/ 219 h 254"/>
                <a:gd name="T54" fmla="*/ 23 w 152"/>
                <a:gd name="T55" fmla="*/ 198 h 254"/>
                <a:gd name="T56" fmla="*/ 33 w 152"/>
                <a:gd name="T57" fmla="*/ 202 h 254"/>
                <a:gd name="T58" fmla="*/ 33 w 152"/>
                <a:gd name="T59" fmla="*/ 185 h 254"/>
                <a:gd name="T60" fmla="*/ 54 w 152"/>
                <a:gd name="T61" fmla="*/ 169 h 254"/>
                <a:gd name="T62" fmla="*/ 44 w 152"/>
                <a:gd name="T63" fmla="*/ 152 h 254"/>
                <a:gd name="T64" fmla="*/ 50 w 152"/>
                <a:gd name="T65" fmla="*/ 137 h 254"/>
                <a:gd name="T66" fmla="*/ 35 w 152"/>
                <a:gd name="T67" fmla="*/ 123 h 254"/>
                <a:gd name="T68" fmla="*/ 50 w 152"/>
                <a:gd name="T69" fmla="*/ 104 h 254"/>
                <a:gd name="T70" fmla="*/ 50 w 152"/>
                <a:gd name="T71" fmla="*/ 81 h 254"/>
                <a:gd name="T72" fmla="*/ 58 w 152"/>
                <a:gd name="T73" fmla="*/ 71 h 254"/>
                <a:gd name="T74" fmla="*/ 42 w 152"/>
                <a:gd name="T75" fmla="*/ 69 h 254"/>
                <a:gd name="T76" fmla="*/ 29 w 152"/>
                <a:gd name="T77" fmla="*/ 73 h 254"/>
                <a:gd name="T78" fmla="*/ 23 w 152"/>
                <a:gd name="T79" fmla="*/ 69 h 254"/>
                <a:gd name="T80" fmla="*/ 37 w 152"/>
                <a:gd name="T81" fmla="*/ 58 h 254"/>
                <a:gd name="T82" fmla="*/ 37 w 152"/>
                <a:gd name="T83" fmla="*/ 33 h 254"/>
                <a:gd name="T84" fmla="*/ 29 w 152"/>
                <a:gd name="T85" fmla="*/ 8 h 254"/>
                <a:gd name="T86" fmla="*/ 42 w 152"/>
                <a:gd name="T8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2" h="254">
                  <a:moveTo>
                    <a:pt x="42" y="0"/>
                  </a:moveTo>
                  <a:lnTo>
                    <a:pt x="58" y="29"/>
                  </a:lnTo>
                  <a:lnTo>
                    <a:pt x="71" y="29"/>
                  </a:lnTo>
                  <a:lnTo>
                    <a:pt x="79" y="23"/>
                  </a:lnTo>
                  <a:lnTo>
                    <a:pt x="106" y="29"/>
                  </a:lnTo>
                  <a:lnTo>
                    <a:pt x="115" y="25"/>
                  </a:lnTo>
                  <a:lnTo>
                    <a:pt x="121" y="35"/>
                  </a:lnTo>
                  <a:lnTo>
                    <a:pt x="115" y="48"/>
                  </a:lnTo>
                  <a:lnTo>
                    <a:pt x="129" y="62"/>
                  </a:lnTo>
                  <a:lnTo>
                    <a:pt x="129" y="81"/>
                  </a:lnTo>
                  <a:lnTo>
                    <a:pt x="148" y="96"/>
                  </a:lnTo>
                  <a:lnTo>
                    <a:pt x="146" y="114"/>
                  </a:lnTo>
                  <a:lnTo>
                    <a:pt x="152" y="127"/>
                  </a:lnTo>
                  <a:lnTo>
                    <a:pt x="133" y="144"/>
                  </a:lnTo>
                  <a:lnTo>
                    <a:pt x="135" y="154"/>
                  </a:lnTo>
                  <a:lnTo>
                    <a:pt x="110" y="177"/>
                  </a:lnTo>
                  <a:lnTo>
                    <a:pt x="100" y="206"/>
                  </a:lnTo>
                  <a:lnTo>
                    <a:pt x="87" y="208"/>
                  </a:lnTo>
                  <a:lnTo>
                    <a:pt x="87" y="227"/>
                  </a:lnTo>
                  <a:lnTo>
                    <a:pt x="71" y="239"/>
                  </a:lnTo>
                  <a:lnTo>
                    <a:pt x="44" y="237"/>
                  </a:lnTo>
                  <a:lnTo>
                    <a:pt x="31" y="237"/>
                  </a:lnTo>
                  <a:lnTo>
                    <a:pt x="25" y="254"/>
                  </a:lnTo>
                  <a:lnTo>
                    <a:pt x="12" y="252"/>
                  </a:lnTo>
                  <a:lnTo>
                    <a:pt x="0" y="239"/>
                  </a:lnTo>
                  <a:lnTo>
                    <a:pt x="6" y="233"/>
                  </a:lnTo>
                  <a:lnTo>
                    <a:pt x="6" y="219"/>
                  </a:lnTo>
                  <a:lnTo>
                    <a:pt x="23" y="198"/>
                  </a:lnTo>
                  <a:lnTo>
                    <a:pt x="33" y="202"/>
                  </a:lnTo>
                  <a:lnTo>
                    <a:pt x="33" y="185"/>
                  </a:lnTo>
                  <a:lnTo>
                    <a:pt x="54" y="169"/>
                  </a:lnTo>
                  <a:lnTo>
                    <a:pt x="44" y="152"/>
                  </a:lnTo>
                  <a:lnTo>
                    <a:pt x="50" y="137"/>
                  </a:lnTo>
                  <a:lnTo>
                    <a:pt x="35" y="123"/>
                  </a:lnTo>
                  <a:lnTo>
                    <a:pt x="50" y="104"/>
                  </a:lnTo>
                  <a:lnTo>
                    <a:pt x="50" y="81"/>
                  </a:lnTo>
                  <a:lnTo>
                    <a:pt x="58" y="71"/>
                  </a:lnTo>
                  <a:lnTo>
                    <a:pt x="42" y="69"/>
                  </a:lnTo>
                  <a:lnTo>
                    <a:pt x="29" y="73"/>
                  </a:lnTo>
                  <a:lnTo>
                    <a:pt x="23" y="69"/>
                  </a:lnTo>
                  <a:lnTo>
                    <a:pt x="37" y="58"/>
                  </a:lnTo>
                  <a:lnTo>
                    <a:pt x="37" y="33"/>
                  </a:lnTo>
                  <a:lnTo>
                    <a:pt x="29" y="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9" name="Freeform 89"/>
            <p:cNvSpPr>
              <a:spLocks noEditPoints="1"/>
            </p:cNvSpPr>
            <p:nvPr/>
          </p:nvSpPr>
          <p:spPr bwMode="auto">
            <a:xfrm>
              <a:off x="4203" y="1755"/>
              <a:ext cx="598" cy="756"/>
            </a:xfrm>
            <a:custGeom>
              <a:avLst/>
              <a:gdLst>
                <a:gd name="T0" fmla="*/ 7 w 287"/>
                <a:gd name="T1" fmla="*/ 247 h 363"/>
                <a:gd name="T2" fmla="*/ 23 w 287"/>
                <a:gd name="T3" fmla="*/ 214 h 363"/>
                <a:gd name="T4" fmla="*/ 38 w 287"/>
                <a:gd name="T5" fmla="*/ 203 h 363"/>
                <a:gd name="T6" fmla="*/ 42 w 287"/>
                <a:gd name="T7" fmla="*/ 213 h 363"/>
                <a:gd name="T8" fmla="*/ 54 w 287"/>
                <a:gd name="T9" fmla="*/ 191 h 363"/>
                <a:gd name="T10" fmla="*/ 27 w 287"/>
                <a:gd name="T11" fmla="*/ 181 h 363"/>
                <a:gd name="T12" fmla="*/ 47 w 287"/>
                <a:gd name="T13" fmla="*/ 153 h 363"/>
                <a:gd name="T14" fmla="*/ 76 w 287"/>
                <a:gd name="T15" fmla="*/ 114 h 363"/>
                <a:gd name="T16" fmla="*/ 117 w 287"/>
                <a:gd name="T17" fmla="*/ 85 h 363"/>
                <a:gd name="T18" fmla="*/ 155 w 287"/>
                <a:gd name="T19" fmla="*/ 58 h 363"/>
                <a:gd name="T20" fmla="*/ 179 w 287"/>
                <a:gd name="T21" fmla="*/ 61 h 363"/>
                <a:gd name="T22" fmla="*/ 168 w 287"/>
                <a:gd name="T23" fmla="*/ 53 h 363"/>
                <a:gd name="T24" fmla="*/ 172 w 287"/>
                <a:gd name="T25" fmla="*/ 34 h 363"/>
                <a:gd name="T26" fmla="*/ 205 w 287"/>
                <a:gd name="T27" fmla="*/ 2 h 363"/>
                <a:gd name="T28" fmla="*/ 218 w 287"/>
                <a:gd name="T29" fmla="*/ 18 h 363"/>
                <a:gd name="T30" fmla="*/ 224 w 287"/>
                <a:gd name="T31" fmla="*/ 39 h 363"/>
                <a:gd name="T32" fmla="*/ 247 w 287"/>
                <a:gd name="T33" fmla="*/ 45 h 363"/>
                <a:gd name="T34" fmla="*/ 246 w 287"/>
                <a:gd name="T35" fmla="*/ 64 h 363"/>
                <a:gd name="T36" fmla="*/ 226 w 287"/>
                <a:gd name="T37" fmla="*/ 84 h 363"/>
                <a:gd name="T38" fmla="*/ 204 w 287"/>
                <a:gd name="T39" fmla="*/ 107 h 363"/>
                <a:gd name="T40" fmla="*/ 184 w 287"/>
                <a:gd name="T41" fmla="*/ 113 h 363"/>
                <a:gd name="T42" fmla="*/ 187 w 287"/>
                <a:gd name="T43" fmla="*/ 124 h 363"/>
                <a:gd name="T44" fmla="*/ 209 w 287"/>
                <a:gd name="T45" fmla="*/ 135 h 363"/>
                <a:gd name="T46" fmla="*/ 212 w 287"/>
                <a:gd name="T47" fmla="*/ 161 h 363"/>
                <a:gd name="T48" fmla="*/ 202 w 287"/>
                <a:gd name="T49" fmla="*/ 179 h 363"/>
                <a:gd name="T50" fmla="*/ 220 w 287"/>
                <a:gd name="T51" fmla="*/ 168 h 363"/>
                <a:gd name="T52" fmla="*/ 246 w 287"/>
                <a:gd name="T53" fmla="*/ 163 h 363"/>
                <a:gd name="T54" fmla="*/ 272 w 287"/>
                <a:gd name="T55" fmla="*/ 159 h 363"/>
                <a:gd name="T56" fmla="*/ 264 w 287"/>
                <a:gd name="T57" fmla="*/ 191 h 363"/>
                <a:gd name="T58" fmla="*/ 275 w 287"/>
                <a:gd name="T59" fmla="*/ 228 h 363"/>
                <a:gd name="T60" fmla="*/ 264 w 287"/>
                <a:gd name="T61" fmla="*/ 239 h 363"/>
                <a:gd name="T62" fmla="*/ 251 w 287"/>
                <a:gd name="T63" fmla="*/ 254 h 363"/>
                <a:gd name="T64" fmla="*/ 241 w 287"/>
                <a:gd name="T65" fmla="*/ 284 h 363"/>
                <a:gd name="T66" fmla="*/ 224 w 287"/>
                <a:gd name="T67" fmla="*/ 289 h 363"/>
                <a:gd name="T68" fmla="*/ 207 w 287"/>
                <a:gd name="T69" fmla="*/ 289 h 363"/>
                <a:gd name="T70" fmla="*/ 178 w 287"/>
                <a:gd name="T71" fmla="*/ 280 h 363"/>
                <a:gd name="T72" fmla="*/ 161 w 287"/>
                <a:gd name="T73" fmla="*/ 298 h 363"/>
                <a:gd name="T74" fmla="*/ 144 w 287"/>
                <a:gd name="T75" fmla="*/ 312 h 363"/>
                <a:gd name="T76" fmla="*/ 136 w 287"/>
                <a:gd name="T77" fmla="*/ 326 h 363"/>
                <a:gd name="T78" fmla="*/ 124 w 287"/>
                <a:gd name="T79" fmla="*/ 349 h 363"/>
                <a:gd name="T80" fmla="*/ 91 w 287"/>
                <a:gd name="T81" fmla="*/ 357 h 363"/>
                <a:gd name="T82" fmla="*/ 70 w 287"/>
                <a:gd name="T83" fmla="*/ 352 h 363"/>
                <a:gd name="T84" fmla="*/ 59 w 287"/>
                <a:gd name="T85" fmla="*/ 354 h 363"/>
                <a:gd name="T86" fmla="*/ 26 w 287"/>
                <a:gd name="T87" fmla="*/ 346 h 363"/>
                <a:gd name="T88" fmla="*/ 20 w 287"/>
                <a:gd name="T89" fmla="*/ 322 h 363"/>
                <a:gd name="T90" fmla="*/ 26 w 287"/>
                <a:gd name="T91" fmla="*/ 301 h 363"/>
                <a:gd name="T92" fmla="*/ 25 w 287"/>
                <a:gd name="T93" fmla="*/ 278 h 363"/>
                <a:gd name="T94" fmla="*/ 30 w 287"/>
                <a:gd name="T95" fmla="*/ 60 h 363"/>
                <a:gd name="T96" fmla="*/ 30 w 287"/>
                <a:gd name="T97" fmla="*/ 95 h 363"/>
                <a:gd name="T98" fmla="*/ 40 w 287"/>
                <a:gd name="T99" fmla="*/ 64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7" h="363">
                  <a:moveTo>
                    <a:pt x="0" y="264"/>
                  </a:moveTo>
                  <a:cubicBezTo>
                    <a:pt x="0" y="263"/>
                    <a:pt x="1" y="263"/>
                    <a:pt x="1" y="262"/>
                  </a:cubicBezTo>
                  <a:cubicBezTo>
                    <a:pt x="4" y="255"/>
                    <a:pt x="5" y="250"/>
                    <a:pt x="7" y="247"/>
                  </a:cubicBezTo>
                  <a:cubicBezTo>
                    <a:pt x="9" y="245"/>
                    <a:pt x="14" y="244"/>
                    <a:pt x="17" y="240"/>
                  </a:cubicBezTo>
                  <a:cubicBezTo>
                    <a:pt x="21" y="235"/>
                    <a:pt x="26" y="231"/>
                    <a:pt x="26" y="227"/>
                  </a:cubicBezTo>
                  <a:cubicBezTo>
                    <a:pt x="27" y="223"/>
                    <a:pt x="25" y="216"/>
                    <a:pt x="23" y="214"/>
                  </a:cubicBezTo>
                  <a:cubicBezTo>
                    <a:pt x="20" y="212"/>
                    <a:pt x="20" y="207"/>
                    <a:pt x="20" y="206"/>
                  </a:cubicBezTo>
                  <a:cubicBezTo>
                    <a:pt x="21" y="204"/>
                    <a:pt x="28" y="197"/>
                    <a:pt x="30" y="197"/>
                  </a:cubicBezTo>
                  <a:cubicBezTo>
                    <a:pt x="31" y="196"/>
                    <a:pt x="38" y="202"/>
                    <a:pt x="38" y="203"/>
                  </a:cubicBezTo>
                  <a:cubicBezTo>
                    <a:pt x="37" y="205"/>
                    <a:pt x="32" y="208"/>
                    <a:pt x="31" y="211"/>
                  </a:cubicBezTo>
                  <a:cubicBezTo>
                    <a:pt x="29" y="213"/>
                    <a:pt x="34" y="213"/>
                    <a:pt x="36" y="214"/>
                  </a:cubicBezTo>
                  <a:cubicBezTo>
                    <a:pt x="38" y="215"/>
                    <a:pt x="39" y="215"/>
                    <a:pt x="42" y="213"/>
                  </a:cubicBezTo>
                  <a:cubicBezTo>
                    <a:pt x="46" y="210"/>
                    <a:pt x="48" y="206"/>
                    <a:pt x="51" y="207"/>
                  </a:cubicBezTo>
                  <a:cubicBezTo>
                    <a:pt x="54" y="208"/>
                    <a:pt x="59" y="207"/>
                    <a:pt x="61" y="203"/>
                  </a:cubicBezTo>
                  <a:cubicBezTo>
                    <a:pt x="62" y="200"/>
                    <a:pt x="61" y="192"/>
                    <a:pt x="54" y="191"/>
                  </a:cubicBezTo>
                  <a:cubicBezTo>
                    <a:pt x="47" y="189"/>
                    <a:pt x="42" y="191"/>
                    <a:pt x="40" y="192"/>
                  </a:cubicBezTo>
                  <a:cubicBezTo>
                    <a:pt x="39" y="193"/>
                    <a:pt x="37" y="191"/>
                    <a:pt x="35" y="188"/>
                  </a:cubicBezTo>
                  <a:cubicBezTo>
                    <a:pt x="32" y="185"/>
                    <a:pt x="27" y="182"/>
                    <a:pt x="27" y="181"/>
                  </a:cubicBezTo>
                  <a:cubicBezTo>
                    <a:pt x="27" y="180"/>
                    <a:pt x="29" y="177"/>
                    <a:pt x="33" y="174"/>
                  </a:cubicBezTo>
                  <a:cubicBezTo>
                    <a:pt x="37" y="170"/>
                    <a:pt x="42" y="162"/>
                    <a:pt x="44" y="161"/>
                  </a:cubicBezTo>
                  <a:cubicBezTo>
                    <a:pt x="47" y="161"/>
                    <a:pt x="46" y="156"/>
                    <a:pt x="47" y="153"/>
                  </a:cubicBezTo>
                  <a:cubicBezTo>
                    <a:pt x="49" y="151"/>
                    <a:pt x="54" y="143"/>
                    <a:pt x="54" y="139"/>
                  </a:cubicBezTo>
                  <a:cubicBezTo>
                    <a:pt x="53" y="135"/>
                    <a:pt x="53" y="134"/>
                    <a:pt x="60" y="130"/>
                  </a:cubicBezTo>
                  <a:cubicBezTo>
                    <a:pt x="66" y="125"/>
                    <a:pt x="75" y="118"/>
                    <a:pt x="76" y="114"/>
                  </a:cubicBezTo>
                  <a:cubicBezTo>
                    <a:pt x="77" y="111"/>
                    <a:pt x="84" y="105"/>
                    <a:pt x="89" y="101"/>
                  </a:cubicBezTo>
                  <a:cubicBezTo>
                    <a:pt x="95" y="98"/>
                    <a:pt x="98" y="99"/>
                    <a:pt x="102" y="94"/>
                  </a:cubicBezTo>
                  <a:cubicBezTo>
                    <a:pt x="106" y="89"/>
                    <a:pt x="115" y="87"/>
                    <a:pt x="117" y="85"/>
                  </a:cubicBezTo>
                  <a:cubicBezTo>
                    <a:pt x="120" y="83"/>
                    <a:pt x="129" y="76"/>
                    <a:pt x="131" y="73"/>
                  </a:cubicBezTo>
                  <a:cubicBezTo>
                    <a:pt x="133" y="71"/>
                    <a:pt x="143" y="64"/>
                    <a:pt x="146" y="61"/>
                  </a:cubicBezTo>
                  <a:cubicBezTo>
                    <a:pt x="148" y="59"/>
                    <a:pt x="152" y="60"/>
                    <a:pt x="155" y="58"/>
                  </a:cubicBezTo>
                  <a:cubicBezTo>
                    <a:pt x="157" y="56"/>
                    <a:pt x="160" y="56"/>
                    <a:pt x="161" y="57"/>
                  </a:cubicBezTo>
                  <a:cubicBezTo>
                    <a:pt x="162" y="59"/>
                    <a:pt x="167" y="60"/>
                    <a:pt x="170" y="59"/>
                  </a:cubicBezTo>
                  <a:cubicBezTo>
                    <a:pt x="173" y="58"/>
                    <a:pt x="178" y="61"/>
                    <a:pt x="179" y="61"/>
                  </a:cubicBezTo>
                  <a:cubicBezTo>
                    <a:pt x="180" y="60"/>
                    <a:pt x="188" y="55"/>
                    <a:pt x="184" y="54"/>
                  </a:cubicBezTo>
                  <a:cubicBezTo>
                    <a:pt x="181" y="53"/>
                    <a:pt x="180" y="51"/>
                    <a:pt x="176" y="53"/>
                  </a:cubicBezTo>
                  <a:cubicBezTo>
                    <a:pt x="172" y="54"/>
                    <a:pt x="170" y="52"/>
                    <a:pt x="168" y="53"/>
                  </a:cubicBezTo>
                  <a:cubicBezTo>
                    <a:pt x="165" y="53"/>
                    <a:pt x="166" y="49"/>
                    <a:pt x="168" y="46"/>
                  </a:cubicBezTo>
                  <a:cubicBezTo>
                    <a:pt x="170" y="43"/>
                    <a:pt x="172" y="45"/>
                    <a:pt x="173" y="41"/>
                  </a:cubicBezTo>
                  <a:cubicBezTo>
                    <a:pt x="174" y="38"/>
                    <a:pt x="173" y="36"/>
                    <a:pt x="172" y="34"/>
                  </a:cubicBezTo>
                  <a:cubicBezTo>
                    <a:pt x="171" y="33"/>
                    <a:pt x="173" y="28"/>
                    <a:pt x="175" y="25"/>
                  </a:cubicBezTo>
                  <a:cubicBezTo>
                    <a:pt x="177" y="22"/>
                    <a:pt x="181" y="23"/>
                    <a:pt x="184" y="21"/>
                  </a:cubicBezTo>
                  <a:cubicBezTo>
                    <a:pt x="187" y="18"/>
                    <a:pt x="203" y="4"/>
                    <a:pt x="205" y="2"/>
                  </a:cubicBezTo>
                  <a:cubicBezTo>
                    <a:pt x="207" y="0"/>
                    <a:pt x="209" y="4"/>
                    <a:pt x="208" y="7"/>
                  </a:cubicBezTo>
                  <a:cubicBezTo>
                    <a:pt x="208" y="9"/>
                    <a:pt x="210" y="13"/>
                    <a:pt x="212" y="13"/>
                  </a:cubicBezTo>
                  <a:cubicBezTo>
                    <a:pt x="215" y="14"/>
                    <a:pt x="218" y="16"/>
                    <a:pt x="218" y="18"/>
                  </a:cubicBezTo>
                  <a:cubicBezTo>
                    <a:pt x="218" y="20"/>
                    <a:pt x="216" y="24"/>
                    <a:pt x="218" y="26"/>
                  </a:cubicBezTo>
                  <a:cubicBezTo>
                    <a:pt x="219" y="28"/>
                    <a:pt x="220" y="34"/>
                    <a:pt x="219" y="35"/>
                  </a:cubicBezTo>
                  <a:cubicBezTo>
                    <a:pt x="217" y="37"/>
                    <a:pt x="219" y="41"/>
                    <a:pt x="224" y="39"/>
                  </a:cubicBezTo>
                  <a:cubicBezTo>
                    <a:pt x="229" y="37"/>
                    <a:pt x="236" y="42"/>
                    <a:pt x="236" y="45"/>
                  </a:cubicBezTo>
                  <a:cubicBezTo>
                    <a:pt x="236" y="48"/>
                    <a:pt x="238" y="51"/>
                    <a:pt x="241" y="48"/>
                  </a:cubicBezTo>
                  <a:cubicBezTo>
                    <a:pt x="244" y="46"/>
                    <a:pt x="246" y="44"/>
                    <a:pt x="247" y="45"/>
                  </a:cubicBezTo>
                  <a:cubicBezTo>
                    <a:pt x="248" y="47"/>
                    <a:pt x="247" y="50"/>
                    <a:pt x="248" y="52"/>
                  </a:cubicBezTo>
                  <a:cubicBezTo>
                    <a:pt x="248" y="54"/>
                    <a:pt x="252" y="56"/>
                    <a:pt x="251" y="58"/>
                  </a:cubicBezTo>
                  <a:cubicBezTo>
                    <a:pt x="250" y="60"/>
                    <a:pt x="250" y="61"/>
                    <a:pt x="246" y="64"/>
                  </a:cubicBezTo>
                  <a:cubicBezTo>
                    <a:pt x="242" y="67"/>
                    <a:pt x="240" y="67"/>
                    <a:pt x="238" y="70"/>
                  </a:cubicBezTo>
                  <a:cubicBezTo>
                    <a:pt x="235" y="73"/>
                    <a:pt x="232" y="76"/>
                    <a:pt x="230" y="79"/>
                  </a:cubicBezTo>
                  <a:cubicBezTo>
                    <a:pt x="229" y="82"/>
                    <a:pt x="229" y="84"/>
                    <a:pt x="226" y="84"/>
                  </a:cubicBezTo>
                  <a:cubicBezTo>
                    <a:pt x="224" y="85"/>
                    <a:pt x="211" y="81"/>
                    <a:pt x="209" y="85"/>
                  </a:cubicBezTo>
                  <a:cubicBezTo>
                    <a:pt x="206" y="89"/>
                    <a:pt x="201" y="94"/>
                    <a:pt x="203" y="98"/>
                  </a:cubicBezTo>
                  <a:cubicBezTo>
                    <a:pt x="204" y="102"/>
                    <a:pt x="204" y="104"/>
                    <a:pt x="204" y="107"/>
                  </a:cubicBezTo>
                  <a:cubicBezTo>
                    <a:pt x="203" y="111"/>
                    <a:pt x="201" y="114"/>
                    <a:pt x="198" y="113"/>
                  </a:cubicBezTo>
                  <a:cubicBezTo>
                    <a:pt x="196" y="112"/>
                    <a:pt x="193" y="113"/>
                    <a:pt x="192" y="114"/>
                  </a:cubicBezTo>
                  <a:cubicBezTo>
                    <a:pt x="190" y="114"/>
                    <a:pt x="185" y="115"/>
                    <a:pt x="184" y="113"/>
                  </a:cubicBezTo>
                  <a:cubicBezTo>
                    <a:pt x="182" y="112"/>
                    <a:pt x="179" y="111"/>
                    <a:pt x="178" y="113"/>
                  </a:cubicBezTo>
                  <a:cubicBezTo>
                    <a:pt x="177" y="114"/>
                    <a:pt x="180" y="118"/>
                    <a:pt x="180" y="121"/>
                  </a:cubicBezTo>
                  <a:cubicBezTo>
                    <a:pt x="180" y="124"/>
                    <a:pt x="183" y="125"/>
                    <a:pt x="187" y="124"/>
                  </a:cubicBezTo>
                  <a:cubicBezTo>
                    <a:pt x="191" y="123"/>
                    <a:pt x="191" y="120"/>
                    <a:pt x="195" y="122"/>
                  </a:cubicBezTo>
                  <a:cubicBezTo>
                    <a:pt x="198" y="124"/>
                    <a:pt x="200" y="124"/>
                    <a:pt x="204" y="127"/>
                  </a:cubicBezTo>
                  <a:cubicBezTo>
                    <a:pt x="207" y="130"/>
                    <a:pt x="208" y="129"/>
                    <a:pt x="209" y="135"/>
                  </a:cubicBezTo>
                  <a:cubicBezTo>
                    <a:pt x="210" y="141"/>
                    <a:pt x="213" y="139"/>
                    <a:pt x="214" y="145"/>
                  </a:cubicBezTo>
                  <a:cubicBezTo>
                    <a:pt x="216" y="151"/>
                    <a:pt x="216" y="150"/>
                    <a:pt x="216" y="154"/>
                  </a:cubicBezTo>
                  <a:cubicBezTo>
                    <a:pt x="216" y="158"/>
                    <a:pt x="214" y="159"/>
                    <a:pt x="212" y="161"/>
                  </a:cubicBezTo>
                  <a:cubicBezTo>
                    <a:pt x="210" y="163"/>
                    <a:pt x="210" y="165"/>
                    <a:pt x="207" y="167"/>
                  </a:cubicBezTo>
                  <a:cubicBezTo>
                    <a:pt x="203" y="169"/>
                    <a:pt x="199" y="171"/>
                    <a:pt x="199" y="174"/>
                  </a:cubicBezTo>
                  <a:cubicBezTo>
                    <a:pt x="198" y="177"/>
                    <a:pt x="203" y="178"/>
                    <a:pt x="202" y="179"/>
                  </a:cubicBezTo>
                  <a:cubicBezTo>
                    <a:pt x="200" y="181"/>
                    <a:pt x="207" y="179"/>
                    <a:pt x="205" y="176"/>
                  </a:cubicBezTo>
                  <a:cubicBezTo>
                    <a:pt x="203" y="172"/>
                    <a:pt x="207" y="169"/>
                    <a:pt x="208" y="169"/>
                  </a:cubicBezTo>
                  <a:cubicBezTo>
                    <a:pt x="209" y="169"/>
                    <a:pt x="219" y="171"/>
                    <a:pt x="220" y="168"/>
                  </a:cubicBezTo>
                  <a:cubicBezTo>
                    <a:pt x="222" y="164"/>
                    <a:pt x="221" y="159"/>
                    <a:pt x="227" y="161"/>
                  </a:cubicBezTo>
                  <a:cubicBezTo>
                    <a:pt x="233" y="162"/>
                    <a:pt x="230" y="161"/>
                    <a:pt x="234" y="160"/>
                  </a:cubicBezTo>
                  <a:cubicBezTo>
                    <a:pt x="238" y="160"/>
                    <a:pt x="243" y="161"/>
                    <a:pt x="246" y="163"/>
                  </a:cubicBezTo>
                  <a:cubicBezTo>
                    <a:pt x="248" y="165"/>
                    <a:pt x="255" y="161"/>
                    <a:pt x="257" y="159"/>
                  </a:cubicBezTo>
                  <a:cubicBezTo>
                    <a:pt x="258" y="158"/>
                    <a:pt x="263" y="158"/>
                    <a:pt x="264" y="160"/>
                  </a:cubicBezTo>
                  <a:cubicBezTo>
                    <a:pt x="265" y="161"/>
                    <a:pt x="271" y="160"/>
                    <a:pt x="272" y="159"/>
                  </a:cubicBezTo>
                  <a:cubicBezTo>
                    <a:pt x="274" y="158"/>
                    <a:pt x="287" y="168"/>
                    <a:pt x="285" y="171"/>
                  </a:cubicBezTo>
                  <a:cubicBezTo>
                    <a:pt x="283" y="174"/>
                    <a:pt x="275" y="180"/>
                    <a:pt x="272" y="184"/>
                  </a:cubicBezTo>
                  <a:cubicBezTo>
                    <a:pt x="268" y="187"/>
                    <a:pt x="263" y="188"/>
                    <a:pt x="264" y="191"/>
                  </a:cubicBezTo>
                  <a:cubicBezTo>
                    <a:pt x="266" y="195"/>
                    <a:pt x="268" y="200"/>
                    <a:pt x="269" y="203"/>
                  </a:cubicBezTo>
                  <a:cubicBezTo>
                    <a:pt x="271" y="205"/>
                    <a:pt x="274" y="212"/>
                    <a:pt x="273" y="217"/>
                  </a:cubicBezTo>
                  <a:cubicBezTo>
                    <a:pt x="271" y="222"/>
                    <a:pt x="274" y="223"/>
                    <a:pt x="275" y="228"/>
                  </a:cubicBezTo>
                  <a:cubicBezTo>
                    <a:pt x="275" y="230"/>
                    <a:pt x="275" y="231"/>
                    <a:pt x="275" y="232"/>
                  </a:cubicBezTo>
                  <a:cubicBezTo>
                    <a:pt x="271" y="237"/>
                    <a:pt x="271" y="237"/>
                    <a:pt x="271" y="237"/>
                  </a:cubicBezTo>
                  <a:cubicBezTo>
                    <a:pt x="264" y="239"/>
                    <a:pt x="264" y="239"/>
                    <a:pt x="264" y="239"/>
                  </a:cubicBezTo>
                  <a:cubicBezTo>
                    <a:pt x="260" y="235"/>
                    <a:pt x="260" y="235"/>
                    <a:pt x="260" y="235"/>
                  </a:cubicBezTo>
                  <a:cubicBezTo>
                    <a:pt x="254" y="236"/>
                    <a:pt x="254" y="236"/>
                    <a:pt x="254" y="236"/>
                  </a:cubicBezTo>
                  <a:cubicBezTo>
                    <a:pt x="251" y="254"/>
                    <a:pt x="251" y="254"/>
                    <a:pt x="251" y="254"/>
                  </a:cubicBezTo>
                  <a:cubicBezTo>
                    <a:pt x="245" y="262"/>
                    <a:pt x="245" y="262"/>
                    <a:pt x="245" y="262"/>
                  </a:cubicBezTo>
                  <a:cubicBezTo>
                    <a:pt x="249" y="267"/>
                    <a:pt x="249" y="267"/>
                    <a:pt x="249" y="267"/>
                  </a:cubicBezTo>
                  <a:cubicBezTo>
                    <a:pt x="241" y="284"/>
                    <a:pt x="241" y="284"/>
                    <a:pt x="241" y="284"/>
                  </a:cubicBezTo>
                  <a:cubicBezTo>
                    <a:pt x="236" y="286"/>
                    <a:pt x="236" y="286"/>
                    <a:pt x="236" y="286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24" y="289"/>
                    <a:pt x="224" y="289"/>
                    <a:pt x="224" y="289"/>
                  </a:cubicBezTo>
                  <a:cubicBezTo>
                    <a:pt x="220" y="290"/>
                    <a:pt x="220" y="290"/>
                    <a:pt x="220" y="290"/>
                  </a:cubicBezTo>
                  <a:cubicBezTo>
                    <a:pt x="213" y="297"/>
                    <a:pt x="213" y="297"/>
                    <a:pt x="213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2" y="277"/>
                    <a:pt x="202" y="277"/>
                    <a:pt x="202" y="277"/>
                  </a:cubicBezTo>
                  <a:cubicBezTo>
                    <a:pt x="190" y="281"/>
                    <a:pt x="190" y="281"/>
                    <a:pt x="190" y="281"/>
                  </a:cubicBezTo>
                  <a:cubicBezTo>
                    <a:pt x="178" y="280"/>
                    <a:pt x="178" y="280"/>
                    <a:pt x="178" y="280"/>
                  </a:cubicBezTo>
                  <a:cubicBezTo>
                    <a:pt x="175" y="288"/>
                    <a:pt x="175" y="288"/>
                    <a:pt x="175" y="288"/>
                  </a:cubicBezTo>
                  <a:cubicBezTo>
                    <a:pt x="162" y="291"/>
                    <a:pt x="162" y="291"/>
                    <a:pt x="162" y="291"/>
                  </a:cubicBezTo>
                  <a:cubicBezTo>
                    <a:pt x="161" y="298"/>
                    <a:pt x="161" y="298"/>
                    <a:pt x="161" y="298"/>
                  </a:cubicBezTo>
                  <a:cubicBezTo>
                    <a:pt x="158" y="307"/>
                    <a:pt x="158" y="307"/>
                    <a:pt x="158" y="307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4" y="312"/>
                    <a:pt x="144" y="312"/>
                    <a:pt x="144" y="312"/>
                  </a:cubicBezTo>
                  <a:cubicBezTo>
                    <a:pt x="149" y="314"/>
                    <a:pt x="149" y="314"/>
                    <a:pt x="149" y="314"/>
                  </a:cubicBezTo>
                  <a:cubicBezTo>
                    <a:pt x="140" y="321"/>
                    <a:pt x="140" y="321"/>
                    <a:pt x="140" y="321"/>
                  </a:cubicBezTo>
                  <a:cubicBezTo>
                    <a:pt x="136" y="326"/>
                    <a:pt x="136" y="326"/>
                    <a:pt x="136" y="326"/>
                  </a:cubicBezTo>
                  <a:cubicBezTo>
                    <a:pt x="135" y="336"/>
                    <a:pt x="135" y="336"/>
                    <a:pt x="135" y="336"/>
                  </a:cubicBezTo>
                  <a:cubicBezTo>
                    <a:pt x="135" y="335"/>
                    <a:pt x="135" y="335"/>
                    <a:pt x="135" y="335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13" y="347"/>
                    <a:pt x="113" y="347"/>
                    <a:pt x="113" y="347"/>
                  </a:cubicBezTo>
                  <a:cubicBezTo>
                    <a:pt x="109" y="359"/>
                    <a:pt x="109" y="359"/>
                    <a:pt x="109" y="359"/>
                  </a:cubicBezTo>
                  <a:cubicBezTo>
                    <a:pt x="91" y="357"/>
                    <a:pt x="91" y="357"/>
                    <a:pt x="91" y="357"/>
                  </a:cubicBezTo>
                  <a:cubicBezTo>
                    <a:pt x="87" y="362"/>
                    <a:pt x="87" y="362"/>
                    <a:pt x="87" y="362"/>
                  </a:cubicBezTo>
                  <a:cubicBezTo>
                    <a:pt x="80" y="363"/>
                    <a:pt x="80" y="363"/>
                    <a:pt x="80" y="363"/>
                  </a:cubicBezTo>
                  <a:cubicBezTo>
                    <a:pt x="70" y="352"/>
                    <a:pt x="70" y="352"/>
                    <a:pt x="70" y="352"/>
                  </a:cubicBezTo>
                  <a:cubicBezTo>
                    <a:pt x="61" y="356"/>
                    <a:pt x="61" y="356"/>
                    <a:pt x="61" y="356"/>
                  </a:cubicBezTo>
                  <a:cubicBezTo>
                    <a:pt x="65" y="361"/>
                    <a:pt x="65" y="361"/>
                    <a:pt x="65" y="361"/>
                  </a:cubicBezTo>
                  <a:cubicBezTo>
                    <a:pt x="59" y="354"/>
                    <a:pt x="59" y="354"/>
                    <a:pt x="59" y="354"/>
                  </a:cubicBezTo>
                  <a:cubicBezTo>
                    <a:pt x="49" y="345"/>
                    <a:pt x="49" y="345"/>
                    <a:pt x="49" y="345"/>
                  </a:cubicBezTo>
                  <a:cubicBezTo>
                    <a:pt x="39" y="346"/>
                    <a:pt x="39" y="346"/>
                    <a:pt x="39" y="346"/>
                  </a:cubicBezTo>
                  <a:cubicBezTo>
                    <a:pt x="26" y="346"/>
                    <a:pt x="26" y="346"/>
                    <a:pt x="26" y="346"/>
                  </a:cubicBezTo>
                  <a:cubicBezTo>
                    <a:pt x="26" y="338"/>
                    <a:pt x="26" y="338"/>
                    <a:pt x="26" y="338"/>
                  </a:cubicBezTo>
                  <a:cubicBezTo>
                    <a:pt x="19" y="330"/>
                    <a:pt x="19" y="330"/>
                    <a:pt x="19" y="330"/>
                  </a:cubicBezTo>
                  <a:cubicBezTo>
                    <a:pt x="20" y="322"/>
                    <a:pt x="20" y="322"/>
                    <a:pt x="20" y="322"/>
                  </a:cubicBezTo>
                  <a:cubicBezTo>
                    <a:pt x="22" y="317"/>
                    <a:pt x="22" y="317"/>
                    <a:pt x="22" y="317"/>
                  </a:cubicBezTo>
                  <a:cubicBezTo>
                    <a:pt x="26" y="308"/>
                    <a:pt x="26" y="308"/>
                    <a:pt x="26" y="308"/>
                  </a:cubicBezTo>
                  <a:cubicBezTo>
                    <a:pt x="26" y="301"/>
                    <a:pt x="26" y="301"/>
                    <a:pt x="26" y="301"/>
                  </a:cubicBezTo>
                  <a:cubicBezTo>
                    <a:pt x="37" y="291"/>
                    <a:pt x="37" y="291"/>
                    <a:pt x="37" y="291"/>
                  </a:cubicBezTo>
                  <a:cubicBezTo>
                    <a:pt x="30" y="282"/>
                    <a:pt x="30" y="282"/>
                    <a:pt x="30" y="282"/>
                  </a:cubicBezTo>
                  <a:cubicBezTo>
                    <a:pt x="25" y="278"/>
                    <a:pt x="25" y="278"/>
                    <a:pt x="25" y="278"/>
                  </a:cubicBezTo>
                  <a:cubicBezTo>
                    <a:pt x="12" y="271"/>
                    <a:pt x="12" y="271"/>
                    <a:pt x="12" y="271"/>
                  </a:cubicBezTo>
                  <a:cubicBezTo>
                    <a:pt x="0" y="264"/>
                    <a:pt x="0" y="264"/>
                    <a:pt x="0" y="264"/>
                  </a:cubicBezTo>
                  <a:close/>
                  <a:moveTo>
                    <a:pt x="30" y="60"/>
                  </a:moveTo>
                  <a:cubicBezTo>
                    <a:pt x="30" y="60"/>
                    <a:pt x="22" y="65"/>
                    <a:pt x="21" y="70"/>
                  </a:cubicBezTo>
                  <a:cubicBezTo>
                    <a:pt x="20" y="75"/>
                    <a:pt x="19" y="78"/>
                    <a:pt x="21" y="84"/>
                  </a:cubicBezTo>
                  <a:cubicBezTo>
                    <a:pt x="22" y="89"/>
                    <a:pt x="24" y="93"/>
                    <a:pt x="30" y="95"/>
                  </a:cubicBezTo>
                  <a:cubicBezTo>
                    <a:pt x="36" y="98"/>
                    <a:pt x="39" y="93"/>
                    <a:pt x="37" y="88"/>
                  </a:cubicBezTo>
                  <a:cubicBezTo>
                    <a:pt x="35" y="83"/>
                    <a:pt x="37" y="82"/>
                    <a:pt x="38" y="79"/>
                  </a:cubicBezTo>
                  <a:cubicBezTo>
                    <a:pt x="39" y="77"/>
                    <a:pt x="43" y="71"/>
                    <a:pt x="40" y="64"/>
                  </a:cubicBezTo>
                  <a:cubicBezTo>
                    <a:pt x="38" y="57"/>
                    <a:pt x="35" y="58"/>
                    <a:pt x="30" y="6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0" name="Freeform 90"/>
            <p:cNvSpPr>
              <a:spLocks noEditPoints="1"/>
            </p:cNvSpPr>
            <p:nvPr/>
          </p:nvSpPr>
          <p:spPr bwMode="auto">
            <a:xfrm>
              <a:off x="1806" y="2772"/>
              <a:ext cx="519" cy="323"/>
            </a:xfrm>
            <a:custGeom>
              <a:avLst/>
              <a:gdLst>
                <a:gd name="T0" fmla="*/ 0 w 249"/>
                <a:gd name="T1" fmla="*/ 63 h 155"/>
                <a:gd name="T2" fmla="*/ 12 w 249"/>
                <a:gd name="T3" fmla="*/ 38 h 155"/>
                <a:gd name="T4" fmla="*/ 31 w 249"/>
                <a:gd name="T5" fmla="*/ 4 h 155"/>
                <a:gd name="T6" fmla="*/ 53 w 249"/>
                <a:gd name="T7" fmla="*/ 21 h 155"/>
                <a:gd name="T8" fmla="*/ 46 w 249"/>
                <a:gd name="T9" fmla="*/ 46 h 155"/>
                <a:gd name="T10" fmla="*/ 25 w 249"/>
                <a:gd name="T11" fmla="*/ 50 h 155"/>
                <a:gd name="T12" fmla="*/ 30 w 249"/>
                <a:gd name="T13" fmla="*/ 70 h 155"/>
                <a:gd name="T14" fmla="*/ 57 w 249"/>
                <a:gd name="T15" fmla="*/ 59 h 155"/>
                <a:gd name="T16" fmla="*/ 83 w 249"/>
                <a:gd name="T17" fmla="*/ 61 h 155"/>
                <a:gd name="T18" fmla="*/ 116 w 249"/>
                <a:gd name="T19" fmla="*/ 67 h 155"/>
                <a:gd name="T20" fmla="*/ 136 w 249"/>
                <a:gd name="T21" fmla="*/ 61 h 155"/>
                <a:gd name="T22" fmla="*/ 127 w 249"/>
                <a:gd name="T23" fmla="*/ 74 h 155"/>
                <a:gd name="T24" fmla="*/ 133 w 249"/>
                <a:gd name="T25" fmla="*/ 84 h 155"/>
                <a:gd name="T26" fmla="*/ 156 w 249"/>
                <a:gd name="T27" fmla="*/ 83 h 155"/>
                <a:gd name="T28" fmla="*/ 175 w 249"/>
                <a:gd name="T29" fmla="*/ 85 h 155"/>
                <a:gd name="T30" fmla="*/ 182 w 249"/>
                <a:gd name="T31" fmla="*/ 95 h 155"/>
                <a:gd name="T32" fmla="*/ 188 w 249"/>
                <a:gd name="T33" fmla="*/ 97 h 155"/>
                <a:gd name="T34" fmla="*/ 202 w 249"/>
                <a:gd name="T35" fmla="*/ 88 h 155"/>
                <a:gd name="T36" fmla="*/ 198 w 249"/>
                <a:gd name="T37" fmla="*/ 64 h 155"/>
                <a:gd name="T38" fmla="*/ 203 w 249"/>
                <a:gd name="T39" fmla="*/ 45 h 155"/>
                <a:gd name="T40" fmla="*/ 213 w 249"/>
                <a:gd name="T41" fmla="*/ 71 h 155"/>
                <a:gd name="T42" fmla="*/ 238 w 249"/>
                <a:gd name="T43" fmla="*/ 87 h 155"/>
                <a:gd name="T44" fmla="*/ 249 w 249"/>
                <a:gd name="T45" fmla="*/ 105 h 155"/>
                <a:gd name="T46" fmla="*/ 248 w 249"/>
                <a:gd name="T47" fmla="*/ 121 h 155"/>
                <a:gd name="T48" fmla="*/ 246 w 249"/>
                <a:gd name="T49" fmla="*/ 132 h 155"/>
                <a:gd name="T50" fmla="*/ 230 w 249"/>
                <a:gd name="T51" fmla="*/ 134 h 155"/>
                <a:gd name="T52" fmla="*/ 220 w 249"/>
                <a:gd name="T53" fmla="*/ 142 h 155"/>
                <a:gd name="T54" fmla="*/ 201 w 249"/>
                <a:gd name="T55" fmla="*/ 151 h 155"/>
                <a:gd name="T56" fmla="*/ 181 w 249"/>
                <a:gd name="T57" fmla="*/ 152 h 155"/>
                <a:gd name="T58" fmla="*/ 149 w 249"/>
                <a:gd name="T59" fmla="*/ 136 h 155"/>
                <a:gd name="T60" fmla="*/ 130 w 249"/>
                <a:gd name="T61" fmla="*/ 127 h 155"/>
                <a:gd name="T62" fmla="*/ 107 w 249"/>
                <a:gd name="T63" fmla="*/ 113 h 155"/>
                <a:gd name="T64" fmla="*/ 93 w 249"/>
                <a:gd name="T65" fmla="*/ 104 h 155"/>
                <a:gd name="T66" fmla="*/ 77 w 249"/>
                <a:gd name="T67" fmla="*/ 107 h 155"/>
                <a:gd name="T68" fmla="*/ 32 w 249"/>
                <a:gd name="T69" fmla="*/ 100 h 155"/>
                <a:gd name="T70" fmla="*/ 24 w 249"/>
                <a:gd name="T71" fmla="*/ 105 h 155"/>
                <a:gd name="T72" fmla="*/ 15 w 249"/>
                <a:gd name="T73" fmla="*/ 92 h 155"/>
                <a:gd name="T74" fmla="*/ 5 w 249"/>
                <a:gd name="T75" fmla="*/ 77 h 155"/>
                <a:gd name="T76" fmla="*/ 89 w 249"/>
                <a:gd name="T77" fmla="*/ 22 h 155"/>
                <a:gd name="T78" fmla="*/ 97 w 249"/>
                <a:gd name="T79" fmla="*/ 37 h 155"/>
                <a:gd name="T80" fmla="*/ 95 w 249"/>
                <a:gd name="T81" fmla="*/ 1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9" h="155">
                  <a:moveTo>
                    <a:pt x="0" y="63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4" y="59"/>
                    <a:pt x="11" y="55"/>
                    <a:pt x="10" y="50"/>
                  </a:cubicBezTo>
                  <a:cubicBezTo>
                    <a:pt x="10" y="46"/>
                    <a:pt x="8" y="43"/>
                    <a:pt x="12" y="38"/>
                  </a:cubicBezTo>
                  <a:cubicBezTo>
                    <a:pt x="16" y="34"/>
                    <a:pt x="31" y="26"/>
                    <a:pt x="32" y="23"/>
                  </a:cubicBezTo>
                  <a:cubicBezTo>
                    <a:pt x="34" y="19"/>
                    <a:pt x="32" y="5"/>
                    <a:pt x="31" y="4"/>
                  </a:cubicBezTo>
                  <a:cubicBezTo>
                    <a:pt x="30" y="4"/>
                    <a:pt x="34" y="0"/>
                    <a:pt x="39" y="8"/>
                  </a:cubicBezTo>
                  <a:cubicBezTo>
                    <a:pt x="43" y="16"/>
                    <a:pt x="48" y="18"/>
                    <a:pt x="53" y="21"/>
                  </a:cubicBezTo>
                  <a:cubicBezTo>
                    <a:pt x="58" y="23"/>
                    <a:pt x="55" y="32"/>
                    <a:pt x="52" y="38"/>
                  </a:cubicBezTo>
                  <a:cubicBezTo>
                    <a:pt x="50" y="45"/>
                    <a:pt x="50" y="48"/>
                    <a:pt x="46" y="46"/>
                  </a:cubicBezTo>
                  <a:cubicBezTo>
                    <a:pt x="41" y="43"/>
                    <a:pt x="33" y="42"/>
                    <a:pt x="30" y="43"/>
                  </a:cubicBezTo>
                  <a:cubicBezTo>
                    <a:pt x="26" y="45"/>
                    <a:pt x="23" y="46"/>
                    <a:pt x="25" y="50"/>
                  </a:cubicBezTo>
                  <a:cubicBezTo>
                    <a:pt x="26" y="53"/>
                    <a:pt x="27" y="56"/>
                    <a:pt x="25" y="59"/>
                  </a:cubicBezTo>
                  <a:cubicBezTo>
                    <a:pt x="23" y="63"/>
                    <a:pt x="26" y="68"/>
                    <a:pt x="30" y="70"/>
                  </a:cubicBezTo>
                  <a:cubicBezTo>
                    <a:pt x="33" y="72"/>
                    <a:pt x="44" y="73"/>
                    <a:pt x="46" y="70"/>
                  </a:cubicBezTo>
                  <a:cubicBezTo>
                    <a:pt x="48" y="67"/>
                    <a:pt x="53" y="56"/>
                    <a:pt x="57" y="59"/>
                  </a:cubicBezTo>
                  <a:cubicBezTo>
                    <a:pt x="61" y="62"/>
                    <a:pt x="65" y="65"/>
                    <a:pt x="68" y="62"/>
                  </a:cubicBezTo>
                  <a:cubicBezTo>
                    <a:pt x="71" y="59"/>
                    <a:pt x="78" y="64"/>
                    <a:pt x="83" y="61"/>
                  </a:cubicBezTo>
                  <a:cubicBezTo>
                    <a:pt x="89" y="58"/>
                    <a:pt x="97" y="56"/>
                    <a:pt x="104" y="61"/>
                  </a:cubicBezTo>
                  <a:cubicBezTo>
                    <a:pt x="110" y="65"/>
                    <a:pt x="113" y="72"/>
                    <a:pt x="116" y="67"/>
                  </a:cubicBezTo>
                  <a:cubicBezTo>
                    <a:pt x="118" y="61"/>
                    <a:pt x="120" y="60"/>
                    <a:pt x="123" y="59"/>
                  </a:cubicBezTo>
                  <a:cubicBezTo>
                    <a:pt x="125" y="58"/>
                    <a:pt x="135" y="59"/>
                    <a:pt x="136" y="61"/>
                  </a:cubicBezTo>
                  <a:cubicBezTo>
                    <a:pt x="137" y="63"/>
                    <a:pt x="134" y="65"/>
                    <a:pt x="132" y="67"/>
                  </a:cubicBezTo>
                  <a:cubicBezTo>
                    <a:pt x="130" y="70"/>
                    <a:pt x="128" y="72"/>
                    <a:pt x="127" y="74"/>
                  </a:cubicBezTo>
                  <a:cubicBezTo>
                    <a:pt x="127" y="76"/>
                    <a:pt x="122" y="74"/>
                    <a:pt x="123" y="76"/>
                  </a:cubicBezTo>
                  <a:cubicBezTo>
                    <a:pt x="124" y="78"/>
                    <a:pt x="129" y="87"/>
                    <a:pt x="133" y="84"/>
                  </a:cubicBezTo>
                  <a:cubicBezTo>
                    <a:pt x="138" y="81"/>
                    <a:pt x="138" y="79"/>
                    <a:pt x="144" y="79"/>
                  </a:cubicBezTo>
                  <a:cubicBezTo>
                    <a:pt x="151" y="79"/>
                    <a:pt x="154" y="80"/>
                    <a:pt x="156" y="83"/>
                  </a:cubicBezTo>
                  <a:cubicBezTo>
                    <a:pt x="157" y="86"/>
                    <a:pt x="159" y="90"/>
                    <a:pt x="163" y="88"/>
                  </a:cubicBezTo>
                  <a:cubicBezTo>
                    <a:pt x="167" y="86"/>
                    <a:pt x="172" y="86"/>
                    <a:pt x="175" y="85"/>
                  </a:cubicBezTo>
                  <a:cubicBezTo>
                    <a:pt x="177" y="84"/>
                    <a:pt x="178" y="81"/>
                    <a:pt x="183" y="84"/>
                  </a:cubicBezTo>
                  <a:cubicBezTo>
                    <a:pt x="188" y="88"/>
                    <a:pt x="185" y="91"/>
                    <a:pt x="182" y="95"/>
                  </a:cubicBezTo>
                  <a:cubicBezTo>
                    <a:pt x="178" y="98"/>
                    <a:pt x="180" y="102"/>
                    <a:pt x="182" y="104"/>
                  </a:cubicBezTo>
                  <a:cubicBezTo>
                    <a:pt x="184" y="105"/>
                    <a:pt x="188" y="100"/>
                    <a:pt x="188" y="97"/>
                  </a:cubicBezTo>
                  <a:cubicBezTo>
                    <a:pt x="187" y="94"/>
                    <a:pt x="195" y="96"/>
                    <a:pt x="197" y="98"/>
                  </a:cubicBezTo>
                  <a:cubicBezTo>
                    <a:pt x="200" y="100"/>
                    <a:pt x="204" y="92"/>
                    <a:pt x="202" y="88"/>
                  </a:cubicBezTo>
                  <a:cubicBezTo>
                    <a:pt x="200" y="83"/>
                    <a:pt x="202" y="78"/>
                    <a:pt x="203" y="75"/>
                  </a:cubicBezTo>
                  <a:cubicBezTo>
                    <a:pt x="204" y="71"/>
                    <a:pt x="202" y="68"/>
                    <a:pt x="198" y="64"/>
                  </a:cubicBezTo>
                  <a:cubicBezTo>
                    <a:pt x="195" y="61"/>
                    <a:pt x="191" y="58"/>
                    <a:pt x="193" y="52"/>
                  </a:cubicBezTo>
                  <a:cubicBezTo>
                    <a:pt x="195" y="47"/>
                    <a:pt x="200" y="40"/>
                    <a:pt x="203" y="45"/>
                  </a:cubicBezTo>
                  <a:cubicBezTo>
                    <a:pt x="206" y="50"/>
                    <a:pt x="210" y="61"/>
                    <a:pt x="210" y="64"/>
                  </a:cubicBezTo>
                  <a:cubicBezTo>
                    <a:pt x="209" y="68"/>
                    <a:pt x="210" y="72"/>
                    <a:pt x="213" y="71"/>
                  </a:cubicBezTo>
                  <a:cubicBezTo>
                    <a:pt x="216" y="71"/>
                    <a:pt x="220" y="74"/>
                    <a:pt x="223" y="77"/>
                  </a:cubicBezTo>
                  <a:cubicBezTo>
                    <a:pt x="225" y="80"/>
                    <a:pt x="232" y="79"/>
                    <a:pt x="238" y="87"/>
                  </a:cubicBezTo>
                  <a:cubicBezTo>
                    <a:pt x="244" y="94"/>
                    <a:pt x="243" y="96"/>
                    <a:pt x="247" y="102"/>
                  </a:cubicBezTo>
                  <a:cubicBezTo>
                    <a:pt x="247" y="103"/>
                    <a:pt x="248" y="104"/>
                    <a:pt x="249" y="105"/>
                  </a:cubicBezTo>
                  <a:cubicBezTo>
                    <a:pt x="241" y="116"/>
                    <a:pt x="241" y="116"/>
                    <a:pt x="241" y="116"/>
                  </a:cubicBezTo>
                  <a:cubicBezTo>
                    <a:pt x="248" y="121"/>
                    <a:pt x="248" y="121"/>
                    <a:pt x="248" y="121"/>
                  </a:cubicBezTo>
                  <a:cubicBezTo>
                    <a:pt x="247" y="131"/>
                    <a:pt x="247" y="131"/>
                    <a:pt x="247" y="131"/>
                  </a:cubicBezTo>
                  <a:cubicBezTo>
                    <a:pt x="246" y="132"/>
                    <a:pt x="246" y="132"/>
                    <a:pt x="246" y="132"/>
                  </a:cubicBezTo>
                  <a:cubicBezTo>
                    <a:pt x="238" y="128"/>
                    <a:pt x="238" y="128"/>
                    <a:pt x="238" y="128"/>
                  </a:cubicBezTo>
                  <a:cubicBezTo>
                    <a:pt x="230" y="134"/>
                    <a:pt x="230" y="134"/>
                    <a:pt x="230" y="134"/>
                  </a:cubicBezTo>
                  <a:cubicBezTo>
                    <a:pt x="223" y="135"/>
                    <a:pt x="223" y="135"/>
                    <a:pt x="223" y="135"/>
                  </a:cubicBezTo>
                  <a:cubicBezTo>
                    <a:pt x="220" y="142"/>
                    <a:pt x="220" y="142"/>
                    <a:pt x="220" y="142"/>
                  </a:cubicBezTo>
                  <a:cubicBezTo>
                    <a:pt x="210" y="140"/>
                    <a:pt x="210" y="140"/>
                    <a:pt x="210" y="140"/>
                  </a:cubicBezTo>
                  <a:cubicBezTo>
                    <a:pt x="201" y="151"/>
                    <a:pt x="201" y="151"/>
                    <a:pt x="201" y="151"/>
                  </a:cubicBezTo>
                  <a:cubicBezTo>
                    <a:pt x="185" y="155"/>
                    <a:pt x="185" y="155"/>
                    <a:pt x="185" y="155"/>
                  </a:cubicBezTo>
                  <a:cubicBezTo>
                    <a:pt x="181" y="152"/>
                    <a:pt x="181" y="152"/>
                    <a:pt x="181" y="152"/>
                  </a:cubicBezTo>
                  <a:cubicBezTo>
                    <a:pt x="172" y="152"/>
                    <a:pt x="172" y="152"/>
                    <a:pt x="172" y="152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0" y="127"/>
                    <a:pt x="130" y="127"/>
                    <a:pt x="130" y="127"/>
                  </a:cubicBezTo>
                  <a:cubicBezTo>
                    <a:pt x="122" y="124"/>
                    <a:pt x="122" y="124"/>
                    <a:pt x="122" y="124"/>
                  </a:cubicBezTo>
                  <a:cubicBezTo>
                    <a:pt x="107" y="113"/>
                    <a:pt x="107" y="113"/>
                    <a:pt x="107" y="113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41" y="106"/>
                    <a:pt x="41" y="106"/>
                    <a:pt x="41" y="106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0" y="105"/>
                    <a:pt x="30" y="105"/>
                    <a:pt x="30" y="105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0" y="63"/>
                    <a:pt x="0" y="63"/>
                    <a:pt x="0" y="63"/>
                  </a:cubicBezTo>
                  <a:close/>
                  <a:moveTo>
                    <a:pt x="89" y="22"/>
                  </a:moveTo>
                  <a:cubicBezTo>
                    <a:pt x="82" y="27"/>
                    <a:pt x="82" y="27"/>
                    <a:pt x="82" y="33"/>
                  </a:cubicBezTo>
                  <a:cubicBezTo>
                    <a:pt x="82" y="39"/>
                    <a:pt x="89" y="38"/>
                    <a:pt x="97" y="37"/>
                  </a:cubicBezTo>
                  <a:cubicBezTo>
                    <a:pt x="104" y="36"/>
                    <a:pt x="106" y="31"/>
                    <a:pt x="105" y="28"/>
                  </a:cubicBezTo>
                  <a:cubicBezTo>
                    <a:pt x="104" y="24"/>
                    <a:pt x="100" y="19"/>
                    <a:pt x="95" y="19"/>
                  </a:cubicBezTo>
                  <a:cubicBezTo>
                    <a:pt x="91" y="19"/>
                    <a:pt x="89" y="22"/>
                    <a:pt x="89" y="22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1" name="Freeform 91"/>
            <p:cNvSpPr>
              <a:spLocks noEditPoints="1"/>
            </p:cNvSpPr>
            <p:nvPr/>
          </p:nvSpPr>
          <p:spPr bwMode="auto">
            <a:xfrm>
              <a:off x="2158" y="2757"/>
              <a:ext cx="611" cy="763"/>
            </a:xfrm>
            <a:custGeom>
              <a:avLst/>
              <a:gdLst>
                <a:gd name="T0" fmla="*/ 104 w 293"/>
                <a:gd name="T1" fmla="*/ 148 h 366"/>
                <a:gd name="T2" fmla="*/ 101 w 293"/>
                <a:gd name="T3" fmla="*/ 100 h 366"/>
                <a:gd name="T4" fmla="*/ 119 w 293"/>
                <a:gd name="T5" fmla="*/ 58 h 366"/>
                <a:gd name="T6" fmla="*/ 172 w 293"/>
                <a:gd name="T7" fmla="*/ 22 h 366"/>
                <a:gd name="T8" fmla="*/ 171 w 293"/>
                <a:gd name="T9" fmla="*/ 80 h 366"/>
                <a:gd name="T10" fmla="*/ 158 w 293"/>
                <a:gd name="T11" fmla="*/ 150 h 366"/>
                <a:gd name="T12" fmla="*/ 135 w 293"/>
                <a:gd name="T13" fmla="*/ 192 h 366"/>
                <a:gd name="T14" fmla="*/ 102 w 293"/>
                <a:gd name="T15" fmla="*/ 208 h 366"/>
                <a:gd name="T16" fmla="*/ 137 w 293"/>
                <a:gd name="T17" fmla="*/ 212 h 366"/>
                <a:gd name="T18" fmla="*/ 172 w 293"/>
                <a:gd name="T19" fmla="*/ 159 h 366"/>
                <a:gd name="T20" fmla="*/ 201 w 293"/>
                <a:gd name="T21" fmla="*/ 173 h 366"/>
                <a:gd name="T22" fmla="*/ 199 w 293"/>
                <a:gd name="T23" fmla="*/ 188 h 366"/>
                <a:gd name="T24" fmla="*/ 195 w 293"/>
                <a:gd name="T25" fmla="*/ 146 h 366"/>
                <a:gd name="T26" fmla="*/ 167 w 293"/>
                <a:gd name="T27" fmla="*/ 123 h 366"/>
                <a:gd name="T28" fmla="*/ 181 w 293"/>
                <a:gd name="T29" fmla="*/ 65 h 366"/>
                <a:gd name="T30" fmla="*/ 208 w 293"/>
                <a:gd name="T31" fmla="*/ 41 h 366"/>
                <a:gd name="T32" fmla="*/ 216 w 293"/>
                <a:gd name="T33" fmla="*/ 87 h 366"/>
                <a:gd name="T34" fmla="*/ 209 w 293"/>
                <a:gd name="T35" fmla="*/ 62 h 366"/>
                <a:gd name="T36" fmla="*/ 233 w 293"/>
                <a:gd name="T37" fmla="*/ 54 h 366"/>
                <a:gd name="T38" fmla="*/ 246 w 293"/>
                <a:gd name="T39" fmla="*/ 81 h 366"/>
                <a:gd name="T40" fmla="*/ 248 w 293"/>
                <a:gd name="T41" fmla="*/ 98 h 366"/>
                <a:gd name="T42" fmla="*/ 227 w 293"/>
                <a:gd name="T43" fmla="*/ 138 h 366"/>
                <a:gd name="T44" fmla="*/ 245 w 293"/>
                <a:gd name="T45" fmla="*/ 156 h 366"/>
                <a:gd name="T46" fmla="*/ 258 w 293"/>
                <a:gd name="T47" fmla="*/ 156 h 366"/>
                <a:gd name="T48" fmla="*/ 260 w 293"/>
                <a:gd name="T49" fmla="*/ 176 h 366"/>
                <a:gd name="T50" fmla="*/ 251 w 293"/>
                <a:gd name="T51" fmla="*/ 203 h 366"/>
                <a:gd name="T52" fmla="*/ 255 w 293"/>
                <a:gd name="T53" fmla="*/ 224 h 366"/>
                <a:gd name="T54" fmla="*/ 263 w 293"/>
                <a:gd name="T55" fmla="*/ 243 h 366"/>
                <a:gd name="T56" fmla="*/ 268 w 293"/>
                <a:gd name="T57" fmla="*/ 260 h 366"/>
                <a:gd name="T58" fmla="*/ 274 w 293"/>
                <a:gd name="T59" fmla="*/ 289 h 366"/>
                <a:gd name="T60" fmla="*/ 290 w 293"/>
                <a:gd name="T61" fmla="*/ 305 h 366"/>
                <a:gd name="T62" fmla="*/ 284 w 293"/>
                <a:gd name="T63" fmla="*/ 335 h 366"/>
                <a:gd name="T64" fmla="*/ 268 w 293"/>
                <a:gd name="T65" fmla="*/ 366 h 366"/>
                <a:gd name="T66" fmla="*/ 245 w 293"/>
                <a:gd name="T67" fmla="*/ 352 h 366"/>
                <a:gd name="T68" fmla="*/ 224 w 293"/>
                <a:gd name="T69" fmla="*/ 336 h 366"/>
                <a:gd name="T70" fmla="*/ 171 w 293"/>
                <a:gd name="T71" fmla="*/ 340 h 366"/>
                <a:gd name="T72" fmla="*/ 150 w 293"/>
                <a:gd name="T73" fmla="*/ 326 h 366"/>
                <a:gd name="T74" fmla="*/ 127 w 293"/>
                <a:gd name="T75" fmla="*/ 319 h 366"/>
                <a:gd name="T76" fmla="*/ 104 w 293"/>
                <a:gd name="T77" fmla="*/ 298 h 366"/>
                <a:gd name="T78" fmla="*/ 79 w 293"/>
                <a:gd name="T79" fmla="*/ 267 h 366"/>
                <a:gd name="T80" fmla="*/ 56 w 293"/>
                <a:gd name="T81" fmla="*/ 272 h 366"/>
                <a:gd name="T82" fmla="*/ 31 w 293"/>
                <a:gd name="T83" fmla="*/ 251 h 366"/>
                <a:gd name="T84" fmla="*/ 9 w 293"/>
                <a:gd name="T85" fmla="*/ 216 h 366"/>
                <a:gd name="T86" fmla="*/ 35 w 293"/>
                <a:gd name="T87" fmla="*/ 183 h 366"/>
                <a:gd name="T88" fmla="*/ 67 w 293"/>
                <a:gd name="T89" fmla="*/ 169 h 366"/>
                <a:gd name="T90" fmla="*/ 70 w 293"/>
                <a:gd name="T91" fmla="*/ 150 h 366"/>
                <a:gd name="T92" fmla="*/ 72 w 293"/>
                <a:gd name="T93" fmla="*/ 123 h 366"/>
                <a:gd name="T94" fmla="*/ 178 w 293"/>
                <a:gd name="T95" fmla="*/ 12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3" h="366">
                  <a:moveTo>
                    <a:pt x="80" y="112"/>
                  </a:moveTo>
                  <a:cubicBezTo>
                    <a:pt x="83" y="116"/>
                    <a:pt x="87" y="117"/>
                    <a:pt x="90" y="122"/>
                  </a:cubicBezTo>
                  <a:cubicBezTo>
                    <a:pt x="94" y="128"/>
                    <a:pt x="97" y="131"/>
                    <a:pt x="98" y="138"/>
                  </a:cubicBezTo>
                  <a:cubicBezTo>
                    <a:pt x="100" y="145"/>
                    <a:pt x="102" y="152"/>
                    <a:pt x="104" y="148"/>
                  </a:cubicBezTo>
                  <a:cubicBezTo>
                    <a:pt x="107" y="144"/>
                    <a:pt x="113" y="141"/>
                    <a:pt x="112" y="135"/>
                  </a:cubicBezTo>
                  <a:cubicBezTo>
                    <a:pt x="111" y="130"/>
                    <a:pt x="111" y="119"/>
                    <a:pt x="111" y="115"/>
                  </a:cubicBezTo>
                  <a:cubicBezTo>
                    <a:pt x="112" y="111"/>
                    <a:pt x="108" y="105"/>
                    <a:pt x="104" y="106"/>
                  </a:cubicBezTo>
                  <a:cubicBezTo>
                    <a:pt x="101" y="107"/>
                    <a:pt x="97" y="104"/>
                    <a:pt x="101" y="100"/>
                  </a:cubicBezTo>
                  <a:cubicBezTo>
                    <a:pt x="105" y="96"/>
                    <a:pt x="110" y="96"/>
                    <a:pt x="110" y="92"/>
                  </a:cubicBezTo>
                  <a:cubicBezTo>
                    <a:pt x="111" y="87"/>
                    <a:pt x="112" y="82"/>
                    <a:pt x="114" y="79"/>
                  </a:cubicBezTo>
                  <a:cubicBezTo>
                    <a:pt x="116" y="77"/>
                    <a:pt x="109" y="77"/>
                    <a:pt x="110" y="70"/>
                  </a:cubicBezTo>
                  <a:cubicBezTo>
                    <a:pt x="111" y="63"/>
                    <a:pt x="113" y="59"/>
                    <a:pt x="119" y="58"/>
                  </a:cubicBezTo>
                  <a:cubicBezTo>
                    <a:pt x="126" y="57"/>
                    <a:pt x="130" y="55"/>
                    <a:pt x="133" y="51"/>
                  </a:cubicBezTo>
                  <a:cubicBezTo>
                    <a:pt x="135" y="47"/>
                    <a:pt x="149" y="31"/>
                    <a:pt x="151" y="24"/>
                  </a:cubicBezTo>
                  <a:cubicBezTo>
                    <a:pt x="153" y="18"/>
                    <a:pt x="155" y="13"/>
                    <a:pt x="158" y="17"/>
                  </a:cubicBezTo>
                  <a:cubicBezTo>
                    <a:pt x="162" y="21"/>
                    <a:pt x="167" y="22"/>
                    <a:pt x="172" y="22"/>
                  </a:cubicBezTo>
                  <a:cubicBezTo>
                    <a:pt x="177" y="22"/>
                    <a:pt x="183" y="29"/>
                    <a:pt x="184" y="33"/>
                  </a:cubicBezTo>
                  <a:cubicBezTo>
                    <a:pt x="184" y="38"/>
                    <a:pt x="182" y="45"/>
                    <a:pt x="179" y="50"/>
                  </a:cubicBezTo>
                  <a:cubicBezTo>
                    <a:pt x="176" y="55"/>
                    <a:pt x="165" y="64"/>
                    <a:pt x="166" y="68"/>
                  </a:cubicBezTo>
                  <a:cubicBezTo>
                    <a:pt x="166" y="73"/>
                    <a:pt x="171" y="75"/>
                    <a:pt x="171" y="80"/>
                  </a:cubicBezTo>
                  <a:cubicBezTo>
                    <a:pt x="171" y="85"/>
                    <a:pt x="167" y="99"/>
                    <a:pt x="164" y="103"/>
                  </a:cubicBezTo>
                  <a:cubicBezTo>
                    <a:pt x="160" y="107"/>
                    <a:pt x="161" y="114"/>
                    <a:pt x="160" y="120"/>
                  </a:cubicBezTo>
                  <a:cubicBezTo>
                    <a:pt x="159" y="125"/>
                    <a:pt x="153" y="134"/>
                    <a:pt x="153" y="135"/>
                  </a:cubicBezTo>
                  <a:cubicBezTo>
                    <a:pt x="153" y="137"/>
                    <a:pt x="156" y="147"/>
                    <a:pt x="158" y="150"/>
                  </a:cubicBezTo>
                  <a:cubicBezTo>
                    <a:pt x="159" y="152"/>
                    <a:pt x="161" y="161"/>
                    <a:pt x="158" y="162"/>
                  </a:cubicBezTo>
                  <a:cubicBezTo>
                    <a:pt x="154" y="164"/>
                    <a:pt x="154" y="168"/>
                    <a:pt x="153" y="174"/>
                  </a:cubicBezTo>
                  <a:cubicBezTo>
                    <a:pt x="153" y="181"/>
                    <a:pt x="146" y="182"/>
                    <a:pt x="144" y="184"/>
                  </a:cubicBezTo>
                  <a:cubicBezTo>
                    <a:pt x="141" y="186"/>
                    <a:pt x="139" y="187"/>
                    <a:pt x="135" y="192"/>
                  </a:cubicBezTo>
                  <a:cubicBezTo>
                    <a:pt x="130" y="197"/>
                    <a:pt x="121" y="201"/>
                    <a:pt x="117" y="201"/>
                  </a:cubicBezTo>
                  <a:cubicBezTo>
                    <a:pt x="112" y="201"/>
                    <a:pt x="111" y="202"/>
                    <a:pt x="106" y="198"/>
                  </a:cubicBezTo>
                  <a:cubicBezTo>
                    <a:pt x="101" y="195"/>
                    <a:pt x="99" y="193"/>
                    <a:pt x="96" y="199"/>
                  </a:cubicBezTo>
                  <a:cubicBezTo>
                    <a:pt x="94" y="205"/>
                    <a:pt x="99" y="205"/>
                    <a:pt x="102" y="208"/>
                  </a:cubicBezTo>
                  <a:cubicBezTo>
                    <a:pt x="104" y="212"/>
                    <a:pt x="109" y="212"/>
                    <a:pt x="110" y="214"/>
                  </a:cubicBezTo>
                  <a:cubicBezTo>
                    <a:pt x="111" y="217"/>
                    <a:pt x="117" y="213"/>
                    <a:pt x="119" y="216"/>
                  </a:cubicBezTo>
                  <a:cubicBezTo>
                    <a:pt x="121" y="220"/>
                    <a:pt x="125" y="223"/>
                    <a:pt x="129" y="219"/>
                  </a:cubicBezTo>
                  <a:cubicBezTo>
                    <a:pt x="133" y="216"/>
                    <a:pt x="133" y="212"/>
                    <a:pt x="137" y="212"/>
                  </a:cubicBezTo>
                  <a:cubicBezTo>
                    <a:pt x="141" y="212"/>
                    <a:pt x="155" y="206"/>
                    <a:pt x="156" y="201"/>
                  </a:cubicBezTo>
                  <a:cubicBezTo>
                    <a:pt x="156" y="196"/>
                    <a:pt x="160" y="193"/>
                    <a:pt x="164" y="190"/>
                  </a:cubicBezTo>
                  <a:cubicBezTo>
                    <a:pt x="168" y="187"/>
                    <a:pt x="168" y="183"/>
                    <a:pt x="170" y="178"/>
                  </a:cubicBezTo>
                  <a:cubicBezTo>
                    <a:pt x="172" y="173"/>
                    <a:pt x="172" y="163"/>
                    <a:pt x="172" y="159"/>
                  </a:cubicBezTo>
                  <a:cubicBezTo>
                    <a:pt x="173" y="155"/>
                    <a:pt x="180" y="153"/>
                    <a:pt x="183" y="153"/>
                  </a:cubicBezTo>
                  <a:cubicBezTo>
                    <a:pt x="185" y="153"/>
                    <a:pt x="194" y="150"/>
                    <a:pt x="195" y="154"/>
                  </a:cubicBezTo>
                  <a:cubicBezTo>
                    <a:pt x="197" y="158"/>
                    <a:pt x="198" y="161"/>
                    <a:pt x="199" y="164"/>
                  </a:cubicBezTo>
                  <a:cubicBezTo>
                    <a:pt x="201" y="166"/>
                    <a:pt x="203" y="169"/>
                    <a:pt x="201" y="173"/>
                  </a:cubicBezTo>
                  <a:cubicBezTo>
                    <a:pt x="200" y="176"/>
                    <a:pt x="196" y="182"/>
                    <a:pt x="196" y="187"/>
                  </a:cubicBezTo>
                  <a:cubicBezTo>
                    <a:pt x="196" y="193"/>
                    <a:pt x="196" y="197"/>
                    <a:pt x="204" y="198"/>
                  </a:cubicBezTo>
                  <a:cubicBezTo>
                    <a:pt x="212" y="200"/>
                    <a:pt x="216" y="198"/>
                    <a:pt x="214" y="195"/>
                  </a:cubicBezTo>
                  <a:cubicBezTo>
                    <a:pt x="211" y="193"/>
                    <a:pt x="198" y="194"/>
                    <a:pt x="199" y="188"/>
                  </a:cubicBezTo>
                  <a:cubicBezTo>
                    <a:pt x="201" y="181"/>
                    <a:pt x="202" y="180"/>
                    <a:pt x="206" y="179"/>
                  </a:cubicBezTo>
                  <a:cubicBezTo>
                    <a:pt x="211" y="178"/>
                    <a:pt x="210" y="174"/>
                    <a:pt x="209" y="170"/>
                  </a:cubicBezTo>
                  <a:cubicBezTo>
                    <a:pt x="209" y="166"/>
                    <a:pt x="208" y="159"/>
                    <a:pt x="209" y="157"/>
                  </a:cubicBezTo>
                  <a:cubicBezTo>
                    <a:pt x="210" y="154"/>
                    <a:pt x="199" y="150"/>
                    <a:pt x="195" y="146"/>
                  </a:cubicBezTo>
                  <a:cubicBezTo>
                    <a:pt x="191" y="141"/>
                    <a:pt x="185" y="142"/>
                    <a:pt x="183" y="144"/>
                  </a:cubicBezTo>
                  <a:cubicBezTo>
                    <a:pt x="180" y="147"/>
                    <a:pt x="180" y="141"/>
                    <a:pt x="172" y="142"/>
                  </a:cubicBezTo>
                  <a:cubicBezTo>
                    <a:pt x="165" y="143"/>
                    <a:pt x="169" y="139"/>
                    <a:pt x="171" y="135"/>
                  </a:cubicBezTo>
                  <a:cubicBezTo>
                    <a:pt x="173" y="131"/>
                    <a:pt x="166" y="126"/>
                    <a:pt x="167" y="123"/>
                  </a:cubicBezTo>
                  <a:cubicBezTo>
                    <a:pt x="168" y="120"/>
                    <a:pt x="174" y="111"/>
                    <a:pt x="177" y="107"/>
                  </a:cubicBezTo>
                  <a:cubicBezTo>
                    <a:pt x="180" y="103"/>
                    <a:pt x="182" y="95"/>
                    <a:pt x="181" y="90"/>
                  </a:cubicBezTo>
                  <a:cubicBezTo>
                    <a:pt x="180" y="84"/>
                    <a:pt x="180" y="76"/>
                    <a:pt x="178" y="73"/>
                  </a:cubicBezTo>
                  <a:cubicBezTo>
                    <a:pt x="176" y="71"/>
                    <a:pt x="179" y="68"/>
                    <a:pt x="181" y="65"/>
                  </a:cubicBezTo>
                  <a:cubicBezTo>
                    <a:pt x="184" y="63"/>
                    <a:pt x="191" y="58"/>
                    <a:pt x="195" y="56"/>
                  </a:cubicBezTo>
                  <a:cubicBezTo>
                    <a:pt x="199" y="53"/>
                    <a:pt x="202" y="52"/>
                    <a:pt x="202" y="48"/>
                  </a:cubicBezTo>
                  <a:cubicBezTo>
                    <a:pt x="202" y="44"/>
                    <a:pt x="200" y="35"/>
                    <a:pt x="203" y="33"/>
                  </a:cubicBezTo>
                  <a:cubicBezTo>
                    <a:pt x="206" y="31"/>
                    <a:pt x="208" y="34"/>
                    <a:pt x="208" y="41"/>
                  </a:cubicBezTo>
                  <a:cubicBezTo>
                    <a:pt x="207" y="48"/>
                    <a:pt x="207" y="54"/>
                    <a:pt x="204" y="58"/>
                  </a:cubicBezTo>
                  <a:cubicBezTo>
                    <a:pt x="200" y="62"/>
                    <a:pt x="201" y="69"/>
                    <a:pt x="200" y="73"/>
                  </a:cubicBezTo>
                  <a:cubicBezTo>
                    <a:pt x="198" y="77"/>
                    <a:pt x="200" y="79"/>
                    <a:pt x="203" y="82"/>
                  </a:cubicBezTo>
                  <a:cubicBezTo>
                    <a:pt x="205" y="84"/>
                    <a:pt x="211" y="86"/>
                    <a:pt x="216" y="87"/>
                  </a:cubicBezTo>
                  <a:cubicBezTo>
                    <a:pt x="220" y="89"/>
                    <a:pt x="220" y="91"/>
                    <a:pt x="222" y="95"/>
                  </a:cubicBezTo>
                  <a:cubicBezTo>
                    <a:pt x="225" y="98"/>
                    <a:pt x="231" y="94"/>
                    <a:pt x="225" y="89"/>
                  </a:cubicBezTo>
                  <a:cubicBezTo>
                    <a:pt x="220" y="83"/>
                    <a:pt x="215" y="82"/>
                    <a:pt x="211" y="78"/>
                  </a:cubicBezTo>
                  <a:cubicBezTo>
                    <a:pt x="207" y="73"/>
                    <a:pt x="206" y="65"/>
                    <a:pt x="209" y="62"/>
                  </a:cubicBezTo>
                  <a:cubicBezTo>
                    <a:pt x="213" y="58"/>
                    <a:pt x="219" y="61"/>
                    <a:pt x="220" y="66"/>
                  </a:cubicBezTo>
                  <a:cubicBezTo>
                    <a:pt x="220" y="71"/>
                    <a:pt x="230" y="72"/>
                    <a:pt x="228" y="66"/>
                  </a:cubicBezTo>
                  <a:cubicBezTo>
                    <a:pt x="226" y="61"/>
                    <a:pt x="219" y="58"/>
                    <a:pt x="226" y="56"/>
                  </a:cubicBezTo>
                  <a:cubicBezTo>
                    <a:pt x="228" y="55"/>
                    <a:pt x="231" y="54"/>
                    <a:pt x="233" y="54"/>
                  </a:cubicBezTo>
                  <a:cubicBezTo>
                    <a:pt x="232" y="62"/>
                    <a:pt x="232" y="62"/>
                    <a:pt x="232" y="62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9" y="73"/>
                    <a:pt x="249" y="73"/>
                    <a:pt x="249" y="73"/>
                  </a:cubicBezTo>
                  <a:cubicBezTo>
                    <a:pt x="246" y="81"/>
                    <a:pt x="246" y="81"/>
                    <a:pt x="246" y="81"/>
                  </a:cubicBezTo>
                  <a:cubicBezTo>
                    <a:pt x="242" y="80"/>
                    <a:pt x="242" y="80"/>
                    <a:pt x="242" y="80"/>
                  </a:cubicBezTo>
                  <a:cubicBezTo>
                    <a:pt x="236" y="88"/>
                    <a:pt x="236" y="88"/>
                    <a:pt x="236" y="88"/>
                  </a:cubicBezTo>
                  <a:cubicBezTo>
                    <a:pt x="240" y="93"/>
                    <a:pt x="240" y="93"/>
                    <a:pt x="240" y="93"/>
                  </a:cubicBezTo>
                  <a:cubicBezTo>
                    <a:pt x="248" y="98"/>
                    <a:pt x="248" y="98"/>
                    <a:pt x="248" y="98"/>
                  </a:cubicBezTo>
                  <a:cubicBezTo>
                    <a:pt x="248" y="117"/>
                    <a:pt x="248" y="117"/>
                    <a:pt x="248" y="117"/>
                  </a:cubicBezTo>
                  <a:cubicBezTo>
                    <a:pt x="241" y="118"/>
                    <a:pt x="241" y="118"/>
                    <a:pt x="241" y="118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8"/>
                    <a:pt x="227" y="138"/>
                    <a:pt x="227" y="138"/>
                  </a:cubicBezTo>
                  <a:cubicBezTo>
                    <a:pt x="235" y="149"/>
                    <a:pt x="235" y="149"/>
                    <a:pt x="235" y="149"/>
                  </a:cubicBezTo>
                  <a:cubicBezTo>
                    <a:pt x="241" y="149"/>
                    <a:pt x="241" y="149"/>
                    <a:pt x="241" y="149"/>
                  </a:cubicBezTo>
                  <a:cubicBezTo>
                    <a:pt x="242" y="151"/>
                    <a:pt x="242" y="151"/>
                    <a:pt x="242" y="151"/>
                  </a:cubicBezTo>
                  <a:cubicBezTo>
                    <a:pt x="245" y="156"/>
                    <a:pt x="245" y="156"/>
                    <a:pt x="245" y="156"/>
                  </a:cubicBezTo>
                  <a:cubicBezTo>
                    <a:pt x="248" y="152"/>
                    <a:pt x="248" y="152"/>
                    <a:pt x="248" y="152"/>
                  </a:cubicBezTo>
                  <a:cubicBezTo>
                    <a:pt x="253" y="153"/>
                    <a:pt x="253" y="153"/>
                    <a:pt x="253" y="153"/>
                  </a:cubicBezTo>
                  <a:cubicBezTo>
                    <a:pt x="258" y="150"/>
                    <a:pt x="258" y="150"/>
                    <a:pt x="258" y="150"/>
                  </a:cubicBezTo>
                  <a:cubicBezTo>
                    <a:pt x="258" y="150"/>
                    <a:pt x="258" y="155"/>
                    <a:pt x="258" y="156"/>
                  </a:cubicBezTo>
                  <a:cubicBezTo>
                    <a:pt x="258" y="157"/>
                    <a:pt x="260" y="157"/>
                    <a:pt x="260" y="157"/>
                  </a:cubicBezTo>
                  <a:cubicBezTo>
                    <a:pt x="261" y="162"/>
                    <a:pt x="261" y="162"/>
                    <a:pt x="261" y="162"/>
                  </a:cubicBezTo>
                  <a:cubicBezTo>
                    <a:pt x="264" y="172"/>
                    <a:pt x="264" y="172"/>
                    <a:pt x="264" y="172"/>
                  </a:cubicBezTo>
                  <a:cubicBezTo>
                    <a:pt x="260" y="176"/>
                    <a:pt x="260" y="176"/>
                    <a:pt x="260" y="176"/>
                  </a:cubicBezTo>
                  <a:cubicBezTo>
                    <a:pt x="262" y="185"/>
                    <a:pt x="262" y="185"/>
                    <a:pt x="262" y="185"/>
                  </a:cubicBezTo>
                  <a:cubicBezTo>
                    <a:pt x="256" y="195"/>
                    <a:pt x="256" y="195"/>
                    <a:pt x="256" y="195"/>
                  </a:cubicBezTo>
                  <a:cubicBezTo>
                    <a:pt x="251" y="195"/>
                    <a:pt x="251" y="195"/>
                    <a:pt x="251" y="195"/>
                  </a:cubicBezTo>
                  <a:cubicBezTo>
                    <a:pt x="251" y="203"/>
                    <a:pt x="251" y="203"/>
                    <a:pt x="251" y="203"/>
                  </a:cubicBezTo>
                  <a:cubicBezTo>
                    <a:pt x="257" y="208"/>
                    <a:pt x="257" y="208"/>
                    <a:pt x="257" y="208"/>
                  </a:cubicBezTo>
                  <a:cubicBezTo>
                    <a:pt x="251" y="215"/>
                    <a:pt x="251" y="215"/>
                    <a:pt x="251" y="215"/>
                  </a:cubicBezTo>
                  <a:cubicBezTo>
                    <a:pt x="254" y="218"/>
                    <a:pt x="254" y="218"/>
                    <a:pt x="254" y="218"/>
                  </a:cubicBezTo>
                  <a:cubicBezTo>
                    <a:pt x="255" y="224"/>
                    <a:pt x="255" y="224"/>
                    <a:pt x="255" y="224"/>
                  </a:cubicBezTo>
                  <a:cubicBezTo>
                    <a:pt x="261" y="227"/>
                    <a:pt x="261" y="227"/>
                    <a:pt x="261" y="227"/>
                  </a:cubicBezTo>
                  <a:cubicBezTo>
                    <a:pt x="265" y="232"/>
                    <a:pt x="265" y="232"/>
                    <a:pt x="265" y="232"/>
                  </a:cubicBezTo>
                  <a:cubicBezTo>
                    <a:pt x="260" y="239"/>
                    <a:pt x="260" y="239"/>
                    <a:pt x="260" y="239"/>
                  </a:cubicBezTo>
                  <a:cubicBezTo>
                    <a:pt x="263" y="243"/>
                    <a:pt x="263" y="243"/>
                    <a:pt x="263" y="243"/>
                  </a:cubicBezTo>
                  <a:cubicBezTo>
                    <a:pt x="264" y="251"/>
                    <a:pt x="264" y="251"/>
                    <a:pt x="264" y="251"/>
                  </a:cubicBezTo>
                  <a:cubicBezTo>
                    <a:pt x="259" y="253"/>
                    <a:pt x="259" y="253"/>
                    <a:pt x="259" y="253"/>
                  </a:cubicBezTo>
                  <a:cubicBezTo>
                    <a:pt x="262" y="261"/>
                    <a:pt x="262" y="261"/>
                    <a:pt x="262" y="261"/>
                  </a:cubicBezTo>
                  <a:cubicBezTo>
                    <a:pt x="268" y="260"/>
                    <a:pt x="268" y="260"/>
                    <a:pt x="268" y="260"/>
                  </a:cubicBezTo>
                  <a:cubicBezTo>
                    <a:pt x="274" y="266"/>
                    <a:pt x="274" y="266"/>
                    <a:pt x="274" y="266"/>
                  </a:cubicBezTo>
                  <a:cubicBezTo>
                    <a:pt x="277" y="277"/>
                    <a:pt x="277" y="277"/>
                    <a:pt x="277" y="277"/>
                  </a:cubicBezTo>
                  <a:cubicBezTo>
                    <a:pt x="271" y="283"/>
                    <a:pt x="271" y="283"/>
                    <a:pt x="271" y="283"/>
                  </a:cubicBezTo>
                  <a:cubicBezTo>
                    <a:pt x="274" y="289"/>
                    <a:pt x="274" y="289"/>
                    <a:pt x="274" y="289"/>
                  </a:cubicBezTo>
                  <a:cubicBezTo>
                    <a:pt x="280" y="289"/>
                    <a:pt x="280" y="289"/>
                    <a:pt x="280" y="289"/>
                  </a:cubicBezTo>
                  <a:cubicBezTo>
                    <a:pt x="286" y="294"/>
                    <a:pt x="286" y="294"/>
                    <a:pt x="286" y="294"/>
                  </a:cubicBezTo>
                  <a:cubicBezTo>
                    <a:pt x="290" y="290"/>
                    <a:pt x="290" y="290"/>
                    <a:pt x="290" y="290"/>
                  </a:cubicBezTo>
                  <a:cubicBezTo>
                    <a:pt x="290" y="305"/>
                    <a:pt x="290" y="305"/>
                    <a:pt x="290" y="305"/>
                  </a:cubicBezTo>
                  <a:cubicBezTo>
                    <a:pt x="293" y="311"/>
                    <a:pt x="293" y="311"/>
                    <a:pt x="293" y="311"/>
                  </a:cubicBezTo>
                  <a:cubicBezTo>
                    <a:pt x="284" y="319"/>
                    <a:pt x="284" y="319"/>
                    <a:pt x="284" y="319"/>
                  </a:cubicBezTo>
                  <a:cubicBezTo>
                    <a:pt x="278" y="328"/>
                    <a:pt x="278" y="328"/>
                    <a:pt x="278" y="328"/>
                  </a:cubicBezTo>
                  <a:cubicBezTo>
                    <a:pt x="284" y="335"/>
                    <a:pt x="284" y="335"/>
                    <a:pt x="284" y="335"/>
                  </a:cubicBezTo>
                  <a:cubicBezTo>
                    <a:pt x="285" y="344"/>
                    <a:pt x="285" y="344"/>
                    <a:pt x="285" y="344"/>
                  </a:cubicBezTo>
                  <a:cubicBezTo>
                    <a:pt x="279" y="348"/>
                    <a:pt x="279" y="348"/>
                    <a:pt x="279" y="348"/>
                  </a:cubicBezTo>
                  <a:cubicBezTo>
                    <a:pt x="278" y="356"/>
                    <a:pt x="278" y="356"/>
                    <a:pt x="278" y="356"/>
                  </a:cubicBezTo>
                  <a:cubicBezTo>
                    <a:pt x="268" y="366"/>
                    <a:pt x="268" y="366"/>
                    <a:pt x="268" y="366"/>
                  </a:cubicBezTo>
                  <a:cubicBezTo>
                    <a:pt x="264" y="361"/>
                    <a:pt x="264" y="361"/>
                    <a:pt x="264" y="361"/>
                  </a:cubicBezTo>
                  <a:cubicBezTo>
                    <a:pt x="257" y="358"/>
                    <a:pt x="257" y="358"/>
                    <a:pt x="257" y="358"/>
                  </a:cubicBezTo>
                  <a:cubicBezTo>
                    <a:pt x="251" y="361"/>
                    <a:pt x="251" y="361"/>
                    <a:pt x="251" y="361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238" y="348"/>
                    <a:pt x="238" y="348"/>
                    <a:pt x="238" y="348"/>
                  </a:cubicBezTo>
                  <a:cubicBezTo>
                    <a:pt x="233" y="352"/>
                    <a:pt x="233" y="352"/>
                    <a:pt x="233" y="352"/>
                  </a:cubicBezTo>
                  <a:cubicBezTo>
                    <a:pt x="226" y="343"/>
                    <a:pt x="226" y="343"/>
                    <a:pt x="226" y="343"/>
                  </a:cubicBezTo>
                  <a:cubicBezTo>
                    <a:pt x="224" y="336"/>
                    <a:pt x="224" y="336"/>
                    <a:pt x="224" y="336"/>
                  </a:cubicBezTo>
                  <a:cubicBezTo>
                    <a:pt x="212" y="343"/>
                    <a:pt x="212" y="343"/>
                    <a:pt x="212" y="343"/>
                  </a:cubicBezTo>
                  <a:cubicBezTo>
                    <a:pt x="209" y="348"/>
                    <a:pt x="209" y="348"/>
                    <a:pt x="209" y="348"/>
                  </a:cubicBezTo>
                  <a:cubicBezTo>
                    <a:pt x="183" y="349"/>
                    <a:pt x="183" y="349"/>
                    <a:pt x="183" y="349"/>
                  </a:cubicBezTo>
                  <a:cubicBezTo>
                    <a:pt x="171" y="340"/>
                    <a:pt x="171" y="340"/>
                    <a:pt x="171" y="340"/>
                  </a:cubicBezTo>
                  <a:cubicBezTo>
                    <a:pt x="172" y="334"/>
                    <a:pt x="172" y="334"/>
                    <a:pt x="172" y="334"/>
                  </a:cubicBezTo>
                  <a:cubicBezTo>
                    <a:pt x="162" y="330"/>
                    <a:pt x="162" y="330"/>
                    <a:pt x="162" y="330"/>
                  </a:cubicBezTo>
                  <a:cubicBezTo>
                    <a:pt x="160" y="333"/>
                    <a:pt x="160" y="333"/>
                    <a:pt x="160" y="333"/>
                  </a:cubicBezTo>
                  <a:cubicBezTo>
                    <a:pt x="150" y="326"/>
                    <a:pt x="150" y="326"/>
                    <a:pt x="150" y="326"/>
                  </a:cubicBezTo>
                  <a:cubicBezTo>
                    <a:pt x="146" y="324"/>
                    <a:pt x="146" y="324"/>
                    <a:pt x="146" y="324"/>
                  </a:cubicBezTo>
                  <a:cubicBezTo>
                    <a:pt x="141" y="327"/>
                    <a:pt x="141" y="327"/>
                    <a:pt x="141" y="327"/>
                  </a:cubicBezTo>
                  <a:cubicBezTo>
                    <a:pt x="132" y="319"/>
                    <a:pt x="132" y="319"/>
                    <a:pt x="132" y="319"/>
                  </a:cubicBezTo>
                  <a:cubicBezTo>
                    <a:pt x="127" y="319"/>
                    <a:pt x="127" y="319"/>
                    <a:pt x="127" y="319"/>
                  </a:cubicBezTo>
                  <a:cubicBezTo>
                    <a:pt x="123" y="311"/>
                    <a:pt x="123" y="311"/>
                    <a:pt x="123" y="311"/>
                  </a:cubicBezTo>
                  <a:cubicBezTo>
                    <a:pt x="106" y="313"/>
                    <a:pt x="106" y="313"/>
                    <a:pt x="106" y="313"/>
                  </a:cubicBezTo>
                  <a:cubicBezTo>
                    <a:pt x="102" y="303"/>
                    <a:pt x="102" y="303"/>
                    <a:pt x="102" y="303"/>
                  </a:cubicBezTo>
                  <a:cubicBezTo>
                    <a:pt x="104" y="298"/>
                    <a:pt x="104" y="298"/>
                    <a:pt x="104" y="298"/>
                  </a:cubicBezTo>
                  <a:cubicBezTo>
                    <a:pt x="97" y="291"/>
                    <a:pt x="97" y="291"/>
                    <a:pt x="97" y="291"/>
                  </a:cubicBezTo>
                  <a:cubicBezTo>
                    <a:pt x="95" y="277"/>
                    <a:pt x="95" y="277"/>
                    <a:pt x="95" y="277"/>
                  </a:cubicBezTo>
                  <a:cubicBezTo>
                    <a:pt x="88" y="268"/>
                    <a:pt x="88" y="268"/>
                    <a:pt x="88" y="268"/>
                  </a:cubicBezTo>
                  <a:cubicBezTo>
                    <a:pt x="79" y="267"/>
                    <a:pt x="79" y="267"/>
                    <a:pt x="79" y="267"/>
                  </a:cubicBezTo>
                  <a:cubicBezTo>
                    <a:pt x="73" y="272"/>
                    <a:pt x="73" y="272"/>
                    <a:pt x="73" y="272"/>
                  </a:cubicBezTo>
                  <a:cubicBezTo>
                    <a:pt x="68" y="266"/>
                    <a:pt x="68" y="266"/>
                    <a:pt x="68" y="266"/>
                  </a:cubicBezTo>
                  <a:cubicBezTo>
                    <a:pt x="64" y="272"/>
                    <a:pt x="64" y="272"/>
                    <a:pt x="64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0" y="263"/>
                    <a:pt x="50" y="263"/>
                    <a:pt x="50" y="263"/>
                  </a:cubicBezTo>
                  <a:cubicBezTo>
                    <a:pt x="54" y="256"/>
                    <a:pt x="54" y="256"/>
                    <a:pt x="54" y="256"/>
                  </a:cubicBezTo>
                  <a:cubicBezTo>
                    <a:pt x="44" y="246"/>
                    <a:pt x="44" y="246"/>
                    <a:pt x="44" y="246"/>
                  </a:cubicBezTo>
                  <a:cubicBezTo>
                    <a:pt x="31" y="251"/>
                    <a:pt x="31" y="251"/>
                    <a:pt x="31" y="251"/>
                  </a:cubicBezTo>
                  <a:cubicBezTo>
                    <a:pt x="25" y="247"/>
                    <a:pt x="25" y="247"/>
                    <a:pt x="25" y="247"/>
                  </a:cubicBezTo>
                  <a:cubicBezTo>
                    <a:pt x="12" y="246"/>
                    <a:pt x="12" y="246"/>
                    <a:pt x="12" y="246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9" y="216"/>
                    <a:pt x="9" y="216"/>
                    <a:pt x="9" y="216"/>
                  </a:cubicBezTo>
                  <a:cubicBezTo>
                    <a:pt x="10" y="198"/>
                    <a:pt x="10" y="198"/>
                    <a:pt x="10" y="198"/>
                  </a:cubicBezTo>
                  <a:cubicBezTo>
                    <a:pt x="18" y="198"/>
                    <a:pt x="18" y="198"/>
                    <a:pt x="18" y="198"/>
                  </a:cubicBezTo>
                  <a:cubicBezTo>
                    <a:pt x="19" y="191"/>
                    <a:pt x="19" y="191"/>
                    <a:pt x="19" y="191"/>
                  </a:cubicBezTo>
                  <a:cubicBezTo>
                    <a:pt x="35" y="183"/>
                    <a:pt x="35" y="183"/>
                    <a:pt x="35" y="183"/>
                  </a:cubicBezTo>
                  <a:cubicBezTo>
                    <a:pt x="53" y="183"/>
                    <a:pt x="53" y="183"/>
                    <a:pt x="53" y="183"/>
                  </a:cubicBezTo>
                  <a:cubicBezTo>
                    <a:pt x="55" y="175"/>
                    <a:pt x="55" y="175"/>
                    <a:pt x="55" y="175"/>
                  </a:cubicBezTo>
                  <a:cubicBezTo>
                    <a:pt x="60" y="175"/>
                    <a:pt x="60" y="175"/>
                    <a:pt x="60" y="175"/>
                  </a:cubicBezTo>
                  <a:cubicBezTo>
                    <a:pt x="67" y="169"/>
                    <a:pt x="67" y="169"/>
                    <a:pt x="67" y="169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69" y="161"/>
                    <a:pt x="69" y="161"/>
                    <a:pt x="69" y="161"/>
                  </a:cubicBezTo>
                  <a:cubicBezTo>
                    <a:pt x="76" y="156"/>
                    <a:pt x="76" y="156"/>
                    <a:pt x="76" y="156"/>
                  </a:cubicBezTo>
                  <a:cubicBezTo>
                    <a:pt x="70" y="150"/>
                    <a:pt x="70" y="150"/>
                    <a:pt x="70" y="150"/>
                  </a:cubicBezTo>
                  <a:cubicBezTo>
                    <a:pt x="72" y="142"/>
                    <a:pt x="72" y="142"/>
                    <a:pt x="72" y="142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72" y="123"/>
                    <a:pt x="72" y="123"/>
                    <a:pt x="72" y="123"/>
                  </a:cubicBezTo>
                  <a:cubicBezTo>
                    <a:pt x="80" y="112"/>
                    <a:pt x="80" y="112"/>
                    <a:pt x="80" y="112"/>
                  </a:cubicBezTo>
                  <a:close/>
                  <a:moveTo>
                    <a:pt x="163" y="12"/>
                  </a:moveTo>
                  <a:cubicBezTo>
                    <a:pt x="163" y="12"/>
                    <a:pt x="164" y="15"/>
                    <a:pt x="169" y="17"/>
                  </a:cubicBezTo>
                  <a:cubicBezTo>
                    <a:pt x="173" y="20"/>
                    <a:pt x="178" y="16"/>
                    <a:pt x="178" y="12"/>
                  </a:cubicBezTo>
                  <a:cubicBezTo>
                    <a:pt x="177" y="8"/>
                    <a:pt x="175" y="10"/>
                    <a:pt x="176" y="7"/>
                  </a:cubicBezTo>
                  <a:cubicBezTo>
                    <a:pt x="177" y="3"/>
                    <a:pt x="169" y="0"/>
                    <a:pt x="167" y="2"/>
                  </a:cubicBezTo>
                  <a:cubicBezTo>
                    <a:pt x="165" y="4"/>
                    <a:pt x="163" y="11"/>
                    <a:pt x="163" y="12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2" name="Freeform 92"/>
            <p:cNvSpPr>
              <a:spLocks/>
            </p:cNvSpPr>
            <p:nvPr/>
          </p:nvSpPr>
          <p:spPr bwMode="auto">
            <a:xfrm>
              <a:off x="2015" y="3170"/>
              <a:ext cx="737" cy="531"/>
            </a:xfrm>
            <a:custGeom>
              <a:avLst/>
              <a:gdLst>
                <a:gd name="T0" fmla="*/ 702 w 737"/>
                <a:gd name="T1" fmla="*/ 373 h 531"/>
                <a:gd name="T2" fmla="*/ 723 w 737"/>
                <a:gd name="T3" fmla="*/ 417 h 531"/>
                <a:gd name="T4" fmla="*/ 687 w 737"/>
                <a:gd name="T5" fmla="*/ 437 h 531"/>
                <a:gd name="T6" fmla="*/ 631 w 737"/>
                <a:gd name="T7" fmla="*/ 435 h 531"/>
                <a:gd name="T8" fmla="*/ 608 w 737"/>
                <a:gd name="T9" fmla="*/ 437 h 531"/>
                <a:gd name="T10" fmla="*/ 579 w 737"/>
                <a:gd name="T11" fmla="*/ 425 h 531"/>
                <a:gd name="T12" fmla="*/ 539 w 737"/>
                <a:gd name="T13" fmla="*/ 429 h 531"/>
                <a:gd name="T14" fmla="*/ 508 w 737"/>
                <a:gd name="T15" fmla="*/ 421 h 531"/>
                <a:gd name="T16" fmla="*/ 469 w 737"/>
                <a:gd name="T17" fmla="*/ 419 h 531"/>
                <a:gd name="T18" fmla="*/ 454 w 737"/>
                <a:gd name="T19" fmla="*/ 477 h 531"/>
                <a:gd name="T20" fmla="*/ 412 w 737"/>
                <a:gd name="T21" fmla="*/ 498 h 531"/>
                <a:gd name="T22" fmla="*/ 389 w 737"/>
                <a:gd name="T23" fmla="*/ 527 h 531"/>
                <a:gd name="T24" fmla="*/ 383 w 737"/>
                <a:gd name="T25" fmla="*/ 525 h 531"/>
                <a:gd name="T26" fmla="*/ 354 w 737"/>
                <a:gd name="T27" fmla="*/ 512 h 531"/>
                <a:gd name="T28" fmla="*/ 331 w 737"/>
                <a:gd name="T29" fmla="*/ 485 h 531"/>
                <a:gd name="T30" fmla="*/ 314 w 737"/>
                <a:gd name="T31" fmla="*/ 471 h 531"/>
                <a:gd name="T32" fmla="*/ 281 w 737"/>
                <a:gd name="T33" fmla="*/ 427 h 531"/>
                <a:gd name="T34" fmla="*/ 239 w 737"/>
                <a:gd name="T35" fmla="*/ 406 h 531"/>
                <a:gd name="T36" fmla="*/ 227 w 737"/>
                <a:gd name="T37" fmla="*/ 421 h 531"/>
                <a:gd name="T38" fmla="*/ 196 w 737"/>
                <a:gd name="T39" fmla="*/ 435 h 531"/>
                <a:gd name="T40" fmla="*/ 162 w 737"/>
                <a:gd name="T41" fmla="*/ 444 h 531"/>
                <a:gd name="T42" fmla="*/ 141 w 737"/>
                <a:gd name="T43" fmla="*/ 439 h 531"/>
                <a:gd name="T44" fmla="*/ 114 w 737"/>
                <a:gd name="T45" fmla="*/ 454 h 531"/>
                <a:gd name="T46" fmla="*/ 96 w 737"/>
                <a:gd name="T47" fmla="*/ 444 h 531"/>
                <a:gd name="T48" fmla="*/ 96 w 737"/>
                <a:gd name="T49" fmla="*/ 412 h 531"/>
                <a:gd name="T50" fmla="*/ 79 w 737"/>
                <a:gd name="T51" fmla="*/ 387 h 531"/>
                <a:gd name="T52" fmla="*/ 58 w 737"/>
                <a:gd name="T53" fmla="*/ 367 h 531"/>
                <a:gd name="T54" fmla="*/ 68 w 737"/>
                <a:gd name="T55" fmla="*/ 346 h 531"/>
                <a:gd name="T56" fmla="*/ 60 w 737"/>
                <a:gd name="T57" fmla="*/ 314 h 531"/>
                <a:gd name="T58" fmla="*/ 66 w 737"/>
                <a:gd name="T59" fmla="*/ 283 h 531"/>
                <a:gd name="T60" fmla="*/ 54 w 737"/>
                <a:gd name="T61" fmla="*/ 252 h 531"/>
                <a:gd name="T62" fmla="*/ 10 w 737"/>
                <a:gd name="T63" fmla="*/ 204 h 531"/>
                <a:gd name="T64" fmla="*/ 0 w 737"/>
                <a:gd name="T65" fmla="*/ 185 h 531"/>
                <a:gd name="T66" fmla="*/ 0 w 737"/>
                <a:gd name="T67" fmla="*/ 175 h 531"/>
                <a:gd name="T68" fmla="*/ 23 w 737"/>
                <a:gd name="T69" fmla="*/ 141 h 531"/>
                <a:gd name="T70" fmla="*/ 23 w 737"/>
                <a:gd name="T71" fmla="*/ 123 h 531"/>
                <a:gd name="T72" fmla="*/ 50 w 737"/>
                <a:gd name="T73" fmla="*/ 96 h 531"/>
                <a:gd name="T74" fmla="*/ 66 w 737"/>
                <a:gd name="T75" fmla="*/ 71 h 531"/>
                <a:gd name="T76" fmla="*/ 96 w 737"/>
                <a:gd name="T77" fmla="*/ 21 h 531"/>
                <a:gd name="T78" fmla="*/ 104 w 737"/>
                <a:gd name="T79" fmla="*/ 33 h 531"/>
                <a:gd name="T80" fmla="*/ 152 w 737"/>
                <a:gd name="T81" fmla="*/ 0 h 531"/>
                <a:gd name="T82" fmla="*/ 162 w 737"/>
                <a:gd name="T83" fmla="*/ 37 h 531"/>
                <a:gd name="T84" fmla="*/ 168 w 737"/>
                <a:gd name="T85" fmla="*/ 100 h 531"/>
                <a:gd name="T86" fmla="*/ 208 w 737"/>
                <a:gd name="T87" fmla="*/ 110 h 531"/>
                <a:gd name="T88" fmla="*/ 256 w 737"/>
                <a:gd name="T89" fmla="*/ 121 h 531"/>
                <a:gd name="T90" fmla="*/ 260 w 737"/>
                <a:gd name="T91" fmla="*/ 154 h 531"/>
                <a:gd name="T92" fmla="*/ 285 w 737"/>
                <a:gd name="T93" fmla="*/ 141 h 531"/>
                <a:gd name="T94" fmla="*/ 308 w 737"/>
                <a:gd name="T95" fmla="*/ 144 h 531"/>
                <a:gd name="T96" fmla="*/ 341 w 737"/>
                <a:gd name="T97" fmla="*/ 164 h 531"/>
                <a:gd name="T98" fmla="*/ 360 w 737"/>
                <a:gd name="T99" fmla="*/ 208 h 531"/>
                <a:gd name="T100" fmla="*/ 364 w 737"/>
                <a:gd name="T101" fmla="*/ 239 h 531"/>
                <a:gd name="T102" fmla="*/ 408 w 737"/>
                <a:gd name="T103" fmla="*/ 252 h 531"/>
                <a:gd name="T104" fmla="*/ 437 w 737"/>
                <a:gd name="T105" fmla="*/ 269 h 531"/>
                <a:gd name="T106" fmla="*/ 456 w 737"/>
                <a:gd name="T107" fmla="*/ 267 h 531"/>
                <a:gd name="T108" fmla="*/ 481 w 737"/>
                <a:gd name="T109" fmla="*/ 275 h 531"/>
                <a:gd name="T110" fmla="*/ 500 w 737"/>
                <a:gd name="T111" fmla="*/ 296 h 531"/>
                <a:gd name="T112" fmla="*/ 579 w 737"/>
                <a:gd name="T113" fmla="*/ 312 h 531"/>
                <a:gd name="T114" fmla="*/ 610 w 737"/>
                <a:gd name="T115" fmla="*/ 287 h 531"/>
                <a:gd name="T116" fmla="*/ 629 w 737"/>
                <a:gd name="T117" fmla="*/ 321 h 531"/>
                <a:gd name="T118" fmla="*/ 654 w 737"/>
                <a:gd name="T119" fmla="*/ 321 h 531"/>
                <a:gd name="T120" fmla="*/ 679 w 737"/>
                <a:gd name="T121" fmla="*/ 333 h 531"/>
                <a:gd name="T122" fmla="*/ 702 w 737"/>
                <a:gd name="T123" fmla="*/ 35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37" h="531">
                  <a:moveTo>
                    <a:pt x="702" y="350"/>
                  </a:moveTo>
                  <a:lnTo>
                    <a:pt x="702" y="373"/>
                  </a:lnTo>
                  <a:lnTo>
                    <a:pt x="737" y="396"/>
                  </a:lnTo>
                  <a:lnTo>
                    <a:pt x="723" y="417"/>
                  </a:lnTo>
                  <a:lnTo>
                    <a:pt x="708" y="421"/>
                  </a:lnTo>
                  <a:lnTo>
                    <a:pt x="687" y="437"/>
                  </a:lnTo>
                  <a:lnTo>
                    <a:pt x="658" y="421"/>
                  </a:lnTo>
                  <a:lnTo>
                    <a:pt x="631" y="435"/>
                  </a:lnTo>
                  <a:lnTo>
                    <a:pt x="627" y="450"/>
                  </a:lnTo>
                  <a:lnTo>
                    <a:pt x="608" y="437"/>
                  </a:lnTo>
                  <a:lnTo>
                    <a:pt x="596" y="442"/>
                  </a:lnTo>
                  <a:lnTo>
                    <a:pt x="579" y="425"/>
                  </a:lnTo>
                  <a:lnTo>
                    <a:pt x="564" y="431"/>
                  </a:lnTo>
                  <a:lnTo>
                    <a:pt x="539" y="429"/>
                  </a:lnTo>
                  <a:lnTo>
                    <a:pt x="533" y="421"/>
                  </a:lnTo>
                  <a:lnTo>
                    <a:pt x="508" y="421"/>
                  </a:lnTo>
                  <a:lnTo>
                    <a:pt x="496" y="414"/>
                  </a:lnTo>
                  <a:lnTo>
                    <a:pt x="469" y="419"/>
                  </a:lnTo>
                  <a:lnTo>
                    <a:pt x="454" y="454"/>
                  </a:lnTo>
                  <a:lnTo>
                    <a:pt x="454" y="477"/>
                  </a:lnTo>
                  <a:lnTo>
                    <a:pt x="435" y="481"/>
                  </a:lnTo>
                  <a:lnTo>
                    <a:pt x="412" y="498"/>
                  </a:lnTo>
                  <a:lnTo>
                    <a:pt x="410" y="510"/>
                  </a:lnTo>
                  <a:lnTo>
                    <a:pt x="389" y="527"/>
                  </a:lnTo>
                  <a:lnTo>
                    <a:pt x="383" y="531"/>
                  </a:lnTo>
                  <a:lnTo>
                    <a:pt x="383" y="525"/>
                  </a:lnTo>
                  <a:lnTo>
                    <a:pt x="369" y="517"/>
                  </a:lnTo>
                  <a:lnTo>
                    <a:pt x="354" y="512"/>
                  </a:lnTo>
                  <a:lnTo>
                    <a:pt x="331" y="500"/>
                  </a:lnTo>
                  <a:lnTo>
                    <a:pt x="331" y="485"/>
                  </a:lnTo>
                  <a:lnTo>
                    <a:pt x="314" y="485"/>
                  </a:lnTo>
                  <a:lnTo>
                    <a:pt x="314" y="471"/>
                  </a:lnTo>
                  <a:lnTo>
                    <a:pt x="306" y="450"/>
                  </a:lnTo>
                  <a:lnTo>
                    <a:pt x="281" y="427"/>
                  </a:lnTo>
                  <a:lnTo>
                    <a:pt x="258" y="423"/>
                  </a:lnTo>
                  <a:lnTo>
                    <a:pt x="239" y="406"/>
                  </a:lnTo>
                  <a:lnTo>
                    <a:pt x="227" y="404"/>
                  </a:lnTo>
                  <a:lnTo>
                    <a:pt x="227" y="421"/>
                  </a:lnTo>
                  <a:lnTo>
                    <a:pt x="208" y="425"/>
                  </a:lnTo>
                  <a:lnTo>
                    <a:pt x="196" y="435"/>
                  </a:lnTo>
                  <a:lnTo>
                    <a:pt x="173" y="435"/>
                  </a:lnTo>
                  <a:lnTo>
                    <a:pt x="162" y="444"/>
                  </a:lnTo>
                  <a:lnTo>
                    <a:pt x="148" y="437"/>
                  </a:lnTo>
                  <a:lnTo>
                    <a:pt x="141" y="439"/>
                  </a:lnTo>
                  <a:lnTo>
                    <a:pt x="139" y="454"/>
                  </a:lnTo>
                  <a:lnTo>
                    <a:pt x="114" y="454"/>
                  </a:lnTo>
                  <a:lnTo>
                    <a:pt x="102" y="450"/>
                  </a:lnTo>
                  <a:lnTo>
                    <a:pt x="96" y="444"/>
                  </a:lnTo>
                  <a:lnTo>
                    <a:pt x="93" y="427"/>
                  </a:lnTo>
                  <a:lnTo>
                    <a:pt x="96" y="412"/>
                  </a:lnTo>
                  <a:lnTo>
                    <a:pt x="83" y="408"/>
                  </a:lnTo>
                  <a:lnTo>
                    <a:pt x="79" y="387"/>
                  </a:lnTo>
                  <a:lnTo>
                    <a:pt x="62" y="381"/>
                  </a:lnTo>
                  <a:lnTo>
                    <a:pt x="58" y="367"/>
                  </a:lnTo>
                  <a:lnTo>
                    <a:pt x="66" y="356"/>
                  </a:lnTo>
                  <a:lnTo>
                    <a:pt x="68" y="346"/>
                  </a:lnTo>
                  <a:lnTo>
                    <a:pt x="58" y="331"/>
                  </a:lnTo>
                  <a:lnTo>
                    <a:pt x="60" y="314"/>
                  </a:lnTo>
                  <a:lnTo>
                    <a:pt x="60" y="294"/>
                  </a:lnTo>
                  <a:lnTo>
                    <a:pt x="66" y="283"/>
                  </a:lnTo>
                  <a:lnTo>
                    <a:pt x="66" y="262"/>
                  </a:lnTo>
                  <a:lnTo>
                    <a:pt x="54" y="252"/>
                  </a:lnTo>
                  <a:lnTo>
                    <a:pt x="48" y="235"/>
                  </a:lnTo>
                  <a:lnTo>
                    <a:pt x="10" y="204"/>
                  </a:lnTo>
                  <a:lnTo>
                    <a:pt x="12" y="194"/>
                  </a:lnTo>
                  <a:lnTo>
                    <a:pt x="0" y="185"/>
                  </a:lnTo>
                  <a:lnTo>
                    <a:pt x="2" y="185"/>
                  </a:lnTo>
                  <a:lnTo>
                    <a:pt x="0" y="175"/>
                  </a:lnTo>
                  <a:lnTo>
                    <a:pt x="18" y="156"/>
                  </a:lnTo>
                  <a:lnTo>
                    <a:pt x="23" y="141"/>
                  </a:lnTo>
                  <a:lnTo>
                    <a:pt x="25" y="137"/>
                  </a:lnTo>
                  <a:lnTo>
                    <a:pt x="23" y="123"/>
                  </a:lnTo>
                  <a:lnTo>
                    <a:pt x="29" y="104"/>
                  </a:lnTo>
                  <a:lnTo>
                    <a:pt x="50" y="96"/>
                  </a:lnTo>
                  <a:lnTo>
                    <a:pt x="50" y="77"/>
                  </a:lnTo>
                  <a:lnTo>
                    <a:pt x="66" y="71"/>
                  </a:lnTo>
                  <a:lnTo>
                    <a:pt x="64" y="52"/>
                  </a:lnTo>
                  <a:lnTo>
                    <a:pt x="96" y="21"/>
                  </a:lnTo>
                  <a:lnTo>
                    <a:pt x="108" y="25"/>
                  </a:lnTo>
                  <a:lnTo>
                    <a:pt x="104" y="33"/>
                  </a:lnTo>
                  <a:lnTo>
                    <a:pt x="118" y="31"/>
                  </a:lnTo>
                  <a:lnTo>
                    <a:pt x="152" y="0"/>
                  </a:lnTo>
                  <a:lnTo>
                    <a:pt x="164" y="0"/>
                  </a:lnTo>
                  <a:lnTo>
                    <a:pt x="162" y="37"/>
                  </a:lnTo>
                  <a:lnTo>
                    <a:pt x="143" y="69"/>
                  </a:lnTo>
                  <a:lnTo>
                    <a:pt x="168" y="100"/>
                  </a:lnTo>
                  <a:lnTo>
                    <a:pt x="196" y="102"/>
                  </a:lnTo>
                  <a:lnTo>
                    <a:pt x="208" y="110"/>
                  </a:lnTo>
                  <a:lnTo>
                    <a:pt x="235" y="100"/>
                  </a:lnTo>
                  <a:lnTo>
                    <a:pt x="256" y="121"/>
                  </a:lnTo>
                  <a:lnTo>
                    <a:pt x="248" y="135"/>
                  </a:lnTo>
                  <a:lnTo>
                    <a:pt x="260" y="154"/>
                  </a:lnTo>
                  <a:lnTo>
                    <a:pt x="277" y="154"/>
                  </a:lnTo>
                  <a:lnTo>
                    <a:pt x="285" y="141"/>
                  </a:lnTo>
                  <a:lnTo>
                    <a:pt x="296" y="154"/>
                  </a:lnTo>
                  <a:lnTo>
                    <a:pt x="308" y="144"/>
                  </a:lnTo>
                  <a:lnTo>
                    <a:pt x="327" y="146"/>
                  </a:lnTo>
                  <a:lnTo>
                    <a:pt x="341" y="164"/>
                  </a:lnTo>
                  <a:lnTo>
                    <a:pt x="346" y="194"/>
                  </a:lnTo>
                  <a:lnTo>
                    <a:pt x="360" y="208"/>
                  </a:lnTo>
                  <a:lnTo>
                    <a:pt x="356" y="219"/>
                  </a:lnTo>
                  <a:lnTo>
                    <a:pt x="364" y="239"/>
                  </a:lnTo>
                  <a:lnTo>
                    <a:pt x="400" y="235"/>
                  </a:lnTo>
                  <a:lnTo>
                    <a:pt x="408" y="252"/>
                  </a:lnTo>
                  <a:lnTo>
                    <a:pt x="419" y="252"/>
                  </a:lnTo>
                  <a:lnTo>
                    <a:pt x="437" y="269"/>
                  </a:lnTo>
                  <a:lnTo>
                    <a:pt x="448" y="262"/>
                  </a:lnTo>
                  <a:lnTo>
                    <a:pt x="456" y="267"/>
                  </a:lnTo>
                  <a:lnTo>
                    <a:pt x="477" y="281"/>
                  </a:lnTo>
                  <a:lnTo>
                    <a:pt x="481" y="275"/>
                  </a:lnTo>
                  <a:lnTo>
                    <a:pt x="502" y="283"/>
                  </a:lnTo>
                  <a:lnTo>
                    <a:pt x="500" y="296"/>
                  </a:lnTo>
                  <a:lnTo>
                    <a:pt x="525" y="314"/>
                  </a:lnTo>
                  <a:lnTo>
                    <a:pt x="579" y="312"/>
                  </a:lnTo>
                  <a:lnTo>
                    <a:pt x="585" y="302"/>
                  </a:lnTo>
                  <a:lnTo>
                    <a:pt x="610" y="287"/>
                  </a:lnTo>
                  <a:lnTo>
                    <a:pt x="614" y="302"/>
                  </a:lnTo>
                  <a:lnTo>
                    <a:pt x="629" y="321"/>
                  </a:lnTo>
                  <a:lnTo>
                    <a:pt x="639" y="312"/>
                  </a:lnTo>
                  <a:lnTo>
                    <a:pt x="654" y="321"/>
                  </a:lnTo>
                  <a:lnTo>
                    <a:pt x="667" y="339"/>
                  </a:lnTo>
                  <a:lnTo>
                    <a:pt x="679" y="333"/>
                  </a:lnTo>
                  <a:lnTo>
                    <a:pt x="694" y="339"/>
                  </a:lnTo>
                  <a:lnTo>
                    <a:pt x="702" y="35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2496592" y="3073192"/>
            <a:ext cx="228968" cy="228968"/>
            <a:chOff x="2754560" y="2848323"/>
            <a:chExt cx="298302" cy="298302"/>
          </a:xfrm>
        </p:grpSpPr>
        <p:sp>
          <p:nvSpPr>
            <p:cNvPr id="94" name="Teardrop 93"/>
            <p:cNvSpPr/>
            <p:nvPr/>
          </p:nvSpPr>
          <p:spPr>
            <a:xfrm rot="7994273">
              <a:off x="2754560" y="2848323"/>
              <a:ext cx="298302" cy="298302"/>
            </a:xfrm>
            <a:prstGeom prst="teardrop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95" name="Oval 94"/>
            <p:cNvSpPr/>
            <p:nvPr/>
          </p:nvSpPr>
          <p:spPr>
            <a:xfrm>
              <a:off x="2789226" y="2882989"/>
              <a:ext cx="228969" cy="228969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1574076" y="3057711"/>
            <a:ext cx="228968" cy="228968"/>
            <a:chOff x="2059954" y="3207446"/>
            <a:chExt cx="298302" cy="298302"/>
          </a:xfrm>
        </p:grpSpPr>
        <p:sp>
          <p:nvSpPr>
            <p:cNvPr id="97" name="Teardrop 96"/>
            <p:cNvSpPr/>
            <p:nvPr/>
          </p:nvSpPr>
          <p:spPr>
            <a:xfrm rot="7994273">
              <a:off x="2059954" y="3207446"/>
              <a:ext cx="298302" cy="298302"/>
            </a:xfrm>
            <a:prstGeom prst="teardrop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98" name="Oval 97"/>
            <p:cNvSpPr/>
            <p:nvPr/>
          </p:nvSpPr>
          <p:spPr>
            <a:xfrm>
              <a:off x="2094620" y="3242112"/>
              <a:ext cx="228969" cy="228969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1121368" y="3394956"/>
            <a:ext cx="228968" cy="228968"/>
            <a:chOff x="1156851" y="3373785"/>
            <a:chExt cx="298302" cy="298302"/>
          </a:xfrm>
        </p:grpSpPr>
        <p:sp>
          <p:nvSpPr>
            <p:cNvPr id="100" name="Teardrop 99"/>
            <p:cNvSpPr/>
            <p:nvPr/>
          </p:nvSpPr>
          <p:spPr>
            <a:xfrm rot="7994273">
              <a:off x="1156851" y="3373785"/>
              <a:ext cx="298302" cy="298302"/>
            </a:xfrm>
            <a:prstGeom prst="teardrop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01" name="Oval 100"/>
            <p:cNvSpPr/>
            <p:nvPr/>
          </p:nvSpPr>
          <p:spPr>
            <a:xfrm>
              <a:off x="1191517" y="3408451"/>
              <a:ext cx="228969" cy="228969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7507567" y="1218795"/>
            <a:ext cx="228968" cy="228968"/>
            <a:chOff x="3227100" y="2552328"/>
            <a:chExt cx="298302" cy="298302"/>
          </a:xfrm>
        </p:grpSpPr>
        <p:sp>
          <p:nvSpPr>
            <p:cNvPr id="103" name="Teardrop 102"/>
            <p:cNvSpPr/>
            <p:nvPr/>
          </p:nvSpPr>
          <p:spPr>
            <a:xfrm rot="7994273">
              <a:off x="3227100" y="2552328"/>
              <a:ext cx="298302" cy="298302"/>
            </a:xfrm>
            <a:prstGeom prst="teardrop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04" name="Oval 103"/>
            <p:cNvSpPr/>
            <p:nvPr/>
          </p:nvSpPr>
          <p:spPr>
            <a:xfrm>
              <a:off x="3261766" y="2586994"/>
              <a:ext cx="228969" cy="228969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1378797" y="2494435"/>
            <a:ext cx="228968" cy="228968"/>
            <a:chOff x="1801722" y="4307903"/>
            <a:chExt cx="298302" cy="298302"/>
          </a:xfrm>
        </p:grpSpPr>
        <p:sp>
          <p:nvSpPr>
            <p:cNvPr id="106" name="Teardrop 105"/>
            <p:cNvSpPr/>
            <p:nvPr/>
          </p:nvSpPr>
          <p:spPr>
            <a:xfrm rot="7994273">
              <a:off x="1801722" y="4307903"/>
              <a:ext cx="298302" cy="298302"/>
            </a:xfrm>
            <a:prstGeom prst="teardrop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07" name="Oval 106"/>
            <p:cNvSpPr/>
            <p:nvPr/>
          </p:nvSpPr>
          <p:spPr>
            <a:xfrm>
              <a:off x="1836388" y="4342569"/>
              <a:ext cx="228969" cy="228969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654187" y="3606891"/>
            <a:ext cx="228968" cy="228968"/>
            <a:chOff x="619519" y="3572223"/>
            <a:chExt cx="298302" cy="298302"/>
          </a:xfrm>
        </p:grpSpPr>
        <p:sp>
          <p:nvSpPr>
            <p:cNvPr id="109" name="Teardrop 108"/>
            <p:cNvSpPr/>
            <p:nvPr/>
          </p:nvSpPr>
          <p:spPr>
            <a:xfrm rot="7994273">
              <a:off x="619519" y="3572223"/>
              <a:ext cx="298302" cy="298302"/>
            </a:xfrm>
            <a:prstGeom prst="teardrop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10" name="Oval 109"/>
            <p:cNvSpPr/>
            <p:nvPr/>
          </p:nvSpPr>
          <p:spPr>
            <a:xfrm>
              <a:off x="654185" y="3606889"/>
              <a:ext cx="228969" cy="228969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111" name="Group 110"/>
          <p:cNvGrpSpPr/>
          <p:nvPr/>
        </p:nvGrpSpPr>
        <p:grpSpPr>
          <a:xfrm>
            <a:off x="1928808" y="2548158"/>
            <a:ext cx="228968" cy="228968"/>
            <a:chOff x="2377454" y="2392932"/>
            <a:chExt cx="298302" cy="298302"/>
          </a:xfrm>
        </p:grpSpPr>
        <p:sp>
          <p:nvSpPr>
            <p:cNvPr id="112" name="Teardrop 111"/>
            <p:cNvSpPr/>
            <p:nvPr/>
          </p:nvSpPr>
          <p:spPr>
            <a:xfrm rot="7994273">
              <a:off x="2377454" y="2392932"/>
              <a:ext cx="298302" cy="298302"/>
            </a:xfrm>
            <a:prstGeom prst="teardrop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13" name="Oval 112"/>
            <p:cNvSpPr/>
            <p:nvPr/>
          </p:nvSpPr>
          <p:spPr>
            <a:xfrm>
              <a:off x="2412120" y="2427598"/>
              <a:ext cx="228969" cy="228969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114" name="Group 113"/>
          <p:cNvGrpSpPr/>
          <p:nvPr/>
        </p:nvGrpSpPr>
        <p:grpSpPr>
          <a:xfrm>
            <a:off x="1061403" y="2617951"/>
            <a:ext cx="228968" cy="228968"/>
            <a:chOff x="1470992" y="3834383"/>
            <a:chExt cx="298302" cy="298302"/>
          </a:xfrm>
        </p:grpSpPr>
        <p:sp>
          <p:nvSpPr>
            <p:cNvPr id="115" name="Teardrop 114"/>
            <p:cNvSpPr/>
            <p:nvPr/>
          </p:nvSpPr>
          <p:spPr>
            <a:xfrm rot="7994273">
              <a:off x="1470992" y="3834383"/>
              <a:ext cx="298302" cy="298302"/>
            </a:xfrm>
            <a:prstGeom prst="teardrop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16" name="Oval 115"/>
            <p:cNvSpPr/>
            <p:nvPr/>
          </p:nvSpPr>
          <p:spPr>
            <a:xfrm>
              <a:off x="1505658" y="3869049"/>
              <a:ext cx="228969" cy="228969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/>
            <a:r>
              <a:rPr lang="en-US" dirty="0" err="1"/>
              <a:t>Xxxxxx</a:t>
            </a:r>
            <a:r>
              <a:rPr lang="en-US" dirty="0"/>
              <a:t> </a:t>
            </a:r>
            <a:r>
              <a:rPr lang="en-US" dirty="0" err="1"/>
              <a:t>xxxxxxxxxxx</a:t>
            </a:r>
            <a:r>
              <a:rPr lang="en-US" dirty="0"/>
              <a:t> x </a:t>
            </a:r>
            <a:r>
              <a:rPr lang="en-US" dirty="0" err="1"/>
              <a:t>xxxxx</a:t>
            </a:r>
            <a:r>
              <a:rPr lang="en-US" dirty="0"/>
              <a:t> </a:t>
            </a:r>
            <a:r>
              <a:rPr lang="en-US" dirty="0" err="1"/>
              <a:t>xxxx</a:t>
            </a:r>
            <a:r>
              <a:rPr lang="en-US" dirty="0"/>
              <a:t> xxx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err="1"/>
              <a:t>Xxxxx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7451983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681480" y="293298"/>
            <a:ext cx="3242448" cy="4625386"/>
            <a:chOff x="1559" y="0"/>
            <a:chExt cx="2640" cy="4319"/>
          </a:xfrm>
          <a:solidFill>
            <a:schemeClr val="accent1"/>
          </a:solidFill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3298" y="4035"/>
              <a:ext cx="87" cy="63"/>
            </a:xfrm>
            <a:custGeom>
              <a:avLst/>
              <a:gdLst>
                <a:gd name="T0" fmla="*/ 54 w 57"/>
                <a:gd name="T1" fmla="*/ 15 h 41"/>
                <a:gd name="T2" fmla="*/ 56 w 57"/>
                <a:gd name="T3" fmla="*/ 4 h 41"/>
                <a:gd name="T4" fmla="*/ 50 w 57"/>
                <a:gd name="T5" fmla="*/ 2 h 41"/>
                <a:gd name="T6" fmla="*/ 43 w 57"/>
                <a:gd name="T7" fmla="*/ 3 h 41"/>
                <a:gd name="T8" fmla="*/ 43 w 57"/>
                <a:gd name="T9" fmla="*/ 3 h 41"/>
                <a:gd name="T10" fmla="*/ 40 w 57"/>
                <a:gd name="T11" fmla="*/ 3 h 41"/>
                <a:gd name="T12" fmla="*/ 38 w 57"/>
                <a:gd name="T13" fmla="*/ 3 h 41"/>
                <a:gd name="T14" fmla="*/ 36 w 57"/>
                <a:gd name="T15" fmla="*/ 2 h 41"/>
                <a:gd name="T16" fmla="*/ 29 w 57"/>
                <a:gd name="T17" fmla="*/ 2 h 41"/>
                <a:gd name="T18" fmla="*/ 26 w 57"/>
                <a:gd name="T19" fmla="*/ 6 h 41"/>
                <a:gd name="T20" fmla="*/ 24 w 57"/>
                <a:gd name="T21" fmla="*/ 5 h 41"/>
                <a:gd name="T22" fmla="*/ 20 w 57"/>
                <a:gd name="T23" fmla="*/ 3 h 41"/>
                <a:gd name="T24" fmla="*/ 19 w 57"/>
                <a:gd name="T25" fmla="*/ 2 h 41"/>
                <a:gd name="T26" fmla="*/ 14 w 57"/>
                <a:gd name="T27" fmla="*/ 1 h 41"/>
                <a:gd name="T28" fmla="*/ 11 w 57"/>
                <a:gd name="T29" fmla="*/ 3 h 41"/>
                <a:gd name="T30" fmla="*/ 20 w 57"/>
                <a:gd name="T31" fmla="*/ 12 h 41"/>
                <a:gd name="T32" fmla="*/ 14 w 57"/>
                <a:gd name="T33" fmla="*/ 14 h 41"/>
                <a:gd name="T34" fmla="*/ 14 w 57"/>
                <a:gd name="T35" fmla="*/ 20 h 41"/>
                <a:gd name="T36" fmla="*/ 18 w 57"/>
                <a:gd name="T37" fmla="*/ 20 h 41"/>
                <a:gd name="T38" fmla="*/ 21 w 57"/>
                <a:gd name="T39" fmla="*/ 21 h 41"/>
                <a:gd name="T40" fmla="*/ 23 w 57"/>
                <a:gd name="T41" fmla="*/ 22 h 41"/>
                <a:gd name="T42" fmla="*/ 20 w 57"/>
                <a:gd name="T43" fmla="*/ 23 h 41"/>
                <a:gd name="T44" fmla="*/ 17 w 57"/>
                <a:gd name="T45" fmla="*/ 24 h 41"/>
                <a:gd name="T46" fmla="*/ 14 w 57"/>
                <a:gd name="T47" fmla="*/ 24 h 41"/>
                <a:gd name="T48" fmla="*/ 12 w 57"/>
                <a:gd name="T49" fmla="*/ 19 h 41"/>
                <a:gd name="T50" fmla="*/ 10 w 57"/>
                <a:gd name="T51" fmla="*/ 16 h 41"/>
                <a:gd name="T52" fmla="*/ 7 w 57"/>
                <a:gd name="T53" fmla="*/ 18 h 41"/>
                <a:gd name="T54" fmla="*/ 6 w 57"/>
                <a:gd name="T55" fmla="*/ 17 h 41"/>
                <a:gd name="T56" fmla="*/ 1 w 57"/>
                <a:gd name="T57" fmla="*/ 24 h 41"/>
                <a:gd name="T58" fmla="*/ 6 w 57"/>
                <a:gd name="T59" fmla="*/ 27 h 41"/>
                <a:gd name="T60" fmla="*/ 15 w 57"/>
                <a:gd name="T61" fmla="*/ 34 h 41"/>
                <a:gd name="T62" fmla="*/ 21 w 57"/>
                <a:gd name="T63" fmla="*/ 38 h 41"/>
                <a:gd name="T64" fmla="*/ 23 w 57"/>
                <a:gd name="T65" fmla="*/ 39 h 41"/>
                <a:gd name="T66" fmla="*/ 26 w 57"/>
                <a:gd name="T67" fmla="*/ 41 h 41"/>
                <a:gd name="T68" fmla="*/ 31 w 57"/>
                <a:gd name="T69" fmla="*/ 37 h 41"/>
                <a:gd name="T70" fmla="*/ 32 w 57"/>
                <a:gd name="T71" fmla="*/ 36 h 41"/>
                <a:gd name="T72" fmla="*/ 37 w 57"/>
                <a:gd name="T73" fmla="*/ 30 h 41"/>
                <a:gd name="T74" fmla="*/ 39 w 57"/>
                <a:gd name="T75" fmla="*/ 29 h 41"/>
                <a:gd name="T76" fmla="*/ 44 w 57"/>
                <a:gd name="T77" fmla="*/ 29 h 41"/>
                <a:gd name="T78" fmla="*/ 49 w 57"/>
                <a:gd name="T79" fmla="*/ 21 h 41"/>
                <a:gd name="T80" fmla="*/ 53 w 57"/>
                <a:gd name="T81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7" h="41">
                  <a:moveTo>
                    <a:pt x="53" y="17"/>
                  </a:moveTo>
                  <a:cubicBezTo>
                    <a:pt x="54" y="15"/>
                    <a:pt x="54" y="15"/>
                    <a:pt x="54" y="15"/>
                  </a:cubicBezTo>
                  <a:cubicBezTo>
                    <a:pt x="54" y="14"/>
                    <a:pt x="54" y="12"/>
                    <a:pt x="55" y="11"/>
                  </a:cubicBezTo>
                  <a:cubicBezTo>
                    <a:pt x="56" y="8"/>
                    <a:pt x="57" y="6"/>
                    <a:pt x="56" y="4"/>
                  </a:cubicBezTo>
                  <a:cubicBezTo>
                    <a:pt x="54" y="2"/>
                    <a:pt x="52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2"/>
                    <a:pt x="47" y="2"/>
                    <a:pt x="46" y="3"/>
                  </a:cubicBezTo>
                  <a:cubicBezTo>
                    <a:pt x="45" y="3"/>
                    <a:pt x="44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2" y="3"/>
                    <a:pt x="42" y="3"/>
                    <a:pt x="41" y="3"/>
                  </a:cubicBezTo>
                  <a:cubicBezTo>
                    <a:pt x="41" y="3"/>
                    <a:pt x="40" y="3"/>
                    <a:pt x="40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7" y="2"/>
                    <a:pt x="36" y="2"/>
                    <a:pt x="36" y="2"/>
                  </a:cubicBezTo>
                  <a:cubicBezTo>
                    <a:pt x="35" y="2"/>
                    <a:pt x="34" y="1"/>
                    <a:pt x="33" y="1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3"/>
                    <a:pt x="27" y="4"/>
                    <a:pt x="27" y="5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6"/>
                    <a:pt x="25" y="6"/>
                    <a:pt x="24" y="5"/>
                  </a:cubicBezTo>
                  <a:cubicBezTo>
                    <a:pt x="23" y="5"/>
                    <a:pt x="23" y="4"/>
                    <a:pt x="22" y="4"/>
                  </a:cubicBezTo>
                  <a:cubicBezTo>
                    <a:pt x="21" y="4"/>
                    <a:pt x="21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19" y="2"/>
                  </a:cubicBezTo>
                  <a:cubicBezTo>
                    <a:pt x="18" y="1"/>
                    <a:pt x="16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8"/>
                    <a:pt x="16" y="10"/>
                    <a:pt x="20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19" y="12"/>
                    <a:pt x="19" y="12"/>
                    <a:pt x="18" y="12"/>
                  </a:cubicBezTo>
                  <a:cubicBezTo>
                    <a:pt x="17" y="12"/>
                    <a:pt x="15" y="12"/>
                    <a:pt x="14" y="14"/>
                  </a:cubicBezTo>
                  <a:cubicBezTo>
                    <a:pt x="13" y="15"/>
                    <a:pt x="12" y="16"/>
                    <a:pt x="13" y="18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7" y="20"/>
                    <a:pt x="18" y="20"/>
                  </a:cubicBezTo>
                  <a:cubicBezTo>
                    <a:pt x="18" y="20"/>
                    <a:pt x="19" y="20"/>
                    <a:pt x="19" y="21"/>
                  </a:cubicBezTo>
                  <a:cubicBezTo>
                    <a:pt x="20" y="21"/>
                    <a:pt x="21" y="21"/>
                    <a:pt x="21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1"/>
                    <a:pt x="23" y="21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3"/>
                    <a:pt x="21" y="23"/>
                    <a:pt x="20" y="23"/>
                  </a:cubicBezTo>
                  <a:cubicBezTo>
                    <a:pt x="19" y="23"/>
                    <a:pt x="18" y="24"/>
                    <a:pt x="18" y="24"/>
                  </a:cubicBezTo>
                  <a:cubicBezTo>
                    <a:pt x="18" y="24"/>
                    <a:pt x="17" y="24"/>
                    <a:pt x="17" y="24"/>
                  </a:cubicBezTo>
                  <a:cubicBezTo>
                    <a:pt x="16" y="24"/>
                    <a:pt x="15" y="24"/>
                    <a:pt x="14" y="25"/>
                  </a:cubicBezTo>
                  <a:cubicBezTo>
                    <a:pt x="14" y="25"/>
                    <a:pt x="14" y="24"/>
                    <a:pt x="14" y="24"/>
                  </a:cubicBezTo>
                  <a:cubicBezTo>
                    <a:pt x="15" y="22"/>
                    <a:pt x="14" y="21"/>
                    <a:pt x="13" y="20"/>
                  </a:cubicBezTo>
                  <a:cubicBezTo>
                    <a:pt x="13" y="19"/>
                    <a:pt x="12" y="19"/>
                    <a:pt x="12" y="19"/>
                  </a:cubicBezTo>
                  <a:cubicBezTo>
                    <a:pt x="12" y="19"/>
                    <a:pt x="12" y="19"/>
                    <a:pt x="12" y="18"/>
                  </a:cubicBezTo>
                  <a:cubicBezTo>
                    <a:pt x="12" y="17"/>
                    <a:pt x="10" y="16"/>
                    <a:pt x="10" y="16"/>
                  </a:cubicBezTo>
                  <a:cubicBezTo>
                    <a:pt x="9" y="16"/>
                    <a:pt x="8" y="17"/>
                    <a:pt x="7" y="17"/>
                  </a:cubicBezTo>
                  <a:cubicBezTo>
                    <a:pt x="7" y="17"/>
                    <a:pt x="7" y="17"/>
                    <a:pt x="7" y="18"/>
                  </a:cubicBezTo>
                  <a:cubicBezTo>
                    <a:pt x="6" y="18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4" y="18"/>
                    <a:pt x="3" y="19"/>
                    <a:pt x="2" y="19"/>
                  </a:cubicBezTo>
                  <a:cubicBezTo>
                    <a:pt x="1" y="21"/>
                    <a:pt x="0" y="23"/>
                    <a:pt x="1" y="24"/>
                  </a:cubicBezTo>
                  <a:cubicBezTo>
                    <a:pt x="1" y="26"/>
                    <a:pt x="3" y="27"/>
                    <a:pt x="5" y="27"/>
                  </a:cubicBezTo>
                  <a:cubicBezTo>
                    <a:pt x="5" y="27"/>
                    <a:pt x="6" y="27"/>
                    <a:pt x="6" y="27"/>
                  </a:cubicBezTo>
                  <a:cubicBezTo>
                    <a:pt x="6" y="28"/>
                    <a:pt x="6" y="29"/>
                    <a:pt x="7" y="30"/>
                  </a:cubicBezTo>
                  <a:cubicBezTo>
                    <a:pt x="8" y="32"/>
                    <a:pt x="13" y="34"/>
                    <a:pt x="15" y="34"/>
                  </a:cubicBezTo>
                  <a:cubicBezTo>
                    <a:pt x="15" y="35"/>
                    <a:pt x="16" y="35"/>
                    <a:pt x="17" y="36"/>
                  </a:cubicBezTo>
                  <a:cubicBezTo>
                    <a:pt x="18" y="37"/>
                    <a:pt x="19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2" y="39"/>
                    <a:pt x="22" y="39"/>
                    <a:pt x="23" y="39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4" y="40"/>
                    <a:pt x="25" y="41"/>
                    <a:pt x="26" y="41"/>
                  </a:cubicBezTo>
                  <a:cubicBezTo>
                    <a:pt x="27" y="41"/>
                    <a:pt x="28" y="41"/>
                    <a:pt x="30" y="40"/>
                  </a:cubicBezTo>
                  <a:cubicBezTo>
                    <a:pt x="30" y="39"/>
                    <a:pt x="31" y="38"/>
                    <a:pt x="31" y="37"/>
                  </a:cubicBezTo>
                  <a:cubicBezTo>
                    <a:pt x="31" y="37"/>
                    <a:pt x="31" y="36"/>
                    <a:pt x="31" y="36"/>
                  </a:cubicBezTo>
                  <a:cubicBezTo>
                    <a:pt x="31" y="36"/>
                    <a:pt x="32" y="36"/>
                    <a:pt x="32" y="36"/>
                  </a:cubicBezTo>
                  <a:cubicBezTo>
                    <a:pt x="33" y="35"/>
                    <a:pt x="34" y="35"/>
                    <a:pt x="35" y="34"/>
                  </a:cubicBezTo>
                  <a:cubicBezTo>
                    <a:pt x="36" y="32"/>
                    <a:pt x="36" y="31"/>
                    <a:pt x="37" y="30"/>
                  </a:cubicBezTo>
                  <a:cubicBezTo>
                    <a:pt x="37" y="28"/>
                    <a:pt x="37" y="28"/>
                    <a:pt x="38" y="28"/>
                  </a:cubicBezTo>
                  <a:cubicBezTo>
                    <a:pt x="38" y="28"/>
                    <a:pt x="39" y="28"/>
                    <a:pt x="39" y="29"/>
                  </a:cubicBezTo>
                  <a:cubicBezTo>
                    <a:pt x="40" y="29"/>
                    <a:pt x="41" y="29"/>
                    <a:pt x="42" y="29"/>
                  </a:cubicBezTo>
                  <a:cubicBezTo>
                    <a:pt x="43" y="29"/>
                    <a:pt x="43" y="29"/>
                    <a:pt x="44" y="29"/>
                  </a:cubicBezTo>
                  <a:cubicBezTo>
                    <a:pt x="46" y="28"/>
                    <a:pt x="47" y="25"/>
                    <a:pt x="48" y="23"/>
                  </a:cubicBezTo>
                  <a:cubicBezTo>
                    <a:pt x="48" y="23"/>
                    <a:pt x="48" y="22"/>
                    <a:pt x="49" y="21"/>
                  </a:cubicBezTo>
                  <a:cubicBezTo>
                    <a:pt x="49" y="18"/>
                    <a:pt x="50" y="17"/>
                    <a:pt x="51" y="17"/>
                  </a:cubicBezTo>
                  <a:lnTo>
                    <a:pt x="53" y="17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3376" y="4032"/>
              <a:ext cx="89" cy="69"/>
            </a:xfrm>
            <a:custGeom>
              <a:avLst/>
              <a:gdLst>
                <a:gd name="T0" fmla="*/ 54 w 58"/>
                <a:gd name="T1" fmla="*/ 12 h 45"/>
                <a:gd name="T2" fmla="*/ 46 w 58"/>
                <a:gd name="T3" fmla="*/ 2 h 45"/>
                <a:gd name="T4" fmla="*/ 40 w 58"/>
                <a:gd name="T5" fmla="*/ 4 h 45"/>
                <a:gd name="T6" fmla="*/ 39 w 58"/>
                <a:gd name="T7" fmla="*/ 4 h 45"/>
                <a:gd name="T8" fmla="*/ 34 w 58"/>
                <a:gd name="T9" fmla="*/ 4 h 45"/>
                <a:gd name="T10" fmla="*/ 30 w 58"/>
                <a:gd name="T11" fmla="*/ 2 h 45"/>
                <a:gd name="T12" fmla="*/ 28 w 58"/>
                <a:gd name="T13" fmla="*/ 1 h 45"/>
                <a:gd name="T14" fmla="*/ 24 w 58"/>
                <a:gd name="T15" fmla="*/ 1 h 45"/>
                <a:gd name="T16" fmla="*/ 22 w 58"/>
                <a:gd name="T17" fmla="*/ 1 h 45"/>
                <a:gd name="T18" fmla="*/ 19 w 58"/>
                <a:gd name="T19" fmla="*/ 2 h 45"/>
                <a:gd name="T20" fmla="*/ 16 w 58"/>
                <a:gd name="T21" fmla="*/ 1 h 45"/>
                <a:gd name="T22" fmla="*/ 10 w 58"/>
                <a:gd name="T23" fmla="*/ 4 h 45"/>
                <a:gd name="T24" fmla="*/ 7 w 58"/>
                <a:gd name="T25" fmla="*/ 5 h 45"/>
                <a:gd name="T26" fmla="*/ 8 w 58"/>
                <a:gd name="T27" fmla="*/ 10 h 45"/>
                <a:gd name="T28" fmla="*/ 10 w 58"/>
                <a:gd name="T29" fmla="*/ 15 h 45"/>
                <a:gd name="T30" fmla="*/ 10 w 58"/>
                <a:gd name="T31" fmla="*/ 15 h 45"/>
                <a:gd name="T32" fmla="*/ 5 w 58"/>
                <a:gd name="T33" fmla="*/ 20 h 45"/>
                <a:gd name="T34" fmla="*/ 4 w 58"/>
                <a:gd name="T35" fmla="*/ 22 h 45"/>
                <a:gd name="T36" fmla="*/ 1 w 58"/>
                <a:gd name="T37" fmla="*/ 24 h 45"/>
                <a:gd name="T38" fmla="*/ 0 w 58"/>
                <a:gd name="T39" fmla="*/ 26 h 45"/>
                <a:gd name="T40" fmla="*/ 0 w 58"/>
                <a:gd name="T41" fmla="*/ 33 h 45"/>
                <a:gd name="T42" fmla="*/ 3 w 58"/>
                <a:gd name="T43" fmla="*/ 39 h 45"/>
                <a:gd name="T44" fmla="*/ 9 w 58"/>
                <a:gd name="T45" fmla="*/ 43 h 45"/>
                <a:gd name="T46" fmla="*/ 15 w 58"/>
                <a:gd name="T47" fmla="*/ 45 h 45"/>
                <a:gd name="T48" fmla="*/ 18 w 58"/>
                <a:gd name="T49" fmla="*/ 40 h 45"/>
                <a:gd name="T50" fmla="*/ 21 w 58"/>
                <a:gd name="T51" fmla="*/ 40 h 45"/>
                <a:gd name="T52" fmla="*/ 24 w 58"/>
                <a:gd name="T53" fmla="*/ 37 h 45"/>
                <a:gd name="T54" fmla="*/ 28 w 58"/>
                <a:gd name="T55" fmla="*/ 35 h 45"/>
                <a:gd name="T56" fmla="*/ 28 w 58"/>
                <a:gd name="T57" fmla="*/ 34 h 45"/>
                <a:gd name="T58" fmla="*/ 30 w 58"/>
                <a:gd name="T59" fmla="*/ 34 h 45"/>
                <a:gd name="T60" fmla="*/ 35 w 58"/>
                <a:gd name="T61" fmla="*/ 36 h 45"/>
                <a:gd name="T62" fmla="*/ 37 w 58"/>
                <a:gd name="T63" fmla="*/ 33 h 45"/>
                <a:gd name="T64" fmla="*/ 37 w 58"/>
                <a:gd name="T65" fmla="*/ 28 h 45"/>
                <a:gd name="T66" fmla="*/ 44 w 58"/>
                <a:gd name="T67" fmla="*/ 24 h 45"/>
                <a:gd name="T68" fmla="*/ 50 w 58"/>
                <a:gd name="T69" fmla="*/ 23 h 45"/>
                <a:gd name="T70" fmla="*/ 57 w 58"/>
                <a:gd name="T71" fmla="*/ 1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8" h="45">
                  <a:moveTo>
                    <a:pt x="55" y="13"/>
                  </a:moveTo>
                  <a:cubicBezTo>
                    <a:pt x="55" y="13"/>
                    <a:pt x="54" y="13"/>
                    <a:pt x="54" y="12"/>
                  </a:cubicBezTo>
                  <a:cubicBezTo>
                    <a:pt x="53" y="10"/>
                    <a:pt x="52" y="8"/>
                    <a:pt x="51" y="6"/>
                  </a:cubicBezTo>
                  <a:cubicBezTo>
                    <a:pt x="50" y="5"/>
                    <a:pt x="48" y="3"/>
                    <a:pt x="46" y="2"/>
                  </a:cubicBezTo>
                  <a:cubicBezTo>
                    <a:pt x="45" y="2"/>
                    <a:pt x="44" y="2"/>
                    <a:pt x="44" y="2"/>
                  </a:cubicBezTo>
                  <a:cubicBezTo>
                    <a:pt x="42" y="2"/>
                    <a:pt x="41" y="3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8" y="4"/>
                    <a:pt x="37" y="3"/>
                    <a:pt x="36" y="3"/>
                  </a:cubicBezTo>
                  <a:cubicBezTo>
                    <a:pt x="35" y="3"/>
                    <a:pt x="34" y="4"/>
                    <a:pt x="34" y="4"/>
                  </a:cubicBezTo>
                  <a:cubicBezTo>
                    <a:pt x="34" y="4"/>
                    <a:pt x="33" y="3"/>
                    <a:pt x="33" y="3"/>
                  </a:cubicBezTo>
                  <a:cubicBezTo>
                    <a:pt x="33" y="2"/>
                    <a:pt x="31" y="2"/>
                    <a:pt x="30" y="2"/>
                  </a:cubicBezTo>
                  <a:cubicBezTo>
                    <a:pt x="30" y="2"/>
                    <a:pt x="29" y="2"/>
                    <a:pt x="29" y="2"/>
                  </a:cubicBezTo>
                  <a:cubicBezTo>
                    <a:pt x="29" y="2"/>
                    <a:pt x="28" y="1"/>
                    <a:pt x="28" y="1"/>
                  </a:cubicBezTo>
                  <a:cubicBezTo>
                    <a:pt x="27" y="0"/>
                    <a:pt x="26" y="0"/>
                    <a:pt x="26" y="0"/>
                  </a:cubicBezTo>
                  <a:cubicBezTo>
                    <a:pt x="25" y="0"/>
                    <a:pt x="24" y="1"/>
                    <a:pt x="24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1"/>
                    <a:pt x="20" y="1"/>
                    <a:pt x="20" y="2"/>
                  </a:cubicBezTo>
                  <a:cubicBezTo>
                    <a:pt x="20" y="2"/>
                    <a:pt x="19" y="2"/>
                    <a:pt x="19" y="2"/>
                  </a:cubicBezTo>
                  <a:cubicBezTo>
                    <a:pt x="19" y="1"/>
                    <a:pt x="19" y="1"/>
                    <a:pt x="18" y="1"/>
                  </a:cubicBezTo>
                  <a:cubicBezTo>
                    <a:pt x="17" y="1"/>
                    <a:pt x="17" y="1"/>
                    <a:pt x="16" y="1"/>
                  </a:cubicBezTo>
                  <a:cubicBezTo>
                    <a:pt x="16" y="1"/>
                    <a:pt x="15" y="1"/>
                    <a:pt x="14" y="1"/>
                  </a:cubicBezTo>
                  <a:cubicBezTo>
                    <a:pt x="12" y="2"/>
                    <a:pt x="11" y="3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8" y="4"/>
                    <a:pt x="7" y="5"/>
                  </a:cubicBezTo>
                  <a:cubicBezTo>
                    <a:pt x="7" y="5"/>
                    <a:pt x="5" y="7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1"/>
                    <a:pt x="8" y="13"/>
                    <a:pt x="10" y="14"/>
                  </a:cubicBezTo>
                  <a:cubicBezTo>
                    <a:pt x="10" y="14"/>
                    <a:pt x="10" y="14"/>
                    <a:pt x="10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0" y="15"/>
                    <a:pt x="10" y="15"/>
                  </a:cubicBezTo>
                  <a:cubicBezTo>
                    <a:pt x="9" y="16"/>
                    <a:pt x="8" y="16"/>
                    <a:pt x="7" y="17"/>
                  </a:cubicBezTo>
                  <a:cubicBezTo>
                    <a:pt x="7" y="18"/>
                    <a:pt x="6" y="19"/>
                    <a:pt x="5" y="20"/>
                  </a:cubicBezTo>
                  <a:cubicBezTo>
                    <a:pt x="5" y="20"/>
                    <a:pt x="5" y="21"/>
                    <a:pt x="4" y="21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2"/>
                    <a:pt x="3" y="23"/>
                    <a:pt x="2" y="23"/>
                  </a:cubicBezTo>
                  <a:cubicBezTo>
                    <a:pt x="2" y="24"/>
                    <a:pt x="2" y="24"/>
                    <a:pt x="1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8"/>
                    <a:pt x="0" y="29"/>
                    <a:pt x="0" y="30"/>
                  </a:cubicBezTo>
                  <a:cubicBezTo>
                    <a:pt x="0" y="31"/>
                    <a:pt x="0" y="32"/>
                    <a:pt x="0" y="33"/>
                  </a:cubicBezTo>
                  <a:cubicBezTo>
                    <a:pt x="0" y="36"/>
                    <a:pt x="1" y="37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6" y="41"/>
                    <a:pt x="7" y="42"/>
                    <a:pt x="9" y="43"/>
                  </a:cubicBezTo>
                  <a:cubicBezTo>
                    <a:pt x="9" y="43"/>
                    <a:pt x="9" y="43"/>
                    <a:pt x="10" y="43"/>
                  </a:cubicBezTo>
                  <a:cubicBezTo>
                    <a:pt x="12" y="44"/>
                    <a:pt x="13" y="45"/>
                    <a:pt x="15" y="45"/>
                  </a:cubicBezTo>
                  <a:cubicBezTo>
                    <a:pt x="17" y="45"/>
                    <a:pt x="17" y="44"/>
                    <a:pt x="18" y="44"/>
                  </a:cubicBezTo>
                  <a:cubicBezTo>
                    <a:pt x="19" y="43"/>
                    <a:pt x="19" y="42"/>
                    <a:pt x="18" y="40"/>
                  </a:cubicBezTo>
                  <a:cubicBezTo>
                    <a:pt x="18" y="40"/>
                    <a:pt x="18" y="40"/>
                    <a:pt x="18" y="39"/>
                  </a:cubicBezTo>
                  <a:cubicBezTo>
                    <a:pt x="19" y="40"/>
                    <a:pt x="20" y="40"/>
                    <a:pt x="21" y="40"/>
                  </a:cubicBezTo>
                  <a:cubicBezTo>
                    <a:pt x="22" y="40"/>
                    <a:pt x="23" y="39"/>
                    <a:pt x="24" y="38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7"/>
                    <a:pt x="27" y="37"/>
                    <a:pt x="28" y="35"/>
                  </a:cubicBezTo>
                  <a:cubicBezTo>
                    <a:pt x="28" y="35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30" y="34"/>
                    <a:pt x="30" y="34"/>
                  </a:cubicBezTo>
                  <a:cubicBezTo>
                    <a:pt x="31" y="35"/>
                    <a:pt x="32" y="36"/>
                    <a:pt x="34" y="36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1"/>
                    <a:pt x="36" y="30"/>
                    <a:pt x="34" y="29"/>
                  </a:cubicBezTo>
                  <a:cubicBezTo>
                    <a:pt x="35" y="28"/>
                    <a:pt x="36" y="28"/>
                    <a:pt x="37" y="28"/>
                  </a:cubicBezTo>
                  <a:cubicBezTo>
                    <a:pt x="39" y="28"/>
                    <a:pt x="40" y="27"/>
                    <a:pt x="42" y="26"/>
                  </a:cubicBezTo>
                  <a:cubicBezTo>
                    <a:pt x="42" y="25"/>
                    <a:pt x="43" y="25"/>
                    <a:pt x="44" y="24"/>
                  </a:cubicBezTo>
                  <a:cubicBezTo>
                    <a:pt x="45" y="24"/>
                    <a:pt x="48" y="23"/>
                    <a:pt x="49" y="23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0" y="23"/>
                    <a:pt x="51" y="23"/>
                    <a:pt x="51" y="23"/>
                  </a:cubicBezTo>
                  <a:cubicBezTo>
                    <a:pt x="53" y="23"/>
                    <a:pt x="56" y="23"/>
                    <a:pt x="57" y="19"/>
                  </a:cubicBezTo>
                  <a:cubicBezTo>
                    <a:pt x="58" y="16"/>
                    <a:pt x="56" y="14"/>
                    <a:pt x="55" y="13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1559" y="539"/>
              <a:ext cx="19" cy="19"/>
            </a:xfrm>
            <a:custGeom>
              <a:avLst/>
              <a:gdLst>
                <a:gd name="T0" fmla="*/ 9 w 12"/>
                <a:gd name="T1" fmla="*/ 1 h 12"/>
                <a:gd name="T2" fmla="*/ 6 w 12"/>
                <a:gd name="T3" fmla="*/ 0 h 12"/>
                <a:gd name="T4" fmla="*/ 1 w 12"/>
                <a:gd name="T5" fmla="*/ 4 h 12"/>
                <a:gd name="T6" fmla="*/ 2 w 12"/>
                <a:gd name="T7" fmla="*/ 10 h 12"/>
                <a:gd name="T8" fmla="*/ 6 w 12"/>
                <a:gd name="T9" fmla="*/ 12 h 12"/>
                <a:gd name="T10" fmla="*/ 12 w 12"/>
                <a:gd name="T11" fmla="*/ 7 h 12"/>
                <a:gd name="T12" fmla="*/ 9 w 12"/>
                <a:gd name="T1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9" y="1"/>
                  </a:moveTo>
                  <a:cubicBezTo>
                    <a:pt x="8" y="0"/>
                    <a:pt x="7" y="0"/>
                    <a:pt x="6" y="0"/>
                  </a:cubicBezTo>
                  <a:cubicBezTo>
                    <a:pt x="4" y="0"/>
                    <a:pt x="2" y="2"/>
                    <a:pt x="1" y="4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4" y="11"/>
                    <a:pt x="5" y="12"/>
                    <a:pt x="6" y="12"/>
                  </a:cubicBezTo>
                  <a:cubicBezTo>
                    <a:pt x="9" y="12"/>
                    <a:pt x="11" y="10"/>
                    <a:pt x="12" y="7"/>
                  </a:cubicBezTo>
                  <a:cubicBezTo>
                    <a:pt x="12" y="5"/>
                    <a:pt x="11" y="2"/>
                    <a:pt x="9" y="1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1713" y="11"/>
              <a:ext cx="683" cy="1060"/>
            </a:xfrm>
            <a:custGeom>
              <a:avLst/>
              <a:gdLst>
                <a:gd name="T0" fmla="*/ 439 w 446"/>
                <a:gd name="T1" fmla="*/ 439 h 692"/>
                <a:gd name="T2" fmla="*/ 429 w 446"/>
                <a:gd name="T3" fmla="*/ 413 h 692"/>
                <a:gd name="T4" fmla="*/ 421 w 446"/>
                <a:gd name="T5" fmla="*/ 389 h 692"/>
                <a:gd name="T6" fmla="*/ 413 w 446"/>
                <a:gd name="T7" fmla="*/ 313 h 692"/>
                <a:gd name="T8" fmla="*/ 427 w 446"/>
                <a:gd name="T9" fmla="*/ 261 h 692"/>
                <a:gd name="T10" fmla="*/ 384 w 446"/>
                <a:gd name="T11" fmla="*/ 263 h 692"/>
                <a:gd name="T12" fmla="*/ 347 w 446"/>
                <a:gd name="T13" fmla="*/ 249 h 692"/>
                <a:gd name="T14" fmla="*/ 316 w 446"/>
                <a:gd name="T15" fmla="*/ 223 h 692"/>
                <a:gd name="T16" fmla="*/ 268 w 446"/>
                <a:gd name="T17" fmla="*/ 226 h 692"/>
                <a:gd name="T18" fmla="*/ 251 w 446"/>
                <a:gd name="T19" fmla="*/ 171 h 692"/>
                <a:gd name="T20" fmla="*/ 238 w 446"/>
                <a:gd name="T21" fmla="*/ 143 h 692"/>
                <a:gd name="T22" fmla="*/ 228 w 446"/>
                <a:gd name="T23" fmla="*/ 124 h 692"/>
                <a:gd name="T24" fmla="*/ 264 w 446"/>
                <a:gd name="T25" fmla="*/ 50 h 692"/>
                <a:gd name="T26" fmla="*/ 307 w 446"/>
                <a:gd name="T27" fmla="*/ 22 h 692"/>
                <a:gd name="T28" fmla="*/ 294 w 446"/>
                <a:gd name="T29" fmla="*/ 0 h 692"/>
                <a:gd name="T30" fmla="*/ 272 w 446"/>
                <a:gd name="T31" fmla="*/ 7 h 692"/>
                <a:gd name="T32" fmla="*/ 244 w 446"/>
                <a:gd name="T33" fmla="*/ 34 h 692"/>
                <a:gd name="T34" fmla="*/ 207 w 446"/>
                <a:gd name="T35" fmla="*/ 48 h 692"/>
                <a:gd name="T36" fmla="*/ 184 w 446"/>
                <a:gd name="T37" fmla="*/ 69 h 692"/>
                <a:gd name="T38" fmla="*/ 157 w 446"/>
                <a:gd name="T39" fmla="*/ 66 h 692"/>
                <a:gd name="T40" fmla="*/ 137 w 446"/>
                <a:gd name="T41" fmla="*/ 118 h 692"/>
                <a:gd name="T42" fmla="*/ 124 w 446"/>
                <a:gd name="T43" fmla="*/ 126 h 692"/>
                <a:gd name="T44" fmla="*/ 91 w 446"/>
                <a:gd name="T45" fmla="*/ 159 h 692"/>
                <a:gd name="T46" fmla="*/ 91 w 446"/>
                <a:gd name="T47" fmla="*/ 184 h 692"/>
                <a:gd name="T48" fmla="*/ 71 w 446"/>
                <a:gd name="T49" fmla="*/ 161 h 692"/>
                <a:gd name="T50" fmla="*/ 73 w 446"/>
                <a:gd name="T51" fmla="*/ 195 h 692"/>
                <a:gd name="T52" fmla="*/ 58 w 446"/>
                <a:gd name="T53" fmla="*/ 201 h 692"/>
                <a:gd name="T54" fmla="*/ 51 w 446"/>
                <a:gd name="T55" fmla="*/ 221 h 692"/>
                <a:gd name="T56" fmla="*/ 64 w 446"/>
                <a:gd name="T57" fmla="*/ 253 h 692"/>
                <a:gd name="T58" fmla="*/ 60 w 446"/>
                <a:gd name="T59" fmla="*/ 290 h 692"/>
                <a:gd name="T60" fmla="*/ 64 w 446"/>
                <a:gd name="T61" fmla="*/ 340 h 692"/>
                <a:gd name="T62" fmla="*/ 71 w 446"/>
                <a:gd name="T63" fmla="*/ 360 h 692"/>
                <a:gd name="T64" fmla="*/ 47 w 446"/>
                <a:gd name="T65" fmla="*/ 407 h 692"/>
                <a:gd name="T66" fmla="*/ 15 w 446"/>
                <a:gd name="T67" fmla="*/ 426 h 692"/>
                <a:gd name="T68" fmla="*/ 0 w 446"/>
                <a:gd name="T69" fmla="*/ 450 h 692"/>
                <a:gd name="T70" fmla="*/ 16 w 446"/>
                <a:gd name="T71" fmla="*/ 462 h 692"/>
                <a:gd name="T72" fmla="*/ 32 w 446"/>
                <a:gd name="T73" fmla="*/ 473 h 692"/>
                <a:gd name="T74" fmla="*/ 53 w 446"/>
                <a:gd name="T75" fmla="*/ 484 h 692"/>
                <a:gd name="T76" fmla="*/ 93 w 446"/>
                <a:gd name="T77" fmla="*/ 507 h 692"/>
                <a:gd name="T78" fmla="*/ 116 w 446"/>
                <a:gd name="T79" fmla="*/ 507 h 692"/>
                <a:gd name="T80" fmla="*/ 142 w 446"/>
                <a:gd name="T81" fmla="*/ 520 h 692"/>
                <a:gd name="T82" fmla="*/ 164 w 446"/>
                <a:gd name="T83" fmla="*/ 531 h 692"/>
                <a:gd name="T84" fmla="*/ 177 w 446"/>
                <a:gd name="T85" fmla="*/ 556 h 692"/>
                <a:gd name="T86" fmla="*/ 201 w 446"/>
                <a:gd name="T87" fmla="*/ 572 h 692"/>
                <a:gd name="T88" fmla="*/ 217 w 446"/>
                <a:gd name="T89" fmla="*/ 592 h 692"/>
                <a:gd name="T90" fmla="*/ 246 w 446"/>
                <a:gd name="T91" fmla="*/ 616 h 692"/>
                <a:gd name="T92" fmla="*/ 280 w 446"/>
                <a:gd name="T93" fmla="*/ 610 h 692"/>
                <a:gd name="T94" fmla="*/ 295 w 446"/>
                <a:gd name="T95" fmla="*/ 611 h 692"/>
                <a:gd name="T96" fmla="*/ 329 w 446"/>
                <a:gd name="T97" fmla="*/ 636 h 692"/>
                <a:gd name="T98" fmla="*/ 316 w 446"/>
                <a:gd name="T99" fmla="*/ 676 h 692"/>
                <a:gd name="T100" fmla="*/ 343 w 446"/>
                <a:gd name="T101" fmla="*/ 651 h 692"/>
                <a:gd name="T102" fmla="*/ 346 w 446"/>
                <a:gd name="T103" fmla="*/ 542 h 692"/>
                <a:gd name="T104" fmla="*/ 342 w 446"/>
                <a:gd name="T105" fmla="*/ 490 h 692"/>
                <a:gd name="T106" fmla="*/ 337 w 446"/>
                <a:gd name="T107" fmla="*/ 472 h 692"/>
                <a:gd name="T108" fmla="*/ 348 w 446"/>
                <a:gd name="T109" fmla="*/ 443 h 692"/>
                <a:gd name="T110" fmla="*/ 391 w 446"/>
                <a:gd name="T111" fmla="*/ 445 h 692"/>
                <a:gd name="T112" fmla="*/ 405 w 446"/>
                <a:gd name="T113" fmla="*/ 442 h 692"/>
                <a:gd name="T114" fmla="*/ 442 w 446"/>
                <a:gd name="T115" fmla="*/ 468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46" h="692">
                  <a:moveTo>
                    <a:pt x="445" y="466"/>
                  </a:moveTo>
                  <a:cubicBezTo>
                    <a:pt x="445" y="465"/>
                    <a:pt x="445" y="463"/>
                    <a:pt x="445" y="462"/>
                  </a:cubicBezTo>
                  <a:cubicBezTo>
                    <a:pt x="445" y="460"/>
                    <a:pt x="445" y="458"/>
                    <a:pt x="444" y="457"/>
                  </a:cubicBezTo>
                  <a:cubicBezTo>
                    <a:pt x="444" y="456"/>
                    <a:pt x="443" y="455"/>
                    <a:pt x="443" y="455"/>
                  </a:cubicBezTo>
                  <a:cubicBezTo>
                    <a:pt x="442" y="454"/>
                    <a:pt x="442" y="453"/>
                    <a:pt x="441" y="451"/>
                  </a:cubicBezTo>
                  <a:cubicBezTo>
                    <a:pt x="441" y="450"/>
                    <a:pt x="441" y="449"/>
                    <a:pt x="441" y="448"/>
                  </a:cubicBezTo>
                  <a:cubicBezTo>
                    <a:pt x="441" y="447"/>
                    <a:pt x="441" y="446"/>
                    <a:pt x="441" y="445"/>
                  </a:cubicBezTo>
                  <a:cubicBezTo>
                    <a:pt x="441" y="443"/>
                    <a:pt x="440" y="441"/>
                    <a:pt x="439" y="439"/>
                  </a:cubicBezTo>
                  <a:cubicBezTo>
                    <a:pt x="439" y="438"/>
                    <a:pt x="438" y="436"/>
                    <a:pt x="437" y="434"/>
                  </a:cubicBezTo>
                  <a:cubicBezTo>
                    <a:pt x="437" y="432"/>
                    <a:pt x="436" y="431"/>
                    <a:pt x="436" y="429"/>
                  </a:cubicBezTo>
                  <a:cubicBezTo>
                    <a:pt x="435" y="428"/>
                    <a:pt x="434" y="426"/>
                    <a:pt x="434" y="424"/>
                  </a:cubicBezTo>
                  <a:cubicBezTo>
                    <a:pt x="434" y="423"/>
                    <a:pt x="434" y="423"/>
                    <a:pt x="434" y="422"/>
                  </a:cubicBezTo>
                  <a:cubicBezTo>
                    <a:pt x="434" y="420"/>
                    <a:pt x="435" y="419"/>
                    <a:pt x="432" y="417"/>
                  </a:cubicBezTo>
                  <a:cubicBezTo>
                    <a:pt x="432" y="417"/>
                    <a:pt x="431" y="417"/>
                    <a:pt x="431" y="416"/>
                  </a:cubicBezTo>
                  <a:cubicBezTo>
                    <a:pt x="430" y="416"/>
                    <a:pt x="430" y="416"/>
                    <a:pt x="429" y="415"/>
                  </a:cubicBezTo>
                  <a:cubicBezTo>
                    <a:pt x="429" y="414"/>
                    <a:pt x="429" y="414"/>
                    <a:pt x="429" y="413"/>
                  </a:cubicBezTo>
                  <a:cubicBezTo>
                    <a:pt x="429" y="413"/>
                    <a:pt x="429" y="412"/>
                    <a:pt x="428" y="412"/>
                  </a:cubicBezTo>
                  <a:cubicBezTo>
                    <a:pt x="427" y="409"/>
                    <a:pt x="424" y="407"/>
                    <a:pt x="421" y="405"/>
                  </a:cubicBezTo>
                  <a:cubicBezTo>
                    <a:pt x="420" y="404"/>
                    <a:pt x="420" y="404"/>
                    <a:pt x="420" y="404"/>
                  </a:cubicBezTo>
                  <a:cubicBezTo>
                    <a:pt x="419" y="403"/>
                    <a:pt x="418" y="403"/>
                    <a:pt x="417" y="402"/>
                  </a:cubicBezTo>
                  <a:cubicBezTo>
                    <a:pt x="416" y="402"/>
                    <a:pt x="414" y="401"/>
                    <a:pt x="413" y="400"/>
                  </a:cubicBezTo>
                  <a:cubicBezTo>
                    <a:pt x="412" y="398"/>
                    <a:pt x="413" y="397"/>
                    <a:pt x="415" y="394"/>
                  </a:cubicBezTo>
                  <a:cubicBezTo>
                    <a:pt x="416" y="393"/>
                    <a:pt x="416" y="393"/>
                    <a:pt x="416" y="393"/>
                  </a:cubicBezTo>
                  <a:cubicBezTo>
                    <a:pt x="417" y="392"/>
                    <a:pt x="419" y="390"/>
                    <a:pt x="421" y="389"/>
                  </a:cubicBezTo>
                  <a:cubicBezTo>
                    <a:pt x="422" y="387"/>
                    <a:pt x="424" y="386"/>
                    <a:pt x="425" y="384"/>
                  </a:cubicBezTo>
                  <a:cubicBezTo>
                    <a:pt x="425" y="384"/>
                    <a:pt x="426" y="384"/>
                    <a:pt x="427" y="383"/>
                  </a:cubicBezTo>
                  <a:cubicBezTo>
                    <a:pt x="429" y="380"/>
                    <a:pt x="431" y="379"/>
                    <a:pt x="431" y="377"/>
                  </a:cubicBezTo>
                  <a:cubicBezTo>
                    <a:pt x="432" y="375"/>
                    <a:pt x="430" y="372"/>
                    <a:pt x="427" y="369"/>
                  </a:cubicBezTo>
                  <a:cubicBezTo>
                    <a:pt x="426" y="368"/>
                    <a:pt x="425" y="367"/>
                    <a:pt x="425" y="366"/>
                  </a:cubicBezTo>
                  <a:cubicBezTo>
                    <a:pt x="419" y="357"/>
                    <a:pt x="413" y="346"/>
                    <a:pt x="412" y="333"/>
                  </a:cubicBezTo>
                  <a:cubicBezTo>
                    <a:pt x="412" y="329"/>
                    <a:pt x="413" y="326"/>
                    <a:pt x="413" y="323"/>
                  </a:cubicBezTo>
                  <a:cubicBezTo>
                    <a:pt x="413" y="320"/>
                    <a:pt x="414" y="317"/>
                    <a:pt x="413" y="313"/>
                  </a:cubicBezTo>
                  <a:cubicBezTo>
                    <a:pt x="413" y="309"/>
                    <a:pt x="413" y="305"/>
                    <a:pt x="413" y="300"/>
                  </a:cubicBezTo>
                  <a:cubicBezTo>
                    <a:pt x="414" y="297"/>
                    <a:pt x="416" y="296"/>
                    <a:pt x="418" y="294"/>
                  </a:cubicBezTo>
                  <a:cubicBezTo>
                    <a:pt x="418" y="293"/>
                    <a:pt x="419" y="292"/>
                    <a:pt x="420" y="291"/>
                  </a:cubicBezTo>
                  <a:cubicBezTo>
                    <a:pt x="422" y="288"/>
                    <a:pt x="422" y="286"/>
                    <a:pt x="422" y="283"/>
                  </a:cubicBezTo>
                  <a:cubicBezTo>
                    <a:pt x="422" y="280"/>
                    <a:pt x="422" y="277"/>
                    <a:pt x="424" y="275"/>
                  </a:cubicBezTo>
                  <a:cubicBezTo>
                    <a:pt x="424" y="274"/>
                    <a:pt x="425" y="274"/>
                    <a:pt x="426" y="273"/>
                  </a:cubicBezTo>
                  <a:cubicBezTo>
                    <a:pt x="426" y="272"/>
                    <a:pt x="427" y="272"/>
                    <a:pt x="428" y="270"/>
                  </a:cubicBezTo>
                  <a:cubicBezTo>
                    <a:pt x="429" y="267"/>
                    <a:pt x="429" y="264"/>
                    <a:pt x="427" y="261"/>
                  </a:cubicBezTo>
                  <a:cubicBezTo>
                    <a:pt x="426" y="259"/>
                    <a:pt x="423" y="257"/>
                    <a:pt x="420" y="256"/>
                  </a:cubicBezTo>
                  <a:cubicBezTo>
                    <a:pt x="420" y="256"/>
                    <a:pt x="419" y="256"/>
                    <a:pt x="419" y="256"/>
                  </a:cubicBezTo>
                  <a:cubicBezTo>
                    <a:pt x="418" y="256"/>
                    <a:pt x="416" y="256"/>
                    <a:pt x="415" y="257"/>
                  </a:cubicBezTo>
                  <a:cubicBezTo>
                    <a:pt x="412" y="260"/>
                    <a:pt x="410" y="260"/>
                    <a:pt x="406" y="260"/>
                  </a:cubicBezTo>
                  <a:cubicBezTo>
                    <a:pt x="406" y="260"/>
                    <a:pt x="406" y="260"/>
                    <a:pt x="406" y="260"/>
                  </a:cubicBezTo>
                  <a:cubicBezTo>
                    <a:pt x="404" y="260"/>
                    <a:pt x="403" y="260"/>
                    <a:pt x="401" y="260"/>
                  </a:cubicBezTo>
                  <a:cubicBezTo>
                    <a:pt x="398" y="260"/>
                    <a:pt x="395" y="260"/>
                    <a:pt x="392" y="261"/>
                  </a:cubicBezTo>
                  <a:cubicBezTo>
                    <a:pt x="389" y="262"/>
                    <a:pt x="387" y="263"/>
                    <a:pt x="384" y="263"/>
                  </a:cubicBezTo>
                  <a:cubicBezTo>
                    <a:pt x="384" y="263"/>
                    <a:pt x="383" y="263"/>
                    <a:pt x="383" y="263"/>
                  </a:cubicBezTo>
                  <a:cubicBezTo>
                    <a:pt x="381" y="263"/>
                    <a:pt x="380" y="262"/>
                    <a:pt x="379" y="262"/>
                  </a:cubicBezTo>
                  <a:cubicBezTo>
                    <a:pt x="377" y="261"/>
                    <a:pt x="376" y="261"/>
                    <a:pt x="374" y="260"/>
                  </a:cubicBezTo>
                  <a:cubicBezTo>
                    <a:pt x="374" y="260"/>
                    <a:pt x="373" y="260"/>
                    <a:pt x="373" y="260"/>
                  </a:cubicBezTo>
                  <a:cubicBezTo>
                    <a:pt x="371" y="260"/>
                    <a:pt x="369" y="261"/>
                    <a:pt x="367" y="262"/>
                  </a:cubicBezTo>
                  <a:cubicBezTo>
                    <a:pt x="364" y="262"/>
                    <a:pt x="362" y="263"/>
                    <a:pt x="360" y="263"/>
                  </a:cubicBezTo>
                  <a:cubicBezTo>
                    <a:pt x="358" y="263"/>
                    <a:pt x="357" y="263"/>
                    <a:pt x="356" y="262"/>
                  </a:cubicBezTo>
                  <a:cubicBezTo>
                    <a:pt x="353" y="258"/>
                    <a:pt x="350" y="253"/>
                    <a:pt x="347" y="249"/>
                  </a:cubicBezTo>
                  <a:cubicBezTo>
                    <a:pt x="346" y="246"/>
                    <a:pt x="345" y="244"/>
                    <a:pt x="343" y="242"/>
                  </a:cubicBezTo>
                  <a:cubicBezTo>
                    <a:pt x="334" y="228"/>
                    <a:pt x="334" y="228"/>
                    <a:pt x="334" y="228"/>
                  </a:cubicBezTo>
                  <a:cubicBezTo>
                    <a:pt x="332" y="228"/>
                    <a:pt x="332" y="228"/>
                    <a:pt x="332" y="228"/>
                  </a:cubicBezTo>
                  <a:cubicBezTo>
                    <a:pt x="332" y="228"/>
                    <a:pt x="331" y="228"/>
                    <a:pt x="331" y="228"/>
                  </a:cubicBezTo>
                  <a:cubicBezTo>
                    <a:pt x="328" y="228"/>
                    <a:pt x="328" y="228"/>
                    <a:pt x="328" y="228"/>
                  </a:cubicBezTo>
                  <a:cubicBezTo>
                    <a:pt x="327" y="228"/>
                    <a:pt x="326" y="228"/>
                    <a:pt x="325" y="227"/>
                  </a:cubicBezTo>
                  <a:cubicBezTo>
                    <a:pt x="323" y="227"/>
                    <a:pt x="322" y="226"/>
                    <a:pt x="320" y="225"/>
                  </a:cubicBezTo>
                  <a:cubicBezTo>
                    <a:pt x="319" y="224"/>
                    <a:pt x="318" y="224"/>
                    <a:pt x="316" y="223"/>
                  </a:cubicBezTo>
                  <a:cubicBezTo>
                    <a:pt x="315" y="223"/>
                    <a:pt x="314" y="223"/>
                    <a:pt x="313" y="223"/>
                  </a:cubicBezTo>
                  <a:cubicBezTo>
                    <a:pt x="310" y="223"/>
                    <a:pt x="307" y="224"/>
                    <a:pt x="304" y="226"/>
                  </a:cubicBezTo>
                  <a:cubicBezTo>
                    <a:pt x="302" y="227"/>
                    <a:pt x="300" y="228"/>
                    <a:pt x="298" y="228"/>
                  </a:cubicBezTo>
                  <a:cubicBezTo>
                    <a:pt x="297" y="228"/>
                    <a:pt x="297" y="228"/>
                    <a:pt x="297" y="228"/>
                  </a:cubicBezTo>
                  <a:cubicBezTo>
                    <a:pt x="294" y="228"/>
                    <a:pt x="291" y="227"/>
                    <a:pt x="289" y="226"/>
                  </a:cubicBezTo>
                  <a:cubicBezTo>
                    <a:pt x="286" y="226"/>
                    <a:pt x="282" y="225"/>
                    <a:pt x="280" y="225"/>
                  </a:cubicBezTo>
                  <a:cubicBezTo>
                    <a:pt x="278" y="225"/>
                    <a:pt x="276" y="225"/>
                    <a:pt x="274" y="225"/>
                  </a:cubicBezTo>
                  <a:cubicBezTo>
                    <a:pt x="272" y="226"/>
                    <a:pt x="270" y="226"/>
                    <a:pt x="268" y="226"/>
                  </a:cubicBezTo>
                  <a:cubicBezTo>
                    <a:pt x="264" y="226"/>
                    <a:pt x="262" y="225"/>
                    <a:pt x="261" y="221"/>
                  </a:cubicBezTo>
                  <a:cubicBezTo>
                    <a:pt x="260" y="220"/>
                    <a:pt x="260" y="219"/>
                    <a:pt x="260" y="218"/>
                  </a:cubicBezTo>
                  <a:cubicBezTo>
                    <a:pt x="260" y="216"/>
                    <a:pt x="260" y="214"/>
                    <a:pt x="258" y="212"/>
                  </a:cubicBezTo>
                  <a:cubicBezTo>
                    <a:pt x="258" y="212"/>
                    <a:pt x="258" y="212"/>
                    <a:pt x="258" y="212"/>
                  </a:cubicBezTo>
                  <a:cubicBezTo>
                    <a:pt x="258" y="212"/>
                    <a:pt x="258" y="212"/>
                    <a:pt x="258" y="212"/>
                  </a:cubicBezTo>
                  <a:cubicBezTo>
                    <a:pt x="256" y="211"/>
                    <a:pt x="251" y="210"/>
                    <a:pt x="250" y="210"/>
                  </a:cubicBezTo>
                  <a:cubicBezTo>
                    <a:pt x="248" y="204"/>
                    <a:pt x="248" y="194"/>
                    <a:pt x="250" y="188"/>
                  </a:cubicBezTo>
                  <a:cubicBezTo>
                    <a:pt x="253" y="182"/>
                    <a:pt x="253" y="177"/>
                    <a:pt x="251" y="171"/>
                  </a:cubicBezTo>
                  <a:cubicBezTo>
                    <a:pt x="249" y="166"/>
                    <a:pt x="247" y="160"/>
                    <a:pt x="245" y="156"/>
                  </a:cubicBezTo>
                  <a:cubicBezTo>
                    <a:pt x="244" y="155"/>
                    <a:pt x="244" y="155"/>
                    <a:pt x="243" y="154"/>
                  </a:cubicBezTo>
                  <a:cubicBezTo>
                    <a:pt x="242" y="153"/>
                    <a:pt x="242" y="153"/>
                    <a:pt x="241" y="152"/>
                  </a:cubicBezTo>
                  <a:cubicBezTo>
                    <a:pt x="241" y="151"/>
                    <a:pt x="241" y="150"/>
                    <a:pt x="242" y="149"/>
                  </a:cubicBezTo>
                  <a:cubicBezTo>
                    <a:pt x="242" y="148"/>
                    <a:pt x="242" y="147"/>
                    <a:pt x="242" y="147"/>
                  </a:cubicBezTo>
                  <a:cubicBezTo>
                    <a:pt x="241" y="146"/>
                    <a:pt x="241" y="145"/>
                    <a:pt x="241" y="144"/>
                  </a:cubicBezTo>
                  <a:cubicBezTo>
                    <a:pt x="240" y="143"/>
                    <a:pt x="240" y="143"/>
                    <a:pt x="240" y="143"/>
                  </a:cubicBezTo>
                  <a:cubicBezTo>
                    <a:pt x="240" y="143"/>
                    <a:pt x="238" y="143"/>
                    <a:pt x="238" y="143"/>
                  </a:cubicBezTo>
                  <a:cubicBezTo>
                    <a:pt x="238" y="143"/>
                    <a:pt x="237" y="143"/>
                    <a:pt x="236" y="142"/>
                  </a:cubicBezTo>
                  <a:cubicBezTo>
                    <a:pt x="234" y="141"/>
                    <a:pt x="234" y="140"/>
                    <a:pt x="234" y="139"/>
                  </a:cubicBezTo>
                  <a:cubicBezTo>
                    <a:pt x="233" y="137"/>
                    <a:pt x="232" y="136"/>
                    <a:pt x="230" y="136"/>
                  </a:cubicBezTo>
                  <a:cubicBezTo>
                    <a:pt x="229" y="136"/>
                    <a:pt x="229" y="136"/>
                    <a:pt x="229" y="136"/>
                  </a:cubicBezTo>
                  <a:cubicBezTo>
                    <a:pt x="228" y="136"/>
                    <a:pt x="227" y="136"/>
                    <a:pt x="226" y="137"/>
                  </a:cubicBezTo>
                  <a:cubicBezTo>
                    <a:pt x="225" y="137"/>
                    <a:pt x="225" y="137"/>
                    <a:pt x="223" y="137"/>
                  </a:cubicBezTo>
                  <a:cubicBezTo>
                    <a:pt x="223" y="137"/>
                    <a:pt x="222" y="137"/>
                    <a:pt x="221" y="137"/>
                  </a:cubicBezTo>
                  <a:cubicBezTo>
                    <a:pt x="222" y="132"/>
                    <a:pt x="225" y="128"/>
                    <a:pt x="228" y="124"/>
                  </a:cubicBezTo>
                  <a:cubicBezTo>
                    <a:pt x="231" y="119"/>
                    <a:pt x="234" y="115"/>
                    <a:pt x="235" y="110"/>
                  </a:cubicBezTo>
                  <a:cubicBezTo>
                    <a:pt x="235" y="108"/>
                    <a:pt x="235" y="105"/>
                    <a:pt x="236" y="103"/>
                  </a:cubicBezTo>
                  <a:cubicBezTo>
                    <a:pt x="237" y="96"/>
                    <a:pt x="238" y="88"/>
                    <a:pt x="241" y="81"/>
                  </a:cubicBezTo>
                  <a:cubicBezTo>
                    <a:pt x="242" y="77"/>
                    <a:pt x="245" y="74"/>
                    <a:pt x="247" y="70"/>
                  </a:cubicBezTo>
                  <a:cubicBezTo>
                    <a:pt x="248" y="69"/>
                    <a:pt x="249" y="67"/>
                    <a:pt x="250" y="65"/>
                  </a:cubicBezTo>
                  <a:cubicBezTo>
                    <a:pt x="252" y="63"/>
                    <a:pt x="253" y="60"/>
                    <a:pt x="255" y="59"/>
                  </a:cubicBezTo>
                  <a:cubicBezTo>
                    <a:pt x="256" y="57"/>
                    <a:pt x="257" y="57"/>
                    <a:pt x="258" y="56"/>
                  </a:cubicBezTo>
                  <a:cubicBezTo>
                    <a:pt x="260" y="55"/>
                    <a:pt x="262" y="53"/>
                    <a:pt x="264" y="50"/>
                  </a:cubicBezTo>
                  <a:cubicBezTo>
                    <a:pt x="265" y="49"/>
                    <a:pt x="266" y="47"/>
                    <a:pt x="267" y="45"/>
                  </a:cubicBezTo>
                  <a:cubicBezTo>
                    <a:pt x="268" y="42"/>
                    <a:pt x="269" y="40"/>
                    <a:pt x="270" y="38"/>
                  </a:cubicBezTo>
                  <a:cubicBezTo>
                    <a:pt x="274" y="33"/>
                    <a:pt x="285" y="29"/>
                    <a:pt x="292" y="29"/>
                  </a:cubicBezTo>
                  <a:cubicBezTo>
                    <a:pt x="294" y="29"/>
                    <a:pt x="295" y="29"/>
                    <a:pt x="297" y="30"/>
                  </a:cubicBezTo>
                  <a:cubicBezTo>
                    <a:pt x="298" y="31"/>
                    <a:pt x="298" y="31"/>
                    <a:pt x="298" y="31"/>
                  </a:cubicBezTo>
                  <a:cubicBezTo>
                    <a:pt x="300" y="30"/>
                    <a:pt x="300" y="30"/>
                    <a:pt x="300" y="30"/>
                  </a:cubicBezTo>
                  <a:cubicBezTo>
                    <a:pt x="302" y="29"/>
                    <a:pt x="303" y="27"/>
                    <a:pt x="305" y="25"/>
                  </a:cubicBezTo>
                  <a:cubicBezTo>
                    <a:pt x="306" y="24"/>
                    <a:pt x="306" y="23"/>
                    <a:pt x="307" y="22"/>
                  </a:cubicBezTo>
                  <a:cubicBezTo>
                    <a:pt x="311" y="18"/>
                    <a:pt x="311" y="15"/>
                    <a:pt x="309" y="11"/>
                  </a:cubicBezTo>
                  <a:cubicBezTo>
                    <a:pt x="309" y="11"/>
                    <a:pt x="309" y="11"/>
                    <a:pt x="309" y="10"/>
                  </a:cubicBezTo>
                  <a:cubicBezTo>
                    <a:pt x="308" y="9"/>
                    <a:pt x="308" y="7"/>
                    <a:pt x="306" y="6"/>
                  </a:cubicBezTo>
                  <a:cubicBezTo>
                    <a:pt x="305" y="4"/>
                    <a:pt x="303" y="4"/>
                    <a:pt x="302" y="4"/>
                  </a:cubicBezTo>
                  <a:cubicBezTo>
                    <a:pt x="301" y="4"/>
                    <a:pt x="301" y="4"/>
                    <a:pt x="301" y="4"/>
                  </a:cubicBezTo>
                  <a:cubicBezTo>
                    <a:pt x="300" y="4"/>
                    <a:pt x="300" y="4"/>
                    <a:pt x="300" y="3"/>
                  </a:cubicBezTo>
                  <a:cubicBezTo>
                    <a:pt x="299" y="3"/>
                    <a:pt x="299" y="2"/>
                    <a:pt x="298" y="1"/>
                  </a:cubicBezTo>
                  <a:cubicBezTo>
                    <a:pt x="297" y="1"/>
                    <a:pt x="295" y="0"/>
                    <a:pt x="294" y="0"/>
                  </a:cubicBezTo>
                  <a:cubicBezTo>
                    <a:pt x="294" y="0"/>
                    <a:pt x="293" y="0"/>
                    <a:pt x="292" y="1"/>
                  </a:cubicBezTo>
                  <a:cubicBezTo>
                    <a:pt x="291" y="1"/>
                    <a:pt x="291" y="1"/>
                    <a:pt x="291" y="1"/>
                  </a:cubicBezTo>
                  <a:cubicBezTo>
                    <a:pt x="288" y="1"/>
                    <a:pt x="285" y="2"/>
                    <a:pt x="281" y="3"/>
                  </a:cubicBezTo>
                  <a:cubicBezTo>
                    <a:pt x="280" y="4"/>
                    <a:pt x="280" y="4"/>
                    <a:pt x="280" y="4"/>
                  </a:cubicBezTo>
                  <a:cubicBezTo>
                    <a:pt x="280" y="5"/>
                    <a:pt x="280" y="5"/>
                    <a:pt x="280" y="5"/>
                  </a:cubicBezTo>
                  <a:cubicBezTo>
                    <a:pt x="280" y="6"/>
                    <a:pt x="280" y="7"/>
                    <a:pt x="277" y="7"/>
                  </a:cubicBezTo>
                  <a:cubicBezTo>
                    <a:pt x="276" y="7"/>
                    <a:pt x="276" y="7"/>
                    <a:pt x="275" y="7"/>
                  </a:cubicBezTo>
                  <a:cubicBezTo>
                    <a:pt x="274" y="7"/>
                    <a:pt x="273" y="7"/>
                    <a:pt x="272" y="7"/>
                  </a:cubicBezTo>
                  <a:cubicBezTo>
                    <a:pt x="272" y="7"/>
                    <a:pt x="271" y="7"/>
                    <a:pt x="271" y="7"/>
                  </a:cubicBezTo>
                  <a:cubicBezTo>
                    <a:pt x="269" y="7"/>
                    <a:pt x="269" y="7"/>
                    <a:pt x="269" y="7"/>
                  </a:cubicBezTo>
                  <a:cubicBezTo>
                    <a:pt x="269" y="9"/>
                    <a:pt x="269" y="9"/>
                    <a:pt x="269" y="9"/>
                  </a:cubicBezTo>
                  <a:cubicBezTo>
                    <a:pt x="269" y="10"/>
                    <a:pt x="269" y="11"/>
                    <a:pt x="268" y="12"/>
                  </a:cubicBezTo>
                  <a:cubicBezTo>
                    <a:pt x="268" y="16"/>
                    <a:pt x="267" y="20"/>
                    <a:pt x="264" y="23"/>
                  </a:cubicBezTo>
                  <a:cubicBezTo>
                    <a:pt x="262" y="25"/>
                    <a:pt x="259" y="27"/>
                    <a:pt x="256" y="28"/>
                  </a:cubicBezTo>
                  <a:cubicBezTo>
                    <a:pt x="254" y="29"/>
                    <a:pt x="253" y="29"/>
                    <a:pt x="252" y="30"/>
                  </a:cubicBezTo>
                  <a:cubicBezTo>
                    <a:pt x="249" y="31"/>
                    <a:pt x="247" y="33"/>
                    <a:pt x="244" y="34"/>
                  </a:cubicBezTo>
                  <a:cubicBezTo>
                    <a:pt x="242" y="36"/>
                    <a:pt x="240" y="37"/>
                    <a:pt x="239" y="38"/>
                  </a:cubicBezTo>
                  <a:cubicBezTo>
                    <a:pt x="235" y="40"/>
                    <a:pt x="233" y="42"/>
                    <a:pt x="230" y="44"/>
                  </a:cubicBezTo>
                  <a:cubicBezTo>
                    <a:pt x="229" y="45"/>
                    <a:pt x="228" y="46"/>
                    <a:pt x="226" y="47"/>
                  </a:cubicBezTo>
                  <a:cubicBezTo>
                    <a:pt x="224" y="49"/>
                    <a:pt x="221" y="49"/>
                    <a:pt x="218" y="49"/>
                  </a:cubicBezTo>
                  <a:cubicBezTo>
                    <a:pt x="217" y="49"/>
                    <a:pt x="215" y="49"/>
                    <a:pt x="213" y="49"/>
                  </a:cubicBezTo>
                  <a:cubicBezTo>
                    <a:pt x="212" y="50"/>
                    <a:pt x="211" y="50"/>
                    <a:pt x="210" y="50"/>
                  </a:cubicBezTo>
                  <a:cubicBezTo>
                    <a:pt x="210" y="50"/>
                    <a:pt x="209" y="50"/>
                    <a:pt x="208" y="49"/>
                  </a:cubicBezTo>
                  <a:cubicBezTo>
                    <a:pt x="208" y="49"/>
                    <a:pt x="207" y="48"/>
                    <a:pt x="207" y="48"/>
                  </a:cubicBezTo>
                  <a:cubicBezTo>
                    <a:pt x="206" y="47"/>
                    <a:pt x="204" y="45"/>
                    <a:pt x="202" y="45"/>
                  </a:cubicBezTo>
                  <a:cubicBezTo>
                    <a:pt x="201" y="45"/>
                    <a:pt x="200" y="45"/>
                    <a:pt x="200" y="45"/>
                  </a:cubicBezTo>
                  <a:cubicBezTo>
                    <a:pt x="193" y="45"/>
                    <a:pt x="192" y="51"/>
                    <a:pt x="191" y="55"/>
                  </a:cubicBezTo>
                  <a:cubicBezTo>
                    <a:pt x="190" y="57"/>
                    <a:pt x="190" y="58"/>
                    <a:pt x="189" y="60"/>
                  </a:cubicBezTo>
                  <a:cubicBezTo>
                    <a:pt x="189" y="60"/>
                    <a:pt x="188" y="61"/>
                    <a:pt x="188" y="61"/>
                  </a:cubicBezTo>
                  <a:cubicBezTo>
                    <a:pt x="188" y="63"/>
                    <a:pt x="187" y="64"/>
                    <a:pt x="187" y="65"/>
                  </a:cubicBezTo>
                  <a:cubicBezTo>
                    <a:pt x="187" y="66"/>
                    <a:pt x="186" y="67"/>
                    <a:pt x="186" y="68"/>
                  </a:cubicBezTo>
                  <a:cubicBezTo>
                    <a:pt x="185" y="69"/>
                    <a:pt x="184" y="69"/>
                    <a:pt x="184" y="69"/>
                  </a:cubicBezTo>
                  <a:cubicBezTo>
                    <a:pt x="183" y="69"/>
                    <a:pt x="183" y="69"/>
                    <a:pt x="183" y="69"/>
                  </a:cubicBezTo>
                  <a:cubicBezTo>
                    <a:pt x="182" y="69"/>
                    <a:pt x="182" y="69"/>
                    <a:pt x="183" y="67"/>
                  </a:cubicBezTo>
                  <a:cubicBezTo>
                    <a:pt x="183" y="66"/>
                    <a:pt x="183" y="66"/>
                    <a:pt x="183" y="65"/>
                  </a:cubicBezTo>
                  <a:cubicBezTo>
                    <a:pt x="183" y="63"/>
                    <a:pt x="182" y="61"/>
                    <a:pt x="181" y="59"/>
                  </a:cubicBezTo>
                  <a:cubicBezTo>
                    <a:pt x="179" y="57"/>
                    <a:pt x="176" y="56"/>
                    <a:pt x="172" y="56"/>
                  </a:cubicBezTo>
                  <a:cubicBezTo>
                    <a:pt x="172" y="56"/>
                    <a:pt x="171" y="56"/>
                    <a:pt x="170" y="56"/>
                  </a:cubicBezTo>
                  <a:cubicBezTo>
                    <a:pt x="166" y="57"/>
                    <a:pt x="163" y="60"/>
                    <a:pt x="160" y="63"/>
                  </a:cubicBezTo>
                  <a:cubicBezTo>
                    <a:pt x="159" y="64"/>
                    <a:pt x="158" y="65"/>
                    <a:pt x="157" y="66"/>
                  </a:cubicBezTo>
                  <a:cubicBezTo>
                    <a:pt x="155" y="68"/>
                    <a:pt x="153" y="70"/>
                    <a:pt x="151" y="72"/>
                  </a:cubicBezTo>
                  <a:cubicBezTo>
                    <a:pt x="149" y="73"/>
                    <a:pt x="147" y="75"/>
                    <a:pt x="146" y="76"/>
                  </a:cubicBezTo>
                  <a:cubicBezTo>
                    <a:pt x="141" y="80"/>
                    <a:pt x="139" y="86"/>
                    <a:pt x="139" y="93"/>
                  </a:cubicBezTo>
                  <a:cubicBezTo>
                    <a:pt x="139" y="99"/>
                    <a:pt x="138" y="103"/>
                    <a:pt x="136" y="109"/>
                  </a:cubicBezTo>
                  <a:cubicBezTo>
                    <a:pt x="136" y="110"/>
                    <a:pt x="136" y="110"/>
                    <a:pt x="136" y="110"/>
                  </a:cubicBezTo>
                  <a:cubicBezTo>
                    <a:pt x="136" y="111"/>
                    <a:pt x="135" y="113"/>
                    <a:pt x="135" y="115"/>
                  </a:cubicBezTo>
                  <a:cubicBezTo>
                    <a:pt x="136" y="116"/>
                    <a:pt x="136" y="117"/>
                    <a:pt x="137" y="117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37" y="119"/>
                    <a:pt x="136" y="121"/>
                    <a:pt x="136" y="123"/>
                  </a:cubicBezTo>
                  <a:cubicBezTo>
                    <a:pt x="135" y="123"/>
                    <a:pt x="135" y="123"/>
                    <a:pt x="135" y="123"/>
                  </a:cubicBezTo>
                  <a:cubicBezTo>
                    <a:pt x="135" y="124"/>
                    <a:pt x="134" y="124"/>
                    <a:pt x="134" y="124"/>
                  </a:cubicBezTo>
                  <a:cubicBezTo>
                    <a:pt x="133" y="124"/>
                    <a:pt x="133" y="125"/>
                    <a:pt x="133" y="125"/>
                  </a:cubicBezTo>
                  <a:cubicBezTo>
                    <a:pt x="133" y="125"/>
                    <a:pt x="132" y="125"/>
                    <a:pt x="132" y="124"/>
                  </a:cubicBezTo>
                  <a:cubicBezTo>
                    <a:pt x="132" y="124"/>
                    <a:pt x="131" y="124"/>
                    <a:pt x="130" y="124"/>
                  </a:cubicBezTo>
                  <a:cubicBezTo>
                    <a:pt x="130" y="124"/>
                    <a:pt x="130" y="124"/>
                    <a:pt x="130" y="124"/>
                  </a:cubicBezTo>
                  <a:cubicBezTo>
                    <a:pt x="128" y="124"/>
                    <a:pt x="125" y="125"/>
                    <a:pt x="124" y="126"/>
                  </a:cubicBezTo>
                  <a:cubicBezTo>
                    <a:pt x="123" y="127"/>
                    <a:pt x="123" y="127"/>
                    <a:pt x="123" y="127"/>
                  </a:cubicBezTo>
                  <a:cubicBezTo>
                    <a:pt x="119" y="129"/>
                    <a:pt x="115" y="134"/>
                    <a:pt x="114" y="137"/>
                  </a:cubicBezTo>
                  <a:cubicBezTo>
                    <a:pt x="112" y="140"/>
                    <a:pt x="110" y="143"/>
                    <a:pt x="108" y="146"/>
                  </a:cubicBezTo>
                  <a:cubicBezTo>
                    <a:pt x="106" y="148"/>
                    <a:pt x="104" y="149"/>
                    <a:pt x="102" y="151"/>
                  </a:cubicBezTo>
                  <a:cubicBezTo>
                    <a:pt x="101" y="152"/>
                    <a:pt x="100" y="153"/>
                    <a:pt x="99" y="154"/>
                  </a:cubicBezTo>
                  <a:cubicBezTo>
                    <a:pt x="98" y="154"/>
                    <a:pt x="97" y="155"/>
                    <a:pt x="97" y="156"/>
                  </a:cubicBezTo>
                  <a:cubicBezTo>
                    <a:pt x="96" y="157"/>
                    <a:pt x="95" y="158"/>
                    <a:pt x="95" y="158"/>
                  </a:cubicBezTo>
                  <a:cubicBezTo>
                    <a:pt x="94" y="158"/>
                    <a:pt x="92" y="158"/>
                    <a:pt x="91" y="159"/>
                  </a:cubicBezTo>
                  <a:cubicBezTo>
                    <a:pt x="86" y="159"/>
                    <a:pt x="86" y="159"/>
                    <a:pt x="86" y="159"/>
                  </a:cubicBezTo>
                  <a:cubicBezTo>
                    <a:pt x="88" y="162"/>
                    <a:pt x="88" y="162"/>
                    <a:pt x="88" y="162"/>
                  </a:cubicBezTo>
                  <a:cubicBezTo>
                    <a:pt x="88" y="163"/>
                    <a:pt x="89" y="164"/>
                    <a:pt x="90" y="166"/>
                  </a:cubicBezTo>
                  <a:cubicBezTo>
                    <a:pt x="91" y="168"/>
                    <a:pt x="92" y="169"/>
                    <a:pt x="93" y="171"/>
                  </a:cubicBezTo>
                  <a:cubicBezTo>
                    <a:pt x="93" y="174"/>
                    <a:pt x="93" y="177"/>
                    <a:pt x="93" y="180"/>
                  </a:cubicBezTo>
                  <a:cubicBezTo>
                    <a:pt x="93" y="181"/>
                    <a:pt x="93" y="182"/>
                    <a:pt x="93" y="182"/>
                  </a:cubicBezTo>
                  <a:cubicBezTo>
                    <a:pt x="92" y="186"/>
                    <a:pt x="91" y="188"/>
                    <a:pt x="91" y="188"/>
                  </a:cubicBezTo>
                  <a:cubicBezTo>
                    <a:pt x="90" y="187"/>
                    <a:pt x="91" y="185"/>
                    <a:pt x="91" y="184"/>
                  </a:cubicBezTo>
                  <a:cubicBezTo>
                    <a:pt x="91" y="183"/>
                    <a:pt x="91" y="182"/>
                    <a:pt x="91" y="181"/>
                  </a:cubicBezTo>
                  <a:cubicBezTo>
                    <a:pt x="90" y="177"/>
                    <a:pt x="88" y="174"/>
                    <a:pt x="85" y="172"/>
                  </a:cubicBezTo>
                  <a:cubicBezTo>
                    <a:pt x="85" y="172"/>
                    <a:pt x="84" y="171"/>
                    <a:pt x="83" y="171"/>
                  </a:cubicBezTo>
                  <a:cubicBezTo>
                    <a:pt x="82" y="170"/>
                    <a:pt x="81" y="168"/>
                    <a:pt x="81" y="167"/>
                  </a:cubicBezTo>
                  <a:cubicBezTo>
                    <a:pt x="80" y="166"/>
                    <a:pt x="79" y="165"/>
                    <a:pt x="77" y="163"/>
                  </a:cubicBezTo>
                  <a:cubicBezTo>
                    <a:pt x="77" y="162"/>
                    <a:pt x="76" y="162"/>
                    <a:pt x="75" y="161"/>
                  </a:cubicBezTo>
                  <a:cubicBezTo>
                    <a:pt x="72" y="158"/>
                    <a:pt x="72" y="158"/>
                    <a:pt x="72" y="158"/>
                  </a:cubicBezTo>
                  <a:cubicBezTo>
                    <a:pt x="71" y="161"/>
                    <a:pt x="71" y="161"/>
                    <a:pt x="71" y="161"/>
                  </a:cubicBezTo>
                  <a:cubicBezTo>
                    <a:pt x="69" y="163"/>
                    <a:pt x="69" y="165"/>
                    <a:pt x="70" y="168"/>
                  </a:cubicBezTo>
                  <a:cubicBezTo>
                    <a:pt x="71" y="170"/>
                    <a:pt x="72" y="172"/>
                    <a:pt x="74" y="174"/>
                  </a:cubicBezTo>
                  <a:cubicBezTo>
                    <a:pt x="75" y="176"/>
                    <a:pt x="76" y="178"/>
                    <a:pt x="77" y="180"/>
                  </a:cubicBezTo>
                  <a:cubicBezTo>
                    <a:pt x="77" y="181"/>
                    <a:pt x="77" y="181"/>
                    <a:pt x="77" y="181"/>
                  </a:cubicBezTo>
                  <a:cubicBezTo>
                    <a:pt x="78" y="182"/>
                    <a:pt x="79" y="185"/>
                    <a:pt x="78" y="187"/>
                  </a:cubicBezTo>
                  <a:cubicBezTo>
                    <a:pt x="78" y="188"/>
                    <a:pt x="77" y="189"/>
                    <a:pt x="76" y="190"/>
                  </a:cubicBezTo>
                  <a:cubicBezTo>
                    <a:pt x="75" y="190"/>
                    <a:pt x="75" y="191"/>
                    <a:pt x="74" y="192"/>
                  </a:cubicBezTo>
                  <a:cubicBezTo>
                    <a:pt x="73" y="192"/>
                    <a:pt x="73" y="194"/>
                    <a:pt x="73" y="195"/>
                  </a:cubicBezTo>
                  <a:cubicBezTo>
                    <a:pt x="73" y="196"/>
                    <a:pt x="73" y="197"/>
                    <a:pt x="72" y="197"/>
                  </a:cubicBezTo>
                  <a:cubicBezTo>
                    <a:pt x="71" y="199"/>
                    <a:pt x="70" y="200"/>
                    <a:pt x="68" y="201"/>
                  </a:cubicBezTo>
                  <a:cubicBezTo>
                    <a:pt x="68" y="201"/>
                    <a:pt x="68" y="202"/>
                    <a:pt x="67" y="202"/>
                  </a:cubicBezTo>
                  <a:cubicBezTo>
                    <a:pt x="67" y="202"/>
                    <a:pt x="66" y="203"/>
                    <a:pt x="66" y="203"/>
                  </a:cubicBezTo>
                  <a:cubicBezTo>
                    <a:pt x="65" y="204"/>
                    <a:pt x="64" y="204"/>
                    <a:pt x="63" y="204"/>
                  </a:cubicBezTo>
                  <a:cubicBezTo>
                    <a:pt x="63" y="204"/>
                    <a:pt x="62" y="204"/>
                    <a:pt x="62" y="204"/>
                  </a:cubicBezTo>
                  <a:cubicBezTo>
                    <a:pt x="61" y="204"/>
                    <a:pt x="61" y="204"/>
                    <a:pt x="60" y="204"/>
                  </a:cubicBezTo>
                  <a:cubicBezTo>
                    <a:pt x="58" y="201"/>
                    <a:pt x="58" y="201"/>
                    <a:pt x="58" y="201"/>
                  </a:cubicBezTo>
                  <a:cubicBezTo>
                    <a:pt x="57" y="205"/>
                    <a:pt x="57" y="205"/>
                    <a:pt x="57" y="205"/>
                  </a:cubicBezTo>
                  <a:cubicBezTo>
                    <a:pt x="56" y="206"/>
                    <a:pt x="56" y="207"/>
                    <a:pt x="55" y="208"/>
                  </a:cubicBezTo>
                  <a:cubicBezTo>
                    <a:pt x="54" y="209"/>
                    <a:pt x="54" y="210"/>
                    <a:pt x="54" y="212"/>
                  </a:cubicBezTo>
                  <a:cubicBezTo>
                    <a:pt x="54" y="212"/>
                    <a:pt x="54" y="213"/>
                    <a:pt x="53" y="213"/>
                  </a:cubicBezTo>
                  <a:cubicBezTo>
                    <a:pt x="53" y="213"/>
                    <a:pt x="53" y="213"/>
                    <a:pt x="53" y="213"/>
                  </a:cubicBezTo>
                  <a:cubicBezTo>
                    <a:pt x="52" y="213"/>
                    <a:pt x="52" y="213"/>
                    <a:pt x="52" y="213"/>
                  </a:cubicBezTo>
                  <a:cubicBezTo>
                    <a:pt x="52" y="214"/>
                    <a:pt x="51" y="215"/>
                    <a:pt x="51" y="220"/>
                  </a:cubicBezTo>
                  <a:cubicBezTo>
                    <a:pt x="51" y="221"/>
                    <a:pt x="51" y="221"/>
                    <a:pt x="51" y="221"/>
                  </a:cubicBezTo>
                  <a:cubicBezTo>
                    <a:pt x="52" y="223"/>
                    <a:pt x="52" y="223"/>
                    <a:pt x="52" y="223"/>
                  </a:cubicBezTo>
                  <a:cubicBezTo>
                    <a:pt x="54" y="224"/>
                    <a:pt x="56" y="225"/>
                    <a:pt x="56" y="226"/>
                  </a:cubicBezTo>
                  <a:cubicBezTo>
                    <a:pt x="57" y="226"/>
                    <a:pt x="57" y="227"/>
                    <a:pt x="57" y="228"/>
                  </a:cubicBezTo>
                  <a:cubicBezTo>
                    <a:pt x="57" y="230"/>
                    <a:pt x="57" y="233"/>
                    <a:pt x="58" y="235"/>
                  </a:cubicBezTo>
                  <a:cubicBezTo>
                    <a:pt x="59" y="236"/>
                    <a:pt x="60" y="237"/>
                    <a:pt x="62" y="238"/>
                  </a:cubicBezTo>
                  <a:cubicBezTo>
                    <a:pt x="63" y="239"/>
                    <a:pt x="64" y="240"/>
                    <a:pt x="65" y="242"/>
                  </a:cubicBezTo>
                  <a:cubicBezTo>
                    <a:pt x="66" y="245"/>
                    <a:pt x="67" y="248"/>
                    <a:pt x="66" y="251"/>
                  </a:cubicBezTo>
                  <a:cubicBezTo>
                    <a:pt x="65" y="252"/>
                    <a:pt x="65" y="253"/>
                    <a:pt x="64" y="253"/>
                  </a:cubicBezTo>
                  <a:cubicBezTo>
                    <a:pt x="62" y="255"/>
                    <a:pt x="61" y="258"/>
                    <a:pt x="61" y="262"/>
                  </a:cubicBezTo>
                  <a:cubicBezTo>
                    <a:pt x="62" y="265"/>
                    <a:pt x="63" y="267"/>
                    <a:pt x="65" y="269"/>
                  </a:cubicBezTo>
                  <a:cubicBezTo>
                    <a:pt x="65" y="270"/>
                    <a:pt x="66" y="271"/>
                    <a:pt x="67" y="272"/>
                  </a:cubicBezTo>
                  <a:cubicBezTo>
                    <a:pt x="68" y="275"/>
                    <a:pt x="69" y="280"/>
                    <a:pt x="68" y="282"/>
                  </a:cubicBezTo>
                  <a:cubicBezTo>
                    <a:pt x="67" y="283"/>
                    <a:pt x="67" y="283"/>
                    <a:pt x="67" y="283"/>
                  </a:cubicBezTo>
                  <a:cubicBezTo>
                    <a:pt x="66" y="284"/>
                    <a:pt x="66" y="284"/>
                    <a:pt x="65" y="284"/>
                  </a:cubicBezTo>
                  <a:cubicBezTo>
                    <a:pt x="64" y="284"/>
                    <a:pt x="62" y="284"/>
                    <a:pt x="60" y="285"/>
                  </a:cubicBezTo>
                  <a:cubicBezTo>
                    <a:pt x="59" y="287"/>
                    <a:pt x="60" y="289"/>
                    <a:pt x="60" y="290"/>
                  </a:cubicBezTo>
                  <a:cubicBezTo>
                    <a:pt x="60" y="291"/>
                    <a:pt x="61" y="292"/>
                    <a:pt x="62" y="293"/>
                  </a:cubicBezTo>
                  <a:cubicBezTo>
                    <a:pt x="63" y="294"/>
                    <a:pt x="63" y="295"/>
                    <a:pt x="64" y="295"/>
                  </a:cubicBezTo>
                  <a:cubicBezTo>
                    <a:pt x="64" y="296"/>
                    <a:pt x="64" y="297"/>
                    <a:pt x="64" y="299"/>
                  </a:cubicBezTo>
                  <a:cubicBezTo>
                    <a:pt x="64" y="300"/>
                    <a:pt x="64" y="301"/>
                    <a:pt x="64" y="302"/>
                  </a:cubicBezTo>
                  <a:cubicBezTo>
                    <a:pt x="64" y="304"/>
                    <a:pt x="64" y="307"/>
                    <a:pt x="64" y="309"/>
                  </a:cubicBezTo>
                  <a:cubicBezTo>
                    <a:pt x="64" y="311"/>
                    <a:pt x="64" y="313"/>
                    <a:pt x="64" y="315"/>
                  </a:cubicBezTo>
                  <a:cubicBezTo>
                    <a:pt x="64" y="316"/>
                    <a:pt x="64" y="318"/>
                    <a:pt x="64" y="320"/>
                  </a:cubicBezTo>
                  <a:cubicBezTo>
                    <a:pt x="65" y="325"/>
                    <a:pt x="66" y="337"/>
                    <a:pt x="64" y="340"/>
                  </a:cubicBezTo>
                  <a:cubicBezTo>
                    <a:pt x="62" y="341"/>
                    <a:pt x="62" y="341"/>
                    <a:pt x="62" y="341"/>
                  </a:cubicBezTo>
                  <a:cubicBezTo>
                    <a:pt x="61" y="343"/>
                    <a:pt x="61" y="343"/>
                    <a:pt x="61" y="343"/>
                  </a:cubicBezTo>
                  <a:cubicBezTo>
                    <a:pt x="61" y="346"/>
                    <a:pt x="61" y="349"/>
                    <a:pt x="64" y="352"/>
                  </a:cubicBezTo>
                  <a:cubicBezTo>
                    <a:pt x="64" y="353"/>
                    <a:pt x="65" y="353"/>
                    <a:pt x="65" y="354"/>
                  </a:cubicBezTo>
                  <a:cubicBezTo>
                    <a:pt x="67" y="355"/>
                    <a:pt x="67" y="356"/>
                    <a:pt x="67" y="357"/>
                  </a:cubicBezTo>
                  <a:cubicBezTo>
                    <a:pt x="67" y="360"/>
                    <a:pt x="67" y="360"/>
                    <a:pt x="67" y="360"/>
                  </a:cubicBezTo>
                  <a:cubicBezTo>
                    <a:pt x="69" y="360"/>
                    <a:pt x="69" y="360"/>
                    <a:pt x="69" y="360"/>
                  </a:cubicBezTo>
                  <a:cubicBezTo>
                    <a:pt x="70" y="360"/>
                    <a:pt x="70" y="360"/>
                    <a:pt x="71" y="360"/>
                  </a:cubicBezTo>
                  <a:cubicBezTo>
                    <a:pt x="69" y="365"/>
                    <a:pt x="66" y="370"/>
                    <a:pt x="63" y="375"/>
                  </a:cubicBezTo>
                  <a:cubicBezTo>
                    <a:pt x="61" y="378"/>
                    <a:pt x="59" y="381"/>
                    <a:pt x="58" y="384"/>
                  </a:cubicBezTo>
                  <a:cubicBezTo>
                    <a:pt x="57" y="386"/>
                    <a:pt x="57" y="386"/>
                    <a:pt x="57" y="386"/>
                  </a:cubicBezTo>
                  <a:cubicBezTo>
                    <a:pt x="55" y="390"/>
                    <a:pt x="53" y="394"/>
                    <a:pt x="51" y="396"/>
                  </a:cubicBezTo>
                  <a:cubicBezTo>
                    <a:pt x="50" y="397"/>
                    <a:pt x="50" y="397"/>
                    <a:pt x="50" y="398"/>
                  </a:cubicBezTo>
                  <a:cubicBezTo>
                    <a:pt x="49" y="399"/>
                    <a:pt x="47" y="400"/>
                    <a:pt x="47" y="402"/>
                  </a:cubicBezTo>
                  <a:cubicBezTo>
                    <a:pt x="47" y="404"/>
                    <a:pt x="47" y="405"/>
                    <a:pt x="47" y="406"/>
                  </a:cubicBezTo>
                  <a:cubicBezTo>
                    <a:pt x="47" y="407"/>
                    <a:pt x="47" y="407"/>
                    <a:pt x="47" y="407"/>
                  </a:cubicBezTo>
                  <a:cubicBezTo>
                    <a:pt x="46" y="407"/>
                    <a:pt x="46" y="407"/>
                    <a:pt x="46" y="407"/>
                  </a:cubicBezTo>
                  <a:cubicBezTo>
                    <a:pt x="44" y="407"/>
                    <a:pt x="43" y="407"/>
                    <a:pt x="42" y="407"/>
                  </a:cubicBezTo>
                  <a:cubicBezTo>
                    <a:pt x="39" y="407"/>
                    <a:pt x="37" y="407"/>
                    <a:pt x="34" y="408"/>
                  </a:cubicBezTo>
                  <a:cubicBezTo>
                    <a:pt x="30" y="410"/>
                    <a:pt x="27" y="411"/>
                    <a:pt x="22" y="412"/>
                  </a:cubicBezTo>
                  <a:cubicBezTo>
                    <a:pt x="21" y="413"/>
                    <a:pt x="21" y="413"/>
                    <a:pt x="21" y="413"/>
                  </a:cubicBezTo>
                  <a:cubicBezTo>
                    <a:pt x="20" y="414"/>
                    <a:pt x="20" y="414"/>
                    <a:pt x="20" y="414"/>
                  </a:cubicBezTo>
                  <a:cubicBezTo>
                    <a:pt x="20" y="415"/>
                    <a:pt x="19" y="416"/>
                    <a:pt x="18" y="418"/>
                  </a:cubicBezTo>
                  <a:cubicBezTo>
                    <a:pt x="17" y="420"/>
                    <a:pt x="15" y="423"/>
                    <a:pt x="15" y="426"/>
                  </a:cubicBezTo>
                  <a:cubicBezTo>
                    <a:pt x="14" y="429"/>
                    <a:pt x="15" y="432"/>
                    <a:pt x="17" y="434"/>
                  </a:cubicBezTo>
                  <a:cubicBezTo>
                    <a:pt x="17" y="436"/>
                    <a:pt x="18" y="437"/>
                    <a:pt x="18" y="438"/>
                  </a:cubicBezTo>
                  <a:cubicBezTo>
                    <a:pt x="18" y="439"/>
                    <a:pt x="18" y="440"/>
                    <a:pt x="18" y="440"/>
                  </a:cubicBezTo>
                  <a:cubicBezTo>
                    <a:pt x="17" y="440"/>
                    <a:pt x="16" y="439"/>
                    <a:pt x="15" y="439"/>
                  </a:cubicBezTo>
                  <a:cubicBezTo>
                    <a:pt x="14" y="438"/>
                    <a:pt x="12" y="438"/>
                    <a:pt x="11" y="438"/>
                  </a:cubicBezTo>
                  <a:cubicBezTo>
                    <a:pt x="10" y="438"/>
                    <a:pt x="10" y="438"/>
                    <a:pt x="10" y="438"/>
                  </a:cubicBezTo>
                  <a:cubicBezTo>
                    <a:pt x="8" y="438"/>
                    <a:pt x="3" y="442"/>
                    <a:pt x="1" y="445"/>
                  </a:cubicBezTo>
                  <a:cubicBezTo>
                    <a:pt x="0" y="447"/>
                    <a:pt x="0" y="448"/>
                    <a:pt x="0" y="450"/>
                  </a:cubicBezTo>
                  <a:cubicBezTo>
                    <a:pt x="1" y="451"/>
                    <a:pt x="1" y="451"/>
                    <a:pt x="1" y="451"/>
                  </a:cubicBezTo>
                  <a:cubicBezTo>
                    <a:pt x="2" y="451"/>
                    <a:pt x="2" y="451"/>
                    <a:pt x="2" y="451"/>
                  </a:cubicBezTo>
                  <a:cubicBezTo>
                    <a:pt x="3" y="451"/>
                    <a:pt x="4" y="452"/>
                    <a:pt x="5" y="452"/>
                  </a:cubicBezTo>
                  <a:cubicBezTo>
                    <a:pt x="5" y="453"/>
                    <a:pt x="6" y="453"/>
                    <a:pt x="6" y="453"/>
                  </a:cubicBezTo>
                  <a:cubicBezTo>
                    <a:pt x="6" y="454"/>
                    <a:pt x="6" y="456"/>
                    <a:pt x="6" y="456"/>
                  </a:cubicBezTo>
                  <a:cubicBezTo>
                    <a:pt x="8" y="457"/>
                    <a:pt x="8" y="457"/>
                    <a:pt x="8" y="457"/>
                  </a:cubicBezTo>
                  <a:cubicBezTo>
                    <a:pt x="11" y="457"/>
                    <a:pt x="14" y="460"/>
                    <a:pt x="15" y="461"/>
                  </a:cubicBezTo>
                  <a:cubicBezTo>
                    <a:pt x="16" y="462"/>
                    <a:pt x="16" y="462"/>
                    <a:pt x="16" y="462"/>
                  </a:cubicBezTo>
                  <a:cubicBezTo>
                    <a:pt x="17" y="462"/>
                    <a:pt x="17" y="462"/>
                    <a:pt x="17" y="463"/>
                  </a:cubicBezTo>
                  <a:cubicBezTo>
                    <a:pt x="19" y="464"/>
                    <a:pt x="20" y="465"/>
                    <a:pt x="21" y="466"/>
                  </a:cubicBezTo>
                  <a:cubicBezTo>
                    <a:pt x="22" y="466"/>
                    <a:pt x="22" y="466"/>
                    <a:pt x="23" y="466"/>
                  </a:cubicBezTo>
                  <a:cubicBezTo>
                    <a:pt x="23" y="466"/>
                    <a:pt x="24" y="466"/>
                    <a:pt x="24" y="466"/>
                  </a:cubicBezTo>
                  <a:cubicBezTo>
                    <a:pt x="25" y="466"/>
                    <a:pt x="25" y="466"/>
                    <a:pt x="26" y="466"/>
                  </a:cubicBezTo>
                  <a:cubicBezTo>
                    <a:pt x="27" y="466"/>
                    <a:pt x="28" y="466"/>
                    <a:pt x="29" y="467"/>
                  </a:cubicBezTo>
                  <a:cubicBezTo>
                    <a:pt x="30" y="468"/>
                    <a:pt x="30" y="469"/>
                    <a:pt x="30" y="470"/>
                  </a:cubicBezTo>
                  <a:cubicBezTo>
                    <a:pt x="31" y="472"/>
                    <a:pt x="31" y="473"/>
                    <a:pt x="32" y="473"/>
                  </a:cubicBezTo>
                  <a:cubicBezTo>
                    <a:pt x="32" y="474"/>
                    <a:pt x="33" y="474"/>
                    <a:pt x="35" y="475"/>
                  </a:cubicBezTo>
                  <a:cubicBezTo>
                    <a:pt x="36" y="476"/>
                    <a:pt x="37" y="476"/>
                    <a:pt x="37" y="477"/>
                  </a:cubicBezTo>
                  <a:cubicBezTo>
                    <a:pt x="38" y="477"/>
                    <a:pt x="38" y="477"/>
                    <a:pt x="38" y="477"/>
                  </a:cubicBezTo>
                  <a:cubicBezTo>
                    <a:pt x="40" y="478"/>
                    <a:pt x="41" y="479"/>
                    <a:pt x="43" y="479"/>
                  </a:cubicBezTo>
                  <a:cubicBezTo>
                    <a:pt x="43" y="479"/>
                    <a:pt x="44" y="480"/>
                    <a:pt x="44" y="480"/>
                  </a:cubicBezTo>
                  <a:cubicBezTo>
                    <a:pt x="46" y="479"/>
                    <a:pt x="46" y="479"/>
                    <a:pt x="46" y="479"/>
                  </a:cubicBezTo>
                  <a:cubicBezTo>
                    <a:pt x="47" y="479"/>
                    <a:pt x="49" y="480"/>
                    <a:pt x="50" y="481"/>
                  </a:cubicBezTo>
                  <a:cubicBezTo>
                    <a:pt x="51" y="482"/>
                    <a:pt x="52" y="483"/>
                    <a:pt x="53" y="484"/>
                  </a:cubicBezTo>
                  <a:cubicBezTo>
                    <a:pt x="53" y="485"/>
                    <a:pt x="54" y="485"/>
                    <a:pt x="55" y="486"/>
                  </a:cubicBezTo>
                  <a:cubicBezTo>
                    <a:pt x="57" y="487"/>
                    <a:pt x="60" y="489"/>
                    <a:pt x="62" y="489"/>
                  </a:cubicBezTo>
                  <a:cubicBezTo>
                    <a:pt x="63" y="490"/>
                    <a:pt x="63" y="490"/>
                    <a:pt x="63" y="490"/>
                  </a:cubicBezTo>
                  <a:cubicBezTo>
                    <a:pt x="63" y="492"/>
                    <a:pt x="63" y="494"/>
                    <a:pt x="63" y="495"/>
                  </a:cubicBezTo>
                  <a:cubicBezTo>
                    <a:pt x="63" y="500"/>
                    <a:pt x="63" y="500"/>
                    <a:pt x="63" y="500"/>
                  </a:cubicBezTo>
                  <a:cubicBezTo>
                    <a:pt x="65" y="500"/>
                    <a:pt x="65" y="500"/>
                    <a:pt x="65" y="500"/>
                  </a:cubicBezTo>
                  <a:cubicBezTo>
                    <a:pt x="71" y="501"/>
                    <a:pt x="75" y="502"/>
                    <a:pt x="80" y="504"/>
                  </a:cubicBezTo>
                  <a:cubicBezTo>
                    <a:pt x="84" y="506"/>
                    <a:pt x="90" y="507"/>
                    <a:pt x="93" y="507"/>
                  </a:cubicBezTo>
                  <a:cubicBezTo>
                    <a:pt x="95" y="507"/>
                    <a:pt x="95" y="507"/>
                    <a:pt x="96" y="506"/>
                  </a:cubicBezTo>
                  <a:cubicBezTo>
                    <a:pt x="96" y="506"/>
                    <a:pt x="96" y="506"/>
                    <a:pt x="96" y="506"/>
                  </a:cubicBezTo>
                  <a:cubicBezTo>
                    <a:pt x="97" y="506"/>
                    <a:pt x="97" y="506"/>
                    <a:pt x="97" y="506"/>
                  </a:cubicBezTo>
                  <a:cubicBezTo>
                    <a:pt x="98" y="505"/>
                    <a:pt x="98" y="504"/>
                    <a:pt x="98" y="503"/>
                  </a:cubicBezTo>
                  <a:cubicBezTo>
                    <a:pt x="98" y="501"/>
                    <a:pt x="98" y="500"/>
                    <a:pt x="101" y="499"/>
                  </a:cubicBezTo>
                  <a:cubicBezTo>
                    <a:pt x="102" y="499"/>
                    <a:pt x="103" y="499"/>
                    <a:pt x="104" y="499"/>
                  </a:cubicBezTo>
                  <a:cubicBezTo>
                    <a:pt x="107" y="499"/>
                    <a:pt x="109" y="500"/>
                    <a:pt x="111" y="501"/>
                  </a:cubicBezTo>
                  <a:cubicBezTo>
                    <a:pt x="113" y="502"/>
                    <a:pt x="115" y="505"/>
                    <a:pt x="116" y="507"/>
                  </a:cubicBezTo>
                  <a:cubicBezTo>
                    <a:pt x="117" y="509"/>
                    <a:pt x="119" y="511"/>
                    <a:pt x="122" y="512"/>
                  </a:cubicBezTo>
                  <a:cubicBezTo>
                    <a:pt x="123" y="513"/>
                    <a:pt x="124" y="513"/>
                    <a:pt x="125" y="513"/>
                  </a:cubicBezTo>
                  <a:cubicBezTo>
                    <a:pt x="127" y="514"/>
                    <a:pt x="130" y="515"/>
                    <a:pt x="132" y="516"/>
                  </a:cubicBezTo>
                  <a:cubicBezTo>
                    <a:pt x="133" y="517"/>
                    <a:pt x="133" y="517"/>
                    <a:pt x="134" y="518"/>
                  </a:cubicBezTo>
                  <a:cubicBezTo>
                    <a:pt x="134" y="518"/>
                    <a:pt x="135" y="519"/>
                    <a:pt x="136" y="520"/>
                  </a:cubicBezTo>
                  <a:cubicBezTo>
                    <a:pt x="138" y="521"/>
                    <a:pt x="138" y="521"/>
                    <a:pt x="138" y="521"/>
                  </a:cubicBezTo>
                  <a:cubicBezTo>
                    <a:pt x="139" y="520"/>
                    <a:pt x="139" y="520"/>
                    <a:pt x="139" y="520"/>
                  </a:cubicBezTo>
                  <a:cubicBezTo>
                    <a:pt x="140" y="520"/>
                    <a:pt x="141" y="520"/>
                    <a:pt x="142" y="520"/>
                  </a:cubicBezTo>
                  <a:cubicBezTo>
                    <a:pt x="146" y="520"/>
                    <a:pt x="149" y="521"/>
                    <a:pt x="151" y="522"/>
                  </a:cubicBezTo>
                  <a:cubicBezTo>
                    <a:pt x="152" y="522"/>
                    <a:pt x="152" y="523"/>
                    <a:pt x="152" y="523"/>
                  </a:cubicBezTo>
                  <a:cubicBezTo>
                    <a:pt x="153" y="524"/>
                    <a:pt x="153" y="524"/>
                    <a:pt x="153" y="524"/>
                  </a:cubicBezTo>
                  <a:cubicBezTo>
                    <a:pt x="154" y="525"/>
                    <a:pt x="154" y="525"/>
                    <a:pt x="154" y="525"/>
                  </a:cubicBezTo>
                  <a:cubicBezTo>
                    <a:pt x="155" y="525"/>
                    <a:pt x="156" y="525"/>
                    <a:pt x="156" y="525"/>
                  </a:cubicBezTo>
                  <a:cubicBezTo>
                    <a:pt x="158" y="526"/>
                    <a:pt x="159" y="526"/>
                    <a:pt x="160" y="528"/>
                  </a:cubicBezTo>
                  <a:cubicBezTo>
                    <a:pt x="161" y="529"/>
                    <a:pt x="161" y="529"/>
                    <a:pt x="161" y="529"/>
                  </a:cubicBezTo>
                  <a:cubicBezTo>
                    <a:pt x="162" y="530"/>
                    <a:pt x="163" y="530"/>
                    <a:pt x="164" y="531"/>
                  </a:cubicBezTo>
                  <a:cubicBezTo>
                    <a:pt x="166" y="532"/>
                    <a:pt x="168" y="534"/>
                    <a:pt x="170" y="536"/>
                  </a:cubicBezTo>
                  <a:cubicBezTo>
                    <a:pt x="170" y="537"/>
                    <a:pt x="171" y="539"/>
                    <a:pt x="171" y="540"/>
                  </a:cubicBezTo>
                  <a:cubicBezTo>
                    <a:pt x="172" y="544"/>
                    <a:pt x="173" y="546"/>
                    <a:pt x="175" y="547"/>
                  </a:cubicBezTo>
                  <a:cubicBezTo>
                    <a:pt x="175" y="547"/>
                    <a:pt x="175" y="547"/>
                    <a:pt x="175" y="548"/>
                  </a:cubicBezTo>
                  <a:cubicBezTo>
                    <a:pt x="175" y="548"/>
                    <a:pt x="176" y="549"/>
                    <a:pt x="176" y="550"/>
                  </a:cubicBezTo>
                  <a:cubicBezTo>
                    <a:pt x="177" y="550"/>
                    <a:pt x="177" y="551"/>
                    <a:pt x="177" y="551"/>
                  </a:cubicBezTo>
                  <a:cubicBezTo>
                    <a:pt x="177" y="552"/>
                    <a:pt x="177" y="553"/>
                    <a:pt x="177" y="554"/>
                  </a:cubicBezTo>
                  <a:cubicBezTo>
                    <a:pt x="177" y="555"/>
                    <a:pt x="177" y="556"/>
                    <a:pt x="177" y="556"/>
                  </a:cubicBezTo>
                  <a:cubicBezTo>
                    <a:pt x="177" y="556"/>
                    <a:pt x="177" y="556"/>
                    <a:pt x="177" y="556"/>
                  </a:cubicBezTo>
                  <a:cubicBezTo>
                    <a:pt x="177" y="557"/>
                    <a:pt x="177" y="557"/>
                    <a:pt x="177" y="557"/>
                  </a:cubicBezTo>
                  <a:cubicBezTo>
                    <a:pt x="178" y="558"/>
                    <a:pt x="180" y="559"/>
                    <a:pt x="183" y="559"/>
                  </a:cubicBezTo>
                  <a:cubicBezTo>
                    <a:pt x="184" y="560"/>
                    <a:pt x="185" y="560"/>
                    <a:pt x="186" y="561"/>
                  </a:cubicBezTo>
                  <a:cubicBezTo>
                    <a:pt x="188" y="561"/>
                    <a:pt x="189" y="563"/>
                    <a:pt x="190" y="564"/>
                  </a:cubicBezTo>
                  <a:cubicBezTo>
                    <a:pt x="191" y="565"/>
                    <a:pt x="192" y="566"/>
                    <a:pt x="193" y="567"/>
                  </a:cubicBezTo>
                  <a:cubicBezTo>
                    <a:pt x="194" y="567"/>
                    <a:pt x="195" y="568"/>
                    <a:pt x="196" y="568"/>
                  </a:cubicBezTo>
                  <a:cubicBezTo>
                    <a:pt x="198" y="569"/>
                    <a:pt x="199" y="570"/>
                    <a:pt x="201" y="572"/>
                  </a:cubicBezTo>
                  <a:cubicBezTo>
                    <a:pt x="203" y="574"/>
                    <a:pt x="205" y="576"/>
                    <a:pt x="206" y="580"/>
                  </a:cubicBezTo>
                  <a:cubicBezTo>
                    <a:pt x="207" y="582"/>
                    <a:pt x="207" y="583"/>
                    <a:pt x="207" y="585"/>
                  </a:cubicBezTo>
                  <a:cubicBezTo>
                    <a:pt x="207" y="587"/>
                    <a:pt x="207" y="589"/>
                    <a:pt x="208" y="591"/>
                  </a:cubicBezTo>
                  <a:cubicBezTo>
                    <a:pt x="209" y="591"/>
                    <a:pt x="209" y="592"/>
                    <a:pt x="211" y="592"/>
                  </a:cubicBezTo>
                  <a:cubicBezTo>
                    <a:pt x="216" y="592"/>
                    <a:pt x="216" y="592"/>
                    <a:pt x="216" y="592"/>
                  </a:cubicBezTo>
                  <a:cubicBezTo>
                    <a:pt x="215" y="591"/>
                    <a:pt x="215" y="591"/>
                    <a:pt x="215" y="591"/>
                  </a:cubicBezTo>
                  <a:cubicBezTo>
                    <a:pt x="215" y="591"/>
                    <a:pt x="215" y="591"/>
                    <a:pt x="215" y="591"/>
                  </a:cubicBezTo>
                  <a:cubicBezTo>
                    <a:pt x="216" y="591"/>
                    <a:pt x="217" y="592"/>
                    <a:pt x="217" y="592"/>
                  </a:cubicBezTo>
                  <a:cubicBezTo>
                    <a:pt x="223" y="594"/>
                    <a:pt x="222" y="601"/>
                    <a:pt x="221" y="607"/>
                  </a:cubicBezTo>
                  <a:cubicBezTo>
                    <a:pt x="221" y="607"/>
                    <a:pt x="221" y="607"/>
                    <a:pt x="221" y="607"/>
                  </a:cubicBezTo>
                  <a:cubicBezTo>
                    <a:pt x="221" y="608"/>
                    <a:pt x="221" y="609"/>
                    <a:pt x="220" y="609"/>
                  </a:cubicBezTo>
                  <a:cubicBezTo>
                    <a:pt x="220" y="611"/>
                    <a:pt x="220" y="613"/>
                    <a:pt x="221" y="614"/>
                  </a:cubicBezTo>
                  <a:cubicBezTo>
                    <a:pt x="224" y="618"/>
                    <a:pt x="230" y="618"/>
                    <a:pt x="235" y="619"/>
                  </a:cubicBezTo>
                  <a:cubicBezTo>
                    <a:pt x="237" y="619"/>
                    <a:pt x="239" y="618"/>
                    <a:pt x="240" y="617"/>
                  </a:cubicBezTo>
                  <a:cubicBezTo>
                    <a:pt x="242" y="617"/>
                    <a:pt x="243" y="616"/>
                    <a:pt x="245" y="616"/>
                  </a:cubicBezTo>
                  <a:cubicBezTo>
                    <a:pt x="246" y="616"/>
                    <a:pt x="246" y="616"/>
                    <a:pt x="246" y="616"/>
                  </a:cubicBezTo>
                  <a:cubicBezTo>
                    <a:pt x="248" y="617"/>
                    <a:pt x="249" y="617"/>
                    <a:pt x="250" y="618"/>
                  </a:cubicBezTo>
                  <a:cubicBezTo>
                    <a:pt x="251" y="618"/>
                    <a:pt x="252" y="618"/>
                    <a:pt x="253" y="618"/>
                  </a:cubicBezTo>
                  <a:cubicBezTo>
                    <a:pt x="255" y="618"/>
                    <a:pt x="256" y="618"/>
                    <a:pt x="257" y="617"/>
                  </a:cubicBezTo>
                  <a:cubicBezTo>
                    <a:pt x="258" y="616"/>
                    <a:pt x="259" y="616"/>
                    <a:pt x="260" y="615"/>
                  </a:cubicBezTo>
                  <a:cubicBezTo>
                    <a:pt x="263" y="614"/>
                    <a:pt x="266" y="613"/>
                    <a:pt x="266" y="610"/>
                  </a:cubicBezTo>
                  <a:cubicBezTo>
                    <a:pt x="266" y="610"/>
                    <a:pt x="266" y="610"/>
                    <a:pt x="266" y="609"/>
                  </a:cubicBezTo>
                  <a:cubicBezTo>
                    <a:pt x="269" y="608"/>
                    <a:pt x="271" y="607"/>
                    <a:pt x="273" y="607"/>
                  </a:cubicBezTo>
                  <a:cubicBezTo>
                    <a:pt x="275" y="607"/>
                    <a:pt x="278" y="608"/>
                    <a:pt x="280" y="610"/>
                  </a:cubicBezTo>
                  <a:cubicBezTo>
                    <a:pt x="281" y="610"/>
                    <a:pt x="281" y="611"/>
                    <a:pt x="281" y="611"/>
                  </a:cubicBezTo>
                  <a:cubicBezTo>
                    <a:pt x="282" y="612"/>
                    <a:pt x="282" y="612"/>
                    <a:pt x="282" y="612"/>
                  </a:cubicBezTo>
                  <a:cubicBezTo>
                    <a:pt x="285" y="613"/>
                    <a:pt x="285" y="613"/>
                    <a:pt x="285" y="613"/>
                  </a:cubicBezTo>
                  <a:cubicBezTo>
                    <a:pt x="285" y="613"/>
                    <a:pt x="286" y="613"/>
                    <a:pt x="286" y="613"/>
                  </a:cubicBezTo>
                  <a:cubicBezTo>
                    <a:pt x="287" y="613"/>
                    <a:pt x="287" y="613"/>
                    <a:pt x="288" y="613"/>
                  </a:cubicBezTo>
                  <a:cubicBezTo>
                    <a:pt x="289" y="613"/>
                    <a:pt x="290" y="614"/>
                    <a:pt x="290" y="614"/>
                  </a:cubicBezTo>
                  <a:cubicBezTo>
                    <a:pt x="291" y="614"/>
                    <a:pt x="292" y="613"/>
                    <a:pt x="293" y="613"/>
                  </a:cubicBezTo>
                  <a:cubicBezTo>
                    <a:pt x="294" y="612"/>
                    <a:pt x="295" y="612"/>
                    <a:pt x="295" y="611"/>
                  </a:cubicBezTo>
                  <a:cubicBezTo>
                    <a:pt x="296" y="609"/>
                    <a:pt x="297" y="608"/>
                    <a:pt x="299" y="608"/>
                  </a:cubicBezTo>
                  <a:cubicBezTo>
                    <a:pt x="300" y="608"/>
                    <a:pt x="300" y="608"/>
                    <a:pt x="300" y="608"/>
                  </a:cubicBezTo>
                  <a:cubicBezTo>
                    <a:pt x="302" y="608"/>
                    <a:pt x="306" y="610"/>
                    <a:pt x="307" y="611"/>
                  </a:cubicBezTo>
                  <a:cubicBezTo>
                    <a:pt x="309" y="612"/>
                    <a:pt x="311" y="614"/>
                    <a:pt x="312" y="615"/>
                  </a:cubicBezTo>
                  <a:cubicBezTo>
                    <a:pt x="314" y="617"/>
                    <a:pt x="316" y="619"/>
                    <a:pt x="319" y="620"/>
                  </a:cubicBezTo>
                  <a:cubicBezTo>
                    <a:pt x="320" y="621"/>
                    <a:pt x="320" y="621"/>
                    <a:pt x="320" y="621"/>
                  </a:cubicBezTo>
                  <a:cubicBezTo>
                    <a:pt x="325" y="623"/>
                    <a:pt x="328" y="625"/>
                    <a:pt x="330" y="627"/>
                  </a:cubicBezTo>
                  <a:cubicBezTo>
                    <a:pt x="332" y="630"/>
                    <a:pt x="331" y="632"/>
                    <a:pt x="329" y="636"/>
                  </a:cubicBezTo>
                  <a:cubicBezTo>
                    <a:pt x="328" y="636"/>
                    <a:pt x="328" y="637"/>
                    <a:pt x="328" y="638"/>
                  </a:cubicBezTo>
                  <a:cubicBezTo>
                    <a:pt x="325" y="644"/>
                    <a:pt x="321" y="651"/>
                    <a:pt x="318" y="657"/>
                  </a:cubicBezTo>
                  <a:cubicBezTo>
                    <a:pt x="317" y="659"/>
                    <a:pt x="316" y="661"/>
                    <a:pt x="314" y="663"/>
                  </a:cubicBezTo>
                  <a:cubicBezTo>
                    <a:pt x="313" y="665"/>
                    <a:pt x="311" y="670"/>
                    <a:pt x="311" y="672"/>
                  </a:cubicBezTo>
                  <a:cubicBezTo>
                    <a:pt x="311" y="674"/>
                    <a:pt x="311" y="675"/>
                    <a:pt x="313" y="676"/>
                  </a:cubicBezTo>
                  <a:cubicBezTo>
                    <a:pt x="313" y="676"/>
                    <a:pt x="314" y="677"/>
                    <a:pt x="315" y="677"/>
                  </a:cubicBezTo>
                  <a:cubicBezTo>
                    <a:pt x="316" y="677"/>
                    <a:pt x="316" y="677"/>
                    <a:pt x="316" y="677"/>
                  </a:cubicBezTo>
                  <a:cubicBezTo>
                    <a:pt x="316" y="676"/>
                    <a:pt x="316" y="676"/>
                    <a:pt x="316" y="676"/>
                  </a:cubicBezTo>
                  <a:cubicBezTo>
                    <a:pt x="317" y="676"/>
                    <a:pt x="318" y="675"/>
                    <a:pt x="318" y="674"/>
                  </a:cubicBezTo>
                  <a:cubicBezTo>
                    <a:pt x="319" y="673"/>
                    <a:pt x="319" y="672"/>
                    <a:pt x="320" y="672"/>
                  </a:cubicBezTo>
                  <a:cubicBezTo>
                    <a:pt x="321" y="672"/>
                    <a:pt x="322" y="673"/>
                    <a:pt x="323" y="674"/>
                  </a:cubicBezTo>
                  <a:cubicBezTo>
                    <a:pt x="325" y="675"/>
                    <a:pt x="326" y="677"/>
                    <a:pt x="328" y="679"/>
                  </a:cubicBezTo>
                  <a:cubicBezTo>
                    <a:pt x="328" y="680"/>
                    <a:pt x="329" y="680"/>
                    <a:pt x="329" y="681"/>
                  </a:cubicBezTo>
                  <a:cubicBezTo>
                    <a:pt x="331" y="683"/>
                    <a:pt x="332" y="685"/>
                    <a:pt x="333" y="686"/>
                  </a:cubicBezTo>
                  <a:cubicBezTo>
                    <a:pt x="337" y="692"/>
                    <a:pt x="337" y="692"/>
                    <a:pt x="337" y="692"/>
                  </a:cubicBezTo>
                  <a:cubicBezTo>
                    <a:pt x="343" y="651"/>
                    <a:pt x="343" y="651"/>
                    <a:pt x="343" y="651"/>
                  </a:cubicBezTo>
                  <a:cubicBezTo>
                    <a:pt x="344" y="641"/>
                    <a:pt x="345" y="631"/>
                    <a:pt x="347" y="621"/>
                  </a:cubicBezTo>
                  <a:cubicBezTo>
                    <a:pt x="348" y="611"/>
                    <a:pt x="350" y="602"/>
                    <a:pt x="351" y="592"/>
                  </a:cubicBezTo>
                  <a:cubicBezTo>
                    <a:pt x="351" y="589"/>
                    <a:pt x="352" y="587"/>
                    <a:pt x="352" y="585"/>
                  </a:cubicBezTo>
                  <a:cubicBezTo>
                    <a:pt x="353" y="578"/>
                    <a:pt x="355" y="571"/>
                    <a:pt x="354" y="565"/>
                  </a:cubicBezTo>
                  <a:cubicBezTo>
                    <a:pt x="353" y="561"/>
                    <a:pt x="352" y="558"/>
                    <a:pt x="349" y="555"/>
                  </a:cubicBezTo>
                  <a:cubicBezTo>
                    <a:pt x="348" y="553"/>
                    <a:pt x="347" y="551"/>
                    <a:pt x="346" y="549"/>
                  </a:cubicBezTo>
                  <a:cubicBezTo>
                    <a:pt x="346" y="548"/>
                    <a:pt x="346" y="547"/>
                    <a:pt x="346" y="546"/>
                  </a:cubicBezTo>
                  <a:cubicBezTo>
                    <a:pt x="346" y="545"/>
                    <a:pt x="347" y="543"/>
                    <a:pt x="346" y="542"/>
                  </a:cubicBezTo>
                  <a:cubicBezTo>
                    <a:pt x="345" y="537"/>
                    <a:pt x="341" y="534"/>
                    <a:pt x="337" y="531"/>
                  </a:cubicBezTo>
                  <a:cubicBezTo>
                    <a:pt x="334" y="529"/>
                    <a:pt x="331" y="527"/>
                    <a:pt x="329" y="524"/>
                  </a:cubicBezTo>
                  <a:cubicBezTo>
                    <a:pt x="329" y="517"/>
                    <a:pt x="329" y="517"/>
                    <a:pt x="329" y="517"/>
                  </a:cubicBezTo>
                  <a:cubicBezTo>
                    <a:pt x="329" y="513"/>
                    <a:pt x="329" y="510"/>
                    <a:pt x="329" y="506"/>
                  </a:cubicBezTo>
                  <a:cubicBezTo>
                    <a:pt x="329" y="505"/>
                    <a:pt x="329" y="504"/>
                    <a:pt x="329" y="503"/>
                  </a:cubicBezTo>
                  <a:cubicBezTo>
                    <a:pt x="329" y="500"/>
                    <a:pt x="328" y="497"/>
                    <a:pt x="329" y="495"/>
                  </a:cubicBezTo>
                  <a:cubicBezTo>
                    <a:pt x="330" y="492"/>
                    <a:pt x="333" y="491"/>
                    <a:pt x="337" y="491"/>
                  </a:cubicBezTo>
                  <a:cubicBezTo>
                    <a:pt x="339" y="491"/>
                    <a:pt x="341" y="491"/>
                    <a:pt x="342" y="490"/>
                  </a:cubicBezTo>
                  <a:cubicBezTo>
                    <a:pt x="343" y="490"/>
                    <a:pt x="344" y="489"/>
                    <a:pt x="345" y="489"/>
                  </a:cubicBezTo>
                  <a:cubicBezTo>
                    <a:pt x="347" y="488"/>
                    <a:pt x="348" y="487"/>
                    <a:pt x="350" y="487"/>
                  </a:cubicBezTo>
                  <a:cubicBezTo>
                    <a:pt x="351" y="487"/>
                    <a:pt x="353" y="487"/>
                    <a:pt x="354" y="488"/>
                  </a:cubicBezTo>
                  <a:cubicBezTo>
                    <a:pt x="355" y="489"/>
                    <a:pt x="357" y="489"/>
                    <a:pt x="357" y="489"/>
                  </a:cubicBezTo>
                  <a:cubicBezTo>
                    <a:pt x="358" y="489"/>
                    <a:pt x="359" y="489"/>
                    <a:pt x="360" y="488"/>
                  </a:cubicBezTo>
                  <a:cubicBezTo>
                    <a:pt x="361" y="487"/>
                    <a:pt x="362" y="484"/>
                    <a:pt x="361" y="481"/>
                  </a:cubicBezTo>
                  <a:cubicBezTo>
                    <a:pt x="360" y="478"/>
                    <a:pt x="358" y="474"/>
                    <a:pt x="354" y="473"/>
                  </a:cubicBezTo>
                  <a:cubicBezTo>
                    <a:pt x="349" y="472"/>
                    <a:pt x="342" y="472"/>
                    <a:pt x="337" y="472"/>
                  </a:cubicBezTo>
                  <a:cubicBezTo>
                    <a:pt x="337" y="472"/>
                    <a:pt x="337" y="472"/>
                    <a:pt x="337" y="472"/>
                  </a:cubicBezTo>
                  <a:cubicBezTo>
                    <a:pt x="337" y="471"/>
                    <a:pt x="337" y="471"/>
                    <a:pt x="337" y="471"/>
                  </a:cubicBezTo>
                  <a:cubicBezTo>
                    <a:pt x="337" y="457"/>
                    <a:pt x="337" y="457"/>
                    <a:pt x="337" y="457"/>
                  </a:cubicBezTo>
                  <a:cubicBezTo>
                    <a:pt x="338" y="456"/>
                    <a:pt x="338" y="455"/>
                    <a:pt x="338" y="454"/>
                  </a:cubicBezTo>
                  <a:cubicBezTo>
                    <a:pt x="338" y="452"/>
                    <a:pt x="338" y="450"/>
                    <a:pt x="338" y="448"/>
                  </a:cubicBezTo>
                  <a:cubicBezTo>
                    <a:pt x="338" y="447"/>
                    <a:pt x="338" y="447"/>
                    <a:pt x="338" y="447"/>
                  </a:cubicBezTo>
                  <a:cubicBezTo>
                    <a:pt x="338" y="446"/>
                    <a:pt x="339" y="445"/>
                    <a:pt x="340" y="445"/>
                  </a:cubicBezTo>
                  <a:cubicBezTo>
                    <a:pt x="342" y="444"/>
                    <a:pt x="346" y="443"/>
                    <a:pt x="348" y="443"/>
                  </a:cubicBezTo>
                  <a:cubicBezTo>
                    <a:pt x="350" y="443"/>
                    <a:pt x="352" y="444"/>
                    <a:pt x="354" y="444"/>
                  </a:cubicBezTo>
                  <a:cubicBezTo>
                    <a:pt x="355" y="444"/>
                    <a:pt x="356" y="444"/>
                    <a:pt x="358" y="445"/>
                  </a:cubicBezTo>
                  <a:cubicBezTo>
                    <a:pt x="362" y="445"/>
                    <a:pt x="362" y="445"/>
                    <a:pt x="362" y="445"/>
                  </a:cubicBezTo>
                  <a:cubicBezTo>
                    <a:pt x="367" y="445"/>
                    <a:pt x="367" y="445"/>
                    <a:pt x="367" y="445"/>
                  </a:cubicBezTo>
                  <a:cubicBezTo>
                    <a:pt x="369" y="445"/>
                    <a:pt x="378" y="445"/>
                    <a:pt x="378" y="445"/>
                  </a:cubicBezTo>
                  <a:cubicBezTo>
                    <a:pt x="378" y="445"/>
                    <a:pt x="383" y="445"/>
                    <a:pt x="385" y="445"/>
                  </a:cubicBezTo>
                  <a:cubicBezTo>
                    <a:pt x="385" y="445"/>
                    <a:pt x="386" y="445"/>
                    <a:pt x="387" y="445"/>
                  </a:cubicBezTo>
                  <a:cubicBezTo>
                    <a:pt x="388" y="445"/>
                    <a:pt x="390" y="445"/>
                    <a:pt x="391" y="445"/>
                  </a:cubicBezTo>
                  <a:cubicBezTo>
                    <a:pt x="392" y="445"/>
                    <a:pt x="393" y="445"/>
                    <a:pt x="393" y="445"/>
                  </a:cubicBezTo>
                  <a:cubicBezTo>
                    <a:pt x="394" y="445"/>
                    <a:pt x="394" y="445"/>
                    <a:pt x="394" y="445"/>
                  </a:cubicBezTo>
                  <a:cubicBezTo>
                    <a:pt x="394" y="444"/>
                    <a:pt x="394" y="444"/>
                    <a:pt x="394" y="444"/>
                  </a:cubicBezTo>
                  <a:cubicBezTo>
                    <a:pt x="395" y="443"/>
                    <a:pt x="395" y="442"/>
                    <a:pt x="395" y="440"/>
                  </a:cubicBezTo>
                  <a:cubicBezTo>
                    <a:pt x="396" y="437"/>
                    <a:pt x="396" y="435"/>
                    <a:pt x="398" y="434"/>
                  </a:cubicBezTo>
                  <a:cubicBezTo>
                    <a:pt x="399" y="434"/>
                    <a:pt x="399" y="434"/>
                    <a:pt x="399" y="434"/>
                  </a:cubicBezTo>
                  <a:cubicBezTo>
                    <a:pt x="401" y="434"/>
                    <a:pt x="403" y="438"/>
                    <a:pt x="404" y="440"/>
                  </a:cubicBezTo>
                  <a:cubicBezTo>
                    <a:pt x="405" y="441"/>
                    <a:pt x="405" y="441"/>
                    <a:pt x="405" y="442"/>
                  </a:cubicBezTo>
                  <a:cubicBezTo>
                    <a:pt x="406" y="443"/>
                    <a:pt x="407" y="444"/>
                    <a:pt x="409" y="444"/>
                  </a:cubicBezTo>
                  <a:cubicBezTo>
                    <a:pt x="410" y="444"/>
                    <a:pt x="412" y="443"/>
                    <a:pt x="415" y="439"/>
                  </a:cubicBezTo>
                  <a:cubicBezTo>
                    <a:pt x="416" y="438"/>
                    <a:pt x="416" y="437"/>
                    <a:pt x="417" y="437"/>
                  </a:cubicBezTo>
                  <a:cubicBezTo>
                    <a:pt x="419" y="434"/>
                    <a:pt x="421" y="433"/>
                    <a:pt x="423" y="433"/>
                  </a:cubicBezTo>
                  <a:cubicBezTo>
                    <a:pt x="423" y="433"/>
                    <a:pt x="424" y="433"/>
                    <a:pt x="424" y="433"/>
                  </a:cubicBezTo>
                  <a:cubicBezTo>
                    <a:pt x="428" y="434"/>
                    <a:pt x="431" y="439"/>
                    <a:pt x="432" y="443"/>
                  </a:cubicBezTo>
                  <a:cubicBezTo>
                    <a:pt x="433" y="446"/>
                    <a:pt x="434" y="450"/>
                    <a:pt x="434" y="453"/>
                  </a:cubicBezTo>
                  <a:cubicBezTo>
                    <a:pt x="436" y="461"/>
                    <a:pt x="437" y="467"/>
                    <a:pt x="442" y="468"/>
                  </a:cubicBezTo>
                  <a:cubicBezTo>
                    <a:pt x="446" y="470"/>
                    <a:pt x="446" y="470"/>
                    <a:pt x="446" y="470"/>
                  </a:cubicBezTo>
                  <a:lnTo>
                    <a:pt x="445" y="466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2706" y="273"/>
              <a:ext cx="264" cy="459"/>
            </a:xfrm>
            <a:custGeom>
              <a:avLst/>
              <a:gdLst>
                <a:gd name="T0" fmla="*/ 166 w 172"/>
                <a:gd name="T1" fmla="*/ 257 h 300"/>
                <a:gd name="T2" fmla="*/ 158 w 172"/>
                <a:gd name="T3" fmla="*/ 243 h 300"/>
                <a:gd name="T4" fmla="*/ 146 w 172"/>
                <a:gd name="T5" fmla="*/ 209 h 300"/>
                <a:gd name="T6" fmla="*/ 143 w 172"/>
                <a:gd name="T7" fmla="*/ 210 h 300"/>
                <a:gd name="T8" fmla="*/ 134 w 172"/>
                <a:gd name="T9" fmla="*/ 203 h 300"/>
                <a:gd name="T10" fmla="*/ 122 w 172"/>
                <a:gd name="T11" fmla="*/ 174 h 300"/>
                <a:gd name="T12" fmla="*/ 127 w 172"/>
                <a:gd name="T13" fmla="*/ 153 h 300"/>
                <a:gd name="T14" fmla="*/ 134 w 172"/>
                <a:gd name="T15" fmla="*/ 141 h 300"/>
                <a:gd name="T16" fmla="*/ 140 w 172"/>
                <a:gd name="T17" fmla="*/ 140 h 300"/>
                <a:gd name="T18" fmla="*/ 151 w 172"/>
                <a:gd name="T19" fmla="*/ 133 h 300"/>
                <a:gd name="T20" fmla="*/ 151 w 172"/>
                <a:gd name="T21" fmla="*/ 121 h 300"/>
                <a:gd name="T22" fmla="*/ 157 w 172"/>
                <a:gd name="T23" fmla="*/ 101 h 300"/>
                <a:gd name="T24" fmla="*/ 158 w 172"/>
                <a:gd name="T25" fmla="*/ 96 h 300"/>
                <a:gd name="T26" fmla="*/ 151 w 172"/>
                <a:gd name="T27" fmla="*/ 84 h 300"/>
                <a:gd name="T28" fmla="*/ 144 w 172"/>
                <a:gd name="T29" fmla="*/ 84 h 300"/>
                <a:gd name="T30" fmla="*/ 141 w 172"/>
                <a:gd name="T31" fmla="*/ 76 h 300"/>
                <a:gd name="T32" fmla="*/ 117 w 172"/>
                <a:gd name="T33" fmla="*/ 60 h 300"/>
                <a:gd name="T34" fmla="*/ 106 w 172"/>
                <a:gd name="T35" fmla="*/ 67 h 300"/>
                <a:gd name="T36" fmla="*/ 112 w 172"/>
                <a:gd name="T37" fmla="*/ 56 h 300"/>
                <a:gd name="T38" fmla="*/ 111 w 172"/>
                <a:gd name="T39" fmla="*/ 45 h 300"/>
                <a:gd name="T40" fmla="*/ 105 w 172"/>
                <a:gd name="T41" fmla="*/ 33 h 300"/>
                <a:gd name="T42" fmla="*/ 92 w 172"/>
                <a:gd name="T43" fmla="*/ 17 h 300"/>
                <a:gd name="T44" fmla="*/ 84 w 172"/>
                <a:gd name="T45" fmla="*/ 10 h 300"/>
                <a:gd name="T46" fmla="*/ 72 w 172"/>
                <a:gd name="T47" fmla="*/ 3 h 300"/>
                <a:gd name="T48" fmla="*/ 65 w 172"/>
                <a:gd name="T49" fmla="*/ 1 h 300"/>
                <a:gd name="T50" fmla="*/ 39 w 172"/>
                <a:gd name="T51" fmla="*/ 23 h 300"/>
                <a:gd name="T52" fmla="*/ 32 w 172"/>
                <a:gd name="T53" fmla="*/ 42 h 300"/>
                <a:gd name="T54" fmla="*/ 31 w 172"/>
                <a:gd name="T55" fmla="*/ 52 h 300"/>
                <a:gd name="T56" fmla="*/ 38 w 172"/>
                <a:gd name="T57" fmla="*/ 50 h 300"/>
                <a:gd name="T58" fmla="*/ 34 w 172"/>
                <a:gd name="T59" fmla="*/ 63 h 300"/>
                <a:gd name="T60" fmla="*/ 11 w 172"/>
                <a:gd name="T61" fmla="*/ 69 h 300"/>
                <a:gd name="T62" fmla="*/ 11 w 172"/>
                <a:gd name="T63" fmla="*/ 89 h 300"/>
                <a:gd name="T64" fmla="*/ 7 w 172"/>
                <a:gd name="T65" fmla="*/ 109 h 300"/>
                <a:gd name="T66" fmla="*/ 19 w 172"/>
                <a:gd name="T67" fmla="*/ 125 h 300"/>
                <a:gd name="T68" fmla="*/ 28 w 172"/>
                <a:gd name="T69" fmla="*/ 134 h 300"/>
                <a:gd name="T70" fmla="*/ 36 w 172"/>
                <a:gd name="T71" fmla="*/ 132 h 300"/>
                <a:gd name="T72" fmla="*/ 43 w 172"/>
                <a:gd name="T73" fmla="*/ 129 h 300"/>
                <a:gd name="T74" fmla="*/ 49 w 172"/>
                <a:gd name="T75" fmla="*/ 132 h 300"/>
                <a:gd name="T76" fmla="*/ 52 w 172"/>
                <a:gd name="T77" fmla="*/ 146 h 300"/>
                <a:gd name="T78" fmla="*/ 48 w 172"/>
                <a:gd name="T79" fmla="*/ 155 h 300"/>
                <a:gd name="T80" fmla="*/ 49 w 172"/>
                <a:gd name="T81" fmla="*/ 159 h 300"/>
                <a:gd name="T82" fmla="*/ 61 w 172"/>
                <a:gd name="T83" fmla="*/ 169 h 300"/>
                <a:gd name="T84" fmla="*/ 63 w 172"/>
                <a:gd name="T85" fmla="*/ 176 h 300"/>
                <a:gd name="T86" fmla="*/ 63 w 172"/>
                <a:gd name="T87" fmla="*/ 190 h 300"/>
                <a:gd name="T88" fmla="*/ 57 w 172"/>
                <a:gd name="T89" fmla="*/ 203 h 300"/>
                <a:gd name="T90" fmla="*/ 52 w 172"/>
                <a:gd name="T91" fmla="*/ 219 h 300"/>
                <a:gd name="T92" fmla="*/ 52 w 172"/>
                <a:gd name="T93" fmla="*/ 239 h 300"/>
                <a:gd name="T94" fmla="*/ 54 w 172"/>
                <a:gd name="T95" fmla="*/ 251 h 300"/>
                <a:gd name="T96" fmla="*/ 60 w 172"/>
                <a:gd name="T97" fmla="*/ 264 h 300"/>
                <a:gd name="T98" fmla="*/ 68 w 172"/>
                <a:gd name="T99" fmla="*/ 278 h 300"/>
                <a:gd name="T100" fmla="*/ 80 w 172"/>
                <a:gd name="T101" fmla="*/ 290 h 300"/>
                <a:gd name="T102" fmla="*/ 89 w 172"/>
                <a:gd name="T103" fmla="*/ 295 h 300"/>
                <a:gd name="T104" fmla="*/ 94 w 172"/>
                <a:gd name="T105" fmla="*/ 296 h 300"/>
                <a:gd name="T106" fmla="*/ 101 w 172"/>
                <a:gd name="T107" fmla="*/ 293 h 300"/>
                <a:gd name="T108" fmla="*/ 104 w 172"/>
                <a:gd name="T109" fmla="*/ 292 h 300"/>
                <a:gd name="T110" fmla="*/ 115 w 172"/>
                <a:gd name="T111" fmla="*/ 283 h 300"/>
                <a:gd name="T112" fmla="*/ 123 w 172"/>
                <a:gd name="T113" fmla="*/ 280 h 300"/>
                <a:gd name="T114" fmla="*/ 141 w 172"/>
                <a:gd name="T115" fmla="*/ 272 h 300"/>
                <a:gd name="T116" fmla="*/ 155 w 172"/>
                <a:gd name="T117" fmla="*/ 264 h 300"/>
                <a:gd name="T118" fmla="*/ 168 w 172"/>
                <a:gd name="T119" fmla="*/ 26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2" h="300">
                  <a:moveTo>
                    <a:pt x="171" y="265"/>
                  </a:moveTo>
                  <a:cubicBezTo>
                    <a:pt x="170" y="264"/>
                    <a:pt x="170" y="262"/>
                    <a:pt x="169" y="261"/>
                  </a:cubicBezTo>
                  <a:cubicBezTo>
                    <a:pt x="168" y="259"/>
                    <a:pt x="167" y="258"/>
                    <a:pt x="166" y="257"/>
                  </a:cubicBezTo>
                  <a:cubicBezTo>
                    <a:pt x="165" y="256"/>
                    <a:pt x="164" y="254"/>
                    <a:pt x="164" y="253"/>
                  </a:cubicBezTo>
                  <a:cubicBezTo>
                    <a:pt x="162" y="250"/>
                    <a:pt x="160" y="247"/>
                    <a:pt x="159" y="244"/>
                  </a:cubicBezTo>
                  <a:cubicBezTo>
                    <a:pt x="158" y="243"/>
                    <a:pt x="158" y="243"/>
                    <a:pt x="158" y="243"/>
                  </a:cubicBezTo>
                  <a:cubicBezTo>
                    <a:pt x="156" y="238"/>
                    <a:pt x="153" y="232"/>
                    <a:pt x="151" y="226"/>
                  </a:cubicBezTo>
                  <a:cubicBezTo>
                    <a:pt x="151" y="224"/>
                    <a:pt x="151" y="222"/>
                    <a:pt x="150" y="220"/>
                  </a:cubicBezTo>
                  <a:cubicBezTo>
                    <a:pt x="150" y="216"/>
                    <a:pt x="149" y="211"/>
                    <a:pt x="146" y="209"/>
                  </a:cubicBezTo>
                  <a:cubicBezTo>
                    <a:pt x="145" y="209"/>
                    <a:pt x="145" y="209"/>
                    <a:pt x="145" y="209"/>
                  </a:cubicBezTo>
                  <a:cubicBezTo>
                    <a:pt x="145" y="209"/>
                    <a:pt x="145" y="209"/>
                    <a:pt x="145" y="209"/>
                  </a:cubicBezTo>
                  <a:cubicBezTo>
                    <a:pt x="144" y="209"/>
                    <a:pt x="143" y="209"/>
                    <a:pt x="143" y="210"/>
                  </a:cubicBezTo>
                  <a:cubicBezTo>
                    <a:pt x="142" y="210"/>
                    <a:pt x="141" y="210"/>
                    <a:pt x="141" y="210"/>
                  </a:cubicBezTo>
                  <a:cubicBezTo>
                    <a:pt x="140" y="210"/>
                    <a:pt x="140" y="210"/>
                    <a:pt x="139" y="210"/>
                  </a:cubicBezTo>
                  <a:cubicBezTo>
                    <a:pt x="136" y="209"/>
                    <a:pt x="135" y="205"/>
                    <a:pt x="134" y="203"/>
                  </a:cubicBezTo>
                  <a:cubicBezTo>
                    <a:pt x="133" y="199"/>
                    <a:pt x="130" y="195"/>
                    <a:pt x="128" y="191"/>
                  </a:cubicBezTo>
                  <a:cubicBezTo>
                    <a:pt x="127" y="190"/>
                    <a:pt x="126" y="188"/>
                    <a:pt x="126" y="187"/>
                  </a:cubicBezTo>
                  <a:cubicBezTo>
                    <a:pt x="125" y="185"/>
                    <a:pt x="121" y="179"/>
                    <a:pt x="122" y="174"/>
                  </a:cubicBezTo>
                  <a:cubicBezTo>
                    <a:pt x="123" y="172"/>
                    <a:pt x="124" y="171"/>
                    <a:pt x="125" y="169"/>
                  </a:cubicBezTo>
                  <a:cubicBezTo>
                    <a:pt x="126" y="168"/>
                    <a:pt x="127" y="166"/>
                    <a:pt x="128" y="164"/>
                  </a:cubicBezTo>
                  <a:cubicBezTo>
                    <a:pt x="129" y="160"/>
                    <a:pt x="129" y="156"/>
                    <a:pt x="127" y="153"/>
                  </a:cubicBezTo>
                  <a:cubicBezTo>
                    <a:pt x="126" y="151"/>
                    <a:pt x="126" y="148"/>
                    <a:pt x="127" y="146"/>
                  </a:cubicBezTo>
                  <a:cubicBezTo>
                    <a:pt x="127" y="144"/>
                    <a:pt x="129" y="143"/>
                    <a:pt x="131" y="143"/>
                  </a:cubicBezTo>
                  <a:cubicBezTo>
                    <a:pt x="132" y="142"/>
                    <a:pt x="133" y="142"/>
                    <a:pt x="134" y="141"/>
                  </a:cubicBezTo>
                  <a:cubicBezTo>
                    <a:pt x="135" y="141"/>
                    <a:pt x="135" y="140"/>
                    <a:pt x="136" y="140"/>
                  </a:cubicBezTo>
                  <a:cubicBezTo>
                    <a:pt x="137" y="140"/>
                    <a:pt x="137" y="139"/>
                    <a:pt x="138" y="139"/>
                  </a:cubicBezTo>
                  <a:cubicBezTo>
                    <a:pt x="139" y="139"/>
                    <a:pt x="140" y="140"/>
                    <a:pt x="140" y="140"/>
                  </a:cubicBezTo>
                  <a:cubicBezTo>
                    <a:pt x="141" y="140"/>
                    <a:pt x="142" y="140"/>
                    <a:pt x="143" y="140"/>
                  </a:cubicBezTo>
                  <a:cubicBezTo>
                    <a:pt x="143" y="140"/>
                    <a:pt x="143" y="140"/>
                    <a:pt x="143" y="140"/>
                  </a:cubicBezTo>
                  <a:cubicBezTo>
                    <a:pt x="146" y="140"/>
                    <a:pt x="151" y="136"/>
                    <a:pt x="151" y="133"/>
                  </a:cubicBezTo>
                  <a:cubicBezTo>
                    <a:pt x="151" y="133"/>
                    <a:pt x="151" y="132"/>
                    <a:pt x="151" y="130"/>
                  </a:cubicBezTo>
                  <a:cubicBezTo>
                    <a:pt x="150" y="129"/>
                    <a:pt x="150" y="129"/>
                    <a:pt x="150" y="128"/>
                  </a:cubicBezTo>
                  <a:cubicBezTo>
                    <a:pt x="150" y="125"/>
                    <a:pt x="151" y="122"/>
                    <a:pt x="151" y="121"/>
                  </a:cubicBezTo>
                  <a:cubicBezTo>
                    <a:pt x="152" y="119"/>
                    <a:pt x="152" y="117"/>
                    <a:pt x="153" y="115"/>
                  </a:cubicBezTo>
                  <a:cubicBezTo>
                    <a:pt x="154" y="113"/>
                    <a:pt x="155" y="110"/>
                    <a:pt x="155" y="107"/>
                  </a:cubicBezTo>
                  <a:cubicBezTo>
                    <a:pt x="156" y="105"/>
                    <a:pt x="156" y="103"/>
                    <a:pt x="157" y="101"/>
                  </a:cubicBezTo>
                  <a:cubicBezTo>
                    <a:pt x="157" y="100"/>
                    <a:pt x="158" y="99"/>
                    <a:pt x="158" y="98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7" y="93"/>
                    <a:pt x="157" y="93"/>
                    <a:pt x="157" y="93"/>
                  </a:cubicBezTo>
                  <a:cubicBezTo>
                    <a:pt x="156" y="90"/>
                    <a:pt x="154" y="86"/>
                    <a:pt x="151" y="84"/>
                  </a:cubicBezTo>
                  <a:cubicBezTo>
                    <a:pt x="149" y="83"/>
                    <a:pt x="148" y="83"/>
                    <a:pt x="147" y="83"/>
                  </a:cubicBezTo>
                  <a:cubicBezTo>
                    <a:pt x="147" y="83"/>
                    <a:pt x="146" y="83"/>
                    <a:pt x="145" y="83"/>
                  </a:cubicBezTo>
                  <a:cubicBezTo>
                    <a:pt x="145" y="84"/>
                    <a:pt x="145" y="84"/>
                    <a:pt x="144" y="84"/>
                  </a:cubicBezTo>
                  <a:cubicBezTo>
                    <a:pt x="143" y="84"/>
                    <a:pt x="143" y="83"/>
                    <a:pt x="143" y="83"/>
                  </a:cubicBezTo>
                  <a:cubicBezTo>
                    <a:pt x="143" y="83"/>
                    <a:pt x="142" y="82"/>
                    <a:pt x="142" y="81"/>
                  </a:cubicBezTo>
                  <a:cubicBezTo>
                    <a:pt x="142" y="79"/>
                    <a:pt x="142" y="78"/>
                    <a:pt x="141" y="76"/>
                  </a:cubicBezTo>
                  <a:cubicBezTo>
                    <a:pt x="140" y="73"/>
                    <a:pt x="137" y="72"/>
                    <a:pt x="134" y="70"/>
                  </a:cubicBezTo>
                  <a:cubicBezTo>
                    <a:pt x="132" y="69"/>
                    <a:pt x="130" y="68"/>
                    <a:pt x="129" y="66"/>
                  </a:cubicBezTo>
                  <a:cubicBezTo>
                    <a:pt x="126" y="63"/>
                    <a:pt x="122" y="60"/>
                    <a:pt x="117" y="60"/>
                  </a:cubicBezTo>
                  <a:cubicBezTo>
                    <a:pt x="116" y="60"/>
                    <a:pt x="114" y="61"/>
                    <a:pt x="112" y="62"/>
                  </a:cubicBezTo>
                  <a:cubicBezTo>
                    <a:pt x="110" y="63"/>
                    <a:pt x="108" y="65"/>
                    <a:pt x="106" y="67"/>
                  </a:cubicBezTo>
                  <a:cubicBezTo>
                    <a:pt x="106" y="67"/>
                    <a:pt x="106" y="67"/>
                    <a:pt x="106" y="67"/>
                  </a:cubicBezTo>
                  <a:cubicBezTo>
                    <a:pt x="106" y="65"/>
                    <a:pt x="106" y="64"/>
                    <a:pt x="107" y="63"/>
                  </a:cubicBezTo>
                  <a:cubicBezTo>
                    <a:pt x="107" y="62"/>
                    <a:pt x="108" y="61"/>
                    <a:pt x="109" y="61"/>
                  </a:cubicBezTo>
                  <a:cubicBezTo>
                    <a:pt x="110" y="60"/>
                    <a:pt x="111" y="59"/>
                    <a:pt x="112" y="56"/>
                  </a:cubicBezTo>
                  <a:cubicBezTo>
                    <a:pt x="112" y="54"/>
                    <a:pt x="112" y="52"/>
                    <a:pt x="111" y="50"/>
                  </a:cubicBezTo>
                  <a:cubicBezTo>
                    <a:pt x="111" y="49"/>
                    <a:pt x="111" y="48"/>
                    <a:pt x="111" y="47"/>
                  </a:cubicBezTo>
                  <a:cubicBezTo>
                    <a:pt x="111" y="47"/>
                    <a:pt x="111" y="46"/>
                    <a:pt x="111" y="45"/>
                  </a:cubicBezTo>
                  <a:cubicBezTo>
                    <a:pt x="111" y="43"/>
                    <a:pt x="111" y="41"/>
                    <a:pt x="110" y="38"/>
                  </a:cubicBezTo>
                  <a:cubicBezTo>
                    <a:pt x="109" y="37"/>
                    <a:pt x="108" y="36"/>
                    <a:pt x="107" y="35"/>
                  </a:cubicBezTo>
                  <a:cubicBezTo>
                    <a:pt x="106" y="34"/>
                    <a:pt x="106" y="34"/>
                    <a:pt x="105" y="33"/>
                  </a:cubicBezTo>
                  <a:cubicBezTo>
                    <a:pt x="104" y="31"/>
                    <a:pt x="103" y="30"/>
                    <a:pt x="101" y="28"/>
                  </a:cubicBezTo>
                  <a:cubicBezTo>
                    <a:pt x="100" y="26"/>
                    <a:pt x="98" y="24"/>
                    <a:pt x="97" y="22"/>
                  </a:cubicBezTo>
                  <a:cubicBezTo>
                    <a:pt x="95" y="20"/>
                    <a:pt x="93" y="19"/>
                    <a:pt x="92" y="17"/>
                  </a:cubicBezTo>
                  <a:cubicBezTo>
                    <a:pt x="90" y="16"/>
                    <a:pt x="89" y="15"/>
                    <a:pt x="88" y="14"/>
                  </a:cubicBezTo>
                  <a:cubicBezTo>
                    <a:pt x="88" y="13"/>
                    <a:pt x="87" y="13"/>
                    <a:pt x="87" y="12"/>
                  </a:cubicBezTo>
                  <a:cubicBezTo>
                    <a:pt x="86" y="11"/>
                    <a:pt x="85" y="10"/>
                    <a:pt x="84" y="10"/>
                  </a:cubicBezTo>
                  <a:cubicBezTo>
                    <a:pt x="83" y="9"/>
                    <a:pt x="82" y="8"/>
                    <a:pt x="81" y="8"/>
                  </a:cubicBezTo>
                  <a:cubicBezTo>
                    <a:pt x="81" y="8"/>
                    <a:pt x="80" y="8"/>
                    <a:pt x="80" y="7"/>
                  </a:cubicBezTo>
                  <a:cubicBezTo>
                    <a:pt x="78" y="6"/>
                    <a:pt x="75" y="4"/>
                    <a:pt x="72" y="3"/>
                  </a:cubicBezTo>
                  <a:cubicBezTo>
                    <a:pt x="71" y="2"/>
                    <a:pt x="70" y="2"/>
                    <a:pt x="69" y="1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0" y="6"/>
                    <a:pt x="55" y="12"/>
                    <a:pt x="48" y="16"/>
                  </a:cubicBezTo>
                  <a:cubicBezTo>
                    <a:pt x="46" y="17"/>
                    <a:pt x="45" y="18"/>
                    <a:pt x="44" y="20"/>
                  </a:cubicBezTo>
                  <a:cubicBezTo>
                    <a:pt x="42" y="21"/>
                    <a:pt x="41" y="22"/>
                    <a:pt x="39" y="23"/>
                  </a:cubicBezTo>
                  <a:cubicBezTo>
                    <a:pt x="35" y="25"/>
                    <a:pt x="33" y="28"/>
                    <a:pt x="31" y="32"/>
                  </a:cubicBezTo>
                  <a:cubicBezTo>
                    <a:pt x="29" y="35"/>
                    <a:pt x="30" y="36"/>
                    <a:pt x="31" y="38"/>
                  </a:cubicBezTo>
                  <a:cubicBezTo>
                    <a:pt x="31" y="40"/>
                    <a:pt x="32" y="41"/>
                    <a:pt x="32" y="42"/>
                  </a:cubicBezTo>
                  <a:cubicBezTo>
                    <a:pt x="32" y="43"/>
                    <a:pt x="31" y="44"/>
                    <a:pt x="31" y="46"/>
                  </a:cubicBezTo>
                  <a:cubicBezTo>
                    <a:pt x="31" y="47"/>
                    <a:pt x="31" y="48"/>
                    <a:pt x="31" y="48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35" y="51"/>
                    <a:pt x="35" y="50"/>
                  </a:cubicBezTo>
                  <a:cubicBezTo>
                    <a:pt x="36" y="50"/>
                    <a:pt x="37" y="50"/>
                    <a:pt x="38" y="50"/>
                  </a:cubicBezTo>
                  <a:cubicBezTo>
                    <a:pt x="40" y="50"/>
                    <a:pt x="41" y="51"/>
                    <a:pt x="42" y="52"/>
                  </a:cubicBezTo>
                  <a:cubicBezTo>
                    <a:pt x="43" y="53"/>
                    <a:pt x="42" y="54"/>
                    <a:pt x="41" y="56"/>
                  </a:cubicBezTo>
                  <a:cubicBezTo>
                    <a:pt x="40" y="58"/>
                    <a:pt x="36" y="61"/>
                    <a:pt x="34" y="63"/>
                  </a:cubicBezTo>
                  <a:cubicBezTo>
                    <a:pt x="30" y="66"/>
                    <a:pt x="25" y="66"/>
                    <a:pt x="22" y="67"/>
                  </a:cubicBezTo>
                  <a:cubicBezTo>
                    <a:pt x="19" y="67"/>
                    <a:pt x="17" y="68"/>
                    <a:pt x="14" y="68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1" y="72"/>
                    <a:pt x="12" y="74"/>
                    <a:pt x="12" y="76"/>
                  </a:cubicBezTo>
                  <a:cubicBezTo>
                    <a:pt x="12" y="80"/>
                    <a:pt x="13" y="86"/>
                    <a:pt x="11" y="89"/>
                  </a:cubicBezTo>
                  <a:cubicBezTo>
                    <a:pt x="10" y="91"/>
                    <a:pt x="8" y="93"/>
                    <a:pt x="6" y="94"/>
                  </a:cubicBezTo>
                  <a:cubicBezTo>
                    <a:pt x="4" y="96"/>
                    <a:pt x="2" y="97"/>
                    <a:pt x="1" y="99"/>
                  </a:cubicBezTo>
                  <a:cubicBezTo>
                    <a:pt x="0" y="102"/>
                    <a:pt x="2" y="105"/>
                    <a:pt x="7" y="109"/>
                  </a:cubicBezTo>
                  <a:cubicBezTo>
                    <a:pt x="7" y="110"/>
                    <a:pt x="8" y="111"/>
                    <a:pt x="9" y="111"/>
                  </a:cubicBezTo>
                  <a:cubicBezTo>
                    <a:pt x="11" y="114"/>
                    <a:pt x="13" y="116"/>
                    <a:pt x="15" y="119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21" y="127"/>
                    <a:pt x="23" y="129"/>
                    <a:pt x="25" y="131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7" y="133"/>
                    <a:pt x="28" y="133"/>
                    <a:pt x="28" y="134"/>
                  </a:cubicBezTo>
                  <a:cubicBezTo>
                    <a:pt x="29" y="135"/>
                    <a:pt x="29" y="135"/>
                    <a:pt x="29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3" y="133"/>
                    <a:pt x="34" y="132"/>
                    <a:pt x="36" y="132"/>
                  </a:cubicBezTo>
                  <a:cubicBezTo>
                    <a:pt x="37" y="132"/>
                    <a:pt x="38" y="132"/>
                    <a:pt x="39" y="131"/>
                  </a:cubicBezTo>
                  <a:cubicBezTo>
                    <a:pt x="40" y="131"/>
                    <a:pt x="40" y="130"/>
                    <a:pt x="41" y="130"/>
                  </a:cubicBezTo>
                  <a:cubicBezTo>
                    <a:pt x="42" y="129"/>
                    <a:pt x="42" y="129"/>
                    <a:pt x="43" y="129"/>
                  </a:cubicBezTo>
                  <a:cubicBezTo>
                    <a:pt x="44" y="129"/>
                    <a:pt x="44" y="129"/>
                    <a:pt x="45" y="129"/>
                  </a:cubicBezTo>
                  <a:cubicBezTo>
                    <a:pt x="46" y="130"/>
                    <a:pt x="47" y="130"/>
                    <a:pt x="48" y="131"/>
                  </a:cubicBezTo>
                  <a:cubicBezTo>
                    <a:pt x="48" y="132"/>
                    <a:pt x="49" y="132"/>
                    <a:pt x="49" y="132"/>
                  </a:cubicBezTo>
                  <a:cubicBezTo>
                    <a:pt x="54" y="135"/>
                    <a:pt x="53" y="138"/>
                    <a:pt x="53" y="143"/>
                  </a:cubicBezTo>
                  <a:cubicBezTo>
                    <a:pt x="52" y="144"/>
                    <a:pt x="52" y="144"/>
                    <a:pt x="52" y="144"/>
                  </a:cubicBezTo>
                  <a:cubicBezTo>
                    <a:pt x="52" y="144"/>
                    <a:pt x="52" y="145"/>
                    <a:pt x="52" y="146"/>
                  </a:cubicBezTo>
                  <a:cubicBezTo>
                    <a:pt x="52" y="147"/>
                    <a:pt x="52" y="149"/>
                    <a:pt x="51" y="150"/>
                  </a:cubicBezTo>
                  <a:cubicBezTo>
                    <a:pt x="51" y="151"/>
                    <a:pt x="50" y="152"/>
                    <a:pt x="49" y="153"/>
                  </a:cubicBezTo>
                  <a:cubicBezTo>
                    <a:pt x="49" y="154"/>
                    <a:pt x="48" y="154"/>
                    <a:pt x="48" y="155"/>
                  </a:cubicBezTo>
                  <a:cubicBezTo>
                    <a:pt x="48" y="155"/>
                    <a:pt x="47" y="155"/>
                    <a:pt x="47" y="155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9" y="159"/>
                    <a:pt x="49" y="159"/>
                    <a:pt x="49" y="159"/>
                  </a:cubicBezTo>
                  <a:cubicBezTo>
                    <a:pt x="50" y="159"/>
                    <a:pt x="51" y="160"/>
                    <a:pt x="53" y="160"/>
                  </a:cubicBezTo>
                  <a:cubicBezTo>
                    <a:pt x="57" y="161"/>
                    <a:pt x="62" y="162"/>
                    <a:pt x="62" y="166"/>
                  </a:cubicBezTo>
                  <a:cubicBezTo>
                    <a:pt x="62" y="167"/>
                    <a:pt x="61" y="168"/>
                    <a:pt x="61" y="169"/>
                  </a:cubicBezTo>
                  <a:cubicBezTo>
                    <a:pt x="61" y="170"/>
                    <a:pt x="60" y="171"/>
                    <a:pt x="60" y="171"/>
                  </a:cubicBezTo>
                  <a:cubicBezTo>
                    <a:pt x="60" y="173"/>
                    <a:pt x="61" y="174"/>
                    <a:pt x="62" y="175"/>
                  </a:cubicBezTo>
                  <a:cubicBezTo>
                    <a:pt x="63" y="175"/>
                    <a:pt x="63" y="175"/>
                    <a:pt x="63" y="176"/>
                  </a:cubicBezTo>
                  <a:cubicBezTo>
                    <a:pt x="66" y="179"/>
                    <a:pt x="69" y="183"/>
                    <a:pt x="66" y="187"/>
                  </a:cubicBezTo>
                  <a:cubicBezTo>
                    <a:pt x="66" y="188"/>
                    <a:pt x="65" y="188"/>
                    <a:pt x="64" y="189"/>
                  </a:cubicBezTo>
                  <a:cubicBezTo>
                    <a:pt x="64" y="190"/>
                    <a:pt x="63" y="190"/>
                    <a:pt x="63" y="190"/>
                  </a:cubicBezTo>
                  <a:cubicBezTo>
                    <a:pt x="62" y="191"/>
                    <a:pt x="62" y="192"/>
                    <a:pt x="61" y="193"/>
                  </a:cubicBezTo>
                  <a:cubicBezTo>
                    <a:pt x="61" y="193"/>
                    <a:pt x="60" y="194"/>
                    <a:pt x="59" y="195"/>
                  </a:cubicBezTo>
                  <a:cubicBezTo>
                    <a:pt x="57" y="198"/>
                    <a:pt x="56" y="199"/>
                    <a:pt x="57" y="203"/>
                  </a:cubicBezTo>
                  <a:cubicBezTo>
                    <a:pt x="57" y="204"/>
                    <a:pt x="58" y="205"/>
                    <a:pt x="58" y="206"/>
                  </a:cubicBezTo>
                  <a:cubicBezTo>
                    <a:pt x="58" y="209"/>
                    <a:pt x="56" y="212"/>
                    <a:pt x="55" y="214"/>
                  </a:cubicBezTo>
                  <a:cubicBezTo>
                    <a:pt x="54" y="216"/>
                    <a:pt x="53" y="217"/>
                    <a:pt x="52" y="219"/>
                  </a:cubicBezTo>
                  <a:cubicBezTo>
                    <a:pt x="51" y="222"/>
                    <a:pt x="51" y="226"/>
                    <a:pt x="51" y="229"/>
                  </a:cubicBezTo>
                  <a:cubicBezTo>
                    <a:pt x="51" y="231"/>
                    <a:pt x="51" y="231"/>
                    <a:pt x="51" y="231"/>
                  </a:cubicBezTo>
                  <a:cubicBezTo>
                    <a:pt x="50" y="234"/>
                    <a:pt x="51" y="237"/>
                    <a:pt x="52" y="239"/>
                  </a:cubicBezTo>
                  <a:cubicBezTo>
                    <a:pt x="52" y="241"/>
                    <a:pt x="53" y="242"/>
                    <a:pt x="53" y="244"/>
                  </a:cubicBezTo>
                  <a:cubicBezTo>
                    <a:pt x="53" y="244"/>
                    <a:pt x="53" y="245"/>
                    <a:pt x="53" y="246"/>
                  </a:cubicBezTo>
                  <a:cubicBezTo>
                    <a:pt x="53" y="248"/>
                    <a:pt x="54" y="250"/>
                    <a:pt x="54" y="251"/>
                  </a:cubicBezTo>
                  <a:cubicBezTo>
                    <a:pt x="55" y="251"/>
                    <a:pt x="56" y="252"/>
                    <a:pt x="56" y="252"/>
                  </a:cubicBezTo>
                  <a:cubicBezTo>
                    <a:pt x="57" y="252"/>
                    <a:pt x="59" y="253"/>
                    <a:pt x="59" y="255"/>
                  </a:cubicBezTo>
                  <a:cubicBezTo>
                    <a:pt x="60" y="258"/>
                    <a:pt x="60" y="261"/>
                    <a:pt x="60" y="264"/>
                  </a:cubicBezTo>
                  <a:cubicBezTo>
                    <a:pt x="60" y="266"/>
                    <a:pt x="59" y="269"/>
                    <a:pt x="60" y="271"/>
                  </a:cubicBezTo>
                  <a:cubicBezTo>
                    <a:pt x="60" y="273"/>
                    <a:pt x="62" y="274"/>
                    <a:pt x="64" y="276"/>
                  </a:cubicBezTo>
                  <a:cubicBezTo>
                    <a:pt x="66" y="276"/>
                    <a:pt x="67" y="277"/>
                    <a:pt x="68" y="278"/>
                  </a:cubicBezTo>
                  <a:cubicBezTo>
                    <a:pt x="70" y="281"/>
                    <a:pt x="73" y="283"/>
                    <a:pt x="76" y="286"/>
                  </a:cubicBezTo>
                  <a:cubicBezTo>
                    <a:pt x="77" y="287"/>
                    <a:pt x="77" y="287"/>
                    <a:pt x="77" y="287"/>
                  </a:cubicBezTo>
                  <a:cubicBezTo>
                    <a:pt x="78" y="288"/>
                    <a:pt x="79" y="289"/>
                    <a:pt x="80" y="290"/>
                  </a:cubicBezTo>
                  <a:cubicBezTo>
                    <a:pt x="81" y="290"/>
                    <a:pt x="82" y="290"/>
                    <a:pt x="83" y="290"/>
                  </a:cubicBezTo>
                  <a:cubicBezTo>
                    <a:pt x="84" y="291"/>
                    <a:pt x="85" y="291"/>
                    <a:pt x="86" y="291"/>
                  </a:cubicBezTo>
                  <a:cubicBezTo>
                    <a:pt x="87" y="291"/>
                    <a:pt x="88" y="293"/>
                    <a:pt x="89" y="295"/>
                  </a:cubicBezTo>
                  <a:cubicBezTo>
                    <a:pt x="89" y="295"/>
                    <a:pt x="89" y="296"/>
                    <a:pt x="90" y="296"/>
                  </a:cubicBezTo>
                  <a:cubicBezTo>
                    <a:pt x="92" y="300"/>
                    <a:pt x="92" y="300"/>
                    <a:pt x="92" y="300"/>
                  </a:cubicBezTo>
                  <a:cubicBezTo>
                    <a:pt x="94" y="296"/>
                    <a:pt x="94" y="296"/>
                    <a:pt x="94" y="296"/>
                  </a:cubicBezTo>
                  <a:cubicBezTo>
                    <a:pt x="94" y="295"/>
                    <a:pt x="95" y="294"/>
                    <a:pt x="96" y="293"/>
                  </a:cubicBezTo>
                  <a:cubicBezTo>
                    <a:pt x="97" y="293"/>
                    <a:pt x="97" y="293"/>
                    <a:pt x="98" y="293"/>
                  </a:cubicBezTo>
                  <a:cubicBezTo>
                    <a:pt x="99" y="293"/>
                    <a:pt x="100" y="293"/>
                    <a:pt x="101" y="293"/>
                  </a:cubicBezTo>
                  <a:cubicBezTo>
                    <a:pt x="101" y="294"/>
                    <a:pt x="101" y="294"/>
                    <a:pt x="101" y="294"/>
                  </a:cubicBezTo>
                  <a:cubicBezTo>
                    <a:pt x="103" y="294"/>
                    <a:pt x="103" y="294"/>
                    <a:pt x="103" y="294"/>
                  </a:cubicBezTo>
                  <a:cubicBezTo>
                    <a:pt x="104" y="292"/>
                    <a:pt x="104" y="292"/>
                    <a:pt x="104" y="292"/>
                  </a:cubicBezTo>
                  <a:cubicBezTo>
                    <a:pt x="105" y="285"/>
                    <a:pt x="108" y="282"/>
                    <a:pt x="112" y="282"/>
                  </a:cubicBezTo>
                  <a:cubicBezTo>
                    <a:pt x="113" y="282"/>
                    <a:pt x="113" y="282"/>
                    <a:pt x="113" y="282"/>
                  </a:cubicBezTo>
                  <a:cubicBezTo>
                    <a:pt x="114" y="282"/>
                    <a:pt x="115" y="282"/>
                    <a:pt x="115" y="283"/>
                  </a:cubicBezTo>
                  <a:cubicBezTo>
                    <a:pt x="116" y="283"/>
                    <a:pt x="117" y="283"/>
                    <a:pt x="118" y="283"/>
                  </a:cubicBezTo>
                  <a:cubicBezTo>
                    <a:pt x="119" y="283"/>
                    <a:pt x="119" y="283"/>
                    <a:pt x="120" y="283"/>
                  </a:cubicBezTo>
                  <a:cubicBezTo>
                    <a:pt x="121" y="282"/>
                    <a:pt x="122" y="281"/>
                    <a:pt x="123" y="280"/>
                  </a:cubicBezTo>
                  <a:cubicBezTo>
                    <a:pt x="124" y="279"/>
                    <a:pt x="125" y="278"/>
                    <a:pt x="126" y="278"/>
                  </a:cubicBezTo>
                  <a:cubicBezTo>
                    <a:pt x="128" y="277"/>
                    <a:pt x="130" y="277"/>
                    <a:pt x="133" y="277"/>
                  </a:cubicBezTo>
                  <a:cubicBezTo>
                    <a:pt x="136" y="276"/>
                    <a:pt x="139" y="276"/>
                    <a:pt x="141" y="272"/>
                  </a:cubicBezTo>
                  <a:cubicBezTo>
                    <a:pt x="142" y="272"/>
                    <a:pt x="142" y="272"/>
                    <a:pt x="142" y="272"/>
                  </a:cubicBezTo>
                  <a:cubicBezTo>
                    <a:pt x="144" y="266"/>
                    <a:pt x="146" y="263"/>
                    <a:pt x="151" y="263"/>
                  </a:cubicBezTo>
                  <a:cubicBezTo>
                    <a:pt x="152" y="263"/>
                    <a:pt x="153" y="263"/>
                    <a:pt x="155" y="264"/>
                  </a:cubicBezTo>
                  <a:cubicBezTo>
                    <a:pt x="156" y="264"/>
                    <a:pt x="158" y="265"/>
                    <a:pt x="159" y="265"/>
                  </a:cubicBezTo>
                  <a:cubicBezTo>
                    <a:pt x="162" y="266"/>
                    <a:pt x="164" y="267"/>
                    <a:pt x="166" y="268"/>
                  </a:cubicBezTo>
                  <a:cubicBezTo>
                    <a:pt x="167" y="268"/>
                    <a:pt x="168" y="268"/>
                    <a:pt x="168" y="268"/>
                  </a:cubicBezTo>
                  <a:cubicBezTo>
                    <a:pt x="172" y="268"/>
                    <a:pt x="172" y="268"/>
                    <a:pt x="172" y="268"/>
                  </a:cubicBezTo>
                  <a:lnTo>
                    <a:pt x="171" y="265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2243" y="0"/>
              <a:ext cx="15" cy="20"/>
            </a:xfrm>
            <a:custGeom>
              <a:avLst/>
              <a:gdLst>
                <a:gd name="T0" fmla="*/ 5 w 10"/>
                <a:gd name="T1" fmla="*/ 9 h 13"/>
                <a:gd name="T2" fmla="*/ 5 w 10"/>
                <a:gd name="T3" fmla="*/ 10 h 13"/>
                <a:gd name="T4" fmla="*/ 6 w 10"/>
                <a:gd name="T5" fmla="*/ 10 h 13"/>
                <a:gd name="T6" fmla="*/ 7 w 10"/>
                <a:gd name="T7" fmla="*/ 10 h 13"/>
                <a:gd name="T8" fmla="*/ 7 w 10"/>
                <a:gd name="T9" fmla="*/ 10 h 13"/>
                <a:gd name="T10" fmla="*/ 7 w 10"/>
                <a:gd name="T11" fmla="*/ 13 h 13"/>
                <a:gd name="T12" fmla="*/ 10 w 10"/>
                <a:gd name="T13" fmla="*/ 10 h 13"/>
                <a:gd name="T14" fmla="*/ 5 w 10"/>
                <a:gd name="T15" fmla="*/ 2 h 13"/>
                <a:gd name="T16" fmla="*/ 1 w 10"/>
                <a:gd name="T17" fmla="*/ 0 h 13"/>
                <a:gd name="T18" fmla="*/ 1 w 10"/>
                <a:gd name="T19" fmla="*/ 2 h 13"/>
                <a:gd name="T20" fmla="*/ 0 w 10"/>
                <a:gd name="T21" fmla="*/ 3 h 13"/>
                <a:gd name="T22" fmla="*/ 5 w 10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3">
                  <a:moveTo>
                    <a:pt x="5" y="9"/>
                  </a:moveTo>
                  <a:cubicBezTo>
                    <a:pt x="5" y="9"/>
                    <a:pt x="5" y="10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8" y="13"/>
                    <a:pt x="10" y="11"/>
                    <a:pt x="10" y="10"/>
                  </a:cubicBezTo>
                  <a:cubicBezTo>
                    <a:pt x="10" y="7"/>
                    <a:pt x="7" y="4"/>
                    <a:pt x="5" y="2"/>
                  </a:cubicBezTo>
                  <a:cubicBezTo>
                    <a:pt x="4" y="0"/>
                    <a:pt x="3" y="0"/>
                    <a:pt x="1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5"/>
                    <a:pt x="2" y="8"/>
                    <a:pt x="5" y="9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2288" y="14"/>
              <a:ext cx="32" cy="29"/>
            </a:xfrm>
            <a:custGeom>
              <a:avLst/>
              <a:gdLst>
                <a:gd name="T0" fmla="*/ 17 w 21"/>
                <a:gd name="T1" fmla="*/ 19 h 19"/>
                <a:gd name="T2" fmla="*/ 20 w 21"/>
                <a:gd name="T3" fmla="*/ 19 h 19"/>
                <a:gd name="T4" fmla="*/ 20 w 21"/>
                <a:gd name="T5" fmla="*/ 17 h 19"/>
                <a:gd name="T6" fmla="*/ 15 w 21"/>
                <a:gd name="T7" fmla="*/ 9 h 19"/>
                <a:gd name="T8" fmla="*/ 12 w 21"/>
                <a:gd name="T9" fmla="*/ 7 h 19"/>
                <a:gd name="T10" fmla="*/ 11 w 21"/>
                <a:gd name="T11" fmla="*/ 5 h 19"/>
                <a:gd name="T12" fmla="*/ 6 w 21"/>
                <a:gd name="T13" fmla="*/ 0 h 19"/>
                <a:gd name="T14" fmla="*/ 4 w 21"/>
                <a:gd name="T15" fmla="*/ 0 h 19"/>
                <a:gd name="T16" fmla="*/ 1 w 21"/>
                <a:gd name="T17" fmla="*/ 3 h 19"/>
                <a:gd name="T18" fmla="*/ 8 w 21"/>
                <a:gd name="T19" fmla="*/ 15 h 19"/>
                <a:gd name="T20" fmla="*/ 17 w 21"/>
                <a:gd name="T2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9">
                  <a:moveTo>
                    <a:pt x="17" y="19"/>
                  </a:moveTo>
                  <a:cubicBezTo>
                    <a:pt x="20" y="19"/>
                    <a:pt x="20" y="19"/>
                    <a:pt x="20" y="19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1" y="11"/>
                    <a:pt x="18" y="9"/>
                    <a:pt x="15" y="9"/>
                  </a:cubicBezTo>
                  <a:cubicBezTo>
                    <a:pt x="14" y="8"/>
                    <a:pt x="13" y="8"/>
                    <a:pt x="12" y="7"/>
                  </a:cubicBezTo>
                  <a:cubicBezTo>
                    <a:pt x="12" y="7"/>
                    <a:pt x="11" y="6"/>
                    <a:pt x="11" y="5"/>
                  </a:cubicBezTo>
                  <a:cubicBezTo>
                    <a:pt x="10" y="3"/>
                    <a:pt x="9" y="0"/>
                    <a:pt x="6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2" y="2"/>
                    <a:pt x="1" y="3"/>
                  </a:cubicBezTo>
                  <a:cubicBezTo>
                    <a:pt x="0" y="8"/>
                    <a:pt x="8" y="15"/>
                    <a:pt x="8" y="15"/>
                  </a:cubicBezTo>
                  <a:cubicBezTo>
                    <a:pt x="11" y="18"/>
                    <a:pt x="13" y="19"/>
                    <a:pt x="17" y="19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2330" y="18"/>
              <a:ext cx="25" cy="27"/>
            </a:xfrm>
            <a:custGeom>
              <a:avLst/>
              <a:gdLst>
                <a:gd name="T0" fmla="*/ 4 w 16"/>
                <a:gd name="T1" fmla="*/ 10 h 17"/>
                <a:gd name="T2" fmla="*/ 5 w 16"/>
                <a:gd name="T3" fmla="*/ 11 h 17"/>
                <a:gd name="T4" fmla="*/ 5 w 16"/>
                <a:gd name="T5" fmla="*/ 11 h 17"/>
                <a:gd name="T6" fmla="*/ 7 w 16"/>
                <a:gd name="T7" fmla="*/ 17 h 17"/>
                <a:gd name="T8" fmla="*/ 9 w 16"/>
                <a:gd name="T9" fmla="*/ 17 h 17"/>
                <a:gd name="T10" fmla="*/ 12 w 16"/>
                <a:gd name="T11" fmla="*/ 13 h 17"/>
                <a:gd name="T12" fmla="*/ 12 w 16"/>
                <a:gd name="T13" fmla="*/ 12 h 17"/>
                <a:gd name="T14" fmla="*/ 13 w 16"/>
                <a:gd name="T15" fmla="*/ 11 h 17"/>
                <a:gd name="T16" fmla="*/ 12 w 16"/>
                <a:gd name="T17" fmla="*/ 3 h 17"/>
                <a:gd name="T18" fmla="*/ 5 w 16"/>
                <a:gd name="T19" fmla="*/ 0 h 17"/>
                <a:gd name="T20" fmla="*/ 1 w 16"/>
                <a:gd name="T21" fmla="*/ 3 h 17"/>
                <a:gd name="T22" fmla="*/ 4 w 16"/>
                <a:gd name="T23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17">
                  <a:moveTo>
                    <a:pt x="4" y="10"/>
                  </a:moveTo>
                  <a:cubicBezTo>
                    <a:pt x="4" y="10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4" y="16"/>
                    <a:pt x="7" y="17"/>
                  </a:cubicBezTo>
                  <a:cubicBezTo>
                    <a:pt x="8" y="17"/>
                    <a:pt x="8" y="17"/>
                    <a:pt x="9" y="17"/>
                  </a:cubicBezTo>
                  <a:cubicBezTo>
                    <a:pt x="12" y="17"/>
                    <a:pt x="12" y="14"/>
                    <a:pt x="12" y="13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1"/>
                    <a:pt x="13" y="11"/>
                  </a:cubicBezTo>
                  <a:cubicBezTo>
                    <a:pt x="14" y="9"/>
                    <a:pt x="16" y="6"/>
                    <a:pt x="12" y="3"/>
                  </a:cubicBezTo>
                  <a:cubicBezTo>
                    <a:pt x="11" y="2"/>
                    <a:pt x="7" y="0"/>
                    <a:pt x="5" y="0"/>
                  </a:cubicBezTo>
                  <a:cubicBezTo>
                    <a:pt x="2" y="0"/>
                    <a:pt x="1" y="2"/>
                    <a:pt x="1" y="3"/>
                  </a:cubicBezTo>
                  <a:cubicBezTo>
                    <a:pt x="0" y="6"/>
                    <a:pt x="2" y="8"/>
                    <a:pt x="4" y="1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2688" y="110"/>
              <a:ext cx="64" cy="62"/>
            </a:xfrm>
            <a:custGeom>
              <a:avLst/>
              <a:gdLst>
                <a:gd name="T0" fmla="*/ 0 w 42"/>
                <a:gd name="T1" fmla="*/ 35 h 40"/>
                <a:gd name="T2" fmla="*/ 1 w 42"/>
                <a:gd name="T3" fmla="*/ 38 h 40"/>
                <a:gd name="T4" fmla="*/ 2 w 42"/>
                <a:gd name="T5" fmla="*/ 40 h 40"/>
                <a:gd name="T6" fmla="*/ 3 w 42"/>
                <a:gd name="T7" fmla="*/ 39 h 40"/>
                <a:gd name="T8" fmla="*/ 8 w 42"/>
                <a:gd name="T9" fmla="*/ 39 h 40"/>
                <a:gd name="T10" fmla="*/ 13 w 42"/>
                <a:gd name="T11" fmla="*/ 39 h 40"/>
                <a:gd name="T12" fmla="*/ 19 w 42"/>
                <a:gd name="T13" fmla="*/ 39 h 40"/>
                <a:gd name="T14" fmla="*/ 23 w 42"/>
                <a:gd name="T15" fmla="*/ 39 h 40"/>
                <a:gd name="T16" fmla="*/ 35 w 42"/>
                <a:gd name="T17" fmla="*/ 35 h 40"/>
                <a:gd name="T18" fmla="*/ 36 w 42"/>
                <a:gd name="T19" fmla="*/ 25 h 40"/>
                <a:gd name="T20" fmla="*/ 36 w 42"/>
                <a:gd name="T21" fmla="*/ 19 h 40"/>
                <a:gd name="T22" fmla="*/ 37 w 42"/>
                <a:gd name="T23" fmla="*/ 16 h 40"/>
                <a:gd name="T24" fmla="*/ 38 w 42"/>
                <a:gd name="T25" fmla="*/ 11 h 40"/>
                <a:gd name="T26" fmla="*/ 39 w 42"/>
                <a:gd name="T27" fmla="*/ 10 h 40"/>
                <a:gd name="T28" fmla="*/ 42 w 42"/>
                <a:gd name="T29" fmla="*/ 5 h 40"/>
                <a:gd name="T30" fmla="*/ 36 w 42"/>
                <a:gd name="T31" fmla="*/ 0 h 40"/>
                <a:gd name="T32" fmla="*/ 33 w 42"/>
                <a:gd name="T33" fmla="*/ 1 h 40"/>
                <a:gd name="T34" fmla="*/ 34 w 42"/>
                <a:gd name="T35" fmla="*/ 3 h 40"/>
                <a:gd name="T36" fmla="*/ 34 w 42"/>
                <a:gd name="T37" fmla="*/ 3 h 40"/>
                <a:gd name="T38" fmla="*/ 34 w 42"/>
                <a:gd name="T39" fmla="*/ 3 h 40"/>
                <a:gd name="T40" fmla="*/ 32 w 42"/>
                <a:gd name="T41" fmla="*/ 2 h 40"/>
                <a:gd name="T42" fmla="*/ 32 w 42"/>
                <a:gd name="T43" fmla="*/ 0 h 40"/>
                <a:gd name="T44" fmla="*/ 29 w 42"/>
                <a:gd name="T45" fmla="*/ 2 h 40"/>
                <a:gd name="T46" fmla="*/ 27 w 42"/>
                <a:gd name="T47" fmla="*/ 4 h 40"/>
                <a:gd name="T48" fmla="*/ 25 w 42"/>
                <a:gd name="T49" fmla="*/ 5 h 40"/>
                <a:gd name="T50" fmla="*/ 23 w 42"/>
                <a:gd name="T51" fmla="*/ 6 h 40"/>
                <a:gd name="T52" fmla="*/ 21 w 42"/>
                <a:gd name="T53" fmla="*/ 7 h 40"/>
                <a:gd name="T54" fmla="*/ 15 w 42"/>
                <a:gd name="T55" fmla="*/ 14 h 40"/>
                <a:gd name="T56" fmla="*/ 15 w 42"/>
                <a:gd name="T57" fmla="*/ 20 h 40"/>
                <a:gd name="T58" fmla="*/ 15 w 42"/>
                <a:gd name="T59" fmla="*/ 24 h 40"/>
                <a:gd name="T60" fmla="*/ 12 w 42"/>
                <a:gd name="T61" fmla="*/ 26 h 40"/>
                <a:gd name="T62" fmla="*/ 11 w 42"/>
                <a:gd name="T63" fmla="*/ 26 h 40"/>
                <a:gd name="T64" fmla="*/ 6 w 42"/>
                <a:gd name="T65" fmla="*/ 28 h 40"/>
                <a:gd name="T66" fmla="*/ 0 w 42"/>
                <a:gd name="T67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" h="40">
                  <a:moveTo>
                    <a:pt x="0" y="35"/>
                  </a:moveTo>
                  <a:cubicBezTo>
                    <a:pt x="0" y="36"/>
                    <a:pt x="0" y="37"/>
                    <a:pt x="1" y="3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5" y="39"/>
                    <a:pt x="6" y="39"/>
                    <a:pt x="8" y="39"/>
                  </a:cubicBezTo>
                  <a:cubicBezTo>
                    <a:pt x="10" y="39"/>
                    <a:pt x="11" y="39"/>
                    <a:pt x="13" y="39"/>
                  </a:cubicBezTo>
                  <a:cubicBezTo>
                    <a:pt x="15" y="39"/>
                    <a:pt x="17" y="39"/>
                    <a:pt x="19" y="39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6" y="39"/>
                    <a:pt x="32" y="39"/>
                    <a:pt x="35" y="35"/>
                  </a:cubicBezTo>
                  <a:cubicBezTo>
                    <a:pt x="37" y="32"/>
                    <a:pt x="36" y="28"/>
                    <a:pt x="36" y="25"/>
                  </a:cubicBezTo>
                  <a:cubicBezTo>
                    <a:pt x="36" y="22"/>
                    <a:pt x="36" y="20"/>
                    <a:pt x="36" y="19"/>
                  </a:cubicBezTo>
                  <a:cubicBezTo>
                    <a:pt x="37" y="18"/>
                    <a:pt x="37" y="17"/>
                    <a:pt x="37" y="16"/>
                  </a:cubicBezTo>
                  <a:cubicBezTo>
                    <a:pt x="37" y="14"/>
                    <a:pt x="37" y="13"/>
                    <a:pt x="38" y="11"/>
                  </a:cubicBezTo>
                  <a:cubicBezTo>
                    <a:pt x="38" y="11"/>
                    <a:pt x="39" y="10"/>
                    <a:pt x="39" y="10"/>
                  </a:cubicBezTo>
                  <a:cubicBezTo>
                    <a:pt x="41" y="9"/>
                    <a:pt x="42" y="7"/>
                    <a:pt x="42" y="5"/>
                  </a:cubicBezTo>
                  <a:cubicBezTo>
                    <a:pt x="42" y="2"/>
                    <a:pt x="39" y="0"/>
                    <a:pt x="36" y="0"/>
                  </a:cubicBezTo>
                  <a:cubicBezTo>
                    <a:pt x="35" y="0"/>
                    <a:pt x="34" y="0"/>
                    <a:pt x="33" y="1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8" y="3"/>
                    <a:pt x="28" y="3"/>
                    <a:pt x="27" y="4"/>
                  </a:cubicBezTo>
                  <a:cubicBezTo>
                    <a:pt x="26" y="4"/>
                    <a:pt x="26" y="4"/>
                    <a:pt x="25" y="5"/>
                  </a:cubicBezTo>
                  <a:cubicBezTo>
                    <a:pt x="25" y="5"/>
                    <a:pt x="24" y="5"/>
                    <a:pt x="23" y="6"/>
                  </a:cubicBezTo>
                  <a:cubicBezTo>
                    <a:pt x="23" y="6"/>
                    <a:pt x="22" y="6"/>
                    <a:pt x="21" y="7"/>
                  </a:cubicBezTo>
                  <a:cubicBezTo>
                    <a:pt x="19" y="8"/>
                    <a:pt x="16" y="12"/>
                    <a:pt x="15" y="14"/>
                  </a:cubicBezTo>
                  <a:cubicBezTo>
                    <a:pt x="15" y="16"/>
                    <a:pt x="15" y="18"/>
                    <a:pt x="15" y="20"/>
                  </a:cubicBezTo>
                  <a:cubicBezTo>
                    <a:pt x="15" y="21"/>
                    <a:pt x="15" y="23"/>
                    <a:pt x="15" y="24"/>
                  </a:cubicBezTo>
                  <a:cubicBezTo>
                    <a:pt x="15" y="26"/>
                    <a:pt x="14" y="26"/>
                    <a:pt x="12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7" y="27"/>
                    <a:pt x="6" y="28"/>
                    <a:pt x="6" y="28"/>
                  </a:cubicBezTo>
                  <a:cubicBezTo>
                    <a:pt x="4" y="29"/>
                    <a:pt x="1" y="32"/>
                    <a:pt x="0" y="35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2747" y="81"/>
              <a:ext cx="26" cy="22"/>
            </a:xfrm>
            <a:custGeom>
              <a:avLst/>
              <a:gdLst>
                <a:gd name="T0" fmla="*/ 7 w 17"/>
                <a:gd name="T1" fmla="*/ 14 h 14"/>
                <a:gd name="T2" fmla="*/ 11 w 17"/>
                <a:gd name="T3" fmla="*/ 13 h 14"/>
                <a:gd name="T4" fmla="*/ 16 w 17"/>
                <a:gd name="T5" fmla="*/ 3 h 14"/>
                <a:gd name="T6" fmla="*/ 16 w 17"/>
                <a:gd name="T7" fmla="*/ 0 h 14"/>
                <a:gd name="T8" fmla="*/ 13 w 17"/>
                <a:gd name="T9" fmla="*/ 1 h 14"/>
                <a:gd name="T10" fmla="*/ 12 w 17"/>
                <a:gd name="T11" fmla="*/ 1 h 14"/>
                <a:gd name="T12" fmla="*/ 7 w 17"/>
                <a:gd name="T13" fmla="*/ 3 h 14"/>
                <a:gd name="T14" fmla="*/ 5 w 17"/>
                <a:gd name="T15" fmla="*/ 4 h 14"/>
                <a:gd name="T16" fmla="*/ 0 w 17"/>
                <a:gd name="T17" fmla="*/ 9 h 14"/>
                <a:gd name="T18" fmla="*/ 1 w 17"/>
                <a:gd name="T19" fmla="*/ 12 h 14"/>
                <a:gd name="T20" fmla="*/ 7 w 17"/>
                <a:gd name="T2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4">
                  <a:moveTo>
                    <a:pt x="7" y="14"/>
                  </a:moveTo>
                  <a:cubicBezTo>
                    <a:pt x="8" y="14"/>
                    <a:pt x="10" y="14"/>
                    <a:pt x="11" y="13"/>
                  </a:cubicBezTo>
                  <a:cubicBezTo>
                    <a:pt x="14" y="12"/>
                    <a:pt x="17" y="6"/>
                    <a:pt x="16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0" y="2"/>
                    <a:pt x="9" y="2"/>
                    <a:pt x="7" y="3"/>
                  </a:cubicBezTo>
                  <a:cubicBezTo>
                    <a:pt x="6" y="4"/>
                    <a:pt x="6" y="4"/>
                    <a:pt x="5" y="4"/>
                  </a:cubicBezTo>
                  <a:cubicBezTo>
                    <a:pt x="3" y="5"/>
                    <a:pt x="0" y="6"/>
                    <a:pt x="0" y="9"/>
                  </a:cubicBezTo>
                  <a:cubicBezTo>
                    <a:pt x="0" y="9"/>
                    <a:pt x="0" y="11"/>
                    <a:pt x="1" y="12"/>
                  </a:cubicBezTo>
                  <a:cubicBezTo>
                    <a:pt x="3" y="14"/>
                    <a:pt x="6" y="14"/>
                    <a:pt x="7" y="14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2551" y="97"/>
              <a:ext cx="37" cy="20"/>
            </a:xfrm>
            <a:custGeom>
              <a:avLst/>
              <a:gdLst>
                <a:gd name="T0" fmla="*/ 7 w 24"/>
                <a:gd name="T1" fmla="*/ 12 h 13"/>
                <a:gd name="T2" fmla="*/ 11 w 24"/>
                <a:gd name="T3" fmla="*/ 11 h 13"/>
                <a:gd name="T4" fmla="*/ 13 w 24"/>
                <a:gd name="T5" fmla="*/ 11 h 13"/>
                <a:gd name="T6" fmla="*/ 14 w 24"/>
                <a:gd name="T7" fmla="*/ 11 h 13"/>
                <a:gd name="T8" fmla="*/ 15 w 24"/>
                <a:gd name="T9" fmla="*/ 12 h 13"/>
                <a:gd name="T10" fmla="*/ 20 w 24"/>
                <a:gd name="T11" fmla="*/ 13 h 13"/>
                <a:gd name="T12" fmla="*/ 20 w 24"/>
                <a:gd name="T13" fmla="*/ 13 h 13"/>
                <a:gd name="T14" fmla="*/ 23 w 24"/>
                <a:gd name="T15" fmla="*/ 12 h 13"/>
                <a:gd name="T16" fmla="*/ 24 w 24"/>
                <a:gd name="T17" fmla="*/ 8 h 13"/>
                <a:gd name="T18" fmla="*/ 23 w 24"/>
                <a:gd name="T19" fmla="*/ 3 h 13"/>
                <a:gd name="T20" fmla="*/ 13 w 24"/>
                <a:gd name="T21" fmla="*/ 0 h 13"/>
                <a:gd name="T22" fmla="*/ 10 w 24"/>
                <a:gd name="T23" fmla="*/ 0 h 13"/>
                <a:gd name="T24" fmla="*/ 9 w 24"/>
                <a:gd name="T25" fmla="*/ 0 h 13"/>
                <a:gd name="T26" fmla="*/ 0 w 24"/>
                <a:gd name="T27" fmla="*/ 7 h 13"/>
                <a:gd name="T28" fmla="*/ 7 w 24"/>
                <a:gd name="T2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3">
                  <a:moveTo>
                    <a:pt x="7" y="12"/>
                  </a:moveTo>
                  <a:cubicBezTo>
                    <a:pt x="8" y="12"/>
                    <a:pt x="9" y="12"/>
                    <a:pt x="11" y="11"/>
                  </a:cubicBezTo>
                  <a:cubicBezTo>
                    <a:pt x="12" y="11"/>
                    <a:pt x="12" y="11"/>
                    <a:pt x="13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5" y="12"/>
                    <a:pt x="15" y="12"/>
                  </a:cubicBezTo>
                  <a:cubicBezTo>
                    <a:pt x="16" y="12"/>
                    <a:pt x="18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3"/>
                    <a:pt x="22" y="13"/>
                    <a:pt x="23" y="12"/>
                  </a:cubicBezTo>
                  <a:cubicBezTo>
                    <a:pt x="24" y="11"/>
                    <a:pt x="24" y="10"/>
                    <a:pt x="24" y="8"/>
                  </a:cubicBezTo>
                  <a:cubicBezTo>
                    <a:pt x="24" y="6"/>
                    <a:pt x="24" y="4"/>
                    <a:pt x="23" y="3"/>
                  </a:cubicBezTo>
                  <a:cubicBezTo>
                    <a:pt x="20" y="0"/>
                    <a:pt x="15" y="0"/>
                    <a:pt x="13" y="0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7" y="0"/>
                    <a:pt x="0" y="1"/>
                    <a:pt x="0" y="7"/>
                  </a:cubicBezTo>
                  <a:cubicBezTo>
                    <a:pt x="1" y="9"/>
                    <a:pt x="2" y="12"/>
                    <a:pt x="7" y="12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16"/>
            <p:cNvSpPr>
              <a:spLocks noEditPoints="1"/>
            </p:cNvSpPr>
            <p:nvPr/>
          </p:nvSpPr>
          <p:spPr bwMode="auto">
            <a:xfrm>
              <a:off x="2050" y="26"/>
              <a:ext cx="757" cy="735"/>
            </a:xfrm>
            <a:custGeom>
              <a:avLst/>
              <a:gdLst>
                <a:gd name="T0" fmla="*/ 482 w 494"/>
                <a:gd name="T1" fmla="*/ 151 h 480"/>
                <a:gd name="T2" fmla="*/ 463 w 494"/>
                <a:gd name="T3" fmla="*/ 149 h 480"/>
                <a:gd name="T4" fmla="*/ 452 w 494"/>
                <a:gd name="T5" fmla="*/ 137 h 480"/>
                <a:gd name="T6" fmla="*/ 446 w 494"/>
                <a:gd name="T7" fmla="*/ 142 h 480"/>
                <a:gd name="T8" fmla="*/ 436 w 494"/>
                <a:gd name="T9" fmla="*/ 102 h 480"/>
                <a:gd name="T10" fmla="*/ 404 w 494"/>
                <a:gd name="T11" fmla="*/ 99 h 480"/>
                <a:gd name="T12" fmla="*/ 401 w 494"/>
                <a:gd name="T13" fmla="*/ 75 h 480"/>
                <a:gd name="T14" fmla="*/ 420 w 494"/>
                <a:gd name="T15" fmla="*/ 63 h 480"/>
                <a:gd name="T16" fmla="*/ 408 w 494"/>
                <a:gd name="T17" fmla="*/ 62 h 480"/>
                <a:gd name="T18" fmla="*/ 380 w 494"/>
                <a:gd name="T19" fmla="*/ 61 h 480"/>
                <a:gd name="T20" fmla="*/ 353 w 494"/>
                <a:gd name="T21" fmla="*/ 64 h 480"/>
                <a:gd name="T22" fmla="*/ 333 w 494"/>
                <a:gd name="T23" fmla="*/ 74 h 480"/>
                <a:gd name="T24" fmla="*/ 273 w 494"/>
                <a:gd name="T25" fmla="*/ 77 h 480"/>
                <a:gd name="T26" fmla="*/ 235 w 494"/>
                <a:gd name="T27" fmla="*/ 66 h 480"/>
                <a:gd name="T28" fmla="*/ 188 w 494"/>
                <a:gd name="T29" fmla="*/ 53 h 480"/>
                <a:gd name="T30" fmla="*/ 153 w 494"/>
                <a:gd name="T31" fmla="*/ 28 h 480"/>
                <a:gd name="T32" fmla="*/ 137 w 494"/>
                <a:gd name="T33" fmla="*/ 15 h 480"/>
                <a:gd name="T34" fmla="*/ 116 w 494"/>
                <a:gd name="T35" fmla="*/ 10 h 480"/>
                <a:gd name="T36" fmla="*/ 110 w 494"/>
                <a:gd name="T37" fmla="*/ 37 h 480"/>
                <a:gd name="T38" fmla="*/ 78 w 494"/>
                <a:gd name="T39" fmla="*/ 94 h 480"/>
                <a:gd name="T40" fmla="*/ 53 w 494"/>
                <a:gd name="T41" fmla="*/ 115 h 480"/>
                <a:gd name="T42" fmla="*/ 66 w 494"/>
                <a:gd name="T43" fmla="*/ 54 h 480"/>
                <a:gd name="T44" fmla="*/ 44 w 494"/>
                <a:gd name="T45" fmla="*/ 40 h 480"/>
                <a:gd name="T46" fmla="*/ 14 w 494"/>
                <a:gd name="T47" fmla="*/ 100 h 480"/>
                <a:gd name="T48" fmla="*/ 13 w 494"/>
                <a:gd name="T49" fmla="*/ 129 h 480"/>
                <a:gd name="T50" fmla="*/ 23 w 494"/>
                <a:gd name="T51" fmla="*/ 144 h 480"/>
                <a:gd name="T52" fmla="*/ 40 w 494"/>
                <a:gd name="T53" fmla="*/ 208 h 480"/>
                <a:gd name="T54" fmla="*/ 84 w 494"/>
                <a:gd name="T55" fmla="*/ 216 h 480"/>
                <a:gd name="T56" fmla="*/ 123 w 494"/>
                <a:gd name="T57" fmla="*/ 232 h 480"/>
                <a:gd name="T58" fmla="*/ 162 w 494"/>
                <a:gd name="T59" fmla="*/ 253 h 480"/>
                <a:gd name="T60" fmla="*/ 200 w 494"/>
                <a:gd name="T61" fmla="*/ 246 h 480"/>
                <a:gd name="T62" fmla="*/ 193 w 494"/>
                <a:gd name="T63" fmla="*/ 290 h 480"/>
                <a:gd name="T64" fmla="*/ 205 w 494"/>
                <a:gd name="T65" fmla="*/ 374 h 480"/>
                <a:gd name="T66" fmla="*/ 208 w 494"/>
                <a:gd name="T67" fmla="*/ 402 h 480"/>
                <a:gd name="T68" fmla="*/ 217 w 494"/>
                <a:gd name="T69" fmla="*/ 424 h 480"/>
                <a:gd name="T70" fmla="*/ 226 w 494"/>
                <a:gd name="T71" fmla="*/ 459 h 480"/>
                <a:gd name="T72" fmla="*/ 260 w 494"/>
                <a:gd name="T73" fmla="*/ 473 h 480"/>
                <a:gd name="T74" fmla="*/ 273 w 494"/>
                <a:gd name="T75" fmla="*/ 480 h 480"/>
                <a:gd name="T76" fmla="*/ 289 w 494"/>
                <a:gd name="T77" fmla="*/ 464 h 480"/>
                <a:gd name="T78" fmla="*/ 317 w 494"/>
                <a:gd name="T79" fmla="*/ 448 h 480"/>
                <a:gd name="T80" fmla="*/ 328 w 494"/>
                <a:gd name="T81" fmla="*/ 433 h 480"/>
                <a:gd name="T82" fmla="*/ 348 w 494"/>
                <a:gd name="T83" fmla="*/ 420 h 480"/>
                <a:gd name="T84" fmla="*/ 354 w 494"/>
                <a:gd name="T85" fmla="*/ 407 h 480"/>
                <a:gd name="T86" fmla="*/ 333 w 494"/>
                <a:gd name="T87" fmla="*/ 399 h 480"/>
                <a:gd name="T88" fmla="*/ 304 w 494"/>
                <a:gd name="T89" fmla="*/ 331 h 480"/>
                <a:gd name="T90" fmla="*/ 329 w 494"/>
                <a:gd name="T91" fmla="*/ 341 h 480"/>
                <a:gd name="T92" fmla="*/ 353 w 494"/>
                <a:gd name="T93" fmla="*/ 346 h 480"/>
                <a:gd name="T94" fmla="*/ 374 w 494"/>
                <a:gd name="T95" fmla="*/ 359 h 480"/>
                <a:gd name="T96" fmla="*/ 390 w 494"/>
                <a:gd name="T97" fmla="*/ 334 h 480"/>
                <a:gd name="T98" fmla="*/ 416 w 494"/>
                <a:gd name="T99" fmla="*/ 333 h 480"/>
                <a:gd name="T100" fmla="*/ 446 w 494"/>
                <a:gd name="T101" fmla="*/ 316 h 480"/>
                <a:gd name="T102" fmla="*/ 437 w 494"/>
                <a:gd name="T103" fmla="*/ 272 h 480"/>
                <a:gd name="T104" fmla="*/ 451 w 494"/>
                <a:gd name="T105" fmla="*/ 228 h 480"/>
                <a:gd name="T106" fmla="*/ 461 w 494"/>
                <a:gd name="T107" fmla="*/ 211 h 480"/>
                <a:gd name="T108" fmla="*/ 476 w 494"/>
                <a:gd name="T109" fmla="*/ 177 h 480"/>
                <a:gd name="T110" fmla="*/ 130 w 494"/>
                <a:gd name="T111" fmla="*/ 27 h 480"/>
                <a:gd name="T112" fmla="*/ 436 w 494"/>
                <a:gd name="T113" fmla="*/ 155 h 480"/>
                <a:gd name="T114" fmla="*/ 446 w 494"/>
                <a:gd name="T115" fmla="*/ 154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4" h="480">
                  <a:moveTo>
                    <a:pt x="493" y="160"/>
                  </a:moveTo>
                  <a:cubicBezTo>
                    <a:pt x="492" y="159"/>
                    <a:pt x="492" y="158"/>
                    <a:pt x="491" y="158"/>
                  </a:cubicBezTo>
                  <a:cubicBezTo>
                    <a:pt x="490" y="156"/>
                    <a:pt x="489" y="155"/>
                    <a:pt x="487" y="154"/>
                  </a:cubicBezTo>
                  <a:cubicBezTo>
                    <a:pt x="486" y="153"/>
                    <a:pt x="485" y="153"/>
                    <a:pt x="484" y="153"/>
                  </a:cubicBezTo>
                  <a:cubicBezTo>
                    <a:pt x="484" y="153"/>
                    <a:pt x="484" y="153"/>
                    <a:pt x="484" y="153"/>
                  </a:cubicBezTo>
                  <a:cubicBezTo>
                    <a:pt x="484" y="153"/>
                    <a:pt x="484" y="153"/>
                    <a:pt x="484" y="153"/>
                  </a:cubicBezTo>
                  <a:cubicBezTo>
                    <a:pt x="484" y="153"/>
                    <a:pt x="484" y="153"/>
                    <a:pt x="484" y="153"/>
                  </a:cubicBezTo>
                  <a:cubicBezTo>
                    <a:pt x="483" y="152"/>
                    <a:pt x="483" y="151"/>
                    <a:pt x="482" y="151"/>
                  </a:cubicBezTo>
                  <a:cubicBezTo>
                    <a:pt x="480" y="148"/>
                    <a:pt x="478" y="148"/>
                    <a:pt x="475" y="148"/>
                  </a:cubicBezTo>
                  <a:cubicBezTo>
                    <a:pt x="473" y="148"/>
                    <a:pt x="473" y="148"/>
                    <a:pt x="473" y="148"/>
                  </a:cubicBezTo>
                  <a:cubicBezTo>
                    <a:pt x="470" y="148"/>
                    <a:pt x="468" y="149"/>
                    <a:pt x="466" y="150"/>
                  </a:cubicBezTo>
                  <a:cubicBezTo>
                    <a:pt x="465" y="150"/>
                    <a:pt x="465" y="150"/>
                    <a:pt x="465" y="150"/>
                  </a:cubicBezTo>
                  <a:cubicBezTo>
                    <a:pt x="465" y="151"/>
                    <a:pt x="464" y="151"/>
                    <a:pt x="464" y="151"/>
                  </a:cubicBezTo>
                  <a:cubicBezTo>
                    <a:pt x="463" y="151"/>
                    <a:pt x="463" y="151"/>
                    <a:pt x="463" y="151"/>
                  </a:cubicBezTo>
                  <a:cubicBezTo>
                    <a:pt x="463" y="151"/>
                    <a:pt x="463" y="151"/>
                    <a:pt x="463" y="151"/>
                  </a:cubicBezTo>
                  <a:cubicBezTo>
                    <a:pt x="463" y="149"/>
                    <a:pt x="463" y="149"/>
                    <a:pt x="463" y="149"/>
                  </a:cubicBezTo>
                  <a:cubicBezTo>
                    <a:pt x="464" y="146"/>
                    <a:pt x="462" y="144"/>
                    <a:pt x="460" y="142"/>
                  </a:cubicBezTo>
                  <a:cubicBezTo>
                    <a:pt x="460" y="141"/>
                    <a:pt x="459" y="141"/>
                    <a:pt x="459" y="140"/>
                  </a:cubicBezTo>
                  <a:cubicBezTo>
                    <a:pt x="458" y="139"/>
                    <a:pt x="458" y="138"/>
                    <a:pt x="459" y="136"/>
                  </a:cubicBezTo>
                  <a:cubicBezTo>
                    <a:pt x="460" y="135"/>
                    <a:pt x="460" y="133"/>
                    <a:pt x="460" y="131"/>
                  </a:cubicBezTo>
                  <a:cubicBezTo>
                    <a:pt x="460" y="129"/>
                    <a:pt x="460" y="129"/>
                    <a:pt x="460" y="129"/>
                  </a:cubicBezTo>
                  <a:cubicBezTo>
                    <a:pt x="458" y="129"/>
                    <a:pt x="458" y="129"/>
                    <a:pt x="458" y="129"/>
                  </a:cubicBezTo>
                  <a:cubicBezTo>
                    <a:pt x="458" y="129"/>
                    <a:pt x="457" y="129"/>
                    <a:pt x="457" y="129"/>
                  </a:cubicBezTo>
                  <a:cubicBezTo>
                    <a:pt x="453" y="129"/>
                    <a:pt x="452" y="134"/>
                    <a:pt x="452" y="137"/>
                  </a:cubicBezTo>
                  <a:cubicBezTo>
                    <a:pt x="452" y="138"/>
                    <a:pt x="451" y="138"/>
                    <a:pt x="451" y="139"/>
                  </a:cubicBezTo>
                  <a:cubicBezTo>
                    <a:pt x="451" y="139"/>
                    <a:pt x="451" y="139"/>
                    <a:pt x="451" y="139"/>
                  </a:cubicBezTo>
                  <a:cubicBezTo>
                    <a:pt x="451" y="139"/>
                    <a:pt x="451" y="139"/>
                    <a:pt x="451" y="139"/>
                  </a:cubicBezTo>
                  <a:cubicBezTo>
                    <a:pt x="451" y="140"/>
                    <a:pt x="450" y="140"/>
                    <a:pt x="449" y="141"/>
                  </a:cubicBezTo>
                  <a:cubicBezTo>
                    <a:pt x="448" y="142"/>
                    <a:pt x="447" y="143"/>
                    <a:pt x="447" y="143"/>
                  </a:cubicBezTo>
                  <a:cubicBezTo>
                    <a:pt x="447" y="143"/>
                    <a:pt x="446" y="143"/>
                    <a:pt x="446" y="143"/>
                  </a:cubicBezTo>
                  <a:cubicBezTo>
                    <a:pt x="446" y="143"/>
                    <a:pt x="446" y="143"/>
                    <a:pt x="446" y="143"/>
                  </a:cubicBezTo>
                  <a:cubicBezTo>
                    <a:pt x="446" y="143"/>
                    <a:pt x="446" y="143"/>
                    <a:pt x="446" y="142"/>
                  </a:cubicBezTo>
                  <a:cubicBezTo>
                    <a:pt x="446" y="141"/>
                    <a:pt x="446" y="140"/>
                    <a:pt x="446" y="139"/>
                  </a:cubicBezTo>
                  <a:cubicBezTo>
                    <a:pt x="447" y="137"/>
                    <a:pt x="448" y="134"/>
                    <a:pt x="450" y="132"/>
                  </a:cubicBezTo>
                  <a:cubicBezTo>
                    <a:pt x="451" y="131"/>
                    <a:pt x="452" y="130"/>
                    <a:pt x="454" y="129"/>
                  </a:cubicBezTo>
                  <a:cubicBezTo>
                    <a:pt x="456" y="127"/>
                    <a:pt x="459" y="125"/>
                    <a:pt x="459" y="122"/>
                  </a:cubicBezTo>
                  <a:cubicBezTo>
                    <a:pt x="460" y="116"/>
                    <a:pt x="451" y="110"/>
                    <a:pt x="448" y="109"/>
                  </a:cubicBezTo>
                  <a:cubicBezTo>
                    <a:pt x="447" y="109"/>
                    <a:pt x="445" y="108"/>
                    <a:pt x="444" y="108"/>
                  </a:cubicBezTo>
                  <a:cubicBezTo>
                    <a:pt x="442" y="107"/>
                    <a:pt x="440" y="106"/>
                    <a:pt x="438" y="105"/>
                  </a:cubicBezTo>
                  <a:cubicBezTo>
                    <a:pt x="437" y="104"/>
                    <a:pt x="436" y="103"/>
                    <a:pt x="436" y="102"/>
                  </a:cubicBezTo>
                  <a:cubicBezTo>
                    <a:pt x="434" y="100"/>
                    <a:pt x="433" y="98"/>
                    <a:pt x="430" y="98"/>
                  </a:cubicBezTo>
                  <a:cubicBezTo>
                    <a:pt x="429" y="98"/>
                    <a:pt x="428" y="98"/>
                    <a:pt x="426" y="99"/>
                  </a:cubicBezTo>
                  <a:cubicBezTo>
                    <a:pt x="425" y="99"/>
                    <a:pt x="424" y="99"/>
                    <a:pt x="423" y="99"/>
                  </a:cubicBezTo>
                  <a:cubicBezTo>
                    <a:pt x="422" y="99"/>
                    <a:pt x="421" y="98"/>
                    <a:pt x="419" y="97"/>
                  </a:cubicBezTo>
                  <a:cubicBezTo>
                    <a:pt x="418" y="97"/>
                    <a:pt x="417" y="96"/>
                    <a:pt x="415" y="96"/>
                  </a:cubicBezTo>
                  <a:cubicBezTo>
                    <a:pt x="414" y="95"/>
                    <a:pt x="412" y="94"/>
                    <a:pt x="410" y="94"/>
                  </a:cubicBezTo>
                  <a:cubicBezTo>
                    <a:pt x="409" y="94"/>
                    <a:pt x="408" y="95"/>
                    <a:pt x="407" y="95"/>
                  </a:cubicBezTo>
                  <a:cubicBezTo>
                    <a:pt x="406" y="96"/>
                    <a:pt x="405" y="98"/>
                    <a:pt x="404" y="99"/>
                  </a:cubicBezTo>
                  <a:cubicBezTo>
                    <a:pt x="404" y="99"/>
                    <a:pt x="404" y="99"/>
                    <a:pt x="404" y="100"/>
                  </a:cubicBezTo>
                  <a:cubicBezTo>
                    <a:pt x="403" y="98"/>
                    <a:pt x="402" y="96"/>
                    <a:pt x="402" y="95"/>
                  </a:cubicBezTo>
                  <a:cubicBezTo>
                    <a:pt x="399" y="89"/>
                    <a:pt x="397" y="83"/>
                    <a:pt x="392" y="81"/>
                  </a:cubicBezTo>
                  <a:cubicBezTo>
                    <a:pt x="391" y="79"/>
                    <a:pt x="390" y="78"/>
                    <a:pt x="389" y="76"/>
                  </a:cubicBezTo>
                  <a:cubicBezTo>
                    <a:pt x="388" y="75"/>
                    <a:pt x="387" y="75"/>
                    <a:pt x="386" y="73"/>
                  </a:cubicBezTo>
                  <a:cubicBezTo>
                    <a:pt x="386" y="73"/>
                    <a:pt x="387" y="73"/>
                    <a:pt x="388" y="73"/>
                  </a:cubicBezTo>
                  <a:cubicBezTo>
                    <a:pt x="390" y="73"/>
                    <a:pt x="393" y="74"/>
                    <a:pt x="395" y="74"/>
                  </a:cubicBezTo>
                  <a:cubicBezTo>
                    <a:pt x="397" y="75"/>
                    <a:pt x="399" y="75"/>
                    <a:pt x="401" y="75"/>
                  </a:cubicBezTo>
                  <a:cubicBezTo>
                    <a:pt x="402" y="75"/>
                    <a:pt x="402" y="75"/>
                    <a:pt x="402" y="75"/>
                  </a:cubicBezTo>
                  <a:cubicBezTo>
                    <a:pt x="404" y="75"/>
                    <a:pt x="406" y="74"/>
                    <a:pt x="406" y="72"/>
                  </a:cubicBezTo>
                  <a:cubicBezTo>
                    <a:pt x="406" y="71"/>
                    <a:pt x="406" y="71"/>
                    <a:pt x="406" y="71"/>
                  </a:cubicBezTo>
                  <a:cubicBezTo>
                    <a:pt x="407" y="71"/>
                    <a:pt x="407" y="71"/>
                    <a:pt x="408" y="71"/>
                  </a:cubicBezTo>
                  <a:cubicBezTo>
                    <a:pt x="409" y="71"/>
                    <a:pt x="409" y="70"/>
                    <a:pt x="410" y="70"/>
                  </a:cubicBezTo>
                  <a:cubicBezTo>
                    <a:pt x="410" y="70"/>
                    <a:pt x="411" y="70"/>
                    <a:pt x="411" y="70"/>
                  </a:cubicBezTo>
                  <a:cubicBezTo>
                    <a:pt x="414" y="70"/>
                    <a:pt x="420" y="69"/>
                    <a:pt x="420" y="65"/>
                  </a:cubicBezTo>
                  <a:cubicBezTo>
                    <a:pt x="420" y="63"/>
                    <a:pt x="420" y="63"/>
                    <a:pt x="420" y="63"/>
                  </a:cubicBezTo>
                  <a:cubicBezTo>
                    <a:pt x="419" y="63"/>
                    <a:pt x="419" y="63"/>
                    <a:pt x="419" y="63"/>
                  </a:cubicBezTo>
                  <a:cubicBezTo>
                    <a:pt x="417" y="62"/>
                    <a:pt x="416" y="62"/>
                    <a:pt x="414" y="62"/>
                  </a:cubicBezTo>
                  <a:cubicBezTo>
                    <a:pt x="413" y="62"/>
                    <a:pt x="412" y="62"/>
                    <a:pt x="411" y="62"/>
                  </a:cubicBezTo>
                  <a:cubicBezTo>
                    <a:pt x="411" y="62"/>
                    <a:pt x="410" y="62"/>
                    <a:pt x="409" y="62"/>
                  </a:cubicBezTo>
                  <a:cubicBezTo>
                    <a:pt x="409" y="62"/>
                    <a:pt x="409" y="62"/>
                    <a:pt x="408" y="62"/>
                  </a:cubicBezTo>
                  <a:cubicBezTo>
                    <a:pt x="408" y="64"/>
                    <a:pt x="408" y="64"/>
                    <a:pt x="408" y="64"/>
                  </a:cubicBezTo>
                  <a:cubicBezTo>
                    <a:pt x="408" y="64"/>
                    <a:pt x="408" y="64"/>
                    <a:pt x="408" y="64"/>
                  </a:cubicBezTo>
                  <a:cubicBezTo>
                    <a:pt x="408" y="62"/>
                    <a:pt x="408" y="62"/>
                    <a:pt x="408" y="62"/>
                  </a:cubicBezTo>
                  <a:cubicBezTo>
                    <a:pt x="407" y="62"/>
                    <a:pt x="406" y="62"/>
                    <a:pt x="404" y="62"/>
                  </a:cubicBezTo>
                  <a:cubicBezTo>
                    <a:pt x="404" y="62"/>
                    <a:pt x="403" y="63"/>
                    <a:pt x="402" y="63"/>
                  </a:cubicBezTo>
                  <a:cubicBezTo>
                    <a:pt x="402" y="63"/>
                    <a:pt x="402" y="63"/>
                    <a:pt x="402" y="63"/>
                  </a:cubicBezTo>
                  <a:cubicBezTo>
                    <a:pt x="401" y="61"/>
                    <a:pt x="399" y="60"/>
                    <a:pt x="396" y="60"/>
                  </a:cubicBezTo>
                  <a:cubicBezTo>
                    <a:pt x="395" y="60"/>
                    <a:pt x="394" y="60"/>
                    <a:pt x="393" y="60"/>
                  </a:cubicBezTo>
                  <a:cubicBezTo>
                    <a:pt x="391" y="60"/>
                    <a:pt x="390" y="60"/>
                    <a:pt x="388" y="60"/>
                  </a:cubicBezTo>
                  <a:cubicBezTo>
                    <a:pt x="386" y="60"/>
                    <a:pt x="385" y="61"/>
                    <a:pt x="383" y="61"/>
                  </a:cubicBezTo>
                  <a:cubicBezTo>
                    <a:pt x="382" y="61"/>
                    <a:pt x="381" y="61"/>
                    <a:pt x="380" y="61"/>
                  </a:cubicBezTo>
                  <a:cubicBezTo>
                    <a:pt x="377" y="61"/>
                    <a:pt x="377" y="61"/>
                    <a:pt x="377" y="61"/>
                  </a:cubicBezTo>
                  <a:cubicBezTo>
                    <a:pt x="376" y="61"/>
                    <a:pt x="375" y="61"/>
                    <a:pt x="373" y="61"/>
                  </a:cubicBezTo>
                  <a:cubicBezTo>
                    <a:pt x="372" y="61"/>
                    <a:pt x="370" y="62"/>
                    <a:pt x="369" y="62"/>
                  </a:cubicBezTo>
                  <a:cubicBezTo>
                    <a:pt x="368" y="63"/>
                    <a:pt x="367" y="63"/>
                    <a:pt x="365" y="63"/>
                  </a:cubicBezTo>
                  <a:cubicBezTo>
                    <a:pt x="363" y="63"/>
                    <a:pt x="361" y="63"/>
                    <a:pt x="360" y="64"/>
                  </a:cubicBezTo>
                  <a:cubicBezTo>
                    <a:pt x="358" y="64"/>
                    <a:pt x="357" y="64"/>
                    <a:pt x="355" y="64"/>
                  </a:cubicBezTo>
                  <a:cubicBezTo>
                    <a:pt x="354" y="64"/>
                    <a:pt x="354" y="64"/>
                    <a:pt x="354" y="64"/>
                  </a:cubicBezTo>
                  <a:cubicBezTo>
                    <a:pt x="354" y="64"/>
                    <a:pt x="353" y="64"/>
                    <a:pt x="353" y="64"/>
                  </a:cubicBezTo>
                  <a:cubicBezTo>
                    <a:pt x="351" y="64"/>
                    <a:pt x="350" y="64"/>
                    <a:pt x="348" y="64"/>
                  </a:cubicBezTo>
                  <a:cubicBezTo>
                    <a:pt x="345" y="64"/>
                    <a:pt x="344" y="64"/>
                    <a:pt x="342" y="66"/>
                  </a:cubicBezTo>
                  <a:cubicBezTo>
                    <a:pt x="341" y="67"/>
                    <a:pt x="341" y="67"/>
                    <a:pt x="341" y="67"/>
                  </a:cubicBezTo>
                  <a:cubicBezTo>
                    <a:pt x="343" y="70"/>
                    <a:pt x="343" y="70"/>
                    <a:pt x="343" y="70"/>
                  </a:cubicBezTo>
                  <a:cubicBezTo>
                    <a:pt x="344" y="71"/>
                    <a:pt x="344" y="71"/>
                    <a:pt x="345" y="72"/>
                  </a:cubicBezTo>
                  <a:cubicBezTo>
                    <a:pt x="344" y="72"/>
                    <a:pt x="344" y="72"/>
                    <a:pt x="343" y="72"/>
                  </a:cubicBezTo>
                  <a:cubicBezTo>
                    <a:pt x="342" y="72"/>
                    <a:pt x="341" y="72"/>
                    <a:pt x="340" y="72"/>
                  </a:cubicBezTo>
                  <a:cubicBezTo>
                    <a:pt x="338" y="72"/>
                    <a:pt x="335" y="72"/>
                    <a:pt x="333" y="74"/>
                  </a:cubicBezTo>
                  <a:cubicBezTo>
                    <a:pt x="330" y="75"/>
                    <a:pt x="329" y="76"/>
                    <a:pt x="327" y="77"/>
                  </a:cubicBezTo>
                  <a:cubicBezTo>
                    <a:pt x="325" y="79"/>
                    <a:pt x="324" y="80"/>
                    <a:pt x="322" y="81"/>
                  </a:cubicBezTo>
                  <a:cubicBezTo>
                    <a:pt x="319" y="81"/>
                    <a:pt x="317" y="83"/>
                    <a:pt x="316" y="84"/>
                  </a:cubicBezTo>
                  <a:cubicBezTo>
                    <a:pt x="314" y="85"/>
                    <a:pt x="313" y="87"/>
                    <a:pt x="312" y="87"/>
                  </a:cubicBezTo>
                  <a:cubicBezTo>
                    <a:pt x="308" y="88"/>
                    <a:pt x="304" y="88"/>
                    <a:pt x="301" y="88"/>
                  </a:cubicBezTo>
                  <a:cubicBezTo>
                    <a:pt x="300" y="88"/>
                    <a:pt x="299" y="88"/>
                    <a:pt x="298" y="88"/>
                  </a:cubicBezTo>
                  <a:cubicBezTo>
                    <a:pt x="289" y="87"/>
                    <a:pt x="280" y="82"/>
                    <a:pt x="274" y="77"/>
                  </a:cubicBezTo>
                  <a:cubicBezTo>
                    <a:pt x="273" y="77"/>
                    <a:pt x="273" y="77"/>
                    <a:pt x="273" y="77"/>
                  </a:cubicBezTo>
                  <a:cubicBezTo>
                    <a:pt x="271" y="76"/>
                    <a:pt x="270" y="75"/>
                    <a:pt x="269" y="74"/>
                  </a:cubicBezTo>
                  <a:cubicBezTo>
                    <a:pt x="269" y="73"/>
                    <a:pt x="269" y="73"/>
                    <a:pt x="269" y="72"/>
                  </a:cubicBezTo>
                  <a:cubicBezTo>
                    <a:pt x="268" y="71"/>
                    <a:pt x="268" y="69"/>
                    <a:pt x="267" y="68"/>
                  </a:cubicBezTo>
                  <a:cubicBezTo>
                    <a:pt x="265" y="66"/>
                    <a:pt x="262" y="65"/>
                    <a:pt x="259" y="65"/>
                  </a:cubicBezTo>
                  <a:cubicBezTo>
                    <a:pt x="255" y="65"/>
                    <a:pt x="255" y="65"/>
                    <a:pt x="255" y="65"/>
                  </a:cubicBezTo>
                  <a:cubicBezTo>
                    <a:pt x="255" y="65"/>
                    <a:pt x="254" y="65"/>
                    <a:pt x="253" y="65"/>
                  </a:cubicBezTo>
                  <a:cubicBezTo>
                    <a:pt x="251" y="65"/>
                    <a:pt x="249" y="65"/>
                    <a:pt x="247" y="65"/>
                  </a:cubicBezTo>
                  <a:cubicBezTo>
                    <a:pt x="243" y="65"/>
                    <a:pt x="239" y="65"/>
                    <a:pt x="235" y="66"/>
                  </a:cubicBezTo>
                  <a:cubicBezTo>
                    <a:pt x="232" y="67"/>
                    <a:pt x="228" y="68"/>
                    <a:pt x="225" y="68"/>
                  </a:cubicBezTo>
                  <a:cubicBezTo>
                    <a:pt x="220" y="68"/>
                    <a:pt x="215" y="69"/>
                    <a:pt x="210" y="70"/>
                  </a:cubicBezTo>
                  <a:cubicBezTo>
                    <a:pt x="209" y="70"/>
                    <a:pt x="208" y="70"/>
                    <a:pt x="207" y="71"/>
                  </a:cubicBezTo>
                  <a:cubicBezTo>
                    <a:pt x="204" y="72"/>
                    <a:pt x="202" y="72"/>
                    <a:pt x="200" y="72"/>
                  </a:cubicBezTo>
                  <a:cubicBezTo>
                    <a:pt x="199" y="72"/>
                    <a:pt x="198" y="72"/>
                    <a:pt x="197" y="72"/>
                  </a:cubicBezTo>
                  <a:cubicBezTo>
                    <a:pt x="192" y="71"/>
                    <a:pt x="192" y="70"/>
                    <a:pt x="190" y="66"/>
                  </a:cubicBezTo>
                  <a:cubicBezTo>
                    <a:pt x="190" y="65"/>
                    <a:pt x="190" y="65"/>
                    <a:pt x="190" y="65"/>
                  </a:cubicBezTo>
                  <a:cubicBezTo>
                    <a:pt x="189" y="61"/>
                    <a:pt x="188" y="57"/>
                    <a:pt x="188" y="53"/>
                  </a:cubicBezTo>
                  <a:cubicBezTo>
                    <a:pt x="188" y="48"/>
                    <a:pt x="187" y="44"/>
                    <a:pt x="182" y="40"/>
                  </a:cubicBezTo>
                  <a:cubicBezTo>
                    <a:pt x="181" y="39"/>
                    <a:pt x="180" y="39"/>
                    <a:pt x="179" y="38"/>
                  </a:cubicBezTo>
                  <a:cubicBezTo>
                    <a:pt x="178" y="37"/>
                    <a:pt x="177" y="37"/>
                    <a:pt x="176" y="36"/>
                  </a:cubicBezTo>
                  <a:cubicBezTo>
                    <a:pt x="175" y="36"/>
                    <a:pt x="175" y="35"/>
                    <a:pt x="174" y="35"/>
                  </a:cubicBezTo>
                  <a:cubicBezTo>
                    <a:pt x="174" y="34"/>
                    <a:pt x="173" y="33"/>
                    <a:pt x="171" y="32"/>
                  </a:cubicBezTo>
                  <a:cubicBezTo>
                    <a:pt x="169" y="30"/>
                    <a:pt x="166" y="30"/>
                    <a:pt x="164" y="30"/>
                  </a:cubicBezTo>
                  <a:cubicBezTo>
                    <a:pt x="162" y="30"/>
                    <a:pt x="160" y="30"/>
                    <a:pt x="158" y="29"/>
                  </a:cubicBezTo>
                  <a:cubicBezTo>
                    <a:pt x="156" y="28"/>
                    <a:pt x="155" y="28"/>
                    <a:pt x="153" y="28"/>
                  </a:cubicBezTo>
                  <a:cubicBezTo>
                    <a:pt x="151" y="28"/>
                    <a:pt x="150" y="28"/>
                    <a:pt x="149" y="29"/>
                  </a:cubicBezTo>
                  <a:cubicBezTo>
                    <a:pt x="147" y="29"/>
                    <a:pt x="146" y="29"/>
                    <a:pt x="145" y="29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3" y="29"/>
                    <a:pt x="143" y="29"/>
                    <a:pt x="142" y="29"/>
                  </a:cubicBezTo>
                  <a:cubicBezTo>
                    <a:pt x="141" y="28"/>
                    <a:pt x="140" y="28"/>
                    <a:pt x="140" y="28"/>
                  </a:cubicBezTo>
                  <a:cubicBezTo>
                    <a:pt x="139" y="27"/>
                    <a:pt x="139" y="26"/>
                    <a:pt x="138" y="25"/>
                  </a:cubicBezTo>
                  <a:cubicBezTo>
                    <a:pt x="138" y="24"/>
                    <a:pt x="138" y="24"/>
                    <a:pt x="138" y="24"/>
                  </a:cubicBezTo>
                  <a:cubicBezTo>
                    <a:pt x="138" y="23"/>
                    <a:pt x="137" y="18"/>
                    <a:pt x="137" y="15"/>
                  </a:cubicBezTo>
                  <a:cubicBezTo>
                    <a:pt x="136" y="5"/>
                    <a:pt x="136" y="3"/>
                    <a:pt x="134" y="3"/>
                  </a:cubicBezTo>
                  <a:cubicBezTo>
                    <a:pt x="133" y="3"/>
                    <a:pt x="132" y="2"/>
                    <a:pt x="131" y="2"/>
                  </a:cubicBezTo>
                  <a:cubicBezTo>
                    <a:pt x="130" y="1"/>
                    <a:pt x="129" y="0"/>
                    <a:pt x="127" y="0"/>
                  </a:cubicBezTo>
                  <a:cubicBezTo>
                    <a:pt x="126" y="0"/>
                    <a:pt x="124" y="0"/>
                    <a:pt x="123" y="1"/>
                  </a:cubicBezTo>
                  <a:cubicBezTo>
                    <a:pt x="121" y="2"/>
                    <a:pt x="120" y="4"/>
                    <a:pt x="119" y="6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18" y="7"/>
                    <a:pt x="118" y="7"/>
                    <a:pt x="117" y="8"/>
                  </a:cubicBezTo>
                  <a:cubicBezTo>
                    <a:pt x="117" y="8"/>
                    <a:pt x="116" y="9"/>
                    <a:pt x="116" y="10"/>
                  </a:cubicBezTo>
                  <a:cubicBezTo>
                    <a:pt x="114" y="13"/>
                    <a:pt x="115" y="17"/>
                    <a:pt x="116" y="20"/>
                  </a:cubicBezTo>
                  <a:cubicBezTo>
                    <a:pt x="116" y="21"/>
                    <a:pt x="116" y="21"/>
                    <a:pt x="116" y="22"/>
                  </a:cubicBezTo>
                  <a:cubicBezTo>
                    <a:pt x="116" y="24"/>
                    <a:pt x="117" y="28"/>
                    <a:pt x="119" y="31"/>
                  </a:cubicBezTo>
                  <a:cubicBezTo>
                    <a:pt x="119" y="31"/>
                    <a:pt x="119" y="32"/>
                    <a:pt x="118" y="32"/>
                  </a:cubicBezTo>
                  <a:cubicBezTo>
                    <a:pt x="118" y="33"/>
                    <a:pt x="117" y="33"/>
                    <a:pt x="117" y="33"/>
                  </a:cubicBezTo>
                  <a:cubicBezTo>
                    <a:pt x="116" y="34"/>
                    <a:pt x="115" y="34"/>
                    <a:pt x="114" y="35"/>
                  </a:cubicBezTo>
                  <a:cubicBezTo>
                    <a:pt x="113" y="35"/>
                    <a:pt x="112" y="36"/>
                    <a:pt x="111" y="36"/>
                  </a:cubicBezTo>
                  <a:cubicBezTo>
                    <a:pt x="110" y="37"/>
                    <a:pt x="110" y="37"/>
                    <a:pt x="110" y="37"/>
                  </a:cubicBezTo>
                  <a:cubicBezTo>
                    <a:pt x="108" y="38"/>
                    <a:pt x="106" y="39"/>
                    <a:pt x="103" y="39"/>
                  </a:cubicBezTo>
                  <a:cubicBezTo>
                    <a:pt x="97" y="40"/>
                    <a:pt x="90" y="43"/>
                    <a:pt x="84" y="46"/>
                  </a:cubicBezTo>
                  <a:cubicBezTo>
                    <a:pt x="83" y="46"/>
                    <a:pt x="83" y="47"/>
                    <a:pt x="82" y="48"/>
                  </a:cubicBezTo>
                  <a:cubicBezTo>
                    <a:pt x="77" y="50"/>
                    <a:pt x="72" y="53"/>
                    <a:pt x="70" y="58"/>
                  </a:cubicBezTo>
                  <a:cubicBezTo>
                    <a:pt x="66" y="64"/>
                    <a:pt x="68" y="75"/>
                    <a:pt x="71" y="80"/>
                  </a:cubicBezTo>
                  <a:cubicBezTo>
                    <a:pt x="71" y="81"/>
                    <a:pt x="72" y="82"/>
                    <a:pt x="73" y="83"/>
                  </a:cubicBezTo>
                  <a:cubicBezTo>
                    <a:pt x="74" y="84"/>
                    <a:pt x="75" y="86"/>
                    <a:pt x="75" y="88"/>
                  </a:cubicBezTo>
                  <a:cubicBezTo>
                    <a:pt x="76" y="90"/>
                    <a:pt x="77" y="92"/>
                    <a:pt x="78" y="94"/>
                  </a:cubicBezTo>
                  <a:cubicBezTo>
                    <a:pt x="80" y="97"/>
                    <a:pt x="81" y="100"/>
                    <a:pt x="82" y="104"/>
                  </a:cubicBezTo>
                  <a:cubicBezTo>
                    <a:pt x="82" y="110"/>
                    <a:pt x="81" y="116"/>
                    <a:pt x="78" y="121"/>
                  </a:cubicBezTo>
                  <a:cubicBezTo>
                    <a:pt x="76" y="126"/>
                    <a:pt x="69" y="131"/>
                    <a:pt x="64" y="131"/>
                  </a:cubicBezTo>
                  <a:cubicBezTo>
                    <a:pt x="64" y="131"/>
                    <a:pt x="63" y="131"/>
                    <a:pt x="63" y="131"/>
                  </a:cubicBezTo>
                  <a:cubicBezTo>
                    <a:pt x="61" y="130"/>
                    <a:pt x="61" y="130"/>
                    <a:pt x="61" y="125"/>
                  </a:cubicBezTo>
                  <a:cubicBezTo>
                    <a:pt x="61" y="122"/>
                    <a:pt x="61" y="117"/>
                    <a:pt x="57" y="115"/>
                  </a:cubicBezTo>
                  <a:cubicBezTo>
                    <a:pt x="56" y="115"/>
                    <a:pt x="55" y="115"/>
                    <a:pt x="55" y="115"/>
                  </a:cubicBezTo>
                  <a:cubicBezTo>
                    <a:pt x="54" y="115"/>
                    <a:pt x="53" y="115"/>
                    <a:pt x="53" y="115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3" y="115"/>
                    <a:pt x="53" y="115"/>
                    <a:pt x="53" y="114"/>
                  </a:cubicBezTo>
                  <a:cubicBezTo>
                    <a:pt x="53" y="113"/>
                    <a:pt x="53" y="112"/>
                    <a:pt x="53" y="111"/>
                  </a:cubicBezTo>
                  <a:cubicBezTo>
                    <a:pt x="53" y="110"/>
                    <a:pt x="52" y="108"/>
                    <a:pt x="52" y="107"/>
                  </a:cubicBezTo>
                  <a:cubicBezTo>
                    <a:pt x="51" y="107"/>
                    <a:pt x="51" y="106"/>
                    <a:pt x="51" y="106"/>
                  </a:cubicBezTo>
                  <a:cubicBezTo>
                    <a:pt x="48" y="98"/>
                    <a:pt x="52" y="92"/>
                    <a:pt x="58" y="86"/>
                  </a:cubicBezTo>
                  <a:cubicBezTo>
                    <a:pt x="61" y="82"/>
                    <a:pt x="64" y="78"/>
                    <a:pt x="66" y="74"/>
                  </a:cubicBezTo>
                  <a:cubicBezTo>
                    <a:pt x="68" y="67"/>
                    <a:pt x="67" y="60"/>
                    <a:pt x="66" y="54"/>
                  </a:cubicBezTo>
                  <a:cubicBezTo>
                    <a:pt x="65" y="48"/>
                    <a:pt x="63" y="44"/>
                    <a:pt x="60" y="39"/>
                  </a:cubicBezTo>
                  <a:cubicBezTo>
                    <a:pt x="60" y="39"/>
                    <a:pt x="59" y="38"/>
                    <a:pt x="58" y="36"/>
                  </a:cubicBezTo>
                  <a:cubicBezTo>
                    <a:pt x="56" y="33"/>
                    <a:pt x="56" y="31"/>
                    <a:pt x="57" y="29"/>
                  </a:cubicBezTo>
                  <a:cubicBezTo>
                    <a:pt x="57" y="28"/>
                    <a:pt x="58" y="28"/>
                    <a:pt x="59" y="27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4" y="24"/>
                    <a:pt x="52" y="26"/>
                    <a:pt x="50" y="28"/>
                  </a:cubicBezTo>
                  <a:cubicBezTo>
                    <a:pt x="48" y="30"/>
                    <a:pt x="47" y="32"/>
                    <a:pt x="46" y="35"/>
                  </a:cubicBezTo>
                  <a:cubicBezTo>
                    <a:pt x="46" y="37"/>
                    <a:pt x="45" y="38"/>
                    <a:pt x="44" y="40"/>
                  </a:cubicBezTo>
                  <a:cubicBezTo>
                    <a:pt x="42" y="43"/>
                    <a:pt x="40" y="44"/>
                    <a:pt x="38" y="46"/>
                  </a:cubicBezTo>
                  <a:cubicBezTo>
                    <a:pt x="37" y="46"/>
                    <a:pt x="36" y="47"/>
                    <a:pt x="35" y="48"/>
                  </a:cubicBezTo>
                  <a:cubicBezTo>
                    <a:pt x="33" y="50"/>
                    <a:pt x="31" y="53"/>
                    <a:pt x="30" y="55"/>
                  </a:cubicBezTo>
                  <a:cubicBezTo>
                    <a:pt x="29" y="57"/>
                    <a:pt x="28" y="59"/>
                    <a:pt x="27" y="60"/>
                  </a:cubicBezTo>
                  <a:cubicBezTo>
                    <a:pt x="24" y="64"/>
                    <a:pt x="22" y="67"/>
                    <a:pt x="20" y="71"/>
                  </a:cubicBezTo>
                  <a:cubicBezTo>
                    <a:pt x="18" y="78"/>
                    <a:pt x="17" y="86"/>
                    <a:pt x="16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5" y="96"/>
                    <a:pt x="15" y="98"/>
                    <a:pt x="14" y="100"/>
                  </a:cubicBezTo>
                  <a:cubicBezTo>
                    <a:pt x="14" y="105"/>
                    <a:pt x="11" y="109"/>
                    <a:pt x="8" y="113"/>
                  </a:cubicBezTo>
                  <a:cubicBezTo>
                    <a:pt x="5" y="117"/>
                    <a:pt x="3" y="121"/>
                    <a:pt x="2" y="125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5" y="128"/>
                    <a:pt x="6" y="127"/>
                    <a:pt x="7" y="127"/>
                  </a:cubicBezTo>
                  <a:cubicBezTo>
                    <a:pt x="7" y="127"/>
                    <a:pt x="8" y="126"/>
                    <a:pt x="9" y="126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13" y="127"/>
                    <a:pt x="13" y="127"/>
                    <a:pt x="13" y="129"/>
                  </a:cubicBezTo>
                  <a:cubicBezTo>
                    <a:pt x="14" y="130"/>
                    <a:pt x="14" y="131"/>
                    <a:pt x="16" y="132"/>
                  </a:cubicBezTo>
                  <a:cubicBezTo>
                    <a:pt x="16" y="133"/>
                    <a:pt x="17" y="133"/>
                    <a:pt x="18" y="133"/>
                  </a:cubicBezTo>
                  <a:cubicBezTo>
                    <a:pt x="19" y="133"/>
                    <a:pt x="19" y="133"/>
                    <a:pt x="19" y="133"/>
                  </a:cubicBezTo>
                  <a:cubicBezTo>
                    <a:pt x="19" y="133"/>
                    <a:pt x="19" y="133"/>
                    <a:pt x="19" y="133"/>
                  </a:cubicBezTo>
                  <a:cubicBezTo>
                    <a:pt x="20" y="133"/>
                    <a:pt x="20" y="133"/>
                    <a:pt x="21" y="137"/>
                  </a:cubicBezTo>
                  <a:cubicBezTo>
                    <a:pt x="22" y="137"/>
                    <a:pt x="21" y="138"/>
                    <a:pt x="21" y="139"/>
                  </a:cubicBezTo>
                  <a:cubicBezTo>
                    <a:pt x="21" y="140"/>
                    <a:pt x="21" y="141"/>
                    <a:pt x="21" y="142"/>
                  </a:cubicBezTo>
                  <a:cubicBezTo>
                    <a:pt x="22" y="143"/>
                    <a:pt x="22" y="143"/>
                    <a:pt x="23" y="144"/>
                  </a:cubicBezTo>
                  <a:cubicBezTo>
                    <a:pt x="23" y="145"/>
                    <a:pt x="24" y="145"/>
                    <a:pt x="24" y="146"/>
                  </a:cubicBezTo>
                  <a:cubicBezTo>
                    <a:pt x="26" y="151"/>
                    <a:pt x="29" y="156"/>
                    <a:pt x="30" y="161"/>
                  </a:cubicBezTo>
                  <a:cubicBezTo>
                    <a:pt x="33" y="168"/>
                    <a:pt x="32" y="173"/>
                    <a:pt x="30" y="178"/>
                  </a:cubicBezTo>
                  <a:cubicBezTo>
                    <a:pt x="28" y="183"/>
                    <a:pt x="27" y="192"/>
                    <a:pt x="29" y="199"/>
                  </a:cubicBezTo>
                  <a:cubicBezTo>
                    <a:pt x="29" y="200"/>
                    <a:pt x="29" y="200"/>
                    <a:pt x="29" y="200"/>
                  </a:cubicBezTo>
                  <a:cubicBezTo>
                    <a:pt x="31" y="200"/>
                    <a:pt x="31" y="200"/>
                    <a:pt x="31" y="200"/>
                  </a:cubicBezTo>
                  <a:cubicBezTo>
                    <a:pt x="34" y="201"/>
                    <a:pt x="37" y="202"/>
                    <a:pt x="38" y="202"/>
                  </a:cubicBezTo>
                  <a:cubicBezTo>
                    <a:pt x="39" y="204"/>
                    <a:pt x="40" y="206"/>
                    <a:pt x="40" y="208"/>
                  </a:cubicBezTo>
                  <a:cubicBezTo>
                    <a:pt x="40" y="209"/>
                    <a:pt x="40" y="210"/>
                    <a:pt x="40" y="211"/>
                  </a:cubicBezTo>
                  <a:cubicBezTo>
                    <a:pt x="42" y="215"/>
                    <a:pt x="44" y="216"/>
                    <a:pt x="48" y="216"/>
                  </a:cubicBezTo>
                  <a:cubicBezTo>
                    <a:pt x="50" y="216"/>
                    <a:pt x="52" y="216"/>
                    <a:pt x="54" y="216"/>
                  </a:cubicBezTo>
                  <a:cubicBezTo>
                    <a:pt x="56" y="215"/>
                    <a:pt x="58" y="215"/>
                    <a:pt x="59" y="215"/>
                  </a:cubicBezTo>
                  <a:cubicBezTo>
                    <a:pt x="63" y="215"/>
                    <a:pt x="66" y="216"/>
                    <a:pt x="69" y="217"/>
                  </a:cubicBezTo>
                  <a:cubicBezTo>
                    <a:pt x="72" y="218"/>
                    <a:pt x="74" y="218"/>
                    <a:pt x="76" y="218"/>
                  </a:cubicBezTo>
                  <a:cubicBezTo>
                    <a:pt x="77" y="218"/>
                    <a:pt x="77" y="218"/>
                    <a:pt x="78" y="218"/>
                  </a:cubicBezTo>
                  <a:cubicBezTo>
                    <a:pt x="80" y="218"/>
                    <a:pt x="82" y="217"/>
                    <a:pt x="84" y="216"/>
                  </a:cubicBezTo>
                  <a:cubicBezTo>
                    <a:pt x="87" y="214"/>
                    <a:pt x="90" y="213"/>
                    <a:pt x="93" y="213"/>
                  </a:cubicBezTo>
                  <a:cubicBezTo>
                    <a:pt x="94" y="213"/>
                    <a:pt x="95" y="213"/>
                    <a:pt x="96" y="214"/>
                  </a:cubicBezTo>
                  <a:cubicBezTo>
                    <a:pt x="98" y="214"/>
                    <a:pt x="99" y="215"/>
                    <a:pt x="100" y="215"/>
                  </a:cubicBezTo>
                  <a:cubicBezTo>
                    <a:pt x="102" y="216"/>
                    <a:pt x="103" y="217"/>
                    <a:pt x="105" y="218"/>
                  </a:cubicBezTo>
                  <a:cubicBezTo>
                    <a:pt x="106" y="218"/>
                    <a:pt x="107" y="218"/>
                    <a:pt x="108" y="218"/>
                  </a:cubicBezTo>
                  <a:cubicBezTo>
                    <a:pt x="111" y="218"/>
                    <a:pt x="111" y="218"/>
                    <a:pt x="111" y="218"/>
                  </a:cubicBezTo>
                  <a:cubicBezTo>
                    <a:pt x="112" y="218"/>
                    <a:pt x="112" y="218"/>
                    <a:pt x="113" y="218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24" y="234"/>
                    <a:pt x="126" y="237"/>
                    <a:pt x="127" y="239"/>
                  </a:cubicBezTo>
                  <a:cubicBezTo>
                    <a:pt x="130" y="243"/>
                    <a:pt x="133" y="248"/>
                    <a:pt x="136" y="252"/>
                  </a:cubicBezTo>
                  <a:cubicBezTo>
                    <a:pt x="137" y="253"/>
                    <a:pt x="138" y="253"/>
                    <a:pt x="140" y="253"/>
                  </a:cubicBezTo>
                  <a:cubicBezTo>
                    <a:pt x="142" y="253"/>
                    <a:pt x="144" y="253"/>
                    <a:pt x="147" y="252"/>
                  </a:cubicBezTo>
                  <a:cubicBezTo>
                    <a:pt x="149" y="251"/>
                    <a:pt x="151" y="251"/>
                    <a:pt x="153" y="251"/>
                  </a:cubicBezTo>
                  <a:cubicBezTo>
                    <a:pt x="153" y="251"/>
                    <a:pt x="154" y="251"/>
                    <a:pt x="154" y="251"/>
                  </a:cubicBezTo>
                  <a:cubicBezTo>
                    <a:pt x="155" y="251"/>
                    <a:pt x="157" y="251"/>
                    <a:pt x="159" y="252"/>
                  </a:cubicBezTo>
                  <a:cubicBezTo>
                    <a:pt x="160" y="252"/>
                    <a:pt x="161" y="253"/>
                    <a:pt x="162" y="253"/>
                  </a:cubicBezTo>
                  <a:cubicBezTo>
                    <a:pt x="163" y="253"/>
                    <a:pt x="164" y="253"/>
                    <a:pt x="165" y="253"/>
                  </a:cubicBezTo>
                  <a:cubicBezTo>
                    <a:pt x="167" y="253"/>
                    <a:pt x="169" y="252"/>
                    <a:pt x="172" y="252"/>
                  </a:cubicBezTo>
                  <a:cubicBezTo>
                    <a:pt x="175" y="251"/>
                    <a:pt x="178" y="251"/>
                    <a:pt x="181" y="251"/>
                  </a:cubicBezTo>
                  <a:cubicBezTo>
                    <a:pt x="183" y="251"/>
                    <a:pt x="184" y="251"/>
                    <a:pt x="186" y="250"/>
                  </a:cubicBezTo>
                  <a:cubicBezTo>
                    <a:pt x="186" y="250"/>
                    <a:pt x="186" y="250"/>
                    <a:pt x="186" y="250"/>
                  </a:cubicBezTo>
                  <a:cubicBezTo>
                    <a:pt x="190" y="250"/>
                    <a:pt x="192" y="250"/>
                    <a:pt x="195" y="247"/>
                  </a:cubicBezTo>
                  <a:cubicBezTo>
                    <a:pt x="196" y="247"/>
                    <a:pt x="198" y="246"/>
                    <a:pt x="199" y="246"/>
                  </a:cubicBezTo>
                  <a:cubicBezTo>
                    <a:pt x="199" y="246"/>
                    <a:pt x="200" y="246"/>
                    <a:pt x="200" y="246"/>
                  </a:cubicBezTo>
                  <a:cubicBezTo>
                    <a:pt x="203" y="247"/>
                    <a:pt x="205" y="249"/>
                    <a:pt x="207" y="251"/>
                  </a:cubicBezTo>
                  <a:cubicBezTo>
                    <a:pt x="208" y="254"/>
                    <a:pt x="209" y="257"/>
                    <a:pt x="208" y="260"/>
                  </a:cubicBezTo>
                  <a:cubicBezTo>
                    <a:pt x="207" y="261"/>
                    <a:pt x="206" y="262"/>
                    <a:pt x="205" y="263"/>
                  </a:cubicBezTo>
                  <a:cubicBezTo>
                    <a:pt x="205" y="264"/>
                    <a:pt x="204" y="264"/>
                    <a:pt x="203" y="265"/>
                  </a:cubicBezTo>
                  <a:cubicBezTo>
                    <a:pt x="202" y="267"/>
                    <a:pt x="202" y="270"/>
                    <a:pt x="202" y="273"/>
                  </a:cubicBezTo>
                  <a:cubicBezTo>
                    <a:pt x="202" y="276"/>
                    <a:pt x="201" y="278"/>
                    <a:pt x="200" y="281"/>
                  </a:cubicBezTo>
                  <a:cubicBezTo>
                    <a:pt x="199" y="282"/>
                    <a:pt x="198" y="283"/>
                    <a:pt x="197" y="284"/>
                  </a:cubicBezTo>
                  <a:cubicBezTo>
                    <a:pt x="195" y="285"/>
                    <a:pt x="194" y="287"/>
                    <a:pt x="193" y="290"/>
                  </a:cubicBezTo>
                  <a:cubicBezTo>
                    <a:pt x="193" y="295"/>
                    <a:pt x="193" y="300"/>
                    <a:pt x="193" y="303"/>
                  </a:cubicBezTo>
                  <a:cubicBezTo>
                    <a:pt x="193" y="307"/>
                    <a:pt x="193" y="310"/>
                    <a:pt x="193" y="313"/>
                  </a:cubicBezTo>
                  <a:cubicBezTo>
                    <a:pt x="192" y="316"/>
                    <a:pt x="192" y="319"/>
                    <a:pt x="192" y="323"/>
                  </a:cubicBezTo>
                  <a:cubicBezTo>
                    <a:pt x="193" y="336"/>
                    <a:pt x="199" y="347"/>
                    <a:pt x="205" y="356"/>
                  </a:cubicBezTo>
                  <a:cubicBezTo>
                    <a:pt x="205" y="357"/>
                    <a:pt x="206" y="358"/>
                    <a:pt x="207" y="359"/>
                  </a:cubicBezTo>
                  <a:cubicBezTo>
                    <a:pt x="209" y="362"/>
                    <a:pt x="211" y="365"/>
                    <a:pt x="211" y="367"/>
                  </a:cubicBezTo>
                  <a:cubicBezTo>
                    <a:pt x="210" y="369"/>
                    <a:pt x="208" y="371"/>
                    <a:pt x="206" y="373"/>
                  </a:cubicBezTo>
                  <a:cubicBezTo>
                    <a:pt x="206" y="373"/>
                    <a:pt x="205" y="374"/>
                    <a:pt x="205" y="374"/>
                  </a:cubicBezTo>
                  <a:cubicBezTo>
                    <a:pt x="203" y="376"/>
                    <a:pt x="202" y="377"/>
                    <a:pt x="200" y="379"/>
                  </a:cubicBezTo>
                  <a:cubicBezTo>
                    <a:pt x="199" y="380"/>
                    <a:pt x="197" y="381"/>
                    <a:pt x="195" y="383"/>
                  </a:cubicBezTo>
                  <a:cubicBezTo>
                    <a:pt x="195" y="384"/>
                    <a:pt x="195" y="384"/>
                    <a:pt x="195" y="384"/>
                  </a:cubicBezTo>
                  <a:cubicBezTo>
                    <a:pt x="193" y="386"/>
                    <a:pt x="191" y="387"/>
                    <a:pt x="193" y="390"/>
                  </a:cubicBezTo>
                  <a:cubicBezTo>
                    <a:pt x="194" y="391"/>
                    <a:pt x="196" y="392"/>
                    <a:pt x="197" y="393"/>
                  </a:cubicBezTo>
                  <a:cubicBezTo>
                    <a:pt x="198" y="393"/>
                    <a:pt x="199" y="394"/>
                    <a:pt x="200" y="394"/>
                  </a:cubicBezTo>
                  <a:cubicBezTo>
                    <a:pt x="201" y="395"/>
                    <a:pt x="201" y="395"/>
                    <a:pt x="201" y="395"/>
                  </a:cubicBezTo>
                  <a:cubicBezTo>
                    <a:pt x="203" y="397"/>
                    <a:pt x="206" y="400"/>
                    <a:pt x="208" y="402"/>
                  </a:cubicBezTo>
                  <a:cubicBezTo>
                    <a:pt x="208" y="402"/>
                    <a:pt x="208" y="403"/>
                    <a:pt x="209" y="404"/>
                  </a:cubicBezTo>
                  <a:cubicBezTo>
                    <a:pt x="209" y="404"/>
                    <a:pt x="209" y="404"/>
                    <a:pt x="209" y="405"/>
                  </a:cubicBezTo>
                  <a:cubicBezTo>
                    <a:pt x="210" y="406"/>
                    <a:pt x="210" y="406"/>
                    <a:pt x="211" y="407"/>
                  </a:cubicBezTo>
                  <a:cubicBezTo>
                    <a:pt x="211" y="407"/>
                    <a:pt x="212" y="407"/>
                    <a:pt x="212" y="407"/>
                  </a:cubicBezTo>
                  <a:cubicBezTo>
                    <a:pt x="214" y="409"/>
                    <a:pt x="214" y="410"/>
                    <a:pt x="214" y="412"/>
                  </a:cubicBezTo>
                  <a:cubicBezTo>
                    <a:pt x="214" y="413"/>
                    <a:pt x="214" y="413"/>
                    <a:pt x="214" y="414"/>
                  </a:cubicBezTo>
                  <a:cubicBezTo>
                    <a:pt x="214" y="416"/>
                    <a:pt x="215" y="418"/>
                    <a:pt x="215" y="420"/>
                  </a:cubicBezTo>
                  <a:cubicBezTo>
                    <a:pt x="216" y="421"/>
                    <a:pt x="217" y="422"/>
                    <a:pt x="217" y="424"/>
                  </a:cubicBezTo>
                  <a:cubicBezTo>
                    <a:pt x="217" y="426"/>
                    <a:pt x="218" y="428"/>
                    <a:pt x="219" y="429"/>
                  </a:cubicBezTo>
                  <a:cubicBezTo>
                    <a:pt x="220" y="431"/>
                    <a:pt x="221" y="433"/>
                    <a:pt x="221" y="435"/>
                  </a:cubicBezTo>
                  <a:cubicBezTo>
                    <a:pt x="221" y="436"/>
                    <a:pt x="221" y="436"/>
                    <a:pt x="221" y="438"/>
                  </a:cubicBezTo>
                  <a:cubicBezTo>
                    <a:pt x="221" y="439"/>
                    <a:pt x="221" y="440"/>
                    <a:pt x="221" y="442"/>
                  </a:cubicBezTo>
                  <a:cubicBezTo>
                    <a:pt x="221" y="443"/>
                    <a:pt x="222" y="444"/>
                    <a:pt x="223" y="445"/>
                  </a:cubicBezTo>
                  <a:cubicBezTo>
                    <a:pt x="223" y="445"/>
                    <a:pt x="223" y="446"/>
                    <a:pt x="224" y="447"/>
                  </a:cubicBezTo>
                  <a:cubicBezTo>
                    <a:pt x="224" y="448"/>
                    <a:pt x="224" y="450"/>
                    <a:pt x="224" y="452"/>
                  </a:cubicBezTo>
                  <a:cubicBezTo>
                    <a:pt x="224" y="455"/>
                    <a:pt x="224" y="457"/>
                    <a:pt x="226" y="459"/>
                  </a:cubicBezTo>
                  <a:cubicBezTo>
                    <a:pt x="228" y="461"/>
                    <a:pt x="230" y="463"/>
                    <a:pt x="232" y="465"/>
                  </a:cubicBezTo>
                  <a:cubicBezTo>
                    <a:pt x="233" y="465"/>
                    <a:pt x="234" y="466"/>
                    <a:pt x="234" y="467"/>
                  </a:cubicBezTo>
                  <a:cubicBezTo>
                    <a:pt x="235" y="467"/>
                    <a:pt x="236" y="468"/>
                    <a:pt x="238" y="469"/>
                  </a:cubicBezTo>
                  <a:cubicBezTo>
                    <a:pt x="240" y="472"/>
                    <a:pt x="243" y="475"/>
                    <a:pt x="247" y="475"/>
                  </a:cubicBezTo>
                  <a:cubicBezTo>
                    <a:pt x="248" y="476"/>
                    <a:pt x="248" y="476"/>
                    <a:pt x="248" y="476"/>
                  </a:cubicBezTo>
                  <a:cubicBezTo>
                    <a:pt x="249" y="476"/>
                    <a:pt x="251" y="476"/>
                    <a:pt x="252" y="476"/>
                  </a:cubicBezTo>
                  <a:cubicBezTo>
                    <a:pt x="255" y="476"/>
                    <a:pt x="256" y="476"/>
                    <a:pt x="258" y="475"/>
                  </a:cubicBezTo>
                  <a:cubicBezTo>
                    <a:pt x="259" y="474"/>
                    <a:pt x="259" y="473"/>
                    <a:pt x="260" y="473"/>
                  </a:cubicBezTo>
                  <a:cubicBezTo>
                    <a:pt x="260" y="472"/>
                    <a:pt x="261" y="472"/>
                    <a:pt x="261" y="471"/>
                  </a:cubicBezTo>
                  <a:cubicBezTo>
                    <a:pt x="262" y="471"/>
                    <a:pt x="263" y="470"/>
                    <a:pt x="263" y="470"/>
                  </a:cubicBezTo>
                  <a:cubicBezTo>
                    <a:pt x="264" y="469"/>
                    <a:pt x="265" y="469"/>
                    <a:pt x="266" y="468"/>
                  </a:cubicBezTo>
                  <a:cubicBezTo>
                    <a:pt x="268" y="467"/>
                    <a:pt x="270" y="465"/>
                    <a:pt x="272" y="465"/>
                  </a:cubicBezTo>
                  <a:cubicBezTo>
                    <a:pt x="273" y="465"/>
                    <a:pt x="273" y="465"/>
                    <a:pt x="273" y="465"/>
                  </a:cubicBezTo>
                  <a:cubicBezTo>
                    <a:pt x="275" y="469"/>
                    <a:pt x="275" y="470"/>
                    <a:pt x="273" y="472"/>
                  </a:cubicBezTo>
                  <a:cubicBezTo>
                    <a:pt x="273" y="473"/>
                    <a:pt x="272" y="474"/>
                    <a:pt x="272" y="475"/>
                  </a:cubicBezTo>
                  <a:cubicBezTo>
                    <a:pt x="271" y="477"/>
                    <a:pt x="272" y="479"/>
                    <a:pt x="273" y="480"/>
                  </a:cubicBezTo>
                  <a:cubicBezTo>
                    <a:pt x="274" y="480"/>
                    <a:pt x="274" y="480"/>
                    <a:pt x="275" y="480"/>
                  </a:cubicBezTo>
                  <a:cubicBezTo>
                    <a:pt x="276" y="480"/>
                    <a:pt x="277" y="480"/>
                    <a:pt x="278" y="479"/>
                  </a:cubicBezTo>
                  <a:cubicBezTo>
                    <a:pt x="279" y="478"/>
                    <a:pt x="279" y="477"/>
                    <a:pt x="280" y="475"/>
                  </a:cubicBezTo>
                  <a:cubicBezTo>
                    <a:pt x="280" y="474"/>
                    <a:pt x="281" y="472"/>
                    <a:pt x="283" y="471"/>
                  </a:cubicBezTo>
                  <a:cubicBezTo>
                    <a:pt x="284" y="471"/>
                    <a:pt x="284" y="471"/>
                    <a:pt x="285" y="471"/>
                  </a:cubicBezTo>
                  <a:cubicBezTo>
                    <a:pt x="286" y="471"/>
                    <a:pt x="287" y="471"/>
                    <a:pt x="288" y="470"/>
                  </a:cubicBezTo>
                  <a:cubicBezTo>
                    <a:pt x="289" y="469"/>
                    <a:pt x="289" y="467"/>
                    <a:pt x="289" y="466"/>
                  </a:cubicBezTo>
                  <a:cubicBezTo>
                    <a:pt x="289" y="465"/>
                    <a:pt x="289" y="465"/>
                    <a:pt x="289" y="464"/>
                  </a:cubicBezTo>
                  <a:cubicBezTo>
                    <a:pt x="290" y="461"/>
                    <a:pt x="293" y="460"/>
                    <a:pt x="296" y="458"/>
                  </a:cubicBezTo>
                  <a:cubicBezTo>
                    <a:pt x="297" y="458"/>
                    <a:pt x="297" y="458"/>
                    <a:pt x="297" y="458"/>
                  </a:cubicBezTo>
                  <a:cubicBezTo>
                    <a:pt x="298" y="457"/>
                    <a:pt x="300" y="457"/>
                    <a:pt x="302" y="457"/>
                  </a:cubicBezTo>
                  <a:cubicBezTo>
                    <a:pt x="304" y="457"/>
                    <a:pt x="306" y="456"/>
                    <a:pt x="308" y="455"/>
                  </a:cubicBezTo>
                  <a:cubicBezTo>
                    <a:pt x="309" y="454"/>
                    <a:pt x="309" y="453"/>
                    <a:pt x="310" y="451"/>
                  </a:cubicBezTo>
                  <a:cubicBezTo>
                    <a:pt x="311" y="449"/>
                    <a:pt x="312" y="447"/>
                    <a:pt x="313" y="447"/>
                  </a:cubicBezTo>
                  <a:cubicBezTo>
                    <a:pt x="314" y="447"/>
                    <a:pt x="314" y="447"/>
                    <a:pt x="314" y="447"/>
                  </a:cubicBezTo>
                  <a:cubicBezTo>
                    <a:pt x="315" y="447"/>
                    <a:pt x="316" y="447"/>
                    <a:pt x="317" y="448"/>
                  </a:cubicBezTo>
                  <a:cubicBezTo>
                    <a:pt x="318" y="448"/>
                    <a:pt x="318" y="449"/>
                    <a:pt x="319" y="449"/>
                  </a:cubicBezTo>
                  <a:cubicBezTo>
                    <a:pt x="320" y="449"/>
                    <a:pt x="320" y="449"/>
                    <a:pt x="320" y="449"/>
                  </a:cubicBezTo>
                  <a:cubicBezTo>
                    <a:pt x="321" y="448"/>
                    <a:pt x="321" y="448"/>
                    <a:pt x="321" y="448"/>
                  </a:cubicBezTo>
                  <a:cubicBezTo>
                    <a:pt x="322" y="448"/>
                    <a:pt x="323" y="446"/>
                    <a:pt x="323" y="446"/>
                  </a:cubicBezTo>
                  <a:cubicBezTo>
                    <a:pt x="324" y="445"/>
                    <a:pt x="324" y="444"/>
                    <a:pt x="325" y="444"/>
                  </a:cubicBezTo>
                  <a:cubicBezTo>
                    <a:pt x="325" y="443"/>
                    <a:pt x="325" y="443"/>
                    <a:pt x="326" y="442"/>
                  </a:cubicBezTo>
                  <a:cubicBezTo>
                    <a:pt x="327" y="442"/>
                    <a:pt x="328" y="441"/>
                    <a:pt x="328" y="440"/>
                  </a:cubicBezTo>
                  <a:cubicBezTo>
                    <a:pt x="329" y="438"/>
                    <a:pt x="329" y="435"/>
                    <a:pt x="328" y="433"/>
                  </a:cubicBezTo>
                  <a:cubicBezTo>
                    <a:pt x="328" y="431"/>
                    <a:pt x="328" y="429"/>
                    <a:pt x="328" y="427"/>
                  </a:cubicBezTo>
                  <a:cubicBezTo>
                    <a:pt x="328" y="427"/>
                    <a:pt x="329" y="427"/>
                    <a:pt x="331" y="427"/>
                  </a:cubicBezTo>
                  <a:cubicBezTo>
                    <a:pt x="332" y="427"/>
                    <a:pt x="333" y="427"/>
                    <a:pt x="335" y="427"/>
                  </a:cubicBezTo>
                  <a:cubicBezTo>
                    <a:pt x="336" y="427"/>
                    <a:pt x="336" y="427"/>
                    <a:pt x="336" y="427"/>
                  </a:cubicBezTo>
                  <a:cubicBezTo>
                    <a:pt x="337" y="427"/>
                    <a:pt x="337" y="427"/>
                    <a:pt x="337" y="427"/>
                  </a:cubicBezTo>
                  <a:cubicBezTo>
                    <a:pt x="339" y="426"/>
                    <a:pt x="340" y="425"/>
                    <a:pt x="341" y="424"/>
                  </a:cubicBezTo>
                  <a:cubicBezTo>
                    <a:pt x="342" y="424"/>
                    <a:pt x="342" y="423"/>
                    <a:pt x="343" y="423"/>
                  </a:cubicBezTo>
                  <a:cubicBezTo>
                    <a:pt x="344" y="421"/>
                    <a:pt x="346" y="421"/>
                    <a:pt x="348" y="420"/>
                  </a:cubicBezTo>
                  <a:cubicBezTo>
                    <a:pt x="349" y="419"/>
                    <a:pt x="349" y="419"/>
                    <a:pt x="349" y="419"/>
                  </a:cubicBezTo>
                  <a:cubicBezTo>
                    <a:pt x="350" y="419"/>
                    <a:pt x="350" y="419"/>
                    <a:pt x="351" y="419"/>
                  </a:cubicBezTo>
                  <a:cubicBezTo>
                    <a:pt x="353" y="418"/>
                    <a:pt x="354" y="418"/>
                    <a:pt x="354" y="417"/>
                  </a:cubicBezTo>
                  <a:cubicBezTo>
                    <a:pt x="355" y="417"/>
                    <a:pt x="355" y="417"/>
                    <a:pt x="355" y="417"/>
                  </a:cubicBezTo>
                  <a:cubicBezTo>
                    <a:pt x="355" y="416"/>
                    <a:pt x="355" y="416"/>
                    <a:pt x="355" y="416"/>
                  </a:cubicBezTo>
                  <a:cubicBezTo>
                    <a:pt x="356" y="415"/>
                    <a:pt x="355" y="409"/>
                    <a:pt x="354" y="407"/>
                  </a:cubicBezTo>
                  <a:cubicBezTo>
                    <a:pt x="354" y="407"/>
                    <a:pt x="354" y="407"/>
                    <a:pt x="354" y="407"/>
                  </a:cubicBezTo>
                  <a:cubicBezTo>
                    <a:pt x="354" y="407"/>
                    <a:pt x="354" y="407"/>
                    <a:pt x="354" y="407"/>
                  </a:cubicBezTo>
                  <a:cubicBezTo>
                    <a:pt x="353" y="406"/>
                    <a:pt x="351" y="406"/>
                    <a:pt x="348" y="406"/>
                  </a:cubicBezTo>
                  <a:cubicBezTo>
                    <a:pt x="347" y="406"/>
                    <a:pt x="346" y="406"/>
                    <a:pt x="345" y="406"/>
                  </a:cubicBezTo>
                  <a:cubicBezTo>
                    <a:pt x="344" y="406"/>
                    <a:pt x="343" y="406"/>
                    <a:pt x="343" y="406"/>
                  </a:cubicBezTo>
                  <a:cubicBezTo>
                    <a:pt x="342" y="406"/>
                    <a:pt x="341" y="406"/>
                    <a:pt x="340" y="406"/>
                  </a:cubicBezTo>
                  <a:cubicBezTo>
                    <a:pt x="339" y="406"/>
                    <a:pt x="337" y="406"/>
                    <a:pt x="336" y="406"/>
                  </a:cubicBezTo>
                  <a:cubicBezTo>
                    <a:pt x="335" y="406"/>
                    <a:pt x="334" y="406"/>
                    <a:pt x="333" y="406"/>
                  </a:cubicBezTo>
                  <a:cubicBezTo>
                    <a:pt x="331" y="405"/>
                    <a:pt x="331" y="404"/>
                    <a:pt x="332" y="401"/>
                  </a:cubicBezTo>
                  <a:cubicBezTo>
                    <a:pt x="332" y="400"/>
                    <a:pt x="333" y="400"/>
                    <a:pt x="333" y="399"/>
                  </a:cubicBezTo>
                  <a:cubicBezTo>
                    <a:pt x="334" y="395"/>
                    <a:pt x="331" y="389"/>
                    <a:pt x="328" y="385"/>
                  </a:cubicBezTo>
                  <a:cubicBezTo>
                    <a:pt x="328" y="384"/>
                    <a:pt x="327" y="383"/>
                    <a:pt x="326" y="382"/>
                  </a:cubicBezTo>
                  <a:cubicBezTo>
                    <a:pt x="324" y="377"/>
                    <a:pt x="323" y="371"/>
                    <a:pt x="324" y="365"/>
                  </a:cubicBezTo>
                  <a:cubicBezTo>
                    <a:pt x="325" y="360"/>
                    <a:pt x="323" y="356"/>
                    <a:pt x="319" y="352"/>
                  </a:cubicBezTo>
                  <a:cubicBezTo>
                    <a:pt x="318" y="351"/>
                    <a:pt x="317" y="351"/>
                    <a:pt x="316" y="350"/>
                  </a:cubicBezTo>
                  <a:cubicBezTo>
                    <a:pt x="315" y="349"/>
                    <a:pt x="314" y="348"/>
                    <a:pt x="313" y="347"/>
                  </a:cubicBezTo>
                  <a:cubicBezTo>
                    <a:pt x="312" y="346"/>
                    <a:pt x="311" y="345"/>
                    <a:pt x="310" y="344"/>
                  </a:cubicBezTo>
                  <a:cubicBezTo>
                    <a:pt x="307" y="340"/>
                    <a:pt x="303" y="335"/>
                    <a:pt x="304" y="331"/>
                  </a:cubicBezTo>
                  <a:cubicBezTo>
                    <a:pt x="304" y="331"/>
                    <a:pt x="305" y="331"/>
                    <a:pt x="305" y="331"/>
                  </a:cubicBezTo>
                  <a:cubicBezTo>
                    <a:pt x="307" y="331"/>
                    <a:pt x="307" y="332"/>
                    <a:pt x="308" y="333"/>
                  </a:cubicBezTo>
                  <a:cubicBezTo>
                    <a:pt x="309" y="334"/>
                    <a:pt x="309" y="335"/>
                    <a:pt x="310" y="336"/>
                  </a:cubicBezTo>
                  <a:cubicBezTo>
                    <a:pt x="311" y="337"/>
                    <a:pt x="313" y="337"/>
                    <a:pt x="314" y="337"/>
                  </a:cubicBezTo>
                  <a:cubicBezTo>
                    <a:pt x="316" y="337"/>
                    <a:pt x="318" y="337"/>
                    <a:pt x="320" y="336"/>
                  </a:cubicBezTo>
                  <a:cubicBezTo>
                    <a:pt x="321" y="336"/>
                    <a:pt x="323" y="335"/>
                    <a:pt x="325" y="335"/>
                  </a:cubicBezTo>
                  <a:cubicBezTo>
                    <a:pt x="326" y="335"/>
                    <a:pt x="328" y="336"/>
                    <a:pt x="329" y="337"/>
                  </a:cubicBezTo>
                  <a:cubicBezTo>
                    <a:pt x="330" y="338"/>
                    <a:pt x="330" y="339"/>
                    <a:pt x="329" y="341"/>
                  </a:cubicBezTo>
                  <a:cubicBezTo>
                    <a:pt x="329" y="343"/>
                    <a:pt x="329" y="344"/>
                    <a:pt x="331" y="346"/>
                  </a:cubicBezTo>
                  <a:cubicBezTo>
                    <a:pt x="332" y="346"/>
                    <a:pt x="332" y="346"/>
                    <a:pt x="333" y="346"/>
                  </a:cubicBezTo>
                  <a:cubicBezTo>
                    <a:pt x="335" y="346"/>
                    <a:pt x="336" y="346"/>
                    <a:pt x="338" y="345"/>
                  </a:cubicBezTo>
                  <a:cubicBezTo>
                    <a:pt x="340" y="344"/>
                    <a:pt x="342" y="343"/>
                    <a:pt x="343" y="343"/>
                  </a:cubicBezTo>
                  <a:cubicBezTo>
                    <a:pt x="344" y="343"/>
                    <a:pt x="345" y="344"/>
                    <a:pt x="346" y="344"/>
                  </a:cubicBezTo>
                  <a:cubicBezTo>
                    <a:pt x="347" y="345"/>
                    <a:pt x="347" y="345"/>
                    <a:pt x="348" y="345"/>
                  </a:cubicBezTo>
                  <a:cubicBezTo>
                    <a:pt x="349" y="346"/>
                    <a:pt x="350" y="347"/>
                    <a:pt x="351" y="347"/>
                  </a:cubicBezTo>
                  <a:cubicBezTo>
                    <a:pt x="352" y="347"/>
                    <a:pt x="352" y="346"/>
                    <a:pt x="353" y="346"/>
                  </a:cubicBezTo>
                  <a:cubicBezTo>
                    <a:pt x="354" y="345"/>
                    <a:pt x="354" y="345"/>
                    <a:pt x="354" y="345"/>
                  </a:cubicBezTo>
                  <a:cubicBezTo>
                    <a:pt x="355" y="344"/>
                    <a:pt x="356" y="343"/>
                    <a:pt x="357" y="343"/>
                  </a:cubicBezTo>
                  <a:cubicBezTo>
                    <a:pt x="357" y="343"/>
                    <a:pt x="357" y="343"/>
                    <a:pt x="357" y="343"/>
                  </a:cubicBezTo>
                  <a:cubicBezTo>
                    <a:pt x="358" y="343"/>
                    <a:pt x="359" y="345"/>
                    <a:pt x="359" y="346"/>
                  </a:cubicBezTo>
                  <a:cubicBezTo>
                    <a:pt x="362" y="348"/>
                    <a:pt x="363" y="350"/>
                    <a:pt x="365" y="352"/>
                  </a:cubicBezTo>
                  <a:cubicBezTo>
                    <a:pt x="366" y="353"/>
                    <a:pt x="367" y="354"/>
                    <a:pt x="368" y="355"/>
                  </a:cubicBezTo>
                  <a:cubicBezTo>
                    <a:pt x="369" y="356"/>
                    <a:pt x="370" y="357"/>
                    <a:pt x="371" y="358"/>
                  </a:cubicBezTo>
                  <a:cubicBezTo>
                    <a:pt x="372" y="359"/>
                    <a:pt x="373" y="359"/>
                    <a:pt x="374" y="359"/>
                  </a:cubicBezTo>
                  <a:cubicBezTo>
                    <a:pt x="375" y="359"/>
                    <a:pt x="376" y="359"/>
                    <a:pt x="376" y="359"/>
                  </a:cubicBezTo>
                  <a:cubicBezTo>
                    <a:pt x="379" y="357"/>
                    <a:pt x="379" y="351"/>
                    <a:pt x="379" y="347"/>
                  </a:cubicBezTo>
                  <a:cubicBezTo>
                    <a:pt x="379" y="343"/>
                    <a:pt x="379" y="341"/>
                    <a:pt x="382" y="340"/>
                  </a:cubicBezTo>
                  <a:cubicBezTo>
                    <a:pt x="382" y="340"/>
                    <a:pt x="383" y="340"/>
                    <a:pt x="383" y="340"/>
                  </a:cubicBezTo>
                  <a:cubicBezTo>
                    <a:pt x="384" y="339"/>
                    <a:pt x="385" y="339"/>
                    <a:pt x="385" y="339"/>
                  </a:cubicBezTo>
                  <a:cubicBezTo>
                    <a:pt x="386" y="338"/>
                    <a:pt x="386" y="338"/>
                    <a:pt x="387" y="337"/>
                  </a:cubicBezTo>
                  <a:cubicBezTo>
                    <a:pt x="387" y="336"/>
                    <a:pt x="387" y="336"/>
                    <a:pt x="388" y="336"/>
                  </a:cubicBezTo>
                  <a:cubicBezTo>
                    <a:pt x="389" y="334"/>
                    <a:pt x="390" y="334"/>
                    <a:pt x="390" y="334"/>
                  </a:cubicBezTo>
                  <a:cubicBezTo>
                    <a:pt x="391" y="334"/>
                    <a:pt x="392" y="335"/>
                    <a:pt x="394" y="336"/>
                  </a:cubicBezTo>
                  <a:cubicBezTo>
                    <a:pt x="394" y="336"/>
                    <a:pt x="394" y="336"/>
                    <a:pt x="395" y="336"/>
                  </a:cubicBezTo>
                  <a:cubicBezTo>
                    <a:pt x="396" y="337"/>
                    <a:pt x="397" y="337"/>
                    <a:pt x="398" y="337"/>
                  </a:cubicBezTo>
                  <a:cubicBezTo>
                    <a:pt x="399" y="337"/>
                    <a:pt x="401" y="337"/>
                    <a:pt x="402" y="336"/>
                  </a:cubicBezTo>
                  <a:cubicBezTo>
                    <a:pt x="403" y="336"/>
                    <a:pt x="403" y="336"/>
                    <a:pt x="403" y="336"/>
                  </a:cubicBezTo>
                  <a:cubicBezTo>
                    <a:pt x="405" y="335"/>
                    <a:pt x="406" y="335"/>
                    <a:pt x="408" y="335"/>
                  </a:cubicBezTo>
                  <a:cubicBezTo>
                    <a:pt x="409" y="335"/>
                    <a:pt x="410" y="335"/>
                    <a:pt x="412" y="334"/>
                  </a:cubicBezTo>
                  <a:cubicBezTo>
                    <a:pt x="413" y="334"/>
                    <a:pt x="414" y="333"/>
                    <a:pt x="416" y="333"/>
                  </a:cubicBezTo>
                  <a:cubicBezTo>
                    <a:pt x="418" y="332"/>
                    <a:pt x="419" y="332"/>
                    <a:pt x="420" y="331"/>
                  </a:cubicBezTo>
                  <a:cubicBezTo>
                    <a:pt x="423" y="331"/>
                    <a:pt x="423" y="329"/>
                    <a:pt x="424" y="328"/>
                  </a:cubicBezTo>
                  <a:cubicBezTo>
                    <a:pt x="425" y="327"/>
                    <a:pt x="425" y="326"/>
                    <a:pt x="426" y="325"/>
                  </a:cubicBezTo>
                  <a:cubicBezTo>
                    <a:pt x="427" y="324"/>
                    <a:pt x="429" y="323"/>
                    <a:pt x="431" y="323"/>
                  </a:cubicBezTo>
                  <a:cubicBezTo>
                    <a:pt x="431" y="323"/>
                    <a:pt x="432" y="323"/>
                    <a:pt x="433" y="322"/>
                  </a:cubicBezTo>
                  <a:cubicBezTo>
                    <a:pt x="434" y="322"/>
                    <a:pt x="436" y="321"/>
                    <a:pt x="437" y="321"/>
                  </a:cubicBezTo>
                  <a:cubicBezTo>
                    <a:pt x="439" y="321"/>
                    <a:pt x="440" y="320"/>
                    <a:pt x="442" y="320"/>
                  </a:cubicBezTo>
                  <a:cubicBezTo>
                    <a:pt x="443" y="319"/>
                    <a:pt x="445" y="317"/>
                    <a:pt x="446" y="316"/>
                  </a:cubicBezTo>
                  <a:cubicBezTo>
                    <a:pt x="446" y="315"/>
                    <a:pt x="447" y="314"/>
                    <a:pt x="448" y="313"/>
                  </a:cubicBezTo>
                  <a:cubicBezTo>
                    <a:pt x="449" y="312"/>
                    <a:pt x="450" y="311"/>
                    <a:pt x="451" y="311"/>
                  </a:cubicBezTo>
                  <a:cubicBezTo>
                    <a:pt x="455" y="308"/>
                    <a:pt x="457" y="306"/>
                    <a:pt x="458" y="300"/>
                  </a:cubicBezTo>
                  <a:cubicBezTo>
                    <a:pt x="458" y="296"/>
                    <a:pt x="457" y="295"/>
                    <a:pt x="455" y="293"/>
                  </a:cubicBezTo>
                  <a:cubicBezTo>
                    <a:pt x="453" y="292"/>
                    <a:pt x="453" y="292"/>
                    <a:pt x="453" y="292"/>
                  </a:cubicBezTo>
                  <a:cubicBezTo>
                    <a:pt x="451" y="290"/>
                    <a:pt x="449" y="288"/>
                    <a:pt x="448" y="285"/>
                  </a:cubicBezTo>
                  <a:cubicBezTo>
                    <a:pt x="443" y="280"/>
                    <a:pt x="443" y="280"/>
                    <a:pt x="443" y="280"/>
                  </a:cubicBezTo>
                  <a:cubicBezTo>
                    <a:pt x="441" y="277"/>
                    <a:pt x="439" y="275"/>
                    <a:pt x="437" y="272"/>
                  </a:cubicBezTo>
                  <a:cubicBezTo>
                    <a:pt x="436" y="271"/>
                    <a:pt x="436" y="271"/>
                    <a:pt x="435" y="270"/>
                  </a:cubicBezTo>
                  <a:cubicBezTo>
                    <a:pt x="432" y="267"/>
                    <a:pt x="428" y="263"/>
                    <a:pt x="429" y="260"/>
                  </a:cubicBezTo>
                  <a:cubicBezTo>
                    <a:pt x="430" y="258"/>
                    <a:pt x="432" y="257"/>
                    <a:pt x="434" y="256"/>
                  </a:cubicBezTo>
                  <a:cubicBezTo>
                    <a:pt x="436" y="254"/>
                    <a:pt x="438" y="253"/>
                    <a:pt x="439" y="250"/>
                  </a:cubicBezTo>
                  <a:cubicBezTo>
                    <a:pt x="441" y="247"/>
                    <a:pt x="440" y="241"/>
                    <a:pt x="440" y="236"/>
                  </a:cubicBezTo>
                  <a:cubicBezTo>
                    <a:pt x="440" y="234"/>
                    <a:pt x="440" y="232"/>
                    <a:pt x="440" y="231"/>
                  </a:cubicBezTo>
                  <a:cubicBezTo>
                    <a:pt x="440" y="230"/>
                    <a:pt x="441" y="230"/>
                    <a:pt x="442" y="230"/>
                  </a:cubicBezTo>
                  <a:cubicBezTo>
                    <a:pt x="445" y="229"/>
                    <a:pt x="447" y="228"/>
                    <a:pt x="451" y="228"/>
                  </a:cubicBezTo>
                  <a:cubicBezTo>
                    <a:pt x="455" y="228"/>
                    <a:pt x="459" y="226"/>
                    <a:pt x="462" y="224"/>
                  </a:cubicBezTo>
                  <a:cubicBezTo>
                    <a:pt x="464" y="223"/>
                    <a:pt x="468" y="219"/>
                    <a:pt x="470" y="217"/>
                  </a:cubicBezTo>
                  <a:cubicBezTo>
                    <a:pt x="470" y="216"/>
                    <a:pt x="471" y="215"/>
                    <a:pt x="471" y="214"/>
                  </a:cubicBezTo>
                  <a:cubicBezTo>
                    <a:pt x="471" y="213"/>
                    <a:pt x="471" y="213"/>
                    <a:pt x="471" y="213"/>
                  </a:cubicBezTo>
                  <a:cubicBezTo>
                    <a:pt x="470" y="212"/>
                    <a:pt x="470" y="212"/>
                    <a:pt x="470" y="212"/>
                  </a:cubicBezTo>
                  <a:cubicBezTo>
                    <a:pt x="469" y="211"/>
                    <a:pt x="467" y="211"/>
                    <a:pt x="466" y="211"/>
                  </a:cubicBezTo>
                  <a:cubicBezTo>
                    <a:pt x="465" y="211"/>
                    <a:pt x="464" y="211"/>
                    <a:pt x="463" y="211"/>
                  </a:cubicBezTo>
                  <a:cubicBezTo>
                    <a:pt x="463" y="211"/>
                    <a:pt x="462" y="211"/>
                    <a:pt x="461" y="211"/>
                  </a:cubicBezTo>
                  <a:cubicBezTo>
                    <a:pt x="460" y="211"/>
                    <a:pt x="460" y="211"/>
                    <a:pt x="460" y="211"/>
                  </a:cubicBezTo>
                  <a:cubicBezTo>
                    <a:pt x="459" y="210"/>
                    <a:pt x="459" y="209"/>
                    <a:pt x="460" y="207"/>
                  </a:cubicBezTo>
                  <a:cubicBezTo>
                    <a:pt x="460" y="206"/>
                    <a:pt x="460" y="205"/>
                    <a:pt x="460" y="203"/>
                  </a:cubicBezTo>
                  <a:cubicBezTo>
                    <a:pt x="460" y="202"/>
                    <a:pt x="459" y="200"/>
                    <a:pt x="459" y="199"/>
                  </a:cubicBezTo>
                  <a:cubicBezTo>
                    <a:pt x="458" y="197"/>
                    <a:pt x="457" y="196"/>
                    <a:pt x="459" y="193"/>
                  </a:cubicBezTo>
                  <a:cubicBezTo>
                    <a:pt x="461" y="190"/>
                    <a:pt x="463" y="187"/>
                    <a:pt x="467" y="185"/>
                  </a:cubicBezTo>
                  <a:cubicBezTo>
                    <a:pt x="469" y="184"/>
                    <a:pt x="470" y="182"/>
                    <a:pt x="472" y="181"/>
                  </a:cubicBezTo>
                  <a:cubicBezTo>
                    <a:pt x="473" y="180"/>
                    <a:pt x="474" y="178"/>
                    <a:pt x="476" y="177"/>
                  </a:cubicBezTo>
                  <a:cubicBezTo>
                    <a:pt x="483" y="173"/>
                    <a:pt x="489" y="168"/>
                    <a:pt x="493" y="163"/>
                  </a:cubicBezTo>
                  <a:cubicBezTo>
                    <a:pt x="494" y="161"/>
                    <a:pt x="494" y="161"/>
                    <a:pt x="494" y="161"/>
                  </a:cubicBezTo>
                  <a:lnTo>
                    <a:pt x="493" y="160"/>
                  </a:lnTo>
                  <a:close/>
                  <a:moveTo>
                    <a:pt x="132" y="31"/>
                  </a:moveTo>
                  <a:cubicBezTo>
                    <a:pt x="132" y="31"/>
                    <a:pt x="132" y="31"/>
                    <a:pt x="132" y="31"/>
                  </a:cubicBezTo>
                  <a:cubicBezTo>
                    <a:pt x="131" y="31"/>
                    <a:pt x="130" y="31"/>
                    <a:pt x="128" y="30"/>
                  </a:cubicBezTo>
                  <a:cubicBezTo>
                    <a:pt x="128" y="30"/>
                    <a:pt x="127" y="30"/>
                    <a:pt x="127" y="30"/>
                  </a:cubicBezTo>
                  <a:cubicBezTo>
                    <a:pt x="127" y="28"/>
                    <a:pt x="128" y="28"/>
                    <a:pt x="130" y="27"/>
                  </a:cubicBezTo>
                  <a:cubicBezTo>
                    <a:pt x="131" y="27"/>
                    <a:pt x="133" y="29"/>
                    <a:pt x="133" y="30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2" y="31"/>
                    <a:pt x="132" y="31"/>
                  </a:cubicBezTo>
                  <a:close/>
                  <a:moveTo>
                    <a:pt x="446" y="154"/>
                  </a:moveTo>
                  <a:cubicBezTo>
                    <a:pt x="446" y="154"/>
                    <a:pt x="445" y="155"/>
                    <a:pt x="445" y="155"/>
                  </a:cubicBezTo>
                  <a:cubicBezTo>
                    <a:pt x="444" y="154"/>
                    <a:pt x="443" y="154"/>
                    <a:pt x="441" y="153"/>
                  </a:cubicBezTo>
                  <a:cubicBezTo>
                    <a:pt x="441" y="153"/>
                    <a:pt x="440" y="153"/>
                    <a:pt x="440" y="153"/>
                  </a:cubicBezTo>
                  <a:cubicBezTo>
                    <a:pt x="438" y="153"/>
                    <a:pt x="437" y="154"/>
                    <a:pt x="436" y="155"/>
                  </a:cubicBezTo>
                  <a:cubicBezTo>
                    <a:pt x="436" y="155"/>
                    <a:pt x="436" y="155"/>
                    <a:pt x="436" y="155"/>
                  </a:cubicBezTo>
                  <a:cubicBezTo>
                    <a:pt x="435" y="155"/>
                    <a:pt x="433" y="155"/>
                    <a:pt x="432" y="154"/>
                  </a:cubicBezTo>
                  <a:cubicBezTo>
                    <a:pt x="432" y="154"/>
                    <a:pt x="432" y="154"/>
                    <a:pt x="432" y="154"/>
                  </a:cubicBezTo>
                  <a:cubicBezTo>
                    <a:pt x="435" y="154"/>
                    <a:pt x="438" y="154"/>
                    <a:pt x="441" y="152"/>
                  </a:cubicBezTo>
                  <a:cubicBezTo>
                    <a:pt x="441" y="152"/>
                    <a:pt x="441" y="152"/>
                    <a:pt x="441" y="152"/>
                  </a:cubicBezTo>
                  <a:cubicBezTo>
                    <a:pt x="442" y="153"/>
                    <a:pt x="443" y="154"/>
                    <a:pt x="444" y="154"/>
                  </a:cubicBezTo>
                  <a:cubicBezTo>
                    <a:pt x="445" y="154"/>
                    <a:pt x="446" y="154"/>
                    <a:pt x="446" y="154"/>
                  </a:cubicBezTo>
                  <a:cubicBezTo>
                    <a:pt x="446" y="154"/>
                    <a:pt x="446" y="154"/>
                    <a:pt x="446" y="154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1604" y="711"/>
              <a:ext cx="323" cy="407"/>
            </a:xfrm>
            <a:custGeom>
              <a:avLst/>
              <a:gdLst>
                <a:gd name="T0" fmla="*/ 205 w 211"/>
                <a:gd name="T1" fmla="*/ 77 h 266"/>
                <a:gd name="T2" fmla="*/ 202 w 211"/>
                <a:gd name="T3" fmla="*/ 60 h 266"/>
                <a:gd name="T4" fmla="*/ 193 w 211"/>
                <a:gd name="T5" fmla="*/ 57 h 266"/>
                <a:gd name="T6" fmla="*/ 175 w 211"/>
                <a:gd name="T7" fmla="*/ 43 h 266"/>
                <a:gd name="T8" fmla="*/ 172 w 211"/>
                <a:gd name="T9" fmla="*/ 46 h 266"/>
                <a:gd name="T10" fmla="*/ 168 w 211"/>
                <a:gd name="T11" fmla="*/ 50 h 266"/>
                <a:gd name="T12" fmla="*/ 133 w 211"/>
                <a:gd name="T13" fmla="*/ 44 h 266"/>
                <a:gd name="T14" fmla="*/ 133 w 211"/>
                <a:gd name="T15" fmla="*/ 35 h 266"/>
                <a:gd name="T16" fmla="*/ 126 w 211"/>
                <a:gd name="T17" fmla="*/ 30 h 266"/>
                <a:gd name="T18" fmla="*/ 117 w 211"/>
                <a:gd name="T19" fmla="*/ 24 h 266"/>
                <a:gd name="T20" fmla="*/ 108 w 211"/>
                <a:gd name="T21" fmla="*/ 21 h 266"/>
                <a:gd name="T22" fmla="*/ 102 w 211"/>
                <a:gd name="T23" fmla="*/ 17 h 266"/>
                <a:gd name="T24" fmla="*/ 97 w 211"/>
                <a:gd name="T25" fmla="*/ 10 h 266"/>
                <a:gd name="T26" fmla="*/ 92 w 211"/>
                <a:gd name="T27" fmla="*/ 10 h 266"/>
                <a:gd name="T28" fmla="*/ 85 w 211"/>
                <a:gd name="T29" fmla="*/ 5 h 266"/>
                <a:gd name="T30" fmla="*/ 77 w 211"/>
                <a:gd name="T31" fmla="*/ 3 h 266"/>
                <a:gd name="T32" fmla="*/ 71 w 211"/>
                <a:gd name="T33" fmla="*/ 7 h 266"/>
                <a:gd name="T34" fmla="*/ 61 w 211"/>
                <a:gd name="T35" fmla="*/ 11 h 266"/>
                <a:gd name="T36" fmla="*/ 42 w 211"/>
                <a:gd name="T37" fmla="*/ 19 h 266"/>
                <a:gd name="T38" fmla="*/ 29 w 211"/>
                <a:gd name="T39" fmla="*/ 61 h 266"/>
                <a:gd name="T40" fmla="*/ 20 w 211"/>
                <a:gd name="T41" fmla="*/ 79 h 266"/>
                <a:gd name="T42" fmla="*/ 16 w 211"/>
                <a:gd name="T43" fmla="*/ 88 h 266"/>
                <a:gd name="T44" fmla="*/ 9 w 211"/>
                <a:gd name="T45" fmla="*/ 96 h 266"/>
                <a:gd name="T46" fmla="*/ 7 w 211"/>
                <a:gd name="T47" fmla="*/ 114 h 266"/>
                <a:gd name="T48" fmla="*/ 7 w 211"/>
                <a:gd name="T49" fmla="*/ 131 h 266"/>
                <a:gd name="T50" fmla="*/ 1 w 211"/>
                <a:gd name="T51" fmla="*/ 149 h 266"/>
                <a:gd name="T52" fmla="*/ 14 w 211"/>
                <a:gd name="T53" fmla="*/ 162 h 266"/>
                <a:gd name="T54" fmla="*/ 28 w 211"/>
                <a:gd name="T55" fmla="*/ 170 h 266"/>
                <a:gd name="T56" fmla="*/ 36 w 211"/>
                <a:gd name="T57" fmla="*/ 167 h 266"/>
                <a:gd name="T58" fmla="*/ 40 w 211"/>
                <a:gd name="T59" fmla="*/ 168 h 266"/>
                <a:gd name="T60" fmla="*/ 43 w 211"/>
                <a:gd name="T61" fmla="*/ 177 h 266"/>
                <a:gd name="T62" fmla="*/ 39 w 211"/>
                <a:gd name="T63" fmla="*/ 190 h 266"/>
                <a:gd name="T64" fmla="*/ 31 w 211"/>
                <a:gd name="T65" fmla="*/ 195 h 266"/>
                <a:gd name="T66" fmla="*/ 33 w 211"/>
                <a:gd name="T67" fmla="*/ 203 h 266"/>
                <a:gd name="T68" fmla="*/ 34 w 211"/>
                <a:gd name="T69" fmla="*/ 216 h 266"/>
                <a:gd name="T70" fmla="*/ 25 w 211"/>
                <a:gd name="T71" fmla="*/ 225 h 266"/>
                <a:gd name="T72" fmla="*/ 26 w 211"/>
                <a:gd name="T73" fmla="*/ 231 h 266"/>
                <a:gd name="T74" fmla="*/ 28 w 211"/>
                <a:gd name="T75" fmla="*/ 236 h 266"/>
                <a:gd name="T76" fmla="*/ 25 w 211"/>
                <a:gd name="T77" fmla="*/ 240 h 266"/>
                <a:gd name="T78" fmla="*/ 32 w 211"/>
                <a:gd name="T79" fmla="*/ 241 h 266"/>
                <a:gd name="T80" fmla="*/ 43 w 211"/>
                <a:gd name="T81" fmla="*/ 239 h 266"/>
                <a:gd name="T82" fmla="*/ 48 w 211"/>
                <a:gd name="T83" fmla="*/ 243 h 266"/>
                <a:gd name="T84" fmla="*/ 54 w 211"/>
                <a:gd name="T85" fmla="*/ 241 h 266"/>
                <a:gd name="T86" fmla="*/ 63 w 211"/>
                <a:gd name="T87" fmla="*/ 254 h 266"/>
                <a:gd name="T88" fmla="*/ 83 w 211"/>
                <a:gd name="T89" fmla="*/ 256 h 266"/>
                <a:gd name="T90" fmla="*/ 91 w 211"/>
                <a:gd name="T91" fmla="*/ 241 h 266"/>
                <a:gd name="T92" fmla="*/ 97 w 211"/>
                <a:gd name="T93" fmla="*/ 216 h 266"/>
                <a:gd name="T94" fmla="*/ 103 w 211"/>
                <a:gd name="T95" fmla="*/ 202 h 266"/>
                <a:gd name="T96" fmla="*/ 108 w 211"/>
                <a:gd name="T97" fmla="*/ 200 h 266"/>
                <a:gd name="T98" fmla="*/ 118 w 211"/>
                <a:gd name="T99" fmla="*/ 182 h 266"/>
                <a:gd name="T100" fmla="*/ 138 w 211"/>
                <a:gd name="T101" fmla="*/ 175 h 266"/>
                <a:gd name="T102" fmla="*/ 157 w 211"/>
                <a:gd name="T103" fmla="*/ 165 h 266"/>
                <a:gd name="T104" fmla="*/ 196 w 211"/>
                <a:gd name="T105" fmla="*/ 127 h 266"/>
                <a:gd name="T106" fmla="*/ 205 w 211"/>
                <a:gd name="T107" fmla="*/ 102 h 266"/>
                <a:gd name="T108" fmla="*/ 210 w 211"/>
                <a:gd name="T109" fmla="*/ 87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1" h="266">
                  <a:moveTo>
                    <a:pt x="210" y="87"/>
                  </a:moveTo>
                  <a:cubicBezTo>
                    <a:pt x="210" y="85"/>
                    <a:pt x="210" y="85"/>
                    <a:pt x="210" y="85"/>
                  </a:cubicBezTo>
                  <a:cubicBezTo>
                    <a:pt x="210" y="83"/>
                    <a:pt x="208" y="80"/>
                    <a:pt x="205" y="77"/>
                  </a:cubicBezTo>
                  <a:cubicBezTo>
                    <a:pt x="202" y="73"/>
                    <a:pt x="199" y="68"/>
                    <a:pt x="200" y="65"/>
                  </a:cubicBezTo>
                  <a:cubicBezTo>
                    <a:pt x="200" y="64"/>
                    <a:pt x="200" y="63"/>
                    <a:pt x="201" y="62"/>
                  </a:cubicBezTo>
                  <a:cubicBezTo>
                    <a:pt x="202" y="60"/>
                    <a:pt x="202" y="60"/>
                    <a:pt x="202" y="60"/>
                  </a:cubicBezTo>
                  <a:cubicBezTo>
                    <a:pt x="200" y="59"/>
                    <a:pt x="200" y="59"/>
                    <a:pt x="200" y="59"/>
                  </a:cubicBezTo>
                  <a:cubicBezTo>
                    <a:pt x="198" y="58"/>
                    <a:pt x="197" y="58"/>
                    <a:pt x="195" y="57"/>
                  </a:cubicBezTo>
                  <a:cubicBezTo>
                    <a:pt x="194" y="57"/>
                    <a:pt x="194" y="57"/>
                    <a:pt x="193" y="57"/>
                  </a:cubicBezTo>
                  <a:cubicBezTo>
                    <a:pt x="189" y="55"/>
                    <a:pt x="187" y="53"/>
                    <a:pt x="186" y="50"/>
                  </a:cubicBezTo>
                  <a:cubicBezTo>
                    <a:pt x="185" y="48"/>
                    <a:pt x="183" y="46"/>
                    <a:pt x="181" y="45"/>
                  </a:cubicBezTo>
                  <a:cubicBezTo>
                    <a:pt x="180" y="44"/>
                    <a:pt x="177" y="43"/>
                    <a:pt x="175" y="43"/>
                  </a:cubicBezTo>
                  <a:cubicBezTo>
                    <a:pt x="174" y="43"/>
                    <a:pt x="173" y="43"/>
                    <a:pt x="173" y="43"/>
                  </a:cubicBezTo>
                  <a:cubicBezTo>
                    <a:pt x="172" y="44"/>
                    <a:pt x="171" y="44"/>
                    <a:pt x="171" y="44"/>
                  </a:cubicBezTo>
                  <a:cubicBezTo>
                    <a:pt x="172" y="46"/>
                    <a:pt x="172" y="46"/>
                    <a:pt x="172" y="46"/>
                  </a:cubicBezTo>
                  <a:cubicBezTo>
                    <a:pt x="172" y="46"/>
                    <a:pt x="172" y="46"/>
                    <a:pt x="172" y="46"/>
                  </a:cubicBezTo>
                  <a:cubicBezTo>
                    <a:pt x="170" y="46"/>
                    <a:pt x="170" y="46"/>
                    <a:pt x="170" y="46"/>
                  </a:cubicBezTo>
                  <a:cubicBezTo>
                    <a:pt x="170" y="47"/>
                    <a:pt x="170" y="49"/>
                    <a:pt x="168" y="50"/>
                  </a:cubicBezTo>
                  <a:cubicBezTo>
                    <a:pt x="167" y="51"/>
                    <a:pt x="166" y="51"/>
                    <a:pt x="164" y="51"/>
                  </a:cubicBezTo>
                  <a:cubicBezTo>
                    <a:pt x="158" y="51"/>
                    <a:pt x="151" y="48"/>
                    <a:pt x="151" y="48"/>
                  </a:cubicBezTo>
                  <a:cubicBezTo>
                    <a:pt x="145" y="46"/>
                    <a:pt x="141" y="45"/>
                    <a:pt x="133" y="44"/>
                  </a:cubicBezTo>
                  <a:cubicBezTo>
                    <a:pt x="133" y="44"/>
                    <a:pt x="133" y="44"/>
                    <a:pt x="133" y="43"/>
                  </a:cubicBezTo>
                  <a:cubicBezTo>
                    <a:pt x="133" y="42"/>
                    <a:pt x="133" y="40"/>
                    <a:pt x="133" y="38"/>
                  </a:cubicBezTo>
                  <a:cubicBezTo>
                    <a:pt x="133" y="37"/>
                    <a:pt x="133" y="36"/>
                    <a:pt x="133" y="35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1" y="33"/>
                    <a:pt x="131" y="33"/>
                    <a:pt x="131" y="33"/>
                  </a:cubicBezTo>
                  <a:cubicBezTo>
                    <a:pt x="129" y="32"/>
                    <a:pt x="127" y="31"/>
                    <a:pt x="126" y="30"/>
                  </a:cubicBezTo>
                  <a:cubicBezTo>
                    <a:pt x="124" y="29"/>
                    <a:pt x="123" y="28"/>
                    <a:pt x="123" y="27"/>
                  </a:cubicBezTo>
                  <a:cubicBezTo>
                    <a:pt x="122" y="26"/>
                    <a:pt x="122" y="26"/>
                    <a:pt x="121" y="25"/>
                  </a:cubicBezTo>
                  <a:cubicBezTo>
                    <a:pt x="119" y="24"/>
                    <a:pt x="118" y="24"/>
                    <a:pt x="117" y="24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15" y="24"/>
                    <a:pt x="114" y="24"/>
                    <a:pt x="114" y="24"/>
                  </a:cubicBezTo>
                  <a:cubicBezTo>
                    <a:pt x="111" y="23"/>
                    <a:pt x="110" y="22"/>
                    <a:pt x="108" y="21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7" y="20"/>
                    <a:pt x="106" y="20"/>
                    <a:pt x="105" y="19"/>
                  </a:cubicBezTo>
                  <a:cubicBezTo>
                    <a:pt x="104" y="19"/>
                    <a:pt x="103" y="18"/>
                    <a:pt x="102" y="17"/>
                  </a:cubicBezTo>
                  <a:cubicBezTo>
                    <a:pt x="101" y="16"/>
                    <a:pt x="101" y="15"/>
                    <a:pt x="100" y="14"/>
                  </a:cubicBezTo>
                  <a:cubicBezTo>
                    <a:pt x="100" y="13"/>
                    <a:pt x="100" y="12"/>
                    <a:pt x="99" y="11"/>
                  </a:cubicBezTo>
                  <a:cubicBezTo>
                    <a:pt x="98" y="10"/>
                    <a:pt x="97" y="10"/>
                    <a:pt x="97" y="10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3" y="10"/>
                    <a:pt x="93" y="10"/>
                    <a:pt x="92" y="10"/>
                  </a:cubicBezTo>
                  <a:cubicBezTo>
                    <a:pt x="90" y="9"/>
                    <a:pt x="89" y="8"/>
                    <a:pt x="87" y="7"/>
                  </a:cubicBezTo>
                  <a:cubicBezTo>
                    <a:pt x="87" y="6"/>
                    <a:pt x="87" y="6"/>
                    <a:pt x="87" y="6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4" y="3"/>
                    <a:pt x="82" y="2"/>
                    <a:pt x="81" y="1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4"/>
                    <a:pt x="77" y="4"/>
                    <a:pt x="77" y="4"/>
                  </a:cubicBezTo>
                  <a:cubicBezTo>
                    <a:pt x="76" y="6"/>
                    <a:pt x="76" y="6"/>
                    <a:pt x="75" y="6"/>
                  </a:cubicBezTo>
                  <a:cubicBezTo>
                    <a:pt x="74" y="7"/>
                    <a:pt x="73" y="7"/>
                    <a:pt x="71" y="7"/>
                  </a:cubicBezTo>
                  <a:cubicBezTo>
                    <a:pt x="70" y="8"/>
                    <a:pt x="69" y="9"/>
                    <a:pt x="68" y="9"/>
                  </a:cubicBezTo>
                  <a:cubicBezTo>
                    <a:pt x="67" y="10"/>
                    <a:pt x="66" y="10"/>
                    <a:pt x="65" y="11"/>
                  </a:cubicBezTo>
                  <a:cubicBezTo>
                    <a:pt x="64" y="11"/>
                    <a:pt x="63" y="11"/>
                    <a:pt x="61" y="11"/>
                  </a:cubicBezTo>
                  <a:cubicBezTo>
                    <a:pt x="60" y="11"/>
                    <a:pt x="59" y="11"/>
                    <a:pt x="58" y="12"/>
                  </a:cubicBezTo>
                  <a:cubicBezTo>
                    <a:pt x="53" y="13"/>
                    <a:pt x="48" y="16"/>
                    <a:pt x="44" y="18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37" y="22"/>
                    <a:pt x="33" y="24"/>
                    <a:pt x="33" y="31"/>
                  </a:cubicBezTo>
                  <a:cubicBezTo>
                    <a:pt x="33" y="33"/>
                    <a:pt x="33" y="36"/>
                    <a:pt x="33" y="38"/>
                  </a:cubicBezTo>
                  <a:cubicBezTo>
                    <a:pt x="33" y="47"/>
                    <a:pt x="34" y="56"/>
                    <a:pt x="29" y="61"/>
                  </a:cubicBezTo>
                  <a:cubicBezTo>
                    <a:pt x="28" y="62"/>
                    <a:pt x="26" y="63"/>
                    <a:pt x="25" y="64"/>
                  </a:cubicBezTo>
                  <a:cubicBezTo>
                    <a:pt x="23" y="65"/>
                    <a:pt x="20" y="67"/>
                    <a:pt x="19" y="69"/>
                  </a:cubicBezTo>
                  <a:cubicBezTo>
                    <a:pt x="16" y="74"/>
                    <a:pt x="18" y="77"/>
                    <a:pt x="20" y="79"/>
                  </a:cubicBezTo>
                  <a:cubicBezTo>
                    <a:pt x="20" y="80"/>
                    <a:pt x="21" y="81"/>
                    <a:pt x="21" y="82"/>
                  </a:cubicBezTo>
                  <a:cubicBezTo>
                    <a:pt x="22" y="83"/>
                    <a:pt x="22" y="83"/>
                    <a:pt x="20" y="84"/>
                  </a:cubicBezTo>
                  <a:cubicBezTo>
                    <a:pt x="19" y="85"/>
                    <a:pt x="18" y="86"/>
                    <a:pt x="16" y="88"/>
                  </a:cubicBezTo>
                  <a:cubicBezTo>
                    <a:pt x="15" y="89"/>
                    <a:pt x="15" y="91"/>
                    <a:pt x="14" y="92"/>
                  </a:cubicBezTo>
                  <a:cubicBezTo>
                    <a:pt x="14" y="94"/>
                    <a:pt x="14" y="95"/>
                    <a:pt x="11" y="95"/>
                  </a:cubicBezTo>
                  <a:cubicBezTo>
                    <a:pt x="11" y="95"/>
                    <a:pt x="10" y="96"/>
                    <a:pt x="9" y="96"/>
                  </a:cubicBezTo>
                  <a:cubicBezTo>
                    <a:pt x="6" y="96"/>
                    <a:pt x="2" y="97"/>
                    <a:pt x="2" y="104"/>
                  </a:cubicBezTo>
                  <a:cubicBezTo>
                    <a:pt x="3" y="107"/>
                    <a:pt x="4" y="109"/>
                    <a:pt x="5" y="110"/>
                  </a:cubicBezTo>
                  <a:cubicBezTo>
                    <a:pt x="6" y="112"/>
                    <a:pt x="7" y="113"/>
                    <a:pt x="7" y="114"/>
                  </a:cubicBezTo>
                  <a:cubicBezTo>
                    <a:pt x="7" y="115"/>
                    <a:pt x="6" y="117"/>
                    <a:pt x="6" y="118"/>
                  </a:cubicBezTo>
                  <a:cubicBezTo>
                    <a:pt x="5" y="121"/>
                    <a:pt x="4" y="123"/>
                    <a:pt x="5" y="127"/>
                  </a:cubicBezTo>
                  <a:cubicBezTo>
                    <a:pt x="6" y="128"/>
                    <a:pt x="6" y="130"/>
                    <a:pt x="7" y="131"/>
                  </a:cubicBezTo>
                  <a:cubicBezTo>
                    <a:pt x="8" y="133"/>
                    <a:pt x="9" y="134"/>
                    <a:pt x="9" y="136"/>
                  </a:cubicBezTo>
                  <a:cubicBezTo>
                    <a:pt x="9" y="139"/>
                    <a:pt x="9" y="143"/>
                    <a:pt x="8" y="145"/>
                  </a:cubicBezTo>
                  <a:cubicBezTo>
                    <a:pt x="5" y="146"/>
                    <a:pt x="2" y="147"/>
                    <a:pt x="1" y="149"/>
                  </a:cubicBezTo>
                  <a:cubicBezTo>
                    <a:pt x="1" y="150"/>
                    <a:pt x="0" y="153"/>
                    <a:pt x="4" y="156"/>
                  </a:cubicBezTo>
                  <a:cubicBezTo>
                    <a:pt x="5" y="158"/>
                    <a:pt x="8" y="159"/>
                    <a:pt x="10" y="159"/>
                  </a:cubicBezTo>
                  <a:cubicBezTo>
                    <a:pt x="11" y="160"/>
                    <a:pt x="13" y="160"/>
                    <a:pt x="14" y="162"/>
                  </a:cubicBezTo>
                  <a:cubicBezTo>
                    <a:pt x="15" y="162"/>
                    <a:pt x="15" y="163"/>
                    <a:pt x="16" y="164"/>
                  </a:cubicBezTo>
                  <a:cubicBezTo>
                    <a:pt x="19" y="167"/>
                    <a:pt x="23" y="170"/>
                    <a:pt x="28" y="170"/>
                  </a:cubicBezTo>
                  <a:cubicBezTo>
                    <a:pt x="28" y="170"/>
                    <a:pt x="28" y="170"/>
                    <a:pt x="28" y="170"/>
                  </a:cubicBezTo>
                  <a:cubicBezTo>
                    <a:pt x="30" y="170"/>
                    <a:pt x="31" y="170"/>
                    <a:pt x="33" y="169"/>
                  </a:cubicBezTo>
                  <a:cubicBezTo>
                    <a:pt x="34" y="169"/>
                    <a:pt x="34" y="168"/>
                    <a:pt x="35" y="168"/>
                  </a:cubicBezTo>
                  <a:cubicBezTo>
                    <a:pt x="35" y="167"/>
                    <a:pt x="36" y="167"/>
                    <a:pt x="36" y="167"/>
                  </a:cubicBezTo>
                  <a:cubicBezTo>
                    <a:pt x="36" y="167"/>
                    <a:pt x="37" y="167"/>
                    <a:pt x="37" y="167"/>
                  </a:cubicBezTo>
                  <a:cubicBezTo>
                    <a:pt x="38" y="167"/>
                    <a:pt x="39" y="168"/>
                    <a:pt x="40" y="168"/>
                  </a:cubicBezTo>
                  <a:cubicBezTo>
                    <a:pt x="40" y="168"/>
                    <a:pt x="40" y="168"/>
                    <a:pt x="40" y="168"/>
                  </a:cubicBezTo>
                  <a:cubicBezTo>
                    <a:pt x="44" y="168"/>
                    <a:pt x="45" y="165"/>
                    <a:pt x="46" y="163"/>
                  </a:cubicBezTo>
                  <a:cubicBezTo>
                    <a:pt x="46" y="163"/>
                    <a:pt x="46" y="162"/>
                    <a:pt x="46" y="162"/>
                  </a:cubicBezTo>
                  <a:cubicBezTo>
                    <a:pt x="47" y="164"/>
                    <a:pt x="46" y="168"/>
                    <a:pt x="43" y="177"/>
                  </a:cubicBezTo>
                  <a:cubicBezTo>
                    <a:pt x="42" y="179"/>
                    <a:pt x="42" y="180"/>
                    <a:pt x="42" y="180"/>
                  </a:cubicBezTo>
                  <a:cubicBezTo>
                    <a:pt x="41" y="182"/>
                    <a:pt x="41" y="182"/>
                    <a:pt x="41" y="182"/>
                  </a:cubicBezTo>
                  <a:cubicBezTo>
                    <a:pt x="41" y="185"/>
                    <a:pt x="40" y="188"/>
                    <a:pt x="39" y="190"/>
                  </a:cubicBezTo>
                  <a:cubicBezTo>
                    <a:pt x="38" y="192"/>
                    <a:pt x="36" y="193"/>
                    <a:pt x="34" y="194"/>
                  </a:cubicBezTo>
                  <a:cubicBezTo>
                    <a:pt x="33" y="194"/>
                    <a:pt x="32" y="195"/>
                    <a:pt x="32" y="195"/>
                  </a:cubicBezTo>
                  <a:cubicBezTo>
                    <a:pt x="31" y="195"/>
                    <a:pt x="31" y="195"/>
                    <a:pt x="31" y="195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30" y="199"/>
                    <a:pt x="30" y="199"/>
                    <a:pt x="30" y="199"/>
                  </a:cubicBezTo>
                  <a:cubicBezTo>
                    <a:pt x="31" y="200"/>
                    <a:pt x="32" y="202"/>
                    <a:pt x="33" y="203"/>
                  </a:cubicBezTo>
                  <a:cubicBezTo>
                    <a:pt x="33" y="205"/>
                    <a:pt x="33" y="207"/>
                    <a:pt x="33" y="209"/>
                  </a:cubicBezTo>
                  <a:cubicBezTo>
                    <a:pt x="33" y="211"/>
                    <a:pt x="33" y="212"/>
                    <a:pt x="33" y="214"/>
                  </a:cubicBezTo>
                  <a:cubicBezTo>
                    <a:pt x="33" y="214"/>
                    <a:pt x="34" y="215"/>
                    <a:pt x="34" y="216"/>
                  </a:cubicBezTo>
                  <a:cubicBezTo>
                    <a:pt x="35" y="219"/>
                    <a:pt x="36" y="221"/>
                    <a:pt x="33" y="223"/>
                  </a:cubicBezTo>
                  <a:cubicBezTo>
                    <a:pt x="31" y="224"/>
                    <a:pt x="29" y="225"/>
                    <a:pt x="27" y="225"/>
                  </a:cubicBezTo>
                  <a:cubicBezTo>
                    <a:pt x="26" y="225"/>
                    <a:pt x="26" y="225"/>
                    <a:pt x="25" y="225"/>
                  </a:cubicBezTo>
                  <a:cubicBezTo>
                    <a:pt x="23" y="225"/>
                    <a:pt x="23" y="225"/>
                    <a:pt x="23" y="225"/>
                  </a:cubicBezTo>
                  <a:cubicBezTo>
                    <a:pt x="23" y="227"/>
                    <a:pt x="23" y="227"/>
                    <a:pt x="23" y="227"/>
                  </a:cubicBezTo>
                  <a:cubicBezTo>
                    <a:pt x="23" y="230"/>
                    <a:pt x="25" y="231"/>
                    <a:pt x="26" y="231"/>
                  </a:cubicBezTo>
                  <a:cubicBezTo>
                    <a:pt x="26" y="232"/>
                    <a:pt x="26" y="232"/>
                    <a:pt x="27" y="232"/>
                  </a:cubicBezTo>
                  <a:cubicBezTo>
                    <a:pt x="27" y="232"/>
                    <a:pt x="28" y="232"/>
                    <a:pt x="29" y="234"/>
                  </a:cubicBezTo>
                  <a:cubicBezTo>
                    <a:pt x="29" y="235"/>
                    <a:pt x="28" y="236"/>
                    <a:pt x="28" y="236"/>
                  </a:cubicBezTo>
                  <a:cubicBezTo>
                    <a:pt x="27" y="237"/>
                    <a:pt x="27" y="237"/>
                    <a:pt x="27" y="237"/>
                  </a:cubicBezTo>
                  <a:cubicBezTo>
                    <a:pt x="27" y="237"/>
                    <a:pt x="27" y="237"/>
                    <a:pt x="27" y="237"/>
                  </a:cubicBezTo>
                  <a:cubicBezTo>
                    <a:pt x="26" y="239"/>
                    <a:pt x="26" y="240"/>
                    <a:pt x="25" y="240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9" y="243"/>
                    <a:pt x="29" y="243"/>
                    <a:pt x="29" y="243"/>
                  </a:cubicBezTo>
                  <a:cubicBezTo>
                    <a:pt x="30" y="242"/>
                    <a:pt x="31" y="241"/>
                    <a:pt x="32" y="241"/>
                  </a:cubicBezTo>
                  <a:cubicBezTo>
                    <a:pt x="34" y="239"/>
                    <a:pt x="36" y="236"/>
                    <a:pt x="38" y="236"/>
                  </a:cubicBezTo>
                  <a:cubicBezTo>
                    <a:pt x="39" y="236"/>
                    <a:pt x="39" y="236"/>
                    <a:pt x="40" y="237"/>
                  </a:cubicBezTo>
                  <a:cubicBezTo>
                    <a:pt x="41" y="237"/>
                    <a:pt x="42" y="238"/>
                    <a:pt x="43" y="239"/>
                  </a:cubicBezTo>
                  <a:cubicBezTo>
                    <a:pt x="44" y="240"/>
                    <a:pt x="46" y="241"/>
                    <a:pt x="47" y="242"/>
                  </a:cubicBezTo>
                  <a:cubicBezTo>
                    <a:pt x="47" y="242"/>
                    <a:pt x="47" y="242"/>
                    <a:pt x="47" y="242"/>
                  </a:cubicBezTo>
                  <a:cubicBezTo>
                    <a:pt x="48" y="242"/>
                    <a:pt x="48" y="243"/>
                    <a:pt x="48" y="243"/>
                  </a:cubicBezTo>
                  <a:cubicBezTo>
                    <a:pt x="50" y="244"/>
                    <a:pt x="50" y="244"/>
                    <a:pt x="50" y="244"/>
                  </a:cubicBezTo>
                  <a:cubicBezTo>
                    <a:pt x="51" y="243"/>
                    <a:pt x="51" y="243"/>
                    <a:pt x="51" y="243"/>
                  </a:cubicBezTo>
                  <a:cubicBezTo>
                    <a:pt x="52" y="242"/>
                    <a:pt x="53" y="241"/>
                    <a:pt x="54" y="241"/>
                  </a:cubicBezTo>
                  <a:cubicBezTo>
                    <a:pt x="54" y="241"/>
                    <a:pt x="54" y="241"/>
                    <a:pt x="54" y="241"/>
                  </a:cubicBezTo>
                  <a:cubicBezTo>
                    <a:pt x="56" y="242"/>
                    <a:pt x="58" y="244"/>
                    <a:pt x="60" y="248"/>
                  </a:cubicBezTo>
                  <a:cubicBezTo>
                    <a:pt x="62" y="250"/>
                    <a:pt x="63" y="252"/>
                    <a:pt x="63" y="254"/>
                  </a:cubicBezTo>
                  <a:cubicBezTo>
                    <a:pt x="66" y="260"/>
                    <a:pt x="69" y="266"/>
                    <a:pt x="76" y="266"/>
                  </a:cubicBezTo>
                  <a:cubicBezTo>
                    <a:pt x="77" y="265"/>
                    <a:pt x="77" y="265"/>
                    <a:pt x="77" y="265"/>
                  </a:cubicBezTo>
                  <a:cubicBezTo>
                    <a:pt x="81" y="265"/>
                    <a:pt x="82" y="259"/>
                    <a:pt x="83" y="256"/>
                  </a:cubicBezTo>
                  <a:cubicBezTo>
                    <a:pt x="83" y="253"/>
                    <a:pt x="84" y="252"/>
                    <a:pt x="87" y="250"/>
                  </a:cubicBezTo>
                  <a:cubicBezTo>
                    <a:pt x="90" y="249"/>
                    <a:pt x="90" y="248"/>
                    <a:pt x="90" y="245"/>
                  </a:cubicBezTo>
                  <a:cubicBezTo>
                    <a:pt x="91" y="241"/>
                    <a:pt x="91" y="241"/>
                    <a:pt x="91" y="241"/>
                  </a:cubicBezTo>
                  <a:cubicBezTo>
                    <a:pt x="91" y="237"/>
                    <a:pt x="91" y="234"/>
                    <a:pt x="93" y="230"/>
                  </a:cubicBezTo>
                  <a:cubicBezTo>
                    <a:pt x="93" y="228"/>
                    <a:pt x="94" y="226"/>
                    <a:pt x="94" y="225"/>
                  </a:cubicBezTo>
                  <a:cubicBezTo>
                    <a:pt x="95" y="222"/>
                    <a:pt x="96" y="219"/>
                    <a:pt x="97" y="216"/>
                  </a:cubicBezTo>
                  <a:cubicBezTo>
                    <a:pt x="97" y="215"/>
                    <a:pt x="97" y="214"/>
                    <a:pt x="98" y="213"/>
                  </a:cubicBezTo>
                  <a:cubicBezTo>
                    <a:pt x="98" y="209"/>
                    <a:pt x="98" y="204"/>
                    <a:pt x="101" y="202"/>
                  </a:cubicBezTo>
                  <a:cubicBezTo>
                    <a:pt x="102" y="202"/>
                    <a:pt x="102" y="202"/>
                    <a:pt x="103" y="202"/>
                  </a:cubicBezTo>
                  <a:cubicBezTo>
                    <a:pt x="103" y="202"/>
                    <a:pt x="104" y="202"/>
                    <a:pt x="105" y="203"/>
                  </a:cubicBezTo>
                  <a:cubicBezTo>
                    <a:pt x="108" y="204"/>
                    <a:pt x="108" y="204"/>
                    <a:pt x="108" y="204"/>
                  </a:cubicBezTo>
                  <a:cubicBezTo>
                    <a:pt x="108" y="200"/>
                    <a:pt x="108" y="200"/>
                    <a:pt x="108" y="200"/>
                  </a:cubicBezTo>
                  <a:cubicBezTo>
                    <a:pt x="108" y="200"/>
                    <a:pt x="108" y="199"/>
                    <a:pt x="108" y="199"/>
                  </a:cubicBezTo>
                  <a:cubicBezTo>
                    <a:pt x="108" y="198"/>
                    <a:pt x="108" y="197"/>
                    <a:pt x="108" y="196"/>
                  </a:cubicBezTo>
                  <a:cubicBezTo>
                    <a:pt x="110" y="192"/>
                    <a:pt x="114" y="185"/>
                    <a:pt x="118" y="182"/>
                  </a:cubicBezTo>
                  <a:cubicBezTo>
                    <a:pt x="121" y="180"/>
                    <a:pt x="124" y="179"/>
                    <a:pt x="127" y="178"/>
                  </a:cubicBezTo>
                  <a:cubicBezTo>
                    <a:pt x="129" y="178"/>
                    <a:pt x="131" y="177"/>
                    <a:pt x="132" y="177"/>
                  </a:cubicBezTo>
                  <a:cubicBezTo>
                    <a:pt x="134" y="176"/>
                    <a:pt x="136" y="176"/>
                    <a:pt x="138" y="175"/>
                  </a:cubicBezTo>
                  <a:cubicBezTo>
                    <a:pt x="140" y="174"/>
                    <a:pt x="143" y="174"/>
                    <a:pt x="145" y="172"/>
                  </a:cubicBezTo>
                  <a:cubicBezTo>
                    <a:pt x="148" y="171"/>
                    <a:pt x="151" y="169"/>
                    <a:pt x="154" y="167"/>
                  </a:cubicBezTo>
                  <a:cubicBezTo>
                    <a:pt x="157" y="165"/>
                    <a:pt x="157" y="165"/>
                    <a:pt x="157" y="165"/>
                  </a:cubicBezTo>
                  <a:cubicBezTo>
                    <a:pt x="166" y="160"/>
                    <a:pt x="174" y="154"/>
                    <a:pt x="181" y="147"/>
                  </a:cubicBezTo>
                  <a:cubicBezTo>
                    <a:pt x="186" y="143"/>
                    <a:pt x="189" y="138"/>
                    <a:pt x="192" y="134"/>
                  </a:cubicBezTo>
                  <a:cubicBezTo>
                    <a:pt x="193" y="131"/>
                    <a:pt x="194" y="129"/>
                    <a:pt x="196" y="127"/>
                  </a:cubicBezTo>
                  <a:cubicBezTo>
                    <a:pt x="199" y="122"/>
                    <a:pt x="203" y="116"/>
                    <a:pt x="204" y="110"/>
                  </a:cubicBezTo>
                  <a:cubicBezTo>
                    <a:pt x="204" y="109"/>
                    <a:pt x="204" y="108"/>
                    <a:pt x="204" y="108"/>
                  </a:cubicBezTo>
                  <a:cubicBezTo>
                    <a:pt x="204" y="106"/>
                    <a:pt x="204" y="104"/>
                    <a:pt x="205" y="102"/>
                  </a:cubicBezTo>
                  <a:cubicBezTo>
                    <a:pt x="205" y="101"/>
                    <a:pt x="206" y="101"/>
                    <a:pt x="207" y="100"/>
                  </a:cubicBezTo>
                  <a:cubicBezTo>
                    <a:pt x="208" y="100"/>
                    <a:pt x="209" y="99"/>
                    <a:pt x="209" y="99"/>
                  </a:cubicBezTo>
                  <a:cubicBezTo>
                    <a:pt x="211" y="96"/>
                    <a:pt x="211" y="91"/>
                    <a:pt x="210" y="87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3086" y="435"/>
              <a:ext cx="166" cy="235"/>
            </a:xfrm>
            <a:custGeom>
              <a:avLst/>
              <a:gdLst>
                <a:gd name="T0" fmla="*/ 104 w 108"/>
                <a:gd name="T1" fmla="*/ 52 h 153"/>
                <a:gd name="T2" fmla="*/ 98 w 108"/>
                <a:gd name="T3" fmla="*/ 46 h 153"/>
                <a:gd name="T4" fmla="*/ 95 w 108"/>
                <a:gd name="T5" fmla="*/ 44 h 153"/>
                <a:gd name="T6" fmla="*/ 86 w 108"/>
                <a:gd name="T7" fmla="*/ 36 h 153"/>
                <a:gd name="T8" fmla="*/ 76 w 108"/>
                <a:gd name="T9" fmla="*/ 28 h 153"/>
                <a:gd name="T10" fmla="*/ 67 w 108"/>
                <a:gd name="T11" fmla="*/ 17 h 153"/>
                <a:gd name="T12" fmla="*/ 43 w 108"/>
                <a:gd name="T13" fmla="*/ 7 h 153"/>
                <a:gd name="T14" fmla="*/ 37 w 108"/>
                <a:gd name="T15" fmla="*/ 4 h 153"/>
                <a:gd name="T16" fmla="*/ 27 w 108"/>
                <a:gd name="T17" fmla="*/ 0 h 153"/>
                <a:gd name="T18" fmla="*/ 24 w 108"/>
                <a:gd name="T19" fmla="*/ 6 h 153"/>
                <a:gd name="T20" fmla="*/ 22 w 108"/>
                <a:gd name="T21" fmla="*/ 13 h 153"/>
                <a:gd name="T22" fmla="*/ 5 w 108"/>
                <a:gd name="T23" fmla="*/ 40 h 153"/>
                <a:gd name="T24" fmla="*/ 7 w 108"/>
                <a:gd name="T25" fmla="*/ 48 h 153"/>
                <a:gd name="T26" fmla="*/ 7 w 108"/>
                <a:gd name="T27" fmla="*/ 57 h 153"/>
                <a:gd name="T28" fmla="*/ 20 w 108"/>
                <a:gd name="T29" fmla="*/ 101 h 153"/>
                <a:gd name="T30" fmla="*/ 16 w 108"/>
                <a:gd name="T31" fmla="*/ 108 h 153"/>
                <a:gd name="T32" fmla="*/ 14 w 108"/>
                <a:gd name="T33" fmla="*/ 116 h 153"/>
                <a:gd name="T34" fmla="*/ 10 w 108"/>
                <a:gd name="T35" fmla="*/ 132 h 153"/>
                <a:gd name="T36" fmla="*/ 6 w 108"/>
                <a:gd name="T37" fmla="*/ 138 h 153"/>
                <a:gd name="T38" fmla="*/ 0 w 108"/>
                <a:gd name="T39" fmla="*/ 147 h 153"/>
                <a:gd name="T40" fmla="*/ 6 w 108"/>
                <a:gd name="T41" fmla="*/ 149 h 153"/>
                <a:gd name="T42" fmla="*/ 15 w 108"/>
                <a:gd name="T43" fmla="*/ 153 h 153"/>
                <a:gd name="T44" fmla="*/ 19 w 108"/>
                <a:gd name="T45" fmla="*/ 150 h 153"/>
                <a:gd name="T46" fmla="*/ 30 w 108"/>
                <a:gd name="T47" fmla="*/ 143 h 153"/>
                <a:gd name="T48" fmla="*/ 37 w 108"/>
                <a:gd name="T49" fmla="*/ 147 h 153"/>
                <a:gd name="T50" fmla="*/ 40 w 108"/>
                <a:gd name="T51" fmla="*/ 146 h 153"/>
                <a:gd name="T52" fmla="*/ 44 w 108"/>
                <a:gd name="T53" fmla="*/ 145 h 153"/>
                <a:gd name="T54" fmla="*/ 51 w 108"/>
                <a:gd name="T55" fmla="*/ 148 h 153"/>
                <a:gd name="T56" fmla="*/ 59 w 108"/>
                <a:gd name="T57" fmla="*/ 150 h 153"/>
                <a:gd name="T58" fmla="*/ 73 w 108"/>
                <a:gd name="T59" fmla="*/ 130 h 153"/>
                <a:gd name="T60" fmla="*/ 76 w 108"/>
                <a:gd name="T61" fmla="*/ 120 h 153"/>
                <a:gd name="T62" fmla="*/ 80 w 108"/>
                <a:gd name="T63" fmla="*/ 113 h 153"/>
                <a:gd name="T64" fmla="*/ 84 w 108"/>
                <a:gd name="T65" fmla="*/ 105 h 153"/>
                <a:gd name="T66" fmla="*/ 90 w 108"/>
                <a:gd name="T67" fmla="*/ 97 h 153"/>
                <a:gd name="T68" fmla="*/ 97 w 108"/>
                <a:gd name="T69" fmla="*/ 82 h 153"/>
                <a:gd name="T70" fmla="*/ 106 w 108"/>
                <a:gd name="T71" fmla="*/ 71 h 153"/>
                <a:gd name="T72" fmla="*/ 108 w 108"/>
                <a:gd name="T73" fmla="*/ 57 h 153"/>
                <a:gd name="T74" fmla="*/ 106 w 108"/>
                <a:gd name="T75" fmla="*/ 5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8" h="153">
                  <a:moveTo>
                    <a:pt x="106" y="54"/>
                  </a:moveTo>
                  <a:cubicBezTo>
                    <a:pt x="105" y="53"/>
                    <a:pt x="105" y="53"/>
                    <a:pt x="104" y="52"/>
                  </a:cubicBezTo>
                  <a:cubicBezTo>
                    <a:pt x="104" y="51"/>
                    <a:pt x="103" y="50"/>
                    <a:pt x="102" y="49"/>
                  </a:cubicBezTo>
                  <a:cubicBezTo>
                    <a:pt x="101" y="47"/>
                    <a:pt x="99" y="47"/>
                    <a:pt x="98" y="46"/>
                  </a:cubicBezTo>
                  <a:cubicBezTo>
                    <a:pt x="97" y="46"/>
                    <a:pt x="96" y="46"/>
                    <a:pt x="96" y="46"/>
                  </a:cubicBezTo>
                  <a:cubicBezTo>
                    <a:pt x="95" y="45"/>
                    <a:pt x="95" y="45"/>
                    <a:pt x="95" y="44"/>
                  </a:cubicBezTo>
                  <a:cubicBezTo>
                    <a:pt x="94" y="43"/>
                    <a:pt x="93" y="41"/>
                    <a:pt x="92" y="40"/>
                  </a:cubicBezTo>
                  <a:cubicBezTo>
                    <a:pt x="90" y="38"/>
                    <a:pt x="88" y="37"/>
                    <a:pt x="86" y="36"/>
                  </a:cubicBezTo>
                  <a:cubicBezTo>
                    <a:pt x="84" y="34"/>
                    <a:pt x="81" y="32"/>
                    <a:pt x="79" y="31"/>
                  </a:cubicBezTo>
                  <a:cubicBezTo>
                    <a:pt x="78" y="30"/>
                    <a:pt x="77" y="29"/>
                    <a:pt x="76" y="28"/>
                  </a:cubicBezTo>
                  <a:cubicBezTo>
                    <a:pt x="74" y="25"/>
                    <a:pt x="71" y="23"/>
                    <a:pt x="69" y="20"/>
                  </a:cubicBezTo>
                  <a:cubicBezTo>
                    <a:pt x="68" y="19"/>
                    <a:pt x="67" y="18"/>
                    <a:pt x="67" y="17"/>
                  </a:cubicBezTo>
                  <a:cubicBezTo>
                    <a:pt x="64" y="14"/>
                    <a:pt x="62" y="11"/>
                    <a:pt x="55" y="10"/>
                  </a:cubicBezTo>
                  <a:cubicBezTo>
                    <a:pt x="50" y="10"/>
                    <a:pt x="47" y="10"/>
                    <a:pt x="43" y="7"/>
                  </a:cubicBezTo>
                  <a:cubicBezTo>
                    <a:pt x="42" y="7"/>
                    <a:pt x="41" y="7"/>
                    <a:pt x="41" y="6"/>
                  </a:cubicBezTo>
                  <a:cubicBezTo>
                    <a:pt x="39" y="6"/>
                    <a:pt x="38" y="5"/>
                    <a:pt x="37" y="4"/>
                  </a:cubicBezTo>
                  <a:cubicBezTo>
                    <a:pt x="34" y="2"/>
                    <a:pt x="32" y="1"/>
                    <a:pt x="29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3"/>
                    <a:pt x="25" y="5"/>
                    <a:pt x="24" y="6"/>
                  </a:cubicBezTo>
                  <a:cubicBezTo>
                    <a:pt x="23" y="8"/>
                    <a:pt x="23" y="9"/>
                    <a:pt x="22" y="10"/>
                  </a:cubicBezTo>
                  <a:cubicBezTo>
                    <a:pt x="22" y="11"/>
                    <a:pt x="22" y="12"/>
                    <a:pt x="22" y="13"/>
                  </a:cubicBezTo>
                  <a:cubicBezTo>
                    <a:pt x="21" y="17"/>
                    <a:pt x="16" y="21"/>
                    <a:pt x="13" y="25"/>
                  </a:cubicBezTo>
                  <a:cubicBezTo>
                    <a:pt x="9" y="29"/>
                    <a:pt x="5" y="34"/>
                    <a:pt x="5" y="40"/>
                  </a:cubicBezTo>
                  <a:cubicBezTo>
                    <a:pt x="5" y="41"/>
                    <a:pt x="5" y="43"/>
                    <a:pt x="6" y="44"/>
                  </a:cubicBezTo>
                  <a:cubicBezTo>
                    <a:pt x="6" y="45"/>
                    <a:pt x="7" y="46"/>
                    <a:pt x="7" y="48"/>
                  </a:cubicBezTo>
                  <a:cubicBezTo>
                    <a:pt x="7" y="49"/>
                    <a:pt x="7" y="51"/>
                    <a:pt x="7" y="53"/>
                  </a:cubicBezTo>
                  <a:cubicBezTo>
                    <a:pt x="7" y="54"/>
                    <a:pt x="7" y="56"/>
                    <a:pt x="7" y="57"/>
                  </a:cubicBezTo>
                  <a:cubicBezTo>
                    <a:pt x="7" y="67"/>
                    <a:pt x="10" y="77"/>
                    <a:pt x="17" y="85"/>
                  </a:cubicBezTo>
                  <a:cubicBezTo>
                    <a:pt x="21" y="90"/>
                    <a:pt x="23" y="94"/>
                    <a:pt x="20" y="101"/>
                  </a:cubicBezTo>
                  <a:cubicBezTo>
                    <a:pt x="19" y="103"/>
                    <a:pt x="18" y="104"/>
                    <a:pt x="17" y="105"/>
                  </a:cubicBezTo>
                  <a:cubicBezTo>
                    <a:pt x="17" y="106"/>
                    <a:pt x="16" y="107"/>
                    <a:pt x="16" y="108"/>
                  </a:cubicBezTo>
                  <a:cubicBezTo>
                    <a:pt x="15" y="109"/>
                    <a:pt x="15" y="111"/>
                    <a:pt x="15" y="113"/>
                  </a:cubicBezTo>
                  <a:cubicBezTo>
                    <a:pt x="15" y="114"/>
                    <a:pt x="14" y="115"/>
                    <a:pt x="14" y="116"/>
                  </a:cubicBezTo>
                  <a:cubicBezTo>
                    <a:pt x="14" y="119"/>
                    <a:pt x="14" y="122"/>
                    <a:pt x="13" y="126"/>
                  </a:cubicBezTo>
                  <a:cubicBezTo>
                    <a:pt x="12" y="129"/>
                    <a:pt x="11" y="130"/>
                    <a:pt x="10" y="132"/>
                  </a:cubicBezTo>
                  <a:cubicBezTo>
                    <a:pt x="9" y="134"/>
                    <a:pt x="9" y="134"/>
                    <a:pt x="9" y="134"/>
                  </a:cubicBezTo>
                  <a:cubicBezTo>
                    <a:pt x="8" y="135"/>
                    <a:pt x="7" y="137"/>
                    <a:pt x="6" y="138"/>
                  </a:cubicBezTo>
                  <a:cubicBezTo>
                    <a:pt x="5" y="141"/>
                    <a:pt x="4" y="143"/>
                    <a:pt x="3" y="145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3" y="149"/>
                    <a:pt x="3" y="149"/>
                    <a:pt x="3" y="149"/>
                  </a:cubicBezTo>
                  <a:cubicBezTo>
                    <a:pt x="4" y="149"/>
                    <a:pt x="5" y="149"/>
                    <a:pt x="6" y="149"/>
                  </a:cubicBezTo>
                  <a:cubicBezTo>
                    <a:pt x="9" y="150"/>
                    <a:pt x="10" y="151"/>
                    <a:pt x="11" y="151"/>
                  </a:cubicBezTo>
                  <a:cubicBezTo>
                    <a:pt x="13" y="152"/>
                    <a:pt x="13" y="153"/>
                    <a:pt x="15" y="153"/>
                  </a:cubicBezTo>
                  <a:cubicBezTo>
                    <a:pt x="16" y="153"/>
                    <a:pt x="17" y="151"/>
                    <a:pt x="18" y="150"/>
                  </a:cubicBezTo>
                  <a:cubicBezTo>
                    <a:pt x="19" y="150"/>
                    <a:pt x="19" y="150"/>
                    <a:pt x="19" y="150"/>
                  </a:cubicBezTo>
                  <a:cubicBezTo>
                    <a:pt x="21" y="147"/>
                    <a:pt x="24" y="143"/>
                    <a:pt x="28" y="143"/>
                  </a:cubicBezTo>
                  <a:cubicBezTo>
                    <a:pt x="29" y="143"/>
                    <a:pt x="29" y="143"/>
                    <a:pt x="30" y="143"/>
                  </a:cubicBezTo>
                  <a:cubicBezTo>
                    <a:pt x="31" y="144"/>
                    <a:pt x="32" y="144"/>
                    <a:pt x="33" y="145"/>
                  </a:cubicBezTo>
                  <a:cubicBezTo>
                    <a:pt x="35" y="146"/>
                    <a:pt x="36" y="147"/>
                    <a:pt x="37" y="147"/>
                  </a:cubicBezTo>
                  <a:cubicBezTo>
                    <a:pt x="38" y="147"/>
                    <a:pt x="38" y="147"/>
                    <a:pt x="38" y="147"/>
                  </a:cubicBezTo>
                  <a:cubicBezTo>
                    <a:pt x="39" y="147"/>
                    <a:pt x="40" y="146"/>
                    <a:pt x="40" y="146"/>
                  </a:cubicBezTo>
                  <a:cubicBezTo>
                    <a:pt x="41" y="146"/>
                    <a:pt x="41" y="146"/>
                    <a:pt x="41" y="146"/>
                  </a:cubicBezTo>
                  <a:cubicBezTo>
                    <a:pt x="42" y="146"/>
                    <a:pt x="43" y="145"/>
                    <a:pt x="44" y="145"/>
                  </a:cubicBezTo>
                  <a:cubicBezTo>
                    <a:pt x="45" y="145"/>
                    <a:pt x="45" y="145"/>
                    <a:pt x="46" y="146"/>
                  </a:cubicBezTo>
                  <a:cubicBezTo>
                    <a:pt x="48" y="146"/>
                    <a:pt x="49" y="147"/>
                    <a:pt x="51" y="148"/>
                  </a:cubicBezTo>
                  <a:cubicBezTo>
                    <a:pt x="52" y="149"/>
                    <a:pt x="54" y="150"/>
                    <a:pt x="56" y="150"/>
                  </a:cubicBezTo>
                  <a:cubicBezTo>
                    <a:pt x="56" y="150"/>
                    <a:pt x="57" y="150"/>
                    <a:pt x="59" y="150"/>
                  </a:cubicBezTo>
                  <a:cubicBezTo>
                    <a:pt x="63" y="148"/>
                    <a:pt x="67" y="143"/>
                    <a:pt x="70" y="138"/>
                  </a:cubicBezTo>
                  <a:cubicBezTo>
                    <a:pt x="72" y="136"/>
                    <a:pt x="73" y="133"/>
                    <a:pt x="73" y="130"/>
                  </a:cubicBezTo>
                  <a:cubicBezTo>
                    <a:pt x="73" y="128"/>
                    <a:pt x="74" y="125"/>
                    <a:pt x="75" y="123"/>
                  </a:cubicBezTo>
                  <a:cubicBezTo>
                    <a:pt x="75" y="122"/>
                    <a:pt x="76" y="121"/>
                    <a:pt x="76" y="120"/>
                  </a:cubicBezTo>
                  <a:cubicBezTo>
                    <a:pt x="77" y="119"/>
                    <a:pt x="78" y="117"/>
                    <a:pt x="79" y="115"/>
                  </a:cubicBezTo>
                  <a:cubicBezTo>
                    <a:pt x="79" y="115"/>
                    <a:pt x="79" y="114"/>
                    <a:pt x="80" y="113"/>
                  </a:cubicBezTo>
                  <a:cubicBezTo>
                    <a:pt x="80" y="111"/>
                    <a:pt x="81" y="110"/>
                    <a:pt x="82" y="108"/>
                  </a:cubicBezTo>
                  <a:cubicBezTo>
                    <a:pt x="82" y="107"/>
                    <a:pt x="83" y="106"/>
                    <a:pt x="84" y="105"/>
                  </a:cubicBezTo>
                  <a:cubicBezTo>
                    <a:pt x="85" y="104"/>
                    <a:pt x="86" y="104"/>
                    <a:pt x="86" y="103"/>
                  </a:cubicBezTo>
                  <a:cubicBezTo>
                    <a:pt x="88" y="101"/>
                    <a:pt x="89" y="99"/>
                    <a:pt x="90" y="97"/>
                  </a:cubicBezTo>
                  <a:cubicBezTo>
                    <a:pt x="90" y="95"/>
                    <a:pt x="90" y="95"/>
                    <a:pt x="90" y="95"/>
                  </a:cubicBezTo>
                  <a:cubicBezTo>
                    <a:pt x="92" y="91"/>
                    <a:pt x="94" y="86"/>
                    <a:pt x="97" y="82"/>
                  </a:cubicBezTo>
                  <a:cubicBezTo>
                    <a:pt x="98" y="80"/>
                    <a:pt x="100" y="78"/>
                    <a:pt x="101" y="77"/>
                  </a:cubicBezTo>
                  <a:cubicBezTo>
                    <a:pt x="103" y="75"/>
                    <a:pt x="105" y="74"/>
                    <a:pt x="106" y="71"/>
                  </a:cubicBezTo>
                  <a:cubicBezTo>
                    <a:pt x="106" y="68"/>
                    <a:pt x="107" y="65"/>
                    <a:pt x="107" y="62"/>
                  </a:cubicBezTo>
                  <a:cubicBezTo>
                    <a:pt x="107" y="60"/>
                    <a:pt x="107" y="59"/>
                    <a:pt x="108" y="57"/>
                  </a:cubicBezTo>
                  <a:cubicBezTo>
                    <a:pt x="108" y="55"/>
                    <a:pt x="108" y="55"/>
                    <a:pt x="108" y="55"/>
                  </a:cubicBezTo>
                  <a:lnTo>
                    <a:pt x="106" y="54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2895" y="418"/>
              <a:ext cx="231" cy="270"/>
            </a:xfrm>
            <a:custGeom>
              <a:avLst/>
              <a:gdLst>
                <a:gd name="T0" fmla="*/ 138 w 151"/>
                <a:gd name="T1" fmla="*/ 7 h 176"/>
                <a:gd name="T2" fmla="*/ 112 w 151"/>
                <a:gd name="T3" fmla="*/ 0 h 176"/>
                <a:gd name="T4" fmla="*/ 101 w 151"/>
                <a:gd name="T5" fmla="*/ 6 h 176"/>
                <a:gd name="T6" fmla="*/ 90 w 151"/>
                <a:gd name="T7" fmla="*/ 2 h 176"/>
                <a:gd name="T8" fmla="*/ 76 w 151"/>
                <a:gd name="T9" fmla="*/ 4 h 176"/>
                <a:gd name="T10" fmla="*/ 73 w 151"/>
                <a:gd name="T11" fmla="*/ 8 h 176"/>
                <a:gd name="T12" fmla="*/ 62 w 151"/>
                <a:gd name="T13" fmla="*/ 6 h 176"/>
                <a:gd name="T14" fmla="*/ 45 w 151"/>
                <a:gd name="T15" fmla="*/ 2 h 176"/>
                <a:gd name="T16" fmla="*/ 39 w 151"/>
                <a:gd name="T17" fmla="*/ 1 h 176"/>
                <a:gd name="T18" fmla="*/ 35 w 151"/>
                <a:gd name="T19" fmla="*/ 7 h 176"/>
                <a:gd name="T20" fmla="*/ 31 w 151"/>
                <a:gd name="T21" fmla="*/ 21 h 176"/>
                <a:gd name="T22" fmla="*/ 29 w 151"/>
                <a:gd name="T23" fmla="*/ 35 h 176"/>
                <a:gd name="T24" fmla="*/ 20 w 151"/>
                <a:gd name="T25" fmla="*/ 46 h 176"/>
                <a:gd name="T26" fmla="*/ 14 w 151"/>
                <a:gd name="T27" fmla="*/ 46 h 176"/>
                <a:gd name="T28" fmla="*/ 5 w 151"/>
                <a:gd name="T29" fmla="*/ 51 h 176"/>
                <a:gd name="T30" fmla="*/ 3 w 151"/>
                <a:gd name="T31" fmla="*/ 75 h 176"/>
                <a:gd name="T32" fmla="*/ 6 w 151"/>
                <a:gd name="T33" fmla="*/ 96 h 176"/>
                <a:gd name="T34" fmla="*/ 17 w 151"/>
                <a:gd name="T35" fmla="*/ 114 h 176"/>
                <a:gd name="T36" fmla="*/ 22 w 151"/>
                <a:gd name="T37" fmla="*/ 113 h 176"/>
                <a:gd name="T38" fmla="*/ 29 w 151"/>
                <a:gd name="T39" fmla="*/ 130 h 176"/>
                <a:gd name="T40" fmla="*/ 42 w 151"/>
                <a:gd name="T41" fmla="*/ 158 h 176"/>
                <a:gd name="T42" fmla="*/ 47 w 151"/>
                <a:gd name="T43" fmla="*/ 165 h 176"/>
                <a:gd name="T44" fmla="*/ 52 w 151"/>
                <a:gd name="T45" fmla="*/ 172 h 176"/>
                <a:gd name="T46" fmla="*/ 62 w 151"/>
                <a:gd name="T47" fmla="*/ 172 h 176"/>
                <a:gd name="T48" fmla="*/ 71 w 151"/>
                <a:gd name="T49" fmla="*/ 175 h 176"/>
                <a:gd name="T50" fmla="*/ 74 w 151"/>
                <a:gd name="T51" fmla="*/ 174 h 176"/>
                <a:gd name="T52" fmla="*/ 69 w 151"/>
                <a:gd name="T53" fmla="*/ 158 h 176"/>
                <a:gd name="T54" fmla="*/ 74 w 151"/>
                <a:gd name="T55" fmla="*/ 151 h 176"/>
                <a:gd name="T56" fmla="*/ 81 w 151"/>
                <a:gd name="T57" fmla="*/ 151 h 176"/>
                <a:gd name="T58" fmla="*/ 87 w 151"/>
                <a:gd name="T59" fmla="*/ 152 h 176"/>
                <a:gd name="T60" fmla="*/ 91 w 151"/>
                <a:gd name="T61" fmla="*/ 151 h 176"/>
                <a:gd name="T62" fmla="*/ 103 w 151"/>
                <a:gd name="T63" fmla="*/ 148 h 176"/>
                <a:gd name="T64" fmla="*/ 109 w 151"/>
                <a:gd name="T65" fmla="*/ 145 h 176"/>
                <a:gd name="T66" fmla="*/ 117 w 151"/>
                <a:gd name="T67" fmla="*/ 152 h 176"/>
                <a:gd name="T68" fmla="*/ 126 w 151"/>
                <a:gd name="T69" fmla="*/ 157 h 176"/>
                <a:gd name="T70" fmla="*/ 133 w 151"/>
                <a:gd name="T71" fmla="*/ 144 h 176"/>
                <a:gd name="T72" fmla="*/ 138 w 151"/>
                <a:gd name="T73" fmla="*/ 127 h 176"/>
                <a:gd name="T74" fmla="*/ 142 w 151"/>
                <a:gd name="T75" fmla="*/ 115 h 176"/>
                <a:gd name="T76" fmla="*/ 131 w 151"/>
                <a:gd name="T77" fmla="*/ 68 h 176"/>
                <a:gd name="T78" fmla="*/ 130 w 151"/>
                <a:gd name="T79" fmla="*/ 56 h 176"/>
                <a:gd name="T80" fmla="*/ 146 w 151"/>
                <a:gd name="T81" fmla="*/ 23 h 176"/>
                <a:gd name="T82" fmla="*/ 150 w 151"/>
                <a:gd name="T83" fmla="*/ 1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1" h="176">
                  <a:moveTo>
                    <a:pt x="148" y="10"/>
                  </a:moveTo>
                  <a:cubicBezTo>
                    <a:pt x="145" y="8"/>
                    <a:pt x="143" y="7"/>
                    <a:pt x="138" y="7"/>
                  </a:cubicBezTo>
                  <a:cubicBezTo>
                    <a:pt x="138" y="7"/>
                    <a:pt x="138" y="7"/>
                    <a:pt x="138" y="7"/>
                  </a:cubicBezTo>
                  <a:cubicBezTo>
                    <a:pt x="134" y="7"/>
                    <a:pt x="129" y="6"/>
                    <a:pt x="124" y="4"/>
                  </a:cubicBezTo>
                  <a:cubicBezTo>
                    <a:pt x="123" y="4"/>
                    <a:pt x="121" y="3"/>
                    <a:pt x="120" y="3"/>
                  </a:cubicBezTo>
                  <a:cubicBezTo>
                    <a:pt x="118" y="1"/>
                    <a:pt x="115" y="0"/>
                    <a:pt x="112" y="0"/>
                  </a:cubicBezTo>
                  <a:cubicBezTo>
                    <a:pt x="110" y="0"/>
                    <a:pt x="108" y="1"/>
                    <a:pt x="107" y="2"/>
                  </a:cubicBezTo>
                  <a:cubicBezTo>
                    <a:pt x="106" y="2"/>
                    <a:pt x="105" y="3"/>
                    <a:pt x="104" y="4"/>
                  </a:cubicBezTo>
                  <a:cubicBezTo>
                    <a:pt x="103" y="5"/>
                    <a:pt x="102" y="6"/>
                    <a:pt x="101" y="6"/>
                  </a:cubicBezTo>
                  <a:cubicBezTo>
                    <a:pt x="101" y="6"/>
                    <a:pt x="99" y="5"/>
                    <a:pt x="98" y="4"/>
                  </a:cubicBezTo>
                  <a:cubicBezTo>
                    <a:pt x="97" y="4"/>
                    <a:pt x="96" y="3"/>
                    <a:pt x="95" y="3"/>
                  </a:cubicBezTo>
                  <a:cubicBezTo>
                    <a:pt x="93" y="2"/>
                    <a:pt x="92" y="2"/>
                    <a:pt x="90" y="2"/>
                  </a:cubicBezTo>
                  <a:cubicBezTo>
                    <a:pt x="89" y="2"/>
                    <a:pt x="87" y="2"/>
                    <a:pt x="86" y="3"/>
                  </a:cubicBezTo>
                  <a:cubicBezTo>
                    <a:pt x="83" y="4"/>
                    <a:pt x="82" y="4"/>
                    <a:pt x="79" y="4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6" y="7"/>
                    <a:pt x="76" y="8"/>
                    <a:pt x="75" y="10"/>
                  </a:cubicBezTo>
                  <a:cubicBezTo>
                    <a:pt x="75" y="9"/>
                    <a:pt x="74" y="9"/>
                    <a:pt x="73" y="8"/>
                  </a:cubicBezTo>
                  <a:cubicBezTo>
                    <a:pt x="71" y="6"/>
                    <a:pt x="70" y="6"/>
                    <a:pt x="68" y="6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5" y="6"/>
                    <a:pt x="63" y="6"/>
                    <a:pt x="62" y="6"/>
                  </a:cubicBezTo>
                  <a:cubicBezTo>
                    <a:pt x="60" y="5"/>
                    <a:pt x="57" y="5"/>
                    <a:pt x="55" y="5"/>
                  </a:cubicBezTo>
                  <a:cubicBezTo>
                    <a:pt x="53" y="5"/>
                    <a:pt x="52" y="4"/>
                    <a:pt x="51" y="4"/>
                  </a:cubicBezTo>
                  <a:cubicBezTo>
                    <a:pt x="49" y="3"/>
                    <a:pt x="47" y="2"/>
                    <a:pt x="45" y="2"/>
                  </a:cubicBezTo>
                  <a:cubicBezTo>
                    <a:pt x="45" y="2"/>
                    <a:pt x="44" y="2"/>
                    <a:pt x="44" y="2"/>
                  </a:cubicBezTo>
                  <a:cubicBezTo>
                    <a:pt x="43" y="1"/>
                    <a:pt x="42" y="1"/>
                    <a:pt x="40" y="1"/>
                  </a:cubicBezTo>
                  <a:cubicBezTo>
                    <a:pt x="40" y="1"/>
                    <a:pt x="40" y="1"/>
                    <a:pt x="39" y="1"/>
                  </a:cubicBezTo>
                  <a:cubicBezTo>
                    <a:pt x="39" y="1"/>
                    <a:pt x="38" y="2"/>
                    <a:pt x="37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9"/>
                    <a:pt x="34" y="11"/>
                    <a:pt x="34" y="12"/>
                  </a:cubicBezTo>
                  <a:cubicBezTo>
                    <a:pt x="33" y="15"/>
                    <a:pt x="32" y="18"/>
                    <a:pt x="31" y="20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0" y="22"/>
                    <a:pt x="30" y="24"/>
                    <a:pt x="29" y="26"/>
                  </a:cubicBezTo>
                  <a:cubicBezTo>
                    <a:pt x="28" y="28"/>
                    <a:pt x="28" y="31"/>
                    <a:pt x="28" y="33"/>
                  </a:cubicBezTo>
                  <a:cubicBezTo>
                    <a:pt x="28" y="33"/>
                    <a:pt x="28" y="34"/>
                    <a:pt x="29" y="35"/>
                  </a:cubicBezTo>
                  <a:cubicBezTo>
                    <a:pt x="29" y="36"/>
                    <a:pt x="29" y="37"/>
                    <a:pt x="29" y="38"/>
                  </a:cubicBezTo>
                  <a:cubicBezTo>
                    <a:pt x="29" y="42"/>
                    <a:pt x="23" y="46"/>
                    <a:pt x="20" y="46"/>
                  </a:cubicBezTo>
                  <a:cubicBezTo>
                    <a:pt x="20" y="46"/>
                    <a:pt x="20" y="46"/>
                    <a:pt x="20" y="46"/>
                  </a:cubicBezTo>
                  <a:cubicBezTo>
                    <a:pt x="19" y="46"/>
                    <a:pt x="18" y="46"/>
                    <a:pt x="17" y="46"/>
                  </a:cubicBezTo>
                  <a:cubicBezTo>
                    <a:pt x="16" y="46"/>
                    <a:pt x="16" y="46"/>
                    <a:pt x="15" y="46"/>
                  </a:cubicBezTo>
                  <a:cubicBezTo>
                    <a:pt x="15" y="46"/>
                    <a:pt x="14" y="46"/>
                    <a:pt x="14" y="46"/>
                  </a:cubicBezTo>
                  <a:cubicBezTo>
                    <a:pt x="13" y="46"/>
                    <a:pt x="12" y="47"/>
                    <a:pt x="12" y="47"/>
                  </a:cubicBezTo>
                  <a:cubicBezTo>
                    <a:pt x="11" y="48"/>
                    <a:pt x="10" y="49"/>
                    <a:pt x="8" y="49"/>
                  </a:cubicBezTo>
                  <a:cubicBezTo>
                    <a:pt x="6" y="49"/>
                    <a:pt x="5" y="50"/>
                    <a:pt x="5" y="51"/>
                  </a:cubicBezTo>
                  <a:cubicBezTo>
                    <a:pt x="4" y="53"/>
                    <a:pt x="4" y="54"/>
                    <a:pt x="5" y="57"/>
                  </a:cubicBezTo>
                  <a:cubicBezTo>
                    <a:pt x="7" y="61"/>
                    <a:pt x="7" y="65"/>
                    <a:pt x="6" y="70"/>
                  </a:cubicBezTo>
                  <a:cubicBezTo>
                    <a:pt x="5" y="72"/>
                    <a:pt x="4" y="73"/>
                    <a:pt x="3" y="75"/>
                  </a:cubicBezTo>
                  <a:cubicBezTo>
                    <a:pt x="2" y="76"/>
                    <a:pt x="1" y="78"/>
                    <a:pt x="1" y="79"/>
                  </a:cubicBezTo>
                  <a:cubicBezTo>
                    <a:pt x="0" y="84"/>
                    <a:pt x="3" y="89"/>
                    <a:pt x="4" y="91"/>
                  </a:cubicBezTo>
                  <a:cubicBezTo>
                    <a:pt x="4" y="93"/>
                    <a:pt x="5" y="94"/>
                    <a:pt x="6" y="96"/>
                  </a:cubicBezTo>
                  <a:cubicBezTo>
                    <a:pt x="9" y="99"/>
                    <a:pt x="11" y="103"/>
                    <a:pt x="12" y="107"/>
                  </a:cubicBezTo>
                  <a:cubicBezTo>
                    <a:pt x="13" y="110"/>
                    <a:pt x="14" y="113"/>
                    <a:pt x="17" y="113"/>
                  </a:cubicBezTo>
                  <a:cubicBezTo>
                    <a:pt x="17" y="114"/>
                    <a:pt x="17" y="114"/>
                    <a:pt x="17" y="114"/>
                  </a:cubicBezTo>
                  <a:cubicBezTo>
                    <a:pt x="18" y="114"/>
                    <a:pt x="18" y="114"/>
                    <a:pt x="18" y="114"/>
                  </a:cubicBezTo>
                  <a:cubicBezTo>
                    <a:pt x="18" y="114"/>
                    <a:pt x="19" y="114"/>
                    <a:pt x="20" y="113"/>
                  </a:cubicBezTo>
                  <a:cubicBezTo>
                    <a:pt x="20" y="113"/>
                    <a:pt x="21" y="113"/>
                    <a:pt x="22" y="113"/>
                  </a:cubicBezTo>
                  <a:cubicBezTo>
                    <a:pt x="22" y="113"/>
                    <a:pt x="23" y="113"/>
                    <a:pt x="23" y="113"/>
                  </a:cubicBezTo>
                  <a:cubicBezTo>
                    <a:pt x="27" y="115"/>
                    <a:pt x="28" y="120"/>
                    <a:pt x="29" y="125"/>
                  </a:cubicBezTo>
                  <a:cubicBezTo>
                    <a:pt x="29" y="127"/>
                    <a:pt x="29" y="129"/>
                    <a:pt x="29" y="130"/>
                  </a:cubicBezTo>
                  <a:cubicBezTo>
                    <a:pt x="31" y="136"/>
                    <a:pt x="34" y="142"/>
                    <a:pt x="36" y="147"/>
                  </a:cubicBezTo>
                  <a:cubicBezTo>
                    <a:pt x="37" y="149"/>
                    <a:pt x="37" y="149"/>
                    <a:pt x="37" y="149"/>
                  </a:cubicBezTo>
                  <a:cubicBezTo>
                    <a:pt x="38" y="152"/>
                    <a:pt x="40" y="155"/>
                    <a:pt x="42" y="158"/>
                  </a:cubicBezTo>
                  <a:cubicBezTo>
                    <a:pt x="42" y="159"/>
                    <a:pt x="43" y="160"/>
                    <a:pt x="44" y="161"/>
                  </a:cubicBezTo>
                  <a:cubicBezTo>
                    <a:pt x="44" y="161"/>
                    <a:pt x="44" y="161"/>
                    <a:pt x="44" y="161"/>
                  </a:cubicBezTo>
                  <a:cubicBezTo>
                    <a:pt x="45" y="163"/>
                    <a:pt x="46" y="164"/>
                    <a:pt x="47" y="165"/>
                  </a:cubicBezTo>
                  <a:cubicBezTo>
                    <a:pt x="47" y="165"/>
                    <a:pt x="49" y="168"/>
                    <a:pt x="49" y="170"/>
                  </a:cubicBezTo>
                  <a:cubicBezTo>
                    <a:pt x="50" y="173"/>
                    <a:pt x="50" y="173"/>
                    <a:pt x="50" y="173"/>
                  </a:cubicBezTo>
                  <a:cubicBezTo>
                    <a:pt x="52" y="172"/>
                    <a:pt x="52" y="172"/>
                    <a:pt x="52" y="172"/>
                  </a:cubicBezTo>
                  <a:cubicBezTo>
                    <a:pt x="54" y="172"/>
                    <a:pt x="55" y="172"/>
                    <a:pt x="57" y="172"/>
                  </a:cubicBezTo>
                  <a:cubicBezTo>
                    <a:pt x="57" y="172"/>
                    <a:pt x="58" y="172"/>
                    <a:pt x="59" y="172"/>
                  </a:cubicBezTo>
                  <a:cubicBezTo>
                    <a:pt x="60" y="172"/>
                    <a:pt x="61" y="172"/>
                    <a:pt x="62" y="172"/>
                  </a:cubicBezTo>
                  <a:cubicBezTo>
                    <a:pt x="64" y="173"/>
                    <a:pt x="66" y="173"/>
                    <a:pt x="68" y="174"/>
                  </a:cubicBezTo>
                  <a:cubicBezTo>
                    <a:pt x="69" y="174"/>
                    <a:pt x="69" y="174"/>
                    <a:pt x="70" y="174"/>
                  </a:cubicBezTo>
                  <a:cubicBezTo>
                    <a:pt x="70" y="175"/>
                    <a:pt x="71" y="175"/>
                    <a:pt x="71" y="175"/>
                  </a:cubicBezTo>
                  <a:cubicBezTo>
                    <a:pt x="74" y="176"/>
                    <a:pt x="74" y="176"/>
                    <a:pt x="74" y="176"/>
                  </a:cubicBezTo>
                  <a:cubicBezTo>
                    <a:pt x="74" y="174"/>
                    <a:pt x="74" y="174"/>
                    <a:pt x="74" y="174"/>
                  </a:cubicBezTo>
                  <a:cubicBezTo>
                    <a:pt x="74" y="174"/>
                    <a:pt x="74" y="174"/>
                    <a:pt x="74" y="174"/>
                  </a:cubicBezTo>
                  <a:cubicBezTo>
                    <a:pt x="76" y="171"/>
                    <a:pt x="75" y="168"/>
                    <a:pt x="73" y="165"/>
                  </a:cubicBezTo>
                  <a:cubicBezTo>
                    <a:pt x="73" y="164"/>
                    <a:pt x="72" y="163"/>
                    <a:pt x="71" y="163"/>
                  </a:cubicBezTo>
                  <a:cubicBezTo>
                    <a:pt x="70" y="161"/>
                    <a:pt x="69" y="160"/>
                    <a:pt x="69" y="158"/>
                  </a:cubicBezTo>
                  <a:cubicBezTo>
                    <a:pt x="68" y="156"/>
                    <a:pt x="70" y="155"/>
                    <a:pt x="72" y="154"/>
                  </a:cubicBezTo>
                  <a:cubicBezTo>
                    <a:pt x="72" y="154"/>
                    <a:pt x="73" y="153"/>
                    <a:pt x="73" y="152"/>
                  </a:cubicBezTo>
                  <a:cubicBezTo>
                    <a:pt x="74" y="152"/>
                    <a:pt x="74" y="151"/>
                    <a:pt x="74" y="151"/>
                  </a:cubicBezTo>
                  <a:cubicBezTo>
                    <a:pt x="75" y="149"/>
                    <a:pt x="76" y="149"/>
                    <a:pt x="77" y="149"/>
                  </a:cubicBezTo>
                  <a:cubicBezTo>
                    <a:pt x="77" y="149"/>
                    <a:pt x="78" y="149"/>
                    <a:pt x="79" y="150"/>
                  </a:cubicBezTo>
                  <a:cubicBezTo>
                    <a:pt x="80" y="150"/>
                    <a:pt x="80" y="151"/>
                    <a:pt x="81" y="151"/>
                  </a:cubicBezTo>
                  <a:cubicBezTo>
                    <a:pt x="82" y="152"/>
                    <a:pt x="82" y="152"/>
                    <a:pt x="84" y="152"/>
                  </a:cubicBezTo>
                  <a:cubicBezTo>
                    <a:pt x="84" y="152"/>
                    <a:pt x="84" y="152"/>
                    <a:pt x="84" y="152"/>
                  </a:cubicBezTo>
                  <a:cubicBezTo>
                    <a:pt x="85" y="152"/>
                    <a:pt x="86" y="152"/>
                    <a:pt x="87" y="152"/>
                  </a:cubicBezTo>
                  <a:cubicBezTo>
                    <a:pt x="87" y="152"/>
                    <a:pt x="87" y="152"/>
                    <a:pt x="87" y="152"/>
                  </a:cubicBezTo>
                  <a:cubicBezTo>
                    <a:pt x="88" y="152"/>
                    <a:pt x="89" y="151"/>
                    <a:pt x="90" y="151"/>
                  </a:cubicBezTo>
                  <a:cubicBezTo>
                    <a:pt x="91" y="151"/>
                    <a:pt x="91" y="151"/>
                    <a:pt x="91" y="151"/>
                  </a:cubicBezTo>
                  <a:cubicBezTo>
                    <a:pt x="93" y="151"/>
                    <a:pt x="94" y="150"/>
                    <a:pt x="96" y="150"/>
                  </a:cubicBezTo>
                  <a:cubicBezTo>
                    <a:pt x="98" y="149"/>
                    <a:pt x="99" y="149"/>
                    <a:pt x="100" y="148"/>
                  </a:cubicBezTo>
                  <a:cubicBezTo>
                    <a:pt x="101" y="148"/>
                    <a:pt x="102" y="148"/>
                    <a:pt x="103" y="148"/>
                  </a:cubicBezTo>
                  <a:cubicBezTo>
                    <a:pt x="103" y="148"/>
                    <a:pt x="104" y="147"/>
                    <a:pt x="105" y="147"/>
                  </a:cubicBezTo>
                  <a:cubicBezTo>
                    <a:pt x="106" y="146"/>
                    <a:pt x="107" y="145"/>
                    <a:pt x="108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11" y="146"/>
                    <a:pt x="112" y="147"/>
                    <a:pt x="112" y="148"/>
                  </a:cubicBezTo>
                  <a:cubicBezTo>
                    <a:pt x="113" y="149"/>
                    <a:pt x="113" y="149"/>
                    <a:pt x="113" y="150"/>
                  </a:cubicBezTo>
                  <a:cubicBezTo>
                    <a:pt x="114" y="151"/>
                    <a:pt x="115" y="151"/>
                    <a:pt x="117" y="152"/>
                  </a:cubicBezTo>
                  <a:cubicBezTo>
                    <a:pt x="118" y="152"/>
                    <a:pt x="119" y="153"/>
                    <a:pt x="120" y="154"/>
                  </a:cubicBezTo>
                  <a:cubicBezTo>
                    <a:pt x="122" y="155"/>
                    <a:pt x="123" y="156"/>
                    <a:pt x="123" y="156"/>
                  </a:cubicBezTo>
                  <a:cubicBezTo>
                    <a:pt x="126" y="157"/>
                    <a:pt x="126" y="157"/>
                    <a:pt x="126" y="157"/>
                  </a:cubicBezTo>
                  <a:cubicBezTo>
                    <a:pt x="126" y="155"/>
                    <a:pt x="126" y="155"/>
                    <a:pt x="126" y="155"/>
                  </a:cubicBezTo>
                  <a:cubicBezTo>
                    <a:pt x="128" y="154"/>
                    <a:pt x="129" y="151"/>
                    <a:pt x="130" y="149"/>
                  </a:cubicBezTo>
                  <a:cubicBezTo>
                    <a:pt x="131" y="147"/>
                    <a:pt x="132" y="146"/>
                    <a:pt x="133" y="144"/>
                  </a:cubicBezTo>
                  <a:cubicBezTo>
                    <a:pt x="134" y="143"/>
                    <a:pt x="134" y="143"/>
                    <a:pt x="134" y="143"/>
                  </a:cubicBezTo>
                  <a:cubicBezTo>
                    <a:pt x="135" y="141"/>
                    <a:pt x="136" y="139"/>
                    <a:pt x="137" y="136"/>
                  </a:cubicBezTo>
                  <a:cubicBezTo>
                    <a:pt x="137" y="133"/>
                    <a:pt x="138" y="130"/>
                    <a:pt x="138" y="127"/>
                  </a:cubicBezTo>
                  <a:cubicBezTo>
                    <a:pt x="138" y="126"/>
                    <a:pt x="138" y="125"/>
                    <a:pt x="138" y="124"/>
                  </a:cubicBezTo>
                  <a:cubicBezTo>
                    <a:pt x="138" y="122"/>
                    <a:pt x="138" y="120"/>
                    <a:pt x="139" y="118"/>
                  </a:cubicBezTo>
                  <a:cubicBezTo>
                    <a:pt x="140" y="117"/>
                    <a:pt x="141" y="116"/>
                    <a:pt x="142" y="115"/>
                  </a:cubicBezTo>
                  <a:cubicBezTo>
                    <a:pt x="142" y="114"/>
                    <a:pt x="143" y="113"/>
                    <a:pt x="144" y="112"/>
                  </a:cubicBezTo>
                  <a:cubicBezTo>
                    <a:pt x="146" y="106"/>
                    <a:pt x="145" y="102"/>
                    <a:pt x="141" y="97"/>
                  </a:cubicBezTo>
                  <a:cubicBezTo>
                    <a:pt x="134" y="88"/>
                    <a:pt x="131" y="78"/>
                    <a:pt x="131" y="68"/>
                  </a:cubicBezTo>
                  <a:cubicBezTo>
                    <a:pt x="131" y="66"/>
                    <a:pt x="131" y="65"/>
                    <a:pt x="131" y="64"/>
                  </a:cubicBezTo>
                  <a:cubicBezTo>
                    <a:pt x="131" y="62"/>
                    <a:pt x="131" y="60"/>
                    <a:pt x="131" y="59"/>
                  </a:cubicBezTo>
                  <a:cubicBezTo>
                    <a:pt x="131" y="58"/>
                    <a:pt x="130" y="57"/>
                    <a:pt x="130" y="56"/>
                  </a:cubicBezTo>
                  <a:cubicBezTo>
                    <a:pt x="129" y="54"/>
                    <a:pt x="129" y="52"/>
                    <a:pt x="129" y="51"/>
                  </a:cubicBezTo>
                  <a:cubicBezTo>
                    <a:pt x="129" y="45"/>
                    <a:pt x="133" y="39"/>
                    <a:pt x="137" y="35"/>
                  </a:cubicBezTo>
                  <a:cubicBezTo>
                    <a:pt x="140" y="32"/>
                    <a:pt x="145" y="27"/>
                    <a:pt x="146" y="23"/>
                  </a:cubicBezTo>
                  <a:cubicBezTo>
                    <a:pt x="146" y="22"/>
                    <a:pt x="146" y="22"/>
                    <a:pt x="146" y="21"/>
                  </a:cubicBezTo>
                  <a:cubicBezTo>
                    <a:pt x="147" y="20"/>
                    <a:pt x="147" y="18"/>
                    <a:pt x="148" y="16"/>
                  </a:cubicBezTo>
                  <a:cubicBezTo>
                    <a:pt x="149" y="15"/>
                    <a:pt x="150" y="14"/>
                    <a:pt x="150" y="13"/>
                  </a:cubicBezTo>
                  <a:cubicBezTo>
                    <a:pt x="151" y="11"/>
                    <a:pt x="151" y="11"/>
                    <a:pt x="151" y="11"/>
                  </a:cubicBezTo>
                  <a:cubicBezTo>
                    <a:pt x="151" y="11"/>
                    <a:pt x="148" y="10"/>
                    <a:pt x="148" y="1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1590" y="804"/>
              <a:ext cx="748" cy="1165"/>
            </a:xfrm>
            <a:custGeom>
              <a:avLst/>
              <a:gdLst>
                <a:gd name="T0" fmla="*/ 471 w 488"/>
                <a:gd name="T1" fmla="*/ 655 h 760"/>
                <a:gd name="T2" fmla="*/ 473 w 488"/>
                <a:gd name="T3" fmla="*/ 600 h 760"/>
                <a:gd name="T4" fmla="*/ 476 w 488"/>
                <a:gd name="T5" fmla="*/ 578 h 760"/>
                <a:gd name="T6" fmla="*/ 477 w 488"/>
                <a:gd name="T7" fmla="*/ 526 h 760"/>
                <a:gd name="T8" fmla="*/ 427 w 488"/>
                <a:gd name="T9" fmla="*/ 455 h 760"/>
                <a:gd name="T10" fmla="*/ 406 w 488"/>
                <a:gd name="T11" fmla="*/ 394 h 760"/>
                <a:gd name="T12" fmla="*/ 366 w 488"/>
                <a:gd name="T13" fmla="*/ 413 h 760"/>
                <a:gd name="T14" fmla="*/ 341 w 488"/>
                <a:gd name="T15" fmla="*/ 392 h 760"/>
                <a:gd name="T16" fmla="*/ 325 w 488"/>
                <a:gd name="T17" fmla="*/ 389 h 760"/>
                <a:gd name="T18" fmla="*/ 316 w 488"/>
                <a:gd name="T19" fmla="*/ 368 h 760"/>
                <a:gd name="T20" fmla="*/ 294 w 488"/>
                <a:gd name="T21" fmla="*/ 339 h 760"/>
                <a:gd name="T22" fmla="*/ 276 w 488"/>
                <a:gd name="T23" fmla="*/ 308 h 760"/>
                <a:gd name="T24" fmla="*/ 283 w 488"/>
                <a:gd name="T25" fmla="*/ 295 h 760"/>
                <a:gd name="T26" fmla="*/ 309 w 488"/>
                <a:gd name="T27" fmla="*/ 225 h 760"/>
                <a:gd name="T28" fmla="*/ 358 w 488"/>
                <a:gd name="T29" fmla="*/ 184 h 760"/>
                <a:gd name="T30" fmla="*/ 376 w 488"/>
                <a:gd name="T31" fmla="*/ 180 h 760"/>
                <a:gd name="T32" fmla="*/ 407 w 488"/>
                <a:gd name="T33" fmla="*/ 177 h 760"/>
                <a:gd name="T34" fmla="*/ 401 w 488"/>
                <a:gd name="T35" fmla="*/ 155 h 760"/>
                <a:gd name="T36" fmla="*/ 397 w 488"/>
                <a:gd name="T37" fmla="*/ 138 h 760"/>
                <a:gd name="T38" fmla="*/ 386 w 488"/>
                <a:gd name="T39" fmla="*/ 94 h 760"/>
                <a:gd name="T40" fmla="*/ 366 w 488"/>
                <a:gd name="T41" fmla="*/ 96 h 760"/>
                <a:gd name="T42" fmla="*/ 348 w 488"/>
                <a:gd name="T43" fmla="*/ 92 h 760"/>
                <a:gd name="T44" fmla="*/ 326 w 488"/>
                <a:gd name="T45" fmla="*/ 100 h 760"/>
                <a:gd name="T46" fmla="*/ 300 w 488"/>
                <a:gd name="T47" fmla="*/ 89 h 760"/>
                <a:gd name="T48" fmla="*/ 285 w 488"/>
                <a:gd name="T49" fmla="*/ 62 h 760"/>
                <a:gd name="T50" fmla="*/ 256 w 488"/>
                <a:gd name="T51" fmla="*/ 39 h 760"/>
                <a:gd name="T52" fmla="*/ 254 w 488"/>
                <a:gd name="T53" fmla="*/ 30 h 760"/>
                <a:gd name="T54" fmla="*/ 236 w 488"/>
                <a:gd name="T55" fmla="*/ 8 h 760"/>
                <a:gd name="T56" fmla="*/ 222 w 488"/>
                <a:gd name="T57" fmla="*/ 3 h 760"/>
                <a:gd name="T58" fmla="*/ 212 w 488"/>
                <a:gd name="T59" fmla="*/ 0 h 760"/>
                <a:gd name="T60" fmla="*/ 217 w 488"/>
                <a:gd name="T61" fmla="*/ 40 h 760"/>
                <a:gd name="T62" fmla="*/ 167 w 488"/>
                <a:gd name="T63" fmla="*/ 105 h 760"/>
                <a:gd name="T64" fmla="*/ 118 w 488"/>
                <a:gd name="T65" fmla="*/ 135 h 760"/>
                <a:gd name="T66" fmla="*/ 111 w 488"/>
                <a:gd name="T67" fmla="*/ 143 h 760"/>
                <a:gd name="T68" fmla="*/ 97 w 488"/>
                <a:gd name="T69" fmla="*/ 190 h 760"/>
                <a:gd name="T70" fmla="*/ 61 w 488"/>
                <a:gd name="T71" fmla="*/ 183 h 760"/>
                <a:gd name="T72" fmla="*/ 46 w 488"/>
                <a:gd name="T73" fmla="*/ 177 h 760"/>
                <a:gd name="T74" fmla="*/ 34 w 488"/>
                <a:gd name="T75" fmla="*/ 171 h 760"/>
                <a:gd name="T76" fmla="*/ 41 w 488"/>
                <a:gd name="T77" fmla="*/ 148 h 760"/>
                <a:gd name="T78" fmla="*/ 19 w 488"/>
                <a:gd name="T79" fmla="*/ 152 h 760"/>
                <a:gd name="T80" fmla="*/ 7 w 488"/>
                <a:gd name="T81" fmla="*/ 201 h 760"/>
                <a:gd name="T82" fmla="*/ 18 w 488"/>
                <a:gd name="T83" fmla="*/ 237 h 760"/>
                <a:gd name="T84" fmla="*/ 25 w 488"/>
                <a:gd name="T85" fmla="*/ 260 h 760"/>
                <a:gd name="T86" fmla="*/ 72 w 488"/>
                <a:gd name="T87" fmla="*/ 311 h 760"/>
                <a:gd name="T88" fmla="*/ 100 w 488"/>
                <a:gd name="T89" fmla="*/ 352 h 760"/>
                <a:gd name="T90" fmla="*/ 125 w 488"/>
                <a:gd name="T91" fmla="*/ 409 h 760"/>
                <a:gd name="T92" fmla="*/ 150 w 488"/>
                <a:gd name="T93" fmla="*/ 464 h 760"/>
                <a:gd name="T94" fmla="*/ 193 w 488"/>
                <a:gd name="T95" fmla="*/ 525 h 760"/>
                <a:gd name="T96" fmla="*/ 211 w 488"/>
                <a:gd name="T97" fmla="*/ 579 h 760"/>
                <a:gd name="T98" fmla="*/ 223 w 488"/>
                <a:gd name="T99" fmla="*/ 599 h 760"/>
                <a:gd name="T100" fmla="*/ 272 w 488"/>
                <a:gd name="T101" fmla="*/ 646 h 760"/>
                <a:gd name="T102" fmla="*/ 343 w 488"/>
                <a:gd name="T103" fmla="*/ 685 h 760"/>
                <a:gd name="T104" fmla="*/ 402 w 488"/>
                <a:gd name="T105" fmla="*/ 724 h 760"/>
                <a:gd name="T106" fmla="*/ 441 w 488"/>
                <a:gd name="T107" fmla="*/ 758 h 760"/>
                <a:gd name="T108" fmla="*/ 461 w 488"/>
                <a:gd name="T109" fmla="*/ 736 h 760"/>
                <a:gd name="T110" fmla="*/ 470 w 488"/>
                <a:gd name="T111" fmla="*/ 708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88" h="760">
                  <a:moveTo>
                    <a:pt x="486" y="679"/>
                  </a:moveTo>
                  <a:cubicBezTo>
                    <a:pt x="487" y="678"/>
                    <a:pt x="488" y="676"/>
                    <a:pt x="486" y="674"/>
                  </a:cubicBezTo>
                  <a:cubicBezTo>
                    <a:pt x="485" y="672"/>
                    <a:pt x="484" y="672"/>
                    <a:pt x="482" y="671"/>
                  </a:cubicBezTo>
                  <a:cubicBezTo>
                    <a:pt x="481" y="671"/>
                    <a:pt x="480" y="670"/>
                    <a:pt x="479" y="669"/>
                  </a:cubicBezTo>
                  <a:cubicBezTo>
                    <a:pt x="477" y="667"/>
                    <a:pt x="474" y="663"/>
                    <a:pt x="473" y="660"/>
                  </a:cubicBezTo>
                  <a:cubicBezTo>
                    <a:pt x="472" y="658"/>
                    <a:pt x="472" y="656"/>
                    <a:pt x="471" y="655"/>
                  </a:cubicBezTo>
                  <a:cubicBezTo>
                    <a:pt x="471" y="655"/>
                    <a:pt x="471" y="655"/>
                    <a:pt x="471" y="655"/>
                  </a:cubicBezTo>
                  <a:cubicBezTo>
                    <a:pt x="469" y="651"/>
                    <a:pt x="467" y="646"/>
                    <a:pt x="468" y="642"/>
                  </a:cubicBezTo>
                  <a:cubicBezTo>
                    <a:pt x="468" y="640"/>
                    <a:pt x="469" y="638"/>
                    <a:pt x="471" y="637"/>
                  </a:cubicBezTo>
                  <a:cubicBezTo>
                    <a:pt x="472" y="635"/>
                    <a:pt x="473" y="634"/>
                    <a:pt x="473" y="632"/>
                  </a:cubicBezTo>
                  <a:cubicBezTo>
                    <a:pt x="474" y="628"/>
                    <a:pt x="471" y="626"/>
                    <a:pt x="469" y="623"/>
                  </a:cubicBezTo>
                  <a:cubicBezTo>
                    <a:pt x="467" y="620"/>
                    <a:pt x="464" y="618"/>
                    <a:pt x="465" y="613"/>
                  </a:cubicBezTo>
                  <a:cubicBezTo>
                    <a:pt x="466" y="609"/>
                    <a:pt x="468" y="606"/>
                    <a:pt x="471" y="602"/>
                  </a:cubicBezTo>
                  <a:cubicBezTo>
                    <a:pt x="472" y="602"/>
                    <a:pt x="473" y="601"/>
                    <a:pt x="473" y="600"/>
                  </a:cubicBezTo>
                  <a:cubicBezTo>
                    <a:pt x="475" y="598"/>
                    <a:pt x="475" y="596"/>
                    <a:pt x="475" y="594"/>
                  </a:cubicBezTo>
                  <a:cubicBezTo>
                    <a:pt x="476" y="592"/>
                    <a:pt x="476" y="589"/>
                    <a:pt x="478" y="587"/>
                  </a:cubicBezTo>
                  <a:cubicBezTo>
                    <a:pt x="479" y="587"/>
                    <a:pt x="479" y="587"/>
                    <a:pt x="479" y="586"/>
                  </a:cubicBezTo>
                  <a:cubicBezTo>
                    <a:pt x="481" y="585"/>
                    <a:pt x="481" y="585"/>
                    <a:pt x="481" y="585"/>
                  </a:cubicBezTo>
                  <a:cubicBezTo>
                    <a:pt x="481" y="584"/>
                    <a:pt x="481" y="584"/>
                    <a:pt x="481" y="584"/>
                  </a:cubicBezTo>
                  <a:cubicBezTo>
                    <a:pt x="480" y="582"/>
                    <a:pt x="479" y="581"/>
                    <a:pt x="478" y="580"/>
                  </a:cubicBezTo>
                  <a:cubicBezTo>
                    <a:pt x="478" y="579"/>
                    <a:pt x="477" y="578"/>
                    <a:pt x="476" y="578"/>
                  </a:cubicBezTo>
                  <a:cubicBezTo>
                    <a:pt x="475" y="576"/>
                    <a:pt x="474" y="573"/>
                    <a:pt x="474" y="571"/>
                  </a:cubicBezTo>
                  <a:cubicBezTo>
                    <a:pt x="473" y="570"/>
                    <a:pt x="473" y="570"/>
                    <a:pt x="473" y="570"/>
                  </a:cubicBezTo>
                  <a:cubicBezTo>
                    <a:pt x="472" y="565"/>
                    <a:pt x="472" y="560"/>
                    <a:pt x="472" y="555"/>
                  </a:cubicBezTo>
                  <a:cubicBezTo>
                    <a:pt x="473" y="551"/>
                    <a:pt x="473" y="547"/>
                    <a:pt x="472" y="543"/>
                  </a:cubicBezTo>
                  <a:cubicBezTo>
                    <a:pt x="472" y="543"/>
                    <a:pt x="472" y="543"/>
                    <a:pt x="472" y="543"/>
                  </a:cubicBezTo>
                  <a:cubicBezTo>
                    <a:pt x="472" y="539"/>
                    <a:pt x="471" y="535"/>
                    <a:pt x="473" y="531"/>
                  </a:cubicBezTo>
                  <a:cubicBezTo>
                    <a:pt x="474" y="529"/>
                    <a:pt x="475" y="528"/>
                    <a:pt x="477" y="526"/>
                  </a:cubicBezTo>
                  <a:cubicBezTo>
                    <a:pt x="478" y="525"/>
                    <a:pt x="480" y="523"/>
                    <a:pt x="481" y="521"/>
                  </a:cubicBezTo>
                  <a:cubicBezTo>
                    <a:pt x="482" y="519"/>
                    <a:pt x="481" y="513"/>
                    <a:pt x="475" y="501"/>
                  </a:cubicBezTo>
                  <a:cubicBezTo>
                    <a:pt x="473" y="499"/>
                    <a:pt x="472" y="496"/>
                    <a:pt x="470" y="494"/>
                  </a:cubicBezTo>
                  <a:cubicBezTo>
                    <a:pt x="463" y="481"/>
                    <a:pt x="456" y="468"/>
                    <a:pt x="447" y="458"/>
                  </a:cubicBezTo>
                  <a:cubicBezTo>
                    <a:pt x="444" y="454"/>
                    <a:pt x="441" y="452"/>
                    <a:pt x="437" y="452"/>
                  </a:cubicBezTo>
                  <a:cubicBezTo>
                    <a:pt x="435" y="452"/>
                    <a:pt x="432" y="453"/>
                    <a:pt x="428" y="455"/>
                  </a:cubicBezTo>
                  <a:cubicBezTo>
                    <a:pt x="427" y="455"/>
                    <a:pt x="427" y="455"/>
                    <a:pt x="427" y="455"/>
                  </a:cubicBezTo>
                  <a:cubicBezTo>
                    <a:pt x="425" y="456"/>
                    <a:pt x="422" y="456"/>
                    <a:pt x="420" y="456"/>
                  </a:cubicBezTo>
                  <a:cubicBezTo>
                    <a:pt x="415" y="456"/>
                    <a:pt x="412" y="455"/>
                    <a:pt x="409" y="454"/>
                  </a:cubicBezTo>
                  <a:cubicBezTo>
                    <a:pt x="407" y="452"/>
                    <a:pt x="406" y="450"/>
                    <a:pt x="405" y="448"/>
                  </a:cubicBezTo>
                  <a:cubicBezTo>
                    <a:pt x="405" y="442"/>
                    <a:pt x="405" y="437"/>
                    <a:pt x="405" y="431"/>
                  </a:cubicBezTo>
                  <a:cubicBezTo>
                    <a:pt x="405" y="427"/>
                    <a:pt x="405" y="423"/>
                    <a:pt x="405" y="419"/>
                  </a:cubicBezTo>
                  <a:cubicBezTo>
                    <a:pt x="405" y="413"/>
                    <a:pt x="404" y="409"/>
                    <a:pt x="406" y="403"/>
                  </a:cubicBezTo>
                  <a:cubicBezTo>
                    <a:pt x="407" y="401"/>
                    <a:pt x="406" y="397"/>
                    <a:pt x="406" y="394"/>
                  </a:cubicBezTo>
                  <a:cubicBezTo>
                    <a:pt x="405" y="390"/>
                    <a:pt x="405" y="390"/>
                    <a:pt x="405" y="390"/>
                  </a:cubicBezTo>
                  <a:cubicBezTo>
                    <a:pt x="402" y="392"/>
                    <a:pt x="402" y="392"/>
                    <a:pt x="402" y="392"/>
                  </a:cubicBezTo>
                  <a:cubicBezTo>
                    <a:pt x="398" y="395"/>
                    <a:pt x="395" y="399"/>
                    <a:pt x="392" y="403"/>
                  </a:cubicBezTo>
                  <a:cubicBezTo>
                    <a:pt x="391" y="403"/>
                    <a:pt x="391" y="403"/>
                    <a:pt x="391" y="403"/>
                  </a:cubicBezTo>
                  <a:cubicBezTo>
                    <a:pt x="390" y="404"/>
                    <a:pt x="389" y="406"/>
                    <a:pt x="388" y="406"/>
                  </a:cubicBezTo>
                  <a:cubicBezTo>
                    <a:pt x="384" y="412"/>
                    <a:pt x="376" y="412"/>
                    <a:pt x="369" y="413"/>
                  </a:cubicBezTo>
                  <a:cubicBezTo>
                    <a:pt x="366" y="413"/>
                    <a:pt x="366" y="413"/>
                    <a:pt x="366" y="413"/>
                  </a:cubicBezTo>
                  <a:cubicBezTo>
                    <a:pt x="359" y="413"/>
                    <a:pt x="356" y="414"/>
                    <a:pt x="353" y="414"/>
                  </a:cubicBezTo>
                  <a:cubicBezTo>
                    <a:pt x="349" y="414"/>
                    <a:pt x="349" y="413"/>
                    <a:pt x="349" y="413"/>
                  </a:cubicBezTo>
                  <a:cubicBezTo>
                    <a:pt x="349" y="413"/>
                    <a:pt x="349" y="413"/>
                    <a:pt x="349" y="413"/>
                  </a:cubicBezTo>
                  <a:cubicBezTo>
                    <a:pt x="348" y="411"/>
                    <a:pt x="348" y="411"/>
                    <a:pt x="348" y="411"/>
                  </a:cubicBezTo>
                  <a:cubicBezTo>
                    <a:pt x="348" y="407"/>
                    <a:pt x="348" y="405"/>
                    <a:pt x="346" y="401"/>
                  </a:cubicBezTo>
                  <a:cubicBezTo>
                    <a:pt x="346" y="401"/>
                    <a:pt x="346" y="400"/>
                    <a:pt x="345" y="399"/>
                  </a:cubicBezTo>
                  <a:cubicBezTo>
                    <a:pt x="343" y="395"/>
                    <a:pt x="342" y="393"/>
                    <a:pt x="341" y="392"/>
                  </a:cubicBezTo>
                  <a:cubicBezTo>
                    <a:pt x="341" y="392"/>
                    <a:pt x="341" y="392"/>
                    <a:pt x="341" y="392"/>
                  </a:cubicBezTo>
                  <a:cubicBezTo>
                    <a:pt x="340" y="392"/>
                    <a:pt x="340" y="392"/>
                    <a:pt x="340" y="392"/>
                  </a:cubicBezTo>
                  <a:cubicBezTo>
                    <a:pt x="340" y="392"/>
                    <a:pt x="339" y="392"/>
                    <a:pt x="338" y="392"/>
                  </a:cubicBezTo>
                  <a:cubicBezTo>
                    <a:pt x="337" y="392"/>
                    <a:pt x="336" y="392"/>
                    <a:pt x="335" y="391"/>
                  </a:cubicBezTo>
                  <a:cubicBezTo>
                    <a:pt x="334" y="391"/>
                    <a:pt x="333" y="391"/>
                    <a:pt x="332" y="390"/>
                  </a:cubicBezTo>
                  <a:cubicBezTo>
                    <a:pt x="331" y="390"/>
                    <a:pt x="330" y="390"/>
                    <a:pt x="330" y="389"/>
                  </a:cubicBezTo>
                  <a:cubicBezTo>
                    <a:pt x="328" y="389"/>
                    <a:pt x="326" y="389"/>
                    <a:pt x="325" y="389"/>
                  </a:cubicBezTo>
                  <a:cubicBezTo>
                    <a:pt x="324" y="389"/>
                    <a:pt x="323" y="389"/>
                    <a:pt x="322" y="389"/>
                  </a:cubicBezTo>
                  <a:cubicBezTo>
                    <a:pt x="321" y="389"/>
                    <a:pt x="321" y="389"/>
                    <a:pt x="320" y="389"/>
                  </a:cubicBezTo>
                  <a:cubicBezTo>
                    <a:pt x="318" y="389"/>
                    <a:pt x="316" y="389"/>
                    <a:pt x="314" y="388"/>
                  </a:cubicBezTo>
                  <a:cubicBezTo>
                    <a:pt x="313" y="387"/>
                    <a:pt x="312" y="387"/>
                    <a:pt x="311" y="385"/>
                  </a:cubicBezTo>
                  <a:cubicBezTo>
                    <a:pt x="311" y="384"/>
                    <a:pt x="312" y="383"/>
                    <a:pt x="314" y="381"/>
                  </a:cubicBezTo>
                  <a:cubicBezTo>
                    <a:pt x="315" y="380"/>
                    <a:pt x="316" y="379"/>
                    <a:pt x="316" y="378"/>
                  </a:cubicBezTo>
                  <a:cubicBezTo>
                    <a:pt x="317" y="376"/>
                    <a:pt x="319" y="372"/>
                    <a:pt x="316" y="368"/>
                  </a:cubicBezTo>
                  <a:cubicBezTo>
                    <a:pt x="315" y="368"/>
                    <a:pt x="315" y="368"/>
                    <a:pt x="315" y="368"/>
                  </a:cubicBezTo>
                  <a:cubicBezTo>
                    <a:pt x="313" y="365"/>
                    <a:pt x="312" y="363"/>
                    <a:pt x="310" y="360"/>
                  </a:cubicBezTo>
                  <a:cubicBezTo>
                    <a:pt x="308" y="357"/>
                    <a:pt x="307" y="356"/>
                    <a:pt x="303" y="356"/>
                  </a:cubicBezTo>
                  <a:cubicBezTo>
                    <a:pt x="302" y="356"/>
                    <a:pt x="302" y="355"/>
                    <a:pt x="302" y="355"/>
                  </a:cubicBezTo>
                  <a:cubicBezTo>
                    <a:pt x="302" y="351"/>
                    <a:pt x="301" y="350"/>
                    <a:pt x="299" y="347"/>
                  </a:cubicBezTo>
                  <a:cubicBezTo>
                    <a:pt x="298" y="347"/>
                    <a:pt x="297" y="346"/>
                    <a:pt x="297" y="346"/>
                  </a:cubicBezTo>
                  <a:cubicBezTo>
                    <a:pt x="295" y="344"/>
                    <a:pt x="294" y="341"/>
                    <a:pt x="294" y="339"/>
                  </a:cubicBezTo>
                  <a:cubicBezTo>
                    <a:pt x="293" y="338"/>
                    <a:pt x="293" y="336"/>
                    <a:pt x="293" y="335"/>
                  </a:cubicBezTo>
                  <a:cubicBezTo>
                    <a:pt x="292" y="333"/>
                    <a:pt x="291" y="332"/>
                    <a:pt x="290" y="331"/>
                  </a:cubicBezTo>
                  <a:cubicBezTo>
                    <a:pt x="289" y="330"/>
                    <a:pt x="287" y="329"/>
                    <a:pt x="287" y="327"/>
                  </a:cubicBezTo>
                  <a:cubicBezTo>
                    <a:pt x="286" y="326"/>
                    <a:pt x="286" y="325"/>
                    <a:pt x="285" y="323"/>
                  </a:cubicBezTo>
                  <a:cubicBezTo>
                    <a:pt x="285" y="321"/>
                    <a:pt x="284" y="319"/>
                    <a:pt x="282" y="317"/>
                  </a:cubicBezTo>
                  <a:cubicBezTo>
                    <a:pt x="281" y="317"/>
                    <a:pt x="281" y="316"/>
                    <a:pt x="280" y="316"/>
                  </a:cubicBezTo>
                  <a:cubicBezTo>
                    <a:pt x="277" y="313"/>
                    <a:pt x="275" y="311"/>
                    <a:pt x="276" y="308"/>
                  </a:cubicBezTo>
                  <a:cubicBezTo>
                    <a:pt x="276" y="305"/>
                    <a:pt x="278" y="304"/>
                    <a:pt x="281" y="303"/>
                  </a:cubicBezTo>
                  <a:cubicBezTo>
                    <a:pt x="282" y="303"/>
                    <a:pt x="283" y="303"/>
                    <a:pt x="284" y="302"/>
                  </a:cubicBezTo>
                  <a:cubicBezTo>
                    <a:pt x="284" y="302"/>
                    <a:pt x="285" y="301"/>
                    <a:pt x="285" y="301"/>
                  </a:cubicBezTo>
                  <a:cubicBezTo>
                    <a:pt x="285" y="300"/>
                    <a:pt x="285" y="300"/>
                    <a:pt x="285" y="300"/>
                  </a:cubicBezTo>
                  <a:cubicBezTo>
                    <a:pt x="285" y="300"/>
                    <a:pt x="285" y="300"/>
                    <a:pt x="285" y="300"/>
                  </a:cubicBezTo>
                  <a:cubicBezTo>
                    <a:pt x="285" y="299"/>
                    <a:pt x="285" y="298"/>
                    <a:pt x="284" y="296"/>
                  </a:cubicBezTo>
                  <a:cubicBezTo>
                    <a:pt x="283" y="296"/>
                    <a:pt x="283" y="295"/>
                    <a:pt x="283" y="295"/>
                  </a:cubicBezTo>
                  <a:cubicBezTo>
                    <a:pt x="281" y="291"/>
                    <a:pt x="280" y="288"/>
                    <a:pt x="282" y="284"/>
                  </a:cubicBezTo>
                  <a:cubicBezTo>
                    <a:pt x="286" y="277"/>
                    <a:pt x="290" y="275"/>
                    <a:pt x="297" y="273"/>
                  </a:cubicBezTo>
                  <a:cubicBezTo>
                    <a:pt x="301" y="271"/>
                    <a:pt x="303" y="269"/>
                    <a:pt x="304" y="267"/>
                  </a:cubicBezTo>
                  <a:cubicBezTo>
                    <a:pt x="305" y="264"/>
                    <a:pt x="305" y="261"/>
                    <a:pt x="304" y="258"/>
                  </a:cubicBezTo>
                  <a:cubicBezTo>
                    <a:pt x="300" y="250"/>
                    <a:pt x="302" y="247"/>
                    <a:pt x="305" y="241"/>
                  </a:cubicBezTo>
                  <a:cubicBezTo>
                    <a:pt x="307" y="238"/>
                    <a:pt x="307" y="238"/>
                    <a:pt x="307" y="238"/>
                  </a:cubicBezTo>
                  <a:cubicBezTo>
                    <a:pt x="309" y="234"/>
                    <a:pt x="309" y="230"/>
                    <a:pt x="309" y="225"/>
                  </a:cubicBezTo>
                  <a:cubicBezTo>
                    <a:pt x="309" y="222"/>
                    <a:pt x="309" y="219"/>
                    <a:pt x="309" y="215"/>
                  </a:cubicBezTo>
                  <a:cubicBezTo>
                    <a:pt x="311" y="210"/>
                    <a:pt x="315" y="208"/>
                    <a:pt x="319" y="206"/>
                  </a:cubicBezTo>
                  <a:cubicBezTo>
                    <a:pt x="321" y="205"/>
                    <a:pt x="323" y="205"/>
                    <a:pt x="324" y="203"/>
                  </a:cubicBezTo>
                  <a:cubicBezTo>
                    <a:pt x="328" y="201"/>
                    <a:pt x="331" y="198"/>
                    <a:pt x="334" y="196"/>
                  </a:cubicBezTo>
                  <a:cubicBezTo>
                    <a:pt x="336" y="194"/>
                    <a:pt x="338" y="192"/>
                    <a:pt x="340" y="190"/>
                  </a:cubicBezTo>
                  <a:cubicBezTo>
                    <a:pt x="343" y="187"/>
                    <a:pt x="348" y="187"/>
                    <a:pt x="352" y="186"/>
                  </a:cubicBezTo>
                  <a:cubicBezTo>
                    <a:pt x="354" y="185"/>
                    <a:pt x="356" y="185"/>
                    <a:pt x="358" y="184"/>
                  </a:cubicBezTo>
                  <a:cubicBezTo>
                    <a:pt x="359" y="184"/>
                    <a:pt x="360" y="183"/>
                    <a:pt x="361" y="183"/>
                  </a:cubicBezTo>
                  <a:cubicBezTo>
                    <a:pt x="362" y="182"/>
                    <a:pt x="363" y="182"/>
                    <a:pt x="364" y="181"/>
                  </a:cubicBezTo>
                  <a:cubicBezTo>
                    <a:pt x="366" y="181"/>
                    <a:pt x="368" y="181"/>
                    <a:pt x="370" y="180"/>
                  </a:cubicBezTo>
                  <a:cubicBezTo>
                    <a:pt x="371" y="180"/>
                    <a:pt x="372" y="180"/>
                    <a:pt x="372" y="180"/>
                  </a:cubicBezTo>
                  <a:cubicBezTo>
                    <a:pt x="373" y="180"/>
                    <a:pt x="374" y="180"/>
                    <a:pt x="374" y="180"/>
                  </a:cubicBezTo>
                  <a:cubicBezTo>
                    <a:pt x="375" y="180"/>
                    <a:pt x="375" y="180"/>
                    <a:pt x="375" y="180"/>
                  </a:cubicBezTo>
                  <a:cubicBezTo>
                    <a:pt x="376" y="180"/>
                    <a:pt x="376" y="180"/>
                    <a:pt x="376" y="180"/>
                  </a:cubicBezTo>
                  <a:cubicBezTo>
                    <a:pt x="377" y="180"/>
                    <a:pt x="379" y="180"/>
                    <a:pt x="380" y="179"/>
                  </a:cubicBezTo>
                  <a:cubicBezTo>
                    <a:pt x="381" y="178"/>
                    <a:pt x="382" y="177"/>
                    <a:pt x="382" y="176"/>
                  </a:cubicBezTo>
                  <a:cubicBezTo>
                    <a:pt x="383" y="175"/>
                    <a:pt x="383" y="173"/>
                    <a:pt x="384" y="173"/>
                  </a:cubicBezTo>
                  <a:cubicBezTo>
                    <a:pt x="386" y="171"/>
                    <a:pt x="390" y="170"/>
                    <a:pt x="395" y="170"/>
                  </a:cubicBezTo>
                  <a:cubicBezTo>
                    <a:pt x="397" y="170"/>
                    <a:pt x="399" y="170"/>
                    <a:pt x="400" y="170"/>
                  </a:cubicBezTo>
                  <a:cubicBezTo>
                    <a:pt x="403" y="171"/>
                    <a:pt x="404" y="173"/>
                    <a:pt x="405" y="174"/>
                  </a:cubicBezTo>
                  <a:cubicBezTo>
                    <a:pt x="406" y="175"/>
                    <a:pt x="406" y="176"/>
                    <a:pt x="407" y="177"/>
                  </a:cubicBezTo>
                  <a:cubicBezTo>
                    <a:pt x="408" y="178"/>
                    <a:pt x="410" y="179"/>
                    <a:pt x="412" y="179"/>
                  </a:cubicBezTo>
                  <a:cubicBezTo>
                    <a:pt x="412" y="179"/>
                    <a:pt x="413" y="179"/>
                    <a:pt x="413" y="179"/>
                  </a:cubicBezTo>
                  <a:cubicBezTo>
                    <a:pt x="415" y="178"/>
                    <a:pt x="416" y="175"/>
                    <a:pt x="414" y="172"/>
                  </a:cubicBezTo>
                  <a:cubicBezTo>
                    <a:pt x="413" y="169"/>
                    <a:pt x="410" y="166"/>
                    <a:pt x="408" y="164"/>
                  </a:cubicBezTo>
                  <a:cubicBezTo>
                    <a:pt x="408" y="163"/>
                    <a:pt x="407" y="162"/>
                    <a:pt x="407" y="162"/>
                  </a:cubicBezTo>
                  <a:cubicBezTo>
                    <a:pt x="405" y="160"/>
                    <a:pt x="404" y="158"/>
                    <a:pt x="403" y="157"/>
                  </a:cubicBezTo>
                  <a:cubicBezTo>
                    <a:pt x="401" y="155"/>
                    <a:pt x="401" y="155"/>
                    <a:pt x="401" y="155"/>
                  </a:cubicBezTo>
                  <a:cubicBezTo>
                    <a:pt x="399" y="157"/>
                    <a:pt x="399" y="157"/>
                    <a:pt x="399" y="157"/>
                  </a:cubicBezTo>
                  <a:cubicBezTo>
                    <a:pt x="399" y="158"/>
                    <a:pt x="398" y="159"/>
                    <a:pt x="397" y="160"/>
                  </a:cubicBezTo>
                  <a:cubicBezTo>
                    <a:pt x="396" y="160"/>
                    <a:pt x="396" y="160"/>
                    <a:pt x="395" y="160"/>
                  </a:cubicBezTo>
                  <a:cubicBezTo>
                    <a:pt x="394" y="160"/>
                    <a:pt x="393" y="160"/>
                    <a:pt x="392" y="159"/>
                  </a:cubicBezTo>
                  <a:cubicBezTo>
                    <a:pt x="390" y="158"/>
                    <a:pt x="389" y="156"/>
                    <a:pt x="389" y="154"/>
                  </a:cubicBezTo>
                  <a:cubicBezTo>
                    <a:pt x="389" y="153"/>
                    <a:pt x="391" y="149"/>
                    <a:pt x="393" y="144"/>
                  </a:cubicBezTo>
                  <a:cubicBezTo>
                    <a:pt x="394" y="142"/>
                    <a:pt x="396" y="140"/>
                    <a:pt x="397" y="138"/>
                  </a:cubicBezTo>
                  <a:cubicBezTo>
                    <a:pt x="400" y="132"/>
                    <a:pt x="404" y="126"/>
                    <a:pt x="407" y="119"/>
                  </a:cubicBezTo>
                  <a:cubicBezTo>
                    <a:pt x="407" y="119"/>
                    <a:pt x="407" y="118"/>
                    <a:pt x="408" y="117"/>
                  </a:cubicBezTo>
                  <a:cubicBezTo>
                    <a:pt x="409" y="114"/>
                    <a:pt x="411" y="112"/>
                    <a:pt x="409" y="110"/>
                  </a:cubicBezTo>
                  <a:cubicBezTo>
                    <a:pt x="408" y="108"/>
                    <a:pt x="405" y="107"/>
                    <a:pt x="400" y="104"/>
                  </a:cubicBezTo>
                  <a:cubicBezTo>
                    <a:pt x="398" y="103"/>
                    <a:pt x="398" y="103"/>
                    <a:pt x="398" y="103"/>
                  </a:cubicBezTo>
                  <a:cubicBezTo>
                    <a:pt x="396" y="102"/>
                    <a:pt x="394" y="100"/>
                    <a:pt x="392" y="98"/>
                  </a:cubicBezTo>
                  <a:cubicBezTo>
                    <a:pt x="390" y="97"/>
                    <a:pt x="388" y="95"/>
                    <a:pt x="386" y="94"/>
                  </a:cubicBezTo>
                  <a:cubicBezTo>
                    <a:pt x="385" y="93"/>
                    <a:pt x="381" y="92"/>
                    <a:pt x="380" y="91"/>
                  </a:cubicBezTo>
                  <a:cubicBezTo>
                    <a:pt x="379" y="91"/>
                    <a:pt x="379" y="91"/>
                    <a:pt x="379" y="91"/>
                  </a:cubicBezTo>
                  <a:cubicBezTo>
                    <a:pt x="378" y="91"/>
                    <a:pt x="377" y="92"/>
                    <a:pt x="376" y="93"/>
                  </a:cubicBezTo>
                  <a:cubicBezTo>
                    <a:pt x="375" y="94"/>
                    <a:pt x="375" y="95"/>
                    <a:pt x="373" y="96"/>
                  </a:cubicBezTo>
                  <a:cubicBezTo>
                    <a:pt x="372" y="97"/>
                    <a:pt x="371" y="97"/>
                    <a:pt x="370" y="97"/>
                  </a:cubicBezTo>
                  <a:cubicBezTo>
                    <a:pt x="370" y="97"/>
                    <a:pt x="369" y="97"/>
                    <a:pt x="368" y="96"/>
                  </a:cubicBezTo>
                  <a:cubicBezTo>
                    <a:pt x="367" y="96"/>
                    <a:pt x="367" y="96"/>
                    <a:pt x="366" y="96"/>
                  </a:cubicBezTo>
                  <a:cubicBezTo>
                    <a:pt x="366" y="96"/>
                    <a:pt x="365" y="96"/>
                    <a:pt x="364" y="96"/>
                  </a:cubicBezTo>
                  <a:cubicBezTo>
                    <a:pt x="363" y="96"/>
                    <a:pt x="362" y="96"/>
                    <a:pt x="361" y="95"/>
                  </a:cubicBezTo>
                  <a:cubicBezTo>
                    <a:pt x="361" y="95"/>
                    <a:pt x="361" y="94"/>
                    <a:pt x="360" y="94"/>
                  </a:cubicBezTo>
                  <a:cubicBezTo>
                    <a:pt x="360" y="93"/>
                    <a:pt x="360" y="93"/>
                    <a:pt x="360" y="93"/>
                  </a:cubicBezTo>
                  <a:cubicBezTo>
                    <a:pt x="359" y="93"/>
                    <a:pt x="359" y="93"/>
                    <a:pt x="359" y="93"/>
                  </a:cubicBezTo>
                  <a:cubicBezTo>
                    <a:pt x="357" y="91"/>
                    <a:pt x="355" y="90"/>
                    <a:pt x="353" y="90"/>
                  </a:cubicBezTo>
                  <a:cubicBezTo>
                    <a:pt x="352" y="90"/>
                    <a:pt x="350" y="91"/>
                    <a:pt x="348" y="92"/>
                  </a:cubicBezTo>
                  <a:cubicBezTo>
                    <a:pt x="347" y="92"/>
                    <a:pt x="347" y="92"/>
                    <a:pt x="347" y="92"/>
                  </a:cubicBezTo>
                  <a:cubicBezTo>
                    <a:pt x="347" y="93"/>
                    <a:pt x="347" y="93"/>
                    <a:pt x="347" y="93"/>
                  </a:cubicBezTo>
                  <a:cubicBezTo>
                    <a:pt x="346" y="96"/>
                    <a:pt x="343" y="97"/>
                    <a:pt x="340" y="99"/>
                  </a:cubicBezTo>
                  <a:cubicBezTo>
                    <a:pt x="339" y="99"/>
                    <a:pt x="338" y="99"/>
                    <a:pt x="338" y="100"/>
                  </a:cubicBezTo>
                  <a:cubicBezTo>
                    <a:pt x="335" y="101"/>
                    <a:pt x="334" y="101"/>
                    <a:pt x="333" y="101"/>
                  </a:cubicBezTo>
                  <a:cubicBezTo>
                    <a:pt x="332" y="101"/>
                    <a:pt x="331" y="101"/>
                    <a:pt x="330" y="101"/>
                  </a:cubicBezTo>
                  <a:cubicBezTo>
                    <a:pt x="329" y="100"/>
                    <a:pt x="328" y="100"/>
                    <a:pt x="326" y="100"/>
                  </a:cubicBezTo>
                  <a:cubicBezTo>
                    <a:pt x="326" y="100"/>
                    <a:pt x="325" y="100"/>
                    <a:pt x="325" y="100"/>
                  </a:cubicBezTo>
                  <a:cubicBezTo>
                    <a:pt x="324" y="100"/>
                    <a:pt x="322" y="100"/>
                    <a:pt x="321" y="101"/>
                  </a:cubicBezTo>
                  <a:cubicBezTo>
                    <a:pt x="319" y="101"/>
                    <a:pt x="317" y="102"/>
                    <a:pt x="315" y="102"/>
                  </a:cubicBezTo>
                  <a:cubicBezTo>
                    <a:pt x="315" y="102"/>
                    <a:pt x="315" y="102"/>
                    <a:pt x="315" y="102"/>
                  </a:cubicBezTo>
                  <a:cubicBezTo>
                    <a:pt x="310" y="102"/>
                    <a:pt x="303" y="101"/>
                    <a:pt x="301" y="97"/>
                  </a:cubicBezTo>
                  <a:cubicBezTo>
                    <a:pt x="299" y="96"/>
                    <a:pt x="299" y="93"/>
                    <a:pt x="299" y="91"/>
                  </a:cubicBezTo>
                  <a:cubicBezTo>
                    <a:pt x="299" y="90"/>
                    <a:pt x="300" y="89"/>
                    <a:pt x="300" y="89"/>
                  </a:cubicBezTo>
                  <a:cubicBezTo>
                    <a:pt x="301" y="83"/>
                    <a:pt x="302" y="77"/>
                    <a:pt x="297" y="75"/>
                  </a:cubicBezTo>
                  <a:cubicBezTo>
                    <a:pt x="296" y="75"/>
                    <a:pt x="296" y="75"/>
                    <a:pt x="295" y="75"/>
                  </a:cubicBezTo>
                  <a:cubicBezTo>
                    <a:pt x="294" y="75"/>
                    <a:pt x="293" y="75"/>
                    <a:pt x="293" y="75"/>
                  </a:cubicBezTo>
                  <a:cubicBezTo>
                    <a:pt x="292" y="75"/>
                    <a:pt x="291" y="76"/>
                    <a:pt x="290" y="76"/>
                  </a:cubicBezTo>
                  <a:cubicBezTo>
                    <a:pt x="290" y="76"/>
                    <a:pt x="288" y="75"/>
                    <a:pt x="287" y="73"/>
                  </a:cubicBezTo>
                  <a:cubicBezTo>
                    <a:pt x="286" y="71"/>
                    <a:pt x="286" y="69"/>
                    <a:pt x="286" y="67"/>
                  </a:cubicBezTo>
                  <a:cubicBezTo>
                    <a:pt x="286" y="65"/>
                    <a:pt x="286" y="64"/>
                    <a:pt x="285" y="62"/>
                  </a:cubicBezTo>
                  <a:cubicBezTo>
                    <a:pt x="284" y="59"/>
                    <a:pt x="283" y="57"/>
                    <a:pt x="280" y="54"/>
                  </a:cubicBezTo>
                  <a:cubicBezTo>
                    <a:pt x="279" y="53"/>
                    <a:pt x="277" y="52"/>
                    <a:pt x="275" y="51"/>
                  </a:cubicBezTo>
                  <a:cubicBezTo>
                    <a:pt x="274" y="51"/>
                    <a:pt x="273" y="50"/>
                    <a:pt x="272" y="50"/>
                  </a:cubicBezTo>
                  <a:cubicBezTo>
                    <a:pt x="271" y="49"/>
                    <a:pt x="270" y="48"/>
                    <a:pt x="269" y="47"/>
                  </a:cubicBezTo>
                  <a:cubicBezTo>
                    <a:pt x="268" y="45"/>
                    <a:pt x="267" y="44"/>
                    <a:pt x="266" y="44"/>
                  </a:cubicBezTo>
                  <a:cubicBezTo>
                    <a:pt x="265" y="43"/>
                    <a:pt x="264" y="43"/>
                    <a:pt x="262" y="43"/>
                  </a:cubicBezTo>
                  <a:cubicBezTo>
                    <a:pt x="259" y="42"/>
                    <a:pt x="257" y="41"/>
                    <a:pt x="256" y="39"/>
                  </a:cubicBezTo>
                  <a:cubicBezTo>
                    <a:pt x="256" y="38"/>
                    <a:pt x="256" y="37"/>
                    <a:pt x="256" y="36"/>
                  </a:cubicBezTo>
                  <a:cubicBezTo>
                    <a:pt x="256" y="35"/>
                    <a:pt x="256" y="34"/>
                    <a:pt x="256" y="34"/>
                  </a:cubicBezTo>
                  <a:cubicBezTo>
                    <a:pt x="256" y="33"/>
                    <a:pt x="256" y="33"/>
                    <a:pt x="256" y="33"/>
                  </a:cubicBezTo>
                  <a:cubicBezTo>
                    <a:pt x="256" y="33"/>
                    <a:pt x="256" y="33"/>
                    <a:pt x="256" y="33"/>
                  </a:cubicBezTo>
                  <a:cubicBezTo>
                    <a:pt x="255" y="32"/>
                    <a:pt x="255" y="32"/>
                    <a:pt x="255" y="32"/>
                  </a:cubicBezTo>
                  <a:cubicBezTo>
                    <a:pt x="255" y="32"/>
                    <a:pt x="254" y="31"/>
                    <a:pt x="254" y="31"/>
                  </a:cubicBezTo>
                  <a:cubicBezTo>
                    <a:pt x="254" y="30"/>
                    <a:pt x="254" y="30"/>
                    <a:pt x="254" y="30"/>
                  </a:cubicBezTo>
                  <a:cubicBezTo>
                    <a:pt x="253" y="29"/>
                    <a:pt x="253" y="29"/>
                    <a:pt x="253" y="29"/>
                  </a:cubicBezTo>
                  <a:cubicBezTo>
                    <a:pt x="252" y="28"/>
                    <a:pt x="251" y="25"/>
                    <a:pt x="250" y="23"/>
                  </a:cubicBezTo>
                  <a:cubicBezTo>
                    <a:pt x="250" y="21"/>
                    <a:pt x="249" y="20"/>
                    <a:pt x="249" y="19"/>
                  </a:cubicBezTo>
                  <a:cubicBezTo>
                    <a:pt x="248" y="17"/>
                    <a:pt x="246" y="15"/>
                    <a:pt x="243" y="14"/>
                  </a:cubicBezTo>
                  <a:cubicBezTo>
                    <a:pt x="242" y="13"/>
                    <a:pt x="241" y="13"/>
                    <a:pt x="240" y="12"/>
                  </a:cubicBezTo>
                  <a:cubicBezTo>
                    <a:pt x="239" y="10"/>
                    <a:pt x="239" y="10"/>
                    <a:pt x="239" y="10"/>
                  </a:cubicBezTo>
                  <a:cubicBezTo>
                    <a:pt x="238" y="9"/>
                    <a:pt x="237" y="9"/>
                    <a:pt x="236" y="8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234" y="8"/>
                    <a:pt x="234" y="8"/>
                    <a:pt x="234" y="8"/>
                  </a:cubicBezTo>
                  <a:cubicBezTo>
                    <a:pt x="233" y="8"/>
                    <a:pt x="233" y="8"/>
                    <a:pt x="232" y="7"/>
                  </a:cubicBezTo>
                  <a:cubicBezTo>
                    <a:pt x="232" y="7"/>
                    <a:pt x="232" y="6"/>
                    <a:pt x="231" y="6"/>
                  </a:cubicBezTo>
                  <a:cubicBezTo>
                    <a:pt x="231" y="5"/>
                    <a:pt x="231" y="5"/>
                    <a:pt x="231" y="5"/>
                  </a:cubicBezTo>
                  <a:cubicBezTo>
                    <a:pt x="231" y="5"/>
                    <a:pt x="231" y="5"/>
                    <a:pt x="231" y="5"/>
                  </a:cubicBezTo>
                  <a:cubicBezTo>
                    <a:pt x="228" y="4"/>
                    <a:pt x="226" y="3"/>
                    <a:pt x="222" y="3"/>
                  </a:cubicBezTo>
                  <a:cubicBezTo>
                    <a:pt x="222" y="3"/>
                    <a:pt x="221" y="3"/>
                    <a:pt x="221" y="3"/>
                  </a:cubicBezTo>
                  <a:cubicBezTo>
                    <a:pt x="220" y="3"/>
                    <a:pt x="220" y="3"/>
                    <a:pt x="220" y="3"/>
                  </a:cubicBezTo>
                  <a:cubicBezTo>
                    <a:pt x="219" y="4"/>
                    <a:pt x="219" y="4"/>
                    <a:pt x="219" y="4"/>
                  </a:cubicBezTo>
                  <a:cubicBezTo>
                    <a:pt x="219" y="4"/>
                    <a:pt x="219" y="4"/>
                    <a:pt x="218" y="4"/>
                  </a:cubicBezTo>
                  <a:cubicBezTo>
                    <a:pt x="218" y="4"/>
                    <a:pt x="218" y="4"/>
                    <a:pt x="218" y="4"/>
                  </a:cubicBezTo>
                  <a:cubicBezTo>
                    <a:pt x="217" y="4"/>
                    <a:pt x="215" y="3"/>
                    <a:pt x="214" y="2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10" y="2"/>
                    <a:pt x="210" y="2"/>
                    <a:pt x="210" y="2"/>
                  </a:cubicBezTo>
                  <a:cubicBezTo>
                    <a:pt x="210" y="3"/>
                    <a:pt x="210" y="3"/>
                    <a:pt x="210" y="4"/>
                  </a:cubicBezTo>
                  <a:cubicBezTo>
                    <a:pt x="209" y="7"/>
                    <a:pt x="212" y="10"/>
                    <a:pt x="215" y="15"/>
                  </a:cubicBezTo>
                  <a:cubicBezTo>
                    <a:pt x="218" y="18"/>
                    <a:pt x="220" y="21"/>
                    <a:pt x="220" y="24"/>
                  </a:cubicBezTo>
                  <a:cubicBezTo>
                    <a:pt x="221" y="25"/>
                    <a:pt x="221" y="25"/>
                    <a:pt x="221" y="25"/>
                  </a:cubicBezTo>
                  <a:cubicBezTo>
                    <a:pt x="221" y="30"/>
                    <a:pt x="222" y="36"/>
                    <a:pt x="219" y="39"/>
                  </a:cubicBezTo>
                  <a:cubicBezTo>
                    <a:pt x="218" y="39"/>
                    <a:pt x="218" y="40"/>
                    <a:pt x="217" y="40"/>
                  </a:cubicBezTo>
                  <a:cubicBezTo>
                    <a:pt x="216" y="41"/>
                    <a:pt x="215" y="41"/>
                    <a:pt x="215" y="42"/>
                  </a:cubicBezTo>
                  <a:cubicBezTo>
                    <a:pt x="214" y="43"/>
                    <a:pt x="214" y="45"/>
                    <a:pt x="214" y="47"/>
                  </a:cubicBezTo>
                  <a:cubicBezTo>
                    <a:pt x="214" y="47"/>
                    <a:pt x="214" y="48"/>
                    <a:pt x="214" y="49"/>
                  </a:cubicBezTo>
                  <a:cubicBezTo>
                    <a:pt x="213" y="56"/>
                    <a:pt x="209" y="61"/>
                    <a:pt x="206" y="67"/>
                  </a:cubicBezTo>
                  <a:cubicBezTo>
                    <a:pt x="204" y="69"/>
                    <a:pt x="203" y="71"/>
                    <a:pt x="202" y="73"/>
                  </a:cubicBezTo>
                  <a:cubicBezTo>
                    <a:pt x="199" y="78"/>
                    <a:pt x="195" y="83"/>
                    <a:pt x="191" y="87"/>
                  </a:cubicBezTo>
                  <a:cubicBezTo>
                    <a:pt x="184" y="94"/>
                    <a:pt x="175" y="100"/>
                    <a:pt x="167" y="105"/>
                  </a:cubicBezTo>
                  <a:cubicBezTo>
                    <a:pt x="164" y="107"/>
                    <a:pt x="164" y="107"/>
                    <a:pt x="164" y="107"/>
                  </a:cubicBezTo>
                  <a:cubicBezTo>
                    <a:pt x="161" y="109"/>
                    <a:pt x="158" y="111"/>
                    <a:pt x="155" y="112"/>
                  </a:cubicBezTo>
                  <a:cubicBezTo>
                    <a:pt x="152" y="114"/>
                    <a:pt x="150" y="114"/>
                    <a:pt x="147" y="115"/>
                  </a:cubicBezTo>
                  <a:cubicBezTo>
                    <a:pt x="145" y="116"/>
                    <a:pt x="144" y="116"/>
                    <a:pt x="142" y="117"/>
                  </a:cubicBezTo>
                  <a:cubicBezTo>
                    <a:pt x="140" y="118"/>
                    <a:pt x="139" y="118"/>
                    <a:pt x="137" y="119"/>
                  </a:cubicBezTo>
                  <a:cubicBezTo>
                    <a:pt x="134" y="119"/>
                    <a:pt x="130" y="120"/>
                    <a:pt x="128" y="122"/>
                  </a:cubicBezTo>
                  <a:cubicBezTo>
                    <a:pt x="124" y="125"/>
                    <a:pt x="120" y="131"/>
                    <a:pt x="118" y="135"/>
                  </a:cubicBezTo>
                  <a:cubicBezTo>
                    <a:pt x="118" y="136"/>
                    <a:pt x="118" y="136"/>
                    <a:pt x="118" y="138"/>
                  </a:cubicBezTo>
                  <a:cubicBezTo>
                    <a:pt x="118" y="140"/>
                    <a:pt x="118" y="142"/>
                    <a:pt x="117" y="143"/>
                  </a:cubicBezTo>
                  <a:cubicBezTo>
                    <a:pt x="116" y="143"/>
                    <a:pt x="116" y="143"/>
                    <a:pt x="115" y="143"/>
                  </a:cubicBezTo>
                  <a:cubicBezTo>
                    <a:pt x="115" y="143"/>
                    <a:pt x="114" y="143"/>
                    <a:pt x="113" y="143"/>
                  </a:cubicBezTo>
                  <a:cubicBezTo>
                    <a:pt x="113" y="143"/>
                    <a:pt x="112" y="142"/>
                    <a:pt x="112" y="142"/>
                  </a:cubicBezTo>
                  <a:cubicBezTo>
                    <a:pt x="111" y="142"/>
                    <a:pt x="111" y="142"/>
                    <a:pt x="111" y="142"/>
                  </a:cubicBezTo>
                  <a:cubicBezTo>
                    <a:pt x="111" y="143"/>
                    <a:pt x="111" y="143"/>
                    <a:pt x="111" y="143"/>
                  </a:cubicBezTo>
                  <a:cubicBezTo>
                    <a:pt x="109" y="143"/>
                    <a:pt x="108" y="146"/>
                    <a:pt x="108" y="152"/>
                  </a:cubicBezTo>
                  <a:cubicBezTo>
                    <a:pt x="108" y="153"/>
                    <a:pt x="107" y="155"/>
                    <a:pt x="107" y="156"/>
                  </a:cubicBezTo>
                  <a:cubicBezTo>
                    <a:pt x="107" y="158"/>
                    <a:pt x="106" y="161"/>
                    <a:pt x="105" y="164"/>
                  </a:cubicBezTo>
                  <a:cubicBezTo>
                    <a:pt x="104" y="166"/>
                    <a:pt x="103" y="168"/>
                    <a:pt x="103" y="170"/>
                  </a:cubicBezTo>
                  <a:cubicBezTo>
                    <a:pt x="102" y="173"/>
                    <a:pt x="101" y="177"/>
                    <a:pt x="101" y="180"/>
                  </a:cubicBezTo>
                  <a:cubicBezTo>
                    <a:pt x="101" y="181"/>
                    <a:pt x="101" y="183"/>
                    <a:pt x="100" y="184"/>
                  </a:cubicBezTo>
                  <a:cubicBezTo>
                    <a:pt x="100" y="188"/>
                    <a:pt x="100" y="189"/>
                    <a:pt x="97" y="190"/>
                  </a:cubicBezTo>
                  <a:cubicBezTo>
                    <a:pt x="94" y="192"/>
                    <a:pt x="93" y="192"/>
                    <a:pt x="93" y="195"/>
                  </a:cubicBezTo>
                  <a:cubicBezTo>
                    <a:pt x="92" y="200"/>
                    <a:pt x="90" y="206"/>
                    <a:pt x="85" y="206"/>
                  </a:cubicBezTo>
                  <a:cubicBezTo>
                    <a:pt x="77" y="206"/>
                    <a:pt x="74" y="200"/>
                    <a:pt x="71" y="194"/>
                  </a:cubicBezTo>
                  <a:cubicBezTo>
                    <a:pt x="71" y="192"/>
                    <a:pt x="70" y="190"/>
                    <a:pt x="68" y="188"/>
                  </a:cubicBezTo>
                  <a:cubicBezTo>
                    <a:pt x="67" y="185"/>
                    <a:pt x="65" y="183"/>
                    <a:pt x="64" y="183"/>
                  </a:cubicBezTo>
                  <a:cubicBezTo>
                    <a:pt x="63" y="181"/>
                    <a:pt x="63" y="181"/>
                    <a:pt x="63" y="181"/>
                  </a:cubicBezTo>
                  <a:cubicBezTo>
                    <a:pt x="61" y="183"/>
                    <a:pt x="61" y="183"/>
                    <a:pt x="61" y="183"/>
                  </a:cubicBezTo>
                  <a:cubicBezTo>
                    <a:pt x="60" y="183"/>
                    <a:pt x="60" y="184"/>
                    <a:pt x="59" y="184"/>
                  </a:cubicBezTo>
                  <a:cubicBezTo>
                    <a:pt x="58" y="184"/>
                    <a:pt x="57" y="183"/>
                    <a:pt x="56" y="182"/>
                  </a:cubicBezTo>
                  <a:cubicBezTo>
                    <a:pt x="55" y="182"/>
                    <a:pt x="55" y="182"/>
                    <a:pt x="55" y="182"/>
                  </a:cubicBezTo>
                  <a:cubicBezTo>
                    <a:pt x="54" y="181"/>
                    <a:pt x="53" y="180"/>
                    <a:pt x="51" y="179"/>
                  </a:cubicBezTo>
                  <a:cubicBezTo>
                    <a:pt x="50" y="178"/>
                    <a:pt x="49" y="177"/>
                    <a:pt x="48" y="177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46" y="177"/>
                    <a:pt x="46" y="177"/>
                    <a:pt x="46" y="177"/>
                  </a:cubicBezTo>
                  <a:cubicBezTo>
                    <a:pt x="45" y="177"/>
                    <a:pt x="45" y="177"/>
                    <a:pt x="41" y="181"/>
                  </a:cubicBezTo>
                  <a:cubicBezTo>
                    <a:pt x="39" y="183"/>
                    <a:pt x="38" y="184"/>
                    <a:pt x="36" y="184"/>
                  </a:cubicBezTo>
                  <a:cubicBezTo>
                    <a:pt x="35" y="184"/>
                    <a:pt x="35" y="184"/>
                    <a:pt x="34" y="183"/>
                  </a:cubicBezTo>
                  <a:cubicBezTo>
                    <a:pt x="32" y="181"/>
                    <a:pt x="33" y="179"/>
                    <a:pt x="35" y="176"/>
                  </a:cubicBezTo>
                  <a:cubicBezTo>
                    <a:pt x="35" y="176"/>
                    <a:pt x="35" y="175"/>
                    <a:pt x="35" y="175"/>
                  </a:cubicBezTo>
                  <a:cubicBezTo>
                    <a:pt x="37" y="173"/>
                    <a:pt x="37" y="173"/>
                    <a:pt x="37" y="173"/>
                  </a:cubicBezTo>
                  <a:cubicBezTo>
                    <a:pt x="34" y="171"/>
                    <a:pt x="34" y="171"/>
                    <a:pt x="34" y="171"/>
                  </a:cubicBezTo>
                  <a:cubicBezTo>
                    <a:pt x="30" y="169"/>
                    <a:pt x="30" y="166"/>
                    <a:pt x="31" y="164"/>
                  </a:cubicBezTo>
                  <a:cubicBezTo>
                    <a:pt x="31" y="163"/>
                    <a:pt x="31" y="163"/>
                    <a:pt x="32" y="163"/>
                  </a:cubicBezTo>
                  <a:cubicBezTo>
                    <a:pt x="33" y="163"/>
                    <a:pt x="34" y="163"/>
                    <a:pt x="36" y="162"/>
                  </a:cubicBezTo>
                  <a:cubicBezTo>
                    <a:pt x="38" y="162"/>
                    <a:pt x="40" y="162"/>
                    <a:pt x="41" y="161"/>
                  </a:cubicBezTo>
                  <a:cubicBezTo>
                    <a:pt x="44" y="160"/>
                    <a:pt x="43" y="158"/>
                    <a:pt x="42" y="155"/>
                  </a:cubicBezTo>
                  <a:cubicBezTo>
                    <a:pt x="42" y="155"/>
                    <a:pt x="41" y="154"/>
                    <a:pt x="41" y="153"/>
                  </a:cubicBezTo>
                  <a:cubicBezTo>
                    <a:pt x="41" y="151"/>
                    <a:pt x="41" y="150"/>
                    <a:pt x="41" y="148"/>
                  </a:cubicBezTo>
                  <a:cubicBezTo>
                    <a:pt x="41" y="146"/>
                    <a:pt x="41" y="144"/>
                    <a:pt x="40" y="143"/>
                  </a:cubicBezTo>
                  <a:cubicBezTo>
                    <a:pt x="40" y="141"/>
                    <a:pt x="39" y="140"/>
                    <a:pt x="39" y="139"/>
                  </a:cubicBezTo>
                  <a:cubicBezTo>
                    <a:pt x="37" y="137"/>
                    <a:pt x="37" y="137"/>
                    <a:pt x="37" y="137"/>
                  </a:cubicBezTo>
                  <a:cubicBezTo>
                    <a:pt x="34" y="140"/>
                    <a:pt x="34" y="140"/>
                    <a:pt x="34" y="140"/>
                  </a:cubicBezTo>
                  <a:cubicBezTo>
                    <a:pt x="33" y="141"/>
                    <a:pt x="32" y="142"/>
                    <a:pt x="31" y="143"/>
                  </a:cubicBezTo>
                  <a:cubicBezTo>
                    <a:pt x="29" y="145"/>
                    <a:pt x="28" y="145"/>
                    <a:pt x="26" y="146"/>
                  </a:cubicBezTo>
                  <a:cubicBezTo>
                    <a:pt x="24" y="148"/>
                    <a:pt x="21" y="149"/>
                    <a:pt x="19" y="152"/>
                  </a:cubicBezTo>
                  <a:cubicBezTo>
                    <a:pt x="17" y="154"/>
                    <a:pt x="16" y="156"/>
                    <a:pt x="15" y="158"/>
                  </a:cubicBezTo>
                  <a:cubicBezTo>
                    <a:pt x="14" y="160"/>
                    <a:pt x="12" y="162"/>
                    <a:pt x="11" y="164"/>
                  </a:cubicBezTo>
                  <a:cubicBezTo>
                    <a:pt x="10" y="166"/>
                    <a:pt x="9" y="167"/>
                    <a:pt x="7" y="168"/>
                  </a:cubicBezTo>
                  <a:cubicBezTo>
                    <a:pt x="6" y="170"/>
                    <a:pt x="4" y="171"/>
                    <a:pt x="3" y="174"/>
                  </a:cubicBezTo>
                  <a:cubicBezTo>
                    <a:pt x="0" y="178"/>
                    <a:pt x="0" y="183"/>
                    <a:pt x="0" y="188"/>
                  </a:cubicBezTo>
                  <a:cubicBezTo>
                    <a:pt x="0" y="194"/>
                    <a:pt x="3" y="197"/>
                    <a:pt x="7" y="201"/>
                  </a:cubicBezTo>
                  <a:cubicBezTo>
                    <a:pt x="7" y="201"/>
                    <a:pt x="7" y="201"/>
                    <a:pt x="7" y="201"/>
                  </a:cubicBezTo>
                  <a:cubicBezTo>
                    <a:pt x="9" y="203"/>
                    <a:pt x="9" y="203"/>
                    <a:pt x="8" y="205"/>
                  </a:cubicBezTo>
                  <a:cubicBezTo>
                    <a:pt x="7" y="206"/>
                    <a:pt x="6" y="208"/>
                    <a:pt x="7" y="211"/>
                  </a:cubicBezTo>
                  <a:cubicBezTo>
                    <a:pt x="7" y="214"/>
                    <a:pt x="9" y="218"/>
                    <a:pt x="12" y="221"/>
                  </a:cubicBezTo>
                  <a:cubicBezTo>
                    <a:pt x="12" y="221"/>
                    <a:pt x="13" y="222"/>
                    <a:pt x="13" y="223"/>
                  </a:cubicBezTo>
                  <a:cubicBezTo>
                    <a:pt x="14" y="224"/>
                    <a:pt x="15" y="225"/>
                    <a:pt x="16" y="226"/>
                  </a:cubicBezTo>
                  <a:cubicBezTo>
                    <a:pt x="18" y="228"/>
                    <a:pt x="19" y="231"/>
                    <a:pt x="20" y="233"/>
                  </a:cubicBezTo>
                  <a:cubicBezTo>
                    <a:pt x="20" y="235"/>
                    <a:pt x="19" y="237"/>
                    <a:pt x="18" y="237"/>
                  </a:cubicBezTo>
                  <a:cubicBezTo>
                    <a:pt x="18" y="237"/>
                    <a:pt x="18" y="238"/>
                    <a:pt x="18" y="238"/>
                  </a:cubicBezTo>
                  <a:cubicBezTo>
                    <a:pt x="17" y="238"/>
                    <a:pt x="17" y="238"/>
                    <a:pt x="17" y="237"/>
                  </a:cubicBezTo>
                  <a:cubicBezTo>
                    <a:pt x="17" y="237"/>
                    <a:pt x="16" y="237"/>
                    <a:pt x="14" y="237"/>
                  </a:cubicBezTo>
                  <a:cubicBezTo>
                    <a:pt x="14" y="237"/>
                    <a:pt x="14" y="237"/>
                    <a:pt x="14" y="237"/>
                  </a:cubicBezTo>
                  <a:cubicBezTo>
                    <a:pt x="11" y="237"/>
                    <a:pt x="9" y="238"/>
                    <a:pt x="9" y="241"/>
                  </a:cubicBezTo>
                  <a:cubicBezTo>
                    <a:pt x="8" y="244"/>
                    <a:pt x="9" y="248"/>
                    <a:pt x="12" y="251"/>
                  </a:cubicBezTo>
                  <a:cubicBezTo>
                    <a:pt x="16" y="255"/>
                    <a:pt x="21" y="257"/>
                    <a:pt x="25" y="260"/>
                  </a:cubicBezTo>
                  <a:cubicBezTo>
                    <a:pt x="28" y="261"/>
                    <a:pt x="30" y="262"/>
                    <a:pt x="32" y="263"/>
                  </a:cubicBezTo>
                  <a:cubicBezTo>
                    <a:pt x="34" y="264"/>
                    <a:pt x="35" y="266"/>
                    <a:pt x="37" y="267"/>
                  </a:cubicBezTo>
                  <a:cubicBezTo>
                    <a:pt x="38" y="268"/>
                    <a:pt x="39" y="269"/>
                    <a:pt x="40" y="270"/>
                  </a:cubicBezTo>
                  <a:cubicBezTo>
                    <a:pt x="41" y="271"/>
                    <a:pt x="43" y="272"/>
                    <a:pt x="45" y="273"/>
                  </a:cubicBezTo>
                  <a:cubicBezTo>
                    <a:pt x="47" y="274"/>
                    <a:pt x="48" y="275"/>
                    <a:pt x="50" y="276"/>
                  </a:cubicBezTo>
                  <a:cubicBezTo>
                    <a:pt x="59" y="285"/>
                    <a:pt x="65" y="297"/>
                    <a:pt x="71" y="308"/>
                  </a:cubicBezTo>
                  <a:cubicBezTo>
                    <a:pt x="72" y="311"/>
                    <a:pt x="72" y="311"/>
                    <a:pt x="72" y="311"/>
                  </a:cubicBezTo>
                  <a:cubicBezTo>
                    <a:pt x="73" y="313"/>
                    <a:pt x="74" y="314"/>
                    <a:pt x="74" y="316"/>
                  </a:cubicBezTo>
                  <a:cubicBezTo>
                    <a:pt x="76" y="320"/>
                    <a:pt x="78" y="324"/>
                    <a:pt x="81" y="327"/>
                  </a:cubicBezTo>
                  <a:cubicBezTo>
                    <a:pt x="82" y="330"/>
                    <a:pt x="85" y="331"/>
                    <a:pt x="87" y="333"/>
                  </a:cubicBezTo>
                  <a:cubicBezTo>
                    <a:pt x="90" y="335"/>
                    <a:pt x="93" y="338"/>
                    <a:pt x="94" y="341"/>
                  </a:cubicBezTo>
                  <a:cubicBezTo>
                    <a:pt x="94" y="341"/>
                    <a:pt x="95" y="342"/>
                    <a:pt x="95" y="343"/>
                  </a:cubicBezTo>
                  <a:cubicBezTo>
                    <a:pt x="95" y="345"/>
                    <a:pt x="95" y="346"/>
                    <a:pt x="96" y="348"/>
                  </a:cubicBezTo>
                  <a:cubicBezTo>
                    <a:pt x="97" y="349"/>
                    <a:pt x="99" y="351"/>
                    <a:pt x="100" y="352"/>
                  </a:cubicBezTo>
                  <a:cubicBezTo>
                    <a:pt x="101" y="352"/>
                    <a:pt x="102" y="353"/>
                    <a:pt x="102" y="354"/>
                  </a:cubicBezTo>
                  <a:cubicBezTo>
                    <a:pt x="103" y="356"/>
                    <a:pt x="104" y="360"/>
                    <a:pt x="105" y="363"/>
                  </a:cubicBezTo>
                  <a:cubicBezTo>
                    <a:pt x="105" y="365"/>
                    <a:pt x="105" y="367"/>
                    <a:pt x="106" y="369"/>
                  </a:cubicBezTo>
                  <a:cubicBezTo>
                    <a:pt x="108" y="375"/>
                    <a:pt x="111" y="379"/>
                    <a:pt x="114" y="383"/>
                  </a:cubicBezTo>
                  <a:cubicBezTo>
                    <a:pt x="115" y="385"/>
                    <a:pt x="116" y="388"/>
                    <a:pt x="117" y="390"/>
                  </a:cubicBezTo>
                  <a:cubicBezTo>
                    <a:pt x="118" y="392"/>
                    <a:pt x="119" y="395"/>
                    <a:pt x="120" y="397"/>
                  </a:cubicBezTo>
                  <a:cubicBezTo>
                    <a:pt x="122" y="401"/>
                    <a:pt x="124" y="405"/>
                    <a:pt x="125" y="409"/>
                  </a:cubicBezTo>
                  <a:cubicBezTo>
                    <a:pt x="125" y="410"/>
                    <a:pt x="125" y="410"/>
                    <a:pt x="125" y="410"/>
                  </a:cubicBezTo>
                  <a:cubicBezTo>
                    <a:pt x="127" y="415"/>
                    <a:pt x="129" y="419"/>
                    <a:pt x="132" y="424"/>
                  </a:cubicBezTo>
                  <a:cubicBezTo>
                    <a:pt x="135" y="428"/>
                    <a:pt x="137" y="433"/>
                    <a:pt x="139" y="438"/>
                  </a:cubicBezTo>
                  <a:cubicBezTo>
                    <a:pt x="141" y="442"/>
                    <a:pt x="143" y="446"/>
                    <a:pt x="146" y="450"/>
                  </a:cubicBezTo>
                  <a:cubicBezTo>
                    <a:pt x="147" y="452"/>
                    <a:pt x="148" y="454"/>
                    <a:pt x="149" y="456"/>
                  </a:cubicBezTo>
                  <a:cubicBezTo>
                    <a:pt x="149" y="457"/>
                    <a:pt x="149" y="458"/>
                    <a:pt x="149" y="459"/>
                  </a:cubicBezTo>
                  <a:cubicBezTo>
                    <a:pt x="149" y="461"/>
                    <a:pt x="149" y="462"/>
                    <a:pt x="150" y="464"/>
                  </a:cubicBezTo>
                  <a:cubicBezTo>
                    <a:pt x="151" y="467"/>
                    <a:pt x="154" y="469"/>
                    <a:pt x="157" y="470"/>
                  </a:cubicBezTo>
                  <a:cubicBezTo>
                    <a:pt x="158" y="471"/>
                    <a:pt x="159" y="472"/>
                    <a:pt x="159" y="472"/>
                  </a:cubicBezTo>
                  <a:cubicBezTo>
                    <a:pt x="164" y="475"/>
                    <a:pt x="166" y="478"/>
                    <a:pt x="167" y="480"/>
                  </a:cubicBezTo>
                  <a:cubicBezTo>
                    <a:pt x="168" y="483"/>
                    <a:pt x="168" y="486"/>
                    <a:pt x="169" y="489"/>
                  </a:cubicBezTo>
                  <a:cubicBezTo>
                    <a:pt x="169" y="496"/>
                    <a:pt x="170" y="503"/>
                    <a:pt x="177" y="507"/>
                  </a:cubicBezTo>
                  <a:cubicBezTo>
                    <a:pt x="182" y="510"/>
                    <a:pt x="185" y="514"/>
                    <a:pt x="189" y="519"/>
                  </a:cubicBezTo>
                  <a:cubicBezTo>
                    <a:pt x="190" y="521"/>
                    <a:pt x="191" y="523"/>
                    <a:pt x="193" y="525"/>
                  </a:cubicBezTo>
                  <a:cubicBezTo>
                    <a:pt x="194" y="526"/>
                    <a:pt x="195" y="529"/>
                    <a:pt x="196" y="531"/>
                  </a:cubicBezTo>
                  <a:cubicBezTo>
                    <a:pt x="197" y="532"/>
                    <a:pt x="198" y="534"/>
                    <a:pt x="199" y="536"/>
                  </a:cubicBezTo>
                  <a:cubicBezTo>
                    <a:pt x="200" y="538"/>
                    <a:pt x="201" y="540"/>
                    <a:pt x="203" y="542"/>
                  </a:cubicBezTo>
                  <a:cubicBezTo>
                    <a:pt x="206" y="547"/>
                    <a:pt x="210" y="552"/>
                    <a:pt x="211" y="558"/>
                  </a:cubicBezTo>
                  <a:cubicBezTo>
                    <a:pt x="211" y="560"/>
                    <a:pt x="210" y="563"/>
                    <a:pt x="209" y="565"/>
                  </a:cubicBezTo>
                  <a:cubicBezTo>
                    <a:pt x="209" y="567"/>
                    <a:pt x="208" y="570"/>
                    <a:pt x="208" y="572"/>
                  </a:cubicBezTo>
                  <a:cubicBezTo>
                    <a:pt x="208" y="576"/>
                    <a:pt x="209" y="577"/>
                    <a:pt x="211" y="579"/>
                  </a:cubicBezTo>
                  <a:cubicBezTo>
                    <a:pt x="211" y="579"/>
                    <a:pt x="211" y="579"/>
                    <a:pt x="212" y="580"/>
                  </a:cubicBezTo>
                  <a:cubicBezTo>
                    <a:pt x="212" y="580"/>
                    <a:pt x="212" y="582"/>
                    <a:pt x="213" y="583"/>
                  </a:cubicBezTo>
                  <a:cubicBezTo>
                    <a:pt x="213" y="584"/>
                    <a:pt x="213" y="585"/>
                    <a:pt x="213" y="586"/>
                  </a:cubicBezTo>
                  <a:cubicBezTo>
                    <a:pt x="215" y="589"/>
                    <a:pt x="216" y="590"/>
                    <a:pt x="218" y="591"/>
                  </a:cubicBezTo>
                  <a:cubicBezTo>
                    <a:pt x="218" y="591"/>
                    <a:pt x="219" y="592"/>
                    <a:pt x="219" y="592"/>
                  </a:cubicBezTo>
                  <a:cubicBezTo>
                    <a:pt x="220" y="593"/>
                    <a:pt x="220" y="594"/>
                    <a:pt x="221" y="595"/>
                  </a:cubicBezTo>
                  <a:cubicBezTo>
                    <a:pt x="222" y="596"/>
                    <a:pt x="222" y="598"/>
                    <a:pt x="223" y="599"/>
                  </a:cubicBezTo>
                  <a:cubicBezTo>
                    <a:pt x="224" y="600"/>
                    <a:pt x="225" y="601"/>
                    <a:pt x="226" y="601"/>
                  </a:cubicBezTo>
                  <a:cubicBezTo>
                    <a:pt x="228" y="603"/>
                    <a:pt x="230" y="605"/>
                    <a:pt x="231" y="608"/>
                  </a:cubicBezTo>
                  <a:cubicBezTo>
                    <a:pt x="233" y="612"/>
                    <a:pt x="236" y="615"/>
                    <a:pt x="240" y="617"/>
                  </a:cubicBezTo>
                  <a:cubicBezTo>
                    <a:pt x="240" y="618"/>
                    <a:pt x="241" y="618"/>
                    <a:pt x="242" y="619"/>
                  </a:cubicBezTo>
                  <a:cubicBezTo>
                    <a:pt x="246" y="622"/>
                    <a:pt x="249" y="626"/>
                    <a:pt x="252" y="631"/>
                  </a:cubicBezTo>
                  <a:cubicBezTo>
                    <a:pt x="253" y="632"/>
                    <a:pt x="253" y="633"/>
                    <a:pt x="254" y="634"/>
                  </a:cubicBezTo>
                  <a:cubicBezTo>
                    <a:pt x="259" y="640"/>
                    <a:pt x="266" y="644"/>
                    <a:pt x="272" y="646"/>
                  </a:cubicBezTo>
                  <a:cubicBezTo>
                    <a:pt x="275" y="648"/>
                    <a:pt x="278" y="649"/>
                    <a:pt x="281" y="651"/>
                  </a:cubicBezTo>
                  <a:cubicBezTo>
                    <a:pt x="283" y="653"/>
                    <a:pt x="286" y="655"/>
                    <a:pt x="289" y="656"/>
                  </a:cubicBezTo>
                  <a:cubicBezTo>
                    <a:pt x="292" y="658"/>
                    <a:pt x="295" y="660"/>
                    <a:pt x="298" y="662"/>
                  </a:cubicBezTo>
                  <a:cubicBezTo>
                    <a:pt x="300" y="663"/>
                    <a:pt x="303" y="665"/>
                    <a:pt x="306" y="667"/>
                  </a:cubicBezTo>
                  <a:cubicBezTo>
                    <a:pt x="308" y="668"/>
                    <a:pt x="311" y="670"/>
                    <a:pt x="314" y="671"/>
                  </a:cubicBezTo>
                  <a:cubicBezTo>
                    <a:pt x="317" y="673"/>
                    <a:pt x="321" y="676"/>
                    <a:pt x="324" y="677"/>
                  </a:cubicBezTo>
                  <a:cubicBezTo>
                    <a:pt x="330" y="680"/>
                    <a:pt x="337" y="683"/>
                    <a:pt x="343" y="685"/>
                  </a:cubicBezTo>
                  <a:cubicBezTo>
                    <a:pt x="347" y="687"/>
                    <a:pt x="352" y="689"/>
                    <a:pt x="356" y="691"/>
                  </a:cubicBezTo>
                  <a:cubicBezTo>
                    <a:pt x="359" y="692"/>
                    <a:pt x="361" y="694"/>
                    <a:pt x="364" y="696"/>
                  </a:cubicBezTo>
                  <a:cubicBezTo>
                    <a:pt x="365" y="696"/>
                    <a:pt x="366" y="697"/>
                    <a:pt x="367" y="698"/>
                  </a:cubicBezTo>
                  <a:cubicBezTo>
                    <a:pt x="368" y="699"/>
                    <a:pt x="370" y="700"/>
                    <a:pt x="372" y="701"/>
                  </a:cubicBezTo>
                  <a:cubicBezTo>
                    <a:pt x="374" y="702"/>
                    <a:pt x="376" y="703"/>
                    <a:pt x="377" y="704"/>
                  </a:cubicBezTo>
                  <a:cubicBezTo>
                    <a:pt x="381" y="707"/>
                    <a:pt x="383" y="709"/>
                    <a:pt x="387" y="711"/>
                  </a:cubicBezTo>
                  <a:cubicBezTo>
                    <a:pt x="394" y="713"/>
                    <a:pt x="399" y="718"/>
                    <a:pt x="402" y="724"/>
                  </a:cubicBezTo>
                  <a:cubicBezTo>
                    <a:pt x="402" y="725"/>
                    <a:pt x="403" y="726"/>
                    <a:pt x="403" y="727"/>
                  </a:cubicBezTo>
                  <a:cubicBezTo>
                    <a:pt x="405" y="731"/>
                    <a:pt x="406" y="735"/>
                    <a:pt x="412" y="738"/>
                  </a:cubicBezTo>
                  <a:cubicBezTo>
                    <a:pt x="414" y="738"/>
                    <a:pt x="414" y="738"/>
                    <a:pt x="414" y="738"/>
                  </a:cubicBezTo>
                  <a:cubicBezTo>
                    <a:pt x="418" y="740"/>
                    <a:pt x="420" y="741"/>
                    <a:pt x="423" y="743"/>
                  </a:cubicBezTo>
                  <a:cubicBezTo>
                    <a:pt x="425" y="746"/>
                    <a:pt x="428" y="747"/>
                    <a:pt x="430" y="749"/>
                  </a:cubicBezTo>
                  <a:cubicBezTo>
                    <a:pt x="431" y="750"/>
                    <a:pt x="432" y="750"/>
                    <a:pt x="433" y="751"/>
                  </a:cubicBezTo>
                  <a:cubicBezTo>
                    <a:pt x="436" y="753"/>
                    <a:pt x="439" y="755"/>
                    <a:pt x="441" y="758"/>
                  </a:cubicBezTo>
                  <a:cubicBezTo>
                    <a:pt x="442" y="760"/>
                    <a:pt x="442" y="760"/>
                    <a:pt x="442" y="760"/>
                  </a:cubicBezTo>
                  <a:cubicBezTo>
                    <a:pt x="443" y="759"/>
                    <a:pt x="443" y="759"/>
                    <a:pt x="443" y="759"/>
                  </a:cubicBezTo>
                  <a:cubicBezTo>
                    <a:pt x="445" y="759"/>
                    <a:pt x="447" y="758"/>
                    <a:pt x="449" y="758"/>
                  </a:cubicBezTo>
                  <a:cubicBezTo>
                    <a:pt x="450" y="758"/>
                    <a:pt x="451" y="757"/>
                    <a:pt x="451" y="757"/>
                  </a:cubicBezTo>
                  <a:cubicBezTo>
                    <a:pt x="457" y="756"/>
                    <a:pt x="460" y="753"/>
                    <a:pt x="462" y="750"/>
                  </a:cubicBezTo>
                  <a:cubicBezTo>
                    <a:pt x="464" y="747"/>
                    <a:pt x="463" y="743"/>
                    <a:pt x="462" y="740"/>
                  </a:cubicBezTo>
                  <a:cubicBezTo>
                    <a:pt x="461" y="739"/>
                    <a:pt x="461" y="737"/>
                    <a:pt x="461" y="736"/>
                  </a:cubicBezTo>
                  <a:cubicBezTo>
                    <a:pt x="460" y="733"/>
                    <a:pt x="461" y="732"/>
                    <a:pt x="462" y="731"/>
                  </a:cubicBezTo>
                  <a:cubicBezTo>
                    <a:pt x="463" y="729"/>
                    <a:pt x="465" y="729"/>
                    <a:pt x="468" y="729"/>
                  </a:cubicBezTo>
                  <a:cubicBezTo>
                    <a:pt x="470" y="729"/>
                    <a:pt x="470" y="729"/>
                    <a:pt x="470" y="729"/>
                  </a:cubicBezTo>
                  <a:cubicBezTo>
                    <a:pt x="470" y="727"/>
                    <a:pt x="470" y="727"/>
                    <a:pt x="470" y="727"/>
                  </a:cubicBezTo>
                  <a:cubicBezTo>
                    <a:pt x="471" y="723"/>
                    <a:pt x="471" y="720"/>
                    <a:pt x="470" y="717"/>
                  </a:cubicBezTo>
                  <a:cubicBezTo>
                    <a:pt x="469" y="716"/>
                    <a:pt x="469" y="715"/>
                    <a:pt x="468" y="715"/>
                  </a:cubicBezTo>
                  <a:cubicBezTo>
                    <a:pt x="466" y="712"/>
                    <a:pt x="467" y="712"/>
                    <a:pt x="470" y="708"/>
                  </a:cubicBezTo>
                  <a:cubicBezTo>
                    <a:pt x="471" y="706"/>
                    <a:pt x="473" y="704"/>
                    <a:pt x="475" y="702"/>
                  </a:cubicBezTo>
                  <a:cubicBezTo>
                    <a:pt x="478" y="699"/>
                    <a:pt x="481" y="695"/>
                    <a:pt x="483" y="692"/>
                  </a:cubicBezTo>
                  <a:cubicBezTo>
                    <a:pt x="485" y="690"/>
                    <a:pt x="485" y="689"/>
                    <a:pt x="485" y="687"/>
                  </a:cubicBezTo>
                  <a:cubicBezTo>
                    <a:pt x="484" y="686"/>
                    <a:pt x="484" y="685"/>
                    <a:pt x="484" y="683"/>
                  </a:cubicBezTo>
                  <a:cubicBezTo>
                    <a:pt x="485" y="682"/>
                    <a:pt x="485" y="681"/>
                    <a:pt x="486" y="679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Freeform 21"/>
            <p:cNvSpPr>
              <a:spLocks noEditPoints="1"/>
            </p:cNvSpPr>
            <p:nvPr/>
          </p:nvSpPr>
          <p:spPr bwMode="auto">
            <a:xfrm>
              <a:off x="2015" y="472"/>
              <a:ext cx="2184" cy="2472"/>
            </a:xfrm>
            <a:custGeom>
              <a:avLst/>
              <a:gdLst>
                <a:gd name="T0" fmla="*/ 1407 w 1425"/>
                <a:gd name="T1" fmla="*/ 443 h 1614"/>
                <a:gd name="T2" fmla="*/ 1285 w 1425"/>
                <a:gd name="T3" fmla="*/ 370 h 1614"/>
                <a:gd name="T4" fmla="*/ 1176 w 1425"/>
                <a:gd name="T5" fmla="*/ 335 h 1614"/>
                <a:gd name="T6" fmla="*/ 1103 w 1425"/>
                <a:gd name="T7" fmla="*/ 317 h 1614"/>
                <a:gd name="T8" fmla="*/ 1058 w 1425"/>
                <a:gd name="T9" fmla="*/ 287 h 1614"/>
                <a:gd name="T10" fmla="*/ 1003 w 1425"/>
                <a:gd name="T11" fmla="*/ 262 h 1614"/>
                <a:gd name="T12" fmla="*/ 925 w 1425"/>
                <a:gd name="T13" fmla="*/ 266 h 1614"/>
                <a:gd name="T14" fmla="*/ 895 w 1425"/>
                <a:gd name="T15" fmla="*/ 286 h 1614"/>
                <a:gd name="T16" fmla="*/ 924 w 1425"/>
                <a:gd name="T17" fmla="*/ 238 h 1614"/>
                <a:gd name="T18" fmla="*/ 862 w 1425"/>
                <a:gd name="T19" fmla="*/ 199 h 1614"/>
                <a:gd name="T20" fmla="*/ 850 w 1425"/>
                <a:gd name="T21" fmla="*/ 126 h 1614"/>
                <a:gd name="T22" fmla="*/ 797 w 1425"/>
                <a:gd name="T23" fmla="*/ 58 h 1614"/>
                <a:gd name="T24" fmla="*/ 705 w 1425"/>
                <a:gd name="T25" fmla="*/ 126 h 1614"/>
                <a:gd name="T26" fmla="*/ 644 w 1425"/>
                <a:gd name="T27" fmla="*/ 124 h 1614"/>
                <a:gd name="T28" fmla="*/ 569 w 1425"/>
                <a:gd name="T29" fmla="*/ 154 h 1614"/>
                <a:gd name="T30" fmla="*/ 508 w 1425"/>
                <a:gd name="T31" fmla="*/ 124 h 1614"/>
                <a:gd name="T32" fmla="*/ 501 w 1425"/>
                <a:gd name="T33" fmla="*/ 20 h 1614"/>
                <a:gd name="T34" fmla="*/ 435 w 1425"/>
                <a:gd name="T35" fmla="*/ 43 h 1614"/>
                <a:gd name="T36" fmla="*/ 371 w 1425"/>
                <a:gd name="T37" fmla="*/ 54 h 1614"/>
                <a:gd name="T38" fmla="*/ 354 w 1425"/>
                <a:gd name="T39" fmla="*/ 115 h 1614"/>
                <a:gd name="T40" fmla="*/ 344 w 1425"/>
                <a:gd name="T41" fmla="*/ 157 h 1614"/>
                <a:gd name="T42" fmla="*/ 284 w 1425"/>
                <a:gd name="T43" fmla="*/ 180 h 1614"/>
                <a:gd name="T44" fmla="*/ 197 w 1425"/>
                <a:gd name="T45" fmla="*/ 145 h 1614"/>
                <a:gd name="T46" fmla="*/ 133 w 1425"/>
                <a:gd name="T47" fmla="*/ 194 h 1614"/>
                <a:gd name="T48" fmla="*/ 123 w 1425"/>
                <a:gd name="T49" fmla="*/ 388 h 1614"/>
                <a:gd name="T50" fmla="*/ 8 w 1425"/>
                <a:gd name="T51" fmla="*/ 513 h 1614"/>
                <a:gd name="T52" fmla="*/ 45 w 1425"/>
                <a:gd name="T53" fmla="*/ 604 h 1614"/>
                <a:gd name="T54" fmla="*/ 133 w 1425"/>
                <a:gd name="T55" fmla="*/ 670 h 1614"/>
                <a:gd name="T56" fmla="*/ 255 w 1425"/>
                <a:gd name="T57" fmla="*/ 641 h 1614"/>
                <a:gd name="T58" fmla="*/ 322 w 1425"/>
                <a:gd name="T59" fmla="*/ 643 h 1614"/>
                <a:gd name="T60" fmla="*/ 373 w 1425"/>
                <a:gd name="T61" fmla="*/ 734 h 1614"/>
                <a:gd name="T62" fmla="*/ 466 w 1425"/>
                <a:gd name="T63" fmla="*/ 776 h 1614"/>
                <a:gd name="T64" fmla="*/ 592 w 1425"/>
                <a:gd name="T65" fmla="*/ 902 h 1614"/>
                <a:gd name="T66" fmla="*/ 621 w 1425"/>
                <a:gd name="T67" fmla="*/ 1037 h 1614"/>
                <a:gd name="T68" fmla="*/ 686 w 1425"/>
                <a:gd name="T69" fmla="*/ 1133 h 1614"/>
                <a:gd name="T70" fmla="*/ 769 w 1425"/>
                <a:gd name="T71" fmla="*/ 1274 h 1614"/>
                <a:gd name="T72" fmla="*/ 720 w 1425"/>
                <a:gd name="T73" fmla="*/ 1427 h 1614"/>
                <a:gd name="T74" fmla="*/ 761 w 1425"/>
                <a:gd name="T75" fmla="*/ 1499 h 1614"/>
                <a:gd name="T76" fmla="*/ 866 w 1425"/>
                <a:gd name="T77" fmla="*/ 1608 h 1614"/>
                <a:gd name="T78" fmla="*/ 897 w 1425"/>
                <a:gd name="T79" fmla="*/ 1558 h 1614"/>
                <a:gd name="T80" fmla="*/ 988 w 1425"/>
                <a:gd name="T81" fmla="*/ 1405 h 1614"/>
                <a:gd name="T82" fmla="*/ 990 w 1425"/>
                <a:gd name="T83" fmla="*/ 1334 h 1614"/>
                <a:gd name="T84" fmla="*/ 995 w 1425"/>
                <a:gd name="T85" fmla="*/ 1270 h 1614"/>
                <a:gd name="T86" fmla="*/ 1049 w 1425"/>
                <a:gd name="T87" fmla="*/ 1214 h 1614"/>
                <a:gd name="T88" fmla="*/ 1113 w 1425"/>
                <a:gd name="T89" fmla="*/ 1175 h 1614"/>
                <a:gd name="T90" fmla="*/ 1194 w 1425"/>
                <a:gd name="T91" fmla="*/ 1168 h 1614"/>
                <a:gd name="T92" fmla="*/ 1236 w 1425"/>
                <a:gd name="T93" fmla="*/ 1100 h 1614"/>
                <a:gd name="T94" fmla="*/ 1276 w 1425"/>
                <a:gd name="T95" fmla="*/ 1020 h 1614"/>
                <a:gd name="T96" fmla="*/ 1290 w 1425"/>
                <a:gd name="T97" fmla="*/ 853 h 1614"/>
                <a:gd name="T98" fmla="*/ 1292 w 1425"/>
                <a:gd name="T99" fmla="*/ 756 h 1614"/>
                <a:gd name="T100" fmla="*/ 1347 w 1425"/>
                <a:gd name="T101" fmla="*/ 678 h 1614"/>
                <a:gd name="T102" fmla="*/ 1063 w 1425"/>
                <a:gd name="T103" fmla="*/ 342 h 1614"/>
                <a:gd name="T104" fmla="*/ 852 w 1425"/>
                <a:gd name="T105" fmla="*/ 294 h 1614"/>
                <a:gd name="T106" fmla="*/ 836 w 1425"/>
                <a:gd name="T107" fmla="*/ 239 h 1614"/>
                <a:gd name="T108" fmla="*/ 843 w 1425"/>
                <a:gd name="T109" fmla="*/ 205 h 1614"/>
                <a:gd name="T110" fmla="*/ 829 w 1425"/>
                <a:gd name="T111" fmla="*/ 252 h 1614"/>
                <a:gd name="T112" fmla="*/ 849 w 1425"/>
                <a:gd name="T113" fmla="*/ 197 h 1614"/>
                <a:gd name="T114" fmla="*/ 776 w 1425"/>
                <a:gd name="T115" fmla="*/ 280 h 1614"/>
                <a:gd name="T116" fmla="*/ 899 w 1425"/>
                <a:gd name="T117" fmla="*/ 1534 h 1614"/>
                <a:gd name="T118" fmla="*/ 920 w 1425"/>
                <a:gd name="T119" fmla="*/ 1491 h 1614"/>
                <a:gd name="T120" fmla="*/ 936 w 1425"/>
                <a:gd name="T121" fmla="*/ 1485 h 1614"/>
                <a:gd name="T122" fmla="*/ 870 w 1425"/>
                <a:gd name="T123" fmla="*/ 293 h 1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25" h="1614">
                  <a:moveTo>
                    <a:pt x="1424" y="542"/>
                  </a:moveTo>
                  <a:cubicBezTo>
                    <a:pt x="1424" y="541"/>
                    <a:pt x="1424" y="540"/>
                    <a:pt x="1424" y="539"/>
                  </a:cubicBezTo>
                  <a:cubicBezTo>
                    <a:pt x="1424" y="538"/>
                    <a:pt x="1424" y="537"/>
                    <a:pt x="1425" y="537"/>
                  </a:cubicBezTo>
                  <a:cubicBezTo>
                    <a:pt x="1425" y="535"/>
                    <a:pt x="1425" y="534"/>
                    <a:pt x="1425" y="532"/>
                  </a:cubicBezTo>
                  <a:cubicBezTo>
                    <a:pt x="1425" y="530"/>
                    <a:pt x="1425" y="528"/>
                    <a:pt x="1425" y="526"/>
                  </a:cubicBezTo>
                  <a:cubicBezTo>
                    <a:pt x="1425" y="524"/>
                    <a:pt x="1425" y="522"/>
                    <a:pt x="1425" y="520"/>
                  </a:cubicBezTo>
                  <a:cubicBezTo>
                    <a:pt x="1425" y="518"/>
                    <a:pt x="1425" y="518"/>
                    <a:pt x="1425" y="518"/>
                  </a:cubicBezTo>
                  <a:cubicBezTo>
                    <a:pt x="1425" y="516"/>
                    <a:pt x="1425" y="515"/>
                    <a:pt x="1425" y="513"/>
                  </a:cubicBezTo>
                  <a:cubicBezTo>
                    <a:pt x="1425" y="513"/>
                    <a:pt x="1425" y="512"/>
                    <a:pt x="1425" y="511"/>
                  </a:cubicBezTo>
                  <a:cubicBezTo>
                    <a:pt x="1425" y="510"/>
                    <a:pt x="1425" y="508"/>
                    <a:pt x="1425" y="506"/>
                  </a:cubicBezTo>
                  <a:cubicBezTo>
                    <a:pt x="1424" y="504"/>
                    <a:pt x="1423" y="502"/>
                    <a:pt x="1422" y="501"/>
                  </a:cubicBezTo>
                  <a:cubicBezTo>
                    <a:pt x="1421" y="499"/>
                    <a:pt x="1420" y="497"/>
                    <a:pt x="1420" y="496"/>
                  </a:cubicBezTo>
                  <a:cubicBezTo>
                    <a:pt x="1420" y="495"/>
                    <a:pt x="1420" y="494"/>
                    <a:pt x="1420" y="493"/>
                  </a:cubicBezTo>
                  <a:cubicBezTo>
                    <a:pt x="1420" y="492"/>
                    <a:pt x="1421" y="491"/>
                    <a:pt x="1420" y="489"/>
                  </a:cubicBezTo>
                  <a:cubicBezTo>
                    <a:pt x="1420" y="488"/>
                    <a:pt x="1419" y="486"/>
                    <a:pt x="1419" y="485"/>
                  </a:cubicBezTo>
                  <a:cubicBezTo>
                    <a:pt x="1418" y="484"/>
                    <a:pt x="1418" y="483"/>
                    <a:pt x="1418" y="482"/>
                  </a:cubicBezTo>
                  <a:cubicBezTo>
                    <a:pt x="1418" y="482"/>
                    <a:pt x="1418" y="481"/>
                    <a:pt x="1417" y="480"/>
                  </a:cubicBezTo>
                  <a:cubicBezTo>
                    <a:pt x="1417" y="479"/>
                    <a:pt x="1417" y="477"/>
                    <a:pt x="1417" y="476"/>
                  </a:cubicBezTo>
                  <a:cubicBezTo>
                    <a:pt x="1416" y="475"/>
                    <a:pt x="1416" y="475"/>
                    <a:pt x="1416" y="474"/>
                  </a:cubicBezTo>
                  <a:cubicBezTo>
                    <a:pt x="1415" y="474"/>
                    <a:pt x="1415" y="473"/>
                    <a:pt x="1415" y="472"/>
                  </a:cubicBezTo>
                  <a:cubicBezTo>
                    <a:pt x="1414" y="471"/>
                    <a:pt x="1414" y="471"/>
                    <a:pt x="1414" y="470"/>
                  </a:cubicBezTo>
                  <a:cubicBezTo>
                    <a:pt x="1414" y="469"/>
                    <a:pt x="1414" y="468"/>
                    <a:pt x="1414" y="468"/>
                  </a:cubicBezTo>
                  <a:cubicBezTo>
                    <a:pt x="1414" y="466"/>
                    <a:pt x="1414" y="465"/>
                    <a:pt x="1413" y="464"/>
                  </a:cubicBezTo>
                  <a:cubicBezTo>
                    <a:pt x="1413" y="463"/>
                    <a:pt x="1413" y="463"/>
                    <a:pt x="1412" y="462"/>
                  </a:cubicBezTo>
                  <a:cubicBezTo>
                    <a:pt x="1412" y="460"/>
                    <a:pt x="1411" y="458"/>
                    <a:pt x="1411" y="456"/>
                  </a:cubicBezTo>
                  <a:cubicBezTo>
                    <a:pt x="1411" y="454"/>
                    <a:pt x="1411" y="454"/>
                    <a:pt x="1411" y="454"/>
                  </a:cubicBezTo>
                  <a:cubicBezTo>
                    <a:pt x="1410" y="450"/>
                    <a:pt x="1409" y="446"/>
                    <a:pt x="1407" y="443"/>
                  </a:cubicBezTo>
                  <a:cubicBezTo>
                    <a:pt x="1407" y="443"/>
                    <a:pt x="1406" y="442"/>
                    <a:pt x="1406" y="441"/>
                  </a:cubicBezTo>
                  <a:cubicBezTo>
                    <a:pt x="1406" y="440"/>
                    <a:pt x="1406" y="439"/>
                    <a:pt x="1405" y="438"/>
                  </a:cubicBezTo>
                  <a:cubicBezTo>
                    <a:pt x="1405" y="436"/>
                    <a:pt x="1403" y="434"/>
                    <a:pt x="1402" y="433"/>
                  </a:cubicBezTo>
                  <a:cubicBezTo>
                    <a:pt x="1402" y="432"/>
                    <a:pt x="1402" y="432"/>
                    <a:pt x="1402" y="432"/>
                  </a:cubicBezTo>
                  <a:cubicBezTo>
                    <a:pt x="1398" y="428"/>
                    <a:pt x="1396" y="427"/>
                    <a:pt x="1391" y="426"/>
                  </a:cubicBezTo>
                  <a:cubicBezTo>
                    <a:pt x="1390" y="426"/>
                    <a:pt x="1389" y="426"/>
                    <a:pt x="1387" y="425"/>
                  </a:cubicBezTo>
                  <a:cubicBezTo>
                    <a:pt x="1385" y="425"/>
                    <a:pt x="1383" y="424"/>
                    <a:pt x="1381" y="424"/>
                  </a:cubicBezTo>
                  <a:cubicBezTo>
                    <a:pt x="1379" y="424"/>
                    <a:pt x="1377" y="425"/>
                    <a:pt x="1375" y="425"/>
                  </a:cubicBezTo>
                  <a:cubicBezTo>
                    <a:pt x="1374" y="425"/>
                    <a:pt x="1372" y="426"/>
                    <a:pt x="1371" y="426"/>
                  </a:cubicBezTo>
                  <a:cubicBezTo>
                    <a:pt x="1371" y="426"/>
                    <a:pt x="1370" y="426"/>
                    <a:pt x="1370" y="425"/>
                  </a:cubicBezTo>
                  <a:cubicBezTo>
                    <a:pt x="1370" y="425"/>
                    <a:pt x="1369" y="425"/>
                    <a:pt x="1369" y="425"/>
                  </a:cubicBezTo>
                  <a:cubicBezTo>
                    <a:pt x="1366" y="425"/>
                    <a:pt x="1364" y="426"/>
                    <a:pt x="1362" y="426"/>
                  </a:cubicBezTo>
                  <a:cubicBezTo>
                    <a:pt x="1361" y="427"/>
                    <a:pt x="1359" y="427"/>
                    <a:pt x="1358" y="427"/>
                  </a:cubicBezTo>
                  <a:cubicBezTo>
                    <a:pt x="1358" y="427"/>
                    <a:pt x="1357" y="427"/>
                    <a:pt x="1357" y="427"/>
                  </a:cubicBezTo>
                  <a:cubicBezTo>
                    <a:pt x="1355" y="427"/>
                    <a:pt x="1354" y="426"/>
                    <a:pt x="1351" y="424"/>
                  </a:cubicBezTo>
                  <a:cubicBezTo>
                    <a:pt x="1348" y="421"/>
                    <a:pt x="1345" y="420"/>
                    <a:pt x="1341" y="420"/>
                  </a:cubicBezTo>
                  <a:cubicBezTo>
                    <a:pt x="1341" y="420"/>
                    <a:pt x="1341" y="420"/>
                    <a:pt x="1340" y="420"/>
                  </a:cubicBezTo>
                  <a:cubicBezTo>
                    <a:pt x="1338" y="420"/>
                    <a:pt x="1338" y="420"/>
                    <a:pt x="1336" y="417"/>
                  </a:cubicBezTo>
                  <a:cubicBezTo>
                    <a:pt x="1336" y="416"/>
                    <a:pt x="1336" y="416"/>
                    <a:pt x="1335" y="415"/>
                  </a:cubicBezTo>
                  <a:cubicBezTo>
                    <a:pt x="1333" y="411"/>
                    <a:pt x="1329" y="409"/>
                    <a:pt x="1325" y="408"/>
                  </a:cubicBezTo>
                  <a:cubicBezTo>
                    <a:pt x="1325" y="408"/>
                    <a:pt x="1325" y="408"/>
                    <a:pt x="1325" y="408"/>
                  </a:cubicBezTo>
                  <a:cubicBezTo>
                    <a:pt x="1322" y="406"/>
                    <a:pt x="1320" y="406"/>
                    <a:pt x="1318" y="403"/>
                  </a:cubicBezTo>
                  <a:cubicBezTo>
                    <a:pt x="1316" y="401"/>
                    <a:pt x="1314" y="399"/>
                    <a:pt x="1312" y="398"/>
                  </a:cubicBezTo>
                  <a:cubicBezTo>
                    <a:pt x="1311" y="397"/>
                    <a:pt x="1310" y="396"/>
                    <a:pt x="1309" y="396"/>
                  </a:cubicBezTo>
                  <a:cubicBezTo>
                    <a:pt x="1306" y="393"/>
                    <a:pt x="1304" y="391"/>
                    <a:pt x="1302" y="388"/>
                  </a:cubicBezTo>
                  <a:cubicBezTo>
                    <a:pt x="1300" y="385"/>
                    <a:pt x="1297" y="382"/>
                    <a:pt x="1295" y="378"/>
                  </a:cubicBezTo>
                  <a:cubicBezTo>
                    <a:pt x="1291" y="375"/>
                    <a:pt x="1288" y="372"/>
                    <a:pt x="1285" y="370"/>
                  </a:cubicBezTo>
                  <a:cubicBezTo>
                    <a:pt x="1283" y="369"/>
                    <a:pt x="1281" y="367"/>
                    <a:pt x="1279" y="365"/>
                  </a:cubicBezTo>
                  <a:cubicBezTo>
                    <a:pt x="1278" y="365"/>
                    <a:pt x="1277" y="364"/>
                    <a:pt x="1276" y="363"/>
                  </a:cubicBezTo>
                  <a:cubicBezTo>
                    <a:pt x="1274" y="361"/>
                    <a:pt x="1274" y="361"/>
                    <a:pt x="1274" y="361"/>
                  </a:cubicBezTo>
                  <a:cubicBezTo>
                    <a:pt x="1272" y="359"/>
                    <a:pt x="1270" y="357"/>
                    <a:pt x="1267" y="355"/>
                  </a:cubicBezTo>
                  <a:cubicBezTo>
                    <a:pt x="1266" y="354"/>
                    <a:pt x="1265" y="354"/>
                    <a:pt x="1264" y="353"/>
                  </a:cubicBezTo>
                  <a:cubicBezTo>
                    <a:pt x="1262" y="351"/>
                    <a:pt x="1260" y="350"/>
                    <a:pt x="1258" y="349"/>
                  </a:cubicBezTo>
                  <a:cubicBezTo>
                    <a:pt x="1256" y="348"/>
                    <a:pt x="1254" y="347"/>
                    <a:pt x="1251" y="346"/>
                  </a:cubicBezTo>
                  <a:cubicBezTo>
                    <a:pt x="1250" y="345"/>
                    <a:pt x="1249" y="344"/>
                    <a:pt x="1248" y="344"/>
                  </a:cubicBezTo>
                  <a:cubicBezTo>
                    <a:pt x="1247" y="343"/>
                    <a:pt x="1246" y="343"/>
                    <a:pt x="1245" y="342"/>
                  </a:cubicBezTo>
                  <a:cubicBezTo>
                    <a:pt x="1245" y="342"/>
                    <a:pt x="1244" y="341"/>
                    <a:pt x="1243" y="341"/>
                  </a:cubicBezTo>
                  <a:cubicBezTo>
                    <a:pt x="1242" y="340"/>
                    <a:pt x="1241" y="340"/>
                    <a:pt x="1240" y="340"/>
                  </a:cubicBezTo>
                  <a:cubicBezTo>
                    <a:pt x="1240" y="340"/>
                    <a:pt x="1239" y="339"/>
                    <a:pt x="1239" y="339"/>
                  </a:cubicBezTo>
                  <a:cubicBezTo>
                    <a:pt x="1238" y="339"/>
                    <a:pt x="1237" y="338"/>
                    <a:pt x="1236" y="337"/>
                  </a:cubicBezTo>
                  <a:cubicBezTo>
                    <a:pt x="1235" y="336"/>
                    <a:pt x="1234" y="334"/>
                    <a:pt x="1231" y="333"/>
                  </a:cubicBezTo>
                  <a:cubicBezTo>
                    <a:pt x="1226" y="332"/>
                    <a:pt x="1222" y="332"/>
                    <a:pt x="1218" y="332"/>
                  </a:cubicBezTo>
                  <a:cubicBezTo>
                    <a:pt x="1216" y="332"/>
                    <a:pt x="1215" y="332"/>
                    <a:pt x="1213" y="331"/>
                  </a:cubicBezTo>
                  <a:cubicBezTo>
                    <a:pt x="1213" y="331"/>
                    <a:pt x="1213" y="331"/>
                    <a:pt x="1213" y="331"/>
                  </a:cubicBezTo>
                  <a:cubicBezTo>
                    <a:pt x="1211" y="331"/>
                    <a:pt x="1209" y="332"/>
                    <a:pt x="1208" y="333"/>
                  </a:cubicBezTo>
                  <a:cubicBezTo>
                    <a:pt x="1207" y="333"/>
                    <a:pt x="1206" y="334"/>
                    <a:pt x="1205" y="334"/>
                  </a:cubicBezTo>
                  <a:cubicBezTo>
                    <a:pt x="1204" y="334"/>
                    <a:pt x="1201" y="335"/>
                    <a:pt x="1199" y="335"/>
                  </a:cubicBezTo>
                  <a:cubicBezTo>
                    <a:pt x="1198" y="335"/>
                    <a:pt x="1198" y="335"/>
                    <a:pt x="1197" y="335"/>
                  </a:cubicBezTo>
                  <a:cubicBezTo>
                    <a:pt x="1196" y="335"/>
                    <a:pt x="1196" y="334"/>
                    <a:pt x="1195" y="334"/>
                  </a:cubicBezTo>
                  <a:cubicBezTo>
                    <a:pt x="1194" y="334"/>
                    <a:pt x="1193" y="335"/>
                    <a:pt x="1192" y="335"/>
                  </a:cubicBezTo>
                  <a:cubicBezTo>
                    <a:pt x="1191" y="335"/>
                    <a:pt x="1189" y="336"/>
                    <a:pt x="1188" y="336"/>
                  </a:cubicBezTo>
                  <a:cubicBezTo>
                    <a:pt x="1187" y="337"/>
                    <a:pt x="1185" y="337"/>
                    <a:pt x="1184" y="337"/>
                  </a:cubicBezTo>
                  <a:cubicBezTo>
                    <a:pt x="1183" y="337"/>
                    <a:pt x="1182" y="337"/>
                    <a:pt x="1182" y="337"/>
                  </a:cubicBezTo>
                  <a:cubicBezTo>
                    <a:pt x="1179" y="336"/>
                    <a:pt x="1178" y="336"/>
                    <a:pt x="1176" y="335"/>
                  </a:cubicBezTo>
                  <a:cubicBezTo>
                    <a:pt x="1174" y="335"/>
                    <a:pt x="1172" y="335"/>
                    <a:pt x="1172" y="334"/>
                  </a:cubicBezTo>
                  <a:cubicBezTo>
                    <a:pt x="1171" y="334"/>
                    <a:pt x="1171" y="333"/>
                    <a:pt x="1171" y="333"/>
                  </a:cubicBezTo>
                  <a:cubicBezTo>
                    <a:pt x="1170" y="332"/>
                    <a:pt x="1169" y="330"/>
                    <a:pt x="1168" y="329"/>
                  </a:cubicBezTo>
                  <a:cubicBezTo>
                    <a:pt x="1167" y="328"/>
                    <a:pt x="1165" y="328"/>
                    <a:pt x="1163" y="328"/>
                  </a:cubicBezTo>
                  <a:cubicBezTo>
                    <a:pt x="1162" y="328"/>
                    <a:pt x="1161" y="328"/>
                    <a:pt x="1160" y="328"/>
                  </a:cubicBezTo>
                  <a:cubicBezTo>
                    <a:pt x="1159" y="329"/>
                    <a:pt x="1158" y="330"/>
                    <a:pt x="1157" y="331"/>
                  </a:cubicBezTo>
                  <a:cubicBezTo>
                    <a:pt x="1156" y="331"/>
                    <a:pt x="1156" y="332"/>
                    <a:pt x="1156" y="332"/>
                  </a:cubicBezTo>
                  <a:cubicBezTo>
                    <a:pt x="1155" y="332"/>
                    <a:pt x="1155" y="332"/>
                    <a:pt x="1155" y="332"/>
                  </a:cubicBezTo>
                  <a:cubicBezTo>
                    <a:pt x="1154" y="332"/>
                    <a:pt x="1153" y="332"/>
                    <a:pt x="1152" y="331"/>
                  </a:cubicBezTo>
                  <a:cubicBezTo>
                    <a:pt x="1151" y="331"/>
                    <a:pt x="1151" y="331"/>
                    <a:pt x="1151" y="331"/>
                  </a:cubicBezTo>
                  <a:cubicBezTo>
                    <a:pt x="1150" y="331"/>
                    <a:pt x="1150" y="331"/>
                    <a:pt x="1149" y="331"/>
                  </a:cubicBezTo>
                  <a:cubicBezTo>
                    <a:pt x="1148" y="331"/>
                    <a:pt x="1147" y="331"/>
                    <a:pt x="1146" y="330"/>
                  </a:cubicBezTo>
                  <a:cubicBezTo>
                    <a:pt x="1145" y="330"/>
                    <a:pt x="1144" y="330"/>
                    <a:pt x="1144" y="329"/>
                  </a:cubicBezTo>
                  <a:cubicBezTo>
                    <a:pt x="1143" y="329"/>
                    <a:pt x="1142" y="328"/>
                    <a:pt x="1141" y="328"/>
                  </a:cubicBezTo>
                  <a:cubicBezTo>
                    <a:pt x="1140" y="328"/>
                    <a:pt x="1140" y="327"/>
                    <a:pt x="1139" y="327"/>
                  </a:cubicBezTo>
                  <a:cubicBezTo>
                    <a:pt x="1139" y="326"/>
                    <a:pt x="1138" y="326"/>
                    <a:pt x="1137" y="325"/>
                  </a:cubicBezTo>
                  <a:cubicBezTo>
                    <a:pt x="1137" y="325"/>
                    <a:pt x="1136" y="325"/>
                    <a:pt x="1136" y="324"/>
                  </a:cubicBezTo>
                  <a:cubicBezTo>
                    <a:pt x="1135" y="324"/>
                    <a:pt x="1135" y="324"/>
                    <a:pt x="1135" y="324"/>
                  </a:cubicBezTo>
                  <a:cubicBezTo>
                    <a:pt x="1135" y="324"/>
                    <a:pt x="1135" y="324"/>
                    <a:pt x="1135" y="324"/>
                  </a:cubicBezTo>
                  <a:cubicBezTo>
                    <a:pt x="1134" y="323"/>
                    <a:pt x="1134" y="323"/>
                    <a:pt x="1133" y="322"/>
                  </a:cubicBezTo>
                  <a:cubicBezTo>
                    <a:pt x="1132" y="321"/>
                    <a:pt x="1131" y="321"/>
                    <a:pt x="1129" y="321"/>
                  </a:cubicBezTo>
                  <a:cubicBezTo>
                    <a:pt x="1129" y="321"/>
                    <a:pt x="1128" y="321"/>
                    <a:pt x="1128" y="320"/>
                  </a:cubicBezTo>
                  <a:cubicBezTo>
                    <a:pt x="1125" y="318"/>
                    <a:pt x="1124" y="318"/>
                    <a:pt x="1122" y="318"/>
                  </a:cubicBezTo>
                  <a:cubicBezTo>
                    <a:pt x="1120" y="317"/>
                    <a:pt x="1119" y="316"/>
                    <a:pt x="1118" y="316"/>
                  </a:cubicBezTo>
                  <a:cubicBezTo>
                    <a:pt x="1116" y="314"/>
                    <a:pt x="1113" y="313"/>
                    <a:pt x="1110" y="313"/>
                  </a:cubicBezTo>
                  <a:cubicBezTo>
                    <a:pt x="1107" y="313"/>
                    <a:pt x="1103" y="313"/>
                    <a:pt x="1103" y="315"/>
                  </a:cubicBezTo>
                  <a:cubicBezTo>
                    <a:pt x="1103" y="316"/>
                    <a:pt x="1103" y="316"/>
                    <a:pt x="1103" y="317"/>
                  </a:cubicBezTo>
                  <a:cubicBezTo>
                    <a:pt x="1102" y="317"/>
                    <a:pt x="1102" y="318"/>
                    <a:pt x="1102" y="319"/>
                  </a:cubicBezTo>
                  <a:cubicBezTo>
                    <a:pt x="1102" y="319"/>
                    <a:pt x="1102" y="319"/>
                    <a:pt x="1101" y="319"/>
                  </a:cubicBezTo>
                  <a:cubicBezTo>
                    <a:pt x="1101" y="319"/>
                    <a:pt x="1099" y="319"/>
                    <a:pt x="1099" y="319"/>
                  </a:cubicBezTo>
                  <a:cubicBezTo>
                    <a:pt x="1098" y="319"/>
                    <a:pt x="1097" y="319"/>
                    <a:pt x="1096" y="320"/>
                  </a:cubicBezTo>
                  <a:cubicBezTo>
                    <a:pt x="1096" y="320"/>
                    <a:pt x="1095" y="320"/>
                    <a:pt x="1095" y="320"/>
                  </a:cubicBezTo>
                  <a:cubicBezTo>
                    <a:pt x="1095" y="320"/>
                    <a:pt x="1095" y="320"/>
                    <a:pt x="1095" y="320"/>
                  </a:cubicBezTo>
                  <a:cubicBezTo>
                    <a:pt x="1094" y="320"/>
                    <a:pt x="1094" y="320"/>
                    <a:pt x="1093" y="320"/>
                  </a:cubicBezTo>
                  <a:cubicBezTo>
                    <a:pt x="1093" y="320"/>
                    <a:pt x="1093" y="320"/>
                    <a:pt x="1092" y="320"/>
                  </a:cubicBezTo>
                  <a:cubicBezTo>
                    <a:pt x="1090" y="320"/>
                    <a:pt x="1088" y="322"/>
                    <a:pt x="1087" y="323"/>
                  </a:cubicBezTo>
                  <a:cubicBezTo>
                    <a:pt x="1086" y="324"/>
                    <a:pt x="1086" y="324"/>
                    <a:pt x="1085" y="324"/>
                  </a:cubicBezTo>
                  <a:cubicBezTo>
                    <a:pt x="1085" y="325"/>
                    <a:pt x="1085" y="325"/>
                    <a:pt x="1085" y="325"/>
                  </a:cubicBezTo>
                  <a:cubicBezTo>
                    <a:pt x="1084" y="325"/>
                    <a:pt x="1084" y="325"/>
                    <a:pt x="1083" y="325"/>
                  </a:cubicBezTo>
                  <a:cubicBezTo>
                    <a:pt x="1085" y="324"/>
                    <a:pt x="1088" y="321"/>
                    <a:pt x="1085" y="317"/>
                  </a:cubicBezTo>
                  <a:cubicBezTo>
                    <a:pt x="1084" y="315"/>
                    <a:pt x="1083" y="314"/>
                    <a:pt x="1082" y="314"/>
                  </a:cubicBezTo>
                  <a:cubicBezTo>
                    <a:pt x="1080" y="314"/>
                    <a:pt x="1079" y="315"/>
                    <a:pt x="1078" y="316"/>
                  </a:cubicBezTo>
                  <a:cubicBezTo>
                    <a:pt x="1078" y="316"/>
                    <a:pt x="1077" y="316"/>
                    <a:pt x="1077" y="316"/>
                  </a:cubicBezTo>
                  <a:cubicBezTo>
                    <a:pt x="1076" y="317"/>
                    <a:pt x="1076" y="317"/>
                    <a:pt x="1075" y="317"/>
                  </a:cubicBezTo>
                  <a:cubicBezTo>
                    <a:pt x="1075" y="317"/>
                    <a:pt x="1074" y="317"/>
                    <a:pt x="1073" y="317"/>
                  </a:cubicBezTo>
                  <a:cubicBezTo>
                    <a:pt x="1073" y="317"/>
                    <a:pt x="1074" y="316"/>
                    <a:pt x="1073" y="316"/>
                  </a:cubicBezTo>
                  <a:cubicBezTo>
                    <a:pt x="1073" y="315"/>
                    <a:pt x="1073" y="315"/>
                    <a:pt x="1073" y="315"/>
                  </a:cubicBezTo>
                  <a:cubicBezTo>
                    <a:pt x="1073" y="312"/>
                    <a:pt x="1073" y="309"/>
                    <a:pt x="1071" y="306"/>
                  </a:cubicBezTo>
                  <a:cubicBezTo>
                    <a:pt x="1070" y="305"/>
                    <a:pt x="1068" y="304"/>
                    <a:pt x="1067" y="304"/>
                  </a:cubicBezTo>
                  <a:cubicBezTo>
                    <a:pt x="1067" y="304"/>
                    <a:pt x="1067" y="304"/>
                    <a:pt x="1066" y="304"/>
                  </a:cubicBezTo>
                  <a:cubicBezTo>
                    <a:pt x="1068" y="303"/>
                    <a:pt x="1070" y="301"/>
                    <a:pt x="1069" y="298"/>
                  </a:cubicBezTo>
                  <a:cubicBezTo>
                    <a:pt x="1068" y="295"/>
                    <a:pt x="1065" y="292"/>
                    <a:pt x="1063" y="291"/>
                  </a:cubicBezTo>
                  <a:cubicBezTo>
                    <a:pt x="1062" y="290"/>
                    <a:pt x="1062" y="290"/>
                    <a:pt x="1062" y="290"/>
                  </a:cubicBezTo>
                  <a:cubicBezTo>
                    <a:pt x="1061" y="289"/>
                    <a:pt x="1060" y="288"/>
                    <a:pt x="1058" y="287"/>
                  </a:cubicBezTo>
                  <a:cubicBezTo>
                    <a:pt x="1054" y="284"/>
                    <a:pt x="1051" y="280"/>
                    <a:pt x="1047" y="278"/>
                  </a:cubicBezTo>
                  <a:cubicBezTo>
                    <a:pt x="1046" y="277"/>
                    <a:pt x="1045" y="276"/>
                    <a:pt x="1043" y="276"/>
                  </a:cubicBezTo>
                  <a:cubicBezTo>
                    <a:pt x="1040" y="276"/>
                    <a:pt x="1038" y="278"/>
                    <a:pt x="1037" y="281"/>
                  </a:cubicBezTo>
                  <a:cubicBezTo>
                    <a:pt x="1037" y="281"/>
                    <a:pt x="1037" y="282"/>
                    <a:pt x="1037" y="282"/>
                  </a:cubicBezTo>
                  <a:cubicBezTo>
                    <a:pt x="1037" y="281"/>
                    <a:pt x="1037" y="280"/>
                    <a:pt x="1036" y="279"/>
                  </a:cubicBezTo>
                  <a:cubicBezTo>
                    <a:pt x="1036" y="279"/>
                    <a:pt x="1036" y="278"/>
                    <a:pt x="1036" y="277"/>
                  </a:cubicBezTo>
                  <a:cubicBezTo>
                    <a:pt x="1035" y="274"/>
                    <a:pt x="1034" y="273"/>
                    <a:pt x="1031" y="273"/>
                  </a:cubicBezTo>
                  <a:cubicBezTo>
                    <a:pt x="1030" y="273"/>
                    <a:pt x="1030" y="273"/>
                    <a:pt x="1030" y="273"/>
                  </a:cubicBezTo>
                  <a:cubicBezTo>
                    <a:pt x="1029" y="273"/>
                    <a:pt x="1029" y="273"/>
                    <a:pt x="1028" y="273"/>
                  </a:cubicBezTo>
                  <a:cubicBezTo>
                    <a:pt x="1028" y="273"/>
                    <a:pt x="1028" y="272"/>
                    <a:pt x="1028" y="272"/>
                  </a:cubicBezTo>
                  <a:cubicBezTo>
                    <a:pt x="1028" y="271"/>
                    <a:pt x="1028" y="267"/>
                    <a:pt x="1023" y="267"/>
                  </a:cubicBezTo>
                  <a:cubicBezTo>
                    <a:pt x="1023" y="267"/>
                    <a:pt x="1023" y="267"/>
                    <a:pt x="1023" y="267"/>
                  </a:cubicBezTo>
                  <a:cubicBezTo>
                    <a:pt x="1023" y="267"/>
                    <a:pt x="1022" y="267"/>
                    <a:pt x="1021" y="268"/>
                  </a:cubicBezTo>
                  <a:cubicBezTo>
                    <a:pt x="1021" y="268"/>
                    <a:pt x="1020" y="268"/>
                    <a:pt x="1020" y="268"/>
                  </a:cubicBezTo>
                  <a:cubicBezTo>
                    <a:pt x="1020" y="268"/>
                    <a:pt x="1020" y="268"/>
                    <a:pt x="1020" y="268"/>
                  </a:cubicBezTo>
                  <a:cubicBezTo>
                    <a:pt x="1020" y="268"/>
                    <a:pt x="1020" y="268"/>
                    <a:pt x="1019" y="267"/>
                  </a:cubicBezTo>
                  <a:cubicBezTo>
                    <a:pt x="1019" y="267"/>
                    <a:pt x="1018" y="266"/>
                    <a:pt x="1017" y="266"/>
                  </a:cubicBezTo>
                  <a:cubicBezTo>
                    <a:pt x="1017" y="265"/>
                    <a:pt x="1016" y="265"/>
                    <a:pt x="1015" y="265"/>
                  </a:cubicBezTo>
                  <a:cubicBezTo>
                    <a:pt x="1015" y="265"/>
                    <a:pt x="1014" y="265"/>
                    <a:pt x="1014" y="265"/>
                  </a:cubicBezTo>
                  <a:cubicBezTo>
                    <a:pt x="1014" y="265"/>
                    <a:pt x="1013" y="265"/>
                    <a:pt x="1013" y="265"/>
                  </a:cubicBezTo>
                  <a:cubicBezTo>
                    <a:pt x="1013" y="265"/>
                    <a:pt x="1013" y="265"/>
                    <a:pt x="1013" y="265"/>
                  </a:cubicBezTo>
                  <a:cubicBezTo>
                    <a:pt x="1013" y="265"/>
                    <a:pt x="1013" y="265"/>
                    <a:pt x="1012" y="264"/>
                  </a:cubicBezTo>
                  <a:cubicBezTo>
                    <a:pt x="1012" y="264"/>
                    <a:pt x="1012" y="264"/>
                    <a:pt x="1011" y="263"/>
                  </a:cubicBezTo>
                  <a:cubicBezTo>
                    <a:pt x="1010" y="262"/>
                    <a:pt x="1009" y="261"/>
                    <a:pt x="1007" y="261"/>
                  </a:cubicBezTo>
                  <a:cubicBezTo>
                    <a:pt x="1006" y="261"/>
                    <a:pt x="1006" y="262"/>
                    <a:pt x="1005" y="262"/>
                  </a:cubicBezTo>
                  <a:cubicBezTo>
                    <a:pt x="1005" y="262"/>
                    <a:pt x="1004" y="262"/>
                    <a:pt x="1004" y="262"/>
                  </a:cubicBezTo>
                  <a:cubicBezTo>
                    <a:pt x="1004" y="262"/>
                    <a:pt x="1003" y="262"/>
                    <a:pt x="1003" y="262"/>
                  </a:cubicBezTo>
                  <a:cubicBezTo>
                    <a:pt x="1003" y="261"/>
                    <a:pt x="1002" y="261"/>
                    <a:pt x="1002" y="260"/>
                  </a:cubicBezTo>
                  <a:cubicBezTo>
                    <a:pt x="1001" y="259"/>
                    <a:pt x="1000" y="258"/>
                    <a:pt x="998" y="258"/>
                  </a:cubicBezTo>
                  <a:cubicBezTo>
                    <a:pt x="997" y="257"/>
                    <a:pt x="996" y="257"/>
                    <a:pt x="995" y="257"/>
                  </a:cubicBezTo>
                  <a:cubicBezTo>
                    <a:pt x="994" y="257"/>
                    <a:pt x="994" y="257"/>
                    <a:pt x="994" y="257"/>
                  </a:cubicBezTo>
                  <a:cubicBezTo>
                    <a:pt x="993" y="257"/>
                    <a:pt x="992" y="257"/>
                    <a:pt x="991" y="257"/>
                  </a:cubicBezTo>
                  <a:cubicBezTo>
                    <a:pt x="991" y="257"/>
                    <a:pt x="991" y="256"/>
                    <a:pt x="990" y="256"/>
                  </a:cubicBezTo>
                  <a:cubicBezTo>
                    <a:pt x="990" y="256"/>
                    <a:pt x="990" y="255"/>
                    <a:pt x="989" y="255"/>
                  </a:cubicBezTo>
                  <a:cubicBezTo>
                    <a:pt x="988" y="253"/>
                    <a:pt x="987" y="253"/>
                    <a:pt x="986" y="252"/>
                  </a:cubicBezTo>
                  <a:cubicBezTo>
                    <a:pt x="985" y="252"/>
                    <a:pt x="985" y="252"/>
                    <a:pt x="985" y="252"/>
                  </a:cubicBezTo>
                  <a:cubicBezTo>
                    <a:pt x="984" y="252"/>
                    <a:pt x="984" y="251"/>
                    <a:pt x="984" y="251"/>
                  </a:cubicBezTo>
                  <a:cubicBezTo>
                    <a:pt x="983" y="250"/>
                    <a:pt x="982" y="249"/>
                    <a:pt x="981" y="248"/>
                  </a:cubicBezTo>
                  <a:cubicBezTo>
                    <a:pt x="980" y="248"/>
                    <a:pt x="979" y="248"/>
                    <a:pt x="978" y="248"/>
                  </a:cubicBezTo>
                  <a:cubicBezTo>
                    <a:pt x="977" y="248"/>
                    <a:pt x="977" y="248"/>
                    <a:pt x="976" y="248"/>
                  </a:cubicBezTo>
                  <a:cubicBezTo>
                    <a:pt x="976" y="248"/>
                    <a:pt x="976" y="248"/>
                    <a:pt x="975" y="248"/>
                  </a:cubicBezTo>
                  <a:cubicBezTo>
                    <a:pt x="975" y="248"/>
                    <a:pt x="975" y="248"/>
                    <a:pt x="975" y="248"/>
                  </a:cubicBezTo>
                  <a:cubicBezTo>
                    <a:pt x="974" y="248"/>
                    <a:pt x="973" y="247"/>
                    <a:pt x="972" y="247"/>
                  </a:cubicBezTo>
                  <a:cubicBezTo>
                    <a:pt x="972" y="246"/>
                    <a:pt x="971" y="246"/>
                    <a:pt x="970" y="245"/>
                  </a:cubicBezTo>
                  <a:cubicBezTo>
                    <a:pt x="966" y="243"/>
                    <a:pt x="962" y="242"/>
                    <a:pt x="958" y="242"/>
                  </a:cubicBezTo>
                  <a:cubicBezTo>
                    <a:pt x="955" y="242"/>
                    <a:pt x="953" y="242"/>
                    <a:pt x="950" y="243"/>
                  </a:cubicBezTo>
                  <a:cubicBezTo>
                    <a:pt x="949" y="244"/>
                    <a:pt x="948" y="244"/>
                    <a:pt x="947" y="244"/>
                  </a:cubicBezTo>
                  <a:cubicBezTo>
                    <a:pt x="945" y="244"/>
                    <a:pt x="943" y="244"/>
                    <a:pt x="941" y="245"/>
                  </a:cubicBezTo>
                  <a:cubicBezTo>
                    <a:pt x="940" y="246"/>
                    <a:pt x="939" y="246"/>
                    <a:pt x="938" y="246"/>
                  </a:cubicBezTo>
                  <a:cubicBezTo>
                    <a:pt x="936" y="246"/>
                    <a:pt x="934" y="246"/>
                    <a:pt x="932" y="247"/>
                  </a:cubicBezTo>
                  <a:cubicBezTo>
                    <a:pt x="927" y="251"/>
                    <a:pt x="925" y="254"/>
                    <a:pt x="924" y="258"/>
                  </a:cubicBezTo>
                  <a:cubicBezTo>
                    <a:pt x="924" y="260"/>
                    <a:pt x="925" y="261"/>
                    <a:pt x="925" y="263"/>
                  </a:cubicBezTo>
                  <a:cubicBezTo>
                    <a:pt x="926" y="264"/>
                    <a:pt x="926" y="265"/>
                    <a:pt x="925" y="266"/>
                  </a:cubicBezTo>
                  <a:cubicBezTo>
                    <a:pt x="925" y="266"/>
                    <a:pt x="925" y="266"/>
                    <a:pt x="925" y="266"/>
                  </a:cubicBezTo>
                  <a:cubicBezTo>
                    <a:pt x="924" y="267"/>
                    <a:pt x="923" y="269"/>
                    <a:pt x="922" y="269"/>
                  </a:cubicBezTo>
                  <a:cubicBezTo>
                    <a:pt x="922" y="269"/>
                    <a:pt x="922" y="269"/>
                    <a:pt x="921" y="269"/>
                  </a:cubicBezTo>
                  <a:cubicBezTo>
                    <a:pt x="920" y="270"/>
                    <a:pt x="919" y="270"/>
                    <a:pt x="918" y="270"/>
                  </a:cubicBezTo>
                  <a:cubicBezTo>
                    <a:pt x="917" y="271"/>
                    <a:pt x="916" y="272"/>
                    <a:pt x="915" y="274"/>
                  </a:cubicBezTo>
                  <a:cubicBezTo>
                    <a:pt x="915" y="274"/>
                    <a:pt x="915" y="274"/>
                    <a:pt x="915" y="275"/>
                  </a:cubicBezTo>
                  <a:cubicBezTo>
                    <a:pt x="914" y="275"/>
                    <a:pt x="914" y="275"/>
                    <a:pt x="913" y="275"/>
                  </a:cubicBezTo>
                  <a:cubicBezTo>
                    <a:pt x="913" y="276"/>
                    <a:pt x="912" y="276"/>
                    <a:pt x="911" y="276"/>
                  </a:cubicBezTo>
                  <a:cubicBezTo>
                    <a:pt x="910" y="277"/>
                    <a:pt x="909" y="279"/>
                    <a:pt x="908" y="280"/>
                  </a:cubicBezTo>
                  <a:cubicBezTo>
                    <a:pt x="907" y="281"/>
                    <a:pt x="907" y="281"/>
                    <a:pt x="907" y="282"/>
                  </a:cubicBezTo>
                  <a:cubicBezTo>
                    <a:pt x="905" y="284"/>
                    <a:pt x="904" y="285"/>
                    <a:pt x="903" y="288"/>
                  </a:cubicBezTo>
                  <a:cubicBezTo>
                    <a:pt x="902" y="288"/>
                    <a:pt x="902" y="288"/>
                    <a:pt x="902" y="288"/>
                  </a:cubicBezTo>
                  <a:cubicBezTo>
                    <a:pt x="902" y="289"/>
                    <a:pt x="901" y="291"/>
                    <a:pt x="899" y="292"/>
                  </a:cubicBezTo>
                  <a:cubicBezTo>
                    <a:pt x="899" y="292"/>
                    <a:pt x="898" y="292"/>
                    <a:pt x="898" y="292"/>
                  </a:cubicBezTo>
                  <a:cubicBezTo>
                    <a:pt x="897" y="292"/>
                    <a:pt x="895" y="292"/>
                    <a:pt x="894" y="293"/>
                  </a:cubicBezTo>
                  <a:cubicBezTo>
                    <a:pt x="894" y="293"/>
                    <a:pt x="893" y="294"/>
                    <a:pt x="893" y="294"/>
                  </a:cubicBezTo>
                  <a:cubicBezTo>
                    <a:pt x="894" y="293"/>
                    <a:pt x="894" y="292"/>
                    <a:pt x="894" y="290"/>
                  </a:cubicBezTo>
                  <a:cubicBezTo>
                    <a:pt x="893" y="288"/>
                    <a:pt x="891" y="287"/>
                    <a:pt x="889" y="287"/>
                  </a:cubicBezTo>
                  <a:cubicBezTo>
                    <a:pt x="887" y="287"/>
                    <a:pt x="884" y="288"/>
                    <a:pt x="883" y="289"/>
                  </a:cubicBezTo>
                  <a:cubicBezTo>
                    <a:pt x="883" y="289"/>
                    <a:pt x="883" y="289"/>
                    <a:pt x="883" y="289"/>
                  </a:cubicBezTo>
                  <a:cubicBezTo>
                    <a:pt x="883" y="288"/>
                    <a:pt x="883" y="288"/>
                    <a:pt x="884" y="287"/>
                  </a:cubicBezTo>
                  <a:cubicBezTo>
                    <a:pt x="884" y="286"/>
                    <a:pt x="884" y="286"/>
                    <a:pt x="884" y="286"/>
                  </a:cubicBezTo>
                  <a:cubicBezTo>
                    <a:pt x="885" y="285"/>
                    <a:pt x="885" y="285"/>
                    <a:pt x="886" y="285"/>
                  </a:cubicBezTo>
                  <a:cubicBezTo>
                    <a:pt x="887" y="285"/>
                    <a:pt x="887" y="285"/>
                    <a:pt x="888" y="285"/>
                  </a:cubicBezTo>
                  <a:cubicBezTo>
                    <a:pt x="889" y="286"/>
                    <a:pt x="889" y="286"/>
                    <a:pt x="889" y="286"/>
                  </a:cubicBezTo>
                  <a:cubicBezTo>
                    <a:pt x="890" y="286"/>
                    <a:pt x="891" y="286"/>
                    <a:pt x="893" y="286"/>
                  </a:cubicBezTo>
                  <a:cubicBezTo>
                    <a:pt x="893" y="286"/>
                    <a:pt x="893" y="286"/>
                    <a:pt x="893" y="286"/>
                  </a:cubicBezTo>
                  <a:cubicBezTo>
                    <a:pt x="893" y="286"/>
                    <a:pt x="894" y="286"/>
                    <a:pt x="895" y="286"/>
                  </a:cubicBezTo>
                  <a:cubicBezTo>
                    <a:pt x="897" y="286"/>
                    <a:pt x="897" y="286"/>
                    <a:pt x="897" y="286"/>
                  </a:cubicBezTo>
                  <a:cubicBezTo>
                    <a:pt x="897" y="284"/>
                    <a:pt x="897" y="284"/>
                    <a:pt x="897" y="284"/>
                  </a:cubicBezTo>
                  <a:cubicBezTo>
                    <a:pt x="898" y="284"/>
                    <a:pt x="898" y="284"/>
                    <a:pt x="899" y="284"/>
                  </a:cubicBezTo>
                  <a:cubicBezTo>
                    <a:pt x="900" y="284"/>
                    <a:pt x="901" y="284"/>
                    <a:pt x="901" y="283"/>
                  </a:cubicBezTo>
                  <a:cubicBezTo>
                    <a:pt x="903" y="283"/>
                    <a:pt x="906" y="282"/>
                    <a:pt x="907" y="279"/>
                  </a:cubicBezTo>
                  <a:cubicBezTo>
                    <a:pt x="908" y="278"/>
                    <a:pt x="908" y="277"/>
                    <a:pt x="908" y="276"/>
                  </a:cubicBezTo>
                  <a:cubicBezTo>
                    <a:pt x="908" y="276"/>
                    <a:pt x="908" y="276"/>
                    <a:pt x="909" y="275"/>
                  </a:cubicBezTo>
                  <a:cubicBezTo>
                    <a:pt x="909" y="275"/>
                    <a:pt x="910" y="274"/>
                    <a:pt x="910" y="273"/>
                  </a:cubicBezTo>
                  <a:cubicBezTo>
                    <a:pt x="910" y="272"/>
                    <a:pt x="910" y="272"/>
                    <a:pt x="910" y="271"/>
                  </a:cubicBezTo>
                  <a:cubicBezTo>
                    <a:pt x="910" y="271"/>
                    <a:pt x="911" y="270"/>
                    <a:pt x="911" y="270"/>
                  </a:cubicBezTo>
                  <a:cubicBezTo>
                    <a:pt x="911" y="270"/>
                    <a:pt x="911" y="269"/>
                    <a:pt x="911" y="269"/>
                  </a:cubicBezTo>
                  <a:cubicBezTo>
                    <a:pt x="912" y="268"/>
                    <a:pt x="912" y="268"/>
                    <a:pt x="912" y="267"/>
                  </a:cubicBezTo>
                  <a:cubicBezTo>
                    <a:pt x="913" y="266"/>
                    <a:pt x="913" y="266"/>
                    <a:pt x="913" y="266"/>
                  </a:cubicBezTo>
                  <a:cubicBezTo>
                    <a:pt x="913" y="266"/>
                    <a:pt x="913" y="266"/>
                    <a:pt x="914" y="265"/>
                  </a:cubicBezTo>
                  <a:cubicBezTo>
                    <a:pt x="914" y="265"/>
                    <a:pt x="914" y="265"/>
                    <a:pt x="914" y="265"/>
                  </a:cubicBezTo>
                  <a:cubicBezTo>
                    <a:pt x="915" y="264"/>
                    <a:pt x="915" y="263"/>
                    <a:pt x="916" y="261"/>
                  </a:cubicBezTo>
                  <a:cubicBezTo>
                    <a:pt x="916" y="261"/>
                    <a:pt x="916" y="260"/>
                    <a:pt x="916" y="260"/>
                  </a:cubicBezTo>
                  <a:cubicBezTo>
                    <a:pt x="916" y="259"/>
                    <a:pt x="916" y="259"/>
                    <a:pt x="916" y="258"/>
                  </a:cubicBezTo>
                  <a:cubicBezTo>
                    <a:pt x="917" y="258"/>
                    <a:pt x="918" y="258"/>
                    <a:pt x="918" y="257"/>
                  </a:cubicBezTo>
                  <a:cubicBezTo>
                    <a:pt x="920" y="255"/>
                    <a:pt x="920" y="252"/>
                    <a:pt x="920" y="250"/>
                  </a:cubicBezTo>
                  <a:cubicBezTo>
                    <a:pt x="920" y="250"/>
                    <a:pt x="920" y="249"/>
                    <a:pt x="920" y="249"/>
                  </a:cubicBezTo>
                  <a:cubicBezTo>
                    <a:pt x="920" y="248"/>
                    <a:pt x="920" y="248"/>
                    <a:pt x="921" y="247"/>
                  </a:cubicBezTo>
                  <a:cubicBezTo>
                    <a:pt x="921" y="246"/>
                    <a:pt x="922" y="245"/>
                    <a:pt x="922" y="243"/>
                  </a:cubicBezTo>
                  <a:cubicBezTo>
                    <a:pt x="922" y="243"/>
                    <a:pt x="922" y="242"/>
                    <a:pt x="922" y="242"/>
                  </a:cubicBezTo>
                  <a:cubicBezTo>
                    <a:pt x="922" y="241"/>
                    <a:pt x="922" y="240"/>
                    <a:pt x="922" y="240"/>
                  </a:cubicBezTo>
                  <a:cubicBezTo>
                    <a:pt x="922" y="240"/>
                    <a:pt x="922" y="239"/>
                    <a:pt x="923" y="239"/>
                  </a:cubicBezTo>
                  <a:cubicBezTo>
                    <a:pt x="923" y="239"/>
                    <a:pt x="923" y="238"/>
                    <a:pt x="924" y="238"/>
                  </a:cubicBezTo>
                  <a:cubicBezTo>
                    <a:pt x="924" y="237"/>
                    <a:pt x="928" y="231"/>
                    <a:pt x="925" y="227"/>
                  </a:cubicBezTo>
                  <a:cubicBezTo>
                    <a:pt x="923" y="225"/>
                    <a:pt x="920" y="225"/>
                    <a:pt x="918" y="225"/>
                  </a:cubicBezTo>
                  <a:cubicBezTo>
                    <a:pt x="917" y="225"/>
                    <a:pt x="916" y="225"/>
                    <a:pt x="915" y="225"/>
                  </a:cubicBezTo>
                  <a:cubicBezTo>
                    <a:pt x="914" y="224"/>
                    <a:pt x="912" y="224"/>
                    <a:pt x="910" y="224"/>
                  </a:cubicBezTo>
                  <a:cubicBezTo>
                    <a:pt x="910" y="224"/>
                    <a:pt x="910" y="224"/>
                    <a:pt x="909" y="224"/>
                  </a:cubicBezTo>
                  <a:cubicBezTo>
                    <a:pt x="908" y="224"/>
                    <a:pt x="908" y="223"/>
                    <a:pt x="907" y="223"/>
                  </a:cubicBezTo>
                  <a:cubicBezTo>
                    <a:pt x="906" y="223"/>
                    <a:pt x="906" y="223"/>
                    <a:pt x="905" y="222"/>
                  </a:cubicBezTo>
                  <a:cubicBezTo>
                    <a:pt x="902" y="221"/>
                    <a:pt x="898" y="220"/>
                    <a:pt x="895" y="220"/>
                  </a:cubicBezTo>
                  <a:cubicBezTo>
                    <a:pt x="892" y="220"/>
                    <a:pt x="889" y="221"/>
                    <a:pt x="887" y="222"/>
                  </a:cubicBezTo>
                  <a:cubicBezTo>
                    <a:pt x="887" y="221"/>
                    <a:pt x="888" y="221"/>
                    <a:pt x="888" y="221"/>
                  </a:cubicBezTo>
                  <a:cubicBezTo>
                    <a:pt x="888" y="219"/>
                    <a:pt x="888" y="216"/>
                    <a:pt x="886" y="214"/>
                  </a:cubicBezTo>
                  <a:cubicBezTo>
                    <a:pt x="884" y="212"/>
                    <a:pt x="883" y="212"/>
                    <a:pt x="882" y="212"/>
                  </a:cubicBezTo>
                  <a:cubicBezTo>
                    <a:pt x="881" y="212"/>
                    <a:pt x="881" y="212"/>
                    <a:pt x="881" y="212"/>
                  </a:cubicBezTo>
                  <a:cubicBezTo>
                    <a:pt x="881" y="211"/>
                    <a:pt x="881" y="211"/>
                    <a:pt x="880" y="211"/>
                  </a:cubicBezTo>
                  <a:cubicBezTo>
                    <a:pt x="880" y="211"/>
                    <a:pt x="879" y="211"/>
                    <a:pt x="878" y="210"/>
                  </a:cubicBezTo>
                  <a:cubicBezTo>
                    <a:pt x="879" y="210"/>
                    <a:pt x="879" y="210"/>
                    <a:pt x="879" y="210"/>
                  </a:cubicBezTo>
                  <a:cubicBezTo>
                    <a:pt x="880" y="208"/>
                    <a:pt x="880" y="207"/>
                    <a:pt x="880" y="205"/>
                  </a:cubicBezTo>
                  <a:cubicBezTo>
                    <a:pt x="879" y="203"/>
                    <a:pt x="878" y="202"/>
                    <a:pt x="877" y="201"/>
                  </a:cubicBezTo>
                  <a:cubicBezTo>
                    <a:pt x="876" y="201"/>
                    <a:pt x="875" y="200"/>
                    <a:pt x="874" y="200"/>
                  </a:cubicBezTo>
                  <a:cubicBezTo>
                    <a:pt x="873" y="200"/>
                    <a:pt x="872" y="200"/>
                    <a:pt x="871" y="201"/>
                  </a:cubicBezTo>
                  <a:cubicBezTo>
                    <a:pt x="871" y="201"/>
                    <a:pt x="870" y="201"/>
                    <a:pt x="870" y="201"/>
                  </a:cubicBezTo>
                  <a:cubicBezTo>
                    <a:pt x="869" y="201"/>
                    <a:pt x="869" y="201"/>
                    <a:pt x="868" y="201"/>
                  </a:cubicBezTo>
                  <a:cubicBezTo>
                    <a:pt x="867" y="201"/>
                    <a:pt x="867" y="201"/>
                    <a:pt x="867" y="201"/>
                  </a:cubicBezTo>
                  <a:cubicBezTo>
                    <a:pt x="866" y="201"/>
                    <a:pt x="864" y="201"/>
                    <a:pt x="863" y="201"/>
                  </a:cubicBezTo>
                  <a:cubicBezTo>
                    <a:pt x="862" y="202"/>
                    <a:pt x="862" y="202"/>
                    <a:pt x="861" y="202"/>
                  </a:cubicBezTo>
                  <a:cubicBezTo>
                    <a:pt x="861" y="200"/>
                    <a:pt x="861" y="200"/>
                    <a:pt x="861" y="200"/>
                  </a:cubicBezTo>
                  <a:cubicBezTo>
                    <a:pt x="861" y="199"/>
                    <a:pt x="862" y="199"/>
                    <a:pt x="862" y="199"/>
                  </a:cubicBezTo>
                  <a:cubicBezTo>
                    <a:pt x="863" y="198"/>
                    <a:pt x="865" y="197"/>
                    <a:pt x="865" y="195"/>
                  </a:cubicBezTo>
                  <a:cubicBezTo>
                    <a:pt x="867" y="193"/>
                    <a:pt x="866" y="191"/>
                    <a:pt x="865" y="190"/>
                  </a:cubicBezTo>
                  <a:cubicBezTo>
                    <a:pt x="865" y="189"/>
                    <a:pt x="863" y="188"/>
                    <a:pt x="861" y="188"/>
                  </a:cubicBezTo>
                  <a:cubicBezTo>
                    <a:pt x="862" y="187"/>
                    <a:pt x="862" y="187"/>
                    <a:pt x="862" y="186"/>
                  </a:cubicBezTo>
                  <a:cubicBezTo>
                    <a:pt x="862" y="186"/>
                    <a:pt x="862" y="186"/>
                    <a:pt x="863" y="186"/>
                  </a:cubicBezTo>
                  <a:cubicBezTo>
                    <a:pt x="863" y="186"/>
                    <a:pt x="863" y="186"/>
                    <a:pt x="863" y="185"/>
                  </a:cubicBezTo>
                  <a:cubicBezTo>
                    <a:pt x="865" y="184"/>
                    <a:pt x="867" y="183"/>
                    <a:pt x="867" y="180"/>
                  </a:cubicBezTo>
                  <a:cubicBezTo>
                    <a:pt x="867" y="180"/>
                    <a:pt x="867" y="178"/>
                    <a:pt x="865" y="177"/>
                  </a:cubicBezTo>
                  <a:cubicBezTo>
                    <a:pt x="864" y="177"/>
                    <a:pt x="864" y="177"/>
                    <a:pt x="864" y="177"/>
                  </a:cubicBezTo>
                  <a:cubicBezTo>
                    <a:pt x="864" y="177"/>
                    <a:pt x="864" y="177"/>
                    <a:pt x="864" y="177"/>
                  </a:cubicBezTo>
                  <a:cubicBezTo>
                    <a:pt x="865" y="176"/>
                    <a:pt x="866" y="176"/>
                    <a:pt x="867" y="175"/>
                  </a:cubicBezTo>
                  <a:cubicBezTo>
                    <a:pt x="870" y="173"/>
                    <a:pt x="869" y="170"/>
                    <a:pt x="868" y="169"/>
                  </a:cubicBezTo>
                  <a:cubicBezTo>
                    <a:pt x="868" y="168"/>
                    <a:pt x="868" y="168"/>
                    <a:pt x="868" y="167"/>
                  </a:cubicBezTo>
                  <a:cubicBezTo>
                    <a:pt x="868" y="167"/>
                    <a:pt x="868" y="167"/>
                    <a:pt x="868" y="166"/>
                  </a:cubicBezTo>
                  <a:cubicBezTo>
                    <a:pt x="869" y="165"/>
                    <a:pt x="869" y="164"/>
                    <a:pt x="870" y="163"/>
                  </a:cubicBezTo>
                  <a:cubicBezTo>
                    <a:pt x="870" y="161"/>
                    <a:pt x="870" y="159"/>
                    <a:pt x="870" y="157"/>
                  </a:cubicBezTo>
                  <a:cubicBezTo>
                    <a:pt x="870" y="157"/>
                    <a:pt x="870" y="156"/>
                    <a:pt x="870" y="155"/>
                  </a:cubicBezTo>
                  <a:cubicBezTo>
                    <a:pt x="870" y="150"/>
                    <a:pt x="869" y="147"/>
                    <a:pt x="865" y="142"/>
                  </a:cubicBezTo>
                  <a:cubicBezTo>
                    <a:pt x="862" y="140"/>
                    <a:pt x="860" y="140"/>
                    <a:pt x="857" y="140"/>
                  </a:cubicBezTo>
                  <a:cubicBezTo>
                    <a:pt x="857" y="140"/>
                    <a:pt x="855" y="140"/>
                    <a:pt x="855" y="140"/>
                  </a:cubicBezTo>
                  <a:cubicBezTo>
                    <a:pt x="854" y="140"/>
                    <a:pt x="854" y="140"/>
                    <a:pt x="853" y="140"/>
                  </a:cubicBezTo>
                  <a:cubicBezTo>
                    <a:pt x="853" y="140"/>
                    <a:pt x="853" y="140"/>
                    <a:pt x="853" y="139"/>
                  </a:cubicBezTo>
                  <a:cubicBezTo>
                    <a:pt x="857" y="137"/>
                    <a:pt x="855" y="133"/>
                    <a:pt x="854" y="131"/>
                  </a:cubicBezTo>
                  <a:cubicBezTo>
                    <a:pt x="854" y="130"/>
                    <a:pt x="853" y="129"/>
                    <a:pt x="853" y="128"/>
                  </a:cubicBezTo>
                  <a:cubicBezTo>
                    <a:pt x="853" y="126"/>
                    <a:pt x="853" y="126"/>
                    <a:pt x="853" y="126"/>
                  </a:cubicBezTo>
                  <a:cubicBezTo>
                    <a:pt x="851" y="126"/>
                    <a:pt x="851" y="126"/>
                    <a:pt x="851" y="126"/>
                  </a:cubicBezTo>
                  <a:cubicBezTo>
                    <a:pt x="851" y="126"/>
                    <a:pt x="851" y="126"/>
                    <a:pt x="850" y="126"/>
                  </a:cubicBezTo>
                  <a:cubicBezTo>
                    <a:pt x="850" y="125"/>
                    <a:pt x="849" y="123"/>
                    <a:pt x="846" y="123"/>
                  </a:cubicBezTo>
                  <a:cubicBezTo>
                    <a:pt x="846" y="123"/>
                    <a:pt x="845" y="123"/>
                    <a:pt x="845" y="124"/>
                  </a:cubicBezTo>
                  <a:cubicBezTo>
                    <a:pt x="843" y="124"/>
                    <a:pt x="842" y="126"/>
                    <a:pt x="843" y="128"/>
                  </a:cubicBezTo>
                  <a:cubicBezTo>
                    <a:pt x="843" y="128"/>
                    <a:pt x="843" y="128"/>
                    <a:pt x="843" y="128"/>
                  </a:cubicBezTo>
                  <a:cubicBezTo>
                    <a:pt x="842" y="127"/>
                    <a:pt x="842" y="127"/>
                    <a:pt x="842" y="127"/>
                  </a:cubicBezTo>
                  <a:cubicBezTo>
                    <a:pt x="841" y="127"/>
                    <a:pt x="841" y="127"/>
                    <a:pt x="840" y="125"/>
                  </a:cubicBezTo>
                  <a:cubicBezTo>
                    <a:pt x="840" y="123"/>
                    <a:pt x="840" y="121"/>
                    <a:pt x="839" y="119"/>
                  </a:cubicBezTo>
                  <a:cubicBezTo>
                    <a:pt x="839" y="117"/>
                    <a:pt x="839" y="115"/>
                    <a:pt x="838" y="114"/>
                  </a:cubicBezTo>
                  <a:cubicBezTo>
                    <a:pt x="838" y="111"/>
                    <a:pt x="837" y="108"/>
                    <a:pt x="836" y="105"/>
                  </a:cubicBezTo>
                  <a:cubicBezTo>
                    <a:pt x="835" y="104"/>
                    <a:pt x="835" y="103"/>
                    <a:pt x="834" y="102"/>
                  </a:cubicBezTo>
                  <a:cubicBezTo>
                    <a:pt x="834" y="101"/>
                    <a:pt x="833" y="100"/>
                    <a:pt x="833" y="98"/>
                  </a:cubicBezTo>
                  <a:cubicBezTo>
                    <a:pt x="831" y="93"/>
                    <a:pt x="829" y="87"/>
                    <a:pt x="828" y="81"/>
                  </a:cubicBezTo>
                  <a:cubicBezTo>
                    <a:pt x="828" y="79"/>
                    <a:pt x="828" y="76"/>
                    <a:pt x="828" y="73"/>
                  </a:cubicBezTo>
                  <a:cubicBezTo>
                    <a:pt x="829" y="68"/>
                    <a:pt x="829" y="64"/>
                    <a:pt x="828" y="60"/>
                  </a:cubicBezTo>
                  <a:cubicBezTo>
                    <a:pt x="827" y="58"/>
                    <a:pt x="826" y="57"/>
                    <a:pt x="825" y="56"/>
                  </a:cubicBezTo>
                  <a:cubicBezTo>
                    <a:pt x="824" y="55"/>
                    <a:pt x="824" y="55"/>
                    <a:pt x="824" y="54"/>
                  </a:cubicBezTo>
                  <a:cubicBezTo>
                    <a:pt x="823" y="53"/>
                    <a:pt x="823" y="52"/>
                    <a:pt x="823" y="51"/>
                  </a:cubicBezTo>
                  <a:cubicBezTo>
                    <a:pt x="823" y="49"/>
                    <a:pt x="824" y="47"/>
                    <a:pt x="823" y="45"/>
                  </a:cubicBezTo>
                  <a:cubicBezTo>
                    <a:pt x="821" y="41"/>
                    <a:pt x="820" y="39"/>
                    <a:pt x="817" y="37"/>
                  </a:cubicBezTo>
                  <a:cubicBezTo>
                    <a:pt x="816" y="37"/>
                    <a:pt x="815" y="36"/>
                    <a:pt x="814" y="36"/>
                  </a:cubicBezTo>
                  <a:cubicBezTo>
                    <a:pt x="813" y="36"/>
                    <a:pt x="812" y="35"/>
                    <a:pt x="811" y="34"/>
                  </a:cubicBezTo>
                  <a:cubicBezTo>
                    <a:pt x="808" y="31"/>
                    <a:pt x="808" y="31"/>
                    <a:pt x="808" y="31"/>
                  </a:cubicBezTo>
                  <a:cubicBezTo>
                    <a:pt x="807" y="36"/>
                    <a:pt x="807" y="36"/>
                    <a:pt x="807" y="36"/>
                  </a:cubicBezTo>
                  <a:cubicBezTo>
                    <a:pt x="807" y="37"/>
                    <a:pt x="807" y="37"/>
                    <a:pt x="807" y="38"/>
                  </a:cubicBezTo>
                  <a:cubicBezTo>
                    <a:pt x="807" y="41"/>
                    <a:pt x="806" y="44"/>
                    <a:pt x="806" y="47"/>
                  </a:cubicBezTo>
                  <a:cubicBezTo>
                    <a:pt x="805" y="50"/>
                    <a:pt x="803" y="52"/>
                    <a:pt x="801" y="54"/>
                  </a:cubicBezTo>
                  <a:cubicBezTo>
                    <a:pt x="799" y="55"/>
                    <a:pt x="798" y="57"/>
                    <a:pt x="797" y="58"/>
                  </a:cubicBezTo>
                  <a:cubicBezTo>
                    <a:pt x="794" y="62"/>
                    <a:pt x="792" y="67"/>
                    <a:pt x="790" y="72"/>
                  </a:cubicBezTo>
                  <a:cubicBezTo>
                    <a:pt x="790" y="73"/>
                    <a:pt x="790" y="73"/>
                    <a:pt x="790" y="73"/>
                  </a:cubicBezTo>
                  <a:cubicBezTo>
                    <a:pt x="789" y="75"/>
                    <a:pt x="788" y="78"/>
                    <a:pt x="786" y="80"/>
                  </a:cubicBezTo>
                  <a:cubicBezTo>
                    <a:pt x="786" y="80"/>
                    <a:pt x="785" y="81"/>
                    <a:pt x="784" y="82"/>
                  </a:cubicBezTo>
                  <a:cubicBezTo>
                    <a:pt x="783" y="83"/>
                    <a:pt x="782" y="84"/>
                    <a:pt x="782" y="85"/>
                  </a:cubicBezTo>
                  <a:cubicBezTo>
                    <a:pt x="781" y="86"/>
                    <a:pt x="780" y="88"/>
                    <a:pt x="780" y="89"/>
                  </a:cubicBezTo>
                  <a:cubicBezTo>
                    <a:pt x="780" y="90"/>
                    <a:pt x="779" y="91"/>
                    <a:pt x="779" y="92"/>
                  </a:cubicBezTo>
                  <a:cubicBezTo>
                    <a:pt x="778" y="94"/>
                    <a:pt x="777" y="95"/>
                    <a:pt x="776" y="97"/>
                  </a:cubicBezTo>
                  <a:cubicBezTo>
                    <a:pt x="776" y="98"/>
                    <a:pt x="775" y="99"/>
                    <a:pt x="775" y="100"/>
                  </a:cubicBezTo>
                  <a:cubicBezTo>
                    <a:pt x="774" y="102"/>
                    <a:pt x="773" y="104"/>
                    <a:pt x="773" y="107"/>
                  </a:cubicBezTo>
                  <a:cubicBezTo>
                    <a:pt x="773" y="110"/>
                    <a:pt x="772" y="113"/>
                    <a:pt x="770" y="115"/>
                  </a:cubicBezTo>
                  <a:cubicBezTo>
                    <a:pt x="767" y="120"/>
                    <a:pt x="762" y="125"/>
                    <a:pt x="758" y="127"/>
                  </a:cubicBezTo>
                  <a:cubicBezTo>
                    <a:pt x="757" y="127"/>
                    <a:pt x="756" y="128"/>
                    <a:pt x="755" y="128"/>
                  </a:cubicBezTo>
                  <a:cubicBezTo>
                    <a:pt x="752" y="128"/>
                    <a:pt x="751" y="126"/>
                    <a:pt x="749" y="125"/>
                  </a:cubicBezTo>
                  <a:cubicBezTo>
                    <a:pt x="748" y="124"/>
                    <a:pt x="746" y="123"/>
                    <a:pt x="745" y="123"/>
                  </a:cubicBezTo>
                  <a:cubicBezTo>
                    <a:pt x="744" y="123"/>
                    <a:pt x="744" y="123"/>
                    <a:pt x="743" y="123"/>
                  </a:cubicBezTo>
                  <a:cubicBezTo>
                    <a:pt x="742" y="123"/>
                    <a:pt x="741" y="123"/>
                    <a:pt x="740" y="123"/>
                  </a:cubicBezTo>
                  <a:cubicBezTo>
                    <a:pt x="739" y="124"/>
                    <a:pt x="738" y="124"/>
                    <a:pt x="736" y="124"/>
                  </a:cubicBezTo>
                  <a:cubicBezTo>
                    <a:pt x="736" y="124"/>
                    <a:pt x="736" y="124"/>
                    <a:pt x="736" y="124"/>
                  </a:cubicBezTo>
                  <a:cubicBezTo>
                    <a:pt x="734" y="124"/>
                    <a:pt x="733" y="123"/>
                    <a:pt x="732" y="122"/>
                  </a:cubicBezTo>
                  <a:cubicBezTo>
                    <a:pt x="731" y="121"/>
                    <a:pt x="730" y="121"/>
                    <a:pt x="729" y="121"/>
                  </a:cubicBezTo>
                  <a:cubicBezTo>
                    <a:pt x="728" y="120"/>
                    <a:pt x="728" y="120"/>
                    <a:pt x="727" y="120"/>
                  </a:cubicBezTo>
                  <a:cubicBezTo>
                    <a:pt x="724" y="120"/>
                    <a:pt x="721" y="123"/>
                    <a:pt x="719" y="126"/>
                  </a:cubicBezTo>
                  <a:cubicBezTo>
                    <a:pt x="718" y="127"/>
                    <a:pt x="718" y="127"/>
                    <a:pt x="718" y="127"/>
                  </a:cubicBezTo>
                  <a:cubicBezTo>
                    <a:pt x="716" y="129"/>
                    <a:pt x="715" y="130"/>
                    <a:pt x="714" y="130"/>
                  </a:cubicBezTo>
                  <a:cubicBezTo>
                    <a:pt x="712" y="130"/>
                    <a:pt x="711" y="129"/>
                    <a:pt x="710" y="128"/>
                  </a:cubicBezTo>
                  <a:cubicBezTo>
                    <a:pt x="708" y="128"/>
                    <a:pt x="707" y="127"/>
                    <a:pt x="705" y="126"/>
                  </a:cubicBezTo>
                  <a:cubicBezTo>
                    <a:pt x="702" y="126"/>
                    <a:pt x="700" y="125"/>
                    <a:pt x="698" y="123"/>
                  </a:cubicBezTo>
                  <a:cubicBezTo>
                    <a:pt x="698" y="122"/>
                    <a:pt x="698" y="122"/>
                    <a:pt x="698" y="122"/>
                  </a:cubicBezTo>
                  <a:cubicBezTo>
                    <a:pt x="697" y="122"/>
                    <a:pt x="697" y="122"/>
                    <a:pt x="697" y="122"/>
                  </a:cubicBezTo>
                  <a:cubicBezTo>
                    <a:pt x="696" y="122"/>
                    <a:pt x="695" y="121"/>
                    <a:pt x="694" y="120"/>
                  </a:cubicBezTo>
                  <a:cubicBezTo>
                    <a:pt x="693" y="119"/>
                    <a:pt x="691" y="118"/>
                    <a:pt x="690" y="118"/>
                  </a:cubicBezTo>
                  <a:cubicBezTo>
                    <a:pt x="689" y="117"/>
                    <a:pt x="687" y="117"/>
                    <a:pt x="686" y="116"/>
                  </a:cubicBezTo>
                  <a:cubicBezTo>
                    <a:pt x="686" y="115"/>
                    <a:pt x="686" y="114"/>
                    <a:pt x="685" y="114"/>
                  </a:cubicBezTo>
                  <a:cubicBezTo>
                    <a:pt x="685" y="113"/>
                    <a:pt x="684" y="112"/>
                    <a:pt x="684" y="112"/>
                  </a:cubicBezTo>
                  <a:cubicBezTo>
                    <a:pt x="683" y="111"/>
                    <a:pt x="683" y="111"/>
                    <a:pt x="683" y="111"/>
                  </a:cubicBezTo>
                  <a:cubicBezTo>
                    <a:pt x="682" y="111"/>
                    <a:pt x="682" y="111"/>
                    <a:pt x="682" y="111"/>
                  </a:cubicBezTo>
                  <a:cubicBezTo>
                    <a:pt x="681" y="111"/>
                    <a:pt x="681" y="112"/>
                    <a:pt x="680" y="113"/>
                  </a:cubicBezTo>
                  <a:cubicBezTo>
                    <a:pt x="679" y="113"/>
                    <a:pt x="678" y="114"/>
                    <a:pt x="677" y="114"/>
                  </a:cubicBezTo>
                  <a:cubicBezTo>
                    <a:pt x="676" y="114"/>
                    <a:pt x="675" y="114"/>
                    <a:pt x="674" y="115"/>
                  </a:cubicBezTo>
                  <a:cubicBezTo>
                    <a:pt x="673" y="115"/>
                    <a:pt x="672" y="115"/>
                    <a:pt x="671" y="116"/>
                  </a:cubicBezTo>
                  <a:cubicBezTo>
                    <a:pt x="669" y="117"/>
                    <a:pt x="667" y="117"/>
                    <a:pt x="665" y="117"/>
                  </a:cubicBezTo>
                  <a:cubicBezTo>
                    <a:pt x="664" y="117"/>
                    <a:pt x="664" y="117"/>
                    <a:pt x="664" y="117"/>
                  </a:cubicBezTo>
                  <a:cubicBezTo>
                    <a:pt x="663" y="117"/>
                    <a:pt x="663" y="118"/>
                    <a:pt x="662" y="118"/>
                  </a:cubicBezTo>
                  <a:cubicBezTo>
                    <a:pt x="660" y="118"/>
                    <a:pt x="659" y="119"/>
                    <a:pt x="658" y="119"/>
                  </a:cubicBezTo>
                  <a:cubicBezTo>
                    <a:pt x="656" y="119"/>
                    <a:pt x="655" y="118"/>
                    <a:pt x="654" y="117"/>
                  </a:cubicBezTo>
                  <a:cubicBezTo>
                    <a:pt x="653" y="117"/>
                    <a:pt x="653" y="116"/>
                    <a:pt x="653" y="116"/>
                  </a:cubicBezTo>
                  <a:cubicBezTo>
                    <a:pt x="650" y="115"/>
                    <a:pt x="650" y="115"/>
                    <a:pt x="650" y="115"/>
                  </a:cubicBezTo>
                  <a:cubicBezTo>
                    <a:pt x="649" y="117"/>
                    <a:pt x="649" y="117"/>
                    <a:pt x="649" y="117"/>
                  </a:cubicBezTo>
                  <a:cubicBezTo>
                    <a:pt x="649" y="117"/>
                    <a:pt x="649" y="118"/>
                    <a:pt x="648" y="118"/>
                  </a:cubicBezTo>
                  <a:cubicBezTo>
                    <a:pt x="648" y="119"/>
                    <a:pt x="647" y="119"/>
                    <a:pt x="646" y="120"/>
                  </a:cubicBezTo>
                  <a:cubicBezTo>
                    <a:pt x="645" y="121"/>
                    <a:pt x="645" y="121"/>
                    <a:pt x="644" y="122"/>
                  </a:cubicBezTo>
                  <a:cubicBezTo>
                    <a:pt x="643" y="123"/>
                    <a:pt x="643" y="123"/>
                    <a:pt x="643" y="123"/>
                  </a:cubicBezTo>
                  <a:cubicBezTo>
                    <a:pt x="644" y="124"/>
                    <a:pt x="644" y="124"/>
                    <a:pt x="644" y="124"/>
                  </a:cubicBezTo>
                  <a:cubicBezTo>
                    <a:pt x="644" y="125"/>
                    <a:pt x="645" y="125"/>
                    <a:pt x="646" y="127"/>
                  </a:cubicBezTo>
                  <a:cubicBezTo>
                    <a:pt x="647" y="127"/>
                    <a:pt x="648" y="128"/>
                    <a:pt x="648" y="129"/>
                  </a:cubicBezTo>
                  <a:cubicBezTo>
                    <a:pt x="650" y="133"/>
                    <a:pt x="651" y="137"/>
                    <a:pt x="650" y="139"/>
                  </a:cubicBezTo>
                  <a:cubicBezTo>
                    <a:pt x="648" y="141"/>
                    <a:pt x="647" y="141"/>
                    <a:pt x="646" y="141"/>
                  </a:cubicBezTo>
                  <a:cubicBezTo>
                    <a:pt x="645" y="141"/>
                    <a:pt x="644" y="141"/>
                    <a:pt x="643" y="140"/>
                  </a:cubicBezTo>
                  <a:cubicBezTo>
                    <a:pt x="642" y="140"/>
                    <a:pt x="642" y="140"/>
                    <a:pt x="642" y="140"/>
                  </a:cubicBezTo>
                  <a:cubicBezTo>
                    <a:pt x="640" y="139"/>
                    <a:pt x="638" y="139"/>
                    <a:pt x="636" y="139"/>
                  </a:cubicBezTo>
                  <a:cubicBezTo>
                    <a:pt x="635" y="138"/>
                    <a:pt x="634" y="138"/>
                    <a:pt x="633" y="138"/>
                  </a:cubicBezTo>
                  <a:cubicBezTo>
                    <a:pt x="632" y="138"/>
                    <a:pt x="631" y="138"/>
                    <a:pt x="631" y="138"/>
                  </a:cubicBezTo>
                  <a:cubicBezTo>
                    <a:pt x="629" y="138"/>
                    <a:pt x="628" y="138"/>
                    <a:pt x="626" y="138"/>
                  </a:cubicBezTo>
                  <a:cubicBezTo>
                    <a:pt x="626" y="139"/>
                    <a:pt x="626" y="139"/>
                    <a:pt x="626" y="139"/>
                  </a:cubicBezTo>
                  <a:cubicBezTo>
                    <a:pt x="624" y="139"/>
                    <a:pt x="623" y="139"/>
                    <a:pt x="622" y="139"/>
                  </a:cubicBezTo>
                  <a:cubicBezTo>
                    <a:pt x="622" y="139"/>
                    <a:pt x="622" y="139"/>
                    <a:pt x="622" y="139"/>
                  </a:cubicBezTo>
                  <a:cubicBezTo>
                    <a:pt x="621" y="139"/>
                    <a:pt x="621" y="139"/>
                    <a:pt x="621" y="139"/>
                  </a:cubicBezTo>
                  <a:cubicBezTo>
                    <a:pt x="621" y="139"/>
                    <a:pt x="621" y="139"/>
                    <a:pt x="621" y="139"/>
                  </a:cubicBezTo>
                  <a:cubicBezTo>
                    <a:pt x="620" y="139"/>
                    <a:pt x="620" y="139"/>
                    <a:pt x="619" y="139"/>
                  </a:cubicBezTo>
                  <a:cubicBezTo>
                    <a:pt x="618" y="139"/>
                    <a:pt x="618" y="139"/>
                    <a:pt x="617" y="139"/>
                  </a:cubicBezTo>
                  <a:cubicBezTo>
                    <a:pt x="614" y="139"/>
                    <a:pt x="612" y="138"/>
                    <a:pt x="610" y="136"/>
                  </a:cubicBezTo>
                  <a:cubicBezTo>
                    <a:pt x="608" y="136"/>
                    <a:pt x="607" y="135"/>
                    <a:pt x="606" y="135"/>
                  </a:cubicBezTo>
                  <a:cubicBezTo>
                    <a:pt x="604" y="134"/>
                    <a:pt x="603" y="134"/>
                    <a:pt x="602" y="134"/>
                  </a:cubicBezTo>
                  <a:cubicBezTo>
                    <a:pt x="598" y="134"/>
                    <a:pt x="596" y="138"/>
                    <a:pt x="594" y="142"/>
                  </a:cubicBezTo>
                  <a:cubicBezTo>
                    <a:pt x="593" y="143"/>
                    <a:pt x="593" y="143"/>
                    <a:pt x="593" y="143"/>
                  </a:cubicBezTo>
                  <a:cubicBezTo>
                    <a:pt x="591" y="147"/>
                    <a:pt x="587" y="148"/>
                    <a:pt x="584" y="148"/>
                  </a:cubicBezTo>
                  <a:cubicBezTo>
                    <a:pt x="582" y="148"/>
                    <a:pt x="579" y="148"/>
                    <a:pt x="577" y="149"/>
                  </a:cubicBezTo>
                  <a:cubicBezTo>
                    <a:pt x="576" y="149"/>
                    <a:pt x="576" y="150"/>
                    <a:pt x="575" y="151"/>
                  </a:cubicBezTo>
                  <a:cubicBezTo>
                    <a:pt x="574" y="152"/>
                    <a:pt x="573" y="153"/>
                    <a:pt x="571" y="154"/>
                  </a:cubicBezTo>
                  <a:cubicBezTo>
                    <a:pt x="571" y="154"/>
                    <a:pt x="570" y="154"/>
                    <a:pt x="569" y="154"/>
                  </a:cubicBezTo>
                  <a:cubicBezTo>
                    <a:pt x="568" y="154"/>
                    <a:pt x="567" y="154"/>
                    <a:pt x="566" y="154"/>
                  </a:cubicBezTo>
                  <a:cubicBezTo>
                    <a:pt x="565" y="153"/>
                    <a:pt x="565" y="153"/>
                    <a:pt x="564" y="153"/>
                  </a:cubicBezTo>
                  <a:cubicBezTo>
                    <a:pt x="564" y="153"/>
                    <a:pt x="563" y="153"/>
                    <a:pt x="563" y="153"/>
                  </a:cubicBezTo>
                  <a:cubicBezTo>
                    <a:pt x="559" y="153"/>
                    <a:pt x="556" y="157"/>
                    <a:pt x="555" y="165"/>
                  </a:cubicBezTo>
                  <a:cubicBezTo>
                    <a:pt x="555" y="165"/>
                    <a:pt x="555" y="165"/>
                    <a:pt x="555" y="165"/>
                  </a:cubicBezTo>
                  <a:cubicBezTo>
                    <a:pt x="555" y="165"/>
                    <a:pt x="554" y="165"/>
                    <a:pt x="554" y="165"/>
                  </a:cubicBezTo>
                  <a:cubicBezTo>
                    <a:pt x="553" y="165"/>
                    <a:pt x="552" y="165"/>
                    <a:pt x="551" y="165"/>
                  </a:cubicBezTo>
                  <a:cubicBezTo>
                    <a:pt x="550" y="164"/>
                    <a:pt x="550" y="164"/>
                    <a:pt x="549" y="164"/>
                  </a:cubicBezTo>
                  <a:cubicBezTo>
                    <a:pt x="548" y="164"/>
                    <a:pt x="548" y="164"/>
                    <a:pt x="548" y="164"/>
                  </a:cubicBezTo>
                  <a:cubicBezTo>
                    <a:pt x="546" y="165"/>
                    <a:pt x="546" y="166"/>
                    <a:pt x="546" y="166"/>
                  </a:cubicBezTo>
                  <a:cubicBezTo>
                    <a:pt x="546" y="167"/>
                    <a:pt x="545" y="168"/>
                    <a:pt x="544" y="169"/>
                  </a:cubicBezTo>
                  <a:cubicBezTo>
                    <a:pt x="544" y="169"/>
                    <a:pt x="543" y="169"/>
                    <a:pt x="543" y="169"/>
                  </a:cubicBezTo>
                  <a:cubicBezTo>
                    <a:pt x="541" y="169"/>
                    <a:pt x="539" y="167"/>
                    <a:pt x="538" y="165"/>
                  </a:cubicBezTo>
                  <a:cubicBezTo>
                    <a:pt x="538" y="164"/>
                    <a:pt x="537" y="163"/>
                    <a:pt x="537" y="162"/>
                  </a:cubicBezTo>
                  <a:cubicBezTo>
                    <a:pt x="536" y="162"/>
                    <a:pt x="536" y="162"/>
                    <a:pt x="536" y="162"/>
                  </a:cubicBezTo>
                  <a:cubicBezTo>
                    <a:pt x="535" y="162"/>
                    <a:pt x="535" y="162"/>
                    <a:pt x="535" y="162"/>
                  </a:cubicBezTo>
                  <a:cubicBezTo>
                    <a:pt x="535" y="162"/>
                    <a:pt x="535" y="162"/>
                    <a:pt x="534" y="162"/>
                  </a:cubicBezTo>
                  <a:cubicBezTo>
                    <a:pt x="533" y="162"/>
                    <a:pt x="532" y="161"/>
                    <a:pt x="530" y="161"/>
                  </a:cubicBezTo>
                  <a:cubicBezTo>
                    <a:pt x="529" y="160"/>
                    <a:pt x="528" y="159"/>
                    <a:pt x="528" y="158"/>
                  </a:cubicBezTo>
                  <a:cubicBezTo>
                    <a:pt x="527" y="158"/>
                    <a:pt x="527" y="158"/>
                    <a:pt x="526" y="157"/>
                  </a:cubicBezTo>
                  <a:cubicBezTo>
                    <a:pt x="523" y="154"/>
                    <a:pt x="521" y="152"/>
                    <a:pt x="518" y="149"/>
                  </a:cubicBezTo>
                  <a:cubicBezTo>
                    <a:pt x="517" y="148"/>
                    <a:pt x="516" y="147"/>
                    <a:pt x="515" y="147"/>
                  </a:cubicBezTo>
                  <a:cubicBezTo>
                    <a:pt x="512" y="145"/>
                    <a:pt x="510" y="144"/>
                    <a:pt x="510" y="141"/>
                  </a:cubicBezTo>
                  <a:cubicBezTo>
                    <a:pt x="509" y="139"/>
                    <a:pt x="509" y="136"/>
                    <a:pt x="510" y="134"/>
                  </a:cubicBezTo>
                  <a:cubicBezTo>
                    <a:pt x="510" y="131"/>
                    <a:pt x="510" y="128"/>
                    <a:pt x="509" y="125"/>
                  </a:cubicBezTo>
                  <a:cubicBezTo>
                    <a:pt x="509" y="125"/>
                    <a:pt x="509" y="124"/>
                    <a:pt x="508" y="124"/>
                  </a:cubicBezTo>
                  <a:cubicBezTo>
                    <a:pt x="508" y="124"/>
                    <a:pt x="508" y="124"/>
                    <a:pt x="508" y="124"/>
                  </a:cubicBezTo>
                  <a:cubicBezTo>
                    <a:pt x="508" y="124"/>
                    <a:pt x="508" y="124"/>
                    <a:pt x="508" y="124"/>
                  </a:cubicBezTo>
                  <a:cubicBezTo>
                    <a:pt x="508" y="123"/>
                    <a:pt x="507" y="123"/>
                    <a:pt x="507" y="123"/>
                  </a:cubicBezTo>
                  <a:cubicBezTo>
                    <a:pt x="506" y="123"/>
                    <a:pt x="505" y="122"/>
                    <a:pt x="505" y="121"/>
                  </a:cubicBezTo>
                  <a:cubicBezTo>
                    <a:pt x="503" y="120"/>
                    <a:pt x="503" y="118"/>
                    <a:pt x="503" y="116"/>
                  </a:cubicBezTo>
                  <a:cubicBezTo>
                    <a:pt x="503" y="115"/>
                    <a:pt x="503" y="115"/>
                    <a:pt x="503" y="114"/>
                  </a:cubicBezTo>
                  <a:cubicBezTo>
                    <a:pt x="502" y="112"/>
                    <a:pt x="502" y="111"/>
                    <a:pt x="502" y="110"/>
                  </a:cubicBezTo>
                  <a:cubicBezTo>
                    <a:pt x="501" y="107"/>
                    <a:pt x="500" y="104"/>
                    <a:pt x="500" y="101"/>
                  </a:cubicBezTo>
                  <a:cubicBezTo>
                    <a:pt x="501" y="99"/>
                    <a:pt x="501" y="99"/>
                    <a:pt x="501" y="99"/>
                  </a:cubicBezTo>
                  <a:cubicBezTo>
                    <a:pt x="501" y="96"/>
                    <a:pt x="501" y="92"/>
                    <a:pt x="502" y="89"/>
                  </a:cubicBezTo>
                  <a:cubicBezTo>
                    <a:pt x="503" y="87"/>
                    <a:pt x="504" y="85"/>
                    <a:pt x="505" y="83"/>
                  </a:cubicBezTo>
                  <a:cubicBezTo>
                    <a:pt x="506" y="81"/>
                    <a:pt x="508" y="79"/>
                    <a:pt x="508" y="76"/>
                  </a:cubicBezTo>
                  <a:cubicBezTo>
                    <a:pt x="507" y="75"/>
                    <a:pt x="507" y="74"/>
                    <a:pt x="507" y="73"/>
                  </a:cubicBezTo>
                  <a:cubicBezTo>
                    <a:pt x="506" y="70"/>
                    <a:pt x="506" y="68"/>
                    <a:pt x="509" y="64"/>
                  </a:cubicBezTo>
                  <a:cubicBezTo>
                    <a:pt x="510" y="64"/>
                    <a:pt x="511" y="63"/>
                    <a:pt x="511" y="62"/>
                  </a:cubicBezTo>
                  <a:cubicBezTo>
                    <a:pt x="512" y="61"/>
                    <a:pt x="512" y="60"/>
                    <a:pt x="513" y="60"/>
                  </a:cubicBezTo>
                  <a:cubicBezTo>
                    <a:pt x="513" y="59"/>
                    <a:pt x="514" y="59"/>
                    <a:pt x="515" y="58"/>
                  </a:cubicBezTo>
                  <a:cubicBezTo>
                    <a:pt x="515" y="57"/>
                    <a:pt x="516" y="57"/>
                    <a:pt x="516" y="56"/>
                  </a:cubicBezTo>
                  <a:cubicBezTo>
                    <a:pt x="518" y="53"/>
                    <a:pt x="515" y="49"/>
                    <a:pt x="513" y="47"/>
                  </a:cubicBezTo>
                  <a:cubicBezTo>
                    <a:pt x="512" y="46"/>
                    <a:pt x="512" y="46"/>
                    <a:pt x="512" y="46"/>
                  </a:cubicBezTo>
                  <a:cubicBezTo>
                    <a:pt x="511" y="44"/>
                    <a:pt x="510" y="43"/>
                    <a:pt x="510" y="41"/>
                  </a:cubicBezTo>
                  <a:cubicBezTo>
                    <a:pt x="510" y="40"/>
                    <a:pt x="511" y="39"/>
                    <a:pt x="511" y="38"/>
                  </a:cubicBezTo>
                  <a:cubicBezTo>
                    <a:pt x="511" y="37"/>
                    <a:pt x="512" y="37"/>
                    <a:pt x="512" y="36"/>
                  </a:cubicBezTo>
                  <a:cubicBezTo>
                    <a:pt x="511" y="33"/>
                    <a:pt x="507" y="32"/>
                    <a:pt x="503" y="31"/>
                  </a:cubicBezTo>
                  <a:cubicBezTo>
                    <a:pt x="500" y="30"/>
                    <a:pt x="497" y="30"/>
                    <a:pt x="497" y="28"/>
                  </a:cubicBezTo>
                  <a:cubicBezTo>
                    <a:pt x="496" y="27"/>
                    <a:pt x="497" y="26"/>
                    <a:pt x="498" y="24"/>
                  </a:cubicBezTo>
                  <a:cubicBezTo>
                    <a:pt x="498" y="23"/>
                    <a:pt x="499" y="23"/>
                    <a:pt x="499" y="22"/>
                  </a:cubicBezTo>
                  <a:cubicBezTo>
                    <a:pt x="500" y="21"/>
                    <a:pt x="501" y="21"/>
                    <a:pt x="501" y="20"/>
                  </a:cubicBezTo>
                  <a:cubicBezTo>
                    <a:pt x="502" y="18"/>
                    <a:pt x="502" y="17"/>
                    <a:pt x="502" y="16"/>
                  </a:cubicBezTo>
                  <a:cubicBezTo>
                    <a:pt x="502" y="15"/>
                    <a:pt x="502" y="14"/>
                    <a:pt x="502" y="13"/>
                  </a:cubicBezTo>
                  <a:cubicBezTo>
                    <a:pt x="502" y="13"/>
                    <a:pt x="502" y="13"/>
                    <a:pt x="502" y="13"/>
                  </a:cubicBezTo>
                  <a:cubicBezTo>
                    <a:pt x="503" y="9"/>
                    <a:pt x="504" y="6"/>
                    <a:pt x="500" y="3"/>
                  </a:cubicBezTo>
                  <a:cubicBezTo>
                    <a:pt x="499" y="3"/>
                    <a:pt x="499" y="3"/>
                    <a:pt x="498" y="2"/>
                  </a:cubicBezTo>
                  <a:cubicBezTo>
                    <a:pt x="497" y="1"/>
                    <a:pt x="496" y="1"/>
                    <a:pt x="496" y="1"/>
                  </a:cubicBezTo>
                  <a:cubicBezTo>
                    <a:pt x="495" y="0"/>
                    <a:pt x="495" y="0"/>
                    <a:pt x="495" y="0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494" y="0"/>
                    <a:pt x="493" y="1"/>
                    <a:pt x="492" y="1"/>
                  </a:cubicBezTo>
                  <a:cubicBezTo>
                    <a:pt x="492" y="1"/>
                    <a:pt x="492" y="2"/>
                    <a:pt x="491" y="2"/>
                  </a:cubicBezTo>
                  <a:cubicBezTo>
                    <a:pt x="489" y="3"/>
                    <a:pt x="488" y="3"/>
                    <a:pt x="487" y="3"/>
                  </a:cubicBezTo>
                  <a:cubicBezTo>
                    <a:pt x="485" y="4"/>
                    <a:pt x="484" y="4"/>
                    <a:pt x="482" y="6"/>
                  </a:cubicBezTo>
                  <a:cubicBezTo>
                    <a:pt x="480" y="6"/>
                    <a:pt x="480" y="6"/>
                    <a:pt x="480" y="6"/>
                  </a:cubicBezTo>
                  <a:cubicBezTo>
                    <a:pt x="480" y="8"/>
                    <a:pt x="480" y="8"/>
                    <a:pt x="480" y="8"/>
                  </a:cubicBezTo>
                  <a:cubicBezTo>
                    <a:pt x="480" y="8"/>
                    <a:pt x="480" y="9"/>
                    <a:pt x="480" y="9"/>
                  </a:cubicBezTo>
                  <a:cubicBezTo>
                    <a:pt x="480" y="15"/>
                    <a:pt x="477" y="17"/>
                    <a:pt x="473" y="20"/>
                  </a:cubicBezTo>
                  <a:cubicBezTo>
                    <a:pt x="473" y="20"/>
                    <a:pt x="472" y="21"/>
                    <a:pt x="471" y="22"/>
                  </a:cubicBezTo>
                  <a:cubicBezTo>
                    <a:pt x="470" y="22"/>
                    <a:pt x="469" y="24"/>
                    <a:pt x="468" y="25"/>
                  </a:cubicBezTo>
                  <a:cubicBezTo>
                    <a:pt x="467" y="26"/>
                    <a:pt x="466" y="28"/>
                    <a:pt x="464" y="29"/>
                  </a:cubicBezTo>
                  <a:cubicBezTo>
                    <a:pt x="463" y="29"/>
                    <a:pt x="462" y="29"/>
                    <a:pt x="460" y="30"/>
                  </a:cubicBezTo>
                  <a:cubicBezTo>
                    <a:pt x="459" y="30"/>
                    <a:pt x="457" y="30"/>
                    <a:pt x="456" y="31"/>
                  </a:cubicBezTo>
                  <a:cubicBezTo>
                    <a:pt x="455" y="31"/>
                    <a:pt x="454" y="32"/>
                    <a:pt x="453" y="32"/>
                  </a:cubicBezTo>
                  <a:cubicBezTo>
                    <a:pt x="452" y="32"/>
                    <a:pt x="450" y="33"/>
                    <a:pt x="449" y="34"/>
                  </a:cubicBezTo>
                  <a:cubicBezTo>
                    <a:pt x="448" y="35"/>
                    <a:pt x="447" y="36"/>
                    <a:pt x="447" y="37"/>
                  </a:cubicBezTo>
                  <a:cubicBezTo>
                    <a:pt x="446" y="38"/>
                    <a:pt x="445" y="39"/>
                    <a:pt x="443" y="40"/>
                  </a:cubicBezTo>
                  <a:cubicBezTo>
                    <a:pt x="442" y="41"/>
                    <a:pt x="440" y="41"/>
                    <a:pt x="439" y="42"/>
                  </a:cubicBezTo>
                  <a:cubicBezTo>
                    <a:pt x="437" y="42"/>
                    <a:pt x="436" y="43"/>
                    <a:pt x="435" y="43"/>
                  </a:cubicBezTo>
                  <a:cubicBezTo>
                    <a:pt x="433" y="43"/>
                    <a:pt x="432" y="44"/>
                    <a:pt x="431" y="44"/>
                  </a:cubicBezTo>
                  <a:cubicBezTo>
                    <a:pt x="429" y="44"/>
                    <a:pt x="428" y="44"/>
                    <a:pt x="426" y="44"/>
                  </a:cubicBezTo>
                  <a:cubicBezTo>
                    <a:pt x="425" y="45"/>
                    <a:pt x="425" y="45"/>
                    <a:pt x="425" y="45"/>
                  </a:cubicBezTo>
                  <a:cubicBezTo>
                    <a:pt x="423" y="45"/>
                    <a:pt x="422" y="46"/>
                    <a:pt x="421" y="46"/>
                  </a:cubicBezTo>
                  <a:cubicBezTo>
                    <a:pt x="420" y="46"/>
                    <a:pt x="419" y="46"/>
                    <a:pt x="418" y="45"/>
                  </a:cubicBezTo>
                  <a:cubicBezTo>
                    <a:pt x="418" y="45"/>
                    <a:pt x="417" y="44"/>
                    <a:pt x="417" y="44"/>
                  </a:cubicBezTo>
                  <a:cubicBezTo>
                    <a:pt x="415" y="43"/>
                    <a:pt x="414" y="43"/>
                    <a:pt x="413" y="43"/>
                  </a:cubicBezTo>
                  <a:cubicBezTo>
                    <a:pt x="412" y="43"/>
                    <a:pt x="411" y="44"/>
                    <a:pt x="410" y="44"/>
                  </a:cubicBezTo>
                  <a:cubicBezTo>
                    <a:pt x="410" y="45"/>
                    <a:pt x="410" y="45"/>
                    <a:pt x="409" y="46"/>
                  </a:cubicBezTo>
                  <a:cubicBezTo>
                    <a:pt x="409" y="47"/>
                    <a:pt x="409" y="47"/>
                    <a:pt x="408" y="47"/>
                  </a:cubicBezTo>
                  <a:cubicBezTo>
                    <a:pt x="408" y="48"/>
                    <a:pt x="407" y="48"/>
                    <a:pt x="406" y="48"/>
                  </a:cubicBezTo>
                  <a:cubicBezTo>
                    <a:pt x="406" y="48"/>
                    <a:pt x="405" y="48"/>
                    <a:pt x="405" y="49"/>
                  </a:cubicBezTo>
                  <a:cubicBezTo>
                    <a:pt x="401" y="50"/>
                    <a:pt x="401" y="52"/>
                    <a:pt x="402" y="55"/>
                  </a:cubicBezTo>
                  <a:cubicBezTo>
                    <a:pt x="402" y="62"/>
                    <a:pt x="401" y="66"/>
                    <a:pt x="399" y="67"/>
                  </a:cubicBezTo>
                  <a:cubicBezTo>
                    <a:pt x="398" y="68"/>
                    <a:pt x="398" y="68"/>
                    <a:pt x="397" y="68"/>
                  </a:cubicBezTo>
                  <a:cubicBezTo>
                    <a:pt x="396" y="68"/>
                    <a:pt x="395" y="67"/>
                    <a:pt x="394" y="67"/>
                  </a:cubicBezTo>
                  <a:cubicBezTo>
                    <a:pt x="393" y="66"/>
                    <a:pt x="392" y="65"/>
                    <a:pt x="391" y="63"/>
                  </a:cubicBezTo>
                  <a:cubicBezTo>
                    <a:pt x="390" y="63"/>
                    <a:pt x="389" y="62"/>
                    <a:pt x="389" y="61"/>
                  </a:cubicBezTo>
                  <a:cubicBezTo>
                    <a:pt x="386" y="59"/>
                    <a:pt x="385" y="57"/>
                    <a:pt x="383" y="54"/>
                  </a:cubicBezTo>
                  <a:cubicBezTo>
                    <a:pt x="382" y="53"/>
                    <a:pt x="381" y="52"/>
                    <a:pt x="381" y="52"/>
                  </a:cubicBezTo>
                  <a:cubicBezTo>
                    <a:pt x="379" y="54"/>
                    <a:pt x="379" y="54"/>
                    <a:pt x="379" y="54"/>
                  </a:cubicBezTo>
                  <a:cubicBezTo>
                    <a:pt x="379" y="55"/>
                    <a:pt x="379" y="55"/>
                    <a:pt x="379" y="55"/>
                  </a:cubicBezTo>
                  <a:cubicBezTo>
                    <a:pt x="378" y="53"/>
                    <a:pt x="378" y="53"/>
                    <a:pt x="378" y="53"/>
                  </a:cubicBezTo>
                  <a:cubicBezTo>
                    <a:pt x="378" y="53"/>
                    <a:pt x="377" y="53"/>
                    <a:pt x="377" y="53"/>
                  </a:cubicBezTo>
                  <a:cubicBezTo>
                    <a:pt x="376" y="54"/>
                    <a:pt x="376" y="54"/>
                    <a:pt x="376" y="54"/>
                  </a:cubicBezTo>
                  <a:cubicBezTo>
                    <a:pt x="375" y="55"/>
                    <a:pt x="374" y="55"/>
                    <a:pt x="374" y="55"/>
                  </a:cubicBezTo>
                  <a:cubicBezTo>
                    <a:pt x="373" y="55"/>
                    <a:pt x="372" y="55"/>
                    <a:pt x="371" y="54"/>
                  </a:cubicBezTo>
                  <a:cubicBezTo>
                    <a:pt x="371" y="54"/>
                    <a:pt x="370" y="53"/>
                    <a:pt x="369" y="53"/>
                  </a:cubicBezTo>
                  <a:cubicBezTo>
                    <a:pt x="368" y="52"/>
                    <a:pt x="367" y="52"/>
                    <a:pt x="366" y="52"/>
                  </a:cubicBezTo>
                  <a:cubicBezTo>
                    <a:pt x="365" y="52"/>
                    <a:pt x="363" y="53"/>
                    <a:pt x="361" y="54"/>
                  </a:cubicBezTo>
                  <a:cubicBezTo>
                    <a:pt x="360" y="54"/>
                    <a:pt x="358" y="55"/>
                    <a:pt x="356" y="55"/>
                  </a:cubicBezTo>
                  <a:cubicBezTo>
                    <a:pt x="355" y="55"/>
                    <a:pt x="355" y="55"/>
                    <a:pt x="354" y="54"/>
                  </a:cubicBezTo>
                  <a:cubicBezTo>
                    <a:pt x="352" y="53"/>
                    <a:pt x="352" y="52"/>
                    <a:pt x="353" y="50"/>
                  </a:cubicBezTo>
                  <a:cubicBezTo>
                    <a:pt x="353" y="48"/>
                    <a:pt x="353" y="47"/>
                    <a:pt x="352" y="46"/>
                  </a:cubicBezTo>
                  <a:cubicBezTo>
                    <a:pt x="351" y="45"/>
                    <a:pt x="349" y="44"/>
                    <a:pt x="348" y="44"/>
                  </a:cubicBezTo>
                  <a:cubicBezTo>
                    <a:pt x="346" y="44"/>
                    <a:pt x="344" y="45"/>
                    <a:pt x="343" y="45"/>
                  </a:cubicBezTo>
                  <a:cubicBezTo>
                    <a:pt x="341" y="45"/>
                    <a:pt x="339" y="46"/>
                    <a:pt x="337" y="46"/>
                  </a:cubicBezTo>
                  <a:cubicBezTo>
                    <a:pt x="336" y="46"/>
                    <a:pt x="335" y="45"/>
                    <a:pt x="334" y="45"/>
                  </a:cubicBezTo>
                  <a:cubicBezTo>
                    <a:pt x="333" y="44"/>
                    <a:pt x="332" y="43"/>
                    <a:pt x="332" y="42"/>
                  </a:cubicBezTo>
                  <a:cubicBezTo>
                    <a:pt x="331" y="41"/>
                    <a:pt x="331" y="41"/>
                    <a:pt x="330" y="40"/>
                  </a:cubicBezTo>
                  <a:cubicBezTo>
                    <a:pt x="325" y="37"/>
                    <a:pt x="325" y="37"/>
                    <a:pt x="325" y="37"/>
                  </a:cubicBezTo>
                  <a:cubicBezTo>
                    <a:pt x="326" y="42"/>
                    <a:pt x="326" y="42"/>
                    <a:pt x="326" y="42"/>
                  </a:cubicBezTo>
                  <a:cubicBezTo>
                    <a:pt x="327" y="46"/>
                    <a:pt x="330" y="50"/>
                    <a:pt x="333" y="53"/>
                  </a:cubicBezTo>
                  <a:cubicBezTo>
                    <a:pt x="334" y="54"/>
                    <a:pt x="335" y="55"/>
                    <a:pt x="335" y="56"/>
                  </a:cubicBezTo>
                  <a:cubicBezTo>
                    <a:pt x="337" y="58"/>
                    <a:pt x="338" y="59"/>
                    <a:pt x="339" y="59"/>
                  </a:cubicBezTo>
                  <a:cubicBezTo>
                    <a:pt x="340" y="60"/>
                    <a:pt x="341" y="61"/>
                    <a:pt x="342" y="61"/>
                  </a:cubicBezTo>
                  <a:cubicBezTo>
                    <a:pt x="346" y="65"/>
                    <a:pt x="348" y="69"/>
                    <a:pt x="347" y="74"/>
                  </a:cubicBezTo>
                  <a:cubicBezTo>
                    <a:pt x="346" y="80"/>
                    <a:pt x="347" y="86"/>
                    <a:pt x="349" y="91"/>
                  </a:cubicBezTo>
                  <a:cubicBezTo>
                    <a:pt x="350" y="92"/>
                    <a:pt x="350" y="93"/>
                    <a:pt x="351" y="94"/>
                  </a:cubicBezTo>
                  <a:cubicBezTo>
                    <a:pt x="351" y="94"/>
                    <a:pt x="351" y="94"/>
                    <a:pt x="351" y="94"/>
                  </a:cubicBezTo>
                  <a:cubicBezTo>
                    <a:pt x="353" y="98"/>
                    <a:pt x="356" y="104"/>
                    <a:pt x="355" y="108"/>
                  </a:cubicBezTo>
                  <a:cubicBezTo>
                    <a:pt x="355" y="109"/>
                    <a:pt x="355" y="109"/>
                    <a:pt x="355" y="110"/>
                  </a:cubicBezTo>
                  <a:cubicBezTo>
                    <a:pt x="354" y="111"/>
                    <a:pt x="354" y="112"/>
                    <a:pt x="354" y="113"/>
                  </a:cubicBezTo>
                  <a:cubicBezTo>
                    <a:pt x="354" y="115"/>
                    <a:pt x="354" y="115"/>
                    <a:pt x="354" y="115"/>
                  </a:cubicBezTo>
                  <a:cubicBezTo>
                    <a:pt x="356" y="115"/>
                    <a:pt x="356" y="115"/>
                    <a:pt x="356" y="115"/>
                  </a:cubicBezTo>
                  <a:cubicBezTo>
                    <a:pt x="356" y="115"/>
                    <a:pt x="356" y="115"/>
                    <a:pt x="356" y="115"/>
                  </a:cubicBezTo>
                  <a:cubicBezTo>
                    <a:pt x="357" y="116"/>
                    <a:pt x="358" y="116"/>
                    <a:pt x="359" y="116"/>
                  </a:cubicBezTo>
                  <a:cubicBezTo>
                    <a:pt x="360" y="116"/>
                    <a:pt x="362" y="116"/>
                    <a:pt x="363" y="115"/>
                  </a:cubicBezTo>
                  <a:cubicBezTo>
                    <a:pt x="364" y="115"/>
                    <a:pt x="365" y="115"/>
                    <a:pt x="366" y="115"/>
                  </a:cubicBezTo>
                  <a:cubicBezTo>
                    <a:pt x="366" y="115"/>
                    <a:pt x="367" y="115"/>
                    <a:pt x="368" y="115"/>
                  </a:cubicBezTo>
                  <a:cubicBezTo>
                    <a:pt x="369" y="115"/>
                    <a:pt x="370" y="115"/>
                    <a:pt x="371" y="115"/>
                  </a:cubicBezTo>
                  <a:cubicBezTo>
                    <a:pt x="374" y="115"/>
                    <a:pt x="376" y="115"/>
                    <a:pt x="377" y="116"/>
                  </a:cubicBezTo>
                  <a:cubicBezTo>
                    <a:pt x="378" y="118"/>
                    <a:pt x="378" y="124"/>
                    <a:pt x="377" y="126"/>
                  </a:cubicBezTo>
                  <a:cubicBezTo>
                    <a:pt x="377" y="126"/>
                    <a:pt x="375" y="127"/>
                    <a:pt x="374" y="127"/>
                  </a:cubicBezTo>
                  <a:cubicBezTo>
                    <a:pt x="374" y="127"/>
                    <a:pt x="374" y="127"/>
                    <a:pt x="374" y="127"/>
                  </a:cubicBezTo>
                  <a:cubicBezTo>
                    <a:pt x="373" y="128"/>
                    <a:pt x="373" y="128"/>
                    <a:pt x="372" y="128"/>
                  </a:cubicBezTo>
                  <a:cubicBezTo>
                    <a:pt x="371" y="129"/>
                    <a:pt x="371" y="129"/>
                    <a:pt x="371" y="129"/>
                  </a:cubicBezTo>
                  <a:cubicBezTo>
                    <a:pt x="369" y="129"/>
                    <a:pt x="367" y="130"/>
                    <a:pt x="365" y="131"/>
                  </a:cubicBezTo>
                  <a:cubicBezTo>
                    <a:pt x="365" y="132"/>
                    <a:pt x="364" y="132"/>
                    <a:pt x="364" y="133"/>
                  </a:cubicBezTo>
                  <a:cubicBezTo>
                    <a:pt x="363" y="134"/>
                    <a:pt x="362" y="135"/>
                    <a:pt x="359" y="135"/>
                  </a:cubicBezTo>
                  <a:cubicBezTo>
                    <a:pt x="359" y="135"/>
                    <a:pt x="358" y="135"/>
                    <a:pt x="357" y="135"/>
                  </a:cubicBezTo>
                  <a:cubicBezTo>
                    <a:pt x="357" y="135"/>
                    <a:pt x="355" y="135"/>
                    <a:pt x="354" y="135"/>
                  </a:cubicBezTo>
                  <a:cubicBezTo>
                    <a:pt x="354" y="135"/>
                    <a:pt x="353" y="135"/>
                    <a:pt x="353" y="135"/>
                  </a:cubicBezTo>
                  <a:cubicBezTo>
                    <a:pt x="351" y="135"/>
                    <a:pt x="351" y="135"/>
                    <a:pt x="351" y="135"/>
                  </a:cubicBezTo>
                  <a:cubicBezTo>
                    <a:pt x="351" y="138"/>
                    <a:pt x="351" y="138"/>
                    <a:pt x="351" y="138"/>
                  </a:cubicBezTo>
                  <a:cubicBezTo>
                    <a:pt x="351" y="139"/>
                    <a:pt x="351" y="140"/>
                    <a:pt x="351" y="142"/>
                  </a:cubicBezTo>
                  <a:cubicBezTo>
                    <a:pt x="351" y="144"/>
                    <a:pt x="352" y="147"/>
                    <a:pt x="351" y="149"/>
                  </a:cubicBezTo>
                  <a:cubicBezTo>
                    <a:pt x="350" y="150"/>
                    <a:pt x="349" y="150"/>
                    <a:pt x="349" y="151"/>
                  </a:cubicBezTo>
                  <a:cubicBezTo>
                    <a:pt x="348" y="152"/>
                    <a:pt x="348" y="152"/>
                    <a:pt x="347" y="152"/>
                  </a:cubicBezTo>
                  <a:cubicBezTo>
                    <a:pt x="347" y="153"/>
                    <a:pt x="346" y="154"/>
                    <a:pt x="346" y="154"/>
                  </a:cubicBezTo>
                  <a:cubicBezTo>
                    <a:pt x="345" y="155"/>
                    <a:pt x="345" y="156"/>
                    <a:pt x="344" y="157"/>
                  </a:cubicBezTo>
                  <a:cubicBezTo>
                    <a:pt x="344" y="157"/>
                    <a:pt x="343" y="158"/>
                    <a:pt x="342" y="158"/>
                  </a:cubicBezTo>
                  <a:cubicBezTo>
                    <a:pt x="342" y="158"/>
                    <a:pt x="341" y="157"/>
                    <a:pt x="340" y="157"/>
                  </a:cubicBezTo>
                  <a:cubicBezTo>
                    <a:pt x="339" y="156"/>
                    <a:pt x="339" y="155"/>
                    <a:pt x="337" y="155"/>
                  </a:cubicBezTo>
                  <a:cubicBezTo>
                    <a:pt x="337" y="155"/>
                    <a:pt x="337" y="155"/>
                    <a:pt x="337" y="155"/>
                  </a:cubicBezTo>
                  <a:cubicBezTo>
                    <a:pt x="336" y="156"/>
                    <a:pt x="336" y="156"/>
                    <a:pt x="336" y="156"/>
                  </a:cubicBezTo>
                  <a:cubicBezTo>
                    <a:pt x="334" y="156"/>
                    <a:pt x="334" y="158"/>
                    <a:pt x="333" y="160"/>
                  </a:cubicBezTo>
                  <a:cubicBezTo>
                    <a:pt x="332" y="162"/>
                    <a:pt x="332" y="163"/>
                    <a:pt x="330" y="164"/>
                  </a:cubicBezTo>
                  <a:cubicBezTo>
                    <a:pt x="329" y="165"/>
                    <a:pt x="327" y="165"/>
                    <a:pt x="325" y="165"/>
                  </a:cubicBezTo>
                  <a:cubicBezTo>
                    <a:pt x="323" y="166"/>
                    <a:pt x="321" y="166"/>
                    <a:pt x="320" y="166"/>
                  </a:cubicBezTo>
                  <a:cubicBezTo>
                    <a:pt x="319" y="167"/>
                    <a:pt x="319" y="167"/>
                    <a:pt x="319" y="167"/>
                  </a:cubicBezTo>
                  <a:cubicBezTo>
                    <a:pt x="316" y="168"/>
                    <a:pt x="312" y="170"/>
                    <a:pt x="312" y="173"/>
                  </a:cubicBezTo>
                  <a:cubicBezTo>
                    <a:pt x="311" y="174"/>
                    <a:pt x="312" y="174"/>
                    <a:pt x="312" y="175"/>
                  </a:cubicBezTo>
                  <a:cubicBezTo>
                    <a:pt x="312" y="177"/>
                    <a:pt x="312" y="178"/>
                    <a:pt x="311" y="179"/>
                  </a:cubicBezTo>
                  <a:cubicBezTo>
                    <a:pt x="310" y="179"/>
                    <a:pt x="309" y="179"/>
                    <a:pt x="308" y="179"/>
                  </a:cubicBezTo>
                  <a:cubicBezTo>
                    <a:pt x="307" y="180"/>
                    <a:pt x="307" y="180"/>
                    <a:pt x="306" y="180"/>
                  </a:cubicBezTo>
                  <a:cubicBezTo>
                    <a:pt x="304" y="181"/>
                    <a:pt x="303" y="182"/>
                    <a:pt x="302" y="184"/>
                  </a:cubicBezTo>
                  <a:cubicBezTo>
                    <a:pt x="302" y="185"/>
                    <a:pt x="301" y="187"/>
                    <a:pt x="300" y="188"/>
                  </a:cubicBezTo>
                  <a:cubicBezTo>
                    <a:pt x="300" y="189"/>
                    <a:pt x="299" y="189"/>
                    <a:pt x="298" y="189"/>
                  </a:cubicBezTo>
                  <a:cubicBezTo>
                    <a:pt x="297" y="189"/>
                    <a:pt x="297" y="189"/>
                    <a:pt x="296" y="189"/>
                  </a:cubicBezTo>
                  <a:cubicBezTo>
                    <a:pt x="295" y="188"/>
                    <a:pt x="294" y="186"/>
                    <a:pt x="295" y="185"/>
                  </a:cubicBezTo>
                  <a:cubicBezTo>
                    <a:pt x="295" y="183"/>
                    <a:pt x="296" y="182"/>
                    <a:pt x="297" y="181"/>
                  </a:cubicBezTo>
                  <a:cubicBezTo>
                    <a:pt x="298" y="180"/>
                    <a:pt x="299" y="178"/>
                    <a:pt x="297" y="175"/>
                  </a:cubicBezTo>
                  <a:cubicBezTo>
                    <a:pt x="296" y="174"/>
                    <a:pt x="296" y="174"/>
                    <a:pt x="296" y="174"/>
                  </a:cubicBezTo>
                  <a:cubicBezTo>
                    <a:pt x="295" y="174"/>
                    <a:pt x="295" y="174"/>
                    <a:pt x="295" y="174"/>
                  </a:cubicBezTo>
                  <a:cubicBezTo>
                    <a:pt x="292" y="174"/>
                    <a:pt x="291" y="176"/>
                    <a:pt x="289" y="177"/>
                  </a:cubicBezTo>
                  <a:cubicBezTo>
                    <a:pt x="288" y="178"/>
                    <a:pt x="287" y="178"/>
                    <a:pt x="286" y="179"/>
                  </a:cubicBezTo>
                  <a:cubicBezTo>
                    <a:pt x="285" y="179"/>
                    <a:pt x="285" y="179"/>
                    <a:pt x="284" y="180"/>
                  </a:cubicBezTo>
                  <a:cubicBezTo>
                    <a:pt x="283" y="180"/>
                    <a:pt x="283" y="181"/>
                    <a:pt x="282" y="181"/>
                  </a:cubicBezTo>
                  <a:cubicBezTo>
                    <a:pt x="282" y="182"/>
                    <a:pt x="281" y="183"/>
                    <a:pt x="281" y="183"/>
                  </a:cubicBezTo>
                  <a:cubicBezTo>
                    <a:pt x="279" y="184"/>
                    <a:pt x="278" y="185"/>
                    <a:pt x="275" y="185"/>
                  </a:cubicBezTo>
                  <a:cubicBezTo>
                    <a:pt x="274" y="185"/>
                    <a:pt x="272" y="185"/>
                    <a:pt x="271" y="184"/>
                  </a:cubicBezTo>
                  <a:cubicBezTo>
                    <a:pt x="270" y="184"/>
                    <a:pt x="270" y="184"/>
                    <a:pt x="270" y="184"/>
                  </a:cubicBezTo>
                  <a:cubicBezTo>
                    <a:pt x="266" y="184"/>
                    <a:pt x="264" y="181"/>
                    <a:pt x="261" y="178"/>
                  </a:cubicBezTo>
                  <a:cubicBezTo>
                    <a:pt x="260" y="177"/>
                    <a:pt x="259" y="176"/>
                    <a:pt x="258" y="175"/>
                  </a:cubicBezTo>
                  <a:cubicBezTo>
                    <a:pt x="257" y="175"/>
                    <a:pt x="256" y="174"/>
                    <a:pt x="255" y="174"/>
                  </a:cubicBezTo>
                  <a:cubicBezTo>
                    <a:pt x="254" y="172"/>
                    <a:pt x="252" y="171"/>
                    <a:pt x="251" y="170"/>
                  </a:cubicBezTo>
                  <a:cubicBezTo>
                    <a:pt x="250" y="169"/>
                    <a:pt x="250" y="169"/>
                    <a:pt x="250" y="169"/>
                  </a:cubicBezTo>
                  <a:cubicBezTo>
                    <a:pt x="248" y="169"/>
                    <a:pt x="248" y="169"/>
                    <a:pt x="248" y="169"/>
                  </a:cubicBezTo>
                  <a:cubicBezTo>
                    <a:pt x="239" y="169"/>
                    <a:pt x="238" y="162"/>
                    <a:pt x="236" y="153"/>
                  </a:cubicBezTo>
                  <a:cubicBezTo>
                    <a:pt x="236" y="149"/>
                    <a:pt x="235" y="145"/>
                    <a:pt x="234" y="143"/>
                  </a:cubicBezTo>
                  <a:cubicBezTo>
                    <a:pt x="231" y="136"/>
                    <a:pt x="229" y="134"/>
                    <a:pt x="227" y="133"/>
                  </a:cubicBezTo>
                  <a:cubicBezTo>
                    <a:pt x="226" y="133"/>
                    <a:pt x="226" y="133"/>
                    <a:pt x="226" y="133"/>
                  </a:cubicBezTo>
                  <a:cubicBezTo>
                    <a:pt x="226" y="133"/>
                    <a:pt x="226" y="133"/>
                    <a:pt x="226" y="133"/>
                  </a:cubicBezTo>
                  <a:cubicBezTo>
                    <a:pt x="224" y="133"/>
                    <a:pt x="222" y="135"/>
                    <a:pt x="220" y="137"/>
                  </a:cubicBezTo>
                  <a:cubicBezTo>
                    <a:pt x="220" y="137"/>
                    <a:pt x="219" y="138"/>
                    <a:pt x="219" y="139"/>
                  </a:cubicBezTo>
                  <a:cubicBezTo>
                    <a:pt x="217" y="141"/>
                    <a:pt x="214" y="144"/>
                    <a:pt x="212" y="144"/>
                  </a:cubicBezTo>
                  <a:cubicBezTo>
                    <a:pt x="212" y="144"/>
                    <a:pt x="212" y="144"/>
                    <a:pt x="212" y="144"/>
                  </a:cubicBezTo>
                  <a:cubicBezTo>
                    <a:pt x="210" y="144"/>
                    <a:pt x="209" y="143"/>
                    <a:pt x="207" y="141"/>
                  </a:cubicBezTo>
                  <a:cubicBezTo>
                    <a:pt x="207" y="141"/>
                    <a:pt x="207" y="140"/>
                    <a:pt x="206" y="140"/>
                  </a:cubicBezTo>
                  <a:cubicBezTo>
                    <a:pt x="206" y="139"/>
                    <a:pt x="205" y="137"/>
                    <a:pt x="204" y="136"/>
                  </a:cubicBezTo>
                  <a:cubicBezTo>
                    <a:pt x="201" y="131"/>
                    <a:pt x="201" y="131"/>
                    <a:pt x="201" y="131"/>
                  </a:cubicBezTo>
                  <a:cubicBezTo>
                    <a:pt x="200" y="137"/>
                    <a:pt x="200" y="137"/>
                    <a:pt x="200" y="137"/>
                  </a:cubicBezTo>
                  <a:cubicBezTo>
                    <a:pt x="200" y="137"/>
                    <a:pt x="200" y="138"/>
                    <a:pt x="200" y="139"/>
                  </a:cubicBezTo>
                  <a:cubicBezTo>
                    <a:pt x="199" y="142"/>
                    <a:pt x="199" y="144"/>
                    <a:pt x="197" y="145"/>
                  </a:cubicBezTo>
                  <a:cubicBezTo>
                    <a:pt x="196" y="145"/>
                    <a:pt x="195" y="145"/>
                    <a:pt x="194" y="145"/>
                  </a:cubicBezTo>
                  <a:cubicBezTo>
                    <a:pt x="193" y="145"/>
                    <a:pt x="192" y="145"/>
                    <a:pt x="190" y="145"/>
                  </a:cubicBezTo>
                  <a:cubicBezTo>
                    <a:pt x="189" y="145"/>
                    <a:pt x="188" y="145"/>
                    <a:pt x="187" y="145"/>
                  </a:cubicBezTo>
                  <a:cubicBezTo>
                    <a:pt x="186" y="145"/>
                    <a:pt x="172" y="145"/>
                    <a:pt x="170" y="145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59" y="145"/>
                    <a:pt x="158" y="144"/>
                    <a:pt x="157" y="144"/>
                  </a:cubicBezTo>
                  <a:cubicBezTo>
                    <a:pt x="155" y="144"/>
                    <a:pt x="153" y="143"/>
                    <a:pt x="151" y="143"/>
                  </a:cubicBezTo>
                  <a:cubicBezTo>
                    <a:pt x="151" y="143"/>
                    <a:pt x="151" y="143"/>
                    <a:pt x="151" y="143"/>
                  </a:cubicBezTo>
                  <a:cubicBezTo>
                    <a:pt x="148" y="143"/>
                    <a:pt x="145" y="144"/>
                    <a:pt x="144" y="145"/>
                  </a:cubicBezTo>
                  <a:cubicBezTo>
                    <a:pt x="143" y="145"/>
                    <a:pt x="143" y="145"/>
                    <a:pt x="143" y="145"/>
                  </a:cubicBezTo>
                  <a:cubicBezTo>
                    <a:pt x="143" y="145"/>
                    <a:pt x="143" y="145"/>
                    <a:pt x="143" y="145"/>
                  </a:cubicBezTo>
                  <a:cubicBezTo>
                    <a:pt x="142" y="146"/>
                    <a:pt x="142" y="146"/>
                    <a:pt x="142" y="146"/>
                  </a:cubicBezTo>
                  <a:cubicBezTo>
                    <a:pt x="142" y="147"/>
                    <a:pt x="142" y="147"/>
                    <a:pt x="142" y="147"/>
                  </a:cubicBezTo>
                  <a:cubicBezTo>
                    <a:pt x="142" y="149"/>
                    <a:pt x="142" y="151"/>
                    <a:pt x="142" y="153"/>
                  </a:cubicBezTo>
                  <a:cubicBezTo>
                    <a:pt x="142" y="154"/>
                    <a:pt x="142" y="155"/>
                    <a:pt x="142" y="156"/>
                  </a:cubicBezTo>
                  <a:cubicBezTo>
                    <a:pt x="141" y="170"/>
                    <a:pt x="141" y="170"/>
                    <a:pt x="141" y="170"/>
                  </a:cubicBezTo>
                  <a:cubicBezTo>
                    <a:pt x="143" y="170"/>
                    <a:pt x="143" y="170"/>
                    <a:pt x="143" y="170"/>
                  </a:cubicBezTo>
                  <a:cubicBezTo>
                    <a:pt x="149" y="170"/>
                    <a:pt x="154" y="170"/>
                    <a:pt x="157" y="171"/>
                  </a:cubicBezTo>
                  <a:cubicBezTo>
                    <a:pt x="162" y="172"/>
                    <a:pt x="164" y="176"/>
                    <a:pt x="165" y="180"/>
                  </a:cubicBezTo>
                  <a:cubicBezTo>
                    <a:pt x="166" y="183"/>
                    <a:pt x="165" y="187"/>
                    <a:pt x="163" y="188"/>
                  </a:cubicBezTo>
                  <a:cubicBezTo>
                    <a:pt x="163" y="188"/>
                    <a:pt x="162" y="189"/>
                    <a:pt x="160" y="189"/>
                  </a:cubicBezTo>
                  <a:cubicBezTo>
                    <a:pt x="159" y="189"/>
                    <a:pt x="158" y="189"/>
                    <a:pt x="157" y="188"/>
                  </a:cubicBezTo>
                  <a:cubicBezTo>
                    <a:pt x="156" y="188"/>
                    <a:pt x="155" y="187"/>
                    <a:pt x="153" y="187"/>
                  </a:cubicBezTo>
                  <a:cubicBezTo>
                    <a:pt x="152" y="187"/>
                    <a:pt x="150" y="188"/>
                    <a:pt x="149" y="189"/>
                  </a:cubicBezTo>
                  <a:cubicBezTo>
                    <a:pt x="148" y="189"/>
                    <a:pt x="147" y="190"/>
                    <a:pt x="146" y="191"/>
                  </a:cubicBezTo>
                  <a:cubicBezTo>
                    <a:pt x="144" y="191"/>
                    <a:pt x="142" y="191"/>
                    <a:pt x="140" y="191"/>
                  </a:cubicBezTo>
                  <a:cubicBezTo>
                    <a:pt x="137" y="192"/>
                    <a:pt x="134" y="192"/>
                    <a:pt x="133" y="194"/>
                  </a:cubicBezTo>
                  <a:cubicBezTo>
                    <a:pt x="133" y="196"/>
                    <a:pt x="133" y="199"/>
                    <a:pt x="133" y="201"/>
                  </a:cubicBezTo>
                  <a:cubicBezTo>
                    <a:pt x="133" y="203"/>
                    <a:pt x="133" y="204"/>
                    <a:pt x="133" y="205"/>
                  </a:cubicBezTo>
                  <a:cubicBezTo>
                    <a:pt x="133" y="209"/>
                    <a:pt x="133" y="212"/>
                    <a:pt x="133" y="216"/>
                  </a:cubicBezTo>
                  <a:cubicBezTo>
                    <a:pt x="133" y="222"/>
                    <a:pt x="133" y="222"/>
                    <a:pt x="133" y="222"/>
                  </a:cubicBezTo>
                  <a:cubicBezTo>
                    <a:pt x="134" y="223"/>
                    <a:pt x="134" y="223"/>
                    <a:pt x="134" y="223"/>
                  </a:cubicBezTo>
                  <a:cubicBezTo>
                    <a:pt x="136" y="226"/>
                    <a:pt x="138" y="227"/>
                    <a:pt x="141" y="229"/>
                  </a:cubicBezTo>
                  <a:cubicBezTo>
                    <a:pt x="145" y="232"/>
                    <a:pt x="149" y="236"/>
                    <a:pt x="151" y="241"/>
                  </a:cubicBezTo>
                  <a:cubicBezTo>
                    <a:pt x="151" y="242"/>
                    <a:pt x="151" y="244"/>
                    <a:pt x="151" y="245"/>
                  </a:cubicBezTo>
                  <a:cubicBezTo>
                    <a:pt x="150" y="246"/>
                    <a:pt x="150" y="247"/>
                    <a:pt x="151" y="248"/>
                  </a:cubicBezTo>
                  <a:cubicBezTo>
                    <a:pt x="151" y="250"/>
                    <a:pt x="152" y="251"/>
                    <a:pt x="153" y="253"/>
                  </a:cubicBezTo>
                  <a:cubicBezTo>
                    <a:pt x="156" y="257"/>
                    <a:pt x="157" y="259"/>
                    <a:pt x="158" y="264"/>
                  </a:cubicBezTo>
                  <a:cubicBezTo>
                    <a:pt x="159" y="270"/>
                    <a:pt x="158" y="277"/>
                    <a:pt x="156" y="284"/>
                  </a:cubicBezTo>
                  <a:cubicBezTo>
                    <a:pt x="156" y="284"/>
                    <a:pt x="156" y="284"/>
                    <a:pt x="156" y="284"/>
                  </a:cubicBezTo>
                  <a:cubicBezTo>
                    <a:pt x="156" y="287"/>
                    <a:pt x="155" y="289"/>
                    <a:pt x="155" y="291"/>
                  </a:cubicBezTo>
                  <a:cubicBezTo>
                    <a:pt x="154" y="301"/>
                    <a:pt x="152" y="311"/>
                    <a:pt x="151" y="320"/>
                  </a:cubicBezTo>
                  <a:cubicBezTo>
                    <a:pt x="150" y="324"/>
                    <a:pt x="150" y="324"/>
                    <a:pt x="150" y="324"/>
                  </a:cubicBezTo>
                  <a:cubicBezTo>
                    <a:pt x="149" y="333"/>
                    <a:pt x="148" y="341"/>
                    <a:pt x="147" y="350"/>
                  </a:cubicBezTo>
                  <a:cubicBezTo>
                    <a:pt x="142" y="386"/>
                    <a:pt x="142" y="386"/>
                    <a:pt x="142" y="386"/>
                  </a:cubicBezTo>
                  <a:cubicBezTo>
                    <a:pt x="141" y="387"/>
                    <a:pt x="141" y="387"/>
                    <a:pt x="141" y="388"/>
                  </a:cubicBezTo>
                  <a:cubicBezTo>
                    <a:pt x="141" y="390"/>
                    <a:pt x="141" y="392"/>
                    <a:pt x="139" y="393"/>
                  </a:cubicBezTo>
                  <a:cubicBezTo>
                    <a:pt x="139" y="394"/>
                    <a:pt x="139" y="394"/>
                    <a:pt x="139" y="394"/>
                  </a:cubicBezTo>
                  <a:cubicBezTo>
                    <a:pt x="139" y="394"/>
                    <a:pt x="139" y="394"/>
                    <a:pt x="139" y="394"/>
                  </a:cubicBezTo>
                  <a:cubicBezTo>
                    <a:pt x="138" y="395"/>
                    <a:pt x="138" y="396"/>
                    <a:pt x="137" y="396"/>
                  </a:cubicBezTo>
                  <a:cubicBezTo>
                    <a:pt x="136" y="397"/>
                    <a:pt x="136" y="397"/>
                    <a:pt x="134" y="397"/>
                  </a:cubicBezTo>
                  <a:cubicBezTo>
                    <a:pt x="133" y="397"/>
                    <a:pt x="131" y="397"/>
                    <a:pt x="129" y="395"/>
                  </a:cubicBezTo>
                  <a:cubicBezTo>
                    <a:pt x="128" y="394"/>
                    <a:pt x="128" y="393"/>
                    <a:pt x="127" y="392"/>
                  </a:cubicBezTo>
                  <a:cubicBezTo>
                    <a:pt x="126" y="390"/>
                    <a:pt x="125" y="389"/>
                    <a:pt x="123" y="388"/>
                  </a:cubicBezTo>
                  <a:cubicBezTo>
                    <a:pt x="121" y="388"/>
                    <a:pt x="119" y="388"/>
                    <a:pt x="118" y="388"/>
                  </a:cubicBezTo>
                  <a:cubicBezTo>
                    <a:pt x="116" y="388"/>
                    <a:pt x="110" y="388"/>
                    <a:pt x="108" y="390"/>
                  </a:cubicBezTo>
                  <a:cubicBezTo>
                    <a:pt x="107" y="391"/>
                    <a:pt x="107" y="392"/>
                    <a:pt x="107" y="393"/>
                  </a:cubicBezTo>
                  <a:cubicBezTo>
                    <a:pt x="106" y="394"/>
                    <a:pt x="105" y="396"/>
                    <a:pt x="104" y="397"/>
                  </a:cubicBezTo>
                  <a:cubicBezTo>
                    <a:pt x="102" y="398"/>
                    <a:pt x="100" y="398"/>
                    <a:pt x="98" y="398"/>
                  </a:cubicBezTo>
                  <a:cubicBezTo>
                    <a:pt x="98" y="398"/>
                    <a:pt x="98" y="398"/>
                    <a:pt x="98" y="398"/>
                  </a:cubicBezTo>
                  <a:cubicBezTo>
                    <a:pt x="97" y="398"/>
                    <a:pt x="96" y="398"/>
                    <a:pt x="96" y="398"/>
                  </a:cubicBezTo>
                  <a:cubicBezTo>
                    <a:pt x="95" y="398"/>
                    <a:pt x="94" y="399"/>
                    <a:pt x="93" y="399"/>
                  </a:cubicBezTo>
                  <a:cubicBezTo>
                    <a:pt x="93" y="399"/>
                    <a:pt x="93" y="399"/>
                    <a:pt x="93" y="399"/>
                  </a:cubicBezTo>
                  <a:cubicBezTo>
                    <a:pt x="91" y="399"/>
                    <a:pt x="89" y="399"/>
                    <a:pt x="88" y="399"/>
                  </a:cubicBezTo>
                  <a:cubicBezTo>
                    <a:pt x="86" y="400"/>
                    <a:pt x="86" y="400"/>
                    <a:pt x="85" y="401"/>
                  </a:cubicBezTo>
                  <a:cubicBezTo>
                    <a:pt x="84" y="402"/>
                    <a:pt x="83" y="402"/>
                    <a:pt x="81" y="403"/>
                  </a:cubicBezTo>
                  <a:cubicBezTo>
                    <a:pt x="79" y="403"/>
                    <a:pt x="77" y="404"/>
                    <a:pt x="75" y="404"/>
                  </a:cubicBezTo>
                  <a:cubicBezTo>
                    <a:pt x="71" y="405"/>
                    <a:pt x="67" y="405"/>
                    <a:pt x="64" y="408"/>
                  </a:cubicBezTo>
                  <a:cubicBezTo>
                    <a:pt x="61" y="410"/>
                    <a:pt x="59" y="412"/>
                    <a:pt x="57" y="414"/>
                  </a:cubicBezTo>
                  <a:cubicBezTo>
                    <a:pt x="54" y="416"/>
                    <a:pt x="51" y="419"/>
                    <a:pt x="48" y="421"/>
                  </a:cubicBezTo>
                  <a:cubicBezTo>
                    <a:pt x="46" y="423"/>
                    <a:pt x="44" y="423"/>
                    <a:pt x="42" y="424"/>
                  </a:cubicBezTo>
                  <a:cubicBezTo>
                    <a:pt x="38" y="426"/>
                    <a:pt x="35" y="427"/>
                    <a:pt x="34" y="433"/>
                  </a:cubicBezTo>
                  <a:cubicBezTo>
                    <a:pt x="33" y="436"/>
                    <a:pt x="33" y="439"/>
                    <a:pt x="33" y="442"/>
                  </a:cubicBezTo>
                  <a:cubicBezTo>
                    <a:pt x="33" y="447"/>
                    <a:pt x="33" y="451"/>
                    <a:pt x="31" y="456"/>
                  </a:cubicBezTo>
                  <a:cubicBezTo>
                    <a:pt x="29" y="458"/>
                    <a:pt x="29" y="458"/>
                    <a:pt x="29" y="458"/>
                  </a:cubicBezTo>
                  <a:cubicBezTo>
                    <a:pt x="26" y="464"/>
                    <a:pt x="24" y="467"/>
                    <a:pt x="28" y="475"/>
                  </a:cubicBezTo>
                  <a:cubicBezTo>
                    <a:pt x="29" y="478"/>
                    <a:pt x="30" y="481"/>
                    <a:pt x="29" y="484"/>
                  </a:cubicBezTo>
                  <a:cubicBezTo>
                    <a:pt x="27" y="487"/>
                    <a:pt x="25" y="489"/>
                    <a:pt x="21" y="491"/>
                  </a:cubicBezTo>
                  <a:cubicBezTo>
                    <a:pt x="14" y="493"/>
                    <a:pt x="10" y="495"/>
                    <a:pt x="6" y="502"/>
                  </a:cubicBezTo>
                  <a:cubicBezTo>
                    <a:pt x="5" y="505"/>
                    <a:pt x="5" y="507"/>
                    <a:pt x="7" y="511"/>
                  </a:cubicBezTo>
                  <a:cubicBezTo>
                    <a:pt x="7" y="512"/>
                    <a:pt x="7" y="512"/>
                    <a:pt x="8" y="513"/>
                  </a:cubicBezTo>
                  <a:cubicBezTo>
                    <a:pt x="10" y="516"/>
                    <a:pt x="10" y="518"/>
                    <a:pt x="7" y="520"/>
                  </a:cubicBezTo>
                  <a:cubicBezTo>
                    <a:pt x="6" y="521"/>
                    <a:pt x="5" y="521"/>
                    <a:pt x="4" y="522"/>
                  </a:cubicBezTo>
                  <a:cubicBezTo>
                    <a:pt x="2" y="522"/>
                    <a:pt x="0" y="523"/>
                    <a:pt x="0" y="525"/>
                  </a:cubicBezTo>
                  <a:cubicBezTo>
                    <a:pt x="0" y="528"/>
                    <a:pt x="2" y="530"/>
                    <a:pt x="4" y="532"/>
                  </a:cubicBezTo>
                  <a:cubicBezTo>
                    <a:pt x="5" y="532"/>
                    <a:pt x="5" y="533"/>
                    <a:pt x="6" y="533"/>
                  </a:cubicBezTo>
                  <a:cubicBezTo>
                    <a:pt x="8" y="536"/>
                    <a:pt x="9" y="538"/>
                    <a:pt x="10" y="540"/>
                  </a:cubicBezTo>
                  <a:cubicBezTo>
                    <a:pt x="10" y="541"/>
                    <a:pt x="10" y="542"/>
                    <a:pt x="11" y="544"/>
                  </a:cubicBezTo>
                  <a:cubicBezTo>
                    <a:pt x="11" y="545"/>
                    <a:pt x="12" y="546"/>
                    <a:pt x="14" y="547"/>
                  </a:cubicBezTo>
                  <a:cubicBezTo>
                    <a:pt x="15" y="549"/>
                    <a:pt x="16" y="550"/>
                    <a:pt x="17" y="551"/>
                  </a:cubicBezTo>
                  <a:cubicBezTo>
                    <a:pt x="17" y="553"/>
                    <a:pt x="18" y="554"/>
                    <a:pt x="18" y="556"/>
                  </a:cubicBezTo>
                  <a:cubicBezTo>
                    <a:pt x="18" y="558"/>
                    <a:pt x="19" y="560"/>
                    <a:pt x="20" y="562"/>
                  </a:cubicBezTo>
                  <a:cubicBezTo>
                    <a:pt x="21" y="562"/>
                    <a:pt x="22" y="563"/>
                    <a:pt x="22" y="564"/>
                  </a:cubicBezTo>
                  <a:cubicBezTo>
                    <a:pt x="24" y="565"/>
                    <a:pt x="26" y="567"/>
                    <a:pt x="26" y="570"/>
                  </a:cubicBezTo>
                  <a:cubicBezTo>
                    <a:pt x="26" y="571"/>
                    <a:pt x="26" y="571"/>
                    <a:pt x="26" y="571"/>
                  </a:cubicBezTo>
                  <a:cubicBezTo>
                    <a:pt x="28" y="572"/>
                    <a:pt x="28" y="572"/>
                    <a:pt x="28" y="572"/>
                  </a:cubicBezTo>
                  <a:cubicBezTo>
                    <a:pt x="31" y="572"/>
                    <a:pt x="32" y="573"/>
                    <a:pt x="34" y="577"/>
                  </a:cubicBezTo>
                  <a:cubicBezTo>
                    <a:pt x="36" y="580"/>
                    <a:pt x="37" y="581"/>
                    <a:pt x="39" y="584"/>
                  </a:cubicBezTo>
                  <a:cubicBezTo>
                    <a:pt x="40" y="585"/>
                    <a:pt x="40" y="585"/>
                    <a:pt x="40" y="585"/>
                  </a:cubicBezTo>
                  <a:cubicBezTo>
                    <a:pt x="42" y="588"/>
                    <a:pt x="42" y="591"/>
                    <a:pt x="40" y="596"/>
                  </a:cubicBezTo>
                  <a:cubicBezTo>
                    <a:pt x="40" y="597"/>
                    <a:pt x="39" y="598"/>
                    <a:pt x="38" y="599"/>
                  </a:cubicBezTo>
                  <a:cubicBezTo>
                    <a:pt x="39" y="601"/>
                    <a:pt x="39" y="601"/>
                    <a:pt x="39" y="601"/>
                  </a:cubicBezTo>
                  <a:cubicBezTo>
                    <a:pt x="39" y="601"/>
                    <a:pt x="39" y="601"/>
                    <a:pt x="39" y="601"/>
                  </a:cubicBezTo>
                  <a:cubicBezTo>
                    <a:pt x="37" y="600"/>
                    <a:pt x="37" y="600"/>
                    <a:pt x="37" y="600"/>
                  </a:cubicBezTo>
                  <a:cubicBezTo>
                    <a:pt x="34" y="603"/>
                    <a:pt x="34" y="603"/>
                    <a:pt x="34" y="603"/>
                  </a:cubicBezTo>
                  <a:cubicBezTo>
                    <a:pt x="38" y="604"/>
                    <a:pt x="38" y="604"/>
                    <a:pt x="38" y="604"/>
                  </a:cubicBezTo>
                  <a:cubicBezTo>
                    <a:pt x="39" y="604"/>
                    <a:pt x="41" y="605"/>
                    <a:pt x="43" y="605"/>
                  </a:cubicBezTo>
                  <a:cubicBezTo>
                    <a:pt x="44" y="605"/>
                    <a:pt x="44" y="605"/>
                    <a:pt x="45" y="604"/>
                  </a:cubicBezTo>
                  <a:cubicBezTo>
                    <a:pt x="46" y="604"/>
                    <a:pt x="47" y="604"/>
                    <a:pt x="48" y="604"/>
                  </a:cubicBezTo>
                  <a:cubicBezTo>
                    <a:pt x="49" y="604"/>
                    <a:pt x="51" y="605"/>
                    <a:pt x="53" y="605"/>
                  </a:cubicBezTo>
                  <a:cubicBezTo>
                    <a:pt x="54" y="605"/>
                    <a:pt x="55" y="606"/>
                    <a:pt x="55" y="606"/>
                  </a:cubicBezTo>
                  <a:cubicBezTo>
                    <a:pt x="56" y="607"/>
                    <a:pt x="57" y="607"/>
                    <a:pt x="58" y="607"/>
                  </a:cubicBezTo>
                  <a:cubicBezTo>
                    <a:pt x="59" y="607"/>
                    <a:pt x="59" y="607"/>
                    <a:pt x="61" y="607"/>
                  </a:cubicBezTo>
                  <a:cubicBezTo>
                    <a:pt x="62" y="608"/>
                    <a:pt x="64" y="608"/>
                    <a:pt x="64" y="608"/>
                  </a:cubicBezTo>
                  <a:cubicBezTo>
                    <a:pt x="66" y="609"/>
                    <a:pt x="68" y="613"/>
                    <a:pt x="69" y="615"/>
                  </a:cubicBezTo>
                  <a:cubicBezTo>
                    <a:pt x="70" y="616"/>
                    <a:pt x="70" y="617"/>
                    <a:pt x="70" y="618"/>
                  </a:cubicBezTo>
                  <a:cubicBezTo>
                    <a:pt x="72" y="621"/>
                    <a:pt x="72" y="624"/>
                    <a:pt x="73" y="627"/>
                  </a:cubicBezTo>
                  <a:cubicBezTo>
                    <a:pt x="73" y="629"/>
                    <a:pt x="73" y="629"/>
                    <a:pt x="73" y="629"/>
                  </a:cubicBezTo>
                  <a:cubicBezTo>
                    <a:pt x="75" y="629"/>
                    <a:pt x="75" y="629"/>
                    <a:pt x="75" y="629"/>
                  </a:cubicBezTo>
                  <a:cubicBezTo>
                    <a:pt x="76" y="629"/>
                    <a:pt x="76" y="629"/>
                    <a:pt x="76" y="629"/>
                  </a:cubicBezTo>
                  <a:cubicBezTo>
                    <a:pt x="79" y="629"/>
                    <a:pt x="83" y="629"/>
                    <a:pt x="89" y="629"/>
                  </a:cubicBezTo>
                  <a:cubicBezTo>
                    <a:pt x="92" y="628"/>
                    <a:pt x="92" y="628"/>
                    <a:pt x="92" y="628"/>
                  </a:cubicBezTo>
                  <a:cubicBezTo>
                    <a:pt x="99" y="628"/>
                    <a:pt x="106" y="628"/>
                    <a:pt x="111" y="623"/>
                  </a:cubicBezTo>
                  <a:cubicBezTo>
                    <a:pt x="111" y="622"/>
                    <a:pt x="112" y="621"/>
                    <a:pt x="113" y="619"/>
                  </a:cubicBezTo>
                  <a:cubicBezTo>
                    <a:pt x="114" y="619"/>
                    <a:pt x="114" y="619"/>
                    <a:pt x="114" y="619"/>
                  </a:cubicBezTo>
                  <a:cubicBezTo>
                    <a:pt x="118" y="614"/>
                    <a:pt x="123" y="608"/>
                    <a:pt x="129" y="606"/>
                  </a:cubicBezTo>
                  <a:cubicBezTo>
                    <a:pt x="128" y="604"/>
                    <a:pt x="128" y="604"/>
                    <a:pt x="128" y="604"/>
                  </a:cubicBezTo>
                  <a:cubicBezTo>
                    <a:pt x="129" y="606"/>
                    <a:pt x="129" y="606"/>
                    <a:pt x="129" y="606"/>
                  </a:cubicBezTo>
                  <a:cubicBezTo>
                    <a:pt x="129" y="606"/>
                    <a:pt x="129" y="606"/>
                    <a:pt x="130" y="607"/>
                  </a:cubicBezTo>
                  <a:cubicBezTo>
                    <a:pt x="130" y="608"/>
                    <a:pt x="130" y="610"/>
                    <a:pt x="130" y="611"/>
                  </a:cubicBezTo>
                  <a:cubicBezTo>
                    <a:pt x="131" y="614"/>
                    <a:pt x="131" y="618"/>
                    <a:pt x="130" y="621"/>
                  </a:cubicBezTo>
                  <a:cubicBezTo>
                    <a:pt x="129" y="626"/>
                    <a:pt x="129" y="630"/>
                    <a:pt x="129" y="636"/>
                  </a:cubicBezTo>
                  <a:cubicBezTo>
                    <a:pt x="129" y="640"/>
                    <a:pt x="129" y="644"/>
                    <a:pt x="129" y="648"/>
                  </a:cubicBezTo>
                  <a:cubicBezTo>
                    <a:pt x="129" y="654"/>
                    <a:pt x="129" y="659"/>
                    <a:pt x="129" y="665"/>
                  </a:cubicBezTo>
                  <a:cubicBezTo>
                    <a:pt x="130" y="667"/>
                    <a:pt x="131" y="668"/>
                    <a:pt x="133" y="670"/>
                  </a:cubicBezTo>
                  <a:cubicBezTo>
                    <a:pt x="136" y="672"/>
                    <a:pt x="140" y="672"/>
                    <a:pt x="143" y="672"/>
                  </a:cubicBezTo>
                  <a:cubicBezTo>
                    <a:pt x="145" y="672"/>
                    <a:pt x="148" y="672"/>
                    <a:pt x="150" y="671"/>
                  </a:cubicBezTo>
                  <a:cubicBezTo>
                    <a:pt x="150" y="671"/>
                    <a:pt x="150" y="671"/>
                    <a:pt x="150" y="671"/>
                  </a:cubicBezTo>
                  <a:cubicBezTo>
                    <a:pt x="154" y="669"/>
                    <a:pt x="157" y="668"/>
                    <a:pt x="160" y="668"/>
                  </a:cubicBezTo>
                  <a:cubicBezTo>
                    <a:pt x="161" y="668"/>
                    <a:pt x="162" y="668"/>
                    <a:pt x="162" y="668"/>
                  </a:cubicBezTo>
                  <a:cubicBezTo>
                    <a:pt x="163" y="669"/>
                    <a:pt x="163" y="669"/>
                    <a:pt x="163" y="669"/>
                  </a:cubicBezTo>
                  <a:cubicBezTo>
                    <a:pt x="164" y="668"/>
                    <a:pt x="164" y="668"/>
                    <a:pt x="164" y="668"/>
                  </a:cubicBezTo>
                  <a:cubicBezTo>
                    <a:pt x="165" y="667"/>
                    <a:pt x="167" y="667"/>
                    <a:pt x="170" y="667"/>
                  </a:cubicBezTo>
                  <a:cubicBezTo>
                    <a:pt x="172" y="667"/>
                    <a:pt x="174" y="667"/>
                    <a:pt x="176" y="667"/>
                  </a:cubicBezTo>
                  <a:cubicBezTo>
                    <a:pt x="177" y="668"/>
                    <a:pt x="179" y="668"/>
                    <a:pt x="180" y="668"/>
                  </a:cubicBezTo>
                  <a:cubicBezTo>
                    <a:pt x="181" y="668"/>
                    <a:pt x="181" y="668"/>
                    <a:pt x="182" y="668"/>
                  </a:cubicBezTo>
                  <a:cubicBezTo>
                    <a:pt x="188" y="668"/>
                    <a:pt x="196" y="668"/>
                    <a:pt x="198" y="671"/>
                  </a:cubicBezTo>
                  <a:cubicBezTo>
                    <a:pt x="199" y="672"/>
                    <a:pt x="199" y="673"/>
                    <a:pt x="199" y="674"/>
                  </a:cubicBezTo>
                  <a:cubicBezTo>
                    <a:pt x="199" y="677"/>
                    <a:pt x="199" y="677"/>
                    <a:pt x="199" y="677"/>
                  </a:cubicBezTo>
                  <a:cubicBezTo>
                    <a:pt x="202" y="676"/>
                    <a:pt x="202" y="676"/>
                    <a:pt x="202" y="676"/>
                  </a:cubicBezTo>
                  <a:cubicBezTo>
                    <a:pt x="203" y="676"/>
                    <a:pt x="204" y="676"/>
                    <a:pt x="204" y="675"/>
                  </a:cubicBezTo>
                  <a:cubicBezTo>
                    <a:pt x="205" y="674"/>
                    <a:pt x="205" y="674"/>
                    <a:pt x="206" y="673"/>
                  </a:cubicBezTo>
                  <a:cubicBezTo>
                    <a:pt x="207" y="673"/>
                    <a:pt x="208" y="673"/>
                    <a:pt x="209" y="673"/>
                  </a:cubicBezTo>
                  <a:cubicBezTo>
                    <a:pt x="210" y="673"/>
                    <a:pt x="210" y="673"/>
                    <a:pt x="211" y="672"/>
                  </a:cubicBezTo>
                  <a:cubicBezTo>
                    <a:pt x="214" y="671"/>
                    <a:pt x="215" y="669"/>
                    <a:pt x="217" y="666"/>
                  </a:cubicBezTo>
                  <a:cubicBezTo>
                    <a:pt x="218" y="664"/>
                    <a:pt x="219" y="661"/>
                    <a:pt x="221" y="660"/>
                  </a:cubicBezTo>
                  <a:cubicBezTo>
                    <a:pt x="223" y="658"/>
                    <a:pt x="225" y="657"/>
                    <a:pt x="228" y="657"/>
                  </a:cubicBezTo>
                  <a:cubicBezTo>
                    <a:pt x="228" y="657"/>
                    <a:pt x="230" y="657"/>
                    <a:pt x="230" y="657"/>
                  </a:cubicBezTo>
                  <a:cubicBezTo>
                    <a:pt x="232" y="657"/>
                    <a:pt x="234" y="657"/>
                    <a:pt x="236" y="654"/>
                  </a:cubicBezTo>
                  <a:cubicBezTo>
                    <a:pt x="238" y="650"/>
                    <a:pt x="241" y="646"/>
                    <a:pt x="247" y="643"/>
                  </a:cubicBezTo>
                  <a:cubicBezTo>
                    <a:pt x="248" y="643"/>
                    <a:pt x="249" y="642"/>
                    <a:pt x="251" y="642"/>
                  </a:cubicBezTo>
                  <a:cubicBezTo>
                    <a:pt x="252" y="642"/>
                    <a:pt x="254" y="642"/>
                    <a:pt x="255" y="641"/>
                  </a:cubicBezTo>
                  <a:cubicBezTo>
                    <a:pt x="257" y="639"/>
                    <a:pt x="258" y="638"/>
                    <a:pt x="259" y="636"/>
                  </a:cubicBezTo>
                  <a:cubicBezTo>
                    <a:pt x="260" y="635"/>
                    <a:pt x="261" y="634"/>
                    <a:pt x="262" y="633"/>
                  </a:cubicBezTo>
                  <a:cubicBezTo>
                    <a:pt x="264" y="631"/>
                    <a:pt x="266" y="629"/>
                    <a:pt x="269" y="628"/>
                  </a:cubicBezTo>
                  <a:cubicBezTo>
                    <a:pt x="270" y="628"/>
                    <a:pt x="271" y="627"/>
                    <a:pt x="272" y="626"/>
                  </a:cubicBezTo>
                  <a:cubicBezTo>
                    <a:pt x="274" y="625"/>
                    <a:pt x="276" y="624"/>
                    <a:pt x="277" y="624"/>
                  </a:cubicBezTo>
                  <a:cubicBezTo>
                    <a:pt x="279" y="623"/>
                    <a:pt x="281" y="623"/>
                    <a:pt x="282" y="623"/>
                  </a:cubicBezTo>
                  <a:cubicBezTo>
                    <a:pt x="284" y="622"/>
                    <a:pt x="286" y="622"/>
                    <a:pt x="288" y="621"/>
                  </a:cubicBezTo>
                  <a:cubicBezTo>
                    <a:pt x="292" y="620"/>
                    <a:pt x="295" y="619"/>
                    <a:pt x="299" y="618"/>
                  </a:cubicBezTo>
                  <a:cubicBezTo>
                    <a:pt x="300" y="618"/>
                    <a:pt x="300" y="618"/>
                    <a:pt x="300" y="618"/>
                  </a:cubicBezTo>
                  <a:cubicBezTo>
                    <a:pt x="302" y="617"/>
                    <a:pt x="303" y="617"/>
                    <a:pt x="304" y="617"/>
                  </a:cubicBezTo>
                  <a:cubicBezTo>
                    <a:pt x="305" y="617"/>
                    <a:pt x="305" y="617"/>
                    <a:pt x="305" y="617"/>
                  </a:cubicBezTo>
                  <a:cubicBezTo>
                    <a:pt x="307" y="617"/>
                    <a:pt x="307" y="618"/>
                    <a:pt x="308" y="619"/>
                  </a:cubicBezTo>
                  <a:cubicBezTo>
                    <a:pt x="308" y="619"/>
                    <a:pt x="308" y="619"/>
                    <a:pt x="308" y="619"/>
                  </a:cubicBezTo>
                  <a:cubicBezTo>
                    <a:pt x="308" y="619"/>
                    <a:pt x="308" y="619"/>
                    <a:pt x="308" y="619"/>
                  </a:cubicBezTo>
                  <a:cubicBezTo>
                    <a:pt x="308" y="620"/>
                    <a:pt x="309" y="620"/>
                    <a:pt x="309" y="620"/>
                  </a:cubicBezTo>
                  <a:cubicBezTo>
                    <a:pt x="311" y="622"/>
                    <a:pt x="311" y="622"/>
                    <a:pt x="311" y="622"/>
                  </a:cubicBezTo>
                  <a:cubicBezTo>
                    <a:pt x="313" y="619"/>
                    <a:pt x="313" y="619"/>
                    <a:pt x="313" y="619"/>
                  </a:cubicBezTo>
                  <a:cubicBezTo>
                    <a:pt x="313" y="619"/>
                    <a:pt x="313" y="618"/>
                    <a:pt x="313" y="617"/>
                  </a:cubicBezTo>
                  <a:cubicBezTo>
                    <a:pt x="313" y="617"/>
                    <a:pt x="314" y="617"/>
                    <a:pt x="314" y="617"/>
                  </a:cubicBezTo>
                  <a:cubicBezTo>
                    <a:pt x="314" y="617"/>
                    <a:pt x="314" y="617"/>
                    <a:pt x="315" y="617"/>
                  </a:cubicBezTo>
                  <a:cubicBezTo>
                    <a:pt x="317" y="617"/>
                    <a:pt x="318" y="617"/>
                    <a:pt x="319" y="618"/>
                  </a:cubicBezTo>
                  <a:cubicBezTo>
                    <a:pt x="321" y="620"/>
                    <a:pt x="321" y="623"/>
                    <a:pt x="321" y="626"/>
                  </a:cubicBezTo>
                  <a:cubicBezTo>
                    <a:pt x="321" y="626"/>
                    <a:pt x="321" y="626"/>
                    <a:pt x="321" y="626"/>
                  </a:cubicBezTo>
                  <a:cubicBezTo>
                    <a:pt x="321" y="627"/>
                    <a:pt x="321" y="629"/>
                    <a:pt x="321" y="630"/>
                  </a:cubicBezTo>
                  <a:cubicBezTo>
                    <a:pt x="321" y="632"/>
                    <a:pt x="322" y="633"/>
                    <a:pt x="322" y="634"/>
                  </a:cubicBezTo>
                  <a:cubicBezTo>
                    <a:pt x="323" y="635"/>
                    <a:pt x="324" y="636"/>
                    <a:pt x="324" y="637"/>
                  </a:cubicBezTo>
                  <a:cubicBezTo>
                    <a:pt x="324" y="640"/>
                    <a:pt x="323" y="642"/>
                    <a:pt x="322" y="643"/>
                  </a:cubicBezTo>
                  <a:cubicBezTo>
                    <a:pt x="322" y="644"/>
                    <a:pt x="321" y="645"/>
                    <a:pt x="321" y="646"/>
                  </a:cubicBezTo>
                  <a:cubicBezTo>
                    <a:pt x="320" y="648"/>
                    <a:pt x="319" y="652"/>
                    <a:pt x="319" y="654"/>
                  </a:cubicBezTo>
                  <a:cubicBezTo>
                    <a:pt x="320" y="655"/>
                    <a:pt x="320" y="657"/>
                    <a:pt x="321" y="658"/>
                  </a:cubicBezTo>
                  <a:cubicBezTo>
                    <a:pt x="322" y="659"/>
                    <a:pt x="322" y="660"/>
                    <a:pt x="322" y="661"/>
                  </a:cubicBezTo>
                  <a:cubicBezTo>
                    <a:pt x="323" y="663"/>
                    <a:pt x="324" y="667"/>
                    <a:pt x="323" y="670"/>
                  </a:cubicBezTo>
                  <a:cubicBezTo>
                    <a:pt x="323" y="671"/>
                    <a:pt x="323" y="672"/>
                    <a:pt x="323" y="674"/>
                  </a:cubicBezTo>
                  <a:cubicBezTo>
                    <a:pt x="322" y="676"/>
                    <a:pt x="322" y="678"/>
                    <a:pt x="322" y="680"/>
                  </a:cubicBezTo>
                  <a:cubicBezTo>
                    <a:pt x="323" y="681"/>
                    <a:pt x="323" y="681"/>
                    <a:pt x="323" y="682"/>
                  </a:cubicBezTo>
                  <a:cubicBezTo>
                    <a:pt x="324" y="682"/>
                    <a:pt x="324" y="683"/>
                    <a:pt x="324" y="684"/>
                  </a:cubicBezTo>
                  <a:cubicBezTo>
                    <a:pt x="324" y="685"/>
                    <a:pt x="324" y="686"/>
                    <a:pt x="324" y="687"/>
                  </a:cubicBezTo>
                  <a:cubicBezTo>
                    <a:pt x="324" y="688"/>
                    <a:pt x="324" y="688"/>
                    <a:pt x="324" y="689"/>
                  </a:cubicBezTo>
                  <a:cubicBezTo>
                    <a:pt x="324" y="695"/>
                    <a:pt x="328" y="700"/>
                    <a:pt x="333" y="705"/>
                  </a:cubicBezTo>
                  <a:cubicBezTo>
                    <a:pt x="335" y="707"/>
                    <a:pt x="335" y="707"/>
                    <a:pt x="335" y="707"/>
                  </a:cubicBezTo>
                  <a:cubicBezTo>
                    <a:pt x="335" y="708"/>
                    <a:pt x="336" y="709"/>
                    <a:pt x="336" y="710"/>
                  </a:cubicBezTo>
                  <a:cubicBezTo>
                    <a:pt x="336" y="711"/>
                    <a:pt x="337" y="712"/>
                    <a:pt x="338" y="713"/>
                  </a:cubicBezTo>
                  <a:cubicBezTo>
                    <a:pt x="339" y="713"/>
                    <a:pt x="340" y="713"/>
                    <a:pt x="341" y="714"/>
                  </a:cubicBezTo>
                  <a:cubicBezTo>
                    <a:pt x="342" y="714"/>
                    <a:pt x="343" y="714"/>
                    <a:pt x="344" y="714"/>
                  </a:cubicBezTo>
                  <a:cubicBezTo>
                    <a:pt x="346" y="716"/>
                    <a:pt x="349" y="718"/>
                    <a:pt x="351" y="720"/>
                  </a:cubicBezTo>
                  <a:cubicBezTo>
                    <a:pt x="352" y="721"/>
                    <a:pt x="353" y="722"/>
                    <a:pt x="354" y="723"/>
                  </a:cubicBezTo>
                  <a:cubicBezTo>
                    <a:pt x="355" y="723"/>
                    <a:pt x="356" y="723"/>
                    <a:pt x="356" y="724"/>
                  </a:cubicBezTo>
                  <a:cubicBezTo>
                    <a:pt x="358" y="724"/>
                    <a:pt x="358" y="725"/>
                    <a:pt x="359" y="727"/>
                  </a:cubicBezTo>
                  <a:cubicBezTo>
                    <a:pt x="359" y="728"/>
                    <a:pt x="359" y="728"/>
                    <a:pt x="359" y="729"/>
                  </a:cubicBezTo>
                  <a:cubicBezTo>
                    <a:pt x="359" y="731"/>
                    <a:pt x="359" y="731"/>
                    <a:pt x="359" y="731"/>
                  </a:cubicBezTo>
                  <a:cubicBezTo>
                    <a:pt x="361" y="731"/>
                    <a:pt x="361" y="731"/>
                    <a:pt x="361" y="731"/>
                  </a:cubicBezTo>
                  <a:cubicBezTo>
                    <a:pt x="363" y="732"/>
                    <a:pt x="364" y="732"/>
                    <a:pt x="366" y="732"/>
                  </a:cubicBezTo>
                  <a:cubicBezTo>
                    <a:pt x="367" y="732"/>
                    <a:pt x="368" y="732"/>
                    <a:pt x="369" y="732"/>
                  </a:cubicBezTo>
                  <a:cubicBezTo>
                    <a:pt x="371" y="733"/>
                    <a:pt x="372" y="733"/>
                    <a:pt x="373" y="734"/>
                  </a:cubicBezTo>
                  <a:cubicBezTo>
                    <a:pt x="374" y="734"/>
                    <a:pt x="374" y="735"/>
                    <a:pt x="375" y="735"/>
                  </a:cubicBezTo>
                  <a:cubicBezTo>
                    <a:pt x="376" y="735"/>
                    <a:pt x="376" y="736"/>
                    <a:pt x="377" y="736"/>
                  </a:cubicBezTo>
                  <a:cubicBezTo>
                    <a:pt x="379" y="736"/>
                    <a:pt x="380" y="735"/>
                    <a:pt x="381" y="734"/>
                  </a:cubicBezTo>
                  <a:cubicBezTo>
                    <a:pt x="382" y="733"/>
                    <a:pt x="384" y="731"/>
                    <a:pt x="386" y="731"/>
                  </a:cubicBezTo>
                  <a:cubicBezTo>
                    <a:pt x="386" y="731"/>
                    <a:pt x="387" y="731"/>
                    <a:pt x="387" y="732"/>
                  </a:cubicBezTo>
                  <a:cubicBezTo>
                    <a:pt x="390" y="732"/>
                    <a:pt x="393" y="735"/>
                    <a:pt x="397" y="738"/>
                  </a:cubicBezTo>
                  <a:cubicBezTo>
                    <a:pt x="398" y="739"/>
                    <a:pt x="398" y="739"/>
                    <a:pt x="398" y="739"/>
                  </a:cubicBezTo>
                  <a:cubicBezTo>
                    <a:pt x="398" y="740"/>
                    <a:pt x="399" y="740"/>
                    <a:pt x="399" y="741"/>
                  </a:cubicBezTo>
                  <a:cubicBezTo>
                    <a:pt x="400" y="742"/>
                    <a:pt x="400" y="743"/>
                    <a:pt x="401" y="743"/>
                  </a:cubicBezTo>
                  <a:cubicBezTo>
                    <a:pt x="402" y="741"/>
                    <a:pt x="402" y="741"/>
                    <a:pt x="402" y="741"/>
                  </a:cubicBezTo>
                  <a:cubicBezTo>
                    <a:pt x="402" y="741"/>
                    <a:pt x="402" y="741"/>
                    <a:pt x="402" y="741"/>
                  </a:cubicBezTo>
                  <a:cubicBezTo>
                    <a:pt x="404" y="742"/>
                    <a:pt x="404" y="742"/>
                    <a:pt x="404" y="742"/>
                  </a:cubicBezTo>
                  <a:cubicBezTo>
                    <a:pt x="405" y="741"/>
                    <a:pt x="406" y="740"/>
                    <a:pt x="408" y="740"/>
                  </a:cubicBezTo>
                  <a:cubicBezTo>
                    <a:pt x="408" y="740"/>
                    <a:pt x="408" y="740"/>
                    <a:pt x="408" y="740"/>
                  </a:cubicBezTo>
                  <a:cubicBezTo>
                    <a:pt x="410" y="740"/>
                    <a:pt x="412" y="743"/>
                    <a:pt x="414" y="746"/>
                  </a:cubicBezTo>
                  <a:cubicBezTo>
                    <a:pt x="415" y="748"/>
                    <a:pt x="416" y="749"/>
                    <a:pt x="417" y="750"/>
                  </a:cubicBezTo>
                  <a:cubicBezTo>
                    <a:pt x="419" y="752"/>
                    <a:pt x="421" y="753"/>
                    <a:pt x="424" y="754"/>
                  </a:cubicBezTo>
                  <a:cubicBezTo>
                    <a:pt x="425" y="755"/>
                    <a:pt x="426" y="755"/>
                    <a:pt x="427" y="756"/>
                  </a:cubicBezTo>
                  <a:cubicBezTo>
                    <a:pt x="430" y="758"/>
                    <a:pt x="435" y="761"/>
                    <a:pt x="439" y="761"/>
                  </a:cubicBezTo>
                  <a:cubicBezTo>
                    <a:pt x="439" y="761"/>
                    <a:pt x="439" y="761"/>
                    <a:pt x="439" y="761"/>
                  </a:cubicBezTo>
                  <a:cubicBezTo>
                    <a:pt x="440" y="761"/>
                    <a:pt x="440" y="761"/>
                    <a:pt x="441" y="761"/>
                  </a:cubicBezTo>
                  <a:cubicBezTo>
                    <a:pt x="441" y="761"/>
                    <a:pt x="442" y="761"/>
                    <a:pt x="442" y="761"/>
                  </a:cubicBezTo>
                  <a:cubicBezTo>
                    <a:pt x="443" y="761"/>
                    <a:pt x="444" y="761"/>
                    <a:pt x="446" y="762"/>
                  </a:cubicBezTo>
                  <a:cubicBezTo>
                    <a:pt x="447" y="763"/>
                    <a:pt x="447" y="764"/>
                    <a:pt x="448" y="765"/>
                  </a:cubicBezTo>
                  <a:cubicBezTo>
                    <a:pt x="448" y="766"/>
                    <a:pt x="449" y="767"/>
                    <a:pt x="449" y="767"/>
                  </a:cubicBezTo>
                  <a:cubicBezTo>
                    <a:pt x="453" y="771"/>
                    <a:pt x="455" y="774"/>
                    <a:pt x="458" y="775"/>
                  </a:cubicBezTo>
                  <a:cubicBezTo>
                    <a:pt x="460" y="776"/>
                    <a:pt x="463" y="776"/>
                    <a:pt x="466" y="776"/>
                  </a:cubicBezTo>
                  <a:cubicBezTo>
                    <a:pt x="468" y="776"/>
                    <a:pt x="470" y="777"/>
                    <a:pt x="471" y="777"/>
                  </a:cubicBezTo>
                  <a:cubicBezTo>
                    <a:pt x="472" y="777"/>
                    <a:pt x="473" y="777"/>
                    <a:pt x="474" y="777"/>
                  </a:cubicBezTo>
                  <a:cubicBezTo>
                    <a:pt x="475" y="777"/>
                    <a:pt x="477" y="777"/>
                    <a:pt x="479" y="776"/>
                  </a:cubicBezTo>
                  <a:cubicBezTo>
                    <a:pt x="481" y="776"/>
                    <a:pt x="482" y="776"/>
                    <a:pt x="484" y="776"/>
                  </a:cubicBezTo>
                  <a:cubicBezTo>
                    <a:pt x="485" y="776"/>
                    <a:pt x="485" y="776"/>
                    <a:pt x="485" y="776"/>
                  </a:cubicBezTo>
                  <a:cubicBezTo>
                    <a:pt x="490" y="776"/>
                    <a:pt x="494" y="779"/>
                    <a:pt x="498" y="782"/>
                  </a:cubicBezTo>
                  <a:cubicBezTo>
                    <a:pt x="498" y="782"/>
                    <a:pt x="500" y="783"/>
                    <a:pt x="501" y="784"/>
                  </a:cubicBezTo>
                  <a:cubicBezTo>
                    <a:pt x="508" y="788"/>
                    <a:pt x="513" y="792"/>
                    <a:pt x="511" y="797"/>
                  </a:cubicBezTo>
                  <a:cubicBezTo>
                    <a:pt x="511" y="798"/>
                    <a:pt x="510" y="799"/>
                    <a:pt x="510" y="800"/>
                  </a:cubicBezTo>
                  <a:cubicBezTo>
                    <a:pt x="509" y="802"/>
                    <a:pt x="509" y="803"/>
                    <a:pt x="510" y="805"/>
                  </a:cubicBezTo>
                  <a:cubicBezTo>
                    <a:pt x="511" y="808"/>
                    <a:pt x="512" y="811"/>
                    <a:pt x="514" y="814"/>
                  </a:cubicBezTo>
                  <a:cubicBezTo>
                    <a:pt x="515" y="816"/>
                    <a:pt x="516" y="818"/>
                    <a:pt x="517" y="820"/>
                  </a:cubicBezTo>
                  <a:cubicBezTo>
                    <a:pt x="518" y="822"/>
                    <a:pt x="518" y="824"/>
                    <a:pt x="518" y="825"/>
                  </a:cubicBezTo>
                  <a:cubicBezTo>
                    <a:pt x="518" y="827"/>
                    <a:pt x="518" y="827"/>
                    <a:pt x="518" y="827"/>
                  </a:cubicBezTo>
                  <a:cubicBezTo>
                    <a:pt x="518" y="841"/>
                    <a:pt x="518" y="841"/>
                    <a:pt x="518" y="841"/>
                  </a:cubicBezTo>
                  <a:cubicBezTo>
                    <a:pt x="518" y="841"/>
                    <a:pt x="518" y="842"/>
                    <a:pt x="518" y="842"/>
                  </a:cubicBezTo>
                  <a:cubicBezTo>
                    <a:pt x="517" y="842"/>
                    <a:pt x="517" y="842"/>
                    <a:pt x="517" y="842"/>
                  </a:cubicBezTo>
                  <a:cubicBezTo>
                    <a:pt x="509" y="842"/>
                    <a:pt x="509" y="842"/>
                    <a:pt x="509" y="842"/>
                  </a:cubicBezTo>
                  <a:cubicBezTo>
                    <a:pt x="513" y="846"/>
                    <a:pt x="513" y="846"/>
                    <a:pt x="513" y="846"/>
                  </a:cubicBezTo>
                  <a:cubicBezTo>
                    <a:pt x="523" y="856"/>
                    <a:pt x="523" y="856"/>
                    <a:pt x="523" y="856"/>
                  </a:cubicBezTo>
                  <a:cubicBezTo>
                    <a:pt x="528" y="889"/>
                    <a:pt x="528" y="889"/>
                    <a:pt x="528" y="889"/>
                  </a:cubicBezTo>
                  <a:cubicBezTo>
                    <a:pt x="543" y="889"/>
                    <a:pt x="543" y="889"/>
                    <a:pt x="543" y="889"/>
                  </a:cubicBezTo>
                  <a:cubicBezTo>
                    <a:pt x="557" y="889"/>
                    <a:pt x="570" y="889"/>
                    <a:pt x="584" y="889"/>
                  </a:cubicBezTo>
                  <a:cubicBezTo>
                    <a:pt x="587" y="889"/>
                    <a:pt x="587" y="889"/>
                    <a:pt x="587" y="889"/>
                  </a:cubicBezTo>
                  <a:cubicBezTo>
                    <a:pt x="590" y="889"/>
                    <a:pt x="593" y="890"/>
                    <a:pt x="594" y="891"/>
                  </a:cubicBezTo>
                  <a:cubicBezTo>
                    <a:pt x="596" y="893"/>
                    <a:pt x="595" y="897"/>
                    <a:pt x="594" y="899"/>
                  </a:cubicBezTo>
                  <a:cubicBezTo>
                    <a:pt x="593" y="900"/>
                    <a:pt x="593" y="901"/>
                    <a:pt x="592" y="902"/>
                  </a:cubicBezTo>
                  <a:cubicBezTo>
                    <a:pt x="591" y="904"/>
                    <a:pt x="591" y="905"/>
                    <a:pt x="591" y="907"/>
                  </a:cubicBezTo>
                  <a:cubicBezTo>
                    <a:pt x="590" y="912"/>
                    <a:pt x="592" y="921"/>
                    <a:pt x="595" y="926"/>
                  </a:cubicBezTo>
                  <a:cubicBezTo>
                    <a:pt x="596" y="929"/>
                    <a:pt x="598" y="931"/>
                    <a:pt x="600" y="932"/>
                  </a:cubicBezTo>
                  <a:cubicBezTo>
                    <a:pt x="600" y="932"/>
                    <a:pt x="601" y="932"/>
                    <a:pt x="601" y="933"/>
                  </a:cubicBezTo>
                  <a:cubicBezTo>
                    <a:pt x="602" y="933"/>
                    <a:pt x="603" y="933"/>
                    <a:pt x="604" y="934"/>
                  </a:cubicBezTo>
                  <a:cubicBezTo>
                    <a:pt x="605" y="934"/>
                    <a:pt x="605" y="935"/>
                    <a:pt x="605" y="936"/>
                  </a:cubicBezTo>
                  <a:cubicBezTo>
                    <a:pt x="606" y="937"/>
                    <a:pt x="606" y="937"/>
                    <a:pt x="606" y="938"/>
                  </a:cubicBezTo>
                  <a:cubicBezTo>
                    <a:pt x="608" y="940"/>
                    <a:pt x="611" y="940"/>
                    <a:pt x="613" y="940"/>
                  </a:cubicBezTo>
                  <a:cubicBezTo>
                    <a:pt x="616" y="941"/>
                    <a:pt x="620" y="942"/>
                    <a:pt x="621" y="947"/>
                  </a:cubicBezTo>
                  <a:cubicBezTo>
                    <a:pt x="621" y="951"/>
                    <a:pt x="622" y="951"/>
                    <a:pt x="623" y="954"/>
                  </a:cubicBezTo>
                  <a:cubicBezTo>
                    <a:pt x="624" y="955"/>
                    <a:pt x="624" y="955"/>
                    <a:pt x="624" y="955"/>
                  </a:cubicBezTo>
                  <a:cubicBezTo>
                    <a:pt x="625" y="957"/>
                    <a:pt x="625" y="958"/>
                    <a:pt x="625" y="960"/>
                  </a:cubicBezTo>
                  <a:cubicBezTo>
                    <a:pt x="626" y="961"/>
                    <a:pt x="626" y="963"/>
                    <a:pt x="627" y="964"/>
                  </a:cubicBezTo>
                  <a:cubicBezTo>
                    <a:pt x="627" y="965"/>
                    <a:pt x="628" y="966"/>
                    <a:pt x="629" y="966"/>
                  </a:cubicBezTo>
                  <a:cubicBezTo>
                    <a:pt x="630" y="968"/>
                    <a:pt x="632" y="969"/>
                    <a:pt x="631" y="972"/>
                  </a:cubicBezTo>
                  <a:cubicBezTo>
                    <a:pt x="631" y="974"/>
                    <a:pt x="630" y="976"/>
                    <a:pt x="629" y="977"/>
                  </a:cubicBezTo>
                  <a:cubicBezTo>
                    <a:pt x="628" y="978"/>
                    <a:pt x="628" y="980"/>
                    <a:pt x="627" y="981"/>
                  </a:cubicBezTo>
                  <a:cubicBezTo>
                    <a:pt x="627" y="983"/>
                    <a:pt x="626" y="986"/>
                    <a:pt x="626" y="989"/>
                  </a:cubicBezTo>
                  <a:cubicBezTo>
                    <a:pt x="626" y="991"/>
                    <a:pt x="626" y="991"/>
                    <a:pt x="626" y="991"/>
                  </a:cubicBezTo>
                  <a:cubicBezTo>
                    <a:pt x="626" y="992"/>
                    <a:pt x="626" y="994"/>
                    <a:pt x="626" y="995"/>
                  </a:cubicBezTo>
                  <a:cubicBezTo>
                    <a:pt x="625" y="997"/>
                    <a:pt x="625" y="998"/>
                    <a:pt x="625" y="1000"/>
                  </a:cubicBezTo>
                  <a:cubicBezTo>
                    <a:pt x="626" y="1001"/>
                    <a:pt x="626" y="1002"/>
                    <a:pt x="626" y="1003"/>
                  </a:cubicBezTo>
                  <a:cubicBezTo>
                    <a:pt x="627" y="1005"/>
                    <a:pt x="627" y="1006"/>
                    <a:pt x="625" y="1009"/>
                  </a:cubicBezTo>
                  <a:cubicBezTo>
                    <a:pt x="624" y="1012"/>
                    <a:pt x="624" y="1012"/>
                    <a:pt x="624" y="1012"/>
                  </a:cubicBezTo>
                  <a:cubicBezTo>
                    <a:pt x="623" y="1014"/>
                    <a:pt x="622" y="1017"/>
                    <a:pt x="621" y="1019"/>
                  </a:cubicBezTo>
                  <a:cubicBezTo>
                    <a:pt x="620" y="1021"/>
                    <a:pt x="620" y="1021"/>
                    <a:pt x="620" y="1021"/>
                  </a:cubicBezTo>
                  <a:cubicBezTo>
                    <a:pt x="618" y="1027"/>
                    <a:pt x="616" y="1032"/>
                    <a:pt x="621" y="1037"/>
                  </a:cubicBezTo>
                  <a:cubicBezTo>
                    <a:pt x="621" y="1038"/>
                    <a:pt x="621" y="1038"/>
                    <a:pt x="621" y="1038"/>
                  </a:cubicBezTo>
                  <a:cubicBezTo>
                    <a:pt x="625" y="1041"/>
                    <a:pt x="627" y="1043"/>
                    <a:pt x="625" y="1046"/>
                  </a:cubicBezTo>
                  <a:cubicBezTo>
                    <a:pt x="624" y="1047"/>
                    <a:pt x="622" y="1048"/>
                    <a:pt x="619" y="1049"/>
                  </a:cubicBezTo>
                  <a:cubicBezTo>
                    <a:pt x="617" y="1050"/>
                    <a:pt x="617" y="1050"/>
                    <a:pt x="617" y="1050"/>
                  </a:cubicBezTo>
                  <a:cubicBezTo>
                    <a:pt x="618" y="1053"/>
                    <a:pt x="618" y="1053"/>
                    <a:pt x="618" y="1053"/>
                  </a:cubicBezTo>
                  <a:cubicBezTo>
                    <a:pt x="621" y="1057"/>
                    <a:pt x="622" y="1060"/>
                    <a:pt x="623" y="1063"/>
                  </a:cubicBezTo>
                  <a:cubicBezTo>
                    <a:pt x="624" y="1067"/>
                    <a:pt x="625" y="1070"/>
                    <a:pt x="626" y="1074"/>
                  </a:cubicBezTo>
                  <a:cubicBezTo>
                    <a:pt x="626" y="1077"/>
                    <a:pt x="627" y="1079"/>
                    <a:pt x="629" y="1081"/>
                  </a:cubicBezTo>
                  <a:cubicBezTo>
                    <a:pt x="629" y="1082"/>
                    <a:pt x="630" y="1084"/>
                    <a:pt x="631" y="1085"/>
                  </a:cubicBezTo>
                  <a:cubicBezTo>
                    <a:pt x="633" y="1090"/>
                    <a:pt x="632" y="1095"/>
                    <a:pt x="631" y="1101"/>
                  </a:cubicBezTo>
                  <a:cubicBezTo>
                    <a:pt x="631" y="1104"/>
                    <a:pt x="630" y="1106"/>
                    <a:pt x="630" y="1109"/>
                  </a:cubicBezTo>
                  <a:cubicBezTo>
                    <a:pt x="630" y="1110"/>
                    <a:pt x="630" y="1112"/>
                    <a:pt x="630" y="1114"/>
                  </a:cubicBezTo>
                  <a:cubicBezTo>
                    <a:pt x="630" y="1114"/>
                    <a:pt x="630" y="1114"/>
                    <a:pt x="630" y="1114"/>
                  </a:cubicBezTo>
                  <a:cubicBezTo>
                    <a:pt x="629" y="1119"/>
                    <a:pt x="629" y="1124"/>
                    <a:pt x="630" y="1128"/>
                  </a:cubicBezTo>
                  <a:cubicBezTo>
                    <a:pt x="631" y="1130"/>
                    <a:pt x="635" y="1132"/>
                    <a:pt x="637" y="1133"/>
                  </a:cubicBezTo>
                  <a:cubicBezTo>
                    <a:pt x="639" y="1133"/>
                    <a:pt x="641" y="1134"/>
                    <a:pt x="644" y="1134"/>
                  </a:cubicBezTo>
                  <a:cubicBezTo>
                    <a:pt x="646" y="1134"/>
                    <a:pt x="648" y="1134"/>
                    <a:pt x="651" y="1133"/>
                  </a:cubicBezTo>
                  <a:cubicBezTo>
                    <a:pt x="653" y="1133"/>
                    <a:pt x="655" y="1133"/>
                    <a:pt x="657" y="1133"/>
                  </a:cubicBezTo>
                  <a:cubicBezTo>
                    <a:pt x="659" y="1133"/>
                    <a:pt x="661" y="1133"/>
                    <a:pt x="663" y="1134"/>
                  </a:cubicBezTo>
                  <a:cubicBezTo>
                    <a:pt x="664" y="1134"/>
                    <a:pt x="666" y="1135"/>
                    <a:pt x="667" y="1136"/>
                  </a:cubicBezTo>
                  <a:cubicBezTo>
                    <a:pt x="668" y="1137"/>
                    <a:pt x="670" y="1138"/>
                    <a:pt x="672" y="1138"/>
                  </a:cubicBezTo>
                  <a:cubicBezTo>
                    <a:pt x="672" y="1138"/>
                    <a:pt x="672" y="1138"/>
                    <a:pt x="672" y="1138"/>
                  </a:cubicBezTo>
                  <a:cubicBezTo>
                    <a:pt x="673" y="1138"/>
                    <a:pt x="674" y="1137"/>
                    <a:pt x="675" y="1136"/>
                  </a:cubicBezTo>
                  <a:cubicBezTo>
                    <a:pt x="675" y="1136"/>
                    <a:pt x="676" y="1136"/>
                    <a:pt x="676" y="1135"/>
                  </a:cubicBezTo>
                  <a:cubicBezTo>
                    <a:pt x="677" y="1135"/>
                    <a:pt x="679" y="1134"/>
                    <a:pt x="680" y="1134"/>
                  </a:cubicBezTo>
                  <a:cubicBezTo>
                    <a:pt x="680" y="1134"/>
                    <a:pt x="681" y="1134"/>
                    <a:pt x="682" y="1134"/>
                  </a:cubicBezTo>
                  <a:cubicBezTo>
                    <a:pt x="683" y="1133"/>
                    <a:pt x="684" y="1133"/>
                    <a:pt x="686" y="1133"/>
                  </a:cubicBezTo>
                  <a:cubicBezTo>
                    <a:pt x="688" y="1133"/>
                    <a:pt x="691" y="1134"/>
                    <a:pt x="694" y="1136"/>
                  </a:cubicBezTo>
                  <a:cubicBezTo>
                    <a:pt x="697" y="1138"/>
                    <a:pt x="699" y="1138"/>
                    <a:pt x="701" y="1138"/>
                  </a:cubicBezTo>
                  <a:cubicBezTo>
                    <a:pt x="703" y="1138"/>
                    <a:pt x="705" y="1138"/>
                    <a:pt x="706" y="1139"/>
                  </a:cubicBezTo>
                  <a:cubicBezTo>
                    <a:pt x="711" y="1141"/>
                    <a:pt x="714" y="1147"/>
                    <a:pt x="715" y="1149"/>
                  </a:cubicBezTo>
                  <a:cubicBezTo>
                    <a:pt x="716" y="1152"/>
                    <a:pt x="717" y="1155"/>
                    <a:pt x="717" y="1158"/>
                  </a:cubicBezTo>
                  <a:cubicBezTo>
                    <a:pt x="718" y="1162"/>
                    <a:pt x="718" y="1165"/>
                    <a:pt x="720" y="1168"/>
                  </a:cubicBezTo>
                  <a:cubicBezTo>
                    <a:pt x="720" y="1169"/>
                    <a:pt x="721" y="1169"/>
                    <a:pt x="721" y="1171"/>
                  </a:cubicBezTo>
                  <a:cubicBezTo>
                    <a:pt x="722" y="1173"/>
                    <a:pt x="724" y="1174"/>
                    <a:pt x="724" y="1177"/>
                  </a:cubicBezTo>
                  <a:cubicBezTo>
                    <a:pt x="724" y="1179"/>
                    <a:pt x="725" y="1181"/>
                    <a:pt x="725" y="1182"/>
                  </a:cubicBezTo>
                  <a:cubicBezTo>
                    <a:pt x="725" y="1185"/>
                    <a:pt x="725" y="1187"/>
                    <a:pt x="725" y="1189"/>
                  </a:cubicBezTo>
                  <a:cubicBezTo>
                    <a:pt x="726" y="1191"/>
                    <a:pt x="727" y="1192"/>
                    <a:pt x="727" y="1194"/>
                  </a:cubicBezTo>
                  <a:cubicBezTo>
                    <a:pt x="728" y="1196"/>
                    <a:pt x="729" y="1197"/>
                    <a:pt x="730" y="1199"/>
                  </a:cubicBezTo>
                  <a:cubicBezTo>
                    <a:pt x="732" y="1207"/>
                    <a:pt x="735" y="1210"/>
                    <a:pt x="739" y="1210"/>
                  </a:cubicBezTo>
                  <a:cubicBezTo>
                    <a:pt x="741" y="1210"/>
                    <a:pt x="742" y="1209"/>
                    <a:pt x="744" y="1209"/>
                  </a:cubicBezTo>
                  <a:cubicBezTo>
                    <a:pt x="746" y="1208"/>
                    <a:pt x="748" y="1207"/>
                    <a:pt x="750" y="1205"/>
                  </a:cubicBezTo>
                  <a:cubicBezTo>
                    <a:pt x="753" y="1203"/>
                    <a:pt x="756" y="1201"/>
                    <a:pt x="759" y="1201"/>
                  </a:cubicBezTo>
                  <a:cubicBezTo>
                    <a:pt x="760" y="1201"/>
                    <a:pt x="762" y="1202"/>
                    <a:pt x="763" y="1202"/>
                  </a:cubicBezTo>
                  <a:cubicBezTo>
                    <a:pt x="775" y="1208"/>
                    <a:pt x="774" y="1222"/>
                    <a:pt x="773" y="1234"/>
                  </a:cubicBezTo>
                  <a:cubicBezTo>
                    <a:pt x="773" y="1234"/>
                    <a:pt x="773" y="1234"/>
                    <a:pt x="773" y="1234"/>
                  </a:cubicBezTo>
                  <a:cubicBezTo>
                    <a:pt x="773" y="1237"/>
                    <a:pt x="773" y="1239"/>
                    <a:pt x="773" y="1241"/>
                  </a:cubicBezTo>
                  <a:cubicBezTo>
                    <a:pt x="773" y="1243"/>
                    <a:pt x="773" y="1245"/>
                    <a:pt x="773" y="1246"/>
                  </a:cubicBezTo>
                  <a:cubicBezTo>
                    <a:pt x="773" y="1248"/>
                    <a:pt x="774" y="1251"/>
                    <a:pt x="773" y="1253"/>
                  </a:cubicBezTo>
                  <a:cubicBezTo>
                    <a:pt x="773" y="1256"/>
                    <a:pt x="772" y="1258"/>
                    <a:pt x="771" y="1260"/>
                  </a:cubicBezTo>
                  <a:cubicBezTo>
                    <a:pt x="770" y="1261"/>
                    <a:pt x="769" y="1263"/>
                    <a:pt x="769" y="1264"/>
                  </a:cubicBezTo>
                  <a:cubicBezTo>
                    <a:pt x="768" y="1266"/>
                    <a:pt x="768" y="1269"/>
                    <a:pt x="768" y="1272"/>
                  </a:cubicBezTo>
                  <a:cubicBezTo>
                    <a:pt x="768" y="1273"/>
                    <a:pt x="768" y="1273"/>
                    <a:pt x="768" y="1273"/>
                  </a:cubicBezTo>
                  <a:cubicBezTo>
                    <a:pt x="769" y="1274"/>
                    <a:pt x="769" y="1274"/>
                    <a:pt x="769" y="1274"/>
                  </a:cubicBezTo>
                  <a:cubicBezTo>
                    <a:pt x="770" y="1275"/>
                    <a:pt x="772" y="1275"/>
                    <a:pt x="773" y="1275"/>
                  </a:cubicBezTo>
                  <a:cubicBezTo>
                    <a:pt x="775" y="1275"/>
                    <a:pt x="776" y="1275"/>
                    <a:pt x="778" y="1274"/>
                  </a:cubicBezTo>
                  <a:cubicBezTo>
                    <a:pt x="780" y="1273"/>
                    <a:pt x="781" y="1273"/>
                    <a:pt x="783" y="1273"/>
                  </a:cubicBezTo>
                  <a:cubicBezTo>
                    <a:pt x="784" y="1272"/>
                    <a:pt x="784" y="1272"/>
                    <a:pt x="785" y="1272"/>
                  </a:cubicBezTo>
                  <a:cubicBezTo>
                    <a:pt x="791" y="1272"/>
                    <a:pt x="795" y="1278"/>
                    <a:pt x="797" y="1284"/>
                  </a:cubicBezTo>
                  <a:cubicBezTo>
                    <a:pt x="798" y="1286"/>
                    <a:pt x="799" y="1288"/>
                    <a:pt x="800" y="1291"/>
                  </a:cubicBezTo>
                  <a:cubicBezTo>
                    <a:pt x="802" y="1293"/>
                    <a:pt x="803" y="1296"/>
                    <a:pt x="804" y="1298"/>
                  </a:cubicBezTo>
                  <a:cubicBezTo>
                    <a:pt x="805" y="1302"/>
                    <a:pt x="805" y="1306"/>
                    <a:pt x="804" y="1310"/>
                  </a:cubicBezTo>
                  <a:cubicBezTo>
                    <a:pt x="804" y="1312"/>
                    <a:pt x="804" y="1314"/>
                    <a:pt x="804" y="1316"/>
                  </a:cubicBezTo>
                  <a:cubicBezTo>
                    <a:pt x="804" y="1319"/>
                    <a:pt x="805" y="1321"/>
                    <a:pt x="805" y="1324"/>
                  </a:cubicBezTo>
                  <a:cubicBezTo>
                    <a:pt x="807" y="1327"/>
                    <a:pt x="808" y="1331"/>
                    <a:pt x="807" y="1335"/>
                  </a:cubicBezTo>
                  <a:cubicBezTo>
                    <a:pt x="805" y="1340"/>
                    <a:pt x="801" y="1342"/>
                    <a:pt x="797" y="1345"/>
                  </a:cubicBezTo>
                  <a:cubicBezTo>
                    <a:pt x="796" y="1345"/>
                    <a:pt x="795" y="1346"/>
                    <a:pt x="794" y="1346"/>
                  </a:cubicBezTo>
                  <a:cubicBezTo>
                    <a:pt x="792" y="1347"/>
                    <a:pt x="791" y="1348"/>
                    <a:pt x="789" y="1349"/>
                  </a:cubicBezTo>
                  <a:cubicBezTo>
                    <a:pt x="789" y="1349"/>
                    <a:pt x="789" y="1349"/>
                    <a:pt x="789" y="1349"/>
                  </a:cubicBezTo>
                  <a:cubicBezTo>
                    <a:pt x="786" y="1352"/>
                    <a:pt x="782" y="1354"/>
                    <a:pt x="779" y="1355"/>
                  </a:cubicBezTo>
                  <a:cubicBezTo>
                    <a:pt x="774" y="1357"/>
                    <a:pt x="771" y="1360"/>
                    <a:pt x="768" y="1364"/>
                  </a:cubicBezTo>
                  <a:cubicBezTo>
                    <a:pt x="765" y="1366"/>
                    <a:pt x="765" y="1366"/>
                    <a:pt x="765" y="1366"/>
                  </a:cubicBezTo>
                  <a:cubicBezTo>
                    <a:pt x="763" y="1368"/>
                    <a:pt x="761" y="1370"/>
                    <a:pt x="759" y="1372"/>
                  </a:cubicBezTo>
                  <a:cubicBezTo>
                    <a:pt x="755" y="1376"/>
                    <a:pt x="751" y="1380"/>
                    <a:pt x="747" y="1384"/>
                  </a:cubicBezTo>
                  <a:cubicBezTo>
                    <a:pt x="744" y="1388"/>
                    <a:pt x="741" y="1393"/>
                    <a:pt x="739" y="1397"/>
                  </a:cubicBezTo>
                  <a:cubicBezTo>
                    <a:pt x="738" y="1400"/>
                    <a:pt x="736" y="1402"/>
                    <a:pt x="735" y="1404"/>
                  </a:cubicBezTo>
                  <a:cubicBezTo>
                    <a:pt x="734" y="1405"/>
                    <a:pt x="734" y="1406"/>
                    <a:pt x="733" y="1407"/>
                  </a:cubicBezTo>
                  <a:cubicBezTo>
                    <a:pt x="732" y="1409"/>
                    <a:pt x="731" y="1410"/>
                    <a:pt x="730" y="1412"/>
                  </a:cubicBezTo>
                  <a:cubicBezTo>
                    <a:pt x="729" y="1414"/>
                    <a:pt x="727" y="1417"/>
                    <a:pt x="726" y="1420"/>
                  </a:cubicBezTo>
                  <a:cubicBezTo>
                    <a:pt x="725" y="1421"/>
                    <a:pt x="723" y="1423"/>
                    <a:pt x="722" y="1424"/>
                  </a:cubicBezTo>
                  <a:cubicBezTo>
                    <a:pt x="721" y="1425"/>
                    <a:pt x="720" y="1426"/>
                    <a:pt x="720" y="1427"/>
                  </a:cubicBezTo>
                  <a:cubicBezTo>
                    <a:pt x="718" y="1430"/>
                    <a:pt x="717" y="1433"/>
                    <a:pt x="716" y="1436"/>
                  </a:cubicBezTo>
                  <a:cubicBezTo>
                    <a:pt x="715" y="1438"/>
                    <a:pt x="714" y="1441"/>
                    <a:pt x="713" y="1444"/>
                  </a:cubicBezTo>
                  <a:cubicBezTo>
                    <a:pt x="711" y="1447"/>
                    <a:pt x="708" y="1449"/>
                    <a:pt x="706" y="1450"/>
                  </a:cubicBezTo>
                  <a:cubicBezTo>
                    <a:pt x="706" y="1450"/>
                    <a:pt x="705" y="1450"/>
                    <a:pt x="704" y="1450"/>
                  </a:cubicBezTo>
                  <a:cubicBezTo>
                    <a:pt x="704" y="1450"/>
                    <a:pt x="704" y="1450"/>
                    <a:pt x="704" y="1450"/>
                  </a:cubicBezTo>
                  <a:cubicBezTo>
                    <a:pt x="704" y="1450"/>
                    <a:pt x="704" y="1450"/>
                    <a:pt x="704" y="1450"/>
                  </a:cubicBezTo>
                  <a:cubicBezTo>
                    <a:pt x="702" y="1451"/>
                    <a:pt x="702" y="1453"/>
                    <a:pt x="702" y="1454"/>
                  </a:cubicBezTo>
                  <a:cubicBezTo>
                    <a:pt x="702" y="1454"/>
                    <a:pt x="702" y="1455"/>
                    <a:pt x="702" y="1456"/>
                  </a:cubicBezTo>
                  <a:cubicBezTo>
                    <a:pt x="701" y="1458"/>
                    <a:pt x="699" y="1460"/>
                    <a:pt x="697" y="1462"/>
                  </a:cubicBezTo>
                  <a:cubicBezTo>
                    <a:pt x="697" y="1462"/>
                    <a:pt x="692" y="1468"/>
                    <a:pt x="692" y="1468"/>
                  </a:cubicBezTo>
                  <a:cubicBezTo>
                    <a:pt x="698" y="1467"/>
                    <a:pt x="698" y="1467"/>
                    <a:pt x="698" y="1467"/>
                  </a:cubicBezTo>
                  <a:cubicBezTo>
                    <a:pt x="698" y="1467"/>
                    <a:pt x="698" y="1467"/>
                    <a:pt x="699" y="1467"/>
                  </a:cubicBezTo>
                  <a:cubicBezTo>
                    <a:pt x="700" y="1467"/>
                    <a:pt x="701" y="1467"/>
                    <a:pt x="701" y="1467"/>
                  </a:cubicBezTo>
                  <a:cubicBezTo>
                    <a:pt x="703" y="1467"/>
                    <a:pt x="703" y="1468"/>
                    <a:pt x="704" y="1468"/>
                  </a:cubicBezTo>
                  <a:cubicBezTo>
                    <a:pt x="705" y="1468"/>
                    <a:pt x="705" y="1468"/>
                    <a:pt x="706" y="1467"/>
                  </a:cubicBezTo>
                  <a:cubicBezTo>
                    <a:pt x="707" y="1467"/>
                    <a:pt x="707" y="1467"/>
                    <a:pt x="707" y="1467"/>
                  </a:cubicBezTo>
                  <a:cubicBezTo>
                    <a:pt x="708" y="1466"/>
                    <a:pt x="708" y="1466"/>
                    <a:pt x="708" y="1466"/>
                  </a:cubicBezTo>
                  <a:cubicBezTo>
                    <a:pt x="708" y="1465"/>
                    <a:pt x="708" y="1464"/>
                    <a:pt x="709" y="1464"/>
                  </a:cubicBezTo>
                  <a:cubicBezTo>
                    <a:pt x="710" y="1462"/>
                    <a:pt x="714" y="1462"/>
                    <a:pt x="717" y="1462"/>
                  </a:cubicBezTo>
                  <a:cubicBezTo>
                    <a:pt x="718" y="1462"/>
                    <a:pt x="719" y="1462"/>
                    <a:pt x="720" y="1462"/>
                  </a:cubicBezTo>
                  <a:cubicBezTo>
                    <a:pt x="720" y="1462"/>
                    <a:pt x="721" y="1462"/>
                    <a:pt x="721" y="1462"/>
                  </a:cubicBezTo>
                  <a:cubicBezTo>
                    <a:pt x="721" y="1462"/>
                    <a:pt x="721" y="1462"/>
                    <a:pt x="722" y="1462"/>
                  </a:cubicBezTo>
                  <a:cubicBezTo>
                    <a:pt x="744" y="1479"/>
                    <a:pt x="744" y="1479"/>
                    <a:pt x="744" y="1479"/>
                  </a:cubicBezTo>
                  <a:cubicBezTo>
                    <a:pt x="746" y="1481"/>
                    <a:pt x="749" y="1483"/>
                    <a:pt x="751" y="1486"/>
                  </a:cubicBezTo>
                  <a:cubicBezTo>
                    <a:pt x="755" y="1489"/>
                    <a:pt x="756" y="1492"/>
                    <a:pt x="756" y="1496"/>
                  </a:cubicBezTo>
                  <a:cubicBezTo>
                    <a:pt x="757" y="1502"/>
                    <a:pt x="757" y="1502"/>
                    <a:pt x="757" y="1502"/>
                  </a:cubicBezTo>
                  <a:cubicBezTo>
                    <a:pt x="761" y="1499"/>
                    <a:pt x="761" y="1499"/>
                    <a:pt x="761" y="1499"/>
                  </a:cubicBezTo>
                  <a:cubicBezTo>
                    <a:pt x="761" y="1499"/>
                    <a:pt x="762" y="1498"/>
                    <a:pt x="763" y="1497"/>
                  </a:cubicBezTo>
                  <a:cubicBezTo>
                    <a:pt x="765" y="1495"/>
                    <a:pt x="767" y="1493"/>
                    <a:pt x="770" y="1493"/>
                  </a:cubicBezTo>
                  <a:cubicBezTo>
                    <a:pt x="770" y="1493"/>
                    <a:pt x="771" y="1493"/>
                    <a:pt x="771" y="1493"/>
                  </a:cubicBezTo>
                  <a:cubicBezTo>
                    <a:pt x="775" y="1493"/>
                    <a:pt x="778" y="1498"/>
                    <a:pt x="780" y="1502"/>
                  </a:cubicBezTo>
                  <a:cubicBezTo>
                    <a:pt x="781" y="1503"/>
                    <a:pt x="782" y="1505"/>
                    <a:pt x="782" y="1506"/>
                  </a:cubicBezTo>
                  <a:cubicBezTo>
                    <a:pt x="785" y="1509"/>
                    <a:pt x="787" y="1510"/>
                    <a:pt x="790" y="1511"/>
                  </a:cubicBezTo>
                  <a:cubicBezTo>
                    <a:pt x="792" y="1511"/>
                    <a:pt x="794" y="1512"/>
                    <a:pt x="795" y="1513"/>
                  </a:cubicBezTo>
                  <a:cubicBezTo>
                    <a:pt x="798" y="1515"/>
                    <a:pt x="800" y="1515"/>
                    <a:pt x="803" y="1516"/>
                  </a:cubicBezTo>
                  <a:cubicBezTo>
                    <a:pt x="806" y="1517"/>
                    <a:pt x="810" y="1518"/>
                    <a:pt x="812" y="1520"/>
                  </a:cubicBezTo>
                  <a:cubicBezTo>
                    <a:pt x="814" y="1522"/>
                    <a:pt x="815" y="1524"/>
                    <a:pt x="817" y="1526"/>
                  </a:cubicBezTo>
                  <a:cubicBezTo>
                    <a:pt x="818" y="1528"/>
                    <a:pt x="820" y="1531"/>
                    <a:pt x="823" y="1533"/>
                  </a:cubicBezTo>
                  <a:cubicBezTo>
                    <a:pt x="826" y="1534"/>
                    <a:pt x="828" y="1535"/>
                    <a:pt x="831" y="1536"/>
                  </a:cubicBezTo>
                  <a:cubicBezTo>
                    <a:pt x="833" y="1536"/>
                    <a:pt x="836" y="1537"/>
                    <a:pt x="838" y="1539"/>
                  </a:cubicBezTo>
                  <a:cubicBezTo>
                    <a:pt x="844" y="1542"/>
                    <a:pt x="847" y="1548"/>
                    <a:pt x="849" y="1553"/>
                  </a:cubicBezTo>
                  <a:cubicBezTo>
                    <a:pt x="851" y="1558"/>
                    <a:pt x="854" y="1560"/>
                    <a:pt x="860" y="1562"/>
                  </a:cubicBezTo>
                  <a:cubicBezTo>
                    <a:pt x="862" y="1563"/>
                    <a:pt x="862" y="1563"/>
                    <a:pt x="862" y="1563"/>
                  </a:cubicBezTo>
                  <a:cubicBezTo>
                    <a:pt x="865" y="1565"/>
                    <a:pt x="870" y="1567"/>
                    <a:pt x="871" y="1570"/>
                  </a:cubicBezTo>
                  <a:cubicBezTo>
                    <a:pt x="871" y="1572"/>
                    <a:pt x="870" y="1574"/>
                    <a:pt x="869" y="1576"/>
                  </a:cubicBezTo>
                  <a:cubicBezTo>
                    <a:pt x="868" y="1577"/>
                    <a:pt x="867" y="1578"/>
                    <a:pt x="866" y="1579"/>
                  </a:cubicBezTo>
                  <a:cubicBezTo>
                    <a:pt x="865" y="1580"/>
                    <a:pt x="863" y="1581"/>
                    <a:pt x="862" y="1583"/>
                  </a:cubicBezTo>
                  <a:cubicBezTo>
                    <a:pt x="861" y="1585"/>
                    <a:pt x="860" y="1587"/>
                    <a:pt x="859" y="1590"/>
                  </a:cubicBezTo>
                  <a:cubicBezTo>
                    <a:pt x="859" y="1591"/>
                    <a:pt x="859" y="1591"/>
                    <a:pt x="859" y="1591"/>
                  </a:cubicBezTo>
                  <a:cubicBezTo>
                    <a:pt x="860" y="1592"/>
                    <a:pt x="860" y="1592"/>
                    <a:pt x="860" y="1592"/>
                  </a:cubicBezTo>
                  <a:cubicBezTo>
                    <a:pt x="862" y="1595"/>
                    <a:pt x="862" y="1599"/>
                    <a:pt x="863" y="1602"/>
                  </a:cubicBezTo>
                  <a:cubicBezTo>
                    <a:pt x="863" y="1604"/>
                    <a:pt x="863" y="1605"/>
                    <a:pt x="863" y="1606"/>
                  </a:cubicBezTo>
                  <a:cubicBezTo>
                    <a:pt x="863" y="1608"/>
                    <a:pt x="863" y="1609"/>
                    <a:pt x="864" y="1609"/>
                  </a:cubicBezTo>
                  <a:cubicBezTo>
                    <a:pt x="866" y="1608"/>
                    <a:pt x="866" y="1608"/>
                    <a:pt x="866" y="1608"/>
                  </a:cubicBezTo>
                  <a:cubicBezTo>
                    <a:pt x="868" y="1609"/>
                    <a:pt x="868" y="1609"/>
                    <a:pt x="868" y="1609"/>
                  </a:cubicBezTo>
                  <a:cubicBezTo>
                    <a:pt x="867" y="1610"/>
                    <a:pt x="867" y="1610"/>
                    <a:pt x="866" y="1610"/>
                  </a:cubicBezTo>
                  <a:cubicBezTo>
                    <a:pt x="866" y="1610"/>
                    <a:pt x="866" y="1610"/>
                    <a:pt x="866" y="1610"/>
                  </a:cubicBezTo>
                  <a:cubicBezTo>
                    <a:pt x="866" y="1610"/>
                    <a:pt x="867" y="1610"/>
                    <a:pt x="868" y="1611"/>
                  </a:cubicBezTo>
                  <a:cubicBezTo>
                    <a:pt x="869" y="1611"/>
                    <a:pt x="869" y="1611"/>
                    <a:pt x="870" y="1612"/>
                  </a:cubicBezTo>
                  <a:cubicBezTo>
                    <a:pt x="872" y="1614"/>
                    <a:pt x="872" y="1614"/>
                    <a:pt x="872" y="1614"/>
                  </a:cubicBezTo>
                  <a:cubicBezTo>
                    <a:pt x="873" y="1612"/>
                    <a:pt x="873" y="1612"/>
                    <a:pt x="873" y="1612"/>
                  </a:cubicBezTo>
                  <a:cubicBezTo>
                    <a:pt x="874" y="1611"/>
                    <a:pt x="874" y="1610"/>
                    <a:pt x="875" y="1610"/>
                  </a:cubicBezTo>
                  <a:cubicBezTo>
                    <a:pt x="875" y="1609"/>
                    <a:pt x="876" y="1608"/>
                    <a:pt x="877" y="1607"/>
                  </a:cubicBezTo>
                  <a:cubicBezTo>
                    <a:pt x="879" y="1605"/>
                    <a:pt x="881" y="1602"/>
                    <a:pt x="883" y="1599"/>
                  </a:cubicBezTo>
                  <a:cubicBezTo>
                    <a:pt x="884" y="1598"/>
                    <a:pt x="885" y="1597"/>
                    <a:pt x="886" y="1596"/>
                  </a:cubicBezTo>
                  <a:cubicBezTo>
                    <a:pt x="886" y="1595"/>
                    <a:pt x="887" y="1595"/>
                    <a:pt x="887" y="1594"/>
                  </a:cubicBezTo>
                  <a:cubicBezTo>
                    <a:pt x="887" y="1593"/>
                    <a:pt x="888" y="1593"/>
                    <a:pt x="889" y="1592"/>
                  </a:cubicBezTo>
                  <a:cubicBezTo>
                    <a:pt x="890" y="1590"/>
                    <a:pt x="891" y="1589"/>
                    <a:pt x="891" y="1588"/>
                  </a:cubicBezTo>
                  <a:cubicBezTo>
                    <a:pt x="891" y="1587"/>
                    <a:pt x="891" y="1587"/>
                    <a:pt x="891" y="1587"/>
                  </a:cubicBezTo>
                  <a:cubicBezTo>
                    <a:pt x="891" y="1586"/>
                    <a:pt x="891" y="1586"/>
                    <a:pt x="892" y="1585"/>
                  </a:cubicBezTo>
                  <a:cubicBezTo>
                    <a:pt x="893" y="1583"/>
                    <a:pt x="893" y="1582"/>
                    <a:pt x="893" y="1581"/>
                  </a:cubicBezTo>
                  <a:cubicBezTo>
                    <a:pt x="893" y="1581"/>
                    <a:pt x="893" y="1580"/>
                    <a:pt x="893" y="1580"/>
                  </a:cubicBezTo>
                  <a:cubicBezTo>
                    <a:pt x="893" y="1580"/>
                    <a:pt x="893" y="1580"/>
                    <a:pt x="893" y="1579"/>
                  </a:cubicBezTo>
                  <a:cubicBezTo>
                    <a:pt x="894" y="1579"/>
                    <a:pt x="894" y="1578"/>
                    <a:pt x="895" y="1577"/>
                  </a:cubicBezTo>
                  <a:cubicBezTo>
                    <a:pt x="895" y="1576"/>
                    <a:pt x="895" y="1574"/>
                    <a:pt x="895" y="1573"/>
                  </a:cubicBezTo>
                  <a:cubicBezTo>
                    <a:pt x="895" y="1572"/>
                    <a:pt x="895" y="1572"/>
                    <a:pt x="895" y="1572"/>
                  </a:cubicBezTo>
                  <a:cubicBezTo>
                    <a:pt x="895" y="1570"/>
                    <a:pt x="895" y="1570"/>
                    <a:pt x="895" y="1570"/>
                  </a:cubicBezTo>
                  <a:cubicBezTo>
                    <a:pt x="895" y="1568"/>
                    <a:pt x="895" y="1567"/>
                    <a:pt x="895" y="1566"/>
                  </a:cubicBezTo>
                  <a:cubicBezTo>
                    <a:pt x="895" y="1565"/>
                    <a:pt x="895" y="1563"/>
                    <a:pt x="896" y="1562"/>
                  </a:cubicBezTo>
                  <a:cubicBezTo>
                    <a:pt x="896" y="1562"/>
                    <a:pt x="896" y="1561"/>
                    <a:pt x="896" y="1560"/>
                  </a:cubicBezTo>
                  <a:cubicBezTo>
                    <a:pt x="896" y="1560"/>
                    <a:pt x="896" y="1559"/>
                    <a:pt x="897" y="1558"/>
                  </a:cubicBezTo>
                  <a:cubicBezTo>
                    <a:pt x="897" y="1557"/>
                    <a:pt x="897" y="1556"/>
                    <a:pt x="898" y="1555"/>
                  </a:cubicBezTo>
                  <a:cubicBezTo>
                    <a:pt x="899" y="1552"/>
                    <a:pt x="901" y="1550"/>
                    <a:pt x="903" y="1548"/>
                  </a:cubicBezTo>
                  <a:cubicBezTo>
                    <a:pt x="905" y="1545"/>
                    <a:pt x="908" y="1542"/>
                    <a:pt x="909" y="1539"/>
                  </a:cubicBezTo>
                  <a:cubicBezTo>
                    <a:pt x="909" y="1538"/>
                    <a:pt x="910" y="1538"/>
                    <a:pt x="910" y="1538"/>
                  </a:cubicBezTo>
                  <a:cubicBezTo>
                    <a:pt x="911" y="1537"/>
                    <a:pt x="912" y="1537"/>
                    <a:pt x="912" y="1536"/>
                  </a:cubicBezTo>
                  <a:cubicBezTo>
                    <a:pt x="913" y="1535"/>
                    <a:pt x="914" y="1535"/>
                    <a:pt x="914" y="1534"/>
                  </a:cubicBezTo>
                  <a:cubicBezTo>
                    <a:pt x="914" y="1534"/>
                    <a:pt x="914" y="1534"/>
                    <a:pt x="914" y="1534"/>
                  </a:cubicBezTo>
                  <a:cubicBezTo>
                    <a:pt x="915" y="1534"/>
                    <a:pt x="917" y="1533"/>
                    <a:pt x="918" y="1533"/>
                  </a:cubicBezTo>
                  <a:cubicBezTo>
                    <a:pt x="920" y="1532"/>
                    <a:pt x="923" y="1529"/>
                    <a:pt x="924" y="1527"/>
                  </a:cubicBezTo>
                  <a:cubicBezTo>
                    <a:pt x="925" y="1526"/>
                    <a:pt x="925" y="1526"/>
                    <a:pt x="925" y="1526"/>
                  </a:cubicBezTo>
                  <a:cubicBezTo>
                    <a:pt x="933" y="1517"/>
                    <a:pt x="938" y="1507"/>
                    <a:pt x="943" y="1499"/>
                  </a:cubicBezTo>
                  <a:cubicBezTo>
                    <a:pt x="944" y="1496"/>
                    <a:pt x="946" y="1493"/>
                    <a:pt x="947" y="1490"/>
                  </a:cubicBezTo>
                  <a:cubicBezTo>
                    <a:pt x="948" y="1487"/>
                    <a:pt x="948" y="1487"/>
                    <a:pt x="948" y="1487"/>
                  </a:cubicBezTo>
                  <a:cubicBezTo>
                    <a:pt x="950" y="1484"/>
                    <a:pt x="951" y="1482"/>
                    <a:pt x="951" y="1479"/>
                  </a:cubicBezTo>
                  <a:cubicBezTo>
                    <a:pt x="951" y="1478"/>
                    <a:pt x="952" y="1477"/>
                    <a:pt x="952" y="1476"/>
                  </a:cubicBezTo>
                  <a:cubicBezTo>
                    <a:pt x="952" y="1475"/>
                    <a:pt x="952" y="1474"/>
                    <a:pt x="952" y="1473"/>
                  </a:cubicBezTo>
                  <a:cubicBezTo>
                    <a:pt x="952" y="1472"/>
                    <a:pt x="953" y="1470"/>
                    <a:pt x="953" y="1468"/>
                  </a:cubicBezTo>
                  <a:cubicBezTo>
                    <a:pt x="953" y="1467"/>
                    <a:pt x="953" y="1467"/>
                    <a:pt x="953" y="1467"/>
                  </a:cubicBezTo>
                  <a:cubicBezTo>
                    <a:pt x="955" y="1462"/>
                    <a:pt x="956" y="1457"/>
                    <a:pt x="957" y="1453"/>
                  </a:cubicBezTo>
                  <a:cubicBezTo>
                    <a:pt x="957" y="1452"/>
                    <a:pt x="957" y="1452"/>
                    <a:pt x="957" y="1452"/>
                  </a:cubicBezTo>
                  <a:cubicBezTo>
                    <a:pt x="958" y="1447"/>
                    <a:pt x="960" y="1442"/>
                    <a:pt x="962" y="1437"/>
                  </a:cubicBezTo>
                  <a:cubicBezTo>
                    <a:pt x="964" y="1433"/>
                    <a:pt x="966" y="1428"/>
                    <a:pt x="969" y="1423"/>
                  </a:cubicBezTo>
                  <a:cubicBezTo>
                    <a:pt x="971" y="1421"/>
                    <a:pt x="972" y="1419"/>
                    <a:pt x="974" y="1417"/>
                  </a:cubicBezTo>
                  <a:cubicBezTo>
                    <a:pt x="975" y="1416"/>
                    <a:pt x="976" y="1415"/>
                    <a:pt x="977" y="1414"/>
                  </a:cubicBezTo>
                  <a:cubicBezTo>
                    <a:pt x="978" y="1413"/>
                    <a:pt x="978" y="1412"/>
                    <a:pt x="979" y="1411"/>
                  </a:cubicBezTo>
                  <a:cubicBezTo>
                    <a:pt x="981" y="1409"/>
                    <a:pt x="984" y="1408"/>
                    <a:pt x="986" y="1406"/>
                  </a:cubicBezTo>
                  <a:cubicBezTo>
                    <a:pt x="988" y="1405"/>
                    <a:pt x="988" y="1405"/>
                    <a:pt x="988" y="1405"/>
                  </a:cubicBezTo>
                  <a:cubicBezTo>
                    <a:pt x="990" y="1403"/>
                    <a:pt x="992" y="1401"/>
                    <a:pt x="993" y="1399"/>
                  </a:cubicBezTo>
                  <a:cubicBezTo>
                    <a:pt x="994" y="1397"/>
                    <a:pt x="994" y="1395"/>
                    <a:pt x="994" y="1393"/>
                  </a:cubicBezTo>
                  <a:cubicBezTo>
                    <a:pt x="994" y="1392"/>
                    <a:pt x="994" y="1391"/>
                    <a:pt x="995" y="1390"/>
                  </a:cubicBezTo>
                  <a:cubicBezTo>
                    <a:pt x="995" y="1389"/>
                    <a:pt x="995" y="1389"/>
                    <a:pt x="995" y="1388"/>
                  </a:cubicBezTo>
                  <a:cubicBezTo>
                    <a:pt x="996" y="1387"/>
                    <a:pt x="996" y="1387"/>
                    <a:pt x="996" y="1386"/>
                  </a:cubicBezTo>
                  <a:cubicBezTo>
                    <a:pt x="997" y="1384"/>
                    <a:pt x="997" y="1382"/>
                    <a:pt x="997" y="1381"/>
                  </a:cubicBezTo>
                  <a:cubicBezTo>
                    <a:pt x="997" y="1380"/>
                    <a:pt x="997" y="1380"/>
                    <a:pt x="997" y="1380"/>
                  </a:cubicBezTo>
                  <a:cubicBezTo>
                    <a:pt x="997" y="1380"/>
                    <a:pt x="997" y="1379"/>
                    <a:pt x="997" y="1378"/>
                  </a:cubicBezTo>
                  <a:cubicBezTo>
                    <a:pt x="997" y="1376"/>
                    <a:pt x="997" y="1374"/>
                    <a:pt x="997" y="1372"/>
                  </a:cubicBezTo>
                  <a:cubicBezTo>
                    <a:pt x="997" y="1371"/>
                    <a:pt x="997" y="1371"/>
                    <a:pt x="998" y="1370"/>
                  </a:cubicBezTo>
                  <a:cubicBezTo>
                    <a:pt x="998" y="1369"/>
                    <a:pt x="998" y="1369"/>
                    <a:pt x="998" y="1369"/>
                  </a:cubicBezTo>
                  <a:cubicBezTo>
                    <a:pt x="998" y="1369"/>
                    <a:pt x="998" y="1368"/>
                    <a:pt x="998" y="1368"/>
                  </a:cubicBezTo>
                  <a:cubicBezTo>
                    <a:pt x="998" y="1367"/>
                    <a:pt x="999" y="1367"/>
                    <a:pt x="999" y="1366"/>
                  </a:cubicBezTo>
                  <a:cubicBezTo>
                    <a:pt x="999" y="1365"/>
                    <a:pt x="999" y="1363"/>
                    <a:pt x="999" y="1362"/>
                  </a:cubicBezTo>
                  <a:cubicBezTo>
                    <a:pt x="999" y="1362"/>
                    <a:pt x="999" y="1361"/>
                    <a:pt x="999" y="1361"/>
                  </a:cubicBezTo>
                  <a:cubicBezTo>
                    <a:pt x="999" y="1360"/>
                    <a:pt x="999" y="1358"/>
                    <a:pt x="1000" y="1357"/>
                  </a:cubicBezTo>
                  <a:cubicBezTo>
                    <a:pt x="1001" y="1354"/>
                    <a:pt x="1000" y="1350"/>
                    <a:pt x="997" y="1348"/>
                  </a:cubicBezTo>
                  <a:cubicBezTo>
                    <a:pt x="996" y="1348"/>
                    <a:pt x="996" y="1348"/>
                    <a:pt x="995" y="1347"/>
                  </a:cubicBezTo>
                  <a:cubicBezTo>
                    <a:pt x="995" y="1347"/>
                    <a:pt x="995" y="1347"/>
                    <a:pt x="995" y="1347"/>
                  </a:cubicBezTo>
                  <a:cubicBezTo>
                    <a:pt x="995" y="1347"/>
                    <a:pt x="994" y="1347"/>
                    <a:pt x="994" y="1347"/>
                  </a:cubicBezTo>
                  <a:cubicBezTo>
                    <a:pt x="994" y="1346"/>
                    <a:pt x="993" y="1346"/>
                    <a:pt x="993" y="1346"/>
                  </a:cubicBezTo>
                  <a:cubicBezTo>
                    <a:pt x="993" y="1345"/>
                    <a:pt x="993" y="1345"/>
                    <a:pt x="994" y="1344"/>
                  </a:cubicBezTo>
                  <a:cubicBezTo>
                    <a:pt x="994" y="1343"/>
                    <a:pt x="995" y="1340"/>
                    <a:pt x="993" y="1338"/>
                  </a:cubicBezTo>
                  <a:cubicBezTo>
                    <a:pt x="993" y="1337"/>
                    <a:pt x="993" y="1337"/>
                    <a:pt x="993" y="1337"/>
                  </a:cubicBezTo>
                  <a:cubicBezTo>
                    <a:pt x="992" y="1337"/>
                    <a:pt x="992" y="1337"/>
                    <a:pt x="992" y="1336"/>
                  </a:cubicBezTo>
                  <a:cubicBezTo>
                    <a:pt x="991" y="1336"/>
                    <a:pt x="991" y="1335"/>
                    <a:pt x="991" y="1335"/>
                  </a:cubicBezTo>
                  <a:cubicBezTo>
                    <a:pt x="991" y="1334"/>
                    <a:pt x="991" y="1334"/>
                    <a:pt x="990" y="1334"/>
                  </a:cubicBezTo>
                  <a:cubicBezTo>
                    <a:pt x="990" y="1332"/>
                    <a:pt x="990" y="1332"/>
                    <a:pt x="990" y="1332"/>
                  </a:cubicBezTo>
                  <a:cubicBezTo>
                    <a:pt x="990" y="1329"/>
                    <a:pt x="989" y="1327"/>
                    <a:pt x="989" y="1325"/>
                  </a:cubicBezTo>
                  <a:cubicBezTo>
                    <a:pt x="989" y="1323"/>
                    <a:pt x="988" y="1321"/>
                    <a:pt x="987" y="1320"/>
                  </a:cubicBezTo>
                  <a:cubicBezTo>
                    <a:pt x="987" y="1319"/>
                    <a:pt x="987" y="1318"/>
                    <a:pt x="987" y="1318"/>
                  </a:cubicBezTo>
                  <a:cubicBezTo>
                    <a:pt x="986" y="1316"/>
                    <a:pt x="986" y="1314"/>
                    <a:pt x="987" y="1313"/>
                  </a:cubicBezTo>
                  <a:cubicBezTo>
                    <a:pt x="987" y="1311"/>
                    <a:pt x="988" y="1310"/>
                    <a:pt x="988" y="1308"/>
                  </a:cubicBezTo>
                  <a:cubicBezTo>
                    <a:pt x="988" y="1308"/>
                    <a:pt x="989" y="1307"/>
                    <a:pt x="989" y="1307"/>
                  </a:cubicBezTo>
                  <a:cubicBezTo>
                    <a:pt x="990" y="1305"/>
                    <a:pt x="990" y="1304"/>
                    <a:pt x="990" y="1302"/>
                  </a:cubicBezTo>
                  <a:cubicBezTo>
                    <a:pt x="990" y="1300"/>
                    <a:pt x="989" y="1298"/>
                    <a:pt x="988" y="1297"/>
                  </a:cubicBezTo>
                  <a:cubicBezTo>
                    <a:pt x="987" y="1297"/>
                    <a:pt x="987" y="1297"/>
                    <a:pt x="987" y="1296"/>
                  </a:cubicBezTo>
                  <a:cubicBezTo>
                    <a:pt x="986" y="1295"/>
                    <a:pt x="985" y="1294"/>
                    <a:pt x="985" y="1294"/>
                  </a:cubicBezTo>
                  <a:cubicBezTo>
                    <a:pt x="985" y="1293"/>
                    <a:pt x="985" y="1292"/>
                    <a:pt x="985" y="1292"/>
                  </a:cubicBezTo>
                  <a:cubicBezTo>
                    <a:pt x="985" y="1291"/>
                    <a:pt x="985" y="1290"/>
                    <a:pt x="985" y="1289"/>
                  </a:cubicBezTo>
                  <a:cubicBezTo>
                    <a:pt x="985" y="1287"/>
                    <a:pt x="985" y="1287"/>
                    <a:pt x="986" y="1285"/>
                  </a:cubicBezTo>
                  <a:cubicBezTo>
                    <a:pt x="986" y="1284"/>
                    <a:pt x="987" y="1283"/>
                    <a:pt x="988" y="1282"/>
                  </a:cubicBezTo>
                  <a:cubicBezTo>
                    <a:pt x="988" y="1280"/>
                    <a:pt x="990" y="1278"/>
                    <a:pt x="990" y="1275"/>
                  </a:cubicBezTo>
                  <a:cubicBezTo>
                    <a:pt x="989" y="1273"/>
                    <a:pt x="988" y="1272"/>
                    <a:pt x="987" y="1271"/>
                  </a:cubicBezTo>
                  <a:cubicBezTo>
                    <a:pt x="987" y="1271"/>
                    <a:pt x="987" y="1271"/>
                    <a:pt x="987" y="1271"/>
                  </a:cubicBezTo>
                  <a:cubicBezTo>
                    <a:pt x="987" y="1270"/>
                    <a:pt x="986" y="1270"/>
                    <a:pt x="987" y="1269"/>
                  </a:cubicBezTo>
                  <a:cubicBezTo>
                    <a:pt x="987" y="1269"/>
                    <a:pt x="987" y="1268"/>
                    <a:pt x="987" y="1268"/>
                  </a:cubicBezTo>
                  <a:cubicBezTo>
                    <a:pt x="987" y="1267"/>
                    <a:pt x="987" y="1266"/>
                    <a:pt x="987" y="1265"/>
                  </a:cubicBezTo>
                  <a:cubicBezTo>
                    <a:pt x="987" y="1265"/>
                    <a:pt x="987" y="1264"/>
                    <a:pt x="987" y="1264"/>
                  </a:cubicBezTo>
                  <a:cubicBezTo>
                    <a:pt x="988" y="1265"/>
                    <a:pt x="988" y="1266"/>
                    <a:pt x="989" y="1267"/>
                  </a:cubicBezTo>
                  <a:cubicBezTo>
                    <a:pt x="989" y="1267"/>
                    <a:pt x="989" y="1267"/>
                    <a:pt x="989" y="1267"/>
                  </a:cubicBezTo>
                  <a:cubicBezTo>
                    <a:pt x="990" y="1268"/>
                    <a:pt x="991" y="1270"/>
                    <a:pt x="994" y="1270"/>
                  </a:cubicBezTo>
                  <a:cubicBezTo>
                    <a:pt x="994" y="1270"/>
                    <a:pt x="994" y="1270"/>
                    <a:pt x="994" y="1270"/>
                  </a:cubicBezTo>
                  <a:cubicBezTo>
                    <a:pt x="995" y="1270"/>
                    <a:pt x="995" y="1270"/>
                    <a:pt x="995" y="1270"/>
                  </a:cubicBezTo>
                  <a:cubicBezTo>
                    <a:pt x="997" y="1269"/>
                    <a:pt x="998" y="1267"/>
                    <a:pt x="999" y="1266"/>
                  </a:cubicBezTo>
                  <a:cubicBezTo>
                    <a:pt x="999" y="1265"/>
                    <a:pt x="999" y="1265"/>
                    <a:pt x="1000" y="1265"/>
                  </a:cubicBezTo>
                  <a:cubicBezTo>
                    <a:pt x="1000" y="1264"/>
                    <a:pt x="1001" y="1263"/>
                    <a:pt x="1002" y="1262"/>
                  </a:cubicBezTo>
                  <a:cubicBezTo>
                    <a:pt x="1003" y="1261"/>
                    <a:pt x="1003" y="1261"/>
                    <a:pt x="1003" y="1261"/>
                  </a:cubicBezTo>
                  <a:cubicBezTo>
                    <a:pt x="1004" y="1259"/>
                    <a:pt x="1006" y="1257"/>
                    <a:pt x="1006" y="1255"/>
                  </a:cubicBezTo>
                  <a:cubicBezTo>
                    <a:pt x="1005" y="1253"/>
                    <a:pt x="1004" y="1252"/>
                    <a:pt x="1003" y="1252"/>
                  </a:cubicBezTo>
                  <a:cubicBezTo>
                    <a:pt x="1003" y="1252"/>
                    <a:pt x="1004" y="1252"/>
                    <a:pt x="1004" y="1252"/>
                  </a:cubicBezTo>
                  <a:cubicBezTo>
                    <a:pt x="1006" y="1250"/>
                    <a:pt x="1007" y="1248"/>
                    <a:pt x="1008" y="1247"/>
                  </a:cubicBezTo>
                  <a:cubicBezTo>
                    <a:pt x="1009" y="1246"/>
                    <a:pt x="1009" y="1246"/>
                    <a:pt x="1009" y="1246"/>
                  </a:cubicBezTo>
                  <a:cubicBezTo>
                    <a:pt x="1010" y="1244"/>
                    <a:pt x="1012" y="1242"/>
                    <a:pt x="1014" y="1241"/>
                  </a:cubicBezTo>
                  <a:cubicBezTo>
                    <a:pt x="1015" y="1241"/>
                    <a:pt x="1015" y="1241"/>
                    <a:pt x="1015" y="1241"/>
                  </a:cubicBezTo>
                  <a:cubicBezTo>
                    <a:pt x="1017" y="1240"/>
                    <a:pt x="1020" y="1239"/>
                    <a:pt x="1022" y="1237"/>
                  </a:cubicBezTo>
                  <a:cubicBezTo>
                    <a:pt x="1023" y="1236"/>
                    <a:pt x="1024" y="1235"/>
                    <a:pt x="1025" y="1234"/>
                  </a:cubicBezTo>
                  <a:cubicBezTo>
                    <a:pt x="1026" y="1234"/>
                    <a:pt x="1027" y="1233"/>
                    <a:pt x="1027" y="1232"/>
                  </a:cubicBezTo>
                  <a:cubicBezTo>
                    <a:pt x="1028" y="1232"/>
                    <a:pt x="1028" y="1232"/>
                    <a:pt x="1029" y="1231"/>
                  </a:cubicBezTo>
                  <a:cubicBezTo>
                    <a:pt x="1029" y="1231"/>
                    <a:pt x="1029" y="1231"/>
                    <a:pt x="1030" y="1231"/>
                  </a:cubicBezTo>
                  <a:cubicBezTo>
                    <a:pt x="1031" y="1230"/>
                    <a:pt x="1032" y="1229"/>
                    <a:pt x="1032" y="1229"/>
                  </a:cubicBezTo>
                  <a:cubicBezTo>
                    <a:pt x="1034" y="1227"/>
                    <a:pt x="1034" y="1226"/>
                    <a:pt x="1034" y="1225"/>
                  </a:cubicBezTo>
                  <a:cubicBezTo>
                    <a:pt x="1034" y="1225"/>
                    <a:pt x="1034" y="1224"/>
                    <a:pt x="1035" y="1224"/>
                  </a:cubicBezTo>
                  <a:cubicBezTo>
                    <a:pt x="1035" y="1223"/>
                    <a:pt x="1036" y="1222"/>
                    <a:pt x="1037" y="1221"/>
                  </a:cubicBezTo>
                  <a:cubicBezTo>
                    <a:pt x="1038" y="1221"/>
                    <a:pt x="1039" y="1220"/>
                    <a:pt x="1040" y="1219"/>
                  </a:cubicBezTo>
                  <a:cubicBezTo>
                    <a:pt x="1040" y="1219"/>
                    <a:pt x="1040" y="1219"/>
                    <a:pt x="1041" y="1218"/>
                  </a:cubicBezTo>
                  <a:cubicBezTo>
                    <a:pt x="1042" y="1218"/>
                    <a:pt x="1043" y="1217"/>
                    <a:pt x="1044" y="1216"/>
                  </a:cubicBezTo>
                  <a:cubicBezTo>
                    <a:pt x="1044" y="1216"/>
                    <a:pt x="1044" y="1215"/>
                    <a:pt x="1044" y="1215"/>
                  </a:cubicBezTo>
                  <a:cubicBezTo>
                    <a:pt x="1045" y="1215"/>
                    <a:pt x="1045" y="1215"/>
                    <a:pt x="1046" y="1214"/>
                  </a:cubicBezTo>
                  <a:cubicBezTo>
                    <a:pt x="1046" y="1214"/>
                    <a:pt x="1046" y="1214"/>
                    <a:pt x="1046" y="1214"/>
                  </a:cubicBezTo>
                  <a:cubicBezTo>
                    <a:pt x="1047" y="1214"/>
                    <a:pt x="1048" y="1214"/>
                    <a:pt x="1049" y="1214"/>
                  </a:cubicBezTo>
                  <a:cubicBezTo>
                    <a:pt x="1049" y="1214"/>
                    <a:pt x="1049" y="1214"/>
                    <a:pt x="1049" y="1214"/>
                  </a:cubicBezTo>
                  <a:cubicBezTo>
                    <a:pt x="1050" y="1214"/>
                    <a:pt x="1051" y="1214"/>
                    <a:pt x="1051" y="1214"/>
                  </a:cubicBezTo>
                  <a:cubicBezTo>
                    <a:pt x="1053" y="1214"/>
                    <a:pt x="1054" y="1214"/>
                    <a:pt x="1055" y="1213"/>
                  </a:cubicBezTo>
                  <a:cubicBezTo>
                    <a:pt x="1056" y="1212"/>
                    <a:pt x="1056" y="1212"/>
                    <a:pt x="1057" y="1211"/>
                  </a:cubicBezTo>
                  <a:cubicBezTo>
                    <a:pt x="1057" y="1210"/>
                    <a:pt x="1058" y="1210"/>
                    <a:pt x="1058" y="1209"/>
                  </a:cubicBezTo>
                  <a:cubicBezTo>
                    <a:pt x="1060" y="1208"/>
                    <a:pt x="1062" y="1207"/>
                    <a:pt x="1063" y="1206"/>
                  </a:cubicBezTo>
                  <a:cubicBezTo>
                    <a:pt x="1064" y="1205"/>
                    <a:pt x="1064" y="1205"/>
                    <a:pt x="1065" y="1204"/>
                  </a:cubicBezTo>
                  <a:cubicBezTo>
                    <a:pt x="1065" y="1204"/>
                    <a:pt x="1065" y="1203"/>
                    <a:pt x="1066" y="1203"/>
                  </a:cubicBezTo>
                  <a:cubicBezTo>
                    <a:pt x="1067" y="1202"/>
                    <a:pt x="1067" y="1202"/>
                    <a:pt x="1069" y="1202"/>
                  </a:cubicBezTo>
                  <a:cubicBezTo>
                    <a:pt x="1070" y="1202"/>
                    <a:pt x="1070" y="1202"/>
                    <a:pt x="1071" y="1202"/>
                  </a:cubicBezTo>
                  <a:cubicBezTo>
                    <a:pt x="1073" y="1202"/>
                    <a:pt x="1076" y="1202"/>
                    <a:pt x="1079" y="1203"/>
                  </a:cubicBezTo>
                  <a:cubicBezTo>
                    <a:pt x="1079" y="1203"/>
                    <a:pt x="1080" y="1204"/>
                    <a:pt x="1080" y="1204"/>
                  </a:cubicBezTo>
                  <a:cubicBezTo>
                    <a:pt x="1081" y="1204"/>
                    <a:pt x="1081" y="1205"/>
                    <a:pt x="1082" y="1205"/>
                  </a:cubicBezTo>
                  <a:cubicBezTo>
                    <a:pt x="1083" y="1205"/>
                    <a:pt x="1083" y="1205"/>
                    <a:pt x="1084" y="1205"/>
                  </a:cubicBezTo>
                  <a:cubicBezTo>
                    <a:pt x="1085" y="1205"/>
                    <a:pt x="1087" y="1205"/>
                    <a:pt x="1088" y="1203"/>
                  </a:cubicBezTo>
                  <a:cubicBezTo>
                    <a:pt x="1089" y="1202"/>
                    <a:pt x="1089" y="1200"/>
                    <a:pt x="1089" y="1199"/>
                  </a:cubicBezTo>
                  <a:cubicBezTo>
                    <a:pt x="1089" y="1197"/>
                    <a:pt x="1089" y="1196"/>
                    <a:pt x="1088" y="1196"/>
                  </a:cubicBezTo>
                  <a:cubicBezTo>
                    <a:pt x="1088" y="1195"/>
                    <a:pt x="1088" y="1195"/>
                    <a:pt x="1088" y="1195"/>
                  </a:cubicBezTo>
                  <a:cubicBezTo>
                    <a:pt x="1089" y="1195"/>
                    <a:pt x="1090" y="1194"/>
                    <a:pt x="1091" y="1194"/>
                  </a:cubicBezTo>
                  <a:cubicBezTo>
                    <a:pt x="1093" y="1193"/>
                    <a:pt x="1095" y="1192"/>
                    <a:pt x="1097" y="1190"/>
                  </a:cubicBezTo>
                  <a:cubicBezTo>
                    <a:pt x="1098" y="1189"/>
                    <a:pt x="1098" y="1189"/>
                    <a:pt x="1098" y="1188"/>
                  </a:cubicBezTo>
                  <a:cubicBezTo>
                    <a:pt x="1100" y="1187"/>
                    <a:pt x="1101" y="1186"/>
                    <a:pt x="1102" y="1186"/>
                  </a:cubicBezTo>
                  <a:cubicBezTo>
                    <a:pt x="1103" y="1185"/>
                    <a:pt x="1104" y="1185"/>
                    <a:pt x="1105" y="1185"/>
                  </a:cubicBezTo>
                  <a:cubicBezTo>
                    <a:pt x="1106" y="1185"/>
                    <a:pt x="1106" y="1185"/>
                    <a:pt x="1106" y="1185"/>
                  </a:cubicBezTo>
                  <a:cubicBezTo>
                    <a:pt x="1108" y="1185"/>
                    <a:pt x="1109" y="1185"/>
                    <a:pt x="1111" y="1185"/>
                  </a:cubicBezTo>
                  <a:cubicBezTo>
                    <a:pt x="1113" y="1185"/>
                    <a:pt x="1115" y="1184"/>
                    <a:pt x="1116" y="1182"/>
                  </a:cubicBezTo>
                  <a:cubicBezTo>
                    <a:pt x="1116" y="1179"/>
                    <a:pt x="1115" y="1177"/>
                    <a:pt x="1113" y="1175"/>
                  </a:cubicBezTo>
                  <a:cubicBezTo>
                    <a:pt x="1112" y="1175"/>
                    <a:pt x="1111" y="1173"/>
                    <a:pt x="1111" y="1173"/>
                  </a:cubicBezTo>
                  <a:cubicBezTo>
                    <a:pt x="1111" y="1172"/>
                    <a:pt x="1113" y="1171"/>
                    <a:pt x="1114" y="1171"/>
                  </a:cubicBezTo>
                  <a:cubicBezTo>
                    <a:pt x="1115" y="1171"/>
                    <a:pt x="1116" y="1171"/>
                    <a:pt x="1116" y="1171"/>
                  </a:cubicBezTo>
                  <a:cubicBezTo>
                    <a:pt x="1117" y="1170"/>
                    <a:pt x="1117" y="1170"/>
                    <a:pt x="1117" y="1170"/>
                  </a:cubicBezTo>
                  <a:cubicBezTo>
                    <a:pt x="1118" y="1170"/>
                    <a:pt x="1119" y="1169"/>
                    <a:pt x="1120" y="1169"/>
                  </a:cubicBezTo>
                  <a:cubicBezTo>
                    <a:pt x="1120" y="1169"/>
                    <a:pt x="1120" y="1170"/>
                    <a:pt x="1122" y="1170"/>
                  </a:cubicBezTo>
                  <a:cubicBezTo>
                    <a:pt x="1123" y="1171"/>
                    <a:pt x="1124" y="1171"/>
                    <a:pt x="1126" y="1171"/>
                  </a:cubicBezTo>
                  <a:cubicBezTo>
                    <a:pt x="1128" y="1171"/>
                    <a:pt x="1130" y="1170"/>
                    <a:pt x="1133" y="1169"/>
                  </a:cubicBezTo>
                  <a:cubicBezTo>
                    <a:pt x="1135" y="1168"/>
                    <a:pt x="1137" y="1168"/>
                    <a:pt x="1138" y="1168"/>
                  </a:cubicBezTo>
                  <a:cubicBezTo>
                    <a:pt x="1140" y="1168"/>
                    <a:pt x="1142" y="1169"/>
                    <a:pt x="1143" y="1170"/>
                  </a:cubicBezTo>
                  <a:cubicBezTo>
                    <a:pt x="1145" y="1171"/>
                    <a:pt x="1148" y="1172"/>
                    <a:pt x="1150" y="1172"/>
                  </a:cubicBezTo>
                  <a:cubicBezTo>
                    <a:pt x="1152" y="1172"/>
                    <a:pt x="1153" y="1172"/>
                    <a:pt x="1155" y="1171"/>
                  </a:cubicBezTo>
                  <a:cubicBezTo>
                    <a:pt x="1158" y="1169"/>
                    <a:pt x="1159" y="1166"/>
                    <a:pt x="1159" y="1164"/>
                  </a:cubicBezTo>
                  <a:cubicBezTo>
                    <a:pt x="1159" y="1163"/>
                    <a:pt x="1159" y="1162"/>
                    <a:pt x="1160" y="1161"/>
                  </a:cubicBezTo>
                  <a:cubicBezTo>
                    <a:pt x="1160" y="1160"/>
                    <a:pt x="1163" y="1157"/>
                    <a:pt x="1164" y="1157"/>
                  </a:cubicBezTo>
                  <a:cubicBezTo>
                    <a:pt x="1164" y="1157"/>
                    <a:pt x="1164" y="1157"/>
                    <a:pt x="1164" y="1157"/>
                  </a:cubicBezTo>
                  <a:cubicBezTo>
                    <a:pt x="1164" y="1157"/>
                    <a:pt x="1164" y="1157"/>
                    <a:pt x="1164" y="1157"/>
                  </a:cubicBezTo>
                  <a:cubicBezTo>
                    <a:pt x="1164" y="1158"/>
                    <a:pt x="1164" y="1159"/>
                    <a:pt x="1163" y="1159"/>
                  </a:cubicBezTo>
                  <a:cubicBezTo>
                    <a:pt x="1162" y="1161"/>
                    <a:pt x="1161" y="1163"/>
                    <a:pt x="1162" y="1166"/>
                  </a:cubicBezTo>
                  <a:cubicBezTo>
                    <a:pt x="1162" y="1168"/>
                    <a:pt x="1164" y="1169"/>
                    <a:pt x="1166" y="1170"/>
                  </a:cubicBezTo>
                  <a:cubicBezTo>
                    <a:pt x="1168" y="1170"/>
                    <a:pt x="1170" y="1170"/>
                    <a:pt x="1171" y="1170"/>
                  </a:cubicBezTo>
                  <a:cubicBezTo>
                    <a:pt x="1172" y="1170"/>
                    <a:pt x="1174" y="1170"/>
                    <a:pt x="1174" y="1170"/>
                  </a:cubicBezTo>
                  <a:cubicBezTo>
                    <a:pt x="1176" y="1170"/>
                    <a:pt x="1176" y="1170"/>
                    <a:pt x="1176" y="1170"/>
                  </a:cubicBezTo>
                  <a:cubicBezTo>
                    <a:pt x="1179" y="1170"/>
                    <a:pt x="1182" y="1170"/>
                    <a:pt x="1184" y="1169"/>
                  </a:cubicBezTo>
                  <a:cubicBezTo>
                    <a:pt x="1186" y="1169"/>
                    <a:pt x="1188" y="1168"/>
                    <a:pt x="1191" y="1168"/>
                  </a:cubicBezTo>
                  <a:cubicBezTo>
                    <a:pt x="1192" y="1168"/>
                    <a:pt x="1193" y="1168"/>
                    <a:pt x="1194" y="1168"/>
                  </a:cubicBezTo>
                  <a:cubicBezTo>
                    <a:pt x="1194" y="1168"/>
                    <a:pt x="1194" y="1168"/>
                    <a:pt x="1194" y="1168"/>
                  </a:cubicBezTo>
                  <a:cubicBezTo>
                    <a:pt x="1196" y="1169"/>
                    <a:pt x="1198" y="1169"/>
                    <a:pt x="1200" y="1169"/>
                  </a:cubicBezTo>
                  <a:cubicBezTo>
                    <a:pt x="1202" y="1169"/>
                    <a:pt x="1205" y="1169"/>
                    <a:pt x="1206" y="1166"/>
                  </a:cubicBezTo>
                  <a:cubicBezTo>
                    <a:pt x="1206" y="1165"/>
                    <a:pt x="1206" y="1164"/>
                    <a:pt x="1206" y="1164"/>
                  </a:cubicBezTo>
                  <a:cubicBezTo>
                    <a:pt x="1206" y="1164"/>
                    <a:pt x="1206" y="1163"/>
                    <a:pt x="1206" y="1163"/>
                  </a:cubicBezTo>
                  <a:cubicBezTo>
                    <a:pt x="1206" y="1163"/>
                    <a:pt x="1206" y="1163"/>
                    <a:pt x="1206" y="1163"/>
                  </a:cubicBezTo>
                  <a:cubicBezTo>
                    <a:pt x="1206" y="1163"/>
                    <a:pt x="1206" y="1163"/>
                    <a:pt x="1206" y="1163"/>
                  </a:cubicBezTo>
                  <a:cubicBezTo>
                    <a:pt x="1206" y="1163"/>
                    <a:pt x="1207" y="1162"/>
                    <a:pt x="1207" y="1162"/>
                  </a:cubicBezTo>
                  <a:cubicBezTo>
                    <a:pt x="1208" y="1161"/>
                    <a:pt x="1211" y="1158"/>
                    <a:pt x="1209" y="1155"/>
                  </a:cubicBezTo>
                  <a:cubicBezTo>
                    <a:pt x="1208" y="1154"/>
                    <a:pt x="1208" y="1154"/>
                    <a:pt x="1208" y="1154"/>
                  </a:cubicBezTo>
                  <a:cubicBezTo>
                    <a:pt x="1208" y="1154"/>
                    <a:pt x="1206" y="1154"/>
                    <a:pt x="1206" y="1154"/>
                  </a:cubicBezTo>
                  <a:cubicBezTo>
                    <a:pt x="1206" y="1154"/>
                    <a:pt x="1206" y="1153"/>
                    <a:pt x="1206" y="1153"/>
                  </a:cubicBezTo>
                  <a:cubicBezTo>
                    <a:pt x="1206" y="1152"/>
                    <a:pt x="1206" y="1150"/>
                    <a:pt x="1206" y="1149"/>
                  </a:cubicBezTo>
                  <a:cubicBezTo>
                    <a:pt x="1209" y="1144"/>
                    <a:pt x="1213" y="1141"/>
                    <a:pt x="1220" y="1138"/>
                  </a:cubicBezTo>
                  <a:cubicBezTo>
                    <a:pt x="1222" y="1137"/>
                    <a:pt x="1223" y="1137"/>
                    <a:pt x="1225" y="1137"/>
                  </a:cubicBezTo>
                  <a:cubicBezTo>
                    <a:pt x="1227" y="1137"/>
                    <a:pt x="1228" y="1136"/>
                    <a:pt x="1229" y="1135"/>
                  </a:cubicBezTo>
                  <a:cubicBezTo>
                    <a:pt x="1230" y="1135"/>
                    <a:pt x="1230" y="1135"/>
                    <a:pt x="1230" y="1135"/>
                  </a:cubicBezTo>
                  <a:cubicBezTo>
                    <a:pt x="1231" y="1134"/>
                    <a:pt x="1232" y="1133"/>
                    <a:pt x="1233" y="1133"/>
                  </a:cubicBezTo>
                  <a:cubicBezTo>
                    <a:pt x="1235" y="1132"/>
                    <a:pt x="1236" y="1131"/>
                    <a:pt x="1238" y="1130"/>
                  </a:cubicBezTo>
                  <a:cubicBezTo>
                    <a:pt x="1239" y="1130"/>
                    <a:pt x="1239" y="1130"/>
                    <a:pt x="1239" y="1130"/>
                  </a:cubicBezTo>
                  <a:cubicBezTo>
                    <a:pt x="1239" y="1128"/>
                    <a:pt x="1239" y="1128"/>
                    <a:pt x="1239" y="1128"/>
                  </a:cubicBezTo>
                  <a:cubicBezTo>
                    <a:pt x="1240" y="1125"/>
                    <a:pt x="1239" y="1122"/>
                    <a:pt x="1238" y="1119"/>
                  </a:cubicBezTo>
                  <a:cubicBezTo>
                    <a:pt x="1238" y="1117"/>
                    <a:pt x="1237" y="1116"/>
                    <a:pt x="1237" y="1114"/>
                  </a:cubicBezTo>
                  <a:cubicBezTo>
                    <a:pt x="1237" y="1113"/>
                    <a:pt x="1236" y="1111"/>
                    <a:pt x="1236" y="1110"/>
                  </a:cubicBezTo>
                  <a:cubicBezTo>
                    <a:pt x="1235" y="1109"/>
                    <a:pt x="1235" y="1109"/>
                    <a:pt x="1235" y="1108"/>
                  </a:cubicBezTo>
                  <a:cubicBezTo>
                    <a:pt x="1234" y="1107"/>
                    <a:pt x="1235" y="1106"/>
                    <a:pt x="1235" y="1104"/>
                  </a:cubicBezTo>
                  <a:cubicBezTo>
                    <a:pt x="1236" y="1103"/>
                    <a:pt x="1236" y="1102"/>
                    <a:pt x="1236" y="1101"/>
                  </a:cubicBezTo>
                  <a:cubicBezTo>
                    <a:pt x="1236" y="1100"/>
                    <a:pt x="1236" y="1100"/>
                    <a:pt x="1236" y="1100"/>
                  </a:cubicBezTo>
                  <a:cubicBezTo>
                    <a:pt x="1237" y="1098"/>
                    <a:pt x="1237" y="1096"/>
                    <a:pt x="1237" y="1095"/>
                  </a:cubicBezTo>
                  <a:cubicBezTo>
                    <a:pt x="1238" y="1095"/>
                    <a:pt x="1238" y="1094"/>
                    <a:pt x="1238" y="1094"/>
                  </a:cubicBezTo>
                  <a:cubicBezTo>
                    <a:pt x="1239" y="1093"/>
                    <a:pt x="1240" y="1092"/>
                    <a:pt x="1241" y="1090"/>
                  </a:cubicBezTo>
                  <a:cubicBezTo>
                    <a:pt x="1241" y="1089"/>
                    <a:pt x="1241" y="1088"/>
                    <a:pt x="1241" y="1087"/>
                  </a:cubicBezTo>
                  <a:cubicBezTo>
                    <a:pt x="1241" y="1086"/>
                    <a:pt x="1241" y="1085"/>
                    <a:pt x="1242" y="1084"/>
                  </a:cubicBezTo>
                  <a:cubicBezTo>
                    <a:pt x="1242" y="1083"/>
                    <a:pt x="1242" y="1083"/>
                    <a:pt x="1243" y="1083"/>
                  </a:cubicBezTo>
                  <a:cubicBezTo>
                    <a:pt x="1243" y="1082"/>
                    <a:pt x="1244" y="1082"/>
                    <a:pt x="1245" y="1082"/>
                  </a:cubicBezTo>
                  <a:cubicBezTo>
                    <a:pt x="1246" y="1081"/>
                    <a:pt x="1247" y="1079"/>
                    <a:pt x="1248" y="1078"/>
                  </a:cubicBezTo>
                  <a:cubicBezTo>
                    <a:pt x="1248" y="1077"/>
                    <a:pt x="1248" y="1077"/>
                    <a:pt x="1249" y="1076"/>
                  </a:cubicBezTo>
                  <a:cubicBezTo>
                    <a:pt x="1250" y="1075"/>
                    <a:pt x="1250" y="1075"/>
                    <a:pt x="1251" y="1074"/>
                  </a:cubicBezTo>
                  <a:cubicBezTo>
                    <a:pt x="1252" y="1074"/>
                    <a:pt x="1252" y="1073"/>
                    <a:pt x="1253" y="1073"/>
                  </a:cubicBezTo>
                  <a:cubicBezTo>
                    <a:pt x="1255" y="1071"/>
                    <a:pt x="1255" y="1069"/>
                    <a:pt x="1255" y="1068"/>
                  </a:cubicBezTo>
                  <a:cubicBezTo>
                    <a:pt x="1255" y="1067"/>
                    <a:pt x="1255" y="1067"/>
                    <a:pt x="1255" y="1066"/>
                  </a:cubicBezTo>
                  <a:cubicBezTo>
                    <a:pt x="1255" y="1065"/>
                    <a:pt x="1256" y="1063"/>
                    <a:pt x="1257" y="1062"/>
                  </a:cubicBezTo>
                  <a:cubicBezTo>
                    <a:pt x="1258" y="1061"/>
                    <a:pt x="1258" y="1060"/>
                    <a:pt x="1259" y="1060"/>
                  </a:cubicBezTo>
                  <a:cubicBezTo>
                    <a:pt x="1261" y="1057"/>
                    <a:pt x="1262" y="1055"/>
                    <a:pt x="1262" y="1050"/>
                  </a:cubicBezTo>
                  <a:cubicBezTo>
                    <a:pt x="1262" y="1048"/>
                    <a:pt x="1262" y="1046"/>
                    <a:pt x="1262" y="1045"/>
                  </a:cubicBezTo>
                  <a:cubicBezTo>
                    <a:pt x="1263" y="1043"/>
                    <a:pt x="1263" y="1042"/>
                    <a:pt x="1264" y="1041"/>
                  </a:cubicBezTo>
                  <a:cubicBezTo>
                    <a:pt x="1264" y="1040"/>
                    <a:pt x="1264" y="1039"/>
                    <a:pt x="1265" y="1038"/>
                  </a:cubicBezTo>
                  <a:cubicBezTo>
                    <a:pt x="1265" y="1037"/>
                    <a:pt x="1266" y="1037"/>
                    <a:pt x="1267" y="1036"/>
                  </a:cubicBezTo>
                  <a:cubicBezTo>
                    <a:pt x="1267" y="1035"/>
                    <a:pt x="1268" y="1035"/>
                    <a:pt x="1269" y="1034"/>
                  </a:cubicBezTo>
                  <a:cubicBezTo>
                    <a:pt x="1269" y="1034"/>
                    <a:pt x="1269" y="1033"/>
                    <a:pt x="1270" y="1033"/>
                  </a:cubicBezTo>
                  <a:cubicBezTo>
                    <a:pt x="1270" y="1032"/>
                    <a:pt x="1270" y="1032"/>
                    <a:pt x="1270" y="1032"/>
                  </a:cubicBezTo>
                  <a:cubicBezTo>
                    <a:pt x="1271" y="1032"/>
                    <a:pt x="1271" y="1032"/>
                    <a:pt x="1271" y="1031"/>
                  </a:cubicBezTo>
                  <a:cubicBezTo>
                    <a:pt x="1272" y="1031"/>
                    <a:pt x="1272" y="1031"/>
                    <a:pt x="1273" y="1030"/>
                  </a:cubicBezTo>
                  <a:cubicBezTo>
                    <a:pt x="1275" y="1028"/>
                    <a:pt x="1275" y="1025"/>
                    <a:pt x="1276" y="1022"/>
                  </a:cubicBezTo>
                  <a:cubicBezTo>
                    <a:pt x="1276" y="1021"/>
                    <a:pt x="1276" y="1020"/>
                    <a:pt x="1276" y="1020"/>
                  </a:cubicBezTo>
                  <a:cubicBezTo>
                    <a:pt x="1276" y="1018"/>
                    <a:pt x="1277" y="1017"/>
                    <a:pt x="1277" y="1016"/>
                  </a:cubicBezTo>
                  <a:cubicBezTo>
                    <a:pt x="1277" y="1012"/>
                    <a:pt x="1276" y="1009"/>
                    <a:pt x="1275" y="1007"/>
                  </a:cubicBezTo>
                  <a:cubicBezTo>
                    <a:pt x="1274" y="1004"/>
                    <a:pt x="1273" y="1002"/>
                    <a:pt x="1273" y="1000"/>
                  </a:cubicBezTo>
                  <a:cubicBezTo>
                    <a:pt x="1273" y="996"/>
                    <a:pt x="1272" y="990"/>
                    <a:pt x="1273" y="984"/>
                  </a:cubicBezTo>
                  <a:cubicBezTo>
                    <a:pt x="1273" y="982"/>
                    <a:pt x="1273" y="981"/>
                    <a:pt x="1273" y="979"/>
                  </a:cubicBezTo>
                  <a:cubicBezTo>
                    <a:pt x="1273" y="976"/>
                    <a:pt x="1273" y="973"/>
                    <a:pt x="1275" y="970"/>
                  </a:cubicBezTo>
                  <a:cubicBezTo>
                    <a:pt x="1276" y="967"/>
                    <a:pt x="1278" y="965"/>
                    <a:pt x="1281" y="963"/>
                  </a:cubicBezTo>
                  <a:cubicBezTo>
                    <a:pt x="1282" y="961"/>
                    <a:pt x="1283" y="960"/>
                    <a:pt x="1285" y="958"/>
                  </a:cubicBezTo>
                  <a:cubicBezTo>
                    <a:pt x="1285" y="958"/>
                    <a:pt x="1286" y="957"/>
                    <a:pt x="1286" y="957"/>
                  </a:cubicBezTo>
                  <a:cubicBezTo>
                    <a:pt x="1288" y="956"/>
                    <a:pt x="1289" y="955"/>
                    <a:pt x="1290" y="953"/>
                  </a:cubicBezTo>
                  <a:cubicBezTo>
                    <a:pt x="1291" y="951"/>
                    <a:pt x="1291" y="947"/>
                    <a:pt x="1290" y="945"/>
                  </a:cubicBezTo>
                  <a:cubicBezTo>
                    <a:pt x="1290" y="945"/>
                    <a:pt x="1290" y="945"/>
                    <a:pt x="1290" y="945"/>
                  </a:cubicBezTo>
                  <a:cubicBezTo>
                    <a:pt x="1290" y="941"/>
                    <a:pt x="1289" y="939"/>
                    <a:pt x="1288" y="937"/>
                  </a:cubicBezTo>
                  <a:cubicBezTo>
                    <a:pt x="1287" y="935"/>
                    <a:pt x="1287" y="933"/>
                    <a:pt x="1287" y="931"/>
                  </a:cubicBezTo>
                  <a:cubicBezTo>
                    <a:pt x="1288" y="930"/>
                    <a:pt x="1288" y="930"/>
                    <a:pt x="1288" y="930"/>
                  </a:cubicBezTo>
                  <a:cubicBezTo>
                    <a:pt x="1288" y="929"/>
                    <a:pt x="1288" y="927"/>
                    <a:pt x="1288" y="926"/>
                  </a:cubicBezTo>
                  <a:cubicBezTo>
                    <a:pt x="1288" y="922"/>
                    <a:pt x="1288" y="918"/>
                    <a:pt x="1288" y="915"/>
                  </a:cubicBezTo>
                  <a:cubicBezTo>
                    <a:pt x="1289" y="912"/>
                    <a:pt x="1290" y="910"/>
                    <a:pt x="1290" y="906"/>
                  </a:cubicBezTo>
                  <a:cubicBezTo>
                    <a:pt x="1290" y="905"/>
                    <a:pt x="1290" y="904"/>
                    <a:pt x="1291" y="903"/>
                  </a:cubicBezTo>
                  <a:cubicBezTo>
                    <a:pt x="1291" y="902"/>
                    <a:pt x="1291" y="901"/>
                    <a:pt x="1291" y="899"/>
                  </a:cubicBezTo>
                  <a:cubicBezTo>
                    <a:pt x="1292" y="898"/>
                    <a:pt x="1292" y="897"/>
                    <a:pt x="1292" y="896"/>
                  </a:cubicBezTo>
                  <a:cubicBezTo>
                    <a:pt x="1291" y="894"/>
                    <a:pt x="1291" y="893"/>
                    <a:pt x="1292" y="892"/>
                  </a:cubicBezTo>
                  <a:cubicBezTo>
                    <a:pt x="1292" y="891"/>
                    <a:pt x="1292" y="891"/>
                    <a:pt x="1292" y="891"/>
                  </a:cubicBezTo>
                  <a:cubicBezTo>
                    <a:pt x="1293" y="889"/>
                    <a:pt x="1293" y="886"/>
                    <a:pt x="1294" y="884"/>
                  </a:cubicBezTo>
                  <a:cubicBezTo>
                    <a:pt x="1295" y="878"/>
                    <a:pt x="1295" y="870"/>
                    <a:pt x="1294" y="865"/>
                  </a:cubicBezTo>
                  <a:cubicBezTo>
                    <a:pt x="1293" y="863"/>
                    <a:pt x="1293" y="861"/>
                    <a:pt x="1292" y="859"/>
                  </a:cubicBezTo>
                  <a:cubicBezTo>
                    <a:pt x="1291" y="857"/>
                    <a:pt x="1290" y="855"/>
                    <a:pt x="1290" y="853"/>
                  </a:cubicBezTo>
                  <a:cubicBezTo>
                    <a:pt x="1289" y="851"/>
                    <a:pt x="1289" y="848"/>
                    <a:pt x="1289" y="846"/>
                  </a:cubicBezTo>
                  <a:cubicBezTo>
                    <a:pt x="1289" y="844"/>
                    <a:pt x="1289" y="842"/>
                    <a:pt x="1289" y="839"/>
                  </a:cubicBezTo>
                  <a:cubicBezTo>
                    <a:pt x="1289" y="839"/>
                    <a:pt x="1289" y="838"/>
                    <a:pt x="1289" y="838"/>
                  </a:cubicBezTo>
                  <a:cubicBezTo>
                    <a:pt x="1288" y="836"/>
                    <a:pt x="1288" y="834"/>
                    <a:pt x="1288" y="833"/>
                  </a:cubicBezTo>
                  <a:cubicBezTo>
                    <a:pt x="1287" y="832"/>
                    <a:pt x="1287" y="831"/>
                    <a:pt x="1287" y="830"/>
                  </a:cubicBezTo>
                  <a:cubicBezTo>
                    <a:pt x="1286" y="829"/>
                    <a:pt x="1286" y="829"/>
                    <a:pt x="1286" y="827"/>
                  </a:cubicBezTo>
                  <a:cubicBezTo>
                    <a:pt x="1286" y="825"/>
                    <a:pt x="1286" y="822"/>
                    <a:pt x="1286" y="819"/>
                  </a:cubicBezTo>
                  <a:cubicBezTo>
                    <a:pt x="1286" y="817"/>
                    <a:pt x="1286" y="815"/>
                    <a:pt x="1286" y="813"/>
                  </a:cubicBezTo>
                  <a:cubicBezTo>
                    <a:pt x="1287" y="811"/>
                    <a:pt x="1286" y="809"/>
                    <a:pt x="1286" y="807"/>
                  </a:cubicBezTo>
                  <a:cubicBezTo>
                    <a:pt x="1286" y="804"/>
                    <a:pt x="1286" y="802"/>
                    <a:pt x="1286" y="800"/>
                  </a:cubicBezTo>
                  <a:cubicBezTo>
                    <a:pt x="1286" y="799"/>
                    <a:pt x="1286" y="798"/>
                    <a:pt x="1287" y="798"/>
                  </a:cubicBezTo>
                  <a:cubicBezTo>
                    <a:pt x="1287" y="796"/>
                    <a:pt x="1287" y="794"/>
                    <a:pt x="1287" y="792"/>
                  </a:cubicBezTo>
                  <a:cubicBezTo>
                    <a:pt x="1286" y="791"/>
                    <a:pt x="1286" y="791"/>
                    <a:pt x="1286" y="790"/>
                  </a:cubicBezTo>
                  <a:cubicBezTo>
                    <a:pt x="1285" y="789"/>
                    <a:pt x="1285" y="788"/>
                    <a:pt x="1285" y="787"/>
                  </a:cubicBezTo>
                  <a:cubicBezTo>
                    <a:pt x="1285" y="787"/>
                    <a:pt x="1285" y="787"/>
                    <a:pt x="1285" y="787"/>
                  </a:cubicBezTo>
                  <a:cubicBezTo>
                    <a:pt x="1286" y="786"/>
                    <a:pt x="1286" y="786"/>
                    <a:pt x="1286" y="785"/>
                  </a:cubicBezTo>
                  <a:cubicBezTo>
                    <a:pt x="1286" y="783"/>
                    <a:pt x="1286" y="782"/>
                    <a:pt x="1286" y="782"/>
                  </a:cubicBezTo>
                  <a:cubicBezTo>
                    <a:pt x="1286" y="781"/>
                    <a:pt x="1286" y="781"/>
                    <a:pt x="1286" y="781"/>
                  </a:cubicBezTo>
                  <a:cubicBezTo>
                    <a:pt x="1286" y="781"/>
                    <a:pt x="1286" y="780"/>
                    <a:pt x="1286" y="780"/>
                  </a:cubicBezTo>
                  <a:cubicBezTo>
                    <a:pt x="1285" y="779"/>
                    <a:pt x="1285" y="778"/>
                    <a:pt x="1284" y="777"/>
                  </a:cubicBezTo>
                  <a:cubicBezTo>
                    <a:pt x="1284" y="776"/>
                    <a:pt x="1283" y="776"/>
                    <a:pt x="1283" y="776"/>
                  </a:cubicBezTo>
                  <a:cubicBezTo>
                    <a:pt x="1283" y="773"/>
                    <a:pt x="1284" y="768"/>
                    <a:pt x="1286" y="766"/>
                  </a:cubicBezTo>
                  <a:cubicBezTo>
                    <a:pt x="1287" y="766"/>
                    <a:pt x="1287" y="766"/>
                    <a:pt x="1287" y="766"/>
                  </a:cubicBezTo>
                  <a:cubicBezTo>
                    <a:pt x="1289" y="764"/>
                    <a:pt x="1290" y="763"/>
                    <a:pt x="1289" y="759"/>
                  </a:cubicBezTo>
                  <a:cubicBezTo>
                    <a:pt x="1289" y="759"/>
                    <a:pt x="1289" y="758"/>
                    <a:pt x="1289" y="758"/>
                  </a:cubicBezTo>
                  <a:cubicBezTo>
                    <a:pt x="1289" y="758"/>
                    <a:pt x="1290" y="758"/>
                    <a:pt x="1290" y="758"/>
                  </a:cubicBezTo>
                  <a:cubicBezTo>
                    <a:pt x="1290" y="758"/>
                    <a:pt x="1291" y="757"/>
                    <a:pt x="1292" y="756"/>
                  </a:cubicBezTo>
                  <a:cubicBezTo>
                    <a:pt x="1293" y="755"/>
                    <a:pt x="1294" y="754"/>
                    <a:pt x="1294" y="753"/>
                  </a:cubicBezTo>
                  <a:cubicBezTo>
                    <a:pt x="1294" y="750"/>
                    <a:pt x="1292" y="749"/>
                    <a:pt x="1291" y="748"/>
                  </a:cubicBezTo>
                  <a:cubicBezTo>
                    <a:pt x="1290" y="747"/>
                    <a:pt x="1290" y="747"/>
                    <a:pt x="1289" y="747"/>
                  </a:cubicBezTo>
                  <a:cubicBezTo>
                    <a:pt x="1290" y="746"/>
                    <a:pt x="1291" y="745"/>
                    <a:pt x="1291" y="744"/>
                  </a:cubicBezTo>
                  <a:cubicBezTo>
                    <a:pt x="1291" y="744"/>
                    <a:pt x="1291" y="743"/>
                    <a:pt x="1291" y="743"/>
                  </a:cubicBezTo>
                  <a:cubicBezTo>
                    <a:pt x="1292" y="743"/>
                    <a:pt x="1292" y="744"/>
                    <a:pt x="1293" y="745"/>
                  </a:cubicBezTo>
                  <a:cubicBezTo>
                    <a:pt x="1293" y="745"/>
                    <a:pt x="1294" y="745"/>
                    <a:pt x="1294" y="746"/>
                  </a:cubicBezTo>
                  <a:cubicBezTo>
                    <a:pt x="1295" y="746"/>
                    <a:pt x="1295" y="746"/>
                    <a:pt x="1295" y="746"/>
                  </a:cubicBezTo>
                  <a:cubicBezTo>
                    <a:pt x="1296" y="747"/>
                    <a:pt x="1296" y="747"/>
                    <a:pt x="1296" y="748"/>
                  </a:cubicBezTo>
                  <a:cubicBezTo>
                    <a:pt x="1296" y="749"/>
                    <a:pt x="1296" y="749"/>
                    <a:pt x="1296" y="749"/>
                  </a:cubicBezTo>
                  <a:cubicBezTo>
                    <a:pt x="1296" y="753"/>
                    <a:pt x="1296" y="756"/>
                    <a:pt x="1298" y="757"/>
                  </a:cubicBezTo>
                  <a:cubicBezTo>
                    <a:pt x="1299" y="757"/>
                    <a:pt x="1299" y="758"/>
                    <a:pt x="1300" y="758"/>
                  </a:cubicBezTo>
                  <a:cubicBezTo>
                    <a:pt x="1303" y="758"/>
                    <a:pt x="1308" y="753"/>
                    <a:pt x="1309" y="751"/>
                  </a:cubicBezTo>
                  <a:cubicBezTo>
                    <a:pt x="1313" y="747"/>
                    <a:pt x="1317" y="742"/>
                    <a:pt x="1320" y="736"/>
                  </a:cubicBezTo>
                  <a:cubicBezTo>
                    <a:pt x="1321" y="735"/>
                    <a:pt x="1321" y="734"/>
                    <a:pt x="1322" y="733"/>
                  </a:cubicBezTo>
                  <a:cubicBezTo>
                    <a:pt x="1323" y="732"/>
                    <a:pt x="1324" y="731"/>
                    <a:pt x="1324" y="729"/>
                  </a:cubicBezTo>
                  <a:cubicBezTo>
                    <a:pt x="1325" y="728"/>
                    <a:pt x="1325" y="727"/>
                    <a:pt x="1326" y="726"/>
                  </a:cubicBezTo>
                  <a:cubicBezTo>
                    <a:pt x="1326" y="724"/>
                    <a:pt x="1327" y="723"/>
                    <a:pt x="1328" y="722"/>
                  </a:cubicBezTo>
                  <a:cubicBezTo>
                    <a:pt x="1329" y="718"/>
                    <a:pt x="1331" y="715"/>
                    <a:pt x="1332" y="712"/>
                  </a:cubicBezTo>
                  <a:cubicBezTo>
                    <a:pt x="1333" y="709"/>
                    <a:pt x="1334" y="707"/>
                    <a:pt x="1335" y="705"/>
                  </a:cubicBezTo>
                  <a:cubicBezTo>
                    <a:pt x="1336" y="703"/>
                    <a:pt x="1336" y="702"/>
                    <a:pt x="1336" y="700"/>
                  </a:cubicBezTo>
                  <a:cubicBezTo>
                    <a:pt x="1336" y="699"/>
                    <a:pt x="1336" y="698"/>
                    <a:pt x="1337" y="697"/>
                  </a:cubicBezTo>
                  <a:cubicBezTo>
                    <a:pt x="1337" y="696"/>
                    <a:pt x="1337" y="696"/>
                    <a:pt x="1338" y="695"/>
                  </a:cubicBezTo>
                  <a:cubicBezTo>
                    <a:pt x="1338" y="693"/>
                    <a:pt x="1339" y="691"/>
                    <a:pt x="1340" y="690"/>
                  </a:cubicBezTo>
                  <a:cubicBezTo>
                    <a:pt x="1341" y="689"/>
                    <a:pt x="1341" y="688"/>
                    <a:pt x="1342" y="688"/>
                  </a:cubicBezTo>
                  <a:cubicBezTo>
                    <a:pt x="1343" y="687"/>
                    <a:pt x="1344" y="686"/>
                    <a:pt x="1345" y="684"/>
                  </a:cubicBezTo>
                  <a:cubicBezTo>
                    <a:pt x="1346" y="682"/>
                    <a:pt x="1347" y="680"/>
                    <a:pt x="1347" y="678"/>
                  </a:cubicBezTo>
                  <a:cubicBezTo>
                    <a:pt x="1347" y="678"/>
                    <a:pt x="1347" y="677"/>
                    <a:pt x="1347" y="677"/>
                  </a:cubicBezTo>
                  <a:cubicBezTo>
                    <a:pt x="1348" y="674"/>
                    <a:pt x="1350" y="670"/>
                    <a:pt x="1357" y="664"/>
                  </a:cubicBezTo>
                  <a:cubicBezTo>
                    <a:pt x="1358" y="663"/>
                    <a:pt x="1358" y="663"/>
                    <a:pt x="1358" y="663"/>
                  </a:cubicBezTo>
                  <a:cubicBezTo>
                    <a:pt x="1360" y="661"/>
                    <a:pt x="1361" y="660"/>
                    <a:pt x="1362" y="659"/>
                  </a:cubicBezTo>
                  <a:cubicBezTo>
                    <a:pt x="1364" y="657"/>
                    <a:pt x="1365" y="657"/>
                    <a:pt x="1367" y="656"/>
                  </a:cubicBezTo>
                  <a:cubicBezTo>
                    <a:pt x="1372" y="655"/>
                    <a:pt x="1374" y="651"/>
                    <a:pt x="1376" y="648"/>
                  </a:cubicBezTo>
                  <a:cubicBezTo>
                    <a:pt x="1377" y="646"/>
                    <a:pt x="1377" y="645"/>
                    <a:pt x="1378" y="644"/>
                  </a:cubicBezTo>
                  <a:cubicBezTo>
                    <a:pt x="1382" y="640"/>
                    <a:pt x="1384" y="636"/>
                    <a:pt x="1387" y="631"/>
                  </a:cubicBezTo>
                  <a:cubicBezTo>
                    <a:pt x="1389" y="629"/>
                    <a:pt x="1389" y="629"/>
                    <a:pt x="1389" y="629"/>
                  </a:cubicBezTo>
                  <a:cubicBezTo>
                    <a:pt x="1390" y="626"/>
                    <a:pt x="1392" y="624"/>
                    <a:pt x="1394" y="622"/>
                  </a:cubicBezTo>
                  <a:cubicBezTo>
                    <a:pt x="1396" y="620"/>
                    <a:pt x="1398" y="617"/>
                    <a:pt x="1400" y="614"/>
                  </a:cubicBezTo>
                  <a:cubicBezTo>
                    <a:pt x="1401" y="612"/>
                    <a:pt x="1401" y="612"/>
                    <a:pt x="1401" y="612"/>
                  </a:cubicBezTo>
                  <a:cubicBezTo>
                    <a:pt x="1402" y="611"/>
                    <a:pt x="1403" y="609"/>
                    <a:pt x="1405" y="608"/>
                  </a:cubicBezTo>
                  <a:cubicBezTo>
                    <a:pt x="1407" y="605"/>
                    <a:pt x="1409" y="603"/>
                    <a:pt x="1410" y="600"/>
                  </a:cubicBezTo>
                  <a:cubicBezTo>
                    <a:pt x="1412" y="597"/>
                    <a:pt x="1413" y="595"/>
                    <a:pt x="1413" y="592"/>
                  </a:cubicBezTo>
                  <a:cubicBezTo>
                    <a:pt x="1414" y="590"/>
                    <a:pt x="1415" y="588"/>
                    <a:pt x="1416" y="586"/>
                  </a:cubicBezTo>
                  <a:cubicBezTo>
                    <a:pt x="1417" y="583"/>
                    <a:pt x="1418" y="580"/>
                    <a:pt x="1419" y="578"/>
                  </a:cubicBezTo>
                  <a:cubicBezTo>
                    <a:pt x="1419" y="576"/>
                    <a:pt x="1420" y="574"/>
                    <a:pt x="1420" y="573"/>
                  </a:cubicBezTo>
                  <a:cubicBezTo>
                    <a:pt x="1422" y="568"/>
                    <a:pt x="1423" y="563"/>
                    <a:pt x="1424" y="559"/>
                  </a:cubicBezTo>
                  <a:cubicBezTo>
                    <a:pt x="1425" y="555"/>
                    <a:pt x="1425" y="550"/>
                    <a:pt x="1425" y="545"/>
                  </a:cubicBezTo>
                  <a:cubicBezTo>
                    <a:pt x="1425" y="544"/>
                    <a:pt x="1425" y="543"/>
                    <a:pt x="1424" y="542"/>
                  </a:cubicBezTo>
                  <a:close/>
                  <a:moveTo>
                    <a:pt x="1068" y="337"/>
                  </a:moveTo>
                  <a:cubicBezTo>
                    <a:pt x="1068" y="338"/>
                    <a:pt x="1067" y="338"/>
                    <a:pt x="1067" y="338"/>
                  </a:cubicBezTo>
                  <a:cubicBezTo>
                    <a:pt x="1066" y="339"/>
                    <a:pt x="1066" y="339"/>
                    <a:pt x="1066" y="340"/>
                  </a:cubicBezTo>
                  <a:cubicBezTo>
                    <a:pt x="1065" y="341"/>
                    <a:pt x="1065" y="341"/>
                    <a:pt x="1064" y="342"/>
                  </a:cubicBezTo>
                  <a:cubicBezTo>
                    <a:pt x="1064" y="343"/>
                    <a:pt x="1064" y="343"/>
                    <a:pt x="1063" y="343"/>
                  </a:cubicBezTo>
                  <a:cubicBezTo>
                    <a:pt x="1063" y="343"/>
                    <a:pt x="1063" y="342"/>
                    <a:pt x="1063" y="342"/>
                  </a:cubicBezTo>
                  <a:cubicBezTo>
                    <a:pt x="1063" y="341"/>
                    <a:pt x="1063" y="341"/>
                    <a:pt x="1063" y="341"/>
                  </a:cubicBezTo>
                  <a:cubicBezTo>
                    <a:pt x="1063" y="340"/>
                    <a:pt x="1063" y="339"/>
                    <a:pt x="1063" y="338"/>
                  </a:cubicBezTo>
                  <a:cubicBezTo>
                    <a:pt x="1063" y="337"/>
                    <a:pt x="1063" y="336"/>
                    <a:pt x="1062" y="335"/>
                  </a:cubicBezTo>
                  <a:cubicBezTo>
                    <a:pt x="1062" y="333"/>
                    <a:pt x="1063" y="328"/>
                    <a:pt x="1064" y="327"/>
                  </a:cubicBezTo>
                  <a:cubicBezTo>
                    <a:pt x="1066" y="327"/>
                    <a:pt x="1066" y="327"/>
                    <a:pt x="1066" y="327"/>
                  </a:cubicBezTo>
                  <a:cubicBezTo>
                    <a:pt x="1066" y="325"/>
                    <a:pt x="1066" y="325"/>
                    <a:pt x="1066" y="325"/>
                  </a:cubicBezTo>
                  <a:cubicBezTo>
                    <a:pt x="1067" y="324"/>
                    <a:pt x="1067" y="323"/>
                    <a:pt x="1068" y="322"/>
                  </a:cubicBezTo>
                  <a:cubicBezTo>
                    <a:pt x="1068" y="322"/>
                    <a:pt x="1069" y="322"/>
                    <a:pt x="1069" y="322"/>
                  </a:cubicBezTo>
                  <a:cubicBezTo>
                    <a:pt x="1068" y="325"/>
                    <a:pt x="1067" y="329"/>
                    <a:pt x="1067" y="332"/>
                  </a:cubicBezTo>
                  <a:cubicBezTo>
                    <a:pt x="1067" y="334"/>
                    <a:pt x="1067" y="334"/>
                    <a:pt x="1067" y="334"/>
                  </a:cubicBezTo>
                  <a:cubicBezTo>
                    <a:pt x="1068" y="334"/>
                    <a:pt x="1068" y="334"/>
                    <a:pt x="1068" y="334"/>
                  </a:cubicBezTo>
                  <a:cubicBezTo>
                    <a:pt x="1068" y="335"/>
                    <a:pt x="1068" y="335"/>
                    <a:pt x="1068" y="336"/>
                  </a:cubicBezTo>
                  <a:cubicBezTo>
                    <a:pt x="1068" y="337"/>
                    <a:pt x="1068" y="337"/>
                    <a:pt x="1068" y="337"/>
                  </a:cubicBezTo>
                  <a:close/>
                  <a:moveTo>
                    <a:pt x="1079" y="331"/>
                  </a:moveTo>
                  <a:cubicBezTo>
                    <a:pt x="1078" y="332"/>
                    <a:pt x="1078" y="332"/>
                    <a:pt x="1078" y="332"/>
                  </a:cubicBezTo>
                  <a:cubicBezTo>
                    <a:pt x="1078" y="332"/>
                    <a:pt x="1078" y="332"/>
                    <a:pt x="1078" y="332"/>
                  </a:cubicBezTo>
                  <a:cubicBezTo>
                    <a:pt x="1078" y="332"/>
                    <a:pt x="1078" y="332"/>
                    <a:pt x="1078" y="331"/>
                  </a:cubicBezTo>
                  <a:cubicBezTo>
                    <a:pt x="1078" y="331"/>
                    <a:pt x="1078" y="331"/>
                    <a:pt x="1078" y="331"/>
                  </a:cubicBezTo>
                  <a:cubicBezTo>
                    <a:pt x="1079" y="330"/>
                    <a:pt x="1080" y="329"/>
                    <a:pt x="1080" y="328"/>
                  </a:cubicBezTo>
                  <a:cubicBezTo>
                    <a:pt x="1080" y="328"/>
                    <a:pt x="1080" y="328"/>
                    <a:pt x="1080" y="328"/>
                  </a:cubicBezTo>
                  <a:cubicBezTo>
                    <a:pt x="1080" y="329"/>
                    <a:pt x="1080" y="329"/>
                    <a:pt x="1080" y="329"/>
                  </a:cubicBezTo>
                  <a:cubicBezTo>
                    <a:pt x="1080" y="329"/>
                    <a:pt x="1080" y="329"/>
                    <a:pt x="1080" y="330"/>
                  </a:cubicBezTo>
                  <a:cubicBezTo>
                    <a:pt x="1080" y="330"/>
                    <a:pt x="1079" y="331"/>
                    <a:pt x="1079" y="331"/>
                  </a:cubicBezTo>
                  <a:close/>
                  <a:moveTo>
                    <a:pt x="856" y="294"/>
                  </a:moveTo>
                  <a:cubicBezTo>
                    <a:pt x="856" y="294"/>
                    <a:pt x="856" y="293"/>
                    <a:pt x="855" y="293"/>
                  </a:cubicBezTo>
                  <a:cubicBezTo>
                    <a:pt x="855" y="293"/>
                    <a:pt x="854" y="294"/>
                    <a:pt x="853" y="294"/>
                  </a:cubicBezTo>
                  <a:cubicBezTo>
                    <a:pt x="852" y="294"/>
                    <a:pt x="852" y="294"/>
                    <a:pt x="852" y="294"/>
                  </a:cubicBezTo>
                  <a:cubicBezTo>
                    <a:pt x="852" y="294"/>
                    <a:pt x="851" y="295"/>
                    <a:pt x="851" y="295"/>
                  </a:cubicBezTo>
                  <a:cubicBezTo>
                    <a:pt x="851" y="295"/>
                    <a:pt x="851" y="295"/>
                    <a:pt x="851" y="294"/>
                  </a:cubicBezTo>
                  <a:cubicBezTo>
                    <a:pt x="851" y="294"/>
                    <a:pt x="851" y="294"/>
                    <a:pt x="851" y="294"/>
                  </a:cubicBezTo>
                  <a:cubicBezTo>
                    <a:pt x="852" y="294"/>
                    <a:pt x="854" y="294"/>
                    <a:pt x="855" y="293"/>
                  </a:cubicBezTo>
                  <a:cubicBezTo>
                    <a:pt x="856" y="292"/>
                    <a:pt x="856" y="292"/>
                    <a:pt x="857" y="292"/>
                  </a:cubicBezTo>
                  <a:cubicBezTo>
                    <a:pt x="858" y="292"/>
                    <a:pt x="859" y="292"/>
                    <a:pt x="860" y="292"/>
                  </a:cubicBezTo>
                  <a:cubicBezTo>
                    <a:pt x="860" y="292"/>
                    <a:pt x="860" y="292"/>
                    <a:pt x="860" y="292"/>
                  </a:cubicBezTo>
                  <a:cubicBezTo>
                    <a:pt x="859" y="292"/>
                    <a:pt x="859" y="293"/>
                    <a:pt x="858" y="293"/>
                  </a:cubicBezTo>
                  <a:cubicBezTo>
                    <a:pt x="858" y="293"/>
                    <a:pt x="857" y="294"/>
                    <a:pt x="857" y="294"/>
                  </a:cubicBezTo>
                  <a:cubicBezTo>
                    <a:pt x="857" y="294"/>
                    <a:pt x="857" y="294"/>
                    <a:pt x="856" y="294"/>
                  </a:cubicBezTo>
                  <a:close/>
                  <a:moveTo>
                    <a:pt x="822" y="239"/>
                  </a:moveTo>
                  <a:cubicBezTo>
                    <a:pt x="821" y="238"/>
                    <a:pt x="819" y="237"/>
                    <a:pt x="817" y="237"/>
                  </a:cubicBezTo>
                  <a:cubicBezTo>
                    <a:pt x="818" y="236"/>
                    <a:pt x="818" y="236"/>
                    <a:pt x="818" y="236"/>
                  </a:cubicBezTo>
                  <a:cubicBezTo>
                    <a:pt x="818" y="235"/>
                    <a:pt x="819" y="235"/>
                    <a:pt x="819" y="235"/>
                  </a:cubicBezTo>
                  <a:cubicBezTo>
                    <a:pt x="819" y="234"/>
                    <a:pt x="819" y="234"/>
                    <a:pt x="820" y="234"/>
                  </a:cubicBezTo>
                  <a:cubicBezTo>
                    <a:pt x="821" y="234"/>
                    <a:pt x="822" y="233"/>
                    <a:pt x="822" y="232"/>
                  </a:cubicBezTo>
                  <a:cubicBezTo>
                    <a:pt x="823" y="231"/>
                    <a:pt x="826" y="229"/>
                    <a:pt x="826" y="226"/>
                  </a:cubicBezTo>
                  <a:cubicBezTo>
                    <a:pt x="827" y="229"/>
                    <a:pt x="829" y="230"/>
                    <a:pt x="832" y="230"/>
                  </a:cubicBezTo>
                  <a:cubicBezTo>
                    <a:pt x="833" y="230"/>
                    <a:pt x="835" y="229"/>
                    <a:pt x="836" y="228"/>
                  </a:cubicBezTo>
                  <a:cubicBezTo>
                    <a:pt x="838" y="227"/>
                    <a:pt x="841" y="225"/>
                    <a:pt x="843" y="223"/>
                  </a:cubicBezTo>
                  <a:cubicBezTo>
                    <a:pt x="843" y="223"/>
                    <a:pt x="843" y="223"/>
                    <a:pt x="843" y="223"/>
                  </a:cubicBezTo>
                  <a:cubicBezTo>
                    <a:pt x="842" y="224"/>
                    <a:pt x="842" y="224"/>
                    <a:pt x="841" y="225"/>
                  </a:cubicBezTo>
                  <a:cubicBezTo>
                    <a:pt x="840" y="226"/>
                    <a:pt x="838" y="227"/>
                    <a:pt x="837" y="230"/>
                  </a:cubicBezTo>
                  <a:cubicBezTo>
                    <a:pt x="837" y="230"/>
                    <a:pt x="836" y="230"/>
                    <a:pt x="836" y="230"/>
                  </a:cubicBezTo>
                  <a:cubicBezTo>
                    <a:pt x="835" y="232"/>
                    <a:pt x="835" y="234"/>
                    <a:pt x="835" y="236"/>
                  </a:cubicBezTo>
                  <a:cubicBezTo>
                    <a:pt x="835" y="237"/>
                    <a:pt x="835" y="237"/>
                    <a:pt x="835" y="237"/>
                  </a:cubicBezTo>
                  <a:cubicBezTo>
                    <a:pt x="835" y="238"/>
                    <a:pt x="835" y="238"/>
                    <a:pt x="836" y="239"/>
                  </a:cubicBezTo>
                  <a:cubicBezTo>
                    <a:pt x="835" y="238"/>
                    <a:pt x="834" y="238"/>
                    <a:pt x="833" y="238"/>
                  </a:cubicBezTo>
                  <a:cubicBezTo>
                    <a:pt x="831" y="238"/>
                    <a:pt x="829" y="239"/>
                    <a:pt x="827" y="241"/>
                  </a:cubicBezTo>
                  <a:cubicBezTo>
                    <a:pt x="827" y="241"/>
                    <a:pt x="826" y="242"/>
                    <a:pt x="826" y="242"/>
                  </a:cubicBezTo>
                  <a:cubicBezTo>
                    <a:pt x="825" y="243"/>
                    <a:pt x="825" y="244"/>
                    <a:pt x="824" y="244"/>
                  </a:cubicBezTo>
                  <a:cubicBezTo>
                    <a:pt x="824" y="242"/>
                    <a:pt x="823" y="240"/>
                    <a:pt x="822" y="239"/>
                  </a:cubicBezTo>
                  <a:close/>
                  <a:moveTo>
                    <a:pt x="845" y="220"/>
                  </a:moveTo>
                  <a:cubicBezTo>
                    <a:pt x="845" y="220"/>
                    <a:pt x="845" y="220"/>
                    <a:pt x="845" y="220"/>
                  </a:cubicBezTo>
                  <a:cubicBezTo>
                    <a:pt x="845" y="220"/>
                    <a:pt x="845" y="221"/>
                    <a:pt x="844" y="221"/>
                  </a:cubicBezTo>
                  <a:cubicBezTo>
                    <a:pt x="845" y="221"/>
                    <a:pt x="845" y="220"/>
                    <a:pt x="845" y="220"/>
                  </a:cubicBezTo>
                  <a:close/>
                  <a:moveTo>
                    <a:pt x="853" y="218"/>
                  </a:moveTo>
                  <a:cubicBezTo>
                    <a:pt x="852" y="218"/>
                    <a:pt x="851" y="219"/>
                    <a:pt x="850" y="219"/>
                  </a:cubicBezTo>
                  <a:cubicBezTo>
                    <a:pt x="850" y="219"/>
                    <a:pt x="850" y="219"/>
                    <a:pt x="849" y="219"/>
                  </a:cubicBezTo>
                  <a:cubicBezTo>
                    <a:pt x="850" y="218"/>
                    <a:pt x="850" y="218"/>
                    <a:pt x="850" y="217"/>
                  </a:cubicBezTo>
                  <a:cubicBezTo>
                    <a:pt x="851" y="218"/>
                    <a:pt x="852" y="218"/>
                    <a:pt x="853" y="218"/>
                  </a:cubicBezTo>
                  <a:cubicBezTo>
                    <a:pt x="853" y="218"/>
                    <a:pt x="853" y="218"/>
                    <a:pt x="853" y="218"/>
                  </a:cubicBezTo>
                  <a:close/>
                  <a:moveTo>
                    <a:pt x="868" y="220"/>
                  </a:moveTo>
                  <a:cubicBezTo>
                    <a:pt x="868" y="220"/>
                    <a:pt x="868" y="220"/>
                    <a:pt x="868" y="220"/>
                  </a:cubicBezTo>
                  <a:cubicBezTo>
                    <a:pt x="868" y="220"/>
                    <a:pt x="868" y="221"/>
                    <a:pt x="868" y="221"/>
                  </a:cubicBezTo>
                  <a:cubicBezTo>
                    <a:pt x="868" y="221"/>
                    <a:pt x="867" y="221"/>
                    <a:pt x="867" y="221"/>
                  </a:cubicBezTo>
                  <a:cubicBezTo>
                    <a:pt x="867" y="221"/>
                    <a:pt x="867" y="221"/>
                    <a:pt x="867" y="221"/>
                  </a:cubicBezTo>
                  <a:lnTo>
                    <a:pt x="868" y="220"/>
                  </a:lnTo>
                  <a:close/>
                  <a:moveTo>
                    <a:pt x="843" y="205"/>
                  </a:moveTo>
                  <a:cubicBezTo>
                    <a:pt x="842" y="205"/>
                    <a:pt x="841" y="206"/>
                    <a:pt x="840" y="207"/>
                  </a:cubicBezTo>
                  <a:cubicBezTo>
                    <a:pt x="840" y="206"/>
                    <a:pt x="841" y="206"/>
                    <a:pt x="841" y="206"/>
                  </a:cubicBezTo>
                  <a:cubicBezTo>
                    <a:pt x="841" y="205"/>
                    <a:pt x="842" y="204"/>
                    <a:pt x="842" y="204"/>
                  </a:cubicBezTo>
                  <a:cubicBezTo>
                    <a:pt x="843" y="203"/>
                    <a:pt x="843" y="202"/>
                    <a:pt x="844" y="202"/>
                  </a:cubicBezTo>
                  <a:cubicBezTo>
                    <a:pt x="843" y="203"/>
                    <a:pt x="843" y="204"/>
                    <a:pt x="843" y="205"/>
                  </a:cubicBezTo>
                  <a:close/>
                  <a:moveTo>
                    <a:pt x="839" y="213"/>
                  </a:moveTo>
                  <a:cubicBezTo>
                    <a:pt x="837" y="214"/>
                    <a:pt x="835" y="214"/>
                    <a:pt x="834" y="215"/>
                  </a:cubicBezTo>
                  <a:cubicBezTo>
                    <a:pt x="833" y="216"/>
                    <a:pt x="832" y="216"/>
                    <a:pt x="831" y="216"/>
                  </a:cubicBezTo>
                  <a:cubicBezTo>
                    <a:pt x="828" y="218"/>
                    <a:pt x="826" y="220"/>
                    <a:pt x="826" y="223"/>
                  </a:cubicBezTo>
                  <a:cubicBezTo>
                    <a:pt x="826" y="222"/>
                    <a:pt x="825" y="221"/>
                    <a:pt x="824" y="221"/>
                  </a:cubicBezTo>
                  <a:cubicBezTo>
                    <a:pt x="825" y="221"/>
                    <a:pt x="825" y="220"/>
                    <a:pt x="825" y="220"/>
                  </a:cubicBezTo>
                  <a:cubicBezTo>
                    <a:pt x="825" y="220"/>
                    <a:pt x="825" y="220"/>
                    <a:pt x="825" y="220"/>
                  </a:cubicBezTo>
                  <a:cubicBezTo>
                    <a:pt x="826" y="219"/>
                    <a:pt x="827" y="218"/>
                    <a:pt x="828" y="216"/>
                  </a:cubicBezTo>
                  <a:cubicBezTo>
                    <a:pt x="829" y="215"/>
                    <a:pt x="829" y="214"/>
                    <a:pt x="830" y="214"/>
                  </a:cubicBezTo>
                  <a:cubicBezTo>
                    <a:pt x="830" y="214"/>
                    <a:pt x="831" y="214"/>
                    <a:pt x="831" y="213"/>
                  </a:cubicBezTo>
                  <a:cubicBezTo>
                    <a:pt x="832" y="213"/>
                    <a:pt x="832" y="213"/>
                    <a:pt x="833" y="213"/>
                  </a:cubicBezTo>
                  <a:cubicBezTo>
                    <a:pt x="835" y="213"/>
                    <a:pt x="836" y="212"/>
                    <a:pt x="837" y="211"/>
                  </a:cubicBezTo>
                  <a:cubicBezTo>
                    <a:pt x="838" y="210"/>
                    <a:pt x="838" y="210"/>
                    <a:pt x="838" y="209"/>
                  </a:cubicBezTo>
                  <a:cubicBezTo>
                    <a:pt x="838" y="211"/>
                    <a:pt x="838" y="212"/>
                    <a:pt x="839" y="213"/>
                  </a:cubicBezTo>
                  <a:close/>
                  <a:moveTo>
                    <a:pt x="819" y="262"/>
                  </a:moveTo>
                  <a:cubicBezTo>
                    <a:pt x="819" y="260"/>
                    <a:pt x="820" y="258"/>
                    <a:pt x="820" y="257"/>
                  </a:cubicBezTo>
                  <a:cubicBezTo>
                    <a:pt x="820" y="256"/>
                    <a:pt x="821" y="256"/>
                    <a:pt x="821" y="255"/>
                  </a:cubicBezTo>
                  <a:cubicBezTo>
                    <a:pt x="821" y="256"/>
                    <a:pt x="821" y="256"/>
                    <a:pt x="821" y="256"/>
                  </a:cubicBezTo>
                  <a:cubicBezTo>
                    <a:pt x="822" y="257"/>
                    <a:pt x="823" y="258"/>
                    <a:pt x="824" y="258"/>
                  </a:cubicBezTo>
                  <a:cubicBezTo>
                    <a:pt x="824" y="258"/>
                    <a:pt x="824" y="258"/>
                    <a:pt x="824" y="258"/>
                  </a:cubicBezTo>
                  <a:cubicBezTo>
                    <a:pt x="824" y="258"/>
                    <a:pt x="824" y="258"/>
                    <a:pt x="824" y="258"/>
                  </a:cubicBezTo>
                  <a:cubicBezTo>
                    <a:pt x="823" y="258"/>
                    <a:pt x="823" y="259"/>
                    <a:pt x="822" y="259"/>
                  </a:cubicBezTo>
                  <a:cubicBezTo>
                    <a:pt x="821" y="260"/>
                    <a:pt x="820" y="261"/>
                    <a:pt x="819" y="262"/>
                  </a:cubicBezTo>
                  <a:cubicBezTo>
                    <a:pt x="819" y="262"/>
                    <a:pt x="817" y="264"/>
                    <a:pt x="817" y="264"/>
                  </a:cubicBezTo>
                  <a:cubicBezTo>
                    <a:pt x="818" y="263"/>
                    <a:pt x="818" y="263"/>
                    <a:pt x="819" y="262"/>
                  </a:cubicBezTo>
                  <a:close/>
                  <a:moveTo>
                    <a:pt x="828" y="253"/>
                  </a:moveTo>
                  <a:cubicBezTo>
                    <a:pt x="828" y="253"/>
                    <a:pt x="829" y="253"/>
                    <a:pt x="829" y="252"/>
                  </a:cubicBezTo>
                  <a:cubicBezTo>
                    <a:pt x="830" y="252"/>
                    <a:pt x="831" y="251"/>
                    <a:pt x="832" y="250"/>
                  </a:cubicBezTo>
                  <a:cubicBezTo>
                    <a:pt x="832" y="249"/>
                    <a:pt x="833" y="249"/>
                    <a:pt x="833" y="248"/>
                  </a:cubicBezTo>
                  <a:cubicBezTo>
                    <a:pt x="833" y="248"/>
                    <a:pt x="834" y="248"/>
                    <a:pt x="834" y="248"/>
                  </a:cubicBezTo>
                  <a:cubicBezTo>
                    <a:pt x="834" y="248"/>
                    <a:pt x="834" y="249"/>
                    <a:pt x="834" y="249"/>
                  </a:cubicBezTo>
                  <a:cubicBezTo>
                    <a:pt x="834" y="250"/>
                    <a:pt x="835" y="250"/>
                    <a:pt x="835" y="250"/>
                  </a:cubicBezTo>
                  <a:cubicBezTo>
                    <a:pt x="835" y="250"/>
                    <a:pt x="835" y="250"/>
                    <a:pt x="835" y="250"/>
                  </a:cubicBezTo>
                  <a:cubicBezTo>
                    <a:pt x="835" y="251"/>
                    <a:pt x="834" y="251"/>
                    <a:pt x="834" y="252"/>
                  </a:cubicBezTo>
                  <a:cubicBezTo>
                    <a:pt x="834" y="252"/>
                    <a:pt x="834" y="252"/>
                    <a:pt x="834" y="253"/>
                  </a:cubicBezTo>
                  <a:cubicBezTo>
                    <a:pt x="833" y="253"/>
                    <a:pt x="833" y="253"/>
                    <a:pt x="833" y="253"/>
                  </a:cubicBezTo>
                  <a:cubicBezTo>
                    <a:pt x="833" y="253"/>
                    <a:pt x="832" y="253"/>
                    <a:pt x="832" y="253"/>
                  </a:cubicBezTo>
                  <a:cubicBezTo>
                    <a:pt x="831" y="253"/>
                    <a:pt x="831" y="253"/>
                    <a:pt x="831" y="253"/>
                  </a:cubicBezTo>
                  <a:cubicBezTo>
                    <a:pt x="830" y="253"/>
                    <a:pt x="829" y="253"/>
                    <a:pt x="828" y="253"/>
                  </a:cubicBezTo>
                  <a:close/>
                  <a:moveTo>
                    <a:pt x="864" y="290"/>
                  </a:moveTo>
                  <a:cubicBezTo>
                    <a:pt x="864" y="290"/>
                    <a:pt x="865" y="290"/>
                    <a:pt x="865" y="290"/>
                  </a:cubicBezTo>
                  <a:cubicBezTo>
                    <a:pt x="865" y="290"/>
                    <a:pt x="865" y="290"/>
                    <a:pt x="865" y="290"/>
                  </a:cubicBezTo>
                  <a:cubicBezTo>
                    <a:pt x="866" y="291"/>
                    <a:pt x="866" y="291"/>
                    <a:pt x="866" y="291"/>
                  </a:cubicBezTo>
                  <a:cubicBezTo>
                    <a:pt x="866" y="291"/>
                    <a:pt x="865" y="291"/>
                    <a:pt x="865" y="291"/>
                  </a:cubicBezTo>
                  <a:cubicBezTo>
                    <a:pt x="864" y="291"/>
                    <a:pt x="863" y="291"/>
                    <a:pt x="862" y="291"/>
                  </a:cubicBezTo>
                  <a:cubicBezTo>
                    <a:pt x="863" y="291"/>
                    <a:pt x="864" y="290"/>
                    <a:pt x="864" y="290"/>
                  </a:cubicBezTo>
                  <a:close/>
                  <a:moveTo>
                    <a:pt x="883" y="224"/>
                  </a:moveTo>
                  <a:cubicBezTo>
                    <a:pt x="884" y="224"/>
                    <a:pt x="884" y="224"/>
                    <a:pt x="885" y="224"/>
                  </a:cubicBezTo>
                  <a:cubicBezTo>
                    <a:pt x="884" y="224"/>
                    <a:pt x="884" y="224"/>
                    <a:pt x="883" y="224"/>
                  </a:cubicBezTo>
                  <a:close/>
                  <a:moveTo>
                    <a:pt x="856" y="189"/>
                  </a:moveTo>
                  <a:cubicBezTo>
                    <a:pt x="856" y="189"/>
                    <a:pt x="856" y="189"/>
                    <a:pt x="856" y="189"/>
                  </a:cubicBezTo>
                  <a:cubicBezTo>
                    <a:pt x="855" y="189"/>
                    <a:pt x="855" y="189"/>
                    <a:pt x="855" y="189"/>
                  </a:cubicBezTo>
                  <a:cubicBezTo>
                    <a:pt x="854" y="189"/>
                    <a:pt x="853" y="189"/>
                    <a:pt x="852" y="191"/>
                  </a:cubicBezTo>
                  <a:cubicBezTo>
                    <a:pt x="850" y="192"/>
                    <a:pt x="849" y="194"/>
                    <a:pt x="849" y="197"/>
                  </a:cubicBezTo>
                  <a:cubicBezTo>
                    <a:pt x="849" y="197"/>
                    <a:pt x="849" y="197"/>
                    <a:pt x="849" y="197"/>
                  </a:cubicBezTo>
                  <a:cubicBezTo>
                    <a:pt x="847" y="197"/>
                    <a:pt x="846" y="197"/>
                    <a:pt x="845" y="198"/>
                  </a:cubicBezTo>
                  <a:cubicBezTo>
                    <a:pt x="846" y="198"/>
                    <a:pt x="846" y="197"/>
                    <a:pt x="846" y="197"/>
                  </a:cubicBezTo>
                  <a:cubicBezTo>
                    <a:pt x="847" y="196"/>
                    <a:pt x="848" y="195"/>
                    <a:pt x="848" y="194"/>
                  </a:cubicBezTo>
                  <a:cubicBezTo>
                    <a:pt x="848" y="194"/>
                    <a:pt x="849" y="193"/>
                    <a:pt x="849" y="193"/>
                  </a:cubicBezTo>
                  <a:cubicBezTo>
                    <a:pt x="849" y="193"/>
                    <a:pt x="849" y="192"/>
                    <a:pt x="850" y="192"/>
                  </a:cubicBezTo>
                  <a:cubicBezTo>
                    <a:pt x="850" y="192"/>
                    <a:pt x="851" y="191"/>
                    <a:pt x="852" y="190"/>
                  </a:cubicBezTo>
                  <a:cubicBezTo>
                    <a:pt x="852" y="190"/>
                    <a:pt x="852" y="189"/>
                    <a:pt x="852" y="188"/>
                  </a:cubicBezTo>
                  <a:cubicBezTo>
                    <a:pt x="853" y="188"/>
                    <a:pt x="853" y="187"/>
                    <a:pt x="853" y="187"/>
                  </a:cubicBezTo>
                  <a:cubicBezTo>
                    <a:pt x="854" y="186"/>
                    <a:pt x="854" y="186"/>
                    <a:pt x="854" y="186"/>
                  </a:cubicBezTo>
                  <a:cubicBezTo>
                    <a:pt x="854" y="187"/>
                    <a:pt x="854" y="187"/>
                    <a:pt x="854" y="187"/>
                  </a:cubicBezTo>
                  <a:cubicBezTo>
                    <a:pt x="855" y="188"/>
                    <a:pt x="856" y="188"/>
                    <a:pt x="857" y="189"/>
                  </a:cubicBezTo>
                  <a:cubicBezTo>
                    <a:pt x="856" y="189"/>
                    <a:pt x="856" y="189"/>
                    <a:pt x="856" y="189"/>
                  </a:cubicBezTo>
                  <a:close/>
                  <a:moveTo>
                    <a:pt x="786" y="277"/>
                  </a:moveTo>
                  <a:cubicBezTo>
                    <a:pt x="787" y="277"/>
                    <a:pt x="787" y="277"/>
                    <a:pt x="787" y="277"/>
                  </a:cubicBezTo>
                  <a:cubicBezTo>
                    <a:pt x="790" y="277"/>
                    <a:pt x="791" y="278"/>
                    <a:pt x="794" y="279"/>
                  </a:cubicBezTo>
                  <a:cubicBezTo>
                    <a:pt x="794" y="279"/>
                    <a:pt x="794" y="279"/>
                    <a:pt x="794" y="279"/>
                  </a:cubicBezTo>
                  <a:cubicBezTo>
                    <a:pt x="794" y="279"/>
                    <a:pt x="795" y="279"/>
                    <a:pt x="795" y="279"/>
                  </a:cubicBezTo>
                  <a:cubicBezTo>
                    <a:pt x="795" y="279"/>
                    <a:pt x="795" y="280"/>
                    <a:pt x="794" y="280"/>
                  </a:cubicBezTo>
                  <a:cubicBezTo>
                    <a:pt x="792" y="281"/>
                    <a:pt x="790" y="282"/>
                    <a:pt x="788" y="282"/>
                  </a:cubicBezTo>
                  <a:cubicBezTo>
                    <a:pt x="788" y="282"/>
                    <a:pt x="787" y="282"/>
                    <a:pt x="786" y="281"/>
                  </a:cubicBezTo>
                  <a:cubicBezTo>
                    <a:pt x="786" y="281"/>
                    <a:pt x="785" y="281"/>
                    <a:pt x="785" y="281"/>
                  </a:cubicBezTo>
                  <a:cubicBezTo>
                    <a:pt x="784" y="280"/>
                    <a:pt x="782" y="279"/>
                    <a:pt x="781" y="278"/>
                  </a:cubicBezTo>
                  <a:cubicBezTo>
                    <a:pt x="780" y="278"/>
                    <a:pt x="780" y="278"/>
                    <a:pt x="780" y="278"/>
                  </a:cubicBezTo>
                  <a:cubicBezTo>
                    <a:pt x="778" y="278"/>
                    <a:pt x="777" y="279"/>
                    <a:pt x="777" y="279"/>
                  </a:cubicBezTo>
                  <a:cubicBezTo>
                    <a:pt x="776" y="279"/>
                    <a:pt x="776" y="280"/>
                    <a:pt x="776" y="280"/>
                  </a:cubicBezTo>
                  <a:cubicBezTo>
                    <a:pt x="776" y="280"/>
                    <a:pt x="776" y="280"/>
                    <a:pt x="776" y="280"/>
                  </a:cubicBezTo>
                  <a:cubicBezTo>
                    <a:pt x="776" y="279"/>
                    <a:pt x="776" y="279"/>
                    <a:pt x="777" y="279"/>
                  </a:cubicBezTo>
                  <a:cubicBezTo>
                    <a:pt x="777" y="279"/>
                    <a:pt x="777" y="279"/>
                    <a:pt x="778" y="278"/>
                  </a:cubicBezTo>
                  <a:cubicBezTo>
                    <a:pt x="778" y="278"/>
                    <a:pt x="779" y="278"/>
                    <a:pt x="779" y="278"/>
                  </a:cubicBezTo>
                  <a:cubicBezTo>
                    <a:pt x="780" y="278"/>
                    <a:pt x="780" y="277"/>
                    <a:pt x="781" y="277"/>
                  </a:cubicBezTo>
                  <a:cubicBezTo>
                    <a:pt x="782" y="276"/>
                    <a:pt x="783" y="276"/>
                    <a:pt x="783" y="275"/>
                  </a:cubicBezTo>
                  <a:cubicBezTo>
                    <a:pt x="784" y="275"/>
                    <a:pt x="784" y="275"/>
                    <a:pt x="784" y="275"/>
                  </a:cubicBezTo>
                  <a:cubicBezTo>
                    <a:pt x="784" y="277"/>
                    <a:pt x="784" y="277"/>
                    <a:pt x="784" y="277"/>
                  </a:cubicBezTo>
                  <a:lnTo>
                    <a:pt x="786" y="277"/>
                  </a:lnTo>
                  <a:close/>
                  <a:moveTo>
                    <a:pt x="890" y="298"/>
                  </a:moveTo>
                  <a:cubicBezTo>
                    <a:pt x="890" y="300"/>
                    <a:pt x="889" y="301"/>
                    <a:pt x="889" y="303"/>
                  </a:cubicBezTo>
                  <a:cubicBezTo>
                    <a:pt x="888" y="304"/>
                    <a:pt x="888" y="304"/>
                    <a:pt x="888" y="304"/>
                  </a:cubicBezTo>
                  <a:cubicBezTo>
                    <a:pt x="888" y="306"/>
                    <a:pt x="887" y="307"/>
                    <a:pt x="886" y="309"/>
                  </a:cubicBezTo>
                  <a:cubicBezTo>
                    <a:pt x="886" y="309"/>
                    <a:pt x="886" y="310"/>
                    <a:pt x="886" y="310"/>
                  </a:cubicBezTo>
                  <a:cubicBezTo>
                    <a:pt x="886" y="308"/>
                    <a:pt x="887" y="306"/>
                    <a:pt x="887" y="305"/>
                  </a:cubicBezTo>
                  <a:cubicBezTo>
                    <a:pt x="888" y="303"/>
                    <a:pt x="888" y="302"/>
                    <a:pt x="889" y="301"/>
                  </a:cubicBezTo>
                  <a:cubicBezTo>
                    <a:pt x="889" y="300"/>
                    <a:pt x="890" y="299"/>
                    <a:pt x="890" y="298"/>
                  </a:cubicBezTo>
                  <a:close/>
                  <a:moveTo>
                    <a:pt x="911" y="1527"/>
                  </a:moveTo>
                  <a:cubicBezTo>
                    <a:pt x="911" y="1528"/>
                    <a:pt x="910" y="1528"/>
                    <a:pt x="910" y="1529"/>
                  </a:cubicBezTo>
                  <a:cubicBezTo>
                    <a:pt x="910" y="1529"/>
                    <a:pt x="910" y="1529"/>
                    <a:pt x="910" y="1529"/>
                  </a:cubicBezTo>
                  <a:cubicBezTo>
                    <a:pt x="910" y="1529"/>
                    <a:pt x="909" y="1529"/>
                    <a:pt x="909" y="1529"/>
                  </a:cubicBezTo>
                  <a:cubicBezTo>
                    <a:pt x="908" y="1530"/>
                    <a:pt x="907" y="1530"/>
                    <a:pt x="906" y="1531"/>
                  </a:cubicBezTo>
                  <a:cubicBezTo>
                    <a:pt x="906" y="1531"/>
                    <a:pt x="905" y="1532"/>
                    <a:pt x="905" y="1532"/>
                  </a:cubicBezTo>
                  <a:cubicBezTo>
                    <a:pt x="905" y="1532"/>
                    <a:pt x="905" y="1532"/>
                    <a:pt x="904" y="1532"/>
                  </a:cubicBezTo>
                  <a:cubicBezTo>
                    <a:pt x="903" y="1532"/>
                    <a:pt x="903" y="1532"/>
                    <a:pt x="903" y="1532"/>
                  </a:cubicBezTo>
                  <a:cubicBezTo>
                    <a:pt x="902" y="1532"/>
                    <a:pt x="902" y="1532"/>
                    <a:pt x="901" y="1532"/>
                  </a:cubicBezTo>
                  <a:cubicBezTo>
                    <a:pt x="899" y="1532"/>
                    <a:pt x="899" y="1532"/>
                    <a:pt x="899" y="1532"/>
                  </a:cubicBezTo>
                  <a:cubicBezTo>
                    <a:pt x="899" y="1534"/>
                    <a:pt x="899" y="1534"/>
                    <a:pt x="899" y="1534"/>
                  </a:cubicBezTo>
                  <a:cubicBezTo>
                    <a:pt x="899" y="1534"/>
                    <a:pt x="899" y="1534"/>
                    <a:pt x="899" y="1534"/>
                  </a:cubicBezTo>
                  <a:cubicBezTo>
                    <a:pt x="899" y="1534"/>
                    <a:pt x="899" y="1535"/>
                    <a:pt x="899" y="1535"/>
                  </a:cubicBezTo>
                  <a:cubicBezTo>
                    <a:pt x="898" y="1534"/>
                    <a:pt x="897" y="1534"/>
                    <a:pt x="896" y="1533"/>
                  </a:cubicBezTo>
                  <a:cubicBezTo>
                    <a:pt x="896" y="1533"/>
                    <a:pt x="896" y="1533"/>
                    <a:pt x="896" y="1532"/>
                  </a:cubicBezTo>
                  <a:cubicBezTo>
                    <a:pt x="896" y="1532"/>
                    <a:pt x="896" y="1532"/>
                    <a:pt x="896" y="1532"/>
                  </a:cubicBezTo>
                  <a:cubicBezTo>
                    <a:pt x="896" y="1532"/>
                    <a:pt x="896" y="1532"/>
                    <a:pt x="896" y="1532"/>
                  </a:cubicBezTo>
                  <a:cubicBezTo>
                    <a:pt x="896" y="1531"/>
                    <a:pt x="897" y="1531"/>
                    <a:pt x="897" y="1531"/>
                  </a:cubicBezTo>
                  <a:cubicBezTo>
                    <a:pt x="898" y="1530"/>
                    <a:pt x="899" y="1530"/>
                    <a:pt x="900" y="1528"/>
                  </a:cubicBezTo>
                  <a:cubicBezTo>
                    <a:pt x="901" y="1527"/>
                    <a:pt x="901" y="1525"/>
                    <a:pt x="901" y="1523"/>
                  </a:cubicBezTo>
                  <a:cubicBezTo>
                    <a:pt x="901" y="1521"/>
                    <a:pt x="901" y="1519"/>
                    <a:pt x="901" y="1518"/>
                  </a:cubicBezTo>
                  <a:cubicBezTo>
                    <a:pt x="901" y="1518"/>
                    <a:pt x="901" y="1517"/>
                    <a:pt x="901" y="1516"/>
                  </a:cubicBezTo>
                  <a:cubicBezTo>
                    <a:pt x="901" y="1516"/>
                    <a:pt x="901" y="1515"/>
                    <a:pt x="901" y="1515"/>
                  </a:cubicBezTo>
                  <a:cubicBezTo>
                    <a:pt x="901" y="1515"/>
                    <a:pt x="902" y="1514"/>
                    <a:pt x="902" y="1514"/>
                  </a:cubicBezTo>
                  <a:cubicBezTo>
                    <a:pt x="903" y="1514"/>
                    <a:pt x="904" y="1513"/>
                    <a:pt x="904" y="1513"/>
                  </a:cubicBezTo>
                  <a:cubicBezTo>
                    <a:pt x="905" y="1513"/>
                    <a:pt x="905" y="1512"/>
                    <a:pt x="906" y="1512"/>
                  </a:cubicBezTo>
                  <a:cubicBezTo>
                    <a:pt x="906" y="1512"/>
                    <a:pt x="907" y="1512"/>
                    <a:pt x="907" y="1512"/>
                  </a:cubicBezTo>
                  <a:cubicBezTo>
                    <a:pt x="910" y="1511"/>
                    <a:pt x="910" y="1509"/>
                    <a:pt x="911" y="1508"/>
                  </a:cubicBezTo>
                  <a:cubicBezTo>
                    <a:pt x="911" y="1508"/>
                    <a:pt x="911" y="1507"/>
                    <a:pt x="911" y="1507"/>
                  </a:cubicBezTo>
                  <a:cubicBezTo>
                    <a:pt x="911" y="1507"/>
                    <a:pt x="911" y="1507"/>
                    <a:pt x="911" y="1507"/>
                  </a:cubicBezTo>
                  <a:cubicBezTo>
                    <a:pt x="912" y="1507"/>
                    <a:pt x="913" y="1507"/>
                    <a:pt x="914" y="1506"/>
                  </a:cubicBezTo>
                  <a:cubicBezTo>
                    <a:pt x="916" y="1504"/>
                    <a:pt x="917" y="1501"/>
                    <a:pt x="915" y="1499"/>
                  </a:cubicBezTo>
                  <a:cubicBezTo>
                    <a:pt x="915" y="1498"/>
                    <a:pt x="915" y="1497"/>
                    <a:pt x="915" y="1497"/>
                  </a:cubicBezTo>
                  <a:cubicBezTo>
                    <a:pt x="915" y="1497"/>
                    <a:pt x="915" y="1497"/>
                    <a:pt x="915" y="1497"/>
                  </a:cubicBezTo>
                  <a:cubicBezTo>
                    <a:pt x="916" y="1497"/>
                    <a:pt x="917" y="1496"/>
                    <a:pt x="918" y="1496"/>
                  </a:cubicBezTo>
                  <a:cubicBezTo>
                    <a:pt x="919" y="1494"/>
                    <a:pt x="919" y="1493"/>
                    <a:pt x="919" y="1492"/>
                  </a:cubicBezTo>
                  <a:cubicBezTo>
                    <a:pt x="919" y="1492"/>
                    <a:pt x="919" y="1492"/>
                    <a:pt x="919" y="1492"/>
                  </a:cubicBezTo>
                  <a:cubicBezTo>
                    <a:pt x="919" y="1492"/>
                    <a:pt x="920" y="1491"/>
                    <a:pt x="920" y="1491"/>
                  </a:cubicBezTo>
                  <a:cubicBezTo>
                    <a:pt x="920" y="1490"/>
                    <a:pt x="920" y="1490"/>
                    <a:pt x="920" y="1489"/>
                  </a:cubicBezTo>
                  <a:cubicBezTo>
                    <a:pt x="920" y="1488"/>
                    <a:pt x="920" y="1487"/>
                    <a:pt x="920" y="1486"/>
                  </a:cubicBezTo>
                  <a:cubicBezTo>
                    <a:pt x="920" y="1486"/>
                    <a:pt x="919" y="1485"/>
                    <a:pt x="919" y="1485"/>
                  </a:cubicBezTo>
                  <a:cubicBezTo>
                    <a:pt x="919" y="1485"/>
                    <a:pt x="919" y="1484"/>
                    <a:pt x="919" y="1484"/>
                  </a:cubicBezTo>
                  <a:cubicBezTo>
                    <a:pt x="919" y="1484"/>
                    <a:pt x="919" y="1483"/>
                    <a:pt x="920" y="1483"/>
                  </a:cubicBezTo>
                  <a:cubicBezTo>
                    <a:pt x="920" y="1482"/>
                    <a:pt x="919" y="1482"/>
                    <a:pt x="919" y="1481"/>
                  </a:cubicBezTo>
                  <a:cubicBezTo>
                    <a:pt x="919" y="1481"/>
                    <a:pt x="919" y="1481"/>
                    <a:pt x="919" y="1480"/>
                  </a:cubicBezTo>
                  <a:cubicBezTo>
                    <a:pt x="919" y="1480"/>
                    <a:pt x="920" y="1479"/>
                    <a:pt x="920" y="1478"/>
                  </a:cubicBezTo>
                  <a:cubicBezTo>
                    <a:pt x="922" y="1476"/>
                    <a:pt x="921" y="1474"/>
                    <a:pt x="921" y="1473"/>
                  </a:cubicBezTo>
                  <a:cubicBezTo>
                    <a:pt x="921" y="1473"/>
                    <a:pt x="921" y="1473"/>
                    <a:pt x="921" y="1472"/>
                  </a:cubicBezTo>
                  <a:cubicBezTo>
                    <a:pt x="921" y="1472"/>
                    <a:pt x="921" y="1471"/>
                    <a:pt x="920" y="1470"/>
                  </a:cubicBezTo>
                  <a:cubicBezTo>
                    <a:pt x="921" y="1471"/>
                    <a:pt x="921" y="1471"/>
                    <a:pt x="921" y="1471"/>
                  </a:cubicBezTo>
                  <a:cubicBezTo>
                    <a:pt x="921" y="1471"/>
                    <a:pt x="921" y="1471"/>
                    <a:pt x="921" y="1472"/>
                  </a:cubicBezTo>
                  <a:cubicBezTo>
                    <a:pt x="921" y="1473"/>
                    <a:pt x="922" y="1474"/>
                    <a:pt x="923" y="1475"/>
                  </a:cubicBezTo>
                  <a:cubicBezTo>
                    <a:pt x="924" y="1475"/>
                    <a:pt x="925" y="1475"/>
                    <a:pt x="926" y="1475"/>
                  </a:cubicBezTo>
                  <a:cubicBezTo>
                    <a:pt x="928" y="1475"/>
                    <a:pt x="929" y="1474"/>
                    <a:pt x="930" y="1473"/>
                  </a:cubicBezTo>
                  <a:cubicBezTo>
                    <a:pt x="931" y="1473"/>
                    <a:pt x="931" y="1473"/>
                    <a:pt x="931" y="1473"/>
                  </a:cubicBezTo>
                  <a:cubicBezTo>
                    <a:pt x="931" y="1473"/>
                    <a:pt x="932" y="1472"/>
                    <a:pt x="932" y="1472"/>
                  </a:cubicBezTo>
                  <a:cubicBezTo>
                    <a:pt x="933" y="1472"/>
                    <a:pt x="934" y="1471"/>
                    <a:pt x="935" y="1471"/>
                  </a:cubicBezTo>
                  <a:cubicBezTo>
                    <a:pt x="935" y="1470"/>
                    <a:pt x="936" y="1469"/>
                    <a:pt x="936" y="1469"/>
                  </a:cubicBezTo>
                  <a:cubicBezTo>
                    <a:pt x="936" y="1469"/>
                    <a:pt x="936" y="1468"/>
                    <a:pt x="937" y="1468"/>
                  </a:cubicBezTo>
                  <a:cubicBezTo>
                    <a:pt x="937" y="1469"/>
                    <a:pt x="937" y="1469"/>
                    <a:pt x="938" y="1470"/>
                  </a:cubicBezTo>
                  <a:cubicBezTo>
                    <a:pt x="938" y="1471"/>
                    <a:pt x="938" y="1471"/>
                    <a:pt x="938" y="1473"/>
                  </a:cubicBezTo>
                  <a:cubicBezTo>
                    <a:pt x="938" y="1474"/>
                    <a:pt x="938" y="1474"/>
                    <a:pt x="938" y="1474"/>
                  </a:cubicBezTo>
                  <a:cubicBezTo>
                    <a:pt x="938" y="1474"/>
                    <a:pt x="938" y="1475"/>
                    <a:pt x="938" y="1475"/>
                  </a:cubicBezTo>
                  <a:cubicBezTo>
                    <a:pt x="934" y="1478"/>
                    <a:pt x="935" y="1481"/>
                    <a:pt x="936" y="1483"/>
                  </a:cubicBezTo>
                  <a:cubicBezTo>
                    <a:pt x="936" y="1484"/>
                    <a:pt x="936" y="1484"/>
                    <a:pt x="936" y="1485"/>
                  </a:cubicBezTo>
                  <a:cubicBezTo>
                    <a:pt x="936" y="1485"/>
                    <a:pt x="936" y="1485"/>
                    <a:pt x="936" y="1486"/>
                  </a:cubicBezTo>
                  <a:cubicBezTo>
                    <a:pt x="936" y="1486"/>
                    <a:pt x="936" y="1486"/>
                    <a:pt x="936" y="1487"/>
                  </a:cubicBezTo>
                  <a:cubicBezTo>
                    <a:pt x="936" y="1487"/>
                    <a:pt x="935" y="1487"/>
                    <a:pt x="935" y="1487"/>
                  </a:cubicBezTo>
                  <a:cubicBezTo>
                    <a:pt x="935" y="1487"/>
                    <a:pt x="935" y="1487"/>
                    <a:pt x="935" y="1488"/>
                  </a:cubicBezTo>
                  <a:cubicBezTo>
                    <a:pt x="934" y="1488"/>
                    <a:pt x="933" y="1489"/>
                    <a:pt x="932" y="1490"/>
                  </a:cubicBezTo>
                  <a:cubicBezTo>
                    <a:pt x="931" y="1491"/>
                    <a:pt x="931" y="1491"/>
                    <a:pt x="931" y="1491"/>
                  </a:cubicBezTo>
                  <a:cubicBezTo>
                    <a:pt x="930" y="1492"/>
                    <a:pt x="930" y="1493"/>
                    <a:pt x="929" y="1494"/>
                  </a:cubicBezTo>
                  <a:cubicBezTo>
                    <a:pt x="928" y="1495"/>
                    <a:pt x="928" y="1496"/>
                    <a:pt x="928" y="1497"/>
                  </a:cubicBezTo>
                  <a:cubicBezTo>
                    <a:pt x="928" y="1497"/>
                    <a:pt x="928" y="1498"/>
                    <a:pt x="928" y="1498"/>
                  </a:cubicBezTo>
                  <a:cubicBezTo>
                    <a:pt x="928" y="1499"/>
                    <a:pt x="927" y="1499"/>
                    <a:pt x="927" y="1499"/>
                  </a:cubicBezTo>
                  <a:cubicBezTo>
                    <a:pt x="926" y="1499"/>
                    <a:pt x="926" y="1499"/>
                    <a:pt x="925" y="1500"/>
                  </a:cubicBezTo>
                  <a:cubicBezTo>
                    <a:pt x="924" y="1500"/>
                    <a:pt x="924" y="1501"/>
                    <a:pt x="923" y="1503"/>
                  </a:cubicBezTo>
                  <a:cubicBezTo>
                    <a:pt x="922" y="1505"/>
                    <a:pt x="922" y="1508"/>
                    <a:pt x="923" y="1510"/>
                  </a:cubicBezTo>
                  <a:cubicBezTo>
                    <a:pt x="923" y="1512"/>
                    <a:pt x="923" y="1513"/>
                    <a:pt x="923" y="1515"/>
                  </a:cubicBezTo>
                  <a:cubicBezTo>
                    <a:pt x="922" y="1516"/>
                    <a:pt x="922" y="1516"/>
                    <a:pt x="920" y="1517"/>
                  </a:cubicBezTo>
                  <a:cubicBezTo>
                    <a:pt x="920" y="1517"/>
                    <a:pt x="920" y="1517"/>
                    <a:pt x="919" y="1517"/>
                  </a:cubicBezTo>
                  <a:cubicBezTo>
                    <a:pt x="919" y="1518"/>
                    <a:pt x="919" y="1518"/>
                    <a:pt x="918" y="1518"/>
                  </a:cubicBezTo>
                  <a:cubicBezTo>
                    <a:pt x="917" y="1519"/>
                    <a:pt x="916" y="1519"/>
                    <a:pt x="916" y="1520"/>
                  </a:cubicBezTo>
                  <a:cubicBezTo>
                    <a:pt x="915" y="1521"/>
                    <a:pt x="915" y="1521"/>
                    <a:pt x="915" y="1521"/>
                  </a:cubicBezTo>
                  <a:cubicBezTo>
                    <a:pt x="913" y="1523"/>
                    <a:pt x="912" y="1525"/>
                    <a:pt x="912" y="1527"/>
                  </a:cubicBezTo>
                  <a:cubicBezTo>
                    <a:pt x="911" y="1527"/>
                    <a:pt x="911" y="1527"/>
                    <a:pt x="911" y="1527"/>
                  </a:cubicBezTo>
                  <a:close/>
                  <a:moveTo>
                    <a:pt x="879" y="292"/>
                  </a:moveTo>
                  <a:cubicBezTo>
                    <a:pt x="878" y="293"/>
                    <a:pt x="876" y="294"/>
                    <a:pt x="875" y="295"/>
                  </a:cubicBezTo>
                  <a:cubicBezTo>
                    <a:pt x="875" y="295"/>
                    <a:pt x="875" y="294"/>
                    <a:pt x="874" y="294"/>
                  </a:cubicBezTo>
                  <a:cubicBezTo>
                    <a:pt x="874" y="294"/>
                    <a:pt x="873" y="294"/>
                    <a:pt x="872" y="294"/>
                  </a:cubicBezTo>
                  <a:cubicBezTo>
                    <a:pt x="872" y="294"/>
                    <a:pt x="871" y="294"/>
                    <a:pt x="871" y="294"/>
                  </a:cubicBezTo>
                  <a:cubicBezTo>
                    <a:pt x="870" y="294"/>
                    <a:pt x="870" y="293"/>
                    <a:pt x="870" y="293"/>
                  </a:cubicBezTo>
                  <a:cubicBezTo>
                    <a:pt x="870" y="293"/>
                    <a:pt x="871" y="293"/>
                    <a:pt x="871" y="293"/>
                  </a:cubicBezTo>
                  <a:cubicBezTo>
                    <a:pt x="872" y="293"/>
                    <a:pt x="873" y="293"/>
                    <a:pt x="873" y="293"/>
                  </a:cubicBezTo>
                  <a:cubicBezTo>
                    <a:pt x="876" y="294"/>
                    <a:pt x="876" y="294"/>
                    <a:pt x="876" y="294"/>
                  </a:cubicBezTo>
                  <a:cubicBezTo>
                    <a:pt x="876" y="294"/>
                    <a:pt x="876" y="291"/>
                    <a:pt x="876" y="291"/>
                  </a:cubicBezTo>
                  <a:cubicBezTo>
                    <a:pt x="877" y="291"/>
                    <a:pt x="877" y="291"/>
                    <a:pt x="878" y="291"/>
                  </a:cubicBezTo>
                  <a:cubicBezTo>
                    <a:pt x="878" y="291"/>
                    <a:pt x="879" y="291"/>
                    <a:pt x="879" y="291"/>
                  </a:cubicBezTo>
                  <a:cubicBezTo>
                    <a:pt x="880" y="291"/>
                    <a:pt x="880" y="291"/>
                    <a:pt x="881" y="290"/>
                  </a:cubicBezTo>
                  <a:cubicBezTo>
                    <a:pt x="880" y="291"/>
                    <a:pt x="880" y="291"/>
                    <a:pt x="879" y="292"/>
                  </a:cubicBezTo>
                  <a:close/>
                  <a:moveTo>
                    <a:pt x="858" y="204"/>
                  </a:moveTo>
                  <a:cubicBezTo>
                    <a:pt x="858" y="205"/>
                    <a:pt x="858" y="205"/>
                    <a:pt x="857" y="205"/>
                  </a:cubicBezTo>
                  <a:cubicBezTo>
                    <a:pt x="857" y="206"/>
                    <a:pt x="856" y="206"/>
                    <a:pt x="854" y="206"/>
                  </a:cubicBezTo>
                  <a:cubicBezTo>
                    <a:pt x="854" y="206"/>
                    <a:pt x="854" y="206"/>
                    <a:pt x="854" y="206"/>
                  </a:cubicBezTo>
                  <a:cubicBezTo>
                    <a:pt x="855" y="206"/>
                    <a:pt x="855" y="205"/>
                    <a:pt x="855" y="205"/>
                  </a:cubicBezTo>
                  <a:cubicBezTo>
                    <a:pt x="855" y="205"/>
                    <a:pt x="855" y="205"/>
                    <a:pt x="855" y="205"/>
                  </a:cubicBezTo>
                  <a:cubicBezTo>
                    <a:pt x="855" y="205"/>
                    <a:pt x="855" y="205"/>
                    <a:pt x="855" y="205"/>
                  </a:cubicBezTo>
                  <a:cubicBezTo>
                    <a:pt x="856" y="205"/>
                    <a:pt x="856" y="205"/>
                    <a:pt x="856" y="205"/>
                  </a:cubicBezTo>
                  <a:cubicBezTo>
                    <a:pt x="858" y="205"/>
                    <a:pt x="859" y="203"/>
                    <a:pt x="859" y="202"/>
                  </a:cubicBezTo>
                  <a:cubicBezTo>
                    <a:pt x="861" y="202"/>
                    <a:pt x="861" y="202"/>
                    <a:pt x="861" y="202"/>
                  </a:cubicBezTo>
                  <a:cubicBezTo>
                    <a:pt x="860" y="203"/>
                    <a:pt x="859" y="204"/>
                    <a:pt x="858" y="204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3066" y="2713"/>
              <a:ext cx="282" cy="308"/>
            </a:xfrm>
            <a:custGeom>
              <a:avLst/>
              <a:gdLst>
                <a:gd name="T0" fmla="*/ 182 w 184"/>
                <a:gd name="T1" fmla="*/ 149 h 201"/>
                <a:gd name="T2" fmla="*/ 176 w 184"/>
                <a:gd name="T3" fmla="*/ 144 h 201"/>
                <a:gd name="T4" fmla="*/ 171 w 184"/>
                <a:gd name="T5" fmla="*/ 128 h 201"/>
                <a:gd name="T6" fmla="*/ 179 w 184"/>
                <a:gd name="T7" fmla="*/ 115 h 201"/>
                <a:gd name="T8" fmla="*/ 175 w 184"/>
                <a:gd name="T9" fmla="*/ 101 h 201"/>
                <a:gd name="T10" fmla="*/ 152 w 184"/>
                <a:gd name="T11" fmla="*/ 77 h 201"/>
                <a:gd name="T12" fmla="*/ 130 w 184"/>
                <a:gd name="T13" fmla="*/ 63 h 201"/>
                <a:gd name="T14" fmla="*/ 109 w 184"/>
                <a:gd name="T15" fmla="*/ 51 h 201"/>
                <a:gd name="T16" fmla="*/ 93 w 184"/>
                <a:gd name="T17" fmla="*/ 39 h 201"/>
                <a:gd name="T18" fmla="*/ 78 w 184"/>
                <a:gd name="T19" fmla="*/ 35 h 201"/>
                <a:gd name="T20" fmla="*/ 69 w 184"/>
                <a:gd name="T21" fmla="*/ 34 h 201"/>
                <a:gd name="T22" fmla="*/ 35 w 184"/>
                <a:gd name="T23" fmla="*/ 0 h 201"/>
                <a:gd name="T24" fmla="*/ 23 w 184"/>
                <a:gd name="T25" fmla="*/ 2 h 201"/>
                <a:gd name="T26" fmla="*/ 23 w 184"/>
                <a:gd name="T27" fmla="*/ 5 h 201"/>
                <a:gd name="T28" fmla="*/ 13 w 184"/>
                <a:gd name="T29" fmla="*/ 5 h 201"/>
                <a:gd name="T30" fmla="*/ 7 w 184"/>
                <a:gd name="T31" fmla="*/ 8 h 201"/>
                <a:gd name="T32" fmla="*/ 3 w 184"/>
                <a:gd name="T33" fmla="*/ 15 h 201"/>
                <a:gd name="T34" fmla="*/ 2 w 184"/>
                <a:gd name="T35" fmla="*/ 20 h 201"/>
                <a:gd name="T36" fmla="*/ 7 w 184"/>
                <a:gd name="T37" fmla="*/ 39 h 201"/>
                <a:gd name="T38" fmla="*/ 5 w 184"/>
                <a:gd name="T39" fmla="*/ 43 h 201"/>
                <a:gd name="T40" fmla="*/ 4 w 184"/>
                <a:gd name="T41" fmla="*/ 60 h 201"/>
                <a:gd name="T42" fmla="*/ 2 w 184"/>
                <a:gd name="T43" fmla="*/ 76 h 201"/>
                <a:gd name="T44" fmla="*/ 7 w 184"/>
                <a:gd name="T45" fmla="*/ 93 h 201"/>
                <a:gd name="T46" fmla="*/ 11 w 184"/>
                <a:gd name="T47" fmla="*/ 124 h 201"/>
                <a:gd name="T48" fmla="*/ 10 w 184"/>
                <a:gd name="T49" fmla="*/ 124 h 201"/>
                <a:gd name="T50" fmla="*/ 6 w 184"/>
                <a:gd name="T51" fmla="*/ 125 h 201"/>
                <a:gd name="T52" fmla="*/ 14 w 184"/>
                <a:gd name="T53" fmla="*/ 160 h 201"/>
                <a:gd name="T54" fmla="*/ 20 w 184"/>
                <a:gd name="T55" fmla="*/ 170 h 201"/>
                <a:gd name="T56" fmla="*/ 30 w 184"/>
                <a:gd name="T57" fmla="*/ 177 h 201"/>
                <a:gd name="T58" fmla="*/ 33 w 184"/>
                <a:gd name="T59" fmla="*/ 180 h 201"/>
                <a:gd name="T60" fmla="*/ 42 w 184"/>
                <a:gd name="T61" fmla="*/ 181 h 201"/>
                <a:gd name="T62" fmla="*/ 50 w 184"/>
                <a:gd name="T63" fmla="*/ 181 h 201"/>
                <a:gd name="T64" fmla="*/ 54 w 184"/>
                <a:gd name="T65" fmla="*/ 181 h 201"/>
                <a:gd name="T66" fmla="*/ 59 w 184"/>
                <a:gd name="T67" fmla="*/ 181 h 201"/>
                <a:gd name="T68" fmla="*/ 70 w 184"/>
                <a:gd name="T69" fmla="*/ 190 h 201"/>
                <a:gd name="T70" fmla="*/ 77 w 184"/>
                <a:gd name="T71" fmla="*/ 193 h 201"/>
                <a:gd name="T72" fmla="*/ 83 w 184"/>
                <a:gd name="T73" fmla="*/ 195 h 201"/>
                <a:gd name="T74" fmla="*/ 91 w 184"/>
                <a:gd name="T75" fmla="*/ 199 h 201"/>
                <a:gd name="T76" fmla="*/ 97 w 184"/>
                <a:gd name="T77" fmla="*/ 200 h 201"/>
                <a:gd name="T78" fmla="*/ 107 w 184"/>
                <a:gd name="T79" fmla="*/ 196 h 201"/>
                <a:gd name="T80" fmla="*/ 114 w 184"/>
                <a:gd name="T81" fmla="*/ 194 h 201"/>
                <a:gd name="T82" fmla="*/ 120 w 184"/>
                <a:gd name="T83" fmla="*/ 195 h 201"/>
                <a:gd name="T84" fmla="*/ 124 w 184"/>
                <a:gd name="T85" fmla="*/ 196 h 201"/>
                <a:gd name="T86" fmla="*/ 132 w 184"/>
                <a:gd name="T87" fmla="*/ 199 h 201"/>
                <a:gd name="T88" fmla="*/ 134 w 184"/>
                <a:gd name="T89" fmla="*/ 199 h 201"/>
                <a:gd name="T90" fmla="*/ 145 w 184"/>
                <a:gd name="T91" fmla="*/ 199 h 201"/>
                <a:gd name="T92" fmla="*/ 152 w 184"/>
                <a:gd name="T93" fmla="*/ 196 h 201"/>
                <a:gd name="T94" fmla="*/ 155 w 184"/>
                <a:gd name="T95" fmla="*/ 194 h 201"/>
                <a:gd name="T96" fmla="*/ 159 w 184"/>
                <a:gd name="T97" fmla="*/ 190 h 201"/>
                <a:gd name="T98" fmla="*/ 166 w 184"/>
                <a:gd name="T99" fmla="*/ 188 h 201"/>
                <a:gd name="T100" fmla="*/ 171 w 184"/>
                <a:gd name="T101" fmla="*/ 182 h 201"/>
                <a:gd name="T102" fmla="*/ 177 w 184"/>
                <a:gd name="T103" fmla="*/ 175 h 201"/>
                <a:gd name="T104" fmla="*/ 178 w 184"/>
                <a:gd name="T105" fmla="*/ 170 h 201"/>
                <a:gd name="T106" fmla="*/ 180 w 184"/>
                <a:gd name="T107" fmla="*/ 166 h 201"/>
                <a:gd name="T108" fmla="*/ 183 w 184"/>
                <a:gd name="T109" fmla="*/ 154 h 201"/>
                <a:gd name="T110" fmla="*/ 184 w 184"/>
                <a:gd name="T111" fmla="*/ 15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4" h="201">
                  <a:moveTo>
                    <a:pt x="184" y="151"/>
                  </a:moveTo>
                  <a:cubicBezTo>
                    <a:pt x="182" y="149"/>
                    <a:pt x="182" y="149"/>
                    <a:pt x="182" y="149"/>
                  </a:cubicBezTo>
                  <a:cubicBezTo>
                    <a:pt x="182" y="149"/>
                    <a:pt x="182" y="149"/>
                    <a:pt x="182" y="149"/>
                  </a:cubicBezTo>
                  <a:cubicBezTo>
                    <a:pt x="182" y="149"/>
                    <a:pt x="182" y="149"/>
                    <a:pt x="182" y="149"/>
                  </a:cubicBezTo>
                  <a:cubicBezTo>
                    <a:pt x="181" y="149"/>
                    <a:pt x="180" y="148"/>
                    <a:pt x="179" y="148"/>
                  </a:cubicBezTo>
                  <a:cubicBezTo>
                    <a:pt x="177" y="148"/>
                    <a:pt x="176" y="147"/>
                    <a:pt x="176" y="144"/>
                  </a:cubicBezTo>
                  <a:cubicBezTo>
                    <a:pt x="175" y="142"/>
                    <a:pt x="175" y="141"/>
                    <a:pt x="175" y="139"/>
                  </a:cubicBezTo>
                  <a:cubicBezTo>
                    <a:pt x="175" y="135"/>
                    <a:pt x="175" y="131"/>
                    <a:pt x="172" y="129"/>
                  </a:cubicBezTo>
                  <a:cubicBezTo>
                    <a:pt x="171" y="129"/>
                    <a:pt x="171" y="129"/>
                    <a:pt x="171" y="128"/>
                  </a:cubicBezTo>
                  <a:cubicBezTo>
                    <a:pt x="172" y="128"/>
                    <a:pt x="172" y="128"/>
                    <a:pt x="172" y="128"/>
                  </a:cubicBezTo>
                  <a:cubicBezTo>
                    <a:pt x="173" y="125"/>
                    <a:pt x="174" y="122"/>
                    <a:pt x="175" y="119"/>
                  </a:cubicBezTo>
                  <a:cubicBezTo>
                    <a:pt x="176" y="117"/>
                    <a:pt x="178" y="116"/>
                    <a:pt x="179" y="115"/>
                  </a:cubicBezTo>
                  <a:cubicBezTo>
                    <a:pt x="180" y="114"/>
                    <a:pt x="181" y="113"/>
                    <a:pt x="182" y="112"/>
                  </a:cubicBezTo>
                  <a:cubicBezTo>
                    <a:pt x="183" y="110"/>
                    <a:pt x="184" y="109"/>
                    <a:pt x="183" y="107"/>
                  </a:cubicBezTo>
                  <a:cubicBezTo>
                    <a:pt x="183" y="105"/>
                    <a:pt x="179" y="103"/>
                    <a:pt x="175" y="101"/>
                  </a:cubicBezTo>
                  <a:cubicBezTo>
                    <a:pt x="174" y="101"/>
                    <a:pt x="174" y="101"/>
                    <a:pt x="173" y="101"/>
                  </a:cubicBezTo>
                  <a:cubicBezTo>
                    <a:pt x="168" y="98"/>
                    <a:pt x="164" y="96"/>
                    <a:pt x="162" y="90"/>
                  </a:cubicBezTo>
                  <a:cubicBezTo>
                    <a:pt x="159" y="84"/>
                    <a:pt x="157" y="80"/>
                    <a:pt x="152" y="77"/>
                  </a:cubicBezTo>
                  <a:cubicBezTo>
                    <a:pt x="149" y="75"/>
                    <a:pt x="147" y="75"/>
                    <a:pt x="144" y="74"/>
                  </a:cubicBezTo>
                  <a:cubicBezTo>
                    <a:pt x="142" y="73"/>
                    <a:pt x="139" y="72"/>
                    <a:pt x="137" y="71"/>
                  </a:cubicBezTo>
                  <a:cubicBezTo>
                    <a:pt x="133" y="69"/>
                    <a:pt x="131" y="66"/>
                    <a:pt x="130" y="63"/>
                  </a:cubicBezTo>
                  <a:cubicBezTo>
                    <a:pt x="128" y="62"/>
                    <a:pt x="127" y="60"/>
                    <a:pt x="125" y="58"/>
                  </a:cubicBezTo>
                  <a:cubicBezTo>
                    <a:pt x="123" y="56"/>
                    <a:pt x="120" y="55"/>
                    <a:pt x="116" y="54"/>
                  </a:cubicBezTo>
                  <a:cubicBezTo>
                    <a:pt x="114" y="53"/>
                    <a:pt x="111" y="53"/>
                    <a:pt x="109" y="51"/>
                  </a:cubicBezTo>
                  <a:cubicBezTo>
                    <a:pt x="107" y="50"/>
                    <a:pt x="105" y="49"/>
                    <a:pt x="104" y="49"/>
                  </a:cubicBezTo>
                  <a:cubicBezTo>
                    <a:pt x="101" y="48"/>
                    <a:pt x="98" y="46"/>
                    <a:pt x="95" y="43"/>
                  </a:cubicBezTo>
                  <a:cubicBezTo>
                    <a:pt x="95" y="42"/>
                    <a:pt x="94" y="41"/>
                    <a:pt x="93" y="39"/>
                  </a:cubicBezTo>
                  <a:cubicBezTo>
                    <a:pt x="91" y="36"/>
                    <a:pt x="89" y="31"/>
                    <a:pt x="85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2" y="31"/>
                    <a:pt x="80" y="33"/>
                    <a:pt x="78" y="35"/>
                  </a:cubicBezTo>
                  <a:cubicBezTo>
                    <a:pt x="76" y="37"/>
                    <a:pt x="74" y="39"/>
                    <a:pt x="71" y="39"/>
                  </a:cubicBezTo>
                  <a:cubicBezTo>
                    <a:pt x="71" y="39"/>
                    <a:pt x="70" y="39"/>
                    <a:pt x="70" y="39"/>
                  </a:cubicBezTo>
                  <a:cubicBezTo>
                    <a:pt x="70" y="37"/>
                    <a:pt x="70" y="35"/>
                    <a:pt x="69" y="34"/>
                  </a:cubicBezTo>
                  <a:cubicBezTo>
                    <a:pt x="68" y="30"/>
                    <a:pt x="68" y="26"/>
                    <a:pt x="65" y="24"/>
                  </a:cubicBezTo>
                  <a:cubicBezTo>
                    <a:pt x="62" y="21"/>
                    <a:pt x="59" y="19"/>
                    <a:pt x="57" y="17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2" y="0"/>
                    <a:pt x="31" y="0"/>
                  </a:cubicBezTo>
                  <a:cubicBezTo>
                    <a:pt x="26" y="0"/>
                    <a:pt x="24" y="0"/>
                    <a:pt x="23" y="2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5"/>
                    <a:pt x="23" y="5"/>
                  </a:cubicBezTo>
                  <a:cubicBezTo>
                    <a:pt x="21" y="5"/>
                    <a:pt x="20" y="6"/>
                    <a:pt x="18" y="6"/>
                  </a:cubicBezTo>
                  <a:cubicBezTo>
                    <a:pt x="17" y="6"/>
                    <a:pt x="16" y="6"/>
                    <a:pt x="15" y="6"/>
                  </a:cubicBezTo>
                  <a:cubicBezTo>
                    <a:pt x="14" y="5"/>
                    <a:pt x="13" y="5"/>
                    <a:pt x="13" y="5"/>
                  </a:cubicBezTo>
                  <a:cubicBezTo>
                    <a:pt x="11" y="5"/>
                    <a:pt x="11" y="6"/>
                    <a:pt x="10" y="6"/>
                  </a:cubicBezTo>
                  <a:cubicBezTo>
                    <a:pt x="9" y="6"/>
                    <a:pt x="8" y="7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6" y="10"/>
                    <a:pt x="6" y="10"/>
                  </a:cubicBezTo>
                  <a:cubicBezTo>
                    <a:pt x="5" y="12"/>
                    <a:pt x="5" y="13"/>
                    <a:pt x="4" y="13"/>
                  </a:cubicBezTo>
                  <a:cubicBezTo>
                    <a:pt x="4" y="14"/>
                    <a:pt x="3" y="14"/>
                    <a:pt x="3" y="15"/>
                  </a:cubicBezTo>
                  <a:cubicBezTo>
                    <a:pt x="2" y="16"/>
                    <a:pt x="1" y="16"/>
                    <a:pt x="1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5" y="25"/>
                    <a:pt x="5" y="26"/>
                    <a:pt x="4" y="31"/>
                  </a:cubicBezTo>
                  <a:cubicBezTo>
                    <a:pt x="3" y="34"/>
                    <a:pt x="4" y="37"/>
                    <a:pt x="4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1"/>
                    <a:pt x="4" y="42"/>
                    <a:pt x="5" y="43"/>
                  </a:cubicBezTo>
                  <a:cubicBezTo>
                    <a:pt x="5" y="45"/>
                    <a:pt x="4" y="47"/>
                    <a:pt x="3" y="49"/>
                  </a:cubicBezTo>
                  <a:cubicBezTo>
                    <a:pt x="3" y="52"/>
                    <a:pt x="2" y="54"/>
                    <a:pt x="3" y="57"/>
                  </a:cubicBezTo>
                  <a:cubicBezTo>
                    <a:pt x="3" y="58"/>
                    <a:pt x="4" y="59"/>
                    <a:pt x="4" y="60"/>
                  </a:cubicBezTo>
                  <a:cubicBezTo>
                    <a:pt x="6" y="62"/>
                    <a:pt x="7" y="64"/>
                    <a:pt x="6" y="67"/>
                  </a:cubicBezTo>
                  <a:cubicBezTo>
                    <a:pt x="5" y="69"/>
                    <a:pt x="4" y="70"/>
                    <a:pt x="3" y="71"/>
                  </a:cubicBezTo>
                  <a:cubicBezTo>
                    <a:pt x="2" y="72"/>
                    <a:pt x="2" y="74"/>
                    <a:pt x="2" y="76"/>
                  </a:cubicBezTo>
                  <a:cubicBezTo>
                    <a:pt x="2" y="78"/>
                    <a:pt x="3" y="80"/>
                    <a:pt x="5" y="81"/>
                  </a:cubicBezTo>
                  <a:cubicBezTo>
                    <a:pt x="5" y="82"/>
                    <a:pt x="6" y="83"/>
                    <a:pt x="7" y="85"/>
                  </a:cubicBezTo>
                  <a:cubicBezTo>
                    <a:pt x="8" y="88"/>
                    <a:pt x="7" y="90"/>
                    <a:pt x="7" y="93"/>
                  </a:cubicBezTo>
                  <a:cubicBezTo>
                    <a:pt x="6" y="95"/>
                    <a:pt x="6" y="96"/>
                    <a:pt x="6" y="98"/>
                  </a:cubicBezTo>
                  <a:cubicBezTo>
                    <a:pt x="6" y="102"/>
                    <a:pt x="7" y="105"/>
                    <a:pt x="8" y="109"/>
                  </a:cubicBezTo>
                  <a:cubicBezTo>
                    <a:pt x="10" y="114"/>
                    <a:pt x="11" y="118"/>
                    <a:pt x="11" y="124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11" y="124"/>
                    <a:pt x="10" y="124"/>
                    <a:pt x="10" y="124"/>
                  </a:cubicBezTo>
                  <a:cubicBezTo>
                    <a:pt x="10" y="124"/>
                    <a:pt x="10" y="124"/>
                    <a:pt x="10" y="124"/>
                  </a:cubicBezTo>
                  <a:cubicBezTo>
                    <a:pt x="10" y="124"/>
                    <a:pt x="10" y="124"/>
                    <a:pt x="10" y="124"/>
                  </a:cubicBezTo>
                  <a:cubicBezTo>
                    <a:pt x="10" y="124"/>
                    <a:pt x="9" y="124"/>
                    <a:pt x="8" y="124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6" y="134"/>
                    <a:pt x="6" y="143"/>
                    <a:pt x="10" y="152"/>
                  </a:cubicBezTo>
                  <a:cubicBezTo>
                    <a:pt x="11" y="155"/>
                    <a:pt x="13" y="158"/>
                    <a:pt x="14" y="160"/>
                  </a:cubicBezTo>
                  <a:cubicBezTo>
                    <a:pt x="16" y="163"/>
                    <a:pt x="17" y="165"/>
                    <a:pt x="18" y="168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1" y="170"/>
                    <a:pt x="21" y="170"/>
                    <a:pt x="21" y="170"/>
                  </a:cubicBezTo>
                  <a:cubicBezTo>
                    <a:pt x="24" y="171"/>
                    <a:pt x="27" y="174"/>
                    <a:pt x="29" y="176"/>
                  </a:cubicBezTo>
                  <a:cubicBezTo>
                    <a:pt x="29" y="176"/>
                    <a:pt x="30" y="177"/>
                    <a:pt x="30" y="177"/>
                  </a:cubicBezTo>
                  <a:cubicBezTo>
                    <a:pt x="31" y="177"/>
                    <a:pt x="31" y="178"/>
                    <a:pt x="31" y="178"/>
                  </a:cubicBezTo>
                  <a:cubicBezTo>
                    <a:pt x="31" y="178"/>
                    <a:pt x="32" y="179"/>
                    <a:pt x="32" y="179"/>
                  </a:cubicBezTo>
                  <a:cubicBezTo>
                    <a:pt x="32" y="179"/>
                    <a:pt x="33" y="180"/>
                    <a:pt x="33" y="180"/>
                  </a:cubicBezTo>
                  <a:cubicBezTo>
                    <a:pt x="34" y="182"/>
                    <a:pt x="35" y="182"/>
                    <a:pt x="37" y="182"/>
                  </a:cubicBezTo>
                  <a:cubicBezTo>
                    <a:pt x="38" y="182"/>
                    <a:pt x="40" y="182"/>
                    <a:pt x="41" y="181"/>
                  </a:cubicBezTo>
                  <a:cubicBezTo>
                    <a:pt x="42" y="181"/>
                    <a:pt x="42" y="181"/>
                    <a:pt x="42" y="181"/>
                  </a:cubicBezTo>
                  <a:cubicBezTo>
                    <a:pt x="43" y="181"/>
                    <a:pt x="43" y="181"/>
                    <a:pt x="43" y="181"/>
                  </a:cubicBezTo>
                  <a:cubicBezTo>
                    <a:pt x="44" y="181"/>
                    <a:pt x="45" y="181"/>
                    <a:pt x="46" y="181"/>
                  </a:cubicBezTo>
                  <a:cubicBezTo>
                    <a:pt x="47" y="181"/>
                    <a:pt x="48" y="181"/>
                    <a:pt x="50" y="181"/>
                  </a:cubicBezTo>
                  <a:cubicBezTo>
                    <a:pt x="50" y="181"/>
                    <a:pt x="50" y="181"/>
                    <a:pt x="50" y="181"/>
                  </a:cubicBezTo>
                  <a:cubicBezTo>
                    <a:pt x="50" y="181"/>
                    <a:pt x="51" y="181"/>
                    <a:pt x="52" y="181"/>
                  </a:cubicBezTo>
                  <a:cubicBezTo>
                    <a:pt x="53" y="181"/>
                    <a:pt x="53" y="181"/>
                    <a:pt x="54" y="181"/>
                  </a:cubicBezTo>
                  <a:cubicBezTo>
                    <a:pt x="55" y="181"/>
                    <a:pt x="55" y="181"/>
                    <a:pt x="56" y="181"/>
                  </a:cubicBezTo>
                  <a:cubicBezTo>
                    <a:pt x="56" y="181"/>
                    <a:pt x="57" y="181"/>
                    <a:pt x="57" y="181"/>
                  </a:cubicBezTo>
                  <a:cubicBezTo>
                    <a:pt x="58" y="181"/>
                    <a:pt x="58" y="181"/>
                    <a:pt x="59" y="181"/>
                  </a:cubicBezTo>
                  <a:cubicBezTo>
                    <a:pt x="60" y="181"/>
                    <a:pt x="61" y="181"/>
                    <a:pt x="62" y="183"/>
                  </a:cubicBezTo>
                  <a:cubicBezTo>
                    <a:pt x="64" y="186"/>
                    <a:pt x="67" y="188"/>
                    <a:pt x="69" y="189"/>
                  </a:cubicBezTo>
                  <a:cubicBezTo>
                    <a:pt x="69" y="190"/>
                    <a:pt x="70" y="190"/>
                    <a:pt x="70" y="190"/>
                  </a:cubicBezTo>
                  <a:cubicBezTo>
                    <a:pt x="71" y="191"/>
                    <a:pt x="71" y="191"/>
                    <a:pt x="73" y="192"/>
                  </a:cubicBezTo>
                  <a:cubicBezTo>
                    <a:pt x="74" y="192"/>
                    <a:pt x="74" y="192"/>
                    <a:pt x="75" y="192"/>
                  </a:cubicBezTo>
                  <a:cubicBezTo>
                    <a:pt x="76" y="192"/>
                    <a:pt x="77" y="192"/>
                    <a:pt x="77" y="193"/>
                  </a:cubicBezTo>
                  <a:cubicBezTo>
                    <a:pt x="78" y="193"/>
                    <a:pt x="78" y="193"/>
                    <a:pt x="78" y="193"/>
                  </a:cubicBezTo>
                  <a:cubicBezTo>
                    <a:pt x="79" y="194"/>
                    <a:pt x="80" y="194"/>
                    <a:pt x="82" y="194"/>
                  </a:cubicBezTo>
                  <a:cubicBezTo>
                    <a:pt x="82" y="195"/>
                    <a:pt x="83" y="195"/>
                    <a:pt x="83" y="195"/>
                  </a:cubicBezTo>
                  <a:cubicBezTo>
                    <a:pt x="84" y="195"/>
                    <a:pt x="86" y="195"/>
                    <a:pt x="86" y="195"/>
                  </a:cubicBezTo>
                  <a:cubicBezTo>
                    <a:pt x="87" y="196"/>
                    <a:pt x="87" y="196"/>
                    <a:pt x="87" y="196"/>
                  </a:cubicBezTo>
                  <a:cubicBezTo>
                    <a:pt x="87" y="197"/>
                    <a:pt x="88" y="199"/>
                    <a:pt x="91" y="199"/>
                  </a:cubicBezTo>
                  <a:cubicBezTo>
                    <a:pt x="91" y="199"/>
                    <a:pt x="92" y="199"/>
                    <a:pt x="92" y="199"/>
                  </a:cubicBezTo>
                  <a:cubicBezTo>
                    <a:pt x="93" y="199"/>
                    <a:pt x="93" y="199"/>
                    <a:pt x="94" y="199"/>
                  </a:cubicBezTo>
                  <a:cubicBezTo>
                    <a:pt x="95" y="200"/>
                    <a:pt x="96" y="200"/>
                    <a:pt x="97" y="200"/>
                  </a:cubicBezTo>
                  <a:cubicBezTo>
                    <a:pt x="97" y="200"/>
                    <a:pt x="97" y="200"/>
                    <a:pt x="97" y="200"/>
                  </a:cubicBezTo>
                  <a:cubicBezTo>
                    <a:pt x="100" y="200"/>
                    <a:pt x="102" y="199"/>
                    <a:pt x="105" y="198"/>
                  </a:cubicBezTo>
                  <a:cubicBezTo>
                    <a:pt x="105" y="197"/>
                    <a:pt x="106" y="197"/>
                    <a:pt x="107" y="196"/>
                  </a:cubicBezTo>
                  <a:cubicBezTo>
                    <a:pt x="108" y="196"/>
                    <a:pt x="109" y="195"/>
                    <a:pt x="110" y="195"/>
                  </a:cubicBezTo>
                  <a:cubicBezTo>
                    <a:pt x="111" y="194"/>
                    <a:pt x="111" y="194"/>
                    <a:pt x="112" y="194"/>
                  </a:cubicBezTo>
                  <a:cubicBezTo>
                    <a:pt x="112" y="194"/>
                    <a:pt x="113" y="194"/>
                    <a:pt x="114" y="194"/>
                  </a:cubicBezTo>
                  <a:cubicBezTo>
                    <a:pt x="114" y="194"/>
                    <a:pt x="116" y="194"/>
                    <a:pt x="116" y="194"/>
                  </a:cubicBezTo>
                  <a:cubicBezTo>
                    <a:pt x="117" y="194"/>
                    <a:pt x="117" y="194"/>
                    <a:pt x="118" y="194"/>
                  </a:cubicBezTo>
                  <a:cubicBezTo>
                    <a:pt x="118" y="195"/>
                    <a:pt x="119" y="195"/>
                    <a:pt x="120" y="195"/>
                  </a:cubicBezTo>
                  <a:cubicBezTo>
                    <a:pt x="120" y="195"/>
                    <a:pt x="121" y="195"/>
                    <a:pt x="122" y="195"/>
                  </a:cubicBezTo>
                  <a:cubicBezTo>
                    <a:pt x="122" y="195"/>
                    <a:pt x="122" y="195"/>
                    <a:pt x="122" y="195"/>
                  </a:cubicBezTo>
                  <a:cubicBezTo>
                    <a:pt x="123" y="195"/>
                    <a:pt x="124" y="196"/>
                    <a:pt x="124" y="196"/>
                  </a:cubicBezTo>
                  <a:cubicBezTo>
                    <a:pt x="124" y="196"/>
                    <a:pt x="125" y="196"/>
                    <a:pt x="125" y="197"/>
                  </a:cubicBezTo>
                  <a:cubicBezTo>
                    <a:pt x="126" y="198"/>
                    <a:pt x="128" y="200"/>
                    <a:pt x="130" y="200"/>
                  </a:cubicBezTo>
                  <a:cubicBezTo>
                    <a:pt x="131" y="200"/>
                    <a:pt x="131" y="200"/>
                    <a:pt x="132" y="199"/>
                  </a:cubicBezTo>
                  <a:cubicBezTo>
                    <a:pt x="133" y="199"/>
                    <a:pt x="133" y="199"/>
                    <a:pt x="134" y="199"/>
                  </a:cubicBezTo>
                  <a:cubicBezTo>
                    <a:pt x="134" y="199"/>
                    <a:pt x="134" y="199"/>
                    <a:pt x="134" y="199"/>
                  </a:cubicBezTo>
                  <a:cubicBezTo>
                    <a:pt x="134" y="199"/>
                    <a:pt x="134" y="199"/>
                    <a:pt x="134" y="199"/>
                  </a:cubicBezTo>
                  <a:cubicBezTo>
                    <a:pt x="134" y="199"/>
                    <a:pt x="135" y="200"/>
                    <a:pt x="135" y="200"/>
                  </a:cubicBezTo>
                  <a:cubicBezTo>
                    <a:pt x="136" y="201"/>
                    <a:pt x="137" y="201"/>
                    <a:pt x="139" y="201"/>
                  </a:cubicBezTo>
                  <a:cubicBezTo>
                    <a:pt x="141" y="201"/>
                    <a:pt x="143" y="201"/>
                    <a:pt x="145" y="199"/>
                  </a:cubicBezTo>
                  <a:cubicBezTo>
                    <a:pt x="146" y="199"/>
                    <a:pt x="147" y="199"/>
                    <a:pt x="148" y="198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51" y="198"/>
                    <a:pt x="152" y="197"/>
                    <a:pt x="152" y="196"/>
                  </a:cubicBezTo>
                  <a:cubicBezTo>
                    <a:pt x="153" y="196"/>
                    <a:pt x="153" y="196"/>
                    <a:pt x="153" y="196"/>
                  </a:cubicBezTo>
                  <a:cubicBezTo>
                    <a:pt x="153" y="195"/>
                    <a:pt x="154" y="195"/>
                    <a:pt x="154" y="195"/>
                  </a:cubicBezTo>
                  <a:cubicBezTo>
                    <a:pt x="155" y="194"/>
                    <a:pt x="155" y="194"/>
                    <a:pt x="155" y="194"/>
                  </a:cubicBezTo>
                  <a:cubicBezTo>
                    <a:pt x="156" y="193"/>
                    <a:pt x="157" y="193"/>
                    <a:pt x="157" y="192"/>
                  </a:cubicBezTo>
                  <a:cubicBezTo>
                    <a:pt x="158" y="191"/>
                    <a:pt x="158" y="191"/>
                    <a:pt x="158" y="190"/>
                  </a:cubicBezTo>
                  <a:cubicBezTo>
                    <a:pt x="159" y="190"/>
                    <a:pt x="159" y="190"/>
                    <a:pt x="159" y="190"/>
                  </a:cubicBezTo>
                  <a:cubicBezTo>
                    <a:pt x="159" y="191"/>
                    <a:pt x="160" y="191"/>
                    <a:pt x="161" y="191"/>
                  </a:cubicBezTo>
                  <a:cubicBezTo>
                    <a:pt x="161" y="191"/>
                    <a:pt x="161" y="191"/>
                    <a:pt x="162" y="191"/>
                  </a:cubicBezTo>
                  <a:cubicBezTo>
                    <a:pt x="164" y="191"/>
                    <a:pt x="165" y="189"/>
                    <a:pt x="166" y="188"/>
                  </a:cubicBezTo>
                  <a:cubicBezTo>
                    <a:pt x="167" y="187"/>
                    <a:pt x="167" y="187"/>
                    <a:pt x="167" y="187"/>
                  </a:cubicBezTo>
                  <a:cubicBezTo>
                    <a:pt x="168" y="186"/>
                    <a:pt x="169" y="185"/>
                    <a:pt x="170" y="183"/>
                  </a:cubicBezTo>
                  <a:cubicBezTo>
                    <a:pt x="171" y="183"/>
                    <a:pt x="171" y="182"/>
                    <a:pt x="171" y="182"/>
                  </a:cubicBezTo>
                  <a:cubicBezTo>
                    <a:pt x="172" y="181"/>
                    <a:pt x="172" y="181"/>
                    <a:pt x="173" y="180"/>
                  </a:cubicBezTo>
                  <a:cubicBezTo>
                    <a:pt x="173" y="180"/>
                    <a:pt x="174" y="180"/>
                    <a:pt x="174" y="180"/>
                  </a:cubicBezTo>
                  <a:cubicBezTo>
                    <a:pt x="175" y="179"/>
                    <a:pt x="176" y="178"/>
                    <a:pt x="177" y="175"/>
                  </a:cubicBezTo>
                  <a:cubicBezTo>
                    <a:pt x="177" y="175"/>
                    <a:pt x="177" y="174"/>
                    <a:pt x="177" y="174"/>
                  </a:cubicBezTo>
                  <a:cubicBezTo>
                    <a:pt x="177" y="173"/>
                    <a:pt x="177" y="172"/>
                    <a:pt x="177" y="172"/>
                  </a:cubicBezTo>
                  <a:cubicBezTo>
                    <a:pt x="177" y="171"/>
                    <a:pt x="177" y="171"/>
                    <a:pt x="178" y="170"/>
                  </a:cubicBezTo>
                  <a:cubicBezTo>
                    <a:pt x="178" y="170"/>
                    <a:pt x="178" y="169"/>
                    <a:pt x="179" y="169"/>
                  </a:cubicBezTo>
                  <a:cubicBezTo>
                    <a:pt x="179" y="168"/>
                    <a:pt x="179" y="168"/>
                    <a:pt x="179" y="168"/>
                  </a:cubicBezTo>
                  <a:cubicBezTo>
                    <a:pt x="180" y="167"/>
                    <a:pt x="180" y="166"/>
                    <a:pt x="180" y="166"/>
                  </a:cubicBezTo>
                  <a:cubicBezTo>
                    <a:pt x="183" y="163"/>
                    <a:pt x="183" y="159"/>
                    <a:pt x="183" y="156"/>
                  </a:cubicBezTo>
                  <a:cubicBezTo>
                    <a:pt x="183" y="156"/>
                    <a:pt x="183" y="156"/>
                    <a:pt x="183" y="156"/>
                  </a:cubicBezTo>
                  <a:cubicBezTo>
                    <a:pt x="183" y="155"/>
                    <a:pt x="183" y="155"/>
                    <a:pt x="183" y="154"/>
                  </a:cubicBezTo>
                  <a:cubicBezTo>
                    <a:pt x="183" y="154"/>
                    <a:pt x="183" y="153"/>
                    <a:pt x="183" y="153"/>
                  </a:cubicBezTo>
                  <a:cubicBezTo>
                    <a:pt x="183" y="153"/>
                    <a:pt x="183" y="153"/>
                    <a:pt x="183" y="153"/>
                  </a:cubicBezTo>
                  <a:lnTo>
                    <a:pt x="184" y="151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2266" y="1419"/>
              <a:ext cx="714" cy="835"/>
            </a:xfrm>
            <a:custGeom>
              <a:avLst/>
              <a:gdLst>
                <a:gd name="T0" fmla="*/ 455 w 466"/>
                <a:gd name="T1" fmla="*/ 330 h 545"/>
                <a:gd name="T2" fmla="*/ 439 w 466"/>
                <a:gd name="T3" fmla="*/ 316 h 545"/>
                <a:gd name="T4" fmla="*/ 429 w 466"/>
                <a:gd name="T5" fmla="*/ 281 h 545"/>
                <a:gd name="T6" fmla="*/ 363 w 466"/>
                <a:gd name="T7" fmla="*/ 272 h 545"/>
                <a:gd name="T8" fmla="*/ 353 w 466"/>
                <a:gd name="T9" fmla="*/ 207 h 545"/>
                <a:gd name="T10" fmla="*/ 337 w 466"/>
                <a:gd name="T11" fmla="*/ 167 h 545"/>
                <a:gd name="T12" fmla="*/ 307 w 466"/>
                <a:gd name="T13" fmla="*/ 160 h 545"/>
                <a:gd name="T14" fmla="*/ 278 w 466"/>
                <a:gd name="T15" fmla="*/ 144 h 545"/>
                <a:gd name="T16" fmla="*/ 252 w 466"/>
                <a:gd name="T17" fmla="*/ 133 h 545"/>
                <a:gd name="T18" fmla="*/ 238 w 466"/>
                <a:gd name="T19" fmla="*/ 126 h 545"/>
                <a:gd name="T20" fmla="*/ 218 w 466"/>
                <a:gd name="T21" fmla="*/ 117 h 545"/>
                <a:gd name="T22" fmla="*/ 197 w 466"/>
                <a:gd name="T23" fmla="*/ 115 h 545"/>
                <a:gd name="T24" fmla="*/ 192 w 466"/>
                <a:gd name="T25" fmla="*/ 107 h 545"/>
                <a:gd name="T26" fmla="*/ 171 w 466"/>
                <a:gd name="T27" fmla="*/ 92 h 545"/>
                <a:gd name="T28" fmla="*/ 158 w 466"/>
                <a:gd name="T29" fmla="*/ 64 h 545"/>
                <a:gd name="T30" fmla="*/ 154 w 466"/>
                <a:gd name="T31" fmla="*/ 36 h 545"/>
                <a:gd name="T32" fmla="*/ 156 w 466"/>
                <a:gd name="T33" fmla="*/ 8 h 545"/>
                <a:gd name="T34" fmla="*/ 147 w 466"/>
                <a:gd name="T35" fmla="*/ 4 h 545"/>
                <a:gd name="T36" fmla="*/ 135 w 466"/>
                <a:gd name="T37" fmla="*/ 1 h 545"/>
                <a:gd name="T38" fmla="*/ 98 w 466"/>
                <a:gd name="T39" fmla="*/ 16 h 545"/>
                <a:gd name="T40" fmla="*/ 66 w 466"/>
                <a:gd name="T41" fmla="*/ 41 h 545"/>
                <a:gd name="T42" fmla="*/ 43 w 466"/>
                <a:gd name="T43" fmla="*/ 56 h 545"/>
                <a:gd name="T44" fmla="*/ 33 w 466"/>
                <a:gd name="T45" fmla="*/ 53 h 545"/>
                <a:gd name="T46" fmla="*/ 6 w 466"/>
                <a:gd name="T47" fmla="*/ 55 h 545"/>
                <a:gd name="T48" fmla="*/ 33 w 466"/>
                <a:gd name="T49" fmla="*/ 130 h 545"/>
                <a:gd name="T50" fmla="*/ 36 w 466"/>
                <a:gd name="T51" fmla="*/ 176 h 545"/>
                <a:gd name="T52" fmla="*/ 33 w 466"/>
                <a:gd name="T53" fmla="*/ 200 h 545"/>
                <a:gd name="T54" fmla="*/ 28 w 466"/>
                <a:gd name="T55" fmla="*/ 241 h 545"/>
                <a:gd name="T56" fmla="*/ 46 w 466"/>
                <a:gd name="T57" fmla="*/ 279 h 545"/>
                <a:gd name="T58" fmla="*/ 28 w 466"/>
                <a:gd name="T59" fmla="*/ 310 h 545"/>
                <a:gd name="T60" fmla="*/ 33 w 466"/>
                <a:gd name="T61" fmla="*/ 327 h 545"/>
                <a:gd name="T62" fmla="*/ 44 w 466"/>
                <a:gd name="T63" fmla="*/ 342 h 545"/>
                <a:gd name="T64" fmla="*/ 50 w 466"/>
                <a:gd name="T65" fmla="*/ 352 h 545"/>
                <a:gd name="T66" fmla="*/ 64 w 466"/>
                <a:gd name="T67" fmla="*/ 387 h 545"/>
                <a:gd name="T68" fmla="*/ 76 w 466"/>
                <a:gd name="T69" fmla="*/ 410 h 545"/>
                <a:gd name="T70" fmla="*/ 72 w 466"/>
                <a:gd name="T71" fmla="*/ 432 h 545"/>
                <a:gd name="T72" fmla="*/ 84 w 466"/>
                <a:gd name="T73" fmla="*/ 455 h 545"/>
                <a:gd name="T74" fmla="*/ 94 w 466"/>
                <a:gd name="T75" fmla="*/ 472 h 545"/>
                <a:gd name="T76" fmla="*/ 109 w 466"/>
                <a:gd name="T77" fmla="*/ 511 h 545"/>
                <a:gd name="T78" fmla="*/ 117 w 466"/>
                <a:gd name="T79" fmla="*/ 534 h 545"/>
                <a:gd name="T80" fmla="*/ 135 w 466"/>
                <a:gd name="T81" fmla="*/ 543 h 545"/>
                <a:gd name="T82" fmla="*/ 145 w 466"/>
                <a:gd name="T83" fmla="*/ 536 h 545"/>
                <a:gd name="T84" fmla="*/ 169 w 466"/>
                <a:gd name="T85" fmla="*/ 508 h 545"/>
                <a:gd name="T86" fmla="*/ 186 w 466"/>
                <a:gd name="T87" fmla="*/ 511 h 545"/>
                <a:gd name="T88" fmla="*/ 217 w 466"/>
                <a:gd name="T89" fmla="*/ 513 h 545"/>
                <a:gd name="T90" fmla="*/ 245 w 466"/>
                <a:gd name="T91" fmla="*/ 530 h 545"/>
                <a:gd name="T92" fmla="*/ 253 w 466"/>
                <a:gd name="T93" fmla="*/ 510 h 545"/>
                <a:gd name="T94" fmla="*/ 292 w 466"/>
                <a:gd name="T95" fmla="*/ 509 h 545"/>
                <a:gd name="T96" fmla="*/ 302 w 466"/>
                <a:gd name="T97" fmla="*/ 504 h 545"/>
                <a:gd name="T98" fmla="*/ 323 w 466"/>
                <a:gd name="T99" fmla="*/ 412 h 545"/>
                <a:gd name="T100" fmla="*/ 379 w 466"/>
                <a:gd name="T101" fmla="*/ 398 h 545"/>
                <a:gd name="T102" fmla="*/ 426 w 466"/>
                <a:gd name="T103" fmla="*/ 404 h 545"/>
                <a:gd name="T104" fmla="*/ 447 w 466"/>
                <a:gd name="T105" fmla="*/ 419 h 545"/>
                <a:gd name="T106" fmla="*/ 457 w 466"/>
                <a:gd name="T107" fmla="*/ 420 h 545"/>
                <a:gd name="T108" fmla="*/ 461 w 466"/>
                <a:gd name="T109" fmla="*/ 385 h 545"/>
                <a:gd name="T110" fmla="*/ 464 w 466"/>
                <a:gd name="T111" fmla="*/ 358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66" h="545">
                  <a:moveTo>
                    <a:pt x="464" y="349"/>
                  </a:moveTo>
                  <a:cubicBezTo>
                    <a:pt x="463" y="349"/>
                    <a:pt x="462" y="348"/>
                    <a:pt x="462" y="347"/>
                  </a:cubicBezTo>
                  <a:cubicBezTo>
                    <a:pt x="461" y="345"/>
                    <a:pt x="460" y="344"/>
                    <a:pt x="460" y="342"/>
                  </a:cubicBezTo>
                  <a:cubicBezTo>
                    <a:pt x="460" y="340"/>
                    <a:pt x="460" y="339"/>
                    <a:pt x="459" y="338"/>
                  </a:cubicBezTo>
                  <a:cubicBezTo>
                    <a:pt x="458" y="336"/>
                    <a:pt x="458" y="336"/>
                    <a:pt x="458" y="336"/>
                  </a:cubicBezTo>
                  <a:cubicBezTo>
                    <a:pt x="457" y="334"/>
                    <a:pt x="456" y="333"/>
                    <a:pt x="455" y="330"/>
                  </a:cubicBezTo>
                  <a:cubicBezTo>
                    <a:pt x="455" y="325"/>
                    <a:pt x="452" y="324"/>
                    <a:pt x="449" y="324"/>
                  </a:cubicBezTo>
                  <a:cubicBezTo>
                    <a:pt x="446" y="323"/>
                    <a:pt x="444" y="323"/>
                    <a:pt x="442" y="321"/>
                  </a:cubicBezTo>
                  <a:cubicBezTo>
                    <a:pt x="441" y="320"/>
                    <a:pt x="441" y="319"/>
                    <a:pt x="440" y="318"/>
                  </a:cubicBezTo>
                  <a:cubicBezTo>
                    <a:pt x="440" y="318"/>
                    <a:pt x="440" y="317"/>
                    <a:pt x="439" y="317"/>
                  </a:cubicBezTo>
                  <a:cubicBezTo>
                    <a:pt x="439" y="317"/>
                    <a:pt x="439" y="317"/>
                    <a:pt x="439" y="317"/>
                  </a:cubicBezTo>
                  <a:cubicBezTo>
                    <a:pt x="439" y="316"/>
                    <a:pt x="439" y="316"/>
                    <a:pt x="439" y="316"/>
                  </a:cubicBezTo>
                  <a:cubicBezTo>
                    <a:pt x="439" y="316"/>
                    <a:pt x="438" y="316"/>
                    <a:pt x="437" y="316"/>
                  </a:cubicBezTo>
                  <a:cubicBezTo>
                    <a:pt x="437" y="316"/>
                    <a:pt x="436" y="316"/>
                    <a:pt x="435" y="315"/>
                  </a:cubicBezTo>
                  <a:cubicBezTo>
                    <a:pt x="432" y="314"/>
                    <a:pt x="431" y="311"/>
                    <a:pt x="430" y="308"/>
                  </a:cubicBezTo>
                  <a:cubicBezTo>
                    <a:pt x="428" y="304"/>
                    <a:pt x="425" y="295"/>
                    <a:pt x="425" y="289"/>
                  </a:cubicBezTo>
                  <a:cubicBezTo>
                    <a:pt x="426" y="287"/>
                    <a:pt x="426" y="285"/>
                    <a:pt x="427" y="283"/>
                  </a:cubicBezTo>
                  <a:cubicBezTo>
                    <a:pt x="428" y="282"/>
                    <a:pt x="428" y="282"/>
                    <a:pt x="429" y="281"/>
                  </a:cubicBezTo>
                  <a:cubicBezTo>
                    <a:pt x="430" y="277"/>
                    <a:pt x="430" y="275"/>
                    <a:pt x="429" y="274"/>
                  </a:cubicBezTo>
                  <a:cubicBezTo>
                    <a:pt x="428" y="273"/>
                    <a:pt x="426" y="272"/>
                    <a:pt x="422" y="272"/>
                  </a:cubicBezTo>
                  <a:cubicBezTo>
                    <a:pt x="420" y="272"/>
                    <a:pt x="420" y="272"/>
                    <a:pt x="420" y="272"/>
                  </a:cubicBezTo>
                  <a:cubicBezTo>
                    <a:pt x="409" y="272"/>
                    <a:pt x="398" y="272"/>
                    <a:pt x="387" y="272"/>
                  </a:cubicBezTo>
                  <a:cubicBezTo>
                    <a:pt x="364" y="272"/>
                    <a:pt x="364" y="272"/>
                    <a:pt x="364" y="272"/>
                  </a:cubicBezTo>
                  <a:cubicBezTo>
                    <a:pt x="363" y="272"/>
                    <a:pt x="363" y="272"/>
                    <a:pt x="363" y="272"/>
                  </a:cubicBezTo>
                  <a:cubicBezTo>
                    <a:pt x="358" y="238"/>
                    <a:pt x="358" y="238"/>
                    <a:pt x="358" y="238"/>
                  </a:cubicBezTo>
                  <a:cubicBezTo>
                    <a:pt x="343" y="224"/>
                    <a:pt x="343" y="224"/>
                    <a:pt x="343" y="224"/>
                  </a:cubicBezTo>
                  <a:cubicBezTo>
                    <a:pt x="343" y="224"/>
                    <a:pt x="343" y="223"/>
                    <a:pt x="343" y="223"/>
                  </a:cubicBezTo>
                  <a:cubicBezTo>
                    <a:pt x="343" y="223"/>
                    <a:pt x="343" y="223"/>
                    <a:pt x="344" y="223"/>
                  </a:cubicBezTo>
                  <a:cubicBezTo>
                    <a:pt x="353" y="223"/>
                    <a:pt x="353" y="223"/>
                    <a:pt x="353" y="223"/>
                  </a:cubicBezTo>
                  <a:cubicBezTo>
                    <a:pt x="353" y="207"/>
                    <a:pt x="353" y="207"/>
                    <a:pt x="353" y="207"/>
                  </a:cubicBezTo>
                  <a:cubicBezTo>
                    <a:pt x="353" y="206"/>
                    <a:pt x="353" y="204"/>
                    <a:pt x="352" y="202"/>
                  </a:cubicBezTo>
                  <a:cubicBezTo>
                    <a:pt x="351" y="200"/>
                    <a:pt x="350" y="198"/>
                    <a:pt x="349" y="196"/>
                  </a:cubicBezTo>
                  <a:cubicBezTo>
                    <a:pt x="347" y="193"/>
                    <a:pt x="346" y="191"/>
                    <a:pt x="345" y="188"/>
                  </a:cubicBezTo>
                  <a:cubicBezTo>
                    <a:pt x="343" y="185"/>
                    <a:pt x="344" y="184"/>
                    <a:pt x="345" y="182"/>
                  </a:cubicBezTo>
                  <a:cubicBezTo>
                    <a:pt x="345" y="181"/>
                    <a:pt x="346" y="180"/>
                    <a:pt x="346" y="179"/>
                  </a:cubicBezTo>
                  <a:cubicBezTo>
                    <a:pt x="348" y="174"/>
                    <a:pt x="342" y="170"/>
                    <a:pt x="337" y="167"/>
                  </a:cubicBezTo>
                  <a:cubicBezTo>
                    <a:pt x="335" y="166"/>
                    <a:pt x="334" y="165"/>
                    <a:pt x="333" y="165"/>
                  </a:cubicBezTo>
                  <a:cubicBezTo>
                    <a:pt x="329" y="162"/>
                    <a:pt x="326" y="159"/>
                    <a:pt x="321" y="159"/>
                  </a:cubicBezTo>
                  <a:cubicBezTo>
                    <a:pt x="320" y="159"/>
                    <a:pt x="320" y="159"/>
                    <a:pt x="320" y="159"/>
                  </a:cubicBezTo>
                  <a:cubicBezTo>
                    <a:pt x="319" y="159"/>
                    <a:pt x="317" y="159"/>
                    <a:pt x="315" y="160"/>
                  </a:cubicBezTo>
                  <a:cubicBezTo>
                    <a:pt x="313" y="160"/>
                    <a:pt x="312" y="160"/>
                    <a:pt x="310" y="160"/>
                  </a:cubicBezTo>
                  <a:cubicBezTo>
                    <a:pt x="309" y="160"/>
                    <a:pt x="308" y="160"/>
                    <a:pt x="307" y="160"/>
                  </a:cubicBezTo>
                  <a:cubicBezTo>
                    <a:pt x="305" y="160"/>
                    <a:pt x="304" y="160"/>
                    <a:pt x="302" y="159"/>
                  </a:cubicBezTo>
                  <a:cubicBezTo>
                    <a:pt x="298" y="159"/>
                    <a:pt x="295" y="159"/>
                    <a:pt x="293" y="158"/>
                  </a:cubicBezTo>
                  <a:cubicBezTo>
                    <a:pt x="290" y="157"/>
                    <a:pt x="286" y="152"/>
                    <a:pt x="284" y="150"/>
                  </a:cubicBezTo>
                  <a:cubicBezTo>
                    <a:pt x="284" y="149"/>
                    <a:pt x="283" y="148"/>
                    <a:pt x="283" y="147"/>
                  </a:cubicBezTo>
                  <a:cubicBezTo>
                    <a:pt x="282" y="146"/>
                    <a:pt x="282" y="145"/>
                    <a:pt x="281" y="145"/>
                  </a:cubicBezTo>
                  <a:cubicBezTo>
                    <a:pt x="280" y="144"/>
                    <a:pt x="280" y="144"/>
                    <a:pt x="278" y="144"/>
                  </a:cubicBezTo>
                  <a:cubicBezTo>
                    <a:pt x="278" y="144"/>
                    <a:pt x="278" y="144"/>
                    <a:pt x="277" y="144"/>
                  </a:cubicBezTo>
                  <a:cubicBezTo>
                    <a:pt x="277" y="144"/>
                    <a:pt x="276" y="144"/>
                    <a:pt x="275" y="144"/>
                  </a:cubicBezTo>
                  <a:cubicBezTo>
                    <a:pt x="275" y="144"/>
                    <a:pt x="275" y="144"/>
                    <a:pt x="275" y="144"/>
                  </a:cubicBezTo>
                  <a:cubicBezTo>
                    <a:pt x="272" y="144"/>
                    <a:pt x="268" y="142"/>
                    <a:pt x="263" y="139"/>
                  </a:cubicBezTo>
                  <a:cubicBezTo>
                    <a:pt x="262" y="138"/>
                    <a:pt x="260" y="138"/>
                    <a:pt x="259" y="137"/>
                  </a:cubicBezTo>
                  <a:cubicBezTo>
                    <a:pt x="257" y="136"/>
                    <a:pt x="254" y="135"/>
                    <a:pt x="252" y="133"/>
                  </a:cubicBezTo>
                  <a:cubicBezTo>
                    <a:pt x="251" y="132"/>
                    <a:pt x="250" y="130"/>
                    <a:pt x="249" y="129"/>
                  </a:cubicBezTo>
                  <a:cubicBezTo>
                    <a:pt x="246" y="125"/>
                    <a:pt x="245" y="124"/>
                    <a:pt x="244" y="123"/>
                  </a:cubicBezTo>
                  <a:cubicBezTo>
                    <a:pt x="243" y="126"/>
                    <a:pt x="243" y="126"/>
                    <a:pt x="243" y="126"/>
                  </a:cubicBezTo>
                  <a:cubicBezTo>
                    <a:pt x="241" y="125"/>
                    <a:pt x="241" y="125"/>
                    <a:pt x="241" y="125"/>
                  </a:cubicBezTo>
                  <a:cubicBezTo>
                    <a:pt x="240" y="126"/>
                    <a:pt x="239" y="126"/>
                    <a:pt x="238" y="126"/>
                  </a:cubicBezTo>
                  <a:cubicBezTo>
                    <a:pt x="238" y="126"/>
                    <a:pt x="238" y="126"/>
                    <a:pt x="238" y="126"/>
                  </a:cubicBezTo>
                  <a:cubicBezTo>
                    <a:pt x="236" y="126"/>
                    <a:pt x="235" y="125"/>
                    <a:pt x="234" y="124"/>
                  </a:cubicBezTo>
                  <a:cubicBezTo>
                    <a:pt x="234" y="123"/>
                    <a:pt x="233" y="123"/>
                    <a:pt x="233" y="122"/>
                  </a:cubicBezTo>
                  <a:cubicBezTo>
                    <a:pt x="232" y="121"/>
                    <a:pt x="232" y="121"/>
                    <a:pt x="232" y="121"/>
                  </a:cubicBezTo>
                  <a:cubicBezTo>
                    <a:pt x="226" y="116"/>
                    <a:pt x="224" y="115"/>
                    <a:pt x="223" y="115"/>
                  </a:cubicBezTo>
                  <a:cubicBezTo>
                    <a:pt x="222" y="115"/>
                    <a:pt x="222" y="115"/>
                    <a:pt x="222" y="115"/>
                  </a:cubicBezTo>
                  <a:cubicBezTo>
                    <a:pt x="220" y="115"/>
                    <a:pt x="219" y="116"/>
                    <a:pt x="218" y="117"/>
                  </a:cubicBezTo>
                  <a:cubicBezTo>
                    <a:pt x="217" y="118"/>
                    <a:pt x="215" y="119"/>
                    <a:pt x="213" y="119"/>
                  </a:cubicBezTo>
                  <a:cubicBezTo>
                    <a:pt x="213" y="119"/>
                    <a:pt x="212" y="119"/>
                    <a:pt x="211" y="118"/>
                  </a:cubicBezTo>
                  <a:cubicBezTo>
                    <a:pt x="210" y="118"/>
                    <a:pt x="209" y="117"/>
                    <a:pt x="209" y="117"/>
                  </a:cubicBezTo>
                  <a:cubicBezTo>
                    <a:pt x="207" y="116"/>
                    <a:pt x="206" y="116"/>
                    <a:pt x="204" y="116"/>
                  </a:cubicBezTo>
                  <a:cubicBezTo>
                    <a:pt x="204" y="115"/>
                    <a:pt x="203" y="115"/>
                    <a:pt x="201" y="115"/>
                  </a:cubicBezTo>
                  <a:cubicBezTo>
                    <a:pt x="200" y="115"/>
                    <a:pt x="198" y="115"/>
                    <a:pt x="197" y="115"/>
                  </a:cubicBezTo>
                  <a:cubicBezTo>
                    <a:pt x="194" y="114"/>
                    <a:pt x="194" y="113"/>
                    <a:pt x="194" y="112"/>
                  </a:cubicBezTo>
                  <a:cubicBezTo>
                    <a:pt x="194" y="111"/>
                    <a:pt x="194" y="110"/>
                    <a:pt x="194" y="109"/>
                  </a:cubicBezTo>
                  <a:cubicBezTo>
                    <a:pt x="194" y="108"/>
                    <a:pt x="193" y="108"/>
                    <a:pt x="193" y="107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2" y="107"/>
                    <a:pt x="192" y="107"/>
                    <a:pt x="192" y="107"/>
                  </a:cubicBezTo>
                  <a:cubicBezTo>
                    <a:pt x="191" y="106"/>
                    <a:pt x="190" y="106"/>
                    <a:pt x="190" y="105"/>
                  </a:cubicBezTo>
                  <a:cubicBezTo>
                    <a:pt x="189" y="105"/>
                    <a:pt x="188" y="104"/>
                    <a:pt x="186" y="103"/>
                  </a:cubicBezTo>
                  <a:cubicBezTo>
                    <a:pt x="184" y="101"/>
                    <a:pt x="182" y="99"/>
                    <a:pt x="179" y="98"/>
                  </a:cubicBezTo>
                  <a:cubicBezTo>
                    <a:pt x="178" y="97"/>
                    <a:pt x="177" y="97"/>
                    <a:pt x="177" y="97"/>
                  </a:cubicBezTo>
                  <a:cubicBezTo>
                    <a:pt x="175" y="97"/>
                    <a:pt x="174" y="96"/>
                    <a:pt x="173" y="95"/>
                  </a:cubicBezTo>
                  <a:cubicBezTo>
                    <a:pt x="172" y="95"/>
                    <a:pt x="171" y="93"/>
                    <a:pt x="171" y="92"/>
                  </a:cubicBezTo>
                  <a:cubicBezTo>
                    <a:pt x="170" y="91"/>
                    <a:pt x="170" y="91"/>
                    <a:pt x="170" y="90"/>
                  </a:cubicBezTo>
                  <a:cubicBezTo>
                    <a:pt x="168" y="88"/>
                    <a:pt x="168" y="88"/>
                    <a:pt x="168" y="88"/>
                  </a:cubicBezTo>
                  <a:cubicBezTo>
                    <a:pt x="163" y="83"/>
                    <a:pt x="159" y="77"/>
                    <a:pt x="158" y="71"/>
                  </a:cubicBezTo>
                  <a:cubicBezTo>
                    <a:pt x="158" y="70"/>
                    <a:pt x="159" y="69"/>
                    <a:pt x="159" y="68"/>
                  </a:cubicBezTo>
                  <a:cubicBezTo>
                    <a:pt x="159" y="68"/>
                    <a:pt x="159" y="67"/>
                    <a:pt x="159" y="66"/>
                  </a:cubicBezTo>
                  <a:cubicBezTo>
                    <a:pt x="159" y="66"/>
                    <a:pt x="159" y="65"/>
                    <a:pt x="158" y="64"/>
                  </a:cubicBezTo>
                  <a:cubicBezTo>
                    <a:pt x="158" y="64"/>
                    <a:pt x="158" y="63"/>
                    <a:pt x="157" y="63"/>
                  </a:cubicBezTo>
                  <a:cubicBezTo>
                    <a:pt x="157" y="60"/>
                    <a:pt x="157" y="58"/>
                    <a:pt x="158" y="55"/>
                  </a:cubicBezTo>
                  <a:cubicBezTo>
                    <a:pt x="158" y="54"/>
                    <a:pt x="158" y="53"/>
                    <a:pt x="158" y="52"/>
                  </a:cubicBezTo>
                  <a:cubicBezTo>
                    <a:pt x="158" y="49"/>
                    <a:pt x="158" y="45"/>
                    <a:pt x="157" y="43"/>
                  </a:cubicBezTo>
                  <a:cubicBezTo>
                    <a:pt x="157" y="42"/>
                    <a:pt x="156" y="41"/>
                    <a:pt x="156" y="40"/>
                  </a:cubicBezTo>
                  <a:cubicBezTo>
                    <a:pt x="155" y="39"/>
                    <a:pt x="154" y="38"/>
                    <a:pt x="154" y="36"/>
                  </a:cubicBezTo>
                  <a:cubicBezTo>
                    <a:pt x="154" y="34"/>
                    <a:pt x="155" y="29"/>
                    <a:pt x="156" y="27"/>
                  </a:cubicBezTo>
                  <a:cubicBezTo>
                    <a:pt x="156" y="26"/>
                    <a:pt x="157" y="25"/>
                    <a:pt x="157" y="25"/>
                  </a:cubicBezTo>
                  <a:cubicBezTo>
                    <a:pt x="158" y="23"/>
                    <a:pt x="159" y="22"/>
                    <a:pt x="159" y="20"/>
                  </a:cubicBezTo>
                  <a:cubicBezTo>
                    <a:pt x="158" y="18"/>
                    <a:pt x="158" y="17"/>
                    <a:pt x="157" y="16"/>
                  </a:cubicBezTo>
                  <a:cubicBezTo>
                    <a:pt x="157" y="15"/>
                    <a:pt x="156" y="14"/>
                    <a:pt x="156" y="12"/>
                  </a:cubicBezTo>
                  <a:cubicBezTo>
                    <a:pt x="156" y="11"/>
                    <a:pt x="156" y="9"/>
                    <a:pt x="156" y="8"/>
                  </a:cubicBezTo>
                  <a:cubicBezTo>
                    <a:pt x="155" y="5"/>
                    <a:pt x="155" y="2"/>
                    <a:pt x="154" y="1"/>
                  </a:cubicBezTo>
                  <a:cubicBezTo>
                    <a:pt x="154" y="1"/>
                    <a:pt x="153" y="1"/>
                    <a:pt x="152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0" y="2"/>
                    <a:pt x="150" y="2"/>
                    <a:pt x="150" y="2"/>
                  </a:cubicBezTo>
                  <a:cubicBezTo>
                    <a:pt x="149" y="4"/>
                    <a:pt x="148" y="4"/>
                    <a:pt x="147" y="4"/>
                  </a:cubicBezTo>
                  <a:cubicBezTo>
                    <a:pt x="147" y="4"/>
                    <a:pt x="147" y="4"/>
                    <a:pt x="147" y="4"/>
                  </a:cubicBezTo>
                  <a:cubicBezTo>
                    <a:pt x="146" y="4"/>
                    <a:pt x="145" y="4"/>
                    <a:pt x="144" y="3"/>
                  </a:cubicBezTo>
                  <a:cubicBezTo>
                    <a:pt x="143" y="2"/>
                    <a:pt x="143" y="2"/>
                    <a:pt x="142" y="1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0"/>
                    <a:pt x="138" y="0"/>
                    <a:pt x="137" y="1"/>
                  </a:cubicBezTo>
                  <a:cubicBezTo>
                    <a:pt x="136" y="1"/>
                    <a:pt x="136" y="1"/>
                    <a:pt x="135" y="1"/>
                  </a:cubicBezTo>
                  <a:cubicBezTo>
                    <a:pt x="132" y="2"/>
                    <a:pt x="128" y="3"/>
                    <a:pt x="124" y="4"/>
                  </a:cubicBezTo>
                  <a:cubicBezTo>
                    <a:pt x="122" y="5"/>
                    <a:pt x="120" y="5"/>
                    <a:pt x="118" y="6"/>
                  </a:cubicBezTo>
                  <a:cubicBezTo>
                    <a:pt x="117" y="6"/>
                    <a:pt x="115" y="6"/>
                    <a:pt x="114" y="7"/>
                  </a:cubicBezTo>
                  <a:cubicBezTo>
                    <a:pt x="112" y="7"/>
                    <a:pt x="111" y="8"/>
                    <a:pt x="109" y="9"/>
                  </a:cubicBezTo>
                  <a:cubicBezTo>
                    <a:pt x="107" y="10"/>
                    <a:pt x="106" y="11"/>
                    <a:pt x="105" y="11"/>
                  </a:cubicBezTo>
                  <a:cubicBezTo>
                    <a:pt x="103" y="12"/>
                    <a:pt x="100" y="14"/>
                    <a:pt x="98" y="16"/>
                  </a:cubicBezTo>
                  <a:cubicBezTo>
                    <a:pt x="98" y="17"/>
                    <a:pt x="97" y="18"/>
                    <a:pt x="96" y="19"/>
                  </a:cubicBezTo>
                  <a:cubicBezTo>
                    <a:pt x="95" y="21"/>
                    <a:pt x="94" y="22"/>
                    <a:pt x="92" y="23"/>
                  </a:cubicBezTo>
                  <a:cubicBezTo>
                    <a:pt x="90" y="25"/>
                    <a:pt x="89" y="25"/>
                    <a:pt x="87" y="25"/>
                  </a:cubicBezTo>
                  <a:cubicBezTo>
                    <a:pt x="86" y="26"/>
                    <a:pt x="85" y="26"/>
                    <a:pt x="84" y="26"/>
                  </a:cubicBezTo>
                  <a:cubicBezTo>
                    <a:pt x="79" y="29"/>
                    <a:pt x="76" y="32"/>
                    <a:pt x="73" y="37"/>
                  </a:cubicBezTo>
                  <a:cubicBezTo>
                    <a:pt x="71" y="40"/>
                    <a:pt x="68" y="41"/>
                    <a:pt x="66" y="41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1" y="40"/>
                    <a:pt x="60" y="41"/>
                    <a:pt x="58" y="42"/>
                  </a:cubicBezTo>
                  <a:cubicBezTo>
                    <a:pt x="56" y="44"/>
                    <a:pt x="55" y="46"/>
                    <a:pt x="54" y="48"/>
                  </a:cubicBezTo>
                  <a:cubicBezTo>
                    <a:pt x="52" y="51"/>
                    <a:pt x="51" y="54"/>
                    <a:pt x="47" y="55"/>
                  </a:cubicBezTo>
                  <a:cubicBezTo>
                    <a:pt x="46" y="56"/>
                    <a:pt x="46" y="56"/>
                    <a:pt x="45" y="56"/>
                  </a:cubicBezTo>
                  <a:cubicBezTo>
                    <a:pt x="44" y="56"/>
                    <a:pt x="43" y="56"/>
                    <a:pt x="43" y="56"/>
                  </a:cubicBezTo>
                  <a:cubicBezTo>
                    <a:pt x="42" y="57"/>
                    <a:pt x="42" y="57"/>
                    <a:pt x="41" y="58"/>
                  </a:cubicBezTo>
                  <a:cubicBezTo>
                    <a:pt x="41" y="58"/>
                    <a:pt x="40" y="59"/>
                    <a:pt x="39" y="60"/>
                  </a:cubicBezTo>
                  <a:cubicBezTo>
                    <a:pt x="38" y="60"/>
                    <a:pt x="37" y="60"/>
                    <a:pt x="37" y="60"/>
                  </a:cubicBezTo>
                  <a:cubicBezTo>
                    <a:pt x="36" y="60"/>
                    <a:pt x="35" y="60"/>
                    <a:pt x="35" y="59"/>
                  </a:cubicBezTo>
                  <a:cubicBezTo>
                    <a:pt x="34" y="59"/>
                    <a:pt x="34" y="58"/>
                    <a:pt x="34" y="57"/>
                  </a:cubicBezTo>
                  <a:cubicBezTo>
                    <a:pt x="34" y="56"/>
                    <a:pt x="33" y="54"/>
                    <a:pt x="33" y="53"/>
                  </a:cubicBezTo>
                  <a:cubicBezTo>
                    <a:pt x="32" y="52"/>
                    <a:pt x="30" y="51"/>
                    <a:pt x="18" y="51"/>
                  </a:cubicBezTo>
                  <a:cubicBezTo>
                    <a:pt x="17" y="51"/>
                    <a:pt x="17" y="51"/>
                    <a:pt x="16" y="51"/>
                  </a:cubicBezTo>
                  <a:cubicBezTo>
                    <a:pt x="15" y="51"/>
                    <a:pt x="13" y="51"/>
                    <a:pt x="12" y="51"/>
                  </a:cubicBezTo>
                  <a:cubicBezTo>
                    <a:pt x="10" y="50"/>
                    <a:pt x="8" y="50"/>
                    <a:pt x="7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6" y="55"/>
                    <a:pt x="6" y="55"/>
                    <a:pt x="6" y="55"/>
                  </a:cubicBezTo>
                  <a:cubicBezTo>
                    <a:pt x="6" y="55"/>
                    <a:pt x="6" y="55"/>
                    <a:pt x="7" y="56"/>
                  </a:cubicBezTo>
                  <a:cubicBezTo>
                    <a:pt x="16" y="67"/>
                    <a:pt x="23" y="80"/>
                    <a:pt x="30" y="92"/>
                  </a:cubicBezTo>
                  <a:cubicBezTo>
                    <a:pt x="32" y="95"/>
                    <a:pt x="33" y="97"/>
                    <a:pt x="35" y="100"/>
                  </a:cubicBezTo>
                  <a:cubicBezTo>
                    <a:pt x="40" y="109"/>
                    <a:pt x="42" y="117"/>
                    <a:pt x="41" y="121"/>
                  </a:cubicBezTo>
                  <a:cubicBezTo>
                    <a:pt x="40" y="123"/>
                    <a:pt x="38" y="125"/>
                    <a:pt x="37" y="126"/>
                  </a:cubicBezTo>
                  <a:cubicBezTo>
                    <a:pt x="35" y="127"/>
                    <a:pt x="34" y="129"/>
                    <a:pt x="33" y="130"/>
                  </a:cubicBezTo>
                  <a:cubicBezTo>
                    <a:pt x="31" y="134"/>
                    <a:pt x="32" y="137"/>
                    <a:pt x="32" y="141"/>
                  </a:cubicBezTo>
                  <a:cubicBezTo>
                    <a:pt x="33" y="142"/>
                    <a:pt x="33" y="142"/>
                    <a:pt x="33" y="142"/>
                  </a:cubicBezTo>
                  <a:cubicBezTo>
                    <a:pt x="33" y="146"/>
                    <a:pt x="33" y="150"/>
                    <a:pt x="33" y="154"/>
                  </a:cubicBezTo>
                  <a:cubicBezTo>
                    <a:pt x="32" y="159"/>
                    <a:pt x="32" y="164"/>
                    <a:pt x="33" y="168"/>
                  </a:cubicBezTo>
                  <a:cubicBezTo>
                    <a:pt x="34" y="170"/>
                    <a:pt x="34" y="170"/>
                    <a:pt x="34" y="170"/>
                  </a:cubicBezTo>
                  <a:cubicBezTo>
                    <a:pt x="35" y="172"/>
                    <a:pt x="35" y="174"/>
                    <a:pt x="36" y="176"/>
                  </a:cubicBezTo>
                  <a:cubicBezTo>
                    <a:pt x="37" y="177"/>
                    <a:pt x="37" y="177"/>
                    <a:pt x="38" y="178"/>
                  </a:cubicBezTo>
                  <a:cubicBezTo>
                    <a:pt x="39" y="179"/>
                    <a:pt x="40" y="181"/>
                    <a:pt x="41" y="183"/>
                  </a:cubicBezTo>
                  <a:cubicBezTo>
                    <a:pt x="41" y="185"/>
                    <a:pt x="40" y="186"/>
                    <a:pt x="39" y="186"/>
                  </a:cubicBezTo>
                  <a:cubicBezTo>
                    <a:pt x="39" y="187"/>
                    <a:pt x="38" y="187"/>
                    <a:pt x="38" y="187"/>
                  </a:cubicBezTo>
                  <a:cubicBezTo>
                    <a:pt x="36" y="189"/>
                    <a:pt x="36" y="191"/>
                    <a:pt x="36" y="193"/>
                  </a:cubicBezTo>
                  <a:cubicBezTo>
                    <a:pt x="35" y="196"/>
                    <a:pt x="35" y="198"/>
                    <a:pt x="33" y="200"/>
                  </a:cubicBezTo>
                  <a:cubicBezTo>
                    <a:pt x="32" y="200"/>
                    <a:pt x="32" y="201"/>
                    <a:pt x="31" y="202"/>
                  </a:cubicBezTo>
                  <a:cubicBezTo>
                    <a:pt x="28" y="205"/>
                    <a:pt x="26" y="208"/>
                    <a:pt x="25" y="212"/>
                  </a:cubicBezTo>
                  <a:cubicBezTo>
                    <a:pt x="24" y="216"/>
                    <a:pt x="27" y="219"/>
                    <a:pt x="29" y="222"/>
                  </a:cubicBezTo>
                  <a:cubicBezTo>
                    <a:pt x="31" y="224"/>
                    <a:pt x="34" y="227"/>
                    <a:pt x="33" y="231"/>
                  </a:cubicBezTo>
                  <a:cubicBezTo>
                    <a:pt x="33" y="233"/>
                    <a:pt x="32" y="235"/>
                    <a:pt x="30" y="237"/>
                  </a:cubicBezTo>
                  <a:cubicBezTo>
                    <a:pt x="29" y="238"/>
                    <a:pt x="28" y="240"/>
                    <a:pt x="28" y="241"/>
                  </a:cubicBezTo>
                  <a:cubicBezTo>
                    <a:pt x="27" y="245"/>
                    <a:pt x="29" y="249"/>
                    <a:pt x="31" y="253"/>
                  </a:cubicBezTo>
                  <a:cubicBezTo>
                    <a:pt x="32" y="255"/>
                    <a:pt x="33" y="257"/>
                    <a:pt x="33" y="258"/>
                  </a:cubicBezTo>
                  <a:cubicBezTo>
                    <a:pt x="34" y="261"/>
                    <a:pt x="36" y="264"/>
                    <a:pt x="38" y="267"/>
                  </a:cubicBezTo>
                  <a:cubicBezTo>
                    <a:pt x="39" y="268"/>
                    <a:pt x="41" y="268"/>
                    <a:pt x="42" y="269"/>
                  </a:cubicBezTo>
                  <a:cubicBezTo>
                    <a:pt x="43" y="270"/>
                    <a:pt x="45" y="270"/>
                    <a:pt x="46" y="272"/>
                  </a:cubicBezTo>
                  <a:cubicBezTo>
                    <a:pt x="48" y="275"/>
                    <a:pt x="47" y="277"/>
                    <a:pt x="46" y="279"/>
                  </a:cubicBezTo>
                  <a:cubicBezTo>
                    <a:pt x="45" y="280"/>
                    <a:pt x="45" y="281"/>
                    <a:pt x="45" y="282"/>
                  </a:cubicBezTo>
                  <a:cubicBezTo>
                    <a:pt x="44" y="284"/>
                    <a:pt x="45" y="285"/>
                    <a:pt x="45" y="286"/>
                  </a:cubicBezTo>
                  <a:cubicBezTo>
                    <a:pt x="45" y="288"/>
                    <a:pt x="45" y="289"/>
                    <a:pt x="43" y="292"/>
                  </a:cubicBezTo>
                  <a:cubicBezTo>
                    <a:pt x="41" y="295"/>
                    <a:pt x="38" y="299"/>
                    <a:pt x="34" y="303"/>
                  </a:cubicBezTo>
                  <a:cubicBezTo>
                    <a:pt x="33" y="304"/>
                    <a:pt x="31" y="306"/>
                    <a:pt x="30" y="308"/>
                  </a:cubicBezTo>
                  <a:cubicBezTo>
                    <a:pt x="29" y="308"/>
                    <a:pt x="28" y="309"/>
                    <a:pt x="28" y="310"/>
                  </a:cubicBezTo>
                  <a:cubicBezTo>
                    <a:pt x="27" y="312"/>
                    <a:pt x="27" y="312"/>
                    <a:pt x="27" y="312"/>
                  </a:cubicBezTo>
                  <a:cubicBezTo>
                    <a:pt x="28" y="313"/>
                    <a:pt x="28" y="313"/>
                    <a:pt x="28" y="313"/>
                  </a:cubicBezTo>
                  <a:cubicBezTo>
                    <a:pt x="29" y="314"/>
                    <a:pt x="29" y="314"/>
                    <a:pt x="30" y="316"/>
                  </a:cubicBezTo>
                  <a:cubicBezTo>
                    <a:pt x="31" y="318"/>
                    <a:pt x="31" y="322"/>
                    <a:pt x="31" y="325"/>
                  </a:cubicBezTo>
                  <a:cubicBezTo>
                    <a:pt x="30" y="327"/>
                    <a:pt x="30" y="327"/>
                    <a:pt x="30" y="327"/>
                  </a:cubicBezTo>
                  <a:cubicBezTo>
                    <a:pt x="33" y="327"/>
                    <a:pt x="33" y="327"/>
                    <a:pt x="33" y="327"/>
                  </a:cubicBezTo>
                  <a:cubicBezTo>
                    <a:pt x="36" y="328"/>
                    <a:pt x="37" y="329"/>
                    <a:pt x="39" y="333"/>
                  </a:cubicBezTo>
                  <a:cubicBezTo>
                    <a:pt x="40" y="335"/>
                    <a:pt x="40" y="335"/>
                    <a:pt x="40" y="335"/>
                  </a:cubicBezTo>
                  <a:cubicBezTo>
                    <a:pt x="40" y="336"/>
                    <a:pt x="41" y="337"/>
                    <a:pt x="41" y="338"/>
                  </a:cubicBezTo>
                  <a:cubicBezTo>
                    <a:pt x="42" y="340"/>
                    <a:pt x="42" y="340"/>
                    <a:pt x="42" y="340"/>
                  </a:cubicBezTo>
                  <a:cubicBezTo>
                    <a:pt x="42" y="340"/>
                    <a:pt x="43" y="340"/>
                    <a:pt x="43" y="341"/>
                  </a:cubicBezTo>
                  <a:cubicBezTo>
                    <a:pt x="43" y="342"/>
                    <a:pt x="44" y="342"/>
                    <a:pt x="44" y="342"/>
                  </a:cubicBezTo>
                  <a:cubicBezTo>
                    <a:pt x="44" y="343"/>
                    <a:pt x="44" y="343"/>
                    <a:pt x="44" y="343"/>
                  </a:cubicBezTo>
                  <a:cubicBezTo>
                    <a:pt x="45" y="343"/>
                    <a:pt x="45" y="343"/>
                    <a:pt x="45" y="343"/>
                  </a:cubicBezTo>
                  <a:cubicBezTo>
                    <a:pt x="46" y="343"/>
                    <a:pt x="46" y="343"/>
                    <a:pt x="47" y="344"/>
                  </a:cubicBezTo>
                  <a:cubicBezTo>
                    <a:pt x="49" y="345"/>
                    <a:pt x="49" y="346"/>
                    <a:pt x="49" y="347"/>
                  </a:cubicBezTo>
                  <a:cubicBezTo>
                    <a:pt x="49" y="348"/>
                    <a:pt x="49" y="348"/>
                    <a:pt x="49" y="349"/>
                  </a:cubicBezTo>
                  <a:cubicBezTo>
                    <a:pt x="49" y="350"/>
                    <a:pt x="50" y="351"/>
                    <a:pt x="50" y="352"/>
                  </a:cubicBezTo>
                  <a:cubicBezTo>
                    <a:pt x="51" y="352"/>
                    <a:pt x="51" y="353"/>
                    <a:pt x="51" y="354"/>
                  </a:cubicBezTo>
                  <a:cubicBezTo>
                    <a:pt x="52" y="356"/>
                    <a:pt x="52" y="356"/>
                    <a:pt x="52" y="356"/>
                  </a:cubicBezTo>
                  <a:cubicBezTo>
                    <a:pt x="54" y="361"/>
                    <a:pt x="56" y="366"/>
                    <a:pt x="57" y="371"/>
                  </a:cubicBezTo>
                  <a:cubicBezTo>
                    <a:pt x="58" y="372"/>
                    <a:pt x="58" y="374"/>
                    <a:pt x="58" y="376"/>
                  </a:cubicBezTo>
                  <a:cubicBezTo>
                    <a:pt x="59" y="380"/>
                    <a:pt x="59" y="383"/>
                    <a:pt x="61" y="385"/>
                  </a:cubicBezTo>
                  <a:cubicBezTo>
                    <a:pt x="62" y="386"/>
                    <a:pt x="63" y="386"/>
                    <a:pt x="64" y="387"/>
                  </a:cubicBezTo>
                  <a:cubicBezTo>
                    <a:pt x="66" y="388"/>
                    <a:pt x="67" y="389"/>
                    <a:pt x="68" y="390"/>
                  </a:cubicBezTo>
                  <a:cubicBezTo>
                    <a:pt x="70" y="392"/>
                    <a:pt x="73" y="394"/>
                    <a:pt x="75" y="396"/>
                  </a:cubicBezTo>
                  <a:cubicBezTo>
                    <a:pt x="77" y="398"/>
                    <a:pt x="79" y="399"/>
                    <a:pt x="81" y="401"/>
                  </a:cubicBezTo>
                  <a:cubicBezTo>
                    <a:pt x="81" y="401"/>
                    <a:pt x="81" y="402"/>
                    <a:pt x="81" y="402"/>
                  </a:cubicBezTo>
                  <a:cubicBezTo>
                    <a:pt x="80" y="404"/>
                    <a:pt x="79" y="405"/>
                    <a:pt x="78" y="408"/>
                  </a:cubicBezTo>
                  <a:cubicBezTo>
                    <a:pt x="77" y="408"/>
                    <a:pt x="77" y="409"/>
                    <a:pt x="76" y="410"/>
                  </a:cubicBezTo>
                  <a:cubicBezTo>
                    <a:pt x="74" y="411"/>
                    <a:pt x="74" y="412"/>
                    <a:pt x="74" y="412"/>
                  </a:cubicBezTo>
                  <a:cubicBezTo>
                    <a:pt x="73" y="414"/>
                    <a:pt x="74" y="416"/>
                    <a:pt x="76" y="417"/>
                  </a:cubicBezTo>
                  <a:cubicBezTo>
                    <a:pt x="77" y="419"/>
                    <a:pt x="79" y="420"/>
                    <a:pt x="79" y="422"/>
                  </a:cubicBezTo>
                  <a:cubicBezTo>
                    <a:pt x="79" y="425"/>
                    <a:pt x="79" y="426"/>
                    <a:pt x="76" y="428"/>
                  </a:cubicBezTo>
                  <a:cubicBezTo>
                    <a:pt x="76" y="428"/>
                    <a:pt x="75" y="429"/>
                    <a:pt x="75" y="429"/>
                  </a:cubicBezTo>
                  <a:cubicBezTo>
                    <a:pt x="72" y="432"/>
                    <a:pt x="72" y="432"/>
                    <a:pt x="72" y="432"/>
                  </a:cubicBezTo>
                  <a:cubicBezTo>
                    <a:pt x="74" y="433"/>
                    <a:pt x="74" y="433"/>
                    <a:pt x="74" y="433"/>
                  </a:cubicBezTo>
                  <a:cubicBezTo>
                    <a:pt x="74" y="434"/>
                    <a:pt x="74" y="435"/>
                    <a:pt x="74" y="436"/>
                  </a:cubicBezTo>
                  <a:cubicBezTo>
                    <a:pt x="74" y="439"/>
                    <a:pt x="74" y="442"/>
                    <a:pt x="76" y="445"/>
                  </a:cubicBezTo>
                  <a:cubicBezTo>
                    <a:pt x="77" y="447"/>
                    <a:pt x="78" y="447"/>
                    <a:pt x="80" y="448"/>
                  </a:cubicBezTo>
                  <a:cubicBezTo>
                    <a:pt x="82" y="449"/>
                    <a:pt x="84" y="450"/>
                    <a:pt x="84" y="451"/>
                  </a:cubicBezTo>
                  <a:cubicBezTo>
                    <a:pt x="85" y="452"/>
                    <a:pt x="84" y="454"/>
                    <a:pt x="84" y="455"/>
                  </a:cubicBezTo>
                  <a:cubicBezTo>
                    <a:pt x="83" y="456"/>
                    <a:pt x="83" y="456"/>
                    <a:pt x="83" y="456"/>
                  </a:cubicBezTo>
                  <a:cubicBezTo>
                    <a:pt x="82" y="459"/>
                    <a:pt x="81" y="461"/>
                    <a:pt x="84" y="463"/>
                  </a:cubicBezTo>
                  <a:cubicBezTo>
                    <a:pt x="85" y="464"/>
                    <a:pt x="85" y="464"/>
                    <a:pt x="86" y="464"/>
                  </a:cubicBezTo>
                  <a:cubicBezTo>
                    <a:pt x="88" y="465"/>
                    <a:pt x="89" y="465"/>
                    <a:pt x="90" y="466"/>
                  </a:cubicBezTo>
                  <a:cubicBezTo>
                    <a:pt x="91" y="467"/>
                    <a:pt x="92" y="469"/>
                    <a:pt x="93" y="470"/>
                  </a:cubicBezTo>
                  <a:cubicBezTo>
                    <a:pt x="94" y="472"/>
                    <a:pt x="94" y="472"/>
                    <a:pt x="94" y="472"/>
                  </a:cubicBezTo>
                  <a:cubicBezTo>
                    <a:pt x="97" y="476"/>
                    <a:pt x="98" y="481"/>
                    <a:pt x="99" y="486"/>
                  </a:cubicBezTo>
                  <a:cubicBezTo>
                    <a:pt x="100" y="489"/>
                    <a:pt x="101" y="492"/>
                    <a:pt x="102" y="495"/>
                  </a:cubicBezTo>
                  <a:cubicBezTo>
                    <a:pt x="103" y="496"/>
                    <a:pt x="103" y="497"/>
                    <a:pt x="103" y="499"/>
                  </a:cubicBezTo>
                  <a:cubicBezTo>
                    <a:pt x="104" y="501"/>
                    <a:pt x="105" y="504"/>
                    <a:pt x="107" y="506"/>
                  </a:cubicBezTo>
                  <a:cubicBezTo>
                    <a:pt x="107" y="507"/>
                    <a:pt x="107" y="508"/>
                    <a:pt x="108" y="508"/>
                  </a:cubicBezTo>
                  <a:cubicBezTo>
                    <a:pt x="108" y="509"/>
                    <a:pt x="109" y="510"/>
                    <a:pt x="109" y="511"/>
                  </a:cubicBezTo>
                  <a:cubicBezTo>
                    <a:pt x="110" y="511"/>
                    <a:pt x="110" y="512"/>
                    <a:pt x="110" y="512"/>
                  </a:cubicBezTo>
                  <a:cubicBezTo>
                    <a:pt x="111" y="513"/>
                    <a:pt x="112" y="514"/>
                    <a:pt x="112" y="515"/>
                  </a:cubicBezTo>
                  <a:cubicBezTo>
                    <a:pt x="113" y="517"/>
                    <a:pt x="113" y="518"/>
                    <a:pt x="113" y="519"/>
                  </a:cubicBezTo>
                  <a:cubicBezTo>
                    <a:pt x="112" y="520"/>
                    <a:pt x="112" y="522"/>
                    <a:pt x="113" y="523"/>
                  </a:cubicBezTo>
                  <a:cubicBezTo>
                    <a:pt x="113" y="525"/>
                    <a:pt x="114" y="526"/>
                    <a:pt x="115" y="527"/>
                  </a:cubicBezTo>
                  <a:cubicBezTo>
                    <a:pt x="116" y="529"/>
                    <a:pt x="117" y="531"/>
                    <a:pt x="117" y="534"/>
                  </a:cubicBezTo>
                  <a:cubicBezTo>
                    <a:pt x="117" y="534"/>
                    <a:pt x="117" y="535"/>
                    <a:pt x="118" y="535"/>
                  </a:cubicBezTo>
                  <a:cubicBezTo>
                    <a:pt x="118" y="536"/>
                    <a:pt x="118" y="536"/>
                    <a:pt x="118" y="536"/>
                  </a:cubicBezTo>
                  <a:cubicBezTo>
                    <a:pt x="118" y="539"/>
                    <a:pt x="118" y="542"/>
                    <a:pt x="121" y="543"/>
                  </a:cubicBezTo>
                  <a:cubicBezTo>
                    <a:pt x="123" y="544"/>
                    <a:pt x="125" y="545"/>
                    <a:pt x="127" y="545"/>
                  </a:cubicBezTo>
                  <a:cubicBezTo>
                    <a:pt x="128" y="545"/>
                    <a:pt x="129" y="545"/>
                    <a:pt x="131" y="544"/>
                  </a:cubicBezTo>
                  <a:cubicBezTo>
                    <a:pt x="132" y="544"/>
                    <a:pt x="134" y="543"/>
                    <a:pt x="135" y="543"/>
                  </a:cubicBezTo>
                  <a:cubicBezTo>
                    <a:pt x="136" y="542"/>
                    <a:pt x="138" y="541"/>
                    <a:pt x="140" y="541"/>
                  </a:cubicBezTo>
                  <a:cubicBezTo>
                    <a:pt x="142" y="541"/>
                    <a:pt x="142" y="541"/>
                    <a:pt x="142" y="541"/>
                  </a:cubicBezTo>
                  <a:cubicBezTo>
                    <a:pt x="143" y="539"/>
                    <a:pt x="143" y="539"/>
                    <a:pt x="143" y="539"/>
                  </a:cubicBezTo>
                  <a:cubicBezTo>
                    <a:pt x="143" y="538"/>
                    <a:pt x="143" y="537"/>
                    <a:pt x="143" y="537"/>
                  </a:cubicBezTo>
                  <a:cubicBezTo>
                    <a:pt x="144" y="537"/>
                    <a:pt x="144" y="537"/>
                    <a:pt x="144" y="537"/>
                  </a:cubicBezTo>
                  <a:cubicBezTo>
                    <a:pt x="145" y="536"/>
                    <a:pt x="145" y="536"/>
                    <a:pt x="145" y="536"/>
                  </a:cubicBezTo>
                  <a:cubicBezTo>
                    <a:pt x="145" y="535"/>
                    <a:pt x="145" y="535"/>
                    <a:pt x="145" y="535"/>
                  </a:cubicBezTo>
                  <a:cubicBezTo>
                    <a:pt x="146" y="532"/>
                    <a:pt x="147" y="531"/>
                    <a:pt x="149" y="530"/>
                  </a:cubicBezTo>
                  <a:cubicBezTo>
                    <a:pt x="151" y="529"/>
                    <a:pt x="152" y="529"/>
                    <a:pt x="153" y="527"/>
                  </a:cubicBezTo>
                  <a:cubicBezTo>
                    <a:pt x="154" y="525"/>
                    <a:pt x="154" y="524"/>
                    <a:pt x="155" y="523"/>
                  </a:cubicBezTo>
                  <a:cubicBezTo>
                    <a:pt x="155" y="520"/>
                    <a:pt x="156" y="518"/>
                    <a:pt x="160" y="517"/>
                  </a:cubicBezTo>
                  <a:cubicBezTo>
                    <a:pt x="165" y="515"/>
                    <a:pt x="168" y="514"/>
                    <a:pt x="169" y="508"/>
                  </a:cubicBezTo>
                  <a:cubicBezTo>
                    <a:pt x="169" y="508"/>
                    <a:pt x="169" y="507"/>
                    <a:pt x="169" y="506"/>
                  </a:cubicBezTo>
                  <a:cubicBezTo>
                    <a:pt x="169" y="503"/>
                    <a:pt x="170" y="501"/>
                    <a:pt x="172" y="500"/>
                  </a:cubicBezTo>
                  <a:cubicBezTo>
                    <a:pt x="172" y="500"/>
                    <a:pt x="173" y="500"/>
                    <a:pt x="173" y="500"/>
                  </a:cubicBezTo>
                  <a:cubicBezTo>
                    <a:pt x="174" y="500"/>
                    <a:pt x="176" y="500"/>
                    <a:pt x="177" y="501"/>
                  </a:cubicBezTo>
                  <a:cubicBezTo>
                    <a:pt x="179" y="502"/>
                    <a:pt x="181" y="504"/>
                    <a:pt x="182" y="506"/>
                  </a:cubicBezTo>
                  <a:cubicBezTo>
                    <a:pt x="183" y="508"/>
                    <a:pt x="184" y="509"/>
                    <a:pt x="186" y="511"/>
                  </a:cubicBezTo>
                  <a:cubicBezTo>
                    <a:pt x="187" y="512"/>
                    <a:pt x="189" y="512"/>
                    <a:pt x="191" y="512"/>
                  </a:cubicBezTo>
                  <a:cubicBezTo>
                    <a:pt x="192" y="512"/>
                    <a:pt x="193" y="512"/>
                    <a:pt x="195" y="512"/>
                  </a:cubicBezTo>
                  <a:cubicBezTo>
                    <a:pt x="196" y="512"/>
                    <a:pt x="197" y="512"/>
                    <a:pt x="199" y="512"/>
                  </a:cubicBezTo>
                  <a:cubicBezTo>
                    <a:pt x="202" y="512"/>
                    <a:pt x="205" y="512"/>
                    <a:pt x="208" y="513"/>
                  </a:cubicBezTo>
                  <a:cubicBezTo>
                    <a:pt x="210" y="513"/>
                    <a:pt x="213" y="513"/>
                    <a:pt x="215" y="513"/>
                  </a:cubicBezTo>
                  <a:cubicBezTo>
                    <a:pt x="217" y="513"/>
                    <a:pt x="217" y="513"/>
                    <a:pt x="217" y="513"/>
                  </a:cubicBezTo>
                  <a:cubicBezTo>
                    <a:pt x="221" y="514"/>
                    <a:pt x="226" y="514"/>
                    <a:pt x="230" y="517"/>
                  </a:cubicBezTo>
                  <a:cubicBezTo>
                    <a:pt x="235" y="520"/>
                    <a:pt x="236" y="526"/>
                    <a:pt x="238" y="531"/>
                  </a:cubicBezTo>
                  <a:cubicBezTo>
                    <a:pt x="238" y="533"/>
                    <a:pt x="238" y="535"/>
                    <a:pt x="239" y="537"/>
                  </a:cubicBezTo>
                  <a:cubicBezTo>
                    <a:pt x="244" y="536"/>
                    <a:pt x="244" y="536"/>
                    <a:pt x="244" y="536"/>
                  </a:cubicBezTo>
                  <a:cubicBezTo>
                    <a:pt x="244" y="536"/>
                    <a:pt x="244" y="535"/>
                    <a:pt x="244" y="534"/>
                  </a:cubicBezTo>
                  <a:cubicBezTo>
                    <a:pt x="244" y="532"/>
                    <a:pt x="244" y="532"/>
                    <a:pt x="245" y="530"/>
                  </a:cubicBezTo>
                  <a:cubicBezTo>
                    <a:pt x="246" y="530"/>
                    <a:pt x="246" y="530"/>
                    <a:pt x="247" y="529"/>
                  </a:cubicBezTo>
                  <a:cubicBezTo>
                    <a:pt x="248" y="528"/>
                    <a:pt x="248" y="528"/>
                    <a:pt x="248" y="528"/>
                  </a:cubicBezTo>
                  <a:cubicBezTo>
                    <a:pt x="248" y="527"/>
                    <a:pt x="248" y="527"/>
                    <a:pt x="248" y="527"/>
                  </a:cubicBezTo>
                  <a:cubicBezTo>
                    <a:pt x="248" y="526"/>
                    <a:pt x="248" y="525"/>
                    <a:pt x="248" y="525"/>
                  </a:cubicBezTo>
                  <a:cubicBezTo>
                    <a:pt x="249" y="521"/>
                    <a:pt x="251" y="517"/>
                    <a:pt x="252" y="513"/>
                  </a:cubicBezTo>
                  <a:cubicBezTo>
                    <a:pt x="253" y="510"/>
                    <a:pt x="253" y="510"/>
                    <a:pt x="253" y="510"/>
                  </a:cubicBezTo>
                  <a:cubicBezTo>
                    <a:pt x="253" y="510"/>
                    <a:pt x="253" y="509"/>
                    <a:pt x="254" y="509"/>
                  </a:cubicBezTo>
                  <a:cubicBezTo>
                    <a:pt x="277" y="509"/>
                    <a:pt x="277" y="509"/>
                    <a:pt x="277" y="509"/>
                  </a:cubicBezTo>
                  <a:cubicBezTo>
                    <a:pt x="280" y="508"/>
                    <a:pt x="283" y="508"/>
                    <a:pt x="286" y="508"/>
                  </a:cubicBezTo>
                  <a:cubicBezTo>
                    <a:pt x="287" y="508"/>
                    <a:pt x="287" y="508"/>
                    <a:pt x="288" y="508"/>
                  </a:cubicBezTo>
                  <a:cubicBezTo>
                    <a:pt x="288" y="508"/>
                    <a:pt x="289" y="508"/>
                    <a:pt x="290" y="508"/>
                  </a:cubicBezTo>
                  <a:cubicBezTo>
                    <a:pt x="291" y="508"/>
                    <a:pt x="291" y="508"/>
                    <a:pt x="292" y="509"/>
                  </a:cubicBezTo>
                  <a:cubicBezTo>
                    <a:pt x="293" y="509"/>
                    <a:pt x="294" y="511"/>
                    <a:pt x="294" y="512"/>
                  </a:cubicBezTo>
                  <a:cubicBezTo>
                    <a:pt x="295" y="513"/>
                    <a:pt x="295" y="514"/>
                    <a:pt x="296" y="515"/>
                  </a:cubicBezTo>
                  <a:cubicBezTo>
                    <a:pt x="296" y="515"/>
                    <a:pt x="296" y="516"/>
                    <a:pt x="297" y="516"/>
                  </a:cubicBezTo>
                  <a:cubicBezTo>
                    <a:pt x="301" y="518"/>
                    <a:pt x="301" y="518"/>
                    <a:pt x="301" y="518"/>
                  </a:cubicBezTo>
                  <a:cubicBezTo>
                    <a:pt x="301" y="514"/>
                    <a:pt x="301" y="514"/>
                    <a:pt x="301" y="514"/>
                  </a:cubicBezTo>
                  <a:cubicBezTo>
                    <a:pt x="300" y="511"/>
                    <a:pt x="301" y="507"/>
                    <a:pt x="302" y="504"/>
                  </a:cubicBezTo>
                  <a:cubicBezTo>
                    <a:pt x="303" y="498"/>
                    <a:pt x="304" y="490"/>
                    <a:pt x="305" y="484"/>
                  </a:cubicBezTo>
                  <a:cubicBezTo>
                    <a:pt x="306" y="473"/>
                    <a:pt x="307" y="461"/>
                    <a:pt x="307" y="451"/>
                  </a:cubicBezTo>
                  <a:cubicBezTo>
                    <a:pt x="307" y="445"/>
                    <a:pt x="309" y="441"/>
                    <a:pt x="312" y="437"/>
                  </a:cubicBezTo>
                  <a:cubicBezTo>
                    <a:pt x="314" y="435"/>
                    <a:pt x="315" y="433"/>
                    <a:pt x="316" y="430"/>
                  </a:cubicBezTo>
                  <a:cubicBezTo>
                    <a:pt x="317" y="428"/>
                    <a:pt x="318" y="426"/>
                    <a:pt x="318" y="423"/>
                  </a:cubicBezTo>
                  <a:cubicBezTo>
                    <a:pt x="319" y="419"/>
                    <a:pt x="320" y="415"/>
                    <a:pt x="323" y="412"/>
                  </a:cubicBezTo>
                  <a:cubicBezTo>
                    <a:pt x="326" y="410"/>
                    <a:pt x="330" y="410"/>
                    <a:pt x="334" y="409"/>
                  </a:cubicBezTo>
                  <a:cubicBezTo>
                    <a:pt x="338" y="409"/>
                    <a:pt x="341" y="409"/>
                    <a:pt x="344" y="407"/>
                  </a:cubicBezTo>
                  <a:cubicBezTo>
                    <a:pt x="348" y="405"/>
                    <a:pt x="352" y="404"/>
                    <a:pt x="356" y="404"/>
                  </a:cubicBezTo>
                  <a:cubicBezTo>
                    <a:pt x="358" y="404"/>
                    <a:pt x="360" y="403"/>
                    <a:pt x="362" y="403"/>
                  </a:cubicBezTo>
                  <a:cubicBezTo>
                    <a:pt x="364" y="403"/>
                    <a:pt x="367" y="402"/>
                    <a:pt x="369" y="401"/>
                  </a:cubicBezTo>
                  <a:cubicBezTo>
                    <a:pt x="372" y="399"/>
                    <a:pt x="375" y="398"/>
                    <a:pt x="379" y="398"/>
                  </a:cubicBezTo>
                  <a:cubicBezTo>
                    <a:pt x="384" y="397"/>
                    <a:pt x="388" y="396"/>
                    <a:pt x="393" y="396"/>
                  </a:cubicBezTo>
                  <a:cubicBezTo>
                    <a:pt x="395" y="396"/>
                    <a:pt x="396" y="396"/>
                    <a:pt x="398" y="397"/>
                  </a:cubicBezTo>
                  <a:cubicBezTo>
                    <a:pt x="400" y="397"/>
                    <a:pt x="402" y="397"/>
                    <a:pt x="404" y="397"/>
                  </a:cubicBezTo>
                  <a:cubicBezTo>
                    <a:pt x="407" y="397"/>
                    <a:pt x="411" y="397"/>
                    <a:pt x="414" y="397"/>
                  </a:cubicBezTo>
                  <a:cubicBezTo>
                    <a:pt x="418" y="398"/>
                    <a:pt x="420" y="400"/>
                    <a:pt x="423" y="402"/>
                  </a:cubicBezTo>
                  <a:cubicBezTo>
                    <a:pt x="424" y="402"/>
                    <a:pt x="425" y="403"/>
                    <a:pt x="426" y="404"/>
                  </a:cubicBezTo>
                  <a:cubicBezTo>
                    <a:pt x="428" y="405"/>
                    <a:pt x="429" y="406"/>
                    <a:pt x="431" y="407"/>
                  </a:cubicBezTo>
                  <a:cubicBezTo>
                    <a:pt x="433" y="408"/>
                    <a:pt x="434" y="409"/>
                    <a:pt x="435" y="410"/>
                  </a:cubicBezTo>
                  <a:cubicBezTo>
                    <a:pt x="436" y="410"/>
                    <a:pt x="437" y="411"/>
                    <a:pt x="439" y="411"/>
                  </a:cubicBezTo>
                  <a:cubicBezTo>
                    <a:pt x="441" y="413"/>
                    <a:pt x="444" y="414"/>
                    <a:pt x="445" y="416"/>
                  </a:cubicBezTo>
                  <a:cubicBezTo>
                    <a:pt x="446" y="417"/>
                    <a:pt x="446" y="418"/>
                    <a:pt x="447" y="419"/>
                  </a:cubicBezTo>
                  <a:cubicBezTo>
                    <a:pt x="447" y="419"/>
                    <a:pt x="447" y="419"/>
                    <a:pt x="447" y="419"/>
                  </a:cubicBezTo>
                  <a:cubicBezTo>
                    <a:pt x="448" y="421"/>
                    <a:pt x="449" y="423"/>
                    <a:pt x="451" y="425"/>
                  </a:cubicBezTo>
                  <a:cubicBezTo>
                    <a:pt x="452" y="426"/>
                    <a:pt x="452" y="427"/>
                    <a:pt x="453" y="428"/>
                  </a:cubicBezTo>
                  <a:cubicBezTo>
                    <a:pt x="453" y="431"/>
                    <a:pt x="453" y="431"/>
                    <a:pt x="453" y="431"/>
                  </a:cubicBezTo>
                  <a:cubicBezTo>
                    <a:pt x="456" y="430"/>
                    <a:pt x="456" y="430"/>
                    <a:pt x="456" y="430"/>
                  </a:cubicBezTo>
                  <a:cubicBezTo>
                    <a:pt x="457" y="429"/>
                    <a:pt x="459" y="428"/>
                    <a:pt x="460" y="427"/>
                  </a:cubicBezTo>
                  <a:cubicBezTo>
                    <a:pt x="461" y="424"/>
                    <a:pt x="459" y="422"/>
                    <a:pt x="457" y="420"/>
                  </a:cubicBezTo>
                  <a:cubicBezTo>
                    <a:pt x="456" y="420"/>
                    <a:pt x="456" y="420"/>
                    <a:pt x="456" y="420"/>
                  </a:cubicBezTo>
                  <a:cubicBezTo>
                    <a:pt x="451" y="415"/>
                    <a:pt x="452" y="410"/>
                    <a:pt x="455" y="403"/>
                  </a:cubicBezTo>
                  <a:cubicBezTo>
                    <a:pt x="456" y="401"/>
                    <a:pt x="456" y="401"/>
                    <a:pt x="456" y="401"/>
                  </a:cubicBezTo>
                  <a:cubicBezTo>
                    <a:pt x="457" y="398"/>
                    <a:pt x="458" y="396"/>
                    <a:pt x="459" y="393"/>
                  </a:cubicBezTo>
                  <a:cubicBezTo>
                    <a:pt x="460" y="391"/>
                    <a:pt x="460" y="391"/>
                    <a:pt x="460" y="391"/>
                  </a:cubicBezTo>
                  <a:cubicBezTo>
                    <a:pt x="462" y="388"/>
                    <a:pt x="462" y="387"/>
                    <a:pt x="461" y="385"/>
                  </a:cubicBezTo>
                  <a:cubicBezTo>
                    <a:pt x="461" y="384"/>
                    <a:pt x="460" y="384"/>
                    <a:pt x="460" y="382"/>
                  </a:cubicBezTo>
                  <a:cubicBezTo>
                    <a:pt x="460" y="380"/>
                    <a:pt x="460" y="378"/>
                    <a:pt x="460" y="376"/>
                  </a:cubicBezTo>
                  <a:cubicBezTo>
                    <a:pt x="461" y="375"/>
                    <a:pt x="461" y="374"/>
                    <a:pt x="461" y="373"/>
                  </a:cubicBezTo>
                  <a:cubicBezTo>
                    <a:pt x="461" y="371"/>
                    <a:pt x="461" y="371"/>
                    <a:pt x="461" y="371"/>
                  </a:cubicBezTo>
                  <a:cubicBezTo>
                    <a:pt x="461" y="368"/>
                    <a:pt x="461" y="365"/>
                    <a:pt x="462" y="363"/>
                  </a:cubicBezTo>
                  <a:cubicBezTo>
                    <a:pt x="463" y="361"/>
                    <a:pt x="463" y="360"/>
                    <a:pt x="464" y="358"/>
                  </a:cubicBezTo>
                  <a:cubicBezTo>
                    <a:pt x="465" y="357"/>
                    <a:pt x="466" y="356"/>
                    <a:pt x="466" y="354"/>
                  </a:cubicBezTo>
                  <a:cubicBezTo>
                    <a:pt x="466" y="352"/>
                    <a:pt x="465" y="351"/>
                    <a:pt x="464" y="349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auto">
            <a:xfrm>
              <a:off x="2727" y="2028"/>
              <a:ext cx="474" cy="523"/>
            </a:xfrm>
            <a:custGeom>
              <a:avLst/>
              <a:gdLst>
                <a:gd name="T0" fmla="*/ 307 w 309"/>
                <a:gd name="T1" fmla="*/ 218 h 341"/>
                <a:gd name="T2" fmla="*/ 286 w 309"/>
                <a:gd name="T3" fmla="*/ 190 h 341"/>
                <a:gd name="T4" fmla="*/ 264 w 309"/>
                <a:gd name="T5" fmla="*/ 184 h 341"/>
                <a:gd name="T6" fmla="*/ 258 w 309"/>
                <a:gd name="T7" fmla="*/ 166 h 341"/>
                <a:gd name="T8" fmla="*/ 253 w 309"/>
                <a:gd name="T9" fmla="*/ 152 h 341"/>
                <a:gd name="T10" fmla="*/ 241 w 309"/>
                <a:gd name="T11" fmla="*/ 124 h 341"/>
                <a:gd name="T12" fmla="*/ 221 w 309"/>
                <a:gd name="T13" fmla="*/ 118 h 341"/>
                <a:gd name="T14" fmla="*/ 212 w 309"/>
                <a:gd name="T15" fmla="*/ 120 h 341"/>
                <a:gd name="T16" fmla="*/ 207 w 309"/>
                <a:gd name="T17" fmla="*/ 123 h 341"/>
                <a:gd name="T18" fmla="*/ 192 w 309"/>
                <a:gd name="T19" fmla="*/ 118 h 341"/>
                <a:gd name="T20" fmla="*/ 172 w 309"/>
                <a:gd name="T21" fmla="*/ 118 h 341"/>
                <a:gd name="T22" fmla="*/ 164 w 309"/>
                <a:gd name="T23" fmla="*/ 93 h 341"/>
                <a:gd name="T24" fmla="*/ 163 w 309"/>
                <a:gd name="T25" fmla="*/ 66 h 341"/>
                <a:gd name="T26" fmla="*/ 152 w 309"/>
                <a:gd name="T27" fmla="*/ 37 h 341"/>
                <a:gd name="T28" fmla="*/ 151 w 309"/>
                <a:gd name="T29" fmla="*/ 34 h 341"/>
                <a:gd name="T30" fmla="*/ 149 w 309"/>
                <a:gd name="T31" fmla="*/ 28 h 341"/>
                <a:gd name="T32" fmla="*/ 137 w 309"/>
                <a:gd name="T33" fmla="*/ 15 h 341"/>
                <a:gd name="T34" fmla="*/ 125 w 309"/>
                <a:gd name="T35" fmla="*/ 7 h 341"/>
                <a:gd name="T36" fmla="*/ 103 w 309"/>
                <a:gd name="T37" fmla="*/ 0 h 341"/>
                <a:gd name="T38" fmla="*/ 78 w 309"/>
                <a:gd name="T39" fmla="*/ 1 h 341"/>
                <a:gd name="T40" fmla="*/ 55 w 309"/>
                <a:gd name="T41" fmla="*/ 7 h 341"/>
                <a:gd name="T42" fmla="*/ 23 w 309"/>
                <a:gd name="T43" fmla="*/ 15 h 341"/>
                <a:gd name="T44" fmla="*/ 12 w 309"/>
                <a:gd name="T45" fmla="*/ 40 h 341"/>
                <a:gd name="T46" fmla="*/ 2 w 309"/>
                <a:gd name="T47" fmla="*/ 107 h 341"/>
                <a:gd name="T48" fmla="*/ 17 w 309"/>
                <a:gd name="T49" fmla="*/ 137 h 341"/>
                <a:gd name="T50" fmla="*/ 46 w 309"/>
                <a:gd name="T51" fmla="*/ 168 h 341"/>
                <a:gd name="T52" fmla="*/ 69 w 309"/>
                <a:gd name="T53" fmla="*/ 187 h 341"/>
                <a:gd name="T54" fmla="*/ 83 w 309"/>
                <a:gd name="T55" fmla="*/ 192 h 341"/>
                <a:gd name="T56" fmla="*/ 90 w 309"/>
                <a:gd name="T57" fmla="*/ 194 h 341"/>
                <a:gd name="T58" fmla="*/ 111 w 309"/>
                <a:gd name="T59" fmla="*/ 199 h 341"/>
                <a:gd name="T60" fmla="*/ 129 w 309"/>
                <a:gd name="T61" fmla="*/ 211 h 341"/>
                <a:gd name="T62" fmla="*/ 145 w 309"/>
                <a:gd name="T63" fmla="*/ 222 h 341"/>
                <a:gd name="T64" fmla="*/ 162 w 309"/>
                <a:gd name="T65" fmla="*/ 229 h 341"/>
                <a:gd name="T66" fmla="*/ 173 w 309"/>
                <a:gd name="T67" fmla="*/ 234 h 341"/>
                <a:gd name="T68" fmla="*/ 196 w 309"/>
                <a:gd name="T69" fmla="*/ 261 h 341"/>
                <a:gd name="T70" fmla="*/ 190 w 309"/>
                <a:gd name="T71" fmla="*/ 273 h 341"/>
                <a:gd name="T72" fmla="*/ 181 w 309"/>
                <a:gd name="T73" fmla="*/ 285 h 341"/>
                <a:gd name="T74" fmla="*/ 181 w 309"/>
                <a:gd name="T75" fmla="*/ 293 h 341"/>
                <a:gd name="T76" fmla="*/ 174 w 309"/>
                <a:gd name="T77" fmla="*/ 320 h 341"/>
                <a:gd name="T78" fmla="*/ 176 w 309"/>
                <a:gd name="T79" fmla="*/ 329 h 341"/>
                <a:gd name="T80" fmla="*/ 187 w 309"/>
                <a:gd name="T81" fmla="*/ 330 h 341"/>
                <a:gd name="T82" fmla="*/ 203 w 309"/>
                <a:gd name="T83" fmla="*/ 330 h 341"/>
                <a:gd name="T84" fmla="*/ 213 w 309"/>
                <a:gd name="T85" fmla="*/ 335 h 341"/>
                <a:gd name="T86" fmla="*/ 230 w 309"/>
                <a:gd name="T87" fmla="*/ 335 h 341"/>
                <a:gd name="T88" fmla="*/ 235 w 309"/>
                <a:gd name="T89" fmla="*/ 337 h 341"/>
                <a:gd name="T90" fmla="*/ 239 w 309"/>
                <a:gd name="T91" fmla="*/ 338 h 341"/>
                <a:gd name="T92" fmla="*/ 246 w 309"/>
                <a:gd name="T93" fmla="*/ 336 h 341"/>
                <a:gd name="T94" fmla="*/ 253 w 309"/>
                <a:gd name="T95" fmla="*/ 337 h 341"/>
                <a:gd name="T96" fmla="*/ 271 w 309"/>
                <a:gd name="T97" fmla="*/ 334 h 341"/>
                <a:gd name="T98" fmla="*/ 276 w 309"/>
                <a:gd name="T99" fmla="*/ 335 h 341"/>
                <a:gd name="T100" fmla="*/ 278 w 309"/>
                <a:gd name="T101" fmla="*/ 327 h 341"/>
                <a:gd name="T102" fmla="*/ 291 w 309"/>
                <a:gd name="T103" fmla="*/ 314 h 341"/>
                <a:gd name="T104" fmla="*/ 303 w 309"/>
                <a:gd name="T105" fmla="*/ 297 h 341"/>
                <a:gd name="T106" fmla="*/ 303 w 309"/>
                <a:gd name="T107" fmla="*/ 248 h 341"/>
                <a:gd name="T108" fmla="*/ 307 w 309"/>
                <a:gd name="T109" fmla="*/ 23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9" h="341">
                  <a:moveTo>
                    <a:pt x="307" y="230"/>
                  </a:moveTo>
                  <a:cubicBezTo>
                    <a:pt x="307" y="229"/>
                    <a:pt x="307" y="227"/>
                    <a:pt x="307" y="225"/>
                  </a:cubicBezTo>
                  <a:cubicBezTo>
                    <a:pt x="307" y="223"/>
                    <a:pt x="307" y="220"/>
                    <a:pt x="307" y="218"/>
                  </a:cubicBezTo>
                  <a:cubicBezTo>
                    <a:pt x="308" y="206"/>
                    <a:pt x="309" y="193"/>
                    <a:pt x="297" y="187"/>
                  </a:cubicBezTo>
                  <a:cubicBezTo>
                    <a:pt x="296" y="187"/>
                    <a:pt x="295" y="187"/>
                    <a:pt x="294" y="187"/>
                  </a:cubicBezTo>
                  <a:cubicBezTo>
                    <a:pt x="291" y="187"/>
                    <a:pt x="289" y="188"/>
                    <a:pt x="286" y="190"/>
                  </a:cubicBezTo>
                  <a:cubicBezTo>
                    <a:pt x="284" y="192"/>
                    <a:pt x="282" y="193"/>
                    <a:pt x="279" y="194"/>
                  </a:cubicBezTo>
                  <a:cubicBezTo>
                    <a:pt x="278" y="194"/>
                    <a:pt x="276" y="195"/>
                    <a:pt x="274" y="195"/>
                  </a:cubicBezTo>
                  <a:cubicBezTo>
                    <a:pt x="268" y="195"/>
                    <a:pt x="265" y="189"/>
                    <a:pt x="264" y="184"/>
                  </a:cubicBezTo>
                  <a:cubicBezTo>
                    <a:pt x="263" y="182"/>
                    <a:pt x="262" y="180"/>
                    <a:pt x="261" y="178"/>
                  </a:cubicBezTo>
                  <a:cubicBezTo>
                    <a:pt x="261" y="177"/>
                    <a:pt x="260" y="175"/>
                    <a:pt x="259" y="174"/>
                  </a:cubicBezTo>
                  <a:cubicBezTo>
                    <a:pt x="259" y="171"/>
                    <a:pt x="259" y="169"/>
                    <a:pt x="258" y="166"/>
                  </a:cubicBezTo>
                  <a:cubicBezTo>
                    <a:pt x="258" y="165"/>
                    <a:pt x="258" y="163"/>
                    <a:pt x="258" y="161"/>
                  </a:cubicBezTo>
                  <a:cubicBezTo>
                    <a:pt x="258" y="159"/>
                    <a:pt x="256" y="157"/>
                    <a:pt x="255" y="155"/>
                  </a:cubicBezTo>
                  <a:cubicBezTo>
                    <a:pt x="255" y="154"/>
                    <a:pt x="254" y="153"/>
                    <a:pt x="253" y="152"/>
                  </a:cubicBezTo>
                  <a:cubicBezTo>
                    <a:pt x="252" y="149"/>
                    <a:pt x="252" y="146"/>
                    <a:pt x="251" y="142"/>
                  </a:cubicBezTo>
                  <a:cubicBezTo>
                    <a:pt x="251" y="139"/>
                    <a:pt x="250" y="136"/>
                    <a:pt x="249" y="133"/>
                  </a:cubicBezTo>
                  <a:cubicBezTo>
                    <a:pt x="248" y="131"/>
                    <a:pt x="245" y="126"/>
                    <a:pt x="241" y="124"/>
                  </a:cubicBezTo>
                  <a:cubicBezTo>
                    <a:pt x="239" y="124"/>
                    <a:pt x="238" y="123"/>
                    <a:pt x="236" y="123"/>
                  </a:cubicBezTo>
                  <a:cubicBezTo>
                    <a:pt x="234" y="123"/>
                    <a:pt x="231" y="123"/>
                    <a:pt x="229" y="121"/>
                  </a:cubicBezTo>
                  <a:cubicBezTo>
                    <a:pt x="226" y="119"/>
                    <a:pt x="223" y="118"/>
                    <a:pt x="221" y="118"/>
                  </a:cubicBezTo>
                  <a:cubicBezTo>
                    <a:pt x="219" y="118"/>
                    <a:pt x="218" y="118"/>
                    <a:pt x="217" y="119"/>
                  </a:cubicBezTo>
                  <a:cubicBezTo>
                    <a:pt x="216" y="119"/>
                    <a:pt x="216" y="119"/>
                    <a:pt x="215" y="119"/>
                  </a:cubicBezTo>
                  <a:cubicBezTo>
                    <a:pt x="214" y="120"/>
                    <a:pt x="213" y="120"/>
                    <a:pt x="212" y="120"/>
                  </a:cubicBezTo>
                  <a:cubicBezTo>
                    <a:pt x="211" y="121"/>
                    <a:pt x="211" y="121"/>
                    <a:pt x="210" y="121"/>
                  </a:cubicBezTo>
                  <a:cubicBezTo>
                    <a:pt x="209" y="122"/>
                    <a:pt x="209" y="123"/>
                    <a:pt x="207" y="123"/>
                  </a:cubicBezTo>
                  <a:cubicBezTo>
                    <a:pt x="207" y="123"/>
                    <a:pt x="207" y="123"/>
                    <a:pt x="207" y="123"/>
                  </a:cubicBezTo>
                  <a:cubicBezTo>
                    <a:pt x="205" y="123"/>
                    <a:pt x="203" y="122"/>
                    <a:pt x="201" y="121"/>
                  </a:cubicBezTo>
                  <a:cubicBezTo>
                    <a:pt x="200" y="120"/>
                    <a:pt x="199" y="119"/>
                    <a:pt x="197" y="119"/>
                  </a:cubicBezTo>
                  <a:cubicBezTo>
                    <a:pt x="196" y="119"/>
                    <a:pt x="194" y="118"/>
                    <a:pt x="192" y="118"/>
                  </a:cubicBezTo>
                  <a:cubicBezTo>
                    <a:pt x="190" y="118"/>
                    <a:pt x="188" y="119"/>
                    <a:pt x="186" y="119"/>
                  </a:cubicBezTo>
                  <a:cubicBezTo>
                    <a:pt x="184" y="119"/>
                    <a:pt x="181" y="119"/>
                    <a:pt x="180" y="119"/>
                  </a:cubicBezTo>
                  <a:cubicBezTo>
                    <a:pt x="176" y="119"/>
                    <a:pt x="174" y="119"/>
                    <a:pt x="172" y="118"/>
                  </a:cubicBezTo>
                  <a:cubicBezTo>
                    <a:pt x="170" y="117"/>
                    <a:pt x="165" y="114"/>
                    <a:pt x="164" y="112"/>
                  </a:cubicBezTo>
                  <a:cubicBezTo>
                    <a:pt x="163" y="108"/>
                    <a:pt x="163" y="103"/>
                    <a:pt x="164" y="98"/>
                  </a:cubicBezTo>
                  <a:cubicBezTo>
                    <a:pt x="164" y="96"/>
                    <a:pt x="164" y="94"/>
                    <a:pt x="164" y="93"/>
                  </a:cubicBezTo>
                  <a:cubicBezTo>
                    <a:pt x="164" y="90"/>
                    <a:pt x="164" y="87"/>
                    <a:pt x="165" y="85"/>
                  </a:cubicBezTo>
                  <a:cubicBezTo>
                    <a:pt x="166" y="80"/>
                    <a:pt x="167" y="74"/>
                    <a:pt x="164" y="69"/>
                  </a:cubicBezTo>
                  <a:cubicBezTo>
                    <a:pt x="164" y="68"/>
                    <a:pt x="163" y="67"/>
                    <a:pt x="163" y="66"/>
                  </a:cubicBezTo>
                  <a:cubicBezTo>
                    <a:pt x="161" y="63"/>
                    <a:pt x="160" y="61"/>
                    <a:pt x="160" y="58"/>
                  </a:cubicBezTo>
                  <a:cubicBezTo>
                    <a:pt x="159" y="54"/>
                    <a:pt x="158" y="51"/>
                    <a:pt x="157" y="48"/>
                  </a:cubicBezTo>
                  <a:cubicBezTo>
                    <a:pt x="155" y="43"/>
                    <a:pt x="154" y="41"/>
                    <a:pt x="152" y="37"/>
                  </a:cubicBezTo>
                  <a:cubicBezTo>
                    <a:pt x="152" y="36"/>
                    <a:pt x="151" y="35"/>
                    <a:pt x="151" y="34"/>
                  </a:cubicBezTo>
                  <a:cubicBezTo>
                    <a:pt x="151" y="34"/>
                    <a:pt x="151" y="34"/>
                    <a:pt x="151" y="34"/>
                  </a:cubicBezTo>
                  <a:cubicBezTo>
                    <a:pt x="151" y="34"/>
                    <a:pt x="151" y="34"/>
                    <a:pt x="151" y="34"/>
                  </a:cubicBezTo>
                  <a:cubicBezTo>
                    <a:pt x="151" y="33"/>
                    <a:pt x="151" y="33"/>
                    <a:pt x="151" y="33"/>
                  </a:cubicBezTo>
                  <a:cubicBezTo>
                    <a:pt x="151" y="33"/>
                    <a:pt x="151" y="33"/>
                    <a:pt x="151" y="33"/>
                  </a:cubicBezTo>
                  <a:cubicBezTo>
                    <a:pt x="151" y="31"/>
                    <a:pt x="150" y="29"/>
                    <a:pt x="149" y="28"/>
                  </a:cubicBezTo>
                  <a:cubicBezTo>
                    <a:pt x="147" y="26"/>
                    <a:pt x="146" y="24"/>
                    <a:pt x="145" y="22"/>
                  </a:cubicBezTo>
                  <a:cubicBezTo>
                    <a:pt x="145" y="21"/>
                    <a:pt x="144" y="20"/>
                    <a:pt x="143" y="18"/>
                  </a:cubicBezTo>
                  <a:cubicBezTo>
                    <a:pt x="142" y="17"/>
                    <a:pt x="140" y="16"/>
                    <a:pt x="137" y="15"/>
                  </a:cubicBezTo>
                  <a:cubicBezTo>
                    <a:pt x="136" y="14"/>
                    <a:pt x="135" y="13"/>
                    <a:pt x="134" y="13"/>
                  </a:cubicBezTo>
                  <a:cubicBezTo>
                    <a:pt x="132" y="12"/>
                    <a:pt x="131" y="11"/>
                    <a:pt x="129" y="10"/>
                  </a:cubicBezTo>
                  <a:cubicBezTo>
                    <a:pt x="128" y="9"/>
                    <a:pt x="126" y="8"/>
                    <a:pt x="125" y="7"/>
                  </a:cubicBezTo>
                  <a:cubicBezTo>
                    <a:pt x="123" y="6"/>
                    <a:pt x="122" y="5"/>
                    <a:pt x="121" y="5"/>
                  </a:cubicBezTo>
                  <a:cubicBezTo>
                    <a:pt x="119" y="3"/>
                    <a:pt x="116" y="1"/>
                    <a:pt x="113" y="1"/>
                  </a:cubicBezTo>
                  <a:cubicBezTo>
                    <a:pt x="110" y="0"/>
                    <a:pt x="106" y="0"/>
                    <a:pt x="103" y="0"/>
                  </a:cubicBezTo>
                  <a:cubicBezTo>
                    <a:pt x="101" y="0"/>
                    <a:pt x="99" y="0"/>
                    <a:pt x="96" y="0"/>
                  </a:cubicBezTo>
                  <a:cubicBezTo>
                    <a:pt x="95" y="0"/>
                    <a:pt x="94" y="0"/>
                    <a:pt x="92" y="0"/>
                  </a:cubicBezTo>
                  <a:cubicBezTo>
                    <a:pt x="88" y="0"/>
                    <a:pt x="83" y="0"/>
                    <a:pt x="78" y="1"/>
                  </a:cubicBezTo>
                  <a:cubicBezTo>
                    <a:pt x="75" y="1"/>
                    <a:pt x="72" y="3"/>
                    <a:pt x="69" y="4"/>
                  </a:cubicBezTo>
                  <a:cubicBezTo>
                    <a:pt x="66" y="5"/>
                    <a:pt x="63" y="6"/>
                    <a:pt x="61" y="6"/>
                  </a:cubicBezTo>
                  <a:cubicBezTo>
                    <a:pt x="59" y="7"/>
                    <a:pt x="57" y="7"/>
                    <a:pt x="55" y="7"/>
                  </a:cubicBezTo>
                  <a:cubicBezTo>
                    <a:pt x="51" y="8"/>
                    <a:pt x="47" y="8"/>
                    <a:pt x="44" y="10"/>
                  </a:cubicBezTo>
                  <a:cubicBezTo>
                    <a:pt x="41" y="12"/>
                    <a:pt x="37" y="12"/>
                    <a:pt x="33" y="13"/>
                  </a:cubicBezTo>
                  <a:cubicBezTo>
                    <a:pt x="29" y="13"/>
                    <a:pt x="25" y="13"/>
                    <a:pt x="23" y="15"/>
                  </a:cubicBezTo>
                  <a:cubicBezTo>
                    <a:pt x="20" y="18"/>
                    <a:pt x="19" y="22"/>
                    <a:pt x="19" y="26"/>
                  </a:cubicBezTo>
                  <a:cubicBezTo>
                    <a:pt x="18" y="28"/>
                    <a:pt x="18" y="31"/>
                    <a:pt x="17" y="33"/>
                  </a:cubicBezTo>
                  <a:cubicBezTo>
                    <a:pt x="15" y="35"/>
                    <a:pt x="14" y="38"/>
                    <a:pt x="12" y="40"/>
                  </a:cubicBezTo>
                  <a:cubicBezTo>
                    <a:pt x="9" y="44"/>
                    <a:pt x="7" y="47"/>
                    <a:pt x="7" y="53"/>
                  </a:cubicBezTo>
                  <a:cubicBezTo>
                    <a:pt x="7" y="63"/>
                    <a:pt x="7" y="75"/>
                    <a:pt x="5" y="86"/>
                  </a:cubicBezTo>
                  <a:cubicBezTo>
                    <a:pt x="4" y="93"/>
                    <a:pt x="4" y="100"/>
                    <a:pt x="2" y="107"/>
                  </a:cubicBezTo>
                  <a:cubicBezTo>
                    <a:pt x="0" y="114"/>
                    <a:pt x="0" y="119"/>
                    <a:pt x="3" y="124"/>
                  </a:cubicBezTo>
                  <a:cubicBezTo>
                    <a:pt x="6" y="127"/>
                    <a:pt x="8" y="129"/>
                    <a:pt x="11" y="132"/>
                  </a:cubicBezTo>
                  <a:cubicBezTo>
                    <a:pt x="13" y="133"/>
                    <a:pt x="15" y="135"/>
                    <a:pt x="17" y="137"/>
                  </a:cubicBezTo>
                  <a:cubicBezTo>
                    <a:pt x="19" y="139"/>
                    <a:pt x="21" y="142"/>
                    <a:pt x="24" y="146"/>
                  </a:cubicBezTo>
                  <a:cubicBezTo>
                    <a:pt x="25" y="147"/>
                    <a:pt x="26" y="149"/>
                    <a:pt x="28" y="151"/>
                  </a:cubicBezTo>
                  <a:cubicBezTo>
                    <a:pt x="33" y="158"/>
                    <a:pt x="40" y="163"/>
                    <a:pt x="46" y="168"/>
                  </a:cubicBezTo>
                  <a:cubicBezTo>
                    <a:pt x="50" y="170"/>
                    <a:pt x="50" y="170"/>
                    <a:pt x="50" y="170"/>
                  </a:cubicBezTo>
                  <a:cubicBezTo>
                    <a:pt x="52" y="172"/>
                    <a:pt x="55" y="175"/>
                    <a:pt x="58" y="177"/>
                  </a:cubicBezTo>
                  <a:cubicBezTo>
                    <a:pt x="61" y="181"/>
                    <a:pt x="65" y="184"/>
                    <a:pt x="69" y="187"/>
                  </a:cubicBezTo>
                  <a:cubicBezTo>
                    <a:pt x="71" y="188"/>
                    <a:pt x="73" y="188"/>
                    <a:pt x="75" y="188"/>
                  </a:cubicBezTo>
                  <a:cubicBezTo>
                    <a:pt x="76" y="189"/>
                    <a:pt x="77" y="189"/>
                    <a:pt x="78" y="189"/>
                  </a:cubicBezTo>
                  <a:cubicBezTo>
                    <a:pt x="80" y="190"/>
                    <a:pt x="82" y="191"/>
                    <a:pt x="83" y="192"/>
                  </a:cubicBezTo>
                  <a:cubicBezTo>
                    <a:pt x="84" y="192"/>
                    <a:pt x="85" y="193"/>
                    <a:pt x="85" y="193"/>
                  </a:cubicBezTo>
                  <a:cubicBezTo>
                    <a:pt x="86" y="193"/>
                    <a:pt x="87" y="194"/>
                    <a:pt x="88" y="194"/>
                  </a:cubicBezTo>
                  <a:cubicBezTo>
                    <a:pt x="89" y="194"/>
                    <a:pt x="89" y="194"/>
                    <a:pt x="90" y="194"/>
                  </a:cubicBezTo>
                  <a:cubicBezTo>
                    <a:pt x="91" y="193"/>
                    <a:pt x="91" y="193"/>
                    <a:pt x="92" y="193"/>
                  </a:cubicBezTo>
                  <a:cubicBezTo>
                    <a:pt x="93" y="193"/>
                    <a:pt x="93" y="193"/>
                    <a:pt x="94" y="194"/>
                  </a:cubicBezTo>
                  <a:cubicBezTo>
                    <a:pt x="99" y="194"/>
                    <a:pt x="106" y="197"/>
                    <a:pt x="111" y="199"/>
                  </a:cubicBezTo>
                  <a:cubicBezTo>
                    <a:pt x="115" y="201"/>
                    <a:pt x="119" y="204"/>
                    <a:pt x="122" y="207"/>
                  </a:cubicBezTo>
                  <a:cubicBezTo>
                    <a:pt x="126" y="209"/>
                    <a:pt x="126" y="209"/>
                    <a:pt x="126" y="209"/>
                  </a:cubicBezTo>
                  <a:cubicBezTo>
                    <a:pt x="127" y="210"/>
                    <a:pt x="128" y="211"/>
                    <a:pt x="129" y="211"/>
                  </a:cubicBezTo>
                  <a:cubicBezTo>
                    <a:pt x="129" y="212"/>
                    <a:pt x="129" y="212"/>
                    <a:pt x="129" y="212"/>
                  </a:cubicBezTo>
                  <a:cubicBezTo>
                    <a:pt x="132" y="214"/>
                    <a:pt x="136" y="216"/>
                    <a:pt x="139" y="218"/>
                  </a:cubicBezTo>
                  <a:cubicBezTo>
                    <a:pt x="141" y="219"/>
                    <a:pt x="143" y="221"/>
                    <a:pt x="145" y="222"/>
                  </a:cubicBezTo>
                  <a:cubicBezTo>
                    <a:pt x="147" y="224"/>
                    <a:pt x="149" y="225"/>
                    <a:pt x="151" y="226"/>
                  </a:cubicBezTo>
                  <a:cubicBezTo>
                    <a:pt x="153" y="227"/>
                    <a:pt x="154" y="227"/>
                    <a:pt x="156" y="227"/>
                  </a:cubicBezTo>
                  <a:cubicBezTo>
                    <a:pt x="158" y="227"/>
                    <a:pt x="160" y="228"/>
                    <a:pt x="162" y="229"/>
                  </a:cubicBezTo>
                  <a:cubicBezTo>
                    <a:pt x="163" y="230"/>
                    <a:pt x="164" y="231"/>
                    <a:pt x="165" y="231"/>
                  </a:cubicBezTo>
                  <a:cubicBezTo>
                    <a:pt x="166" y="233"/>
                    <a:pt x="167" y="234"/>
                    <a:pt x="169" y="234"/>
                  </a:cubicBezTo>
                  <a:cubicBezTo>
                    <a:pt x="170" y="234"/>
                    <a:pt x="172" y="234"/>
                    <a:pt x="173" y="234"/>
                  </a:cubicBezTo>
                  <a:cubicBezTo>
                    <a:pt x="175" y="235"/>
                    <a:pt x="178" y="235"/>
                    <a:pt x="180" y="236"/>
                  </a:cubicBezTo>
                  <a:cubicBezTo>
                    <a:pt x="186" y="239"/>
                    <a:pt x="194" y="243"/>
                    <a:pt x="196" y="250"/>
                  </a:cubicBezTo>
                  <a:cubicBezTo>
                    <a:pt x="197" y="253"/>
                    <a:pt x="198" y="258"/>
                    <a:pt x="196" y="261"/>
                  </a:cubicBezTo>
                  <a:cubicBezTo>
                    <a:pt x="195" y="263"/>
                    <a:pt x="194" y="263"/>
                    <a:pt x="193" y="264"/>
                  </a:cubicBezTo>
                  <a:cubicBezTo>
                    <a:pt x="192" y="266"/>
                    <a:pt x="191" y="267"/>
                    <a:pt x="190" y="269"/>
                  </a:cubicBezTo>
                  <a:cubicBezTo>
                    <a:pt x="190" y="270"/>
                    <a:pt x="190" y="272"/>
                    <a:pt x="190" y="273"/>
                  </a:cubicBezTo>
                  <a:cubicBezTo>
                    <a:pt x="190" y="275"/>
                    <a:pt x="189" y="278"/>
                    <a:pt x="188" y="280"/>
                  </a:cubicBezTo>
                  <a:cubicBezTo>
                    <a:pt x="187" y="282"/>
                    <a:pt x="184" y="283"/>
                    <a:pt x="182" y="285"/>
                  </a:cubicBezTo>
                  <a:cubicBezTo>
                    <a:pt x="181" y="285"/>
                    <a:pt x="181" y="285"/>
                    <a:pt x="181" y="285"/>
                  </a:cubicBezTo>
                  <a:cubicBezTo>
                    <a:pt x="181" y="287"/>
                    <a:pt x="181" y="287"/>
                    <a:pt x="181" y="287"/>
                  </a:cubicBezTo>
                  <a:cubicBezTo>
                    <a:pt x="181" y="289"/>
                    <a:pt x="181" y="291"/>
                    <a:pt x="181" y="293"/>
                  </a:cubicBezTo>
                  <a:cubicBezTo>
                    <a:pt x="181" y="293"/>
                    <a:pt x="181" y="293"/>
                    <a:pt x="181" y="293"/>
                  </a:cubicBezTo>
                  <a:cubicBezTo>
                    <a:pt x="182" y="299"/>
                    <a:pt x="182" y="306"/>
                    <a:pt x="178" y="311"/>
                  </a:cubicBezTo>
                  <a:cubicBezTo>
                    <a:pt x="177" y="312"/>
                    <a:pt x="177" y="314"/>
                    <a:pt x="176" y="315"/>
                  </a:cubicBezTo>
                  <a:cubicBezTo>
                    <a:pt x="176" y="317"/>
                    <a:pt x="175" y="318"/>
                    <a:pt x="174" y="320"/>
                  </a:cubicBezTo>
                  <a:cubicBezTo>
                    <a:pt x="173" y="321"/>
                    <a:pt x="172" y="321"/>
                    <a:pt x="172" y="322"/>
                  </a:cubicBezTo>
                  <a:cubicBezTo>
                    <a:pt x="170" y="322"/>
                    <a:pt x="169" y="323"/>
                    <a:pt x="169" y="325"/>
                  </a:cubicBezTo>
                  <a:cubicBezTo>
                    <a:pt x="169" y="329"/>
                    <a:pt x="173" y="329"/>
                    <a:pt x="176" y="329"/>
                  </a:cubicBezTo>
                  <a:cubicBezTo>
                    <a:pt x="177" y="329"/>
                    <a:pt x="178" y="329"/>
                    <a:pt x="178" y="329"/>
                  </a:cubicBezTo>
                  <a:cubicBezTo>
                    <a:pt x="179" y="329"/>
                    <a:pt x="179" y="329"/>
                    <a:pt x="179" y="329"/>
                  </a:cubicBezTo>
                  <a:cubicBezTo>
                    <a:pt x="182" y="329"/>
                    <a:pt x="184" y="330"/>
                    <a:pt x="187" y="330"/>
                  </a:cubicBezTo>
                  <a:cubicBezTo>
                    <a:pt x="190" y="331"/>
                    <a:pt x="192" y="331"/>
                    <a:pt x="195" y="331"/>
                  </a:cubicBezTo>
                  <a:cubicBezTo>
                    <a:pt x="196" y="331"/>
                    <a:pt x="197" y="331"/>
                    <a:pt x="199" y="331"/>
                  </a:cubicBezTo>
                  <a:cubicBezTo>
                    <a:pt x="200" y="330"/>
                    <a:pt x="201" y="330"/>
                    <a:pt x="203" y="330"/>
                  </a:cubicBezTo>
                  <a:cubicBezTo>
                    <a:pt x="203" y="330"/>
                    <a:pt x="204" y="330"/>
                    <a:pt x="205" y="331"/>
                  </a:cubicBezTo>
                  <a:cubicBezTo>
                    <a:pt x="207" y="331"/>
                    <a:pt x="208" y="332"/>
                    <a:pt x="210" y="333"/>
                  </a:cubicBezTo>
                  <a:cubicBezTo>
                    <a:pt x="211" y="334"/>
                    <a:pt x="212" y="334"/>
                    <a:pt x="213" y="335"/>
                  </a:cubicBezTo>
                  <a:cubicBezTo>
                    <a:pt x="215" y="335"/>
                    <a:pt x="215" y="335"/>
                    <a:pt x="215" y="335"/>
                  </a:cubicBezTo>
                  <a:cubicBezTo>
                    <a:pt x="218" y="337"/>
                    <a:pt x="222" y="338"/>
                    <a:pt x="225" y="338"/>
                  </a:cubicBezTo>
                  <a:cubicBezTo>
                    <a:pt x="227" y="338"/>
                    <a:pt x="229" y="337"/>
                    <a:pt x="230" y="335"/>
                  </a:cubicBezTo>
                  <a:cubicBezTo>
                    <a:pt x="230" y="335"/>
                    <a:pt x="230" y="335"/>
                    <a:pt x="230" y="335"/>
                  </a:cubicBezTo>
                  <a:cubicBezTo>
                    <a:pt x="231" y="335"/>
                    <a:pt x="231" y="335"/>
                    <a:pt x="231" y="335"/>
                  </a:cubicBezTo>
                  <a:cubicBezTo>
                    <a:pt x="232" y="335"/>
                    <a:pt x="234" y="335"/>
                    <a:pt x="235" y="337"/>
                  </a:cubicBezTo>
                  <a:cubicBezTo>
                    <a:pt x="236" y="338"/>
                    <a:pt x="237" y="339"/>
                    <a:pt x="238" y="339"/>
                  </a:cubicBezTo>
                  <a:cubicBezTo>
                    <a:pt x="238" y="339"/>
                    <a:pt x="238" y="339"/>
                    <a:pt x="238" y="339"/>
                  </a:cubicBezTo>
                  <a:cubicBezTo>
                    <a:pt x="239" y="338"/>
                    <a:pt x="239" y="338"/>
                    <a:pt x="239" y="338"/>
                  </a:cubicBezTo>
                  <a:cubicBezTo>
                    <a:pt x="240" y="338"/>
                    <a:pt x="240" y="338"/>
                    <a:pt x="241" y="337"/>
                  </a:cubicBezTo>
                  <a:cubicBezTo>
                    <a:pt x="242" y="337"/>
                    <a:pt x="243" y="336"/>
                    <a:pt x="244" y="336"/>
                  </a:cubicBezTo>
                  <a:cubicBezTo>
                    <a:pt x="245" y="336"/>
                    <a:pt x="245" y="336"/>
                    <a:pt x="246" y="336"/>
                  </a:cubicBezTo>
                  <a:cubicBezTo>
                    <a:pt x="246" y="336"/>
                    <a:pt x="247" y="337"/>
                    <a:pt x="249" y="339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3" y="337"/>
                    <a:pt x="253" y="337"/>
                    <a:pt x="253" y="337"/>
                  </a:cubicBezTo>
                  <a:cubicBezTo>
                    <a:pt x="254" y="333"/>
                    <a:pt x="255" y="331"/>
                    <a:pt x="259" y="330"/>
                  </a:cubicBezTo>
                  <a:cubicBezTo>
                    <a:pt x="260" y="330"/>
                    <a:pt x="260" y="330"/>
                    <a:pt x="261" y="330"/>
                  </a:cubicBezTo>
                  <a:cubicBezTo>
                    <a:pt x="264" y="330"/>
                    <a:pt x="268" y="331"/>
                    <a:pt x="271" y="334"/>
                  </a:cubicBezTo>
                  <a:cubicBezTo>
                    <a:pt x="271" y="334"/>
                    <a:pt x="272" y="335"/>
                    <a:pt x="272" y="335"/>
                  </a:cubicBezTo>
                  <a:cubicBezTo>
                    <a:pt x="274" y="338"/>
                    <a:pt x="274" y="338"/>
                    <a:pt x="274" y="338"/>
                  </a:cubicBezTo>
                  <a:cubicBezTo>
                    <a:pt x="276" y="335"/>
                    <a:pt x="276" y="335"/>
                    <a:pt x="276" y="335"/>
                  </a:cubicBezTo>
                  <a:cubicBezTo>
                    <a:pt x="276" y="334"/>
                    <a:pt x="277" y="333"/>
                    <a:pt x="277" y="333"/>
                  </a:cubicBezTo>
                  <a:cubicBezTo>
                    <a:pt x="277" y="332"/>
                    <a:pt x="277" y="332"/>
                    <a:pt x="277" y="332"/>
                  </a:cubicBezTo>
                  <a:cubicBezTo>
                    <a:pt x="278" y="330"/>
                    <a:pt x="278" y="329"/>
                    <a:pt x="278" y="327"/>
                  </a:cubicBezTo>
                  <a:cubicBezTo>
                    <a:pt x="278" y="324"/>
                    <a:pt x="279" y="321"/>
                    <a:pt x="280" y="319"/>
                  </a:cubicBezTo>
                  <a:cubicBezTo>
                    <a:pt x="282" y="316"/>
                    <a:pt x="286" y="315"/>
                    <a:pt x="290" y="314"/>
                  </a:cubicBezTo>
                  <a:cubicBezTo>
                    <a:pt x="291" y="314"/>
                    <a:pt x="291" y="314"/>
                    <a:pt x="291" y="314"/>
                  </a:cubicBezTo>
                  <a:cubicBezTo>
                    <a:pt x="292" y="313"/>
                    <a:pt x="292" y="313"/>
                    <a:pt x="292" y="313"/>
                  </a:cubicBezTo>
                  <a:cubicBezTo>
                    <a:pt x="293" y="311"/>
                    <a:pt x="295" y="309"/>
                    <a:pt x="297" y="307"/>
                  </a:cubicBezTo>
                  <a:cubicBezTo>
                    <a:pt x="300" y="304"/>
                    <a:pt x="302" y="301"/>
                    <a:pt x="303" y="297"/>
                  </a:cubicBezTo>
                  <a:cubicBezTo>
                    <a:pt x="305" y="287"/>
                    <a:pt x="305" y="279"/>
                    <a:pt x="304" y="270"/>
                  </a:cubicBezTo>
                  <a:cubicBezTo>
                    <a:pt x="304" y="269"/>
                    <a:pt x="303" y="267"/>
                    <a:pt x="303" y="265"/>
                  </a:cubicBezTo>
                  <a:cubicBezTo>
                    <a:pt x="302" y="259"/>
                    <a:pt x="301" y="253"/>
                    <a:pt x="303" y="248"/>
                  </a:cubicBezTo>
                  <a:cubicBezTo>
                    <a:pt x="303" y="246"/>
                    <a:pt x="304" y="245"/>
                    <a:pt x="305" y="243"/>
                  </a:cubicBezTo>
                  <a:cubicBezTo>
                    <a:pt x="306" y="241"/>
                    <a:pt x="307" y="239"/>
                    <a:pt x="307" y="237"/>
                  </a:cubicBezTo>
                  <a:cubicBezTo>
                    <a:pt x="308" y="235"/>
                    <a:pt x="307" y="233"/>
                    <a:pt x="307" y="23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1799" y="2447"/>
              <a:ext cx="23" cy="26"/>
            </a:xfrm>
            <a:custGeom>
              <a:avLst/>
              <a:gdLst>
                <a:gd name="T0" fmla="*/ 15 w 15"/>
                <a:gd name="T1" fmla="*/ 6 h 17"/>
                <a:gd name="T2" fmla="*/ 9 w 15"/>
                <a:gd name="T3" fmla="*/ 0 h 17"/>
                <a:gd name="T4" fmla="*/ 3 w 15"/>
                <a:gd name="T5" fmla="*/ 5 h 17"/>
                <a:gd name="T6" fmla="*/ 2 w 15"/>
                <a:gd name="T7" fmla="*/ 15 h 17"/>
                <a:gd name="T8" fmla="*/ 5 w 15"/>
                <a:gd name="T9" fmla="*/ 17 h 17"/>
                <a:gd name="T10" fmla="*/ 12 w 15"/>
                <a:gd name="T11" fmla="*/ 13 h 17"/>
                <a:gd name="T12" fmla="*/ 15 w 15"/>
                <a:gd name="T13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7">
                  <a:moveTo>
                    <a:pt x="15" y="6"/>
                  </a:moveTo>
                  <a:cubicBezTo>
                    <a:pt x="13" y="1"/>
                    <a:pt x="11" y="0"/>
                    <a:pt x="9" y="0"/>
                  </a:cubicBezTo>
                  <a:cubicBezTo>
                    <a:pt x="7" y="0"/>
                    <a:pt x="5" y="2"/>
                    <a:pt x="3" y="5"/>
                  </a:cubicBezTo>
                  <a:cubicBezTo>
                    <a:pt x="1" y="8"/>
                    <a:pt x="0" y="12"/>
                    <a:pt x="2" y="15"/>
                  </a:cubicBezTo>
                  <a:cubicBezTo>
                    <a:pt x="3" y="17"/>
                    <a:pt x="4" y="17"/>
                    <a:pt x="5" y="17"/>
                  </a:cubicBezTo>
                  <a:cubicBezTo>
                    <a:pt x="8" y="17"/>
                    <a:pt x="10" y="15"/>
                    <a:pt x="12" y="13"/>
                  </a:cubicBezTo>
                  <a:cubicBezTo>
                    <a:pt x="13" y="12"/>
                    <a:pt x="15" y="8"/>
                    <a:pt x="15" y="6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1817" y="2462"/>
              <a:ext cx="21" cy="21"/>
            </a:xfrm>
            <a:custGeom>
              <a:avLst/>
              <a:gdLst>
                <a:gd name="T0" fmla="*/ 6 w 14"/>
                <a:gd name="T1" fmla="*/ 0 h 14"/>
                <a:gd name="T2" fmla="*/ 1 w 14"/>
                <a:gd name="T3" fmla="*/ 4 h 14"/>
                <a:gd name="T4" fmla="*/ 2 w 14"/>
                <a:gd name="T5" fmla="*/ 11 h 14"/>
                <a:gd name="T6" fmla="*/ 8 w 14"/>
                <a:gd name="T7" fmla="*/ 14 h 14"/>
                <a:gd name="T8" fmla="*/ 13 w 14"/>
                <a:gd name="T9" fmla="*/ 11 h 14"/>
                <a:gd name="T10" fmla="*/ 13 w 14"/>
                <a:gd name="T11" fmla="*/ 3 h 14"/>
                <a:gd name="T12" fmla="*/ 6 w 14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4">
                  <a:moveTo>
                    <a:pt x="6" y="0"/>
                  </a:moveTo>
                  <a:cubicBezTo>
                    <a:pt x="4" y="0"/>
                    <a:pt x="2" y="1"/>
                    <a:pt x="1" y="4"/>
                  </a:cubicBezTo>
                  <a:cubicBezTo>
                    <a:pt x="0" y="6"/>
                    <a:pt x="1" y="9"/>
                    <a:pt x="2" y="11"/>
                  </a:cubicBezTo>
                  <a:cubicBezTo>
                    <a:pt x="4" y="13"/>
                    <a:pt x="6" y="14"/>
                    <a:pt x="8" y="14"/>
                  </a:cubicBezTo>
                  <a:cubicBezTo>
                    <a:pt x="9" y="14"/>
                    <a:pt x="11" y="14"/>
                    <a:pt x="13" y="11"/>
                  </a:cubicBezTo>
                  <a:cubicBezTo>
                    <a:pt x="14" y="8"/>
                    <a:pt x="14" y="6"/>
                    <a:pt x="13" y="3"/>
                  </a:cubicBezTo>
                  <a:cubicBezTo>
                    <a:pt x="11" y="1"/>
                    <a:pt x="9" y="0"/>
                    <a:pt x="6" y="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2413" y="3554"/>
              <a:ext cx="20" cy="17"/>
            </a:xfrm>
            <a:custGeom>
              <a:avLst/>
              <a:gdLst>
                <a:gd name="T0" fmla="*/ 13 w 13"/>
                <a:gd name="T1" fmla="*/ 5 h 11"/>
                <a:gd name="T2" fmla="*/ 6 w 13"/>
                <a:gd name="T3" fmla="*/ 0 h 11"/>
                <a:gd name="T4" fmla="*/ 2 w 13"/>
                <a:gd name="T5" fmla="*/ 1 h 11"/>
                <a:gd name="T6" fmla="*/ 0 w 13"/>
                <a:gd name="T7" fmla="*/ 6 h 11"/>
                <a:gd name="T8" fmla="*/ 0 w 13"/>
                <a:gd name="T9" fmla="*/ 7 h 11"/>
                <a:gd name="T10" fmla="*/ 2 w 13"/>
                <a:gd name="T11" fmla="*/ 8 h 11"/>
                <a:gd name="T12" fmla="*/ 3 w 13"/>
                <a:gd name="T13" fmla="*/ 9 h 11"/>
                <a:gd name="T14" fmla="*/ 4 w 13"/>
                <a:gd name="T15" fmla="*/ 9 h 11"/>
                <a:gd name="T16" fmla="*/ 7 w 13"/>
                <a:gd name="T17" fmla="*/ 11 h 11"/>
                <a:gd name="T18" fmla="*/ 7 w 13"/>
                <a:gd name="T19" fmla="*/ 11 h 11"/>
                <a:gd name="T20" fmla="*/ 7 w 13"/>
                <a:gd name="T21" fmla="*/ 11 h 11"/>
                <a:gd name="T22" fmla="*/ 11 w 13"/>
                <a:gd name="T23" fmla="*/ 10 h 11"/>
                <a:gd name="T24" fmla="*/ 13 w 13"/>
                <a:gd name="T2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11">
                  <a:moveTo>
                    <a:pt x="13" y="5"/>
                  </a:moveTo>
                  <a:cubicBezTo>
                    <a:pt x="12" y="3"/>
                    <a:pt x="9" y="0"/>
                    <a:pt x="6" y="0"/>
                  </a:cubicBezTo>
                  <a:cubicBezTo>
                    <a:pt x="4" y="0"/>
                    <a:pt x="3" y="0"/>
                    <a:pt x="2" y="1"/>
                  </a:cubicBezTo>
                  <a:cubicBezTo>
                    <a:pt x="1" y="2"/>
                    <a:pt x="0" y="4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10"/>
                    <a:pt x="5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10" y="11"/>
                    <a:pt x="11" y="10"/>
                  </a:cubicBezTo>
                  <a:cubicBezTo>
                    <a:pt x="13" y="9"/>
                    <a:pt x="13" y="7"/>
                    <a:pt x="13" y="5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auto">
            <a:xfrm>
              <a:off x="2456" y="3568"/>
              <a:ext cx="28" cy="21"/>
            </a:xfrm>
            <a:custGeom>
              <a:avLst/>
              <a:gdLst>
                <a:gd name="T0" fmla="*/ 2 w 18"/>
                <a:gd name="T1" fmla="*/ 10 h 14"/>
                <a:gd name="T2" fmla="*/ 4 w 18"/>
                <a:gd name="T3" fmla="*/ 11 h 14"/>
                <a:gd name="T4" fmla="*/ 5 w 18"/>
                <a:gd name="T5" fmla="*/ 11 h 14"/>
                <a:gd name="T6" fmla="*/ 5 w 18"/>
                <a:gd name="T7" fmla="*/ 11 h 14"/>
                <a:gd name="T8" fmla="*/ 9 w 18"/>
                <a:gd name="T9" fmla="*/ 14 h 14"/>
                <a:gd name="T10" fmla="*/ 12 w 18"/>
                <a:gd name="T11" fmla="*/ 13 h 14"/>
                <a:gd name="T12" fmla="*/ 14 w 18"/>
                <a:gd name="T13" fmla="*/ 12 h 14"/>
                <a:gd name="T14" fmla="*/ 14 w 18"/>
                <a:gd name="T15" fmla="*/ 12 h 14"/>
                <a:gd name="T16" fmla="*/ 18 w 18"/>
                <a:gd name="T17" fmla="*/ 9 h 14"/>
                <a:gd name="T18" fmla="*/ 17 w 18"/>
                <a:gd name="T19" fmla="*/ 4 h 14"/>
                <a:gd name="T20" fmla="*/ 17 w 18"/>
                <a:gd name="T21" fmla="*/ 4 h 14"/>
                <a:gd name="T22" fmla="*/ 12 w 18"/>
                <a:gd name="T23" fmla="*/ 0 h 14"/>
                <a:gd name="T24" fmla="*/ 11 w 18"/>
                <a:gd name="T25" fmla="*/ 0 h 14"/>
                <a:gd name="T26" fmla="*/ 8 w 18"/>
                <a:gd name="T27" fmla="*/ 4 h 14"/>
                <a:gd name="T28" fmla="*/ 8 w 18"/>
                <a:gd name="T29" fmla="*/ 4 h 14"/>
                <a:gd name="T30" fmla="*/ 5 w 18"/>
                <a:gd name="T31" fmla="*/ 3 h 14"/>
                <a:gd name="T32" fmla="*/ 4 w 18"/>
                <a:gd name="T33" fmla="*/ 3 h 14"/>
                <a:gd name="T34" fmla="*/ 0 w 18"/>
                <a:gd name="T35" fmla="*/ 6 h 14"/>
                <a:gd name="T36" fmla="*/ 2 w 18"/>
                <a:gd name="T37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14">
                  <a:moveTo>
                    <a:pt x="2" y="10"/>
                  </a:moveTo>
                  <a:cubicBezTo>
                    <a:pt x="3" y="11"/>
                    <a:pt x="4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6" y="13"/>
                    <a:pt x="7" y="14"/>
                    <a:pt x="9" y="14"/>
                  </a:cubicBezTo>
                  <a:cubicBezTo>
                    <a:pt x="10" y="14"/>
                    <a:pt x="11" y="13"/>
                    <a:pt x="12" y="13"/>
                  </a:cubicBezTo>
                  <a:cubicBezTo>
                    <a:pt x="13" y="13"/>
                    <a:pt x="13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6" y="11"/>
                    <a:pt x="17" y="10"/>
                    <a:pt x="18" y="9"/>
                  </a:cubicBezTo>
                  <a:cubicBezTo>
                    <a:pt x="18" y="7"/>
                    <a:pt x="18" y="6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9" y="1"/>
                    <a:pt x="8" y="3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1" y="4"/>
                    <a:pt x="0" y="6"/>
                  </a:cubicBezTo>
                  <a:cubicBezTo>
                    <a:pt x="0" y="7"/>
                    <a:pt x="0" y="9"/>
                    <a:pt x="2" y="1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9" name="Freeform 29"/>
            <p:cNvSpPr>
              <a:spLocks/>
            </p:cNvSpPr>
            <p:nvPr/>
          </p:nvSpPr>
          <p:spPr bwMode="auto">
            <a:xfrm>
              <a:off x="2432" y="3632"/>
              <a:ext cx="15" cy="19"/>
            </a:xfrm>
            <a:custGeom>
              <a:avLst/>
              <a:gdLst>
                <a:gd name="T0" fmla="*/ 8 w 10"/>
                <a:gd name="T1" fmla="*/ 3 h 12"/>
                <a:gd name="T2" fmla="*/ 6 w 10"/>
                <a:gd name="T3" fmla="*/ 0 h 12"/>
                <a:gd name="T4" fmla="*/ 4 w 10"/>
                <a:gd name="T5" fmla="*/ 0 h 12"/>
                <a:gd name="T6" fmla="*/ 1 w 10"/>
                <a:gd name="T7" fmla="*/ 2 h 12"/>
                <a:gd name="T8" fmla="*/ 1 w 10"/>
                <a:gd name="T9" fmla="*/ 7 h 12"/>
                <a:gd name="T10" fmla="*/ 2 w 10"/>
                <a:gd name="T11" fmla="*/ 8 h 12"/>
                <a:gd name="T12" fmla="*/ 3 w 10"/>
                <a:gd name="T13" fmla="*/ 10 h 12"/>
                <a:gd name="T14" fmla="*/ 6 w 10"/>
                <a:gd name="T15" fmla="*/ 12 h 12"/>
                <a:gd name="T16" fmla="*/ 9 w 10"/>
                <a:gd name="T17" fmla="*/ 10 h 12"/>
                <a:gd name="T18" fmla="*/ 9 w 10"/>
                <a:gd name="T19" fmla="*/ 4 h 12"/>
                <a:gd name="T20" fmla="*/ 8 w 10"/>
                <a:gd name="T21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2">
                  <a:moveTo>
                    <a:pt x="8" y="3"/>
                  </a:moveTo>
                  <a:cubicBezTo>
                    <a:pt x="7" y="2"/>
                    <a:pt x="7" y="1"/>
                    <a:pt x="6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3" y="0"/>
                    <a:pt x="1" y="0"/>
                    <a:pt x="1" y="2"/>
                  </a:cubicBezTo>
                  <a:cubicBezTo>
                    <a:pt x="0" y="3"/>
                    <a:pt x="0" y="5"/>
                    <a:pt x="1" y="7"/>
                  </a:cubicBezTo>
                  <a:cubicBezTo>
                    <a:pt x="1" y="7"/>
                    <a:pt x="2" y="8"/>
                    <a:pt x="2" y="8"/>
                  </a:cubicBezTo>
                  <a:cubicBezTo>
                    <a:pt x="2" y="9"/>
                    <a:pt x="3" y="9"/>
                    <a:pt x="3" y="10"/>
                  </a:cubicBezTo>
                  <a:cubicBezTo>
                    <a:pt x="4" y="11"/>
                    <a:pt x="5" y="12"/>
                    <a:pt x="6" y="12"/>
                  </a:cubicBezTo>
                  <a:cubicBezTo>
                    <a:pt x="7" y="12"/>
                    <a:pt x="8" y="11"/>
                    <a:pt x="9" y="10"/>
                  </a:cubicBezTo>
                  <a:cubicBezTo>
                    <a:pt x="10" y="9"/>
                    <a:pt x="10" y="6"/>
                    <a:pt x="9" y="4"/>
                  </a:cubicBezTo>
                  <a:cubicBezTo>
                    <a:pt x="9" y="4"/>
                    <a:pt x="8" y="3"/>
                    <a:pt x="8" y="3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0" name="Freeform 30"/>
            <p:cNvSpPr>
              <a:spLocks/>
            </p:cNvSpPr>
            <p:nvPr/>
          </p:nvSpPr>
          <p:spPr bwMode="auto">
            <a:xfrm>
              <a:off x="2628" y="4052"/>
              <a:ext cx="27" cy="37"/>
            </a:xfrm>
            <a:custGeom>
              <a:avLst/>
              <a:gdLst>
                <a:gd name="T0" fmla="*/ 17 w 18"/>
                <a:gd name="T1" fmla="*/ 20 h 24"/>
                <a:gd name="T2" fmla="*/ 17 w 18"/>
                <a:gd name="T3" fmla="*/ 13 h 24"/>
                <a:gd name="T4" fmla="*/ 17 w 18"/>
                <a:gd name="T5" fmla="*/ 10 h 24"/>
                <a:gd name="T6" fmla="*/ 17 w 18"/>
                <a:gd name="T7" fmla="*/ 7 h 24"/>
                <a:gd name="T8" fmla="*/ 15 w 18"/>
                <a:gd name="T9" fmla="*/ 7 h 24"/>
                <a:gd name="T10" fmla="*/ 15 w 18"/>
                <a:gd name="T11" fmla="*/ 7 h 24"/>
                <a:gd name="T12" fmla="*/ 15 w 18"/>
                <a:gd name="T13" fmla="*/ 4 h 24"/>
                <a:gd name="T14" fmla="*/ 13 w 18"/>
                <a:gd name="T15" fmla="*/ 4 h 24"/>
                <a:gd name="T16" fmla="*/ 13 w 18"/>
                <a:gd name="T17" fmla="*/ 3 h 24"/>
                <a:gd name="T18" fmla="*/ 13 w 18"/>
                <a:gd name="T19" fmla="*/ 1 h 24"/>
                <a:gd name="T20" fmla="*/ 10 w 18"/>
                <a:gd name="T21" fmla="*/ 1 h 24"/>
                <a:gd name="T22" fmla="*/ 10 w 18"/>
                <a:gd name="T23" fmla="*/ 1 h 24"/>
                <a:gd name="T24" fmla="*/ 7 w 18"/>
                <a:gd name="T25" fmla="*/ 0 h 24"/>
                <a:gd name="T26" fmla="*/ 7 w 18"/>
                <a:gd name="T27" fmla="*/ 0 h 24"/>
                <a:gd name="T28" fmla="*/ 4 w 18"/>
                <a:gd name="T29" fmla="*/ 3 h 24"/>
                <a:gd name="T30" fmla="*/ 0 w 18"/>
                <a:gd name="T31" fmla="*/ 6 h 24"/>
                <a:gd name="T32" fmla="*/ 1 w 18"/>
                <a:gd name="T33" fmla="*/ 12 h 24"/>
                <a:gd name="T34" fmla="*/ 3 w 18"/>
                <a:gd name="T35" fmla="*/ 13 h 24"/>
                <a:gd name="T36" fmla="*/ 4 w 18"/>
                <a:gd name="T37" fmla="*/ 16 h 24"/>
                <a:gd name="T38" fmla="*/ 5 w 18"/>
                <a:gd name="T39" fmla="*/ 15 h 24"/>
                <a:gd name="T40" fmla="*/ 6 w 18"/>
                <a:gd name="T41" fmla="*/ 17 h 24"/>
                <a:gd name="T42" fmla="*/ 9 w 18"/>
                <a:gd name="T43" fmla="*/ 18 h 24"/>
                <a:gd name="T44" fmla="*/ 10 w 18"/>
                <a:gd name="T45" fmla="*/ 23 h 24"/>
                <a:gd name="T46" fmla="*/ 13 w 18"/>
                <a:gd name="T47" fmla="*/ 24 h 24"/>
                <a:gd name="T48" fmla="*/ 17 w 18"/>
                <a:gd name="T4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" h="24">
                  <a:moveTo>
                    <a:pt x="17" y="20"/>
                  </a:moveTo>
                  <a:cubicBezTo>
                    <a:pt x="18" y="18"/>
                    <a:pt x="17" y="15"/>
                    <a:pt x="17" y="13"/>
                  </a:cubicBezTo>
                  <a:cubicBezTo>
                    <a:pt x="17" y="12"/>
                    <a:pt x="17" y="11"/>
                    <a:pt x="17" y="10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9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4" y="1"/>
                    <a:pt x="4" y="3"/>
                  </a:cubicBezTo>
                  <a:cubicBezTo>
                    <a:pt x="2" y="3"/>
                    <a:pt x="1" y="4"/>
                    <a:pt x="0" y="6"/>
                  </a:cubicBezTo>
                  <a:cubicBezTo>
                    <a:pt x="0" y="7"/>
                    <a:pt x="0" y="10"/>
                    <a:pt x="1" y="12"/>
                  </a:cubicBezTo>
                  <a:cubicBezTo>
                    <a:pt x="2" y="13"/>
                    <a:pt x="3" y="13"/>
                    <a:pt x="3" y="13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5" y="16"/>
                    <a:pt x="6" y="17"/>
                  </a:cubicBezTo>
                  <a:cubicBezTo>
                    <a:pt x="6" y="18"/>
                    <a:pt x="8" y="18"/>
                    <a:pt x="9" y="18"/>
                  </a:cubicBezTo>
                  <a:cubicBezTo>
                    <a:pt x="8" y="20"/>
                    <a:pt x="9" y="21"/>
                    <a:pt x="10" y="23"/>
                  </a:cubicBezTo>
                  <a:cubicBezTo>
                    <a:pt x="11" y="23"/>
                    <a:pt x="12" y="24"/>
                    <a:pt x="13" y="24"/>
                  </a:cubicBezTo>
                  <a:cubicBezTo>
                    <a:pt x="14" y="24"/>
                    <a:pt x="16" y="23"/>
                    <a:pt x="17" y="2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1" name="Freeform 31"/>
            <p:cNvSpPr>
              <a:spLocks/>
            </p:cNvSpPr>
            <p:nvPr/>
          </p:nvSpPr>
          <p:spPr bwMode="auto">
            <a:xfrm>
              <a:off x="2651" y="4086"/>
              <a:ext cx="23" cy="17"/>
            </a:xfrm>
            <a:custGeom>
              <a:avLst/>
              <a:gdLst>
                <a:gd name="T0" fmla="*/ 10 w 15"/>
                <a:gd name="T1" fmla="*/ 1 h 11"/>
                <a:gd name="T2" fmla="*/ 9 w 15"/>
                <a:gd name="T3" fmla="*/ 1 h 11"/>
                <a:gd name="T4" fmla="*/ 9 w 15"/>
                <a:gd name="T5" fmla="*/ 1 h 11"/>
                <a:gd name="T6" fmla="*/ 8 w 15"/>
                <a:gd name="T7" fmla="*/ 0 h 11"/>
                <a:gd name="T8" fmla="*/ 4 w 15"/>
                <a:gd name="T9" fmla="*/ 0 h 11"/>
                <a:gd name="T10" fmla="*/ 1 w 15"/>
                <a:gd name="T11" fmla="*/ 1 h 11"/>
                <a:gd name="T12" fmla="*/ 0 w 15"/>
                <a:gd name="T13" fmla="*/ 4 h 11"/>
                <a:gd name="T14" fmla="*/ 3 w 15"/>
                <a:gd name="T15" fmla="*/ 7 h 11"/>
                <a:gd name="T16" fmla="*/ 4 w 15"/>
                <a:gd name="T17" fmla="*/ 7 h 11"/>
                <a:gd name="T18" fmla="*/ 4 w 15"/>
                <a:gd name="T19" fmla="*/ 8 h 11"/>
                <a:gd name="T20" fmla="*/ 4 w 15"/>
                <a:gd name="T21" fmla="*/ 8 h 11"/>
                <a:gd name="T22" fmla="*/ 4 w 15"/>
                <a:gd name="T23" fmla="*/ 8 h 11"/>
                <a:gd name="T24" fmla="*/ 4 w 15"/>
                <a:gd name="T25" fmla="*/ 10 h 11"/>
                <a:gd name="T26" fmla="*/ 6 w 15"/>
                <a:gd name="T27" fmla="*/ 10 h 11"/>
                <a:gd name="T28" fmla="*/ 9 w 15"/>
                <a:gd name="T29" fmla="*/ 11 h 11"/>
                <a:gd name="T30" fmla="*/ 11 w 15"/>
                <a:gd name="T31" fmla="*/ 10 h 11"/>
                <a:gd name="T32" fmla="*/ 13 w 15"/>
                <a:gd name="T33" fmla="*/ 8 h 11"/>
                <a:gd name="T34" fmla="*/ 14 w 15"/>
                <a:gd name="T35" fmla="*/ 8 h 11"/>
                <a:gd name="T36" fmla="*/ 15 w 15"/>
                <a:gd name="T37" fmla="*/ 6 h 11"/>
                <a:gd name="T38" fmla="*/ 14 w 15"/>
                <a:gd name="T39" fmla="*/ 2 h 11"/>
                <a:gd name="T40" fmla="*/ 10 w 15"/>
                <a:gd name="T4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1">
                  <a:moveTo>
                    <a:pt x="10" y="1"/>
                  </a:moveTo>
                  <a:cubicBezTo>
                    <a:pt x="10" y="1"/>
                    <a:pt x="10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0"/>
                  </a:cubicBezTo>
                  <a:cubicBezTo>
                    <a:pt x="7" y="0"/>
                    <a:pt x="6" y="0"/>
                    <a:pt x="4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4"/>
                    <a:pt x="0" y="4"/>
                  </a:cubicBezTo>
                  <a:cubicBezTo>
                    <a:pt x="1" y="6"/>
                    <a:pt x="2" y="7"/>
                    <a:pt x="3" y="7"/>
                  </a:cubicBezTo>
                  <a:cubicBezTo>
                    <a:pt x="3" y="7"/>
                    <a:pt x="3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1"/>
                    <a:pt x="8" y="11"/>
                    <a:pt x="9" y="11"/>
                  </a:cubicBezTo>
                  <a:cubicBezTo>
                    <a:pt x="10" y="11"/>
                    <a:pt x="11" y="11"/>
                    <a:pt x="11" y="10"/>
                  </a:cubicBezTo>
                  <a:cubicBezTo>
                    <a:pt x="12" y="10"/>
                    <a:pt x="13" y="9"/>
                    <a:pt x="13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4"/>
                    <a:pt x="15" y="3"/>
                    <a:pt x="14" y="2"/>
                  </a:cubicBezTo>
                  <a:cubicBezTo>
                    <a:pt x="13" y="2"/>
                    <a:pt x="12" y="1"/>
                    <a:pt x="10" y="1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2" name="Freeform 32"/>
            <p:cNvSpPr>
              <a:spLocks/>
            </p:cNvSpPr>
            <p:nvPr/>
          </p:nvSpPr>
          <p:spPr bwMode="auto">
            <a:xfrm>
              <a:off x="3097" y="4291"/>
              <a:ext cx="29" cy="26"/>
            </a:xfrm>
            <a:custGeom>
              <a:avLst/>
              <a:gdLst>
                <a:gd name="T0" fmla="*/ 9 w 19"/>
                <a:gd name="T1" fmla="*/ 0 h 17"/>
                <a:gd name="T2" fmla="*/ 6 w 19"/>
                <a:gd name="T3" fmla="*/ 0 h 17"/>
                <a:gd name="T4" fmla="*/ 5 w 19"/>
                <a:gd name="T5" fmla="*/ 0 h 17"/>
                <a:gd name="T6" fmla="*/ 4 w 19"/>
                <a:gd name="T7" fmla="*/ 2 h 17"/>
                <a:gd name="T8" fmla="*/ 6 w 19"/>
                <a:gd name="T9" fmla="*/ 8 h 17"/>
                <a:gd name="T10" fmla="*/ 1 w 19"/>
                <a:gd name="T11" fmla="*/ 10 h 17"/>
                <a:gd name="T12" fmla="*/ 1 w 19"/>
                <a:gd name="T13" fmla="*/ 14 h 17"/>
                <a:gd name="T14" fmla="*/ 7 w 19"/>
                <a:gd name="T15" fmla="*/ 16 h 17"/>
                <a:gd name="T16" fmla="*/ 8 w 19"/>
                <a:gd name="T17" fmla="*/ 16 h 17"/>
                <a:gd name="T18" fmla="*/ 9 w 19"/>
                <a:gd name="T19" fmla="*/ 17 h 17"/>
                <a:gd name="T20" fmla="*/ 11 w 19"/>
                <a:gd name="T21" fmla="*/ 17 h 17"/>
                <a:gd name="T22" fmla="*/ 15 w 19"/>
                <a:gd name="T23" fmla="*/ 14 h 17"/>
                <a:gd name="T24" fmla="*/ 16 w 19"/>
                <a:gd name="T25" fmla="*/ 12 h 17"/>
                <a:gd name="T26" fmla="*/ 19 w 19"/>
                <a:gd name="T27" fmla="*/ 13 h 17"/>
                <a:gd name="T28" fmla="*/ 19 w 19"/>
                <a:gd name="T29" fmla="*/ 10 h 17"/>
                <a:gd name="T30" fmla="*/ 17 w 19"/>
                <a:gd name="T31" fmla="*/ 3 h 17"/>
                <a:gd name="T32" fmla="*/ 9 w 19"/>
                <a:gd name="T3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" h="17">
                  <a:moveTo>
                    <a:pt x="9" y="0"/>
                  </a:moveTo>
                  <a:cubicBezTo>
                    <a:pt x="8" y="0"/>
                    <a:pt x="7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5"/>
                    <a:pt x="5" y="6"/>
                    <a:pt x="6" y="8"/>
                  </a:cubicBezTo>
                  <a:cubicBezTo>
                    <a:pt x="4" y="8"/>
                    <a:pt x="2" y="8"/>
                    <a:pt x="1" y="10"/>
                  </a:cubicBezTo>
                  <a:cubicBezTo>
                    <a:pt x="1" y="11"/>
                    <a:pt x="0" y="12"/>
                    <a:pt x="1" y="14"/>
                  </a:cubicBezTo>
                  <a:cubicBezTo>
                    <a:pt x="2" y="16"/>
                    <a:pt x="5" y="16"/>
                    <a:pt x="7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7"/>
                    <a:pt x="10" y="17"/>
                    <a:pt x="11" y="17"/>
                  </a:cubicBezTo>
                  <a:cubicBezTo>
                    <a:pt x="13" y="17"/>
                    <a:pt x="14" y="16"/>
                    <a:pt x="15" y="14"/>
                  </a:cubicBezTo>
                  <a:cubicBezTo>
                    <a:pt x="15" y="14"/>
                    <a:pt x="16" y="13"/>
                    <a:pt x="16" y="12"/>
                  </a:cubicBezTo>
                  <a:cubicBezTo>
                    <a:pt x="16" y="12"/>
                    <a:pt x="19" y="13"/>
                    <a:pt x="19" y="13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7"/>
                    <a:pt x="19" y="5"/>
                    <a:pt x="17" y="3"/>
                  </a:cubicBezTo>
                  <a:cubicBezTo>
                    <a:pt x="15" y="1"/>
                    <a:pt x="12" y="0"/>
                    <a:pt x="9" y="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3" name="Freeform 33"/>
            <p:cNvSpPr>
              <a:spLocks/>
            </p:cNvSpPr>
            <p:nvPr/>
          </p:nvSpPr>
          <p:spPr bwMode="auto">
            <a:xfrm>
              <a:off x="3117" y="4268"/>
              <a:ext cx="18" cy="15"/>
            </a:xfrm>
            <a:custGeom>
              <a:avLst/>
              <a:gdLst>
                <a:gd name="T0" fmla="*/ 3 w 12"/>
                <a:gd name="T1" fmla="*/ 10 h 10"/>
                <a:gd name="T2" fmla="*/ 5 w 12"/>
                <a:gd name="T3" fmla="*/ 10 h 10"/>
                <a:gd name="T4" fmla="*/ 8 w 12"/>
                <a:gd name="T5" fmla="*/ 10 h 10"/>
                <a:gd name="T6" fmla="*/ 9 w 12"/>
                <a:gd name="T7" fmla="*/ 10 h 10"/>
                <a:gd name="T8" fmla="*/ 12 w 12"/>
                <a:gd name="T9" fmla="*/ 9 h 10"/>
                <a:gd name="T10" fmla="*/ 11 w 12"/>
                <a:gd name="T11" fmla="*/ 7 h 10"/>
                <a:gd name="T12" fmla="*/ 5 w 12"/>
                <a:gd name="T13" fmla="*/ 0 h 10"/>
                <a:gd name="T14" fmla="*/ 4 w 12"/>
                <a:gd name="T15" fmla="*/ 0 h 10"/>
                <a:gd name="T16" fmla="*/ 1 w 12"/>
                <a:gd name="T17" fmla="*/ 5 h 10"/>
                <a:gd name="T18" fmla="*/ 3 w 12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3" y="10"/>
                  </a:moveTo>
                  <a:cubicBezTo>
                    <a:pt x="3" y="10"/>
                    <a:pt x="4" y="10"/>
                    <a:pt x="5" y="10"/>
                  </a:cubicBezTo>
                  <a:cubicBezTo>
                    <a:pt x="6" y="10"/>
                    <a:pt x="7" y="10"/>
                    <a:pt x="8" y="10"/>
                  </a:cubicBezTo>
                  <a:cubicBezTo>
                    <a:pt x="8" y="10"/>
                    <a:pt x="9" y="10"/>
                    <a:pt x="9" y="10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5"/>
                    <a:pt x="9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2" y="0"/>
                    <a:pt x="1" y="3"/>
                    <a:pt x="1" y="5"/>
                  </a:cubicBezTo>
                  <a:cubicBezTo>
                    <a:pt x="0" y="7"/>
                    <a:pt x="1" y="9"/>
                    <a:pt x="3" y="1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4" name="Freeform 34"/>
            <p:cNvSpPr>
              <a:spLocks/>
            </p:cNvSpPr>
            <p:nvPr/>
          </p:nvSpPr>
          <p:spPr bwMode="auto">
            <a:xfrm>
              <a:off x="3128" y="4303"/>
              <a:ext cx="15" cy="16"/>
            </a:xfrm>
            <a:custGeom>
              <a:avLst/>
              <a:gdLst>
                <a:gd name="T0" fmla="*/ 10 w 10"/>
                <a:gd name="T1" fmla="*/ 5 h 10"/>
                <a:gd name="T2" fmla="*/ 5 w 10"/>
                <a:gd name="T3" fmla="*/ 0 h 10"/>
                <a:gd name="T4" fmla="*/ 2 w 10"/>
                <a:gd name="T5" fmla="*/ 1 h 10"/>
                <a:gd name="T6" fmla="*/ 1 w 10"/>
                <a:gd name="T7" fmla="*/ 6 h 10"/>
                <a:gd name="T8" fmla="*/ 6 w 10"/>
                <a:gd name="T9" fmla="*/ 10 h 10"/>
                <a:gd name="T10" fmla="*/ 8 w 10"/>
                <a:gd name="T11" fmla="*/ 10 h 10"/>
                <a:gd name="T12" fmla="*/ 10 w 10"/>
                <a:gd name="T1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0" y="5"/>
                  </a:moveTo>
                  <a:cubicBezTo>
                    <a:pt x="10" y="3"/>
                    <a:pt x="7" y="0"/>
                    <a:pt x="5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2"/>
                    <a:pt x="0" y="4"/>
                    <a:pt x="1" y="6"/>
                  </a:cubicBezTo>
                  <a:cubicBezTo>
                    <a:pt x="1" y="8"/>
                    <a:pt x="3" y="10"/>
                    <a:pt x="6" y="10"/>
                  </a:cubicBezTo>
                  <a:cubicBezTo>
                    <a:pt x="7" y="10"/>
                    <a:pt x="7" y="10"/>
                    <a:pt x="8" y="10"/>
                  </a:cubicBezTo>
                  <a:cubicBezTo>
                    <a:pt x="9" y="9"/>
                    <a:pt x="10" y="7"/>
                    <a:pt x="10" y="5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5" name="Freeform 35"/>
            <p:cNvSpPr>
              <a:spLocks noEditPoints="1"/>
            </p:cNvSpPr>
            <p:nvPr/>
          </p:nvSpPr>
          <p:spPr bwMode="auto">
            <a:xfrm>
              <a:off x="2268" y="1921"/>
              <a:ext cx="852" cy="2385"/>
            </a:xfrm>
            <a:custGeom>
              <a:avLst/>
              <a:gdLst>
                <a:gd name="T0" fmla="*/ 338 w 556"/>
                <a:gd name="T1" fmla="*/ 1402 h 1557"/>
                <a:gd name="T2" fmla="*/ 257 w 556"/>
                <a:gd name="T3" fmla="*/ 1334 h 1557"/>
                <a:gd name="T4" fmla="*/ 261 w 556"/>
                <a:gd name="T5" fmla="*/ 1262 h 1557"/>
                <a:gd name="T6" fmla="*/ 240 w 556"/>
                <a:gd name="T7" fmla="*/ 1135 h 1557"/>
                <a:gd name="T8" fmla="*/ 207 w 556"/>
                <a:gd name="T9" fmla="*/ 1081 h 1557"/>
                <a:gd name="T10" fmla="*/ 171 w 556"/>
                <a:gd name="T11" fmla="*/ 1013 h 1557"/>
                <a:gd name="T12" fmla="*/ 146 w 556"/>
                <a:gd name="T13" fmla="*/ 887 h 1557"/>
                <a:gd name="T14" fmla="*/ 138 w 556"/>
                <a:gd name="T15" fmla="*/ 768 h 1557"/>
                <a:gd name="T16" fmla="*/ 115 w 556"/>
                <a:gd name="T17" fmla="*/ 626 h 1557"/>
                <a:gd name="T18" fmla="*/ 96 w 556"/>
                <a:gd name="T19" fmla="*/ 527 h 1557"/>
                <a:gd name="T20" fmla="*/ 109 w 556"/>
                <a:gd name="T21" fmla="*/ 402 h 1557"/>
                <a:gd name="T22" fmla="*/ 113 w 556"/>
                <a:gd name="T23" fmla="*/ 280 h 1557"/>
                <a:gd name="T24" fmla="*/ 97 w 556"/>
                <a:gd name="T25" fmla="*/ 158 h 1557"/>
                <a:gd name="T26" fmla="*/ 55 w 556"/>
                <a:gd name="T27" fmla="*/ 43 h 1557"/>
                <a:gd name="T28" fmla="*/ 0 w 556"/>
                <a:gd name="T29" fmla="*/ 32 h 1557"/>
                <a:gd name="T30" fmla="*/ 32 w 556"/>
                <a:gd name="T31" fmla="*/ 302 h 1557"/>
                <a:gd name="T32" fmla="*/ 41 w 556"/>
                <a:gd name="T33" fmla="*/ 518 h 1557"/>
                <a:gd name="T34" fmla="*/ 58 w 556"/>
                <a:gd name="T35" fmla="*/ 748 h 1557"/>
                <a:gd name="T36" fmla="*/ 83 w 556"/>
                <a:gd name="T37" fmla="*/ 920 h 1557"/>
                <a:gd name="T38" fmla="*/ 103 w 556"/>
                <a:gd name="T39" fmla="*/ 1030 h 1557"/>
                <a:gd name="T40" fmla="*/ 124 w 556"/>
                <a:gd name="T41" fmla="*/ 1032 h 1557"/>
                <a:gd name="T42" fmla="*/ 129 w 556"/>
                <a:gd name="T43" fmla="*/ 999 h 1557"/>
                <a:gd name="T44" fmla="*/ 153 w 556"/>
                <a:gd name="T45" fmla="*/ 1044 h 1557"/>
                <a:gd name="T46" fmla="*/ 164 w 556"/>
                <a:gd name="T47" fmla="*/ 1108 h 1557"/>
                <a:gd name="T48" fmla="*/ 131 w 556"/>
                <a:gd name="T49" fmla="*/ 1098 h 1557"/>
                <a:gd name="T50" fmla="*/ 119 w 556"/>
                <a:gd name="T51" fmla="*/ 1118 h 1557"/>
                <a:gd name="T52" fmla="*/ 136 w 556"/>
                <a:gd name="T53" fmla="*/ 1153 h 1557"/>
                <a:gd name="T54" fmla="*/ 130 w 556"/>
                <a:gd name="T55" fmla="*/ 1208 h 1557"/>
                <a:gd name="T56" fmla="*/ 170 w 556"/>
                <a:gd name="T57" fmla="*/ 1206 h 1557"/>
                <a:gd name="T58" fmla="*/ 166 w 556"/>
                <a:gd name="T59" fmla="*/ 1241 h 1557"/>
                <a:gd name="T60" fmla="*/ 170 w 556"/>
                <a:gd name="T61" fmla="*/ 1292 h 1557"/>
                <a:gd name="T62" fmla="*/ 208 w 556"/>
                <a:gd name="T63" fmla="*/ 1330 h 1557"/>
                <a:gd name="T64" fmla="*/ 213 w 556"/>
                <a:gd name="T65" fmla="*/ 1362 h 1557"/>
                <a:gd name="T66" fmla="*/ 229 w 556"/>
                <a:gd name="T67" fmla="*/ 1352 h 1557"/>
                <a:gd name="T68" fmla="*/ 230 w 556"/>
                <a:gd name="T69" fmla="*/ 1378 h 1557"/>
                <a:gd name="T70" fmla="*/ 248 w 556"/>
                <a:gd name="T71" fmla="*/ 1386 h 1557"/>
                <a:gd name="T72" fmla="*/ 265 w 556"/>
                <a:gd name="T73" fmla="*/ 1387 h 1557"/>
                <a:gd name="T74" fmla="*/ 284 w 556"/>
                <a:gd name="T75" fmla="*/ 1416 h 1557"/>
                <a:gd name="T76" fmla="*/ 308 w 556"/>
                <a:gd name="T77" fmla="*/ 1434 h 1557"/>
                <a:gd name="T78" fmla="*/ 283 w 556"/>
                <a:gd name="T79" fmla="*/ 1451 h 1557"/>
                <a:gd name="T80" fmla="*/ 349 w 556"/>
                <a:gd name="T81" fmla="*/ 1484 h 1557"/>
                <a:gd name="T82" fmla="*/ 397 w 556"/>
                <a:gd name="T83" fmla="*/ 1500 h 1557"/>
                <a:gd name="T84" fmla="*/ 406 w 556"/>
                <a:gd name="T85" fmla="*/ 1517 h 1557"/>
                <a:gd name="T86" fmla="*/ 452 w 556"/>
                <a:gd name="T87" fmla="*/ 1537 h 1557"/>
                <a:gd name="T88" fmla="*/ 491 w 556"/>
                <a:gd name="T89" fmla="*/ 1549 h 1557"/>
                <a:gd name="T90" fmla="*/ 529 w 556"/>
                <a:gd name="T91" fmla="*/ 1555 h 1557"/>
                <a:gd name="T92" fmla="*/ 476 w 556"/>
                <a:gd name="T93" fmla="*/ 1506 h 1557"/>
                <a:gd name="T94" fmla="*/ 440 w 556"/>
                <a:gd name="T95" fmla="*/ 1524 h 1557"/>
                <a:gd name="T96" fmla="*/ 419 w 556"/>
                <a:gd name="T97" fmla="*/ 1469 h 1557"/>
                <a:gd name="T98" fmla="*/ 407 w 556"/>
                <a:gd name="T99" fmla="*/ 1475 h 1557"/>
                <a:gd name="T100" fmla="*/ 411 w 556"/>
                <a:gd name="T101" fmla="*/ 1462 h 1557"/>
                <a:gd name="T102" fmla="*/ 389 w 556"/>
                <a:gd name="T103" fmla="*/ 1482 h 1557"/>
                <a:gd name="T104" fmla="*/ 512 w 556"/>
                <a:gd name="T105" fmla="*/ 1531 h 1557"/>
                <a:gd name="T106" fmla="*/ 283 w 556"/>
                <a:gd name="T107" fmla="*/ 1415 h 1557"/>
                <a:gd name="T108" fmla="*/ 185 w 556"/>
                <a:gd name="T109" fmla="*/ 1297 h 1557"/>
                <a:gd name="T110" fmla="*/ 181 w 556"/>
                <a:gd name="T111" fmla="*/ 1182 h 1557"/>
                <a:gd name="T112" fmla="*/ 151 w 556"/>
                <a:gd name="T113" fmla="*/ 1147 h 1557"/>
                <a:gd name="T114" fmla="*/ 196 w 556"/>
                <a:gd name="T115" fmla="*/ 1271 h 1557"/>
                <a:gd name="T116" fmla="*/ 198 w 556"/>
                <a:gd name="T117" fmla="*/ 1272 h 1557"/>
                <a:gd name="T118" fmla="*/ 173 w 556"/>
                <a:gd name="T119" fmla="*/ 1241 h 1557"/>
                <a:gd name="T120" fmla="*/ 164 w 556"/>
                <a:gd name="T121" fmla="*/ 1119 h 1557"/>
                <a:gd name="T122" fmla="*/ 159 w 556"/>
                <a:gd name="T123" fmla="*/ 1129 h 1557"/>
                <a:gd name="T124" fmla="*/ 178 w 556"/>
                <a:gd name="T125" fmla="*/ 1284 h 1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6" h="1557">
                  <a:moveTo>
                    <a:pt x="549" y="1539"/>
                  </a:moveTo>
                  <a:cubicBezTo>
                    <a:pt x="551" y="1539"/>
                    <a:pt x="554" y="1538"/>
                    <a:pt x="555" y="1534"/>
                  </a:cubicBezTo>
                  <a:cubicBezTo>
                    <a:pt x="555" y="1532"/>
                    <a:pt x="555" y="1531"/>
                    <a:pt x="555" y="1530"/>
                  </a:cubicBezTo>
                  <a:cubicBezTo>
                    <a:pt x="555" y="1529"/>
                    <a:pt x="555" y="1528"/>
                    <a:pt x="555" y="1528"/>
                  </a:cubicBezTo>
                  <a:cubicBezTo>
                    <a:pt x="556" y="1526"/>
                    <a:pt x="556" y="1526"/>
                    <a:pt x="556" y="1526"/>
                  </a:cubicBezTo>
                  <a:cubicBezTo>
                    <a:pt x="548" y="1523"/>
                    <a:pt x="548" y="1523"/>
                    <a:pt x="548" y="1523"/>
                  </a:cubicBezTo>
                  <a:cubicBezTo>
                    <a:pt x="502" y="1520"/>
                    <a:pt x="502" y="1520"/>
                    <a:pt x="502" y="1520"/>
                  </a:cubicBezTo>
                  <a:cubicBezTo>
                    <a:pt x="502" y="1520"/>
                    <a:pt x="502" y="1520"/>
                    <a:pt x="502" y="1520"/>
                  </a:cubicBezTo>
                  <a:cubicBezTo>
                    <a:pt x="451" y="1428"/>
                    <a:pt x="451" y="1428"/>
                    <a:pt x="451" y="1428"/>
                  </a:cubicBezTo>
                  <a:cubicBezTo>
                    <a:pt x="449" y="1429"/>
                    <a:pt x="449" y="1429"/>
                    <a:pt x="449" y="1429"/>
                  </a:cubicBezTo>
                  <a:cubicBezTo>
                    <a:pt x="447" y="1430"/>
                    <a:pt x="446" y="1431"/>
                    <a:pt x="445" y="1431"/>
                  </a:cubicBezTo>
                  <a:cubicBezTo>
                    <a:pt x="444" y="1432"/>
                    <a:pt x="443" y="1433"/>
                    <a:pt x="442" y="1433"/>
                  </a:cubicBezTo>
                  <a:cubicBezTo>
                    <a:pt x="442" y="1433"/>
                    <a:pt x="441" y="1433"/>
                    <a:pt x="441" y="1433"/>
                  </a:cubicBezTo>
                  <a:cubicBezTo>
                    <a:pt x="438" y="1432"/>
                    <a:pt x="436" y="1430"/>
                    <a:pt x="433" y="1428"/>
                  </a:cubicBezTo>
                  <a:cubicBezTo>
                    <a:pt x="433" y="1428"/>
                    <a:pt x="433" y="1428"/>
                    <a:pt x="433" y="1428"/>
                  </a:cubicBezTo>
                  <a:cubicBezTo>
                    <a:pt x="431" y="1426"/>
                    <a:pt x="430" y="1425"/>
                    <a:pt x="427" y="1425"/>
                  </a:cubicBezTo>
                  <a:cubicBezTo>
                    <a:pt x="427" y="1425"/>
                    <a:pt x="427" y="1425"/>
                    <a:pt x="427" y="1425"/>
                  </a:cubicBezTo>
                  <a:cubicBezTo>
                    <a:pt x="427" y="1424"/>
                    <a:pt x="427" y="1423"/>
                    <a:pt x="427" y="1422"/>
                  </a:cubicBezTo>
                  <a:cubicBezTo>
                    <a:pt x="427" y="1419"/>
                    <a:pt x="427" y="1419"/>
                    <a:pt x="428" y="1419"/>
                  </a:cubicBezTo>
                  <a:cubicBezTo>
                    <a:pt x="429" y="1418"/>
                    <a:pt x="429" y="1418"/>
                    <a:pt x="430" y="1418"/>
                  </a:cubicBezTo>
                  <a:cubicBezTo>
                    <a:pt x="430" y="1414"/>
                    <a:pt x="430" y="1414"/>
                    <a:pt x="430" y="1414"/>
                  </a:cubicBezTo>
                  <a:cubicBezTo>
                    <a:pt x="409" y="1407"/>
                    <a:pt x="409" y="1407"/>
                    <a:pt x="409" y="1407"/>
                  </a:cubicBezTo>
                  <a:cubicBezTo>
                    <a:pt x="408" y="1407"/>
                    <a:pt x="408" y="1407"/>
                    <a:pt x="408" y="1407"/>
                  </a:cubicBezTo>
                  <a:cubicBezTo>
                    <a:pt x="402" y="1407"/>
                    <a:pt x="395" y="1407"/>
                    <a:pt x="388" y="1407"/>
                  </a:cubicBezTo>
                  <a:cubicBezTo>
                    <a:pt x="382" y="1407"/>
                    <a:pt x="375" y="1407"/>
                    <a:pt x="368" y="1407"/>
                  </a:cubicBezTo>
                  <a:cubicBezTo>
                    <a:pt x="362" y="1407"/>
                    <a:pt x="356" y="1407"/>
                    <a:pt x="349" y="1407"/>
                  </a:cubicBezTo>
                  <a:cubicBezTo>
                    <a:pt x="348" y="1407"/>
                    <a:pt x="348" y="1407"/>
                    <a:pt x="348" y="1407"/>
                  </a:cubicBezTo>
                  <a:cubicBezTo>
                    <a:pt x="345" y="1407"/>
                    <a:pt x="343" y="1406"/>
                    <a:pt x="341" y="1405"/>
                  </a:cubicBezTo>
                  <a:cubicBezTo>
                    <a:pt x="340" y="1404"/>
                    <a:pt x="339" y="1403"/>
                    <a:pt x="338" y="1402"/>
                  </a:cubicBezTo>
                  <a:cubicBezTo>
                    <a:pt x="336" y="1400"/>
                    <a:pt x="333" y="1398"/>
                    <a:pt x="329" y="1397"/>
                  </a:cubicBezTo>
                  <a:cubicBezTo>
                    <a:pt x="329" y="1397"/>
                    <a:pt x="328" y="1397"/>
                    <a:pt x="328" y="1397"/>
                  </a:cubicBezTo>
                  <a:cubicBezTo>
                    <a:pt x="327" y="1397"/>
                    <a:pt x="326" y="1396"/>
                    <a:pt x="325" y="1396"/>
                  </a:cubicBezTo>
                  <a:cubicBezTo>
                    <a:pt x="325" y="1395"/>
                    <a:pt x="324" y="1395"/>
                    <a:pt x="323" y="1394"/>
                  </a:cubicBezTo>
                  <a:cubicBezTo>
                    <a:pt x="323" y="1394"/>
                    <a:pt x="322" y="1393"/>
                    <a:pt x="322" y="1393"/>
                  </a:cubicBezTo>
                  <a:cubicBezTo>
                    <a:pt x="319" y="1391"/>
                    <a:pt x="319" y="1389"/>
                    <a:pt x="319" y="1386"/>
                  </a:cubicBezTo>
                  <a:cubicBezTo>
                    <a:pt x="318" y="1385"/>
                    <a:pt x="318" y="1385"/>
                    <a:pt x="318" y="1385"/>
                  </a:cubicBezTo>
                  <a:cubicBezTo>
                    <a:pt x="318" y="1382"/>
                    <a:pt x="317" y="1379"/>
                    <a:pt x="315" y="1377"/>
                  </a:cubicBezTo>
                  <a:cubicBezTo>
                    <a:pt x="315" y="1376"/>
                    <a:pt x="314" y="1376"/>
                    <a:pt x="314" y="1375"/>
                  </a:cubicBezTo>
                  <a:cubicBezTo>
                    <a:pt x="312" y="1373"/>
                    <a:pt x="311" y="1372"/>
                    <a:pt x="311" y="1369"/>
                  </a:cubicBezTo>
                  <a:cubicBezTo>
                    <a:pt x="311" y="1366"/>
                    <a:pt x="310" y="1365"/>
                    <a:pt x="308" y="1363"/>
                  </a:cubicBezTo>
                  <a:cubicBezTo>
                    <a:pt x="307" y="1361"/>
                    <a:pt x="307" y="1361"/>
                    <a:pt x="307" y="1361"/>
                  </a:cubicBezTo>
                  <a:cubicBezTo>
                    <a:pt x="307" y="1360"/>
                    <a:pt x="306" y="1359"/>
                    <a:pt x="306" y="1358"/>
                  </a:cubicBezTo>
                  <a:cubicBezTo>
                    <a:pt x="305" y="1357"/>
                    <a:pt x="304" y="1355"/>
                    <a:pt x="303" y="1354"/>
                  </a:cubicBezTo>
                  <a:cubicBezTo>
                    <a:pt x="303" y="1354"/>
                    <a:pt x="302" y="1353"/>
                    <a:pt x="300" y="1353"/>
                  </a:cubicBezTo>
                  <a:cubicBezTo>
                    <a:pt x="299" y="1353"/>
                    <a:pt x="299" y="1353"/>
                    <a:pt x="298" y="1353"/>
                  </a:cubicBezTo>
                  <a:cubicBezTo>
                    <a:pt x="297" y="1354"/>
                    <a:pt x="295" y="1354"/>
                    <a:pt x="294" y="1354"/>
                  </a:cubicBezTo>
                  <a:cubicBezTo>
                    <a:pt x="293" y="1354"/>
                    <a:pt x="293" y="1354"/>
                    <a:pt x="293" y="1354"/>
                  </a:cubicBezTo>
                  <a:cubicBezTo>
                    <a:pt x="287" y="1354"/>
                    <a:pt x="284" y="1354"/>
                    <a:pt x="282" y="1360"/>
                  </a:cubicBezTo>
                  <a:cubicBezTo>
                    <a:pt x="282" y="1360"/>
                    <a:pt x="282" y="1360"/>
                    <a:pt x="282" y="1360"/>
                  </a:cubicBezTo>
                  <a:cubicBezTo>
                    <a:pt x="281" y="1361"/>
                    <a:pt x="281" y="1361"/>
                    <a:pt x="281" y="1361"/>
                  </a:cubicBezTo>
                  <a:cubicBezTo>
                    <a:pt x="279" y="1361"/>
                    <a:pt x="278" y="1359"/>
                    <a:pt x="277" y="1356"/>
                  </a:cubicBezTo>
                  <a:cubicBezTo>
                    <a:pt x="276" y="1356"/>
                    <a:pt x="276" y="1355"/>
                    <a:pt x="276" y="1355"/>
                  </a:cubicBezTo>
                  <a:cubicBezTo>
                    <a:pt x="275" y="1354"/>
                    <a:pt x="274" y="1353"/>
                    <a:pt x="274" y="1352"/>
                  </a:cubicBezTo>
                  <a:cubicBezTo>
                    <a:pt x="273" y="1351"/>
                    <a:pt x="272" y="1350"/>
                    <a:pt x="271" y="1350"/>
                  </a:cubicBezTo>
                  <a:cubicBezTo>
                    <a:pt x="270" y="1348"/>
                    <a:pt x="270" y="1348"/>
                    <a:pt x="270" y="1348"/>
                  </a:cubicBezTo>
                  <a:cubicBezTo>
                    <a:pt x="268" y="1345"/>
                    <a:pt x="266" y="1342"/>
                    <a:pt x="263" y="1339"/>
                  </a:cubicBezTo>
                  <a:cubicBezTo>
                    <a:pt x="262" y="1338"/>
                    <a:pt x="261" y="1337"/>
                    <a:pt x="260" y="1336"/>
                  </a:cubicBezTo>
                  <a:cubicBezTo>
                    <a:pt x="259" y="1335"/>
                    <a:pt x="258" y="1335"/>
                    <a:pt x="257" y="1334"/>
                  </a:cubicBezTo>
                  <a:cubicBezTo>
                    <a:pt x="256" y="1332"/>
                    <a:pt x="255" y="1331"/>
                    <a:pt x="255" y="1330"/>
                  </a:cubicBezTo>
                  <a:cubicBezTo>
                    <a:pt x="255" y="1330"/>
                    <a:pt x="255" y="1329"/>
                    <a:pt x="254" y="1328"/>
                  </a:cubicBezTo>
                  <a:cubicBezTo>
                    <a:pt x="254" y="1327"/>
                    <a:pt x="253" y="1327"/>
                    <a:pt x="253" y="1326"/>
                  </a:cubicBezTo>
                  <a:cubicBezTo>
                    <a:pt x="252" y="1325"/>
                    <a:pt x="251" y="1324"/>
                    <a:pt x="251" y="1322"/>
                  </a:cubicBezTo>
                  <a:cubicBezTo>
                    <a:pt x="251" y="1322"/>
                    <a:pt x="251" y="1322"/>
                    <a:pt x="251" y="1322"/>
                  </a:cubicBezTo>
                  <a:cubicBezTo>
                    <a:pt x="251" y="1319"/>
                    <a:pt x="250" y="1318"/>
                    <a:pt x="249" y="1316"/>
                  </a:cubicBezTo>
                  <a:cubicBezTo>
                    <a:pt x="245" y="1312"/>
                    <a:pt x="243" y="1308"/>
                    <a:pt x="243" y="1302"/>
                  </a:cubicBezTo>
                  <a:cubicBezTo>
                    <a:pt x="243" y="1302"/>
                    <a:pt x="243" y="1302"/>
                    <a:pt x="243" y="1302"/>
                  </a:cubicBezTo>
                  <a:cubicBezTo>
                    <a:pt x="243" y="1302"/>
                    <a:pt x="243" y="1302"/>
                    <a:pt x="243" y="1302"/>
                  </a:cubicBezTo>
                  <a:cubicBezTo>
                    <a:pt x="243" y="1302"/>
                    <a:pt x="244" y="1302"/>
                    <a:pt x="244" y="1302"/>
                  </a:cubicBezTo>
                  <a:cubicBezTo>
                    <a:pt x="246" y="1302"/>
                    <a:pt x="247" y="1302"/>
                    <a:pt x="249" y="1301"/>
                  </a:cubicBezTo>
                  <a:cubicBezTo>
                    <a:pt x="250" y="1301"/>
                    <a:pt x="250" y="1301"/>
                    <a:pt x="250" y="1301"/>
                  </a:cubicBezTo>
                  <a:cubicBezTo>
                    <a:pt x="250" y="1299"/>
                    <a:pt x="250" y="1299"/>
                    <a:pt x="250" y="1299"/>
                  </a:cubicBezTo>
                  <a:cubicBezTo>
                    <a:pt x="250" y="1298"/>
                    <a:pt x="251" y="1296"/>
                    <a:pt x="251" y="1295"/>
                  </a:cubicBezTo>
                  <a:cubicBezTo>
                    <a:pt x="251" y="1292"/>
                    <a:pt x="251" y="1290"/>
                    <a:pt x="251" y="1288"/>
                  </a:cubicBezTo>
                  <a:cubicBezTo>
                    <a:pt x="251" y="1288"/>
                    <a:pt x="251" y="1288"/>
                    <a:pt x="251" y="1288"/>
                  </a:cubicBezTo>
                  <a:cubicBezTo>
                    <a:pt x="251" y="1288"/>
                    <a:pt x="252" y="1287"/>
                    <a:pt x="252" y="1287"/>
                  </a:cubicBezTo>
                  <a:cubicBezTo>
                    <a:pt x="252" y="1287"/>
                    <a:pt x="252" y="1287"/>
                    <a:pt x="252" y="1287"/>
                  </a:cubicBezTo>
                  <a:cubicBezTo>
                    <a:pt x="254" y="1287"/>
                    <a:pt x="255" y="1287"/>
                    <a:pt x="256" y="1286"/>
                  </a:cubicBezTo>
                  <a:cubicBezTo>
                    <a:pt x="257" y="1285"/>
                    <a:pt x="257" y="1285"/>
                    <a:pt x="257" y="1285"/>
                  </a:cubicBezTo>
                  <a:cubicBezTo>
                    <a:pt x="257" y="1285"/>
                    <a:pt x="258" y="1284"/>
                    <a:pt x="258" y="1284"/>
                  </a:cubicBezTo>
                  <a:cubicBezTo>
                    <a:pt x="260" y="1283"/>
                    <a:pt x="261" y="1282"/>
                    <a:pt x="261" y="1281"/>
                  </a:cubicBezTo>
                  <a:cubicBezTo>
                    <a:pt x="261" y="1281"/>
                    <a:pt x="261" y="1281"/>
                    <a:pt x="261" y="1281"/>
                  </a:cubicBezTo>
                  <a:cubicBezTo>
                    <a:pt x="261" y="1280"/>
                    <a:pt x="261" y="1280"/>
                    <a:pt x="261" y="1280"/>
                  </a:cubicBezTo>
                  <a:cubicBezTo>
                    <a:pt x="261" y="1280"/>
                    <a:pt x="261" y="1279"/>
                    <a:pt x="260" y="1277"/>
                  </a:cubicBezTo>
                  <a:cubicBezTo>
                    <a:pt x="260" y="1277"/>
                    <a:pt x="259" y="1276"/>
                    <a:pt x="259" y="1275"/>
                  </a:cubicBezTo>
                  <a:cubicBezTo>
                    <a:pt x="258" y="1273"/>
                    <a:pt x="257" y="1271"/>
                    <a:pt x="257" y="1269"/>
                  </a:cubicBezTo>
                  <a:cubicBezTo>
                    <a:pt x="256" y="1267"/>
                    <a:pt x="257" y="1266"/>
                    <a:pt x="259" y="1265"/>
                  </a:cubicBezTo>
                  <a:cubicBezTo>
                    <a:pt x="260" y="1264"/>
                    <a:pt x="261" y="1263"/>
                    <a:pt x="261" y="1262"/>
                  </a:cubicBezTo>
                  <a:cubicBezTo>
                    <a:pt x="262" y="1257"/>
                    <a:pt x="257" y="1250"/>
                    <a:pt x="253" y="1248"/>
                  </a:cubicBezTo>
                  <a:cubicBezTo>
                    <a:pt x="252" y="1247"/>
                    <a:pt x="252" y="1247"/>
                    <a:pt x="251" y="1247"/>
                  </a:cubicBezTo>
                  <a:cubicBezTo>
                    <a:pt x="249" y="1246"/>
                    <a:pt x="248" y="1246"/>
                    <a:pt x="247" y="1243"/>
                  </a:cubicBezTo>
                  <a:cubicBezTo>
                    <a:pt x="245" y="1238"/>
                    <a:pt x="246" y="1232"/>
                    <a:pt x="246" y="1227"/>
                  </a:cubicBezTo>
                  <a:cubicBezTo>
                    <a:pt x="246" y="1225"/>
                    <a:pt x="246" y="1225"/>
                    <a:pt x="246" y="1225"/>
                  </a:cubicBezTo>
                  <a:cubicBezTo>
                    <a:pt x="246" y="1225"/>
                    <a:pt x="247" y="1225"/>
                    <a:pt x="247" y="1225"/>
                  </a:cubicBezTo>
                  <a:cubicBezTo>
                    <a:pt x="249" y="1224"/>
                    <a:pt x="251" y="1223"/>
                    <a:pt x="253" y="1220"/>
                  </a:cubicBezTo>
                  <a:cubicBezTo>
                    <a:pt x="254" y="1218"/>
                    <a:pt x="255" y="1215"/>
                    <a:pt x="254" y="1212"/>
                  </a:cubicBezTo>
                  <a:cubicBezTo>
                    <a:pt x="253" y="1211"/>
                    <a:pt x="252" y="1210"/>
                    <a:pt x="252" y="1208"/>
                  </a:cubicBezTo>
                  <a:cubicBezTo>
                    <a:pt x="251" y="1207"/>
                    <a:pt x="250" y="1206"/>
                    <a:pt x="249" y="1205"/>
                  </a:cubicBezTo>
                  <a:cubicBezTo>
                    <a:pt x="249" y="1203"/>
                    <a:pt x="249" y="1201"/>
                    <a:pt x="250" y="1199"/>
                  </a:cubicBezTo>
                  <a:cubicBezTo>
                    <a:pt x="251" y="1199"/>
                    <a:pt x="251" y="1198"/>
                    <a:pt x="251" y="1197"/>
                  </a:cubicBezTo>
                  <a:cubicBezTo>
                    <a:pt x="252" y="1194"/>
                    <a:pt x="251" y="1191"/>
                    <a:pt x="250" y="1188"/>
                  </a:cubicBezTo>
                  <a:cubicBezTo>
                    <a:pt x="250" y="1187"/>
                    <a:pt x="250" y="1187"/>
                    <a:pt x="250" y="1187"/>
                  </a:cubicBezTo>
                  <a:cubicBezTo>
                    <a:pt x="249" y="1186"/>
                    <a:pt x="249" y="1186"/>
                    <a:pt x="248" y="1185"/>
                  </a:cubicBezTo>
                  <a:cubicBezTo>
                    <a:pt x="247" y="1184"/>
                    <a:pt x="247" y="1184"/>
                    <a:pt x="246" y="1184"/>
                  </a:cubicBezTo>
                  <a:cubicBezTo>
                    <a:pt x="246" y="1183"/>
                    <a:pt x="245" y="1182"/>
                    <a:pt x="245" y="1181"/>
                  </a:cubicBezTo>
                  <a:cubicBezTo>
                    <a:pt x="244" y="1180"/>
                    <a:pt x="244" y="1180"/>
                    <a:pt x="244" y="1179"/>
                  </a:cubicBezTo>
                  <a:cubicBezTo>
                    <a:pt x="243" y="1179"/>
                    <a:pt x="243" y="1179"/>
                    <a:pt x="242" y="1178"/>
                  </a:cubicBezTo>
                  <a:cubicBezTo>
                    <a:pt x="242" y="1177"/>
                    <a:pt x="241" y="1176"/>
                    <a:pt x="240" y="1175"/>
                  </a:cubicBezTo>
                  <a:cubicBezTo>
                    <a:pt x="240" y="1174"/>
                    <a:pt x="241" y="1173"/>
                    <a:pt x="241" y="1172"/>
                  </a:cubicBezTo>
                  <a:cubicBezTo>
                    <a:pt x="242" y="1171"/>
                    <a:pt x="242" y="1170"/>
                    <a:pt x="242" y="1170"/>
                  </a:cubicBezTo>
                  <a:cubicBezTo>
                    <a:pt x="243" y="1167"/>
                    <a:pt x="242" y="1166"/>
                    <a:pt x="240" y="1164"/>
                  </a:cubicBezTo>
                  <a:cubicBezTo>
                    <a:pt x="240" y="1164"/>
                    <a:pt x="239" y="1163"/>
                    <a:pt x="239" y="1162"/>
                  </a:cubicBezTo>
                  <a:cubicBezTo>
                    <a:pt x="236" y="1159"/>
                    <a:pt x="233" y="1153"/>
                    <a:pt x="236" y="1149"/>
                  </a:cubicBezTo>
                  <a:cubicBezTo>
                    <a:pt x="236" y="1148"/>
                    <a:pt x="238" y="1147"/>
                    <a:pt x="239" y="1146"/>
                  </a:cubicBezTo>
                  <a:cubicBezTo>
                    <a:pt x="241" y="1144"/>
                    <a:pt x="243" y="1143"/>
                    <a:pt x="243" y="1141"/>
                  </a:cubicBezTo>
                  <a:cubicBezTo>
                    <a:pt x="242" y="1140"/>
                    <a:pt x="242" y="1138"/>
                    <a:pt x="241" y="1137"/>
                  </a:cubicBezTo>
                  <a:cubicBezTo>
                    <a:pt x="240" y="1135"/>
                    <a:pt x="240" y="1135"/>
                    <a:pt x="240" y="1135"/>
                  </a:cubicBezTo>
                  <a:cubicBezTo>
                    <a:pt x="238" y="1135"/>
                    <a:pt x="238" y="1135"/>
                    <a:pt x="238" y="1135"/>
                  </a:cubicBezTo>
                  <a:cubicBezTo>
                    <a:pt x="238" y="1135"/>
                    <a:pt x="237" y="1136"/>
                    <a:pt x="237" y="1136"/>
                  </a:cubicBezTo>
                  <a:cubicBezTo>
                    <a:pt x="236" y="1136"/>
                    <a:pt x="235" y="1135"/>
                    <a:pt x="235" y="1135"/>
                  </a:cubicBezTo>
                  <a:cubicBezTo>
                    <a:pt x="234" y="1134"/>
                    <a:pt x="234" y="1133"/>
                    <a:pt x="233" y="1132"/>
                  </a:cubicBezTo>
                  <a:cubicBezTo>
                    <a:pt x="233" y="1131"/>
                    <a:pt x="233" y="1131"/>
                    <a:pt x="232" y="1130"/>
                  </a:cubicBezTo>
                  <a:cubicBezTo>
                    <a:pt x="230" y="1128"/>
                    <a:pt x="226" y="1127"/>
                    <a:pt x="222" y="1126"/>
                  </a:cubicBezTo>
                  <a:cubicBezTo>
                    <a:pt x="221" y="1126"/>
                    <a:pt x="220" y="1126"/>
                    <a:pt x="219" y="1126"/>
                  </a:cubicBezTo>
                  <a:cubicBezTo>
                    <a:pt x="217" y="1125"/>
                    <a:pt x="212" y="1124"/>
                    <a:pt x="212" y="1121"/>
                  </a:cubicBezTo>
                  <a:cubicBezTo>
                    <a:pt x="212" y="1120"/>
                    <a:pt x="214" y="1119"/>
                    <a:pt x="217" y="1118"/>
                  </a:cubicBezTo>
                  <a:cubicBezTo>
                    <a:pt x="218" y="1118"/>
                    <a:pt x="218" y="1118"/>
                    <a:pt x="218" y="1118"/>
                  </a:cubicBezTo>
                  <a:cubicBezTo>
                    <a:pt x="220" y="1118"/>
                    <a:pt x="222" y="1118"/>
                    <a:pt x="224" y="1118"/>
                  </a:cubicBezTo>
                  <a:cubicBezTo>
                    <a:pt x="225" y="1118"/>
                    <a:pt x="227" y="1118"/>
                    <a:pt x="228" y="1118"/>
                  </a:cubicBezTo>
                  <a:cubicBezTo>
                    <a:pt x="229" y="1118"/>
                    <a:pt x="229" y="1118"/>
                    <a:pt x="230" y="1118"/>
                  </a:cubicBezTo>
                  <a:cubicBezTo>
                    <a:pt x="231" y="1119"/>
                    <a:pt x="232" y="1119"/>
                    <a:pt x="233" y="1119"/>
                  </a:cubicBezTo>
                  <a:cubicBezTo>
                    <a:pt x="234" y="1119"/>
                    <a:pt x="235" y="1118"/>
                    <a:pt x="236" y="1118"/>
                  </a:cubicBezTo>
                  <a:cubicBezTo>
                    <a:pt x="237" y="1116"/>
                    <a:pt x="237" y="1111"/>
                    <a:pt x="236" y="1108"/>
                  </a:cubicBezTo>
                  <a:cubicBezTo>
                    <a:pt x="235" y="1105"/>
                    <a:pt x="231" y="1104"/>
                    <a:pt x="227" y="1104"/>
                  </a:cubicBezTo>
                  <a:cubicBezTo>
                    <a:pt x="227" y="1104"/>
                    <a:pt x="227" y="1104"/>
                    <a:pt x="226" y="1104"/>
                  </a:cubicBezTo>
                  <a:cubicBezTo>
                    <a:pt x="225" y="1104"/>
                    <a:pt x="223" y="1104"/>
                    <a:pt x="221" y="1104"/>
                  </a:cubicBezTo>
                  <a:cubicBezTo>
                    <a:pt x="220" y="1104"/>
                    <a:pt x="218" y="1104"/>
                    <a:pt x="217" y="1104"/>
                  </a:cubicBezTo>
                  <a:cubicBezTo>
                    <a:pt x="216" y="1104"/>
                    <a:pt x="216" y="1104"/>
                    <a:pt x="216" y="1104"/>
                  </a:cubicBezTo>
                  <a:cubicBezTo>
                    <a:pt x="212" y="1104"/>
                    <a:pt x="210" y="1100"/>
                    <a:pt x="209" y="1096"/>
                  </a:cubicBezTo>
                  <a:cubicBezTo>
                    <a:pt x="208" y="1095"/>
                    <a:pt x="208" y="1095"/>
                    <a:pt x="208" y="1094"/>
                  </a:cubicBezTo>
                  <a:cubicBezTo>
                    <a:pt x="207" y="1093"/>
                    <a:pt x="206" y="1091"/>
                    <a:pt x="206" y="1089"/>
                  </a:cubicBezTo>
                  <a:cubicBezTo>
                    <a:pt x="206" y="1089"/>
                    <a:pt x="207" y="1089"/>
                    <a:pt x="207" y="1089"/>
                  </a:cubicBezTo>
                  <a:cubicBezTo>
                    <a:pt x="207" y="1089"/>
                    <a:pt x="208" y="1089"/>
                    <a:pt x="208" y="1089"/>
                  </a:cubicBezTo>
                  <a:cubicBezTo>
                    <a:pt x="208" y="1088"/>
                    <a:pt x="208" y="1088"/>
                    <a:pt x="208" y="1088"/>
                  </a:cubicBezTo>
                  <a:cubicBezTo>
                    <a:pt x="209" y="1088"/>
                    <a:pt x="210" y="1087"/>
                    <a:pt x="210" y="1085"/>
                  </a:cubicBezTo>
                  <a:cubicBezTo>
                    <a:pt x="209" y="1084"/>
                    <a:pt x="208" y="1082"/>
                    <a:pt x="207" y="1081"/>
                  </a:cubicBezTo>
                  <a:cubicBezTo>
                    <a:pt x="206" y="1080"/>
                    <a:pt x="206" y="1080"/>
                    <a:pt x="206" y="1080"/>
                  </a:cubicBezTo>
                  <a:cubicBezTo>
                    <a:pt x="205" y="1080"/>
                    <a:pt x="205" y="1080"/>
                    <a:pt x="205" y="1080"/>
                  </a:cubicBezTo>
                  <a:cubicBezTo>
                    <a:pt x="204" y="1080"/>
                    <a:pt x="204" y="1080"/>
                    <a:pt x="203" y="1080"/>
                  </a:cubicBezTo>
                  <a:cubicBezTo>
                    <a:pt x="202" y="1079"/>
                    <a:pt x="202" y="1077"/>
                    <a:pt x="202" y="1075"/>
                  </a:cubicBezTo>
                  <a:cubicBezTo>
                    <a:pt x="202" y="1074"/>
                    <a:pt x="202" y="1073"/>
                    <a:pt x="202" y="1072"/>
                  </a:cubicBezTo>
                  <a:cubicBezTo>
                    <a:pt x="201" y="1071"/>
                    <a:pt x="200" y="1070"/>
                    <a:pt x="199" y="1070"/>
                  </a:cubicBezTo>
                  <a:cubicBezTo>
                    <a:pt x="198" y="1069"/>
                    <a:pt x="197" y="1069"/>
                    <a:pt x="196" y="1068"/>
                  </a:cubicBezTo>
                  <a:cubicBezTo>
                    <a:pt x="194" y="1066"/>
                    <a:pt x="193" y="1065"/>
                    <a:pt x="193" y="1061"/>
                  </a:cubicBezTo>
                  <a:cubicBezTo>
                    <a:pt x="193" y="1061"/>
                    <a:pt x="194" y="1061"/>
                    <a:pt x="194" y="1061"/>
                  </a:cubicBezTo>
                  <a:cubicBezTo>
                    <a:pt x="195" y="1061"/>
                    <a:pt x="195" y="1061"/>
                    <a:pt x="195" y="1061"/>
                  </a:cubicBezTo>
                  <a:cubicBezTo>
                    <a:pt x="195" y="1060"/>
                    <a:pt x="195" y="1060"/>
                    <a:pt x="195" y="1060"/>
                  </a:cubicBezTo>
                  <a:cubicBezTo>
                    <a:pt x="196" y="1058"/>
                    <a:pt x="196" y="1057"/>
                    <a:pt x="196" y="1056"/>
                  </a:cubicBezTo>
                  <a:cubicBezTo>
                    <a:pt x="195" y="1055"/>
                    <a:pt x="194" y="1054"/>
                    <a:pt x="189" y="1053"/>
                  </a:cubicBezTo>
                  <a:cubicBezTo>
                    <a:pt x="185" y="1052"/>
                    <a:pt x="182" y="1051"/>
                    <a:pt x="181" y="1048"/>
                  </a:cubicBezTo>
                  <a:cubicBezTo>
                    <a:pt x="180" y="1047"/>
                    <a:pt x="179" y="1045"/>
                    <a:pt x="179" y="1043"/>
                  </a:cubicBezTo>
                  <a:cubicBezTo>
                    <a:pt x="178" y="1041"/>
                    <a:pt x="177" y="1039"/>
                    <a:pt x="176" y="1037"/>
                  </a:cubicBezTo>
                  <a:cubicBezTo>
                    <a:pt x="176" y="1036"/>
                    <a:pt x="175" y="1035"/>
                    <a:pt x="175" y="1035"/>
                  </a:cubicBezTo>
                  <a:cubicBezTo>
                    <a:pt x="174" y="1034"/>
                    <a:pt x="173" y="1033"/>
                    <a:pt x="173" y="1031"/>
                  </a:cubicBezTo>
                  <a:cubicBezTo>
                    <a:pt x="173" y="1030"/>
                    <a:pt x="173" y="1029"/>
                    <a:pt x="173" y="1028"/>
                  </a:cubicBezTo>
                  <a:cubicBezTo>
                    <a:pt x="173" y="1027"/>
                    <a:pt x="173" y="1026"/>
                    <a:pt x="173" y="1026"/>
                  </a:cubicBezTo>
                  <a:cubicBezTo>
                    <a:pt x="173" y="1025"/>
                    <a:pt x="173" y="1024"/>
                    <a:pt x="173" y="1024"/>
                  </a:cubicBezTo>
                  <a:cubicBezTo>
                    <a:pt x="173" y="1023"/>
                    <a:pt x="173" y="1023"/>
                    <a:pt x="173" y="1023"/>
                  </a:cubicBezTo>
                  <a:cubicBezTo>
                    <a:pt x="173" y="1023"/>
                    <a:pt x="173" y="1023"/>
                    <a:pt x="173" y="1023"/>
                  </a:cubicBezTo>
                  <a:cubicBezTo>
                    <a:pt x="173" y="1023"/>
                    <a:pt x="172" y="1023"/>
                    <a:pt x="172" y="1022"/>
                  </a:cubicBezTo>
                  <a:cubicBezTo>
                    <a:pt x="172" y="1022"/>
                    <a:pt x="171" y="1021"/>
                    <a:pt x="170" y="1020"/>
                  </a:cubicBezTo>
                  <a:cubicBezTo>
                    <a:pt x="169" y="1019"/>
                    <a:pt x="169" y="1016"/>
                    <a:pt x="169" y="1014"/>
                  </a:cubicBezTo>
                  <a:cubicBezTo>
                    <a:pt x="170" y="1013"/>
                    <a:pt x="170" y="1013"/>
                    <a:pt x="170" y="1013"/>
                  </a:cubicBezTo>
                  <a:cubicBezTo>
                    <a:pt x="170" y="1013"/>
                    <a:pt x="170" y="1013"/>
                    <a:pt x="170" y="1013"/>
                  </a:cubicBezTo>
                  <a:cubicBezTo>
                    <a:pt x="171" y="1013"/>
                    <a:pt x="171" y="1013"/>
                    <a:pt x="171" y="1013"/>
                  </a:cubicBezTo>
                  <a:cubicBezTo>
                    <a:pt x="171" y="1013"/>
                    <a:pt x="171" y="1013"/>
                    <a:pt x="171" y="1013"/>
                  </a:cubicBezTo>
                  <a:cubicBezTo>
                    <a:pt x="172" y="1013"/>
                    <a:pt x="174" y="1012"/>
                    <a:pt x="175" y="1011"/>
                  </a:cubicBezTo>
                  <a:cubicBezTo>
                    <a:pt x="175" y="1011"/>
                    <a:pt x="175" y="1011"/>
                    <a:pt x="175" y="1011"/>
                  </a:cubicBezTo>
                  <a:cubicBezTo>
                    <a:pt x="176" y="1010"/>
                    <a:pt x="176" y="1010"/>
                    <a:pt x="176" y="1010"/>
                  </a:cubicBezTo>
                  <a:cubicBezTo>
                    <a:pt x="176" y="1010"/>
                    <a:pt x="176" y="1010"/>
                    <a:pt x="176" y="1010"/>
                  </a:cubicBezTo>
                  <a:cubicBezTo>
                    <a:pt x="176" y="1009"/>
                    <a:pt x="176" y="1009"/>
                    <a:pt x="176" y="1009"/>
                  </a:cubicBezTo>
                  <a:cubicBezTo>
                    <a:pt x="176" y="1008"/>
                    <a:pt x="176" y="1008"/>
                    <a:pt x="176" y="1008"/>
                  </a:cubicBezTo>
                  <a:cubicBezTo>
                    <a:pt x="176" y="1008"/>
                    <a:pt x="176" y="1007"/>
                    <a:pt x="176" y="1007"/>
                  </a:cubicBezTo>
                  <a:cubicBezTo>
                    <a:pt x="174" y="1003"/>
                    <a:pt x="172" y="1000"/>
                    <a:pt x="169" y="996"/>
                  </a:cubicBezTo>
                  <a:cubicBezTo>
                    <a:pt x="168" y="995"/>
                    <a:pt x="168" y="994"/>
                    <a:pt x="167" y="992"/>
                  </a:cubicBezTo>
                  <a:cubicBezTo>
                    <a:pt x="165" y="990"/>
                    <a:pt x="165" y="988"/>
                    <a:pt x="164" y="985"/>
                  </a:cubicBezTo>
                  <a:cubicBezTo>
                    <a:pt x="164" y="983"/>
                    <a:pt x="164" y="983"/>
                    <a:pt x="164" y="983"/>
                  </a:cubicBezTo>
                  <a:cubicBezTo>
                    <a:pt x="163" y="982"/>
                    <a:pt x="163" y="981"/>
                    <a:pt x="162" y="979"/>
                  </a:cubicBezTo>
                  <a:cubicBezTo>
                    <a:pt x="161" y="978"/>
                    <a:pt x="160" y="977"/>
                    <a:pt x="160" y="975"/>
                  </a:cubicBezTo>
                  <a:cubicBezTo>
                    <a:pt x="159" y="974"/>
                    <a:pt x="159" y="972"/>
                    <a:pt x="159" y="971"/>
                  </a:cubicBezTo>
                  <a:cubicBezTo>
                    <a:pt x="159" y="969"/>
                    <a:pt x="158" y="967"/>
                    <a:pt x="158" y="966"/>
                  </a:cubicBezTo>
                  <a:cubicBezTo>
                    <a:pt x="157" y="964"/>
                    <a:pt x="156" y="963"/>
                    <a:pt x="156" y="962"/>
                  </a:cubicBezTo>
                  <a:cubicBezTo>
                    <a:pt x="155" y="961"/>
                    <a:pt x="154" y="960"/>
                    <a:pt x="154" y="959"/>
                  </a:cubicBezTo>
                  <a:cubicBezTo>
                    <a:pt x="151" y="954"/>
                    <a:pt x="152" y="949"/>
                    <a:pt x="153" y="944"/>
                  </a:cubicBezTo>
                  <a:cubicBezTo>
                    <a:pt x="153" y="943"/>
                    <a:pt x="153" y="941"/>
                    <a:pt x="153" y="940"/>
                  </a:cubicBezTo>
                  <a:cubicBezTo>
                    <a:pt x="153" y="938"/>
                    <a:pt x="153" y="938"/>
                    <a:pt x="152" y="936"/>
                  </a:cubicBezTo>
                  <a:cubicBezTo>
                    <a:pt x="151" y="935"/>
                    <a:pt x="150" y="935"/>
                    <a:pt x="150" y="934"/>
                  </a:cubicBezTo>
                  <a:cubicBezTo>
                    <a:pt x="149" y="932"/>
                    <a:pt x="149" y="929"/>
                    <a:pt x="149" y="927"/>
                  </a:cubicBezTo>
                  <a:cubicBezTo>
                    <a:pt x="149" y="926"/>
                    <a:pt x="150" y="925"/>
                    <a:pt x="150" y="924"/>
                  </a:cubicBezTo>
                  <a:cubicBezTo>
                    <a:pt x="150" y="922"/>
                    <a:pt x="149" y="921"/>
                    <a:pt x="148" y="920"/>
                  </a:cubicBezTo>
                  <a:cubicBezTo>
                    <a:pt x="148" y="919"/>
                    <a:pt x="147" y="918"/>
                    <a:pt x="147" y="917"/>
                  </a:cubicBezTo>
                  <a:cubicBezTo>
                    <a:pt x="145" y="913"/>
                    <a:pt x="147" y="909"/>
                    <a:pt x="148" y="908"/>
                  </a:cubicBezTo>
                  <a:cubicBezTo>
                    <a:pt x="150" y="903"/>
                    <a:pt x="149" y="896"/>
                    <a:pt x="148" y="890"/>
                  </a:cubicBezTo>
                  <a:cubicBezTo>
                    <a:pt x="147" y="889"/>
                    <a:pt x="147" y="888"/>
                    <a:pt x="146" y="887"/>
                  </a:cubicBezTo>
                  <a:cubicBezTo>
                    <a:pt x="146" y="885"/>
                    <a:pt x="145" y="883"/>
                    <a:pt x="145" y="881"/>
                  </a:cubicBezTo>
                  <a:cubicBezTo>
                    <a:pt x="145" y="877"/>
                    <a:pt x="147" y="877"/>
                    <a:pt x="149" y="876"/>
                  </a:cubicBezTo>
                  <a:cubicBezTo>
                    <a:pt x="150" y="876"/>
                    <a:pt x="151" y="876"/>
                    <a:pt x="151" y="875"/>
                  </a:cubicBezTo>
                  <a:cubicBezTo>
                    <a:pt x="152" y="875"/>
                    <a:pt x="152" y="875"/>
                    <a:pt x="153" y="874"/>
                  </a:cubicBezTo>
                  <a:cubicBezTo>
                    <a:pt x="153" y="874"/>
                    <a:pt x="154" y="873"/>
                    <a:pt x="154" y="873"/>
                  </a:cubicBezTo>
                  <a:cubicBezTo>
                    <a:pt x="155" y="872"/>
                    <a:pt x="155" y="872"/>
                    <a:pt x="156" y="872"/>
                  </a:cubicBezTo>
                  <a:cubicBezTo>
                    <a:pt x="157" y="872"/>
                    <a:pt x="157" y="872"/>
                    <a:pt x="157" y="871"/>
                  </a:cubicBezTo>
                  <a:cubicBezTo>
                    <a:pt x="158" y="871"/>
                    <a:pt x="158" y="871"/>
                    <a:pt x="158" y="871"/>
                  </a:cubicBezTo>
                  <a:cubicBezTo>
                    <a:pt x="158" y="871"/>
                    <a:pt x="158" y="871"/>
                    <a:pt x="158" y="871"/>
                  </a:cubicBezTo>
                  <a:cubicBezTo>
                    <a:pt x="160" y="868"/>
                    <a:pt x="156" y="864"/>
                    <a:pt x="156" y="864"/>
                  </a:cubicBezTo>
                  <a:cubicBezTo>
                    <a:pt x="153" y="860"/>
                    <a:pt x="149" y="855"/>
                    <a:pt x="147" y="850"/>
                  </a:cubicBezTo>
                  <a:cubicBezTo>
                    <a:pt x="146" y="847"/>
                    <a:pt x="144" y="844"/>
                    <a:pt x="141" y="841"/>
                  </a:cubicBezTo>
                  <a:cubicBezTo>
                    <a:pt x="139" y="837"/>
                    <a:pt x="136" y="834"/>
                    <a:pt x="135" y="830"/>
                  </a:cubicBezTo>
                  <a:cubicBezTo>
                    <a:pt x="135" y="828"/>
                    <a:pt x="135" y="827"/>
                    <a:pt x="135" y="826"/>
                  </a:cubicBezTo>
                  <a:cubicBezTo>
                    <a:pt x="135" y="824"/>
                    <a:pt x="135" y="822"/>
                    <a:pt x="134" y="820"/>
                  </a:cubicBezTo>
                  <a:cubicBezTo>
                    <a:pt x="134" y="819"/>
                    <a:pt x="133" y="818"/>
                    <a:pt x="133" y="818"/>
                  </a:cubicBezTo>
                  <a:cubicBezTo>
                    <a:pt x="132" y="816"/>
                    <a:pt x="131" y="815"/>
                    <a:pt x="131" y="813"/>
                  </a:cubicBezTo>
                  <a:cubicBezTo>
                    <a:pt x="130" y="809"/>
                    <a:pt x="129" y="806"/>
                    <a:pt x="128" y="803"/>
                  </a:cubicBezTo>
                  <a:cubicBezTo>
                    <a:pt x="127" y="800"/>
                    <a:pt x="126" y="798"/>
                    <a:pt x="126" y="796"/>
                  </a:cubicBezTo>
                  <a:cubicBezTo>
                    <a:pt x="125" y="793"/>
                    <a:pt x="125" y="790"/>
                    <a:pt x="125" y="788"/>
                  </a:cubicBezTo>
                  <a:cubicBezTo>
                    <a:pt x="125" y="786"/>
                    <a:pt x="125" y="786"/>
                    <a:pt x="125" y="786"/>
                  </a:cubicBezTo>
                  <a:cubicBezTo>
                    <a:pt x="125" y="783"/>
                    <a:pt x="125" y="782"/>
                    <a:pt x="127" y="781"/>
                  </a:cubicBezTo>
                  <a:cubicBezTo>
                    <a:pt x="127" y="781"/>
                    <a:pt x="128" y="780"/>
                    <a:pt x="129" y="779"/>
                  </a:cubicBezTo>
                  <a:cubicBezTo>
                    <a:pt x="129" y="779"/>
                    <a:pt x="129" y="779"/>
                    <a:pt x="130" y="778"/>
                  </a:cubicBezTo>
                  <a:cubicBezTo>
                    <a:pt x="130" y="777"/>
                    <a:pt x="130" y="776"/>
                    <a:pt x="130" y="776"/>
                  </a:cubicBezTo>
                  <a:cubicBezTo>
                    <a:pt x="131" y="775"/>
                    <a:pt x="131" y="775"/>
                    <a:pt x="132" y="775"/>
                  </a:cubicBezTo>
                  <a:cubicBezTo>
                    <a:pt x="132" y="774"/>
                    <a:pt x="133" y="774"/>
                    <a:pt x="133" y="773"/>
                  </a:cubicBezTo>
                  <a:cubicBezTo>
                    <a:pt x="133" y="773"/>
                    <a:pt x="134" y="772"/>
                    <a:pt x="134" y="772"/>
                  </a:cubicBezTo>
                  <a:cubicBezTo>
                    <a:pt x="135" y="770"/>
                    <a:pt x="136" y="769"/>
                    <a:pt x="138" y="768"/>
                  </a:cubicBezTo>
                  <a:cubicBezTo>
                    <a:pt x="141" y="766"/>
                    <a:pt x="142" y="764"/>
                    <a:pt x="142" y="761"/>
                  </a:cubicBezTo>
                  <a:cubicBezTo>
                    <a:pt x="142" y="760"/>
                    <a:pt x="141" y="758"/>
                    <a:pt x="140" y="757"/>
                  </a:cubicBezTo>
                  <a:cubicBezTo>
                    <a:pt x="140" y="755"/>
                    <a:pt x="140" y="754"/>
                    <a:pt x="139" y="753"/>
                  </a:cubicBezTo>
                  <a:cubicBezTo>
                    <a:pt x="138" y="747"/>
                    <a:pt x="136" y="741"/>
                    <a:pt x="133" y="737"/>
                  </a:cubicBezTo>
                  <a:cubicBezTo>
                    <a:pt x="130" y="732"/>
                    <a:pt x="131" y="728"/>
                    <a:pt x="131" y="723"/>
                  </a:cubicBezTo>
                  <a:cubicBezTo>
                    <a:pt x="131" y="722"/>
                    <a:pt x="131" y="720"/>
                    <a:pt x="131" y="718"/>
                  </a:cubicBezTo>
                  <a:cubicBezTo>
                    <a:pt x="131" y="717"/>
                    <a:pt x="131" y="715"/>
                    <a:pt x="131" y="714"/>
                  </a:cubicBezTo>
                  <a:cubicBezTo>
                    <a:pt x="131" y="709"/>
                    <a:pt x="131" y="703"/>
                    <a:pt x="133" y="698"/>
                  </a:cubicBezTo>
                  <a:cubicBezTo>
                    <a:pt x="133" y="696"/>
                    <a:pt x="134" y="693"/>
                    <a:pt x="136" y="690"/>
                  </a:cubicBezTo>
                  <a:cubicBezTo>
                    <a:pt x="138" y="688"/>
                    <a:pt x="138" y="687"/>
                    <a:pt x="138" y="684"/>
                  </a:cubicBezTo>
                  <a:cubicBezTo>
                    <a:pt x="138" y="683"/>
                    <a:pt x="138" y="683"/>
                    <a:pt x="138" y="683"/>
                  </a:cubicBezTo>
                  <a:cubicBezTo>
                    <a:pt x="138" y="681"/>
                    <a:pt x="138" y="680"/>
                    <a:pt x="138" y="679"/>
                  </a:cubicBezTo>
                  <a:cubicBezTo>
                    <a:pt x="138" y="679"/>
                    <a:pt x="138" y="679"/>
                    <a:pt x="138" y="679"/>
                  </a:cubicBezTo>
                  <a:cubicBezTo>
                    <a:pt x="137" y="678"/>
                    <a:pt x="137" y="678"/>
                    <a:pt x="137" y="678"/>
                  </a:cubicBezTo>
                  <a:cubicBezTo>
                    <a:pt x="137" y="678"/>
                    <a:pt x="137" y="678"/>
                    <a:pt x="136" y="677"/>
                  </a:cubicBezTo>
                  <a:cubicBezTo>
                    <a:pt x="135" y="676"/>
                    <a:pt x="135" y="674"/>
                    <a:pt x="135" y="672"/>
                  </a:cubicBezTo>
                  <a:cubicBezTo>
                    <a:pt x="134" y="671"/>
                    <a:pt x="134" y="671"/>
                    <a:pt x="134" y="671"/>
                  </a:cubicBezTo>
                  <a:cubicBezTo>
                    <a:pt x="133" y="666"/>
                    <a:pt x="133" y="662"/>
                    <a:pt x="133" y="658"/>
                  </a:cubicBezTo>
                  <a:cubicBezTo>
                    <a:pt x="133" y="657"/>
                    <a:pt x="133" y="657"/>
                    <a:pt x="133" y="657"/>
                  </a:cubicBezTo>
                  <a:cubicBezTo>
                    <a:pt x="133" y="654"/>
                    <a:pt x="132" y="651"/>
                    <a:pt x="131" y="649"/>
                  </a:cubicBezTo>
                  <a:cubicBezTo>
                    <a:pt x="130" y="648"/>
                    <a:pt x="129" y="647"/>
                    <a:pt x="128" y="647"/>
                  </a:cubicBezTo>
                  <a:cubicBezTo>
                    <a:pt x="127" y="647"/>
                    <a:pt x="127" y="647"/>
                    <a:pt x="126" y="647"/>
                  </a:cubicBezTo>
                  <a:cubicBezTo>
                    <a:pt x="126" y="647"/>
                    <a:pt x="125" y="647"/>
                    <a:pt x="125" y="647"/>
                  </a:cubicBezTo>
                  <a:cubicBezTo>
                    <a:pt x="124" y="647"/>
                    <a:pt x="123" y="647"/>
                    <a:pt x="122" y="646"/>
                  </a:cubicBezTo>
                  <a:cubicBezTo>
                    <a:pt x="119" y="645"/>
                    <a:pt x="119" y="642"/>
                    <a:pt x="119" y="639"/>
                  </a:cubicBezTo>
                  <a:cubicBezTo>
                    <a:pt x="119" y="638"/>
                    <a:pt x="119" y="637"/>
                    <a:pt x="119" y="636"/>
                  </a:cubicBezTo>
                  <a:cubicBezTo>
                    <a:pt x="119" y="635"/>
                    <a:pt x="119" y="634"/>
                    <a:pt x="119" y="633"/>
                  </a:cubicBezTo>
                  <a:cubicBezTo>
                    <a:pt x="119" y="631"/>
                    <a:pt x="119" y="628"/>
                    <a:pt x="116" y="627"/>
                  </a:cubicBezTo>
                  <a:cubicBezTo>
                    <a:pt x="116" y="626"/>
                    <a:pt x="116" y="626"/>
                    <a:pt x="115" y="626"/>
                  </a:cubicBezTo>
                  <a:cubicBezTo>
                    <a:pt x="114" y="625"/>
                    <a:pt x="113" y="624"/>
                    <a:pt x="113" y="623"/>
                  </a:cubicBezTo>
                  <a:cubicBezTo>
                    <a:pt x="112" y="622"/>
                    <a:pt x="112" y="621"/>
                    <a:pt x="112" y="620"/>
                  </a:cubicBezTo>
                  <a:cubicBezTo>
                    <a:pt x="112" y="619"/>
                    <a:pt x="112" y="619"/>
                    <a:pt x="112" y="618"/>
                  </a:cubicBezTo>
                  <a:cubicBezTo>
                    <a:pt x="111" y="616"/>
                    <a:pt x="110" y="615"/>
                    <a:pt x="109" y="613"/>
                  </a:cubicBezTo>
                  <a:cubicBezTo>
                    <a:pt x="108" y="612"/>
                    <a:pt x="106" y="611"/>
                    <a:pt x="106" y="609"/>
                  </a:cubicBezTo>
                  <a:cubicBezTo>
                    <a:pt x="105" y="608"/>
                    <a:pt x="104" y="607"/>
                    <a:pt x="104" y="607"/>
                  </a:cubicBezTo>
                  <a:cubicBezTo>
                    <a:pt x="103" y="606"/>
                    <a:pt x="103" y="606"/>
                    <a:pt x="102" y="605"/>
                  </a:cubicBezTo>
                  <a:cubicBezTo>
                    <a:pt x="101" y="604"/>
                    <a:pt x="101" y="600"/>
                    <a:pt x="101" y="599"/>
                  </a:cubicBezTo>
                  <a:cubicBezTo>
                    <a:pt x="100" y="598"/>
                    <a:pt x="101" y="596"/>
                    <a:pt x="101" y="595"/>
                  </a:cubicBezTo>
                  <a:cubicBezTo>
                    <a:pt x="102" y="593"/>
                    <a:pt x="102" y="592"/>
                    <a:pt x="102" y="591"/>
                  </a:cubicBezTo>
                  <a:cubicBezTo>
                    <a:pt x="101" y="589"/>
                    <a:pt x="100" y="589"/>
                    <a:pt x="99" y="589"/>
                  </a:cubicBezTo>
                  <a:cubicBezTo>
                    <a:pt x="98" y="589"/>
                    <a:pt x="98" y="589"/>
                    <a:pt x="98" y="589"/>
                  </a:cubicBezTo>
                  <a:cubicBezTo>
                    <a:pt x="96" y="589"/>
                    <a:pt x="95" y="588"/>
                    <a:pt x="93" y="587"/>
                  </a:cubicBezTo>
                  <a:cubicBezTo>
                    <a:pt x="92" y="586"/>
                    <a:pt x="92" y="585"/>
                    <a:pt x="91" y="584"/>
                  </a:cubicBezTo>
                  <a:cubicBezTo>
                    <a:pt x="91" y="583"/>
                    <a:pt x="91" y="582"/>
                    <a:pt x="91" y="581"/>
                  </a:cubicBezTo>
                  <a:cubicBezTo>
                    <a:pt x="90" y="580"/>
                    <a:pt x="90" y="580"/>
                    <a:pt x="89" y="579"/>
                  </a:cubicBezTo>
                  <a:cubicBezTo>
                    <a:pt x="88" y="578"/>
                    <a:pt x="87" y="577"/>
                    <a:pt x="86" y="575"/>
                  </a:cubicBezTo>
                  <a:cubicBezTo>
                    <a:pt x="86" y="573"/>
                    <a:pt x="85" y="571"/>
                    <a:pt x="85" y="569"/>
                  </a:cubicBezTo>
                  <a:cubicBezTo>
                    <a:pt x="84" y="567"/>
                    <a:pt x="84" y="564"/>
                    <a:pt x="84" y="562"/>
                  </a:cubicBezTo>
                  <a:cubicBezTo>
                    <a:pt x="85" y="561"/>
                    <a:pt x="86" y="560"/>
                    <a:pt x="87" y="559"/>
                  </a:cubicBezTo>
                  <a:cubicBezTo>
                    <a:pt x="87" y="559"/>
                    <a:pt x="88" y="558"/>
                    <a:pt x="88" y="558"/>
                  </a:cubicBezTo>
                  <a:cubicBezTo>
                    <a:pt x="89" y="556"/>
                    <a:pt x="89" y="552"/>
                    <a:pt x="89" y="548"/>
                  </a:cubicBezTo>
                  <a:cubicBezTo>
                    <a:pt x="89" y="546"/>
                    <a:pt x="89" y="545"/>
                    <a:pt x="89" y="544"/>
                  </a:cubicBezTo>
                  <a:cubicBezTo>
                    <a:pt x="89" y="543"/>
                    <a:pt x="89" y="542"/>
                    <a:pt x="89" y="541"/>
                  </a:cubicBezTo>
                  <a:cubicBezTo>
                    <a:pt x="89" y="537"/>
                    <a:pt x="88" y="531"/>
                    <a:pt x="90" y="528"/>
                  </a:cubicBezTo>
                  <a:cubicBezTo>
                    <a:pt x="90" y="528"/>
                    <a:pt x="90" y="528"/>
                    <a:pt x="91" y="528"/>
                  </a:cubicBezTo>
                  <a:cubicBezTo>
                    <a:pt x="91" y="528"/>
                    <a:pt x="92" y="528"/>
                    <a:pt x="92" y="528"/>
                  </a:cubicBezTo>
                  <a:cubicBezTo>
                    <a:pt x="93" y="528"/>
                    <a:pt x="93" y="528"/>
                    <a:pt x="93" y="528"/>
                  </a:cubicBezTo>
                  <a:cubicBezTo>
                    <a:pt x="94" y="528"/>
                    <a:pt x="95" y="528"/>
                    <a:pt x="96" y="527"/>
                  </a:cubicBezTo>
                  <a:cubicBezTo>
                    <a:pt x="96" y="527"/>
                    <a:pt x="96" y="527"/>
                    <a:pt x="96" y="527"/>
                  </a:cubicBezTo>
                  <a:cubicBezTo>
                    <a:pt x="97" y="527"/>
                    <a:pt x="97" y="527"/>
                    <a:pt x="97" y="527"/>
                  </a:cubicBezTo>
                  <a:cubicBezTo>
                    <a:pt x="97" y="526"/>
                    <a:pt x="97" y="525"/>
                    <a:pt x="98" y="524"/>
                  </a:cubicBezTo>
                  <a:cubicBezTo>
                    <a:pt x="98" y="522"/>
                    <a:pt x="98" y="519"/>
                    <a:pt x="97" y="516"/>
                  </a:cubicBezTo>
                  <a:cubicBezTo>
                    <a:pt x="97" y="514"/>
                    <a:pt x="96" y="512"/>
                    <a:pt x="95" y="510"/>
                  </a:cubicBezTo>
                  <a:cubicBezTo>
                    <a:pt x="95" y="509"/>
                    <a:pt x="95" y="509"/>
                    <a:pt x="95" y="509"/>
                  </a:cubicBezTo>
                  <a:cubicBezTo>
                    <a:pt x="94" y="507"/>
                    <a:pt x="94" y="506"/>
                    <a:pt x="93" y="504"/>
                  </a:cubicBezTo>
                  <a:cubicBezTo>
                    <a:pt x="93" y="503"/>
                    <a:pt x="93" y="501"/>
                    <a:pt x="92" y="500"/>
                  </a:cubicBezTo>
                  <a:cubicBezTo>
                    <a:pt x="91" y="498"/>
                    <a:pt x="90" y="496"/>
                    <a:pt x="89" y="494"/>
                  </a:cubicBezTo>
                  <a:cubicBezTo>
                    <a:pt x="87" y="491"/>
                    <a:pt x="85" y="488"/>
                    <a:pt x="85" y="484"/>
                  </a:cubicBezTo>
                  <a:cubicBezTo>
                    <a:pt x="85" y="481"/>
                    <a:pt x="86" y="480"/>
                    <a:pt x="87" y="479"/>
                  </a:cubicBezTo>
                  <a:cubicBezTo>
                    <a:pt x="88" y="478"/>
                    <a:pt x="88" y="478"/>
                    <a:pt x="89" y="477"/>
                  </a:cubicBezTo>
                  <a:cubicBezTo>
                    <a:pt x="89" y="475"/>
                    <a:pt x="90" y="473"/>
                    <a:pt x="90" y="471"/>
                  </a:cubicBezTo>
                  <a:cubicBezTo>
                    <a:pt x="90" y="470"/>
                    <a:pt x="90" y="469"/>
                    <a:pt x="90" y="468"/>
                  </a:cubicBezTo>
                  <a:cubicBezTo>
                    <a:pt x="91" y="463"/>
                    <a:pt x="90" y="458"/>
                    <a:pt x="90" y="453"/>
                  </a:cubicBezTo>
                  <a:cubicBezTo>
                    <a:pt x="90" y="452"/>
                    <a:pt x="90" y="452"/>
                    <a:pt x="90" y="451"/>
                  </a:cubicBezTo>
                  <a:cubicBezTo>
                    <a:pt x="89" y="449"/>
                    <a:pt x="89" y="448"/>
                    <a:pt x="89" y="446"/>
                  </a:cubicBezTo>
                  <a:cubicBezTo>
                    <a:pt x="90" y="445"/>
                    <a:pt x="91" y="444"/>
                    <a:pt x="92" y="442"/>
                  </a:cubicBezTo>
                  <a:cubicBezTo>
                    <a:pt x="93" y="442"/>
                    <a:pt x="93" y="442"/>
                    <a:pt x="93" y="441"/>
                  </a:cubicBezTo>
                  <a:cubicBezTo>
                    <a:pt x="94" y="440"/>
                    <a:pt x="95" y="439"/>
                    <a:pt x="96" y="437"/>
                  </a:cubicBezTo>
                  <a:cubicBezTo>
                    <a:pt x="96" y="436"/>
                    <a:pt x="96" y="436"/>
                    <a:pt x="96" y="436"/>
                  </a:cubicBezTo>
                  <a:cubicBezTo>
                    <a:pt x="97" y="435"/>
                    <a:pt x="97" y="434"/>
                    <a:pt x="98" y="433"/>
                  </a:cubicBezTo>
                  <a:cubicBezTo>
                    <a:pt x="98" y="432"/>
                    <a:pt x="98" y="431"/>
                    <a:pt x="99" y="430"/>
                  </a:cubicBezTo>
                  <a:cubicBezTo>
                    <a:pt x="99" y="429"/>
                    <a:pt x="100" y="428"/>
                    <a:pt x="101" y="427"/>
                  </a:cubicBezTo>
                  <a:cubicBezTo>
                    <a:pt x="101" y="427"/>
                    <a:pt x="102" y="426"/>
                    <a:pt x="102" y="425"/>
                  </a:cubicBezTo>
                  <a:cubicBezTo>
                    <a:pt x="103" y="423"/>
                    <a:pt x="104" y="420"/>
                    <a:pt x="104" y="417"/>
                  </a:cubicBezTo>
                  <a:cubicBezTo>
                    <a:pt x="104" y="415"/>
                    <a:pt x="104" y="414"/>
                    <a:pt x="104" y="412"/>
                  </a:cubicBezTo>
                  <a:cubicBezTo>
                    <a:pt x="105" y="410"/>
                    <a:pt x="106" y="408"/>
                    <a:pt x="107" y="407"/>
                  </a:cubicBezTo>
                  <a:cubicBezTo>
                    <a:pt x="108" y="405"/>
                    <a:pt x="109" y="403"/>
                    <a:pt x="109" y="402"/>
                  </a:cubicBezTo>
                  <a:cubicBezTo>
                    <a:pt x="109" y="401"/>
                    <a:pt x="109" y="400"/>
                    <a:pt x="109" y="399"/>
                  </a:cubicBezTo>
                  <a:cubicBezTo>
                    <a:pt x="109" y="396"/>
                    <a:pt x="109" y="394"/>
                    <a:pt x="111" y="392"/>
                  </a:cubicBezTo>
                  <a:cubicBezTo>
                    <a:pt x="111" y="392"/>
                    <a:pt x="112" y="392"/>
                    <a:pt x="113" y="392"/>
                  </a:cubicBezTo>
                  <a:cubicBezTo>
                    <a:pt x="113" y="392"/>
                    <a:pt x="114" y="392"/>
                    <a:pt x="114" y="392"/>
                  </a:cubicBezTo>
                  <a:cubicBezTo>
                    <a:pt x="115" y="392"/>
                    <a:pt x="116" y="393"/>
                    <a:pt x="117" y="393"/>
                  </a:cubicBezTo>
                  <a:cubicBezTo>
                    <a:pt x="119" y="394"/>
                    <a:pt x="119" y="394"/>
                    <a:pt x="119" y="394"/>
                  </a:cubicBezTo>
                  <a:cubicBezTo>
                    <a:pt x="120" y="392"/>
                    <a:pt x="120" y="392"/>
                    <a:pt x="120" y="392"/>
                  </a:cubicBezTo>
                  <a:cubicBezTo>
                    <a:pt x="120" y="391"/>
                    <a:pt x="121" y="390"/>
                    <a:pt x="122" y="389"/>
                  </a:cubicBezTo>
                  <a:cubicBezTo>
                    <a:pt x="123" y="389"/>
                    <a:pt x="124" y="389"/>
                    <a:pt x="124" y="389"/>
                  </a:cubicBezTo>
                  <a:cubicBezTo>
                    <a:pt x="126" y="388"/>
                    <a:pt x="126" y="388"/>
                    <a:pt x="126" y="388"/>
                  </a:cubicBezTo>
                  <a:cubicBezTo>
                    <a:pt x="126" y="387"/>
                    <a:pt x="126" y="387"/>
                    <a:pt x="126" y="387"/>
                  </a:cubicBezTo>
                  <a:cubicBezTo>
                    <a:pt x="127" y="385"/>
                    <a:pt x="126" y="383"/>
                    <a:pt x="125" y="381"/>
                  </a:cubicBezTo>
                  <a:cubicBezTo>
                    <a:pt x="124" y="379"/>
                    <a:pt x="122" y="378"/>
                    <a:pt x="121" y="376"/>
                  </a:cubicBezTo>
                  <a:cubicBezTo>
                    <a:pt x="119" y="375"/>
                    <a:pt x="118" y="373"/>
                    <a:pt x="117" y="372"/>
                  </a:cubicBezTo>
                  <a:cubicBezTo>
                    <a:pt x="114" y="368"/>
                    <a:pt x="113" y="365"/>
                    <a:pt x="113" y="360"/>
                  </a:cubicBezTo>
                  <a:cubicBezTo>
                    <a:pt x="114" y="358"/>
                    <a:pt x="114" y="357"/>
                    <a:pt x="115" y="356"/>
                  </a:cubicBezTo>
                  <a:cubicBezTo>
                    <a:pt x="116" y="356"/>
                    <a:pt x="116" y="355"/>
                    <a:pt x="117" y="354"/>
                  </a:cubicBezTo>
                  <a:cubicBezTo>
                    <a:pt x="118" y="351"/>
                    <a:pt x="116" y="348"/>
                    <a:pt x="115" y="345"/>
                  </a:cubicBezTo>
                  <a:cubicBezTo>
                    <a:pt x="114" y="344"/>
                    <a:pt x="114" y="343"/>
                    <a:pt x="113" y="342"/>
                  </a:cubicBezTo>
                  <a:cubicBezTo>
                    <a:pt x="113" y="341"/>
                    <a:pt x="112" y="340"/>
                    <a:pt x="112" y="339"/>
                  </a:cubicBezTo>
                  <a:cubicBezTo>
                    <a:pt x="112" y="337"/>
                    <a:pt x="111" y="335"/>
                    <a:pt x="110" y="334"/>
                  </a:cubicBezTo>
                  <a:cubicBezTo>
                    <a:pt x="108" y="331"/>
                    <a:pt x="105" y="325"/>
                    <a:pt x="105" y="318"/>
                  </a:cubicBezTo>
                  <a:cubicBezTo>
                    <a:pt x="106" y="316"/>
                    <a:pt x="106" y="315"/>
                    <a:pt x="108" y="314"/>
                  </a:cubicBezTo>
                  <a:cubicBezTo>
                    <a:pt x="108" y="313"/>
                    <a:pt x="109" y="313"/>
                    <a:pt x="109" y="312"/>
                  </a:cubicBezTo>
                  <a:cubicBezTo>
                    <a:pt x="111" y="310"/>
                    <a:pt x="110" y="308"/>
                    <a:pt x="109" y="305"/>
                  </a:cubicBezTo>
                  <a:cubicBezTo>
                    <a:pt x="108" y="304"/>
                    <a:pt x="107" y="303"/>
                    <a:pt x="106" y="302"/>
                  </a:cubicBezTo>
                  <a:cubicBezTo>
                    <a:pt x="106" y="301"/>
                    <a:pt x="105" y="301"/>
                    <a:pt x="104" y="300"/>
                  </a:cubicBezTo>
                  <a:cubicBezTo>
                    <a:pt x="103" y="298"/>
                    <a:pt x="102" y="295"/>
                    <a:pt x="103" y="291"/>
                  </a:cubicBezTo>
                  <a:cubicBezTo>
                    <a:pt x="104" y="287"/>
                    <a:pt x="109" y="282"/>
                    <a:pt x="113" y="280"/>
                  </a:cubicBezTo>
                  <a:cubicBezTo>
                    <a:pt x="115" y="279"/>
                    <a:pt x="116" y="278"/>
                    <a:pt x="118" y="277"/>
                  </a:cubicBezTo>
                  <a:cubicBezTo>
                    <a:pt x="121" y="276"/>
                    <a:pt x="124" y="274"/>
                    <a:pt x="126" y="272"/>
                  </a:cubicBezTo>
                  <a:cubicBezTo>
                    <a:pt x="129" y="270"/>
                    <a:pt x="131" y="269"/>
                    <a:pt x="134" y="268"/>
                  </a:cubicBezTo>
                  <a:cubicBezTo>
                    <a:pt x="134" y="267"/>
                    <a:pt x="134" y="267"/>
                    <a:pt x="134" y="267"/>
                  </a:cubicBezTo>
                  <a:cubicBezTo>
                    <a:pt x="137" y="267"/>
                    <a:pt x="139" y="266"/>
                    <a:pt x="140" y="263"/>
                  </a:cubicBezTo>
                  <a:cubicBezTo>
                    <a:pt x="142" y="260"/>
                    <a:pt x="142" y="255"/>
                    <a:pt x="143" y="251"/>
                  </a:cubicBezTo>
                  <a:cubicBezTo>
                    <a:pt x="143" y="250"/>
                    <a:pt x="143" y="250"/>
                    <a:pt x="143" y="250"/>
                  </a:cubicBezTo>
                  <a:cubicBezTo>
                    <a:pt x="143" y="249"/>
                    <a:pt x="143" y="248"/>
                    <a:pt x="143" y="247"/>
                  </a:cubicBezTo>
                  <a:cubicBezTo>
                    <a:pt x="144" y="243"/>
                    <a:pt x="145" y="239"/>
                    <a:pt x="145" y="236"/>
                  </a:cubicBezTo>
                  <a:cubicBezTo>
                    <a:pt x="146" y="233"/>
                    <a:pt x="147" y="230"/>
                    <a:pt x="147" y="227"/>
                  </a:cubicBezTo>
                  <a:cubicBezTo>
                    <a:pt x="148" y="223"/>
                    <a:pt x="145" y="219"/>
                    <a:pt x="142" y="216"/>
                  </a:cubicBezTo>
                  <a:cubicBezTo>
                    <a:pt x="142" y="215"/>
                    <a:pt x="141" y="214"/>
                    <a:pt x="139" y="214"/>
                  </a:cubicBezTo>
                  <a:cubicBezTo>
                    <a:pt x="138" y="214"/>
                    <a:pt x="137" y="214"/>
                    <a:pt x="135" y="216"/>
                  </a:cubicBezTo>
                  <a:cubicBezTo>
                    <a:pt x="133" y="216"/>
                    <a:pt x="131" y="217"/>
                    <a:pt x="130" y="218"/>
                  </a:cubicBezTo>
                  <a:cubicBezTo>
                    <a:pt x="128" y="218"/>
                    <a:pt x="127" y="218"/>
                    <a:pt x="126" y="218"/>
                  </a:cubicBezTo>
                  <a:cubicBezTo>
                    <a:pt x="123" y="218"/>
                    <a:pt x="121" y="218"/>
                    <a:pt x="119" y="216"/>
                  </a:cubicBezTo>
                  <a:cubicBezTo>
                    <a:pt x="116" y="214"/>
                    <a:pt x="116" y="211"/>
                    <a:pt x="115" y="207"/>
                  </a:cubicBezTo>
                  <a:cubicBezTo>
                    <a:pt x="115" y="207"/>
                    <a:pt x="115" y="206"/>
                    <a:pt x="115" y="206"/>
                  </a:cubicBezTo>
                  <a:cubicBezTo>
                    <a:pt x="115" y="204"/>
                    <a:pt x="114" y="202"/>
                    <a:pt x="113" y="200"/>
                  </a:cubicBezTo>
                  <a:cubicBezTo>
                    <a:pt x="112" y="199"/>
                    <a:pt x="111" y="197"/>
                    <a:pt x="111" y="195"/>
                  </a:cubicBezTo>
                  <a:cubicBezTo>
                    <a:pt x="110" y="194"/>
                    <a:pt x="110" y="192"/>
                    <a:pt x="110" y="191"/>
                  </a:cubicBezTo>
                  <a:cubicBezTo>
                    <a:pt x="110" y="190"/>
                    <a:pt x="110" y="189"/>
                    <a:pt x="110" y="188"/>
                  </a:cubicBezTo>
                  <a:cubicBezTo>
                    <a:pt x="110" y="186"/>
                    <a:pt x="109" y="186"/>
                    <a:pt x="109" y="185"/>
                  </a:cubicBezTo>
                  <a:cubicBezTo>
                    <a:pt x="108" y="185"/>
                    <a:pt x="108" y="184"/>
                    <a:pt x="107" y="184"/>
                  </a:cubicBezTo>
                  <a:cubicBezTo>
                    <a:pt x="107" y="183"/>
                    <a:pt x="106" y="182"/>
                    <a:pt x="106" y="181"/>
                  </a:cubicBezTo>
                  <a:cubicBezTo>
                    <a:pt x="105" y="180"/>
                    <a:pt x="105" y="179"/>
                    <a:pt x="105" y="179"/>
                  </a:cubicBezTo>
                  <a:cubicBezTo>
                    <a:pt x="103" y="176"/>
                    <a:pt x="102" y="174"/>
                    <a:pt x="101" y="171"/>
                  </a:cubicBezTo>
                  <a:cubicBezTo>
                    <a:pt x="101" y="170"/>
                    <a:pt x="100" y="169"/>
                    <a:pt x="100" y="167"/>
                  </a:cubicBezTo>
                  <a:cubicBezTo>
                    <a:pt x="99" y="164"/>
                    <a:pt x="98" y="161"/>
                    <a:pt x="97" y="158"/>
                  </a:cubicBezTo>
                  <a:cubicBezTo>
                    <a:pt x="96" y="154"/>
                    <a:pt x="95" y="149"/>
                    <a:pt x="92" y="145"/>
                  </a:cubicBezTo>
                  <a:cubicBezTo>
                    <a:pt x="92" y="144"/>
                    <a:pt x="91" y="144"/>
                    <a:pt x="91" y="143"/>
                  </a:cubicBezTo>
                  <a:cubicBezTo>
                    <a:pt x="90" y="141"/>
                    <a:pt x="89" y="140"/>
                    <a:pt x="88" y="139"/>
                  </a:cubicBezTo>
                  <a:cubicBezTo>
                    <a:pt x="87" y="138"/>
                    <a:pt x="86" y="138"/>
                    <a:pt x="85" y="137"/>
                  </a:cubicBezTo>
                  <a:cubicBezTo>
                    <a:pt x="84" y="137"/>
                    <a:pt x="83" y="137"/>
                    <a:pt x="82" y="136"/>
                  </a:cubicBezTo>
                  <a:cubicBezTo>
                    <a:pt x="79" y="134"/>
                    <a:pt x="80" y="131"/>
                    <a:pt x="81" y="128"/>
                  </a:cubicBezTo>
                  <a:cubicBezTo>
                    <a:pt x="82" y="127"/>
                    <a:pt x="82" y="127"/>
                    <a:pt x="82" y="127"/>
                  </a:cubicBezTo>
                  <a:cubicBezTo>
                    <a:pt x="82" y="126"/>
                    <a:pt x="82" y="125"/>
                    <a:pt x="82" y="124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2"/>
                    <a:pt x="80" y="122"/>
                    <a:pt x="80" y="122"/>
                  </a:cubicBezTo>
                  <a:cubicBezTo>
                    <a:pt x="80" y="122"/>
                    <a:pt x="79" y="121"/>
                    <a:pt x="79" y="121"/>
                  </a:cubicBezTo>
                  <a:cubicBezTo>
                    <a:pt x="77" y="120"/>
                    <a:pt x="75" y="120"/>
                    <a:pt x="74" y="118"/>
                  </a:cubicBezTo>
                  <a:cubicBezTo>
                    <a:pt x="72" y="115"/>
                    <a:pt x="72" y="111"/>
                    <a:pt x="72" y="108"/>
                  </a:cubicBezTo>
                  <a:cubicBezTo>
                    <a:pt x="72" y="107"/>
                    <a:pt x="72" y="106"/>
                    <a:pt x="72" y="105"/>
                  </a:cubicBezTo>
                  <a:cubicBezTo>
                    <a:pt x="72" y="102"/>
                    <a:pt x="72" y="101"/>
                    <a:pt x="74" y="100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7" y="98"/>
                    <a:pt x="77" y="97"/>
                    <a:pt x="77" y="94"/>
                  </a:cubicBezTo>
                  <a:cubicBezTo>
                    <a:pt x="76" y="93"/>
                    <a:pt x="75" y="91"/>
                    <a:pt x="74" y="90"/>
                  </a:cubicBezTo>
                  <a:cubicBezTo>
                    <a:pt x="72" y="88"/>
                    <a:pt x="71" y="86"/>
                    <a:pt x="72" y="84"/>
                  </a:cubicBezTo>
                  <a:cubicBezTo>
                    <a:pt x="72" y="83"/>
                    <a:pt x="73" y="82"/>
                    <a:pt x="74" y="81"/>
                  </a:cubicBezTo>
                  <a:cubicBezTo>
                    <a:pt x="75" y="80"/>
                    <a:pt x="75" y="80"/>
                    <a:pt x="76" y="79"/>
                  </a:cubicBezTo>
                  <a:cubicBezTo>
                    <a:pt x="76" y="78"/>
                    <a:pt x="77" y="76"/>
                    <a:pt x="78" y="75"/>
                  </a:cubicBezTo>
                  <a:cubicBezTo>
                    <a:pt x="79" y="74"/>
                    <a:pt x="79" y="74"/>
                    <a:pt x="79" y="74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1" y="67"/>
                    <a:pt x="68" y="65"/>
                    <a:pt x="66" y="63"/>
                  </a:cubicBezTo>
                  <a:cubicBezTo>
                    <a:pt x="65" y="62"/>
                    <a:pt x="64" y="61"/>
                    <a:pt x="63" y="60"/>
                  </a:cubicBezTo>
                  <a:cubicBezTo>
                    <a:pt x="61" y="59"/>
                    <a:pt x="60" y="59"/>
                    <a:pt x="59" y="58"/>
                  </a:cubicBezTo>
                  <a:cubicBezTo>
                    <a:pt x="57" y="56"/>
                    <a:pt x="56" y="52"/>
                    <a:pt x="56" y="48"/>
                  </a:cubicBezTo>
                  <a:cubicBezTo>
                    <a:pt x="56" y="46"/>
                    <a:pt x="55" y="45"/>
                    <a:pt x="55" y="43"/>
                  </a:cubicBezTo>
                  <a:cubicBezTo>
                    <a:pt x="54" y="38"/>
                    <a:pt x="52" y="33"/>
                    <a:pt x="50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6"/>
                    <a:pt x="49" y="25"/>
                    <a:pt x="48" y="24"/>
                  </a:cubicBezTo>
                  <a:cubicBezTo>
                    <a:pt x="48" y="23"/>
                    <a:pt x="47" y="22"/>
                    <a:pt x="47" y="21"/>
                  </a:cubicBezTo>
                  <a:cubicBezTo>
                    <a:pt x="47" y="20"/>
                    <a:pt x="47" y="20"/>
                    <a:pt x="47" y="19"/>
                  </a:cubicBezTo>
                  <a:cubicBezTo>
                    <a:pt x="47" y="19"/>
                    <a:pt x="47" y="19"/>
                    <a:pt x="46" y="18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3" y="16"/>
                    <a:pt x="43" y="16"/>
                    <a:pt x="42" y="15"/>
                  </a:cubicBezTo>
                  <a:cubicBezTo>
                    <a:pt x="42" y="15"/>
                    <a:pt x="41" y="14"/>
                    <a:pt x="41" y="13"/>
                  </a:cubicBezTo>
                  <a:cubicBezTo>
                    <a:pt x="40" y="13"/>
                    <a:pt x="40" y="12"/>
                    <a:pt x="40" y="12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9" y="10"/>
                    <a:pt x="38" y="8"/>
                    <a:pt x="38" y="7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5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4" y="1"/>
                    <a:pt x="22" y="1"/>
                    <a:pt x="21" y="3"/>
                  </a:cubicBezTo>
                  <a:cubicBezTo>
                    <a:pt x="20" y="3"/>
                    <a:pt x="20" y="5"/>
                    <a:pt x="20" y="7"/>
                  </a:cubicBezTo>
                  <a:cubicBezTo>
                    <a:pt x="20" y="8"/>
                    <a:pt x="21" y="9"/>
                    <a:pt x="21" y="11"/>
                  </a:cubicBezTo>
                  <a:cubicBezTo>
                    <a:pt x="22" y="14"/>
                    <a:pt x="23" y="18"/>
                    <a:pt x="21" y="22"/>
                  </a:cubicBezTo>
                  <a:cubicBezTo>
                    <a:pt x="19" y="25"/>
                    <a:pt x="15" y="28"/>
                    <a:pt x="10" y="29"/>
                  </a:cubicBezTo>
                  <a:cubicBezTo>
                    <a:pt x="9" y="30"/>
                    <a:pt x="8" y="30"/>
                    <a:pt x="7" y="30"/>
                  </a:cubicBezTo>
                  <a:cubicBezTo>
                    <a:pt x="6" y="30"/>
                    <a:pt x="4" y="31"/>
                    <a:pt x="3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3" y="38"/>
                    <a:pt x="4" y="43"/>
                    <a:pt x="4" y="47"/>
                  </a:cubicBezTo>
                  <a:cubicBezTo>
                    <a:pt x="5" y="49"/>
                    <a:pt x="5" y="52"/>
                    <a:pt x="6" y="54"/>
                  </a:cubicBezTo>
                  <a:cubicBezTo>
                    <a:pt x="8" y="63"/>
                    <a:pt x="11" y="72"/>
                    <a:pt x="14" y="81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9" y="96"/>
                    <a:pt x="19" y="108"/>
                    <a:pt x="19" y="119"/>
                  </a:cubicBezTo>
                  <a:cubicBezTo>
                    <a:pt x="19" y="124"/>
                    <a:pt x="19" y="130"/>
                    <a:pt x="21" y="136"/>
                  </a:cubicBezTo>
                  <a:cubicBezTo>
                    <a:pt x="21" y="139"/>
                    <a:pt x="22" y="141"/>
                    <a:pt x="23" y="144"/>
                  </a:cubicBezTo>
                  <a:cubicBezTo>
                    <a:pt x="24" y="146"/>
                    <a:pt x="25" y="148"/>
                    <a:pt x="26" y="150"/>
                  </a:cubicBezTo>
                  <a:cubicBezTo>
                    <a:pt x="27" y="154"/>
                    <a:pt x="26" y="159"/>
                    <a:pt x="26" y="163"/>
                  </a:cubicBezTo>
                  <a:cubicBezTo>
                    <a:pt x="26" y="165"/>
                    <a:pt x="26" y="165"/>
                    <a:pt x="26" y="165"/>
                  </a:cubicBezTo>
                  <a:cubicBezTo>
                    <a:pt x="26" y="169"/>
                    <a:pt x="26" y="173"/>
                    <a:pt x="26" y="177"/>
                  </a:cubicBezTo>
                  <a:cubicBezTo>
                    <a:pt x="26" y="180"/>
                    <a:pt x="27" y="183"/>
                    <a:pt x="26" y="186"/>
                  </a:cubicBezTo>
                  <a:cubicBezTo>
                    <a:pt x="26" y="188"/>
                    <a:pt x="26" y="190"/>
                    <a:pt x="26" y="192"/>
                  </a:cubicBezTo>
                  <a:cubicBezTo>
                    <a:pt x="26" y="198"/>
                    <a:pt x="25" y="203"/>
                    <a:pt x="26" y="208"/>
                  </a:cubicBezTo>
                  <a:cubicBezTo>
                    <a:pt x="26" y="209"/>
                    <a:pt x="26" y="210"/>
                    <a:pt x="27" y="211"/>
                  </a:cubicBezTo>
                  <a:cubicBezTo>
                    <a:pt x="27" y="214"/>
                    <a:pt x="28" y="217"/>
                    <a:pt x="27" y="220"/>
                  </a:cubicBezTo>
                  <a:cubicBezTo>
                    <a:pt x="27" y="221"/>
                    <a:pt x="26" y="221"/>
                    <a:pt x="24" y="222"/>
                  </a:cubicBezTo>
                  <a:cubicBezTo>
                    <a:pt x="23" y="222"/>
                    <a:pt x="21" y="222"/>
                    <a:pt x="20" y="222"/>
                  </a:cubicBezTo>
                  <a:cubicBezTo>
                    <a:pt x="18" y="223"/>
                    <a:pt x="18" y="223"/>
                    <a:pt x="18" y="223"/>
                  </a:cubicBezTo>
                  <a:cubicBezTo>
                    <a:pt x="18" y="224"/>
                    <a:pt x="18" y="224"/>
                    <a:pt x="18" y="224"/>
                  </a:cubicBezTo>
                  <a:cubicBezTo>
                    <a:pt x="18" y="231"/>
                    <a:pt x="18" y="239"/>
                    <a:pt x="22" y="245"/>
                  </a:cubicBezTo>
                  <a:cubicBezTo>
                    <a:pt x="23" y="246"/>
                    <a:pt x="24" y="247"/>
                    <a:pt x="25" y="247"/>
                  </a:cubicBezTo>
                  <a:cubicBezTo>
                    <a:pt x="26" y="248"/>
                    <a:pt x="27" y="249"/>
                    <a:pt x="27" y="250"/>
                  </a:cubicBezTo>
                  <a:cubicBezTo>
                    <a:pt x="28" y="251"/>
                    <a:pt x="27" y="255"/>
                    <a:pt x="27" y="257"/>
                  </a:cubicBezTo>
                  <a:cubicBezTo>
                    <a:pt x="27" y="257"/>
                    <a:pt x="27" y="258"/>
                    <a:pt x="27" y="258"/>
                  </a:cubicBezTo>
                  <a:cubicBezTo>
                    <a:pt x="27" y="260"/>
                    <a:pt x="27" y="262"/>
                    <a:pt x="27" y="263"/>
                  </a:cubicBezTo>
                  <a:cubicBezTo>
                    <a:pt x="26" y="273"/>
                    <a:pt x="25" y="284"/>
                    <a:pt x="28" y="292"/>
                  </a:cubicBezTo>
                  <a:cubicBezTo>
                    <a:pt x="29" y="296"/>
                    <a:pt x="30" y="299"/>
                    <a:pt x="32" y="302"/>
                  </a:cubicBezTo>
                  <a:cubicBezTo>
                    <a:pt x="36" y="309"/>
                    <a:pt x="38" y="314"/>
                    <a:pt x="35" y="320"/>
                  </a:cubicBezTo>
                  <a:cubicBezTo>
                    <a:pt x="35" y="321"/>
                    <a:pt x="34" y="322"/>
                    <a:pt x="34" y="322"/>
                  </a:cubicBezTo>
                  <a:cubicBezTo>
                    <a:pt x="33" y="323"/>
                    <a:pt x="32" y="324"/>
                    <a:pt x="31" y="325"/>
                  </a:cubicBezTo>
                  <a:cubicBezTo>
                    <a:pt x="29" y="328"/>
                    <a:pt x="29" y="331"/>
                    <a:pt x="29" y="333"/>
                  </a:cubicBezTo>
                  <a:cubicBezTo>
                    <a:pt x="30" y="334"/>
                    <a:pt x="30" y="334"/>
                    <a:pt x="30" y="334"/>
                  </a:cubicBezTo>
                  <a:cubicBezTo>
                    <a:pt x="30" y="338"/>
                    <a:pt x="31" y="341"/>
                    <a:pt x="33" y="343"/>
                  </a:cubicBezTo>
                  <a:cubicBezTo>
                    <a:pt x="34" y="345"/>
                    <a:pt x="35" y="346"/>
                    <a:pt x="35" y="348"/>
                  </a:cubicBezTo>
                  <a:cubicBezTo>
                    <a:pt x="36" y="350"/>
                    <a:pt x="36" y="354"/>
                    <a:pt x="35" y="357"/>
                  </a:cubicBezTo>
                  <a:cubicBezTo>
                    <a:pt x="35" y="359"/>
                    <a:pt x="35" y="361"/>
                    <a:pt x="35" y="363"/>
                  </a:cubicBezTo>
                  <a:cubicBezTo>
                    <a:pt x="35" y="366"/>
                    <a:pt x="35" y="370"/>
                    <a:pt x="35" y="373"/>
                  </a:cubicBezTo>
                  <a:cubicBezTo>
                    <a:pt x="35" y="377"/>
                    <a:pt x="36" y="380"/>
                    <a:pt x="36" y="384"/>
                  </a:cubicBezTo>
                  <a:cubicBezTo>
                    <a:pt x="36" y="386"/>
                    <a:pt x="35" y="387"/>
                    <a:pt x="34" y="389"/>
                  </a:cubicBezTo>
                  <a:cubicBezTo>
                    <a:pt x="34" y="391"/>
                    <a:pt x="33" y="393"/>
                    <a:pt x="33" y="396"/>
                  </a:cubicBezTo>
                  <a:cubicBezTo>
                    <a:pt x="33" y="400"/>
                    <a:pt x="34" y="402"/>
                    <a:pt x="35" y="404"/>
                  </a:cubicBezTo>
                  <a:cubicBezTo>
                    <a:pt x="36" y="405"/>
                    <a:pt x="37" y="406"/>
                    <a:pt x="37" y="407"/>
                  </a:cubicBezTo>
                  <a:cubicBezTo>
                    <a:pt x="38" y="410"/>
                    <a:pt x="38" y="410"/>
                    <a:pt x="36" y="411"/>
                  </a:cubicBezTo>
                  <a:cubicBezTo>
                    <a:pt x="35" y="412"/>
                    <a:pt x="34" y="413"/>
                    <a:pt x="33" y="415"/>
                  </a:cubicBezTo>
                  <a:cubicBezTo>
                    <a:pt x="31" y="418"/>
                    <a:pt x="32" y="423"/>
                    <a:pt x="33" y="428"/>
                  </a:cubicBezTo>
                  <a:cubicBezTo>
                    <a:pt x="33" y="431"/>
                    <a:pt x="33" y="431"/>
                    <a:pt x="33" y="431"/>
                  </a:cubicBezTo>
                  <a:cubicBezTo>
                    <a:pt x="34" y="436"/>
                    <a:pt x="34" y="442"/>
                    <a:pt x="33" y="447"/>
                  </a:cubicBezTo>
                  <a:cubicBezTo>
                    <a:pt x="33" y="449"/>
                    <a:pt x="33" y="450"/>
                    <a:pt x="33" y="452"/>
                  </a:cubicBezTo>
                  <a:cubicBezTo>
                    <a:pt x="32" y="455"/>
                    <a:pt x="32" y="459"/>
                    <a:pt x="30" y="462"/>
                  </a:cubicBezTo>
                  <a:cubicBezTo>
                    <a:pt x="30" y="462"/>
                    <a:pt x="30" y="462"/>
                    <a:pt x="29" y="462"/>
                  </a:cubicBezTo>
                  <a:cubicBezTo>
                    <a:pt x="28" y="463"/>
                    <a:pt x="27" y="464"/>
                    <a:pt x="27" y="467"/>
                  </a:cubicBezTo>
                  <a:cubicBezTo>
                    <a:pt x="27" y="470"/>
                    <a:pt x="28" y="475"/>
                    <a:pt x="30" y="478"/>
                  </a:cubicBezTo>
                  <a:cubicBezTo>
                    <a:pt x="31" y="480"/>
                    <a:pt x="33" y="482"/>
                    <a:pt x="34" y="484"/>
                  </a:cubicBezTo>
                  <a:cubicBezTo>
                    <a:pt x="37" y="488"/>
                    <a:pt x="40" y="491"/>
                    <a:pt x="40" y="496"/>
                  </a:cubicBezTo>
                  <a:cubicBezTo>
                    <a:pt x="40" y="496"/>
                    <a:pt x="40" y="496"/>
                    <a:pt x="40" y="496"/>
                  </a:cubicBezTo>
                  <a:cubicBezTo>
                    <a:pt x="43" y="512"/>
                    <a:pt x="42" y="517"/>
                    <a:pt x="41" y="518"/>
                  </a:cubicBezTo>
                  <a:cubicBezTo>
                    <a:pt x="41" y="519"/>
                    <a:pt x="40" y="519"/>
                    <a:pt x="40" y="519"/>
                  </a:cubicBezTo>
                  <a:cubicBezTo>
                    <a:pt x="38" y="519"/>
                    <a:pt x="37" y="520"/>
                    <a:pt x="36" y="521"/>
                  </a:cubicBezTo>
                  <a:cubicBezTo>
                    <a:pt x="34" y="523"/>
                    <a:pt x="34" y="525"/>
                    <a:pt x="34" y="527"/>
                  </a:cubicBezTo>
                  <a:cubicBezTo>
                    <a:pt x="35" y="528"/>
                    <a:pt x="35" y="528"/>
                    <a:pt x="35" y="529"/>
                  </a:cubicBezTo>
                  <a:cubicBezTo>
                    <a:pt x="35" y="533"/>
                    <a:pt x="35" y="537"/>
                    <a:pt x="37" y="541"/>
                  </a:cubicBezTo>
                  <a:cubicBezTo>
                    <a:pt x="38" y="546"/>
                    <a:pt x="38" y="546"/>
                    <a:pt x="38" y="546"/>
                  </a:cubicBezTo>
                  <a:cubicBezTo>
                    <a:pt x="40" y="552"/>
                    <a:pt x="42" y="558"/>
                    <a:pt x="44" y="564"/>
                  </a:cubicBezTo>
                  <a:cubicBezTo>
                    <a:pt x="46" y="569"/>
                    <a:pt x="48" y="574"/>
                    <a:pt x="50" y="579"/>
                  </a:cubicBezTo>
                  <a:cubicBezTo>
                    <a:pt x="51" y="581"/>
                    <a:pt x="52" y="584"/>
                    <a:pt x="53" y="586"/>
                  </a:cubicBezTo>
                  <a:cubicBezTo>
                    <a:pt x="54" y="589"/>
                    <a:pt x="55" y="593"/>
                    <a:pt x="56" y="596"/>
                  </a:cubicBezTo>
                  <a:cubicBezTo>
                    <a:pt x="56" y="599"/>
                    <a:pt x="57" y="602"/>
                    <a:pt x="58" y="604"/>
                  </a:cubicBezTo>
                  <a:cubicBezTo>
                    <a:pt x="58" y="607"/>
                    <a:pt x="60" y="609"/>
                    <a:pt x="61" y="611"/>
                  </a:cubicBezTo>
                  <a:cubicBezTo>
                    <a:pt x="62" y="613"/>
                    <a:pt x="63" y="616"/>
                    <a:pt x="64" y="618"/>
                  </a:cubicBezTo>
                  <a:cubicBezTo>
                    <a:pt x="65" y="623"/>
                    <a:pt x="64" y="628"/>
                    <a:pt x="63" y="633"/>
                  </a:cubicBezTo>
                  <a:cubicBezTo>
                    <a:pt x="62" y="639"/>
                    <a:pt x="61" y="646"/>
                    <a:pt x="63" y="652"/>
                  </a:cubicBezTo>
                  <a:cubicBezTo>
                    <a:pt x="64" y="655"/>
                    <a:pt x="65" y="656"/>
                    <a:pt x="66" y="658"/>
                  </a:cubicBezTo>
                  <a:cubicBezTo>
                    <a:pt x="68" y="660"/>
                    <a:pt x="69" y="661"/>
                    <a:pt x="69" y="663"/>
                  </a:cubicBezTo>
                  <a:cubicBezTo>
                    <a:pt x="68" y="667"/>
                    <a:pt x="67" y="671"/>
                    <a:pt x="66" y="674"/>
                  </a:cubicBezTo>
                  <a:cubicBezTo>
                    <a:pt x="65" y="679"/>
                    <a:pt x="64" y="685"/>
                    <a:pt x="64" y="691"/>
                  </a:cubicBezTo>
                  <a:cubicBezTo>
                    <a:pt x="64" y="695"/>
                    <a:pt x="65" y="699"/>
                    <a:pt x="65" y="703"/>
                  </a:cubicBezTo>
                  <a:cubicBezTo>
                    <a:pt x="66" y="708"/>
                    <a:pt x="66" y="712"/>
                    <a:pt x="66" y="717"/>
                  </a:cubicBezTo>
                  <a:cubicBezTo>
                    <a:pt x="66" y="719"/>
                    <a:pt x="66" y="721"/>
                    <a:pt x="66" y="723"/>
                  </a:cubicBezTo>
                  <a:cubicBezTo>
                    <a:pt x="65" y="724"/>
                    <a:pt x="65" y="724"/>
                    <a:pt x="64" y="725"/>
                  </a:cubicBezTo>
                  <a:cubicBezTo>
                    <a:pt x="64" y="725"/>
                    <a:pt x="63" y="726"/>
                    <a:pt x="62" y="727"/>
                  </a:cubicBezTo>
                  <a:cubicBezTo>
                    <a:pt x="61" y="729"/>
                    <a:pt x="61" y="731"/>
                    <a:pt x="61" y="732"/>
                  </a:cubicBezTo>
                  <a:cubicBezTo>
                    <a:pt x="61" y="733"/>
                    <a:pt x="61" y="734"/>
                    <a:pt x="61" y="735"/>
                  </a:cubicBezTo>
                  <a:cubicBezTo>
                    <a:pt x="60" y="736"/>
                    <a:pt x="60" y="737"/>
                    <a:pt x="59" y="738"/>
                  </a:cubicBezTo>
                  <a:cubicBezTo>
                    <a:pt x="58" y="740"/>
                    <a:pt x="56" y="742"/>
                    <a:pt x="58" y="746"/>
                  </a:cubicBezTo>
                  <a:cubicBezTo>
                    <a:pt x="58" y="747"/>
                    <a:pt x="58" y="747"/>
                    <a:pt x="58" y="748"/>
                  </a:cubicBezTo>
                  <a:cubicBezTo>
                    <a:pt x="60" y="751"/>
                    <a:pt x="60" y="752"/>
                    <a:pt x="58" y="756"/>
                  </a:cubicBezTo>
                  <a:cubicBezTo>
                    <a:pt x="56" y="760"/>
                    <a:pt x="56" y="762"/>
                    <a:pt x="57" y="765"/>
                  </a:cubicBezTo>
                  <a:cubicBezTo>
                    <a:pt x="57" y="766"/>
                    <a:pt x="57" y="767"/>
                    <a:pt x="58" y="768"/>
                  </a:cubicBezTo>
                  <a:cubicBezTo>
                    <a:pt x="59" y="774"/>
                    <a:pt x="59" y="783"/>
                    <a:pt x="58" y="790"/>
                  </a:cubicBezTo>
                  <a:cubicBezTo>
                    <a:pt x="58" y="791"/>
                    <a:pt x="58" y="792"/>
                    <a:pt x="57" y="793"/>
                  </a:cubicBezTo>
                  <a:cubicBezTo>
                    <a:pt x="57" y="795"/>
                    <a:pt x="56" y="798"/>
                    <a:pt x="56" y="801"/>
                  </a:cubicBezTo>
                  <a:cubicBezTo>
                    <a:pt x="56" y="801"/>
                    <a:pt x="56" y="802"/>
                    <a:pt x="56" y="803"/>
                  </a:cubicBezTo>
                  <a:cubicBezTo>
                    <a:pt x="57" y="806"/>
                    <a:pt x="57" y="808"/>
                    <a:pt x="55" y="809"/>
                  </a:cubicBezTo>
                  <a:cubicBezTo>
                    <a:pt x="55" y="809"/>
                    <a:pt x="55" y="809"/>
                    <a:pt x="55" y="809"/>
                  </a:cubicBezTo>
                  <a:cubicBezTo>
                    <a:pt x="54" y="809"/>
                    <a:pt x="54" y="809"/>
                    <a:pt x="53" y="809"/>
                  </a:cubicBezTo>
                  <a:cubicBezTo>
                    <a:pt x="52" y="808"/>
                    <a:pt x="51" y="806"/>
                    <a:pt x="49" y="806"/>
                  </a:cubicBezTo>
                  <a:cubicBezTo>
                    <a:pt x="48" y="806"/>
                    <a:pt x="48" y="806"/>
                    <a:pt x="48" y="806"/>
                  </a:cubicBezTo>
                  <a:cubicBezTo>
                    <a:pt x="46" y="806"/>
                    <a:pt x="44" y="807"/>
                    <a:pt x="44" y="808"/>
                  </a:cubicBezTo>
                  <a:cubicBezTo>
                    <a:pt x="42" y="811"/>
                    <a:pt x="44" y="814"/>
                    <a:pt x="45" y="817"/>
                  </a:cubicBezTo>
                  <a:cubicBezTo>
                    <a:pt x="46" y="818"/>
                    <a:pt x="46" y="819"/>
                    <a:pt x="46" y="819"/>
                  </a:cubicBezTo>
                  <a:cubicBezTo>
                    <a:pt x="47" y="821"/>
                    <a:pt x="47" y="823"/>
                    <a:pt x="47" y="825"/>
                  </a:cubicBezTo>
                  <a:cubicBezTo>
                    <a:pt x="48" y="829"/>
                    <a:pt x="48" y="833"/>
                    <a:pt x="51" y="837"/>
                  </a:cubicBezTo>
                  <a:cubicBezTo>
                    <a:pt x="53" y="839"/>
                    <a:pt x="54" y="840"/>
                    <a:pt x="56" y="841"/>
                  </a:cubicBezTo>
                  <a:cubicBezTo>
                    <a:pt x="57" y="842"/>
                    <a:pt x="58" y="843"/>
                    <a:pt x="59" y="844"/>
                  </a:cubicBezTo>
                  <a:cubicBezTo>
                    <a:pt x="61" y="846"/>
                    <a:pt x="61" y="847"/>
                    <a:pt x="60" y="850"/>
                  </a:cubicBezTo>
                  <a:cubicBezTo>
                    <a:pt x="60" y="851"/>
                    <a:pt x="60" y="852"/>
                    <a:pt x="60" y="853"/>
                  </a:cubicBezTo>
                  <a:cubicBezTo>
                    <a:pt x="60" y="861"/>
                    <a:pt x="64" y="865"/>
                    <a:pt x="68" y="870"/>
                  </a:cubicBezTo>
                  <a:cubicBezTo>
                    <a:pt x="69" y="872"/>
                    <a:pt x="69" y="872"/>
                    <a:pt x="69" y="872"/>
                  </a:cubicBezTo>
                  <a:cubicBezTo>
                    <a:pt x="72" y="875"/>
                    <a:pt x="74" y="880"/>
                    <a:pt x="77" y="883"/>
                  </a:cubicBezTo>
                  <a:cubicBezTo>
                    <a:pt x="78" y="886"/>
                    <a:pt x="79" y="888"/>
                    <a:pt x="80" y="890"/>
                  </a:cubicBezTo>
                  <a:cubicBezTo>
                    <a:pt x="83" y="895"/>
                    <a:pt x="84" y="900"/>
                    <a:pt x="84" y="906"/>
                  </a:cubicBezTo>
                  <a:cubicBezTo>
                    <a:pt x="85" y="907"/>
                    <a:pt x="85" y="909"/>
                    <a:pt x="85" y="910"/>
                  </a:cubicBezTo>
                  <a:cubicBezTo>
                    <a:pt x="86" y="913"/>
                    <a:pt x="86" y="916"/>
                    <a:pt x="85" y="918"/>
                  </a:cubicBezTo>
                  <a:cubicBezTo>
                    <a:pt x="85" y="920"/>
                    <a:pt x="85" y="920"/>
                    <a:pt x="83" y="920"/>
                  </a:cubicBezTo>
                  <a:cubicBezTo>
                    <a:pt x="83" y="920"/>
                    <a:pt x="83" y="920"/>
                    <a:pt x="83" y="920"/>
                  </a:cubicBezTo>
                  <a:cubicBezTo>
                    <a:pt x="81" y="920"/>
                    <a:pt x="79" y="921"/>
                    <a:pt x="79" y="924"/>
                  </a:cubicBezTo>
                  <a:cubicBezTo>
                    <a:pt x="79" y="925"/>
                    <a:pt x="79" y="926"/>
                    <a:pt x="80" y="927"/>
                  </a:cubicBezTo>
                  <a:cubicBezTo>
                    <a:pt x="80" y="927"/>
                    <a:pt x="80" y="928"/>
                    <a:pt x="80" y="928"/>
                  </a:cubicBezTo>
                  <a:cubicBezTo>
                    <a:pt x="80" y="929"/>
                    <a:pt x="80" y="930"/>
                    <a:pt x="80" y="930"/>
                  </a:cubicBezTo>
                  <a:cubicBezTo>
                    <a:pt x="80" y="932"/>
                    <a:pt x="80" y="935"/>
                    <a:pt x="81" y="936"/>
                  </a:cubicBezTo>
                  <a:cubicBezTo>
                    <a:pt x="81" y="937"/>
                    <a:pt x="82" y="938"/>
                    <a:pt x="82" y="939"/>
                  </a:cubicBezTo>
                  <a:cubicBezTo>
                    <a:pt x="83" y="941"/>
                    <a:pt x="84" y="943"/>
                    <a:pt x="84" y="945"/>
                  </a:cubicBezTo>
                  <a:cubicBezTo>
                    <a:pt x="85" y="949"/>
                    <a:pt x="85" y="953"/>
                    <a:pt x="85" y="957"/>
                  </a:cubicBezTo>
                  <a:cubicBezTo>
                    <a:pt x="85" y="963"/>
                    <a:pt x="85" y="968"/>
                    <a:pt x="87" y="974"/>
                  </a:cubicBezTo>
                  <a:cubicBezTo>
                    <a:pt x="89" y="979"/>
                    <a:pt x="93" y="983"/>
                    <a:pt x="97" y="987"/>
                  </a:cubicBezTo>
                  <a:cubicBezTo>
                    <a:pt x="99" y="989"/>
                    <a:pt x="99" y="989"/>
                    <a:pt x="99" y="989"/>
                  </a:cubicBezTo>
                  <a:cubicBezTo>
                    <a:pt x="100" y="990"/>
                    <a:pt x="102" y="992"/>
                    <a:pt x="103" y="994"/>
                  </a:cubicBezTo>
                  <a:cubicBezTo>
                    <a:pt x="103" y="994"/>
                    <a:pt x="103" y="994"/>
                    <a:pt x="103" y="994"/>
                  </a:cubicBezTo>
                  <a:cubicBezTo>
                    <a:pt x="103" y="995"/>
                    <a:pt x="103" y="996"/>
                    <a:pt x="103" y="997"/>
                  </a:cubicBezTo>
                  <a:cubicBezTo>
                    <a:pt x="104" y="998"/>
                    <a:pt x="105" y="999"/>
                    <a:pt x="106" y="1000"/>
                  </a:cubicBezTo>
                  <a:cubicBezTo>
                    <a:pt x="106" y="1000"/>
                    <a:pt x="106" y="1000"/>
                    <a:pt x="106" y="1000"/>
                  </a:cubicBezTo>
                  <a:cubicBezTo>
                    <a:pt x="106" y="1000"/>
                    <a:pt x="106" y="1001"/>
                    <a:pt x="106" y="1001"/>
                  </a:cubicBezTo>
                  <a:cubicBezTo>
                    <a:pt x="105" y="1001"/>
                    <a:pt x="105" y="1001"/>
                    <a:pt x="104" y="1001"/>
                  </a:cubicBezTo>
                  <a:cubicBezTo>
                    <a:pt x="103" y="1000"/>
                    <a:pt x="101" y="1000"/>
                    <a:pt x="101" y="1000"/>
                  </a:cubicBezTo>
                  <a:cubicBezTo>
                    <a:pt x="100" y="1000"/>
                    <a:pt x="99" y="1000"/>
                    <a:pt x="98" y="1001"/>
                  </a:cubicBezTo>
                  <a:cubicBezTo>
                    <a:pt x="96" y="1002"/>
                    <a:pt x="96" y="1005"/>
                    <a:pt x="97" y="1007"/>
                  </a:cubicBezTo>
                  <a:cubicBezTo>
                    <a:pt x="98" y="1008"/>
                    <a:pt x="98" y="1008"/>
                    <a:pt x="98" y="1008"/>
                  </a:cubicBezTo>
                  <a:cubicBezTo>
                    <a:pt x="98" y="1009"/>
                    <a:pt x="98" y="1009"/>
                    <a:pt x="98" y="1010"/>
                  </a:cubicBezTo>
                  <a:cubicBezTo>
                    <a:pt x="98" y="1011"/>
                    <a:pt x="98" y="1012"/>
                    <a:pt x="98" y="1013"/>
                  </a:cubicBezTo>
                  <a:cubicBezTo>
                    <a:pt x="98" y="1015"/>
                    <a:pt x="98" y="1016"/>
                    <a:pt x="98" y="1018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98" y="1021"/>
                    <a:pt x="98" y="1025"/>
                    <a:pt x="100" y="1028"/>
                  </a:cubicBezTo>
                  <a:cubicBezTo>
                    <a:pt x="101" y="1030"/>
                    <a:pt x="102" y="1030"/>
                    <a:pt x="103" y="1030"/>
                  </a:cubicBezTo>
                  <a:cubicBezTo>
                    <a:pt x="103" y="1031"/>
                    <a:pt x="104" y="1032"/>
                    <a:pt x="104" y="1033"/>
                  </a:cubicBezTo>
                  <a:cubicBezTo>
                    <a:pt x="104" y="1033"/>
                    <a:pt x="104" y="1034"/>
                    <a:pt x="104" y="1034"/>
                  </a:cubicBezTo>
                  <a:cubicBezTo>
                    <a:pt x="105" y="1035"/>
                    <a:pt x="105" y="1036"/>
                    <a:pt x="105" y="1037"/>
                  </a:cubicBezTo>
                  <a:cubicBezTo>
                    <a:pt x="105" y="1038"/>
                    <a:pt x="105" y="1039"/>
                    <a:pt x="105" y="1041"/>
                  </a:cubicBezTo>
                  <a:cubicBezTo>
                    <a:pt x="105" y="1041"/>
                    <a:pt x="106" y="1042"/>
                    <a:pt x="106" y="1042"/>
                  </a:cubicBezTo>
                  <a:cubicBezTo>
                    <a:pt x="106" y="1043"/>
                    <a:pt x="106" y="1043"/>
                    <a:pt x="106" y="1043"/>
                  </a:cubicBezTo>
                  <a:cubicBezTo>
                    <a:pt x="106" y="1043"/>
                    <a:pt x="106" y="1044"/>
                    <a:pt x="106" y="1044"/>
                  </a:cubicBezTo>
                  <a:cubicBezTo>
                    <a:pt x="106" y="1045"/>
                    <a:pt x="106" y="1045"/>
                    <a:pt x="106" y="1045"/>
                  </a:cubicBezTo>
                  <a:cubicBezTo>
                    <a:pt x="106" y="1046"/>
                    <a:pt x="106" y="1046"/>
                    <a:pt x="106" y="1047"/>
                  </a:cubicBezTo>
                  <a:cubicBezTo>
                    <a:pt x="106" y="1048"/>
                    <a:pt x="107" y="1049"/>
                    <a:pt x="106" y="1050"/>
                  </a:cubicBezTo>
                  <a:cubicBezTo>
                    <a:pt x="106" y="1053"/>
                    <a:pt x="106" y="1057"/>
                    <a:pt x="109" y="1060"/>
                  </a:cubicBezTo>
                  <a:cubicBezTo>
                    <a:pt x="111" y="1062"/>
                    <a:pt x="114" y="1064"/>
                    <a:pt x="116" y="1064"/>
                  </a:cubicBezTo>
                  <a:cubicBezTo>
                    <a:pt x="119" y="1065"/>
                    <a:pt x="121" y="1065"/>
                    <a:pt x="123" y="1065"/>
                  </a:cubicBezTo>
                  <a:cubicBezTo>
                    <a:pt x="125" y="1065"/>
                    <a:pt x="125" y="1065"/>
                    <a:pt x="125" y="1065"/>
                  </a:cubicBezTo>
                  <a:cubicBezTo>
                    <a:pt x="125" y="1065"/>
                    <a:pt x="126" y="1065"/>
                    <a:pt x="127" y="1065"/>
                  </a:cubicBezTo>
                  <a:cubicBezTo>
                    <a:pt x="128" y="1065"/>
                    <a:pt x="130" y="1065"/>
                    <a:pt x="132" y="1064"/>
                  </a:cubicBezTo>
                  <a:cubicBezTo>
                    <a:pt x="133" y="1063"/>
                    <a:pt x="133" y="1061"/>
                    <a:pt x="133" y="1059"/>
                  </a:cubicBezTo>
                  <a:cubicBezTo>
                    <a:pt x="133" y="1058"/>
                    <a:pt x="133" y="1058"/>
                    <a:pt x="133" y="1056"/>
                  </a:cubicBezTo>
                  <a:cubicBezTo>
                    <a:pt x="133" y="1055"/>
                    <a:pt x="133" y="1055"/>
                    <a:pt x="133" y="1055"/>
                  </a:cubicBezTo>
                  <a:cubicBezTo>
                    <a:pt x="133" y="1055"/>
                    <a:pt x="134" y="1055"/>
                    <a:pt x="134" y="1055"/>
                  </a:cubicBezTo>
                  <a:cubicBezTo>
                    <a:pt x="135" y="1053"/>
                    <a:pt x="135" y="1053"/>
                    <a:pt x="135" y="1053"/>
                  </a:cubicBezTo>
                  <a:cubicBezTo>
                    <a:pt x="135" y="1052"/>
                    <a:pt x="136" y="1049"/>
                    <a:pt x="135" y="1047"/>
                  </a:cubicBezTo>
                  <a:cubicBezTo>
                    <a:pt x="135" y="1045"/>
                    <a:pt x="133" y="1044"/>
                    <a:pt x="132" y="1044"/>
                  </a:cubicBezTo>
                  <a:cubicBezTo>
                    <a:pt x="132" y="1044"/>
                    <a:pt x="132" y="1044"/>
                    <a:pt x="132" y="1044"/>
                  </a:cubicBezTo>
                  <a:cubicBezTo>
                    <a:pt x="133" y="1043"/>
                    <a:pt x="133" y="1042"/>
                    <a:pt x="133" y="1041"/>
                  </a:cubicBezTo>
                  <a:cubicBezTo>
                    <a:pt x="133" y="1037"/>
                    <a:pt x="129" y="1036"/>
                    <a:pt x="128" y="1035"/>
                  </a:cubicBezTo>
                  <a:cubicBezTo>
                    <a:pt x="128" y="1035"/>
                    <a:pt x="128" y="1035"/>
                    <a:pt x="127" y="1035"/>
                  </a:cubicBezTo>
                  <a:cubicBezTo>
                    <a:pt x="127" y="1034"/>
                    <a:pt x="127" y="1033"/>
                    <a:pt x="126" y="1033"/>
                  </a:cubicBezTo>
                  <a:cubicBezTo>
                    <a:pt x="125" y="1032"/>
                    <a:pt x="124" y="1032"/>
                    <a:pt x="124" y="1032"/>
                  </a:cubicBezTo>
                  <a:cubicBezTo>
                    <a:pt x="123" y="1032"/>
                    <a:pt x="123" y="1032"/>
                    <a:pt x="123" y="1032"/>
                  </a:cubicBezTo>
                  <a:cubicBezTo>
                    <a:pt x="123" y="1032"/>
                    <a:pt x="123" y="1032"/>
                    <a:pt x="123" y="1032"/>
                  </a:cubicBezTo>
                  <a:cubicBezTo>
                    <a:pt x="122" y="1031"/>
                    <a:pt x="121" y="1030"/>
                    <a:pt x="120" y="1030"/>
                  </a:cubicBezTo>
                  <a:cubicBezTo>
                    <a:pt x="120" y="1030"/>
                    <a:pt x="120" y="1030"/>
                    <a:pt x="120" y="1030"/>
                  </a:cubicBezTo>
                  <a:cubicBezTo>
                    <a:pt x="120" y="1030"/>
                    <a:pt x="120" y="1029"/>
                    <a:pt x="120" y="1029"/>
                  </a:cubicBezTo>
                  <a:cubicBezTo>
                    <a:pt x="121" y="1028"/>
                    <a:pt x="122" y="1027"/>
                    <a:pt x="122" y="1026"/>
                  </a:cubicBezTo>
                  <a:cubicBezTo>
                    <a:pt x="122" y="1024"/>
                    <a:pt x="121" y="1023"/>
                    <a:pt x="120" y="1023"/>
                  </a:cubicBezTo>
                  <a:cubicBezTo>
                    <a:pt x="120" y="1023"/>
                    <a:pt x="120" y="1022"/>
                    <a:pt x="120" y="1022"/>
                  </a:cubicBezTo>
                  <a:cubicBezTo>
                    <a:pt x="120" y="1022"/>
                    <a:pt x="120" y="1021"/>
                    <a:pt x="120" y="1021"/>
                  </a:cubicBezTo>
                  <a:cubicBezTo>
                    <a:pt x="121" y="1021"/>
                    <a:pt x="121" y="1021"/>
                    <a:pt x="121" y="1021"/>
                  </a:cubicBezTo>
                  <a:cubicBezTo>
                    <a:pt x="121" y="1021"/>
                    <a:pt x="121" y="1021"/>
                    <a:pt x="121" y="1021"/>
                  </a:cubicBezTo>
                  <a:cubicBezTo>
                    <a:pt x="122" y="1021"/>
                    <a:pt x="122" y="1021"/>
                    <a:pt x="122" y="1021"/>
                  </a:cubicBezTo>
                  <a:cubicBezTo>
                    <a:pt x="123" y="1021"/>
                    <a:pt x="124" y="1021"/>
                    <a:pt x="124" y="1021"/>
                  </a:cubicBezTo>
                  <a:cubicBezTo>
                    <a:pt x="124" y="1021"/>
                    <a:pt x="124" y="1020"/>
                    <a:pt x="125" y="1020"/>
                  </a:cubicBezTo>
                  <a:cubicBezTo>
                    <a:pt x="126" y="1020"/>
                    <a:pt x="127" y="1019"/>
                    <a:pt x="127" y="1018"/>
                  </a:cubicBezTo>
                  <a:cubicBezTo>
                    <a:pt x="128" y="1017"/>
                    <a:pt x="127" y="1015"/>
                    <a:pt x="126" y="1014"/>
                  </a:cubicBezTo>
                  <a:cubicBezTo>
                    <a:pt x="126" y="1014"/>
                    <a:pt x="125" y="1012"/>
                    <a:pt x="123" y="1011"/>
                  </a:cubicBezTo>
                  <a:cubicBezTo>
                    <a:pt x="123" y="1010"/>
                    <a:pt x="123" y="1010"/>
                    <a:pt x="122" y="1010"/>
                  </a:cubicBezTo>
                  <a:cubicBezTo>
                    <a:pt x="122" y="1010"/>
                    <a:pt x="122" y="1010"/>
                    <a:pt x="122" y="1009"/>
                  </a:cubicBezTo>
                  <a:cubicBezTo>
                    <a:pt x="122" y="1009"/>
                    <a:pt x="121" y="1008"/>
                    <a:pt x="120" y="1007"/>
                  </a:cubicBezTo>
                  <a:cubicBezTo>
                    <a:pt x="120" y="1007"/>
                    <a:pt x="120" y="1007"/>
                    <a:pt x="120" y="1007"/>
                  </a:cubicBezTo>
                  <a:cubicBezTo>
                    <a:pt x="120" y="1007"/>
                    <a:pt x="119" y="1006"/>
                    <a:pt x="119" y="1006"/>
                  </a:cubicBezTo>
                  <a:cubicBezTo>
                    <a:pt x="118" y="1006"/>
                    <a:pt x="118" y="1005"/>
                    <a:pt x="118" y="1005"/>
                  </a:cubicBezTo>
                  <a:cubicBezTo>
                    <a:pt x="117" y="1005"/>
                    <a:pt x="117" y="1004"/>
                    <a:pt x="117" y="1004"/>
                  </a:cubicBezTo>
                  <a:cubicBezTo>
                    <a:pt x="117" y="1003"/>
                    <a:pt x="117" y="1003"/>
                    <a:pt x="117" y="1002"/>
                  </a:cubicBezTo>
                  <a:cubicBezTo>
                    <a:pt x="117" y="1002"/>
                    <a:pt x="117" y="1002"/>
                    <a:pt x="116" y="1002"/>
                  </a:cubicBezTo>
                  <a:cubicBezTo>
                    <a:pt x="116" y="1002"/>
                    <a:pt x="117" y="1002"/>
                    <a:pt x="117" y="1002"/>
                  </a:cubicBezTo>
                  <a:cubicBezTo>
                    <a:pt x="120" y="1001"/>
                    <a:pt x="124" y="1001"/>
                    <a:pt x="127" y="999"/>
                  </a:cubicBezTo>
                  <a:cubicBezTo>
                    <a:pt x="129" y="999"/>
                    <a:pt x="129" y="999"/>
                    <a:pt x="129" y="999"/>
                  </a:cubicBezTo>
                  <a:cubicBezTo>
                    <a:pt x="129" y="998"/>
                    <a:pt x="129" y="998"/>
                    <a:pt x="129" y="998"/>
                  </a:cubicBezTo>
                  <a:cubicBezTo>
                    <a:pt x="129" y="996"/>
                    <a:pt x="130" y="995"/>
                    <a:pt x="130" y="993"/>
                  </a:cubicBezTo>
                  <a:cubicBezTo>
                    <a:pt x="130" y="989"/>
                    <a:pt x="130" y="989"/>
                    <a:pt x="132" y="989"/>
                  </a:cubicBezTo>
                  <a:cubicBezTo>
                    <a:pt x="133" y="989"/>
                    <a:pt x="133" y="989"/>
                    <a:pt x="133" y="989"/>
                  </a:cubicBezTo>
                  <a:cubicBezTo>
                    <a:pt x="134" y="989"/>
                    <a:pt x="138" y="993"/>
                    <a:pt x="139" y="994"/>
                  </a:cubicBezTo>
                  <a:cubicBezTo>
                    <a:pt x="139" y="995"/>
                    <a:pt x="139" y="997"/>
                    <a:pt x="138" y="999"/>
                  </a:cubicBezTo>
                  <a:cubicBezTo>
                    <a:pt x="137" y="999"/>
                    <a:pt x="137" y="1000"/>
                    <a:pt x="137" y="1001"/>
                  </a:cubicBezTo>
                  <a:cubicBezTo>
                    <a:pt x="135" y="1005"/>
                    <a:pt x="137" y="1006"/>
                    <a:pt x="138" y="1007"/>
                  </a:cubicBezTo>
                  <a:cubicBezTo>
                    <a:pt x="139" y="1008"/>
                    <a:pt x="141" y="1008"/>
                    <a:pt x="143" y="1008"/>
                  </a:cubicBezTo>
                  <a:cubicBezTo>
                    <a:pt x="143" y="1008"/>
                    <a:pt x="143" y="1009"/>
                    <a:pt x="144" y="1009"/>
                  </a:cubicBezTo>
                  <a:cubicBezTo>
                    <a:pt x="145" y="1009"/>
                    <a:pt x="146" y="1010"/>
                    <a:pt x="147" y="1010"/>
                  </a:cubicBezTo>
                  <a:cubicBezTo>
                    <a:pt x="147" y="1010"/>
                    <a:pt x="148" y="1010"/>
                    <a:pt x="148" y="1009"/>
                  </a:cubicBezTo>
                  <a:cubicBezTo>
                    <a:pt x="149" y="1009"/>
                    <a:pt x="150" y="1009"/>
                    <a:pt x="150" y="1008"/>
                  </a:cubicBezTo>
                  <a:cubicBezTo>
                    <a:pt x="150" y="1009"/>
                    <a:pt x="150" y="1009"/>
                    <a:pt x="150" y="1009"/>
                  </a:cubicBezTo>
                  <a:cubicBezTo>
                    <a:pt x="150" y="1010"/>
                    <a:pt x="150" y="1011"/>
                    <a:pt x="150" y="1012"/>
                  </a:cubicBezTo>
                  <a:cubicBezTo>
                    <a:pt x="150" y="1012"/>
                    <a:pt x="150" y="1012"/>
                    <a:pt x="150" y="1012"/>
                  </a:cubicBezTo>
                  <a:cubicBezTo>
                    <a:pt x="149" y="1012"/>
                    <a:pt x="149" y="1012"/>
                    <a:pt x="148" y="1012"/>
                  </a:cubicBezTo>
                  <a:cubicBezTo>
                    <a:pt x="146" y="1012"/>
                    <a:pt x="145" y="1014"/>
                    <a:pt x="144" y="1015"/>
                  </a:cubicBezTo>
                  <a:cubicBezTo>
                    <a:pt x="142" y="1019"/>
                    <a:pt x="144" y="1021"/>
                    <a:pt x="146" y="1023"/>
                  </a:cubicBezTo>
                  <a:cubicBezTo>
                    <a:pt x="146" y="1023"/>
                    <a:pt x="147" y="1024"/>
                    <a:pt x="147" y="1024"/>
                  </a:cubicBezTo>
                  <a:cubicBezTo>
                    <a:pt x="147" y="1024"/>
                    <a:pt x="147" y="1024"/>
                    <a:pt x="147" y="1024"/>
                  </a:cubicBezTo>
                  <a:cubicBezTo>
                    <a:pt x="147" y="1025"/>
                    <a:pt x="147" y="1025"/>
                    <a:pt x="147" y="1025"/>
                  </a:cubicBezTo>
                  <a:cubicBezTo>
                    <a:pt x="145" y="1027"/>
                    <a:pt x="145" y="1029"/>
                    <a:pt x="146" y="1031"/>
                  </a:cubicBezTo>
                  <a:cubicBezTo>
                    <a:pt x="146" y="1031"/>
                    <a:pt x="147" y="1032"/>
                    <a:pt x="147" y="1032"/>
                  </a:cubicBezTo>
                  <a:cubicBezTo>
                    <a:pt x="147" y="1032"/>
                    <a:pt x="147" y="1033"/>
                    <a:pt x="147" y="1033"/>
                  </a:cubicBezTo>
                  <a:cubicBezTo>
                    <a:pt x="147" y="1033"/>
                    <a:pt x="147" y="1034"/>
                    <a:pt x="147" y="1034"/>
                  </a:cubicBezTo>
                  <a:cubicBezTo>
                    <a:pt x="147" y="1034"/>
                    <a:pt x="148" y="1035"/>
                    <a:pt x="148" y="1036"/>
                  </a:cubicBezTo>
                  <a:cubicBezTo>
                    <a:pt x="148" y="1038"/>
                    <a:pt x="150" y="1040"/>
                    <a:pt x="151" y="1042"/>
                  </a:cubicBezTo>
                  <a:cubicBezTo>
                    <a:pt x="152" y="1043"/>
                    <a:pt x="153" y="1043"/>
                    <a:pt x="153" y="1044"/>
                  </a:cubicBezTo>
                  <a:cubicBezTo>
                    <a:pt x="154" y="1045"/>
                    <a:pt x="155" y="1045"/>
                    <a:pt x="155" y="1046"/>
                  </a:cubicBezTo>
                  <a:cubicBezTo>
                    <a:pt x="155" y="1046"/>
                    <a:pt x="155" y="1046"/>
                    <a:pt x="155" y="1046"/>
                  </a:cubicBezTo>
                  <a:cubicBezTo>
                    <a:pt x="151" y="1047"/>
                    <a:pt x="150" y="1050"/>
                    <a:pt x="151" y="1054"/>
                  </a:cubicBezTo>
                  <a:cubicBezTo>
                    <a:pt x="152" y="1055"/>
                    <a:pt x="153" y="1056"/>
                    <a:pt x="154" y="1056"/>
                  </a:cubicBezTo>
                  <a:cubicBezTo>
                    <a:pt x="154" y="1056"/>
                    <a:pt x="151" y="1056"/>
                    <a:pt x="151" y="1056"/>
                  </a:cubicBezTo>
                  <a:cubicBezTo>
                    <a:pt x="151" y="1058"/>
                    <a:pt x="151" y="1058"/>
                    <a:pt x="151" y="1058"/>
                  </a:cubicBezTo>
                  <a:cubicBezTo>
                    <a:pt x="149" y="1064"/>
                    <a:pt x="153" y="1067"/>
                    <a:pt x="155" y="1070"/>
                  </a:cubicBezTo>
                  <a:cubicBezTo>
                    <a:pt x="156" y="1070"/>
                    <a:pt x="156" y="1071"/>
                    <a:pt x="157" y="1072"/>
                  </a:cubicBezTo>
                  <a:cubicBezTo>
                    <a:pt x="157" y="1072"/>
                    <a:pt x="158" y="1073"/>
                    <a:pt x="158" y="1074"/>
                  </a:cubicBezTo>
                  <a:cubicBezTo>
                    <a:pt x="159" y="1074"/>
                    <a:pt x="159" y="1074"/>
                    <a:pt x="159" y="1074"/>
                  </a:cubicBezTo>
                  <a:cubicBezTo>
                    <a:pt x="159" y="1074"/>
                    <a:pt x="159" y="1074"/>
                    <a:pt x="159" y="1075"/>
                  </a:cubicBezTo>
                  <a:cubicBezTo>
                    <a:pt x="159" y="1075"/>
                    <a:pt x="159" y="1075"/>
                    <a:pt x="159" y="1075"/>
                  </a:cubicBezTo>
                  <a:cubicBezTo>
                    <a:pt x="159" y="1076"/>
                    <a:pt x="159" y="1077"/>
                    <a:pt x="159" y="1078"/>
                  </a:cubicBezTo>
                  <a:cubicBezTo>
                    <a:pt x="159" y="1079"/>
                    <a:pt x="159" y="1079"/>
                    <a:pt x="159" y="1079"/>
                  </a:cubicBezTo>
                  <a:cubicBezTo>
                    <a:pt x="160" y="1079"/>
                    <a:pt x="160" y="1079"/>
                    <a:pt x="160" y="1079"/>
                  </a:cubicBezTo>
                  <a:cubicBezTo>
                    <a:pt x="160" y="1079"/>
                    <a:pt x="161" y="1080"/>
                    <a:pt x="161" y="1080"/>
                  </a:cubicBezTo>
                  <a:cubicBezTo>
                    <a:pt x="161" y="1080"/>
                    <a:pt x="161" y="1080"/>
                    <a:pt x="161" y="1081"/>
                  </a:cubicBezTo>
                  <a:cubicBezTo>
                    <a:pt x="160" y="1082"/>
                    <a:pt x="160" y="1083"/>
                    <a:pt x="160" y="1084"/>
                  </a:cubicBezTo>
                  <a:cubicBezTo>
                    <a:pt x="160" y="1086"/>
                    <a:pt x="160" y="1087"/>
                    <a:pt x="160" y="1089"/>
                  </a:cubicBezTo>
                  <a:cubicBezTo>
                    <a:pt x="160" y="1090"/>
                    <a:pt x="160" y="1090"/>
                    <a:pt x="160" y="1090"/>
                  </a:cubicBezTo>
                  <a:cubicBezTo>
                    <a:pt x="160" y="1091"/>
                    <a:pt x="160" y="1091"/>
                    <a:pt x="160" y="1091"/>
                  </a:cubicBezTo>
                  <a:cubicBezTo>
                    <a:pt x="160" y="1093"/>
                    <a:pt x="160" y="1096"/>
                    <a:pt x="162" y="1098"/>
                  </a:cubicBezTo>
                  <a:cubicBezTo>
                    <a:pt x="162" y="1098"/>
                    <a:pt x="163" y="1098"/>
                    <a:pt x="163" y="1098"/>
                  </a:cubicBezTo>
                  <a:cubicBezTo>
                    <a:pt x="164" y="1099"/>
                    <a:pt x="164" y="1099"/>
                    <a:pt x="164" y="1099"/>
                  </a:cubicBezTo>
                  <a:cubicBezTo>
                    <a:pt x="164" y="1099"/>
                    <a:pt x="164" y="1099"/>
                    <a:pt x="164" y="1100"/>
                  </a:cubicBezTo>
                  <a:cubicBezTo>
                    <a:pt x="164" y="1100"/>
                    <a:pt x="165" y="1101"/>
                    <a:pt x="166" y="1102"/>
                  </a:cubicBezTo>
                  <a:cubicBezTo>
                    <a:pt x="165" y="1103"/>
                    <a:pt x="165" y="1103"/>
                    <a:pt x="165" y="1103"/>
                  </a:cubicBezTo>
                  <a:cubicBezTo>
                    <a:pt x="165" y="1103"/>
                    <a:pt x="165" y="1104"/>
                    <a:pt x="165" y="1104"/>
                  </a:cubicBezTo>
                  <a:cubicBezTo>
                    <a:pt x="164" y="1105"/>
                    <a:pt x="163" y="1106"/>
                    <a:pt x="164" y="1108"/>
                  </a:cubicBezTo>
                  <a:cubicBezTo>
                    <a:pt x="164" y="1108"/>
                    <a:pt x="164" y="1109"/>
                    <a:pt x="164" y="1109"/>
                  </a:cubicBezTo>
                  <a:cubicBezTo>
                    <a:pt x="164" y="1109"/>
                    <a:pt x="163" y="1109"/>
                    <a:pt x="163" y="1109"/>
                  </a:cubicBezTo>
                  <a:cubicBezTo>
                    <a:pt x="161" y="1109"/>
                    <a:pt x="161" y="1110"/>
                    <a:pt x="160" y="1111"/>
                  </a:cubicBezTo>
                  <a:cubicBezTo>
                    <a:pt x="159" y="1112"/>
                    <a:pt x="159" y="1113"/>
                    <a:pt x="159" y="1114"/>
                  </a:cubicBezTo>
                  <a:cubicBezTo>
                    <a:pt x="159" y="1114"/>
                    <a:pt x="159" y="1113"/>
                    <a:pt x="158" y="1113"/>
                  </a:cubicBezTo>
                  <a:cubicBezTo>
                    <a:pt x="158" y="1113"/>
                    <a:pt x="158" y="1113"/>
                    <a:pt x="158" y="1112"/>
                  </a:cubicBezTo>
                  <a:cubicBezTo>
                    <a:pt x="158" y="1112"/>
                    <a:pt x="157" y="1111"/>
                    <a:pt x="156" y="1110"/>
                  </a:cubicBezTo>
                  <a:cubicBezTo>
                    <a:pt x="155" y="1109"/>
                    <a:pt x="155" y="1109"/>
                    <a:pt x="154" y="1109"/>
                  </a:cubicBezTo>
                  <a:cubicBezTo>
                    <a:pt x="153" y="1108"/>
                    <a:pt x="153" y="1108"/>
                    <a:pt x="153" y="1108"/>
                  </a:cubicBezTo>
                  <a:cubicBezTo>
                    <a:pt x="153" y="1108"/>
                    <a:pt x="152" y="1108"/>
                    <a:pt x="151" y="1108"/>
                  </a:cubicBezTo>
                  <a:cubicBezTo>
                    <a:pt x="150" y="1108"/>
                    <a:pt x="149" y="1109"/>
                    <a:pt x="148" y="1110"/>
                  </a:cubicBezTo>
                  <a:cubicBezTo>
                    <a:pt x="148" y="1111"/>
                    <a:pt x="148" y="1111"/>
                    <a:pt x="148" y="1111"/>
                  </a:cubicBezTo>
                  <a:cubicBezTo>
                    <a:pt x="147" y="1111"/>
                    <a:pt x="147" y="1111"/>
                    <a:pt x="147" y="1111"/>
                  </a:cubicBezTo>
                  <a:cubicBezTo>
                    <a:pt x="147" y="1111"/>
                    <a:pt x="146" y="1111"/>
                    <a:pt x="146" y="1110"/>
                  </a:cubicBezTo>
                  <a:cubicBezTo>
                    <a:pt x="146" y="1110"/>
                    <a:pt x="146" y="1109"/>
                    <a:pt x="146" y="1108"/>
                  </a:cubicBezTo>
                  <a:cubicBezTo>
                    <a:pt x="145" y="1106"/>
                    <a:pt x="144" y="1106"/>
                    <a:pt x="143" y="1106"/>
                  </a:cubicBezTo>
                  <a:cubicBezTo>
                    <a:pt x="142" y="1105"/>
                    <a:pt x="142" y="1104"/>
                    <a:pt x="140" y="1104"/>
                  </a:cubicBezTo>
                  <a:cubicBezTo>
                    <a:pt x="140" y="1104"/>
                    <a:pt x="140" y="1104"/>
                    <a:pt x="140" y="1104"/>
                  </a:cubicBezTo>
                  <a:cubicBezTo>
                    <a:pt x="139" y="1104"/>
                    <a:pt x="139" y="1104"/>
                    <a:pt x="139" y="1104"/>
                  </a:cubicBezTo>
                  <a:cubicBezTo>
                    <a:pt x="140" y="1104"/>
                    <a:pt x="141" y="1103"/>
                    <a:pt x="141" y="1101"/>
                  </a:cubicBezTo>
                  <a:cubicBezTo>
                    <a:pt x="141" y="1100"/>
                    <a:pt x="141" y="1100"/>
                    <a:pt x="141" y="1100"/>
                  </a:cubicBezTo>
                  <a:cubicBezTo>
                    <a:pt x="142" y="1099"/>
                    <a:pt x="144" y="1099"/>
                    <a:pt x="144" y="1097"/>
                  </a:cubicBezTo>
                  <a:cubicBezTo>
                    <a:pt x="145" y="1095"/>
                    <a:pt x="144" y="1092"/>
                    <a:pt x="141" y="1091"/>
                  </a:cubicBezTo>
                  <a:cubicBezTo>
                    <a:pt x="141" y="1090"/>
                    <a:pt x="140" y="1090"/>
                    <a:pt x="140" y="1090"/>
                  </a:cubicBezTo>
                  <a:cubicBezTo>
                    <a:pt x="139" y="1090"/>
                    <a:pt x="139" y="1089"/>
                    <a:pt x="138" y="1089"/>
                  </a:cubicBezTo>
                  <a:cubicBezTo>
                    <a:pt x="138" y="1089"/>
                    <a:pt x="137" y="1089"/>
                    <a:pt x="137" y="1089"/>
                  </a:cubicBezTo>
                  <a:cubicBezTo>
                    <a:pt x="135" y="1089"/>
                    <a:pt x="134" y="1090"/>
                    <a:pt x="133" y="1092"/>
                  </a:cubicBezTo>
                  <a:cubicBezTo>
                    <a:pt x="132" y="1093"/>
                    <a:pt x="131" y="1093"/>
                    <a:pt x="131" y="1094"/>
                  </a:cubicBezTo>
                  <a:cubicBezTo>
                    <a:pt x="131" y="1095"/>
                    <a:pt x="130" y="1096"/>
                    <a:pt x="131" y="1098"/>
                  </a:cubicBezTo>
                  <a:cubicBezTo>
                    <a:pt x="132" y="1098"/>
                    <a:pt x="132" y="1099"/>
                    <a:pt x="133" y="1099"/>
                  </a:cubicBezTo>
                  <a:cubicBezTo>
                    <a:pt x="133" y="1100"/>
                    <a:pt x="133" y="1100"/>
                    <a:pt x="134" y="1101"/>
                  </a:cubicBezTo>
                  <a:cubicBezTo>
                    <a:pt x="134" y="1101"/>
                    <a:pt x="134" y="1102"/>
                    <a:pt x="134" y="1102"/>
                  </a:cubicBezTo>
                  <a:cubicBezTo>
                    <a:pt x="134" y="1102"/>
                    <a:pt x="133" y="1102"/>
                    <a:pt x="133" y="1102"/>
                  </a:cubicBezTo>
                  <a:cubicBezTo>
                    <a:pt x="132" y="1102"/>
                    <a:pt x="132" y="1102"/>
                    <a:pt x="132" y="1102"/>
                  </a:cubicBezTo>
                  <a:cubicBezTo>
                    <a:pt x="132" y="1102"/>
                    <a:pt x="132" y="1102"/>
                    <a:pt x="131" y="1102"/>
                  </a:cubicBezTo>
                  <a:cubicBezTo>
                    <a:pt x="131" y="1102"/>
                    <a:pt x="131" y="1102"/>
                    <a:pt x="131" y="1102"/>
                  </a:cubicBezTo>
                  <a:cubicBezTo>
                    <a:pt x="130" y="1102"/>
                    <a:pt x="130" y="1102"/>
                    <a:pt x="129" y="1102"/>
                  </a:cubicBezTo>
                  <a:cubicBezTo>
                    <a:pt x="128" y="1102"/>
                    <a:pt x="127" y="1102"/>
                    <a:pt x="126" y="1103"/>
                  </a:cubicBezTo>
                  <a:cubicBezTo>
                    <a:pt x="125" y="1104"/>
                    <a:pt x="125" y="1104"/>
                    <a:pt x="124" y="1104"/>
                  </a:cubicBezTo>
                  <a:cubicBezTo>
                    <a:pt x="123" y="1104"/>
                    <a:pt x="123" y="1104"/>
                    <a:pt x="123" y="1104"/>
                  </a:cubicBezTo>
                  <a:cubicBezTo>
                    <a:pt x="122" y="1104"/>
                    <a:pt x="122" y="1104"/>
                    <a:pt x="121" y="1105"/>
                  </a:cubicBezTo>
                  <a:cubicBezTo>
                    <a:pt x="121" y="1105"/>
                    <a:pt x="120" y="1106"/>
                    <a:pt x="120" y="1107"/>
                  </a:cubicBezTo>
                  <a:cubicBezTo>
                    <a:pt x="121" y="1110"/>
                    <a:pt x="124" y="1110"/>
                    <a:pt x="125" y="1110"/>
                  </a:cubicBezTo>
                  <a:cubicBezTo>
                    <a:pt x="125" y="1111"/>
                    <a:pt x="125" y="1111"/>
                    <a:pt x="125" y="1111"/>
                  </a:cubicBezTo>
                  <a:cubicBezTo>
                    <a:pt x="126" y="1111"/>
                    <a:pt x="126" y="1111"/>
                    <a:pt x="126" y="1111"/>
                  </a:cubicBezTo>
                  <a:cubicBezTo>
                    <a:pt x="126" y="1111"/>
                    <a:pt x="125" y="1111"/>
                    <a:pt x="125" y="1111"/>
                  </a:cubicBezTo>
                  <a:cubicBezTo>
                    <a:pt x="125" y="1111"/>
                    <a:pt x="125" y="1111"/>
                    <a:pt x="125" y="1111"/>
                  </a:cubicBezTo>
                  <a:cubicBezTo>
                    <a:pt x="124" y="1111"/>
                    <a:pt x="123" y="1111"/>
                    <a:pt x="122" y="1112"/>
                  </a:cubicBezTo>
                  <a:cubicBezTo>
                    <a:pt x="122" y="1112"/>
                    <a:pt x="122" y="1111"/>
                    <a:pt x="122" y="1111"/>
                  </a:cubicBezTo>
                  <a:cubicBezTo>
                    <a:pt x="121" y="1111"/>
                    <a:pt x="121" y="1111"/>
                    <a:pt x="121" y="1110"/>
                  </a:cubicBezTo>
                  <a:cubicBezTo>
                    <a:pt x="121" y="1109"/>
                    <a:pt x="120" y="1108"/>
                    <a:pt x="118" y="1107"/>
                  </a:cubicBezTo>
                  <a:cubicBezTo>
                    <a:pt x="117" y="1107"/>
                    <a:pt x="117" y="1107"/>
                    <a:pt x="117" y="1107"/>
                  </a:cubicBezTo>
                  <a:cubicBezTo>
                    <a:pt x="117" y="1107"/>
                    <a:pt x="117" y="1107"/>
                    <a:pt x="117" y="1107"/>
                  </a:cubicBezTo>
                  <a:cubicBezTo>
                    <a:pt x="115" y="1107"/>
                    <a:pt x="113" y="1110"/>
                    <a:pt x="113" y="1112"/>
                  </a:cubicBezTo>
                  <a:cubicBezTo>
                    <a:pt x="113" y="1113"/>
                    <a:pt x="113" y="1114"/>
                    <a:pt x="114" y="1115"/>
                  </a:cubicBezTo>
                  <a:cubicBezTo>
                    <a:pt x="114" y="1115"/>
                    <a:pt x="115" y="1115"/>
                    <a:pt x="115" y="1115"/>
                  </a:cubicBezTo>
                  <a:cubicBezTo>
                    <a:pt x="116" y="1117"/>
                    <a:pt x="117" y="1118"/>
                    <a:pt x="119" y="1118"/>
                  </a:cubicBezTo>
                  <a:cubicBezTo>
                    <a:pt x="119" y="1118"/>
                    <a:pt x="119" y="1118"/>
                    <a:pt x="119" y="1118"/>
                  </a:cubicBezTo>
                  <a:cubicBezTo>
                    <a:pt x="120" y="1118"/>
                    <a:pt x="121" y="1118"/>
                    <a:pt x="121" y="1117"/>
                  </a:cubicBezTo>
                  <a:cubicBezTo>
                    <a:pt x="122" y="1118"/>
                    <a:pt x="122" y="1118"/>
                    <a:pt x="123" y="1118"/>
                  </a:cubicBezTo>
                  <a:cubicBezTo>
                    <a:pt x="124" y="1118"/>
                    <a:pt x="124" y="1118"/>
                    <a:pt x="124" y="1118"/>
                  </a:cubicBezTo>
                  <a:cubicBezTo>
                    <a:pt x="125" y="1118"/>
                    <a:pt x="126" y="1118"/>
                    <a:pt x="126" y="1118"/>
                  </a:cubicBezTo>
                  <a:cubicBezTo>
                    <a:pt x="126" y="1118"/>
                    <a:pt x="127" y="1119"/>
                    <a:pt x="127" y="1119"/>
                  </a:cubicBezTo>
                  <a:cubicBezTo>
                    <a:pt x="128" y="1121"/>
                    <a:pt x="129" y="1122"/>
                    <a:pt x="130" y="1122"/>
                  </a:cubicBezTo>
                  <a:cubicBezTo>
                    <a:pt x="131" y="1123"/>
                    <a:pt x="131" y="1123"/>
                    <a:pt x="131" y="1123"/>
                  </a:cubicBezTo>
                  <a:cubicBezTo>
                    <a:pt x="131" y="1123"/>
                    <a:pt x="131" y="1123"/>
                    <a:pt x="131" y="1123"/>
                  </a:cubicBezTo>
                  <a:cubicBezTo>
                    <a:pt x="132" y="1124"/>
                    <a:pt x="133" y="1125"/>
                    <a:pt x="134" y="1125"/>
                  </a:cubicBezTo>
                  <a:cubicBezTo>
                    <a:pt x="135" y="1125"/>
                    <a:pt x="136" y="1125"/>
                    <a:pt x="137" y="1124"/>
                  </a:cubicBezTo>
                  <a:cubicBezTo>
                    <a:pt x="137" y="1124"/>
                    <a:pt x="137" y="1124"/>
                    <a:pt x="137" y="1124"/>
                  </a:cubicBezTo>
                  <a:cubicBezTo>
                    <a:pt x="138" y="1124"/>
                    <a:pt x="138" y="1124"/>
                    <a:pt x="138" y="1124"/>
                  </a:cubicBezTo>
                  <a:cubicBezTo>
                    <a:pt x="137" y="1124"/>
                    <a:pt x="137" y="1125"/>
                    <a:pt x="136" y="1126"/>
                  </a:cubicBezTo>
                  <a:cubicBezTo>
                    <a:pt x="136" y="1127"/>
                    <a:pt x="136" y="1129"/>
                    <a:pt x="137" y="1130"/>
                  </a:cubicBezTo>
                  <a:cubicBezTo>
                    <a:pt x="138" y="1131"/>
                    <a:pt x="140" y="1131"/>
                    <a:pt x="141" y="1131"/>
                  </a:cubicBezTo>
                  <a:cubicBezTo>
                    <a:pt x="141" y="1131"/>
                    <a:pt x="141" y="1131"/>
                    <a:pt x="141" y="1131"/>
                  </a:cubicBezTo>
                  <a:cubicBezTo>
                    <a:pt x="141" y="1132"/>
                    <a:pt x="141" y="1132"/>
                    <a:pt x="141" y="1133"/>
                  </a:cubicBezTo>
                  <a:cubicBezTo>
                    <a:pt x="141" y="1133"/>
                    <a:pt x="141" y="1133"/>
                    <a:pt x="141" y="1133"/>
                  </a:cubicBezTo>
                  <a:cubicBezTo>
                    <a:pt x="139" y="1133"/>
                    <a:pt x="139" y="1133"/>
                    <a:pt x="139" y="1133"/>
                  </a:cubicBezTo>
                  <a:cubicBezTo>
                    <a:pt x="139" y="1135"/>
                    <a:pt x="139" y="1135"/>
                    <a:pt x="139" y="1135"/>
                  </a:cubicBezTo>
                  <a:cubicBezTo>
                    <a:pt x="138" y="1136"/>
                    <a:pt x="138" y="1136"/>
                    <a:pt x="138" y="1136"/>
                  </a:cubicBezTo>
                  <a:cubicBezTo>
                    <a:pt x="136" y="1137"/>
                    <a:pt x="135" y="1140"/>
                    <a:pt x="136" y="1142"/>
                  </a:cubicBezTo>
                  <a:cubicBezTo>
                    <a:pt x="136" y="1143"/>
                    <a:pt x="137" y="1145"/>
                    <a:pt x="140" y="1145"/>
                  </a:cubicBezTo>
                  <a:cubicBezTo>
                    <a:pt x="140" y="1145"/>
                    <a:pt x="140" y="1145"/>
                    <a:pt x="140" y="1145"/>
                  </a:cubicBezTo>
                  <a:cubicBezTo>
                    <a:pt x="140" y="1145"/>
                    <a:pt x="140" y="1146"/>
                    <a:pt x="140" y="1148"/>
                  </a:cubicBezTo>
                  <a:cubicBezTo>
                    <a:pt x="140" y="1148"/>
                    <a:pt x="140" y="1148"/>
                    <a:pt x="140" y="1149"/>
                  </a:cubicBezTo>
                  <a:cubicBezTo>
                    <a:pt x="140" y="1148"/>
                    <a:pt x="140" y="1148"/>
                    <a:pt x="140" y="1148"/>
                  </a:cubicBezTo>
                  <a:cubicBezTo>
                    <a:pt x="139" y="1148"/>
                    <a:pt x="138" y="1149"/>
                    <a:pt x="137" y="1149"/>
                  </a:cubicBezTo>
                  <a:cubicBezTo>
                    <a:pt x="136" y="1150"/>
                    <a:pt x="136" y="1152"/>
                    <a:pt x="136" y="1153"/>
                  </a:cubicBezTo>
                  <a:cubicBezTo>
                    <a:pt x="136" y="1153"/>
                    <a:pt x="135" y="1157"/>
                    <a:pt x="136" y="1159"/>
                  </a:cubicBezTo>
                  <a:cubicBezTo>
                    <a:pt x="135" y="1160"/>
                    <a:pt x="135" y="1160"/>
                    <a:pt x="134" y="1161"/>
                  </a:cubicBezTo>
                  <a:cubicBezTo>
                    <a:pt x="133" y="1162"/>
                    <a:pt x="133" y="1163"/>
                    <a:pt x="133" y="1164"/>
                  </a:cubicBezTo>
                  <a:cubicBezTo>
                    <a:pt x="133" y="1164"/>
                    <a:pt x="133" y="1165"/>
                    <a:pt x="133" y="1165"/>
                  </a:cubicBezTo>
                  <a:cubicBezTo>
                    <a:pt x="133" y="1165"/>
                    <a:pt x="133" y="1166"/>
                    <a:pt x="132" y="1166"/>
                  </a:cubicBezTo>
                  <a:cubicBezTo>
                    <a:pt x="131" y="1167"/>
                    <a:pt x="130" y="1169"/>
                    <a:pt x="131" y="1171"/>
                  </a:cubicBezTo>
                  <a:cubicBezTo>
                    <a:pt x="131" y="1173"/>
                    <a:pt x="131" y="1173"/>
                    <a:pt x="131" y="1173"/>
                  </a:cubicBezTo>
                  <a:cubicBezTo>
                    <a:pt x="133" y="1173"/>
                    <a:pt x="133" y="1173"/>
                    <a:pt x="133" y="1173"/>
                  </a:cubicBezTo>
                  <a:cubicBezTo>
                    <a:pt x="134" y="1174"/>
                    <a:pt x="136" y="1174"/>
                    <a:pt x="137" y="1174"/>
                  </a:cubicBezTo>
                  <a:cubicBezTo>
                    <a:pt x="138" y="1174"/>
                    <a:pt x="138" y="1174"/>
                    <a:pt x="138" y="1174"/>
                  </a:cubicBezTo>
                  <a:cubicBezTo>
                    <a:pt x="138" y="1174"/>
                    <a:pt x="139" y="1174"/>
                    <a:pt x="139" y="1174"/>
                  </a:cubicBezTo>
                  <a:cubicBezTo>
                    <a:pt x="139" y="1174"/>
                    <a:pt x="139" y="1175"/>
                    <a:pt x="139" y="1176"/>
                  </a:cubicBezTo>
                  <a:cubicBezTo>
                    <a:pt x="138" y="1176"/>
                    <a:pt x="138" y="1176"/>
                    <a:pt x="137" y="1176"/>
                  </a:cubicBezTo>
                  <a:cubicBezTo>
                    <a:pt x="136" y="1177"/>
                    <a:pt x="136" y="1178"/>
                    <a:pt x="136" y="1178"/>
                  </a:cubicBezTo>
                  <a:cubicBezTo>
                    <a:pt x="136" y="1178"/>
                    <a:pt x="136" y="1179"/>
                    <a:pt x="136" y="1179"/>
                  </a:cubicBezTo>
                  <a:cubicBezTo>
                    <a:pt x="135" y="1179"/>
                    <a:pt x="135" y="1179"/>
                    <a:pt x="135" y="1179"/>
                  </a:cubicBezTo>
                  <a:cubicBezTo>
                    <a:pt x="135" y="1179"/>
                    <a:pt x="135" y="1179"/>
                    <a:pt x="134" y="1179"/>
                  </a:cubicBezTo>
                  <a:cubicBezTo>
                    <a:pt x="134" y="1179"/>
                    <a:pt x="134" y="1179"/>
                    <a:pt x="133" y="1179"/>
                  </a:cubicBezTo>
                  <a:cubicBezTo>
                    <a:pt x="131" y="1179"/>
                    <a:pt x="129" y="1182"/>
                    <a:pt x="128" y="1184"/>
                  </a:cubicBezTo>
                  <a:cubicBezTo>
                    <a:pt x="127" y="1184"/>
                    <a:pt x="127" y="1185"/>
                    <a:pt x="127" y="1185"/>
                  </a:cubicBezTo>
                  <a:cubicBezTo>
                    <a:pt x="126" y="1186"/>
                    <a:pt x="126" y="1186"/>
                    <a:pt x="126" y="1186"/>
                  </a:cubicBezTo>
                  <a:cubicBezTo>
                    <a:pt x="126" y="1187"/>
                    <a:pt x="125" y="1188"/>
                    <a:pt x="125" y="1188"/>
                  </a:cubicBezTo>
                  <a:cubicBezTo>
                    <a:pt x="125" y="1188"/>
                    <a:pt x="124" y="1188"/>
                    <a:pt x="124" y="1189"/>
                  </a:cubicBezTo>
                  <a:cubicBezTo>
                    <a:pt x="123" y="1189"/>
                    <a:pt x="122" y="1189"/>
                    <a:pt x="121" y="1190"/>
                  </a:cubicBezTo>
                  <a:cubicBezTo>
                    <a:pt x="119" y="1193"/>
                    <a:pt x="120" y="1197"/>
                    <a:pt x="121" y="1199"/>
                  </a:cubicBezTo>
                  <a:cubicBezTo>
                    <a:pt x="122" y="1201"/>
                    <a:pt x="124" y="1203"/>
                    <a:pt x="126" y="1204"/>
                  </a:cubicBezTo>
                  <a:cubicBezTo>
                    <a:pt x="127" y="1204"/>
                    <a:pt x="127" y="1204"/>
                    <a:pt x="128" y="1205"/>
                  </a:cubicBezTo>
                  <a:cubicBezTo>
                    <a:pt x="128" y="1205"/>
                    <a:pt x="129" y="1206"/>
                    <a:pt x="130" y="1207"/>
                  </a:cubicBezTo>
                  <a:cubicBezTo>
                    <a:pt x="130" y="1208"/>
                    <a:pt x="130" y="1208"/>
                    <a:pt x="130" y="1208"/>
                  </a:cubicBezTo>
                  <a:cubicBezTo>
                    <a:pt x="131" y="1208"/>
                    <a:pt x="131" y="1210"/>
                    <a:pt x="133" y="1210"/>
                  </a:cubicBezTo>
                  <a:cubicBezTo>
                    <a:pt x="134" y="1210"/>
                    <a:pt x="134" y="1209"/>
                    <a:pt x="135" y="1209"/>
                  </a:cubicBezTo>
                  <a:cubicBezTo>
                    <a:pt x="137" y="1209"/>
                    <a:pt x="138" y="1207"/>
                    <a:pt x="139" y="1205"/>
                  </a:cubicBezTo>
                  <a:cubicBezTo>
                    <a:pt x="139" y="1203"/>
                    <a:pt x="138" y="1201"/>
                    <a:pt x="137" y="1200"/>
                  </a:cubicBezTo>
                  <a:cubicBezTo>
                    <a:pt x="136" y="1199"/>
                    <a:pt x="136" y="1199"/>
                    <a:pt x="135" y="1198"/>
                  </a:cubicBezTo>
                  <a:cubicBezTo>
                    <a:pt x="134" y="1198"/>
                    <a:pt x="134" y="1197"/>
                    <a:pt x="133" y="1196"/>
                  </a:cubicBezTo>
                  <a:cubicBezTo>
                    <a:pt x="133" y="1196"/>
                    <a:pt x="134" y="1196"/>
                    <a:pt x="134" y="1196"/>
                  </a:cubicBezTo>
                  <a:cubicBezTo>
                    <a:pt x="135" y="1196"/>
                    <a:pt x="136" y="1196"/>
                    <a:pt x="137" y="1196"/>
                  </a:cubicBezTo>
                  <a:cubicBezTo>
                    <a:pt x="138" y="1195"/>
                    <a:pt x="139" y="1195"/>
                    <a:pt x="140" y="1194"/>
                  </a:cubicBezTo>
                  <a:cubicBezTo>
                    <a:pt x="140" y="1195"/>
                    <a:pt x="140" y="1197"/>
                    <a:pt x="141" y="1197"/>
                  </a:cubicBezTo>
                  <a:cubicBezTo>
                    <a:pt x="142" y="1198"/>
                    <a:pt x="144" y="1199"/>
                    <a:pt x="145" y="1199"/>
                  </a:cubicBezTo>
                  <a:cubicBezTo>
                    <a:pt x="146" y="1199"/>
                    <a:pt x="147" y="1200"/>
                    <a:pt x="147" y="1200"/>
                  </a:cubicBezTo>
                  <a:cubicBezTo>
                    <a:pt x="147" y="1200"/>
                    <a:pt x="147" y="1201"/>
                    <a:pt x="147" y="1201"/>
                  </a:cubicBezTo>
                  <a:cubicBezTo>
                    <a:pt x="148" y="1202"/>
                    <a:pt x="149" y="1202"/>
                    <a:pt x="150" y="1203"/>
                  </a:cubicBezTo>
                  <a:cubicBezTo>
                    <a:pt x="152" y="1204"/>
                    <a:pt x="153" y="1204"/>
                    <a:pt x="155" y="1204"/>
                  </a:cubicBezTo>
                  <a:cubicBezTo>
                    <a:pt x="155" y="1204"/>
                    <a:pt x="155" y="1205"/>
                    <a:pt x="156" y="1205"/>
                  </a:cubicBezTo>
                  <a:cubicBezTo>
                    <a:pt x="157" y="1205"/>
                    <a:pt x="157" y="1205"/>
                    <a:pt x="158" y="1206"/>
                  </a:cubicBezTo>
                  <a:cubicBezTo>
                    <a:pt x="158" y="1206"/>
                    <a:pt x="159" y="1206"/>
                    <a:pt x="159" y="1206"/>
                  </a:cubicBezTo>
                  <a:cubicBezTo>
                    <a:pt x="159" y="1206"/>
                    <a:pt x="159" y="1206"/>
                    <a:pt x="160" y="1206"/>
                  </a:cubicBezTo>
                  <a:cubicBezTo>
                    <a:pt x="161" y="1206"/>
                    <a:pt x="162" y="1207"/>
                    <a:pt x="163" y="1207"/>
                  </a:cubicBezTo>
                  <a:cubicBezTo>
                    <a:pt x="164" y="1207"/>
                    <a:pt x="165" y="1206"/>
                    <a:pt x="165" y="1206"/>
                  </a:cubicBezTo>
                  <a:cubicBezTo>
                    <a:pt x="167" y="1205"/>
                    <a:pt x="167" y="1204"/>
                    <a:pt x="167" y="1202"/>
                  </a:cubicBezTo>
                  <a:cubicBezTo>
                    <a:pt x="167" y="1202"/>
                    <a:pt x="167" y="1202"/>
                    <a:pt x="167" y="1202"/>
                  </a:cubicBezTo>
                  <a:cubicBezTo>
                    <a:pt x="167" y="1202"/>
                    <a:pt x="168" y="1202"/>
                    <a:pt x="168" y="1202"/>
                  </a:cubicBezTo>
                  <a:cubicBezTo>
                    <a:pt x="169" y="1202"/>
                    <a:pt x="171" y="1203"/>
                    <a:pt x="171" y="1204"/>
                  </a:cubicBezTo>
                  <a:cubicBezTo>
                    <a:pt x="172" y="1204"/>
                    <a:pt x="172" y="1205"/>
                    <a:pt x="173" y="1205"/>
                  </a:cubicBezTo>
                  <a:cubicBezTo>
                    <a:pt x="173" y="1206"/>
                    <a:pt x="174" y="1206"/>
                    <a:pt x="174" y="1206"/>
                  </a:cubicBezTo>
                  <a:cubicBezTo>
                    <a:pt x="173" y="1206"/>
                    <a:pt x="173" y="1206"/>
                    <a:pt x="172" y="1206"/>
                  </a:cubicBezTo>
                  <a:cubicBezTo>
                    <a:pt x="172" y="1206"/>
                    <a:pt x="171" y="1206"/>
                    <a:pt x="170" y="1206"/>
                  </a:cubicBezTo>
                  <a:cubicBezTo>
                    <a:pt x="168" y="1207"/>
                    <a:pt x="167" y="1209"/>
                    <a:pt x="167" y="1211"/>
                  </a:cubicBezTo>
                  <a:cubicBezTo>
                    <a:pt x="167" y="1212"/>
                    <a:pt x="167" y="1213"/>
                    <a:pt x="168" y="1214"/>
                  </a:cubicBezTo>
                  <a:cubicBezTo>
                    <a:pt x="168" y="1214"/>
                    <a:pt x="168" y="1214"/>
                    <a:pt x="168" y="1214"/>
                  </a:cubicBezTo>
                  <a:cubicBezTo>
                    <a:pt x="168" y="1215"/>
                    <a:pt x="167" y="1217"/>
                    <a:pt x="169" y="1218"/>
                  </a:cubicBezTo>
                  <a:cubicBezTo>
                    <a:pt x="170" y="1219"/>
                    <a:pt x="171" y="1219"/>
                    <a:pt x="171" y="1219"/>
                  </a:cubicBezTo>
                  <a:cubicBezTo>
                    <a:pt x="171" y="1219"/>
                    <a:pt x="171" y="1219"/>
                    <a:pt x="171" y="1219"/>
                  </a:cubicBezTo>
                  <a:cubicBezTo>
                    <a:pt x="173" y="1219"/>
                    <a:pt x="175" y="1217"/>
                    <a:pt x="175" y="1216"/>
                  </a:cubicBezTo>
                  <a:cubicBezTo>
                    <a:pt x="176" y="1216"/>
                    <a:pt x="176" y="1216"/>
                    <a:pt x="176" y="1216"/>
                  </a:cubicBezTo>
                  <a:cubicBezTo>
                    <a:pt x="176" y="1215"/>
                    <a:pt x="176" y="1215"/>
                    <a:pt x="176" y="1215"/>
                  </a:cubicBezTo>
                  <a:cubicBezTo>
                    <a:pt x="177" y="1215"/>
                    <a:pt x="178" y="1214"/>
                    <a:pt x="179" y="1212"/>
                  </a:cubicBezTo>
                  <a:cubicBezTo>
                    <a:pt x="179" y="1211"/>
                    <a:pt x="179" y="1211"/>
                    <a:pt x="179" y="1210"/>
                  </a:cubicBezTo>
                  <a:cubicBezTo>
                    <a:pt x="179" y="1210"/>
                    <a:pt x="180" y="1211"/>
                    <a:pt x="181" y="1211"/>
                  </a:cubicBezTo>
                  <a:cubicBezTo>
                    <a:pt x="182" y="1211"/>
                    <a:pt x="183" y="1211"/>
                    <a:pt x="184" y="1212"/>
                  </a:cubicBezTo>
                  <a:cubicBezTo>
                    <a:pt x="184" y="1212"/>
                    <a:pt x="184" y="1212"/>
                    <a:pt x="184" y="1212"/>
                  </a:cubicBezTo>
                  <a:cubicBezTo>
                    <a:pt x="184" y="1213"/>
                    <a:pt x="182" y="1214"/>
                    <a:pt x="181" y="1214"/>
                  </a:cubicBezTo>
                  <a:cubicBezTo>
                    <a:pt x="181" y="1214"/>
                    <a:pt x="180" y="1215"/>
                    <a:pt x="179" y="1215"/>
                  </a:cubicBezTo>
                  <a:cubicBezTo>
                    <a:pt x="179" y="1215"/>
                    <a:pt x="179" y="1215"/>
                    <a:pt x="178" y="1216"/>
                  </a:cubicBezTo>
                  <a:cubicBezTo>
                    <a:pt x="176" y="1216"/>
                    <a:pt x="176" y="1218"/>
                    <a:pt x="175" y="1218"/>
                  </a:cubicBezTo>
                  <a:cubicBezTo>
                    <a:pt x="175" y="1219"/>
                    <a:pt x="175" y="1219"/>
                    <a:pt x="175" y="1219"/>
                  </a:cubicBezTo>
                  <a:cubicBezTo>
                    <a:pt x="174" y="1220"/>
                    <a:pt x="174" y="1220"/>
                    <a:pt x="174" y="1220"/>
                  </a:cubicBezTo>
                  <a:cubicBezTo>
                    <a:pt x="173" y="1221"/>
                    <a:pt x="171" y="1225"/>
                    <a:pt x="173" y="1228"/>
                  </a:cubicBezTo>
                  <a:cubicBezTo>
                    <a:pt x="173" y="1229"/>
                    <a:pt x="174" y="1229"/>
                    <a:pt x="174" y="1229"/>
                  </a:cubicBezTo>
                  <a:cubicBezTo>
                    <a:pt x="173" y="1230"/>
                    <a:pt x="173" y="1230"/>
                    <a:pt x="172" y="1231"/>
                  </a:cubicBezTo>
                  <a:cubicBezTo>
                    <a:pt x="171" y="1233"/>
                    <a:pt x="170" y="1237"/>
                    <a:pt x="171" y="1239"/>
                  </a:cubicBezTo>
                  <a:cubicBezTo>
                    <a:pt x="171" y="1239"/>
                    <a:pt x="171" y="1240"/>
                    <a:pt x="171" y="1240"/>
                  </a:cubicBezTo>
                  <a:cubicBezTo>
                    <a:pt x="171" y="1240"/>
                    <a:pt x="170" y="1239"/>
                    <a:pt x="169" y="1239"/>
                  </a:cubicBezTo>
                  <a:cubicBezTo>
                    <a:pt x="169" y="1239"/>
                    <a:pt x="168" y="1240"/>
                    <a:pt x="167" y="1240"/>
                  </a:cubicBezTo>
                  <a:cubicBezTo>
                    <a:pt x="166" y="1240"/>
                    <a:pt x="166" y="1240"/>
                    <a:pt x="166" y="1240"/>
                  </a:cubicBezTo>
                  <a:cubicBezTo>
                    <a:pt x="166" y="1241"/>
                    <a:pt x="166" y="1241"/>
                    <a:pt x="166" y="1241"/>
                  </a:cubicBezTo>
                  <a:cubicBezTo>
                    <a:pt x="166" y="1241"/>
                    <a:pt x="166" y="1242"/>
                    <a:pt x="166" y="1242"/>
                  </a:cubicBezTo>
                  <a:cubicBezTo>
                    <a:pt x="166" y="1241"/>
                    <a:pt x="166" y="1241"/>
                    <a:pt x="166" y="1240"/>
                  </a:cubicBezTo>
                  <a:cubicBezTo>
                    <a:pt x="166" y="1240"/>
                    <a:pt x="166" y="1240"/>
                    <a:pt x="166" y="1240"/>
                  </a:cubicBezTo>
                  <a:cubicBezTo>
                    <a:pt x="165" y="1238"/>
                    <a:pt x="165" y="1238"/>
                    <a:pt x="165" y="1238"/>
                  </a:cubicBezTo>
                  <a:cubicBezTo>
                    <a:pt x="164" y="1238"/>
                    <a:pt x="164" y="1238"/>
                    <a:pt x="164" y="1238"/>
                  </a:cubicBezTo>
                  <a:cubicBezTo>
                    <a:pt x="164" y="1237"/>
                    <a:pt x="164" y="1237"/>
                    <a:pt x="164" y="1236"/>
                  </a:cubicBezTo>
                  <a:cubicBezTo>
                    <a:pt x="163" y="1235"/>
                    <a:pt x="162" y="1234"/>
                    <a:pt x="160" y="1234"/>
                  </a:cubicBezTo>
                  <a:cubicBezTo>
                    <a:pt x="158" y="1234"/>
                    <a:pt x="154" y="1236"/>
                    <a:pt x="154" y="1239"/>
                  </a:cubicBezTo>
                  <a:cubicBezTo>
                    <a:pt x="154" y="1239"/>
                    <a:pt x="154" y="1241"/>
                    <a:pt x="156" y="1242"/>
                  </a:cubicBezTo>
                  <a:cubicBezTo>
                    <a:pt x="156" y="1243"/>
                    <a:pt x="156" y="1245"/>
                    <a:pt x="158" y="1246"/>
                  </a:cubicBezTo>
                  <a:cubicBezTo>
                    <a:pt x="158" y="1246"/>
                    <a:pt x="159" y="1246"/>
                    <a:pt x="159" y="1246"/>
                  </a:cubicBezTo>
                  <a:cubicBezTo>
                    <a:pt x="160" y="1246"/>
                    <a:pt x="160" y="1246"/>
                    <a:pt x="160" y="1246"/>
                  </a:cubicBezTo>
                  <a:cubicBezTo>
                    <a:pt x="160" y="1247"/>
                    <a:pt x="159" y="1248"/>
                    <a:pt x="159" y="1248"/>
                  </a:cubicBezTo>
                  <a:cubicBezTo>
                    <a:pt x="158" y="1248"/>
                    <a:pt x="157" y="1248"/>
                    <a:pt x="156" y="1248"/>
                  </a:cubicBezTo>
                  <a:cubicBezTo>
                    <a:pt x="153" y="1248"/>
                    <a:pt x="151" y="1249"/>
                    <a:pt x="151" y="1252"/>
                  </a:cubicBezTo>
                  <a:cubicBezTo>
                    <a:pt x="150" y="1255"/>
                    <a:pt x="152" y="1257"/>
                    <a:pt x="153" y="1258"/>
                  </a:cubicBezTo>
                  <a:cubicBezTo>
                    <a:pt x="153" y="1259"/>
                    <a:pt x="153" y="1259"/>
                    <a:pt x="154" y="1260"/>
                  </a:cubicBezTo>
                  <a:cubicBezTo>
                    <a:pt x="156" y="1262"/>
                    <a:pt x="157" y="1263"/>
                    <a:pt x="156" y="1264"/>
                  </a:cubicBezTo>
                  <a:cubicBezTo>
                    <a:pt x="154" y="1268"/>
                    <a:pt x="153" y="1270"/>
                    <a:pt x="157" y="1274"/>
                  </a:cubicBezTo>
                  <a:cubicBezTo>
                    <a:pt x="157" y="1274"/>
                    <a:pt x="158" y="1275"/>
                    <a:pt x="158" y="1276"/>
                  </a:cubicBezTo>
                  <a:cubicBezTo>
                    <a:pt x="159" y="1278"/>
                    <a:pt x="161" y="1280"/>
                    <a:pt x="164" y="1280"/>
                  </a:cubicBezTo>
                  <a:cubicBezTo>
                    <a:pt x="164" y="1280"/>
                    <a:pt x="164" y="1280"/>
                    <a:pt x="164" y="1280"/>
                  </a:cubicBezTo>
                  <a:cubicBezTo>
                    <a:pt x="165" y="1280"/>
                    <a:pt x="165" y="1280"/>
                    <a:pt x="166" y="1280"/>
                  </a:cubicBezTo>
                  <a:cubicBezTo>
                    <a:pt x="165" y="1280"/>
                    <a:pt x="164" y="1281"/>
                    <a:pt x="164" y="1281"/>
                  </a:cubicBezTo>
                  <a:cubicBezTo>
                    <a:pt x="163" y="1283"/>
                    <a:pt x="162" y="1284"/>
                    <a:pt x="162" y="1285"/>
                  </a:cubicBezTo>
                  <a:cubicBezTo>
                    <a:pt x="163" y="1288"/>
                    <a:pt x="167" y="1291"/>
                    <a:pt x="167" y="1291"/>
                  </a:cubicBezTo>
                  <a:cubicBezTo>
                    <a:pt x="168" y="1291"/>
                    <a:pt x="169" y="1291"/>
                    <a:pt x="170" y="1291"/>
                  </a:cubicBezTo>
                  <a:cubicBezTo>
                    <a:pt x="171" y="1291"/>
                    <a:pt x="171" y="1291"/>
                    <a:pt x="171" y="1291"/>
                  </a:cubicBezTo>
                  <a:cubicBezTo>
                    <a:pt x="170" y="1292"/>
                    <a:pt x="170" y="1292"/>
                    <a:pt x="170" y="1292"/>
                  </a:cubicBezTo>
                  <a:cubicBezTo>
                    <a:pt x="169" y="1292"/>
                    <a:pt x="168" y="1294"/>
                    <a:pt x="168" y="1295"/>
                  </a:cubicBezTo>
                  <a:cubicBezTo>
                    <a:pt x="167" y="1297"/>
                    <a:pt x="168" y="1299"/>
                    <a:pt x="169" y="1300"/>
                  </a:cubicBezTo>
                  <a:cubicBezTo>
                    <a:pt x="170" y="1301"/>
                    <a:pt x="172" y="1302"/>
                    <a:pt x="173" y="1302"/>
                  </a:cubicBezTo>
                  <a:cubicBezTo>
                    <a:pt x="174" y="1302"/>
                    <a:pt x="175" y="1302"/>
                    <a:pt x="176" y="1301"/>
                  </a:cubicBezTo>
                  <a:cubicBezTo>
                    <a:pt x="176" y="1302"/>
                    <a:pt x="176" y="1302"/>
                    <a:pt x="176" y="1302"/>
                  </a:cubicBezTo>
                  <a:cubicBezTo>
                    <a:pt x="176" y="1307"/>
                    <a:pt x="183" y="1310"/>
                    <a:pt x="185" y="1310"/>
                  </a:cubicBezTo>
                  <a:cubicBezTo>
                    <a:pt x="186" y="1311"/>
                    <a:pt x="187" y="1311"/>
                    <a:pt x="187" y="1312"/>
                  </a:cubicBezTo>
                  <a:cubicBezTo>
                    <a:pt x="187" y="1312"/>
                    <a:pt x="186" y="1312"/>
                    <a:pt x="186" y="1312"/>
                  </a:cubicBezTo>
                  <a:cubicBezTo>
                    <a:pt x="185" y="1311"/>
                    <a:pt x="185" y="1311"/>
                    <a:pt x="185" y="1311"/>
                  </a:cubicBezTo>
                  <a:cubicBezTo>
                    <a:pt x="184" y="1311"/>
                    <a:pt x="184" y="1311"/>
                    <a:pt x="183" y="1311"/>
                  </a:cubicBezTo>
                  <a:cubicBezTo>
                    <a:pt x="181" y="1311"/>
                    <a:pt x="179" y="1313"/>
                    <a:pt x="179" y="1314"/>
                  </a:cubicBezTo>
                  <a:cubicBezTo>
                    <a:pt x="177" y="1317"/>
                    <a:pt x="177" y="1317"/>
                    <a:pt x="177" y="1317"/>
                  </a:cubicBezTo>
                  <a:cubicBezTo>
                    <a:pt x="181" y="1318"/>
                    <a:pt x="181" y="1318"/>
                    <a:pt x="181" y="1318"/>
                  </a:cubicBezTo>
                  <a:cubicBezTo>
                    <a:pt x="181" y="1318"/>
                    <a:pt x="181" y="1318"/>
                    <a:pt x="181" y="1318"/>
                  </a:cubicBezTo>
                  <a:cubicBezTo>
                    <a:pt x="181" y="1319"/>
                    <a:pt x="182" y="1321"/>
                    <a:pt x="183" y="1322"/>
                  </a:cubicBezTo>
                  <a:cubicBezTo>
                    <a:pt x="184" y="1323"/>
                    <a:pt x="186" y="1323"/>
                    <a:pt x="187" y="1323"/>
                  </a:cubicBezTo>
                  <a:cubicBezTo>
                    <a:pt x="187" y="1323"/>
                    <a:pt x="188" y="1323"/>
                    <a:pt x="188" y="1323"/>
                  </a:cubicBezTo>
                  <a:cubicBezTo>
                    <a:pt x="188" y="1323"/>
                    <a:pt x="189" y="1323"/>
                    <a:pt x="189" y="1323"/>
                  </a:cubicBezTo>
                  <a:cubicBezTo>
                    <a:pt x="189" y="1323"/>
                    <a:pt x="189" y="1323"/>
                    <a:pt x="189" y="1323"/>
                  </a:cubicBezTo>
                  <a:cubicBezTo>
                    <a:pt x="189" y="1323"/>
                    <a:pt x="190" y="1324"/>
                    <a:pt x="191" y="1325"/>
                  </a:cubicBezTo>
                  <a:cubicBezTo>
                    <a:pt x="192" y="1326"/>
                    <a:pt x="193" y="1326"/>
                    <a:pt x="194" y="1326"/>
                  </a:cubicBezTo>
                  <a:cubicBezTo>
                    <a:pt x="195" y="1326"/>
                    <a:pt x="196" y="1326"/>
                    <a:pt x="196" y="1326"/>
                  </a:cubicBezTo>
                  <a:cubicBezTo>
                    <a:pt x="197" y="1326"/>
                    <a:pt x="197" y="1325"/>
                    <a:pt x="197" y="1325"/>
                  </a:cubicBezTo>
                  <a:cubicBezTo>
                    <a:pt x="198" y="1325"/>
                    <a:pt x="198" y="1326"/>
                    <a:pt x="198" y="1326"/>
                  </a:cubicBezTo>
                  <a:cubicBezTo>
                    <a:pt x="199" y="1326"/>
                    <a:pt x="200" y="1326"/>
                    <a:pt x="201" y="1326"/>
                  </a:cubicBezTo>
                  <a:cubicBezTo>
                    <a:pt x="202" y="1326"/>
                    <a:pt x="203" y="1326"/>
                    <a:pt x="204" y="1325"/>
                  </a:cubicBezTo>
                  <a:cubicBezTo>
                    <a:pt x="204" y="1325"/>
                    <a:pt x="204" y="1326"/>
                    <a:pt x="205" y="1327"/>
                  </a:cubicBezTo>
                  <a:cubicBezTo>
                    <a:pt x="205" y="1327"/>
                    <a:pt x="206" y="1328"/>
                    <a:pt x="209" y="1330"/>
                  </a:cubicBezTo>
                  <a:cubicBezTo>
                    <a:pt x="208" y="1330"/>
                    <a:pt x="208" y="1330"/>
                    <a:pt x="208" y="1330"/>
                  </a:cubicBezTo>
                  <a:cubicBezTo>
                    <a:pt x="207" y="1329"/>
                    <a:pt x="207" y="1329"/>
                    <a:pt x="206" y="1329"/>
                  </a:cubicBezTo>
                  <a:cubicBezTo>
                    <a:pt x="205" y="1329"/>
                    <a:pt x="205" y="1329"/>
                    <a:pt x="204" y="1329"/>
                  </a:cubicBezTo>
                  <a:cubicBezTo>
                    <a:pt x="204" y="1328"/>
                    <a:pt x="203" y="1327"/>
                    <a:pt x="202" y="1327"/>
                  </a:cubicBezTo>
                  <a:cubicBezTo>
                    <a:pt x="201" y="1327"/>
                    <a:pt x="201" y="1327"/>
                    <a:pt x="200" y="1327"/>
                  </a:cubicBezTo>
                  <a:cubicBezTo>
                    <a:pt x="200" y="1327"/>
                    <a:pt x="199" y="1327"/>
                    <a:pt x="199" y="1327"/>
                  </a:cubicBezTo>
                  <a:cubicBezTo>
                    <a:pt x="198" y="1327"/>
                    <a:pt x="198" y="1327"/>
                    <a:pt x="198" y="1327"/>
                  </a:cubicBezTo>
                  <a:cubicBezTo>
                    <a:pt x="198" y="1327"/>
                    <a:pt x="198" y="1327"/>
                    <a:pt x="198" y="1327"/>
                  </a:cubicBezTo>
                  <a:cubicBezTo>
                    <a:pt x="197" y="1327"/>
                    <a:pt x="197" y="1327"/>
                    <a:pt x="196" y="1327"/>
                  </a:cubicBezTo>
                  <a:cubicBezTo>
                    <a:pt x="194" y="1327"/>
                    <a:pt x="193" y="1328"/>
                    <a:pt x="193" y="1329"/>
                  </a:cubicBezTo>
                  <a:cubicBezTo>
                    <a:pt x="192" y="1330"/>
                    <a:pt x="192" y="1332"/>
                    <a:pt x="193" y="1333"/>
                  </a:cubicBezTo>
                  <a:cubicBezTo>
                    <a:pt x="193" y="1334"/>
                    <a:pt x="194" y="1335"/>
                    <a:pt x="194" y="1335"/>
                  </a:cubicBezTo>
                  <a:cubicBezTo>
                    <a:pt x="194" y="1335"/>
                    <a:pt x="194" y="1335"/>
                    <a:pt x="194" y="1335"/>
                  </a:cubicBezTo>
                  <a:cubicBezTo>
                    <a:pt x="194" y="1337"/>
                    <a:pt x="194" y="1339"/>
                    <a:pt x="194" y="1341"/>
                  </a:cubicBezTo>
                  <a:cubicBezTo>
                    <a:pt x="195" y="1344"/>
                    <a:pt x="197" y="1344"/>
                    <a:pt x="198" y="1344"/>
                  </a:cubicBezTo>
                  <a:cubicBezTo>
                    <a:pt x="199" y="1344"/>
                    <a:pt x="199" y="1344"/>
                    <a:pt x="200" y="1344"/>
                  </a:cubicBezTo>
                  <a:cubicBezTo>
                    <a:pt x="200" y="1344"/>
                    <a:pt x="200" y="1344"/>
                    <a:pt x="200" y="1344"/>
                  </a:cubicBezTo>
                  <a:cubicBezTo>
                    <a:pt x="200" y="1344"/>
                    <a:pt x="201" y="1345"/>
                    <a:pt x="201" y="1345"/>
                  </a:cubicBezTo>
                  <a:cubicBezTo>
                    <a:pt x="201" y="1345"/>
                    <a:pt x="201" y="1345"/>
                    <a:pt x="201" y="1345"/>
                  </a:cubicBezTo>
                  <a:cubicBezTo>
                    <a:pt x="200" y="1346"/>
                    <a:pt x="199" y="1346"/>
                    <a:pt x="198" y="1348"/>
                  </a:cubicBezTo>
                  <a:cubicBezTo>
                    <a:pt x="198" y="1348"/>
                    <a:pt x="198" y="1349"/>
                    <a:pt x="198" y="1351"/>
                  </a:cubicBezTo>
                  <a:cubicBezTo>
                    <a:pt x="199" y="1351"/>
                    <a:pt x="199" y="1351"/>
                    <a:pt x="199" y="1352"/>
                  </a:cubicBezTo>
                  <a:cubicBezTo>
                    <a:pt x="199" y="1352"/>
                    <a:pt x="199" y="1352"/>
                    <a:pt x="199" y="1352"/>
                  </a:cubicBezTo>
                  <a:cubicBezTo>
                    <a:pt x="199" y="1354"/>
                    <a:pt x="199" y="1355"/>
                    <a:pt x="200" y="1356"/>
                  </a:cubicBezTo>
                  <a:cubicBezTo>
                    <a:pt x="201" y="1357"/>
                    <a:pt x="202" y="1358"/>
                    <a:pt x="203" y="1358"/>
                  </a:cubicBezTo>
                  <a:cubicBezTo>
                    <a:pt x="203" y="1359"/>
                    <a:pt x="203" y="1360"/>
                    <a:pt x="204" y="1360"/>
                  </a:cubicBezTo>
                  <a:cubicBezTo>
                    <a:pt x="204" y="1361"/>
                    <a:pt x="205" y="1361"/>
                    <a:pt x="206" y="1361"/>
                  </a:cubicBezTo>
                  <a:cubicBezTo>
                    <a:pt x="207" y="1361"/>
                    <a:pt x="207" y="1361"/>
                    <a:pt x="207" y="1361"/>
                  </a:cubicBezTo>
                  <a:cubicBezTo>
                    <a:pt x="208" y="1362"/>
                    <a:pt x="209" y="1363"/>
                    <a:pt x="210" y="1363"/>
                  </a:cubicBezTo>
                  <a:cubicBezTo>
                    <a:pt x="211" y="1363"/>
                    <a:pt x="212" y="1363"/>
                    <a:pt x="213" y="1362"/>
                  </a:cubicBezTo>
                  <a:cubicBezTo>
                    <a:pt x="215" y="1360"/>
                    <a:pt x="214" y="1357"/>
                    <a:pt x="213" y="1356"/>
                  </a:cubicBezTo>
                  <a:cubicBezTo>
                    <a:pt x="213" y="1356"/>
                    <a:pt x="213" y="1356"/>
                    <a:pt x="213" y="1356"/>
                  </a:cubicBezTo>
                  <a:cubicBezTo>
                    <a:pt x="213" y="1356"/>
                    <a:pt x="214" y="1355"/>
                    <a:pt x="214" y="1355"/>
                  </a:cubicBezTo>
                  <a:cubicBezTo>
                    <a:pt x="215" y="1353"/>
                    <a:pt x="215" y="1352"/>
                    <a:pt x="214" y="1350"/>
                  </a:cubicBezTo>
                  <a:cubicBezTo>
                    <a:pt x="214" y="1349"/>
                    <a:pt x="214" y="1349"/>
                    <a:pt x="214" y="1349"/>
                  </a:cubicBezTo>
                  <a:cubicBezTo>
                    <a:pt x="214" y="1347"/>
                    <a:pt x="214" y="1347"/>
                    <a:pt x="214" y="1347"/>
                  </a:cubicBezTo>
                  <a:cubicBezTo>
                    <a:pt x="212" y="1347"/>
                    <a:pt x="212" y="1347"/>
                    <a:pt x="212" y="1347"/>
                  </a:cubicBezTo>
                  <a:cubicBezTo>
                    <a:pt x="212" y="1347"/>
                    <a:pt x="211" y="1347"/>
                    <a:pt x="211" y="1347"/>
                  </a:cubicBezTo>
                  <a:cubicBezTo>
                    <a:pt x="211" y="1347"/>
                    <a:pt x="211" y="1347"/>
                    <a:pt x="211" y="1347"/>
                  </a:cubicBezTo>
                  <a:cubicBezTo>
                    <a:pt x="211" y="1346"/>
                    <a:pt x="211" y="1346"/>
                    <a:pt x="211" y="1345"/>
                  </a:cubicBezTo>
                  <a:cubicBezTo>
                    <a:pt x="211" y="1345"/>
                    <a:pt x="212" y="1345"/>
                    <a:pt x="212" y="1345"/>
                  </a:cubicBezTo>
                  <a:cubicBezTo>
                    <a:pt x="214" y="1344"/>
                    <a:pt x="214" y="1343"/>
                    <a:pt x="214" y="1342"/>
                  </a:cubicBezTo>
                  <a:cubicBezTo>
                    <a:pt x="214" y="1342"/>
                    <a:pt x="214" y="1342"/>
                    <a:pt x="215" y="1341"/>
                  </a:cubicBezTo>
                  <a:cubicBezTo>
                    <a:pt x="215" y="1341"/>
                    <a:pt x="216" y="1340"/>
                    <a:pt x="217" y="1339"/>
                  </a:cubicBezTo>
                  <a:cubicBezTo>
                    <a:pt x="218" y="1338"/>
                    <a:pt x="218" y="1336"/>
                    <a:pt x="217" y="1335"/>
                  </a:cubicBezTo>
                  <a:cubicBezTo>
                    <a:pt x="217" y="1334"/>
                    <a:pt x="216" y="1334"/>
                    <a:pt x="216" y="1333"/>
                  </a:cubicBezTo>
                  <a:cubicBezTo>
                    <a:pt x="216" y="1333"/>
                    <a:pt x="217" y="1333"/>
                    <a:pt x="218" y="1333"/>
                  </a:cubicBezTo>
                  <a:cubicBezTo>
                    <a:pt x="218" y="1334"/>
                    <a:pt x="218" y="1335"/>
                    <a:pt x="218" y="1336"/>
                  </a:cubicBezTo>
                  <a:cubicBezTo>
                    <a:pt x="218" y="1339"/>
                    <a:pt x="222" y="1340"/>
                    <a:pt x="224" y="1340"/>
                  </a:cubicBezTo>
                  <a:cubicBezTo>
                    <a:pt x="225" y="1341"/>
                    <a:pt x="225" y="1341"/>
                    <a:pt x="226" y="1342"/>
                  </a:cubicBezTo>
                  <a:cubicBezTo>
                    <a:pt x="226" y="1342"/>
                    <a:pt x="227" y="1343"/>
                    <a:pt x="228" y="1343"/>
                  </a:cubicBezTo>
                  <a:cubicBezTo>
                    <a:pt x="228" y="1343"/>
                    <a:pt x="228" y="1343"/>
                    <a:pt x="228" y="1343"/>
                  </a:cubicBezTo>
                  <a:cubicBezTo>
                    <a:pt x="227" y="1344"/>
                    <a:pt x="225" y="1344"/>
                    <a:pt x="224" y="1346"/>
                  </a:cubicBezTo>
                  <a:cubicBezTo>
                    <a:pt x="224" y="1346"/>
                    <a:pt x="223" y="1347"/>
                    <a:pt x="224" y="1348"/>
                  </a:cubicBezTo>
                  <a:cubicBezTo>
                    <a:pt x="224" y="1350"/>
                    <a:pt x="224" y="1350"/>
                    <a:pt x="224" y="1350"/>
                  </a:cubicBezTo>
                  <a:cubicBezTo>
                    <a:pt x="225" y="1350"/>
                    <a:pt x="225" y="1350"/>
                    <a:pt x="225" y="1350"/>
                  </a:cubicBezTo>
                  <a:cubicBezTo>
                    <a:pt x="226" y="1350"/>
                    <a:pt x="226" y="1351"/>
                    <a:pt x="226" y="1351"/>
                  </a:cubicBezTo>
                  <a:cubicBezTo>
                    <a:pt x="227" y="1351"/>
                    <a:pt x="227" y="1351"/>
                    <a:pt x="227" y="1351"/>
                  </a:cubicBezTo>
                  <a:cubicBezTo>
                    <a:pt x="228" y="1351"/>
                    <a:pt x="228" y="1352"/>
                    <a:pt x="229" y="1352"/>
                  </a:cubicBezTo>
                  <a:cubicBezTo>
                    <a:pt x="229" y="1352"/>
                    <a:pt x="229" y="1352"/>
                    <a:pt x="229" y="1352"/>
                  </a:cubicBezTo>
                  <a:cubicBezTo>
                    <a:pt x="229" y="1352"/>
                    <a:pt x="229" y="1352"/>
                    <a:pt x="229" y="1352"/>
                  </a:cubicBezTo>
                  <a:cubicBezTo>
                    <a:pt x="229" y="1352"/>
                    <a:pt x="229" y="1352"/>
                    <a:pt x="229" y="1352"/>
                  </a:cubicBezTo>
                  <a:cubicBezTo>
                    <a:pt x="228" y="1352"/>
                    <a:pt x="228" y="1352"/>
                    <a:pt x="228" y="1352"/>
                  </a:cubicBezTo>
                  <a:cubicBezTo>
                    <a:pt x="228" y="1352"/>
                    <a:pt x="228" y="1354"/>
                    <a:pt x="228" y="1354"/>
                  </a:cubicBezTo>
                  <a:cubicBezTo>
                    <a:pt x="228" y="1354"/>
                    <a:pt x="227" y="1354"/>
                    <a:pt x="227" y="1354"/>
                  </a:cubicBezTo>
                  <a:cubicBezTo>
                    <a:pt x="227" y="1354"/>
                    <a:pt x="227" y="1354"/>
                    <a:pt x="226" y="1353"/>
                  </a:cubicBezTo>
                  <a:cubicBezTo>
                    <a:pt x="226" y="1353"/>
                    <a:pt x="225" y="1352"/>
                    <a:pt x="223" y="1352"/>
                  </a:cubicBezTo>
                  <a:cubicBezTo>
                    <a:pt x="223" y="1352"/>
                    <a:pt x="223" y="1352"/>
                    <a:pt x="223" y="1352"/>
                  </a:cubicBezTo>
                  <a:cubicBezTo>
                    <a:pt x="223" y="1352"/>
                    <a:pt x="223" y="1352"/>
                    <a:pt x="223" y="1352"/>
                  </a:cubicBezTo>
                  <a:cubicBezTo>
                    <a:pt x="220" y="1353"/>
                    <a:pt x="219" y="1356"/>
                    <a:pt x="219" y="1357"/>
                  </a:cubicBezTo>
                  <a:cubicBezTo>
                    <a:pt x="218" y="1360"/>
                    <a:pt x="220" y="1362"/>
                    <a:pt x="221" y="1362"/>
                  </a:cubicBezTo>
                  <a:cubicBezTo>
                    <a:pt x="222" y="1363"/>
                    <a:pt x="222" y="1363"/>
                    <a:pt x="222" y="1364"/>
                  </a:cubicBezTo>
                  <a:cubicBezTo>
                    <a:pt x="222" y="1364"/>
                    <a:pt x="222" y="1364"/>
                    <a:pt x="222" y="1364"/>
                  </a:cubicBezTo>
                  <a:cubicBezTo>
                    <a:pt x="223" y="1365"/>
                    <a:pt x="223" y="1367"/>
                    <a:pt x="224" y="1367"/>
                  </a:cubicBezTo>
                  <a:cubicBezTo>
                    <a:pt x="224" y="1368"/>
                    <a:pt x="225" y="1369"/>
                    <a:pt x="225" y="1369"/>
                  </a:cubicBezTo>
                  <a:cubicBezTo>
                    <a:pt x="226" y="1369"/>
                    <a:pt x="226" y="1369"/>
                    <a:pt x="226" y="1369"/>
                  </a:cubicBezTo>
                  <a:cubicBezTo>
                    <a:pt x="226" y="1370"/>
                    <a:pt x="226" y="1371"/>
                    <a:pt x="227" y="1371"/>
                  </a:cubicBezTo>
                  <a:cubicBezTo>
                    <a:pt x="228" y="1372"/>
                    <a:pt x="229" y="1372"/>
                    <a:pt x="229" y="1372"/>
                  </a:cubicBezTo>
                  <a:cubicBezTo>
                    <a:pt x="229" y="1372"/>
                    <a:pt x="230" y="1372"/>
                    <a:pt x="230" y="1372"/>
                  </a:cubicBezTo>
                  <a:cubicBezTo>
                    <a:pt x="230" y="1373"/>
                    <a:pt x="230" y="1373"/>
                    <a:pt x="230" y="1373"/>
                  </a:cubicBezTo>
                  <a:cubicBezTo>
                    <a:pt x="231" y="1373"/>
                    <a:pt x="231" y="1374"/>
                    <a:pt x="231" y="1374"/>
                  </a:cubicBezTo>
                  <a:cubicBezTo>
                    <a:pt x="232" y="1375"/>
                    <a:pt x="233" y="1375"/>
                    <a:pt x="235" y="1376"/>
                  </a:cubicBezTo>
                  <a:cubicBezTo>
                    <a:pt x="235" y="1376"/>
                    <a:pt x="235" y="1376"/>
                    <a:pt x="234" y="1376"/>
                  </a:cubicBezTo>
                  <a:cubicBezTo>
                    <a:pt x="234" y="1376"/>
                    <a:pt x="234" y="1377"/>
                    <a:pt x="234" y="1377"/>
                  </a:cubicBezTo>
                  <a:cubicBezTo>
                    <a:pt x="233" y="1377"/>
                    <a:pt x="232" y="1377"/>
                    <a:pt x="232" y="1378"/>
                  </a:cubicBezTo>
                  <a:cubicBezTo>
                    <a:pt x="232" y="1378"/>
                    <a:pt x="231" y="1378"/>
                    <a:pt x="231" y="1379"/>
                  </a:cubicBezTo>
                  <a:cubicBezTo>
                    <a:pt x="231" y="1379"/>
                    <a:pt x="230" y="1379"/>
                    <a:pt x="230" y="1379"/>
                  </a:cubicBezTo>
                  <a:cubicBezTo>
                    <a:pt x="230" y="1378"/>
                    <a:pt x="230" y="1378"/>
                    <a:pt x="230" y="1378"/>
                  </a:cubicBezTo>
                  <a:cubicBezTo>
                    <a:pt x="229" y="1377"/>
                    <a:pt x="228" y="1376"/>
                    <a:pt x="227" y="1376"/>
                  </a:cubicBezTo>
                  <a:cubicBezTo>
                    <a:pt x="226" y="1376"/>
                    <a:pt x="226" y="1376"/>
                    <a:pt x="226" y="1376"/>
                  </a:cubicBezTo>
                  <a:cubicBezTo>
                    <a:pt x="226" y="1376"/>
                    <a:pt x="226" y="1376"/>
                    <a:pt x="226" y="1376"/>
                  </a:cubicBezTo>
                  <a:cubicBezTo>
                    <a:pt x="224" y="1376"/>
                    <a:pt x="223" y="1377"/>
                    <a:pt x="222" y="1380"/>
                  </a:cubicBezTo>
                  <a:cubicBezTo>
                    <a:pt x="222" y="1382"/>
                    <a:pt x="222" y="1384"/>
                    <a:pt x="223" y="1385"/>
                  </a:cubicBezTo>
                  <a:cubicBezTo>
                    <a:pt x="224" y="1386"/>
                    <a:pt x="225" y="1386"/>
                    <a:pt x="226" y="1386"/>
                  </a:cubicBezTo>
                  <a:cubicBezTo>
                    <a:pt x="226" y="1387"/>
                    <a:pt x="226" y="1387"/>
                    <a:pt x="226" y="1387"/>
                  </a:cubicBezTo>
                  <a:cubicBezTo>
                    <a:pt x="226" y="1387"/>
                    <a:pt x="226" y="1387"/>
                    <a:pt x="226" y="1387"/>
                  </a:cubicBezTo>
                  <a:cubicBezTo>
                    <a:pt x="225" y="1387"/>
                    <a:pt x="224" y="1388"/>
                    <a:pt x="224" y="1389"/>
                  </a:cubicBezTo>
                  <a:cubicBezTo>
                    <a:pt x="223" y="1390"/>
                    <a:pt x="223" y="1391"/>
                    <a:pt x="224" y="1393"/>
                  </a:cubicBezTo>
                  <a:cubicBezTo>
                    <a:pt x="224" y="1395"/>
                    <a:pt x="224" y="1395"/>
                    <a:pt x="224" y="1395"/>
                  </a:cubicBezTo>
                  <a:cubicBezTo>
                    <a:pt x="225" y="1395"/>
                    <a:pt x="225" y="1395"/>
                    <a:pt x="225" y="1395"/>
                  </a:cubicBezTo>
                  <a:cubicBezTo>
                    <a:pt x="226" y="1396"/>
                    <a:pt x="226" y="1397"/>
                    <a:pt x="228" y="1397"/>
                  </a:cubicBezTo>
                  <a:cubicBezTo>
                    <a:pt x="228" y="1397"/>
                    <a:pt x="228" y="1397"/>
                    <a:pt x="228" y="1397"/>
                  </a:cubicBezTo>
                  <a:cubicBezTo>
                    <a:pt x="229" y="1397"/>
                    <a:pt x="229" y="1397"/>
                    <a:pt x="229" y="1397"/>
                  </a:cubicBezTo>
                  <a:cubicBezTo>
                    <a:pt x="231" y="1397"/>
                    <a:pt x="232" y="1395"/>
                    <a:pt x="232" y="1394"/>
                  </a:cubicBezTo>
                  <a:cubicBezTo>
                    <a:pt x="232" y="1394"/>
                    <a:pt x="233" y="1394"/>
                    <a:pt x="233" y="1394"/>
                  </a:cubicBezTo>
                  <a:cubicBezTo>
                    <a:pt x="234" y="1393"/>
                    <a:pt x="234" y="1393"/>
                    <a:pt x="234" y="1392"/>
                  </a:cubicBezTo>
                  <a:cubicBezTo>
                    <a:pt x="234" y="1391"/>
                    <a:pt x="234" y="1391"/>
                    <a:pt x="234" y="1390"/>
                  </a:cubicBezTo>
                  <a:cubicBezTo>
                    <a:pt x="235" y="1390"/>
                    <a:pt x="235" y="1390"/>
                    <a:pt x="235" y="1390"/>
                  </a:cubicBezTo>
                  <a:cubicBezTo>
                    <a:pt x="236" y="1390"/>
                    <a:pt x="237" y="1390"/>
                    <a:pt x="237" y="1390"/>
                  </a:cubicBezTo>
                  <a:cubicBezTo>
                    <a:pt x="238" y="1389"/>
                    <a:pt x="239" y="1388"/>
                    <a:pt x="239" y="1388"/>
                  </a:cubicBezTo>
                  <a:cubicBezTo>
                    <a:pt x="240" y="1388"/>
                    <a:pt x="240" y="1388"/>
                    <a:pt x="240" y="1388"/>
                  </a:cubicBezTo>
                  <a:cubicBezTo>
                    <a:pt x="240" y="1388"/>
                    <a:pt x="240" y="1388"/>
                    <a:pt x="240" y="1388"/>
                  </a:cubicBezTo>
                  <a:cubicBezTo>
                    <a:pt x="242" y="1387"/>
                    <a:pt x="242" y="1387"/>
                    <a:pt x="242" y="1387"/>
                  </a:cubicBezTo>
                  <a:cubicBezTo>
                    <a:pt x="242" y="1386"/>
                    <a:pt x="242" y="1386"/>
                    <a:pt x="242" y="1386"/>
                  </a:cubicBezTo>
                  <a:cubicBezTo>
                    <a:pt x="243" y="1387"/>
                    <a:pt x="244" y="1388"/>
                    <a:pt x="245" y="1388"/>
                  </a:cubicBezTo>
                  <a:cubicBezTo>
                    <a:pt x="245" y="1387"/>
                    <a:pt x="245" y="1387"/>
                    <a:pt x="245" y="1387"/>
                  </a:cubicBezTo>
                  <a:cubicBezTo>
                    <a:pt x="247" y="1387"/>
                    <a:pt x="248" y="1387"/>
                    <a:pt x="248" y="1386"/>
                  </a:cubicBezTo>
                  <a:cubicBezTo>
                    <a:pt x="249" y="1384"/>
                    <a:pt x="249" y="1382"/>
                    <a:pt x="248" y="1380"/>
                  </a:cubicBezTo>
                  <a:cubicBezTo>
                    <a:pt x="248" y="1379"/>
                    <a:pt x="248" y="1379"/>
                    <a:pt x="248" y="1378"/>
                  </a:cubicBezTo>
                  <a:cubicBezTo>
                    <a:pt x="248" y="1376"/>
                    <a:pt x="248" y="1376"/>
                    <a:pt x="248" y="1376"/>
                  </a:cubicBezTo>
                  <a:cubicBezTo>
                    <a:pt x="246" y="1376"/>
                    <a:pt x="246" y="1376"/>
                    <a:pt x="246" y="1376"/>
                  </a:cubicBezTo>
                  <a:cubicBezTo>
                    <a:pt x="245" y="1376"/>
                    <a:pt x="245" y="1376"/>
                    <a:pt x="245" y="1375"/>
                  </a:cubicBezTo>
                  <a:cubicBezTo>
                    <a:pt x="244" y="1375"/>
                    <a:pt x="243" y="1373"/>
                    <a:pt x="241" y="1373"/>
                  </a:cubicBezTo>
                  <a:cubicBezTo>
                    <a:pt x="241" y="1373"/>
                    <a:pt x="241" y="1372"/>
                    <a:pt x="241" y="1372"/>
                  </a:cubicBezTo>
                  <a:cubicBezTo>
                    <a:pt x="241" y="1372"/>
                    <a:pt x="242" y="1371"/>
                    <a:pt x="242" y="1371"/>
                  </a:cubicBezTo>
                  <a:cubicBezTo>
                    <a:pt x="242" y="1371"/>
                    <a:pt x="242" y="1371"/>
                    <a:pt x="242" y="1371"/>
                  </a:cubicBezTo>
                  <a:cubicBezTo>
                    <a:pt x="243" y="1371"/>
                    <a:pt x="244" y="1371"/>
                    <a:pt x="245" y="1369"/>
                  </a:cubicBezTo>
                  <a:cubicBezTo>
                    <a:pt x="246" y="1368"/>
                    <a:pt x="246" y="1367"/>
                    <a:pt x="246" y="1366"/>
                  </a:cubicBezTo>
                  <a:cubicBezTo>
                    <a:pt x="246" y="1365"/>
                    <a:pt x="246" y="1365"/>
                    <a:pt x="246" y="1365"/>
                  </a:cubicBezTo>
                  <a:cubicBezTo>
                    <a:pt x="246" y="1366"/>
                    <a:pt x="246" y="1367"/>
                    <a:pt x="247" y="1368"/>
                  </a:cubicBezTo>
                  <a:cubicBezTo>
                    <a:pt x="248" y="1369"/>
                    <a:pt x="249" y="1370"/>
                    <a:pt x="250" y="1370"/>
                  </a:cubicBezTo>
                  <a:cubicBezTo>
                    <a:pt x="250" y="1370"/>
                    <a:pt x="250" y="1370"/>
                    <a:pt x="250" y="1370"/>
                  </a:cubicBezTo>
                  <a:cubicBezTo>
                    <a:pt x="250" y="1371"/>
                    <a:pt x="250" y="1371"/>
                    <a:pt x="250" y="1371"/>
                  </a:cubicBezTo>
                  <a:cubicBezTo>
                    <a:pt x="250" y="1371"/>
                    <a:pt x="251" y="1372"/>
                    <a:pt x="252" y="1373"/>
                  </a:cubicBezTo>
                  <a:cubicBezTo>
                    <a:pt x="252" y="1374"/>
                    <a:pt x="253" y="1374"/>
                    <a:pt x="253" y="1374"/>
                  </a:cubicBezTo>
                  <a:cubicBezTo>
                    <a:pt x="253" y="1375"/>
                    <a:pt x="253" y="1375"/>
                    <a:pt x="254" y="1376"/>
                  </a:cubicBezTo>
                  <a:cubicBezTo>
                    <a:pt x="256" y="1378"/>
                    <a:pt x="258" y="1378"/>
                    <a:pt x="261" y="1378"/>
                  </a:cubicBezTo>
                  <a:cubicBezTo>
                    <a:pt x="261" y="1378"/>
                    <a:pt x="261" y="1378"/>
                    <a:pt x="261" y="1378"/>
                  </a:cubicBezTo>
                  <a:cubicBezTo>
                    <a:pt x="262" y="1378"/>
                    <a:pt x="263" y="1379"/>
                    <a:pt x="264" y="1379"/>
                  </a:cubicBezTo>
                  <a:cubicBezTo>
                    <a:pt x="268" y="1379"/>
                    <a:pt x="269" y="1379"/>
                    <a:pt x="270" y="1381"/>
                  </a:cubicBezTo>
                  <a:cubicBezTo>
                    <a:pt x="270" y="1381"/>
                    <a:pt x="269" y="1381"/>
                    <a:pt x="269" y="1381"/>
                  </a:cubicBezTo>
                  <a:cubicBezTo>
                    <a:pt x="269" y="1381"/>
                    <a:pt x="268" y="1381"/>
                    <a:pt x="268" y="1381"/>
                  </a:cubicBezTo>
                  <a:cubicBezTo>
                    <a:pt x="267" y="1381"/>
                    <a:pt x="265" y="1381"/>
                    <a:pt x="264" y="1383"/>
                  </a:cubicBezTo>
                  <a:cubicBezTo>
                    <a:pt x="263" y="1384"/>
                    <a:pt x="264" y="1386"/>
                    <a:pt x="265" y="1387"/>
                  </a:cubicBezTo>
                  <a:cubicBezTo>
                    <a:pt x="265" y="1387"/>
                    <a:pt x="265" y="1387"/>
                    <a:pt x="265" y="1387"/>
                  </a:cubicBezTo>
                  <a:cubicBezTo>
                    <a:pt x="265" y="1387"/>
                    <a:pt x="265" y="1387"/>
                    <a:pt x="265" y="1387"/>
                  </a:cubicBezTo>
                  <a:cubicBezTo>
                    <a:pt x="262" y="1388"/>
                    <a:pt x="262" y="1390"/>
                    <a:pt x="261" y="1391"/>
                  </a:cubicBezTo>
                  <a:cubicBezTo>
                    <a:pt x="261" y="1391"/>
                    <a:pt x="261" y="1392"/>
                    <a:pt x="261" y="1392"/>
                  </a:cubicBezTo>
                  <a:cubicBezTo>
                    <a:pt x="260" y="1393"/>
                    <a:pt x="260" y="1393"/>
                    <a:pt x="260" y="1395"/>
                  </a:cubicBezTo>
                  <a:cubicBezTo>
                    <a:pt x="259" y="1394"/>
                    <a:pt x="258" y="1394"/>
                    <a:pt x="257" y="1394"/>
                  </a:cubicBezTo>
                  <a:cubicBezTo>
                    <a:pt x="256" y="1394"/>
                    <a:pt x="255" y="1394"/>
                    <a:pt x="254" y="1395"/>
                  </a:cubicBezTo>
                  <a:cubicBezTo>
                    <a:pt x="254" y="1396"/>
                    <a:pt x="254" y="1396"/>
                    <a:pt x="254" y="1398"/>
                  </a:cubicBezTo>
                  <a:cubicBezTo>
                    <a:pt x="254" y="1400"/>
                    <a:pt x="256" y="1401"/>
                    <a:pt x="258" y="1403"/>
                  </a:cubicBezTo>
                  <a:cubicBezTo>
                    <a:pt x="260" y="1405"/>
                    <a:pt x="262" y="1405"/>
                    <a:pt x="263" y="1406"/>
                  </a:cubicBezTo>
                  <a:cubicBezTo>
                    <a:pt x="264" y="1406"/>
                    <a:pt x="264" y="1406"/>
                    <a:pt x="265" y="1406"/>
                  </a:cubicBezTo>
                  <a:cubicBezTo>
                    <a:pt x="266" y="1407"/>
                    <a:pt x="267" y="1408"/>
                    <a:pt x="269" y="1409"/>
                  </a:cubicBezTo>
                  <a:cubicBezTo>
                    <a:pt x="267" y="1409"/>
                    <a:pt x="266" y="1409"/>
                    <a:pt x="266" y="1410"/>
                  </a:cubicBezTo>
                  <a:cubicBezTo>
                    <a:pt x="265" y="1411"/>
                    <a:pt x="265" y="1412"/>
                    <a:pt x="265" y="1413"/>
                  </a:cubicBezTo>
                  <a:cubicBezTo>
                    <a:pt x="265" y="1414"/>
                    <a:pt x="266" y="1416"/>
                    <a:pt x="267" y="1416"/>
                  </a:cubicBezTo>
                  <a:cubicBezTo>
                    <a:pt x="267" y="1416"/>
                    <a:pt x="268" y="1417"/>
                    <a:pt x="269" y="1417"/>
                  </a:cubicBezTo>
                  <a:cubicBezTo>
                    <a:pt x="269" y="1417"/>
                    <a:pt x="270" y="1417"/>
                    <a:pt x="270" y="1417"/>
                  </a:cubicBezTo>
                  <a:cubicBezTo>
                    <a:pt x="270" y="1417"/>
                    <a:pt x="271" y="1417"/>
                    <a:pt x="271" y="1416"/>
                  </a:cubicBezTo>
                  <a:cubicBezTo>
                    <a:pt x="271" y="1416"/>
                    <a:pt x="271" y="1416"/>
                    <a:pt x="271" y="1417"/>
                  </a:cubicBezTo>
                  <a:cubicBezTo>
                    <a:pt x="271" y="1418"/>
                    <a:pt x="272" y="1419"/>
                    <a:pt x="273" y="1420"/>
                  </a:cubicBezTo>
                  <a:cubicBezTo>
                    <a:pt x="274" y="1421"/>
                    <a:pt x="275" y="1423"/>
                    <a:pt x="277" y="1424"/>
                  </a:cubicBezTo>
                  <a:cubicBezTo>
                    <a:pt x="278" y="1424"/>
                    <a:pt x="278" y="1424"/>
                    <a:pt x="278" y="1425"/>
                  </a:cubicBezTo>
                  <a:cubicBezTo>
                    <a:pt x="278" y="1426"/>
                    <a:pt x="278" y="1426"/>
                    <a:pt x="278" y="1426"/>
                  </a:cubicBezTo>
                  <a:cubicBezTo>
                    <a:pt x="279" y="1426"/>
                    <a:pt x="279" y="1426"/>
                    <a:pt x="279" y="1426"/>
                  </a:cubicBezTo>
                  <a:cubicBezTo>
                    <a:pt x="280" y="1426"/>
                    <a:pt x="280" y="1426"/>
                    <a:pt x="280" y="1426"/>
                  </a:cubicBezTo>
                  <a:cubicBezTo>
                    <a:pt x="281" y="1426"/>
                    <a:pt x="282" y="1426"/>
                    <a:pt x="283" y="1425"/>
                  </a:cubicBezTo>
                  <a:cubicBezTo>
                    <a:pt x="283" y="1425"/>
                    <a:pt x="283" y="1425"/>
                    <a:pt x="284" y="1425"/>
                  </a:cubicBezTo>
                  <a:cubicBezTo>
                    <a:pt x="284" y="1425"/>
                    <a:pt x="285" y="1425"/>
                    <a:pt x="286" y="1424"/>
                  </a:cubicBezTo>
                  <a:cubicBezTo>
                    <a:pt x="288" y="1423"/>
                    <a:pt x="288" y="1421"/>
                    <a:pt x="287" y="1420"/>
                  </a:cubicBezTo>
                  <a:cubicBezTo>
                    <a:pt x="287" y="1419"/>
                    <a:pt x="285" y="1418"/>
                    <a:pt x="284" y="1417"/>
                  </a:cubicBezTo>
                  <a:cubicBezTo>
                    <a:pt x="284" y="1416"/>
                    <a:pt x="284" y="1416"/>
                    <a:pt x="284" y="1416"/>
                  </a:cubicBezTo>
                  <a:cubicBezTo>
                    <a:pt x="284" y="1416"/>
                    <a:pt x="285" y="1417"/>
                    <a:pt x="285" y="1417"/>
                  </a:cubicBezTo>
                  <a:cubicBezTo>
                    <a:pt x="285" y="1417"/>
                    <a:pt x="286" y="1417"/>
                    <a:pt x="286" y="1417"/>
                  </a:cubicBezTo>
                  <a:cubicBezTo>
                    <a:pt x="287" y="1417"/>
                    <a:pt x="287" y="1417"/>
                    <a:pt x="287" y="1418"/>
                  </a:cubicBezTo>
                  <a:cubicBezTo>
                    <a:pt x="288" y="1418"/>
                    <a:pt x="289" y="1420"/>
                    <a:pt x="291" y="1420"/>
                  </a:cubicBezTo>
                  <a:cubicBezTo>
                    <a:pt x="291" y="1420"/>
                    <a:pt x="292" y="1419"/>
                    <a:pt x="292" y="1419"/>
                  </a:cubicBezTo>
                  <a:cubicBezTo>
                    <a:pt x="292" y="1419"/>
                    <a:pt x="293" y="1419"/>
                    <a:pt x="293" y="1419"/>
                  </a:cubicBezTo>
                  <a:cubicBezTo>
                    <a:pt x="293" y="1420"/>
                    <a:pt x="293" y="1421"/>
                    <a:pt x="293" y="1421"/>
                  </a:cubicBezTo>
                  <a:cubicBezTo>
                    <a:pt x="291" y="1422"/>
                    <a:pt x="290" y="1423"/>
                    <a:pt x="289" y="1424"/>
                  </a:cubicBezTo>
                  <a:cubicBezTo>
                    <a:pt x="289" y="1424"/>
                    <a:pt x="289" y="1424"/>
                    <a:pt x="289" y="1424"/>
                  </a:cubicBezTo>
                  <a:cubicBezTo>
                    <a:pt x="289" y="1425"/>
                    <a:pt x="288" y="1425"/>
                    <a:pt x="288" y="1426"/>
                  </a:cubicBezTo>
                  <a:cubicBezTo>
                    <a:pt x="287" y="1426"/>
                    <a:pt x="286" y="1427"/>
                    <a:pt x="285" y="1428"/>
                  </a:cubicBezTo>
                  <a:cubicBezTo>
                    <a:pt x="284" y="1429"/>
                    <a:pt x="283" y="1430"/>
                    <a:pt x="284" y="1433"/>
                  </a:cubicBezTo>
                  <a:cubicBezTo>
                    <a:pt x="284" y="1434"/>
                    <a:pt x="285" y="1435"/>
                    <a:pt x="286" y="1435"/>
                  </a:cubicBezTo>
                  <a:cubicBezTo>
                    <a:pt x="286" y="1435"/>
                    <a:pt x="286" y="1435"/>
                    <a:pt x="287" y="1435"/>
                  </a:cubicBezTo>
                  <a:cubicBezTo>
                    <a:pt x="287" y="1435"/>
                    <a:pt x="287" y="1435"/>
                    <a:pt x="288" y="1435"/>
                  </a:cubicBezTo>
                  <a:cubicBezTo>
                    <a:pt x="288" y="1436"/>
                    <a:pt x="289" y="1437"/>
                    <a:pt x="290" y="1437"/>
                  </a:cubicBezTo>
                  <a:cubicBezTo>
                    <a:pt x="290" y="1437"/>
                    <a:pt x="290" y="1437"/>
                    <a:pt x="291" y="1438"/>
                  </a:cubicBezTo>
                  <a:cubicBezTo>
                    <a:pt x="291" y="1439"/>
                    <a:pt x="291" y="1439"/>
                    <a:pt x="291" y="1439"/>
                  </a:cubicBezTo>
                  <a:cubicBezTo>
                    <a:pt x="293" y="1439"/>
                    <a:pt x="293" y="1439"/>
                    <a:pt x="293" y="1439"/>
                  </a:cubicBezTo>
                  <a:cubicBezTo>
                    <a:pt x="293" y="1439"/>
                    <a:pt x="293" y="1439"/>
                    <a:pt x="293" y="1439"/>
                  </a:cubicBezTo>
                  <a:cubicBezTo>
                    <a:pt x="294" y="1439"/>
                    <a:pt x="294" y="1439"/>
                    <a:pt x="294" y="1439"/>
                  </a:cubicBezTo>
                  <a:cubicBezTo>
                    <a:pt x="295" y="1439"/>
                    <a:pt x="295" y="1439"/>
                    <a:pt x="295" y="1439"/>
                  </a:cubicBezTo>
                  <a:cubicBezTo>
                    <a:pt x="295" y="1439"/>
                    <a:pt x="295" y="1439"/>
                    <a:pt x="295" y="1439"/>
                  </a:cubicBezTo>
                  <a:cubicBezTo>
                    <a:pt x="297" y="1439"/>
                    <a:pt x="298" y="1438"/>
                    <a:pt x="299" y="1438"/>
                  </a:cubicBezTo>
                  <a:cubicBezTo>
                    <a:pt x="299" y="1438"/>
                    <a:pt x="299" y="1438"/>
                    <a:pt x="299" y="1437"/>
                  </a:cubicBezTo>
                  <a:cubicBezTo>
                    <a:pt x="299" y="1438"/>
                    <a:pt x="299" y="1439"/>
                    <a:pt x="301" y="1440"/>
                  </a:cubicBezTo>
                  <a:cubicBezTo>
                    <a:pt x="301" y="1440"/>
                    <a:pt x="302" y="1440"/>
                    <a:pt x="303" y="1440"/>
                  </a:cubicBezTo>
                  <a:cubicBezTo>
                    <a:pt x="306" y="1440"/>
                    <a:pt x="307" y="1438"/>
                    <a:pt x="308" y="1436"/>
                  </a:cubicBezTo>
                  <a:cubicBezTo>
                    <a:pt x="308" y="1435"/>
                    <a:pt x="309" y="1434"/>
                    <a:pt x="308" y="1434"/>
                  </a:cubicBezTo>
                  <a:cubicBezTo>
                    <a:pt x="309" y="1434"/>
                    <a:pt x="309" y="1435"/>
                    <a:pt x="310" y="1435"/>
                  </a:cubicBezTo>
                  <a:cubicBezTo>
                    <a:pt x="310" y="1436"/>
                    <a:pt x="311" y="1436"/>
                    <a:pt x="311" y="1436"/>
                  </a:cubicBezTo>
                  <a:cubicBezTo>
                    <a:pt x="310" y="1436"/>
                    <a:pt x="310" y="1436"/>
                    <a:pt x="309" y="1437"/>
                  </a:cubicBezTo>
                  <a:cubicBezTo>
                    <a:pt x="307" y="1438"/>
                    <a:pt x="306" y="1439"/>
                    <a:pt x="307" y="1440"/>
                  </a:cubicBezTo>
                  <a:cubicBezTo>
                    <a:pt x="307" y="1443"/>
                    <a:pt x="310" y="1443"/>
                    <a:pt x="311" y="1443"/>
                  </a:cubicBezTo>
                  <a:cubicBezTo>
                    <a:pt x="311" y="1443"/>
                    <a:pt x="312" y="1444"/>
                    <a:pt x="313" y="1445"/>
                  </a:cubicBezTo>
                  <a:cubicBezTo>
                    <a:pt x="313" y="1445"/>
                    <a:pt x="313" y="1445"/>
                    <a:pt x="313" y="1445"/>
                  </a:cubicBezTo>
                  <a:cubicBezTo>
                    <a:pt x="313" y="1445"/>
                    <a:pt x="312" y="1445"/>
                    <a:pt x="312" y="1445"/>
                  </a:cubicBezTo>
                  <a:cubicBezTo>
                    <a:pt x="312" y="1447"/>
                    <a:pt x="312" y="1448"/>
                    <a:pt x="312" y="1449"/>
                  </a:cubicBezTo>
                  <a:cubicBezTo>
                    <a:pt x="314" y="1451"/>
                    <a:pt x="316" y="1451"/>
                    <a:pt x="319" y="1451"/>
                  </a:cubicBezTo>
                  <a:cubicBezTo>
                    <a:pt x="319" y="1451"/>
                    <a:pt x="320" y="1451"/>
                    <a:pt x="320" y="1451"/>
                  </a:cubicBezTo>
                  <a:cubicBezTo>
                    <a:pt x="320" y="1451"/>
                    <a:pt x="320" y="1452"/>
                    <a:pt x="320" y="1452"/>
                  </a:cubicBezTo>
                  <a:cubicBezTo>
                    <a:pt x="320" y="1452"/>
                    <a:pt x="320" y="1452"/>
                    <a:pt x="319" y="1452"/>
                  </a:cubicBezTo>
                  <a:cubicBezTo>
                    <a:pt x="318" y="1452"/>
                    <a:pt x="316" y="1452"/>
                    <a:pt x="315" y="1451"/>
                  </a:cubicBezTo>
                  <a:cubicBezTo>
                    <a:pt x="313" y="1450"/>
                    <a:pt x="313" y="1450"/>
                    <a:pt x="313" y="1450"/>
                  </a:cubicBezTo>
                  <a:cubicBezTo>
                    <a:pt x="308" y="1448"/>
                    <a:pt x="303" y="1445"/>
                    <a:pt x="298" y="1445"/>
                  </a:cubicBezTo>
                  <a:cubicBezTo>
                    <a:pt x="297" y="1445"/>
                    <a:pt x="297" y="1445"/>
                    <a:pt x="297" y="1445"/>
                  </a:cubicBezTo>
                  <a:cubicBezTo>
                    <a:pt x="293" y="1444"/>
                    <a:pt x="290" y="1444"/>
                    <a:pt x="286" y="1443"/>
                  </a:cubicBezTo>
                  <a:cubicBezTo>
                    <a:pt x="285" y="1443"/>
                    <a:pt x="284" y="1443"/>
                    <a:pt x="284" y="1443"/>
                  </a:cubicBezTo>
                  <a:cubicBezTo>
                    <a:pt x="284" y="1442"/>
                    <a:pt x="284" y="1442"/>
                    <a:pt x="284" y="1442"/>
                  </a:cubicBezTo>
                  <a:cubicBezTo>
                    <a:pt x="284" y="1442"/>
                    <a:pt x="283" y="1441"/>
                    <a:pt x="283" y="1440"/>
                  </a:cubicBezTo>
                  <a:cubicBezTo>
                    <a:pt x="281" y="1439"/>
                    <a:pt x="279" y="1438"/>
                    <a:pt x="278" y="1437"/>
                  </a:cubicBezTo>
                  <a:cubicBezTo>
                    <a:pt x="277" y="1437"/>
                    <a:pt x="277" y="1437"/>
                    <a:pt x="276" y="1437"/>
                  </a:cubicBezTo>
                  <a:cubicBezTo>
                    <a:pt x="276" y="1436"/>
                    <a:pt x="275" y="1436"/>
                    <a:pt x="275" y="1436"/>
                  </a:cubicBezTo>
                  <a:cubicBezTo>
                    <a:pt x="273" y="1435"/>
                    <a:pt x="271" y="1434"/>
                    <a:pt x="269" y="1434"/>
                  </a:cubicBezTo>
                  <a:cubicBezTo>
                    <a:pt x="269" y="1434"/>
                    <a:pt x="266" y="1434"/>
                    <a:pt x="266" y="1434"/>
                  </a:cubicBezTo>
                  <a:cubicBezTo>
                    <a:pt x="267" y="1437"/>
                    <a:pt x="267" y="1437"/>
                    <a:pt x="267" y="1437"/>
                  </a:cubicBezTo>
                  <a:cubicBezTo>
                    <a:pt x="270" y="1443"/>
                    <a:pt x="275" y="1446"/>
                    <a:pt x="279" y="1449"/>
                  </a:cubicBezTo>
                  <a:cubicBezTo>
                    <a:pt x="280" y="1450"/>
                    <a:pt x="282" y="1451"/>
                    <a:pt x="283" y="1451"/>
                  </a:cubicBezTo>
                  <a:cubicBezTo>
                    <a:pt x="286" y="1454"/>
                    <a:pt x="290" y="1455"/>
                    <a:pt x="293" y="1455"/>
                  </a:cubicBezTo>
                  <a:cubicBezTo>
                    <a:pt x="294" y="1455"/>
                    <a:pt x="295" y="1454"/>
                    <a:pt x="296" y="1454"/>
                  </a:cubicBezTo>
                  <a:cubicBezTo>
                    <a:pt x="297" y="1454"/>
                    <a:pt x="298" y="1454"/>
                    <a:pt x="299" y="1454"/>
                  </a:cubicBezTo>
                  <a:cubicBezTo>
                    <a:pt x="300" y="1454"/>
                    <a:pt x="302" y="1454"/>
                    <a:pt x="303" y="1455"/>
                  </a:cubicBezTo>
                  <a:cubicBezTo>
                    <a:pt x="305" y="1455"/>
                    <a:pt x="307" y="1457"/>
                    <a:pt x="310" y="1458"/>
                  </a:cubicBezTo>
                  <a:cubicBezTo>
                    <a:pt x="313" y="1461"/>
                    <a:pt x="317" y="1463"/>
                    <a:pt x="321" y="1463"/>
                  </a:cubicBezTo>
                  <a:cubicBezTo>
                    <a:pt x="321" y="1463"/>
                    <a:pt x="321" y="1463"/>
                    <a:pt x="321" y="1463"/>
                  </a:cubicBezTo>
                  <a:cubicBezTo>
                    <a:pt x="322" y="1463"/>
                    <a:pt x="322" y="1463"/>
                    <a:pt x="323" y="1463"/>
                  </a:cubicBezTo>
                  <a:cubicBezTo>
                    <a:pt x="325" y="1463"/>
                    <a:pt x="327" y="1462"/>
                    <a:pt x="328" y="1460"/>
                  </a:cubicBezTo>
                  <a:cubicBezTo>
                    <a:pt x="329" y="1461"/>
                    <a:pt x="330" y="1462"/>
                    <a:pt x="331" y="1462"/>
                  </a:cubicBezTo>
                  <a:cubicBezTo>
                    <a:pt x="332" y="1463"/>
                    <a:pt x="333" y="1463"/>
                    <a:pt x="334" y="1465"/>
                  </a:cubicBezTo>
                  <a:cubicBezTo>
                    <a:pt x="334" y="1465"/>
                    <a:pt x="334" y="1465"/>
                    <a:pt x="334" y="1465"/>
                  </a:cubicBezTo>
                  <a:cubicBezTo>
                    <a:pt x="334" y="1465"/>
                    <a:pt x="334" y="1466"/>
                    <a:pt x="334" y="1466"/>
                  </a:cubicBezTo>
                  <a:cubicBezTo>
                    <a:pt x="334" y="1466"/>
                    <a:pt x="334" y="1467"/>
                    <a:pt x="334" y="1467"/>
                  </a:cubicBezTo>
                  <a:cubicBezTo>
                    <a:pt x="334" y="1467"/>
                    <a:pt x="334" y="1467"/>
                    <a:pt x="333" y="1467"/>
                  </a:cubicBezTo>
                  <a:cubicBezTo>
                    <a:pt x="333" y="1468"/>
                    <a:pt x="332" y="1469"/>
                    <a:pt x="332" y="1469"/>
                  </a:cubicBezTo>
                  <a:cubicBezTo>
                    <a:pt x="331" y="1470"/>
                    <a:pt x="330" y="1473"/>
                    <a:pt x="332" y="1475"/>
                  </a:cubicBezTo>
                  <a:cubicBezTo>
                    <a:pt x="332" y="1476"/>
                    <a:pt x="332" y="1476"/>
                    <a:pt x="333" y="1476"/>
                  </a:cubicBezTo>
                  <a:cubicBezTo>
                    <a:pt x="333" y="1476"/>
                    <a:pt x="333" y="1477"/>
                    <a:pt x="333" y="1477"/>
                  </a:cubicBezTo>
                  <a:cubicBezTo>
                    <a:pt x="334" y="1478"/>
                    <a:pt x="334" y="1479"/>
                    <a:pt x="334" y="1480"/>
                  </a:cubicBezTo>
                  <a:cubicBezTo>
                    <a:pt x="334" y="1481"/>
                    <a:pt x="335" y="1482"/>
                    <a:pt x="335" y="1483"/>
                  </a:cubicBezTo>
                  <a:cubicBezTo>
                    <a:pt x="335" y="1484"/>
                    <a:pt x="336" y="1485"/>
                    <a:pt x="337" y="1486"/>
                  </a:cubicBezTo>
                  <a:cubicBezTo>
                    <a:pt x="337" y="1486"/>
                    <a:pt x="337" y="1487"/>
                    <a:pt x="337" y="1487"/>
                  </a:cubicBezTo>
                  <a:cubicBezTo>
                    <a:pt x="338" y="1488"/>
                    <a:pt x="338" y="1489"/>
                    <a:pt x="339" y="1490"/>
                  </a:cubicBezTo>
                  <a:cubicBezTo>
                    <a:pt x="339" y="1491"/>
                    <a:pt x="341" y="1492"/>
                    <a:pt x="343" y="1492"/>
                  </a:cubicBezTo>
                  <a:cubicBezTo>
                    <a:pt x="345" y="1492"/>
                    <a:pt x="347" y="1491"/>
                    <a:pt x="348" y="1489"/>
                  </a:cubicBezTo>
                  <a:cubicBezTo>
                    <a:pt x="349" y="1487"/>
                    <a:pt x="348" y="1485"/>
                    <a:pt x="347" y="1484"/>
                  </a:cubicBezTo>
                  <a:cubicBezTo>
                    <a:pt x="348" y="1484"/>
                    <a:pt x="348" y="1484"/>
                    <a:pt x="348" y="1484"/>
                  </a:cubicBezTo>
                  <a:cubicBezTo>
                    <a:pt x="349" y="1484"/>
                    <a:pt x="349" y="1484"/>
                    <a:pt x="349" y="1484"/>
                  </a:cubicBezTo>
                  <a:cubicBezTo>
                    <a:pt x="350" y="1484"/>
                    <a:pt x="351" y="1484"/>
                    <a:pt x="352" y="1485"/>
                  </a:cubicBezTo>
                  <a:cubicBezTo>
                    <a:pt x="352" y="1486"/>
                    <a:pt x="351" y="1488"/>
                    <a:pt x="352" y="1490"/>
                  </a:cubicBezTo>
                  <a:cubicBezTo>
                    <a:pt x="353" y="1492"/>
                    <a:pt x="353" y="1492"/>
                    <a:pt x="353" y="1492"/>
                  </a:cubicBezTo>
                  <a:cubicBezTo>
                    <a:pt x="354" y="1491"/>
                    <a:pt x="354" y="1491"/>
                    <a:pt x="354" y="1491"/>
                  </a:cubicBezTo>
                  <a:cubicBezTo>
                    <a:pt x="354" y="1491"/>
                    <a:pt x="355" y="1491"/>
                    <a:pt x="355" y="1492"/>
                  </a:cubicBezTo>
                  <a:cubicBezTo>
                    <a:pt x="355" y="1492"/>
                    <a:pt x="356" y="1492"/>
                    <a:pt x="356" y="1492"/>
                  </a:cubicBezTo>
                  <a:cubicBezTo>
                    <a:pt x="357" y="1493"/>
                    <a:pt x="358" y="1493"/>
                    <a:pt x="359" y="1493"/>
                  </a:cubicBezTo>
                  <a:cubicBezTo>
                    <a:pt x="360" y="1493"/>
                    <a:pt x="360" y="1493"/>
                    <a:pt x="360" y="1493"/>
                  </a:cubicBezTo>
                  <a:cubicBezTo>
                    <a:pt x="363" y="1493"/>
                    <a:pt x="365" y="1492"/>
                    <a:pt x="367" y="1490"/>
                  </a:cubicBezTo>
                  <a:cubicBezTo>
                    <a:pt x="366" y="1492"/>
                    <a:pt x="366" y="1494"/>
                    <a:pt x="367" y="1496"/>
                  </a:cubicBezTo>
                  <a:cubicBezTo>
                    <a:pt x="367" y="1497"/>
                    <a:pt x="367" y="1497"/>
                    <a:pt x="367" y="1498"/>
                  </a:cubicBezTo>
                  <a:cubicBezTo>
                    <a:pt x="367" y="1500"/>
                    <a:pt x="367" y="1503"/>
                    <a:pt x="369" y="1505"/>
                  </a:cubicBezTo>
                  <a:cubicBezTo>
                    <a:pt x="370" y="1506"/>
                    <a:pt x="372" y="1506"/>
                    <a:pt x="373" y="1506"/>
                  </a:cubicBezTo>
                  <a:cubicBezTo>
                    <a:pt x="376" y="1506"/>
                    <a:pt x="378" y="1505"/>
                    <a:pt x="379" y="1502"/>
                  </a:cubicBezTo>
                  <a:cubicBezTo>
                    <a:pt x="379" y="1500"/>
                    <a:pt x="378" y="1499"/>
                    <a:pt x="378" y="1498"/>
                  </a:cubicBezTo>
                  <a:cubicBezTo>
                    <a:pt x="377" y="1496"/>
                    <a:pt x="377" y="1496"/>
                    <a:pt x="377" y="1496"/>
                  </a:cubicBezTo>
                  <a:cubicBezTo>
                    <a:pt x="377" y="1495"/>
                    <a:pt x="378" y="1495"/>
                    <a:pt x="378" y="1495"/>
                  </a:cubicBezTo>
                  <a:cubicBezTo>
                    <a:pt x="378" y="1495"/>
                    <a:pt x="379" y="1496"/>
                    <a:pt x="379" y="1498"/>
                  </a:cubicBezTo>
                  <a:cubicBezTo>
                    <a:pt x="380" y="1499"/>
                    <a:pt x="380" y="1499"/>
                    <a:pt x="380" y="1499"/>
                  </a:cubicBezTo>
                  <a:cubicBezTo>
                    <a:pt x="381" y="1499"/>
                    <a:pt x="381" y="1499"/>
                    <a:pt x="381" y="1499"/>
                  </a:cubicBezTo>
                  <a:cubicBezTo>
                    <a:pt x="381" y="1499"/>
                    <a:pt x="382" y="1499"/>
                    <a:pt x="382" y="1499"/>
                  </a:cubicBezTo>
                  <a:cubicBezTo>
                    <a:pt x="383" y="1499"/>
                    <a:pt x="383" y="1499"/>
                    <a:pt x="384" y="1499"/>
                  </a:cubicBezTo>
                  <a:cubicBezTo>
                    <a:pt x="384" y="1499"/>
                    <a:pt x="385" y="1499"/>
                    <a:pt x="385" y="1499"/>
                  </a:cubicBezTo>
                  <a:cubicBezTo>
                    <a:pt x="385" y="1499"/>
                    <a:pt x="385" y="1499"/>
                    <a:pt x="385" y="1499"/>
                  </a:cubicBezTo>
                  <a:cubicBezTo>
                    <a:pt x="385" y="1500"/>
                    <a:pt x="385" y="1501"/>
                    <a:pt x="386" y="1502"/>
                  </a:cubicBezTo>
                  <a:cubicBezTo>
                    <a:pt x="387" y="1502"/>
                    <a:pt x="388" y="1503"/>
                    <a:pt x="389" y="1503"/>
                  </a:cubicBezTo>
                  <a:cubicBezTo>
                    <a:pt x="392" y="1503"/>
                    <a:pt x="393" y="1501"/>
                    <a:pt x="393" y="1500"/>
                  </a:cubicBezTo>
                  <a:cubicBezTo>
                    <a:pt x="393" y="1500"/>
                    <a:pt x="394" y="1499"/>
                    <a:pt x="394" y="1499"/>
                  </a:cubicBezTo>
                  <a:cubicBezTo>
                    <a:pt x="394" y="1500"/>
                    <a:pt x="395" y="1500"/>
                    <a:pt x="397" y="1500"/>
                  </a:cubicBezTo>
                  <a:cubicBezTo>
                    <a:pt x="398" y="1500"/>
                    <a:pt x="399" y="1500"/>
                    <a:pt x="399" y="1499"/>
                  </a:cubicBezTo>
                  <a:cubicBezTo>
                    <a:pt x="400" y="1499"/>
                    <a:pt x="400" y="1499"/>
                    <a:pt x="400" y="1499"/>
                  </a:cubicBezTo>
                  <a:cubicBezTo>
                    <a:pt x="400" y="1499"/>
                    <a:pt x="402" y="1499"/>
                    <a:pt x="402" y="1499"/>
                  </a:cubicBezTo>
                  <a:cubicBezTo>
                    <a:pt x="402" y="1499"/>
                    <a:pt x="402" y="1499"/>
                    <a:pt x="402" y="1499"/>
                  </a:cubicBezTo>
                  <a:cubicBezTo>
                    <a:pt x="402" y="1499"/>
                    <a:pt x="403" y="1499"/>
                    <a:pt x="403" y="1499"/>
                  </a:cubicBezTo>
                  <a:cubicBezTo>
                    <a:pt x="404" y="1501"/>
                    <a:pt x="404" y="1501"/>
                    <a:pt x="404" y="1501"/>
                  </a:cubicBezTo>
                  <a:cubicBezTo>
                    <a:pt x="406" y="1500"/>
                    <a:pt x="406" y="1500"/>
                    <a:pt x="406" y="1500"/>
                  </a:cubicBezTo>
                  <a:cubicBezTo>
                    <a:pt x="406" y="1500"/>
                    <a:pt x="406" y="1501"/>
                    <a:pt x="406" y="1501"/>
                  </a:cubicBezTo>
                  <a:cubicBezTo>
                    <a:pt x="406" y="1501"/>
                    <a:pt x="406" y="1502"/>
                    <a:pt x="406" y="1502"/>
                  </a:cubicBezTo>
                  <a:cubicBezTo>
                    <a:pt x="406" y="1502"/>
                    <a:pt x="406" y="1502"/>
                    <a:pt x="405" y="1502"/>
                  </a:cubicBezTo>
                  <a:cubicBezTo>
                    <a:pt x="405" y="1502"/>
                    <a:pt x="405" y="1502"/>
                    <a:pt x="404" y="1502"/>
                  </a:cubicBezTo>
                  <a:cubicBezTo>
                    <a:pt x="403" y="1502"/>
                    <a:pt x="402" y="1501"/>
                    <a:pt x="401" y="1501"/>
                  </a:cubicBezTo>
                  <a:cubicBezTo>
                    <a:pt x="401" y="1501"/>
                    <a:pt x="401" y="1501"/>
                    <a:pt x="401" y="1501"/>
                  </a:cubicBezTo>
                  <a:cubicBezTo>
                    <a:pt x="399" y="1502"/>
                    <a:pt x="399" y="1502"/>
                    <a:pt x="398" y="1503"/>
                  </a:cubicBezTo>
                  <a:cubicBezTo>
                    <a:pt x="398" y="1503"/>
                    <a:pt x="398" y="1503"/>
                    <a:pt x="398" y="1503"/>
                  </a:cubicBezTo>
                  <a:cubicBezTo>
                    <a:pt x="397" y="1503"/>
                    <a:pt x="397" y="1503"/>
                    <a:pt x="397" y="1503"/>
                  </a:cubicBezTo>
                  <a:cubicBezTo>
                    <a:pt x="396" y="1503"/>
                    <a:pt x="396" y="1503"/>
                    <a:pt x="396" y="1503"/>
                  </a:cubicBezTo>
                  <a:cubicBezTo>
                    <a:pt x="394" y="1503"/>
                    <a:pt x="394" y="1503"/>
                    <a:pt x="394" y="1503"/>
                  </a:cubicBezTo>
                  <a:cubicBezTo>
                    <a:pt x="393" y="1503"/>
                    <a:pt x="391" y="1503"/>
                    <a:pt x="390" y="1504"/>
                  </a:cubicBezTo>
                  <a:cubicBezTo>
                    <a:pt x="389" y="1505"/>
                    <a:pt x="388" y="1507"/>
                    <a:pt x="388" y="1508"/>
                  </a:cubicBezTo>
                  <a:cubicBezTo>
                    <a:pt x="388" y="1508"/>
                    <a:pt x="388" y="1509"/>
                    <a:pt x="388" y="1509"/>
                  </a:cubicBezTo>
                  <a:cubicBezTo>
                    <a:pt x="388" y="1510"/>
                    <a:pt x="388" y="1511"/>
                    <a:pt x="390" y="1515"/>
                  </a:cubicBezTo>
                  <a:cubicBezTo>
                    <a:pt x="393" y="1520"/>
                    <a:pt x="395" y="1521"/>
                    <a:pt x="395" y="1521"/>
                  </a:cubicBezTo>
                  <a:cubicBezTo>
                    <a:pt x="396" y="1521"/>
                    <a:pt x="396" y="1521"/>
                    <a:pt x="396" y="1521"/>
                  </a:cubicBezTo>
                  <a:cubicBezTo>
                    <a:pt x="397" y="1521"/>
                    <a:pt x="398" y="1520"/>
                    <a:pt x="399" y="1520"/>
                  </a:cubicBezTo>
                  <a:cubicBezTo>
                    <a:pt x="400" y="1519"/>
                    <a:pt x="401" y="1517"/>
                    <a:pt x="401" y="1515"/>
                  </a:cubicBezTo>
                  <a:cubicBezTo>
                    <a:pt x="401" y="1515"/>
                    <a:pt x="401" y="1515"/>
                    <a:pt x="401" y="1515"/>
                  </a:cubicBezTo>
                  <a:cubicBezTo>
                    <a:pt x="402" y="1516"/>
                    <a:pt x="403" y="1516"/>
                    <a:pt x="404" y="1517"/>
                  </a:cubicBezTo>
                  <a:cubicBezTo>
                    <a:pt x="404" y="1517"/>
                    <a:pt x="405" y="1517"/>
                    <a:pt x="406" y="1517"/>
                  </a:cubicBezTo>
                  <a:cubicBezTo>
                    <a:pt x="408" y="1517"/>
                    <a:pt x="409" y="1516"/>
                    <a:pt x="411" y="1515"/>
                  </a:cubicBezTo>
                  <a:cubicBezTo>
                    <a:pt x="412" y="1514"/>
                    <a:pt x="412" y="1514"/>
                    <a:pt x="413" y="1514"/>
                  </a:cubicBezTo>
                  <a:cubicBezTo>
                    <a:pt x="413" y="1514"/>
                    <a:pt x="413" y="1514"/>
                    <a:pt x="414" y="1514"/>
                  </a:cubicBezTo>
                  <a:cubicBezTo>
                    <a:pt x="415" y="1515"/>
                    <a:pt x="415" y="1516"/>
                    <a:pt x="417" y="1516"/>
                  </a:cubicBezTo>
                  <a:cubicBezTo>
                    <a:pt x="417" y="1516"/>
                    <a:pt x="418" y="1516"/>
                    <a:pt x="418" y="1516"/>
                  </a:cubicBezTo>
                  <a:cubicBezTo>
                    <a:pt x="419" y="1516"/>
                    <a:pt x="419" y="1516"/>
                    <a:pt x="420" y="1516"/>
                  </a:cubicBezTo>
                  <a:cubicBezTo>
                    <a:pt x="420" y="1516"/>
                    <a:pt x="420" y="1516"/>
                    <a:pt x="421" y="1516"/>
                  </a:cubicBezTo>
                  <a:cubicBezTo>
                    <a:pt x="422" y="1516"/>
                    <a:pt x="422" y="1516"/>
                    <a:pt x="422" y="1517"/>
                  </a:cubicBezTo>
                  <a:cubicBezTo>
                    <a:pt x="423" y="1517"/>
                    <a:pt x="423" y="1517"/>
                    <a:pt x="424" y="1518"/>
                  </a:cubicBezTo>
                  <a:cubicBezTo>
                    <a:pt x="422" y="1517"/>
                    <a:pt x="420" y="1517"/>
                    <a:pt x="418" y="1517"/>
                  </a:cubicBezTo>
                  <a:cubicBezTo>
                    <a:pt x="417" y="1517"/>
                    <a:pt x="417" y="1517"/>
                    <a:pt x="417" y="1517"/>
                  </a:cubicBezTo>
                  <a:cubicBezTo>
                    <a:pt x="414" y="1517"/>
                    <a:pt x="411" y="1519"/>
                    <a:pt x="411" y="1522"/>
                  </a:cubicBezTo>
                  <a:cubicBezTo>
                    <a:pt x="411" y="1522"/>
                    <a:pt x="411" y="1525"/>
                    <a:pt x="415" y="1525"/>
                  </a:cubicBezTo>
                  <a:cubicBezTo>
                    <a:pt x="415" y="1526"/>
                    <a:pt x="415" y="1526"/>
                    <a:pt x="416" y="1526"/>
                  </a:cubicBezTo>
                  <a:cubicBezTo>
                    <a:pt x="416" y="1527"/>
                    <a:pt x="417" y="1527"/>
                    <a:pt x="418" y="1527"/>
                  </a:cubicBezTo>
                  <a:cubicBezTo>
                    <a:pt x="420" y="1527"/>
                    <a:pt x="421" y="1527"/>
                    <a:pt x="421" y="1526"/>
                  </a:cubicBezTo>
                  <a:cubicBezTo>
                    <a:pt x="422" y="1526"/>
                    <a:pt x="422" y="1526"/>
                    <a:pt x="422" y="1525"/>
                  </a:cubicBezTo>
                  <a:cubicBezTo>
                    <a:pt x="423" y="1526"/>
                    <a:pt x="423" y="1526"/>
                    <a:pt x="424" y="1527"/>
                  </a:cubicBezTo>
                  <a:cubicBezTo>
                    <a:pt x="425" y="1527"/>
                    <a:pt x="426" y="1528"/>
                    <a:pt x="427" y="1529"/>
                  </a:cubicBezTo>
                  <a:cubicBezTo>
                    <a:pt x="428" y="1529"/>
                    <a:pt x="429" y="1530"/>
                    <a:pt x="430" y="1530"/>
                  </a:cubicBezTo>
                  <a:cubicBezTo>
                    <a:pt x="432" y="1531"/>
                    <a:pt x="434" y="1533"/>
                    <a:pt x="435" y="1533"/>
                  </a:cubicBezTo>
                  <a:cubicBezTo>
                    <a:pt x="436" y="1533"/>
                    <a:pt x="437" y="1533"/>
                    <a:pt x="437" y="1533"/>
                  </a:cubicBezTo>
                  <a:cubicBezTo>
                    <a:pt x="438" y="1533"/>
                    <a:pt x="439" y="1533"/>
                    <a:pt x="440" y="1533"/>
                  </a:cubicBezTo>
                  <a:cubicBezTo>
                    <a:pt x="441" y="1533"/>
                    <a:pt x="442" y="1533"/>
                    <a:pt x="443" y="1533"/>
                  </a:cubicBezTo>
                  <a:cubicBezTo>
                    <a:pt x="443" y="1533"/>
                    <a:pt x="444" y="1533"/>
                    <a:pt x="444" y="1533"/>
                  </a:cubicBezTo>
                  <a:cubicBezTo>
                    <a:pt x="444" y="1533"/>
                    <a:pt x="444" y="1534"/>
                    <a:pt x="444" y="1534"/>
                  </a:cubicBezTo>
                  <a:cubicBezTo>
                    <a:pt x="444" y="1535"/>
                    <a:pt x="444" y="1536"/>
                    <a:pt x="445" y="1537"/>
                  </a:cubicBezTo>
                  <a:cubicBezTo>
                    <a:pt x="446" y="1538"/>
                    <a:pt x="447" y="1539"/>
                    <a:pt x="448" y="1539"/>
                  </a:cubicBezTo>
                  <a:cubicBezTo>
                    <a:pt x="450" y="1539"/>
                    <a:pt x="451" y="1538"/>
                    <a:pt x="452" y="1537"/>
                  </a:cubicBezTo>
                  <a:cubicBezTo>
                    <a:pt x="454" y="1536"/>
                    <a:pt x="455" y="1535"/>
                    <a:pt x="456" y="1533"/>
                  </a:cubicBezTo>
                  <a:cubicBezTo>
                    <a:pt x="457" y="1531"/>
                    <a:pt x="457" y="1529"/>
                    <a:pt x="455" y="1527"/>
                  </a:cubicBezTo>
                  <a:cubicBezTo>
                    <a:pt x="454" y="1526"/>
                    <a:pt x="452" y="1525"/>
                    <a:pt x="451" y="1525"/>
                  </a:cubicBezTo>
                  <a:cubicBezTo>
                    <a:pt x="451" y="1525"/>
                    <a:pt x="451" y="1525"/>
                    <a:pt x="451" y="1525"/>
                  </a:cubicBezTo>
                  <a:cubicBezTo>
                    <a:pt x="452" y="1525"/>
                    <a:pt x="452" y="1524"/>
                    <a:pt x="453" y="1524"/>
                  </a:cubicBezTo>
                  <a:cubicBezTo>
                    <a:pt x="453" y="1523"/>
                    <a:pt x="454" y="1523"/>
                    <a:pt x="454" y="1523"/>
                  </a:cubicBezTo>
                  <a:cubicBezTo>
                    <a:pt x="454" y="1523"/>
                    <a:pt x="454" y="1523"/>
                    <a:pt x="454" y="1523"/>
                  </a:cubicBezTo>
                  <a:cubicBezTo>
                    <a:pt x="455" y="1523"/>
                    <a:pt x="455" y="1523"/>
                    <a:pt x="455" y="1523"/>
                  </a:cubicBezTo>
                  <a:cubicBezTo>
                    <a:pt x="455" y="1523"/>
                    <a:pt x="456" y="1523"/>
                    <a:pt x="456" y="1523"/>
                  </a:cubicBezTo>
                  <a:cubicBezTo>
                    <a:pt x="457" y="1523"/>
                    <a:pt x="457" y="1523"/>
                    <a:pt x="458" y="1523"/>
                  </a:cubicBezTo>
                  <a:cubicBezTo>
                    <a:pt x="458" y="1523"/>
                    <a:pt x="459" y="1523"/>
                    <a:pt x="459" y="1523"/>
                  </a:cubicBezTo>
                  <a:cubicBezTo>
                    <a:pt x="460" y="1522"/>
                    <a:pt x="461" y="1522"/>
                    <a:pt x="462" y="1522"/>
                  </a:cubicBezTo>
                  <a:cubicBezTo>
                    <a:pt x="462" y="1521"/>
                    <a:pt x="463" y="1521"/>
                    <a:pt x="463" y="1521"/>
                  </a:cubicBezTo>
                  <a:cubicBezTo>
                    <a:pt x="463" y="1521"/>
                    <a:pt x="463" y="1521"/>
                    <a:pt x="464" y="1522"/>
                  </a:cubicBezTo>
                  <a:cubicBezTo>
                    <a:pt x="464" y="1522"/>
                    <a:pt x="464" y="1522"/>
                    <a:pt x="463" y="1523"/>
                  </a:cubicBezTo>
                  <a:cubicBezTo>
                    <a:pt x="463" y="1525"/>
                    <a:pt x="462" y="1526"/>
                    <a:pt x="463" y="1528"/>
                  </a:cubicBezTo>
                  <a:cubicBezTo>
                    <a:pt x="463" y="1531"/>
                    <a:pt x="463" y="1531"/>
                    <a:pt x="463" y="1531"/>
                  </a:cubicBezTo>
                  <a:cubicBezTo>
                    <a:pt x="464" y="1531"/>
                    <a:pt x="464" y="1531"/>
                    <a:pt x="464" y="1531"/>
                  </a:cubicBezTo>
                  <a:cubicBezTo>
                    <a:pt x="464" y="1531"/>
                    <a:pt x="464" y="1531"/>
                    <a:pt x="464" y="1531"/>
                  </a:cubicBezTo>
                  <a:cubicBezTo>
                    <a:pt x="464" y="1532"/>
                    <a:pt x="464" y="1533"/>
                    <a:pt x="464" y="1534"/>
                  </a:cubicBezTo>
                  <a:cubicBezTo>
                    <a:pt x="464" y="1536"/>
                    <a:pt x="464" y="1536"/>
                    <a:pt x="464" y="1536"/>
                  </a:cubicBezTo>
                  <a:cubicBezTo>
                    <a:pt x="466" y="1536"/>
                    <a:pt x="466" y="1536"/>
                    <a:pt x="466" y="1536"/>
                  </a:cubicBezTo>
                  <a:cubicBezTo>
                    <a:pt x="468" y="1536"/>
                    <a:pt x="469" y="1537"/>
                    <a:pt x="471" y="1539"/>
                  </a:cubicBezTo>
                  <a:cubicBezTo>
                    <a:pt x="471" y="1539"/>
                    <a:pt x="472" y="1540"/>
                    <a:pt x="473" y="1540"/>
                  </a:cubicBezTo>
                  <a:cubicBezTo>
                    <a:pt x="475" y="1542"/>
                    <a:pt x="477" y="1543"/>
                    <a:pt x="479" y="1543"/>
                  </a:cubicBezTo>
                  <a:cubicBezTo>
                    <a:pt x="480" y="1543"/>
                    <a:pt x="481" y="1544"/>
                    <a:pt x="482" y="1544"/>
                  </a:cubicBezTo>
                  <a:cubicBezTo>
                    <a:pt x="482" y="1545"/>
                    <a:pt x="483" y="1545"/>
                    <a:pt x="484" y="1546"/>
                  </a:cubicBezTo>
                  <a:cubicBezTo>
                    <a:pt x="485" y="1547"/>
                    <a:pt x="487" y="1548"/>
                    <a:pt x="490" y="1549"/>
                  </a:cubicBezTo>
                  <a:cubicBezTo>
                    <a:pt x="490" y="1549"/>
                    <a:pt x="490" y="1549"/>
                    <a:pt x="491" y="1549"/>
                  </a:cubicBezTo>
                  <a:cubicBezTo>
                    <a:pt x="494" y="1549"/>
                    <a:pt x="495" y="1546"/>
                    <a:pt x="496" y="1546"/>
                  </a:cubicBezTo>
                  <a:cubicBezTo>
                    <a:pt x="496" y="1544"/>
                    <a:pt x="495" y="1541"/>
                    <a:pt x="492" y="1540"/>
                  </a:cubicBezTo>
                  <a:cubicBezTo>
                    <a:pt x="492" y="1539"/>
                    <a:pt x="491" y="1539"/>
                    <a:pt x="490" y="1539"/>
                  </a:cubicBezTo>
                  <a:cubicBezTo>
                    <a:pt x="488" y="1538"/>
                    <a:pt x="487" y="1537"/>
                    <a:pt x="487" y="1536"/>
                  </a:cubicBezTo>
                  <a:cubicBezTo>
                    <a:pt x="488" y="1536"/>
                    <a:pt x="489" y="1537"/>
                    <a:pt x="490" y="1538"/>
                  </a:cubicBezTo>
                  <a:cubicBezTo>
                    <a:pt x="491" y="1538"/>
                    <a:pt x="491" y="1539"/>
                    <a:pt x="492" y="1540"/>
                  </a:cubicBezTo>
                  <a:cubicBezTo>
                    <a:pt x="494" y="1540"/>
                    <a:pt x="495" y="1541"/>
                    <a:pt x="496" y="1541"/>
                  </a:cubicBezTo>
                  <a:cubicBezTo>
                    <a:pt x="497" y="1541"/>
                    <a:pt x="497" y="1541"/>
                    <a:pt x="498" y="1541"/>
                  </a:cubicBezTo>
                  <a:cubicBezTo>
                    <a:pt x="497" y="1541"/>
                    <a:pt x="497" y="1541"/>
                    <a:pt x="497" y="1542"/>
                  </a:cubicBezTo>
                  <a:cubicBezTo>
                    <a:pt x="498" y="1543"/>
                    <a:pt x="498" y="1544"/>
                    <a:pt x="500" y="1544"/>
                  </a:cubicBezTo>
                  <a:cubicBezTo>
                    <a:pt x="500" y="1544"/>
                    <a:pt x="501" y="1545"/>
                    <a:pt x="501" y="1545"/>
                  </a:cubicBezTo>
                  <a:cubicBezTo>
                    <a:pt x="501" y="1545"/>
                    <a:pt x="501" y="1545"/>
                    <a:pt x="501" y="1545"/>
                  </a:cubicBezTo>
                  <a:cubicBezTo>
                    <a:pt x="501" y="1545"/>
                    <a:pt x="501" y="1546"/>
                    <a:pt x="501" y="1547"/>
                  </a:cubicBezTo>
                  <a:cubicBezTo>
                    <a:pt x="501" y="1548"/>
                    <a:pt x="501" y="1548"/>
                    <a:pt x="501" y="1548"/>
                  </a:cubicBezTo>
                  <a:cubicBezTo>
                    <a:pt x="503" y="1549"/>
                    <a:pt x="503" y="1549"/>
                    <a:pt x="503" y="1549"/>
                  </a:cubicBezTo>
                  <a:cubicBezTo>
                    <a:pt x="504" y="1549"/>
                    <a:pt x="504" y="1549"/>
                    <a:pt x="505" y="1549"/>
                  </a:cubicBezTo>
                  <a:cubicBezTo>
                    <a:pt x="506" y="1549"/>
                    <a:pt x="507" y="1549"/>
                    <a:pt x="508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10" y="1548"/>
                    <a:pt x="511" y="1547"/>
                  </a:cubicBezTo>
                  <a:cubicBezTo>
                    <a:pt x="511" y="1547"/>
                    <a:pt x="512" y="1547"/>
                    <a:pt x="512" y="1547"/>
                  </a:cubicBezTo>
                  <a:cubicBezTo>
                    <a:pt x="512" y="1547"/>
                    <a:pt x="513" y="1547"/>
                    <a:pt x="513" y="1547"/>
                  </a:cubicBezTo>
                  <a:cubicBezTo>
                    <a:pt x="513" y="1547"/>
                    <a:pt x="513" y="1548"/>
                    <a:pt x="514" y="1548"/>
                  </a:cubicBezTo>
                  <a:cubicBezTo>
                    <a:pt x="515" y="1548"/>
                    <a:pt x="516" y="1548"/>
                    <a:pt x="517" y="1548"/>
                  </a:cubicBezTo>
                  <a:cubicBezTo>
                    <a:pt x="518" y="1548"/>
                    <a:pt x="518" y="1548"/>
                    <a:pt x="518" y="1548"/>
                  </a:cubicBezTo>
                  <a:cubicBezTo>
                    <a:pt x="518" y="1548"/>
                    <a:pt x="518" y="1548"/>
                    <a:pt x="519" y="1548"/>
                  </a:cubicBezTo>
                  <a:cubicBezTo>
                    <a:pt x="520" y="1549"/>
                    <a:pt x="523" y="1550"/>
                    <a:pt x="524" y="1551"/>
                  </a:cubicBezTo>
                  <a:cubicBezTo>
                    <a:pt x="524" y="1551"/>
                    <a:pt x="524" y="1551"/>
                    <a:pt x="524" y="1552"/>
                  </a:cubicBezTo>
                  <a:cubicBezTo>
                    <a:pt x="525" y="1552"/>
                    <a:pt x="525" y="1554"/>
                    <a:pt x="526" y="1554"/>
                  </a:cubicBezTo>
                  <a:cubicBezTo>
                    <a:pt x="527" y="1555"/>
                    <a:pt x="528" y="1555"/>
                    <a:pt x="529" y="1555"/>
                  </a:cubicBezTo>
                  <a:cubicBezTo>
                    <a:pt x="529" y="1555"/>
                    <a:pt x="530" y="1555"/>
                    <a:pt x="530" y="1555"/>
                  </a:cubicBezTo>
                  <a:cubicBezTo>
                    <a:pt x="530" y="1556"/>
                    <a:pt x="530" y="1556"/>
                    <a:pt x="530" y="1556"/>
                  </a:cubicBezTo>
                  <a:cubicBezTo>
                    <a:pt x="532" y="1557"/>
                    <a:pt x="532" y="1557"/>
                    <a:pt x="532" y="1557"/>
                  </a:cubicBezTo>
                  <a:cubicBezTo>
                    <a:pt x="533" y="1557"/>
                    <a:pt x="533" y="1557"/>
                    <a:pt x="534" y="1557"/>
                  </a:cubicBezTo>
                  <a:cubicBezTo>
                    <a:pt x="536" y="1557"/>
                    <a:pt x="538" y="1555"/>
                    <a:pt x="538" y="1552"/>
                  </a:cubicBezTo>
                  <a:cubicBezTo>
                    <a:pt x="538" y="1551"/>
                    <a:pt x="537" y="1550"/>
                    <a:pt x="536" y="1549"/>
                  </a:cubicBezTo>
                  <a:cubicBezTo>
                    <a:pt x="536" y="1548"/>
                    <a:pt x="535" y="1547"/>
                    <a:pt x="535" y="1547"/>
                  </a:cubicBezTo>
                  <a:cubicBezTo>
                    <a:pt x="534" y="1546"/>
                    <a:pt x="533" y="1545"/>
                    <a:pt x="531" y="1544"/>
                  </a:cubicBezTo>
                  <a:cubicBezTo>
                    <a:pt x="531" y="1544"/>
                    <a:pt x="531" y="1544"/>
                    <a:pt x="531" y="1544"/>
                  </a:cubicBezTo>
                  <a:cubicBezTo>
                    <a:pt x="530" y="1543"/>
                    <a:pt x="530" y="1542"/>
                    <a:pt x="528" y="1541"/>
                  </a:cubicBezTo>
                  <a:cubicBezTo>
                    <a:pt x="528" y="1539"/>
                    <a:pt x="528" y="1539"/>
                    <a:pt x="528" y="1539"/>
                  </a:cubicBezTo>
                  <a:cubicBezTo>
                    <a:pt x="525" y="1539"/>
                    <a:pt x="525" y="1539"/>
                    <a:pt x="525" y="1539"/>
                  </a:cubicBezTo>
                  <a:cubicBezTo>
                    <a:pt x="524" y="1539"/>
                    <a:pt x="524" y="1538"/>
                    <a:pt x="522" y="1538"/>
                  </a:cubicBezTo>
                  <a:cubicBezTo>
                    <a:pt x="522" y="1537"/>
                    <a:pt x="521" y="1537"/>
                    <a:pt x="521" y="1537"/>
                  </a:cubicBezTo>
                  <a:cubicBezTo>
                    <a:pt x="521" y="1537"/>
                    <a:pt x="522" y="1537"/>
                    <a:pt x="523" y="1537"/>
                  </a:cubicBezTo>
                  <a:cubicBezTo>
                    <a:pt x="523" y="1537"/>
                    <a:pt x="524" y="1537"/>
                    <a:pt x="524" y="1537"/>
                  </a:cubicBezTo>
                  <a:cubicBezTo>
                    <a:pt x="525" y="1537"/>
                    <a:pt x="525" y="1537"/>
                    <a:pt x="526" y="1537"/>
                  </a:cubicBezTo>
                  <a:cubicBezTo>
                    <a:pt x="527" y="1537"/>
                    <a:pt x="527" y="1537"/>
                    <a:pt x="528" y="1537"/>
                  </a:cubicBezTo>
                  <a:cubicBezTo>
                    <a:pt x="528" y="1537"/>
                    <a:pt x="528" y="1537"/>
                    <a:pt x="529" y="1537"/>
                  </a:cubicBezTo>
                  <a:cubicBezTo>
                    <a:pt x="529" y="1537"/>
                    <a:pt x="530" y="1537"/>
                    <a:pt x="530" y="1538"/>
                  </a:cubicBezTo>
                  <a:cubicBezTo>
                    <a:pt x="531" y="1538"/>
                    <a:pt x="532" y="1539"/>
                    <a:pt x="533" y="1539"/>
                  </a:cubicBezTo>
                  <a:cubicBezTo>
                    <a:pt x="534" y="1539"/>
                    <a:pt x="534" y="1539"/>
                    <a:pt x="534" y="1539"/>
                  </a:cubicBezTo>
                  <a:cubicBezTo>
                    <a:pt x="537" y="1538"/>
                    <a:pt x="538" y="1537"/>
                    <a:pt x="540" y="1536"/>
                  </a:cubicBezTo>
                  <a:cubicBezTo>
                    <a:pt x="540" y="1536"/>
                    <a:pt x="541" y="1535"/>
                    <a:pt x="541" y="1535"/>
                  </a:cubicBezTo>
                  <a:cubicBezTo>
                    <a:pt x="542" y="1535"/>
                    <a:pt x="542" y="1536"/>
                    <a:pt x="542" y="1536"/>
                  </a:cubicBezTo>
                  <a:cubicBezTo>
                    <a:pt x="545" y="1537"/>
                    <a:pt x="547" y="1539"/>
                    <a:pt x="549" y="1539"/>
                  </a:cubicBezTo>
                  <a:close/>
                  <a:moveTo>
                    <a:pt x="476" y="1504"/>
                  </a:moveTo>
                  <a:cubicBezTo>
                    <a:pt x="476" y="1504"/>
                    <a:pt x="476" y="1504"/>
                    <a:pt x="476" y="1505"/>
                  </a:cubicBezTo>
                  <a:cubicBezTo>
                    <a:pt x="476" y="1505"/>
                    <a:pt x="476" y="1506"/>
                    <a:pt x="476" y="1506"/>
                  </a:cubicBezTo>
                  <a:cubicBezTo>
                    <a:pt x="476" y="1506"/>
                    <a:pt x="476" y="1505"/>
                    <a:pt x="476" y="1505"/>
                  </a:cubicBezTo>
                  <a:lnTo>
                    <a:pt x="476" y="1504"/>
                  </a:lnTo>
                  <a:close/>
                  <a:moveTo>
                    <a:pt x="473" y="1503"/>
                  </a:moveTo>
                  <a:cubicBezTo>
                    <a:pt x="472" y="1502"/>
                    <a:pt x="471" y="1502"/>
                    <a:pt x="470" y="1502"/>
                  </a:cubicBezTo>
                  <a:cubicBezTo>
                    <a:pt x="470" y="1502"/>
                    <a:pt x="469" y="1501"/>
                    <a:pt x="469" y="1501"/>
                  </a:cubicBezTo>
                  <a:cubicBezTo>
                    <a:pt x="469" y="1501"/>
                    <a:pt x="468" y="1501"/>
                    <a:pt x="468" y="1501"/>
                  </a:cubicBezTo>
                  <a:cubicBezTo>
                    <a:pt x="471" y="1501"/>
                    <a:pt x="473" y="1502"/>
                    <a:pt x="475" y="1503"/>
                  </a:cubicBezTo>
                  <a:lnTo>
                    <a:pt x="473" y="1503"/>
                  </a:lnTo>
                  <a:close/>
                  <a:moveTo>
                    <a:pt x="461" y="1500"/>
                  </a:moveTo>
                  <a:cubicBezTo>
                    <a:pt x="461" y="1500"/>
                    <a:pt x="460" y="1499"/>
                    <a:pt x="460" y="1499"/>
                  </a:cubicBezTo>
                  <a:cubicBezTo>
                    <a:pt x="459" y="1499"/>
                    <a:pt x="459" y="1499"/>
                    <a:pt x="459" y="1498"/>
                  </a:cubicBezTo>
                  <a:cubicBezTo>
                    <a:pt x="460" y="1499"/>
                    <a:pt x="461" y="1499"/>
                    <a:pt x="462" y="1499"/>
                  </a:cubicBezTo>
                  <a:cubicBezTo>
                    <a:pt x="462" y="1499"/>
                    <a:pt x="461" y="1500"/>
                    <a:pt x="461" y="1500"/>
                  </a:cubicBezTo>
                  <a:close/>
                  <a:moveTo>
                    <a:pt x="439" y="1525"/>
                  </a:moveTo>
                  <a:cubicBezTo>
                    <a:pt x="438" y="1525"/>
                    <a:pt x="437" y="1524"/>
                    <a:pt x="436" y="1523"/>
                  </a:cubicBezTo>
                  <a:cubicBezTo>
                    <a:pt x="435" y="1523"/>
                    <a:pt x="435" y="1523"/>
                    <a:pt x="435" y="1523"/>
                  </a:cubicBezTo>
                  <a:cubicBezTo>
                    <a:pt x="432" y="1521"/>
                    <a:pt x="429" y="1519"/>
                    <a:pt x="426" y="1518"/>
                  </a:cubicBezTo>
                  <a:cubicBezTo>
                    <a:pt x="426" y="1518"/>
                    <a:pt x="426" y="1518"/>
                    <a:pt x="427" y="1518"/>
                  </a:cubicBezTo>
                  <a:cubicBezTo>
                    <a:pt x="427" y="1518"/>
                    <a:pt x="428" y="1518"/>
                    <a:pt x="429" y="1518"/>
                  </a:cubicBezTo>
                  <a:cubicBezTo>
                    <a:pt x="429" y="1518"/>
                    <a:pt x="429" y="1518"/>
                    <a:pt x="430" y="1518"/>
                  </a:cubicBezTo>
                  <a:cubicBezTo>
                    <a:pt x="430" y="1518"/>
                    <a:pt x="431" y="1519"/>
                    <a:pt x="432" y="1520"/>
                  </a:cubicBezTo>
                  <a:cubicBezTo>
                    <a:pt x="433" y="1520"/>
                    <a:pt x="433" y="1521"/>
                    <a:pt x="434" y="1521"/>
                  </a:cubicBezTo>
                  <a:cubicBezTo>
                    <a:pt x="435" y="1521"/>
                    <a:pt x="436" y="1520"/>
                    <a:pt x="436" y="1520"/>
                  </a:cubicBezTo>
                  <a:cubicBezTo>
                    <a:pt x="436" y="1520"/>
                    <a:pt x="437" y="1520"/>
                    <a:pt x="437" y="1520"/>
                  </a:cubicBezTo>
                  <a:cubicBezTo>
                    <a:pt x="437" y="1520"/>
                    <a:pt x="438" y="1520"/>
                    <a:pt x="438" y="1520"/>
                  </a:cubicBezTo>
                  <a:cubicBezTo>
                    <a:pt x="438" y="1520"/>
                    <a:pt x="438" y="1520"/>
                    <a:pt x="439" y="1520"/>
                  </a:cubicBezTo>
                  <a:cubicBezTo>
                    <a:pt x="439" y="1521"/>
                    <a:pt x="440" y="1521"/>
                    <a:pt x="441" y="1522"/>
                  </a:cubicBezTo>
                  <a:cubicBezTo>
                    <a:pt x="442" y="1522"/>
                    <a:pt x="443" y="1522"/>
                    <a:pt x="443" y="1522"/>
                  </a:cubicBezTo>
                  <a:cubicBezTo>
                    <a:pt x="442" y="1523"/>
                    <a:pt x="441" y="1524"/>
                    <a:pt x="440" y="1524"/>
                  </a:cubicBezTo>
                  <a:cubicBezTo>
                    <a:pt x="439" y="1525"/>
                    <a:pt x="439" y="1525"/>
                    <a:pt x="439" y="1525"/>
                  </a:cubicBezTo>
                  <a:close/>
                  <a:moveTo>
                    <a:pt x="416" y="1494"/>
                  </a:moveTo>
                  <a:cubicBezTo>
                    <a:pt x="418" y="1496"/>
                    <a:pt x="420" y="1499"/>
                    <a:pt x="422" y="1500"/>
                  </a:cubicBezTo>
                  <a:cubicBezTo>
                    <a:pt x="422" y="1500"/>
                    <a:pt x="422" y="1500"/>
                    <a:pt x="422" y="1500"/>
                  </a:cubicBezTo>
                  <a:cubicBezTo>
                    <a:pt x="422" y="1500"/>
                    <a:pt x="421" y="1500"/>
                    <a:pt x="421" y="1500"/>
                  </a:cubicBezTo>
                  <a:cubicBezTo>
                    <a:pt x="419" y="1500"/>
                    <a:pt x="418" y="1501"/>
                    <a:pt x="418" y="1501"/>
                  </a:cubicBezTo>
                  <a:cubicBezTo>
                    <a:pt x="418" y="1502"/>
                    <a:pt x="417" y="1502"/>
                    <a:pt x="417" y="1502"/>
                  </a:cubicBezTo>
                  <a:cubicBezTo>
                    <a:pt x="417" y="1502"/>
                    <a:pt x="417" y="1502"/>
                    <a:pt x="417" y="1502"/>
                  </a:cubicBezTo>
                  <a:cubicBezTo>
                    <a:pt x="417" y="1501"/>
                    <a:pt x="418" y="1500"/>
                    <a:pt x="418" y="1499"/>
                  </a:cubicBezTo>
                  <a:cubicBezTo>
                    <a:pt x="418" y="1498"/>
                    <a:pt x="417" y="1496"/>
                    <a:pt x="416" y="1494"/>
                  </a:cubicBezTo>
                  <a:close/>
                  <a:moveTo>
                    <a:pt x="449" y="1497"/>
                  </a:moveTo>
                  <a:cubicBezTo>
                    <a:pt x="449" y="1496"/>
                    <a:pt x="448" y="1496"/>
                    <a:pt x="448" y="1496"/>
                  </a:cubicBezTo>
                  <a:cubicBezTo>
                    <a:pt x="447" y="1496"/>
                    <a:pt x="445" y="1495"/>
                    <a:pt x="444" y="1495"/>
                  </a:cubicBezTo>
                  <a:cubicBezTo>
                    <a:pt x="444" y="1495"/>
                    <a:pt x="443" y="1496"/>
                    <a:pt x="442" y="1496"/>
                  </a:cubicBezTo>
                  <a:cubicBezTo>
                    <a:pt x="441" y="1496"/>
                    <a:pt x="441" y="1497"/>
                    <a:pt x="440" y="1497"/>
                  </a:cubicBezTo>
                  <a:cubicBezTo>
                    <a:pt x="440" y="1497"/>
                    <a:pt x="440" y="1497"/>
                    <a:pt x="440" y="1497"/>
                  </a:cubicBezTo>
                  <a:cubicBezTo>
                    <a:pt x="439" y="1497"/>
                    <a:pt x="439" y="1497"/>
                    <a:pt x="438" y="1497"/>
                  </a:cubicBezTo>
                  <a:cubicBezTo>
                    <a:pt x="436" y="1497"/>
                    <a:pt x="436" y="1497"/>
                    <a:pt x="436" y="1497"/>
                  </a:cubicBezTo>
                  <a:cubicBezTo>
                    <a:pt x="435" y="1497"/>
                    <a:pt x="434" y="1497"/>
                    <a:pt x="433" y="1497"/>
                  </a:cubicBezTo>
                  <a:cubicBezTo>
                    <a:pt x="433" y="1496"/>
                    <a:pt x="432" y="1495"/>
                    <a:pt x="431" y="1494"/>
                  </a:cubicBezTo>
                  <a:cubicBezTo>
                    <a:pt x="431" y="1493"/>
                    <a:pt x="430" y="1493"/>
                    <a:pt x="429" y="1492"/>
                  </a:cubicBezTo>
                  <a:cubicBezTo>
                    <a:pt x="429" y="1492"/>
                    <a:pt x="429" y="1491"/>
                    <a:pt x="428" y="1491"/>
                  </a:cubicBezTo>
                  <a:cubicBezTo>
                    <a:pt x="429" y="1491"/>
                    <a:pt x="431" y="1491"/>
                    <a:pt x="431" y="1491"/>
                  </a:cubicBezTo>
                  <a:cubicBezTo>
                    <a:pt x="431" y="1489"/>
                    <a:pt x="431" y="1489"/>
                    <a:pt x="431" y="1489"/>
                  </a:cubicBezTo>
                  <a:cubicBezTo>
                    <a:pt x="432" y="1485"/>
                    <a:pt x="429" y="1483"/>
                    <a:pt x="427" y="1481"/>
                  </a:cubicBezTo>
                  <a:cubicBezTo>
                    <a:pt x="426" y="1480"/>
                    <a:pt x="425" y="1479"/>
                    <a:pt x="425" y="1479"/>
                  </a:cubicBezTo>
                  <a:cubicBezTo>
                    <a:pt x="423" y="1476"/>
                    <a:pt x="421" y="1473"/>
                    <a:pt x="420" y="1471"/>
                  </a:cubicBezTo>
                  <a:cubicBezTo>
                    <a:pt x="420" y="1469"/>
                    <a:pt x="420" y="1469"/>
                    <a:pt x="420" y="1469"/>
                  </a:cubicBezTo>
                  <a:cubicBezTo>
                    <a:pt x="419" y="1469"/>
                    <a:pt x="419" y="1469"/>
                    <a:pt x="419" y="1469"/>
                  </a:cubicBezTo>
                  <a:cubicBezTo>
                    <a:pt x="418" y="1469"/>
                    <a:pt x="418" y="1469"/>
                    <a:pt x="417" y="1469"/>
                  </a:cubicBezTo>
                  <a:cubicBezTo>
                    <a:pt x="416" y="1469"/>
                    <a:pt x="415" y="1469"/>
                    <a:pt x="414" y="1470"/>
                  </a:cubicBezTo>
                  <a:cubicBezTo>
                    <a:pt x="414" y="1470"/>
                    <a:pt x="414" y="1470"/>
                    <a:pt x="414" y="1470"/>
                  </a:cubicBezTo>
                  <a:cubicBezTo>
                    <a:pt x="412" y="1471"/>
                    <a:pt x="412" y="1471"/>
                    <a:pt x="412" y="1471"/>
                  </a:cubicBezTo>
                  <a:cubicBezTo>
                    <a:pt x="412" y="1472"/>
                    <a:pt x="412" y="1472"/>
                    <a:pt x="412" y="1472"/>
                  </a:cubicBezTo>
                  <a:cubicBezTo>
                    <a:pt x="412" y="1473"/>
                    <a:pt x="412" y="1474"/>
                    <a:pt x="412" y="1474"/>
                  </a:cubicBezTo>
                  <a:cubicBezTo>
                    <a:pt x="412" y="1475"/>
                    <a:pt x="412" y="1477"/>
                    <a:pt x="412" y="1479"/>
                  </a:cubicBezTo>
                  <a:cubicBezTo>
                    <a:pt x="412" y="1479"/>
                    <a:pt x="413" y="1480"/>
                    <a:pt x="413" y="1480"/>
                  </a:cubicBezTo>
                  <a:cubicBezTo>
                    <a:pt x="412" y="1480"/>
                    <a:pt x="411" y="1481"/>
                    <a:pt x="411" y="1481"/>
                  </a:cubicBezTo>
                  <a:cubicBezTo>
                    <a:pt x="409" y="1484"/>
                    <a:pt x="412" y="1488"/>
                    <a:pt x="412" y="1489"/>
                  </a:cubicBezTo>
                  <a:cubicBezTo>
                    <a:pt x="413" y="1489"/>
                    <a:pt x="414" y="1491"/>
                    <a:pt x="415" y="1492"/>
                  </a:cubicBezTo>
                  <a:cubicBezTo>
                    <a:pt x="415" y="1492"/>
                    <a:pt x="415" y="1492"/>
                    <a:pt x="415" y="1492"/>
                  </a:cubicBezTo>
                  <a:cubicBezTo>
                    <a:pt x="414" y="1491"/>
                    <a:pt x="413" y="1490"/>
                    <a:pt x="412" y="1490"/>
                  </a:cubicBezTo>
                  <a:cubicBezTo>
                    <a:pt x="411" y="1489"/>
                    <a:pt x="411" y="1489"/>
                    <a:pt x="410" y="1489"/>
                  </a:cubicBezTo>
                  <a:cubicBezTo>
                    <a:pt x="409" y="1489"/>
                    <a:pt x="409" y="1490"/>
                    <a:pt x="408" y="1490"/>
                  </a:cubicBezTo>
                  <a:cubicBezTo>
                    <a:pt x="407" y="1490"/>
                    <a:pt x="407" y="1489"/>
                    <a:pt x="406" y="1489"/>
                  </a:cubicBezTo>
                  <a:cubicBezTo>
                    <a:pt x="406" y="1489"/>
                    <a:pt x="406" y="1489"/>
                    <a:pt x="406" y="1489"/>
                  </a:cubicBezTo>
                  <a:cubicBezTo>
                    <a:pt x="406" y="1488"/>
                    <a:pt x="406" y="1486"/>
                    <a:pt x="404" y="1485"/>
                  </a:cubicBezTo>
                  <a:cubicBezTo>
                    <a:pt x="403" y="1484"/>
                    <a:pt x="402" y="1484"/>
                    <a:pt x="401" y="1484"/>
                  </a:cubicBezTo>
                  <a:cubicBezTo>
                    <a:pt x="400" y="1484"/>
                    <a:pt x="400" y="1484"/>
                    <a:pt x="399" y="1484"/>
                  </a:cubicBezTo>
                  <a:cubicBezTo>
                    <a:pt x="399" y="1485"/>
                    <a:pt x="398" y="1485"/>
                    <a:pt x="398" y="1485"/>
                  </a:cubicBezTo>
                  <a:cubicBezTo>
                    <a:pt x="398" y="1485"/>
                    <a:pt x="398" y="1485"/>
                    <a:pt x="398" y="1485"/>
                  </a:cubicBezTo>
                  <a:cubicBezTo>
                    <a:pt x="397" y="1484"/>
                    <a:pt x="396" y="1484"/>
                    <a:pt x="394" y="1484"/>
                  </a:cubicBezTo>
                  <a:cubicBezTo>
                    <a:pt x="394" y="1483"/>
                    <a:pt x="394" y="1483"/>
                    <a:pt x="393" y="1483"/>
                  </a:cubicBezTo>
                  <a:cubicBezTo>
                    <a:pt x="394" y="1483"/>
                    <a:pt x="396" y="1484"/>
                    <a:pt x="397" y="1484"/>
                  </a:cubicBezTo>
                  <a:cubicBezTo>
                    <a:pt x="398" y="1484"/>
                    <a:pt x="399" y="1484"/>
                    <a:pt x="400" y="1484"/>
                  </a:cubicBezTo>
                  <a:cubicBezTo>
                    <a:pt x="402" y="1484"/>
                    <a:pt x="404" y="1484"/>
                    <a:pt x="405" y="1483"/>
                  </a:cubicBezTo>
                  <a:cubicBezTo>
                    <a:pt x="408" y="1481"/>
                    <a:pt x="407" y="1478"/>
                    <a:pt x="407" y="1476"/>
                  </a:cubicBezTo>
                  <a:cubicBezTo>
                    <a:pt x="407" y="1475"/>
                    <a:pt x="407" y="1475"/>
                    <a:pt x="407" y="1475"/>
                  </a:cubicBezTo>
                  <a:cubicBezTo>
                    <a:pt x="406" y="1472"/>
                    <a:pt x="406" y="1470"/>
                    <a:pt x="404" y="1468"/>
                  </a:cubicBezTo>
                  <a:cubicBezTo>
                    <a:pt x="404" y="1468"/>
                    <a:pt x="404" y="1468"/>
                    <a:pt x="404" y="1468"/>
                  </a:cubicBezTo>
                  <a:cubicBezTo>
                    <a:pt x="403" y="1466"/>
                    <a:pt x="402" y="1465"/>
                    <a:pt x="401" y="1464"/>
                  </a:cubicBezTo>
                  <a:cubicBezTo>
                    <a:pt x="401" y="1463"/>
                    <a:pt x="400" y="1462"/>
                    <a:pt x="400" y="1462"/>
                  </a:cubicBezTo>
                  <a:cubicBezTo>
                    <a:pt x="399" y="1461"/>
                    <a:pt x="398" y="1460"/>
                    <a:pt x="398" y="1460"/>
                  </a:cubicBezTo>
                  <a:cubicBezTo>
                    <a:pt x="398" y="1458"/>
                    <a:pt x="398" y="1457"/>
                    <a:pt x="398" y="1456"/>
                  </a:cubicBezTo>
                  <a:cubicBezTo>
                    <a:pt x="398" y="1455"/>
                    <a:pt x="398" y="1454"/>
                    <a:pt x="398" y="1453"/>
                  </a:cubicBezTo>
                  <a:cubicBezTo>
                    <a:pt x="398" y="1452"/>
                    <a:pt x="398" y="1452"/>
                    <a:pt x="398" y="1451"/>
                  </a:cubicBezTo>
                  <a:cubicBezTo>
                    <a:pt x="398" y="1449"/>
                    <a:pt x="398" y="1447"/>
                    <a:pt x="397" y="1445"/>
                  </a:cubicBezTo>
                  <a:cubicBezTo>
                    <a:pt x="396" y="1445"/>
                    <a:pt x="396" y="1444"/>
                    <a:pt x="395" y="1444"/>
                  </a:cubicBezTo>
                  <a:cubicBezTo>
                    <a:pt x="395" y="1444"/>
                    <a:pt x="395" y="1443"/>
                    <a:pt x="395" y="1443"/>
                  </a:cubicBezTo>
                  <a:cubicBezTo>
                    <a:pt x="395" y="1443"/>
                    <a:pt x="395" y="1442"/>
                    <a:pt x="395" y="1442"/>
                  </a:cubicBezTo>
                  <a:cubicBezTo>
                    <a:pt x="395" y="1441"/>
                    <a:pt x="395" y="1441"/>
                    <a:pt x="395" y="1440"/>
                  </a:cubicBezTo>
                  <a:cubicBezTo>
                    <a:pt x="395" y="1440"/>
                    <a:pt x="395" y="1439"/>
                    <a:pt x="396" y="1439"/>
                  </a:cubicBezTo>
                  <a:cubicBezTo>
                    <a:pt x="396" y="1439"/>
                    <a:pt x="397" y="1438"/>
                    <a:pt x="400" y="1438"/>
                  </a:cubicBezTo>
                  <a:cubicBezTo>
                    <a:pt x="401" y="1438"/>
                    <a:pt x="401" y="1438"/>
                    <a:pt x="401" y="1438"/>
                  </a:cubicBezTo>
                  <a:cubicBezTo>
                    <a:pt x="402" y="1438"/>
                    <a:pt x="402" y="1438"/>
                    <a:pt x="402" y="1438"/>
                  </a:cubicBezTo>
                  <a:cubicBezTo>
                    <a:pt x="402" y="1439"/>
                    <a:pt x="402" y="1440"/>
                    <a:pt x="403" y="1441"/>
                  </a:cubicBezTo>
                  <a:cubicBezTo>
                    <a:pt x="404" y="1443"/>
                    <a:pt x="406" y="1443"/>
                    <a:pt x="407" y="1443"/>
                  </a:cubicBezTo>
                  <a:cubicBezTo>
                    <a:pt x="407" y="1443"/>
                    <a:pt x="408" y="1443"/>
                    <a:pt x="408" y="1443"/>
                  </a:cubicBezTo>
                  <a:cubicBezTo>
                    <a:pt x="408" y="1443"/>
                    <a:pt x="408" y="1444"/>
                    <a:pt x="409" y="1444"/>
                  </a:cubicBezTo>
                  <a:cubicBezTo>
                    <a:pt x="409" y="1445"/>
                    <a:pt x="409" y="1446"/>
                    <a:pt x="410" y="1446"/>
                  </a:cubicBezTo>
                  <a:cubicBezTo>
                    <a:pt x="410" y="1446"/>
                    <a:pt x="409" y="1446"/>
                    <a:pt x="408" y="1446"/>
                  </a:cubicBezTo>
                  <a:cubicBezTo>
                    <a:pt x="408" y="1446"/>
                    <a:pt x="407" y="1446"/>
                    <a:pt x="406" y="1447"/>
                  </a:cubicBezTo>
                  <a:cubicBezTo>
                    <a:pt x="406" y="1447"/>
                    <a:pt x="406" y="1447"/>
                    <a:pt x="406" y="1447"/>
                  </a:cubicBezTo>
                  <a:cubicBezTo>
                    <a:pt x="405" y="1448"/>
                    <a:pt x="405" y="1448"/>
                    <a:pt x="405" y="1448"/>
                  </a:cubicBezTo>
                  <a:cubicBezTo>
                    <a:pt x="403" y="1452"/>
                    <a:pt x="406" y="1454"/>
                    <a:pt x="407" y="1455"/>
                  </a:cubicBezTo>
                  <a:cubicBezTo>
                    <a:pt x="408" y="1456"/>
                    <a:pt x="408" y="1456"/>
                    <a:pt x="408" y="1456"/>
                  </a:cubicBezTo>
                  <a:cubicBezTo>
                    <a:pt x="409" y="1458"/>
                    <a:pt x="411" y="1461"/>
                    <a:pt x="411" y="1462"/>
                  </a:cubicBezTo>
                  <a:cubicBezTo>
                    <a:pt x="412" y="1464"/>
                    <a:pt x="412" y="1464"/>
                    <a:pt x="412" y="1464"/>
                  </a:cubicBezTo>
                  <a:cubicBezTo>
                    <a:pt x="413" y="1464"/>
                    <a:pt x="413" y="1464"/>
                    <a:pt x="413" y="1464"/>
                  </a:cubicBezTo>
                  <a:cubicBezTo>
                    <a:pt x="414" y="1464"/>
                    <a:pt x="415" y="1465"/>
                    <a:pt x="416" y="1466"/>
                  </a:cubicBezTo>
                  <a:cubicBezTo>
                    <a:pt x="419" y="1467"/>
                    <a:pt x="421" y="1469"/>
                    <a:pt x="424" y="1469"/>
                  </a:cubicBezTo>
                  <a:cubicBezTo>
                    <a:pt x="424" y="1469"/>
                    <a:pt x="425" y="1469"/>
                    <a:pt x="426" y="1468"/>
                  </a:cubicBezTo>
                  <a:cubicBezTo>
                    <a:pt x="427" y="1468"/>
                    <a:pt x="428" y="1467"/>
                    <a:pt x="428" y="1466"/>
                  </a:cubicBezTo>
                  <a:cubicBezTo>
                    <a:pt x="429" y="1465"/>
                    <a:pt x="429" y="1465"/>
                    <a:pt x="430" y="1465"/>
                  </a:cubicBezTo>
                  <a:cubicBezTo>
                    <a:pt x="431" y="1464"/>
                    <a:pt x="432" y="1464"/>
                    <a:pt x="433" y="1464"/>
                  </a:cubicBezTo>
                  <a:cubicBezTo>
                    <a:pt x="434" y="1464"/>
                    <a:pt x="435" y="1464"/>
                    <a:pt x="436" y="1464"/>
                  </a:cubicBezTo>
                  <a:cubicBezTo>
                    <a:pt x="437" y="1464"/>
                    <a:pt x="438" y="1463"/>
                    <a:pt x="439" y="1463"/>
                  </a:cubicBezTo>
                  <a:cubicBezTo>
                    <a:pt x="440" y="1463"/>
                    <a:pt x="441" y="1462"/>
                    <a:pt x="443" y="1462"/>
                  </a:cubicBezTo>
                  <a:cubicBezTo>
                    <a:pt x="444" y="1462"/>
                    <a:pt x="444" y="1463"/>
                    <a:pt x="445" y="1463"/>
                  </a:cubicBezTo>
                  <a:cubicBezTo>
                    <a:pt x="447" y="1464"/>
                    <a:pt x="447" y="1465"/>
                    <a:pt x="447" y="1466"/>
                  </a:cubicBezTo>
                  <a:cubicBezTo>
                    <a:pt x="447" y="1467"/>
                    <a:pt x="446" y="1468"/>
                    <a:pt x="444" y="1469"/>
                  </a:cubicBezTo>
                  <a:cubicBezTo>
                    <a:pt x="443" y="1470"/>
                    <a:pt x="442" y="1470"/>
                    <a:pt x="441" y="1470"/>
                  </a:cubicBezTo>
                  <a:cubicBezTo>
                    <a:pt x="440" y="1470"/>
                    <a:pt x="439" y="1470"/>
                    <a:pt x="438" y="1471"/>
                  </a:cubicBezTo>
                  <a:cubicBezTo>
                    <a:pt x="437" y="1471"/>
                    <a:pt x="431" y="1472"/>
                    <a:pt x="429" y="1476"/>
                  </a:cubicBezTo>
                  <a:cubicBezTo>
                    <a:pt x="429" y="1478"/>
                    <a:pt x="429" y="1479"/>
                    <a:pt x="429" y="1481"/>
                  </a:cubicBezTo>
                  <a:cubicBezTo>
                    <a:pt x="430" y="1484"/>
                    <a:pt x="433" y="1486"/>
                    <a:pt x="435" y="1488"/>
                  </a:cubicBezTo>
                  <a:cubicBezTo>
                    <a:pt x="436" y="1488"/>
                    <a:pt x="437" y="1489"/>
                    <a:pt x="438" y="1490"/>
                  </a:cubicBezTo>
                  <a:cubicBezTo>
                    <a:pt x="442" y="1494"/>
                    <a:pt x="445" y="1495"/>
                    <a:pt x="450" y="1496"/>
                  </a:cubicBezTo>
                  <a:cubicBezTo>
                    <a:pt x="450" y="1496"/>
                    <a:pt x="451" y="1496"/>
                    <a:pt x="452" y="1496"/>
                  </a:cubicBezTo>
                  <a:cubicBezTo>
                    <a:pt x="452" y="1496"/>
                    <a:pt x="451" y="1496"/>
                    <a:pt x="451" y="1496"/>
                  </a:cubicBezTo>
                  <a:cubicBezTo>
                    <a:pt x="451" y="1497"/>
                    <a:pt x="450" y="1497"/>
                    <a:pt x="450" y="1497"/>
                  </a:cubicBezTo>
                  <a:cubicBezTo>
                    <a:pt x="450" y="1497"/>
                    <a:pt x="450" y="1497"/>
                    <a:pt x="449" y="1497"/>
                  </a:cubicBezTo>
                  <a:close/>
                  <a:moveTo>
                    <a:pt x="386" y="1482"/>
                  </a:moveTo>
                  <a:cubicBezTo>
                    <a:pt x="387" y="1482"/>
                    <a:pt x="389" y="1482"/>
                    <a:pt x="390" y="1482"/>
                  </a:cubicBezTo>
                  <a:cubicBezTo>
                    <a:pt x="390" y="1482"/>
                    <a:pt x="390" y="1483"/>
                    <a:pt x="391" y="1483"/>
                  </a:cubicBezTo>
                  <a:cubicBezTo>
                    <a:pt x="390" y="1482"/>
                    <a:pt x="390" y="1482"/>
                    <a:pt x="389" y="1482"/>
                  </a:cubicBezTo>
                  <a:cubicBezTo>
                    <a:pt x="389" y="1482"/>
                    <a:pt x="389" y="1482"/>
                    <a:pt x="388" y="1483"/>
                  </a:cubicBezTo>
                  <a:cubicBezTo>
                    <a:pt x="388" y="1483"/>
                    <a:pt x="388" y="1482"/>
                    <a:pt x="387" y="1482"/>
                  </a:cubicBezTo>
                  <a:cubicBezTo>
                    <a:pt x="387" y="1482"/>
                    <a:pt x="387" y="1482"/>
                    <a:pt x="386" y="1482"/>
                  </a:cubicBezTo>
                  <a:close/>
                  <a:moveTo>
                    <a:pt x="372" y="1481"/>
                  </a:moveTo>
                  <a:cubicBezTo>
                    <a:pt x="373" y="1481"/>
                    <a:pt x="373" y="1481"/>
                    <a:pt x="373" y="1480"/>
                  </a:cubicBezTo>
                  <a:cubicBezTo>
                    <a:pt x="374" y="1480"/>
                    <a:pt x="374" y="1479"/>
                    <a:pt x="374" y="1478"/>
                  </a:cubicBezTo>
                  <a:cubicBezTo>
                    <a:pt x="375" y="1478"/>
                    <a:pt x="376" y="1477"/>
                    <a:pt x="376" y="1477"/>
                  </a:cubicBezTo>
                  <a:cubicBezTo>
                    <a:pt x="376" y="1477"/>
                    <a:pt x="377" y="1477"/>
                    <a:pt x="377" y="1477"/>
                  </a:cubicBezTo>
                  <a:cubicBezTo>
                    <a:pt x="377" y="1478"/>
                    <a:pt x="378" y="1478"/>
                    <a:pt x="379" y="1479"/>
                  </a:cubicBezTo>
                  <a:cubicBezTo>
                    <a:pt x="379" y="1479"/>
                    <a:pt x="379" y="1479"/>
                    <a:pt x="379" y="1479"/>
                  </a:cubicBezTo>
                  <a:cubicBezTo>
                    <a:pt x="379" y="1479"/>
                    <a:pt x="378" y="1479"/>
                    <a:pt x="378" y="1479"/>
                  </a:cubicBezTo>
                  <a:cubicBezTo>
                    <a:pt x="375" y="1479"/>
                    <a:pt x="374" y="1480"/>
                    <a:pt x="373" y="1482"/>
                  </a:cubicBezTo>
                  <a:cubicBezTo>
                    <a:pt x="372" y="1482"/>
                    <a:pt x="372" y="1482"/>
                    <a:pt x="372" y="1482"/>
                  </a:cubicBezTo>
                  <a:cubicBezTo>
                    <a:pt x="372" y="1481"/>
                    <a:pt x="372" y="1481"/>
                    <a:pt x="372" y="1481"/>
                  </a:cubicBezTo>
                  <a:close/>
                  <a:moveTo>
                    <a:pt x="414" y="1431"/>
                  </a:moveTo>
                  <a:cubicBezTo>
                    <a:pt x="415" y="1431"/>
                    <a:pt x="415" y="1431"/>
                    <a:pt x="416" y="1431"/>
                  </a:cubicBezTo>
                  <a:cubicBezTo>
                    <a:pt x="417" y="1431"/>
                    <a:pt x="418" y="1431"/>
                    <a:pt x="419" y="1431"/>
                  </a:cubicBezTo>
                  <a:cubicBezTo>
                    <a:pt x="419" y="1431"/>
                    <a:pt x="419" y="1431"/>
                    <a:pt x="420" y="1431"/>
                  </a:cubicBezTo>
                  <a:cubicBezTo>
                    <a:pt x="420" y="1431"/>
                    <a:pt x="421" y="1431"/>
                    <a:pt x="422" y="1431"/>
                  </a:cubicBezTo>
                  <a:cubicBezTo>
                    <a:pt x="422" y="1431"/>
                    <a:pt x="422" y="1431"/>
                    <a:pt x="422" y="1431"/>
                  </a:cubicBezTo>
                  <a:cubicBezTo>
                    <a:pt x="422" y="1432"/>
                    <a:pt x="422" y="1433"/>
                    <a:pt x="423" y="1433"/>
                  </a:cubicBezTo>
                  <a:cubicBezTo>
                    <a:pt x="423" y="1434"/>
                    <a:pt x="423" y="1435"/>
                    <a:pt x="423" y="1436"/>
                  </a:cubicBezTo>
                  <a:cubicBezTo>
                    <a:pt x="422" y="1437"/>
                    <a:pt x="420" y="1438"/>
                    <a:pt x="418" y="1438"/>
                  </a:cubicBezTo>
                  <a:cubicBezTo>
                    <a:pt x="418" y="1438"/>
                    <a:pt x="417" y="1438"/>
                    <a:pt x="417" y="1438"/>
                  </a:cubicBezTo>
                  <a:cubicBezTo>
                    <a:pt x="416" y="1437"/>
                    <a:pt x="416" y="1437"/>
                    <a:pt x="415" y="1436"/>
                  </a:cubicBezTo>
                  <a:cubicBezTo>
                    <a:pt x="414" y="1435"/>
                    <a:pt x="412" y="1434"/>
                    <a:pt x="411" y="1434"/>
                  </a:cubicBezTo>
                  <a:cubicBezTo>
                    <a:pt x="411" y="1433"/>
                    <a:pt x="412" y="1433"/>
                    <a:pt x="413" y="1432"/>
                  </a:cubicBezTo>
                  <a:cubicBezTo>
                    <a:pt x="413" y="1432"/>
                    <a:pt x="414" y="1431"/>
                    <a:pt x="414" y="1431"/>
                  </a:cubicBezTo>
                  <a:close/>
                  <a:moveTo>
                    <a:pt x="512" y="1531"/>
                  </a:moveTo>
                  <a:cubicBezTo>
                    <a:pt x="511" y="1531"/>
                    <a:pt x="511" y="1531"/>
                    <a:pt x="511" y="1531"/>
                  </a:cubicBezTo>
                  <a:cubicBezTo>
                    <a:pt x="511" y="1531"/>
                    <a:pt x="511" y="1531"/>
                    <a:pt x="511" y="1531"/>
                  </a:cubicBezTo>
                  <a:cubicBezTo>
                    <a:pt x="512" y="1530"/>
                    <a:pt x="514" y="1529"/>
                    <a:pt x="515" y="1529"/>
                  </a:cubicBezTo>
                  <a:cubicBezTo>
                    <a:pt x="515" y="1530"/>
                    <a:pt x="515" y="1530"/>
                    <a:pt x="515" y="1531"/>
                  </a:cubicBezTo>
                  <a:cubicBezTo>
                    <a:pt x="514" y="1531"/>
                    <a:pt x="512" y="1531"/>
                    <a:pt x="512" y="1531"/>
                  </a:cubicBezTo>
                  <a:close/>
                  <a:moveTo>
                    <a:pt x="326" y="1453"/>
                  </a:moveTo>
                  <a:cubicBezTo>
                    <a:pt x="326" y="1453"/>
                    <a:pt x="327" y="1452"/>
                    <a:pt x="328" y="1452"/>
                  </a:cubicBezTo>
                  <a:cubicBezTo>
                    <a:pt x="328" y="1452"/>
                    <a:pt x="328" y="1452"/>
                    <a:pt x="329" y="1451"/>
                  </a:cubicBezTo>
                  <a:cubicBezTo>
                    <a:pt x="329" y="1451"/>
                    <a:pt x="329" y="1452"/>
                    <a:pt x="330" y="1452"/>
                  </a:cubicBezTo>
                  <a:cubicBezTo>
                    <a:pt x="330" y="1452"/>
                    <a:pt x="330" y="1452"/>
                    <a:pt x="330" y="1452"/>
                  </a:cubicBezTo>
                  <a:cubicBezTo>
                    <a:pt x="329" y="1452"/>
                    <a:pt x="327" y="1453"/>
                    <a:pt x="327" y="1454"/>
                  </a:cubicBezTo>
                  <a:cubicBezTo>
                    <a:pt x="326" y="1454"/>
                    <a:pt x="326" y="1453"/>
                    <a:pt x="326" y="1453"/>
                  </a:cubicBezTo>
                  <a:close/>
                  <a:moveTo>
                    <a:pt x="287" y="1406"/>
                  </a:moveTo>
                  <a:cubicBezTo>
                    <a:pt x="285" y="1406"/>
                    <a:pt x="284" y="1406"/>
                    <a:pt x="283" y="1406"/>
                  </a:cubicBezTo>
                  <a:cubicBezTo>
                    <a:pt x="282" y="1406"/>
                    <a:pt x="281" y="1406"/>
                    <a:pt x="280" y="1406"/>
                  </a:cubicBezTo>
                  <a:cubicBezTo>
                    <a:pt x="279" y="1406"/>
                    <a:pt x="278" y="1405"/>
                    <a:pt x="276" y="1404"/>
                  </a:cubicBezTo>
                  <a:cubicBezTo>
                    <a:pt x="275" y="1404"/>
                    <a:pt x="275" y="1403"/>
                    <a:pt x="275" y="1403"/>
                  </a:cubicBezTo>
                  <a:cubicBezTo>
                    <a:pt x="275" y="1403"/>
                    <a:pt x="276" y="1403"/>
                    <a:pt x="277" y="1402"/>
                  </a:cubicBezTo>
                  <a:cubicBezTo>
                    <a:pt x="277" y="1401"/>
                    <a:pt x="278" y="1400"/>
                    <a:pt x="278" y="1399"/>
                  </a:cubicBezTo>
                  <a:cubicBezTo>
                    <a:pt x="278" y="1400"/>
                    <a:pt x="279" y="1400"/>
                    <a:pt x="279" y="1400"/>
                  </a:cubicBezTo>
                  <a:cubicBezTo>
                    <a:pt x="280" y="1401"/>
                    <a:pt x="280" y="1401"/>
                    <a:pt x="280" y="1401"/>
                  </a:cubicBezTo>
                  <a:cubicBezTo>
                    <a:pt x="282" y="1403"/>
                    <a:pt x="283" y="1404"/>
                    <a:pt x="285" y="1405"/>
                  </a:cubicBezTo>
                  <a:cubicBezTo>
                    <a:pt x="285" y="1405"/>
                    <a:pt x="286" y="1406"/>
                    <a:pt x="287" y="1406"/>
                  </a:cubicBezTo>
                  <a:cubicBezTo>
                    <a:pt x="287" y="1406"/>
                    <a:pt x="287" y="1406"/>
                    <a:pt x="287" y="1406"/>
                  </a:cubicBezTo>
                  <a:close/>
                  <a:moveTo>
                    <a:pt x="282" y="1415"/>
                  </a:moveTo>
                  <a:cubicBezTo>
                    <a:pt x="281" y="1415"/>
                    <a:pt x="280" y="1415"/>
                    <a:pt x="280" y="1415"/>
                  </a:cubicBezTo>
                  <a:cubicBezTo>
                    <a:pt x="280" y="1414"/>
                    <a:pt x="280" y="1414"/>
                    <a:pt x="279" y="1414"/>
                  </a:cubicBezTo>
                  <a:cubicBezTo>
                    <a:pt x="280" y="1414"/>
                    <a:pt x="281" y="1414"/>
                    <a:pt x="282" y="1415"/>
                  </a:cubicBezTo>
                  <a:cubicBezTo>
                    <a:pt x="282" y="1415"/>
                    <a:pt x="282" y="1415"/>
                    <a:pt x="283" y="1415"/>
                  </a:cubicBezTo>
                  <a:lnTo>
                    <a:pt x="282" y="1415"/>
                  </a:lnTo>
                  <a:close/>
                  <a:moveTo>
                    <a:pt x="306" y="1407"/>
                  </a:moveTo>
                  <a:cubicBezTo>
                    <a:pt x="306" y="1407"/>
                    <a:pt x="307" y="1407"/>
                    <a:pt x="307" y="1406"/>
                  </a:cubicBezTo>
                  <a:cubicBezTo>
                    <a:pt x="307" y="1406"/>
                    <a:pt x="308" y="1406"/>
                    <a:pt x="308" y="1406"/>
                  </a:cubicBezTo>
                  <a:cubicBezTo>
                    <a:pt x="308" y="1405"/>
                    <a:pt x="309" y="1405"/>
                    <a:pt x="309" y="1405"/>
                  </a:cubicBezTo>
                  <a:cubicBezTo>
                    <a:pt x="310" y="1404"/>
                    <a:pt x="310" y="1404"/>
                    <a:pt x="311" y="1404"/>
                  </a:cubicBezTo>
                  <a:cubicBezTo>
                    <a:pt x="311" y="1403"/>
                    <a:pt x="312" y="1403"/>
                    <a:pt x="313" y="1403"/>
                  </a:cubicBezTo>
                  <a:cubicBezTo>
                    <a:pt x="313" y="1403"/>
                    <a:pt x="314" y="1403"/>
                    <a:pt x="314" y="1403"/>
                  </a:cubicBezTo>
                  <a:cubicBezTo>
                    <a:pt x="315" y="1403"/>
                    <a:pt x="316" y="1403"/>
                    <a:pt x="316" y="1403"/>
                  </a:cubicBezTo>
                  <a:cubicBezTo>
                    <a:pt x="317" y="1403"/>
                    <a:pt x="318" y="1403"/>
                    <a:pt x="318" y="1402"/>
                  </a:cubicBezTo>
                  <a:cubicBezTo>
                    <a:pt x="318" y="1402"/>
                    <a:pt x="318" y="1403"/>
                    <a:pt x="319" y="1403"/>
                  </a:cubicBezTo>
                  <a:cubicBezTo>
                    <a:pt x="319" y="1404"/>
                    <a:pt x="319" y="1404"/>
                    <a:pt x="319" y="1404"/>
                  </a:cubicBezTo>
                  <a:cubicBezTo>
                    <a:pt x="318" y="1405"/>
                    <a:pt x="317" y="1405"/>
                    <a:pt x="316" y="1405"/>
                  </a:cubicBezTo>
                  <a:cubicBezTo>
                    <a:pt x="315" y="1405"/>
                    <a:pt x="315" y="1405"/>
                    <a:pt x="315" y="1405"/>
                  </a:cubicBezTo>
                  <a:cubicBezTo>
                    <a:pt x="312" y="1406"/>
                    <a:pt x="310" y="1407"/>
                    <a:pt x="309" y="1410"/>
                  </a:cubicBezTo>
                  <a:cubicBezTo>
                    <a:pt x="309" y="1410"/>
                    <a:pt x="309" y="1410"/>
                    <a:pt x="309" y="1410"/>
                  </a:cubicBezTo>
                  <a:cubicBezTo>
                    <a:pt x="308" y="1410"/>
                    <a:pt x="308" y="1410"/>
                    <a:pt x="307" y="1410"/>
                  </a:cubicBezTo>
                  <a:cubicBezTo>
                    <a:pt x="307" y="1409"/>
                    <a:pt x="307" y="1408"/>
                    <a:pt x="306" y="1408"/>
                  </a:cubicBezTo>
                  <a:cubicBezTo>
                    <a:pt x="306" y="1408"/>
                    <a:pt x="306" y="1407"/>
                    <a:pt x="306" y="1407"/>
                  </a:cubicBezTo>
                  <a:close/>
                  <a:moveTo>
                    <a:pt x="183" y="1298"/>
                  </a:moveTo>
                  <a:cubicBezTo>
                    <a:pt x="182" y="1298"/>
                    <a:pt x="182" y="1298"/>
                    <a:pt x="182" y="1298"/>
                  </a:cubicBezTo>
                  <a:cubicBezTo>
                    <a:pt x="182" y="1298"/>
                    <a:pt x="181" y="1298"/>
                    <a:pt x="181" y="1298"/>
                  </a:cubicBezTo>
                  <a:cubicBezTo>
                    <a:pt x="181" y="1297"/>
                    <a:pt x="181" y="1297"/>
                    <a:pt x="181" y="1297"/>
                  </a:cubicBezTo>
                  <a:cubicBezTo>
                    <a:pt x="181" y="1297"/>
                    <a:pt x="180" y="1297"/>
                    <a:pt x="180" y="1297"/>
                  </a:cubicBezTo>
                  <a:cubicBezTo>
                    <a:pt x="181" y="1297"/>
                    <a:pt x="181" y="1296"/>
                    <a:pt x="181" y="1295"/>
                  </a:cubicBezTo>
                  <a:cubicBezTo>
                    <a:pt x="181" y="1295"/>
                    <a:pt x="182" y="1295"/>
                    <a:pt x="182" y="1295"/>
                  </a:cubicBezTo>
                  <a:cubicBezTo>
                    <a:pt x="182" y="1295"/>
                    <a:pt x="182" y="1295"/>
                    <a:pt x="182" y="1295"/>
                  </a:cubicBezTo>
                  <a:cubicBezTo>
                    <a:pt x="183" y="1295"/>
                    <a:pt x="184" y="1296"/>
                    <a:pt x="185" y="1297"/>
                  </a:cubicBezTo>
                  <a:cubicBezTo>
                    <a:pt x="185" y="1297"/>
                    <a:pt x="185" y="1297"/>
                    <a:pt x="185" y="1297"/>
                  </a:cubicBezTo>
                  <a:cubicBezTo>
                    <a:pt x="185" y="1298"/>
                    <a:pt x="185" y="1298"/>
                    <a:pt x="186" y="1298"/>
                  </a:cubicBezTo>
                  <a:cubicBezTo>
                    <a:pt x="185" y="1298"/>
                    <a:pt x="185" y="1298"/>
                    <a:pt x="185" y="1298"/>
                  </a:cubicBezTo>
                  <a:cubicBezTo>
                    <a:pt x="185" y="1298"/>
                    <a:pt x="184" y="1298"/>
                    <a:pt x="184" y="1298"/>
                  </a:cubicBezTo>
                  <a:lnTo>
                    <a:pt x="183" y="1298"/>
                  </a:lnTo>
                  <a:close/>
                  <a:moveTo>
                    <a:pt x="178" y="1250"/>
                  </a:moveTo>
                  <a:cubicBezTo>
                    <a:pt x="178" y="1251"/>
                    <a:pt x="179" y="1251"/>
                    <a:pt x="179" y="1252"/>
                  </a:cubicBezTo>
                  <a:cubicBezTo>
                    <a:pt x="178" y="1252"/>
                    <a:pt x="178" y="1252"/>
                    <a:pt x="178" y="1252"/>
                  </a:cubicBezTo>
                  <a:cubicBezTo>
                    <a:pt x="178" y="1252"/>
                    <a:pt x="178" y="1252"/>
                    <a:pt x="178" y="1251"/>
                  </a:cubicBezTo>
                  <a:cubicBezTo>
                    <a:pt x="178" y="1251"/>
                    <a:pt x="178" y="1250"/>
                    <a:pt x="178" y="1250"/>
                  </a:cubicBezTo>
                  <a:close/>
                  <a:moveTo>
                    <a:pt x="170" y="1170"/>
                  </a:moveTo>
                  <a:cubicBezTo>
                    <a:pt x="168" y="1168"/>
                    <a:pt x="166" y="1166"/>
                    <a:pt x="164" y="1164"/>
                  </a:cubicBezTo>
                  <a:cubicBezTo>
                    <a:pt x="164" y="1164"/>
                    <a:pt x="163" y="1164"/>
                    <a:pt x="163" y="1163"/>
                  </a:cubicBezTo>
                  <a:cubicBezTo>
                    <a:pt x="163" y="1163"/>
                    <a:pt x="163" y="1162"/>
                    <a:pt x="162" y="1161"/>
                  </a:cubicBezTo>
                  <a:cubicBezTo>
                    <a:pt x="162" y="1161"/>
                    <a:pt x="162" y="1161"/>
                    <a:pt x="162" y="1161"/>
                  </a:cubicBezTo>
                  <a:cubicBezTo>
                    <a:pt x="162" y="1161"/>
                    <a:pt x="162" y="1161"/>
                    <a:pt x="162" y="1161"/>
                  </a:cubicBezTo>
                  <a:cubicBezTo>
                    <a:pt x="163" y="1160"/>
                    <a:pt x="164" y="1160"/>
                    <a:pt x="164" y="1159"/>
                  </a:cubicBezTo>
                  <a:cubicBezTo>
                    <a:pt x="164" y="1159"/>
                    <a:pt x="164" y="1159"/>
                    <a:pt x="164" y="1159"/>
                  </a:cubicBezTo>
                  <a:cubicBezTo>
                    <a:pt x="165" y="1159"/>
                    <a:pt x="167" y="1159"/>
                    <a:pt x="168" y="1157"/>
                  </a:cubicBezTo>
                  <a:cubicBezTo>
                    <a:pt x="168" y="1157"/>
                    <a:pt x="168" y="1156"/>
                    <a:pt x="168" y="1156"/>
                  </a:cubicBezTo>
                  <a:cubicBezTo>
                    <a:pt x="169" y="1157"/>
                    <a:pt x="170" y="1157"/>
                    <a:pt x="171" y="1158"/>
                  </a:cubicBezTo>
                  <a:cubicBezTo>
                    <a:pt x="172" y="1158"/>
                    <a:pt x="172" y="1158"/>
                    <a:pt x="172" y="1158"/>
                  </a:cubicBezTo>
                  <a:cubicBezTo>
                    <a:pt x="173" y="1158"/>
                    <a:pt x="174" y="1159"/>
                    <a:pt x="174" y="1160"/>
                  </a:cubicBezTo>
                  <a:cubicBezTo>
                    <a:pt x="175" y="1160"/>
                    <a:pt x="175" y="1160"/>
                    <a:pt x="175" y="1160"/>
                  </a:cubicBezTo>
                  <a:cubicBezTo>
                    <a:pt x="176" y="1161"/>
                    <a:pt x="176" y="1161"/>
                    <a:pt x="176" y="1163"/>
                  </a:cubicBezTo>
                  <a:cubicBezTo>
                    <a:pt x="175" y="1167"/>
                    <a:pt x="177" y="1170"/>
                    <a:pt x="178" y="1172"/>
                  </a:cubicBezTo>
                  <a:cubicBezTo>
                    <a:pt x="179" y="1173"/>
                    <a:pt x="179" y="1174"/>
                    <a:pt x="180" y="1174"/>
                  </a:cubicBezTo>
                  <a:cubicBezTo>
                    <a:pt x="181" y="1177"/>
                    <a:pt x="183" y="1180"/>
                    <a:pt x="182" y="1182"/>
                  </a:cubicBezTo>
                  <a:cubicBezTo>
                    <a:pt x="182" y="1183"/>
                    <a:pt x="182" y="1184"/>
                    <a:pt x="181" y="1184"/>
                  </a:cubicBezTo>
                  <a:cubicBezTo>
                    <a:pt x="181" y="1183"/>
                    <a:pt x="181" y="1183"/>
                    <a:pt x="181" y="1182"/>
                  </a:cubicBezTo>
                  <a:cubicBezTo>
                    <a:pt x="181" y="1181"/>
                    <a:pt x="181" y="1181"/>
                    <a:pt x="181" y="1180"/>
                  </a:cubicBezTo>
                  <a:cubicBezTo>
                    <a:pt x="181" y="1178"/>
                    <a:pt x="180" y="1176"/>
                    <a:pt x="178" y="1175"/>
                  </a:cubicBezTo>
                  <a:cubicBezTo>
                    <a:pt x="178" y="1175"/>
                    <a:pt x="177" y="1174"/>
                    <a:pt x="177" y="1174"/>
                  </a:cubicBezTo>
                  <a:cubicBezTo>
                    <a:pt x="176" y="1173"/>
                    <a:pt x="175" y="1172"/>
                    <a:pt x="173" y="1172"/>
                  </a:cubicBezTo>
                  <a:cubicBezTo>
                    <a:pt x="173" y="1172"/>
                    <a:pt x="173" y="1172"/>
                    <a:pt x="172" y="1172"/>
                  </a:cubicBezTo>
                  <a:cubicBezTo>
                    <a:pt x="172" y="1172"/>
                    <a:pt x="171" y="1171"/>
                    <a:pt x="170" y="1170"/>
                  </a:cubicBezTo>
                  <a:close/>
                  <a:moveTo>
                    <a:pt x="149" y="1117"/>
                  </a:moveTo>
                  <a:cubicBezTo>
                    <a:pt x="149" y="1117"/>
                    <a:pt x="149" y="1117"/>
                    <a:pt x="150" y="1117"/>
                  </a:cubicBezTo>
                  <a:cubicBezTo>
                    <a:pt x="150" y="1117"/>
                    <a:pt x="150" y="1117"/>
                    <a:pt x="150" y="1117"/>
                  </a:cubicBezTo>
                  <a:cubicBezTo>
                    <a:pt x="149" y="1118"/>
                    <a:pt x="148" y="1118"/>
                    <a:pt x="148" y="1119"/>
                  </a:cubicBezTo>
                  <a:cubicBezTo>
                    <a:pt x="147" y="1119"/>
                    <a:pt x="147" y="1120"/>
                    <a:pt x="147" y="1121"/>
                  </a:cubicBezTo>
                  <a:cubicBezTo>
                    <a:pt x="147" y="1121"/>
                    <a:pt x="147" y="1121"/>
                    <a:pt x="146" y="1121"/>
                  </a:cubicBezTo>
                  <a:cubicBezTo>
                    <a:pt x="146" y="1121"/>
                    <a:pt x="146" y="1121"/>
                    <a:pt x="146" y="1121"/>
                  </a:cubicBezTo>
                  <a:cubicBezTo>
                    <a:pt x="145" y="1121"/>
                    <a:pt x="145" y="1121"/>
                    <a:pt x="145" y="1120"/>
                  </a:cubicBezTo>
                  <a:cubicBezTo>
                    <a:pt x="145" y="1120"/>
                    <a:pt x="145" y="1120"/>
                    <a:pt x="144" y="1120"/>
                  </a:cubicBezTo>
                  <a:cubicBezTo>
                    <a:pt x="145" y="1120"/>
                    <a:pt x="145" y="1120"/>
                    <a:pt x="145" y="1120"/>
                  </a:cubicBezTo>
                  <a:cubicBezTo>
                    <a:pt x="146" y="1119"/>
                    <a:pt x="146" y="1119"/>
                    <a:pt x="146" y="1119"/>
                  </a:cubicBezTo>
                  <a:cubicBezTo>
                    <a:pt x="146" y="1119"/>
                    <a:pt x="146" y="1119"/>
                    <a:pt x="147" y="1119"/>
                  </a:cubicBezTo>
                  <a:cubicBezTo>
                    <a:pt x="148" y="1118"/>
                    <a:pt x="149" y="1118"/>
                    <a:pt x="149" y="1117"/>
                  </a:cubicBezTo>
                  <a:close/>
                  <a:moveTo>
                    <a:pt x="185" y="1113"/>
                  </a:moveTo>
                  <a:cubicBezTo>
                    <a:pt x="185" y="1114"/>
                    <a:pt x="185" y="1114"/>
                    <a:pt x="185" y="1114"/>
                  </a:cubicBezTo>
                  <a:cubicBezTo>
                    <a:pt x="185" y="1115"/>
                    <a:pt x="185" y="1116"/>
                    <a:pt x="184" y="1117"/>
                  </a:cubicBezTo>
                  <a:cubicBezTo>
                    <a:pt x="184" y="1116"/>
                    <a:pt x="184" y="1116"/>
                    <a:pt x="184" y="1116"/>
                  </a:cubicBezTo>
                  <a:cubicBezTo>
                    <a:pt x="184" y="1116"/>
                    <a:pt x="184" y="1115"/>
                    <a:pt x="184" y="1115"/>
                  </a:cubicBezTo>
                  <a:cubicBezTo>
                    <a:pt x="184" y="1115"/>
                    <a:pt x="184" y="1115"/>
                    <a:pt x="184" y="1114"/>
                  </a:cubicBezTo>
                  <a:cubicBezTo>
                    <a:pt x="184" y="1114"/>
                    <a:pt x="185" y="1114"/>
                    <a:pt x="185" y="1113"/>
                  </a:cubicBezTo>
                  <a:close/>
                  <a:moveTo>
                    <a:pt x="152" y="1147"/>
                  </a:moveTo>
                  <a:cubicBezTo>
                    <a:pt x="152" y="1147"/>
                    <a:pt x="152" y="1147"/>
                    <a:pt x="152" y="1147"/>
                  </a:cubicBezTo>
                  <a:cubicBezTo>
                    <a:pt x="151" y="1147"/>
                    <a:pt x="151" y="1147"/>
                    <a:pt x="151" y="1147"/>
                  </a:cubicBezTo>
                  <a:cubicBezTo>
                    <a:pt x="151" y="1147"/>
                    <a:pt x="151" y="1147"/>
                    <a:pt x="151" y="1147"/>
                  </a:cubicBezTo>
                  <a:cubicBezTo>
                    <a:pt x="151" y="1146"/>
                    <a:pt x="150" y="1145"/>
                    <a:pt x="150" y="1145"/>
                  </a:cubicBezTo>
                  <a:cubicBezTo>
                    <a:pt x="149" y="1144"/>
                    <a:pt x="149" y="1144"/>
                    <a:pt x="149" y="1144"/>
                  </a:cubicBezTo>
                  <a:cubicBezTo>
                    <a:pt x="149" y="1143"/>
                    <a:pt x="149" y="1142"/>
                    <a:pt x="148" y="1142"/>
                  </a:cubicBezTo>
                  <a:cubicBezTo>
                    <a:pt x="148" y="1141"/>
                    <a:pt x="147" y="1141"/>
                    <a:pt x="147" y="1141"/>
                  </a:cubicBezTo>
                  <a:cubicBezTo>
                    <a:pt x="147" y="1141"/>
                    <a:pt x="147" y="1140"/>
                    <a:pt x="147" y="1140"/>
                  </a:cubicBezTo>
                  <a:cubicBezTo>
                    <a:pt x="147" y="1139"/>
                    <a:pt x="147" y="1138"/>
                    <a:pt x="147" y="1137"/>
                  </a:cubicBezTo>
                  <a:cubicBezTo>
                    <a:pt x="147" y="1137"/>
                    <a:pt x="147" y="1137"/>
                    <a:pt x="147" y="1136"/>
                  </a:cubicBezTo>
                  <a:cubicBezTo>
                    <a:pt x="147" y="1136"/>
                    <a:pt x="147" y="1136"/>
                    <a:pt x="147" y="1136"/>
                  </a:cubicBezTo>
                  <a:cubicBezTo>
                    <a:pt x="147" y="1136"/>
                    <a:pt x="148" y="1136"/>
                    <a:pt x="148" y="1136"/>
                  </a:cubicBezTo>
                  <a:cubicBezTo>
                    <a:pt x="148" y="1136"/>
                    <a:pt x="148" y="1136"/>
                    <a:pt x="148" y="1136"/>
                  </a:cubicBezTo>
                  <a:cubicBezTo>
                    <a:pt x="148" y="1137"/>
                    <a:pt x="148" y="1137"/>
                    <a:pt x="149" y="1138"/>
                  </a:cubicBezTo>
                  <a:cubicBezTo>
                    <a:pt x="149" y="1138"/>
                    <a:pt x="149" y="1138"/>
                    <a:pt x="149" y="1138"/>
                  </a:cubicBezTo>
                  <a:cubicBezTo>
                    <a:pt x="149" y="1138"/>
                    <a:pt x="149" y="1138"/>
                    <a:pt x="149" y="1139"/>
                  </a:cubicBezTo>
                  <a:cubicBezTo>
                    <a:pt x="150" y="1140"/>
                    <a:pt x="151" y="1140"/>
                    <a:pt x="151" y="1141"/>
                  </a:cubicBezTo>
                  <a:cubicBezTo>
                    <a:pt x="151" y="1143"/>
                    <a:pt x="152" y="1144"/>
                    <a:pt x="153" y="1144"/>
                  </a:cubicBezTo>
                  <a:cubicBezTo>
                    <a:pt x="153" y="1145"/>
                    <a:pt x="152" y="1146"/>
                    <a:pt x="152" y="1147"/>
                  </a:cubicBezTo>
                  <a:close/>
                  <a:moveTo>
                    <a:pt x="156" y="1156"/>
                  </a:moveTo>
                  <a:cubicBezTo>
                    <a:pt x="156" y="1156"/>
                    <a:pt x="156" y="1156"/>
                    <a:pt x="156" y="1156"/>
                  </a:cubicBezTo>
                  <a:cubicBezTo>
                    <a:pt x="156" y="1156"/>
                    <a:pt x="156" y="1156"/>
                    <a:pt x="156" y="1156"/>
                  </a:cubicBezTo>
                  <a:cubicBezTo>
                    <a:pt x="156" y="1156"/>
                    <a:pt x="157" y="1157"/>
                    <a:pt x="157" y="1157"/>
                  </a:cubicBezTo>
                  <a:cubicBezTo>
                    <a:pt x="157" y="1157"/>
                    <a:pt x="157" y="1158"/>
                    <a:pt x="157" y="1159"/>
                  </a:cubicBezTo>
                  <a:cubicBezTo>
                    <a:pt x="157" y="1159"/>
                    <a:pt x="157" y="1159"/>
                    <a:pt x="158" y="1159"/>
                  </a:cubicBezTo>
                  <a:cubicBezTo>
                    <a:pt x="157" y="1159"/>
                    <a:pt x="157" y="1159"/>
                    <a:pt x="157" y="1159"/>
                  </a:cubicBezTo>
                  <a:cubicBezTo>
                    <a:pt x="156" y="1159"/>
                    <a:pt x="156" y="1159"/>
                    <a:pt x="156" y="1159"/>
                  </a:cubicBezTo>
                  <a:cubicBezTo>
                    <a:pt x="156" y="1159"/>
                    <a:pt x="155" y="1159"/>
                    <a:pt x="155" y="1159"/>
                  </a:cubicBezTo>
                  <a:cubicBezTo>
                    <a:pt x="155" y="1158"/>
                    <a:pt x="154" y="1158"/>
                    <a:pt x="154" y="1158"/>
                  </a:cubicBezTo>
                  <a:cubicBezTo>
                    <a:pt x="155" y="1158"/>
                    <a:pt x="155" y="1157"/>
                    <a:pt x="156" y="1156"/>
                  </a:cubicBezTo>
                  <a:close/>
                  <a:moveTo>
                    <a:pt x="196" y="1271"/>
                  </a:moveTo>
                  <a:cubicBezTo>
                    <a:pt x="195" y="1271"/>
                    <a:pt x="195" y="1272"/>
                    <a:pt x="194" y="1272"/>
                  </a:cubicBezTo>
                  <a:cubicBezTo>
                    <a:pt x="194" y="1271"/>
                    <a:pt x="194" y="1270"/>
                    <a:pt x="194" y="1269"/>
                  </a:cubicBezTo>
                  <a:cubicBezTo>
                    <a:pt x="193" y="1268"/>
                    <a:pt x="193" y="1267"/>
                    <a:pt x="192" y="1266"/>
                  </a:cubicBezTo>
                  <a:cubicBezTo>
                    <a:pt x="191" y="1264"/>
                    <a:pt x="190" y="1263"/>
                    <a:pt x="190" y="1261"/>
                  </a:cubicBezTo>
                  <a:cubicBezTo>
                    <a:pt x="189" y="1259"/>
                    <a:pt x="189" y="1259"/>
                    <a:pt x="189" y="1259"/>
                  </a:cubicBezTo>
                  <a:cubicBezTo>
                    <a:pt x="188" y="1259"/>
                    <a:pt x="188" y="1259"/>
                    <a:pt x="188" y="1259"/>
                  </a:cubicBezTo>
                  <a:cubicBezTo>
                    <a:pt x="187" y="1259"/>
                    <a:pt x="187" y="1259"/>
                    <a:pt x="187" y="1259"/>
                  </a:cubicBezTo>
                  <a:cubicBezTo>
                    <a:pt x="187" y="1259"/>
                    <a:pt x="186" y="1259"/>
                    <a:pt x="186" y="1259"/>
                  </a:cubicBezTo>
                  <a:cubicBezTo>
                    <a:pt x="186" y="1258"/>
                    <a:pt x="186" y="1257"/>
                    <a:pt x="186" y="1256"/>
                  </a:cubicBezTo>
                  <a:cubicBezTo>
                    <a:pt x="185" y="1256"/>
                    <a:pt x="184" y="1255"/>
                    <a:pt x="183" y="1255"/>
                  </a:cubicBezTo>
                  <a:cubicBezTo>
                    <a:pt x="183" y="1255"/>
                    <a:pt x="183" y="1255"/>
                    <a:pt x="183" y="1254"/>
                  </a:cubicBezTo>
                  <a:cubicBezTo>
                    <a:pt x="183" y="1254"/>
                    <a:pt x="183" y="1254"/>
                    <a:pt x="183" y="1254"/>
                  </a:cubicBezTo>
                  <a:cubicBezTo>
                    <a:pt x="183" y="1254"/>
                    <a:pt x="183" y="1254"/>
                    <a:pt x="183" y="1254"/>
                  </a:cubicBezTo>
                  <a:cubicBezTo>
                    <a:pt x="184" y="1254"/>
                    <a:pt x="184" y="1254"/>
                    <a:pt x="185" y="1254"/>
                  </a:cubicBezTo>
                  <a:cubicBezTo>
                    <a:pt x="185" y="1254"/>
                    <a:pt x="185" y="1254"/>
                    <a:pt x="185" y="1254"/>
                  </a:cubicBezTo>
                  <a:cubicBezTo>
                    <a:pt x="185" y="1255"/>
                    <a:pt x="186" y="1255"/>
                    <a:pt x="186" y="1255"/>
                  </a:cubicBezTo>
                  <a:cubicBezTo>
                    <a:pt x="186" y="1255"/>
                    <a:pt x="186" y="1255"/>
                    <a:pt x="187" y="1255"/>
                  </a:cubicBezTo>
                  <a:cubicBezTo>
                    <a:pt x="187" y="1256"/>
                    <a:pt x="187" y="1256"/>
                    <a:pt x="187" y="1257"/>
                  </a:cubicBezTo>
                  <a:cubicBezTo>
                    <a:pt x="189" y="1259"/>
                    <a:pt x="191" y="1259"/>
                    <a:pt x="193" y="1259"/>
                  </a:cubicBezTo>
                  <a:cubicBezTo>
                    <a:pt x="194" y="1259"/>
                    <a:pt x="195" y="1259"/>
                    <a:pt x="196" y="1259"/>
                  </a:cubicBezTo>
                  <a:cubicBezTo>
                    <a:pt x="196" y="1260"/>
                    <a:pt x="196" y="1260"/>
                    <a:pt x="196" y="1260"/>
                  </a:cubicBezTo>
                  <a:cubicBezTo>
                    <a:pt x="196" y="1261"/>
                    <a:pt x="197" y="1262"/>
                    <a:pt x="197" y="1262"/>
                  </a:cubicBezTo>
                  <a:cubicBezTo>
                    <a:pt x="199" y="1263"/>
                    <a:pt x="200" y="1264"/>
                    <a:pt x="200" y="1264"/>
                  </a:cubicBezTo>
                  <a:cubicBezTo>
                    <a:pt x="201" y="1264"/>
                    <a:pt x="201" y="1264"/>
                    <a:pt x="201" y="1264"/>
                  </a:cubicBezTo>
                  <a:cubicBezTo>
                    <a:pt x="201" y="1264"/>
                    <a:pt x="201" y="1264"/>
                    <a:pt x="202" y="1265"/>
                  </a:cubicBezTo>
                  <a:cubicBezTo>
                    <a:pt x="202" y="1265"/>
                    <a:pt x="202" y="1266"/>
                    <a:pt x="203" y="1266"/>
                  </a:cubicBezTo>
                  <a:cubicBezTo>
                    <a:pt x="204" y="1266"/>
                    <a:pt x="204" y="1267"/>
                    <a:pt x="204" y="1267"/>
                  </a:cubicBezTo>
                  <a:cubicBezTo>
                    <a:pt x="202" y="1267"/>
                    <a:pt x="200" y="1268"/>
                    <a:pt x="199" y="1270"/>
                  </a:cubicBezTo>
                  <a:cubicBezTo>
                    <a:pt x="199" y="1270"/>
                    <a:pt x="198" y="1271"/>
                    <a:pt x="198" y="1272"/>
                  </a:cubicBezTo>
                  <a:cubicBezTo>
                    <a:pt x="197" y="1272"/>
                    <a:pt x="197" y="1271"/>
                    <a:pt x="196" y="1271"/>
                  </a:cubicBezTo>
                  <a:cubicBezTo>
                    <a:pt x="196" y="1271"/>
                    <a:pt x="196" y="1271"/>
                    <a:pt x="196" y="1271"/>
                  </a:cubicBezTo>
                  <a:close/>
                  <a:moveTo>
                    <a:pt x="134" y="1109"/>
                  </a:moveTo>
                  <a:cubicBezTo>
                    <a:pt x="134" y="1109"/>
                    <a:pt x="133" y="1109"/>
                    <a:pt x="133" y="1109"/>
                  </a:cubicBezTo>
                  <a:cubicBezTo>
                    <a:pt x="133" y="1109"/>
                    <a:pt x="132" y="1110"/>
                    <a:pt x="131" y="1111"/>
                  </a:cubicBezTo>
                  <a:cubicBezTo>
                    <a:pt x="131" y="1110"/>
                    <a:pt x="132" y="1110"/>
                    <a:pt x="132" y="1109"/>
                  </a:cubicBezTo>
                  <a:cubicBezTo>
                    <a:pt x="132" y="1109"/>
                    <a:pt x="132" y="1109"/>
                    <a:pt x="132" y="1109"/>
                  </a:cubicBezTo>
                  <a:cubicBezTo>
                    <a:pt x="133" y="1109"/>
                    <a:pt x="133" y="1109"/>
                    <a:pt x="134" y="1109"/>
                  </a:cubicBezTo>
                  <a:close/>
                  <a:moveTo>
                    <a:pt x="130" y="1112"/>
                  </a:moveTo>
                  <a:cubicBezTo>
                    <a:pt x="130" y="1112"/>
                    <a:pt x="130" y="1112"/>
                    <a:pt x="129" y="1112"/>
                  </a:cubicBezTo>
                  <a:cubicBezTo>
                    <a:pt x="129" y="1112"/>
                    <a:pt x="129" y="1112"/>
                    <a:pt x="129" y="1112"/>
                  </a:cubicBezTo>
                  <a:cubicBezTo>
                    <a:pt x="130" y="1112"/>
                    <a:pt x="130" y="1112"/>
                    <a:pt x="130" y="1112"/>
                  </a:cubicBezTo>
                  <a:close/>
                  <a:moveTo>
                    <a:pt x="176" y="1242"/>
                  </a:moveTo>
                  <a:cubicBezTo>
                    <a:pt x="176" y="1242"/>
                    <a:pt x="176" y="1242"/>
                    <a:pt x="176" y="1242"/>
                  </a:cubicBezTo>
                  <a:cubicBezTo>
                    <a:pt x="176" y="1242"/>
                    <a:pt x="177" y="1242"/>
                    <a:pt x="177" y="1242"/>
                  </a:cubicBezTo>
                  <a:cubicBezTo>
                    <a:pt x="178" y="1243"/>
                    <a:pt x="179" y="1243"/>
                    <a:pt x="180" y="1243"/>
                  </a:cubicBezTo>
                  <a:cubicBezTo>
                    <a:pt x="180" y="1243"/>
                    <a:pt x="180" y="1243"/>
                    <a:pt x="181" y="1243"/>
                  </a:cubicBezTo>
                  <a:cubicBezTo>
                    <a:pt x="181" y="1243"/>
                    <a:pt x="182" y="1242"/>
                    <a:pt x="182" y="1242"/>
                  </a:cubicBezTo>
                  <a:cubicBezTo>
                    <a:pt x="182" y="1242"/>
                    <a:pt x="183" y="1242"/>
                    <a:pt x="183" y="1242"/>
                  </a:cubicBezTo>
                  <a:cubicBezTo>
                    <a:pt x="183" y="1242"/>
                    <a:pt x="183" y="1242"/>
                    <a:pt x="183" y="1242"/>
                  </a:cubicBezTo>
                  <a:cubicBezTo>
                    <a:pt x="183" y="1242"/>
                    <a:pt x="182" y="1243"/>
                    <a:pt x="182" y="1243"/>
                  </a:cubicBezTo>
                  <a:cubicBezTo>
                    <a:pt x="181" y="1244"/>
                    <a:pt x="181" y="1245"/>
                    <a:pt x="181" y="1245"/>
                  </a:cubicBezTo>
                  <a:cubicBezTo>
                    <a:pt x="181" y="1246"/>
                    <a:pt x="181" y="1246"/>
                    <a:pt x="180" y="1246"/>
                  </a:cubicBezTo>
                  <a:cubicBezTo>
                    <a:pt x="179" y="1247"/>
                    <a:pt x="179" y="1248"/>
                    <a:pt x="178" y="1250"/>
                  </a:cubicBezTo>
                  <a:cubicBezTo>
                    <a:pt x="178" y="1249"/>
                    <a:pt x="178" y="1248"/>
                    <a:pt x="178" y="1247"/>
                  </a:cubicBezTo>
                  <a:cubicBezTo>
                    <a:pt x="177" y="1246"/>
                    <a:pt x="176" y="1246"/>
                    <a:pt x="175" y="1245"/>
                  </a:cubicBezTo>
                  <a:cubicBezTo>
                    <a:pt x="175" y="1245"/>
                    <a:pt x="175" y="1245"/>
                    <a:pt x="175" y="1245"/>
                  </a:cubicBezTo>
                  <a:cubicBezTo>
                    <a:pt x="175" y="1245"/>
                    <a:pt x="175" y="1244"/>
                    <a:pt x="175" y="1243"/>
                  </a:cubicBezTo>
                  <a:cubicBezTo>
                    <a:pt x="174" y="1243"/>
                    <a:pt x="174" y="1242"/>
                    <a:pt x="173" y="1241"/>
                  </a:cubicBezTo>
                  <a:cubicBezTo>
                    <a:pt x="174" y="1242"/>
                    <a:pt x="175" y="1242"/>
                    <a:pt x="176" y="1242"/>
                  </a:cubicBezTo>
                  <a:close/>
                  <a:moveTo>
                    <a:pt x="218" y="1315"/>
                  </a:moveTo>
                  <a:cubicBezTo>
                    <a:pt x="218" y="1314"/>
                    <a:pt x="217" y="1313"/>
                    <a:pt x="216" y="1313"/>
                  </a:cubicBezTo>
                  <a:cubicBezTo>
                    <a:pt x="216" y="1312"/>
                    <a:pt x="216" y="1310"/>
                    <a:pt x="215" y="1309"/>
                  </a:cubicBezTo>
                  <a:cubicBezTo>
                    <a:pt x="216" y="1310"/>
                    <a:pt x="217" y="1311"/>
                    <a:pt x="219" y="1311"/>
                  </a:cubicBezTo>
                  <a:cubicBezTo>
                    <a:pt x="220" y="1310"/>
                    <a:pt x="220" y="1310"/>
                    <a:pt x="220" y="1310"/>
                  </a:cubicBezTo>
                  <a:cubicBezTo>
                    <a:pt x="219" y="1312"/>
                    <a:pt x="219" y="1315"/>
                    <a:pt x="220" y="1317"/>
                  </a:cubicBezTo>
                  <a:cubicBezTo>
                    <a:pt x="219" y="1316"/>
                    <a:pt x="219" y="1316"/>
                    <a:pt x="218" y="1315"/>
                  </a:cubicBezTo>
                  <a:close/>
                  <a:moveTo>
                    <a:pt x="223" y="1319"/>
                  </a:moveTo>
                  <a:cubicBezTo>
                    <a:pt x="222" y="1320"/>
                    <a:pt x="222" y="1320"/>
                    <a:pt x="222" y="1321"/>
                  </a:cubicBezTo>
                  <a:cubicBezTo>
                    <a:pt x="222" y="1321"/>
                    <a:pt x="222" y="1320"/>
                    <a:pt x="222" y="1320"/>
                  </a:cubicBezTo>
                  <a:cubicBezTo>
                    <a:pt x="221" y="1319"/>
                    <a:pt x="221" y="1319"/>
                    <a:pt x="221" y="1318"/>
                  </a:cubicBezTo>
                  <a:cubicBezTo>
                    <a:pt x="222" y="1319"/>
                    <a:pt x="222" y="1319"/>
                    <a:pt x="223" y="1319"/>
                  </a:cubicBezTo>
                  <a:close/>
                  <a:moveTo>
                    <a:pt x="222" y="1324"/>
                  </a:moveTo>
                  <a:cubicBezTo>
                    <a:pt x="222" y="1324"/>
                    <a:pt x="222" y="1325"/>
                    <a:pt x="222" y="1325"/>
                  </a:cubicBezTo>
                  <a:cubicBezTo>
                    <a:pt x="224" y="1326"/>
                    <a:pt x="226" y="1327"/>
                    <a:pt x="227" y="1327"/>
                  </a:cubicBezTo>
                  <a:cubicBezTo>
                    <a:pt x="227" y="1327"/>
                    <a:pt x="228" y="1327"/>
                    <a:pt x="228" y="1327"/>
                  </a:cubicBezTo>
                  <a:cubicBezTo>
                    <a:pt x="228" y="1328"/>
                    <a:pt x="228" y="1328"/>
                    <a:pt x="228" y="1328"/>
                  </a:cubicBezTo>
                  <a:cubicBezTo>
                    <a:pt x="228" y="1329"/>
                    <a:pt x="228" y="1329"/>
                    <a:pt x="228" y="1329"/>
                  </a:cubicBezTo>
                  <a:cubicBezTo>
                    <a:pt x="227" y="1329"/>
                    <a:pt x="227" y="1329"/>
                    <a:pt x="226" y="1329"/>
                  </a:cubicBezTo>
                  <a:cubicBezTo>
                    <a:pt x="225" y="1329"/>
                    <a:pt x="224" y="1329"/>
                    <a:pt x="224" y="1329"/>
                  </a:cubicBezTo>
                  <a:cubicBezTo>
                    <a:pt x="223" y="1329"/>
                    <a:pt x="223" y="1329"/>
                    <a:pt x="223" y="1329"/>
                  </a:cubicBezTo>
                  <a:cubicBezTo>
                    <a:pt x="222" y="1329"/>
                    <a:pt x="222" y="1329"/>
                    <a:pt x="221" y="1330"/>
                  </a:cubicBezTo>
                  <a:cubicBezTo>
                    <a:pt x="222" y="1328"/>
                    <a:pt x="222" y="1326"/>
                    <a:pt x="222" y="1324"/>
                  </a:cubicBezTo>
                  <a:close/>
                  <a:moveTo>
                    <a:pt x="160" y="1117"/>
                  </a:moveTo>
                  <a:cubicBezTo>
                    <a:pt x="160" y="1117"/>
                    <a:pt x="160" y="1116"/>
                    <a:pt x="160" y="1116"/>
                  </a:cubicBezTo>
                  <a:cubicBezTo>
                    <a:pt x="160" y="1117"/>
                    <a:pt x="161" y="1117"/>
                    <a:pt x="162" y="1118"/>
                  </a:cubicBezTo>
                  <a:cubicBezTo>
                    <a:pt x="162" y="1118"/>
                    <a:pt x="163" y="1119"/>
                    <a:pt x="163" y="1119"/>
                  </a:cubicBezTo>
                  <a:cubicBezTo>
                    <a:pt x="163" y="1119"/>
                    <a:pt x="163" y="1119"/>
                    <a:pt x="164" y="1119"/>
                  </a:cubicBezTo>
                  <a:cubicBezTo>
                    <a:pt x="164" y="1120"/>
                    <a:pt x="164" y="1120"/>
                    <a:pt x="164" y="1120"/>
                  </a:cubicBezTo>
                  <a:cubicBezTo>
                    <a:pt x="164" y="1121"/>
                    <a:pt x="165" y="1122"/>
                    <a:pt x="165" y="1123"/>
                  </a:cubicBezTo>
                  <a:cubicBezTo>
                    <a:pt x="165" y="1123"/>
                    <a:pt x="165" y="1123"/>
                    <a:pt x="166" y="1123"/>
                  </a:cubicBezTo>
                  <a:cubicBezTo>
                    <a:pt x="166" y="1124"/>
                    <a:pt x="167" y="1126"/>
                    <a:pt x="169" y="1126"/>
                  </a:cubicBezTo>
                  <a:cubicBezTo>
                    <a:pt x="169" y="1127"/>
                    <a:pt x="169" y="1127"/>
                    <a:pt x="169" y="1127"/>
                  </a:cubicBezTo>
                  <a:cubicBezTo>
                    <a:pt x="169" y="1128"/>
                    <a:pt x="169" y="1128"/>
                    <a:pt x="169" y="1129"/>
                  </a:cubicBezTo>
                  <a:cubicBezTo>
                    <a:pt x="169" y="1131"/>
                    <a:pt x="170" y="1133"/>
                    <a:pt x="171" y="1134"/>
                  </a:cubicBezTo>
                  <a:cubicBezTo>
                    <a:pt x="172" y="1135"/>
                    <a:pt x="172" y="1135"/>
                    <a:pt x="172" y="1135"/>
                  </a:cubicBezTo>
                  <a:cubicBezTo>
                    <a:pt x="172" y="1135"/>
                    <a:pt x="172" y="1136"/>
                    <a:pt x="173" y="1136"/>
                  </a:cubicBezTo>
                  <a:cubicBezTo>
                    <a:pt x="173" y="1137"/>
                    <a:pt x="173" y="1138"/>
                    <a:pt x="174" y="1139"/>
                  </a:cubicBezTo>
                  <a:cubicBezTo>
                    <a:pt x="174" y="1140"/>
                    <a:pt x="175" y="1140"/>
                    <a:pt x="175" y="1140"/>
                  </a:cubicBezTo>
                  <a:cubicBezTo>
                    <a:pt x="175" y="1141"/>
                    <a:pt x="176" y="1141"/>
                    <a:pt x="176" y="1141"/>
                  </a:cubicBezTo>
                  <a:cubicBezTo>
                    <a:pt x="175" y="1142"/>
                    <a:pt x="174" y="1143"/>
                    <a:pt x="173" y="1144"/>
                  </a:cubicBezTo>
                  <a:cubicBezTo>
                    <a:pt x="172" y="1145"/>
                    <a:pt x="172" y="1145"/>
                    <a:pt x="171" y="1145"/>
                  </a:cubicBezTo>
                  <a:cubicBezTo>
                    <a:pt x="171" y="1145"/>
                    <a:pt x="171" y="1145"/>
                    <a:pt x="170" y="1145"/>
                  </a:cubicBezTo>
                  <a:cubicBezTo>
                    <a:pt x="170" y="1145"/>
                    <a:pt x="169" y="1145"/>
                    <a:pt x="168" y="1145"/>
                  </a:cubicBezTo>
                  <a:cubicBezTo>
                    <a:pt x="167" y="1145"/>
                    <a:pt x="165" y="1145"/>
                    <a:pt x="165" y="1146"/>
                  </a:cubicBezTo>
                  <a:cubicBezTo>
                    <a:pt x="164" y="1145"/>
                    <a:pt x="163" y="1145"/>
                    <a:pt x="162" y="1145"/>
                  </a:cubicBezTo>
                  <a:cubicBezTo>
                    <a:pt x="162" y="1145"/>
                    <a:pt x="162" y="1145"/>
                    <a:pt x="162" y="1145"/>
                  </a:cubicBezTo>
                  <a:cubicBezTo>
                    <a:pt x="161" y="1145"/>
                    <a:pt x="161" y="1145"/>
                    <a:pt x="161" y="1145"/>
                  </a:cubicBezTo>
                  <a:cubicBezTo>
                    <a:pt x="160" y="1145"/>
                    <a:pt x="160" y="1145"/>
                    <a:pt x="160" y="1145"/>
                  </a:cubicBezTo>
                  <a:cubicBezTo>
                    <a:pt x="161" y="1145"/>
                    <a:pt x="161" y="1145"/>
                    <a:pt x="161" y="1144"/>
                  </a:cubicBezTo>
                  <a:cubicBezTo>
                    <a:pt x="161" y="1144"/>
                    <a:pt x="163" y="1143"/>
                    <a:pt x="163" y="1142"/>
                  </a:cubicBezTo>
                  <a:cubicBezTo>
                    <a:pt x="164" y="1140"/>
                    <a:pt x="164" y="1139"/>
                    <a:pt x="164" y="1138"/>
                  </a:cubicBezTo>
                  <a:cubicBezTo>
                    <a:pt x="164" y="1138"/>
                    <a:pt x="164" y="1138"/>
                    <a:pt x="164" y="1138"/>
                  </a:cubicBezTo>
                  <a:cubicBezTo>
                    <a:pt x="164" y="1137"/>
                    <a:pt x="164" y="1137"/>
                    <a:pt x="164" y="1137"/>
                  </a:cubicBezTo>
                  <a:cubicBezTo>
                    <a:pt x="164" y="1136"/>
                    <a:pt x="164" y="1135"/>
                    <a:pt x="163" y="1134"/>
                  </a:cubicBezTo>
                  <a:cubicBezTo>
                    <a:pt x="163" y="1132"/>
                    <a:pt x="161" y="1130"/>
                    <a:pt x="159" y="1130"/>
                  </a:cubicBezTo>
                  <a:cubicBezTo>
                    <a:pt x="159" y="1130"/>
                    <a:pt x="159" y="1129"/>
                    <a:pt x="159" y="1129"/>
                  </a:cubicBezTo>
                  <a:cubicBezTo>
                    <a:pt x="159" y="1128"/>
                    <a:pt x="159" y="1128"/>
                    <a:pt x="159" y="1127"/>
                  </a:cubicBezTo>
                  <a:cubicBezTo>
                    <a:pt x="159" y="1124"/>
                    <a:pt x="157" y="1123"/>
                    <a:pt x="156" y="1123"/>
                  </a:cubicBezTo>
                  <a:cubicBezTo>
                    <a:pt x="156" y="1122"/>
                    <a:pt x="156" y="1122"/>
                    <a:pt x="156" y="1122"/>
                  </a:cubicBezTo>
                  <a:cubicBezTo>
                    <a:pt x="155" y="1121"/>
                    <a:pt x="155" y="1121"/>
                    <a:pt x="155" y="1121"/>
                  </a:cubicBezTo>
                  <a:cubicBezTo>
                    <a:pt x="155" y="1121"/>
                    <a:pt x="155" y="1121"/>
                    <a:pt x="155" y="1120"/>
                  </a:cubicBezTo>
                  <a:cubicBezTo>
                    <a:pt x="157" y="1120"/>
                    <a:pt x="159" y="1119"/>
                    <a:pt x="160" y="1117"/>
                  </a:cubicBezTo>
                  <a:close/>
                  <a:moveTo>
                    <a:pt x="137" y="1105"/>
                  </a:moveTo>
                  <a:cubicBezTo>
                    <a:pt x="137" y="1105"/>
                    <a:pt x="137" y="1105"/>
                    <a:pt x="137" y="1104"/>
                  </a:cubicBezTo>
                  <a:cubicBezTo>
                    <a:pt x="137" y="1104"/>
                    <a:pt x="137" y="1105"/>
                    <a:pt x="138" y="1105"/>
                  </a:cubicBezTo>
                  <a:cubicBezTo>
                    <a:pt x="138" y="1105"/>
                    <a:pt x="138" y="1105"/>
                    <a:pt x="138" y="1105"/>
                  </a:cubicBezTo>
                  <a:cubicBezTo>
                    <a:pt x="138" y="1105"/>
                    <a:pt x="137" y="1105"/>
                    <a:pt x="137" y="1105"/>
                  </a:cubicBezTo>
                  <a:close/>
                  <a:moveTo>
                    <a:pt x="169" y="1277"/>
                  </a:moveTo>
                  <a:cubicBezTo>
                    <a:pt x="169" y="1277"/>
                    <a:pt x="169" y="1276"/>
                    <a:pt x="169" y="1276"/>
                  </a:cubicBezTo>
                  <a:cubicBezTo>
                    <a:pt x="169" y="1276"/>
                    <a:pt x="170" y="1277"/>
                    <a:pt x="170" y="1277"/>
                  </a:cubicBezTo>
                  <a:cubicBezTo>
                    <a:pt x="171" y="1278"/>
                    <a:pt x="172" y="1279"/>
                    <a:pt x="174" y="1279"/>
                  </a:cubicBezTo>
                  <a:cubicBezTo>
                    <a:pt x="175" y="1279"/>
                    <a:pt x="175" y="1279"/>
                    <a:pt x="176" y="1278"/>
                  </a:cubicBezTo>
                  <a:cubicBezTo>
                    <a:pt x="178" y="1277"/>
                    <a:pt x="178" y="1276"/>
                    <a:pt x="179" y="1276"/>
                  </a:cubicBezTo>
                  <a:cubicBezTo>
                    <a:pt x="179" y="1276"/>
                    <a:pt x="179" y="1276"/>
                    <a:pt x="179" y="1276"/>
                  </a:cubicBezTo>
                  <a:cubicBezTo>
                    <a:pt x="179" y="1276"/>
                    <a:pt x="179" y="1276"/>
                    <a:pt x="180" y="1276"/>
                  </a:cubicBezTo>
                  <a:cubicBezTo>
                    <a:pt x="181" y="1276"/>
                    <a:pt x="182" y="1277"/>
                    <a:pt x="183" y="1277"/>
                  </a:cubicBezTo>
                  <a:cubicBezTo>
                    <a:pt x="182" y="1277"/>
                    <a:pt x="182" y="1278"/>
                    <a:pt x="181" y="1279"/>
                  </a:cubicBezTo>
                  <a:cubicBezTo>
                    <a:pt x="181" y="1279"/>
                    <a:pt x="181" y="1280"/>
                    <a:pt x="182" y="1282"/>
                  </a:cubicBezTo>
                  <a:cubicBezTo>
                    <a:pt x="182" y="1282"/>
                    <a:pt x="182" y="1282"/>
                    <a:pt x="182" y="1282"/>
                  </a:cubicBezTo>
                  <a:cubicBezTo>
                    <a:pt x="182" y="1284"/>
                    <a:pt x="183" y="1285"/>
                    <a:pt x="184" y="1285"/>
                  </a:cubicBezTo>
                  <a:cubicBezTo>
                    <a:pt x="184" y="1286"/>
                    <a:pt x="185" y="1286"/>
                    <a:pt x="185" y="1286"/>
                  </a:cubicBezTo>
                  <a:cubicBezTo>
                    <a:pt x="185" y="1286"/>
                    <a:pt x="185" y="1287"/>
                    <a:pt x="185" y="1287"/>
                  </a:cubicBezTo>
                  <a:cubicBezTo>
                    <a:pt x="185" y="1287"/>
                    <a:pt x="185" y="1287"/>
                    <a:pt x="184" y="1287"/>
                  </a:cubicBezTo>
                  <a:cubicBezTo>
                    <a:pt x="183" y="1287"/>
                    <a:pt x="182" y="1287"/>
                    <a:pt x="181" y="1287"/>
                  </a:cubicBezTo>
                  <a:cubicBezTo>
                    <a:pt x="180" y="1286"/>
                    <a:pt x="179" y="1285"/>
                    <a:pt x="178" y="1284"/>
                  </a:cubicBezTo>
                  <a:cubicBezTo>
                    <a:pt x="177" y="1283"/>
                    <a:pt x="177" y="1283"/>
                    <a:pt x="177" y="1283"/>
                  </a:cubicBezTo>
                  <a:cubicBezTo>
                    <a:pt x="176" y="1282"/>
                    <a:pt x="175" y="1281"/>
                    <a:pt x="173" y="1281"/>
                  </a:cubicBezTo>
                  <a:cubicBezTo>
                    <a:pt x="173" y="1280"/>
                    <a:pt x="172" y="1280"/>
                    <a:pt x="171" y="1280"/>
                  </a:cubicBezTo>
                  <a:cubicBezTo>
                    <a:pt x="170" y="1280"/>
                    <a:pt x="170" y="1280"/>
                    <a:pt x="169" y="1280"/>
                  </a:cubicBezTo>
                  <a:cubicBezTo>
                    <a:pt x="169" y="1280"/>
                    <a:pt x="169" y="1280"/>
                    <a:pt x="168" y="1280"/>
                  </a:cubicBezTo>
                  <a:cubicBezTo>
                    <a:pt x="168" y="1280"/>
                    <a:pt x="168" y="1280"/>
                    <a:pt x="168" y="1280"/>
                  </a:cubicBezTo>
                  <a:cubicBezTo>
                    <a:pt x="167" y="1280"/>
                    <a:pt x="167" y="1280"/>
                    <a:pt x="167" y="1280"/>
                  </a:cubicBezTo>
                  <a:cubicBezTo>
                    <a:pt x="167" y="1280"/>
                    <a:pt x="167" y="1280"/>
                    <a:pt x="166" y="1280"/>
                  </a:cubicBezTo>
                  <a:cubicBezTo>
                    <a:pt x="166" y="1280"/>
                    <a:pt x="166" y="1280"/>
                    <a:pt x="166" y="1280"/>
                  </a:cubicBezTo>
                  <a:cubicBezTo>
                    <a:pt x="168" y="1280"/>
                    <a:pt x="168" y="1278"/>
                    <a:pt x="169" y="1277"/>
                  </a:cubicBezTo>
                  <a:close/>
                  <a:moveTo>
                    <a:pt x="211" y="1331"/>
                  </a:moveTo>
                  <a:cubicBezTo>
                    <a:pt x="211" y="1331"/>
                    <a:pt x="211" y="1331"/>
                    <a:pt x="211" y="1331"/>
                  </a:cubicBezTo>
                  <a:cubicBezTo>
                    <a:pt x="211" y="1331"/>
                    <a:pt x="211" y="1331"/>
                    <a:pt x="211" y="1331"/>
                  </a:cubicBezTo>
                  <a:cubicBezTo>
                    <a:pt x="212" y="1332"/>
                    <a:pt x="212" y="1332"/>
                    <a:pt x="213" y="1333"/>
                  </a:cubicBezTo>
                  <a:cubicBezTo>
                    <a:pt x="212" y="1333"/>
                    <a:pt x="212" y="1333"/>
                    <a:pt x="212" y="1333"/>
                  </a:cubicBezTo>
                  <a:cubicBezTo>
                    <a:pt x="211" y="1332"/>
                    <a:pt x="211" y="1331"/>
                    <a:pt x="210" y="1330"/>
                  </a:cubicBezTo>
                  <a:cubicBezTo>
                    <a:pt x="210" y="1331"/>
                    <a:pt x="210" y="1331"/>
                    <a:pt x="211" y="1331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6" name="Freeform 36"/>
            <p:cNvSpPr>
              <a:spLocks/>
            </p:cNvSpPr>
            <p:nvPr/>
          </p:nvSpPr>
          <p:spPr bwMode="auto">
            <a:xfrm>
              <a:off x="3209" y="4237"/>
              <a:ext cx="49" cy="22"/>
            </a:xfrm>
            <a:custGeom>
              <a:avLst/>
              <a:gdLst>
                <a:gd name="T0" fmla="*/ 28 w 32"/>
                <a:gd name="T1" fmla="*/ 1 h 14"/>
                <a:gd name="T2" fmla="*/ 26 w 32"/>
                <a:gd name="T3" fmla="*/ 0 h 14"/>
                <a:gd name="T4" fmla="*/ 22 w 32"/>
                <a:gd name="T5" fmla="*/ 1 h 14"/>
                <a:gd name="T6" fmla="*/ 19 w 32"/>
                <a:gd name="T7" fmla="*/ 1 h 14"/>
                <a:gd name="T8" fmla="*/ 18 w 32"/>
                <a:gd name="T9" fmla="*/ 1 h 14"/>
                <a:gd name="T10" fmla="*/ 15 w 32"/>
                <a:gd name="T11" fmla="*/ 1 h 14"/>
                <a:gd name="T12" fmla="*/ 11 w 32"/>
                <a:gd name="T13" fmla="*/ 0 h 14"/>
                <a:gd name="T14" fmla="*/ 9 w 32"/>
                <a:gd name="T15" fmla="*/ 0 h 14"/>
                <a:gd name="T16" fmla="*/ 7 w 32"/>
                <a:gd name="T17" fmla="*/ 1 h 14"/>
                <a:gd name="T18" fmla="*/ 7 w 32"/>
                <a:gd name="T19" fmla="*/ 2 h 14"/>
                <a:gd name="T20" fmla="*/ 7 w 32"/>
                <a:gd name="T21" fmla="*/ 2 h 14"/>
                <a:gd name="T22" fmla="*/ 5 w 32"/>
                <a:gd name="T23" fmla="*/ 2 h 14"/>
                <a:gd name="T24" fmla="*/ 3 w 32"/>
                <a:gd name="T25" fmla="*/ 2 h 14"/>
                <a:gd name="T26" fmla="*/ 0 w 32"/>
                <a:gd name="T27" fmla="*/ 2 h 14"/>
                <a:gd name="T28" fmla="*/ 0 w 32"/>
                <a:gd name="T29" fmla="*/ 6 h 14"/>
                <a:gd name="T30" fmla="*/ 3 w 32"/>
                <a:gd name="T31" fmla="*/ 12 h 14"/>
                <a:gd name="T32" fmla="*/ 5 w 32"/>
                <a:gd name="T33" fmla="*/ 12 h 14"/>
                <a:gd name="T34" fmla="*/ 6 w 32"/>
                <a:gd name="T35" fmla="*/ 12 h 14"/>
                <a:gd name="T36" fmla="*/ 6 w 32"/>
                <a:gd name="T37" fmla="*/ 14 h 14"/>
                <a:gd name="T38" fmla="*/ 8 w 32"/>
                <a:gd name="T39" fmla="*/ 14 h 14"/>
                <a:gd name="T40" fmla="*/ 12 w 32"/>
                <a:gd name="T41" fmla="*/ 11 h 14"/>
                <a:gd name="T42" fmla="*/ 18 w 32"/>
                <a:gd name="T43" fmla="*/ 9 h 14"/>
                <a:gd name="T44" fmla="*/ 21 w 32"/>
                <a:gd name="T45" fmla="*/ 10 h 14"/>
                <a:gd name="T46" fmla="*/ 26 w 32"/>
                <a:gd name="T47" fmla="*/ 10 h 14"/>
                <a:gd name="T48" fmla="*/ 26 w 32"/>
                <a:gd name="T49" fmla="*/ 9 h 14"/>
                <a:gd name="T50" fmla="*/ 32 w 32"/>
                <a:gd name="T51" fmla="*/ 5 h 14"/>
                <a:gd name="T52" fmla="*/ 28 w 32"/>
                <a:gd name="T5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" h="14">
                  <a:moveTo>
                    <a:pt x="28" y="1"/>
                  </a:moveTo>
                  <a:cubicBezTo>
                    <a:pt x="27" y="0"/>
                    <a:pt x="26" y="0"/>
                    <a:pt x="26" y="0"/>
                  </a:cubicBezTo>
                  <a:cubicBezTo>
                    <a:pt x="24" y="0"/>
                    <a:pt x="23" y="1"/>
                    <a:pt x="22" y="1"/>
                  </a:cubicBezTo>
                  <a:cubicBezTo>
                    <a:pt x="21" y="1"/>
                    <a:pt x="20" y="1"/>
                    <a:pt x="19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5" y="2"/>
                    <a:pt x="5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8"/>
                    <a:pt x="1" y="11"/>
                    <a:pt x="3" y="12"/>
                  </a:cubicBezTo>
                  <a:cubicBezTo>
                    <a:pt x="4" y="12"/>
                    <a:pt x="5" y="12"/>
                    <a:pt x="5" y="12"/>
                  </a:cubicBezTo>
                  <a:cubicBezTo>
                    <a:pt x="5" y="12"/>
                    <a:pt x="5" y="12"/>
                    <a:pt x="6" y="12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1" y="14"/>
                    <a:pt x="12" y="12"/>
                    <a:pt x="12" y="11"/>
                  </a:cubicBezTo>
                  <a:cubicBezTo>
                    <a:pt x="14" y="11"/>
                    <a:pt x="16" y="10"/>
                    <a:pt x="18" y="9"/>
                  </a:cubicBezTo>
                  <a:cubicBezTo>
                    <a:pt x="19" y="10"/>
                    <a:pt x="20" y="10"/>
                    <a:pt x="21" y="10"/>
                  </a:cubicBezTo>
                  <a:cubicBezTo>
                    <a:pt x="23" y="10"/>
                    <a:pt x="24" y="10"/>
                    <a:pt x="26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9" y="9"/>
                    <a:pt x="32" y="7"/>
                    <a:pt x="32" y="5"/>
                  </a:cubicBezTo>
                  <a:cubicBezTo>
                    <a:pt x="32" y="3"/>
                    <a:pt x="31" y="1"/>
                    <a:pt x="28" y="1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7" name="Freeform 37"/>
            <p:cNvSpPr>
              <a:spLocks/>
            </p:cNvSpPr>
            <p:nvPr/>
          </p:nvSpPr>
          <p:spPr bwMode="auto">
            <a:xfrm>
              <a:off x="2632" y="365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8" name="Freeform 38"/>
            <p:cNvSpPr>
              <a:spLocks/>
            </p:cNvSpPr>
            <p:nvPr/>
          </p:nvSpPr>
          <p:spPr bwMode="auto">
            <a:xfrm>
              <a:off x="2398" y="2186"/>
              <a:ext cx="852" cy="1915"/>
            </a:xfrm>
            <a:custGeom>
              <a:avLst/>
              <a:gdLst>
                <a:gd name="T0" fmla="*/ 537 w 556"/>
                <a:gd name="T1" fmla="*/ 626 h 1250"/>
                <a:gd name="T2" fmla="*/ 505 w 556"/>
                <a:gd name="T3" fmla="*/ 585 h 1250"/>
                <a:gd name="T4" fmla="*/ 480 w 556"/>
                <a:gd name="T5" fmla="*/ 539 h 1250"/>
                <a:gd name="T6" fmla="*/ 441 w 556"/>
                <a:gd name="T7" fmla="*/ 468 h 1250"/>
                <a:gd name="T8" fmla="*/ 441 w 556"/>
                <a:gd name="T9" fmla="*/ 411 h 1250"/>
                <a:gd name="T10" fmla="*/ 442 w 556"/>
                <a:gd name="T11" fmla="*/ 351 h 1250"/>
                <a:gd name="T12" fmla="*/ 484 w 556"/>
                <a:gd name="T13" fmla="*/ 285 h 1250"/>
                <a:gd name="T14" fmla="*/ 553 w 556"/>
                <a:gd name="T15" fmla="*/ 190 h 1250"/>
                <a:gd name="T16" fmla="*/ 507 w 556"/>
                <a:gd name="T17" fmla="*/ 212 h 1250"/>
                <a:gd name="T18" fmla="*/ 461 w 556"/>
                <a:gd name="T19" fmla="*/ 234 h 1250"/>
                <a:gd name="T20" fmla="*/ 414 w 556"/>
                <a:gd name="T21" fmla="*/ 229 h 1250"/>
                <a:gd name="T22" fmla="*/ 402 w 556"/>
                <a:gd name="T23" fmla="*/ 176 h 1250"/>
                <a:gd name="T24" fmla="*/ 343 w 556"/>
                <a:gd name="T25" fmla="*/ 110 h 1250"/>
                <a:gd name="T26" fmla="*/ 261 w 556"/>
                <a:gd name="T27" fmla="*/ 66 h 1250"/>
                <a:gd name="T28" fmla="*/ 191 w 556"/>
                <a:gd name="T29" fmla="*/ 9 h 1250"/>
                <a:gd name="T30" fmla="*/ 143 w 556"/>
                <a:gd name="T31" fmla="*/ 17 h 1250"/>
                <a:gd name="T32" fmla="*/ 84 w 556"/>
                <a:gd name="T33" fmla="*/ 5 h 1250"/>
                <a:gd name="T34" fmla="*/ 56 w 556"/>
                <a:gd name="T35" fmla="*/ 91 h 1250"/>
                <a:gd name="T36" fmla="*/ 29 w 556"/>
                <a:gd name="T37" fmla="*/ 168 h 1250"/>
                <a:gd name="T38" fmla="*/ 31 w 556"/>
                <a:gd name="T39" fmla="*/ 221 h 1250"/>
                <a:gd name="T40" fmla="*/ 14 w 556"/>
                <a:gd name="T41" fmla="*/ 260 h 1250"/>
                <a:gd name="T42" fmla="*/ 10 w 556"/>
                <a:gd name="T43" fmla="*/ 331 h 1250"/>
                <a:gd name="T44" fmla="*/ 1 w 556"/>
                <a:gd name="T45" fmla="*/ 396 h 1250"/>
                <a:gd name="T46" fmla="*/ 29 w 556"/>
                <a:gd name="T47" fmla="*/ 447 h 1250"/>
                <a:gd name="T48" fmla="*/ 51 w 556"/>
                <a:gd name="T49" fmla="*/ 498 h 1250"/>
                <a:gd name="T50" fmla="*/ 58 w 556"/>
                <a:gd name="T51" fmla="*/ 588 h 1250"/>
                <a:gd name="T52" fmla="*/ 50 w 556"/>
                <a:gd name="T53" fmla="*/ 647 h 1250"/>
                <a:gd name="T54" fmla="*/ 64 w 556"/>
                <a:gd name="T55" fmla="*/ 735 h 1250"/>
                <a:gd name="T56" fmla="*/ 80 w 556"/>
                <a:gd name="T57" fmla="*/ 810 h 1250"/>
                <a:gd name="T58" fmla="*/ 92 w 556"/>
                <a:gd name="T59" fmla="*/ 863 h 1250"/>
                <a:gd name="T60" fmla="*/ 122 w 556"/>
                <a:gd name="T61" fmla="*/ 907 h 1250"/>
                <a:gd name="T62" fmla="*/ 143 w 556"/>
                <a:gd name="T63" fmla="*/ 946 h 1250"/>
                <a:gd name="T64" fmla="*/ 155 w 556"/>
                <a:gd name="T65" fmla="*/ 974 h 1250"/>
                <a:gd name="T66" fmla="*/ 166 w 556"/>
                <a:gd name="T67" fmla="*/ 1015 h 1250"/>
                <a:gd name="T68" fmla="*/ 173 w 556"/>
                <a:gd name="T69" fmla="*/ 1096 h 1250"/>
                <a:gd name="T70" fmla="*/ 164 w 556"/>
                <a:gd name="T71" fmla="*/ 1142 h 1250"/>
                <a:gd name="T72" fmla="*/ 197 w 556"/>
                <a:gd name="T73" fmla="*/ 1184 h 1250"/>
                <a:gd name="T74" fmla="*/ 239 w 556"/>
                <a:gd name="T75" fmla="*/ 1220 h 1250"/>
                <a:gd name="T76" fmla="*/ 367 w 556"/>
                <a:gd name="T77" fmla="*/ 1239 h 1250"/>
                <a:gd name="T78" fmla="*/ 336 w 556"/>
                <a:gd name="T79" fmla="*/ 1165 h 1250"/>
                <a:gd name="T80" fmla="*/ 344 w 556"/>
                <a:gd name="T81" fmla="*/ 1114 h 1250"/>
                <a:gd name="T82" fmla="*/ 380 w 556"/>
                <a:gd name="T83" fmla="*/ 1077 h 1250"/>
                <a:gd name="T84" fmla="*/ 344 w 556"/>
                <a:gd name="T85" fmla="*/ 1035 h 1250"/>
                <a:gd name="T86" fmla="*/ 321 w 556"/>
                <a:gd name="T87" fmla="*/ 1025 h 1250"/>
                <a:gd name="T88" fmla="*/ 300 w 556"/>
                <a:gd name="T89" fmla="*/ 970 h 1250"/>
                <a:gd name="T90" fmla="*/ 332 w 556"/>
                <a:gd name="T91" fmla="*/ 959 h 1250"/>
                <a:gd name="T92" fmla="*/ 343 w 556"/>
                <a:gd name="T93" fmla="*/ 932 h 1250"/>
                <a:gd name="T94" fmla="*/ 333 w 556"/>
                <a:gd name="T95" fmla="*/ 897 h 1250"/>
                <a:gd name="T96" fmla="*/ 348 w 556"/>
                <a:gd name="T97" fmla="*/ 880 h 1250"/>
                <a:gd name="T98" fmla="*/ 333 w 556"/>
                <a:gd name="T99" fmla="*/ 859 h 1250"/>
                <a:gd name="T100" fmla="*/ 373 w 556"/>
                <a:gd name="T101" fmla="*/ 854 h 1250"/>
                <a:gd name="T102" fmla="*/ 349 w 556"/>
                <a:gd name="T103" fmla="*/ 846 h 1250"/>
                <a:gd name="T104" fmla="*/ 326 w 556"/>
                <a:gd name="T105" fmla="*/ 839 h 1250"/>
                <a:gd name="T106" fmla="*/ 313 w 556"/>
                <a:gd name="T107" fmla="*/ 819 h 1250"/>
                <a:gd name="T108" fmla="*/ 338 w 556"/>
                <a:gd name="T109" fmla="*/ 798 h 1250"/>
                <a:gd name="T110" fmla="*/ 393 w 556"/>
                <a:gd name="T111" fmla="*/ 777 h 1250"/>
                <a:gd name="T112" fmla="*/ 385 w 556"/>
                <a:gd name="T113" fmla="*/ 739 h 1250"/>
                <a:gd name="T114" fmla="*/ 400 w 556"/>
                <a:gd name="T115" fmla="*/ 712 h 1250"/>
                <a:gd name="T116" fmla="*/ 448 w 556"/>
                <a:gd name="T117" fmla="*/ 706 h 1250"/>
                <a:gd name="T118" fmla="*/ 496 w 556"/>
                <a:gd name="T119" fmla="*/ 691 h 1250"/>
                <a:gd name="T120" fmla="*/ 519 w 556"/>
                <a:gd name="T121" fmla="*/ 668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6" h="1250">
                  <a:moveTo>
                    <a:pt x="530" y="646"/>
                  </a:moveTo>
                  <a:cubicBezTo>
                    <a:pt x="530" y="645"/>
                    <a:pt x="530" y="644"/>
                    <a:pt x="531" y="643"/>
                  </a:cubicBezTo>
                  <a:cubicBezTo>
                    <a:pt x="531" y="642"/>
                    <a:pt x="532" y="641"/>
                    <a:pt x="532" y="640"/>
                  </a:cubicBezTo>
                  <a:cubicBezTo>
                    <a:pt x="532" y="640"/>
                    <a:pt x="532" y="639"/>
                    <a:pt x="532" y="639"/>
                  </a:cubicBezTo>
                  <a:cubicBezTo>
                    <a:pt x="532" y="638"/>
                    <a:pt x="532" y="638"/>
                    <a:pt x="533" y="637"/>
                  </a:cubicBezTo>
                  <a:cubicBezTo>
                    <a:pt x="533" y="637"/>
                    <a:pt x="533" y="637"/>
                    <a:pt x="533" y="636"/>
                  </a:cubicBezTo>
                  <a:cubicBezTo>
                    <a:pt x="534" y="635"/>
                    <a:pt x="534" y="634"/>
                    <a:pt x="534" y="634"/>
                  </a:cubicBezTo>
                  <a:cubicBezTo>
                    <a:pt x="534" y="633"/>
                    <a:pt x="534" y="632"/>
                    <a:pt x="534" y="632"/>
                  </a:cubicBezTo>
                  <a:cubicBezTo>
                    <a:pt x="535" y="632"/>
                    <a:pt x="535" y="631"/>
                    <a:pt x="535" y="631"/>
                  </a:cubicBezTo>
                  <a:cubicBezTo>
                    <a:pt x="535" y="631"/>
                    <a:pt x="536" y="630"/>
                    <a:pt x="536" y="629"/>
                  </a:cubicBezTo>
                  <a:cubicBezTo>
                    <a:pt x="536" y="629"/>
                    <a:pt x="536" y="629"/>
                    <a:pt x="536" y="629"/>
                  </a:cubicBezTo>
                  <a:cubicBezTo>
                    <a:pt x="536" y="628"/>
                    <a:pt x="536" y="628"/>
                    <a:pt x="536" y="628"/>
                  </a:cubicBezTo>
                  <a:cubicBezTo>
                    <a:pt x="536" y="628"/>
                    <a:pt x="536" y="628"/>
                    <a:pt x="536" y="628"/>
                  </a:cubicBezTo>
                  <a:cubicBezTo>
                    <a:pt x="537" y="627"/>
                    <a:pt x="537" y="627"/>
                    <a:pt x="537" y="627"/>
                  </a:cubicBezTo>
                  <a:cubicBezTo>
                    <a:pt x="537" y="626"/>
                    <a:pt x="537" y="626"/>
                    <a:pt x="537" y="626"/>
                  </a:cubicBezTo>
                  <a:cubicBezTo>
                    <a:pt x="537" y="625"/>
                    <a:pt x="537" y="624"/>
                    <a:pt x="537" y="623"/>
                  </a:cubicBezTo>
                  <a:cubicBezTo>
                    <a:pt x="537" y="622"/>
                    <a:pt x="537" y="621"/>
                    <a:pt x="537" y="621"/>
                  </a:cubicBezTo>
                  <a:cubicBezTo>
                    <a:pt x="537" y="619"/>
                    <a:pt x="536" y="618"/>
                    <a:pt x="536" y="616"/>
                  </a:cubicBezTo>
                  <a:cubicBezTo>
                    <a:pt x="536" y="616"/>
                    <a:pt x="536" y="616"/>
                    <a:pt x="536" y="616"/>
                  </a:cubicBezTo>
                  <a:cubicBezTo>
                    <a:pt x="535" y="615"/>
                    <a:pt x="535" y="614"/>
                    <a:pt x="535" y="613"/>
                  </a:cubicBezTo>
                  <a:cubicBezTo>
                    <a:pt x="535" y="610"/>
                    <a:pt x="535" y="607"/>
                    <a:pt x="532" y="605"/>
                  </a:cubicBezTo>
                  <a:cubicBezTo>
                    <a:pt x="532" y="604"/>
                    <a:pt x="532" y="603"/>
                    <a:pt x="531" y="603"/>
                  </a:cubicBezTo>
                  <a:cubicBezTo>
                    <a:pt x="531" y="601"/>
                    <a:pt x="529" y="598"/>
                    <a:pt x="526" y="598"/>
                  </a:cubicBezTo>
                  <a:cubicBezTo>
                    <a:pt x="526" y="598"/>
                    <a:pt x="526" y="598"/>
                    <a:pt x="525" y="598"/>
                  </a:cubicBezTo>
                  <a:cubicBezTo>
                    <a:pt x="524" y="598"/>
                    <a:pt x="523" y="598"/>
                    <a:pt x="522" y="599"/>
                  </a:cubicBezTo>
                  <a:cubicBezTo>
                    <a:pt x="521" y="599"/>
                    <a:pt x="521" y="599"/>
                    <a:pt x="520" y="599"/>
                  </a:cubicBezTo>
                  <a:cubicBezTo>
                    <a:pt x="520" y="599"/>
                    <a:pt x="520" y="599"/>
                    <a:pt x="520" y="599"/>
                  </a:cubicBezTo>
                  <a:cubicBezTo>
                    <a:pt x="515" y="596"/>
                    <a:pt x="512" y="593"/>
                    <a:pt x="509" y="590"/>
                  </a:cubicBezTo>
                  <a:cubicBezTo>
                    <a:pt x="508" y="589"/>
                    <a:pt x="507" y="588"/>
                    <a:pt x="506" y="586"/>
                  </a:cubicBezTo>
                  <a:cubicBezTo>
                    <a:pt x="506" y="586"/>
                    <a:pt x="506" y="586"/>
                    <a:pt x="505" y="585"/>
                  </a:cubicBezTo>
                  <a:cubicBezTo>
                    <a:pt x="505" y="585"/>
                    <a:pt x="505" y="584"/>
                    <a:pt x="504" y="583"/>
                  </a:cubicBezTo>
                  <a:cubicBezTo>
                    <a:pt x="504" y="582"/>
                    <a:pt x="504" y="582"/>
                    <a:pt x="504" y="582"/>
                  </a:cubicBezTo>
                  <a:cubicBezTo>
                    <a:pt x="502" y="580"/>
                    <a:pt x="502" y="579"/>
                    <a:pt x="502" y="578"/>
                  </a:cubicBezTo>
                  <a:cubicBezTo>
                    <a:pt x="502" y="577"/>
                    <a:pt x="503" y="576"/>
                    <a:pt x="503" y="576"/>
                  </a:cubicBezTo>
                  <a:cubicBezTo>
                    <a:pt x="503" y="574"/>
                    <a:pt x="503" y="573"/>
                    <a:pt x="504" y="572"/>
                  </a:cubicBezTo>
                  <a:cubicBezTo>
                    <a:pt x="505" y="571"/>
                    <a:pt x="506" y="570"/>
                    <a:pt x="506" y="570"/>
                  </a:cubicBezTo>
                  <a:cubicBezTo>
                    <a:pt x="506" y="569"/>
                    <a:pt x="506" y="569"/>
                    <a:pt x="506" y="569"/>
                  </a:cubicBezTo>
                  <a:cubicBezTo>
                    <a:pt x="506" y="569"/>
                    <a:pt x="507" y="568"/>
                    <a:pt x="507" y="568"/>
                  </a:cubicBezTo>
                  <a:cubicBezTo>
                    <a:pt x="507" y="567"/>
                    <a:pt x="508" y="566"/>
                    <a:pt x="508" y="565"/>
                  </a:cubicBezTo>
                  <a:cubicBezTo>
                    <a:pt x="508" y="562"/>
                    <a:pt x="506" y="560"/>
                    <a:pt x="504" y="558"/>
                  </a:cubicBezTo>
                  <a:cubicBezTo>
                    <a:pt x="503" y="557"/>
                    <a:pt x="503" y="557"/>
                    <a:pt x="503" y="557"/>
                  </a:cubicBezTo>
                  <a:cubicBezTo>
                    <a:pt x="502" y="556"/>
                    <a:pt x="501" y="556"/>
                    <a:pt x="501" y="555"/>
                  </a:cubicBezTo>
                  <a:cubicBezTo>
                    <a:pt x="499" y="553"/>
                    <a:pt x="498" y="551"/>
                    <a:pt x="496" y="550"/>
                  </a:cubicBezTo>
                  <a:cubicBezTo>
                    <a:pt x="494" y="549"/>
                    <a:pt x="493" y="547"/>
                    <a:pt x="491" y="546"/>
                  </a:cubicBezTo>
                  <a:cubicBezTo>
                    <a:pt x="488" y="544"/>
                    <a:pt x="484" y="541"/>
                    <a:pt x="480" y="539"/>
                  </a:cubicBezTo>
                  <a:cubicBezTo>
                    <a:pt x="477" y="537"/>
                    <a:pt x="473" y="536"/>
                    <a:pt x="470" y="534"/>
                  </a:cubicBezTo>
                  <a:cubicBezTo>
                    <a:pt x="468" y="534"/>
                    <a:pt x="466" y="533"/>
                    <a:pt x="464" y="532"/>
                  </a:cubicBezTo>
                  <a:cubicBezTo>
                    <a:pt x="462" y="531"/>
                    <a:pt x="462" y="531"/>
                    <a:pt x="462" y="531"/>
                  </a:cubicBezTo>
                  <a:cubicBezTo>
                    <a:pt x="459" y="530"/>
                    <a:pt x="456" y="529"/>
                    <a:pt x="454" y="528"/>
                  </a:cubicBezTo>
                  <a:cubicBezTo>
                    <a:pt x="454" y="527"/>
                    <a:pt x="452" y="526"/>
                    <a:pt x="452" y="525"/>
                  </a:cubicBezTo>
                  <a:cubicBezTo>
                    <a:pt x="451" y="524"/>
                    <a:pt x="451" y="523"/>
                    <a:pt x="451" y="521"/>
                  </a:cubicBezTo>
                  <a:cubicBezTo>
                    <a:pt x="451" y="520"/>
                    <a:pt x="451" y="520"/>
                    <a:pt x="451" y="520"/>
                  </a:cubicBezTo>
                  <a:cubicBezTo>
                    <a:pt x="451" y="520"/>
                    <a:pt x="451" y="518"/>
                    <a:pt x="451" y="518"/>
                  </a:cubicBezTo>
                  <a:cubicBezTo>
                    <a:pt x="452" y="518"/>
                    <a:pt x="453" y="517"/>
                    <a:pt x="453" y="516"/>
                  </a:cubicBezTo>
                  <a:cubicBezTo>
                    <a:pt x="453" y="516"/>
                    <a:pt x="454" y="516"/>
                    <a:pt x="454" y="515"/>
                  </a:cubicBezTo>
                  <a:cubicBezTo>
                    <a:pt x="454" y="514"/>
                    <a:pt x="454" y="514"/>
                    <a:pt x="454" y="514"/>
                  </a:cubicBezTo>
                  <a:cubicBezTo>
                    <a:pt x="454" y="514"/>
                    <a:pt x="454" y="514"/>
                    <a:pt x="454" y="514"/>
                  </a:cubicBezTo>
                  <a:cubicBezTo>
                    <a:pt x="453" y="511"/>
                    <a:pt x="451" y="508"/>
                    <a:pt x="449" y="505"/>
                  </a:cubicBezTo>
                  <a:cubicBezTo>
                    <a:pt x="447" y="502"/>
                    <a:pt x="446" y="500"/>
                    <a:pt x="445" y="497"/>
                  </a:cubicBezTo>
                  <a:cubicBezTo>
                    <a:pt x="440" y="487"/>
                    <a:pt x="440" y="477"/>
                    <a:pt x="441" y="468"/>
                  </a:cubicBezTo>
                  <a:cubicBezTo>
                    <a:pt x="441" y="468"/>
                    <a:pt x="441" y="467"/>
                    <a:pt x="441" y="467"/>
                  </a:cubicBezTo>
                  <a:cubicBezTo>
                    <a:pt x="442" y="467"/>
                    <a:pt x="442" y="467"/>
                    <a:pt x="442" y="467"/>
                  </a:cubicBezTo>
                  <a:cubicBezTo>
                    <a:pt x="442" y="467"/>
                    <a:pt x="442" y="467"/>
                    <a:pt x="442" y="467"/>
                  </a:cubicBezTo>
                  <a:cubicBezTo>
                    <a:pt x="442" y="467"/>
                    <a:pt x="442" y="467"/>
                    <a:pt x="442" y="467"/>
                  </a:cubicBezTo>
                  <a:cubicBezTo>
                    <a:pt x="443" y="467"/>
                    <a:pt x="443" y="467"/>
                    <a:pt x="444" y="467"/>
                  </a:cubicBezTo>
                  <a:cubicBezTo>
                    <a:pt x="446" y="467"/>
                    <a:pt x="446" y="467"/>
                    <a:pt x="446" y="467"/>
                  </a:cubicBezTo>
                  <a:cubicBezTo>
                    <a:pt x="446" y="465"/>
                    <a:pt x="446" y="465"/>
                    <a:pt x="446" y="465"/>
                  </a:cubicBezTo>
                  <a:cubicBezTo>
                    <a:pt x="446" y="460"/>
                    <a:pt x="444" y="457"/>
                    <a:pt x="443" y="453"/>
                  </a:cubicBezTo>
                  <a:cubicBezTo>
                    <a:pt x="442" y="450"/>
                    <a:pt x="441" y="446"/>
                    <a:pt x="441" y="442"/>
                  </a:cubicBezTo>
                  <a:cubicBezTo>
                    <a:pt x="441" y="440"/>
                    <a:pt x="441" y="438"/>
                    <a:pt x="442" y="437"/>
                  </a:cubicBezTo>
                  <a:cubicBezTo>
                    <a:pt x="442" y="434"/>
                    <a:pt x="442" y="432"/>
                    <a:pt x="442" y="429"/>
                  </a:cubicBezTo>
                  <a:cubicBezTo>
                    <a:pt x="441" y="428"/>
                    <a:pt x="441" y="427"/>
                    <a:pt x="440" y="426"/>
                  </a:cubicBezTo>
                  <a:cubicBezTo>
                    <a:pt x="438" y="424"/>
                    <a:pt x="437" y="423"/>
                    <a:pt x="437" y="420"/>
                  </a:cubicBezTo>
                  <a:cubicBezTo>
                    <a:pt x="436" y="416"/>
                    <a:pt x="437" y="415"/>
                    <a:pt x="438" y="414"/>
                  </a:cubicBezTo>
                  <a:cubicBezTo>
                    <a:pt x="439" y="413"/>
                    <a:pt x="440" y="413"/>
                    <a:pt x="441" y="411"/>
                  </a:cubicBezTo>
                  <a:cubicBezTo>
                    <a:pt x="441" y="408"/>
                    <a:pt x="441" y="406"/>
                    <a:pt x="439" y="404"/>
                  </a:cubicBezTo>
                  <a:cubicBezTo>
                    <a:pt x="439" y="403"/>
                    <a:pt x="438" y="402"/>
                    <a:pt x="438" y="401"/>
                  </a:cubicBezTo>
                  <a:cubicBezTo>
                    <a:pt x="437" y="398"/>
                    <a:pt x="438" y="395"/>
                    <a:pt x="438" y="393"/>
                  </a:cubicBezTo>
                  <a:cubicBezTo>
                    <a:pt x="439" y="391"/>
                    <a:pt x="440" y="389"/>
                    <a:pt x="439" y="387"/>
                  </a:cubicBezTo>
                  <a:cubicBezTo>
                    <a:pt x="439" y="386"/>
                    <a:pt x="439" y="385"/>
                    <a:pt x="439" y="384"/>
                  </a:cubicBezTo>
                  <a:cubicBezTo>
                    <a:pt x="439" y="383"/>
                    <a:pt x="439" y="383"/>
                    <a:pt x="439" y="383"/>
                  </a:cubicBezTo>
                  <a:cubicBezTo>
                    <a:pt x="439" y="381"/>
                    <a:pt x="438" y="378"/>
                    <a:pt x="439" y="375"/>
                  </a:cubicBezTo>
                  <a:cubicBezTo>
                    <a:pt x="440" y="370"/>
                    <a:pt x="440" y="369"/>
                    <a:pt x="437" y="365"/>
                  </a:cubicBezTo>
                  <a:cubicBezTo>
                    <a:pt x="434" y="362"/>
                    <a:pt x="436" y="360"/>
                    <a:pt x="438" y="358"/>
                  </a:cubicBezTo>
                  <a:cubicBezTo>
                    <a:pt x="438" y="358"/>
                    <a:pt x="439" y="357"/>
                    <a:pt x="439" y="357"/>
                  </a:cubicBezTo>
                  <a:cubicBezTo>
                    <a:pt x="440" y="356"/>
                    <a:pt x="440" y="355"/>
                    <a:pt x="441" y="354"/>
                  </a:cubicBezTo>
                  <a:cubicBezTo>
                    <a:pt x="439" y="353"/>
                    <a:pt x="439" y="353"/>
                    <a:pt x="439" y="353"/>
                  </a:cubicBezTo>
                  <a:cubicBezTo>
                    <a:pt x="441" y="354"/>
                    <a:pt x="441" y="354"/>
                    <a:pt x="441" y="354"/>
                  </a:cubicBezTo>
                  <a:cubicBezTo>
                    <a:pt x="442" y="352"/>
                    <a:pt x="442" y="352"/>
                    <a:pt x="442" y="352"/>
                  </a:cubicBezTo>
                  <a:cubicBezTo>
                    <a:pt x="442" y="351"/>
                    <a:pt x="442" y="351"/>
                    <a:pt x="442" y="351"/>
                  </a:cubicBezTo>
                  <a:cubicBezTo>
                    <a:pt x="441" y="347"/>
                    <a:pt x="444" y="345"/>
                    <a:pt x="446" y="342"/>
                  </a:cubicBezTo>
                  <a:cubicBezTo>
                    <a:pt x="448" y="340"/>
                    <a:pt x="450" y="339"/>
                    <a:pt x="451" y="337"/>
                  </a:cubicBezTo>
                  <a:cubicBezTo>
                    <a:pt x="451" y="336"/>
                    <a:pt x="451" y="335"/>
                    <a:pt x="451" y="335"/>
                  </a:cubicBezTo>
                  <a:cubicBezTo>
                    <a:pt x="451" y="334"/>
                    <a:pt x="451" y="332"/>
                    <a:pt x="452" y="331"/>
                  </a:cubicBezTo>
                  <a:cubicBezTo>
                    <a:pt x="453" y="330"/>
                    <a:pt x="454" y="330"/>
                    <a:pt x="454" y="330"/>
                  </a:cubicBezTo>
                  <a:cubicBezTo>
                    <a:pt x="455" y="330"/>
                    <a:pt x="455" y="330"/>
                    <a:pt x="455" y="330"/>
                  </a:cubicBezTo>
                  <a:cubicBezTo>
                    <a:pt x="455" y="330"/>
                    <a:pt x="455" y="330"/>
                    <a:pt x="455" y="330"/>
                  </a:cubicBezTo>
                  <a:cubicBezTo>
                    <a:pt x="458" y="328"/>
                    <a:pt x="460" y="326"/>
                    <a:pt x="462" y="324"/>
                  </a:cubicBezTo>
                  <a:cubicBezTo>
                    <a:pt x="463" y="322"/>
                    <a:pt x="464" y="319"/>
                    <a:pt x="465" y="316"/>
                  </a:cubicBezTo>
                  <a:cubicBezTo>
                    <a:pt x="466" y="313"/>
                    <a:pt x="467" y="310"/>
                    <a:pt x="469" y="307"/>
                  </a:cubicBezTo>
                  <a:cubicBezTo>
                    <a:pt x="469" y="306"/>
                    <a:pt x="470" y="305"/>
                    <a:pt x="471" y="304"/>
                  </a:cubicBezTo>
                  <a:cubicBezTo>
                    <a:pt x="473" y="303"/>
                    <a:pt x="474" y="302"/>
                    <a:pt x="475" y="300"/>
                  </a:cubicBezTo>
                  <a:cubicBezTo>
                    <a:pt x="476" y="297"/>
                    <a:pt x="478" y="294"/>
                    <a:pt x="479" y="292"/>
                  </a:cubicBezTo>
                  <a:cubicBezTo>
                    <a:pt x="480" y="291"/>
                    <a:pt x="481" y="289"/>
                    <a:pt x="482" y="287"/>
                  </a:cubicBezTo>
                  <a:cubicBezTo>
                    <a:pt x="483" y="287"/>
                    <a:pt x="483" y="286"/>
                    <a:pt x="484" y="285"/>
                  </a:cubicBezTo>
                  <a:cubicBezTo>
                    <a:pt x="485" y="283"/>
                    <a:pt x="487" y="280"/>
                    <a:pt x="488" y="278"/>
                  </a:cubicBezTo>
                  <a:cubicBezTo>
                    <a:pt x="490" y="273"/>
                    <a:pt x="493" y="269"/>
                    <a:pt x="496" y="264"/>
                  </a:cubicBezTo>
                  <a:cubicBezTo>
                    <a:pt x="500" y="260"/>
                    <a:pt x="504" y="256"/>
                    <a:pt x="508" y="252"/>
                  </a:cubicBezTo>
                  <a:cubicBezTo>
                    <a:pt x="510" y="250"/>
                    <a:pt x="512" y="248"/>
                    <a:pt x="514" y="246"/>
                  </a:cubicBezTo>
                  <a:cubicBezTo>
                    <a:pt x="515" y="246"/>
                    <a:pt x="516" y="245"/>
                    <a:pt x="516" y="244"/>
                  </a:cubicBezTo>
                  <a:cubicBezTo>
                    <a:pt x="517" y="244"/>
                    <a:pt x="517" y="244"/>
                    <a:pt x="517" y="244"/>
                  </a:cubicBezTo>
                  <a:cubicBezTo>
                    <a:pt x="520" y="240"/>
                    <a:pt x="523" y="237"/>
                    <a:pt x="528" y="235"/>
                  </a:cubicBezTo>
                  <a:cubicBezTo>
                    <a:pt x="532" y="234"/>
                    <a:pt x="535" y="232"/>
                    <a:pt x="538" y="229"/>
                  </a:cubicBezTo>
                  <a:cubicBezTo>
                    <a:pt x="539" y="229"/>
                    <a:pt x="539" y="229"/>
                    <a:pt x="539" y="229"/>
                  </a:cubicBezTo>
                  <a:cubicBezTo>
                    <a:pt x="540" y="228"/>
                    <a:pt x="542" y="227"/>
                    <a:pt x="543" y="226"/>
                  </a:cubicBezTo>
                  <a:cubicBezTo>
                    <a:pt x="544" y="226"/>
                    <a:pt x="545" y="225"/>
                    <a:pt x="546" y="225"/>
                  </a:cubicBezTo>
                  <a:cubicBezTo>
                    <a:pt x="550" y="222"/>
                    <a:pt x="554" y="220"/>
                    <a:pt x="556" y="215"/>
                  </a:cubicBezTo>
                  <a:cubicBezTo>
                    <a:pt x="556" y="212"/>
                    <a:pt x="555" y="208"/>
                    <a:pt x="554" y="205"/>
                  </a:cubicBezTo>
                  <a:cubicBezTo>
                    <a:pt x="554" y="202"/>
                    <a:pt x="553" y="200"/>
                    <a:pt x="553" y="197"/>
                  </a:cubicBezTo>
                  <a:cubicBezTo>
                    <a:pt x="553" y="195"/>
                    <a:pt x="553" y="193"/>
                    <a:pt x="553" y="190"/>
                  </a:cubicBezTo>
                  <a:cubicBezTo>
                    <a:pt x="554" y="187"/>
                    <a:pt x="554" y="183"/>
                    <a:pt x="553" y="180"/>
                  </a:cubicBezTo>
                  <a:cubicBezTo>
                    <a:pt x="552" y="177"/>
                    <a:pt x="551" y="175"/>
                    <a:pt x="549" y="173"/>
                  </a:cubicBezTo>
                  <a:cubicBezTo>
                    <a:pt x="548" y="170"/>
                    <a:pt x="546" y="168"/>
                    <a:pt x="545" y="165"/>
                  </a:cubicBezTo>
                  <a:cubicBezTo>
                    <a:pt x="543" y="160"/>
                    <a:pt x="541" y="155"/>
                    <a:pt x="535" y="155"/>
                  </a:cubicBezTo>
                  <a:cubicBezTo>
                    <a:pt x="534" y="155"/>
                    <a:pt x="534" y="155"/>
                    <a:pt x="533" y="155"/>
                  </a:cubicBezTo>
                  <a:cubicBezTo>
                    <a:pt x="532" y="155"/>
                    <a:pt x="530" y="156"/>
                    <a:pt x="529" y="156"/>
                  </a:cubicBezTo>
                  <a:cubicBezTo>
                    <a:pt x="527" y="157"/>
                    <a:pt x="525" y="157"/>
                    <a:pt x="523" y="157"/>
                  </a:cubicBezTo>
                  <a:cubicBezTo>
                    <a:pt x="523" y="157"/>
                    <a:pt x="522" y="157"/>
                    <a:pt x="522" y="157"/>
                  </a:cubicBezTo>
                  <a:cubicBezTo>
                    <a:pt x="518" y="156"/>
                    <a:pt x="518" y="156"/>
                    <a:pt x="518" y="156"/>
                  </a:cubicBezTo>
                  <a:cubicBezTo>
                    <a:pt x="519" y="162"/>
                    <a:pt x="519" y="162"/>
                    <a:pt x="519" y="162"/>
                  </a:cubicBezTo>
                  <a:cubicBezTo>
                    <a:pt x="519" y="164"/>
                    <a:pt x="520" y="165"/>
                    <a:pt x="520" y="167"/>
                  </a:cubicBezTo>
                  <a:cubicBezTo>
                    <a:pt x="521" y="176"/>
                    <a:pt x="522" y="185"/>
                    <a:pt x="519" y="194"/>
                  </a:cubicBezTo>
                  <a:cubicBezTo>
                    <a:pt x="518" y="199"/>
                    <a:pt x="515" y="202"/>
                    <a:pt x="513" y="204"/>
                  </a:cubicBezTo>
                  <a:cubicBezTo>
                    <a:pt x="511" y="207"/>
                    <a:pt x="509" y="209"/>
                    <a:pt x="507" y="212"/>
                  </a:cubicBezTo>
                  <a:cubicBezTo>
                    <a:pt x="507" y="212"/>
                    <a:pt x="507" y="212"/>
                    <a:pt x="507" y="212"/>
                  </a:cubicBezTo>
                  <a:cubicBezTo>
                    <a:pt x="503" y="213"/>
                    <a:pt x="498" y="214"/>
                    <a:pt x="496" y="217"/>
                  </a:cubicBezTo>
                  <a:cubicBezTo>
                    <a:pt x="495" y="219"/>
                    <a:pt x="495" y="221"/>
                    <a:pt x="494" y="224"/>
                  </a:cubicBezTo>
                  <a:cubicBezTo>
                    <a:pt x="494" y="226"/>
                    <a:pt x="494" y="227"/>
                    <a:pt x="493" y="229"/>
                  </a:cubicBezTo>
                  <a:cubicBezTo>
                    <a:pt x="493" y="230"/>
                    <a:pt x="493" y="230"/>
                    <a:pt x="493" y="230"/>
                  </a:cubicBezTo>
                  <a:cubicBezTo>
                    <a:pt x="493" y="231"/>
                    <a:pt x="492" y="234"/>
                    <a:pt x="490" y="235"/>
                  </a:cubicBezTo>
                  <a:cubicBezTo>
                    <a:pt x="490" y="235"/>
                    <a:pt x="489" y="235"/>
                    <a:pt x="489" y="235"/>
                  </a:cubicBezTo>
                  <a:cubicBezTo>
                    <a:pt x="488" y="235"/>
                    <a:pt x="487" y="234"/>
                    <a:pt x="486" y="233"/>
                  </a:cubicBezTo>
                  <a:cubicBezTo>
                    <a:pt x="486" y="233"/>
                    <a:pt x="486" y="232"/>
                    <a:pt x="485" y="232"/>
                  </a:cubicBezTo>
                  <a:cubicBezTo>
                    <a:pt x="482" y="229"/>
                    <a:pt x="479" y="228"/>
                    <a:pt x="476" y="228"/>
                  </a:cubicBezTo>
                  <a:cubicBezTo>
                    <a:pt x="475" y="228"/>
                    <a:pt x="475" y="228"/>
                    <a:pt x="474" y="228"/>
                  </a:cubicBezTo>
                  <a:cubicBezTo>
                    <a:pt x="471" y="229"/>
                    <a:pt x="470" y="231"/>
                    <a:pt x="470" y="234"/>
                  </a:cubicBezTo>
                  <a:cubicBezTo>
                    <a:pt x="469" y="236"/>
                    <a:pt x="469" y="238"/>
                    <a:pt x="467" y="239"/>
                  </a:cubicBezTo>
                  <a:cubicBezTo>
                    <a:pt x="467" y="239"/>
                    <a:pt x="467" y="240"/>
                    <a:pt x="467" y="240"/>
                  </a:cubicBezTo>
                  <a:cubicBezTo>
                    <a:pt x="467" y="239"/>
                    <a:pt x="466" y="239"/>
                    <a:pt x="464" y="238"/>
                  </a:cubicBezTo>
                  <a:cubicBezTo>
                    <a:pt x="462" y="236"/>
                    <a:pt x="461" y="235"/>
                    <a:pt x="461" y="234"/>
                  </a:cubicBezTo>
                  <a:cubicBezTo>
                    <a:pt x="459" y="236"/>
                    <a:pt x="459" y="236"/>
                    <a:pt x="459" y="236"/>
                  </a:cubicBezTo>
                  <a:cubicBezTo>
                    <a:pt x="459" y="234"/>
                    <a:pt x="459" y="234"/>
                    <a:pt x="459" y="234"/>
                  </a:cubicBezTo>
                  <a:cubicBezTo>
                    <a:pt x="458" y="234"/>
                    <a:pt x="458" y="235"/>
                    <a:pt x="457" y="235"/>
                  </a:cubicBezTo>
                  <a:cubicBezTo>
                    <a:pt x="456" y="236"/>
                    <a:pt x="455" y="236"/>
                    <a:pt x="454" y="237"/>
                  </a:cubicBezTo>
                  <a:cubicBezTo>
                    <a:pt x="454" y="237"/>
                    <a:pt x="453" y="237"/>
                    <a:pt x="453" y="237"/>
                  </a:cubicBezTo>
                  <a:cubicBezTo>
                    <a:pt x="452" y="237"/>
                    <a:pt x="451" y="236"/>
                    <a:pt x="449" y="234"/>
                  </a:cubicBezTo>
                  <a:cubicBezTo>
                    <a:pt x="447" y="232"/>
                    <a:pt x="447" y="232"/>
                    <a:pt x="447" y="232"/>
                  </a:cubicBezTo>
                  <a:cubicBezTo>
                    <a:pt x="445" y="234"/>
                    <a:pt x="445" y="234"/>
                    <a:pt x="445" y="234"/>
                  </a:cubicBezTo>
                  <a:cubicBezTo>
                    <a:pt x="444" y="236"/>
                    <a:pt x="442" y="236"/>
                    <a:pt x="440" y="236"/>
                  </a:cubicBezTo>
                  <a:cubicBezTo>
                    <a:pt x="436" y="236"/>
                    <a:pt x="433" y="235"/>
                    <a:pt x="430" y="233"/>
                  </a:cubicBezTo>
                  <a:cubicBezTo>
                    <a:pt x="428" y="233"/>
                    <a:pt x="428" y="233"/>
                    <a:pt x="428" y="233"/>
                  </a:cubicBezTo>
                  <a:cubicBezTo>
                    <a:pt x="427" y="232"/>
                    <a:pt x="426" y="232"/>
                    <a:pt x="424" y="231"/>
                  </a:cubicBezTo>
                  <a:cubicBezTo>
                    <a:pt x="423" y="230"/>
                    <a:pt x="421" y="229"/>
                    <a:pt x="420" y="229"/>
                  </a:cubicBezTo>
                  <a:cubicBezTo>
                    <a:pt x="419" y="229"/>
                    <a:pt x="418" y="229"/>
                    <a:pt x="418" y="229"/>
                  </a:cubicBezTo>
                  <a:cubicBezTo>
                    <a:pt x="416" y="229"/>
                    <a:pt x="415" y="229"/>
                    <a:pt x="414" y="229"/>
                  </a:cubicBezTo>
                  <a:cubicBezTo>
                    <a:pt x="412" y="229"/>
                    <a:pt x="411" y="229"/>
                    <a:pt x="410" y="229"/>
                  </a:cubicBezTo>
                  <a:cubicBezTo>
                    <a:pt x="407" y="229"/>
                    <a:pt x="404" y="229"/>
                    <a:pt x="402" y="228"/>
                  </a:cubicBezTo>
                  <a:cubicBezTo>
                    <a:pt x="399" y="228"/>
                    <a:pt x="397" y="228"/>
                    <a:pt x="394" y="228"/>
                  </a:cubicBezTo>
                  <a:cubicBezTo>
                    <a:pt x="394" y="228"/>
                    <a:pt x="393" y="228"/>
                    <a:pt x="393" y="228"/>
                  </a:cubicBezTo>
                  <a:cubicBezTo>
                    <a:pt x="393" y="228"/>
                    <a:pt x="392" y="228"/>
                    <a:pt x="391" y="228"/>
                  </a:cubicBezTo>
                  <a:cubicBezTo>
                    <a:pt x="386" y="228"/>
                    <a:pt x="383" y="226"/>
                    <a:pt x="383" y="222"/>
                  </a:cubicBezTo>
                  <a:cubicBezTo>
                    <a:pt x="383" y="220"/>
                    <a:pt x="384" y="219"/>
                    <a:pt x="386" y="218"/>
                  </a:cubicBezTo>
                  <a:cubicBezTo>
                    <a:pt x="387" y="217"/>
                    <a:pt x="387" y="217"/>
                    <a:pt x="388" y="216"/>
                  </a:cubicBezTo>
                  <a:cubicBezTo>
                    <a:pt x="389" y="215"/>
                    <a:pt x="390" y="213"/>
                    <a:pt x="390" y="212"/>
                  </a:cubicBezTo>
                  <a:cubicBezTo>
                    <a:pt x="391" y="210"/>
                    <a:pt x="391" y="209"/>
                    <a:pt x="392" y="207"/>
                  </a:cubicBezTo>
                  <a:cubicBezTo>
                    <a:pt x="396" y="202"/>
                    <a:pt x="396" y="197"/>
                    <a:pt x="395" y="190"/>
                  </a:cubicBezTo>
                  <a:cubicBezTo>
                    <a:pt x="395" y="188"/>
                    <a:pt x="395" y="185"/>
                    <a:pt x="395" y="182"/>
                  </a:cubicBezTo>
                  <a:cubicBezTo>
                    <a:pt x="395" y="182"/>
                    <a:pt x="395" y="182"/>
                    <a:pt x="395" y="181"/>
                  </a:cubicBezTo>
                  <a:cubicBezTo>
                    <a:pt x="396" y="181"/>
                    <a:pt x="396" y="181"/>
                    <a:pt x="396" y="181"/>
                  </a:cubicBezTo>
                  <a:cubicBezTo>
                    <a:pt x="399" y="180"/>
                    <a:pt x="401" y="178"/>
                    <a:pt x="402" y="176"/>
                  </a:cubicBezTo>
                  <a:cubicBezTo>
                    <a:pt x="403" y="174"/>
                    <a:pt x="403" y="172"/>
                    <a:pt x="403" y="170"/>
                  </a:cubicBezTo>
                  <a:cubicBezTo>
                    <a:pt x="404" y="169"/>
                    <a:pt x="404" y="167"/>
                    <a:pt x="404" y="166"/>
                  </a:cubicBezTo>
                  <a:cubicBezTo>
                    <a:pt x="405" y="163"/>
                    <a:pt x="406" y="162"/>
                    <a:pt x="407" y="161"/>
                  </a:cubicBezTo>
                  <a:cubicBezTo>
                    <a:pt x="408" y="160"/>
                    <a:pt x="409" y="159"/>
                    <a:pt x="410" y="158"/>
                  </a:cubicBezTo>
                  <a:cubicBezTo>
                    <a:pt x="412" y="155"/>
                    <a:pt x="412" y="152"/>
                    <a:pt x="410" y="148"/>
                  </a:cubicBezTo>
                  <a:cubicBezTo>
                    <a:pt x="408" y="141"/>
                    <a:pt x="401" y="137"/>
                    <a:pt x="395" y="134"/>
                  </a:cubicBezTo>
                  <a:cubicBezTo>
                    <a:pt x="392" y="133"/>
                    <a:pt x="390" y="133"/>
                    <a:pt x="388" y="133"/>
                  </a:cubicBezTo>
                  <a:cubicBezTo>
                    <a:pt x="387" y="133"/>
                    <a:pt x="385" y="132"/>
                    <a:pt x="384" y="132"/>
                  </a:cubicBezTo>
                  <a:cubicBezTo>
                    <a:pt x="381" y="132"/>
                    <a:pt x="380" y="130"/>
                    <a:pt x="379" y="129"/>
                  </a:cubicBezTo>
                  <a:cubicBezTo>
                    <a:pt x="378" y="128"/>
                    <a:pt x="378" y="128"/>
                    <a:pt x="377" y="127"/>
                  </a:cubicBezTo>
                  <a:cubicBezTo>
                    <a:pt x="375" y="126"/>
                    <a:pt x="373" y="125"/>
                    <a:pt x="370" y="125"/>
                  </a:cubicBezTo>
                  <a:cubicBezTo>
                    <a:pt x="369" y="125"/>
                    <a:pt x="367" y="125"/>
                    <a:pt x="366" y="124"/>
                  </a:cubicBezTo>
                  <a:cubicBezTo>
                    <a:pt x="363" y="123"/>
                    <a:pt x="361" y="122"/>
                    <a:pt x="359" y="120"/>
                  </a:cubicBezTo>
                  <a:cubicBezTo>
                    <a:pt x="357" y="119"/>
                    <a:pt x="356" y="117"/>
                    <a:pt x="354" y="116"/>
                  </a:cubicBezTo>
                  <a:cubicBezTo>
                    <a:pt x="350" y="114"/>
                    <a:pt x="347" y="112"/>
                    <a:pt x="343" y="110"/>
                  </a:cubicBezTo>
                  <a:cubicBezTo>
                    <a:pt x="342" y="109"/>
                    <a:pt x="341" y="108"/>
                    <a:pt x="340" y="107"/>
                  </a:cubicBezTo>
                  <a:cubicBezTo>
                    <a:pt x="337" y="105"/>
                    <a:pt x="337" y="105"/>
                    <a:pt x="337" y="105"/>
                  </a:cubicBezTo>
                  <a:cubicBezTo>
                    <a:pt x="333" y="102"/>
                    <a:pt x="329" y="99"/>
                    <a:pt x="326" y="97"/>
                  </a:cubicBezTo>
                  <a:cubicBezTo>
                    <a:pt x="321" y="95"/>
                    <a:pt x="314" y="92"/>
                    <a:pt x="308" y="92"/>
                  </a:cubicBezTo>
                  <a:cubicBezTo>
                    <a:pt x="308" y="92"/>
                    <a:pt x="308" y="92"/>
                    <a:pt x="307" y="92"/>
                  </a:cubicBezTo>
                  <a:cubicBezTo>
                    <a:pt x="307" y="92"/>
                    <a:pt x="306" y="92"/>
                    <a:pt x="305" y="92"/>
                  </a:cubicBezTo>
                  <a:cubicBezTo>
                    <a:pt x="305" y="92"/>
                    <a:pt x="304" y="92"/>
                    <a:pt x="304" y="92"/>
                  </a:cubicBezTo>
                  <a:cubicBezTo>
                    <a:pt x="302" y="92"/>
                    <a:pt x="301" y="92"/>
                    <a:pt x="300" y="91"/>
                  </a:cubicBezTo>
                  <a:cubicBezTo>
                    <a:pt x="299" y="91"/>
                    <a:pt x="298" y="90"/>
                    <a:pt x="297" y="89"/>
                  </a:cubicBezTo>
                  <a:cubicBezTo>
                    <a:pt x="296" y="89"/>
                    <a:pt x="295" y="88"/>
                    <a:pt x="293" y="87"/>
                  </a:cubicBezTo>
                  <a:cubicBezTo>
                    <a:pt x="292" y="87"/>
                    <a:pt x="291" y="87"/>
                    <a:pt x="290" y="87"/>
                  </a:cubicBezTo>
                  <a:cubicBezTo>
                    <a:pt x="288" y="86"/>
                    <a:pt x="285" y="86"/>
                    <a:pt x="283" y="85"/>
                  </a:cubicBezTo>
                  <a:cubicBezTo>
                    <a:pt x="279" y="82"/>
                    <a:pt x="276" y="79"/>
                    <a:pt x="272" y="75"/>
                  </a:cubicBezTo>
                  <a:cubicBezTo>
                    <a:pt x="269" y="73"/>
                    <a:pt x="267" y="70"/>
                    <a:pt x="264" y="68"/>
                  </a:cubicBezTo>
                  <a:cubicBezTo>
                    <a:pt x="261" y="66"/>
                    <a:pt x="261" y="66"/>
                    <a:pt x="261" y="66"/>
                  </a:cubicBezTo>
                  <a:cubicBezTo>
                    <a:pt x="254" y="61"/>
                    <a:pt x="247" y="55"/>
                    <a:pt x="242" y="49"/>
                  </a:cubicBezTo>
                  <a:cubicBezTo>
                    <a:pt x="240" y="47"/>
                    <a:pt x="239" y="45"/>
                    <a:pt x="238" y="43"/>
                  </a:cubicBezTo>
                  <a:cubicBezTo>
                    <a:pt x="236" y="40"/>
                    <a:pt x="233" y="37"/>
                    <a:pt x="231" y="34"/>
                  </a:cubicBezTo>
                  <a:cubicBezTo>
                    <a:pt x="229" y="33"/>
                    <a:pt x="227" y="31"/>
                    <a:pt x="226" y="30"/>
                  </a:cubicBezTo>
                  <a:cubicBezTo>
                    <a:pt x="223" y="27"/>
                    <a:pt x="220" y="25"/>
                    <a:pt x="217" y="21"/>
                  </a:cubicBezTo>
                  <a:cubicBezTo>
                    <a:pt x="217" y="21"/>
                    <a:pt x="216" y="20"/>
                    <a:pt x="216" y="19"/>
                  </a:cubicBezTo>
                  <a:cubicBezTo>
                    <a:pt x="216" y="18"/>
                    <a:pt x="216" y="18"/>
                    <a:pt x="216" y="18"/>
                  </a:cubicBezTo>
                  <a:cubicBezTo>
                    <a:pt x="214" y="17"/>
                    <a:pt x="214" y="17"/>
                    <a:pt x="214" y="17"/>
                  </a:cubicBezTo>
                  <a:cubicBezTo>
                    <a:pt x="211" y="16"/>
                    <a:pt x="209" y="15"/>
                    <a:pt x="209" y="15"/>
                  </a:cubicBezTo>
                  <a:cubicBezTo>
                    <a:pt x="208" y="14"/>
                    <a:pt x="208" y="13"/>
                    <a:pt x="207" y="12"/>
                  </a:cubicBezTo>
                  <a:cubicBezTo>
                    <a:pt x="207" y="10"/>
                    <a:pt x="207" y="9"/>
                    <a:pt x="205" y="8"/>
                  </a:cubicBezTo>
                  <a:cubicBezTo>
                    <a:pt x="205" y="8"/>
                    <a:pt x="204" y="8"/>
                    <a:pt x="204" y="8"/>
                  </a:cubicBezTo>
                  <a:cubicBezTo>
                    <a:pt x="203" y="8"/>
                    <a:pt x="202" y="8"/>
                    <a:pt x="202" y="8"/>
                  </a:cubicBezTo>
                  <a:cubicBezTo>
                    <a:pt x="201" y="8"/>
                    <a:pt x="201" y="8"/>
                    <a:pt x="200" y="8"/>
                  </a:cubicBezTo>
                  <a:cubicBezTo>
                    <a:pt x="197" y="9"/>
                    <a:pt x="194" y="9"/>
                    <a:pt x="191" y="9"/>
                  </a:cubicBezTo>
                  <a:cubicBezTo>
                    <a:pt x="168" y="10"/>
                    <a:pt x="168" y="10"/>
                    <a:pt x="168" y="10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66" y="17"/>
                    <a:pt x="164" y="20"/>
                    <a:pt x="163" y="25"/>
                  </a:cubicBezTo>
                  <a:cubicBezTo>
                    <a:pt x="163" y="25"/>
                    <a:pt x="163" y="25"/>
                    <a:pt x="163" y="26"/>
                  </a:cubicBezTo>
                  <a:cubicBezTo>
                    <a:pt x="163" y="27"/>
                    <a:pt x="163" y="28"/>
                    <a:pt x="163" y="28"/>
                  </a:cubicBezTo>
                  <a:cubicBezTo>
                    <a:pt x="163" y="29"/>
                    <a:pt x="162" y="29"/>
                    <a:pt x="161" y="29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59" y="31"/>
                    <a:pt x="159" y="32"/>
                    <a:pt x="159" y="34"/>
                  </a:cubicBezTo>
                  <a:cubicBezTo>
                    <a:pt x="159" y="34"/>
                    <a:pt x="159" y="35"/>
                    <a:pt x="159" y="36"/>
                  </a:cubicBezTo>
                  <a:cubicBezTo>
                    <a:pt x="159" y="39"/>
                    <a:pt x="159" y="41"/>
                    <a:pt x="157" y="43"/>
                  </a:cubicBezTo>
                  <a:cubicBezTo>
                    <a:pt x="157" y="43"/>
                    <a:pt x="156" y="43"/>
                    <a:pt x="156" y="43"/>
                  </a:cubicBezTo>
                  <a:cubicBezTo>
                    <a:pt x="156" y="43"/>
                    <a:pt x="156" y="43"/>
                    <a:pt x="156" y="43"/>
                  </a:cubicBezTo>
                  <a:cubicBezTo>
                    <a:pt x="152" y="39"/>
                    <a:pt x="151" y="34"/>
                    <a:pt x="150" y="30"/>
                  </a:cubicBezTo>
                  <a:cubicBezTo>
                    <a:pt x="149" y="25"/>
                    <a:pt x="148" y="20"/>
                    <a:pt x="143" y="17"/>
                  </a:cubicBezTo>
                  <a:cubicBezTo>
                    <a:pt x="140" y="14"/>
                    <a:pt x="135" y="14"/>
                    <a:pt x="131" y="14"/>
                  </a:cubicBezTo>
                  <a:cubicBezTo>
                    <a:pt x="129" y="14"/>
                    <a:pt x="129" y="14"/>
                    <a:pt x="129" y="14"/>
                  </a:cubicBezTo>
                  <a:cubicBezTo>
                    <a:pt x="127" y="13"/>
                    <a:pt x="124" y="13"/>
                    <a:pt x="121" y="13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8" y="12"/>
                    <a:pt x="116" y="12"/>
                    <a:pt x="113" y="12"/>
                  </a:cubicBezTo>
                  <a:cubicBezTo>
                    <a:pt x="113" y="12"/>
                    <a:pt x="113" y="12"/>
                    <a:pt x="113" y="12"/>
                  </a:cubicBezTo>
                  <a:cubicBezTo>
                    <a:pt x="112" y="12"/>
                    <a:pt x="110" y="12"/>
                    <a:pt x="109" y="12"/>
                  </a:cubicBezTo>
                  <a:cubicBezTo>
                    <a:pt x="108" y="12"/>
                    <a:pt x="107" y="13"/>
                    <a:pt x="105" y="13"/>
                  </a:cubicBezTo>
                  <a:cubicBezTo>
                    <a:pt x="103" y="13"/>
                    <a:pt x="101" y="12"/>
                    <a:pt x="99" y="10"/>
                  </a:cubicBezTo>
                  <a:cubicBezTo>
                    <a:pt x="98" y="9"/>
                    <a:pt x="96" y="8"/>
                    <a:pt x="95" y="6"/>
                  </a:cubicBezTo>
                  <a:cubicBezTo>
                    <a:pt x="94" y="4"/>
                    <a:pt x="92" y="2"/>
                    <a:pt x="90" y="1"/>
                  </a:cubicBezTo>
                  <a:cubicBezTo>
                    <a:pt x="89" y="0"/>
                    <a:pt x="88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5" y="3"/>
                    <a:pt x="84" y="4"/>
                    <a:pt x="84" y="5"/>
                  </a:cubicBezTo>
                  <a:cubicBezTo>
                    <a:pt x="84" y="5"/>
                    <a:pt x="84" y="7"/>
                    <a:pt x="84" y="8"/>
                  </a:cubicBezTo>
                  <a:cubicBezTo>
                    <a:pt x="83" y="14"/>
                    <a:pt x="80" y="15"/>
                    <a:pt x="74" y="17"/>
                  </a:cubicBezTo>
                  <a:cubicBezTo>
                    <a:pt x="71" y="18"/>
                    <a:pt x="70" y="19"/>
                    <a:pt x="70" y="22"/>
                  </a:cubicBezTo>
                  <a:cubicBezTo>
                    <a:pt x="70" y="23"/>
                    <a:pt x="69" y="25"/>
                    <a:pt x="68" y="27"/>
                  </a:cubicBezTo>
                  <a:cubicBezTo>
                    <a:pt x="67" y="29"/>
                    <a:pt x="65" y="30"/>
                    <a:pt x="64" y="30"/>
                  </a:cubicBezTo>
                  <a:cubicBezTo>
                    <a:pt x="61" y="31"/>
                    <a:pt x="60" y="33"/>
                    <a:pt x="60" y="36"/>
                  </a:cubicBezTo>
                  <a:cubicBezTo>
                    <a:pt x="60" y="36"/>
                    <a:pt x="60" y="36"/>
                    <a:pt x="60" y="37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61" y="45"/>
                    <a:pt x="64" y="50"/>
                    <a:pt x="63" y="55"/>
                  </a:cubicBezTo>
                  <a:cubicBezTo>
                    <a:pt x="63" y="58"/>
                    <a:pt x="62" y="60"/>
                    <a:pt x="61" y="63"/>
                  </a:cubicBezTo>
                  <a:cubicBezTo>
                    <a:pt x="61" y="67"/>
                    <a:pt x="60" y="70"/>
                    <a:pt x="59" y="74"/>
                  </a:cubicBezTo>
                  <a:cubicBezTo>
                    <a:pt x="59" y="75"/>
                    <a:pt x="59" y="76"/>
                    <a:pt x="59" y="78"/>
                  </a:cubicBezTo>
                  <a:cubicBezTo>
                    <a:pt x="58" y="82"/>
                    <a:pt x="58" y="87"/>
                    <a:pt x="56" y="91"/>
                  </a:cubicBezTo>
                  <a:cubicBezTo>
                    <a:pt x="55" y="94"/>
                    <a:pt x="53" y="95"/>
                    <a:pt x="50" y="96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6" y="97"/>
                    <a:pt x="45" y="98"/>
                    <a:pt x="42" y="100"/>
                  </a:cubicBezTo>
                  <a:cubicBezTo>
                    <a:pt x="40" y="102"/>
                    <a:pt x="37" y="104"/>
                    <a:pt x="34" y="105"/>
                  </a:cubicBezTo>
                  <a:cubicBezTo>
                    <a:pt x="32" y="106"/>
                    <a:pt x="31" y="107"/>
                    <a:pt x="29" y="108"/>
                  </a:cubicBezTo>
                  <a:cubicBezTo>
                    <a:pt x="26" y="110"/>
                    <a:pt x="20" y="114"/>
                    <a:pt x="19" y="118"/>
                  </a:cubicBezTo>
                  <a:cubicBezTo>
                    <a:pt x="19" y="120"/>
                    <a:pt x="19" y="124"/>
                    <a:pt x="20" y="126"/>
                  </a:cubicBezTo>
                  <a:cubicBezTo>
                    <a:pt x="21" y="127"/>
                    <a:pt x="21" y="128"/>
                    <a:pt x="22" y="128"/>
                  </a:cubicBezTo>
                  <a:cubicBezTo>
                    <a:pt x="23" y="129"/>
                    <a:pt x="24" y="130"/>
                    <a:pt x="25" y="132"/>
                  </a:cubicBezTo>
                  <a:cubicBezTo>
                    <a:pt x="26" y="134"/>
                    <a:pt x="27" y="137"/>
                    <a:pt x="25" y="140"/>
                  </a:cubicBezTo>
                  <a:cubicBezTo>
                    <a:pt x="25" y="141"/>
                    <a:pt x="24" y="141"/>
                    <a:pt x="23" y="142"/>
                  </a:cubicBezTo>
                  <a:cubicBezTo>
                    <a:pt x="22" y="143"/>
                    <a:pt x="22" y="143"/>
                    <a:pt x="22" y="145"/>
                  </a:cubicBezTo>
                  <a:cubicBezTo>
                    <a:pt x="21" y="150"/>
                    <a:pt x="23" y="155"/>
                    <a:pt x="26" y="160"/>
                  </a:cubicBezTo>
                  <a:cubicBezTo>
                    <a:pt x="27" y="162"/>
                    <a:pt x="28" y="164"/>
                    <a:pt x="28" y="166"/>
                  </a:cubicBezTo>
                  <a:cubicBezTo>
                    <a:pt x="29" y="167"/>
                    <a:pt x="29" y="167"/>
                    <a:pt x="29" y="168"/>
                  </a:cubicBezTo>
                  <a:cubicBezTo>
                    <a:pt x="30" y="169"/>
                    <a:pt x="30" y="170"/>
                    <a:pt x="31" y="171"/>
                  </a:cubicBezTo>
                  <a:cubicBezTo>
                    <a:pt x="32" y="174"/>
                    <a:pt x="34" y="178"/>
                    <a:pt x="33" y="181"/>
                  </a:cubicBezTo>
                  <a:cubicBezTo>
                    <a:pt x="32" y="183"/>
                    <a:pt x="32" y="183"/>
                    <a:pt x="31" y="184"/>
                  </a:cubicBezTo>
                  <a:cubicBezTo>
                    <a:pt x="30" y="185"/>
                    <a:pt x="30" y="186"/>
                    <a:pt x="29" y="187"/>
                  </a:cubicBezTo>
                  <a:cubicBezTo>
                    <a:pt x="29" y="192"/>
                    <a:pt x="30" y="195"/>
                    <a:pt x="33" y="198"/>
                  </a:cubicBezTo>
                  <a:cubicBezTo>
                    <a:pt x="34" y="200"/>
                    <a:pt x="35" y="201"/>
                    <a:pt x="37" y="202"/>
                  </a:cubicBezTo>
                  <a:cubicBezTo>
                    <a:pt x="38" y="204"/>
                    <a:pt x="40" y="206"/>
                    <a:pt x="41" y="208"/>
                  </a:cubicBezTo>
                  <a:cubicBezTo>
                    <a:pt x="42" y="209"/>
                    <a:pt x="43" y="212"/>
                    <a:pt x="42" y="214"/>
                  </a:cubicBezTo>
                  <a:cubicBezTo>
                    <a:pt x="42" y="216"/>
                    <a:pt x="41" y="217"/>
                    <a:pt x="40" y="217"/>
                  </a:cubicBezTo>
                  <a:cubicBezTo>
                    <a:pt x="39" y="217"/>
                    <a:pt x="39" y="217"/>
                    <a:pt x="38" y="217"/>
                  </a:cubicBezTo>
                  <a:cubicBezTo>
                    <a:pt x="37" y="218"/>
                    <a:pt x="37" y="218"/>
                    <a:pt x="37" y="218"/>
                  </a:cubicBezTo>
                  <a:cubicBezTo>
                    <a:pt x="36" y="219"/>
                    <a:pt x="36" y="219"/>
                    <a:pt x="36" y="219"/>
                  </a:cubicBezTo>
                  <a:cubicBezTo>
                    <a:pt x="36" y="220"/>
                    <a:pt x="36" y="221"/>
                    <a:pt x="35" y="221"/>
                  </a:cubicBezTo>
                  <a:cubicBezTo>
                    <a:pt x="34" y="222"/>
                    <a:pt x="34" y="222"/>
                    <a:pt x="33" y="222"/>
                  </a:cubicBezTo>
                  <a:cubicBezTo>
                    <a:pt x="32" y="222"/>
                    <a:pt x="31" y="221"/>
                    <a:pt x="31" y="221"/>
                  </a:cubicBezTo>
                  <a:cubicBezTo>
                    <a:pt x="30" y="221"/>
                    <a:pt x="29" y="220"/>
                    <a:pt x="29" y="220"/>
                  </a:cubicBezTo>
                  <a:cubicBezTo>
                    <a:pt x="29" y="220"/>
                    <a:pt x="28" y="220"/>
                    <a:pt x="28" y="220"/>
                  </a:cubicBezTo>
                  <a:cubicBezTo>
                    <a:pt x="28" y="220"/>
                    <a:pt x="28" y="220"/>
                    <a:pt x="28" y="220"/>
                  </a:cubicBezTo>
                  <a:cubicBezTo>
                    <a:pt x="24" y="220"/>
                    <a:pt x="24" y="220"/>
                    <a:pt x="24" y="220"/>
                  </a:cubicBezTo>
                  <a:cubicBezTo>
                    <a:pt x="25" y="223"/>
                    <a:pt x="25" y="223"/>
                    <a:pt x="25" y="223"/>
                  </a:cubicBezTo>
                  <a:cubicBezTo>
                    <a:pt x="25" y="224"/>
                    <a:pt x="25" y="224"/>
                    <a:pt x="25" y="225"/>
                  </a:cubicBezTo>
                  <a:cubicBezTo>
                    <a:pt x="25" y="226"/>
                    <a:pt x="25" y="226"/>
                    <a:pt x="25" y="226"/>
                  </a:cubicBezTo>
                  <a:cubicBezTo>
                    <a:pt x="25" y="227"/>
                    <a:pt x="25" y="228"/>
                    <a:pt x="25" y="229"/>
                  </a:cubicBezTo>
                  <a:cubicBezTo>
                    <a:pt x="25" y="231"/>
                    <a:pt x="24" y="233"/>
                    <a:pt x="23" y="234"/>
                  </a:cubicBezTo>
                  <a:cubicBezTo>
                    <a:pt x="22" y="236"/>
                    <a:pt x="21" y="238"/>
                    <a:pt x="20" y="240"/>
                  </a:cubicBezTo>
                  <a:cubicBezTo>
                    <a:pt x="20" y="241"/>
                    <a:pt x="20" y="243"/>
                    <a:pt x="20" y="245"/>
                  </a:cubicBezTo>
                  <a:cubicBezTo>
                    <a:pt x="20" y="247"/>
                    <a:pt x="20" y="250"/>
                    <a:pt x="18" y="253"/>
                  </a:cubicBezTo>
                  <a:cubicBezTo>
                    <a:pt x="18" y="254"/>
                    <a:pt x="17" y="254"/>
                    <a:pt x="17" y="255"/>
                  </a:cubicBezTo>
                  <a:cubicBezTo>
                    <a:pt x="16" y="256"/>
                    <a:pt x="15" y="257"/>
                    <a:pt x="15" y="258"/>
                  </a:cubicBezTo>
                  <a:cubicBezTo>
                    <a:pt x="15" y="258"/>
                    <a:pt x="14" y="259"/>
                    <a:pt x="14" y="260"/>
                  </a:cubicBezTo>
                  <a:cubicBezTo>
                    <a:pt x="13" y="262"/>
                    <a:pt x="13" y="263"/>
                    <a:pt x="12" y="264"/>
                  </a:cubicBezTo>
                  <a:cubicBezTo>
                    <a:pt x="12" y="265"/>
                    <a:pt x="12" y="265"/>
                    <a:pt x="12" y="265"/>
                  </a:cubicBezTo>
                  <a:cubicBezTo>
                    <a:pt x="11" y="266"/>
                    <a:pt x="10" y="268"/>
                    <a:pt x="9" y="269"/>
                  </a:cubicBezTo>
                  <a:cubicBezTo>
                    <a:pt x="9" y="270"/>
                    <a:pt x="8" y="270"/>
                    <a:pt x="8" y="270"/>
                  </a:cubicBezTo>
                  <a:cubicBezTo>
                    <a:pt x="7" y="271"/>
                    <a:pt x="6" y="272"/>
                    <a:pt x="6" y="274"/>
                  </a:cubicBezTo>
                  <a:cubicBezTo>
                    <a:pt x="5" y="275"/>
                    <a:pt x="5" y="276"/>
                    <a:pt x="6" y="278"/>
                  </a:cubicBezTo>
                  <a:cubicBezTo>
                    <a:pt x="6" y="278"/>
                    <a:pt x="6" y="279"/>
                    <a:pt x="6" y="280"/>
                  </a:cubicBezTo>
                  <a:cubicBezTo>
                    <a:pt x="6" y="285"/>
                    <a:pt x="7" y="290"/>
                    <a:pt x="6" y="295"/>
                  </a:cubicBezTo>
                  <a:cubicBezTo>
                    <a:pt x="6" y="296"/>
                    <a:pt x="6" y="297"/>
                    <a:pt x="6" y="298"/>
                  </a:cubicBezTo>
                  <a:cubicBezTo>
                    <a:pt x="6" y="300"/>
                    <a:pt x="6" y="303"/>
                    <a:pt x="5" y="304"/>
                  </a:cubicBezTo>
                  <a:cubicBezTo>
                    <a:pt x="4" y="305"/>
                    <a:pt x="3" y="306"/>
                    <a:pt x="3" y="307"/>
                  </a:cubicBezTo>
                  <a:cubicBezTo>
                    <a:pt x="2" y="308"/>
                    <a:pt x="1" y="309"/>
                    <a:pt x="1" y="311"/>
                  </a:cubicBezTo>
                  <a:cubicBezTo>
                    <a:pt x="2" y="314"/>
                    <a:pt x="3" y="318"/>
                    <a:pt x="5" y="321"/>
                  </a:cubicBezTo>
                  <a:cubicBezTo>
                    <a:pt x="6" y="323"/>
                    <a:pt x="8" y="324"/>
                    <a:pt x="8" y="326"/>
                  </a:cubicBezTo>
                  <a:cubicBezTo>
                    <a:pt x="9" y="328"/>
                    <a:pt x="9" y="329"/>
                    <a:pt x="10" y="331"/>
                  </a:cubicBezTo>
                  <a:cubicBezTo>
                    <a:pt x="10" y="332"/>
                    <a:pt x="10" y="334"/>
                    <a:pt x="11" y="335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2" y="339"/>
                    <a:pt x="13" y="341"/>
                    <a:pt x="13" y="343"/>
                  </a:cubicBezTo>
                  <a:cubicBezTo>
                    <a:pt x="14" y="346"/>
                    <a:pt x="14" y="349"/>
                    <a:pt x="14" y="352"/>
                  </a:cubicBezTo>
                  <a:cubicBezTo>
                    <a:pt x="13" y="356"/>
                    <a:pt x="11" y="356"/>
                    <a:pt x="8" y="356"/>
                  </a:cubicBezTo>
                  <a:cubicBezTo>
                    <a:pt x="6" y="356"/>
                    <a:pt x="6" y="356"/>
                    <a:pt x="6" y="356"/>
                  </a:cubicBezTo>
                  <a:cubicBezTo>
                    <a:pt x="5" y="358"/>
                    <a:pt x="5" y="358"/>
                    <a:pt x="5" y="358"/>
                  </a:cubicBezTo>
                  <a:cubicBezTo>
                    <a:pt x="5" y="361"/>
                    <a:pt x="5" y="365"/>
                    <a:pt x="5" y="368"/>
                  </a:cubicBezTo>
                  <a:cubicBezTo>
                    <a:pt x="5" y="369"/>
                    <a:pt x="5" y="370"/>
                    <a:pt x="5" y="371"/>
                  </a:cubicBezTo>
                  <a:cubicBezTo>
                    <a:pt x="5" y="372"/>
                    <a:pt x="5" y="373"/>
                    <a:pt x="5" y="374"/>
                  </a:cubicBezTo>
                  <a:cubicBezTo>
                    <a:pt x="5" y="375"/>
                    <a:pt x="5" y="375"/>
                    <a:pt x="5" y="375"/>
                  </a:cubicBezTo>
                  <a:cubicBezTo>
                    <a:pt x="5" y="378"/>
                    <a:pt x="6" y="383"/>
                    <a:pt x="4" y="385"/>
                  </a:cubicBezTo>
                  <a:cubicBezTo>
                    <a:pt x="4" y="386"/>
                    <a:pt x="3" y="387"/>
                    <a:pt x="2" y="387"/>
                  </a:cubicBezTo>
                  <a:cubicBezTo>
                    <a:pt x="1" y="388"/>
                    <a:pt x="1" y="388"/>
                    <a:pt x="0" y="390"/>
                  </a:cubicBezTo>
                  <a:cubicBezTo>
                    <a:pt x="0" y="391"/>
                    <a:pt x="0" y="394"/>
                    <a:pt x="1" y="396"/>
                  </a:cubicBezTo>
                  <a:cubicBezTo>
                    <a:pt x="1" y="398"/>
                    <a:pt x="2" y="400"/>
                    <a:pt x="2" y="402"/>
                  </a:cubicBezTo>
                  <a:cubicBezTo>
                    <a:pt x="3" y="403"/>
                    <a:pt x="4" y="404"/>
                    <a:pt x="5" y="405"/>
                  </a:cubicBezTo>
                  <a:cubicBezTo>
                    <a:pt x="5" y="406"/>
                    <a:pt x="6" y="407"/>
                    <a:pt x="7" y="408"/>
                  </a:cubicBezTo>
                  <a:cubicBezTo>
                    <a:pt x="7" y="409"/>
                    <a:pt x="7" y="409"/>
                    <a:pt x="8" y="410"/>
                  </a:cubicBezTo>
                  <a:cubicBezTo>
                    <a:pt x="8" y="412"/>
                    <a:pt x="8" y="413"/>
                    <a:pt x="9" y="413"/>
                  </a:cubicBezTo>
                  <a:cubicBezTo>
                    <a:pt x="10" y="414"/>
                    <a:pt x="12" y="415"/>
                    <a:pt x="13" y="415"/>
                  </a:cubicBezTo>
                  <a:cubicBezTo>
                    <a:pt x="15" y="415"/>
                    <a:pt x="17" y="415"/>
                    <a:pt x="17" y="417"/>
                  </a:cubicBezTo>
                  <a:cubicBezTo>
                    <a:pt x="18" y="419"/>
                    <a:pt x="18" y="421"/>
                    <a:pt x="17" y="422"/>
                  </a:cubicBezTo>
                  <a:cubicBezTo>
                    <a:pt x="17" y="424"/>
                    <a:pt x="17" y="425"/>
                    <a:pt x="17" y="425"/>
                  </a:cubicBezTo>
                  <a:cubicBezTo>
                    <a:pt x="17" y="427"/>
                    <a:pt x="17" y="430"/>
                    <a:pt x="18" y="431"/>
                  </a:cubicBezTo>
                  <a:cubicBezTo>
                    <a:pt x="19" y="432"/>
                    <a:pt x="19" y="432"/>
                    <a:pt x="20" y="433"/>
                  </a:cubicBezTo>
                  <a:cubicBezTo>
                    <a:pt x="20" y="433"/>
                    <a:pt x="21" y="434"/>
                    <a:pt x="22" y="435"/>
                  </a:cubicBezTo>
                  <a:cubicBezTo>
                    <a:pt x="22" y="437"/>
                    <a:pt x="23" y="438"/>
                    <a:pt x="25" y="440"/>
                  </a:cubicBezTo>
                  <a:cubicBezTo>
                    <a:pt x="26" y="441"/>
                    <a:pt x="27" y="443"/>
                    <a:pt x="28" y="444"/>
                  </a:cubicBezTo>
                  <a:cubicBezTo>
                    <a:pt x="28" y="445"/>
                    <a:pt x="28" y="446"/>
                    <a:pt x="29" y="447"/>
                  </a:cubicBezTo>
                  <a:cubicBezTo>
                    <a:pt x="29" y="448"/>
                    <a:pt x="29" y="449"/>
                    <a:pt x="29" y="449"/>
                  </a:cubicBezTo>
                  <a:cubicBezTo>
                    <a:pt x="29" y="451"/>
                    <a:pt x="30" y="451"/>
                    <a:pt x="31" y="452"/>
                  </a:cubicBezTo>
                  <a:cubicBezTo>
                    <a:pt x="31" y="452"/>
                    <a:pt x="32" y="452"/>
                    <a:pt x="32" y="453"/>
                  </a:cubicBezTo>
                  <a:cubicBezTo>
                    <a:pt x="35" y="455"/>
                    <a:pt x="35" y="457"/>
                    <a:pt x="35" y="460"/>
                  </a:cubicBezTo>
                  <a:cubicBezTo>
                    <a:pt x="35" y="461"/>
                    <a:pt x="35" y="462"/>
                    <a:pt x="35" y="463"/>
                  </a:cubicBezTo>
                  <a:cubicBezTo>
                    <a:pt x="35" y="464"/>
                    <a:pt x="35" y="465"/>
                    <a:pt x="35" y="466"/>
                  </a:cubicBezTo>
                  <a:cubicBezTo>
                    <a:pt x="35" y="469"/>
                    <a:pt x="35" y="471"/>
                    <a:pt x="38" y="472"/>
                  </a:cubicBezTo>
                  <a:cubicBezTo>
                    <a:pt x="38" y="473"/>
                    <a:pt x="39" y="473"/>
                    <a:pt x="40" y="473"/>
                  </a:cubicBezTo>
                  <a:cubicBezTo>
                    <a:pt x="40" y="473"/>
                    <a:pt x="41" y="473"/>
                    <a:pt x="41" y="473"/>
                  </a:cubicBezTo>
                  <a:cubicBezTo>
                    <a:pt x="42" y="473"/>
                    <a:pt x="42" y="473"/>
                    <a:pt x="42" y="473"/>
                  </a:cubicBezTo>
                  <a:cubicBezTo>
                    <a:pt x="44" y="473"/>
                    <a:pt x="46" y="473"/>
                    <a:pt x="47" y="475"/>
                  </a:cubicBezTo>
                  <a:cubicBezTo>
                    <a:pt x="49" y="478"/>
                    <a:pt x="49" y="481"/>
                    <a:pt x="49" y="484"/>
                  </a:cubicBezTo>
                  <a:cubicBezTo>
                    <a:pt x="49" y="485"/>
                    <a:pt x="49" y="485"/>
                    <a:pt x="49" y="485"/>
                  </a:cubicBezTo>
                  <a:cubicBezTo>
                    <a:pt x="49" y="489"/>
                    <a:pt x="50" y="493"/>
                    <a:pt x="51" y="498"/>
                  </a:cubicBezTo>
                  <a:cubicBezTo>
                    <a:pt x="51" y="498"/>
                    <a:pt x="51" y="498"/>
                    <a:pt x="51" y="498"/>
                  </a:cubicBezTo>
                  <a:cubicBezTo>
                    <a:pt x="51" y="500"/>
                    <a:pt x="52" y="502"/>
                    <a:pt x="52" y="504"/>
                  </a:cubicBezTo>
                  <a:cubicBezTo>
                    <a:pt x="53" y="504"/>
                    <a:pt x="53" y="504"/>
                    <a:pt x="53" y="504"/>
                  </a:cubicBezTo>
                  <a:cubicBezTo>
                    <a:pt x="53" y="505"/>
                    <a:pt x="53" y="505"/>
                    <a:pt x="53" y="505"/>
                  </a:cubicBezTo>
                  <a:cubicBezTo>
                    <a:pt x="54" y="505"/>
                    <a:pt x="54" y="505"/>
                    <a:pt x="54" y="505"/>
                  </a:cubicBezTo>
                  <a:cubicBezTo>
                    <a:pt x="54" y="506"/>
                    <a:pt x="55" y="508"/>
                    <a:pt x="55" y="510"/>
                  </a:cubicBezTo>
                  <a:cubicBezTo>
                    <a:pt x="55" y="511"/>
                    <a:pt x="55" y="511"/>
                    <a:pt x="55" y="511"/>
                  </a:cubicBezTo>
                  <a:cubicBezTo>
                    <a:pt x="55" y="514"/>
                    <a:pt x="55" y="515"/>
                    <a:pt x="52" y="518"/>
                  </a:cubicBezTo>
                  <a:cubicBezTo>
                    <a:pt x="51" y="520"/>
                    <a:pt x="50" y="523"/>
                    <a:pt x="49" y="526"/>
                  </a:cubicBezTo>
                  <a:cubicBezTo>
                    <a:pt x="47" y="530"/>
                    <a:pt x="47" y="536"/>
                    <a:pt x="48" y="541"/>
                  </a:cubicBezTo>
                  <a:cubicBezTo>
                    <a:pt x="48" y="542"/>
                    <a:pt x="48" y="544"/>
                    <a:pt x="48" y="545"/>
                  </a:cubicBezTo>
                  <a:cubicBezTo>
                    <a:pt x="48" y="547"/>
                    <a:pt x="47" y="549"/>
                    <a:pt x="47" y="551"/>
                  </a:cubicBezTo>
                  <a:cubicBezTo>
                    <a:pt x="47" y="555"/>
                    <a:pt x="46" y="559"/>
                    <a:pt x="49" y="563"/>
                  </a:cubicBezTo>
                  <a:cubicBezTo>
                    <a:pt x="52" y="567"/>
                    <a:pt x="54" y="574"/>
                    <a:pt x="55" y="579"/>
                  </a:cubicBezTo>
                  <a:cubicBezTo>
                    <a:pt x="56" y="581"/>
                    <a:pt x="56" y="582"/>
                    <a:pt x="57" y="583"/>
                  </a:cubicBezTo>
                  <a:cubicBezTo>
                    <a:pt x="57" y="585"/>
                    <a:pt x="58" y="587"/>
                    <a:pt x="58" y="588"/>
                  </a:cubicBezTo>
                  <a:cubicBezTo>
                    <a:pt x="59" y="592"/>
                    <a:pt x="57" y="593"/>
                    <a:pt x="54" y="595"/>
                  </a:cubicBezTo>
                  <a:cubicBezTo>
                    <a:pt x="52" y="597"/>
                    <a:pt x="51" y="598"/>
                    <a:pt x="50" y="599"/>
                  </a:cubicBezTo>
                  <a:cubicBezTo>
                    <a:pt x="50" y="600"/>
                    <a:pt x="49" y="601"/>
                    <a:pt x="49" y="601"/>
                  </a:cubicBezTo>
                  <a:cubicBezTo>
                    <a:pt x="48" y="602"/>
                    <a:pt x="48" y="602"/>
                    <a:pt x="47" y="603"/>
                  </a:cubicBezTo>
                  <a:cubicBezTo>
                    <a:pt x="47" y="603"/>
                    <a:pt x="47" y="603"/>
                    <a:pt x="46" y="604"/>
                  </a:cubicBezTo>
                  <a:cubicBezTo>
                    <a:pt x="46" y="604"/>
                    <a:pt x="46" y="604"/>
                    <a:pt x="46" y="605"/>
                  </a:cubicBezTo>
                  <a:cubicBezTo>
                    <a:pt x="45" y="606"/>
                    <a:pt x="45" y="607"/>
                    <a:pt x="45" y="607"/>
                  </a:cubicBezTo>
                  <a:cubicBezTo>
                    <a:pt x="44" y="608"/>
                    <a:pt x="43" y="609"/>
                    <a:pt x="43" y="609"/>
                  </a:cubicBezTo>
                  <a:cubicBezTo>
                    <a:pt x="41" y="610"/>
                    <a:pt x="41" y="612"/>
                    <a:pt x="41" y="613"/>
                  </a:cubicBezTo>
                  <a:cubicBezTo>
                    <a:pt x="41" y="615"/>
                    <a:pt x="41" y="615"/>
                    <a:pt x="41" y="615"/>
                  </a:cubicBezTo>
                  <a:cubicBezTo>
                    <a:pt x="41" y="617"/>
                    <a:pt x="41" y="620"/>
                    <a:pt x="42" y="623"/>
                  </a:cubicBezTo>
                  <a:cubicBezTo>
                    <a:pt x="42" y="625"/>
                    <a:pt x="43" y="627"/>
                    <a:pt x="44" y="629"/>
                  </a:cubicBezTo>
                  <a:cubicBezTo>
                    <a:pt x="45" y="633"/>
                    <a:pt x="46" y="636"/>
                    <a:pt x="47" y="640"/>
                  </a:cubicBezTo>
                  <a:cubicBezTo>
                    <a:pt x="47" y="642"/>
                    <a:pt x="48" y="643"/>
                    <a:pt x="49" y="644"/>
                  </a:cubicBezTo>
                  <a:cubicBezTo>
                    <a:pt x="49" y="645"/>
                    <a:pt x="50" y="646"/>
                    <a:pt x="50" y="647"/>
                  </a:cubicBezTo>
                  <a:cubicBezTo>
                    <a:pt x="51" y="649"/>
                    <a:pt x="51" y="651"/>
                    <a:pt x="51" y="653"/>
                  </a:cubicBezTo>
                  <a:cubicBezTo>
                    <a:pt x="51" y="654"/>
                    <a:pt x="51" y="655"/>
                    <a:pt x="51" y="656"/>
                  </a:cubicBezTo>
                  <a:cubicBezTo>
                    <a:pt x="52" y="661"/>
                    <a:pt x="55" y="664"/>
                    <a:pt x="57" y="667"/>
                  </a:cubicBezTo>
                  <a:cubicBezTo>
                    <a:pt x="60" y="670"/>
                    <a:pt x="62" y="673"/>
                    <a:pt x="63" y="676"/>
                  </a:cubicBezTo>
                  <a:cubicBezTo>
                    <a:pt x="65" y="682"/>
                    <a:pt x="69" y="686"/>
                    <a:pt x="72" y="690"/>
                  </a:cubicBezTo>
                  <a:cubicBezTo>
                    <a:pt x="74" y="692"/>
                    <a:pt x="76" y="696"/>
                    <a:pt x="74" y="699"/>
                  </a:cubicBezTo>
                  <a:cubicBezTo>
                    <a:pt x="73" y="700"/>
                    <a:pt x="72" y="700"/>
                    <a:pt x="71" y="700"/>
                  </a:cubicBezTo>
                  <a:cubicBezTo>
                    <a:pt x="71" y="700"/>
                    <a:pt x="70" y="701"/>
                    <a:pt x="70" y="701"/>
                  </a:cubicBezTo>
                  <a:cubicBezTo>
                    <a:pt x="69" y="701"/>
                    <a:pt x="69" y="702"/>
                    <a:pt x="69" y="702"/>
                  </a:cubicBezTo>
                  <a:cubicBezTo>
                    <a:pt x="68" y="702"/>
                    <a:pt x="68" y="703"/>
                    <a:pt x="67" y="703"/>
                  </a:cubicBezTo>
                  <a:cubicBezTo>
                    <a:pt x="66" y="704"/>
                    <a:pt x="65" y="704"/>
                    <a:pt x="64" y="704"/>
                  </a:cubicBezTo>
                  <a:cubicBezTo>
                    <a:pt x="62" y="705"/>
                    <a:pt x="61" y="706"/>
                    <a:pt x="61" y="708"/>
                  </a:cubicBezTo>
                  <a:cubicBezTo>
                    <a:pt x="61" y="710"/>
                    <a:pt x="62" y="712"/>
                    <a:pt x="62" y="714"/>
                  </a:cubicBezTo>
                  <a:cubicBezTo>
                    <a:pt x="63" y="715"/>
                    <a:pt x="63" y="716"/>
                    <a:pt x="64" y="717"/>
                  </a:cubicBezTo>
                  <a:cubicBezTo>
                    <a:pt x="65" y="722"/>
                    <a:pt x="66" y="730"/>
                    <a:pt x="64" y="735"/>
                  </a:cubicBezTo>
                  <a:cubicBezTo>
                    <a:pt x="63" y="737"/>
                    <a:pt x="61" y="740"/>
                    <a:pt x="63" y="743"/>
                  </a:cubicBezTo>
                  <a:cubicBezTo>
                    <a:pt x="63" y="745"/>
                    <a:pt x="64" y="745"/>
                    <a:pt x="64" y="746"/>
                  </a:cubicBezTo>
                  <a:cubicBezTo>
                    <a:pt x="65" y="747"/>
                    <a:pt x="66" y="749"/>
                    <a:pt x="66" y="751"/>
                  </a:cubicBezTo>
                  <a:cubicBezTo>
                    <a:pt x="66" y="752"/>
                    <a:pt x="66" y="753"/>
                    <a:pt x="66" y="754"/>
                  </a:cubicBezTo>
                  <a:cubicBezTo>
                    <a:pt x="65" y="756"/>
                    <a:pt x="65" y="759"/>
                    <a:pt x="66" y="760"/>
                  </a:cubicBezTo>
                  <a:cubicBezTo>
                    <a:pt x="66" y="761"/>
                    <a:pt x="67" y="762"/>
                    <a:pt x="68" y="762"/>
                  </a:cubicBezTo>
                  <a:cubicBezTo>
                    <a:pt x="69" y="764"/>
                    <a:pt x="70" y="765"/>
                    <a:pt x="69" y="767"/>
                  </a:cubicBezTo>
                  <a:cubicBezTo>
                    <a:pt x="69" y="769"/>
                    <a:pt x="69" y="770"/>
                    <a:pt x="69" y="771"/>
                  </a:cubicBezTo>
                  <a:cubicBezTo>
                    <a:pt x="68" y="776"/>
                    <a:pt x="68" y="781"/>
                    <a:pt x="70" y="785"/>
                  </a:cubicBezTo>
                  <a:cubicBezTo>
                    <a:pt x="70" y="786"/>
                    <a:pt x="71" y="787"/>
                    <a:pt x="72" y="788"/>
                  </a:cubicBezTo>
                  <a:cubicBezTo>
                    <a:pt x="73" y="789"/>
                    <a:pt x="73" y="791"/>
                    <a:pt x="74" y="792"/>
                  </a:cubicBezTo>
                  <a:cubicBezTo>
                    <a:pt x="74" y="794"/>
                    <a:pt x="75" y="796"/>
                    <a:pt x="75" y="798"/>
                  </a:cubicBezTo>
                  <a:cubicBezTo>
                    <a:pt x="75" y="799"/>
                    <a:pt x="76" y="800"/>
                    <a:pt x="76" y="802"/>
                  </a:cubicBezTo>
                  <a:cubicBezTo>
                    <a:pt x="76" y="803"/>
                    <a:pt x="77" y="805"/>
                    <a:pt x="78" y="806"/>
                  </a:cubicBezTo>
                  <a:cubicBezTo>
                    <a:pt x="79" y="807"/>
                    <a:pt x="79" y="809"/>
                    <a:pt x="80" y="810"/>
                  </a:cubicBezTo>
                  <a:cubicBezTo>
                    <a:pt x="80" y="812"/>
                    <a:pt x="80" y="812"/>
                    <a:pt x="80" y="812"/>
                  </a:cubicBezTo>
                  <a:cubicBezTo>
                    <a:pt x="81" y="815"/>
                    <a:pt x="81" y="816"/>
                    <a:pt x="83" y="819"/>
                  </a:cubicBezTo>
                  <a:cubicBezTo>
                    <a:pt x="84" y="820"/>
                    <a:pt x="84" y="821"/>
                    <a:pt x="85" y="823"/>
                  </a:cubicBezTo>
                  <a:cubicBezTo>
                    <a:pt x="88" y="826"/>
                    <a:pt x="90" y="830"/>
                    <a:pt x="92" y="833"/>
                  </a:cubicBezTo>
                  <a:cubicBezTo>
                    <a:pt x="93" y="835"/>
                    <a:pt x="93" y="837"/>
                    <a:pt x="91" y="839"/>
                  </a:cubicBezTo>
                  <a:cubicBezTo>
                    <a:pt x="91" y="839"/>
                    <a:pt x="89" y="840"/>
                    <a:pt x="87" y="841"/>
                  </a:cubicBezTo>
                  <a:cubicBezTo>
                    <a:pt x="86" y="841"/>
                    <a:pt x="86" y="841"/>
                    <a:pt x="86" y="841"/>
                  </a:cubicBezTo>
                  <a:cubicBezTo>
                    <a:pt x="86" y="843"/>
                    <a:pt x="86" y="843"/>
                    <a:pt x="86" y="843"/>
                  </a:cubicBezTo>
                  <a:cubicBezTo>
                    <a:pt x="86" y="844"/>
                    <a:pt x="86" y="846"/>
                    <a:pt x="86" y="847"/>
                  </a:cubicBezTo>
                  <a:cubicBezTo>
                    <a:pt x="87" y="847"/>
                    <a:pt x="87" y="848"/>
                    <a:pt x="88" y="848"/>
                  </a:cubicBezTo>
                  <a:cubicBezTo>
                    <a:pt x="89" y="849"/>
                    <a:pt x="89" y="850"/>
                    <a:pt x="89" y="853"/>
                  </a:cubicBezTo>
                  <a:cubicBezTo>
                    <a:pt x="89" y="853"/>
                    <a:pt x="89" y="854"/>
                    <a:pt x="89" y="855"/>
                  </a:cubicBezTo>
                  <a:cubicBezTo>
                    <a:pt x="89" y="856"/>
                    <a:pt x="89" y="857"/>
                    <a:pt x="89" y="858"/>
                  </a:cubicBezTo>
                  <a:cubicBezTo>
                    <a:pt x="89" y="859"/>
                    <a:pt x="90" y="860"/>
                    <a:pt x="91" y="861"/>
                  </a:cubicBezTo>
                  <a:cubicBezTo>
                    <a:pt x="91" y="862"/>
                    <a:pt x="92" y="862"/>
                    <a:pt x="92" y="863"/>
                  </a:cubicBezTo>
                  <a:cubicBezTo>
                    <a:pt x="93" y="865"/>
                    <a:pt x="94" y="867"/>
                    <a:pt x="95" y="870"/>
                  </a:cubicBezTo>
                  <a:cubicBezTo>
                    <a:pt x="95" y="871"/>
                    <a:pt x="96" y="873"/>
                    <a:pt x="97" y="875"/>
                  </a:cubicBezTo>
                  <a:cubicBezTo>
                    <a:pt x="98" y="877"/>
                    <a:pt x="100" y="877"/>
                    <a:pt x="104" y="878"/>
                  </a:cubicBezTo>
                  <a:cubicBezTo>
                    <a:pt x="107" y="879"/>
                    <a:pt x="111" y="880"/>
                    <a:pt x="112" y="883"/>
                  </a:cubicBezTo>
                  <a:cubicBezTo>
                    <a:pt x="112" y="883"/>
                    <a:pt x="113" y="885"/>
                    <a:pt x="110" y="889"/>
                  </a:cubicBezTo>
                  <a:cubicBezTo>
                    <a:pt x="109" y="890"/>
                    <a:pt x="109" y="890"/>
                    <a:pt x="109" y="890"/>
                  </a:cubicBezTo>
                  <a:cubicBezTo>
                    <a:pt x="110" y="891"/>
                    <a:pt x="110" y="891"/>
                    <a:pt x="110" y="891"/>
                  </a:cubicBezTo>
                  <a:cubicBezTo>
                    <a:pt x="110" y="893"/>
                    <a:pt x="111" y="894"/>
                    <a:pt x="112" y="894"/>
                  </a:cubicBezTo>
                  <a:cubicBezTo>
                    <a:pt x="113" y="895"/>
                    <a:pt x="114" y="895"/>
                    <a:pt x="114" y="896"/>
                  </a:cubicBezTo>
                  <a:cubicBezTo>
                    <a:pt x="116" y="896"/>
                    <a:pt x="117" y="897"/>
                    <a:pt x="118" y="898"/>
                  </a:cubicBezTo>
                  <a:cubicBezTo>
                    <a:pt x="119" y="900"/>
                    <a:pt x="119" y="901"/>
                    <a:pt x="119" y="903"/>
                  </a:cubicBezTo>
                  <a:cubicBezTo>
                    <a:pt x="119" y="903"/>
                    <a:pt x="119" y="904"/>
                    <a:pt x="119" y="904"/>
                  </a:cubicBezTo>
                  <a:cubicBezTo>
                    <a:pt x="119" y="906"/>
                    <a:pt x="119" y="906"/>
                    <a:pt x="119" y="906"/>
                  </a:cubicBezTo>
                  <a:cubicBezTo>
                    <a:pt x="121" y="906"/>
                    <a:pt x="121" y="906"/>
                    <a:pt x="121" y="906"/>
                  </a:cubicBezTo>
                  <a:cubicBezTo>
                    <a:pt x="122" y="906"/>
                    <a:pt x="122" y="906"/>
                    <a:pt x="122" y="907"/>
                  </a:cubicBezTo>
                  <a:cubicBezTo>
                    <a:pt x="125" y="908"/>
                    <a:pt x="127" y="912"/>
                    <a:pt x="126" y="915"/>
                  </a:cubicBezTo>
                  <a:cubicBezTo>
                    <a:pt x="126" y="916"/>
                    <a:pt x="125" y="916"/>
                    <a:pt x="124" y="917"/>
                  </a:cubicBezTo>
                  <a:cubicBezTo>
                    <a:pt x="122" y="918"/>
                    <a:pt x="122" y="918"/>
                    <a:pt x="122" y="918"/>
                  </a:cubicBezTo>
                  <a:cubicBezTo>
                    <a:pt x="124" y="921"/>
                    <a:pt x="124" y="921"/>
                    <a:pt x="124" y="921"/>
                  </a:cubicBezTo>
                  <a:cubicBezTo>
                    <a:pt x="124" y="921"/>
                    <a:pt x="124" y="922"/>
                    <a:pt x="125" y="923"/>
                  </a:cubicBezTo>
                  <a:cubicBezTo>
                    <a:pt x="126" y="926"/>
                    <a:pt x="127" y="930"/>
                    <a:pt x="131" y="930"/>
                  </a:cubicBezTo>
                  <a:cubicBezTo>
                    <a:pt x="131" y="930"/>
                    <a:pt x="131" y="930"/>
                    <a:pt x="132" y="930"/>
                  </a:cubicBezTo>
                  <a:cubicBezTo>
                    <a:pt x="133" y="930"/>
                    <a:pt x="135" y="930"/>
                    <a:pt x="136" y="930"/>
                  </a:cubicBezTo>
                  <a:cubicBezTo>
                    <a:pt x="138" y="930"/>
                    <a:pt x="139" y="930"/>
                    <a:pt x="141" y="930"/>
                  </a:cubicBezTo>
                  <a:cubicBezTo>
                    <a:pt x="142" y="930"/>
                    <a:pt x="142" y="930"/>
                    <a:pt x="143" y="930"/>
                  </a:cubicBezTo>
                  <a:cubicBezTo>
                    <a:pt x="146" y="930"/>
                    <a:pt x="151" y="930"/>
                    <a:pt x="152" y="935"/>
                  </a:cubicBezTo>
                  <a:cubicBezTo>
                    <a:pt x="153" y="937"/>
                    <a:pt x="154" y="943"/>
                    <a:pt x="152" y="945"/>
                  </a:cubicBezTo>
                  <a:cubicBezTo>
                    <a:pt x="151" y="946"/>
                    <a:pt x="149" y="947"/>
                    <a:pt x="148" y="947"/>
                  </a:cubicBezTo>
                  <a:cubicBezTo>
                    <a:pt x="147" y="947"/>
                    <a:pt x="146" y="947"/>
                    <a:pt x="145" y="946"/>
                  </a:cubicBezTo>
                  <a:cubicBezTo>
                    <a:pt x="144" y="946"/>
                    <a:pt x="144" y="946"/>
                    <a:pt x="143" y="946"/>
                  </a:cubicBezTo>
                  <a:cubicBezTo>
                    <a:pt x="142" y="946"/>
                    <a:pt x="140" y="946"/>
                    <a:pt x="139" y="946"/>
                  </a:cubicBezTo>
                  <a:cubicBezTo>
                    <a:pt x="137" y="946"/>
                    <a:pt x="135" y="946"/>
                    <a:pt x="133" y="946"/>
                  </a:cubicBezTo>
                  <a:cubicBezTo>
                    <a:pt x="133" y="951"/>
                    <a:pt x="133" y="951"/>
                    <a:pt x="133" y="951"/>
                  </a:cubicBezTo>
                  <a:cubicBezTo>
                    <a:pt x="134" y="951"/>
                    <a:pt x="134" y="951"/>
                    <a:pt x="134" y="951"/>
                  </a:cubicBezTo>
                  <a:cubicBezTo>
                    <a:pt x="135" y="952"/>
                    <a:pt x="136" y="952"/>
                    <a:pt x="137" y="952"/>
                  </a:cubicBezTo>
                  <a:cubicBezTo>
                    <a:pt x="141" y="953"/>
                    <a:pt x="146" y="954"/>
                    <a:pt x="148" y="957"/>
                  </a:cubicBezTo>
                  <a:cubicBezTo>
                    <a:pt x="149" y="957"/>
                    <a:pt x="149" y="958"/>
                    <a:pt x="150" y="959"/>
                  </a:cubicBezTo>
                  <a:cubicBezTo>
                    <a:pt x="150" y="960"/>
                    <a:pt x="150" y="960"/>
                    <a:pt x="150" y="960"/>
                  </a:cubicBezTo>
                  <a:cubicBezTo>
                    <a:pt x="153" y="959"/>
                    <a:pt x="153" y="959"/>
                    <a:pt x="153" y="959"/>
                  </a:cubicBezTo>
                  <a:cubicBezTo>
                    <a:pt x="154" y="960"/>
                    <a:pt x="154" y="960"/>
                    <a:pt x="154" y="960"/>
                  </a:cubicBezTo>
                  <a:cubicBezTo>
                    <a:pt x="154" y="961"/>
                    <a:pt x="153" y="961"/>
                    <a:pt x="153" y="961"/>
                  </a:cubicBezTo>
                  <a:cubicBezTo>
                    <a:pt x="153" y="961"/>
                    <a:pt x="154" y="961"/>
                    <a:pt x="154" y="961"/>
                  </a:cubicBezTo>
                  <a:cubicBezTo>
                    <a:pt x="155" y="961"/>
                    <a:pt x="156" y="961"/>
                    <a:pt x="156" y="962"/>
                  </a:cubicBezTo>
                  <a:cubicBezTo>
                    <a:pt x="157" y="962"/>
                    <a:pt x="159" y="967"/>
                    <a:pt x="159" y="968"/>
                  </a:cubicBezTo>
                  <a:cubicBezTo>
                    <a:pt x="159" y="971"/>
                    <a:pt x="157" y="972"/>
                    <a:pt x="155" y="974"/>
                  </a:cubicBezTo>
                  <a:cubicBezTo>
                    <a:pt x="153" y="975"/>
                    <a:pt x="152" y="975"/>
                    <a:pt x="152" y="976"/>
                  </a:cubicBezTo>
                  <a:cubicBezTo>
                    <a:pt x="149" y="980"/>
                    <a:pt x="153" y="986"/>
                    <a:pt x="155" y="989"/>
                  </a:cubicBezTo>
                  <a:cubicBezTo>
                    <a:pt x="155" y="989"/>
                    <a:pt x="156" y="990"/>
                    <a:pt x="156" y="991"/>
                  </a:cubicBezTo>
                  <a:cubicBezTo>
                    <a:pt x="158" y="992"/>
                    <a:pt x="159" y="994"/>
                    <a:pt x="158" y="997"/>
                  </a:cubicBezTo>
                  <a:cubicBezTo>
                    <a:pt x="158" y="998"/>
                    <a:pt x="158" y="999"/>
                    <a:pt x="157" y="999"/>
                  </a:cubicBezTo>
                  <a:cubicBezTo>
                    <a:pt x="157" y="1000"/>
                    <a:pt x="157" y="1000"/>
                    <a:pt x="156" y="1001"/>
                  </a:cubicBezTo>
                  <a:cubicBezTo>
                    <a:pt x="156" y="1002"/>
                    <a:pt x="156" y="1002"/>
                    <a:pt x="156" y="1002"/>
                  </a:cubicBezTo>
                  <a:cubicBezTo>
                    <a:pt x="157" y="1003"/>
                    <a:pt x="157" y="1003"/>
                    <a:pt x="157" y="1003"/>
                  </a:cubicBezTo>
                  <a:cubicBezTo>
                    <a:pt x="157" y="1003"/>
                    <a:pt x="158" y="1004"/>
                    <a:pt x="158" y="1004"/>
                  </a:cubicBezTo>
                  <a:cubicBezTo>
                    <a:pt x="159" y="1005"/>
                    <a:pt x="159" y="1005"/>
                    <a:pt x="160" y="1006"/>
                  </a:cubicBezTo>
                  <a:cubicBezTo>
                    <a:pt x="160" y="1006"/>
                    <a:pt x="160" y="1007"/>
                    <a:pt x="161" y="1008"/>
                  </a:cubicBezTo>
                  <a:cubicBezTo>
                    <a:pt x="161" y="1008"/>
                    <a:pt x="162" y="1009"/>
                    <a:pt x="162" y="1010"/>
                  </a:cubicBezTo>
                  <a:cubicBezTo>
                    <a:pt x="163" y="1010"/>
                    <a:pt x="163" y="1011"/>
                    <a:pt x="163" y="1011"/>
                  </a:cubicBezTo>
                  <a:cubicBezTo>
                    <a:pt x="164" y="1012"/>
                    <a:pt x="165" y="1013"/>
                    <a:pt x="166" y="1014"/>
                  </a:cubicBezTo>
                  <a:cubicBezTo>
                    <a:pt x="166" y="1015"/>
                    <a:pt x="166" y="1015"/>
                    <a:pt x="166" y="1015"/>
                  </a:cubicBezTo>
                  <a:cubicBezTo>
                    <a:pt x="167" y="1018"/>
                    <a:pt x="168" y="1021"/>
                    <a:pt x="168" y="1024"/>
                  </a:cubicBezTo>
                  <a:cubicBezTo>
                    <a:pt x="167" y="1025"/>
                    <a:pt x="167" y="1026"/>
                    <a:pt x="166" y="1027"/>
                  </a:cubicBezTo>
                  <a:cubicBezTo>
                    <a:pt x="165" y="1028"/>
                    <a:pt x="165" y="1030"/>
                    <a:pt x="166" y="1031"/>
                  </a:cubicBezTo>
                  <a:cubicBezTo>
                    <a:pt x="166" y="1032"/>
                    <a:pt x="167" y="1033"/>
                    <a:pt x="168" y="1035"/>
                  </a:cubicBezTo>
                  <a:cubicBezTo>
                    <a:pt x="168" y="1036"/>
                    <a:pt x="169" y="1037"/>
                    <a:pt x="170" y="1039"/>
                  </a:cubicBezTo>
                  <a:cubicBezTo>
                    <a:pt x="171" y="1042"/>
                    <a:pt x="170" y="1045"/>
                    <a:pt x="169" y="1048"/>
                  </a:cubicBezTo>
                  <a:cubicBezTo>
                    <a:pt x="168" y="1050"/>
                    <a:pt x="166" y="1051"/>
                    <a:pt x="164" y="1052"/>
                  </a:cubicBezTo>
                  <a:cubicBezTo>
                    <a:pt x="162" y="1053"/>
                    <a:pt x="162" y="1053"/>
                    <a:pt x="162" y="1053"/>
                  </a:cubicBezTo>
                  <a:cubicBezTo>
                    <a:pt x="162" y="1054"/>
                    <a:pt x="162" y="1054"/>
                    <a:pt x="162" y="1054"/>
                  </a:cubicBezTo>
                  <a:cubicBezTo>
                    <a:pt x="162" y="1059"/>
                    <a:pt x="162" y="1064"/>
                    <a:pt x="163" y="1069"/>
                  </a:cubicBezTo>
                  <a:cubicBezTo>
                    <a:pt x="163" y="1071"/>
                    <a:pt x="164" y="1072"/>
                    <a:pt x="166" y="1073"/>
                  </a:cubicBezTo>
                  <a:cubicBezTo>
                    <a:pt x="167" y="1073"/>
                    <a:pt x="168" y="1073"/>
                    <a:pt x="168" y="1074"/>
                  </a:cubicBezTo>
                  <a:cubicBezTo>
                    <a:pt x="173" y="1076"/>
                    <a:pt x="179" y="1083"/>
                    <a:pt x="177" y="1089"/>
                  </a:cubicBezTo>
                  <a:cubicBezTo>
                    <a:pt x="177" y="1091"/>
                    <a:pt x="176" y="1092"/>
                    <a:pt x="175" y="1093"/>
                  </a:cubicBezTo>
                  <a:cubicBezTo>
                    <a:pt x="174" y="1094"/>
                    <a:pt x="173" y="1095"/>
                    <a:pt x="173" y="1096"/>
                  </a:cubicBezTo>
                  <a:cubicBezTo>
                    <a:pt x="173" y="1098"/>
                    <a:pt x="174" y="1099"/>
                    <a:pt x="175" y="1101"/>
                  </a:cubicBezTo>
                  <a:cubicBezTo>
                    <a:pt x="175" y="1102"/>
                    <a:pt x="176" y="1103"/>
                    <a:pt x="176" y="1104"/>
                  </a:cubicBezTo>
                  <a:cubicBezTo>
                    <a:pt x="178" y="1108"/>
                    <a:pt x="178" y="1109"/>
                    <a:pt x="174" y="1112"/>
                  </a:cubicBezTo>
                  <a:cubicBezTo>
                    <a:pt x="173" y="1112"/>
                    <a:pt x="173" y="1113"/>
                    <a:pt x="172" y="1113"/>
                  </a:cubicBezTo>
                  <a:cubicBezTo>
                    <a:pt x="171" y="1114"/>
                    <a:pt x="170" y="1115"/>
                    <a:pt x="169" y="1115"/>
                  </a:cubicBezTo>
                  <a:cubicBezTo>
                    <a:pt x="167" y="1116"/>
                    <a:pt x="167" y="1116"/>
                    <a:pt x="167" y="1116"/>
                  </a:cubicBezTo>
                  <a:cubicBezTo>
                    <a:pt x="167" y="1118"/>
                    <a:pt x="167" y="1118"/>
                    <a:pt x="167" y="1118"/>
                  </a:cubicBezTo>
                  <a:cubicBezTo>
                    <a:pt x="167" y="1119"/>
                    <a:pt x="167" y="1120"/>
                    <a:pt x="167" y="1122"/>
                  </a:cubicBezTo>
                  <a:cubicBezTo>
                    <a:pt x="167" y="1123"/>
                    <a:pt x="167" y="1125"/>
                    <a:pt x="167" y="1126"/>
                  </a:cubicBezTo>
                  <a:cubicBezTo>
                    <a:pt x="166" y="1129"/>
                    <a:pt x="166" y="1129"/>
                    <a:pt x="164" y="1129"/>
                  </a:cubicBezTo>
                  <a:cubicBezTo>
                    <a:pt x="164" y="1129"/>
                    <a:pt x="164" y="1129"/>
                    <a:pt x="164" y="1129"/>
                  </a:cubicBezTo>
                  <a:cubicBezTo>
                    <a:pt x="163" y="1130"/>
                    <a:pt x="162" y="1130"/>
                    <a:pt x="161" y="1130"/>
                  </a:cubicBezTo>
                  <a:cubicBezTo>
                    <a:pt x="159" y="1130"/>
                    <a:pt x="159" y="1130"/>
                    <a:pt x="159" y="1130"/>
                  </a:cubicBezTo>
                  <a:cubicBezTo>
                    <a:pt x="159" y="1133"/>
                    <a:pt x="159" y="1133"/>
                    <a:pt x="159" y="1133"/>
                  </a:cubicBezTo>
                  <a:cubicBezTo>
                    <a:pt x="160" y="1137"/>
                    <a:pt x="162" y="1139"/>
                    <a:pt x="164" y="1142"/>
                  </a:cubicBezTo>
                  <a:cubicBezTo>
                    <a:pt x="166" y="1144"/>
                    <a:pt x="167" y="1146"/>
                    <a:pt x="167" y="1148"/>
                  </a:cubicBezTo>
                  <a:cubicBezTo>
                    <a:pt x="167" y="1149"/>
                    <a:pt x="167" y="1149"/>
                    <a:pt x="167" y="1149"/>
                  </a:cubicBezTo>
                  <a:cubicBezTo>
                    <a:pt x="168" y="1151"/>
                    <a:pt x="168" y="1151"/>
                    <a:pt x="169" y="1153"/>
                  </a:cubicBezTo>
                  <a:cubicBezTo>
                    <a:pt x="169" y="1153"/>
                    <a:pt x="170" y="1154"/>
                    <a:pt x="170" y="1155"/>
                  </a:cubicBezTo>
                  <a:cubicBezTo>
                    <a:pt x="171" y="1155"/>
                    <a:pt x="171" y="1156"/>
                    <a:pt x="171" y="1157"/>
                  </a:cubicBezTo>
                  <a:cubicBezTo>
                    <a:pt x="172" y="1158"/>
                    <a:pt x="172" y="1159"/>
                    <a:pt x="173" y="1160"/>
                  </a:cubicBezTo>
                  <a:cubicBezTo>
                    <a:pt x="174" y="1161"/>
                    <a:pt x="175" y="1162"/>
                    <a:pt x="176" y="1162"/>
                  </a:cubicBezTo>
                  <a:cubicBezTo>
                    <a:pt x="177" y="1163"/>
                    <a:pt x="178" y="1164"/>
                    <a:pt x="179" y="1165"/>
                  </a:cubicBezTo>
                  <a:cubicBezTo>
                    <a:pt x="182" y="1168"/>
                    <a:pt x="184" y="1171"/>
                    <a:pt x="186" y="1174"/>
                  </a:cubicBezTo>
                  <a:cubicBezTo>
                    <a:pt x="187" y="1176"/>
                    <a:pt x="187" y="1176"/>
                    <a:pt x="187" y="1176"/>
                  </a:cubicBezTo>
                  <a:cubicBezTo>
                    <a:pt x="188" y="1177"/>
                    <a:pt x="189" y="1178"/>
                    <a:pt x="190" y="1179"/>
                  </a:cubicBezTo>
                  <a:cubicBezTo>
                    <a:pt x="190" y="1179"/>
                    <a:pt x="191" y="1180"/>
                    <a:pt x="192" y="1181"/>
                  </a:cubicBezTo>
                  <a:cubicBezTo>
                    <a:pt x="192" y="1182"/>
                    <a:pt x="193" y="1182"/>
                    <a:pt x="193" y="1183"/>
                  </a:cubicBezTo>
                  <a:cubicBezTo>
                    <a:pt x="195" y="1187"/>
                    <a:pt x="195" y="1187"/>
                    <a:pt x="195" y="1187"/>
                  </a:cubicBezTo>
                  <a:cubicBezTo>
                    <a:pt x="197" y="1184"/>
                    <a:pt x="197" y="1184"/>
                    <a:pt x="197" y="1184"/>
                  </a:cubicBezTo>
                  <a:cubicBezTo>
                    <a:pt x="200" y="1180"/>
                    <a:pt x="203" y="1180"/>
                    <a:pt x="208" y="1180"/>
                  </a:cubicBezTo>
                  <a:cubicBezTo>
                    <a:pt x="209" y="1180"/>
                    <a:pt x="209" y="1180"/>
                    <a:pt x="209" y="1180"/>
                  </a:cubicBezTo>
                  <a:cubicBezTo>
                    <a:pt x="210" y="1180"/>
                    <a:pt x="211" y="1180"/>
                    <a:pt x="212" y="1179"/>
                  </a:cubicBezTo>
                  <a:cubicBezTo>
                    <a:pt x="213" y="1179"/>
                    <a:pt x="214" y="1179"/>
                    <a:pt x="215" y="1179"/>
                  </a:cubicBezTo>
                  <a:cubicBezTo>
                    <a:pt x="216" y="1179"/>
                    <a:pt x="217" y="1179"/>
                    <a:pt x="219" y="1180"/>
                  </a:cubicBezTo>
                  <a:cubicBezTo>
                    <a:pt x="220" y="1182"/>
                    <a:pt x="221" y="1183"/>
                    <a:pt x="222" y="1185"/>
                  </a:cubicBezTo>
                  <a:cubicBezTo>
                    <a:pt x="222" y="1186"/>
                    <a:pt x="223" y="1187"/>
                    <a:pt x="223" y="1188"/>
                  </a:cubicBezTo>
                  <a:cubicBezTo>
                    <a:pt x="224" y="1189"/>
                    <a:pt x="224" y="1189"/>
                    <a:pt x="224" y="1189"/>
                  </a:cubicBezTo>
                  <a:cubicBezTo>
                    <a:pt x="226" y="1191"/>
                    <a:pt x="227" y="1193"/>
                    <a:pt x="227" y="1196"/>
                  </a:cubicBezTo>
                  <a:cubicBezTo>
                    <a:pt x="227" y="1199"/>
                    <a:pt x="228" y="1200"/>
                    <a:pt x="229" y="1201"/>
                  </a:cubicBezTo>
                  <a:cubicBezTo>
                    <a:pt x="230" y="1202"/>
                    <a:pt x="231" y="1202"/>
                    <a:pt x="231" y="1203"/>
                  </a:cubicBezTo>
                  <a:cubicBezTo>
                    <a:pt x="234" y="1206"/>
                    <a:pt x="234" y="1210"/>
                    <a:pt x="235" y="1212"/>
                  </a:cubicBezTo>
                  <a:cubicBezTo>
                    <a:pt x="235" y="1213"/>
                    <a:pt x="235" y="1213"/>
                    <a:pt x="235" y="1213"/>
                  </a:cubicBezTo>
                  <a:cubicBezTo>
                    <a:pt x="235" y="1216"/>
                    <a:pt x="235" y="1217"/>
                    <a:pt x="238" y="1219"/>
                  </a:cubicBezTo>
                  <a:cubicBezTo>
                    <a:pt x="238" y="1219"/>
                    <a:pt x="239" y="1220"/>
                    <a:pt x="239" y="1220"/>
                  </a:cubicBezTo>
                  <a:cubicBezTo>
                    <a:pt x="240" y="1221"/>
                    <a:pt x="240" y="1221"/>
                    <a:pt x="241" y="1222"/>
                  </a:cubicBezTo>
                  <a:cubicBezTo>
                    <a:pt x="242" y="1222"/>
                    <a:pt x="242" y="1222"/>
                    <a:pt x="243" y="1222"/>
                  </a:cubicBezTo>
                  <a:cubicBezTo>
                    <a:pt x="244" y="1222"/>
                    <a:pt x="244" y="1223"/>
                    <a:pt x="245" y="1223"/>
                  </a:cubicBezTo>
                  <a:cubicBezTo>
                    <a:pt x="249" y="1224"/>
                    <a:pt x="251" y="1226"/>
                    <a:pt x="254" y="1228"/>
                  </a:cubicBezTo>
                  <a:cubicBezTo>
                    <a:pt x="255" y="1229"/>
                    <a:pt x="255" y="1229"/>
                    <a:pt x="255" y="1229"/>
                  </a:cubicBezTo>
                  <a:cubicBezTo>
                    <a:pt x="255" y="1229"/>
                    <a:pt x="256" y="1230"/>
                    <a:pt x="257" y="1231"/>
                  </a:cubicBezTo>
                  <a:cubicBezTo>
                    <a:pt x="259" y="1232"/>
                    <a:pt x="261" y="1232"/>
                    <a:pt x="263" y="1232"/>
                  </a:cubicBezTo>
                  <a:cubicBezTo>
                    <a:pt x="264" y="1232"/>
                    <a:pt x="264" y="1232"/>
                    <a:pt x="264" y="1232"/>
                  </a:cubicBezTo>
                  <a:cubicBezTo>
                    <a:pt x="270" y="1232"/>
                    <a:pt x="277" y="1232"/>
                    <a:pt x="283" y="1232"/>
                  </a:cubicBezTo>
                  <a:cubicBezTo>
                    <a:pt x="289" y="1232"/>
                    <a:pt x="296" y="1232"/>
                    <a:pt x="302" y="1232"/>
                  </a:cubicBezTo>
                  <a:cubicBezTo>
                    <a:pt x="302" y="1232"/>
                    <a:pt x="318" y="1232"/>
                    <a:pt x="324" y="1232"/>
                  </a:cubicBezTo>
                  <a:cubicBezTo>
                    <a:pt x="377" y="1250"/>
                    <a:pt x="377" y="1250"/>
                    <a:pt x="377" y="1250"/>
                  </a:cubicBezTo>
                  <a:cubicBezTo>
                    <a:pt x="373" y="1243"/>
                    <a:pt x="373" y="1243"/>
                    <a:pt x="373" y="1243"/>
                  </a:cubicBezTo>
                  <a:cubicBezTo>
                    <a:pt x="372" y="1243"/>
                    <a:pt x="372" y="1243"/>
                    <a:pt x="372" y="1243"/>
                  </a:cubicBezTo>
                  <a:cubicBezTo>
                    <a:pt x="371" y="1242"/>
                    <a:pt x="369" y="1241"/>
                    <a:pt x="367" y="1239"/>
                  </a:cubicBezTo>
                  <a:cubicBezTo>
                    <a:pt x="363" y="1236"/>
                    <a:pt x="359" y="1233"/>
                    <a:pt x="355" y="1230"/>
                  </a:cubicBezTo>
                  <a:cubicBezTo>
                    <a:pt x="354" y="1229"/>
                    <a:pt x="352" y="1228"/>
                    <a:pt x="351" y="1227"/>
                  </a:cubicBezTo>
                  <a:cubicBezTo>
                    <a:pt x="348" y="1225"/>
                    <a:pt x="346" y="1224"/>
                    <a:pt x="345" y="1221"/>
                  </a:cubicBezTo>
                  <a:cubicBezTo>
                    <a:pt x="344" y="1221"/>
                    <a:pt x="344" y="1220"/>
                    <a:pt x="343" y="1219"/>
                  </a:cubicBezTo>
                  <a:cubicBezTo>
                    <a:pt x="343" y="1218"/>
                    <a:pt x="343" y="1217"/>
                    <a:pt x="343" y="1217"/>
                  </a:cubicBezTo>
                  <a:cubicBezTo>
                    <a:pt x="342" y="1214"/>
                    <a:pt x="340" y="1211"/>
                    <a:pt x="337" y="1208"/>
                  </a:cubicBezTo>
                  <a:cubicBezTo>
                    <a:pt x="336" y="1207"/>
                    <a:pt x="334" y="1205"/>
                    <a:pt x="333" y="1203"/>
                  </a:cubicBezTo>
                  <a:cubicBezTo>
                    <a:pt x="331" y="1201"/>
                    <a:pt x="329" y="1198"/>
                    <a:pt x="327" y="1196"/>
                  </a:cubicBezTo>
                  <a:cubicBezTo>
                    <a:pt x="326" y="1195"/>
                    <a:pt x="325" y="1194"/>
                    <a:pt x="325" y="1192"/>
                  </a:cubicBezTo>
                  <a:cubicBezTo>
                    <a:pt x="325" y="1191"/>
                    <a:pt x="325" y="1191"/>
                    <a:pt x="325" y="1191"/>
                  </a:cubicBezTo>
                  <a:cubicBezTo>
                    <a:pt x="325" y="1189"/>
                    <a:pt x="324" y="1186"/>
                    <a:pt x="323" y="1184"/>
                  </a:cubicBezTo>
                  <a:cubicBezTo>
                    <a:pt x="321" y="1179"/>
                    <a:pt x="321" y="1176"/>
                    <a:pt x="322" y="1173"/>
                  </a:cubicBezTo>
                  <a:cubicBezTo>
                    <a:pt x="323" y="1171"/>
                    <a:pt x="325" y="1170"/>
                    <a:pt x="327" y="1169"/>
                  </a:cubicBezTo>
                  <a:cubicBezTo>
                    <a:pt x="329" y="1167"/>
                    <a:pt x="332" y="1166"/>
                    <a:pt x="334" y="1165"/>
                  </a:cubicBezTo>
                  <a:cubicBezTo>
                    <a:pt x="336" y="1165"/>
                    <a:pt x="336" y="1165"/>
                    <a:pt x="336" y="1165"/>
                  </a:cubicBezTo>
                  <a:cubicBezTo>
                    <a:pt x="338" y="1164"/>
                    <a:pt x="340" y="1163"/>
                    <a:pt x="342" y="1161"/>
                  </a:cubicBezTo>
                  <a:cubicBezTo>
                    <a:pt x="344" y="1160"/>
                    <a:pt x="345" y="1159"/>
                    <a:pt x="347" y="1157"/>
                  </a:cubicBezTo>
                  <a:cubicBezTo>
                    <a:pt x="347" y="1157"/>
                    <a:pt x="347" y="1157"/>
                    <a:pt x="348" y="1157"/>
                  </a:cubicBezTo>
                  <a:cubicBezTo>
                    <a:pt x="348" y="1156"/>
                    <a:pt x="349" y="1156"/>
                    <a:pt x="350" y="1155"/>
                  </a:cubicBezTo>
                  <a:cubicBezTo>
                    <a:pt x="350" y="1154"/>
                    <a:pt x="350" y="1153"/>
                    <a:pt x="350" y="1152"/>
                  </a:cubicBezTo>
                  <a:cubicBezTo>
                    <a:pt x="350" y="1151"/>
                    <a:pt x="350" y="1151"/>
                    <a:pt x="350" y="1151"/>
                  </a:cubicBezTo>
                  <a:cubicBezTo>
                    <a:pt x="350" y="1148"/>
                    <a:pt x="350" y="1146"/>
                    <a:pt x="349" y="1143"/>
                  </a:cubicBezTo>
                  <a:cubicBezTo>
                    <a:pt x="348" y="1142"/>
                    <a:pt x="348" y="1142"/>
                    <a:pt x="348" y="1142"/>
                  </a:cubicBezTo>
                  <a:cubicBezTo>
                    <a:pt x="348" y="1140"/>
                    <a:pt x="347" y="1139"/>
                    <a:pt x="347" y="1137"/>
                  </a:cubicBezTo>
                  <a:cubicBezTo>
                    <a:pt x="347" y="1137"/>
                    <a:pt x="347" y="1136"/>
                    <a:pt x="347" y="1135"/>
                  </a:cubicBezTo>
                  <a:cubicBezTo>
                    <a:pt x="346" y="1134"/>
                    <a:pt x="346" y="1132"/>
                    <a:pt x="345" y="1130"/>
                  </a:cubicBezTo>
                  <a:cubicBezTo>
                    <a:pt x="345" y="1129"/>
                    <a:pt x="345" y="1128"/>
                    <a:pt x="344" y="1127"/>
                  </a:cubicBezTo>
                  <a:cubicBezTo>
                    <a:pt x="344" y="1126"/>
                    <a:pt x="343" y="1125"/>
                    <a:pt x="343" y="1124"/>
                  </a:cubicBezTo>
                  <a:cubicBezTo>
                    <a:pt x="342" y="1122"/>
                    <a:pt x="342" y="1120"/>
                    <a:pt x="342" y="1117"/>
                  </a:cubicBezTo>
                  <a:cubicBezTo>
                    <a:pt x="343" y="1116"/>
                    <a:pt x="344" y="1115"/>
                    <a:pt x="344" y="1114"/>
                  </a:cubicBezTo>
                  <a:cubicBezTo>
                    <a:pt x="345" y="1113"/>
                    <a:pt x="345" y="1112"/>
                    <a:pt x="346" y="1112"/>
                  </a:cubicBezTo>
                  <a:cubicBezTo>
                    <a:pt x="346" y="1111"/>
                    <a:pt x="347" y="1110"/>
                    <a:pt x="347" y="1110"/>
                  </a:cubicBezTo>
                  <a:cubicBezTo>
                    <a:pt x="348" y="1109"/>
                    <a:pt x="348" y="1107"/>
                    <a:pt x="349" y="1106"/>
                  </a:cubicBezTo>
                  <a:cubicBezTo>
                    <a:pt x="350" y="1106"/>
                    <a:pt x="351" y="1105"/>
                    <a:pt x="352" y="1104"/>
                  </a:cubicBezTo>
                  <a:cubicBezTo>
                    <a:pt x="353" y="1103"/>
                    <a:pt x="354" y="1102"/>
                    <a:pt x="355" y="1101"/>
                  </a:cubicBezTo>
                  <a:cubicBezTo>
                    <a:pt x="357" y="1099"/>
                    <a:pt x="359" y="1097"/>
                    <a:pt x="362" y="1096"/>
                  </a:cubicBezTo>
                  <a:cubicBezTo>
                    <a:pt x="365" y="1094"/>
                    <a:pt x="368" y="1092"/>
                    <a:pt x="370" y="1089"/>
                  </a:cubicBezTo>
                  <a:cubicBezTo>
                    <a:pt x="371" y="1088"/>
                    <a:pt x="371" y="1087"/>
                    <a:pt x="372" y="1086"/>
                  </a:cubicBezTo>
                  <a:cubicBezTo>
                    <a:pt x="373" y="1085"/>
                    <a:pt x="373" y="1084"/>
                    <a:pt x="374" y="1083"/>
                  </a:cubicBezTo>
                  <a:cubicBezTo>
                    <a:pt x="374" y="1083"/>
                    <a:pt x="374" y="1083"/>
                    <a:pt x="375" y="1083"/>
                  </a:cubicBezTo>
                  <a:cubicBezTo>
                    <a:pt x="376" y="1083"/>
                    <a:pt x="377" y="1082"/>
                    <a:pt x="378" y="1081"/>
                  </a:cubicBezTo>
                  <a:cubicBezTo>
                    <a:pt x="379" y="1080"/>
                    <a:pt x="379" y="1078"/>
                    <a:pt x="379" y="1077"/>
                  </a:cubicBezTo>
                  <a:cubicBezTo>
                    <a:pt x="379" y="1077"/>
                    <a:pt x="379" y="1077"/>
                    <a:pt x="379" y="1077"/>
                  </a:cubicBezTo>
                  <a:cubicBezTo>
                    <a:pt x="379" y="1077"/>
                    <a:pt x="379" y="1077"/>
                    <a:pt x="379" y="1077"/>
                  </a:cubicBezTo>
                  <a:cubicBezTo>
                    <a:pt x="379" y="1077"/>
                    <a:pt x="379" y="1077"/>
                    <a:pt x="380" y="1077"/>
                  </a:cubicBezTo>
                  <a:cubicBezTo>
                    <a:pt x="381" y="1076"/>
                    <a:pt x="383" y="1074"/>
                    <a:pt x="382" y="1072"/>
                  </a:cubicBezTo>
                  <a:cubicBezTo>
                    <a:pt x="382" y="1069"/>
                    <a:pt x="379" y="1068"/>
                    <a:pt x="377" y="1068"/>
                  </a:cubicBezTo>
                  <a:cubicBezTo>
                    <a:pt x="377" y="1068"/>
                    <a:pt x="376" y="1067"/>
                    <a:pt x="376" y="1067"/>
                  </a:cubicBezTo>
                  <a:cubicBezTo>
                    <a:pt x="375" y="1066"/>
                    <a:pt x="376" y="1064"/>
                    <a:pt x="376" y="1063"/>
                  </a:cubicBezTo>
                  <a:cubicBezTo>
                    <a:pt x="376" y="1062"/>
                    <a:pt x="376" y="1060"/>
                    <a:pt x="376" y="1059"/>
                  </a:cubicBezTo>
                  <a:cubicBezTo>
                    <a:pt x="376" y="1057"/>
                    <a:pt x="376" y="1055"/>
                    <a:pt x="375" y="1053"/>
                  </a:cubicBezTo>
                  <a:cubicBezTo>
                    <a:pt x="375" y="1051"/>
                    <a:pt x="375" y="1051"/>
                    <a:pt x="375" y="1051"/>
                  </a:cubicBezTo>
                  <a:cubicBezTo>
                    <a:pt x="374" y="1046"/>
                    <a:pt x="370" y="1041"/>
                    <a:pt x="363" y="1037"/>
                  </a:cubicBezTo>
                  <a:cubicBezTo>
                    <a:pt x="361" y="1036"/>
                    <a:pt x="359" y="1036"/>
                    <a:pt x="358" y="1036"/>
                  </a:cubicBezTo>
                  <a:cubicBezTo>
                    <a:pt x="357" y="1036"/>
                    <a:pt x="356" y="1036"/>
                    <a:pt x="356" y="1036"/>
                  </a:cubicBezTo>
                  <a:cubicBezTo>
                    <a:pt x="355" y="1036"/>
                    <a:pt x="354" y="1036"/>
                    <a:pt x="354" y="1036"/>
                  </a:cubicBezTo>
                  <a:cubicBezTo>
                    <a:pt x="354" y="1036"/>
                    <a:pt x="353" y="1036"/>
                    <a:pt x="353" y="1036"/>
                  </a:cubicBezTo>
                  <a:cubicBezTo>
                    <a:pt x="352" y="1036"/>
                    <a:pt x="352" y="1036"/>
                    <a:pt x="351" y="1035"/>
                  </a:cubicBezTo>
                  <a:cubicBezTo>
                    <a:pt x="349" y="1035"/>
                    <a:pt x="348" y="1035"/>
                    <a:pt x="346" y="1035"/>
                  </a:cubicBezTo>
                  <a:cubicBezTo>
                    <a:pt x="346" y="1035"/>
                    <a:pt x="345" y="1035"/>
                    <a:pt x="344" y="1035"/>
                  </a:cubicBezTo>
                  <a:cubicBezTo>
                    <a:pt x="344" y="1035"/>
                    <a:pt x="344" y="1035"/>
                    <a:pt x="344" y="1035"/>
                  </a:cubicBezTo>
                  <a:cubicBezTo>
                    <a:pt x="342" y="1035"/>
                    <a:pt x="341" y="1035"/>
                    <a:pt x="339" y="1035"/>
                  </a:cubicBezTo>
                  <a:cubicBezTo>
                    <a:pt x="339" y="1035"/>
                    <a:pt x="338" y="1035"/>
                    <a:pt x="337" y="1035"/>
                  </a:cubicBezTo>
                  <a:cubicBezTo>
                    <a:pt x="336" y="1034"/>
                    <a:pt x="336" y="1034"/>
                    <a:pt x="335" y="1034"/>
                  </a:cubicBezTo>
                  <a:cubicBezTo>
                    <a:pt x="335" y="1034"/>
                    <a:pt x="335" y="1034"/>
                    <a:pt x="335" y="1034"/>
                  </a:cubicBezTo>
                  <a:cubicBezTo>
                    <a:pt x="334" y="1033"/>
                    <a:pt x="333" y="1033"/>
                    <a:pt x="332" y="1032"/>
                  </a:cubicBezTo>
                  <a:cubicBezTo>
                    <a:pt x="332" y="1032"/>
                    <a:pt x="331" y="1032"/>
                    <a:pt x="331" y="1031"/>
                  </a:cubicBezTo>
                  <a:cubicBezTo>
                    <a:pt x="330" y="1031"/>
                    <a:pt x="330" y="1031"/>
                    <a:pt x="330" y="1031"/>
                  </a:cubicBezTo>
                  <a:cubicBezTo>
                    <a:pt x="330" y="1030"/>
                    <a:pt x="330" y="1030"/>
                    <a:pt x="329" y="1030"/>
                  </a:cubicBezTo>
                  <a:cubicBezTo>
                    <a:pt x="329" y="1030"/>
                    <a:pt x="329" y="1030"/>
                    <a:pt x="329" y="1030"/>
                  </a:cubicBezTo>
                  <a:cubicBezTo>
                    <a:pt x="328" y="1029"/>
                    <a:pt x="328" y="1029"/>
                    <a:pt x="328" y="1029"/>
                  </a:cubicBezTo>
                  <a:cubicBezTo>
                    <a:pt x="327" y="1028"/>
                    <a:pt x="326" y="1028"/>
                    <a:pt x="326" y="1027"/>
                  </a:cubicBezTo>
                  <a:cubicBezTo>
                    <a:pt x="325" y="1027"/>
                    <a:pt x="325" y="1027"/>
                    <a:pt x="324" y="1027"/>
                  </a:cubicBezTo>
                  <a:cubicBezTo>
                    <a:pt x="324" y="1026"/>
                    <a:pt x="323" y="1026"/>
                    <a:pt x="322" y="1025"/>
                  </a:cubicBezTo>
                  <a:cubicBezTo>
                    <a:pt x="321" y="1025"/>
                    <a:pt x="321" y="1025"/>
                    <a:pt x="321" y="1025"/>
                  </a:cubicBezTo>
                  <a:cubicBezTo>
                    <a:pt x="319" y="1023"/>
                    <a:pt x="316" y="1021"/>
                    <a:pt x="313" y="1019"/>
                  </a:cubicBezTo>
                  <a:cubicBezTo>
                    <a:pt x="310" y="1019"/>
                    <a:pt x="308" y="1017"/>
                    <a:pt x="306" y="1016"/>
                  </a:cubicBezTo>
                  <a:cubicBezTo>
                    <a:pt x="304" y="1015"/>
                    <a:pt x="304" y="1015"/>
                    <a:pt x="304" y="1015"/>
                  </a:cubicBezTo>
                  <a:cubicBezTo>
                    <a:pt x="304" y="1015"/>
                    <a:pt x="304" y="1015"/>
                    <a:pt x="303" y="1014"/>
                  </a:cubicBezTo>
                  <a:cubicBezTo>
                    <a:pt x="303" y="1013"/>
                    <a:pt x="303" y="1013"/>
                    <a:pt x="303" y="1012"/>
                  </a:cubicBezTo>
                  <a:cubicBezTo>
                    <a:pt x="301" y="1010"/>
                    <a:pt x="299" y="1007"/>
                    <a:pt x="297" y="1005"/>
                  </a:cubicBezTo>
                  <a:cubicBezTo>
                    <a:pt x="294" y="1002"/>
                    <a:pt x="293" y="1000"/>
                    <a:pt x="293" y="997"/>
                  </a:cubicBezTo>
                  <a:cubicBezTo>
                    <a:pt x="293" y="996"/>
                    <a:pt x="293" y="996"/>
                    <a:pt x="293" y="995"/>
                  </a:cubicBezTo>
                  <a:cubicBezTo>
                    <a:pt x="293" y="994"/>
                    <a:pt x="293" y="993"/>
                    <a:pt x="293" y="992"/>
                  </a:cubicBezTo>
                  <a:cubicBezTo>
                    <a:pt x="293" y="990"/>
                    <a:pt x="294" y="988"/>
                    <a:pt x="294" y="987"/>
                  </a:cubicBezTo>
                  <a:cubicBezTo>
                    <a:pt x="296" y="984"/>
                    <a:pt x="296" y="982"/>
                    <a:pt x="296" y="980"/>
                  </a:cubicBezTo>
                  <a:cubicBezTo>
                    <a:pt x="296" y="979"/>
                    <a:pt x="297" y="978"/>
                    <a:pt x="297" y="977"/>
                  </a:cubicBezTo>
                  <a:cubicBezTo>
                    <a:pt x="298" y="977"/>
                    <a:pt x="298" y="976"/>
                    <a:pt x="298" y="976"/>
                  </a:cubicBezTo>
                  <a:cubicBezTo>
                    <a:pt x="298" y="975"/>
                    <a:pt x="299" y="974"/>
                    <a:pt x="299" y="973"/>
                  </a:cubicBezTo>
                  <a:cubicBezTo>
                    <a:pt x="300" y="972"/>
                    <a:pt x="300" y="971"/>
                    <a:pt x="300" y="970"/>
                  </a:cubicBezTo>
                  <a:cubicBezTo>
                    <a:pt x="301" y="969"/>
                    <a:pt x="301" y="969"/>
                    <a:pt x="301" y="969"/>
                  </a:cubicBezTo>
                  <a:cubicBezTo>
                    <a:pt x="301" y="968"/>
                    <a:pt x="302" y="967"/>
                    <a:pt x="303" y="966"/>
                  </a:cubicBezTo>
                  <a:cubicBezTo>
                    <a:pt x="303" y="966"/>
                    <a:pt x="303" y="966"/>
                    <a:pt x="304" y="966"/>
                  </a:cubicBezTo>
                  <a:cubicBezTo>
                    <a:pt x="304" y="966"/>
                    <a:pt x="305" y="966"/>
                    <a:pt x="305" y="966"/>
                  </a:cubicBezTo>
                  <a:cubicBezTo>
                    <a:pt x="306" y="966"/>
                    <a:pt x="306" y="966"/>
                    <a:pt x="307" y="966"/>
                  </a:cubicBezTo>
                  <a:cubicBezTo>
                    <a:pt x="307" y="966"/>
                    <a:pt x="307" y="966"/>
                    <a:pt x="308" y="966"/>
                  </a:cubicBezTo>
                  <a:cubicBezTo>
                    <a:pt x="309" y="966"/>
                    <a:pt x="310" y="966"/>
                    <a:pt x="311" y="965"/>
                  </a:cubicBezTo>
                  <a:cubicBezTo>
                    <a:pt x="312" y="965"/>
                    <a:pt x="312" y="965"/>
                    <a:pt x="313" y="965"/>
                  </a:cubicBezTo>
                  <a:cubicBezTo>
                    <a:pt x="314" y="964"/>
                    <a:pt x="317" y="964"/>
                    <a:pt x="317" y="960"/>
                  </a:cubicBezTo>
                  <a:cubicBezTo>
                    <a:pt x="317" y="958"/>
                    <a:pt x="317" y="958"/>
                    <a:pt x="317" y="958"/>
                  </a:cubicBezTo>
                  <a:cubicBezTo>
                    <a:pt x="318" y="958"/>
                    <a:pt x="319" y="957"/>
                    <a:pt x="320" y="957"/>
                  </a:cubicBezTo>
                  <a:cubicBezTo>
                    <a:pt x="321" y="956"/>
                    <a:pt x="321" y="956"/>
                    <a:pt x="323" y="956"/>
                  </a:cubicBezTo>
                  <a:cubicBezTo>
                    <a:pt x="323" y="956"/>
                    <a:pt x="324" y="956"/>
                    <a:pt x="326" y="957"/>
                  </a:cubicBezTo>
                  <a:cubicBezTo>
                    <a:pt x="327" y="959"/>
                    <a:pt x="329" y="959"/>
                    <a:pt x="331" y="959"/>
                  </a:cubicBezTo>
                  <a:cubicBezTo>
                    <a:pt x="331" y="959"/>
                    <a:pt x="332" y="959"/>
                    <a:pt x="332" y="959"/>
                  </a:cubicBezTo>
                  <a:cubicBezTo>
                    <a:pt x="333" y="959"/>
                    <a:pt x="333" y="959"/>
                    <a:pt x="333" y="959"/>
                  </a:cubicBezTo>
                  <a:cubicBezTo>
                    <a:pt x="333" y="959"/>
                    <a:pt x="334" y="959"/>
                    <a:pt x="334" y="959"/>
                  </a:cubicBezTo>
                  <a:cubicBezTo>
                    <a:pt x="335" y="959"/>
                    <a:pt x="335" y="959"/>
                    <a:pt x="336" y="959"/>
                  </a:cubicBezTo>
                  <a:cubicBezTo>
                    <a:pt x="338" y="959"/>
                    <a:pt x="340" y="959"/>
                    <a:pt x="342" y="957"/>
                  </a:cubicBezTo>
                  <a:cubicBezTo>
                    <a:pt x="342" y="956"/>
                    <a:pt x="343" y="955"/>
                    <a:pt x="343" y="953"/>
                  </a:cubicBezTo>
                  <a:cubicBezTo>
                    <a:pt x="342" y="949"/>
                    <a:pt x="340" y="948"/>
                    <a:pt x="338" y="947"/>
                  </a:cubicBezTo>
                  <a:cubicBezTo>
                    <a:pt x="337" y="947"/>
                    <a:pt x="336" y="946"/>
                    <a:pt x="336" y="945"/>
                  </a:cubicBezTo>
                  <a:cubicBezTo>
                    <a:pt x="335" y="945"/>
                    <a:pt x="335" y="943"/>
                    <a:pt x="336" y="942"/>
                  </a:cubicBezTo>
                  <a:cubicBezTo>
                    <a:pt x="336" y="942"/>
                    <a:pt x="336" y="942"/>
                    <a:pt x="337" y="942"/>
                  </a:cubicBezTo>
                  <a:cubicBezTo>
                    <a:pt x="338" y="942"/>
                    <a:pt x="338" y="942"/>
                    <a:pt x="339" y="941"/>
                  </a:cubicBezTo>
                  <a:cubicBezTo>
                    <a:pt x="340" y="940"/>
                    <a:pt x="340" y="939"/>
                    <a:pt x="340" y="939"/>
                  </a:cubicBezTo>
                  <a:cubicBezTo>
                    <a:pt x="340" y="938"/>
                    <a:pt x="340" y="938"/>
                    <a:pt x="340" y="938"/>
                  </a:cubicBezTo>
                  <a:cubicBezTo>
                    <a:pt x="341" y="938"/>
                    <a:pt x="341" y="938"/>
                    <a:pt x="341" y="937"/>
                  </a:cubicBezTo>
                  <a:cubicBezTo>
                    <a:pt x="341" y="937"/>
                    <a:pt x="342" y="937"/>
                    <a:pt x="342" y="937"/>
                  </a:cubicBezTo>
                  <a:cubicBezTo>
                    <a:pt x="343" y="935"/>
                    <a:pt x="343" y="933"/>
                    <a:pt x="343" y="932"/>
                  </a:cubicBezTo>
                  <a:cubicBezTo>
                    <a:pt x="344" y="932"/>
                    <a:pt x="344" y="931"/>
                    <a:pt x="344" y="931"/>
                  </a:cubicBezTo>
                  <a:cubicBezTo>
                    <a:pt x="345" y="927"/>
                    <a:pt x="343" y="924"/>
                    <a:pt x="341" y="922"/>
                  </a:cubicBezTo>
                  <a:cubicBezTo>
                    <a:pt x="340" y="922"/>
                    <a:pt x="340" y="922"/>
                    <a:pt x="340" y="922"/>
                  </a:cubicBezTo>
                  <a:cubicBezTo>
                    <a:pt x="340" y="921"/>
                    <a:pt x="340" y="921"/>
                    <a:pt x="340" y="921"/>
                  </a:cubicBezTo>
                  <a:cubicBezTo>
                    <a:pt x="341" y="919"/>
                    <a:pt x="341" y="918"/>
                    <a:pt x="341" y="916"/>
                  </a:cubicBezTo>
                  <a:cubicBezTo>
                    <a:pt x="340" y="914"/>
                    <a:pt x="340" y="914"/>
                    <a:pt x="339" y="913"/>
                  </a:cubicBezTo>
                  <a:cubicBezTo>
                    <a:pt x="339" y="913"/>
                    <a:pt x="339" y="912"/>
                    <a:pt x="339" y="912"/>
                  </a:cubicBezTo>
                  <a:cubicBezTo>
                    <a:pt x="339" y="912"/>
                    <a:pt x="339" y="912"/>
                    <a:pt x="339" y="912"/>
                  </a:cubicBezTo>
                  <a:cubicBezTo>
                    <a:pt x="338" y="911"/>
                    <a:pt x="338" y="909"/>
                    <a:pt x="335" y="908"/>
                  </a:cubicBezTo>
                  <a:cubicBezTo>
                    <a:pt x="335" y="908"/>
                    <a:pt x="335" y="907"/>
                    <a:pt x="335" y="907"/>
                  </a:cubicBezTo>
                  <a:cubicBezTo>
                    <a:pt x="335" y="906"/>
                    <a:pt x="334" y="904"/>
                    <a:pt x="332" y="903"/>
                  </a:cubicBezTo>
                  <a:cubicBezTo>
                    <a:pt x="332" y="902"/>
                    <a:pt x="332" y="901"/>
                    <a:pt x="332" y="900"/>
                  </a:cubicBezTo>
                  <a:cubicBezTo>
                    <a:pt x="332" y="900"/>
                    <a:pt x="332" y="900"/>
                    <a:pt x="332" y="899"/>
                  </a:cubicBezTo>
                  <a:cubicBezTo>
                    <a:pt x="332" y="899"/>
                    <a:pt x="332" y="898"/>
                    <a:pt x="332" y="898"/>
                  </a:cubicBezTo>
                  <a:cubicBezTo>
                    <a:pt x="332" y="898"/>
                    <a:pt x="333" y="897"/>
                    <a:pt x="333" y="897"/>
                  </a:cubicBezTo>
                  <a:cubicBezTo>
                    <a:pt x="333" y="897"/>
                    <a:pt x="334" y="896"/>
                    <a:pt x="334" y="896"/>
                  </a:cubicBezTo>
                  <a:cubicBezTo>
                    <a:pt x="335" y="895"/>
                    <a:pt x="335" y="893"/>
                    <a:pt x="335" y="892"/>
                  </a:cubicBezTo>
                  <a:cubicBezTo>
                    <a:pt x="335" y="892"/>
                    <a:pt x="335" y="892"/>
                    <a:pt x="335" y="892"/>
                  </a:cubicBezTo>
                  <a:cubicBezTo>
                    <a:pt x="336" y="891"/>
                    <a:pt x="336" y="891"/>
                    <a:pt x="336" y="890"/>
                  </a:cubicBezTo>
                  <a:cubicBezTo>
                    <a:pt x="336" y="890"/>
                    <a:pt x="336" y="889"/>
                    <a:pt x="336" y="889"/>
                  </a:cubicBezTo>
                  <a:cubicBezTo>
                    <a:pt x="337" y="888"/>
                    <a:pt x="337" y="887"/>
                    <a:pt x="338" y="886"/>
                  </a:cubicBezTo>
                  <a:cubicBezTo>
                    <a:pt x="338" y="886"/>
                    <a:pt x="339" y="885"/>
                    <a:pt x="340" y="884"/>
                  </a:cubicBezTo>
                  <a:cubicBezTo>
                    <a:pt x="340" y="884"/>
                    <a:pt x="340" y="884"/>
                    <a:pt x="340" y="884"/>
                  </a:cubicBezTo>
                  <a:cubicBezTo>
                    <a:pt x="340" y="884"/>
                    <a:pt x="341" y="884"/>
                    <a:pt x="341" y="884"/>
                  </a:cubicBezTo>
                  <a:cubicBezTo>
                    <a:pt x="341" y="883"/>
                    <a:pt x="342" y="883"/>
                    <a:pt x="342" y="883"/>
                  </a:cubicBezTo>
                  <a:cubicBezTo>
                    <a:pt x="342" y="883"/>
                    <a:pt x="342" y="883"/>
                    <a:pt x="342" y="883"/>
                  </a:cubicBezTo>
                  <a:cubicBezTo>
                    <a:pt x="343" y="882"/>
                    <a:pt x="343" y="882"/>
                    <a:pt x="343" y="882"/>
                  </a:cubicBezTo>
                  <a:cubicBezTo>
                    <a:pt x="344" y="882"/>
                    <a:pt x="344" y="882"/>
                    <a:pt x="345" y="882"/>
                  </a:cubicBezTo>
                  <a:cubicBezTo>
                    <a:pt x="346" y="882"/>
                    <a:pt x="347" y="881"/>
                    <a:pt x="348" y="880"/>
                  </a:cubicBezTo>
                  <a:cubicBezTo>
                    <a:pt x="348" y="880"/>
                    <a:pt x="348" y="880"/>
                    <a:pt x="348" y="880"/>
                  </a:cubicBezTo>
                  <a:cubicBezTo>
                    <a:pt x="348" y="880"/>
                    <a:pt x="349" y="879"/>
                    <a:pt x="349" y="879"/>
                  </a:cubicBezTo>
                  <a:cubicBezTo>
                    <a:pt x="349" y="879"/>
                    <a:pt x="350" y="879"/>
                    <a:pt x="350" y="879"/>
                  </a:cubicBezTo>
                  <a:cubicBezTo>
                    <a:pt x="350" y="878"/>
                    <a:pt x="351" y="878"/>
                    <a:pt x="351" y="878"/>
                  </a:cubicBezTo>
                  <a:cubicBezTo>
                    <a:pt x="352" y="877"/>
                    <a:pt x="352" y="877"/>
                    <a:pt x="352" y="877"/>
                  </a:cubicBezTo>
                  <a:cubicBezTo>
                    <a:pt x="352" y="877"/>
                    <a:pt x="352" y="877"/>
                    <a:pt x="352" y="877"/>
                  </a:cubicBezTo>
                  <a:cubicBezTo>
                    <a:pt x="353" y="876"/>
                    <a:pt x="356" y="875"/>
                    <a:pt x="355" y="872"/>
                  </a:cubicBezTo>
                  <a:cubicBezTo>
                    <a:pt x="355" y="870"/>
                    <a:pt x="355" y="870"/>
                    <a:pt x="355" y="870"/>
                  </a:cubicBezTo>
                  <a:cubicBezTo>
                    <a:pt x="353" y="870"/>
                    <a:pt x="353" y="870"/>
                    <a:pt x="353" y="870"/>
                  </a:cubicBezTo>
                  <a:cubicBezTo>
                    <a:pt x="351" y="870"/>
                    <a:pt x="350" y="870"/>
                    <a:pt x="349" y="870"/>
                  </a:cubicBezTo>
                  <a:cubicBezTo>
                    <a:pt x="346" y="870"/>
                    <a:pt x="344" y="869"/>
                    <a:pt x="342" y="868"/>
                  </a:cubicBezTo>
                  <a:cubicBezTo>
                    <a:pt x="340" y="868"/>
                    <a:pt x="340" y="868"/>
                    <a:pt x="340" y="868"/>
                  </a:cubicBezTo>
                  <a:cubicBezTo>
                    <a:pt x="338" y="867"/>
                    <a:pt x="336" y="865"/>
                    <a:pt x="333" y="865"/>
                  </a:cubicBezTo>
                  <a:cubicBezTo>
                    <a:pt x="331" y="864"/>
                    <a:pt x="329" y="864"/>
                    <a:pt x="329" y="863"/>
                  </a:cubicBezTo>
                  <a:cubicBezTo>
                    <a:pt x="329" y="862"/>
                    <a:pt x="330" y="862"/>
                    <a:pt x="332" y="860"/>
                  </a:cubicBezTo>
                  <a:cubicBezTo>
                    <a:pt x="332" y="860"/>
                    <a:pt x="332" y="860"/>
                    <a:pt x="333" y="859"/>
                  </a:cubicBezTo>
                  <a:cubicBezTo>
                    <a:pt x="333" y="859"/>
                    <a:pt x="334" y="858"/>
                    <a:pt x="335" y="858"/>
                  </a:cubicBezTo>
                  <a:cubicBezTo>
                    <a:pt x="336" y="857"/>
                    <a:pt x="337" y="856"/>
                    <a:pt x="338" y="856"/>
                  </a:cubicBezTo>
                  <a:cubicBezTo>
                    <a:pt x="338" y="856"/>
                    <a:pt x="338" y="856"/>
                    <a:pt x="338" y="856"/>
                  </a:cubicBezTo>
                  <a:cubicBezTo>
                    <a:pt x="339" y="856"/>
                    <a:pt x="340" y="856"/>
                    <a:pt x="340" y="856"/>
                  </a:cubicBezTo>
                  <a:cubicBezTo>
                    <a:pt x="341" y="856"/>
                    <a:pt x="341" y="856"/>
                    <a:pt x="342" y="857"/>
                  </a:cubicBezTo>
                  <a:cubicBezTo>
                    <a:pt x="343" y="857"/>
                    <a:pt x="343" y="857"/>
                    <a:pt x="343" y="857"/>
                  </a:cubicBezTo>
                  <a:cubicBezTo>
                    <a:pt x="344" y="857"/>
                    <a:pt x="344" y="857"/>
                    <a:pt x="345" y="857"/>
                  </a:cubicBezTo>
                  <a:cubicBezTo>
                    <a:pt x="346" y="858"/>
                    <a:pt x="347" y="860"/>
                    <a:pt x="348" y="861"/>
                  </a:cubicBezTo>
                  <a:cubicBezTo>
                    <a:pt x="349" y="862"/>
                    <a:pt x="349" y="863"/>
                    <a:pt x="350" y="864"/>
                  </a:cubicBezTo>
                  <a:cubicBezTo>
                    <a:pt x="351" y="866"/>
                    <a:pt x="353" y="868"/>
                    <a:pt x="355" y="870"/>
                  </a:cubicBezTo>
                  <a:cubicBezTo>
                    <a:pt x="357" y="871"/>
                    <a:pt x="358" y="872"/>
                    <a:pt x="360" y="872"/>
                  </a:cubicBezTo>
                  <a:cubicBezTo>
                    <a:pt x="362" y="872"/>
                    <a:pt x="364" y="871"/>
                    <a:pt x="366" y="871"/>
                  </a:cubicBezTo>
                  <a:cubicBezTo>
                    <a:pt x="367" y="870"/>
                    <a:pt x="367" y="870"/>
                    <a:pt x="367" y="870"/>
                  </a:cubicBezTo>
                  <a:cubicBezTo>
                    <a:pt x="370" y="869"/>
                    <a:pt x="373" y="868"/>
                    <a:pt x="374" y="864"/>
                  </a:cubicBezTo>
                  <a:cubicBezTo>
                    <a:pt x="374" y="860"/>
                    <a:pt x="374" y="857"/>
                    <a:pt x="373" y="854"/>
                  </a:cubicBezTo>
                  <a:cubicBezTo>
                    <a:pt x="372" y="852"/>
                    <a:pt x="371" y="849"/>
                    <a:pt x="370" y="847"/>
                  </a:cubicBezTo>
                  <a:cubicBezTo>
                    <a:pt x="369" y="846"/>
                    <a:pt x="369" y="846"/>
                    <a:pt x="369" y="846"/>
                  </a:cubicBezTo>
                  <a:cubicBezTo>
                    <a:pt x="368" y="844"/>
                    <a:pt x="367" y="843"/>
                    <a:pt x="366" y="841"/>
                  </a:cubicBezTo>
                  <a:cubicBezTo>
                    <a:pt x="365" y="839"/>
                    <a:pt x="365" y="839"/>
                    <a:pt x="365" y="839"/>
                  </a:cubicBezTo>
                  <a:cubicBezTo>
                    <a:pt x="363" y="837"/>
                    <a:pt x="361" y="834"/>
                    <a:pt x="357" y="834"/>
                  </a:cubicBezTo>
                  <a:cubicBezTo>
                    <a:pt x="357" y="834"/>
                    <a:pt x="356" y="834"/>
                    <a:pt x="356" y="834"/>
                  </a:cubicBezTo>
                  <a:cubicBezTo>
                    <a:pt x="354" y="835"/>
                    <a:pt x="353" y="836"/>
                    <a:pt x="352" y="837"/>
                  </a:cubicBezTo>
                  <a:cubicBezTo>
                    <a:pt x="352" y="837"/>
                    <a:pt x="352" y="837"/>
                    <a:pt x="352" y="837"/>
                  </a:cubicBezTo>
                  <a:cubicBezTo>
                    <a:pt x="351" y="838"/>
                    <a:pt x="350" y="839"/>
                    <a:pt x="348" y="839"/>
                  </a:cubicBezTo>
                  <a:cubicBezTo>
                    <a:pt x="348" y="839"/>
                    <a:pt x="348" y="839"/>
                    <a:pt x="348" y="839"/>
                  </a:cubicBezTo>
                  <a:cubicBezTo>
                    <a:pt x="347" y="839"/>
                    <a:pt x="346" y="839"/>
                    <a:pt x="345" y="840"/>
                  </a:cubicBezTo>
                  <a:cubicBezTo>
                    <a:pt x="344" y="840"/>
                    <a:pt x="344" y="842"/>
                    <a:pt x="344" y="843"/>
                  </a:cubicBezTo>
                  <a:cubicBezTo>
                    <a:pt x="344" y="844"/>
                    <a:pt x="344" y="845"/>
                    <a:pt x="345" y="846"/>
                  </a:cubicBezTo>
                  <a:cubicBezTo>
                    <a:pt x="346" y="846"/>
                    <a:pt x="347" y="846"/>
                    <a:pt x="348" y="846"/>
                  </a:cubicBezTo>
                  <a:cubicBezTo>
                    <a:pt x="349" y="846"/>
                    <a:pt x="349" y="846"/>
                    <a:pt x="349" y="846"/>
                  </a:cubicBezTo>
                  <a:cubicBezTo>
                    <a:pt x="350" y="846"/>
                    <a:pt x="350" y="847"/>
                    <a:pt x="350" y="847"/>
                  </a:cubicBezTo>
                  <a:cubicBezTo>
                    <a:pt x="350" y="847"/>
                    <a:pt x="350" y="847"/>
                    <a:pt x="350" y="847"/>
                  </a:cubicBezTo>
                  <a:cubicBezTo>
                    <a:pt x="350" y="848"/>
                    <a:pt x="347" y="848"/>
                    <a:pt x="346" y="849"/>
                  </a:cubicBezTo>
                  <a:cubicBezTo>
                    <a:pt x="345" y="849"/>
                    <a:pt x="345" y="849"/>
                    <a:pt x="345" y="849"/>
                  </a:cubicBezTo>
                  <a:cubicBezTo>
                    <a:pt x="345" y="849"/>
                    <a:pt x="344" y="849"/>
                    <a:pt x="343" y="849"/>
                  </a:cubicBezTo>
                  <a:cubicBezTo>
                    <a:pt x="342" y="849"/>
                    <a:pt x="341" y="849"/>
                    <a:pt x="341" y="849"/>
                  </a:cubicBezTo>
                  <a:cubicBezTo>
                    <a:pt x="340" y="849"/>
                    <a:pt x="340" y="849"/>
                    <a:pt x="339" y="849"/>
                  </a:cubicBezTo>
                  <a:cubicBezTo>
                    <a:pt x="339" y="849"/>
                    <a:pt x="337" y="848"/>
                    <a:pt x="337" y="845"/>
                  </a:cubicBezTo>
                  <a:cubicBezTo>
                    <a:pt x="338" y="843"/>
                    <a:pt x="338" y="843"/>
                    <a:pt x="338" y="843"/>
                  </a:cubicBezTo>
                  <a:cubicBezTo>
                    <a:pt x="335" y="842"/>
                    <a:pt x="335" y="842"/>
                    <a:pt x="335" y="842"/>
                  </a:cubicBezTo>
                  <a:cubicBezTo>
                    <a:pt x="335" y="842"/>
                    <a:pt x="334" y="842"/>
                    <a:pt x="334" y="842"/>
                  </a:cubicBezTo>
                  <a:cubicBezTo>
                    <a:pt x="333" y="842"/>
                    <a:pt x="331" y="842"/>
                    <a:pt x="330" y="841"/>
                  </a:cubicBezTo>
                  <a:cubicBezTo>
                    <a:pt x="330" y="841"/>
                    <a:pt x="330" y="841"/>
                    <a:pt x="329" y="841"/>
                  </a:cubicBezTo>
                  <a:cubicBezTo>
                    <a:pt x="329" y="840"/>
                    <a:pt x="328" y="840"/>
                    <a:pt x="327" y="840"/>
                  </a:cubicBezTo>
                  <a:cubicBezTo>
                    <a:pt x="327" y="840"/>
                    <a:pt x="326" y="840"/>
                    <a:pt x="326" y="839"/>
                  </a:cubicBezTo>
                  <a:cubicBezTo>
                    <a:pt x="325" y="839"/>
                    <a:pt x="325" y="839"/>
                    <a:pt x="325" y="839"/>
                  </a:cubicBezTo>
                  <a:cubicBezTo>
                    <a:pt x="324" y="839"/>
                    <a:pt x="324" y="839"/>
                    <a:pt x="324" y="839"/>
                  </a:cubicBezTo>
                  <a:cubicBezTo>
                    <a:pt x="323" y="838"/>
                    <a:pt x="323" y="838"/>
                    <a:pt x="322" y="837"/>
                  </a:cubicBezTo>
                  <a:cubicBezTo>
                    <a:pt x="322" y="837"/>
                    <a:pt x="321" y="837"/>
                    <a:pt x="321" y="837"/>
                  </a:cubicBezTo>
                  <a:cubicBezTo>
                    <a:pt x="321" y="837"/>
                    <a:pt x="321" y="837"/>
                    <a:pt x="320" y="837"/>
                  </a:cubicBezTo>
                  <a:cubicBezTo>
                    <a:pt x="319" y="836"/>
                    <a:pt x="318" y="834"/>
                    <a:pt x="317" y="833"/>
                  </a:cubicBezTo>
                  <a:cubicBezTo>
                    <a:pt x="317" y="833"/>
                    <a:pt x="317" y="832"/>
                    <a:pt x="316" y="832"/>
                  </a:cubicBezTo>
                  <a:cubicBezTo>
                    <a:pt x="316" y="831"/>
                    <a:pt x="315" y="830"/>
                    <a:pt x="315" y="830"/>
                  </a:cubicBezTo>
                  <a:cubicBezTo>
                    <a:pt x="315" y="828"/>
                    <a:pt x="315" y="828"/>
                    <a:pt x="315" y="828"/>
                  </a:cubicBezTo>
                  <a:cubicBezTo>
                    <a:pt x="315" y="828"/>
                    <a:pt x="315" y="827"/>
                    <a:pt x="315" y="827"/>
                  </a:cubicBezTo>
                  <a:cubicBezTo>
                    <a:pt x="315" y="826"/>
                    <a:pt x="315" y="826"/>
                    <a:pt x="315" y="826"/>
                  </a:cubicBezTo>
                  <a:cubicBezTo>
                    <a:pt x="315" y="825"/>
                    <a:pt x="315" y="824"/>
                    <a:pt x="315" y="824"/>
                  </a:cubicBezTo>
                  <a:cubicBezTo>
                    <a:pt x="315" y="822"/>
                    <a:pt x="314" y="821"/>
                    <a:pt x="314" y="821"/>
                  </a:cubicBezTo>
                  <a:cubicBezTo>
                    <a:pt x="314" y="821"/>
                    <a:pt x="314" y="821"/>
                    <a:pt x="314" y="821"/>
                  </a:cubicBezTo>
                  <a:cubicBezTo>
                    <a:pt x="313" y="820"/>
                    <a:pt x="313" y="820"/>
                    <a:pt x="313" y="819"/>
                  </a:cubicBezTo>
                  <a:cubicBezTo>
                    <a:pt x="313" y="819"/>
                    <a:pt x="313" y="818"/>
                    <a:pt x="313" y="818"/>
                  </a:cubicBezTo>
                  <a:cubicBezTo>
                    <a:pt x="313" y="816"/>
                    <a:pt x="313" y="815"/>
                    <a:pt x="311" y="813"/>
                  </a:cubicBezTo>
                  <a:cubicBezTo>
                    <a:pt x="311" y="812"/>
                    <a:pt x="310" y="811"/>
                    <a:pt x="310" y="811"/>
                  </a:cubicBezTo>
                  <a:cubicBezTo>
                    <a:pt x="309" y="810"/>
                    <a:pt x="309" y="809"/>
                    <a:pt x="308" y="808"/>
                  </a:cubicBezTo>
                  <a:cubicBezTo>
                    <a:pt x="306" y="806"/>
                    <a:pt x="305" y="804"/>
                    <a:pt x="303" y="801"/>
                  </a:cubicBezTo>
                  <a:cubicBezTo>
                    <a:pt x="302" y="799"/>
                    <a:pt x="302" y="799"/>
                    <a:pt x="302" y="799"/>
                  </a:cubicBezTo>
                  <a:cubicBezTo>
                    <a:pt x="299" y="795"/>
                    <a:pt x="299" y="790"/>
                    <a:pt x="300" y="786"/>
                  </a:cubicBezTo>
                  <a:cubicBezTo>
                    <a:pt x="300" y="785"/>
                    <a:pt x="300" y="784"/>
                    <a:pt x="302" y="784"/>
                  </a:cubicBezTo>
                  <a:cubicBezTo>
                    <a:pt x="303" y="784"/>
                    <a:pt x="305" y="785"/>
                    <a:pt x="306" y="786"/>
                  </a:cubicBezTo>
                  <a:cubicBezTo>
                    <a:pt x="307" y="786"/>
                    <a:pt x="307" y="786"/>
                    <a:pt x="308" y="787"/>
                  </a:cubicBezTo>
                  <a:cubicBezTo>
                    <a:pt x="309" y="788"/>
                    <a:pt x="311" y="788"/>
                    <a:pt x="312" y="789"/>
                  </a:cubicBezTo>
                  <a:cubicBezTo>
                    <a:pt x="314" y="790"/>
                    <a:pt x="315" y="790"/>
                    <a:pt x="317" y="790"/>
                  </a:cubicBezTo>
                  <a:cubicBezTo>
                    <a:pt x="318" y="791"/>
                    <a:pt x="318" y="791"/>
                    <a:pt x="319" y="791"/>
                  </a:cubicBezTo>
                  <a:cubicBezTo>
                    <a:pt x="323" y="792"/>
                    <a:pt x="327" y="793"/>
                    <a:pt x="331" y="795"/>
                  </a:cubicBezTo>
                  <a:cubicBezTo>
                    <a:pt x="333" y="796"/>
                    <a:pt x="336" y="797"/>
                    <a:pt x="338" y="798"/>
                  </a:cubicBezTo>
                  <a:cubicBezTo>
                    <a:pt x="339" y="798"/>
                    <a:pt x="339" y="798"/>
                    <a:pt x="339" y="798"/>
                  </a:cubicBezTo>
                  <a:cubicBezTo>
                    <a:pt x="340" y="799"/>
                    <a:pt x="342" y="800"/>
                    <a:pt x="344" y="800"/>
                  </a:cubicBezTo>
                  <a:cubicBezTo>
                    <a:pt x="345" y="800"/>
                    <a:pt x="346" y="800"/>
                    <a:pt x="347" y="800"/>
                  </a:cubicBezTo>
                  <a:cubicBezTo>
                    <a:pt x="349" y="800"/>
                    <a:pt x="350" y="800"/>
                    <a:pt x="352" y="800"/>
                  </a:cubicBezTo>
                  <a:cubicBezTo>
                    <a:pt x="353" y="800"/>
                    <a:pt x="354" y="800"/>
                    <a:pt x="355" y="800"/>
                  </a:cubicBezTo>
                  <a:cubicBezTo>
                    <a:pt x="355" y="800"/>
                    <a:pt x="356" y="800"/>
                    <a:pt x="357" y="800"/>
                  </a:cubicBezTo>
                  <a:cubicBezTo>
                    <a:pt x="359" y="800"/>
                    <a:pt x="362" y="800"/>
                    <a:pt x="364" y="800"/>
                  </a:cubicBezTo>
                  <a:cubicBezTo>
                    <a:pt x="365" y="800"/>
                    <a:pt x="365" y="800"/>
                    <a:pt x="365" y="800"/>
                  </a:cubicBezTo>
                  <a:cubicBezTo>
                    <a:pt x="366" y="800"/>
                    <a:pt x="367" y="801"/>
                    <a:pt x="368" y="801"/>
                  </a:cubicBezTo>
                  <a:cubicBezTo>
                    <a:pt x="374" y="801"/>
                    <a:pt x="378" y="798"/>
                    <a:pt x="382" y="796"/>
                  </a:cubicBezTo>
                  <a:cubicBezTo>
                    <a:pt x="382" y="795"/>
                    <a:pt x="383" y="794"/>
                    <a:pt x="384" y="794"/>
                  </a:cubicBezTo>
                  <a:cubicBezTo>
                    <a:pt x="385" y="793"/>
                    <a:pt x="386" y="792"/>
                    <a:pt x="387" y="791"/>
                  </a:cubicBezTo>
                  <a:cubicBezTo>
                    <a:pt x="388" y="791"/>
                    <a:pt x="388" y="791"/>
                    <a:pt x="388" y="791"/>
                  </a:cubicBezTo>
                  <a:cubicBezTo>
                    <a:pt x="390" y="790"/>
                    <a:pt x="392" y="789"/>
                    <a:pt x="393" y="786"/>
                  </a:cubicBezTo>
                  <a:cubicBezTo>
                    <a:pt x="394" y="783"/>
                    <a:pt x="393" y="780"/>
                    <a:pt x="393" y="777"/>
                  </a:cubicBezTo>
                  <a:cubicBezTo>
                    <a:pt x="392" y="775"/>
                    <a:pt x="390" y="773"/>
                    <a:pt x="389" y="772"/>
                  </a:cubicBezTo>
                  <a:cubicBezTo>
                    <a:pt x="388" y="772"/>
                    <a:pt x="387" y="771"/>
                    <a:pt x="387" y="771"/>
                  </a:cubicBezTo>
                  <a:cubicBezTo>
                    <a:pt x="384" y="769"/>
                    <a:pt x="382" y="767"/>
                    <a:pt x="380" y="765"/>
                  </a:cubicBezTo>
                  <a:cubicBezTo>
                    <a:pt x="380" y="765"/>
                    <a:pt x="380" y="764"/>
                    <a:pt x="380" y="763"/>
                  </a:cubicBezTo>
                  <a:cubicBezTo>
                    <a:pt x="380" y="763"/>
                    <a:pt x="380" y="763"/>
                    <a:pt x="380" y="763"/>
                  </a:cubicBezTo>
                  <a:cubicBezTo>
                    <a:pt x="381" y="762"/>
                    <a:pt x="381" y="761"/>
                    <a:pt x="381" y="760"/>
                  </a:cubicBezTo>
                  <a:cubicBezTo>
                    <a:pt x="381" y="759"/>
                    <a:pt x="382" y="756"/>
                    <a:pt x="382" y="756"/>
                  </a:cubicBezTo>
                  <a:cubicBezTo>
                    <a:pt x="382" y="755"/>
                    <a:pt x="382" y="755"/>
                    <a:pt x="382" y="754"/>
                  </a:cubicBezTo>
                  <a:cubicBezTo>
                    <a:pt x="382" y="753"/>
                    <a:pt x="382" y="753"/>
                    <a:pt x="382" y="753"/>
                  </a:cubicBezTo>
                  <a:cubicBezTo>
                    <a:pt x="382" y="752"/>
                    <a:pt x="381" y="751"/>
                    <a:pt x="381" y="750"/>
                  </a:cubicBezTo>
                  <a:cubicBezTo>
                    <a:pt x="381" y="750"/>
                    <a:pt x="381" y="749"/>
                    <a:pt x="381" y="749"/>
                  </a:cubicBezTo>
                  <a:cubicBezTo>
                    <a:pt x="381" y="749"/>
                    <a:pt x="381" y="748"/>
                    <a:pt x="381" y="748"/>
                  </a:cubicBezTo>
                  <a:cubicBezTo>
                    <a:pt x="381" y="748"/>
                    <a:pt x="381" y="748"/>
                    <a:pt x="382" y="748"/>
                  </a:cubicBezTo>
                  <a:cubicBezTo>
                    <a:pt x="383" y="747"/>
                    <a:pt x="385" y="747"/>
                    <a:pt x="386" y="745"/>
                  </a:cubicBezTo>
                  <a:cubicBezTo>
                    <a:pt x="387" y="743"/>
                    <a:pt x="386" y="740"/>
                    <a:pt x="385" y="739"/>
                  </a:cubicBezTo>
                  <a:cubicBezTo>
                    <a:pt x="385" y="738"/>
                    <a:pt x="385" y="738"/>
                    <a:pt x="385" y="738"/>
                  </a:cubicBezTo>
                  <a:cubicBezTo>
                    <a:pt x="384" y="737"/>
                    <a:pt x="384" y="736"/>
                    <a:pt x="384" y="735"/>
                  </a:cubicBezTo>
                  <a:cubicBezTo>
                    <a:pt x="384" y="734"/>
                    <a:pt x="384" y="733"/>
                    <a:pt x="384" y="733"/>
                  </a:cubicBezTo>
                  <a:cubicBezTo>
                    <a:pt x="384" y="730"/>
                    <a:pt x="384" y="727"/>
                    <a:pt x="381" y="725"/>
                  </a:cubicBezTo>
                  <a:cubicBezTo>
                    <a:pt x="380" y="723"/>
                    <a:pt x="378" y="722"/>
                    <a:pt x="376" y="721"/>
                  </a:cubicBezTo>
                  <a:cubicBezTo>
                    <a:pt x="375" y="721"/>
                    <a:pt x="374" y="720"/>
                    <a:pt x="373" y="719"/>
                  </a:cubicBezTo>
                  <a:cubicBezTo>
                    <a:pt x="371" y="718"/>
                    <a:pt x="370" y="715"/>
                    <a:pt x="370" y="712"/>
                  </a:cubicBezTo>
                  <a:cubicBezTo>
                    <a:pt x="369" y="709"/>
                    <a:pt x="368" y="706"/>
                    <a:pt x="366" y="704"/>
                  </a:cubicBezTo>
                  <a:cubicBezTo>
                    <a:pt x="366" y="704"/>
                    <a:pt x="365" y="704"/>
                    <a:pt x="365" y="703"/>
                  </a:cubicBezTo>
                  <a:cubicBezTo>
                    <a:pt x="365" y="703"/>
                    <a:pt x="366" y="703"/>
                    <a:pt x="366" y="704"/>
                  </a:cubicBezTo>
                  <a:cubicBezTo>
                    <a:pt x="368" y="704"/>
                    <a:pt x="369" y="705"/>
                    <a:pt x="370" y="706"/>
                  </a:cubicBezTo>
                  <a:cubicBezTo>
                    <a:pt x="372" y="707"/>
                    <a:pt x="374" y="709"/>
                    <a:pt x="375" y="709"/>
                  </a:cubicBezTo>
                  <a:cubicBezTo>
                    <a:pt x="378" y="711"/>
                    <a:pt x="381" y="712"/>
                    <a:pt x="385" y="712"/>
                  </a:cubicBezTo>
                  <a:cubicBezTo>
                    <a:pt x="387" y="712"/>
                    <a:pt x="389" y="712"/>
                    <a:pt x="391" y="712"/>
                  </a:cubicBezTo>
                  <a:cubicBezTo>
                    <a:pt x="394" y="712"/>
                    <a:pt x="397" y="712"/>
                    <a:pt x="400" y="712"/>
                  </a:cubicBezTo>
                  <a:cubicBezTo>
                    <a:pt x="402" y="712"/>
                    <a:pt x="402" y="712"/>
                    <a:pt x="402" y="712"/>
                  </a:cubicBezTo>
                  <a:cubicBezTo>
                    <a:pt x="403" y="712"/>
                    <a:pt x="403" y="712"/>
                    <a:pt x="404" y="712"/>
                  </a:cubicBezTo>
                  <a:cubicBezTo>
                    <a:pt x="405" y="711"/>
                    <a:pt x="407" y="711"/>
                    <a:pt x="408" y="711"/>
                  </a:cubicBezTo>
                  <a:cubicBezTo>
                    <a:pt x="408" y="711"/>
                    <a:pt x="409" y="711"/>
                    <a:pt x="409" y="711"/>
                  </a:cubicBezTo>
                  <a:cubicBezTo>
                    <a:pt x="410" y="711"/>
                    <a:pt x="412" y="712"/>
                    <a:pt x="413" y="712"/>
                  </a:cubicBezTo>
                  <a:cubicBezTo>
                    <a:pt x="415" y="712"/>
                    <a:pt x="416" y="711"/>
                    <a:pt x="418" y="711"/>
                  </a:cubicBezTo>
                  <a:cubicBezTo>
                    <a:pt x="419" y="711"/>
                    <a:pt x="421" y="711"/>
                    <a:pt x="422" y="710"/>
                  </a:cubicBezTo>
                  <a:cubicBezTo>
                    <a:pt x="424" y="710"/>
                    <a:pt x="426" y="709"/>
                    <a:pt x="428" y="709"/>
                  </a:cubicBezTo>
                  <a:cubicBezTo>
                    <a:pt x="429" y="709"/>
                    <a:pt x="430" y="709"/>
                    <a:pt x="431" y="709"/>
                  </a:cubicBezTo>
                  <a:cubicBezTo>
                    <a:pt x="432" y="709"/>
                    <a:pt x="433" y="709"/>
                    <a:pt x="435" y="709"/>
                  </a:cubicBezTo>
                  <a:cubicBezTo>
                    <a:pt x="437" y="709"/>
                    <a:pt x="437" y="709"/>
                    <a:pt x="437" y="709"/>
                  </a:cubicBezTo>
                  <a:cubicBezTo>
                    <a:pt x="437" y="709"/>
                    <a:pt x="438" y="709"/>
                    <a:pt x="439" y="709"/>
                  </a:cubicBezTo>
                  <a:cubicBezTo>
                    <a:pt x="441" y="709"/>
                    <a:pt x="443" y="708"/>
                    <a:pt x="445" y="707"/>
                  </a:cubicBezTo>
                  <a:cubicBezTo>
                    <a:pt x="446" y="707"/>
                    <a:pt x="446" y="707"/>
                    <a:pt x="447" y="706"/>
                  </a:cubicBezTo>
                  <a:cubicBezTo>
                    <a:pt x="448" y="706"/>
                    <a:pt x="448" y="706"/>
                    <a:pt x="448" y="706"/>
                  </a:cubicBezTo>
                  <a:cubicBezTo>
                    <a:pt x="450" y="705"/>
                    <a:pt x="452" y="704"/>
                    <a:pt x="455" y="704"/>
                  </a:cubicBezTo>
                  <a:cubicBezTo>
                    <a:pt x="456" y="704"/>
                    <a:pt x="457" y="703"/>
                    <a:pt x="458" y="703"/>
                  </a:cubicBezTo>
                  <a:cubicBezTo>
                    <a:pt x="459" y="703"/>
                    <a:pt x="460" y="702"/>
                    <a:pt x="460" y="702"/>
                  </a:cubicBezTo>
                  <a:cubicBezTo>
                    <a:pt x="461" y="702"/>
                    <a:pt x="462" y="702"/>
                    <a:pt x="463" y="702"/>
                  </a:cubicBezTo>
                  <a:cubicBezTo>
                    <a:pt x="463" y="702"/>
                    <a:pt x="463" y="702"/>
                    <a:pt x="463" y="702"/>
                  </a:cubicBezTo>
                  <a:cubicBezTo>
                    <a:pt x="464" y="701"/>
                    <a:pt x="466" y="701"/>
                    <a:pt x="467" y="701"/>
                  </a:cubicBezTo>
                  <a:cubicBezTo>
                    <a:pt x="469" y="700"/>
                    <a:pt x="471" y="700"/>
                    <a:pt x="473" y="699"/>
                  </a:cubicBezTo>
                  <a:cubicBezTo>
                    <a:pt x="474" y="698"/>
                    <a:pt x="476" y="698"/>
                    <a:pt x="477" y="697"/>
                  </a:cubicBezTo>
                  <a:cubicBezTo>
                    <a:pt x="478" y="697"/>
                    <a:pt x="479" y="697"/>
                    <a:pt x="480" y="697"/>
                  </a:cubicBezTo>
                  <a:cubicBezTo>
                    <a:pt x="481" y="697"/>
                    <a:pt x="483" y="696"/>
                    <a:pt x="484" y="696"/>
                  </a:cubicBezTo>
                  <a:cubicBezTo>
                    <a:pt x="485" y="696"/>
                    <a:pt x="486" y="695"/>
                    <a:pt x="487" y="695"/>
                  </a:cubicBezTo>
                  <a:cubicBezTo>
                    <a:pt x="487" y="695"/>
                    <a:pt x="488" y="694"/>
                    <a:pt x="488" y="694"/>
                  </a:cubicBezTo>
                  <a:cubicBezTo>
                    <a:pt x="489" y="694"/>
                    <a:pt x="490" y="694"/>
                    <a:pt x="490" y="694"/>
                  </a:cubicBezTo>
                  <a:cubicBezTo>
                    <a:pt x="491" y="693"/>
                    <a:pt x="492" y="693"/>
                    <a:pt x="493" y="693"/>
                  </a:cubicBezTo>
                  <a:cubicBezTo>
                    <a:pt x="494" y="692"/>
                    <a:pt x="495" y="692"/>
                    <a:pt x="496" y="691"/>
                  </a:cubicBezTo>
                  <a:cubicBezTo>
                    <a:pt x="497" y="691"/>
                    <a:pt x="497" y="691"/>
                    <a:pt x="497" y="691"/>
                  </a:cubicBezTo>
                  <a:cubicBezTo>
                    <a:pt x="500" y="690"/>
                    <a:pt x="502" y="689"/>
                    <a:pt x="504" y="687"/>
                  </a:cubicBezTo>
                  <a:cubicBezTo>
                    <a:pt x="505" y="687"/>
                    <a:pt x="505" y="687"/>
                    <a:pt x="505" y="686"/>
                  </a:cubicBezTo>
                  <a:cubicBezTo>
                    <a:pt x="506" y="686"/>
                    <a:pt x="506" y="686"/>
                    <a:pt x="506" y="686"/>
                  </a:cubicBezTo>
                  <a:cubicBezTo>
                    <a:pt x="507" y="686"/>
                    <a:pt x="507" y="686"/>
                    <a:pt x="508" y="685"/>
                  </a:cubicBezTo>
                  <a:cubicBezTo>
                    <a:pt x="509" y="685"/>
                    <a:pt x="510" y="684"/>
                    <a:pt x="510" y="683"/>
                  </a:cubicBezTo>
                  <a:cubicBezTo>
                    <a:pt x="510" y="683"/>
                    <a:pt x="510" y="683"/>
                    <a:pt x="510" y="683"/>
                  </a:cubicBezTo>
                  <a:cubicBezTo>
                    <a:pt x="510" y="683"/>
                    <a:pt x="511" y="682"/>
                    <a:pt x="511" y="682"/>
                  </a:cubicBezTo>
                  <a:cubicBezTo>
                    <a:pt x="512" y="682"/>
                    <a:pt x="513" y="682"/>
                    <a:pt x="514" y="681"/>
                  </a:cubicBezTo>
                  <a:cubicBezTo>
                    <a:pt x="514" y="681"/>
                    <a:pt x="515" y="680"/>
                    <a:pt x="515" y="680"/>
                  </a:cubicBezTo>
                  <a:cubicBezTo>
                    <a:pt x="515" y="680"/>
                    <a:pt x="515" y="679"/>
                    <a:pt x="515" y="679"/>
                  </a:cubicBezTo>
                  <a:cubicBezTo>
                    <a:pt x="516" y="679"/>
                    <a:pt x="517" y="678"/>
                    <a:pt x="518" y="677"/>
                  </a:cubicBezTo>
                  <a:cubicBezTo>
                    <a:pt x="519" y="675"/>
                    <a:pt x="519" y="674"/>
                    <a:pt x="519" y="673"/>
                  </a:cubicBezTo>
                  <a:cubicBezTo>
                    <a:pt x="519" y="672"/>
                    <a:pt x="519" y="672"/>
                    <a:pt x="519" y="672"/>
                  </a:cubicBezTo>
                  <a:cubicBezTo>
                    <a:pt x="519" y="671"/>
                    <a:pt x="519" y="669"/>
                    <a:pt x="519" y="668"/>
                  </a:cubicBezTo>
                  <a:cubicBezTo>
                    <a:pt x="518" y="667"/>
                    <a:pt x="518" y="666"/>
                    <a:pt x="518" y="665"/>
                  </a:cubicBezTo>
                  <a:cubicBezTo>
                    <a:pt x="519" y="665"/>
                    <a:pt x="519" y="664"/>
                    <a:pt x="519" y="664"/>
                  </a:cubicBezTo>
                  <a:cubicBezTo>
                    <a:pt x="519" y="663"/>
                    <a:pt x="519" y="663"/>
                    <a:pt x="519" y="662"/>
                  </a:cubicBezTo>
                  <a:cubicBezTo>
                    <a:pt x="520" y="662"/>
                    <a:pt x="520" y="662"/>
                    <a:pt x="520" y="662"/>
                  </a:cubicBezTo>
                  <a:cubicBezTo>
                    <a:pt x="520" y="662"/>
                    <a:pt x="520" y="661"/>
                    <a:pt x="520" y="661"/>
                  </a:cubicBezTo>
                  <a:cubicBezTo>
                    <a:pt x="521" y="660"/>
                    <a:pt x="522" y="659"/>
                    <a:pt x="523" y="658"/>
                  </a:cubicBezTo>
                  <a:cubicBezTo>
                    <a:pt x="523" y="657"/>
                    <a:pt x="523" y="656"/>
                    <a:pt x="523" y="656"/>
                  </a:cubicBezTo>
                  <a:cubicBezTo>
                    <a:pt x="524" y="656"/>
                    <a:pt x="524" y="655"/>
                    <a:pt x="524" y="655"/>
                  </a:cubicBezTo>
                  <a:cubicBezTo>
                    <a:pt x="525" y="654"/>
                    <a:pt x="525" y="653"/>
                    <a:pt x="526" y="653"/>
                  </a:cubicBezTo>
                  <a:cubicBezTo>
                    <a:pt x="526" y="652"/>
                    <a:pt x="527" y="652"/>
                    <a:pt x="527" y="651"/>
                  </a:cubicBezTo>
                  <a:cubicBezTo>
                    <a:pt x="528" y="650"/>
                    <a:pt x="528" y="650"/>
                    <a:pt x="528" y="650"/>
                  </a:cubicBezTo>
                  <a:cubicBezTo>
                    <a:pt x="529" y="649"/>
                    <a:pt x="529" y="648"/>
                    <a:pt x="530" y="646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9" name="Freeform 39"/>
            <p:cNvSpPr>
              <a:spLocks/>
            </p:cNvSpPr>
            <p:nvPr/>
          </p:nvSpPr>
          <p:spPr bwMode="auto">
            <a:xfrm>
              <a:off x="2960" y="4109"/>
              <a:ext cx="42" cy="41"/>
            </a:xfrm>
            <a:custGeom>
              <a:avLst/>
              <a:gdLst>
                <a:gd name="T0" fmla="*/ 19 w 27"/>
                <a:gd name="T1" fmla="*/ 24 h 27"/>
                <a:gd name="T2" fmla="*/ 20 w 27"/>
                <a:gd name="T3" fmla="*/ 24 h 27"/>
                <a:gd name="T4" fmla="*/ 23 w 27"/>
                <a:gd name="T5" fmla="*/ 25 h 27"/>
                <a:gd name="T6" fmla="*/ 26 w 27"/>
                <a:gd name="T7" fmla="*/ 26 h 27"/>
                <a:gd name="T8" fmla="*/ 26 w 27"/>
                <a:gd name="T9" fmla="*/ 23 h 27"/>
                <a:gd name="T10" fmla="*/ 21 w 27"/>
                <a:gd name="T11" fmla="*/ 14 h 27"/>
                <a:gd name="T12" fmla="*/ 19 w 27"/>
                <a:gd name="T13" fmla="*/ 12 h 27"/>
                <a:gd name="T14" fmla="*/ 17 w 27"/>
                <a:gd name="T15" fmla="*/ 11 h 27"/>
                <a:gd name="T16" fmla="*/ 10 w 27"/>
                <a:gd name="T17" fmla="*/ 3 h 27"/>
                <a:gd name="T18" fmla="*/ 5 w 27"/>
                <a:gd name="T19" fmla="*/ 1 h 27"/>
                <a:gd name="T20" fmla="*/ 0 w 27"/>
                <a:gd name="T21" fmla="*/ 0 h 27"/>
                <a:gd name="T22" fmla="*/ 15 w 27"/>
                <a:gd name="T23" fmla="*/ 27 h 27"/>
                <a:gd name="T24" fmla="*/ 19 w 27"/>
                <a:gd name="T25" fmla="*/ 25 h 27"/>
                <a:gd name="T26" fmla="*/ 19 w 27"/>
                <a:gd name="T27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27">
                  <a:moveTo>
                    <a:pt x="19" y="24"/>
                  </a:moveTo>
                  <a:cubicBezTo>
                    <a:pt x="19" y="24"/>
                    <a:pt x="19" y="24"/>
                    <a:pt x="20" y="24"/>
                  </a:cubicBezTo>
                  <a:cubicBezTo>
                    <a:pt x="21" y="24"/>
                    <a:pt x="22" y="24"/>
                    <a:pt x="23" y="25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7" y="19"/>
                    <a:pt x="24" y="16"/>
                    <a:pt x="21" y="14"/>
                  </a:cubicBezTo>
                  <a:cubicBezTo>
                    <a:pt x="20" y="14"/>
                    <a:pt x="19" y="13"/>
                    <a:pt x="19" y="12"/>
                  </a:cubicBezTo>
                  <a:cubicBezTo>
                    <a:pt x="18" y="12"/>
                    <a:pt x="18" y="11"/>
                    <a:pt x="17" y="11"/>
                  </a:cubicBezTo>
                  <a:cubicBezTo>
                    <a:pt x="15" y="8"/>
                    <a:pt x="13" y="5"/>
                    <a:pt x="10" y="3"/>
                  </a:cubicBezTo>
                  <a:cubicBezTo>
                    <a:pt x="9" y="2"/>
                    <a:pt x="7" y="2"/>
                    <a:pt x="5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4"/>
                    <a:pt x="19" y="24"/>
                    <a:pt x="19" y="24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0" name="Freeform 40"/>
            <p:cNvSpPr>
              <a:spLocks/>
            </p:cNvSpPr>
            <p:nvPr/>
          </p:nvSpPr>
          <p:spPr bwMode="auto">
            <a:xfrm>
              <a:off x="2987" y="4152"/>
              <a:ext cx="208" cy="118"/>
            </a:xfrm>
            <a:custGeom>
              <a:avLst/>
              <a:gdLst>
                <a:gd name="T0" fmla="*/ 133 w 136"/>
                <a:gd name="T1" fmla="*/ 54 h 77"/>
                <a:gd name="T2" fmla="*/ 132 w 136"/>
                <a:gd name="T3" fmla="*/ 54 h 77"/>
                <a:gd name="T4" fmla="*/ 127 w 136"/>
                <a:gd name="T5" fmla="*/ 54 h 77"/>
                <a:gd name="T6" fmla="*/ 123 w 136"/>
                <a:gd name="T7" fmla="*/ 54 h 77"/>
                <a:gd name="T8" fmla="*/ 122 w 136"/>
                <a:gd name="T9" fmla="*/ 54 h 77"/>
                <a:gd name="T10" fmla="*/ 120 w 136"/>
                <a:gd name="T11" fmla="*/ 53 h 77"/>
                <a:gd name="T12" fmla="*/ 115 w 136"/>
                <a:gd name="T13" fmla="*/ 54 h 77"/>
                <a:gd name="T14" fmla="*/ 114 w 136"/>
                <a:gd name="T15" fmla="*/ 55 h 77"/>
                <a:gd name="T16" fmla="*/ 112 w 136"/>
                <a:gd name="T17" fmla="*/ 55 h 77"/>
                <a:gd name="T18" fmla="*/ 111 w 136"/>
                <a:gd name="T19" fmla="*/ 55 h 77"/>
                <a:gd name="T20" fmla="*/ 106 w 136"/>
                <a:gd name="T21" fmla="*/ 52 h 77"/>
                <a:gd name="T22" fmla="*/ 101 w 136"/>
                <a:gd name="T23" fmla="*/ 50 h 77"/>
                <a:gd name="T24" fmla="*/ 96 w 136"/>
                <a:gd name="T25" fmla="*/ 49 h 77"/>
                <a:gd name="T26" fmla="*/ 92 w 136"/>
                <a:gd name="T27" fmla="*/ 48 h 77"/>
                <a:gd name="T28" fmla="*/ 88 w 136"/>
                <a:gd name="T29" fmla="*/ 45 h 77"/>
                <a:gd name="T30" fmla="*/ 83 w 136"/>
                <a:gd name="T31" fmla="*/ 42 h 77"/>
                <a:gd name="T32" fmla="*/ 81 w 136"/>
                <a:gd name="T33" fmla="*/ 42 h 77"/>
                <a:gd name="T34" fmla="*/ 73 w 136"/>
                <a:gd name="T35" fmla="*/ 38 h 77"/>
                <a:gd name="T36" fmla="*/ 71 w 136"/>
                <a:gd name="T37" fmla="*/ 37 h 77"/>
                <a:gd name="T38" fmla="*/ 70 w 136"/>
                <a:gd name="T39" fmla="*/ 37 h 77"/>
                <a:gd name="T40" fmla="*/ 68 w 136"/>
                <a:gd name="T41" fmla="*/ 35 h 77"/>
                <a:gd name="T42" fmla="*/ 66 w 136"/>
                <a:gd name="T43" fmla="*/ 33 h 77"/>
                <a:gd name="T44" fmla="*/ 60 w 136"/>
                <a:gd name="T45" fmla="*/ 31 h 77"/>
                <a:gd name="T46" fmla="*/ 56 w 136"/>
                <a:gd name="T47" fmla="*/ 30 h 77"/>
                <a:gd name="T48" fmla="*/ 54 w 136"/>
                <a:gd name="T49" fmla="*/ 28 h 77"/>
                <a:gd name="T50" fmla="*/ 48 w 136"/>
                <a:gd name="T51" fmla="*/ 24 h 77"/>
                <a:gd name="T52" fmla="*/ 41 w 136"/>
                <a:gd name="T53" fmla="*/ 19 h 77"/>
                <a:gd name="T54" fmla="*/ 35 w 136"/>
                <a:gd name="T55" fmla="*/ 15 h 77"/>
                <a:gd name="T56" fmla="*/ 30 w 136"/>
                <a:gd name="T57" fmla="*/ 13 h 77"/>
                <a:gd name="T58" fmla="*/ 28 w 136"/>
                <a:gd name="T59" fmla="*/ 13 h 77"/>
                <a:gd name="T60" fmla="*/ 22 w 136"/>
                <a:gd name="T61" fmla="*/ 9 h 77"/>
                <a:gd name="T62" fmla="*/ 22 w 136"/>
                <a:gd name="T63" fmla="*/ 9 h 77"/>
                <a:gd name="T64" fmla="*/ 20 w 136"/>
                <a:gd name="T65" fmla="*/ 6 h 77"/>
                <a:gd name="T66" fmla="*/ 14 w 136"/>
                <a:gd name="T67" fmla="*/ 1 h 77"/>
                <a:gd name="T68" fmla="*/ 11 w 136"/>
                <a:gd name="T69" fmla="*/ 0 h 77"/>
                <a:gd name="T70" fmla="*/ 8 w 136"/>
                <a:gd name="T71" fmla="*/ 1 h 77"/>
                <a:gd name="T72" fmla="*/ 6 w 136"/>
                <a:gd name="T73" fmla="*/ 1 h 77"/>
                <a:gd name="T74" fmla="*/ 4 w 136"/>
                <a:gd name="T75" fmla="*/ 1 h 77"/>
                <a:gd name="T76" fmla="*/ 4 w 136"/>
                <a:gd name="T77" fmla="*/ 0 h 77"/>
                <a:gd name="T78" fmla="*/ 0 w 136"/>
                <a:gd name="T79" fmla="*/ 3 h 77"/>
                <a:gd name="T80" fmla="*/ 34 w 136"/>
                <a:gd name="T81" fmla="*/ 63 h 77"/>
                <a:gd name="T82" fmla="*/ 80 w 136"/>
                <a:gd name="T83" fmla="*/ 66 h 77"/>
                <a:gd name="T84" fmla="*/ 107 w 136"/>
                <a:gd name="T85" fmla="*/ 77 h 77"/>
                <a:gd name="T86" fmla="*/ 107 w 136"/>
                <a:gd name="T87" fmla="*/ 74 h 77"/>
                <a:gd name="T88" fmla="*/ 107 w 136"/>
                <a:gd name="T89" fmla="*/ 73 h 77"/>
                <a:gd name="T90" fmla="*/ 107 w 136"/>
                <a:gd name="T91" fmla="*/ 73 h 77"/>
                <a:gd name="T92" fmla="*/ 109 w 136"/>
                <a:gd name="T93" fmla="*/ 73 h 77"/>
                <a:gd name="T94" fmla="*/ 111 w 136"/>
                <a:gd name="T95" fmla="*/ 73 h 77"/>
                <a:gd name="T96" fmla="*/ 114 w 136"/>
                <a:gd name="T97" fmla="*/ 70 h 77"/>
                <a:gd name="T98" fmla="*/ 116 w 136"/>
                <a:gd name="T99" fmla="*/ 69 h 77"/>
                <a:gd name="T100" fmla="*/ 120 w 136"/>
                <a:gd name="T101" fmla="*/ 67 h 77"/>
                <a:gd name="T102" fmla="*/ 120 w 136"/>
                <a:gd name="T103" fmla="*/ 67 h 77"/>
                <a:gd name="T104" fmla="*/ 122 w 136"/>
                <a:gd name="T105" fmla="*/ 68 h 77"/>
                <a:gd name="T106" fmla="*/ 126 w 136"/>
                <a:gd name="T107" fmla="*/ 69 h 77"/>
                <a:gd name="T108" fmla="*/ 127 w 136"/>
                <a:gd name="T109" fmla="*/ 68 h 77"/>
                <a:gd name="T110" fmla="*/ 134 w 136"/>
                <a:gd name="T111" fmla="*/ 64 h 77"/>
                <a:gd name="T112" fmla="*/ 134 w 136"/>
                <a:gd name="T113" fmla="*/ 56 h 77"/>
                <a:gd name="T114" fmla="*/ 133 w 136"/>
                <a:gd name="T115" fmla="*/ 5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77">
                  <a:moveTo>
                    <a:pt x="133" y="54"/>
                  </a:moveTo>
                  <a:cubicBezTo>
                    <a:pt x="132" y="54"/>
                    <a:pt x="132" y="54"/>
                    <a:pt x="132" y="54"/>
                  </a:cubicBezTo>
                  <a:cubicBezTo>
                    <a:pt x="130" y="54"/>
                    <a:pt x="129" y="54"/>
                    <a:pt x="127" y="54"/>
                  </a:cubicBezTo>
                  <a:cubicBezTo>
                    <a:pt x="126" y="54"/>
                    <a:pt x="124" y="54"/>
                    <a:pt x="123" y="54"/>
                  </a:cubicBezTo>
                  <a:cubicBezTo>
                    <a:pt x="122" y="54"/>
                    <a:pt x="122" y="54"/>
                    <a:pt x="122" y="54"/>
                  </a:cubicBezTo>
                  <a:cubicBezTo>
                    <a:pt x="121" y="54"/>
                    <a:pt x="121" y="53"/>
                    <a:pt x="120" y="53"/>
                  </a:cubicBezTo>
                  <a:cubicBezTo>
                    <a:pt x="118" y="53"/>
                    <a:pt x="117" y="54"/>
                    <a:pt x="115" y="54"/>
                  </a:cubicBezTo>
                  <a:cubicBezTo>
                    <a:pt x="115" y="54"/>
                    <a:pt x="114" y="55"/>
                    <a:pt x="114" y="55"/>
                  </a:cubicBezTo>
                  <a:cubicBezTo>
                    <a:pt x="113" y="55"/>
                    <a:pt x="113" y="55"/>
                    <a:pt x="112" y="55"/>
                  </a:cubicBezTo>
                  <a:cubicBezTo>
                    <a:pt x="112" y="55"/>
                    <a:pt x="112" y="55"/>
                    <a:pt x="111" y="55"/>
                  </a:cubicBezTo>
                  <a:cubicBezTo>
                    <a:pt x="109" y="55"/>
                    <a:pt x="108" y="54"/>
                    <a:pt x="106" y="52"/>
                  </a:cubicBezTo>
                  <a:cubicBezTo>
                    <a:pt x="104" y="52"/>
                    <a:pt x="102" y="51"/>
                    <a:pt x="101" y="50"/>
                  </a:cubicBezTo>
                  <a:cubicBezTo>
                    <a:pt x="99" y="49"/>
                    <a:pt x="98" y="49"/>
                    <a:pt x="96" y="49"/>
                  </a:cubicBezTo>
                  <a:cubicBezTo>
                    <a:pt x="95" y="49"/>
                    <a:pt x="93" y="48"/>
                    <a:pt x="92" y="48"/>
                  </a:cubicBezTo>
                  <a:cubicBezTo>
                    <a:pt x="90" y="47"/>
                    <a:pt x="89" y="46"/>
                    <a:pt x="88" y="45"/>
                  </a:cubicBezTo>
                  <a:cubicBezTo>
                    <a:pt x="86" y="44"/>
                    <a:pt x="85" y="43"/>
                    <a:pt x="83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79" y="40"/>
                    <a:pt x="76" y="39"/>
                    <a:pt x="73" y="38"/>
                  </a:cubicBezTo>
                  <a:cubicBezTo>
                    <a:pt x="73" y="38"/>
                    <a:pt x="72" y="38"/>
                    <a:pt x="71" y="37"/>
                  </a:cubicBezTo>
                  <a:cubicBezTo>
                    <a:pt x="71" y="37"/>
                    <a:pt x="70" y="37"/>
                    <a:pt x="70" y="37"/>
                  </a:cubicBezTo>
                  <a:cubicBezTo>
                    <a:pt x="69" y="37"/>
                    <a:pt x="69" y="36"/>
                    <a:pt x="68" y="35"/>
                  </a:cubicBezTo>
                  <a:cubicBezTo>
                    <a:pt x="67" y="35"/>
                    <a:pt x="67" y="34"/>
                    <a:pt x="66" y="33"/>
                  </a:cubicBezTo>
                  <a:cubicBezTo>
                    <a:pt x="64" y="32"/>
                    <a:pt x="62" y="32"/>
                    <a:pt x="60" y="31"/>
                  </a:cubicBezTo>
                  <a:cubicBezTo>
                    <a:pt x="59" y="31"/>
                    <a:pt x="58" y="30"/>
                    <a:pt x="56" y="30"/>
                  </a:cubicBezTo>
                  <a:cubicBezTo>
                    <a:pt x="55" y="29"/>
                    <a:pt x="54" y="28"/>
                    <a:pt x="54" y="28"/>
                  </a:cubicBezTo>
                  <a:cubicBezTo>
                    <a:pt x="52" y="26"/>
                    <a:pt x="50" y="25"/>
                    <a:pt x="48" y="24"/>
                  </a:cubicBezTo>
                  <a:cubicBezTo>
                    <a:pt x="45" y="23"/>
                    <a:pt x="43" y="21"/>
                    <a:pt x="41" y="19"/>
                  </a:cubicBezTo>
                  <a:cubicBezTo>
                    <a:pt x="39" y="18"/>
                    <a:pt x="37" y="16"/>
                    <a:pt x="35" y="15"/>
                  </a:cubicBezTo>
                  <a:cubicBezTo>
                    <a:pt x="33" y="14"/>
                    <a:pt x="31" y="14"/>
                    <a:pt x="30" y="13"/>
                  </a:cubicBezTo>
                  <a:cubicBezTo>
                    <a:pt x="29" y="13"/>
                    <a:pt x="28" y="13"/>
                    <a:pt x="28" y="13"/>
                  </a:cubicBezTo>
                  <a:cubicBezTo>
                    <a:pt x="25" y="13"/>
                    <a:pt x="24" y="11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8"/>
                    <a:pt x="21" y="7"/>
                    <a:pt x="20" y="6"/>
                  </a:cubicBezTo>
                  <a:cubicBezTo>
                    <a:pt x="18" y="4"/>
                    <a:pt x="16" y="2"/>
                    <a:pt x="14" y="1"/>
                  </a:cubicBezTo>
                  <a:cubicBezTo>
                    <a:pt x="13" y="0"/>
                    <a:pt x="12" y="0"/>
                    <a:pt x="11" y="0"/>
                  </a:cubicBezTo>
                  <a:cubicBezTo>
                    <a:pt x="10" y="0"/>
                    <a:pt x="9" y="0"/>
                    <a:pt x="8" y="1"/>
                  </a:cubicBezTo>
                  <a:cubicBezTo>
                    <a:pt x="7" y="1"/>
                    <a:pt x="6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107" y="77"/>
                    <a:pt x="107" y="77"/>
                    <a:pt x="107" y="77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07" y="73"/>
                    <a:pt x="107" y="73"/>
                    <a:pt x="107" y="73"/>
                  </a:cubicBezTo>
                  <a:cubicBezTo>
                    <a:pt x="107" y="73"/>
                    <a:pt x="107" y="73"/>
                    <a:pt x="107" y="73"/>
                  </a:cubicBezTo>
                  <a:cubicBezTo>
                    <a:pt x="109" y="73"/>
                    <a:pt x="109" y="73"/>
                    <a:pt x="109" y="73"/>
                  </a:cubicBezTo>
                  <a:cubicBezTo>
                    <a:pt x="109" y="73"/>
                    <a:pt x="110" y="73"/>
                    <a:pt x="111" y="73"/>
                  </a:cubicBezTo>
                  <a:cubicBezTo>
                    <a:pt x="113" y="72"/>
                    <a:pt x="114" y="71"/>
                    <a:pt x="114" y="70"/>
                  </a:cubicBezTo>
                  <a:cubicBezTo>
                    <a:pt x="115" y="70"/>
                    <a:pt x="115" y="69"/>
                    <a:pt x="116" y="69"/>
                  </a:cubicBezTo>
                  <a:cubicBezTo>
                    <a:pt x="117" y="68"/>
                    <a:pt x="119" y="67"/>
                    <a:pt x="120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1" y="67"/>
                    <a:pt x="121" y="68"/>
                    <a:pt x="122" y="68"/>
                  </a:cubicBezTo>
                  <a:cubicBezTo>
                    <a:pt x="123" y="68"/>
                    <a:pt x="124" y="69"/>
                    <a:pt x="126" y="69"/>
                  </a:cubicBezTo>
                  <a:cubicBezTo>
                    <a:pt x="126" y="69"/>
                    <a:pt x="127" y="69"/>
                    <a:pt x="127" y="68"/>
                  </a:cubicBezTo>
                  <a:cubicBezTo>
                    <a:pt x="129" y="68"/>
                    <a:pt x="133" y="67"/>
                    <a:pt x="134" y="64"/>
                  </a:cubicBezTo>
                  <a:cubicBezTo>
                    <a:pt x="136" y="62"/>
                    <a:pt x="135" y="58"/>
                    <a:pt x="134" y="56"/>
                  </a:cubicBezTo>
                  <a:lnTo>
                    <a:pt x="133" y="54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1" name="Freeform 41"/>
            <p:cNvSpPr>
              <a:spLocks/>
            </p:cNvSpPr>
            <p:nvPr/>
          </p:nvSpPr>
          <p:spPr bwMode="auto">
            <a:xfrm>
              <a:off x="3134" y="4266"/>
              <a:ext cx="6" cy="8"/>
            </a:xfrm>
            <a:custGeom>
              <a:avLst/>
              <a:gdLst>
                <a:gd name="T0" fmla="*/ 3 w 4"/>
                <a:gd name="T1" fmla="*/ 5 h 5"/>
                <a:gd name="T2" fmla="*/ 1 w 4"/>
                <a:gd name="T3" fmla="*/ 4 h 5"/>
                <a:gd name="T4" fmla="*/ 0 w 4"/>
                <a:gd name="T5" fmla="*/ 4 h 5"/>
                <a:gd name="T6" fmla="*/ 0 w 4"/>
                <a:gd name="T7" fmla="*/ 4 h 5"/>
                <a:gd name="T8" fmla="*/ 2 w 4"/>
                <a:gd name="T9" fmla="*/ 0 h 5"/>
                <a:gd name="T10" fmla="*/ 4 w 4"/>
                <a:gd name="T11" fmla="*/ 1 h 5"/>
                <a:gd name="T12" fmla="*/ 3 w 4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5">
                  <a:moveTo>
                    <a:pt x="3" y="5"/>
                  </a:moveTo>
                  <a:cubicBezTo>
                    <a:pt x="2" y="5"/>
                    <a:pt x="1" y="5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1"/>
                    <a:pt x="4" y="1"/>
                    <a:pt x="4" y="1"/>
                  </a:cubicBezTo>
                  <a:lnTo>
                    <a:pt x="3" y="5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2" name="Freeform 42"/>
            <p:cNvSpPr>
              <a:spLocks/>
            </p:cNvSpPr>
            <p:nvPr/>
          </p:nvSpPr>
          <p:spPr bwMode="auto">
            <a:xfrm>
              <a:off x="3135" y="4270"/>
              <a:ext cx="5" cy="1"/>
            </a:xfrm>
            <a:custGeom>
              <a:avLst/>
              <a:gdLst>
                <a:gd name="T0" fmla="*/ 1 w 3"/>
                <a:gd name="T1" fmla="*/ 0 h 1"/>
                <a:gd name="T2" fmla="*/ 3 w 3"/>
                <a:gd name="T3" fmla="*/ 1 h 1"/>
                <a:gd name="T4" fmla="*/ 0 w 3"/>
                <a:gd name="T5" fmla="*/ 0 h 1"/>
                <a:gd name="T6" fmla="*/ 1 w 3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1" y="0"/>
                  </a:moveTo>
                  <a:cubicBezTo>
                    <a:pt x="1" y="1"/>
                    <a:pt x="2" y="1"/>
                    <a:pt x="3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3" name="Freeform 43"/>
            <p:cNvSpPr>
              <a:spLocks/>
            </p:cNvSpPr>
            <p:nvPr/>
          </p:nvSpPr>
          <p:spPr bwMode="auto">
            <a:xfrm>
              <a:off x="1644" y="965"/>
              <a:ext cx="27" cy="31"/>
            </a:xfrm>
            <a:custGeom>
              <a:avLst/>
              <a:gdLst>
                <a:gd name="T0" fmla="*/ 7 w 18"/>
                <a:gd name="T1" fmla="*/ 20 h 20"/>
                <a:gd name="T2" fmla="*/ 3 w 18"/>
                <a:gd name="T3" fmla="*/ 18 h 20"/>
                <a:gd name="T4" fmla="*/ 5 w 18"/>
                <a:gd name="T5" fmla="*/ 8 h 20"/>
                <a:gd name="T6" fmla="*/ 6 w 18"/>
                <a:gd name="T7" fmla="*/ 8 h 20"/>
                <a:gd name="T8" fmla="*/ 6 w 18"/>
                <a:gd name="T9" fmla="*/ 7 h 20"/>
                <a:gd name="T10" fmla="*/ 7 w 18"/>
                <a:gd name="T11" fmla="*/ 5 h 20"/>
                <a:gd name="T12" fmla="*/ 8 w 18"/>
                <a:gd name="T13" fmla="*/ 3 h 20"/>
                <a:gd name="T14" fmla="*/ 8 w 18"/>
                <a:gd name="T15" fmla="*/ 1 h 20"/>
                <a:gd name="T16" fmla="*/ 11 w 18"/>
                <a:gd name="T17" fmla="*/ 1 h 20"/>
                <a:gd name="T18" fmla="*/ 12 w 18"/>
                <a:gd name="T19" fmla="*/ 0 h 20"/>
                <a:gd name="T20" fmla="*/ 17 w 18"/>
                <a:gd name="T21" fmla="*/ 5 h 20"/>
                <a:gd name="T22" fmla="*/ 14 w 18"/>
                <a:gd name="T23" fmla="*/ 12 h 20"/>
                <a:gd name="T24" fmla="*/ 12 w 18"/>
                <a:gd name="T25" fmla="*/ 16 h 20"/>
                <a:gd name="T26" fmla="*/ 11 w 18"/>
                <a:gd name="T27" fmla="*/ 17 h 20"/>
                <a:gd name="T28" fmla="*/ 7 w 18"/>
                <a:gd name="T2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20">
                  <a:moveTo>
                    <a:pt x="7" y="20"/>
                  </a:moveTo>
                  <a:cubicBezTo>
                    <a:pt x="5" y="20"/>
                    <a:pt x="4" y="19"/>
                    <a:pt x="3" y="18"/>
                  </a:cubicBezTo>
                  <a:cubicBezTo>
                    <a:pt x="0" y="14"/>
                    <a:pt x="4" y="10"/>
                    <a:pt x="5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6"/>
                    <a:pt x="7" y="5"/>
                    <a:pt x="7" y="5"/>
                  </a:cubicBezTo>
                  <a:cubicBezTo>
                    <a:pt x="7" y="4"/>
                    <a:pt x="8" y="4"/>
                    <a:pt x="8" y="3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2" y="0"/>
                  </a:cubicBezTo>
                  <a:cubicBezTo>
                    <a:pt x="15" y="0"/>
                    <a:pt x="17" y="2"/>
                    <a:pt x="17" y="5"/>
                  </a:cubicBezTo>
                  <a:cubicBezTo>
                    <a:pt x="18" y="8"/>
                    <a:pt x="17" y="10"/>
                    <a:pt x="14" y="12"/>
                  </a:cubicBezTo>
                  <a:cubicBezTo>
                    <a:pt x="13" y="13"/>
                    <a:pt x="12" y="15"/>
                    <a:pt x="12" y="16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0" y="18"/>
                    <a:pt x="9" y="20"/>
                    <a:pt x="7" y="2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4" name="Freeform 44"/>
            <p:cNvSpPr>
              <a:spLocks/>
            </p:cNvSpPr>
            <p:nvPr/>
          </p:nvSpPr>
          <p:spPr bwMode="auto">
            <a:xfrm>
              <a:off x="1648" y="968"/>
              <a:ext cx="22" cy="28"/>
            </a:xfrm>
            <a:custGeom>
              <a:avLst/>
              <a:gdLst>
                <a:gd name="T0" fmla="*/ 7 w 14"/>
                <a:gd name="T1" fmla="*/ 13 h 18"/>
                <a:gd name="T2" fmla="*/ 2 w 14"/>
                <a:gd name="T3" fmla="*/ 15 h 18"/>
                <a:gd name="T4" fmla="*/ 5 w 14"/>
                <a:gd name="T5" fmla="*/ 7 h 18"/>
                <a:gd name="T6" fmla="*/ 6 w 14"/>
                <a:gd name="T7" fmla="*/ 4 h 18"/>
                <a:gd name="T8" fmla="*/ 8 w 14"/>
                <a:gd name="T9" fmla="*/ 1 h 18"/>
                <a:gd name="T10" fmla="*/ 9 w 14"/>
                <a:gd name="T11" fmla="*/ 8 h 18"/>
                <a:gd name="T12" fmla="*/ 7 w 14"/>
                <a:gd name="T13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8">
                  <a:moveTo>
                    <a:pt x="7" y="13"/>
                  </a:moveTo>
                  <a:cubicBezTo>
                    <a:pt x="5" y="15"/>
                    <a:pt x="4" y="18"/>
                    <a:pt x="2" y="15"/>
                  </a:cubicBezTo>
                  <a:cubicBezTo>
                    <a:pt x="0" y="12"/>
                    <a:pt x="3" y="9"/>
                    <a:pt x="5" y="7"/>
                  </a:cubicBezTo>
                  <a:cubicBezTo>
                    <a:pt x="5" y="7"/>
                    <a:pt x="6" y="5"/>
                    <a:pt x="6" y="4"/>
                  </a:cubicBezTo>
                  <a:cubicBezTo>
                    <a:pt x="7" y="3"/>
                    <a:pt x="8" y="3"/>
                    <a:pt x="8" y="1"/>
                  </a:cubicBezTo>
                  <a:cubicBezTo>
                    <a:pt x="13" y="0"/>
                    <a:pt x="14" y="6"/>
                    <a:pt x="9" y="8"/>
                  </a:cubicBezTo>
                  <a:cubicBezTo>
                    <a:pt x="9" y="9"/>
                    <a:pt x="7" y="12"/>
                    <a:pt x="7" y="13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50" name="Trapezoid 49"/>
          <p:cNvSpPr/>
          <p:nvPr/>
        </p:nvSpPr>
        <p:spPr>
          <a:xfrm rot="15990143">
            <a:off x="3354928" y="1615244"/>
            <a:ext cx="2219163" cy="3699243"/>
          </a:xfrm>
          <a:prstGeom prst="trapezoid">
            <a:avLst>
              <a:gd name="adj" fmla="val 45178"/>
            </a:avLst>
          </a:prstGeom>
          <a:solidFill>
            <a:schemeClr val="accent1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51" name="Oval 50"/>
          <p:cNvSpPr/>
          <p:nvPr/>
        </p:nvSpPr>
        <p:spPr>
          <a:xfrm>
            <a:off x="5362288" y="2232193"/>
            <a:ext cx="2214246" cy="2214246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52" name="Straight Connector 51"/>
          <p:cNvCxnSpPr>
            <a:stCxn id="51" idx="2"/>
            <a:endCxn id="51" idx="6"/>
          </p:cNvCxnSpPr>
          <p:nvPr/>
        </p:nvCxnSpPr>
        <p:spPr>
          <a:xfrm>
            <a:off x="5362288" y="3339316"/>
            <a:ext cx="2214246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5715761" y="2409354"/>
            <a:ext cx="150730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5%</a:t>
            </a:r>
          </a:p>
          <a:p>
            <a:pPr algn="ctr"/>
            <a:r>
              <a:rPr lang="en-US" sz="1100" dirty="0" err="1">
                <a:ea typeface="Open Sans" panose="020B0606030504020204" pitchFamily="34" charset="0"/>
                <a:cs typeface="Open Sans" panose="020B0606030504020204" pitchFamily="34" charset="0"/>
              </a:rPr>
              <a:t>Xxxxx</a:t>
            </a:r>
            <a:r>
              <a:rPr lang="en-US" sz="11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100" dirty="0" err="1">
                <a:ea typeface="Open Sans" panose="020B0606030504020204" pitchFamily="34" charset="0"/>
                <a:cs typeface="Open Sans" panose="020B0606030504020204" pitchFamily="34" charset="0"/>
              </a:rPr>
              <a:t>xxxxx</a:t>
            </a:r>
            <a:r>
              <a:rPr lang="en-US" sz="11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100" dirty="0" err="1">
                <a:ea typeface="Open Sans" panose="020B0606030504020204" pitchFamily="34" charset="0"/>
                <a:cs typeface="Open Sans" panose="020B0606030504020204" pitchFamily="34" charset="0"/>
              </a:rPr>
              <a:t>xxxxxx</a:t>
            </a:r>
            <a:r>
              <a:rPr lang="en-US" sz="11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100" dirty="0" err="1">
                <a:ea typeface="Open Sans" panose="020B0606030504020204" pitchFamily="34" charset="0"/>
                <a:cs typeface="Open Sans" panose="020B0606030504020204" pitchFamily="34" charset="0"/>
              </a:rPr>
              <a:t>xxxxxxxxxxxxx</a:t>
            </a:r>
            <a:endParaRPr lang="en-US" sz="1100" dirty="0"/>
          </a:p>
        </p:txBody>
      </p:sp>
      <p:sp>
        <p:nvSpPr>
          <p:cNvPr id="54" name="Rectangle 53"/>
          <p:cNvSpPr/>
          <p:nvPr/>
        </p:nvSpPr>
        <p:spPr>
          <a:xfrm>
            <a:off x="5715761" y="3366290"/>
            <a:ext cx="150730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0%</a:t>
            </a:r>
          </a:p>
          <a:p>
            <a:pPr algn="ctr"/>
            <a:r>
              <a:rPr lang="en-US" sz="1100" dirty="0" err="1">
                <a:ea typeface="Open Sans" panose="020B0606030504020204" pitchFamily="34" charset="0"/>
                <a:cs typeface="Open Sans" panose="020B0606030504020204" pitchFamily="34" charset="0"/>
              </a:rPr>
              <a:t>Xxxxx</a:t>
            </a:r>
            <a:r>
              <a:rPr lang="en-US" sz="11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100" dirty="0" err="1">
                <a:ea typeface="Open Sans" panose="020B0606030504020204" pitchFamily="34" charset="0"/>
                <a:cs typeface="Open Sans" panose="020B0606030504020204" pitchFamily="34" charset="0"/>
              </a:rPr>
              <a:t>xxxxx</a:t>
            </a:r>
            <a:r>
              <a:rPr lang="en-US" sz="11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100" dirty="0" err="1">
                <a:ea typeface="Open Sans" panose="020B0606030504020204" pitchFamily="34" charset="0"/>
                <a:cs typeface="Open Sans" panose="020B0606030504020204" pitchFamily="34" charset="0"/>
              </a:rPr>
              <a:t>xxxxxx</a:t>
            </a:r>
            <a:r>
              <a:rPr lang="en-US" sz="1100" dirty="0">
                <a:ea typeface="Open Sans" panose="020B0606030504020204" pitchFamily="34" charset="0"/>
                <a:cs typeface="Open Sans" panose="020B0606030504020204" pitchFamily="34" charset="0"/>
              </a:rPr>
              <a:t> xxx</a:t>
            </a:r>
            <a:endParaRPr lang="en-US" sz="1100" dirty="0"/>
          </a:p>
        </p:txBody>
      </p:sp>
      <p:sp>
        <p:nvSpPr>
          <p:cNvPr id="55" name="Oval 54"/>
          <p:cNvSpPr/>
          <p:nvPr/>
        </p:nvSpPr>
        <p:spPr>
          <a:xfrm>
            <a:off x="2476647" y="3478795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7" name="Oval 56"/>
          <p:cNvSpPr/>
          <p:nvPr/>
        </p:nvSpPr>
        <p:spPr>
          <a:xfrm>
            <a:off x="2935228" y="2755591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8" name="Oval 57"/>
          <p:cNvSpPr/>
          <p:nvPr/>
        </p:nvSpPr>
        <p:spPr>
          <a:xfrm>
            <a:off x="1638249" y="3309901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aphicFrame>
        <p:nvGraphicFramePr>
          <p:cNvPr id="59" name="Chart 58"/>
          <p:cNvGraphicFramePr/>
          <p:nvPr/>
        </p:nvGraphicFramePr>
        <p:xfrm>
          <a:off x="4294845" y="539751"/>
          <a:ext cx="4309604" cy="15376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7AE6800D-1E9B-CC44-BD4C-74318B8DD9B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5" name="Title 44">
            <a:extLst>
              <a:ext uri="{FF2B5EF4-FFF2-40B4-BE49-F238E27FC236}">
                <a16:creationId xmlns:a16="http://schemas.microsoft.com/office/drawing/2014/main" id="{FEE6151B-A40B-AF42-B67C-438F7C698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916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 animBg="1"/>
      <p:bldP spid="53" grpId="0"/>
      <p:bldP spid="54" grpId="0"/>
      <p:bldP spid="55" grpId="0" animBg="1"/>
      <p:bldP spid="57" grpId="0" animBg="1"/>
      <p:bldP spid="58" grpId="0" animBg="1"/>
      <p:bldGraphic spid="59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37E174F-B653-D341-998D-4644A5B4FE9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430F1D-1BFE-FB4E-BDCE-DF0869AE65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7B01DAEB-0FAA-A14A-8CBC-D7633E30471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 tree 1</a:t>
            </a:r>
          </a:p>
        </p:txBody>
      </p:sp>
      <p:sp>
        <p:nvSpPr>
          <p:cNvPr id="4" name="Rectangle 3"/>
          <p:cNvSpPr/>
          <p:nvPr/>
        </p:nvSpPr>
        <p:spPr>
          <a:xfrm>
            <a:off x="228600" y="983614"/>
            <a:ext cx="8683553" cy="457200"/>
          </a:xfrm>
          <a:prstGeom prst="rect">
            <a:avLst/>
          </a:prstGeom>
          <a:solidFill>
            <a:schemeClr val="tx1"/>
          </a:solidFill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Primary Ques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228600" y="1886147"/>
            <a:ext cx="4229100" cy="424721"/>
          </a:xfrm>
          <a:prstGeom prst="rect">
            <a:avLst/>
          </a:prstGeom>
          <a:ln w="19050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100" dirty="0"/>
              <a:t>Secondary Question</a:t>
            </a:r>
          </a:p>
        </p:txBody>
      </p:sp>
      <p:sp>
        <p:nvSpPr>
          <p:cNvPr id="6" name="Rectangle 5"/>
          <p:cNvSpPr/>
          <p:nvPr/>
        </p:nvSpPr>
        <p:spPr>
          <a:xfrm>
            <a:off x="4687709" y="1886147"/>
            <a:ext cx="4225853" cy="424721"/>
          </a:xfrm>
          <a:prstGeom prst="rect">
            <a:avLst/>
          </a:prstGeom>
          <a:ln w="19050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100" dirty="0"/>
              <a:t>Secondary Quest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2417048"/>
            <a:ext cx="4229100" cy="1907302"/>
          </a:xfrm>
          <a:prstGeom prst="rect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/>
              <a:t>Tertiary Question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/>
              <a:t>Tertiary Questions</a:t>
            </a:r>
          </a:p>
        </p:txBody>
      </p:sp>
      <p:sp>
        <p:nvSpPr>
          <p:cNvPr id="8" name="Rectangle 7"/>
          <p:cNvSpPr/>
          <p:nvPr/>
        </p:nvSpPr>
        <p:spPr>
          <a:xfrm>
            <a:off x="4687709" y="2417048"/>
            <a:ext cx="4225853" cy="1907302"/>
          </a:xfrm>
          <a:prstGeom prst="rect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/>
              <a:t>Tertiary Question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/>
              <a:t>Tertiary Questions</a:t>
            </a:r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2343150" y="1430506"/>
            <a:ext cx="0" cy="159270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H="1">
            <a:off x="6799823" y="1430506"/>
            <a:ext cx="1624" cy="159270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2343150" y="2310868"/>
            <a:ext cx="0" cy="106180"/>
          </a:xfrm>
          <a:prstGeom prst="line">
            <a:avLst/>
          </a:prstGeom>
          <a:ln w="19050">
            <a:solidFill>
              <a:schemeClr val="accent3"/>
            </a:solidFill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6800635" y="2310868"/>
            <a:ext cx="0" cy="106180"/>
          </a:xfrm>
          <a:prstGeom prst="line">
            <a:avLst/>
          </a:prstGeom>
          <a:ln w="19050">
            <a:solidFill>
              <a:schemeClr val="accent3"/>
            </a:solidFill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228600" y="1567606"/>
            <a:ext cx="4229100" cy="318541"/>
          </a:xfrm>
          <a:prstGeom prst="rect">
            <a:avLst/>
          </a:prstGeom>
          <a:ln w="9525"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/>
              <a:t>Heading 1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685870" y="1567606"/>
            <a:ext cx="4229530" cy="318541"/>
          </a:xfrm>
          <a:prstGeom prst="rect">
            <a:avLst/>
          </a:prstGeom>
          <a:ln w="9525"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/>
              <a:t>Heading 2</a:t>
            </a:r>
          </a:p>
        </p:txBody>
      </p:sp>
    </p:spTree>
    <p:extLst>
      <p:ext uri="{BB962C8B-B14F-4D97-AF65-F5344CB8AC3E}">
        <p14:creationId xmlns:p14="http://schemas.microsoft.com/office/powerpoint/2010/main" val="231283408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251521" y="970778"/>
            <a:ext cx="6739322" cy="3777855"/>
            <a:chOff x="434130" y="434226"/>
            <a:chExt cx="7488881" cy="4198035"/>
          </a:xfrm>
        </p:grpSpPr>
        <p:grpSp>
          <p:nvGrpSpPr>
            <p:cNvPr id="460" name="Group 459"/>
            <p:cNvGrpSpPr/>
            <p:nvPr/>
          </p:nvGrpSpPr>
          <p:grpSpPr>
            <a:xfrm>
              <a:off x="434130" y="434226"/>
              <a:ext cx="7488880" cy="4198035"/>
              <a:chOff x="1028701" y="1378665"/>
              <a:chExt cx="4290441" cy="2405088"/>
            </a:xfrm>
            <a:solidFill>
              <a:schemeClr val="accent1"/>
            </a:solidFill>
          </p:grpSpPr>
          <p:sp>
            <p:nvSpPr>
              <p:cNvPr id="246" name="Freeform 7"/>
              <p:cNvSpPr>
                <a:spLocks/>
              </p:cNvSpPr>
              <p:nvPr/>
            </p:nvSpPr>
            <p:spPr bwMode="auto">
              <a:xfrm>
                <a:off x="1125731" y="1852183"/>
                <a:ext cx="1921" cy="1744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4" name="Freeform 15"/>
              <p:cNvSpPr>
                <a:spLocks/>
              </p:cNvSpPr>
              <p:nvPr/>
            </p:nvSpPr>
            <p:spPr bwMode="auto">
              <a:xfrm>
                <a:off x="1080578" y="1606268"/>
                <a:ext cx="656151" cy="497063"/>
              </a:xfrm>
              <a:custGeom>
                <a:avLst/>
                <a:gdLst>
                  <a:gd name="T0" fmla="*/ 465 w 683"/>
                  <a:gd name="T1" fmla="*/ 549 h 570"/>
                  <a:gd name="T2" fmla="*/ 604 w 683"/>
                  <a:gd name="T3" fmla="*/ 374 h 570"/>
                  <a:gd name="T4" fmla="*/ 613 w 683"/>
                  <a:gd name="T5" fmla="*/ 348 h 570"/>
                  <a:gd name="T6" fmla="*/ 607 w 683"/>
                  <a:gd name="T7" fmla="*/ 329 h 570"/>
                  <a:gd name="T8" fmla="*/ 604 w 683"/>
                  <a:gd name="T9" fmla="*/ 303 h 570"/>
                  <a:gd name="T10" fmla="*/ 630 w 683"/>
                  <a:gd name="T11" fmla="*/ 275 h 570"/>
                  <a:gd name="T12" fmla="*/ 639 w 683"/>
                  <a:gd name="T13" fmla="*/ 256 h 570"/>
                  <a:gd name="T14" fmla="*/ 679 w 683"/>
                  <a:gd name="T15" fmla="*/ 203 h 570"/>
                  <a:gd name="T16" fmla="*/ 666 w 683"/>
                  <a:gd name="T17" fmla="*/ 169 h 570"/>
                  <a:gd name="T18" fmla="*/ 660 w 683"/>
                  <a:gd name="T19" fmla="*/ 149 h 570"/>
                  <a:gd name="T20" fmla="*/ 498 w 683"/>
                  <a:gd name="T21" fmla="*/ 121 h 570"/>
                  <a:gd name="T22" fmla="*/ 466 w 683"/>
                  <a:gd name="T23" fmla="*/ 115 h 570"/>
                  <a:gd name="T24" fmla="*/ 433 w 683"/>
                  <a:gd name="T25" fmla="*/ 117 h 570"/>
                  <a:gd name="T26" fmla="*/ 399 w 683"/>
                  <a:gd name="T27" fmla="*/ 122 h 570"/>
                  <a:gd name="T28" fmla="*/ 378 w 683"/>
                  <a:gd name="T29" fmla="*/ 113 h 570"/>
                  <a:gd name="T30" fmla="*/ 337 w 683"/>
                  <a:gd name="T31" fmla="*/ 115 h 570"/>
                  <a:gd name="T32" fmla="*/ 322 w 683"/>
                  <a:gd name="T33" fmla="*/ 102 h 570"/>
                  <a:gd name="T34" fmla="*/ 295 w 683"/>
                  <a:gd name="T35" fmla="*/ 94 h 570"/>
                  <a:gd name="T36" fmla="*/ 275 w 683"/>
                  <a:gd name="T37" fmla="*/ 100 h 570"/>
                  <a:gd name="T38" fmla="*/ 247 w 683"/>
                  <a:gd name="T39" fmla="*/ 96 h 570"/>
                  <a:gd name="T40" fmla="*/ 226 w 683"/>
                  <a:gd name="T41" fmla="*/ 87 h 570"/>
                  <a:gd name="T42" fmla="*/ 224 w 683"/>
                  <a:gd name="T43" fmla="*/ 34 h 570"/>
                  <a:gd name="T44" fmla="*/ 207 w 683"/>
                  <a:gd name="T45" fmla="*/ 19 h 570"/>
                  <a:gd name="T46" fmla="*/ 194 w 683"/>
                  <a:gd name="T47" fmla="*/ 17 h 570"/>
                  <a:gd name="T48" fmla="*/ 175 w 683"/>
                  <a:gd name="T49" fmla="*/ 8 h 570"/>
                  <a:gd name="T50" fmla="*/ 162 w 683"/>
                  <a:gd name="T51" fmla="*/ 4 h 570"/>
                  <a:gd name="T52" fmla="*/ 162 w 683"/>
                  <a:gd name="T53" fmla="*/ 10 h 570"/>
                  <a:gd name="T54" fmla="*/ 151 w 683"/>
                  <a:gd name="T55" fmla="*/ 8 h 570"/>
                  <a:gd name="T56" fmla="*/ 143 w 683"/>
                  <a:gd name="T57" fmla="*/ 30 h 570"/>
                  <a:gd name="T58" fmla="*/ 139 w 683"/>
                  <a:gd name="T59" fmla="*/ 51 h 570"/>
                  <a:gd name="T60" fmla="*/ 132 w 683"/>
                  <a:gd name="T61" fmla="*/ 70 h 570"/>
                  <a:gd name="T62" fmla="*/ 130 w 683"/>
                  <a:gd name="T63" fmla="*/ 79 h 570"/>
                  <a:gd name="T64" fmla="*/ 122 w 683"/>
                  <a:gd name="T65" fmla="*/ 100 h 570"/>
                  <a:gd name="T66" fmla="*/ 113 w 683"/>
                  <a:gd name="T67" fmla="*/ 126 h 570"/>
                  <a:gd name="T68" fmla="*/ 92 w 683"/>
                  <a:gd name="T69" fmla="*/ 173 h 570"/>
                  <a:gd name="T70" fmla="*/ 89 w 683"/>
                  <a:gd name="T71" fmla="*/ 186 h 570"/>
                  <a:gd name="T72" fmla="*/ 68 w 683"/>
                  <a:gd name="T73" fmla="*/ 241 h 570"/>
                  <a:gd name="T74" fmla="*/ 68 w 683"/>
                  <a:gd name="T75" fmla="*/ 252 h 570"/>
                  <a:gd name="T76" fmla="*/ 57 w 683"/>
                  <a:gd name="T77" fmla="*/ 262 h 570"/>
                  <a:gd name="T78" fmla="*/ 47 w 683"/>
                  <a:gd name="T79" fmla="*/ 284 h 570"/>
                  <a:gd name="T80" fmla="*/ 51 w 683"/>
                  <a:gd name="T81" fmla="*/ 284 h 570"/>
                  <a:gd name="T82" fmla="*/ 47 w 683"/>
                  <a:gd name="T83" fmla="*/ 284 h 570"/>
                  <a:gd name="T84" fmla="*/ 36 w 683"/>
                  <a:gd name="T85" fmla="*/ 288 h 570"/>
                  <a:gd name="T86" fmla="*/ 10 w 683"/>
                  <a:gd name="T87" fmla="*/ 346 h 570"/>
                  <a:gd name="T88" fmla="*/ 6 w 683"/>
                  <a:gd name="T89" fmla="*/ 376 h 570"/>
                  <a:gd name="T90" fmla="*/ 2 w 683"/>
                  <a:gd name="T91" fmla="*/ 418 h 570"/>
                  <a:gd name="T92" fmla="*/ 184 w 683"/>
                  <a:gd name="T93" fmla="*/ 48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83" h="570">
                    <a:moveTo>
                      <a:pt x="184" y="480"/>
                    </a:moveTo>
                    <a:lnTo>
                      <a:pt x="329" y="517"/>
                    </a:lnTo>
                    <a:lnTo>
                      <a:pt x="465" y="549"/>
                    </a:lnTo>
                    <a:lnTo>
                      <a:pt x="560" y="570"/>
                    </a:lnTo>
                    <a:lnTo>
                      <a:pt x="600" y="378"/>
                    </a:lnTo>
                    <a:lnTo>
                      <a:pt x="604" y="374"/>
                    </a:lnTo>
                    <a:lnTo>
                      <a:pt x="606" y="371"/>
                    </a:lnTo>
                    <a:lnTo>
                      <a:pt x="613" y="357"/>
                    </a:lnTo>
                    <a:lnTo>
                      <a:pt x="613" y="348"/>
                    </a:lnTo>
                    <a:lnTo>
                      <a:pt x="619" y="340"/>
                    </a:lnTo>
                    <a:lnTo>
                      <a:pt x="615" y="335"/>
                    </a:lnTo>
                    <a:lnTo>
                      <a:pt x="607" y="329"/>
                    </a:lnTo>
                    <a:lnTo>
                      <a:pt x="602" y="327"/>
                    </a:lnTo>
                    <a:lnTo>
                      <a:pt x="598" y="324"/>
                    </a:lnTo>
                    <a:lnTo>
                      <a:pt x="604" y="303"/>
                    </a:lnTo>
                    <a:lnTo>
                      <a:pt x="609" y="295"/>
                    </a:lnTo>
                    <a:lnTo>
                      <a:pt x="619" y="282"/>
                    </a:lnTo>
                    <a:lnTo>
                      <a:pt x="630" y="275"/>
                    </a:lnTo>
                    <a:lnTo>
                      <a:pt x="636" y="269"/>
                    </a:lnTo>
                    <a:lnTo>
                      <a:pt x="639" y="262"/>
                    </a:lnTo>
                    <a:lnTo>
                      <a:pt x="639" y="256"/>
                    </a:lnTo>
                    <a:lnTo>
                      <a:pt x="653" y="243"/>
                    </a:lnTo>
                    <a:lnTo>
                      <a:pt x="662" y="220"/>
                    </a:lnTo>
                    <a:lnTo>
                      <a:pt x="679" y="203"/>
                    </a:lnTo>
                    <a:lnTo>
                      <a:pt x="683" y="196"/>
                    </a:lnTo>
                    <a:lnTo>
                      <a:pt x="681" y="183"/>
                    </a:lnTo>
                    <a:lnTo>
                      <a:pt x="666" y="169"/>
                    </a:lnTo>
                    <a:lnTo>
                      <a:pt x="664" y="166"/>
                    </a:lnTo>
                    <a:lnTo>
                      <a:pt x="660" y="158"/>
                    </a:lnTo>
                    <a:lnTo>
                      <a:pt x="660" y="149"/>
                    </a:lnTo>
                    <a:lnTo>
                      <a:pt x="572" y="132"/>
                    </a:lnTo>
                    <a:lnTo>
                      <a:pt x="504" y="115"/>
                    </a:lnTo>
                    <a:lnTo>
                      <a:pt x="498" y="121"/>
                    </a:lnTo>
                    <a:lnTo>
                      <a:pt x="491" y="119"/>
                    </a:lnTo>
                    <a:lnTo>
                      <a:pt x="483" y="117"/>
                    </a:lnTo>
                    <a:lnTo>
                      <a:pt x="466" y="115"/>
                    </a:lnTo>
                    <a:lnTo>
                      <a:pt x="463" y="113"/>
                    </a:lnTo>
                    <a:lnTo>
                      <a:pt x="455" y="117"/>
                    </a:lnTo>
                    <a:lnTo>
                      <a:pt x="433" y="117"/>
                    </a:lnTo>
                    <a:lnTo>
                      <a:pt x="419" y="119"/>
                    </a:lnTo>
                    <a:lnTo>
                      <a:pt x="406" y="122"/>
                    </a:lnTo>
                    <a:lnTo>
                      <a:pt x="399" y="122"/>
                    </a:lnTo>
                    <a:lnTo>
                      <a:pt x="393" y="121"/>
                    </a:lnTo>
                    <a:lnTo>
                      <a:pt x="386" y="115"/>
                    </a:lnTo>
                    <a:lnTo>
                      <a:pt x="378" y="113"/>
                    </a:lnTo>
                    <a:lnTo>
                      <a:pt x="357" y="117"/>
                    </a:lnTo>
                    <a:lnTo>
                      <a:pt x="350" y="115"/>
                    </a:lnTo>
                    <a:lnTo>
                      <a:pt x="337" y="115"/>
                    </a:lnTo>
                    <a:lnTo>
                      <a:pt x="335" y="109"/>
                    </a:lnTo>
                    <a:lnTo>
                      <a:pt x="327" y="104"/>
                    </a:lnTo>
                    <a:lnTo>
                      <a:pt x="322" y="102"/>
                    </a:lnTo>
                    <a:lnTo>
                      <a:pt x="314" y="98"/>
                    </a:lnTo>
                    <a:lnTo>
                      <a:pt x="303" y="98"/>
                    </a:lnTo>
                    <a:lnTo>
                      <a:pt x="295" y="94"/>
                    </a:lnTo>
                    <a:lnTo>
                      <a:pt x="290" y="94"/>
                    </a:lnTo>
                    <a:lnTo>
                      <a:pt x="282" y="100"/>
                    </a:lnTo>
                    <a:lnTo>
                      <a:pt x="275" y="100"/>
                    </a:lnTo>
                    <a:lnTo>
                      <a:pt x="262" y="102"/>
                    </a:lnTo>
                    <a:lnTo>
                      <a:pt x="254" y="102"/>
                    </a:lnTo>
                    <a:lnTo>
                      <a:pt x="247" y="96"/>
                    </a:lnTo>
                    <a:lnTo>
                      <a:pt x="245" y="96"/>
                    </a:lnTo>
                    <a:lnTo>
                      <a:pt x="237" y="90"/>
                    </a:lnTo>
                    <a:lnTo>
                      <a:pt x="226" y="87"/>
                    </a:lnTo>
                    <a:lnTo>
                      <a:pt x="224" y="83"/>
                    </a:lnTo>
                    <a:lnTo>
                      <a:pt x="228" y="47"/>
                    </a:lnTo>
                    <a:lnTo>
                      <a:pt x="224" y="34"/>
                    </a:lnTo>
                    <a:lnTo>
                      <a:pt x="216" y="27"/>
                    </a:lnTo>
                    <a:lnTo>
                      <a:pt x="213" y="21"/>
                    </a:lnTo>
                    <a:lnTo>
                      <a:pt x="207" y="19"/>
                    </a:lnTo>
                    <a:lnTo>
                      <a:pt x="201" y="21"/>
                    </a:lnTo>
                    <a:lnTo>
                      <a:pt x="194" y="19"/>
                    </a:lnTo>
                    <a:lnTo>
                      <a:pt x="194" y="17"/>
                    </a:lnTo>
                    <a:lnTo>
                      <a:pt x="188" y="11"/>
                    </a:lnTo>
                    <a:lnTo>
                      <a:pt x="183" y="6"/>
                    </a:lnTo>
                    <a:lnTo>
                      <a:pt x="175" y="8"/>
                    </a:lnTo>
                    <a:lnTo>
                      <a:pt x="168" y="8"/>
                    </a:lnTo>
                    <a:lnTo>
                      <a:pt x="166" y="4"/>
                    </a:lnTo>
                    <a:lnTo>
                      <a:pt x="162" y="4"/>
                    </a:lnTo>
                    <a:lnTo>
                      <a:pt x="160" y="6"/>
                    </a:lnTo>
                    <a:lnTo>
                      <a:pt x="164" y="10"/>
                    </a:lnTo>
                    <a:lnTo>
                      <a:pt x="162" y="10"/>
                    </a:lnTo>
                    <a:lnTo>
                      <a:pt x="160" y="8"/>
                    </a:lnTo>
                    <a:lnTo>
                      <a:pt x="154" y="0"/>
                    </a:lnTo>
                    <a:lnTo>
                      <a:pt x="151" y="8"/>
                    </a:lnTo>
                    <a:lnTo>
                      <a:pt x="149" y="23"/>
                    </a:lnTo>
                    <a:lnTo>
                      <a:pt x="143" y="28"/>
                    </a:lnTo>
                    <a:lnTo>
                      <a:pt x="143" y="30"/>
                    </a:lnTo>
                    <a:lnTo>
                      <a:pt x="141" y="36"/>
                    </a:lnTo>
                    <a:lnTo>
                      <a:pt x="139" y="43"/>
                    </a:lnTo>
                    <a:lnTo>
                      <a:pt x="139" y="51"/>
                    </a:lnTo>
                    <a:lnTo>
                      <a:pt x="141" y="55"/>
                    </a:lnTo>
                    <a:lnTo>
                      <a:pt x="136" y="62"/>
                    </a:lnTo>
                    <a:lnTo>
                      <a:pt x="132" y="70"/>
                    </a:lnTo>
                    <a:lnTo>
                      <a:pt x="137" y="75"/>
                    </a:lnTo>
                    <a:lnTo>
                      <a:pt x="130" y="74"/>
                    </a:lnTo>
                    <a:lnTo>
                      <a:pt x="130" y="79"/>
                    </a:lnTo>
                    <a:lnTo>
                      <a:pt x="126" y="87"/>
                    </a:lnTo>
                    <a:lnTo>
                      <a:pt x="126" y="92"/>
                    </a:lnTo>
                    <a:lnTo>
                      <a:pt x="122" y="100"/>
                    </a:lnTo>
                    <a:lnTo>
                      <a:pt x="121" y="107"/>
                    </a:lnTo>
                    <a:lnTo>
                      <a:pt x="115" y="119"/>
                    </a:lnTo>
                    <a:lnTo>
                      <a:pt x="113" y="126"/>
                    </a:lnTo>
                    <a:lnTo>
                      <a:pt x="102" y="145"/>
                    </a:lnTo>
                    <a:lnTo>
                      <a:pt x="98" y="158"/>
                    </a:lnTo>
                    <a:lnTo>
                      <a:pt x="92" y="173"/>
                    </a:lnTo>
                    <a:lnTo>
                      <a:pt x="94" y="181"/>
                    </a:lnTo>
                    <a:lnTo>
                      <a:pt x="94" y="183"/>
                    </a:lnTo>
                    <a:lnTo>
                      <a:pt x="89" y="186"/>
                    </a:lnTo>
                    <a:lnTo>
                      <a:pt x="85" y="192"/>
                    </a:lnTo>
                    <a:lnTo>
                      <a:pt x="81" y="207"/>
                    </a:lnTo>
                    <a:lnTo>
                      <a:pt x="68" y="241"/>
                    </a:lnTo>
                    <a:lnTo>
                      <a:pt x="62" y="248"/>
                    </a:lnTo>
                    <a:lnTo>
                      <a:pt x="60" y="256"/>
                    </a:lnTo>
                    <a:lnTo>
                      <a:pt x="68" y="252"/>
                    </a:lnTo>
                    <a:lnTo>
                      <a:pt x="70" y="256"/>
                    </a:lnTo>
                    <a:lnTo>
                      <a:pt x="62" y="256"/>
                    </a:lnTo>
                    <a:lnTo>
                      <a:pt x="57" y="262"/>
                    </a:lnTo>
                    <a:lnTo>
                      <a:pt x="47" y="275"/>
                    </a:lnTo>
                    <a:lnTo>
                      <a:pt x="45" y="282"/>
                    </a:lnTo>
                    <a:lnTo>
                      <a:pt x="47" y="284"/>
                    </a:lnTo>
                    <a:lnTo>
                      <a:pt x="49" y="282"/>
                    </a:lnTo>
                    <a:lnTo>
                      <a:pt x="49" y="284"/>
                    </a:lnTo>
                    <a:lnTo>
                      <a:pt x="51" y="284"/>
                    </a:lnTo>
                    <a:lnTo>
                      <a:pt x="49" y="288"/>
                    </a:lnTo>
                    <a:lnTo>
                      <a:pt x="49" y="284"/>
                    </a:lnTo>
                    <a:lnTo>
                      <a:pt x="47" y="284"/>
                    </a:lnTo>
                    <a:lnTo>
                      <a:pt x="42" y="288"/>
                    </a:lnTo>
                    <a:lnTo>
                      <a:pt x="38" y="295"/>
                    </a:lnTo>
                    <a:lnTo>
                      <a:pt x="36" y="288"/>
                    </a:lnTo>
                    <a:lnTo>
                      <a:pt x="23" y="316"/>
                    </a:lnTo>
                    <a:lnTo>
                      <a:pt x="10" y="333"/>
                    </a:lnTo>
                    <a:lnTo>
                      <a:pt x="10" y="346"/>
                    </a:lnTo>
                    <a:lnTo>
                      <a:pt x="13" y="361"/>
                    </a:lnTo>
                    <a:lnTo>
                      <a:pt x="12" y="369"/>
                    </a:lnTo>
                    <a:lnTo>
                      <a:pt x="6" y="376"/>
                    </a:lnTo>
                    <a:lnTo>
                      <a:pt x="4" y="382"/>
                    </a:lnTo>
                    <a:lnTo>
                      <a:pt x="0" y="391"/>
                    </a:lnTo>
                    <a:lnTo>
                      <a:pt x="2" y="418"/>
                    </a:lnTo>
                    <a:lnTo>
                      <a:pt x="8" y="433"/>
                    </a:lnTo>
                    <a:lnTo>
                      <a:pt x="12" y="433"/>
                    </a:lnTo>
                    <a:lnTo>
                      <a:pt x="184" y="48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5" name="Freeform 16"/>
              <p:cNvSpPr>
                <a:spLocks/>
              </p:cNvSpPr>
              <p:nvPr/>
            </p:nvSpPr>
            <p:spPr bwMode="auto">
              <a:xfrm>
                <a:off x="1127652" y="1853927"/>
                <a:ext cx="1921" cy="3488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0 h 4"/>
                  <a:gd name="T4" fmla="*/ 0 w 2"/>
                  <a:gd name="T5" fmla="*/ 4 h 4"/>
                  <a:gd name="T6" fmla="*/ 2 w 2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6" name="Freeform 17"/>
              <p:cNvSpPr>
                <a:spLocks/>
              </p:cNvSpPr>
              <p:nvPr/>
            </p:nvSpPr>
            <p:spPr bwMode="auto">
              <a:xfrm>
                <a:off x="1127652" y="1853927"/>
                <a:ext cx="1921" cy="3488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0 h 4"/>
                  <a:gd name="T4" fmla="*/ 0 w 2"/>
                  <a:gd name="T5" fmla="*/ 4 h 4"/>
                  <a:gd name="T6" fmla="*/ 2 w 2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7" name="Freeform 18"/>
              <p:cNvSpPr>
                <a:spLocks/>
              </p:cNvSpPr>
              <p:nvPr/>
            </p:nvSpPr>
            <p:spPr bwMode="auto">
              <a:xfrm>
                <a:off x="1178569" y="2385000"/>
                <a:ext cx="8646" cy="13081"/>
              </a:xfrm>
              <a:custGeom>
                <a:avLst/>
                <a:gdLst>
                  <a:gd name="T0" fmla="*/ 9 w 9"/>
                  <a:gd name="T1" fmla="*/ 13 h 15"/>
                  <a:gd name="T2" fmla="*/ 5 w 9"/>
                  <a:gd name="T3" fmla="*/ 8 h 15"/>
                  <a:gd name="T4" fmla="*/ 0 w 9"/>
                  <a:gd name="T5" fmla="*/ 0 h 15"/>
                  <a:gd name="T6" fmla="*/ 9 w 9"/>
                  <a:gd name="T7" fmla="*/ 15 h 15"/>
                  <a:gd name="T8" fmla="*/ 9 w 9"/>
                  <a:gd name="T9" fmla="*/ 1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5">
                    <a:moveTo>
                      <a:pt x="9" y="13"/>
                    </a:moveTo>
                    <a:lnTo>
                      <a:pt x="5" y="8"/>
                    </a:lnTo>
                    <a:lnTo>
                      <a:pt x="0" y="0"/>
                    </a:lnTo>
                    <a:lnTo>
                      <a:pt x="9" y="15"/>
                    </a:lnTo>
                    <a:lnTo>
                      <a:pt x="9" y="13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8" name="Freeform 19"/>
              <p:cNvSpPr>
                <a:spLocks/>
              </p:cNvSpPr>
              <p:nvPr/>
            </p:nvSpPr>
            <p:spPr bwMode="auto">
              <a:xfrm>
                <a:off x="1178569" y="2385000"/>
                <a:ext cx="8646" cy="13081"/>
              </a:xfrm>
              <a:custGeom>
                <a:avLst/>
                <a:gdLst>
                  <a:gd name="T0" fmla="*/ 9 w 9"/>
                  <a:gd name="T1" fmla="*/ 13 h 15"/>
                  <a:gd name="T2" fmla="*/ 5 w 9"/>
                  <a:gd name="T3" fmla="*/ 8 h 15"/>
                  <a:gd name="T4" fmla="*/ 0 w 9"/>
                  <a:gd name="T5" fmla="*/ 0 h 15"/>
                  <a:gd name="T6" fmla="*/ 9 w 9"/>
                  <a:gd name="T7" fmla="*/ 15 h 15"/>
                  <a:gd name="T8" fmla="*/ 9 w 9"/>
                  <a:gd name="T9" fmla="*/ 1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5">
                    <a:moveTo>
                      <a:pt x="9" y="13"/>
                    </a:moveTo>
                    <a:lnTo>
                      <a:pt x="5" y="8"/>
                    </a:lnTo>
                    <a:lnTo>
                      <a:pt x="0" y="0"/>
                    </a:lnTo>
                    <a:lnTo>
                      <a:pt x="9" y="15"/>
                    </a:lnTo>
                    <a:lnTo>
                      <a:pt x="9" y="13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grpSp>
            <p:nvGrpSpPr>
              <p:cNvPr id="458" name="Group 457"/>
              <p:cNvGrpSpPr/>
              <p:nvPr/>
            </p:nvGrpSpPr>
            <p:grpSpPr>
              <a:xfrm>
                <a:off x="1223722" y="1378665"/>
                <a:ext cx="543750" cy="357537"/>
                <a:chOff x="1223722" y="1378665"/>
                <a:chExt cx="543750" cy="357537"/>
              </a:xfrm>
              <a:grpFill/>
            </p:grpSpPr>
            <p:sp>
              <p:nvSpPr>
                <p:cNvPr id="247" name="Freeform 8"/>
                <p:cNvSpPr>
                  <a:spLocks/>
                </p:cNvSpPr>
                <p:nvPr/>
              </p:nvSpPr>
              <p:spPr bwMode="auto">
                <a:xfrm>
                  <a:off x="1344768" y="1404826"/>
                  <a:ext cx="10568" cy="14825"/>
                </a:xfrm>
                <a:custGeom>
                  <a:avLst/>
                  <a:gdLst>
                    <a:gd name="T0" fmla="*/ 9 w 11"/>
                    <a:gd name="T1" fmla="*/ 17 h 17"/>
                    <a:gd name="T2" fmla="*/ 11 w 11"/>
                    <a:gd name="T3" fmla="*/ 9 h 17"/>
                    <a:gd name="T4" fmla="*/ 5 w 11"/>
                    <a:gd name="T5" fmla="*/ 4 h 17"/>
                    <a:gd name="T6" fmla="*/ 2 w 11"/>
                    <a:gd name="T7" fmla="*/ 0 h 17"/>
                    <a:gd name="T8" fmla="*/ 0 w 11"/>
                    <a:gd name="T9" fmla="*/ 9 h 17"/>
                    <a:gd name="T10" fmla="*/ 3 w 11"/>
                    <a:gd name="T11" fmla="*/ 17 h 17"/>
                    <a:gd name="T12" fmla="*/ 9 w 11"/>
                    <a:gd name="T13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17">
                      <a:moveTo>
                        <a:pt x="9" y="17"/>
                      </a:moveTo>
                      <a:lnTo>
                        <a:pt x="11" y="9"/>
                      </a:lnTo>
                      <a:lnTo>
                        <a:pt x="5" y="4"/>
                      </a:lnTo>
                      <a:lnTo>
                        <a:pt x="2" y="0"/>
                      </a:lnTo>
                      <a:lnTo>
                        <a:pt x="0" y="9"/>
                      </a:lnTo>
                      <a:lnTo>
                        <a:pt x="3" y="17"/>
                      </a:lnTo>
                      <a:lnTo>
                        <a:pt x="9" y="17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48" name="Freeform 9"/>
                <p:cNvSpPr>
                  <a:spLocks/>
                </p:cNvSpPr>
                <p:nvPr/>
              </p:nvSpPr>
              <p:spPr bwMode="auto">
                <a:xfrm>
                  <a:off x="1344768" y="1404826"/>
                  <a:ext cx="10568" cy="14825"/>
                </a:xfrm>
                <a:custGeom>
                  <a:avLst/>
                  <a:gdLst>
                    <a:gd name="T0" fmla="*/ 9 w 11"/>
                    <a:gd name="T1" fmla="*/ 17 h 17"/>
                    <a:gd name="T2" fmla="*/ 11 w 11"/>
                    <a:gd name="T3" fmla="*/ 9 h 17"/>
                    <a:gd name="T4" fmla="*/ 5 w 11"/>
                    <a:gd name="T5" fmla="*/ 4 h 17"/>
                    <a:gd name="T6" fmla="*/ 2 w 11"/>
                    <a:gd name="T7" fmla="*/ 0 h 17"/>
                    <a:gd name="T8" fmla="*/ 0 w 11"/>
                    <a:gd name="T9" fmla="*/ 9 h 17"/>
                    <a:gd name="T10" fmla="*/ 3 w 11"/>
                    <a:gd name="T11" fmla="*/ 17 h 17"/>
                    <a:gd name="T12" fmla="*/ 9 w 11"/>
                    <a:gd name="T13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17">
                      <a:moveTo>
                        <a:pt x="9" y="17"/>
                      </a:moveTo>
                      <a:lnTo>
                        <a:pt x="11" y="9"/>
                      </a:lnTo>
                      <a:lnTo>
                        <a:pt x="5" y="4"/>
                      </a:lnTo>
                      <a:lnTo>
                        <a:pt x="2" y="0"/>
                      </a:lnTo>
                      <a:lnTo>
                        <a:pt x="0" y="9"/>
                      </a:lnTo>
                      <a:lnTo>
                        <a:pt x="3" y="17"/>
                      </a:lnTo>
                      <a:lnTo>
                        <a:pt x="9" y="17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49" name="Freeform 10"/>
                <p:cNvSpPr>
                  <a:spLocks/>
                </p:cNvSpPr>
                <p:nvPr/>
              </p:nvSpPr>
              <p:spPr bwMode="auto">
                <a:xfrm>
                  <a:off x="1361100" y="1401338"/>
                  <a:ext cx="12489" cy="10464"/>
                </a:xfrm>
                <a:custGeom>
                  <a:avLst/>
                  <a:gdLst>
                    <a:gd name="T0" fmla="*/ 7 w 13"/>
                    <a:gd name="T1" fmla="*/ 6 h 12"/>
                    <a:gd name="T2" fmla="*/ 9 w 13"/>
                    <a:gd name="T3" fmla="*/ 12 h 12"/>
                    <a:gd name="T4" fmla="*/ 13 w 13"/>
                    <a:gd name="T5" fmla="*/ 6 h 12"/>
                    <a:gd name="T6" fmla="*/ 7 w 13"/>
                    <a:gd name="T7" fmla="*/ 0 h 12"/>
                    <a:gd name="T8" fmla="*/ 3 w 13"/>
                    <a:gd name="T9" fmla="*/ 0 h 12"/>
                    <a:gd name="T10" fmla="*/ 0 w 13"/>
                    <a:gd name="T11" fmla="*/ 8 h 12"/>
                    <a:gd name="T12" fmla="*/ 5 w 13"/>
                    <a:gd name="T13" fmla="*/ 12 h 12"/>
                    <a:gd name="T14" fmla="*/ 7 w 13"/>
                    <a:gd name="T15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12">
                      <a:moveTo>
                        <a:pt x="7" y="6"/>
                      </a:moveTo>
                      <a:lnTo>
                        <a:pt x="9" y="12"/>
                      </a:lnTo>
                      <a:lnTo>
                        <a:pt x="13" y="6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8"/>
                      </a:lnTo>
                      <a:lnTo>
                        <a:pt x="5" y="12"/>
                      </a:lnTo>
                      <a:lnTo>
                        <a:pt x="7" y="6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50" name="Freeform 11"/>
                <p:cNvSpPr>
                  <a:spLocks/>
                </p:cNvSpPr>
                <p:nvPr/>
              </p:nvSpPr>
              <p:spPr bwMode="auto">
                <a:xfrm>
                  <a:off x="1361100" y="1401338"/>
                  <a:ext cx="12489" cy="10464"/>
                </a:xfrm>
                <a:custGeom>
                  <a:avLst/>
                  <a:gdLst>
                    <a:gd name="T0" fmla="*/ 7 w 13"/>
                    <a:gd name="T1" fmla="*/ 6 h 12"/>
                    <a:gd name="T2" fmla="*/ 9 w 13"/>
                    <a:gd name="T3" fmla="*/ 12 h 12"/>
                    <a:gd name="T4" fmla="*/ 13 w 13"/>
                    <a:gd name="T5" fmla="*/ 6 h 12"/>
                    <a:gd name="T6" fmla="*/ 7 w 13"/>
                    <a:gd name="T7" fmla="*/ 0 h 12"/>
                    <a:gd name="T8" fmla="*/ 3 w 13"/>
                    <a:gd name="T9" fmla="*/ 0 h 12"/>
                    <a:gd name="T10" fmla="*/ 0 w 13"/>
                    <a:gd name="T11" fmla="*/ 8 h 12"/>
                    <a:gd name="T12" fmla="*/ 5 w 13"/>
                    <a:gd name="T13" fmla="*/ 12 h 12"/>
                    <a:gd name="T14" fmla="*/ 7 w 13"/>
                    <a:gd name="T15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12">
                      <a:moveTo>
                        <a:pt x="7" y="6"/>
                      </a:moveTo>
                      <a:lnTo>
                        <a:pt x="9" y="12"/>
                      </a:lnTo>
                      <a:lnTo>
                        <a:pt x="13" y="6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8"/>
                      </a:lnTo>
                      <a:lnTo>
                        <a:pt x="5" y="12"/>
                      </a:lnTo>
                      <a:lnTo>
                        <a:pt x="7" y="6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51" name="Freeform 12"/>
                <p:cNvSpPr>
                  <a:spLocks/>
                </p:cNvSpPr>
                <p:nvPr/>
              </p:nvSpPr>
              <p:spPr bwMode="auto">
                <a:xfrm>
                  <a:off x="1363021" y="1434476"/>
                  <a:ext cx="21135" cy="45346"/>
                </a:xfrm>
                <a:custGeom>
                  <a:avLst/>
                  <a:gdLst>
                    <a:gd name="T0" fmla="*/ 20 w 22"/>
                    <a:gd name="T1" fmla="*/ 7 h 52"/>
                    <a:gd name="T2" fmla="*/ 16 w 22"/>
                    <a:gd name="T3" fmla="*/ 0 h 52"/>
                    <a:gd name="T4" fmla="*/ 15 w 22"/>
                    <a:gd name="T5" fmla="*/ 0 h 52"/>
                    <a:gd name="T6" fmla="*/ 7 w 22"/>
                    <a:gd name="T7" fmla="*/ 5 h 52"/>
                    <a:gd name="T8" fmla="*/ 0 w 22"/>
                    <a:gd name="T9" fmla="*/ 13 h 52"/>
                    <a:gd name="T10" fmla="*/ 3 w 22"/>
                    <a:gd name="T11" fmla="*/ 21 h 52"/>
                    <a:gd name="T12" fmla="*/ 9 w 22"/>
                    <a:gd name="T13" fmla="*/ 28 h 52"/>
                    <a:gd name="T14" fmla="*/ 7 w 22"/>
                    <a:gd name="T15" fmla="*/ 34 h 52"/>
                    <a:gd name="T16" fmla="*/ 9 w 22"/>
                    <a:gd name="T17" fmla="*/ 41 h 52"/>
                    <a:gd name="T18" fmla="*/ 16 w 22"/>
                    <a:gd name="T19" fmla="*/ 49 h 52"/>
                    <a:gd name="T20" fmla="*/ 16 w 22"/>
                    <a:gd name="T21" fmla="*/ 52 h 52"/>
                    <a:gd name="T22" fmla="*/ 22 w 22"/>
                    <a:gd name="T23" fmla="*/ 49 h 52"/>
                    <a:gd name="T24" fmla="*/ 22 w 22"/>
                    <a:gd name="T25" fmla="*/ 43 h 52"/>
                    <a:gd name="T26" fmla="*/ 18 w 22"/>
                    <a:gd name="T27" fmla="*/ 36 h 52"/>
                    <a:gd name="T28" fmla="*/ 11 w 22"/>
                    <a:gd name="T29" fmla="*/ 36 h 52"/>
                    <a:gd name="T30" fmla="*/ 11 w 22"/>
                    <a:gd name="T31" fmla="*/ 21 h 52"/>
                    <a:gd name="T32" fmla="*/ 5 w 22"/>
                    <a:gd name="T33" fmla="*/ 13 h 52"/>
                    <a:gd name="T34" fmla="*/ 13 w 22"/>
                    <a:gd name="T35" fmla="*/ 9 h 52"/>
                    <a:gd name="T36" fmla="*/ 20 w 22"/>
                    <a:gd name="T37" fmla="*/ 7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2" h="52">
                      <a:moveTo>
                        <a:pt x="20" y="7"/>
                      </a:move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7" y="5"/>
                      </a:lnTo>
                      <a:lnTo>
                        <a:pt x="0" y="13"/>
                      </a:lnTo>
                      <a:lnTo>
                        <a:pt x="3" y="21"/>
                      </a:lnTo>
                      <a:lnTo>
                        <a:pt x="9" y="28"/>
                      </a:lnTo>
                      <a:lnTo>
                        <a:pt x="7" y="34"/>
                      </a:lnTo>
                      <a:lnTo>
                        <a:pt x="9" y="41"/>
                      </a:lnTo>
                      <a:lnTo>
                        <a:pt x="16" y="49"/>
                      </a:lnTo>
                      <a:lnTo>
                        <a:pt x="16" y="52"/>
                      </a:lnTo>
                      <a:lnTo>
                        <a:pt x="22" y="49"/>
                      </a:lnTo>
                      <a:lnTo>
                        <a:pt x="22" y="43"/>
                      </a:lnTo>
                      <a:lnTo>
                        <a:pt x="18" y="36"/>
                      </a:lnTo>
                      <a:lnTo>
                        <a:pt x="11" y="36"/>
                      </a:lnTo>
                      <a:lnTo>
                        <a:pt x="11" y="21"/>
                      </a:lnTo>
                      <a:lnTo>
                        <a:pt x="5" y="13"/>
                      </a:lnTo>
                      <a:lnTo>
                        <a:pt x="13" y="9"/>
                      </a:lnTo>
                      <a:lnTo>
                        <a:pt x="20" y="7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52" name="Freeform 13"/>
                <p:cNvSpPr>
                  <a:spLocks/>
                </p:cNvSpPr>
                <p:nvPr/>
              </p:nvSpPr>
              <p:spPr bwMode="auto">
                <a:xfrm>
                  <a:off x="1363021" y="1434476"/>
                  <a:ext cx="21135" cy="45346"/>
                </a:xfrm>
                <a:custGeom>
                  <a:avLst/>
                  <a:gdLst>
                    <a:gd name="T0" fmla="*/ 20 w 22"/>
                    <a:gd name="T1" fmla="*/ 7 h 52"/>
                    <a:gd name="T2" fmla="*/ 16 w 22"/>
                    <a:gd name="T3" fmla="*/ 0 h 52"/>
                    <a:gd name="T4" fmla="*/ 15 w 22"/>
                    <a:gd name="T5" fmla="*/ 0 h 52"/>
                    <a:gd name="T6" fmla="*/ 7 w 22"/>
                    <a:gd name="T7" fmla="*/ 5 h 52"/>
                    <a:gd name="T8" fmla="*/ 0 w 22"/>
                    <a:gd name="T9" fmla="*/ 13 h 52"/>
                    <a:gd name="T10" fmla="*/ 3 w 22"/>
                    <a:gd name="T11" fmla="*/ 21 h 52"/>
                    <a:gd name="T12" fmla="*/ 9 w 22"/>
                    <a:gd name="T13" fmla="*/ 28 h 52"/>
                    <a:gd name="T14" fmla="*/ 7 w 22"/>
                    <a:gd name="T15" fmla="*/ 34 h 52"/>
                    <a:gd name="T16" fmla="*/ 9 w 22"/>
                    <a:gd name="T17" fmla="*/ 41 h 52"/>
                    <a:gd name="T18" fmla="*/ 16 w 22"/>
                    <a:gd name="T19" fmla="*/ 49 h 52"/>
                    <a:gd name="T20" fmla="*/ 16 w 22"/>
                    <a:gd name="T21" fmla="*/ 52 h 52"/>
                    <a:gd name="T22" fmla="*/ 22 w 22"/>
                    <a:gd name="T23" fmla="*/ 49 h 52"/>
                    <a:gd name="T24" fmla="*/ 22 w 22"/>
                    <a:gd name="T25" fmla="*/ 43 h 52"/>
                    <a:gd name="T26" fmla="*/ 18 w 22"/>
                    <a:gd name="T27" fmla="*/ 36 h 52"/>
                    <a:gd name="T28" fmla="*/ 11 w 22"/>
                    <a:gd name="T29" fmla="*/ 36 h 52"/>
                    <a:gd name="T30" fmla="*/ 11 w 22"/>
                    <a:gd name="T31" fmla="*/ 21 h 52"/>
                    <a:gd name="T32" fmla="*/ 5 w 22"/>
                    <a:gd name="T33" fmla="*/ 13 h 52"/>
                    <a:gd name="T34" fmla="*/ 13 w 22"/>
                    <a:gd name="T35" fmla="*/ 9 h 52"/>
                    <a:gd name="T36" fmla="*/ 20 w 22"/>
                    <a:gd name="T37" fmla="*/ 7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2" h="52">
                      <a:moveTo>
                        <a:pt x="20" y="7"/>
                      </a:move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7" y="5"/>
                      </a:lnTo>
                      <a:lnTo>
                        <a:pt x="0" y="13"/>
                      </a:lnTo>
                      <a:lnTo>
                        <a:pt x="3" y="21"/>
                      </a:lnTo>
                      <a:lnTo>
                        <a:pt x="9" y="28"/>
                      </a:lnTo>
                      <a:lnTo>
                        <a:pt x="7" y="34"/>
                      </a:lnTo>
                      <a:lnTo>
                        <a:pt x="9" y="41"/>
                      </a:lnTo>
                      <a:lnTo>
                        <a:pt x="16" y="49"/>
                      </a:lnTo>
                      <a:lnTo>
                        <a:pt x="16" y="52"/>
                      </a:lnTo>
                      <a:lnTo>
                        <a:pt x="22" y="49"/>
                      </a:lnTo>
                      <a:lnTo>
                        <a:pt x="22" y="43"/>
                      </a:lnTo>
                      <a:lnTo>
                        <a:pt x="18" y="36"/>
                      </a:lnTo>
                      <a:lnTo>
                        <a:pt x="11" y="36"/>
                      </a:lnTo>
                      <a:lnTo>
                        <a:pt x="11" y="21"/>
                      </a:lnTo>
                      <a:lnTo>
                        <a:pt x="5" y="13"/>
                      </a:lnTo>
                      <a:lnTo>
                        <a:pt x="13" y="9"/>
                      </a:lnTo>
                      <a:lnTo>
                        <a:pt x="20" y="7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59" name="Freeform 20"/>
                <p:cNvSpPr>
                  <a:spLocks/>
                </p:cNvSpPr>
                <p:nvPr/>
              </p:nvSpPr>
              <p:spPr bwMode="auto">
                <a:xfrm>
                  <a:off x="1223722" y="1378665"/>
                  <a:ext cx="543750" cy="357537"/>
                </a:xfrm>
                <a:custGeom>
                  <a:avLst/>
                  <a:gdLst>
                    <a:gd name="T0" fmla="*/ 75 w 566"/>
                    <a:gd name="T1" fmla="*/ 344 h 410"/>
                    <a:gd name="T2" fmla="*/ 98 w 566"/>
                    <a:gd name="T3" fmla="*/ 357 h 410"/>
                    <a:gd name="T4" fmla="*/ 133 w 566"/>
                    <a:gd name="T5" fmla="*/ 361 h 410"/>
                    <a:gd name="T6" fmla="*/ 165 w 566"/>
                    <a:gd name="T7" fmla="*/ 359 h 410"/>
                    <a:gd name="T8" fmla="*/ 188 w 566"/>
                    <a:gd name="T9" fmla="*/ 376 h 410"/>
                    <a:gd name="T10" fmla="*/ 237 w 566"/>
                    <a:gd name="T11" fmla="*/ 376 h 410"/>
                    <a:gd name="T12" fmla="*/ 270 w 566"/>
                    <a:gd name="T13" fmla="*/ 380 h 410"/>
                    <a:gd name="T14" fmla="*/ 317 w 566"/>
                    <a:gd name="T15" fmla="*/ 376 h 410"/>
                    <a:gd name="T16" fmla="*/ 355 w 566"/>
                    <a:gd name="T17" fmla="*/ 376 h 410"/>
                    <a:gd name="T18" fmla="*/ 511 w 566"/>
                    <a:gd name="T19" fmla="*/ 383 h 410"/>
                    <a:gd name="T20" fmla="*/ 564 w 566"/>
                    <a:gd name="T21" fmla="*/ 100 h 410"/>
                    <a:gd name="T22" fmla="*/ 263 w 566"/>
                    <a:gd name="T23" fmla="*/ 24 h 410"/>
                    <a:gd name="T24" fmla="*/ 165 w 566"/>
                    <a:gd name="T25" fmla="*/ 17 h 410"/>
                    <a:gd name="T26" fmla="*/ 176 w 566"/>
                    <a:gd name="T27" fmla="*/ 38 h 410"/>
                    <a:gd name="T28" fmla="*/ 173 w 566"/>
                    <a:gd name="T29" fmla="*/ 53 h 410"/>
                    <a:gd name="T30" fmla="*/ 158 w 566"/>
                    <a:gd name="T31" fmla="*/ 62 h 410"/>
                    <a:gd name="T32" fmla="*/ 171 w 566"/>
                    <a:gd name="T33" fmla="*/ 83 h 410"/>
                    <a:gd name="T34" fmla="*/ 175 w 566"/>
                    <a:gd name="T35" fmla="*/ 115 h 410"/>
                    <a:gd name="T36" fmla="*/ 154 w 566"/>
                    <a:gd name="T37" fmla="*/ 141 h 410"/>
                    <a:gd name="T38" fmla="*/ 146 w 566"/>
                    <a:gd name="T39" fmla="*/ 177 h 410"/>
                    <a:gd name="T40" fmla="*/ 116 w 566"/>
                    <a:gd name="T41" fmla="*/ 192 h 410"/>
                    <a:gd name="T42" fmla="*/ 99 w 566"/>
                    <a:gd name="T43" fmla="*/ 190 h 410"/>
                    <a:gd name="T44" fmla="*/ 107 w 566"/>
                    <a:gd name="T45" fmla="*/ 175 h 410"/>
                    <a:gd name="T46" fmla="*/ 116 w 566"/>
                    <a:gd name="T47" fmla="*/ 186 h 410"/>
                    <a:gd name="T48" fmla="*/ 131 w 566"/>
                    <a:gd name="T49" fmla="*/ 167 h 410"/>
                    <a:gd name="T50" fmla="*/ 141 w 566"/>
                    <a:gd name="T51" fmla="*/ 147 h 410"/>
                    <a:gd name="T52" fmla="*/ 141 w 566"/>
                    <a:gd name="T53" fmla="*/ 137 h 410"/>
                    <a:gd name="T54" fmla="*/ 154 w 566"/>
                    <a:gd name="T55" fmla="*/ 120 h 410"/>
                    <a:gd name="T56" fmla="*/ 114 w 566"/>
                    <a:gd name="T57" fmla="*/ 139 h 410"/>
                    <a:gd name="T58" fmla="*/ 116 w 566"/>
                    <a:gd name="T59" fmla="*/ 158 h 410"/>
                    <a:gd name="T60" fmla="*/ 114 w 566"/>
                    <a:gd name="T61" fmla="*/ 137 h 410"/>
                    <a:gd name="T62" fmla="*/ 131 w 566"/>
                    <a:gd name="T63" fmla="*/ 132 h 410"/>
                    <a:gd name="T64" fmla="*/ 141 w 566"/>
                    <a:gd name="T65" fmla="*/ 92 h 410"/>
                    <a:gd name="T66" fmla="*/ 129 w 566"/>
                    <a:gd name="T67" fmla="*/ 86 h 410"/>
                    <a:gd name="T68" fmla="*/ 113 w 566"/>
                    <a:gd name="T69" fmla="*/ 77 h 410"/>
                    <a:gd name="T70" fmla="*/ 77 w 566"/>
                    <a:gd name="T71" fmla="*/ 64 h 410"/>
                    <a:gd name="T72" fmla="*/ 41 w 566"/>
                    <a:gd name="T73" fmla="*/ 45 h 410"/>
                    <a:gd name="T74" fmla="*/ 17 w 566"/>
                    <a:gd name="T75" fmla="*/ 30 h 410"/>
                    <a:gd name="T76" fmla="*/ 7 w 566"/>
                    <a:gd name="T77" fmla="*/ 53 h 410"/>
                    <a:gd name="T78" fmla="*/ 13 w 566"/>
                    <a:gd name="T79" fmla="*/ 83 h 410"/>
                    <a:gd name="T80" fmla="*/ 17 w 566"/>
                    <a:gd name="T81" fmla="*/ 148 h 410"/>
                    <a:gd name="T82" fmla="*/ 17 w 566"/>
                    <a:gd name="T83" fmla="*/ 171 h 410"/>
                    <a:gd name="T84" fmla="*/ 24 w 566"/>
                    <a:gd name="T85" fmla="*/ 188 h 410"/>
                    <a:gd name="T86" fmla="*/ 13 w 566"/>
                    <a:gd name="T87" fmla="*/ 207 h 410"/>
                    <a:gd name="T88" fmla="*/ 28 w 566"/>
                    <a:gd name="T89" fmla="*/ 216 h 410"/>
                    <a:gd name="T90" fmla="*/ 13 w 566"/>
                    <a:gd name="T91" fmla="*/ 233 h 410"/>
                    <a:gd name="T92" fmla="*/ 5 w 566"/>
                    <a:gd name="T93" fmla="*/ 237 h 410"/>
                    <a:gd name="T94" fmla="*/ 5 w 566"/>
                    <a:gd name="T95" fmla="*/ 252 h 410"/>
                    <a:gd name="T96" fmla="*/ 35 w 566"/>
                    <a:gd name="T97" fmla="*/ 263 h 410"/>
                    <a:gd name="T98" fmla="*/ 45 w 566"/>
                    <a:gd name="T99" fmla="*/ 272 h 410"/>
                    <a:gd name="T100" fmla="*/ 67 w 566"/>
                    <a:gd name="T101" fmla="*/ 288 h 4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566" h="410">
                      <a:moveTo>
                        <a:pt x="67" y="288"/>
                      </a:moveTo>
                      <a:lnTo>
                        <a:pt x="75" y="295"/>
                      </a:lnTo>
                      <a:lnTo>
                        <a:pt x="79" y="308"/>
                      </a:lnTo>
                      <a:lnTo>
                        <a:pt x="75" y="344"/>
                      </a:lnTo>
                      <a:lnTo>
                        <a:pt x="77" y="348"/>
                      </a:lnTo>
                      <a:lnTo>
                        <a:pt x="88" y="351"/>
                      </a:lnTo>
                      <a:lnTo>
                        <a:pt x="96" y="357"/>
                      </a:lnTo>
                      <a:lnTo>
                        <a:pt x="98" y="357"/>
                      </a:lnTo>
                      <a:lnTo>
                        <a:pt x="105" y="363"/>
                      </a:lnTo>
                      <a:lnTo>
                        <a:pt x="113" y="363"/>
                      </a:lnTo>
                      <a:lnTo>
                        <a:pt x="126" y="361"/>
                      </a:lnTo>
                      <a:lnTo>
                        <a:pt x="133" y="361"/>
                      </a:lnTo>
                      <a:lnTo>
                        <a:pt x="141" y="355"/>
                      </a:lnTo>
                      <a:lnTo>
                        <a:pt x="146" y="355"/>
                      </a:lnTo>
                      <a:lnTo>
                        <a:pt x="154" y="359"/>
                      </a:lnTo>
                      <a:lnTo>
                        <a:pt x="165" y="359"/>
                      </a:lnTo>
                      <a:lnTo>
                        <a:pt x="173" y="363"/>
                      </a:lnTo>
                      <a:lnTo>
                        <a:pt x="178" y="365"/>
                      </a:lnTo>
                      <a:lnTo>
                        <a:pt x="186" y="370"/>
                      </a:lnTo>
                      <a:lnTo>
                        <a:pt x="188" y="376"/>
                      </a:lnTo>
                      <a:lnTo>
                        <a:pt x="201" y="376"/>
                      </a:lnTo>
                      <a:lnTo>
                        <a:pt x="208" y="378"/>
                      </a:lnTo>
                      <a:lnTo>
                        <a:pt x="229" y="374"/>
                      </a:lnTo>
                      <a:lnTo>
                        <a:pt x="237" y="376"/>
                      </a:lnTo>
                      <a:lnTo>
                        <a:pt x="244" y="382"/>
                      </a:lnTo>
                      <a:lnTo>
                        <a:pt x="250" y="383"/>
                      </a:lnTo>
                      <a:lnTo>
                        <a:pt x="257" y="383"/>
                      </a:lnTo>
                      <a:lnTo>
                        <a:pt x="270" y="380"/>
                      </a:lnTo>
                      <a:lnTo>
                        <a:pt x="284" y="378"/>
                      </a:lnTo>
                      <a:lnTo>
                        <a:pt x="306" y="378"/>
                      </a:lnTo>
                      <a:lnTo>
                        <a:pt x="314" y="374"/>
                      </a:lnTo>
                      <a:lnTo>
                        <a:pt x="317" y="376"/>
                      </a:lnTo>
                      <a:lnTo>
                        <a:pt x="334" y="378"/>
                      </a:lnTo>
                      <a:lnTo>
                        <a:pt x="342" y="380"/>
                      </a:lnTo>
                      <a:lnTo>
                        <a:pt x="349" y="382"/>
                      </a:lnTo>
                      <a:lnTo>
                        <a:pt x="355" y="376"/>
                      </a:lnTo>
                      <a:lnTo>
                        <a:pt x="423" y="393"/>
                      </a:lnTo>
                      <a:lnTo>
                        <a:pt x="511" y="410"/>
                      </a:lnTo>
                      <a:lnTo>
                        <a:pt x="509" y="404"/>
                      </a:lnTo>
                      <a:lnTo>
                        <a:pt x="511" y="383"/>
                      </a:lnTo>
                      <a:lnTo>
                        <a:pt x="507" y="368"/>
                      </a:lnTo>
                      <a:lnTo>
                        <a:pt x="511" y="363"/>
                      </a:lnTo>
                      <a:lnTo>
                        <a:pt x="513" y="340"/>
                      </a:lnTo>
                      <a:lnTo>
                        <a:pt x="564" y="100"/>
                      </a:lnTo>
                      <a:lnTo>
                        <a:pt x="566" y="96"/>
                      </a:lnTo>
                      <a:lnTo>
                        <a:pt x="498" y="81"/>
                      </a:lnTo>
                      <a:lnTo>
                        <a:pt x="372" y="53"/>
                      </a:lnTo>
                      <a:lnTo>
                        <a:pt x="263" y="24"/>
                      </a:lnTo>
                      <a:lnTo>
                        <a:pt x="167" y="0"/>
                      </a:lnTo>
                      <a:lnTo>
                        <a:pt x="161" y="4"/>
                      </a:lnTo>
                      <a:lnTo>
                        <a:pt x="163" y="11"/>
                      </a:lnTo>
                      <a:lnTo>
                        <a:pt x="165" y="17"/>
                      </a:lnTo>
                      <a:lnTo>
                        <a:pt x="165" y="19"/>
                      </a:lnTo>
                      <a:lnTo>
                        <a:pt x="171" y="26"/>
                      </a:lnTo>
                      <a:lnTo>
                        <a:pt x="178" y="30"/>
                      </a:lnTo>
                      <a:lnTo>
                        <a:pt x="176" y="38"/>
                      </a:lnTo>
                      <a:lnTo>
                        <a:pt x="176" y="43"/>
                      </a:lnTo>
                      <a:lnTo>
                        <a:pt x="176" y="51"/>
                      </a:lnTo>
                      <a:lnTo>
                        <a:pt x="169" y="47"/>
                      </a:lnTo>
                      <a:lnTo>
                        <a:pt x="173" y="53"/>
                      </a:lnTo>
                      <a:lnTo>
                        <a:pt x="171" y="60"/>
                      </a:lnTo>
                      <a:lnTo>
                        <a:pt x="163" y="56"/>
                      </a:lnTo>
                      <a:lnTo>
                        <a:pt x="158" y="56"/>
                      </a:lnTo>
                      <a:lnTo>
                        <a:pt x="158" y="62"/>
                      </a:lnTo>
                      <a:lnTo>
                        <a:pt x="165" y="62"/>
                      </a:lnTo>
                      <a:lnTo>
                        <a:pt x="167" y="69"/>
                      </a:lnTo>
                      <a:lnTo>
                        <a:pt x="173" y="77"/>
                      </a:lnTo>
                      <a:lnTo>
                        <a:pt x="171" y="83"/>
                      </a:lnTo>
                      <a:lnTo>
                        <a:pt x="173" y="86"/>
                      </a:lnTo>
                      <a:lnTo>
                        <a:pt x="171" y="100"/>
                      </a:lnTo>
                      <a:lnTo>
                        <a:pt x="175" y="107"/>
                      </a:lnTo>
                      <a:lnTo>
                        <a:pt x="175" y="115"/>
                      </a:lnTo>
                      <a:lnTo>
                        <a:pt x="167" y="120"/>
                      </a:lnTo>
                      <a:lnTo>
                        <a:pt x="160" y="130"/>
                      </a:lnTo>
                      <a:lnTo>
                        <a:pt x="161" y="137"/>
                      </a:lnTo>
                      <a:lnTo>
                        <a:pt x="154" y="141"/>
                      </a:lnTo>
                      <a:lnTo>
                        <a:pt x="158" y="148"/>
                      </a:lnTo>
                      <a:lnTo>
                        <a:pt x="152" y="154"/>
                      </a:lnTo>
                      <a:lnTo>
                        <a:pt x="154" y="169"/>
                      </a:lnTo>
                      <a:lnTo>
                        <a:pt x="146" y="177"/>
                      </a:lnTo>
                      <a:lnTo>
                        <a:pt x="133" y="180"/>
                      </a:lnTo>
                      <a:lnTo>
                        <a:pt x="129" y="186"/>
                      </a:lnTo>
                      <a:lnTo>
                        <a:pt x="124" y="192"/>
                      </a:lnTo>
                      <a:lnTo>
                        <a:pt x="116" y="192"/>
                      </a:lnTo>
                      <a:lnTo>
                        <a:pt x="113" y="184"/>
                      </a:lnTo>
                      <a:lnTo>
                        <a:pt x="105" y="188"/>
                      </a:lnTo>
                      <a:lnTo>
                        <a:pt x="105" y="195"/>
                      </a:lnTo>
                      <a:lnTo>
                        <a:pt x="99" y="190"/>
                      </a:lnTo>
                      <a:lnTo>
                        <a:pt x="101" y="184"/>
                      </a:lnTo>
                      <a:lnTo>
                        <a:pt x="94" y="182"/>
                      </a:lnTo>
                      <a:lnTo>
                        <a:pt x="101" y="180"/>
                      </a:lnTo>
                      <a:lnTo>
                        <a:pt x="107" y="175"/>
                      </a:lnTo>
                      <a:lnTo>
                        <a:pt x="120" y="165"/>
                      </a:lnTo>
                      <a:lnTo>
                        <a:pt x="118" y="173"/>
                      </a:lnTo>
                      <a:lnTo>
                        <a:pt x="116" y="179"/>
                      </a:lnTo>
                      <a:lnTo>
                        <a:pt x="116" y="186"/>
                      </a:lnTo>
                      <a:lnTo>
                        <a:pt x="118" y="182"/>
                      </a:lnTo>
                      <a:lnTo>
                        <a:pt x="120" y="175"/>
                      </a:lnTo>
                      <a:lnTo>
                        <a:pt x="126" y="169"/>
                      </a:lnTo>
                      <a:lnTo>
                        <a:pt x="131" y="167"/>
                      </a:lnTo>
                      <a:lnTo>
                        <a:pt x="126" y="175"/>
                      </a:lnTo>
                      <a:lnTo>
                        <a:pt x="133" y="179"/>
                      </a:lnTo>
                      <a:lnTo>
                        <a:pt x="145" y="154"/>
                      </a:lnTo>
                      <a:lnTo>
                        <a:pt x="141" y="147"/>
                      </a:lnTo>
                      <a:lnTo>
                        <a:pt x="133" y="148"/>
                      </a:lnTo>
                      <a:lnTo>
                        <a:pt x="133" y="141"/>
                      </a:lnTo>
                      <a:lnTo>
                        <a:pt x="141" y="143"/>
                      </a:lnTo>
                      <a:lnTo>
                        <a:pt x="141" y="137"/>
                      </a:lnTo>
                      <a:lnTo>
                        <a:pt x="141" y="130"/>
                      </a:lnTo>
                      <a:lnTo>
                        <a:pt x="146" y="132"/>
                      </a:lnTo>
                      <a:lnTo>
                        <a:pt x="152" y="128"/>
                      </a:lnTo>
                      <a:lnTo>
                        <a:pt x="154" y="120"/>
                      </a:lnTo>
                      <a:lnTo>
                        <a:pt x="150" y="113"/>
                      </a:lnTo>
                      <a:lnTo>
                        <a:pt x="133" y="128"/>
                      </a:lnTo>
                      <a:lnTo>
                        <a:pt x="128" y="135"/>
                      </a:lnTo>
                      <a:lnTo>
                        <a:pt x="114" y="139"/>
                      </a:lnTo>
                      <a:lnTo>
                        <a:pt x="99" y="152"/>
                      </a:lnTo>
                      <a:lnTo>
                        <a:pt x="101" y="160"/>
                      </a:lnTo>
                      <a:lnTo>
                        <a:pt x="109" y="158"/>
                      </a:lnTo>
                      <a:lnTo>
                        <a:pt x="116" y="158"/>
                      </a:lnTo>
                      <a:lnTo>
                        <a:pt x="101" y="162"/>
                      </a:lnTo>
                      <a:lnTo>
                        <a:pt x="96" y="156"/>
                      </a:lnTo>
                      <a:lnTo>
                        <a:pt x="99" y="148"/>
                      </a:lnTo>
                      <a:lnTo>
                        <a:pt x="114" y="137"/>
                      </a:lnTo>
                      <a:lnTo>
                        <a:pt x="120" y="133"/>
                      </a:lnTo>
                      <a:lnTo>
                        <a:pt x="133" y="118"/>
                      </a:lnTo>
                      <a:lnTo>
                        <a:pt x="131" y="124"/>
                      </a:lnTo>
                      <a:lnTo>
                        <a:pt x="131" y="132"/>
                      </a:lnTo>
                      <a:lnTo>
                        <a:pt x="133" y="124"/>
                      </a:lnTo>
                      <a:lnTo>
                        <a:pt x="141" y="118"/>
                      </a:lnTo>
                      <a:lnTo>
                        <a:pt x="145" y="109"/>
                      </a:lnTo>
                      <a:lnTo>
                        <a:pt x="141" y="92"/>
                      </a:lnTo>
                      <a:lnTo>
                        <a:pt x="143" y="85"/>
                      </a:lnTo>
                      <a:lnTo>
                        <a:pt x="135" y="90"/>
                      </a:lnTo>
                      <a:lnTo>
                        <a:pt x="133" y="98"/>
                      </a:lnTo>
                      <a:lnTo>
                        <a:pt x="129" y="86"/>
                      </a:lnTo>
                      <a:lnTo>
                        <a:pt x="122" y="88"/>
                      </a:lnTo>
                      <a:lnTo>
                        <a:pt x="122" y="83"/>
                      </a:lnTo>
                      <a:lnTo>
                        <a:pt x="120" y="75"/>
                      </a:lnTo>
                      <a:lnTo>
                        <a:pt x="113" y="77"/>
                      </a:lnTo>
                      <a:lnTo>
                        <a:pt x="105" y="77"/>
                      </a:lnTo>
                      <a:lnTo>
                        <a:pt x="98" y="73"/>
                      </a:lnTo>
                      <a:lnTo>
                        <a:pt x="84" y="69"/>
                      </a:lnTo>
                      <a:lnTo>
                        <a:pt x="77" y="64"/>
                      </a:lnTo>
                      <a:lnTo>
                        <a:pt x="64" y="60"/>
                      </a:lnTo>
                      <a:lnTo>
                        <a:pt x="52" y="54"/>
                      </a:lnTo>
                      <a:lnTo>
                        <a:pt x="49" y="49"/>
                      </a:lnTo>
                      <a:lnTo>
                        <a:pt x="41" y="45"/>
                      </a:lnTo>
                      <a:lnTo>
                        <a:pt x="34" y="38"/>
                      </a:lnTo>
                      <a:lnTo>
                        <a:pt x="22" y="26"/>
                      </a:lnTo>
                      <a:lnTo>
                        <a:pt x="15" y="22"/>
                      </a:lnTo>
                      <a:lnTo>
                        <a:pt x="17" y="30"/>
                      </a:lnTo>
                      <a:lnTo>
                        <a:pt x="15" y="32"/>
                      </a:lnTo>
                      <a:lnTo>
                        <a:pt x="13" y="39"/>
                      </a:lnTo>
                      <a:lnTo>
                        <a:pt x="7" y="47"/>
                      </a:lnTo>
                      <a:lnTo>
                        <a:pt x="7" y="53"/>
                      </a:lnTo>
                      <a:lnTo>
                        <a:pt x="5" y="60"/>
                      </a:lnTo>
                      <a:lnTo>
                        <a:pt x="5" y="68"/>
                      </a:lnTo>
                      <a:lnTo>
                        <a:pt x="7" y="73"/>
                      </a:lnTo>
                      <a:lnTo>
                        <a:pt x="13" y="83"/>
                      </a:lnTo>
                      <a:lnTo>
                        <a:pt x="17" y="96"/>
                      </a:lnTo>
                      <a:lnTo>
                        <a:pt x="17" y="103"/>
                      </a:lnTo>
                      <a:lnTo>
                        <a:pt x="13" y="132"/>
                      </a:lnTo>
                      <a:lnTo>
                        <a:pt x="17" y="148"/>
                      </a:lnTo>
                      <a:lnTo>
                        <a:pt x="15" y="169"/>
                      </a:lnTo>
                      <a:lnTo>
                        <a:pt x="11" y="177"/>
                      </a:lnTo>
                      <a:lnTo>
                        <a:pt x="15" y="179"/>
                      </a:lnTo>
                      <a:lnTo>
                        <a:pt x="17" y="171"/>
                      </a:lnTo>
                      <a:lnTo>
                        <a:pt x="22" y="177"/>
                      </a:lnTo>
                      <a:lnTo>
                        <a:pt x="30" y="184"/>
                      </a:lnTo>
                      <a:lnTo>
                        <a:pt x="35" y="186"/>
                      </a:lnTo>
                      <a:lnTo>
                        <a:pt x="24" y="188"/>
                      </a:lnTo>
                      <a:lnTo>
                        <a:pt x="15" y="192"/>
                      </a:lnTo>
                      <a:lnTo>
                        <a:pt x="13" y="186"/>
                      </a:lnTo>
                      <a:lnTo>
                        <a:pt x="11" y="199"/>
                      </a:lnTo>
                      <a:lnTo>
                        <a:pt x="13" y="207"/>
                      </a:lnTo>
                      <a:lnTo>
                        <a:pt x="13" y="207"/>
                      </a:lnTo>
                      <a:lnTo>
                        <a:pt x="28" y="210"/>
                      </a:lnTo>
                      <a:lnTo>
                        <a:pt x="30" y="216"/>
                      </a:lnTo>
                      <a:lnTo>
                        <a:pt x="28" y="216"/>
                      </a:lnTo>
                      <a:lnTo>
                        <a:pt x="20" y="212"/>
                      </a:lnTo>
                      <a:lnTo>
                        <a:pt x="17" y="220"/>
                      </a:lnTo>
                      <a:lnTo>
                        <a:pt x="19" y="226"/>
                      </a:lnTo>
                      <a:lnTo>
                        <a:pt x="13" y="233"/>
                      </a:lnTo>
                      <a:lnTo>
                        <a:pt x="17" y="241"/>
                      </a:lnTo>
                      <a:lnTo>
                        <a:pt x="17" y="242"/>
                      </a:lnTo>
                      <a:lnTo>
                        <a:pt x="13" y="237"/>
                      </a:lnTo>
                      <a:lnTo>
                        <a:pt x="5" y="237"/>
                      </a:lnTo>
                      <a:lnTo>
                        <a:pt x="9" y="224"/>
                      </a:lnTo>
                      <a:lnTo>
                        <a:pt x="7" y="216"/>
                      </a:lnTo>
                      <a:lnTo>
                        <a:pt x="0" y="252"/>
                      </a:lnTo>
                      <a:lnTo>
                        <a:pt x="5" y="252"/>
                      </a:lnTo>
                      <a:lnTo>
                        <a:pt x="11" y="259"/>
                      </a:lnTo>
                      <a:lnTo>
                        <a:pt x="26" y="256"/>
                      </a:lnTo>
                      <a:lnTo>
                        <a:pt x="30" y="261"/>
                      </a:lnTo>
                      <a:lnTo>
                        <a:pt x="35" y="263"/>
                      </a:lnTo>
                      <a:lnTo>
                        <a:pt x="37" y="265"/>
                      </a:lnTo>
                      <a:lnTo>
                        <a:pt x="41" y="267"/>
                      </a:lnTo>
                      <a:lnTo>
                        <a:pt x="43" y="267"/>
                      </a:lnTo>
                      <a:lnTo>
                        <a:pt x="45" y="272"/>
                      </a:lnTo>
                      <a:lnTo>
                        <a:pt x="52" y="280"/>
                      </a:lnTo>
                      <a:lnTo>
                        <a:pt x="58" y="280"/>
                      </a:lnTo>
                      <a:lnTo>
                        <a:pt x="64" y="282"/>
                      </a:lnTo>
                      <a:lnTo>
                        <a:pt x="67" y="288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  <p:sp>
            <p:nvSpPr>
              <p:cNvPr id="260" name="Freeform 21"/>
              <p:cNvSpPr>
                <a:spLocks/>
              </p:cNvSpPr>
              <p:nvPr/>
            </p:nvSpPr>
            <p:spPr bwMode="auto">
              <a:xfrm>
                <a:off x="1322672" y="2057113"/>
                <a:ext cx="518773" cy="729898"/>
              </a:xfrm>
              <a:custGeom>
                <a:avLst/>
                <a:gdLst>
                  <a:gd name="T0" fmla="*/ 434 w 540"/>
                  <a:gd name="T1" fmla="*/ 79 h 837"/>
                  <a:gd name="T2" fmla="*/ 308 w 540"/>
                  <a:gd name="T3" fmla="*/ 53 h 837"/>
                  <a:gd name="T4" fmla="*/ 213 w 540"/>
                  <a:gd name="T5" fmla="*/ 32 h 837"/>
                  <a:gd name="T6" fmla="*/ 77 w 540"/>
                  <a:gd name="T7" fmla="*/ 0 h 837"/>
                  <a:gd name="T8" fmla="*/ 19 w 540"/>
                  <a:gd name="T9" fmla="*/ 243 h 837"/>
                  <a:gd name="T10" fmla="*/ 0 w 540"/>
                  <a:gd name="T11" fmla="*/ 314 h 837"/>
                  <a:gd name="T12" fmla="*/ 250 w 540"/>
                  <a:gd name="T13" fmla="*/ 681 h 837"/>
                  <a:gd name="T14" fmla="*/ 357 w 540"/>
                  <a:gd name="T15" fmla="*/ 837 h 837"/>
                  <a:gd name="T16" fmla="*/ 359 w 540"/>
                  <a:gd name="T17" fmla="*/ 822 h 837"/>
                  <a:gd name="T18" fmla="*/ 365 w 540"/>
                  <a:gd name="T19" fmla="*/ 814 h 837"/>
                  <a:gd name="T20" fmla="*/ 367 w 540"/>
                  <a:gd name="T21" fmla="*/ 799 h 837"/>
                  <a:gd name="T22" fmla="*/ 365 w 540"/>
                  <a:gd name="T23" fmla="*/ 786 h 837"/>
                  <a:gd name="T24" fmla="*/ 365 w 540"/>
                  <a:gd name="T25" fmla="*/ 778 h 837"/>
                  <a:gd name="T26" fmla="*/ 367 w 540"/>
                  <a:gd name="T27" fmla="*/ 769 h 837"/>
                  <a:gd name="T28" fmla="*/ 367 w 540"/>
                  <a:gd name="T29" fmla="*/ 754 h 837"/>
                  <a:gd name="T30" fmla="*/ 367 w 540"/>
                  <a:gd name="T31" fmla="*/ 748 h 837"/>
                  <a:gd name="T32" fmla="*/ 370 w 540"/>
                  <a:gd name="T33" fmla="*/ 741 h 837"/>
                  <a:gd name="T34" fmla="*/ 367 w 540"/>
                  <a:gd name="T35" fmla="*/ 728 h 837"/>
                  <a:gd name="T36" fmla="*/ 370 w 540"/>
                  <a:gd name="T37" fmla="*/ 718 h 837"/>
                  <a:gd name="T38" fmla="*/ 378 w 540"/>
                  <a:gd name="T39" fmla="*/ 715 h 837"/>
                  <a:gd name="T40" fmla="*/ 386 w 540"/>
                  <a:gd name="T41" fmla="*/ 713 h 837"/>
                  <a:gd name="T42" fmla="*/ 391 w 540"/>
                  <a:gd name="T43" fmla="*/ 716 h 837"/>
                  <a:gd name="T44" fmla="*/ 399 w 540"/>
                  <a:gd name="T45" fmla="*/ 716 h 837"/>
                  <a:gd name="T46" fmla="*/ 406 w 540"/>
                  <a:gd name="T47" fmla="*/ 724 h 837"/>
                  <a:gd name="T48" fmla="*/ 408 w 540"/>
                  <a:gd name="T49" fmla="*/ 731 h 837"/>
                  <a:gd name="T50" fmla="*/ 416 w 540"/>
                  <a:gd name="T51" fmla="*/ 733 h 837"/>
                  <a:gd name="T52" fmla="*/ 423 w 540"/>
                  <a:gd name="T53" fmla="*/ 724 h 837"/>
                  <a:gd name="T54" fmla="*/ 431 w 540"/>
                  <a:gd name="T55" fmla="*/ 715 h 837"/>
                  <a:gd name="T56" fmla="*/ 446 w 540"/>
                  <a:gd name="T57" fmla="*/ 630 h 837"/>
                  <a:gd name="T58" fmla="*/ 540 w 540"/>
                  <a:gd name="T59" fmla="*/ 98 h 837"/>
                  <a:gd name="T60" fmla="*/ 434 w 540"/>
                  <a:gd name="T61" fmla="*/ 79 h 8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40" h="837">
                    <a:moveTo>
                      <a:pt x="434" y="79"/>
                    </a:moveTo>
                    <a:lnTo>
                      <a:pt x="308" y="53"/>
                    </a:lnTo>
                    <a:lnTo>
                      <a:pt x="213" y="32"/>
                    </a:lnTo>
                    <a:lnTo>
                      <a:pt x="77" y="0"/>
                    </a:lnTo>
                    <a:lnTo>
                      <a:pt x="19" y="243"/>
                    </a:lnTo>
                    <a:lnTo>
                      <a:pt x="0" y="314"/>
                    </a:lnTo>
                    <a:lnTo>
                      <a:pt x="250" y="681"/>
                    </a:lnTo>
                    <a:lnTo>
                      <a:pt x="357" y="837"/>
                    </a:lnTo>
                    <a:lnTo>
                      <a:pt x="359" y="822"/>
                    </a:lnTo>
                    <a:lnTo>
                      <a:pt x="365" y="814"/>
                    </a:lnTo>
                    <a:lnTo>
                      <a:pt x="367" y="799"/>
                    </a:lnTo>
                    <a:lnTo>
                      <a:pt x="365" y="786"/>
                    </a:lnTo>
                    <a:lnTo>
                      <a:pt x="365" y="778"/>
                    </a:lnTo>
                    <a:lnTo>
                      <a:pt x="367" y="769"/>
                    </a:lnTo>
                    <a:lnTo>
                      <a:pt x="367" y="754"/>
                    </a:lnTo>
                    <a:lnTo>
                      <a:pt x="367" y="748"/>
                    </a:lnTo>
                    <a:lnTo>
                      <a:pt x="370" y="741"/>
                    </a:lnTo>
                    <a:lnTo>
                      <a:pt x="367" y="728"/>
                    </a:lnTo>
                    <a:lnTo>
                      <a:pt x="370" y="718"/>
                    </a:lnTo>
                    <a:lnTo>
                      <a:pt x="378" y="715"/>
                    </a:lnTo>
                    <a:lnTo>
                      <a:pt x="386" y="713"/>
                    </a:lnTo>
                    <a:lnTo>
                      <a:pt x="391" y="716"/>
                    </a:lnTo>
                    <a:lnTo>
                      <a:pt x="399" y="716"/>
                    </a:lnTo>
                    <a:lnTo>
                      <a:pt x="406" y="724"/>
                    </a:lnTo>
                    <a:lnTo>
                      <a:pt x="408" y="731"/>
                    </a:lnTo>
                    <a:lnTo>
                      <a:pt x="416" y="733"/>
                    </a:lnTo>
                    <a:lnTo>
                      <a:pt x="423" y="724"/>
                    </a:lnTo>
                    <a:lnTo>
                      <a:pt x="431" y="715"/>
                    </a:lnTo>
                    <a:lnTo>
                      <a:pt x="446" y="630"/>
                    </a:lnTo>
                    <a:lnTo>
                      <a:pt x="540" y="98"/>
                    </a:lnTo>
                    <a:lnTo>
                      <a:pt x="434" y="79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1" name="Freeform 22"/>
              <p:cNvSpPr>
                <a:spLocks/>
              </p:cNvSpPr>
              <p:nvPr/>
            </p:nvSpPr>
            <p:spPr bwMode="auto">
              <a:xfrm>
                <a:off x="1603194" y="2606498"/>
                <a:ext cx="550475" cy="586883"/>
              </a:xfrm>
              <a:custGeom>
                <a:avLst/>
                <a:gdLst>
                  <a:gd name="T0" fmla="*/ 456 w 573"/>
                  <a:gd name="T1" fmla="*/ 51 h 673"/>
                  <a:gd name="T2" fmla="*/ 231 w 573"/>
                  <a:gd name="T3" fmla="*/ 15 h 673"/>
                  <a:gd name="T4" fmla="*/ 139 w 573"/>
                  <a:gd name="T5" fmla="*/ 85 h 673"/>
                  <a:gd name="T6" fmla="*/ 124 w 573"/>
                  <a:gd name="T7" fmla="*/ 103 h 673"/>
                  <a:gd name="T8" fmla="*/ 114 w 573"/>
                  <a:gd name="T9" fmla="*/ 94 h 673"/>
                  <a:gd name="T10" fmla="*/ 99 w 573"/>
                  <a:gd name="T11" fmla="*/ 86 h 673"/>
                  <a:gd name="T12" fmla="*/ 86 w 573"/>
                  <a:gd name="T13" fmla="*/ 85 h 673"/>
                  <a:gd name="T14" fmla="*/ 75 w 573"/>
                  <a:gd name="T15" fmla="*/ 98 h 673"/>
                  <a:gd name="T16" fmla="*/ 75 w 573"/>
                  <a:gd name="T17" fmla="*/ 118 h 673"/>
                  <a:gd name="T18" fmla="*/ 75 w 573"/>
                  <a:gd name="T19" fmla="*/ 139 h 673"/>
                  <a:gd name="T20" fmla="*/ 73 w 573"/>
                  <a:gd name="T21" fmla="*/ 156 h 673"/>
                  <a:gd name="T22" fmla="*/ 73 w 573"/>
                  <a:gd name="T23" fmla="*/ 184 h 673"/>
                  <a:gd name="T24" fmla="*/ 65 w 573"/>
                  <a:gd name="T25" fmla="*/ 207 h 673"/>
                  <a:gd name="T26" fmla="*/ 63 w 573"/>
                  <a:gd name="T27" fmla="*/ 220 h 673"/>
                  <a:gd name="T28" fmla="*/ 75 w 573"/>
                  <a:gd name="T29" fmla="*/ 244 h 673"/>
                  <a:gd name="T30" fmla="*/ 78 w 573"/>
                  <a:gd name="T31" fmla="*/ 258 h 673"/>
                  <a:gd name="T32" fmla="*/ 90 w 573"/>
                  <a:gd name="T33" fmla="*/ 280 h 673"/>
                  <a:gd name="T34" fmla="*/ 88 w 573"/>
                  <a:gd name="T35" fmla="*/ 293 h 673"/>
                  <a:gd name="T36" fmla="*/ 62 w 573"/>
                  <a:gd name="T37" fmla="*/ 312 h 673"/>
                  <a:gd name="T38" fmla="*/ 52 w 573"/>
                  <a:gd name="T39" fmla="*/ 329 h 673"/>
                  <a:gd name="T40" fmla="*/ 48 w 573"/>
                  <a:gd name="T41" fmla="*/ 348 h 673"/>
                  <a:gd name="T42" fmla="*/ 33 w 573"/>
                  <a:gd name="T43" fmla="*/ 372 h 673"/>
                  <a:gd name="T44" fmla="*/ 22 w 573"/>
                  <a:gd name="T45" fmla="*/ 383 h 673"/>
                  <a:gd name="T46" fmla="*/ 24 w 573"/>
                  <a:gd name="T47" fmla="*/ 399 h 673"/>
                  <a:gd name="T48" fmla="*/ 22 w 573"/>
                  <a:gd name="T49" fmla="*/ 412 h 673"/>
                  <a:gd name="T50" fmla="*/ 37 w 573"/>
                  <a:gd name="T51" fmla="*/ 419 h 673"/>
                  <a:gd name="T52" fmla="*/ 37 w 573"/>
                  <a:gd name="T53" fmla="*/ 436 h 673"/>
                  <a:gd name="T54" fmla="*/ 28 w 573"/>
                  <a:gd name="T55" fmla="*/ 447 h 673"/>
                  <a:gd name="T56" fmla="*/ 18 w 573"/>
                  <a:gd name="T57" fmla="*/ 446 h 673"/>
                  <a:gd name="T58" fmla="*/ 13 w 573"/>
                  <a:gd name="T59" fmla="*/ 446 h 673"/>
                  <a:gd name="T60" fmla="*/ 0 w 573"/>
                  <a:gd name="T61" fmla="*/ 468 h 673"/>
                  <a:gd name="T62" fmla="*/ 199 w 573"/>
                  <a:gd name="T63" fmla="*/ 583 h 673"/>
                  <a:gd name="T64" fmla="*/ 451 w 573"/>
                  <a:gd name="T65" fmla="*/ 667 h 673"/>
                  <a:gd name="T66" fmla="*/ 498 w 573"/>
                  <a:gd name="T67" fmla="*/ 669 h 6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73" h="673">
                    <a:moveTo>
                      <a:pt x="573" y="66"/>
                    </a:moveTo>
                    <a:lnTo>
                      <a:pt x="456" y="51"/>
                    </a:lnTo>
                    <a:lnTo>
                      <a:pt x="345" y="34"/>
                    </a:lnTo>
                    <a:lnTo>
                      <a:pt x="231" y="15"/>
                    </a:lnTo>
                    <a:lnTo>
                      <a:pt x="154" y="0"/>
                    </a:lnTo>
                    <a:lnTo>
                      <a:pt x="139" y="85"/>
                    </a:lnTo>
                    <a:lnTo>
                      <a:pt x="131" y="94"/>
                    </a:lnTo>
                    <a:lnTo>
                      <a:pt x="124" y="103"/>
                    </a:lnTo>
                    <a:lnTo>
                      <a:pt x="116" y="101"/>
                    </a:lnTo>
                    <a:lnTo>
                      <a:pt x="114" y="94"/>
                    </a:lnTo>
                    <a:lnTo>
                      <a:pt x="107" y="86"/>
                    </a:lnTo>
                    <a:lnTo>
                      <a:pt x="99" y="86"/>
                    </a:lnTo>
                    <a:lnTo>
                      <a:pt x="94" y="83"/>
                    </a:lnTo>
                    <a:lnTo>
                      <a:pt x="86" y="85"/>
                    </a:lnTo>
                    <a:lnTo>
                      <a:pt x="78" y="88"/>
                    </a:lnTo>
                    <a:lnTo>
                      <a:pt x="75" y="98"/>
                    </a:lnTo>
                    <a:lnTo>
                      <a:pt x="78" y="111"/>
                    </a:lnTo>
                    <a:lnTo>
                      <a:pt x="75" y="118"/>
                    </a:lnTo>
                    <a:lnTo>
                      <a:pt x="75" y="124"/>
                    </a:lnTo>
                    <a:lnTo>
                      <a:pt x="75" y="139"/>
                    </a:lnTo>
                    <a:lnTo>
                      <a:pt x="73" y="148"/>
                    </a:lnTo>
                    <a:lnTo>
                      <a:pt x="73" y="156"/>
                    </a:lnTo>
                    <a:lnTo>
                      <a:pt x="75" y="169"/>
                    </a:lnTo>
                    <a:lnTo>
                      <a:pt x="73" y="184"/>
                    </a:lnTo>
                    <a:lnTo>
                      <a:pt x="67" y="192"/>
                    </a:lnTo>
                    <a:lnTo>
                      <a:pt x="65" y="207"/>
                    </a:lnTo>
                    <a:lnTo>
                      <a:pt x="63" y="212"/>
                    </a:lnTo>
                    <a:lnTo>
                      <a:pt x="63" y="220"/>
                    </a:lnTo>
                    <a:lnTo>
                      <a:pt x="71" y="235"/>
                    </a:lnTo>
                    <a:lnTo>
                      <a:pt x="75" y="244"/>
                    </a:lnTo>
                    <a:lnTo>
                      <a:pt x="75" y="250"/>
                    </a:lnTo>
                    <a:lnTo>
                      <a:pt x="78" y="258"/>
                    </a:lnTo>
                    <a:lnTo>
                      <a:pt x="77" y="265"/>
                    </a:lnTo>
                    <a:lnTo>
                      <a:pt x="90" y="280"/>
                    </a:lnTo>
                    <a:lnTo>
                      <a:pt x="95" y="286"/>
                    </a:lnTo>
                    <a:lnTo>
                      <a:pt x="88" y="293"/>
                    </a:lnTo>
                    <a:lnTo>
                      <a:pt x="65" y="306"/>
                    </a:lnTo>
                    <a:lnTo>
                      <a:pt x="62" y="312"/>
                    </a:lnTo>
                    <a:lnTo>
                      <a:pt x="56" y="316"/>
                    </a:lnTo>
                    <a:lnTo>
                      <a:pt x="52" y="329"/>
                    </a:lnTo>
                    <a:lnTo>
                      <a:pt x="52" y="342"/>
                    </a:lnTo>
                    <a:lnTo>
                      <a:pt x="48" y="348"/>
                    </a:lnTo>
                    <a:lnTo>
                      <a:pt x="45" y="357"/>
                    </a:lnTo>
                    <a:lnTo>
                      <a:pt x="33" y="372"/>
                    </a:lnTo>
                    <a:lnTo>
                      <a:pt x="26" y="378"/>
                    </a:lnTo>
                    <a:lnTo>
                      <a:pt x="22" y="383"/>
                    </a:lnTo>
                    <a:lnTo>
                      <a:pt x="26" y="391"/>
                    </a:lnTo>
                    <a:lnTo>
                      <a:pt x="24" y="399"/>
                    </a:lnTo>
                    <a:lnTo>
                      <a:pt x="22" y="406"/>
                    </a:lnTo>
                    <a:lnTo>
                      <a:pt x="22" y="412"/>
                    </a:lnTo>
                    <a:lnTo>
                      <a:pt x="30" y="415"/>
                    </a:lnTo>
                    <a:lnTo>
                      <a:pt x="37" y="419"/>
                    </a:lnTo>
                    <a:lnTo>
                      <a:pt x="37" y="425"/>
                    </a:lnTo>
                    <a:lnTo>
                      <a:pt x="37" y="436"/>
                    </a:lnTo>
                    <a:lnTo>
                      <a:pt x="30" y="442"/>
                    </a:lnTo>
                    <a:lnTo>
                      <a:pt x="28" y="447"/>
                    </a:lnTo>
                    <a:lnTo>
                      <a:pt x="22" y="447"/>
                    </a:lnTo>
                    <a:lnTo>
                      <a:pt x="18" y="446"/>
                    </a:lnTo>
                    <a:lnTo>
                      <a:pt x="15" y="446"/>
                    </a:lnTo>
                    <a:lnTo>
                      <a:pt x="13" y="446"/>
                    </a:lnTo>
                    <a:lnTo>
                      <a:pt x="1" y="461"/>
                    </a:lnTo>
                    <a:lnTo>
                      <a:pt x="0" y="468"/>
                    </a:lnTo>
                    <a:lnTo>
                      <a:pt x="20" y="479"/>
                    </a:lnTo>
                    <a:lnTo>
                      <a:pt x="199" y="583"/>
                    </a:lnTo>
                    <a:lnTo>
                      <a:pt x="315" y="649"/>
                    </a:lnTo>
                    <a:lnTo>
                      <a:pt x="451" y="667"/>
                    </a:lnTo>
                    <a:lnTo>
                      <a:pt x="496" y="673"/>
                    </a:lnTo>
                    <a:lnTo>
                      <a:pt x="498" y="669"/>
                    </a:lnTo>
                    <a:lnTo>
                      <a:pt x="573" y="66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2" name="Freeform 23"/>
              <p:cNvSpPr>
                <a:spLocks/>
              </p:cNvSpPr>
              <p:nvPr/>
            </p:nvSpPr>
            <p:spPr bwMode="auto">
              <a:xfrm>
                <a:off x="1618565" y="1462381"/>
                <a:ext cx="486109" cy="713329"/>
              </a:xfrm>
              <a:custGeom>
                <a:avLst/>
                <a:gdLst>
                  <a:gd name="T0" fmla="*/ 100 w 506"/>
                  <a:gd name="T1" fmla="*/ 267 h 818"/>
                  <a:gd name="T2" fmla="*/ 100 w 506"/>
                  <a:gd name="T3" fmla="*/ 287 h 818"/>
                  <a:gd name="T4" fmla="*/ 100 w 506"/>
                  <a:gd name="T5" fmla="*/ 314 h 818"/>
                  <a:gd name="T6" fmla="*/ 104 w 506"/>
                  <a:gd name="T7" fmla="*/ 331 h 818"/>
                  <a:gd name="T8" fmla="*/ 121 w 506"/>
                  <a:gd name="T9" fmla="*/ 348 h 818"/>
                  <a:gd name="T10" fmla="*/ 119 w 506"/>
                  <a:gd name="T11" fmla="*/ 368 h 818"/>
                  <a:gd name="T12" fmla="*/ 93 w 506"/>
                  <a:gd name="T13" fmla="*/ 408 h 818"/>
                  <a:gd name="T14" fmla="*/ 79 w 506"/>
                  <a:gd name="T15" fmla="*/ 427 h 818"/>
                  <a:gd name="T16" fmla="*/ 70 w 506"/>
                  <a:gd name="T17" fmla="*/ 440 h 818"/>
                  <a:gd name="T18" fmla="*/ 49 w 506"/>
                  <a:gd name="T19" fmla="*/ 460 h 818"/>
                  <a:gd name="T20" fmla="*/ 38 w 506"/>
                  <a:gd name="T21" fmla="*/ 489 h 818"/>
                  <a:gd name="T22" fmla="*/ 47 w 506"/>
                  <a:gd name="T23" fmla="*/ 494 h 818"/>
                  <a:gd name="T24" fmla="*/ 59 w 506"/>
                  <a:gd name="T25" fmla="*/ 505 h 818"/>
                  <a:gd name="T26" fmla="*/ 53 w 506"/>
                  <a:gd name="T27" fmla="*/ 522 h 818"/>
                  <a:gd name="T28" fmla="*/ 44 w 506"/>
                  <a:gd name="T29" fmla="*/ 539 h 818"/>
                  <a:gd name="T30" fmla="*/ 0 w 506"/>
                  <a:gd name="T31" fmla="*/ 735 h 818"/>
                  <a:gd name="T32" fmla="*/ 232 w 506"/>
                  <a:gd name="T33" fmla="*/ 780 h 818"/>
                  <a:gd name="T34" fmla="*/ 375 w 506"/>
                  <a:gd name="T35" fmla="*/ 804 h 818"/>
                  <a:gd name="T36" fmla="*/ 506 w 506"/>
                  <a:gd name="T37" fmla="*/ 551 h 818"/>
                  <a:gd name="T38" fmla="*/ 495 w 506"/>
                  <a:gd name="T39" fmla="*/ 537 h 818"/>
                  <a:gd name="T40" fmla="*/ 484 w 506"/>
                  <a:gd name="T41" fmla="*/ 522 h 818"/>
                  <a:gd name="T42" fmla="*/ 472 w 506"/>
                  <a:gd name="T43" fmla="*/ 541 h 818"/>
                  <a:gd name="T44" fmla="*/ 453 w 506"/>
                  <a:gd name="T45" fmla="*/ 539 h 818"/>
                  <a:gd name="T46" fmla="*/ 433 w 506"/>
                  <a:gd name="T47" fmla="*/ 536 h 818"/>
                  <a:gd name="T48" fmla="*/ 414 w 506"/>
                  <a:gd name="T49" fmla="*/ 532 h 818"/>
                  <a:gd name="T50" fmla="*/ 401 w 506"/>
                  <a:gd name="T51" fmla="*/ 537 h 818"/>
                  <a:gd name="T52" fmla="*/ 380 w 506"/>
                  <a:gd name="T53" fmla="*/ 532 h 818"/>
                  <a:gd name="T54" fmla="*/ 371 w 506"/>
                  <a:gd name="T55" fmla="*/ 543 h 818"/>
                  <a:gd name="T56" fmla="*/ 361 w 506"/>
                  <a:gd name="T57" fmla="*/ 537 h 818"/>
                  <a:gd name="T58" fmla="*/ 359 w 506"/>
                  <a:gd name="T59" fmla="*/ 522 h 818"/>
                  <a:gd name="T60" fmla="*/ 358 w 506"/>
                  <a:gd name="T61" fmla="*/ 509 h 818"/>
                  <a:gd name="T62" fmla="*/ 346 w 506"/>
                  <a:gd name="T63" fmla="*/ 490 h 818"/>
                  <a:gd name="T64" fmla="*/ 333 w 506"/>
                  <a:gd name="T65" fmla="*/ 487 h 818"/>
                  <a:gd name="T66" fmla="*/ 335 w 506"/>
                  <a:gd name="T67" fmla="*/ 470 h 818"/>
                  <a:gd name="T68" fmla="*/ 333 w 506"/>
                  <a:gd name="T69" fmla="*/ 455 h 818"/>
                  <a:gd name="T70" fmla="*/ 322 w 506"/>
                  <a:gd name="T71" fmla="*/ 436 h 818"/>
                  <a:gd name="T72" fmla="*/ 320 w 506"/>
                  <a:gd name="T73" fmla="*/ 402 h 818"/>
                  <a:gd name="T74" fmla="*/ 311 w 506"/>
                  <a:gd name="T75" fmla="*/ 391 h 818"/>
                  <a:gd name="T76" fmla="*/ 277 w 506"/>
                  <a:gd name="T77" fmla="*/ 406 h 818"/>
                  <a:gd name="T78" fmla="*/ 262 w 506"/>
                  <a:gd name="T79" fmla="*/ 395 h 818"/>
                  <a:gd name="T80" fmla="*/ 269 w 506"/>
                  <a:gd name="T81" fmla="*/ 381 h 818"/>
                  <a:gd name="T82" fmla="*/ 271 w 506"/>
                  <a:gd name="T83" fmla="*/ 366 h 818"/>
                  <a:gd name="T84" fmla="*/ 281 w 506"/>
                  <a:gd name="T85" fmla="*/ 351 h 818"/>
                  <a:gd name="T86" fmla="*/ 281 w 506"/>
                  <a:gd name="T87" fmla="*/ 338 h 818"/>
                  <a:gd name="T88" fmla="*/ 284 w 506"/>
                  <a:gd name="T89" fmla="*/ 325 h 818"/>
                  <a:gd name="T90" fmla="*/ 292 w 506"/>
                  <a:gd name="T91" fmla="*/ 302 h 818"/>
                  <a:gd name="T92" fmla="*/ 294 w 506"/>
                  <a:gd name="T93" fmla="*/ 280 h 818"/>
                  <a:gd name="T94" fmla="*/ 277 w 506"/>
                  <a:gd name="T95" fmla="*/ 276 h 818"/>
                  <a:gd name="T96" fmla="*/ 273 w 506"/>
                  <a:gd name="T97" fmla="*/ 270 h 818"/>
                  <a:gd name="T98" fmla="*/ 262 w 506"/>
                  <a:gd name="T99" fmla="*/ 257 h 818"/>
                  <a:gd name="T100" fmla="*/ 262 w 506"/>
                  <a:gd name="T101" fmla="*/ 246 h 818"/>
                  <a:gd name="T102" fmla="*/ 249 w 506"/>
                  <a:gd name="T103" fmla="*/ 225 h 818"/>
                  <a:gd name="T104" fmla="*/ 241 w 506"/>
                  <a:gd name="T105" fmla="*/ 212 h 818"/>
                  <a:gd name="T106" fmla="*/ 228 w 506"/>
                  <a:gd name="T107" fmla="*/ 199 h 818"/>
                  <a:gd name="T108" fmla="*/ 215 w 506"/>
                  <a:gd name="T109" fmla="*/ 180 h 818"/>
                  <a:gd name="T110" fmla="*/ 218 w 506"/>
                  <a:gd name="T111" fmla="*/ 171 h 818"/>
                  <a:gd name="T112" fmla="*/ 220 w 506"/>
                  <a:gd name="T113" fmla="*/ 158 h 818"/>
                  <a:gd name="T114" fmla="*/ 215 w 506"/>
                  <a:gd name="T115" fmla="*/ 139 h 818"/>
                  <a:gd name="T116" fmla="*/ 222 w 506"/>
                  <a:gd name="T117" fmla="*/ 17 h 818"/>
                  <a:gd name="T118" fmla="*/ 207 w 506"/>
                  <a:gd name="T119" fmla="*/ 11 h 818"/>
                  <a:gd name="T120" fmla="*/ 153 w 506"/>
                  <a:gd name="T121" fmla="*/ 4 h 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06" h="818">
                    <a:moveTo>
                      <a:pt x="102" y="244"/>
                    </a:moveTo>
                    <a:lnTo>
                      <a:pt x="100" y="267"/>
                    </a:lnTo>
                    <a:lnTo>
                      <a:pt x="96" y="272"/>
                    </a:lnTo>
                    <a:lnTo>
                      <a:pt x="100" y="287"/>
                    </a:lnTo>
                    <a:lnTo>
                      <a:pt x="98" y="308"/>
                    </a:lnTo>
                    <a:lnTo>
                      <a:pt x="100" y="314"/>
                    </a:lnTo>
                    <a:lnTo>
                      <a:pt x="100" y="323"/>
                    </a:lnTo>
                    <a:lnTo>
                      <a:pt x="104" y="331"/>
                    </a:lnTo>
                    <a:lnTo>
                      <a:pt x="106" y="334"/>
                    </a:lnTo>
                    <a:lnTo>
                      <a:pt x="121" y="348"/>
                    </a:lnTo>
                    <a:lnTo>
                      <a:pt x="123" y="361"/>
                    </a:lnTo>
                    <a:lnTo>
                      <a:pt x="119" y="368"/>
                    </a:lnTo>
                    <a:lnTo>
                      <a:pt x="102" y="385"/>
                    </a:lnTo>
                    <a:lnTo>
                      <a:pt x="93" y="408"/>
                    </a:lnTo>
                    <a:lnTo>
                      <a:pt x="79" y="421"/>
                    </a:lnTo>
                    <a:lnTo>
                      <a:pt x="79" y="427"/>
                    </a:lnTo>
                    <a:lnTo>
                      <a:pt x="76" y="434"/>
                    </a:lnTo>
                    <a:lnTo>
                      <a:pt x="70" y="440"/>
                    </a:lnTo>
                    <a:lnTo>
                      <a:pt x="59" y="447"/>
                    </a:lnTo>
                    <a:lnTo>
                      <a:pt x="49" y="460"/>
                    </a:lnTo>
                    <a:lnTo>
                      <a:pt x="44" y="468"/>
                    </a:lnTo>
                    <a:lnTo>
                      <a:pt x="38" y="489"/>
                    </a:lnTo>
                    <a:lnTo>
                      <a:pt x="42" y="492"/>
                    </a:lnTo>
                    <a:lnTo>
                      <a:pt x="47" y="494"/>
                    </a:lnTo>
                    <a:lnTo>
                      <a:pt x="55" y="500"/>
                    </a:lnTo>
                    <a:lnTo>
                      <a:pt x="59" y="505"/>
                    </a:lnTo>
                    <a:lnTo>
                      <a:pt x="53" y="513"/>
                    </a:lnTo>
                    <a:lnTo>
                      <a:pt x="53" y="522"/>
                    </a:lnTo>
                    <a:lnTo>
                      <a:pt x="46" y="536"/>
                    </a:lnTo>
                    <a:lnTo>
                      <a:pt x="44" y="539"/>
                    </a:lnTo>
                    <a:lnTo>
                      <a:pt x="40" y="543"/>
                    </a:lnTo>
                    <a:lnTo>
                      <a:pt x="0" y="735"/>
                    </a:lnTo>
                    <a:lnTo>
                      <a:pt x="126" y="761"/>
                    </a:lnTo>
                    <a:lnTo>
                      <a:pt x="232" y="780"/>
                    </a:lnTo>
                    <a:lnTo>
                      <a:pt x="264" y="786"/>
                    </a:lnTo>
                    <a:lnTo>
                      <a:pt x="375" y="804"/>
                    </a:lnTo>
                    <a:lnTo>
                      <a:pt x="467" y="818"/>
                    </a:lnTo>
                    <a:lnTo>
                      <a:pt x="506" y="551"/>
                    </a:lnTo>
                    <a:lnTo>
                      <a:pt x="499" y="545"/>
                    </a:lnTo>
                    <a:lnTo>
                      <a:pt x="495" y="537"/>
                    </a:lnTo>
                    <a:lnTo>
                      <a:pt x="491" y="524"/>
                    </a:lnTo>
                    <a:lnTo>
                      <a:pt x="484" y="522"/>
                    </a:lnTo>
                    <a:lnTo>
                      <a:pt x="472" y="536"/>
                    </a:lnTo>
                    <a:lnTo>
                      <a:pt x="472" y="541"/>
                    </a:lnTo>
                    <a:lnTo>
                      <a:pt x="459" y="537"/>
                    </a:lnTo>
                    <a:lnTo>
                      <a:pt x="453" y="539"/>
                    </a:lnTo>
                    <a:lnTo>
                      <a:pt x="446" y="536"/>
                    </a:lnTo>
                    <a:lnTo>
                      <a:pt x="433" y="536"/>
                    </a:lnTo>
                    <a:lnTo>
                      <a:pt x="418" y="530"/>
                    </a:lnTo>
                    <a:lnTo>
                      <a:pt x="414" y="532"/>
                    </a:lnTo>
                    <a:lnTo>
                      <a:pt x="406" y="537"/>
                    </a:lnTo>
                    <a:lnTo>
                      <a:pt x="401" y="537"/>
                    </a:lnTo>
                    <a:lnTo>
                      <a:pt x="393" y="534"/>
                    </a:lnTo>
                    <a:lnTo>
                      <a:pt x="380" y="532"/>
                    </a:lnTo>
                    <a:lnTo>
                      <a:pt x="373" y="536"/>
                    </a:lnTo>
                    <a:lnTo>
                      <a:pt x="371" y="543"/>
                    </a:lnTo>
                    <a:lnTo>
                      <a:pt x="369" y="543"/>
                    </a:lnTo>
                    <a:lnTo>
                      <a:pt x="361" y="537"/>
                    </a:lnTo>
                    <a:lnTo>
                      <a:pt x="358" y="530"/>
                    </a:lnTo>
                    <a:lnTo>
                      <a:pt x="359" y="522"/>
                    </a:lnTo>
                    <a:lnTo>
                      <a:pt x="356" y="517"/>
                    </a:lnTo>
                    <a:lnTo>
                      <a:pt x="358" y="509"/>
                    </a:lnTo>
                    <a:lnTo>
                      <a:pt x="354" y="498"/>
                    </a:lnTo>
                    <a:lnTo>
                      <a:pt x="346" y="490"/>
                    </a:lnTo>
                    <a:lnTo>
                      <a:pt x="339" y="492"/>
                    </a:lnTo>
                    <a:lnTo>
                      <a:pt x="333" y="487"/>
                    </a:lnTo>
                    <a:lnTo>
                      <a:pt x="331" y="479"/>
                    </a:lnTo>
                    <a:lnTo>
                      <a:pt x="335" y="470"/>
                    </a:lnTo>
                    <a:lnTo>
                      <a:pt x="335" y="462"/>
                    </a:lnTo>
                    <a:lnTo>
                      <a:pt x="333" y="455"/>
                    </a:lnTo>
                    <a:lnTo>
                      <a:pt x="328" y="449"/>
                    </a:lnTo>
                    <a:lnTo>
                      <a:pt x="322" y="436"/>
                    </a:lnTo>
                    <a:lnTo>
                      <a:pt x="320" y="417"/>
                    </a:lnTo>
                    <a:lnTo>
                      <a:pt x="320" y="402"/>
                    </a:lnTo>
                    <a:lnTo>
                      <a:pt x="312" y="396"/>
                    </a:lnTo>
                    <a:lnTo>
                      <a:pt x="311" y="391"/>
                    </a:lnTo>
                    <a:lnTo>
                      <a:pt x="284" y="406"/>
                    </a:lnTo>
                    <a:lnTo>
                      <a:pt x="277" y="406"/>
                    </a:lnTo>
                    <a:lnTo>
                      <a:pt x="271" y="396"/>
                    </a:lnTo>
                    <a:lnTo>
                      <a:pt x="262" y="395"/>
                    </a:lnTo>
                    <a:lnTo>
                      <a:pt x="264" y="387"/>
                    </a:lnTo>
                    <a:lnTo>
                      <a:pt x="269" y="381"/>
                    </a:lnTo>
                    <a:lnTo>
                      <a:pt x="267" y="374"/>
                    </a:lnTo>
                    <a:lnTo>
                      <a:pt x="271" y="366"/>
                    </a:lnTo>
                    <a:lnTo>
                      <a:pt x="279" y="366"/>
                    </a:lnTo>
                    <a:lnTo>
                      <a:pt x="281" y="351"/>
                    </a:lnTo>
                    <a:lnTo>
                      <a:pt x="277" y="346"/>
                    </a:lnTo>
                    <a:lnTo>
                      <a:pt x="281" y="338"/>
                    </a:lnTo>
                    <a:lnTo>
                      <a:pt x="279" y="331"/>
                    </a:lnTo>
                    <a:lnTo>
                      <a:pt x="284" y="325"/>
                    </a:lnTo>
                    <a:lnTo>
                      <a:pt x="286" y="317"/>
                    </a:lnTo>
                    <a:lnTo>
                      <a:pt x="292" y="302"/>
                    </a:lnTo>
                    <a:lnTo>
                      <a:pt x="299" y="282"/>
                    </a:lnTo>
                    <a:lnTo>
                      <a:pt x="294" y="280"/>
                    </a:lnTo>
                    <a:lnTo>
                      <a:pt x="284" y="280"/>
                    </a:lnTo>
                    <a:lnTo>
                      <a:pt x="277" y="276"/>
                    </a:lnTo>
                    <a:lnTo>
                      <a:pt x="279" y="270"/>
                    </a:lnTo>
                    <a:lnTo>
                      <a:pt x="273" y="270"/>
                    </a:lnTo>
                    <a:lnTo>
                      <a:pt x="269" y="263"/>
                    </a:lnTo>
                    <a:lnTo>
                      <a:pt x="262" y="257"/>
                    </a:lnTo>
                    <a:lnTo>
                      <a:pt x="262" y="250"/>
                    </a:lnTo>
                    <a:lnTo>
                      <a:pt x="262" y="246"/>
                    </a:lnTo>
                    <a:lnTo>
                      <a:pt x="256" y="240"/>
                    </a:lnTo>
                    <a:lnTo>
                      <a:pt x="249" y="225"/>
                    </a:lnTo>
                    <a:lnTo>
                      <a:pt x="245" y="218"/>
                    </a:lnTo>
                    <a:lnTo>
                      <a:pt x="241" y="212"/>
                    </a:lnTo>
                    <a:lnTo>
                      <a:pt x="239" y="205"/>
                    </a:lnTo>
                    <a:lnTo>
                      <a:pt x="228" y="199"/>
                    </a:lnTo>
                    <a:lnTo>
                      <a:pt x="226" y="193"/>
                    </a:lnTo>
                    <a:lnTo>
                      <a:pt x="215" y="180"/>
                    </a:lnTo>
                    <a:lnTo>
                      <a:pt x="222" y="178"/>
                    </a:lnTo>
                    <a:lnTo>
                      <a:pt x="218" y="171"/>
                    </a:lnTo>
                    <a:lnTo>
                      <a:pt x="220" y="163"/>
                    </a:lnTo>
                    <a:lnTo>
                      <a:pt x="220" y="158"/>
                    </a:lnTo>
                    <a:lnTo>
                      <a:pt x="215" y="143"/>
                    </a:lnTo>
                    <a:lnTo>
                      <a:pt x="215" y="139"/>
                    </a:lnTo>
                    <a:lnTo>
                      <a:pt x="203" y="118"/>
                    </a:lnTo>
                    <a:lnTo>
                      <a:pt x="222" y="17"/>
                    </a:lnTo>
                    <a:lnTo>
                      <a:pt x="224" y="13"/>
                    </a:lnTo>
                    <a:lnTo>
                      <a:pt x="207" y="11"/>
                    </a:lnTo>
                    <a:lnTo>
                      <a:pt x="155" y="0"/>
                    </a:lnTo>
                    <a:lnTo>
                      <a:pt x="153" y="4"/>
                    </a:lnTo>
                    <a:lnTo>
                      <a:pt x="102" y="24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3" name="Freeform 24"/>
              <p:cNvSpPr>
                <a:spLocks/>
              </p:cNvSpPr>
              <p:nvPr/>
            </p:nvSpPr>
            <p:spPr bwMode="auto">
              <a:xfrm>
                <a:off x="1751140" y="2142573"/>
                <a:ext cx="454406" cy="521480"/>
              </a:xfrm>
              <a:custGeom>
                <a:avLst/>
                <a:gdLst>
                  <a:gd name="T0" fmla="*/ 314 w 473"/>
                  <a:gd name="T1" fmla="*/ 145 h 598"/>
                  <a:gd name="T2" fmla="*/ 329 w 473"/>
                  <a:gd name="T3" fmla="*/ 38 h 598"/>
                  <a:gd name="T4" fmla="*/ 237 w 473"/>
                  <a:gd name="T5" fmla="*/ 24 h 598"/>
                  <a:gd name="T6" fmla="*/ 126 w 473"/>
                  <a:gd name="T7" fmla="*/ 6 h 598"/>
                  <a:gd name="T8" fmla="*/ 94 w 473"/>
                  <a:gd name="T9" fmla="*/ 0 h 598"/>
                  <a:gd name="T10" fmla="*/ 0 w 473"/>
                  <a:gd name="T11" fmla="*/ 532 h 598"/>
                  <a:gd name="T12" fmla="*/ 77 w 473"/>
                  <a:gd name="T13" fmla="*/ 547 h 598"/>
                  <a:gd name="T14" fmla="*/ 191 w 473"/>
                  <a:gd name="T15" fmla="*/ 566 h 598"/>
                  <a:gd name="T16" fmla="*/ 302 w 473"/>
                  <a:gd name="T17" fmla="*/ 583 h 598"/>
                  <a:gd name="T18" fmla="*/ 419 w 473"/>
                  <a:gd name="T19" fmla="*/ 598 h 598"/>
                  <a:gd name="T20" fmla="*/ 473 w 473"/>
                  <a:gd name="T21" fmla="*/ 167 h 598"/>
                  <a:gd name="T22" fmla="*/ 314 w 473"/>
                  <a:gd name="T23" fmla="*/ 145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3" h="598">
                    <a:moveTo>
                      <a:pt x="314" y="145"/>
                    </a:moveTo>
                    <a:lnTo>
                      <a:pt x="329" y="38"/>
                    </a:lnTo>
                    <a:lnTo>
                      <a:pt x="237" y="24"/>
                    </a:lnTo>
                    <a:lnTo>
                      <a:pt x="126" y="6"/>
                    </a:lnTo>
                    <a:lnTo>
                      <a:pt x="94" y="0"/>
                    </a:lnTo>
                    <a:lnTo>
                      <a:pt x="0" y="532"/>
                    </a:lnTo>
                    <a:lnTo>
                      <a:pt x="77" y="547"/>
                    </a:lnTo>
                    <a:lnTo>
                      <a:pt x="191" y="566"/>
                    </a:lnTo>
                    <a:lnTo>
                      <a:pt x="302" y="583"/>
                    </a:lnTo>
                    <a:lnTo>
                      <a:pt x="419" y="598"/>
                    </a:lnTo>
                    <a:lnTo>
                      <a:pt x="473" y="167"/>
                    </a:lnTo>
                    <a:lnTo>
                      <a:pt x="314" y="145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4" name="Freeform 25"/>
              <p:cNvSpPr>
                <a:spLocks/>
              </p:cNvSpPr>
              <p:nvPr/>
            </p:nvSpPr>
            <p:spPr bwMode="auto">
              <a:xfrm>
                <a:off x="1813585" y="1473717"/>
                <a:ext cx="838682" cy="473518"/>
              </a:xfrm>
              <a:custGeom>
                <a:avLst/>
                <a:gdLst>
                  <a:gd name="T0" fmla="*/ 12 w 873"/>
                  <a:gd name="T1" fmla="*/ 126 h 543"/>
                  <a:gd name="T2" fmla="*/ 17 w 873"/>
                  <a:gd name="T3" fmla="*/ 145 h 543"/>
                  <a:gd name="T4" fmla="*/ 15 w 873"/>
                  <a:gd name="T5" fmla="*/ 158 h 543"/>
                  <a:gd name="T6" fmla="*/ 12 w 873"/>
                  <a:gd name="T7" fmla="*/ 167 h 543"/>
                  <a:gd name="T8" fmla="*/ 25 w 873"/>
                  <a:gd name="T9" fmla="*/ 186 h 543"/>
                  <a:gd name="T10" fmla="*/ 38 w 873"/>
                  <a:gd name="T11" fmla="*/ 199 h 543"/>
                  <a:gd name="T12" fmla="*/ 46 w 873"/>
                  <a:gd name="T13" fmla="*/ 212 h 543"/>
                  <a:gd name="T14" fmla="*/ 59 w 873"/>
                  <a:gd name="T15" fmla="*/ 233 h 543"/>
                  <a:gd name="T16" fmla="*/ 59 w 873"/>
                  <a:gd name="T17" fmla="*/ 244 h 543"/>
                  <a:gd name="T18" fmla="*/ 70 w 873"/>
                  <a:gd name="T19" fmla="*/ 257 h 543"/>
                  <a:gd name="T20" fmla="*/ 74 w 873"/>
                  <a:gd name="T21" fmla="*/ 263 h 543"/>
                  <a:gd name="T22" fmla="*/ 91 w 873"/>
                  <a:gd name="T23" fmla="*/ 267 h 543"/>
                  <a:gd name="T24" fmla="*/ 89 w 873"/>
                  <a:gd name="T25" fmla="*/ 289 h 543"/>
                  <a:gd name="T26" fmla="*/ 81 w 873"/>
                  <a:gd name="T27" fmla="*/ 312 h 543"/>
                  <a:gd name="T28" fmla="*/ 78 w 873"/>
                  <a:gd name="T29" fmla="*/ 325 h 543"/>
                  <a:gd name="T30" fmla="*/ 78 w 873"/>
                  <a:gd name="T31" fmla="*/ 338 h 543"/>
                  <a:gd name="T32" fmla="*/ 68 w 873"/>
                  <a:gd name="T33" fmla="*/ 353 h 543"/>
                  <a:gd name="T34" fmla="*/ 66 w 873"/>
                  <a:gd name="T35" fmla="*/ 368 h 543"/>
                  <a:gd name="T36" fmla="*/ 59 w 873"/>
                  <a:gd name="T37" fmla="*/ 382 h 543"/>
                  <a:gd name="T38" fmla="*/ 74 w 873"/>
                  <a:gd name="T39" fmla="*/ 393 h 543"/>
                  <a:gd name="T40" fmla="*/ 108 w 873"/>
                  <a:gd name="T41" fmla="*/ 378 h 543"/>
                  <a:gd name="T42" fmla="*/ 117 w 873"/>
                  <a:gd name="T43" fmla="*/ 389 h 543"/>
                  <a:gd name="T44" fmla="*/ 119 w 873"/>
                  <a:gd name="T45" fmla="*/ 423 h 543"/>
                  <a:gd name="T46" fmla="*/ 130 w 873"/>
                  <a:gd name="T47" fmla="*/ 442 h 543"/>
                  <a:gd name="T48" fmla="*/ 132 w 873"/>
                  <a:gd name="T49" fmla="*/ 457 h 543"/>
                  <a:gd name="T50" fmla="*/ 130 w 873"/>
                  <a:gd name="T51" fmla="*/ 474 h 543"/>
                  <a:gd name="T52" fmla="*/ 143 w 873"/>
                  <a:gd name="T53" fmla="*/ 477 h 543"/>
                  <a:gd name="T54" fmla="*/ 155 w 873"/>
                  <a:gd name="T55" fmla="*/ 496 h 543"/>
                  <a:gd name="T56" fmla="*/ 156 w 873"/>
                  <a:gd name="T57" fmla="*/ 509 h 543"/>
                  <a:gd name="T58" fmla="*/ 158 w 873"/>
                  <a:gd name="T59" fmla="*/ 524 h 543"/>
                  <a:gd name="T60" fmla="*/ 168 w 873"/>
                  <a:gd name="T61" fmla="*/ 530 h 543"/>
                  <a:gd name="T62" fmla="*/ 177 w 873"/>
                  <a:gd name="T63" fmla="*/ 519 h 543"/>
                  <a:gd name="T64" fmla="*/ 198 w 873"/>
                  <a:gd name="T65" fmla="*/ 524 h 543"/>
                  <a:gd name="T66" fmla="*/ 211 w 873"/>
                  <a:gd name="T67" fmla="*/ 519 h 543"/>
                  <a:gd name="T68" fmla="*/ 230 w 873"/>
                  <a:gd name="T69" fmla="*/ 523 h 543"/>
                  <a:gd name="T70" fmla="*/ 250 w 873"/>
                  <a:gd name="T71" fmla="*/ 526 h 543"/>
                  <a:gd name="T72" fmla="*/ 269 w 873"/>
                  <a:gd name="T73" fmla="*/ 528 h 543"/>
                  <a:gd name="T74" fmla="*/ 281 w 873"/>
                  <a:gd name="T75" fmla="*/ 509 h 543"/>
                  <a:gd name="T76" fmla="*/ 292 w 873"/>
                  <a:gd name="T77" fmla="*/ 524 h 543"/>
                  <a:gd name="T78" fmla="*/ 303 w 873"/>
                  <a:gd name="T79" fmla="*/ 538 h 543"/>
                  <a:gd name="T80" fmla="*/ 316 w 873"/>
                  <a:gd name="T81" fmla="*/ 485 h 543"/>
                  <a:gd name="T82" fmla="*/ 591 w 873"/>
                  <a:gd name="T83" fmla="*/ 521 h 543"/>
                  <a:gd name="T84" fmla="*/ 841 w 873"/>
                  <a:gd name="T85" fmla="*/ 543 h 543"/>
                  <a:gd name="T86" fmla="*/ 850 w 873"/>
                  <a:gd name="T87" fmla="*/ 442 h 543"/>
                  <a:gd name="T88" fmla="*/ 873 w 873"/>
                  <a:gd name="T89" fmla="*/ 117 h 543"/>
                  <a:gd name="T90" fmla="*/ 683 w 873"/>
                  <a:gd name="T91" fmla="*/ 101 h 543"/>
                  <a:gd name="T92" fmla="*/ 469 w 873"/>
                  <a:gd name="T93" fmla="*/ 75 h 543"/>
                  <a:gd name="T94" fmla="*/ 125 w 873"/>
                  <a:gd name="T95" fmla="*/ 21 h 543"/>
                  <a:gd name="T96" fmla="*/ 19 w 873"/>
                  <a:gd name="T97" fmla="*/ 4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73" h="543">
                    <a:moveTo>
                      <a:pt x="0" y="105"/>
                    </a:moveTo>
                    <a:lnTo>
                      <a:pt x="12" y="126"/>
                    </a:lnTo>
                    <a:lnTo>
                      <a:pt x="12" y="130"/>
                    </a:lnTo>
                    <a:lnTo>
                      <a:pt x="17" y="145"/>
                    </a:lnTo>
                    <a:lnTo>
                      <a:pt x="17" y="150"/>
                    </a:lnTo>
                    <a:lnTo>
                      <a:pt x="15" y="158"/>
                    </a:lnTo>
                    <a:lnTo>
                      <a:pt x="19" y="165"/>
                    </a:lnTo>
                    <a:lnTo>
                      <a:pt x="12" y="167"/>
                    </a:lnTo>
                    <a:lnTo>
                      <a:pt x="23" y="180"/>
                    </a:lnTo>
                    <a:lnTo>
                      <a:pt x="25" y="186"/>
                    </a:lnTo>
                    <a:lnTo>
                      <a:pt x="36" y="192"/>
                    </a:lnTo>
                    <a:lnTo>
                      <a:pt x="38" y="199"/>
                    </a:lnTo>
                    <a:lnTo>
                      <a:pt x="42" y="205"/>
                    </a:lnTo>
                    <a:lnTo>
                      <a:pt x="46" y="212"/>
                    </a:lnTo>
                    <a:lnTo>
                      <a:pt x="53" y="227"/>
                    </a:lnTo>
                    <a:lnTo>
                      <a:pt x="59" y="233"/>
                    </a:lnTo>
                    <a:lnTo>
                      <a:pt x="59" y="237"/>
                    </a:lnTo>
                    <a:lnTo>
                      <a:pt x="59" y="244"/>
                    </a:lnTo>
                    <a:lnTo>
                      <a:pt x="66" y="250"/>
                    </a:lnTo>
                    <a:lnTo>
                      <a:pt x="70" y="257"/>
                    </a:lnTo>
                    <a:lnTo>
                      <a:pt x="76" y="257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91" y="267"/>
                    </a:lnTo>
                    <a:lnTo>
                      <a:pt x="96" y="269"/>
                    </a:lnTo>
                    <a:lnTo>
                      <a:pt x="89" y="289"/>
                    </a:lnTo>
                    <a:lnTo>
                      <a:pt x="83" y="304"/>
                    </a:lnTo>
                    <a:lnTo>
                      <a:pt x="81" y="312"/>
                    </a:lnTo>
                    <a:lnTo>
                      <a:pt x="76" y="318"/>
                    </a:lnTo>
                    <a:lnTo>
                      <a:pt x="78" y="325"/>
                    </a:lnTo>
                    <a:lnTo>
                      <a:pt x="74" y="333"/>
                    </a:lnTo>
                    <a:lnTo>
                      <a:pt x="78" y="338"/>
                    </a:lnTo>
                    <a:lnTo>
                      <a:pt x="76" y="353"/>
                    </a:lnTo>
                    <a:lnTo>
                      <a:pt x="68" y="353"/>
                    </a:lnTo>
                    <a:lnTo>
                      <a:pt x="64" y="361"/>
                    </a:lnTo>
                    <a:lnTo>
                      <a:pt x="66" y="368"/>
                    </a:lnTo>
                    <a:lnTo>
                      <a:pt x="61" y="374"/>
                    </a:lnTo>
                    <a:lnTo>
                      <a:pt x="59" y="382"/>
                    </a:lnTo>
                    <a:lnTo>
                      <a:pt x="68" y="383"/>
                    </a:lnTo>
                    <a:lnTo>
                      <a:pt x="74" y="393"/>
                    </a:lnTo>
                    <a:lnTo>
                      <a:pt x="81" y="393"/>
                    </a:lnTo>
                    <a:lnTo>
                      <a:pt x="108" y="378"/>
                    </a:lnTo>
                    <a:lnTo>
                      <a:pt x="109" y="383"/>
                    </a:lnTo>
                    <a:lnTo>
                      <a:pt x="117" y="389"/>
                    </a:lnTo>
                    <a:lnTo>
                      <a:pt x="117" y="404"/>
                    </a:lnTo>
                    <a:lnTo>
                      <a:pt x="119" y="423"/>
                    </a:lnTo>
                    <a:lnTo>
                      <a:pt x="125" y="436"/>
                    </a:lnTo>
                    <a:lnTo>
                      <a:pt x="130" y="442"/>
                    </a:lnTo>
                    <a:lnTo>
                      <a:pt x="132" y="449"/>
                    </a:lnTo>
                    <a:lnTo>
                      <a:pt x="132" y="457"/>
                    </a:lnTo>
                    <a:lnTo>
                      <a:pt x="128" y="466"/>
                    </a:lnTo>
                    <a:lnTo>
                      <a:pt x="130" y="474"/>
                    </a:lnTo>
                    <a:lnTo>
                      <a:pt x="136" y="479"/>
                    </a:lnTo>
                    <a:lnTo>
                      <a:pt x="143" y="477"/>
                    </a:lnTo>
                    <a:lnTo>
                      <a:pt x="151" y="485"/>
                    </a:lnTo>
                    <a:lnTo>
                      <a:pt x="155" y="496"/>
                    </a:lnTo>
                    <a:lnTo>
                      <a:pt x="153" y="504"/>
                    </a:lnTo>
                    <a:lnTo>
                      <a:pt x="156" y="509"/>
                    </a:lnTo>
                    <a:lnTo>
                      <a:pt x="155" y="517"/>
                    </a:lnTo>
                    <a:lnTo>
                      <a:pt x="158" y="524"/>
                    </a:lnTo>
                    <a:lnTo>
                      <a:pt x="166" y="530"/>
                    </a:lnTo>
                    <a:lnTo>
                      <a:pt x="168" y="530"/>
                    </a:lnTo>
                    <a:lnTo>
                      <a:pt x="170" y="523"/>
                    </a:lnTo>
                    <a:lnTo>
                      <a:pt x="177" y="519"/>
                    </a:lnTo>
                    <a:lnTo>
                      <a:pt x="190" y="521"/>
                    </a:lnTo>
                    <a:lnTo>
                      <a:pt x="198" y="524"/>
                    </a:lnTo>
                    <a:lnTo>
                      <a:pt x="203" y="524"/>
                    </a:lnTo>
                    <a:lnTo>
                      <a:pt x="211" y="519"/>
                    </a:lnTo>
                    <a:lnTo>
                      <a:pt x="215" y="517"/>
                    </a:lnTo>
                    <a:lnTo>
                      <a:pt x="230" y="523"/>
                    </a:lnTo>
                    <a:lnTo>
                      <a:pt x="243" y="523"/>
                    </a:lnTo>
                    <a:lnTo>
                      <a:pt x="250" y="526"/>
                    </a:lnTo>
                    <a:lnTo>
                      <a:pt x="256" y="524"/>
                    </a:lnTo>
                    <a:lnTo>
                      <a:pt x="269" y="528"/>
                    </a:lnTo>
                    <a:lnTo>
                      <a:pt x="269" y="523"/>
                    </a:lnTo>
                    <a:lnTo>
                      <a:pt x="281" y="509"/>
                    </a:lnTo>
                    <a:lnTo>
                      <a:pt x="288" y="511"/>
                    </a:lnTo>
                    <a:lnTo>
                      <a:pt x="292" y="524"/>
                    </a:lnTo>
                    <a:lnTo>
                      <a:pt x="296" y="532"/>
                    </a:lnTo>
                    <a:lnTo>
                      <a:pt x="303" y="538"/>
                    </a:lnTo>
                    <a:lnTo>
                      <a:pt x="311" y="491"/>
                    </a:lnTo>
                    <a:lnTo>
                      <a:pt x="316" y="485"/>
                    </a:lnTo>
                    <a:lnTo>
                      <a:pt x="455" y="506"/>
                    </a:lnTo>
                    <a:lnTo>
                      <a:pt x="591" y="521"/>
                    </a:lnTo>
                    <a:lnTo>
                      <a:pt x="739" y="536"/>
                    </a:lnTo>
                    <a:lnTo>
                      <a:pt x="841" y="543"/>
                    </a:lnTo>
                    <a:lnTo>
                      <a:pt x="844" y="536"/>
                    </a:lnTo>
                    <a:lnTo>
                      <a:pt x="850" y="442"/>
                    </a:lnTo>
                    <a:lnTo>
                      <a:pt x="873" y="120"/>
                    </a:lnTo>
                    <a:lnTo>
                      <a:pt x="873" y="117"/>
                    </a:lnTo>
                    <a:lnTo>
                      <a:pt x="822" y="113"/>
                    </a:lnTo>
                    <a:lnTo>
                      <a:pt x="683" y="101"/>
                    </a:lnTo>
                    <a:lnTo>
                      <a:pt x="572" y="88"/>
                    </a:lnTo>
                    <a:lnTo>
                      <a:pt x="469" y="75"/>
                    </a:lnTo>
                    <a:lnTo>
                      <a:pt x="307" y="53"/>
                    </a:lnTo>
                    <a:lnTo>
                      <a:pt x="125" y="21"/>
                    </a:lnTo>
                    <a:lnTo>
                      <a:pt x="21" y="0"/>
                    </a:lnTo>
                    <a:lnTo>
                      <a:pt x="19" y="4"/>
                    </a:lnTo>
                    <a:lnTo>
                      <a:pt x="0" y="105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5" name="Freeform 26"/>
              <p:cNvSpPr>
                <a:spLocks/>
              </p:cNvSpPr>
              <p:nvPr/>
            </p:nvSpPr>
            <p:spPr bwMode="auto">
              <a:xfrm>
                <a:off x="2052796" y="1896657"/>
                <a:ext cx="568728" cy="426428"/>
              </a:xfrm>
              <a:custGeom>
                <a:avLst/>
                <a:gdLst>
                  <a:gd name="T0" fmla="*/ 159 w 592"/>
                  <a:gd name="T1" fmla="*/ 449 h 489"/>
                  <a:gd name="T2" fmla="*/ 236 w 592"/>
                  <a:gd name="T3" fmla="*/ 459 h 489"/>
                  <a:gd name="T4" fmla="*/ 366 w 592"/>
                  <a:gd name="T5" fmla="*/ 472 h 489"/>
                  <a:gd name="T6" fmla="*/ 436 w 592"/>
                  <a:gd name="T7" fmla="*/ 479 h 489"/>
                  <a:gd name="T8" fmla="*/ 562 w 592"/>
                  <a:gd name="T9" fmla="*/ 489 h 489"/>
                  <a:gd name="T10" fmla="*/ 577 w 592"/>
                  <a:gd name="T11" fmla="*/ 273 h 489"/>
                  <a:gd name="T12" fmla="*/ 592 w 592"/>
                  <a:gd name="T13" fmla="*/ 58 h 489"/>
                  <a:gd name="T14" fmla="*/ 490 w 592"/>
                  <a:gd name="T15" fmla="*/ 51 h 489"/>
                  <a:gd name="T16" fmla="*/ 342 w 592"/>
                  <a:gd name="T17" fmla="*/ 36 h 489"/>
                  <a:gd name="T18" fmla="*/ 206 w 592"/>
                  <a:gd name="T19" fmla="*/ 21 h 489"/>
                  <a:gd name="T20" fmla="*/ 67 w 592"/>
                  <a:gd name="T21" fmla="*/ 0 h 489"/>
                  <a:gd name="T22" fmla="*/ 62 w 592"/>
                  <a:gd name="T23" fmla="*/ 6 h 489"/>
                  <a:gd name="T24" fmla="*/ 54 w 592"/>
                  <a:gd name="T25" fmla="*/ 53 h 489"/>
                  <a:gd name="T26" fmla="*/ 15 w 592"/>
                  <a:gd name="T27" fmla="*/ 320 h 489"/>
                  <a:gd name="T28" fmla="*/ 0 w 592"/>
                  <a:gd name="T29" fmla="*/ 427 h 489"/>
                  <a:gd name="T30" fmla="*/ 159 w 592"/>
                  <a:gd name="T31" fmla="*/ 449 h 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92" h="489">
                    <a:moveTo>
                      <a:pt x="159" y="449"/>
                    </a:moveTo>
                    <a:lnTo>
                      <a:pt x="236" y="459"/>
                    </a:lnTo>
                    <a:lnTo>
                      <a:pt x="366" y="472"/>
                    </a:lnTo>
                    <a:lnTo>
                      <a:pt x="436" y="479"/>
                    </a:lnTo>
                    <a:lnTo>
                      <a:pt x="562" y="489"/>
                    </a:lnTo>
                    <a:lnTo>
                      <a:pt x="577" y="273"/>
                    </a:lnTo>
                    <a:lnTo>
                      <a:pt x="592" y="58"/>
                    </a:lnTo>
                    <a:lnTo>
                      <a:pt x="490" y="51"/>
                    </a:lnTo>
                    <a:lnTo>
                      <a:pt x="342" y="36"/>
                    </a:lnTo>
                    <a:lnTo>
                      <a:pt x="206" y="21"/>
                    </a:lnTo>
                    <a:lnTo>
                      <a:pt x="67" y="0"/>
                    </a:lnTo>
                    <a:lnTo>
                      <a:pt x="62" y="6"/>
                    </a:lnTo>
                    <a:lnTo>
                      <a:pt x="54" y="53"/>
                    </a:lnTo>
                    <a:lnTo>
                      <a:pt x="15" y="320"/>
                    </a:lnTo>
                    <a:lnTo>
                      <a:pt x="0" y="427"/>
                    </a:lnTo>
                    <a:lnTo>
                      <a:pt x="159" y="449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6" name="Freeform 27"/>
              <p:cNvSpPr>
                <a:spLocks/>
              </p:cNvSpPr>
              <p:nvPr/>
            </p:nvSpPr>
            <p:spPr bwMode="auto">
              <a:xfrm>
                <a:off x="2079696" y="2664053"/>
                <a:ext cx="564886" cy="536305"/>
              </a:xfrm>
              <a:custGeom>
                <a:avLst/>
                <a:gdLst>
                  <a:gd name="T0" fmla="*/ 227 w 588"/>
                  <a:gd name="T1" fmla="*/ 577 h 615"/>
                  <a:gd name="T2" fmla="*/ 223 w 588"/>
                  <a:gd name="T3" fmla="*/ 564 h 615"/>
                  <a:gd name="T4" fmla="*/ 223 w 588"/>
                  <a:gd name="T5" fmla="*/ 560 h 615"/>
                  <a:gd name="T6" fmla="*/ 293 w 588"/>
                  <a:gd name="T7" fmla="*/ 568 h 615"/>
                  <a:gd name="T8" fmla="*/ 381 w 588"/>
                  <a:gd name="T9" fmla="*/ 575 h 615"/>
                  <a:gd name="T10" fmla="*/ 460 w 588"/>
                  <a:gd name="T11" fmla="*/ 581 h 615"/>
                  <a:gd name="T12" fmla="*/ 539 w 588"/>
                  <a:gd name="T13" fmla="*/ 586 h 615"/>
                  <a:gd name="T14" fmla="*/ 543 w 588"/>
                  <a:gd name="T15" fmla="*/ 586 h 615"/>
                  <a:gd name="T16" fmla="*/ 549 w 588"/>
                  <a:gd name="T17" fmla="*/ 579 h 615"/>
                  <a:gd name="T18" fmla="*/ 556 w 588"/>
                  <a:gd name="T19" fmla="*/ 468 h 615"/>
                  <a:gd name="T20" fmla="*/ 566 w 588"/>
                  <a:gd name="T21" fmla="*/ 370 h 615"/>
                  <a:gd name="T22" fmla="*/ 581 w 588"/>
                  <a:gd name="T23" fmla="*/ 109 h 615"/>
                  <a:gd name="T24" fmla="*/ 583 w 588"/>
                  <a:gd name="T25" fmla="*/ 103 h 615"/>
                  <a:gd name="T26" fmla="*/ 586 w 588"/>
                  <a:gd name="T27" fmla="*/ 101 h 615"/>
                  <a:gd name="T28" fmla="*/ 588 w 588"/>
                  <a:gd name="T29" fmla="*/ 47 h 615"/>
                  <a:gd name="T30" fmla="*/ 494 w 588"/>
                  <a:gd name="T31" fmla="*/ 41 h 615"/>
                  <a:gd name="T32" fmla="*/ 342 w 588"/>
                  <a:gd name="T33" fmla="*/ 28 h 615"/>
                  <a:gd name="T34" fmla="*/ 218 w 588"/>
                  <a:gd name="T35" fmla="*/ 15 h 615"/>
                  <a:gd name="T36" fmla="*/ 77 w 588"/>
                  <a:gd name="T37" fmla="*/ 0 h 615"/>
                  <a:gd name="T38" fmla="*/ 2 w 588"/>
                  <a:gd name="T39" fmla="*/ 603 h 615"/>
                  <a:gd name="T40" fmla="*/ 0 w 588"/>
                  <a:gd name="T41" fmla="*/ 607 h 615"/>
                  <a:gd name="T42" fmla="*/ 71 w 588"/>
                  <a:gd name="T43" fmla="*/ 615 h 615"/>
                  <a:gd name="T44" fmla="*/ 77 w 588"/>
                  <a:gd name="T45" fmla="*/ 613 h 615"/>
                  <a:gd name="T46" fmla="*/ 81 w 588"/>
                  <a:gd name="T47" fmla="*/ 577 h 615"/>
                  <a:gd name="T48" fmla="*/ 84 w 588"/>
                  <a:gd name="T49" fmla="*/ 568 h 615"/>
                  <a:gd name="T50" fmla="*/ 231 w 588"/>
                  <a:gd name="T51" fmla="*/ 584 h 615"/>
                  <a:gd name="T52" fmla="*/ 233 w 588"/>
                  <a:gd name="T53" fmla="*/ 584 h 615"/>
                  <a:gd name="T54" fmla="*/ 233 w 588"/>
                  <a:gd name="T55" fmla="*/ 581 h 615"/>
                  <a:gd name="T56" fmla="*/ 227 w 588"/>
                  <a:gd name="T57" fmla="*/ 577 h 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88" h="615">
                    <a:moveTo>
                      <a:pt x="227" y="577"/>
                    </a:moveTo>
                    <a:lnTo>
                      <a:pt x="223" y="564"/>
                    </a:lnTo>
                    <a:lnTo>
                      <a:pt x="223" y="560"/>
                    </a:lnTo>
                    <a:lnTo>
                      <a:pt x="293" y="568"/>
                    </a:lnTo>
                    <a:lnTo>
                      <a:pt x="381" y="575"/>
                    </a:lnTo>
                    <a:lnTo>
                      <a:pt x="460" y="581"/>
                    </a:lnTo>
                    <a:lnTo>
                      <a:pt x="539" y="586"/>
                    </a:lnTo>
                    <a:lnTo>
                      <a:pt x="543" y="586"/>
                    </a:lnTo>
                    <a:lnTo>
                      <a:pt x="549" y="579"/>
                    </a:lnTo>
                    <a:lnTo>
                      <a:pt x="556" y="468"/>
                    </a:lnTo>
                    <a:lnTo>
                      <a:pt x="566" y="370"/>
                    </a:lnTo>
                    <a:lnTo>
                      <a:pt x="581" y="109"/>
                    </a:lnTo>
                    <a:lnTo>
                      <a:pt x="583" y="103"/>
                    </a:lnTo>
                    <a:lnTo>
                      <a:pt x="586" y="101"/>
                    </a:lnTo>
                    <a:lnTo>
                      <a:pt x="588" y="47"/>
                    </a:lnTo>
                    <a:lnTo>
                      <a:pt x="494" y="41"/>
                    </a:lnTo>
                    <a:lnTo>
                      <a:pt x="342" y="28"/>
                    </a:lnTo>
                    <a:lnTo>
                      <a:pt x="218" y="15"/>
                    </a:lnTo>
                    <a:lnTo>
                      <a:pt x="77" y="0"/>
                    </a:lnTo>
                    <a:lnTo>
                      <a:pt x="2" y="603"/>
                    </a:lnTo>
                    <a:lnTo>
                      <a:pt x="0" y="607"/>
                    </a:lnTo>
                    <a:lnTo>
                      <a:pt x="71" y="615"/>
                    </a:lnTo>
                    <a:lnTo>
                      <a:pt x="77" y="613"/>
                    </a:lnTo>
                    <a:lnTo>
                      <a:pt x="81" y="577"/>
                    </a:lnTo>
                    <a:lnTo>
                      <a:pt x="84" y="568"/>
                    </a:lnTo>
                    <a:lnTo>
                      <a:pt x="231" y="584"/>
                    </a:lnTo>
                    <a:lnTo>
                      <a:pt x="233" y="584"/>
                    </a:lnTo>
                    <a:lnTo>
                      <a:pt x="233" y="581"/>
                    </a:lnTo>
                    <a:lnTo>
                      <a:pt x="227" y="577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7" name="Freeform 28"/>
              <p:cNvSpPr>
                <a:spLocks/>
              </p:cNvSpPr>
              <p:nvPr/>
            </p:nvSpPr>
            <p:spPr bwMode="auto">
              <a:xfrm>
                <a:off x="2153669" y="2288203"/>
                <a:ext cx="591785" cy="421196"/>
              </a:xfrm>
              <a:custGeom>
                <a:avLst/>
                <a:gdLst>
                  <a:gd name="T0" fmla="*/ 611 w 616"/>
                  <a:gd name="T1" fmla="*/ 158 h 483"/>
                  <a:gd name="T2" fmla="*/ 616 w 616"/>
                  <a:gd name="T3" fmla="*/ 53 h 483"/>
                  <a:gd name="T4" fmla="*/ 609 w 616"/>
                  <a:gd name="T5" fmla="*/ 49 h 483"/>
                  <a:gd name="T6" fmla="*/ 530 w 616"/>
                  <a:gd name="T7" fmla="*/ 45 h 483"/>
                  <a:gd name="T8" fmla="*/ 457 w 616"/>
                  <a:gd name="T9" fmla="*/ 40 h 483"/>
                  <a:gd name="T10" fmla="*/ 331 w 616"/>
                  <a:gd name="T11" fmla="*/ 30 h 483"/>
                  <a:gd name="T12" fmla="*/ 261 w 616"/>
                  <a:gd name="T13" fmla="*/ 23 h 483"/>
                  <a:gd name="T14" fmla="*/ 131 w 616"/>
                  <a:gd name="T15" fmla="*/ 10 h 483"/>
                  <a:gd name="T16" fmla="*/ 54 w 616"/>
                  <a:gd name="T17" fmla="*/ 0 h 483"/>
                  <a:gd name="T18" fmla="*/ 0 w 616"/>
                  <a:gd name="T19" fmla="*/ 431 h 483"/>
                  <a:gd name="T20" fmla="*/ 141 w 616"/>
                  <a:gd name="T21" fmla="*/ 446 h 483"/>
                  <a:gd name="T22" fmla="*/ 265 w 616"/>
                  <a:gd name="T23" fmla="*/ 459 h 483"/>
                  <a:gd name="T24" fmla="*/ 417 w 616"/>
                  <a:gd name="T25" fmla="*/ 472 h 483"/>
                  <a:gd name="T26" fmla="*/ 511 w 616"/>
                  <a:gd name="T27" fmla="*/ 478 h 483"/>
                  <a:gd name="T28" fmla="*/ 596 w 616"/>
                  <a:gd name="T29" fmla="*/ 483 h 483"/>
                  <a:gd name="T30" fmla="*/ 611 w 616"/>
                  <a:gd name="T31" fmla="*/ 158 h 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16" h="483">
                    <a:moveTo>
                      <a:pt x="611" y="158"/>
                    </a:moveTo>
                    <a:lnTo>
                      <a:pt x="616" y="53"/>
                    </a:lnTo>
                    <a:lnTo>
                      <a:pt x="609" y="49"/>
                    </a:lnTo>
                    <a:lnTo>
                      <a:pt x="530" y="45"/>
                    </a:lnTo>
                    <a:lnTo>
                      <a:pt x="457" y="40"/>
                    </a:lnTo>
                    <a:lnTo>
                      <a:pt x="331" y="30"/>
                    </a:lnTo>
                    <a:lnTo>
                      <a:pt x="261" y="23"/>
                    </a:lnTo>
                    <a:lnTo>
                      <a:pt x="131" y="10"/>
                    </a:lnTo>
                    <a:lnTo>
                      <a:pt x="54" y="0"/>
                    </a:lnTo>
                    <a:lnTo>
                      <a:pt x="0" y="431"/>
                    </a:lnTo>
                    <a:lnTo>
                      <a:pt x="141" y="446"/>
                    </a:lnTo>
                    <a:lnTo>
                      <a:pt x="265" y="459"/>
                    </a:lnTo>
                    <a:lnTo>
                      <a:pt x="417" y="472"/>
                    </a:lnTo>
                    <a:lnTo>
                      <a:pt x="511" y="478"/>
                    </a:lnTo>
                    <a:lnTo>
                      <a:pt x="596" y="483"/>
                    </a:lnTo>
                    <a:lnTo>
                      <a:pt x="611" y="15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8" name="Freeform 29"/>
              <p:cNvSpPr>
                <a:spLocks/>
              </p:cNvSpPr>
              <p:nvPr/>
            </p:nvSpPr>
            <p:spPr bwMode="auto">
              <a:xfrm>
                <a:off x="2592704" y="2134724"/>
                <a:ext cx="675365" cy="300854"/>
              </a:xfrm>
              <a:custGeom>
                <a:avLst/>
                <a:gdLst>
                  <a:gd name="T0" fmla="*/ 565 w 703"/>
                  <a:gd name="T1" fmla="*/ 345 h 345"/>
                  <a:gd name="T2" fmla="*/ 695 w 703"/>
                  <a:gd name="T3" fmla="*/ 338 h 345"/>
                  <a:gd name="T4" fmla="*/ 690 w 703"/>
                  <a:gd name="T5" fmla="*/ 325 h 345"/>
                  <a:gd name="T6" fmla="*/ 682 w 703"/>
                  <a:gd name="T7" fmla="*/ 314 h 345"/>
                  <a:gd name="T8" fmla="*/ 671 w 703"/>
                  <a:gd name="T9" fmla="*/ 293 h 345"/>
                  <a:gd name="T10" fmla="*/ 665 w 703"/>
                  <a:gd name="T11" fmla="*/ 280 h 345"/>
                  <a:gd name="T12" fmla="*/ 656 w 703"/>
                  <a:gd name="T13" fmla="*/ 268 h 345"/>
                  <a:gd name="T14" fmla="*/ 656 w 703"/>
                  <a:gd name="T15" fmla="*/ 233 h 345"/>
                  <a:gd name="T16" fmla="*/ 658 w 703"/>
                  <a:gd name="T17" fmla="*/ 216 h 345"/>
                  <a:gd name="T18" fmla="*/ 654 w 703"/>
                  <a:gd name="T19" fmla="*/ 201 h 345"/>
                  <a:gd name="T20" fmla="*/ 652 w 703"/>
                  <a:gd name="T21" fmla="*/ 188 h 345"/>
                  <a:gd name="T22" fmla="*/ 644 w 703"/>
                  <a:gd name="T23" fmla="*/ 176 h 345"/>
                  <a:gd name="T24" fmla="*/ 639 w 703"/>
                  <a:gd name="T25" fmla="*/ 174 h 345"/>
                  <a:gd name="T26" fmla="*/ 637 w 703"/>
                  <a:gd name="T27" fmla="*/ 159 h 345"/>
                  <a:gd name="T28" fmla="*/ 637 w 703"/>
                  <a:gd name="T29" fmla="*/ 146 h 345"/>
                  <a:gd name="T30" fmla="*/ 633 w 703"/>
                  <a:gd name="T31" fmla="*/ 133 h 345"/>
                  <a:gd name="T32" fmla="*/ 624 w 703"/>
                  <a:gd name="T33" fmla="*/ 114 h 345"/>
                  <a:gd name="T34" fmla="*/ 618 w 703"/>
                  <a:gd name="T35" fmla="*/ 101 h 345"/>
                  <a:gd name="T36" fmla="*/ 612 w 703"/>
                  <a:gd name="T37" fmla="*/ 86 h 345"/>
                  <a:gd name="T38" fmla="*/ 612 w 703"/>
                  <a:gd name="T39" fmla="*/ 75 h 345"/>
                  <a:gd name="T40" fmla="*/ 599 w 703"/>
                  <a:gd name="T41" fmla="*/ 71 h 345"/>
                  <a:gd name="T42" fmla="*/ 590 w 703"/>
                  <a:gd name="T43" fmla="*/ 58 h 345"/>
                  <a:gd name="T44" fmla="*/ 575 w 703"/>
                  <a:gd name="T45" fmla="*/ 48 h 345"/>
                  <a:gd name="T46" fmla="*/ 567 w 703"/>
                  <a:gd name="T47" fmla="*/ 47 h 345"/>
                  <a:gd name="T48" fmla="*/ 554 w 703"/>
                  <a:gd name="T49" fmla="*/ 43 h 345"/>
                  <a:gd name="T50" fmla="*/ 513 w 703"/>
                  <a:gd name="T51" fmla="*/ 37 h 345"/>
                  <a:gd name="T52" fmla="*/ 492 w 703"/>
                  <a:gd name="T53" fmla="*/ 41 h 345"/>
                  <a:gd name="T54" fmla="*/ 456 w 703"/>
                  <a:gd name="T55" fmla="*/ 28 h 345"/>
                  <a:gd name="T56" fmla="*/ 361 w 703"/>
                  <a:gd name="T57" fmla="*/ 18 h 345"/>
                  <a:gd name="T58" fmla="*/ 96 w 703"/>
                  <a:gd name="T59" fmla="*/ 5 h 345"/>
                  <a:gd name="T60" fmla="*/ 0 w 703"/>
                  <a:gd name="T61" fmla="*/ 216 h 345"/>
                  <a:gd name="T62" fmla="*/ 152 w 703"/>
                  <a:gd name="T63" fmla="*/ 225 h 345"/>
                  <a:gd name="T64" fmla="*/ 154 w 703"/>
                  <a:gd name="T65" fmla="*/ 334 h 345"/>
                  <a:gd name="T66" fmla="*/ 460 w 703"/>
                  <a:gd name="T67" fmla="*/ 344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03" h="345">
                    <a:moveTo>
                      <a:pt x="460" y="344"/>
                    </a:moveTo>
                    <a:lnTo>
                      <a:pt x="565" y="345"/>
                    </a:lnTo>
                    <a:lnTo>
                      <a:pt x="703" y="344"/>
                    </a:lnTo>
                    <a:lnTo>
                      <a:pt x="695" y="338"/>
                    </a:lnTo>
                    <a:lnTo>
                      <a:pt x="695" y="330"/>
                    </a:lnTo>
                    <a:lnTo>
                      <a:pt x="690" y="325"/>
                    </a:lnTo>
                    <a:lnTo>
                      <a:pt x="688" y="317"/>
                    </a:lnTo>
                    <a:lnTo>
                      <a:pt x="682" y="314"/>
                    </a:lnTo>
                    <a:lnTo>
                      <a:pt x="676" y="306"/>
                    </a:lnTo>
                    <a:lnTo>
                      <a:pt x="671" y="293"/>
                    </a:lnTo>
                    <a:lnTo>
                      <a:pt x="665" y="285"/>
                    </a:lnTo>
                    <a:lnTo>
                      <a:pt x="665" y="280"/>
                    </a:lnTo>
                    <a:lnTo>
                      <a:pt x="663" y="272"/>
                    </a:lnTo>
                    <a:lnTo>
                      <a:pt x="656" y="268"/>
                    </a:lnTo>
                    <a:lnTo>
                      <a:pt x="659" y="248"/>
                    </a:lnTo>
                    <a:lnTo>
                      <a:pt x="656" y="233"/>
                    </a:lnTo>
                    <a:lnTo>
                      <a:pt x="656" y="223"/>
                    </a:lnTo>
                    <a:lnTo>
                      <a:pt x="658" y="216"/>
                    </a:lnTo>
                    <a:lnTo>
                      <a:pt x="652" y="210"/>
                    </a:lnTo>
                    <a:lnTo>
                      <a:pt x="654" y="201"/>
                    </a:lnTo>
                    <a:lnTo>
                      <a:pt x="650" y="195"/>
                    </a:lnTo>
                    <a:lnTo>
                      <a:pt x="652" y="188"/>
                    </a:lnTo>
                    <a:lnTo>
                      <a:pt x="644" y="184"/>
                    </a:lnTo>
                    <a:lnTo>
                      <a:pt x="644" y="176"/>
                    </a:lnTo>
                    <a:lnTo>
                      <a:pt x="639" y="176"/>
                    </a:lnTo>
                    <a:lnTo>
                      <a:pt x="639" y="174"/>
                    </a:lnTo>
                    <a:lnTo>
                      <a:pt x="637" y="167"/>
                    </a:lnTo>
                    <a:lnTo>
                      <a:pt x="637" y="159"/>
                    </a:lnTo>
                    <a:lnTo>
                      <a:pt x="639" y="154"/>
                    </a:lnTo>
                    <a:lnTo>
                      <a:pt x="637" y="146"/>
                    </a:lnTo>
                    <a:lnTo>
                      <a:pt x="633" y="141"/>
                    </a:lnTo>
                    <a:lnTo>
                      <a:pt x="633" y="133"/>
                    </a:lnTo>
                    <a:lnTo>
                      <a:pt x="624" y="122"/>
                    </a:lnTo>
                    <a:lnTo>
                      <a:pt x="624" y="114"/>
                    </a:lnTo>
                    <a:lnTo>
                      <a:pt x="616" y="107"/>
                    </a:lnTo>
                    <a:lnTo>
                      <a:pt x="618" y="101"/>
                    </a:lnTo>
                    <a:lnTo>
                      <a:pt x="616" y="94"/>
                    </a:lnTo>
                    <a:lnTo>
                      <a:pt x="612" y="86"/>
                    </a:lnTo>
                    <a:lnTo>
                      <a:pt x="612" y="82"/>
                    </a:lnTo>
                    <a:lnTo>
                      <a:pt x="612" y="75"/>
                    </a:lnTo>
                    <a:lnTo>
                      <a:pt x="605" y="73"/>
                    </a:lnTo>
                    <a:lnTo>
                      <a:pt x="599" y="71"/>
                    </a:lnTo>
                    <a:lnTo>
                      <a:pt x="592" y="65"/>
                    </a:lnTo>
                    <a:lnTo>
                      <a:pt x="590" y="58"/>
                    </a:lnTo>
                    <a:lnTo>
                      <a:pt x="582" y="54"/>
                    </a:lnTo>
                    <a:lnTo>
                      <a:pt x="575" y="48"/>
                    </a:lnTo>
                    <a:lnTo>
                      <a:pt x="569" y="48"/>
                    </a:lnTo>
                    <a:lnTo>
                      <a:pt x="567" y="47"/>
                    </a:lnTo>
                    <a:lnTo>
                      <a:pt x="560" y="43"/>
                    </a:lnTo>
                    <a:lnTo>
                      <a:pt x="554" y="43"/>
                    </a:lnTo>
                    <a:lnTo>
                      <a:pt x="543" y="33"/>
                    </a:lnTo>
                    <a:lnTo>
                      <a:pt x="513" y="37"/>
                    </a:lnTo>
                    <a:lnTo>
                      <a:pt x="498" y="35"/>
                    </a:lnTo>
                    <a:lnTo>
                      <a:pt x="492" y="41"/>
                    </a:lnTo>
                    <a:lnTo>
                      <a:pt x="487" y="43"/>
                    </a:lnTo>
                    <a:lnTo>
                      <a:pt x="456" y="28"/>
                    </a:lnTo>
                    <a:lnTo>
                      <a:pt x="447" y="18"/>
                    </a:lnTo>
                    <a:lnTo>
                      <a:pt x="361" y="18"/>
                    </a:lnTo>
                    <a:lnTo>
                      <a:pt x="231" y="13"/>
                    </a:lnTo>
                    <a:lnTo>
                      <a:pt x="96" y="5"/>
                    </a:lnTo>
                    <a:lnTo>
                      <a:pt x="15" y="0"/>
                    </a:lnTo>
                    <a:lnTo>
                      <a:pt x="0" y="216"/>
                    </a:lnTo>
                    <a:lnTo>
                      <a:pt x="73" y="221"/>
                    </a:lnTo>
                    <a:lnTo>
                      <a:pt x="152" y="225"/>
                    </a:lnTo>
                    <a:lnTo>
                      <a:pt x="159" y="229"/>
                    </a:lnTo>
                    <a:lnTo>
                      <a:pt x="154" y="334"/>
                    </a:lnTo>
                    <a:lnTo>
                      <a:pt x="259" y="340"/>
                    </a:lnTo>
                    <a:lnTo>
                      <a:pt x="460" y="34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69" name="Freeform 30"/>
              <p:cNvSpPr>
                <a:spLocks/>
              </p:cNvSpPr>
              <p:nvPr/>
            </p:nvSpPr>
            <p:spPr bwMode="auto">
              <a:xfrm>
                <a:off x="2607115" y="1859159"/>
                <a:ext cx="568728" cy="339224"/>
              </a:xfrm>
              <a:custGeom>
                <a:avLst/>
                <a:gdLst>
                  <a:gd name="T0" fmla="*/ 81 w 592"/>
                  <a:gd name="T1" fmla="*/ 321 h 389"/>
                  <a:gd name="T2" fmla="*/ 216 w 592"/>
                  <a:gd name="T3" fmla="*/ 329 h 389"/>
                  <a:gd name="T4" fmla="*/ 346 w 592"/>
                  <a:gd name="T5" fmla="*/ 334 h 389"/>
                  <a:gd name="T6" fmla="*/ 432 w 592"/>
                  <a:gd name="T7" fmla="*/ 334 h 389"/>
                  <a:gd name="T8" fmla="*/ 441 w 592"/>
                  <a:gd name="T9" fmla="*/ 344 h 389"/>
                  <a:gd name="T10" fmla="*/ 472 w 592"/>
                  <a:gd name="T11" fmla="*/ 359 h 389"/>
                  <a:gd name="T12" fmla="*/ 477 w 592"/>
                  <a:gd name="T13" fmla="*/ 357 h 389"/>
                  <a:gd name="T14" fmla="*/ 483 w 592"/>
                  <a:gd name="T15" fmla="*/ 351 h 389"/>
                  <a:gd name="T16" fmla="*/ 498 w 592"/>
                  <a:gd name="T17" fmla="*/ 353 h 389"/>
                  <a:gd name="T18" fmla="*/ 528 w 592"/>
                  <a:gd name="T19" fmla="*/ 349 h 389"/>
                  <a:gd name="T20" fmla="*/ 539 w 592"/>
                  <a:gd name="T21" fmla="*/ 359 h 389"/>
                  <a:gd name="T22" fmla="*/ 545 w 592"/>
                  <a:gd name="T23" fmla="*/ 359 h 389"/>
                  <a:gd name="T24" fmla="*/ 552 w 592"/>
                  <a:gd name="T25" fmla="*/ 363 h 389"/>
                  <a:gd name="T26" fmla="*/ 554 w 592"/>
                  <a:gd name="T27" fmla="*/ 364 h 389"/>
                  <a:gd name="T28" fmla="*/ 560 w 592"/>
                  <a:gd name="T29" fmla="*/ 364 h 389"/>
                  <a:gd name="T30" fmla="*/ 567 w 592"/>
                  <a:gd name="T31" fmla="*/ 370 h 389"/>
                  <a:gd name="T32" fmla="*/ 575 w 592"/>
                  <a:gd name="T33" fmla="*/ 374 h 389"/>
                  <a:gd name="T34" fmla="*/ 577 w 592"/>
                  <a:gd name="T35" fmla="*/ 381 h 389"/>
                  <a:gd name="T36" fmla="*/ 584 w 592"/>
                  <a:gd name="T37" fmla="*/ 387 h 389"/>
                  <a:gd name="T38" fmla="*/ 590 w 592"/>
                  <a:gd name="T39" fmla="*/ 389 h 389"/>
                  <a:gd name="T40" fmla="*/ 588 w 592"/>
                  <a:gd name="T41" fmla="*/ 374 h 389"/>
                  <a:gd name="T42" fmla="*/ 581 w 592"/>
                  <a:gd name="T43" fmla="*/ 368 h 389"/>
                  <a:gd name="T44" fmla="*/ 579 w 592"/>
                  <a:gd name="T45" fmla="*/ 361 h 389"/>
                  <a:gd name="T46" fmla="*/ 582 w 592"/>
                  <a:gd name="T47" fmla="*/ 355 h 389"/>
                  <a:gd name="T48" fmla="*/ 584 w 592"/>
                  <a:gd name="T49" fmla="*/ 353 h 389"/>
                  <a:gd name="T50" fmla="*/ 588 w 592"/>
                  <a:gd name="T51" fmla="*/ 340 h 389"/>
                  <a:gd name="T52" fmla="*/ 588 w 592"/>
                  <a:gd name="T53" fmla="*/ 332 h 389"/>
                  <a:gd name="T54" fmla="*/ 592 w 592"/>
                  <a:gd name="T55" fmla="*/ 325 h 389"/>
                  <a:gd name="T56" fmla="*/ 592 w 592"/>
                  <a:gd name="T57" fmla="*/ 319 h 389"/>
                  <a:gd name="T58" fmla="*/ 584 w 592"/>
                  <a:gd name="T59" fmla="*/ 312 h 389"/>
                  <a:gd name="T60" fmla="*/ 582 w 592"/>
                  <a:gd name="T61" fmla="*/ 306 h 389"/>
                  <a:gd name="T62" fmla="*/ 586 w 592"/>
                  <a:gd name="T63" fmla="*/ 304 h 389"/>
                  <a:gd name="T64" fmla="*/ 586 w 592"/>
                  <a:gd name="T65" fmla="*/ 297 h 389"/>
                  <a:gd name="T66" fmla="*/ 582 w 592"/>
                  <a:gd name="T67" fmla="*/ 289 h 389"/>
                  <a:gd name="T68" fmla="*/ 581 w 592"/>
                  <a:gd name="T69" fmla="*/ 282 h 389"/>
                  <a:gd name="T70" fmla="*/ 592 w 592"/>
                  <a:gd name="T71" fmla="*/ 282 h 389"/>
                  <a:gd name="T72" fmla="*/ 592 w 592"/>
                  <a:gd name="T73" fmla="*/ 88 h 389"/>
                  <a:gd name="T74" fmla="*/ 586 w 592"/>
                  <a:gd name="T75" fmla="*/ 82 h 389"/>
                  <a:gd name="T76" fmla="*/ 581 w 592"/>
                  <a:gd name="T77" fmla="*/ 79 h 389"/>
                  <a:gd name="T78" fmla="*/ 573 w 592"/>
                  <a:gd name="T79" fmla="*/ 77 h 389"/>
                  <a:gd name="T80" fmla="*/ 566 w 592"/>
                  <a:gd name="T81" fmla="*/ 64 h 389"/>
                  <a:gd name="T82" fmla="*/ 560 w 592"/>
                  <a:gd name="T83" fmla="*/ 56 h 389"/>
                  <a:gd name="T84" fmla="*/ 562 w 592"/>
                  <a:gd name="T85" fmla="*/ 52 h 389"/>
                  <a:gd name="T86" fmla="*/ 569 w 592"/>
                  <a:gd name="T87" fmla="*/ 45 h 389"/>
                  <a:gd name="T88" fmla="*/ 575 w 592"/>
                  <a:gd name="T89" fmla="*/ 41 h 389"/>
                  <a:gd name="T90" fmla="*/ 579 w 592"/>
                  <a:gd name="T91" fmla="*/ 34 h 389"/>
                  <a:gd name="T92" fmla="*/ 582 w 592"/>
                  <a:gd name="T93" fmla="*/ 20 h 389"/>
                  <a:gd name="T94" fmla="*/ 443 w 592"/>
                  <a:gd name="T95" fmla="*/ 19 h 389"/>
                  <a:gd name="T96" fmla="*/ 306 w 592"/>
                  <a:gd name="T97" fmla="*/ 17 h 389"/>
                  <a:gd name="T98" fmla="*/ 158 w 592"/>
                  <a:gd name="T99" fmla="*/ 9 h 389"/>
                  <a:gd name="T100" fmla="*/ 24 w 592"/>
                  <a:gd name="T101" fmla="*/ 0 h 389"/>
                  <a:gd name="T102" fmla="*/ 18 w 592"/>
                  <a:gd name="T103" fmla="*/ 94 h 389"/>
                  <a:gd name="T104" fmla="*/ 15 w 592"/>
                  <a:gd name="T105" fmla="*/ 101 h 389"/>
                  <a:gd name="T106" fmla="*/ 0 w 592"/>
                  <a:gd name="T107" fmla="*/ 316 h 389"/>
                  <a:gd name="T108" fmla="*/ 81 w 592"/>
                  <a:gd name="T109" fmla="*/ 321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92" h="389">
                    <a:moveTo>
                      <a:pt x="81" y="321"/>
                    </a:moveTo>
                    <a:lnTo>
                      <a:pt x="216" y="329"/>
                    </a:lnTo>
                    <a:lnTo>
                      <a:pt x="346" y="334"/>
                    </a:lnTo>
                    <a:lnTo>
                      <a:pt x="432" y="334"/>
                    </a:lnTo>
                    <a:lnTo>
                      <a:pt x="441" y="344"/>
                    </a:lnTo>
                    <a:lnTo>
                      <a:pt x="472" y="359"/>
                    </a:lnTo>
                    <a:lnTo>
                      <a:pt x="477" y="357"/>
                    </a:lnTo>
                    <a:lnTo>
                      <a:pt x="483" y="351"/>
                    </a:lnTo>
                    <a:lnTo>
                      <a:pt x="498" y="353"/>
                    </a:lnTo>
                    <a:lnTo>
                      <a:pt x="528" y="349"/>
                    </a:lnTo>
                    <a:lnTo>
                      <a:pt x="539" y="359"/>
                    </a:lnTo>
                    <a:lnTo>
                      <a:pt x="545" y="359"/>
                    </a:lnTo>
                    <a:lnTo>
                      <a:pt x="552" y="363"/>
                    </a:lnTo>
                    <a:lnTo>
                      <a:pt x="554" y="364"/>
                    </a:lnTo>
                    <a:lnTo>
                      <a:pt x="560" y="364"/>
                    </a:lnTo>
                    <a:lnTo>
                      <a:pt x="567" y="370"/>
                    </a:lnTo>
                    <a:lnTo>
                      <a:pt x="575" y="374"/>
                    </a:lnTo>
                    <a:lnTo>
                      <a:pt x="577" y="381"/>
                    </a:lnTo>
                    <a:lnTo>
                      <a:pt x="584" y="387"/>
                    </a:lnTo>
                    <a:lnTo>
                      <a:pt x="590" y="389"/>
                    </a:lnTo>
                    <a:lnTo>
                      <a:pt x="588" y="374"/>
                    </a:lnTo>
                    <a:lnTo>
                      <a:pt x="581" y="368"/>
                    </a:lnTo>
                    <a:lnTo>
                      <a:pt x="579" y="361"/>
                    </a:lnTo>
                    <a:lnTo>
                      <a:pt x="582" y="355"/>
                    </a:lnTo>
                    <a:lnTo>
                      <a:pt x="584" y="353"/>
                    </a:lnTo>
                    <a:lnTo>
                      <a:pt x="588" y="340"/>
                    </a:lnTo>
                    <a:lnTo>
                      <a:pt x="588" y="332"/>
                    </a:lnTo>
                    <a:lnTo>
                      <a:pt x="592" y="325"/>
                    </a:lnTo>
                    <a:lnTo>
                      <a:pt x="592" y="319"/>
                    </a:lnTo>
                    <a:lnTo>
                      <a:pt x="584" y="312"/>
                    </a:lnTo>
                    <a:lnTo>
                      <a:pt x="582" y="306"/>
                    </a:lnTo>
                    <a:lnTo>
                      <a:pt x="586" y="304"/>
                    </a:lnTo>
                    <a:lnTo>
                      <a:pt x="586" y="297"/>
                    </a:lnTo>
                    <a:lnTo>
                      <a:pt x="582" y="289"/>
                    </a:lnTo>
                    <a:lnTo>
                      <a:pt x="581" y="282"/>
                    </a:lnTo>
                    <a:lnTo>
                      <a:pt x="592" y="282"/>
                    </a:lnTo>
                    <a:lnTo>
                      <a:pt x="592" y="88"/>
                    </a:lnTo>
                    <a:lnTo>
                      <a:pt x="586" y="82"/>
                    </a:lnTo>
                    <a:lnTo>
                      <a:pt x="581" y="79"/>
                    </a:lnTo>
                    <a:lnTo>
                      <a:pt x="573" y="77"/>
                    </a:lnTo>
                    <a:lnTo>
                      <a:pt x="566" y="64"/>
                    </a:lnTo>
                    <a:lnTo>
                      <a:pt x="560" y="56"/>
                    </a:lnTo>
                    <a:lnTo>
                      <a:pt x="562" y="52"/>
                    </a:lnTo>
                    <a:lnTo>
                      <a:pt x="569" y="45"/>
                    </a:lnTo>
                    <a:lnTo>
                      <a:pt x="575" y="41"/>
                    </a:lnTo>
                    <a:lnTo>
                      <a:pt x="579" y="34"/>
                    </a:lnTo>
                    <a:lnTo>
                      <a:pt x="582" y="20"/>
                    </a:lnTo>
                    <a:lnTo>
                      <a:pt x="443" y="19"/>
                    </a:lnTo>
                    <a:lnTo>
                      <a:pt x="306" y="17"/>
                    </a:lnTo>
                    <a:lnTo>
                      <a:pt x="158" y="9"/>
                    </a:lnTo>
                    <a:lnTo>
                      <a:pt x="24" y="0"/>
                    </a:lnTo>
                    <a:lnTo>
                      <a:pt x="18" y="94"/>
                    </a:lnTo>
                    <a:lnTo>
                      <a:pt x="15" y="101"/>
                    </a:lnTo>
                    <a:lnTo>
                      <a:pt x="0" y="316"/>
                    </a:lnTo>
                    <a:lnTo>
                      <a:pt x="81" y="321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70" name="Freeform 31"/>
              <p:cNvSpPr>
                <a:spLocks/>
              </p:cNvSpPr>
              <p:nvPr/>
            </p:nvSpPr>
            <p:spPr bwMode="auto">
              <a:xfrm>
                <a:off x="2630171" y="1575746"/>
                <a:ext cx="536065" cy="300854"/>
              </a:xfrm>
              <a:custGeom>
                <a:avLst/>
                <a:gdLst>
                  <a:gd name="T0" fmla="*/ 0 w 558"/>
                  <a:gd name="T1" fmla="*/ 325 h 345"/>
                  <a:gd name="T2" fmla="*/ 134 w 558"/>
                  <a:gd name="T3" fmla="*/ 334 h 345"/>
                  <a:gd name="T4" fmla="*/ 282 w 558"/>
                  <a:gd name="T5" fmla="*/ 342 h 345"/>
                  <a:gd name="T6" fmla="*/ 419 w 558"/>
                  <a:gd name="T7" fmla="*/ 344 h 345"/>
                  <a:gd name="T8" fmla="*/ 558 w 558"/>
                  <a:gd name="T9" fmla="*/ 345 h 345"/>
                  <a:gd name="T10" fmla="*/ 558 w 558"/>
                  <a:gd name="T11" fmla="*/ 338 h 345"/>
                  <a:gd name="T12" fmla="*/ 558 w 558"/>
                  <a:gd name="T13" fmla="*/ 330 h 345"/>
                  <a:gd name="T14" fmla="*/ 557 w 558"/>
                  <a:gd name="T15" fmla="*/ 317 h 345"/>
                  <a:gd name="T16" fmla="*/ 557 w 558"/>
                  <a:gd name="T17" fmla="*/ 310 h 345"/>
                  <a:gd name="T18" fmla="*/ 555 w 558"/>
                  <a:gd name="T19" fmla="*/ 302 h 345"/>
                  <a:gd name="T20" fmla="*/ 547 w 558"/>
                  <a:gd name="T21" fmla="*/ 291 h 345"/>
                  <a:gd name="T22" fmla="*/ 545 w 558"/>
                  <a:gd name="T23" fmla="*/ 285 h 345"/>
                  <a:gd name="T24" fmla="*/ 545 w 558"/>
                  <a:gd name="T25" fmla="*/ 278 h 345"/>
                  <a:gd name="T26" fmla="*/ 542 w 558"/>
                  <a:gd name="T27" fmla="*/ 272 h 345"/>
                  <a:gd name="T28" fmla="*/ 542 w 558"/>
                  <a:gd name="T29" fmla="*/ 246 h 345"/>
                  <a:gd name="T30" fmla="*/ 543 w 558"/>
                  <a:gd name="T31" fmla="*/ 238 h 345"/>
                  <a:gd name="T32" fmla="*/ 540 w 558"/>
                  <a:gd name="T33" fmla="*/ 231 h 345"/>
                  <a:gd name="T34" fmla="*/ 540 w 558"/>
                  <a:gd name="T35" fmla="*/ 221 h 345"/>
                  <a:gd name="T36" fmla="*/ 538 w 558"/>
                  <a:gd name="T37" fmla="*/ 206 h 345"/>
                  <a:gd name="T38" fmla="*/ 538 w 558"/>
                  <a:gd name="T39" fmla="*/ 193 h 345"/>
                  <a:gd name="T40" fmla="*/ 536 w 558"/>
                  <a:gd name="T41" fmla="*/ 186 h 345"/>
                  <a:gd name="T42" fmla="*/ 536 w 558"/>
                  <a:gd name="T43" fmla="*/ 180 h 345"/>
                  <a:gd name="T44" fmla="*/ 536 w 558"/>
                  <a:gd name="T45" fmla="*/ 172 h 345"/>
                  <a:gd name="T46" fmla="*/ 534 w 558"/>
                  <a:gd name="T47" fmla="*/ 157 h 345"/>
                  <a:gd name="T48" fmla="*/ 525 w 558"/>
                  <a:gd name="T49" fmla="*/ 137 h 345"/>
                  <a:gd name="T50" fmla="*/ 525 w 558"/>
                  <a:gd name="T51" fmla="*/ 133 h 345"/>
                  <a:gd name="T52" fmla="*/ 517 w 558"/>
                  <a:gd name="T53" fmla="*/ 110 h 345"/>
                  <a:gd name="T54" fmla="*/ 517 w 558"/>
                  <a:gd name="T55" fmla="*/ 103 h 345"/>
                  <a:gd name="T56" fmla="*/ 517 w 558"/>
                  <a:gd name="T57" fmla="*/ 90 h 345"/>
                  <a:gd name="T58" fmla="*/ 515 w 558"/>
                  <a:gd name="T59" fmla="*/ 86 h 345"/>
                  <a:gd name="T60" fmla="*/ 517 w 558"/>
                  <a:gd name="T61" fmla="*/ 80 h 345"/>
                  <a:gd name="T62" fmla="*/ 515 w 558"/>
                  <a:gd name="T63" fmla="*/ 67 h 345"/>
                  <a:gd name="T64" fmla="*/ 519 w 558"/>
                  <a:gd name="T65" fmla="*/ 54 h 345"/>
                  <a:gd name="T66" fmla="*/ 517 w 558"/>
                  <a:gd name="T67" fmla="*/ 46 h 345"/>
                  <a:gd name="T68" fmla="*/ 511 w 558"/>
                  <a:gd name="T69" fmla="*/ 28 h 345"/>
                  <a:gd name="T70" fmla="*/ 510 w 558"/>
                  <a:gd name="T71" fmla="*/ 22 h 345"/>
                  <a:gd name="T72" fmla="*/ 510 w 558"/>
                  <a:gd name="T73" fmla="*/ 22 h 345"/>
                  <a:gd name="T74" fmla="*/ 510 w 558"/>
                  <a:gd name="T75" fmla="*/ 18 h 345"/>
                  <a:gd name="T76" fmla="*/ 448 w 558"/>
                  <a:gd name="T77" fmla="*/ 18 h 345"/>
                  <a:gd name="T78" fmla="*/ 303 w 558"/>
                  <a:gd name="T79" fmla="*/ 15 h 345"/>
                  <a:gd name="T80" fmla="*/ 135 w 558"/>
                  <a:gd name="T81" fmla="*/ 7 h 345"/>
                  <a:gd name="T82" fmla="*/ 23 w 558"/>
                  <a:gd name="T83" fmla="*/ 0 h 345"/>
                  <a:gd name="T84" fmla="*/ 23 w 558"/>
                  <a:gd name="T85" fmla="*/ 3 h 345"/>
                  <a:gd name="T86" fmla="*/ 0 w 558"/>
                  <a:gd name="T87" fmla="*/ 325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58" h="345">
                    <a:moveTo>
                      <a:pt x="0" y="325"/>
                    </a:moveTo>
                    <a:lnTo>
                      <a:pt x="134" y="334"/>
                    </a:lnTo>
                    <a:lnTo>
                      <a:pt x="282" y="342"/>
                    </a:lnTo>
                    <a:lnTo>
                      <a:pt x="419" y="344"/>
                    </a:lnTo>
                    <a:lnTo>
                      <a:pt x="558" y="345"/>
                    </a:lnTo>
                    <a:lnTo>
                      <a:pt x="558" y="338"/>
                    </a:lnTo>
                    <a:lnTo>
                      <a:pt x="558" y="330"/>
                    </a:lnTo>
                    <a:lnTo>
                      <a:pt x="557" y="317"/>
                    </a:lnTo>
                    <a:lnTo>
                      <a:pt x="557" y="310"/>
                    </a:lnTo>
                    <a:lnTo>
                      <a:pt x="555" y="302"/>
                    </a:lnTo>
                    <a:lnTo>
                      <a:pt x="547" y="291"/>
                    </a:lnTo>
                    <a:lnTo>
                      <a:pt x="545" y="285"/>
                    </a:lnTo>
                    <a:lnTo>
                      <a:pt x="545" y="278"/>
                    </a:lnTo>
                    <a:lnTo>
                      <a:pt x="542" y="272"/>
                    </a:lnTo>
                    <a:lnTo>
                      <a:pt x="542" y="246"/>
                    </a:lnTo>
                    <a:lnTo>
                      <a:pt x="543" y="238"/>
                    </a:lnTo>
                    <a:lnTo>
                      <a:pt x="540" y="231"/>
                    </a:lnTo>
                    <a:lnTo>
                      <a:pt x="540" y="221"/>
                    </a:lnTo>
                    <a:lnTo>
                      <a:pt x="538" y="206"/>
                    </a:lnTo>
                    <a:lnTo>
                      <a:pt x="538" y="193"/>
                    </a:lnTo>
                    <a:lnTo>
                      <a:pt x="536" y="186"/>
                    </a:lnTo>
                    <a:lnTo>
                      <a:pt x="536" y="180"/>
                    </a:lnTo>
                    <a:lnTo>
                      <a:pt x="536" y="172"/>
                    </a:lnTo>
                    <a:lnTo>
                      <a:pt x="534" y="157"/>
                    </a:lnTo>
                    <a:lnTo>
                      <a:pt x="525" y="137"/>
                    </a:lnTo>
                    <a:lnTo>
                      <a:pt x="525" y="133"/>
                    </a:lnTo>
                    <a:lnTo>
                      <a:pt x="517" y="110"/>
                    </a:lnTo>
                    <a:lnTo>
                      <a:pt x="517" y="103"/>
                    </a:lnTo>
                    <a:lnTo>
                      <a:pt x="517" y="90"/>
                    </a:lnTo>
                    <a:lnTo>
                      <a:pt x="515" y="86"/>
                    </a:lnTo>
                    <a:lnTo>
                      <a:pt x="517" y="80"/>
                    </a:lnTo>
                    <a:lnTo>
                      <a:pt x="515" y="67"/>
                    </a:lnTo>
                    <a:lnTo>
                      <a:pt x="519" y="54"/>
                    </a:lnTo>
                    <a:lnTo>
                      <a:pt x="517" y="46"/>
                    </a:lnTo>
                    <a:lnTo>
                      <a:pt x="511" y="28"/>
                    </a:lnTo>
                    <a:lnTo>
                      <a:pt x="510" y="22"/>
                    </a:lnTo>
                    <a:lnTo>
                      <a:pt x="510" y="22"/>
                    </a:lnTo>
                    <a:lnTo>
                      <a:pt x="510" y="18"/>
                    </a:lnTo>
                    <a:lnTo>
                      <a:pt x="448" y="18"/>
                    </a:lnTo>
                    <a:lnTo>
                      <a:pt x="303" y="15"/>
                    </a:lnTo>
                    <a:lnTo>
                      <a:pt x="135" y="7"/>
                    </a:lnTo>
                    <a:lnTo>
                      <a:pt x="23" y="0"/>
                    </a:lnTo>
                    <a:lnTo>
                      <a:pt x="23" y="3"/>
                    </a:lnTo>
                    <a:lnTo>
                      <a:pt x="0" y="325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71" name="Freeform 32"/>
              <p:cNvSpPr>
                <a:spLocks/>
              </p:cNvSpPr>
              <p:nvPr/>
            </p:nvSpPr>
            <p:spPr bwMode="auto">
              <a:xfrm>
                <a:off x="2642660" y="2705039"/>
                <a:ext cx="708028" cy="327887"/>
              </a:xfrm>
              <a:custGeom>
                <a:avLst/>
                <a:gdLst>
                  <a:gd name="T0" fmla="*/ 716 w 737"/>
                  <a:gd name="T1" fmla="*/ 67 h 376"/>
                  <a:gd name="T2" fmla="*/ 609 w 737"/>
                  <a:gd name="T3" fmla="*/ 15 h 376"/>
                  <a:gd name="T4" fmla="*/ 222 w 737"/>
                  <a:gd name="T5" fmla="*/ 11 h 376"/>
                  <a:gd name="T6" fmla="*/ 2 w 737"/>
                  <a:gd name="T7" fmla="*/ 0 h 376"/>
                  <a:gd name="T8" fmla="*/ 117 w 737"/>
                  <a:gd name="T9" fmla="*/ 60 h 376"/>
                  <a:gd name="T10" fmla="*/ 241 w 737"/>
                  <a:gd name="T11" fmla="*/ 66 h 376"/>
                  <a:gd name="T12" fmla="*/ 256 w 737"/>
                  <a:gd name="T13" fmla="*/ 69 h 376"/>
                  <a:gd name="T14" fmla="*/ 250 w 737"/>
                  <a:gd name="T15" fmla="*/ 274 h 376"/>
                  <a:gd name="T16" fmla="*/ 263 w 737"/>
                  <a:gd name="T17" fmla="*/ 280 h 376"/>
                  <a:gd name="T18" fmla="*/ 282 w 737"/>
                  <a:gd name="T19" fmla="*/ 297 h 376"/>
                  <a:gd name="T20" fmla="*/ 295 w 737"/>
                  <a:gd name="T21" fmla="*/ 297 h 376"/>
                  <a:gd name="T22" fmla="*/ 307 w 737"/>
                  <a:gd name="T23" fmla="*/ 287 h 376"/>
                  <a:gd name="T24" fmla="*/ 314 w 737"/>
                  <a:gd name="T25" fmla="*/ 295 h 376"/>
                  <a:gd name="T26" fmla="*/ 320 w 737"/>
                  <a:gd name="T27" fmla="*/ 308 h 376"/>
                  <a:gd name="T28" fmla="*/ 329 w 737"/>
                  <a:gd name="T29" fmla="*/ 316 h 376"/>
                  <a:gd name="T30" fmla="*/ 339 w 737"/>
                  <a:gd name="T31" fmla="*/ 316 h 376"/>
                  <a:gd name="T32" fmla="*/ 359 w 737"/>
                  <a:gd name="T33" fmla="*/ 325 h 376"/>
                  <a:gd name="T34" fmla="*/ 372 w 737"/>
                  <a:gd name="T35" fmla="*/ 323 h 376"/>
                  <a:gd name="T36" fmla="*/ 382 w 737"/>
                  <a:gd name="T37" fmla="*/ 333 h 376"/>
                  <a:gd name="T38" fmla="*/ 395 w 737"/>
                  <a:gd name="T39" fmla="*/ 325 h 376"/>
                  <a:gd name="T40" fmla="*/ 418 w 737"/>
                  <a:gd name="T41" fmla="*/ 325 h 376"/>
                  <a:gd name="T42" fmla="*/ 421 w 737"/>
                  <a:gd name="T43" fmla="*/ 340 h 376"/>
                  <a:gd name="T44" fmla="*/ 429 w 737"/>
                  <a:gd name="T45" fmla="*/ 346 h 376"/>
                  <a:gd name="T46" fmla="*/ 436 w 737"/>
                  <a:gd name="T47" fmla="*/ 355 h 376"/>
                  <a:gd name="T48" fmla="*/ 453 w 737"/>
                  <a:gd name="T49" fmla="*/ 342 h 376"/>
                  <a:gd name="T50" fmla="*/ 463 w 737"/>
                  <a:gd name="T51" fmla="*/ 351 h 376"/>
                  <a:gd name="T52" fmla="*/ 472 w 737"/>
                  <a:gd name="T53" fmla="*/ 359 h 376"/>
                  <a:gd name="T54" fmla="*/ 491 w 737"/>
                  <a:gd name="T55" fmla="*/ 355 h 376"/>
                  <a:gd name="T56" fmla="*/ 495 w 737"/>
                  <a:gd name="T57" fmla="*/ 361 h 376"/>
                  <a:gd name="T58" fmla="*/ 498 w 737"/>
                  <a:gd name="T59" fmla="*/ 370 h 376"/>
                  <a:gd name="T60" fmla="*/ 506 w 737"/>
                  <a:gd name="T61" fmla="*/ 357 h 376"/>
                  <a:gd name="T62" fmla="*/ 515 w 737"/>
                  <a:gd name="T63" fmla="*/ 348 h 376"/>
                  <a:gd name="T64" fmla="*/ 523 w 737"/>
                  <a:gd name="T65" fmla="*/ 348 h 376"/>
                  <a:gd name="T66" fmla="*/ 536 w 737"/>
                  <a:gd name="T67" fmla="*/ 357 h 376"/>
                  <a:gd name="T68" fmla="*/ 549 w 737"/>
                  <a:gd name="T69" fmla="*/ 353 h 376"/>
                  <a:gd name="T70" fmla="*/ 560 w 737"/>
                  <a:gd name="T71" fmla="*/ 364 h 376"/>
                  <a:gd name="T72" fmla="*/ 574 w 737"/>
                  <a:gd name="T73" fmla="*/ 372 h 376"/>
                  <a:gd name="T74" fmla="*/ 585 w 737"/>
                  <a:gd name="T75" fmla="*/ 366 h 376"/>
                  <a:gd name="T76" fmla="*/ 600 w 737"/>
                  <a:gd name="T77" fmla="*/ 357 h 376"/>
                  <a:gd name="T78" fmla="*/ 613 w 737"/>
                  <a:gd name="T79" fmla="*/ 357 h 376"/>
                  <a:gd name="T80" fmla="*/ 626 w 737"/>
                  <a:gd name="T81" fmla="*/ 351 h 376"/>
                  <a:gd name="T82" fmla="*/ 647 w 737"/>
                  <a:gd name="T83" fmla="*/ 353 h 376"/>
                  <a:gd name="T84" fmla="*/ 658 w 737"/>
                  <a:gd name="T85" fmla="*/ 355 h 376"/>
                  <a:gd name="T86" fmla="*/ 668 w 737"/>
                  <a:gd name="T87" fmla="*/ 346 h 376"/>
                  <a:gd name="T88" fmla="*/ 690 w 737"/>
                  <a:gd name="T89" fmla="*/ 355 h 376"/>
                  <a:gd name="T90" fmla="*/ 711 w 737"/>
                  <a:gd name="T91" fmla="*/ 368 h 376"/>
                  <a:gd name="T92" fmla="*/ 737 w 737"/>
                  <a:gd name="T93" fmla="*/ 376 h 376"/>
                  <a:gd name="T94" fmla="*/ 732 w 737"/>
                  <a:gd name="T95" fmla="*/ 158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37" h="376">
                    <a:moveTo>
                      <a:pt x="732" y="158"/>
                    </a:moveTo>
                    <a:lnTo>
                      <a:pt x="716" y="67"/>
                    </a:lnTo>
                    <a:lnTo>
                      <a:pt x="715" y="13"/>
                    </a:lnTo>
                    <a:lnTo>
                      <a:pt x="609" y="15"/>
                    </a:lnTo>
                    <a:lnTo>
                      <a:pt x="416" y="15"/>
                    </a:lnTo>
                    <a:lnTo>
                      <a:pt x="222" y="11"/>
                    </a:lnTo>
                    <a:lnTo>
                      <a:pt x="87" y="5"/>
                    </a:lnTo>
                    <a:lnTo>
                      <a:pt x="2" y="0"/>
                    </a:lnTo>
                    <a:lnTo>
                      <a:pt x="0" y="54"/>
                    </a:lnTo>
                    <a:lnTo>
                      <a:pt x="117" y="60"/>
                    </a:lnTo>
                    <a:lnTo>
                      <a:pt x="205" y="66"/>
                    </a:lnTo>
                    <a:lnTo>
                      <a:pt x="241" y="66"/>
                    </a:lnTo>
                    <a:lnTo>
                      <a:pt x="248" y="66"/>
                    </a:lnTo>
                    <a:lnTo>
                      <a:pt x="256" y="69"/>
                    </a:lnTo>
                    <a:lnTo>
                      <a:pt x="250" y="263"/>
                    </a:lnTo>
                    <a:lnTo>
                      <a:pt x="250" y="274"/>
                    </a:lnTo>
                    <a:lnTo>
                      <a:pt x="256" y="274"/>
                    </a:lnTo>
                    <a:lnTo>
                      <a:pt x="263" y="280"/>
                    </a:lnTo>
                    <a:lnTo>
                      <a:pt x="275" y="293"/>
                    </a:lnTo>
                    <a:lnTo>
                      <a:pt x="282" y="297"/>
                    </a:lnTo>
                    <a:lnTo>
                      <a:pt x="288" y="293"/>
                    </a:lnTo>
                    <a:lnTo>
                      <a:pt x="295" y="297"/>
                    </a:lnTo>
                    <a:lnTo>
                      <a:pt x="303" y="295"/>
                    </a:lnTo>
                    <a:lnTo>
                      <a:pt x="307" y="287"/>
                    </a:lnTo>
                    <a:lnTo>
                      <a:pt x="309" y="291"/>
                    </a:lnTo>
                    <a:lnTo>
                      <a:pt x="314" y="295"/>
                    </a:lnTo>
                    <a:lnTo>
                      <a:pt x="320" y="302"/>
                    </a:lnTo>
                    <a:lnTo>
                      <a:pt x="320" y="308"/>
                    </a:lnTo>
                    <a:lnTo>
                      <a:pt x="322" y="316"/>
                    </a:lnTo>
                    <a:lnTo>
                      <a:pt x="329" y="316"/>
                    </a:lnTo>
                    <a:lnTo>
                      <a:pt x="331" y="317"/>
                    </a:lnTo>
                    <a:lnTo>
                      <a:pt x="339" y="316"/>
                    </a:lnTo>
                    <a:lnTo>
                      <a:pt x="346" y="319"/>
                    </a:lnTo>
                    <a:lnTo>
                      <a:pt x="359" y="325"/>
                    </a:lnTo>
                    <a:lnTo>
                      <a:pt x="367" y="323"/>
                    </a:lnTo>
                    <a:lnTo>
                      <a:pt x="372" y="323"/>
                    </a:lnTo>
                    <a:lnTo>
                      <a:pt x="376" y="327"/>
                    </a:lnTo>
                    <a:lnTo>
                      <a:pt x="382" y="333"/>
                    </a:lnTo>
                    <a:lnTo>
                      <a:pt x="389" y="331"/>
                    </a:lnTo>
                    <a:lnTo>
                      <a:pt x="395" y="325"/>
                    </a:lnTo>
                    <a:lnTo>
                      <a:pt x="410" y="327"/>
                    </a:lnTo>
                    <a:lnTo>
                      <a:pt x="418" y="325"/>
                    </a:lnTo>
                    <a:lnTo>
                      <a:pt x="416" y="333"/>
                    </a:lnTo>
                    <a:lnTo>
                      <a:pt x="421" y="340"/>
                    </a:lnTo>
                    <a:lnTo>
                      <a:pt x="427" y="340"/>
                    </a:lnTo>
                    <a:lnTo>
                      <a:pt x="429" y="346"/>
                    </a:lnTo>
                    <a:lnTo>
                      <a:pt x="429" y="355"/>
                    </a:lnTo>
                    <a:lnTo>
                      <a:pt x="436" y="355"/>
                    </a:lnTo>
                    <a:lnTo>
                      <a:pt x="442" y="353"/>
                    </a:lnTo>
                    <a:lnTo>
                      <a:pt x="453" y="342"/>
                    </a:lnTo>
                    <a:lnTo>
                      <a:pt x="461" y="346"/>
                    </a:lnTo>
                    <a:lnTo>
                      <a:pt x="463" y="351"/>
                    </a:lnTo>
                    <a:lnTo>
                      <a:pt x="470" y="351"/>
                    </a:lnTo>
                    <a:lnTo>
                      <a:pt x="472" y="359"/>
                    </a:lnTo>
                    <a:lnTo>
                      <a:pt x="480" y="359"/>
                    </a:lnTo>
                    <a:lnTo>
                      <a:pt x="491" y="355"/>
                    </a:lnTo>
                    <a:lnTo>
                      <a:pt x="497" y="355"/>
                    </a:lnTo>
                    <a:lnTo>
                      <a:pt x="495" y="361"/>
                    </a:lnTo>
                    <a:lnTo>
                      <a:pt x="497" y="368"/>
                    </a:lnTo>
                    <a:lnTo>
                      <a:pt x="498" y="370"/>
                    </a:lnTo>
                    <a:lnTo>
                      <a:pt x="504" y="370"/>
                    </a:lnTo>
                    <a:lnTo>
                      <a:pt x="506" y="357"/>
                    </a:lnTo>
                    <a:lnTo>
                      <a:pt x="513" y="351"/>
                    </a:lnTo>
                    <a:lnTo>
                      <a:pt x="515" y="348"/>
                    </a:lnTo>
                    <a:lnTo>
                      <a:pt x="517" y="346"/>
                    </a:lnTo>
                    <a:lnTo>
                      <a:pt x="523" y="348"/>
                    </a:lnTo>
                    <a:lnTo>
                      <a:pt x="529" y="355"/>
                    </a:lnTo>
                    <a:lnTo>
                      <a:pt x="536" y="357"/>
                    </a:lnTo>
                    <a:lnTo>
                      <a:pt x="542" y="351"/>
                    </a:lnTo>
                    <a:lnTo>
                      <a:pt x="549" y="353"/>
                    </a:lnTo>
                    <a:lnTo>
                      <a:pt x="553" y="361"/>
                    </a:lnTo>
                    <a:lnTo>
                      <a:pt x="560" y="364"/>
                    </a:lnTo>
                    <a:lnTo>
                      <a:pt x="568" y="366"/>
                    </a:lnTo>
                    <a:lnTo>
                      <a:pt x="574" y="372"/>
                    </a:lnTo>
                    <a:lnTo>
                      <a:pt x="577" y="366"/>
                    </a:lnTo>
                    <a:lnTo>
                      <a:pt x="585" y="366"/>
                    </a:lnTo>
                    <a:lnTo>
                      <a:pt x="592" y="357"/>
                    </a:lnTo>
                    <a:lnTo>
                      <a:pt x="600" y="357"/>
                    </a:lnTo>
                    <a:lnTo>
                      <a:pt x="607" y="351"/>
                    </a:lnTo>
                    <a:lnTo>
                      <a:pt x="613" y="357"/>
                    </a:lnTo>
                    <a:lnTo>
                      <a:pt x="621" y="357"/>
                    </a:lnTo>
                    <a:lnTo>
                      <a:pt x="626" y="351"/>
                    </a:lnTo>
                    <a:lnTo>
                      <a:pt x="639" y="346"/>
                    </a:lnTo>
                    <a:lnTo>
                      <a:pt x="647" y="353"/>
                    </a:lnTo>
                    <a:lnTo>
                      <a:pt x="653" y="355"/>
                    </a:lnTo>
                    <a:lnTo>
                      <a:pt x="658" y="355"/>
                    </a:lnTo>
                    <a:lnTo>
                      <a:pt x="664" y="351"/>
                    </a:lnTo>
                    <a:lnTo>
                      <a:pt x="668" y="346"/>
                    </a:lnTo>
                    <a:lnTo>
                      <a:pt x="673" y="346"/>
                    </a:lnTo>
                    <a:lnTo>
                      <a:pt x="690" y="355"/>
                    </a:lnTo>
                    <a:lnTo>
                      <a:pt x="703" y="366"/>
                    </a:lnTo>
                    <a:lnTo>
                      <a:pt x="711" y="368"/>
                    </a:lnTo>
                    <a:lnTo>
                      <a:pt x="716" y="372"/>
                    </a:lnTo>
                    <a:lnTo>
                      <a:pt x="737" y="376"/>
                    </a:lnTo>
                    <a:lnTo>
                      <a:pt x="735" y="188"/>
                    </a:lnTo>
                    <a:lnTo>
                      <a:pt x="732" y="15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72" name="Freeform 33"/>
              <p:cNvSpPr>
                <a:spLocks/>
              </p:cNvSpPr>
              <p:nvPr/>
            </p:nvSpPr>
            <p:spPr bwMode="auto">
              <a:xfrm>
                <a:off x="2726240" y="2425986"/>
                <a:ext cx="603313" cy="292134"/>
              </a:xfrm>
              <a:custGeom>
                <a:avLst/>
                <a:gdLst>
                  <a:gd name="T0" fmla="*/ 616 w 628"/>
                  <a:gd name="T1" fmla="*/ 98 h 335"/>
                  <a:gd name="T2" fmla="*/ 609 w 628"/>
                  <a:gd name="T3" fmla="*/ 96 h 335"/>
                  <a:gd name="T4" fmla="*/ 599 w 628"/>
                  <a:gd name="T5" fmla="*/ 83 h 335"/>
                  <a:gd name="T6" fmla="*/ 599 w 628"/>
                  <a:gd name="T7" fmla="*/ 75 h 335"/>
                  <a:gd name="T8" fmla="*/ 592 w 628"/>
                  <a:gd name="T9" fmla="*/ 72 h 335"/>
                  <a:gd name="T10" fmla="*/ 584 w 628"/>
                  <a:gd name="T11" fmla="*/ 62 h 335"/>
                  <a:gd name="T12" fmla="*/ 582 w 628"/>
                  <a:gd name="T13" fmla="*/ 55 h 335"/>
                  <a:gd name="T14" fmla="*/ 590 w 628"/>
                  <a:gd name="T15" fmla="*/ 43 h 335"/>
                  <a:gd name="T16" fmla="*/ 592 w 628"/>
                  <a:gd name="T17" fmla="*/ 38 h 335"/>
                  <a:gd name="T18" fmla="*/ 599 w 628"/>
                  <a:gd name="T19" fmla="*/ 38 h 335"/>
                  <a:gd name="T20" fmla="*/ 601 w 628"/>
                  <a:gd name="T21" fmla="*/ 36 h 335"/>
                  <a:gd name="T22" fmla="*/ 599 w 628"/>
                  <a:gd name="T23" fmla="*/ 28 h 335"/>
                  <a:gd name="T24" fmla="*/ 594 w 628"/>
                  <a:gd name="T25" fmla="*/ 21 h 335"/>
                  <a:gd name="T26" fmla="*/ 590 w 628"/>
                  <a:gd name="T27" fmla="*/ 19 h 335"/>
                  <a:gd name="T28" fmla="*/ 582 w 628"/>
                  <a:gd name="T29" fmla="*/ 25 h 335"/>
                  <a:gd name="T30" fmla="*/ 564 w 628"/>
                  <a:gd name="T31" fmla="*/ 10 h 335"/>
                  <a:gd name="T32" fmla="*/ 426 w 628"/>
                  <a:gd name="T33" fmla="*/ 11 h 335"/>
                  <a:gd name="T34" fmla="*/ 321 w 628"/>
                  <a:gd name="T35" fmla="*/ 10 h 335"/>
                  <a:gd name="T36" fmla="*/ 120 w 628"/>
                  <a:gd name="T37" fmla="*/ 6 h 335"/>
                  <a:gd name="T38" fmla="*/ 15 w 628"/>
                  <a:gd name="T39" fmla="*/ 0 h 335"/>
                  <a:gd name="T40" fmla="*/ 0 w 628"/>
                  <a:gd name="T41" fmla="*/ 325 h 335"/>
                  <a:gd name="T42" fmla="*/ 135 w 628"/>
                  <a:gd name="T43" fmla="*/ 331 h 335"/>
                  <a:gd name="T44" fmla="*/ 329 w 628"/>
                  <a:gd name="T45" fmla="*/ 335 h 335"/>
                  <a:gd name="T46" fmla="*/ 522 w 628"/>
                  <a:gd name="T47" fmla="*/ 335 h 335"/>
                  <a:gd name="T48" fmla="*/ 628 w 628"/>
                  <a:gd name="T49" fmla="*/ 333 h 335"/>
                  <a:gd name="T50" fmla="*/ 624 w 628"/>
                  <a:gd name="T51" fmla="*/ 104 h 335"/>
                  <a:gd name="T52" fmla="*/ 616 w 628"/>
                  <a:gd name="T53" fmla="*/ 98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28" h="335">
                    <a:moveTo>
                      <a:pt x="616" y="98"/>
                    </a:moveTo>
                    <a:lnTo>
                      <a:pt x="609" y="96"/>
                    </a:lnTo>
                    <a:lnTo>
                      <a:pt x="599" y="83"/>
                    </a:lnTo>
                    <a:lnTo>
                      <a:pt x="599" y="75"/>
                    </a:lnTo>
                    <a:lnTo>
                      <a:pt x="592" y="72"/>
                    </a:lnTo>
                    <a:lnTo>
                      <a:pt x="584" y="62"/>
                    </a:lnTo>
                    <a:lnTo>
                      <a:pt x="582" y="55"/>
                    </a:lnTo>
                    <a:lnTo>
                      <a:pt x="590" y="43"/>
                    </a:lnTo>
                    <a:lnTo>
                      <a:pt x="592" y="38"/>
                    </a:lnTo>
                    <a:lnTo>
                      <a:pt x="599" y="38"/>
                    </a:lnTo>
                    <a:lnTo>
                      <a:pt x="601" y="36"/>
                    </a:lnTo>
                    <a:lnTo>
                      <a:pt x="599" y="28"/>
                    </a:lnTo>
                    <a:lnTo>
                      <a:pt x="594" y="21"/>
                    </a:lnTo>
                    <a:lnTo>
                      <a:pt x="590" y="19"/>
                    </a:lnTo>
                    <a:lnTo>
                      <a:pt x="582" y="25"/>
                    </a:lnTo>
                    <a:lnTo>
                      <a:pt x="564" y="10"/>
                    </a:lnTo>
                    <a:lnTo>
                      <a:pt x="426" y="11"/>
                    </a:lnTo>
                    <a:lnTo>
                      <a:pt x="321" y="10"/>
                    </a:lnTo>
                    <a:lnTo>
                      <a:pt x="120" y="6"/>
                    </a:lnTo>
                    <a:lnTo>
                      <a:pt x="15" y="0"/>
                    </a:lnTo>
                    <a:lnTo>
                      <a:pt x="0" y="325"/>
                    </a:lnTo>
                    <a:lnTo>
                      <a:pt x="135" y="331"/>
                    </a:lnTo>
                    <a:lnTo>
                      <a:pt x="329" y="335"/>
                    </a:lnTo>
                    <a:lnTo>
                      <a:pt x="522" y="335"/>
                    </a:lnTo>
                    <a:lnTo>
                      <a:pt x="628" y="333"/>
                    </a:lnTo>
                    <a:lnTo>
                      <a:pt x="624" y="104"/>
                    </a:lnTo>
                    <a:lnTo>
                      <a:pt x="616" y="9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grpSp>
            <p:nvGrpSpPr>
              <p:cNvPr id="457" name="Group 456"/>
              <p:cNvGrpSpPr/>
              <p:nvPr/>
            </p:nvGrpSpPr>
            <p:grpSpPr>
              <a:xfrm>
                <a:off x="2293930" y="2752129"/>
                <a:ext cx="1147064" cy="1013311"/>
                <a:chOff x="2293930" y="2752129"/>
                <a:chExt cx="1147064" cy="1013311"/>
              </a:xfrm>
              <a:grpFill/>
            </p:grpSpPr>
            <p:sp>
              <p:nvSpPr>
                <p:cNvPr id="273" name="Freeform 34"/>
                <p:cNvSpPr>
                  <a:spLocks/>
                </p:cNvSpPr>
                <p:nvPr/>
              </p:nvSpPr>
              <p:spPr bwMode="auto">
                <a:xfrm>
                  <a:off x="3098027" y="3642483"/>
                  <a:ext cx="22096" cy="96797"/>
                </a:xfrm>
                <a:custGeom>
                  <a:avLst/>
                  <a:gdLst>
                    <a:gd name="T0" fmla="*/ 9 w 23"/>
                    <a:gd name="T1" fmla="*/ 62 h 111"/>
                    <a:gd name="T2" fmla="*/ 9 w 23"/>
                    <a:gd name="T3" fmla="*/ 68 h 111"/>
                    <a:gd name="T4" fmla="*/ 13 w 23"/>
                    <a:gd name="T5" fmla="*/ 75 h 111"/>
                    <a:gd name="T6" fmla="*/ 19 w 23"/>
                    <a:gd name="T7" fmla="*/ 90 h 111"/>
                    <a:gd name="T8" fmla="*/ 19 w 23"/>
                    <a:gd name="T9" fmla="*/ 105 h 111"/>
                    <a:gd name="T10" fmla="*/ 23 w 23"/>
                    <a:gd name="T11" fmla="*/ 111 h 111"/>
                    <a:gd name="T12" fmla="*/ 19 w 23"/>
                    <a:gd name="T13" fmla="*/ 90 h 111"/>
                    <a:gd name="T14" fmla="*/ 17 w 23"/>
                    <a:gd name="T15" fmla="*/ 77 h 111"/>
                    <a:gd name="T16" fmla="*/ 4 w 23"/>
                    <a:gd name="T17" fmla="*/ 38 h 111"/>
                    <a:gd name="T18" fmla="*/ 2 w 23"/>
                    <a:gd name="T19" fmla="*/ 13 h 111"/>
                    <a:gd name="T20" fmla="*/ 2 w 23"/>
                    <a:gd name="T21" fmla="*/ 0 h 111"/>
                    <a:gd name="T22" fmla="*/ 0 w 23"/>
                    <a:gd name="T23" fmla="*/ 15 h 111"/>
                    <a:gd name="T24" fmla="*/ 2 w 23"/>
                    <a:gd name="T25" fmla="*/ 23 h 111"/>
                    <a:gd name="T26" fmla="*/ 0 w 23"/>
                    <a:gd name="T27" fmla="*/ 36 h 111"/>
                    <a:gd name="T28" fmla="*/ 6 w 23"/>
                    <a:gd name="T29" fmla="*/ 41 h 111"/>
                    <a:gd name="T30" fmla="*/ 4 w 23"/>
                    <a:gd name="T31" fmla="*/ 49 h 111"/>
                    <a:gd name="T32" fmla="*/ 9 w 23"/>
                    <a:gd name="T33" fmla="*/ 62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3" h="111">
                      <a:moveTo>
                        <a:pt x="9" y="62"/>
                      </a:moveTo>
                      <a:lnTo>
                        <a:pt x="9" y="68"/>
                      </a:lnTo>
                      <a:lnTo>
                        <a:pt x="13" y="75"/>
                      </a:lnTo>
                      <a:lnTo>
                        <a:pt x="19" y="90"/>
                      </a:lnTo>
                      <a:lnTo>
                        <a:pt x="19" y="105"/>
                      </a:lnTo>
                      <a:lnTo>
                        <a:pt x="23" y="111"/>
                      </a:lnTo>
                      <a:lnTo>
                        <a:pt x="19" y="90"/>
                      </a:lnTo>
                      <a:lnTo>
                        <a:pt x="17" y="77"/>
                      </a:lnTo>
                      <a:lnTo>
                        <a:pt x="4" y="38"/>
                      </a:lnTo>
                      <a:lnTo>
                        <a:pt x="2" y="13"/>
                      </a:lnTo>
                      <a:lnTo>
                        <a:pt x="2" y="0"/>
                      </a:lnTo>
                      <a:lnTo>
                        <a:pt x="0" y="15"/>
                      </a:lnTo>
                      <a:lnTo>
                        <a:pt x="2" y="23"/>
                      </a:lnTo>
                      <a:lnTo>
                        <a:pt x="0" y="36"/>
                      </a:lnTo>
                      <a:lnTo>
                        <a:pt x="6" y="41"/>
                      </a:lnTo>
                      <a:lnTo>
                        <a:pt x="4" y="49"/>
                      </a:lnTo>
                      <a:lnTo>
                        <a:pt x="9" y="62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74" name="Freeform 35"/>
                <p:cNvSpPr>
                  <a:spLocks/>
                </p:cNvSpPr>
                <p:nvPr/>
              </p:nvSpPr>
              <p:spPr bwMode="auto">
                <a:xfrm>
                  <a:off x="3098027" y="3642483"/>
                  <a:ext cx="22096" cy="96797"/>
                </a:xfrm>
                <a:custGeom>
                  <a:avLst/>
                  <a:gdLst>
                    <a:gd name="T0" fmla="*/ 9 w 23"/>
                    <a:gd name="T1" fmla="*/ 62 h 111"/>
                    <a:gd name="T2" fmla="*/ 9 w 23"/>
                    <a:gd name="T3" fmla="*/ 68 h 111"/>
                    <a:gd name="T4" fmla="*/ 13 w 23"/>
                    <a:gd name="T5" fmla="*/ 75 h 111"/>
                    <a:gd name="T6" fmla="*/ 19 w 23"/>
                    <a:gd name="T7" fmla="*/ 90 h 111"/>
                    <a:gd name="T8" fmla="*/ 19 w 23"/>
                    <a:gd name="T9" fmla="*/ 105 h 111"/>
                    <a:gd name="T10" fmla="*/ 23 w 23"/>
                    <a:gd name="T11" fmla="*/ 111 h 111"/>
                    <a:gd name="T12" fmla="*/ 19 w 23"/>
                    <a:gd name="T13" fmla="*/ 90 h 111"/>
                    <a:gd name="T14" fmla="*/ 17 w 23"/>
                    <a:gd name="T15" fmla="*/ 77 h 111"/>
                    <a:gd name="T16" fmla="*/ 4 w 23"/>
                    <a:gd name="T17" fmla="*/ 38 h 111"/>
                    <a:gd name="T18" fmla="*/ 2 w 23"/>
                    <a:gd name="T19" fmla="*/ 13 h 111"/>
                    <a:gd name="T20" fmla="*/ 2 w 23"/>
                    <a:gd name="T21" fmla="*/ 0 h 111"/>
                    <a:gd name="T22" fmla="*/ 0 w 23"/>
                    <a:gd name="T23" fmla="*/ 15 h 111"/>
                    <a:gd name="T24" fmla="*/ 2 w 23"/>
                    <a:gd name="T25" fmla="*/ 23 h 111"/>
                    <a:gd name="T26" fmla="*/ 0 w 23"/>
                    <a:gd name="T27" fmla="*/ 36 h 111"/>
                    <a:gd name="T28" fmla="*/ 6 w 23"/>
                    <a:gd name="T29" fmla="*/ 41 h 111"/>
                    <a:gd name="T30" fmla="*/ 4 w 23"/>
                    <a:gd name="T31" fmla="*/ 49 h 111"/>
                    <a:gd name="T32" fmla="*/ 9 w 23"/>
                    <a:gd name="T33" fmla="*/ 62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3" h="111">
                      <a:moveTo>
                        <a:pt x="9" y="62"/>
                      </a:moveTo>
                      <a:lnTo>
                        <a:pt x="9" y="68"/>
                      </a:lnTo>
                      <a:lnTo>
                        <a:pt x="13" y="75"/>
                      </a:lnTo>
                      <a:lnTo>
                        <a:pt x="19" y="90"/>
                      </a:lnTo>
                      <a:lnTo>
                        <a:pt x="19" y="105"/>
                      </a:lnTo>
                      <a:lnTo>
                        <a:pt x="23" y="111"/>
                      </a:lnTo>
                      <a:lnTo>
                        <a:pt x="19" y="90"/>
                      </a:lnTo>
                      <a:lnTo>
                        <a:pt x="17" y="77"/>
                      </a:lnTo>
                      <a:lnTo>
                        <a:pt x="4" y="38"/>
                      </a:lnTo>
                      <a:lnTo>
                        <a:pt x="2" y="13"/>
                      </a:lnTo>
                      <a:lnTo>
                        <a:pt x="2" y="0"/>
                      </a:lnTo>
                      <a:lnTo>
                        <a:pt x="0" y="15"/>
                      </a:lnTo>
                      <a:lnTo>
                        <a:pt x="2" y="23"/>
                      </a:lnTo>
                      <a:lnTo>
                        <a:pt x="0" y="36"/>
                      </a:lnTo>
                      <a:lnTo>
                        <a:pt x="6" y="41"/>
                      </a:lnTo>
                      <a:lnTo>
                        <a:pt x="4" y="49"/>
                      </a:lnTo>
                      <a:lnTo>
                        <a:pt x="9" y="62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75" name="Freeform 36"/>
                <p:cNvSpPr>
                  <a:spLocks/>
                </p:cNvSpPr>
                <p:nvPr/>
              </p:nvSpPr>
              <p:spPr bwMode="auto">
                <a:xfrm>
                  <a:off x="2293930" y="2752129"/>
                  <a:ext cx="1147064" cy="1013311"/>
                </a:xfrm>
                <a:custGeom>
                  <a:avLst/>
                  <a:gdLst>
                    <a:gd name="T0" fmla="*/ 1181 w 1194"/>
                    <a:gd name="T1" fmla="*/ 645 h 1162"/>
                    <a:gd name="T2" fmla="*/ 1194 w 1194"/>
                    <a:gd name="T3" fmla="*/ 598 h 1162"/>
                    <a:gd name="T4" fmla="*/ 1173 w 1194"/>
                    <a:gd name="T5" fmla="*/ 555 h 1162"/>
                    <a:gd name="T6" fmla="*/ 1140 w 1194"/>
                    <a:gd name="T7" fmla="*/ 389 h 1162"/>
                    <a:gd name="T8" fmla="*/ 1079 w 1194"/>
                    <a:gd name="T9" fmla="*/ 318 h 1162"/>
                    <a:gd name="T10" fmla="*/ 1021 w 1194"/>
                    <a:gd name="T11" fmla="*/ 301 h 1162"/>
                    <a:gd name="T12" fmla="*/ 970 w 1194"/>
                    <a:gd name="T13" fmla="*/ 297 h 1162"/>
                    <a:gd name="T14" fmla="*/ 923 w 1194"/>
                    <a:gd name="T15" fmla="*/ 310 h 1162"/>
                    <a:gd name="T16" fmla="*/ 880 w 1194"/>
                    <a:gd name="T17" fmla="*/ 292 h 1162"/>
                    <a:gd name="T18" fmla="*/ 858 w 1194"/>
                    <a:gd name="T19" fmla="*/ 307 h 1162"/>
                    <a:gd name="T20" fmla="*/ 824 w 1194"/>
                    <a:gd name="T21" fmla="*/ 292 h 1162"/>
                    <a:gd name="T22" fmla="*/ 784 w 1194"/>
                    <a:gd name="T23" fmla="*/ 286 h 1162"/>
                    <a:gd name="T24" fmla="*/ 739 w 1194"/>
                    <a:gd name="T25" fmla="*/ 273 h 1162"/>
                    <a:gd name="T26" fmla="*/ 692 w 1194"/>
                    <a:gd name="T27" fmla="*/ 262 h 1162"/>
                    <a:gd name="T28" fmla="*/ 666 w 1194"/>
                    <a:gd name="T29" fmla="*/ 241 h 1162"/>
                    <a:gd name="T30" fmla="*/ 613 w 1194"/>
                    <a:gd name="T31" fmla="*/ 220 h 1162"/>
                    <a:gd name="T32" fmla="*/ 363 w 1194"/>
                    <a:gd name="T33" fmla="*/ 0 h 1162"/>
                    <a:gd name="T34" fmla="*/ 316 w 1194"/>
                    <a:gd name="T35" fmla="*/ 485 h 1162"/>
                    <a:gd name="T36" fmla="*/ 10 w 1194"/>
                    <a:gd name="T37" fmla="*/ 480 h 1162"/>
                    <a:gd name="T38" fmla="*/ 31 w 1194"/>
                    <a:gd name="T39" fmla="*/ 506 h 1162"/>
                    <a:gd name="T40" fmla="*/ 93 w 1194"/>
                    <a:gd name="T41" fmla="*/ 577 h 1162"/>
                    <a:gd name="T42" fmla="*/ 147 w 1194"/>
                    <a:gd name="T43" fmla="*/ 624 h 1162"/>
                    <a:gd name="T44" fmla="*/ 162 w 1194"/>
                    <a:gd name="T45" fmla="*/ 683 h 1162"/>
                    <a:gd name="T46" fmla="*/ 220 w 1194"/>
                    <a:gd name="T47" fmla="*/ 767 h 1162"/>
                    <a:gd name="T48" fmla="*/ 282 w 1194"/>
                    <a:gd name="T49" fmla="*/ 803 h 1162"/>
                    <a:gd name="T50" fmla="*/ 322 w 1194"/>
                    <a:gd name="T51" fmla="*/ 788 h 1162"/>
                    <a:gd name="T52" fmla="*/ 356 w 1194"/>
                    <a:gd name="T53" fmla="*/ 730 h 1162"/>
                    <a:gd name="T54" fmla="*/ 407 w 1194"/>
                    <a:gd name="T55" fmla="*/ 728 h 1162"/>
                    <a:gd name="T56" fmla="*/ 467 w 1194"/>
                    <a:gd name="T57" fmla="*/ 735 h 1162"/>
                    <a:gd name="T58" fmla="*/ 499 w 1194"/>
                    <a:gd name="T59" fmla="*/ 769 h 1162"/>
                    <a:gd name="T60" fmla="*/ 548 w 1194"/>
                    <a:gd name="T61" fmla="*/ 850 h 1162"/>
                    <a:gd name="T62" fmla="*/ 568 w 1194"/>
                    <a:gd name="T63" fmla="*/ 903 h 1162"/>
                    <a:gd name="T64" fmla="*/ 604 w 1194"/>
                    <a:gd name="T65" fmla="*/ 946 h 1162"/>
                    <a:gd name="T66" fmla="*/ 638 w 1194"/>
                    <a:gd name="T67" fmla="*/ 997 h 1162"/>
                    <a:gd name="T68" fmla="*/ 653 w 1194"/>
                    <a:gd name="T69" fmla="*/ 1049 h 1162"/>
                    <a:gd name="T70" fmla="*/ 690 w 1194"/>
                    <a:gd name="T71" fmla="*/ 1102 h 1162"/>
                    <a:gd name="T72" fmla="*/ 730 w 1194"/>
                    <a:gd name="T73" fmla="*/ 1121 h 1162"/>
                    <a:gd name="T74" fmla="*/ 813 w 1194"/>
                    <a:gd name="T75" fmla="*/ 1143 h 1162"/>
                    <a:gd name="T76" fmla="*/ 861 w 1194"/>
                    <a:gd name="T77" fmla="*/ 1149 h 1162"/>
                    <a:gd name="T78" fmla="*/ 846 w 1194"/>
                    <a:gd name="T79" fmla="*/ 1132 h 1162"/>
                    <a:gd name="T80" fmla="*/ 829 w 1194"/>
                    <a:gd name="T81" fmla="*/ 1053 h 1162"/>
                    <a:gd name="T82" fmla="*/ 835 w 1194"/>
                    <a:gd name="T83" fmla="*/ 1010 h 1162"/>
                    <a:gd name="T84" fmla="*/ 814 w 1194"/>
                    <a:gd name="T85" fmla="*/ 1002 h 1162"/>
                    <a:gd name="T86" fmla="*/ 846 w 1194"/>
                    <a:gd name="T87" fmla="*/ 963 h 1162"/>
                    <a:gd name="T88" fmla="*/ 850 w 1194"/>
                    <a:gd name="T89" fmla="*/ 946 h 1162"/>
                    <a:gd name="T90" fmla="*/ 858 w 1194"/>
                    <a:gd name="T91" fmla="*/ 925 h 1162"/>
                    <a:gd name="T92" fmla="*/ 884 w 1194"/>
                    <a:gd name="T93" fmla="*/ 905 h 1162"/>
                    <a:gd name="T94" fmla="*/ 895 w 1194"/>
                    <a:gd name="T95" fmla="*/ 884 h 1162"/>
                    <a:gd name="T96" fmla="*/ 918 w 1194"/>
                    <a:gd name="T97" fmla="*/ 882 h 1162"/>
                    <a:gd name="T98" fmla="*/ 935 w 1194"/>
                    <a:gd name="T99" fmla="*/ 867 h 1162"/>
                    <a:gd name="T100" fmla="*/ 957 w 1194"/>
                    <a:gd name="T101" fmla="*/ 865 h 1162"/>
                    <a:gd name="T102" fmla="*/ 985 w 1194"/>
                    <a:gd name="T103" fmla="*/ 863 h 1162"/>
                    <a:gd name="T104" fmla="*/ 1017 w 1194"/>
                    <a:gd name="T105" fmla="*/ 843 h 1162"/>
                    <a:gd name="T106" fmla="*/ 1072 w 1194"/>
                    <a:gd name="T107" fmla="*/ 790 h 1162"/>
                    <a:gd name="T108" fmla="*/ 1063 w 1194"/>
                    <a:gd name="T109" fmla="*/ 747 h 1162"/>
                    <a:gd name="T110" fmla="*/ 1098 w 1194"/>
                    <a:gd name="T111" fmla="*/ 762 h 1162"/>
                    <a:gd name="T112" fmla="*/ 1093 w 1194"/>
                    <a:gd name="T113" fmla="*/ 777 h 1162"/>
                    <a:gd name="T114" fmla="*/ 1168 w 1194"/>
                    <a:gd name="T115" fmla="*/ 718 h 1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194" h="1162">
                      <a:moveTo>
                        <a:pt x="1181" y="705"/>
                      </a:moveTo>
                      <a:lnTo>
                        <a:pt x="1183" y="698"/>
                      </a:lnTo>
                      <a:lnTo>
                        <a:pt x="1179" y="681"/>
                      </a:lnTo>
                      <a:lnTo>
                        <a:pt x="1175" y="673"/>
                      </a:lnTo>
                      <a:lnTo>
                        <a:pt x="1181" y="666"/>
                      </a:lnTo>
                      <a:lnTo>
                        <a:pt x="1179" y="653"/>
                      </a:lnTo>
                      <a:lnTo>
                        <a:pt x="1181" y="645"/>
                      </a:lnTo>
                      <a:lnTo>
                        <a:pt x="1187" y="638"/>
                      </a:lnTo>
                      <a:lnTo>
                        <a:pt x="1189" y="630"/>
                      </a:lnTo>
                      <a:lnTo>
                        <a:pt x="1192" y="624"/>
                      </a:lnTo>
                      <a:lnTo>
                        <a:pt x="1190" y="617"/>
                      </a:lnTo>
                      <a:lnTo>
                        <a:pt x="1194" y="609"/>
                      </a:lnTo>
                      <a:lnTo>
                        <a:pt x="1190" y="604"/>
                      </a:lnTo>
                      <a:lnTo>
                        <a:pt x="1194" y="598"/>
                      </a:lnTo>
                      <a:lnTo>
                        <a:pt x="1192" y="591"/>
                      </a:lnTo>
                      <a:lnTo>
                        <a:pt x="1192" y="585"/>
                      </a:lnTo>
                      <a:lnTo>
                        <a:pt x="1190" y="583"/>
                      </a:lnTo>
                      <a:lnTo>
                        <a:pt x="1179" y="570"/>
                      </a:lnTo>
                      <a:lnTo>
                        <a:pt x="1179" y="562"/>
                      </a:lnTo>
                      <a:lnTo>
                        <a:pt x="1175" y="557"/>
                      </a:lnTo>
                      <a:lnTo>
                        <a:pt x="1173" y="555"/>
                      </a:lnTo>
                      <a:lnTo>
                        <a:pt x="1170" y="547"/>
                      </a:lnTo>
                      <a:lnTo>
                        <a:pt x="1164" y="540"/>
                      </a:lnTo>
                      <a:lnTo>
                        <a:pt x="1166" y="530"/>
                      </a:lnTo>
                      <a:lnTo>
                        <a:pt x="1160" y="515"/>
                      </a:lnTo>
                      <a:lnTo>
                        <a:pt x="1157" y="510"/>
                      </a:lnTo>
                      <a:lnTo>
                        <a:pt x="1143" y="498"/>
                      </a:lnTo>
                      <a:lnTo>
                        <a:pt x="1140" y="389"/>
                      </a:lnTo>
                      <a:lnTo>
                        <a:pt x="1138" y="331"/>
                      </a:lnTo>
                      <a:lnTo>
                        <a:pt x="1117" y="327"/>
                      </a:lnTo>
                      <a:lnTo>
                        <a:pt x="1110" y="331"/>
                      </a:lnTo>
                      <a:lnTo>
                        <a:pt x="1102" y="327"/>
                      </a:lnTo>
                      <a:lnTo>
                        <a:pt x="1102" y="324"/>
                      </a:lnTo>
                      <a:lnTo>
                        <a:pt x="1100" y="322"/>
                      </a:lnTo>
                      <a:lnTo>
                        <a:pt x="1079" y="318"/>
                      </a:lnTo>
                      <a:lnTo>
                        <a:pt x="1074" y="314"/>
                      </a:lnTo>
                      <a:lnTo>
                        <a:pt x="1066" y="312"/>
                      </a:lnTo>
                      <a:lnTo>
                        <a:pt x="1053" y="301"/>
                      </a:lnTo>
                      <a:lnTo>
                        <a:pt x="1036" y="292"/>
                      </a:lnTo>
                      <a:lnTo>
                        <a:pt x="1031" y="292"/>
                      </a:lnTo>
                      <a:lnTo>
                        <a:pt x="1027" y="297"/>
                      </a:lnTo>
                      <a:lnTo>
                        <a:pt x="1021" y="301"/>
                      </a:lnTo>
                      <a:lnTo>
                        <a:pt x="1016" y="301"/>
                      </a:lnTo>
                      <a:lnTo>
                        <a:pt x="1010" y="299"/>
                      </a:lnTo>
                      <a:lnTo>
                        <a:pt x="1002" y="292"/>
                      </a:lnTo>
                      <a:lnTo>
                        <a:pt x="989" y="297"/>
                      </a:lnTo>
                      <a:lnTo>
                        <a:pt x="984" y="303"/>
                      </a:lnTo>
                      <a:lnTo>
                        <a:pt x="976" y="303"/>
                      </a:lnTo>
                      <a:lnTo>
                        <a:pt x="970" y="297"/>
                      </a:lnTo>
                      <a:lnTo>
                        <a:pt x="963" y="303"/>
                      </a:lnTo>
                      <a:lnTo>
                        <a:pt x="955" y="303"/>
                      </a:lnTo>
                      <a:lnTo>
                        <a:pt x="948" y="312"/>
                      </a:lnTo>
                      <a:lnTo>
                        <a:pt x="940" y="312"/>
                      </a:lnTo>
                      <a:lnTo>
                        <a:pt x="937" y="318"/>
                      </a:lnTo>
                      <a:lnTo>
                        <a:pt x="931" y="312"/>
                      </a:lnTo>
                      <a:lnTo>
                        <a:pt x="923" y="310"/>
                      </a:lnTo>
                      <a:lnTo>
                        <a:pt x="916" y="307"/>
                      </a:lnTo>
                      <a:lnTo>
                        <a:pt x="912" y="299"/>
                      </a:lnTo>
                      <a:lnTo>
                        <a:pt x="905" y="297"/>
                      </a:lnTo>
                      <a:lnTo>
                        <a:pt x="899" y="303"/>
                      </a:lnTo>
                      <a:lnTo>
                        <a:pt x="892" y="301"/>
                      </a:lnTo>
                      <a:lnTo>
                        <a:pt x="886" y="294"/>
                      </a:lnTo>
                      <a:lnTo>
                        <a:pt x="880" y="292"/>
                      </a:lnTo>
                      <a:lnTo>
                        <a:pt x="878" y="294"/>
                      </a:lnTo>
                      <a:lnTo>
                        <a:pt x="876" y="297"/>
                      </a:lnTo>
                      <a:lnTo>
                        <a:pt x="869" y="303"/>
                      </a:lnTo>
                      <a:lnTo>
                        <a:pt x="867" y="316"/>
                      </a:lnTo>
                      <a:lnTo>
                        <a:pt x="861" y="316"/>
                      </a:lnTo>
                      <a:lnTo>
                        <a:pt x="860" y="314"/>
                      </a:lnTo>
                      <a:lnTo>
                        <a:pt x="858" y="307"/>
                      </a:lnTo>
                      <a:lnTo>
                        <a:pt x="860" y="301"/>
                      </a:lnTo>
                      <a:lnTo>
                        <a:pt x="854" y="301"/>
                      </a:lnTo>
                      <a:lnTo>
                        <a:pt x="843" y="305"/>
                      </a:lnTo>
                      <a:lnTo>
                        <a:pt x="835" y="305"/>
                      </a:lnTo>
                      <a:lnTo>
                        <a:pt x="833" y="297"/>
                      </a:lnTo>
                      <a:lnTo>
                        <a:pt x="826" y="297"/>
                      </a:lnTo>
                      <a:lnTo>
                        <a:pt x="824" y="292"/>
                      </a:lnTo>
                      <a:lnTo>
                        <a:pt x="816" y="288"/>
                      </a:lnTo>
                      <a:lnTo>
                        <a:pt x="805" y="299"/>
                      </a:lnTo>
                      <a:lnTo>
                        <a:pt x="799" y="301"/>
                      </a:lnTo>
                      <a:lnTo>
                        <a:pt x="792" y="301"/>
                      </a:lnTo>
                      <a:lnTo>
                        <a:pt x="792" y="292"/>
                      </a:lnTo>
                      <a:lnTo>
                        <a:pt x="790" y="286"/>
                      </a:lnTo>
                      <a:lnTo>
                        <a:pt x="784" y="286"/>
                      </a:lnTo>
                      <a:lnTo>
                        <a:pt x="779" y="279"/>
                      </a:lnTo>
                      <a:lnTo>
                        <a:pt x="781" y="271"/>
                      </a:lnTo>
                      <a:lnTo>
                        <a:pt x="773" y="273"/>
                      </a:lnTo>
                      <a:lnTo>
                        <a:pt x="758" y="271"/>
                      </a:lnTo>
                      <a:lnTo>
                        <a:pt x="752" y="277"/>
                      </a:lnTo>
                      <a:lnTo>
                        <a:pt x="745" y="279"/>
                      </a:lnTo>
                      <a:lnTo>
                        <a:pt x="739" y="273"/>
                      </a:lnTo>
                      <a:lnTo>
                        <a:pt x="735" y="269"/>
                      </a:lnTo>
                      <a:lnTo>
                        <a:pt x="730" y="269"/>
                      </a:lnTo>
                      <a:lnTo>
                        <a:pt x="722" y="271"/>
                      </a:lnTo>
                      <a:lnTo>
                        <a:pt x="709" y="265"/>
                      </a:lnTo>
                      <a:lnTo>
                        <a:pt x="702" y="262"/>
                      </a:lnTo>
                      <a:lnTo>
                        <a:pt x="694" y="263"/>
                      </a:lnTo>
                      <a:lnTo>
                        <a:pt x="692" y="262"/>
                      </a:lnTo>
                      <a:lnTo>
                        <a:pt x="685" y="262"/>
                      </a:lnTo>
                      <a:lnTo>
                        <a:pt x="683" y="254"/>
                      </a:lnTo>
                      <a:lnTo>
                        <a:pt x="683" y="248"/>
                      </a:lnTo>
                      <a:lnTo>
                        <a:pt x="677" y="241"/>
                      </a:lnTo>
                      <a:lnTo>
                        <a:pt x="672" y="237"/>
                      </a:lnTo>
                      <a:lnTo>
                        <a:pt x="670" y="233"/>
                      </a:lnTo>
                      <a:lnTo>
                        <a:pt x="666" y="241"/>
                      </a:lnTo>
                      <a:lnTo>
                        <a:pt x="658" y="243"/>
                      </a:lnTo>
                      <a:lnTo>
                        <a:pt x="651" y="239"/>
                      </a:lnTo>
                      <a:lnTo>
                        <a:pt x="645" y="243"/>
                      </a:lnTo>
                      <a:lnTo>
                        <a:pt x="638" y="239"/>
                      </a:lnTo>
                      <a:lnTo>
                        <a:pt x="626" y="226"/>
                      </a:lnTo>
                      <a:lnTo>
                        <a:pt x="619" y="220"/>
                      </a:lnTo>
                      <a:lnTo>
                        <a:pt x="613" y="220"/>
                      </a:lnTo>
                      <a:lnTo>
                        <a:pt x="613" y="209"/>
                      </a:lnTo>
                      <a:lnTo>
                        <a:pt x="619" y="15"/>
                      </a:lnTo>
                      <a:lnTo>
                        <a:pt x="611" y="12"/>
                      </a:lnTo>
                      <a:lnTo>
                        <a:pt x="604" y="12"/>
                      </a:lnTo>
                      <a:lnTo>
                        <a:pt x="568" y="12"/>
                      </a:lnTo>
                      <a:lnTo>
                        <a:pt x="480" y="6"/>
                      </a:lnTo>
                      <a:lnTo>
                        <a:pt x="363" y="0"/>
                      </a:lnTo>
                      <a:lnTo>
                        <a:pt x="360" y="2"/>
                      </a:lnTo>
                      <a:lnTo>
                        <a:pt x="358" y="8"/>
                      </a:lnTo>
                      <a:lnTo>
                        <a:pt x="343" y="269"/>
                      </a:lnTo>
                      <a:lnTo>
                        <a:pt x="333" y="367"/>
                      </a:lnTo>
                      <a:lnTo>
                        <a:pt x="326" y="478"/>
                      </a:lnTo>
                      <a:lnTo>
                        <a:pt x="320" y="485"/>
                      </a:lnTo>
                      <a:lnTo>
                        <a:pt x="316" y="485"/>
                      </a:lnTo>
                      <a:lnTo>
                        <a:pt x="237" y="480"/>
                      </a:lnTo>
                      <a:lnTo>
                        <a:pt x="158" y="474"/>
                      </a:lnTo>
                      <a:lnTo>
                        <a:pt x="70" y="467"/>
                      </a:lnTo>
                      <a:lnTo>
                        <a:pt x="0" y="459"/>
                      </a:lnTo>
                      <a:lnTo>
                        <a:pt x="0" y="463"/>
                      </a:lnTo>
                      <a:lnTo>
                        <a:pt x="4" y="476"/>
                      </a:lnTo>
                      <a:lnTo>
                        <a:pt x="10" y="480"/>
                      </a:lnTo>
                      <a:lnTo>
                        <a:pt x="10" y="483"/>
                      </a:lnTo>
                      <a:lnTo>
                        <a:pt x="16" y="487"/>
                      </a:lnTo>
                      <a:lnTo>
                        <a:pt x="16" y="487"/>
                      </a:lnTo>
                      <a:lnTo>
                        <a:pt x="19" y="487"/>
                      </a:lnTo>
                      <a:lnTo>
                        <a:pt x="25" y="493"/>
                      </a:lnTo>
                      <a:lnTo>
                        <a:pt x="29" y="500"/>
                      </a:lnTo>
                      <a:lnTo>
                        <a:pt x="31" y="506"/>
                      </a:lnTo>
                      <a:lnTo>
                        <a:pt x="36" y="519"/>
                      </a:lnTo>
                      <a:lnTo>
                        <a:pt x="44" y="525"/>
                      </a:lnTo>
                      <a:lnTo>
                        <a:pt x="57" y="532"/>
                      </a:lnTo>
                      <a:lnTo>
                        <a:pt x="63" y="538"/>
                      </a:lnTo>
                      <a:lnTo>
                        <a:pt x="78" y="557"/>
                      </a:lnTo>
                      <a:lnTo>
                        <a:pt x="91" y="570"/>
                      </a:lnTo>
                      <a:lnTo>
                        <a:pt x="93" y="577"/>
                      </a:lnTo>
                      <a:lnTo>
                        <a:pt x="106" y="591"/>
                      </a:lnTo>
                      <a:lnTo>
                        <a:pt x="113" y="596"/>
                      </a:lnTo>
                      <a:lnTo>
                        <a:pt x="119" y="598"/>
                      </a:lnTo>
                      <a:lnTo>
                        <a:pt x="132" y="611"/>
                      </a:lnTo>
                      <a:lnTo>
                        <a:pt x="140" y="615"/>
                      </a:lnTo>
                      <a:lnTo>
                        <a:pt x="141" y="621"/>
                      </a:lnTo>
                      <a:lnTo>
                        <a:pt x="147" y="624"/>
                      </a:lnTo>
                      <a:lnTo>
                        <a:pt x="149" y="632"/>
                      </a:lnTo>
                      <a:lnTo>
                        <a:pt x="151" y="645"/>
                      </a:lnTo>
                      <a:lnTo>
                        <a:pt x="155" y="649"/>
                      </a:lnTo>
                      <a:lnTo>
                        <a:pt x="160" y="662"/>
                      </a:lnTo>
                      <a:lnTo>
                        <a:pt x="164" y="668"/>
                      </a:lnTo>
                      <a:lnTo>
                        <a:pt x="164" y="675"/>
                      </a:lnTo>
                      <a:lnTo>
                        <a:pt x="162" y="683"/>
                      </a:lnTo>
                      <a:lnTo>
                        <a:pt x="162" y="696"/>
                      </a:lnTo>
                      <a:lnTo>
                        <a:pt x="177" y="730"/>
                      </a:lnTo>
                      <a:lnTo>
                        <a:pt x="187" y="739"/>
                      </a:lnTo>
                      <a:lnTo>
                        <a:pt x="194" y="743"/>
                      </a:lnTo>
                      <a:lnTo>
                        <a:pt x="200" y="747"/>
                      </a:lnTo>
                      <a:lnTo>
                        <a:pt x="205" y="754"/>
                      </a:lnTo>
                      <a:lnTo>
                        <a:pt x="220" y="767"/>
                      </a:lnTo>
                      <a:lnTo>
                        <a:pt x="226" y="771"/>
                      </a:lnTo>
                      <a:lnTo>
                        <a:pt x="241" y="773"/>
                      </a:lnTo>
                      <a:lnTo>
                        <a:pt x="245" y="780"/>
                      </a:lnTo>
                      <a:lnTo>
                        <a:pt x="264" y="790"/>
                      </a:lnTo>
                      <a:lnTo>
                        <a:pt x="269" y="797"/>
                      </a:lnTo>
                      <a:lnTo>
                        <a:pt x="277" y="803"/>
                      </a:lnTo>
                      <a:lnTo>
                        <a:pt x="282" y="803"/>
                      </a:lnTo>
                      <a:lnTo>
                        <a:pt x="282" y="805"/>
                      </a:lnTo>
                      <a:lnTo>
                        <a:pt x="290" y="807"/>
                      </a:lnTo>
                      <a:lnTo>
                        <a:pt x="301" y="807"/>
                      </a:lnTo>
                      <a:lnTo>
                        <a:pt x="303" y="801"/>
                      </a:lnTo>
                      <a:lnTo>
                        <a:pt x="311" y="796"/>
                      </a:lnTo>
                      <a:lnTo>
                        <a:pt x="314" y="790"/>
                      </a:lnTo>
                      <a:lnTo>
                        <a:pt x="322" y="788"/>
                      </a:lnTo>
                      <a:lnTo>
                        <a:pt x="324" y="780"/>
                      </a:lnTo>
                      <a:lnTo>
                        <a:pt x="326" y="773"/>
                      </a:lnTo>
                      <a:lnTo>
                        <a:pt x="329" y="771"/>
                      </a:lnTo>
                      <a:lnTo>
                        <a:pt x="341" y="743"/>
                      </a:lnTo>
                      <a:lnTo>
                        <a:pt x="346" y="733"/>
                      </a:lnTo>
                      <a:lnTo>
                        <a:pt x="350" y="732"/>
                      </a:lnTo>
                      <a:lnTo>
                        <a:pt x="356" y="730"/>
                      </a:lnTo>
                      <a:lnTo>
                        <a:pt x="363" y="726"/>
                      </a:lnTo>
                      <a:lnTo>
                        <a:pt x="371" y="728"/>
                      </a:lnTo>
                      <a:lnTo>
                        <a:pt x="376" y="726"/>
                      </a:lnTo>
                      <a:lnTo>
                        <a:pt x="380" y="718"/>
                      </a:lnTo>
                      <a:lnTo>
                        <a:pt x="388" y="718"/>
                      </a:lnTo>
                      <a:lnTo>
                        <a:pt x="399" y="726"/>
                      </a:lnTo>
                      <a:lnTo>
                        <a:pt x="407" y="728"/>
                      </a:lnTo>
                      <a:lnTo>
                        <a:pt x="414" y="726"/>
                      </a:lnTo>
                      <a:lnTo>
                        <a:pt x="420" y="728"/>
                      </a:lnTo>
                      <a:lnTo>
                        <a:pt x="427" y="728"/>
                      </a:lnTo>
                      <a:lnTo>
                        <a:pt x="446" y="733"/>
                      </a:lnTo>
                      <a:lnTo>
                        <a:pt x="454" y="728"/>
                      </a:lnTo>
                      <a:lnTo>
                        <a:pt x="459" y="732"/>
                      </a:lnTo>
                      <a:lnTo>
                        <a:pt x="467" y="735"/>
                      </a:lnTo>
                      <a:lnTo>
                        <a:pt x="469" y="743"/>
                      </a:lnTo>
                      <a:lnTo>
                        <a:pt x="474" y="749"/>
                      </a:lnTo>
                      <a:lnTo>
                        <a:pt x="476" y="754"/>
                      </a:lnTo>
                      <a:lnTo>
                        <a:pt x="482" y="752"/>
                      </a:lnTo>
                      <a:lnTo>
                        <a:pt x="485" y="760"/>
                      </a:lnTo>
                      <a:lnTo>
                        <a:pt x="491" y="765"/>
                      </a:lnTo>
                      <a:lnTo>
                        <a:pt x="499" y="769"/>
                      </a:lnTo>
                      <a:lnTo>
                        <a:pt x="499" y="775"/>
                      </a:lnTo>
                      <a:lnTo>
                        <a:pt x="519" y="790"/>
                      </a:lnTo>
                      <a:lnTo>
                        <a:pt x="527" y="803"/>
                      </a:lnTo>
                      <a:lnTo>
                        <a:pt x="532" y="811"/>
                      </a:lnTo>
                      <a:lnTo>
                        <a:pt x="536" y="827"/>
                      </a:lnTo>
                      <a:lnTo>
                        <a:pt x="544" y="843"/>
                      </a:lnTo>
                      <a:lnTo>
                        <a:pt x="548" y="850"/>
                      </a:lnTo>
                      <a:lnTo>
                        <a:pt x="548" y="852"/>
                      </a:lnTo>
                      <a:lnTo>
                        <a:pt x="551" y="858"/>
                      </a:lnTo>
                      <a:lnTo>
                        <a:pt x="555" y="865"/>
                      </a:lnTo>
                      <a:lnTo>
                        <a:pt x="561" y="873"/>
                      </a:lnTo>
                      <a:lnTo>
                        <a:pt x="559" y="874"/>
                      </a:lnTo>
                      <a:lnTo>
                        <a:pt x="563" y="888"/>
                      </a:lnTo>
                      <a:lnTo>
                        <a:pt x="568" y="903"/>
                      </a:lnTo>
                      <a:lnTo>
                        <a:pt x="576" y="908"/>
                      </a:lnTo>
                      <a:lnTo>
                        <a:pt x="583" y="910"/>
                      </a:lnTo>
                      <a:lnTo>
                        <a:pt x="589" y="920"/>
                      </a:lnTo>
                      <a:lnTo>
                        <a:pt x="591" y="927"/>
                      </a:lnTo>
                      <a:lnTo>
                        <a:pt x="596" y="931"/>
                      </a:lnTo>
                      <a:lnTo>
                        <a:pt x="602" y="938"/>
                      </a:lnTo>
                      <a:lnTo>
                        <a:pt x="604" y="946"/>
                      </a:lnTo>
                      <a:lnTo>
                        <a:pt x="617" y="965"/>
                      </a:lnTo>
                      <a:lnTo>
                        <a:pt x="628" y="967"/>
                      </a:lnTo>
                      <a:lnTo>
                        <a:pt x="634" y="972"/>
                      </a:lnTo>
                      <a:lnTo>
                        <a:pt x="636" y="976"/>
                      </a:lnTo>
                      <a:lnTo>
                        <a:pt x="636" y="984"/>
                      </a:lnTo>
                      <a:lnTo>
                        <a:pt x="638" y="989"/>
                      </a:lnTo>
                      <a:lnTo>
                        <a:pt x="638" y="997"/>
                      </a:lnTo>
                      <a:lnTo>
                        <a:pt x="634" y="1004"/>
                      </a:lnTo>
                      <a:lnTo>
                        <a:pt x="641" y="1010"/>
                      </a:lnTo>
                      <a:lnTo>
                        <a:pt x="641" y="1015"/>
                      </a:lnTo>
                      <a:lnTo>
                        <a:pt x="640" y="1023"/>
                      </a:lnTo>
                      <a:lnTo>
                        <a:pt x="641" y="1030"/>
                      </a:lnTo>
                      <a:lnTo>
                        <a:pt x="647" y="1036"/>
                      </a:lnTo>
                      <a:lnTo>
                        <a:pt x="653" y="1049"/>
                      </a:lnTo>
                      <a:lnTo>
                        <a:pt x="658" y="1057"/>
                      </a:lnTo>
                      <a:lnTo>
                        <a:pt x="664" y="1072"/>
                      </a:lnTo>
                      <a:lnTo>
                        <a:pt x="666" y="1085"/>
                      </a:lnTo>
                      <a:lnTo>
                        <a:pt x="673" y="1093"/>
                      </a:lnTo>
                      <a:lnTo>
                        <a:pt x="672" y="1100"/>
                      </a:lnTo>
                      <a:lnTo>
                        <a:pt x="675" y="1102"/>
                      </a:lnTo>
                      <a:lnTo>
                        <a:pt x="690" y="1102"/>
                      </a:lnTo>
                      <a:lnTo>
                        <a:pt x="696" y="1106"/>
                      </a:lnTo>
                      <a:lnTo>
                        <a:pt x="700" y="1106"/>
                      </a:lnTo>
                      <a:lnTo>
                        <a:pt x="707" y="1109"/>
                      </a:lnTo>
                      <a:lnTo>
                        <a:pt x="711" y="1117"/>
                      </a:lnTo>
                      <a:lnTo>
                        <a:pt x="717" y="1119"/>
                      </a:lnTo>
                      <a:lnTo>
                        <a:pt x="722" y="1117"/>
                      </a:lnTo>
                      <a:lnTo>
                        <a:pt x="730" y="1121"/>
                      </a:lnTo>
                      <a:lnTo>
                        <a:pt x="737" y="1123"/>
                      </a:lnTo>
                      <a:lnTo>
                        <a:pt x="751" y="1134"/>
                      </a:lnTo>
                      <a:lnTo>
                        <a:pt x="756" y="1138"/>
                      </a:lnTo>
                      <a:lnTo>
                        <a:pt x="784" y="1140"/>
                      </a:lnTo>
                      <a:lnTo>
                        <a:pt x="799" y="1140"/>
                      </a:lnTo>
                      <a:lnTo>
                        <a:pt x="807" y="1141"/>
                      </a:lnTo>
                      <a:lnTo>
                        <a:pt x="813" y="1143"/>
                      </a:lnTo>
                      <a:lnTo>
                        <a:pt x="826" y="1156"/>
                      </a:lnTo>
                      <a:lnTo>
                        <a:pt x="828" y="1156"/>
                      </a:lnTo>
                      <a:lnTo>
                        <a:pt x="835" y="1162"/>
                      </a:lnTo>
                      <a:lnTo>
                        <a:pt x="843" y="1162"/>
                      </a:lnTo>
                      <a:lnTo>
                        <a:pt x="843" y="1155"/>
                      </a:lnTo>
                      <a:lnTo>
                        <a:pt x="860" y="1151"/>
                      </a:lnTo>
                      <a:lnTo>
                        <a:pt x="861" y="1149"/>
                      </a:lnTo>
                      <a:lnTo>
                        <a:pt x="861" y="1141"/>
                      </a:lnTo>
                      <a:lnTo>
                        <a:pt x="854" y="1149"/>
                      </a:lnTo>
                      <a:lnTo>
                        <a:pt x="856" y="1141"/>
                      </a:lnTo>
                      <a:lnTo>
                        <a:pt x="850" y="1149"/>
                      </a:lnTo>
                      <a:lnTo>
                        <a:pt x="845" y="1140"/>
                      </a:lnTo>
                      <a:lnTo>
                        <a:pt x="852" y="1140"/>
                      </a:lnTo>
                      <a:lnTo>
                        <a:pt x="846" y="1132"/>
                      </a:lnTo>
                      <a:lnTo>
                        <a:pt x="845" y="1119"/>
                      </a:lnTo>
                      <a:lnTo>
                        <a:pt x="833" y="1094"/>
                      </a:lnTo>
                      <a:lnTo>
                        <a:pt x="835" y="1089"/>
                      </a:lnTo>
                      <a:lnTo>
                        <a:pt x="829" y="1064"/>
                      </a:lnTo>
                      <a:lnTo>
                        <a:pt x="822" y="1057"/>
                      </a:lnTo>
                      <a:lnTo>
                        <a:pt x="822" y="1051"/>
                      </a:lnTo>
                      <a:lnTo>
                        <a:pt x="829" y="1053"/>
                      </a:lnTo>
                      <a:lnTo>
                        <a:pt x="822" y="1046"/>
                      </a:lnTo>
                      <a:lnTo>
                        <a:pt x="822" y="1038"/>
                      </a:lnTo>
                      <a:lnTo>
                        <a:pt x="829" y="1038"/>
                      </a:lnTo>
                      <a:lnTo>
                        <a:pt x="829" y="1030"/>
                      </a:lnTo>
                      <a:lnTo>
                        <a:pt x="833" y="1025"/>
                      </a:lnTo>
                      <a:lnTo>
                        <a:pt x="833" y="1017"/>
                      </a:lnTo>
                      <a:lnTo>
                        <a:pt x="835" y="1010"/>
                      </a:lnTo>
                      <a:lnTo>
                        <a:pt x="822" y="1014"/>
                      </a:lnTo>
                      <a:lnTo>
                        <a:pt x="809" y="1010"/>
                      </a:lnTo>
                      <a:lnTo>
                        <a:pt x="809" y="1002"/>
                      </a:lnTo>
                      <a:lnTo>
                        <a:pt x="805" y="999"/>
                      </a:lnTo>
                      <a:lnTo>
                        <a:pt x="801" y="991"/>
                      </a:lnTo>
                      <a:lnTo>
                        <a:pt x="809" y="997"/>
                      </a:lnTo>
                      <a:lnTo>
                        <a:pt x="814" y="1002"/>
                      </a:lnTo>
                      <a:lnTo>
                        <a:pt x="820" y="1002"/>
                      </a:lnTo>
                      <a:lnTo>
                        <a:pt x="826" y="1000"/>
                      </a:lnTo>
                      <a:lnTo>
                        <a:pt x="831" y="1002"/>
                      </a:lnTo>
                      <a:lnTo>
                        <a:pt x="826" y="1008"/>
                      </a:lnTo>
                      <a:lnTo>
                        <a:pt x="835" y="1004"/>
                      </a:lnTo>
                      <a:lnTo>
                        <a:pt x="848" y="970"/>
                      </a:lnTo>
                      <a:lnTo>
                        <a:pt x="846" y="963"/>
                      </a:lnTo>
                      <a:lnTo>
                        <a:pt x="845" y="961"/>
                      </a:lnTo>
                      <a:lnTo>
                        <a:pt x="839" y="955"/>
                      </a:lnTo>
                      <a:lnTo>
                        <a:pt x="839" y="950"/>
                      </a:lnTo>
                      <a:lnTo>
                        <a:pt x="831" y="952"/>
                      </a:lnTo>
                      <a:lnTo>
                        <a:pt x="828" y="950"/>
                      </a:lnTo>
                      <a:lnTo>
                        <a:pt x="835" y="946"/>
                      </a:lnTo>
                      <a:lnTo>
                        <a:pt x="850" y="946"/>
                      </a:lnTo>
                      <a:lnTo>
                        <a:pt x="856" y="952"/>
                      </a:lnTo>
                      <a:lnTo>
                        <a:pt x="869" y="933"/>
                      </a:lnTo>
                      <a:lnTo>
                        <a:pt x="873" y="927"/>
                      </a:lnTo>
                      <a:lnTo>
                        <a:pt x="873" y="920"/>
                      </a:lnTo>
                      <a:lnTo>
                        <a:pt x="867" y="925"/>
                      </a:lnTo>
                      <a:lnTo>
                        <a:pt x="863" y="931"/>
                      </a:lnTo>
                      <a:lnTo>
                        <a:pt x="858" y="925"/>
                      </a:lnTo>
                      <a:lnTo>
                        <a:pt x="861" y="920"/>
                      </a:lnTo>
                      <a:lnTo>
                        <a:pt x="860" y="916"/>
                      </a:lnTo>
                      <a:lnTo>
                        <a:pt x="867" y="916"/>
                      </a:lnTo>
                      <a:lnTo>
                        <a:pt x="873" y="912"/>
                      </a:lnTo>
                      <a:lnTo>
                        <a:pt x="875" y="918"/>
                      </a:lnTo>
                      <a:lnTo>
                        <a:pt x="882" y="912"/>
                      </a:lnTo>
                      <a:lnTo>
                        <a:pt x="884" y="905"/>
                      </a:lnTo>
                      <a:lnTo>
                        <a:pt x="884" y="912"/>
                      </a:lnTo>
                      <a:lnTo>
                        <a:pt x="882" y="918"/>
                      </a:lnTo>
                      <a:lnTo>
                        <a:pt x="888" y="916"/>
                      </a:lnTo>
                      <a:lnTo>
                        <a:pt x="895" y="906"/>
                      </a:lnTo>
                      <a:lnTo>
                        <a:pt x="895" y="899"/>
                      </a:lnTo>
                      <a:lnTo>
                        <a:pt x="893" y="891"/>
                      </a:lnTo>
                      <a:lnTo>
                        <a:pt x="895" y="884"/>
                      </a:lnTo>
                      <a:lnTo>
                        <a:pt x="895" y="882"/>
                      </a:lnTo>
                      <a:lnTo>
                        <a:pt x="905" y="895"/>
                      </a:lnTo>
                      <a:lnTo>
                        <a:pt x="910" y="897"/>
                      </a:lnTo>
                      <a:lnTo>
                        <a:pt x="931" y="886"/>
                      </a:lnTo>
                      <a:lnTo>
                        <a:pt x="933" y="884"/>
                      </a:lnTo>
                      <a:lnTo>
                        <a:pt x="925" y="880"/>
                      </a:lnTo>
                      <a:lnTo>
                        <a:pt x="918" y="882"/>
                      </a:lnTo>
                      <a:lnTo>
                        <a:pt x="923" y="874"/>
                      </a:lnTo>
                      <a:lnTo>
                        <a:pt x="916" y="871"/>
                      </a:lnTo>
                      <a:lnTo>
                        <a:pt x="908" y="858"/>
                      </a:lnTo>
                      <a:lnTo>
                        <a:pt x="916" y="856"/>
                      </a:lnTo>
                      <a:lnTo>
                        <a:pt x="918" y="861"/>
                      </a:lnTo>
                      <a:lnTo>
                        <a:pt x="927" y="869"/>
                      </a:lnTo>
                      <a:lnTo>
                        <a:pt x="935" y="867"/>
                      </a:lnTo>
                      <a:lnTo>
                        <a:pt x="929" y="854"/>
                      </a:lnTo>
                      <a:lnTo>
                        <a:pt x="929" y="852"/>
                      </a:lnTo>
                      <a:lnTo>
                        <a:pt x="935" y="859"/>
                      </a:lnTo>
                      <a:lnTo>
                        <a:pt x="940" y="863"/>
                      </a:lnTo>
                      <a:lnTo>
                        <a:pt x="948" y="859"/>
                      </a:lnTo>
                      <a:lnTo>
                        <a:pt x="950" y="865"/>
                      </a:lnTo>
                      <a:lnTo>
                        <a:pt x="957" y="865"/>
                      </a:lnTo>
                      <a:lnTo>
                        <a:pt x="954" y="869"/>
                      </a:lnTo>
                      <a:lnTo>
                        <a:pt x="967" y="863"/>
                      </a:lnTo>
                      <a:lnTo>
                        <a:pt x="965" y="871"/>
                      </a:lnTo>
                      <a:lnTo>
                        <a:pt x="952" y="878"/>
                      </a:lnTo>
                      <a:lnTo>
                        <a:pt x="950" y="880"/>
                      </a:lnTo>
                      <a:lnTo>
                        <a:pt x="970" y="869"/>
                      </a:lnTo>
                      <a:lnTo>
                        <a:pt x="985" y="863"/>
                      </a:lnTo>
                      <a:lnTo>
                        <a:pt x="993" y="858"/>
                      </a:lnTo>
                      <a:lnTo>
                        <a:pt x="985" y="859"/>
                      </a:lnTo>
                      <a:lnTo>
                        <a:pt x="978" y="863"/>
                      </a:lnTo>
                      <a:lnTo>
                        <a:pt x="978" y="858"/>
                      </a:lnTo>
                      <a:lnTo>
                        <a:pt x="991" y="852"/>
                      </a:lnTo>
                      <a:lnTo>
                        <a:pt x="1004" y="852"/>
                      </a:lnTo>
                      <a:lnTo>
                        <a:pt x="1017" y="843"/>
                      </a:lnTo>
                      <a:lnTo>
                        <a:pt x="1029" y="837"/>
                      </a:lnTo>
                      <a:lnTo>
                        <a:pt x="1034" y="833"/>
                      </a:lnTo>
                      <a:lnTo>
                        <a:pt x="1048" y="820"/>
                      </a:lnTo>
                      <a:lnTo>
                        <a:pt x="1049" y="807"/>
                      </a:lnTo>
                      <a:lnTo>
                        <a:pt x="1061" y="799"/>
                      </a:lnTo>
                      <a:lnTo>
                        <a:pt x="1064" y="794"/>
                      </a:lnTo>
                      <a:lnTo>
                        <a:pt x="1072" y="790"/>
                      </a:lnTo>
                      <a:lnTo>
                        <a:pt x="1076" y="780"/>
                      </a:lnTo>
                      <a:lnTo>
                        <a:pt x="1068" y="779"/>
                      </a:lnTo>
                      <a:lnTo>
                        <a:pt x="1068" y="769"/>
                      </a:lnTo>
                      <a:lnTo>
                        <a:pt x="1061" y="764"/>
                      </a:lnTo>
                      <a:lnTo>
                        <a:pt x="1063" y="756"/>
                      </a:lnTo>
                      <a:lnTo>
                        <a:pt x="1059" y="749"/>
                      </a:lnTo>
                      <a:lnTo>
                        <a:pt x="1063" y="747"/>
                      </a:lnTo>
                      <a:lnTo>
                        <a:pt x="1072" y="752"/>
                      </a:lnTo>
                      <a:lnTo>
                        <a:pt x="1076" y="745"/>
                      </a:lnTo>
                      <a:lnTo>
                        <a:pt x="1081" y="741"/>
                      </a:lnTo>
                      <a:lnTo>
                        <a:pt x="1089" y="741"/>
                      </a:lnTo>
                      <a:lnTo>
                        <a:pt x="1089" y="752"/>
                      </a:lnTo>
                      <a:lnTo>
                        <a:pt x="1083" y="767"/>
                      </a:lnTo>
                      <a:lnTo>
                        <a:pt x="1098" y="762"/>
                      </a:lnTo>
                      <a:lnTo>
                        <a:pt x="1111" y="762"/>
                      </a:lnTo>
                      <a:lnTo>
                        <a:pt x="1110" y="765"/>
                      </a:lnTo>
                      <a:lnTo>
                        <a:pt x="1102" y="765"/>
                      </a:lnTo>
                      <a:lnTo>
                        <a:pt x="1087" y="777"/>
                      </a:lnTo>
                      <a:lnTo>
                        <a:pt x="1083" y="784"/>
                      </a:lnTo>
                      <a:lnTo>
                        <a:pt x="1085" y="784"/>
                      </a:lnTo>
                      <a:lnTo>
                        <a:pt x="1093" y="777"/>
                      </a:lnTo>
                      <a:lnTo>
                        <a:pt x="1100" y="773"/>
                      </a:lnTo>
                      <a:lnTo>
                        <a:pt x="1106" y="769"/>
                      </a:lnTo>
                      <a:lnTo>
                        <a:pt x="1126" y="760"/>
                      </a:lnTo>
                      <a:lnTo>
                        <a:pt x="1149" y="749"/>
                      </a:lnTo>
                      <a:lnTo>
                        <a:pt x="1170" y="747"/>
                      </a:lnTo>
                      <a:lnTo>
                        <a:pt x="1158" y="733"/>
                      </a:lnTo>
                      <a:lnTo>
                        <a:pt x="1168" y="718"/>
                      </a:lnTo>
                      <a:lnTo>
                        <a:pt x="1173" y="713"/>
                      </a:lnTo>
                      <a:lnTo>
                        <a:pt x="1173" y="713"/>
                      </a:lnTo>
                      <a:lnTo>
                        <a:pt x="1181" y="705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76" name="Freeform 37"/>
                <p:cNvSpPr>
                  <a:spLocks/>
                </p:cNvSpPr>
                <p:nvPr/>
              </p:nvSpPr>
              <p:spPr bwMode="auto">
                <a:xfrm>
                  <a:off x="3099948" y="3582312"/>
                  <a:ext cx="24978" cy="54939"/>
                </a:xfrm>
                <a:custGeom>
                  <a:avLst/>
                  <a:gdLst>
                    <a:gd name="T0" fmla="*/ 26 w 26"/>
                    <a:gd name="T1" fmla="*/ 0 h 63"/>
                    <a:gd name="T2" fmla="*/ 19 w 26"/>
                    <a:gd name="T3" fmla="*/ 15 h 63"/>
                    <a:gd name="T4" fmla="*/ 15 w 26"/>
                    <a:gd name="T5" fmla="*/ 20 h 63"/>
                    <a:gd name="T6" fmla="*/ 6 w 26"/>
                    <a:gd name="T7" fmla="*/ 37 h 63"/>
                    <a:gd name="T8" fmla="*/ 0 w 26"/>
                    <a:gd name="T9" fmla="*/ 50 h 63"/>
                    <a:gd name="T10" fmla="*/ 0 w 26"/>
                    <a:gd name="T11" fmla="*/ 63 h 63"/>
                    <a:gd name="T12" fmla="*/ 7 w 26"/>
                    <a:gd name="T13" fmla="*/ 43 h 63"/>
                    <a:gd name="T14" fmla="*/ 13 w 26"/>
                    <a:gd name="T15" fmla="*/ 30 h 63"/>
                    <a:gd name="T16" fmla="*/ 26 w 26"/>
                    <a:gd name="T17" fmla="*/ 7 h 63"/>
                    <a:gd name="T18" fmla="*/ 26 w 26"/>
                    <a:gd name="T19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6" h="63">
                      <a:moveTo>
                        <a:pt x="26" y="0"/>
                      </a:moveTo>
                      <a:lnTo>
                        <a:pt x="19" y="15"/>
                      </a:lnTo>
                      <a:lnTo>
                        <a:pt x="15" y="20"/>
                      </a:lnTo>
                      <a:lnTo>
                        <a:pt x="6" y="37"/>
                      </a:lnTo>
                      <a:lnTo>
                        <a:pt x="0" y="50"/>
                      </a:lnTo>
                      <a:lnTo>
                        <a:pt x="0" y="63"/>
                      </a:lnTo>
                      <a:lnTo>
                        <a:pt x="7" y="43"/>
                      </a:lnTo>
                      <a:lnTo>
                        <a:pt x="13" y="30"/>
                      </a:lnTo>
                      <a:lnTo>
                        <a:pt x="26" y="7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77" name="Freeform 38"/>
                <p:cNvSpPr>
                  <a:spLocks/>
                </p:cNvSpPr>
                <p:nvPr/>
              </p:nvSpPr>
              <p:spPr bwMode="auto">
                <a:xfrm>
                  <a:off x="3099948" y="3582312"/>
                  <a:ext cx="24978" cy="54939"/>
                </a:xfrm>
                <a:custGeom>
                  <a:avLst/>
                  <a:gdLst>
                    <a:gd name="T0" fmla="*/ 26 w 26"/>
                    <a:gd name="T1" fmla="*/ 0 h 63"/>
                    <a:gd name="T2" fmla="*/ 19 w 26"/>
                    <a:gd name="T3" fmla="*/ 15 h 63"/>
                    <a:gd name="T4" fmla="*/ 15 w 26"/>
                    <a:gd name="T5" fmla="*/ 20 h 63"/>
                    <a:gd name="T6" fmla="*/ 6 w 26"/>
                    <a:gd name="T7" fmla="*/ 37 h 63"/>
                    <a:gd name="T8" fmla="*/ 0 w 26"/>
                    <a:gd name="T9" fmla="*/ 50 h 63"/>
                    <a:gd name="T10" fmla="*/ 0 w 26"/>
                    <a:gd name="T11" fmla="*/ 63 h 63"/>
                    <a:gd name="T12" fmla="*/ 7 w 26"/>
                    <a:gd name="T13" fmla="*/ 43 h 63"/>
                    <a:gd name="T14" fmla="*/ 13 w 26"/>
                    <a:gd name="T15" fmla="*/ 30 h 63"/>
                    <a:gd name="T16" fmla="*/ 26 w 26"/>
                    <a:gd name="T17" fmla="*/ 7 h 63"/>
                    <a:gd name="T18" fmla="*/ 26 w 26"/>
                    <a:gd name="T19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6" h="63">
                      <a:moveTo>
                        <a:pt x="26" y="0"/>
                      </a:moveTo>
                      <a:lnTo>
                        <a:pt x="19" y="15"/>
                      </a:lnTo>
                      <a:lnTo>
                        <a:pt x="15" y="20"/>
                      </a:lnTo>
                      <a:lnTo>
                        <a:pt x="6" y="37"/>
                      </a:lnTo>
                      <a:lnTo>
                        <a:pt x="0" y="50"/>
                      </a:lnTo>
                      <a:lnTo>
                        <a:pt x="0" y="63"/>
                      </a:lnTo>
                      <a:lnTo>
                        <a:pt x="7" y="43"/>
                      </a:lnTo>
                      <a:lnTo>
                        <a:pt x="13" y="30"/>
                      </a:lnTo>
                      <a:lnTo>
                        <a:pt x="26" y="7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78" name="Freeform 39"/>
                <p:cNvSpPr>
                  <a:spLocks/>
                </p:cNvSpPr>
                <p:nvPr/>
              </p:nvSpPr>
              <p:spPr bwMode="auto">
                <a:xfrm>
                  <a:off x="3309379" y="3437553"/>
                  <a:ext cx="24978" cy="21801"/>
                </a:xfrm>
                <a:custGeom>
                  <a:avLst/>
                  <a:gdLst>
                    <a:gd name="T0" fmla="*/ 26 w 26"/>
                    <a:gd name="T1" fmla="*/ 0 h 25"/>
                    <a:gd name="T2" fmla="*/ 19 w 26"/>
                    <a:gd name="T3" fmla="*/ 6 h 25"/>
                    <a:gd name="T4" fmla="*/ 9 w 26"/>
                    <a:gd name="T5" fmla="*/ 15 h 25"/>
                    <a:gd name="T6" fmla="*/ 4 w 26"/>
                    <a:gd name="T7" fmla="*/ 19 h 25"/>
                    <a:gd name="T8" fmla="*/ 0 w 26"/>
                    <a:gd name="T9" fmla="*/ 25 h 25"/>
                    <a:gd name="T10" fmla="*/ 21 w 26"/>
                    <a:gd name="T11" fmla="*/ 8 h 25"/>
                    <a:gd name="T12" fmla="*/ 26 w 26"/>
                    <a:gd name="T13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25">
                      <a:moveTo>
                        <a:pt x="26" y="0"/>
                      </a:moveTo>
                      <a:lnTo>
                        <a:pt x="19" y="6"/>
                      </a:lnTo>
                      <a:lnTo>
                        <a:pt x="9" y="15"/>
                      </a:lnTo>
                      <a:lnTo>
                        <a:pt x="4" y="19"/>
                      </a:lnTo>
                      <a:lnTo>
                        <a:pt x="0" y="25"/>
                      </a:lnTo>
                      <a:lnTo>
                        <a:pt x="21" y="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79" name="Freeform 40"/>
                <p:cNvSpPr>
                  <a:spLocks/>
                </p:cNvSpPr>
                <p:nvPr/>
              </p:nvSpPr>
              <p:spPr bwMode="auto">
                <a:xfrm>
                  <a:off x="3309379" y="3437553"/>
                  <a:ext cx="24978" cy="21801"/>
                </a:xfrm>
                <a:custGeom>
                  <a:avLst/>
                  <a:gdLst>
                    <a:gd name="T0" fmla="*/ 26 w 26"/>
                    <a:gd name="T1" fmla="*/ 0 h 25"/>
                    <a:gd name="T2" fmla="*/ 19 w 26"/>
                    <a:gd name="T3" fmla="*/ 6 h 25"/>
                    <a:gd name="T4" fmla="*/ 9 w 26"/>
                    <a:gd name="T5" fmla="*/ 15 h 25"/>
                    <a:gd name="T6" fmla="*/ 4 w 26"/>
                    <a:gd name="T7" fmla="*/ 19 h 25"/>
                    <a:gd name="T8" fmla="*/ 0 w 26"/>
                    <a:gd name="T9" fmla="*/ 25 h 25"/>
                    <a:gd name="T10" fmla="*/ 21 w 26"/>
                    <a:gd name="T11" fmla="*/ 8 h 25"/>
                    <a:gd name="T12" fmla="*/ 26 w 26"/>
                    <a:gd name="T13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25">
                      <a:moveTo>
                        <a:pt x="26" y="0"/>
                      </a:moveTo>
                      <a:lnTo>
                        <a:pt x="19" y="6"/>
                      </a:lnTo>
                      <a:lnTo>
                        <a:pt x="9" y="15"/>
                      </a:lnTo>
                      <a:lnTo>
                        <a:pt x="4" y="19"/>
                      </a:lnTo>
                      <a:lnTo>
                        <a:pt x="0" y="25"/>
                      </a:lnTo>
                      <a:lnTo>
                        <a:pt x="21" y="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80" name="Freeform 41"/>
                <p:cNvSpPr>
                  <a:spLocks/>
                </p:cNvSpPr>
                <p:nvPr/>
              </p:nvSpPr>
              <p:spPr bwMode="auto">
                <a:xfrm>
                  <a:off x="3135494" y="3554407"/>
                  <a:ext cx="15371" cy="19185"/>
                </a:xfrm>
                <a:custGeom>
                  <a:avLst/>
                  <a:gdLst>
                    <a:gd name="T0" fmla="*/ 6 w 16"/>
                    <a:gd name="T1" fmla="*/ 7 h 22"/>
                    <a:gd name="T2" fmla="*/ 4 w 16"/>
                    <a:gd name="T3" fmla="*/ 13 h 22"/>
                    <a:gd name="T4" fmla="*/ 0 w 16"/>
                    <a:gd name="T5" fmla="*/ 20 h 22"/>
                    <a:gd name="T6" fmla="*/ 0 w 16"/>
                    <a:gd name="T7" fmla="*/ 22 h 22"/>
                    <a:gd name="T8" fmla="*/ 12 w 16"/>
                    <a:gd name="T9" fmla="*/ 9 h 22"/>
                    <a:gd name="T10" fmla="*/ 16 w 16"/>
                    <a:gd name="T11" fmla="*/ 1 h 22"/>
                    <a:gd name="T12" fmla="*/ 12 w 16"/>
                    <a:gd name="T13" fmla="*/ 0 h 22"/>
                    <a:gd name="T14" fmla="*/ 6 w 16"/>
                    <a:gd name="T15" fmla="*/ 7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" h="22">
                      <a:moveTo>
                        <a:pt x="6" y="7"/>
                      </a:moveTo>
                      <a:lnTo>
                        <a:pt x="4" y="13"/>
                      </a:lnTo>
                      <a:lnTo>
                        <a:pt x="0" y="20"/>
                      </a:lnTo>
                      <a:lnTo>
                        <a:pt x="0" y="22"/>
                      </a:lnTo>
                      <a:lnTo>
                        <a:pt x="12" y="9"/>
                      </a:lnTo>
                      <a:lnTo>
                        <a:pt x="16" y="1"/>
                      </a:lnTo>
                      <a:lnTo>
                        <a:pt x="12" y="0"/>
                      </a:lnTo>
                      <a:lnTo>
                        <a:pt x="6" y="7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81" name="Freeform 42"/>
                <p:cNvSpPr>
                  <a:spLocks/>
                </p:cNvSpPr>
                <p:nvPr/>
              </p:nvSpPr>
              <p:spPr bwMode="auto">
                <a:xfrm>
                  <a:off x="3135494" y="3554407"/>
                  <a:ext cx="15371" cy="19185"/>
                </a:xfrm>
                <a:custGeom>
                  <a:avLst/>
                  <a:gdLst>
                    <a:gd name="T0" fmla="*/ 6 w 16"/>
                    <a:gd name="T1" fmla="*/ 7 h 22"/>
                    <a:gd name="T2" fmla="*/ 4 w 16"/>
                    <a:gd name="T3" fmla="*/ 13 h 22"/>
                    <a:gd name="T4" fmla="*/ 0 w 16"/>
                    <a:gd name="T5" fmla="*/ 20 h 22"/>
                    <a:gd name="T6" fmla="*/ 0 w 16"/>
                    <a:gd name="T7" fmla="*/ 22 h 22"/>
                    <a:gd name="T8" fmla="*/ 12 w 16"/>
                    <a:gd name="T9" fmla="*/ 9 h 22"/>
                    <a:gd name="T10" fmla="*/ 16 w 16"/>
                    <a:gd name="T11" fmla="*/ 1 h 22"/>
                    <a:gd name="T12" fmla="*/ 12 w 16"/>
                    <a:gd name="T13" fmla="*/ 0 h 22"/>
                    <a:gd name="T14" fmla="*/ 6 w 16"/>
                    <a:gd name="T15" fmla="*/ 7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" h="22">
                      <a:moveTo>
                        <a:pt x="6" y="7"/>
                      </a:moveTo>
                      <a:lnTo>
                        <a:pt x="4" y="13"/>
                      </a:lnTo>
                      <a:lnTo>
                        <a:pt x="0" y="20"/>
                      </a:lnTo>
                      <a:lnTo>
                        <a:pt x="0" y="22"/>
                      </a:lnTo>
                      <a:lnTo>
                        <a:pt x="12" y="9"/>
                      </a:lnTo>
                      <a:lnTo>
                        <a:pt x="16" y="1"/>
                      </a:lnTo>
                      <a:lnTo>
                        <a:pt x="12" y="0"/>
                      </a:lnTo>
                      <a:lnTo>
                        <a:pt x="6" y="7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82" name="Freeform 43"/>
                <p:cNvSpPr>
                  <a:spLocks/>
                </p:cNvSpPr>
                <p:nvPr/>
              </p:nvSpPr>
              <p:spPr bwMode="auto">
                <a:xfrm>
                  <a:off x="3153747" y="3528245"/>
                  <a:ext cx="36506" cy="26161"/>
                </a:xfrm>
                <a:custGeom>
                  <a:avLst/>
                  <a:gdLst>
                    <a:gd name="T0" fmla="*/ 28 w 38"/>
                    <a:gd name="T1" fmla="*/ 7 h 30"/>
                    <a:gd name="T2" fmla="*/ 15 w 38"/>
                    <a:gd name="T3" fmla="*/ 15 h 30"/>
                    <a:gd name="T4" fmla="*/ 10 w 38"/>
                    <a:gd name="T5" fmla="*/ 20 h 30"/>
                    <a:gd name="T6" fmla="*/ 2 w 38"/>
                    <a:gd name="T7" fmla="*/ 22 h 30"/>
                    <a:gd name="T8" fmla="*/ 0 w 38"/>
                    <a:gd name="T9" fmla="*/ 22 h 30"/>
                    <a:gd name="T10" fmla="*/ 2 w 38"/>
                    <a:gd name="T11" fmla="*/ 30 h 30"/>
                    <a:gd name="T12" fmla="*/ 23 w 38"/>
                    <a:gd name="T13" fmla="*/ 15 h 30"/>
                    <a:gd name="T14" fmla="*/ 36 w 38"/>
                    <a:gd name="T15" fmla="*/ 7 h 30"/>
                    <a:gd name="T16" fmla="*/ 38 w 38"/>
                    <a:gd name="T17" fmla="*/ 1 h 30"/>
                    <a:gd name="T18" fmla="*/ 36 w 38"/>
                    <a:gd name="T19" fmla="*/ 0 h 30"/>
                    <a:gd name="T20" fmla="*/ 28 w 38"/>
                    <a:gd name="T21" fmla="*/ 7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" h="30">
                      <a:moveTo>
                        <a:pt x="28" y="7"/>
                      </a:moveTo>
                      <a:lnTo>
                        <a:pt x="15" y="15"/>
                      </a:lnTo>
                      <a:lnTo>
                        <a:pt x="10" y="20"/>
                      </a:lnTo>
                      <a:lnTo>
                        <a:pt x="2" y="22"/>
                      </a:lnTo>
                      <a:lnTo>
                        <a:pt x="0" y="22"/>
                      </a:lnTo>
                      <a:lnTo>
                        <a:pt x="2" y="30"/>
                      </a:lnTo>
                      <a:lnTo>
                        <a:pt x="23" y="15"/>
                      </a:lnTo>
                      <a:lnTo>
                        <a:pt x="36" y="7"/>
                      </a:lnTo>
                      <a:lnTo>
                        <a:pt x="38" y="1"/>
                      </a:lnTo>
                      <a:lnTo>
                        <a:pt x="36" y="0"/>
                      </a:lnTo>
                      <a:lnTo>
                        <a:pt x="28" y="7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83" name="Freeform 44"/>
                <p:cNvSpPr>
                  <a:spLocks/>
                </p:cNvSpPr>
                <p:nvPr/>
              </p:nvSpPr>
              <p:spPr bwMode="auto">
                <a:xfrm>
                  <a:off x="3153747" y="3528245"/>
                  <a:ext cx="36506" cy="26161"/>
                </a:xfrm>
                <a:custGeom>
                  <a:avLst/>
                  <a:gdLst>
                    <a:gd name="T0" fmla="*/ 28 w 38"/>
                    <a:gd name="T1" fmla="*/ 7 h 30"/>
                    <a:gd name="T2" fmla="*/ 15 w 38"/>
                    <a:gd name="T3" fmla="*/ 15 h 30"/>
                    <a:gd name="T4" fmla="*/ 10 w 38"/>
                    <a:gd name="T5" fmla="*/ 20 h 30"/>
                    <a:gd name="T6" fmla="*/ 2 w 38"/>
                    <a:gd name="T7" fmla="*/ 22 h 30"/>
                    <a:gd name="T8" fmla="*/ 0 w 38"/>
                    <a:gd name="T9" fmla="*/ 22 h 30"/>
                    <a:gd name="T10" fmla="*/ 2 w 38"/>
                    <a:gd name="T11" fmla="*/ 30 h 30"/>
                    <a:gd name="T12" fmla="*/ 23 w 38"/>
                    <a:gd name="T13" fmla="*/ 15 h 30"/>
                    <a:gd name="T14" fmla="*/ 36 w 38"/>
                    <a:gd name="T15" fmla="*/ 7 h 30"/>
                    <a:gd name="T16" fmla="*/ 38 w 38"/>
                    <a:gd name="T17" fmla="*/ 1 h 30"/>
                    <a:gd name="T18" fmla="*/ 36 w 38"/>
                    <a:gd name="T19" fmla="*/ 0 h 30"/>
                    <a:gd name="T20" fmla="*/ 28 w 38"/>
                    <a:gd name="T21" fmla="*/ 7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" h="30">
                      <a:moveTo>
                        <a:pt x="28" y="7"/>
                      </a:moveTo>
                      <a:lnTo>
                        <a:pt x="15" y="15"/>
                      </a:lnTo>
                      <a:lnTo>
                        <a:pt x="10" y="20"/>
                      </a:lnTo>
                      <a:lnTo>
                        <a:pt x="2" y="22"/>
                      </a:lnTo>
                      <a:lnTo>
                        <a:pt x="0" y="22"/>
                      </a:lnTo>
                      <a:lnTo>
                        <a:pt x="2" y="30"/>
                      </a:lnTo>
                      <a:lnTo>
                        <a:pt x="23" y="15"/>
                      </a:lnTo>
                      <a:lnTo>
                        <a:pt x="36" y="7"/>
                      </a:lnTo>
                      <a:lnTo>
                        <a:pt x="38" y="1"/>
                      </a:lnTo>
                      <a:lnTo>
                        <a:pt x="36" y="0"/>
                      </a:lnTo>
                      <a:lnTo>
                        <a:pt x="28" y="7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  <p:sp>
            <p:nvSpPr>
              <p:cNvPr id="292" name="Freeform 53"/>
              <p:cNvSpPr>
                <a:spLocks/>
              </p:cNvSpPr>
              <p:nvPr/>
            </p:nvSpPr>
            <p:spPr bwMode="auto">
              <a:xfrm>
                <a:off x="4199938" y="3337269"/>
                <a:ext cx="33624" cy="18313"/>
              </a:xfrm>
              <a:custGeom>
                <a:avLst/>
                <a:gdLst>
                  <a:gd name="T0" fmla="*/ 17 w 35"/>
                  <a:gd name="T1" fmla="*/ 15 h 21"/>
                  <a:gd name="T2" fmla="*/ 30 w 35"/>
                  <a:gd name="T3" fmla="*/ 6 h 21"/>
                  <a:gd name="T4" fmla="*/ 35 w 35"/>
                  <a:gd name="T5" fmla="*/ 0 h 21"/>
                  <a:gd name="T6" fmla="*/ 28 w 35"/>
                  <a:gd name="T7" fmla="*/ 6 h 21"/>
                  <a:gd name="T8" fmla="*/ 28 w 35"/>
                  <a:gd name="T9" fmla="*/ 8 h 21"/>
                  <a:gd name="T10" fmla="*/ 20 w 35"/>
                  <a:gd name="T11" fmla="*/ 12 h 21"/>
                  <a:gd name="T12" fmla="*/ 15 w 35"/>
                  <a:gd name="T13" fmla="*/ 15 h 21"/>
                  <a:gd name="T14" fmla="*/ 7 w 35"/>
                  <a:gd name="T15" fmla="*/ 19 h 21"/>
                  <a:gd name="T16" fmla="*/ 0 w 35"/>
                  <a:gd name="T17" fmla="*/ 19 h 21"/>
                  <a:gd name="T18" fmla="*/ 5 w 35"/>
                  <a:gd name="T19" fmla="*/ 21 h 21"/>
                  <a:gd name="T20" fmla="*/ 13 w 35"/>
                  <a:gd name="T21" fmla="*/ 17 h 21"/>
                  <a:gd name="T22" fmla="*/ 17 w 35"/>
                  <a:gd name="T23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21">
                    <a:moveTo>
                      <a:pt x="17" y="15"/>
                    </a:moveTo>
                    <a:lnTo>
                      <a:pt x="30" y="6"/>
                    </a:lnTo>
                    <a:lnTo>
                      <a:pt x="35" y="0"/>
                    </a:lnTo>
                    <a:lnTo>
                      <a:pt x="28" y="6"/>
                    </a:lnTo>
                    <a:lnTo>
                      <a:pt x="28" y="8"/>
                    </a:lnTo>
                    <a:lnTo>
                      <a:pt x="20" y="12"/>
                    </a:lnTo>
                    <a:lnTo>
                      <a:pt x="15" y="15"/>
                    </a:lnTo>
                    <a:lnTo>
                      <a:pt x="7" y="19"/>
                    </a:lnTo>
                    <a:lnTo>
                      <a:pt x="0" y="19"/>
                    </a:lnTo>
                    <a:lnTo>
                      <a:pt x="5" y="21"/>
                    </a:lnTo>
                    <a:lnTo>
                      <a:pt x="13" y="17"/>
                    </a:lnTo>
                    <a:lnTo>
                      <a:pt x="17" y="15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93" name="Freeform 54"/>
              <p:cNvSpPr>
                <a:spLocks/>
              </p:cNvSpPr>
              <p:nvPr/>
            </p:nvSpPr>
            <p:spPr bwMode="auto">
              <a:xfrm>
                <a:off x="4199938" y="3337269"/>
                <a:ext cx="33624" cy="18313"/>
              </a:xfrm>
              <a:custGeom>
                <a:avLst/>
                <a:gdLst>
                  <a:gd name="T0" fmla="*/ 17 w 35"/>
                  <a:gd name="T1" fmla="*/ 15 h 21"/>
                  <a:gd name="T2" fmla="*/ 30 w 35"/>
                  <a:gd name="T3" fmla="*/ 6 h 21"/>
                  <a:gd name="T4" fmla="*/ 35 w 35"/>
                  <a:gd name="T5" fmla="*/ 0 h 21"/>
                  <a:gd name="T6" fmla="*/ 28 w 35"/>
                  <a:gd name="T7" fmla="*/ 6 h 21"/>
                  <a:gd name="T8" fmla="*/ 28 w 35"/>
                  <a:gd name="T9" fmla="*/ 8 h 21"/>
                  <a:gd name="T10" fmla="*/ 20 w 35"/>
                  <a:gd name="T11" fmla="*/ 12 h 21"/>
                  <a:gd name="T12" fmla="*/ 15 w 35"/>
                  <a:gd name="T13" fmla="*/ 15 h 21"/>
                  <a:gd name="T14" fmla="*/ 7 w 35"/>
                  <a:gd name="T15" fmla="*/ 19 h 21"/>
                  <a:gd name="T16" fmla="*/ 0 w 35"/>
                  <a:gd name="T17" fmla="*/ 19 h 21"/>
                  <a:gd name="T18" fmla="*/ 5 w 35"/>
                  <a:gd name="T19" fmla="*/ 21 h 21"/>
                  <a:gd name="T20" fmla="*/ 13 w 35"/>
                  <a:gd name="T21" fmla="*/ 17 h 21"/>
                  <a:gd name="T22" fmla="*/ 17 w 35"/>
                  <a:gd name="T23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21">
                    <a:moveTo>
                      <a:pt x="17" y="15"/>
                    </a:moveTo>
                    <a:lnTo>
                      <a:pt x="30" y="6"/>
                    </a:lnTo>
                    <a:lnTo>
                      <a:pt x="35" y="0"/>
                    </a:lnTo>
                    <a:lnTo>
                      <a:pt x="28" y="6"/>
                    </a:lnTo>
                    <a:lnTo>
                      <a:pt x="28" y="8"/>
                    </a:lnTo>
                    <a:lnTo>
                      <a:pt x="20" y="12"/>
                    </a:lnTo>
                    <a:lnTo>
                      <a:pt x="15" y="15"/>
                    </a:lnTo>
                    <a:lnTo>
                      <a:pt x="7" y="19"/>
                    </a:lnTo>
                    <a:lnTo>
                      <a:pt x="0" y="19"/>
                    </a:lnTo>
                    <a:lnTo>
                      <a:pt x="5" y="21"/>
                    </a:lnTo>
                    <a:lnTo>
                      <a:pt x="13" y="17"/>
                    </a:lnTo>
                    <a:lnTo>
                      <a:pt x="17" y="15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06" name="Freeform 67"/>
              <p:cNvSpPr>
                <a:spLocks/>
              </p:cNvSpPr>
              <p:nvPr/>
            </p:nvSpPr>
            <p:spPr bwMode="auto">
              <a:xfrm>
                <a:off x="3120123" y="1555689"/>
                <a:ext cx="532222" cy="549386"/>
              </a:xfrm>
              <a:custGeom>
                <a:avLst/>
                <a:gdLst>
                  <a:gd name="T0" fmla="*/ 7 w 554"/>
                  <a:gd name="T1" fmla="*/ 69 h 630"/>
                  <a:gd name="T2" fmla="*/ 7 w 554"/>
                  <a:gd name="T3" fmla="*/ 103 h 630"/>
                  <a:gd name="T4" fmla="*/ 7 w 554"/>
                  <a:gd name="T5" fmla="*/ 126 h 630"/>
                  <a:gd name="T6" fmla="*/ 15 w 554"/>
                  <a:gd name="T7" fmla="*/ 160 h 630"/>
                  <a:gd name="T8" fmla="*/ 26 w 554"/>
                  <a:gd name="T9" fmla="*/ 203 h 630"/>
                  <a:gd name="T10" fmla="*/ 28 w 554"/>
                  <a:gd name="T11" fmla="*/ 229 h 630"/>
                  <a:gd name="T12" fmla="*/ 33 w 554"/>
                  <a:gd name="T13" fmla="*/ 261 h 630"/>
                  <a:gd name="T14" fmla="*/ 35 w 554"/>
                  <a:gd name="T15" fmla="*/ 301 h 630"/>
                  <a:gd name="T16" fmla="*/ 45 w 554"/>
                  <a:gd name="T17" fmla="*/ 325 h 630"/>
                  <a:gd name="T18" fmla="*/ 48 w 554"/>
                  <a:gd name="T19" fmla="*/ 353 h 630"/>
                  <a:gd name="T20" fmla="*/ 45 w 554"/>
                  <a:gd name="T21" fmla="*/ 382 h 630"/>
                  <a:gd name="T22" fmla="*/ 28 w 554"/>
                  <a:gd name="T23" fmla="*/ 400 h 630"/>
                  <a:gd name="T24" fmla="*/ 39 w 554"/>
                  <a:gd name="T25" fmla="*/ 425 h 630"/>
                  <a:gd name="T26" fmla="*/ 58 w 554"/>
                  <a:gd name="T27" fmla="*/ 436 h 630"/>
                  <a:gd name="T28" fmla="*/ 272 w 554"/>
                  <a:gd name="T29" fmla="*/ 626 h 630"/>
                  <a:gd name="T30" fmla="*/ 462 w 554"/>
                  <a:gd name="T31" fmla="*/ 609 h 630"/>
                  <a:gd name="T32" fmla="*/ 458 w 554"/>
                  <a:gd name="T33" fmla="*/ 581 h 630"/>
                  <a:gd name="T34" fmla="*/ 439 w 554"/>
                  <a:gd name="T35" fmla="*/ 562 h 630"/>
                  <a:gd name="T36" fmla="*/ 411 w 554"/>
                  <a:gd name="T37" fmla="*/ 543 h 630"/>
                  <a:gd name="T38" fmla="*/ 383 w 554"/>
                  <a:gd name="T39" fmla="*/ 519 h 630"/>
                  <a:gd name="T40" fmla="*/ 360 w 554"/>
                  <a:gd name="T41" fmla="*/ 506 h 630"/>
                  <a:gd name="T42" fmla="*/ 334 w 554"/>
                  <a:gd name="T43" fmla="*/ 489 h 630"/>
                  <a:gd name="T44" fmla="*/ 334 w 554"/>
                  <a:gd name="T45" fmla="*/ 455 h 630"/>
                  <a:gd name="T46" fmla="*/ 344 w 554"/>
                  <a:gd name="T47" fmla="*/ 415 h 630"/>
                  <a:gd name="T48" fmla="*/ 325 w 554"/>
                  <a:gd name="T49" fmla="*/ 395 h 630"/>
                  <a:gd name="T50" fmla="*/ 334 w 554"/>
                  <a:gd name="T51" fmla="*/ 374 h 630"/>
                  <a:gd name="T52" fmla="*/ 362 w 554"/>
                  <a:gd name="T53" fmla="*/ 351 h 630"/>
                  <a:gd name="T54" fmla="*/ 366 w 554"/>
                  <a:gd name="T55" fmla="*/ 282 h 630"/>
                  <a:gd name="T56" fmla="*/ 376 w 554"/>
                  <a:gd name="T57" fmla="*/ 273 h 630"/>
                  <a:gd name="T58" fmla="*/ 402 w 554"/>
                  <a:gd name="T59" fmla="*/ 248 h 630"/>
                  <a:gd name="T60" fmla="*/ 419 w 554"/>
                  <a:gd name="T61" fmla="*/ 231 h 630"/>
                  <a:gd name="T62" fmla="*/ 471 w 554"/>
                  <a:gd name="T63" fmla="*/ 173 h 630"/>
                  <a:gd name="T64" fmla="*/ 513 w 554"/>
                  <a:gd name="T65" fmla="*/ 152 h 630"/>
                  <a:gd name="T66" fmla="*/ 548 w 554"/>
                  <a:gd name="T67" fmla="*/ 132 h 630"/>
                  <a:gd name="T68" fmla="*/ 532 w 554"/>
                  <a:gd name="T69" fmla="*/ 130 h 630"/>
                  <a:gd name="T70" fmla="*/ 516 w 554"/>
                  <a:gd name="T71" fmla="*/ 116 h 630"/>
                  <a:gd name="T72" fmla="*/ 483 w 554"/>
                  <a:gd name="T73" fmla="*/ 120 h 630"/>
                  <a:gd name="T74" fmla="*/ 466 w 554"/>
                  <a:gd name="T75" fmla="*/ 115 h 630"/>
                  <a:gd name="T76" fmla="*/ 454 w 554"/>
                  <a:gd name="T77" fmla="*/ 109 h 630"/>
                  <a:gd name="T78" fmla="*/ 421 w 554"/>
                  <a:gd name="T79" fmla="*/ 132 h 630"/>
                  <a:gd name="T80" fmla="*/ 398 w 554"/>
                  <a:gd name="T81" fmla="*/ 118 h 630"/>
                  <a:gd name="T82" fmla="*/ 368 w 554"/>
                  <a:gd name="T83" fmla="*/ 101 h 630"/>
                  <a:gd name="T84" fmla="*/ 349 w 554"/>
                  <a:gd name="T85" fmla="*/ 111 h 630"/>
                  <a:gd name="T86" fmla="*/ 338 w 554"/>
                  <a:gd name="T87" fmla="*/ 92 h 630"/>
                  <a:gd name="T88" fmla="*/ 304 w 554"/>
                  <a:gd name="T89" fmla="*/ 75 h 630"/>
                  <a:gd name="T90" fmla="*/ 280 w 554"/>
                  <a:gd name="T91" fmla="*/ 77 h 630"/>
                  <a:gd name="T92" fmla="*/ 270 w 554"/>
                  <a:gd name="T93" fmla="*/ 85 h 630"/>
                  <a:gd name="T94" fmla="*/ 244 w 554"/>
                  <a:gd name="T95" fmla="*/ 79 h 630"/>
                  <a:gd name="T96" fmla="*/ 193 w 554"/>
                  <a:gd name="T97" fmla="*/ 69 h 630"/>
                  <a:gd name="T98" fmla="*/ 182 w 554"/>
                  <a:gd name="T99" fmla="*/ 51 h 630"/>
                  <a:gd name="T100" fmla="*/ 165 w 554"/>
                  <a:gd name="T101" fmla="*/ 4 h 630"/>
                  <a:gd name="T102" fmla="*/ 148 w 554"/>
                  <a:gd name="T103" fmla="*/ 34 h 630"/>
                  <a:gd name="T104" fmla="*/ 0 w 554"/>
                  <a:gd name="T105" fmla="*/ 41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54" h="630">
                    <a:moveTo>
                      <a:pt x="0" y="45"/>
                    </a:moveTo>
                    <a:lnTo>
                      <a:pt x="1" y="51"/>
                    </a:lnTo>
                    <a:lnTo>
                      <a:pt x="7" y="69"/>
                    </a:lnTo>
                    <a:lnTo>
                      <a:pt x="9" y="77"/>
                    </a:lnTo>
                    <a:lnTo>
                      <a:pt x="5" y="90"/>
                    </a:lnTo>
                    <a:lnTo>
                      <a:pt x="7" y="103"/>
                    </a:lnTo>
                    <a:lnTo>
                      <a:pt x="5" y="109"/>
                    </a:lnTo>
                    <a:lnTo>
                      <a:pt x="7" y="113"/>
                    </a:lnTo>
                    <a:lnTo>
                      <a:pt x="7" y="126"/>
                    </a:lnTo>
                    <a:lnTo>
                      <a:pt x="7" y="133"/>
                    </a:lnTo>
                    <a:lnTo>
                      <a:pt x="15" y="156"/>
                    </a:lnTo>
                    <a:lnTo>
                      <a:pt x="15" y="160"/>
                    </a:lnTo>
                    <a:lnTo>
                      <a:pt x="24" y="180"/>
                    </a:lnTo>
                    <a:lnTo>
                      <a:pt x="26" y="195"/>
                    </a:lnTo>
                    <a:lnTo>
                      <a:pt x="26" y="203"/>
                    </a:lnTo>
                    <a:lnTo>
                      <a:pt x="26" y="209"/>
                    </a:lnTo>
                    <a:lnTo>
                      <a:pt x="28" y="216"/>
                    </a:lnTo>
                    <a:lnTo>
                      <a:pt x="28" y="229"/>
                    </a:lnTo>
                    <a:lnTo>
                      <a:pt x="30" y="244"/>
                    </a:lnTo>
                    <a:lnTo>
                      <a:pt x="30" y="254"/>
                    </a:lnTo>
                    <a:lnTo>
                      <a:pt x="33" y="261"/>
                    </a:lnTo>
                    <a:lnTo>
                      <a:pt x="32" y="269"/>
                    </a:lnTo>
                    <a:lnTo>
                      <a:pt x="32" y="295"/>
                    </a:lnTo>
                    <a:lnTo>
                      <a:pt x="35" y="301"/>
                    </a:lnTo>
                    <a:lnTo>
                      <a:pt x="35" y="308"/>
                    </a:lnTo>
                    <a:lnTo>
                      <a:pt x="37" y="314"/>
                    </a:lnTo>
                    <a:lnTo>
                      <a:pt x="45" y="325"/>
                    </a:lnTo>
                    <a:lnTo>
                      <a:pt x="47" y="333"/>
                    </a:lnTo>
                    <a:lnTo>
                      <a:pt x="47" y="340"/>
                    </a:lnTo>
                    <a:lnTo>
                      <a:pt x="48" y="353"/>
                    </a:lnTo>
                    <a:lnTo>
                      <a:pt x="48" y="361"/>
                    </a:lnTo>
                    <a:lnTo>
                      <a:pt x="48" y="368"/>
                    </a:lnTo>
                    <a:lnTo>
                      <a:pt x="45" y="382"/>
                    </a:lnTo>
                    <a:lnTo>
                      <a:pt x="41" y="389"/>
                    </a:lnTo>
                    <a:lnTo>
                      <a:pt x="35" y="393"/>
                    </a:lnTo>
                    <a:lnTo>
                      <a:pt x="28" y="400"/>
                    </a:lnTo>
                    <a:lnTo>
                      <a:pt x="26" y="404"/>
                    </a:lnTo>
                    <a:lnTo>
                      <a:pt x="32" y="412"/>
                    </a:lnTo>
                    <a:lnTo>
                      <a:pt x="39" y="425"/>
                    </a:lnTo>
                    <a:lnTo>
                      <a:pt x="47" y="427"/>
                    </a:lnTo>
                    <a:lnTo>
                      <a:pt x="52" y="430"/>
                    </a:lnTo>
                    <a:lnTo>
                      <a:pt x="58" y="436"/>
                    </a:lnTo>
                    <a:lnTo>
                      <a:pt x="58" y="630"/>
                    </a:lnTo>
                    <a:lnTo>
                      <a:pt x="139" y="630"/>
                    </a:lnTo>
                    <a:lnTo>
                      <a:pt x="272" y="626"/>
                    </a:lnTo>
                    <a:lnTo>
                      <a:pt x="383" y="622"/>
                    </a:lnTo>
                    <a:lnTo>
                      <a:pt x="464" y="617"/>
                    </a:lnTo>
                    <a:lnTo>
                      <a:pt x="462" y="609"/>
                    </a:lnTo>
                    <a:lnTo>
                      <a:pt x="462" y="607"/>
                    </a:lnTo>
                    <a:lnTo>
                      <a:pt x="460" y="600"/>
                    </a:lnTo>
                    <a:lnTo>
                      <a:pt x="458" y="581"/>
                    </a:lnTo>
                    <a:lnTo>
                      <a:pt x="453" y="573"/>
                    </a:lnTo>
                    <a:lnTo>
                      <a:pt x="445" y="566"/>
                    </a:lnTo>
                    <a:lnTo>
                      <a:pt x="439" y="562"/>
                    </a:lnTo>
                    <a:lnTo>
                      <a:pt x="432" y="560"/>
                    </a:lnTo>
                    <a:lnTo>
                      <a:pt x="424" y="556"/>
                    </a:lnTo>
                    <a:lnTo>
                      <a:pt x="411" y="543"/>
                    </a:lnTo>
                    <a:lnTo>
                      <a:pt x="402" y="530"/>
                    </a:lnTo>
                    <a:lnTo>
                      <a:pt x="392" y="523"/>
                    </a:lnTo>
                    <a:lnTo>
                      <a:pt x="383" y="519"/>
                    </a:lnTo>
                    <a:lnTo>
                      <a:pt x="377" y="515"/>
                    </a:lnTo>
                    <a:lnTo>
                      <a:pt x="372" y="508"/>
                    </a:lnTo>
                    <a:lnTo>
                      <a:pt x="360" y="506"/>
                    </a:lnTo>
                    <a:lnTo>
                      <a:pt x="353" y="504"/>
                    </a:lnTo>
                    <a:lnTo>
                      <a:pt x="345" y="496"/>
                    </a:lnTo>
                    <a:lnTo>
                      <a:pt x="334" y="489"/>
                    </a:lnTo>
                    <a:lnTo>
                      <a:pt x="338" y="481"/>
                    </a:lnTo>
                    <a:lnTo>
                      <a:pt x="338" y="470"/>
                    </a:lnTo>
                    <a:lnTo>
                      <a:pt x="334" y="455"/>
                    </a:lnTo>
                    <a:lnTo>
                      <a:pt x="338" y="447"/>
                    </a:lnTo>
                    <a:lnTo>
                      <a:pt x="336" y="434"/>
                    </a:lnTo>
                    <a:lnTo>
                      <a:pt x="344" y="415"/>
                    </a:lnTo>
                    <a:lnTo>
                      <a:pt x="336" y="402"/>
                    </a:lnTo>
                    <a:lnTo>
                      <a:pt x="330" y="402"/>
                    </a:lnTo>
                    <a:lnTo>
                      <a:pt x="325" y="395"/>
                    </a:lnTo>
                    <a:lnTo>
                      <a:pt x="325" y="387"/>
                    </a:lnTo>
                    <a:lnTo>
                      <a:pt x="330" y="382"/>
                    </a:lnTo>
                    <a:lnTo>
                      <a:pt x="334" y="374"/>
                    </a:lnTo>
                    <a:lnTo>
                      <a:pt x="336" y="367"/>
                    </a:lnTo>
                    <a:lnTo>
                      <a:pt x="349" y="357"/>
                    </a:lnTo>
                    <a:lnTo>
                      <a:pt x="362" y="351"/>
                    </a:lnTo>
                    <a:lnTo>
                      <a:pt x="366" y="344"/>
                    </a:lnTo>
                    <a:lnTo>
                      <a:pt x="368" y="336"/>
                    </a:lnTo>
                    <a:lnTo>
                      <a:pt x="366" y="282"/>
                    </a:lnTo>
                    <a:lnTo>
                      <a:pt x="372" y="282"/>
                    </a:lnTo>
                    <a:lnTo>
                      <a:pt x="374" y="274"/>
                    </a:lnTo>
                    <a:lnTo>
                      <a:pt x="376" y="273"/>
                    </a:lnTo>
                    <a:lnTo>
                      <a:pt x="377" y="271"/>
                    </a:lnTo>
                    <a:lnTo>
                      <a:pt x="381" y="265"/>
                    </a:lnTo>
                    <a:lnTo>
                      <a:pt x="402" y="248"/>
                    </a:lnTo>
                    <a:lnTo>
                      <a:pt x="407" y="242"/>
                    </a:lnTo>
                    <a:lnTo>
                      <a:pt x="413" y="237"/>
                    </a:lnTo>
                    <a:lnTo>
                      <a:pt x="419" y="231"/>
                    </a:lnTo>
                    <a:lnTo>
                      <a:pt x="438" y="210"/>
                    </a:lnTo>
                    <a:lnTo>
                      <a:pt x="445" y="199"/>
                    </a:lnTo>
                    <a:lnTo>
                      <a:pt x="471" y="173"/>
                    </a:lnTo>
                    <a:lnTo>
                      <a:pt x="492" y="162"/>
                    </a:lnTo>
                    <a:lnTo>
                      <a:pt x="505" y="156"/>
                    </a:lnTo>
                    <a:lnTo>
                      <a:pt x="513" y="152"/>
                    </a:lnTo>
                    <a:lnTo>
                      <a:pt x="535" y="141"/>
                    </a:lnTo>
                    <a:lnTo>
                      <a:pt x="541" y="137"/>
                    </a:lnTo>
                    <a:lnTo>
                      <a:pt x="548" y="132"/>
                    </a:lnTo>
                    <a:lnTo>
                      <a:pt x="554" y="126"/>
                    </a:lnTo>
                    <a:lnTo>
                      <a:pt x="539" y="126"/>
                    </a:lnTo>
                    <a:lnTo>
                      <a:pt x="532" y="130"/>
                    </a:lnTo>
                    <a:lnTo>
                      <a:pt x="524" y="126"/>
                    </a:lnTo>
                    <a:lnTo>
                      <a:pt x="524" y="124"/>
                    </a:lnTo>
                    <a:lnTo>
                      <a:pt x="516" y="116"/>
                    </a:lnTo>
                    <a:lnTo>
                      <a:pt x="503" y="118"/>
                    </a:lnTo>
                    <a:lnTo>
                      <a:pt x="496" y="120"/>
                    </a:lnTo>
                    <a:lnTo>
                      <a:pt x="483" y="120"/>
                    </a:lnTo>
                    <a:lnTo>
                      <a:pt x="475" y="122"/>
                    </a:lnTo>
                    <a:lnTo>
                      <a:pt x="468" y="122"/>
                    </a:lnTo>
                    <a:lnTo>
                      <a:pt x="466" y="115"/>
                    </a:lnTo>
                    <a:lnTo>
                      <a:pt x="462" y="113"/>
                    </a:lnTo>
                    <a:lnTo>
                      <a:pt x="462" y="109"/>
                    </a:lnTo>
                    <a:lnTo>
                      <a:pt x="454" y="109"/>
                    </a:lnTo>
                    <a:lnTo>
                      <a:pt x="441" y="118"/>
                    </a:lnTo>
                    <a:lnTo>
                      <a:pt x="436" y="126"/>
                    </a:lnTo>
                    <a:lnTo>
                      <a:pt x="421" y="132"/>
                    </a:lnTo>
                    <a:lnTo>
                      <a:pt x="413" y="132"/>
                    </a:lnTo>
                    <a:lnTo>
                      <a:pt x="400" y="124"/>
                    </a:lnTo>
                    <a:lnTo>
                      <a:pt x="398" y="118"/>
                    </a:lnTo>
                    <a:lnTo>
                      <a:pt x="379" y="111"/>
                    </a:lnTo>
                    <a:lnTo>
                      <a:pt x="376" y="103"/>
                    </a:lnTo>
                    <a:lnTo>
                      <a:pt x="368" y="101"/>
                    </a:lnTo>
                    <a:lnTo>
                      <a:pt x="359" y="103"/>
                    </a:lnTo>
                    <a:lnTo>
                      <a:pt x="357" y="113"/>
                    </a:lnTo>
                    <a:lnTo>
                      <a:pt x="349" y="111"/>
                    </a:lnTo>
                    <a:lnTo>
                      <a:pt x="345" y="105"/>
                    </a:lnTo>
                    <a:lnTo>
                      <a:pt x="344" y="100"/>
                    </a:lnTo>
                    <a:lnTo>
                      <a:pt x="338" y="92"/>
                    </a:lnTo>
                    <a:lnTo>
                      <a:pt x="330" y="94"/>
                    </a:lnTo>
                    <a:lnTo>
                      <a:pt x="332" y="86"/>
                    </a:lnTo>
                    <a:lnTo>
                      <a:pt x="304" y="75"/>
                    </a:lnTo>
                    <a:lnTo>
                      <a:pt x="289" y="75"/>
                    </a:lnTo>
                    <a:lnTo>
                      <a:pt x="283" y="75"/>
                    </a:lnTo>
                    <a:lnTo>
                      <a:pt x="280" y="77"/>
                    </a:lnTo>
                    <a:lnTo>
                      <a:pt x="278" y="77"/>
                    </a:lnTo>
                    <a:lnTo>
                      <a:pt x="274" y="79"/>
                    </a:lnTo>
                    <a:lnTo>
                      <a:pt x="270" y="85"/>
                    </a:lnTo>
                    <a:lnTo>
                      <a:pt x="253" y="88"/>
                    </a:lnTo>
                    <a:lnTo>
                      <a:pt x="246" y="85"/>
                    </a:lnTo>
                    <a:lnTo>
                      <a:pt x="244" y="79"/>
                    </a:lnTo>
                    <a:lnTo>
                      <a:pt x="214" y="75"/>
                    </a:lnTo>
                    <a:lnTo>
                      <a:pt x="206" y="69"/>
                    </a:lnTo>
                    <a:lnTo>
                      <a:pt x="193" y="69"/>
                    </a:lnTo>
                    <a:lnTo>
                      <a:pt x="186" y="68"/>
                    </a:lnTo>
                    <a:lnTo>
                      <a:pt x="180" y="62"/>
                    </a:lnTo>
                    <a:lnTo>
                      <a:pt x="182" y="51"/>
                    </a:lnTo>
                    <a:lnTo>
                      <a:pt x="174" y="32"/>
                    </a:lnTo>
                    <a:lnTo>
                      <a:pt x="171" y="9"/>
                    </a:lnTo>
                    <a:lnTo>
                      <a:pt x="165" y="4"/>
                    </a:lnTo>
                    <a:lnTo>
                      <a:pt x="152" y="2"/>
                    </a:lnTo>
                    <a:lnTo>
                      <a:pt x="148" y="0"/>
                    </a:lnTo>
                    <a:lnTo>
                      <a:pt x="148" y="34"/>
                    </a:lnTo>
                    <a:lnTo>
                      <a:pt x="146" y="39"/>
                    </a:lnTo>
                    <a:lnTo>
                      <a:pt x="92" y="41"/>
                    </a:lnTo>
                    <a:lnTo>
                      <a:pt x="0" y="41"/>
                    </a:lnTo>
                    <a:lnTo>
                      <a:pt x="0" y="45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07" name="Freeform 68"/>
              <p:cNvSpPr>
                <a:spLocks/>
              </p:cNvSpPr>
              <p:nvPr/>
            </p:nvSpPr>
            <p:spPr bwMode="auto">
              <a:xfrm>
                <a:off x="3163354" y="2093738"/>
                <a:ext cx="494755" cy="294750"/>
              </a:xfrm>
              <a:custGeom>
                <a:avLst/>
                <a:gdLst>
                  <a:gd name="T0" fmla="*/ 7 w 515"/>
                  <a:gd name="T1" fmla="*/ 28 h 338"/>
                  <a:gd name="T2" fmla="*/ 3 w 515"/>
                  <a:gd name="T3" fmla="*/ 37 h 338"/>
                  <a:gd name="T4" fmla="*/ 13 w 515"/>
                  <a:gd name="T5" fmla="*/ 50 h 338"/>
                  <a:gd name="T6" fmla="*/ 9 w 515"/>
                  <a:gd name="T7" fmla="*/ 63 h 338"/>
                  <a:gd name="T8" fmla="*/ 5 w 515"/>
                  <a:gd name="T9" fmla="*/ 84 h 338"/>
                  <a:gd name="T10" fmla="*/ 0 w 515"/>
                  <a:gd name="T11" fmla="*/ 92 h 338"/>
                  <a:gd name="T12" fmla="*/ 9 w 515"/>
                  <a:gd name="T13" fmla="*/ 105 h 338"/>
                  <a:gd name="T14" fmla="*/ 18 w 515"/>
                  <a:gd name="T15" fmla="*/ 122 h 338"/>
                  <a:gd name="T16" fmla="*/ 18 w 515"/>
                  <a:gd name="T17" fmla="*/ 133 h 338"/>
                  <a:gd name="T18" fmla="*/ 24 w 515"/>
                  <a:gd name="T19" fmla="*/ 148 h 338"/>
                  <a:gd name="T20" fmla="*/ 30 w 515"/>
                  <a:gd name="T21" fmla="*/ 161 h 338"/>
                  <a:gd name="T22" fmla="*/ 39 w 515"/>
                  <a:gd name="T23" fmla="*/ 180 h 338"/>
                  <a:gd name="T24" fmla="*/ 43 w 515"/>
                  <a:gd name="T25" fmla="*/ 193 h 338"/>
                  <a:gd name="T26" fmla="*/ 43 w 515"/>
                  <a:gd name="T27" fmla="*/ 206 h 338"/>
                  <a:gd name="T28" fmla="*/ 45 w 515"/>
                  <a:gd name="T29" fmla="*/ 221 h 338"/>
                  <a:gd name="T30" fmla="*/ 50 w 515"/>
                  <a:gd name="T31" fmla="*/ 223 h 338"/>
                  <a:gd name="T32" fmla="*/ 58 w 515"/>
                  <a:gd name="T33" fmla="*/ 235 h 338"/>
                  <a:gd name="T34" fmla="*/ 60 w 515"/>
                  <a:gd name="T35" fmla="*/ 248 h 338"/>
                  <a:gd name="T36" fmla="*/ 64 w 515"/>
                  <a:gd name="T37" fmla="*/ 263 h 338"/>
                  <a:gd name="T38" fmla="*/ 62 w 515"/>
                  <a:gd name="T39" fmla="*/ 280 h 338"/>
                  <a:gd name="T40" fmla="*/ 62 w 515"/>
                  <a:gd name="T41" fmla="*/ 315 h 338"/>
                  <a:gd name="T42" fmla="*/ 71 w 515"/>
                  <a:gd name="T43" fmla="*/ 327 h 338"/>
                  <a:gd name="T44" fmla="*/ 218 w 515"/>
                  <a:gd name="T45" fmla="*/ 325 h 338"/>
                  <a:gd name="T46" fmla="*/ 396 w 515"/>
                  <a:gd name="T47" fmla="*/ 312 h 338"/>
                  <a:gd name="T48" fmla="*/ 413 w 515"/>
                  <a:gd name="T49" fmla="*/ 329 h 338"/>
                  <a:gd name="T50" fmla="*/ 423 w 515"/>
                  <a:gd name="T51" fmla="*/ 338 h 338"/>
                  <a:gd name="T52" fmla="*/ 428 w 515"/>
                  <a:gd name="T53" fmla="*/ 327 h 338"/>
                  <a:gd name="T54" fmla="*/ 428 w 515"/>
                  <a:gd name="T55" fmla="*/ 312 h 338"/>
                  <a:gd name="T56" fmla="*/ 447 w 515"/>
                  <a:gd name="T57" fmla="*/ 297 h 338"/>
                  <a:gd name="T58" fmla="*/ 449 w 515"/>
                  <a:gd name="T59" fmla="*/ 285 h 338"/>
                  <a:gd name="T60" fmla="*/ 456 w 515"/>
                  <a:gd name="T61" fmla="*/ 257 h 338"/>
                  <a:gd name="T62" fmla="*/ 447 w 515"/>
                  <a:gd name="T63" fmla="*/ 231 h 338"/>
                  <a:gd name="T64" fmla="*/ 475 w 515"/>
                  <a:gd name="T65" fmla="*/ 218 h 338"/>
                  <a:gd name="T66" fmla="*/ 496 w 515"/>
                  <a:gd name="T67" fmla="*/ 206 h 338"/>
                  <a:gd name="T68" fmla="*/ 503 w 515"/>
                  <a:gd name="T69" fmla="*/ 188 h 338"/>
                  <a:gd name="T70" fmla="*/ 515 w 515"/>
                  <a:gd name="T71" fmla="*/ 154 h 338"/>
                  <a:gd name="T72" fmla="*/ 505 w 515"/>
                  <a:gd name="T73" fmla="*/ 139 h 338"/>
                  <a:gd name="T74" fmla="*/ 492 w 515"/>
                  <a:gd name="T75" fmla="*/ 129 h 338"/>
                  <a:gd name="T76" fmla="*/ 477 w 515"/>
                  <a:gd name="T77" fmla="*/ 110 h 338"/>
                  <a:gd name="T78" fmla="*/ 471 w 515"/>
                  <a:gd name="T79" fmla="*/ 103 h 338"/>
                  <a:gd name="T80" fmla="*/ 447 w 515"/>
                  <a:gd name="T81" fmla="*/ 86 h 338"/>
                  <a:gd name="T82" fmla="*/ 436 w 515"/>
                  <a:gd name="T83" fmla="*/ 75 h 338"/>
                  <a:gd name="T84" fmla="*/ 430 w 515"/>
                  <a:gd name="T85" fmla="*/ 60 h 338"/>
                  <a:gd name="T86" fmla="*/ 426 w 515"/>
                  <a:gd name="T87" fmla="*/ 37 h 338"/>
                  <a:gd name="T88" fmla="*/ 428 w 515"/>
                  <a:gd name="T89" fmla="*/ 16 h 338"/>
                  <a:gd name="T90" fmla="*/ 421 w 515"/>
                  <a:gd name="T91" fmla="*/ 7 h 338"/>
                  <a:gd name="T92" fmla="*/ 419 w 515"/>
                  <a:gd name="T93" fmla="*/ 0 h 338"/>
                  <a:gd name="T94" fmla="*/ 227 w 515"/>
                  <a:gd name="T95" fmla="*/ 9 h 338"/>
                  <a:gd name="T96" fmla="*/ 13 w 515"/>
                  <a:gd name="T97" fmla="*/ 13 h 338"/>
                  <a:gd name="T98" fmla="*/ 3 w 515"/>
                  <a:gd name="T99" fmla="*/ 20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15" h="338">
                    <a:moveTo>
                      <a:pt x="3" y="20"/>
                    </a:moveTo>
                    <a:lnTo>
                      <a:pt x="7" y="28"/>
                    </a:lnTo>
                    <a:lnTo>
                      <a:pt x="7" y="35"/>
                    </a:lnTo>
                    <a:lnTo>
                      <a:pt x="3" y="37"/>
                    </a:lnTo>
                    <a:lnTo>
                      <a:pt x="5" y="43"/>
                    </a:lnTo>
                    <a:lnTo>
                      <a:pt x="13" y="50"/>
                    </a:lnTo>
                    <a:lnTo>
                      <a:pt x="13" y="56"/>
                    </a:lnTo>
                    <a:lnTo>
                      <a:pt x="9" y="63"/>
                    </a:lnTo>
                    <a:lnTo>
                      <a:pt x="9" y="71"/>
                    </a:lnTo>
                    <a:lnTo>
                      <a:pt x="5" y="84"/>
                    </a:lnTo>
                    <a:lnTo>
                      <a:pt x="3" y="86"/>
                    </a:lnTo>
                    <a:lnTo>
                      <a:pt x="0" y="92"/>
                    </a:lnTo>
                    <a:lnTo>
                      <a:pt x="2" y="99"/>
                    </a:lnTo>
                    <a:lnTo>
                      <a:pt x="9" y="105"/>
                    </a:lnTo>
                    <a:lnTo>
                      <a:pt x="11" y="120"/>
                    </a:lnTo>
                    <a:lnTo>
                      <a:pt x="18" y="122"/>
                    </a:lnTo>
                    <a:lnTo>
                      <a:pt x="18" y="129"/>
                    </a:lnTo>
                    <a:lnTo>
                      <a:pt x="18" y="133"/>
                    </a:lnTo>
                    <a:lnTo>
                      <a:pt x="22" y="141"/>
                    </a:lnTo>
                    <a:lnTo>
                      <a:pt x="24" y="148"/>
                    </a:lnTo>
                    <a:lnTo>
                      <a:pt x="22" y="154"/>
                    </a:lnTo>
                    <a:lnTo>
                      <a:pt x="30" y="161"/>
                    </a:lnTo>
                    <a:lnTo>
                      <a:pt x="30" y="169"/>
                    </a:lnTo>
                    <a:lnTo>
                      <a:pt x="39" y="180"/>
                    </a:lnTo>
                    <a:lnTo>
                      <a:pt x="39" y="188"/>
                    </a:lnTo>
                    <a:lnTo>
                      <a:pt x="43" y="193"/>
                    </a:lnTo>
                    <a:lnTo>
                      <a:pt x="45" y="201"/>
                    </a:lnTo>
                    <a:lnTo>
                      <a:pt x="43" y="206"/>
                    </a:lnTo>
                    <a:lnTo>
                      <a:pt x="43" y="214"/>
                    </a:lnTo>
                    <a:lnTo>
                      <a:pt x="45" y="221"/>
                    </a:lnTo>
                    <a:lnTo>
                      <a:pt x="45" y="223"/>
                    </a:lnTo>
                    <a:lnTo>
                      <a:pt x="50" y="223"/>
                    </a:lnTo>
                    <a:lnTo>
                      <a:pt x="50" y="231"/>
                    </a:lnTo>
                    <a:lnTo>
                      <a:pt x="58" y="235"/>
                    </a:lnTo>
                    <a:lnTo>
                      <a:pt x="56" y="242"/>
                    </a:lnTo>
                    <a:lnTo>
                      <a:pt x="60" y="248"/>
                    </a:lnTo>
                    <a:lnTo>
                      <a:pt x="58" y="257"/>
                    </a:lnTo>
                    <a:lnTo>
                      <a:pt x="64" y="263"/>
                    </a:lnTo>
                    <a:lnTo>
                      <a:pt x="62" y="270"/>
                    </a:lnTo>
                    <a:lnTo>
                      <a:pt x="62" y="280"/>
                    </a:lnTo>
                    <a:lnTo>
                      <a:pt x="65" y="295"/>
                    </a:lnTo>
                    <a:lnTo>
                      <a:pt x="62" y="315"/>
                    </a:lnTo>
                    <a:lnTo>
                      <a:pt x="69" y="319"/>
                    </a:lnTo>
                    <a:lnTo>
                      <a:pt x="71" y="327"/>
                    </a:lnTo>
                    <a:lnTo>
                      <a:pt x="161" y="327"/>
                    </a:lnTo>
                    <a:lnTo>
                      <a:pt x="218" y="325"/>
                    </a:lnTo>
                    <a:lnTo>
                      <a:pt x="344" y="317"/>
                    </a:lnTo>
                    <a:lnTo>
                      <a:pt x="396" y="312"/>
                    </a:lnTo>
                    <a:lnTo>
                      <a:pt x="400" y="319"/>
                    </a:lnTo>
                    <a:lnTo>
                      <a:pt x="413" y="329"/>
                    </a:lnTo>
                    <a:lnTo>
                      <a:pt x="419" y="336"/>
                    </a:lnTo>
                    <a:lnTo>
                      <a:pt x="423" y="338"/>
                    </a:lnTo>
                    <a:lnTo>
                      <a:pt x="426" y="332"/>
                    </a:lnTo>
                    <a:lnTo>
                      <a:pt x="428" y="327"/>
                    </a:lnTo>
                    <a:lnTo>
                      <a:pt x="423" y="319"/>
                    </a:lnTo>
                    <a:lnTo>
                      <a:pt x="428" y="312"/>
                    </a:lnTo>
                    <a:lnTo>
                      <a:pt x="445" y="304"/>
                    </a:lnTo>
                    <a:lnTo>
                      <a:pt x="447" y="297"/>
                    </a:lnTo>
                    <a:lnTo>
                      <a:pt x="447" y="291"/>
                    </a:lnTo>
                    <a:lnTo>
                      <a:pt x="449" y="285"/>
                    </a:lnTo>
                    <a:lnTo>
                      <a:pt x="458" y="272"/>
                    </a:lnTo>
                    <a:lnTo>
                      <a:pt x="456" y="257"/>
                    </a:lnTo>
                    <a:lnTo>
                      <a:pt x="443" y="244"/>
                    </a:lnTo>
                    <a:lnTo>
                      <a:pt x="447" y="231"/>
                    </a:lnTo>
                    <a:lnTo>
                      <a:pt x="449" y="223"/>
                    </a:lnTo>
                    <a:lnTo>
                      <a:pt x="475" y="218"/>
                    </a:lnTo>
                    <a:lnTo>
                      <a:pt x="481" y="212"/>
                    </a:lnTo>
                    <a:lnTo>
                      <a:pt x="496" y="206"/>
                    </a:lnTo>
                    <a:lnTo>
                      <a:pt x="502" y="201"/>
                    </a:lnTo>
                    <a:lnTo>
                      <a:pt x="503" y="188"/>
                    </a:lnTo>
                    <a:lnTo>
                      <a:pt x="513" y="174"/>
                    </a:lnTo>
                    <a:lnTo>
                      <a:pt x="515" y="154"/>
                    </a:lnTo>
                    <a:lnTo>
                      <a:pt x="513" y="146"/>
                    </a:lnTo>
                    <a:lnTo>
                      <a:pt x="505" y="139"/>
                    </a:lnTo>
                    <a:lnTo>
                      <a:pt x="498" y="135"/>
                    </a:lnTo>
                    <a:lnTo>
                      <a:pt x="492" y="129"/>
                    </a:lnTo>
                    <a:lnTo>
                      <a:pt x="490" y="122"/>
                    </a:lnTo>
                    <a:lnTo>
                      <a:pt x="477" y="110"/>
                    </a:lnTo>
                    <a:lnTo>
                      <a:pt x="471" y="105"/>
                    </a:lnTo>
                    <a:lnTo>
                      <a:pt x="471" y="103"/>
                    </a:lnTo>
                    <a:lnTo>
                      <a:pt x="466" y="90"/>
                    </a:lnTo>
                    <a:lnTo>
                      <a:pt x="447" y="86"/>
                    </a:lnTo>
                    <a:lnTo>
                      <a:pt x="440" y="82"/>
                    </a:lnTo>
                    <a:lnTo>
                      <a:pt x="436" y="75"/>
                    </a:lnTo>
                    <a:lnTo>
                      <a:pt x="434" y="67"/>
                    </a:lnTo>
                    <a:lnTo>
                      <a:pt x="430" y="60"/>
                    </a:lnTo>
                    <a:lnTo>
                      <a:pt x="428" y="48"/>
                    </a:lnTo>
                    <a:lnTo>
                      <a:pt x="426" y="37"/>
                    </a:lnTo>
                    <a:lnTo>
                      <a:pt x="432" y="24"/>
                    </a:lnTo>
                    <a:lnTo>
                      <a:pt x="428" y="16"/>
                    </a:lnTo>
                    <a:lnTo>
                      <a:pt x="424" y="15"/>
                    </a:lnTo>
                    <a:lnTo>
                      <a:pt x="421" y="7"/>
                    </a:lnTo>
                    <a:lnTo>
                      <a:pt x="419" y="5"/>
                    </a:lnTo>
                    <a:lnTo>
                      <a:pt x="419" y="0"/>
                    </a:lnTo>
                    <a:lnTo>
                      <a:pt x="338" y="5"/>
                    </a:lnTo>
                    <a:lnTo>
                      <a:pt x="227" y="9"/>
                    </a:lnTo>
                    <a:lnTo>
                      <a:pt x="94" y="13"/>
                    </a:lnTo>
                    <a:lnTo>
                      <a:pt x="13" y="13"/>
                    </a:lnTo>
                    <a:lnTo>
                      <a:pt x="2" y="13"/>
                    </a:lnTo>
                    <a:lnTo>
                      <a:pt x="3" y="2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08" name="Freeform 69"/>
              <p:cNvSpPr>
                <a:spLocks/>
              </p:cNvSpPr>
              <p:nvPr/>
            </p:nvSpPr>
            <p:spPr bwMode="auto">
              <a:xfrm>
                <a:off x="3231563" y="2365815"/>
                <a:ext cx="547593" cy="430788"/>
              </a:xfrm>
              <a:custGeom>
                <a:avLst/>
                <a:gdLst>
                  <a:gd name="T0" fmla="*/ 329 w 570"/>
                  <a:gd name="T1" fmla="*/ 7 h 494"/>
                  <a:gd name="T2" fmla="*/ 273 w 570"/>
                  <a:gd name="T3" fmla="*/ 5 h 494"/>
                  <a:gd name="T4" fmla="*/ 90 w 570"/>
                  <a:gd name="T5" fmla="*/ 15 h 494"/>
                  <a:gd name="T6" fmla="*/ 0 w 570"/>
                  <a:gd name="T7" fmla="*/ 20 h 494"/>
                  <a:gd name="T8" fmla="*/ 11 w 570"/>
                  <a:gd name="T9" fmla="*/ 41 h 494"/>
                  <a:gd name="T10" fmla="*/ 23 w 570"/>
                  <a:gd name="T11" fmla="*/ 52 h 494"/>
                  <a:gd name="T12" fmla="*/ 30 w 570"/>
                  <a:gd name="T13" fmla="*/ 65 h 494"/>
                  <a:gd name="T14" fmla="*/ 38 w 570"/>
                  <a:gd name="T15" fmla="*/ 79 h 494"/>
                  <a:gd name="T16" fmla="*/ 64 w 570"/>
                  <a:gd name="T17" fmla="*/ 88 h 494"/>
                  <a:gd name="T18" fmla="*/ 73 w 570"/>
                  <a:gd name="T19" fmla="*/ 97 h 494"/>
                  <a:gd name="T20" fmla="*/ 73 w 570"/>
                  <a:gd name="T21" fmla="*/ 107 h 494"/>
                  <a:gd name="T22" fmla="*/ 64 w 570"/>
                  <a:gd name="T23" fmla="*/ 112 h 494"/>
                  <a:gd name="T24" fmla="*/ 58 w 570"/>
                  <a:gd name="T25" fmla="*/ 131 h 494"/>
                  <a:gd name="T26" fmla="*/ 73 w 570"/>
                  <a:gd name="T27" fmla="*/ 144 h 494"/>
                  <a:gd name="T28" fmla="*/ 83 w 570"/>
                  <a:gd name="T29" fmla="*/ 165 h 494"/>
                  <a:gd name="T30" fmla="*/ 98 w 570"/>
                  <a:gd name="T31" fmla="*/ 173 h 494"/>
                  <a:gd name="T32" fmla="*/ 103 w 570"/>
                  <a:gd name="T33" fmla="*/ 456 h 494"/>
                  <a:gd name="T34" fmla="*/ 325 w 570"/>
                  <a:gd name="T35" fmla="*/ 449 h 494"/>
                  <a:gd name="T36" fmla="*/ 487 w 570"/>
                  <a:gd name="T37" fmla="*/ 443 h 494"/>
                  <a:gd name="T38" fmla="*/ 494 w 570"/>
                  <a:gd name="T39" fmla="*/ 456 h 494"/>
                  <a:gd name="T40" fmla="*/ 489 w 570"/>
                  <a:gd name="T41" fmla="*/ 470 h 494"/>
                  <a:gd name="T42" fmla="*/ 476 w 570"/>
                  <a:gd name="T43" fmla="*/ 481 h 494"/>
                  <a:gd name="T44" fmla="*/ 476 w 570"/>
                  <a:gd name="T45" fmla="*/ 494 h 494"/>
                  <a:gd name="T46" fmla="*/ 530 w 570"/>
                  <a:gd name="T47" fmla="*/ 479 h 494"/>
                  <a:gd name="T48" fmla="*/ 528 w 570"/>
                  <a:gd name="T49" fmla="*/ 466 h 494"/>
                  <a:gd name="T50" fmla="*/ 532 w 570"/>
                  <a:gd name="T51" fmla="*/ 451 h 494"/>
                  <a:gd name="T52" fmla="*/ 538 w 570"/>
                  <a:gd name="T53" fmla="*/ 441 h 494"/>
                  <a:gd name="T54" fmla="*/ 540 w 570"/>
                  <a:gd name="T55" fmla="*/ 426 h 494"/>
                  <a:gd name="T56" fmla="*/ 541 w 570"/>
                  <a:gd name="T57" fmla="*/ 440 h 494"/>
                  <a:gd name="T58" fmla="*/ 549 w 570"/>
                  <a:gd name="T59" fmla="*/ 424 h 494"/>
                  <a:gd name="T60" fmla="*/ 564 w 570"/>
                  <a:gd name="T61" fmla="*/ 424 h 494"/>
                  <a:gd name="T62" fmla="*/ 564 w 570"/>
                  <a:gd name="T63" fmla="*/ 408 h 494"/>
                  <a:gd name="T64" fmla="*/ 568 w 570"/>
                  <a:gd name="T65" fmla="*/ 393 h 494"/>
                  <a:gd name="T66" fmla="*/ 568 w 570"/>
                  <a:gd name="T67" fmla="*/ 379 h 494"/>
                  <a:gd name="T68" fmla="*/ 553 w 570"/>
                  <a:gd name="T69" fmla="*/ 377 h 494"/>
                  <a:gd name="T70" fmla="*/ 532 w 570"/>
                  <a:gd name="T71" fmla="*/ 349 h 494"/>
                  <a:gd name="T72" fmla="*/ 540 w 570"/>
                  <a:gd name="T73" fmla="*/ 334 h 494"/>
                  <a:gd name="T74" fmla="*/ 530 w 570"/>
                  <a:gd name="T75" fmla="*/ 306 h 494"/>
                  <a:gd name="T76" fmla="*/ 515 w 570"/>
                  <a:gd name="T77" fmla="*/ 299 h 494"/>
                  <a:gd name="T78" fmla="*/ 500 w 570"/>
                  <a:gd name="T79" fmla="*/ 285 h 494"/>
                  <a:gd name="T80" fmla="*/ 491 w 570"/>
                  <a:gd name="T81" fmla="*/ 280 h 494"/>
                  <a:gd name="T82" fmla="*/ 466 w 570"/>
                  <a:gd name="T83" fmla="*/ 265 h 494"/>
                  <a:gd name="T84" fmla="*/ 453 w 570"/>
                  <a:gd name="T85" fmla="*/ 246 h 494"/>
                  <a:gd name="T86" fmla="*/ 457 w 570"/>
                  <a:gd name="T87" fmla="*/ 231 h 494"/>
                  <a:gd name="T88" fmla="*/ 466 w 570"/>
                  <a:gd name="T89" fmla="*/ 208 h 494"/>
                  <a:gd name="T90" fmla="*/ 470 w 570"/>
                  <a:gd name="T91" fmla="*/ 188 h 494"/>
                  <a:gd name="T92" fmla="*/ 457 w 570"/>
                  <a:gd name="T93" fmla="*/ 176 h 494"/>
                  <a:gd name="T94" fmla="*/ 442 w 570"/>
                  <a:gd name="T95" fmla="*/ 173 h 494"/>
                  <a:gd name="T96" fmla="*/ 436 w 570"/>
                  <a:gd name="T97" fmla="*/ 180 h 494"/>
                  <a:gd name="T98" fmla="*/ 423 w 570"/>
                  <a:gd name="T99" fmla="*/ 176 h 494"/>
                  <a:gd name="T100" fmla="*/ 412 w 570"/>
                  <a:gd name="T101" fmla="*/ 139 h 494"/>
                  <a:gd name="T102" fmla="*/ 387 w 570"/>
                  <a:gd name="T103" fmla="*/ 124 h 494"/>
                  <a:gd name="T104" fmla="*/ 378 w 570"/>
                  <a:gd name="T105" fmla="*/ 112 h 494"/>
                  <a:gd name="T106" fmla="*/ 361 w 570"/>
                  <a:gd name="T107" fmla="*/ 97 h 494"/>
                  <a:gd name="T108" fmla="*/ 355 w 570"/>
                  <a:gd name="T109" fmla="*/ 84 h 494"/>
                  <a:gd name="T110" fmla="*/ 350 w 570"/>
                  <a:gd name="T111" fmla="*/ 67 h 494"/>
                  <a:gd name="T112" fmla="*/ 346 w 570"/>
                  <a:gd name="T113" fmla="*/ 39 h 494"/>
                  <a:gd name="T114" fmla="*/ 352 w 570"/>
                  <a:gd name="T115" fmla="*/ 26 h 494"/>
                  <a:gd name="T116" fmla="*/ 342 w 570"/>
                  <a:gd name="T117" fmla="*/ 17 h 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70" h="494">
                    <a:moveTo>
                      <a:pt x="342" y="17"/>
                    </a:moveTo>
                    <a:lnTo>
                      <a:pt x="329" y="7"/>
                    </a:lnTo>
                    <a:lnTo>
                      <a:pt x="325" y="0"/>
                    </a:lnTo>
                    <a:lnTo>
                      <a:pt x="273" y="5"/>
                    </a:lnTo>
                    <a:lnTo>
                      <a:pt x="147" y="13"/>
                    </a:lnTo>
                    <a:lnTo>
                      <a:pt x="9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6" y="28"/>
                    </a:lnTo>
                    <a:lnTo>
                      <a:pt x="11" y="41"/>
                    </a:lnTo>
                    <a:lnTo>
                      <a:pt x="17" y="49"/>
                    </a:lnTo>
                    <a:lnTo>
                      <a:pt x="23" y="52"/>
                    </a:lnTo>
                    <a:lnTo>
                      <a:pt x="25" y="60"/>
                    </a:lnTo>
                    <a:lnTo>
                      <a:pt x="30" y="65"/>
                    </a:lnTo>
                    <a:lnTo>
                      <a:pt x="30" y="73"/>
                    </a:lnTo>
                    <a:lnTo>
                      <a:pt x="38" y="79"/>
                    </a:lnTo>
                    <a:lnTo>
                      <a:pt x="56" y="94"/>
                    </a:lnTo>
                    <a:lnTo>
                      <a:pt x="64" y="88"/>
                    </a:lnTo>
                    <a:lnTo>
                      <a:pt x="68" y="90"/>
                    </a:lnTo>
                    <a:lnTo>
                      <a:pt x="73" y="97"/>
                    </a:lnTo>
                    <a:lnTo>
                      <a:pt x="75" y="105"/>
                    </a:lnTo>
                    <a:lnTo>
                      <a:pt x="73" y="107"/>
                    </a:lnTo>
                    <a:lnTo>
                      <a:pt x="66" y="107"/>
                    </a:lnTo>
                    <a:lnTo>
                      <a:pt x="64" y="112"/>
                    </a:lnTo>
                    <a:lnTo>
                      <a:pt x="56" y="124"/>
                    </a:lnTo>
                    <a:lnTo>
                      <a:pt x="58" y="131"/>
                    </a:lnTo>
                    <a:lnTo>
                      <a:pt x="66" y="141"/>
                    </a:lnTo>
                    <a:lnTo>
                      <a:pt x="73" y="144"/>
                    </a:lnTo>
                    <a:lnTo>
                      <a:pt x="73" y="152"/>
                    </a:lnTo>
                    <a:lnTo>
                      <a:pt x="83" y="165"/>
                    </a:lnTo>
                    <a:lnTo>
                      <a:pt x="90" y="167"/>
                    </a:lnTo>
                    <a:lnTo>
                      <a:pt x="98" y="173"/>
                    </a:lnTo>
                    <a:lnTo>
                      <a:pt x="102" y="402"/>
                    </a:lnTo>
                    <a:lnTo>
                      <a:pt x="103" y="456"/>
                    </a:lnTo>
                    <a:lnTo>
                      <a:pt x="188" y="455"/>
                    </a:lnTo>
                    <a:lnTo>
                      <a:pt x="325" y="449"/>
                    </a:lnTo>
                    <a:lnTo>
                      <a:pt x="479" y="438"/>
                    </a:lnTo>
                    <a:lnTo>
                      <a:pt x="487" y="443"/>
                    </a:lnTo>
                    <a:lnTo>
                      <a:pt x="493" y="449"/>
                    </a:lnTo>
                    <a:lnTo>
                      <a:pt x="494" y="456"/>
                    </a:lnTo>
                    <a:lnTo>
                      <a:pt x="494" y="462"/>
                    </a:lnTo>
                    <a:lnTo>
                      <a:pt x="489" y="470"/>
                    </a:lnTo>
                    <a:lnTo>
                      <a:pt x="481" y="473"/>
                    </a:lnTo>
                    <a:lnTo>
                      <a:pt x="476" y="481"/>
                    </a:lnTo>
                    <a:lnTo>
                      <a:pt x="472" y="488"/>
                    </a:lnTo>
                    <a:lnTo>
                      <a:pt x="476" y="494"/>
                    </a:lnTo>
                    <a:lnTo>
                      <a:pt x="526" y="490"/>
                    </a:lnTo>
                    <a:lnTo>
                      <a:pt x="530" y="479"/>
                    </a:lnTo>
                    <a:lnTo>
                      <a:pt x="534" y="471"/>
                    </a:lnTo>
                    <a:lnTo>
                      <a:pt x="528" y="466"/>
                    </a:lnTo>
                    <a:lnTo>
                      <a:pt x="536" y="458"/>
                    </a:lnTo>
                    <a:lnTo>
                      <a:pt x="532" y="451"/>
                    </a:lnTo>
                    <a:lnTo>
                      <a:pt x="540" y="449"/>
                    </a:lnTo>
                    <a:lnTo>
                      <a:pt x="538" y="441"/>
                    </a:lnTo>
                    <a:lnTo>
                      <a:pt x="536" y="434"/>
                    </a:lnTo>
                    <a:lnTo>
                      <a:pt x="540" y="426"/>
                    </a:lnTo>
                    <a:lnTo>
                      <a:pt x="541" y="434"/>
                    </a:lnTo>
                    <a:lnTo>
                      <a:pt x="541" y="440"/>
                    </a:lnTo>
                    <a:lnTo>
                      <a:pt x="547" y="434"/>
                    </a:lnTo>
                    <a:lnTo>
                      <a:pt x="549" y="424"/>
                    </a:lnTo>
                    <a:lnTo>
                      <a:pt x="557" y="423"/>
                    </a:lnTo>
                    <a:lnTo>
                      <a:pt x="564" y="424"/>
                    </a:lnTo>
                    <a:lnTo>
                      <a:pt x="568" y="415"/>
                    </a:lnTo>
                    <a:lnTo>
                      <a:pt x="564" y="408"/>
                    </a:lnTo>
                    <a:lnTo>
                      <a:pt x="570" y="402"/>
                    </a:lnTo>
                    <a:lnTo>
                      <a:pt x="568" y="393"/>
                    </a:lnTo>
                    <a:lnTo>
                      <a:pt x="570" y="385"/>
                    </a:lnTo>
                    <a:lnTo>
                      <a:pt x="568" y="379"/>
                    </a:lnTo>
                    <a:lnTo>
                      <a:pt x="558" y="374"/>
                    </a:lnTo>
                    <a:lnTo>
                      <a:pt x="553" y="377"/>
                    </a:lnTo>
                    <a:lnTo>
                      <a:pt x="541" y="364"/>
                    </a:lnTo>
                    <a:lnTo>
                      <a:pt x="532" y="349"/>
                    </a:lnTo>
                    <a:lnTo>
                      <a:pt x="538" y="342"/>
                    </a:lnTo>
                    <a:lnTo>
                      <a:pt x="540" y="334"/>
                    </a:lnTo>
                    <a:lnTo>
                      <a:pt x="530" y="321"/>
                    </a:lnTo>
                    <a:lnTo>
                      <a:pt x="530" y="306"/>
                    </a:lnTo>
                    <a:lnTo>
                      <a:pt x="523" y="304"/>
                    </a:lnTo>
                    <a:lnTo>
                      <a:pt x="515" y="299"/>
                    </a:lnTo>
                    <a:lnTo>
                      <a:pt x="511" y="293"/>
                    </a:lnTo>
                    <a:lnTo>
                      <a:pt x="500" y="285"/>
                    </a:lnTo>
                    <a:lnTo>
                      <a:pt x="493" y="287"/>
                    </a:lnTo>
                    <a:lnTo>
                      <a:pt x="491" y="280"/>
                    </a:lnTo>
                    <a:lnTo>
                      <a:pt x="487" y="280"/>
                    </a:lnTo>
                    <a:lnTo>
                      <a:pt x="466" y="265"/>
                    </a:lnTo>
                    <a:lnTo>
                      <a:pt x="453" y="252"/>
                    </a:lnTo>
                    <a:lnTo>
                      <a:pt x="453" y="246"/>
                    </a:lnTo>
                    <a:lnTo>
                      <a:pt x="453" y="238"/>
                    </a:lnTo>
                    <a:lnTo>
                      <a:pt x="457" y="231"/>
                    </a:lnTo>
                    <a:lnTo>
                      <a:pt x="461" y="220"/>
                    </a:lnTo>
                    <a:lnTo>
                      <a:pt x="466" y="208"/>
                    </a:lnTo>
                    <a:lnTo>
                      <a:pt x="464" y="197"/>
                    </a:lnTo>
                    <a:lnTo>
                      <a:pt x="470" y="188"/>
                    </a:lnTo>
                    <a:lnTo>
                      <a:pt x="470" y="186"/>
                    </a:lnTo>
                    <a:lnTo>
                      <a:pt x="457" y="176"/>
                    </a:lnTo>
                    <a:lnTo>
                      <a:pt x="449" y="176"/>
                    </a:lnTo>
                    <a:lnTo>
                      <a:pt x="442" y="173"/>
                    </a:lnTo>
                    <a:lnTo>
                      <a:pt x="440" y="174"/>
                    </a:lnTo>
                    <a:lnTo>
                      <a:pt x="436" y="180"/>
                    </a:lnTo>
                    <a:lnTo>
                      <a:pt x="429" y="182"/>
                    </a:lnTo>
                    <a:lnTo>
                      <a:pt x="423" y="176"/>
                    </a:lnTo>
                    <a:lnTo>
                      <a:pt x="416" y="146"/>
                    </a:lnTo>
                    <a:lnTo>
                      <a:pt x="412" y="139"/>
                    </a:lnTo>
                    <a:lnTo>
                      <a:pt x="404" y="133"/>
                    </a:lnTo>
                    <a:lnTo>
                      <a:pt x="387" y="124"/>
                    </a:lnTo>
                    <a:lnTo>
                      <a:pt x="385" y="116"/>
                    </a:lnTo>
                    <a:lnTo>
                      <a:pt x="378" y="112"/>
                    </a:lnTo>
                    <a:lnTo>
                      <a:pt x="370" y="105"/>
                    </a:lnTo>
                    <a:lnTo>
                      <a:pt x="361" y="97"/>
                    </a:lnTo>
                    <a:lnTo>
                      <a:pt x="359" y="92"/>
                    </a:lnTo>
                    <a:lnTo>
                      <a:pt x="355" y="84"/>
                    </a:lnTo>
                    <a:lnTo>
                      <a:pt x="352" y="69"/>
                    </a:lnTo>
                    <a:lnTo>
                      <a:pt x="350" y="67"/>
                    </a:lnTo>
                    <a:lnTo>
                      <a:pt x="346" y="52"/>
                    </a:lnTo>
                    <a:lnTo>
                      <a:pt x="346" y="39"/>
                    </a:lnTo>
                    <a:lnTo>
                      <a:pt x="348" y="32"/>
                    </a:lnTo>
                    <a:lnTo>
                      <a:pt x="352" y="26"/>
                    </a:lnTo>
                    <a:lnTo>
                      <a:pt x="348" y="24"/>
                    </a:lnTo>
                    <a:lnTo>
                      <a:pt x="342" y="17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09" name="Freeform 70"/>
              <p:cNvSpPr>
                <a:spLocks/>
              </p:cNvSpPr>
              <p:nvPr/>
            </p:nvSpPr>
            <p:spPr bwMode="auto">
              <a:xfrm>
                <a:off x="3330514" y="2747769"/>
                <a:ext cx="410215" cy="343584"/>
              </a:xfrm>
              <a:custGeom>
                <a:avLst/>
                <a:gdLst>
                  <a:gd name="T0" fmla="*/ 391 w 427"/>
                  <a:gd name="T1" fmla="*/ 150 h 394"/>
                  <a:gd name="T2" fmla="*/ 399 w 427"/>
                  <a:gd name="T3" fmla="*/ 146 h 394"/>
                  <a:gd name="T4" fmla="*/ 395 w 427"/>
                  <a:gd name="T5" fmla="*/ 120 h 394"/>
                  <a:gd name="T6" fmla="*/ 391 w 427"/>
                  <a:gd name="T7" fmla="*/ 114 h 394"/>
                  <a:gd name="T8" fmla="*/ 401 w 427"/>
                  <a:gd name="T9" fmla="*/ 116 h 394"/>
                  <a:gd name="T10" fmla="*/ 399 w 427"/>
                  <a:gd name="T11" fmla="*/ 103 h 394"/>
                  <a:gd name="T12" fmla="*/ 407 w 427"/>
                  <a:gd name="T13" fmla="*/ 97 h 394"/>
                  <a:gd name="T14" fmla="*/ 407 w 427"/>
                  <a:gd name="T15" fmla="*/ 86 h 394"/>
                  <a:gd name="T16" fmla="*/ 410 w 427"/>
                  <a:gd name="T17" fmla="*/ 80 h 394"/>
                  <a:gd name="T18" fmla="*/ 423 w 427"/>
                  <a:gd name="T19" fmla="*/ 71 h 394"/>
                  <a:gd name="T20" fmla="*/ 427 w 427"/>
                  <a:gd name="T21" fmla="*/ 62 h 394"/>
                  <a:gd name="T22" fmla="*/ 423 w 427"/>
                  <a:gd name="T23" fmla="*/ 52 h 394"/>
                  <a:gd name="T24" fmla="*/ 369 w 427"/>
                  <a:gd name="T25" fmla="*/ 50 h 394"/>
                  <a:gd name="T26" fmla="*/ 378 w 427"/>
                  <a:gd name="T27" fmla="*/ 35 h 394"/>
                  <a:gd name="T28" fmla="*/ 391 w 427"/>
                  <a:gd name="T29" fmla="*/ 24 h 394"/>
                  <a:gd name="T30" fmla="*/ 390 w 427"/>
                  <a:gd name="T31" fmla="*/ 11 h 394"/>
                  <a:gd name="T32" fmla="*/ 376 w 427"/>
                  <a:gd name="T33" fmla="*/ 0 h 394"/>
                  <a:gd name="T34" fmla="*/ 85 w 427"/>
                  <a:gd name="T35" fmla="*/ 17 h 394"/>
                  <a:gd name="T36" fmla="*/ 16 w 427"/>
                  <a:gd name="T37" fmla="*/ 109 h 394"/>
                  <a:gd name="T38" fmla="*/ 21 w 427"/>
                  <a:gd name="T39" fmla="*/ 327 h 394"/>
                  <a:gd name="T40" fmla="*/ 23 w 427"/>
                  <a:gd name="T41" fmla="*/ 332 h 394"/>
                  <a:gd name="T42" fmla="*/ 38 w 427"/>
                  <a:gd name="T43" fmla="*/ 332 h 394"/>
                  <a:gd name="T44" fmla="*/ 61 w 427"/>
                  <a:gd name="T45" fmla="*/ 394 h 394"/>
                  <a:gd name="T46" fmla="*/ 318 w 427"/>
                  <a:gd name="T47" fmla="*/ 383 h 394"/>
                  <a:gd name="T48" fmla="*/ 316 w 427"/>
                  <a:gd name="T49" fmla="*/ 368 h 394"/>
                  <a:gd name="T50" fmla="*/ 324 w 427"/>
                  <a:gd name="T51" fmla="*/ 366 h 394"/>
                  <a:gd name="T52" fmla="*/ 320 w 427"/>
                  <a:gd name="T53" fmla="*/ 353 h 394"/>
                  <a:gd name="T54" fmla="*/ 320 w 427"/>
                  <a:gd name="T55" fmla="*/ 340 h 394"/>
                  <a:gd name="T56" fmla="*/ 313 w 427"/>
                  <a:gd name="T57" fmla="*/ 338 h 394"/>
                  <a:gd name="T58" fmla="*/ 314 w 427"/>
                  <a:gd name="T59" fmla="*/ 329 h 394"/>
                  <a:gd name="T60" fmla="*/ 313 w 427"/>
                  <a:gd name="T61" fmla="*/ 329 h 394"/>
                  <a:gd name="T62" fmla="*/ 314 w 427"/>
                  <a:gd name="T63" fmla="*/ 317 h 394"/>
                  <a:gd name="T64" fmla="*/ 314 w 427"/>
                  <a:gd name="T65" fmla="*/ 306 h 394"/>
                  <a:gd name="T66" fmla="*/ 322 w 427"/>
                  <a:gd name="T67" fmla="*/ 306 h 394"/>
                  <a:gd name="T68" fmla="*/ 314 w 427"/>
                  <a:gd name="T69" fmla="*/ 299 h 394"/>
                  <a:gd name="T70" fmla="*/ 324 w 427"/>
                  <a:gd name="T71" fmla="*/ 295 h 394"/>
                  <a:gd name="T72" fmla="*/ 324 w 427"/>
                  <a:gd name="T73" fmla="*/ 280 h 394"/>
                  <a:gd name="T74" fmla="*/ 337 w 427"/>
                  <a:gd name="T75" fmla="*/ 270 h 394"/>
                  <a:gd name="T76" fmla="*/ 333 w 427"/>
                  <a:gd name="T77" fmla="*/ 255 h 394"/>
                  <a:gd name="T78" fmla="*/ 331 w 427"/>
                  <a:gd name="T79" fmla="*/ 250 h 394"/>
                  <a:gd name="T80" fmla="*/ 339 w 427"/>
                  <a:gd name="T81" fmla="*/ 248 h 394"/>
                  <a:gd name="T82" fmla="*/ 344 w 427"/>
                  <a:gd name="T83" fmla="*/ 233 h 394"/>
                  <a:gd name="T84" fmla="*/ 356 w 427"/>
                  <a:gd name="T85" fmla="*/ 231 h 394"/>
                  <a:gd name="T86" fmla="*/ 360 w 427"/>
                  <a:gd name="T87" fmla="*/ 220 h 394"/>
                  <a:gd name="T88" fmla="*/ 360 w 427"/>
                  <a:gd name="T89" fmla="*/ 206 h 394"/>
                  <a:gd name="T90" fmla="*/ 361 w 427"/>
                  <a:gd name="T91" fmla="*/ 203 h 394"/>
                  <a:gd name="T92" fmla="*/ 361 w 427"/>
                  <a:gd name="T93" fmla="*/ 195 h 394"/>
                  <a:gd name="T94" fmla="*/ 363 w 427"/>
                  <a:gd name="T95" fmla="*/ 193 h 394"/>
                  <a:gd name="T96" fmla="*/ 367 w 427"/>
                  <a:gd name="T97" fmla="*/ 178 h 394"/>
                  <a:gd name="T98" fmla="*/ 378 w 427"/>
                  <a:gd name="T99" fmla="*/ 178 h 394"/>
                  <a:gd name="T100" fmla="*/ 382 w 427"/>
                  <a:gd name="T101" fmla="*/ 165 h 394"/>
                  <a:gd name="T102" fmla="*/ 380 w 427"/>
                  <a:gd name="T103" fmla="*/ 161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27" h="394">
                    <a:moveTo>
                      <a:pt x="388" y="158"/>
                    </a:moveTo>
                    <a:lnTo>
                      <a:pt x="391" y="150"/>
                    </a:lnTo>
                    <a:lnTo>
                      <a:pt x="397" y="148"/>
                    </a:lnTo>
                    <a:lnTo>
                      <a:pt x="399" y="146"/>
                    </a:lnTo>
                    <a:lnTo>
                      <a:pt x="395" y="127"/>
                    </a:lnTo>
                    <a:lnTo>
                      <a:pt x="395" y="120"/>
                    </a:lnTo>
                    <a:lnTo>
                      <a:pt x="390" y="122"/>
                    </a:lnTo>
                    <a:lnTo>
                      <a:pt x="391" y="114"/>
                    </a:lnTo>
                    <a:lnTo>
                      <a:pt x="397" y="112"/>
                    </a:lnTo>
                    <a:lnTo>
                      <a:pt x="401" y="116"/>
                    </a:lnTo>
                    <a:lnTo>
                      <a:pt x="403" y="111"/>
                    </a:lnTo>
                    <a:lnTo>
                      <a:pt x="399" y="103"/>
                    </a:lnTo>
                    <a:lnTo>
                      <a:pt x="403" y="101"/>
                    </a:lnTo>
                    <a:lnTo>
                      <a:pt x="407" y="97"/>
                    </a:lnTo>
                    <a:lnTo>
                      <a:pt x="412" y="92"/>
                    </a:lnTo>
                    <a:lnTo>
                      <a:pt x="407" y="86"/>
                    </a:lnTo>
                    <a:lnTo>
                      <a:pt x="407" y="84"/>
                    </a:lnTo>
                    <a:lnTo>
                      <a:pt x="410" y="80"/>
                    </a:lnTo>
                    <a:lnTo>
                      <a:pt x="416" y="77"/>
                    </a:lnTo>
                    <a:lnTo>
                      <a:pt x="423" y="71"/>
                    </a:lnTo>
                    <a:lnTo>
                      <a:pt x="420" y="65"/>
                    </a:lnTo>
                    <a:lnTo>
                      <a:pt x="427" y="62"/>
                    </a:lnTo>
                    <a:lnTo>
                      <a:pt x="425" y="56"/>
                    </a:lnTo>
                    <a:lnTo>
                      <a:pt x="423" y="52"/>
                    </a:lnTo>
                    <a:lnTo>
                      <a:pt x="373" y="56"/>
                    </a:lnTo>
                    <a:lnTo>
                      <a:pt x="369" y="50"/>
                    </a:lnTo>
                    <a:lnTo>
                      <a:pt x="373" y="43"/>
                    </a:lnTo>
                    <a:lnTo>
                      <a:pt x="378" y="35"/>
                    </a:lnTo>
                    <a:lnTo>
                      <a:pt x="386" y="32"/>
                    </a:lnTo>
                    <a:lnTo>
                      <a:pt x="391" y="24"/>
                    </a:lnTo>
                    <a:lnTo>
                      <a:pt x="391" y="18"/>
                    </a:lnTo>
                    <a:lnTo>
                      <a:pt x="390" y="11"/>
                    </a:lnTo>
                    <a:lnTo>
                      <a:pt x="384" y="5"/>
                    </a:lnTo>
                    <a:lnTo>
                      <a:pt x="376" y="0"/>
                    </a:lnTo>
                    <a:lnTo>
                      <a:pt x="222" y="11"/>
                    </a:lnTo>
                    <a:lnTo>
                      <a:pt x="85" y="17"/>
                    </a:lnTo>
                    <a:lnTo>
                      <a:pt x="0" y="18"/>
                    </a:lnTo>
                    <a:lnTo>
                      <a:pt x="16" y="109"/>
                    </a:lnTo>
                    <a:lnTo>
                      <a:pt x="19" y="139"/>
                    </a:lnTo>
                    <a:lnTo>
                      <a:pt x="21" y="327"/>
                    </a:lnTo>
                    <a:lnTo>
                      <a:pt x="23" y="329"/>
                    </a:lnTo>
                    <a:lnTo>
                      <a:pt x="23" y="332"/>
                    </a:lnTo>
                    <a:lnTo>
                      <a:pt x="31" y="336"/>
                    </a:lnTo>
                    <a:lnTo>
                      <a:pt x="38" y="332"/>
                    </a:lnTo>
                    <a:lnTo>
                      <a:pt x="59" y="336"/>
                    </a:lnTo>
                    <a:lnTo>
                      <a:pt x="61" y="394"/>
                    </a:lnTo>
                    <a:lnTo>
                      <a:pt x="172" y="391"/>
                    </a:lnTo>
                    <a:lnTo>
                      <a:pt x="318" y="383"/>
                    </a:lnTo>
                    <a:lnTo>
                      <a:pt x="318" y="374"/>
                    </a:lnTo>
                    <a:lnTo>
                      <a:pt x="316" y="368"/>
                    </a:lnTo>
                    <a:lnTo>
                      <a:pt x="324" y="368"/>
                    </a:lnTo>
                    <a:lnTo>
                      <a:pt x="324" y="366"/>
                    </a:lnTo>
                    <a:lnTo>
                      <a:pt x="322" y="355"/>
                    </a:lnTo>
                    <a:lnTo>
                      <a:pt x="320" y="353"/>
                    </a:lnTo>
                    <a:lnTo>
                      <a:pt x="318" y="346"/>
                    </a:lnTo>
                    <a:lnTo>
                      <a:pt x="320" y="340"/>
                    </a:lnTo>
                    <a:lnTo>
                      <a:pt x="320" y="340"/>
                    </a:lnTo>
                    <a:lnTo>
                      <a:pt x="313" y="338"/>
                    </a:lnTo>
                    <a:lnTo>
                      <a:pt x="320" y="334"/>
                    </a:lnTo>
                    <a:lnTo>
                      <a:pt x="314" y="329"/>
                    </a:lnTo>
                    <a:lnTo>
                      <a:pt x="309" y="334"/>
                    </a:lnTo>
                    <a:lnTo>
                      <a:pt x="313" y="329"/>
                    </a:lnTo>
                    <a:lnTo>
                      <a:pt x="309" y="321"/>
                    </a:lnTo>
                    <a:lnTo>
                      <a:pt x="314" y="317"/>
                    </a:lnTo>
                    <a:lnTo>
                      <a:pt x="309" y="310"/>
                    </a:lnTo>
                    <a:lnTo>
                      <a:pt x="314" y="306"/>
                    </a:lnTo>
                    <a:lnTo>
                      <a:pt x="316" y="310"/>
                    </a:lnTo>
                    <a:lnTo>
                      <a:pt x="322" y="306"/>
                    </a:lnTo>
                    <a:lnTo>
                      <a:pt x="314" y="302"/>
                    </a:lnTo>
                    <a:lnTo>
                      <a:pt x="314" y="299"/>
                    </a:lnTo>
                    <a:lnTo>
                      <a:pt x="322" y="299"/>
                    </a:lnTo>
                    <a:lnTo>
                      <a:pt x="324" y="295"/>
                    </a:lnTo>
                    <a:lnTo>
                      <a:pt x="322" y="287"/>
                    </a:lnTo>
                    <a:lnTo>
                      <a:pt x="324" y="280"/>
                    </a:lnTo>
                    <a:lnTo>
                      <a:pt x="320" y="276"/>
                    </a:lnTo>
                    <a:lnTo>
                      <a:pt x="337" y="270"/>
                    </a:lnTo>
                    <a:lnTo>
                      <a:pt x="333" y="263"/>
                    </a:lnTo>
                    <a:lnTo>
                      <a:pt x="333" y="255"/>
                    </a:lnTo>
                    <a:lnTo>
                      <a:pt x="335" y="253"/>
                    </a:lnTo>
                    <a:lnTo>
                      <a:pt x="331" y="250"/>
                    </a:lnTo>
                    <a:lnTo>
                      <a:pt x="339" y="252"/>
                    </a:lnTo>
                    <a:lnTo>
                      <a:pt x="339" y="248"/>
                    </a:lnTo>
                    <a:lnTo>
                      <a:pt x="346" y="240"/>
                    </a:lnTo>
                    <a:lnTo>
                      <a:pt x="344" y="233"/>
                    </a:lnTo>
                    <a:lnTo>
                      <a:pt x="352" y="233"/>
                    </a:lnTo>
                    <a:lnTo>
                      <a:pt x="356" y="231"/>
                    </a:lnTo>
                    <a:lnTo>
                      <a:pt x="361" y="225"/>
                    </a:lnTo>
                    <a:lnTo>
                      <a:pt x="360" y="220"/>
                    </a:lnTo>
                    <a:lnTo>
                      <a:pt x="363" y="210"/>
                    </a:lnTo>
                    <a:lnTo>
                      <a:pt x="360" y="206"/>
                    </a:lnTo>
                    <a:lnTo>
                      <a:pt x="360" y="197"/>
                    </a:lnTo>
                    <a:lnTo>
                      <a:pt x="361" y="203"/>
                    </a:lnTo>
                    <a:lnTo>
                      <a:pt x="369" y="201"/>
                    </a:lnTo>
                    <a:lnTo>
                      <a:pt x="361" y="195"/>
                    </a:lnTo>
                    <a:lnTo>
                      <a:pt x="361" y="186"/>
                    </a:lnTo>
                    <a:lnTo>
                      <a:pt x="363" y="193"/>
                    </a:lnTo>
                    <a:lnTo>
                      <a:pt x="369" y="193"/>
                    </a:lnTo>
                    <a:lnTo>
                      <a:pt x="367" y="178"/>
                    </a:lnTo>
                    <a:lnTo>
                      <a:pt x="371" y="182"/>
                    </a:lnTo>
                    <a:lnTo>
                      <a:pt x="378" y="178"/>
                    </a:lnTo>
                    <a:lnTo>
                      <a:pt x="384" y="173"/>
                    </a:lnTo>
                    <a:lnTo>
                      <a:pt x="382" y="165"/>
                    </a:lnTo>
                    <a:lnTo>
                      <a:pt x="380" y="163"/>
                    </a:lnTo>
                    <a:lnTo>
                      <a:pt x="380" y="161"/>
                    </a:lnTo>
                    <a:lnTo>
                      <a:pt x="388" y="15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grpSp>
            <p:nvGrpSpPr>
              <p:cNvPr id="456" name="Group 455"/>
              <p:cNvGrpSpPr/>
              <p:nvPr/>
            </p:nvGrpSpPr>
            <p:grpSpPr>
              <a:xfrm>
                <a:off x="3389116" y="3081761"/>
                <a:ext cx="464013" cy="372361"/>
                <a:chOff x="3389116" y="3081761"/>
                <a:chExt cx="464013" cy="372361"/>
              </a:xfrm>
              <a:grpFill/>
            </p:grpSpPr>
            <p:sp>
              <p:nvSpPr>
                <p:cNvPr id="284" name="Freeform 45"/>
                <p:cNvSpPr>
                  <a:spLocks/>
                </p:cNvSpPr>
                <p:nvPr/>
              </p:nvSpPr>
              <p:spPr bwMode="auto">
                <a:xfrm>
                  <a:off x="3580293" y="3401800"/>
                  <a:ext cx="28821" cy="13081"/>
                </a:xfrm>
                <a:custGeom>
                  <a:avLst/>
                  <a:gdLst>
                    <a:gd name="T0" fmla="*/ 19 w 30"/>
                    <a:gd name="T1" fmla="*/ 15 h 15"/>
                    <a:gd name="T2" fmla="*/ 26 w 30"/>
                    <a:gd name="T3" fmla="*/ 13 h 15"/>
                    <a:gd name="T4" fmla="*/ 30 w 30"/>
                    <a:gd name="T5" fmla="*/ 7 h 15"/>
                    <a:gd name="T6" fmla="*/ 30 w 30"/>
                    <a:gd name="T7" fmla="*/ 7 h 15"/>
                    <a:gd name="T8" fmla="*/ 28 w 30"/>
                    <a:gd name="T9" fmla="*/ 5 h 15"/>
                    <a:gd name="T10" fmla="*/ 15 w 30"/>
                    <a:gd name="T11" fmla="*/ 0 h 15"/>
                    <a:gd name="T12" fmla="*/ 0 w 30"/>
                    <a:gd name="T13" fmla="*/ 4 h 15"/>
                    <a:gd name="T14" fmla="*/ 4 w 30"/>
                    <a:gd name="T15" fmla="*/ 9 h 15"/>
                    <a:gd name="T16" fmla="*/ 11 w 30"/>
                    <a:gd name="T17" fmla="*/ 11 h 15"/>
                    <a:gd name="T18" fmla="*/ 19 w 30"/>
                    <a:gd name="T19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0" h="15">
                      <a:moveTo>
                        <a:pt x="19" y="15"/>
                      </a:moveTo>
                      <a:lnTo>
                        <a:pt x="26" y="13"/>
                      </a:lnTo>
                      <a:lnTo>
                        <a:pt x="30" y="7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15" y="0"/>
                      </a:lnTo>
                      <a:lnTo>
                        <a:pt x="0" y="4"/>
                      </a:lnTo>
                      <a:lnTo>
                        <a:pt x="4" y="9"/>
                      </a:lnTo>
                      <a:lnTo>
                        <a:pt x="11" y="11"/>
                      </a:lnTo>
                      <a:lnTo>
                        <a:pt x="19" y="15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85" name="Freeform 46"/>
                <p:cNvSpPr>
                  <a:spLocks/>
                </p:cNvSpPr>
                <p:nvPr/>
              </p:nvSpPr>
              <p:spPr bwMode="auto">
                <a:xfrm>
                  <a:off x="3580293" y="3401800"/>
                  <a:ext cx="28821" cy="13081"/>
                </a:xfrm>
                <a:custGeom>
                  <a:avLst/>
                  <a:gdLst>
                    <a:gd name="T0" fmla="*/ 19 w 30"/>
                    <a:gd name="T1" fmla="*/ 15 h 15"/>
                    <a:gd name="T2" fmla="*/ 26 w 30"/>
                    <a:gd name="T3" fmla="*/ 13 h 15"/>
                    <a:gd name="T4" fmla="*/ 30 w 30"/>
                    <a:gd name="T5" fmla="*/ 7 h 15"/>
                    <a:gd name="T6" fmla="*/ 30 w 30"/>
                    <a:gd name="T7" fmla="*/ 7 h 15"/>
                    <a:gd name="T8" fmla="*/ 28 w 30"/>
                    <a:gd name="T9" fmla="*/ 5 h 15"/>
                    <a:gd name="T10" fmla="*/ 15 w 30"/>
                    <a:gd name="T11" fmla="*/ 0 h 15"/>
                    <a:gd name="T12" fmla="*/ 0 w 30"/>
                    <a:gd name="T13" fmla="*/ 4 h 15"/>
                    <a:gd name="T14" fmla="*/ 4 w 30"/>
                    <a:gd name="T15" fmla="*/ 9 h 15"/>
                    <a:gd name="T16" fmla="*/ 11 w 30"/>
                    <a:gd name="T17" fmla="*/ 11 h 15"/>
                    <a:gd name="T18" fmla="*/ 19 w 30"/>
                    <a:gd name="T19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0" h="15">
                      <a:moveTo>
                        <a:pt x="19" y="15"/>
                      </a:moveTo>
                      <a:lnTo>
                        <a:pt x="26" y="13"/>
                      </a:lnTo>
                      <a:lnTo>
                        <a:pt x="30" y="7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15" y="0"/>
                      </a:lnTo>
                      <a:lnTo>
                        <a:pt x="0" y="4"/>
                      </a:lnTo>
                      <a:lnTo>
                        <a:pt x="4" y="9"/>
                      </a:lnTo>
                      <a:lnTo>
                        <a:pt x="11" y="11"/>
                      </a:lnTo>
                      <a:lnTo>
                        <a:pt x="19" y="15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86" name="Freeform 47"/>
                <p:cNvSpPr>
                  <a:spLocks/>
                </p:cNvSpPr>
                <p:nvPr/>
              </p:nvSpPr>
              <p:spPr bwMode="auto">
                <a:xfrm>
                  <a:off x="3646581" y="3422728"/>
                  <a:ext cx="14410" cy="13081"/>
                </a:xfrm>
                <a:custGeom>
                  <a:avLst/>
                  <a:gdLst>
                    <a:gd name="T0" fmla="*/ 14 w 15"/>
                    <a:gd name="T1" fmla="*/ 15 h 15"/>
                    <a:gd name="T2" fmla="*/ 15 w 15"/>
                    <a:gd name="T3" fmla="*/ 13 h 15"/>
                    <a:gd name="T4" fmla="*/ 14 w 15"/>
                    <a:gd name="T5" fmla="*/ 8 h 15"/>
                    <a:gd name="T6" fmla="*/ 8 w 15"/>
                    <a:gd name="T7" fmla="*/ 0 h 15"/>
                    <a:gd name="T8" fmla="*/ 2 w 15"/>
                    <a:gd name="T9" fmla="*/ 8 h 15"/>
                    <a:gd name="T10" fmla="*/ 0 w 15"/>
                    <a:gd name="T11" fmla="*/ 10 h 15"/>
                    <a:gd name="T12" fmla="*/ 8 w 15"/>
                    <a:gd name="T13" fmla="*/ 15 h 15"/>
                    <a:gd name="T14" fmla="*/ 14 w 15"/>
                    <a:gd name="T15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" h="15">
                      <a:moveTo>
                        <a:pt x="14" y="15"/>
                      </a:moveTo>
                      <a:lnTo>
                        <a:pt x="15" y="13"/>
                      </a:lnTo>
                      <a:lnTo>
                        <a:pt x="14" y="8"/>
                      </a:lnTo>
                      <a:lnTo>
                        <a:pt x="8" y="0"/>
                      </a:lnTo>
                      <a:lnTo>
                        <a:pt x="2" y="8"/>
                      </a:lnTo>
                      <a:lnTo>
                        <a:pt x="0" y="10"/>
                      </a:lnTo>
                      <a:lnTo>
                        <a:pt x="8" y="15"/>
                      </a:lnTo>
                      <a:lnTo>
                        <a:pt x="14" y="15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87" name="Freeform 48"/>
                <p:cNvSpPr>
                  <a:spLocks/>
                </p:cNvSpPr>
                <p:nvPr/>
              </p:nvSpPr>
              <p:spPr bwMode="auto">
                <a:xfrm>
                  <a:off x="3646581" y="3422728"/>
                  <a:ext cx="14410" cy="13081"/>
                </a:xfrm>
                <a:custGeom>
                  <a:avLst/>
                  <a:gdLst>
                    <a:gd name="T0" fmla="*/ 14 w 15"/>
                    <a:gd name="T1" fmla="*/ 15 h 15"/>
                    <a:gd name="T2" fmla="*/ 15 w 15"/>
                    <a:gd name="T3" fmla="*/ 13 h 15"/>
                    <a:gd name="T4" fmla="*/ 14 w 15"/>
                    <a:gd name="T5" fmla="*/ 8 h 15"/>
                    <a:gd name="T6" fmla="*/ 8 w 15"/>
                    <a:gd name="T7" fmla="*/ 0 h 15"/>
                    <a:gd name="T8" fmla="*/ 2 w 15"/>
                    <a:gd name="T9" fmla="*/ 8 h 15"/>
                    <a:gd name="T10" fmla="*/ 0 w 15"/>
                    <a:gd name="T11" fmla="*/ 10 h 15"/>
                    <a:gd name="T12" fmla="*/ 8 w 15"/>
                    <a:gd name="T13" fmla="*/ 15 h 15"/>
                    <a:gd name="T14" fmla="*/ 14 w 15"/>
                    <a:gd name="T15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" h="15">
                      <a:moveTo>
                        <a:pt x="14" y="15"/>
                      </a:moveTo>
                      <a:lnTo>
                        <a:pt x="15" y="13"/>
                      </a:lnTo>
                      <a:lnTo>
                        <a:pt x="14" y="8"/>
                      </a:lnTo>
                      <a:lnTo>
                        <a:pt x="8" y="0"/>
                      </a:lnTo>
                      <a:lnTo>
                        <a:pt x="2" y="8"/>
                      </a:lnTo>
                      <a:lnTo>
                        <a:pt x="0" y="10"/>
                      </a:lnTo>
                      <a:lnTo>
                        <a:pt x="8" y="15"/>
                      </a:lnTo>
                      <a:lnTo>
                        <a:pt x="14" y="15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10" name="Freeform 71"/>
                <p:cNvSpPr>
                  <a:spLocks/>
                </p:cNvSpPr>
                <p:nvPr/>
              </p:nvSpPr>
              <p:spPr bwMode="auto">
                <a:xfrm>
                  <a:off x="3389116" y="3081761"/>
                  <a:ext cx="464013" cy="372361"/>
                </a:xfrm>
                <a:custGeom>
                  <a:avLst/>
                  <a:gdLst>
                    <a:gd name="T0" fmla="*/ 411 w 483"/>
                    <a:gd name="T1" fmla="*/ 263 h 427"/>
                    <a:gd name="T2" fmla="*/ 402 w 483"/>
                    <a:gd name="T3" fmla="*/ 216 h 427"/>
                    <a:gd name="T4" fmla="*/ 233 w 483"/>
                    <a:gd name="T5" fmla="*/ 213 h 427"/>
                    <a:gd name="T6" fmla="*/ 236 w 483"/>
                    <a:gd name="T7" fmla="*/ 183 h 427"/>
                    <a:gd name="T8" fmla="*/ 244 w 483"/>
                    <a:gd name="T9" fmla="*/ 154 h 427"/>
                    <a:gd name="T10" fmla="*/ 248 w 483"/>
                    <a:gd name="T11" fmla="*/ 132 h 427"/>
                    <a:gd name="T12" fmla="*/ 265 w 483"/>
                    <a:gd name="T13" fmla="*/ 102 h 427"/>
                    <a:gd name="T14" fmla="*/ 263 w 483"/>
                    <a:gd name="T15" fmla="*/ 90 h 427"/>
                    <a:gd name="T16" fmla="*/ 285 w 483"/>
                    <a:gd name="T17" fmla="*/ 73 h 427"/>
                    <a:gd name="T18" fmla="*/ 267 w 483"/>
                    <a:gd name="T19" fmla="*/ 55 h 427"/>
                    <a:gd name="T20" fmla="*/ 263 w 483"/>
                    <a:gd name="T21" fmla="*/ 43 h 427"/>
                    <a:gd name="T22" fmla="*/ 265 w 483"/>
                    <a:gd name="T23" fmla="*/ 13 h 427"/>
                    <a:gd name="T24" fmla="*/ 257 w 483"/>
                    <a:gd name="T25" fmla="*/ 0 h 427"/>
                    <a:gd name="T26" fmla="*/ 20 w 483"/>
                    <a:gd name="T27" fmla="*/ 137 h 427"/>
                    <a:gd name="T28" fmla="*/ 35 w 483"/>
                    <a:gd name="T29" fmla="*/ 179 h 427"/>
                    <a:gd name="T30" fmla="*/ 52 w 483"/>
                    <a:gd name="T31" fmla="*/ 213 h 427"/>
                    <a:gd name="T32" fmla="*/ 52 w 483"/>
                    <a:gd name="T33" fmla="*/ 246 h 427"/>
                    <a:gd name="T34" fmla="*/ 41 w 483"/>
                    <a:gd name="T35" fmla="*/ 288 h 427"/>
                    <a:gd name="T36" fmla="*/ 33 w 483"/>
                    <a:gd name="T37" fmla="*/ 335 h 427"/>
                    <a:gd name="T38" fmla="*/ 28 w 483"/>
                    <a:gd name="T39" fmla="*/ 354 h 427"/>
                    <a:gd name="T40" fmla="*/ 75 w 483"/>
                    <a:gd name="T41" fmla="*/ 354 h 427"/>
                    <a:gd name="T42" fmla="*/ 84 w 483"/>
                    <a:gd name="T43" fmla="*/ 340 h 427"/>
                    <a:gd name="T44" fmla="*/ 90 w 483"/>
                    <a:gd name="T45" fmla="*/ 357 h 427"/>
                    <a:gd name="T46" fmla="*/ 171 w 483"/>
                    <a:gd name="T47" fmla="*/ 378 h 427"/>
                    <a:gd name="T48" fmla="*/ 184 w 483"/>
                    <a:gd name="T49" fmla="*/ 357 h 427"/>
                    <a:gd name="T50" fmla="*/ 214 w 483"/>
                    <a:gd name="T51" fmla="*/ 354 h 427"/>
                    <a:gd name="T52" fmla="*/ 242 w 483"/>
                    <a:gd name="T53" fmla="*/ 365 h 427"/>
                    <a:gd name="T54" fmla="*/ 272 w 483"/>
                    <a:gd name="T55" fmla="*/ 371 h 427"/>
                    <a:gd name="T56" fmla="*/ 276 w 483"/>
                    <a:gd name="T57" fmla="*/ 387 h 427"/>
                    <a:gd name="T58" fmla="*/ 297 w 483"/>
                    <a:gd name="T59" fmla="*/ 406 h 427"/>
                    <a:gd name="T60" fmla="*/ 332 w 483"/>
                    <a:gd name="T61" fmla="*/ 412 h 427"/>
                    <a:gd name="T62" fmla="*/ 351 w 483"/>
                    <a:gd name="T63" fmla="*/ 391 h 427"/>
                    <a:gd name="T64" fmla="*/ 370 w 483"/>
                    <a:gd name="T65" fmla="*/ 416 h 427"/>
                    <a:gd name="T66" fmla="*/ 389 w 483"/>
                    <a:gd name="T67" fmla="*/ 391 h 427"/>
                    <a:gd name="T68" fmla="*/ 396 w 483"/>
                    <a:gd name="T69" fmla="*/ 374 h 427"/>
                    <a:gd name="T70" fmla="*/ 415 w 483"/>
                    <a:gd name="T71" fmla="*/ 387 h 427"/>
                    <a:gd name="T72" fmla="*/ 443 w 483"/>
                    <a:gd name="T73" fmla="*/ 399 h 427"/>
                    <a:gd name="T74" fmla="*/ 455 w 483"/>
                    <a:gd name="T75" fmla="*/ 414 h 427"/>
                    <a:gd name="T76" fmla="*/ 473 w 483"/>
                    <a:gd name="T77" fmla="*/ 418 h 427"/>
                    <a:gd name="T78" fmla="*/ 483 w 483"/>
                    <a:gd name="T79" fmla="*/ 395 h 427"/>
                    <a:gd name="T80" fmla="*/ 447 w 483"/>
                    <a:gd name="T81" fmla="*/ 378 h 427"/>
                    <a:gd name="T82" fmla="*/ 417 w 483"/>
                    <a:gd name="T83" fmla="*/ 357 h 427"/>
                    <a:gd name="T84" fmla="*/ 430 w 483"/>
                    <a:gd name="T85" fmla="*/ 348 h 427"/>
                    <a:gd name="T86" fmla="*/ 445 w 483"/>
                    <a:gd name="T87" fmla="*/ 331 h 427"/>
                    <a:gd name="T88" fmla="*/ 426 w 483"/>
                    <a:gd name="T89" fmla="*/ 312 h 427"/>
                    <a:gd name="T90" fmla="*/ 406 w 483"/>
                    <a:gd name="T91" fmla="*/ 322 h 427"/>
                    <a:gd name="T92" fmla="*/ 417 w 483"/>
                    <a:gd name="T93" fmla="*/ 299 h 427"/>
                    <a:gd name="T94" fmla="*/ 391 w 483"/>
                    <a:gd name="T95" fmla="*/ 307 h 427"/>
                    <a:gd name="T96" fmla="*/ 346 w 483"/>
                    <a:gd name="T97" fmla="*/ 299 h 427"/>
                    <a:gd name="T98" fmla="*/ 383 w 483"/>
                    <a:gd name="T99" fmla="*/ 282 h 427"/>
                    <a:gd name="T100" fmla="*/ 411 w 483"/>
                    <a:gd name="T101" fmla="*/ 295 h 427"/>
                    <a:gd name="T102" fmla="*/ 424 w 483"/>
                    <a:gd name="T103" fmla="*/ 292 h 4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483" h="427">
                      <a:moveTo>
                        <a:pt x="421" y="288"/>
                      </a:moveTo>
                      <a:lnTo>
                        <a:pt x="417" y="282"/>
                      </a:lnTo>
                      <a:lnTo>
                        <a:pt x="417" y="278"/>
                      </a:lnTo>
                      <a:lnTo>
                        <a:pt x="413" y="271"/>
                      </a:lnTo>
                      <a:lnTo>
                        <a:pt x="411" y="263"/>
                      </a:lnTo>
                      <a:lnTo>
                        <a:pt x="402" y="256"/>
                      </a:lnTo>
                      <a:lnTo>
                        <a:pt x="398" y="248"/>
                      </a:lnTo>
                      <a:lnTo>
                        <a:pt x="394" y="241"/>
                      </a:lnTo>
                      <a:lnTo>
                        <a:pt x="398" y="230"/>
                      </a:lnTo>
                      <a:lnTo>
                        <a:pt x="402" y="216"/>
                      </a:lnTo>
                      <a:lnTo>
                        <a:pt x="404" y="209"/>
                      </a:lnTo>
                      <a:lnTo>
                        <a:pt x="402" y="207"/>
                      </a:lnTo>
                      <a:lnTo>
                        <a:pt x="317" y="214"/>
                      </a:lnTo>
                      <a:lnTo>
                        <a:pt x="227" y="218"/>
                      </a:lnTo>
                      <a:lnTo>
                        <a:pt x="233" y="213"/>
                      </a:lnTo>
                      <a:lnTo>
                        <a:pt x="229" y="205"/>
                      </a:lnTo>
                      <a:lnTo>
                        <a:pt x="229" y="198"/>
                      </a:lnTo>
                      <a:lnTo>
                        <a:pt x="225" y="190"/>
                      </a:lnTo>
                      <a:lnTo>
                        <a:pt x="235" y="188"/>
                      </a:lnTo>
                      <a:lnTo>
                        <a:pt x="236" y="183"/>
                      </a:lnTo>
                      <a:lnTo>
                        <a:pt x="231" y="177"/>
                      </a:lnTo>
                      <a:lnTo>
                        <a:pt x="238" y="177"/>
                      </a:lnTo>
                      <a:lnTo>
                        <a:pt x="236" y="162"/>
                      </a:lnTo>
                      <a:lnTo>
                        <a:pt x="242" y="156"/>
                      </a:lnTo>
                      <a:lnTo>
                        <a:pt x="244" y="154"/>
                      </a:lnTo>
                      <a:lnTo>
                        <a:pt x="236" y="154"/>
                      </a:lnTo>
                      <a:lnTo>
                        <a:pt x="244" y="149"/>
                      </a:lnTo>
                      <a:lnTo>
                        <a:pt x="246" y="143"/>
                      </a:lnTo>
                      <a:lnTo>
                        <a:pt x="252" y="136"/>
                      </a:lnTo>
                      <a:lnTo>
                        <a:pt x="248" y="132"/>
                      </a:lnTo>
                      <a:lnTo>
                        <a:pt x="250" y="126"/>
                      </a:lnTo>
                      <a:lnTo>
                        <a:pt x="255" y="122"/>
                      </a:lnTo>
                      <a:lnTo>
                        <a:pt x="272" y="105"/>
                      </a:lnTo>
                      <a:lnTo>
                        <a:pt x="272" y="104"/>
                      </a:lnTo>
                      <a:lnTo>
                        <a:pt x="265" y="102"/>
                      </a:lnTo>
                      <a:lnTo>
                        <a:pt x="272" y="102"/>
                      </a:lnTo>
                      <a:lnTo>
                        <a:pt x="272" y="98"/>
                      </a:lnTo>
                      <a:lnTo>
                        <a:pt x="278" y="90"/>
                      </a:lnTo>
                      <a:lnTo>
                        <a:pt x="270" y="92"/>
                      </a:lnTo>
                      <a:lnTo>
                        <a:pt x="263" y="90"/>
                      </a:lnTo>
                      <a:lnTo>
                        <a:pt x="267" y="85"/>
                      </a:lnTo>
                      <a:lnTo>
                        <a:pt x="274" y="81"/>
                      </a:lnTo>
                      <a:lnTo>
                        <a:pt x="280" y="75"/>
                      </a:lnTo>
                      <a:lnTo>
                        <a:pt x="285" y="75"/>
                      </a:lnTo>
                      <a:lnTo>
                        <a:pt x="285" y="73"/>
                      </a:lnTo>
                      <a:lnTo>
                        <a:pt x="285" y="72"/>
                      </a:lnTo>
                      <a:lnTo>
                        <a:pt x="278" y="70"/>
                      </a:lnTo>
                      <a:lnTo>
                        <a:pt x="276" y="64"/>
                      </a:lnTo>
                      <a:lnTo>
                        <a:pt x="270" y="60"/>
                      </a:lnTo>
                      <a:lnTo>
                        <a:pt x="267" y="55"/>
                      </a:lnTo>
                      <a:lnTo>
                        <a:pt x="267" y="53"/>
                      </a:lnTo>
                      <a:lnTo>
                        <a:pt x="274" y="55"/>
                      </a:lnTo>
                      <a:lnTo>
                        <a:pt x="268" y="47"/>
                      </a:lnTo>
                      <a:lnTo>
                        <a:pt x="274" y="42"/>
                      </a:lnTo>
                      <a:lnTo>
                        <a:pt x="263" y="43"/>
                      </a:lnTo>
                      <a:lnTo>
                        <a:pt x="261" y="40"/>
                      </a:lnTo>
                      <a:lnTo>
                        <a:pt x="268" y="30"/>
                      </a:lnTo>
                      <a:lnTo>
                        <a:pt x="261" y="26"/>
                      </a:lnTo>
                      <a:lnTo>
                        <a:pt x="259" y="19"/>
                      </a:lnTo>
                      <a:lnTo>
                        <a:pt x="265" y="13"/>
                      </a:lnTo>
                      <a:lnTo>
                        <a:pt x="265" y="6"/>
                      </a:lnTo>
                      <a:lnTo>
                        <a:pt x="259" y="6"/>
                      </a:lnTo>
                      <a:lnTo>
                        <a:pt x="253" y="10"/>
                      </a:lnTo>
                      <a:lnTo>
                        <a:pt x="253" y="4"/>
                      </a:lnTo>
                      <a:lnTo>
                        <a:pt x="257" y="0"/>
                      </a:lnTo>
                      <a:lnTo>
                        <a:pt x="111" y="8"/>
                      </a:lnTo>
                      <a:lnTo>
                        <a:pt x="0" y="11"/>
                      </a:lnTo>
                      <a:lnTo>
                        <a:pt x="3" y="120"/>
                      </a:lnTo>
                      <a:lnTo>
                        <a:pt x="17" y="132"/>
                      </a:lnTo>
                      <a:lnTo>
                        <a:pt x="20" y="137"/>
                      </a:lnTo>
                      <a:lnTo>
                        <a:pt x="26" y="152"/>
                      </a:lnTo>
                      <a:lnTo>
                        <a:pt x="24" y="162"/>
                      </a:lnTo>
                      <a:lnTo>
                        <a:pt x="30" y="169"/>
                      </a:lnTo>
                      <a:lnTo>
                        <a:pt x="33" y="177"/>
                      </a:lnTo>
                      <a:lnTo>
                        <a:pt x="35" y="179"/>
                      </a:lnTo>
                      <a:lnTo>
                        <a:pt x="39" y="184"/>
                      </a:lnTo>
                      <a:lnTo>
                        <a:pt x="39" y="192"/>
                      </a:lnTo>
                      <a:lnTo>
                        <a:pt x="50" y="205"/>
                      </a:lnTo>
                      <a:lnTo>
                        <a:pt x="52" y="207"/>
                      </a:lnTo>
                      <a:lnTo>
                        <a:pt x="52" y="213"/>
                      </a:lnTo>
                      <a:lnTo>
                        <a:pt x="54" y="220"/>
                      </a:lnTo>
                      <a:lnTo>
                        <a:pt x="50" y="226"/>
                      </a:lnTo>
                      <a:lnTo>
                        <a:pt x="54" y="231"/>
                      </a:lnTo>
                      <a:lnTo>
                        <a:pt x="50" y="239"/>
                      </a:lnTo>
                      <a:lnTo>
                        <a:pt x="52" y="246"/>
                      </a:lnTo>
                      <a:lnTo>
                        <a:pt x="49" y="252"/>
                      </a:lnTo>
                      <a:lnTo>
                        <a:pt x="47" y="260"/>
                      </a:lnTo>
                      <a:lnTo>
                        <a:pt x="41" y="267"/>
                      </a:lnTo>
                      <a:lnTo>
                        <a:pt x="39" y="275"/>
                      </a:lnTo>
                      <a:lnTo>
                        <a:pt x="41" y="288"/>
                      </a:lnTo>
                      <a:lnTo>
                        <a:pt x="35" y="295"/>
                      </a:lnTo>
                      <a:lnTo>
                        <a:pt x="39" y="303"/>
                      </a:lnTo>
                      <a:lnTo>
                        <a:pt x="43" y="320"/>
                      </a:lnTo>
                      <a:lnTo>
                        <a:pt x="41" y="327"/>
                      </a:lnTo>
                      <a:lnTo>
                        <a:pt x="33" y="335"/>
                      </a:lnTo>
                      <a:lnTo>
                        <a:pt x="33" y="335"/>
                      </a:lnTo>
                      <a:lnTo>
                        <a:pt x="33" y="335"/>
                      </a:lnTo>
                      <a:lnTo>
                        <a:pt x="35" y="342"/>
                      </a:lnTo>
                      <a:lnTo>
                        <a:pt x="33" y="350"/>
                      </a:lnTo>
                      <a:lnTo>
                        <a:pt x="28" y="354"/>
                      </a:lnTo>
                      <a:lnTo>
                        <a:pt x="26" y="361"/>
                      </a:lnTo>
                      <a:lnTo>
                        <a:pt x="33" y="367"/>
                      </a:lnTo>
                      <a:lnTo>
                        <a:pt x="39" y="361"/>
                      </a:lnTo>
                      <a:lnTo>
                        <a:pt x="73" y="357"/>
                      </a:lnTo>
                      <a:lnTo>
                        <a:pt x="75" y="354"/>
                      </a:lnTo>
                      <a:lnTo>
                        <a:pt x="67" y="350"/>
                      </a:lnTo>
                      <a:lnTo>
                        <a:pt x="75" y="344"/>
                      </a:lnTo>
                      <a:lnTo>
                        <a:pt x="77" y="327"/>
                      </a:lnTo>
                      <a:lnTo>
                        <a:pt x="82" y="333"/>
                      </a:lnTo>
                      <a:lnTo>
                        <a:pt x="84" y="340"/>
                      </a:lnTo>
                      <a:lnTo>
                        <a:pt x="84" y="346"/>
                      </a:lnTo>
                      <a:lnTo>
                        <a:pt x="79" y="350"/>
                      </a:lnTo>
                      <a:lnTo>
                        <a:pt x="77" y="354"/>
                      </a:lnTo>
                      <a:lnTo>
                        <a:pt x="82" y="355"/>
                      </a:lnTo>
                      <a:lnTo>
                        <a:pt x="90" y="357"/>
                      </a:lnTo>
                      <a:lnTo>
                        <a:pt x="103" y="359"/>
                      </a:lnTo>
                      <a:lnTo>
                        <a:pt x="118" y="365"/>
                      </a:lnTo>
                      <a:lnTo>
                        <a:pt x="126" y="369"/>
                      </a:lnTo>
                      <a:lnTo>
                        <a:pt x="137" y="374"/>
                      </a:lnTo>
                      <a:lnTo>
                        <a:pt x="171" y="378"/>
                      </a:lnTo>
                      <a:lnTo>
                        <a:pt x="178" y="378"/>
                      </a:lnTo>
                      <a:lnTo>
                        <a:pt x="188" y="372"/>
                      </a:lnTo>
                      <a:lnTo>
                        <a:pt x="195" y="372"/>
                      </a:lnTo>
                      <a:lnTo>
                        <a:pt x="189" y="363"/>
                      </a:lnTo>
                      <a:lnTo>
                        <a:pt x="184" y="357"/>
                      </a:lnTo>
                      <a:lnTo>
                        <a:pt x="191" y="355"/>
                      </a:lnTo>
                      <a:lnTo>
                        <a:pt x="193" y="354"/>
                      </a:lnTo>
                      <a:lnTo>
                        <a:pt x="201" y="350"/>
                      </a:lnTo>
                      <a:lnTo>
                        <a:pt x="214" y="346"/>
                      </a:lnTo>
                      <a:lnTo>
                        <a:pt x="214" y="354"/>
                      </a:lnTo>
                      <a:lnTo>
                        <a:pt x="214" y="357"/>
                      </a:lnTo>
                      <a:lnTo>
                        <a:pt x="220" y="355"/>
                      </a:lnTo>
                      <a:lnTo>
                        <a:pt x="235" y="354"/>
                      </a:lnTo>
                      <a:lnTo>
                        <a:pt x="236" y="361"/>
                      </a:lnTo>
                      <a:lnTo>
                        <a:pt x="242" y="365"/>
                      </a:lnTo>
                      <a:lnTo>
                        <a:pt x="246" y="374"/>
                      </a:lnTo>
                      <a:lnTo>
                        <a:pt x="253" y="374"/>
                      </a:lnTo>
                      <a:lnTo>
                        <a:pt x="267" y="378"/>
                      </a:lnTo>
                      <a:lnTo>
                        <a:pt x="270" y="372"/>
                      </a:lnTo>
                      <a:lnTo>
                        <a:pt x="272" y="371"/>
                      </a:lnTo>
                      <a:lnTo>
                        <a:pt x="272" y="367"/>
                      </a:lnTo>
                      <a:lnTo>
                        <a:pt x="274" y="372"/>
                      </a:lnTo>
                      <a:lnTo>
                        <a:pt x="272" y="374"/>
                      </a:lnTo>
                      <a:lnTo>
                        <a:pt x="272" y="380"/>
                      </a:lnTo>
                      <a:lnTo>
                        <a:pt x="276" y="387"/>
                      </a:lnTo>
                      <a:lnTo>
                        <a:pt x="283" y="391"/>
                      </a:lnTo>
                      <a:lnTo>
                        <a:pt x="287" y="399"/>
                      </a:lnTo>
                      <a:lnTo>
                        <a:pt x="285" y="406"/>
                      </a:lnTo>
                      <a:lnTo>
                        <a:pt x="289" y="410"/>
                      </a:lnTo>
                      <a:lnTo>
                        <a:pt x="297" y="406"/>
                      </a:lnTo>
                      <a:lnTo>
                        <a:pt x="310" y="416"/>
                      </a:lnTo>
                      <a:lnTo>
                        <a:pt x="317" y="412"/>
                      </a:lnTo>
                      <a:lnTo>
                        <a:pt x="319" y="412"/>
                      </a:lnTo>
                      <a:lnTo>
                        <a:pt x="327" y="416"/>
                      </a:lnTo>
                      <a:lnTo>
                        <a:pt x="332" y="412"/>
                      </a:lnTo>
                      <a:lnTo>
                        <a:pt x="332" y="402"/>
                      </a:lnTo>
                      <a:lnTo>
                        <a:pt x="334" y="395"/>
                      </a:lnTo>
                      <a:lnTo>
                        <a:pt x="342" y="395"/>
                      </a:lnTo>
                      <a:lnTo>
                        <a:pt x="347" y="393"/>
                      </a:lnTo>
                      <a:lnTo>
                        <a:pt x="351" y="391"/>
                      </a:lnTo>
                      <a:lnTo>
                        <a:pt x="355" y="399"/>
                      </a:lnTo>
                      <a:lnTo>
                        <a:pt x="361" y="395"/>
                      </a:lnTo>
                      <a:lnTo>
                        <a:pt x="368" y="399"/>
                      </a:lnTo>
                      <a:lnTo>
                        <a:pt x="368" y="408"/>
                      </a:lnTo>
                      <a:lnTo>
                        <a:pt x="370" y="416"/>
                      </a:lnTo>
                      <a:lnTo>
                        <a:pt x="377" y="412"/>
                      </a:lnTo>
                      <a:lnTo>
                        <a:pt x="383" y="406"/>
                      </a:lnTo>
                      <a:lnTo>
                        <a:pt x="387" y="401"/>
                      </a:lnTo>
                      <a:lnTo>
                        <a:pt x="381" y="393"/>
                      </a:lnTo>
                      <a:lnTo>
                        <a:pt x="389" y="391"/>
                      </a:lnTo>
                      <a:lnTo>
                        <a:pt x="387" y="378"/>
                      </a:lnTo>
                      <a:lnTo>
                        <a:pt x="372" y="371"/>
                      </a:lnTo>
                      <a:lnTo>
                        <a:pt x="372" y="365"/>
                      </a:lnTo>
                      <a:lnTo>
                        <a:pt x="372" y="363"/>
                      </a:lnTo>
                      <a:lnTo>
                        <a:pt x="396" y="374"/>
                      </a:lnTo>
                      <a:lnTo>
                        <a:pt x="404" y="374"/>
                      </a:lnTo>
                      <a:lnTo>
                        <a:pt x="409" y="378"/>
                      </a:lnTo>
                      <a:lnTo>
                        <a:pt x="413" y="380"/>
                      </a:lnTo>
                      <a:lnTo>
                        <a:pt x="409" y="387"/>
                      </a:lnTo>
                      <a:lnTo>
                        <a:pt x="415" y="387"/>
                      </a:lnTo>
                      <a:lnTo>
                        <a:pt x="423" y="386"/>
                      </a:lnTo>
                      <a:lnTo>
                        <a:pt x="426" y="393"/>
                      </a:lnTo>
                      <a:lnTo>
                        <a:pt x="436" y="395"/>
                      </a:lnTo>
                      <a:lnTo>
                        <a:pt x="441" y="393"/>
                      </a:lnTo>
                      <a:lnTo>
                        <a:pt x="443" y="399"/>
                      </a:lnTo>
                      <a:lnTo>
                        <a:pt x="449" y="406"/>
                      </a:lnTo>
                      <a:lnTo>
                        <a:pt x="455" y="408"/>
                      </a:lnTo>
                      <a:lnTo>
                        <a:pt x="456" y="399"/>
                      </a:lnTo>
                      <a:lnTo>
                        <a:pt x="458" y="406"/>
                      </a:lnTo>
                      <a:lnTo>
                        <a:pt x="455" y="414"/>
                      </a:lnTo>
                      <a:lnTo>
                        <a:pt x="449" y="427"/>
                      </a:lnTo>
                      <a:lnTo>
                        <a:pt x="456" y="421"/>
                      </a:lnTo>
                      <a:lnTo>
                        <a:pt x="458" y="414"/>
                      </a:lnTo>
                      <a:lnTo>
                        <a:pt x="464" y="406"/>
                      </a:lnTo>
                      <a:lnTo>
                        <a:pt x="473" y="418"/>
                      </a:lnTo>
                      <a:lnTo>
                        <a:pt x="473" y="412"/>
                      </a:lnTo>
                      <a:lnTo>
                        <a:pt x="477" y="404"/>
                      </a:lnTo>
                      <a:lnTo>
                        <a:pt x="477" y="401"/>
                      </a:lnTo>
                      <a:lnTo>
                        <a:pt x="483" y="399"/>
                      </a:lnTo>
                      <a:lnTo>
                        <a:pt x="483" y="395"/>
                      </a:lnTo>
                      <a:lnTo>
                        <a:pt x="475" y="393"/>
                      </a:lnTo>
                      <a:lnTo>
                        <a:pt x="473" y="387"/>
                      </a:lnTo>
                      <a:lnTo>
                        <a:pt x="468" y="384"/>
                      </a:lnTo>
                      <a:lnTo>
                        <a:pt x="453" y="382"/>
                      </a:lnTo>
                      <a:lnTo>
                        <a:pt x="447" y="378"/>
                      </a:lnTo>
                      <a:lnTo>
                        <a:pt x="438" y="378"/>
                      </a:lnTo>
                      <a:lnTo>
                        <a:pt x="434" y="371"/>
                      </a:lnTo>
                      <a:lnTo>
                        <a:pt x="426" y="367"/>
                      </a:lnTo>
                      <a:lnTo>
                        <a:pt x="419" y="365"/>
                      </a:lnTo>
                      <a:lnTo>
                        <a:pt x="417" y="357"/>
                      </a:lnTo>
                      <a:lnTo>
                        <a:pt x="423" y="355"/>
                      </a:lnTo>
                      <a:lnTo>
                        <a:pt x="421" y="352"/>
                      </a:lnTo>
                      <a:lnTo>
                        <a:pt x="428" y="350"/>
                      </a:lnTo>
                      <a:lnTo>
                        <a:pt x="436" y="354"/>
                      </a:lnTo>
                      <a:lnTo>
                        <a:pt x="430" y="348"/>
                      </a:lnTo>
                      <a:lnTo>
                        <a:pt x="426" y="340"/>
                      </a:lnTo>
                      <a:lnTo>
                        <a:pt x="434" y="335"/>
                      </a:lnTo>
                      <a:lnTo>
                        <a:pt x="441" y="335"/>
                      </a:lnTo>
                      <a:lnTo>
                        <a:pt x="443" y="337"/>
                      </a:lnTo>
                      <a:lnTo>
                        <a:pt x="445" y="331"/>
                      </a:lnTo>
                      <a:lnTo>
                        <a:pt x="445" y="324"/>
                      </a:lnTo>
                      <a:lnTo>
                        <a:pt x="440" y="320"/>
                      </a:lnTo>
                      <a:lnTo>
                        <a:pt x="438" y="312"/>
                      </a:lnTo>
                      <a:lnTo>
                        <a:pt x="436" y="307"/>
                      </a:lnTo>
                      <a:lnTo>
                        <a:pt x="426" y="312"/>
                      </a:lnTo>
                      <a:lnTo>
                        <a:pt x="424" y="320"/>
                      </a:lnTo>
                      <a:lnTo>
                        <a:pt x="423" y="327"/>
                      </a:lnTo>
                      <a:lnTo>
                        <a:pt x="415" y="327"/>
                      </a:lnTo>
                      <a:lnTo>
                        <a:pt x="413" y="320"/>
                      </a:lnTo>
                      <a:lnTo>
                        <a:pt x="406" y="322"/>
                      </a:lnTo>
                      <a:lnTo>
                        <a:pt x="400" y="318"/>
                      </a:lnTo>
                      <a:lnTo>
                        <a:pt x="400" y="316"/>
                      </a:lnTo>
                      <a:lnTo>
                        <a:pt x="415" y="307"/>
                      </a:lnTo>
                      <a:lnTo>
                        <a:pt x="417" y="299"/>
                      </a:lnTo>
                      <a:lnTo>
                        <a:pt x="417" y="299"/>
                      </a:lnTo>
                      <a:lnTo>
                        <a:pt x="409" y="303"/>
                      </a:lnTo>
                      <a:lnTo>
                        <a:pt x="409" y="297"/>
                      </a:lnTo>
                      <a:lnTo>
                        <a:pt x="404" y="303"/>
                      </a:lnTo>
                      <a:lnTo>
                        <a:pt x="398" y="299"/>
                      </a:lnTo>
                      <a:lnTo>
                        <a:pt x="391" y="307"/>
                      </a:lnTo>
                      <a:lnTo>
                        <a:pt x="385" y="308"/>
                      </a:lnTo>
                      <a:lnTo>
                        <a:pt x="364" y="310"/>
                      </a:lnTo>
                      <a:lnTo>
                        <a:pt x="355" y="310"/>
                      </a:lnTo>
                      <a:lnTo>
                        <a:pt x="346" y="307"/>
                      </a:lnTo>
                      <a:lnTo>
                        <a:pt x="346" y="299"/>
                      </a:lnTo>
                      <a:lnTo>
                        <a:pt x="351" y="293"/>
                      </a:lnTo>
                      <a:lnTo>
                        <a:pt x="361" y="278"/>
                      </a:lnTo>
                      <a:lnTo>
                        <a:pt x="366" y="277"/>
                      </a:lnTo>
                      <a:lnTo>
                        <a:pt x="376" y="278"/>
                      </a:lnTo>
                      <a:lnTo>
                        <a:pt x="383" y="282"/>
                      </a:lnTo>
                      <a:lnTo>
                        <a:pt x="391" y="288"/>
                      </a:lnTo>
                      <a:lnTo>
                        <a:pt x="396" y="288"/>
                      </a:lnTo>
                      <a:lnTo>
                        <a:pt x="402" y="292"/>
                      </a:lnTo>
                      <a:lnTo>
                        <a:pt x="404" y="290"/>
                      </a:lnTo>
                      <a:lnTo>
                        <a:pt x="411" y="295"/>
                      </a:lnTo>
                      <a:lnTo>
                        <a:pt x="417" y="295"/>
                      </a:lnTo>
                      <a:lnTo>
                        <a:pt x="421" y="295"/>
                      </a:lnTo>
                      <a:lnTo>
                        <a:pt x="421" y="297"/>
                      </a:lnTo>
                      <a:lnTo>
                        <a:pt x="428" y="293"/>
                      </a:lnTo>
                      <a:lnTo>
                        <a:pt x="424" y="292"/>
                      </a:lnTo>
                      <a:lnTo>
                        <a:pt x="421" y="288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  <p:sp>
            <p:nvSpPr>
              <p:cNvPr id="311" name="Freeform 72"/>
              <p:cNvSpPr>
                <a:spLocks/>
              </p:cNvSpPr>
              <p:nvPr/>
            </p:nvSpPr>
            <p:spPr bwMode="auto">
              <a:xfrm>
                <a:off x="3587018" y="1766723"/>
                <a:ext cx="7686" cy="5232"/>
              </a:xfrm>
              <a:custGeom>
                <a:avLst/>
                <a:gdLst>
                  <a:gd name="T0" fmla="*/ 8 w 8"/>
                  <a:gd name="T1" fmla="*/ 2 h 6"/>
                  <a:gd name="T2" fmla="*/ 8 w 8"/>
                  <a:gd name="T3" fmla="*/ 0 h 6"/>
                  <a:gd name="T4" fmla="*/ 0 w 8"/>
                  <a:gd name="T5" fmla="*/ 6 h 6"/>
                  <a:gd name="T6" fmla="*/ 8 w 8"/>
                  <a:gd name="T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6">
                    <a:moveTo>
                      <a:pt x="8" y="2"/>
                    </a:moveTo>
                    <a:lnTo>
                      <a:pt x="8" y="0"/>
                    </a:lnTo>
                    <a:lnTo>
                      <a:pt x="0" y="6"/>
                    </a:lnTo>
                    <a:lnTo>
                      <a:pt x="8" y="2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12" name="Freeform 73"/>
              <p:cNvSpPr>
                <a:spLocks/>
              </p:cNvSpPr>
              <p:nvPr/>
            </p:nvSpPr>
            <p:spPr bwMode="auto">
              <a:xfrm>
                <a:off x="3587018" y="1766723"/>
                <a:ext cx="7686" cy="5232"/>
              </a:xfrm>
              <a:custGeom>
                <a:avLst/>
                <a:gdLst>
                  <a:gd name="T0" fmla="*/ 8 w 8"/>
                  <a:gd name="T1" fmla="*/ 2 h 6"/>
                  <a:gd name="T2" fmla="*/ 8 w 8"/>
                  <a:gd name="T3" fmla="*/ 0 h 6"/>
                  <a:gd name="T4" fmla="*/ 0 w 8"/>
                  <a:gd name="T5" fmla="*/ 6 h 6"/>
                  <a:gd name="T6" fmla="*/ 8 w 8"/>
                  <a:gd name="T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6">
                    <a:moveTo>
                      <a:pt x="8" y="2"/>
                    </a:moveTo>
                    <a:lnTo>
                      <a:pt x="8" y="0"/>
                    </a:lnTo>
                    <a:lnTo>
                      <a:pt x="0" y="6"/>
                    </a:lnTo>
                    <a:lnTo>
                      <a:pt x="8" y="2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13" name="Freeform 74"/>
              <p:cNvSpPr>
                <a:spLocks/>
              </p:cNvSpPr>
              <p:nvPr/>
            </p:nvSpPr>
            <p:spPr bwMode="auto">
              <a:xfrm>
                <a:off x="3598547" y="1757131"/>
                <a:ext cx="2882" cy="6976"/>
              </a:xfrm>
              <a:custGeom>
                <a:avLst/>
                <a:gdLst>
                  <a:gd name="T0" fmla="*/ 3 w 3"/>
                  <a:gd name="T1" fmla="*/ 0 h 8"/>
                  <a:gd name="T2" fmla="*/ 0 w 3"/>
                  <a:gd name="T3" fmla="*/ 0 h 8"/>
                  <a:gd name="T4" fmla="*/ 2 w 3"/>
                  <a:gd name="T5" fmla="*/ 8 h 8"/>
                  <a:gd name="T6" fmla="*/ 3 w 3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lnTo>
                      <a:pt x="0" y="0"/>
                    </a:lnTo>
                    <a:lnTo>
                      <a:pt x="2" y="8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14" name="Freeform 75"/>
              <p:cNvSpPr>
                <a:spLocks/>
              </p:cNvSpPr>
              <p:nvPr/>
            </p:nvSpPr>
            <p:spPr bwMode="auto">
              <a:xfrm>
                <a:off x="3598547" y="1757131"/>
                <a:ext cx="2882" cy="6976"/>
              </a:xfrm>
              <a:custGeom>
                <a:avLst/>
                <a:gdLst>
                  <a:gd name="T0" fmla="*/ 3 w 3"/>
                  <a:gd name="T1" fmla="*/ 0 h 8"/>
                  <a:gd name="T2" fmla="*/ 0 w 3"/>
                  <a:gd name="T3" fmla="*/ 0 h 8"/>
                  <a:gd name="T4" fmla="*/ 2 w 3"/>
                  <a:gd name="T5" fmla="*/ 8 h 8"/>
                  <a:gd name="T6" fmla="*/ 3 w 3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lnTo>
                      <a:pt x="0" y="0"/>
                    </a:lnTo>
                    <a:lnTo>
                      <a:pt x="2" y="8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15" name="Freeform 76"/>
              <p:cNvSpPr>
                <a:spLocks/>
              </p:cNvSpPr>
              <p:nvPr/>
            </p:nvSpPr>
            <p:spPr bwMode="auto">
              <a:xfrm>
                <a:off x="3681166" y="1643765"/>
                <a:ext cx="47074" cy="36626"/>
              </a:xfrm>
              <a:custGeom>
                <a:avLst/>
                <a:gdLst>
                  <a:gd name="T0" fmla="*/ 10 w 49"/>
                  <a:gd name="T1" fmla="*/ 38 h 42"/>
                  <a:gd name="T2" fmla="*/ 15 w 49"/>
                  <a:gd name="T3" fmla="*/ 32 h 42"/>
                  <a:gd name="T4" fmla="*/ 19 w 49"/>
                  <a:gd name="T5" fmla="*/ 27 h 42"/>
                  <a:gd name="T6" fmla="*/ 34 w 49"/>
                  <a:gd name="T7" fmla="*/ 21 h 42"/>
                  <a:gd name="T8" fmla="*/ 40 w 49"/>
                  <a:gd name="T9" fmla="*/ 15 h 42"/>
                  <a:gd name="T10" fmla="*/ 43 w 49"/>
                  <a:gd name="T11" fmla="*/ 8 h 42"/>
                  <a:gd name="T12" fmla="*/ 49 w 49"/>
                  <a:gd name="T13" fmla="*/ 2 h 42"/>
                  <a:gd name="T14" fmla="*/ 47 w 49"/>
                  <a:gd name="T15" fmla="*/ 0 h 42"/>
                  <a:gd name="T16" fmla="*/ 40 w 49"/>
                  <a:gd name="T17" fmla="*/ 4 h 42"/>
                  <a:gd name="T18" fmla="*/ 28 w 49"/>
                  <a:gd name="T19" fmla="*/ 14 h 42"/>
                  <a:gd name="T20" fmla="*/ 13 w 49"/>
                  <a:gd name="T21" fmla="*/ 21 h 42"/>
                  <a:gd name="T22" fmla="*/ 0 w 49"/>
                  <a:gd name="T23" fmla="*/ 31 h 42"/>
                  <a:gd name="T24" fmla="*/ 0 w 49"/>
                  <a:gd name="T25" fmla="*/ 34 h 42"/>
                  <a:gd name="T26" fmla="*/ 2 w 49"/>
                  <a:gd name="T27" fmla="*/ 42 h 42"/>
                  <a:gd name="T28" fmla="*/ 10 w 49"/>
                  <a:gd name="T29" fmla="*/ 38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9" h="42">
                    <a:moveTo>
                      <a:pt x="10" y="38"/>
                    </a:moveTo>
                    <a:lnTo>
                      <a:pt x="15" y="32"/>
                    </a:lnTo>
                    <a:lnTo>
                      <a:pt x="19" y="27"/>
                    </a:lnTo>
                    <a:lnTo>
                      <a:pt x="34" y="21"/>
                    </a:lnTo>
                    <a:lnTo>
                      <a:pt x="40" y="15"/>
                    </a:lnTo>
                    <a:lnTo>
                      <a:pt x="43" y="8"/>
                    </a:lnTo>
                    <a:lnTo>
                      <a:pt x="49" y="2"/>
                    </a:lnTo>
                    <a:lnTo>
                      <a:pt x="47" y="0"/>
                    </a:lnTo>
                    <a:lnTo>
                      <a:pt x="40" y="4"/>
                    </a:lnTo>
                    <a:lnTo>
                      <a:pt x="28" y="14"/>
                    </a:lnTo>
                    <a:lnTo>
                      <a:pt x="13" y="21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2" y="42"/>
                    </a:lnTo>
                    <a:lnTo>
                      <a:pt x="10" y="3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19" name="Freeform 80"/>
              <p:cNvSpPr>
                <a:spLocks/>
              </p:cNvSpPr>
              <p:nvPr/>
            </p:nvSpPr>
            <p:spPr bwMode="auto">
              <a:xfrm>
                <a:off x="3432347" y="1766723"/>
                <a:ext cx="409254" cy="416835"/>
              </a:xfrm>
              <a:custGeom>
                <a:avLst/>
                <a:gdLst>
                  <a:gd name="T0" fmla="*/ 41 w 426"/>
                  <a:gd name="T1" fmla="*/ 40 h 478"/>
                  <a:gd name="T2" fmla="*/ 37 w 426"/>
                  <a:gd name="T3" fmla="*/ 109 h 478"/>
                  <a:gd name="T4" fmla="*/ 9 w 426"/>
                  <a:gd name="T5" fmla="*/ 132 h 478"/>
                  <a:gd name="T6" fmla="*/ 0 w 426"/>
                  <a:gd name="T7" fmla="*/ 153 h 478"/>
                  <a:gd name="T8" fmla="*/ 19 w 426"/>
                  <a:gd name="T9" fmla="*/ 173 h 478"/>
                  <a:gd name="T10" fmla="*/ 9 w 426"/>
                  <a:gd name="T11" fmla="*/ 213 h 478"/>
                  <a:gd name="T12" fmla="*/ 9 w 426"/>
                  <a:gd name="T13" fmla="*/ 247 h 478"/>
                  <a:gd name="T14" fmla="*/ 35 w 426"/>
                  <a:gd name="T15" fmla="*/ 264 h 478"/>
                  <a:gd name="T16" fmla="*/ 58 w 426"/>
                  <a:gd name="T17" fmla="*/ 277 h 478"/>
                  <a:gd name="T18" fmla="*/ 86 w 426"/>
                  <a:gd name="T19" fmla="*/ 301 h 478"/>
                  <a:gd name="T20" fmla="*/ 114 w 426"/>
                  <a:gd name="T21" fmla="*/ 320 h 478"/>
                  <a:gd name="T22" fmla="*/ 133 w 426"/>
                  <a:gd name="T23" fmla="*/ 339 h 478"/>
                  <a:gd name="T24" fmla="*/ 137 w 426"/>
                  <a:gd name="T25" fmla="*/ 367 h 478"/>
                  <a:gd name="T26" fmla="*/ 141 w 426"/>
                  <a:gd name="T27" fmla="*/ 382 h 478"/>
                  <a:gd name="T28" fmla="*/ 152 w 426"/>
                  <a:gd name="T29" fmla="*/ 399 h 478"/>
                  <a:gd name="T30" fmla="*/ 150 w 426"/>
                  <a:gd name="T31" fmla="*/ 435 h 478"/>
                  <a:gd name="T32" fmla="*/ 160 w 426"/>
                  <a:gd name="T33" fmla="*/ 457 h 478"/>
                  <a:gd name="T34" fmla="*/ 191 w 426"/>
                  <a:gd name="T35" fmla="*/ 478 h 478"/>
                  <a:gd name="T36" fmla="*/ 415 w 426"/>
                  <a:gd name="T37" fmla="*/ 463 h 478"/>
                  <a:gd name="T38" fmla="*/ 415 w 426"/>
                  <a:gd name="T39" fmla="*/ 435 h 478"/>
                  <a:gd name="T40" fmla="*/ 408 w 426"/>
                  <a:gd name="T41" fmla="*/ 414 h 478"/>
                  <a:gd name="T42" fmla="*/ 400 w 426"/>
                  <a:gd name="T43" fmla="*/ 384 h 478"/>
                  <a:gd name="T44" fmla="*/ 404 w 426"/>
                  <a:gd name="T45" fmla="*/ 350 h 478"/>
                  <a:gd name="T46" fmla="*/ 410 w 426"/>
                  <a:gd name="T47" fmla="*/ 329 h 478"/>
                  <a:gd name="T48" fmla="*/ 410 w 426"/>
                  <a:gd name="T49" fmla="*/ 294 h 478"/>
                  <a:gd name="T50" fmla="*/ 421 w 426"/>
                  <a:gd name="T51" fmla="*/ 277 h 478"/>
                  <a:gd name="T52" fmla="*/ 419 w 426"/>
                  <a:gd name="T53" fmla="*/ 243 h 478"/>
                  <a:gd name="T54" fmla="*/ 425 w 426"/>
                  <a:gd name="T55" fmla="*/ 209 h 478"/>
                  <a:gd name="T56" fmla="*/ 404 w 426"/>
                  <a:gd name="T57" fmla="*/ 211 h 478"/>
                  <a:gd name="T58" fmla="*/ 395 w 426"/>
                  <a:gd name="T59" fmla="*/ 232 h 478"/>
                  <a:gd name="T60" fmla="*/ 378 w 426"/>
                  <a:gd name="T61" fmla="*/ 243 h 478"/>
                  <a:gd name="T62" fmla="*/ 383 w 426"/>
                  <a:gd name="T63" fmla="*/ 213 h 478"/>
                  <a:gd name="T64" fmla="*/ 395 w 426"/>
                  <a:gd name="T65" fmla="*/ 196 h 478"/>
                  <a:gd name="T66" fmla="*/ 404 w 426"/>
                  <a:gd name="T67" fmla="*/ 181 h 478"/>
                  <a:gd name="T68" fmla="*/ 393 w 426"/>
                  <a:gd name="T69" fmla="*/ 173 h 478"/>
                  <a:gd name="T70" fmla="*/ 389 w 426"/>
                  <a:gd name="T71" fmla="*/ 153 h 478"/>
                  <a:gd name="T72" fmla="*/ 383 w 426"/>
                  <a:gd name="T73" fmla="*/ 143 h 478"/>
                  <a:gd name="T74" fmla="*/ 383 w 426"/>
                  <a:gd name="T75" fmla="*/ 121 h 478"/>
                  <a:gd name="T76" fmla="*/ 359 w 426"/>
                  <a:gd name="T77" fmla="*/ 109 h 478"/>
                  <a:gd name="T78" fmla="*/ 332 w 426"/>
                  <a:gd name="T79" fmla="*/ 91 h 478"/>
                  <a:gd name="T80" fmla="*/ 304 w 426"/>
                  <a:gd name="T81" fmla="*/ 89 h 478"/>
                  <a:gd name="T82" fmla="*/ 205 w 426"/>
                  <a:gd name="T83" fmla="*/ 64 h 478"/>
                  <a:gd name="T84" fmla="*/ 184 w 426"/>
                  <a:gd name="T85" fmla="*/ 44 h 478"/>
                  <a:gd name="T86" fmla="*/ 161 w 426"/>
                  <a:gd name="T87" fmla="*/ 36 h 478"/>
                  <a:gd name="T88" fmla="*/ 141 w 426"/>
                  <a:gd name="T89" fmla="*/ 38 h 478"/>
                  <a:gd name="T90" fmla="*/ 144 w 426"/>
                  <a:gd name="T91" fmla="*/ 21 h 478"/>
                  <a:gd name="T92" fmla="*/ 144 w 426"/>
                  <a:gd name="T93" fmla="*/ 0 h 478"/>
                  <a:gd name="T94" fmla="*/ 122 w 426"/>
                  <a:gd name="T95" fmla="*/ 14 h 478"/>
                  <a:gd name="T96" fmla="*/ 73 w 426"/>
                  <a:gd name="T97" fmla="*/ 34 h 478"/>
                  <a:gd name="T98" fmla="*/ 52 w 426"/>
                  <a:gd name="T99" fmla="*/ 2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6" h="478">
                    <a:moveTo>
                      <a:pt x="49" y="32"/>
                    </a:moveTo>
                    <a:lnTo>
                      <a:pt x="47" y="40"/>
                    </a:lnTo>
                    <a:lnTo>
                      <a:pt x="41" y="40"/>
                    </a:lnTo>
                    <a:lnTo>
                      <a:pt x="43" y="94"/>
                    </a:lnTo>
                    <a:lnTo>
                      <a:pt x="41" y="102"/>
                    </a:lnTo>
                    <a:lnTo>
                      <a:pt x="37" y="109"/>
                    </a:lnTo>
                    <a:lnTo>
                      <a:pt x="24" y="115"/>
                    </a:lnTo>
                    <a:lnTo>
                      <a:pt x="11" y="125"/>
                    </a:lnTo>
                    <a:lnTo>
                      <a:pt x="9" y="132"/>
                    </a:lnTo>
                    <a:lnTo>
                      <a:pt x="5" y="140"/>
                    </a:lnTo>
                    <a:lnTo>
                      <a:pt x="0" y="145"/>
                    </a:lnTo>
                    <a:lnTo>
                      <a:pt x="0" y="153"/>
                    </a:lnTo>
                    <a:lnTo>
                      <a:pt x="5" y="160"/>
                    </a:lnTo>
                    <a:lnTo>
                      <a:pt x="11" y="160"/>
                    </a:lnTo>
                    <a:lnTo>
                      <a:pt x="19" y="173"/>
                    </a:lnTo>
                    <a:lnTo>
                      <a:pt x="11" y="192"/>
                    </a:lnTo>
                    <a:lnTo>
                      <a:pt x="13" y="205"/>
                    </a:lnTo>
                    <a:lnTo>
                      <a:pt x="9" y="213"/>
                    </a:lnTo>
                    <a:lnTo>
                      <a:pt x="13" y="228"/>
                    </a:lnTo>
                    <a:lnTo>
                      <a:pt x="13" y="239"/>
                    </a:lnTo>
                    <a:lnTo>
                      <a:pt x="9" y="247"/>
                    </a:lnTo>
                    <a:lnTo>
                      <a:pt x="20" y="254"/>
                    </a:lnTo>
                    <a:lnTo>
                      <a:pt x="28" y="262"/>
                    </a:lnTo>
                    <a:lnTo>
                      <a:pt x="35" y="264"/>
                    </a:lnTo>
                    <a:lnTo>
                      <a:pt x="47" y="266"/>
                    </a:lnTo>
                    <a:lnTo>
                      <a:pt x="52" y="273"/>
                    </a:lnTo>
                    <a:lnTo>
                      <a:pt x="58" y="277"/>
                    </a:lnTo>
                    <a:lnTo>
                      <a:pt x="67" y="281"/>
                    </a:lnTo>
                    <a:lnTo>
                      <a:pt x="77" y="288"/>
                    </a:lnTo>
                    <a:lnTo>
                      <a:pt x="86" y="301"/>
                    </a:lnTo>
                    <a:lnTo>
                      <a:pt x="99" y="314"/>
                    </a:lnTo>
                    <a:lnTo>
                      <a:pt x="107" y="318"/>
                    </a:lnTo>
                    <a:lnTo>
                      <a:pt x="114" y="320"/>
                    </a:lnTo>
                    <a:lnTo>
                      <a:pt x="120" y="324"/>
                    </a:lnTo>
                    <a:lnTo>
                      <a:pt x="128" y="331"/>
                    </a:lnTo>
                    <a:lnTo>
                      <a:pt x="133" y="339"/>
                    </a:lnTo>
                    <a:lnTo>
                      <a:pt x="135" y="358"/>
                    </a:lnTo>
                    <a:lnTo>
                      <a:pt x="137" y="365"/>
                    </a:lnTo>
                    <a:lnTo>
                      <a:pt x="137" y="367"/>
                    </a:lnTo>
                    <a:lnTo>
                      <a:pt x="139" y="375"/>
                    </a:lnTo>
                    <a:lnTo>
                      <a:pt x="139" y="380"/>
                    </a:lnTo>
                    <a:lnTo>
                      <a:pt x="141" y="382"/>
                    </a:lnTo>
                    <a:lnTo>
                      <a:pt x="144" y="390"/>
                    </a:lnTo>
                    <a:lnTo>
                      <a:pt x="148" y="391"/>
                    </a:lnTo>
                    <a:lnTo>
                      <a:pt x="152" y="399"/>
                    </a:lnTo>
                    <a:lnTo>
                      <a:pt x="146" y="412"/>
                    </a:lnTo>
                    <a:lnTo>
                      <a:pt x="148" y="423"/>
                    </a:lnTo>
                    <a:lnTo>
                      <a:pt x="150" y="435"/>
                    </a:lnTo>
                    <a:lnTo>
                      <a:pt x="154" y="442"/>
                    </a:lnTo>
                    <a:lnTo>
                      <a:pt x="156" y="450"/>
                    </a:lnTo>
                    <a:lnTo>
                      <a:pt x="160" y="457"/>
                    </a:lnTo>
                    <a:lnTo>
                      <a:pt x="167" y="461"/>
                    </a:lnTo>
                    <a:lnTo>
                      <a:pt x="186" y="465"/>
                    </a:lnTo>
                    <a:lnTo>
                      <a:pt x="191" y="478"/>
                    </a:lnTo>
                    <a:lnTo>
                      <a:pt x="317" y="470"/>
                    </a:lnTo>
                    <a:lnTo>
                      <a:pt x="411" y="463"/>
                    </a:lnTo>
                    <a:lnTo>
                      <a:pt x="415" y="463"/>
                    </a:lnTo>
                    <a:lnTo>
                      <a:pt x="413" y="448"/>
                    </a:lnTo>
                    <a:lnTo>
                      <a:pt x="415" y="440"/>
                    </a:lnTo>
                    <a:lnTo>
                      <a:pt x="415" y="435"/>
                    </a:lnTo>
                    <a:lnTo>
                      <a:pt x="413" y="427"/>
                    </a:lnTo>
                    <a:lnTo>
                      <a:pt x="408" y="420"/>
                    </a:lnTo>
                    <a:lnTo>
                      <a:pt x="408" y="414"/>
                    </a:lnTo>
                    <a:lnTo>
                      <a:pt x="402" y="407"/>
                    </a:lnTo>
                    <a:lnTo>
                      <a:pt x="404" y="401"/>
                    </a:lnTo>
                    <a:lnTo>
                      <a:pt x="400" y="384"/>
                    </a:lnTo>
                    <a:lnTo>
                      <a:pt x="400" y="371"/>
                    </a:lnTo>
                    <a:lnTo>
                      <a:pt x="406" y="358"/>
                    </a:lnTo>
                    <a:lnTo>
                      <a:pt x="404" y="350"/>
                    </a:lnTo>
                    <a:lnTo>
                      <a:pt x="406" y="343"/>
                    </a:lnTo>
                    <a:lnTo>
                      <a:pt x="410" y="335"/>
                    </a:lnTo>
                    <a:lnTo>
                      <a:pt x="410" y="329"/>
                    </a:lnTo>
                    <a:lnTo>
                      <a:pt x="406" y="314"/>
                    </a:lnTo>
                    <a:lnTo>
                      <a:pt x="406" y="307"/>
                    </a:lnTo>
                    <a:lnTo>
                      <a:pt x="410" y="294"/>
                    </a:lnTo>
                    <a:lnTo>
                      <a:pt x="413" y="286"/>
                    </a:lnTo>
                    <a:lnTo>
                      <a:pt x="419" y="281"/>
                    </a:lnTo>
                    <a:lnTo>
                      <a:pt x="421" y="277"/>
                    </a:lnTo>
                    <a:lnTo>
                      <a:pt x="415" y="264"/>
                    </a:lnTo>
                    <a:lnTo>
                      <a:pt x="417" y="256"/>
                    </a:lnTo>
                    <a:lnTo>
                      <a:pt x="419" y="243"/>
                    </a:lnTo>
                    <a:lnTo>
                      <a:pt x="426" y="222"/>
                    </a:lnTo>
                    <a:lnTo>
                      <a:pt x="426" y="217"/>
                    </a:lnTo>
                    <a:lnTo>
                      <a:pt x="425" y="209"/>
                    </a:lnTo>
                    <a:lnTo>
                      <a:pt x="417" y="203"/>
                    </a:lnTo>
                    <a:lnTo>
                      <a:pt x="411" y="207"/>
                    </a:lnTo>
                    <a:lnTo>
                      <a:pt x="404" y="211"/>
                    </a:lnTo>
                    <a:lnTo>
                      <a:pt x="400" y="217"/>
                    </a:lnTo>
                    <a:lnTo>
                      <a:pt x="398" y="224"/>
                    </a:lnTo>
                    <a:lnTo>
                      <a:pt x="395" y="232"/>
                    </a:lnTo>
                    <a:lnTo>
                      <a:pt x="387" y="237"/>
                    </a:lnTo>
                    <a:lnTo>
                      <a:pt x="383" y="243"/>
                    </a:lnTo>
                    <a:lnTo>
                      <a:pt x="378" y="243"/>
                    </a:lnTo>
                    <a:lnTo>
                      <a:pt x="376" y="235"/>
                    </a:lnTo>
                    <a:lnTo>
                      <a:pt x="378" y="228"/>
                    </a:lnTo>
                    <a:lnTo>
                      <a:pt x="383" y="213"/>
                    </a:lnTo>
                    <a:lnTo>
                      <a:pt x="387" y="205"/>
                    </a:lnTo>
                    <a:lnTo>
                      <a:pt x="389" y="200"/>
                    </a:lnTo>
                    <a:lnTo>
                      <a:pt x="395" y="196"/>
                    </a:lnTo>
                    <a:lnTo>
                      <a:pt x="402" y="192"/>
                    </a:lnTo>
                    <a:lnTo>
                      <a:pt x="402" y="187"/>
                    </a:lnTo>
                    <a:lnTo>
                      <a:pt x="404" y="181"/>
                    </a:lnTo>
                    <a:lnTo>
                      <a:pt x="400" y="179"/>
                    </a:lnTo>
                    <a:lnTo>
                      <a:pt x="400" y="179"/>
                    </a:lnTo>
                    <a:lnTo>
                      <a:pt x="393" y="173"/>
                    </a:lnTo>
                    <a:lnTo>
                      <a:pt x="393" y="168"/>
                    </a:lnTo>
                    <a:lnTo>
                      <a:pt x="396" y="153"/>
                    </a:lnTo>
                    <a:lnTo>
                      <a:pt x="389" y="153"/>
                    </a:lnTo>
                    <a:lnTo>
                      <a:pt x="383" y="156"/>
                    </a:lnTo>
                    <a:lnTo>
                      <a:pt x="379" y="149"/>
                    </a:lnTo>
                    <a:lnTo>
                      <a:pt x="383" y="143"/>
                    </a:lnTo>
                    <a:lnTo>
                      <a:pt x="383" y="128"/>
                    </a:lnTo>
                    <a:lnTo>
                      <a:pt x="381" y="123"/>
                    </a:lnTo>
                    <a:lnTo>
                      <a:pt x="383" y="121"/>
                    </a:lnTo>
                    <a:lnTo>
                      <a:pt x="376" y="113"/>
                    </a:lnTo>
                    <a:lnTo>
                      <a:pt x="364" y="111"/>
                    </a:lnTo>
                    <a:lnTo>
                      <a:pt x="359" y="109"/>
                    </a:lnTo>
                    <a:lnTo>
                      <a:pt x="357" y="98"/>
                    </a:lnTo>
                    <a:lnTo>
                      <a:pt x="349" y="93"/>
                    </a:lnTo>
                    <a:lnTo>
                      <a:pt x="332" y="91"/>
                    </a:lnTo>
                    <a:lnTo>
                      <a:pt x="325" y="89"/>
                    </a:lnTo>
                    <a:lnTo>
                      <a:pt x="319" y="91"/>
                    </a:lnTo>
                    <a:lnTo>
                      <a:pt x="304" y="89"/>
                    </a:lnTo>
                    <a:lnTo>
                      <a:pt x="302" y="89"/>
                    </a:lnTo>
                    <a:lnTo>
                      <a:pt x="278" y="79"/>
                    </a:lnTo>
                    <a:lnTo>
                      <a:pt x="205" y="64"/>
                    </a:lnTo>
                    <a:lnTo>
                      <a:pt x="197" y="51"/>
                    </a:lnTo>
                    <a:lnTo>
                      <a:pt x="191" y="46"/>
                    </a:lnTo>
                    <a:lnTo>
                      <a:pt x="184" y="44"/>
                    </a:lnTo>
                    <a:lnTo>
                      <a:pt x="180" y="40"/>
                    </a:lnTo>
                    <a:lnTo>
                      <a:pt x="169" y="40"/>
                    </a:lnTo>
                    <a:lnTo>
                      <a:pt x="161" y="36"/>
                    </a:lnTo>
                    <a:lnTo>
                      <a:pt x="154" y="34"/>
                    </a:lnTo>
                    <a:lnTo>
                      <a:pt x="148" y="38"/>
                    </a:lnTo>
                    <a:lnTo>
                      <a:pt x="141" y="38"/>
                    </a:lnTo>
                    <a:lnTo>
                      <a:pt x="143" y="34"/>
                    </a:lnTo>
                    <a:lnTo>
                      <a:pt x="144" y="27"/>
                    </a:lnTo>
                    <a:lnTo>
                      <a:pt x="144" y="21"/>
                    </a:lnTo>
                    <a:lnTo>
                      <a:pt x="150" y="14"/>
                    </a:lnTo>
                    <a:lnTo>
                      <a:pt x="150" y="6"/>
                    </a:lnTo>
                    <a:lnTo>
                      <a:pt x="144" y="0"/>
                    </a:lnTo>
                    <a:lnTo>
                      <a:pt x="135" y="6"/>
                    </a:lnTo>
                    <a:lnTo>
                      <a:pt x="128" y="10"/>
                    </a:lnTo>
                    <a:lnTo>
                      <a:pt x="122" y="14"/>
                    </a:lnTo>
                    <a:lnTo>
                      <a:pt x="114" y="17"/>
                    </a:lnTo>
                    <a:lnTo>
                      <a:pt x="101" y="25"/>
                    </a:lnTo>
                    <a:lnTo>
                      <a:pt x="73" y="34"/>
                    </a:lnTo>
                    <a:lnTo>
                      <a:pt x="67" y="36"/>
                    </a:lnTo>
                    <a:lnTo>
                      <a:pt x="60" y="34"/>
                    </a:lnTo>
                    <a:lnTo>
                      <a:pt x="52" y="29"/>
                    </a:lnTo>
                    <a:lnTo>
                      <a:pt x="51" y="31"/>
                    </a:lnTo>
                    <a:lnTo>
                      <a:pt x="49" y="32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0" name="Freeform 81"/>
              <p:cNvSpPr>
                <a:spLocks/>
              </p:cNvSpPr>
              <p:nvPr/>
            </p:nvSpPr>
            <p:spPr bwMode="auto">
              <a:xfrm>
                <a:off x="3563962" y="2170478"/>
                <a:ext cx="326635" cy="525841"/>
              </a:xfrm>
              <a:custGeom>
                <a:avLst/>
                <a:gdLst>
                  <a:gd name="T0" fmla="*/ 54 w 340"/>
                  <a:gd name="T1" fmla="*/ 17 h 603"/>
                  <a:gd name="T2" fmla="*/ 75 w 340"/>
                  <a:gd name="T3" fmla="*/ 41 h 603"/>
                  <a:gd name="T4" fmla="*/ 96 w 340"/>
                  <a:gd name="T5" fmla="*/ 58 h 603"/>
                  <a:gd name="T6" fmla="*/ 86 w 340"/>
                  <a:gd name="T7" fmla="*/ 100 h 603"/>
                  <a:gd name="T8" fmla="*/ 64 w 340"/>
                  <a:gd name="T9" fmla="*/ 124 h 603"/>
                  <a:gd name="T10" fmla="*/ 30 w 340"/>
                  <a:gd name="T11" fmla="*/ 143 h 603"/>
                  <a:gd name="T12" fmla="*/ 41 w 340"/>
                  <a:gd name="T13" fmla="*/ 184 h 603"/>
                  <a:gd name="T14" fmla="*/ 30 w 340"/>
                  <a:gd name="T15" fmla="*/ 209 h 603"/>
                  <a:gd name="T16" fmla="*/ 6 w 340"/>
                  <a:gd name="T17" fmla="*/ 231 h 603"/>
                  <a:gd name="T18" fmla="*/ 6 w 340"/>
                  <a:gd name="T19" fmla="*/ 250 h 603"/>
                  <a:gd name="T20" fmla="*/ 0 w 340"/>
                  <a:gd name="T21" fmla="*/ 276 h 603"/>
                  <a:gd name="T22" fmla="*/ 9 w 340"/>
                  <a:gd name="T23" fmla="*/ 308 h 603"/>
                  <a:gd name="T24" fmla="*/ 24 w 340"/>
                  <a:gd name="T25" fmla="*/ 329 h 603"/>
                  <a:gd name="T26" fmla="*/ 41 w 340"/>
                  <a:gd name="T27" fmla="*/ 348 h 603"/>
                  <a:gd name="T28" fmla="*/ 70 w 340"/>
                  <a:gd name="T29" fmla="*/ 370 h 603"/>
                  <a:gd name="T30" fmla="*/ 90 w 340"/>
                  <a:gd name="T31" fmla="*/ 404 h 603"/>
                  <a:gd name="T32" fmla="*/ 103 w 340"/>
                  <a:gd name="T33" fmla="*/ 400 h 603"/>
                  <a:gd name="T34" fmla="*/ 124 w 340"/>
                  <a:gd name="T35" fmla="*/ 412 h 603"/>
                  <a:gd name="T36" fmla="*/ 115 w 340"/>
                  <a:gd name="T37" fmla="*/ 444 h 603"/>
                  <a:gd name="T38" fmla="*/ 107 w 340"/>
                  <a:gd name="T39" fmla="*/ 470 h 603"/>
                  <a:gd name="T40" fmla="*/ 141 w 340"/>
                  <a:gd name="T41" fmla="*/ 504 h 603"/>
                  <a:gd name="T42" fmla="*/ 154 w 340"/>
                  <a:gd name="T43" fmla="*/ 509 h 603"/>
                  <a:gd name="T44" fmla="*/ 177 w 340"/>
                  <a:gd name="T45" fmla="*/ 528 h 603"/>
                  <a:gd name="T46" fmla="*/ 194 w 340"/>
                  <a:gd name="T47" fmla="*/ 558 h 603"/>
                  <a:gd name="T48" fmla="*/ 195 w 340"/>
                  <a:gd name="T49" fmla="*/ 588 h 603"/>
                  <a:gd name="T50" fmla="*/ 222 w 340"/>
                  <a:gd name="T51" fmla="*/ 603 h 603"/>
                  <a:gd name="T52" fmla="*/ 229 w 340"/>
                  <a:gd name="T53" fmla="*/ 579 h 603"/>
                  <a:gd name="T54" fmla="*/ 250 w 340"/>
                  <a:gd name="T55" fmla="*/ 581 h 603"/>
                  <a:gd name="T56" fmla="*/ 274 w 340"/>
                  <a:gd name="T57" fmla="*/ 590 h 603"/>
                  <a:gd name="T58" fmla="*/ 273 w 340"/>
                  <a:gd name="T59" fmla="*/ 568 h 603"/>
                  <a:gd name="T60" fmla="*/ 280 w 340"/>
                  <a:gd name="T61" fmla="*/ 553 h 603"/>
                  <a:gd name="T62" fmla="*/ 305 w 340"/>
                  <a:gd name="T63" fmla="*/ 538 h 603"/>
                  <a:gd name="T64" fmla="*/ 303 w 340"/>
                  <a:gd name="T65" fmla="*/ 517 h 603"/>
                  <a:gd name="T66" fmla="*/ 301 w 340"/>
                  <a:gd name="T67" fmla="*/ 500 h 603"/>
                  <a:gd name="T68" fmla="*/ 306 w 340"/>
                  <a:gd name="T69" fmla="*/ 479 h 603"/>
                  <a:gd name="T70" fmla="*/ 308 w 340"/>
                  <a:gd name="T71" fmla="*/ 457 h 603"/>
                  <a:gd name="T72" fmla="*/ 329 w 340"/>
                  <a:gd name="T73" fmla="*/ 429 h 603"/>
                  <a:gd name="T74" fmla="*/ 338 w 340"/>
                  <a:gd name="T75" fmla="*/ 408 h 603"/>
                  <a:gd name="T76" fmla="*/ 336 w 340"/>
                  <a:gd name="T77" fmla="*/ 380 h 603"/>
                  <a:gd name="T78" fmla="*/ 325 w 340"/>
                  <a:gd name="T79" fmla="*/ 357 h 603"/>
                  <a:gd name="T80" fmla="*/ 333 w 340"/>
                  <a:gd name="T81" fmla="*/ 335 h 603"/>
                  <a:gd name="T82" fmla="*/ 301 w 340"/>
                  <a:gd name="T83" fmla="*/ 69 h 603"/>
                  <a:gd name="T84" fmla="*/ 293 w 340"/>
                  <a:gd name="T85" fmla="*/ 45 h 603"/>
                  <a:gd name="T86" fmla="*/ 278 w 340"/>
                  <a:gd name="T87" fmla="*/ 21 h 603"/>
                  <a:gd name="T88" fmla="*/ 274 w 340"/>
                  <a:gd name="T89" fmla="*/ 0 h 6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0" h="603">
                    <a:moveTo>
                      <a:pt x="180" y="7"/>
                    </a:moveTo>
                    <a:lnTo>
                      <a:pt x="54" y="15"/>
                    </a:lnTo>
                    <a:lnTo>
                      <a:pt x="54" y="17"/>
                    </a:lnTo>
                    <a:lnTo>
                      <a:pt x="60" y="22"/>
                    </a:lnTo>
                    <a:lnTo>
                      <a:pt x="73" y="34"/>
                    </a:lnTo>
                    <a:lnTo>
                      <a:pt x="75" y="41"/>
                    </a:lnTo>
                    <a:lnTo>
                      <a:pt x="81" y="47"/>
                    </a:lnTo>
                    <a:lnTo>
                      <a:pt x="88" y="51"/>
                    </a:lnTo>
                    <a:lnTo>
                      <a:pt x="96" y="58"/>
                    </a:lnTo>
                    <a:lnTo>
                      <a:pt x="98" y="66"/>
                    </a:lnTo>
                    <a:lnTo>
                      <a:pt x="96" y="86"/>
                    </a:lnTo>
                    <a:lnTo>
                      <a:pt x="86" y="100"/>
                    </a:lnTo>
                    <a:lnTo>
                      <a:pt x="85" y="113"/>
                    </a:lnTo>
                    <a:lnTo>
                      <a:pt x="79" y="118"/>
                    </a:lnTo>
                    <a:lnTo>
                      <a:pt x="64" y="124"/>
                    </a:lnTo>
                    <a:lnTo>
                      <a:pt x="58" y="130"/>
                    </a:lnTo>
                    <a:lnTo>
                      <a:pt x="32" y="135"/>
                    </a:lnTo>
                    <a:lnTo>
                      <a:pt x="30" y="143"/>
                    </a:lnTo>
                    <a:lnTo>
                      <a:pt x="26" y="156"/>
                    </a:lnTo>
                    <a:lnTo>
                      <a:pt x="39" y="169"/>
                    </a:lnTo>
                    <a:lnTo>
                      <a:pt x="41" y="184"/>
                    </a:lnTo>
                    <a:lnTo>
                      <a:pt x="32" y="197"/>
                    </a:lnTo>
                    <a:lnTo>
                      <a:pt x="30" y="203"/>
                    </a:lnTo>
                    <a:lnTo>
                      <a:pt x="30" y="209"/>
                    </a:lnTo>
                    <a:lnTo>
                      <a:pt x="28" y="216"/>
                    </a:lnTo>
                    <a:lnTo>
                      <a:pt x="11" y="224"/>
                    </a:lnTo>
                    <a:lnTo>
                      <a:pt x="6" y="231"/>
                    </a:lnTo>
                    <a:lnTo>
                      <a:pt x="11" y="239"/>
                    </a:lnTo>
                    <a:lnTo>
                      <a:pt x="9" y="244"/>
                    </a:lnTo>
                    <a:lnTo>
                      <a:pt x="6" y="250"/>
                    </a:lnTo>
                    <a:lnTo>
                      <a:pt x="2" y="256"/>
                    </a:lnTo>
                    <a:lnTo>
                      <a:pt x="0" y="263"/>
                    </a:lnTo>
                    <a:lnTo>
                      <a:pt x="0" y="276"/>
                    </a:lnTo>
                    <a:lnTo>
                      <a:pt x="4" y="291"/>
                    </a:lnTo>
                    <a:lnTo>
                      <a:pt x="6" y="293"/>
                    </a:lnTo>
                    <a:lnTo>
                      <a:pt x="9" y="308"/>
                    </a:lnTo>
                    <a:lnTo>
                      <a:pt x="13" y="316"/>
                    </a:lnTo>
                    <a:lnTo>
                      <a:pt x="15" y="321"/>
                    </a:lnTo>
                    <a:lnTo>
                      <a:pt x="24" y="329"/>
                    </a:lnTo>
                    <a:lnTo>
                      <a:pt x="32" y="336"/>
                    </a:lnTo>
                    <a:lnTo>
                      <a:pt x="39" y="340"/>
                    </a:lnTo>
                    <a:lnTo>
                      <a:pt x="41" y="348"/>
                    </a:lnTo>
                    <a:lnTo>
                      <a:pt x="58" y="357"/>
                    </a:lnTo>
                    <a:lnTo>
                      <a:pt x="66" y="363"/>
                    </a:lnTo>
                    <a:lnTo>
                      <a:pt x="70" y="370"/>
                    </a:lnTo>
                    <a:lnTo>
                      <a:pt x="77" y="400"/>
                    </a:lnTo>
                    <a:lnTo>
                      <a:pt x="83" y="406"/>
                    </a:lnTo>
                    <a:lnTo>
                      <a:pt x="90" y="404"/>
                    </a:lnTo>
                    <a:lnTo>
                      <a:pt x="94" y="398"/>
                    </a:lnTo>
                    <a:lnTo>
                      <a:pt x="96" y="397"/>
                    </a:lnTo>
                    <a:lnTo>
                      <a:pt x="103" y="400"/>
                    </a:lnTo>
                    <a:lnTo>
                      <a:pt x="111" y="400"/>
                    </a:lnTo>
                    <a:lnTo>
                      <a:pt x="124" y="410"/>
                    </a:lnTo>
                    <a:lnTo>
                      <a:pt x="124" y="412"/>
                    </a:lnTo>
                    <a:lnTo>
                      <a:pt x="118" y="421"/>
                    </a:lnTo>
                    <a:lnTo>
                      <a:pt x="120" y="432"/>
                    </a:lnTo>
                    <a:lnTo>
                      <a:pt x="115" y="444"/>
                    </a:lnTo>
                    <a:lnTo>
                      <a:pt x="111" y="455"/>
                    </a:lnTo>
                    <a:lnTo>
                      <a:pt x="107" y="462"/>
                    </a:lnTo>
                    <a:lnTo>
                      <a:pt x="107" y="470"/>
                    </a:lnTo>
                    <a:lnTo>
                      <a:pt x="107" y="476"/>
                    </a:lnTo>
                    <a:lnTo>
                      <a:pt x="120" y="489"/>
                    </a:lnTo>
                    <a:lnTo>
                      <a:pt x="141" y="504"/>
                    </a:lnTo>
                    <a:lnTo>
                      <a:pt x="145" y="504"/>
                    </a:lnTo>
                    <a:lnTo>
                      <a:pt x="147" y="511"/>
                    </a:lnTo>
                    <a:lnTo>
                      <a:pt x="154" y="509"/>
                    </a:lnTo>
                    <a:lnTo>
                      <a:pt x="165" y="517"/>
                    </a:lnTo>
                    <a:lnTo>
                      <a:pt x="169" y="523"/>
                    </a:lnTo>
                    <a:lnTo>
                      <a:pt x="177" y="528"/>
                    </a:lnTo>
                    <a:lnTo>
                      <a:pt x="184" y="530"/>
                    </a:lnTo>
                    <a:lnTo>
                      <a:pt x="184" y="545"/>
                    </a:lnTo>
                    <a:lnTo>
                      <a:pt x="194" y="558"/>
                    </a:lnTo>
                    <a:lnTo>
                      <a:pt x="192" y="566"/>
                    </a:lnTo>
                    <a:lnTo>
                      <a:pt x="186" y="573"/>
                    </a:lnTo>
                    <a:lnTo>
                      <a:pt x="195" y="588"/>
                    </a:lnTo>
                    <a:lnTo>
                      <a:pt x="207" y="601"/>
                    </a:lnTo>
                    <a:lnTo>
                      <a:pt x="212" y="598"/>
                    </a:lnTo>
                    <a:lnTo>
                      <a:pt x="222" y="603"/>
                    </a:lnTo>
                    <a:lnTo>
                      <a:pt x="218" y="600"/>
                    </a:lnTo>
                    <a:lnTo>
                      <a:pt x="218" y="592"/>
                    </a:lnTo>
                    <a:lnTo>
                      <a:pt x="229" y="579"/>
                    </a:lnTo>
                    <a:lnTo>
                      <a:pt x="235" y="577"/>
                    </a:lnTo>
                    <a:lnTo>
                      <a:pt x="242" y="577"/>
                    </a:lnTo>
                    <a:lnTo>
                      <a:pt x="250" y="581"/>
                    </a:lnTo>
                    <a:lnTo>
                      <a:pt x="263" y="585"/>
                    </a:lnTo>
                    <a:lnTo>
                      <a:pt x="269" y="588"/>
                    </a:lnTo>
                    <a:lnTo>
                      <a:pt x="274" y="590"/>
                    </a:lnTo>
                    <a:lnTo>
                      <a:pt x="280" y="581"/>
                    </a:lnTo>
                    <a:lnTo>
                      <a:pt x="278" y="575"/>
                    </a:lnTo>
                    <a:lnTo>
                      <a:pt x="273" y="568"/>
                    </a:lnTo>
                    <a:lnTo>
                      <a:pt x="271" y="562"/>
                    </a:lnTo>
                    <a:lnTo>
                      <a:pt x="274" y="554"/>
                    </a:lnTo>
                    <a:lnTo>
                      <a:pt x="280" y="553"/>
                    </a:lnTo>
                    <a:lnTo>
                      <a:pt x="288" y="547"/>
                    </a:lnTo>
                    <a:lnTo>
                      <a:pt x="301" y="543"/>
                    </a:lnTo>
                    <a:lnTo>
                      <a:pt x="305" y="538"/>
                    </a:lnTo>
                    <a:lnTo>
                      <a:pt x="301" y="530"/>
                    </a:lnTo>
                    <a:lnTo>
                      <a:pt x="299" y="523"/>
                    </a:lnTo>
                    <a:lnTo>
                      <a:pt x="303" y="517"/>
                    </a:lnTo>
                    <a:lnTo>
                      <a:pt x="306" y="509"/>
                    </a:lnTo>
                    <a:lnTo>
                      <a:pt x="306" y="508"/>
                    </a:lnTo>
                    <a:lnTo>
                      <a:pt x="301" y="500"/>
                    </a:lnTo>
                    <a:lnTo>
                      <a:pt x="305" y="492"/>
                    </a:lnTo>
                    <a:lnTo>
                      <a:pt x="305" y="479"/>
                    </a:lnTo>
                    <a:lnTo>
                      <a:pt x="306" y="479"/>
                    </a:lnTo>
                    <a:lnTo>
                      <a:pt x="308" y="464"/>
                    </a:lnTo>
                    <a:lnTo>
                      <a:pt x="308" y="464"/>
                    </a:lnTo>
                    <a:lnTo>
                      <a:pt x="308" y="457"/>
                    </a:lnTo>
                    <a:lnTo>
                      <a:pt x="316" y="451"/>
                    </a:lnTo>
                    <a:lnTo>
                      <a:pt x="321" y="444"/>
                    </a:lnTo>
                    <a:lnTo>
                      <a:pt x="329" y="429"/>
                    </a:lnTo>
                    <a:lnTo>
                      <a:pt x="331" y="423"/>
                    </a:lnTo>
                    <a:lnTo>
                      <a:pt x="336" y="408"/>
                    </a:lnTo>
                    <a:lnTo>
                      <a:pt x="338" y="408"/>
                    </a:lnTo>
                    <a:lnTo>
                      <a:pt x="340" y="400"/>
                    </a:lnTo>
                    <a:lnTo>
                      <a:pt x="336" y="385"/>
                    </a:lnTo>
                    <a:lnTo>
                      <a:pt x="336" y="380"/>
                    </a:lnTo>
                    <a:lnTo>
                      <a:pt x="331" y="372"/>
                    </a:lnTo>
                    <a:lnTo>
                      <a:pt x="325" y="365"/>
                    </a:lnTo>
                    <a:lnTo>
                      <a:pt x="325" y="357"/>
                    </a:lnTo>
                    <a:lnTo>
                      <a:pt x="329" y="350"/>
                    </a:lnTo>
                    <a:lnTo>
                      <a:pt x="325" y="342"/>
                    </a:lnTo>
                    <a:lnTo>
                      <a:pt x="333" y="335"/>
                    </a:lnTo>
                    <a:lnTo>
                      <a:pt x="308" y="85"/>
                    </a:lnTo>
                    <a:lnTo>
                      <a:pt x="308" y="81"/>
                    </a:lnTo>
                    <a:lnTo>
                      <a:pt x="301" y="69"/>
                    </a:lnTo>
                    <a:lnTo>
                      <a:pt x="299" y="64"/>
                    </a:lnTo>
                    <a:lnTo>
                      <a:pt x="295" y="56"/>
                    </a:lnTo>
                    <a:lnTo>
                      <a:pt x="293" y="45"/>
                    </a:lnTo>
                    <a:lnTo>
                      <a:pt x="288" y="39"/>
                    </a:lnTo>
                    <a:lnTo>
                      <a:pt x="280" y="26"/>
                    </a:lnTo>
                    <a:lnTo>
                      <a:pt x="278" y="21"/>
                    </a:lnTo>
                    <a:lnTo>
                      <a:pt x="278" y="6"/>
                    </a:lnTo>
                    <a:lnTo>
                      <a:pt x="278" y="0"/>
                    </a:lnTo>
                    <a:lnTo>
                      <a:pt x="274" y="0"/>
                    </a:lnTo>
                    <a:lnTo>
                      <a:pt x="180" y="7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grpSp>
            <p:nvGrpSpPr>
              <p:cNvPr id="455" name="Group 454"/>
              <p:cNvGrpSpPr/>
              <p:nvPr/>
            </p:nvGrpSpPr>
            <p:grpSpPr>
              <a:xfrm>
                <a:off x="3605271" y="2876831"/>
                <a:ext cx="293010" cy="472646"/>
                <a:chOff x="3605271" y="2876831"/>
                <a:chExt cx="293010" cy="472646"/>
              </a:xfrm>
              <a:grpFill/>
            </p:grpSpPr>
            <p:sp>
              <p:nvSpPr>
                <p:cNvPr id="288" name="Freeform 49"/>
                <p:cNvSpPr>
                  <a:spLocks/>
                </p:cNvSpPr>
                <p:nvPr/>
              </p:nvSpPr>
              <p:spPr bwMode="auto">
                <a:xfrm>
                  <a:off x="3818545" y="3342501"/>
                  <a:ext cx="8646" cy="6976"/>
                </a:xfrm>
                <a:custGeom>
                  <a:avLst/>
                  <a:gdLst>
                    <a:gd name="T0" fmla="*/ 0 w 9"/>
                    <a:gd name="T1" fmla="*/ 8 h 8"/>
                    <a:gd name="T2" fmla="*/ 6 w 9"/>
                    <a:gd name="T3" fmla="*/ 6 h 8"/>
                    <a:gd name="T4" fmla="*/ 9 w 9"/>
                    <a:gd name="T5" fmla="*/ 0 h 8"/>
                    <a:gd name="T6" fmla="*/ 2 w 9"/>
                    <a:gd name="T7" fmla="*/ 6 h 8"/>
                    <a:gd name="T8" fmla="*/ 0 w 9"/>
                    <a:gd name="T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8">
                      <a:moveTo>
                        <a:pt x="0" y="8"/>
                      </a:moveTo>
                      <a:lnTo>
                        <a:pt x="6" y="6"/>
                      </a:lnTo>
                      <a:lnTo>
                        <a:pt x="9" y="0"/>
                      </a:lnTo>
                      <a:lnTo>
                        <a:pt x="2" y="6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89" name="Freeform 50"/>
                <p:cNvSpPr>
                  <a:spLocks/>
                </p:cNvSpPr>
                <p:nvPr/>
              </p:nvSpPr>
              <p:spPr bwMode="auto">
                <a:xfrm>
                  <a:off x="3818545" y="3342501"/>
                  <a:ext cx="8646" cy="6976"/>
                </a:xfrm>
                <a:custGeom>
                  <a:avLst/>
                  <a:gdLst>
                    <a:gd name="T0" fmla="*/ 0 w 9"/>
                    <a:gd name="T1" fmla="*/ 8 h 8"/>
                    <a:gd name="T2" fmla="*/ 6 w 9"/>
                    <a:gd name="T3" fmla="*/ 6 h 8"/>
                    <a:gd name="T4" fmla="*/ 9 w 9"/>
                    <a:gd name="T5" fmla="*/ 0 h 8"/>
                    <a:gd name="T6" fmla="*/ 2 w 9"/>
                    <a:gd name="T7" fmla="*/ 6 h 8"/>
                    <a:gd name="T8" fmla="*/ 0 w 9"/>
                    <a:gd name="T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8">
                      <a:moveTo>
                        <a:pt x="0" y="8"/>
                      </a:moveTo>
                      <a:lnTo>
                        <a:pt x="6" y="6"/>
                      </a:lnTo>
                      <a:lnTo>
                        <a:pt x="9" y="0"/>
                      </a:lnTo>
                      <a:lnTo>
                        <a:pt x="2" y="6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90" name="Freeform 51"/>
                <p:cNvSpPr>
                  <a:spLocks/>
                </p:cNvSpPr>
                <p:nvPr/>
              </p:nvSpPr>
              <p:spPr bwMode="auto">
                <a:xfrm>
                  <a:off x="3872343" y="3325932"/>
                  <a:ext cx="13450" cy="1744"/>
                </a:xfrm>
                <a:custGeom>
                  <a:avLst/>
                  <a:gdLst>
                    <a:gd name="T0" fmla="*/ 14 w 14"/>
                    <a:gd name="T1" fmla="*/ 2 h 2"/>
                    <a:gd name="T2" fmla="*/ 0 w 14"/>
                    <a:gd name="T3" fmla="*/ 0 h 2"/>
                    <a:gd name="T4" fmla="*/ 0 w 14"/>
                    <a:gd name="T5" fmla="*/ 2 h 2"/>
                    <a:gd name="T6" fmla="*/ 6 w 14"/>
                    <a:gd name="T7" fmla="*/ 2 h 2"/>
                    <a:gd name="T8" fmla="*/ 14 w 14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2">
                      <a:moveTo>
                        <a:pt x="14" y="2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6" y="2"/>
                      </a:lnTo>
                      <a:lnTo>
                        <a:pt x="14" y="2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91" name="Freeform 52"/>
                <p:cNvSpPr>
                  <a:spLocks/>
                </p:cNvSpPr>
                <p:nvPr/>
              </p:nvSpPr>
              <p:spPr bwMode="auto">
                <a:xfrm>
                  <a:off x="3872343" y="3325932"/>
                  <a:ext cx="13450" cy="1744"/>
                </a:xfrm>
                <a:custGeom>
                  <a:avLst/>
                  <a:gdLst>
                    <a:gd name="T0" fmla="*/ 14 w 14"/>
                    <a:gd name="T1" fmla="*/ 2 h 2"/>
                    <a:gd name="T2" fmla="*/ 0 w 14"/>
                    <a:gd name="T3" fmla="*/ 0 h 2"/>
                    <a:gd name="T4" fmla="*/ 0 w 14"/>
                    <a:gd name="T5" fmla="*/ 2 h 2"/>
                    <a:gd name="T6" fmla="*/ 6 w 14"/>
                    <a:gd name="T7" fmla="*/ 2 h 2"/>
                    <a:gd name="T8" fmla="*/ 14 w 14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2">
                      <a:moveTo>
                        <a:pt x="14" y="2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6" y="2"/>
                      </a:lnTo>
                      <a:lnTo>
                        <a:pt x="14" y="2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22" name="Freeform 83"/>
                <p:cNvSpPr>
                  <a:spLocks/>
                </p:cNvSpPr>
                <p:nvPr/>
              </p:nvSpPr>
              <p:spPr bwMode="auto">
                <a:xfrm>
                  <a:off x="3605271" y="2876831"/>
                  <a:ext cx="293010" cy="460438"/>
                </a:xfrm>
                <a:custGeom>
                  <a:avLst/>
                  <a:gdLst>
                    <a:gd name="T0" fmla="*/ 282 w 305"/>
                    <a:gd name="T1" fmla="*/ 6 h 528"/>
                    <a:gd name="T2" fmla="*/ 215 w 305"/>
                    <a:gd name="T3" fmla="*/ 6 h 528"/>
                    <a:gd name="T4" fmla="*/ 98 w 305"/>
                    <a:gd name="T5" fmla="*/ 25 h 528"/>
                    <a:gd name="T6" fmla="*/ 81 w 305"/>
                    <a:gd name="T7" fmla="*/ 30 h 528"/>
                    <a:gd name="T8" fmla="*/ 75 w 305"/>
                    <a:gd name="T9" fmla="*/ 38 h 528"/>
                    <a:gd name="T10" fmla="*/ 75 w 305"/>
                    <a:gd name="T11" fmla="*/ 55 h 528"/>
                    <a:gd name="T12" fmla="*/ 77 w 305"/>
                    <a:gd name="T13" fmla="*/ 62 h 528"/>
                    <a:gd name="T14" fmla="*/ 70 w 305"/>
                    <a:gd name="T15" fmla="*/ 83 h 528"/>
                    <a:gd name="T16" fmla="*/ 60 w 305"/>
                    <a:gd name="T17" fmla="*/ 92 h 528"/>
                    <a:gd name="T18" fmla="*/ 45 w 305"/>
                    <a:gd name="T19" fmla="*/ 102 h 528"/>
                    <a:gd name="T20" fmla="*/ 47 w 305"/>
                    <a:gd name="T21" fmla="*/ 115 h 528"/>
                    <a:gd name="T22" fmla="*/ 38 w 305"/>
                    <a:gd name="T23" fmla="*/ 132 h 528"/>
                    <a:gd name="T24" fmla="*/ 36 w 305"/>
                    <a:gd name="T25" fmla="*/ 151 h 528"/>
                    <a:gd name="T26" fmla="*/ 36 w 305"/>
                    <a:gd name="T27" fmla="*/ 158 h 528"/>
                    <a:gd name="T28" fmla="*/ 23 w 305"/>
                    <a:gd name="T29" fmla="*/ 162 h 528"/>
                    <a:gd name="T30" fmla="*/ 27 w 305"/>
                    <a:gd name="T31" fmla="*/ 181 h 528"/>
                    <a:gd name="T32" fmla="*/ 34 w 305"/>
                    <a:gd name="T33" fmla="*/ 186 h 528"/>
                    <a:gd name="T34" fmla="*/ 34 w 305"/>
                    <a:gd name="T35" fmla="*/ 192 h 528"/>
                    <a:gd name="T36" fmla="*/ 36 w 305"/>
                    <a:gd name="T37" fmla="*/ 207 h 528"/>
                    <a:gd name="T38" fmla="*/ 30 w 305"/>
                    <a:gd name="T39" fmla="*/ 220 h 528"/>
                    <a:gd name="T40" fmla="*/ 28 w 305"/>
                    <a:gd name="T41" fmla="*/ 239 h 528"/>
                    <a:gd name="T42" fmla="*/ 40 w 305"/>
                    <a:gd name="T43" fmla="*/ 241 h 528"/>
                    <a:gd name="T44" fmla="*/ 36 w 305"/>
                    <a:gd name="T45" fmla="*/ 261 h 528"/>
                    <a:gd name="T46" fmla="*/ 38 w 305"/>
                    <a:gd name="T47" fmla="*/ 278 h 528"/>
                    <a:gd name="T48" fmla="*/ 49 w 305"/>
                    <a:gd name="T49" fmla="*/ 290 h 528"/>
                    <a:gd name="T50" fmla="*/ 45 w 305"/>
                    <a:gd name="T51" fmla="*/ 295 h 528"/>
                    <a:gd name="T52" fmla="*/ 60 w 305"/>
                    <a:gd name="T53" fmla="*/ 307 h 528"/>
                    <a:gd name="T54" fmla="*/ 55 w 305"/>
                    <a:gd name="T55" fmla="*/ 310 h 528"/>
                    <a:gd name="T56" fmla="*/ 38 w 305"/>
                    <a:gd name="T57" fmla="*/ 325 h 528"/>
                    <a:gd name="T58" fmla="*/ 47 w 305"/>
                    <a:gd name="T59" fmla="*/ 333 h 528"/>
                    <a:gd name="T60" fmla="*/ 47 w 305"/>
                    <a:gd name="T61" fmla="*/ 339 h 528"/>
                    <a:gd name="T62" fmla="*/ 25 w 305"/>
                    <a:gd name="T63" fmla="*/ 361 h 528"/>
                    <a:gd name="T64" fmla="*/ 21 w 305"/>
                    <a:gd name="T65" fmla="*/ 378 h 528"/>
                    <a:gd name="T66" fmla="*/ 19 w 305"/>
                    <a:gd name="T67" fmla="*/ 389 h 528"/>
                    <a:gd name="T68" fmla="*/ 13 w 305"/>
                    <a:gd name="T69" fmla="*/ 412 h 528"/>
                    <a:gd name="T70" fmla="*/ 10 w 305"/>
                    <a:gd name="T71" fmla="*/ 423 h 528"/>
                    <a:gd name="T72" fmla="*/ 4 w 305"/>
                    <a:gd name="T73" fmla="*/ 440 h 528"/>
                    <a:gd name="T74" fmla="*/ 92 w 305"/>
                    <a:gd name="T75" fmla="*/ 449 h 528"/>
                    <a:gd name="T76" fmla="*/ 177 w 305"/>
                    <a:gd name="T77" fmla="*/ 451 h 528"/>
                    <a:gd name="T78" fmla="*/ 173 w 305"/>
                    <a:gd name="T79" fmla="*/ 483 h 528"/>
                    <a:gd name="T80" fmla="*/ 188 w 305"/>
                    <a:gd name="T81" fmla="*/ 506 h 528"/>
                    <a:gd name="T82" fmla="*/ 196 w 305"/>
                    <a:gd name="T83" fmla="*/ 523 h 528"/>
                    <a:gd name="T84" fmla="*/ 211 w 305"/>
                    <a:gd name="T85" fmla="*/ 528 h 528"/>
                    <a:gd name="T86" fmla="*/ 222 w 305"/>
                    <a:gd name="T87" fmla="*/ 512 h 528"/>
                    <a:gd name="T88" fmla="*/ 226 w 305"/>
                    <a:gd name="T89" fmla="*/ 512 h 528"/>
                    <a:gd name="T90" fmla="*/ 260 w 305"/>
                    <a:gd name="T91" fmla="*/ 502 h 528"/>
                    <a:gd name="T92" fmla="*/ 265 w 305"/>
                    <a:gd name="T93" fmla="*/ 498 h 528"/>
                    <a:gd name="T94" fmla="*/ 284 w 305"/>
                    <a:gd name="T95" fmla="*/ 502 h 528"/>
                    <a:gd name="T96" fmla="*/ 305 w 305"/>
                    <a:gd name="T97" fmla="*/ 498 h 5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305" h="528">
                      <a:moveTo>
                        <a:pt x="282" y="335"/>
                      </a:moveTo>
                      <a:lnTo>
                        <a:pt x="290" y="10"/>
                      </a:lnTo>
                      <a:lnTo>
                        <a:pt x="282" y="6"/>
                      </a:lnTo>
                      <a:lnTo>
                        <a:pt x="278" y="0"/>
                      </a:lnTo>
                      <a:lnTo>
                        <a:pt x="278" y="0"/>
                      </a:lnTo>
                      <a:lnTo>
                        <a:pt x="215" y="6"/>
                      </a:lnTo>
                      <a:lnTo>
                        <a:pt x="94" y="15"/>
                      </a:lnTo>
                      <a:lnTo>
                        <a:pt x="96" y="17"/>
                      </a:lnTo>
                      <a:lnTo>
                        <a:pt x="98" y="25"/>
                      </a:lnTo>
                      <a:lnTo>
                        <a:pt x="92" y="30"/>
                      </a:lnTo>
                      <a:lnTo>
                        <a:pt x="85" y="34"/>
                      </a:lnTo>
                      <a:lnTo>
                        <a:pt x="81" y="30"/>
                      </a:lnTo>
                      <a:lnTo>
                        <a:pt x="83" y="45"/>
                      </a:lnTo>
                      <a:lnTo>
                        <a:pt x="77" y="45"/>
                      </a:lnTo>
                      <a:lnTo>
                        <a:pt x="75" y="38"/>
                      </a:lnTo>
                      <a:lnTo>
                        <a:pt x="75" y="47"/>
                      </a:lnTo>
                      <a:lnTo>
                        <a:pt x="83" y="53"/>
                      </a:lnTo>
                      <a:lnTo>
                        <a:pt x="75" y="55"/>
                      </a:lnTo>
                      <a:lnTo>
                        <a:pt x="74" y="49"/>
                      </a:lnTo>
                      <a:lnTo>
                        <a:pt x="74" y="58"/>
                      </a:lnTo>
                      <a:lnTo>
                        <a:pt x="77" y="62"/>
                      </a:lnTo>
                      <a:lnTo>
                        <a:pt x="74" y="72"/>
                      </a:lnTo>
                      <a:lnTo>
                        <a:pt x="75" y="77"/>
                      </a:lnTo>
                      <a:lnTo>
                        <a:pt x="70" y="83"/>
                      </a:lnTo>
                      <a:lnTo>
                        <a:pt x="66" y="85"/>
                      </a:lnTo>
                      <a:lnTo>
                        <a:pt x="58" y="85"/>
                      </a:lnTo>
                      <a:lnTo>
                        <a:pt x="60" y="92"/>
                      </a:lnTo>
                      <a:lnTo>
                        <a:pt x="53" y="100"/>
                      </a:lnTo>
                      <a:lnTo>
                        <a:pt x="53" y="104"/>
                      </a:lnTo>
                      <a:lnTo>
                        <a:pt x="45" y="102"/>
                      </a:lnTo>
                      <a:lnTo>
                        <a:pt x="49" y="105"/>
                      </a:lnTo>
                      <a:lnTo>
                        <a:pt x="47" y="107"/>
                      </a:lnTo>
                      <a:lnTo>
                        <a:pt x="47" y="115"/>
                      </a:lnTo>
                      <a:lnTo>
                        <a:pt x="51" y="122"/>
                      </a:lnTo>
                      <a:lnTo>
                        <a:pt x="34" y="128"/>
                      </a:lnTo>
                      <a:lnTo>
                        <a:pt x="38" y="132"/>
                      </a:lnTo>
                      <a:lnTo>
                        <a:pt x="36" y="139"/>
                      </a:lnTo>
                      <a:lnTo>
                        <a:pt x="38" y="147"/>
                      </a:lnTo>
                      <a:lnTo>
                        <a:pt x="36" y="151"/>
                      </a:lnTo>
                      <a:lnTo>
                        <a:pt x="28" y="151"/>
                      </a:lnTo>
                      <a:lnTo>
                        <a:pt x="28" y="154"/>
                      </a:lnTo>
                      <a:lnTo>
                        <a:pt x="36" y="158"/>
                      </a:lnTo>
                      <a:lnTo>
                        <a:pt x="30" y="162"/>
                      </a:lnTo>
                      <a:lnTo>
                        <a:pt x="28" y="158"/>
                      </a:lnTo>
                      <a:lnTo>
                        <a:pt x="23" y="162"/>
                      </a:lnTo>
                      <a:lnTo>
                        <a:pt x="28" y="169"/>
                      </a:lnTo>
                      <a:lnTo>
                        <a:pt x="23" y="173"/>
                      </a:lnTo>
                      <a:lnTo>
                        <a:pt x="27" y="181"/>
                      </a:lnTo>
                      <a:lnTo>
                        <a:pt x="23" y="186"/>
                      </a:lnTo>
                      <a:lnTo>
                        <a:pt x="28" y="181"/>
                      </a:lnTo>
                      <a:lnTo>
                        <a:pt x="34" y="186"/>
                      </a:lnTo>
                      <a:lnTo>
                        <a:pt x="27" y="190"/>
                      </a:lnTo>
                      <a:lnTo>
                        <a:pt x="34" y="192"/>
                      </a:lnTo>
                      <a:lnTo>
                        <a:pt x="34" y="192"/>
                      </a:lnTo>
                      <a:lnTo>
                        <a:pt x="32" y="198"/>
                      </a:lnTo>
                      <a:lnTo>
                        <a:pt x="34" y="205"/>
                      </a:lnTo>
                      <a:lnTo>
                        <a:pt x="36" y="207"/>
                      </a:lnTo>
                      <a:lnTo>
                        <a:pt x="38" y="218"/>
                      </a:lnTo>
                      <a:lnTo>
                        <a:pt x="38" y="220"/>
                      </a:lnTo>
                      <a:lnTo>
                        <a:pt x="30" y="220"/>
                      </a:lnTo>
                      <a:lnTo>
                        <a:pt x="32" y="226"/>
                      </a:lnTo>
                      <a:lnTo>
                        <a:pt x="32" y="235"/>
                      </a:lnTo>
                      <a:lnTo>
                        <a:pt x="28" y="239"/>
                      </a:lnTo>
                      <a:lnTo>
                        <a:pt x="28" y="245"/>
                      </a:lnTo>
                      <a:lnTo>
                        <a:pt x="34" y="241"/>
                      </a:lnTo>
                      <a:lnTo>
                        <a:pt x="40" y="241"/>
                      </a:lnTo>
                      <a:lnTo>
                        <a:pt x="40" y="248"/>
                      </a:lnTo>
                      <a:lnTo>
                        <a:pt x="34" y="254"/>
                      </a:lnTo>
                      <a:lnTo>
                        <a:pt x="36" y="261"/>
                      </a:lnTo>
                      <a:lnTo>
                        <a:pt x="43" y="265"/>
                      </a:lnTo>
                      <a:lnTo>
                        <a:pt x="36" y="275"/>
                      </a:lnTo>
                      <a:lnTo>
                        <a:pt x="38" y="278"/>
                      </a:lnTo>
                      <a:lnTo>
                        <a:pt x="49" y="277"/>
                      </a:lnTo>
                      <a:lnTo>
                        <a:pt x="43" y="282"/>
                      </a:lnTo>
                      <a:lnTo>
                        <a:pt x="49" y="290"/>
                      </a:lnTo>
                      <a:lnTo>
                        <a:pt x="42" y="288"/>
                      </a:lnTo>
                      <a:lnTo>
                        <a:pt x="42" y="290"/>
                      </a:lnTo>
                      <a:lnTo>
                        <a:pt x="45" y="295"/>
                      </a:lnTo>
                      <a:lnTo>
                        <a:pt x="51" y="299"/>
                      </a:lnTo>
                      <a:lnTo>
                        <a:pt x="53" y="305"/>
                      </a:lnTo>
                      <a:lnTo>
                        <a:pt x="60" y="307"/>
                      </a:lnTo>
                      <a:lnTo>
                        <a:pt x="60" y="308"/>
                      </a:lnTo>
                      <a:lnTo>
                        <a:pt x="60" y="310"/>
                      </a:lnTo>
                      <a:lnTo>
                        <a:pt x="55" y="310"/>
                      </a:lnTo>
                      <a:lnTo>
                        <a:pt x="49" y="316"/>
                      </a:lnTo>
                      <a:lnTo>
                        <a:pt x="42" y="320"/>
                      </a:lnTo>
                      <a:lnTo>
                        <a:pt x="38" y="325"/>
                      </a:lnTo>
                      <a:lnTo>
                        <a:pt x="45" y="327"/>
                      </a:lnTo>
                      <a:lnTo>
                        <a:pt x="53" y="325"/>
                      </a:lnTo>
                      <a:lnTo>
                        <a:pt x="47" y="333"/>
                      </a:lnTo>
                      <a:lnTo>
                        <a:pt x="47" y="337"/>
                      </a:lnTo>
                      <a:lnTo>
                        <a:pt x="40" y="337"/>
                      </a:lnTo>
                      <a:lnTo>
                        <a:pt x="47" y="339"/>
                      </a:lnTo>
                      <a:lnTo>
                        <a:pt x="47" y="340"/>
                      </a:lnTo>
                      <a:lnTo>
                        <a:pt x="30" y="357"/>
                      </a:lnTo>
                      <a:lnTo>
                        <a:pt x="25" y="361"/>
                      </a:lnTo>
                      <a:lnTo>
                        <a:pt x="23" y="367"/>
                      </a:lnTo>
                      <a:lnTo>
                        <a:pt x="27" y="371"/>
                      </a:lnTo>
                      <a:lnTo>
                        <a:pt x="21" y="378"/>
                      </a:lnTo>
                      <a:lnTo>
                        <a:pt x="19" y="384"/>
                      </a:lnTo>
                      <a:lnTo>
                        <a:pt x="11" y="389"/>
                      </a:lnTo>
                      <a:lnTo>
                        <a:pt x="19" y="389"/>
                      </a:lnTo>
                      <a:lnTo>
                        <a:pt x="17" y="391"/>
                      </a:lnTo>
                      <a:lnTo>
                        <a:pt x="11" y="397"/>
                      </a:lnTo>
                      <a:lnTo>
                        <a:pt x="13" y="412"/>
                      </a:lnTo>
                      <a:lnTo>
                        <a:pt x="6" y="412"/>
                      </a:lnTo>
                      <a:lnTo>
                        <a:pt x="11" y="418"/>
                      </a:lnTo>
                      <a:lnTo>
                        <a:pt x="10" y="423"/>
                      </a:lnTo>
                      <a:lnTo>
                        <a:pt x="0" y="425"/>
                      </a:lnTo>
                      <a:lnTo>
                        <a:pt x="4" y="433"/>
                      </a:lnTo>
                      <a:lnTo>
                        <a:pt x="4" y="440"/>
                      </a:lnTo>
                      <a:lnTo>
                        <a:pt x="8" y="448"/>
                      </a:lnTo>
                      <a:lnTo>
                        <a:pt x="2" y="453"/>
                      </a:lnTo>
                      <a:lnTo>
                        <a:pt x="92" y="449"/>
                      </a:lnTo>
                      <a:lnTo>
                        <a:pt x="177" y="442"/>
                      </a:lnTo>
                      <a:lnTo>
                        <a:pt x="179" y="444"/>
                      </a:lnTo>
                      <a:lnTo>
                        <a:pt x="177" y="451"/>
                      </a:lnTo>
                      <a:lnTo>
                        <a:pt x="173" y="465"/>
                      </a:lnTo>
                      <a:lnTo>
                        <a:pt x="169" y="476"/>
                      </a:lnTo>
                      <a:lnTo>
                        <a:pt x="173" y="483"/>
                      </a:lnTo>
                      <a:lnTo>
                        <a:pt x="177" y="491"/>
                      </a:lnTo>
                      <a:lnTo>
                        <a:pt x="186" y="498"/>
                      </a:lnTo>
                      <a:lnTo>
                        <a:pt x="188" y="506"/>
                      </a:lnTo>
                      <a:lnTo>
                        <a:pt x="192" y="513"/>
                      </a:lnTo>
                      <a:lnTo>
                        <a:pt x="192" y="517"/>
                      </a:lnTo>
                      <a:lnTo>
                        <a:pt x="196" y="523"/>
                      </a:lnTo>
                      <a:lnTo>
                        <a:pt x="199" y="527"/>
                      </a:lnTo>
                      <a:lnTo>
                        <a:pt x="203" y="528"/>
                      </a:lnTo>
                      <a:lnTo>
                        <a:pt x="211" y="528"/>
                      </a:lnTo>
                      <a:lnTo>
                        <a:pt x="213" y="521"/>
                      </a:lnTo>
                      <a:lnTo>
                        <a:pt x="220" y="515"/>
                      </a:lnTo>
                      <a:lnTo>
                        <a:pt x="222" y="512"/>
                      </a:lnTo>
                      <a:lnTo>
                        <a:pt x="220" y="512"/>
                      </a:lnTo>
                      <a:lnTo>
                        <a:pt x="226" y="510"/>
                      </a:lnTo>
                      <a:lnTo>
                        <a:pt x="226" y="512"/>
                      </a:lnTo>
                      <a:lnTo>
                        <a:pt x="231" y="510"/>
                      </a:lnTo>
                      <a:lnTo>
                        <a:pt x="246" y="504"/>
                      </a:lnTo>
                      <a:lnTo>
                        <a:pt x="260" y="502"/>
                      </a:lnTo>
                      <a:lnTo>
                        <a:pt x="263" y="500"/>
                      </a:lnTo>
                      <a:lnTo>
                        <a:pt x="254" y="498"/>
                      </a:lnTo>
                      <a:lnTo>
                        <a:pt x="265" y="498"/>
                      </a:lnTo>
                      <a:lnTo>
                        <a:pt x="271" y="502"/>
                      </a:lnTo>
                      <a:lnTo>
                        <a:pt x="278" y="506"/>
                      </a:lnTo>
                      <a:lnTo>
                        <a:pt x="284" y="502"/>
                      </a:lnTo>
                      <a:lnTo>
                        <a:pt x="288" y="500"/>
                      </a:lnTo>
                      <a:lnTo>
                        <a:pt x="301" y="506"/>
                      </a:lnTo>
                      <a:lnTo>
                        <a:pt x="305" y="498"/>
                      </a:lnTo>
                      <a:lnTo>
                        <a:pt x="305" y="495"/>
                      </a:lnTo>
                      <a:lnTo>
                        <a:pt x="282" y="335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  <p:sp>
            <p:nvSpPr>
              <p:cNvPr id="323" name="Freeform 84"/>
              <p:cNvSpPr>
                <a:spLocks/>
              </p:cNvSpPr>
              <p:nvPr/>
            </p:nvSpPr>
            <p:spPr bwMode="auto">
              <a:xfrm>
                <a:off x="3695576" y="2665797"/>
                <a:ext cx="693618" cy="224114"/>
              </a:xfrm>
              <a:custGeom>
                <a:avLst/>
                <a:gdLst>
                  <a:gd name="T0" fmla="*/ 487 w 722"/>
                  <a:gd name="T1" fmla="*/ 33 h 257"/>
                  <a:gd name="T2" fmla="*/ 421 w 722"/>
                  <a:gd name="T3" fmla="*/ 39 h 257"/>
                  <a:gd name="T4" fmla="*/ 355 w 722"/>
                  <a:gd name="T5" fmla="*/ 47 h 257"/>
                  <a:gd name="T6" fmla="*/ 271 w 722"/>
                  <a:gd name="T7" fmla="*/ 54 h 257"/>
                  <a:gd name="T8" fmla="*/ 199 w 722"/>
                  <a:gd name="T9" fmla="*/ 62 h 257"/>
                  <a:gd name="T10" fmla="*/ 177 w 722"/>
                  <a:gd name="T11" fmla="*/ 60 h 257"/>
                  <a:gd name="T12" fmla="*/ 183 w 722"/>
                  <a:gd name="T13" fmla="*/ 80 h 257"/>
                  <a:gd name="T14" fmla="*/ 58 w 722"/>
                  <a:gd name="T15" fmla="*/ 96 h 257"/>
                  <a:gd name="T16" fmla="*/ 53 w 722"/>
                  <a:gd name="T17" fmla="*/ 90 h 257"/>
                  <a:gd name="T18" fmla="*/ 57 w 722"/>
                  <a:gd name="T19" fmla="*/ 105 h 257"/>
                  <a:gd name="T20" fmla="*/ 53 w 722"/>
                  <a:gd name="T21" fmla="*/ 114 h 257"/>
                  <a:gd name="T22" fmla="*/ 51 w 722"/>
                  <a:gd name="T23" fmla="*/ 127 h 257"/>
                  <a:gd name="T24" fmla="*/ 43 w 722"/>
                  <a:gd name="T25" fmla="*/ 146 h 257"/>
                  <a:gd name="T26" fmla="*/ 47 w 722"/>
                  <a:gd name="T27" fmla="*/ 156 h 257"/>
                  <a:gd name="T28" fmla="*/ 43 w 722"/>
                  <a:gd name="T29" fmla="*/ 165 h 257"/>
                  <a:gd name="T30" fmla="*/ 30 w 722"/>
                  <a:gd name="T31" fmla="*/ 174 h 257"/>
                  <a:gd name="T32" fmla="*/ 27 w 722"/>
                  <a:gd name="T33" fmla="*/ 180 h 257"/>
                  <a:gd name="T34" fmla="*/ 27 w 722"/>
                  <a:gd name="T35" fmla="*/ 191 h 257"/>
                  <a:gd name="T36" fmla="*/ 19 w 722"/>
                  <a:gd name="T37" fmla="*/ 197 h 257"/>
                  <a:gd name="T38" fmla="*/ 21 w 722"/>
                  <a:gd name="T39" fmla="*/ 210 h 257"/>
                  <a:gd name="T40" fmla="*/ 11 w 722"/>
                  <a:gd name="T41" fmla="*/ 208 h 257"/>
                  <a:gd name="T42" fmla="*/ 15 w 722"/>
                  <a:gd name="T43" fmla="*/ 214 h 257"/>
                  <a:gd name="T44" fmla="*/ 19 w 722"/>
                  <a:gd name="T45" fmla="*/ 240 h 257"/>
                  <a:gd name="T46" fmla="*/ 11 w 722"/>
                  <a:gd name="T47" fmla="*/ 244 h 257"/>
                  <a:gd name="T48" fmla="*/ 0 w 722"/>
                  <a:gd name="T49" fmla="*/ 255 h 257"/>
                  <a:gd name="T50" fmla="*/ 121 w 722"/>
                  <a:gd name="T51" fmla="*/ 248 h 257"/>
                  <a:gd name="T52" fmla="*/ 184 w 722"/>
                  <a:gd name="T53" fmla="*/ 242 h 257"/>
                  <a:gd name="T54" fmla="*/ 310 w 722"/>
                  <a:gd name="T55" fmla="*/ 231 h 257"/>
                  <a:gd name="T56" fmla="*/ 485 w 722"/>
                  <a:gd name="T57" fmla="*/ 208 h 257"/>
                  <a:gd name="T58" fmla="*/ 521 w 722"/>
                  <a:gd name="T59" fmla="*/ 178 h 257"/>
                  <a:gd name="T60" fmla="*/ 540 w 722"/>
                  <a:gd name="T61" fmla="*/ 169 h 257"/>
                  <a:gd name="T62" fmla="*/ 543 w 722"/>
                  <a:gd name="T63" fmla="*/ 152 h 257"/>
                  <a:gd name="T64" fmla="*/ 564 w 722"/>
                  <a:gd name="T65" fmla="*/ 137 h 257"/>
                  <a:gd name="T66" fmla="*/ 583 w 722"/>
                  <a:gd name="T67" fmla="*/ 133 h 257"/>
                  <a:gd name="T68" fmla="*/ 617 w 722"/>
                  <a:gd name="T69" fmla="*/ 105 h 257"/>
                  <a:gd name="T70" fmla="*/ 626 w 722"/>
                  <a:gd name="T71" fmla="*/ 99 h 257"/>
                  <a:gd name="T72" fmla="*/ 637 w 722"/>
                  <a:gd name="T73" fmla="*/ 86 h 257"/>
                  <a:gd name="T74" fmla="*/ 641 w 722"/>
                  <a:gd name="T75" fmla="*/ 77 h 257"/>
                  <a:gd name="T76" fmla="*/ 654 w 722"/>
                  <a:gd name="T77" fmla="*/ 79 h 257"/>
                  <a:gd name="T78" fmla="*/ 666 w 722"/>
                  <a:gd name="T79" fmla="*/ 71 h 257"/>
                  <a:gd name="T80" fmla="*/ 675 w 722"/>
                  <a:gd name="T81" fmla="*/ 60 h 257"/>
                  <a:gd name="T82" fmla="*/ 694 w 722"/>
                  <a:gd name="T83" fmla="*/ 60 h 257"/>
                  <a:gd name="T84" fmla="*/ 705 w 722"/>
                  <a:gd name="T85" fmla="*/ 37 h 257"/>
                  <a:gd name="T86" fmla="*/ 718 w 722"/>
                  <a:gd name="T87" fmla="*/ 28 h 257"/>
                  <a:gd name="T88" fmla="*/ 720 w 722"/>
                  <a:gd name="T89" fmla="*/ 9 h 257"/>
                  <a:gd name="T90" fmla="*/ 713 w 722"/>
                  <a:gd name="T91" fmla="*/ 0 h 257"/>
                  <a:gd name="T92" fmla="*/ 651 w 722"/>
                  <a:gd name="T93" fmla="*/ 11 h 257"/>
                  <a:gd name="T94" fmla="*/ 579 w 722"/>
                  <a:gd name="T95" fmla="*/ 20 h 257"/>
                  <a:gd name="T96" fmla="*/ 543 w 722"/>
                  <a:gd name="T97" fmla="*/ 28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22" h="257">
                    <a:moveTo>
                      <a:pt x="513" y="30"/>
                    </a:moveTo>
                    <a:lnTo>
                      <a:pt x="487" y="33"/>
                    </a:lnTo>
                    <a:lnTo>
                      <a:pt x="459" y="37"/>
                    </a:lnTo>
                    <a:lnTo>
                      <a:pt x="421" y="39"/>
                    </a:lnTo>
                    <a:lnTo>
                      <a:pt x="397" y="43"/>
                    </a:lnTo>
                    <a:lnTo>
                      <a:pt x="355" y="47"/>
                    </a:lnTo>
                    <a:lnTo>
                      <a:pt x="314" y="49"/>
                    </a:lnTo>
                    <a:lnTo>
                      <a:pt x="271" y="54"/>
                    </a:lnTo>
                    <a:lnTo>
                      <a:pt x="235" y="58"/>
                    </a:lnTo>
                    <a:lnTo>
                      <a:pt x="199" y="62"/>
                    </a:lnTo>
                    <a:lnTo>
                      <a:pt x="192" y="60"/>
                    </a:lnTo>
                    <a:lnTo>
                      <a:pt x="177" y="60"/>
                    </a:lnTo>
                    <a:lnTo>
                      <a:pt x="183" y="73"/>
                    </a:lnTo>
                    <a:lnTo>
                      <a:pt x="183" y="80"/>
                    </a:lnTo>
                    <a:lnTo>
                      <a:pt x="64" y="90"/>
                    </a:lnTo>
                    <a:lnTo>
                      <a:pt x="58" y="96"/>
                    </a:lnTo>
                    <a:lnTo>
                      <a:pt x="58" y="90"/>
                    </a:lnTo>
                    <a:lnTo>
                      <a:pt x="53" y="90"/>
                    </a:lnTo>
                    <a:lnTo>
                      <a:pt x="55" y="97"/>
                    </a:lnTo>
                    <a:lnTo>
                      <a:pt x="57" y="105"/>
                    </a:lnTo>
                    <a:lnTo>
                      <a:pt x="49" y="107"/>
                    </a:lnTo>
                    <a:lnTo>
                      <a:pt x="53" y="114"/>
                    </a:lnTo>
                    <a:lnTo>
                      <a:pt x="45" y="122"/>
                    </a:lnTo>
                    <a:lnTo>
                      <a:pt x="51" y="127"/>
                    </a:lnTo>
                    <a:lnTo>
                      <a:pt x="47" y="135"/>
                    </a:lnTo>
                    <a:lnTo>
                      <a:pt x="43" y="146"/>
                    </a:lnTo>
                    <a:lnTo>
                      <a:pt x="45" y="150"/>
                    </a:lnTo>
                    <a:lnTo>
                      <a:pt x="47" y="156"/>
                    </a:lnTo>
                    <a:lnTo>
                      <a:pt x="40" y="159"/>
                    </a:lnTo>
                    <a:lnTo>
                      <a:pt x="43" y="165"/>
                    </a:lnTo>
                    <a:lnTo>
                      <a:pt x="36" y="171"/>
                    </a:lnTo>
                    <a:lnTo>
                      <a:pt x="30" y="174"/>
                    </a:lnTo>
                    <a:lnTo>
                      <a:pt x="27" y="178"/>
                    </a:lnTo>
                    <a:lnTo>
                      <a:pt x="27" y="180"/>
                    </a:lnTo>
                    <a:lnTo>
                      <a:pt x="32" y="186"/>
                    </a:lnTo>
                    <a:lnTo>
                      <a:pt x="27" y="191"/>
                    </a:lnTo>
                    <a:lnTo>
                      <a:pt x="23" y="195"/>
                    </a:lnTo>
                    <a:lnTo>
                      <a:pt x="19" y="197"/>
                    </a:lnTo>
                    <a:lnTo>
                      <a:pt x="23" y="205"/>
                    </a:lnTo>
                    <a:lnTo>
                      <a:pt x="21" y="210"/>
                    </a:lnTo>
                    <a:lnTo>
                      <a:pt x="17" y="206"/>
                    </a:lnTo>
                    <a:lnTo>
                      <a:pt x="11" y="208"/>
                    </a:lnTo>
                    <a:lnTo>
                      <a:pt x="10" y="216"/>
                    </a:lnTo>
                    <a:lnTo>
                      <a:pt x="15" y="214"/>
                    </a:lnTo>
                    <a:lnTo>
                      <a:pt x="15" y="221"/>
                    </a:lnTo>
                    <a:lnTo>
                      <a:pt x="19" y="240"/>
                    </a:lnTo>
                    <a:lnTo>
                      <a:pt x="17" y="242"/>
                    </a:lnTo>
                    <a:lnTo>
                      <a:pt x="11" y="244"/>
                    </a:lnTo>
                    <a:lnTo>
                      <a:pt x="8" y="252"/>
                    </a:lnTo>
                    <a:lnTo>
                      <a:pt x="0" y="255"/>
                    </a:lnTo>
                    <a:lnTo>
                      <a:pt x="0" y="257"/>
                    </a:lnTo>
                    <a:lnTo>
                      <a:pt x="121" y="248"/>
                    </a:lnTo>
                    <a:lnTo>
                      <a:pt x="184" y="242"/>
                    </a:lnTo>
                    <a:lnTo>
                      <a:pt x="184" y="242"/>
                    </a:lnTo>
                    <a:lnTo>
                      <a:pt x="184" y="240"/>
                    </a:lnTo>
                    <a:lnTo>
                      <a:pt x="310" y="231"/>
                    </a:lnTo>
                    <a:lnTo>
                      <a:pt x="408" y="220"/>
                    </a:lnTo>
                    <a:lnTo>
                      <a:pt x="485" y="208"/>
                    </a:lnTo>
                    <a:lnTo>
                      <a:pt x="521" y="206"/>
                    </a:lnTo>
                    <a:lnTo>
                      <a:pt x="521" y="178"/>
                    </a:lnTo>
                    <a:lnTo>
                      <a:pt x="534" y="174"/>
                    </a:lnTo>
                    <a:lnTo>
                      <a:pt x="540" y="169"/>
                    </a:lnTo>
                    <a:lnTo>
                      <a:pt x="542" y="159"/>
                    </a:lnTo>
                    <a:lnTo>
                      <a:pt x="543" y="152"/>
                    </a:lnTo>
                    <a:lnTo>
                      <a:pt x="549" y="144"/>
                    </a:lnTo>
                    <a:lnTo>
                      <a:pt x="564" y="137"/>
                    </a:lnTo>
                    <a:lnTo>
                      <a:pt x="577" y="137"/>
                    </a:lnTo>
                    <a:lnTo>
                      <a:pt x="583" y="133"/>
                    </a:lnTo>
                    <a:lnTo>
                      <a:pt x="604" y="114"/>
                    </a:lnTo>
                    <a:lnTo>
                      <a:pt x="617" y="105"/>
                    </a:lnTo>
                    <a:lnTo>
                      <a:pt x="622" y="105"/>
                    </a:lnTo>
                    <a:lnTo>
                      <a:pt x="626" y="99"/>
                    </a:lnTo>
                    <a:lnTo>
                      <a:pt x="630" y="84"/>
                    </a:lnTo>
                    <a:lnTo>
                      <a:pt x="637" y="86"/>
                    </a:lnTo>
                    <a:lnTo>
                      <a:pt x="637" y="80"/>
                    </a:lnTo>
                    <a:lnTo>
                      <a:pt x="641" y="77"/>
                    </a:lnTo>
                    <a:lnTo>
                      <a:pt x="647" y="73"/>
                    </a:lnTo>
                    <a:lnTo>
                      <a:pt x="654" y="79"/>
                    </a:lnTo>
                    <a:lnTo>
                      <a:pt x="658" y="79"/>
                    </a:lnTo>
                    <a:lnTo>
                      <a:pt x="666" y="71"/>
                    </a:lnTo>
                    <a:lnTo>
                      <a:pt x="668" y="65"/>
                    </a:lnTo>
                    <a:lnTo>
                      <a:pt x="675" y="60"/>
                    </a:lnTo>
                    <a:lnTo>
                      <a:pt x="688" y="54"/>
                    </a:lnTo>
                    <a:lnTo>
                      <a:pt x="694" y="60"/>
                    </a:lnTo>
                    <a:lnTo>
                      <a:pt x="699" y="52"/>
                    </a:lnTo>
                    <a:lnTo>
                      <a:pt x="705" y="37"/>
                    </a:lnTo>
                    <a:lnTo>
                      <a:pt x="711" y="32"/>
                    </a:lnTo>
                    <a:lnTo>
                      <a:pt x="718" y="28"/>
                    </a:lnTo>
                    <a:lnTo>
                      <a:pt x="720" y="17"/>
                    </a:lnTo>
                    <a:lnTo>
                      <a:pt x="720" y="9"/>
                    </a:lnTo>
                    <a:lnTo>
                      <a:pt x="722" y="0"/>
                    </a:lnTo>
                    <a:lnTo>
                      <a:pt x="713" y="0"/>
                    </a:lnTo>
                    <a:lnTo>
                      <a:pt x="686" y="7"/>
                    </a:lnTo>
                    <a:lnTo>
                      <a:pt x="651" y="11"/>
                    </a:lnTo>
                    <a:lnTo>
                      <a:pt x="594" y="20"/>
                    </a:lnTo>
                    <a:lnTo>
                      <a:pt x="579" y="20"/>
                    </a:lnTo>
                    <a:lnTo>
                      <a:pt x="553" y="24"/>
                    </a:lnTo>
                    <a:lnTo>
                      <a:pt x="543" y="28"/>
                    </a:lnTo>
                    <a:lnTo>
                      <a:pt x="513" y="3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4" name="Freeform 85"/>
              <p:cNvSpPr>
                <a:spLocks/>
              </p:cNvSpPr>
              <p:nvPr/>
            </p:nvSpPr>
            <p:spPr bwMode="auto">
              <a:xfrm>
                <a:off x="3746493" y="2737304"/>
                <a:ext cx="4803" cy="6976"/>
              </a:xfrm>
              <a:custGeom>
                <a:avLst/>
                <a:gdLst>
                  <a:gd name="T0" fmla="*/ 0 w 5"/>
                  <a:gd name="T1" fmla="*/ 8 h 8"/>
                  <a:gd name="T2" fmla="*/ 5 w 5"/>
                  <a:gd name="T3" fmla="*/ 8 h 8"/>
                  <a:gd name="T4" fmla="*/ 4 w 5"/>
                  <a:gd name="T5" fmla="*/ 0 h 8"/>
                  <a:gd name="T6" fmla="*/ 0 w 5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8">
                    <a:moveTo>
                      <a:pt x="0" y="8"/>
                    </a:moveTo>
                    <a:lnTo>
                      <a:pt x="5" y="8"/>
                    </a:lnTo>
                    <a:lnTo>
                      <a:pt x="4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5" name="Freeform 86"/>
              <p:cNvSpPr>
                <a:spLocks/>
              </p:cNvSpPr>
              <p:nvPr/>
            </p:nvSpPr>
            <p:spPr bwMode="auto">
              <a:xfrm>
                <a:off x="3746493" y="2737304"/>
                <a:ext cx="4803" cy="6976"/>
              </a:xfrm>
              <a:custGeom>
                <a:avLst/>
                <a:gdLst>
                  <a:gd name="T0" fmla="*/ 0 w 5"/>
                  <a:gd name="T1" fmla="*/ 8 h 8"/>
                  <a:gd name="T2" fmla="*/ 5 w 5"/>
                  <a:gd name="T3" fmla="*/ 8 h 8"/>
                  <a:gd name="T4" fmla="*/ 4 w 5"/>
                  <a:gd name="T5" fmla="*/ 0 h 8"/>
                  <a:gd name="T6" fmla="*/ 0 w 5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8">
                    <a:moveTo>
                      <a:pt x="0" y="8"/>
                    </a:moveTo>
                    <a:lnTo>
                      <a:pt x="5" y="8"/>
                    </a:lnTo>
                    <a:lnTo>
                      <a:pt x="4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6" name="Freeform 87"/>
              <p:cNvSpPr>
                <a:spLocks/>
              </p:cNvSpPr>
              <p:nvPr/>
            </p:nvSpPr>
            <p:spPr bwMode="auto">
              <a:xfrm>
                <a:off x="3757060" y="2460868"/>
                <a:ext cx="592746" cy="283413"/>
              </a:xfrm>
              <a:custGeom>
                <a:avLst/>
                <a:gdLst>
                  <a:gd name="T0" fmla="*/ 568 w 617"/>
                  <a:gd name="T1" fmla="*/ 103 h 325"/>
                  <a:gd name="T2" fmla="*/ 555 w 617"/>
                  <a:gd name="T3" fmla="*/ 67 h 325"/>
                  <a:gd name="T4" fmla="*/ 551 w 617"/>
                  <a:gd name="T5" fmla="*/ 52 h 325"/>
                  <a:gd name="T6" fmla="*/ 532 w 617"/>
                  <a:gd name="T7" fmla="*/ 39 h 325"/>
                  <a:gd name="T8" fmla="*/ 513 w 617"/>
                  <a:gd name="T9" fmla="*/ 24 h 325"/>
                  <a:gd name="T10" fmla="*/ 495 w 617"/>
                  <a:gd name="T11" fmla="*/ 37 h 325"/>
                  <a:gd name="T12" fmla="*/ 472 w 617"/>
                  <a:gd name="T13" fmla="*/ 34 h 325"/>
                  <a:gd name="T14" fmla="*/ 455 w 617"/>
                  <a:gd name="T15" fmla="*/ 41 h 325"/>
                  <a:gd name="T16" fmla="*/ 423 w 617"/>
                  <a:gd name="T17" fmla="*/ 32 h 325"/>
                  <a:gd name="T18" fmla="*/ 401 w 617"/>
                  <a:gd name="T19" fmla="*/ 9 h 325"/>
                  <a:gd name="T20" fmla="*/ 367 w 617"/>
                  <a:gd name="T21" fmla="*/ 0 h 325"/>
                  <a:gd name="T22" fmla="*/ 357 w 617"/>
                  <a:gd name="T23" fmla="*/ 17 h 325"/>
                  <a:gd name="T24" fmla="*/ 361 w 617"/>
                  <a:gd name="T25" fmla="*/ 37 h 325"/>
                  <a:gd name="T26" fmla="*/ 325 w 617"/>
                  <a:gd name="T27" fmla="*/ 47 h 325"/>
                  <a:gd name="T28" fmla="*/ 312 w 617"/>
                  <a:gd name="T29" fmla="*/ 58 h 325"/>
                  <a:gd name="T30" fmla="*/ 308 w 617"/>
                  <a:gd name="T31" fmla="*/ 81 h 325"/>
                  <a:gd name="T32" fmla="*/ 291 w 617"/>
                  <a:gd name="T33" fmla="*/ 103 h 325"/>
                  <a:gd name="T34" fmla="*/ 280 w 617"/>
                  <a:gd name="T35" fmla="*/ 124 h 325"/>
                  <a:gd name="T36" fmla="*/ 260 w 617"/>
                  <a:gd name="T37" fmla="*/ 133 h 325"/>
                  <a:gd name="T38" fmla="*/ 239 w 617"/>
                  <a:gd name="T39" fmla="*/ 118 h 325"/>
                  <a:gd name="T40" fmla="*/ 229 w 617"/>
                  <a:gd name="T41" fmla="*/ 135 h 325"/>
                  <a:gd name="T42" fmla="*/ 224 w 617"/>
                  <a:gd name="T43" fmla="*/ 156 h 325"/>
                  <a:gd name="T44" fmla="*/ 205 w 617"/>
                  <a:gd name="T45" fmla="*/ 143 h 325"/>
                  <a:gd name="T46" fmla="*/ 188 w 617"/>
                  <a:gd name="T47" fmla="*/ 158 h 325"/>
                  <a:gd name="T48" fmla="*/ 177 w 617"/>
                  <a:gd name="T49" fmla="*/ 161 h 325"/>
                  <a:gd name="T50" fmla="*/ 139 w 617"/>
                  <a:gd name="T51" fmla="*/ 158 h 325"/>
                  <a:gd name="T52" fmla="*/ 134 w 617"/>
                  <a:gd name="T53" fmla="*/ 159 h 325"/>
                  <a:gd name="T54" fmla="*/ 117 w 617"/>
                  <a:gd name="T55" fmla="*/ 169 h 325"/>
                  <a:gd name="T56" fmla="*/ 105 w 617"/>
                  <a:gd name="T57" fmla="*/ 176 h 325"/>
                  <a:gd name="T58" fmla="*/ 100 w 617"/>
                  <a:gd name="T59" fmla="*/ 197 h 325"/>
                  <a:gd name="T60" fmla="*/ 87 w 617"/>
                  <a:gd name="T61" fmla="*/ 214 h 325"/>
                  <a:gd name="T62" fmla="*/ 70 w 617"/>
                  <a:gd name="T63" fmla="*/ 229 h 325"/>
                  <a:gd name="T64" fmla="*/ 79 w 617"/>
                  <a:gd name="T65" fmla="*/ 248 h 325"/>
                  <a:gd name="T66" fmla="*/ 62 w 617"/>
                  <a:gd name="T67" fmla="*/ 252 h 325"/>
                  <a:gd name="T68" fmla="*/ 34 w 617"/>
                  <a:gd name="T69" fmla="*/ 244 h 325"/>
                  <a:gd name="T70" fmla="*/ 17 w 617"/>
                  <a:gd name="T71" fmla="*/ 267 h 325"/>
                  <a:gd name="T72" fmla="*/ 21 w 617"/>
                  <a:gd name="T73" fmla="*/ 284 h 325"/>
                  <a:gd name="T74" fmla="*/ 21 w 617"/>
                  <a:gd name="T75" fmla="*/ 306 h 325"/>
                  <a:gd name="T76" fmla="*/ 2 w 617"/>
                  <a:gd name="T77" fmla="*/ 315 h 325"/>
                  <a:gd name="T78" fmla="*/ 119 w 617"/>
                  <a:gd name="T79" fmla="*/ 308 h 325"/>
                  <a:gd name="T80" fmla="*/ 135 w 617"/>
                  <a:gd name="T81" fmla="*/ 297 h 325"/>
                  <a:gd name="T82" fmla="*/ 250 w 617"/>
                  <a:gd name="T83" fmla="*/ 284 h 325"/>
                  <a:gd name="T84" fmla="*/ 357 w 617"/>
                  <a:gd name="T85" fmla="*/ 274 h 325"/>
                  <a:gd name="T86" fmla="*/ 449 w 617"/>
                  <a:gd name="T87" fmla="*/ 265 h 325"/>
                  <a:gd name="T88" fmla="*/ 502 w 617"/>
                  <a:gd name="T89" fmla="*/ 252 h 325"/>
                  <a:gd name="T90" fmla="*/ 532 w 617"/>
                  <a:gd name="T91" fmla="*/ 237 h 325"/>
                  <a:gd name="T92" fmla="*/ 547 w 617"/>
                  <a:gd name="T93" fmla="*/ 221 h 325"/>
                  <a:gd name="T94" fmla="*/ 562 w 617"/>
                  <a:gd name="T95" fmla="*/ 203 h 325"/>
                  <a:gd name="T96" fmla="*/ 590 w 617"/>
                  <a:gd name="T97" fmla="*/ 171 h 325"/>
                  <a:gd name="T98" fmla="*/ 588 w 617"/>
                  <a:gd name="T99" fmla="*/ 128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17" h="325">
                    <a:moveTo>
                      <a:pt x="588" y="128"/>
                    </a:moveTo>
                    <a:lnTo>
                      <a:pt x="575" y="109"/>
                    </a:lnTo>
                    <a:lnTo>
                      <a:pt x="568" y="103"/>
                    </a:lnTo>
                    <a:lnTo>
                      <a:pt x="566" y="96"/>
                    </a:lnTo>
                    <a:lnTo>
                      <a:pt x="551" y="81"/>
                    </a:lnTo>
                    <a:lnTo>
                      <a:pt x="555" y="67"/>
                    </a:lnTo>
                    <a:lnTo>
                      <a:pt x="555" y="60"/>
                    </a:lnTo>
                    <a:lnTo>
                      <a:pt x="551" y="58"/>
                    </a:lnTo>
                    <a:lnTo>
                      <a:pt x="551" y="52"/>
                    </a:lnTo>
                    <a:lnTo>
                      <a:pt x="545" y="47"/>
                    </a:lnTo>
                    <a:lnTo>
                      <a:pt x="540" y="39"/>
                    </a:lnTo>
                    <a:lnTo>
                      <a:pt x="532" y="39"/>
                    </a:lnTo>
                    <a:lnTo>
                      <a:pt x="526" y="34"/>
                    </a:lnTo>
                    <a:lnTo>
                      <a:pt x="521" y="20"/>
                    </a:lnTo>
                    <a:lnTo>
                      <a:pt x="513" y="24"/>
                    </a:lnTo>
                    <a:lnTo>
                      <a:pt x="506" y="32"/>
                    </a:lnTo>
                    <a:lnTo>
                      <a:pt x="502" y="37"/>
                    </a:lnTo>
                    <a:lnTo>
                      <a:pt x="495" y="37"/>
                    </a:lnTo>
                    <a:lnTo>
                      <a:pt x="489" y="41"/>
                    </a:lnTo>
                    <a:lnTo>
                      <a:pt x="481" y="35"/>
                    </a:lnTo>
                    <a:lnTo>
                      <a:pt x="472" y="34"/>
                    </a:lnTo>
                    <a:lnTo>
                      <a:pt x="466" y="35"/>
                    </a:lnTo>
                    <a:lnTo>
                      <a:pt x="461" y="41"/>
                    </a:lnTo>
                    <a:lnTo>
                      <a:pt x="455" y="41"/>
                    </a:lnTo>
                    <a:lnTo>
                      <a:pt x="440" y="32"/>
                    </a:lnTo>
                    <a:lnTo>
                      <a:pt x="436" y="30"/>
                    </a:lnTo>
                    <a:lnTo>
                      <a:pt x="423" y="32"/>
                    </a:lnTo>
                    <a:lnTo>
                      <a:pt x="416" y="30"/>
                    </a:lnTo>
                    <a:lnTo>
                      <a:pt x="404" y="17"/>
                    </a:lnTo>
                    <a:lnTo>
                      <a:pt x="401" y="9"/>
                    </a:lnTo>
                    <a:lnTo>
                      <a:pt x="384" y="2"/>
                    </a:lnTo>
                    <a:lnTo>
                      <a:pt x="372" y="5"/>
                    </a:lnTo>
                    <a:lnTo>
                      <a:pt x="367" y="0"/>
                    </a:lnTo>
                    <a:lnTo>
                      <a:pt x="357" y="5"/>
                    </a:lnTo>
                    <a:lnTo>
                      <a:pt x="354" y="9"/>
                    </a:lnTo>
                    <a:lnTo>
                      <a:pt x="357" y="17"/>
                    </a:lnTo>
                    <a:lnTo>
                      <a:pt x="355" y="24"/>
                    </a:lnTo>
                    <a:lnTo>
                      <a:pt x="363" y="32"/>
                    </a:lnTo>
                    <a:lnTo>
                      <a:pt x="361" y="37"/>
                    </a:lnTo>
                    <a:lnTo>
                      <a:pt x="346" y="41"/>
                    </a:lnTo>
                    <a:lnTo>
                      <a:pt x="333" y="52"/>
                    </a:lnTo>
                    <a:lnTo>
                      <a:pt x="325" y="47"/>
                    </a:lnTo>
                    <a:lnTo>
                      <a:pt x="318" y="50"/>
                    </a:lnTo>
                    <a:lnTo>
                      <a:pt x="312" y="50"/>
                    </a:lnTo>
                    <a:lnTo>
                      <a:pt x="312" y="58"/>
                    </a:lnTo>
                    <a:lnTo>
                      <a:pt x="316" y="65"/>
                    </a:lnTo>
                    <a:lnTo>
                      <a:pt x="312" y="73"/>
                    </a:lnTo>
                    <a:lnTo>
                      <a:pt x="308" y="81"/>
                    </a:lnTo>
                    <a:lnTo>
                      <a:pt x="301" y="84"/>
                    </a:lnTo>
                    <a:lnTo>
                      <a:pt x="299" y="97"/>
                    </a:lnTo>
                    <a:lnTo>
                      <a:pt x="291" y="103"/>
                    </a:lnTo>
                    <a:lnTo>
                      <a:pt x="284" y="103"/>
                    </a:lnTo>
                    <a:lnTo>
                      <a:pt x="280" y="116"/>
                    </a:lnTo>
                    <a:lnTo>
                      <a:pt x="280" y="124"/>
                    </a:lnTo>
                    <a:lnTo>
                      <a:pt x="278" y="131"/>
                    </a:lnTo>
                    <a:lnTo>
                      <a:pt x="273" y="135"/>
                    </a:lnTo>
                    <a:lnTo>
                      <a:pt x="260" y="133"/>
                    </a:lnTo>
                    <a:lnTo>
                      <a:pt x="252" y="131"/>
                    </a:lnTo>
                    <a:lnTo>
                      <a:pt x="246" y="120"/>
                    </a:lnTo>
                    <a:lnTo>
                      <a:pt x="239" y="118"/>
                    </a:lnTo>
                    <a:lnTo>
                      <a:pt x="243" y="124"/>
                    </a:lnTo>
                    <a:lnTo>
                      <a:pt x="235" y="129"/>
                    </a:lnTo>
                    <a:lnTo>
                      <a:pt x="229" y="135"/>
                    </a:lnTo>
                    <a:lnTo>
                      <a:pt x="231" y="143"/>
                    </a:lnTo>
                    <a:lnTo>
                      <a:pt x="226" y="150"/>
                    </a:lnTo>
                    <a:lnTo>
                      <a:pt x="224" y="156"/>
                    </a:lnTo>
                    <a:lnTo>
                      <a:pt x="216" y="152"/>
                    </a:lnTo>
                    <a:lnTo>
                      <a:pt x="211" y="150"/>
                    </a:lnTo>
                    <a:lnTo>
                      <a:pt x="205" y="143"/>
                    </a:lnTo>
                    <a:lnTo>
                      <a:pt x="199" y="148"/>
                    </a:lnTo>
                    <a:lnTo>
                      <a:pt x="192" y="152"/>
                    </a:lnTo>
                    <a:lnTo>
                      <a:pt x="188" y="158"/>
                    </a:lnTo>
                    <a:lnTo>
                      <a:pt x="188" y="161"/>
                    </a:lnTo>
                    <a:lnTo>
                      <a:pt x="184" y="167"/>
                    </a:lnTo>
                    <a:lnTo>
                      <a:pt x="177" y="161"/>
                    </a:lnTo>
                    <a:lnTo>
                      <a:pt x="156" y="154"/>
                    </a:lnTo>
                    <a:lnTo>
                      <a:pt x="149" y="158"/>
                    </a:lnTo>
                    <a:lnTo>
                      <a:pt x="139" y="158"/>
                    </a:lnTo>
                    <a:lnTo>
                      <a:pt x="143" y="165"/>
                    </a:lnTo>
                    <a:lnTo>
                      <a:pt x="135" y="167"/>
                    </a:lnTo>
                    <a:lnTo>
                      <a:pt x="134" y="159"/>
                    </a:lnTo>
                    <a:lnTo>
                      <a:pt x="128" y="163"/>
                    </a:lnTo>
                    <a:lnTo>
                      <a:pt x="113" y="161"/>
                    </a:lnTo>
                    <a:lnTo>
                      <a:pt x="117" y="169"/>
                    </a:lnTo>
                    <a:lnTo>
                      <a:pt x="113" y="175"/>
                    </a:lnTo>
                    <a:lnTo>
                      <a:pt x="105" y="175"/>
                    </a:lnTo>
                    <a:lnTo>
                      <a:pt x="105" y="176"/>
                    </a:lnTo>
                    <a:lnTo>
                      <a:pt x="102" y="184"/>
                    </a:lnTo>
                    <a:lnTo>
                      <a:pt x="98" y="190"/>
                    </a:lnTo>
                    <a:lnTo>
                      <a:pt x="100" y="197"/>
                    </a:lnTo>
                    <a:lnTo>
                      <a:pt x="104" y="205"/>
                    </a:lnTo>
                    <a:lnTo>
                      <a:pt x="100" y="210"/>
                    </a:lnTo>
                    <a:lnTo>
                      <a:pt x="87" y="214"/>
                    </a:lnTo>
                    <a:lnTo>
                      <a:pt x="79" y="220"/>
                    </a:lnTo>
                    <a:lnTo>
                      <a:pt x="73" y="221"/>
                    </a:lnTo>
                    <a:lnTo>
                      <a:pt x="70" y="229"/>
                    </a:lnTo>
                    <a:lnTo>
                      <a:pt x="72" y="235"/>
                    </a:lnTo>
                    <a:lnTo>
                      <a:pt x="77" y="242"/>
                    </a:lnTo>
                    <a:lnTo>
                      <a:pt x="79" y="248"/>
                    </a:lnTo>
                    <a:lnTo>
                      <a:pt x="73" y="257"/>
                    </a:lnTo>
                    <a:lnTo>
                      <a:pt x="68" y="255"/>
                    </a:lnTo>
                    <a:lnTo>
                      <a:pt x="62" y="252"/>
                    </a:lnTo>
                    <a:lnTo>
                      <a:pt x="49" y="248"/>
                    </a:lnTo>
                    <a:lnTo>
                      <a:pt x="41" y="244"/>
                    </a:lnTo>
                    <a:lnTo>
                      <a:pt x="34" y="244"/>
                    </a:lnTo>
                    <a:lnTo>
                      <a:pt x="28" y="246"/>
                    </a:lnTo>
                    <a:lnTo>
                      <a:pt x="17" y="259"/>
                    </a:lnTo>
                    <a:lnTo>
                      <a:pt x="17" y="267"/>
                    </a:lnTo>
                    <a:lnTo>
                      <a:pt x="21" y="270"/>
                    </a:lnTo>
                    <a:lnTo>
                      <a:pt x="23" y="276"/>
                    </a:lnTo>
                    <a:lnTo>
                      <a:pt x="21" y="284"/>
                    </a:lnTo>
                    <a:lnTo>
                      <a:pt x="23" y="293"/>
                    </a:lnTo>
                    <a:lnTo>
                      <a:pt x="17" y="299"/>
                    </a:lnTo>
                    <a:lnTo>
                      <a:pt x="21" y="306"/>
                    </a:lnTo>
                    <a:lnTo>
                      <a:pt x="17" y="315"/>
                    </a:lnTo>
                    <a:lnTo>
                      <a:pt x="10" y="314"/>
                    </a:lnTo>
                    <a:lnTo>
                      <a:pt x="2" y="315"/>
                    </a:lnTo>
                    <a:lnTo>
                      <a:pt x="0" y="325"/>
                    </a:lnTo>
                    <a:lnTo>
                      <a:pt x="119" y="315"/>
                    </a:lnTo>
                    <a:lnTo>
                      <a:pt x="119" y="308"/>
                    </a:lnTo>
                    <a:lnTo>
                      <a:pt x="113" y="295"/>
                    </a:lnTo>
                    <a:lnTo>
                      <a:pt x="128" y="295"/>
                    </a:lnTo>
                    <a:lnTo>
                      <a:pt x="135" y="297"/>
                    </a:lnTo>
                    <a:lnTo>
                      <a:pt x="171" y="293"/>
                    </a:lnTo>
                    <a:lnTo>
                      <a:pt x="207" y="289"/>
                    </a:lnTo>
                    <a:lnTo>
                      <a:pt x="250" y="284"/>
                    </a:lnTo>
                    <a:lnTo>
                      <a:pt x="291" y="282"/>
                    </a:lnTo>
                    <a:lnTo>
                      <a:pt x="333" y="278"/>
                    </a:lnTo>
                    <a:lnTo>
                      <a:pt x="357" y="274"/>
                    </a:lnTo>
                    <a:lnTo>
                      <a:pt x="395" y="272"/>
                    </a:lnTo>
                    <a:lnTo>
                      <a:pt x="423" y="268"/>
                    </a:lnTo>
                    <a:lnTo>
                      <a:pt x="449" y="265"/>
                    </a:lnTo>
                    <a:lnTo>
                      <a:pt x="479" y="263"/>
                    </a:lnTo>
                    <a:lnTo>
                      <a:pt x="489" y="259"/>
                    </a:lnTo>
                    <a:lnTo>
                      <a:pt x="502" y="252"/>
                    </a:lnTo>
                    <a:lnTo>
                      <a:pt x="510" y="250"/>
                    </a:lnTo>
                    <a:lnTo>
                      <a:pt x="517" y="244"/>
                    </a:lnTo>
                    <a:lnTo>
                      <a:pt x="532" y="237"/>
                    </a:lnTo>
                    <a:lnTo>
                      <a:pt x="534" y="231"/>
                    </a:lnTo>
                    <a:lnTo>
                      <a:pt x="542" y="225"/>
                    </a:lnTo>
                    <a:lnTo>
                      <a:pt x="547" y="221"/>
                    </a:lnTo>
                    <a:lnTo>
                      <a:pt x="553" y="214"/>
                    </a:lnTo>
                    <a:lnTo>
                      <a:pt x="553" y="208"/>
                    </a:lnTo>
                    <a:lnTo>
                      <a:pt x="562" y="203"/>
                    </a:lnTo>
                    <a:lnTo>
                      <a:pt x="562" y="195"/>
                    </a:lnTo>
                    <a:lnTo>
                      <a:pt x="566" y="188"/>
                    </a:lnTo>
                    <a:lnTo>
                      <a:pt x="590" y="171"/>
                    </a:lnTo>
                    <a:lnTo>
                      <a:pt x="617" y="139"/>
                    </a:lnTo>
                    <a:lnTo>
                      <a:pt x="604" y="139"/>
                    </a:lnTo>
                    <a:lnTo>
                      <a:pt x="588" y="12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7" name="Freeform 88"/>
              <p:cNvSpPr>
                <a:spLocks/>
              </p:cNvSpPr>
              <p:nvPr/>
            </p:nvSpPr>
            <p:spPr bwMode="auto">
              <a:xfrm>
                <a:off x="3834876" y="1902761"/>
                <a:ext cx="26899" cy="46218"/>
              </a:xfrm>
              <a:custGeom>
                <a:avLst/>
                <a:gdLst>
                  <a:gd name="T0" fmla="*/ 26 w 28"/>
                  <a:gd name="T1" fmla="*/ 0 h 53"/>
                  <a:gd name="T2" fmla="*/ 21 w 28"/>
                  <a:gd name="T3" fmla="*/ 6 h 53"/>
                  <a:gd name="T4" fmla="*/ 17 w 28"/>
                  <a:gd name="T5" fmla="*/ 14 h 53"/>
                  <a:gd name="T6" fmla="*/ 9 w 28"/>
                  <a:gd name="T7" fmla="*/ 19 h 53"/>
                  <a:gd name="T8" fmla="*/ 9 w 28"/>
                  <a:gd name="T9" fmla="*/ 27 h 53"/>
                  <a:gd name="T10" fmla="*/ 4 w 28"/>
                  <a:gd name="T11" fmla="*/ 34 h 53"/>
                  <a:gd name="T12" fmla="*/ 0 w 28"/>
                  <a:gd name="T13" fmla="*/ 44 h 53"/>
                  <a:gd name="T14" fmla="*/ 4 w 28"/>
                  <a:gd name="T15" fmla="*/ 51 h 53"/>
                  <a:gd name="T16" fmla="*/ 11 w 28"/>
                  <a:gd name="T17" fmla="*/ 53 h 53"/>
                  <a:gd name="T18" fmla="*/ 15 w 28"/>
                  <a:gd name="T19" fmla="*/ 46 h 53"/>
                  <a:gd name="T20" fmla="*/ 19 w 28"/>
                  <a:gd name="T21" fmla="*/ 40 h 53"/>
                  <a:gd name="T22" fmla="*/ 19 w 28"/>
                  <a:gd name="T23" fmla="*/ 32 h 53"/>
                  <a:gd name="T24" fmla="*/ 24 w 28"/>
                  <a:gd name="T25" fmla="*/ 23 h 53"/>
                  <a:gd name="T26" fmla="*/ 23 w 28"/>
                  <a:gd name="T27" fmla="*/ 17 h 53"/>
                  <a:gd name="T28" fmla="*/ 28 w 28"/>
                  <a:gd name="T29" fmla="*/ 2 h 53"/>
                  <a:gd name="T30" fmla="*/ 26 w 28"/>
                  <a:gd name="T3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53">
                    <a:moveTo>
                      <a:pt x="26" y="0"/>
                    </a:moveTo>
                    <a:lnTo>
                      <a:pt x="21" y="6"/>
                    </a:lnTo>
                    <a:lnTo>
                      <a:pt x="17" y="14"/>
                    </a:lnTo>
                    <a:lnTo>
                      <a:pt x="9" y="19"/>
                    </a:lnTo>
                    <a:lnTo>
                      <a:pt x="9" y="27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4" y="51"/>
                    </a:lnTo>
                    <a:lnTo>
                      <a:pt x="11" y="53"/>
                    </a:lnTo>
                    <a:lnTo>
                      <a:pt x="15" y="46"/>
                    </a:lnTo>
                    <a:lnTo>
                      <a:pt x="19" y="40"/>
                    </a:lnTo>
                    <a:lnTo>
                      <a:pt x="19" y="32"/>
                    </a:lnTo>
                    <a:lnTo>
                      <a:pt x="24" y="23"/>
                    </a:lnTo>
                    <a:lnTo>
                      <a:pt x="23" y="17"/>
                    </a:lnTo>
                    <a:lnTo>
                      <a:pt x="28" y="2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8" name="Freeform 89"/>
              <p:cNvSpPr>
                <a:spLocks/>
              </p:cNvSpPr>
              <p:nvPr/>
            </p:nvSpPr>
            <p:spPr bwMode="auto">
              <a:xfrm>
                <a:off x="3834876" y="1902761"/>
                <a:ext cx="26899" cy="46218"/>
              </a:xfrm>
              <a:custGeom>
                <a:avLst/>
                <a:gdLst>
                  <a:gd name="T0" fmla="*/ 26 w 28"/>
                  <a:gd name="T1" fmla="*/ 0 h 53"/>
                  <a:gd name="T2" fmla="*/ 21 w 28"/>
                  <a:gd name="T3" fmla="*/ 6 h 53"/>
                  <a:gd name="T4" fmla="*/ 17 w 28"/>
                  <a:gd name="T5" fmla="*/ 14 h 53"/>
                  <a:gd name="T6" fmla="*/ 9 w 28"/>
                  <a:gd name="T7" fmla="*/ 19 h 53"/>
                  <a:gd name="T8" fmla="*/ 9 w 28"/>
                  <a:gd name="T9" fmla="*/ 27 h 53"/>
                  <a:gd name="T10" fmla="*/ 4 w 28"/>
                  <a:gd name="T11" fmla="*/ 34 h 53"/>
                  <a:gd name="T12" fmla="*/ 0 w 28"/>
                  <a:gd name="T13" fmla="*/ 44 h 53"/>
                  <a:gd name="T14" fmla="*/ 4 w 28"/>
                  <a:gd name="T15" fmla="*/ 51 h 53"/>
                  <a:gd name="T16" fmla="*/ 11 w 28"/>
                  <a:gd name="T17" fmla="*/ 53 h 53"/>
                  <a:gd name="T18" fmla="*/ 15 w 28"/>
                  <a:gd name="T19" fmla="*/ 46 h 53"/>
                  <a:gd name="T20" fmla="*/ 19 w 28"/>
                  <a:gd name="T21" fmla="*/ 40 h 53"/>
                  <a:gd name="T22" fmla="*/ 19 w 28"/>
                  <a:gd name="T23" fmla="*/ 32 h 53"/>
                  <a:gd name="T24" fmla="*/ 24 w 28"/>
                  <a:gd name="T25" fmla="*/ 23 h 53"/>
                  <a:gd name="T26" fmla="*/ 23 w 28"/>
                  <a:gd name="T27" fmla="*/ 17 h 53"/>
                  <a:gd name="T28" fmla="*/ 28 w 28"/>
                  <a:gd name="T29" fmla="*/ 2 h 53"/>
                  <a:gd name="T30" fmla="*/ 26 w 28"/>
                  <a:gd name="T3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53">
                    <a:moveTo>
                      <a:pt x="26" y="0"/>
                    </a:moveTo>
                    <a:lnTo>
                      <a:pt x="21" y="6"/>
                    </a:lnTo>
                    <a:lnTo>
                      <a:pt x="17" y="14"/>
                    </a:lnTo>
                    <a:lnTo>
                      <a:pt x="9" y="19"/>
                    </a:lnTo>
                    <a:lnTo>
                      <a:pt x="9" y="27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4" y="51"/>
                    </a:lnTo>
                    <a:lnTo>
                      <a:pt x="11" y="53"/>
                    </a:lnTo>
                    <a:lnTo>
                      <a:pt x="15" y="46"/>
                    </a:lnTo>
                    <a:lnTo>
                      <a:pt x="19" y="40"/>
                    </a:lnTo>
                    <a:lnTo>
                      <a:pt x="19" y="32"/>
                    </a:lnTo>
                    <a:lnTo>
                      <a:pt x="24" y="23"/>
                    </a:lnTo>
                    <a:lnTo>
                      <a:pt x="23" y="17"/>
                    </a:lnTo>
                    <a:lnTo>
                      <a:pt x="28" y="2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29" name="Freeform 90"/>
              <p:cNvSpPr>
                <a:spLocks/>
              </p:cNvSpPr>
              <p:nvPr/>
            </p:nvSpPr>
            <p:spPr bwMode="auto">
              <a:xfrm>
                <a:off x="3957845" y="1848695"/>
                <a:ext cx="6725" cy="14825"/>
              </a:xfrm>
              <a:custGeom>
                <a:avLst/>
                <a:gdLst>
                  <a:gd name="T0" fmla="*/ 2 w 7"/>
                  <a:gd name="T1" fmla="*/ 4 h 17"/>
                  <a:gd name="T2" fmla="*/ 0 w 7"/>
                  <a:gd name="T3" fmla="*/ 10 h 17"/>
                  <a:gd name="T4" fmla="*/ 0 w 7"/>
                  <a:gd name="T5" fmla="*/ 17 h 17"/>
                  <a:gd name="T6" fmla="*/ 7 w 7"/>
                  <a:gd name="T7" fmla="*/ 15 h 17"/>
                  <a:gd name="T8" fmla="*/ 7 w 7"/>
                  <a:gd name="T9" fmla="*/ 2 h 17"/>
                  <a:gd name="T10" fmla="*/ 7 w 7"/>
                  <a:gd name="T11" fmla="*/ 0 h 17"/>
                  <a:gd name="T12" fmla="*/ 2 w 7"/>
                  <a:gd name="T13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7">
                    <a:moveTo>
                      <a:pt x="2" y="4"/>
                    </a:moveTo>
                    <a:lnTo>
                      <a:pt x="0" y="10"/>
                    </a:lnTo>
                    <a:lnTo>
                      <a:pt x="0" y="17"/>
                    </a:lnTo>
                    <a:lnTo>
                      <a:pt x="7" y="15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2" y="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31" name="Freeform 92"/>
              <p:cNvSpPr>
                <a:spLocks/>
              </p:cNvSpPr>
              <p:nvPr/>
            </p:nvSpPr>
            <p:spPr bwMode="auto">
              <a:xfrm>
                <a:off x="4076970" y="1801605"/>
                <a:ext cx="26899" cy="16569"/>
              </a:xfrm>
              <a:custGeom>
                <a:avLst/>
                <a:gdLst>
                  <a:gd name="T0" fmla="*/ 7 w 28"/>
                  <a:gd name="T1" fmla="*/ 19 h 19"/>
                  <a:gd name="T2" fmla="*/ 21 w 28"/>
                  <a:gd name="T3" fmla="*/ 17 h 19"/>
                  <a:gd name="T4" fmla="*/ 28 w 28"/>
                  <a:gd name="T5" fmla="*/ 13 h 19"/>
                  <a:gd name="T6" fmla="*/ 24 w 28"/>
                  <a:gd name="T7" fmla="*/ 6 h 19"/>
                  <a:gd name="T8" fmla="*/ 17 w 28"/>
                  <a:gd name="T9" fmla="*/ 0 h 19"/>
                  <a:gd name="T10" fmla="*/ 11 w 28"/>
                  <a:gd name="T11" fmla="*/ 0 h 19"/>
                  <a:gd name="T12" fmla="*/ 13 w 28"/>
                  <a:gd name="T13" fmla="*/ 6 h 19"/>
                  <a:gd name="T14" fmla="*/ 7 w 28"/>
                  <a:gd name="T15" fmla="*/ 11 h 19"/>
                  <a:gd name="T16" fmla="*/ 0 w 28"/>
                  <a:gd name="T17" fmla="*/ 13 h 19"/>
                  <a:gd name="T18" fmla="*/ 7 w 28"/>
                  <a:gd name="T19" fmla="*/ 17 h 19"/>
                  <a:gd name="T20" fmla="*/ 7 w 28"/>
                  <a:gd name="T2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19">
                    <a:moveTo>
                      <a:pt x="7" y="19"/>
                    </a:moveTo>
                    <a:lnTo>
                      <a:pt x="21" y="17"/>
                    </a:lnTo>
                    <a:lnTo>
                      <a:pt x="28" y="13"/>
                    </a:lnTo>
                    <a:lnTo>
                      <a:pt x="24" y="6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13" y="6"/>
                    </a:lnTo>
                    <a:lnTo>
                      <a:pt x="7" y="11"/>
                    </a:lnTo>
                    <a:lnTo>
                      <a:pt x="0" y="13"/>
                    </a:lnTo>
                    <a:lnTo>
                      <a:pt x="7" y="17"/>
                    </a:lnTo>
                    <a:lnTo>
                      <a:pt x="7" y="19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32" name="Freeform 93"/>
              <p:cNvSpPr>
                <a:spLocks/>
              </p:cNvSpPr>
              <p:nvPr/>
            </p:nvSpPr>
            <p:spPr bwMode="auto">
              <a:xfrm>
                <a:off x="4076970" y="1801605"/>
                <a:ext cx="26899" cy="16569"/>
              </a:xfrm>
              <a:custGeom>
                <a:avLst/>
                <a:gdLst>
                  <a:gd name="T0" fmla="*/ 7 w 28"/>
                  <a:gd name="T1" fmla="*/ 19 h 19"/>
                  <a:gd name="T2" fmla="*/ 21 w 28"/>
                  <a:gd name="T3" fmla="*/ 17 h 19"/>
                  <a:gd name="T4" fmla="*/ 28 w 28"/>
                  <a:gd name="T5" fmla="*/ 13 h 19"/>
                  <a:gd name="T6" fmla="*/ 24 w 28"/>
                  <a:gd name="T7" fmla="*/ 6 h 19"/>
                  <a:gd name="T8" fmla="*/ 17 w 28"/>
                  <a:gd name="T9" fmla="*/ 0 h 19"/>
                  <a:gd name="T10" fmla="*/ 11 w 28"/>
                  <a:gd name="T11" fmla="*/ 0 h 19"/>
                  <a:gd name="T12" fmla="*/ 13 w 28"/>
                  <a:gd name="T13" fmla="*/ 6 h 19"/>
                  <a:gd name="T14" fmla="*/ 7 w 28"/>
                  <a:gd name="T15" fmla="*/ 11 h 19"/>
                  <a:gd name="T16" fmla="*/ 0 w 28"/>
                  <a:gd name="T17" fmla="*/ 13 h 19"/>
                  <a:gd name="T18" fmla="*/ 7 w 28"/>
                  <a:gd name="T19" fmla="*/ 17 h 19"/>
                  <a:gd name="T20" fmla="*/ 7 w 28"/>
                  <a:gd name="T2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19">
                    <a:moveTo>
                      <a:pt x="7" y="19"/>
                    </a:moveTo>
                    <a:lnTo>
                      <a:pt x="21" y="17"/>
                    </a:lnTo>
                    <a:lnTo>
                      <a:pt x="28" y="13"/>
                    </a:lnTo>
                    <a:lnTo>
                      <a:pt x="24" y="6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13" y="6"/>
                    </a:lnTo>
                    <a:lnTo>
                      <a:pt x="7" y="11"/>
                    </a:lnTo>
                    <a:lnTo>
                      <a:pt x="0" y="13"/>
                    </a:lnTo>
                    <a:lnTo>
                      <a:pt x="7" y="17"/>
                    </a:lnTo>
                    <a:lnTo>
                      <a:pt x="7" y="19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33" name="Freeform 94"/>
              <p:cNvSpPr>
                <a:spLocks/>
              </p:cNvSpPr>
              <p:nvPr/>
            </p:nvSpPr>
            <p:spPr bwMode="auto">
              <a:xfrm>
                <a:off x="3853129" y="2216696"/>
                <a:ext cx="252661" cy="396779"/>
              </a:xfrm>
              <a:custGeom>
                <a:avLst/>
                <a:gdLst>
                  <a:gd name="T0" fmla="*/ 24 w 263"/>
                  <a:gd name="T1" fmla="*/ 289 h 455"/>
                  <a:gd name="T2" fmla="*/ 24 w 263"/>
                  <a:gd name="T3" fmla="*/ 304 h 455"/>
                  <a:gd name="T4" fmla="*/ 30 w 263"/>
                  <a:gd name="T5" fmla="*/ 319 h 455"/>
                  <a:gd name="T6" fmla="*/ 35 w 263"/>
                  <a:gd name="T7" fmla="*/ 332 h 455"/>
                  <a:gd name="T8" fmla="*/ 37 w 263"/>
                  <a:gd name="T9" fmla="*/ 355 h 455"/>
                  <a:gd name="T10" fmla="*/ 30 w 263"/>
                  <a:gd name="T11" fmla="*/ 370 h 455"/>
                  <a:gd name="T12" fmla="*/ 20 w 263"/>
                  <a:gd name="T13" fmla="*/ 391 h 455"/>
                  <a:gd name="T14" fmla="*/ 7 w 263"/>
                  <a:gd name="T15" fmla="*/ 404 h 455"/>
                  <a:gd name="T16" fmla="*/ 7 w 263"/>
                  <a:gd name="T17" fmla="*/ 411 h 455"/>
                  <a:gd name="T18" fmla="*/ 4 w 263"/>
                  <a:gd name="T19" fmla="*/ 426 h 455"/>
                  <a:gd name="T20" fmla="*/ 0 w 263"/>
                  <a:gd name="T21" fmla="*/ 447 h 455"/>
                  <a:gd name="T22" fmla="*/ 13 w 263"/>
                  <a:gd name="T23" fmla="*/ 455 h 455"/>
                  <a:gd name="T24" fmla="*/ 13 w 263"/>
                  <a:gd name="T25" fmla="*/ 441 h 455"/>
                  <a:gd name="T26" fmla="*/ 34 w 263"/>
                  <a:gd name="T27" fmla="*/ 439 h 455"/>
                  <a:gd name="T28" fmla="*/ 43 w 263"/>
                  <a:gd name="T29" fmla="*/ 445 h 455"/>
                  <a:gd name="T30" fmla="*/ 49 w 263"/>
                  <a:gd name="T31" fmla="*/ 438 h 455"/>
                  <a:gd name="T32" fmla="*/ 77 w 263"/>
                  <a:gd name="T33" fmla="*/ 441 h 455"/>
                  <a:gd name="T34" fmla="*/ 88 w 263"/>
                  <a:gd name="T35" fmla="*/ 441 h 455"/>
                  <a:gd name="T36" fmla="*/ 92 w 263"/>
                  <a:gd name="T37" fmla="*/ 432 h 455"/>
                  <a:gd name="T38" fmla="*/ 105 w 263"/>
                  <a:gd name="T39" fmla="*/ 423 h 455"/>
                  <a:gd name="T40" fmla="*/ 116 w 263"/>
                  <a:gd name="T41" fmla="*/ 432 h 455"/>
                  <a:gd name="T42" fmla="*/ 126 w 263"/>
                  <a:gd name="T43" fmla="*/ 430 h 455"/>
                  <a:gd name="T44" fmla="*/ 129 w 263"/>
                  <a:gd name="T45" fmla="*/ 415 h 455"/>
                  <a:gd name="T46" fmla="*/ 143 w 263"/>
                  <a:gd name="T47" fmla="*/ 404 h 455"/>
                  <a:gd name="T48" fmla="*/ 146 w 263"/>
                  <a:gd name="T49" fmla="*/ 400 h 455"/>
                  <a:gd name="T50" fmla="*/ 160 w 263"/>
                  <a:gd name="T51" fmla="*/ 413 h 455"/>
                  <a:gd name="T52" fmla="*/ 178 w 263"/>
                  <a:gd name="T53" fmla="*/ 411 h 455"/>
                  <a:gd name="T54" fmla="*/ 180 w 263"/>
                  <a:gd name="T55" fmla="*/ 396 h 455"/>
                  <a:gd name="T56" fmla="*/ 191 w 263"/>
                  <a:gd name="T57" fmla="*/ 383 h 455"/>
                  <a:gd name="T58" fmla="*/ 201 w 263"/>
                  <a:gd name="T59" fmla="*/ 364 h 455"/>
                  <a:gd name="T60" fmla="*/ 212 w 263"/>
                  <a:gd name="T61" fmla="*/ 353 h 455"/>
                  <a:gd name="T62" fmla="*/ 212 w 263"/>
                  <a:gd name="T63" fmla="*/ 338 h 455"/>
                  <a:gd name="T64" fmla="*/ 218 w 263"/>
                  <a:gd name="T65" fmla="*/ 330 h 455"/>
                  <a:gd name="T66" fmla="*/ 233 w 263"/>
                  <a:gd name="T67" fmla="*/ 332 h 455"/>
                  <a:gd name="T68" fmla="*/ 261 w 263"/>
                  <a:gd name="T69" fmla="*/ 317 h 455"/>
                  <a:gd name="T70" fmla="*/ 255 w 263"/>
                  <a:gd name="T71" fmla="*/ 304 h 455"/>
                  <a:gd name="T72" fmla="*/ 254 w 263"/>
                  <a:gd name="T73" fmla="*/ 289 h 455"/>
                  <a:gd name="T74" fmla="*/ 237 w 263"/>
                  <a:gd name="T75" fmla="*/ 105 h 455"/>
                  <a:gd name="T76" fmla="*/ 216 w 263"/>
                  <a:gd name="T77" fmla="*/ 0 h 455"/>
                  <a:gd name="T78" fmla="*/ 66 w 263"/>
                  <a:gd name="T79" fmla="*/ 16 h 455"/>
                  <a:gd name="T80" fmla="*/ 47 w 263"/>
                  <a:gd name="T81" fmla="*/ 28 h 455"/>
                  <a:gd name="T82" fmla="*/ 26 w 263"/>
                  <a:gd name="T83" fmla="*/ 37 h 455"/>
                  <a:gd name="T84" fmla="*/ 7 w 263"/>
                  <a:gd name="T85" fmla="*/ 28 h 455"/>
                  <a:gd name="T86" fmla="*/ 32 w 263"/>
                  <a:gd name="T87" fmla="*/ 282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3" h="455">
                    <a:moveTo>
                      <a:pt x="32" y="282"/>
                    </a:moveTo>
                    <a:lnTo>
                      <a:pt x="24" y="289"/>
                    </a:lnTo>
                    <a:lnTo>
                      <a:pt x="28" y="297"/>
                    </a:lnTo>
                    <a:lnTo>
                      <a:pt x="24" y="304"/>
                    </a:lnTo>
                    <a:lnTo>
                      <a:pt x="24" y="312"/>
                    </a:lnTo>
                    <a:lnTo>
                      <a:pt x="30" y="319"/>
                    </a:lnTo>
                    <a:lnTo>
                      <a:pt x="35" y="327"/>
                    </a:lnTo>
                    <a:lnTo>
                      <a:pt x="35" y="332"/>
                    </a:lnTo>
                    <a:lnTo>
                      <a:pt x="39" y="347"/>
                    </a:lnTo>
                    <a:lnTo>
                      <a:pt x="37" y="355"/>
                    </a:lnTo>
                    <a:lnTo>
                      <a:pt x="35" y="355"/>
                    </a:lnTo>
                    <a:lnTo>
                      <a:pt x="30" y="370"/>
                    </a:lnTo>
                    <a:lnTo>
                      <a:pt x="28" y="376"/>
                    </a:lnTo>
                    <a:lnTo>
                      <a:pt x="20" y="391"/>
                    </a:lnTo>
                    <a:lnTo>
                      <a:pt x="15" y="398"/>
                    </a:lnTo>
                    <a:lnTo>
                      <a:pt x="7" y="404"/>
                    </a:lnTo>
                    <a:lnTo>
                      <a:pt x="7" y="411"/>
                    </a:lnTo>
                    <a:lnTo>
                      <a:pt x="7" y="411"/>
                    </a:lnTo>
                    <a:lnTo>
                      <a:pt x="5" y="426"/>
                    </a:lnTo>
                    <a:lnTo>
                      <a:pt x="4" y="426"/>
                    </a:lnTo>
                    <a:lnTo>
                      <a:pt x="4" y="439"/>
                    </a:lnTo>
                    <a:lnTo>
                      <a:pt x="0" y="447"/>
                    </a:lnTo>
                    <a:lnTo>
                      <a:pt x="5" y="455"/>
                    </a:lnTo>
                    <a:lnTo>
                      <a:pt x="13" y="455"/>
                    </a:lnTo>
                    <a:lnTo>
                      <a:pt x="17" y="449"/>
                    </a:lnTo>
                    <a:lnTo>
                      <a:pt x="13" y="441"/>
                    </a:lnTo>
                    <a:lnTo>
                      <a:pt x="28" y="443"/>
                    </a:lnTo>
                    <a:lnTo>
                      <a:pt x="34" y="439"/>
                    </a:lnTo>
                    <a:lnTo>
                      <a:pt x="35" y="447"/>
                    </a:lnTo>
                    <a:lnTo>
                      <a:pt x="43" y="445"/>
                    </a:lnTo>
                    <a:lnTo>
                      <a:pt x="39" y="438"/>
                    </a:lnTo>
                    <a:lnTo>
                      <a:pt x="49" y="438"/>
                    </a:lnTo>
                    <a:lnTo>
                      <a:pt x="56" y="434"/>
                    </a:lnTo>
                    <a:lnTo>
                      <a:pt x="77" y="441"/>
                    </a:lnTo>
                    <a:lnTo>
                      <a:pt x="84" y="447"/>
                    </a:lnTo>
                    <a:lnTo>
                      <a:pt x="88" y="441"/>
                    </a:lnTo>
                    <a:lnTo>
                      <a:pt x="88" y="438"/>
                    </a:lnTo>
                    <a:lnTo>
                      <a:pt x="92" y="432"/>
                    </a:lnTo>
                    <a:lnTo>
                      <a:pt x="99" y="428"/>
                    </a:lnTo>
                    <a:lnTo>
                      <a:pt x="105" y="423"/>
                    </a:lnTo>
                    <a:lnTo>
                      <a:pt x="111" y="430"/>
                    </a:lnTo>
                    <a:lnTo>
                      <a:pt x="116" y="432"/>
                    </a:lnTo>
                    <a:lnTo>
                      <a:pt x="124" y="436"/>
                    </a:lnTo>
                    <a:lnTo>
                      <a:pt x="126" y="430"/>
                    </a:lnTo>
                    <a:lnTo>
                      <a:pt x="131" y="423"/>
                    </a:lnTo>
                    <a:lnTo>
                      <a:pt x="129" y="415"/>
                    </a:lnTo>
                    <a:lnTo>
                      <a:pt x="135" y="409"/>
                    </a:lnTo>
                    <a:lnTo>
                      <a:pt x="143" y="404"/>
                    </a:lnTo>
                    <a:lnTo>
                      <a:pt x="139" y="398"/>
                    </a:lnTo>
                    <a:lnTo>
                      <a:pt x="146" y="400"/>
                    </a:lnTo>
                    <a:lnTo>
                      <a:pt x="152" y="411"/>
                    </a:lnTo>
                    <a:lnTo>
                      <a:pt x="160" y="413"/>
                    </a:lnTo>
                    <a:lnTo>
                      <a:pt x="173" y="415"/>
                    </a:lnTo>
                    <a:lnTo>
                      <a:pt x="178" y="411"/>
                    </a:lnTo>
                    <a:lnTo>
                      <a:pt x="180" y="404"/>
                    </a:lnTo>
                    <a:lnTo>
                      <a:pt x="180" y="396"/>
                    </a:lnTo>
                    <a:lnTo>
                      <a:pt x="184" y="383"/>
                    </a:lnTo>
                    <a:lnTo>
                      <a:pt x="191" y="383"/>
                    </a:lnTo>
                    <a:lnTo>
                      <a:pt x="199" y="377"/>
                    </a:lnTo>
                    <a:lnTo>
                      <a:pt x="201" y="364"/>
                    </a:lnTo>
                    <a:lnTo>
                      <a:pt x="208" y="361"/>
                    </a:lnTo>
                    <a:lnTo>
                      <a:pt x="212" y="353"/>
                    </a:lnTo>
                    <a:lnTo>
                      <a:pt x="216" y="345"/>
                    </a:lnTo>
                    <a:lnTo>
                      <a:pt x="212" y="338"/>
                    </a:lnTo>
                    <a:lnTo>
                      <a:pt x="212" y="330"/>
                    </a:lnTo>
                    <a:lnTo>
                      <a:pt x="218" y="330"/>
                    </a:lnTo>
                    <a:lnTo>
                      <a:pt x="225" y="327"/>
                    </a:lnTo>
                    <a:lnTo>
                      <a:pt x="233" y="332"/>
                    </a:lnTo>
                    <a:lnTo>
                      <a:pt x="246" y="321"/>
                    </a:lnTo>
                    <a:lnTo>
                      <a:pt x="261" y="317"/>
                    </a:lnTo>
                    <a:lnTo>
                      <a:pt x="263" y="312"/>
                    </a:lnTo>
                    <a:lnTo>
                      <a:pt x="255" y="304"/>
                    </a:lnTo>
                    <a:lnTo>
                      <a:pt x="257" y="297"/>
                    </a:lnTo>
                    <a:lnTo>
                      <a:pt x="254" y="289"/>
                    </a:lnTo>
                    <a:lnTo>
                      <a:pt x="257" y="285"/>
                    </a:lnTo>
                    <a:lnTo>
                      <a:pt x="237" y="105"/>
                    </a:lnTo>
                    <a:lnTo>
                      <a:pt x="223" y="5"/>
                    </a:lnTo>
                    <a:lnTo>
                      <a:pt x="216" y="0"/>
                    </a:lnTo>
                    <a:lnTo>
                      <a:pt x="103" y="13"/>
                    </a:lnTo>
                    <a:lnTo>
                      <a:pt x="66" y="16"/>
                    </a:lnTo>
                    <a:lnTo>
                      <a:pt x="62" y="16"/>
                    </a:lnTo>
                    <a:lnTo>
                      <a:pt x="47" y="28"/>
                    </a:lnTo>
                    <a:lnTo>
                      <a:pt x="34" y="35"/>
                    </a:lnTo>
                    <a:lnTo>
                      <a:pt x="26" y="37"/>
                    </a:lnTo>
                    <a:lnTo>
                      <a:pt x="17" y="35"/>
                    </a:lnTo>
                    <a:lnTo>
                      <a:pt x="7" y="28"/>
                    </a:lnTo>
                    <a:lnTo>
                      <a:pt x="7" y="32"/>
                    </a:lnTo>
                    <a:lnTo>
                      <a:pt x="32" y="282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grpSp>
            <p:nvGrpSpPr>
              <p:cNvPr id="449" name="Group 448"/>
              <p:cNvGrpSpPr/>
              <p:nvPr/>
            </p:nvGrpSpPr>
            <p:grpSpPr>
              <a:xfrm>
                <a:off x="3605271" y="1704808"/>
                <a:ext cx="623488" cy="525840"/>
                <a:chOff x="3605271" y="1704808"/>
                <a:chExt cx="623488" cy="525840"/>
              </a:xfrm>
              <a:grpFill/>
            </p:grpSpPr>
            <p:sp>
              <p:nvSpPr>
                <p:cNvPr id="318" name="Freeform 79"/>
                <p:cNvSpPr>
                  <a:spLocks/>
                </p:cNvSpPr>
                <p:nvPr/>
              </p:nvSpPr>
              <p:spPr bwMode="auto">
                <a:xfrm>
                  <a:off x="3728240" y="1704808"/>
                  <a:ext cx="59563" cy="47962"/>
                </a:xfrm>
                <a:custGeom>
                  <a:avLst/>
                  <a:gdLst>
                    <a:gd name="T0" fmla="*/ 2 w 62"/>
                    <a:gd name="T1" fmla="*/ 41 h 55"/>
                    <a:gd name="T2" fmla="*/ 15 w 62"/>
                    <a:gd name="T3" fmla="*/ 41 h 55"/>
                    <a:gd name="T4" fmla="*/ 15 w 62"/>
                    <a:gd name="T5" fmla="*/ 34 h 55"/>
                    <a:gd name="T6" fmla="*/ 15 w 62"/>
                    <a:gd name="T7" fmla="*/ 41 h 55"/>
                    <a:gd name="T8" fmla="*/ 9 w 62"/>
                    <a:gd name="T9" fmla="*/ 49 h 55"/>
                    <a:gd name="T10" fmla="*/ 17 w 62"/>
                    <a:gd name="T11" fmla="*/ 55 h 55"/>
                    <a:gd name="T12" fmla="*/ 26 w 62"/>
                    <a:gd name="T13" fmla="*/ 36 h 55"/>
                    <a:gd name="T14" fmla="*/ 38 w 62"/>
                    <a:gd name="T15" fmla="*/ 23 h 55"/>
                    <a:gd name="T16" fmla="*/ 45 w 62"/>
                    <a:gd name="T17" fmla="*/ 17 h 55"/>
                    <a:gd name="T18" fmla="*/ 47 w 62"/>
                    <a:gd name="T19" fmla="*/ 9 h 55"/>
                    <a:gd name="T20" fmla="*/ 56 w 62"/>
                    <a:gd name="T21" fmla="*/ 9 h 55"/>
                    <a:gd name="T22" fmla="*/ 62 w 62"/>
                    <a:gd name="T23" fmla="*/ 4 h 55"/>
                    <a:gd name="T24" fmla="*/ 56 w 62"/>
                    <a:gd name="T25" fmla="*/ 0 h 55"/>
                    <a:gd name="T26" fmla="*/ 41 w 62"/>
                    <a:gd name="T27" fmla="*/ 0 h 55"/>
                    <a:gd name="T28" fmla="*/ 26 w 62"/>
                    <a:gd name="T29" fmla="*/ 6 h 55"/>
                    <a:gd name="T30" fmla="*/ 13 w 62"/>
                    <a:gd name="T31" fmla="*/ 13 h 55"/>
                    <a:gd name="T32" fmla="*/ 4 w 62"/>
                    <a:gd name="T33" fmla="*/ 28 h 55"/>
                    <a:gd name="T34" fmla="*/ 0 w 62"/>
                    <a:gd name="T35" fmla="*/ 34 h 55"/>
                    <a:gd name="T36" fmla="*/ 2 w 62"/>
                    <a:gd name="T37" fmla="*/ 41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2" h="55">
                      <a:moveTo>
                        <a:pt x="2" y="41"/>
                      </a:moveTo>
                      <a:lnTo>
                        <a:pt x="15" y="41"/>
                      </a:lnTo>
                      <a:lnTo>
                        <a:pt x="15" y="34"/>
                      </a:lnTo>
                      <a:lnTo>
                        <a:pt x="15" y="41"/>
                      </a:lnTo>
                      <a:lnTo>
                        <a:pt x="9" y="49"/>
                      </a:lnTo>
                      <a:lnTo>
                        <a:pt x="17" y="55"/>
                      </a:lnTo>
                      <a:lnTo>
                        <a:pt x="26" y="36"/>
                      </a:lnTo>
                      <a:lnTo>
                        <a:pt x="38" y="23"/>
                      </a:lnTo>
                      <a:lnTo>
                        <a:pt x="45" y="17"/>
                      </a:lnTo>
                      <a:lnTo>
                        <a:pt x="47" y="9"/>
                      </a:lnTo>
                      <a:lnTo>
                        <a:pt x="56" y="9"/>
                      </a:lnTo>
                      <a:lnTo>
                        <a:pt x="62" y="4"/>
                      </a:lnTo>
                      <a:lnTo>
                        <a:pt x="56" y="0"/>
                      </a:lnTo>
                      <a:lnTo>
                        <a:pt x="41" y="0"/>
                      </a:lnTo>
                      <a:lnTo>
                        <a:pt x="26" y="6"/>
                      </a:lnTo>
                      <a:lnTo>
                        <a:pt x="13" y="13"/>
                      </a:lnTo>
                      <a:lnTo>
                        <a:pt x="4" y="28"/>
                      </a:lnTo>
                      <a:lnTo>
                        <a:pt x="0" y="34"/>
                      </a:lnTo>
                      <a:lnTo>
                        <a:pt x="2" y="41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21" name="Freeform 82"/>
                <p:cNvSpPr>
                  <a:spLocks/>
                </p:cNvSpPr>
                <p:nvPr/>
              </p:nvSpPr>
              <p:spPr bwMode="auto">
                <a:xfrm>
                  <a:off x="3605271" y="1734458"/>
                  <a:ext cx="469777" cy="190105"/>
                </a:xfrm>
                <a:custGeom>
                  <a:avLst/>
                  <a:gdLst>
                    <a:gd name="T0" fmla="*/ 25 w 489"/>
                    <a:gd name="T1" fmla="*/ 101 h 218"/>
                    <a:gd name="T2" fmla="*/ 124 w 489"/>
                    <a:gd name="T3" fmla="*/ 126 h 218"/>
                    <a:gd name="T4" fmla="*/ 152 w 489"/>
                    <a:gd name="T5" fmla="*/ 128 h 218"/>
                    <a:gd name="T6" fmla="*/ 179 w 489"/>
                    <a:gd name="T7" fmla="*/ 146 h 218"/>
                    <a:gd name="T8" fmla="*/ 203 w 489"/>
                    <a:gd name="T9" fmla="*/ 158 h 218"/>
                    <a:gd name="T10" fmla="*/ 203 w 489"/>
                    <a:gd name="T11" fmla="*/ 180 h 218"/>
                    <a:gd name="T12" fmla="*/ 209 w 489"/>
                    <a:gd name="T13" fmla="*/ 190 h 218"/>
                    <a:gd name="T14" fmla="*/ 213 w 489"/>
                    <a:gd name="T15" fmla="*/ 210 h 218"/>
                    <a:gd name="T16" fmla="*/ 224 w 489"/>
                    <a:gd name="T17" fmla="*/ 218 h 218"/>
                    <a:gd name="T18" fmla="*/ 241 w 489"/>
                    <a:gd name="T19" fmla="*/ 178 h 218"/>
                    <a:gd name="T20" fmla="*/ 254 w 489"/>
                    <a:gd name="T21" fmla="*/ 150 h 218"/>
                    <a:gd name="T22" fmla="*/ 260 w 489"/>
                    <a:gd name="T23" fmla="*/ 135 h 218"/>
                    <a:gd name="T24" fmla="*/ 273 w 489"/>
                    <a:gd name="T25" fmla="*/ 143 h 218"/>
                    <a:gd name="T26" fmla="*/ 288 w 489"/>
                    <a:gd name="T27" fmla="*/ 128 h 218"/>
                    <a:gd name="T28" fmla="*/ 288 w 489"/>
                    <a:gd name="T29" fmla="*/ 143 h 218"/>
                    <a:gd name="T30" fmla="*/ 295 w 489"/>
                    <a:gd name="T31" fmla="*/ 145 h 218"/>
                    <a:gd name="T32" fmla="*/ 310 w 489"/>
                    <a:gd name="T33" fmla="*/ 124 h 218"/>
                    <a:gd name="T34" fmla="*/ 327 w 489"/>
                    <a:gd name="T35" fmla="*/ 113 h 218"/>
                    <a:gd name="T36" fmla="*/ 354 w 489"/>
                    <a:gd name="T37" fmla="*/ 109 h 218"/>
                    <a:gd name="T38" fmla="*/ 380 w 489"/>
                    <a:gd name="T39" fmla="*/ 94 h 218"/>
                    <a:gd name="T40" fmla="*/ 408 w 489"/>
                    <a:gd name="T41" fmla="*/ 99 h 218"/>
                    <a:gd name="T42" fmla="*/ 429 w 489"/>
                    <a:gd name="T43" fmla="*/ 101 h 218"/>
                    <a:gd name="T44" fmla="*/ 444 w 489"/>
                    <a:gd name="T45" fmla="*/ 96 h 218"/>
                    <a:gd name="T46" fmla="*/ 489 w 489"/>
                    <a:gd name="T47" fmla="*/ 92 h 218"/>
                    <a:gd name="T48" fmla="*/ 478 w 489"/>
                    <a:gd name="T49" fmla="*/ 77 h 218"/>
                    <a:gd name="T50" fmla="*/ 463 w 489"/>
                    <a:gd name="T51" fmla="*/ 68 h 218"/>
                    <a:gd name="T52" fmla="*/ 455 w 489"/>
                    <a:gd name="T53" fmla="*/ 47 h 218"/>
                    <a:gd name="T54" fmla="*/ 444 w 489"/>
                    <a:gd name="T55" fmla="*/ 43 h 218"/>
                    <a:gd name="T56" fmla="*/ 429 w 489"/>
                    <a:gd name="T57" fmla="*/ 45 h 218"/>
                    <a:gd name="T58" fmla="*/ 399 w 489"/>
                    <a:gd name="T59" fmla="*/ 43 h 218"/>
                    <a:gd name="T60" fmla="*/ 378 w 489"/>
                    <a:gd name="T61" fmla="*/ 22 h 218"/>
                    <a:gd name="T62" fmla="*/ 329 w 489"/>
                    <a:gd name="T63" fmla="*/ 34 h 218"/>
                    <a:gd name="T64" fmla="*/ 305 w 489"/>
                    <a:gd name="T65" fmla="*/ 47 h 218"/>
                    <a:gd name="T66" fmla="*/ 275 w 489"/>
                    <a:gd name="T67" fmla="*/ 66 h 218"/>
                    <a:gd name="T68" fmla="*/ 254 w 489"/>
                    <a:gd name="T69" fmla="*/ 60 h 218"/>
                    <a:gd name="T70" fmla="*/ 224 w 489"/>
                    <a:gd name="T71" fmla="*/ 62 h 218"/>
                    <a:gd name="T72" fmla="*/ 203 w 489"/>
                    <a:gd name="T73" fmla="*/ 36 h 218"/>
                    <a:gd name="T74" fmla="*/ 183 w 489"/>
                    <a:gd name="T75" fmla="*/ 26 h 218"/>
                    <a:gd name="T76" fmla="*/ 158 w 489"/>
                    <a:gd name="T77" fmla="*/ 36 h 218"/>
                    <a:gd name="T78" fmla="*/ 154 w 489"/>
                    <a:gd name="T79" fmla="*/ 30 h 218"/>
                    <a:gd name="T80" fmla="*/ 143 w 489"/>
                    <a:gd name="T81" fmla="*/ 43 h 218"/>
                    <a:gd name="T82" fmla="*/ 130 w 489"/>
                    <a:gd name="T83" fmla="*/ 9 h 218"/>
                    <a:gd name="T84" fmla="*/ 107 w 489"/>
                    <a:gd name="T85" fmla="*/ 17 h 218"/>
                    <a:gd name="T86" fmla="*/ 81 w 489"/>
                    <a:gd name="T87" fmla="*/ 36 h 218"/>
                    <a:gd name="T88" fmla="*/ 60 w 489"/>
                    <a:gd name="T89" fmla="*/ 45 h 218"/>
                    <a:gd name="T90" fmla="*/ 40 w 489"/>
                    <a:gd name="T91" fmla="*/ 51 h 218"/>
                    <a:gd name="T92" fmla="*/ 0 w 489"/>
                    <a:gd name="T93" fmla="*/ 77 h 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489" h="218">
                      <a:moveTo>
                        <a:pt x="11" y="83"/>
                      </a:moveTo>
                      <a:lnTo>
                        <a:pt x="17" y="88"/>
                      </a:lnTo>
                      <a:lnTo>
                        <a:pt x="25" y="101"/>
                      </a:lnTo>
                      <a:lnTo>
                        <a:pt x="98" y="116"/>
                      </a:lnTo>
                      <a:lnTo>
                        <a:pt x="122" y="126"/>
                      </a:lnTo>
                      <a:lnTo>
                        <a:pt x="124" y="126"/>
                      </a:lnTo>
                      <a:lnTo>
                        <a:pt x="139" y="128"/>
                      </a:lnTo>
                      <a:lnTo>
                        <a:pt x="145" y="126"/>
                      </a:lnTo>
                      <a:lnTo>
                        <a:pt x="152" y="128"/>
                      </a:lnTo>
                      <a:lnTo>
                        <a:pt x="169" y="130"/>
                      </a:lnTo>
                      <a:lnTo>
                        <a:pt x="177" y="135"/>
                      </a:lnTo>
                      <a:lnTo>
                        <a:pt x="179" y="146"/>
                      </a:lnTo>
                      <a:lnTo>
                        <a:pt x="184" y="148"/>
                      </a:lnTo>
                      <a:lnTo>
                        <a:pt x="196" y="150"/>
                      </a:lnTo>
                      <a:lnTo>
                        <a:pt x="203" y="158"/>
                      </a:lnTo>
                      <a:lnTo>
                        <a:pt x="201" y="160"/>
                      </a:lnTo>
                      <a:lnTo>
                        <a:pt x="203" y="165"/>
                      </a:lnTo>
                      <a:lnTo>
                        <a:pt x="203" y="180"/>
                      </a:lnTo>
                      <a:lnTo>
                        <a:pt x="199" y="186"/>
                      </a:lnTo>
                      <a:lnTo>
                        <a:pt x="203" y="193"/>
                      </a:lnTo>
                      <a:lnTo>
                        <a:pt x="209" y="190"/>
                      </a:lnTo>
                      <a:lnTo>
                        <a:pt x="216" y="190"/>
                      </a:lnTo>
                      <a:lnTo>
                        <a:pt x="213" y="205"/>
                      </a:lnTo>
                      <a:lnTo>
                        <a:pt x="213" y="210"/>
                      </a:lnTo>
                      <a:lnTo>
                        <a:pt x="220" y="216"/>
                      </a:lnTo>
                      <a:lnTo>
                        <a:pt x="220" y="216"/>
                      </a:lnTo>
                      <a:lnTo>
                        <a:pt x="224" y="218"/>
                      </a:lnTo>
                      <a:lnTo>
                        <a:pt x="224" y="210"/>
                      </a:lnTo>
                      <a:lnTo>
                        <a:pt x="231" y="199"/>
                      </a:lnTo>
                      <a:lnTo>
                        <a:pt x="241" y="178"/>
                      </a:lnTo>
                      <a:lnTo>
                        <a:pt x="245" y="165"/>
                      </a:lnTo>
                      <a:lnTo>
                        <a:pt x="248" y="158"/>
                      </a:lnTo>
                      <a:lnTo>
                        <a:pt x="254" y="150"/>
                      </a:lnTo>
                      <a:lnTo>
                        <a:pt x="258" y="137"/>
                      </a:lnTo>
                      <a:lnTo>
                        <a:pt x="263" y="128"/>
                      </a:lnTo>
                      <a:lnTo>
                        <a:pt x="260" y="135"/>
                      </a:lnTo>
                      <a:lnTo>
                        <a:pt x="263" y="141"/>
                      </a:lnTo>
                      <a:lnTo>
                        <a:pt x="267" y="148"/>
                      </a:lnTo>
                      <a:lnTo>
                        <a:pt x="273" y="143"/>
                      </a:lnTo>
                      <a:lnTo>
                        <a:pt x="275" y="139"/>
                      </a:lnTo>
                      <a:lnTo>
                        <a:pt x="282" y="131"/>
                      </a:lnTo>
                      <a:lnTo>
                        <a:pt x="288" y="128"/>
                      </a:lnTo>
                      <a:lnTo>
                        <a:pt x="295" y="130"/>
                      </a:lnTo>
                      <a:lnTo>
                        <a:pt x="293" y="137"/>
                      </a:lnTo>
                      <a:lnTo>
                        <a:pt x="288" y="143"/>
                      </a:lnTo>
                      <a:lnTo>
                        <a:pt x="284" y="150"/>
                      </a:lnTo>
                      <a:lnTo>
                        <a:pt x="292" y="152"/>
                      </a:lnTo>
                      <a:lnTo>
                        <a:pt x="295" y="145"/>
                      </a:lnTo>
                      <a:lnTo>
                        <a:pt x="303" y="137"/>
                      </a:lnTo>
                      <a:lnTo>
                        <a:pt x="309" y="131"/>
                      </a:lnTo>
                      <a:lnTo>
                        <a:pt x="310" y="124"/>
                      </a:lnTo>
                      <a:lnTo>
                        <a:pt x="314" y="118"/>
                      </a:lnTo>
                      <a:lnTo>
                        <a:pt x="320" y="115"/>
                      </a:lnTo>
                      <a:lnTo>
                        <a:pt x="327" y="113"/>
                      </a:lnTo>
                      <a:lnTo>
                        <a:pt x="333" y="115"/>
                      </a:lnTo>
                      <a:lnTo>
                        <a:pt x="346" y="109"/>
                      </a:lnTo>
                      <a:lnTo>
                        <a:pt x="354" y="109"/>
                      </a:lnTo>
                      <a:lnTo>
                        <a:pt x="361" y="105"/>
                      </a:lnTo>
                      <a:lnTo>
                        <a:pt x="367" y="96"/>
                      </a:lnTo>
                      <a:lnTo>
                        <a:pt x="380" y="94"/>
                      </a:lnTo>
                      <a:lnTo>
                        <a:pt x="387" y="96"/>
                      </a:lnTo>
                      <a:lnTo>
                        <a:pt x="393" y="94"/>
                      </a:lnTo>
                      <a:lnTo>
                        <a:pt x="408" y="99"/>
                      </a:lnTo>
                      <a:lnTo>
                        <a:pt x="421" y="111"/>
                      </a:lnTo>
                      <a:lnTo>
                        <a:pt x="429" y="115"/>
                      </a:lnTo>
                      <a:lnTo>
                        <a:pt x="429" y="101"/>
                      </a:lnTo>
                      <a:lnTo>
                        <a:pt x="431" y="94"/>
                      </a:lnTo>
                      <a:lnTo>
                        <a:pt x="436" y="92"/>
                      </a:lnTo>
                      <a:lnTo>
                        <a:pt x="444" y="96"/>
                      </a:lnTo>
                      <a:lnTo>
                        <a:pt x="451" y="94"/>
                      </a:lnTo>
                      <a:lnTo>
                        <a:pt x="483" y="94"/>
                      </a:lnTo>
                      <a:lnTo>
                        <a:pt x="489" y="92"/>
                      </a:lnTo>
                      <a:lnTo>
                        <a:pt x="485" y="86"/>
                      </a:lnTo>
                      <a:lnTo>
                        <a:pt x="478" y="83"/>
                      </a:lnTo>
                      <a:lnTo>
                        <a:pt x="478" y="77"/>
                      </a:lnTo>
                      <a:lnTo>
                        <a:pt x="470" y="73"/>
                      </a:lnTo>
                      <a:lnTo>
                        <a:pt x="468" y="73"/>
                      </a:lnTo>
                      <a:lnTo>
                        <a:pt x="463" y="68"/>
                      </a:lnTo>
                      <a:lnTo>
                        <a:pt x="463" y="60"/>
                      </a:lnTo>
                      <a:lnTo>
                        <a:pt x="459" y="54"/>
                      </a:lnTo>
                      <a:lnTo>
                        <a:pt x="455" y="47"/>
                      </a:lnTo>
                      <a:lnTo>
                        <a:pt x="449" y="39"/>
                      </a:lnTo>
                      <a:lnTo>
                        <a:pt x="444" y="41"/>
                      </a:lnTo>
                      <a:lnTo>
                        <a:pt x="444" y="43"/>
                      </a:lnTo>
                      <a:lnTo>
                        <a:pt x="440" y="49"/>
                      </a:lnTo>
                      <a:lnTo>
                        <a:pt x="433" y="51"/>
                      </a:lnTo>
                      <a:lnTo>
                        <a:pt x="429" y="45"/>
                      </a:lnTo>
                      <a:lnTo>
                        <a:pt x="416" y="51"/>
                      </a:lnTo>
                      <a:lnTo>
                        <a:pt x="401" y="49"/>
                      </a:lnTo>
                      <a:lnTo>
                        <a:pt x="399" y="43"/>
                      </a:lnTo>
                      <a:lnTo>
                        <a:pt x="397" y="17"/>
                      </a:lnTo>
                      <a:lnTo>
                        <a:pt x="384" y="21"/>
                      </a:lnTo>
                      <a:lnTo>
                        <a:pt x="378" y="22"/>
                      </a:lnTo>
                      <a:lnTo>
                        <a:pt x="365" y="30"/>
                      </a:lnTo>
                      <a:lnTo>
                        <a:pt x="357" y="32"/>
                      </a:lnTo>
                      <a:lnTo>
                        <a:pt x="329" y="34"/>
                      </a:lnTo>
                      <a:lnTo>
                        <a:pt x="324" y="37"/>
                      </a:lnTo>
                      <a:lnTo>
                        <a:pt x="312" y="39"/>
                      </a:lnTo>
                      <a:lnTo>
                        <a:pt x="305" y="47"/>
                      </a:lnTo>
                      <a:lnTo>
                        <a:pt x="292" y="54"/>
                      </a:lnTo>
                      <a:lnTo>
                        <a:pt x="280" y="69"/>
                      </a:lnTo>
                      <a:lnTo>
                        <a:pt x="275" y="66"/>
                      </a:lnTo>
                      <a:lnTo>
                        <a:pt x="267" y="68"/>
                      </a:lnTo>
                      <a:lnTo>
                        <a:pt x="260" y="66"/>
                      </a:lnTo>
                      <a:lnTo>
                        <a:pt x="254" y="60"/>
                      </a:lnTo>
                      <a:lnTo>
                        <a:pt x="237" y="66"/>
                      </a:lnTo>
                      <a:lnTo>
                        <a:pt x="231" y="66"/>
                      </a:lnTo>
                      <a:lnTo>
                        <a:pt x="224" y="62"/>
                      </a:lnTo>
                      <a:lnTo>
                        <a:pt x="220" y="56"/>
                      </a:lnTo>
                      <a:lnTo>
                        <a:pt x="207" y="43"/>
                      </a:lnTo>
                      <a:lnTo>
                        <a:pt x="203" y="36"/>
                      </a:lnTo>
                      <a:lnTo>
                        <a:pt x="198" y="34"/>
                      </a:lnTo>
                      <a:lnTo>
                        <a:pt x="190" y="28"/>
                      </a:lnTo>
                      <a:lnTo>
                        <a:pt x="183" y="26"/>
                      </a:lnTo>
                      <a:lnTo>
                        <a:pt x="169" y="26"/>
                      </a:lnTo>
                      <a:lnTo>
                        <a:pt x="162" y="28"/>
                      </a:lnTo>
                      <a:lnTo>
                        <a:pt x="158" y="36"/>
                      </a:lnTo>
                      <a:lnTo>
                        <a:pt x="154" y="37"/>
                      </a:lnTo>
                      <a:lnTo>
                        <a:pt x="160" y="24"/>
                      </a:lnTo>
                      <a:lnTo>
                        <a:pt x="154" y="30"/>
                      </a:lnTo>
                      <a:lnTo>
                        <a:pt x="147" y="34"/>
                      </a:lnTo>
                      <a:lnTo>
                        <a:pt x="145" y="41"/>
                      </a:lnTo>
                      <a:lnTo>
                        <a:pt x="143" y="43"/>
                      </a:lnTo>
                      <a:lnTo>
                        <a:pt x="141" y="37"/>
                      </a:lnTo>
                      <a:lnTo>
                        <a:pt x="141" y="22"/>
                      </a:lnTo>
                      <a:lnTo>
                        <a:pt x="130" y="9"/>
                      </a:lnTo>
                      <a:lnTo>
                        <a:pt x="126" y="7"/>
                      </a:lnTo>
                      <a:lnTo>
                        <a:pt x="121" y="0"/>
                      </a:lnTo>
                      <a:lnTo>
                        <a:pt x="107" y="17"/>
                      </a:lnTo>
                      <a:lnTo>
                        <a:pt x="104" y="22"/>
                      </a:lnTo>
                      <a:lnTo>
                        <a:pt x="89" y="28"/>
                      </a:lnTo>
                      <a:lnTo>
                        <a:pt x="81" y="36"/>
                      </a:lnTo>
                      <a:lnTo>
                        <a:pt x="75" y="41"/>
                      </a:lnTo>
                      <a:lnTo>
                        <a:pt x="68" y="43"/>
                      </a:lnTo>
                      <a:lnTo>
                        <a:pt x="60" y="45"/>
                      </a:lnTo>
                      <a:lnTo>
                        <a:pt x="55" y="47"/>
                      </a:lnTo>
                      <a:lnTo>
                        <a:pt x="47" y="47"/>
                      </a:lnTo>
                      <a:lnTo>
                        <a:pt x="40" y="51"/>
                      </a:lnTo>
                      <a:lnTo>
                        <a:pt x="27" y="64"/>
                      </a:lnTo>
                      <a:lnTo>
                        <a:pt x="6" y="73"/>
                      </a:lnTo>
                      <a:lnTo>
                        <a:pt x="0" y="77"/>
                      </a:lnTo>
                      <a:lnTo>
                        <a:pt x="4" y="81"/>
                      </a:lnTo>
                      <a:lnTo>
                        <a:pt x="11" y="83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30" name="Freeform 91"/>
                <p:cNvSpPr>
                  <a:spLocks/>
                </p:cNvSpPr>
                <p:nvPr/>
              </p:nvSpPr>
              <p:spPr bwMode="auto">
                <a:xfrm>
                  <a:off x="3957845" y="1848695"/>
                  <a:ext cx="6725" cy="14825"/>
                </a:xfrm>
                <a:custGeom>
                  <a:avLst/>
                  <a:gdLst>
                    <a:gd name="T0" fmla="*/ 2 w 7"/>
                    <a:gd name="T1" fmla="*/ 4 h 17"/>
                    <a:gd name="T2" fmla="*/ 0 w 7"/>
                    <a:gd name="T3" fmla="*/ 10 h 17"/>
                    <a:gd name="T4" fmla="*/ 0 w 7"/>
                    <a:gd name="T5" fmla="*/ 17 h 17"/>
                    <a:gd name="T6" fmla="*/ 7 w 7"/>
                    <a:gd name="T7" fmla="*/ 15 h 17"/>
                    <a:gd name="T8" fmla="*/ 7 w 7"/>
                    <a:gd name="T9" fmla="*/ 2 h 17"/>
                    <a:gd name="T10" fmla="*/ 7 w 7"/>
                    <a:gd name="T11" fmla="*/ 0 h 17"/>
                    <a:gd name="T12" fmla="*/ 2 w 7"/>
                    <a:gd name="T13" fmla="*/ 4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17">
                      <a:moveTo>
                        <a:pt x="2" y="4"/>
                      </a:moveTo>
                      <a:lnTo>
                        <a:pt x="0" y="10"/>
                      </a:lnTo>
                      <a:lnTo>
                        <a:pt x="0" y="17"/>
                      </a:lnTo>
                      <a:lnTo>
                        <a:pt x="7" y="15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35" name="Freeform 96"/>
                <p:cNvSpPr>
                  <a:spLocks/>
                </p:cNvSpPr>
                <p:nvPr/>
              </p:nvSpPr>
              <p:spPr bwMode="auto">
                <a:xfrm>
                  <a:off x="3910771" y="1837358"/>
                  <a:ext cx="317988" cy="393290"/>
                </a:xfrm>
                <a:custGeom>
                  <a:avLst/>
                  <a:gdLst>
                    <a:gd name="T0" fmla="*/ 163 w 331"/>
                    <a:gd name="T1" fmla="*/ 440 h 451"/>
                    <a:gd name="T2" fmla="*/ 272 w 331"/>
                    <a:gd name="T3" fmla="*/ 408 h 451"/>
                    <a:gd name="T4" fmla="*/ 288 w 331"/>
                    <a:gd name="T5" fmla="*/ 359 h 451"/>
                    <a:gd name="T6" fmla="*/ 299 w 331"/>
                    <a:gd name="T7" fmla="*/ 350 h 451"/>
                    <a:gd name="T8" fmla="*/ 308 w 331"/>
                    <a:gd name="T9" fmla="*/ 322 h 451"/>
                    <a:gd name="T10" fmla="*/ 319 w 331"/>
                    <a:gd name="T11" fmla="*/ 316 h 451"/>
                    <a:gd name="T12" fmla="*/ 325 w 331"/>
                    <a:gd name="T13" fmla="*/ 324 h 451"/>
                    <a:gd name="T14" fmla="*/ 329 w 331"/>
                    <a:gd name="T15" fmla="*/ 295 h 451"/>
                    <a:gd name="T16" fmla="*/ 331 w 331"/>
                    <a:gd name="T17" fmla="*/ 273 h 451"/>
                    <a:gd name="T18" fmla="*/ 319 w 331"/>
                    <a:gd name="T19" fmla="*/ 254 h 451"/>
                    <a:gd name="T20" fmla="*/ 308 w 331"/>
                    <a:gd name="T21" fmla="*/ 218 h 451"/>
                    <a:gd name="T22" fmla="*/ 286 w 331"/>
                    <a:gd name="T23" fmla="*/ 171 h 451"/>
                    <a:gd name="T24" fmla="*/ 261 w 331"/>
                    <a:gd name="T25" fmla="*/ 175 h 451"/>
                    <a:gd name="T26" fmla="*/ 241 w 331"/>
                    <a:gd name="T27" fmla="*/ 186 h 451"/>
                    <a:gd name="T28" fmla="*/ 233 w 331"/>
                    <a:gd name="T29" fmla="*/ 211 h 451"/>
                    <a:gd name="T30" fmla="*/ 218 w 331"/>
                    <a:gd name="T31" fmla="*/ 222 h 451"/>
                    <a:gd name="T32" fmla="*/ 201 w 331"/>
                    <a:gd name="T33" fmla="*/ 203 h 451"/>
                    <a:gd name="T34" fmla="*/ 216 w 331"/>
                    <a:gd name="T35" fmla="*/ 183 h 451"/>
                    <a:gd name="T36" fmla="*/ 225 w 331"/>
                    <a:gd name="T37" fmla="*/ 151 h 451"/>
                    <a:gd name="T38" fmla="*/ 237 w 331"/>
                    <a:gd name="T39" fmla="*/ 119 h 451"/>
                    <a:gd name="T40" fmla="*/ 231 w 331"/>
                    <a:gd name="T41" fmla="*/ 85 h 451"/>
                    <a:gd name="T42" fmla="*/ 222 w 331"/>
                    <a:gd name="T43" fmla="*/ 64 h 451"/>
                    <a:gd name="T44" fmla="*/ 225 w 331"/>
                    <a:gd name="T45" fmla="*/ 55 h 451"/>
                    <a:gd name="T46" fmla="*/ 210 w 331"/>
                    <a:gd name="T47" fmla="*/ 36 h 451"/>
                    <a:gd name="T48" fmla="*/ 182 w 331"/>
                    <a:gd name="T49" fmla="*/ 28 h 451"/>
                    <a:gd name="T50" fmla="*/ 162 w 331"/>
                    <a:gd name="T51" fmla="*/ 23 h 451"/>
                    <a:gd name="T52" fmla="*/ 145 w 331"/>
                    <a:gd name="T53" fmla="*/ 12 h 451"/>
                    <a:gd name="T54" fmla="*/ 124 w 331"/>
                    <a:gd name="T55" fmla="*/ 8 h 451"/>
                    <a:gd name="T56" fmla="*/ 105 w 331"/>
                    <a:gd name="T57" fmla="*/ 6 h 451"/>
                    <a:gd name="T58" fmla="*/ 88 w 331"/>
                    <a:gd name="T59" fmla="*/ 25 h 451"/>
                    <a:gd name="T60" fmla="*/ 98 w 331"/>
                    <a:gd name="T61" fmla="*/ 44 h 451"/>
                    <a:gd name="T62" fmla="*/ 81 w 331"/>
                    <a:gd name="T63" fmla="*/ 53 h 451"/>
                    <a:gd name="T64" fmla="*/ 73 w 331"/>
                    <a:gd name="T65" fmla="*/ 87 h 451"/>
                    <a:gd name="T66" fmla="*/ 69 w 331"/>
                    <a:gd name="T67" fmla="*/ 107 h 451"/>
                    <a:gd name="T68" fmla="*/ 66 w 331"/>
                    <a:gd name="T69" fmla="*/ 94 h 451"/>
                    <a:gd name="T70" fmla="*/ 56 w 331"/>
                    <a:gd name="T71" fmla="*/ 115 h 451"/>
                    <a:gd name="T72" fmla="*/ 54 w 331"/>
                    <a:gd name="T73" fmla="*/ 94 h 451"/>
                    <a:gd name="T74" fmla="*/ 53 w 331"/>
                    <a:gd name="T75" fmla="*/ 75 h 451"/>
                    <a:gd name="T76" fmla="*/ 43 w 331"/>
                    <a:gd name="T77" fmla="*/ 96 h 451"/>
                    <a:gd name="T78" fmla="*/ 22 w 331"/>
                    <a:gd name="T79" fmla="*/ 113 h 451"/>
                    <a:gd name="T80" fmla="*/ 11 w 331"/>
                    <a:gd name="T81" fmla="*/ 132 h 451"/>
                    <a:gd name="T82" fmla="*/ 15 w 331"/>
                    <a:gd name="T83" fmla="*/ 164 h 451"/>
                    <a:gd name="T84" fmla="*/ 0 w 331"/>
                    <a:gd name="T85" fmla="*/ 198 h 451"/>
                    <a:gd name="T86" fmla="*/ 9 w 331"/>
                    <a:gd name="T87" fmla="*/ 232 h 451"/>
                    <a:gd name="T88" fmla="*/ 4 w 331"/>
                    <a:gd name="T89" fmla="*/ 252 h 451"/>
                    <a:gd name="T90" fmla="*/ 24 w 331"/>
                    <a:gd name="T91" fmla="*/ 294 h 451"/>
                    <a:gd name="T92" fmla="*/ 39 w 331"/>
                    <a:gd name="T93" fmla="*/ 363 h 451"/>
                    <a:gd name="T94" fmla="*/ 24 w 331"/>
                    <a:gd name="T95" fmla="*/ 408 h 451"/>
                    <a:gd name="T96" fmla="*/ 11 w 331"/>
                    <a:gd name="T97" fmla="*/ 444 h 451"/>
                    <a:gd name="T98" fmla="*/ 6 w 331"/>
                    <a:gd name="T99" fmla="*/ 451 h 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31" h="451">
                      <a:moveTo>
                        <a:pt x="43" y="448"/>
                      </a:moveTo>
                      <a:lnTo>
                        <a:pt x="156" y="435"/>
                      </a:lnTo>
                      <a:lnTo>
                        <a:pt x="163" y="440"/>
                      </a:lnTo>
                      <a:lnTo>
                        <a:pt x="237" y="429"/>
                      </a:lnTo>
                      <a:lnTo>
                        <a:pt x="269" y="421"/>
                      </a:lnTo>
                      <a:lnTo>
                        <a:pt x="272" y="408"/>
                      </a:lnTo>
                      <a:lnTo>
                        <a:pt x="286" y="388"/>
                      </a:lnTo>
                      <a:lnTo>
                        <a:pt x="286" y="367"/>
                      </a:lnTo>
                      <a:lnTo>
                        <a:pt x="288" y="359"/>
                      </a:lnTo>
                      <a:lnTo>
                        <a:pt x="289" y="357"/>
                      </a:lnTo>
                      <a:lnTo>
                        <a:pt x="289" y="356"/>
                      </a:lnTo>
                      <a:lnTo>
                        <a:pt x="299" y="350"/>
                      </a:lnTo>
                      <a:lnTo>
                        <a:pt x="303" y="342"/>
                      </a:lnTo>
                      <a:lnTo>
                        <a:pt x="303" y="327"/>
                      </a:lnTo>
                      <a:lnTo>
                        <a:pt x="308" y="322"/>
                      </a:lnTo>
                      <a:lnTo>
                        <a:pt x="308" y="316"/>
                      </a:lnTo>
                      <a:lnTo>
                        <a:pt x="316" y="312"/>
                      </a:lnTo>
                      <a:lnTo>
                        <a:pt x="319" y="316"/>
                      </a:lnTo>
                      <a:lnTo>
                        <a:pt x="321" y="324"/>
                      </a:lnTo>
                      <a:lnTo>
                        <a:pt x="319" y="326"/>
                      </a:lnTo>
                      <a:lnTo>
                        <a:pt x="325" y="324"/>
                      </a:lnTo>
                      <a:lnTo>
                        <a:pt x="329" y="316"/>
                      </a:lnTo>
                      <a:lnTo>
                        <a:pt x="331" y="301"/>
                      </a:lnTo>
                      <a:lnTo>
                        <a:pt x="329" y="295"/>
                      </a:lnTo>
                      <a:lnTo>
                        <a:pt x="329" y="280"/>
                      </a:lnTo>
                      <a:lnTo>
                        <a:pt x="331" y="279"/>
                      </a:lnTo>
                      <a:lnTo>
                        <a:pt x="331" y="273"/>
                      </a:lnTo>
                      <a:lnTo>
                        <a:pt x="331" y="273"/>
                      </a:lnTo>
                      <a:lnTo>
                        <a:pt x="323" y="262"/>
                      </a:lnTo>
                      <a:lnTo>
                        <a:pt x="319" y="254"/>
                      </a:lnTo>
                      <a:lnTo>
                        <a:pt x="316" y="239"/>
                      </a:lnTo>
                      <a:lnTo>
                        <a:pt x="312" y="226"/>
                      </a:lnTo>
                      <a:lnTo>
                        <a:pt x="308" y="218"/>
                      </a:lnTo>
                      <a:lnTo>
                        <a:pt x="301" y="192"/>
                      </a:lnTo>
                      <a:lnTo>
                        <a:pt x="293" y="179"/>
                      </a:lnTo>
                      <a:lnTo>
                        <a:pt x="286" y="171"/>
                      </a:lnTo>
                      <a:lnTo>
                        <a:pt x="280" y="169"/>
                      </a:lnTo>
                      <a:lnTo>
                        <a:pt x="272" y="168"/>
                      </a:lnTo>
                      <a:lnTo>
                        <a:pt x="261" y="175"/>
                      </a:lnTo>
                      <a:lnTo>
                        <a:pt x="256" y="179"/>
                      </a:lnTo>
                      <a:lnTo>
                        <a:pt x="248" y="185"/>
                      </a:lnTo>
                      <a:lnTo>
                        <a:pt x="241" y="186"/>
                      </a:lnTo>
                      <a:lnTo>
                        <a:pt x="242" y="194"/>
                      </a:lnTo>
                      <a:lnTo>
                        <a:pt x="239" y="205"/>
                      </a:lnTo>
                      <a:lnTo>
                        <a:pt x="233" y="211"/>
                      </a:lnTo>
                      <a:lnTo>
                        <a:pt x="229" y="218"/>
                      </a:lnTo>
                      <a:lnTo>
                        <a:pt x="224" y="226"/>
                      </a:lnTo>
                      <a:lnTo>
                        <a:pt x="218" y="222"/>
                      </a:lnTo>
                      <a:lnTo>
                        <a:pt x="210" y="222"/>
                      </a:lnTo>
                      <a:lnTo>
                        <a:pt x="201" y="215"/>
                      </a:lnTo>
                      <a:lnTo>
                        <a:pt x="201" y="203"/>
                      </a:lnTo>
                      <a:lnTo>
                        <a:pt x="203" y="188"/>
                      </a:lnTo>
                      <a:lnTo>
                        <a:pt x="209" y="185"/>
                      </a:lnTo>
                      <a:lnTo>
                        <a:pt x="216" y="183"/>
                      </a:lnTo>
                      <a:lnTo>
                        <a:pt x="224" y="171"/>
                      </a:lnTo>
                      <a:lnTo>
                        <a:pt x="224" y="158"/>
                      </a:lnTo>
                      <a:lnTo>
                        <a:pt x="225" y="151"/>
                      </a:lnTo>
                      <a:lnTo>
                        <a:pt x="233" y="147"/>
                      </a:lnTo>
                      <a:lnTo>
                        <a:pt x="239" y="141"/>
                      </a:lnTo>
                      <a:lnTo>
                        <a:pt x="237" y="119"/>
                      </a:lnTo>
                      <a:lnTo>
                        <a:pt x="237" y="106"/>
                      </a:lnTo>
                      <a:lnTo>
                        <a:pt x="233" y="91"/>
                      </a:lnTo>
                      <a:lnTo>
                        <a:pt x="231" y="85"/>
                      </a:lnTo>
                      <a:lnTo>
                        <a:pt x="224" y="79"/>
                      </a:lnTo>
                      <a:lnTo>
                        <a:pt x="220" y="74"/>
                      </a:lnTo>
                      <a:lnTo>
                        <a:pt x="222" y="64"/>
                      </a:lnTo>
                      <a:lnTo>
                        <a:pt x="229" y="64"/>
                      </a:lnTo>
                      <a:lnTo>
                        <a:pt x="229" y="57"/>
                      </a:lnTo>
                      <a:lnTo>
                        <a:pt x="225" y="55"/>
                      </a:lnTo>
                      <a:lnTo>
                        <a:pt x="220" y="47"/>
                      </a:lnTo>
                      <a:lnTo>
                        <a:pt x="218" y="42"/>
                      </a:lnTo>
                      <a:lnTo>
                        <a:pt x="210" y="36"/>
                      </a:lnTo>
                      <a:lnTo>
                        <a:pt x="203" y="36"/>
                      </a:lnTo>
                      <a:lnTo>
                        <a:pt x="195" y="32"/>
                      </a:lnTo>
                      <a:lnTo>
                        <a:pt x="182" y="28"/>
                      </a:lnTo>
                      <a:lnTo>
                        <a:pt x="175" y="25"/>
                      </a:lnTo>
                      <a:lnTo>
                        <a:pt x="167" y="25"/>
                      </a:lnTo>
                      <a:lnTo>
                        <a:pt x="162" y="23"/>
                      </a:lnTo>
                      <a:lnTo>
                        <a:pt x="158" y="17"/>
                      </a:lnTo>
                      <a:lnTo>
                        <a:pt x="150" y="13"/>
                      </a:lnTo>
                      <a:lnTo>
                        <a:pt x="145" y="12"/>
                      </a:lnTo>
                      <a:lnTo>
                        <a:pt x="137" y="12"/>
                      </a:lnTo>
                      <a:lnTo>
                        <a:pt x="131" y="12"/>
                      </a:lnTo>
                      <a:lnTo>
                        <a:pt x="124" y="8"/>
                      </a:lnTo>
                      <a:lnTo>
                        <a:pt x="118" y="6"/>
                      </a:lnTo>
                      <a:lnTo>
                        <a:pt x="111" y="0"/>
                      </a:lnTo>
                      <a:lnTo>
                        <a:pt x="105" y="6"/>
                      </a:lnTo>
                      <a:lnTo>
                        <a:pt x="98" y="10"/>
                      </a:lnTo>
                      <a:lnTo>
                        <a:pt x="94" y="17"/>
                      </a:lnTo>
                      <a:lnTo>
                        <a:pt x="88" y="25"/>
                      </a:lnTo>
                      <a:lnTo>
                        <a:pt x="88" y="32"/>
                      </a:lnTo>
                      <a:lnTo>
                        <a:pt x="90" y="38"/>
                      </a:lnTo>
                      <a:lnTo>
                        <a:pt x="98" y="44"/>
                      </a:lnTo>
                      <a:lnTo>
                        <a:pt x="98" y="49"/>
                      </a:lnTo>
                      <a:lnTo>
                        <a:pt x="88" y="49"/>
                      </a:lnTo>
                      <a:lnTo>
                        <a:pt x="81" y="53"/>
                      </a:lnTo>
                      <a:lnTo>
                        <a:pt x="75" y="59"/>
                      </a:lnTo>
                      <a:lnTo>
                        <a:pt x="69" y="64"/>
                      </a:lnTo>
                      <a:lnTo>
                        <a:pt x="73" y="87"/>
                      </a:lnTo>
                      <a:lnTo>
                        <a:pt x="73" y="94"/>
                      </a:lnTo>
                      <a:lnTo>
                        <a:pt x="71" y="100"/>
                      </a:lnTo>
                      <a:lnTo>
                        <a:pt x="69" y="107"/>
                      </a:lnTo>
                      <a:lnTo>
                        <a:pt x="64" y="115"/>
                      </a:lnTo>
                      <a:lnTo>
                        <a:pt x="66" y="107"/>
                      </a:lnTo>
                      <a:lnTo>
                        <a:pt x="66" y="94"/>
                      </a:lnTo>
                      <a:lnTo>
                        <a:pt x="64" y="94"/>
                      </a:lnTo>
                      <a:lnTo>
                        <a:pt x="62" y="109"/>
                      </a:lnTo>
                      <a:lnTo>
                        <a:pt x="56" y="115"/>
                      </a:lnTo>
                      <a:lnTo>
                        <a:pt x="56" y="109"/>
                      </a:lnTo>
                      <a:lnTo>
                        <a:pt x="58" y="102"/>
                      </a:lnTo>
                      <a:lnTo>
                        <a:pt x="54" y="94"/>
                      </a:lnTo>
                      <a:lnTo>
                        <a:pt x="56" y="91"/>
                      </a:lnTo>
                      <a:lnTo>
                        <a:pt x="58" y="70"/>
                      </a:lnTo>
                      <a:lnTo>
                        <a:pt x="53" y="75"/>
                      </a:lnTo>
                      <a:lnTo>
                        <a:pt x="49" y="83"/>
                      </a:lnTo>
                      <a:lnTo>
                        <a:pt x="45" y="89"/>
                      </a:lnTo>
                      <a:lnTo>
                        <a:pt x="43" y="96"/>
                      </a:lnTo>
                      <a:lnTo>
                        <a:pt x="39" y="102"/>
                      </a:lnTo>
                      <a:lnTo>
                        <a:pt x="32" y="100"/>
                      </a:lnTo>
                      <a:lnTo>
                        <a:pt x="22" y="113"/>
                      </a:lnTo>
                      <a:lnTo>
                        <a:pt x="24" y="119"/>
                      </a:lnTo>
                      <a:lnTo>
                        <a:pt x="19" y="126"/>
                      </a:lnTo>
                      <a:lnTo>
                        <a:pt x="11" y="132"/>
                      </a:lnTo>
                      <a:lnTo>
                        <a:pt x="15" y="145"/>
                      </a:lnTo>
                      <a:lnTo>
                        <a:pt x="13" y="156"/>
                      </a:lnTo>
                      <a:lnTo>
                        <a:pt x="15" y="164"/>
                      </a:lnTo>
                      <a:lnTo>
                        <a:pt x="15" y="171"/>
                      </a:lnTo>
                      <a:lnTo>
                        <a:pt x="7" y="192"/>
                      </a:lnTo>
                      <a:lnTo>
                        <a:pt x="0" y="198"/>
                      </a:lnTo>
                      <a:lnTo>
                        <a:pt x="0" y="205"/>
                      </a:lnTo>
                      <a:lnTo>
                        <a:pt x="4" y="211"/>
                      </a:lnTo>
                      <a:lnTo>
                        <a:pt x="9" y="232"/>
                      </a:lnTo>
                      <a:lnTo>
                        <a:pt x="6" y="239"/>
                      </a:lnTo>
                      <a:lnTo>
                        <a:pt x="2" y="247"/>
                      </a:lnTo>
                      <a:lnTo>
                        <a:pt x="4" y="252"/>
                      </a:lnTo>
                      <a:lnTo>
                        <a:pt x="22" y="290"/>
                      </a:lnTo>
                      <a:lnTo>
                        <a:pt x="30" y="286"/>
                      </a:lnTo>
                      <a:lnTo>
                        <a:pt x="24" y="294"/>
                      </a:lnTo>
                      <a:lnTo>
                        <a:pt x="34" y="314"/>
                      </a:lnTo>
                      <a:lnTo>
                        <a:pt x="39" y="342"/>
                      </a:lnTo>
                      <a:lnTo>
                        <a:pt x="39" y="363"/>
                      </a:lnTo>
                      <a:lnTo>
                        <a:pt x="34" y="388"/>
                      </a:lnTo>
                      <a:lnTo>
                        <a:pt x="32" y="395"/>
                      </a:lnTo>
                      <a:lnTo>
                        <a:pt x="24" y="408"/>
                      </a:lnTo>
                      <a:lnTo>
                        <a:pt x="19" y="429"/>
                      </a:lnTo>
                      <a:lnTo>
                        <a:pt x="15" y="436"/>
                      </a:lnTo>
                      <a:lnTo>
                        <a:pt x="11" y="444"/>
                      </a:lnTo>
                      <a:lnTo>
                        <a:pt x="4" y="450"/>
                      </a:lnTo>
                      <a:lnTo>
                        <a:pt x="2" y="451"/>
                      </a:lnTo>
                      <a:lnTo>
                        <a:pt x="6" y="451"/>
                      </a:lnTo>
                      <a:lnTo>
                        <a:pt x="43" y="448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  <p:grpSp>
            <p:nvGrpSpPr>
              <p:cNvPr id="459" name="Group 458"/>
              <p:cNvGrpSpPr/>
              <p:nvPr/>
            </p:nvGrpSpPr>
            <p:grpSpPr>
              <a:xfrm>
                <a:off x="3961687" y="3206462"/>
                <a:ext cx="747417" cy="577291"/>
                <a:chOff x="3961687" y="3206462"/>
                <a:chExt cx="747417" cy="577291"/>
              </a:xfrm>
              <a:grpFill/>
            </p:grpSpPr>
            <p:sp>
              <p:nvSpPr>
                <p:cNvPr id="338" name="Freeform 99"/>
                <p:cNvSpPr>
                  <a:spLocks/>
                </p:cNvSpPr>
                <p:nvPr/>
              </p:nvSpPr>
              <p:spPr bwMode="auto">
                <a:xfrm>
                  <a:off x="4598625" y="3765441"/>
                  <a:ext cx="3843" cy="3488"/>
                </a:xfrm>
                <a:custGeom>
                  <a:avLst/>
                  <a:gdLst>
                    <a:gd name="T0" fmla="*/ 4 w 4"/>
                    <a:gd name="T1" fmla="*/ 4 h 4"/>
                    <a:gd name="T2" fmla="*/ 0 w 4"/>
                    <a:gd name="T3" fmla="*/ 0 h 4"/>
                    <a:gd name="T4" fmla="*/ 4 w 4"/>
                    <a:gd name="T5" fmla="*/ 4 h 4"/>
                    <a:gd name="T6" fmla="*/ 4 w 4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39" name="Freeform 100"/>
                <p:cNvSpPr>
                  <a:spLocks/>
                </p:cNvSpPr>
                <p:nvPr/>
              </p:nvSpPr>
              <p:spPr bwMode="auto">
                <a:xfrm>
                  <a:off x="4598625" y="3765441"/>
                  <a:ext cx="3843" cy="3488"/>
                </a:xfrm>
                <a:custGeom>
                  <a:avLst/>
                  <a:gdLst>
                    <a:gd name="T0" fmla="*/ 4 w 4"/>
                    <a:gd name="T1" fmla="*/ 4 h 4"/>
                    <a:gd name="T2" fmla="*/ 0 w 4"/>
                    <a:gd name="T3" fmla="*/ 0 h 4"/>
                    <a:gd name="T4" fmla="*/ 4 w 4"/>
                    <a:gd name="T5" fmla="*/ 4 h 4"/>
                    <a:gd name="T6" fmla="*/ 4 w 4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40" name="Freeform 101"/>
                <p:cNvSpPr>
                  <a:spLocks/>
                </p:cNvSpPr>
                <p:nvPr/>
              </p:nvSpPr>
              <p:spPr bwMode="auto">
                <a:xfrm>
                  <a:off x="4667794" y="3735791"/>
                  <a:ext cx="4803" cy="3488"/>
                </a:xfrm>
                <a:custGeom>
                  <a:avLst/>
                  <a:gdLst>
                    <a:gd name="T0" fmla="*/ 5 w 5"/>
                    <a:gd name="T1" fmla="*/ 0 h 4"/>
                    <a:gd name="T2" fmla="*/ 0 w 5"/>
                    <a:gd name="T3" fmla="*/ 4 h 4"/>
                    <a:gd name="T4" fmla="*/ 5 w 5"/>
                    <a:gd name="T5" fmla="*/ 2 h 4"/>
                    <a:gd name="T6" fmla="*/ 5 w 5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4">
                      <a:moveTo>
                        <a:pt x="5" y="0"/>
                      </a:moveTo>
                      <a:lnTo>
                        <a:pt x="0" y="4"/>
                      </a:lnTo>
                      <a:lnTo>
                        <a:pt x="5" y="2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41" name="Freeform 102"/>
                <p:cNvSpPr>
                  <a:spLocks/>
                </p:cNvSpPr>
                <p:nvPr/>
              </p:nvSpPr>
              <p:spPr bwMode="auto">
                <a:xfrm>
                  <a:off x="4667794" y="3735791"/>
                  <a:ext cx="4803" cy="3488"/>
                </a:xfrm>
                <a:custGeom>
                  <a:avLst/>
                  <a:gdLst>
                    <a:gd name="T0" fmla="*/ 5 w 5"/>
                    <a:gd name="T1" fmla="*/ 0 h 4"/>
                    <a:gd name="T2" fmla="*/ 0 w 5"/>
                    <a:gd name="T3" fmla="*/ 4 h 4"/>
                    <a:gd name="T4" fmla="*/ 5 w 5"/>
                    <a:gd name="T5" fmla="*/ 2 h 4"/>
                    <a:gd name="T6" fmla="*/ 5 w 5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4">
                      <a:moveTo>
                        <a:pt x="5" y="0"/>
                      </a:moveTo>
                      <a:lnTo>
                        <a:pt x="0" y="4"/>
                      </a:lnTo>
                      <a:lnTo>
                        <a:pt x="5" y="2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42" name="Freeform 103"/>
                <p:cNvSpPr>
                  <a:spLocks/>
                </p:cNvSpPr>
                <p:nvPr/>
              </p:nvSpPr>
              <p:spPr bwMode="auto">
                <a:xfrm>
                  <a:off x="4573647" y="3780265"/>
                  <a:ext cx="6725" cy="3488"/>
                </a:xfrm>
                <a:custGeom>
                  <a:avLst/>
                  <a:gdLst>
                    <a:gd name="T0" fmla="*/ 0 w 7"/>
                    <a:gd name="T1" fmla="*/ 4 h 4"/>
                    <a:gd name="T2" fmla="*/ 7 w 7"/>
                    <a:gd name="T3" fmla="*/ 0 h 4"/>
                    <a:gd name="T4" fmla="*/ 0 w 7"/>
                    <a:gd name="T5" fmla="*/ 2 h 4"/>
                    <a:gd name="T6" fmla="*/ 0 w 7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4">
                      <a:moveTo>
                        <a:pt x="0" y="4"/>
                      </a:moveTo>
                      <a:lnTo>
                        <a:pt x="7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43" name="Freeform 104"/>
                <p:cNvSpPr>
                  <a:spLocks/>
                </p:cNvSpPr>
                <p:nvPr/>
              </p:nvSpPr>
              <p:spPr bwMode="auto">
                <a:xfrm>
                  <a:off x="4573647" y="3780265"/>
                  <a:ext cx="6725" cy="3488"/>
                </a:xfrm>
                <a:custGeom>
                  <a:avLst/>
                  <a:gdLst>
                    <a:gd name="T0" fmla="*/ 0 w 7"/>
                    <a:gd name="T1" fmla="*/ 4 h 4"/>
                    <a:gd name="T2" fmla="*/ 7 w 7"/>
                    <a:gd name="T3" fmla="*/ 0 h 4"/>
                    <a:gd name="T4" fmla="*/ 0 w 7"/>
                    <a:gd name="T5" fmla="*/ 2 h 4"/>
                    <a:gd name="T6" fmla="*/ 0 w 7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4">
                      <a:moveTo>
                        <a:pt x="0" y="4"/>
                      </a:moveTo>
                      <a:lnTo>
                        <a:pt x="7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44" name="Freeform 105"/>
                <p:cNvSpPr>
                  <a:spLocks/>
                </p:cNvSpPr>
                <p:nvPr/>
              </p:nvSpPr>
              <p:spPr bwMode="auto">
                <a:xfrm>
                  <a:off x="4608232" y="3759336"/>
                  <a:ext cx="8646" cy="7848"/>
                </a:xfrm>
                <a:custGeom>
                  <a:avLst/>
                  <a:gdLst>
                    <a:gd name="T0" fmla="*/ 5 w 9"/>
                    <a:gd name="T1" fmla="*/ 3 h 9"/>
                    <a:gd name="T2" fmla="*/ 0 w 9"/>
                    <a:gd name="T3" fmla="*/ 0 h 9"/>
                    <a:gd name="T4" fmla="*/ 5 w 9"/>
                    <a:gd name="T5" fmla="*/ 9 h 9"/>
                    <a:gd name="T6" fmla="*/ 9 w 9"/>
                    <a:gd name="T7" fmla="*/ 9 h 9"/>
                    <a:gd name="T8" fmla="*/ 5 w 9"/>
                    <a:gd name="T9" fmla="*/ 3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9">
                      <a:moveTo>
                        <a:pt x="5" y="3"/>
                      </a:moveTo>
                      <a:lnTo>
                        <a:pt x="0" y="0"/>
                      </a:lnTo>
                      <a:lnTo>
                        <a:pt x="5" y="9"/>
                      </a:lnTo>
                      <a:lnTo>
                        <a:pt x="9" y="9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45" name="Freeform 106"/>
                <p:cNvSpPr>
                  <a:spLocks/>
                </p:cNvSpPr>
                <p:nvPr/>
              </p:nvSpPr>
              <p:spPr bwMode="auto">
                <a:xfrm>
                  <a:off x="4608232" y="3759336"/>
                  <a:ext cx="8646" cy="7848"/>
                </a:xfrm>
                <a:custGeom>
                  <a:avLst/>
                  <a:gdLst>
                    <a:gd name="T0" fmla="*/ 5 w 9"/>
                    <a:gd name="T1" fmla="*/ 3 h 9"/>
                    <a:gd name="T2" fmla="*/ 0 w 9"/>
                    <a:gd name="T3" fmla="*/ 0 h 9"/>
                    <a:gd name="T4" fmla="*/ 5 w 9"/>
                    <a:gd name="T5" fmla="*/ 9 h 9"/>
                    <a:gd name="T6" fmla="*/ 9 w 9"/>
                    <a:gd name="T7" fmla="*/ 9 h 9"/>
                    <a:gd name="T8" fmla="*/ 5 w 9"/>
                    <a:gd name="T9" fmla="*/ 3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9">
                      <a:moveTo>
                        <a:pt x="5" y="3"/>
                      </a:moveTo>
                      <a:lnTo>
                        <a:pt x="0" y="0"/>
                      </a:lnTo>
                      <a:lnTo>
                        <a:pt x="5" y="9"/>
                      </a:lnTo>
                      <a:lnTo>
                        <a:pt x="9" y="9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46" name="Freeform 107"/>
                <p:cNvSpPr>
                  <a:spLocks/>
                </p:cNvSpPr>
                <p:nvPr/>
              </p:nvSpPr>
              <p:spPr bwMode="auto">
                <a:xfrm>
                  <a:off x="3961687" y="3206462"/>
                  <a:ext cx="747417" cy="514504"/>
                </a:xfrm>
                <a:custGeom>
                  <a:avLst/>
                  <a:gdLst>
                    <a:gd name="T0" fmla="*/ 516 w 778"/>
                    <a:gd name="T1" fmla="*/ 6 h 590"/>
                    <a:gd name="T2" fmla="*/ 516 w 778"/>
                    <a:gd name="T3" fmla="*/ 32 h 590"/>
                    <a:gd name="T4" fmla="*/ 490 w 778"/>
                    <a:gd name="T5" fmla="*/ 32 h 590"/>
                    <a:gd name="T6" fmla="*/ 94 w 778"/>
                    <a:gd name="T7" fmla="*/ 38 h 590"/>
                    <a:gd name="T8" fmla="*/ 16 w 778"/>
                    <a:gd name="T9" fmla="*/ 77 h 590"/>
                    <a:gd name="T10" fmla="*/ 30 w 778"/>
                    <a:gd name="T11" fmla="*/ 103 h 590"/>
                    <a:gd name="T12" fmla="*/ 31 w 778"/>
                    <a:gd name="T13" fmla="*/ 118 h 590"/>
                    <a:gd name="T14" fmla="*/ 47 w 778"/>
                    <a:gd name="T15" fmla="*/ 94 h 590"/>
                    <a:gd name="T16" fmla="*/ 62 w 778"/>
                    <a:gd name="T17" fmla="*/ 92 h 590"/>
                    <a:gd name="T18" fmla="*/ 58 w 778"/>
                    <a:gd name="T19" fmla="*/ 109 h 590"/>
                    <a:gd name="T20" fmla="*/ 116 w 778"/>
                    <a:gd name="T21" fmla="*/ 94 h 590"/>
                    <a:gd name="T22" fmla="*/ 139 w 778"/>
                    <a:gd name="T23" fmla="*/ 98 h 590"/>
                    <a:gd name="T24" fmla="*/ 116 w 778"/>
                    <a:gd name="T25" fmla="*/ 102 h 590"/>
                    <a:gd name="T26" fmla="*/ 180 w 778"/>
                    <a:gd name="T27" fmla="*/ 115 h 590"/>
                    <a:gd name="T28" fmla="*/ 195 w 778"/>
                    <a:gd name="T29" fmla="*/ 100 h 590"/>
                    <a:gd name="T30" fmla="*/ 203 w 778"/>
                    <a:gd name="T31" fmla="*/ 120 h 590"/>
                    <a:gd name="T32" fmla="*/ 188 w 778"/>
                    <a:gd name="T33" fmla="*/ 120 h 590"/>
                    <a:gd name="T34" fmla="*/ 208 w 778"/>
                    <a:gd name="T35" fmla="*/ 137 h 590"/>
                    <a:gd name="T36" fmla="*/ 221 w 778"/>
                    <a:gd name="T37" fmla="*/ 162 h 590"/>
                    <a:gd name="T38" fmla="*/ 225 w 778"/>
                    <a:gd name="T39" fmla="*/ 165 h 590"/>
                    <a:gd name="T40" fmla="*/ 257 w 778"/>
                    <a:gd name="T41" fmla="*/ 154 h 590"/>
                    <a:gd name="T42" fmla="*/ 300 w 778"/>
                    <a:gd name="T43" fmla="*/ 132 h 590"/>
                    <a:gd name="T44" fmla="*/ 312 w 778"/>
                    <a:gd name="T45" fmla="*/ 124 h 590"/>
                    <a:gd name="T46" fmla="*/ 338 w 778"/>
                    <a:gd name="T47" fmla="*/ 105 h 590"/>
                    <a:gd name="T48" fmla="*/ 389 w 778"/>
                    <a:gd name="T49" fmla="*/ 137 h 590"/>
                    <a:gd name="T50" fmla="*/ 432 w 778"/>
                    <a:gd name="T51" fmla="*/ 179 h 590"/>
                    <a:gd name="T52" fmla="*/ 475 w 778"/>
                    <a:gd name="T53" fmla="*/ 199 h 590"/>
                    <a:gd name="T54" fmla="*/ 488 w 778"/>
                    <a:gd name="T55" fmla="*/ 226 h 590"/>
                    <a:gd name="T56" fmla="*/ 486 w 778"/>
                    <a:gd name="T57" fmla="*/ 303 h 590"/>
                    <a:gd name="T58" fmla="*/ 488 w 778"/>
                    <a:gd name="T59" fmla="*/ 331 h 590"/>
                    <a:gd name="T60" fmla="*/ 503 w 778"/>
                    <a:gd name="T61" fmla="*/ 322 h 590"/>
                    <a:gd name="T62" fmla="*/ 511 w 778"/>
                    <a:gd name="T63" fmla="*/ 314 h 590"/>
                    <a:gd name="T64" fmla="*/ 515 w 778"/>
                    <a:gd name="T65" fmla="*/ 348 h 590"/>
                    <a:gd name="T66" fmla="*/ 503 w 778"/>
                    <a:gd name="T67" fmla="*/ 367 h 590"/>
                    <a:gd name="T68" fmla="*/ 539 w 778"/>
                    <a:gd name="T69" fmla="*/ 416 h 590"/>
                    <a:gd name="T70" fmla="*/ 563 w 778"/>
                    <a:gd name="T71" fmla="*/ 423 h 590"/>
                    <a:gd name="T72" fmla="*/ 577 w 778"/>
                    <a:gd name="T73" fmla="*/ 410 h 590"/>
                    <a:gd name="T74" fmla="*/ 577 w 778"/>
                    <a:gd name="T75" fmla="*/ 444 h 590"/>
                    <a:gd name="T76" fmla="*/ 594 w 778"/>
                    <a:gd name="T77" fmla="*/ 440 h 590"/>
                    <a:gd name="T78" fmla="*/ 590 w 778"/>
                    <a:gd name="T79" fmla="*/ 461 h 590"/>
                    <a:gd name="T80" fmla="*/ 627 w 778"/>
                    <a:gd name="T81" fmla="*/ 509 h 590"/>
                    <a:gd name="T82" fmla="*/ 644 w 778"/>
                    <a:gd name="T83" fmla="*/ 515 h 590"/>
                    <a:gd name="T84" fmla="*/ 678 w 778"/>
                    <a:gd name="T85" fmla="*/ 551 h 590"/>
                    <a:gd name="T86" fmla="*/ 706 w 778"/>
                    <a:gd name="T87" fmla="*/ 579 h 590"/>
                    <a:gd name="T88" fmla="*/ 695 w 778"/>
                    <a:gd name="T89" fmla="*/ 590 h 590"/>
                    <a:gd name="T90" fmla="*/ 738 w 778"/>
                    <a:gd name="T91" fmla="*/ 577 h 590"/>
                    <a:gd name="T92" fmla="*/ 763 w 778"/>
                    <a:gd name="T93" fmla="*/ 572 h 590"/>
                    <a:gd name="T94" fmla="*/ 765 w 778"/>
                    <a:gd name="T95" fmla="*/ 534 h 590"/>
                    <a:gd name="T96" fmla="*/ 772 w 778"/>
                    <a:gd name="T97" fmla="*/ 500 h 590"/>
                    <a:gd name="T98" fmla="*/ 774 w 778"/>
                    <a:gd name="T99" fmla="*/ 470 h 590"/>
                    <a:gd name="T100" fmla="*/ 759 w 778"/>
                    <a:gd name="T101" fmla="*/ 384 h 590"/>
                    <a:gd name="T102" fmla="*/ 740 w 778"/>
                    <a:gd name="T103" fmla="*/ 355 h 590"/>
                    <a:gd name="T104" fmla="*/ 673 w 778"/>
                    <a:gd name="T105" fmla="*/ 241 h 590"/>
                    <a:gd name="T106" fmla="*/ 665 w 778"/>
                    <a:gd name="T107" fmla="*/ 205 h 590"/>
                    <a:gd name="T108" fmla="*/ 686 w 778"/>
                    <a:gd name="T109" fmla="*/ 228 h 590"/>
                    <a:gd name="T110" fmla="*/ 695 w 778"/>
                    <a:gd name="T111" fmla="*/ 271 h 590"/>
                    <a:gd name="T112" fmla="*/ 688 w 778"/>
                    <a:gd name="T113" fmla="*/ 224 h 590"/>
                    <a:gd name="T114" fmla="*/ 599 w 778"/>
                    <a:gd name="T115" fmla="*/ 98 h 590"/>
                    <a:gd name="T116" fmla="*/ 573 w 778"/>
                    <a:gd name="T117" fmla="*/ 32 h 590"/>
                    <a:gd name="T118" fmla="*/ 560 w 778"/>
                    <a:gd name="T119" fmla="*/ 6 h 5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778" h="590">
                      <a:moveTo>
                        <a:pt x="554" y="8"/>
                      </a:moveTo>
                      <a:lnTo>
                        <a:pt x="547" y="6"/>
                      </a:lnTo>
                      <a:lnTo>
                        <a:pt x="530" y="2"/>
                      </a:lnTo>
                      <a:lnTo>
                        <a:pt x="522" y="0"/>
                      </a:lnTo>
                      <a:lnTo>
                        <a:pt x="516" y="6"/>
                      </a:lnTo>
                      <a:lnTo>
                        <a:pt x="513" y="6"/>
                      </a:lnTo>
                      <a:lnTo>
                        <a:pt x="511" y="13"/>
                      </a:lnTo>
                      <a:lnTo>
                        <a:pt x="513" y="19"/>
                      </a:lnTo>
                      <a:lnTo>
                        <a:pt x="516" y="26"/>
                      </a:lnTo>
                      <a:lnTo>
                        <a:pt x="516" y="32"/>
                      </a:lnTo>
                      <a:lnTo>
                        <a:pt x="516" y="47"/>
                      </a:lnTo>
                      <a:lnTo>
                        <a:pt x="511" y="51"/>
                      </a:lnTo>
                      <a:lnTo>
                        <a:pt x="503" y="51"/>
                      </a:lnTo>
                      <a:lnTo>
                        <a:pt x="498" y="38"/>
                      </a:lnTo>
                      <a:lnTo>
                        <a:pt x="490" y="32"/>
                      </a:lnTo>
                      <a:lnTo>
                        <a:pt x="255" y="49"/>
                      </a:lnTo>
                      <a:lnTo>
                        <a:pt x="250" y="43"/>
                      </a:lnTo>
                      <a:lnTo>
                        <a:pt x="248" y="36"/>
                      </a:lnTo>
                      <a:lnTo>
                        <a:pt x="238" y="21"/>
                      </a:lnTo>
                      <a:lnTo>
                        <a:pt x="94" y="38"/>
                      </a:lnTo>
                      <a:lnTo>
                        <a:pt x="9" y="47"/>
                      </a:lnTo>
                      <a:lnTo>
                        <a:pt x="1" y="53"/>
                      </a:lnTo>
                      <a:lnTo>
                        <a:pt x="0" y="60"/>
                      </a:lnTo>
                      <a:lnTo>
                        <a:pt x="11" y="75"/>
                      </a:lnTo>
                      <a:lnTo>
                        <a:pt x="16" y="77"/>
                      </a:lnTo>
                      <a:lnTo>
                        <a:pt x="24" y="85"/>
                      </a:lnTo>
                      <a:lnTo>
                        <a:pt x="20" y="94"/>
                      </a:lnTo>
                      <a:lnTo>
                        <a:pt x="22" y="98"/>
                      </a:lnTo>
                      <a:lnTo>
                        <a:pt x="24" y="102"/>
                      </a:lnTo>
                      <a:lnTo>
                        <a:pt x="30" y="103"/>
                      </a:lnTo>
                      <a:lnTo>
                        <a:pt x="30" y="107"/>
                      </a:lnTo>
                      <a:lnTo>
                        <a:pt x="24" y="113"/>
                      </a:lnTo>
                      <a:lnTo>
                        <a:pt x="20" y="120"/>
                      </a:lnTo>
                      <a:lnTo>
                        <a:pt x="24" y="120"/>
                      </a:lnTo>
                      <a:lnTo>
                        <a:pt x="31" y="118"/>
                      </a:lnTo>
                      <a:lnTo>
                        <a:pt x="39" y="115"/>
                      </a:lnTo>
                      <a:lnTo>
                        <a:pt x="45" y="105"/>
                      </a:lnTo>
                      <a:lnTo>
                        <a:pt x="48" y="98"/>
                      </a:lnTo>
                      <a:lnTo>
                        <a:pt x="47" y="96"/>
                      </a:lnTo>
                      <a:lnTo>
                        <a:pt x="47" y="94"/>
                      </a:lnTo>
                      <a:lnTo>
                        <a:pt x="50" y="90"/>
                      </a:lnTo>
                      <a:lnTo>
                        <a:pt x="52" y="100"/>
                      </a:lnTo>
                      <a:lnTo>
                        <a:pt x="58" y="94"/>
                      </a:lnTo>
                      <a:lnTo>
                        <a:pt x="60" y="85"/>
                      </a:lnTo>
                      <a:lnTo>
                        <a:pt x="62" y="92"/>
                      </a:lnTo>
                      <a:lnTo>
                        <a:pt x="69" y="98"/>
                      </a:lnTo>
                      <a:lnTo>
                        <a:pt x="63" y="105"/>
                      </a:lnTo>
                      <a:lnTo>
                        <a:pt x="52" y="107"/>
                      </a:lnTo>
                      <a:lnTo>
                        <a:pt x="50" y="109"/>
                      </a:lnTo>
                      <a:lnTo>
                        <a:pt x="58" y="109"/>
                      </a:lnTo>
                      <a:lnTo>
                        <a:pt x="78" y="103"/>
                      </a:lnTo>
                      <a:lnTo>
                        <a:pt x="97" y="102"/>
                      </a:lnTo>
                      <a:lnTo>
                        <a:pt x="99" y="100"/>
                      </a:lnTo>
                      <a:lnTo>
                        <a:pt x="114" y="88"/>
                      </a:lnTo>
                      <a:lnTo>
                        <a:pt x="116" y="94"/>
                      </a:lnTo>
                      <a:lnTo>
                        <a:pt x="122" y="90"/>
                      </a:lnTo>
                      <a:lnTo>
                        <a:pt x="129" y="88"/>
                      </a:lnTo>
                      <a:lnTo>
                        <a:pt x="142" y="94"/>
                      </a:lnTo>
                      <a:lnTo>
                        <a:pt x="144" y="100"/>
                      </a:lnTo>
                      <a:lnTo>
                        <a:pt x="139" y="98"/>
                      </a:lnTo>
                      <a:lnTo>
                        <a:pt x="131" y="96"/>
                      </a:lnTo>
                      <a:lnTo>
                        <a:pt x="125" y="96"/>
                      </a:lnTo>
                      <a:lnTo>
                        <a:pt x="124" y="100"/>
                      </a:lnTo>
                      <a:lnTo>
                        <a:pt x="110" y="100"/>
                      </a:lnTo>
                      <a:lnTo>
                        <a:pt x="116" y="102"/>
                      </a:lnTo>
                      <a:lnTo>
                        <a:pt x="124" y="102"/>
                      </a:lnTo>
                      <a:lnTo>
                        <a:pt x="152" y="107"/>
                      </a:lnTo>
                      <a:lnTo>
                        <a:pt x="169" y="113"/>
                      </a:lnTo>
                      <a:lnTo>
                        <a:pt x="182" y="122"/>
                      </a:lnTo>
                      <a:lnTo>
                        <a:pt x="180" y="115"/>
                      </a:lnTo>
                      <a:lnTo>
                        <a:pt x="174" y="111"/>
                      </a:lnTo>
                      <a:lnTo>
                        <a:pt x="171" y="105"/>
                      </a:lnTo>
                      <a:lnTo>
                        <a:pt x="178" y="105"/>
                      </a:lnTo>
                      <a:lnTo>
                        <a:pt x="184" y="107"/>
                      </a:lnTo>
                      <a:lnTo>
                        <a:pt x="195" y="100"/>
                      </a:lnTo>
                      <a:lnTo>
                        <a:pt x="193" y="107"/>
                      </a:lnTo>
                      <a:lnTo>
                        <a:pt x="188" y="109"/>
                      </a:lnTo>
                      <a:lnTo>
                        <a:pt x="186" y="115"/>
                      </a:lnTo>
                      <a:lnTo>
                        <a:pt x="195" y="120"/>
                      </a:lnTo>
                      <a:lnTo>
                        <a:pt x="203" y="120"/>
                      </a:lnTo>
                      <a:lnTo>
                        <a:pt x="206" y="128"/>
                      </a:lnTo>
                      <a:lnTo>
                        <a:pt x="214" y="126"/>
                      </a:lnTo>
                      <a:lnTo>
                        <a:pt x="210" y="132"/>
                      </a:lnTo>
                      <a:lnTo>
                        <a:pt x="203" y="126"/>
                      </a:lnTo>
                      <a:lnTo>
                        <a:pt x="188" y="120"/>
                      </a:lnTo>
                      <a:lnTo>
                        <a:pt x="195" y="128"/>
                      </a:lnTo>
                      <a:lnTo>
                        <a:pt x="201" y="132"/>
                      </a:lnTo>
                      <a:lnTo>
                        <a:pt x="204" y="134"/>
                      </a:lnTo>
                      <a:lnTo>
                        <a:pt x="201" y="134"/>
                      </a:lnTo>
                      <a:lnTo>
                        <a:pt x="208" y="137"/>
                      </a:lnTo>
                      <a:lnTo>
                        <a:pt x="216" y="139"/>
                      </a:lnTo>
                      <a:lnTo>
                        <a:pt x="221" y="147"/>
                      </a:lnTo>
                      <a:lnTo>
                        <a:pt x="225" y="154"/>
                      </a:lnTo>
                      <a:lnTo>
                        <a:pt x="227" y="160"/>
                      </a:lnTo>
                      <a:lnTo>
                        <a:pt x="221" y="162"/>
                      </a:lnTo>
                      <a:lnTo>
                        <a:pt x="218" y="154"/>
                      </a:lnTo>
                      <a:lnTo>
                        <a:pt x="218" y="149"/>
                      </a:lnTo>
                      <a:lnTo>
                        <a:pt x="216" y="156"/>
                      </a:lnTo>
                      <a:lnTo>
                        <a:pt x="219" y="162"/>
                      </a:lnTo>
                      <a:lnTo>
                        <a:pt x="225" y="165"/>
                      </a:lnTo>
                      <a:lnTo>
                        <a:pt x="233" y="164"/>
                      </a:lnTo>
                      <a:lnTo>
                        <a:pt x="236" y="162"/>
                      </a:lnTo>
                      <a:lnTo>
                        <a:pt x="250" y="158"/>
                      </a:lnTo>
                      <a:lnTo>
                        <a:pt x="257" y="158"/>
                      </a:lnTo>
                      <a:lnTo>
                        <a:pt x="257" y="154"/>
                      </a:lnTo>
                      <a:lnTo>
                        <a:pt x="265" y="149"/>
                      </a:lnTo>
                      <a:lnTo>
                        <a:pt x="266" y="152"/>
                      </a:lnTo>
                      <a:lnTo>
                        <a:pt x="272" y="150"/>
                      </a:lnTo>
                      <a:lnTo>
                        <a:pt x="293" y="134"/>
                      </a:lnTo>
                      <a:lnTo>
                        <a:pt x="300" y="132"/>
                      </a:lnTo>
                      <a:lnTo>
                        <a:pt x="306" y="130"/>
                      </a:lnTo>
                      <a:lnTo>
                        <a:pt x="313" y="132"/>
                      </a:lnTo>
                      <a:lnTo>
                        <a:pt x="310" y="124"/>
                      </a:lnTo>
                      <a:lnTo>
                        <a:pt x="302" y="120"/>
                      </a:lnTo>
                      <a:lnTo>
                        <a:pt x="312" y="124"/>
                      </a:lnTo>
                      <a:lnTo>
                        <a:pt x="308" y="120"/>
                      </a:lnTo>
                      <a:lnTo>
                        <a:pt x="312" y="113"/>
                      </a:lnTo>
                      <a:lnTo>
                        <a:pt x="317" y="109"/>
                      </a:lnTo>
                      <a:lnTo>
                        <a:pt x="330" y="107"/>
                      </a:lnTo>
                      <a:lnTo>
                        <a:pt x="338" y="105"/>
                      </a:lnTo>
                      <a:lnTo>
                        <a:pt x="342" y="105"/>
                      </a:lnTo>
                      <a:lnTo>
                        <a:pt x="359" y="113"/>
                      </a:lnTo>
                      <a:lnTo>
                        <a:pt x="364" y="115"/>
                      </a:lnTo>
                      <a:lnTo>
                        <a:pt x="377" y="122"/>
                      </a:lnTo>
                      <a:lnTo>
                        <a:pt x="389" y="137"/>
                      </a:lnTo>
                      <a:lnTo>
                        <a:pt x="404" y="143"/>
                      </a:lnTo>
                      <a:lnTo>
                        <a:pt x="406" y="150"/>
                      </a:lnTo>
                      <a:lnTo>
                        <a:pt x="407" y="158"/>
                      </a:lnTo>
                      <a:lnTo>
                        <a:pt x="426" y="171"/>
                      </a:lnTo>
                      <a:lnTo>
                        <a:pt x="432" y="179"/>
                      </a:lnTo>
                      <a:lnTo>
                        <a:pt x="439" y="181"/>
                      </a:lnTo>
                      <a:lnTo>
                        <a:pt x="443" y="188"/>
                      </a:lnTo>
                      <a:lnTo>
                        <a:pt x="451" y="190"/>
                      </a:lnTo>
                      <a:lnTo>
                        <a:pt x="464" y="188"/>
                      </a:lnTo>
                      <a:lnTo>
                        <a:pt x="475" y="199"/>
                      </a:lnTo>
                      <a:lnTo>
                        <a:pt x="475" y="205"/>
                      </a:lnTo>
                      <a:lnTo>
                        <a:pt x="479" y="212"/>
                      </a:lnTo>
                      <a:lnTo>
                        <a:pt x="486" y="214"/>
                      </a:lnTo>
                      <a:lnTo>
                        <a:pt x="488" y="222"/>
                      </a:lnTo>
                      <a:lnTo>
                        <a:pt x="488" y="226"/>
                      </a:lnTo>
                      <a:lnTo>
                        <a:pt x="490" y="246"/>
                      </a:lnTo>
                      <a:lnTo>
                        <a:pt x="492" y="252"/>
                      </a:lnTo>
                      <a:lnTo>
                        <a:pt x="492" y="261"/>
                      </a:lnTo>
                      <a:lnTo>
                        <a:pt x="485" y="295"/>
                      </a:lnTo>
                      <a:lnTo>
                        <a:pt x="486" y="303"/>
                      </a:lnTo>
                      <a:lnTo>
                        <a:pt x="486" y="316"/>
                      </a:lnTo>
                      <a:lnTo>
                        <a:pt x="483" y="327"/>
                      </a:lnTo>
                      <a:lnTo>
                        <a:pt x="488" y="335"/>
                      </a:lnTo>
                      <a:lnTo>
                        <a:pt x="494" y="340"/>
                      </a:lnTo>
                      <a:lnTo>
                        <a:pt x="488" y="331"/>
                      </a:lnTo>
                      <a:lnTo>
                        <a:pt x="501" y="340"/>
                      </a:lnTo>
                      <a:lnTo>
                        <a:pt x="501" y="342"/>
                      </a:lnTo>
                      <a:lnTo>
                        <a:pt x="505" y="337"/>
                      </a:lnTo>
                      <a:lnTo>
                        <a:pt x="509" y="322"/>
                      </a:lnTo>
                      <a:lnTo>
                        <a:pt x="503" y="322"/>
                      </a:lnTo>
                      <a:lnTo>
                        <a:pt x="501" y="320"/>
                      </a:lnTo>
                      <a:lnTo>
                        <a:pt x="501" y="314"/>
                      </a:lnTo>
                      <a:lnTo>
                        <a:pt x="496" y="308"/>
                      </a:lnTo>
                      <a:lnTo>
                        <a:pt x="496" y="306"/>
                      </a:lnTo>
                      <a:lnTo>
                        <a:pt x="511" y="314"/>
                      </a:lnTo>
                      <a:lnTo>
                        <a:pt x="513" y="322"/>
                      </a:lnTo>
                      <a:lnTo>
                        <a:pt x="520" y="314"/>
                      </a:lnTo>
                      <a:lnTo>
                        <a:pt x="526" y="322"/>
                      </a:lnTo>
                      <a:lnTo>
                        <a:pt x="526" y="327"/>
                      </a:lnTo>
                      <a:lnTo>
                        <a:pt x="515" y="348"/>
                      </a:lnTo>
                      <a:lnTo>
                        <a:pt x="513" y="359"/>
                      </a:lnTo>
                      <a:lnTo>
                        <a:pt x="505" y="361"/>
                      </a:lnTo>
                      <a:lnTo>
                        <a:pt x="505" y="367"/>
                      </a:lnTo>
                      <a:lnTo>
                        <a:pt x="500" y="361"/>
                      </a:lnTo>
                      <a:lnTo>
                        <a:pt x="503" y="367"/>
                      </a:lnTo>
                      <a:lnTo>
                        <a:pt x="516" y="374"/>
                      </a:lnTo>
                      <a:lnTo>
                        <a:pt x="522" y="382"/>
                      </a:lnTo>
                      <a:lnTo>
                        <a:pt x="520" y="384"/>
                      </a:lnTo>
                      <a:lnTo>
                        <a:pt x="535" y="408"/>
                      </a:lnTo>
                      <a:lnTo>
                        <a:pt x="539" y="416"/>
                      </a:lnTo>
                      <a:lnTo>
                        <a:pt x="550" y="427"/>
                      </a:lnTo>
                      <a:lnTo>
                        <a:pt x="558" y="429"/>
                      </a:lnTo>
                      <a:lnTo>
                        <a:pt x="563" y="429"/>
                      </a:lnTo>
                      <a:lnTo>
                        <a:pt x="567" y="429"/>
                      </a:lnTo>
                      <a:lnTo>
                        <a:pt x="563" y="423"/>
                      </a:lnTo>
                      <a:lnTo>
                        <a:pt x="560" y="416"/>
                      </a:lnTo>
                      <a:lnTo>
                        <a:pt x="554" y="412"/>
                      </a:lnTo>
                      <a:lnTo>
                        <a:pt x="562" y="412"/>
                      </a:lnTo>
                      <a:lnTo>
                        <a:pt x="563" y="417"/>
                      </a:lnTo>
                      <a:lnTo>
                        <a:pt x="577" y="410"/>
                      </a:lnTo>
                      <a:lnTo>
                        <a:pt x="579" y="412"/>
                      </a:lnTo>
                      <a:lnTo>
                        <a:pt x="571" y="416"/>
                      </a:lnTo>
                      <a:lnTo>
                        <a:pt x="575" y="423"/>
                      </a:lnTo>
                      <a:lnTo>
                        <a:pt x="575" y="436"/>
                      </a:lnTo>
                      <a:lnTo>
                        <a:pt x="577" y="444"/>
                      </a:lnTo>
                      <a:lnTo>
                        <a:pt x="580" y="451"/>
                      </a:lnTo>
                      <a:lnTo>
                        <a:pt x="579" y="455"/>
                      </a:lnTo>
                      <a:lnTo>
                        <a:pt x="586" y="455"/>
                      </a:lnTo>
                      <a:lnTo>
                        <a:pt x="592" y="447"/>
                      </a:lnTo>
                      <a:lnTo>
                        <a:pt x="594" y="440"/>
                      </a:lnTo>
                      <a:lnTo>
                        <a:pt x="603" y="432"/>
                      </a:lnTo>
                      <a:lnTo>
                        <a:pt x="595" y="444"/>
                      </a:lnTo>
                      <a:lnTo>
                        <a:pt x="594" y="451"/>
                      </a:lnTo>
                      <a:lnTo>
                        <a:pt x="590" y="457"/>
                      </a:lnTo>
                      <a:lnTo>
                        <a:pt x="590" y="461"/>
                      </a:lnTo>
                      <a:lnTo>
                        <a:pt x="595" y="463"/>
                      </a:lnTo>
                      <a:lnTo>
                        <a:pt x="603" y="468"/>
                      </a:lnTo>
                      <a:lnTo>
                        <a:pt x="610" y="494"/>
                      </a:lnTo>
                      <a:lnTo>
                        <a:pt x="622" y="509"/>
                      </a:lnTo>
                      <a:lnTo>
                        <a:pt x="627" y="509"/>
                      </a:lnTo>
                      <a:lnTo>
                        <a:pt x="620" y="511"/>
                      </a:lnTo>
                      <a:lnTo>
                        <a:pt x="627" y="515"/>
                      </a:lnTo>
                      <a:lnTo>
                        <a:pt x="635" y="513"/>
                      </a:lnTo>
                      <a:lnTo>
                        <a:pt x="641" y="513"/>
                      </a:lnTo>
                      <a:lnTo>
                        <a:pt x="644" y="515"/>
                      </a:lnTo>
                      <a:lnTo>
                        <a:pt x="659" y="521"/>
                      </a:lnTo>
                      <a:lnTo>
                        <a:pt x="661" y="526"/>
                      </a:lnTo>
                      <a:lnTo>
                        <a:pt x="667" y="532"/>
                      </a:lnTo>
                      <a:lnTo>
                        <a:pt x="676" y="543"/>
                      </a:lnTo>
                      <a:lnTo>
                        <a:pt x="678" y="551"/>
                      </a:lnTo>
                      <a:lnTo>
                        <a:pt x="691" y="564"/>
                      </a:lnTo>
                      <a:lnTo>
                        <a:pt x="697" y="566"/>
                      </a:lnTo>
                      <a:lnTo>
                        <a:pt x="704" y="566"/>
                      </a:lnTo>
                      <a:lnTo>
                        <a:pt x="710" y="572"/>
                      </a:lnTo>
                      <a:lnTo>
                        <a:pt x="706" y="579"/>
                      </a:lnTo>
                      <a:lnTo>
                        <a:pt x="699" y="573"/>
                      </a:lnTo>
                      <a:lnTo>
                        <a:pt x="691" y="570"/>
                      </a:lnTo>
                      <a:lnTo>
                        <a:pt x="686" y="575"/>
                      </a:lnTo>
                      <a:lnTo>
                        <a:pt x="689" y="583"/>
                      </a:lnTo>
                      <a:lnTo>
                        <a:pt x="695" y="590"/>
                      </a:lnTo>
                      <a:lnTo>
                        <a:pt x="710" y="585"/>
                      </a:lnTo>
                      <a:lnTo>
                        <a:pt x="718" y="579"/>
                      </a:lnTo>
                      <a:lnTo>
                        <a:pt x="725" y="581"/>
                      </a:lnTo>
                      <a:lnTo>
                        <a:pt x="733" y="581"/>
                      </a:lnTo>
                      <a:lnTo>
                        <a:pt x="738" y="577"/>
                      </a:lnTo>
                      <a:lnTo>
                        <a:pt x="744" y="572"/>
                      </a:lnTo>
                      <a:lnTo>
                        <a:pt x="751" y="568"/>
                      </a:lnTo>
                      <a:lnTo>
                        <a:pt x="757" y="572"/>
                      </a:lnTo>
                      <a:lnTo>
                        <a:pt x="753" y="568"/>
                      </a:lnTo>
                      <a:lnTo>
                        <a:pt x="763" y="572"/>
                      </a:lnTo>
                      <a:lnTo>
                        <a:pt x="759" y="564"/>
                      </a:lnTo>
                      <a:lnTo>
                        <a:pt x="763" y="556"/>
                      </a:lnTo>
                      <a:lnTo>
                        <a:pt x="766" y="551"/>
                      </a:lnTo>
                      <a:lnTo>
                        <a:pt x="763" y="538"/>
                      </a:lnTo>
                      <a:lnTo>
                        <a:pt x="765" y="534"/>
                      </a:lnTo>
                      <a:lnTo>
                        <a:pt x="763" y="526"/>
                      </a:lnTo>
                      <a:lnTo>
                        <a:pt x="766" y="519"/>
                      </a:lnTo>
                      <a:lnTo>
                        <a:pt x="766" y="513"/>
                      </a:lnTo>
                      <a:lnTo>
                        <a:pt x="772" y="506"/>
                      </a:lnTo>
                      <a:lnTo>
                        <a:pt x="772" y="500"/>
                      </a:lnTo>
                      <a:lnTo>
                        <a:pt x="774" y="493"/>
                      </a:lnTo>
                      <a:lnTo>
                        <a:pt x="776" y="500"/>
                      </a:lnTo>
                      <a:lnTo>
                        <a:pt x="778" y="493"/>
                      </a:lnTo>
                      <a:lnTo>
                        <a:pt x="776" y="485"/>
                      </a:lnTo>
                      <a:lnTo>
                        <a:pt x="774" y="470"/>
                      </a:lnTo>
                      <a:lnTo>
                        <a:pt x="774" y="451"/>
                      </a:lnTo>
                      <a:lnTo>
                        <a:pt x="772" y="444"/>
                      </a:lnTo>
                      <a:lnTo>
                        <a:pt x="770" y="412"/>
                      </a:lnTo>
                      <a:lnTo>
                        <a:pt x="763" y="385"/>
                      </a:lnTo>
                      <a:lnTo>
                        <a:pt x="759" y="384"/>
                      </a:lnTo>
                      <a:lnTo>
                        <a:pt x="759" y="374"/>
                      </a:lnTo>
                      <a:lnTo>
                        <a:pt x="748" y="361"/>
                      </a:lnTo>
                      <a:lnTo>
                        <a:pt x="740" y="357"/>
                      </a:lnTo>
                      <a:lnTo>
                        <a:pt x="738" y="359"/>
                      </a:lnTo>
                      <a:lnTo>
                        <a:pt x="740" y="355"/>
                      </a:lnTo>
                      <a:lnTo>
                        <a:pt x="740" y="350"/>
                      </a:lnTo>
                      <a:lnTo>
                        <a:pt x="731" y="337"/>
                      </a:lnTo>
                      <a:lnTo>
                        <a:pt x="719" y="312"/>
                      </a:lnTo>
                      <a:lnTo>
                        <a:pt x="693" y="275"/>
                      </a:lnTo>
                      <a:lnTo>
                        <a:pt x="673" y="241"/>
                      </a:lnTo>
                      <a:lnTo>
                        <a:pt x="669" y="235"/>
                      </a:lnTo>
                      <a:lnTo>
                        <a:pt x="661" y="214"/>
                      </a:lnTo>
                      <a:lnTo>
                        <a:pt x="656" y="201"/>
                      </a:lnTo>
                      <a:lnTo>
                        <a:pt x="659" y="201"/>
                      </a:lnTo>
                      <a:lnTo>
                        <a:pt x="665" y="205"/>
                      </a:lnTo>
                      <a:lnTo>
                        <a:pt x="663" y="211"/>
                      </a:lnTo>
                      <a:lnTo>
                        <a:pt x="671" y="218"/>
                      </a:lnTo>
                      <a:lnTo>
                        <a:pt x="678" y="214"/>
                      </a:lnTo>
                      <a:lnTo>
                        <a:pt x="684" y="220"/>
                      </a:lnTo>
                      <a:lnTo>
                        <a:pt x="686" y="228"/>
                      </a:lnTo>
                      <a:lnTo>
                        <a:pt x="684" y="241"/>
                      </a:lnTo>
                      <a:lnTo>
                        <a:pt x="688" y="261"/>
                      </a:lnTo>
                      <a:lnTo>
                        <a:pt x="703" y="284"/>
                      </a:lnTo>
                      <a:lnTo>
                        <a:pt x="710" y="291"/>
                      </a:lnTo>
                      <a:lnTo>
                        <a:pt x="695" y="271"/>
                      </a:lnTo>
                      <a:lnTo>
                        <a:pt x="691" y="263"/>
                      </a:lnTo>
                      <a:lnTo>
                        <a:pt x="688" y="250"/>
                      </a:lnTo>
                      <a:lnTo>
                        <a:pt x="686" y="237"/>
                      </a:lnTo>
                      <a:lnTo>
                        <a:pt x="691" y="231"/>
                      </a:lnTo>
                      <a:lnTo>
                        <a:pt x="688" y="224"/>
                      </a:lnTo>
                      <a:lnTo>
                        <a:pt x="684" y="216"/>
                      </a:lnTo>
                      <a:lnTo>
                        <a:pt x="671" y="203"/>
                      </a:lnTo>
                      <a:lnTo>
                        <a:pt x="631" y="154"/>
                      </a:lnTo>
                      <a:lnTo>
                        <a:pt x="609" y="118"/>
                      </a:lnTo>
                      <a:lnTo>
                        <a:pt x="599" y="98"/>
                      </a:lnTo>
                      <a:lnTo>
                        <a:pt x="588" y="71"/>
                      </a:lnTo>
                      <a:lnTo>
                        <a:pt x="586" y="64"/>
                      </a:lnTo>
                      <a:lnTo>
                        <a:pt x="579" y="51"/>
                      </a:lnTo>
                      <a:lnTo>
                        <a:pt x="577" y="38"/>
                      </a:lnTo>
                      <a:lnTo>
                        <a:pt x="573" y="32"/>
                      </a:lnTo>
                      <a:lnTo>
                        <a:pt x="567" y="24"/>
                      </a:lnTo>
                      <a:lnTo>
                        <a:pt x="563" y="17"/>
                      </a:lnTo>
                      <a:lnTo>
                        <a:pt x="567" y="23"/>
                      </a:lnTo>
                      <a:lnTo>
                        <a:pt x="569" y="8"/>
                      </a:lnTo>
                      <a:lnTo>
                        <a:pt x="560" y="6"/>
                      </a:lnTo>
                      <a:lnTo>
                        <a:pt x="558" y="6"/>
                      </a:lnTo>
                      <a:lnTo>
                        <a:pt x="554" y="8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47" name="Freeform 108"/>
                <p:cNvSpPr>
                  <a:spLocks/>
                </p:cNvSpPr>
                <p:nvPr/>
              </p:nvSpPr>
              <p:spPr bwMode="auto">
                <a:xfrm>
                  <a:off x="4643777" y="3748872"/>
                  <a:ext cx="8646" cy="6976"/>
                </a:xfrm>
                <a:custGeom>
                  <a:avLst/>
                  <a:gdLst>
                    <a:gd name="T0" fmla="*/ 9 w 9"/>
                    <a:gd name="T1" fmla="*/ 0 h 8"/>
                    <a:gd name="T2" fmla="*/ 8 w 9"/>
                    <a:gd name="T3" fmla="*/ 2 h 8"/>
                    <a:gd name="T4" fmla="*/ 0 w 9"/>
                    <a:gd name="T5" fmla="*/ 8 h 8"/>
                    <a:gd name="T6" fmla="*/ 8 w 9"/>
                    <a:gd name="T7" fmla="*/ 2 h 8"/>
                    <a:gd name="T8" fmla="*/ 9 w 9"/>
                    <a:gd name="T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8">
                      <a:moveTo>
                        <a:pt x="9" y="0"/>
                      </a:moveTo>
                      <a:lnTo>
                        <a:pt x="8" y="2"/>
                      </a:lnTo>
                      <a:lnTo>
                        <a:pt x="0" y="8"/>
                      </a:lnTo>
                      <a:lnTo>
                        <a:pt x="8" y="2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48" name="Freeform 109"/>
                <p:cNvSpPr>
                  <a:spLocks/>
                </p:cNvSpPr>
                <p:nvPr/>
              </p:nvSpPr>
              <p:spPr bwMode="auto">
                <a:xfrm>
                  <a:off x="4643777" y="3748872"/>
                  <a:ext cx="8646" cy="6976"/>
                </a:xfrm>
                <a:custGeom>
                  <a:avLst/>
                  <a:gdLst>
                    <a:gd name="T0" fmla="*/ 9 w 9"/>
                    <a:gd name="T1" fmla="*/ 0 h 8"/>
                    <a:gd name="T2" fmla="*/ 8 w 9"/>
                    <a:gd name="T3" fmla="*/ 2 h 8"/>
                    <a:gd name="T4" fmla="*/ 0 w 9"/>
                    <a:gd name="T5" fmla="*/ 8 h 8"/>
                    <a:gd name="T6" fmla="*/ 8 w 9"/>
                    <a:gd name="T7" fmla="*/ 2 h 8"/>
                    <a:gd name="T8" fmla="*/ 9 w 9"/>
                    <a:gd name="T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8">
                      <a:moveTo>
                        <a:pt x="9" y="0"/>
                      </a:moveTo>
                      <a:lnTo>
                        <a:pt x="8" y="2"/>
                      </a:lnTo>
                      <a:lnTo>
                        <a:pt x="0" y="8"/>
                      </a:lnTo>
                      <a:lnTo>
                        <a:pt x="8" y="2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49" name="Freeform 110"/>
                <p:cNvSpPr>
                  <a:spLocks/>
                </p:cNvSpPr>
                <p:nvPr/>
              </p:nvSpPr>
              <p:spPr bwMode="auto">
                <a:xfrm>
                  <a:off x="4506399" y="3606729"/>
                  <a:ext cx="14410" cy="7848"/>
                </a:xfrm>
                <a:custGeom>
                  <a:avLst/>
                  <a:gdLst>
                    <a:gd name="T0" fmla="*/ 15 w 15"/>
                    <a:gd name="T1" fmla="*/ 5 h 9"/>
                    <a:gd name="T2" fmla="*/ 8 w 15"/>
                    <a:gd name="T3" fmla="*/ 7 h 9"/>
                    <a:gd name="T4" fmla="*/ 0 w 15"/>
                    <a:gd name="T5" fmla="*/ 0 h 9"/>
                    <a:gd name="T6" fmla="*/ 0 w 15"/>
                    <a:gd name="T7" fmla="*/ 0 h 9"/>
                    <a:gd name="T8" fmla="*/ 4 w 15"/>
                    <a:gd name="T9" fmla="*/ 7 h 9"/>
                    <a:gd name="T10" fmla="*/ 8 w 15"/>
                    <a:gd name="T11" fmla="*/ 9 h 9"/>
                    <a:gd name="T12" fmla="*/ 15 w 15"/>
                    <a:gd name="T13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9">
                      <a:moveTo>
                        <a:pt x="15" y="5"/>
                      </a:moveTo>
                      <a:lnTo>
                        <a:pt x="8" y="7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7"/>
                      </a:lnTo>
                      <a:lnTo>
                        <a:pt x="8" y="9"/>
                      </a:lnTo>
                      <a:lnTo>
                        <a:pt x="15" y="5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50" name="Freeform 111"/>
                <p:cNvSpPr>
                  <a:spLocks/>
                </p:cNvSpPr>
                <p:nvPr/>
              </p:nvSpPr>
              <p:spPr bwMode="auto">
                <a:xfrm>
                  <a:off x="4506399" y="3606729"/>
                  <a:ext cx="14410" cy="7848"/>
                </a:xfrm>
                <a:custGeom>
                  <a:avLst/>
                  <a:gdLst>
                    <a:gd name="T0" fmla="*/ 15 w 15"/>
                    <a:gd name="T1" fmla="*/ 5 h 9"/>
                    <a:gd name="T2" fmla="*/ 8 w 15"/>
                    <a:gd name="T3" fmla="*/ 7 h 9"/>
                    <a:gd name="T4" fmla="*/ 0 w 15"/>
                    <a:gd name="T5" fmla="*/ 0 h 9"/>
                    <a:gd name="T6" fmla="*/ 0 w 15"/>
                    <a:gd name="T7" fmla="*/ 0 h 9"/>
                    <a:gd name="T8" fmla="*/ 4 w 15"/>
                    <a:gd name="T9" fmla="*/ 7 h 9"/>
                    <a:gd name="T10" fmla="*/ 8 w 15"/>
                    <a:gd name="T11" fmla="*/ 9 h 9"/>
                    <a:gd name="T12" fmla="*/ 15 w 15"/>
                    <a:gd name="T13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9">
                      <a:moveTo>
                        <a:pt x="15" y="5"/>
                      </a:moveTo>
                      <a:lnTo>
                        <a:pt x="8" y="7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7"/>
                      </a:lnTo>
                      <a:lnTo>
                        <a:pt x="8" y="9"/>
                      </a:lnTo>
                      <a:lnTo>
                        <a:pt x="15" y="5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51" name="Freeform 112"/>
                <p:cNvSpPr>
                  <a:spLocks/>
                </p:cNvSpPr>
                <p:nvPr/>
              </p:nvSpPr>
              <p:spPr bwMode="auto">
                <a:xfrm>
                  <a:off x="4680283" y="3688701"/>
                  <a:ext cx="24978" cy="40986"/>
                </a:xfrm>
                <a:custGeom>
                  <a:avLst/>
                  <a:gdLst>
                    <a:gd name="T0" fmla="*/ 26 w 26"/>
                    <a:gd name="T1" fmla="*/ 0 h 47"/>
                    <a:gd name="T2" fmla="*/ 18 w 26"/>
                    <a:gd name="T3" fmla="*/ 5 h 47"/>
                    <a:gd name="T4" fmla="*/ 18 w 26"/>
                    <a:gd name="T5" fmla="*/ 13 h 47"/>
                    <a:gd name="T6" fmla="*/ 13 w 26"/>
                    <a:gd name="T7" fmla="*/ 26 h 47"/>
                    <a:gd name="T8" fmla="*/ 3 w 26"/>
                    <a:gd name="T9" fmla="*/ 39 h 47"/>
                    <a:gd name="T10" fmla="*/ 3 w 26"/>
                    <a:gd name="T11" fmla="*/ 41 h 47"/>
                    <a:gd name="T12" fmla="*/ 0 w 26"/>
                    <a:gd name="T13" fmla="*/ 47 h 47"/>
                    <a:gd name="T14" fmla="*/ 15 w 26"/>
                    <a:gd name="T15" fmla="*/ 26 h 47"/>
                    <a:gd name="T16" fmla="*/ 26 w 26"/>
                    <a:gd name="T17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6" h="47">
                      <a:moveTo>
                        <a:pt x="26" y="0"/>
                      </a:moveTo>
                      <a:lnTo>
                        <a:pt x="18" y="5"/>
                      </a:lnTo>
                      <a:lnTo>
                        <a:pt x="18" y="13"/>
                      </a:lnTo>
                      <a:lnTo>
                        <a:pt x="13" y="26"/>
                      </a:lnTo>
                      <a:lnTo>
                        <a:pt x="3" y="39"/>
                      </a:lnTo>
                      <a:lnTo>
                        <a:pt x="3" y="41"/>
                      </a:lnTo>
                      <a:lnTo>
                        <a:pt x="0" y="47"/>
                      </a:lnTo>
                      <a:lnTo>
                        <a:pt x="15" y="26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52" name="Freeform 113"/>
                <p:cNvSpPr>
                  <a:spLocks/>
                </p:cNvSpPr>
                <p:nvPr/>
              </p:nvSpPr>
              <p:spPr bwMode="auto">
                <a:xfrm>
                  <a:off x="4680283" y="3688701"/>
                  <a:ext cx="24978" cy="40986"/>
                </a:xfrm>
                <a:custGeom>
                  <a:avLst/>
                  <a:gdLst>
                    <a:gd name="T0" fmla="*/ 26 w 26"/>
                    <a:gd name="T1" fmla="*/ 0 h 47"/>
                    <a:gd name="T2" fmla="*/ 18 w 26"/>
                    <a:gd name="T3" fmla="*/ 5 h 47"/>
                    <a:gd name="T4" fmla="*/ 18 w 26"/>
                    <a:gd name="T5" fmla="*/ 13 h 47"/>
                    <a:gd name="T6" fmla="*/ 13 w 26"/>
                    <a:gd name="T7" fmla="*/ 26 h 47"/>
                    <a:gd name="T8" fmla="*/ 3 w 26"/>
                    <a:gd name="T9" fmla="*/ 39 h 47"/>
                    <a:gd name="T10" fmla="*/ 3 w 26"/>
                    <a:gd name="T11" fmla="*/ 41 h 47"/>
                    <a:gd name="T12" fmla="*/ 0 w 26"/>
                    <a:gd name="T13" fmla="*/ 47 h 47"/>
                    <a:gd name="T14" fmla="*/ 15 w 26"/>
                    <a:gd name="T15" fmla="*/ 26 h 47"/>
                    <a:gd name="T16" fmla="*/ 26 w 26"/>
                    <a:gd name="T17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6" h="47">
                      <a:moveTo>
                        <a:pt x="26" y="0"/>
                      </a:moveTo>
                      <a:lnTo>
                        <a:pt x="18" y="5"/>
                      </a:lnTo>
                      <a:lnTo>
                        <a:pt x="18" y="13"/>
                      </a:lnTo>
                      <a:lnTo>
                        <a:pt x="13" y="26"/>
                      </a:lnTo>
                      <a:lnTo>
                        <a:pt x="3" y="39"/>
                      </a:lnTo>
                      <a:lnTo>
                        <a:pt x="3" y="41"/>
                      </a:lnTo>
                      <a:lnTo>
                        <a:pt x="0" y="47"/>
                      </a:lnTo>
                      <a:lnTo>
                        <a:pt x="15" y="26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53" name="Freeform 114"/>
                <p:cNvSpPr>
                  <a:spLocks/>
                </p:cNvSpPr>
                <p:nvPr/>
              </p:nvSpPr>
              <p:spPr bwMode="auto">
                <a:xfrm>
                  <a:off x="4707183" y="3673876"/>
                  <a:ext cx="1921" cy="6104"/>
                </a:xfrm>
                <a:custGeom>
                  <a:avLst/>
                  <a:gdLst>
                    <a:gd name="T0" fmla="*/ 0 w 2"/>
                    <a:gd name="T1" fmla="*/ 7 h 7"/>
                    <a:gd name="T2" fmla="*/ 2 w 2"/>
                    <a:gd name="T3" fmla="*/ 0 h 7"/>
                    <a:gd name="T4" fmla="*/ 0 w 2"/>
                    <a:gd name="T5" fmla="*/ 0 h 7"/>
                    <a:gd name="T6" fmla="*/ 0 w 2"/>
                    <a:gd name="T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7">
                      <a:moveTo>
                        <a:pt x="0" y="7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54" name="Freeform 115"/>
                <p:cNvSpPr>
                  <a:spLocks/>
                </p:cNvSpPr>
                <p:nvPr/>
              </p:nvSpPr>
              <p:spPr bwMode="auto">
                <a:xfrm>
                  <a:off x="4707183" y="3673876"/>
                  <a:ext cx="1921" cy="6104"/>
                </a:xfrm>
                <a:custGeom>
                  <a:avLst/>
                  <a:gdLst>
                    <a:gd name="T0" fmla="*/ 0 w 2"/>
                    <a:gd name="T1" fmla="*/ 7 h 7"/>
                    <a:gd name="T2" fmla="*/ 2 w 2"/>
                    <a:gd name="T3" fmla="*/ 0 h 7"/>
                    <a:gd name="T4" fmla="*/ 0 w 2"/>
                    <a:gd name="T5" fmla="*/ 0 h 7"/>
                    <a:gd name="T6" fmla="*/ 0 w 2"/>
                    <a:gd name="T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7">
                      <a:moveTo>
                        <a:pt x="0" y="7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  <p:grpSp>
            <p:nvGrpSpPr>
              <p:cNvPr id="454" name="Group 453"/>
              <p:cNvGrpSpPr/>
              <p:nvPr/>
            </p:nvGrpSpPr>
            <p:grpSpPr>
              <a:xfrm>
                <a:off x="3872343" y="2857646"/>
                <a:ext cx="317988" cy="466542"/>
                <a:chOff x="3872343" y="2857646"/>
                <a:chExt cx="317988" cy="466542"/>
              </a:xfrm>
              <a:grpFill/>
            </p:grpSpPr>
            <p:sp>
              <p:nvSpPr>
                <p:cNvPr id="334" name="Freeform 95"/>
                <p:cNvSpPr>
                  <a:spLocks/>
                </p:cNvSpPr>
                <p:nvPr/>
              </p:nvSpPr>
              <p:spPr bwMode="auto">
                <a:xfrm>
                  <a:off x="3872343" y="2857646"/>
                  <a:ext cx="317988" cy="465670"/>
                </a:xfrm>
                <a:custGeom>
                  <a:avLst/>
                  <a:gdLst>
                    <a:gd name="T0" fmla="*/ 117 w 331"/>
                    <a:gd name="T1" fmla="*/ 485 h 534"/>
                    <a:gd name="T2" fmla="*/ 104 w 331"/>
                    <a:gd name="T3" fmla="*/ 475 h 534"/>
                    <a:gd name="T4" fmla="*/ 94 w 331"/>
                    <a:gd name="T5" fmla="*/ 453 h 534"/>
                    <a:gd name="T6" fmla="*/ 187 w 331"/>
                    <a:gd name="T7" fmla="*/ 438 h 534"/>
                    <a:gd name="T8" fmla="*/ 331 w 331"/>
                    <a:gd name="T9" fmla="*/ 417 h 534"/>
                    <a:gd name="T10" fmla="*/ 320 w 331"/>
                    <a:gd name="T11" fmla="*/ 400 h 534"/>
                    <a:gd name="T12" fmla="*/ 320 w 331"/>
                    <a:gd name="T13" fmla="*/ 377 h 534"/>
                    <a:gd name="T14" fmla="*/ 320 w 331"/>
                    <a:gd name="T15" fmla="*/ 364 h 534"/>
                    <a:gd name="T16" fmla="*/ 312 w 331"/>
                    <a:gd name="T17" fmla="*/ 347 h 534"/>
                    <a:gd name="T18" fmla="*/ 309 w 331"/>
                    <a:gd name="T19" fmla="*/ 321 h 534"/>
                    <a:gd name="T20" fmla="*/ 312 w 331"/>
                    <a:gd name="T21" fmla="*/ 300 h 534"/>
                    <a:gd name="T22" fmla="*/ 322 w 331"/>
                    <a:gd name="T23" fmla="*/ 289 h 534"/>
                    <a:gd name="T24" fmla="*/ 314 w 331"/>
                    <a:gd name="T25" fmla="*/ 278 h 534"/>
                    <a:gd name="T26" fmla="*/ 312 w 331"/>
                    <a:gd name="T27" fmla="*/ 261 h 534"/>
                    <a:gd name="T28" fmla="*/ 303 w 331"/>
                    <a:gd name="T29" fmla="*/ 250 h 534"/>
                    <a:gd name="T30" fmla="*/ 292 w 331"/>
                    <a:gd name="T31" fmla="*/ 229 h 534"/>
                    <a:gd name="T32" fmla="*/ 288 w 331"/>
                    <a:gd name="T33" fmla="*/ 218 h 534"/>
                    <a:gd name="T34" fmla="*/ 224 w 331"/>
                    <a:gd name="T35" fmla="*/ 0 h 534"/>
                    <a:gd name="T36" fmla="*/ 0 w 331"/>
                    <a:gd name="T37" fmla="*/ 20 h 534"/>
                    <a:gd name="T38" fmla="*/ 4 w 331"/>
                    <a:gd name="T39" fmla="*/ 28 h 534"/>
                    <a:gd name="T40" fmla="*/ 4 w 331"/>
                    <a:gd name="T41" fmla="*/ 357 h 534"/>
                    <a:gd name="T42" fmla="*/ 27 w 331"/>
                    <a:gd name="T43" fmla="*/ 520 h 534"/>
                    <a:gd name="T44" fmla="*/ 47 w 331"/>
                    <a:gd name="T45" fmla="*/ 520 h 534"/>
                    <a:gd name="T46" fmla="*/ 55 w 331"/>
                    <a:gd name="T47" fmla="*/ 496 h 534"/>
                    <a:gd name="T48" fmla="*/ 59 w 331"/>
                    <a:gd name="T49" fmla="*/ 483 h 534"/>
                    <a:gd name="T50" fmla="*/ 62 w 331"/>
                    <a:gd name="T51" fmla="*/ 485 h 534"/>
                    <a:gd name="T52" fmla="*/ 70 w 331"/>
                    <a:gd name="T53" fmla="*/ 492 h 534"/>
                    <a:gd name="T54" fmla="*/ 68 w 331"/>
                    <a:gd name="T55" fmla="*/ 505 h 534"/>
                    <a:gd name="T56" fmla="*/ 79 w 331"/>
                    <a:gd name="T57" fmla="*/ 517 h 534"/>
                    <a:gd name="T58" fmla="*/ 85 w 331"/>
                    <a:gd name="T59" fmla="*/ 522 h 534"/>
                    <a:gd name="T60" fmla="*/ 76 w 331"/>
                    <a:gd name="T61" fmla="*/ 532 h 534"/>
                    <a:gd name="T62" fmla="*/ 64 w 331"/>
                    <a:gd name="T63" fmla="*/ 534 h 534"/>
                    <a:gd name="T64" fmla="*/ 100 w 331"/>
                    <a:gd name="T65" fmla="*/ 528 h 534"/>
                    <a:gd name="T66" fmla="*/ 100 w 331"/>
                    <a:gd name="T67" fmla="*/ 518 h 534"/>
                    <a:gd name="T68" fmla="*/ 115 w 331"/>
                    <a:gd name="T69" fmla="*/ 513 h 534"/>
                    <a:gd name="T70" fmla="*/ 115 w 331"/>
                    <a:gd name="T71" fmla="*/ 498 h 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31" h="534">
                      <a:moveTo>
                        <a:pt x="113" y="494"/>
                      </a:moveTo>
                      <a:lnTo>
                        <a:pt x="117" y="485"/>
                      </a:lnTo>
                      <a:lnTo>
                        <a:pt x="109" y="477"/>
                      </a:lnTo>
                      <a:lnTo>
                        <a:pt x="104" y="475"/>
                      </a:lnTo>
                      <a:lnTo>
                        <a:pt x="93" y="460"/>
                      </a:lnTo>
                      <a:lnTo>
                        <a:pt x="94" y="453"/>
                      </a:lnTo>
                      <a:lnTo>
                        <a:pt x="102" y="447"/>
                      </a:lnTo>
                      <a:lnTo>
                        <a:pt x="187" y="438"/>
                      </a:lnTo>
                      <a:lnTo>
                        <a:pt x="331" y="421"/>
                      </a:lnTo>
                      <a:lnTo>
                        <a:pt x="331" y="417"/>
                      </a:lnTo>
                      <a:lnTo>
                        <a:pt x="326" y="408"/>
                      </a:lnTo>
                      <a:lnTo>
                        <a:pt x="320" y="400"/>
                      </a:lnTo>
                      <a:lnTo>
                        <a:pt x="318" y="393"/>
                      </a:lnTo>
                      <a:lnTo>
                        <a:pt x="320" y="377"/>
                      </a:lnTo>
                      <a:lnTo>
                        <a:pt x="318" y="372"/>
                      </a:lnTo>
                      <a:lnTo>
                        <a:pt x="320" y="364"/>
                      </a:lnTo>
                      <a:lnTo>
                        <a:pt x="318" y="355"/>
                      </a:lnTo>
                      <a:lnTo>
                        <a:pt x="312" y="347"/>
                      </a:lnTo>
                      <a:lnTo>
                        <a:pt x="307" y="334"/>
                      </a:lnTo>
                      <a:lnTo>
                        <a:pt x="309" y="321"/>
                      </a:lnTo>
                      <a:lnTo>
                        <a:pt x="312" y="314"/>
                      </a:lnTo>
                      <a:lnTo>
                        <a:pt x="312" y="300"/>
                      </a:lnTo>
                      <a:lnTo>
                        <a:pt x="316" y="293"/>
                      </a:lnTo>
                      <a:lnTo>
                        <a:pt x="322" y="289"/>
                      </a:lnTo>
                      <a:lnTo>
                        <a:pt x="320" y="282"/>
                      </a:lnTo>
                      <a:lnTo>
                        <a:pt x="314" y="278"/>
                      </a:lnTo>
                      <a:lnTo>
                        <a:pt x="316" y="268"/>
                      </a:lnTo>
                      <a:lnTo>
                        <a:pt x="312" y="261"/>
                      </a:lnTo>
                      <a:lnTo>
                        <a:pt x="311" y="257"/>
                      </a:lnTo>
                      <a:lnTo>
                        <a:pt x="303" y="250"/>
                      </a:lnTo>
                      <a:lnTo>
                        <a:pt x="297" y="236"/>
                      </a:lnTo>
                      <a:lnTo>
                        <a:pt x="292" y="229"/>
                      </a:lnTo>
                      <a:lnTo>
                        <a:pt x="290" y="221"/>
                      </a:lnTo>
                      <a:lnTo>
                        <a:pt x="288" y="218"/>
                      </a:lnTo>
                      <a:lnTo>
                        <a:pt x="256" y="101"/>
                      </a:lnTo>
                      <a:lnTo>
                        <a:pt x="224" y="0"/>
                      </a:lnTo>
                      <a:lnTo>
                        <a:pt x="126" y="11"/>
                      </a:lnTo>
                      <a:lnTo>
                        <a:pt x="0" y="20"/>
                      </a:lnTo>
                      <a:lnTo>
                        <a:pt x="0" y="22"/>
                      </a:lnTo>
                      <a:lnTo>
                        <a:pt x="4" y="28"/>
                      </a:lnTo>
                      <a:lnTo>
                        <a:pt x="12" y="32"/>
                      </a:lnTo>
                      <a:lnTo>
                        <a:pt x="4" y="357"/>
                      </a:lnTo>
                      <a:lnTo>
                        <a:pt x="27" y="517"/>
                      </a:lnTo>
                      <a:lnTo>
                        <a:pt x="27" y="520"/>
                      </a:lnTo>
                      <a:lnTo>
                        <a:pt x="34" y="518"/>
                      </a:lnTo>
                      <a:lnTo>
                        <a:pt x="47" y="520"/>
                      </a:lnTo>
                      <a:lnTo>
                        <a:pt x="53" y="520"/>
                      </a:lnTo>
                      <a:lnTo>
                        <a:pt x="55" y="496"/>
                      </a:lnTo>
                      <a:lnTo>
                        <a:pt x="57" y="488"/>
                      </a:lnTo>
                      <a:lnTo>
                        <a:pt x="59" y="483"/>
                      </a:lnTo>
                      <a:lnTo>
                        <a:pt x="59" y="481"/>
                      </a:lnTo>
                      <a:lnTo>
                        <a:pt x="62" y="485"/>
                      </a:lnTo>
                      <a:lnTo>
                        <a:pt x="64" y="487"/>
                      </a:lnTo>
                      <a:lnTo>
                        <a:pt x="70" y="492"/>
                      </a:lnTo>
                      <a:lnTo>
                        <a:pt x="70" y="500"/>
                      </a:lnTo>
                      <a:lnTo>
                        <a:pt x="68" y="505"/>
                      </a:lnTo>
                      <a:lnTo>
                        <a:pt x="72" y="513"/>
                      </a:lnTo>
                      <a:lnTo>
                        <a:pt x="79" y="517"/>
                      </a:lnTo>
                      <a:lnTo>
                        <a:pt x="81" y="515"/>
                      </a:lnTo>
                      <a:lnTo>
                        <a:pt x="85" y="522"/>
                      </a:lnTo>
                      <a:lnTo>
                        <a:pt x="83" y="530"/>
                      </a:lnTo>
                      <a:lnTo>
                        <a:pt x="76" y="532"/>
                      </a:lnTo>
                      <a:lnTo>
                        <a:pt x="70" y="532"/>
                      </a:lnTo>
                      <a:lnTo>
                        <a:pt x="64" y="534"/>
                      </a:lnTo>
                      <a:lnTo>
                        <a:pt x="93" y="530"/>
                      </a:lnTo>
                      <a:lnTo>
                        <a:pt x="100" y="528"/>
                      </a:lnTo>
                      <a:lnTo>
                        <a:pt x="102" y="520"/>
                      </a:lnTo>
                      <a:lnTo>
                        <a:pt x="100" y="518"/>
                      </a:lnTo>
                      <a:lnTo>
                        <a:pt x="108" y="520"/>
                      </a:lnTo>
                      <a:lnTo>
                        <a:pt x="115" y="513"/>
                      </a:lnTo>
                      <a:lnTo>
                        <a:pt x="117" y="502"/>
                      </a:lnTo>
                      <a:lnTo>
                        <a:pt x="115" y="498"/>
                      </a:lnTo>
                      <a:lnTo>
                        <a:pt x="113" y="494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36" name="Freeform 97"/>
                <p:cNvSpPr>
                  <a:spLocks/>
                </p:cNvSpPr>
                <p:nvPr/>
              </p:nvSpPr>
              <p:spPr bwMode="auto">
                <a:xfrm>
                  <a:off x="3912692" y="3321572"/>
                  <a:ext cx="8646" cy="2616"/>
                </a:xfrm>
                <a:custGeom>
                  <a:avLst/>
                  <a:gdLst>
                    <a:gd name="T0" fmla="*/ 9 w 9"/>
                    <a:gd name="T1" fmla="*/ 0 h 3"/>
                    <a:gd name="T2" fmla="*/ 0 w 9"/>
                    <a:gd name="T3" fmla="*/ 3 h 3"/>
                    <a:gd name="T4" fmla="*/ 5 w 9"/>
                    <a:gd name="T5" fmla="*/ 2 h 3"/>
                    <a:gd name="T6" fmla="*/ 9 w 9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3">
                      <a:moveTo>
                        <a:pt x="9" y="0"/>
                      </a:moveTo>
                      <a:lnTo>
                        <a:pt x="0" y="3"/>
                      </a:lnTo>
                      <a:lnTo>
                        <a:pt x="5" y="2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37" name="Freeform 98"/>
                <p:cNvSpPr>
                  <a:spLocks/>
                </p:cNvSpPr>
                <p:nvPr/>
              </p:nvSpPr>
              <p:spPr bwMode="auto">
                <a:xfrm>
                  <a:off x="3912692" y="3321572"/>
                  <a:ext cx="8646" cy="2616"/>
                </a:xfrm>
                <a:custGeom>
                  <a:avLst/>
                  <a:gdLst>
                    <a:gd name="T0" fmla="*/ 9 w 9"/>
                    <a:gd name="T1" fmla="*/ 0 h 3"/>
                    <a:gd name="T2" fmla="*/ 0 w 9"/>
                    <a:gd name="T3" fmla="*/ 3 h 3"/>
                    <a:gd name="T4" fmla="*/ 5 w 9"/>
                    <a:gd name="T5" fmla="*/ 2 h 3"/>
                    <a:gd name="T6" fmla="*/ 9 w 9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3">
                      <a:moveTo>
                        <a:pt x="9" y="0"/>
                      </a:moveTo>
                      <a:lnTo>
                        <a:pt x="0" y="3"/>
                      </a:lnTo>
                      <a:lnTo>
                        <a:pt x="5" y="2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55" name="Freeform 116"/>
                <p:cNvSpPr>
                  <a:spLocks/>
                </p:cNvSpPr>
                <p:nvPr/>
              </p:nvSpPr>
              <p:spPr bwMode="auto">
                <a:xfrm>
                  <a:off x="3997233" y="3295411"/>
                  <a:ext cx="63406" cy="13081"/>
                </a:xfrm>
                <a:custGeom>
                  <a:avLst/>
                  <a:gdLst>
                    <a:gd name="T0" fmla="*/ 28 w 66"/>
                    <a:gd name="T1" fmla="*/ 7 h 15"/>
                    <a:gd name="T2" fmla="*/ 23 w 66"/>
                    <a:gd name="T3" fmla="*/ 7 h 15"/>
                    <a:gd name="T4" fmla="*/ 15 w 66"/>
                    <a:gd name="T5" fmla="*/ 11 h 15"/>
                    <a:gd name="T6" fmla="*/ 0 w 66"/>
                    <a:gd name="T7" fmla="*/ 15 h 15"/>
                    <a:gd name="T8" fmla="*/ 8 w 66"/>
                    <a:gd name="T9" fmla="*/ 15 h 15"/>
                    <a:gd name="T10" fmla="*/ 51 w 66"/>
                    <a:gd name="T11" fmla="*/ 1 h 15"/>
                    <a:gd name="T12" fmla="*/ 66 w 66"/>
                    <a:gd name="T13" fmla="*/ 0 h 15"/>
                    <a:gd name="T14" fmla="*/ 60 w 66"/>
                    <a:gd name="T15" fmla="*/ 0 h 15"/>
                    <a:gd name="T16" fmla="*/ 45 w 66"/>
                    <a:gd name="T17" fmla="*/ 1 h 15"/>
                    <a:gd name="T18" fmla="*/ 28 w 66"/>
                    <a:gd name="T19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6" h="15">
                      <a:moveTo>
                        <a:pt x="28" y="7"/>
                      </a:moveTo>
                      <a:lnTo>
                        <a:pt x="23" y="7"/>
                      </a:lnTo>
                      <a:lnTo>
                        <a:pt x="15" y="11"/>
                      </a:lnTo>
                      <a:lnTo>
                        <a:pt x="0" y="15"/>
                      </a:lnTo>
                      <a:lnTo>
                        <a:pt x="8" y="15"/>
                      </a:lnTo>
                      <a:lnTo>
                        <a:pt x="51" y="1"/>
                      </a:lnTo>
                      <a:lnTo>
                        <a:pt x="66" y="0"/>
                      </a:lnTo>
                      <a:lnTo>
                        <a:pt x="60" y="0"/>
                      </a:lnTo>
                      <a:lnTo>
                        <a:pt x="45" y="1"/>
                      </a:lnTo>
                      <a:lnTo>
                        <a:pt x="28" y="7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56" name="Freeform 117"/>
                <p:cNvSpPr>
                  <a:spLocks/>
                </p:cNvSpPr>
                <p:nvPr/>
              </p:nvSpPr>
              <p:spPr bwMode="auto">
                <a:xfrm>
                  <a:off x="3997233" y="3295411"/>
                  <a:ext cx="63406" cy="13081"/>
                </a:xfrm>
                <a:custGeom>
                  <a:avLst/>
                  <a:gdLst>
                    <a:gd name="T0" fmla="*/ 28 w 66"/>
                    <a:gd name="T1" fmla="*/ 7 h 15"/>
                    <a:gd name="T2" fmla="*/ 23 w 66"/>
                    <a:gd name="T3" fmla="*/ 7 h 15"/>
                    <a:gd name="T4" fmla="*/ 15 w 66"/>
                    <a:gd name="T5" fmla="*/ 11 h 15"/>
                    <a:gd name="T6" fmla="*/ 0 w 66"/>
                    <a:gd name="T7" fmla="*/ 15 h 15"/>
                    <a:gd name="T8" fmla="*/ 8 w 66"/>
                    <a:gd name="T9" fmla="*/ 15 h 15"/>
                    <a:gd name="T10" fmla="*/ 51 w 66"/>
                    <a:gd name="T11" fmla="*/ 1 h 15"/>
                    <a:gd name="T12" fmla="*/ 66 w 66"/>
                    <a:gd name="T13" fmla="*/ 0 h 15"/>
                    <a:gd name="T14" fmla="*/ 60 w 66"/>
                    <a:gd name="T15" fmla="*/ 0 h 15"/>
                    <a:gd name="T16" fmla="*/ 45 w 66"/>
                    <a:gd name="T17" fmla="*/ 1 h 15"/>
                    <a:gd name="T18" fmla="*/ 28 w 66"/>
                    <a:gd name="T19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6" h="15">
                      <a:moveTo>
                        <a:pt x="28" y="7"/>
                      </a:moveTo>
                      <a:lnTo>
                        <a:pt x="23" y="7"/>
                      </a:lnTo>
                      <a:lnTo>
                        <a:pt x="15" y="11"/>
                      </a:lnTo>
                      <a:lnTo>
                        <a:pt x="0" y="15"/>
                      </a:lnTo>
                      <a:lnTo>
                        <a:pt x="8" y="15"/>
                      </a:lnTo>
                      <a:lnTo>
                        <a:pt x="51" y="1"/>
                      </a:lnTo>
                      <a:lnTo>
                        <a:pt x="66" y="0"/>
                      </a:lnTo>
                      <a:lnTo>
                        <a:pt x="60" y="0"/>
                      </a:lnTo>
                      <a:lnTo>
                        <a:pt x="45" y="1"/>
                      </a:lnTo>
                      <a:lnTo>
                        <a:pt x="28" y="7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  <p:sp>
            <p:nvSpPr>
              <p:cNvPr id="357" name="Freeform 118"/>
              <p:cNvSpPr>
                <a:spLocks/>
              </p:cNvSpPr>
              <p:nvPr/>
            </p:nvSpPr>
            <p:spPr bwMode="auto">
              <a:xfrm>
                <a:off x="4067363" y="2150421"/>
                <a:ext cx="343927" cy="355793"/>
              </a:xfrm>
              <a:custGeom>
                <a:avLst/>
                <a:gdLst>
                  <a:gd name="T0" fmla="*/ 14 w 358"/>
                  <a:gd name="T1" fmla="*/ 181 h 408"/>
                  <a:gd name="T2" fmla="*/ 44 w 358"/>
                  <a:gd name="T3" fmla="*/ 356 h 408"/>
                  <a:gd name="T4" fmla="*/ 61 w 358"/>
                  <a:gd name="T5" fmla="*/ 358 h 408"/>
                  <a:gd name="T6" fmla="*/ 81 w 358"/>
                  <a:gd name="T7" fmla="*/ 373 h 408"/>
                  <a:gd name="T8" fmla="*/ 100 w 358"/>
                  <a:gd name="T9" fmla="*/ 388 h 408"/>
                  <a:gd name="T10" fmla="*/ 117 w 358"/>
                  <a:gd name="T11" fmla="*/ 388 h 408"/>
                  <a:gd name="T12" fmla="*/ 138 w 358"/>
                  <a:gd name="T13" fmla="*/ 397 h 408"/>
                  <a:gd name="T14" fmla="*/ 149 w 358"/>
                  <a:gd name="T15" fmla="*/ 390 h 408"/>
                  <a:gd name="T16" fmla="*/ 166 w 358"/>
                  <a:gd name="T17" fmla="*/ 397 h 408"/>
                  <a:gd name="T18" fmla="*/ 179 w 358"/>
                  <a:gd name="T19" fmla="*/ 393 h 408"/>
                  <a:gd name="T20" fmla="*/ 190 w 358"/>
                  <a:gd name="T21" fmla="*/ 380 h 408"/>
                  <a:gd name="T22" fmla="*/ 203 w 358"/>
                  <a:gd name="T23" fmla="*/ 390 h 408"/>
                  <a:gd name="T24" fmla="*/ 217 w 358"/>
                  <a:gd name="T25" fmla="*/ 395 h 408"/>
                  <a:gd name="T26" fmla="*/ 228 w 358"/>
                  <a:gd name="T27" fmla="*/ 408 h 408"/>
                  <a:gd name="T28" fmla="*/ 235 w 358"/>
                  <a:gd name="T29" fmla="*/ 408 h 408"/>
                  <a:gd name="T30" fmla="*/ 250 w 358"/>
                  <a:gd name="T31" fmla="*/ 397 h 408"/>
                  <a:gd name="T32" fmla="*/ 258 w 358"/>
                  <a:gd name="T33" fmla="*/ 384 h 408"/>
                  <a:gd name="T34" fmla="*/ 254 w 358"/>
                  <a:gd name="T35" fmla="*/ 367 h 408"/>
                  <a:gd name="T36" fmla="*/ 258 w 358"/>
                  <a:gd name="T37" fmla="*/ 358 h 408"/>
                  <a:gd name="T38" fmla="*/ 260 w 358"/>
                  <a:gd name="T39" fmla="*/ 344 h 408"/>
                  <a:gd name="T40" fmla="*/ 271 w 358"/>
                  <a:gd name="T41" fmla="*/ 339 h 408"/>
                  <a:gd name="T42" fmla="*/ 282 w 358"/>
                  <a:gd name="T43" fmla="*/ 343 h 408"/>
                  <a:gd name="T44" fmla="*/ 281 w 358"/>
                  <a:gd name="T45" fmla="*/ 329 h 408"/>
                  <a:gd name="T46" fmla="*/ 284 w 358"/>
                  <a:gd name="T47" fmla="*/ 314 h 408"/>
                  <a:gd name="T48" fmla="*/ 297 w 358"/>
                  <a:gd name="T49" fmla="*/ 303 h 408"/>
                  <a:gd name="T50" fmla="*/ 303 w 358"/>
                  <a:gd name="T51" fmla="*/ 288 h 408"/>
                  <a:gd name="T52" fmla="*/ 329 w 358"/>
                  <a:gd name="T53" fmla="*/ 280 h 408"/>
                  <a:gd name="T54" fmla="*/ 346 w 358"/>
                  <a:gd name="T55" fmla="*/ 258 h 408"/>
                  <a:gd name="T56" fmla="*/ 348 w 358"/>
                  <a:gd name="T57" fmla="*/ 237 h 408"/>
                  <a:gd name="T58" fmla="*/ 348 w 358"/>
                  <a:gd name="T59" fmla="*/ 224 h 408"/>
                  <a:gd name="T60" fmla="*/ 352 w 358"/>
                  <a:gd name="T61" fmla="*/ 215 h 408"/>
                  <a:gd name="T62" fmla="*/ 354 w 358"/>
                  <a:gd name="T63" fmla="*/ 186 h 408"/>
                  <a:gd name="T64" fmla="*/ 352 w 358"/>
                  <a:gd name="T65" fmla="*/ 160 h 408"/>
                  <a:gd name="T66" fmla="*/ 348 w 358"/>
                  <a:gd name="T67" fmla="*/ 147 h 408"/>
                  <a:gd name="T68" fmla="*/ 358 w 358"/>
                  <a:gd name="T69" fmla="*/ 143 h 408"/>
                  <a:gd name="T70" fmla="*/ 333 w 358"/>
                  <a:gd name="T71" fmla="*/ 0 h 408"/>
                  <a:gd name="T72" fmla="*/ 279 w 358"/>
                  <a:gd name="T73" fmla="*/ 34 h 408"/>
                  <a:gd name="T74" fmla="*/ 265 w 358"/>
                  <a:gd name="T75" fmla="*/ 45 h 408"/>
                  <a:gd name="T76" fmla="*/ 245 w 358"/>
                  <a:gd name="T77" fmla="*/ 68 h 408"/>
                  <a:gd name="T78" fmla="*/ 224 w 358"/>
                  <a:gd name="T79" fmla="*/ 70 h 408"/>
                  <a:gd name="T80" fmla="*/ 203 w 358"/>
                  <a:gd name="T81" fmla="*/ 81 h 408"/>
                  <a:gd name="T82" fmla="*/ 190 w 358"/>
                  <a:gd name="T83" fmla="*/ 89 h 408"/>
                  <a:gd name="T84" fmla="*/ 175 w 358"/>
                  <a:gd name="T85" fmla="*/ 83 h 408"/>
                  <a:gd name="T86" fmla="*/ 155 w 358"/>
                  <a:gd name="T87" fmla="*/ 89 h 408"/>
                  <a:gd name="T88" fmla="*/ 155 w 358"/>
                  <a:gd name="T89" fmla="*/ 81 h 408"/>
                  <a:gd name="T90" fmla="*/ 158 w 358"/>
                  <a:gd name="T91" fmla="*/ 72 h 408"/>
                  <a:gd name="T92" fmla="*/ 145 w 358"/>
                  <a:gd name="T93" fmla="*/ 77 h 408"/>
                  <a:gd name="T94" fmla="*/ 128 w 358"/>
                  <a:gd name="T95" fmla="*/ 70 h 408"/>
                  <a:gd name="T96" fmla="*/ 108 w 358"/>
                  <a:gd name="T97" fmla="*/ 66 h 408"/>
                  <a:gd name="T98" fmla="*/ 74 w 358"/>
                  <a:gd name="T99" fmla="*/ 7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58" h="408">
                    <a:moveTo>
                      <a:pt x="0" y="81"/>
                    </a:moveTo>
                    <a:lnTo>
                      <a:pt x="14" y="181"/>
                    </a:lnTo>
                    <a:lnTo>
                      <a:pt x="34" y="361"/>
                    </a:lnTo>
                    <a:lnTo>
                      <a:pt x="44" y="356"/>
                    </a:lnTo>
                    <a:lnTo>
                      <a:pt x="49" y="361"/>
                    </a:lnTo>
                    <a:lnTo>
                      <a:pt x="61" y="358"/>
                    </a:lnTo>
                    <a:lnTo>
                      <a:pt x="78" y="365"/>
                    </a:lnTo>
                    <a:lnTo>
                      <a:pt x="81" y="373"/>
                    </a:lnTo>
                    <a:lnTo>
                      <a:pt x="93" y="386"/>
                    </a:lnTo>
                    <a:lnTo>
                      <a:pt x="100" y="388"/>
                    </a:lnTo>
                    <a:lnTo>
                      <a:pt x="113" y="386"/>
                    </a:lnTo>
                    <a:lnTo>
                      <a:pt x="117" y="388"/>
                    </a:lnTo>
                    <a:lnTo>
                      <a:pt x="132" y="397"/>
                    </a:lnTo>
                    <a:lnTo>
                      <a:pt x="138" y="397"/>
                    </a:lnTo>
                    <a:lnTo>
                      <a:pt x="143" y="391"/>
                    </a:lnTo>
                    <a:lnTo>
                      <a:pt x="149" y="390"/>
                    </a:lnTo>
                    <a:lnTo>
                      <a:pt x="158" y="391"/>
                    </a:lnTo>
                    <a:lnTo>
                      <a:pt x="166" y="397"/>
                    </a:lnTo>
                    <a:lnTo>
                      <a:pt x="172" y="393"/>
                    </a:lnTo>
                    <a:lnTo>
                      <a:pt x="179" y="393"/>
                    </a:lnTo>
                    <a:lnTo>
                      <a:pt x="183" y="388"/>
                    </a:lnTo>
                    <a:lnTo>
                      <a:pt x="190" y="380"/>
                    </a:lnTo>
                    <a:lnTo>
                      <a:pt x="198" y="376"/>
                    </a:lnTo>
                    <a:lnTo>
                      <a:pt x="203" y="390"/>
                    </a:lnTo>
                    <a:lnTo>
                      <a:pt x="209" y="395"/>
                    </a:lnTo>
                    <a:lnTo>
                      <a:pt x="217" y="395"/>
                    </a:lnTo>
                    <a:lnTo>
                      <a:pt x="222" y="403"/>
                    </a:lnTo>
                    <a:lnTo>
                      <a:pt x="228" y="408"/>
                    </a:lnTo>
                    <a:lnTo>
                      <a:pt x="228" y="408"/>
                    </a:lnTo>
                    <a:lnTo>
                      <a:pt x="235" y="408"/>
                    </a:lnTo>
                    <a:lnTo>
                      <a:pt x="245" y="403"/>
                    </a:lnTo>
                    <a:lnTo>
                      <a:pt x="250" y="397"/>
                    </a:lnTo>
                    <a:lnTo>
                      <a:pt x="250" y="390"/>
                    </a:lnTo>
                    <a:lnTo>
                      <a:pt x="258" y="384"/>
                    </a:lnTo>
                    <a:lnTo>
                      <a:pt x="256" y="371"/>
                    </a:lnTo>
                    <a:lnTo>
                      <a:pt x="254" y="367"/>
                    </a:lnTo>
                    <a:lnTo>
                      <a:pt x="256" y="359"/>
                    </a:lnTo>
                    <a:lnTo>
                      <a:pt x="258" y="358"/>
                    </a:lnTo>
                    <a:lnTo>
                      <a:pt x="258" y="350"/>
                    </a:lnTo>
                    <a:lnTo>
                      <a:pt x="260" y="344"/>
                    </a:lnTo>
                    <a:lnTo>
                      <a:pt x="265" y="337"/>
                    </a:lnTo>
                    <a:lnTo>
                      <a:pt x="271" y="339"/>
                    </a:lnTo>
                    <a:lnTo>
                      <a:pt x="279" y="350"/>
                    </a:lnTo>
                    <a:lnTo>
                      <a:pt x="282" y="343"/>
                    </a:lnTo>
                    <a:lnTo>
                      <a:pt x="286" y="335"/>
                    </a:lnTo>
                    <a:lnTo>
                      <a:pt x="281" y="329"/>
                    </a:lnTo>
                    <a:lnTo>
                      <a:pt x="284" y="322"/>
                    </a:lnTo>
                    <a:lnTo>
                      <a:pt x="284" y="314"/>
                    </a:lnTo>
                    <a:lnTo>
                      <a:pt x="288" y="309"/>
                    </a:lnTo>
                    <a:lnTo>
                      <a:pt x="297" y="303"/>
                    </a:lnTo>
                    <a:lnTo>
                      <a:pt x="297" y="296"/>
                    </a:lnTo>
                    <a:lnTo>
                      <a:pt x="303" y="288"/>
                    </a:lnTo>
                    <a:lnTo>
                      <a:pt x="314" y="292"/>
                    </a:lnTo>
                    <a:lnTo>
                      <a:pt x="329" y="280"/>
                    </a:lnTo>
                    <a:lnTo>
                      <a:pt x="337" y="265"/>
                    </a:lnTo>
                    <a:lnTo>
                      <a:pt x="346" y="258"/>
                    </a:lnTo>
                    <a:lnTo>
                      <a:pt x="348" y="245"/>
                    </a:lnTo>
                    <a:lnTo>
                      <a:pt x="348" y="237"/>
                    </a:lnTo>
                    <a:lnTo>
                      <a:pt x="348" y="232"/>
                    </a:lnTo>
                    <a:lnTo>
                      <a:pt x="348" y="224"/>
                    </a:lnTo>
                    <a:lnTo>
                      <a:pt x="352" y="224"/>
                    </a:lnTo>
                    <a:lnTo>
                      <a:pt x="352" y="215"/>
                    </a:lnTo>
                    <a:lnTo>
                      <a:pt x="350" y="207"/>
                    </a:lnTo>
                    <a:lnTo>
                      <a:pt x="354" y="186"/>
                    </a:lnTo>
                    <a:lnTo>
                      <a:pt x="356" y="181"/>
                    </a:lnTo>
                    <a:lnTo>
                      <a:pt x="352" y="160"/>
                    </a:lnTo>
                    <a:lnTo>
                      <a:pt x="346" y="153"/>
                    </a:lnTo>
                    <a:lnTo>
                      <a:pt x="348" y="147"/>
                    </a:lnTo>
                    <a:lnTo>
                      <a:pt x="352" y="147"/>
                    </a:lnTo>
                    <a:lnTo>
                      <a:pt x="358" y="143"/>
                    </a:lnTo>
                    <a:lnTo>
                      <a:pt x="333" y="4"/>
                    </a:lnTo>
                    <a:lnTo>
                      <a:pt x="333" y="0"/>
                    </a:lnTo>
                    <a:lnTo>
                      <a:pt x="292" y="25"/>
                    </a:lnTo>
                    <a:lnTo>
                      <a:pt x="279" y="34"/>
                    </a:lnTo>
                    <a:lnTo>
                      <a:pt x="271" y="40"/>
                    </a:lnTo>
                    <a:lnTo>
                      <a:pt x="265" y="45"/>
                    </a:lnTo>
                    <a:lnTo>
                      <a:pt x="258" y="57"/>
                    </a:lnTo>
                    <a:lnTo>
                      <a:pt x="245" y="68"/>
                    </a:lnTo>
                    <a:lnTo>
                      <a:pt x="232" y="70"/>
                    </a:lnTo>
                    <a:lnTo>
                      <a:pt x="224" y="70"/>
                    </a:lnTo>
                    <a:lnTo>
                      <a:pt x="209" y="76"/>
                    </a:lnTo>
                    <a:lnTo>
                      <a:pt x="203" y="81"/>
                    </a:lnTo>
                    <a:lnTo>
                      <a:pt x="196" y="83"/>
                    </a:lnTo>
                    <a:lnTo>
                      <a:pt x="190" y="89"/>
                    </a:lnTo>
                    <a:lnTo>
                      <a:pt x="183" y="87"/>
                    </a:lnTo>
                    <a:lnTo>
                      <a:pt x="175" y="83"/>
                    </a:lnTo>
                    <a:lnTo>
                      <a:pt x="160" y="83"/>
                    </a:lnTo>
                    <a:lnTo>
                      <a:pt x="155" y="89"/>
                    </a:lnTo>
                    <a:lnTo>
                      <a:pt x="147" y="89"/>
                    </a:lnTo>
                    <a:lnTo>
                      <a:pt x="155" y="81"/>
                    </a:lnTo>
                    <a:lnTo>
                      <a:pt x="166" y="79"/>
                    </a:lnTo>
                    <a:lnTo>
                      <a:pt x="158" y="72"/>
                    </a:lnTo>
                    <a:lnTo>
                      <a:pt x="153" y="79"/>
                    </a:lnTo>
                    <a:lnTo>
                      <a:pt x="145" y="77"/>
                    </a:lnTo>
                    <a:lnTo>
                      <a:pt x="138" y="72"/>
                    </a:lnTo>
                    <a:lnTo>
                      <a:pt x="128" y="70"/>
                    </a:lnTo>
                    <a:lnTo>
                      <a:pt x="123" y="68"/>
                    </a:lnTo>
                    <a:lnTo>
                      <a:pt x="108" y="66"/>
                    </a:lnTo>
                    <a:lnTo>
                      <a:pt x="106" y="62"/>
                    </a:lnTo>
                    <a:lnTo>
                      <a:pt x="74" y="70"/>
                    </a:lnTo>
                    <a:lnTo>
                      <a:pt x="0" y="81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58" name="Freeform 119"/>
              <p:cNvSpPr>
                <a:spLocks/>
              </p:cNvSpPr>
              <p:nvPr/>
            </p:nvSpPr>
            <p:spPr bwMode="auto">
              <a:xfrm>
                <a:off x="4087538" y="2831485"/>
                <a:ext cx="447682" cy="419452"/>
              </a:xfrm>
              <a:custGeom>
                <a:avLst/>
                <a:gdLst>
                  <a:gd name="T0" fmla="*/ 436 w 466"/>
                  <a:gd name="T1" fmla="*/ 274 h 481"/>
                  <a:gd name="T2" fmla="*/ 431 w 466"/>
                  <a:gd name="T3" fmla="*/ 253 h 481"/>
                  <a:gd name="T4" fmla="*/ 412 w 466"/>
                  <a:gd name="T5" fmla="*/ 236 h 481"/>
                  <a:gd name="T6" fmla="*/ 404 w 466"/>
                  <a:gd name="T7" fmla="*/ 218 h 481"/>
                  <a:gd name="T8" fmla="*/ 391 w 466"/>
                  <a:gd name="T9" fmla="*/ 193 h 481"/>
                  <a:gd name="T10" fmla="*/ 363 w 466"/>
                  <a:gd name="T11" fmla="*/ 176 h 481"/>
                  <a:gd name="T12" fmla="*/ 355 w 466"/>
                  <a:gd name="T13" fmla="*/ 165 h 481"/>
                  <a:gd name="T14" fmla="*/ 346 w 466"/>
                  <a:gd name="T15" fmla="*/ 150 h 481"/>
                  <a:gd name="T16" fmla="*/ 323 w 466"/>
                  <a:gd name="T17" fmla="*/ 137 h 481"/>
                  <a:gd name="T18" fmla="*/ 307 w 466"/>
                  <a:gd name="T19" fmla="*/ 118 h 481"/>
                  <a:gd name="T20" fmla="*/ 261 w 466"/>
                  <a:gd name="T21" fmla="*/ 80 h 481"/>
                  <a:gd name="T22" fmla="*/ 250 w 466"/>
                  <a:gd name="T23" fmla="*/ 60 h 481"/>
                  <a:gd name="T24" fmla="*/ 218 w 466"/>
                  <a:gd name="T25" fmla="*/ 43 h 481"/>
                  <a:gd name="T26" fmla="*/ 201 w 466"/>
                  <a:gd name="T27" fmla="*/ 31 h 481"/>
                  <a:gd name="T28" fmla="*/ 218 w 466"/>
                  <a:gd name="T29" fmla="*/ 0 h 481"/>
                  <a:gd name="T30" fmla="*/ 0 w 466"/>
                  <a:gd name="T31" fmla="*/ 30 h 481"/>
                  <a:gd name="T32" fmla="*/ 66 w 466"/>
                  <a:gd name="T33" fmla="*/ 251 h 481"/>
                  <a:gd name="T34" fmla="*/ 79 w 466"/>
                  <a:gd name="T35" fmla="*/ 280 h 481"/>
                  <a:gd name="T36" fmla="*/ 92 w 466"/>
                  <a:gd name="T37" fmla="*/ 298 h 481"/>
                  <a:gd name="T38" fmla="*/ 98 w 466"/>
                  <a:gd name="T39" fmla="*/ 319 h 481"/>
                  <a:gd name="T40" fmla="*/ 88 w 466"/>
                  <a:gd name="T41" fmla="*/ 344 h 481"/>
                  <a:gd name="T42" fmla="*/ 88 w 466"/>
                  <a:gd name="T43" fmla="*/ 377 h 481"/>
                  <a:gd name="T44" fmla="*/ 94 w 466"/>
                  <a:gd name="T45" fmla="*/ 402 h 481"/>
                  <a:gd name="T46" fmla="*/ 96 w 466"/>
                  <a:gd name="T47" fmla="*/ 430 h 481"/>
                  <a:gd name="T48" fmla="*/ 107 w 466"/>
                  <a:gd name="T49" fmla="*/ 451 h 481"/>
                  <a:gd name="T50" fmla="*/ 124 w 466"/>
                  <a:gd name="T51" fmla="*/ 479 h 481"/>
                  <a:gd name="T52" fmla="*/ 372 w 466"/>
                  <a:gd name="T53" fmla="*/ 481 h 481"/>
                  <a:gd name="T54" fmla="*/ 385 w 466"/>
                  <a:gd name="T55" fmla="*/ 462 h 481"/>
                  <a:gd name="T56" fmla="*/ 380 w 466"/>
                  <a:gd name="T57" fmla="*/ 443 h 481"/>
                  <a:gd name="T58" fmla="*/ 391 w 466"/>
                  <a:gd name="T59" fmla="*/ 430 h 481"/>
                  <a:gd name="T60" fmla="*/ 423 w 466"/>
                  <a:gd name="T61" fmla="*/ 438 h 481"/>
                  <a:gd name="T62" fmla="*/ 431 w 466"/>
                  <a:gd name="T63" fmla="*/ 428 h 481"/>
                  <a:gd name="T64" fmla="*/ 431 w 466"/>
                  <a:gd name="T65" fmla="*/ 409 h 481"/>
                  <a:gd name="T66" fmla="*/ 423 w 466"/>
                  <a:gd name="T67" fmla="*/ 396 h 481"/>
                  <a:gd name="T68" fmla="*/ 423 w 466"/>
                  <a:gd name="T69" fmla="*/ 392 h 481"/>
                  <a:gd name="T70" fmla="*/ 438 w 466"/>
                  <a:gd name="T71" fmla="*/ 379 h 481"/>
                  <a:gd name="T72" fmla="*/ 427 w 466"/>
                  <a:gd name="T73" fmla="*/ 370 h 481"/>
                  <a:gd name="T74" fmla="*/ 429 w 466"/>
                  <a:gd name="T75" fmla="*/ 368 h 481"/>
                  <a:gd name="T76" fmla="*/ 440 w 466"/>
                  <a:gd name="T77" fmla="*/ 360 h 481"/>
                  <a:gd name="T78" fmla="*/ 434 w 466"/>
                  <a:gd name="T79" fmla="*/ 345 h 481"/>
                  <a:gd name="T80" fmla="*/ 444 w 466"/>
                  <a:gd name="T81" fmla="*/ 338 h 481"/>
                  <a:gd name="T82" fmla="*/ 440 w 466"/>
                  <a:gd name="T83" fmla="*/ 330 h 481"/>
                  <a:gd name="T84" fmla="*/ 451 w 466"/>
                  <a:gd name="T85" fmla="*/ 315 h 481"/>
                  <a:gd name="T86" fmla="*/ 451 w 466"/>
                  <a:gd name="T87" fmla="*/ 306 h 481"/>
                  <a:gd name="T88" fmla="*/ 464 w 466"/>
                  <a:gd name="T89" fmla="*/ 295 h 481"/>
                  <a:gd name="T90" fmla="*/ 459 w 466"/>
                  <a:gd name="T91" fmla="*/ 285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6" h="481">
                    <a:moveTo>
                      <a:pt x="455" y="283"/>
                    </a:moveTo>
                    <a:lnTo>
                      <a:pt x="442" y="282"/>
                    </a:lnTo>
                    <a:lnTo>
                      <a:pt x="436" y="274"/>
                    </a:lnTo>
                    <a:lnTo>
                      <a:pt x="436" y="268"/>
                    </a:lnTo>
                    <a:lnTo>
                      <a:pt x="436" y="261"/>
                    </a:lnTo>
                    <a:lnTo>
                      <a:pt x="431" y="253"/>
                    </a:lnTo>
                    <a:lnTo>
                      <a:pt x="427" y="248"/>
                    </a:lnTo>
                    <a:lnTo>
                      <a:pt x="423" y="240"/>
                    </a:lnTo>
                    <a:lnTo>
                      <a:pt x="412" y="236"/>
                    </a:lnTo>
                    <a:lnTo>
                      <a:pt x="406" y="231"/>
                    </a:lnTo>
                    <a:lnTo>
                      <a:pt x="404" y="223"/>
                    </a:lnTo>
                    <a:lnTo>
                      <a:pt x="404" y="218"/>
                    </a:lnTo>
                    <a:lnTo>
                      <a:pt x="401" y="210"/>
                    </a:lnTo>
                    <a:lnTo>
                      <a:pt x="393" y="199"/>
                    </a:lnTo>
                    <a:lnTo>
                      <a:pt x="391" y="193"/>
                    </a:lnTo>
                    <a:lnTo>
                      <a:pt x="378" y="184"/>
                    </a:lnTo>
                    <a:lnTo>
                      <a:pt x="370" y="182"/>
                    </a:lnTo>
                    <a:lnTo>
                      <a:pt x="363" y="176"/>
                    </a:lnTo>
                    <a:lnTo>
                      <a:pt x="363" y="174"/>
                    </a:lnTo>
                    <a:lnTo>
                      <a:pt x="357" y="171"/>
                    </a:lnTo>
                    <a:lnTo>
                      <a:pt x="355" y="165"/>
                    </a:lnTo>
                    <a:lnTo>
                      <a:pt x="348" y="161"/>
                    </a:lnTo>
                    <a:lnTo>
                      <a:pt x="346" y="154"/>
                    </a:lnTo>
                    <a:lnTo>
                      <a:pt x="346" y="150"/>
                    </a:lnTo>
                    <a:lnTo>
                      <a:pt x="340" y="146"/>
                    </a:lnTo>
                    <a:lnTo>
                      <a:pt x="331" y="139"/>
                    </a:lnTo>
                    <a:lnTo>
                      <a:pt x="323" y="137"/>
                    </a:lnTo>
                    <a:lnTo>
                      <a:pt x="318" y="133"/>
                    </a:lnTo>
                    <a:lnTo>
                      <a:pt x="314" y="125"/>
                    </a:lnTo>
                    <a:lnTo>
                      <a:pt x="307" y="118"/>
                    </a:lnTo>
                    <a:lnTo>
                      <a:pt x="293" y="110"/>
                    </a:lnTo>
                    <a:lnTo>
                      <a:pt x="280" y="101"/>
                    </a:lnTo>
                    <a:lnTo>
                      <a:pt x="261" y="80"/>
                    </a:lnTo>
                    <a:lnTo>
                      <a:pt x="260" y="73"/>
                    </a:lnTo>
                    <a:lnTo>
                      <a:pt x="252" y="65"/>
                    </a:lnTo>
                    <a:lnTo>
                      <a:pt x="250" y="60"/>
                    </a:lnTo>
                    <a:lnTo>
                      <a:pt x="243" y="52"/>
                    </a:lnTo>
                    <a:lnTo>
                      <a:pt x="231" y="54"/>
                    </a:lnTo>
                    <a:lnTo>
                      <a:pt x="218" y="43"/>
                    </a:lnTo>
                    <a:lnTo>
                      <a:pt x="213" y="43"/>
                    </a:lnTo>
                    <a:lnTo>
                      <a:pt x="205" y="39"/>
                    </a:lnTo>
                    <a:lnTo>
                      <a:pt x="201" y="31"/>
                    </a:lnTo>
                    <a:lnTo>
                      <a:pt x="203" y="24"/>
                    </a:lnTo>
                    <a:lnTo>
                      <a:pt x="216" y="5"/>
                    </a:lnTo>
                    <a:lnTo>
                      <a:pt x="218" y="0"/>
                    </a:lnTo>
                    <a:lnTo>
                      <a:pt x="113" y="16"/>
                    </a:lnTo>
                    <a:lnTo>
                      <a:pt x="77" y="18"/>
                    </a:lnTo>
                    <a:lnTo>
                      <a:pt x="0" y="30"/>
                    </a:lnTo>
                    <a:lnTo>
                      <a:pt x="32" y="131"/>
                    </a:lnTo>
                    <a:lnTo>
                      <a:pt x="64" y="248"/>
                    </a:lnTo>
                    <a:lnTo>
                      <a:pt x="66" y="251"/>
                    </a:lnTo>
                    <a:lnTo>
                      <a:pt x="68" y="259"/>
                    </a:lnTo>
                    <a:lnTo>
                      <a:pt x="73" y="266"/>
                    </a:lnTo>
                    <a:lnTo>
                      <a:pt x="79" y="280"/>
                    </a:lnTo>
                    <a:lnTo>
                      <a:pt x="87" y="287"/>
                    </a:lnTo>
                    <a:lnTo>
                      <a:pt x="88" y="291"/>
                    </a:lnTo>
                    <a:lnTo>
                      <a:pt x="92" y="298"/>
                    </a:lnTo>
                    <a:lnTo>
                      <a:pt x="90" y="308"/>
                    </a:lnTo>
                    <a:lnTo>
                      <a:pt x="96" y="312"/>
                    </a:lnTo>
                    <a:lnTo>
                      <a:pt x="98" y="319"/>
                    </a:lnTo>
                    <a:lnTo>
                      <a:pt x="92" y="323"/>
                    </a:lnTo>
                    <a:lnTo>
                      <a:pt x="88" y="330"/>
                    </a:lnTo>
                    <a:lnTo>
                      <a:pt x="88" y="344"/>
                    </a:lnTo>
                    <a:lnTo>
                      <a:pt x="85" y="351"/>
                    </a:lnTo>
                    <a:lnTo>
                      <a:pt x="83" y="364"/>
                    </a:lnTo>
                    <a:lnTo>
                      <a:pt x="88" y="377"/>
                    </a:lnTo>
                    <a:lnTo>
                      <a:pt x="94" y="385"/>
                    </a:lnTo>
                    <a:lnTo>
                      <a:pt x="96" y="394"/>
                    </a:lnTo>
                    <a:lnTo>
                      <a:pt x="94" y="402"/>
                    </a:lnTo>
                    <a:lnTo>
                      <a:pt x="96" y="407"/>
                    </a:lnTo>
                    <a:lnTo>
                      <a:pt x="94" y="423"/>
                    </a:lnTo>
                    <a:lnTo>
                      <a:pt x="96" y="430"/>
                    </a:lnTo>
                    <a:lnTo>
                      <a:pt x="102" y="438"/>
                    </a:lnTo>
                    <a:lnTo>
                      <a:pt x="107" y="447"/>
                    </a:lnTo>
                    <a:lnTo>
                      <a:pt x="107" y="451"/>
                    </a:lnTo>
                    <a:lnTo>
                      <a:pt x="117" y="466"/>
                    </a:lnTo>
                    <a:lnTo>
                      <a:pt x="119" y="473"/>
                    </a:lnTo>
                    <a:lnTo>
                      <a:pt x="124" y="479"/>
                    </a:lnTo>
                    <a:lnTo>
                      <a:pt x="359" y="462"/>
                    </a:lnTo>
                    <a:lnTo>
                      <a:pt x="367" y="468"/>
                    </a:lnTo>
                    <a:lnTo>
                      <a:pt x="372" y="481"/>
                    </a:lnTo>
                    <a:lnTo>
                      <a:pt x="380" y="481"/>
                    </a:lnTo>
                    <a:lnTo>
                      <a:pt x="385" y="477"/>
                    </a:lnTo>
                    <a:lnTo>
                      <a:pt x="385" y="462"/>
                    </a:lnTo>
                    <a:lnTo>
                      <a:pt x="385" y="456"/>
                    </a:lnTo>
                    <a:lnTo>
                      <a:pt x="382" y="449"/>
                    </a:lnTo>
                    <a:lnTo>
                      <a:pt x="380" y="443"/>
                    </a:lnTo>
                    <a:lnTo>
                      <a:pt x="382" y="436"/>
                    </a:lnTo>
                    <a:lnTo>
                      <a:pt x="385" y="436"/>
                    </a:lnTo>
                    <a:lnTo>
                      <a:pt x="391" y="430"/>
                    </a:lnTo>
                    <a:lnTo>
                      <a:pt x="399" y="432"/>
                    </a:lnTo>
                    <a:lnTo>
                      <a:pt x="416" y="436"/>
                    </a:lnTo>
                    <a:lnTo>
                      <a:pt x="423" y="438"/>
                    </a:lnTo>
                    <a:lnTo>
                      <a:pt x="427" y="436"/>
                    </a:lnTo>
                    <a:lnTo>
                      <a:pt x="429" y="436"/>
                    </a:lnTo>
                    <a:lnTo>
                      <a:pt x="431" y="428"/>
                    </a:lnTo>
                    <a:lnTo>
                      <a:pt x="425" y="423"/>
                    </a:lnTo>
                    <a:lnTo>
                      <a:pt x="427" y="415"/>
                    </a:lnTo>
                    <a:lnTo>
                      <a:pt x="431" y="409"/>
                    </a:lnTo>
                    <a:lnTo>
                      <a:pt x="425" y="409"/>
                    </a:lnTo>
                    <a:lnTo>
                      <a:pt x="429" y="402"/>
                    </a:lnTo>
                    <a:lnTo>
                      <a:pt x="423" y="396"/>
                    </a:lnTo>
                    <a:lnTo>
                      <a:pt x="429" y="400"/>
                    </a:lnTo>
                    <a:lnTo>
                      <a:pt x="432" y="392"/>
                    </a:lnTo>
                    <a:lnTo>
                      <a:pt x="423" y="392"/>
                    </a:lnTo>
                    <a:lnTo>
                      <a:pt x="427" y="385"/>
                    </a:lnTo>
                    <a:lnTo>
                      <a:pt x="432" y="389"/>
                    </a:lnTo>
                    <a:lnTo>
                      <a:pt x="438" y="379"/>
                    </a:lnTo>
                    <a:lnTo>
                      <a:pt x="440" y="372"/>
                    </a:lnTo>
                    <a:lnTo>
                      <a:pt x="432" y="370"/>
                    </a:lnTo>
                    <a:lnTo>
                      <a:pt x="427" y="370"/>
                    </a:lnTo>
                    <a:lnTo>
                      <a:pt x="419" y="366"/>
                    </a:lnTo>
                    <a:lnTo>
                      <a:pt x="423" y="366"/>
                    </a:lnTo>
                    <a:lnTo>
                      <a:pt x="429" y="368"/>
                    </a:lnTo>
                    <a:lnTo>
                      <a:pt x="436" y="368"/>
                    </a:lnTo>
                    <a:lnTo>
                      <a:pt x="436" y="360"/>
                    </a:lnTo>
                    <a:lnTo>
                      <a:pt x="440" y="360"/>
                    </a:lnTo>
                    <a:lnTo>
                      <a:pt x="444" y="347"/>
                    </a:lnTo>
                    <a:lnTo>
                      <a:pt x="438" y="349"/>
                    </a:lnTo>
                    <a:lnTo>
                      <a:pt x="434" y="345"/>
                    </a:lnTo>
                    <a:lnTo>
                      <a:pt x="440" y="340"/>
                    </a:lnTo>
                    <a:lnTo>
                      <a:pt x="438" y="334"/>
                    </a:lnTo>
                    <a:lnTo>
                      <a:pt x="444" y="338"/>
                    </a:lnTo>
                    <a:lnTo>
                      <a:pt x="448" y="330"/>
                    </a:lnTo>
                    <a:lnTo>
                      <a:pt x="448" y="329"/>
                    </a:lnTo>
                    <a:lnTo>
                      <a:pt x="440" y="330"/>
                    </a:lnTo>
                    <a:lnTo>
                      <a:pt x="438" y="323"/>
                    </a:lnTo>
                    <a:lnTo>
                      <a:pt x="446" y="323"/>
                    </a:lnTo>
                    <a:lnTo>
                      <a:pt x="451" y="315"/>
                    </a:lnTo>
                    <a:lnTo>
                      <a:pt x="444" y="310"/>
                    </a:lnTo>
                    <a:lnTo>
                      <a:pt x="444" y="302"/>
                    </a:lnTo>
                    <a:lnTo>
                      <a:pt x="451" y="306"/>
                    </a:lnTo>
                    <a:lnTo>
                      <a:pt x="459" y="306"/>
                    </a:lnTo>
                    <a:lnTo>
                      <a:pt x="457" y="298"/>
                    </a:lnTo>
                    <a:lnTo>
                      <a:pt x="464" y="295"/>
                    </a:lnTo>
                    <a:lnTo>
                      <a:pt x="466" y="287"/>
                    </a:lnTo>
                    <a:lnTo>
                      <a:pt x="463" y="287"/>
                    </a:lnTo>
                    <a:lnTo>
                      <a:pt x="459" y="285"/>
                    </a:lnTo>
                    <a:lnTo>
                      <a:pt x="455" y="283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2" name="Freeform 123"/>
              <p:cNvSpPr>
                <a:spLocks/>
              </p:cNvSpPr>
              <p:nvPr/>
            </p:nvSpPr>
            <p:spPr bwMode="auto">
              <a:xfrm>
                <a:off x="4286401" y="2275123"/>
                <a:ext cx="365062" cy="333120"/>
              </a:xfrm>
              <a:custGeom>
                <a:avLst/>
                <a:gdLst>
                  <a:gd name="T0" fmla="*/ 124 w 380"/>
                  <a:gd name="T1" fmla="*/ 17 h 382"/>
                  <a:gd name="T2" fmla="*/ 122 w 380"/>
                  <a:gd name="T3" fmla="*/ 64 h 382"/>
                  <a:gd name="T4" fmla="*/ 120 w 380"/>
                  <a:gd name="T5" fmla="*/ 81 h 382"/>
                  <a:gd name="T6" fmla="*/ 120 w 380"/>
                  <a:gd name="T7" fmla="*/ 102 h 382"/>
                  <a:gd name="T8" fmla="*/ 101 w 380"/>
                  <a:gd name="T9" fmla="*/ 137 h 382"/>
                  <a:gd name="T10" fmla="*/ 69 w 380"/>
                  <a:gd name="T11" fmla="*/ 153 h 382"/>
                  <a:gd name="T12" fmla="*/ 56 w 380"/>
                  <a:gd name="T13" fmla="*/ 171 h 382"/>
                  <a:gd name="T14" fmla="*/ 58 w 380"/>
                  <a:gd name="T15" fmla="*/ 192 h 382"/>
                  <a:gd name="T16" fmla="*/ 43 w 380"/>
                  <a:gd name="T17" fmla="*/ 196 h 382"/>
                  <a:gd name="T18" fmla="*/ 30 w 380"/>
                  <a:gd name="T19" fmla="*/ 207 h 382"/>
                  <a:gd name="T20" fmla="*/ 26 w 380"/>
                  <a:gd name="T21" fmla="*/ 224 h 382"/>
                  <a:gd name="T22" fmla="*/ 22 w 380"/>
                  <a:gd name="T23" fmla="*/ 247 h 382"/>
                  <a:gd name="T24" fmla="*/ 7 w 380"/>
                  <a:gd name="T25" fmla="*/ 265 h 382"/>
                  <a:gd name="T26" fmla="*/ 0 w 380"/>
                  <a:gd name="T27" fmla="*/ 271 h 382"/>
                  <a:gd name="T28" fmla="*/ 0 w 380"/>
                  <a:gd name="T29" fmla="*/ 294 h 382"/>
                  <a:gd name="T30" fmla="*/ 24 w 380"/>
                  <a:gd name="T31" fmla="*/ 322 h 382"/>
                  <a:gd name="T32" fmla="*/ 66 w 380"/>
                  <a:gd name="T33" fmla="*/ 352 h 382"/>
                  <a:gd name="T34" fmla="*/ 79 w 380"/>
                  <a:gd name="T35" fmla="*/ 372 h 382"/>
                  <a:gd name="T36" fmla="*/ 116 w 380"/>
                  <a:gd name="T37" fmla="*/ 372 h 382"/>
                  <a:gd name="T38" fmla="*/ 137 w 380"/>
                  <a:gd name="T39" fmla="*/ 371 h 382"/>
                  <a:gd name="T40" fmla="*/ 162 w 380"/>
                  <a:gd name="T41" fmla="*/ 356 h 382"/>
                  <a:gd name="T42" fmla="*/ 184 w 380"/>
                  <a:gd name="T43" fmla="*/ 341 h 382"/>
                  <a:gd name="T44" fmla="*/ 207 w 380"/>
                  <a:gd name="T45" fmla="*/ 331 h 382"/>
                  <a:gd name="T46" fmla="*/ 205 w 380"/>
                  <a:gd name="T47" fmla="*/ 310 h 382"/>
                  <a:gd name="T48" fmla="*/ 222 w 380"/>
                  <a:gd name="T49" fmla="*/ 275 h 382"/>
                  <a:gd name="T50" fmla="*/ 229 w 380"/>
                  <a:gd name="T51" fmla="*/ 247 h 382"/>
                  <a:gd name="T52" fmla="*/ 237 w 380"/>
                  <a:gd name="T53" fmla="*/ 224 h 382"/>
                  <a:gd name="T54" fmla="*/ 252 w 380"/>
                  <a:gd name="T55" fmla="*/ 213 h 382"/>
                  <a:gd name="T56" fmla="*/ 272 w 380"/>
                  <a:gd name="T57" fmla="*/ 216 h 382"/>
                  <a:gd name="T58" fmla="*/ 282 w 380"/>
                  <a:gd name="T59" fmla="*/ 188 h 382"/>
                  <a:gd name="T60" fmla="*/ 293 w 380"/>
                  <a:gd name="T61" fmla="*/ 171 h 382"/>
                  <a:gd name="T62" fmla="*/ 312 w 380"/>
                  <a:gd name="T63" fmla="*/ 156 h 382"/>
                  <a:gd name="T64" fmla="*/ 327 w 380"/>
                  <a:gd name="T65" fmla="*/ 128 h 382"/>
                  <a:gd name="T66" fmla="*/ 327 w 380"/>
                  <a:gd name="T67" fmla="*/ 100 h 382"/>
                  <a:gd name="T68" fmla="*/ 376 w 380"/>
                  <a:gd name="T69" fmla="*/ 111 h 382"/>
                  <a:gd name="T70" fmla="*/ 372 w 380"/>
                  <a:gd name="T71" fmla="*/ 89 h 382"/>
                  <a:gd name="T72" fmla="*/ 366 w 380"/>
                  <a:gd name="T73" fmla="*/ 72 h 382"/>
                  <a:gd name="T74" fmla="*/ 346 w 380"/>
                  <a:gd name="T75" fmla="*/ 68 h 382"/>
                  <a:gd name="T76" fmla="*/ 329 w 380"/>
                  <a:gd name="T77" fmla="*/ 75 h 382"/>
                  <a:gd name="T78" fmla="*/ 314 w 380"/>
                  <a:gd name="T79" fmla="*/ 89 h 382"/>
                  <a:gd name="T80" fmla="*/ 289 w 380"/>
                  <a:gd name="T81" fmla="*/ 83 h 382"/>
                  <a:gd name="T82" fmla="*/ 278 w 380"/>
                  <a:gd name="T83" fmla="*/ 104 h 382"/>
                  <a:gd name="T84" fmla="*/ 263 w 380"/>
                  <a:gd name="T85" fmla="*/ 111 h 382"/>
                  <a:gd name="T86" fmla="*/ 246 w 380"/>
                  <a:gd name="T87" fmla="*/ 132 h 382"/>
                  <a:gd name="T88" fmla="*/ 147 w 380"/>
                  <a:gd name="T89" fmla="*/ 98 h 382"/>
                  <a:gd name="T90" fmla="*/ 120 w 380"/>
                  <a:gd name="T91" fmla="*/ 4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80" h="382">
                    <a:moveTo>
                      <a:pt x="120" y="4"/>
                    </a:moveTo>
                    <a:lnTo>
                      <a:pt x="118" y="10"/>
                    </a:lnTo>
                    <a:lnTo>
                      <a:pt x="124" y="17"/>
                    </a:lnTo>
                    <a:lnTo>
                      <a:pt x="128" y="38"/>
                    </a:lnTo>
                    <a:lnTo>
                      <a:pt x="126" y="43"/>
                    </a:lnTo>
                    <a:lnTo>
                      <a:pt x="122" y="64"/>
                    </a:lnTo>
                    <a:lnTo>
                      <a:pt x="124" y="72"/>
                    </a:lnTo>
                    <a:lnTo>
                      <a:pt x="124" y="81"/>
                    </a:lnTo>
                    <a:lnTo>
                      <a:pt x="120" y="81"/>
                    </a:lnTo>
                    <a:lnTo>
                      <a:pt x="120" y="89"/>
                    </a:lnTo>
                    <a:lnTo>
                      <a:pt x="120" y="94"/>
                    </a:lnTo>
                    <a:lnTo>
                      <a:pt x="120" y="102"/>
                    </a:lnTo>
                    <a:lnTo>
                      <a:pt x="118" y="115"/>
                    </a:lnTo>
                    <a:lnTo>
                      <a:pt x="109" y="122"/>
                    </a:lnTo>
                    <a:lnTo>
                      <a:pt x="101" y="137"/>
                    </a:lnTo>
                    <a:lnTo>
                      <a:pt x="86" y="149"/>
                    </a:lnTo>
                    <a:lnTo>
                      <a:pt x="75" y="145"/>
                    </a:lnTo>
                    <a:lnTo>
                      <a:pt x="69" y="153"/>
                    </a:lnTo>
                    <a:lnTo>
                      <a:pt x="69" y="160"/>
                    </a:lnTo>
                    <a:lnTo>
                      <a:pt x="60" y="166"/>
                    </a:lnTo>
                    <a:lnTo>
                      <a:pt x="56" y="171"/>
                    </a:lnTo>
                    <a:lnTo>
                      <a:pt x="56" y="179"/>
                    </a:lnTo>
                    <a:lnTo>
                      <a:pt x="53" y="186"/>
                    </a:lnTo>
                    <a:lnTo>
                      <a:pt x="58" y="192"/>
                    </a:lnTo>
                    <a:lnTo>
                      <a:pt x="54" y="200"/>
                    </a:lnTo>
                    <a:lnTo>
                      <a:pt x="51" y="207"/>
                    </a:lnTo>
                    <a:lnTo>
                      <a:pt x="43" y="196"/>
                    </a:lnTo>
                    <a:lnTo>
                      <a:pt x="37" y="194"/>
                    </a:lnTo>
                    <a:lnTo>
                      <a:pt x="32" y="201"/>
                    </a:lnTo>
                    <a:lnTo>
                      <a:pt x="30" y="207"/>
                    </a:lnTo>
                    <a:lnTo>
                      <a:pt x="30" y="215"/>
                    </a:lnTo>
                    <a:lnTo>
                      <a:pt x="28" y="216"/>
                    </a:lnTo>
                    <a:lnTo>
                      <a:pt x="26" y="224"/>
                    </a:lnTo>
                    <a:lnTo>
                      <a:pt x="28" y="228"/>
                    </a:lnTo>
                    <a:lnTo>
                      <a:pt x="30" y="241"/>
                    </a:lnTo>
                    <a:lnTo>
                      <a:pt x="22" y="247"/>
                    </a:lnTo>
                    <a:lnTo>
                      <a:pt x="22" y="254"/>
                    </a:lnTo>
                    <a:lnTo>
                      <a:pt x="17" y="260"/>
                    </a:lnTo>
                    <a:lnTo>
                      <a:pt x="7" y="265"/>
                    </a:lnTo>
                    <a:lnTo>
                      <a:pt x="0" y="265"/>
                    </a:lnTo>
                    <a:lnTo>
                      <a:pt x="0" y="265"/>
                    </a:lnTo>
                    <a:lnTo>
                      <a:pt x="0" y="271"/>
                    </a:lnTo>
                    <a:lnTo>
                      <a:pt x="4" y="273"/>
                    </a:lnTo>
                    <a:lnTo>
                      <a:pt x="4" y="280"/>
                    </a:lnTo>
                    <a:lnTo>
                      <a:pt x="0" y="294"/>
                    </a:lnTo>
                    <a:lnTo>
                      <a:pt x="15" y="309"/>
                    </a:lnTo>
                    <a:lnTo>
                      <a:pt x="17" y="316"/>
                    </a:lnTo>
                    <a:lnTo>
                      <a:pt x="24" y="322"/>
                    </a:lnTo>
                    <a:lnTo>
                      <a:pt x="37" y="341"/>
                    </a:lnTo>
                    <a:lnTo>
                      <a:pt x="53" y="352"/>
                    </a:lnTo>
                    <a:lnTo>
                      <a:pt x="66" y="352"/>
                    </a:lnTo>
                    <a:lnTo>
                      <a:pt x="66" y="357"/>
                    </a:lnTo>
                    <a:lnTo>
                      <a:pt x="71" y="365"/>
                    </a:lnTo>
                    <a:lnTo>
                      <a:pt x="79" y="372"/>
                    </a:lnTo>
                    <a:lnTo>
                      <a:pt x="92" y="380"/>
                    </a:lnTo>
                    <a:lnTo>
                      <a:pt x="103" y="382"/>
                    </a:lnTo>
                    <a:lnTo>
                      <a:pt x="116" y="372"/>
                    </a:lnTo>
                    <a:lnTo>
                      <a:pt x="118" y="367"/>
                    </a:lnTo>
                    <a:lnTo>
                      <a:pt x="130" y="371"/>
                    </a:lnTo>
                    <a:lnTo>
                      <a:pt x="137" y="371"/>
                    </a:lnTo>
                    <a:lnTo>
                      <a:pt x="152" y="363"/>
                    </a:lnTo>
                    <a:lnTo>
                      <a:pt x="160" y="361"/>
                    </a:lnTo>
                    <a:lnTo>
                      <a:pt x="162" y="356"/>
                    </a:lnTo>
                    <a:lnTo>
                      <a:pt x="162" y="348"/>
                    </a:lnTo>
                    <a:lnTo>
                      <a:pt x="171" y="352"/>
                    </a:lnTo>
                    <a:lnTo>
                      <a:pt x="184" y="341"/>
                    </a:lnTo>
                    <a:lnTo>
                      <a:pt x="192" y="342"/>
                    </a:lnTo>
                    <a:lnTo>
                      <a:pt x="205" y="333"/>
                    </a:lnTo>
                    <a:lnTo>
                      <a:pt x="207" y="331"/>
                    </a:lnTo>
                    <a:lnTo>
                      <a:pt x="205" y="324"/>
                    </a:lnTo>
                    <a:lnTo>
                      <a:pt x="210" y="318"/>
                    </a:lnTo>
                    <a:lnTo>
                      <a:pt x="205" y="310"/>
                    </a:lnTo>
                    <a:lnTo>
                      <a:pt x="207" y="297"/>
                    </a:lnTo>
                    <a:lnTo>
                      <a:pt x="214" y="284"/>
                    </a:lnTo>
                    <a:lnTo>
                      <a:pt x="222" y="275"/>
                    </a:lnTo>
                    <a:lnTo>
                      <a:pt x="224" y="262"/>
                    </a:lnTo>
                    <a:lnTo>
                      <a:pt x="225" y="254"/>
                    </a:lnTo>
                    <a:lnTo>
                      <a:pt x="229" y="247"/>
                    </a:lnTo>
                    <a:lnTo>
                      <a:pt x="233" y="233"/>
                    </a:lnTo>
                    <a:lnTo>
                      <a:pt x="237" y="230"/>
                    </a:lnTo>
                    <a:lnTo>
                      <a:pt x="237" y="224"/>
                    </a:lnTo>
                    <a:lnTo>
                      <a:pt x="237" y="209"/>
                    </a:lnTo>
                    <a:lnTo>
                      <a:pt x="244" y="207"/>
                    </a:lnTo>
                    <a:lnTo>
                      <a:pt x="252" y="213"/>
                    </a:lnTo>
                    <a:lnTo>
                      <a:pt x="252" y="216"/>
                    </a:lnTo>
                    <a:lnTo>
                      <a:pt x="267" y="218"/>
                    </a:lnTo>
                    <a:lnTo>
                      <a:pt x="272" y="216"/>
                    </a:lnTo>
                    <a:lnTo>
                      <a:pt x="276" y="209"/>
                    </a:lnTo>
                    <a:lnTo>
                      <a:pt x="278" y="194"/>
                    </a:lnTo>
                    <a:lnTo>
                      <a:pt x="282" y="188"/>
                    </a:lnTo>
                    <a:lnTo>
                      <a:pt x="284" y="179"/>
                    </a:lnTo>
                    <a:lnTo>
                      <a:pt x="286" y="171"/>
                    </a:lnTo>
                    <a:lnTo>
                      <a:pt x="293" y="171"/>
                    </a:lnTo>
                    <a:lnTo>
                      <a:pt x="301" y="169"/>
                    </a:lnTo>
                    <a:lnTo>
                      <a:pt x="306" y="156"/>
                    </a:lnTo>
                    <a:lnTo>
                      <a:pt x="312" y="156"/>
                    </a:lnTo>
                    <a:lnTo>
                      <a:pt x="318" y="149"/>
                    </a:lnTo>
                    <a:lnTo>
                      <a:pt x="321" y="136"/>
                    </a:lnTo>
                    <a:lnTo>
                      <a:pt x="327" y="128"/>
                    </a:lnTo>
                    <a:lnTo>
                      <a:pt x="325" y="115"/>
                    </a:lnTo>
                    <a:lnTo>
                      <a:pt x="329" y="107"/>
                    </a:lnTo>
                    <a:lnTo>
                      <a:pt x="327" y="100"/>
                    </a:lnTo>
                    <a:lnTo>
                      <a:pt x="335" y="98"/>
                    </a:lnTo>
                    <a:lnTo>
                      <a:pt x="372" y="119"/>
                    </a:lnTo>
                    <a:lnTo>
                      <a:pt x="376" y="111"/>
                    </a:lnTo>
                    <a:lnTo>
                      <a:pt x="380" y="98"/>
                    </a:lnTo>
                    <a:lnTo>
                      <a:pt x="378" y="94"/>
                    </a:lnTo>
                    <a:lnTo>
                      <a:pt x="372" y="89"/>
                    </a:lnTo>
                    <a:lnTo>
                      <a:pt x="370" y="81"/>
                    </a:lnTo>
                    <a:lnTo>
                      <a:pt x="365" y="79"/>
                    </a:lnTo>
                    <a:lnTo>
                      <a:pt x="366" y="72"/>
                    </a:lnTo>
                    <a:lnTo>
                      <a:pt x="366" y="72"/>
                    </a:lnTo>
                    <a:lnTo>
                      <a:pt x="351" y="74"/>
                    </a:lnTo>
                    <a:lnTo>
                      <a:pt x="346" y="68"/>
                    </a:lnTo>
                    <a:lnTo>
                      <a:pt x="338" y="66"/>
                    </a:lnTo>
                    <a:lnTo>
                      <a:pt x="333" y="68"/>
                    </a:lnTo>
                    <a:lnTo>
                      <a:pt x="329" y="75"/>
                    </a:lnTo>
                    <a:lnTo>
                      <a:pt x="321" y="75"/>
                    </a:lnTo>
                    <a:lnTo>
                      <a:pt x="316" y="83"/>
                    </a:lnTo>
                    <a:lnTo>
                      <a:pt x="314" y="89"/>
                    </a:lnTo>
                    <a:lnTo>
                      <a:pt x="304" y="90"/>
                    </a:lnTo>
                    <a:lnTo>
                      <a:pt x="297" y="89"/>
                    </a:lnTo>
                    <a:lnTo>
                      <a:pt x="289" y="83"/>
                    </a:lnTo>
                    <a:lnTo>
                      <a:pt x="288" y="83"/>
                    </a:lnTo>
                    <a:lnTo>
                      <a:pt x="288" y="90"/>
                    </a:lnTo>
                    <a:lnTo>
                      <a:pt x="278" y="104"/>
                    </a:lnTo>
                    <a:lnTo>
                      <a:pt x="271" y="102"/>
                    </a:lnTo>
                    <a:lnTo>
                      <a:pt x="265" y="106"/>
                    </a:lnTo>
                    <a:lnTo>
                      <a:pt x="263" y="111"/>
                    </a:lnTo>
                    <a:lnTo>
                      <a:pt x="256" y="119"/>
                    </a:lnTo>
                    <a:lnTo>
                      <a:pt x="252" y="126"/>
                    </a:lnTo>
                    <a:lnTo>
                      <a:pt x="246" y="132"/>
                    </a:lnTo>
                    <a:lnTo>
                      <a:pt x="241" y="139"/>
                    </a:lnTo>
                    <a:lnTo>
                      <a:pt x="231" y="83"/>
                    </a:lnTo>
                    <a:lnTo>
                      <a:pt x="147" y="98"/>
                    </a:lnTo>
                    <a:lnTo>
                      <a:pt x="130" y="0"/>
                    </a:lnTo>
                    <a:lnTo>
                      <a:pt x="124" y="4"/>
                    </a:lnTo>
                    <a:lnTo>
                      <a:pt x="120" y="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3" name="Freeform 124"/>
              <p:cNvSpPr>
                <a:spLocks/>
              </p:cNvSpPr>
              <p:nvPr/>
            </p:nvSpPr>
            <p:spPr bwMode="auto">
              <a:xfrm>
                <a:off x="4280636" y="2793115"/>
                <a:ext cx="414057" cy="288645"/>
              </a:xfrm>
              <a:custGeom>
                <a:avLst/>
                <a:gdLst>
                  <a:gd name="T0" fmla="*/ 218 w 431"/>
                  <a:gd name="T1" fmla="*/ 28 h 331"/>
                  <a:gd name="T2" fmla="*/ 203 w 431"/>
                  <a:gd name="T3" fmla="*/ 4 h 331"/>
                  <a:gd name="T4" fmla="*/ 162 w 431"/>
                  <a:gd name="T5" fmla="*/ 2 h 331"/>
                  <a:gd name="T6" fmla="*/ 72 w 431"/>
                  <a:gd name="T7" fmla="*/ 17 h 331"/>
                  <a:gd name="T8" fmla="*/ 40 w 431"/>
                  <a:gd name="T9" fmla="*/ 32 h 331"/>
                  <a:gd name="T10" fmla="*/ 2 w 431"/>
                  <a:gd name="T11" fmla="*/ 68 h 331"/>
                  <a:gd name="T12" fmla="*/ 12 w 431"/>
                  <a:gd name="T13" fmla="*/ 87 h 331"/>
                  <a:gd name="T14" fmla="*/ 42 w 431"/>
                  <a:gd name="T15" fmla="*/ 96 h 331"/>
                  <a:gd name="T16" fmla="*/ 59 w 431"/>
                  <a:gd name="T17" fmla="*/ 117 h 331"/>
                  <a:gd name="T18" fmla="*/ 92 w 431"/>
                  <a:gd name="T19" fmla="*/ 154 h 331"/>
                  <a:gd name="T20" fmla="*/ 117 w 431"/>
                  <a:gd name="T21" fmla="*/ 177 h 331"/>
                  <a:gd name="T22" fmla="*/ 139 w 431"/>
                  <a:gd name="T23" fmla="*/ 190 h 331"/>
                  <a:gd name="T24" fmla="*/ 147 w 431"/>
                  <a:gd name="T25" fmla="*/ 205 h 331"/>
                  <a:gd name="T26" fmla="*/ 162 w 431"/>
                  <a:gd name="T27" fmla="*/ 218 h 331"/>
                  <a:gd name="T28" fmla="*/ 177 w 431"/>
                  <a:gd name="T29" fmla="*/ 228 h 331"/>
                  <a:gd name="T30" fmla="*/ 200 w 431"/>
                  <a:gd name="T31" fmla="*/ 254 h 331"/>
                  <a:gd name="T32" fmla="*/ 205 w 431"/>
                  <a:gd name="T33" fmla="*/ 275 h 331"/>
                  <a:gd name="T34" fmla="*/ 226 w 431"/>
                  <a:gd name="T35" fmla="*/ 292 h 331"/>
                  <a:gd name="T36" fmla="*/ 235 w 431"/>
                  <a:gd name="T37" fmla="*/ 312 h 331"/>
                  <a:gd name="T38" fmla="*/ 254 w 431"/>
                  <a:gd name="T39" fmla="*/ 327 h 331"/>
                  <a:gd name="T40" fmla="*/ 263 w 431"/>
                  <a:gd name="T41" fmla="*/ 316 h 331"/>
                  <a:gd name="T42" fmla="*/ 271 w 431"/>
                  <a:gd name="T43" fmla="*/ 316 h 331"/>
                  <a:gd name="T44" fmla="*/ 265 w 431"/>
                  <a:gd name="T45" fmla="*/ 299 h 331"/>
                  <a:gd name="T46" fmla="*/ 263 w 431"/>
                  <a:gd name="T47" fmla="*/ 284 h 331"/>
                  <a:gd name="T48" fmla="*/ 273 w 431"/>
                  <a:gd name="T49" fmla="*/ 284 h 331"/>
                  <a:gd name="T50" fmla="*/ 292 w 431"/>
                  <a:gd name="T51" fmla="*/ 295 h 331"/>
                  <a:gd name="T52" fmla="*/ 294 w 431"/>
                  <a:gd name="T53" fmla="*/ 284 h 331"/>
                  <a:gd name="T54" fmla="*/ 277 w 431"/>
                  <a:gd name="T55" fmla="*/ 277 h 331"/>
                  <a:gd name="T56" fmla="*/ 294 w 431"/>
                  <a:gd name="T57" fmla="*/ 273 h 331"/>
                  <a:gd name="T58" fmla="*/ 312 w 431"/>
                  <a:gd name="T59" fmla="*/ 263 h 331"/>
                  <a:gd name="T60" fmla="*/ 322 w 431"/>
                  <a:gd name="T61" fmla="*/ 258 h 331"/>
                  <a:gd name="T62" fmla="*/ 335 w 431"/>
                  <a:gd name="T63" fmla="*/ 248 h 331"/>
                  <a:gd name="T64" fmla="*/ 329 w 431"/>
                  <a:gd name="T65" fmla="*/ 228 h 331"/>
                  <a:gd name="T66" fmla="*/ 344 w 431"/>
                  <a:gd name="T67" fmla="*/ 233 h 331"/>
                  <a:gd name="T68" fmla="*/ 359 w 431"/>
                  <a:gd name="T69" fmla="*/ 218 h 331"/>
                  <a:gd name="T70" fmla="*/ 369 w 431"/>
                  <a:gd name="T71" fmla="*/ 205 h 331"/>
                  <a:gd name="T72" fmla="*/ 382 w 431"/>
                  <a:gd name="T73" fmla="*/ 190 h 331"/>
                  <a:gd name="T74" fmla="*/ 389 w 431"/>
                  <a:gd name="T75" fmla="*/ 183 h 331"/>
                  <a:gd name="T76" fmla="*/ 378 w 431"/>
                  <a:gd name="T77" fmla="*/ 164 h 331"/>
                  <a:gd name="T78" fmla="*/ 380 w 431"/>
                  <a:gd name="T79" fmla="*/ 168 h 331"/>
                  <a:gd name="T80" fmla="*/ 389 w 431"/>
                  <a:gd name="T81" fmla="*/ 154 h 331"/>
                  <a:gd name="T82" fmla="*/ 423 w 431"/>
                  <a:gd name="T83" fmla="*/ 106 h 331"/>
                  <a:gd name="T84" fmla="*/ 427 w 431"/>
                  <a:gd name="T85" fmla="*/ 94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31" h="331">
                    <a:moveTo>
                      <a:pt x="316" y="15"/>
                    </a:moveTo>
                    <a:lnTo>
                      <a:pt x="220" y="30"/>
                    </a:lnTo>
                    <a:lnTo>
                      <a:pt x="218" y="28"/>
                    </a:lnTo>
                    <a:lnTo>
                      <a:pt x="218" y="23"/>
                    </a:lnTo>
                    <a:lnTo>
                      <a:pt x="215" y="15"/>
                    </a:lnTo>
                    <a:lnTo>
                      <a:pt x="203" y="4"/>
                    </a:lnTo>
                    <a:lnTo>
                      <a:pt x="198" y="8"/>
                    </a:lnTo>
                    <a:lnTo>
                      <a:pt x="190" y="0"/>
                    </a:lnTo>
                    <a:lnTo>
                      <a:pt x="162" y="2"/>
                    </a:lnTo>
                    <a:lnTo>
                      <a:pt x="85" y="12"/>
                    </a:lnTo>
                    <a:lnTo>
                      <a:pt x="77" y="13"/>
                    </a:lnTo>
                    <a:lnTo>
                      <a:pt x="72" y="17"/>
                    </a:lnTo>
                    <a:lnTo>
                      <a:pt x="57" y="23"/>
                    </a:lnTo>
                    <a:lnTo>
                      <a:pt x="45" y="32"/>
                    </a:lnTo>
                    <a:lnTo>
                      <a:pt x="40" y="32"/>
                    </a:lnTo>
                    <a:lnTo>
                      <a:pt x="17" y="44"/>
                    </a:lnTo>
                    <a:lnTo>
                      <a:pt x="15" y="49"/>
                    </a:lnTo>
                    <a:lnTo>
                      <a:pt x="2" y="68"/>
                    </a:lnTo>
                    <a:lnTo>
                      <a:pt x="0" y="75"/>
                    </a:lnTo>
                    <a:lnTo>
                      <a:pt x="4" y="83"/>
                    </a:lnTo>
                    <a:lnTo>
                      <a:pt x="12" y="87"/>
                    </a:lnTo>
                    <a:lnTo>
                      <a:pt x="17" y="87"/>
                    </a:lnTo>
                    <a:lnTo>
                      <a:pt x="30" y="98"/>
                    </a:lnTo>
                    <a:lnTo>
                      <a:pt x="42" y="96"/>
                    </a:lnTo>
                    <a:lnTo>
                      <a:pt x="49" y="104"/>
                    </a:lnTo>
                    <a:lnTo>
                      <a:pt x="51" y="109"/>
                    </a:lnTo>
                    <a:lnTo>
                      <a:pt x="59" y="117"/>
                    </a:lnTo>
                    <a:lnTo>
                      <a:pt x="60" y="124"/>
                    </a:lnTo>
                    <a:lnTo>
                      <a:pt x="79" y="145"/>
                    </a:lnTo>
                    <a:lnTo>
                      <a:pt x="92" y="154"/>
                    </a:lnTo>
                    <a:lnTo>
                      <a:pt x="106" y="162"/>
                    </a:lnTo>
                    <a:lnTo>
                      <a:pt x="113" y="169"/>
                    </a:lnTo>
                    <a:lnTo>
                      <a:pt x="117" y="177"/>
                    </a:lnTo>
                    <a:lnTo>
                      <a:pt x="122" y="181"/>
                    </a:lnTo>
                    <a:lnTo>
                      <a:pt x="130" y="183"/>
                    </a:lnTo>
                    <a:lnTo>
                      <a:pt x="139" y="190"/>
                    </a:lnTo>
                    <a:lnTo>
                      <a:pt x="145" y="194"/>
                    </a:lnTo>
                    <a:lnTo>
                      <a:pt x="145" y="198"/>
                    </a:lnTo>
                    <a:lnTo>
                      <a:pt x="147" y="205"/>
                    </a:lnTo>
                    <a:lnTo>
                      <a:pt x="154" y="209"/>
                    </a:lnTo>
                    <a:lnTo>
                      <a:pt x="156" y="215"/>
                    </a:lnTo>
                    <a:lnTo>
                      <a:pt x="162" y="218"/>
                    </a:lnTo>
                    <a:lnTo>
                      <a:pt x="162" y="220"/>
                    </a:lnTo>
                    <a:lnTo>
                      <a:pt x="169" y="226"/>
                    </a:lnTo>
                    <a:lnTo>
                      <a:pt x="177" y="228"/>
                    </a:lnTo>
                    <a:lnTo>
                      <a:pt x="190" y="237"/>
                    </a:lnTo>
                    <a:lnTo>
                      <a:pt x="192" y="243"/>
                    </a:lnTo>
                    <a:lnTo>
                      <a:pt x="200" y="254"/>
                    </a:lnTo>
                    <a:lnTo>
                      <a:pt x="203" y="262"/>
                    </a:lnTo>
                    <a:lnTo>
                      <a:pt x="203" y="267"/>
                    </a:lnTo>
                    <a:lnTo>
                      <a:pt x="205" y="275"/>
                    </a:lnTo>
                    <a:lnTo>
                      <a:pt x="211" y="280"/>
                    </a:lnTo>
                    <a:lnTo>
                      <a:pt x="222" y="284"/>
                    </a:lnTo>
                    <a:lnTo>
                      <a:pt x="226" y="292"/>
                    </a:lnTo>
                    <a:lnTo>
                      <a:pt x="230" y="297"/>
                    </a:lnTo>
                    <a:lnTo>
                      <a:pt x="235" y="305"/>
                    </a:lnTo>
                    <a:lnTo>
                      <a:pt x="235" y="312"/>
                    </a:lnTo>
                    <a:lnTo>
                      <a:pt x="235" y="318"/>
                    </a:lnTo>
                    <a:lnTo>
                      <a:pt x="241" y="326"/>
                    </a:lnTo>
                    <a:lnTo>
                      <a:pt x="254" y="327"/>
                    </a:lnTo>
                    <a:lnTo>
                      <a:pt x="258" y="329"/>
                    </a:lnTo>
                    <a:lnTo>
                      <a:pt x="262" y="331"/>
                    </a:lnTo>
                    <a:lnTo>
                      <a:pt x="263" y="316"/>
                    </a:lnTo>
                    <a:lnTo>
                      <a:pt x="267" y="310"/>
                    </a:lnTo>
                    <a:lnTo>
                      <a:pt x="267" y="316"/>
                    </a:lnTo>
                    <a:lnTo>
                      <a:pt x="271" y="316"/>
                    </a:lnTo>
                    <a:lnTo>
                      <a:pt x="277" y="309"/>
                    </a:lnTo>
                    <a:lnTo>
                      <a:pt x="269" y="305"/>
                    </a:lnTo>
                    <a:lnTo>
                      <a:pt x="265" y="299"/>
                    </a:lnTo>
                    <a:lnTo>
                      <a:pt x="263" y="294"/>
                    </a:lnTo>
                    <a:lnTo>
                      <a:pt x="258" y="280"/>
                    </a:lnTo>
                    <a:lnTo>
                      <a:pt x="263" y="284"/>
                    </a:lnTo>
                    <a:lnTo>
                      <a:pt x="265" y="292"/>
                    </a:lnTo>
                    <a:lnTo>
                      <a:pt x="273" y="297"/>
                    </a:lnTo>
                    <a:lnTo>
                      <a:pt x="273" y="284"/>
                    </a:lnTo>
                    <a:lnTo>
                      <a:pt x="278" y="295"/>
                    </a:lnTo>
                    <a:lnTo>
                      <a:pt x="284" y="301"/>
                    </a:lnTo>
                    <a:lnTo>
                      <a:pt x="292" y="295"/>
                    </a:lnTo>
                    <a:lnTo>
                      <a:pt x="295" y="284"/>
                    </a:lnTo>
                    <a:lnTo>
                      <a:pt x="288" y="290"/>
                    </a:lnTo>
                    <a:lnTo>
                      <a:pt x="294" y="284"/>
                    </a:lnTo>
                    <a:lnTo>
                      <a:pt x="292" y="280"/>
                    </a:lnTo>
                    <a:lnTo>
                      <a:pt x="284" y="280"/>
                    </a:lnTo>
                    <a:lnTo>
                      <a:pt x="277" y="277"/>
                    </a:lnTo>
                    <a:lnTo>
                      <a:pt x="271" y="279"/>
                    </a:lnTo>
                    <a:lnTo>
                      <a:pt x="284" y="271"/>
                    </a:lnTo>
                    <a:lnTo>
                      <a:pt x="294" y="273"/>
                    </a:lnTo>
                    <a:lnTo>
                      <a:pt x="299" y="271"/>
                    </a:lnTo>
                    <a:lnTo>
                      <a:pt x="307" y="269"/>
                    </a:lnTo>
                    <a:lnTo>
                      <a:pt x="312" y="263"/>
                    </a:lnTo>
                    <a:lnTo>
                      <a:pt x="309" y="260"/>
                    </a:lnTo>
                    <a:lnTo>
                      <a:pt x="316" y="263"/>
                    </a:lnTo>
                    <a:lnTo>
                      <a:pt x="322" y="258"/>
                    </a:lnTo>
                    <a:lnTo>
                      <a:pt x="329" y="256"/>
                    </a:lnTo>
                    <a:lnTo>
                      <a:pt x="329" y="252"/>
                    </a:lnTo>
                    <a:lnTo>
                      <a:pt x="335" y="248"/>
                    </a:lnTo>
                    <a:lnTo>
                      <a:pt x="339" y="241"/>
                    </a:lnTo>
                    <a:lnTo>
                      <a:pt x="333" y="239"/>
                    </a:lnTo>
                    <a:lnTo>
                      <a:pt x="329" y="228"/>
                    </a:lnTo>
                    <a:lnTo>
                      <a:pt x="335" y="228"/>
                    </a:lnTo>
                    <a:lnTo>
                      <a:pt x="339" y="235"/>
                    </a:lnTo>
                    <a:lnTo>
                      <a:pt x="344" y="233"/>
                    </a:lnTo>
                    <a:lnTo>
                      <a:pt x="352" y="228"/>
                    </a:lnTo>
                    <a:lnTo>
                      <a:pt x="356" y="220"/>
                    </a:lnTo>
                    <a:lnTo>
                      <a:pt x="359" y="218"/>
                    </a:lnTo>
                    <a:lnTo>
                      <a:pt x="357" y="211"/>
                    </a:lnTo>
                    <a:lnTo>
                      <a:pt x="361" y="203"/>
                    </a:lnTo>
                    <a:lnTo>
                      <a:pt x="369" y="205"/>
                    </a:lnTo>
                    <a:lnTo>
                      <a:pt x="374" y="203"/>
                    </a:lnTo>
                    <a:lnTo>
                      <a:pt x="378" y="198"/>
                    </a:lnTo>
                    <a:lnTo>
                      <a:pt x="382" y="190"/>
                    </a:lnTo>
                    <a:lnTo>
                      <a:pt x="378" y="186"/>
                    </a:lnTo>
                    <a:lnTo>
                      <a:pt x="384" y="188"/>
                    </a:lnTo>
                    <a:lnTo>
                      <a:pt x="389" y="183"/>
                    </a:lnTo>
                    <a:lnTo>
                      <a:pt x="386" y="175"/>
                    </a:lnTo>
                    <a:lnTo>
                      <a:pt x="378" y="171"/>
                    </a:lnTo>
                    <a:lnTo>
                      <a:pt x="378" y="164"/>
                    </a:lnTo>
                    <a:lnTo>
                      <a:pt x="382" y="156"/>
                    </a:lnTo>
                    <a:lnTo>
                      <a:pt x="386" y="154"/>
                    </a:lnTo>
                    <a:lnTo>
                      <a:pt x="380" y="168"/>
                    </a:lnTo>
                    <a:lnTo>
                      <a:pt x="387" y="171"/>
                    </a:lnTo>
                    <a:lnTo>
                      <a:pt x="389" y="177"/>
                    </a:lnTo>
                    <a:lnTo>
                      <a:pt x="389" y="154"/>
                    </a:lnTo>
                    <a:lnTo>
                      <a:pt x="393" y="149"/>
                    </a:lnTo>
                    <a:lnTo>
                      <a:pt x="408" y="121"/>
                    </a:lnTo>
                    <a:lnTo>
                      <a:pt x="423" y="106"/>
                    </a:lnTo>
                    <a:lnTo>
                      <a:pt x="431" y="100"/>
                    </a:lnTo>
                    <a:lnTo>
                      <a:pt x="431" y="96"/>
                    </a:lnTo>
                    <a:lnTo>
                      <a:pt x="427" y="94"/>
                    </a:lnTo>
                    <a:lnTo>
                      <a:pt x="316" y="15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5" name="Freeform 126"/>
              <p:cNvSpPr>
                <a:spLocks/>
              </p:cNvSpPr>
              <p:nvPr/>
            </p:nvSpPr>
            <p:spPr bwMode="auto">
              <a:xfrm>
                <a:off x="4387273" y="2078914"/>
                <a:ext cx="475542" cy="281669"/>
              </a:xfrm>
              <a:custGeom>
                <a:avLst/>
                <a:gdLst>
                  <a:gd name="T0" fmla="*/ 478 w 495"/>
                  <a:gd name="T1" fmla="*/ 203 h 323"/>
                  <a:gd name="T2" fmla="*/ 491 w 495"/>
                  <a:gd name="T3" fmla="*/ 188 h 323"/>
                  <a:gd name="T4" fmla="*/ 478 w 495"/>
                  <a:gd name="T5" fmla="*/ 169 h 323"/>
                  <a:gd name="T6" fmla="*/ 468 w 495"/>
                  <a:gd name="T7" fmla="*/ 161 h 323"/>
                  <a:gd name="T8" fmla="*/ 461 w 495"/>
                  <a:gd name="T9" fmla="*/ 150 h 323"/>
                  <a:gd name="T10" fmla="*/ 448 w 495"/>
                  <a:gd name="T11" fmla="*/ 141 h 323"/>
                  <a:gd name="T12" fmla="*/ 449 w 495"/>
                  <a:gd name="T13" fmla="*/ 122 h 323"/>
                  <a:gd name="T14" fmla="*/ 449 w 495"/>
                  <a:gd name="T15" fmla="*/ 109 h 323"/>
                  <a:gd name="T16" fmla="*/ 444 w 495"/>
                  <a:gd name="T17" fmla="*/ 103 h 323"/>
                  <a:gd name="T18" fmla="*/ 459 w 495"/>
                  <a:gd name="T19" fmla="*/ 79 h 323"/>
                  <a:gd name="T20" fmla="*/ 461 w 495"/>
                  <a:gd name="T21" fmla="*/ 65 h 323"/>
                  <a:gd name="T22" fmla="*/ 468 w 495"/>
                  <a:gd name="T23" fmla="*/ 54 h 323"/>
                  <a:gd name="T24" fmla="*/ 453 w 495"/>
                  <a:gd name="T25" fmla="*/ 49 h 323"/>
                  <a:gd name="T26" fmla="*/ 434 w 495"/>
                  <a:gd name="T27" fmla="*/ 37 h 323"/>
                  <a:gd name="T28" fmla="*/ 427 w 495"/>
                  <a:gd name="T29" fmla="*/ 15 h 323"/>
                  <a:gd name="T30" fmla="*/ 414 w 495"/>
                  <a:gd name="T31" fmla="*/ 11 h 323"/>
                  <a:gd name="T32" fmla="*/ 402 w 495"/>
                  <a:gd name="T33" fmla="*/ 2 h 323"/>
                  <a:gd name="T34" fmla="*/ 329 w 495"/>
                  <a:gd name="T35" fmla="*/ 17 h 323"/>
                  <a:gd name="T36" fmla="*/ 122 w 495"/>
                  <a:gd name="T37" fmla="*/ 58 h 323"/>
                  <a:gd name="T38" fmla="*/ 55 w 495"/>
                  <a:gd name="T39" fmla="*/ 45 h 323"/>
                  <a:gd name="T40" fmla="*/ 30 w 495"/>
                  <a:gd name="T41" fmla="*/ 60 h 323"/>
                  <a:gd name="T42" fmla="*/ 23 w 495"/>
                  <a:gd name="T43" fmla="*/ 65 h 323"/>
                  <a:gd name="T44" fmla="*/ 0 w 495"/>
                  <a:gd name="T45" fmla="*/ 82 h 323"/>
                  <a:gd name="T46" fmla="*/ 25 w 495"/>
                  <a:gd name="T47" fmla="*/ 225 h 323"/>
                  <a:gd name="T48" fmla="*/ 126 w 495"/>
                  <a:gd name="T49" fmla="*/ 308 h 323"/>
                  <a:gd name="T50" fmla="*/ 421 w 495"/>
                  <a:gd name="T51" fmla="*/ 248 h 323"/>
                  <a:gd name="T52" fmla="*/ 429 w 495"/>
                  <a:gd name="T53" fmla="*/ 235 h 323"/>
                  <a:gd name="T54" fmla="*/ 442 w 495"/>
                  <a:gd name="T55" fmla="*/ 229 h 323"/>
                  <a:gd name="T56" fmla="*/ 449 w 495"/>
                  <a:gd name="T57" fmla="*/ 233 h 323"/>
                  <a:gd name="T58" fmla="*/ 463 w 495"/>
                  <a:gd name="T59" fmla="*/ 223 h 323"/>
                  <a:gd name="T60" fmla="*/ 470 w 495"/>
                  <a:gd name="T61" fmla="*/ 210 h 323"/>
                  <a:gd name="T62" fmla="*/ 476 w 495"/>
                  <a:gd name="T63" fmla="*/ 205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95" h="323">
                    <a:moveTo>
                      <a:pt x="476" y="203"/>
                    </a:moveTo>
                    <a:lnTo>
                      <a:pt x="478" y="203"/>
                    </a:lnTo>
                    <a:lnTo>
                      <a:pt x="483" y="195"/>
                    </a:lnTo>
                    <a:lnTo>
                      <a:pt x="491" y="188"/>
                    </a:lnTo>
                    <a:lnTo>
                      <a:pt x="495" y="182"/>
                    </a:lnTo>
                    <a:lnTo>
                      <a:pt x="478" y="169"/>
                    </a:lnTo>
                    <a:lnTo>
                      <a:pt x="472" y="163"/>
                    </a:lnTo>
                    <a:lnTo>
                      <a:pt x="468" y="161"/>
                    </a:lnTo>
                    <a:lnTo>
                      <a:pt x="461" y="158"/>
                    </a:lnTo>
                    <a:lnTo>
                      <a:pt x="461" y="150"/>
                    </a:lnTo>
                    <a:lnTo>
                      <a:pt x="453" y="148"/>
                    </a:lnTo>
                    <a:lnTo>
                      <a:pt x="448" y="141"/>
                    </a:lnTo>
                    <a:lnTo>
                      <a:pt x="444" y="129"/>
                    </a:lnTo>
                    <a:lnTo>
                      <a:pt x="449" y="122"/>
                    </a:lnTo>
                    <a:lnTo>
                      <a:pt x="451" y="116"/>
                    </a:lnTo>
                    <a:lnTo>
                      <a:pt x="449" y="109"/>
                    </a:lnTo>
                    <a:lnTo>
                      <a:pt x="446" y="107"/>
                    </a:lnTo>
                    <a:lnTo>
                      <a:pt x="444" y="103"/>
                    </a:lnTo>
                    <a:lnTo>
                      <a:pt x="449" y="96"/>
                    </a:lnTo>
                    <a:lnTo>
                      <a:pt x="459" y="79"/>
                    </a:lnTo>
                    <a:lnTo>
                      <a:pt x="459" y="71"/>
                    </a:lnTo>
                    <a:lnTo>
                      <a:pt x="461" y="65"/>
                    </a:lnTo>
                    <a:lnTo>
                      <a:pt x="468" y="56"/>
                    </a:lnTo>
                    <a:lnTo>
                      <a:pt x="468" y="54"/>
                    </a:lnTo>
                    <a:lnTo>
                      <a:pt x="461" y="50"/>
                    </a:lnTo>
                    <a:lnTo>
                      <a:pt x="453" y="49"/>
                    </a:lnTo>
                    <a:lnTo>
                      <a:pt x="440" y="45"/>
                    </a:lnTo>
                    <a:lnTo>
                      <a:pt x="434" y="37"/>
                    </a:lnTo>
                    <a:lnTo>
                      <a:pt x="433" y="30"/>
                    </a:lnTo>
                    <a:lnTo>
                      <a:pt x="427" y="15"/>
                    </a:lnTo>
                    <a:lnTo>
                      <a:pt x="419" y="9"/>
                    </a:lnTo>
                    <a:lnTo>
                      <a:pt x="414" y="11"/>
                    </a:lnTo>
                    <a:lnTo>
                      <a:pt x="410" y="3"/>
                    </a:lnTo>
                    <a:lnTo>
                      <a:pt x="402" y="2"/>
                    </a:lnTo>
                    <a:lnTo>
                      <a:pt x="402" y="0"/>
                    </a:lnTo>
                    <a:lnTo>
                      <a:pt x="329" y="17"/>
                    </a:lnTo>
                    <a:lnTo>
                      <a:pt x="220" y="39"/>
                    </a:lnTo>
                    <a:lnTo>
                      <a:pt x="122" y="58"/>
                    </a:lnTo>
                    <a:lnTo>
                      <a:pt x="58" y="69"/>
                    </a:lnTo>
                    <a:lnTo>
                      <a:pt x="55" y="45"/>
                    </a:lnTo>
                    <a:lnTo>
                      <a:pt x="53" y="43"/>
                    </a:lnTo>
                    <a:lnTo>
                      <a:pt x="30" y="60"/>
                    </a:lnTo>
                    <a:lnTo>
                      <a:pt x="30" y="58"/>
                    </a:lnTo>
                    <a:lnTo>
                      <a:pt x="23" y="65"/>
                    </a:lnTo>
                    <a:lnTo>
                      <a:pt x="10" y="77"/>
                    </a:lnTo>
                    <a:lnTo>
                      <a:pt x="0" y="82"/>
                    </a:lnTo>
                    <a:lnTo>
                      <a:pt x="0" y="86"/>
                    </a:lnTo>
                    <a:lnTo>
                      <a:pt x="25" y="225"/>
                    </a:lnTo>
                    <a:lnTo>
                      <a:pt x="42" y="323"/>
                    </a:lnTo>
                    <a:lnTo>
                      <a:pt x="126" y="308"/>
                    </a:lnTo>
                    <a:lnTo>
                      <a:pt x="265" y="282"/>
                    </a:lnTo>
                    <a:lnTo>
                      <a:pt x="421" y="248"/>
                    </a:lnTo>
                    <a:lnTo>
                      <a:pt x="425" y="242"/>
                    </a:lnTo>
                    <a:lnTo>
                      <a:pt x="429" y="235"/>
                    </a:lnTo>
                    <a:lnTo>
                      <a:pt x="434" y="231"/>
                    </a:lnTo>
                    <a:lnTo>
                      <a:pt x="442" y="229"/>
                    </a:lnTo>
                    <a:lnTo>
                      <a:pt x="448" y="231"/>
                    </a:lnTo>
                    <a:lnTo>
                      <a:pt x="449" y="233"/>
                    </a:lnTo>
                    <a:lnTo>
                      <a:pt x="455" y="225"/>
                    </a:lnTo>
                    <a:lnTo>
                      <a:pt x="463" y="223"/>
                    </a:lnTo>
                    <a:lnTo>
                      <a:pt x="470" y="218"/>
                    </a:lnTo>
                    <a:lnTo>
                      <a:pt x="470" y="210"/>
                    </a:lnTo>
                    <a:lnTo>
                      <a:pt x="474" y="205"/>
                    </a:lnTo>
                    <a:lnTo>
                      <a:pt x="476" y="205"/>
                    </a:lnTo>
                    <a:lnTo>
                      <a:pt x="476" y="203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9" name="Freeform 130"/>
              <p:cNvSpPr>
                <a:spLocks/>
              </p:cNvSpPr>
              <p:nvPr/>
            </p:nvSpPr>
            <p:spPr bwMode="auto">
              <a:xfrm>
                <a:off x="4791723" y="2278611"/>
                <a:ext cx="88383" cy="132550"/>
              </a:xfrm>
              <a:custGeom>
                <a:avLst/>
                <a:gdLst>
                  <a:gd name="T0" fmla="*/ 21 w 92"/>
                  <a:gd name="T1" fmla="*/ 0 h 152"/>
                  <a:gd name="T2" fmla="*/ 13 w 92"/>
                  <a:gd name="T3" fmla="*/ 2 h 152"/>
                  <a:gd name="T4" fmla="*/ 8 w 92"/>
                  <a:gd name="T5" fmla="*/ 6 h 152"/>
                  <a:gd name="T6" fmla="*/ 4 w 92"/>
                  <a:gd name="T7" fmla="*/ 13 h 152"/>
                  <a:gd name="T8" fmla="*/ 0 w 92"/>
                  <a:gd name="T9" fmla="*/ 19 h 152"/>
                  <a:gd name="T10" fmla="*/ 23 w 92"/>
                  <a:gd name="T11" fmla="*/ 98 h 152"/>
                  <a:gd name="T12" fmla="*/ 34 w 92"/>
                  <a:gd name="T13" fmla="*/ 145 h 152"/>
                  <a:gd name="T14" fmla="*/ 40 w 92"/>
                  <a:gd name="T15" fmla="*/ 152 h 152"/>
                  <a:gd name="T16" fmla="*/ 89 w 92"/>
                  <a:gd name="T17" fmla="*/ 141 h 152"/>
                  <a:gd name="T18" fmla="*/ 90 w 92"/>
                  <a:gd name="T19" fmla="*/ 139 h 152"/>
                  <a:gd name="T20" fmla="*/ 92 w 92"/>
                  <a:gd name="T21" fmla="*/ 139 h 152"/>
                  <a:gd name="T22" fmla="*/ 87 w 92"/>
                  <a:gd name="T23" fmla="*/ 126 h 152"/>
                  <a:gd name="T24" fmla="*/ 79 w 92"/>
                  <a:gd name="T25" fmla="*/ 128 h 152"/>
                  <a:gd name="T26" fmla="*/ 77 w 92"/>
                  <a:gd name="T27" fmla="*/ 130 h 152"/>
                  <a:gd name="T28" fmla="*/ 83 w 92"/>
                  <a:gd name="T29" fmla="*/ 122 h 152"/>
                  <a:gd name="T30" fmla="*/ 79 w 92"/>
                  <a:gd name="T31" fmla="*/ 120 h 152"/>
                  <a:gd name="T32" fmla="*/ 79 w 92"/>
                  <a:gd name="T33" fmla="*/ 115 h 152"/>
                  <a:gd name="T34" fmla="*/ 81 w 92"/>
                  <a:gd name="T35" fmla="*/ 107 h 152"/>
                  <a:gd name="T36" fmla="*/ 79 w 92"/>
                  <a:gd name="T37" fmla="*/ 103 h 152"/>
                  <a:gd name="T38" fmla="*/ 72 w 92"/>
                  <a:gd name="T39" fmla="*/ 105 h 152"/>
                  <a:gd name="T40" fmla="*/ 59 w 92"/>
                  <a:gd name="T41" fmla="*/ 94 h 152"/>
                  <a:gd name="T42" fmla="*/ 57 w 92"/>
                  <a:gd name="T43" fmla="*/ 86 h 152"/>
                  <a:gd name="T44" fmla="*/ 49 w 92"/>
                  <a:gd name="T45" fmla="*/ 81 h 152"/>
                  <a:gd name="T46" fmla="*/ 45 w 92"/>
                  <a:gd name="T47" fmla="*/ 71 h 152"/>
                  <a:gd name="T48" fmla="*/ 43 w 92"/>
                  <a:gd name="T49" fmla="*/ 64 h 152"/>
                  <a:gd name="T50" fmla="*/ 40 w 92"/>
                  <a:gd name="T51" fmla="*/ 56 h 152"/>
                  <a:gd name="T52" fmla="*/ 32 w 92"/>
                  <a:gd name="T53" fmla="*/ 51 h 152"/>
                  <a:gd name="T54" fmla="*/ 27 w 92"/>
                  <a:gd name="T55" fmla="*/ 45 h 152"/>
                  <a:gd name="T56" fmla="*/ 23 w 92"/>
                  <a:gd name="T57" fmla="*/ 38 h 152"/>
                  <a:gd name="T58" fmla="*/ 23 w 92"/>
                  <a:gd name="T59" fmla="*/ 32 h 152"/>
                  <a:gd name="T60" fmla="*/ 19 w 92"/>
                  <a:gd name="T61" fmla="*/ 24 h 152"/>
                  <a:gd name="T62" fmla="*/ 21 w 92"/>
                  <a:gd name="T63" fmla="*/ 21 h 152"/>
                  <a:gd name="T64" fmla="*/ 25 w 92"/>
                  <a:gd name="T65" fmla="*/ 13 h 152"/>
                  <a:gd name="T66" fmla="*/ 25 w 92"/>
                  <a:gd name="T67" fmla="*/ 6 h 152"/>
                  <a:gd name="T68" fmla="*/ 28 w 92"/>
                  <a:gd name="T69" fmla="*/ 4 h 152"/>
                  <a:gd name="T70" fmla="*/ 27 w 92"/>
                  <a:gd name="T71" fmla="*/ 2 h 152"/>
                  <a:gd name="T72" fmla="*/ 21 w 92"/>
                  <a:gd name="T73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92" h="152">
                    <a:moveTo>
                      <a:pt x="21" y="0"/>
                    </a:moveTo>
                    <a:lnTo>
                      <a:pt x="13" y="2"/>
                    </a:lnTo>
                    <a:lnTo>
                      <a:pt x="8" y="6"/>
                    </a:lnTo>
                    <a:lnTo>
                      <a:pt x="4" y="13"/>
                    </a:lnTo>
                    <a:lnTo>
                      <a:pt x="0" y="19"/>
                    </a:lnTo>
                    <a:lnTo>
                      <a:pt x="23" y="98"/>
                    </a:lnTo>
                    <a:lnTo>
                      <a:pt x="34" y="145"/>
                    </a:lnTo>
                    <a:lnTo>
                      <a:pt x="40" y="152"/>
                    </a:lnTo>
                    <a:lnTo>
                      <a:pt x="89" y="141"/>
                    </a:lnTo>
                    <a:lnTo>
                      <a:pt x="90" y="139"/>
                    </a:lnTo>
                    <a:lnTo>
                      <a:pt x="92" y="139"/>
                    </a:lnTo>
                    <a:lnTo>
                      <a:pt x="87" y="126"/>
                    </a:lnTo>
                    <a:lnTo>
                      <a:pt x="79" y="128"/>
                    </a:lnTo>
                    <a:lnTo>
                      <a:pt x="77" y="130"/>
                    </a:lnTo>
                    <a:lnTo>
                      <a:pt x="83" y="122"/>
                    </a:lnTo>
                    <a:lnTo>
                      <a:pt x="79" y="120"/>
                    </a:lnTo>
                    <a:lnTo>
                      <a:pt x="79" y="115"/>
                    </a:lnTo>
                    <a:lnTo>
                      <a:pt x="81" y="107"/>
                    </a:lnTo>
                    <a:lnTo>
                      <a:pt x="79" y="103"/>
                    </a:lnTo>
                    <a:lnTo>
                      <a:pt x="72" y="105"/>
                    </a:lnTo>
                    <a:lnTo>
                      <a:pt x="59" y="94"/>
                    </a:lnTo>
                    <a:lnTo>
                      <a:pt x="57" y="86"/>
                    </a:lnTo>
                    <a:lnTo>
                      <a:pt x="49" y="81"/>
                    </a:lnTo>
                    <a:lnTo>
                      <a:pt x="45" y="71"/>
                    </a:lnTo>
                    <a:lnTo>
                      <a:pt x="43" y="64"/>
                    </a:lnTo>
                    <a:lnTo>
                      <a:pt x="40" y="56"/>
                    </a:lnTo>
                    <a:lnTo>
                      <a:pt x="32" y="51"/>
                    </a:lnTo>
                    <a:lnTo>
                      <a:pt x="27" y="45"/>
                    </a:lnTo>
                    <a:lnTo>
                      <a:pt x="23" y="38"/>
                    </a:lnTo>
                    <a:lnTo>
                      <a:pt x="23" y="32"/>
                    </a:lnTo>
                    <a:lnTo>
                      <a:pt x="19" y="24"/>
                    </a:lnTo>
                    <a:lnTo>
                      <a:pt x="21" y="21"/>
                    </a:lnTo>
                    <a:lnTo>
                      <a:pt x="25" y="13"/>
                    </a:lnTo>
                    <a:lnTo>
                      <a:pt x="25" y="6"/>
                    </a:lnTo>
                    <a:lnTo>
                      <a:pt x="28" y="4"/>
                    </a:lnTo>
                    <a:lnTo>
                      <a:pt x="27" y="2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grpSp>
            <p:nvGrpSpPr>
              <p:cNvPr id="450" name="Group 449"/>
              <p:cNvGrpSpPr/>
              <p:nvPr/>
            </p:nvGrpSpPr>
            <p:grpSpPr>
              <a:xfrm>
                <a:off x="4226838" y="2360583"/>
                <a:ext cx="636937" cy="326143"/>
                <a:chOff x="4226838" y="2360583"/>
                <a:chExt cx="636937" cy="326143"/>
              </a:xfrm>
              <a:grpFill/>
            </p:grpSpPr>
            <p:sp>
              <p:nvSpPr>
                <p:cNvPr id="361" name="Freeform 122"/>
                <p:cNvSpPr>
                  <a:spLocks/>
                </p:cNvSpPr>
                <p:nvPr/>
              </p:nvSpPr>
              <p:spPr bwMode="auto">
                <a:xfrm>
                  <a:off x="4226838" y="2360583"/>
                  <a:ext cx="632134" cy="326143"/>
                </a:xfrm>
                <a:custGeom>
                  <a:avLst/>
                  <a:gdLst>
                    <a:gd name="T0" fmla="*/ 472 w 658"/>
                    <a:gd name="T1" fmla="*/ 23 h 374"/>
                    <a:gd name="T2" fmla="*/ 455 w 658"/>
                    <a:gd name="T3" fmla="*/ 0 h 374"/>
                    <a:gd name="T4" fmla="*/ 397 w 658"/>
                    <a:gd name="T5" fmla="*/ 0 h 374"/>
                    <a:gd name="T6" fmla="*/ 389 w 658"/>
                    <a:gd name="T7" fmla="*/ 30 h 374"/>
                    <a:gd name="T8" fmla="*/ 368 w 658"/>
                    <a:gd name="T9" fmla="*/ 58 h 374"/>
                    <a:gd name="T10" fmla="*/ 346 w 658"/>
                    <a:gd name="T11" fmla="*/ 81 h 374"/>
                    <a:gd name="T12" fmla="*/ 334 w 658"/>
                    <a:gd name="T13" fmla="*/ 118 h 374"/>
                    <a:gd name="T14" fmla="*/ 306 w 658"/>
                    <a:gd name="T15" fmla="*/ 109 h 374"/>
                    <a:gd name="T16" fmla="*/ 295 w 658"/>
                    <a:gd name="T17" fmla="*/ 135 h 374"/>
                    <a:gd name="T18" fmla="*/ 284 w 658"/>
                    <a:gd name="T19" fmla="*/ 177 h 374"/>
                    <a:gd name="T20" fmla="*/ 272 w 658"/>
                    <a:gd name="T21" fmla="*/ 220 h 374"/>
                    <a:gd name="T22" fmla="*/ 254 w 658"/>
                    <a:gd name="T23" fmla="*/ 244 h 374"/>
                    <a:gd name="T24" fmla="*/ 224 w 658"/>
                    <a:gd name="T25" fmla="*/ 258 h 374"/>
                    <a:gd name="T26" fmla="*/ 192 w 658"/>
                    <a:gd name="T27" fmla="*/ 273 h 374"/>
                    <a:gd name="T28" fmla="*/ 154 w 658"/>
                    <a:gd name="T29" fmla="*/ 282 h 374"/>
                    <a:gd name="T30" fmla="*/ 128 w 658"/>
                    <a:gd name="T31" fmla="*/ 254 h 374"/>
                    <a:gd name="T32" fmla="*/ 73 w 658"/>
                    <a:gd name="T33" fmla="*/ 318 h 374"/>
                    <a:gd name="T34" fmla="*/ 53 w 658"/>
                    <a:gd name="T35" fmla="*/ 340 h 374"/>
                    <a:gd name="T36" fmla="*/ 21 w 658"/>
                    <a:gd name="T37" fmla="*/ 365 h 374"/>
                    <a:gd name="T38" fmla="*/ 41 w 658"/>
                    <a:gd name="T39" fmla="*/ 370 h 374"/>
                    <a:gd name="T40" fmla="*/ 169 w 658"/>
                    <a:gd name="T41" fmla="*/ 350 h 374"/>
                    <a:gd name="T42" fmla="*/ 466 w 658"/>
                    <a:gd name="T43" fmla="*/ 303 h 374"/>
                    <a:gd name="T44" fmla="*/ 645 w 658"/>
                    <a:gd name="T45" fmla="*/ 265 h 374"/>
                    <a:gd name="T46" fmla="*/ 652 w 658"/>
                    <a:gd name="T47" fmla="*/ 256 h 374"/>
                    <a:gd name="T48" fmla="*/ 641 w 658"/>
                    <a:gd name="T49" fmla="*/ 227 h 374"/>
                    <a:gd name="T50" fmla="*/ 615 w 658"/>
                    <a:gd name="T51" fmla="*/ 239 h 374"/>
                    <a:gd name="T52" fmla="*/ 598 w 658"/>
                    <a:gd name="T53" fmla="*/ 235 h 374"/>
                    <a:gd name="T54" fmla="*/ 579 w 658"/>
                    <a:gd name="T55" fmla="*/ 216 h 374"/>
                    <a:gd name="T56" fmla="*/ 556 w 658"/>
                    <a:gd name="T57" fmla="*/ 211 h 374"/>
                    <a:gd name="T58" fmla="*/ 530 w 658"/>
                    <a:gd name="T59" fmla="*/ 205 h 374"/>
                    <a:gd name="T60" fmla="*/ 556 w 658"/>
                    <a:gd name="T61" fmla="*/ 199 h 374"/>
                    <a:gd name="T62" fmla="*/ 581 w 658"/>
                    <a:gd name="T63" fmla="*/ 212 h 374"/>
                    <a:gd name="T64" fmla="*/ 605 w 658"/>
                    <a:gd name="T65" fmla="*/ 224 h 374"/>
                    <a:gd name="T66" fmla="*/ 601 w 658"/>
                    <a:gd name="T67" fmla="*/ 207 h 374"/>
                    <a:gd name="T68" fmla="*/ 573 w 658"/>
                    <a:gd name="T69" fmla="*/ 190 h 374"/>
                    <a:gd name="T70" fmla="*/ 592 w 658"/>
                    <a:gd name="T71" fmla="*/ 197 h 374"/>
                    <a:gd name="T72" fmla="*/ 600 w 658"/>
                    <a:gd name="T73" fmla="*/ 182 h 374"/>
                    <a:gd name="T74" fmla="*/ 598 w 658"/>
                    <a:gd name="T75" fmla="*/ 169 h 374"/>
                    <a:gd name="T76" fmla="*/ 579 w 658"/>
                    <a:gd name="T77" fmla="*/ 160 h 374"/>
                    <a:gd name="T78" fmla="*/ 551 w 658"/>
                    <a:gd name="T79" fmla="*/ 137 h 374"/>
                    <a:gd name="T80" fmla="*/ 522 w 658"/>
                    <a:gd name="T81" fmla="*/ 115 h 374"/>
                    <a:gd name="T82" fmla="*/ 537 w 658"/>
                    <a:gd name="T83" fmla="*/ 122 h 374"/>
                    <a:gd name="T84" fmla="*/ 562 w 658"/>
                    <a:gd name="T85" fmla="*/ 141 h 374"/>
                    <a:gd name="T86" fmla="*/ 590 w 658"/>
                    <a:gd name="T87" fmla="*/ 156 h 374"/>
                    <a:gd name="T88" fmla="*/ 596 w 658"/>
                    <a:gd name="T89" fmla="*/ 133 h 374"/>
                    <a:gd name="T90" fmla="*/ 575 w 658"/>
                    <a:gd name="T91" fmla="*/ 118 h 374"/>
                    <a:gd name="T92" fmla="*/ 560 w 658"/>
                    <a:gd name="T93" fmla="*/ 105 h 374"/>
                    <a:gd name="T94" fmla="*/ 534 w 658"/>
                    <a:gd name="T95" fmla="*/ 107 h 374"/>
                    <a:gd name="T96" fmla="*/ 507 w 658"/>
                    <a:gd name="T97" fmla="*/ 96 h 374"/>
                    <a:gd name="T98" fmla="*/ 496 w 658"/>
                    <a:gd name="T99" fmla="*/ 90 h 374"/>
                    <a:gd name="T100" fmla="*/ 504 w 658"/>
                    <a:gd name="T101" fmla="*/ 66 h 374"/>
                    <a:gd name="T102" fmla="*/ 509 w 658"/>
                    <a:gd name="T103" fmla="*/ 45 h 374"/>
                    <a:gd name="T104" fmla="*/ 492 w 658"/>
                    <a:gd name="T105" fmla="*/ 28 h 3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58" h="374">
                      <a:moveTo>
                        <a:pt x="492" y="28"/>
                      </a:moveTo>
                      <a:lnTo>
                        <a:pt x="489" y="24"/>
                      </a:lnTo>
                      <a:lnTo>
                        <a:pt x="481" y="23"/>
                      </a:lnTo>
                      <a:lnTo>
                        <a:pt x="472" y="23"/>
                      </a:lnTo>
                      <a:lnTo>
                        <a:pt x="464" y="17"/>
                      </a:lnTo>
                      <a:lnTo>
                        <a:pt x="466" y="11"/>
                      </a:lnTo>
                      <a:lnTo>
                        <a:pt x="462" y="4"/>
                      </a:lnTo>
                      <a:lnTo>
                        <a:pt x="455" y="0"/>
                      </a:lnTo>
                      <a:lnTo>
                        <a:pt x="442" y="0"/>
                      </a:lnTo>
                      <a:lnTo>
                        <a:pt x="438" y="13"/>
                      </a:lnTo>
                      <a:lnTo>
                        <a:pt x="434" y="21"/>
                      </a:lnTo>
                      <a:lnTo>
                        <a:pt x="397" y="0"/>
                      </a:lnTo>
                      <a:lnTo>
                        <a:pt x="389" y="2"/>
                      </a:lnTo>
                      <a:lnTo>
                        <a:pt x="391" y="9"/>
                      </a:lnTo>
                      <a:lnTo>
                        <a:pt x="387" y="17"/>
                      </a:lnTo>
                      <a:lnTo>
                        <a:pt x="389" y="30"/>
                      </a:lnTo>
                      <a:lnTo>
                        <a:pt x="383" y="38"/>
                      </a:lnTo>
                      <a:lnTo>
                        <a:pt x="380" y="51"/>
                      </a:lnTo>
                      <a:lnTo>
                        <a:pt x="374" y="58"/>
                      </a:lnTo>
                      <a:lnTo>
                        <a:pt x="368" y="58"/>
                      </a:lnTo>
                      <a:lnTo>
                        <a:pt x="363" y="71"/>
                      </a:lnTo>
                      <a:lnTo>
                        <a:pt x="355" y="73"/>
                      </a:lnTo>
                      <a:lnTo>
                        <a:pt x="348" y="73"/>
                      </a:lnTo>
                      <a:lnTo>
                        <a:pt x="346" y="81"/>
                      </a:lnTo>
                      <a:lnTo>
                        <a:pt x="344" y="90"/>
                      </a:lnTo>
                      <a:lnTo>
                        <a:pt x="340" y="96"/>
                      </a:lnTo>
                      <a:lnTo>
                        <a:pt x="338" y="111"/>
                      </a:lnTo>
                      <a:lnTo>
                        <a:pt x="334" y="118"/>
                      </a:lnTo>
                      <a:lnTo>
                        <a:pt x="329" y="120"/>
                      </a:lnTo>
                      <a:lnTo>
                        <a:pt x="314" y="118"/>
                      </a:lnTo>
                      <a:lnTo>
                        <a:pt x="314" y="115"/>
                      </a:lnTo>
                      <a:lnTo>
                        <a:pt x="306" y="109"/>
                      </a:lnTo>
                      <a:lnTo>
                        <a:pt x="299" y="111"/>
                      </a:lnTo>
                      <a:lnTo>
                        <a:pt x="299" y="126"/>
                      </a:lnTo>
                      <a:lnTo>
                        <a:pt x="299" y="132"/>
                      </a:lnTo>
                      <a:lnTo>
                        <a:pt x="295" y="135"/>
                      </a:lnTo>
                      <a:lnTo>
                        <a:pt x="291" y="149"/>
                      </a:lnTo>
                      <a:lnTo>
                        <a:pt x="287" y="156"/>
                      </a:lnTo>
                      <a:lnTo>
                        <a:pt x="286" y="164"/>
                      </a:lnTo>
                      <a:lnTo>
                        <a:pt x="284" y="177"/>
                      </a:lnTo>
                      <a:lnTo>
                        <a:pt x="276" y="186"/>
                      </a:lnTo>
                      <a:lnTo>
                        <a:pt x="269" y="199"/>
                      </a:lnTo>
                      <a:lnTo>
                        <a:pt x="267" y="212"/>
                      </a:lnTo>
                      <a:lnTo>
                        <a:pt x="272" y="220"/>
                      </a:lnTo>
                      <a:lnTo>
                        <a:pt x="267" y="226"/>
                      </a:lnTo>
                      <a:lnTo>
                        <a:pt x="269" y="233"/>
                      </a:lnTo>
                      <a:lnTo>
                        <a:pt x="267" y="235"/>
                      </a:lnTo>
                      <a:lnTo>
                        <a:pt x="254" y="244"/>
                      </a:lnTo>
                      <a:lnTo>
                        <a:pt x="246" y="243"/>
                      </a:lnTo>
                      <a:lnTo>
                        <a:pt x="233" y="254"/>
                      </a:lnTo>
                      <a:lnTo>
                        <a:pt x="224" y="250"/>
                      </a:lnTo>
                      <a:lnTo>
                        <a:pt x="224" y="258"/>
                      </a:lnTo>
                      <a:lnTo>
                        <a:pt x="222" y="263"/>
                      </a:lnTo>
                      <a:lnTo>
                        <a:pt x="214" y="265"/>
                      </a:lnTo>
                      <a:lnTo>
                        <a:pt x="199" y="273"/>
                      </a:lnTo>
                      <a:lnTo>
                        <a:pt x="192" y="273"/>
                      </a:lnTo>
                      <a:lnTo>
                        <a:pt x="180" y="269"/>
                      </a:lnTo>
                      <a:lnTo>
                        <a:pt x="178" y="274"/>
                      </a:lnTo>
                      <a:lnTo>
                        <a:pt x="165" y="284"/>
                      </a:lnTo>
                      <a:lnTo>
                        <a:pt x="154" y="282"/>
                      </a:lnTo>
                      <a:lnTo>
                        <a:pt x="141" y="274"/>
                      </a:lnTo>
                      <a:lnTo>
                        <a:pt x="133" y="267"/>
                      </a:lnTo>
                      <a:lnTo>
                        <a:pt x="128" y="259"/>
                      </a:lnTo>
                      <a:lnTo>
                        <a:pt x="128" y="254"/>
                      </a:lnTo>
                      <a:lnTo>
                        <a:pt x="101" y="286"/>
                      </a:lnTo>
                      <a:lnTo>
                        <a:pt x="77" y="303"/>
                      </a:lnTo>
                      <a:lnTo>
                        <a:pt x="73" y="310"/>
                      </a:lnTo>
                      <a:lnTo>
                        <a:pt x="73" y="318"/>
                      </a:lnTo>
                      <a:lnTo>
                        <a:pt x="64" y="323"/>
                      </a:lnTo>
                      <a:lnTo>
                        <a:pt x="64" y="329"/>
                      </a:lnTo>
                      <a:lnTo>
                        <a:pt x="58" y="336"/>
                      </a:lnTo>
                      <a:lnTo>
                        <a:pt x="53" y="340"/>
                      </a:lnTo>
                      <a:lnTo>
                        <a:pt x="45" y="346"/>
                      </a:lnTo>
                      <a:lnTo>
                        <a:pt x="43" y="352"/>
                      </a:lnTo>
                      <a:lnTo>
                        <a:pt x="28" y="359"/>
                      </a:lnTo>
                      <a:lnTo>
                        <a:pt x="21" y="365"/>
                      </a:lnTo>
                      <a:lnTo>
                        <a:pt x="13" y="367"/>
                      </a:lnTo>
                      <a:lnTo>
                        <a:pt x="0" y="374"/>
                      </a:lnTo>
                      <a:lnTo>
                        <a:pt x="26" y="370"/>
                      </a:lnTo>
                      <a:lnTo>
                        <a:pt x="41" y="370"/>
                      </a:lnTo>
                      <a:lnTo>
                        <a:pt x="98" y="361"/>
                      </a:lnTo>
                      <a:lnTo>
                        <a:pt x="133" y="357"/>
                      </a:lnTo>
                      <a:lnTo>
                        <a:pt x="160" y="350"/>
                      </a:lnTo>
                      <a:lnTo>
                        <a:pt x="169" y="350"/>
                      </a:lnTo>
                      <a:lnTo>
                        <a:pt x="184" y="350"/>
                      </a:lnTo>
                      <a:lnTo>
                        <a:pt x="210" y="348"/>
                      </a:lnTo>
                      <a:lnTo>
                        <a:pt x="278" y="336"/>
                      </a:lnTo>
                      <a:lnTo>
                        <a:pt x="466" y="303"/>
                      </a:lnTo>
                      <a:lnTo>
                        <a:pt x="560" y="284"/>
                      </a:lnTo>
                      <a:lnTo>
                        <a:pt x="643" y="265"/>
                      </a:lnTo>
                      <a:lnTo>
                        <a:pt x="641" y="261"/>
                      </a:lnTo>
                      <a:lnTo>
                        <a:pt x="645" y="265"/>
                      </a:lnTo>
                      <a:lnTo>
                        <a:pt x="648" y="263"/>
                      </a:lnTo>
                      <a:lnTo>
                        <a:pt x="647" y="258"/>
                      </a:lnTo>
                      <a:lnTo>
                        <a:pt x="647" y="250"/>
                      </a:lnTo>
                      <a:lnTo>
                        <a:pt x="652" y="256"/>
                      </a:lnTo>
                      <a:lnTo>
                        <a:pt x="656" y="263"/>
                      </a:lnTo>
                      <a:lnTo>
                        <a:pt x="658" y="261"/>
                      </a:lnTo>
                      <a:lnTo>
                        <a:pt x="647" y="241"/>
                      </a:lnTo>
                      <a:lnTo>
                        <a:pt x="641" y="227"/>
                      </a:lnTo>
                      <a:lnTo>
                        <a:pt x="620" y="227"/>
                      </a:lnTo>
                      <a:lnTo>
                        <a:pt x="615" y="226"/>
                      </a:lnTo>
                      <a:lnTo>
                        <a:pt x="613" y="235"/>
                      </a:lnTo>
                      <a:lnTo>
                        <a:pt x="615" y="239"/>
                      </a:lnTo>
                      <a:lnTo>
                        <a:pt x="609" y="235"/>
                      </a:lnTo>
                      <a:lnTo>
                        <a:pt x="603" y="235"/>
                      </a:lnTo>
                      <a:lnTo>
                        <a:pt x="596" y="241"/>
                      </a:lnTo>
                      <a:lnTo>
                        <a:pt x="598" y="235"/>
                      </a:lnTo>
                      <a:lnTo>
                        <a:pt x="592" y="227"/>
                      </a:lnTo>
                      <a:lnTo>
                        <a:pt x="584" y="224"/>
                      </a:lnTo>
                      <a:lnTo>
                        <a:pt x="584" y="224"/>
                      </a:lnTo>
                      <a:lnTo>
                        <a:pt x="579" y="216"/>
                      </a:lnTo>
                      <a:lnTo>
                        <a:pt x="577" y="211"/>
                      </a:lnTo>
                      <a:lnTo>
                        <a:pt x="569" y="212"/>
                      </a:lnTo>
                      <a:lnTo>
                        <a:pt x="562" y="211"/>
                      </a:lnTo>
                      <a:lnTo>
                        <a:pt x="556" y="211"/>
                      </a:lnTo>
                      <a:lnTo>
                        <a:pt x="543" y="207"/>
                      </a:lnTo>
                      <a:lnTo>
                        <a:pt x="522" y="207"/>
                      </a:lnTo>
                      <a:lnTo>
                        <a:pt x="524" y="203"/>
                      </a:lnTo>
                      <a:lnTo>
                        <a:pt x="530" y="205"/>
                      </a:lnTo>
                      <a:lnTo>
                        <a:pt x="545" y="201"/>
                      </a:lnTo>
                      <a:lnTo>
                        <a:pt x="553" y="207"/>
                      </a:lnTo>
                      <a:lnTo>
                        <a:pt x="556" y="207"/>
                      </a:lnTo>
                      <a:lnTo>
                        <a:pt x="556" y="199"/>
                      </a:lnTo>
                      <a:lnTo>
                        <a:pt x="562" y="207"/>
                      </a:lnTo>
                      <a:lnTo>
                        <a:pt x="569" y="211"/>
                      </a:lnTo>
                      <a:lnTo>
                        <a:pt x="575" y="205"/>
                      </a:lnTo>
                      <a:lnTo>
                        <a:pt x="581" y="212"/>
                      </a:lnTo>
                      <a:lnTo>
                        <a:pt x="588" y="218"/>
                      </a:lnTo>
                      <a:lnTo>
                        <a:pt x="596" y="220"/>
                      </a:lnTo>
                      <a:lnTo>
                        <a:pt x="601" y="227"/>
                      </a:lnTo>
                      <a:lnTo>
                        <a:pt x="605" y="224"/>
                      </a:lnTo>
                      <a:lnTo>
                        <a:pt x="609" y="222"/>
                      </a:lnTo>
                      <a:lnTo>
                        <a:pt x="611" y="216"/>
                      </a:lnTo>
                      <a:lnTo>
                        <a:pt x="609" y="209"/>
                      </a:lnTo>
                      <a:lnTo>
                        <a:pt x="601" y="207"/>
                      </a:lnTo>
                      <a:lnTo>
                        <a:pt x="600" y="199"/>
                      </a:lnTo>
                      <a:lnTo>
                        <a:pt x="592" y="201"/>
                      </a:lnTo>
                      <a:lnTo>
                        <a:pt x="579" y="196"/>
                      </a:lnTo>
                      <a:lnTo>
                        <a:pt x="573" y="190"/>
                      </a:lnTo>
                      <a:lnTo>
                        <a:pt x="558" y="179"/>
                      </a:lnTo>
                      <a:lnTo>
                        <a:pt x="566" y="179"/>
                      </a:lnTo>
                      <a:lnTo>
                        <a:pt x="579" y="192"/>
                      </a:lnTo>
                      <a:lnTo>
                        <a:pt x="592" y="197"/>
                      </a:lnTo>
                      <a:lnTo>
                        <a:pt x="596" y="190"/>
                      </a:lnTo>
                      <a:lnTo>
                        <a:pt x="590" y="184"/>
                      </a:lnTo>
                      <a:lnTo>
                        <a:pt x="592" y="182"/>
                      </a:lnTo>
                      <a:lnTo>
                        <a:pt x="600" y="182"/>
                      </a:lnTo>
                      <a:lnTo>
                        <a:pt x="605" y="188"/>
                      </a:lnTo>
                      <a:lnTo>
                        <a:pt x="607" y="182"/>
                      </a:lnTo>
                      <a:lnTo>
                        <a:pt x="603" y="169"/>
                      </a:lnTo>
                      <a:lnTo>
                        <a:pt x="598" y="169"/>
                      </a:lnTo>
                      <a:lnTo>
                        <a:pt x="590" y="167"/>
                      </a:lnTo>
                      <a:lnTo>
                        <a:pt x="594" y="165"/>
                      </a:lnTo>
                      <a:lnTo>
                        <a:pt x="586" y="160"/>
                      </a:lnTo>
                      <a:lnTo>
                        <a:pt x="579" y="160"/>
                      </a:lnTo>
                      <a:lnTo>
                        <a:pt x="573" y="154"/>
                      </a:lnTo>
                      <a:lnTo>
                        <a:pt x="571" y="150"/>
                      </a:lnTo>
                      <a:lnTo>
                        <a:pt x="556" y="145"/>
                      </a:lnTo>
                      <a:lnTo>
                        <a:pt x="551" y="137"/>
                      </a:lnTo>
                      <a:lnTo>
                        <a:pt x="545" y="133"/>
                      </a:lnTo>
                      <a:lnTo>
                        <a:pt x="539" y="130"/>
                      </a:lnTo>
                      <a:lnTo>
                        <a:pt x="536" y="124"/>
                      </a:lnTo>
                      <a:lnTo>
                        <a:pt x="522" y="115"/>
                      </a:lnTo>
                      <a:lnTo>
                        <a:pt x="517" y="115"/>
                      </a:lnTo>
                      <a:lnTo>
                        <a:pt x="522" y="113"/>
                      </a:lnTo>
                      <a:lnTo>
                        <a:pt x="530" y="117"/>
                      </a:lnTo>
                      <a:lnTo>
                        <a:pt x="537" y="122"/>
                      </a:lnTo>
                      <a:lnTo>
                        <a:pt x="545" y="130"/>
                      </a:lnTo>
                      <a:lnTo>
                        <a:pt x="551" y="132"/>
                      </a:lnTo>
                      <a:lnTo>
                        <a:pt x="556" y="139"/>
                      </a:lnTo>
                      <a:lnTo>
                        <a:pt x="562" y="141"/>
                      </a:lnTo>
                      <a:lnTo>
                        <a:pt x="575" y="150"/>
                      </a:lnTo>
                      <a:lnTo>
                        <a:pt x="583" y="152"/>
                      </a:lnTo>
                      <a:lnTo>
                        <a:pt x="583" y="154"/>
                      </a:lnTo>
                      <a:lnTo>
                        <a:pt x="590" y="156"/>
                      </a:lnTo>
                      <a:lnTo>
                        <a:pt x="594" y="147"/>
                      </a:lnTo>
                      <a:lnTo>
                        <a:pt x="594" y="139"/>
                      </a:lnTo>
                      <a:lnTo>
                        <a:pt x="588" y="132"/>
                      </a:lnTo>
                      <a:lnTo>
                        <a:pt x="596" y="133"/>
                      </a:lnTo>
                      <a:lnTo>
                        <a:pt x="596" y="126"/>
                      </a:lnTo>
                      <a:lnTo>
                        <a:pt x="581" y="120"/>
                      </a:lnTo>
                      <a:lnTo>
                        <a:pt x="575" y="120"/>
                      </a:lnTo>
                      <a:lnTo>
                        <a:pt x="575" y="118"/>
                      </a:lnTo>
                      <a:lnTo>
                        <a:pt x="568" y="118"/>
                      </a:lnTo>
                      <a:lnTo>
                        <a:pt x="568" y="115"/>
                      </a:lnTo>
                      <a:lnTo>
                        <a:pt x="562" y="109"/>
                      </a:lnTo>
                      <a:lnTo>
                        <a:pt x="560" y="105"/>
                      </a:lnTo>
                      <a:lnTo>
                        <a:pt x="547" y="109"/>
                      </a:lnTo>
                      <a:lnTo>
                        <a:pt x="545" y="107"/>
                      </a:lnTo>
                      <a:lnTo>
                        <a:pt x="537" y="107"/>
                      </a:lnTo>
                      <a:lnTo>
                        <a:pt x="534" y="107"/>
                      </a:lnTo>
                      <a:lnTo>
                        <a:pt x="522" y="96"/>
                      </a:lnTo>
                      <a:lnTo>
                        <a:pt x="522" y="90"/>
                      </a:lnTo>
                      <a:lnTo>
                        <a:pt x="515" y="90"/>
                      </a:lnTo>
                      <a:lnTo>
                        <a:pt x="507" y="96"/>
                      </a:lnTo>
                      <a:lnTo>
                        <a:pt x="502" y="98"/>
                      </a:lnTo>
                      <a:lnTo>
                        <a:pt x="496" y="98"/>
                      </a:lnTo>
                      <a:lnTo>
                        <a:pt x="492" y="90"/>
                      </a:lnTo>
                      <a:lnTo>
                        <a:pt x="496" y="90"/>
                      </a:lnTo>
                      <a:lnTo>
                        <a:pt x="494" y="83"/>
                      </a:lnTo>
                      <a:lnTo>
                        <a:pt x="498" y="62"/>
                      </a:lnTo>
                      <a:lnTo>
                        <a:pt x="502" y="66"/>
                      </a:lnTo>
                      <a:lnTo>
                        <a:pt x="504" y="66"/>
                      </a:lnTo>
                      <a:lnTo>
                        <a:pt x="506" y="62"/>
                      </a:lnTo>
                      <a:lnTo>
                        <a:pt x="504" y="58"/>
                      </a:lnTo>
                      <a:lnTo>
                        <a:pt x="511" y="53"/>
                      </a:lnTo>
                      <a:lnTo>
                        <a:pt x="509" y="45"/>
                      </a:lnTo>
                      <a:lnTo>
                        <a:pt x="507" y="41"/>
                      </a:lnTo>
                      <a:lnTo>
                        <a:pt x="506" y="34"/>
                      </a:lnTo>
                      <a:lnTo>
                        <a:pt x="500" y="30"/>
                      </a:lnTo>
                      <a:lnTo>
                        <a:pt x="492" y="28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71" name="Freeform 132"/>
                <p:cNvSpPr>
                  <a:spLocks/>
                </p:cNvSpPr>
                <p:nvPr/>
              </p:nvSpPr>
              <p:spPr bwMode="auto">
                <a:xfrm>
                  <a:off x="4830151" y="2444299"/>
                  <a:ext cx="33624" cy="89820"/>
                </a:xfrm>
                <a:custGeom>
                  <a:avLst/>
                  <a:gdLst>
                    <a:gd name="T0" fmla="*/ 15 w 35"/>
                    <a:gd name="T1" fmla="*/ 13 h 103"/>
                    <a:gd name="T2" fmla="*/ 9 w 35"/>
                    <a:gd name="T3" fmla="*/ 19 h 103"/>
                    <a:gd name="T4" fmla="*/ 15 w 35"/>
                    <a:gd name="T5" fmla="*/ 24 h 103"/>
                    <a:gd name="T6" fmla="*/ 13 w 35"/>
                    <a:gd name="T7" fmla="*/ 32 h 103"/>
                    <a:gd name="T8" fmla="*/ 7 w 35"/>
                    <a:gd name="T9" fmla="*/ 32 h 103"/>
                    <a:gd name="T10" fmla="*/ 5 w 35"/>
                    <a:gd name="T11" fmla="*/ 45 h 103"/>
                    <a:gd name="T12" fmla="*/ 2 w 35"/>
                    <a:gd name="T13" fmla="*/ 56 h 103"/>
                    <a:gd name="T14" fmla="*/ 0 w 35"/>
                    <a:gd name="T15" fmla="*/ 71 h 103"/>
                    <a:gd name="T16" fmla="*/ 2 w 35"/>
                    <a:gd name="T17" fmla="*/ 79 h 103"/>
                    <a:gd name="T18" fmla="*/ 0 w 35"/>
                    <a:gd name="T19" fmla="*/ 81 h 103"/>
                    <a:gd name="T20" fmla="*/ 0 w 35"/>
                    <a:gd name="T21" fmla="*/ 94 h 103"/>
                    <a:gd name="T22" fmla="*/ 7 w 35"/>
                    <a:gd name="T23" fmla="*/ 103 h 103"/>
                    <a:gd name="T24" fmla="*/ 13 w 35"/>
                    <a:gd name="T25" fmla="*/ 90 h 103"/>
                    <a:gd name="T26" fmla="*/ 13 w 35"/>
                    <a:gd name="T27" fmla="*/ 79 h 103"/>
                    <a:gd name="T28" fmla="*/ 13 w 35"/>
                    <a:gd name="T29" fmla="*/ 71 h 103"/>
                    <a:gd name="T30" fmla="*/ 17 w 35"/>
                    <a:gd name="T31" fmla="*/ 64 h 103"/>
                    <a:gd name="T32" fmla="*/ 19 w 35"/>
                    <a:gd name="T33" fmla="*/ 58 h 103"/>
                    <a:gd name="T34" fmla="*/ 24 w 35"/>
                    <a:gd name="T35" fmla="*/ 62 h 103"/>
                    <a:gd name="T36" fmla="*/ 26 w 35"/>
                    <a:gd name="T37" fmla="*/ 62 h 103"/>
                    <a:gd name="T38" fmla="*/ 28 w 35"/>
                    <a:gd name="T39" fmla="*/ 54 h 103"/>
                    <a:gd name="T40" fmla="*/ 26 w 35"/>
                    <a:gd name="T41" fmla="*/ 41 h 103"/>
                    <a:gd name="T42" fmla="*/ 30 w 35"/>
                    <a:gd name="T43" fmla="*/ 28 h 103"/>
                    <a:gd name="T44" fmla="*/ 34 w 35"/>
                    <a:gd name="T45" fmla="*/ 17 h 103"/>
                    <a:gd name="T46" fmla="*/ 34 w 35"/>
                    <a:gd name="T47" fmla="*/ 11 h 103"/>
                    <a:gd name="T48" fmla="*/ 35 w 35"/>
                    <a:gd name="T49" fmla="*/ 0 h 103"/>
                    <a:gd name="T50" fmla="*/ 20 w 35"/>
                    <a:gd name="T51" fmla="*/ 6 h 103"/>
                    <a:gd name="T52" fmla="*/ 15 w 35"/>
                    <a:gd name="T53" fmla="*/ 1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35" h="103">
                      <a:moveTo>
                        <a:pt x="15" y="13"/>
                      </a:moveTo>
                      <a:lnTo>
                        <a:pt x="9" y="19"/>
                      </a:lnTo>
                      <a:lnTo>
                        <a:pt x="15" y="24"/>
                      </a:lnTo>
                      <a:lnTo>
                        <a:pt x="13" y="32"/>
                      </a:lnTo>
                      <a:lnTo>
                        <a:pt x="7" y="32"/>
                      </a:lnTo>
                      <a:lnTo>
                        <a:pt x="5" y="45"/>
                      </a:lnTo>
                      <a:lnTo>
                        <a:pt x="2" y="56"/>
                      </a:lnTo>
                      <a:lnTo>
                        <a:pt x="0" y="71"/>
                      </a:lnTo>
                      <a:lnTo>
                        <a:pt x="2" y="79"/>
                      </a:lnTo>
                      <a:lnTo>
                        <a:pt x="0" y="81"/>
                      </a:lnTo>
                      <a:lnTo>
                        <a:pt x="0" y="94"/>
                      </a:lnTo>
                      <a:lnTo>
                        <a:pt x="7" y="103"/>
                      </a:lnTo>
                      <a:lnTo>
                        <a:pt x="13" y="90"/>
                      </a:lnTo>
                      <a:lnTo>
                        <a:pt x="13" y="79"/>
                      </a:lnTo>
                      <a:lnTo>
                        <a:pt x="13" y="71"/>
                      </a:lnTo>
                      <a:lnTo>
                        <a:pt x="17" y="64"/>
                      </a:lnTo>
                      <a:lnTo>
                        <a:pt x="19" y="58"/>
                      </a:lnTo>
                      <a:lnTo>
                        <a:pt x="24" y="62"/>
                      </a:lnTo>
                      <a:lnTo>
                        <a:pt x="26" y="62"/>
                      </a:lnTo>
                      <a:lnTo>
                        <a:pt x="28" y="54"/>
                      </a:lnTo>
                      <a:lnTo>
                        <a:pt x="26" y="41"/>
                      </a:lnTo>
                      <a:lnTo>
                        <a:pt x="30" y="28"/>
                      </a:lnTo>
                      <a:lnTo>
                        <a:pt x="34" y="17"/>
                      </a:lnTo>
                      <a:lnTo>
                        <a:pt x="34" y="11"/>
                      </a:lnTo>
                      <a:lnTo>
                        <a:pt x="35" y="0"/>
                      </a:lnTo>
                      <a:lnTo>
                        <a:pt x="20" y="6"/>
                      </a:lnTo>
                      <a:lnTo>
                        <a:pt x="15" y="13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  <p:sp>
            <p:nvSpPr>
              <p:cNvPr id="372" name="Freeform 133"/>
              <p:cNvSpPr>
                <a:spLocks/>
              </p:cNvSpPr>
              <p:nvPr/>
            </p:nvSpPr>
            <p:spPr bwMode="auto">
              <a:xfrm>
                <a:off x="4846483" y="1740562"/>
                <a:ext cx="137379" cy="234579"/>
              </a:xfrm>
              <a:custGeom>
                <a:avLst/>
                <a:gdLst>
                  <a:gd name="T0" fmla="*/ 2 w 143"/>
                  <a:gd name="T1" fmla="*/ 44 h 269"/>
                  <a:gd name="T2" fmla="*/ 2 w 143"/>
                  <a:gd name="T3" fmla="*/ 51 h 269"/>
                  <a:gd name="T4" fmla="*/ 7 w 143"/>
                  <a:gd name="T5" fmla="*/ 59 h 269"/>
                  <a:gd name="T6" fmla="*/ 7 w 143"/>
                  <a:gd name="T7" fmla="*/ 76 h 269"/>
                  <a:gd name="T8" fmla="*/ 9 w 143"/>
                  <a:gd name="T9" fmla="*/ 83 h 269"/>
                  <a:gd name="T10" fmla="*/ 17 w 143"/>
                  <a:gd name="T11" fmla="*/ 89 h 269"/>
                  <a:gd name="T12" fmla="*/ 18 w 143"/>
                  <a:gd name="T13" fmla="*/ 96 h 269"/>
                  <a:gd name="T14" fmla="*/ 18 w 143"/>
                  <a:gd name="T15" fmla="*/ 102 h 269"/>
                  <a:gd name="T16" fmla="*/ 20 w 143"/>
                  <a:gd name="T17" fmla="*/ 109 h 269"/>
                  <a:gd name="T18" fmla="*/ 20 w 143"/>
                  <a:gd name="T19" fmla="*/ 117 h 269"/>
                  <a:gd name="T20" fmla="*/ 18 w 143"/>
                  <a:gd name="T21" fmla="*/ 121 h 269"/>
                  <a:gd name="T22" fmla="*/ 18 w 143"/>
                  <a:gd name="T23" fmla="*/ 134 h 269"/>
                  <a:gd name="T24" fmla="*/ 22 w 143"/>
                  <a:gd name="T25" fmla="*/ 147 h 269"/>
                  <a:gd name="T26" fmla="*/ 28 w 143"/>
                  <a:gd name="T27" fmla="*/ 155 h 269"/>
                  <a:gd name="T28" fmla="*/ 32 w 143"/>
                  <a:gd name="T29" fmla="*/ 168 h 269"/>
                  <a:gd name="T30" fmla="*/ 30 w 143"/>
                  <a:gd name="T31" fmla="*/ 181 h 269"/>
                  <a:gd name="T32" fmla="*/ 33 w 143"/>
                  <a:gd name="T33" fmla="*/ 188 h 269"/>
                  <a:gd name="T34" fmla="*/ 35 w 143"/>
                  <a:gd name="T35" fmla="*/ 179 h 269"/>
                  <a:gd name="T36" fmla="*/ 47 w 143"/>
                  <a:gd name="T37" fmla="*/ 188 h 269"/>
                  <a:gd name="T38" fmla="*/ 62 w 143"/>
                  <a:gd name="T39" fmla="*/ 258 h 269"/>
                  <a:gd name="T40" fmla="*/ 62 w 143"/>
                  <a:gd name="T41" fmla="*/ 264 h 269"/>
                  <a:gd name="T42" fmla="*/ 65 w 143"/>
                  <a:gd name="T43" fmla="*/ 269 h 269"/>
                  <a:gd name="T44" fmla="*/ 126 w 143"/>
                  <a:gd name="T45" fmla="*/ 258 h 269"/>
                  <a:gd name="T46" fmla="*/ 120 w 143"/>
                  <a:gd name="T47" fmla="*/ 250 h 269"/>
                  <a:gd name="T48" fmla="*/ 116 w 143"/>
                  <a:gd name="T49" fmla="*/ 243 h 269"/>
                  <a:gd name="T50" fmla="*/ 116 w 143"/>
                  <a:gd name="T51" fmla="*/ 235 h 269"/>
                  <a:gd name="T52" fmla="*/ 120 w 143"/>
                  <a:gd name="T53" fmla="*/ 228 h 269"/>
                  <a:gd name="T54" fmla="*/ 114 w 143"/>
                  <a:gd name="T55" fmla="*/ 207 h 269"/>
                  <a:gd name="T56" fmla="*/ 114 w 143"/>
                  <a:gd name="T57" fmla="*/ 194 h 269"/>
                  <a:gd name="T58" fmla="*/ 109 w 143"/>
                  <a:gd name="T59" fmla="*/ 170 h 269"/>
                  <a:gd name="T60" fmla="*/ 112 w 143"/>
                  <a:gd name="T61" fmla="*/ 164 h 269"/>
                  <a:gd name="T62" fmla="*/ 111 w 143"/>
                  <a:gd name="T63" fmla="*/ 153 h 269"/>
                  <a:gd name="T64" fmla="*/ 114 w 143"/>
                  <a:gd name="T65" fmla="*/ 145 h 269"/>
                  <a:gd name="T66" fmla="*/ 116 w 143"/>
                  <a:gd name="T67" fmla="*/ 139 h 269"/>
                  <a:gd name="T68" fmla="*/ 116 w 143"/>
                  <a:gd name="T69" fmla="*/ 132 h 269"/>
                  <a:gd name="T70" fmla="*/ 120 w 143"/>
                  <a:gd name="T71" fmla="*/ 124 h 269"/>
                  <a:gd name="T72" fmla="*/ 118 w 143"/>
                  <a:gd name="T73" fmla="*/ 117 h 269"/>
                  <a:gd name="T74" fmla="*/ 120 w 143"/>
                  <a:gd name="T75" fmla="*/ 106 h 269"/>
                  <a:gd name="T76" fmla="*/ 116 w 143"/>
                  <a:gd name="T77" fmla="*/ 91 h 269"/>
                  <a:gd name="T78" fmla="*/ 116 w 143"/>
                  <a:gd name="T79" fmla="*/ 85 h 269"/>
                  <a:gd name="T80" fmla="*/ 122 w 143"/>
                  <a:gd name="T81" fmla="*/ 77 h 269"/>
                  <a:gd name="T82" fmla="*/ 126 w 143"/>
                  <a:gd name="T83" fmla="*/ 77 h 269"/>
                  <a:gd name="T84" fmla="*/ 137 w 143"/>
                  <a:gd name="T85" fmla="*/ 64 h 269"/>
                  <a:gd name="T86" fmla="*/ 143 w 143"/>
                  <a:gd name="T87" fmla="*/ 53 h 269"/>
                  <a:gd name="T88" fmla="*/ 143 w 143"/>
                  <a:gd name="T89" fmla="*/ 47 h 269"/>
                  <a:gd name="T90" fmla="*/ 141 w 143"/>
                  <a:gd name="T91" fmla="*/ 40 h 269"/>
                  <a:gd name="T92" fmla="*/ 135 w 143"/>
                  <a:gd name="T93" fmla="*/ 34 h 269"/>
                  <a:gd name="T94" fmla="*/ 133 w 143"/>
                  <a:gd name="T95" fmla="*/ 27 h 269"/>
                  <a:gd name="T96" fmla="*/ 137 w 143"/>
                  <a:gd name="T97" fmla="*/ 14 h 269"/>
                  <a:gd name="T98" fmla="*/ 133 w 143"/>
                  <a:gd name="T99" fmla="*/ 2 h 269"/>
                  <a:gd name="T100" fmla="*/ 135 w 143"/>
                  <a:gd name="T101" fmla="*/ 0 h 269"/>
                  <a:gd name="T102" fmla="*/ 26 w 143"/>
                  <a:gd name="T103" fmla="*/ 29 h 269"/>
                  <a:gd name="T104" fmla="*/ 0 w 143"/>
                  <a:gd name="T105" fmla="*/ 36 h 269"/>
                  <a:gd name="T106" fmla="*/ 0 w 143"/>
                  <a:gd name="T107" fmla="*/ 40 h 269"/>
                  <a:gd name="T108" fmla="*/ 2 w 143"/>
                  <a:gd name="T109" fmla="*/ 44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3" h="269">
                    <a:moveTo>
                      <a:pt x="2" y="44"/>
                    </a:moveTo>
                    <a:lnTo>
                      <a:pt x="2" y="51"/>
                    </a:lnTo>
                    <a:lnTo>
                      <a:pt x="7" y="59"/>
                    </a:lnTo>
                    <a:lnTo>
                      <a:pt x="7" y="76"/>
                    </a:lnTo>
                    <a:lnTo>
                      <a:pt x="9" y="83"/>
                    </a:lnTo>
                    <a:lnTo>
                      <a:pt x="17" y="89"/>
                    </a:lnTo>
                    <a:lnTo>
                      <a:pt x="18" y="96"/>
                    </a:lnTo>
                    <a:lnTo>
                      <a:pt x="18" y="102"/>
                    </a:lnTo>
                    <a:lnTo>
                      <a:pt x="20" y="109"/>
                    </a:lnTo>
                    <a:lnTo>
                      <a:pt x="20" y="117"/>
                    </a:lnTo>
                    <a:lnTo>
                      <a:pt x="18" y="121"/>
                    </a:lnTo>
                    <a:lnTo>
                      <a:pt x="18" y="134"/>
                    </a:lnTo>
                    <a:lnTo>
                      <a:pt x="22" y="147"/>
                    </a:lnTo>
                    <a:lnTo>
                      <a:pt x="28" y="155"/>
                    </a:lnTo>
                    <a:lnTo>
                      <a:pt x="32" y="168"/>
                    </a:lnTo>
                    <a:lnTo>
                      <a:pt x="30" y="181"/>
                    </a:lnTo>
                    <a:lnTo>
                      <a:pt x="33" y="188"/>
                    </a:lnTo>
                    <a:lnTo>
                      <a:pt x="35" y="179"/>
                    </a:lnTo>
                    <a:lnTo>
                      <a:pt x="47" y="188"/>
                    </a:lnTo>
                    <a:lnTo>
                      <a:pt x="62" y="258"/>
                    </a:lnTo>
                    <a:lnTo>
                      <a:pt x="62" y="264"/>
                    </a:lnTo>
                    <a:lnTo>
                      <a:pt x="65" y="269"/>
                    </a:lnTo>
                    <a:lnTo>
                      <a:pt x="126" y="258"/>
                    </a:lnTo>
                    <a:lnTo>
                      <a:pt x="120" y="250"/>
                    </a:lnTo>
                    <a:lnTo>
                      <a:pt x="116" y="243"/>
                    </a:lnTo>
                    <a:lnTo>
                      <a:pt x="116" y="235"/>
                    </a:lnTo>
                    <a:lnTo>
                      <a:pt x="120" y="228"/>
                    </a:lnTo>
                    <a:lnTo>
                      <a:pt x="114" y="207"/>
                    </a:lnTo>
                    <a:lnTo>
                      <a:pt x="114" y="194"/>
                    </a:lnTo>
                    <a:lnTo>
                      <a:pt x="109" y="170"/>
                    </a:lnTo>
                    <a:lnTo>
                      <a:pt x="112" y="164"/>
                    </a:lnTo>
                    <a:lnTo>
                      <a:pt x="111" y="153"/>
                    </a:lnTo>
                    <a:lnTo>
                      <a:pt x="114" y="145"/>
                    </a:lnTo>
                    <a:lnTo>
                      <a:pt x="116" y="139"/>
                    </a:lnTo>
                    <a:lnTo>
                      <a:pt x="116" y="132"/>
                    </a:lnTo>
                    <a:lnTo>
                      <a:pt x="120" y="124"/>
                    </a:lnTo>
                    <a:lnTo>
                      <a:pt x="118" y="117"/>
                    </a:lnTo>
                    <a:lnTo>
                      <a:pt x="120" y="106"/>
                    </a:lnTo>
                    <a:lnTo>
                      <a:pt x="116" y="91"/>
                    </a:lnTo>
                    <a:lnTo>
                      <a:pt x="116" y="85"/>
                    </a:lnTo>
                    <a:lnTo>
                      <a:pt x="122" y="77"/>
                    </a:lnTo>
                    <a:lnTo>
                      <a:pt x="126" y="77"/>
                    </a:lnTo>
                    <a:lnTo>
                      <a:pt x="137" y="64"/>
                    </a:lnTo>
                    <a:lnTo>
                      <a:pt x="143" y="53"/>
                    </a:lnTo>
                    <a:lnTo>
                      <a:pt x="143" y="47"/>
                    </a:lnTo>
                    <a:lnTo>
                      <a:pt x="141" y="40"/>
                    </a:lnTo>
                    <a:lnTo>
                      <a:pt x="135" y="34"/>
                    </a:lnTo>
                    <a:lnTo>
                      <a:pt x="133" y="27"/>
                    </a:lnTo>
                    <a:lnTo>
                      <a:pt x="137" y="14"/>
                    </a:lnTo>
                    <a:lnTo>
                      <a:pt x="133" y="2"/>
                    </a:lnTo>
                    <a:lnTo>
                      <a:pt x="135" y="0"/>
                    </a:lnTo>
                    <a:lnTo>
                      <a:pt x="26" y="29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2" y="4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grpSp>
            <p:nvGrpSpPr>
              <p:cNvPr id="453" name="Group 452"/>
              <p:cNvGrpSpPr/>
              <p:nvPr/>
            </p:nvGrpSpPr>
            <p:grpSpPr>
              <a:xfrm>
                <a:off x="4196096" y="2578593"/>
                <a:ext cx="720518" cy="298238"/>
                <a:chOff x="4196096" y="2578593"/>
                <a:chExt cx="720518" cy="298238"/>
              </a:xfrm>
              <a:grpFill/>
            </p:grpSpPr>
            <p:sp>
              <p:nvSpPr>
                <p:cNvPr id="244" name="Freeform 5"/>
                <p:cNvSpPr>
                  <a:spLocks/>
                </p:cNvSpPr>
                <p:nvPr/>
              </p:nvSpPr>
              <p:spPr bwMode="auto">
                <a:xfrm>
                  <a:off x="4793645" y="2624811"/>
                  <a:ext cx="3843" cy="4360"/>
                </a:xfrm>
                <a:custGeom>
                  <a:avLst/>
                  <a:gdLst>
                    <a:gd name="T0" fmla="*/ 0 w 4"/>
                    <a:gd name="T1" fmla="*/ 0 h 5"/>
                    <a:gd name="T2" fmla="*/ 4 w 4"/>
                    <a:gd name="T3" fmla="*/ 5 h 5"/>
                    <a:gd name="T4" fmla="*/ 4 w 4"/>
                    <a:gd name="T5" fmla="*/ 3 h 5"/>
                    <a:gd name="T6" fmla="*/ 0 w 4"/>
                    <a:gd name="T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5">
                      <a:moveTo>
                        <a:pt x="0" y="0"/>
                      </a:moveTo>
                      <a:lnTo>
                        <a:pt x="4" y="5"/>
                      </a:lnTo>
                      <a:lnTo>
                        <a:pt x="4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94" name="Freeform 55"/>
                <p:cNvSpPr>
                  <a:spLocks/>
                </p:cNvSpPr>
                <p:nvPr/>
              </p:nvSpPr>
              <p:spPr bwMode="auto">
                <a:xfrm>
                  <a:off x="4762903" y="2800091"/>
                  <a:ext cx="18253" cy="17441"/>
                </a:xfrm>
                <a:custGeom>
                  <a:avLst/>
                  <a:gdLst>
                    <a:gd name="T0" fmla="*/ 17 w 19"/>
                    <a:gd name="T1" fmla="*/ 0 h 20"/>
                    <a:gd name="T2" fmla="*/ 11 w 19"/>
                    <a:gd name="T3" fmla="*/ 5 h 20"/>
                    <a:gd name="T4" fmla="*/ 4 w 19"/>
                    <a:gd name="T5" fmla="*/ 13 h 20"/>
                    <a:gd name="T6" fmla="*/ 0 w 19"/>
                    <a:gd name="T7" fmla="*/ 20 h 20"/>
                    <a:gd name="T8" fmla="*/ 6 w 19"/>
                    <a:gd name="T9" fmla="*/ 13 h 20"/>
                    <a:gd name="T10" fmla="*/ 19 w 19"/>
                    <a:gd name="T11" fmla="*/ 0 h 20"/>
                    <a:gd name="T12" fmla="*/ 17 w 19"/>
                    <a:gd name="T13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17" y="0"/>
                      </a:moveTo>
                      <a:lnTo>
                        <a:pt x="11" y="5"/>
                      </a:lnTo>
                      <a:lnTo>
                        <a:pt x="4" y="13"/>
                      </a:lnTo>
                      <a:lnTo>
                        <a:pt x="0" y="20"/>
                      </a:lnTo>
                      <a:lnTo>
                        <a:pt x="6" y="13"/>
                      </a:lnTo>
                      <a:lnTo>
                        <a:pt x="19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95" name="Freeform 56"/>
                <p:cNvSpPr>
                  <a:spLocks/>
                </p:cNvSpPr>
                <p:nvPr/>
              </p:nvSpPr>
              <p:spPr bwMode="auto">
                <a:xfrm>
                  <a:off x="4762903" y="2800091"/>
                  <a:ext cx="18253" cy="17441"/>
                </a:xfrm>
                <a:custGeom>
                  <a:avLst/>
                  <a:gdLst>
                    <a:gd name="T0" fmla="*/ 17 w 19"/>
                    <a:gd name="T1" fmla="*/ 0 h 20"/>
                    <a:gd name="T2" fmla="*/ 11 w 19"/>
                    <a:gd name="T3" fmla="*/ 5 h 20"/>
                    <a:gd name="T4" fmla="*/ 4 w 19"/>
                    <a:gd name="T5" fmla="*/ 13 h 20"/>
                    <a:gd name="T6" fmla="*/ 0 w 19"/>
                    <a:gd name="T7" fmla="*/ 20 h 20"/>
                    <a:gd name="T8" fmla="*/ 6 w 19"/>
                    <a:gd name="T9" fmla="*/ 13 h 20"/>
                    <a:gd name="T10" fmla="*/ 19 w 19"/>
                    <a:gd name="T11" fmla="*/ 0 h 20"/>
                    <a:gd name="T12" fmla="*/ 17 w 19"/>
                    <a:gd name="T13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17" y="0"/>
                      </a:moveTo>
                      <a:lnTo>
                        <a:pt x="11" y="5"/>
                      </a:lnTo>
                      <a:lnTo>
                        <a:pt x="4" y="13"/>
                      </a:lnTo>
                      <a:lnTo>
                        <a:pt x="0" y="20"/>
                      </a:lnTo>
                      <a:lnTo>
                        <a:pt x="6" y="13"/>
                      </a:lnTo>
                      <a:lnTo>
                        <a:pt x="19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96" name="Freeform 57"/>
                <p:cNvSpPr>
                  <a:spLocks/>
                </p:cNvSpPr>
                <p:nvPr/>
              </p:nvSpPr>
              <p:spPr bwMode="auto">
                <a:xfrm>
                  <a:off x="4804212" y="2773930"/>
                  <a:ext cx="27860" cy="7848"/>
                </a:xfrm>
                <a:custGeom>
                  <a:avLst/>
                  <a:gdLst>
                    <a:gd name="T0" fmla="*/ 29 w 29"/>
                    <a:gd name="T1" fmla="*/ 0 h 9"/>
                    <a:gd name="T2" fmla="*/ 27 w 29"/>
                    <a:gd name="T3" fmla="*/ 0 h 9"/>
                    <a:gd name="T4" fmla="*/ 19 w 29"/>
                    <a:gd name="T5" fmla="*/ 0 h 9"/>
                    <a:gd name="T6" fmla="*/ 6 w 29"/>
                    <a:gd name="T7" fmla="*/ 5 h 9"/>
                    <a:gd name="T8" fmla="*/ 0 w 29"/>
                    <a:gd name="T9" fmla="*/ 9 h 9"/>
                    <a:gd name="T10" fmla="*/ 15 w 29"/>
                    <a:gd name="T11" fmla="*/ 3 h 9"/>
                    <a:gd name="T12" fmla="*/ 29 w 29"/>
                    <a:gd name="T13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9">
                      <a:moveTo>
                        <a:pt x="29" y="0"/>
                      </a:moveTo>
                      <a:lnTo>
                        <a:pt x="27" y="0"/>
                      </a:lnTo>
                      <a:lnTo>
                        <a:pt x="19" y="0"/>
                      </a:lnTo>
                      <a:lnTo>
                        <a:pt x="6" y="5"/>
                      </a:lnTo>
                      <a:lnTo>
                        <a:pt x="0" y="9"/>
                      </a:lnTo>
                      <a:lnTo>
                        <a:pt x="15" y="3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97" name="Freeform 58"/>
                <p:cNvSpPr>
                  <a:spLocks/>
                </p:cNvSpPr>
                <p:nvPr/>
              </p:nvSpPr>
              <p:spPr bwMode="auto">
                <a:xfrm>
                  <a:off x="4804212" y="2773930"/>
                  <a:ext cx="27860" cy="7848"/>
                </a:xfrm>
                <a:custGeom>
                  <a:avLst/>
                  <a:gdLst>
                    <a:gd name="T0" fmla="*/ 29 w 29"/>
                    <a:gd name="T1" fmla="*/ 0 h 9"/>
                    <a:gd name="T2" fmla="*/ 27 w 29"/>
                    <a:gd name="T3" fmla="*/ 0 h 9"/>
                    <a:gd name="T4" fmla="*/ 19 w 29"/>
                    <a:gd name="T5" fmla="*/ 0 h 9"/>
                    <a:gd name="T6" fmla="*/ 6 w 29"/>
                    <a:gd name="T7" fmla="*/ 5 h 9"/>
                    <a:gd name="T8" fmla="*/ 0 w 29"/>
                    <a:gd name="T9" fmla="*/ 9 h 9"/>
                    <a:gd name="T10" fmla="*/ 15 w 29"/>
                    <a:gd name="T11" fmla="*/ 3 h 9"/>
                    <a:gd name="T12" fmla="*/ 29 w 29"/>
                    <a:gd name="T13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9">
                      <a:moveTo>
                        <a:pt x="29" y="0"/>
                      </a:moveTo>
                      <a:lnTo>
                        <a:pt x="27" y="0"/>
                      </a:lnTo>
                      <a:lnTo>
                        <a:pt x="19" y="0"/>
                      </a:lnTo>
                      <a:lnTo>
                        <a:pt x="6" y="5"/>
                      </a:lnTo>
                      <a:lnTo>
                        <a:pt x="0" y="9"/>
                      </a:lnTo>
                      <a:lnTo>
                        <a:pt x="15" y="3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98" name="Freeform 59"/>
                <p:cNvSpPr>
                  <a:spLocks/>
                </p:cNvSpPr>
                <p:nvPr/>
              </p:nvSpPr>
              <p:spPr bwMode="auto">
                <a:xfrm>
                  <a:off x="4848404" y="2746025"/>
                  <a:ext cx="17292" cy="32266"/>
                </a:xfrm>
                <a:custGeom>
                  <a:avLst/>
                  <a:gdLst>
                    <a:gd name="T0" fmla="*/ 18 w 18"/>
                    <a:gd name="T1" fmla="*/ 0 h 37"/>
                    <a:gd name="T2" fmla="*/ 11 w 18"/>
                    <a:gd name="T3" fmla="*/ 7 h 37"/>
                    <a:gd name="T4" fmla="*/ 7 w 18"/>
                    <a:gd name="T5" fmla="*/ 13 h 37"/>
                    <a:gd name="T6" fmla="*/ 5 w 18"/>
                    <a:gd name="T7" fmla="*/ 20 h 37"/>
                    <a:gd name="T8" fmla="*/ 0 w 18"/>
                    <a:gd name="T9" fmla="*/ 37 h 37"/>
                    <a:gd name="T10" fmla="*/ 7 w 18"/>
                    <a:gd name="T11" fmla="*/ 15 h 37"/>
                    <a:gd name="T12" fmla="*/ 18 w 18"/>
                    <a:gd name="T13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" h="37">
                      <a:moveTo>
                        <a:pt x="18" y="0"/>
                      </a:moveTo>
                      <a:lnTo>
                        <a:pt x="11" y="7"/>
                      </a:lnTo>
                      <a:lnTo>
                        <a:pt x="7" y="13"/>
                      </a:lnTo>
                      <a:lnTo>
                        <a:pt x="5" y="20"/>
                      </a:lnTo>
                      <a:lnTo>
                        <a:pt x="0" y="37"/>
                      </a:lnTo>
                      <a:lnTo>
                        <a:pt x="7" y="15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299" name="Freeform 60"/>
                <p:cNvSpPr>
                  <a:spLocks/>
                </p:cNvSpPr>
                <p:nvPr/>
              </p:nvSpPr>
              <p:spPr bwMode="auto">
                <a:xfrm>
                  <a:off x="4848404" y="2746025"/>
                  <a:ext cx="17292" cy="32266"/>
                </a:xfrm>
                <a:custGeom>
                  <a:avLst/>
                  <a:gdLst>
                    <a:gd name="T0" fmla="*/ 18 w 18"/>
                    <a:gd name="T1" fmla="*/ 0 h 37"/>
                    <a:gd name="T2" fmla="*/ 11 w 18"/>
                    <a:gd name="T3" fmla="*/ 7 h 37"/>
                    <a:gd name="T4" fmla="*/ 7 w 18"/>
                    <a:gd name="T5" fmla="*/ 13 h 37"/>
                    <a:gd name="T6" fmla="*/ 5 w 18"/>
                    <a:gd name="T7" fmla="*/ 20 h 37"/>
                    <a:gd name="T8" fmla="*/ 0 w 18"/>
                    <a:gd name="T9" fmla="*/ 37 h 37"/>
                    <a:gd name="T10" fmla="*/ 7 w 18"/>
                    <a:gd name="T11" fmla="*/ 15 h 37"/>
                    <a:gd name="T12" fmla="*/ 18 w 18"/>
                    <a:gd name="T13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" h="37">
                      <a:moveTo>
                        <a:pt x="18" y="0"/>
                      </a:moveTo>
                      <a:lnTo>
                        <a:pt x="11" y="7"/>
                      </a:lnTo>
                      <a:lnTo>
                        <a:pt x="7" y="13"/>
                      </a:lnTo>
                      <a:lnTo>
                        <a:pt x="5" y="20"/>
                      </a:lnTo>
                      <a:lnTo>
                        <a:pt x="0" y="37"/>
                      </a:lnTo>
                      <a:lnTo>
                        <a:pt x="7" y="15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00" name="Freeform 61"/>
                <p:cNvSpPr>
                  <a:spLocks/>
                </p:cNvSpPr>
                <p:nvPr/>
              </p:nvSpPr>
              <p:spPr bwMode="auto">
                <a:xfrm>
                  <a:off x="4871461" y="2731200"/>
                  <a:ext cx="5764" cy="4360"/>
                </a:xfrm>
                <a:custGeom>
                  <a:avLst/>
                  <a:gdLst>
                    <a:gd name="T0" fmla="*/ 0 w 6"/>
                    <a:gd name="T1" fmla="*/ 5 h 5"/>
                    <a:gd name="T2" fmla="*/ 6 w 6"/>
                    <a:gd name="T3" fmla="*/ 0 h 5"/>
                    <a:gd name="T4" fmla="*/ 4 w 6"/>
                    <a:gd name="T5" fmla="*/ 0 h 5"/>
                    <a:gd name="T6" fmla="*/ 0 w 6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5">
                      <a:moveTo>
                        <a:pt x="0" y="5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01" name="Freeform 62"/>
                <p:cNvSpPr>
                  <a:spLocks/>
                </p:cNvSpPr>
                <p:nvPr/>
              </p:nvSpPr>
              <p:spPr bwMode="auto">
                <a:xfrm>
                  <a:off x="4871461" y="2731200"/>
                  <a:ext cx="5764" cy="4360"/>
                </a:xfrm>
                <a:custGeom>
                  <a:avLst/>
                  <a:gdLst>
                    <a:gd name="T0" fmla="*/ 0 w 6"/>
                    <a:gd name="T1" fmla="*/ 5 h 5"/>
                    <a:gd name="T2" fmla="*/ 6 w 6"/>
                    <a:gd name="T3" fmla="*/ 0 h 5"/>
                    <a:gd name="T4" fmla="*/ 4 w 6"/>
                    <a:gd name="T5" fmla="*/ 0 h 5"/>
                    <a:gd name="T6" fmla="*/ 0 w 6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5">
                      <a:moveTo>
                        <a:pt x="0" y="5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02" name="Freeform 63"/>
                <p:cNvSpPr>
                  <a:spLocks/>
                </p:cNvSpPr>
                <p:nvPr/>
              </p:nvSpPr>
              <p:spPr bwMode="auto">
                <a:xfrm>
                  <a:off x="4882028" y="2712887"/>
                  <a:ext cx="12489" cy="11337"/>
                </a:xfrm>
                <a:custGeom>
                  <a:avLst/>
                  <a:gdLst>
                    <a:gd name="T0" fmla="*/ 13 w 13"/>
                    <a:gd name="T1" fmla="*/ 0 h 13"/>
                    <a:gd name="T2" fmla="*/ 13 w 13"/>
                    <a:gd name="T3" fmla="*/ 2 h 13"/>
                    <a:gd name="T4" fmla="*/ 6 w 13"/>
                    <a:gd name="T5" fmla="*/ 8 h 13"/>
                    <a:gd name="T6" fmla="*/ 0 w 13"/>
                    <a:gd name="T7" fmla="*/ 13 h 13"/>
                    <a:gd name="T8" fmla="*/ 13 w 13"/>
                    <a:gd name="T9" fmla="*/ 2 h 13"/>
                    <a:gd name="T10" fmla="*/ 13 w 13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13" y="2"/>
                      </a:lnTo>
                      <a:lnTo>
                        <a:pt x="6" y="8"/>
                      </a:lnTo>
                      <a:lnTo>
                        <a:pt x="0" y="13"/>
                      </a:lnTo>
                      <a:lnTo>
                        <a:pt x="13" y="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03" name="Freeform 64"/>
                <p:cNvSpPr>
                  <a:spLocks/>
                </p:cNvSpPr>
                <p:nvPr/>
              </p:nvSpPr>
              <p:spPr bwMode="auto">
                <a:xfrm>
                  <a:off x="4882028" y="2712887"/>
                  <a:ext cx="12489" cy="11337"/>
                </a:xfrm>
                <a:custGeom>
                  <a:avLst/>
                  <a:gdLst>
                    <a:gd name="T0" fmla="*/ 13 w 13"/>
                    <a:gd name="T1" fmla="*/ 0 h 13"/>
                    <a:gd name="T2" fmla="*/ 13 w 13"/>
                    <a:gd name="T3" fmla="*/ 2 h 13"/>
                    <a:gd name="T4" fmla="*/ 6 w 13"/>
                    <a:gd name="T5" fmla="*/ 8 h 13"/>
                    <a:gd name="T6" fmla="*/ 0 w 13"/>
                    <a:gd name="T7" fmla="*/ 13 h 13"/>
                    <a:gd name="T8" fmla="*/ 13 w 13"/>
                    <a:gd name="T9" fmla="*/ 2 h 13"/>
                    <a:gd name="T10" fmla="*/ 13 w 13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13" y="2"/>
                      </a:lnTo>
                      <a:lnTo>
                        <a:pt x="6" y="8"/>
                      </a:lnTo>
                      <a:lnTo>
                        <a:pt x="0" y="13"/>
                      </a:lnTo>
                      <a:lnTo>
                        <a:pt x="13" y="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04" name="Freeform 65"/>
                <p:cNvSpPr>
                  <a:spLocks/>
                </p:cNvSpPr>
                <p:nvPr/>
              </p:nvSpPr>
              <p:spPr bwMode="auto">
                <a:xfrm>
                  <a:off x="4906046" y="2655333"/>
                  <a:ext cx="10568" cy="53194"/>
                </a:xfrm>
                <a:custGeom>
                  <a:avLst/>
                  <a:gdLst>
                    <a:gd name="T0" fmla="*/ 0 w 11"/>
                    <a:gd name="T1" fmla="*/ 61 h 61"/>
                    <a:gd name="T2" fmla="*/ 2 w 11"/>
                    <a:gd name="T3" fmla="*/ 61 h 61"/>
                    <a:gd name="T4" fmla="*/ 9 w 11"/>
                    <a:gd name="T5" fmla="*/ 57 h 61"/>
                    <a:gd name="T6" fmla="*/ 11 w 11"/>
                    <a:gd name="T7" fmla="*/ 44 h 61"/>
                    <a:gd name="T8" fmla="*/ 9 w 11"/>
                    <a:gd name="T9" fmla="*/ 23 h 61"/>
                    <a:gd name="T10" fmla="*/ 7 w 11"/>
                    <a:gd name="T11" fmla="*/ 15 h 61"/>
                    <a:gd name="T12" fmla="*/ 2 w 11"/>
                    <a:gd name="T13" fmla="*/ 0 h 61"/>
                    <a:gd name="T14" fmla="*/ 2 w 11"/>
                    <a:gd name="T15" fmla="*/ 8 h 61"/>
                    <a:gd name="T16" fmla="*/ 5 w 11"/>
                    <a:gd name="T17" fmla="*/ 15 h 61"/>
                    <a:gd name="T18" fmla="*/ 7 w 11"/>
                    <a:gd name="T19" fmla="*/ 21 h 61"/>
                    <a:gd name="T20" fmla="*/ 9 w 11"/>
                    <a:gd name="T21" fmla="*/ 47 h 61"/>
                    <a:gd name="T22" fmla="*/ 5 w 11"/>
                    <a:gd name="T23" fmla="*/ 55 h 61"/>
                    <a:gd name="T24" fmla="*/ 0 w 11"/>
                    <a:gd name="T25" fmla="*/ 6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" h="61">
                      <a:moveTo>
                        <a:pt x="0" y="61"/>
                      </a:moveTo>
                      <a:lnTo>
                        <a:pt x="2" y="61"/>
                      </a:lnTo>
                      <a:lnTo>
                        <a:pt x="9" y="57"/>
                      </a:lnTo>
                      <a:lnTo>
                        <a:pt x="11" y="44"/>
                      </a:lnTo>
                      <a:lnTo>
                        <a:pt x="9" y="23"/>
                      </a:lnTo>
                      <a:lnTo>
                        <a:pt x="7" y="15"/>
                      </a:lnTo>
                      <a:lnTo>
                        <a:pt x="2" y="0"/>
                      </a:lnTo>
                      <a:lnTo>
                        <a:pt x="2" y="8"/>
                      </a:lnTo>
                      <a:lnTo>
                        <a:pt x="5" y="15"/>
                      </a:lnTo>
                      <a:lnTo>
                        <a:pt x="7" y="21"/>
                      </a:lnTo>
                      <a:lnTo>
                        <a:pt x="9" y="47"/>
                      </a:lnTo>
                      <a:lnTo>
                        <a:pt x="5" y="55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05" name="Freeform 66"/>
                <p:cNvSpPr>
                  <a:spLocks/>
                </p:cNvSpPr>
                <p:nvPr/>
              </p:nvSpPr>
              <p:spPr bwMode="auto">
                <a:xfrm>
                  <a:off x="4906046" y="2655333"/>
                  <a:ext cx="10568" cy="53194"/>
                </a:xfrm>
                <a:custGeom>
                  <a:avLst/>
                  <a:gdLst>
                    <a:gd name="T0" fmla="*/ 0 w 11"/>
                    <a:gd name="T1" fmla="*/ 61 h 61"/>
                    <a:gd name="T2" fmla="*/ 2 w 11"/>
                    <a:gd name="T3" fmla="*/ 61 h 61"/>
                    <a:gd name="T4" fmla="*/ 9 w 11"/>
                    <a:gd name="T5" fmla="*/ 57 h 61"/>
                    <a:gd name="T6" fmla="*/ 11 w 11"/>
                    <a:gd name="T7" fmla="*/ 44 h 61"/>
                    <a:gd name="T8" fmla="*/ 9 w 11"/>
                    <a:gd name="T9" fmla="*/ 23 h 61"/>
                    <a:gd name="T10" fmla="*/ 7 w 11"/>
                    <a:gd name="T11" fmla="*/ 15 h 61"/>
                    <a:gd name="T12" fmla="*/ 2 w 11"/>
                    <a:gd name="T13" fmla="*/ 0 h 61"/>
                    <a:gd name="T14" fmla="*/ 2 w 11"/>
                    <a:gd name="T15" fmla="*/ 8 h 61"/>
                    <a:gd name="T16" fmla="*/ 5 w 11"/>
                    <a:gd name="T17" fmla="*/ 15 h 61"/>
                    <a:gd name="T18" fmla="*/ 7 w 11"/>
                    <a:gd name="T19" fmla="*/ 21 h 61"/>
                    <a:gd name="T20" fmla="*/ 9 w 11"/>
                    <a:gd name="T21" fmla="*/ 47 h 61"/>
                    <a:gd name="T22" fmla="*/ 5 w 11"/>
                    <a:gd name="T23" fmla="*/ 55 h 61"/>
                    <a:gd name="T24" fmla="*/ 0 w 11"/>
                    <a:gd name="T25" fmla="*/ 6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" h="61">
                      <a:moveTo>
                        <a:pt x="0" y="61"/>
                      </a:moveTo>
                      <a:lnTo>
                        <a:pt x="2" y="61"/>
                      </a:lnTo>
                      <a:lnTo>
                        <a:pt x="9" y="57"/>
                      </a:lnTo>
                      <a:lnTo>
                        <a:pt x="11" y="44"/>
                      </a:lnTo>
                      <a:lnTo>
                        <a:pt x="9" y="23"/>
                      </a:lnTo>
                      <a:lnTo>
                        <a:pt x="7" y="15"/>
                      </a:lnTo>
                      <a:lnTo>
                        <a:pt x="2" y="0"/>
                      </a:lnTo>
                      <a:lnTo>
                        <a:pt x="2" y="8"/>
                      </a:lnTo>
                      <a:lnTo>
                        <a:pt x="5" y="15"/>
                      </a:lnTo>
                      <a:lnTo>
                        <a:pt x="7" y="21"/>
                      </a:lnTo>
                      <a:lnTo>
                        <a:pt x="9" y="47"/>
                      </a:lnTo>
                      <a:lnTo>
                        <a:pt x="5" y="55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59" name="Freeform 120"/>
                <p:cNvSpPr>
                  <a:spLocks/>
                </p:cNvSpPr>
                <p:nvPr/>
              </p:nvSpPr>
              <p:spPr bwMode="auto">
                <a:xfrm>
                  <a:off x="4196096" y="2591674"/>
                  <a:ext cx="693618" cy="285157"/>
                </a:xfrm>
                <a:custGeom>
                  <a:avLst/>
                  <a:gdLst>
                    <a:gd name="T0" fmla="*/ 216 w 722"/>
                    <a:gd name="T1" fmla="*/ 85 h 327"/>
                    <a:gd name="T2" fmla="*/ 197 w 722"/>
                    <a:gd name="T3" fmla="*/ 113 h 327"/>
                    <a:gd name="T4" fmla="*/ 173 w 722"/>
                    <a:gd name="T5" fmla="*/ 145 h 327"/>
                    <a:gd name="T6" fmla="*/ 145 w 722"/>
                    <a:gd name="T7" fmla="*/ 156 h 327"/>
                    <a:gd name="T8" fmla="*/ 120 w 722"/>
                    <a:gd name="T9" fmla="*/ 162 h 327"/>
                    <a:gd name="T10" fmla="*/ 105 w 722"/>
                    <a:gd name="T11" fmla="*/ 184 h 327"/>
                    <a:gd name="T12" fmla="*/ 62 w 722"/>
                    <a:gd name="T13" fmla="*/ 218 h 327"/>
                    <a:gd name="T14" fmla="*/ 22 w 722"/>
                    <a:gd name="T15" fmla="*/ 237 h 327"/>
                    <a:gd name="T16" fmla="*/ 0 w 722"/>
                    <a:gd name="T17" fmla="*/ 263 h 327"/>
                    <a:gd name="T18" fmla="*/ 133 w 722"/>
                    <a:gd name="T19" fmla="*/ 263 h 327"/>
                    <a:gd name="T20" fmla="*/ 173 w 722"/>
                    <a:gd name="T21" fmla="*/ 243 h 327"/>
                    <a:gd name="T22" fmla="*/ 291 w 722"/>
                    <a:gd name="T23" fmla="*/ 235 h 327"/>
                    <a:gd name="T24" fmla="*/ 308 w 722"/>
                    <a:gd name="T25" fmla="*/ 261 h 327"/>
                    <a:gd name="T26" fmla="*/ 522 w 722"/>
                    <a:gd name="T27" fmla="*/ 327 h 327"/>
                    <a:gd name="T28" fmla="*/ 568 w 722"/>
                    <a:gd name="T29" fmla="*/ 314 h 327"/>
                    <a:gd name="T30" fmla="*/ 569 w 722"/>
                    <a:gd name="T31" fmla="*/ 291 h 327"/>
                    <a:gd name="T32" fmla="*/ 581 w 722"/>
                    <a:gd name="T33" fmla="*/ 267 h 327"/>
                    <a:gd name="T34" fmla="*/ 605 w 722"/>
                    <a:gd name="T35" fmla="*/ 228 h 327"/>
                    <a:gd name="T36" fmla="*/ 611 w 722"/>
                    <a:gd name="T37" fmla="*/ 235 h 327"/>
                    <a:gd name="T38" fmla="*/ 632 w 722"/>
                    <a:gd name="T39" fmla="*/ 216 h 327"/>
                    <a:gd name="T40" fmla="*/ 662 w 722"/>
                    <a:gd name="T41" fmla="*/ 197 h 327"/>
                    <a:gd name="T42" fmla="*/ 677 w 722"/>
                    <a:gd name="T43" fmla="*/ 201 h 327"/>
                    <a:gd name="T44" fmla="*/ 688 w 722"/>
                    <a:gd name="T45" fmla="*/ 169 h 327"/>
                    <a:gd name="T46" fmla="*/ 679 w 722"/>
                    <a:gd name="T47" fmla="*/ 171 h 327"/>
                    <a:gd name="T48" fmla="*/ 669 w 722"/>
                    <a:gd name="T49" fmla="*/ 173 h 327"/>
                    <a:gd name="T50" fmla="*/ 635 w 722"/>
                    <a:gd name="T51" fmla="*/ 184 h 327"/>
                    <a:gd name="T52" fmla="*/ 632 w 722"/>
                    <a:gd name="T53" fmla="*/ 173 h 327"/>
                    <a:gd name="T54" fmla="*/ 663 w 722"/>
                    <a:gd name="T55" fmla="*/ 164 h 327"/>
                    <a:gd name="T56" fmla="*/ 665 w 722"/>
                    <a:gd name="T57" fmla="*/ 152 h 327"/>
                    <a:gd name="T58" fmla="*/ 616 w 722"/>
                    <a:gd name="T59" fmla="*/ 132 h 327"/>
                    <a:gd name="T60" fmla="*/ 643 w 722"/>
                    <a:gd name="T61" fmla="*/ 132 h 327"/>
                    <a:gd name="T62" fmla="*/ 650 w 722"/>
                    <a:gd name="T63" fmla="*/ 117 h 327"/>
                    <a:gd name="T64" fmla="*/ 667 w 722"/>
                    <a:gd name="T65" fmla="*/ 130 h 327"/>
                    <a:gd name="T66" fmla="*/ 694 w 722"/>
                    <a:gd name="T67" fmla="*/ 130 h 327"/>
                    <a:gd name="T68" fmla="*/ 716 w 722"/>
                    <a:gd name="T69" fmla="*/ 98 h 327"/>
                    <a:gd name="T70" fmla="*/ 714 w 722"/>
                    <a:gd name="T71" fmla="*/ 64 h 327"/>
                    <a:gd name="T72" fmla="*/ 695 w 722"/>
                    <a:gd name="T73" fmla="*/ 68 h 327"/>
                    <a:gd name="T74" fmla="*/ 688 w 722"/>
                    <a:gd name="T75" fmla="*/ 92 h 327"/>
                    <a:gd name="T76" fmla="*/ 690 w 722"/>
                    <a:gd name="T77" fmla="*/ 68 h 327"/>
                    <a:gd name="T78" fmla="*/ 669 w 722"/>
                    <a:gd name="T79" fmla="*/ 71 h 327"/>
                    <a:gd name="T80" fmla="*/ 635 w 722"/>
                    <a:gd name="T81" fmla="*/ 77 h 327"/>
                    <a:gd name="T82" fmla="*/ 622 w 722"/>
                    <a:gd name="T83" fmla="*/ 49 h 327"/>
                    <a:gd name="T84" fmla="*/ 626 w 722"/>
                    <a:gd name="T85" fmla="*/ 43 h 327"/>
                    <a:gd name="T86" fmla="*/ 639 w 722"/>
                    <a:gd name="T87" fmla="*/ 64 h 327"/>
                    <a:gd name="T88" fmla="*/ 662 w 722"/>
                    <a:gd name="T89" fmla="*/ 49 h 327"/>
                    <a:gd name="T90" fmla="*/ 679 w 722"/>
                    <a:gd name="T91" fmla="*/ 45 h 327"/>
                    <a:gd name="T92" fmla="*/ 673 w 722"/>
                    <a:gd name="T93" fmla="*/ 30 h 327"/>
                    <a:gd name="T94" fmla="*/ 684 w 722"/>
                    <a:gd name="T95" fmla="*/ 25 h 327"/>
                    <a:gd name="T96" fmla="*/ 690 w 722"/>
                    <a:gd name="T97" fmla="*/ 17 h 327"/>
                    <a:gd name="T98" fmla="*/ 675 w 722"/>
                    <a:gd name="T99" fmla="*/ 0 h 3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722" h="327">
                      <a:moveTo>
                        <a:pt x="498" y="38"/>
                      </a:moveTo>
                      <a:lnTo>
                        <a:pt x="310" y="71"/>
                      </a:lnTo>
                      <a:lnTo>
                        <a:pt x="242" y="83"/>
                      </a:lnTo>
                      <a:lnTo>
                        <a:pt x="216" y="85"/>
                      </a:lnTo>
                      <a:lnTo>
                        <a:pt x="201" y="85"/>
                      </a:lnTo>
                      <a:lnTo>
                        <a:pt x="199" y="94"/>
                      </a:lnTo>
                      <a:lnTo>
                        <a:pt x="199" y="102"/>
                      </a:lnTo>
                      <a:lnTo>
                        <a:pt x="197" y="113"/>
                      </a:lnTo>
                      <a:lnTo>
                        <a:pt x="190" y="117"/>
                      </a:lnTo>
                      <a:lnTo>
                        <a:pt x="184" y="122"/>
                      </a:lnTo>
                      <a:lnTo>
                        <a:pt x="178" y="137"/>
                      </a:lnTo>
                      <a:lnTo>
                        <a:pt x="173" y="145"/>
                      </a:lnTo>
                      <a:lnTo>
                        <a:pt x="167" y="139"/>
                      </a:lnTo>
                      <a:lnTo>
                        <a:pt x="154" y="145"/>
                      </a:lnTo>
                      <a:lnTo>
                        <a:pt x="147" y="150"/>
                      </a:lnTo>
                      <a:lnTo>
                        <a:pt x="145" y="156"/>
                      </a:lnTo>
                      <a:lnTo>
                        <a:pt x="137" y="164"/>
                      </a:lnTo>
                      <a:lnTo>
                        <a:pt x="133" y="164"/>
                      </a:lnTo>
                      <a:lnTo>
                        <a:pt x="126" y="158"/>
                      </a:lnTo>
                      <a:lnTo>
                        <a:pt x="120" y="162"/>
                      </a:lnTo>
                      <a:lnTo>
                        <a:pt x="116" y="165"/>
                      </a:lnTo>
                      <a:lnTo>
                        <a:pt x="116" y="171"/>
                      </a:lnTo>
                      <a:lnTo>
                        <a:pt x="109" y="169"/>
                      </a:lnTo>
                      <a:lnTo>
                        <a:pt x="105" y="184"/>
                      </a:lnTo>
                      <a:lnTo>
                        <a:pt x="101" y="190"/>
                      </a:lnTo>
                      <a:lnTo>
                        <a:pt x="96" y="190"/>
                      </a:lnTo>
                      <a:lnTo>
                        <a:pt x="83" y="199"/>
                      </a:lnTo>
                      <a:lnTo>
                        <a:pt x="62" y="218"/>
                      </a:lnTo>
                      <a:lnTo>
                        <a:pt x="56" y="222"/>
                      </a:lnTo>
                      <a:lnTo>
                        <a:pt x="43" y="222"/>
                      </a:lnTo>
                      <a:lnTo>
                        <a:pt x="28" y="229"/>
                      </a:lnTo>
                      <a:lnTo>
                        <a:pt x="22" y="237"/>
                      </a:lnTo>
                      <a:lnTo>
                        <a:pt x="21" y="244"/>
                      </a:lnTo>
                      <a:lnTo>
                        <a:pt x="19" y="254"/>
                      </a:lnTo>
                      <a:lnTo>
                        <a:pt x="13" y="259"/>
                      </a:lnTo>
                      <a:lnTo>
                        <a:pt x="0" y="263"/>
                      </a:lnTo>
                      <a:lnTo>
                        <a:pt x="0" y="291"/>
                      </a:lnTo>
                      <a:lnTo>
                        <a:pt x="105" y="275"/>
                      </a:lnTo>
                      <a:lnTo>
                        <a:pt x="128" y="263"/>
                      </a:lnTo>
                      <a:lnTo>
                        <a:pt x="133" y="263"/>
                      </a:lnTo>
                      <a:lnTo>
                        <a:pt x="145" y="254"/>
                      </a:lnTo>
                      <a:lnTo>
                        <a:pt x="160" y="248"/>
                      </a:lnTo>
                      <a:lnTo>
                        <a:pt x="165" y="244"/>
                      </a:lnTo>
                      <a:lnTo>
                        <a:pt x="173" y="243"/>
                      </a:lnTo>
                      <a:lnTo>
                        <a:pt x="250" y="233"/>
                      </a:lnTo>
                      <a:lnTo>
                        <a:pt x="278" y="231"/>
                      </a:lnTo>
                      <a:lnTo>
                        <a:pt x="286" y="239"/>
                      </a:lnTo>
                      <a:lnTo>
                        <a:pt x="291" y="235"/>
                      </a:lnTo>
                      <a:lnTo>
                        <a:pt x="303" y="246"/>
                      </a:lnTo>
                      <a:lnTo>
                        <a:pt x="306" y="254"/>
                      </a:lnTo>
                      <a:lnTo>
                        <a:pt x="306" y="259"/>
                      </a:lnTo>
                      <a:lnTo>
                        <a:pt x="308" y="261"/>
                      </a:lnTo>
                      <a:lnTo>
                        <a:pt x="404" y="246"/>
                      </a:lnTo>
                      <a:lnTo>
                        <a:pt x="515" y="325"/>
                      </a:lnTo>
                      <a:lnTo>
                        <a:pt x="519" y="327"/>
                      </a:lnTo>
                      <a:lnTo>
                        <a:pt x="522" y="327"/>
                      </a:lnTo>
                      <a:lnTo>
                        <a:pt x="536" y="322"/>
                      </a:lnTo>
                      <a:lnTo>
                        <a:pt x="549" y="318"/>
                      </a:lnTo>
                      <a:lnTo>
                        <a:pt x="560" y="318"/>
                      </a:lnTo>
                      <a:lnTo>
                        <a:pt x="568" y="314"/>
                      </a:lnTo>
                      <a:lnTo>
                        <a:pt x="569" y="299"/>
                      </a:lnTo>
                      <a:lnTo>
                        <a:pt x="564" y="286"/>
                      </a:lnTo>
                      <a:lnTo>
                        <a:pt x="566" y="286"/>
                      </a:lnTo>
                      <a:lnTo>
                        <a:pt x="569" y="291"/>
                      </a:lnTo>
                      <a:lnTo>
                        <a:pt x="573" y="308"/>
                      </a:lnTo>
                      <a:lnTo>
                        <a:pt x="573" y="288"/>
                      </a:lnTo>
                      <a:lnTo>
                        <a:pt x="575" y="280"/>
                      </a:lnTo>
                      <a:lnTo>
                        <a:pt x="581" y="267"/>
                      </a:lnTo>
                      <a:lnTo>
                        <a:pt x="590" y="254"/>
                      </a:lnTo>
                      <a:lnTo>
                        <a:pt x="605" y="241"/>
                      </a:lnTo>
                      <a:lnTo>
                        <a:pt x="601" y="233"/>
                      </a:lnTo>
                      <a:lnTo>
                        <a:pt x="605" y="228"/>
                      </a:lnTo>
                      <a:lnTo>
                        <a:pt x="601" y="222"/>
                      </a:lnTo>
                      <a:lnTo>
                        <a:pt x="609" y="226"/>
                      </a:lnTo>
                      <a:lnTo>
                        <a:pt x="603" y="231"/>
                      </a:lnTo>
                      <a:lnTo>
                        <a:pt x="611" y="235"/>
                      </a:lnTo>
                      <a:lnTo>
                        <a:pt x="613" y="233"/>
                      </a:lnTo>
                      <a:lnTo>
                        <a:pt x="618" y="226"/>
                      </a:lnTo>
                      <a:lnTo>
                        <a:pt x="624" y="212"/>
                      </a:lnTo>
                      <a:lnTo>
                        <a:pt x="632" y="216"/>
                      </a:lnTo>
                      <a:lnTo>
                        <a:pt x="648" y="207"/>
                      </a:lnTo>
                      <a:lnTo>
                        <a:pt x="654" y="207"/>
                      </a:lnTo>
                      <a:lnTo>
                        <a:pt x="656" y="203"/>
                      </a:lnTo>
                      <a:lnTo>
                        <a:pt x="662" y="197"/>
                      </a:lnTo>
                      <a:lnTo>
                        <a:pt x="663" y="205"/>
                      </a:lnTo>
                      <a:lnTo>
                        <a:pt x="667" y="197"/>
                      </a:lnTo>
                      <a:lnTo>
                        <a:pt x="675" y="201"/>
                      </a:lnTo>
                      <a:lnTo>
                        <a:pt x="677" y="201"/>
                      </a:lnTo>
                      <a:lnTo>
                        <a:pt x="682" y="188"/>
                      </a:lnTo>
                      <a:lnTo>
                        <a:pt x="688" y="181"/>
                      </a:lnTo>
                      <a:lnTo>
                        <a:pt x="692" y="175"/>
                      </a:lnTo>
                      <a:lnTo>
                        <a:pt x="688" y="169"/>
                      </a:lnTo>
                      <a:lnTo>
                        <a:pt x="686" y="169"/>
                      </a:lnTo>
                      <a:lnTo>
                        <a:pt x="682" y="177"/>
                      </a:lnTo>
                      <a:lnTo>
                        <a:pt x="677" y="179"/>
                      </a:lnTo>
                      <a:lnTo>
                        <a:pt x="679" y="171"/>
                      </a:lnTo>
                      <a:lnTo>
                        <a:pt x="675" y="165"/>
                      </a:lnTo>
                      <a:lnTo>
                        <a:pt x="673" y="171"/>
                      </a:lnTo>
                      <a:lnTo>
                        <a:pt x="673" y="173"/>
                      </a:lnTo>
                      <a:lnTo>
                        <a:pt x="669" y="173"/>
                      </a:lnTo>
                      <a:lnTo>
                        <a:pt x="671" y="181"/>
                      </a:lnTo>
                      <a:lnTo>
                        <a:pt x="663" y="177"/>
                      </a:lnTo>
                      <a:lnTo>
                        <a:pt x="650" y="186"/>
                      </a:lnTo>
                      <a:lnTo>
                        <a:pt x="635" y="184"/>
                      </a:lnTo>
                      <a:lnTo>
                        <a:pt x="624" y="173"/>
                      </a:lnTo>
                      <a:lnTo>
                        <a:pt x="618" y="167"/>
                      </a:lnTo>
                      <a:lnTo>
                        <a:pt x="626" y="171"/>
                      </a:lnTo>
                      <a:lnTo>
                        <a:pt x="632" y="173"/>
                      </a:lnTo>
                      <a:lnTo>
                        <a:pt x="641" y="179"/>
                      </a:lnTo>
                      <a:lnTo>
                        <a:pt x="648" y="181"/>
                      </a:lnTo>
                      <a:lnTo>
                        <a:pt x="652" y="177"/>
                      </a:lnTo>
                      <a:lnTo>
                        <a:pt x="663" y="164"/>
                      </a:lnTo>
                      <a:lnTo>
                        <a:pt x="663" y="156"/>
                      </a:lnTo>
                      <a:lnTo>
                        <a:pt x="656" y="158"/>
                      </a:lnTo>
                      <a:lnTo>
                        <a:pt x="658" y="152"/>
                      </a:lnTo>
                      <a:lnTo>
                        <a:pt x="665" y="152"/>
                      </a:lnTo>
                      <a:lnTo>
                        <a:pt x="669" y="145"/>
                      </a:lnTo>
                      <a:lnTo>
                        <a:pt x="654" y="139"/>
                      </a:lnTo>
                      <a:lnTo>
                        <a:pt x="647" y="139"/>
                      </a:lnTo>
                      <a:lnTo>
                        <a:pt x="616" y="132"/>
                      </a:lnTo>
                      <a:lnTo>
                        <a:pt x="615" y="128"/>
                      </a:lnTo>
                      <a:lnTo>
                        <a:pt x="615" y="128"/>
                      </a:lnTo>
                      <a:lnTo>
                        <a:pt x="630" y="132"/>
                      </a:lnTo>
                      <a:lnTo>
                        <a:pt x="643" y="132"/>
                      </a:lnTo>
                      <a:lnTo>
                        <a:pt x="650" y="130"/>
                      </a:lnTo>
                      <a:lnTo>
                        <a:pt x="654" y="130"/>
                      </a:lnTo>
                      <a:lnTo>
                        <a:pt x="652" y="124"/>
                      </a:lnTo>
                      <a:lnTo>
                        <a:pt x="650" y="117"/>
                      </a:lnTo>
                      <a:lnTo>
                        <a:pt x="658" y="117"/>
                      </a:lnTo>
                      <a:lnTo>
                        <a:pt x="654" y="120"/>
                      </a:lnTo>
                      <a:lnTo>
                        <a:pt x="660" y="128"/>
                      </a:lnTo>
                      <a:lnTo>
                        <a:pt x="667" y="130"/>
                      </a:lnTo>
                      <a:lnTo>
                        <a:pt x="669" y="122"/>
                      </a:lnTo>
                      <a:lnTo>
                        <a:pt x="673" y="128"/>
                      </a:lnTo>
                      <a:lnTo>
                        <a:pt x="679" y="130"/>
                      </a:lnTo>
                      <a:lnTo>
                        <a:pt x="694" y="130"/>
                      </a:lnTo>
                      <a:lnTo>
                        <a:pt x="699" y="124"/>
                      </a:lnTo>
                      <a:lnTo>
                        <a:pt x="709" y="103"/>
                      </a:lnTo>
                      <a:lnTo>
                        <a:pt x="709" y="96"/>
                      </a:lnTo>
                      <a:lnTo>
                        <a:pt x="716" y="98"/>
                      </a:lnTo>
                      <a:lnTo>
                        <a:pt x="722" y="92"/>
                      </a:lnTo>
                      <a:lnTo>
                        <a:pt x="720" y="85"/>
                      </a:lnTo>
                      <a:lnTo>
                        <a:pt x="718" y="71"/>
                      </a:lnTo>
                      <a:lnTo>
                        <a:pt x="714" y="64"/>
                      </a:lnTo>
                      <a:lnTo>
                        <a:pt x="707" y="58"/>
                      </a:lnTo>
                      <a:lnTo>
                        <a:pt x="707" y="62"/>
                      </a:lnTo>
                      <a:lnTo>
                        <a:pt x="707" y="68"/>
                      </a:lnTo>
                      <a:lnTo>
                        <a:pt x="695" y="68"/>
                      </a:lnTo>
                      <a:lnTo>
                        <a:pt x="695" y="75"/>
                      </a:lnTo>
                      <a:lnTo>
                        <a:pt x="697" y="88"/>
                      </a:lnTo>
                      <a:lnTo>
                        <a:pt x="692" y="96"/>
                      </a:lnTo>
                      <a:lnTo>
                        <a:pt x="688" y="92"/>
                      </a:lnTo>
                      <a:lnTo>
                        <a:pt x="694" y="85"/>
                      </a:lnTo>
                      <a:lnTo>
                        <a:pt x="686" y="83"/>
                      </a:lnTo>
                      <a:lnTo>
                        <a:pt x="690" y="75"/>
                      </a:lnTo>
                      <a:lnTo>
                        <a:pt x="690" y="68"/>
                      </a:lnTo>
                      <a:lnTo>
                        <a:pt x="688" y="62"/>
                      </a:lnTo>
                      <a:lnTo>
                        <a:pt x="682" y="60"/>
                      </a:lnTo>
                      <a:lnTo>
                        <a:pt x="671" y="64"/>
                      </a:lnTo>
                      <a:lnTo>
                        <a:pt x="669" y="71"/>
                      </a:lnTo>
                      <a:lnTo>
                        <a:pt x="656" y="68"/>
                      </a:lnTo>
                      <a:lnTo>
                        <a:pt x="648" y="73"/>
                      </a:lnTo>
                      <a:lnTo>
                        <a:pt x="641" y="75"/>
                      </a:lnTo>
                      <a:lnTo>
                        <a:pt x="635" y="77"/>
                      </a:lnTo>
                      <a:lnTo>
                        <a:pt x="633" y="70"/>
                      </a:lnTo>
                      <a:lnTo>
                        <a:pt x="628" y="62"/>
                      </a:lnTo>
                      <a:lnTo>
                        <a:pt x="624" y="56"/>
                      </a:lnTo>
                      <a:lnTo>
                        <a:pt x="622" y="49"/>
                      </a:lnTo>
                      <a:lnTo>
                        <a:pt x="626" y="43"/>
                      </a:lnTo>
                      <a:lnTo>
                        <a:pt x="622" y="38"/>
                      </a:lnTo>
                      <a:lnTo>
                        <a:pt x="626" y="41"/>
                      </a:lnTo>
                      <a:lnTo>
                        <a:pt x="626" y="43"/>
                      </a:lnTo>
                      <a:lnTo>
                        <a:pt x="626" y="45"/>
                      </a:lnTo>
                      <a:lnTo>
                        <a:pt x="626" y="51"/>
                      </a:lnTo>
                      <a:lnTo>
                        <a:pt x="632" y="64"/>
                      </a:lnTo>
                      <a:lnTo>
                        <a:pt x="639" y="64"/>
                      </a:lnTo>
                      <a:lnTo>
                        <a:pt x="647" y="68"/>
                      </a:lnTo>
                      <a:lnTo>
                        <a:pt x="662" y="55"/>
                      </a:lnTo>
                      <a:lnTo>
                        <a:pt x="654" y="49"/>
                      </a:lnTo>
                      <a:lnTo>
                        <a:pt x="662" y="49"/>
                      </a:lnTo>
                      <a:lnTo>
                        <a:pt x="671" y="51"/>
                      </a:lnTo>
                      <a:lnTo>
                        <a:pt x="665" y="45"/>
                      </a:lnTo>
                      <a:lnTo>
                        <a:pt x="673" y="47"/>
                      </a:lnTo>
                      <a:lnTo>
                        <a:pt x="679" y="45"/>
                      </a:lnTo>
                      <a:lnTo>
                        <a:pt x="679" y="40"/>
                      </a:lnTo>
                      <a:lnTo>
                        <a:pt x="673" y="34"/>
                      </a:lnTo>
                      <a:lnTo>
                        <a:pt x="665" y="30"/>
                      </a:lnTo>
                      <a:lnTo>
                        <a:pt x="673" y="30"/>
                      </a:lnTo>
                      <a:lnTo>
                        <a:pt x="686" y="38"/>
                      </a:lnTo>
                      <a:lnTo>
                        <a:pt x="695" y="38"/>
                      </a:lnTo>
                      <a:lnTo>
                        <a:pt x="688" y="32"/>
                      </a:lnTo>
                      <a:lnTo>
                        <a:pt x="684" y="25"/>
                      </a:lnTo>
                      <a:lnTo>
                        <a:pt x="697" y="36"/>
                      </a:lnTo>
                      <a:lnTo>
                        <a:pt x="703" y="45"/>
                      </a:lnTo>
                      <a:lnTo>
                        <a:pt x="703" y="38"/>
                      </a:lnTo>
                      <a:lnTo>
                        <a:pt x="690" y="17"/>
                      </a:lnTo>
                      <a:lnTo>
                        <a:pt x="690" y="15"/>
                      </a:lnTo>
                      <a:lnTo>
                        <a:pt x="682" y="13"/>
                      </a:lnTo>
                      <a:lnTo>
                        <a:pt x="677" y="6"/>
                      </a:lnTo>
                      <a:lnTo>
                        <a:pt x="675" y="0"/>
                      </a:lnTo>
                      <a:lnTo>
                        <a:pt x="592" y="19"/>
                      </a:lnTo>
                      <a:lnTo>
                        <a:pt x="498" y="38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73" name="Freeform 134"/>
                <p:cNvSpPr>
                  <a:spLocks/>
                </p:cNvSpPr>
                <p:nvPr/>
              </p:nvSpPr>
              <p:spPr bwMode="auto">
                <a:xfrm>
                  <a:off x="4846483" y="2589930"/>
                  <a:ext cx="8646" cy="6976"/>
                </a:xfrm>
                <a:custGeom>
                  <a:avLst/>
                  <a:gdLst>
                    <a:gd name="T0" fmla="*/ 7 w 9"/>
                    <a:gd name="T1" fmla="*/ 8 h 8"/>
                    <a:gd name="T2" fmla="*/ 9 w 9"/>
                    <a:gd name="T3" fmla="*/ 0 h 8"/>
                    <a:gd name="T4" fmla="*/ 3 w 9"/>
                    <a:gd name="T5" fmla="*/ 0 h 8"/>
                    <a:gd name="T6" fmla="*/ 0 w 9"/>
                    <a:gd name="T7" fmla="*/ 2 h 8"/>
                    <a:gd name="T8" fmla="*/ 7 w 9"/>
                    <a:gd name="T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8">
                      <a:moveTo>
                        <a:pt x="7" y="8"/>
                      </a:moveTo>
                      <a:lnTo>
                        <a:pt x="9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7" y="8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74" name="Freeform 135"/>
                <p:cNvSpPr>
                  <a:spLocks/>
                </p:cNvSpPr>
                <p:nvPr/>
              </p:nvSpPr>
              <p:spPr bwMode="auto">
                <a:xfrm>
                  <a:off x="4846483" y="2589930"/>
                  <a:ext cx="8646" cy="6976"/>
                </a:xfrm>
                <a:custGeom>
                  <a:avLst/>
                  <a:gdLst>
                    <a:gd name="T0" fmla="*/ 7 w 9"/>
                    <a:gd name="T1" fmla="*/ 8 h 8"/>
                    <a:gd name="T2" fmla="*/ 9 w 9"/>
                    <a:gd name="T3" fmla="*/ 0 h 8"/>
                    <a:gd name="T4" fmla="*/ 3 w 9"/>
                    <a:gd name="T5" fmla="*/ 0 h 8"/>
                    <a:gd name="T6" fmla="*/ 0 w 9"/>
                    <a:gd name="T7" fmla="*/ 2 h 8"/>
                    <a:gd name="T8" fmla="*/ 7 w 9"/>
                    <a:gd name="T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8">
                      <a:moveTo>
                        <a:pt x="7" y="8"/>
                      </a:moveTo>
                      <a:lnTo>
                        <a:pt x="9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7" y="8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75" name="Freeform 136"/>
                <p:cNvSpPr>
                  <a:spLocks/>
                </p:cNvSpPr>
                <p:nvPr/>
              </p:nvSpPr>
              <p:spPr bwMode="auto">
                <a:xfrm>
                  <a:off x="4848404" y="2578593"/>
                  <a:ext cx="8646" cy="11337"/>
                </a:xfrm>
                <a:custGeom>
                  <a:avLst/>
                  <a:gdLst>
                    <a:gd name="T0" fmla="*/ 0 w 9"/>
                    <a:gd name="T1" fmla="*/ 0 h 13"/>
                    <a:gd name="T2" fmla="*/ 0 w 9"/>
                    <a:gd name="T3" fmla="*/ 8 h 13"/>
                    <a:gd name="T4" fmla="*/ 1 w 9"/>
                    <a:gd name="T5" fmla="*/ 13 h 13"/>
                    <a:gd name="T6" fmla="*/ 9 w 9"/>
                    <a:gd name="T7" fmla="*/ 13 h 13"/>
                    <a:gd name="T8" fmla="*/ 5 w 9"/>
                    <a:gd name="T9" fmla="*/ 6 h 13"/>
                    <a:gd name="T10" fmla="*/ 0 w 9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13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1" y="13"/>
                      </a:lnTo>
                      <a:lnTo>
                        <a:pt x="9" y="13"/>
                      </a:lnTo>
                      <a:lnTo>
                        <a:pt x="5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76" name="Freeform 137"/>
                <p:cNvSpPr>
                  <a:spLocks/>
                </p:cNvSpPr>
                <p:nvPr/>
              </p:nvSpPr>
              <p:spPr bwMode="auto">
                <a:xfrm>
                  <a:off x="4848404" y="2578593"/>
                  <a:ext cx="8646" cy="11337"/>
                </a:xfrm>
                <a:custGeom>
                  <a:avLst/>
                  <a:gdLst>
                    <a:gd name="T0" fmla="*/ 0 w 9"/>
                    <a:gd name="T1" fmla="*/ 0 h 13"/>
                    <a:gd name="T2" fmla="*/ 0 w 9"/>
                    <a:gd name="T3" fmla="*/ 8 h 13"/>
                    <a:gd name="T4" fmla="*/ 1 w 9"/>
                    <a:gd name="T5" fmla="*/ 13 h 13"/>
                    <a:gd name="T6" fmla="*/ 9 w 9"/>
                    <a:gd name="T7" fmla="*/ 13 h 13"/>
                    <a:gd name="T8" fmla="*/ 5 w 9"/>
                    <a:gd name="T9" fmla="*/ 6 h 13"/>
                    <a:gd name="T10" fmla="*/ 0 w 9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13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1" y="13"/>
                      </a:lnTo>
                      <a:lnTo>
                        <a:pt x="9" y="13"/>
                      </a:lnTo>
                      <a:lnTo>
                        <a:pt x="5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77" name="Freeform 138"/>
                <p:cNvSpPr>
                  <a:spLocks/>
                </p:cNvSpPr>
                <p:nvPr/>
              </p:nvSpPr>
              <p:spPr bwMode="auto">
                <a:xfrm>
                  <a:off x="4857050" y="2588186"/>
                  <a:ext cx="43231" cy="64531"/>
                </a:xfrm>
                <a:custGeom>
                  <a:avLst/>
                  <a:gdLst>
                    <a:gd name="T0" fmla="*/ 13 w 45"/>
                    <a:gd name="T1" fmla="*/ 29 h 74"/>
                    <a:gd name="T2" fmla="*/ 17 w 45"/>
                    <a:gd name="T3" fmla="*/ 34 h 74"/>
                    <a:gd name="T4" fmla="*/ 22 w 45"/>
                    <a:gd name="T5" fmla="*/ 47 h 74"/>
                    <a:gd name="T6" fmla="*/ 30 w 45"/>
                    <a:gd name="T7" fmla="*/ 53 h 74"/>
                    <a:gd name="T8" fmla="*/ 28 w 45"/>
                    <a:gd name="T9" fmla="*/ 57 h 74"/>
                    <a:gd name="T10" fmla="*/ 34 w 45"/>
                    <a:gd name="T11" fmla="*/ 59 h 74"/>
                    <a:gd name="T12" fmla="*/ 41 w 45"/>
                    <a:gd name="T13" fmla="*/ 66 h 74"/>
                    <a:gd name="T14" fmla="*/ 45 w 45"/>
                    <a:gd name="T15" fmla="*/ 74 h 74"/>
                    <a:gd name="T16" fmla="*/ 45 w 45"/>
                    <a:gd name="T17" fmla="*/ 72 h 74"/>
                    <a:gd name="T18" fmla="*/ 41 w 45"/>
                    <a:gd name="T19" fmla="*/ 64 h 74"/>
                    <a:gd name="T20" fmla="*/ 24 w 45"/>
                    <a:gd name="T21" fmla="*/ 44 h 74"/>
                    <a:gd name="T22" fmla="*/ 15 w 45"/>
                    <a:gd name="T23" fmla="*/ 30 h 74"/>
                    <a:gd name="T24" fmla="*/ 4 w 45"/>
                    <a:gd name="T25" fmla="*/ 2 h 74"/>
                    <a:gd name="T26" fmla="*/ 2 w 45"/>
                    <a:gd name="T27" fmla="*/ 0 h 74"/>
                    <a:gd name="T28" fmla="*/ 0 w 45"/>
                    <a:gd name="T29" fmla="*/ 2 h 74"/>
                    <a:gd name="T30" fmla="*/ 13 w 45"/>
                    <a:gd name="T31" fmla="*/ 29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5" h="74">
                      <a:moveTo>
                        <a:pt x="13" y="29"/>
                      </a:moveTo>
                      <a:lnTo>
                        <a:pt x="17" y="34"/>
                      </a:lnTo>
                      <a:lnTo>
                        <a:pt x="22" y="47"/>
                      </a:lnTo>
                      <a:lnTo>
                        <a:pt x="30" y="53"/>
                      </a:lnTo>
                      <a:lnTo>
                        <a:pt x="28" y="57"/>
                      </a:lnTo>
                      <a:lnTo>
                        <a:pt x="34" y="59"/>
                      </a:lnTo>
                      <a:lnTo>
                        <a:pt x="41" y="66"/>
                      </a:lnTo>
                      <a:lnTo>
                        <a:pt x="45" y="74"/>
                      </a:lnTo>
                      <a:lnTo>
                        <a:pt x="45" y="72"/>
                      </a:lnTo>
                      <a:lnTo>
                        <a:pt x="41" y="64"/>
                      </a:lnTo>
                      <a:lnTo>
                        <a:pt x="24" y="44"/>
                      </a:lnTo>
                      <a:lnTo>
                        <a:pt x="15" y="30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13" y="29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78" name="Freeform 139"/>
                <p:cNvSpPr>
                  <a:spLocks/>
                </p:cNvSpPr>
                <p:nvPr/>
              </p:nvSpPr>
              <p:spPr bwMode="auto">
                <a:xfrm>
                  <a:off x="4857050" y="2588186"/>
                  <a:ext cx="43231" cy="64531"/>
                </a:xfrm>
                <a:custGeom>
                  <a:avLst/>
                  <a:gdLst>
                    <a:gd name="T0" fmla="*/ 13 w 45"/>
                    <a:gd name="T1" fmla="*/ 29 h 74"/>
                    <a:gd name="T2" fmla="*/ 17 w 45"/>
                    <a:gd name="T3" fmla="*/ 34 h 74"/>
                    <a:gd name="T4" fmla="*/ 22 w 45"/>
                    <a:gd name="T5" fmla="*/ 47 h 74"/>
                    <a:gd name="T6" fmla="*/ 30 w 45"/>
                    <a:gd name="T7" fmla="*/ 53 h 74"/>
                    <a:gd name="T8" fmla="*/ 28 w 45"/>
                    <a:gd name="T9" fmla="*/ 57 h 74"/>
                    <a:gd name="T10" fmla="*/ 34 w 45"/>
                    <a:gd name="T11" fmla="*/ 59 h 74"/>
                    <a:gd name="T12" fmla="*/ 41 w 45"/>
                    <a:gd name="T13" fmla="*/ 66 h 74"/>
                    <a:gd name="T14" fmla="*/ 45 w 45"/>
                    <a:gd name="T15" fmla="*/ 74 h 74"/>
                    <a:gd name="T16" fmla="*/ 45 w 45"/>
                    <a:gd name="T17" fmla="*/ 72 h 74"/>
                    <a:gd name="T18" fmla="*/ 41 w 45"/>
                    <a:gd name="T19" fmla="*/ 64 h 74"/>
                    <a:gd name="T20" fmla="*/ 24 w 45"/>
                    <a:gd name="T21" fmla="*/ 44 h 74"/>
                    <a:gd name="T22" fmla="*/ 15 w 45"/>
                    <a:gd name="T23" fmla="*/ 30 h 74"/>
                    <a:gd name="T24" fmla="*/ 4 w 45"/>
                    <a:gd name="T25" fmla="*/ 2 h 74"/>
                    <a:gd name="T26" fmla="*/ 2 w 45"/>
                    <a:gd name="T27" fmla="*/ 0 h 74"/>
                    <a:gd name="T28" fmla="*/ 0 w 45"/>
                    <a:gd name="T29" fmla="*/ 2 h 74"/>
                    <a:gd name="T30" fmla="*/ 13 w 45"/>
                    <a:gd name="T31" fmla="*/ 29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5" h="74">
                      <a:moveTo>
                        <a:pt x="13" y="29"/>
                      </a:moveTo>
                      <a:lnTo>
                        <a:pt x="17" y="34"/>
                      </a:lnTo>
                      <a:lnTo>
                        <a:pt x="22" y="47"/>
                      </a:lnTo>
                      <a:lnTo>
                        <a:pt x="30" y="53"/>
                      </a:lnTo>
                      <a:lnTo>
                        <a:pt x="28" y="57"/>
                      </a:lnTo>
                      <a:lnTo>
                        <a:pt x="34" y="59"/>
                      </a:lnTo>
                      <a:lnTo>
                        <a:pt x="41" y="66"/>
                      </a:lnTo>
                      <a:lnTo>
                        <a:pt x="45" y="74"/>
                      </a:lnTo>
                      <a:lnTo>
                        <a:pt x="45" y="72"/>
                      </a:lnTo>
                      <a:lnTo>
                        <a:pt x="41" y="64"/>
                      </a:lnTo>
                      <a:lnTo>
                        <a:pt x="24" y="44"/>
                      </a:lnTo>
                      <a:lnTo>
                        <a:pt x="15" y="30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13" y="29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  <p:grpSp>
            <p:nvGrpSpPr>
              <p:cNvPr id="451" name="Group 450"/>
              <p:cNvGrpSpPr/>
              <p:nvPr/>
            </p:nvGrpSpPr>
            <p:grpSpPr>
              <a:xfrm>
                <a:off x="4508320" y="2295180"/>
                <a:ext cx="369866" cy="163944"/>
                <a:chOff x="4508320" y="2295180"/>
                <a:chExt cx="369866" cy="163944"/>
              </a:xfrm>
              <a:grpFill/>
            </p:grpSpPr>
            <p:sp>
              <p:nvSpPr>
                <p:cNvPr id="366" name="Freeform 127"/>
                <p:cNvSpPr>
                  <a:spLocks/>
                </p:cNvSpPr>
                <p:nvPr/>
              </p:nvSpPr>
              <p:spPr bwMode="auto">
                <a:xfrm>
                  <a:off x="4508320" y="2295180"/>
                  <a:ext cx="369866" cy="163944"/>
                </a:xfrm>
                <a:custGeom>
                  <a:avLst/>
                  <a:gdLst>
                    <a:gd name="T0" fmla="*/ 295 w 385"/>
                    <a:gd name="T1" fmla="*/ 0 h 188"/>
                    <a:gd name="T2" fmla="*/ 10 w 385"/>
                    <a:gd name="T3" fmla="*/ 116 h 188"/>
                    <a:gd name="T4" fmla="*/ 25 w 385"/>
                    <a:gd name="T5" fmla="*/ 96 h 188"/>
                    <a:gd name="T6" fmla="*/ 40 w 385"/>
                    <a:gd name="T7" fmla="*/ 79 h 188"/>
                    <a:gd name="T8" fmla="*/ 57 w 385"/>
                    <a:gd name="T9" fmla="*/ 60 h 188"/>
                    <a:gd name="T10" fmla="*/ 73 w 385"/>
                    <a:gd name="T11" fmla="*/ 67 h 188"/>
                    <a:gd name="T12" fmla="*/ 90 w 385"/>
                    <a:gd name="T13" fmla="*/ 52 h 188"/>
                    <a:gd name="T14" fmla="*/ 107 w 385"/>
                    <a:gd name="T15" fmla="*/ 43 h 188"/>
                    <a:gd name="T16" fmla="*/ 135 w 385"/>
                    <a:gd name="T17" fmla="*/ 49 h 188"/>
                    <a:gd name="T18" fmla="*/ 139 w 385"/>
                    <a:gd name="T19" fmla="*/ 58 h 188"/>
                    <a:gd name="T20" fmla="*/ 149 w 385"/>
                    <a:gd name="T21" fmla="*/ 75 h 188"/>
                    <a:gd name="T22" fmla="*/ 173 w 385"/>
                    <a:gd name="T23" fmla="*/ 86 h 188"/>
                    <a:gd name="T24" fmla="*/ 188 w 385"/>
                    <a:gd name="T25" fmla="*/ 98 h 188"/>
                    <a:gd name="T26" fmla="*/ 207 w 385"/>
                    <a:gd name="T27" fmla="*/ 105 h 188"/>
                    <a:gd name="T28" fmla="*/ 222 w 385"/>
                    <a:gd name="T29" fmla="*/ 113 h 188"/>
                    <a:gd name="T30" fmla="*/ 214 w 385"/>
                    <a:gd name="T31" fmla="*/ 133 h 188"/>
                    <a:gd name="T32" fmla="*/ 207 w 385"/>
                    <a:gd name="T33" fmla="*/ 148 h 188"/>
                    <a:gd name="T34" fmla="*/ 213 w 385"/>
                    <a:gd name="T35" fmla="*/ 169 h 188"/>
                    <a:gd name="T36" fmla="*/ 226 w 385"/>
                    <a:gd name="T37" fmla="*/ 154 h 188"/>
                    <a:gd name="T38" fmla="*/ 243 w 385"/>
                    <a:gd name="T39" fmla="*/ 173 h 188"/>
                    <a:gd name="T40" fmla="*/ 246 w 385"/>
                    <a:gd name="T41" fmla="*/ 169 h 188"/>
                    <a:gd name="T42" fmla="*/ 267 w 385"/>
                    <a:gd name="T43" fmla="*/ 173 h 188"/>
                    <a:gd name="T44" fmla="*/ 282 w 385"/>
                    <a:gd name="T45" fmla="*/ 178 h 188"/>
                    <a:gd name="T46" fmla="*/ 282 w 385"/>
                    <a:gd name="T47" fmla="*/ 165 h 188"/>
                    <a:gd name="T48" fmla="*/ 258 w 385"/>
                    <a:gd name="T49" fmla="*/ 150 h 188"/>
                    <a:gd name="T50" fmla="*/ 248 w 385"/>
                    <a:gd name="T51" fmla="*/ 126 h 188"/>
                    <a:gd name="T52" fmla="*/ 265 w 385"/>
                    <a:gd name="T53" fmla="*/ 152 h 188"/>
                    <a:gd name="T54" fmla="*/ 278 w 385"/>
                    <a:gd name="T55" fmla="*/ 152 h 188"/>
                    <a:gd name="T56" fmla="*/ 258 w 385"/>
                    <a:gd name="T57" fmla="*/ 116 h 188"/>
                    <a:gd name="T58" fmla="*/ 258 w 385"/>
                    <a:gd name="T59" fmla="*/ 90 h 188"/>
                    <a:gd name="T60" fmla="*/ 261 w 385"/>
                    <a:gd name="T61" fmla="*/ 86 h 188"/>
                    <a:gd name="T62" fmla="*/ 258 w 385"/>
                    <a:gd name="T63" fmla="*/ 75 h 188"/>
                    <a:gd name="T64" fmla="*/ 252 w 385"/>
                    <a:gd name="T65" fmla="*/ 64 h 188"/>
                    <a:gd name="T66" fmla="*/ 258 w 385"/>
                    <a:gd name="T67" fmla="*/ 60 h 188"/>
                    <a:gd name="T68" fmla="*/ 260 w 385"/>
                    <a:gd name="T69" fmla="*/ 43 h 188"/>
                    <a:gd name="T70" fmla="*/ 267 w 385"/>
                    <a:gd name="T71" fmla="*/ 36 h 188"/>
                    <a:gd name="T72" fmla="*/ 280 w 385"/>
                    <a:gd name="T73" fmla="*/ 34 h 188"/>
                    <a:gd name="T74" fmla="*/ 282 w 385"/>
                    <a:gd name="T75" fmla="*/ 20 h 188"/>
                    <a:gd name="T76" fmla="*/ 291 w 385"/>
                    <a:gd name="T77" fmla="*/ 20 h 188"/>
                    <a:gd name="T78" fmla="*/ 293 w 385"/>
                    <a:gd name="T79" fmla="*/ 37 h 188"/>
                    <a:gd name="T80" fmla="*/ 275 w 385"/>
                    <a:gd name="T81" fmla="*/ 49 h 188"/>
                    <a:gd name="T82" fmla="*/ 278 w 385"/>
                    <a:gd name="T83" fmla="*/ 71 h 188"/>
                    <a:gd name="T84" fmla="*/ 282 w 385"/>
                    <a:gd name="T85" fmla="*/ 81 h 188"/>
                    <a:gd name="T86" fmla="*/ 269 w 385"/>
                    <a:gd name="T87" fmla="*/ 101 h 188"/>
                    <a:gd name="T88" fmla="*/ 278 w 385"/>
                    <a:gd name="T89" fmla="*/ 88 h 188"/>
                    <a:gd name="T90" fmla="*/ 286 w 385"/>
                    <a:gd name="T91" fmla="*/ 101 h 188"/>
                    <a:gd name="T92" fmla="*/ 276 w 385"/>
                    <a:gd name="T93" fmla="*/ 105 h 188"/>
                    <a:gd name="T94" fmla="*/ 278 w 385"/>
                    <a:gd name="T95" fmla="*/ 113 h 188"/>
                    <a:gd name="T96" fmla="*/ 291 w 385"/>
                    <a:gd name="T97" fmla="*/ 120 h 188"/>
                    <a:gd name="T98" fmla="*/ 303 w 385"/>
                    <a:gd name="T99" fmla="*/ 126 h 188"/>
                    <a:gd name="T100" fmla="*/ 291 w 385"/>
                    <a:gd name="T101" fmla="*/ 128 h 188"/>
                    <a:gd name="T102" fmla="*/ 293 w 385"/>
                    <a:gd name="T103" fmla="*/ 156 h 188"/>
                    <a:gd name="T104" fmla="*/ 305 w 385"/>
                    <a:gd name="T105" fmla="*/ 158 h 188"/>
                    <a:gd name="T106" fmla="*/ 312 w 385"/>
                    <a:gd name="T107" fmla="*/ 146 h 188"/>
                    <a:gd name="T108" fmla="*/ 322 w 385"/>
                    <a:gd name="T109" fmla="*/ 143 h 188"/>
                    <a:gd name="T110" fmla="*/ 320 w 385"/>
                    <a:gd name="T111" fmla="*/ 165 h 188"/>
                    <a:gd name="T112" fmla="*/ 331 w 385"/>
                    <a:gd name="T113" fmla="*/ 173 h 188"/>
                    <a:gd name="T114" fmla="*/ 329 w 385"/>
                    <a:gd name="T115" fmla="*/ 184 h 188"/>
                    <a:gd name="T116" fmla="*/ 350 w 385"/>
                    <a:gd name="T117" fmla="*/ 184 h 188"/>
                    <a:gd name="T118" fmla="*/ 370 w 385"/>
                    <a:gd name="T119" fmla="*/ 165 h 188"/>
                    <a:gd name="T120" fmla="*/ 382 w 385"/>
                    <a:gd name="T121" fmla="*/ 146 h 188"/>
                    <a:gd name="T122" fmla="*/ 382 w 385"/>
                    <a:gd name="T123" fmla="*/ 124 h 188"/>
                    <a:gd name="T124" fmla="*/ 329 w 385"/>
                    <a:gd name="T125" fmla="*/ 126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85" h="188">
                      <a:moveTo>
                        <a:pt x="329" y="126"/>
                      </a:moveTo>
                      <a:lnTo>
                        <a:pt x="318" y="79"/>
                      </a:lnTo>
                      <a:lnTo>
                        <a:pt x="295" y="0"/>
                      </a:lnTo>
                      <a:lnTo>
                        <a:pt x="139" y="34"/>
                      </a:lnTo>
                      <a:lnTo>
                        <a:pt x="0" y="60"/>
                      </a:lnTo>
                      <a:lnTo>
                        <a:pt x="10" y="116"/>
                      </a:lnTo>
                      <a:lnTo>
                        <a:pt x="15" y="109"/>
                      </a:lnTo>
                      <a:lnTo>
                        <a:pt x="21" y="103"/>
                      </a:lnTo>
                      <a:lnTo>
                        <a:pt x="25" y="96"/>
                      </a:lnTo>
                      <a:lnTo>
                        <a:pt x="32" y="88"/>
                      </a:lnTo>
                      <a:lnTo>
                        <a:pt x="34" y="83"/>
                      </a:lnTo>
                      <a:lnTo>
                        <a:pt x="40" y="79"/>
                      </a:lnTo>
                      <a:lnTo>
                        <a:pt x="47" y="81"/>
                      </a:lnTo>
                      <a:lnTo>
                        <a:pt x="57" y="67"/>
                      </a:lnTo>
                      <a:lnTo>
                        <a:pt x="57" y="60"/>
                      </a:lnTo>
                      <a:lnTo>
                        <a:pt x="58" y="60"/>
                      </a:lnTo>
                      <a:lnTo>
                        <a:pt x="66" y="66"/>
                      </a:lnTo>
                      <a:lnTo>
                        <a:pt x="73" y="67"/>
                      </a:lnTo>
                      <a:lnTo>
                        <a:pt x="83" y="66"/>
                      </a:lnTo>
                      <a:lnTo>
                        <a:pt x="85" y="60"/>
                      </a:lnTo>
                      <a:lnTo>
                        <a:pt x="90" y="52"/>
                      </a:lnTo>
                      <a:lnTo>
                        <a:pt x="98" y="52"/>
                      </a:lnTo>
                      <a:lnTo>
                        <a:pt x="102" y="45"/>
                      </a:lnTo>
                      <a:lnTo>
                        <a:pt x="107" y="43"/>
                      </a:lnTo>
                      <a:lnTo>
                        <a:pt x="115" y="45"/>
                      </a:lnTo>
                      <a:lnTo>
                        <a:pt x="120" y="51"/>
                      </a:lnTo>
                      <a:lnTo>
                        <a:pt x="135" y="49"/>
                      </a:lnTo>
                      <a:lnTo>
                        <a:pt x="135" y="49"/>
                      </a:lnTo>
                      <a:lnTo>
                        <a:pt x="134" y="56"/>
                      </a:lnTo>
                      <a:lnTo>
                        <a:pt x="139" y="58"/>
                      </a:lnTo>
                      <a:lnTo>
                        <a:pt x="141" y="66"/>
                      </a:lnTo>
                      <a:lnTo>
                        <a:pt x="147" y="71"/>
                      </a:lnTo>
                      <a:lnTo>
                        <a:pt x="149" y="75"/>
                      </a:lnTo>
                      <a:lnTo>
                        <a:pt x="162" y="75"/>
                      </a:lnTo>
                      <a:lnTo>
                        <a:pt x="169" y="79"/>
                      </a:lnTo>
                      <a:lnTo>
                        <a:pt x="173" y="86"/>
                      </a:lnTo>
                      <a:lnTo>
                        <a:pt x="171" y="92"/>
                      </a:lnTo>
                      <a:lnTo>
                        <a:pt x="179" y="98"/>
                      </a:lnTo>
                      <a:lnTo>
                        <a:pt x="188" y="98"/>
                      </a:lnTo>
                      <a:lnTo>
                        <a:pt x="196" y="99"/>
                      </a:lnTo>
                      <a:lnTo>
                        <a:pt x="199" y="103"/>
                      </a:lnTo>
                      <a:lnTo>
                        <a:pt x="207" y="105"/>
                      </a:lnTo>
                      <a:lnTo>
                        <a:pt x="214" y="101"/>
                      </a:lnTo>
                      <a:lnTo>
                        <a:pt x="222" y="107"/>
                      </a:lnTo>
                      <a:lnTo>
                        <a:pt x="222" y="113"/>
                      </a:lnTo>
                      <a:lnTo>
                        <a:pt x="218" y="118"/>
                      </a:lnTo>
                      <a:lnTo>
                        <a:pt x="220" y="126"/>
                      </a:lnTo>
                      <a:lnTo>
                        <a:pt x="214" y="133"/>
                      </a:lnTo>
                      <a:lnTo>
                        <a:pt x="213" y="141"/>
                      </a:lnTo>
                      <a:lnTo>
                        <a:pt x="209" y="146"/>
                      </a:lnTo>
                      <a:lnTo>
                        <a:pt x="207" y="148"/>
                      </a:lnTo>
                      <a:lnTo>
                        <a:pt x="205" y="154"/>
                      </a:lnTo>
                      <a:lnTo>
                        <a:pt x="207" y="161"/>
                      </a:lnTo>
                      <a:lnTo>
                        <a:pt x="213" y="169"/>
                      </a:lnTo>
                      <a:lnTo>
                        <a:pt x="218" y="161"/>
                      </a:lnTo>
                      <a:lnTo>
                        <a:pt x="218" y="156"/>
                      </a:lnTo>
                      <a:lnTo>
                        <a:pt x="226" y="154"/>
                      </a:lnTo>
                      <a:lnTo>
                        <a:pt x="229" y="161"/>
                      </a:lnTo>
                      <a:lnTo>
                        <a:pt x="235" y="167"/>
                      </a:lnTo>
                      <a:lnTo>
                        <a:pt x="243" y="173"/>
                      </a:lnTo>
                      <a:lnTo>
                        <a:pt x="243" y="165"/>
                      </a:lnTo>
                      <a:lnTo>
                        <a:pt x="243" y="161"/>
                      </a:lnTo>
                      <a:lnTo>
                        <a:pt x="246" y="169"/>
                      </a:lnTo>
                      <a:lnTo>
                        <a:pt x="252" y="175"/>
                      </a:lnTo>
                      <a:lnTo>
                        <a:pt x="260" y="173"/>
                      </a:lnTo>
                      <a:lnTo>
                        <a:pt x="267" y="173"/>
                      </a:lnTo>
                      <a:lnTo>
                        <a:pt x="273" y="180"/>
                      </a:lnTo>
                      <a:lnTo>
                        <a:pt x="275" y="178"/>
                      </a:lnTo>
                      <a:lnTo>
                        <a:pt x="282" y="178"/>
                      </a:lnTo>
                      <a:lnTo>
                        <a:pt x="288" y="184"/>
                      </a:lnTo>
                      <a:lnTo>
                        <a:pt x="290" y="178"/>
                      </a:lnTo>
                      <a:lnTo>
                        <a:pt x="282" y="165"/>
                      </a:lnTo>
                      <a:lnTo>
                        <a:pt x="275" y="161"/>
                      </a:lnTo>
                      <a:lnTo>
                        <a:pt x="267" y="156"/>
                      </a:lnTo>
                      <a:lnTo>
                        <a:pt x="258" y="150"/>
                      </a:lnTo>
                      <a:lnTo>
                        <a:pt x="254" y="145"/>
                      </a:lnTo>
                      <a:lnTo>
                        <a:pt x="248" y="131"/>
                      </a:lnTo>
                      <a:lnTo>
                        <a:pt x="248" y="126"/>
                      </a:lnTo>
                      <a:lnTo>
                        <a:pt x="250" y="133"/>
                      </a:lnTo>
                      <a:lnTo>
                        <a:pt x="258" y="146"/>
                      </a:lnTo>
                      <a:lnTo>
                        <a:pt x="265" y="152"/>
                      </a:lnTo>
                      <a:lnTo>
                        <a:pt x="271" y="154"/>
                      </a:lnTo>
                      <a:lnTo>
                        <a:pt x="275" y="158"/>
                      </a:lnTo>
                      <a:lnTo>
                        <a:pt x="278" y="152"/>
                      </a:lnTo>
                      <a:lnTo>
                        <a:pt x="265" y="139"/>
                      </a:lnTo>
                      <a:lnTo>
                        <a:pt x="261" y="124"/>
                      </a:lnTo>
                      <a:lnTo>
                        <a:pt x="258" y="116"/>
                      </a:lnTo>
                      <a:lnTo>
                        <a:pt x="260" y="111"/>
                      </a:lnTo>
                      <a:lnTo>
                        <a:pt x="258" y="103"/>
                      </a:lnTo>
                      <a:lnTo>
                        <a:pt x="258" y="90"/>
                      </a:lnTo>
                      <a:lnTo>
                        <a:pt x="252" y="86"/>
                      </a:lnTo>
                      <a:lnTo>
                        <a:pt x="254" y="86"/>
                      </a:lnTo>
                      <a:lnTo>
                        <a:pt x="261" y="86"/>
                      </a:lnTo>
                      <a:lnTo>
                        <a:pt x="263" y="86"/>
                      </a:lnTo>
                      <a:lnTo>
                        <a:pt x="258" y="83"/>
                      </a:lnTo>
                      <a:lnTo>
                        <a:pt x="258" y="75"/>
                      </a:lnTo>
                      <a:lnTo>
                        <a:pt x="243" y="66"/>
                      </a:lnTo>
                      <a:lnTo>
                        <a:pt x="248" y="64"/>
                      </a:lnTo>
                      <a:lnTo>
                        <a:pt x="252" y="64"/>
                      </a:lnTo>
                      <a:lnTo>
                        <a:pt x="258" y="64"/>
                      </a:lnTo>
                      <a:lnTo>
                        <a:pt x="252" y="58"/>
                      </a:lnTo>
                      <a:lnTo>
                        <a:pt x="258" y="60"/>
                      </a:lnTo>
                      <a:lnTo>
                        <a:pt x="258" y="51"/>
                      </a:lnTo>
                      <a:lnTo>
                        <a:pt x="258" y="47"/>
                      </a:lnTo>
                      <a:lnTo>
                        <a:pt x="260" y="43"/>
                      </a:lnTo>
                      <a:lnTo>
                        <a:pt x="265" y="51"/>
                      </a:lnTo>
                      <a:lnTo>
                        <a:pt x="265" y="39"/>
                      </a:lnTo>
                      <a:lnTo>
                        <a:pt x="267" y="36"/>
                      </a:lnTo>
                      <a:lnTo>
                        <a:pt x="269" y="43"/>
                      </a:lnTo>
                      <a:lnTo>
                        <a:pt x="275" y="41"/>
                      </a:lnTo>
                      <a:lnTo>
                        <a:pt x="280" y="34"/>
                      </a:lnTo>
                      <a:lnTo>
                        <a:pt x="276" y="26"/>
                      </a:lnTo>
                      <a:lnTo>
                        <a:pt x="276" y="22"/>
                      </a:lnTo>
                      <a:lnTo>
                        <a:pt x="282" y="20"/>
                      </a:lnTo>
                      <a:lnTo>
                        <a:pt x="288" y="19"/>
                      </a:lnTo>
                      <a:lnTo>
                        <a:pt x="286" y="26"/>
                      </a:lnTo>
                      <a:lnTo>
                        <a:pt x="291" y="20"/>
                      </a:lnTo>
                      <a:lnTo>
                        <a:pt x="293" y="22"/>
                      </a:lnTo>
                      <a:lnTo>
                        <a:pt x="284" y="37"/>
                      </a:lnTo>
                      <a:lnTo>
                        <a:pt x="293" y="37"/>
                      </a:lnTo>
                      <a:lnTo>
                        <a:pt x="288" y="41"/>
                      </a:lnTo>
                      <a:lnTo>
                        <a:pt x="280" y="43"/>
                      </a:lnTo>
                      <a:lnTo>
                        <a:pt x="275" y="49"/>
                      </a:lnTo>
                      <a:lnTo>
                        <a:pt x="271" y="69"/>
                      </a:lnTo>
                      <a:lnTo>
                        <a:pt x="276" y="77"/>
                      </a:lnTo>
                      <a:lnTo>
                        <a:pt x="278" y="71"/>
                      </a:lnTo>
                      <a:lnTo>
                        <a:pt x="282" y="71"/>
                      </a:lnTo>
                      <a:lnTo>
                        <a:pt x="282" y="77"/>
                      </a:lnTo>
                      <a:lnTo>
                        <a:pt x="282" y="81"/>
                      </a:lnTo>
                      <a:lnTo>
                        <a:pt x="276" y="86"/>
                      </a:lnTo>
                      <a:lnTo>
                        <a:pt x="269" y="88"/>
                      </a:lnTo>
                      <a:lnTo>
                        <a:pt x="269" y="101"/>
                      </a:lnTo>
                      <a:lnTo>
                        <a:pt x="271" y="96"/>
                      </a:lnTo>
                      <a:lnTo>
                        <a:pt x="276" y="90"/>
                      </a:lnTo>
                      <a:lnTo>
                        <a:pt x="278" y="88"/>
                      </a:lnTo>
                      <a:lnTo>
                        <a:pt x="284" y="96"/>
                      </a:lnTo>
                      <a:lnTo>
                        <a:pt x="290" y="96"/>
                      </a:lnTo>
                      <a:lnTo>
                        <a:pt x="286" y="101"/>
                      </a:lnTo>
                      <a:lnTo>
                        <a:pt x="290" y="109"/>
                      </a:lnTo>
                      <a:lnTo>
                        <a:pt x="282" y="103"/>
                      </a:lnTo>
                      <a:lnTo>
                        <a:pt x="276" y="105"/>
                      </a:lnTo>
                      <a:lnTo>
                        <a:pt x="275" y="113"/>
                      </a:lnTo>
                      <a:lnTo>
                        <a:pt x="278" y="120"/>
                      </a:lnTo>
                      <a:lnTo>
                        <a:pt x="278" y="113"/>
                      </a:lnTo>
                      <a:lnTo>
                        <a:pt x="286" y="111"/>
                      </a:lnTo>
                      <a:lnTo>
                        <a:pt x="290" y="113"/>
                      </a:lnTo>
                      <a:lnTo>
                        <a:pt x="291" y="120"/>
                      </a:lnTo>
                      <a:lnTo>
                        <a:pt x="301" y="122"/>
                      </a:lnTo>
                      <a:lnTo>
                        <a:pt x="307" y="120"/>
                      </a:lnTo>
                      <a:lnTo>
                        <a:pt x="303" y="126"/>
                      </a:lnTo>
                      <a:lnTo>
                        <a:pt x="286" y="124"/>
                      </a:lnTo>
                      <a:lnTo>
                        <a:pt x="284" y="131"/>
                      </a:lnTo>
                      <a:lnTo>
                        <a:pt x="291" y="128"/>
                      </a:lnTo>
                      <a:lnTo>
                        <a:pt x="288" y="141"/>
                      </a:lnTo>
                      <a:lnTo>
                        <a:pt x="288" y="148"/>
                      </a:lnTo>
                      <a:lnTo>
                        <a:pt x="293" y="156"/>
                      </a:lnTo>
                      <a:lnTo>
                        <a:pt x="291" y="148"/>
                      </a:lnTo>
                      <a:lnTo>
                        <a:pt x="299" y="152"/>
                      </a:lnTo>
                      <a:lnTo>
                        <a:pt x="305" y="158"/>
                      </a:lnTo>
                      <a:lnTo>
                        <a:pt x="312" y="160"/>
                      </a:lnTo>
                      <a:lnTo>
                        <a:pt x="310" y="154"/>
                      </a:lnTo>
                      <a:lnTo>
                        <a:pt x="312" y="146"/>
                      </a:lnTo>
                      <a:lnTo>
                        <a:pt x="312" y="154"/>
                      </a:lnTo>
                      <a:lnTo>
                        <a:pt x="316" y="156"/>
                      </a:lnTo>
                      <a:lnTo>
                        <a:pt x="322" y="143"/>
                      </a:lnTo>
                      <a:lnTo>
                        <a:pt x="322" y="156"/>
                      </a:lnTo>
                      <a:lnTo>
                        <a:pt x="325" y="158"/>
                      </a:lnTo>
                      <a:lnTo>
                        <a:pt x="320" y="165"/>
                      </a:lnTo>
                      <a:lnTo>
                        <a:pt x="322" y="171"/>
                      </a:lnTo>
                      <a:lnTo>
                        <a:pt x="327" y="167"/>
                      </a:lnTo>
                      <a:lnTo>
                        <a:pt x="331" y="173"/>
                      </a:lnTo>
                      <a:lnTo>
                        <a:pt x="337" y="169"/>
                      </a:lnTo>
                      <a:lnTo>
                        <a:pt x="335" y="177"/>
                      </a:lnTo>
                      <a:lnTo>
                        <a:pt x="329" y="184"/>
                      </a:lnTo>
                      <a:lnTo>
                        <a:pt x="329" y="188"/>
                      </a:lnTo>
                      <a:lnTo>
                        <a:pt x="344" y="184"/>
                      </a:lnTo>
                      <a:lnTo>
                        <a:pt x="350" y="184"/>
                      </a:lnTo>
                      <a:lnTo>
                        <a:pt x="355" y="177"/>
                      </a:lnTo>
                      <a:lnTo>
                        <a:pt x="370" y="171"/>
                      </a:lnTo>
                      <a:lnTo>
                        <a:pt x="370" y="165"/>
                      </a:lnTo>
                      <a:lnTo>
                        <a:pt x="374" y="158"/>
                      </a:lnTo>
                      <a:lnTo>
                        <a:pt x="378" y="145"/>
                      </a:lnTo>
                      <a:lnTo>
                        <a:pt x="382" y="146"/>
                      </a:lnTo>
                      <a:lnTo>
                        <a:pt x="385" y="133"/>
                      </a:lnTo>
                      <a:lnTo>
                        <a:pt x="378" y="126"/>
                      </a:lnTo>
                      <a:lnTo>
                        <a:pt x="382" y="124"/>
                      </a:lnTo>
                      <a:lnTo>
                        <a:pt x="384" y="122"/>
                      </a:lnTo>
                      <a:lnTo>
                        <a:pt x="335" y="133"/>
                      </a:lnTo>
                      <a:lnTo>
                        <a:pt x="329" y="126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67" name="Freeform 128"/>
                <p:cNvSpPr>
                  <a:spLocks/>
                </p:cNvSpPr>
                <p:nvPr/>
              </p:nvSpPr>
              <p:spPr bwMode="auto">
                <a:xfrm>
                  <a:off x="4707183" y="2383256"/>
                  <a:ext cx="14410" cy="14825"/>
                </a:xfrm>
                <a:custGeom>
                  <a:avLst/>
                  <a:gdLst>
                    <a:gd name="T0" fmla="*/ 15 w 15"/>
                    <a:gd name="T1" fmla="*/ 6 h 17"/>
                    <a:gd name="T2" fmla="*/ 7 w 15"/>
                    <a:gd name="T3" fmla="*/ 0 h 17"/>
                    <a:gd name="T4" fmla="*/ 0 w 15"/>
                    <a:gd name="T5" fmla="*/ 4 h 17"/>
                    <a:gd name="T6" fmla="*/ 6 w 15"/>
                    <a:gd name="T7" fmla="*/ 8 h 17"/>
                    <a:gd name="T8" fmla="*/ 9 w 15"/>
                    <a:gd name="T9" fmla="*/ 12 h 17"/>
                    <a:gd name="T10" fmla="*/ 11 w 15"/>
                    <a:gd name="T11" fmla="*/ 17 h 17"/>
                    <a:gd name="T12" fmla="*/ 15 w 15"/>
                    <a:gd name="T13" fmla="*/ 12 h 17"/>
                    <a:gd name="T14" fmla="*/ 15 w 15"/>
                    <a:gd name="T15" fmla="*/ 6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" h="17">
                      <a:moveTo>
                        <a:pt x="15" y="6"/>
                      </a:moveTo>
                      <a:lnTo>
                        <a:pt x="7" y="0"/>
                      </a:lnTo>
                      <a:lnTo>
                        <a:pt x="0" y="4"/>
                      </a:lnTo>
                      <a:lnTo>
                        <a:pt x="6" y="8"/>
                      </a:lnTo>
                      <a:lnTo>
                        <a:pt x="9" y="12"/>
                      </a:lnTo>
                      <a:lnTo>
                        <a:pt x="11" y="17"/>
                      </a:lnTo>
                      <a:lnTo>
                        <a:pt x="15" y="12"/>
                      </a:lnTo>
                      <a:lnTo>
                        <a:pt x="15" y="6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68" name="Freeform 129"/>
                <p:cNvSpPr>
                  <a:spLocks/>
                </p:cNvSpPr>
                <p:nvPr/>
              </p:nvSpPr>
              <p:spPr bwMode="auto">
                <a:xfrm>
                  <a:off x="4707183" y="2383256"/>
                  <a:ext cx="14410" cy="14825"/>
                </a:xfrm>
                <a:custGeom>
                  <a:avLst/>
                  <a:gdLst>
                    <a:gd name="T0" fmla="*/ 15 w 15"/>
                    <a:gd name="T1" fmla="*/ 6 h 17"/>
                    <a:gd name="T2" fmla="*/ 7 w 15"/>
                    <a:gd name="T3" fmla="*/ 0 h 17"/>
                    <a:gd name="T4" fmla="*/ 0 w 15"/>
                    <a:gd name="T5" fmla="*/ 4 h 17"/>
                    <a:gd name="T6" fmla="*/ 6 w 15"/>
                    <a:gd name="T7" fmla="*/ 8 h 17"/>
                    <a:gd name="T8" fmla="*/ 9 w 15"/>
                    <a:gd name="T9" fmla="*/ 12 h 17"/>
                    <a:gd name="T10" fmla="*/ 11 w 15"/>
                    <a:gd name="T11" fmla="*/ 17 h 17"/>
                    <a:gd name="T12" fmla="*/ 15 w 15"/>
                    <a:gd name="T13" fmla="*/ 12 h 17"/>
                    <a:gd name="T14" fmla="*/ 15 w 15"/>
                    <a:gd name="T15" fmla="*/ 6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" h="17">
                      <a:moveTo>
                        <a:pt x="15" y="6"/>
                      </a:moveTo>
                      <a:lnTo>
                        <a:pt x="7" y="0"/>
                      </a:lnTo>
                      <a:lnTo>
                        <a:pt x="0" y="4"/>
                      </a:lnTo>
                      <a:lnTo>
                        <a:pt x="6" y="8"/>
                      </a:lnTo>
                      <a:lnTo>
                        <a:pt x="9" y="12"/>
                      </a:lnTo>
                      <a:lnTo>
                        <a:pt x="11" y="17"/>
                      </a:lnTo>
                      <a:lnTo>
                        <a:pt x="15" y="12"/>
                      </a:lnTo>
                      <a:lnTo>
                        <a:pt x="15" y="6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79" name="Freeform 140"/>
                <p:cNvSpPr>
                  <a:spLocks/>
                </p:cNvSpPr>
                <p:nvPr/>
              </p:nvSpPr>
              <p:spPr bwMode="auto">
                <a:xfrm>
                  <a:off x="4865697" y="2440811"/>
                  <a:ext cx="9607" cy="18313"/>
                </a:xfrm>
                <a:custGeom>
                  <a:avLst/>
                  <a:gdLst>
                    <a:gd name="T0" fmla="*/ 4 w 10"/>
                    <a:gd name="T1" fmla="*/ 8 h 21"/>
                    <a:gd name="T2" fmla="*/ 4 w 10"/>
                    <a:gd name="T3" fmla="*/ 15 h 21"/>
                    <a:gd name="T4" fmla="*/ 0 w 10"/>
                    <a:gd name="T5" fmla="*/ 21 h 21"/>
                    <a:gd name="T6" fmla="*/ 6 w 10"/>
                    <a:gd name="T7" fmla="*/ 15 h 21"/>
                    <a:gd name="T8" fmla="*/ 10 w 10"/>
                    <a:gd name="T9" fmla="*/ 0 h 21"/>
                    <a:gd name="T10" fmla="*/ 8 w 10"/>
                    <a:gd name="T11" fmla="*/ 2 h 21"/>
                    <a:gd name="T12" fmla="*/ 4 w 10"/>
                    <a:gd name="T13" fmla="*/ 8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21">
                      <a:moveTo>
                        <a:pt x="4" y="8"/>
                      </a:moveTo>
                      <a:lnTo>
                        <a:pt x="4" y="15"/>
                      </a:lnTo>
                      <a:lnTo>
                        <a:pt x="0" y="21"/>
                      </a:lnTo>
                      <a:lnTo>
                        <a:pt x="6" y="15"/>
                      </a:lnTo>
                      <a:lnTo>
                        <a:pt x="10" y="0"/>
                      </a:lnTo>
                      <a:lnTo>
                        <a:pt x="8" y="2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80" name="Freeform 141"/>
                <p:cNvSpPr>
                  <a:spLocks/>
                </p:cNvSpPr>
                <p:nvPr/>
              </p:nvSpPr>
              <p:spPr bwMode="auto">
                <a:xfrm>
                  <a:off x="4865697" y="2440811"/>
                  <a:ext cx="9607" cy="18313"/>
                </a:xfrm>
                <a:custGeom>
                  <a:avLst/>
                  <a:gdLst>
                    <a:gd name="T0" fmla="*/ 4 w 10"/>
                    <a:gd name="T1" fmla="*/ 8 h 21"/>
                    <a:gd name="T2" fmla="*/ 4 w 10"/>
                    <a:gd name="T3" fmla="*/ 15 h 21"/>
                    <a:gd name="T4" fmla="*/ 0 w 10"/>
                    <a:gd name="T5" fmla="*/ 21 h 21"/>
                    <a:gd name="T6" fmla="*/ 6 w 10"/>
                    <a:gd name="T7" fmla="*/ 15 h 21"/>
                    <a:gd name="T8" fmla="*/ 10 w 10"/>
                    <a:gd name="T9" fmla="*/ 0 h 21"/>
                    <a:gd name="T10" fmla="*/ 8 w 10"/>
                    <a:gd name="T11" fmla="*/ 2 h 21"/>
                    <a:gd name="T12" fmla="*/ 4 w 10"/>
                    <a:gd name="T13" fmla="*/ 8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21">
                      <a:moveTo>
                        <a:pt x="4" y="8"/>
                      </a:moveTo>
                      <a:lnTo>
                        <a:pt x="4" y="15"/>
                      </a:lnTo>
                      <a:lnTo>
                        <a:pt x="0" y="21"/>
                      </a:lnTo>
                      <a:lnTo>
                        <a:pt x="6" y="15"/>
                      </a:lnTo>
                      <a:lnTo>
                        <a:pt x="10" y="0"/>
                      </a:lnTo>
                      <a:lnTo>
                        <a:pt x="8" y="2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81" name="Freeform 142"/>
                <p:cNvSpPr>
                  <a:spLocks/>
                </p:cNvSpPr>
                <p:nvPr/>
              </p:nvSpPr>
              <p:spPr bwMode="auto">
                <a:xfrm>
                  <a:off x="4873382" y="2416393"/>
                  <a:ext cx="4803" cy="26161"/>
                </a:xfrm>
                <a:custGeom>
                  <a:avLst/>
                  <a:gdLst>
                    <a:gd name="T0" fmla="*/ 0 w 5"/>
                    <a:gd name="T1" fmla="*/ 30 h 30"/>
                    <a:gd name="T2" fmla="*/ 2 w 5"/>
                    <a:gd name="T3" fmla="*/ 28 h 30"/>
                    <a:gd name="T4" fmla="*/ 4 w 5"/>
                    <a:gd name="T5" fmla="*/ 21 h 30"/>
                    <a:gd name="T6" fmla="*/ 5 w 5"/>
                    <a:gd name="T7" fmla="*/ 0 h 30"/>
                    <a:gd name="T8" fmla="*/ 4 w 5"/>
                    <a:gd name="T9" fmla="*/ 7 h 30"/>
                    <a:gd name="T10" fmla="*/ 0 w 5"/>
                    <a:gd name="T11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30">
                      <a:moveTo>
                        <a:pt x="0" y="30"/>
                      </a:moveTo>
                      <a:lnTo>
                        <a:pt x="2" y="28"/>
                      </a:lnTo>
                      <a:lnTo>
                        <a:pt x="4" y="21"/>
                      </a:lnTo>
                      <a:lnTo>
                        <a:pt x="5" y="0"/>
                      </a:lnTo>
                      <a:lnTo>
                        <a:pt x="4" y="7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382" name="Freeform 143"/>
                <p:cNvSpPr>
                  <a:spLocks/>
                </p:cNvSpPr>
                <p:nvPr/>
              </p:nvSpPr>
              <p:spPr bwMode="auto">
                <a:xfrm>
                  <a:off x="4873382" y="2416393"/>
                  <a:ext cx="4803" cy="26161"/>
                </a:xfrm>
                <a:custGeom>
                  <a:avLst/>
                  <a:gdLst>
                    <a:gd name="T0" fmla="*/ 0 w 5"/>
                    <a:gd name="T1" fmla="*/ 30 h 30"/>
                    <a:gd name="T2" fmla="*/ 2 w 5"/>
                    <a:gd name="T3" fmla="*/ 28 h 30"/>
                    <a:gd name="T4" fmla="*/ 4 w 5"/>
                    <a:gd name="T5" fmla="*/ 21 h 30"/>
                    <a:gd name="T6" fmla="*/ 5 w 5"/>
                    <a:gd name="T7" fmla="*/ 0 h 30"/>
                    <a:gd name="T8" fmla="*/ 4 w 5"/>
                    <a:gd name="T9" fmla="*/ 7 h 30"/>
                    <a:gd name="T10" fmla="*/ 0 w 5"/>
                    <a:gd name="T11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30">
                      <a:moveTo>
                        <a:pt x="0" y="30"/>
                      </a:moveTo>
                      <a:lnTo>
                        <a:pt x="2" y="28"/>
                      </a:lnTo>
                      <a:lnTo>
                        <a:pt x="4" y="21"/>
                      </a:lnTo>
                      <a:lnTo>
                        <a:pt x="5" y="0"/>
                      </a:lnTo>
                      <a:lnTo>
                        <a:pt x="4" y="7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  <p:sp>
            <p:nvSpPr>
              <p:cNvPr id="384" name="Freeform 145"/>
              <p:cNvSpPr>
                <a:spLocks/>
              </p:cNvSpPr>
              <p:nvPr/>
            </p:nvSpPr>
            <p:spPr bwMode="auto">
              <a:xfrm>
                <a:off x="4910849" y="2017871"/>
                <a:ext cx="141221" cy="124702"/>
              </a:xfrm>
              <a:custGeom>
                <a:avLst/>
                <a:gdLst>
                  <a:gd name="T0" fmla="*/ 145 w 147"/>
                  <a:gd name="T1" fmla="*/ 68 h 143"/>
                  <a:gd name="T2" fmla="*/ 147 w 147"/>
                  <a:gd name="T3" fmla="*/ 62 h 143"/>
                  <a:gd name="T4" fmla="*/ 145 w 147"/>
                  <a:gd name="T5" fmla="*/ 55 h 143"/>
                  <a:gd name="T6" fmla="*/ 130 w 147"/>
                  <a:gd name="T7" fmla="*/ 0 h 143"/>
                  <a:gd name="T8" fmla="*/ 126 w 147"/>
                  <a:gd name="T9" fmla="*/ 0 h 143"/>
                  <a:gd name="T10" fmla="*/ 117 w 147"/>
                  <a:gd name="T11" fmla="*/ 2 h 143"/>
                  <a:gd name="T12" fmla="*/ 77 w 147"/>
                  <a:gd name="T13" fmla="*/ 11 h 143"/>
                  <a:gd name="T14" fmla="*/ 70 w 147"/>
                  <a:gd name="T15" fmla="*/ 15 h 143"/>
                  <a:gd name="T16" fmla="*/ 66 w 147"/>
                  <a:gd name="T17" fmla="*/ 15 h 143"/>
                  <a:gd name="T18" fmla="*/ 53 w 147"/>
                  <a:gd name="T19" fmla="*/ 19 h 143"/>
                  <a:gd name="T20" fmla="*/ 45 w 147"/>
                  <a:gd name="T21" fmla="*/ 19 h 143"/>
                  <a:gd name="T22" fmla="*/ 0 w 147"/>
                  <a:gd name="T23" fmla="*/ 30 h 143"/>
                  <a:gd name="T24" fmla="*/ 13 w 147"/>
                  <a:gd name="T25" fmla="*/ 107 h 143"/>
                  <a:gd name="T26" fmla="*/ 19 w 147"/>
                  <a:gd name="T27" fmla="*/ 115 h 143"/>
                  <a:gd name="T28" fmla="*/ 19 w 147"/>
                  <a:gd name="T29" fmla="*/ 120 h 143"/>
                  <a:gd name="T30" fmla="*/ 8 w 147"/>
                  <a:gd name="T31" fmla="*/ 132 h 143"/>
                  <a:gd name="T32" fmla="*/ 8 w 147"/>
                  <a:gd name="T33" fmla="*/ 135 h 143"/>
                  <a:gd name="T34" fmla="*/ 13 w 147"/>
                  <a:gd name="T35" fmla="*/ 143 h 143"/>
                  <a:gd name="T36" fmla="*/ 21 w 147"/>
                  <a:gd name="T37" fmla="*/ 139 h 143"/>
                  <a:gd name="T38" fmla="*/ 34 w 147"/>
                  <a:gd name="T39" fmla="*/ 126 h 143"/>
                  <a:gd name="T40" fmla="*/ 42 w 147"/>
                  <a:gd name="T41" fmla="*/ 122 h 143"/>
                  <a:gd name="T42" fmla="*/ 45 w 147"/>
                  <a:gd name="T43" fmla="*/ 115 h 143"/>
                  <a:gd name="T44" fmla="*/ 49 w 147"/>
                  <a:gd name="T45" fmla="*/ 117 h 143"/>
                  <a:gd name="T46" fmla="*/ 60 w 147"/>
                  <a:gd name="T47" fmla="*/ 103 h 143"/>
                  <a:gd name="T48" fmla="*/ 68 w 147"/>
                  <a:gd name="T49" fmla="*/ 102 h 143"/>
                  <a:gd name="T50" fmla="*/ 74 w 147"/>
                  <a:gd name="T51" fmla="*/ 98 h 143"/>
                  <a:gd name="T52" fmla="*/ 81 w 147"/>
                  <a:gd name="T53" fmla="*/ 98 h 143"/>
                  <a:gd name="T54" fmla="*/ 85 w 147"/>
                  <a:gd name="T55" fmla="*/ 94 h 143"/>
                  <a:gd name="T56" fmla="*/ 106 w 147"/>
                  <a:gd name="T57" fmla="*/ 90 h 143"/>
                  <a:gd name="T58" fmla="*/ 106 w 147"/>
                  <a:gd name="T59" fmla="*/ 85 h 143"/>
                  <a:gd name="T60" fmla="*/ 104 w 147"/>
                  <a:gd name="T61" fmla="*/ 81 h 143"/>
                  <a:gd name="T62" fmla="*/ 107 w 147"/>
                  <a:gd name="T63" fmla="*/ 81 h 143"/>
                  <a:gd name="T64" fmla="*/ 107 w 147"/>
                  <a:gd name="T65" fmla="*/ 85 h 143"/>
                  <a:gd name="T66" fmla="*/ 115 w 147"/>
                  <a:gd name="T67" fmla="*/ 85 h 143"/>
                  <a:gd name="T68" fmla="*/ 128 w 147"/>
                  <a:gd name="T69" fmla="*/ 77 h 143"/>
                  <a:gd name="T70" fmla="*/ 141 w 147"/>
                  <a:gd name="T71" fmla="*/ 72 h 143"/>
                  <a:gd name="T72" fmla="*/ 147 w 147"/>
                  <a:gd name="T73" fmla="*/ 73 h 143"/>
                  <a:gd name="T74" fmla="*/ 145 w 147"/>
                  <a:gd name="T75" fmla="*/ 70 h 143"/>
                  <a:gd name="T76" fmla="*/ 145 w 147"/>
                  <a:gd name="T77" fmla="*/ 6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47" h="143">
                    <a:moveTo>
                      <a:pt x="145" y="68"/>
                    </a:moveTo>
                    <a:lnTo>
                      <a:pt x="147" y="62"/>
                    </a:lnTo>
                    <a:lnTo>
                      <a:pt x="145" y="55"/>
                    </a:lnTo>
                    <a:lnTo>
                      <a:pt x="130" y="0"/>
                    </a:lnTo>
                    <a:lnTo>
                      <a:pt x="126" y="0"/>
                    </a:lnTo>
                    <a:lnTo>
                      <a:pt x="117" y="2"/>
                    </a:lnTo>
                    <a:lnTo>
                      <a:pt x="77" y="11"/>
                    </a:lnTo>
                    <a:lnTo>
                      <a:pt x="70" y="15"/>
                    </a:lnTo>
                    <a:lnTo>
                      <a:pt x="66" y="15"/>
                    </a:lnTo>
                    <a:lnTo>
                      <a:pt x="53" y="19"/>
                    </a:lnTo>
                    <a:lnTo>
                      <a:pt x="45" y="19"/>
                    </a:lnTo>
                    <a:lnTo>
                      <a:pt x="0" y="30"/>
                    </a:lnTo>
                    <a:lnTo>
                      <a:pt x="13" y="107"/>
                    </a:lnTo>
                    <a:lnTo>
                      <a:pt x="19" y="115"/>
                    </a:lnTo>
                    <a:lnTo>
                      <a:pt x="19" y="120"/>
                    </a:lnTo>
                    <a:lnTo>
                      <a:pt x="8" y="132"/>
                    </a:lnTo>
                    <a:lnTo>
                      <a:pt x="8" y="135"/>
                    </a:lnTo>
                    <a:lnTo>
                      <a:pt x="13" y="143"/>
                    </a:lnTo>
                    <a:lnTo>
                      <a:pt x="21" y="139"/>
                    </a:lnTo>
                    <a:lnTo>
                      <a:pt x="34" y="126"/>
                    </a:lnTo>
                    <a:lnTo>
                      <a:pt x="42" y="122"/>
                    </a:lnTo>
                    <a:lnTo>
                      <a:pt x="45" y="115"/>
                    </a:lnTo>
                    <a:lnTo>
                      <a:pt x="49" y="117"/>
                    </a:lnTo>
                    <a:lnTo>
                      <a:pt x="60" y="103"/>
                    </a:lnTo>
                    <a:lnTo>
                      <a:pt x="68" y="102"/>
                    </a:lnTo>
                    <a:lnTo>
                      <a:pt x="74" y="98"/>
                    </a:lnTo>
                    <a:lnTo>
                      <a:pt x="81" y="98"/>
                    </a:lnTo>
                    <a:lnTo>
                      <a:pt x="85" y="94"/>
                    </a:lnTo>
                    <a:lnTo>
                      <a:pt x="106" y="90"/>
                    </a:lnTo>
                    <a:lnTo>
                      <a:pt x="106" y="85"/>
                    </a:lnTo>
                    <a:lnTo>
                      <a:pt x="104" y="81"/>
                    </a:lnTo>
                    <a:lnTo>
                      <a:pt x="107" y="81"/>
                    </a:lnTo>
                    <a:lnTo>
                      <a:pt x="107" y="85"/>
                    </a:lnTo>
                    <a:lnTo>
                      <a:pt x="115" y="85"/>
                    </a:lnTo>
                    <a:lnTo>
                      <a:pt x="128" y="77"/>
                    </a:lnTo>
                    <a:lnTo>
                      <a:pt x="141" y="72"/>
                    </a:lnTo>
                    <a:lnTo>
                      <a:pt x="147" y="73"/>
                    </a:lnTo>
                    <a:lnTo>
                      <a:pt x="145" y="70"/>
                    </a:lnTo>
                    <a:lnTo>
                      <a:pt x="145" y="6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85" name="Freeform 146"/>
              <p:cNvSpPr>
                <a:spLocks/>
              </p:cNvSpPr>
              <p:nvPr/>
            </p:nvSpPr>
            <p:spPr bwMode="auto">
              <a:xfrm>
                <a:off x="4951198" y="1706552"/>
                <a:ext cx="137379" cy="258996"/>
              </a:xfrm>
              <a:custGeom>
                <a:avLst/>
                <a:gdLst>
                  <a:gd name="T0" fmla="*/ 129 w 143"/>
                  <a:gd name="T1" fmla="*/ 216 h 297"/>
                  <a:gd name="T2" fmla="*/ 127 w 143"/>
                  <a:gd name="T3" fmla="*/ 209 h 297"/>
                  <a:gd name="T4" fmla="*/ 120 w 143"/>
                  <a:gd name="T5" fmla="*/ 205 h 297"/>
                  <a:gd name="T6" fmla="*/ 114 w 143"/>
                  <a:gd name="T7" fmla="*/ 199 h 297"/>
                  <a:gd name="T8" fmla="*/ 111 w 143"/>
                  <a:gd name="T9" fmla="*/ 194 h 297"/>
                  <a:gd name="T10" fmla="*/ 109 w 143"/>
                  <a:gd name="T11" fmla="*/ 186 h 297"/>
                  <a:gd name="T12" fmla="*/ 109 w 143"/>
                  <a:gd name="T13" fmla="*/ 178 h 297"/>
                  <a:gd name="T14" fmla="*/ 101 w 143"/>
                  <a:gd name="T15" fmla="*/ 158 h 297"/>
                  <a:gd name="T16" fmla="*/ 50 w 143"/>
                  <a:gd name="T17" fmla="*/ 4 h 297"/>
                  <a:gd name="T18" fmla="*/ 49 w 143"/>
                  <a:gd name="T19" fmla="*/ 0 h 297"/>
                  <a:gd name="T20" fmla="*/ 41 w 143"/>
                  <a:gd name="T21" fmla="*/ 7 h 297"/>
                  <a:gd name="T22" fmla="*/ 35 w 143"/>
                  <a:gd name="T23" fmla="*/ 6 h 297"/>
                  <a:gd name="T24" fmla="*/ 28 w 143"/>
                  <a:gd name="T25" fmla="*/ 11 h 297"/>
                  <a:gd name="T26" fmla="*/ 28 w 143"/>
                  <a:gd name="T27" fmla="*/ 17 h 297"/>
                  <a:gd name="T28" fmla="*/ 26 w 143"/>
                  <a:gd name="T29" fmla="*/ 32 h 297"/>
                  <a:gd name="T30" fmla="*/ 26 w 143"/>
                  <a:gd name="T31" fmla="*/ 37 h 297"/>
                  <a:gd name="T32" fmla="*/ 26 w 143"/>
                  <a:gd name="T33" fmla="*/ 39 h 297"/>
                  <a:gd name="T34" fmla="*/ 24 w 143"/>
                  <a:gd name="T35" fmla="*/ 41 h 297"/>
                  <a:gd name="T36" fmla="*/ 28 w 143"/>
                  <a:gd name="T37" fmla="*/ 53 h 297"/>
                  <a:gd name="T38" fmla="*/ 24 w 143"/>
                  <a:gd name="T39" fmla="*/ 66 h 297"/>
                  <a:gd name="T40" fmla="*/ 26 w 143"/>
                  <a:gd name="T41" fmla="*/ 73 h 297"/>
                  <a:gd name="T42" fmla="*/ 32 w 143"/>
                  <a:gd name="T43" fmla="*/ 79 h 297"/>
                  <a:gd name="T44" fmla="*/ 34 w 143"/>
                  <a:gd name="T45" fmla="*/ 86 h 297"/>
                  <a:gd name="T46" fmla="*/ 34 w 143"/>
                  <a:gd name="T47" fmla="*/ 92 h 297"/>
                  <a:gd name="T48" fmla="*/ 28 w 143"/>
                  <a:gd name="T49" fmla="*/ 103 h 297"/>
                  <a:gd name="T50" fmla="*/ 17 w 143"/>
                  <a:gd name="T51" fmla="*/ 116 h 297"/>
                  <a:gd name="T52" fmla="*/ 13 w 143"/>
                  <a:gd name="T53" fmla="*/ 116 h 297"/>
                  <a:gd name="T54" fmla="*/ 7 w 143"/>
                  <a:gd name="T55" fmla="*/ 124 h 297"/>
                  <a:gd name="T56" fmla="*/ 7 w 143"/>
                  <a:gd name="T57" fmla="*/ 130 h 297"/>
                  <a:gd name="T58" fmla="*/ 11 w 143"/>
                  <a:gd name="T59" fmla="*/ 145 h 297"/>
                  <a:gd name="T60" fmla="*/ 9 w 143"/>
                  <a:gd name="T61" fmla="*/ 156 h 297"/>
                  <a:gd name="T62" fmla="*/ 11 w 143"/>
                  <a:gd name="T63" fmla="*/ 163 h 297"/>
                  <a:gd name="T64" fmla="*/ 7 w 143"/>
                  <a:gd name="T65" fmla="*/ 171 h 297"/>
                  <a:gd name="T66" fmla="*/ 7 w 143"/>
                  <a:gd name="T67" fmla="*/ 178 h 297"/>
                  <a:gd name="T68" fmla="*/ 5 w 143"/>
                  <a:gd name="T69" fmla="*/ 184 h 297"/>
                  <a:gd name="T70" fmla="*/ 2 w 143"/>
                  <a:gd name="T71" fmla="*/ 192 h 297"/>
                  <a:gd name="T72" fmla="*/ 3 w 143"/>
                  <a:gd name="T73" fmla="*/ 203 h 297"/>
                  <a:gd name="T74" fmla="*/ 0 w 143"/>
                  <a:gd name="T75" fmla="*/ 209 h 297"/>
                  <a:gd name="T76" fmla="*/ 5 w 143"/>
                  <a:gd name="T77" fmla="*/ 233 h 297"/>
                  <a:gd name="T78" fmla="*/ 5 w 143"/>
                  <a:gd name="T79" fmla="*/ 246 h 297"/>
                  <a:gd name="T80" fmla="*/ 11 w 143"/>
                  <a:gd name="T81" fmla="*/ 267 h 297"/>
                  <a:gd name="T82" fmla="*/ 7 w 143"/>
                  <a:gd name="T83" fmla="*/ 274 h 297"/>
                  <a:gd name="T84" fmla="*/ 7 w 143"/>
                  <a:gd name="T85" fmla="*/ 282 h 297"/>
                  <a:gd name="T86" fmla="*/ 11 w 143"/>
                  <a:gd name="T87" fmla="*/ 289 h 297"/>
                  <a:gd name="T88" fmla="*/ 17 w 143"/>
                  <a:gd name="T89" fmla="*/ 297 h 297"/>
                  <a:gd name="T90" fmla="*/ 105 w 143"/>
                  <a:gd name="T91" fmla="*/ 276 h 297"/>
                  <a:gd name="T92" fmla="*/ 114 w 143"/>
                  <a:gd name="T93" fmla="*/ 265 h 297"/>
                  <a:gd name="T94" fmla="*/ 118 w 143"/>
                  <a:gd name="T95" fmla="*/ 259 h 297"/>
                  <a:gd name="T96" fmla="*/ 120 w 143"/>
                  <a:gd name="T97" fmla="*/ 259 h 297"/>
                  <a:gd name="T98" fmla="*/ 124 w 143"/>
                  <a:gd name="T99" fmla="*/ 252 h 297"/>
                  <a:gd name="T100" fmla="*/ 131 w 143"/>
                  <a:gd name="T101" fmla="*/ 248 h 297"/>
                  <a:gd name="T102" fmla="*/ 135 w 143"/>
                  <a:gd name="T103" fmla="*/ 246 h 297"/>
                  <a:gd name="T104" fmla="*/ 139 w 143"/>
                  <a:gd name="T105" fmla="*/ 246 h 297"/>
                  <a:gd name="T106" fmla="*/ 139 w 143"/>
                  <a:gd name="T107" fmla="*/ 241 h 297"/>
                  <a:gd name="T108" fmla="*/ 143 w 143"/>
                  <a:gd name="T109" fmla="*/ 225 h 297"/>
                  <a:gd name="T110" fmla="*/ 139 w 143"/>
                  <a:gd name="T111" fmla="*/ 224 h 297"/>
                  <a:gd name="T112" fmla="*/ 135 w 143"/>
                  <a:gd name="T113" fmla="*/ 222 h 297"/>
                  <a:gd name="T114" fmla="*/ 129 w 143"/>
                  <a:gd name="T115" fmla="*/ 216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43" h="297">
                    <a:moveTo>
                      <a:pt x="129" y="216"/>
                    </a:moveTo>
                    <a:lnTo>
                      <a:pt x="127" y="209"/>
                    </a:lnTo>
                    <a:lnTo>
                      <a:pt x="120" y="205"/>
                    </a:lnTo>
                    <a:lnTo>
                      <a:pt x="114" y="199"/>
                    </a:lnTo>
                    <a:lnTo>
                      <a:pt x="111" y="194"/>
                    </a:lnTo>
                    <a:lnTo>
                      <a:pt x="109" y="186"/>
                    </a:lnTo>
                    <a:lnTo>
                      <a:pt x="109" y="178"/>
                    </a:lnTo>
                    <a:lnTo>
                      <a:pt x="101" y="158"/>
                    </a:lnTo>
                    <a:lnTo>
                      <a:pt x="50" y="4"/>
                    </a:lnTo>
                    <a:lnTo>
                      <a:pt x="49" y="0"/>
                    </a:lnTo>
                    <a:lnTo>
                      <a:pt x="41" y="7"/>
                    </a:lnTo>
                    <a:lnTo>
                      <a:pt x="35" y="6"/>
                    </a:lnTo>
                    <a:lnTo>
                      <a:pt x="28" y="11"/>
                    </a:lnTo>
                    <a:lnTo>
                      <a:pt x="28" y="17"/>
                    </a:lnTo>
                    <a:lnTo>
                      <a:pt x="26" y="32"/>
                    </a:lnTo>
                    <a:lnTo>
                      <a:pt x="26" y="37"/>
                    </a:lnTo>
                    <a:lnTo>
                      <a:pt x="26" y="39"/>
                    </a:lnTo>
                    <a:lnTo>
                      <a:pt x="24" y="41"/>
                    </a:lnTo>
                    <a:lnTo>
                      <a:pt x="28" y="53"/>
                    </a:lnTo>
                    <a:lnTo>
                      <a:pt x="24" y="66"/>
                    </a:lnTo>
                    <a:lnTo>
                      <a:pt x="26" y="73"/>
                    </a:lnTo>
                    <a:lnTo>
                      <a:pt x="32" y="79"/>
                    </a:lnTo>
                    <a:lnTo>
                      <a:pt x="34" y="86"/>
                    </a:lnTo>
                    <a:lnTo>
                      <a:pt x="34" y="92"/>
                    </a:lnTo>
                    <a:lnTo>
                      <a:pt x="28" y="103"/>
                    </a:lnTo>
                    <a:lnTo>
                      <a:pt x="17" y="116"/>
                    </a:lnTo>
                    <a:lnTo>
                      <a:pt x="13" y="116"/>
                    </a:lnTo>
                    <a:lnTo>
                      <a:pt x="7" y="124"/>
                    </a:lnTo>
                    <a:lnTo>
                      <a:pt x="7" y="130"/>
                    </a:lnTo>
                    <a:lnTo>
                      <a:pt x="11" y="145"/>
                    </a:lnTo>
                    <a:lnTo>
                      <a:pt x="9" y="156"/>
                    </a:lnTo>
                    <a:lnTo>
                      <a:pt x="11" y="163"/>
                    </a:lnTo>
                    <a:lnTo>
                      <a:pt x="7" y="171"/>
                    </a:lnTo>
                    <a:lnTo>
                      <a:pt x="7" y="178"/>
                    </a:lnTo>
                    <a:lnTo>
                      <a:pt x="5" y="184"/>
                    </a:lnTo>
                    <a:lnTo>
                      <a:pt x="2" y="192"/>
                    </a:lnTo>
                    <a:lnTo>
                      <a:pt x="3" y="203"/>
                    </a:lnTo>
                    <a:lnTo>
                      <a:pt x="0" y="209"/>
                    </a:lnTo>
                    <a:lnTo>
                      <a:pt x="5" y="233"/>
                    </a:lnTo>
                    <a:lnTo>
                      <a:pt x="5" y="246"/>
                    </a:lnTo>
                    <a:lnTo>
                      <a:pt x="11" y="267"/>
                    </a:lnTo>
                    <a:lnTo>
                      <a:pt x="7" y="274"/>
                    </a:lnTo>
                    <a:lnTo>
                      <a:pt x="7" y="282"/>
                    </a:lnTo>
                    <a:lnTo>
                      <a:pt x="11" y="289"/>
                    </a:lnTo>
                    <a:lnTo>
                      <a:pt x="17" y="297"/>
                    </a:lnTo>
                    <a:lnTo>
                      <a:pt x="105" y="276"/>
                    </a:lnTo>
                    <a:lnTo>
                      <a:pt x="114" y="265"/>
                    </a:lnTo>
                    <a:lnTo>
                      <a:pt x="118" y="259"/>
                    </a:lnTo>
                    <a:lnTo>
                      <a:pt x="120" y="259"/>
                    </a:lnTo>
                    <a:lnTo>
                      <a:pt x="124" y="252"/>
                    </a:lnTo>
                    <a:lnTo>
                      <a:pt x="131" y="248"/>
                    </a:lnTo>
                    <a:lnTo>
                      <a:pt x="135" y="246"/>
                    </a:lnTo>
                    <a:lnTo>
                      <a:pt x="139" y="246"/>
                    </a:lnTo>
                    <a:lnTo>
                      <a:pt x="139" y="241"/>
                    </a:lnTo>
                    <a:lnTo>
                      <a:pt x="143" y="225"/>
                    </a:lnTo>
                    <a:lnTo>
                      <a:pt x="139" y="224"/>
                    </a:lnTo>
                    <a:lnTo>
                      <a:pt x="135" y="222"/>
                    </a:lnTo>
                    <a:lnTo>
                      <a:pt x="129" y="216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87" name="Freeform 148"/>
              <p:cNvSpPr>
                <a:spLocks/>
              </p:cNvSpPr>
              <p:nvPr/>
            </p:nvSpPr>
            <p:spPr bwMode="auto">
              <a:xfrm>
                <a:off x="5035739" y="2011767"/>
                <a:ext cx="43231" cy="69763"/>
              </a:xfrm>
              <a:custGeom>
                <a:avLst/>
                <a:gdLst>
                  <a:gd name="T0" fmla="*/ 41 w 45"/>
                  <a:gd name="T1" fmla="*/ 18 h 80"/>
                  <a:gd name="T2" fmla="*/ 39 w 45"/>
                  <a:gd name="T3" fmla="*/ 13 h 80"/>
                  <a:gd name="T4" fmla="*/ 36 w 45"/>
                  <a:gd name="T5" fmla="*/ 11 h 80"/>
                  <a:gd name="T6" fmla="*/ 34 w 45"/>
                  <a:gd name="T7" fmla="*/ 5 h 80"/>
                  <a:gd name="T8" fmla="*/ 26 w 45"/>
                  <a:gd name="T9" fmla="*/ 0 h 80"/>
                  <a:gd name="T10" fmla="*/ 0 w 45"/>
                  <a:gd name="T11" fmla="*/ 7 h 80"/>
                  <a:gd name="T12" fmla="*/ 15 w 45"/>
                  <a:gd name="T13" fmla="*/ 62 h 80"/>
                  <a:gd name="T14" fmla="*/ 17 w 45"/>
                  <a:gd name="T15" fmla="*/ 69 h 80"/>
                  <a:gd name="T16" fmla="*/ 15 w 45"/>
                  <a:gd name="T17" fmla="*/ 75 h 80"/>
                  <a:gd name="T18" fmla="*/ 15 w 45"/>
                  <a:gd name="T19" fmla="*/ 77 h 80"/>
                  <a:gd name="T20" fmla="*/ 17 w 45"/>
                  <a:gd name="T21" fmla="*/ 80 h 80"/>
                  <a:gd name="T22" fmla="*/ 23 w 45"/>
                  <a:gd name="T23" fmla="*/ 77 h 80"/>
                  <a:gd name="T24" fmla="*/ 43 w 45"/>
                  <a:gd name="T25" fmla="*/ 63 h 80"/>
                  <a:gd name="T26" fmla="*/ 43 w 45"/>
                  <a:gd name="T27" fmla="*/ 56 h 80"/>
                  <a:gd name="T28" fmla="*/ 41 w 45"/>
                  <a:gd name="T29" fmla="*/ 48 h 80"/>
                  <a:gd name="T30" fmla="*/ 41 w 45"/>
                  <a:gd name="T31" fmla="*/ 41 h 80"/>
                  <a:gd name="T32" fmla="*/ 36 w 45"/>
                  <a:gd name="T33" fmla="*/ 33 h 80"/>
                  <a:gd name="T34" fmla="*/ 39 w 45"/>
                  <a:gd name="T35" fmla="*/ 28 h 80"/>
                  <a:gd name="T36" fmla="*/ 38 w 45"/>
                  <a:gd name="T37" fmla="*/ 20 h 80"/>
                  <a:gd name="T38" fmla="*/ 43 w 45"/>
                  <a:gd name="T39" fmla="*/ 28 h 80"/>
                  <a:gd name="T40" fmla="*/ 45 w 45"/>
                  <a:gd name="T41" fmla="*/ 24 h 80"/>
                  <a:gd name="T42" fmla="*/ 45 w 45"/>
                  <a:gd name="T43" fmla="*/ 22 h 80"/>
                  <a:gd name="T44" fmla="*/ 41 w 45"/>
                  <a:gd name="T45" fmla="*/ 18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" h="80">
                    <a:moveTo>
                      <a:pt x="41" y="18"/>
                    </a:moveTo>
                    <a:lnTo>
                      <a:pt x="39" y="13"/>
                    </a:lnTo>
                    <a:lnTo>
                      <a:pt x="36" y="11"/>
                    </a:lnTo>
                    <a:lnTo>
                      <a:pt x="34" y="5"/>
                    </a:lnTo>
                    <a:lnTo>
                      <a:pt x="26" y="0"/>
                    </a:lnTo>
                    <a:lnTo>
                      <a:pt x="0" y="7"/>
                    </a:lnTo>
                    <a:lnTo>
                      <a:pt x="15" y="62"/>
                    </a:lnTo>
                    <a:lnTo>
                      <a:pt x="17" y="69"/>
                    </a:lnTo>
                    <a:lnTo>
                      <a:pt x="15" y="75"/>
                    </a:lnTo>
                    <a:lnTo>
                      <a:pt x="15" y="77"/>
                    </a:lnTo>
                    <a:lnTo>
                      <a:pt x="17" y="80"/>
                    </a:lnTo>
                    <a:lnTo>
                      <a:pt x="23" y="77"/>
                    </a:lnTo>
                    <a:lnTo>
                      <a:pt x="43" y="63"/>
                    </a:lnTo>
                    <a:lnTo>
                      <a:pt x="43" y="56"/>
                    </a:lnTo>
                    <a:lnTo>
                      <a:pt x="41" y="48"/>
                    </a:lnTo>
                    <a:lnTo>
                      <a:pt x="41" y="41"/>
                    </a:lnTo>
                    <a:lnTo>
                      <a:pt x="36" y="33"/>
                    </a:lnTo>
                    <a:lnTo>
                      <a:pt x="39" y="28"/>
                    </a:lnTo>
                    <a:lnTo>
                      <a:pt x="38" y="20"/>
                    </a:lnTo>
                    <a:lnTo>
                      <a:pt x="43" y="28"/>
                    </a:lnTo>
                    <a:lnTo>
                      <a:pt x="45" y="24"/>
                    </a:lnTo>
                    <a:lnTo>
                      <a:pt x="45" y="22"/>
                    </a:lnTo>
                    <a:lnTo>
                      <a:pt x="41" y="1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88" name="Freeform 149"/>
              <p:cNvSpPr>
                <a:spLocks/>
              </p:cNvSpPr>
              <p:nvPr/>
            </p:nvSpPr>
            <p:spPr bwMode="auto">
              <a:xfrm>
                <a:off x="5078970" y="2032696"/>
                <a:ext cx="5764" cy="6976"/>
              </a:xfrm>
              <a:custGeom>
                <a:avLst/>
                <a:gdLst>
                  <a:gd name="T0" fmla="*/ 2 w 6"/>
                  <a:gd name="T1" fmla="*/ 8 h 8"/>
                  <a:gd name="T2" fmla="*/ 6 w 6"/>
                  <a:gd name="T3" fmla="*/ 4 h 8"/>
                  <a:gd name="T4" fmla="*/ 0 w 6"/>
                  <a:gd name="T5" fmla="*/ 0 h 8"/>
                  <a:gd name="T6" fmla="*/ 2 w 6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8">
                    <a:moveTo>
                      <a:pt x="2" y="8"/>
                    </a:moveTo>
                    <a:lnTo>
                      <a:pt x="6" y="4"/>
                    </a:lnTo>
                    <a:lnTo>
                      <a:pt x="0" y="0"/>
                    </a:lnTo>
                    <a:lnTo>
                      <a:pt x="2" y="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89" name="Freeform 150"/>
              <p:cNvSpPr>
                <a:spLocks/>
              </p:cNvSpPr>
              <p:nvPr/>
            </p:nvSpPr>
            <p:spPr bwMode="auto">
              <a:xfrm>
                <a:off x="5078970" y="2032696"/>
                <a:ext cx="5764" cy="6976"/>
              </a:xfrm>
              <a:custGeom>
                <a:avLst/>
                <a:gdLst>
                  <a:gd name="T0" fmla="*/ 2 w 6"/>
                  <a:gd name="T1" fmla="*/ 8 h 8"/>
                  <a:gd name="T2" fmla="*/ 6 w 6"/>
                  <a:gd name="T3" fmla="*/ 4 h 8"/>
                  <a:gd name="T4" fmla="*/ 0 w 6"/>
                  <a:gd name="T5" fmla="*/ 0 h 8"/>
                  <a:gd name="T6" fmla="*/ 2 w 6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8">
                    <a:moveTo>
                      <a:pt x="2" y="8"/>
                    </a:moveTo>
                    <a:lnTo>
                      <a:pt x="6" y="4"/>
                    </a:lnTo>
                    <a:lnTo>
                      <a:pt x="0" y="0"/>
                    </a:lnTo>
                    <a:lnTo>
                      <a:pt x="2" y="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90" name="Freeform 151"/>
              <p:cNvSpPr>
                <a:spLocks/>
              </p:cNvSpPr>
              <p:nvPr/>
            </p:nvSpPr>
            <p:spPr bwMode="auto">
              <a:xfrm>
                <a:off x="5084734" y="2025719"/>
                <a:ext cx="6725" cy="12209"/>
              </a:xfrm>
              <a:custGeom>
                <a:avLst/>
                <a:gdLst>
                  <a:gd name="T0" fmla="*/ 7 w 7"/>
                  <a:gd name="T1" fmla="*/ 0 h 14"/>
                  <a:gd name="T2" fmla="*/ 5 w 7"/>
                  <a:gd name="T3" fmla="*/ 6 h 14"/>
                  <a:gd name="T4" fmla="*/ 0 w 7"/>
                  <a:gd name="T5" fmla="*/ 12 h 14"/>
                  <a:gd name="T6" fmla="*/ 5 w 7"/>
                  <a:gd name="T7" fmla="*/ 14 h 14"/>
                  <a:gd name="T8" fmla="*/ 7 w 7"/>
                  <a:gd name="T9" fmla="*/ 8 h 14"/>
                  <a:gd name="T10" fmla="*/ 7 w 7"/>
                  <a:gd name="T1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4">
                    <a:moveTo>
                      <a:pt x="7" y="0"/>
                    </a:moveTo>
                    <a:lnTo>
                      <a:pt x="5" y="6"/>
                    </a:lnTo>
                    <a:lnTo>
                      <a:pt x="0" y="12"/>
                    </a:lnTo>
                    <a:lnTo>
                      <a:pt x="5" y="14"/>
                    </a:lnTo>
                    <a:lnTo>
                      <a:pt x="7" y="8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91" name="Freeform 152"/>
              <p:cNvSpPr>
                <a:spLocks/>
              </p:cNvSpPr>
              <p:nvPr/>
            </p:nvSpPr>
            <p:spPr bwMode="auto">
              <a:xfrm>
                <a:off x="5084734" y="2025719"/>
                <a:ext cx="6725" cy="12209"/>
              </a:xfrm>
              <a:custGeom>
                <a:avLst/>
                <a:gdLst>
                  <a:gd name="T0" fmla="*/ 7 w 7"/>
                  <a:gd name="T1" fmla="*/ 0 h 14"/>
                  <a:gd name="T2" fmla="*/ 5 w 7"/>
                  <a:gd name="T3" fmla="*/ 6 h 14"/>
                  <a:gd name="T4" fmla="*/ 0 w 7"/>
                  <a:gd name="T5" fmla="*/ 12 h 14"/>
                  <a:gd name="T6" fmla="*/ 5 w 7"/>
                  <a:gd name="T7" fmla="*/ 14 h 14"/>
                  <a:gd name="T8" fmla="*/ 7 w 7"/>
                  <a:gd name="T9" fmla="*/ 8 h 14"/>
                  <a:gd name="T10" fmla="*/ 7 w 7"/>
                  <a:gd name="T1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4">
                    <a:moveTo>
                      <a:pt x="7" y="0"/>
                    </a:moveTo>
                    <a:lnTo>
                      <a:pt x="5" y="6"/>
                    </a:lnTo>
                    <a:lnTo>
                      <a:pt x="0" y="12"/>
                    </a:lnTo>
                    <a:lnTo>
                      <a:pt x="5" y="14"/>
                    </a:lnTo>
                    <a:lnTo>
                      <a:pt x="7" y="8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92" name="Freeform 153"/>
              <p:cNvSpPr>
                <a:spLocks/>
              </p:cNvSpPr>
              <p:nvPr/>
            </p:nvSpPr>
            <p:spPr bwMode="auto">
              <a:xfrm>
                <a:off x="5089537" y="2037928"/>
                <a:ext cx="9607" cy="19185"/>
              </a:xfrm>
              <a:custGeom>
                <a:avLst/>
                <a:gdLst>
                  <a:gd name="T0" fmla="*/ 6 w 10"/>
                  <a:gd name="T1" fmla="*/ 2 h 22"/>
                  <a:gd name="T2" fmla="*/ 0 w 10"/>
                  <a:gd name="T3" fmla="*/ 0 h 22"/>
                  <a:gd name="T4" fmla="*/ 2 w 10"/>
                  <a:gd name="T5" fmla="*/ 15 h 22"/>
                  <a:gd name="T6" fmla="*/ 6 w 10"/>
                  <a:gd name="T7" fmla="*/ 22 h 22"/>
                  <a:gd name="T8" fmla="*/ 10 w 10"/>
                  <a:gd name="T9" fmla="*/ 17 h 22"/>
                  <a:gd name="T10" fmla="*/ 10 w 10"/>
                  <a:gd name="T11" fmla="*/ 13 h 22"/>
                  <a:gd name="T12" fmla="*/ 6 w 10"/>
                  <a:gd name="T13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22">
                    <a:moveTo>
                      <a:pt x="6" y="2"/>
                    </a:moveTo>
                    <a:lnTo>
                      <a:pt x="0" y="0"/>
                    </a:lnTo>
                    <a:lnTo>
                      <a:pt x="2" y="15"/>
                    </a:lnTo>
                    <a:lnTo>
                      <a:pt x="6" y="22"/>
                    </a:lnTo>
                    <a:lnTo>
                      <a:pt x="10" y="17"/>
                    </a:lnTo>
                    <a:lnTo>
                      <a:pt x="10" y="13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93" name="Freeform 154"/>
              <p:cNvSpPr>
                <a:spLocks/>
              </p:cNvSpPr>
              <p:nvPr/>
            </p:nvSpPr>
            <p:spPr bwMode="auto">
              <a:xfrm>
                <a:off x="5089537" y="2037928"/>
                <a:ext cx="9607" cy="19185"/>
              </a:xfrm>
              <a:custGeom>
                <a:avLst/>
                <a:gdLst>
                  <a:gd name="T0" fmla="*/ 6 w 10"/>
                  <a:gd name="T1" fmla="*/ 2 h 22"/>
                  <a:gd name="T2" fmla="*/ 0 w 10"/>
                  <a:gd name="T3" fmla="*/ 0 h 22"/>
                  <a:gd name="T4" fmla="*/ 2 w 10"/>
                  <a:gd name="T5" fmla="*/ 15 h 22"/>
                  <a:gd name="T6" fmla="*/ 6 w 10"/>
                  <a:gd name="T7" fmla="*/ 22 h 22"/>
                  <a:gd name="T8" fmla="*/ 10 w 10"/>
                  <a:gd name="T9" fmla="*/ 17 h 22"/>
                  <a:gd name="T10" fmla="*/ 10 w 10"/>
                  <a:gd name="T11" fmla="*/ 13 h 22"/>
                  <a:gd name="T12" fmla="*/ 6 w 10"/>
                  <a:gd name="T13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22">
                    <a:moveTo>
                      <a:pt x="6" y="2"/>
                    </a:moveTo>
                    <a:lnTo>
                      <a:pt x="0" y="0"/>
                    </a:lnTo>
                    <a:lnTo>
                      <a:pt x="2" y="15"/>
                    </a:lnTo>
                    <a:lnTo>
                      <a:pt x="6" y="22"/>
                    </a:lnTo>
                    <a:lnTo>
                      <a:pt x="10" y="17"/>
                    </a:lnTo>
                    <a:lnTo>
                      <a:pt x="10" y="13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grpSp>
            <p:nvGrpSpPr>
              <p:cNvPr id="445" name="Group 444"/>
              <p:cNvGrpSpPr/>
              <p:nvPr/>
            </p:nvGrpSpPr>
            <p:grpSpPr>
              <a:xfrm>
                <a:off x="1028701" y="1983861"/>
                <a:ext cx="665758" cy="1012439"/>
                <a:chOff x="1028701" y="1983861"/>
                <a:chExt cx="665758" cy="1012439"/>
              </a:xfrm>
              <a:grpFill/>
            </p:grpSpPr>
            <p:sp>
              <p:nvSpPr>
                <p:cNvPr id="253" name="Freeform 14"/>
                <p:cNvSpPr>
                  <a:spLocks/>
                </p:cNvSpPr>
                <p:nvPr/>
              </p:nvSpPr>
              <p:spPr bwMode="auto">
                <a:xfrm>
                  <a:off x="1028701" y="1983861"/>
                  <a:ext cx="665758" cy="1012439"/>
                </a:xfrm>
                <a:custGeom>
                  <a:avLst/>
                  <a:gdLst>
                    <a:gd name="T0" fmla="*/ 628 w 693"/>
                    <a:gd name="T1" fmla="*/ 1156 h 1161"/>
                    <a:gd name="T2" fmla="*/ 628 w 693"/>
                    <a:gd name="T3" fmla="*/ 1129 h 1161"/>
                    <a:gd name="T4" fmla="*/ 624 w 693"/>
                    <a:gd name="T5" fmla="*/ 1105 h 1161"/>
                    <a:gd name="T6" fmla="*/ 643 w 693"/>
                    <a:gd name="T7" fmla="*/ 1071 h 1161"/>
                    <a:gd name="T8" fmla="*/ 654 w 693"/>
                    <a:gd name="T9" fmla="*/ 1030 h 1161"/>
                    <a:gd name="T10" fmla="*/ 693 w 693"/>
                    <a:gd name="T11" fmla="*/ 1000 h 1161"/>
                    <a:gd name="T12" fmla="*/ 673 w 693"/>
                    <a:gd name="T13" fmla="*/ 964 h 1161"/>
                    <a:gd name="T14" fmla="*/ 661 w 693"/>
                    <a:gd name="T15" fmla="*/ 926 h 1161"/>
                    <a:gd name="T16" fmla="*/ 325 w 693"/>
                    <a:gd name="T17" fmla="*/ 327 h 1161"/>
                    <a:gd name="T18" fmla="*/ 62 w 693"/>
                    <a:gd name="T19" fmla="*/ 0 h 1161"/>
                    <a:gd name="T20" fmla="*/ 58 w 693"/>
                    <a:gd name="T21" fmla="*/ 35 h 1161"/>
                    <a:gd name="T22" fmla="*/ 39 w 693"/>
                    <a:gd name="T23" fmla="*/ 94 h 1161"/>
                    <a:gd name="T24" fmla="*/ 30 w 693"/>
                    <a:gd name="T25" fmla="*/ 120 h 1161"/>
                    <a:gd name="T26" fmla="*/ 13 w 693"/>
                    <a:gd name="T27" fmla="*/ 137 h 1161"/>
                    <a:gd name="T28" fmla="*/ 0 w 693"/>
                    <a:gd name="T29" fmla="*/ 176 h 1161"/>
                    <a:gd name="T30" fmla="*/ 24 w 693"/>
                    <a:gd name="T31" fmla="*/ 233 h 1161"/>
                    <a:gd name="T32" fmla="*/ 24 w 693"/>
                    <a:gd name="T33" fmla="*/ 261 h 1161"/>
                    <a:gd name="T34" fmla="*/ 13 w 693"/>
                    <a:gd name="T35" fmla="*/ 319 h 1161"/>
                    <a:gd name="T36" fmla="*/ 30 w 693"/>
                    <a:gd name="T37" fmla="*/ 374 h 1161"/>
                    <a:gd name="T38" fmla="*/ 45 w 693"/>
                    <a:gd name="T39" fmla="*/ 402 h 1161"/>
                    <a:gd name="T40" fmla="*/ 52 w 693"/>
                    <a:gd name="T41" fmla="*/ 421 h 1161"/>
                    <a:gd name="T42" fmla="*/ 43 w 693"/>
                    <a:gd name="T43" fmla="*/ 436 h 1161"/>
                    <a:gd name="T44" fmla="*/ 56 w 693"/>
                    <a:gd name="T45" fmla="*/ 453 h 1161"/>
                    <a:gd name="T46" fmla="*/ 81 w 693"/>
                    <a:gd name="T47" fmla="*/ 468 h 1161"/>
                    <a:gd name="T48" fmla="*/ 84 w 693"/>
                    <a:gd name="T49" fmla="*/ 441 h 1161"/>
                    <a:gd name="T50" fmla="*/ 111 w 693"/>
                    <a:gd name="T51" fmla="*/ 455 h 1161"/>
                    <a:gd name="T52" fmla="*/ 143 w 693"/>
                    <a:gd name="T53" fmla="*/ 460 h 1161"/>
                    <a:gd name="T54" fmla="*/ 146 w 693"/>
                    <a:gd name="T55" fmla="*/ 464 h 1161"/>
                    <a:gd name="T56" fmla="*/ 165 w 693"/>
                    <a:gd name="T57" fmla="*/ 473 h 1161"/>
                    <a:gd name="T58" fmla="*/ 120 w 693"/>
                    <a:gd name="T59" fmla="*/ 456 h 1161"/>
                    <a:gd name="T60" fmla="*/ 90 w 693"/>
                    <a:gd name="T61" fmla="*/ 455 h 1161"/>
                    <a:gd name="T62" fmla="*/ 92 w 693"/>
                    <a:gd name="T63" fmla="*/ 483 h 1161"/>
                    <a:gd name="T64" fmla="*/ 103 w 693"/>
                    <a:gd name="T65" fmla="*/ 518 h 1161"/>
                    <a:gd name="T66" fmla="*/ 79 w 693"/>
                    <a:gd name="T67" fmla="*/ 498 h 1161"/>
                    <a:gd name="T68" fmla="*/ 82 w 693"/>
                    <a:gd name="T69" fmla="*/ 475 h 1161"/>
                    <a:gd name="T70" fmla="*/ 66 w 693"/>
                    <a:gd name="T71" fmla="*/ 502 h 1161"/>
                    <a:gd name="T72" fmla="*/ 66 w 693"/>
                    <a:gd name="T73" fmla="*/ 534 h 1161"/>
                    <a:gd name="T74" fmla="*/ 86 w 693"/>
                    <a:gd name="T75" fmla="*/ 573 h 1161"/>
                    <a:gd name="T76" fmla="*/ 101 w 693"/>
                    <a:gd name="T77" fmla="*/ 601 h 1161"/>
                    <a:gd name="T78" fmla="*/ 82 w 693"/>
                    <a:gd name="T79" fmla="*/ 643 h 1161"/>
                    <a:gd name="T80" fmla="*/ 105 w 693"/>
                    <a:gd name="T81" fmla="*/ 684 h 1161"/>
                    <a:gd name="T82" fmla="*/ 118 w 693"/>
                    <a:gd name="T83" fmla="*/ 725 h 1161"/>
                    <a:gd name="T84" fmla="*/ 144 w 693"/>
                    <a:gd name="T85" fmla="*/ 767 h 1161"/>
                    <a:gd name="T86" fmla="*/ 150 w 693"/>
                    <a:gd name="T87" fmla="*/ 787 h 1161"/>
                    <a:gd name="T88" fmla="*/ 148 w 693"/>
                    <a:gd name="T89" fmla="*/ 825 h 1161"/>
                    <a:gd name="T90" fmla="*/ 141 w 693"/>
                    <a:gd name="T91" fmla="*/ 853 h 1161"/>
                    <a:gd name="T92" fmla="*/ 176 w 693"/>
                    <a:gd name="T93" fmla="*/ 872 h 1161"/>
                    <a:gd name="T94" fmla="*/ 210 w 693"/>
                    <a:gd name="T95" fmla="*/ 889 h 1161"/>
                    <a:gd name="T96" fmla="*/ 248 w 693"/>
                    <a:gd name="T97" fmla="*/ 911 h 1161"/>
                    <a:gd name="T98" fmla="*/ 306 w 693"/>
                    <a:gd name="T99" fmla="*/ 951 h 1161"/>
                    <a:gd name="T100" fmla="*/ 312 w 693"/>
                    <a:gd name="T101" fmla="*/ 979 h 1161"/>
                    <a:gd name="T102" fmla="*/ 329 w 693"/>
                    <a:gd name="T103" fmla="*/ 987 h 1161"/>
                    <a:gd name="T104" fmla="*/ 355 w 693"/>
                    <a:gd name="T105" fmla="*/ 1015 h 1161"/>
                    <a:gd name="T106" fmla="*/ 391 w 693"/>
                    <a:gd name="T107" fmla="*/ 1086 h 1161"/>
                    <a:gd name="T108" fmla="*/ 389 w 693"/>
                    <a:gd name="T109" fmla="*/ 1116 h 1161"/>
                    <a:gd name="T110" fmla="*/ 393 w 693"/>
                    <a:gd name="T111" fmla="*/ 1128 h 1161"/>
                    <a:gd name="T112" fmla="*/ 613 w 693"/>
                    <a:gd name="T113" fmla="*/ 1160 h 1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93" h="1161">
                      <a:moveTo>
                        <a:pt x="616" y="1160"/>
                      </a:moveTo>
                      <a:lnTo>
                        <a:pt x="620" y="1161"/>
                      </a:lnTo>
                      <a:lnTo>
                        <a:pt x="626" y="1161"/>
                      </a:lnTo>
                      <a:lnTo>
                        <a:pt x="628" y="1156"/>
                      </a:lnTo>
                      <a:lnTo>
                        <a:pt x="635" y="1150"/>
                      </a:lnTo>
                      <a:lnTo>
                        <a:pt x="635" y="1139"/>
                      </a:lnTo>
                      <a:lnTo>
                        <a:pt x="635" y="1133"/>
                      </a:lnTo>
                      <a:lnTo>
                        <a:pt x="628" y="1129"/>
                      </a:lnTo>
                      <a:lnTo>
                        <a:pt x="620" y="1126"/>
                      </a:lnTo>
                      <a:lnTo>
                        <a:pt x="620" y="1120"/>
                      </a:lnTo>
                      <a:lnTo>
                        <a:pt x="622" y="1113"/>
                      </a:lnTo>
                      <a:lnTo>
                        <a:pt x="624" y="1105"/>
                      </a:lnTo>
                      <a:lnTo>
                        <a:pt x="620" y="1097"/>
                      </a:lnTo>
                      <a:lnTo>
                        <a:pt x="624" y="1092"/>
                      </a:lnTo>
                      <a:lnTo>
                        <a:pt x="631" y="1086"/>
                      </a:lnTo>
                      <a:lnTo>
                        <a:pt x="643" y="1071"/>
                      </a:lnTo>
                      <a:lnTo>
                        <a:pt x="646" y="1062"/>
                      </a:lnTo>
                      <a:lnTo>
                        <a:pt x="650" y="1056"/>
                      </a:lnTo>
                      <a:lnTo>
                        <a:pt x="650" y="1043"/>
                      </a:lnTo>
                      <a:lnTo>
                        <a:pt x="654" y="1030"/>
                      </a:lnTo>
                      <a:lnTo>
                        <a:pt x="660" y="1026"/>
                      </a:lnTo>
                      <a:lnTo>
                        <a:pt x="663" y="1020"/>
                      </a:lnTo>
                      <a:lnTo>
                        <a:pt x="686" y="1007"/>
                      </a:lnTo>
                      <a:lnTo>
                        <a:pt x="693" y="1000"/>
                      </a:lnTo>
                      <a:lnTo>
                        <a:pt x="688" y="994"/>
                      </a:lnTo>
                      <a:lnTo>
                        <a:pt x="675" y="979"/>
                      </a:lnTo>
                      <a:lnTo>
                        <a:pt x="676" y="972"/>
                      </a:lnTo>
                      <a:lnTo>
                        <a:pt x="673" y="964"/>
                      </a:lnTo>
                      <a:lnTo>
                        <a:pt x="673" y="958"/>
                      </a:lnTo>
                      <a:lnTo>
                        <a:pt x="669" y="949"/>
                      </a:lnTo>
                      <a:lnTo>
                        <a:pt x="661" y="934"/>
                      </a:lnTo>
                      <a:lnTo>
                        <a:pt x="661" y="926"/>
                      </a:lnTo>
                      <a:lnTo>
                        <a:pt x="663" y="921"/>
                      </a:lnTo>
                      <a:lnTo>
                        <a:pt x="556" y="765"/>
                      </a:lnTo>
                      <a:lnTo>
                        <a:pt x="306" y="398"/>
                      </a:lnTo>
                      <a:lnTo>
                        <a:pt x="325" y="327"/>
                      </a:lnTo>
                      <a:lnTo>
                        <a:pt x="383" y="84"/>
                      </a:lnTo>
                      <a:lnTo>
                        <a:pt x="238" y="47"/>
                      </a:lnTo>
                      <a:lnTo>
                        <a:pt x="66" y="0"/>
                      </a:lnTo>
                      <a:lnTo>
                        <a:pt x="62" y="0"/>
                      </a:lnTo>
                      <a:lnTo>
                        <a:pt x="58" y="13"/>
                      </a:lnTo>
                      <a:lnTo>
                        <a:pt x="54" y="20"/>
                      </a:lnTo>
                      <a:lnTo>
                        <a:pt x="58" y="28"/>
                      </a:lnTo>
                      <a:lnTo>
                        <a:pt x="58" y="35"/>
                      </a:lnTo>
                      <a:lnTo>
                        <a:pt x="58" y="48"/>
                      </a:lnTo>
                      <a:lnTo>
                        <a:pt x="58" y="50"/>
                      </a:lnTo>
                      <a:lnTo>
                        <a:pt x="56" y="64"/>
                      </a:lnTo>
                      <a:lnTo>
                        <a:pt x="39" y="94"/>
                      </a:lnTo>
                      <a:lnTo>
                        <a:pt x="41" y="99"/>
                      </a:lnTo>
                      <a:lnTo>
                        <a:pt x="37" y="107"/>
                      </a:lnTo>
                      <a:lnTo>
                        <a:pt x="34" y="112"/>
                      </a:lnTo>
                      <a:lnTo>
                        <a:pt x="30" y="120"/>
                      </a:lnTo>
                      <a:lnTo>
                        <a:pt x="32" y="122"/>
                      </a:lnTo>
                      <a:lnTo>
                        <a:pt x="24" y="127"/>
                      </a:lnTo>
                      <a:lnTo>
                        <a:pt x="19" y="131"/>
                      </a:lnTo>
                      <a:lnTo>
                        <a:pt x="13" y="137"/>
                      </a:lnTo>
                      <a:lnTo>
                        <a:pt x="7" y="144"/>
                      </a:lnTo>
                      <a:lnTo>
                        <a:pt x="2" y="158"/>
                      </a:lnTo>
                      <a:lnTo>
                        <a:pt x="2" y="169"/>
                      </a:lnTo>
                      <a:lnTo>
                        <a:pt x="0" y="176"/>
                      </a:lnTo>
                      <a:lnTo>
                        <a:pt x="13" y="197"/>
                      </a:lnTo>
                      <a:lnTo>
                        <a:pt x="13" y="205"/>
                      </a:lnTo>
                      <a:lnTo>
                        <a:pt x="19" y="210"/>
                      </a:lnTo>
                      <a:lnTo>
                        <a:pt x="24" y="233"/>
                      </a:lnTo>
                      <a:lnTo>
                        <a:pt x="24" y="238"/>
                      </a:lnTo>
                      <a:lnTo>
                        <a:pt x="26" y="246"/>
                      </a:lnTo>
                      <a:lnTo>
                        <a:pt x="24" y="252"/>
                      </a:lnTo>
                      <a:lnTo>
                        <a:pt x="24" y="261"/>
                      </a:lnTo>
                      <a:lnTo>
                        <a:pt x="20" y="268"/>
                      </a:lnTo>
                      <a:lnTo>
                        <a:pt x="13" y="282"/>
                      </a:lnTo>
                      <a:lnTo>
                        <a:pt x="15" y="308"/>
                      </a:lnTo>
                      <a:lnTo>
                        <a:pt x="13" y="319"/>
                      </a:lnTo>
                      <a:lnTo>
                        <a:pt x="7" y="327"/>
                      </a:lnTo>
                      <a:lnTo>
                        <a:pt x="13" y="340"/>
                      </a:lnTo>
                      <a:lnTo>
                        <a:pt x="22" y="353"/>
                      </a:lnTo>
                      <a:lnTo>
                        <a:pt x="30" y="374"/>
                      </a:lnTo>
                      <a:lnTo>
                        <a:pt x="34" y="381"/>
                      </a:lnTo>
                      <a:lnTo>
                        <a:pt x="39" y="389"/>
                      </a:lnTo>
                      <a:lnTo>
                        <a:pt x="43" y="394"/>
                      </a:lnTo>
                      <a:lnTo>
                        <a:pt x="45" y="402"/>
                      </a:lnTo>
                      <a:lnTo>
                        <a:pt x="43" y="409"/>
                      </a:lnTo>
                      <a:lnTo>
                        <a:pt x="45" y="406"/>
                      </a:lnTo>
                      <a:lnTo>
                        <a:pt x="45" y="408"/>
                      </a:lnTo>
                      <a:lnTo>
                        <a:pt x="52" y="421"/>
                      </a:lnTo>
                      <a:lnTo>
                        <a:pt x="54" y="434"/>
                      </a:lnTo>
                      <a:lnTo>
                        <a:pt x="49" y="421"/>
                      </a:lnTo>
                      <a:lnTo>
                        <a:pt x="47" y="428"/>
                      </a:lnTo>
                      <a:lnTo>
                        <a:pt x="43" y="436"/>
                      </a:lnTo>
                      <a:lnTo>
                        <a:pt x="41" y="443"/>
                      </a:lnTo>
                      <a:lnTo>
                        <a:pt x="47" y="438"/>
                      </a:lnTo>
                      <a:lnTo>
                        <a:pt x="54" y="445"/>
                      </a:lnTo>
                      <a:lnTo>
                        <a:pt x="56" y="453"/>
                      </a:lnTo>
                      <a:lnTo>
                        <a:pt x="64" y="456"/>
                      </a:lnTo>
                      <a:lnTo>
                        <a:pt x="67" y="464"/>
                      </a:lnTo>
                      <a:lnTo>
                        <a:pt x="75" y="471"/>
                      </a:lnTo>
                      <a:lnTo>
                        <a:pt x="81" y="468"/>
                      </a:lnTo>
                      <a:lnTo>
                        <a:pt x="77" y="460"/>
                      </a:lnTo>
                      <a:lnTo>
                        <a:pt x="82" y="455"/>
                      </a:lnTo>
                      <a:lnTo>
                        <a:pt x="81" y="447"/>
                      </a:lnTo>
                      <a:lnTo>
                        <a:pt x="84" y="441"/>
                      </a:lnTo>
                      <a:lnTo>
                        <a:pt x="92" y="438"/>
                      </a:lnTo>
                      <a:lnTo>
                        <a:pt x="99" y="443"/>
                      </a:lnTo>
                      <a:lnTo>
                        <a:pt x="103" y="451"/>
                      </a:lnTo>
                      <a:lnTo>
                        <a:pt x="111" y="455"/>
                      </a:lnTo>
                      <a:lnTo>
                        <a:pt x="116" y="453"/>
                      </a:lnTo>
                      <a:lnTo>
                        <a:pt x="124" y="453"/>
                      </a:lnTo>
                      <a:lnTo>
                        <a:pt x="129" y="458"/>
                      </a:lnTo>
                      <a:lnTo>
                        <a:pt x="143" y="460"/>
                      </a:lnTo>
                      <a:lnTo>
                        <a:pt x="148" y="455"/>
                      </a:lnTo>
                      <a:lnTo>
                        <a:pt x="146" y="458"/>
                      </a:lnTo>
                      <a:lnTo>
                        <a:pt x="141" y="464"/>
                      </a:lnTo>
                      <a:lnTo>
                        <a:pt x="146" y="464"/>
                      </a:lnTo>
                      <a:lnTo>
                        <a:pt x="154" y="460"/>
                      </a:lnTo>
                      <a:lnTo>
                        <a:pt x="156" y="460"/>
                      </a:lnTo>
                      <a:lnTo>
                        <a:pt x="161" y="468"/>
                      </a:lnTo>
                      <a:lnTo>
                        <a:pt x="165" y="473"/>
                      </a:lnTo>
                      <a:lnTo>
                        <a:pt x="165" y="475"/>
                      </a:lnTo>
                      <a:lnTo>
                        <a:pt x="156" y="460"/>
                      </a:lnTo>
                      <a:lnTo>
                        <a:pt x="141" y="466"/>
                      </a:lnTo>
                      <a:lnTo>
                        <a:pt x="120" y="456"/>
                      </a:lnTo>
                      <a:lnTo>
                        <a:pt x="111" y="456"/>
                      </a:lnTo>
                      <a:lnTo>
                        <a:pt x="103" y="453"/>
                      </a:lnTo>
                      <a:lnTo>
                        <a:pt x="97" y="455"/>
                      </a:lnTo>
                      <a:lnTo>
                        <a:pt x="90" y="455"/>
                      </a:lnTo>
                      <a:lnTo>
                        <a:pt x="86" y="462"/>
                      </a:lnTo>
                      <a:lnTo>
                        <a:pt x="92" y="468"/>
                      </a:lnTo>
                      <a:lnTo>
                        <a:pt x="90" y="475"/>
                      </a:lnTo>
                      <a:lnTo>
                        <a:pt x="92" y="483"/>
                      </a:lnTo>
                      <a:lnTo>
                        <a:pt x="96" y="485"/>
                      </a:lnTo>
                      <a:lnTo>
                        <a:pt x="97" y="498"/>
                      </a:lnTo>
                      <a:lnTo>
                        <a:pt x="97" y="511"/>
                      </a:lnTo>
                      <a:lnTo>
                        <a:pt x="103" y="518"/>
                      </a:lnTo>
                      <a:lnTo>
                        <a:pt x="97" y="517"/>
                      </a:lnTo>
                      <a:lnTo>
                        <a:pt x="90" y="509"/>
                      </a:lnTo>
                      <a:lnTo>
                        <a:pt x="86" y="502"/>
                      </a:lnTo>
                      <a:lnTo>
                        <a:pt x="79" y="498"/>
                      </a:lnTo>
                      <a:lnTo>
                        <a:pt x="81" y="490"/>
                      </a:lnTo>
                      <a:lnTo>
                        <a:pt x="84" y="485"/>
                      </a:lnTo>
                      <a:lnTo>
                        <a:pt x="82" y="477"/>
                      </a:lnTo>
                      <a:lnTo>
                        <a:pt x="82" y="475"/>
                      </a:lnTo>
                      <a:lnTo>
                        <a:pt x="75" y="475"/>
                      </a:lnTo>
                      <a:lnTo>
                        <a:pt x="71" y="481"/>
                      </a:lnTo>
                      <a:lnTo>
                        <a:pt x="71" y="487"/>
                      </a:lnTo>
                      <a:lnTo>
                        <a:pt x="66" y="502"/>
                      </a:lnTo>
                      <a:lnTo>
                        <a:pt x="69" y="507"/>
                      </a:lnTo>
                      <a:lnTo>
                        <a:pt x="69" y="522"/>
                      </a:lnTo>
                      <a:lnTo>
                        <a:pt x="67" y="528"/>
                      </a:lnTo>
                      <a:lnTo>
                        <a:pt x="66" y="534"/>
                      </a:lnTo>
                      <a:lnTo>
                        <a:pt x="66" y="539"/>
                      </a:lnTo>
                      <a:lnTo>
                        <a:pt x="67" y="547"/>
                      </a:lnTo>
                      <a:lnTo>
                        <a:pt x="79" y="567"/>
                      </a:lnTo>
                      <a:lnTo>
                        <a:pt x="86" y="573"/>
                      </a:lnTo>
                      <a:lnTo>
                        <a:pt x="99" y="573"/>
                      </a:lnTo>
                      <a:lnTo>
                        <a:pt x="103" y="588"/>
                      </a:lnTo>
                      <a:lnTo>
                        <a:pt x="103" y="603"/>
                      </a:lnTo>
                      <a:lnTo>
                        <a:pt x="101" y="601"/>
                      </a:lnTo>
                      <a:lnTo>
                        <a:pt x="97" y="607"/>
                      </a:lnTo>
                      <a:lnTo>
                        <a:pt x="84" y="614"/>
                      </a:lnTo>
                      <a:lnTo>
                        <a:pt x="84" y="629"/>
                      </a:lnTo>
                      <a:lnTo>
                        <a:pt x="82" y="643"/>
                      </a:lnTo>
                      <a:lnTo>
                        <a:pt x="86" y="650"/>
                      </a:lnTo>
                      <a:lnTo>
                        <a:pt x="97" y="663"/>
                      </a:lnTo>
                      <a:lnTo>
                        <a:pt x="99" y="678"/>
                      </a:lnTo>
                      <a:lnTo>
                        <a:pt x="105" y="684"/>
                      </a:lnTo>
                      <a:lnTo>
                        <a:pt x="107" y="697"/>
                      </a:lnTo>
                      <a:lnTo>
                        <a:pt x="114" y="710"/>
                      </a:lnTo>
                      <a:lnTo>
                        <a:pt x="114" y="718"/>
                      </a:lnTo>
                      <a:lnTo>
                        <a:pt x="118" y="725"/>
                      </a:lnTo>
                      <a:lnTo>
                        <a:pt x="126" y="733"/>
                      </a:lnTo>
                      <a:lnTo>
                        <a:pt x="129" y="746"/>
                      </a:lnTo>
                      <a:lnTo>
                        <a:pt x="143" y="759"/>
                      </a:lnTo>
                      <a:lnTo>
                        <a:pt x="144" y="767"/>
                      </a:lnTo>
                      <a:lnTo>
                        <a:pt x="139" y="770"/>
                      </a:lnTo>
                      <a:lnTo>
                        <a:pt x="137" y="778"/>
                      </a:lnTo>
                      <a:lnTo>
                        <a:pt x="143" y="785"/>
                      </a:lnTo>
                      <a:lnTo>
                        <a:pt x="150" y="787"/>
                      </a:lnTo>
                      <a:lnTo>
                        <a:pt x="156" y="795"/>
                      </a:lnTo>
                      <a:lnTo>
                        <a:pt x="156" y="802"/>
                      </a:lnTo>
                      <a:lnTo>
                        <a:pt x="148" y="812"/>
                      </a:lnTo>
                      <a:lnTo>
                        <a:pt x="148" y="825"/>
                      </a:lnTo>
                      <a:lnTo>
                        <a:pt x="144" y="832"/>
                      </a:lnTo>
                      <a:lnTo>
                        <a:pt x="146" y="840"/>
                      </a:lnTo>
                      <a:lnTo>
                        <a:pt x="141" y="847"/>
                      </a:lnTo>
                      <a:lnTo>
                        <a:pt x="141" y="853"/>
                      </a:lnTo>
                      <a:lnTo>
                        <a:pt x="146" y="855"/>
                      </a:lnTo>
                      <a:lnTo>
                        <a:pt x="150" y="862"/>
                      </a:lnTo>
                      <a:lnTo>
                        <a:pt x="156" y="870"/>
                      </a:lnTo>
                      <a:lnTo>
                        <a:pt x="176" y="872"/>
                      </a:lnTo>
                      <a:lnTo>
                        <a:pt x="184" y="876"/>
                      </a:lnTo>
                      <a:lnTo>
                        <a:pt x="191" y="876"/>
                      </a:lnTo>
                      <a:lnTo>
                        <a:pt x="205" y="885"/>
                      </a:lnTo>
                      <a:lnTo>
                        <a:pt x="210" y="889"/>
                      </a:lnTo>
                      <a:lnTo>
                        <a:pt x="225" y="889"/>
                      </a:lnTo>
                      <a:lnTo>
                        <a:pt x="237" y="898"/>
                      </a:lnTo>
                      <a:lnTo>
                        <a:pt x="240" y="906"/>
                      </a:lnTo>
                      <a:lnTo>
                        <a:pt x="248" y="911"/>
                      </a:lnTo>
                      <a:lnTo>
                        <a:pt x="250" y="925"/>
                      </a:lnTo>
                      <a:lnTo>
                        <a:pt x="265" y="938"/>
                      </a:lnTo>
                      <a:lnTo>
                        <a:pt x="278" y="945"/>
                      </a:lnTo>
                      <a:lnTo>
                        <a:pt x="306" y="951"/>
                      </a:lnTo>
                      <a:lnTo>
                        <a:pt x="308" y="953"/>
                      </a:lnTo>
                      <a:lnTo>
                        <a:pt x="312" y="966"/>
                      </a:lnTo>
                      <a:lnTo>
                        <a:pt x="314" y="973"/>
                      </a:lnTo>
                      <a:lnTo>
                        <a:pt x="312" y="979"/>
                      </a:lnTo>
                      <a:lnTo>
                        <a:pt x="312" y="987"/>
                      </a:lnTo>
                      <a:lnTo>
                        <a:pt x="319" y="990"/>
                      </a:lnTo>
                      <a:lnTo>
                        <a:pt x="323" y="985"/>
                      </a:lnTo>
                      <a:lnTo>
                        <a:pt x="329" y="987"/>
                      </a:lnTo>
                      <a:lnTo>
                        <a:pt x="336" y="990"/>
                      </a:lnTo>
                      <a:lnTo>
                        <a:pt x="344" y="1002"/>
                      </a:lnTo>
                      <a:lnTo>
                        <a:pt x="348" y="1009"/>
                      </a:lnTo>
                      <a:lnTo>
                        <a:pt x="355" y="1015"/>
                      </a:lnTo>
                      <a:lnTo>
                        <a:pt x="378" y="1043"/>
                      </a:lnTo>
                      <a:lnTo>
                        <a:pt x="385" y="1058"/>
                      </a:lnTo>
                      <a:lnTo>
                        <a:pt x="389" y="1073"/>
                      </a:lnTo>
                      <a:lnTo>
                        <a:pt x="391" y="1086"/>
                      </a:lnTo>
                      <a:lnTo>
                        <a:pt x="389" y="1101"/>
                      </a:lnTo>
                      <a:lnTo>
                        <a:pt x="387" y="1114"/>
                      </a:lnTo>
                      <a:lnTo>
                        <a:pt x="387" y="1122"/>
                      </a:lnTo>
                      <a:lnTo>
                        <a:pt x="389" y="1116"/>
                      </a:lnTo>
                      <a:lnTo>
                        <a:pt x="394" y="1120"/>
                      </a:lnTo>
                      <a:lnTo>
                        <a:pt x="393" y="1128"/>
                      </a:lnTo>
                      <a:lnTo>
                        <a:pt x="389" y="1120"/>
                      </a:lnTo>
                      <a:lnTo>
                        <a:pt x="393" y="1128"/>
                      </a:lnTo>
                      <a:lnTo>
                        <a:pt x="394" y="1137"/>
                      </a:lnTo>
                      <a:lnTo>
                        <a:pt x="398" y="1139"/>
                      </a:lnTo>
                      <a:lnTo>
                        <a:pt x="611" y="1160"/>
                      </a:lnTo>
                      <a:lnTo>
                        <a:pt x="613" y="1160"/>
                      </a:lnTo>
                      <a:lnTo>
                        <a:pt x="616" y="116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7" name="Freeform 309"/>
                <p:cNvSpPr>
                  <a:spLocks/>
                </p:cNvSpPr>
                <p:nvPr/>
              </p:nvSpPr>
              <p:spPr bwMode="auto">
                <a:xfrm>
                  <a:off x="1182411" y="2787011"/>
                  <a:ext cx="17292" cy="9592"/>
                </a:xfrm>
                <a:custGeom>
                  <a:avLst/>
                  <a:gdLst>
                    <a:gd name="T0" fmla="*/ 7 w 18"/>
                    <a:gd name="T1" fmla="*/ 0 h 11"/>
                    <a:gd name="T2" fmla="*/ 0 w 18"/>
                    <a:gd name="T3" fmla="*/ 4 h 11"/>
                    <a:gd name="T4" fmla="*/ 3 w 18"/>
                    <a:gd name="T5" fmla="*/ 9 h 11"/>
                    <a:gd name="T6" fmla="*/ 11 w 18"/>
                    <a:gd name="T7" fmla="*/ 11 h 11"/>
                    <a:gd name="T8" fmla="*/ 18 w 18"/>
                    <a:gd name="T9" fmla="*/ 11 h 11"/>
                    <a:gd name="T10" fmla="*/ 18 w 18"/>
                    <a:gd name="T11" fmla="*/ 5 h 11"/>
                    <a:gd name="T12" fmla="*/ 15 w 18"/>
                    <a:gd name="T13" fmla="*/ 0 h 11"/>
                    <a:gd name="T14" fmla="*/ 7 w 18"/>
                    <a:gd name="T1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8" h="11">
                      <a:moveTo>
                        <a:pt x="7" y="0"/>
                      </a:moveTo>
                      <a:lnTo>
                        <a:pt x="0" y="4"/>
                      </a:lnTo>
                      <a:lnTo>
                        <a:pt x="3" y="9"/>
                      </a:lnTo>
                      <a:lnTo>
                        <a:pt x="11" y="11"/>
                      </a:lnTo>
                      <a:lnTo>
                        <a:pt x="18" y="11"/>
                      </a:lnTo>
                      <a:lnTo>
                        <a:pt x="18" y="5"/>
                      </a:lnTo>
                      <a:lnTo>
                        <a:pt x="15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8" name="Freeform 310"/>
                <p:cNvSpPr>
                  <a:spLocks/>
                </p:cNvSpPr>
                <p:nvPr/>
              </p:nvSpPr>
              <p:spPr bwMode="auto">
                <a:xfrm>
                  <a:off x="1182411" y="2787011"/>
                  <a:ext cx="17292" cy="9592"/>
                </a:xfrm>
                <a:custGeom>
                  <a:avLst/>
                  <a:gdLst>
                    <a:gd name="T0" fmla="*/ 7 w 18"/>
                    <a:gd name="T1" fmla="*/ 0 h 11"/>
                    <a:gd name="T2" fmla="*/ 0 w 18"/>
                    <a:gd name="T3" fmla="*/ 4 h 11"/>
                    <a:gd name="T4" fmla="*/ 3 w 18"/>
                    <a:gd name="T5" fmla="*/ 9 h 11"/>
                    <a:gd name="T6" fmla="*/ 11 w 18"/>
                    <a:gd name="T7" fmla="*/ 11 h 11"/>
                    <a:gd name="T8" fmla="*/ 18 w 18"/>
                    <a:gd name="T9" fmla="*/ 11 h 11"/>
                    <a:gd name="T10" fmla="*/ 18 w 18"/>
                    <a:gd name="T11" fmla="*/ 5 h 11"/>
                    <a:gd name="T12" fmla="*/ 15 w 18"/>
                    <a:gd name="T13" fmla="*/ 0 h 11"/>
                    <a:gd name="T14" fmla="*/ 7 w 18"/>
                    <a:gd name="T1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8" h="11">
                      <a:moveTo>
                        <a:pt x="7" y="0"/>
                      </a:moveTo>
                      <a:lnTo>
                        <a:pt x="0" y="4"/>
                      </a:lnTo>
                      <a:lnTo>
                        <a:pt x="3" y="9"/>
                      </a:lnTo>
                      <a:lnTo>
                        <a:pt x="11" y="11"/>
                      </a:lnTo>
                      <a:lnTo>
                        <a:pt x="18" y="11"/>
                      </a:lnTo>
                      <a:lnTo>
                        <a:pt x="18" y="5"/>
                      </a:lnTo>
                      <a:lnTo>
                        <a:pt x="15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49" name="Freeform 311"/>
                <p:cNvSpPr>
                  <a:spLocks/>
                </p:cNvSpPr>
                <p:nvPr/>
              </p:nvSpPr>
              <p:spPr bwMode="auto">
                <a:xfrm>
                  <a:off x="1182411" y="2787011"/>
                  <a:ext cx="17292" cy="9592"/>
                </a:xfrm>
                <a:custGeom>
                  <a:avLst/>
                  <a:gdLst>
                    <a:gd name="T0" fmla="*/ 7 w 18"/>
                    <a:gd name="T1" fmla="*/ 0 h 11"/>
                    <a:gd name="T2" fmla="*/ 0 w 18"/>
                    <a:gd name="T3" fmla="*/ 4 h 11"/>
                    <a:gd name="T4" fmla="*/ 3 w 18"/>
                    <a:gd name="T5" fmla="*/ 9 h 11"/>
                    <a:gd name="T6" fmla="*/ 11 w 18"/>
                    <a:gd name="T7" fmla="*/ 11 h 11"/>
                    <a:gd name="T8" fmla="*/ 18 w 18"/>
                    <a:gd name="T9" fmla="*/ 11 h 11"/>
                    <a:gd name="T10" fmla="*/ 18 w 18"/>
                    <a:gd name="T11" fmla="*/ 5 h 11"/>
                    <a:gd name="T12" fmla="*/ 15 w 18"/>
                    <a:gd name="T13" fmla="*/ 0 h 11"/>
                    <a:gd name="T14" fmla="*/ 7 w 18"/>
                    <a:gd name="T1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8" h="11">
                      <a:moveTo>
                        <a:pt x="7" y="0"/>
                      </a:moveTo>
                      <a:lnTo>
                        <a:pt x="0" y="4"/>
                      </a:lnTo>
                      <a:lnTo>
                        <a:pt x="3" y="9"/>
                      </a:lnTo>
                      <a:lnTo>
                        <a:pt x="11" y="11"/>
                      </a:lnTo>
                      <a:lnTo>
                        <a:pt x="18" y="11"/>
                      </a:lnTo>
                      <a:lnTo>
                        <a:pt x="18" y="5"/>
                      </a:lnTo>
                      <a:lnTo>
                        <a:pt x="15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0" name="Freeform 312"/>
                <p:cNvSpPr>
                  <a:spLocks/>
                </p:cNvSpPr>
                <p:nvPr/>
              </p:nvSpPr>
              <p:spPr bwMode="auto">
                <a:xfrm>
                  <a:off x="1212192" y="2785267"/>
                  <a:ext cx="27860" cy="13081"/>
                </a:xfrm>
                <a:custGeom>
                  <a:avLst/>
                  <a:gdLst>
                    <a:gd name="T0" fmla="*/ 8 w 29"/>
                    <a:gd name="T1" fmla="*/ 6 h 15"/>
                    <a:gd name="T2" fmla="*/ 0 w 29"/>
                    <a:gd name="T3" fmla="*/ 0 h 15"/>
                    <a:gd name="T4" fmla="*/ 0 w 29"/>
                    <a:gd name="T5" fmla="*/ 6 h 15"/>
                    <a:gd name="T6" fmla="*/ 0 w 29"/>
                    <a:gd name="T7" fmla="*/ 13 h 15"/>
                    <a:gd name="T8" fmla="*/ 8 w 29"/>
                    <a:gd name="T9" fmla="*/ 15 h 15"/>
                    <a:gd name="T10" fmla="*/ 21 w 29"/>
                    <a:gd name="T11" fmla="*/ 15 h 15"/>
                    <a:gd name="T12" fmla="*/ 29 w 29"/>
                    <a:gd name="T13" fmla="*/ 11 h 15"/>
                    <a:gd name="T14" fmla="*/ 21 w 29"/>
                    <a:gd name="T15" fmla="*/ 11 h 15"/>
                    <a:gd name="T16" fmla="*/ 8 w 29"/>
                    <a:gd name="T17" fmla="*/ 6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9" h="15">
                      <a:moveTo>
                        <a:pt x="8" y="6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13"/>
                      </a:lnTo>
                      <a:lnTo>
                        <a:pt x="8" y="15"/>
                      </a:lnTo>
                      <a:lnTo>
                        <a:pt x="21" y="15"/>
                      </a:lnTo>
                      <a:lnTo>
                        <a:pt x="29" y="11"/>
                      </a:lnTo>
                      <a:lnTo>
                        <a:pt x="21" y="11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1" name="Freeform 313"/>
                <p:cNvSpPr>
                  <a:spLocks/>
                </p:cNvSpPr>
                <p:nvPr/>
              </p:nvSpPr>
              <p:spPr bwMode="auto">
                <a:xfrm>
                  <a:off x="1212192" y="2785267"/>
                  <a:ext cx="27860" cy="13081"/>
                </a:xfrm>
                <a:custGeom>
                  <a:avLst/>
                  <a:gdLst>
                    <a:gd name="T0" fmla="*/ 8 w 29"/>
                    <a:gd name="T1" fmla="*/ 6 h 15"/>
                    <a:gd name="T2" fmla="*/ 0 w 29"/>
                    <a:gd name="T3" fmla="*/ 0 h 15"/>
                    <a:gd name="T4" fmla="*/ 0 w 29"/>
                    <a:gd name="T5" fmla="*/ 6 h 15"/>
                    <a:gd name="T6" fmla="*/ 0 w 29"/>
                    <a:gd name="T7" fmla="*/ 13 h 15"/>
                    <a:gd name="T8" fmla="*/ 8 w 29"/>
                    <a:gd name="T9" fmla="*/ 15 h 15"/>
                    <a:gd name="T10" fmla="*/ 21 w 29"/>
                    <a:gd name="T11" fmla="*/ 15 h 15"/>
                    <a:gd name="T12" fmla="*/ 29 w 29"/>
                    <a:gd name="T13" fmla="*/ 11 h 15"/>
                    <a:gd name="T14" fmla="*/ 21 w 29"/>
                    <a:gd name="T15" fmla="*/ 11 h 15"/>
                    <a:gd name="T16" fmla="*/ 8 w 29"/>
                    <a:gd name="T17" fmla="*/ 6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9" h="15">
                      <a:moveTo>
                        <a:pt x="8" y="6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13"/>
                      </a:lnTo>
                      <a:lnTo>
                        <a:pt x="8" y="15"/>
                      </a:lnTo>
                      <a:lnTo>
                        <a:pt x="21" y="15"/>
                      </a:lnTo>
                      <a:lnTo>
                        <a:pt x="29" y="11"/>
                      </a:lnTo>
                      <a:lnTo>
                        <a:pt x="21" y="11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2" name="Freeform 314"/>
                <p:cNvSpPr>
                  <a:spLocks/>
                </p:cNvSpPr>
                <p:nvPr/>
              </p:nvSpPr>
              <p:spPr bwMode="auto">
                <a:xfrm>
                  <a:off x="1212192" y="2785267"/>
                  <a:ext cx="27860" cy="13081"/>
                </a:xfrm>
                <a:custGeom>
                  <a:avLst/>
                  <a:gdLst>
                    <a:gd name="T0" fmla="*/ 8 w 29"/>
                    <a:gd name="T1" fmla="*/ 6 h 15"/>
                    <a:gd name="T2" fmla="*/ 0 w 29"/>
                    <a:gd name="T3" fmla="*/ 0 h 15"/>
                    <a:gd name="T4" fmla="*/ 0 w 29"/>
                    <a:gd name="T5" fmla="*/ 6 h 15"/>
                    <a:gd name="T6" fmla="*/ 0 w 29"/>
                    <a:gd name="T7" fmla="*/ 13 h 15"/>
                    <a:gd name="T8" fmla="*/ 8 w 29"/>
                    <a:gd name="T9" fmla="*/ 15 h 15"/>
                    <a:gd name="T10" fmla="*/ 21 w 29"/>
                    <a:gd name="T11" fmla="*/ 15 h 15"/>
                    <a:gd name="T12" fmla="*/ 29 w 29"/>
                    <a:gd name="T13" fmla="*/ 11 h 15"/>
                    <a:gd name="T14" fmla="*/ 21 w 29"/>
                    <a:gd name="T15" fmla="*/ 11 h 15"/>
                    <a:gd name="T16" fmla="*/ 8 w 29"/>
                    <a:gd name="T17" fmla="*/ 6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9" h="15">
                      <a:moveTo>
                        <a:pt x="8" y="6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13"/>
                      </a:lnTo>
                      <a:lnTo>
                        <a:pt x="8" y="15"/>
                      </a:lnTo>
                      <a:lnTo>
                        <a:pt x="21" y="15"/>
                      </a:lnTo>
                      <a:lnTo>
                        <a:pt x="29" y="11"/>
                      </a:lnTo>
                      <a:lnTo>
                        <a:pt x="21" y="11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3" name="Freeform 315"/>
                <p:cNvSpPr>
                  <a:spLocks/>
                </p:cNvSpPr>
                <p:nvPr/>
              </p:nvSpPr>
              <p:spPr bwMode="auto">
                <a:xfrm>
                  <a:off x="1217957" y="2865495"/>
                  <a:ext cx="10568" cy="6976"/>
                </a:xfrm>
                <a:custGeom>
                  <a:avLst/>
                  <a:gdLst>
                    <a:gd name="T0" fmla="*/ 0 w 11"/>
                    <a:gd name="T1" fmla="*/ 0 h 8"/>
                    <a:gd name="T2" fmla="*/ 6 w 11"/>
                    <a:gd name="T3" fmla="*/ 8 h 8"/>
                    <a:gd name="T4" fmla="*/ 11 w 11"/>
                    <a:gd name="T5" fmla="*/ 8 h 8"/>
                    <a:gd name="T6" fmla="*/ 8 w 11"/>
                    <a:gd name="T7" fmla="*/ 2 h 8"/>
                    <a:gd name="T8" fmla="*/ 0 w 11"/>
                    <a:gd name="T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8">
                      <a:moveTo>
                        <a:pt x="0" y="0"/>
                      </a:moveTo>
                      <a:lnTo>
                        <a:pt x="6" y="8"/>
                      </a:lnTo>
                      <a:lnTo>
                        <a:pt x="11" y="8"/>
                      </a:lnTo>
                      <a:lnTo>
                        <a:pt x="8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4" name="Freeform 316"/>
                <p:cNvSpPr>
                  <a:spLocks/>
                </p:cNvSpPr>
                <p:nvPr/>
              </p:nvSpPr>
              <p:spPr bwMode="auto">
                <a:xfrm>
                  <a:off x="1217957" y="2865495"/>
                  <a:ext cx="10568" cy="6976"/>
                </a:xfrm>
                <a:custGeom>
                  <a:avLst/>
                  <a:gdLst>
                    <a:gd name="T0" fmla="*/ 0 w 11"/>
                    <a:gd name="T1" fmla="*/ 0 h 8"/>
                    <a:gd name="T2" fmla="*/ 6 w 11"/>
                    <a:gd name="T3" fmla="*/ 8 h 8"/>
                    <a:gd name="T4" fmla="*/ 11 w 11"/>
                    <a:gd name="T5" fmla="*/ 8 h 8"/>
                    <a:gd name="T6" fmla="*/ 8 w 11"/>
                    <a:gd name="T7" fmla="*/ 2 h 8"/>
                    <a:gd name="T8" fmla="*/ 0 w 11"/>
                    <a:gd name="T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8">
                      <a:moveTo>
                        <a:pt x="0" y="0"/>
                      </a:moveTo>
                      <a:lnTo>
                        <a:pt x="6" y="8"/>
                      </a:lnTo>
                      <a:lnTo>
                        <a:pt x="11" y="8"/>
                      </a:lnTo>
                      <a:lnTo>
                        <a:pt x="8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5" name="Freeform 317"/>
                <p:cNvSpPr>
                  <a:spLocks/>
                </p:cNvSpPr>
                <p:nvPr/>
              </p:nvSpPr>
              <p:spPr bwMode="auto">
                <a:xfrm>
                  <a:off x="1217957" y="2865495"/>
                  <a:ext cx="10568" cy="6976"/>
                </a:xfrm>
                <a:custGeom>
                  <a:avLst/>
                  <a:gdLst>
                    <a:gd name="T0" fmla="*/ 0 w 11"/>
                    <a:gd name="T1" fmla="*/ 0 h 8"/>
                    <a:gd name="T2" fmla="*/ 6 w 11"/>
                    <a:gd name="T3" fmla="*/ 8 h 8"/>
                    <a:gd name="T4" fmla="*/ 11 w 11"/>
                    <a:gd name="T5" fmla="*/ 8 h 8"/>
                    <a:gd name="T6" fmla="*/ 8 w 11"/>
                    <a:gd name="T7" fmla="*/ 2 h 8"/>
                    <a:gd name="T8" fmla="*/ 0 w 11"/>
                    <a:gd name="T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8">
                      <a:moveTo>
                        <a:pt x="0" y="0"/>
                      </a:moveTo>
                      <a:lnTo>
                        <a:pt x="6" y="8"/>
                      </a:lnTo>
                      <a:lnTo>
                        <a:pt x="11" y="8"/>
                      </a:lnTo>
                      <a:lnTo>
                        <a:pt x="8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6" name="Freeform 318"/>
                <p:cNvSpPr>
                  <a:spLocks/>
                </p:cNvSpPr>
                <p:nvPr/>
              </p:nvSpPr>
              <p:spPr bwMode="auto">
                <a:xfrm>
                  <a:off x="1293851" y="2902993"/>
                  <a:ext cx="16332" cy="24417"/>
                </a:xfrm>
                <a:custGeom>
                  <a:avLst/>
                  <a:gdLst>
                    <a:gd name="T0" fmla="*/ 4 w 17"/>
                    <a:gd name="T1" fmla="*/ 8 h 28"/>
                    <a:gd name="T2" fmla="*/ 0 w 17"/>
                    <a:gd name="T3" fmla="*/ 0 h 28"/>
                    <a:gd name="T4" fmla="*/ 2 w 17"/>
                    <a:gd name="T5" fmla="*/ 8 h 28"/>
                    <a:gd name="T6" fmla="*/ 4 w 17"/>
                    <a:gd name="T7" fmla="*/ 23 h 28"/>
                    <a:gd name="T8" fmla="*/ 11 w 17"/>
                    <a:gd name="T9" fmla="*/ 28 h 28"/>
                    <a:gd name="T10" fmla="*/ 17 w 17"/>
                    <a:gd name="T11" fmla="*/ 28 h 28"/>
                    <a:gd name="T12" fmla="*/ 8 w 17"/>
                    <a:gd name="T13" fmla="*/ 15 h 28"/>
                    <a:gd name="T14" fmla="*/ 4 w 17"/>
                    <a:gd name="T15" fmla="*/ 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7" h="28">
                      <a:moveTo>
                        <a:pt x="4" y="8"/>
                      </a:moveTo>
                      <a:lnTo>
                        <a:pt x="0" y="0"/>
                      </a:lnTo>
                      <a:lnTo>
                        <a:pt x="2" y="8"/>
                      </a:lnTo>
                      <a:lnTo>
                        <a:pt x="4" y="23"/>
                      </a:lnTo>
                      <a:lnTo>
                        <a:pt x="11" y="28"/>
                      </a:lnTo>
                      <a:lnTo>
                        <a:pt x="17" y="28"/>
                      </a:lnTo>
                      <a:lnTo>
                        <a:pt x="8" y="15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7" name="Freeform 319"/>
                <p:cNvSpPr>
                  <a:spLocks/>
                </p:cNvSpPr>
                <p:nvPr/>
              </p:nvSpPr>
              <p:spPr bwMode="auto">
                <a:xfrm>
                  <a:off x="1293851" y="2902993"/>
                  <a:ext cx="16332" cy="24417"/>
                </a:xfrm>
                <a:custGeom>
                  <a:avLst/>
                  <a:gdLst>
                    <a:gd name="T0" fmla="*/ 4 w 17"/>
                    <a:gd name="T1" fmla="*/ 8 h 28"/>
                    <a:gd name="T2" fmla="*/ 0 w 17"/>
                    <a:gd name="T3" fmla="*/ 0 h 28"/>
                    <a:gd name="T4" fmla="*/ 2 w 17"/>
                    <a:gd name="T5" fmla="*/ 8 h 28"/>
                    <a:gd name="T6" fmla="*/ 4 w 17"/>
                    <a:gd name="T7" fmla="*/ 23 h 28"/>
                    <a:gd name="T8" fmla="*/ 11 w 17"/>
                    <a:gd name="T9" fmla="*/ 28 h 28"/>
                    <a:gd name="T10" fmla="*/ 17 w 17"/>
                    <a:gd name="T11" fmla="*/ 28 h 28"/>
                    <a:gd name="T12" fmla="*/ 8 w 17"/>
                    <a:gd name="T13" fmla="*/ 15 h 28"/>
                    <a:gd name="T14" fmla="*/ 4 w 17"/>
                    <a:gd name="T15" fmla="*/ 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7" h="28">
                      <a:moveTo>
                        <a:pt x="4" y="8"/>
                      </a:moveTo>
                      <a:lnTo>
                        <a:pt x="0" y="0"/>
                      </a:lnTo>
                      <a:lnTo>
                        <a:pt x="2" y="8"/>
                      </a:lnTo>
                      <a:lnTo>
                        <a:pt x="4" y="23"/>
                      </a:lnTo>
                      <a:lnTo>
                        <a:pt x="11" y="28"/>
                      </a:lnTo>
                      <a:lnTo>
                        <a:pt x="17" y="28"/>
                      </a:lnTo>
                      <a:lnTo>
                        <a:pt x="8" y="15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8" name="Freeform 320"/>
                <p:cNvSpPr>
                  <a:spLocks/>
                </p:cNvSpPr>
                <p:nvPr/>
              </p:nvSpPr>
              <p:spPr bwMode="auto">
                <a:xfrm>
                  <a:off x="1293851" y="2902993"/>
                  <a:ext cx="16332" cy="24417"/>
                </a:xfrm>
                <a:custGeom>
                  <a:avLst/>
                  <a:gdLst>
                    <a:gd name="T0" fmla="*/ 4 w 17"/>
                    <a:gd name="T1" fmla="*/ 8 h 28"/>
                    <a:gd name="T2" fmla="*/ 0 w 17"/>
                    <a:gd name="T3" fmla="*/ 0 h 28"/>
                    <a:gd name="T4" fmla="*/ 2 w 17"/>
                    <a:gd name="T5" fmla="*/ 8 h 28"/>
                    <a:gd name="T6" fmla="*/ 4 w 17"/>
                    <a:gd name="T7" fmla="*/ 23 h 28"/>
                    <a:gd name="T8" fmla="*/ 11 w 17"/>
                    <a:gd name="T9" fmla="*/ 28 h 28"/>
                    <a:gd name="T10" fmla="*/ 17 w 17"/>
                    <a:gd name="T11" fmla="*/ 28 h 28"/>
                    <a:gd name="T12" fmla="*/ 8 w 17"/>
                    <a:gd name="T13" fmla="*/ 15 h 28"/>
                    <a:gd name="T14" fmla="*/ 4 w 17"/>
                    <a:gd name="T15" fmla="*/ 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7" h="28">
                      <a:moveTo>
                        <a:pt x="4" y="8"/>
                      </a:moveTo>
                      <a:lnTo>
                        <a:pt x="0" y="0"/>
                      </a:lnTo>
                      <a:lnTo>
                        <a:pt x="2" y="8"/>
                      </a:lnTo>
                      <a:lnTo>
                        <a:pt x="4" y="23"/>
                      </a:lnTo>
                      <a:lnTo>
                        <a:pt x="11" y="28"/>
                      </a:lnTo>
                      <a:lnTo>
                        <a:pt x="17" y="28"/>
                      </a:lnTo>
                      <a:lnTo>
                        <a:pt x="8" y="15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59" name="Freeform 321"/>
                <p:cNvSpPr>
                  <a:spLocks/>
                </p:cNvSpPr>
                <p:nvPr/>
              </p:nvSpPr>
              <p:spPr bwMode="auto">
                <a:xfrm>
                  <a:off x="1304419" y="2862007"/>
                  <a:ext cx="22096" cy="20057"/>
                </a:xfrm>
                <a:custGeom>
                  <a:avLst/>
                  <a:gdLst>
                    <a:gd name="T0" fmla="*/ 14 w 23"/>
                    <a:gd name="T1" fmla="*/ 10 h 23"/>
                    <a:gd name="T2" fmla="*/ 8 w 23"/>
                    <a:gd name="T3" fmla="*/ 4 h 23"/>
                    <a:gd name="T4" fmla="*/ 0 w 23"/>
                    <a:gd name="T5" fmla="*/ 0 h 23"/>
                    <a:gd name="T6" fmla="*/ 6 w 23"/>
                    <a:gd name="T7" fmla="*/ 8 h 23"/>
                    <a:gd name="T8" fmla="*/ 14 w 23"/>
                    <a:gd name="T9" fmla="*/ 21 h 23"/>
                    <a:gd name="T10" fmla="*/ 23 w 23"/>
                    <a:gd name="T11" fmla="*/ 23 h 23"/>
                    <a:gd name="T12" fmla="*/ 21 w 23"/>
                    <a:gd name="T13" fmla="*/ 15 h 23"/>
                    <a:gd name="T14" fmla="*/ 14 w 23"/>
                    <a:gd name="T15" fmla="*/ 1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3" h="23">
                      <a:moveTo>
                        <a:pt x="14" y="10"/>
                      </a:moveTo>
                      <a:lnTo>
                        <a:pt x="8" y="4"/>
                      </a:lnTo>
                      <a:lnTo>
                        <a:pt x="0" y="0"/>
                      </a:lnTo>
                      <a:lnTo>
                        <a:pt x="6" y="8"/>
                      </a:lnTo>
                      <a:lnTo>
                        <a:pt x="14" y="21"/>
                      </a:lnTo>
                      <a:lnTo>
                        <a:pt x="23" y="23"/>
                      </a:lnTo>
                      <a:lnTo>
                        <a:pt x="21" y="15"/>
                      </a:lnTo>
                      <a:lnTo>
                        <a:pt x="14" y="1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0" name="Freeform 322"/>
                <p:cNvSpPr>
                  <a:spLocks/>
                </p:cNvSpPr>
                <p:nvPr/>
              </p:nvSpPr>
              <p:spPr bwMode="auto">
                <a:xfrm>
                  <a:off x="1304419" y="2862007"/>
                  <a:ext cx="22096" cy="20057"/>
                </a:xfrm>
                <a:custGeom>
                  <a:avLst/>
                  <a:gdLst>
                    <a:gd name="T0" fmla="*/ 14 w 23"/>
                    <a:gd name="T1" fmla="*/ 10 h 23"/>
                    <a:gd name="T2" fmla="*/ 8 w 23"/>
                    <a:gd name="T3" fmla="*/ 4 h 23"/>
                    <a:gd name="T4" fmla="*/ 0 w 23"/>
                    <a:gd name="T5" fmla="*/ 0 h 23"/>
                    <a:gd name="T6" fmla="*/ 6 w 23"/>
                    <a:gd name="T7" fmla="*/ 8 h 23"/>
                    <a:gd name="T8" fmla="*/ 14 w 23"/>
                    <a:gd name="T9" fmla="*/ 21 h 23"/>
                    <a:gd name="T10" fmla="*/ 23 w 23"/>
                    <a:gd name="T11" fmla="*/ 23 h 23"/>
                    <a:gd name="T12" fmla="*/ 21 w 23"/>
                    <a:gd name="T13" fmla="*/ 15 h 23"/>
                    <a:gd name="T14" fmla="*/ 14 w 23"/>
                    <a:gd name="T15" fmla="*/ 1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3" h="23">
                      <a:moveTo>
                        <a:pt x="14" y="10"/>
                      </a:moveTo>
                      <a:lnTo>
                        <a:pt x="8" y="4"/>
                      </a:lnTo>
                      <a:lnTo>
                        <a:pt x="0" y="0"/>
                      </a:lnTo>
                      <a:lnTo>
                        <a:pt x="6" y="8"/>
                      </a:lnTo>
                      <a:lnTo>
                        <a:pt x="14" y="21"/>
                      </a:lnTo>
                      <a:lnTo>
                        <a:pt x="23" y="23"/>
                      </a:lnTo>
                      <a:lnTo>
                        <a:pt x="21" y="15"/>
                      </a:lnTo>
                      <a:lnTo>
                        <a:pt x="14" y="1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1" name="Freeform 323"/>
                <p:cNvSpPr>
                  <a:spLocks/>
                </p:cNvSpPr>
                <p:nvPr/>
              </p:nvSpPr>
              <p:spPr bwMode="auto">
                <a:xfrm>
                  <a:off x="1304419" y="2862007"/>
                  <a:ext cx="22096" cy="20057"/>
                </a:xfrm>
                <a:custGeom>
                  <a:avLst/>
                  <a:gdLst>
                    <a:gd name="T0" fmla="*/ 14 w 23"/>
                    <a:gd name="T1" fmla="*/ 10 h 23"/>
                    <a:gd name="T2" fmla="*/ 8 w 23"/>
                    <a:gd name="T3" fmla="*/ 4 h 23"/>
                    <a:gd name="T4" fmla="*/ 0 w 23"/>
                    <a:gd name="T5" fmla="*/ 0 h 23"/>
                    <a:gd name="T6" fmla="*/ 6 w 23"/>
                    <a:gd name="T7" fmla="*/ 8 h 23"/>
                    <a:gd name="T8" fmla="*/ 14 w 23"/>
                    <a:gd name="T9" fmla="*/ 21 h 23"/>
                    <a:gd name="T10" fmla="*/ 23 w 23"/>
                    <a:gd name="T11" fmla="*/ 23 h 23"/>
                    <a:gd name="T12" fmla="*/ 21 w 23"/>
                    <a:gd name="T13" fmla="*/ 15 h 23"/>
                    <a:gd name="T14" fmla="*/ 14 w 23"/>
                    <a:gd name="T15" fmla="*/ 1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3" h="23">
                      <a:moveTo>
                        <a:pt x="14" y="10"/>
                      </a:moveTo>
                      <a:lnTo>
                        <a:pt x="8" y="4"/>
                      </a:lnTo>
                      <a:lnTo>
                        <a:pt x="0" y="0"/>
                      </a:lnTo>
                      <a:lnTo>
                        <a:pt x="6" y="8"/>
                      </a:lnTo>
                      <a:lnTo>
                        <a:pt x="14" y="21"/>
                      </a:lnTo>
                      <a:lnTo>
                        <a:pt x="23" y="23"/>
                      </a:lnTo>
                      <a:lnTo>
                        <a:pt x="21" y="15"/>
                      </a:lnTo>
                      <a:lnTo>
                        <a:pt x="14" y="1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  <p:grpSp>
            <p:nvGrpSpPr>
              <p:cNvPr id="452" name="Group 451"/>
              <p:cNvGrpSpPr/>
              <p:nvPr/>
            </p:nvGrpSpPr>
            <p:grpSpPr>
              <a:xfrm>
                <a:off x="4813819" y="2127748"/>
                <a:ext cx="108558" cy="225859"/>
                <a:chOff x="4813819" y="2127748"/>
                <a:chExt cx="108558" cy="225859"/>
              </a:xfrm>
              <a:grpFill/>
            </p:grpSpPr>
            <p:sp>
              <p:nvSpPr>
                <p:cNvPr id="370" name="Freeform 131"/>
                <p:cNvSpPr>
                  <a:spLocks/>
                </p:cNvSpPr>
                <p:nvPr/>
              </p:nvSpPr>
              <p:spPr bwMode="auto">
                <a:xfrm>
                  <a:off x="4813819" y="2127748"/>
                  <a:ext cx="108558" cy="225859"/>
                </a:xfrm>
                <a:custGeom>
                  <a:avLst/>
                  <a:gdLst>
                    <a:gd name="T0" fmla="*/ 15 w 113"/>
                    <a:gd name="T1" fmla="*/ 15 h 259"/>
                    <a:gd name="T2" fmla="*/ 5 w 113"/>
                    <a:gd name="T3" fmla="*/ 40 h 259"/>
                    <a:gd name="T4" fmla="*/ 2 w 113"/>
                    <a:gd name="T5" fmla="*/ 51 h 259"/>
                    <a:gd name="T6" fmla="*/ 7 w 113"/>
                    <a:gd name="T7" fmla="*/ 60 h 259"/>
                    <a:gd name="T8" fmla="*/ 0 w 113"/>
                    <a:gd name="T9" fmla="*/ 73 h 259"/>
                    <a:gd name="T10" fmla="*/ 9 w 113"/>
                    <a:gd name="T11" fmla="*/ 92 h 259"/>
                    <a:gd name="T12" fmla="*/ 17 w 113"/>
                    <a:gd name="T13" fmla="*/ 102 h 259"/>
                    <a:gd name="T14" fmla="*/ 28 w 113"/>
                    <a:gd name="T15" fmla="*/ 107 h 259"/>
                    <a:gd name="T16" fmla="*/ 51 w 113"/>
                    <a:gd name="T17" fmla="*/ 126 h 259"/>
                    <a:gd name="T18" fmla="*/ 39 w 113"/>
                    <a:gd name="T19" fmla="*/ 139 h 259"/>
                    <a:gd name="T20" fmla="*/ 32 w 113"/>
                    <a:gd name="T21" fmla="*/ 147 h 259"/>
                    <a:gd name="T22" fmla="*/ 30 w 113"/>
                    <a:gd name="T23" fmla="*/ 149 h 259"/>
                    <a:gd name="T24" fmla="*/ 28 w 113"/>
                    <a:gd name="T25" fmla="*/ 162 h 259"/>
                    <a:gd name="T26" fmla="*/ 19 w 113"/>
                    <a:gd name="T27" fmla="*/ 169 h 259"/>
                    <a:gd name="T28" fmla="*/ 7 w 113"/>
                    <a:gd name="T29" fmla="*/ 177 h 259"/>
                    <a:gd name="T30" fmla="*/ 2 w 113"/>
                    <a:gd name="T31" fmla="*/ 194 h 259"/>
                    <a:gd name="T32" fmla="*/ 0 w 113"/>
                    <a:gd name="T33" fmla="*/ 199 h 259"/>
                    <a:gd name="T34" fmla="*/ 4 w 113"/>
                    <a:gd name="T35" fmla="*/ 207 h 259"/>
                    <a:gd name="T36" fmla="*/ 17 w 113"/>
                    <a:gd name="T37" fmla="*/ 222 h 259"/>
                    <a:gd name="T38" fmla="*/ 30 w 113"/>
                    <a:gd name="T39" fmla="*/ 228 h 259"/>
                    <a:gd name="T40" fmla="*/ 49 w 113"/>
                    <a:gd name="T41" fmla="*/ 233 h 259"/>
                    <a:gd name="T42" fmla="*/ 66 w 113"/>
                    <a:gd name="T43" fmla="*/ 241 h 259"/>
                    <a:gd name="T44" fmla="*/ 64 w 113"/>
                    <a:gd name="T45" fmla="*/ 259 h 259"/>
                    <a:gd name="T46" fmla="*/ 73 w 113"/>
                    <a:gd name="T47" fmla="*/ 254 h 259"/>
                    <a:gd name="T48" fmla="*/ 79 w 113"/>
                    <a:gd name="T49" fmla="*/ 239 h 259"/>
                    <a:gd name="T50" fmla="*/ 86 w 113"/>
                    <a:gd name="T51" fmla="*/ 218 h 259"/>
                    <a:gd name="T52" fmla="*/ 83 w 113"/>
                    <a:gd name="T53" fmla="*/ 214 h 259"/>
                    <a:gd name="T54" fmla="*/ 96 w 113"/>
                    <a:gd name="T55" fmla="*/ 207 h 259"/>
                    <a:gd name="T56" fmla="*/ 96 w 113"/>
                    <a:gd name="T57" fmla="*/ 194 h 259"/>
                    <a:gd name="T58" fmla="*/ 99 w 113"/>
                    <a:gd name="T59" fmla="*/ 184 h 259"/>
                    <a:gd name="T60" fmla="*/ 105 w 113"/>
                    <a:gd name="T61" fmla="*/ 169 h 259"/>
                    <a:gd name="T62" fmla="*/ 105 w 113"/>
                    <a:gd name="T63" fmla="*/ 156 h 259"/>
                    <a:gd name="T64" fmla="*/ 105 w 113"/>
                    <a:gd name="T65" fmla="*/ 139 h 259"/>
                    <a:gd name="T66" fmla="*/ 105 w 113"/>
                    <a:gd name="T67" fmla="*/ 132 h 259"/>
                    <a:gd name="T68" fmla="*/ 111 w 113"/>
                    <a:gd name="T69" fmla="*/ 130 h 259"/>
                    <a:gd name="T70" fmla="*/ 111 w 113"/>
                    <a:gd name="T71" fmla="*/ 150 h 259"/>
                    <a:gd name="T72" fmla="*/ 111 w 113"/>
                    <a:gd name="T73" fmla="*/ 124 h 259"/>
                    <a:gd name="T74" fmla="*/ 109 w 113"/>
                    <a:gd name="T75" fmla="*/ 96 h 259"/>
                    <a:gd name="T76" fmla="*/ 92 w 113"/>
                    <a:gd name="T77" fmla="*/ 85 h 259"/>
                    <a:gd name="T78" fmla="*/ 81 w 113"/>
                    <a:gd name="T79" fmla="*/ 85 h 259"/>
                    <a:gd name="T80" fmla="*/ 84 w 113"/>
                    <a:gd name="T81" fmla="*/ 58 h 259"/>
                    <a:gd name="T82" fmla="*/ 94 w 113"/>
                    <a:gd name="T83" fmla="*/ 53 h 259"/>
                    <a:gd name="T84" fmla="*/ 96 w 113"/>
                    <a:gd name="T85" fmla="*/ 38 h 259"/>
                    <a:gd name="T86" fmla="*/ 96 w 113"/>
                    <a:gd name="T87" fmla="*/ 23 h 259"/>
                    <a:gd name="T88" fmla="*/ 17 w 113"/>
                    <a:gd name="T89" fmla="*/ 9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13" h="259">
                      <a:moveTo>
                        <a:pt x="17" y="9"/>
                      </a:moveTo>
                      <a:lnTo>
                        <a:pt x="15" y="15"/>
                      </a:lnTo>
                      <a:lnTo>
                        <a:pt x="15" y="23"/>
                      </a:lnTo>
                      <a:lnTo>
                        <a:pt x="5" y="40"/>
                      </a:lnTo>
                      <a:lnTo>
                        <a:pt x="0" y="47"/>
                      </a:lnTo>
                      <a:lnTo>
                        <a:pt x="2" y="51"/>
                      </a:lnTo>
                      <a:lnTo>
                        <a:pt x="5" y="53"/>
                      </a:lnTo>
                      <a:lnTo>
                        <a:pt x="7" y="60"/>
                      </a:lnTo>
                      <a:lnTo>
                        <a:pt x="5" y="66"/>
                      </a:lnTo>
                      <a:lnTo>
                        <a:pt x="0" y="73"/>
                      </a:lnTo>
                      <a:lnTo>
                        <a:pt x="4" y="85"/>
                      </a:lnTo>
                      <a:lnTo>
                        <a:pt x="9" y="92"/>
                      </a:lnTo>
                      <a:lnTo>
                        <a:pt x="17" y="94"/>
                      </a:lnTo>
                      <a:lnTo>
                        <a:pt x="17" y="102"/>
                      </a:lnTo>
                      <a:lnTo>
                        <a:pt x="24" y="105"/>
                      </a:lnTo>
                      <a:lnTo>
                        <a:pt x="28" y="107"/>
                      </a:lnTo>
                      <a:lnTo>
                        <a:pt x="34" y="113"/>
                      </a:lnTo>
                      <a:lnTo>
                        <a:pt x="51" y="126"/>
                      </a:lnTo>
                      <a:lnTo>
                        <a:pt x="47" y="132"/>
                      </a:lnTo>
                      <a:lnTo>
                        <a:pt x="39" y="139"/>
                      </a:lnTo>
                      <a:lnTo>
                        <a:pt x="34" y="147"/>
                      </a:lnTo>
                      <a:lnTo>
                        <a:pt x="32" y="147"/>
                      </a:lnTo>
                      <a:lnTo>
                        <a:pt x="32" y="149"/>
                      </a:lnTo>
                      <a:lnTo>
                        <a:pt x="30" y="149"/>
                      </a:lnTo>
                      <a:lnTo>
                        <a:pt x="28" y="156"/>
                      </a:lnTo>
                      <a:lnTo>
                        <a:pt x="28" y="162"/>
                      </a:lnTo>
                      <a:lnTo>
                        <a:pt x="20" y="167"/>
                      </a:lnTo>
                      <a:lnTo>
                        <a:pt x="19" y="169"/>
                      </a:lnTo>
                      <a:lnTo>
                        <a:pt x="13" y="171"/>
                      </a:lnTo>
                      <a:lnTo>
                        <a:pt x="7" y="177"/>
                      </a:lnTo>
                      <a:lnTo>
                        <a:pt x="4" y="184"/>
                      </a:lnTo>
                      <a:lnTo>
                        <a:pt x="2" y="194"/>
                      </a:lnTo>
                      <a:lnTo>
                        <a:pt x="0" y="197"/>
                      </a:lnTo>
                      <a:lnTo>
                        <a:pt x="0" y="199"/>
                      </a:lnTo>
                      <a:lnTo>
                        <a:pt x="4" y="207"/>
                      </a:lnTo>
                      <a:lnTo>
                        <a:pt x="4" y="207"/>
                      </a:lnTo>
                      <a:lnTo>
                        <a:pt x="4" y="211"/>
                      </a:lnTo>
                      <a:lnTo>
                        <a:pt x="17" y="222"/>
                      </a:lnTo>
                      <a:lnTo>
                        <a:pt x="22" y="224"/>
                      </a:lnTo>
                      <a:lnTo>
                        <a:pt x="30" y="228"/>
                      </a:lnTo>
                      <a:lnTo>
                        <a:pt x="41" y="237"/>
                      </a:lnTo>
                      <a:lnTo>
                        <a:pt x="49" y="233"/>
                      </a:lnTo>
                      <a:lnTo>
                        <a:pt x="62" y="233"/>
                      </a:lnTo>
                      <a:lnTo>
                        <a:pt x="66" y="241"/>
                      </a:lnTo>
                      <a:lnTo>
                        <a:pt x="62" y="252"/>
                      </a:lnTo>
                      <a:lnTo>
                        <a:pt x="64" y="259"/>
                      </a:lnTo>
                      <a:lnTo>
                        <a:pt x="69" y="258"/>
                      </a:lnTo>
                      <a:lnTo>
                        <a:pt x="73" y="254"/>
                      </a:lnTo>
                      <a:lnTo>
                        <a:pt x="75" y="246"/>
                      </a:lnTo>
                      <a:lnTo>
                        <a:pt x="79" y="239"/>
                      </a:lnTo>
                      <a:lnTo>
                        <a:pt x="83" y="226"/>
                      </a:lnTo>
                      <a:lnTo>
                        <a:pt x="86" y="218"/>
                      </a:lnTo>
                      <a:lnTo>
                        <a:pt x="83" y="218"/>
                      </a:lnTo>
                      <a:lnTo>
                        <a:pt x="83" y="214"/>
                      </a:lnTo>
                      <a:lnTo>
                        <a:pt x="88" y="207"/>
                      </a:lnTo>
                      <a:lnTo>
                        <a:pt x="96" y="207"/>
                      </a:lnTo>
                      <a:lnTo>
                        <a:pt x="92" y="201"/>
                      </a:lnTo>
                      <a:lnTo>
                        <a:pt x="96" y="194"/>
                      </a:lnTo>
                      <a:lnTo>
                        <a:pt x="94" y="188"/>
                      </a:lnTo>
                      <a:lnTo>
                        <a:pt x="99" y="184"/>
                      </a:lnTo>
                      <a:lnTo>
                        <a:pt x="101" y="177"/>
                      </a:lnTo>
                      <a:lnTo>
                        <a:pt x="105" y="169"/>
                      </a:lnTo>
                      <a:lnTo>
                        <a:pt x="109" y="164"/>
                      </a:lnTo>
                      <a:lnTo>
                        <a:pt x="105" y="156"/>
                      </a:lnTo>
                      <a:lnTo>
                        <a:pt x="107" y="150"/>
                      </a:lnTo>
                      <a:lnTo>
                        <a:pt x="105" y="139"/>
                      </a:lnTo>
                      <a:lnTo>
                        <a:pt x="103" y="132"/>
                      </a:lnTo>
                      <a:lnTo>
                        <a:pt x="105" y="132"/>
                      </a:lnTo>
                      <a:lnTo>
                        <a:pt x="107" y="124"/>
                      </a:lnTo>
                      <a:lnTo>
                        <a:pt x="111" y="130"/>
                      </a:lnTo>
                      <a:lnTo>
                        <a:pt x="109" y="137"/>
                      </a:lnTo>
                      <a:lnTo>
                        <a:pt x="111" y="150"/>
                      </a:lnTo>
                      <a:lnTo>
                        <a:pt x="113" y="143"/>
                      </a:lnTo>
                      <a:lnTo>
                        <a:pt x="111" y="124"/>
                      </a:lnTo>
                      <a:lnTo>
                        <a:pt x="109" y="117"/>
                      </a:lnTo>
                      <a:lnTo>
                        <a:pt x="109" y="96"/>
                      </a:lnTo>
                      <a:lnTo>
                        <a:pt x="107" y="87"/>
                      </a:lnTo>
                      <a:lnTo>
                        <a:pt x="92" y="85"/>
                      </a:lnTo>
                      <a:lnTo>
                        <a:pt x="86" y="87"/>
                      </a:lnTo>
                      <a:lnTo>
                        <a:pt x="81" y="85"/>
                      </a:lnTo>
                      <a:lnTo>
                        <a:pt x="81" y="66"/>
                      </a:lnTo>
                      <a:lnTo>
                        <a:pt x="84" y="58"/>
                      </a:lnTo>
                      <a:lnTo>
                        <a:pt x="86" y="58"/>
                      </a:lnTo>
                      <a:lnTo>
                        <a:pt x="94" y="53"/>
                      </a:lnTo>
                      <a:lnTo>
                        <a:pt x="92" y="47"/>
                      </a:lnTo>
                      <a:lnTo>
                        <a:pt x="96" y="38"/>
                      </a:lnTo>
                      <a:lnTo>
                        <a:pt x="96" y="30"/>
                      </a:lnTo>
                      <a:lnTo>
                        <a:pt x="96" y="23"/>
                      </a:lnTo>
                      <a:lnTo>
                        <a:pt x="24" y="0"/>
                      </a:lnTo>
                      <a:lnTo>
                        <a:pt x="17" y="9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2" name="Freeform 324"/>
                <p:cNvSpPr>
                  <a:spLocks/>
                </p:cNvSpPr>
                <p:nvPr/>
              </p:nvSpPr>
              <p:spPr bwMode="auto">
                <a:xfrm>
                  <a:off x="4914692" y="2269019"/>
                  <a:ext cx="5764" cy="17441"/>
                </a:xfrm>
                <a:custGeom>
                  <a:avLst/>
                  <a:gdLst>
                    <a:gd name="T0" fmla="*/ 6 w 6"/>
                    <a:gd name="T1" fmla="*/ 0 h 20"/>
                    <a:gd name="T2" fmla="*/ 0 w 6"/>
                    <a:gd name="T3" fmla="*/ 20 h 20"/>
                    <a:gd name="T4" fmla="*/ 6 w 6"/>
                    <a:gd name="T5" fmla="*/ 5 h 20"/>
                    <a:gd name="T6" fmla="*/ 6 w 6"/>
                    <a:gd name="T7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20">
                      <a:moveTo>
                        <a:pt x="6" y="0"/>
                      </a:moveTo>
                      <a:lnTo>
                        <a:pt x="0" y="20"/>
                      </a:lnTo>
                      <a:lnTo>
                        <a:pt x="6" y="5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3" name="Freeform 325"/>
                <p:cNvSpPr>
                  <a:spLocks/>
                </p:cNvSpPr>
                <p:nvPr/>
              </p:nvSpPr>
              <p:spPr bwMode="auto">
                <a:xfrm>
                  <a:off x="4914692" y="2269019"/>
                  <a:ext cx="5764" cy="17441"/>
                </a:xfrm>
                <a:custGeom>
                  <a:avLst/>
                  <a:gdLst>
                    <a:gd name="T0" fmla="*/ 6 w 6"/>
                    <a:gd name="T1" fmla="*/ 0 h 20"/>
                    <a:gd name="T2" fmla="*/ 0 w 6"/>
                    <a:gd name="T3" fmla="*/ 20 h 20"/>
                    <a:gd name="T4" fmla="*/ 6 w 6"/>
                    <a:gd name="T5" fmla="*/ 5 h 20"/>
                    <a:gd name="T6" fmla="*/ 6 w 6"/>
                    <a:gd name="T7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20">
                      <a:moveTo>
                        <a:pt x="6" y="0"/>
                      </a:moveTo>
                      <a:lnTo>
                        <a:pt x="0" y="20"/>
                      </a:lnTo>
                      <a:lnTo>
                        <a:pt x="6" y="5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  <p:grpSp>
            <p:nvGrpSpPr>
              <p:cNvPr id="446" name="Group 445"/>
              <p:cNvGrpSpPr/>
              <p:nvPr/>
            </p:nvGrpSpPr>
            <p:grpSpPr>
              <a:xfrm>
                <a:off x="4438189" y="1771956"/>
                <a:ext cx="613881" cy="415091"/>
                <a:chOff x="4438189" y="1771956"/>
                <a:chExt cx="613881" cy="415091"/>
              </a:xfrm>
              <a:grpFill/>
            </p:grpSpPr>
            <p:sp>
              <p:nvSpPr>
                <p:cNvPr id="164" name="Freeform 326"/>
                <p:cNvSpPr>
                  <a:spLocks/>
                </p:cNvSpPr>
                <p:nvPr/>
              </p:nvSpPr>
              <p:spPr bwMode="auto">
                <a:xfrm>
                  <a:off x="4438189" y="1771956"/>
                  <a:ext cx="490913" cy="398523"/>
                </a:xfrm>
                <a:custGeom>
                  <a:avLst/>
                  <a:gdLst>
                    <a:gd name="T0" fmla="*/ 511 w 511"/>
                    <a:gd name="T1" fmla="*/ 402 h 457"/>
                    <a:gd name="T2" fmla="*/ 505 w 511"/>
                    <a:gd name="T3" fmla="*/ 389 h 457"/>
                    <a:gd name="T4" fmla="*/ 489 w 511"/>
                    <a:gd name="T5" fmla="*/ 307 h 457"/>
                    <a:gd name="T6" fmla="*/ 490 w 511"/>
                    <a:gd name="T7" fmla="*/ 233 h 457"/>
                    <a:gd name="T8" fmla="*/ 487 w 511"/>
                    <a:gd name="T9" fmla="*/ 222 h 457"/>
                    <a:gd name="T10" fmla="*/ 460 w 511"/>
                    <a:gd name="T11" fmla="*/ 143 h 457"/>
                    <a:gd name="T12" fmla="*/ 455 w 511"/>
                    <a:gd name="T13" fmla="*/ 145 h 457"/>
                    <a:gd name="T14" fmla="*/ 453 w 511"/>
                    <a:gd name="T15" fmla="*/ 119 h 457"/>
                    <a:gd name="T16" fmla="*/ 443 w 511"/>
                    <a:gd name="T17" fmla="*/ 98 h 457"/>
                    <a:gd name="T18" fmla="*/ 445 w 511"/>
                    <a:gd name="T19" fmla="*/ 81 h 457"/>
                    <a:gd name="T20" fmla="*/ 443 w 511"/>
                    <a:gd name="T21" fmla="*/ 66 h 457"/>
                    <a:gd name="T22" fmla="*/ 442 w 511"/>
                    <a:gd name="T23" fmla="*/ 53 h 457"/>
                    <a:gd name="T24" fmla="*/ 432 w 511"/>
                    <a:gd name="T25" fmla="*/ 40 h 457"/>
                    <a:gd name="T26" fmla="*/ 427 w 511"/>
                    <a:gd name="T27" fmla="*/ 15 h 457"/>
                    <a:gd name="T28" fmla="*/ 425 w 511"/>
                    <a:gd name="T29" fmla="*/ 4 h 457"/>
                    <a:gd name="T30" fmla="*/ 372 w 511"/>
                    <a:gd name="T31" fmla="*/ 15 h 457"/>
                    <a:gd name="T32" fmla="*/ 317 w 511"/>
                    <a:gd name="T33" fmla="*/ 25 h 457"/>
                    <a:gd name="T34" fmla="*/ 278 w 511"/>
                    <a:gd name="T35" fmla="*/ 58 h 457"/>
                    <a:gd name="T36" fmla="*/ 257 w 511"/>
                    <a:gd name="T37" fmla="*/ 103 h 457"/>
                    <a:gd name="T38" fmla="*/ 244 w 511"/>
                    <a:gd name="T39" fmla="*/ 122 h 457"/>
                    <a:gd name="T40" fmla="*/ 223 w 511"/>
                    <a:gd name="T41" fmla="*/ 143 h 457"/>
                    <a:gd name="T42" fmla="*/ 229 w 511"/>
                    <a:gd name="T43" fmla="*/ 154 h 457"/>
                    <a:gd name="T44" fmla="*/ 229 w 511"/>
                    <a:gd name="T45" fmla="*/ 150 h 457"/>
                    <a:gd name="T46" fmla="*/ 237 w 511"/>
                    <a:gd name="T47" fmla="*/ 158 h 457"/>
                    <a:gd name="T48" fmla="*/ 242 w 511"/>
                    <a:gd name="T49" fmla="*/ 160 h 457"/>
                    <a:gd name="T50" fmla="*/ 235 w 511"/>
                    <a:gd name="T51" fmla="*/ 169 h 457"/>
                    <a:gd name="T52" fmla="*/ 242 w 511"/>
                    <a:gd name="T53" fmla="*/ 188 h 457"/>
                    <a:gd name="T54" fmla="*/ 246 w 511"/>
                    <a:gd name="T55" fmla="*/ 201 h 457"/>
                    <a:gd name="T56" fmla="*/ 233 w 511"/>
                    <a:gd name="T57" fmla="*/ 209 h 457"/>
                    <a:gd name="T58" fmla="*/ 218 w 511"/>
                    <a:gd name="T59" fmla="*/ 222 h 457"/>
                    <a:gd name="T60" fmla="*/ 208 w 511"/>
                    <a:gd name="T61" fmla="*/ 237 h 457"/>
                    <a:gd name="T62" fmla="*/ 197 w 511"/>
                    <a:gd name="T63" fmla="*/ 246 h 457"/>
                    <a:gd name="T64" fmla="*/ 177 w 511"/>
                    <a:gd name="T65" fmla="*/ 246 h 457"/>
                    <a:gd name="T66" fmla="*/ 148 w 511"/>
                    <a:gd name="T67" fmla="*/ 258 h 457"/>
                    <a:gd name="T68" fmla="*/ 103 w 511"/>
                    <a:gd name="T69" fmla="*/ 250 h 457"/>
                    <a:gd name="T70" fmla="*/ 62 w 511"/>
                    <a:gd name="T71" fmla="*/ 261 h 457"/>
                    <a:gd name="T72" fmla="*/ 49 w 511"/>
                    <a:gd name="T73" fmla="*/ 269 h 457"/>
                    <a:gd name="T74" fmla="*/ 36 w 511"/>
                    <a:gd name="T75" fmla="*/ 276 h 457"/>
                    <a:gd name="T76" fmla="*/ 39 w 511"/>
                    <a:gd name="T77" fmla="*/ 290 h 457"/>
                    <a:gd name="T78" fmla="*/ 52 w 511"/>
                    <a:gd name="T79" fmla="*/ 297 h 457"/>
                    <a:gd name="T80" fmla="*/ 51 w 511"/>
                    <a:gd name="T81" fmla="*/ 305 h 457"/>
                    <a:gd name="T82" fmla="*/ 58 w 511"/>
                    <a:gd name="T83" fmla="*/ 327 h 457"/>
                    <a:gd name="T84" fmla="*/ 43 w 511"/>
                    <a:gd name="T85" fmla="*/ 348 h 457"/>
                    <a:gd name="T86" fmla="*/ 30 w 511"/>
                    <a:gd name="T87" fmla="*/ 363 h 457"/>
                    <a:gd name="T88" fmla="*/ 4 w 511"/>
                    <a:gd name="T89" fmla="*/ 393 h 457"/>
                    <a:gd name="T90" fmla="*/ 2 w 511"/>
                    <a:gd name="T91" fmla="*/ 397 h 457"/>
                    <a:gd name="T92" fmla="*/ 69 w 511"/>
                    <a:gd name="T93" fmla="*/ 410 h 457"/>
                    <a:gd name="T94" fmla="*/ 276 w 511"/>
                    <a:gd name="T95" fmla="*/ 369 h 457"/>
                    <a:gd name="T96" fmla="*/ 349 w 511"/>
                    <a:gd name="T97" fmla="*/ 354 h 457"/>
                    <a:gd name="T98" fmla="*/ 361 w 511"/>
                    <a:gd name="T99" fmla="*/ 363 h 457"/>
                    <a:gd name="T100" fmla="*/ 374 w 511"/>
                    <a:gd name="T101" fmla="*/ 367 h 457"/>
                    <a:gd name="T102" fmla="*/ 381 w 511"/>
                    <a:gd name="T103" fmla="*/ 389 h 457"/>
                    <a:gd name="T104" fmla="*/ 400 w 511"/>
                    <a:gd name="T105" fmla="*/ 401 h 457"/>
                    <a:gd name="T106" fmla="*/ 415 w 511"/>
                    <a:gd name="T107" fmla="*/ 406 h 457"/>
                    <a:gd name="T108" fmla="*/ 487 w 511"/>
                    <a:gd name="T109" fmla="*/ 431 h 457"/>
                    <a:gd name="T110" fmla="*/ 475 w 511"/>
                    <a:gd name="T111" fmla="*/ 408 h 457"/>
                    <a:gd name="T112" fmla="*/ 475 w 511"/>
                    <a:gd name="T113" fmla="*/ 399 h 457"/>
                    <a:gd name="T114" fmla="*/ 483 w 511"/>
                    <a:gd name="T115" fmla="*/ 410 h 457"/>
                    <a:gd name="T116" fmla="*/ 489 w 511"/>
                    <a:gd name="T117" fmla="*/ 442 h 457"/>
                    <a:gd name="T118" fmla="*/ 489 w 511"/>
                    <a:gd name="T119" fmla="*/ 457 h 457"/>
                    <a:gd name="T120" fmla="*/ 498 w 511"/>
                    <a:gd name="T121" fmla="*/ 448 h 457"/>
                    <a:gd name="T122" fmla="*/ 505 w 511"/>
                    <a:gd name="T123" fmla="*/ 425 h 457"/>
                    <a:gd name="T124" fmla="*/ 500 w 511"/>
                    <a:gd name="T125" fmla="*/ 414 h 4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511" h="457">
                      <a:moveTo>
                        <a:pt x="500" y="414"/>
                      </a:moveTo>
                      <a:lnTo>
                        <a:pt x="511" y="402"/>
                      </a:lnTo>
                      <a:lnTo>
                        <a:pt x="511" y="397"/>
                      </a:lnTo>
                      <a:lnTo>
                        <a:pt x="505" y="389"/>
                      </a:lnTo>
                      <a:lnTo>
                        <a:pt x="492" y="312"/>
                      </a:lnTo>
                      <a:lnTo>
                        <a:pt x="489" y="307"/>
                      </a:lnTo>
                      <a:lnTo>
                        <a:pt x="490" y="241"/>
                      </a:lnTo>
                      <a:lnTo>
                        <a:pt x="490" y="233"/>
                      </a:lnTo>
                      <a:lnTo>
                        <a:pt x="487" y="228"/>
                      </a:lnTo>
                      <a:lnTo>
                        <a:pt x="487" y="222"/>
                      </a:lnTo>
                      <a:lnTo>
                        <a:pt x="472" y="152"/>
                      </a:lnTo>
                      <a:lnTo>
                        <a:pt x="460" y="143"/>
                      </a:lnTo>
                      <a:lnTo>
                        <a:pt x="458" y="152"/>
                      </a:lnTo>
                      <a:lnTo>
                        <a:pt x="455" y="145"/>
                      </a:lnTo>
                      <a:lnTo>
                        <a:pt x="457" y="132"/>
                      </a:lnTo>
                      <a:lnTo>
                        <a:pt x="453" y="119"/>
                      </a:lnTo>
                      <a:lnTo>
                        <a:pt x="447" y="111"/>
                      </a:lnTo>
                      <a:lnTo>
                        <a:pt x="443" y="98"/>
                      </a:lnTo>
                      <a:lnTo>
                        <a:pt x="443" y="85"/>
                      </a:lnTo>
                      <a:lnTo>
                        <a:pt x="445" y="81"/>
                      </a:lnTo>
                      <a:lnTo>
                        <a:pt x="445" y="73"/>
                      </a:lnTo>
                      <a:lnTo>
                        <a:pt x="443" y="66"/>
                      </a:lnTo>
                      <a:lnTo>
                        <a:pt x="443" y="60"/>
                      </a:lnTo>
                      <a:lnTo>
                        <a:pt x="442" y="53"/>
                      </a:lnTo>
                      <a:lnTo>
                        <a:pt x="434" y="47"/>
                      </a:lnTo>
                      <a:lnTo>
                        <a:pt x="432" y="40"/>
                      </a:lnTo>
                      <a:lnTo>
                        <a:pt x="432" y="23"/>
                      </a:lnTo>
                      <a:lnTo>
                        <a:pt x="427" y="15"/>
                      </a:lnTo>
                      <a:lnTo>
                        <a:pt x="427" y="8"/>
                      </a:lnTo>
                      <a:lnTo>
                        <a:pt x="425" y="4"/>
                      </a:lnTo>
                      <a:lnTo>
                        <a:pt x="425" y="0"/>
                      </a:lnTo>
                      <a:lnTo>
                        <a:pt x="372" y="15"/>
                      </a:lnTo>
                      <a:lnTo>
                        <a:pt x="323" y="25"/>
                      </a:lnTo>
                      <a:lnTo>
                        <a:pt x="317" y="25"/>
                      </a:lnTo>
                      <a:lnTo>
                        <a:pt x="302" y="32"/>
                      </a:lnTo>
                      <a:lnTo>
                        <a:pt x="278" y="58"/>
                      </a:lnTo>
                      <a:lnTo>
                        <a:pt x="257" y="96"/>
                      </a:lnTo>
                      <a:lnTo>
                        <a:pt x="257" y="103"/>
                      </a:lnTo>
                      <a:lnTo>
                        <a:pt x="246" y="119"/>
                      </a:lnTo>
                      <a:lnTo>
                        <a:pt x="244" y="122"/>
                      </a:lnTo>
                      <a:lnTo>
                        <a:pt x="237" y="130"/>
                      </a:lnTo>
                      <a:lnTo>
                        <a:pt x="223" y="143"/>
                      </a:lnTo>
                      <a:lnTo>
                        <a:pt x="223" y="149"/>
                      </a:lnTo>
                      <a:lnTo>
                        <a:pt x="229" y="154"/>
                      </a:lnTo>
                      <a:lnTo>
                        <a:pt x="231" y="158"/>
                      </a:lnTo>
                      <a:lnTo>
                        <a:pt x="229" y="150"/>
                      </a:lnTo>
                      <a:lnTo>
                        <a:pt x="237" y="147"/>
                      </a:lnTo>
                      <a:lnTo>
                        <a:pt x="237" y="158"/>
                      </a:lnTo>
                      <a:lnTo>
                        <a:pt x="246" y="152"/>
                      </a:lnTo>
                      <a:lnTo>
                        <a:pt x="242" y="160"/>
                      </a:lnTo>
                      <a:lnTo>
                        <a:pt x="240" y="166"/>
                      </a:lnTo>
                      <a:lnTo>
                        <a:pt x="235" y="169"/>
                      </a:lnTo>
                      <a:lnTo>
                        <a:pt x="240" y="182"/>
                      </a:lnTo>
                      <a:lnTo>
                        <a:pt x="242" y="188"/>
                      </a:lnTo>
                      <a:lnTo>
                        <a:pt x="244" y="194"/>
                      </a:lnTo>
                      <a:lnTo>
                        <a:pt x="246" y="201"/>
                      </a:lnTo>
                      <a:lnTo>
                        <a:pt x="240" y="209"/>
                      </a:lnTo>
                      <a:lnTo>
                        <a:pt x="233" y="209"/>
                      </a:lnTo>
                      <a:lnTo>
                        <a:pt x="225" y="216"/>
                      </a:lnTo>
                      <a:lnTo>
                        <a:pt x="218" y="222"/>
                      </a:lnTo>
                      <a:lnTo>
                        <a:pt x="214" y="229"/>
                      </a:lnTo>
                      <a:lnTo>
                        <a:pt x="208" y="237"/>
                      </a:lnTo>
                      <a:lnTo>
                        <a:pt x="201" y="241"/>
                      </a:lnTo>
                      <a:lnTo>
                        <a:pt x="197" y="246"/>
                      </a:lnTo>
                      <a:lnTo>
                        <a:pt x="192" y="244"/>
                      </a:lnTo>
                      <a:lnTo>
                        <a:pt x="177" y="246"/>
                      </a:lnTo>
                      <a:lnTo>
                        <a:pt x="163" y="248"/>
                      </a:lnTo>
                      <a:lnTo>
                        <a:pt x="148" y="258"/>
                      </a:lnTo>
                      <a:lnTo>
                        <a:pt x="131" y="250"/>
                      </a:lnTo>
                      <a:lnTo>
                        <a:pt x="103" y="250"/>
                      </a:lnTo>
                      <a:lnTo>
                        <a:pt x="77" y="256"/>
                      </a:lnTo>
                      <a:lnTo>
                        <a:pt x="62" y="261"/>
                      </a:lnTo>
                      <a:lnTo>
                        <a:pt x="56" y="267"/>
                      </a:lnTo>
                      <a:lnTo>
                        <a:pt x="49" y="269"/>
                      </a:lnTo>
                      <a:lnTo>
                        <a:pt x="41" y="273"/>
                      </a:lnTo>
                      <a:lnTo>
                        <a:pt x="36" y="276"/>
                      </a:lnTo>
                      <a:lnTo>
                        <a:pt x="36" y="276"/>
                      </a:lnTo>
                      <a:lnTo>
                        <a:pt x="39" y="290"/>
                      </a:lnTo>
                      <a:lnTo>
                        <a:pt x="37" y="295"/>
                      </a:lnTo>
                      <a:lnTo>
                        <a:pt x="52" y="297"/>
                      </a:lnTo>
                      <a:lnTo>
                        <a:pt x="52" y="301"/>
                      </a:lnTo>
                      <a:lnTo>
                        <a:pt x="51" y="305"/>
                      </a:lnTo>
                      <a:lnTo>
                        <a:pt x="58" y="320"/>
                      </a:lnTo>
                      <a:lnTo>
                        <a:pt x="58" y="327"/>
                      </a:lnTo>
                      <a:lnTo>
                        <a:pt x="47" y="340"/>
                      </a:lnTo>
                      <a:lnTo>
                        <a:pt x="43" y="348"/>
                      </a:lnTo>
                      <a:lnTo>
                        <a:pt x="37" y="354"/>
                      </a:lnTo>
                      <a:lnTo>
                        <a:pt x="30" y="363"/>
                      </a:lnTo>
                      <a:lnTo>
                        <a:pt x="19" y="376"/>
                      </a:lnTo>
                      <a:lnTo>
                        <a:pt x="4" y="393"/>
                      </a:lnTo>
                      <a:lnTo>
                        <a:pt x="0" y="395"/>
                      </a:lnTo>
                      <a:lnTo>
                        <a:pt x="2" y="397"/>
                      </a:lnTo>
                      <a:lnTo>
                        <a:pt x="5" y="421"/>
                      </a:lnTo>
                      <a:lnTo>
                        <a:pt x="69" y="410"/>
                      </a:lnTo>
                      <a:lnTo>
                        <a:pt x="167" y="391"/>
                      </a:lnTo>
                      <a:lnTo>
                        <a:pt x="276" y="369"/>
                      </a:lnTo>
                      <a:lnTo>
                        <a:pt x="349" y="352"/>
                      </a:lnTo>
                      <a:lnTo>
                        <a:pt x="349" y="354"/>
                      </a:lnTo>
                      <a:lnTo>
                        <a:pt x="357" y="355"/>
                      </a:lnTo>
                      <a:lnTo>
                        <a:pt x="361" y="363"/>
                      </a:lnTo>
                      <a:lnTo>
                        <a:pt x="366" y="361"/>
                      </a:lnTo>
                      <a:lnTo>
                        <a:pt x="374" y="367"/>
                      </a:lnTo>
                      <a:lnTo>
                        <a:pt x="380" y="382"/>
                      </a:lnTo>
                      <a:lnTo>
                        <a:pt x="381" y="389"/>
                      </a:lnTo>
                      <a:lnTo>
                        <a:pt x="387" y="397"/>
                      </a:lnTo>
                      <a:lnTo>
                        <a:pt x="400" y="401"/>
                      </a:lnTo>
                      <a:lnTo>
                        <a:pt x="408" y="402"/>
                      </a:lnTo>
                      <a:lnTo>
                        <a:pt x="415" y="406"/>
                      </a:lnTo>
                      <a:lnTo>
                        <a:pt x="415" y="408"/>
                      </a:lnTo>
                      <a:lnTo>
                        <a:pt x="487" y="431"/>
                      </a:lnTo>
                      <a:lnTo>
                        <a:pt x="481" y="414"/>
                      </a:lnTo>
                      <a:lnTo>
                        <a:pt x="475" y="408"/>
                      </a:lnTo>
                      <a:lnTo>
                        <a:pt x="474" y="401"/>
                      </a:lnTo>
                      <a:lnTo>
                        <a:pt x="475" y="399"/>
                      </a:lnTo>
                      <a:lnTo>
                        <a:pt x="477" y="406"/>
                      </a:lnTo>
                      <a:lnTo>
                        <a:pt x="483" y="410"/>
                      </a:lnTo>
                      <a:lnTo>
                        <a:pt x="487" y="421"/>
                      </a:lnTo>
                      <a:lnTo>
                        <a:pt x="489" y="442"/>
                      </a:lnTo>
                      <a:lnTo>
                        <a:pt x="485" y="457"/>
                      </a:lnTo>
                      <a:lnTo>
                        <a:pt x="489" y="457"/>
                      </a:lnTo>
                      <a:lnTo>
                        <a:pt x="490" y="449"/>
                      </a:lnTo>
                      <a:lnTo>
                        <a:pt x="498" y="448"/>
                      </a:lnTo>
                      <a:lnTo>
                        <a:pt x="500" y="440"/>
                      </a:lnTo>
                      <a:lnTo>
                        <a:pt x="505" y="425"/>
                      </a:lnTo>
                      <a:lnTo>
                        <a:pt x="500" y="417"/>
                      </a:lnTo>
                      <a:lnTo>
                        <a:pt x="500" y="414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7" name="Freeform 329"/>
                <p:cNvSpPr>
                  <a:spLocks/>
                </p:cNvSpPr>
                <p:nvPr/>
              </p:nvSpPr>
              <p:spPr bwMode="auto">
                <a:xfrm>
                  <a:off x="4906045" y="2105075"/>
                  <a:ext cx="146025" cy="81972"/>
                </a:xfrm>
                <a:custGeom>
                  <a:avLst/>
                  <a:gdLst>
                    <a:gd name="T0" fmla="*/ 139 w 152"/>
                    <a:gd name="T1" fmla="*/ 11 h 94"/>
                    <a:gd name="T2" fmla="*/ 135 w 152"/>
                    <a:gd name="T3" fmla="*/ 9 h 94"/>
                    <a:gd name="T4" fmla="*/ 129 w 152"/>
                    <a:gd name="T5" fmla="*/ 11 h 94"/>
                    <a:gd name="T6" fmla="*/ 122 w 152"/>
                    <a:gd name="T7" fmla="*/ 15 h 94"/>
                    <a:gd name="T8" fmla="*/ 112 w 152"/>
                    <a:gd name="T9" fmla="*/ 28 h 94"/>
                    <a:gd name="T10" fmla="*/ 109 w 152"/>
                    <a:gd name="T11" fmla="*/ 30 h 94"/>
                    <a:gd name="T12" fmla="*/ 101 w 152"/>
                    <a:gd name="T13" fmla="*/ 32 h 94"/>
                    <a:gd name="T14" fmla="*/ 107 w 152"/>
                    <a:gd name="T15" fmla="*/ 24 h 94"/>
                    <a:gd name="T16" fmla="*/ 114 w 152"/>
                    <a:gd name="T17" fmla="*/ 19 h 94"/>
                    <a:gd name="T18" fmla="*/ 114 w 152"/>
                    <a:gd name="T19" fmla="*/ 11 h 94"/>
                    <a:gd name="T20" fmla="*/ 120 w 152"/>
                    <a:gd name="T21" fmla="*/ 0 h 94"/>
                    <a:gd name="T22" fmla="*/ 99 w 152"/>
                    <a:gd name="T23" fmla="*/ 24 h 94"/>
                    <a:gd name="T24" fmla="*/ 86 w 152"/>
                    <a:gd name="T25" fmla="*/ 30 h 94"/>
                    <a:gd name="T26" fmla="*/ 65 w 152"/>
                    <a:gd name="T27" fmla="*/ 35 h 94"/>
                    <a:gd name="T28" fmla="*/ 60 w 152"/>
                    <a:gd name="T29" fmla="*/ 37 h 94"/>
                    <a:gd name="T30" fmla="*/ 56 w 152"/>
                    <a:gd name="T31" fmla="*/ 43 h 94"/>
                    <a:gd name="T32" fmla="*/ 49 w 152"/>
                    <a:gd name="T33" fmla="*/ 43 h 94"/>
                    <a:gd name="T34" fmla="*/ 35 w 152"/>
                    <a:gd name="T35" fmla="*/ 50 h 94"/>
                    <a:gd name="T36" fmla="*/ 30 w 152"/>
                    <a:gd name="T37" fmla="*/ 50 h 94"/>
                    <a:gd name="T38" fmla="*/ 22 w 152"/>
                    <a:gd name="T39" fmla="*/ 54 h 94"/>
                    <a:gd name="T40" fmla="*/ 24 w 152"/>
                    <a:gd name="T41" fmla="*/ 62 h 94"/>
                    <a:gd name="T42" fmla="*/ 17 w 152"/>
                    <a:gd name="T43" fmla="*/ 60 h 94"/>
                    <a:gd name="T44" fmla="*/ 15 w 152"/>
                    <a:gd name="T45" fmla="*/ 67 h 94"/>
                    <a:gd name="T46" fmla="*/ 2 w 152"/>
                    <a:gd name="T47" fmla="*/ 75 h 94"/>
                    <a:gd name="T48" fmla="*/ 0 w 152"/>
                    <a:gd name="T49" fmla="*/ 84 h 94"/>
                    <a:gd name="T50" fmla="*/ 0 w 152"/>
                    <a:gd name="T51" fmla="*/ 90 h 94"/>
                    <a:gd name="T52" fmla="*/ 2 w 152"/>
                    <a:gd name="T53" fmla="*/ 92 h 94"/>
                    <a:gd name="T54" fmla="*/ 15 w 152"/>
                    <a:gd name="T55" fmla="*/ 88 h 94"/>
                    <a:gd name="T56" fmla="*/ 7 w 152"/>
                    <a:gd name="T57" fmla="*/ 94 h 94"/>
                    <a:gd name="T58" fmla="*/ 22 w 152"/>
                    <a:gd name="T59" fmla="*/ 88 h 94"/>
                    <a:gd name="T60" fmla="*/ 47 w 152"/>
                    <a:gd name="T61" fmla="*/ 73 h 94"/>
                    <a:gd name="T62" fmla="*/ 49 w 152"/>
                    <a:gd name="T63" fmla="*/ 73 h 94"/>
                    <a:gd name="T64" fmla="*/ 58 w 152"/>
                    <a:gd name="T65" fmla="*/ 67 h 94"/>
                    <a:gd name="T66" fmla="*/ 64 w 152"/>
                    <a:gd name="T67" fmla="*/ 64 h 94"/>
                    <a:gd name="T68" fmla="*/ 79 w 152"/>
                    <a:gd name="T69" fmla="*/ 56 h 94"/>
                    <a:gd name="T70" fmla="*/ 86 w 152"/>
                    <a:gd name="T71" fmla="*/ 52 h 94"/>
                    <a:gd name="T72" fmla="*/ 94 w 152"/>
                    <a:gd name="T73" fmla="*/ 49 h 94"/>
                    <a:gd name="T74" fmla="*/ 99 w 152"/>
                    <a:gd name="T75" fmla="*/ 47 h 94"/>
                    <a:gd name="T76" fmla="*/ 112 w 152"/>
                    <a:gd name="T77" fmla="*/ 37 h 94"/>
                    <a:gd name="T78" fmla="*/ 114 w 152"/>
                    <a:gd name="T79" fmla="*/ 32 h 94"/>
                    <a:gd name="T80" fmla="*/ 122 w 152"/>
                    <a:gd name="T81" fmla="*/ 30 h 94"/>
                    <a:gd name="T82" fmla="*/ 135 w 152"/>
                    <a:gd name="T83" fmla="*/ 19 h 94"/>
                    <a:gd name="T84" fmla="*/ 143 w 152"/>
                    <a:gd name="T85" fmla="*/ 15 h 94"/>
                    <a:gd name="T86" fmla="*/ 152 w 152"/>
                    <a:gd name="T87" fmla="*/ 3 h 94"/>
                    <a:gd name="T88" fmla="*/ 144 w 152"/>
                    <a:gd name="T89" fmla="*/ 7 h 94"/>
                    <a:gd name="T90" fmla="*/ 139 w 152"/>
                    <a:gd name="T91" fmla="*/ 11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52" h="94">
                      <a:moveTo>
                        <a:pt x="139" y="11"/>
                      </a:moveTo>
                      <a:lnTo>
                        <a:pt x="135" y="9"/>
                      </a:lnTo>
                      <a:lnTo>
                        <a:pt x="129" y="11"/>
                      </a:lnTo>
                      <a:lnTo>
                        <a:pt x="122" y="15"/>
                      </a:lnTo>
                      <a:lnTo>
                        <a:pt x="112" y="28"/>
                      </a:lnTo>
                      <a:lnTo>
                        <a:pt x="109" y="30"/>
                      </a:lnTo>
                      <a:lnTo>
                        <a:pt x="101" y="32"/>
                      </a:lnTo>
                      <a:lnTo>
                        <a:pt x="107" y="24"/>
                      </a:lnTo>
                      <a:lnTo>
                        <a:pt x="114" y="19"/>
                      </a:lnTo>
                      <a:lnTo>
                        <a:pt x="114" y="11"/>
                      </a:lnTo>
                      <a:lnTo>
                        <a:pt x="120" y="0"/>
                      </a:lnTo>
                      <a:lnTo>
                        <a:pt x="99" y="24"/>
                      </a:lnTo>
                      <a:lnTo>
                        <a:pt x="86" y="30"/>
                      </a:lnTo>
                      <a:lnTo>
                        <a:pt x="65" y="35"/>
                      </a:lnTo>
                      <a:lnTo>
                        <a:pt x="60" y="37"/>
                      </a:lnTo>
                      <a:lnTo>
                        <a:pt x="56" y="43"/>
                      </a:lnTo>
                      <a:lnTo>
                        <a:pt x="49" y="43"/>
                      </a:lnTo>
                      <a:lnTo>
                        <a:pt x="35" y="50"/>
                      </a:lnTo>
                      <a:lnTo>
                        <a:pt x="30" y="50"/>
                      </a:lnTo>
                      <a:lnTo>
                        <a:pt x="22" y="54"/>
                      </a:lnTo>
                      <a:lnTo>
                        <a:pt x="24" y="62"/>
                      </a:lnTo>
                      <a:lnTo>
                        <a:pt x="17" y="60"/>
                      </a:lnTo>
                      <a:lnTo>
                        <a:pt x="15" y="67"/>
                      </a:lnTo>
                      <a:lnTo>
                        <a:pt x="2" y="75"/>
                      </a:lnTo>
                      <a:lnTo>
                        <a:pt x="0" y="84"/>
                      </a:lnTo>
                      <a:lnTo>
                        <a:pt x="0" y="90"/>
                      </a:lnTo>
                      <a:lnTo>
                        <a:pt x="2" y="92"/>
                      </a:lnTo>
                      <a:lnTo>
                        <a:pt x="15" y="88"/>
                      </a:lnTo>
                      <a:lnTo>
                        <a:pt x="7" y="94"/>
                      </a:lnTo>
                      <a:lnTo>
                        <a:pt x="22" y="88"/>
                      </a:lnTo>
                      <a:lnTo>
                        <a:pt x="47" y="73"/>
                      </a:lnTo>
                      <a:lnTo>
                        <a:pt x="49" y="73"/>
                      </a:lnTo>
                      <a:lnTo>
                        <a:pt x="58" y="67"/>
                      </a:lnTo>
                      <a:lnTo>
                        <a:pt x="64" y="64"/>
                      </a:lnTo>
                      <a:lnTo>
                        <a:pt x="79" y="56"/>
                      </a:lnTo>
                      <a:lnTo>
                        <a:pt x="86" y="52"/>
                      </a:lnTo>
                      <a:lnTo>
                        <a:pt x="94" y="49"/>
                      </a:lnTo>
                      <a:lnTo>
                        <a:pt x="99" y="47"/>
                      </a:lnTo>
                      <a:lnTo>
                        <a:pt x="112" y="37"/>
                      </a:lnTo>
                      <a:lnTo>
                        <a:pt x="114" y="32"/>
                      </a:lnTo>
                      <a:lnTo>
                        <a:pt x="122" y="30"/>
                      </a:lnTo>
                      <a:lnTo>
                        <a:pt x="135" y="19"/>
                      </a:lnTo>
                      <a:lnTo>
                        <a:pt x="143" y="15"/>
                      </a:lnTo>
                      <a:lnTo>
                        <a:pt x="152" y="3"/>
                      </a:lnTo>
                      <a:lnTo>
                        <a:pt x="144" y="7"/>
                      </a:lnTo>
                      <a:lnTo>
                        <a:pt x="139" y="11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  <p:grpSp>
            <p:nvGrpSpPr>
              <p:cNvPr id="447" name="Group 446"/>
              <p:cNvGrpSpPr/>
              <p:nvPr/>
            </p:nvGrpSpPr>
            <p:grpSpPr>
              <a:xfrm>
                <a:off x="4907967" y="1921074"/>
                <a:ext cx="285325" cy="141272"/>
                <a:chOff x="4907967" y="1921074"/>
                <a:chExt cx="285325" cy="141272"/>
              </a:xfrm>
              <a:grpFill/>
            </p:grpSpPr>
            <p:sp>
              <p:nvSpPr>
                <p:cNvPr id="383" name="Freeform 144"/>
                <p:cNvSpPr>
                  <a:spLocks/>
                </p:cNvSpPr>
                <p:nvPr/>
              </p:nvSpPr>
              <p:spPr bwMode="auto">
                <a:xfrm>
                  <a:off x="4907967" y="1921074"/>
                  <a:ext cx="273797" cy="131678"/>
                </a:xfrm>
                <a:custGeom>
                  <a:avLst/>
                  <a:gdLst>
                    <a:gd name="T0" fmla="*/ 169 w 285"/>
                    <a:gd name="T1" fmla="*/ 6 h 151"/>
                    <a:gd name="T2" fmla="*/ 163 w 285"/>
                    <a:gd name="T3" fmla="*/ 13 h 151"/>
                    <a:gd name="T4" fmla="*/ 150 w 285"/>
                    <a:gd name="T5" fmla="*/ 30 h 151"/>
                    <a:gd name="T6" fmla="*/ 1 w 285"/>
                    <a:gd name="T7" fmla="*/ 62 h 151"/>
                    <a:gd name="T8" fmla="*/ 0 w 285"/>
                    <a:gd name="T9" fmla="*/ 136 h 151"/>
                    <a:gd name="T10" fmla="*/ 48 w 285"/>
                    <a:gd name="T11" fmla="*/ 130 h 151"/>
                    <a:gd name="T12" fmla="*/ 69 w 285"/>
                    <a:gd name="T13" fmla="*/ 126 h 151"/>
                    <a:gd name="T14" fmla="*/ 80 w 285"/>
                    <a:gd name="T15" fmla="*/ 122 h 151"/>
                    <a:gd name="T16" fmla="*/ 129 w 285"/>
                    <a:gd name="T17" fmla="*/ 111 h 151"/>
                    <a:gd name="T18" fmla="*/ 159 w 285"/>
                    <a:gd name="T19" fmla="*/ 104 h 151"/>
                    <a:gd name="T20" fmla="*/ 169 w 285"/>
                    <a:gd name="T21" fmla="*/ 115 h 151"/>
                    <a:gd name="T22" fmla="*/ 174 w 285"/>
                    <a:gd name="T23" fmla="*/ 122 h 151"/>
                    <a:gd name="T24" fmla="*/ 178 w 285"/>
                    <a:gd name="T25" fmla="*/ 128 h 151"/>
                    <a:gd name="T26" fmla="*/ 189 w 285"/>
                    <a:gd name="T27" fmla="*/ 126 h 151"/>
                    <a:gd name="T28" fmla="*/ 191 w 285"/>
                    <a:gd name="T29" fmla="*/ 128 h 151"/>
                    <a:gd name="T30" fmla="*/ 195 w 285"/>
                    <a:gd name="T31" fmla="*/ 136 h 151"/>
                    <a:gd name="T32" fmla="*/ 199 w 285"/>
                    <a:gd name="T33" fmla="*/ 151 h 151"/>
                    <a:gd name="T34" fmla="*/ 210 w 285"/>
                    <a:gd name="T35" fmla="*/ 143 h 151"/>
                    <a:gd name="T36" fmla="*/ 221 w 285"/>
                    <a:gd name="T37" fmla="*/ 126 h 151"/>
                    <a:gd name="T38" fmla="*/ 231 w 285"/>
                    <a:gd name="T39" fmla="*/ 115 h 151"/>
                    <a:gd name="T40" fmla="*/ 235 w 285"/>
                    <a:gd name="T41" fmla="*/ 136 h 151"/>
                    <a:gd name="T42" fmla="*/ 248 w 285"/>
                    <a:gd name="T43" fmla="*/ 130 h 151"/>
                    <a:gd name="T44" fmla="*/ 253 w 285"/>
                    <a:gd name="T45" fmla="*/ 122 h 151"/>
                    <a:gd name="T46" fmla="*/ 282 w 285"/>
                    <a:gd name="T47" fmla="*/ 109 h 151"/>
                    <a:gd name="T48" fmla="*/ 282 w 285"/>
                    <a:gd name="T49" fmla="*/ 89 h 151"/>
                    <a:gd name="T50" fmla="*/ 265 w 285"/>
                    <a:gd name="T51" fmla="*/ 72 h 151"/>
                    <a:gd name="T52" fmla="*/ 250 w 285"/>
                    <a:gd name="T53" fmla="*/ 70 h 151"/>
                    <a:gd name="T54" fmla="*/ 265 w 285"/>
                    <a:gd name="T55" fmla="*/ 75 h 151"/>
                    <a:gd name="T56" fmla="*/ 274 w 285"/>
                    <a:gd name="T57" fmla="*/ 83 h 151"/>
                    <a:gd name="T58" fmla="*/ 270 w 285"/>
                    <a:gd name="T59" fmla="*/ 100 h 151"/>
                    <a:gd name="T60" fmla="*/ 250 w 285"/>
                    <a:gd name="T61" fmla="*/ 109 h 151"/>
                    <a:gd name="T62" fmla="*/ 238 w 285"/>
                    <a:gd name="T63" fmla="*/ 107 h 151"/>
                    <a:gd name="T64" fmla="*/ 225 w 285"/>
                    <a:gd name="T65" fmla="*/ 92 h 151"/>
                    <a:gd name="T66" fmla="*/ 219 w 285"/>
                    <a:gd name="T67" fmla="*/ 83 h 151"/>
                    <a:gd name="T68" fmla="*/ 219 w 285"/>
                    <a:gd name="T69" fmla="*/ 79 h 151"/>
                    <a:gd name="T70" fmla="*/ 199 w 285"/>
                    <a:gd name="T71" fmla="*/ 64 h 151"/>
                    <a:gd name="T72" fmla="*/ 186 w 285"/>
                    <a:gd name="T73" fmla="*/ 64 h 151"/>
                    <a:gd name="T74" fmla="*/ 188 w 285"/>
                    <a:gd name="T75" fmla="*/ 58 h 151"/>
                    <a:gd name="T76" fmla="*/ 191 w 285"/>
                    <a:gd name="T77" fmla="*/ 43 h 151"/>
                    <a:gd name="T78" fmla="*/ 193 w 285"/>
                    <a:gd name="T79" fmla="*/ 34 h 151"/>
                    <a:gd name="T80" fmla="*/ 208 w 285"/>
                    <a:gd name="T81" fmla="*/ 19 h 151"/>
                    <a:gd name="T82" fmla="*/ 203 w 285"/>
                    <a:gd name="T83" fmla="*/ 21 h 151"/>
                    <a:gd name="T84" fmla="*/ 189 w 285"/>
                    <a:gd name="T85" fmla="*/ 17 h 151"/>
                    <a:gd name="T86" fmla="*/ 182 w 285"/>
                    <a:gd name="T87" fmla="*/ 8 h 151"/>
                    <a:gd name="T88" fmla="*/ 180 w 285"/>
                    <a:gd name="T89" fmla="*/ 0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85" h="151">
                      <a:moveTo>
                        <a:pt x="176" y="2"/>
                      </a:moveTo>
                      <a:lnTo>
                        <a:pt x="169" y="6"/>
                      </a:lnTo>
                      <a:lnTo>
                        <a:pt x="165" y="13"/>
                      </a:lnTo>
                      <a:lnTo>
                        <a:pt x="163" y="13"/>
                      </a:lnTo>
                      <a:lnTo>
                        <a:pt x="159" y="19"/>
                      </a:lnTo>
                      <a:lnTo>
                        <a:pt x="150" y="30"/>
                      </a:lnTo>
                      <a:lnTo>
                        <a:pt x="62" y="51"/>
                      </a:lnTo>
                      <a:lnTo>
                        <a:pt x="1" y="62"/>
                      </a:lnTo>
                      <a:lnTo>
                        <a:pt x="1" y="70"/>
                      </a:lnTo>
                      <a:lnTo>
                        <a:pt x="0" y="136"/>
                      </a:lnTo>
                      <a:lnTo>
                        <a:pt x="3" y="141"/>
                      </a:lnTo>
                      <a:lnTo>
                        <a:pt x="48" y="130"/>
                      </a:lnTo>
                      <a:lnTo>
                        <a:pt x="56" y="130"/>
                      </a:lnTo>
                      <a:lnTo>
                        <a:pt x="69" y="126"/>
                      </a:lnTo>
                      <a:lnTo>
                        <a:pt x="73" y="126"/>
                      </a:lnTo>
                      <a:lnTo>
                        <a:pt x="80" y="122"/>
                      </a:lnTo>
                      <a:lnTo>
                        <a:pt x="120" y="113"/>
                      </a:lnTo>
                      <a:lnTo>
                        <a:pt x="129" y="111"/>
                      </a:lnTo>
                      <a:lnTo>
                        <a:pt x="133" y="111"/>
                      </a:lnTo>
                      <a:lnTo>
                        <a:pt x="159" y="104"/>
                      </a:lnTo>
                      <a:lnTo>
                        <a:pt x="167" y="109"/>
                      </a:lnTo>
                      <a:lnTo>
                        <a:pt x="169" y="115"/>
                      </a:lnTo>
                      <a:lnTo>
                        <a:pt x="172" y="117"/>
                      </a:lnTo>
                      <a:lnTo>
                        <a:pt x="174" y="122"/>
                      </a:lnTo>
                      <a:lnTo>
                        <a:pt x="178" y="126"/>
                      </a:lnTo>
                      <a:lnTo>
                        <a:pt x="178" y="128"/>
                      </a:lnTo>
                      <a:lnTo>
                        <a:pt x="184" y="132"/>
                      </a:lnTo>
                      <a:lnTo>
                        <a:pt x="189" y="126"/>
                      </a:lnTo>
                      <a:lnTo>
                        <a:pt x="191" y="120"/>
                      </a:lnTo>
                      <a:lnTo>
                        <a:pt x="191" y="128"/>
                      </a:lnTo>
                      <a:lnTo>
                        <a:pt x="189" y="134"/>
                      </a:lnTo>
                      <a:lnTo>
                        <a:pt x="195" y="136"/>
                      </a:lnTo>
                      <a:lnTo>
                        <a:pt x="199" y="147"/>
                      </a:lnTo>
                      <a:lnTo>
                        <a:pt x="199" y="151"/>
                      </a:lnTo>
                      <a:lnTo>
                        <a:pt x="203" y="143"/>
                      </a:lnTo>
                      <a:lnTo>
                        <a:pt x="210" y="143"/>
                      </a:lnTo>
                      <a:lnTo>
                        <a:pt x="214" y="132"/>
                      </a:lnTo>
                      <a:lnTo>
                        <a:pt x="221" y="126"/>
                      </a:lnTo>
                      <a:lnTo>
                        <a:pt x="223" y="120"/>
                      </a:lnTo>
                      <a:lnTo>
                        <a:pt x="231" y="115"/>
                      </a:lnTo>
                      <a:lnTo>
                        <a:pt x="231" y="122"/>
                      </a:lnTo>
                      <a:lnTo>
                        <a:pt x="235" y="136"/>
                      </a:lnTo>
                      <a:lnTo>
                        <a:pt x="242" y="134"/>
                      </a:lnTo>
                      <a:lnTo>
                        <a:pt x="248" y="130"/>
                      </a:lnTo>
                      <a:lnTo>
                        <a:pt x="250" y="122"/>
                      </a:lnTo>
                      <a:lnTo>
                        <a:pt x="253" y="122"/>
                      </a:lnTo>
                      <a:lnTo>
                        <a:pt x="272" y="111"/>
                      </a:lnTo>
                      <a:lnTo>
                        <a:pt x="282" y="109"/>
                      </a:lnTo>
                      <a:lnTo>
                        <a:pt x="285" y="102"/>
                      </a:lnTo>
                      <a:lnTo>
                        <a:pt x="282" y="89"/>
                      </a:lnTo>
                      <a:lnTo>
                        <a:pt x="272" y="75"/>
                      </a:lnTo>
                      <a:lnTo>
                        <a:pt x="265" y="72"/>
                      </a:lnTo>
                      <a:lnTo>
                        <a:pt x="257" y="68"/>
                      </a:lnTo>
                      <a:lnTo>
                        <a:pt x="250" y="70"/>
                      </a:lnTo>
                      <a:lnTo>
                        <a:pt x="257" y="72"/>
                      </a:lnTo>
                      <a:lnTo>
                        <a:pt x="265" y="75"/>
                      </a:lnTo>
                      <a:lnTo>
                        <a:pt x="268" y="83"/>
                      </a:lnTo>
                      <a:lnTo>
                        <a:pt x="274" y="83"/>
                      </a:lnTo>
                      <a:lnTo>
                        <a:pt x="278" y="94"/>
                      </a:lnTo>
                      <a:lnTo>
                        <a:pt x="270" y="100"/>
                      </a:lnTo>
                      <a:lnTo>
                        <a:pt x="257" y="111"/>
                      </a:lnTo>
                      <a:lnTo>
                        <a:pt x="250" y="109"/>
                      </a:lnTo>
                      <a:lnTo>
                        <a:pt x="244" y="109"/>
                      </a:lnTo>
                      <a:lnTo>
                        <a:pt x="238" y="107"/>
                      </a:lnTo>
                      <a:lnTo>
                        <a:pt x="233" y="94"/>
                      </a:lnTo>
                      <a:lnTo>
                        <a:pt x="225" y="92"/>
                      </a:lnTo>
                      <a:lnTo>
                        <a:pt x="219" y="89"/>
                      </a:lnTo>
                      <a:lnTo>
                        <a:pt x="219" y="83"/>
                      </a:lnTo>
                      <a:lnTo>
                        <a:pt x="225" y="87"/>
                      </a:lnTo>
                      <a:lnTo>
                        <a:pt x="219" y="79"/>
                      </a:lnTo>
                      <a:lnTo>
                        <a:pt x="206" y="66"/>
                      </a:lnTo>
                      <a:lnTo>
                        <a:pt x="199" y="64"/>
                      </a:lnTo>
                      <a:lnTo>
                        <a:pt x="191" y="68"/>
                      </a:lnTo>
                      <a:lnTo>
                        <a:pt x="186" y="64"/>
                      </a:lnTo>
                      <a:lnTo>
                        <a:pt x="180" y="58"/>
                      </a:lnTo>
                      <a:lnTo>
                        <a:pt x="188" y="58"/>
                      </a:lnTo>
                      <a:lnTo>
                        <a:pt x="186" y="51"/>
                      </a:lnTo>
                      <a:lnTo>
                        <a:pt x="191" y="43"/>
                      </a:lnTo>
                      <a:lnTo>
                        <a:pt x="189" y="42"/>
                      </a:lnTo>
                      <a:lnTo>
                        <a:pt x="193" y="34"/>
                      </a:lnTo>
                      <a:lnTo>
                        <a:pt x="206" y="26"/>
                      </a:lnTo>
                      <a:lnTo>
                        <a:pt x="208" y="19"/>
                      </a:lnTo>
                      <a:lnTo>
                        <a:pt x="201" y="19"/>
                      </a:lnTo>
                      <a:lnTo>
                        <a:pt x="203" y="21"/>
                      </a:lnTo>
                      <a:lnTo>
                        <a:pt x="195" y="23"/>
                      </a:lnTo>
                      <a:lnTo>
                        <a:pt x="189" y="17"/>
                      </a:lnTo>
                      <a:lnTo>
                        <a:pt x="188" y="10"/>
                      </a:lnTo>
                      <a:lnTo>
                        <a:pt x="182" y="8"/>
                      </a:lnTo>
                      <a:lnTo>
                        <a:pt x="184" y="0"/>
                      </a:lnTo>
                      <a:lnTo>
                        <a:pt x="180" y="0"/>
                      </a:lnTo>
                      <a:lnTo>
                        <a:pt x="176" y="2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8" name="Freeform 330"/>
                <p:cNvSpPr>
                  <a:spLocks/>
                </p:cNvSpPr>
                <p:nvPr/>
              </p:nvSpPr>
              <p:spPr bwMode="auto">
                <a:xfrm>
                  <a:off x="5127965" y="2045777"/>
                  <a:ext cx="20174" cy="16569"/>
                </a:xfrm>
                <a:custGeom>
                  <a:avLst/>
                  <a:gdLst>
                    <a:gd name="T0" fmla="*/ 9 w 21"/>
                    <a:gd name="T1" fmla="*/ 0 h 19"/>
                    <a:gd name="T2" fmla="*/ 6 w 21"/>
                    <a:gd name="T3" fmla="*/ 6 h 19"/>
                    <a:gd name="T4" fmla="*/ 0 w 21"/>
                    <a:gd name="T5" fmla="*/ 19 h 19"/>
                    <a:gd name="T6" fmla="*/ 13 w 21"/>
                    <a:gd name="T7" fmla="*/ 11 h 19"/>
                    <a:gd name="T8" fmla="*/ 21 w 21"/>
                    <a:gd name="T9" fmla="*/ 6 h 19"/>
                    <a:gd name="T10" fmla="*/ 15 w 21"/>
                    <a:gd name="T11" fmla="*/ 0 h 19"/>
                    <a:gd name="T12" fmla="*/ 9 w 21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" h="19">
                      <a:moveTo>
                        <a:pt x="9" y="0"/>
                      </a:moveTo>
                      <a:lnTo>
                        <a:pt x="6" y="6"/>
                      </a:lnTo>
                      <a:lnTo>
                        <a:pt x="0" y="19"/>
                      </a:lnTo>
                      <a:lnTo>
                        <a:pt x="13" y="11"/>
                      </a:lnTo>
                      <a:lnTo>
                        <a:pt x="21" y="6"/>
                      </a:lnTo>
                      <a:lnTo>
                        <a:pt x="15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69" name="Freeform 331"/>
                <p:cNvSpPr>
                  <a:spLocks/>
                </p:cNvSpPr>
                <p:nvPr/>
              </p:nvSpPr>
              <p:spPr bwMode="auto">
                <a:xfrm>
                  <a:off x="5127965" y="2045777"/>
                  <a:ext cx="20174" cy="16569"/>
                </a:xfrm>
                <a:custGeom>
                  <a:avLst/>
                  <a:gdLst>
                    <a:gd name="T0" fmla="*/ 9 w 21"/>
                    <a:gd name="T1" fmla="*/ 0 h 19"/>
                    <a:gd name="T2" fmla="*/ 6 w 21"/>
                    <a:gd name="T3" fmla="*/ 6 h 19"/>
                    <a:gd name="T4" fmla="*/ 0 w 21"/>
                    <a:gd name="T5" fmla="*/ 19 h 19"/>
                    <a:gd name="T6" fmla="*/ 13 w 21"/>
                    <a:gd name="T7" fmla="*/ 11 h 19"/>
                    <a:gd name="T8" fmla="*/ 21 w 21"/>
                    <a:gd name="T9" fmla="*/ 6 h 19"/>
                    <a:gd name="T10" fmla="*/ 15 w 21"/>
                    <a:gd name="T11" fmla="*/ 0 h 19"/>
                    <a:gd name="T12" fmla="*/ 9 w 21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" h="19">
                      <a:moveTo>
                        <a:pt x="9" y="0"/>
                      </a:moveTo>
                      <a:lnTo>
                        <a:pt x="6" y="6"/>
                      </a:lnTo>
                      <a:lnTo>
                        <a:pt x="0" y="19"/>
                      </a:lnTo>
                      <a:lnTo>
                        <a:pt x="13" y="11"/>
                      </a:lnTo>
                      <a:lnTo>
                        <a:pt x="21" y="6"/>
                      </a:lnTo>
                      <a:lnTo>
                        <a:pt x="15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0" name="Freeform 332"/>
                <p:cNvSpPr>
                  <a:spLocks/>
                </p:cNvSpPr>
                <p:nvPr/>
              </p:nvSpPr>
              <p:spPr bwMode="auto">
                <a:xfrm>
                  <a:off x="5127965" y="2045777"/>
                  <a:ext cx="20174" cy="16569"/>
                </a:xfrm>
                <a:custGeom>
                  <a:avLst/>
                  <a:gdLst>
                    <a:gd name="T0" fmla="*/ 9 w 21"/>
                    <a:gd name="T1" fmla="*/ 0 h 19"/>
                    <a:gd name="T2" fmla="*/ 6 w 21"/>
                    <a:gd name="T3" fmla="*/ 6 h 19"/>
                    <a:gd name="T4" fmla="*/ 0 w 21"/>
                    <a:gd name="T5" fmla="*/ 19 h 19"/>
                    <a:gd name="T6" fmla="*/ 13 w 21"/>
                    <a:gd name="T7" fmla="*/ 11 h 19"/>
                    <a:gd name="T8" fmla="*/ 21 w 21"/>
                    <a:gd name="T9" fmla="*/ 6 h 19"/>
                    <a:gd name="T10" fmla="*/ 15 w 21"/>
                    <a:gd name="T11" fmla="*/ 0 h 19"/>
                    <a:gd name="T12" fmla="*/ 9 w 21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" h="19">
                      <a:moveTo>
                        <a:pt x="9" y="0"/>
                      </a:moveTo>
                      <a:lnTo>
                        <a:pt x="6" y="6"/>
                      </a:lnTo>
                      <a:lnTo>
                        <a:pt x="0" y="19"/>
                      </a:lnTo>
                      <a:lnTo>
                        <a:pt x="13" y="11"/>
                      </a:lnTo>
                      <a:lnTo>
                        <a:pt x="21" y="6"/>
                      </a:lnTo>
                      <a:lnTo>
                        <a:pt x="15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1" name="Freeform 333"/>
                <p:cNvSpPr>
                  <a:spLocks/>
                </p:cNvSpPr>
                <p:nvPr/>
              </p:nvSpPr>
              <p:spPr bwMode="auto">
                <a:xfrm>
                  <a:off x="5176960" y="2042288"/>
                  <a:ext cx="16332" cy="13081"/>
                </a:xfrm>
                <a:custGeom>
                  <a:avLst/>
                  <a:gdLst>
                    <a:gd name="T0" fmla="*/ 7 w 17"/>
                    <a:gd name="T1" fmla="*/ 0 h 15"/>
                    <a:gd name="T2" fmla="*/ 7 w 17"/>
                    <a:gd name="T3" fmla="*/ 2 h 15"/>
                    <a:gd name="T4" fmla="*/ 7 w 17"/>
                    <a:gd name="T5" fmla="*/ 10 h 15"/>
                    <a:gd name="T6" fmla="*/ 0 w 17"/>
                    <a:gd name="T7" fmla="*/ 15 h 15"/>
                    <a:gd name="T8" fmla="*/ 13 w 17"/>
                    <a:gd name="T9" fmla="*/ 13 h 15"/>
                    <a:gd name="T10" fmla="*/ 17 w 17"/>
                    <a:gd name="T11" fmla="*/ 12 h 15"/>
                    <a:gd name="T12" fmla="*/ 11 w 17"/>
                    <a:gd name="T13" fmla="*/ 4 h 15"/>
                    <a:gd name="T14" fmla="*/ 7 w 17"/>
                    <a:gd name="T15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7" h="15">
                      <a:moveTo>
                        <a:pt x="7" y="0"/>
                      </a:moveTo>
                      <a:lnTo>
                        <a:pt x="7" y="2"/>
                      </a:lnTo>
                      <a:lnTo>
                        <a:pt x="7" y="10"/>
                      </a:lnTo>
                      <a:lnTo>
                        <a:pt x="0" y="15"/>
                      </a:lnTo>
                      <a:lnTo>
                        <a:pt x="13" y="13"/>
                      </a:lnTo>
                      <a:lnTo>
                        <a:pt x="17" y="12"/>
                      </a:lnTo>
                      <a:lnTo>
                        <a:pt x="11" y="4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2" name="Freeform 334"/>
                <p:cNvSpPr>
                  <a:spLocks/>
                </p:cNvSpPr>
                <p:nvPr/>
              </p:nvSpPr>
              <p:spPr bwMode="auto">
                <a:xfrm>
                  <a:off x="5176960" y="2042288"/>
                  <a:ext cx="16332" cy="13081"/>
                </a:xfrm>
                <a:custGeom>
                  <a:avLst/>
                  <a:gdLst>
                    <a:gd name="T0" fmla="*/ 7 w 17"/>
                    <a:gd name="T1" fmla="*/ 0 h 15"/>
                    <a:gd name="T2" fmla="*/ 7 w 17"/>
                    <a:gd name="T3" fmla="*/ 2 h 15"/>
                    <a:gd name="T4" fmla="*/ 7 w 17"/>
                    <a:gd name="T5" fmla="*/ 10 h 15"/>
                    <a:gd name="T6" fmla="*/ 0 w 17"/>
                    <a:gd name="T7" fmla="*/ 15 h 15"/>
                    <a:gd name="T8" fmla="*/ 13 w 17"/>
                    <a:gd name="T9" fmla="*/ 13 h 15"/>
                    <a:gd name="T10" fmla="*/ 17 w 17"/>
                    <a:gd name="T11" fmla="*/ 12 h 15"/>
                    <a:gd name="T12" fmla="*/ 11 w 17"/>
                    <a:gd name="T13" fmla="*/ 4 h 15"/>
                    <a:gd name="T14" fmla="*/ 7 w 17"/>
                    <a:gd name="T15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7" h="15">
                      <a:moveTo>
                        <a:pt x="7" y="0"/>
                      </a:moveTo>
                      <a:lnTo>
                        <a:pt x="7" y="2"/>
                      </a:lnTo>
                      <a:lnTo>
                        <a:pt x="7" y="10"/>
                      </a:lnTo>
                      <a:lnTo>
                        <a:pt x="0" y="15"/>
                      </a:lnTo>
                      <a:lnTo>
                        <a:pt x="13" y="13"/>
                      </a:lnTo>
                      <a:lnTo>
                        <a:pt x="17" y="12"/>
                      </a:lnTo>
                      <a:lnTo>
                        <a:pt x="11" y="4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3" name="Freeform 335"/>
                <p:cNvSpPr>
                  <a:spLocks/>
                </p:cNvSpPr>
                <p:nvPr/>
              </p:nvSpPr>
              <p:spPr bwMode="auto">
                <a:xfrm>
                  <a:off x="5176960" y="2042288"/>
                  <a:ext cx="16332" cy="13081"/>
                </a:xfrm>
                <a:custGeom>
                  <a:avLst/>
                  <a:gdLst>
                    <a:gd name="T0" fmla="*/ 7 w 17"/>
                    <a:gd name="T1" fmla="*/ 0 h 15"/>
                    <a:gd name="T2" fmla="*/ 7 w 17"/>
                    <a:gd name="T3" fmla="*/ 2 h 15"/>
                    <a:gd name="T4" fmla="*/ 7 w 17"/>
                    <a:gd name="T5" fmla="*/ 10 h 15"/>
                    <a:gd name="T6" fmla="*/ 0 w 17"/>
                    <a:gd name="T7" fmla="*/ 15 h 15"/>
                    <a:gd name="T8" fmla="*/ 13 w 17"/>
                    <a:gd name="T9" fmla="*/ 13 h 15"/>
                    <a:gd name="T10" fmla="*/ 17 w 17"/>
                    <a:gd name="T11" fmla="*/ 12 h 15"/>
                    <a:gd name="T12" fmla="*/ 11 w 17"/>
                    <a:gd name="T13" fmla="*/ 4 h 15"/>
                    <a:gd name="T14" fmla="*/ 7 w 17"/>
                    <a:gd name="T15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7" h="15">
                      <a:moveTo>
                        <a:pt x="7" y="0"/>
                      </a:moveTo>
                      <a:lnTo>
                        <a:pt x="7" y="2"/>
                      </a:lnTo>
                      <a:lnTo>
                        <a:pt x="7" y="10"/>
                      </a:lnTo>
                      <a:lnTo>
                        <a:pt x="0" y="15"/>
                      </a:lnTo>
                      <a:lnTo>
                        <a:pt x="13" y="13"/>
                      </a:lnTo>
                      <a:lnTo>
                        <a:pt x="17" y="12"/>
                      </a:lnTo>
                      <a:lnTo>
                        <a:pt x="11" y="4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  <p:grpSp>
            <p:nvGrpSpPr>
              <p:cNvPr id="448" name="Group 447"/>
              <p:cNvGrpSpPr/>
              <p:nvPr/>
            </p:nvGrpSpPr>
            <p:grpSpPr>
              <a:xfrm>
                <a:off x="4998272" y="1471973"/>
                <a:ext cx="320870" cy="429916"/>
                <a:chOff x="4998272" y="1471973"/>
                <a:chExt cx="320870" cy="429916"/>
              </a:xfrm>
              <a:grpFill/>
            </p:grpSpPr>
            <p:sp>
              <p:nvSpPr>
                <p:cNvPr id="386" name="Freeform 147"/>
                <p:cNvSpPr>
                  <a:spLocks/>
                </p:cNvSpPr>
                <p:nvPr/>
              </p:nvSpPr>
              <p:spPr bwMode="auto">
                <a:xfrm>
                  <a:off x="4998272" y="1471973"/>
                  <a:ext cx="299735" cy="429916"/>
                </a:xfrm>
                <a:custGeom>
                  <a:avLst/>
                  <a:gdLst>
                    <a:gd name="T0" fmla="*/ 295 w 312"/>
                    <a:gd name="T1" fmla="*/ 226 h 493"/>
                    <a:gd name="T2" fmla="*/ 291 w 312"/>
                    <a:gd name="T3" fmla="*/ 199 h 493"/>
                    <a:gd name="T4" fmla="*/ 280 w 312"/>
                    <a:gd name="T5" fmla="*/ 197 h 493"/>
                    <a:gd name="T6" fmla="*/ 263 w 312"/>
                    <a:gd name="T7" fmla="*/ 190 h 493"/>
                    <a:gd name="T8" fmla="*/ 255 w 312"/>
                    <a:gd name="T9" fmla="*/ 171 h 493"/>
                    <a:gd name="T10" fmla="*/ 246 w 312"/>
                    <a:gd name="T11" fmla="*/ 162 h 493"/>
                    <a:gd name="T12" fmla="*/ 225 w 312"/>
                    <a:gd name="T13" fmla="*/ 158 h 493"/>
                    <a:gd name="T14" fmla="*/ 219 w 312"/>
                    <a:gd name="T15" fmla="*/ 139 h 493"/>
                    <a:gd name="T16" fmla="*/ 182 w 312"/>
                    <a:gd name="T17" fmla="*/ 19 h 493"/>
                    <a:gd name="T18" fmla="*/ 148 w 312"/>
                    <a:gd name="T19" fmla="*/ 2 h 493"/>
                    <a:gd name="T20" fmla="*/ 127 w 312"/>
                    <a:gd name="T21" fmla="*/ 9 h 493"/>
                    <a:gd name="T22" fmla="*/ 109 w 312"/>
                    <a:gd name="T23" fmla="*/ 23 h 493"/>
                    <a:gd name="T24" fmla="*/ 86 w 312"/>
                    <a:gd name="T25" fmla="*/ 23 h 493"/>
                    <a:gd name="T26" fmla="*/ 69 w 312"/>
                    <a:gd name="T27" fmla="*/ 9 h 493"/>
                    <a:gd name="T28" fmla="*/ 35 w 312"/>
                    <a:gd name="T29" fmla="*/ 141 h 493"/>
                    <a:gd name="T30" fmla="*/ 35 w 312"/>
                    <a:gd name="T31" fmla="*/ 182 h 493"/>
                    <a:gd name="T32" fmla="*/ 37 w 312"/>
                    <a:gd name="T33" fmla="*/ 209 h 493"/>
                    <a:gd name="T34" fmla="*/ 20 w 312"/>
                    <a:gd name="T35" fmla="*/ 237 h 493"/>
                    <a:gd name="T36" fmla="*/ 20 w 312"/>
                    <a:gd name="T37" fmla="*/ 248 h 493"/>
                    <a:gd name="T38" fmla="*/ 18 w 312"/>
                    <a:gd name="T39" fmla="*/ 263 h 493"/>
                    <a:gd name="T40" fmla="*/ 0 w 312"/>
                    <a:gd name="T41" fmla="*/ 269 h 493"/>
                    <a:gd name="T42" fmla="*/ 60 w 312"/>
                    <a:gd name="T43" fmla="*/ 447 h 493"/>
                    <a:gd name="T44" fmla="*/ 65 w 312"/>
                    <a:gd name="T45" fmla="*/ 468 h 493"/>
                    <a:gd name="T46" fmla="*/ 80 w 312"/>
                    <a:gd name="T47" fmla="*/ 485 h 493"/>
                    <a:gd name="T48" fmla="*/ 95 w 312"/>
                    <a:gd name="T49" fmla="*/ 487 h 493"/>
                    <a:gd name="T50" fmla="*/ 95 w 312"/>
                    <a:gd name="T51" fmla="*/ 464 h 493"/>
                    <a:gd name="T52" fmla="*/ 105 w 312"/>
                    <a:gd name="T53" fmla="*/ 440 h 493"/>
                    <a:gd name="T54" fmla="*/ 109 w 312"/>
                    <a:gd name="T55" fmla="*/ 417 h 493"/>
                    <a:gd name="T56" fmla="*/ 125 w 312"/>
                    <a:gd name="T57" fmla="*/ 408 h 493"/>
                    <a:gd name="T58" fmla="*/ 129 w 312"/>
                    <a:gd name="T59" fmla="*/ 400 h 493"/>
                    <a:gd name="T60" fmla="*/ 139 w 312"/>
                    <a:gd name="T61" fmla="*/ 408 h 493"/>
                    <a:gd name="T62" fmla="*/ 129 w 312"/>
                    <a:gd name="T63" fmla="*/ 382 h 493"/>
                    <a:gd name="T64" fmla="*/ 131 w 312"/>
                    <a:gd name="T65" fmla="*/ 376 h 493"/>
                    <a:gd name="T66" fmla="*/ 139 w 312"/>
                    <a:gd name="T67" fmla="*/ 385 h 493"/>
                    <a:gd name="T68" fmla="*/ 148 w 312"/>
                    <a:gd name="T69" fmla="*/ 382 h 493"/>
                    <a:gd name="T70" fmla="*/ 150 w 312"/>
                    <a:gd name="T71" fmla="*/ 378 h 493"/>
                    <a:gd name="T72" fmla="*/ 152 w 312"/>
                    <a:gd name="T73" fmla="*/ 376 h 493"/>
                    <a:gd name="T74" fmla="*/ 159 w 312"/>
                    <a:gd name="T75" fmla="*/ 380 h 493"/>
                    <a:gd name="T76" fmla="*/ 169 w 312"/>
                    <a:gd name="T77" fmla="*/ 367 h 493"/>
                    <a:gd name="T78" fmla="*/ 184 w 312"/>
                    <a:gd name="T79" fmla="*/ 355 h 493"/>
                    <a:gd name="T80" fmla="*/ 182 w 312"/>
                    <a:gd name="T81" fmla="*/ 335 h 493"/>
                    <a:gd name="T82" fmla="*/ 180 w 312"/>
                    <a:gd name="T83" fmla="*/ 314 h 493"/>
                    <a:gd name="T84" fmla="*/ 193 w 312"/>
                    <a:gd name="T85" fmla="*/ 303 h 493"/>
                    <a:gd name="T86" fmla="*/ 199 w 312"/>
                    <a:gd name="T87" fmla="*/ 316 h 493"/>
                    <a:gd name="T88" fmla="*/ 219 w 312"/>
                    <a:gd name="T89" fmla="*/ 323 h 493"/>
                    <a:gd name="T90" fmla="*/ 216 w 312"/>
                    <a:gd name="T91" fmla="*/ 303 h 493"/>
                    <a:gd name="T92" fmla="*/ 227 w 312"/>
                    <a:gd name="T93" fmla="*/ 297 h 493"/>
                    <a:gd name="T94" fmla="*/ 248 w 312"/>
                    <a:gd name="T95" fmla="*/ 303 h 493"/>
                    <a:gd name="T96" fmla="*/ 253 w 312"/>
                    <a:gd name="T97" fmla="*/ 286 h 493"/>
                    <a:gd name="T98" fmla="*/ 257 w 312"/>
                    <a:gd name="T99" fmla="*/ 291 h 493"/>
                    <a:gd name="T100" fmla="*/ 261 w 312"/>
                    <a:gd name="T101" fmla="*/ 271 h 493"/>
                    <a:gd name="T102" fmla="*/ 272 w 312"/>
                    <a:gd name="T103" fmla="*/ 271 h 493"/>
                    <a:gd name="T104" fmla="*/ 283 w 312"/>
                    <a:gd name="T105" fmla="*/ 261 h 493"/>
                    <a:gd name="T106" fmla="*/ 291 w 312"/>
                    <a:gd name="T107" fmla="*/ 258 h 493"/>
                    <a:gd name="T108" fmla="*/ 304 w 312"/>
                    <a:gd name="T109" fmla="*/ 248 h 493"/>
                    <a:gd name="T110" fmla="*/ 304 w 312"/>
                    <a:gd name="T111" fmla="*/ 222 h 4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312" h="493">
                      <a:moveTo>
                        <a:pt x="306" y="224"/>
                      </a:moveTo>
                      <a:lnTo>
                        <a:pt x="302" y="231"/>
                      </a:lnTo>
                      <a:lnTo>
                        <a:pt x="295" y="226"/>
                      </a:lnTo>
                      <a:lnTo>
                        <a:pt x="304" y="214"/>
                      </a:lnTo>
                      <a:lnTo>
                        <a:pt x="291" y="201"/>
                      </a:lnTo>
                      <a:lnTo>
                        <a:pt x="291" y="199"/>
                      </a:lnTo>
                      <a:lnTo>
                        <a:pt x="289" y="199"/>
                      </a:lnTo>
                      <a:lnTo>
                        <a:pt x="285" y="197"/>
                      </a:lnTo>
                      <a:lnTo>
                        <a:pt x="280" y="197"/>
                      </a:lnTo>
                      <a:lnTo>
                        <a:pt x="274" y="205"/>
                      </a:lnTo>
                      <a:lnTo>
                        <a:pt x="266" y="197"/>
                      </a:lnTo>
                      <a:lnTo>
                        <a:pt x="263" y="190"/>
                      </a:lnTo>
                      <a:lnTo>
                        <a:pt x="263" y="184"/>
                      </a:lnTo>
                      <a:lnTo>
                        <a:pt x="257" y="177"/>
                      </a:lnTo>
                      <a:lnTo>
                        <a:pt x="255" y="171"/>
                      </a:lnTo>
                      <a:lnTo>
                        <a:pt x="257" y="164"/>
                      </a:lnTo>
                      <a:lnTo>
                        <a:pt x="253" y="160"/>
                      </a:lnTo>
                      <a:lnTo>
                        <a:pt x="246" y="162"/>
                      </a:lnTo>
                      <a:lnTo>
                        <a:pt x="240" y="162"/>
                      </a:lnTo>
                      <a:lnTo>
                        <a:pt x="233" y="158"/>
                      </a:lnTo>
                      <a:lnTo>
                        <a:pt x="225" y="158"/>
                      </a:lnTo>
                      <a:lnTo>
                        <a:pt x="223" y="152"/>
                      </a:lnTo>
                      <a:lnTo>
                        <a:pt x="223" y="147"/>
                      </a:lnTo>
                      <a:lnTo>
                        <a:pt x="219" y="139"/>
                      </a:lnTo>
                      <a:lnTo>
                        <a:pt x="219" y="132"/>
                      </a:lnTo>
                      <a:lnTo>
                        <a:pt x="212" y="109"/>
                      </a:lnTo>
                      <a:lnTo>
                        <a:pt x="182" y="19"/>
                      </a:lnTo>
                      <a:lnTo>
                        <a:pt x="176" y="17"/>
                      </a:lnTo>
                      <a:lnTo>
                        <a:pt x="161" y="8"/>
                      </a:lnTo>
                      <a:lnTo>
                        <a:pt x="148" y="2"/>
                      </a:lnTo>
                      <a:lnTo>
                        <a:pt x="141" y="0"/>
                      </a:lnTo>
                      <a:lnTo>
                        <a:pt x="133" y="2"/>
                      </a:lnTo>
                      <a:lnTo>
                        <a:pt x="127" y="9"/>
                      </a:lnTo>
                      <a:lnTo>
                        <a:pt x="120" y="13"/>
                      </a:lnTo>
                      <a:lnTo>
                        <a:pt x="114" y="21"/>
                      </a:lnTo>
                      <a:lnTo>
                        <a:pt x="109" y="23"/>
                      </a:lnTo>
                      <a:lnTo>
                        <a:pt x="101" y="30"/>
                      </a:lnTo>
                      <a:lnTo>
                        <a:pt x="94" y="28"/>
                      </a:lnTo>
                      <a:lnTo>
                        <a:pt x="86" y="23"/>
                      </a:lnTo>
                      <a:lnTo>
                        <a:pt x="82" y="8"/>
                      </a:lnTo>
                      <a:lnTo>
                        <a:pt x="75" y="8"/>
                      </a:lnTo>
                      <a:lnTo>
                        <a:pt x="69" y="9"/>
                      </a:lnTo>
                      <a:lnTo>
                        <a:pt x="37" y="103"/>
                      </a:lnTo>
                      <a:lnTo>
                        <a:pt x="41" y="132"/>
                      </a:lnTo>
                      <a:lnTo>
                        <a:pt x="35" y="141"/>
                      </a:lnTo>
                      <a:lnTo>
                        <a:pt x="31" y="162"/>
                      </a:lnTo>
                      <a:lnTo>
                        <a:pt x="35" y="169"/>
                      </a:lnTo>
                      <a:lnTo>
                        <a:pt x="35" y="182"/>
                      </a:lnTo>
                      <a:lnTo>
                        <a:pt x="43" y="188"/>
                      </a:lnTo>
                      <a:lnTo>
                        <a:pt x="33" y="203"/>
                      </a:lnTo>
                      <a:lnTo>
                        <a:pt x="37" y="209"/>
                      </a:lnTo>
                      <a:lnTo>
                        <a:pt x="26" y="222"/>
                      </a:lnTo>
                      <a:lnTo>
                        <a:pt x="22" y="229"/>
                      </a:lnTo>
                      <a:lnTo>
                        <a:pt x="20" y="237"/>
                      </a:lnTo>
                      <a:lnTo>
                        <a:pt x="20" y="239"/>
                      </a:lnTo>
                      <a:lnTo>
                        <a:pt x="26" y="252"/>
                      </a:lnTo>
                      <a:lnTo>
                        <a:pt x="20" y="248"/>
                      </a:lnTo>
                      <a:lnTo>
                        <a:pt x="18" y="250"/>
                      </a:lnTo>
                      <a:lnTo>
                        <a:pt x="16" y="256"/>
                      </a:lnTo>
                      <a:lnTo>
                        <a:pt x="18" y="263"/>
                      </a:lnTo>
                      <a:lnTo>
                        <a:pt x="11" y="265"/>
                      </a:lnTo>
                      <a:lnTo>
                        <a:pt x="5" y="263"/>
                      </a:lnTo>
                      <a:lnTo>
                        <a:pt x="0" y="269"/>
                      </a:lnTo>
                      <a:lnTo>
                        <a:pt x="1" y="273"/>
                      </a:lnTo>
                      <a:lnTo>
                        <a:pt x="52" y="427"/>
                      </a:lnTo>
                      <a:lnTo>
                        <a:pt x="60" y="447"/>
                      </a:lnTo>
                      <a:lnTo>
                        <a:pt x="60" y="455"/>
                      </a:lnTo>
                      <a:lnTo>
                        <a:pt x="62" y="463"/>
                      </a:lnTo>
                      <a:lnTo>
                        <a:pt x="65" y="468"/>
                      </a:lnTo>
                      <a:lnTo>
                        <a:pt x="71" y="474"/>
                      </a:lnTo>
                      <a:lnTo>
                        <a:pt x="78" y="478"/>
                      </a:lnTo>
                      <a:lnTo>
                        <a:pt x="80" y="485"/>
                      </a:lnTo>
                      <a:lnTo>
                        <a:pt x="86" y="491"/>
                      </a:lnTo>
                      <a:lnTo>
                        <a:pt x="90" y="493"/>
                      </a:lnTo>
                      <a:lnTo>
                        <a:pt x="95" y="487"/>
                      </a:lnTo>
                      <a:lnTo>
                        <a:pt x="97" y="479"/>
                      </a:lnTo>
                      <a:lnTo>
                        <a:pt x="95" y="472"/>
                      </a:lnTo>
                      <a:lnTo>
                        <a:pt x="95" y="464"/>
                      </a:lnTo>
                      <a:lnTo>
                        <a:pt x="103" y="459"/>
                      </a:lnTo>
                      <a:lnTo>
                        <a:pt x="109" y="446"/>
                      </a:lnTo>
                      <a:lnTo>
                        <a:pt x="105" y="440"/>
                      </a:lnTo>
                      <a:lnTo>
                        <a:pt x="114" y="425"/>
                      </a:lnTo>
                      <a:lnTo>
                        <a:pt x="109" y="423"/>
                      </a:lnTo>
                      <a:lnTo>
                        <a:pt x="109" y="417"/>
                      </a:lnTo>
                      <a:lnTo>
                        <a:pt x="110" y="410"/>
                      </a:lnTo>
                      <a:lnTo>
                        <a:pt x="122" y="395"/>
                      </a:lnTo>
                      <a:lnTo>
                        <a:pt x="125" y="408"/>
                      </a:lnTo>
                      <a:lnTo>
                        <a:pt x="125" y="400"/>
                      </a:lnTo>
                      <a:lnTo>
                        <a:pt x="125" y="408"/>
                      </a:lnTo>
                      <a:lnTo>
                        <a:pt x="129" y="400"/>
                      </a:lnTo>
                      <a:lnTo>
                        <a:pt x="131" y="393"/>
                      </a:lnTo>
                      <a:lnTo>
                        <a:pt x="133" y="395"/>
                      </a:lnTo>
                      <a:lnTo>
                        <a:pt x="139" y="408"/>
                      </a:lnTo>
                      <a:lnTo>
                        <a:pt x="141" y="400"/>
                      </a:lnTo>
                      <a:lnTo>
                        <a:pt x="131" y="380"/>
                      </a:lnTo>
                      <a:lnTo>
                        <a:pt x="129" y="382"/>
                      </a:lnTo>
                      <a:lnTo>
                        <a:pt x="129" y="376"/>
                      </a:lnTo>
                      <a:lnTo>
                        <a:pt x="133" y="369"/>
                      </a:lnTo>
                      <a:lnTo>
                        <a:pt x="131" y="376"/>
                      </a:lnTo>
                      <a:lnTo>
                        <a:pt x="142" y="399"/>
                      </a:lnTo>
                      <a:lnTo>
                        <a:pt x="144" y="393"/>
                      </a:lnTo>
                      <a:lnTo>
                        <a:pt x="139" y="385"/>
                      </a:lnTo>
                      <a:lnTo>
                        <a:pt x="141" y="376"/>
                      </a:lnTo>
                      <a:lnTo>
                        <a:pt x="144" y="374"/>
                      </a:lnTo>
                      <a:lnTo>
                        <a:pt x="148" y="382"/>
                      </a:lnTo>
                      <a:lnTo>
                        <a:pt x="146" y="387"/>
                      </a:lnTo>
                      <a:lnTo>
                        <a:pt x="154" y="391"/>
                      </a:lnTo>
                      <a:lnTo>
                        <a:pt x="150" y="378"/>
                      </a:lnTo>
                      <a:lnTo>
                        <a:pt x="150" y="370"/>
                      </a:lnTo>
                      <a:lnTo>
                        <a:pt x="152" y="369"/>
                      </a:lnTo>
                      <a:lnTo>
                        <a:pt x="152" y="376"/>
                      </a:lnTo>
                      <a:lnTo>
                        <a:pt x="154" y="384"/>
                      </a:lnTo>
                      <a:lnTo>
                        <a:pt x="159" y="387"/>
                      </a:lnTo>
                      <a:lnTo>
                        <a:pt x="159" y="380"/>
                      </a:lnTo>
                      <a:lnTo>
                        <a:pt x="159" y="372"/>
                      </a:lnTo>
                      <a:lnTo>
                        <a:pt x="161" y="367"/>
                      </a:lnTo>
                      <a:lnTo>
                        <a:pt x="169" y="367"/>
                      </a:lnTo>
                      <a:lnTo>
                        <a:pt x="176" y="370"/>
                      </a:lnTo>
                      <a:lnTo>
                        <a:pt x="178" y="363"/>
                      </a:lnTo>
                      <a:lnTo>
                        <a:pt x="184" y="355"/>
                      </a:lnTo>
                      <a:lnTo>
                        <a:pt x="182" y="348"/>
                      </a:lnTo>
                      <a:lnTo>
                        <a:pt x="182" y="340"/>
                      </a:lnTo>
                      <a:lnTo>
                        <a:pt x="182" y="335"/>
                      </a:lnTo>
                      <a:lnTo>
                        <a:pt x="184" y="327"/>
                      </a:lnTo>
                      <a:lnTo>
                        <a:pt x="184" y="320"/>
                      </a:lnTo>
                      <a:lnTo>
                        <a:pt x="180" y="314"/>
                      </a:lnTo>
                      <a:lnTo>
                        <a:pt x="189" y="308"/>
                      </a:lnTo>
                      <a:lnTo>
                        <a:pt x="188" y="297"/>
                      </a:lnTo>
                      <a:lnTo>
                        <a:pt x="193" y="303"/>
                      </a:lnTo>
                      <a:lnTo>
                        <a:pt x="193" y="310"/>
                      </a:lnTo>
                      <a:lnTo>
                        <a:pt x="199" y="308"/>
                      </a:lnTo>
                      <a:lnTo>
                        <a:pt x="199" y="316"/>
                      </a:lnTo>
                      <a:lnTo>
                        <a:pt x="195" y="320"/>
                      </a:lnTo>
                      <a:lnTo>
                        <a:pt x="208" y="320"/>
                      </a:lnTo>
                      <a:lnTo>
                        <a:pt x="219" y="323"/>
                      </a:lnTo>
                      <a:lnTo>
                        <a:pt x="214" y="316"/>
                      </a:lnTo>
                      <a:lnTo>
                        <a:pt x="214" y="310"/>
                      </a:lnTo>
                      <a:lnTo>
                        <a:pt x="216" y="303"/>
                      </a:lnTo>
                      <a:lnTo>
                        <a:pt x="214" y="297"/>
                      </a:lnTo>
                      <a:lnTo>
                        <a:pt x="221" y="303"/>
                      </a:lnTo>
                      <a:lnTo>
                        <a:pt x="227" y="297"/>
                      </a:lnTo>
                      <a:lnTo>
                        <a:pt x="225" y="290"/>
                      </a:lnTo>
                      <a:lnTo>
                        <a:pt x="244" y="295"/>
                      </a:lnTo>
                      <a:lnTo>
                        <a:pt x="248" y="303"/>
                      </a:lnTo>
                      <a:lnTo>
                        <a:pt x="251" y="295"/>
                      </a:lnTo>
                      <a:lnTo>
                        <a:pt x="248" y="290"/>
                      </a:lnTo>
                      <a:lnTo>
                        <a:pt x="253" y="286"/>
                      </a:lnTo>
                      <a:lnTo>
                        <a:pt x="255" y="291"/>
                      </a:lnTo>
                      <a:lnTo>
                        <a:pt x="255" y="286"/>
                      </a:lnTo>
                      <a:lnTo>
                        <a:pt x="257" y="291"/>
                      </a:lnTo>
                      <a:lnTo>
                        <a:pt x="259" y="286"/>
                      </a:lnTo>
                      <a:lnTo>
                        <a:pt x="257" y="278"/>
                      </a:lnTo>
                      <a:lnTo>
                        <a:pt x="261" y="271"/>
                      </a:lnTo>
                      <a:lnTo>
                        <a:pt x="266" y="278"/>
                      </a:lnTo>
                      <a:lnTo>
                        <a:pt x="270" y="278"/>
                      </a:lnTo>
                      <a:lnTo>
                        <a:pt x="272" y="271"/>
                      </a:lnTo>
                      <a:lnTo>
                        <a:pt x="278" y="271"/>
                      </a:lnTo>
                      <a:lnTo>
                        <a:pt x="278" y="265"/>
                      </a:lnTo>
                      <a:lnTo>
                        <a:pt x="283" y="261"/>
                      </a:lnTo>
                      <a:lnTo>
                        <a:pt x="285" y="261"/>
                      </a:lnTo>
                      <a:lnTo>
                        <a:pt x="285" y="258"/>
                      </a:lnTo>
                      <a:lnTo>
                        <a:pt x="291" y="258"/>
                      </a:lnTo>
                      <a:lnTo>
                        <a:pt x="287" y="252"/>
                      </a:lnTo>
                      <a:lnTo>
                        <a:pt x="298" y="252"/>
                      </a:lnTo>
                      <a:lnTo>
                        <a:pt x="304" y="248"/>
                      </a:lnTo>
                      <a:lnTo>
                        <a:pt x="312" y="235"/>
                      </a:lnTo>
                      <a:lnTo>
                        <a:pt x="312" y="228"/>
                      </a:lnTo>
                      <a:lnTo>
                        <a:pt x="304" y="222"/>
                      </a:lnTo>
                      <a:lnTo>
                        <a:pt x="306" y="224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4" name="Freeform 336"/>
                <p:cNvSpPr>
                  <a:spLocks/>
                </p:cNvSpPr>
                <p:nvPr/>
              </p:nvSpPr>
              <p:spPr bwMode="auto">
                <a:xfrm>
                  <a:off x="5212505" y="1730970"/>
                  <a:ext cx="16332" cy="18313"/>
                </a:xfrm>
                <a:custGeom>
                  <a:avLst/>
                  <a:gdLst>
                    <a:gd name="T0" fmla="*/ 8 w 17"/>
                    <a:gd name="T1" fmla="*/ 0 h 21"/>
                    <a:gd name="T2" fmla="*/ 0 w 17"/>
                    <a:gd name="T3" fmla="*/ 13 h 21"/>
                    <a:gd name="T4" fmla="*/ 2 w 17"/>
                    <a:gd name="T5" fmla="*/ 21 h 21"/>
                    <a:gd name="T6" fmla="*/ 17 w 17"/>
                    <a:gd name="T7" fmla="*/ 13 h 21"/>
                    <a:gd name="T8" fmla="*/ 17 w 17"/>
                    <a:gd name="T9" fmla="*/ 6 h 21"/>
                    <a:gd name="T10" fmla="*/ 10 w 17"/>
                    <a:gd name="T11" fmla="*/ 2 h 21"/>
                    <a:gd name="T12" fmla="*/ 8 w 17"/>
                    <a:gd name="T13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" h="21">
                      <a:moveTo>
                        <a:pt x="8" y="0"/>
                      </a:moveTo>
                      <a:lnTo>
                        <a:pt x="0" y="13"/>
                      </a:lnTo>
                      <a:lnTo>
                        <a:pt x="2" y="21"/>
                      </a:lnTo>
                      <a:lnTo>
                        <a:pt x="17" y="13"/>
                      </a:lnTo>
                      <a:lnTo>
                        <a:pt x="17" y="6"/>
                      </a:lnTo>
                      <a:lnTo>
                        <a:pt x="10" y="2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5" name="Freeform 337"/>
                <p:cNvSpPr>
                  <a:spLocks/>
                </p:cNvSpPr>
                <p:nvPr/>
              </p:nvSpPr>
              <p:spPr bwMode="auto">
                <a:xfrm>
                  <a:off x="5212505" y="1730970"/>
                  <a:ext cx="16332" cy="18313"/>
                </a:xfrm>
                <a:custGeom>
                  <a:avLst/>
                  <a:gdLst>
                    <a:gd name="T0" fmla="*/ 8 w 17"/>
                    <a:gd name="T1" fmla="*/ 0 h 21"/>
                    <a:gd name="T2" fmla="*/ 0 w 17"/>
                    <a:gd name="T3" fmla="*/ 13 h 21"/>
                    <a:gd name="T4" fmla="*/ 2 w 17"/>
                    <a:gd name="T5" fmla="*/ 21 h 21"/>
                    <a:gd name="T6" fmla="*/ 17 w 17"/>
                    <a:gd name="T7" fmla="*/ 13 h 21"/>
                    <a:gd name="T8" fmla="*/ 17 w 17"/>
                    <a:gd name="T9" fmla="*/ 6 h 21"/>
                    <a:gd name="T10" fmla="*/ 10 w 17"/>
                    <a:gd name="T11" fmla="*/ 2 h 21"/>
                    <a:gd name="T12" fmla="*/ 8 w 17"/>
                    <a:gd name="T13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" h="21">
                      <a:moveTo>
                        <a:pt x="8" y="0"/>
                      </a:moveTo>
                      <a:lnTo>
                        <a:pt x="0" y="13"/>
                      </a:lnTo>
                      <a:lnTo>
                        <a:pt x="2" y="21"/>
                      </a:lnTo>
                      <a:lnTo>
                        <a:pt x="17" y="13"/>
                      </a:lnTo>
                      <a:lnTo>
                        <a:pt x="17" y="6"/>
                      </a:lnTo>
                      <a:lnTo>
                        <a:pt x="10" y="2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6" name="Freeform 338"/>
                <p:cNvSpPr>
                  <a:spLocks/>
                </p:cNvSpPr>
                <p:nvPr/>
              </p:nvSpPr>
              <p:spPr bwMode="auto">
                <a:xfrm>
                  <a:off x="5310496" y="1669055"/>
                  <a:ext cx="8646" cy="17441"/>
                </a:xfrm>
                <a:custGeom>
                  <a:avLst/>
                  <a:gdLst>
                    <a:gd name="T0" fmla="*/ 4 w 9"/>
                    <a:gd name="T1" fmla="*/ 0 h 20"/>
                    <a:gd name="T2" fmla="*/ 0 w 9"/>
                    <a:gd name="T3" fmla="*/ 7 h 20"/>
                    <a:gd name="T4" fmla="*/ 0 w 9"/>
                    <a:gd name="T5" fmla="*/ 15 h 20"/>
                    <a:gd name="T6" fmla="*/ 4 w 9"/>
                    <a:gd name="T7" fmla="*/ 20 h 20"/>
                    <a:gd name="T8" fmla="*/ 9 w 9"/>
                    <a:gd name="T9" fmla="*/ 15 h 20"/>
                    <a:gd name="T10" fmla="*/ 9 w 9"/>
                    <a:gd name="T11" fmla="*/ 7 h 20"/>
                    <a:gd name="T12" fmla="*/ 4 w 9"/>
                    <a:gd name="T13" fmla="*/ 2 h 20"/>
                    <a:gd name="T14" fmla="*/ 4 w 9"/>
                    <a:gd name="T15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20">
                      <a:moveTo>
                        <a:pt x="4" y="0"/>
                      </a:moveTo>
                      <a:lnTo>
                        <a:pt x="0" y="7"/>
                      </a:lnTo>
                      <a:lnTo>
                        <a:pt x="0" y="15"/>
                      </a:lnTo>
                      <a:lnTo>
                        <a:pt x="4" y="20"/>
                      </a:lnTo>
                      <a:lnTo>
                        <a:pt x="9" y="15"/>
                      </a:lnTo>
                      <a:lnTo>
                        <a:pt x="9" y="7"/>
                      </a:lnTo>
                      <a:lnTo>
                        <a:pt x="4" y="2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  <p:sp>
              <p:nvSpPr>
                <p:cNvPr id="177" name="Freeform 339"/>
                <p:cNvSpPr>
                  <a:spLocks/>
                </p:cNvSpPr>
                <p:nvPr/>
              </p:nvSpPr>
              <p:spPr bwMode="auto">
                <a:xfrm>
                  <a:off x="5310496" y="1669055"/>
                  <a:ext cx="8646" cy="17441"/>
                </a:xfrm>
                <a:custGeom>
                  <a:avLst/>
                  <a:gdLst>
                    <a:gd name="T0" fmla="*/ 4 w 9"/>
                    <a:gd name="T1" fmla="*/ 0 h 20"/>
                    <a:gd name="T2" fmla="*/ 0 w 9"/>
                    <a:gd name="T3" fmla="*/ 7 h 20"/>
                    <a:gd name="T4" fmla="*/ 0 w 9"/>
                    <a:gd name="T5" fmla="*/ 15 h 20"/>
                    <a:gd name="T6" fmla="*/ 4 w 9"/>
                    <a:gd name="T7" fmla="*/ 20 h 20"/>
                    <a:gd name="T8" fmla="*/ 9 w 9"/>
                    <a:gd name="T9" fmla="*/ 15 h 20"/>
                    <a:gd name="T10" fmla="*/ 9 w 9"/>
                    <a:gd name="T11" fmla="*/ 7 h 20"/>
                    <a:gd name="T12" fmla="*/ 4 w 9"/>
                    <a:gd name="T13" fmla="*/ 2 h 20"/>
                    <a:gd name="T14" fmla="*/ 4 w 9"/>
                    <a:gd name="T15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20">
                      <a:moveTo>
                        <a:pt x="4" y="0"/>
                      </a:moveTo>
                      <a:lnTo>
                        <a:pt x="0" y="7"/>
                      </a:lnTo>
                      <a:lnTo>
                        <a:pt x="0" y="15"/>
                      </a:lnTo>
                      <a:lnTo>
                        <a:pt x="4" y="20"/>
                      </a:lnTo>
                      <a:lnTo>
                        <a:pt x="9" y="15"/>
                      </a:lnTo>
                      <a:lnTo>
                        <a:pt x="9" y="7"/>
                      </a:lnTo>
                      <a:lnTo>
                        <a:pt x="4" y="2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tx1">
                    <a:alpha val="15000"/>
                  </a:schemeClr>
                </a:solidFill>
                <a:ln w="3175" cap="rnd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/>
                </a:p>
              </p:txBody>
            </p:sp>
          </p:grpSp>
        </p:grpSp>
        <p:grpSp>
          <p:nvGrpSpPr>
            <p:cNvPr id="2" name="Group 1"/>
            <p:cNvGrpSpPr/>
            <p:nvPr/>
          </p:nvGrpSpPr>
          <p:grpSpPr>
            <a:xfrm>
              <a:off x="434131" y="434226"/>
              <a:ext cx="7488880" cy="4198035"/>
              <a:chOff x="434131" y="434226"/>
              <a:chExt cx="7488880" cy="4198035"/>
            </a:xfrm>
          </p:grpSpPr>
          <p:sp>
            <p:nvSpPr>
              <p:cNvPr id="199" name="Freeform 5"/>
              <p:cNvSpPr>
                <a:spLocks/>
              </p:cNvSpPr>
              <p:nvPr/>
            </p:nvSpPr>
            <p:spPr bwMode="auto">
              <a:xfrm>
                <a:off x="985460" y="478516"/>
                <a:ext cx="19011" cy="25308"/>
              </a:xfrm>
              <a:custGeom>
                <a:avLst/>
                <a:gdLst>
                  <a:gd name="T0" fmla="*/ 16 w 19"/>
                  <a:gd name="T1" fmla="*/ 27 h 27"/>
                  <a:gd name="T2" fmla="*/ 16 w 19"/>
                  <a:gd name="T3" fmla="*/ 27 h 27"/>
                  <a:gd name="T4" fmla="*/ 19 w 19"/>
                  <a:gd name="T5" fmla="*/ 14 h 27"/>
                  <a:gd name="T6" fmla="*/ 9 w 19"/>
                  <a:gd name="T7" fmla="*/ 6 h 27"/>
                  <a:gd name="T8" fmla="*/ 3 w 19"/>
                  <a:gd name="T9" fmla="*/ 0 h 27"/>
                  <a:gd name="T10" fmla="*/ 0 w 19"/>
                  <a:gd name="T11" fmla="*/ 14 h 27"/>
                  <a:gd name="T12" fmla="*/ 5 w 19"/>
                  <a:gd name="T13" fmla="*/ 27 h 27"/>
                  <a:gd name="T14" fmla="*/ 16 w 19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27">
                    <a:moveTo>
                      <a:pt x="16" y="27"/>
                    </a:moveTo>
                    <a:lnTo>
                      <a:pt x="16" y="27"/>
                    </a:lnTo>
                    <a:lnTo>
                      <a:pt x="19" y="14"/>
                    </a:lnTo>
                    <a:lnTo>
                      <a:pt x="9" y="6"/>
                    </a:lnTo>
                    <a:lnTo>
                      <a:pt x="3" y="0"/>
                    </a:lnTo>
                    <a:lnTo>
                      <a:pt x="0" y="14"/>
                    </a:lnTo>
                    <a:lnTo>
                      <a:pt x="5" y="27"/>
                    </a:lnTo>
                    <a:lnTo>
                      <a:pt x="16" y="27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0" name="Freeform 6"/>
              <p:cNvSpPr>
                <a:spLocks/>
              </p:cNvSpPr>
              <p:nvPr/>
            </p:nvSpPr>
            <p:spPr bwMode="auto">
              <a:xfrm>
                <a:off x="1013977" y="473770"/>
                <a:ext cx="22180" cy="17400"/>
              </a:xfrm>
              <a:custGeom>
                <a:avLst/>
                <a:gdLst>
                  <a:gd name="T0" fmla="*/ 12 w 23"/>
                  <a:gd name="T1" fmla="*/ 9 h 19"/>
                  <a:gd name="T2" fmla="*/ 12 w 23"/>
                  <a:gd name="T3" fmla="*/ 9 h 19"/>
                  <a:gd name="T4" fmla="*/ 15 w 23"/>
                  <a:gd name="T5" fmla="*/ 19 h 19"/>
                  <a:gd name="T6" fmla="*/ 23 w 23"/>
                  <a:gd name="T7" fmla="*/ 9 h 19"/>
                  <a:gd name="T8" fmla="*/ 12 w 23"/>
                  <a:gd name="T9" fmla="*/ 0 h 19"/>
                  <a:gd name="T10" fmla="*/ 5 w 23"/>
                  <a:gd name="T11" fmla="*/ 0 h 19"/>
                  <a:gd name="T12" fmla="*/ 0 w 23"/>
                  <a:gd name="T13" fmla="*/ 12 h 19"/>
                  <a:gd name="T14" fmla="*/ 8 w 23"/>
                  <a:gd name="T15" fmla="*/ 19 h 19"/>
                  <a:gd name="T16" fmla="*/ 12 w 23"/>
                  <a:gd name="T17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19">
                    <a:moveTo>
                      <a:pt x="12" y="9"/>
                    </a:moveTo>
                    <a:lnTo>
                      <a:pt x="12" y="9"/>
                    </a:lnTo>
                    <a:lnTo>
                      <a:pt x="15" y="19"/>
                    </a:lnTo>
                    <a:lnTo>
                      <a:pt x="23" y="9"/>
                    </a:lnTo>
                    <a:lnTo>
                      <a:pt x="12" y="0"/>
                    </a:lnTo>
                    <a:lnTo>
                      <a:pt x="5" y="0"/>
                    </a:lnTo>
                    <a:lnTo>
                      <a:pt x="0" y="12"/>
                    </a:lnTo>
                    <a:lnTo>
                      <a:pt x="8" y="19"/>
                    </a:lnTo>
                    <a:lnTo>
                      <a:pt x="12" y="9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1" name="Freeform 7"/>
              <p:cNvSpPr>
                <a:spLocks/>
              </p:cNvSpPr>
              <p:nvPr/>
            </p:nvSpPr>
            <p:spPr bwMode="auto">
              <a:xfrm>
                <a:off x="1017145" y="530714"/>
                <a:ext cx="36439" cy="79089"/>
              </a:xfrm>
              <a:custGeom>
                <a:avLst/>
                <a:gdLst>
                  <a:gd name="T0" fmla="*/ 35 w 39"/>
                  <a:gd name="T1" fmla="*/ 12 h 83"/>
                  <a:gd name="T2" fmla="*/ 35 w 39"/>
                  <a:gd name="T3" fmla="*/ 12 h 83"/>
                  <a:gd name="T4" fmla="*/ 28 w 39"/>
                  <a:gd name="T5" fmla="*/ 0 h 83"/>
                  <a:gd name="T6" fmla="*/ 27 w 39"/>
                  <a:gd name="T7" fmla="*/ 0 h 83"/>
                  <a:gd name="T8" fmla="*/ 12 w 39"/>
                  <a:gd name="T9" fmla="*/ 8 h 83"/>
                  <a:gd name="T10" fmla="*/ 0 w 39"/>
                  <a:gd name="T11" fmla="*/ 21 h 83"/>
                  <a:gd name="T12" fmla="*/ 5 w 39"/>
                  <a:gd name="T13" fmla="*/ 34 h 83"/>
                  <a:gd name="T14" fmla="*/ 16 w 39"/>
                  <a:gd name="T15" fmla="*/ 45 h 83"/>
                  <a:gd name="T16" fmla="*/ 12 w 39"/>
                  <a:gd name="T17" fmla="*/ 55 h 83"/>
                  <a:gd name="T18" fmla="*/ 16 w 39"/>
                  <a:gd name="T19" fmla="*/ 66 h 83"/>
                  <a:gd name="T20" fmla="*/ 28 w 39"/>
                  <a:gd name="T21" fmla="*/ 79 h 83"/>
                  <a:gd name="T22" fmla="*/ 28 w 39"/>
                  <a:gd name="T23" fmla="*/ 83 h 83"/>
                  <a:gd name="T24" fmla="*/ 39 w 39"/>
                  <a:gd name="T25" fmla="*/ 79 h 83"/>
                  <a:gd name="T26" fmla="*/ 39 w 39"/>
                  <a:gd name="T27" fmla="*/ 69 h 83"/>
                  <a:gd name="T28" fmla="*/ 32 w 39"/>
                  <a:gd name="T29" fmla="*/ 58 h 83"/>
                  <a:gd name="T30" fmla="*/ 20 w 39"/>
                  <a:gd name="T31" fmla="*/ 58 h 83"/>
                  <a:gd name="T32" fmla="*/ 20 w 39"/>
                  <a:gd name="T33" fmla="*/ 34 h 83"/>
                  <a:gd name="T34" fmla="*/ 9 w 39"/>
                  <a:gd name="T35" fmla="*/ 21 h 83"/>
                  <a:gd name="T36" fmla="*/ 23 w 39"/>
                  <a:gd name="T37" fmla="*/ 15 h 83"/>
                  <a:gd name="T38" fmla="*/ 35 w 39"/>
                  <a:gd name="T39" fmla="*/ 12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9" h="83">
                    <a:moveTo>
                      <a:pt x="35" y="12"/>
                    </a:moveTo>
                    <a:lnTo>
                      <a:pt x="35" y="12"/>
                    </a:lnTo>
                    <a:lnTo>
                      <a:pt x="28" y="0"/>
                    </a:lnTo>
                    <a:lnTo>
                      <a:pt x="27" y="0"/>
                    </a:lnTo>
                    <a:lnTo>
                      <a:pt x="12" y="8"/>
                    </a:lnTo>
                    <a:lnTo>
                      <a:pt x="0" y="21"/>
                    </a:lnTo>
                    <a:lnTo>
                      <a:pt x="5" y="34"/>
                    </a:lnTo>
                    <a:lnTo>
                      <a:pt x="16" y="45"/>
                    </a:lnTo>
                    <a:lnTo>
                      <a:pt x="12" y="55"/>
                    </a:lnTo>
                    <a:lnTo>
                      <a:pt x="16" y="66"/>
                    </a:lnTo>
                    <a:lnTo>
                      <a:pt x="28" y="79"/>
                    </a:lnTo>
                    <a:lnTo>
                      <a:pt x="28" y="83"/>
                    </a:lnTo>
                    <a:lnTo>
                      <a:pt x="39" y="79"/>
                    </a:lnTo>
                    <a:lnTo>
                      <a:pt x="39" y="69"/>
                    </a:lnTo>
                    <a:lnTo>
                      <a:pt x="32" y="58"/>
                    </a:lnTo>
                    <a:lnTo>
                      <a:pt x="20" y="58"/>
                    </a:lnTo>
                    <a:lnTo>
                      <a:pt x="20" y="34"/>
                    </a:lnTo>
                    <a:lnTo>
                      <a:pt x="9" y="21"/>
                    </a:lnTo>
                    <a:lnTo>
                      <a:pt x="23" y="15"/>
                    </a:lnTo>
                    <a:lnTo>
                      <a:pt x="35" y="1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2" name="Freeform 8"/>
              <p:cNvSpPr>
                <a:spLocks/>
              </p:cNvSpPr>
              <p:nvPr/>
            </p:nvSpPr>
            <p:spPr bwMode="auto">
              <a:xfrm>
                <a:off x="4054205" y="4447193"/>
                <a:ext cx="1585" cy="4746"/>
              </a:xfrm>
              <a:custGeom>
                <a:avLst/>
                <a:gdLst>
                  <a:gd name="T0" fmla="*/ 1 w 2"/>
                  <a:gd name="T1" fmla="*/ 5 h 5"/>
                  <a:gd name="T2" fmla="*/ 1 w 2"/>
                  <a:gd name="T3" fmla="*/ 5 h 5"/>
                  <a:gd name="T4" fmla="*/ 2 w 2"/>
                  <a:gd name="T5" fmla="*/ 2 h 5"/>
                  <a:gd name="T6" fmla="*/ 0 w 2"/>
                  <a:gd name="T7" fmla="*/ 0 h 5"/>
                  <a:gd name="T8" fmla="*/ 1 w 2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5">
                    <a:moveTo>
                      <a:pt x="1" y="5"/>
                    </a:moveTo>
                    <a:lnTo>
                      <a:pt x="1" y="5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1" y="5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3" name="Freeform 9"/>
              <p:cNvSpPr>
                <a:spLocks/>
              </p:cNvSpPr>
              <p:nvPr/>
            </p:nvSpPr>
            <p:spPr bwMode="auto">
              <a:xfrm>
                <a:off x="4052621" y="4451938"/>
                <a:ext cx="25348" cy="71180"/>
              </a:xfrm>
              <a:custGeom>
                <a:avLst/>
                <a:gdLst>
                  <a:gd name="T0" fmla="*/ 2 w 26"/>
                  <a:gd name="T1" fmla="*/ 0 h 75"/>
                  <a:gd name="T2" fmla="*/ 2 w 26"/>
                  <a:gd name="T3" fmla="*/ 0 h 75"/>
                  <a:gd name="T4" fmla="*/ 0 w 26"/>
                  <a:gd name="T5" fmla="*/ 10 h 75"/>
                  <a:gd name="T6" fmla="*/ 8 w 26"/>
                  <a:gd name="T7" fmla="*/ 31 h 75"/>
                  <a:gd name="T8" fmla="*/ 8 w 26"/>
                  <a:gd name="T9" fmla="*/ 40 h 75"/>
                  <a:gd name="T10" fmla="*/ 15 w 26"/>
                  <a:gd name="T11" fmla="*/ 51 h 75"/>
                  <a:gd name="T12" fmla="*/ 26 w 26"/>
                  <a:gd name="T13" fmla="*/ 75 h 75"/>
                  <a:gd name="T14" fmla="*/ 23 w 26"/>
                  <a:gd name="T15" fmla="*/ 55 h 75"/>
                  <a:gd name="T16" fmla="*/ 2 w 26"/>
                  <a:gd name="T17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75">
                    <a:moveTo>
                      <a:pt x="2" y="0"/>
                    </a:moveTo>
                    <a:lnTo>
                      <a:pt x="2" y="0"/>
                    </a:lnTo>
                    <a:lnTo>
                      <a:pt x="0" y="10"/>
                    </a:lnTo>
                    <a:lnTo>
                      <a:pt x="8" y="31"/>
                    </a:lnTo>
                    <a:lnTo>
                      <a:pt x="8" y="40"/>
                    </a:lnTo>
                    <a:lnTo>
                      <a:pt x="15" y="51"/>
                    </a:lnTo>
                    <a:lnTo>
                      <a:pt x="26" y="75"/>
                    </a:lnTo>
                    <a:lnTo>
                      <a:pt x="23" y="55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4" name="Freeform 10"/>
              <p:cNvSpPr>
                <a:spLocks/>
              </p:cNvSpPr>
              <p:nvPr/>
            </p:nvSpPr>
            <p:spPr bwMode="auto">
              <a:xfrm>
                <a:off x="4077969" y="4523118"/>
                <a:ext cx="6337" cy="33218"/>
              </a:xfrm>
              <a:custGeom>
                <a:avLst/>
                <a:gdLst>
                  <a:gd name="T0" fmla="*/ 0 w 7"/>
                  <a:gd name="T1" fmla="*/ 24 h 34"/>
                  <a:gd name="T2" fmla="*/ 0 w 7"/>
                  <a:gd name="T3" fmla="*/ 24 h 34"/>
                  <a:gd name="T4" fmla="*/ 7 w 7"/>
                  <a:gd name="T5" fmla="*/ 34 h 34"/>
                  <a:gd name="T6" fmla="*/ 0 w 7"/>
                  <a:gd name="T7" fmla="*/ 0 h 34"/>
                  <a:gd name="T8" fmla="*/ 0 w 7"/>
                  <a:gd name="T9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34">
                    <a:moveTo>
                      <a:pt x="0" y="24"/>
                    </a:moveTo>
                    <a:lnTo>
                      <a:pt x="0" y="24"/>
                    </a:lnTo>
                    <a:lnTo>
                      <a:pt x="7" y="34"/>
                    </a:lnTo>
                    <a:lnTo>
                      <a:pt x="0" y="0"/>
                    </a:lnTo>
                    <a:lnTo>
                      <a:pt x="0" y="24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5" name="Freeform 11"/>
              <p:cNvSpPr>
                <a:spLocks/>
              </p:cNvSpPr>
              <p:nvPr/>
            </p:nvSpPr>
            <p:spPr bwMode="auto">
              <a:xfrm>
                <a:off x="4046284" y="4387085"/>
                <a:ext cx="7922" cy="60108"/>
              </a:xfrm>
              <a:custGeom>
                <a:avLst/>
                <a:gdLst>
                  <a:gd name="T0" fmla="*/ 0 w 8"/>
                  <a:gd name="T1" fmla="*/ 24 h 63"/>
                  <a:gd name="T2" fmla="*/ 0 w 8"/>
                  <a:gd name="T3" fmla="*/ 24 h 63"/>
                  <a:gd name="T4" fmla="*/ 3 w 8"/>
                  <a:gd name="T5" fmla="*/ 36 h 63"/>
                  <a:gd name="T6" fmla="*/ 0 w 8"/>
                  <a:gd name="T7" fmla="*/ 57 h 63"/>
                  <a:gd name="T8" fmla="*/ 8 w 8"/>
                  <a:gd name="T9" fmla="*/ 63 h 63"/>
                  <a:gd name="T10" fmla="*/ 7 w 8"/>
                  <a:gd name="T11" fmla="*/ 60 h 63"/>
                  <a:gd name="T12" fmla="*/ 3 w 8"/>
                  <a:gd name="T13" fmla="*/ 20 h 63"/>
                  <a:gd name="T14" fmla="*/ 3 w 8"/>
                  <a:gd name="T15" fmla="*/ 0 h 63"/>
                  <a:gd name="T16" fmla="*/ 0 w 8"/>
                  <a:gd name="T17" fmla="*/ 24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63">
                    <a:moveTo>
                      <a:pt x="0" y="24"/>
                    </a:moveTo>
                    <a:lnTo>
                      <a:pt x="0" y="24"/>
                    </a:lnTo>
                    <a:lnTo>
                      <a:pt x="3" y="36"/>
                    </a:lnTo>
                    <a:lnTo>
                      <a:pt x="0" y="57"/>
                    </a:lnTo>
                    <a:lnTo>
                      <a:pt x="8" y="63"/>
                    </a:lnTo>
                    <a:lnTo>
                      <a:pt x="7" y="60"/>
                    </a:lnTo>
                    <a:lnTo>
                      <a:pt x="3" y="20"/>
                    </a:lnTo>
                    <a:lnTo>
                      <a:pt x="3" y="0"/>
                    </a:lnTo>
                    <a:lnTo>
                      <a:pt x="0" y="24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6" name="Freeform 12"/>
              <p:cNvSpPr>
                <a:spLocks/>
              </p:cNvSpPr>
              <p:nvPr/>
            </p:nvSpPr>
            <p:spPr bwMode="auto">
              <a:xfrm>
                <a:off x="4049452" y="4281107"/>
                <a:ext cx="42776" cy="96489"/>
              </a:xfrm>
              <a:custGeom>
                <a:avLst/>
                <a:gdLst>
                  <a:gd name="T0" fmla="*/ 27 w 46"/>
                  <a:gd name="T1" fmla="*/ 32 h 101"/>
                  <a:gd name="T2" fmla="*/ 27 w 46"/>
                  <a:gd name="T3" fmla="*/ 32 h 101"/>
                  <a:gd name="T4" fmla="*/ 11 w 46"/>
                  <a:gd name="T5" fmla="*/ 59 h 101"/>
                  <a:gd name="T6" fmla="*/ 0 w 46"/>
                  <a:gd name="T7" fmla="*/ 80 h 101"/>
                  <a:gd name="T8" fmla="*/ 0 w 46"/>
                  <a:gd name="T9" fmla="*/ 101 h 101"/>
                  <a:gd name="T10" fmla="*/ 12 w 46"/>
                  <a:gd name="T11" fmla="*/ 69 h 101"/>
                  <a:gd name="T12" fmla="*/ 23 w 46"/>
                  <a:gd name="T13" fmla="*/ 48 h 101"/>
                  <a:gd name="T14" fmla="*/ 46 w 46"/>
                  <a:gd name="T15" fmla="*/ 12 h 101"/>
                  <a:gd name="T16" fmla="*/ 46 w 46"/>
                  <a:gd name="T17" fmla="*/ 0 h 101"/>
                  <a:gd name="T18" fmla="*/ 34 w 46"/>
                  <a:gd name="T19" fmla="*/ 24 h 101"/>
                  <a:gd name="T20" fmla="*/ 27 w 46"/>
                  <a:gd name="T21" fmla="*/ 32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" h="101">
                    <a:moveTo>
                      <a:pt x="27" y="32"/>
                    </a:moveTo>
                    <a:lnTo>
                      <a:pt x="27" y="32"/>
                    </a:lnTo>
                    <a:lnTo>
                      <a:pt x="11" y="59"/>
                    </a:lnTo>
                    <a:lnTo>
                      <a:pt x="0" y="80"/>
                    </a:lnTo>
                    <a:lnTo>
                      <a:pt x="0" y="101"/>
                    </a:lnTo>
                    <a:lnTo>
                      <a:pt x="12" y="69"/>
                    </a:lnTo>
                    <a:lnTo>
                      <a:pt x="23" y="48"/>
                    </a:lnTo>
                    <a:lnTo>
                      <a:pt x="46" y="12"/>
                    </a:lnTo>
                    <a:lnTo>
                      <a:pt x="46" y="0"/>
                    </a:lnTo>
                    <a:lnTo>
                      <a:pt x="34" y="24"/>
                    </a:lnTo>
                    <a:lnTo>
                      <a:pt x="27" y="3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7" name="Freeform 13"/>
              <p:cNvSpPr>
                <a:spLocks/>
              </p:cNvSpPr>
              <p:nvPr/>
            </p:nvSpPr>
            <p:spPr bwMode="auto">
              <a:xfrm>
                <a:off x="4413836" y="4028022"/>
                <a:ext cx="44360" cy="39545"/>
              </a:xfrm>
              <a:custGeom>
                <a:avLst/>
                <a:gdLst>
                  <a:gd name="T0" fmla="*/ 16 w 46"/>
                  <a:gd name="T1" fmla="*/ 24 h 40"/>
                  <a:gd name="T2" fmla="*/ 16 w 46"/>
                  <a:gd name="T3" fmla="*/ 24 h 40"/>
                  <a:gd name="T4" fmla="*/ 7 w 46"/>
                  <a:gd name="T5" fmla="*/ 30 h 40"/>
                  <a:gd name="T6" fmla="*/ 0 w 46"/>
                  <a:gd name="T7" fmla="*/ 40 h 40"/>
                  <a:gd name="T8" fmla="*/ 37 w 46"/>
                  <a:gd name="T9" fmla="*/ 13 h 40"/>
                  <a:gd name="T10" fmla="*/ 46 w 46"/>
                  <a:gd name="T11" fmla="*/ 0 h 40"/>
                  <a:gd name="T12" fmla="*/ 33 w 46"/>
                  <a:gd name="T13" fmla="*/ 10 h 40"/>
                  <a:gd name="T14" fmla="*/ 16 w 46"/>
                  <a:gd name="T15" fmla="*/ 2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" h="40">
                    <a:moveTo>
                      <a:pt x="16" y="24"/>
                    </a:moveTo>
                    <a:lnTo>
                      <a:pt x="16" y="24"/>
                    </a:lnTo>
                    <a:lnTo>
                      <a:pt x="7" y="30"/>
                    </a:lnTo>
                    <a:lnTo>
                      <a:pt x="0" y="40"/>
                    </a:lnTo>
                    <a:lnTo>
                      <a:pt x="37" y="13"/>
                    </a:lnTo>
                    <a:lnTo>
                      <a:pt x="46" y="0"/>
                    </a:lnTo>
                    <a:lnTo>
                      <a:pt x="33" y="10"/>
                    </a:lnTo>
                    <a:lnTo>
                      <a:pt x="16" y="24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8" name="Freeform 14"/>
              <p:cNvSpPr>
                <a:spLocks/>
              </p:cNvSpPr>
              <p:nvPr/>
            </p:nvSpPr>
            <p:spPr bwMode="auto">
              <a:xfrm>
                <a:off x="4111239" y="4232071"/>
                <a:ext cx="25348" cy="33218"/>
              </a:xfrm>
              <a:custGeom>
                <a:avLst/>
                <a:gdLst>
                  <a:gd name="T0" fmla="*/ 11 w 28"/>
                  <a:gd name="T1" fmla="*/ 11 h 35"/>
                  <a:gd name="T2" fmla="*/ 11 w 28"/>
                  <a:gd name="T3" fmla="*/ 11 h 35"/>
                  <a:gd name="T4" fmla="*/ 7 w 28"/>
                  <a:gd name="T5" fmla="*/ 21 h 35"/>
                  <a:gd name="T6" fmla="*/ 0 w 28"/>
                  <a:gd name="T7" fmla="*/ 32 h 35"/>
                  <a:gd name="T8" fmla="*/ 0 w 28"/>
                  <a:gd name="T9" fmla="*/ 35 h 35"/>
                  <a:gd name="T10" fmla="*/ 21 w 28"/>
                  <a:gd name="T11" fmla="*/ 15 h 35"/>
                  <a:gd name="T12" fmla="*/ 28 w 28"/>
                  <a:gd name="T13" fmla="*/ 2 h 35"/>
                  <a:gd name="T14" fmla="*/ 21 w 28"/>
                  <a:gd name="T15" fmla="*/ 0 h 35"/>
                  <a:gd name="T16" fmla="*/ 11 w 28"/>
                  <a:gd name="T17" fmla="*/ 1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35">
                    <a:moveTo>
                      <a:pt x="11" y="11"/>
                    </a:moveTo>
                    <a:lnTo>
                      <a:pt x="11" y="11"/>
                    </a:lnTo>
                    <a:lnTo>
                      <a:pt x="7" y="21"/>
                    </a:lnTo>
                    <a:lnTo>
                      <a:pt x="0" y="32"/>
                    </a:lnTo>
                    <a:lnTo>
                      <a:pt x="0" y="35"/>
                    </a:lnTo>
                    <a:lnTo>
                      <a:pt x="21" y="15"/>
                    </a:lnTo>
                    <a:lnTo>
                      <a:pt x="28" y="2"/>
                    </a:lnTo>
                    <a:lnTo>
                      <a:pt x="21" y="0"/>
                    </a:lnTo>
                    <a:lnTo>
                      <a:pt x="11" y="11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9" name="Freeform 15"/>
              <p:cNvSpPr>
                <a:spLocks/>
              </p:cNvSpPr>
              <p:nvPr/>
            </p:nvSpPr>
            <p:spPr bwMode="auto">
              <a:xfrm>
                <a:off x="4142925" y="4186200"/>
                <a:ext cx="63371" cy="45872"/>
              </a:xfrm>
              <a:custGeom>
                <a:avLst/>
                <a:gdLst>
                  <a:gd name="T0" fmla="*/ 49 w 67"/>
                  <a:gd name="T1" fmla="*/ 11 h 48"/>
                  <a:gd name="T2" fmla="*/ 49 w 67"/>
                  <a:gd name="T3" fmla="*/ 11 h 48"/>
                  <a:gd name="T4" fmla="*/ 26 w 67"/>
                  <a:gd name="T5" fmla="*/ 24 h 48"/>
                  <a:gd name="T6" fmla="*/ 17 w 67"/>
                  <a:gd name="T7" fmla="*/ 32 h 48"/>
                  <a:gd name="T8" fmla="*/ 3 w 67"/>
                  <a:gd name="T9" fmla="*/ 35 h 48"/>
                  <a:gd name="T10" fmla="*/ 0 w 67"/>
                  <a:gd name="T11" fmla="*/ 35 h 48"/>
                  <a:gd name="T12" fmla="*/ 3 w 67"/>
                  <a:gd name="T13" fmla="*/ 48 h 48"/>
                  <a:gd name="T14" fmla="*/ 40 w 67"/>
                  <a:gd name="T15" fmla="*/ 24 h 48"/>
                  <a:gd name="T16" fmla="*/ 63 w 67"/>
                  <a:gd name="T17" fmla="*/ 11 h 48"/>
                  <a:gd name="T18" fmla="*/ 67 w 67"/>
                  <a:gd name="T19" fmla="*/ 2 h 48"/>
                  <a:gd name="T20" fmla="*/ 63 w 67"/>
                  <a:gd name="T21" fmla="*/ 0 h 48"/>
                  <a:gd name="T22" fmla="*/ 49 w 67"/>
                  <a:gd name="T23" fmla="*/ 1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" h="48">
                    <a:moveTo>
                      <a:pt x="49" y="11"/>
                    </a:moveTo>
                    <a:lnTo>
                      <a:pt x="49" y="11"/>
                    </a:lnTo>
                    <a:lnTo>
                      <a:pt x="26" y="24"/>
                    </a:lnTo>
                    <a:lnTo>
                      <a:pt x="17" y="32"/>
                    </a:lnTo>
                    <a:lnTo>
                      <a:pt x="3" y="35"/>
                    </a:lnTo>
                    <a:lnTo>
                      <a:pt x="0" y="35"/>
                    </a:lnTo>
                    <a:lnTo>
                      <a:pt x="3" y="48"/>
                    </a:lnTo>
                    <a:lnTo>
                      <a:pt x="40" y="24"/>
                    </a:lnTo>
                    <a:lnTo>
                      <a:pt x="63" y="11"/>
                    </a:lnTo>
                    <a:lnTo>
                      <a:pt x="67" y="2"/>
                    </a:lnTo>
                    <a:lnTo>
                      <a:pt x="63" y="0"/>
                    </a:lnTo>
                    <a:lnTo>
                      <a:pt x="49" y="11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0" name="Freeform 16"/>
              <p:cNvSpPr>
                <a:spLocks/>
              </p:cNvSpPr>
              <p:nvPr/>
            </p:nvSpPr>
            <p:spPr bwMode="auto">
              <a:xfrm>
                <a:off x="5969596" y="3868262"/>
                <a:ext cx="41191" cy="17400"/>
              </a:xfrm>
              <a:custGeom>
                <a:avLst/>
                <a:gdLst>
                  <a:gd name="T0" fmla="*/ 26 w 44"/>
                  <a:gd name="T1" fmla="*/ 8 h 18"/>
                  <a:gd name="T2" fmla="*/ 26 w 44"/>
                  <a:gd name="T3" fmla="*/ 8 h 18"/>
                  <a:gd name="T4" fmla="*/ 12 w 44"/>
                  <a:gd name="T5" fmla="*/ 15 h 18"/>
                  <a:gd name="T6" fmla="*/ 0 w 44"/>
                  <a:gd name="T7" fmla="*/ 15 h 18"/>
                  <a:gd name="T8" fmla="*/ 9 w 44"/>
                  <a:gd name="T9" fmla="*/ 18 h 18"/>
                  <a:gd name="T10" fmla="*/ 23 w 44"/>
                  <a:gd name="T11" fmla="*/ 11 h 18"/>
                  <a:gd name="T12" fmla="*/ 30 w 44"/>
                  <a:gd name="T13" fmla="*/ 8 h 18"/>
                  <a:gd name="T14" fmla="*/ 44 w 44"/>
                  <a:gd name="T15" fmla="*/ 0 h 18"/>
                  <a:gd name="T16" fmla="*/ 35 w 44"/>
                  <a:gd name="T17" fmla="*/ 3 h 18"/>
                  <a:gd name="T18" fmla="*/ 26 w 44"/>
                  <a:gd name="T19" fmla="*/ 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18">
                    <a:moveTo>
                      <a:pt x="26" y="8"/>
                    </a:moveTo>
                    <a:lnTo>
                      <a:pt x="26" y="8"/>
                    </a:lnTo>
                    <a:lnTo>
                      <a:pt x="12" y="15"/>
                    </a:lnTo>
                    <a:lnTo>
                      <a:pt x="0" y="15"/>
                    </a:lnTo>
                    <a:lnTo>
                      <a:pt x="9" y="18"/>
                    </a:lnTo>
                    <a:lnTo>
                      <a:pt x="23" y="11"/>
                    </a:lnTo>
                    <a:lnTo>
                      <a:pt x="30" y="8"/>
                    </a:lnTo>
                    <a:lnTo>
                      <a:pt x="44" y="0"/>
                    </a:lnTo>
                    <a:lnTo>
                      <a:pt x="35" y="3"/>
                    </a:lnTo>
                    <a:lnTo>
                      <a:pt x="26" y="8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1" name="Freeform 17"/>
              <p:cNvSpPr>
                <a:spLocks/>
              </p:cNvSpPr>
              <p:nvPr/>
            </p:nvSpPr>
            <p:spPr bwMode="auto">
              <a:xfrm>
                <a:off x="6015541" y="3854027"/>
                <a:ext cx="11090" cy="11073"/>
              </a:xfrm>
              <a:custGeom>
                <a:avLst/>
                <a:gdLst>
                  <a:gd name="T0" fmla="*/ 0 w 12"/>
                  <a:gd name="T1" fmla="*/ 10 h 12"/>
                  <a:gd name="T2" fmla="*/ 0 w 12"/>
                  <a:gd name="T3" fmla="*/ 10 h 12"/>
                  <a:gd name="T4" fmla="*/ 0 w 12"/>
                  <a:gd name="T5" fmla="*/ 12 h 12"/>
                  <a:gd name="T6" fmla="*/ 4 w 12"/>
                  <a:gd name="T7" fmla="*/ 10 h 12"/>
                  <a:gd name="T8" fmla="*/ 12 w 12"/>
                  <a:gd name="T9" fmla="*/ 0 h 12"/>
                  <a:gd name="T10" fmla="*/ 0 w 12"/>
                  <a:gd name="T11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2">
                    <a:moveTo>
                      <a:pt x="0" y="10"/>
                    </a:moveTo>
                    <a:lnTo>
                      <a:pt x="0" y="10"/>
                    </a:lnTo>
                    <a:lnTo>
                      <a:pt x="0" y="12"/>
                    </a:lnTo>
                    <a:lnTo>
                      <a:pt x="4" y="10"/>
                    </a:lnTo>
                    <a:lnTo>
                      <a:pt x="12" y="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2" name="Freeform 18"/>
              <p:cNvSpPr>
                <a:spLocks/>
              </p:cNvSpPr>
              <p:nvPr/>
            </p:nvSpPr>
            <p:spPr bwMode="auto">
              <a:xfrm>
                <a:off x="6010788" y="3865099"/>
                <a:ext cx="4753" cy="3164"/>
              </a:xfrm>
              <a:custGeom>
                <a:avLst/>
                <a:gdLst>
                  <a:gd name="T0" fmla="*/ 0 w 5"/>
                  <a:gd name="T1" fmla="*/ 4 h 4"/>
                  <a:gd name="T2" fmla="*/ 0 w 5"/>
                  <a:gd name="T3" fmla="*/ 4 h 4"/>
                  <a:gd name="T4" fmla="*/ 5 w 5"/>
                  <a:gd name="T5" fmla="*/ 1 h 4"/>
                  <a:gd name="T6" fmla="*/ 5 w 5"/>
                  <a:gd name="T7" fmla="*/ 0 h 4"/>
                  <a:gd name="T8" fmla="*/ 0 w 5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0" y="4"/>
                    </a:moveTo>
                    <a:lnTo>
                      <a:pt x="0" y="4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0" y="4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3" name="Freeform 19"/>
              <p:cNvSpPr>
                <a:spLocks/>
              </p:cNvSpPr>
              <p:nvPr/>
            </p:nvSpPr>
            <p:spPr bwMode="auto">
              <a:xfrm>
                <a:off x="4887535" y="3966333"/>
                <a:ext cx="49113" cy="23727"/>
              </a:xfrm>
              <a:custGeom>
                <a:avLst/>
                <a:gdLst>
                  <a:gd name="T0" fmla="*/ 27 w 53"/>
                  <a:gd name="T1" fmla="*/ 0 h 24"/>
                  <a:gd name="T2" fmla="*/ 27 w 53"/>
                  <a:gd name="T3" fmla="*/ 0 h 24"/>
                  <a:gd name="T4" fmla="*/ 0 w 53"/>
                  <a:gd name="T5" fmla="*/ 6 h 24"/>
                  <a:gd name="T6" fmla="*/ 7 w 53"/>
                  <a:gd name="T7" fmla="*/ 14 h 24"/>
                  <a:gd name="T8" fmla="*/ 20 w 53"/>
                  <a:gd name="T9" fmla="*/ 17 h 24"/>
                  <a:gd name="T10" fmla="*/ 34 w 53"/>
                  <a:gd name="T11" fmla="*/ 24 h 24"/>
                  <a:gd name="T12" fmla="*/ 46 w 53"/>
                  <a:gd name="T13" fmla="*/ 20 h 24"/>
                  <a:gd name="T14" fmla="*/ 53 w 53"/>
                  <a:gd name="T15" fmla="*/ 11 h 24"/>
                  <a:gd name="T16" fmla="*/ 50 w 53"/>
                  <a:gd name="T17" fmla="*/ 8 h 24"/>
                  <a:gd name="T18" fmla="*/ 27 w 53"/>
                  <a:gd name="T1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" h="24">
                    <a:moveTo>
                      <a:pt x="27" y="0"/>
                    </a:moveTo>
                    <a:lnTo>
                      <a:pt x="27" y="0"/>
                    </a:lnTo>
                    <a:lnTo>
                      <a:pt x="0" y="6"/>
                    </a:lnTo>
                    <a:lnTo>
                      <a:pt x="7" y="14"/>
                    </a:lnTo>
                    <a:lnTo>
                      <a:pt x="20" y="17"/>
                    </a:lnTo>
                    <a:lnTo>
                      <a:pt x="34" y="24"/>
                    </a:lnTo>
                    <a:lnTo>
                      <a:pt x="46" y="20"/>
                    </a:lnTo>
                    <a:lnTo>
                      <a:pt x="53" y="11"/>
                    </a:lnTo>
                    <a:lnTo>
                      <a:pt x="50" y="8"/>
                    </a:lnTo>
                    <a:lnTo>
                      <a:pt x="27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4" name="Freeform 20"/>
              <p:cNvSpPr>
                <a:spLocks/>
              </p:cNvSpPr>
              <p:nvPr/>
            </p:nvSpPr>
            <p:spPr bwMode="auto">
              <a:xfrm>
                <a:off x="5003187" y="4002714"/>
                <a:ext cx="25348" cy="23727"/>
              </a:xfrm>
              <a:custGeom>
                <a:avLst/>
                <a:gdLst>
                  <a:gd name="T0" fmla="*/ 14 w 26"/>
                  <a:gd name="T1" fmla="*/ 0 h 24"/>
                  <a:gd name="T2" fmla="*/ 14 w 26"/>
                  <a:gd name="T3" fmla="*/ 0 h 24"/>
                  <a:gd name="T4" fmla="*/ 3 w 26"/>
                  <a:gd name="T5" fmla="*/ 13 h 24"/>
                  <a:gd name="T6" fmla="*/ 0 w 26"/>
                  <a:gd name="T7" fmla="*/ 16 h 24"/>
                  <a:gd name="T8" fmla="*/ 14 w 26"/>
                  <a:gd name="T9" fmla="*/ 24 h 24"/>
                  <a:gd name="T10" fmla="*/ 24 w 26"/>
                  <a:gd name="T11" fmla="*/ 24 h 24"/>
                  <a:gd name="T12" fmla="*/ 26 w 26"/>
                  <a:gd name="T13" fmla="*/ 21 h 24"/>
                  <a:gd name="T14" fmla="*/ 24 w 26"/>
                  <a:gd name="T15" fmla="*/ 13 h 24"/>
                  <a:gd name="T16" fmla="*/ 14 w 26"/>
                  <a:gd name="T1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24">
                    <a:moveTo>
                      <a:pt x="14" y="0"/>
                    </a:moveTo>
                    <a:lnTo>
                      <a:pt x="14" y="0"/>
                    </a:lnTo>
                    <a:lnTo>
                      <a:pt x="3" y="13"/>
                    </a:lnTo>
                    <a:lnTo>
                      <a:pt x="0" y="16"/>
                    </a:lnTo>
                    <a:lnTo>
                      <a:pt x="14" y="24"/>
                    </a:lnTo>
                    <a:lnTo>
                      <a:pt x="24" y="24"/>
                    </a:lnTo>
                    <a:lnTo>
                      <a:pt x="26" y="21"/>
                    </a:lnTo>
                    <a:lnTo>
                      <a:pt x="24" y="13"/>
                    </a:lnTo>
                    <a:lnTo>
                      <a:pt x="14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5" name="Freeform 21"/>
              <p:cNvSpPr>
                <a:spLocks/>
              </p:cNvSpPr>
              <p:nvPr/>
            </p:nvSpPr>
            <p:spPr bwMode="auto">
              <a:xfrm>
                <a:off x="4898625" y="1111226"/>
                <a:ext cx="14259" cy="9491"/>
              </a:xfrm>
              <a:custGeom>
                <a:avLst/>
                <a:gdLst>
                  <a:gd name="T0" fmla="*/ 0 w 14"/>
                  <a:gd name="T1" fmla="*/ 10 h 10"/>
                  <a:gd name="T2" fmla="*/ 0 w 14"/>
                  <a:gd name="T3" fmla="*/ 10 h 10"/>
                  <a:gd name="T4" fmla="*/ 14 w 14"/>
                  <a:gd name="T5" fmla="*/ 3 h 10"/>
                  <a:gd name="T6" fmla="*/ 14 w 14"/>
                  <a:gd name="T7" fmla="*/ 0 h 10"/>
                  <a:gd name="T8" fmla="*/ 0 w 14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0">
                    <a:moveTo>
                      <a:pt x="0" y="10"/>
                    </a:moveTo>
                    <a:lnTo>
                      <a:pt x="0" y="10"/>
                    </a:lnTo>
                    <a:lnTo>
                      <a:pt x="14" y="3"/>
                    </a:lnTo>
                    <a:lnTo>
                      <a:pt x="14" y="0"/>
                    </a:lnTo>
                    <a:lnTo>
                      <a:pt x="0" y="1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6" name="Freeform 22"/>
              <p:cNvSpPr>
                <a:spLocks/>
              </p:cNvSpPr>
              <p:nvPr/>
            </p:nvSpPr>
            <p:spPr bwMode="auto">
              <a:xfrm>
                <a:off x="4919221" y="1093826"/>
                <a:ext cx="4753" cy="12654"/>
              </a:xfrm>
              <a:custGeom>
                <a:avLst/>
                <a:gdLst>
                  <a:gd name="T0" fmla="*/ 0 w 5"/>
                  <a:gd name="T1" fmla="*/ 0 h 12"/>
                  <a:gd name="T2" fmla="*/ 0 w 5"/>
                  <a:gd name="T3" fmla="*/ 0 h 12"/>
                  <a:gd name="T4" fmla="*/ 3 w 5"/>
                  <a:gd name="T5" fmla="*/ 12 h 12"/>
                  <a:gd name="T6" fmla="*/ 5 w 5"/>
                  <a:gd name="T7" fmla="*/ 0 h 12"/>
                  <a:gd name="T8" fmla="*/ 0 w 5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2">
                    <a:moveTo>
                      <a:pt x="0" y="0"/>
                    </a:moveTo>
                    <a:lnTo>
                      <a:pt x="0" y="0"/>
                    </a:lnTo>
                    <a:lnTo>
                      <a:pt x="3" y="12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7" name="Freeform 23"/>
              <p:cNvSpPr>
                <a:spLocks/>
              </p:cNvSpPr>
              <p:nvPr/>
            </p:nvSpPr>
            <p:spPr bwMode="auto">
              <a:xfrm>
                <a:off x="5302616" y="3863518"/>
                <a:ext cx="15843" cy="11073"/>
              </a:xfrm>
              <a:custGeom>
                <a:avLst/>
                <a:gdLst>
                  <a:gd name="T0" fmla="*/ 3 w 16"/>
                  <a:gd name="T1" fmla="*/ 9 h 13"/>
                  <a:gd name="T2" fmla="*/ 3 w 16"/>
                  <a:gd name="T3" fmla="*/ 9 h 13"/>
                  <a:gd name="T4" fmla="*/ 0 w 16"/>
                  <a:gd name="T5" fmla="*/ 13 h 13"/>
                  <a:gd name="T6" fmla="*/ 11 w 16"/>
                  <a:gd name="T7" fmla="*/ 9 h 13"/>
                  <a:gd name="T8" fmla="*/ 16 w 16"/>
                  <a:gd name="T9" fmla="*/ 0 h 13"/>
                  <a:gd name="T10" fmla="*/ 3 w 16"/>
                  <a:gd name="T11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13">
                    <a:moveTo>
                      <a:pt x="3" y="9"/>
                    </a:moveTo>
                    <a:lnTo>
                      <a:pt x="3" y="9"/>
                    </a:lnTo>
                    <a:lnTo>
                      <a:pt x="0" y="13"/>
                    </a:lnTo>
                    <a:lnTo>
                      <a:pt x="11" y="9"/>
                    </a:lnTo>
                    <a:lnTo>
                      <a:pt x="16" y="0"/>
                    </a:lnTo>
                    <a:lnTo>
                      <a:pt x="3" y="9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8" name="Freeform 24"/>
              <p:cNvSpPr>
                <a:spLocks/>
              </p:cNvSpPr>
              <p:nvPr/>
            </p:nvSpPr>
            <p:spPr bwMode="auto">
              <a:xfrm>
                <a:off x="5397673" y="3833463"/>
                <a:ext cx="22180" cy="3164"/>
              </a:xfrm>
              <a:custGeom>
                <a:avLst/>
                <a:gdLst>
                  <a:gd name="T0" fmla="*/ 0 w 24"/>
                  <a:gd name="T1" fmla="*/ 3 h 3"/>
                  <a:gd name="T2" fmla="*/ 0 w 24"/>
                  <a:gd name="T3" fmla="*/ 3 h 3"/>
                  <a:gd name="T4" fmla="*/ 10 w 24"/>
                  <a:gd name="T5" fmla="*/ 3 h 3"/>
                  <a:gd name="T6" fmla="*/ 24 w 24"/>
                  <a:gd name="T7" fmla="*/ 3 h 3"/>
                  <a:gd name="T8" fmla="*/ 0 w 24"/>
                  <a:gd name="T9" fmla="*/ 0 h 3"/>
                  <a:gd name="T10" fmla="*/ 0 w 24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3">
                    <a:moveTo>
                      <a:pt x="0" y="3"/>
                    </a:moveTo>
                    <a:lnTo>
                      <a:pt x="0" y="3"/>
                    </a:lnTo>
                    <a:lnTo>
                      <a:pt x="10" y="3"/>
                    </a:lnTo>
                    <a:lnTo>
                      <a:pt x="24" y="3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9" name="Freeform 25"/>
              <p:cNvSpPr>
                <a:spLocks/>
              </p:cNvSpPr>
              <p:nvPr/>
            </p:nvSpPr>
            <p:spPr bwMode="auto">
              <a:xfrm>
                <a:off x="5331133" y="1348493"/>
                <a:ext cx="47528" cy="80671"/>
              </a:xfrm>
              <a:custGeom>
                <a:avLst/>
                <a:gdLst>
                  <a:gd name="T0" fmla="*/ 46 w 49"/>
                  <a:gd name="T1" fmla="*/ 0 h 84"/>
                  <a:gd name="T2" fmla="*/ 46 w 49"/>
                  <a:gd name="T3" fmla="*/ 0 h 84"/>
                  <a:gd name="T4" fmla="*/ 37 w 49"/>
                  <a:gd name="T5" fmla="*/ 9 h 84"/>
                  <a:gd name="T6" fmla="*/ 30 w 49"/>
                  <a:gd name="T7" fmla="*/ 22 h 84"/>
                  <a:gd name="T8" fmla="*/ 16 w 49"/>
                  <a:gd name="T9" fmla="*/ 30 h 84"/>
                  <a:gd name="T10" fmla="*/ 16 w 49"/>
                  <a:gd name="T11" fmla="*/ 43 h 84"/>
                  <a:gd name="T12" fmla="*/ 7 w 49"/>
                  <a:gd name="T13" fmla="*/ 54 h 84"/>
                  <a:gd name="T14" fmla="*/ 0 w 49"/>
                  <a:gd name="T15" fmla="*/ 70 h 84"/>
                  <a:gd name="T16" fmla="*/ 7 w 49"/>
                  <a:gd name="T17" fmla="*/ 81 h 84"/>
                  <a:gd name="T18" fmla="*/ 19 w 49"/>
                  <a:gd name="T19" fmla="*/ 84 h 84"/>
                  <a:gd name="T20" fmla="*/ 26 w 49"/>
                  <a:gd name="T21" fmla="*/ 73 h 84"/>
                  <a:gd name="T22" fmla="*/ 33 w 49"/>
                  <a:gd name="T23" fmla="*/ 63 h 84"/>
                  <a:gd name="T24" fmla="*/ 33 w 49"/>
                  <a:gd name="T25" fmla="*/ 51 h 84"/>
                  <a:gd name="T26" fmla="*/ 42 w 49"/>
                  <a:gd name="T27" fmla="*/ 36 h 84"/>
                  <a:gd name="T28" fmla="*/ 40 w 49"/>
                  <a:gd name="T29" fmla="*/ 27 h 84"/>
                  <a:gd name="T30" fmla="*/ 49 w 49"/>
                  <a:gd name="T31" fmla="*/ 3 h 84"/>
                  <a:gd name="T32" fmla="*/ 46 w 49"/>
                  <a:gd name="T3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84">
                    <a:moveTo>
                      <a:pt x="46" y="0"/>
                    </a:moveTo>
                    <a:lnTo>
                      <a:pt x="46" y="0"/>
                    </a:lnTo>
                    <a:lnTo>
                      <a:pt x="37" y="9"/>
                    </a:lnTo>
                    <a:lnTo>
                      <a:pt x="30" y="22"/>
                    </a:lnTo>
                    <a:lnTo>
                      <a:pt x="16" y="30"/>
                    </a:lnTo>
                    <a:lnTo>
                      <a:pt x="16" y="43"/>
                    </a:lnTo>
                    <a:lnTo>
                      <a:pt x="7" y="54"/>
                    </a:lnTo>
                    <a:lnTo>
                      <a:pt x="0" y="70"/>
                    </a:lnTo>
                    <a:lnTo>
                      <a:pt x="7" y="81"/>
                    </a:lnTo>
                    <a:lnTo>
                      <a:pt x="19" y="84"/>
                    </a:lnTo>
                    <a:lnTo>
                      <a:pt x="26" y="73"/>
                    </a:lnTo>
                    <a:lnTo>
                      <a:pt x="33" y="63"/>
                    </a:lnTo>
                    <a:lnTo>
                      <a:pt x="33" y="51"/>
                    </a:lnTo>
                    <a:lnTo>
                      <a:pt x="42" y="36"/>
                    </a:lnTo>
                    <a:lnTo>
                      <a:pt x="40" y="27"/>
                    </a:lnTo>
                    <a:lnTo>
                      <a:pt x="49" y="3"/>
                    </a:lnTo>
                    <a:lnTo>
                      <a:pt x="46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0" name="Freeform 26"/>
              <p:cNvSpPr>
                <a:spLocks/>
              </p:cNvSpPr>
              <p:nvPr/>
            </p:nvSpPr>
            <p:spPr bwMode="auto">
              <a:xfrm>
                <a:off x="5754135" y="1171334"/>
                <a:ext cx="47528" cy="30054"/>
              </a:xfrm>
              <a:custGeom>
                <a:avLst/>
                <a:gdLst>
                  <a:gd name="T0" fmla="*/ 12 w 49"/>
                  <a:gd name="T1" fmla="*/ 31 h 31"/>
                  <a:gd name="T2" fmla="*/ 12 w 49"/>
                  <a:gd name="T3" fmla="*/ 31 h 31"/>
                  <a:gd name="T4" fmla="*/ 37 w 49"/>
                  <a:gd name="T5" fmla="*/ 27 h 31"/>
                  <a:gd name="T6" fmla="*/ 49 w 49"/>
                  <a:gd name="T7" fmla="*/ 21 h 31"/>
                  <a:gd name="T8" fmla="*/ 42 w 49"/>
                  <a:gd name="T9" fmla="*/ 10 h 31"/>
                  <a:gd name="T10" fmla="*/ 29 w 49"/>
                  <a:gd name="T11" fmla="*/ 0 h 31"/>
                  <a:gd name="T12" fmla="*/ 19 w 49"/>
                  <a:gd name="T13" fmla="*/ 0 h 31"/>
                  <a:gd name="T14" fmla="*/ 22 w 49"/>
                  <a:gd name="T15" fmla="*/ 10 h 31"/>
                  <a:gd name="T16" fmla="*/ 12 w 49"/>
                  <a:gd name="T17" fmla="*/ 18 h 31"/>
                  <a:gd name="T18" fmla="*/ 0 w 49"/>
                  <a:gd name="T19" fmla="*/ 21 h 31"/>
                  <a:gd name="T20" fmla="*/ 12 w 49"/>
                  <a:gd name="T21" fmla="*/ 27 h 31"/>
                  <a:gd name="T22" fmla="*/ 12 w 49"/>
                  <a:gd name="T2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9" h="31">
                    <a:moveTo>
                      <a:pt x="12" y="31"/>
                    </a:moveTo>
                    <a:lnTo>
                      <a:pt x="12" y="31"/>
                    </a:lnTo>
                    <a:lnTo>
                      <a:pt x="37" y="27"/>
                    </a:lnTo>
                    <a:lnTo>
                      <a:pt x="49" y="21"/>
                    </a:lnTo>
                    <a:lnTo>
                      <a:pt x="42" y="10"/>
                    </a:lnTo>
                    <a:lnTo>
                      <a:pt x="29" y="0"/>
                    </a:lnTo>
                    <a:lnTo>
                      <a:pt x="19" y="0"/>
                    </a:lnTo>
                    <a:lnTo>
                      <a:pt x="22" y="10"/>
                    </a:lnTo>
                    <a:lnTo>
                      <a:pt x="12" y="18"/>
                    </a:lnTo>
                    <a:lnTo>
                      <a:pt x="0" y="21"/>
                    </a:lnTo>
                    <a:lnTo>
                      <a:pt x="12" y="27"/>
                    </a:lnTo>
                    <a:lnTo>
                      <a:pt x="12" y="31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1" name="Freeform 27"/>
              <p:cNvSpPr>
                <a:spLocks/>
              </p:cNvSpPr>
              <p:nvPr/>
            </p:nvSpPr>
            <p:spPr bwMode="auto">
              <a:xfrm>
                <a:off x="5063390" y="896105"/>
                <a:ext cx="80799" cy="63271"/>
              </a:xfrm>
              <a:custGeom>
                <a:avLst/>
                <a:gdLst>
                  <a:gd name="T0" fmla="*/ 18 w 86"/>
                  <a:gd name="T1" fmla="*/ 61 h 67"/>
                  <a:gd name="T2" fmla="*/ 18 w 86"/>
                  <a:gd name="T3" fmla="*/ 61 h 67"/>
                  <a:gd name="T4" fmla="*/ 27 w 86"/>
                  <a:gd name="T5" fmla="*/ 51 h 67"/>
                  <a:gd name="T6" fmla="*/ 34 w 86"/>
                  <a:gd name="T7" fmla="*/ 43 h 67"/>
                  <a:gd name="T8" fmla="*/ 60 w 86"/>
                  <a:gd name="T9" fmla="*/ 33 h 67"/>
                  <a:gd name="T10" fmla="*/ 71 w 86"/>
                  <a:gd name="T11" fmla="*/ 24 h 67"/>
                  <a:gd name="T12" fmla="*/ 76 w 86"/>
                  <a:gd name="T13" fmla="*/ 13 h 67"/>
                  <a:gd name="T14" fmla="*/ 86 w 86"/>
                  <a:gd name="T15" fmla="*/ 3 h 67"/>
                  <a:gd name="T16" fmla="*/ 83 w 86"/>
                  <a:gd name="T17" fmla="*/ 0 h 67"/>
                  <a:gd name="T18" fmla="*/ 71 w 86"/>
                  <a:gd name="T19" fmla="*/ 6 h 67"/>
                  <a:gd name="T20" fmla="*/ 50 w 86"/>
                  <a:gd name="T21" fmla="*/ 22 h 67"/>
                  <a:gd name="T22" fmla="*/ 23 w 86"/>
                  <a:gd name="T23" fmla="*/ 33 h 67"/>
                  <a:gd name="T24" fmla="*/ 0 w 86"/>
                  <a:gd name="T25" fmla="*/ 49 h 67"/>
                  <a:gd name="T26" fmla="*/ 0 w 86"/>
                  <a:gd name="T27" fmla="*/ 54 h 67"/>
                  <a:gd name="T28" fmla="*/ 4 w 86"/>
                  <a:gd name="T29" fmla="*/ 67 h 67"/>
                  <a:gd name="T30" fmla="*/ 18 w 86"/>
                  <a:gd name="T31" fmla="*/ 6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6" h="67">
                    <a:moveTo>
                      <a:pt x="18" y="61"/>
                    </a:moveTo>
                    <a:lnTo>
                      <a:pt x="18" y="61"/>
                    </a:lnTo>
                    <a:lnTo>
                      <a:pt x="27" y="51"/>
                    </a:lnTo>
                    <a:lnTo>
                      <a:pt x="34" y="43"/>
                    </a:lnTo>
                    <a:lnTo>
                      <a:pt x="60" y="33"/>
                    </a:lnTo>
                    <a:lnTo>
                      <a:pt x="71" y="24"/>
                    </a:lnTo>
                    <a:lnTo>
                      <a:pt x="76" y="13"/>
                    </a:lnTo>
                    <a:lnTo>
                      <a:pt x="86" y="3"/>
                    </a:lnTo>
                    <a:lnTo>
                      <a:pt x="83" y="0"/>
                    </a:lnTo>
                    <a:lnTo>
                      <a:pt x="71" y="6"/>
                    </a:lnTo>
                    <a:lnTo>
                      <a:pt x="50" y="22"/>
                    </a:lnTo>
                    <a:lnTo>
                      <a:pt x="23" y="33"/>
                    </a:lnTo>
                    <a:lnTo>
                      <a:pt x="0" y="49"/>
                    </a:lnTo>
                    <a:lnTo>
                      <a:pt x="0" y="54"/>
                    </a:lnTo>
                    <a:lnTo>
                      <a:pt x="4" y="67"/>
                    </a:lnTo>
                    <a:lnTo>
                      <a:pt x="18" y="61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2" name="Freeform 28"/>
              <p:cNvSpPr>
                <a:spLocks/>
              </p:cNvSpPr>
              <p:nvPr/>
            </p:nvSpPr>
            <p:spPr bwMode="auto">
              <a:xfrm>
                <a:off x="5144188" y="1003666"/>
                <a:ext cx="106147" cy="83835"/>
              </a:xfrm>
              <a:custGeom>
                <a:avLst/>
                <a:gdLst>
                  <a:gd name="T0" fmla="*/ 4 w 110"/>
                  <a:gd name="T1" fmla="*/ 65 h 88"/>
                  <a:gd name="T2" fmla="*/ 4 w 110"/>
                  <a:gd name="T3" fmla="*/ 65 h 88"/>
                  <a:gd name="T4" fmla="*/ 27 w 110"/>
                  <a:gd name="T5" fmla="*/ 65 h 88"/>
                  <a:gd name="T6" fmla="*/ 16 w 110"/>
                  <a:gd name="T7" fmla="*/ 78 h 88"/>
                  <a:gd name="T8" fmla="*/ 30 w 110"/>
                  <a:gd name="T9" fmla="*/ 88 h 88"/>
                  <a:gd name="T10" fmla="*/ 46 w 110"/>
                  <a:gd name="T11" fmla="*/ 57 h 88"/>
                  <a:gd name="T12" fmla="*/ 67 w 110"/>
                  <a:gd name="T13" fmla="*/ 37 h 88"/>
                  <a:gd name="T14" fmla="*/ 80 w 110"/>
                  <a:gd name="T15" fmla="*/ 27 h 88"/>
                  <a:gd name="T16" fmla="*/ 83 w 110"/>
                  <a:gd name="T17" fmla="*/ 14 h 88"/>
                  <a:gd name="T18" fmla="*/ 99 w 110"/>
                  <a:gd name="T19" fmla="*/ 14 h 88"/>
                  <a:gd name="T20" fmla="*/ 110 w 110"/>
                  <a:gd name="T21" fmla="*/ 6 h 88"/>
                  <a:gd name="T22" fmla="*/ 99 w 110"/>
                  <a:gd name="T23" fmla="*/ 0 h 88"/>
                  <a:gd name="T24" fmla="*/ 73 w 110"/>
                  <a:gd name="T25" fmla="*/ 0 h 88"/>
                  <a:gd name="T26" fmla="*/ 46 w 110"/>
                  <a:gd name="T27" fmla="*/ 9 h 88"/>
                  <a:gd name="T28" fmla="*/ 23 w 110"/>
                  <a:gd name="T29" fmla="*/ 21 h 88"/>
                  <a:gd name="T30" fmla="*/ 8 w 110"/>
                  <a:gd name="T31" fmla="*/ 45 h 88"/>
                  <a:gd name="T32" fmla="*/ 0 w 110"/>
                  <a:gd name="T33" fmla="*/ 54 h 88"/>
                  <a:gd name="T34" fmla="*/ 4 w 110"/>
                  <a:gd name="T35" fmla="*/ 65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0" h="88">
                    <a:moveTo>
                      <a:pt x="4" y="65"/>
                    </a:moveTo>
                    <a:lnTo>
                      <a:pt x="4" y="65"/>
                    </a:lnTo>
                    <a:lnTo>
                      <a:pt x="27" y="65"/>
                    </a:lnTo>
                    <a:lnTo>
                      <a:pt x="16" y="78"/>
                    </a:lnTo>
                    <a:lnTo>
                      <a:pt x="30" y="88"/>
                    </a:lnTo>
                    <a:lnTo>
                      <a:pt x="46" y="57"/>
                    </a:lnTo>
                    <a:lnTo>
                      <a:pt x="67" y="37"/>
                    </a:lnTo>
                    <a:lnTo>
                      <a:pt x="80" y="27"/>
                    </a:lnTo>
                    <a:lnTo>
                      <a:pt x="83" y="14"/>
                    </a:lnTo>
                    <a:lnTo>
                      <a:pt x="99" y="14"/>
                    </a:lnTo>
                    <a:lnTo>
                      <a:pt x="110" y="6"/>
                    </a:lnTo>
                    <a:lnTo>
                      <a:pt x="99" y="0"/>
                    </a:lnTo>
                    <a:lnTo>
                      <a:pt x="73" y="0"/>
                    </a:lnTo>
                    <a:lnTo>
                      <a:pt x="46" y="9"/>
                    </a:lnTo>
                    <a:lnTo>
                      <a:pt x="23" y="21"/>
                    </a:lnTo>
                    <a:lnTo>
                      <a:pt x="8" y="45"/>
                    </a:lnTo>
                    <a:lnTo>
                      <a:pt x="0" y="54"/>
                    </a:lnTo>
                    <a:lnTo>
                      <a:pt x="4" y="65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3" name="Freeform 29"/>
              <p:cNvSpPr>
                <a:spLocks/>
              </p:cNvSpPr>
              <p:nvPr/>
            </p:nvSpPr>
            <p:spPr bwMode="auto">
              <a:xfrm>
                <a:off x="5546595" y="1253586"/>
                <a:ext cx="11090" cy="26891"/>
              </a:xfrm>
              <a:custGeom>
                <a:avLst/>
                <a:gdLst>
                  <a:gd name="T0" fmla="*/ 4 w 13"/>
                  <a:gd name="T1" fmla="*/ 7 h 28"/>
                  <a:gd name="T2" fmla="*/ 4 w 13"/>
                  <a:gd name="T3" fmla="*/ 7 h 28"/>
                  <a:gd name="T4" fmla="*/ 0 w 13"/>
                  <a:gd name="T5" fmla="*/ 16 h 28"/>
                  <a:gd name="T6" fmla="*/ 0 w 13"/>
                  <a:gd name="T7" fmla="*/ 28 h 28"/>
                  <a:gd name="T8" fmla="*/ 13 w 13"/>
                  <a:gd name="T9" fmla="*/ 24 h 28"/>
                  <a:gd name="T10" fmla="*/ 13 w 13"/>
                  <a:gd name="T11" fmla="*/ 4 h 28"/>
                  <a:gd name="T12" fmla="*/ 13 w 13"/>
                  <a:gd name="T13" fmla="*/ 0 h 28"/>
                  <a:gd name="T14" fmla="*/ 4 w 13"/>
                  <a:gd name="T15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8">
                    <a:moveTo>
                      <a:pt x="4" y="7"/>
                    </a:moveTo>
                    <a:lnTo>
                      <a:pt x="4" y="7"/>
                    </a:lnTo>
                    <a:lnTo>
                      <a:pt x="0" y="16"/>
                    </a:lnTo>
                    <a:lnTo>
                      <a:pt x="0" y="28"/>
                    </a:lnTo>
                    <a:lnTo>
                      <a:pt x="13" y="24"/>
                    </a:lnTo>
                    <a:lnTo>
                      <a:pt x="13" y="4"/>
                    </a:lnTo>
                    <a:lnTo>
                      <a:pt x="13" y="0"/>
                    </a:lnTo>
                    <a:lnTo>
                      <a:pt x="4" y="7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4" name="Freeform 30"/>
              <p:cNvSpPr>
                <a:spLocks/>
              </p:cNvSpPr>
              <p:nvPr/>
            </p:nvSpPr>
            <p:spPr bwMode="auto">
              <a:xfrm>
                <a:off x="6785500" y="4550009"/>
                <a:ext cx="7922" cy="6327"/>
              </a:xfrm>
              <a:custGeom>
                <a:avLst/>
                <a:gdLst>
                  <a:gd name="T0" fmla="*/ 0 w 9"/>
                  <a:gd name="T1" fmla="*/ 6 h 6"/>
                  <a:gd name="T2" fmla="*/ 0 w 9"/>
                  <a:gd name="T3" fmla="*/ 6 h 6"/>
                  <a:gd name="T4" fmla="*/ 9 w 9"/>
                  <a:gd name="T5" fmla="*/ 3 h 6"/>
                  <a:gd name="T6" fmla="*/ 9 w 9"/>
                  <a:gd name="T7" fmla="*/ 0 h 6"/>
                  <a:gd name="T8" fmla="*/ 0 w 9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6">
                    <a:moveTo>
                      <a:pt x="0" y="6"/>
                    </a:moveTo>
                    <a:lnTo>
                      <a:pt x="0" y="6"/>
                    </a:lnTo>
                    <a:lnTo>
                      <a:pt x="9" y="3"/>
                    </a:lnTo>
                    <a:lnTo>
                      <a:pt x="9" y="0"/>
                    </a:lnTo>
                    <a:lnTo>
                      <a:pt x="0" y="6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5" name="Freeform 31"/>
              <p:cNvSpPr>
                <a:spLocks/>
              </p:cNvSpPr>
              <p:nvPr/>
            </p:nvSpPr>
            <p:spPr bwMode="auto">
              <a:xfrm>
                <a:off x="6620735" y="4627515"/>
                <a:ext cx="12674" cy="4746"/>
              </a:xfrm>
              <a:custGeom>
                <a:avLst/>
                <a:gdLst>
                  <a:gd name="T0" fmla="*/ 0 w 12"/>
                  <a:gd name="T1" fmla="*/ 3 h 6"/>
                  <a:gd name="T2" fmla="*/ 0 w 12"/>
                  <a:gd name="T3" fmla="*/ 3 h 6"/>
                  <a:gd name="T4" fmla="*/ 0 w 12"/>
                  <a:gd name="T5" fmla="*/ 6 h 6"/>
                  <a:gd name="T6" fmla="*/ 12 w 12"/>
                  <a:gd name="T7" fmla="*/ 0 h 6"/>
                  <a:gd name="T8" fmla="*/ 0 w 12"/>
                  <a:gd name="T9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6">
                    <a:moveTo>
                      <a:pt x="0" y="3"/>
                    </a:moveTo>
                    <a:lnTo>
                      <a:pt x="0" y="3"/>
                    </a:lnTo>
                    <a:lnTo>
                      <a:pt x="0" y="6"/>
                    </a:lnTo>
                    <a:lnTo>
                      <a:pt x="12" y="0"/>
                    </a:lnTo>
                    <a:lnTo>
                      <a:pt x="0" y="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6" name="Freeform 32"/>
              <p:cNvSpPr>
                <a:spLocks/>
              </p:cNvSpPr>
              <p:nvPr/>
            </p:nvSpPr>
            <p:spPr bwMode="auto">
              <a:xfrm>
                <a:off x="6680937" y="4591135"/>
                <a:ext cx="15843" cy="12654"/>
              </a:xfrm>
              <a:custGeom>
                <a:avLst/>
                <a:gdLst>
                  <a:gd name="T0" fmla="*/ 0 w 16"/>
                  <a:gd name="T1" fmla="*/ 0 h 14"/>
                  <a:gd name="T2" fmla="*/ 0 w 16"/>
                  <a:gd name="T3" fmla="*/ 0 h 14"/>
                  <a:gd name="T4" fmla="*/ 9 w 16"/>
                  <a:gd name="T5" fmla="*/ 14 h 14"/>
                  <a:gd name="T6" fmla="*/ 16 w 16"/>
                  <a:gd name="T7" fmla="*/ 14 h 14"/>
                  <a:gd name="T8" fmla="*/ 9 w 16"/>
                  <a:gd name="T9" fmla="*/ 5 h 14"/>
                  <a:gd name="T10" fmla="*/ 0 w 16"/>
                  <a:gd name="T1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14">
                    <a:moveTo>
                      <a:pt x="0" y="0"/>
                    </a:moveTo>
                    <a:lnTo>
                      <a:pt x="0" y="0"/>
                    </a:lnTo>
                    <a:lnTo>
                      <a:pt x="9" y="14"/>
                    </a:lnTo>
                    <a:lnTo>
                      <a:pt x="16" y="14"/>
                    </a:lnTo>
                    <a:lnTo>
                      <a:pt x="9" y="5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7" name="Freeform 33"/>
              <p:cNvSpPr>
                <a:spLocks/>
              </p:cNvSpPr>
              <p:nvPr/>
            </p:nvSpPr>
            <p:spPr bwMode="auto">
              <a:xfrm>
                <a:off x="6503498" y="4323814"/>
                <a:ext cx="25348" cy="14236"/>
              </a:xfrm>
              <a:custGeom>
                <a:avLst/>
                <a:gdLst>
                  <a:gd name="T0" fmla="*/ 0 w 27"/>
                  <a:gd name="T1" fmla="*/ 0 h 14"/>
                  <a:gd name="T2" fmla="*/ 0 w 27"/>
                  <a:gd name="T3" fmla="*/ 0 h 14"/>
                  <a:gd name="T4" fmla="*/ 8 w 27"/>
                  <a:gd name="T5" fmla="*/ 11 h 14"/>
                  <a:gd name="T6" fmla="*/ 15 w 27"/>
                  <a:gd name="T7" fmla="*/ 14 h 14"/>
                  <a:gd name="T8" fmla="*/ 27 w 27"/>
                  <a:gd name="T9" fmla="*/ 8 h 14"/>
                  <a:gd name="T10" fmla="*/ 15 w 27"/>
                  <a:gd name="T11" fmla="*/ 11 h 14"/>
                  <a:gd name="T12" fmla="*/ 0 w 27"/>
                  <a:gd name="T1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4">
                    <a:moveTo>
                      <a:pt x="0" y="0"/>
                    </a:moveTo>
                    <a:lnTo>
                      <a:pt x="0" y="0"/>
                    </a:lnTo>
                    <a:lnTo>
                      <a:pt x="8" y="11"/>
                    </a:lnTo>
                    <a:lnTo>
                      <a:pt x="15" y="14"/>
                    </a:lnTo>
                    <a:lnTo>
                      <a:pt x="27" y="8"/>
                    </a:lnTo>
                    <a:lnTo>
                      <a:pt x="15" y="11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8" name="Freeform 34"/>
              <p:cNvSpPr>
                <a:spLocks/>
              </p:cNvSpPr>
              <p:nvPr/>
            </p:nvSpPr>
            <p:spPr bwMode="auto">
              <a:xfrm>
                <a:off x="6807680" y="4467756"/>
                <a:ext cx="42776" cy="71180"/>
              </a:xfrm>
              <a:custGeom>
                <a:avLst/>
                <a:gdLst>
                  <a:gd name="T0" fmla="*/ 32 w 46"/>
                  <a:gd name="T1" fmla="*/ 21 h 75"/>
                  <a:gd name="T2" fmla="*/ 32 w 46"/>
                  <a:gd name="T3" fmla="*/ 21 h 75"/>
                  <a:gd name="T4" fmla="*/ 23 w 46"/>
                  <a:gd name="T5" fmla="*/ 42 h 75"/>
                  <a:gd name="T6" fmla="*/ 5 w 46"/>
                  <a:gd name="T7" fmla="*/ 63 h 75"/>
                  <a:gd name="T8" fmla="*/ 5 w 46"/>
                  <a:gd name="T9" fmla="*/ 66 h 75"/>
                  <a:gd name="T10" fmla="*/ 0 w 46"/>
                  <a:gd name="T11" fmla="*/ 75 h 75"/>
                  <a:gd name="T12" fmla="*/ 27 w 46"/>
                  <a:gd name="T13" fmla="*/ 42 h 75"/>
                  <a:gd name="T14" fmla="*/ 46 w 46"/>
                  <a:gd name="T15" fmla="*/ 0 h 75"/>
                  <a:gd name="T16" fmla="*/ 32 w 46"/>
                  <a:gd name="T17" fmla="*/ 8 h 75"/>
                  <a:gd name="T18" fmla="*/ 32 w 46"/>
                  <a:gd name="T19" fmla="*/ 21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75">
                    <a:moveTo>
                      <a:pt x="32" y="21"/>
                    </a:moveTo>
                    <a:lnTo>
                      <a:pt x="32" y="21"/>
                    </a:lnTo>
                    <a:lnTo>
                      <a:pt x="23" y="42"/>
                    </a:lnTo>
                    <a:lnTo>
                      <a:pt x="5" y="63"/>
                    </a:lnTo>
                    <a:lnTo>
                      <a:pt x="5" y="66"/>
                    </a:lnTo>
                    <a:lnTo>
                      <a:pt x="0" y="75"/>
                    </a:lnTo>
                    <a:lnTo>
                      <a:pt x="27" y="42"/>
                    </a:lnTo>
                    <a:lnTo>
                      <a:pt x="46" y="0"/>
                    </a:lnTo>
                    <a:lnTo>
                      <a:pt x="32" y="8"/>
                    </a:lnTo>
                    <a:lnTo>
                      <a:pt x="32" y="21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9" name="Freeform 35"/>
              <p:cNvSpPr>
                <a:spLocks/>
              </p:cNvSpPr>
              <p:nvPr/>
            </p:nvSpPr>
            <p:spPr bwMode="auto">
              <a:xfrm>
                <a:off x="6853623" y="4440866"/>
                <a:ext cx="3169" cy="11073"/>
              </a:xfrm>
              <a:custGeom>
                <a:avLst/>
                <a:gdLst>
                  <a:gd name="T0" fmla="*/ 0 w 4"/>
                  <a:gd name="T1" fmla="*/ 0 h 11"/>
                  <a:gd name="T2" fmla="*/ 0 w 4"/>
                  <a:gd name="T3" fmla="*/ 0 h 11"/>
                  <a:gd name="T4" fmla="*/ 0 w 4"/>
                  <a:gd name="T5" fmla="*/ 11 h 11"/>
                  <a:gd name="T6" fmla="*/ 4 w 4"/>
                  <a:gd name="T7" fmla="*/ 0 h 11"/>
                  <a:gd name="T8" fmla="*/ 0 w 4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1">
                    <a:moveTo>
                      <a:pt x="0" y="0"/>
                    </a:moveTo>
                    <a:lnTo>
                      <a:pt x="0" y="0"/>
                    </a:lnTo>
                    <a:lnTo>
                      <a:pt x="0" y="11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0" name="Freeform 36"/>
              <p:cNvSpPr>
                <a:spLocks/>
              </p:cNvSpPr>
              <p:nvPr/>
            </p:nvSpPr>
            <p:spPr bwMode="auto">
              <a:xfrm>
                <a:off x="5467381" y="3827136"/>
                <a:ext cx="14259" cy="3164"/>
              </a:xfrm>
              <a:custGeom>
                <a:avLst/>
                <a:gdLst>
                  <a:gd name="T0" fmla="*/ 0 w 16"/>
                  <a:gd name="T1" fmla="*/ 4 h 4"/>
                  <a:gd name="T2" fmla="*/ 0 w 16"/>
                  <a:gd name="T3" fmla="*/ 4 h 4"/>
                  <a:gd name="T4" fmla="*/ 9 w 16"/>
                  <a:gd name="T5" fmla="*/ 3 h 4"/>
                  <a:gd name="T6" fmla="*/ 16 w 16"/>
                  <a:gd name="T7" fmla="*/ 0 h 4"/>
                  <a:gd name="T8" fmla="*/ 0 w 16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4">
                    <a:moveTo>
                      <a:pt x="0" y="4"/>
                    </a:moveTo>
                    <a:lnTo>
                      <a:pt x="0" y="4"/>
                    </a:lnTo>
                    <a:lnTo>
                      <a:pt x="9" y="3"/>
                    </a:lnTo>
                    <a:lnTo>
                      <a:pt x="16" y="0"/>
                    </a:lnTo>
                    <a:lnTo>
                      <a:pt x="0" y="4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1" name="Freeform 37"/>
              <p:cNvSpPr>
                <a:spLocks/>
              </p:cNvSpPr>
              <p:nvPr/>
            </p:nvSpPr>
            <p:spPr bwMode="auto">
              <a:xfrm>
                <a:off x="5614718" y="3781265"/>
                <a:ext cx="110899" cy="22145"/>
              </a:xfrm>
              <a:custGeom>
                <a:avLst/>
                <a:gdLst>
                  <a:gd name="T0" fmla="*/ 80 w 117"/>
                  <a:gd name="T1" fmla="*/ 1 h 24"/>
                  <a:gd name="T2" fmla="*/ 80 w 117"/>
                  <a:gd name="T3" fmla="*/ 1 h 24"/>
                  <a:gd name="T4" fmla="*/ 50 w 117"/>
                  <a:gd name="T5" fmla="*/ 11 h 24"/>
                  <a:gd name="T6" fmla="*/ 41 w 117"/>
                  <a:gd name="T7" fmla="*/ 11 h 24"/>
                  <a:gd name="T8" fmla="*/ 27 w 117"/>
                  <a:gd name="T9" fmla="*/ 17 h 24"/>
                  <a:gd name="T10" fmla="*/ 0 w 117"/>
                  <a:gd name="T11" fmla="*/ 24 h 24"/>
                  <a:gd name="T12" fmla="*/ 14 w 117"/>
                  <a:gd name="T13" fmla="*/ 24 h 24"/>
                  <a:gd name="T14" fmla="*/ 90 w 117"/>
                  <a:gd name="T15" fmla="*/ 1 h 24"/>
                  <a:gd name="T16" fmla="*/ 117 w 117"/>
                  <a:gd name="T17" fmla="*/ 0 h 24"/>
                  <a:gd name="T18" fmla="*/ 106 w 117"/>
                  <a:gd name="T19" fmla="*/ 0 h 24"/>
                  <a:gd name="T20" fmla="*/ 80 w 117"/>
                  <a:gd name="T21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7" h="24">
                    <a:moveTo>
                      <a:pt x="80" y="1"/>
                    </a:moveTo>
                    <a:lnTo>
                      <a:pt x="80" y="1"/>
                    </a:lnTo>
                    <a:lnTo>
                      <a:pt x="50" y="11"/>
                    </a:lnTo>
                    <a:lnTo>
                      <a:pt x="41" y="11"/>
                    </a:lnTo>
                    <a:lnTo>
                      <a:pt x="27" y="17"/>
                    </a:lnTo>
                    <a:lnTo>
                      <a:pt x="0" y="24"/>
                    </a:lnTo>
                    <a:lnTo>
                      <a:pt x="14" y="24"/>
                    </a:lnTo>
                    <a:lnTo>
                      <a:pt x="90" y="1"/>
                    </a:lnTo>
                    <a:lnTo>
                      <a:pt x="117" y="0"/>
                    </a:lnTo>
                    <a:lnTo>
                      <a:pt x="106" y="0"/>
                    </a:lnTo>
                    <a:lnTo>
                      <a:pt x="80" y="1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2" name="Freeform 38"/>
              <p:cNvSpPr>
                <a:spLocks/>
              </p:cNvSpPr>
              <p:nvPr/>
            </p:nvSpPr>
            <p:spPr bwMode="auto">
              <a:xfrm>
                <a:off x="7023141" y="2870162"/>
                <a:ext cx="49113" cy="12654"/>
              </a:xfrm>
              <a:custGeom>
                <a:avLst/>
                <a:gdLst>
                  <a:gd name="T0" fmla="*/ 34 w 51"/>
                  <a:gd name="T1" fmla="*/ 0 h 14"/>
                  <a:gd name="T2" fmla="*/ 34 w 51"/>
                  <a:gd name="T3" fmla="*/ 0 h 14"/>
                  <a:gd name="T4" fmla="*/ 11 w 51"/>
                  <a:gd name="T5" fmla="*/ 8 h 14"/>
                  <a:gd name="T6" fmla="*/ 0 w 51"/>
                  <a:gd name="T7" fmla="*/ 14 h 14"/>
                  <a:gd name="T8" fmla="*/ 27 w 51"/>
                  <a:gd name="T9" fmla="*/ 5 h 14"/>
                  <a:gd name="T10" fmla="*/ 51 w 51"/>
                  <a:gd name="T11" fmla="*/ 0 h 14"/>
                  <a:gd name="T12" fmla="*/ 48 w 51"/>
                  <a:gd name="T13" fmla="*/ 0 h 14"/>
                  <a:gd name="T14" fmla="*/ 34 w 51"/>
                  <a:gd name="T1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14">
                    <a:moveTo>
                      <a:pt x="34" y="0"/>
                    </a:moveTo>
                    <a:lnTo>
                      <a:pt x="34" y="0"/>
                    </a:lnTo>
                    <a:lnTo>
                      <a:pt x="11" y="8"/>
                    </a:lnTo>
                    <a:lnTo>
                      <a:pt x="0" y="14"/>
                    </a:lnTo>
                    <a:lnTo>
                      <a:pt x="27" y="5"/>
                    </a:lnTo>
                    <a:lnTo>
                      <a:pt x="51" y="0"/>
                    </a:lnTo>
                    <a:lnTo>
                      <a:pt x="48" y="0"/>
                    </a:lnTo>
                    <a:lnTo>
                      <a:pt x="34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3" name="Freeform 39"/>
              <p:cNvSpPr>
                <a:spLocks/>
              </p:cNvSpPr>
              <p:nvPr/>
            </p:nvSpPr>
            <p:spPr bwMode="auto">
              <a:xfrm>
                <a:off x="7100771" y="2821126"/>
                <a:ext cx="30102" cy="56944"/>
              </a:xfrm>
              <a:custGeom>
                <a:avLst/>
                <a:gdLst>
                  <a:gd name="T0" fmla="*/ 13 w 32"/>
                  <a:gd name="T1" fmla="*/ 21 h 59"/>
                  <a:gd name="T2" fmla="*/ 13 w 32"/>
                  <a:gd name="T3" fmla="*/ 21 h 59"/>
                  <a:gd name="T4" fmla="*/ 9 w 32"/>
                  <a:gd name="T5" fmla="*/ 32 h 59"/>
                  <a:gd name="T6" fmla="*/ 0 w 32"/>
                  <a:gd name="T7" fmla="*/ 59 h 59"/>
                  <a:gd name="T8" fmla="*/ 13 w 32"/>
                  <a:gd name="T9" fmla="*/ 24 h 59"/>
                  <a:gd name="T10" fmla="*/ 32 w 32"/>
                  <a:gd name="T11" fmla="*/ 0 h 59"/>
                  <a:gd name="T12" fmla="*/ 20 w 32"/>
                  <a:gd name="T13" fmla="*/ 11 h 59"/>
                  <a:gd name="T14" fmla="*/ 13 w 32"/>
                  <a:gd name="T15" fmla="*/ 2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" h="59">
                    <a:moveTo>
                      <a:pt x="13" y="21"/>
                    </a:moveTo>
                    <a:lnTo>
                      <a:pt x="13" y="21"/>
                    </a:lnTo>
                    <a:lnTo>
                      <a:pt x="9" y="32"/>
                    </a:lnTo>
                    <a:lnTo>
                      <a:pt x="0" y="59"/>
                    </a:lnTo>
                    <a:lnTo>
                      <a:pt x="13" y="24"/>
                    </a:lnTo>
                    <a:lnTo>
                      <a:pt x="32" y="0"/>
                    </a:lnTo>
                    <a:lnTo>
                      <a:pt x="20" y="11"/>
                    </a:lnTo>
                    <a:lnTo>
                      <a:pt x="13" y="21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4" name="Freeform 40"/>
              <p:cNvSpPr>
                <a:spLocks/>
              </p:cNvSpPr>
              <p:nvPr/>
            </p:nvSpPr>
            <p:spPr bwMode="auto">
              <a:xfrm>
                <a:off x="7140378" y="2795818"/>
                <a:ext cx="11090" cy="7909"/>
              </a:xfrm>
              <a:custGeom>
                <a:avLst/>
                <a:gdLst>
                  <a:gd name="T0" fmla="*/ 7 w 11"/>
                  <a:gd name="T1" fmla="*/ 0 h 8"/>
                  <a:gd name="T2" fmla="*/ 7 w 11"/>
                  <a:gd name="T3" fmla="*/ 0 h 8"/>
                  <a:gd name="T4" fmla="*/ 0 w 11"/>
                  <a:gd name="T5" fmla="*/ 8 h 8"/>
                  <a:gd name="T6" fmla="*/ 11 w 11"/>
                  <a:gd name="T7" fmla="*/ 0 h 8"/>
                  <a:gd name="T8" fmla="*/ 7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7" y="0"/>
                    </a:moveTo>
                    <a:lnTo>
                      <a:pt x="7" y="0"/>
                    </a:lnTo>
                    <a:lnTo>
                      <a:pt x="0" y="8"/>
                    </a:lnTo>
                    <a:lnTo>
                      <a:pt x="11" y="0"/>
                    </a:lnTo>
                    <a:lnTo>
                      <a:pt x="7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5" name="Freeform 41"/>
              <p:cNvSpPr>
                <a:spLocks/>
              </p:cNvSpPr>
              <p:nvPr/>
            </p:nvSpPr>
            <p:spPr bwMode="auto">
              <a:xfrm>
                <a:off x="7159389" y="2765765"/>
                <a:ext cx="22180" cy="17400"/>
              </a:xfrm>
              <a:custGeom>
                <a:avLst/>
                <a:gdLst>
                  <a:gd name="T0" fmla="*/ 10 w 23"/>
                  <a:gd name="T1" fmla="*/ 10 h 18"/>
                  <a:gd name="T2" fmla="*/ 10 w 23"/>
                  <a:gd name="T3" fmla="*/ 10 h 18"/>
                  <a:gd name="T4" fmla="*/ 23 w 23"/>
                  <a:gd name="T5" fmla="*/ 0 h 18"/>
                  <a:gd name="T6" fmla="*/ 0 w 23"/>
                  <a:gd name="T7" fmla="*/ 18 h 18"/>
                  <a:gd name="T8" fmla="*/ 10 w 23"/>
                  <a:gd name="T9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8">
                    <a:moveTo>
                      <a:pt x="10" y="10"/>
                    </a:moveTo>
                    <a:lnTo>
                      <a:pt x="10" y="10"/>
                    </a:lnTo>
                    <a:lnTo>
                      <a:pt x="23" y="0"/>
                    </a:lnTo>
                    <a:lnTo>
                      <a:pt x="0" y="18"/>
                    </a:lnTo>
                    <a:lnTo>
                      <a:pt x="10" y="1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6" name="Freeform 42"/>
              <p:cNvSpPr>
                <a:spLocks/>
              </p:cNvSpPr>
              <p:nvPr/>
            </p:nvSpPr>
            <p:spPr bwMode="auto">
              <a:xfrm>
                <a:off x="7200580" y="2662949"/>
                <a:ext cx="19011" cy="91743"/>
              </a:xfrm>
              <a:custGeom>
                <a:avLst/>
                <a:gdLst>
                  <a:gd name="T0" fmla="*/ 12 w 19"/>
                  <a:gd name="T1" fmla="*/ 24 h 97"/>
                  <a:gd name="T2" fmla="*/ 12 w 19"/>
                  <a:gd name="T3" fmla="*/ 24 h 97"/>
                  <a:gd name="T4" fmla="*/ 3 w 19"/>
                  <a:gd name="T5" fmla="*/ 0 h 97"/>
                  <a:gd name="T6" fmla="*/ 3 w 19"/>
                  <a:gd name="T7" fmla="*/ 12 h 97"/>
                  <a:gd name="T8" fmla="*/ 9 w 19"/>
                  <a:gd name="T9" fmla="*/ 24 h 97"/>
                  <a:gd name="T10" fmla="*/ 12 w 19"/>
                  <a:gd name="T11" fmla="*/ 33 h 97"/>
                  <a:gd name="T12" fmla="*/ 16 w 19"/>
                  <a:gd name="T13" fmla="*/ 75 h 97"/>
                  <a:gd name="T14" fmla="*/ 9 w 19"/>
                  <a:gd name="T15" fmla="*/ 88 h 97"/>
                  <a:gd name="T16" fmla="*/ 0 w 19"/>
                  <a:gd name="T17" fmla="*/ 97 h 97"/>
                  <a:gd name="T18" fmla="*/ 3 w 19"/>
                  <a:gd name="T19" fmla="*/ 97 h 97"/>
                  <a:gd name="T20" fmla="*/ 16 w 19"/>
                  <a:gd name="T21" fmla="*/ 91 h 97"/>
                  <a:gd name="T22" fmla="*/ 19 w 19"/>
                  <a:gd name="T23" fmla="*/ 70 h 97"/>
                  <a:gd name="T24" fmla="*/ 16 w 19"/>
                  <a:gd name="T25" fmla="*/ 36 h 97"/>
                  <a:gd name="T26" fmla="*/ 12 w 19"/>
                  <a:gd name="T27" fmla="*/ 2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97">
                    <a:moveTo>
                      <a:pt x="12" y="24"/>
                    </a:moveTo>
                    <a:lnTo>
                      <a:pt x="12" y="24"/>
                    </a:lnTo>
                    <a:lnTo>
                      <a:pt x="3" y="0"/>
                    </a:lnTo>
                    <a:lnTo>
                      <a:pt x="3" y="12"/>
                    </a:lnTo>
                    <a:lnTo>
                      <a:pt x="9" y="24"/>
                    </a:lnTo>
                    <a:lnTo>
                      <a:pt x="12" y="33"/>
                    </a:lnTo>
                    <a:lnTo>
                      <a:pt x="16" y="75"/>
                    </a:lnTo>
                    <a:lnTo>
                      <a:pt x="9" y="88"/>
                    </a:lnTo>
                    <a:lnTo>
                      <a:pt x="0" y="97"/>
                    </a:lnTo>
                    <a:lnTo>
                      <a:pt x="3" y="97"/>
                    </a:lnTo>
                    <a:lnTo>
                      <a:pt x="16" y="91"/>
                    </a:lnTo>
                    <a:lnTo>
                      <a:pt x="19" y="70"/>
                    </a:lnTo>
                    <a:lnTo>
                      <a:pt x="16" y="36"/>
                    </a:lnTo>
                    <a:lnTo>
                      <a:pt x="12" y="24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7" name="Freeform 43"/>
              <p:cNvSpPr>
                <a:spLocks/>
              </p:cNvSpPr>
              <p:nvPr/>
            </p:nvSpPr>
            <p:spPr bwMode="auto">
              <a:xfrm>
                <a:off x="7130872" y="2288068"/>
                <a:ext cx="15843" cy="31636"/>
              </a:xfrm>
              <a:custGeom>
                <a:avLst/>
                <a:gdLst>
                  <a:gd name="T0" fmla="*/ 7 w 17"/>
                  <a:gd name="T1" fmla="*/ 12 h 33"/>
                  <a:gd name="T2" fmla="*/ 7 w 17"/>
                  <a:gd name="T3" fmla="*/ 12 h 33"/>
                  <a:gd name="T4" fmla="*/ 7 w 17"/>
                  <a:gd name="T5" fmla="*/ 23 h 33"/>
                  <a:gd name="T6" fmla="*/ 0 w 17"/>
                  <a:gd name="T7" fmla="*/ 33 h 33"/>
                  <a:gd name="T8" fmla="*/ 10 w 17"/>
                  <a:gd name="T9" fmla="*/ 23 h 33"/>
                  <a:gd name="T10" fmla="*/ 17 w 17"/>
                  <a:gd name="T11" fmla="*/ 0 h 33"/>
                  <a:gd name="T12" fmla="*/ 14 w 17"/>
                  <a:gd name="T13" fmla="*/ 3 h 33"/>
                  <a:gd name="T14" fmla="*/ 7 w 17"/>
                  <a:gd name="T15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33">
                    <a:moveTo>
                      <a:pt x="7" y="12"/>
                    </a:moveTo>
                    <a:lnTo>
                      <a:pt x="7" y="12"/>
                    </a:lnTo>
                    <a:lnTo>
                      <a:pt x="7" y="23"/>
                    </a:lnTo>
                    <a:lnTo>
                      <a:pt x="0" y="33"/>
                    </a:lnTo>
                    <a:lnTo>
                      <a:pt x="10" y="23"/>
                    </a:lnTo>
                    <a:lnTo>
                      <a:pt x="17" y="0"/>
                    </a:lnTo>
                    <a:lnTo>
                      <a:pt x="14" y="3"/>
                    </a:lnTo>
                    <a:lnTo>
                      <a:pt x="7" y="1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8" name="Freeform 44"/>
              <p:cNvSpPr>
                <a:spLocks/>
              </p:cNvSpPr>
              <p:nvPr/>
            </p:nvSpPr>
            <p:spPr bwMode="auto">
              <a:xfrm>
                <a:off x="7143546" y="2245360"/>
                <a:ext cx="9506" cy="45872"/>
              </a:xfrm>
              <a:custGeom>
                <a:avLst/>
                <a:gdLst>
                  <a:gd name="T0" fmla="*/ 7 w 9"/>
                  <a:gd name="T1" fmla="*/ 11 h 48"/>
                  <a:gd name="T2" fmla="*/ 7 w 9"/>
                  <a:gd name="T3" fmla="*/ 11 h 48"/>
                  <a:gd name="T4" fmla="*/ 0 w 9"/>
                  <a:gd name="T5" fmla="*/ 48 h 48"/>
                  <a:gd name="T6" fmla="*/ 3 w 9"/>
                  <a:gd name="T7" fmla="*/ 45 h 48"/>
                  <a:gd name="T8" fmla="*/ 7 w 9"/>
                  <a:gd name="T9" fmla="*/ 33 h 48"/>
                  <a:gd name="T10" fmla="*/ 9 w 9"/>
                  <a:gd name="T11" fmla="*/ 0 h 48"/>
                  <a:gd name="T12" fmla="*/ 7 w 9"/>
                  <a:gd name="T13" fmla="*/ 1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48">
                    <a:moveTo>
                      <a:pt x="7" y="11"/>
                    </a:moveTo>
                    <a:lnTo>
                      <a:pt x="7" y="11"/>
                    </a:lnTo>
                    <a:lnTo>
                      <a:pt x="0" y="48"/>
                    </a:lnTo>
                    <a:lnTo>
                      <a:pt x="3" y="45"/>
                    </a:lnTo>
                    <a:lnTo>
                      <a:pt x="7" y="33"/>
                    </a:lnTo>
                    <a:lnTo>
                      <a:pt x="9" y="0"/>
                    </a:lnTo>
                    <a:lnTo>
                      <a:pt x="7" y="11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9" name="Freeform 45"/>
              <p:cNvSpPr>
                <a:spLocks/>
              </p:cNvSpPr>
              <p:nvPr/>
            </p:nvSpPr>
            <p:spPr bwMode="auto">
              <a:xfrm>
                <a:off x="7520605" y="1584177"/>
                <a:ext cx="17428" cy="33218"/>
              </a:xfrm>
              <a:custGeom>
                <a:avLst/>
                <a:gdLst>
                  <a:gd name="T0" fmla="*/ 4 w 18"/>
                  <a:gd name="T1" fmla="*/ 24 h 35"/>
                  <a:gd name="T2" fmla="*/ 4 w 18"/>
                  <a:gd name="T3" fmla="*/ 24 h 35"/>
                  <a:gd name="T4" fmla="*/ 11 w 18"/>
                  <a:gd name="T5" fmla="*/ 35 h 35"/>
                  <a:gd name="T6" fmla="*/ 18 w 18"/>
                  <a:gd name="T7" fmla="*/ 27 h 35"/>
                  <a:gd name="T8" fmla="*/ 18 w 18"/>
                  <a:gd name="T9" fmla="*/ 21 h 35"/>
                  <a:gd name="T10" fmla="*/ 11 w 18"/>
                  <a:gd name="T11" fmla="*/ 3 h 35"/>
                  <a:gd name="T12" fmla="*/ 0 w 18"/>
                  <a:gd name="T13" fmla="*/ 0 h 35"/>
                  <a:gd name="T14" fmla="*/ 4 w 18"/>
                  <a:gd name="T15" fmla="*/ 2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35">
                    <a:moveTo>
                      <a:pt x="4" y="24"/>
                    </a:moveTo>
                    <a:lnTo>
                      <a:pt x="4" y="24"/>
                    </a:lnTo>
                    <a:lnTo>
                      <a:pt x="11" y="35"/>
                    </a:lnTo>
                    <a:lnTo>
                      <a:pt x="18" y="27"/>
                    </a:lnTo>
                    <a:lnTo>
                      <a:pt x="18" y="21"/>
                    </a:lnTo>
                    <a:lnTo>
                      <a:pt x="11" y="3"/>
                    </a:lnTo>
                    <a:lnTo>
                      <a:pt x="0" y="0"/>
                    </a:lnTo>
                    <a:lnTo>
                      <a:pt x="4" y="24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0" name="Freeform 46"/>
              <p:cNvSpPr>
                <a:spLocks/>
              </p:cNvSpPr>
              <p:nvPr/>
            </p:nvSpPr>
            <p:spPr bwMode="auto">
              <a:xfrm>
                <a:off x="701874" y="2892307"/>
                <a:ext cx="30102" cy="17400"/>
              </a:xfrm>
              <a:custGeom>
                <a:avLst/>
                <a:gdLst>
                  <a:gd name="T0" fmla="*/ 13 w 32"/>
                  <a:gd name="T1" fmla="*/ 0 h 18"/>
                  <a:gd name="T2" fmla="*/ 13 w 32"/>
                  <a:gd name="T3" fmla="*/ 0 h 18"/>
                  <a:gd name="T4" fmla="*/ 0 w 32"/>
                  <a:gd name="T5" fmla="*/ 6 h 18"/>
                  <a:gd name="T6" fmla="*/ 5 w 32"/>
                  <a:gd name="T7" fmla="*/ 14 h 18"/>
                  <a:gd name="T8" fmla="*/ 20 w 32"/>
                  <a:gd name="T9" fmla="*/ 18 h 18"/>
                  <a:gd name="T10" fmla="*/ 32 w 32"/>
                  <a:gd name="T11" fmla="*/ 18 h 18"/>
                  <a:gd name="T12" fmla="*/ 32 w 32"/>
                  <a:gd name="T13" fmla="*/ 8 h 18"/>
                  <a:gd name="T14" fmla="*/ 27 w 32"/>
                  <a:gd name="T15" fmla="*/ 0 h 18"/>
                  <a:gd name="T16" fmla="*/ 13 w 32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18">
                    <a:moveTo>
                      <a:pt x="13" y="0"/>
                    </a:moveTo>
                    <a:lnTo>
                      <a:pt x="13" y="0"/>
                    </a:lnTo>
                    <a:lnTo>
                      <a:pt x="0" y="6"/>
                    </a:lnTo>
                    <a:lnTo>
                      <a:pt x="5" y="14"/>
                    </a:lnTo>
                    <a:lnTo>
                      <a:pt x="20" y="18"/>
                    </a:lnTo>
                    <a:lnTo>
                      <a:pt x="32" y="18"/>
                    </a:lnTo>
                    <a:lnTo>
                      <a:pt x="32" y="8"/>
                    </a:lnTo>
                    <a:lnTo>
                      <a:pt x="27" y="0"/>
                    </a:lnTo>
                    <a:lnTo>
                      <a:pt x="13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1" name="Freeform 47"/>
              <p:cNvSpPr>
                <a:spLocks/>
              </p:cNvSpPr>
              <p:nvPr/>
            </p:nvSpPr>
            <p:spPr bwMode="auto">
              <a:xfrm>
                <a:off x="754155" y="2889143"/>
                <a:ext cx="49113" cy="23727"/>
              </a:xfrm>
              <a:custGeom>
                <a:avLst/>
                <a:gdLst>
                  <a:gd name="T0" fmla="*/ 14 w 51"/>
                  <a:gd name="T1" fmla="*/ 9 h 24"/>
                  <a:gd name="T2" fmla="*/ 14 w 51"/>
                  <a:gd name="T3" fmla="*/ 9 h 24"/>
                  <a:gd name="T4" fmla="*/ 0 w 51"/>
                  <a:gd name="T5" fmla="*/ 0 h 24"/>
                  <a:gd name="T6" fmla="*/ 0 w 51"/>
                  <a:gd name="T7" fmla="*/ 9 h 24"/>
                  <a:gd name="T8" fmla="*/ 0 w 51"/>
                  <a:gd name="T9" fmla="*/ 21 h 24"/>
                  <a:gd name="T10" fmla="*/ 14 w 51"/>
                  <a:gd name="T11" fmla="*/ 24 h 24"/>
                  <a:gd name="T12" fmla="*/ 37 w 51"/>
                  <a:gd name="T13" fmla="*/ 24 h 24"/>
                  <a:gd name="T14" fmla="*/ 51 w 51"/>
                  <a:gd name="T15" fmla="*/ 17 h 24"/>
                  <a:gd name="T16" fmla="*/ 37 w 51"/>
                  <a:gd name="T17" fmla="*/ 17 h 24"/>
                  <a:gd name="T18" fmla="*/ 14 w 51"/>
                  <a:gd name="T1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24">
                    <a:moveTo>
                      <a:pt x="14" y="9"/>
                    </a:moveTo>
                    <a:lnTo>
                      <a:pt x="14" y="9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21"/>
                    </a:lnTo>
                    <a:lnTo>
                      <a:pt x="14" y="24"/>
                    </a:lnTo>
                    <a:lnTo>
                      <a:pt x="37" y="24"/>
                    </a:lnTo>
                    <a:lnTo>
                      <a:pt x="51" y="17"/>
                    </a:lnTo>
                    <a:lnTo>
                      <a:pt x="37" y="17"/>
                    </a:lnTo>
                    <a:lnTo>
                      <a:pt x="14" y="9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2" name="Freeform 48"/>
              <p:cNvSpPr>
                <a:spLocks/>
              </p:cNvSpPr>
              <p:nvPr/>
            </p:nvSpPr>
            <p:spPr bwMode="auto">
              <a:xfrm>
                <a:off x="763661" y="3029921"/>
                <a:ext cx="19011" cy="12654"/>
              </a:xfrm>
              <a:custGeom>
                <a:avLst/>
                <a:gdLst>
                  <a:gd name="T0" fmla="*/ 11 w 20"/>
                  <a:gd name="T1" fmla="*/ 13 h 13"/>
                  <a:gd name="T2" fmla="*/ 11 w 20"/>
                  <a:gd name="T3" fmla="*/ 13 h 13"/>
                  <a:gd name="T4" fmla="*/ 20 w 20"/>
                  <a:gd name="T5" fmla="*/ 13 h 13"/>
                  <a:gd name="T6" fmla="*/ 14 w 20"/>
                  <a:gd name="T7" fmla="*/ 3 h 13"/>
                  <a:gd name="T8" fmla="*/ 0 w 20"/>
                  <a:gd name="T9" fmla="*/ 0 h 13"/>
                  <a:gd name="T10" fmla="*/ 11 w 20"/>
                  <a:gd name="T11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3">
                    <a:moveTo>
                      <a:pt x="11" y="13"/>
                    </a:moveTo>
                    <a:lnTo>
                      <a:pt x="11" y="13"/>
                    </a:lnTo>
                    <a:lnTo>
                      <a:pt x="20" y="13"/>
                    </a:lnTo>
                    <a:lnTo>
                      <a:pt x="14" y="3"/>
                    </a:lnTo>
                    <a:lnTo>
                      <a:pt x="0" y="0"/>
                    </a:lnTo>
                    <a:lnTo>
                      <a:pt x="11" y="1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3" name="Freeform 49"/>
              <p:cNvSpPr>
                <a:spLocks/>
              </p:cNvSpPr>
              <p:nvPr/>
            </p:nvSpPr>
            <p:spPr bwMode="auto">
              <a:xfrm>
                <a:off x="896740" y="3094774"/>
                <a:ext cx="28517" cy="42708"/>
              </a:xfrm>
              <a:custGeom>
                <a:avLst/>
                <a:gdLst>
                  <a:gd name="T0" fmla="*/ 7 w 30"/>
                  <a:gd name="T1" fmla="*/ 13 h 45"/>
                  <a:gd name="T2" fmla="*/ 7 w 30"/>
                  <a:gd name="T3" fmla="*/ 13 h 45"/>
                  <a:gd name="T4" fmla="*/ 0 w 30"/>
                  <a:gd name="T5" fmla="*/ 0 h 45"/>
                  <a:gd name="T6" fmla="*/ 4 w 30"/>
                  <a:gd name="T7" fmla="*/ 13 h 45"/>
                  <a:gd name="T8" fmla="*/ 7 w 30"/>
                  <a:gd name="T9" fmla="*/ 37 h 45"/>
                  <a:gd name="T10" fmla="*/ 20 w 30"/>
                  <a:gd name="T11" fmla="*/ 45 h 45"/>
                  <a:gd name="T12" fmla="*/ 30 w 30"/>
                  <a:gd name="T13" fmla="*/ 45 h 45"/>
                  <a:gd name="T14" fmla="*/ 14 w 30"/>
                  <a:gd name="T15" fmla="*/ 24 h 45"/>
                  <a:gd name="T16" fmla="*/ 7 w 30"/>
                  <a:gd name="T17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" h="45">
                    <a:moveTo>
                      <a:pt x="7" y="13"/>
                    </a:moveTo>
                    <a:lnTo>
                      <a:pt x="7" y="13"/>
                    </a:lnTo>
                    <a:lnTo>
                      <a:pt x="0" y="0"/>
                    </a:lnTo>
                    <a:lnTo>
                      <a:pt x="4" y="13"/>
                    </a:lnTo>
                    <a:lnTo>
                      <a:pt x="7" y="37"/>
                    </a:lnTo>
                    <a:lnTo>
                      <a:pt x="20" y="45"/>
                    </a:lnTo>
                    <a:lnTo>
                      <a:pt x="30" y="45"/>
                    </a:lnTo>
                    <a:lnTo>
                      <a:pt x="14" y="24"/>
                    </a:lnTo>
                    <a:lnTo>
                      <a:pt x="7" y="1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5" name="Freeform 50"/>
              <p:cNvSpPr>
                <a:spLocks/>
              </p:cNvSpPr>
              <p:nvPr/>
            </p:nvSpPr>
            <p:spPr bwMode="auto">
              <a:xfrm>
                <a:off x="915751" y="3023594"/>
                <a:ext cx="38023" cy="34799"/>
              </a:xfrm>
              <a:custGeom>
                <a:avLst/>
                <a:gdLst>
                  <a:gd name="T0" fmla="*/ 24 w 40"/>
                  <a:gd name="T1" fmla="*/ 16 h 37"/>
                  <a:gd name="T2" fmla="*/ 24 w 40"/>
                  <a:gd name="T3" fmla="*/ 16 h 37"/>
                  <a:gd name="T4" fmla="*/ 14 w 40"/>
                  <a:gd name="T5" fmla="*/ 7 h 37"/>
                  <a:gd name="T6" fmla="*/ 0 w 40"/>
                  <a:gd name="T7" fmla="*/ 0 h 37"/>
                  <a:gd name="T8" fmla="*/ 10 w 40"/>
                  <a:gd name="T9" fmla="*/ 13 h 37"/>
                  <a:gd name="T10" fmla="*/ 24 w 40"/>
                  <a:gd name="T11" fmla="*/ 34 h 37"/>
                  <a:gd name="T12" fmla="*/ 40 w 40"/>
                  <a:gd name="T13" fmla="*/ 37 h 37"/>
                  <a:gd name="T14" fmla="*/ 37 w 40"/>
                  <a:gd name="T15" fmla="*/ 24 h 37"/>
                  <a:gd name="T16" fmla="*/ 24 w 40"/>
                  <a:gd name="T17" fmla="*/ 1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37">
                    <a:moveTo>
                      <a:pt x="24" y="16"/>
                    </a:moveTo>
                    <a:lnTo>
                      <a:pt x="24" y="16"/>
                    </a:lnTo>
                    <a:lnTo>
                      <a:pt x="14" y="7"/>
                    </a:lnTo>
                    <a:lnTo>
                      <a:pt x="0" y="0"/>
                    </a:lnTo>
                    <a:lnTo>
                      <a:pt x="10" y="13"/>
                    </a:lnTo>
                    <a:lnTo>
                      <a:pt x="24" y="34"/>
                    </a:lnTo>
                    <a:lnTo>
                      <a:pt x="40" y="37"/>
                    </a:lnTo>
                    <a:lnTo>
                      <a:pt x="37" y="24"/>
                    </a:lnTo>
                    <a:lnTo>
                      <a:pt x="24" y="16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0" name="Freeform 51"/>
              <p:cNvSpPr>
                <a:spLocks/>
              </p:cNvSpPr>
              <p:nvPr/>
            </p:nvSpPr>
            <p:spPr bwMode="auto">
              <a:xfrm>
                <a:off x="7216423" y="1987531"/>
                <a:ext cx="9506" cy="31636"/>
              </a:xfrm>
              <a:custGeom>
                <a:avLst/>
                <a:gdLst>
                  <a:gd name="T0" fmla="*/ 0 w 10"/>
                  <a:gd name="T1" fmla="*/ 32 h 32"/>
                  <a:gd name="T2" fmla="*/ 0 w 10"/>
                  <a:gd name="T3" fmla="*/ 32 h 32"/>
                  <a:gd name="T4" fmla="*/ 10 w 10"/>
                  <a:gd name="T5" fmla="*/ 8 h 32"/>
                  <a:gd name="T6" fmla="*/ 10 w 10"/>
                  <a:gd name="T7" fmla="*/ 0 h 32"/>
                  <a:gd name="T8" fmla="*/ 0 w 10"/>
                  <a:gd name="T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32">
                    <a:moveTo>
                      <a:pt x="0" y="32"/>
                    </a:moveTo>
                    <a:lnTo>
                      <a:pt x="0" y="32"/>
                    </a:lnTo>
                    <a:lnTo>
                      <a:pt x="10" y="8"/>
                    </a:lnTo>
                    <a:lnTo>
                      <a:pt x="10" y="0"/>
                    </a:lnTo>
                    <a:lnTo>
                      <a:pt x="0" y="32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94" name="Freeform 52"/>
              <p:cNvSpPr>
                <a:spLocks/>
              </p:cNvSpPr>
              <p:nvPr/>
            </p:nvSpPr>
            <p:spPr bwMode="auto">
              <a:xfrm>
                <a:off x="7588728" y="1598414"/>
                <a:ext cx="34854" cy="28472"/>
              </a:xfrm>
              <a:custGeom>
                <a:avLst/>
                <a:gdLst>
                  <a:gd name="T0" fmla="*/ 15 w 36"/>
                  <a:gd name="T1" fmla="*/ 0 h 30"/>
                  <a:gd name="T2" fmla="*/ 15 w 36"/>
                  <a:gd name="T3" fmla="*/ 0 h 30"/>
                  <a:gd name="T4" fmla="*/ 10 w 36"/>
                  <a:gd name="T5" fmla="*/ 9 h 30"/>
                  <a:gd name="T6" fmla="*/ 0 w 36"/>
                  <a:gd name="T7" fmla="*/ 30 h 30"/>
                  <a:gd name="T8" fmla="*/ 22 w 36"/>
                  <a:gd name="T9" fmla="*/ 17 h 30"/>
                  <a:gd name="T10" fmla="*/ 36 w 36"/>
                  <a:gd name="T11" fmla="*/ 9 h 30"/>
                  <a:gd name="T12" fmla="*/ 26 w 36"/>
                  <a:gd name="T13" fmla="*/ 0 h 30"/>
                  <a:gd name="T14" fmla="*/ 15 w 36"/>
                  <a:gd name="T1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30">
                    <a:moveTo>
                      <a:pt x="15" y="0"/>
                    </a:moveTo>
                    <a:lnTo>
                      <a:pt x="15" y="0"/>
                    </a:lnTo>
                    <a:lnTo>
                      <a:pt x="10" y="9"/>
                    </a:lnTo>
                    <a:lnTo>
                      <a:pt x="0" y="30"/>
                    </a:lnTo>
                    <a:lnTo>
                      <a:pt x="22" y="17"/>
                    </a:lnTo>
                    <a:lnTo>
                      <a:pt x="36" y="9"/>
                    </a:lnTo>
                    <a:lnTo>
                      <a:pt x="26" y="0"/>
                    </a:lnTo>
                    <a:lnTo>
                      <a:pt x="15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95" name="Freeform 53"/>
              <p:cNvSpPr>
                <a:spLocks/>
              </p:cNvSpPr>
              <p:nvPr/>
            </p:nvSpPr>
            <p:spPr bwMode="auto">
              <a:xfrm>
                <a:off x="7674279" y="1592086"/>
                <a:ext cx="28517" cy="22145"/>
              </a:xfrm>
              <a:custGeom>
                <a:avLst/>
                <a:gdLst>
                  <a:gd name="T0" fmla="*/ 13 w 30"/>
                  <a:gd name="T1" fmla="*/ 0 h 24"/>
                  <a:gd name="T2" fmla="*/ 13 w 30"/>
                  <a:gd name="T3" fmla="*/ 0 h 24"/>
                  <a:gd name="T4" fmla="*/ 13 w 30"/>
                  <a:gd name="T5" fmla="*/ 3 h 24"/>
                  <a:gd name="T6" fmla="*/ 13 w 30"/>
                  <a:gd name="T7" fmla="*/ 16 h 24"/>
                  <a:gd name="T8" fmla="*/ 0 w 30"/>
                  <a:gd name="T9" fmla="*/ 24 h 24"/>
                  <a:gd name="T10" fmla="*/ 23 w 30"/>
                  <a:gd name="T11" fmla="*/ 21 h 24"/>
                  <a:gd name="T12" fmla="*/ 30 w 30"/>
                  <a:gd name="T13" fmla="*/ 19 h 24"/>
                  <a:gd name="T14" fmla="*/ 20 w 30"/>
                  <a:gd name="T15" fmla="*/ 7 h 24"/>
                  <a:gd name="T16" fmla="*/ 13 w 30"/>
                  <a:gd name="T1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" h="24">
                    <a:moveTo>
                      <a:pt x="13" y="0"/>
                    </a:moveTo>
                    <a:lnTo>
                      <a:pt x="13" y="0"/>
                    </a:lnTo>
                    <a:lnTo>
                      <a:pt x="13" y="3"/>
                    </a:lnTo>
                    <a:lnTo>
                      <a:pt x="13" y="16"/>
                    </a:lnTo>
                    <a:lnTo>
                      <a:pt x="0" y="24"/>
                    </a:lnTo>
                    <a:lnTo>
                      <a:pt x="23" y="21"/>
                    </a:lnTo>
                    <a:lnTo>
                      <a:pt x="30" y="19"/>
                    </a:lnTo>
                    <a:lnTo>
                      <a:pt x="20" y="7"/>
                    </a:lnTo>
                    <a:lnTo>
                      <a:pt x="13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96" name="Freeform 54"/>
              <p:cNvSpPr>
                <a:spLocks noEditPoints="1"/>
              </p:cNvSpPr>
              <p:nvPr/>
            </p:nvSpPr>
            <p:spPr bwMode="auto">
              <a:xfrm>
                <a:off x="434131" y="434226"/>
                <a:ext cx="7450857" cy="4166399"/>
              </a:xfrm>
              <a:custGeom>
                <a:avLst/>
                <a:gdLst>
                  <a:gd name="T0" fmla="*/ 535 w 7823"/>
                  <a:gd name="T1" fmla="*/ 287 h 4373"/>
                  <a:gd name="T2" fmla="*/ 612 w 7823"/>
                  <a:gd name="T3" fmla="*/ 173 h 4373"/>
                  <a:gd name="T4" fmla="*/ 376 w 7823"/>
                  <a:gd name="T5" fmla="*/ 317 h 4373"/>
                  <a:gd name="T6" fmla="*/ 357 w 7823"/>
                  <a:gd name="T7" fmla="*/ 453 h 4373"/>
                  <a:gd name="T8" fmla="*/ 161 w 7823"/>
                  <a:gd name="T9" fmla="*/ 888 h 4373"/>
                  <a:gd name="T10" fmla="*/ 33 w 7823"/>
                  <a:gd name="T11" fmla="*/ 1447 h 4373"/>
                  <a:gd name="T12" fmla="*/ 142 w 7823"/>
                  <a:gd name="T13" fmla="*/ 1856 h 4373"/>
                  <a:gd name="T14" fmla="*/ 121 w 7823"/>
                  <a:gd name="T15" fmla="*/ 1920 h 4373"/>
                  <a:gd name="T16" fmla="*/ 274 w 7823"/>
                  <a:gd name="T17" fmla="*/ 2381 h 4373"/>
                  <a:gd name="T18" fmla="*/ 665 w 7823"/>
                  <a:gd name="T19" fmla="*/ 2778 h 4373"/>
                  <a:gd name="T20" fmla="*/ 2482 w 7823"/>
                  <a:gd name="T21" fmla="*/ 3438 h 4373"/>
                  <a:gd name="T22" fmla="*/ 2971 w 7823"/>
                  <a:gd name="T23" fmla="*/ 3679 h 4373"/>
                  <a:gd name="T24" fmla="*/ 3438 w 7823"/>
                  <a:gd name="T25" fmla="*/ 4076 h 4373"/>
                  <a:gd name="T26" fmla="*/ 3818 w 7823"/>
                  <a:gd name="T27" fmla="*/ 4338 h 4373"/>
                  <a:gd name="T28" fmla="*/ 3834 w 7823"/>
                  <a:gd name="T29" fmla="*/ 3986 h 4373"/>
                  <a:gd name="T30" fmla="*/ 4040 w 7823"/>
                  <a:gd name="T31" fmla="*/ 3895 h 4373"/>
                  <a:gd name="T32" fmla="*/ 4383 w 7823"/>
                  <a:gd name="T33" fmla="*/ 3679 h 4373"/>
                  <a:gd name="T34" fmla="*/ 4804 w 7823"/>
                  <a:gd name="T35" fmla="*/ 3718 h 4373"/>
                  <a:gd name="T36" fmla="*/ 5126 w 7823"/>
                  <a:gd name="T37" fmla="*/ 3772 h 4373"/>
                  <a:gd name="T38" fmla="*/ 5029 w 7823"/>
                  <a:gd name="T39" fmla="*/ 3628 h 4373"/>
                  <a:gd name="T40" fmla="*/ 5228 w 7823"/>
                  <a:gd name="T41" fmla="*/ 3544 h 4373"/>
                  <a:gd name="T42" fmla="*/ 5459 w 7823"/>
                  <a:gd name="T43" fmla="*/ 3505 h 4373"/>
                  <a:gd name="T44" fmla="*/ 5751 w 7823"/>
                  <a:gd name="T45" fmla="*/ 3550 h 4373"/>
                  <a:gd name="T46" fmla="*/ 6085 w 7823"/>
                  <a:gd name="T47" fmla="*/ 3577 h 4373"/>
                  <a:gd name="T48" fmla="*/ 6260 w 7823"/>
                  <a:gd name="T49" fmla="*/ 3935 h 4373"/>
                  <a:gd name="T50" fmla="*/ 6564 w 7823"/>
                  <a:gd name="T51" fmla="*/ 4216 h 4373"/>
                  <a:gd name="T52" fmla="*/ 6677 w 7823"/>
                  <a:gd name="T53" fmla="*/ 3919 h 4373"/>
                  <a:gd name="T54" fmla="*/ 6353 w 7823"/>
                  <a:gd name="T55" fmla="*/ 3337 h 4373"/>
                  <a:gd name="T56" fmla="*/ 6436 w 7823"/>
                  <a:gd name="T57" fmla="*/ 3096 h 4373"/>
                  <a:gd name="T58" fmla="*/ 6624 w 7823"/>
                  <a:gd name="T59" fmla="*/ 2908 h 4373"/>
                  <a:gd name="T60" fmla="*/ 6869 w 7823"/>
                  <a:gd name="T61" fmla="*/ 2586 h 4373"/>
                  <a:gd name="T62" fmla="*/ 6975 w 7823"/>
                  <a:gd name="T63" fmla="*/ 2465 h 4373"/>
                  <a:gd name="T64" fmla="*/ 6959 w 7823"/>
                  <a:gd name="T65" fmla="*/ 2331 h 4373"/>
                  <a:gd name="T66" fmla="*/ 6996 w 7823"/>
                  <a:gd name="T67" fmla="*/ 2222 h 4373"/>
                  <a:gd name="T68" fmla="*/ 6782 w 7823"/>
                  <a:gd name="T69" fmla="*/ 2128 h 4373"/>
                  <a:gd name="T70" fmla="*/ 6901 w 7823"/>
                  <a:gd name="T71" fmla="*/ 2065 h 4373"/>
                  <a:gd name="T72" fmla="*/ 6806 w 7823"/>
                  <a:gd name="T73" fmla="*/ 1968 h 4373"/>
                  <a:gd name="T74" fmla="*/ 6774 w 7823"/>
                  <a:gd name="T75" fmla="*/ 1925 h 4373"/>
                  <a:gd name="T76" fmla="*/ 6820 w 7823"/>
                  <a:gd name="T77" fmla="*/ 1771 h 4373"/>
                  <a:gd name="T78" fmla="*/ 6879 w 7823"/>
                  <a:gd name="T79" fmla="*/ 1856 h 4373"/>
                  <a:gd name="T80" fmla="*/ 6989 w 7823"/>
                  <a:gd name="T81" fmla="*/ 2096 h 4373"/>
                  <a:gd name="T82" fmla="*/ 6929 w 7823"/>
                  <a:gd name="T83" fmla="*/ 1687 h 4373"/>
                  <a:gd name="T84" fmla="*/ 7105 w 7823"/>
                  <a:gd name="T85" fmla="*/ 1682 h 4373"/>
                  <a:gd name="T86" fmla="*/ 7108 w 7823"/>
                  <a:gd name="T87" fmla="*/ 1477 h 4373"/>
                  <a:gd name="T88" fmla="*/ 7124 w 7823"/>
                  <a:gd name="T89" fmla="*/ 1436 h 4373"/>
                  <a:gd name="T90" fmla="*/ 7409 w 7823"/>
                  <a:gd name="T91" fmla="*/ 1191 h 4373"/>
                  <a:gd name="T92" fmla="*/ 7494 w 7823"/>
                  <a:gd name="T93" fmla="*/ 1126 h 4373"/>
                  <a:gd name="T94" fmla="*/ 7519 w 7823"/>
                  <a:gd name="T95" fmla="*/ 822 h 4373"/>
                  <a:gd name="T96" fmla="*/ 7651 w 7823"/>
                  <a:gd name="T97" fmla="*/ 666 h 4373"/>
                  <a:gd name="T98" fmla="*/ 7737 w 7823"/>
                  <a:gd name="T99" fmla="*/ 464 h 4373"/>
                  <a:gd name="T100" fmla="*/ 7309 w 7823"/>
                  <a:gd name="T101" fmla="*/ 566 h 4373"/>
                  <a:gd name="T102" fmla="*/ 6670 w 7823"/>
                  <a:gd name="T103" fmla="*/ 1054 h 4373"/>
                  <a:gd name="T104" fmla="*/ 6022 w 7823"/>
                  <a:gd name="T105" fmla="*/ 1504 h 4373"/>
                  <a:gd name="T106" fmla="*/ 5864 w 7823"/>
                  <a:gd name="T107" fmla="*/ 1286 h 4373"/>
                  <a:gd name="T108" fmla="*/ 5665 w 7823"/>
                  <a:gd name="T109" fmla="*/ 907 h 4373"/>
                  <a:gd name="T110" fmla="*/ 5367 w 7823"/>
                  <a:gd name="T111" fmla="*/ 972 h 4373"/>
                  <a:gd name="T112" fmla="*/ 5161 w 7823"/>
                  <a:gd name="T113" fmla="*/ 1522 h 4373"/>
                  <a:gd name="T114" fmla="*/ 5070 w 7823"/>
                  <a:gd name="T115" fmla="*/ 1075 h 4373"/>
                  <a:gd name="T116" fmla="*/ 5462 w 7823"/>
                  <a:gd name="T117" fmla="*/ 829 h 4373"/>
                  <a:gd name="T118" fmla="*/ 5115 w 7823"/>
                  <a:gd name="T119" fmla="*/ 750 h 4373"/>
                  <a:gd name="T120" fmla="*/ 4658 w 7823"/>
                  <a:gd name="T121" fmla="*/ 710 h 4373"/>
                  <a:gd name="T122" fmla="*/ 4631 w 7823"/>
                  <a:gd name="T123" fmla="*/ 498 h 4373"/>
                  <a:gd name="T124" fmla="*/ 3468 w 7823"/>
                  <a:gd name="T125" fmla="*/ 384 h 4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823" h="4373">
                    <a:moveTo>
                      <a:pt x="651" y="0"/>
                    </a:moveTo>
                    <a:lnTo>
                      <a:pt x="651" y="0"/>
                    </a:lnTo>
                    <a:lnTo>
                      <a:pt x="640" y="6"/>
                    </a:lnTo>
                    <a:lnTo>
                      <a:pt x="644" y="17"/>
                    </a:lnTo>
                    <a:lnTo>
                      <a:pt x="647" y="26"/>
                    </a:lnTo>
                    <a:lnTo>
                      <a:pt x="647" y="29"/>
                    </a:lnTo>
                    <a:lnTo>
                      <a:pt x="658" y="41"/>
                    </a:lnTo>
                    <a:lnTo>
                      <a:pt x="670" y="47"/>
                    </a:lnTo>
                    <a:lnTo>
                      <a:pt x="667" y="60"/>
                    </a:lnTo>
                    <a:lnTo>
                      <a:pt x="667" y="68"/>
                    </a:lnTo>
                    <a:lnTo>
                      <a:pt x="667" y="81"/>
                    </a:lnTo>
                    <a:lnTo>
                      <a:pt x="654" y="74"/>
                    </a:lnTo>
                    <a:lnTo>
                      <a:pt x="661" y="84"/>
                    </a:lnTo>
                    <a:lnTo>
                      <a:pt x="658" y="95"/>
                    </a:lnTo>
                    <a:lnTo>
                      <a:pt x="644" y="89"/>
                    </a:lnTo>
                    <a:lnTo>
                      <a:pt x="635" y="89"/>
                    </a:lnTo>
                    <a:lnTo>
                      <a:pt x="635" y="98"/>
                    </a:lnTo>
                    <a:lnTo>
                      <a:pt x="647" y="98"/>
                    </a:lnTo>
                    <a:lnTo>
                      <a:pt x="651" y="109"/>
                    </a:lnTo>
                    <a:lnTo>
                      <a:pt x="661" y="122"/>
                    </a:lnTo>
                    <a:lnTo>
                      <a:pt x="658" y="132"/>
                    </a:lnTo>
                    <a:lnTo>
                      <a:pt x="661" y="137"/>
                    </a:lnTo>
                    <a:lnTo>
                      <a:pt x="658" y="159"/>
                    </a:lnTo>
                    <a:lnTo>
                      <a:pt x="665" y="170"/>
                    </a:lnTo>
                    <a:lnTo>
                      <a:pt x="665" y="183"/>
                    </a:lnTo>
                    <a:lnTo>
                      <a:pt x="651" y="191"/>
                    </a:lnTo>
                    <a:lnTo>
                      <a:pt x="639" y="207"/>
                    </a:lnTo>
                    <a:lnTo>
                      <a:pt x="640" y="218"/>
                    </a:lnTo>
                    <a:lnTo>
                      <a:pt x="628" y="224"/>
                    </a:lnTo>
                    <a:lnTo>
                      <a:pt x="635" y="236"/>
                    </a:lnTo>
                    <a:lnTo>
                      <a:pt x="624" y="245"/>
                    </a:lnTo>
                    <a:lnTo>
                      <a:pt x="628" y="269"/>
                    </a:lnTo>
                    <a:lnTo>
                      <a:pt x="614" y="282"/>
                    </a:lnTo>
                    <a:lnTo>
                      <a:pt x="591" y="287"/>
                    </a:lnTo>
                    <a:lnTo>
                      <a:pt x="584" y="296"/>
                    </a:lnTo>
                    <a:lnTo>
                      <a:pt x="575" y="306"/>
                    </a:lnTo>
                    <a:lnTo>
                      <a:pt x="561" y="306"/>
                    </a:lnTo>
                    <a:lnTo>
                      <a:pt x="556" y="293"/>
                    </a:lnTo>
                    <a:lnTo>
                      <a:pt x="542" y="300"/>
                    </a:lnTo>
                    <a:lnTo>
                      <a:pt x="542" y="311"/>
                    </a:lnTo>
                    <a:lnTo>
                      <a:pt x="531" y="303"/>
                    </a:lnTo>
                    <a:lnTo>
                      <a:pt x="535" y="293"/>
                    </a:lnTo>
                    <a:lnTo>
                      <a:pt x="522" y="290"/>
                    </a:lnTo>
                    <a:lnTo>
                      <a:pt x="535" y="287"/>
                    </a:lnTo>
                    <a:lnTo>
                      <a:pt x="545" y="279"/>
                    </a:lnTo>
                    <a:lnTo>
                      <a:pt x="568" y="263"/>
                    </a:lnTo>
                    <a:lnTo>
                      <a:pt x="565" y="276"/>
                    </a:lnTo>
                    <a:lnTo>
                      <a:pt x="561" y="285"/>
                    </a:lnTo>
                    <a:lnTo>
                      <a:pt x="561" y="296"/>
                    </a:lnTo>
                    <a:lnTo>
                      <a:pt x="565" y="290"/>
                    </a:lnTo>
                    <a:lnTo>
                      <a:pt x="568" y="279"/>
                    </a:lnTo>
                    <a:lnTo>
                      <a:pt x="579" y="269"/>
                    </a:lnTo>
                    <a:lnTo>
                      <a:pt x="587" y="266"/>
                    </a:lnTo>
                    <a:lnTo>
                      <a:pt x="579" y="279"/>
                    </a:lnTo>
                    <a:lnTo>
                      <a:pt x="591" y="285"/>
                    </a:lnTo>
                    <a:lnTo>
                      <a:pt x="612" y="245"/>
                    </a:lnTo>
                    <a:lnTo>
                      <a:pt x="605" y="234"/>
                    </a:lnTo>
                    <a:lnTo>
                      <a:pt x="591" y="236"/>
                    </a:lnTo>
                    <a:lnTo>
                      <a:pt x="591" y="224"/>
                    </a:lnTo>
                    <a:lnTo>
                      <a:pt x="605" y="228"/>
                    </a:lnTo>
                    <a:lnTo>
                      <a:pt x="605" y="218"/>
                    </a:lnTo>
                    <a:lnTo>
                      <a:pt x="605" y="207"/>
                    </a:lnTo>
                    <a:lnTo>
                      <a:pt x="614" y="210"/>
                    </a:lnTo>
                    <a:lnTo>
                      <a:pt x="624" y="204"/>
                    </a:lnTo>
                    <a:lnTo>
                      <a:pt x="628" y="191"/>
                    </a:lnTo>
                    <a:lnTo>
                      <a:pt x="621" y="180"/>
                    </a:lnTo>
                    <a:lnTo>
                      <a:pt x="591" y="204"/>
                    </a:lnTo>
                    <a:lnTo>
                      <a:pt x="588" y="207"/>
                    </a:lnTo>
                    <a:lnTo>
                      <a:pt x="587" y="210"/>
                    </a:lnTo>
                    <a:lnTo>
                      <a:pt x="587" y="208"/>
                    </a:lnTo>
                    <a:lnTo>
                      <a:pt x="582" y="215"/>
                    </a:lnTo>
                    <a:lnTo>
                      <a:pt x="558" y="221"/>
                    </a:lnTo>
                    <a:lnTo>
                      <a:pt x="531" y="242"/>
                    </a:lnTo>
                    <a:lnTo>
                      <a:pt x="535" y="255"/>
                    </a:lnTo>
                    <a:lnTo>
                      <a:pt x="549" y="252"/>
                    </a:lnTo>
                    <a:lnTo>
                      <a:pt x="561" y="252"/>
                    </a:lnTo>
                    <a:lnTo>
                      <a:pt x="535" y="258"/>
                    </a:lnTo>
                    <a:lnTo>
                      <a:pt x="526" y="248"/>
                    </a:lnTo>
                    <a:lnTo>
                      <a:pt x="531" y="236"/>
                    </a:lnTo>
                    <a:lnTo>
                      <a:pt x="558" y="218"/>
                    </a:lnTo>
                    <a:lnTo>
                      <a:pt x="568" y="212"/>
                    </a:lnTo>
                    <a:lnTo>
                      <a:pt x="591" y="188"/>
                    </a:lnTo>
                    <a:lnTo>
                      <a:pt x="587" y="197"/>
                    </a:lnTo>
                    <a:lnTo>
                      <a:pt x="587" y="208"/>
                    </a:lnTo>
                    <a:lnTo>
                      <a:pt x="588" y="207"/>
                    </a:lnTo>
                    <a:lnTo>
                      <a:pt x="591" y="197"/>
                    </a:lnTo>
                    <a:lnTo>
                      <a:pt x="605" y="188"/>
                    </a:lnTo>
                    <a:lnTo>
                      <a:pt x="612" y="173"/>
                    </a:lnTo>
                    <a:lnTo>
                      <a:pt x="605" y="146"/>
                    </a:lnTo>
                    <a:lnTo>
                      <a:pt x="609" y="135"/>
                    </a:lnTo>
                    <a:lnTo>
                      <a:pt x="595" y="143"/>
                    </a:lnTo>
                    <a:lnTo>
                      <a:pt x="591" y="156"/>
                    </a:lnTo>
                    <a:lnTo>
                      <a:pt x="584" y="137"/>
                    </a:lnTo>
                    <a:lnTo>
                      <a:pt x="572" y="140"/>
                    </a:lnTo>
                    <a:lnTo>
                      <a:pt x="572" y="132"/>
                    </a:lnTo>
                    <a:lnTo>
                      <a:pt x="568" y="119"/>
                    </a:lnTo>
                    <a:lnTo>
                      <a:pt x="556" y="122"/>
                    </a:lnTo>
                    <a:lnTo>
                      <a:pt x="542" y="122"/>
                    </a:lnTo>
                    <a:lnTo>
                      <a:pt x="529" y="116"/>
                    </a:lnTo>
                    <a:lnTo>
                      <a:pt x="505" y="109"/>
                    </a:lnTo>
                    <a:lnTo>
                      <a:pt x="492" y="101"/>
                    </a:lnTo>
                    <a:lnTo>
                      <a:pt x="470" y="95"/>
                    </a:lnTo>
                    <a:lnTo>
                      <a:pt x="448" y="85"/>
                    </a:lnTo>
                    <a:lnTo>
                      <a:pt x="443" y="77"/>
                    </a:lnTo>
                    <a:lnTo>
                      <a:pt x="429" y="71"/>
                    </a:lnTo>
                    <a:lnTo>
                      <a:pt x="417" y="60"/>
                    </a:lnTo>
                    <a:lnTo>
                      <a:pt x="396" y="41"/>
                    </a:lnTo>
                    <a:lnTo>
                      <a:pt x="383" y="34"/>
                    </a:lnTo>
                    <a:lnTo>
                      <a:pt x="387" y="47"/>
                    </a:lnTo>
                    <a:lnTo>
                      <a:pt x="383" y="50"/>
                    </a:lnTo>
                    <a:lnTo>
                      <a:pt x="380" y="61"/>
                    </a:lnTo>
                    <a:lnTo>
                      <a:pt x="369" y="74"/>
                    </a:lnTo>
                    <a:lnTo>
                      <a:pt x="369" y="84"/>
                    </a:lnTo>
                    <a:lnTo>
                      <a:pt x="366" y="95"/>
                    </a:lnTo>
                    <a:lnTo>
                      <a:pt x="366" y="108"/>
                    </a:lnTo>
                    <a:lnTo>
                      <a:pt x="369" y="116"/>
                    </a:lnTo>
                    <a:lnTo>
                      <a:pt x="380" y="132"/>
                    </a:lnTo>
                    <a:lnTo>
                      <a:pt x="387" y="153"/>
                    </a:lnTo>
                    <a:lnTo>
                      <a:pt x="387" y="164"/>
                    </a:lnTo>
                    <a:lnTo>
                      <a:pt x="380" y="210"/>
                    </a:lnTo>
                    <a:lnTo>
                      <a:pt x="387" y="236"/>
                    </a:lnTo>
                    <a:lnTo>
                      <a:pt x="383" y="269"/>
                    </a:lnTo>
                    <a:lnTo>
                      <a:pt x="376" y="282"/>
                    </a:lnTo>
                    <a:lnTo>
                      <a:pt x="383" y="285"/>
                    </a:lnTo>
                    <a:lnTo>
                      <a:pt x="387" y="272"/>
                    </a:lnTo>
                    <a:lnTo>
                      <a:pt x="396" y="282"/>
                    </a:lnTo>
                    <a:lnTo>
                      <a:pt x="410" y="293"/>
                    </a:lnTo>
                    <a:lnTo>
                      <a:pt x="419" y="296"/>
                    </a:lnTo>
                    <a:lnTo>
                      <a:pt x="399" y="300"/>
                    </a:lnTo>
                    <a:lnTo>
                      <a:pt x="383" y="306"/>
                    </a:lnTo>
                    <a:lnTo>
                      <a:pt x="380" y="296"/>
                    </a:lnTo>
                    <a:lnTo>
                      <a:pt x="376" y="317"/>
                    </a:lnTo>
                    <a:lnTo>
                      <a:pt x="380" y="330"/>
                    </a:lnTo>
                    <a:lnTo>
                      <a:pt x="406" y="335"/>
                    </a:lnTo>
                    <a:lnTo>
                      <a:pt x="410" y="344"/>
                    </a:lnTo>
                    <a:lnTo>
                      <a:pt x="406" y="344"/>
                    </a:lnTo>
                    <a:lnTo>
                      <a:pt x="392" y="338"/>
                    </a:lnTo>
                    <a:lnTo>
                      <a:pt x="387" y="351"/>
                    </a:lnTo>
                    <a:lnTo>
                      <a:pt x="390" y="360"/>
                    </a:lnTo>
                    <a:lnTo>
                      <a:pt x="380" y="371"/>
                    </a:lnTo>
                    <a:lnTo>
                      <a:pt x="387" y="384"/>
                    </a:lnTo>
                    <a:lnTo>
                      <a:pt x="387" y="386"/>
                    </a:lnTo>
                    <a:lnTo>
                      <a:pt x="380" y="378"/>
                    </a:lnTo>
                    <a:lnTo>
                      <a:pt x="366" y="378"/>
                    </a:lnTo>
                    <a:lnTo>
                      <a:pt x="373" y="357"/>
                    </a:lnTo>
                    <a:lnTo>
                      <a:pt x="369" y="344"/>
                    </a:lnTo>
                    <a:lnTo>
                      <a:pt x="357" y="402"/>
                    </a:lnTo>
                    <a:lnTo>
                      <a:pt x="366" y="402"/>
                    </a:lnTo>
                    <a:lnTo>
                      <a:pt x="376" y="413"/>
                    </a:lnTo>
                    <a:lnTo>
                      <a:pt x="403" y="408"/>
                    </a:lnTo>
                    <a:lnTo>
                      <a:pt x="410" y="416"/>
                    </a:lnTo>
                    <a:lnTo>
                      <a:pt x="419" y="419"/>
                    </a:lnTo>
                    <a:lnTo>
                      <a:pt x="422" y="423"/>
                    </a:lnTo>
                    <a:lnTo>
                      <a:pt x="429" y="426"/>
                    </a:lnTo>
                    <a:lnTo>
                      <a:pt x="433" y="426"/>
                    </a:lnTo>
                    <a:lnTo>
                      <a:pt x="436" y="434"/>
                    </a:lnTo>
                    <a:lnTo>
                      <a:pt x="448" y="447"/>
                    </a:lnTo>
                    <a:lnTo>
                      <a:pt x="459" y="447"/>
                    </a:lnTo>
                    <a:lnTo>
                      <a:pt x="459" y="447"/>
                    </a:lnTo>
                    <a:lnTo>
                      <a:pt x="459" y="447"/>
                    </a:lnTo>
                    <a:lnTo>
                      <a:pt x="448" y="450"/>
                    </a:lnTo>
                    <a:lnTo>
                      <a:pt x="436" y="447"/>
                    </a:lnTo>
                    <a:lnTo>
                      <a:pt x="436" y="443"/>
                    </a:lnTo>
                    <a:lnTo>
                      <a:pt x="426" y="434"/>
                    </a:lnTo>
                    <a:lnTo>
                      <a:pt x="417" y="426"/>
                    </a:lnTo>
                    <a:lnTo>
                      <a:pt x="403" y="429"/>
                    </a:lnTo>
                    <a:lnTo>
                      <a:pt x="390" y="429"/>
                    </a:lnTo>
                    <a:lnTo>
                      <a:pt x="387" y="423"/>
                    </a:lnTo>
                    <a:lnTo>
                      <a:pt x="380" y="423"/>
                    </a:lnTo>
                    <a:lnTo>
                      <a:pt x="376" y="426"/>
                    </a:lnTo>
                    <a:lnTo>
                      <a:pt x="383" y="432"/>
                    </a:lnTo>
                    <a:lnTo>
                      <a:pt x="380" y="432"/>
                    </a:lnTo>
                    <a:lnTo>
                      <a:pt x="376" y="429"/>
                    </a:lnTo>
                    <a:lnTo>
                      <a:pt x="366" y="416"/>
                    </a:lnTo>
                    <a:lnTo>
                      <a:pt x="360" y="429"/>
                    </a:lnTo>
                    <a:lnTo>
                      <a:pt x="357" y="453"/>
                    </a:lnTo>
                    <a:lnTo>
                      <a:pt x="346" y="461"/>
                    </a:lnTo>
                    <a:lnTo>
                      <a:pt x="346" y="464"/>
                    </a:lnTo>
                    <a:lnTo>
                      <a:pt x="343" y="474"/>
                    </a:lnTo>
                    <a:lnTo>
                      <a:pt x="339" y="485"/>
                    </a:lnTo>
                    <a:lnTo>
                      <a:pt x="339" y="498"/>
                    </a:lnTo>
                    <a:lnTo>
                      <a:pt x="343" y="504"/>
                    </a:lnTo>
                    <a:lnTo>
                      <a:pt x="334" y="515"/>
                    </a:lnTo>
                    <a:lnTo>
                      <a:pt x="327" y="528"/>
                    </a:lnTo>
                    <a:lnTo>
                      <a:pt x="336" y="536"/>
                    </a:lnTo>
                    <a:lnTo>
                      <a:pt x="323" y="534"/>
                    </a:lnTo>
                    <a:lnTo>
                      <a:pt x="323" y="542"/>
                    </a:lnTo>
                    <a:lnTo>
                      <a:pt x="316" y="555"/>
                    </a:lnTo>
                    <a:lnTo>
                      <a:pt x="316" y="563"/>
                    </a:lnTo>
                    <a:lnTo>
                      <a:pt x="309" y="576"/>
                    </a:lnTo>
                    <a:lnTo>
                      <a:pt x="308" y="587"/>
                    </a:lnTo>
                    <a:lnTo>
                      <a:pt x="297" y="606"/>
                    </a:lnTo>
                    <a:lnTo>
                      <a:pt x="293" y="618"/>
                    </a:lnTo>
                    <a:lnTo>
                      <a:pt x="274" y="648"/>
                    </a:lnTo>
                    <a:lnTo>
                      <a:pt x="267" y="669"/>
                    </a:lnTo>
                    <a:lnTo>
                      <a:pt x="257" y="693"/>
                    </a:lnTo>
                    <a:lnTo>
                      <a:pt x="260" y="705"/>
                    </a:lnTo>
                    <a:lnTo>
                      <a:pt x="260" y="709"/>
                    </a:lnTo>
                    <a:lnTo>
                      <a:pt x="251" y="713"/>
                    </a:lnTo>
                    <a:lnTo>
                      <a:pt x="244" y="723"/>
                    </a:lnTo>
                    <a:lnTo>
                      <a:pt x="237" y="747"/>
                    </a:lnTo>
                    <a:lnTo>
                      <a:pt x="214" y="801"/>
                    </a:lnTo>
                    <a:lnTo>
                      <a:pt x="204" y="813"/>
                    </a:lnTo>
                    <a:lnTo>
                      <a:pt x="200" y="825"/>
                    </a:lnTo>
                    <a:lnTo>
                      <a:pt x="214" y="819"/>
                    </a:lnTo>
                    <a:lnTo>
                      <a:pt x="218" y="825"/>
                    </a:lnTo>
                    <a:lnTo>
                      <a:pt x="204" y="825"/>
                    </a:lnTo>
                    <a:lnTo>
                      <a:pt x="195" y="835"/>
                    </a:lnTo>
                    <a:lnTo>
                      <a:pt x="177" y="856"/>
                    </a:lnTo>
                    <a:lnTo>
                      <a:pt x="174" y="867"/>
                    </a:lnTo>
                    <a:lnTo>
                      <a:pt x="177" y="870"/>
                    </a:lnTo>
                    <a:lnTo>
                      <a:pt x="181" y="870"/>
                    </a:lnTo>
                    <a:lnTo>
                      <a:pt x="181" y="876"/>
                    </a:lnTo>
                    <a:lnTo>
                      <a:pt x="184" y="870"/>
                    </a:lnTo>
                    <a:lnTo>
                      <a:pt x="181" y="876"/>
                    </a:lnTo>
                    <a:lnTo>
                      <a:pt x="181" y="870"/>
                    </a:lnTo>
                    <a:lnTo>
                      <a:pt x="177" y="870"/>
                    </a:lnTo>
                    <a:lnTo>
                      <a:pt x="177" y="870"/>
                    </a:lnTo>
                    <a:lnTo>
                      <a:pt x="169" y="876"/>
                    </a:lnTo>
                    <a:lnTo>
                      <a:pt x="161" y="888"/>
                    </a:lnTo>
                    <a:lnTo>
                      <a:pt x="158" y="876"/>
                    </a:lnTo>
                    <a:lnTo>
                      <a:pt x="135" y="921"/>
                    </a:lnTo>
                    <a:lnTo>
                      <a:pt x="112" y="948"/>
                    </a:lnTo>
                    <a:lnTo>
                      <a:pt x="112" y="969"/>
                    </a:lnTo>
                    <a:lnTo>
                      <a:pt x="117" y="993"/>
                    </a:lnTo>
                    <a:lnTo>
                      <a:pt x="116" y="1006"/>
                    </a:lnTo>
                    <a:lnTo>
                      <a:pt x="105" y="1017"/>
                    </a:lnTo>
                    <a:lnTo>
                      <a:pt x="102" y="1027"/>
                    </a:lnTo>
                    <a:lnTo>
                      <a:pt x="95" y="1041"/>
                    </a:lnTo>
                    <a:lnTo>
                      <a:pt x="98" y="1084"/>
                    </a:lnTo>
                    <a:lnTo>
                      <a:pt x="109" y="1108"/>
                    </a:lnTo>
                    <a:lnTo>
                      <a:pt x="102" y="1129"/>
                    </a:lnTo>
                    <a:lnTo>
                      <a:pt x="95" y="1140"/>
                    </a:lnTo>
                    <a:lnTo>
                      <a:pt x="96" y="1142"/>
                    </a:lnTo>
                    <a:lnTo>
                      <a:pt x="95" y="1143"/>
                    </a:lnTo>
                    <a:lnTo>
                      <a:pt x="102" y="1155"/>
                    </a:lnTo>
                    <a:lnTo>
                      <a:pt x="102" y="1164"/>
                    </a:lnTo>
                    <a:lnTo>
                      <a:pt x="102" y="1185"/>
                    </a:lnTo>
                    <a:lnTo>
                      <a:pt x="102" y="1188"/>
                    </a:lnTo>
                    <a:lnTo>
                      <a:pt x="98" y="1210"/>
                    </a:lnTo>
                    <a:lnTo>
                      <a:pt x="68" y="1258"/>
                    </a:lnTo>
                    <a:lnTo>
                      <a:pt x="69" y="1261"/>
                    </a:lnTo>
                    <a:lnTo>
                      <a:pt x="69" y="1261"/>
                    </a:lnTo>
                    <a:lnTo>
                      <a:pt x="71" y="1267"/>
                    </a:lnTo>
                    <a:lnTo>
                      <a:pt x="65" y="1279"/>
                    </a:lnTo>
                    <a:lnTo>
                      <a:pt x="59" y="1287"/>
                    </a:lnTo>
                    <a:lnTo>
                      <a:pt x="52" y="1300"/>
                    </a:lnTo>
                    <a:lnTo>
                      <a:pt x="54" y="1301"/>
                    </a:lnTo>
                    <a:lnTo>
                      <a:pt x="53" y="1303"/>
                    </a:lnTo>
                    <a:lnTo>
                      <a:pt x="54" y="1304"/>
                    </a:lnTo>
                    <a:lnTo>
                      <a:pt x="42" y="1311"/>
                    </a:lnTo>
                    <a:lnTo>
                      <a:pt x="33" y="1318"/>
                    </a:lnTo>
                    <a:lnTo>
                      <a:pt x="22" y="1327"/>
                    </a:lnTo>
                    <a:lnTo>
                      <a:pt x="12" y="1338"/>
                    </a:lnTo>
                    <a:lnTo>
                      <a:pt x="3" y="1361"/>
                    </a:lnTo>
                    <a:lnTo>
                      <a:pt x="3" y="1378"/>
                    </a:lnTo>
                    <a:lnTo>
                      <a:pt x="0" y="1389"/>
                    </a:lnTo>
                    <a:lnTo>
                      <a:pt x="0" y="1391"/>
                    </a:lnTo>
                    <a:lnTo>
                      <a:pt x="0" y="1392"/>
                    </a:lnTo>
                    <a:lnTo>
                      <a:pt x="22" y="1425"/>
                    </a:lnTo>
                    <a:lnTo>
                      <a:pt x="22" y="1436"/>
                    </a:lnTo>
                    <a:lnTo>
                      <a:pt x="23" y="1436"/>
                    </a:lnTo>
                    <a:lnTo>
                      <a:pt x="23" y="1439"/>
                    </a:lnTo>
                    <a:lnTo>
                      <a:pt x="33" y="1447"/>
                    </a:lnTo>
                    <a:lnTo>
                      <a:pt x="42" y="1481"/>
                    </a:lnTo>
                    <a:lnTo>
                      <a:pt x="42" y="1488"/>
                    </a:lnTo>
                    <a:lnTo>
                      <a:pt x="42" y="1490"/>
                    </a:lnTo>
                    <a:lnTo>
                      <a:pt x="42" y="1491"/>
                    </a:lnTo>
                    <a:lnTo>
                      <a:pt x="45" y="1502"/>
                    </a:lnTo>
                    <a:lnTo>
                      <a:pt x="42" y="1511"/>
                    </a:lnTo>
                    <a:lnTo>
                      <a:pt x="42" y="1525"/>
                    </a:lnTo>
                    <a:lnTo>
                      <a:pt x="35" y="1536"/>
                    </a:lnTo>
                    <a:lnTo>
                      <a:pt x="22" y="1559"/>
                    </a:lnTo>
                    <a:lnTo>
                      <a:pt x="26" y="1600"/>
                    </a:lnTo>
                    <a:lnTo>
                      <a:pt x="22" y="1618"/>
                    </a:lnTo>
                    <a:lnTo>
                      <a:pt x="12" y="1631"/>
                    </a:lnTo>
                    <a:lnTo>
                      <a:pt x="13" y="1633"/>
                    </a:lnTo>
                    <a:lnTo>
                      <a:pt x="12" y="1633"/>
                    </a:lnTo>
                    <a:lnTo>
                      <a:pt x="23" y="1654"/>
                    </a:lnTo>
                    <a:lnTo>
                      <a:pt x="39" y="1675"/>
                    </a:lnTo>
                    <a:lnTo>
                      <a:pt x="53" y="1709"/>
                    </a:lnTo>
                    <a:lnTo>
                      <a:pt x="60" y="1720"/>
                    </a:lnTo>
                    <a:lnTo>
                      <a:pt x="69" y="1733"/>
                    </a:lnTo>
                    <a:lnTo>
                      <a:pt x="76" y="1741"/>
                    </a:lnTo>
                    <a:lnTo>
                      <a:pt x="79" y="1751"/>
                    </a:lnTo>
                    <a:lnTo>
                      <a:pt x="75" y="1762"/>
                    </a:lnTo>
                    <a:lnTo>
                      <a:pt x="78" y="1758"/>
                    </a:lnTo>
                    <a:lnTo>
                      <a:pt x="76" y="1765"/>
                    </a:lnTo>
                    <a:lnTo>
                      <a:pt x="79" y="1760"/>
                    </a:lnTo>
                    <a:lnTo>
                      <a:pt x="79" y="1761"/>
                    </a:lnTo>
                    <a:lnTo>
                      <a:pt x="79" y="1763"/>
                    </a:lnTo>
                    <a:lnTo>
                      <a:pt x="91" y="1784"/>
                    </a:lnTo>
                    <a:lnTo>
                      <a:pt x="95" y="1802"/>
                    </a:lnTo>
                    <a:lnTo>
                      <a:pt x="86" y="1781"/>
                    </a:lnTo>
                    <a:lnTo>
                      <a:pt x="82" y="1792"/>
                    </a:lnTo>
                    <a:lnTo>
                      <a:pt x="75" y="1805"/>
                    </a:lnTo>
                    <a:lnTo>
                      <a:pt x="72" y="1816"/>
                    </a:lnTo>
                    <a:lnTo>
                      <a:pt x="74" y="1815"/>
                    </a:lnTo>
                    <a:lnTo>
                      <a:pt x="72" y="1819"/>
                    </a:lnTo>
                    <a:lnTo>
                      <a:pt x="83" y="1811"/>
                    </a:lnTo>
                    <a:lnTo>
                      <a:pt x="95" y="1822"/>
                    </a:lnTo>
                    <a:lnTo>
                      <a:pt x="99" y="1835"/>
                    </a:lnTo>
                    <a:lnTo>
                      <a:pt x="113" y="1840"/>
                    </a:lnTo>
                    <a:lnTo>
                      <a:pt x="118" y="1852"/>
                    </a:lnTo>
                    <a:lnTo>
                      <a:pt x="132" y="1864"/>
                    </a:lnTo>
                    <a:lnTo>
                      <a:pt x="143" y="1859"/>
                    </a:lnTo>
                    <a:lnTo>
                      <a:pt x="141" y="1856"/>
                    </a:lnTo>
                    <a:lnTo>
                      <a:pt x="142" y="1856"/>
                    </a:lnTo>
                    <a:lnTo>
                      <a:pt x="136" y="1845"/>
                    </a:lnTo>
                    <a:lnTo>
                      <a:pt x="144" y="1838"/>
                    </a:lnTo>
                    <a:lnTo>
                      <a:pt x="143" y="1825"/>
                    </a:lnTo>
                    <a:lnTo>
                      <a:pt x="148" y="1816"/>
                    </a:lnTo>
                    <a:lnTo>
                      <a:pt x="162" y="1811"/>
                    </a:lnTo>
                    <a:lnTo>
                      <a:pt x="174" y="1819"/>
                    </a:lnTo>
                    <a:lnTo>
                      <a:pt x="181" y="1832"/>
                    </a:lnTo>
                    <a:lnTo>
                      <a:pt x="187" y="1834"/>
                    </a:lnTo>
                    <a:lnTo>
                      <a:pt x="181" y="1832"/>
                    </a:lnTo>
                    <a:lnTo>
                      <a:pt x="170" y="1835"/>
                    </a:lnTo>
                    <a:lnTo>
                      <a:pt x="158" y="1835"/>
                    </a:lnTo>
                    <a:lnTo>
                      <a:pt x="151" y="1846"/>
                    </a:lnTo>
                    <a:lnTo>
                      <a:pt x="152" y="1848"/>
                    </a:lnTo>
                    <a:lnTo>
                      <a:pt x="151" y="1849"/>
                    </a:lnTo>
                    <a:lnTo>
                      <a:pt x="161" y="1858"/>
                    </a:lnTo>
                    <a:lnTo>
                      <a:pt x="158" y="1867"/>
                    </a:lnTo>
                    <a:lnTo>
                      <a:pt x="159" y="1870"/>
                    </a:lnTo>
                    <a:lnTo>
                      <a:pt x="158" y="1870"/>
                    </a:lnTo>
                    <a:lnTo>
                      <a:pt x="162" y="1883"/>
                    </a:lnTo>
                    <a:lnTo>
                      <a:pt x="169" y="1886"/>
                    </a:lnTo>
                    <a:lnTo>
                      <a:pt x="170" y="1904"/>
                    </a:lnTo>
                    <a:lnTo>
                      <a:pt x="170" y="1925"/>
                    </a:lnTo>
                    <a:lnTo>
                      <a:pt x="171" y="1925"/>
                    </a:lnTo>
                    <a:lnTo>
                      <a:pt x="171" y="1928"/>
                    </a:lnTo>
                    <a:lnTo>
                      <a:pt x="178" y="1936"/>
                    </a:lnTo>
                    <a:lnTo>
                      <a:pt x="170" y="1934"/>
                    </a:lnTo>
                    <a:lnTo>
                      <a:pt x="158" y="1922"/>
                    </a:lnTo>
                    <a:lnTo>
                      <a:pt x="151" y="1910"/>
                    </a:lnTo>
                    <a:lnTo>
                      <a:pt x="140" y="1905"/>
                    </a:lnTo>
                    <a:lnTo>
                      <a:pt x="143" y="1894"/>
                    </a:lnTo>
                    <a:lnTo>
                      <a:pt x="148" y="1886"/>
                    </a:lnTo>
                    <a:lnTo>
                      <a:pt x="147" y="1883"/>
                    </a:lnTo>
                    <a:lnTo>
                      <a:pt x="147" y="1883"/>
                    </a:lnTo>
                    <a:lnTo>
                      <a:pt x="144" y="1872"/>
                    </a:lnTo>
                    <a:lnTo>
                      <a:pt x="144" y="1870"/>
                    </a:lnTo>
                    <a:lnTo>
                      <a:pt x="144" y="1870"/>
                    </a:lnTo>
                    <a:lnTo>
                      <a:pt x="144" y="1867"/>
                    </a:lnTo>
                    <a:lnTo>
                      <a:pt x="132" y="1867"/>
                    </a:lnTo>
                    <a:lnTo>
                      <a:pt x="124" y="1877"/>
                    </a:lnTo>
                    <a:lnTo>
                      <a:pt x="124" y="1886"/>
                    </a:lnTo>
                    <a:lnTo>
                      <a:pt x="116" y="1910"/>
                    </a:lnTo>
                    <a:lnTo>
                      <a:pt x="117" y="1912"/>
                    </a:lnTo>
                    <a:lnTo>
                      <a:pt x="116" y="1913"/>
                    </a:lnTo>
                    <a:lnTo>
                      <a:pt x="121" y="1920"/>
                    </a:lnTo>
                    <a:lnTo>
                      <a:pt x="121" y="1942"/>
                    </a:lnTo>
                    <a:lnTo>
                      <a:pt x="117" y="1952"/>
                    </a:lnTo>
                    <a:lnTo>
                      <a:pt x="116" y="1962"/>
                    </a:lnTo>
                    <a:lnTo>
                      <a:pt x="116" y="1969"/>
                    </a:lnTo>
                    <a:lnTo>
                      <a:pt x="117" y="1982"/>
                    </a:lnTo>
                    <a:lnTo>
                      <a:pt x="118" y="1983"/>
                    </a:lnTo>
                    <a:lnTo>
                      <a:pt x="118" y="1985"/>
                    </a:lnTo>
                    <a:lnTo>
                      <a:pt x="139" y="2017"/>
                    </a:lnTo>
                    <a:lnTo>
                      <a:pt x="151" y="2027"/>
                    </a:lnTo>
                    <a:lnTo>
                      <a:pt x="174" y="2027"/>
                    </a:lnTo>
                    <a:lnTo>
                      <a:pt x="181" y="2049"/>
                    </a:lnTo>
                    <a:lnTo>
                      <a:pt x="181" y="2072"/>
                    </a:lnTo>
                    <a:lnTo>
                      <a:pt x="177" y="2069"/>
                    </a:lnTo>
                    <a:lnTo>
                      <a:pt x="170" y="2078"/>
                    </a:lnTo>
                    <a:lnTo>
                      <a:pt x="147" y="2089"/>
                    </a:lnTo>
                    <a:lnTo>
                      <a:pt x="147" y="2113"/>
                    </a:lnTo>
                    <a:lnTo>
                      <a:pt x="144" y="2136"/>
                    </a:lnTo>
                    <a:lnTo>
                      <a:pt x="145" y="2137"/>
                    </a:lnTo>
                    <a:lnTo>
                      <a:pt x="144" y="2138"/>
                    </a:lnTo>
                    <a:lnTo>
                      <a:pt x="151" y="2150"/>
                    </a:lnTo>
                    <a:lnTo>
                      <a:pt x="171" y="2170"/>
                    </a:lnTo>
                    <a:lnTo>
                      <a:pt x="174" y="2192"/>
                    </a:lnTo>
                    <a:lnTo>
                      <a:pt x="174" y="2192"/>
                    </a:lnTo>
                    <a:lnTo>
                      <a:pt x="174" y="2194"/>
                    </a:lnTo>
                    <a:lnTo>
                      <a:pt x="185" y="2204"/>
                    </a:lnTo>
                    <a:lnTo>
                      <a:pt x="188" y="2222"/>
                    </a:lnTo>
                    <a:lnTo>
                      <a:pt x="188" y="2222"/>
                    </a:lnTo>
                    <a:lnTo>
                      <a:pt x="188" y="2225"/>
                    </a:lnTo>
                    <a:lnTo>
                      <a:pt x="200" y="2245"/>
                    </a:lnTo>
                    <a:lnTo>
                      <a:pt x="200" y="2256"/>
                    </a:lnTo>
                    <a:lnTo>
                      <a:pt x="201" y="2256"/>
                    </a:lnTo>
                    <a:lnTo>
                      <a:pt x="201" y="2258"/>
                    </a:lnTo>
                    <a:lnTo>
                      <a:pt x="208" y="2270"/>
                    </a:lnTo>
                    <a:lnTo>
                      <a:pt x="222" y="2282"/>
                    </a:lnTo>
                    <a:lnTo>
                      <a:pt x="227" y="2303"/>
                    </a:lnTo>
                    <a:lnTo>
                      <a:pt x="252" y="2324"/>
                    </a:lnTo>
                    <a:lnTo>
                      <a:pt x="253" y="2334"/>
                    </a:lnTo>
                    <a:lnTo>
                      <a:pt x="244" y="2339"/>
                    </a:lnTo>
                    <a:lnTo>
                      <a:pt x="241" y="2351"/>
                    </a:lnTo>
                    <a:lnTo>
                      <a:pt x="242" y="2353"/>
                    </a:lnTo>
                    <a:lnTo>
                      <a:pt x="241" y="2354"/>
                    </a:lnTo>
                    <a:lnTo>
                      <a:pt x="252" y="2365"/>
                    </a:lnTo>
                    <a:lnTo>
                      <a:pt x="264" y="2369"/>
                    </a:lnTo>
                    <a:lnTo>
                      <a:pt x="274" y="2381"/>
                    </a:lnTo>
                    <a:lnTo>
                      <a:pt x="274" y="2390"/>
                    </a:lnTo>
                    <a:lnTo>
                      <a:pt x="260" y="2406"/>
                    </a:lnTo>
                    <a:lnTo>
                      <a:pt x="260" y="2427"/>
                    </a:lnTo>
                    <a:lnTo>
                      <a:pt x="253" y="2438"/>
                    </a:lnTo>
                    <a:lnTo>
                      <a:pt x="254" y="2440"/>
                    </a:lnTo>
                    <a:lnTo>
                      <a:pt x="254" y="2441"/>
                    </a:lnTo>
                    <a:lnTo>
                      <a:pt x="256" y="2451"/>
                    </a:lnTo>
                    <a:lnTo>
                      <a:pt x="248" y="2462"/>
                    </a:lnTo>
                    <a:lnTo>
                      <a:pt x="248" y="2471"/>
                    </a:lnTo>
                    <a:lnTo>
                      <a:pt x="248" y="2471"/>
                    </a:lnTo>
                    <a:lnTo>
                      <a:pt x="248" y="2474"/>
                    </a:lnTo>
                    <a:lnTo>
                      <a:pt x="257" y="2477"/>
                    </a:lnTo>
                    <a:lnTo>
                      <a:pt x="264" y="2488"/>
                    </a:lnTo>
                    <a:lnTo>
                      <a:pt x="275" y="2501"/>
                    </a:lnTo>
                    <a:lnTo>
                      <a:pt x="310" y="2504"/>
                    </a:lnTo>
                    <a:lnTo>
                      <a:pt x="324" y="2511"/>
                    </a:lnTo>
                    <a:lnTo>
                      <a:pt x="336" y="2511"/>
                    </a:lnTo>
                    <a:lnTo>
                      <a:pt x="361" y="2525"/>
                    </a:lnTo>
                    <a:lnTo>
                      <a:pt x="370" y="2532"/>
                    </a:lnTo>
                    <a:lnTo>
                      <a:pt x="396" y="2532"/>
                    </a:lnTo>
                    <a:lnTo>
                      <a:pt x="417" y="2546"/>
                    </a:lnTo>
                    <a:lnTo>
                      <a:pt x="423" y="2559"/>
                    </a:lnTo>
                    <a:lnTo>
                      <a:pt x="437" y="2567"/>
                    </a:lnTo>
                    <a:lnTo>
                      <a:pt x="440" y="2586"/>
                    </a:lnTo>
                    <a:lnTo>
                      <a:pt x="440" y="2586"/>
                    </a:lnTo>
                    <a:lnTo>
                      <a:pt x="440" y="2589"/>
                    </a:lnTo>
                    <a:lnTo>
                      <a:pt x="467" y="2610"/>
                    </a:lnTo>
                    <a:lnTo>
                      <a:pt x="489" y="2621"/>
                    </a:lnTo>
                    <a:lnTo>
                      <a:pt x="539" y="2631"/>
                    </a:lnTo>
                    <a:lnTo>
                      <a:pt x="542" y="2634"/>
                    </a:lnTo>
                    <a:lnTo>
                      <a:pt x="549" y="2655"/>
                    </a:lnTo>
                    <a:lnTo>
                      <a:pt x="552" y="2664"/>
                    </a:lnTo>
                    <a:lnTo>
                      <a:pt x="549" y="2673"/>
                    </a:lnTo>
                    <a:lnTo>
                      <a:pt x="549" y="2685"/>
                    </a:lnTo>
                    <a:lnTo>
                      <a:pt x="549" y="2686"/>
                    </a:lnTo>
                    <a:lnTo>
                      <a:pt x="549" y="2688"/>
                    </a:lnTo>
                    <a:lnTo>
                      <a:pt x="562" y="2693"/>
                    </a:lnTo>
                    <a:lnTo>
                      <a:pt x="569" y="2685"/>
                    </a:lnTo>
                    <a:lnTo>
                      <a:pt x="579" y="2688"/>
                    </a:lnTo>
                    <a:lnTo>
                      <a:pt x="592" y="2693"/>
                    </a:lnTo>
                    <a:lnTo>
                      <a:pt x="606" y="2712"/>
                    </a:lnTo>
                    <a:lnTo>
                      <a:pt x="613" y="2723"/>
                    </a:lnTo>
                    <a:lnTo>
                      <a:pt x="625" y="2733"/>
                    </a:lnTo>
                    <a:lnTo>
                      <a:pt x="665" y="2778"/>
                    </a:lnTo>
                    <a:lnTo>
                      <a:pt x="678" y="2802"/>
                    </a:lnTo>
                    <a:lnTo>
                      <a:pt x="685" y="2825"/>
                    </a:lnTo>
                    <a:lnTo>
                      <a:pt x="688" y="2844"/>
                    </a:lnTo>
                    <a:lnTo>
                      <a:pt x="684" y="2868"/>
                    </a:lnTo>
                    <a:lnTo>
                      <a:pt x="681" y="2888"/>
                    </a:lnTo>
                    <a:lnTo>
                      <a:pt x="681" y="2901"/>
                    </a:lnTo>
                    <a:lnTo>
                      <a:pt x="681" y="2900"/>
                    </a:lnTo>
                    <a:lnTo>
                      <a:pt x="681" y="2904"/>
                    </a:lnTo>
                    <a:lnTo>
                      <a:pt x="685" y="2894"/>
                    </a:lnTo>
                    <a:lnTo>
                      <a:pt x="693" y="2900"/>
                    </a:lnTo>
                    <a:lnTo>
                      <a:pt x="691" y="2911"/>
                    </a:lnTo>
                    <a:lnTo>
                      <a:pt x="693" y="2925"/>
                    </a:lnTo>
                    <a:lnTo>
                      <a:pt x="693" y="2925"/>
                    </a:lnTo>
                    <a:lnTo>
                      <a:pt x="694" y="2928"/>
                    </a:lnTo>
                    <a:lnTo>
                      <a:pt x="701" y="2931"/>
                    </a:lnTo>
                    <a:lnTo>
                      <a:pt x="1073" y="2964"/>
                    </a:lnTo>
                    <a:lnTo>
                      <a:pt x="1054" y="2986"/>
                    </a:lnTo>
                    <a:lnTo>
                      <a:pt x="1052" y="2997"/>
                    </a:lnTo>
                    <a:lnTo>
                      <a:pt x="1087" y="3015"/>
                    </a:lnTo>
                    <a:lnTo>
                      <a:pt x="1403" y="3181"/>
                    </a:lnTo>
                    <a:lnTo>
                      <a:pt x="1607" y="3286"/>
                    </a:lnTo>
                    <a:lnTo>
                      <a:pt x="1846" y="3315"/>
                    </a:lnTo>
                    <a:lnTo>
                      <a:pt x="1925" y="3325"/>
                    </a:lnTo>
                    <a:lnTo>
                      <a:pt x="1929" y="3318"/>
                    </a:lnTo>
                    <a:lnTo>
                      <a:pt x="1925" y="3325"/>
                    </a:lnTo>
                    <a:lnTo>
                      <a:pt x="2050" y="3337"/>
                    </a:lnTo>
                    <a:lnTo>
                      <a:pt x="2061" y="3334"/>
                    </a:lnTo>
                    <a:lnTo>
                      <a:pt x="2068" y="3277"/>
                    </a:lnTo>
                    <a:lnTo>
                      <a:pt x="2073" y="3262"/>
                    </a:lnTo>
                    <a:lnTo>
                      <a:pt x="2332" y="3288"/>
                    </a:lnTo>
                    <a:lnTo>
                      <a:pt x="2340" y="3291"/>
                    </a:lnTo>
                    <a:lnTo>
                      <a:pt x="2346" y="3294"/>
                    </a:lnTo>
                    <a:lnTo>
                      <a:pt x="2351" y="3294"/>
                    </a:lnTo>
                    <a:lnTo>
                      <a:pt x="2352" y="3295"/>
                    </a:lnTo>
                    <a:lnTo>
                      <a:pt x="2362" y="3304"/>
                    </a:lnTo>
                    <a:lnTo>
                      <a:pt x="2369" y="3315"/>
                    </a:lnTo>
                    <a:lnTo>
                      <a:pt x="2373" y="3325"/>
                    </a:lnTo>
                    <a:lnTo>
                      <a:pt x="2381" y="3345"/>
                    </a:lnTo>
                    <a:lnTo>
                      <a:pt x="2396" y="3355"/>
                    </a:lnTo>
                    <a:lnTo>
                      <a:pt x="2418" y="3366"/>
                    </a:lnTo>
                    <a:lnTo>
                      <a:pt x="2429" y="3376"/>
                    </a:lnTo>
                    <a:lnTo>
                      <a:pt x="2455" y="3406"/>
                    </a:lnTo>
                    <a:lnTo>
                      <a:pt x="2478" y="3427"/>
                    </a:lnTo>
                    <a:lnTo>
                      <a:pt x="2482" y="3438"/>
                    </a:lnTo>
                    <a:lnTo>
                      <a:pt x="2505" y="3460"/>
                    </a:lnTo>
                    <a:lnTo>
                      <a:pt x="2517" y="3468"/>
                    </a:lnTo>
                    <a:lnTo>
                      <a:pt x="2528" y="3472"/>
                    </a:lnTo>
                    <a:lnTo>
                      <a:pt x="2550" y="3492"/>
                    </a:lnTo>
                    <a:lnTo>
                      <a:pt x="2565" y="3499"/>
                    </a:lnTo>
                    <a:lnTo>
                      <a:pt x="2566" y="3508"/>
                    </a:lnTo>
                    <a:lnTo>
                      <a:pt x="2577" y="3513"/>
                    </a:lnTo>
                    <a:lnTo>
                      <a:pt x="2580" y="3526"/>
                    </a:lnTo>
                    <a:lnTo>
                      <a:pt x="2584" y="3547"/>
                    </a:lnTo>
                    <a:lnTo>
                      <a:pt x="2591" y="3553"/>
                    </a:lnTo>
                    <a:lnTo>
                      <a:pt x="2600" y="3574"/>
                    </a:lnTo>
                    <a:lnTo>
                      <a:pt x="2607" y="3584"/>
                    </a:lnTo>
                    <a:lnTo>
                      <a:pt x="2607" y="3595"/>
                    </a:lnTo>
                    <a:lnTo>
                      <a:pt x="2603" y="3607"/>
                    </a:lnTo>
                    <a:lnTo>
                      <a:pt x="2603" y="3628"/>
                    </a:lnTo>
                    <a:lnTo>
                      <a:pt x="2630" y="3683"/>
                    </a:lnTo>
                    <a:lnTo>
                      <a:pt x="2647" y="3697"/>
                    </a:lnTo>
                    <a:lnTo>
                      <a:pt x="2660" y="3703"/>
                    </a:lnTo>
                    <a:lnTo>
                      <a:pt x="2670" y="3710"/>
                    </a:lnTo>
                    <a:lnTo>
                      <a:pt x="2679" y="3721"/>
                    </a:lnTo>
                    <a:lnTo>
                      <a:pt x="2705" y="3742"/>
                    </a:lnTo>
                    <a:lnTo>
                      <a:pt x="2716" y="3748"/>
                    </a:lnTo>
                    <a:lnTo>
                      <a:pt x="2742" y="3751"/>
                    </a:lnTo>
                    <a:lnTo>
                      <a:pt x="2749" y="3762"/>
                    </a:lnTo>
                    <a:lnTo>
                      <a:pt x="2783" y="3778"/>
                    </a:lnTo>
                    <a:lnTo>
                      <a:pt x="2792" y="3790"/>
                    </a:lnTo>
                    <a:lnTo>
                      <a:pt x="2806" y="3799"/>
                    </a:lnTo>
                    <a:lnTo>
                      <a:pt x="2815" y="3799"/>
                    </a:lnTo>
                    <a:lnTo>
                      <a:pt x="2815" y="3802"/>
                    </a:lnTo>
                    <a:lnTo>
                      <a:pt x="2829" y="3806"/>
                    </a:lnTo>
                    <a:lnTo>
                      <a:pt x="2848" y="3806"/>
                    </a:lnTo>
                    <a:lnTo>
                      <a:pt x="2851" y="3796"/>
                    </a:lnTo>
                    <a:lnTo>
                      <a:pt x="2866" y="3788"/>
                    </a:lnTo>
                    <a:lnTo>
                      <a:pt x="2871" y="3778"/>
                    </a:lnTo>
                    <a:lnTo>
                      <a:pt x="2885" y="3775"/>
                    </a:lnTo>
                    <a:lnTo>
                      <a:pt x="2888" y="3762"/>
                    </a:lnTo>
                    <a:lnTo>
                      <a:pt x="2892" y="3751"/>
                    </a:lnTo>
                    <a:lnTo>
                      <a:pt x="2897" y="3748"/>
                    </a:lnTo>
                    <a:lnTo>
                      <a:pt x="2918" y="3703"/>
                    </a:lnTo>
                    <a:lnTo>
                      <a:pt x="2927" y="3687"/>
                    </a:lnTo>
                    <a:lnTo>
                      <a:pt x="2934" y="3686"/>
                    </a:lnTo>
                    <a:lnTo>
                      <a:pt x="2945" y="3683"/>
                    </a:lnTo>
                    <a:lnTo>
                      <a:pt x="2957" y="3676"/>
                    </a:lnTo>
                    <a:lnTo>
                      <a:pt x="2971" y="3679"/>
                    </a:lnTo>
                    <a:lnTo>
                      <a:pt x="2980" y="3676"/>
                    </a:lnTo>
                    <a:lnTo>
                      <a:pt x="2987" y="3663"/>
                    </a:lnTo>
                    <a:lnTo>
                      <a:pt x="3001" y="3663"/>
                    </a:lnTo>
                    <a:lnTo>
                      <a:pt x="3020" y="3676"/>
                    </a:lnTo>
                    <a:lnTo>
                      <a:pt x="3035" y="3679"/>
                    </a:lnTo>
                    <a:lnTo>
                      <a:pt x="3047" y="3676"/>
                    </a:lnTo>
                    <a:lnTo>
                      <a:pt x="3057" y="3679"/>
                    </a:lnTo>
                    <a:lnTo>
                      <a:pt x="3070" y="3679"/>
                    </a:lnTo>
                    <a:lnTo>
                      <a:pt x="3103" y="3687"/>
                    </a:lnTo>
                    <a:lnTo>
                      <a:pt x="3117" y="3679"/>
                    </a:lnTo>
                    <a:lnTo>
                      <a:pt x="3126" y="3686"/>
                    </a:lnTo>
                    <a:lnTo>
                      <a:pt x="3140" y="3691"/>
                    </a:lnTo>
                    <a:lnTo>
                      <a:pt x="3144" y="3703"/>
                    </a:lnTo>
                    <a:lnTo>
                      <a:pt x="3153" y="3713"/>
                    </a:lnTo>
                    <a:lnTo>
                      <a:pt x="3156" y="3721"/>
                    </a:lnTo>
                    <a:lnTo>
                      <a:pt x="3167" y="3718"/>
                    </a:lnTo>
                    <a:lnTo>
                      <a:pt x="3172" y="3731"/>
                    </a:lnTo>
                    <a:lnTo>
                      <a:pt x="3182" y="3739"/>
                    </a:lnTo>
                    <a:lnTo>
                      <a:pt x="3197" y="3745"/>
                    </a:lnTo>
                    <a:lnTo>
                      <a:pt x="3197" y="3755"/>
                    </a:lnTo>
                    <a:lnTo>
                      <a:pt x="3232" y="3778"/>
                    </a:lnTo>
                    <a:lnTo>
                      <a:pt x="3246" y="3799"/>
                    </a:lnTo>
                    <a:lnTo>
                      <a:pt x="3255" y="3812"/>
                    </a:lnTo>
                    <a:lnTo>
                      <a:pt x="3262" y="3838"/>
                    </a:lnTo>
                    <a:lnTo>
                      <a:pt x="3276" y="3863"/>
                    </a:lnTo>
                    <a:lnTo>
                      <a:pt x="3283" y="3874"/>
                    </a:lnTo>
                    <a:lnTo>
                      <a:pt x="3283" y="3878"/>
                    </a:lnTo>
                    <a:lnTo>
                      <a:pt x="3288" y="3887"/>
                    </a:lnTo>
                    <a:lnTo>
                      <a:pt x="3295" y="3898"/>
                    </a:lnTo>
                    <a:lnTo>
                      <a:pt x="3306" y="3911"/>
                    </a:lnTo>
                    <a:lnTo>
                      <a:pt x="3302" y="3913"/>
                    </a:lnTo>
                    <a:lnTo>
                      <a:pt x="3309" y="3935"/>
                    </a:lnTo>
                    <a:lnTo>
                      <a:pt x="3318" y="3959"/>
                    </a:lnTo>
                    <a:lnTo>
                      <a:pt x="3332" y="3967"/>
                    </a:lnTo>
                    <a:lnTo>
                      <a:pt x="3344" y="3970"/>
                    </a:lnTo>
                    <a:lnTo>
                      <a:pt x="3355" y="3986"/>
                    </a:lnTo>
                    <a:lnTo>
                      <a:pt x="3359" y="3997"/>
                    </a:lnTo>
                    <a:lnTo>
                      <a:pt x="3367" y="4004"/>
                    </a:lnTo>
                    <a:lnTo>
                      <a:pt x="3378" y="4015"/>
                    </a:lnTo>
                    <a:lnTo>
                      <a:pt x="3381" y="4028"/>
                    </a:lnTo>
                    <a:lnTo>
                      <a:pt x="3404" y="4058"/>
                    </a:lnTo>
                    <a:lnTo>
                      <a:pt x="3424" y="4061"/>
                    </a:lnTo>
                    <a:lnTo>
                      <a:pt x="3434" y="4069"/>
                    </a:lnTo>
                    <a:lnTo>
                      <a:pt x="3438" y="4076"/>
                    </a:lnTo>
                    <a:lnTo>
                      <a:pt x="3438" y="4088"/>
                    </a:lnTo>
                    <a:lnTo>
                      <a:pt x="3441" y="4096"/>
                    </a:lnTo>
                    <a:lnTo>
                      <a:pt x="3441" y="4109"/>
                    </a:lnTo>
                    <a:lnTo>
                      <a:pt x="3434" y="4120"/>
                    </a:lnTo>
                    <a:lnTo>
                      <a:pt x="3447" y="4130"/>
                    </a:lnTo>
                    <a:lnTo>
                      <a:pt x="3447" y="4138"/>
                    </a:lnTo>
                    <a:lnTo>
                      <a:pt x="3445" y="4151"/>
                    </a:lnTo>
                    <a:lnTo>
                      <a:pt x="3447" y="4162"/>
                    </a:lnTo>
                    <a:lnTo>
                      <a:pt x="3457" y="4172"/>
                    </a:lnTo>
                    <a:lnTo>
                      <a:pt x="3468" y="4192"/>
                    </a:lnTo>
                    <a:lnTo>
                      <a:pt x="3476" y="4205"/>
                    </a:lnTo>
                    <a:lnTo>
                      <a:pt x="3487" y="4229"/>
                    </a:lnTo>
                    <a:lnTo>
                      <a:pt x="3491" y="4250"/>
                    </a:lnTo>
                    <a:lnTo>
                      <a:pt x="3503" y="4263"/>
                    </a:lnTo>
                    <a:lnTo>
                      <a:pt x="3501" y="4274"/>
                    </a:lnTo>
                    <a:lnTo>
                      <a:pt x="3506" y="4277"/>
                    </a:lnTo>
                    <a:lnTo>
                      <a:pt x="3533" y="4277"/>
                    </a:lnTo>
                    <a:lnTo>
                      <a:pt x="3543" y="4283"/>
                    </a:lnTo>
                    <a:lnTo>
                      <a:pt x="3550" y="4283"/>
                    </a:lnTo>
                    <a:lnTo>
                      <a:pt x="3563" y="4288"/>
                    </a:lnTo>
                    <a:lnTo>
                      <a:pt x="3570" y="4301"/>
                    </a:lnTo>
                    <a:lnTo>
                      <a:pt x="3580" y="4304"/>
                    </a:lnTo>
                    <a:lnTo>
                      <a:pt x="3589" y="4301"/>
                    </a:lnTo>
                    <a:lnTo>
                      <a:pt x="3603" y="4307"/>
                    </a:lnTo>
                    <a:lnTo>
                      <a:pt x="3616" y="4311"/>
                    </a:lnTo>
                    <a:lnTo>
                      <a:pt x="3640" y="4328"/>
                    </a:lnTo>
                    <a:lnTo>
                      <a:pt x="3649" y="4335"/>
                    </a:lnTo>
                    <a:lnTo>
                      <a:pt x="3698" y="4338"/>
                    </a:lnTo>
                    <a:lnTo>
                      <a:pt x="3725" y="4338"/>
                    </a:lnTo>
                    <a:lnTo>
                      <a:pt x="3739" y="4339"/>
                    </a:lnTo>
                    <a:lnTo>
                      <a:pt x="3749" y="4343"/>
                    </a:lnTo>
                    <a:lnTo>
                      <a:pt x="3772" y="4363"/>
                    </a:lnTo>
                    <a:lnTo>
                      <a:pt x="3776" y="4363"/>
                    </a:lnTo>
                    <a:lnTo>
                      <a:pt x="3788" y="4373"/>
                    </a:lnTo>
                    <a:lnTo>
                      <a:pt x="3802" y="4373"/>
                    </a:lnTo>
                    <a:lnTo>
                      <a:pt x="3802" y="4362"/>
                    </a:lnTo>
                    <a:lnTo>
                      <a:pt x="3832" y="4355"/>
                    </a:lnTo>
                    <a:lnTo>
                      <a:pt x="3834" y="4352"/>
                    </a:lnTo>
                    <a:lnTo>
                      <a:pt x="3834" y="4339"/>
                    </a:lnTo>
                    <a:lnTo>
                      <a:pt x="3822" y="4352"/>
                    </a:lnTo>
                    <a:lnTo>
                      <a:pt x="3825" y="4339"/>
                    </a:lnTo>
                    <a:lnTo>
                      <a:pt x="3814" y="4352"/>
                    </a:lnTo>
                    <a:lnTo>
                      <a:pt x="3806" y="4338"/>
                    </a:lnTo>
                    <a:lnTo>
                      <a:pt x="3818" y="4338"/>
                    </a:lnTo>
                    <a:lnTo>
                      <a:pt x="3807" y="4325"/>
                    </a:lnTo>
                    <a:lnTo>
                      <a:pt x="3806" y="4304"/>
                    </a:lnTo>
                    <a:lnTo>
                      <a:pt x="3785" y="4264"/>
                    </a:lnTo>
                    <a:lnTo>
                      <a:pt x="3788" y="4256"/>
                    </a:lnTo>
                    <a:lnTo>
                      <a:pt x="3778" y="4216"/>
                    </a:lnTo>
                    <a:lnTo>
                      <a:pt x="3765" y="4205"/>
                    </a:lnTo>
                    <a:lnTo>
                      <a:pt x="3765" y="4196"/>
                    </a:lnTo>
                    <a:lnTo>
                      <a:pt x="3778" y="4199"/>
                    </a:lnTo>
                    <a:lnTo>
                      <a:pt x="3765" y="4188"/>
                    </a:lnTo>
                    <a:lnTo>
                      <a:pt x="3765" y="4175"/>
                    </a:lnTo>
                    <a:lnTo>
                      <a:pt x="3778" y="4175"/>
                    </a:lnTo>
                    <a:lnTo>
                      <a:pt x="3778" y="4162"/>
                    </a:lnTo>
                    <a:lnTo>
                      <a:pt x="3785" y="4154"/>
                    </a:lnTo>
                    <a:lnTo>
                      <a:pt x="3785" y="4141"/>
                    </a:lnTo>
                    <a:lnTo>
                      <a:pt x="3788" y="4130"/>
                    </a:lnTo>
                    <a:lnTo>
                      <a:pt x="3765" y="4136"/>
                    </a:lnTo>
                    <a:lnTo>
                      <a:pt x="3742" y="4130"/>
                    </a:lnTo>
                    <a:lnTo>
                      <a:pt x="3742" y="4117"/>
                    </a:lnTo>
                    <a:lnTo>
                      <a:pt x="3735" y="4112"/>
                    </a:lnTo>
                    <a:lnTo>
                      <a:pt x="3728" y="4100"/>
                    </a:lnTo>
                    <a:lnTo>
                      <a:pt x="3742" y="4109"/>
                    </a:lnTo>
                    <a:lnTo>
                      <a:pt x="3751" y="4117"/>
                    </a:lnTo>
                    <a:lnTo>
                      <a:pt x="3762" y="4117"/>
                    </a:lnTo>
                    <a:lnTo>
                      <a:pt x="3772" y="4114"/>
                    </a:lnTo>
                    <a:lnTo>
                      <a:pt x="3781" y="4117"/>
                    </a:lnTo>
                    <a:lnTo>
                      <a:pt x="3772" y="4127"/>
                    </a:lnTo>
                    <a:lnTo>
                      <a:pt x="3788" y="4120"/>
                    </a:lnTo>
                    <a:lnTo>
                      <a:pt x="3811" y="4066"/>
                    </a:lnTo>
                    <a:lnTo>
                      <a:pt x="3807" y="4055"/>
                    </a:lnTo>
                    <a:lnTo>
                      <a:pt x="3806" y="4052"/>
                    </a:lnTo>
                    <a:lnTo>
                      <a:pt x="3795" y="4042"/>
                    </a:lnTo>
                    <a:lnTo>
                      <a:pt x="3795" y="4034"/>
                    </a:lnTo>
                    <a:lnTo>
                      <a:pt x="3781" y="4037"/>
                    </a:lnTo>
                    <a:lnTo>
                      <a:pt x="3776" y="4034"/>
                    </a:lnTo>
                    <a:lnTo>
                      <a:pt x="3788" y="4028"/>
                    </a:lnTo>
                    <a:lnTo>
                      <a:pt x="3814" y="4028"/>
                    </a:lnTo>
                    <a:lnTo>
                      <a:pt x="3825" y="4037"/>
                    </a:lnTo>
                    <a:lnTo>
                      <a:pt x="3848" y="4007"/>
                    </a:lnTo>
                    <a:lnTo>
                      <a:pt x="3855" y="3997"/>
                    </a:lnTo>
                    <a:lnTo>
                      <a:pt x="3855" y="3986"/>
                    </a:lnTo>
                    <a:lnTo>
                      <a:pt x="3844" y="3994"/>
                    </a:lnTo>
                    <a:lnTo>
                      <a:pt x="3837" y="4004"/>
                    </a:lnTo>
                    <a:lnTo>
                      <a:pt x="3829" y="3994"/>
                    </a:lnTo>
                    <a:lnTo>
                      <a:pt x="3834" y="3986"/>
                    </a:lnTo>
                    <a:lnTo>
                      <a:pt x="3832" y="3980"/>
                    </a:lnTo>
                    <a:lnTo>
                      <a:pt x="3844" y="3980"/>
                    </a:lnTo>
                    <a:lnTo>
                      <a:pt x="3855" y="3973"/>
                    </a:lnTo>
                    <a:lnTo>
                      <a:pt x="3858" y="3983"/>
                    </a:lnTo>
                    <a:lnTo>
                      <a:pt x="3871" y="3973"/>
                    </a:lnTo>
                    <a:lnTo>
                      <a:pt x="3874" y="3962"/>
                    </a:lnTo>
                    <a:lnTo>
                      <a:pt x="3874" y="3973"/>
                    </a:lnTo>
                    <a:lnTo>
                      <a:pt x="3871" y="3983"/>
                    </a:lnTo>
                    <a:lnTo>
                      <a:pt x="3881" y="3980"/>
                    </a:lnTo>
                    <a:lnTo>
                      <a:pt x="3894" y="3964"/>
                    </a:lnTo>
                    <a:lnTo>
                      <a:pt x="3894" y="3953"/>
                    </a:lnTo>
                    <a:lnTo>
                      <a:pt x="3890" y="3940"/>
                    </a:lnTo>
                    <a:lnTo>
                      <a:pt x="3894" y="3929"/>
                    </a:lnTo>
                    <a:lnTo>
                      <a:pt x="3894" y="3925"/>
                    </a:lnTo>
                    <a:lnTo>
                      <a:pt x="3911" y="3946"/>
                    </a:lnTo>
                    <a:lnTo>
                      <a:pt x="3920" y="3949"/>
                    </a:lnTo>
                    <a:lnTo>
                      <a:pt x="3957" y="3932"/>
                    </a:lnTo>
                    <a:lnTo>
                      <a:pt x="3961" y="3929"/>
                    </a:lnTo>
                    <a:lnTo>
                      <a:pt x="3947" y="3922"/>
                    </a:lnTo>
                    <a:lnTo>
                      <a:pt x="3934" y="3925"/>
                    </a:lnTo>
                    <a:lnTo>
                      <a:pt x="3943" y="3913"/>
                    </a:lnTo>
                    <a:lnTo>
                      <a:pt x="3931" y="3908"/>
                    </a:lnTo>
                    <a:lnTo>
                      <a:pt x="3917" y="3887"/>
                    </a:lnTo>
                    <a:lnTo>
                      <a:pt x="3931" y="3884"/>
                    </a:lnTo>
                    <a:lnTo>
                      <a:pt x="3934" y="3892"/>
                    </a:lnTo>
                    <a:lnTo>
                      <a:pt x="3950" y="3905"/>
                    </a:lnTo>
                    <a:lnTo>
                      <a:pt x="3964" y="3902"/>
                    </a:lnTo>
                    <a:lnTo>
                      <a:pt x="3954" y="3881"/>
                    </a:lnTo>
                    <a:lnTo>
                      <a:pt x="3954" y="3878"/>
                    </a:lnTo>
                    <a:lnTo>
                      <a:pt x="3964" y="3889"/>
                    </a:lnTo>
                    <a:lnTo>
                      <a:pt x="3973" y="3895"/>
                    </a:lnTo>
                    <a:lnTo>
                      <a:pt x="3987" y="3889"/>
                    </a:lnTo>
                    <a:lnTo>
                      <a:pt x="3991" y="3898"/>
                    </a:lnTo>
                    <a:lnTo>
                      <a:pt x="4003" y="3898"/>
                    </a:lnTo>
                    <a:lnTo>
                      <a:pt x="3998" y="3905"/>
                    </a:lnTo>
                    <a:lnTo>
                      <a:pt x="4020" y="3895"/>
                    </a:lnTo>
                    <a:lnTo>
                      <a:pt x="4017" y="3908"/>
                    </a:lnTo>
                    <a:lnTo>
                      <a:pt x="3994" y="3919"/>
                    </a:lnTo>
                    <a:lnTo>
                      <a:pt x="3991" y="3922"/>
                    </a:lnTo>
                    <a:lnTo>
                      <a:pt x="4026" y="3905"/>
                    </a:lnTo>
                    <a:lnTo>
                      <a:pt x="4052" y="3895"/>
                    </a:lnTo>
                    <a:lnTo>
                      <a:pt x="4066" y="3887"/>
                    </a:lnTo>
                    <a:lnTo>
                      <a:pt x="4052" y="3889"/>
                    </a:lnTo>
                    <a:lnTo>
                      <a:pt x="4040" y="3895"/>
                    </a:lnTo>
                    <a:lnTo>
                      <a:pt x="4040" y="3887"/>
                    </a:lnTo>
                    <a:lnTo>
                      <a:pt x="4063" y="3878"/>
                    </a:lnTo>
                    <a:lnTo>
                      <a:pt x="4086" y="3878"/>
                    </a:lnTo>
                    <a:lnTo>
                      <a:pt x="4108" y="3863"/>
                    </a:lnTo>
                    <a:lnTo>
                      <a:pt x="4130" y="3854"/>
                    </a:lnTo>
                    <a:lnTo>
                      <a:pt x="4138" y="3847"/>
                    </a:lnTo>
                    <a:lnTo>
                      <a:pt x="4163" y="3826"/>
                    </a:lnTo>
                    <a:lnTo>
                      <a:pt x="4165" y="3806"/>
                    </a:lnTo>
                    <a:lnTo>
                      <a:pt x="4186" y="3793"/>
                    </a:lnTo>
                    <a:lnTo>
                      <a:pt x="4191" y="3785"/>
                    </a:lnTo>
                    <a:lnTo>
                      <a:pt x="4205" y="3778"/>
                    </a:lnTo>
                    <a:lnTo>
                      <a:pt x="4212" y="3762"/>
                    </a:lnTo>
                    <a:lnTo>
                      <a:pt x="4198" y="3761"/>
                    </a:lnTo>
                    <a:lnTo>
                      <a:pt x="4198" y="3745"/>
                    </a:lnTo>
                    <a:lnTo>
                      <a:pt x="4186" y="3737"/>
                    </a:lnTo>
                    <a:lnTo>
                      <a:pt x="4189" y="3724"/>
                    </a:lnTo>
                    <a:lnTo>
                      <a:pt x="4182" y="3713"/>
                    </a:lnTo>
                    <a:lnTo>
                      <a:pt x="4189" y="3710"/>
                    </a:lnTo>
                    <a:lnTo>
                      <a:pt x="4205" y="3718"/>
                    </a:lnTo>
                    <a:lnTo>
                      <a:pt x="4212" y="3707"/>
                    </a:lnTo>
                    <a:lnTo>
                      <a:pt x="4221" y="3700"/>
                    </a:lnTo>
                    <a:lnTo>
                      <a:pt x="4235" y="3700"/>
                    </a:lnTo>
                    <a:lnTo>
                      <a:pt x="4235" y="3718"/>
                    </a:lnTo>
                    <a:lnTo>
                      <a:pt x="4225" y="3742"/>
                    </a:lnTo>
                    <a:lnTo>
                      <a:pt x="4251" y="3734"/>
                    </a:lnTo>
                    <a:lnTo>
                      <a:pt x="4274" y="3734"/>
                    </a:lnTo>
                    <a:lnTo>
                      <a:pt x="4272" y="3739"/>
                    </a:lnTo>
                    <a:lnTo>
                      <a:pt x="4258" y="3739"/>
                    </a:lnTo>
                    <a:lnTo>
                      <a:pt x="4232" y="3758"/>
                    </a:lnTo>
                    <a:lnTo>
                      <a:pt x="4225" y="3769"/>
                    </a:lnTo>
                    <a:lnTo>
                      <a:pt x="4228" y="3769"/>
                    </a:lnTo>
                    <a:lnTo>
                      <a:pt x="4242" y="3758"/>
                    </a:lnTo>
                    <a:lnTo>
                      <a:pt x="4255" y="3751"/>
                    </a:lnTo>
                    <a:lnTo>
                      <a:pt x="4265" y="3745"/>
                    </a:lnTo>
                    <a:lnTo>
                      <a:pt x="4300" y="3731"/>
                    </a:lnTo>
                    <a:lnTo>
                      <a:pt x="4341" y="3713"/>
                    </a:lnTo>
                    <a:lnTo>
                      <a:pt x="4378" y="3710"/>
                    </a:lnTo>
                    <a:lnTo>
                      <a:pt x="4357" y="3687"/>
                    </a:lnTo>
                    <a:lnTo>
                      <a:pt x="4374" y="3663"/>
                    </a:lnTo>
                    <a:lnTo>
                      <a:pt x="4383" y="3655"/>
                    </a:lnTo>
                    <a:lnTo>
                      <a:pt x="4384" y="3655"/>
                    </a:lnTo>
                    <a:lnTo>
                      <a:pt x="4383" y="3655"/>
                    </a:lnTo>
                    <a:lnTo>
                      <a:pt x="4387" y="3667"/>
                    </a:lnTo>
                    <a:lnTo>
                      <a:pt x="4383" y="3679"/>
                    </a:lnTo>
                    <a:lnTo>
                      <a:pt x="4374" y="3686"/>
                    </a:lnTo>
                    <a:lnTo>
                      <a:pt x="4371" y="3697"/>
                    </a:lnTo>
                    <a:lnTo>
                      <a:pt x="4383" y="3707"/>
                    </a:lnTo>
                    <a:lnTo>
                      <a:pt x="4394" y="3697"/>
                    </a:lnTo>
                    <a:lnTo>
                      <a:pt x="4454" y="3691"/>
                    </a:lnTo>
                    <a:lnTo>
                      <a:pt x="4457" y="3686"/>
                    </a:lnTo>
                    <a:lnTo>
                      <a:pt x="4443" y="3679"/>
                    </a:lnTo>
                    <a:lnTo>
                      <a:pt x="4457" y="3670"/>
                    </a:lnTo>
                    <a:lnTo>
                      <a:pt x="4461" y="3643"/>
                    </a:lnTo>
                    <a:lnTo>
                      <a:pt x="4469" y="3652"/>
                    </a:lnTo>
                    <a:lnTo>
                      <a:pt x="4473" y="3663"/>
                    </a:lnTo>
                    <a:lnTo>
                      <a:pt x="4473" y="3673"/>
                    </a:lnTo>
                    <a:lnTo>
                      <a:pt x="4464" y="3679"/>
                    </a:lnTo>
                    <a:lnTo>
                      <a:pt x="4461" y="3686"/>
                    </a:lnTo>
                    <a:lnTo>
                      <a:pt x="4469" y="3687"/>
                    </a:lnTo>
                    <a:lnTo>
                      <a:pt x="4483" y="3691"/>
                    </a:lnTo>
                    <a:lnTo>
                      <a:pt x="4506" y="3694"/>
                    </a:lnTo>
                    <a:lnTo>
                      <a:pt x="4533" y="3703"/>
                    </a:lnTo>
                    <a:lnTo>
                      <a:pt x="4547" y="3710"/>
                    </a:lnTo>
                    <a:lnTo>
                      <a:pt x="4566" y="3718"/>
                    </a:lnTo>
                    <a:lnTo>
                      <a:pt x="4626" y="3724"/>
                    </a:lnTo>
                    <a:lnTo>
                      <a:pt x="4638" y="3724"/>
                    </a:lnTo>
                    <a:lnTo>
                      <a:pt x="4656" y="3715"/>
                    </a:lnTo>
                    <a:lnTo>
                      <a:pt x="4668" y="3715"/>
                    </a:lnTo>
                    <a:lnTo>
                      <a:pt x="4658" y="3700"/>
                    </a:lnTo>
                    <a:lnTo>
                      <a:pt x="4649" y="3691"/>
                    </a:lnTo>
                    <a:lnTo>
                      <a:pt x="4661" y="3687"/>
                    </a:lnTo>
                    <a:lnTo>
                      <a:pt x="4665" y="3686"/>
                    </a:lnTo>
                    <a:lnTo>
                      <a:pt x="4679" y="3679"/>
                    </a:lnTo>
                    <a:lnTo>
                      <a:pt x="4702" y="3673"/>
                    </a:lnTo>
                    <a:lnTo>
                      <a:pt x="4702" y="3686"/>
                    </a:lnTo>
                    <a:lnTo>
                      <a:pt x="4702" y="3691"/>
                    </a:lnTo>
                    <a:lnTo>
                      <a:pt x="4712" y="3687"/>
                    </a:lnTo>
                    <a:lnTo>
                      <a:pt x="4739" y="3686"/>
                    </a:lnTo>
                    <a:lnTo>
                      <a:pt x="4740" y="3697"/>
                    </a:lnTo>
                    <a:lnTo>
                      <a:pt x="4751" y="3703"/>
                    </a:lnTo>
                    <a:lnTo>
                      <a:pt x="4758" y="3718"/>
                    </a:lnTo>
                    <a:lnTo>
                      <a:pt x="4770" y="3718"/>
                    </a:lnTo>
                    <a:lnTo>
                      <a:pt x="4795" y="3724"/>
                    </a:lnTo>
                    <a:lnTo>
                      <a:pt x="4800" y="3715"/>
                    </a:lnTo>
                    <a:lnTo>
                      <a:pt x="4804" y="3713"/>
                    </a:lnTo>
                    <a:lnTo>
                      <a:pt x="4804" y="3707"/>
                    </a:lnTo>
                    <a:lnTo>
                      <a:pt x="4807" y="3715"/>
                    </a:lnTo>
                    <a:lnTo>
                      <a:pt x="4804" y="3718"/>
                    </a:lnTo>
                    <a:lnTo>
                      <a:pt x="4804" y="3727"/>
                    </a:lnTo>
                    <a:lnTo>
                      <a:pt x="4811" y="3739"/>
                    </a:lnTo>
                    <a:lnTo>
                      <a:pt x="4823" y="3745"/>
                    </a:lnTo>
                    <a:lnTo>
                      <a:pt x="4830" y="3758"/>
                    </a:lnTo>
                    <a:lnTo>
                      <a:pt x="4827" y="3769"/>
                    </a:lnTo>
                    <a:lnTo>
                      <a:pt x="4834" y="3775"/>
                    </a:lnTo>
                    <a:lnTo>
                      <a:pt x="4848" y="3769"/>
                    </a:lnTo>
                    <a:lnTo>
                      <a:pt x="4871" y="3785"/>
                    </a:lnTo>
                    <a:lnTo>
                      <a:pt x="4883" y="3778"/>
                    </a:lnTo>
                    <a:lnTo>
                      <a:pt x="4887" y="3778"/>
                    </a:lnTo>
                    <a:lnTo>
                      <a:pt x="4901" y="3785"/>
                    </a:lnTo>
                    <a:lnTo>
                      <a:pt x="4909" y="3778"/>
                    </a:lnTo>
                    <a:lnTo>
                      <a:pt x="4909" y="3762"/>
                    </a:lnTo>
                    <a:lnTo>
                      <a:pt x="4913" y="3751"/>
                    </a:lnTo>
                    <a:lnTo>
                      <a:pt x="4927" y="3751"/>
                    </a:lnTo>
                    <a:lnTo>
                      <a:pt x="4936" y="3748"/>
                    </a:lnTo>
                    <a:lnTo>
                      <a:pt x="4943" y="3745"/>
                    </a:lnTo>
                    <a:lnTo>
                      <a:pt x="4950" y="3758"/>
                    </a:lnTo>
                    <a:lnTo>
                      <a:pt x="4961" y="3751"/>
                    </a:lnTo>
                    <a:lnTo>
                      <a:pt x="4973" y="3758"/>
                    </a:lnTo>
                    <a:lnTo>
                      <a:pt x="4973" y="3772"/>
                    </a:lnTo>
                    <a:lnTo>
                      <a:pt x="4976" y="3785"/>
                    </a:lnTo>
                    <a:lnTo>
                      <a:pt x="4989" y="3778"/>
                    </a:lnTo>
                    <a:lnTo>
                      <a:pt x="4999" y="3769"/>
                    </a:lnTo>
                    <a:lnTo>
                      <a:pt x="5006" y="3761"/>
                    </a:lnTo>
                    <a:lnTo>
                      <a:pt x="4996" y="3748"/>
                    </a:lnTo>
                    <a:lnTo>
                      <a:pt x="5010" y="3745"/>
                    </a:lnTo>
                    <a:lnTo>
                      <a:pt x="5006" y="3724"/>
                    </a:lnTo>
                    <a:lnTo>
                      <a:pt x="4980" y="3713"/>
                    </a:lnTo>
                    <a:lnTo>
                      <a:pt x="4980" y="3703"/>
                    </a:lnTo>
                    <a:lnTo>
                      <a:pt x="4980" y="3700"/>
                    </a:lnTo>
                    <a:lnTo>
                      <a:pt x="5022" y="3718"/>
                    </a:lnTo>
                    <a:lnTo>
                      <a:pt x="5036" y="3718"/>
                    </a:lnTo>
                    <a:lnTo>
                      <a:pt x="5045" y="3724"/>
                    </a:lnTo>
                    <a:lnTo>
                      <a:pt x="5052" y="3727"/>
                    </a:lnTo>
                    <a:lnTo>
                      <a:pt x="5045" y="3739"/>
                    </a:lnTo>
                    <a:lnTo>
                      <a:pt x="5056" y="3739"/>
                    </a:lnTo>
                    <a:lnTo>
                      <a:pt x="5070" y="3737"/>
                    </a:lnTo>
                    <a:lnTo>
                      <a:pt x="5075" y="3748"/>
                    </a:lnTo>
                    <a:lnTo>
                      <a:pt x="5093" y="3751"/>
                    </a:lnTo>
                    <a:lnTo>
                      <a:pt x="5101" y="3748"/>
                    </a:lnTo>
                    <a:lnTo>
                      <a:pt x="5105" y="3758"/>
                    </a:lnTo>
                    <a:lnTo>
                      <a:pt x="5115" y="3769"/>
                    </a:lnTo>
                    <a:lnTo>
                      <a:pt x="5126" y="3772"/>
                    </a:lnTo>
                    <a:lnTo>
                      <a:pt x="5128" y="3758"/>
                    </a:lnTo>
                    <a:lnTo>
                      <a:pt x="5131" y="3769"/>
                    </a:lnTo>
                    <a:lnTo>
                      <a:pt x="5126" y="3782"/>
                    </a:lnTo>
                    <a:lnTo>
                      <a:pt x="5115" y="3802"/>
                    </a:lnTo>
                    <a:lnTo>
                      <a:pt x="5128" y="3793"/>
                    </a:lnTo>
                    <a:lnTo>
                      <a:pt x="5131" y="3782"/>
                    </a:lnTo>
                    <a:lnTo>
                      <a:pt x="5142" y="3769"/>
                    </a:lnTo>
                    <a:lnTo>
                      <a:pt x="5158" y="3788"/>
                    </a:lnTo>
                    <a:lnTo>
                      <a:pt x="5158" y="3778"/>
                    </a:lnTo>
                    <a:lnTo>
                      <a:pt x="5165" y="3766"/>
                    </a:lnTo>
                    <a:lnTo>
                      <a:pt x="5165" y="3761"/>
                    </a:lnTo>
                    <a:lnTo>
                      <a:pt x="5175" y="3758"/>
                    </a:lnTo>
                    <a:lnTo>
                      <a:pt x="5175" y="3751"/>
                    </a:lnTo>
                    <a:lnTo>
                      <a:pt x="5161" y="3748"/>
                    </a:lnTo>
                    <a:lnTo>
                      <a:pt x="5158" y="3739"/>
                    </a:lnTo>
                    <a:lnTo>
                      <a:pt x="5149" y="3734"/>
                    </a:lnTo>
                    <a:lnTo>
                      <a:pt x="5123" y="3731"/>
                    </a:lnTo>
                    <a:lnTo>
                      <a:pt x="5112" y="3724"/>
                    </a:lnTo>
                    <a:lnTo>
                      <a:pt x="5096" y="3724"/>
                    </a:lnTo>
                    <a:lnTo>
                      <a:pt x="5089" y="3713"/>
                    </a:lnTo>
                    <a:lnTo>
                      <a:pt x="5075" y="3707"/>
                    </a:lnTo>
                    <a:lnTo>
                      <a:pt x="5063" y="3703"/>
                    </a:lnTo>
                    <a:lnTo>
                      <a:pt x="5059" y="3691"/>
                    </a:lnTo>
                    <a:lnTo>
                      <a:pt x="5070" y="3687"/>
                    </a:lnTo>
                    <a:lnTo>
                      <a:pt x="5066" y="3683"/>
                    </a:lnTo>
                    <a:lnTo>
                      <a:pt x="5079" y="3679"/>
                    </a:lnTo>
                    <a:lnTo>
                      <a:pt x="5093" y="3686"/>
                    </a:lnTo>
                    <a:lnTo>
                      <a:pt x="5082" y="3676"/>
                    </a:lnTo>
                    <a:lnTo>
                      <a:pt x="5075" y="3663"/>
                    </a:lnTo>
                    <a:lnTo>
                      <a:pt x="5089" y="3655"/>
                    </a:lnTo>
                    <a:lnTo>
                      <a:pt x="5101" y="3655"/>
                    </a:lnTo>
                    <a:lnTo>
                      <a:pt x="5105" y="3659"/>
                    </a:lnTo>
                    <a:lnTo>
                      <a:pt x="5108" y="3649"/>
                    </a:lnTo>
                    <a:lnTo>
                      <a:pt x="5108" y="3638"/>
                    </a:lnTo>
                    <a:lnTo>
                      <a:pt x="5100" y="3631"/>
                    </a:lnTo>
                    <a:lnTo>
                      <a:pt x="5096" y="3619"/>
                    </a:lnTo>
                    <a:lnTo>
                      <a:pt x="5093" y="3611"/>
                    </a:lnTo>
                    <a:lnTo>
                      <a:pt x="5075" y="3619"/>
                    </a:lnTo>
                    <a:lnTo>
                      <a:pt x="5071" y="3631"/>
                    </a:lnTo>
                    <a:lnTo>
                      <a:pt x="5070" y="3643"/>
                    </a:lnTo>
                    <a:lnTo>
                      <a:pt x="5056" y="3643"/>
                    </a:lnTo>
                    <a:lnTo>
                      <a:pt x="5052" y="3631"/>
                    </a:lnTo>
                    <a:lnTo>
                      <a:pt x="5040" y="3635"/>
                    </a:lnTo>
                    <a:lnTo>
                      <a:pt x="5029" y="3628"/>
                    </a:lnTo>
                    <a:lnTo>
                      <a:pt x="5029" y="3625"/>
                    </a:lnTo>
                    <a:lnTo>
                      <a:pt x="5056" y="3611"/>
                    </a:lnTo>
                    <a:lnTo>
                      <a:pt x="5059" y="3598"/>
                    </a:lnTo>
                    <a:lnTo>
                      <a:pt x="5045" y="3604"/>
                    </a:lnTo>
                    <a:lnTo>
                      <a:pt x="5045" y="3595"/>
                    </a:lnTo>
                    <a:lnTo>
                      <a:pt x="5036" y="3604"/>
                    </a:lnTo>
                    <a:lnTo>
                      <a:pt x="5026" y="3598"/>
                    </a:lnTo>
                    <a:lnTo>
                      <a:pt x="5013" y="3611"/>
                    </a:lnTo>
                    <a:lnTo>
                      <a:pt x="5003" y="3612"/>
                    </a:lnTo>
                    <a:lnTo>
                      <a:pt x="4966" y="3615"/>
                    </a:lnTo>
                    <a:lnTo>
                      <a:pt x="4950" y="3615"/>
                    </a:lnTo>
                    <a:lnTo>
                      <a:pt x="4934" y="3611"/>
                    </a:lnTo>
                    <a:lnTo>
                      <a:pt x="4934" y="3598"/>
                    </a:lnTo>
                    <a:lnTo>
                      <a:pt x="4943" y="3588"/>
                    </a:lnTo>
                    <a:lnTo>
                      <a:pt x="4961" y="3564"/>
                    </a:lnTo>
                    <a:lnTo>
                      <a:pt x="4969" y="3563"/>
                    </a:lnTo>
                    <a:lnTo>
                      <a:pt x="4987" y="3564"/>
                    </a:lnTo>
                    <a:lnTo>
                      <a:pt x="4999" y="3571"/>
                    </a:lnTo>
                    <a:lnTo>
                      <a:pt x="5013" y="3580"/>
                    </a:lnTo>
                    <a:lnTo>
                      <a:pt x="5022" y="3580"/>
                    </a:lnTo>
                    <a:lnTo>
                      <a:pt x="5033" y="3587"/>
                    </a:lnTo>
                    <a:lnTo>
                      <a:pt x="5036" y="3584"/>
                    </a:lnTo>
                    <a:lnTo>
                      <a:pt x="5049" y="3591"/>
                    </a:lnTo>
                    <a:lnTo>
                      <a:pt x="5059" y="3591"/>
                    </a:lnTo>
                    <a:lnTo>
                      <a:pt x="5066" y="3591"/>
                    </a:lnTo>
                    <a:lnTo>
                      <a:pt x="5066" y="3595"/>
                    </a:lnTo>
                    <a:lnTo>
                      <a:pt x="5079" y="3588"/>
                    </a:lnTo>
                    <a:lnTo>
                      <a:pt x="5093" y="3588"/>
                    </a:lnTo>
                    <a:lnTo>
                      <a:pt x="5096" y="3577"/>
                    </a:lnTo>
                    <a:lnTo>
                      <a:pt x="5108" y="3568"/>
                    </a:lnTo>
                    <a:lnTo>
                      <a:pt x="5112" y="3563"/>
                    </a:lnTo>
                    <a:lnTo>
                      <a:pt x="5108" y="3563"/>
                    </a:lnTo>
                    <a:lnTo>
                      <a:pt x="5119" y="3560"/>
                    </a:lnTo>
                    <a:lnTo>
                      <a:pt x="5119" y="3563"/>
                    </a:lnTo>
                    <a:lnTo>
                      <a:pt x="5128" y="3560"/>
                    </a:lnTo>
                    <a:lnTo>
                      <a:pt x="5154" y="3550"/>
                    </a:lnTo>
                    <a:lnTo>
                      <a:pt x="5179" y="3547"/>
                    </a:lnTo>
                    <a:lnTo>
                      <a:pt x="5184" y="3544"/>
                    </a:lnTo>
                    <a:lnTo>
                      <a:pt x="5168" y="3540"/>
                    </a:lnTo>
                    <a:lnTo>
                      <a:pt x="5188" y="3540"/>
                    </a:lnTo>
                    <a:lnTo>
                      <a:pt x="5198" y="3547"/>
                    </a:lnTo>
                    <a:lnTo>
                      <a:pt x="5211" y="3553"/>
                    </a:lnTo>
                    <a:lnTo>
                      <a:pt x="5221" y="3547"/>
                    </a:lnTo>
                    <a:lnTo>
                      <a:pt x="5228" y="3544"/>
                    </a:lnTo>
                    <a:lnTo>
                      <a:pt x="5251" y="3553"/>
                    </a:lnTo>
                    <a:lnTo>
                      <a:pt x="5258" y="3540"/>
                    </a:lnTo>
                    <a:lnTo>
                      <a:pt x="5258" y="3536"/>
                    </a:lnTo>
                    <a:lnTo>
                      <a:pt x="5258" y="3536"/>
                    </a:lnTo>
                    <a:lnTo>
                      <a:pt x="5258" y="3536"/>
                    </a:lnTo>
                    <a:lnTo>
                      <a:pt x="5258" y="3540"/>
                    </a:lnTo>
                    <a:lnTo>
                      <a:pt x="5270" y="3537"/>
                    </a:lnTo>
                    <a:lnTo>
                      <a:pt x="5293" y="3540"/>
                    </a:lnTo>
                    <a:lnTo>
                      <a:pt x="5304" y="3540"/>
                    </a:lnTo>
                    <a:lnTo>
                      <a:pt x="5307" y="3502"/>
                    </a:lnTo>
                    <a:lnTo>
                      <a:pt x="5311" y="3489"/>
                    </a:lnTo>
                    <a:lnTo>
                      <a:pt x="5314" y="3481"/>
                    </a:lnTo>
                    <a:lnTo>
                      <a:pt x="5314" y="3478"/>
                    </a:lnTo>
                    <a:lnTo>
                      <a:pt x="5320" y="3484"/>
                    </a:lnTo>
                    <a:lnTo>
                      <a:pt x="5323" y="3488"/>
                    </a:lnTo>
                    <a:lnTo>
                      <a:pt x="5334" y="3496"/>
                    </a:lnTo>
                    <a:lnTo>
                      <a:pt x="5334" y="3508"/>
                    </a:lnTo>
                    <a:lnTo>
                      <a:pt x="5330" y="3516"/>
                    </a:lnTo>
                    <a:lnTo>
                      <a:pt x="5337" y="3529"/>
                    </a:lnTo>
                    <a:lnTo>
                      <a:pt x="5350" y="3536"/>
                    </a:lnTo>
                    <a:lnTo>
                      <a:pt x="5353" y="3532"/>
                    </a:lnTo>
                    <a:lnTo>
                      <a:pt x="5360" y="3544"/>
                    </a:lnTo>
                    <a:lnTo>
                      <a:pt x="5357" y="3556"/>
                    </a:lnTo>
                    <a:lnTo>
                      <a:pt x="5344" y="3560"/>
                    </a:lnTo>
                    <a:lnTo>
                      <a:pt x="5334" y="3560"/>
                    </a:lnTo>
                    <a:lnTo>
                      <a:pt x="5323" y="3563"/>
                    </a:lnTo>
                    <a:lnTo>
                      <a:pt x="5374" y="3556"/>
                    </a:lnTo>
                    <a:lnTo>
                      <a:pt x="5387" y="3553"/>
                    </a:lnTo>
                    <a:lnTo>
                      <a:pt x="5390" y="3540"/>
                    </a:lnTo>
                    <a:lnTo>
                      <a:pt x="5387" y="3537"/>
                    </a:lnTo>
                    <a:lnTo>
                      <a:pt x="5401" y="3540"/>
                    </a:lnTo>
                    <a:lnTo>
                      <a:pt x="5413" y="3529"/>
                    </a:lnTo>
                    <a:lnTo>
                      <a:pt x="5417" y="3512"/>
                    </a:lnTo>
                    <a:lnTo>
                      <a:pt x="5413" y="3505"/>
                    </a:lnTo>
                    <a:lnTo>
                      <a:pt x="5417" y="3512"/>
                    </a:lnTo>
                    <a:lnTo>
                      <a:pt x="5427" y="3513"/>
                    </a:lnTo>
                    <a:lnTo>
                      <a:pt x="5427" y="3520"/>
                    </a:lnTo>
                    <a:lnTo>
                      <a:pt x="5417" y="3529"/>
                    </a:lnTo>
                    <a:lnTo>
                      <a:pt x="5409" y="3540"/>
                    </a:lnTo>
                    <a:lnTo>
                      <a:pt x="5417" y="3540"/>
                    </a:lnTo>
                    <a:lnTo>
                      <a:pt x="5429" y="3537"/>
                    </a:lnTo>
                    <a:lnTo>
                      <a:pt x="5443" y="3532"/>
                    </a:lnTo>
                    <a:lnTo>
                      <a:pt x="5453" y="3516"/>
                    </a:lnTo>
                    <a:lnTo>
                      <a:pt x="5459" y="3505"/>
                    </a:lnTo>
                    <a:lnTo>
                      <a:pt x="5457" y="3502"/>
                    </a:lnTo>
                    <a:lnTo>
                      <a:pt x="5457" y="3499"/>
                    </a:lnTo>
                    <a:lnTo>
                      <a:pt x="5462" y="3492"/>
                    </a:lnTo>
                    <a:lnTo>
                      <a:pt x="5466" y="3508"/>
                    </a:lnTo>
                    <a:lnTo>
                      <a:pt x="5476" y="3499"/>
                    </a:lnTo>
                    <a:lnTo>
                      <a:pt x="5480" y="3484"/>
                    </a:lnTo>
                    <a:lnTo>
                      <a:pt x="5483" y="3496"/>
                    </a:lnTo>
                    <a:lnTo>
                      <a:pt x="5496" y="3505"/>
                    </a:lnTo>
                    <a:lnTo>
                      <a:pt x="5485" y="3516"/>
                    </a:lnTo>
                    <a:lnTo>
                      <a:pt x="5466" y="3520"/>
                    </a:lnTo>
                    <a:lnTo>
                      <a:pt x="5462" y="3523"/>
                    </a:lnTo>
                    <a:lnTo>
                      <a:pt x="5476" y="3523"/>
                    </a:lnTo>
                    <a:lnTo>
                      <a:pt x="5512" y="3513"/>
                    </a:lnTo>
                    <a:lnTo>
                      <a:pt x="5545" y="3512"/>
                    </a:lnTo>
                    <a:lnTo>
                      <a:pt x="5549" y="3508"/>
                    </a:lnTo>
                    <a:lnTo>
                      <a:pt x="5575" y="3489"/>
                    </a:lnTo>
                    <a:lnTo>
                      <a:pt x="5578" y="3499"/>
                    </a:lnTo>
                    <a:lnTo>
                      <a:pt x="5589" y="3492"/>
                    </a:lnTo>
                    <a:lnTo>
                      <a:pt x="5601" y="3489"/>
                    </a:lnTo>
                    <a:lnTo>
                      <a:pt x="5624" y="3499"/>
                    </a:lnTo>
                    <a:lnTo>
                      <a:pt x="5628" y="3508"/>
                    </a:lnTo>
                    <a:lnTo>
                      <a:pt x="5619" y="3505"/>
                    </a:lnTo>
                    <a:lnTo>
                      <a:pt x="5605" y="3502"/>
                    </a:lnTo>
                    <a:lnTo>
                      <a:pt x="5594" y="3502"/>
                    </a:lnTo>
                    <a:lnTo>
                      <a:pt x="5593" y="3508"/>
                    </a:lnTo>
                    <a:lnTo>
                      <a:pt x="5568" y="3508"/>
                    </a:lnTo>
                    <a:lnTo>
                      <a:pt x="5578" y="3512"/>
                    </a:lnTo>
                    <a:lnTo>
                      <a:pt x="5593" y="3512"/>
                    </a:lnTo>
                    <a:lnTo>
                      <a:pt x="5642" y="3520"/>
                    </a:lnTo>
                    <a:lnTo>
                      <a:pt x="5672" y="3529"/>
                    </a:lnTo>
                    <a:lnTo>
                      <a:pt x="5695" y="3544"/>
                    </a:lnTo>
                    <a:lnTo>
                      <a:pt x="5691" y="3532"/>
                    </a:lnTo>
                    <a:lnTo>
                      <a:pt x="5681" y="3526"/>
                    </a:lnTo>
                    <a:lnTo>
                      <a:pt x="5675" y="3516"/>
                    </a:lnTo>
                    <a:lnTo>
                      <a:pt x="5688" y="3516"/>
                    </a:lnTo>
                    <a:lnTo>
                      <a:pt x="5698" y="3520"/>
                    </a:lnTo>
                    <a:lnTo>
                      <a:pt x="5718" y="3508"/>
                    </a:lnTo>
                    <a:lnTo>
                      <a:pt x="5714" y="3520"/>
                    </a:lnTo>
                    <a:lnTo>
                      <a:pt x="5705" y="3523"/>
                    </a:lnTo>
                    <a:lnTo>
                      <a:pt x="5702" y="3532"/>
                    </a:lnTo>
                    <a:lnTo>
                      <a:pt x="5718" y="3540"/>
                    </a:lnTo>
                    <a:lnTo>
                      <a:pt x="5732" y="3540"/>
                    </a:lnTo>
                    <a:lnTo>
                      <a:pt x="5737" y="3553"/>
                    </a:lnTo>
                    <a:lnTo>
                      <a:pt x="5751" y="3550"/>
                    </a:lnTo>
                    <a:lnTo>
                      <a:pt x="5744" y="3560"/>
                    </a:lnTo>
                    <a:lnTo>
                      <a:pt x="5732" y="3550"/>
                    </a:lnTo>
                    <a:lnTo>
                      <a:pt x="5705" y="3540"/>
                    </a:lnTo>
                    <a:lnTo>
                      <a:pt x="5718" y="3553"/>
                    </a:lnTo>
                    <a:lnTo>
                      <a:pt x="5728" y="3560"/>
                    </a:lnTo>
                    <a:lnTo>
                      <a:pt x="5733" y="3563"/>
                    </a:lnTo>
                    <a:lnTo>
                      <a:pt x="5728" y="3563"/>
                    </a:lnTo>
                    <a:lnTo>
                      <a:pt x="5740" y="3568"/>
                    </a:lnTo>
                    <a:lnTo>
                      <a:pt x="5755" y="3571"/>
                    </a:lnTo>
                    <a:lnTo>
                      <a:pt x="5763" y="3584"/>
                    </a:lnTo>
                    <a:lnTo>
                      <a:pt x="5770" y="3595"/>
                    </a:lnTo>
                    <a:lnTo>
                      <a:pt x="5774" y="3604"/>
                    </a:lnTo>
                    <a:lnTo>
                      <a:pt x="5763" y="3607"/>
                    </a:lnTo>
                    <a:lnTo>
                      <a:pt x="5758" y="3595"/>
                    </a:lnTo>
                    <a:lnTo>
                      <a:pt x="5758" y="3587"/>
                    </a:lnTo>
                    <a:lnTo>
                      <a:pt x="5755" y="3598"/>
                    </a:lnTo>
                    <a:lnTo>
                      <a:pt x="5760" y="3607"/>
                    </a:lnTo>
                    <a:lnTo>
                      <a:pt x="5770" y="3612"/>
                    </a:lnTo>
                    <a:lnTo>
                      <a:pt x="5784" y="3611"/>
                    </a:lnTo>
                    <a:lnTo>
                      <a:pt x="5790" y="3607"/>
                    </a:lnTo>
                    <a:lnTo>
                      <a:pt x="5814" y="3601"/>
                    </a:lnTo>
                    <a:lnTo>
                      <a:pt x="5827" y="3601"/>
                    </a:lnTo>
                    <a:lnTo>
                      <a:pt x="5827" y="3595"/>
                    </a:lnTo>
                    <a:lnTo>
                      <a:pt x="5841" y="3587"/>
                    </a:lnTo>
                    <a:lnTo>
                      <a:pt x="5843" y="3591"/>
                    </a:lnTo>
                    <a:lnTo>
                      <a:pt x="5853" y="3588"/>
                    </a:lnTo>
                    <a:lnTo>
                      <a:pt x="5890" y="3563"/>
                    </a:lnTo>
                    <a:lnTo>
                      <a:pt x="5902" y="3560"/>
                    </a:lnTo>
                    <a:lnTo>
                      <a:pt x="5913" y="3556"/>
                    </a:lnTo>
                    <a:lnTo>
                      <a:pt x="5925" y="3560"/>
                    </a:lnTo>
                    <a:lnTo>
                      <a:pt x="5920" y="3547"/>
                    </a:lnTo>
                    <a:lnTo>
                      <a:pt x="5906" y="3540"/>
                    </a:lnTo>
                    <a:lnTo>
                      <a:pt x="5924" y="3547"/>
                    </a:lnTo>
                    <a:lnTo>
                      <a:pt x="5916" y="3540"/>
                    </a:lnTo>
                    <a:lnTo>
                      <a:pt x="5924" y="3529"/>
                    </a:lnTo>
                    <a:lnTo>
                      <a:pt x="5932" y="3523"/>
                    </a:lnTo>
                    <a:lnTo>
                      <a:pt x="5955" y="3520"/>
                    </a:lnTo>
                    <a:lnTo>
                      <a:pt x="5969" y="3516"/>
                    </a:lnTo>
                    <a:lnTo>
                      <a:pt x="5976" y="3516"/>
                    </a:lnTo>
                    <a:lnTo>
                      <a:pt x="6006" y="3529"/>
                    </a:lnTo>
                    <a:lnTo>
                      <a:pt x="6015" y="3532"/>
                    </a:lnTo>
                    <a:lnTo>
                      <a:pt x="6038" y="3544"/>
                    </a:lnTo>
                    <a:lnTo>
                      <a:pt x="6059" y="3568"/>
                    </a:lnTo>
                    <a:lnTo>
                      <a:pt x="6085" y="3577"/>
                    </a:lnTo>
                    <a:lnTo>
                      <a:pt x="6089" y="3588"/>
                    </a:lnTo>
                    <a:lnTo>
                      <a:pt x="6091" y="3601"/>
                    </a:lnTo>
                    <a:lnTo>
                      <a:pt x="6124" y="3622"/>
                    </a:lnTo>
                    <a:lnTo>
                      <a:pt x="6135" y="3635"/>
                    </a:lnTo>
                    <a:lnTo>
                      <a:pt x="6147" y="3638"/>
                    </a:lnTo>
                    <a:lnTo>
                      <a:pt x="6154" y="3649"/>
                    </a:lnTo>
                    <a:lnTo>
                      <a:pt x="6168" y="3652"/>
                    </a:lnTo>
                    <a:lnTo>
                      <a:pt x="6191" y="3649"/>
                    </a:lnTo>
                    <a:lnTo>
                      <a:pt x="6211" y="3667"/>
                    </a:lnTo>
                    <a:lnTo>
                      <a:pt x="6211" y="3676"/>
                    </a:lnTo>
                    <a:lnTo>
                      <a:pt x="6218" y="3687"/>
                    </a:lnTo>
                    <a:lnTo>
                      <a:pt x="6230" y="3691"/>
                    </a:lnTo>
                    <a:lnTo>
                      <a:pt x="6233" y="3703"/>
                    </a:lnTo>
                    <a:lnTo>
                      <a:pt x="6233" y="3710"/>
                    </a:lnTo>
                    <a:lnTo>
                      <a:pt x="6237" y="3742"/>
                    </a:lnTo>
                    <a:lnTo>
                      <a:pt x="6240" y="3751"/>
                    </a:lnTo>
                    <a:lnTo>
                      <a:pt x="6240" y="3766"/>
                    </a:lnTo>
                    <a:lnTo>
                      <a:pt x="6228" y="3820"/>
                    </a:lnTo>
                    <a:lnTo>
                      <a:pt x="6230" y="3833"/>
                    </a:lnTo>
                    <a:lnTo>
                      <a:pt x="6230" y="3854"/>
                    </a:lnTo>
                    <a:lnTo>
                      <a:pt x="6225" y="3871"/>
                    </a:lnTo>
                    <a:lnTo>
                      <a:pt x="6233" y="3884"/>
                    </a:lnTo>
                    <a:lnTo>
                      <a:pt x="6244" y="3892"/>
                    </a:lnTo>
                    <a:lnTo>
                      <a:pt x="6233" y="3878"/>
                    </a:lnTo>
                    <a:lnTo>
                      <a:pt x="6256" y="3892"/>
                    </a:lnTo>
                    <a:lnTo>
                      <a:pt x="6256" y="3895"/>
                    </a:lnTo>
                    <a:lnTo>
                      <a:pt x="6263" y="3887"/>
                    </a:lnTo>
                    <a:lnTo>
                      <a:pt x="6270" y="3863"/>
                    </a:lnTo>
                    <a:lnTo>
                      <a:pt x="6260" y="3863"/>
                    </a:lnTo>
                    <a:lnTo>
                      <a:pt x="6256" y="3860"/>
                    </a:lnTo>
                    <a:lnTo>
                      <a:pt x="6256" y="3850"/>
                    </a:lnTo>
                    <a:lnTo>
                      <a:pt x="6247" y="3841"/>
                    </a:lnTo>
                    <a:lnTo>
                      <a:pt x="6247" y="3838"/>
                    </a:lnTo>
                    <a:lnTo>
                      <a:pt x="6274" y="3850"/>
                    </a:lnTo>
                    <a:lnTo>
                      <a:pt x="6277" y="3863"/>
                    </a:lnTo>
                    <a:lnTo>
                      <a:pt x="6290" y="3850"/>
                    </a:lnTo>
                    <a:lnTo>
                      <a:pt x="6300" y="3863"/>
                    </a:lnTo>
                    <a:lnTo>
                      <a:pt x="6300" y="3871"/>
                    </a:lnTo>
                    <a:lnTo>
                      <a:pt x="6281" y="3905"/>
                    </a:lnTo>
                    <a:lnTo>
                      <a:pt x="6277" y="3922"/>
                    </a:lnTo>
                    <a:lnTo>
                      <a:pt x="6263" y="3925"/>
                    </a:lnTo>
                    <a:lnTo>
                      <a:pt x="6263" y="3935"/>
                    </a:lnTo>
                    <a:lnTo>
                      <a:pt x="6255" y="3925"/>
                    </a:lnTo>
                    <a:lnTo>
                      <a:pt x="6260" y="3935"/>
                    </a:lnTo>
                    <a:lnTo>
                      <a:pt x="6283" y="3946"/>
                    </a:lnTo>
                    <a:lnTo>
                      <a:pt x="6293" y="3959"/>
                    </a:lnTo>
                    <a:lnTo>
                      <a:pt x="6290" y="3962"/>
                    </a:lnTo>
                    <a:lnTo>
                      <a:pt x="6316" y="4001"/>
                    </a:lnTo>
                    <a:lnTo>
                      <a:pt x="6323" y="4013"/>
                    </a:lnTo>
                    <a:lnTo>
                      <a:pt x="6343" y="4031"/>
                    </a:lnTo>
                    <a:lnTo>
                      <a:pt x="6357" y="4034"/>
                    </a:lnTo>
                    <a:lnTo>
                      <a:pt x="6365" y="4034"/>
                    </a:lnTo>
                    <a:lnTo>
                      <a:pt x="6372" y="4034"/>
                    </a:lnTo>
                    <a:lnTo>
                      <a:pt x="6365" y="4025"/>
                    </a:lnTo>
                    <a:lnTo>
                      <a:pt x="6360" y="4013"/>
                    </a:lnTo>
                    <a:lnTo>
                      <a:pt x="6350" y="4007"/>
                    </a:lnTo>
                    <a:lnTo>
                      <a:pt x="6364" y="4007"/>
                    </a:lnTo>
                    <a:lnTo>
                      <a:pt x="6365" y="4015"/>
                    </a:lnTo>
                    <a:lnTo>
                      <a:pt x="6390" y="4004"/>
                    </a:lnTo>
                    <a:lnTo>
                      <a:pt x="6394" y="4007"/>
                    </a:lnTo>
                    <a:lnTo>
                      <a:pt x="6380" y="4013"/>
                    </a:lnTo>
                    <a:lnTo>
                      <a:pt x="6387" y="4025"/>
                    </a:lnTo>
                    <a:lnTo>
                      <a:pt x="6387" y="4045"/>
                    </a:lnTo>
                    <a:lnTo>
                      <a:pt x="6390" y="4058"/>
                    </a:lnTo>
                    <a:lnTo>
                      <a:pt x="6395" y="4069"/>
                    </a:lnTo>
                    <a:lnTo>
                      <a:pt x="6394" y="4076"/>
                    </a:lnTo>
                    <a:lnTo>
                      <a:pt x="6406" y="4076"/>
                    </a:lnTo>
                    <a:lnTo>
                      <a:pt x="6416" y="4063"/>
                    </a:lnTo>
                    <a:lnTo>
                      <a:pt x="6420" y="4052"/>
                    </a:lnTo>
                    <a:lnTo>
                      <a:pt x="6436" y="4039"/>
                    </a:lnTo>
                    <a:lnTo>
                      <a:pt x="6422" y="4058"/>
                    </a:lnTo>
                    <a:lnTo>
                      <a:pt x="6420" y="4069"/>
                    </a:lnTo>
                    <a:lnTo>
                      <a:pt x="6413" y="4079"/>
                    </a:lnTo>
                    <a:lnTo>
                      <a:pt x="6413" y="4085"/>
                    </a:lnTo>
                    <a:lnTo>
                      <a:pt x="6422" y="4088"/>
                    </a:lnTo>
                    <a:lnTo>
                      <a:pt x="6436" y="4096"/>
                    </a:lnTo>
                    <a:lnTo>
                      <a:pt x="6448" y="4138"/>
                    </a:lnTo>
                    <a:lnTo>
                      <a:pt x="6469" y="4162"/>
                    </a:lnTo>
                    <a:lnTo>
                      <a:pt x="6478" y="4162"/>
                    </a:lnTo>
                    <a:lnTo>
                      <a:pt x="6466" y="4165"/>
                    </a:lnTo>
                    <a:lnTo>
                      <a:pt x="6478" y="4172"/>
                    </a:lnTo>
                    <a:lnTo>
                      <a:pt x="6492" y="4168"/>
                    </a:lnTo>
                    <a:lnTo>
                      <a:pt x="6503" y="4168"/>
                    </a:lnTo>
                    <a:lnTo>
                      <a:pt x="6508" y="4172"/>
                    </a:lnTo>
                    <a:lnTo>
                      <a:pt x="6534" y="4181"/>
                    </a:lnTo>
                    <a:lnTo>
                      <a:pt x="6538" y="4189"/>
                    </a:lnTo>
                    <a:lnTo>
                      <a:pt x="6549" y="4199"/>
                    </a:lnTo>
                    <a:lnTo>
                      <a:pt x="6564" y="4216"/>
                    </a:lnTo>
                    <a:lnTo>
                      <a:pt x="6568" y="4229"/>
                    </a:lnTo>
                    <a:lnTo>
                      <a:pt x="6591" y="4250"/>
                    </a:lnTo>
                    <a:lnTo>
                      <a:pt x="6601" y="4253"/>
                    </a:lnTo>
                    <a:lnTo>
                      <a:pt x="6614" y="4253"/>
                    </a:lnTo>
                    <a:lnTo>
                      <a:pt x="6624" y="4263"/>
                    </a:lnTo>
                    <a:lnTo>
                      <a:pt x="6617" y="4274"/>
                    </a:lnTo>
                    <a:lnTo>
                      <a:pt x="6605" y="4264"/>
                    </a:lnTo>
                    <a:lnTo>
                      <a:pt x="6591" y="4259"/>
                    </a:lnTo>
                    <a:lnTo>
                      <a:pt x="6582" y="4267"/>
                    </a:lnTo>
                    <a:lnTo>
                      <a:pt x="6587" y="4280"/>
                    </a:lnTo>
                    <a:lnTo>
                      <a:pt x="6598" y="4291"/>
                    </a:lnTo>
                    <a:lnTo>
                      <a:pt x="6624" y="4283"/>
                    </a:lnTo>
                    <a:lnTo>
                      <a:pt x="6638" y="4274"/>
                    </a:lnTo>
                    <a:lnTo>
                      <a:pt x="6651" y="4277"/>
                    </a:lnTo>
                    <a:lnTo>
                      <a:pt x="6665" y="4277"/>
                    </a:lnTo>
                    <a:lnTo>
                      <a:pt x="6674" y="4271"/>
                    </a:lnTo>
                    <a:lnTo>
                      <a:pt x="6684" y="4263"/>
                    </a:lnTo>
                    <a:lnTo>
                      <a:pt x="6696" y="4256"/>
                    </a:lnTo>
                    <a:lnTo>
                      <a:pt x="6707" y="4263"/>
                    </a:lnTo>
                    <a:lnTo>
                      <a:pt x="6700" y="4256"/>
                    </a:lnTo>
                    <a:lnTo>
                      <a:pt x="6718" y="4263"/>
                    </a:lnTo>
                    <a:lnTo>
                      <a:pt x="6710" y="4250"/>
                    </a:lnTo>
                    <a:lnTo>
                      <a:pt x="6718" y="4237"/>
                    </a:lnTo>
                    <a:lnTo>
                      <a:pt x="6723" y="4229"/>
                    </a:lnTo>
                    <a:lnTo>
                      <a:pt x="6718" y="4208"/>
                    </a:lnTo>
                    <a:lnTo>
                      <a:pt x="6721" y="4202"/>
                    </a:lnTo>
                    <a:lnTo>
                      <a:pt x="6718" y="4189"/>
                    </a:lnTo>
                    <a:lnTo>
                      <a:pt x="6723" y="4178"/>
                    </a:lnTo>
                    <a:lnTo>
                      <a:pt x="6723" y="4168"/>
                    </a:lnTo>
                    <a:lnTo>
                      <a:pt x="6733" y="4157"/>
                    </a:lnTo>
                    <a:lnTo>
                      <a:pt x="6733" y="4148"/>
                    </a:lnTo>
                    <a:lnTo>
                      <a:pt x="6737" y="4136"/>
                    </a:lnTo>
                    <a:lnTo>
                      <a:pt x="6740" y="4148"/>
                    </a:lnTo>
                    <a:lnTo>
                      <a:pt x="6744" y="4136"/>
                    </a:lnTo>
                    <a:lnTo>
                      <a:pt x="6740" y="4124"/>
                    </a:lnTo>
                    <a:lnTo>
                      <a:pt x="6737" y="4100"/>
                    </a:lnTo>
                    <a:lnTo>
                      <a:pt x="6737" y="4069"/>
                    </a:lnTo>
                    <a:lnTo>
                      <a:pt x="6733" y="4058"/>
                    </a:lnTo>
                    <a:lnTo>
                      <a:pt x="6730" y="4007"/>
                    </a:lnTo>
                    <a:lnTo>
                      <a:pt x="6718" y="3964"/>
                    </a:lnTo>
                    <a:lnTo>
                      <a:pt x="6710" y="3962"/>
                    </a:lnTo>
                    <a:lnTo>
                      <a:pt x="6710" y="3946"/>
                    </a:lnTo>
                    <a:lnTo>
                      <a:pt x="6691" y="3925"/>
                    </a:lnTo>
                    <a:lnTo>
                      <a:pt x="6677" y="3919"/>
                    </a:lnTo>
                    <a:lnTo>
                      <a:pt x="6674" y="3922"/>
                    </a:lnTo>
                    <a:lnTo>
                      <a:pt x="6677" y="3916"/>
                    </a:lnTo>
                    <a:lnTo>
                      <a:pt x="6677" y="3908"/>
                    </a:lnTo>
                    <a:lnTo>
                      <a:pt x="6661" y="3887"/>
                    </a:lnTo>
                    <a:lnTo>
                      <a:pt x="6640" y="3847"/>
                    </a:lnTo>
                    <a:lnTo>
                      <a:pt x="6594" y="3788"/>
                    </a:lnTo>
                    <a:lnTo>
                      <a:pt x="6559" y="3734"/>
                    </a:lnTo>
                    <a:lnTo>
                      <a:pt x="6552" y="3724"/>
                    </a:lnTo>
                    <a:lnTo>
                      <a:pt x="6538" y="3691"/>
                    </a:lnTo>
                    <a:lnTo>
                      <a:pt x="6529" y="3670"/>
                    </a:lnTo>
                    <a:lnTo>
                      <a:pt x="6534" y="3670"/>
                    </a:lnTo>
                    <a:lnTo>
                      <a:pt x="6545" y="3676"/>
                    </a:lnTo>
                    <a:lnTo>
                      <a:pt x="6541" y="3686"/>
                    </a:lnTo>
                    <a:lnTo>
                      <a:pt x="6556" y="3697"/>
                    </a:lnTo>
                    <a:lnTo>
                      <a:pt x="6568" y="3691"/>
                    </a:lnTo>
                    <a:lnTo>
                      <a:pt x="6578" y="3700"/>
                    </a:lnTo>
                    <a:lnTo>
                      <a:pt x="6582" y="3713"/>
                    </a:lnTo>
                    <a:lnTo>
                      <a:pt x="6578" y="3734"/>
                    </a:lnTo>
                    <a:lnTo>
                      <a:pt x="6585" y="3766"/>
                    </a:lnTo>
                    <a:lnTo>
                      <a:pt x="6612" y="3802"/>
                    </a:lnTo>
                    <a:lnTo>
                      <a:pt x="6624" y="3814"/>
                    </a:lnTo>
                    <a:lnTo>
                      <a:pt x="6598" y="3782"/>
                    </a:lnTo>
                    <a:lnTo>
                      <a:pt x="6591" y="3769"/>
                    </a:lnTo>
                    <a:lnTo>
                      <a:pt x="6585" y="3748"/>
                    </a:lnTo>
                    <a:lnTo>
                      <a:pt x="6582" y="3727"/>
                    </a:lnTo>
                    <a:lnTo>
                      <a:pt x="6591" y="3718"/>
                    </a:lnTo>
                    <a:lnTo>
                      <a:pt x="6585" y="3707"/>
                    </a:lnTo>
                    <a:lnTo>
                      <a:pt x="6578" y="3694"/>
                    </a:lnTo>
                    <a:lnTo>
                      <a:pt x="6556" y="3673"/>
                    </a:lnTo>
                    <a:lnTo>
                      <a:pt x="6485" y="3595"/>
                    </a:lnTo>
                    <a:lnTo>
                      <a:pt x="6446" y="3537"/>
                    </a:lnTo>
                    <a:lnTo>
                      <a:pt x="6429" y="3505"/>
                    </a:lnTo>
                    <a:lnTo>
                      <a:pt x="6409" y="3462"/>
                    </a:lnTo>
                    <a:lnTo>
                      <a:pt x="6406" y="3451"/>
                    </a:lnTo>
                    <a:lnTo>
                      <a:pt x="6394" y="3430"/>
                    </a:lnTo>
                    <a:lnTo>
                      <a:pt x="6390" y="3409"/>
                    </a:lnTo>
                    <a:lnTo>
                      <a:pt x="6383" y="3400"/>
                    </a:lnTo>
                    <a:lnTo>
                      <a:pt x="6372" y="3387"/>
                    </a:lnTo>
                    <a:lnTo>
                      <a:pt x="6365" y="3376"/>
                    </a:lnTo>
                    <a:lnTo>
                      <a:pt x="6372" y="3385"/>
                    </a:lnTo>
                    <a:lnTo>
                      <a:pt x="6376" y="3361"/>
                    </a:lnTo>
                    <a:lnTo>
                      <a:pt x="6360" y="3358"/>
                    </a:lnTo>
                    <a:lnTo>
                      <a:pt x="6364" y="3345"/>
                    </a:lnTo>
                    <a:lnTo>
                      <a:pt x="6353" y="3337"/>
                    </a:lnTo>
                    <a:lnTo>
                      <a:pt x="6357" y="3325"/>
                    </a:lnTo>
                    <a:lnTo>
                      <a:pt x="6364" y="3315"/>
                    </a:lnTo>
                    <a:lnTo>
                      <a:pt x="6353" y="3315"/>
                    </a:lnTo>
                    <a:lnTo>
                      <a:pt x="6360" y="3304"/>
                    </a:lnTo>
                    <a:lnTo>
                      <a:pt x="6350" y="3294"/>
                    </a:lnTo>
                    <a:lnTo>
                      <a:pt x="6360" y="3301"/>
                    </a:lnTo>
                    <a:lnTo>
                      <a:pt x="6365" y="3288"/>
                    </a:lnTo>
                    <a:lnTo>
                      <a:pt x="6350" y="3288"/>
                    </a:lnTo>
                    <a:lnTo>
                      <a:pt x="6357" y="3277"/>
                    </a:lnTo>
                    <a:lnTo>
                      <a:pt x="6365" y="3283"/>
                    </a:lnTo>
                    <a:lnTo>
                      <a:pt x="6376" y="3267"/>
                    </a:lnTo>
                    <a:lnTo>
                      <a:pt x="6380" y="3256"/>
                    </a:lnTo>
                    <a:lnTo>
                      <a:pt x="6365" y="3253"/>
                    </a:lnTo>
                    <a:lnTo>
                      <a:pt x="6357" y="3253"/>
                    </a:lnTo>
                    <a:lnTo>
                      <a:pt x="6343" y="3246"/>
                    </a:lnTo>
                    <a:lnTo>
                      <a:pt x="6350" y="3246"/>
                    </a:lnTo>
                    <a:lnTo>
                      <a:pt x="6360" y="3250"/>
                    </a:lnTo>
                    <a:lnTo>
                      <a:pt x="6372" y="3250"/>
                    </a:lnTo>
                    <a:lnTo>
                      <a:pt x="6372" y="3237"/>
                    </a:lnTo>
                    <a:lnTo>
                      <a:pt x="6380" y="3237"/>
                    </a:lnTo>
                    <a:lnTo>
                      <a:pt x="6387" y="3216"/>
                    </a:lnTo>
                    <a:lnTo>
                      <a:pt x="6376" y="3219"/>
                    </a:lnTo>
                    <a:lnTo>
                      <a:pt x="6369" y="3213"/>
                    </a:lnTo>
                    <a:lnTo>
                      <a:pt x="6380" y="3205"/>
                    </a:lnTo>
                    <a:lnTo>
                      <a:pt x="6376" y="3195"/>
                    </a:lnTo>
                    <a:lnTo>
                      <a:pt x="6387" y="3202"/>
                    </a:lnTo>
                    <a:lnTo>
                      <a:pt x="6394" y="3189"/>
                    </a:lnTo>
                    <a:lnTo>
                      <a:pt x="6394" y="3187"/>
                    </a:lnTo>
                    <a:lnTo>
                      <a:pt x="6380" y="3189"/>
                    </a:lnTo>
                    <a:lnTo>
                      <a:pt x="6376" y="3178"/>
                    </a:lnTo>
                    <a:lnTo>
                      <a:pt x="6390" y="3178"/>
                    </a:lnTo>
                    <a:lnTo>
                      <a:pt x="6399" y="3165"/>
                    </a:lnTo>
                    <a:lnTo>
                      <a:pt x="6387" y="3157"/>
                    </a:lnTo>
                    <a:lnTo>
                      <a:pt x="6387" y="3144"/>
                    </a:lnTo>
                    <a:lnTo>
                      <a:pt x="6399" y="3150"/>
                    </a:lnTo>
                    <a:lnTo>
                      <a:pt x="6413" y="3150"/>
                    </a:lnTo>
                    <a:lnTo>
                      <a:pt x="6409" y="3138"/>
                    </a:lnTo>
                    <a:lnTo>
                      <a:pt x="6422" y="3133"/>
                    </a:lnTo>
                    <a:lnTo>
                      <a:pt x="6425" y="3120"/>
                    </a:lnTo>
                    <a:lnTo>
                      <a:pt x="6420" y="3120"/>
                    </a:lnTo>
                    <a:lnTo>
                      <a:pt x="6422" y="3096"/>
                    </a:lnTo>
                    <a:lnTo>
                      <a:pt x="6429" y="3087"/>
                    </a:lnTo>
                    <a:lnTo>
                      <a:pt x="6429" y="3096"/>
                    </a:lnTo>
                    <a:lnTo>
                      <a:pt x="6436" y="3096"/>
                    </a:lnTo>
                    <a:lnTo>
                      <a:pt x="6446" y="3085"/>
                    </a:lnTo>
                    <a:lnTo>
                      <a:pt x="6432" y="3079"/>
                    </a:lnTo>
                    <a:lnTo>
                      <a:pt x="6425" y="3069"/>
                    </a:lnTo>
                    <a:lnTo>
                      <a:pt x="6422" y="3061"/>
                    </a:lnTo>
                    <a:lnTo>
                      <a:pt x="6413" y="3039"/>
                    </a:lnTo>
                    <a:lnTo>
                      <a:pt x="6422" y="3045"/>
                    </a:lnTo>
                    <a:lnTo>
                      <a:pt x="6425" y="3058"/>
                    </a:lnTo>
                    <a:lnTo>
                      <a:pt x="6439" y="3066"/>
                    </a:lnTo>
                    <a:lnTo>
                      <a:pt x="6439" y="3045"/>
                    </a:lnTo>
                    <a:lnTo>
                      <a:pt x="6448" y="3063"/>
                    </a:lnTo>
                    <a:lnTo>
                      <a:pt x="6459" y="3072"/>
                    </a:lnTo>
                    <a:lnTo>
                      <a:pt x="6473" y="3063"/>
                    </a:lnTo>
                    <a:lnTo>
                      <a:pt x="6478" y="3045"/>
                    </a:lnTo>
                    <a:lnTo>
                      <a:pt x="6466" y="3055"/>
                    </a:lnTo>
                    <a:lnTo>
                      <a:pt x="6476" y="3045"/>
                    </a:lnTo>
                    <a:lnTo>
                      <a:pt x="6473" y="3039"/>
                    </a:lnTo>
                    <a:lnTo>
                      <a:pt x="6459" y="3039"/>
                    </a:lnTo>
                    <a:lnTo>
                      <a:pt x="6446" y="3034"/>
                    </a:lnTo>
                    <a:lnTo>
                      <a:pt x="6436" y="3037"/>
                    </a:lnTo>
                    <a:lnTo>
                      <a:pt x="6459" y="3024"/>
                    </a:lnTo>
                    <a:lnTo>
                      <a:pt x="6476" y="3027"/>
                    </a:lnTo>
                    <a:lnTo>
                      <a:pt x="6485" y="3024"/>
                    </a:lnTo>
                    <a:lnTo>
                      <a:pt x="6499" y="3021"/>
                    </a:lnTo>
                    <a:lnTo>
                      <a:pt x="6508" y="3011"/>
                    </a:lnTo>
                    <a:lnTo>
                      <a:pt x="6503" y="3007"/>
                    </a:lnTo>
                    <a:lnTo>
                      <a:pt x="6515" y="3011"/>
                    </a:lnTo>
                    <a:lnTo>
                      <a:pt x="6526" y="3003"/>
                    </a:lnTo>
                    <a:lnTo>
                      <a:pt x="6538" y="3000"/>
                    </a:lnTo>
                    <a:lnTo>
                      <a:pt x="6538" y="2994"/>
                    </a:lnTo>
                    <a:lnTo>
                      <a:pt x="6549" y="2987"/>
                    </a:lnTo>
                    <a:lnTo>
                      <a:pt x="6556" y="2976"/>
                    </a:lnTo>
                    <a:lnTo>
                      <a:pt x="6545" y="2973"/>
                    </a:lnTo>
                    <a:lnTo>
                      <a:pt x="6538" y="2955"/>
                    </a:lnTo>
                    <a:lnTo>
                      <a:pt x="6549" y="2955"/>
                    </a:lnTo>
                    <a:lnTo>
                      <a:pt x="6556" y="2967"/>
                    </a:lnTo>
                    <a:lnTo>
                      <a:pt x="6564" y="2963"/>
                    </a:lnTo>
                    <a:lnTo>
                      <a:pt x="6578" y="2955"/>
                    </a:lnTo>
                    <a:lnTo>
                      <a:pt x="6585" y="2943"/>
                    </a:lnTo>
                    <a:lnTo>
                      <a:pt x="6591" y="2940"/>
                    </a:lnTo>
                    <a:lnTo>
                      <a:pt x="6587" y="2928"/>
                    </a:lnTo>
                    <a:lnTo>
                      <a:pt x="6594" y="2916"/>
                    </a:lnTo>
                    <a:lnTo>
                      <a:pt x="6608" y="2919"/>
                    </a:lnTo>
                    <a:lnTo>
                      <a:pt x="6617" y="2916"/>
                    </a:lnTo>
                    <a:lnTo>
                      <a:pt x="6624" y="2908"/>
                    </a:lnTo>
                    <a:lnTo>
                      <a:pt x="6631" y="2895"/>
                    </a:lnTo>
                    <a:lnTo>
                      <a:pt x="6624" y="2888"/>
                    </a:lnTo>
                    <a:lnTo>
                      <a:pt x="6635" y="2892"/>
                    </a:lnTo>
                    <a:lnTo>
                      <a:pt x="6644" y="2884"/>
                    </a:lnTo>
                    <a:lnTo>
                      <a:pt x="6638" y="2871"/>
                    </a:lnTo>
                    <a:lnTo>
                      <a:pt x="6624" y="2864"/>
                    </a:lnTo>
                    <a:lnTo>
                      <a:pt x="6624" y="2853"/>
                    </a:lnTo>
                    <a:lnTo>
                      <a:pt x="6631" y="2840"/>
                    </a:lnTo>
                    <a:lnTo>
                      <a:pt x="6638" y="2837"/>
                    </a:lnTo>
                    <a:lnTo>
                      <a:pt x="6628" y="2860"/>
                    </a:lnTo>
                    <a:lnTo>
                      <a:pt x="6640" y="2864"/>
                    </a:lnTo>
                    <a:lnTo>
                      <a:pt x="6644" y="2874"/>
                    </a:lnTo>
                    <a:lnTo>
                      <a:pt x="6644" y="2837"/>
                    </a:lnTo>
                    <a:lnTo>
                      <a:pt x="6651" y="2829"/>
                    </a:lnTo>
                    <a:lnTo>
                      <a:pt x="6677" y="2785"/>
                    </a:lnTo>
                    <a:lnTo>
                      <a:pt x="6703" y="2761"/>
                    </a:lnTo>
                    <a:lnTo>
                      <a:pt x="6718" y="2751"/>
                    </a:lnTo>
                    <a:lnTo>
                      <a:pt x="6718" y="2745"/>
                    </a:lnTo>
                    <a:lnTo>
                      <a:pt x="6710" y="2741"/>
                    </a:lnTo>
                    <a:lnTo>
                      <a:pt x="6710" y="2741"/>
                    </a:lnTo>
                    <a:lnTo>
                      <a:pt x="6718" y="2745"/>
                    </a:lnTo>
                    <a:lnTo>
                      <a:pt x="6723" y="2745"/>
                    </a:lnTo>
                    <a:lnTo>
                      <a:pt x="6747" y="2737"/>
                    </a:lnTo>
                    <a:lnTo>
                      <a:pt x="6770" y="2730"/>
                    </a:lnTo>
                    <a:lnTo>
                      <a:pt x="6790" y="2730"/>
                    </a:lnTo>
                    <a:lnTo>
                      <a:pt x="6804" y="2724"/>
                    </a:lnTo>
                    <a:lnTo>
                      <a:pt x="6806" y="2700"/>
                    </a:lnTo>
                    <a:lnTo>
                      <a:pt x="6797" y="2679"/>
                    </a:lnTo>
                    <a:lnTo>
                      <a:pt x="6800" y="2679"/>
                    </a:lnTo>
                    <a:lnTo>
                      <a:pt x="6806" y="2687"/>
                    </a:lnTo>
                    <a:lnTo>
                      <a:pt x="6813" y="2714"/>
                    </a:lnTo>
                    <a:lnTo>
                      <a:pt x="6813" y="2682"/>
                    </a:lnTo>
                    <a:lnTo>
                      <a:pt x="6816" y="2669"/>
                    </a:lnTo>
                    <a:lnTo>
                      <a:pt x="6827" y="2649"/>
                    </a:lnTo>
                    <a:lnTo>
                      <a:pt x="6843" y="2628"/>
                    </a:lnTo>
                    <a:lnTo>
                      <a:pt x="6859" y="2615"/>
                    </a:lnTo>
                    <a:lnTo>
                      <a:pt x="6850" y="2625"/>
                    </a:lnTo>
                    <a:lnTo>
                      <a:pt x="6843" y="2636"/>
                    </a:lnTo>
                    <a:lnTo>
                      <a:pt x="6853" y="2625"/>
                    </a:lnTo>
                    <a:lnTo>
                      <a:pt x="6876" y="2604"/>
                    </a:lnTo>
                    <a:lnTo>
                      <a:pt x="6872" y="2604"/>
                    </a:lnTo>
                    <a:lnTo>
                      <a:pt x="6869" y="2607"/>
                    </a:lnTo>
                    <a:lnTo>
                      <a:pt x="6862" y="2594"/>
                    </a:lnTo>
                    <a:lnTo>
                      <a:pt x="6869" y="2586"/>
                    </a:lnTo>
                    <a:lnTo>
                      <a:pt x="6862" y="2577"/>
                    </a:lnTo>
                    <a:lnTo>
                      <a:pt x="6876" y="2583"/>
                    </a:lnTo>
                    <a:lnTo>
                      <a:pt x="6865" y="2591"/>
                    </a:lnTo>
                    <a:lnTo>
                      <a:pt x="6879" y="2598"/>
                    </a:lnTo>
                    <a:lnTo>
                      <a:pt x="6883" y="2594"/>
                    </a:lnTo>
                    <a:lnTo>
                      <a:pt x="6892" y="2583"/>
                    </a:lnTo>
                    <a:lnTo>
                      <a:pt x="6902" y="2561"/>
                    </a:lnTo>
                    <a:lnTo>
                      <a:pt x="6916" y="2567"/>
                    </a:lnTo>
                    <a:lnTo>
                      <a:pt x="6945" y="2553"/>
                    </a:lnTo>
                    <a:lnTo>
                      <a:pt x="6955" y="2553"/>
                    </a:lnTo>
                    <a:lnTo>
                      <a:pt x="6959" y="2546"/>
                    </a:lnTo>
                    <a:lnTo>
                      <a:pt x="6969" y="2537"/>
                    </a:lnTo>
                    <a:lnTo>
                      <a:pt x="6971" y="2550"/>
                    </a:lnTo>
                    <a:lnTo>
                      <a:pt x="6978" y="2537"/>
                    </a:lnTo>
                    <a:lnTo>
                      <a:pt x="6992" y="2543"/>
                    </a:lnTo>
                    <a:lnTo>
                      <a:pt x="6996" y="2543"/>
                    </a:lnTo>
                    <a:lnTo>
                      <a:pt x="7004" y="2522"/>
                    </a:lnTo>
                    <a:lnTo>
                      <a:pt x="7015" y="2511"/>
                    </a:lnTo>
                    <a:lnTo>
                      <a:pt x="7022" y="2502"/>
                    </a:lnTo>
                    <a:lnTo>
                      <a:pt x="7015" y="2492"/>
                    </a:lnTo>
                    <a:lnTo>
                      <a:pt x="7012" y="2492"/>
                    </a:lnTo>
                    <a:lnTo>
                      <a:pt x="7004" y="2505"/>
                    </a:lnTo>
                    <a:lnTo>
                      <a:pt x="6996" y="2508"/>
                    </a:lnTo>
                    <a:lnTo>
                      <a:pt x="6999" y="2495"/>
                    </a:lnTo>
                    <a:lnTo>
                      <a:pt x="6992" y="2486"/>
                    </a:lnTo>
                    <a:lnTo>
                      <a:pt x="6989" y="2495"/>
                    </a:lnTo>
                    <a:lnTo>
                      <a:pt x="6989" y="2498"/>
                    </a:lnTo>
                    <a:lnTo>
                      <a:pt x="6982" y="2498"/>
                    </a:lnTo>
                    <a:lnTo>
                      <a:pt x="6985" y="2511"/>
                    </a:lnTo>
                    <a:lnTo>
                      <a:pt x="6971" y="2505"/>
                    </a:lnTo>
                    <a:lnTo>
                      <a:pt x="6948" y="2519"/>
                    </a:lnTo>
                    <a:lnTo>
                      <a:pt x="6922" y="2516"/>
                    </a:lnTo>
                    <a:lnTo>
                      <a:pt x="6902" y="2498"/>
                    </a:lnTo>
                    <a:lnTo>
                      <a:pt x="6892" y="2489"/>
                    </a:lnTo>
                    <a:lnTo>
                      <a:pt x="6906" y="2495"/>
                    </a:lnTo>
                    <a:lnTo>
                      <a:pt x="6916" y="2498"/>
                    </a:lnTo>
                    <a:lnTo>
                      <a:pt x="6932" y="2508"/>
                    </a:lnTo>
                    <a:lnTo>
                      <a:pt x="6945" y="2511"/>
                    </a:lnTo>
                    <a:lnTo>
                      <a:pt x="6952" y="2505"/>
                    </a:lnTo>
                    <a:lnTo>
                      <a:pt x="6971" y="2484"/>
                    </a:lnTo>
                    <a:lnTo>
                      <a:pt x="6971" y="2471"/>
                    </a:lnTo>
                    <a:lnTo>
                      <a:pt x="6959" y="2474"/>
                    </a:lnTo>
                    <a:lnTo>
                      <a:pt x="6962" y="2465"/>
                    </a:lnTo>
                    <a:lnTo>
                      <a:pt x="6975" y="2465"/>
                    </a:lnTo>
                    <a:lnTo>
                      <a:pt x="6982" y="2454"/>
                    </a:lnTo>
                    <a:lnTo>
                      <a:pt x="6955" y="2444"/>
                    </a:lnTo>
                    <a:lnTo>
                      <a:pt x="6943" y="2444"/>
                    </a:lnTo>
                    <a:lnTo>
                      <a:pt x="6888" y="2433"/>
                    </a:lnTo>
                    <a:lnTo>
                      <a:pt x="6887" y="2427"/>
                    </a:lnTo>
                    <a:lnTo>
                      <a:pt x="6913" y="2433"/>
                    </a:lnTo>
                    <a:lnTo>
                      <a:pt x="6936" y="2433"/>
                    </a:lnTo>
                    <a:lnTo>
                      <a:pt x="6948" y="2430"/>
                    </a:lnTo>
                    <a:lnTo>
                      <a:pt x="6955" y="2430"/>
                    </a:lnTo>
                    <a:lnTo>
                      <a:pt x="6952" y="2420"/>
                    </a:lnTo>
                    <a:lnTo>
                      <a:pt x="6948" y="2409"/>
                    </a:lnTo>
                    <a:lnTo>
                      <a:pt x="6962" y="2409"/>
                    </a:lnTo>
                    <a:lnTo>
                      <a:pt x="6955" y="2414"/>
                    </a:lnTo>
                    <a:lnTo>
                      <a:pt x="6966" y="2427"/>
                    </a:lnTo>
                    <a:lnTo>
                      <a:pt x="6978" y="2430"/>
                    </a:lnTo>
                    <a:lnTo>
                      <a:pt x="6982" y="2417"/>
                    </a:lnTo>
                    <a:lnTo>
                      <a:pt x="6989" y="2427"/>
                    </a:lnTo>
                    <a:lnTo>
                      <a:pt x="6999" y="2430"/>
                    </a:lnTo>
                    <a:lnTo>
                      <a:pt x="7026" y="2430"/>
                    </a:lnTo>
                    <a:lnTo>
                      <a:pt x="7034" y="2420"/>
                    </a:lnTo>
                    <a:lnTo>
                      <a:pt x="7052" y="2387"/>
                    </a:lnTo>
                    <a:lnTo>
                      <a:pt x="7052" y="2375"/>
                    </a:lnTo>
                    <a:lnTo>
                      <a:pt x="7064" y="2379"/>
                    </a:lnTo>
                    <a:lnTo>
                      <a:pt x="7075" y="2369"/>
                    </a:lnTo>
                    <a:lnTo>
                      <a:pt x="7071" y="2358"/>
                    </a:lnTo>
                    <a:lnTo>
                      <a:pt x="7068" y="2335"/>
                    </a:lnTo>
                    <a:lnTo>
                      <a:pt x="7061" y="2324"/>
                    </a:lnTo>
                    <a:lnTo>
                      <a:pt x="7048" y="2315"/>
                    </a:lnTo>
                    <a:lnTo>
                      <a:pt x="7048" y="2321"/>
                    </a:lnTo>
                    <a:lnTo>
                      <a:pt x="7048" y="2331"/>
                    </a:lnTo>
                    <a:lnTo>
                      <a:pt x="7027" y="2331"/>
                    </a:lnTo>
                    <a:lnTo>
                      <a:pt x="7027" y="2342"/>
                    </a:lnTo>
                    <a:lnTo>
                      <a:pt x="7031" y="2363"/>
                    </a:lnTo>
                    <a:lnTo>
                      <a:pt x="7022" y="2375"/>
                    </a:lnTo>
                    <a:lnTo>
                      <a:pt x="7015" y="2369"/>
                    </a:lnTo>
                    <a:lnTo>
                      <a:pt x="7026" y="2358"/>
                    </a:lnTo>
                    <a:lnTo>
                      <a:pt x="7012" y="2355"/>
                    </a:lnTo>
                    <a:lnTo>
                      <a:pt x="7019" y="2342"/>
                    </a:lnTo>
                    <a:lnTo>
                      <a:pt x="7019" y="2331"/>
                    </a:lnTo>
                    <a:lnTo>
                      <a:pt x="7015" y="2321"/>
                    </a:lnTo>
                    <a:lnTo>
                      <a:pt x="7004" y="2318"/>
                    </a:lnTo>
                    <a:lnTo>
                      <a:pt x="6985" y="2324"/>
                    </a:lnTo>
                    <a:lnTo>
                      <a:pt x="6982" y="2335"/>
                    </a:lnTo>
                    <a:lnTo>
                      <a:pt x="6959" y="2331"/>
                    </a:lnTo>
                    <a:lnTo>
                      <a:pt x="6945" y="2339"/>
                    </a:lnTo>
                    <a:lnTo>
                      <a:pt x="6932" y="2342"/>
                    </a:lnTo>
                    <a:lnTo>
                      <a:pt x="6922" y="2345"/>
                    </a:lnTo>
                    <a:lnTo>
                      <a:pt x="6918" y="2334"/>
                    </a:lnTo>
                    <a:lnTo>
                      <a:pt x="6909" y="2321"/>
                    </a:lnTo>
                    <a:lnTo>
                      <a:pt x="6902" y="2311"/>
                    </a:lnTo>
                    <a:lnTo>
                      <a:pt x="6899" y="2300"/>
                    </a:lnTo>
                    <a:lnTo>
                      <a:pt x="6906" y="2291"/>
                    </a:lnTo>
                    <a:lnTo>
                      <a:pt x="6899" y="2283"/>
                    </a:lnTo>
                    <a:lnTo>
                      <a:pt x="6906" y="2291"/>
                    </a:lnTo>
                    <a:lnTo>
                      <a:pt x="6906" y="2294"/>
                    </a:lnTo>
                    <a:lnTo>
                      <a:pt x="6906" y="2303"/>
                    </a:lnTo>
                    <a:lnTo>
                      <a:pt x="6916" y="2324"/>
                    </a:lnTo>
                    <a:lnTo>
                      <a:pt x="6929" y="2324"/>
                    </a:lnTo>
                    <a:lnTo>
                      <a:pt x="6943" y="2331"/>
                    </a:lnTo>
                    <a:lnTo>
                      <a:pt x="6969" y="2310"/>
                    </a:lnTo>
                    <a:lnTo>
                      <a:pt x="6955" y="2300"/>
                    </a:lnTo>
                    <a:lnTo>
                      <a:pt x="6969" y="2300"/>
                    </a:lnTo>
                    <a:lnTo>
                      <a:pt x="6985" y="2303"/>
                    </a:lnTo>
                    <a:lnTo>
                      <a:pt x="6975" y="2294"/>
                    </a:lnTo>
                    <a:lnTo>
                      <a:pt x="6989" y="2297"/>
                    </a:lnTo>
                    <a:lnTo>
                      <a:pt x="6999" y="2294"/>
                    </a:lnTo>
                    <a:lnTo>
                      <a:pt x="6999" y="2286"/>
                    </a:lnTo>
                    <a:lnTo>
                      <a:pt x="6989" y="2276"/>
                    </a:lnTo>
                    <a:lnTo>
                      <a:pt x="6975" y="2270"/>
                    </a:lnTo>
                    <a:lnTo>
                      <a:pt x="6989" y="2270"/>
                    </a:lnTo>
                    <a:lnTo>
                      <a:pt x="7012" y="2283"/>
                    </a:lnTo>
                    <a:lnTo>
                      <a:pt x="7027" y="2283"/>
                    </a:lnTo>
                    <a:lnTo>
                      <a:pt x="7015" y="2273"/>
                    </a:lnTo>
                    <a:lnTo>
                      <a:pt x="7008" y="2262"/>
                    </a:lnTo>
                    <a:lnTo>
                      <a:pt x="7031" y="2280"/>
                    </a:lnTo>
                    <a:lnTo>
                      <a:pt x="7041" y="2294"/>
                    </a:lnTo>
                    <a:lnTo>
                      <a:pt x="7041" y="2283"/>
                    </a:lnTo>
                    <a:lnTo>
                      <a:pt x="7019" y="2249"/>
                    </a:lnTo>
                    <a:lnTo>
                      <a:pt x="7019" y="2246"/>
                    </a:lnTo>
                    <a:lnTo>
                      <a:pt x="7004" y="2243"/>
                    </a:lnTo>
                    <a:lnTo>
                      <a:pt x="6996" y="2232"/>
                    </a:lnTo>
                    <a:lnTo>
                      <a:pt x="6992" y="2222"/>
                    </a:lnTo>
                    <a:lnTo>
                      <a:pt x="6985" y="2223"/>
                    </a:lnTo>
                    <a:lnTo>
                      <a:pt x="6992" y="2222"/>
                    </a:lnTo>
                    <a:lnTo>
                      <a:pt x="6992" y="2221"/>
                    </a:lnTo>
                    <a:lnTo>
                      <a:pt x="6993" y="2221"/>
                    </a:lnTo>
                    <a:lnTo>
                      <a:pt x="6991" y="2217"/>
                    </a:lnTo>
                    <a:lnTo>
                      <a:pt x="6996" y="2222"/>
                    </a:lnTo>
                    <a:lnTo>
                      <a:pt x="7008" y="2232"/>
                    </a:lnTo>
                    <a:lnTo>
                      <a:pt x="7012" y="2219"/>
                    </a:lnTo>
                    <a:lnTo>
                      <a:pt x="7015" y="2219"/>
                    </a:lnTo>
                    <a:lnTo>
                      <a:pt x="7008" y="2208"/>
                    </a:lnTo>
                    <a:lnTo>
                      <a:pt x="7000" y="2198"/>
                    </a:lnTo>
                    <a:lnTo>
                      <a:pt x="7008" y="2208"/>
                    </a:lnTo>
                    <a:lnTo>
                      <a:pt x="7015" y="2219"/>
                    </a:lnTo>
                    <a:lnTo>
                      <a:pt x="7038" y="2262"/>
                    </a:lnTo>
                    <a:lnTo>
                      <a:pt x="7045" y="2270"/>
                    </a:lnTo>
                    <a:lnTo>
                      <a:pt x="7054" y="2291"/>
                    </a:lnTo>
                    <a:lnTo>
                      <a:pt x="7068" y="2300"/>
                    </a:lnTo>
                    <a:lnTo>
                      <a:pt x="7064" y="2307"/>
                    </a:lnTo>
                    <a:lnTo>
                      <a:pt x="7075" y="2310"/>
                    </a:lnTo>
                    <a:lnTo>
                      <a:pt x="7087" y="2321"/>
                    </a:lnTo>
                    <a:lnTo>
                      <a:pt x="7094" y="2334"/>
                    </a:lnTo>
                    <a:lnTo>
                      <a:pt x="7094" y="2331"/>
                    </a:lnTo>
                    <a:lnTo>
                      <a:pt x="7087" y="2318"/>
                    </a:lnTo>
                    <a:lnTo>
                      <a:pt x="7057" y="2286"/>
                    </a:lnTo>
                    <a:lnTo>
                      <a:pt x="7041" y="2264"/>
                    </a:lnTo>
                    <a:lnTo>
                      <a:pt x="7022" y="2219"/>
                    </a:lnTo>
                    <a:lnTo>
                      <a:pt x="7019" y="2216"/>
                    </a:lnTo>
                    <a:lnTo>
                      <a:pt x="7018" y="2215"/>
                    </a:lnTo>
                    <a:lnTo>
                      <a:pt x="7019" y="2215"/>
                    </a:lnTo>
                    <a:lnTo>
                      <a:pt x="7000" y="2183"/>
                    </a:lnTo>
                    <a:lnTo>
                      <a:pt x="6989" y="2160"/>
                    </a:lnTo>
                    <a:lnTo>
                      <a:pt x="6952" y="2160"/>
                    </a:lnTo>
                    <a:lnTo>
                      <a:pt x="6943" y="2159"/>
                    </a:lnTo>
                    <a:lnTo>
                      <a:pt x="6943" y="2160"/>
                    </a:lnTo>
                    <a:lnTo>
                      <a:pt x="6943" y="2160"/>
                    </a:lnTo>
                    <a:lnTo>
                      <a:pt x="6939" y="2174"/>
                    </a:lnTo>
                    <a:lnTo>
                      <a:pt x="6942" y="2178"/>
                    </a:lnTo>
                    <a:lnTo>
                      <a:pt x="6933" y="2173"/>
                    </a:lnTo>
                    <a:lnTo>
                      <a:pt x="6922" y="2173"/>
                    </a:lnTo>
                    <a:lnTo>
                      <a:pt x="6910" y="2183"/>
                    </a:lnTo>
                    <a:lnTo>
                      <a:pt x="6913" y="2173"/>
                    </a:lnTo>
                    <a:lnTo>
                      <a:pt x="6903" y="2160"/>
                    </a:lnTo>
                    <a:lnTo>
                      <a:pt x="6889" y="2155"/>
                    </a:lnTo>
                    <a:lnTo>
                      <a:pt x="6880" y="2143"/>
                    </a:lnTo>
                    <a:lnTo>
                      <a:pt x="6876" y="2135"/>
                    </a:lnTo>
                    <a:lnTo>
                      <a:pt x="6862" y="2136"/>
                    </a:lnTo>
                    <a:lnTo>
                      <a:pt x="6850" y="2135"/>
                    </a:lnTo>
                    <a:lnTo>
                      <a:pt x="6839" y="2135"/>
                    </a:lnTo>
                    <a:lnTo>
                      <a:pt x="6817" y="2128"/>
                    </a:lnTo>
                    <a:lnTo>
                      <a:pt x="6782" y="2128"/>
                    </a:lnTo>
                    <a:lnTo>
                      <a:pt x="6780" y="2127"/>
                    </a:lnTo>
                    <a:lnTo>
                      <a:pt x="6783" y="2123"/>
                    </a:lnTo>
                    <a:lnTo>
                      <a:pt x="6793" y="2126"/>
                    </a:lnTo>
                    <a:lnTo>
                      <a:pt x="6820" y="2120"/>
                    </a:lnTo>
                    <a:lnTo>
                      <a:pt x="6834" y="2129"/>
                    </a:lnTo>
                    <a:lnTo>
                      <a:pt x="6839" y="2129"/>
                    </a:lnTo>
                    <a:lnTo>
                      <a:pt x="6839" y="2128"/>
                    </a:lnTo>
                    <a:lnTo>
                      <a:pt x="6839" y="2128"/>
                    </a:lnTo>
                    <a:lnTo>
                      <a:pt x="6839" y="2117"/>
                    </a:lnTo>
                    <a:lnTo>
                      <a:pt x="6850" y="2129"/>
                    </a:lnTo>
                    <a:lnTo>
                      <a:pt x="6862" y="2136"/>
                    </a:lnTo>
                    <a:lnTo>
                      <a:pt x="6872" y="2126"/>
                    </a:lnTo>
                    <a:lnTo>
                      <a:pt x="6883" y="2137"/>
                    </a:lnTo>
                    <a:lnTo>
                      <a:pt x="6895" y="2147"/>
                    </a:lnTo>
                    <a:lnTo>
                      <a:pt x="6909" y="2150"/>
                    </a:lnTo>
                    <a:lnTo>
                      <a:pt x="6918" y="2161"/>
                    </a:lnTo>
                    <a:lnTo>
                      <a:pt x="6925" y="2156"/>
                    </a:lnTo>
                    <a:lnTo>
                      <a:pt x="6932" y="2153"/>
                    </a:lnTo>
                    <a:lnTo>
                      <a:pt x="6933" y="2152"/>
                    </a:lnTo>
                    <a:lnTo>
                      <a:pt x="6933" y="2152"/>
                    </a:lnTo>
                    <a:lnTo>
                      <a:pt x="6936" y="2143"/>
                    </a:lnTo>
                    <a:lnTo>
                      <a:pt x="6933" y="2131"/>
                    </a:lnTo>
                    <a:lnTo>
                      <a:pt x="6919" y="2128"/>
                    </a:lnTo>
                    <a:lnTo>
                      <a:pt x="6917" y="2115"/>
                    </a:lnTo>
                    <a:lnTo>
                      <a:pt x="6903" y="2119"/>
                    </a:lnTo>
                    <a:lnTo>
                      <a:pt x="6880" y="2111"/>
                    </a:lnTo>
                    <a:lnTo>
                      <a:pt x="6869" y="2101"/>
                    </a:lnTo>
                    <a:lnTo>
                      <a:pt x="6845" y="2085"/>
                    </a:lnTo>
                    <a:lnTo>
                      <a:pt x="6857" y="2085"/>
                    </a:lnTo>
                    <a:lnTo>
                      <a:pt x="6879" y="2105"/>
                    </a:lnTo>
                    <a:lnTo>
                      <a:pt x="6902" y="2113"/>
                    </a:lnTo>
                    <a:lnTo>
                      <a:pt x="6909" y="2102"/>
                    </a:lnTo>
                    <a:lnTo>
                      <a:pt x="6909" y="2102"/>
                    </a:lnTo>
                    <a:lnTo>
                      <a:pt x="6910" y="2101"/>
                    </a:lnTo>
                    <a:lnTo>
                      <a:pt x="6900" y="2092"/>
                    </a:lnTo>
                    <a:lnTo>
                      <a:pt x="6902" y="2089"/>
                    </a:lnTo>
                    <a:lnTo>
                      <a:pt x="6916" y="2089"/>
                    </a:lnTo>
                    <a:lnTo>
                      <a:pt x="6925" y="2099"/>
                    </a:lnTo>
                    <a:lnTo>
                      <a:pt x="6926" y="2098"/>
                    </a:lnTo>
                    <a:lnTo>
                      <a:pt x="6926" y="2098"/>
                    </a:lnTo>
                    <a:lnTo>
                      <a:pt x="6929" y="2088"/>
                    </a:lnTo>
                    <a:lnTo>
                      <a:pt x="6922" y="2068"/>
                    </a:lnTo>
                    <a:lnTo>
                      <a:pt x="6913" y="2068"/>
                    </a:lnTo>
                    <a:lnTo>
                      <a:pt x="6901" y="2065"/>
                    </a:lnTo>
                    <a:lnTo>
                      <a:pt x="6906" y="2062"/>
                    </a:lnTo>
                    <a:lnTo>
                      <a:pt x="6905" y="2062"/>
                    </a:lnTo>
                    <a:lnTo>
                      <a:pt x="6906" y="2061"/>
                    </a:lnTo>
                    <a:lnTo>
                      <a:pt x="6892" y="2053"/>
                    </a:lnTo>
                    <a:lnTo>
                      <a:pt x="6880" y="2053"/>
                    </a:lnTo>
                    <a:lnTo>
                      <a:pt x="6869" y="2044"/>
                    </a:lnTo>
                    <a:lnTo>
                      <a:pt x="6866" y="2037"/>
                    </a:lnTo>
                    <a:lnTo>
                      <a:pt x="6839" y="2029"/>
                    </a:lnTo>
                    <a:lnTo>
                      <a:pt x="6831" y="2016"/>
                    </a:lnTo>
                    <a:lnTo>
                      <a:pt x="6820" y="2010"/>
                    </a:lnTo>
                    <a:lnTo>
                      <a:pt x="6809" y="2005"/>
                    </a:lnTo>
                    <a:lnTo>
                      <a:pt x="6804" y="1996"/>
                    </a:lnTo>
                    <a:lnTo>
                      <a:pt x="6780" y="1981"/>
                    </a:lnTo>
                    <a:lnTo>
                      <a:pt x="6773" y="1981"/>
                    </a:lnTo>
                    <a:lnTo>
                      <a:pt x="6779" y="1979"/>
                    </a:lnTo>
                    <a:lnTo>
                      <a:pt x="6793" y="1985"/>
                    </a:lnTo>
                    <a:lnTo>
                      <a:pt x="6806" y="1993"/>
                    </a:lnTo>
                    <a:lnTo>
                      <a:pt x="6820" y="2006"/>
                    </a:lnTo>
                    <a:lnTo>
                      <a:pt x="6830" y="2009"/>
                    </a:lnTo>
                    <a:lnTo>
                      <a:pt x="6839" y="2021"/>
                    </a:lnTo>
                    <a:lnTo>
                      <a:pt x="6850" y="2024"/>
                    </a:lnTo>
                    <a:lnTo>
                      <a:pt x="6872" y="2038"/>
                    </a:lnTo>
                    <a:lnTo>
                      <a:pt x="6887" y="2041"/>
                    </a:lnTo>
                    <a:lnTo>
                      <a:pt x="6887" y="2045"/>
                    </a:lnTo>
                    <a:lnTo>
                      <a:pt x="6899" y="2048"/>
                    </a:lnTo>
                    <a:lnTo>
                      <a:pt x="6906" y="2033"/>
                    </a:lnTo>
                    <a:lnTo>
                      <a:pt x="6906" y="2033"/>
                    </a:lnTo>
                    <a:lnTo>
                      <a:pt x="6906" y="2032"/>
                    </a:lnTo>
                    <a:lnTo>
                      <a:pt x="6906" y="2020"/>
                    </a:lnTo>
                    <a:lnTo>
                      <a:pt x="6897" y="2010"/>
                    </a:lnTo>
                    <a:lnTo>
                      <a:pt x="6909" y="2011"/>
                    </a:lnTo>
                    <a:lnTo>
                      <a:pt x="6909" y="2010"/>
                    </a:lnTo>
                    <a:lnTo>
                      <a:pt x="6910" y="2010"/>
                    </a:lnTo>
                    <a:lnTo>
                      <a:pt x="6910" y="1999"/>
                    </a:lnTo>
                    <a:lnTo>
                      <a:pt x="6883" y="1989"/>
                    </a:lnTo>
                    <a:lnTo>
                      <a:pt x="6873" y="1989"/>
                    </a:lnTo>
                    <a:lnTo>
                      <a:pt x="6873" y="1986"/>
                    </a:lnTo>
                    <a:lnTo>
                      <a:pt x="6861" y="1986"/>
                    </a:lnTo>
                    <a:lnTo>
                      <a:pt x="6861" y="1981"/>
                    </a:lnTo>
                    <a:lnTo>
                      <a:pt x="6850" y="1972"/>
                    </a:lnTo>
                    <a:lnTo>
                      <a:pt x="6846" y="1965"/>
                    </a:lnTo>
                    <a:lnTo>
                      <a:pt x="6824" y="1972"/>
                    </a:lnTo>
                    <a:lnTo>
                      <a:pt x="6820" y="1968"/>
                    </a:lnTo>
                    <a:lnTo>
                      <a:pt x="6806" y="1968"/>
                    </a:lnTo>
                    <a:lnTo>
                      <a:pt x="6801" y="1968"/>
                    </a:lnTo>
                    <a:lnTo>
                      <a:pt x="6780" y="1951"/>
                    </a:lnTo>
                    <a:lnTo>
                      <a:pt x="6780" y="1941"/>
                    </a:lnTo>
                    <a:lnTo>
                      <a:pt x="6767" y="1941"/>
                    </a:lnTo>
                    <a:lnTo>
                      <a:pt x="6753" y="1951"/>
                    </a:lnTo>
                    <a:lnTo>
                      <a:pt x="6744" y="1954"/>
                    </a:lnTo>
                    <a:lnTo>
                      <a:pt x="6734" y="1954"/>
                    </a:lnTo>
                    <a:lnTo>
                      <a:pt x="6727" y="1942"/>
                    </a:lnTo>
                    <a:lnTo>
                      <a:pt x="6733" y="1942"/>
                    </a:lnTo>
                    <a:lnTo>
                      <a:pt x="6733" y="1941"/>
                    </a:lnTo>
                    <a:lnTo>
                      <a:pt x="6734" y="1941"/>
                    </a:lnTo>
                    <a:lnTo>
                      <a:pt x="6730" y="1930"/>
                    </a:lnTo>
                    <a:lnTo>
                      <a:pt x="6737" y="1898"/>
                    </a:lnTo>
                    <a:lnTo>
                      <a:pt x="6744" y="1904"/>
                    </a:lnTo>
                    <a:lnTo>
                      <a:pt x="6747" y="1904"/>
                    </a:lnTo>
                    <a:lnTo>
                      <a:pt x="6751" y="1898"/>
                    </a:lnTo>
                    <a:lnTo>
                      <a:pt x="6751" y="1897"/>
                    </a:lnTo>
                    <a:lnTo>
                      <a:pt x="6751" y="1897"/>
                    </a:lnTo>
                    <a:lnTo>
                      <a:pt x="6748" y="1891"/>
                    </a:lnTo>
                    <a:lnTo>
                      <a:pt x="6760" y="1883"/>
                    </a:lnTo>
                    <a:lnTo>
                      <a:pt x="6760" y="1883"/>
                    </a:lnTo>
                    <a:lnTo>
                      <a:pt x="6760" y="1882"/>
                    </a:lnTo>
                    <a:lnTo>
                      <a:pt x="6757" y="1869"/>
                    </a:lnTo>
                    <a:lnTo>
                      <a:pt x="6753" y="1863"/>
                    </a:lnTo>
                    <a:lnTo>
                      <a:pt x="6752" y="1854"/>
                    </a:lnTo>
                    <a:lnTo>
                      <a:pt x="6756" y="1859"/>
                    </a:lnTo>
                    <a:lnTo>
                      <a:pt x="6760" y="1867"/>
                    </a:lnTo>
                    <a:lnTo>
                      <a:pt x="6767" y="1859"/>
                    </a:lnTo>
                    <a:lnTo>
                      <a:pt x="6767" y="1850"/>
                    </a:lnTo>
                    <a:lnTo>
                      <a:pt x="6753" y="1840"/>
                    </a:lnTo>
                    <a:lnTo>
                      <a:pt x="6767" y="1850"/>
                    </a:lnTo>
                    <a:lnTo>
                      <a:pt x="6767" y="1859"/>
                    </a:lnTo>
                    <a:lnTo>
                      <a:pt x="6760" y="1867"/>
                    </a:lnTo>
                    <a:lnTo>
                      <a:pt x="6763" y="1880"/>
                    </a:lnTo>
                    <a:lnTo>
                      <a:pt x="6753" y="1891"/>
                    </a:lnTo>
                    <a:lnTo>
                      <a:pt x="6751" y="1904"/>
                    </a:lnTo>
                    <a:lnTo>
                      <a:pt x="6744" y="1912"/>
                    </a:lnTo>
                    <a:lnTo>
                      <a:pt x="6740" y="1915"/>
                    </a:lnTo>
                    <a:lnTo>
                      <a:pt x="6737" y="1925"/>
                    </a:lnTo>
                    <a:lnTo>
                      <a:pt x="6740" y="1936"/>
                    </a:lnTo>
                    <a:lnTo>
                      <a:pt x="6751" y="1949"/>
                    </a:lnTo>
                    <a:lnTo>
                      <a:pt x="6760" y="1936"/>
                    </a:lnTo>
                    <a:lnTo>
                      <a:pt x="6760" y="1928"/>
                    </a:lnTo>
                    <a:lnTo>
                      <a:pt x="6774" y="1925"/>
                    </a:lnTo>
                    <a:lnTo>
                      <a:pt x="6779" y="1936"/>
                    </a:lnTo>
                    <a:lnTo>
                      <a:pt x="6790" y="1946"/>
                    </a:lnTo>
                    <a:lnTo>
                      <a:pt x="6804" y="1955"/>
                    </a:lnTo>
                    <a:lnTo>
                      <a:pt x="6804" y="1942"/>
                    </a:lnTo>
                    <a:lnTo>
                      <a:pt x="6804" y="1936"/>
                    </a:lnTo>
                    <a:lnTo>
                      <a:pt x="6809" y="1949"/>
                    </a:lnTo>
                    <a:lnTo>
                      <a:pt x="6820" y="1958"/>
                    </a:lnTo>
                    <a:lnTo>
                      <a:pt x="6834" y="1955"/>
                    </a:lnTo>
                    <a:lnTo>
                      <a:pt x="6846" y="1955"/>
                    </a:lnTo>
                    <a:lnTo>
                      <a:pt x="6857" y="1966"/>
                    </a:lnTo>
                    <a:lnTo>
                      <a:pt x="6860" y="1963"/>
                    </a:lnTo>
                    <a:lnTo>
                      <a:pt x="6872" y="1963"/>
                    </a:lnTo>
                    <a:lnTo>
                      <a:pt x="6883" y="1973"/>
                    </a:lnTo>
                    <a:lnTo>
                      <a:pt x="6887" y="1963"/>
                    </a:lnTo>
                    <a:lnTo>
                      <a:pt x="6872" y="1942"/>
                    </a:lnTo>
                    <a:lnTo>
                      <a:pt x="6860" y="1936"/>
                    </a:lnTo>
                    <a:lnTo>
                      <a:pt x="6846" y="1928"/>
                    </a:lnTo>
                    <a:lnTo>
                      <a:pt x="6830" y="1918"/>
                    </a:lnTo>
                    <a:lnTo>
                      <a:pt x="6823" y="1910"/>
                    </a:lnTo>
                    <a:lnTo>
                      <a:pt x="6813" y="1888"/>
                    </a:lnTo>
                    <a:lnTo>
                      <a:pt x="6813" y="1880"/>
                    </a:lnTo>
                    <a:lnTo>
                      <a:pt x="6816" y="1891"/>
                    </a:lnTo>
                    <a:lnTo>
                      <a:pt x="6830" y="1912"/>
                    </a:lnTo>
                    <a:lnTo>
                      <a:pt x="6843" y="1922"/>
                    </a:lnTo>
                    <a:lnTo>
                      <a:pt x="6853" y="1925"/>
                    </a:lnTo>
                    <a:lnTo>
                      <a:pt x="6860" y="1931"/>
                    </a:lnTo>
                    <a:lnTo>
                      <a:pt x="6865" y="1922"/>
                    </a:lnTo>
                    <a:lnTo>
                      <a:pt x="6843" y="1901"/>
                    </a:lnTo>
                    <a:lnTo>
                      <a:pt x="6835" y="1877"/>
                    </a:lnTo>
                    <a:lnTo>
                      <a:pt x="6830" y="1864"/>
                    </a:lnTo>
                    <a:lnTo>
                      <a:pt x="6834" y="1856"/>
                    </a:lnTo>
                    <a:lnTo>
                      <a:pt x="6830" y="1843"/>
                    </a:lnTo>
                    <a:lnTo>
                      <a:pt x="6830" y="1822"/>
                    </a:lnTo>
                    <a:lnTo>
                      <a:pt x="6820" y="1816"/>
                    </a:lnTo>
                    <a:lnTo>
                      <a:pt x="6823" y="1816"/>
                    </a:lnTo>
                    <a:lnTo>
                      <a:pt x="6835" y="1816"/>
                    </a:lnTo>
                    <a:lnTo>
                      <a:pt x="6839" y="1816"/>
                    </a:lnTo>
                    <a:lnTo>
                      <a:pt x="6830" y="1811"/>
                    </a:lnTo>
                    <a:lnTo>
                      <a:pt x="6830" y="1799"/>
                    </a:lnTo>
                    <a:lnTo>
                      <a:pt x="6804" y="1784"/>
                    </a:lnTo>
                    <a:lnTo>
                      <a:pt x="6813" y="1781"/>
                    </a:lnTo>
                    <a:lnTo>
                      <a:pt x="6820" y="1781"/>
                    </a:lnTo>
                    <a:lnTo>
                      <a:pt x="6830" y="1781"/>
                    </a:lnTo>
                    <a:lnTo>
                      <a:pt x="6820" y="1771"/>
                    </a:lnTo>
                    <a:lnTo>
                      <a:pt x="6830" y="1775"/>
                    </a:lnTo>
                    <a:lnTo>
                      <a:pt x="6830" y="1760"/>
                    </a:lnTo>
                    <a:lnTo>
                      <a:pt x="6830" y="1754"/>
                    </a:lnTo>
                    <a:lnTo>
                      <a:pt x="6834" y="1747"/>
                    </a:lnTo>
                    <a:lnTo>
                      <a:pt x="6843" y="1760"/>
                    </a:lnTo>
                    <a:lnTo>
                      <a:pt x="6843" y="1741"/>
                    </a:lnTo>
                    <a:lnTo>
                      <a:pt x="6846" y="1736"/>
                    </a:lnTo>
                    <a:lnTo>
                      <a:pt x="6850" y="1747"/>
                    </a:lnTo>
                    <a:lnTo>
                      <a:pt x="6860" y="1744"/>
                    </a:lnTo>
                    <a:lnTo>
                      <a:pt x="6869" y="1733"/>
                    </a:lnTo>
                    <a:lnTo>
                      <a:pt x="6862" y="1720"/>
                    </a:lnTo>
                    <a:lnTo>
                      <a:pt x="6862" y="1714"/>
                    </a:lnTo>
                    <a:lnTo>
                      <a:pt x="6872" y="1711"/>
                    </a:lnTo>
                    <a:lnTo>
                      <a:pt x="6883" y="1709"/>
                    </a:lnTo>
                    <a:lnTo>
                      <a:pt x="6879" y="1720"/>
                    </a:lnTo>
                    <a:lnTo>
                      <a:pt x="6888" y="1711"/>
                    </a:lnTo>
                    <a:lnTo>
                      <a:pt x="6892" y="1714"/>
                    </a:lnTo>
                    <a:lnTo>
                      <a:pt x="6876" y="1738"/>
                    </a:lnTo>
                    <a:lnTo>
                      <a:pt x="6892" y="1738"/>
                    </a:lnTo>
                    <a:lnTo>
                      <a:pt x="6883" y="1744"/>
                    </a:lnTo>
                    <a:lnTo>
                      <a:pt x="6869" y="1747"/>
                    </a:lnTo>
                    <a:lnTo>
                      <a:pt x="6860" y="1757"/>
                    </a:lnTo>
                    <a:lnTo>
                      <a:pt x="6853" y="1789"/>
                    </a:lnTo>
                    <a:lnTo>
                      <a:pt x="6862" y="1802"/>
                    </a:lnTo>
                    <a:lnTo>
                      <a:pt x="6865" y="1792"/>
                    </a:lnTo>
                    <a:lnTo>
                      <a:pt x="6872" y="1792"/>
                    </a:lnTo>
                    <a:lnTo>
                      <a:pt x="6872" y="1802"/>
                    </a:lnTo>
                    <a:lnTo>
                      <a:pt x="6872" y="1808"/>
                    </a:lnTo>
                    <a:lnTo>
                      <a:pt x="6862" y="1816"/>
                    </a:lnTo>
                    <a:lnTo>
                      <a:pt x="6850" y="1819"/>
                    </a:lnTo>
                    <a:lnTo>
                      <a:pt x="6850" y="1840"/>
                    </a:lnTo>
                    <a:lnTo>
                      <a:pt x="6853" y="1832"/>
                    </a:lnTo>
                    <a:lnTo>
                      <a:pt x="6862" y="1822"/>
                    </a:lnTo>
                    <a:lnTo>
                      <a:pt x="6865" y="1819"/>
                    </a:lnTo>
                    <a:lnTo>
                      <a:pt x="6876" y="1832"/>
                    </a:lnTo>
                    <a:lnTo>
                      <a:pt x="6887" y="1832"/>
                    </a:lnTo>
                    <a:lnTo>
                      <a:pt x="6879" y="1840"/>
                    </a:lnTo>
                    <a:lnTo>
                      <a:pt x="6887" y="1853"/>
                    </a:lnTo>
                    <a:lnTo>
                      <a:pt x="6872" y="1843"/>
                    </a:lnTo>
                    <a:lnTo>
                      <a:pt x="6862" y="1846"/>
                    </a:lnTo>
                    <a:lnTo>
                      <a:pt x="6860" y="1859"/>
                    </a:lnTo>
                    <a:lnTo>
                      <a:pt x="6865" y="1870"/>
                    </a:lnTo>
                    <a:lnTo>
                      <a:pt x="6865" y="1859"/>
                    </a:lnTo>
                    <a:lnTo>
                      <a:pt x="6879" y="1856"/>
                    </a:lnTo>
                    <a:lnTo>
                      <a:pt x="6887" y="1859"/>
                    </a:lnTo>
                    <a:lnTo>
                      <a:pt x="6888" y="1870"/>
                    </a:lnTo>
                    <a:lnTo>
                      <a:pt x="6906" y="1874"/>
                    </a:lnTo>
                    <a:lnTo>
                      <a:pt x="6916" y="1870"/>
                    </a:lnTo>
                    <a:lnTo>
                      <a:pt x="6909" y="1880"/>
                    </a:lnTo>
                    <a:lnTo>
                      <a:pt x="6879" y="1877"/>
                    </a:lnTo>
                    <a:lnTo>
                      <a:pt x="6876" y="1888"/>
                    </a:lnTo>
                    <a:lnTo>
                      <a:pt x="6888" y="1883"/>
                    </a:lnTo>
                    <a:lnTo>
                      <a:pt x="6883" y="1904"/>
                    </a:lnTo>
                    <a:lnTo>
                      <a:pt x="6883" y="1915"/>
                    </a:lnTo>
                    <a:lnTo>
                      <a:pt x="6892" y="1928"/>
                    </a:lnTo>
                    <a:lnTo>
                      <a:pt x="6888" y="1915"/>
                    </a:lnTo>
                    <a:lnTo>
                      <a:pt x="6902" y="1922"/>
                    </a:lnTo>
                    <a:lnTo>
                      <a:pt x="6913" y="1931"/>
                    </a:lnTo>
                    <a:lnTo>
                      <a:pt x="6925" y="1934"/>
                    </a:lnTo>
                    <a:lnTo>
                      <a:pt x="6922" y="1925"/>
                    </a:lnTo>
                    <a:lnTo>
                      <a:pt x="6925" y="1912"/>
                    </a:lnTo>
                    <a:lnTo>
                      <a:pt x="6925" y="1925"/>
                    </a:lnTo>
                    <a:lnTo>
                      <a:pt x="6932" y="1928"/>
                    </a:lnTo>
                    <a:lnTo>
                      <a:pt x="6943" y="1907"/>
                    </a:lnTo>
                    <a:lnTo>
                      <a:pt x="6943" y="1928"/>
                    </a:lnTo>
                    <a:lnTo>
                      <a:pt x="6948" y="1931"/>
                    </a:lnTo>
                    <a:lnTo>
                      <a:pt x="6939" y="1942"/>
                    </a:lnTo>
                    <a:lnTo>
                      <a:pt x="6943" y="1952"/>
                    </a:lnTo>
                    <a:lnTo>
                      <a:pt x="6952" y="1946"/>
                    </a:lnTo>
                    <a:lnTo>
                      <a:pt x="6959" y="1955"/>
                    </a:lnTo>
                    <a:lnTo>
                      <a:pt x="6969" y="1949"/>
                    </a:lnTo>
                    <a:lnTo>
                      <a:pt x="6966" y="1962"/>
                    </a:lnTo>
                    <a:lnTo>
                      <a:pt x="6955" y="1973"/>
                    </a:lnTo>
                    <a:lnTo>
                      <a:pt x="6955" y="1979"/>
                    </a:lnTo>
                    <a:lnTo>
                      <a:pt x="6982" y="1973"/>
                    </a:lnTo>
                    <a:lnTo>
                      <a:pt x="6992" y="1973"/>
                    </a:lnTo>
                    <a:lnTo>
                      <a:pt x="6982" y="1982"/>
                    </a:lnTo>
                    <a:lnTo>
                      <a:pt x="6992" y="1990"/>
                    </a:lnTo>
                    <a:lnTo>
                      <a:pt x="6989" y="2003"/>
                    </a:lnTo>
                    <a:lnTo>
                      <a:pt x="6978" y="2003"/>
                    </a:lnTo>
                    <a:lnTo>
                      <a:pt x="6975" y="2024"/>
                    </a:lnTo>
                    <a:lnTo>
                      <a:pt x="6969" y="2041"/>
                    </a:lnTo>
                    <a:lnTo>
                      <a:pt x="6966" y="2065"/>
                    </a:lnTo>
                    <a:lnTo>
                      <a:pt x="6969" y="2078"/>
                    </a:lnTo>
                    <a:lnTo>
                      <a:pt x="6966" y="2081"/>
                    </a:lnTo>
                    <a:lnTo>
                      <a:pt x="6966" y="2102"/>
                    </a:lnTo>
                    <a:lnTo>
                      <a:pt x="6978" y="2117"/>
                    </a:lnTo>
                    <a:lnTo>
                      <a:pt x="6989" y="2096"/>
                    </a:lnTo>
                    <a:lnTo>
                      <a:pt x="6989" y="2078"/>
                    </a:lnTo>
                    <a:lnTo>
                      <a:pt x="6989" y="2065"/>
                    </a:lnTo>
                    <a:lnTo>
                      <a:pt x="6996" y="2054"/>
                    </a:lnTo>
                    <a:lnTo>
                      <a:pt x="6999" y="2045"/>
                    </a:lnTo>
                    <a:lnTo>
                      <a:pt x="7008" y="2051"/>
                    </a:lnTo>
                    <a:lnTo>
                      <a:pt x="7012" y="2051"/>
                    </a:lnTo>
                    <a:lnTo>
                      <a:pt x="7015" y="2038"/>
                    </a:lnTo>
                    <a:lnTo>
                      <a:pt x="7012" y="2017"/>
                    </a:lnTo>
                    <a:lnTo>
                      <a:pt x="7019" y="1997"/>
                    </a:lnTo>
                    <a:lnTo>
                      <a:pt x="7026" y="1979"/>
                    </a:lnTo>
                    <a:lnTo>
                      <a:pt x="7026" y="1969"/>
                    </a:lnTo>
                    <a:lnTo>
                      <a:pt x="7027" y="1952"/>
                    </a:lnTo>
                    <a:lnTo>
                      <a:pt x="7027" y="1942"/>
                    </a:lnTo>
                    <a:lnTo>
                      <a:pt x="7034" y="1931"/>
                    </a:lnTo>
                    <a:lnTo>
                      <a:pt x="7041" y="1910"/>
                    </a:lnTo>
                    <a:lnTo>
                      <a:pt x="7048" y="1912"/>
                    </a:lnTo>
                    <a:lnTo>
                      <a:pt x="7054" y="1891"/>
                    </a:lnTo>
                    <a:lnTo>
                      <a:pt x="7041" y="1880"/>
                    </a:lnTo>
                    <a:lnTo>
                      <a:pt x="7048" y="1877"/>
                    </a:lnTo>
                    <a:lnTo>
                      <a:pt x="7052" y="1874"/>
                    </a:lnTo>
                    <a:lnTo>
                      <a:pt x="7024" y="1879"/>
                    </a:lnTo>
                    <a:lnTo>
                      <a:pt x="7052" y="1874"/>
                    </a:lnTo>
                    <a:lnTo>
                      <a:pt x="7054" y="1870"/>
                    </a:lnTo>
                    <a:lnTo>
                      <a:pt x="7057" y="1870"/>
                    </a:lnTo>
                    <a:lnTo>
                      <a:pt x="7048" y="1850"/>
                    </a:lnTo>
                    <a:lnTo>
                      <a:pt x="7034" y="1853"/>
                    </a:lnTo>
                    <a:lnTo>
                      <a:pt x="7031" y="1856"/>
                    </a:lnTo>
                    <a:lnTo>
                      <a:pt x="7041" y="1843"/>
                    </a:lnTo>
                    <a:lnTo>
                      <a:pt x="7034" y="1840"/>
                    </a:lnTo>
                    <a:lnTo>
                      <a:pt x="7034" y="1832"/>
                    </a:lnTo>
                    <a:lnTo>
                      <a:pt x="7038" y="1819"/>
                    </a:lnTo>
                    <a:lnTo>
                      <a:pt x="7034" y="1813"/>
                    </a:lnTo>
                    <a:lnTo>
                      <a:pt x="7022" y="1816"/>
                    </a:lnTo>
                    <a:lnTo>
                      <a:pt x="6999" y="1799"/>
                    </a:lnTo>
                    <a:lnTo>
                      <a:pt x="6996" y="1786"/>
                    </a:lnTo>
                    <a:lnTo>
                      <a:pt x="6982" y="1778"/>
                    </a:lnTo>
                    <a:lnTo>
                      <a:pt x="6975" y="1762"/>
                    </a:lnTo>
                    <a:lnTo>
                      <a:pt x="6971" y="1751"/>
                    </a:lnTo>
                    <a:lnTo>
                      <a:pt x="6966" y="1738"/>
                    </a:lnTo>
                    <a:lnTo>
                      <a:pt x="6952" y="1730"/>
                    </a:lnTo>
                    <a:lnTo>
                      <a:pt x="6943" y="1720"/>
                    </a:lnTo>
                    <a:lnTo>
                      <a:pt x="6936" y="1709"/>
                    </a:lnTo>
                    <a:lnTo>
                      <a:pt x="6936" y="1699"/>
                    </a:lnTo>
                    <a:lnTo>
                      <a:pt x="6929" y="1687"/>
                    </a:lnTo>
                    <a:lnTo>
                      <a:pt x="6932" y="1682"/>
                    </a:lnTo>
                    <a:lnTo>
                      <a:pt x="6939" y="1669"/>
                    </a:lnTo>
                    <a:lnTo>
                      <a:pt x="6939" y="1658"/>
                    </a:lnTo>
                    <a:lnTo>
                      <a:pt x="6945" y="1655"/>
                    </a:lnTo>
                    <a:lnTo>
                      <a:pt x="6943" y="1651"/>
                    </a:lnTo>
                    <a:lnTo>
                      <a:pt x="6945" y="1655"/>
                    </a:lnTo>
                    <a:lnTo>
                      <a:pt x="6955" y="1642"/>
                    </a:lnTo>
                    <a:lnTo>
                      <a:pt x="6969" y="1639"/>
                    </a:lnTo>
                    <a:lnTo>
                      <a:pt x="6982" y="1631"/>
                    </a:lnTo>
                    <a:lnTo>
                      <a:pt x="6982" y="1618"/>
                    </a:lnTo>
                    <a:lnTo>
                      <a:pt x="6989" y="1610"/>
                    </a:lnTo>
                    <a:lnTo>
                      <a:pt x="6985" y="1621"/>
                    </a:lnTo>
                    <a:lnTo>
                      <a:pt x="6985" y="1631"/>
                    </a:lnTo>
                    <a:lnTo>
                      <a:pt x="6971" y="1639"/>
                    </a:lnTo>
                    <a:lnTo>
                      <a:pt x="6969" y="1642"/>
                    </a:lnTo>
                    <a:lnTo>
                      <a:pt x="6959" y="1645"/>
                    </a:lnTo>
                    <a:lnTo>
                      <a:pt x="6948" y="1655"/>
                    </a:lnTo>
                    <a:lnTo>
                      <a:pt x="6943" y="1666"/>
                    </a:lnTo>
                    <a:lnTo>
                      <a:pt x="6939" y="1682"/>
                    </a:lnTo>
                    <a:lnTo>
                      <a:pt x="6936" y="1687"/>
                    </a:lnTo>
                    <a:lnTo>
                      <a:pt x="6936" y="1690"/>
                    </a:lnTo>
                    <a:lnTo>
                      <a:pt x="6943" y="1703"/>
                    </a:lnTo>
                    <a:lnTo>
                      <a:pt x="6943" y="1709"/>
                    </a:lnTo>
                    <a:lnTo>
                      <a:pt x="6966" y="1727"/>
                    </a:lnTo>
                    <a:lnTo>
                      <a:pt x="6975" y="1730"/>
                    </a:lnTo>
                    <a:lnTo>
                      <a:pt x="6989" y="1736"/>
                    </a:lnTo>
                    <a:lnTo>
                      <a:pt x="7008" y="1751"/>
                    </a:lnTo>
                    <a:lnTo>
                      <a:pt x="7022" y="1744"/>
                    </a:lnTo>
                    <a:lnTo>
                      <a:pt x="7045" y="1744"/>
                    </a:lnTo>
                    <a:lnTo>
                      <a:pt x="7052" y="1757"/>
                    </a:lnTo>
                    <a:lnTo>
                      <a:pt x="7045" y="1775"/>
                    </a:lnTo>
                    <a:lnTo>
                      <a:pt x="7048" y="1786"/>
                    </a:lnTo>
                    <a:lnTo>
                      <a:pt x="7057" y="1784"/>
                    </a:lnTo>
                    <a:lnTo>
                      <a:pt x="7064" y="1778"/>
                    </a:lnTo>
                    <a:lnTo>
                      <a:pt x="7068" y="1765"/>
                    </a:lnTo>
                    <a:lnTo>
                      <a:pt x="7075" y="1754"/>
                    </a:lnTo>
                    <a:lnTo>
                      <a:pt x="7082" y="1733"/>
                    </a:lnTo>
                    <a:lnTo>
                      <a:pt x="7087" y="1720"/>
                    </a:lnTo>
                    <a:lnTo>
                      <a:pt x="7082" y="1720"/>
                    </a:lnTo>
                    <a:lnTo>
                      <a:pt x="7082" y="1714"/>
                    </a:lnTo>
                    <a:lnTo>
                      <a:pt x="7091" y="1703"/>
                    </a:lnTo>
                    <a:lnTo>
                      <a:pt x="7105" y="1703"/>
                    </a:lnTo>
                    <a:lnTo>
                      <a:pt x="7098" y="1693"/>
                    </a:lnTo>
                    <a:lnTo>
                      <a:pt x="7105" y="1682"/>
                    </a:lnTo>
                    <a:lnTo>
                      <a:pt x="7101" y="1672"/>
                    </a:lnTo>
                    <a:lnTo>
                      <a:pt x="7110" y="1666"/>
                    </a:lnTo>
                    <a:lnTo>
                      <a:pt x="7114" y="1655"/>
                    </a:lnTo>
                    <a:lnTo>
                      <a:pt x="7121" y="1642"/>
                    </a:lnTo>
                    <a:lnTo>
                      <a:pt x="7128" y="1634"/>
                    </a:lnTo>
                    <a:lnTo>
                      <a:pt x="7121" y="1621"/>
                    </a:lnTo>
                    <a:lnTo>
                      <a:pt x="7124" y="1612"/>
                    </a:lnTo>
                    <a:lnTo>
                      <a:pt x="7121" y="1594"/>
                    </a:lnTo>
                    <a:lnTo>
                      <a:pt x="7117" y="1583"/>
                    </a:lnTo>
                    <a:lnTo>
                      <a:pt x="7121" y="1583"/>
                    </a:lnTo>
                    <a:lnTo>
                      <a:pt x="7124" y="1570"/>
                    </a:lnTo>
                    <a:lnTo>
                      <a:pt x="7131" y="1580"/>
                    </a:lnTo>
                    <a:lnTo>
                      <a:pt x="7128" y="1591"/>
                    </a:lnTo>
                    <a:lnTo>
                      <a:pt x="7131" y="1612"/>
                    </a:lnTo>
                    <a:lnTo>
                      <a:pt x="7135" y="1600"/>
                    </a:lnTo>
                    <a:lnTo>
                      <a:pt x="7131" y="1570"/>
                    </a:lnTo>
                    <a:lnTo>
                      <a:pt x="7128" y="1559"/>
                    </a:lnTo>
                    <a:lnTo>
                      <a:pt x="7128" y="1525"/>
                    </a:lnTo>
                    <a:lnTo>
                      <a:pt x="7124" y="1511"/>
                    </a:lnTo>
                    <a:lnTo>
                      <a:pt x="7098" y="1508"/>
                    </a:lnTo>
                    <a:lnTo>
                      <a:pt x="7087" y="1511"/>
                    </a:lnTo>
                    <a:lnTo>
                      <a:pt x="7078" y="1508"/>
                    </a:lnTo>
                    <a:lnTo>
                      <a:pt x="7078" y="1477"/>
                    </a:lnTo>
                    <a:lnTo>
                      <a:pt x="7084" y="1465"/>
                    </a:lnTo>
                    <a:lnTo>
                      <a:pt x="7087" y="1465"/>
                    </a:lnTo>
                    <a:lnTo>
                      <a:pt x="7101" y="1457"/>
                    </a:lnTo>
                    <a:lnTo>
                      <a:pt x="7098" y="1447"/>
                    </a:lnTo>
                    <a:lnTo>
                      <a:pt x="7105" y="1433"/>
                    </a:lnTo>
                    <a:lnTo>
                      <a:pt x="7105" y="1420"/>
                    </a:lnTo>
                    <a:lnTo>
                      <a:pt x="7105" y="1409"/>
                    </a:lnTo>
                    <a:lnTo>
                      <a:pt x="7105" y="1409"/>
                    </a:lnTo>
                    <a:lnTo>
                      <a:pt x="7094" y="1381"/>
                    </a:lnTo>
                    <a:lnTo>
                      <a:pt x="7084" y="1372"/>
                    </a:lnTo>
                    <a:lnTo>
                      <a:pt x="7082" y="1361"/>
                    </a:lnTo>
                    <a:lnTo>
                      <a:pt x="7084" y="1357"/>
                    </a:lnTo>
                    <a:lnTo>
                      <a:pt x="7087" y="1369"/>
                    </a:lnTo>
                    <a:lnTo>
                      <a:pt x="7098" y="1375"/>
                    </a:lnTo>
                    <a:lnTo>
                      <a:pt x="7105" y="1393"/>
                    </a:lnTo>
                    <a:lnTo>
                      <a:pt x="7108" y="1426"/>
                    </a:lnTo>
                    <a:lnTo>
                      <a:pt x="7101" y="1450"/>
                    </a:lnTo>
                    <a:lnTo>
                      <a:pt x="7108" y="1450"/>
                    </a:lnTo>
                    <a:lnTo>
                      <a:pt x="7105" y="1465"/>
                    </a:lnTo>
                    <a:lnTo>
                      <a:pt x="7105" y="1474"/>
                    </a:lnTo>
                    <a:lnTo>
                      <a:pt x="7108" y="1477"/>
                    </a:lnTo>
                    <a:lnTo>
                      <a:pt x="7131" y="1471"/>
                    </a:lnTo>
                    <a:lnTo>
                      <a:pt x="7117" y="1480"/>
                    </a:lnTo>
                    <a:lnTo>
                      <a:pt x="7144" y="1471"/>
                    </a:lnTo>
                    <a:lnTo>
                      <a:pt x="7188" y="1447"/>
                    </a:lnTo>
                    <a:lnTo>
                      <a:pt x="7191" y="1447"/>
                    </a:lnTo>
                    <a:lnTo>
                      <a:pt x="7207" y="1437"/>
                    </a:lnTo>
                    <a:lnTo>
                      <a:pt x="7217" y="1433"/>
                    </a:lnTo>
                    <a:lnTo>
                      <a:pt x="7244" y="1420"/>
                    </a:lnTo>
                    <a:lnTo>
                      <a:pt x="7256" y="1413"/>
                    </a:lnTo>
                    <a:lnTo>
                      <a:pt x="7270" y="1409"/>
                    </a:lnTo>
                    <a:lnTo>
                      <a:pt x="7279" y="1405"/>
                    </a:lnTo>
                    <a:lnTo>
                      <a:pt x="7302" y="1389"/>
                    </a:lnTo>
                    <a:lnTo>
                      <a:pt x="7306" y="1381"/>
                    </a:lnTo>
                    <a:lnTo>
                      <a:pt x="7320" y="1378"/>
                    </a:lnTo>
                    <a:lnTo>
                      <a:pt x="7342" y="1361"/>
                    </a:lnTo>
                    <a:lnTo>
                      <a:pt x="7357" y="1354"/>
                    </a:lnTo>
                    <a:lnTo>
                      <a:pt x="7372" y="1335"/>
                    </a:lnTo>
                    <a:lnTo>
                      <a:pt x="7358" y="1341"/>
                    </a:lnTo>
                    <a:lnTo>
                      <a:pt x="7350" y="1348"/>
                    </a:lnTo>
                    <a:lnTo>
                      <a:pt x="7342" y="1345"/>
                    </a:lnTo>
                    <a:lnTo>
                      <a:pt x="7332" y="1348"/>
                    </a:lnTo>
                    <a:lnTo>
                      <a:pt x="7320" y="1354"/>
                    </a:lnTo>
                    <a:lnTo>
                      <a:pt x="7302" y="1375"/>
                    </a:lnTo>
                    <a:lnTo>
                      <a:pt x="7297" y="1378"/>
                    </a:lnTo>
                    <a:lnTo>
                      <a:pt x="7283" y="1381"/>
                    </a:lnTo>
                    <a:lnTo>
                      <a:pt x="7293" y="1369"/>
                    </a:lnTo>
                    <a:lnTo>
                      <a:pt x="7306" y="1361"/>
                    </a:lnTo>
                    <a:lnTo>
                      <a:pt x="7306" y="1348"/>
                    </a:lnTo>
                    <a:lnTo>
                      <a:pt x="7316" y="1330"/>
                    </a:lnTo>
                    <a:lnTo>
                      <a:pt x="7279" y="1369"/>
                    </a:lnTo>
                    <a:lnTo>
                      <a:pt x="7256" y="1378"/>
                    </a:lnTo>
                    <a:lnTo>
                      <a:pt x="7219" y="1386"/>
                    </a:lnTo>
                    <a:lnTo>
                      <a:pt x="7210" y="1389"/>
                    </a:lnTo>
                    <a:lnTo>
                      <a:pt x="7203" y="1399"/>
                    </a:lnTo>
                    <a:lnTo>
                      <a:pt x="7191" y="1399"/>
                    </a:lnTo>
                    <a:lnTo>
                      <a:pt x="7166" y="1410"/>
                    </a:lnTo>
                    <a:lnTo>
                      <a:pt x="7158" y="1410"/>
                    </a:lnTo>
                    <a:lnTo>
                      <a:pt x="7144" y="1417"/>
                    </a:lnTo>
                    <a:lnTo>
                      <a:pt x="7147" y="1429"/>
                    </a:lnTo>
                    <a:lnTo>
                      <a:pt x="7135" y="1426"/>
                    </a:lnTo>
                    <a:lnTo>
                      <a:pt x="7131" y="1437"/>
                    </a:lnTo>
                    <a:lnTo>
                      <a:pt x="7108" y="1450"/>
                    </a:lnTo>
                    <a:lnTo>
                      <a:pt x="7110" y="1437"/>
                    </a:lnTo>
                    <a:lnTo>
                      <a:pt x="7124" y="1436"/>
                    </a:lnTo>
                    <a:lnTo>
                      <a:pt x="7128" y="1423"/>
                    </a:lnTo>
                    <a:lnTo>
                      <a:pt x="7137" y="1399"/>
                    </a:lnTo>
                    <a:lnTo>
                      <a:pt x="7136" y="1399"/>
                    </a:lnTo>
                    <a:lnTo>
                      <a:pt x="7128" y="1386"/>
                    </a:lnTo>
                    <a:lnTo>
                      <a:pt x="7128" y="1385"/>
                    </a:lnTo>
                    <a:lnTo>
                      <a:pt x="7128" y="1386"/>
                    </a:lnTo>
                    <a:lnTo>
                      <a:pt x="7137" y="1399"/>
                    </a:lnTo>
                    <a:lnTo>
                      <a:pt x="7151" y="1393"/>
                    </a:lnTo>
                    <a:lnTo>
                      <a:pt x="7173" y="1372"/>
                    </a:lnTo>
                    <a:lnTo>
                      <a:pt x="7188" y="1365"/>
                    </a:lnTo>
                    <a:lnTo>
                      <a:pt x="7193" y="1354"/>
                    </a:lnTo>
                    <a:lnTo>
                      <a:pt x="7200" y="1357"/>
                    </a:lnTo>
                    <a:lnTo>
                      <a:pt x="7219" y="1335"/>
                    </a:lnTo>
                    <a:lnTo>
                      <a:pt x="7233" y="1333"/>
                    </a:lnTo>
                    <a:lnTo>
                      <a:pt x="7244" y="1327"/>
                    </a:lnTo>
                    <a:lnTo>
                      <a:pt x="7256" y="1327"/>
                    </a:lnTo>
                    <a:lnTo>
                      <a:pt x="7263" y="1321"/>
                    </a:lnTo>
                    <a:lnTo>
                      <a:pt x="7300" y="1314"/>
                    </a:lnTo>
                    <a:lnTo>
                      <a:pt x="7300" y="1306"/>
                    </a:lnTo>
                    <a:lnTo>
                      <a:pt x="7297" y="1300"/>
                    </a:lnTo>
                    <a:lnTo>
                      <a:pt x="7302" y="1300"/>
                    </a:lnTo>
                    <a:lnTo>
                      <a:pt x="7302" y="1306"/>
                    </a:lnTo>
                    <a:lnTo>
                      <a:pt x="7316" y="1306"/>
                    </a:lnTo>
                    <a:lnTo>
                      <a:pt x="7339" y="1294"/>
                    </a:lnTo>
                    <a:lnTo>
                      <a:pt x="7362" y="1286"/>
                    </a:lnTo>
                    <a:lnTo>
                      <a:pt x="7372" y="1287"/>
                    </a:lnTo>
                    <a:lnTo>
                      <a:pt x="7369" y="1282"/>
                    </a:lnTo>
                    <a:lnTo>
                      <a:pt x="7369" y="1279"/>
                    </a:lnTo>
                    <a:lnTo>
                      <a:pt x="7372" y="1270"/>
                    </a:lnTo>
                    <a:lnTo>
                      <a:pt x="7369" y="1258"/>
                    </a:lnTo>
                    <a:lnTo>
                      <a:pt x="7369" y="1258"/>
                    </a:lnTo>
                    <a:lnTo>
                      <a:pt x="7369" y="1258"/>
                    </a:lnTo>
                    <a:lnTo>
                      <a:pt x="7372" y="1270"/>
                    </a:lnTo>
                    <a:lnTo>
                      <a:pt x="7369" y="1279"/>
                    </a:lnTo>
                    <a:lnTo>
                      <a:pt x="7369" y="1282"/>
                    </a:lnTo>
                    <a:lnTo>
                      <a:pt x="7372" y="1287"/>
                    </a:lnTo>
                    <a:lnTo>
                      <a:pt x="7383" y="1282"/>
                    </a:lnTo>
                    <a:lnTo>
                      <a:pt x="7418" y="1260"/>
                    </a:lnTo>
                    <a:lnTo>
                      <a:pt x="7418" y="1249"/>
                    </a:lnTo>
                    <a:lnTo>
                      <a:pt x="7415" y="1236"/>
                    </a:lnTo>
                    <a:lnTo>
                      <a:pt x="7415" y="1225"/>
                    </a:lnTo>
                    <a:lnTo>
                      <a:pt x="7406" y="1212"/>
                    </a:lnTo>
                    <a:lnTo>
                      <a:pt x="7411" y="1204"/>
                    </a:lnTo>
                    <a:lnTo>
                      <a:pt x="7409" y="1191"/>
                    </a:lnTo>
                    <a:lnTo>
                      <a:pt x="7418" y="1204"/>
                    </a:lnTo>
                    <a:lnTo>
                      <a:pt x="7422" y="1198"/>
                    </a:lnTo>
                    <a:lnTo>
                      <a:pt x="7425" y="1210"/>
                    </a:lnTo>
                    <a:lnTo>
                      <a:pt x="7432" y="1204"/>
                    </a:lnTo>
                    <a:lnTo>
                      <a:pt x="7441" y="1207"/>
                    </a:lnTo>
                    <a:lnTo>
                      <a:pt x="7445" y="1198"/>
                    </a:lnTo>
                    <a:lnTo>
                      <a:pt x="7441" y="1207"/>
                    </a:lnTo>
                    <a:lnTo>
                      <a:pt x="7452" y="1210"/>
                    </a:lnTo>
                    <a:lnTo>
                      <a:pt x="7459" y="1228"/>
                    </a:lnTo>
                    <a:lnTo>
                      <a:pt x="7459" y="1234"/>
                    </a:lnTo>
                    <a:lnTo>
                      <a:pt x="7466" y="1222"/>
                    </a:lnTo>
                    <a:lnTo>
                      <a:pt x="7478" y="1222"/>
                    </a:lnTo>
                    <a:lnTo>
                      <a:pt x="7485" y="1204"/>
                    </a:lnTo>
                    <a:lnTo>
                      <a:pt x="7497" y="1194"/>
                    </a:lnTo>
                    <a:lnTo>
                      <a:pt x="7501" y="1185"/>
                    </a:lnTo>
                    <a:lnTo>
                      <a:pt x="7515" y="1177"/>
                    </a:lnTo>
                    <a:lnTo>
                      <a:pt x="7515" y="1188"/>
                    </a:lnTo>
                    <a:lnTo>
                      <a:pt x="7522" y="1210"/>
                    </a:lnTo>
                    <a:lnTo>
                      <a:pt x="7534" y="1207"/>
                    </a:lnTo>
                    <a:lnTo>
                      <a:pt x="7545" y="1201"/>
                    </a:lnTo>
                    <a:lnTo>
                      <a:pt x="7548" y="1188"/>
                    </a:lnTo>
                    <a:lnTo>
                      <a:pt x="7554" y="1188"/>
                    </a:lnTo>
                    <a:lnTo>
                      <a:pt x="7587" y="1170"/>
                    </a:lnTo>
                    <a:lnTo>
                      <a:pt x="7605" y="1167"/>
                    </a:lnTo>
                    <a:lnTo>
                      <a:pt x="7610" y="1156"/>
                    </a:lnTo>
                    <a:lnTo>
                      <a:pt x="7605" y="1135"/>
                    </a:lnTo>
                    <a:lnTo>
                      <a:pt x="7587" y="1113"/>
                    </a:lnTo>
                    <a:lnTo>
                      <a:pt x="7575" y="1108"/>
                    </a:lnTo>
                    <a:lnTo>
                      <a:pt x="7561" y="1102"/>
                    </a:lnTo>
                    <a:lnTo>
                      <a:pt x="7548" y="1105"/>
                    </a:lnTo>
                    <a:lnTo>
                      <a:pt x="7561" y="1108"/>
                    </a:lnTo>
                    <a:lnTo>
                      <a:pt x="7575" y="1113"/>
                    </a:lnTo>
                    <a:lnTo>
                      <a:pt x="7580" y="1126"/>
                    </a:lnTo>
                    <a:lnTo>
                      <a:pt x="7591" y="1126"/>
                    </a:lnTo>
                    <a:lnTo>
                      <a:pt x="7598" y="1143"/>
                    </a:lnTo>
                    <a:lnTo>
                      <a:pt x="7584" y="1153"/>
                    </a:lnTo>
                    <a:lnTo>
                      <a:pt x="7561" y="1170"/>
                    </a:lnTo>
                    <a:lnTo>
                      <a:pt x="7548" y="1167"/>
                    </a:lnTo>
                    <a:lnTo>
                      <a:pt x="7538" y="1167"/>
                    </a:lnTo>
                    <a:lnTo>
                      <a:pt x="7527" y="1164"/>
                    </a:lnTo>
                    <a:lnTo>
                      <a:pt x="7519" y="1143"/>
                    </a:lnTo>
                    <a:lnTo>
                      <a:pt x="7504" y="1140"/>
                    </a:lnTo>
                    <a:lnTo>
                      <a:pt x="7494" y="1135"/>
                    </a:lnTo>
                    <a:lnTo>
                      <a:pt x="7494" y="1126"/>
                    </a:lnTo>
                    <a:lnTo>
                      <a:pt x="7504" y="1132"/>
                    </a:lnTo>
                    <a:lnTo>
                      <a:pt x="7494" y="1119"/>
                    </a:lnTo>
                    <a:lnTo>
                      <a:pt x="7471" y="1099"/>
                    </a:lnTo>
                    <a:lnTo>
                      <a:pt x="7459" y="1095"/>
                    </a:lnTo>
                    <a:lnTo>
                      <a:pt x="7445" y="1102"/>
                    </a:lnTo>
                    <a:lnTo>
                      <a:pt x="7436" y="1095"/>
                    </a:lnTo>
                    <a:lnTo>
                      <a:pt x="7425" y="1086"/>
                    </a:lnTo>
                    <a:lnTo>
                      <a:pt x="7439" y="1086"/>
                    </a:lnTo>
                    <a:lnTo>
                      <a:pt x="7436" y="1075"/>
                    </a:lnTo>
                    <a:lnTo>
                      <a:pt x="7445" y="1062"/>
                    </a:lnTo>
                    <a:lnTo>
                      <a:pt x="7441" y="1060"/>
                    </a:lnTo>
                    <a:lnTo>
                      <a:pt x="7448" y="1047"/>
                    </a:lnTo>
                    <a:lnTo>
                      <a:pt x="7471" y="1035"/>
                    </a:lnTo>
                    <a:lnTo>
                      <a:pt x="7475" y="1023"/>
                    </a:lnTo>
                    <a:lnTo>
                      <a:pt x="7462" y="1023"/>
                    </a:lnTo>
                    <a:lnTo>
                      <a:pt x="7466" y="1027"/>
                    </a:lnTo>
                    <a:lnTo>
                      <a:pt x="7452" y="1030"/>
                    </a:lnTo>
                    <a:lnTo>
                      <a:pt x="7441" y="1020"/>
                    </a:lnTo>
                    <a:lnTo>
                      <a:pt x="7439" y="1009"/>
                    </a:lnTo>
                    <a:lnTo>
                      <a:pt x="7429" y="1006"/>
                    </a:lnTo>
                    <a:lnTo>
                      <a:pt x="7432" y="993"/>
                    </a:lnTo>
                    <a:lnTo>
                      <a:pt x="7431" y="993"/>
                    </a:lnTo>
                    <a:lnTo>
                      <a:pt x="7431" y="993"/>
                    </a:lnTo>
                    <a:lnTo>
                      <a:pt x="7432" y="993"/>
                    </a:lnTo>
                    <a:lnTo>
                      <a:pt x="7432" y="985"/>
                    </a:lnTo>
                    <a:lnTo>
                      <a:pt x="7439" y="960"/>
                    </a:lnTo>
                    <a:lnTo>
                      <a:pt x="7432" y="958"/>
                    </a:lnTo>
                    <a:lnTo>
                      <a:pt x="7441" y="948"/>
                    </a:lnTo>
                    <a:lnTo>
                      <a:pt x="7445" y="936"/>
                    </a:lnTo>
                    <a:lnTo>
                      <a:pt x="7441" y="924"/>
                    </a:lnTo>
                    <a:lnTo>
                      <a:pt x="7441" y="912"/>
                    </a:lnTo>
                    <a:lnTo>
                      <a:pt x="7455" y="904"/>
                    </a:lnTo>
                    <a:lnTo>
                      <a:pt x="7466" y="883"/>
                    </a:lnTo>
                    <a:lnTo>
                      <a:pt x="7459" y="873"/>
                    </a:lnTo>
                    <a:lnTo>
                      <a:pt x="7475" y="849"/>
                    </a:lnTo>
                    <a:lnTo>
                      <a:pt x="7466" y="846"/>
                    </a:lnTo>
                    <a:lnTo>
                      <a:pt x="7466" y="836"/>
                    </a:lnTo>
                    <a:lnTo>
                      <a:pt x="7467" y="825"/>
                    </a:lnTo>
                    <a:lnTo>
                      <a:pt x="7489" y="801"/>
                    </a:lnTo>
                    <a:lnTo>
                      <a:pt x="7494" y="822"/>
                    </a:lnTo>
                    <a:lnTo>
                      <a:pt x="7501" y="809"/>
                    </a:lnTo>
                    <a:lnTo>
                      <a:pt x="7504" y="798"/>
                    </a:lnTo>
                    <a:lnTo>
                      <a:pt x="7508" y="801"/>
                    </a:lnTo>
                    <a:lnTo>
                      <a:pt x="7519" y="822"/>
                    </a:lnTo>
                    <a:lnTo>
                      <a:pt x="7522" y="809"/>
                    </a:lnTo>
                    <a:lnTo>
                      <a:pt x="7504" y="777"/>
                    </a:lnTo>
                    <a:lnTo>
                      <a:pt x="7501" y="781"/>
                    </a:lnTo>
                    <a:lnTo>
                      <a:pt x="7501" y="771"/>
                    </a:lnTo>
                    <a:lnTo>
                      <a:pt x="7508" y="760"/>
                    </a:lnTo>
                    <a:lnTo>
                      <a:pt x="7504" y="771"/>
                    </a:lnTo>
                    <a:lnTo>
                      <a:pt x="7524" y="808"/>
                    </a:lnTo>
                    <a:lnTo>
                      <a:pt x="7527" y="798"/>
                    </a:lnTo>
                    <a:lnTo>
                      <a:pt x="7519" y="785"/>
                    </a:lnTo>
                    <a:lnTo>
                      <a:pt x="7522" y="771"/>
                    </a:lnTo>
                    <a:lnTo>
                      <a:pt x="7527" y="768"/>
                    </a:lnTo>
                    <a:lnTo>
                      <a:pt x="7534" y="781"/>
                    </a:lnTo>
                    <a:lnTo>
                      <a:pt x="7531" y="789"/>
                    </a:lnTo>
                    <a:lnTo>
                      <a:pt x="7545" y="795"/>
                    </a:lnTo>
                    <a:lnTo>
                      <a:pt x="7538" y="774"/>
                    </a:lnTo>
                    <a:lnTo>
                      <a:pt x="7538" y="761"/>
                    </a:lnTo>
                    <a:lnTo>
                      <a:pt x="7541" y="760"/>
                    </a:lnTo>
                    <a:lnTo>
                      <a:pt x="7541" y="771"/>
                    </a:lnTo>
                    <a:lnTo>
                      <a:pt x="7545" y="784"/>
                    </a:lnTo>
                    <a:lnTo>
                      <a:pt x="7554" y="789"/>
                    </a:lnTo>
                    <a:lnTo>
                      <a:pt x="7554" y="777"/>
                    </a:lnTo>
                    <a:lnTo>
                      <a:pt x="7554" y="765"/>
                    </a:lnTo>
                    <a:lnTo>
                      <a:pt x="7557" y="757"/>
                    </a:lnTo>
                    <a:lnTo>
                      <a:pt x="7571" y="757"/>
                    </a:lnTo>
                    <a:lnTo>
                      <a:pt x="7584" y="761"/>
                    </a:lnTo>
                    <a:lnTo>
                      <a:pt x="7587" y="750"/>
                    </a:lnTo>
                    <a:lnTo>
                      <a:pt x="7598" y="737"/>
                    </a:lnTo>
                    <a:lnTo>
                      <a:pt x="7594" y="726"/>
                    </a:lnTo>
                    <a:lnTo>
                      <a:pt x="7594" y="713"/>
                    </a:lnTo>
                    <a:lnTo>
                      <a:pt x="7594" y="705"/>
                    </a:lnTo>
                    <a:lnTo>
                      <a:pt x="7598" y="693"/>
                    </a:lnTo>
                    <a:lnTo>
                      <a:pt x="7598" y="681"/>
                    </a:lnTo>
                    <a:lnTo>
                      <a:pt x="7591" y="672"/>
                    </a:lnTo>
                    <a:lnTo>
                      <a:pt x="7607" y="662"/>
                    </a:lnTo>
                    <a:lnTo>
                      <a:pt x="7605" y="645"/>
                    </a:lnTo>
                    <a:lnTo>
                      <a:pt x="7614" y="654"/>
                    </a:lnTo>
                    <a:lnTo>
                      <a:pt x="7614" y="666"/>
                    </a:lnTo>
                    <a:lnTo>
                      <a:pt x="7624" y="662"/>
                    </a:lnTo>
                    <a:lnTo>
                      <a:pt x="7624" y="675"/>
                    </a:lnTo>
                    <a:lnTo>
                      <a:pt x="7617" y="681"/>
                    </a:lnTo>
                    <a:lnTo>
                      <a:pt x="7640" y="681"/>
                    </a:lnTo>
                    <a:lnTo>
                      <a:pt x="7659" y="686"/>
                    </a:lnTo>
                    <a:lnTo>
                      <a:pt x="7651" y="675"/>
                    </a:lnTo>
                    <a:lnTo>
                      <a:pt x="7651" y="666"/>
                    </a:lnTo>
                    <a:lnTo>
                      <a:pt x="7654" y="654"/>
                    </a:lnTo>
                    <a:lnTo>
                      <a:pt x="7651" y="645"/>
                    </a:lnTo>
                    <a:lnTo>
                      <a:pt x="7663" y="654"/>
                    </a:lnTo>
                    <a:lnTo>
                      <a:pt x="7673" y="645"/>
                    </a:lnTo>
                    <a:lnTo>
                      <a:pt x="7670" y="634"/>
                    </a:lnTo>
                    <a:lnTo>
                      <a:pt x="7703" y="642"/>
                    </a:lnTo>
                    <a:lnTo>
                      <a:pt x="7710" y="654"/>
                    </a:lnTo>
                    <a:lnTo>
                      <a:pt x="7716" y="642"/>
                    </a:lnTo>
                    <a:lnTo>
                      <a:pt x="7710" y="634"/>
                    </a:lnTo>
                    <a:lnTo>
                      <a:pt x="7719" y="627"/>
                    </a:lnTo>
                    <a:lnTo>
                      <a:pt x="7723" y="635"/>
                    </a:lnTo>
                    <a:lnTo>
                      <a:pt x="7723" y="627"/>
                    </a:lnTo>
                    <a:lnTo>
                      <a:pt x="7726" y="635"/>
                    </a:lnTo>
                    <a:lnTo>
                      <a:pt x="7730" y="627"/>
                    </a:lnTo>
                    <a:lnTo>
                      <a:pt x="7726" y="614"/>
                    </a:lnTo>
                    <a:lnTo>
                      <a:pt x="7733" y="603"/>
                    </a:lnTo>
                    <a:lnTo>
                      <a:pt x="7742" y="614"/>
                    </a:lnTo>
                    <a:lnTo>
                      <a:pt x="7749" y="614"/>
                    </a:lnTo>
                    <a:lnTo>
                      <a:pt x="7753" y="603"/>
                    </a:lnTo>
                    <a:lnTo>
                      <a:pt x="7763" y="603"/>
                    </a:lnTo>
                    <a:lnTo>
                      <a:pt x="7763" y="594"/>
                    </a:lnTo>
                    <a:lnTo>
                      <a:pt x="7772" y="587"/>
                    </a:lnTo>
                    <a:lnTo>
                      <a:pt x="7776" y="587"/>
                    </a:lnTo>
                    <a:lnTo>
                      <a:pt x="7776" y="582"/>
                    </a:lnTo>
                    <a:lnTo>
                      <a:pt x="7786" y="582"/>
                    </a:lnTo>
                    <a:lnTo>
                      <a:pt x="7779" y="573"/>
                    </a:lnTo>
                    <a:lnTo>
                      <a:pt x="7798" y="573"/>
                    </a:lnTo>
                    <a:lnTo>
                      <a:pt x="7809" y="566"/>
                    </a:lnTo>
                    <a:lnTo>
                      <a:pt x="7823" y="546"/>
                    </a:lnTo>
                    <a:lnTo>
                      <a:pt x="7823" y="534"/>
                    </a:lnTo>
                    <a:lnTo>
                      <a:pt x="7809" y="525"/>
                    </a:lnTo>
                    <a:lnTo>
                      <a:pt x="7813" y="528"/>
                    </a:lnTo>
                    <a:lnTo>
                      <a:pt x="7805" y="539"/>
                    </a:lnTo>
                    <a:lnTo>
                      <a:pt x="7793" y="531"/>
                    </a:lnTo>
                    <a:lnTo>
                      <a:pt x="7809" y="512"/>
                    </a:lnTo>
                    <a:lnTo>
                      <a:pt x="7786" y="491"/>
                    </a:lnTo>
                    <a:lnTo>
                      <a:pt x="7786" y="488"/>
                    </a:lnTo>
                    <a:lnTo>
                      <a:pt x="7783" y="488"/>
                    </a:lnTo>
                    <a:lnTo>
                      <a:pt x="7776" y="485"/>
                    </a:lnTo>
                    <a:lnTo>
                      <a:pt x="7767" y="485"/>
                    </a:lnTo>
                    <a:lnTo>
                      <a:pt x="7756" y="498"/>
                    </a:lnTo>
                    <a:lnTo>
                      <a:pt x="7742" y="485"/>
                    </a:lnTo>
                    <a:lnTo>
                      <a:pt x="7737" y="474"/>
                    </a:lnTo>
                    <a:lnTo>
                      <a:pt x="7737" y="464"/>
                    </a:lnTo>
                    <a:lnTo>
                      <a:pt x="7726" y="453"/>
                    </a:lnTo>
                    <a:lnTo>
                      <a:pt x="7723" y="443"/>
                    </a:lnTo>
                    <a:lnTo>
                      <a:pt x="7726" y="432"/>
                    </a:lnTo>
                    <a:lnTo>
                      <a:pt x="7719" y="426"/>
                    </a:lnTo>
                    <a:lnTo>
                      <a:pt x="7707" y="429"/>
                    </a:lnTo>
                    <a:lnTo>
                      <a:pt x="7696" y="429"/>
                    </a:lnTo>
                    <a:lnTo>
                      <a:pt x="7684" y="423"/>
                    </a:lnTo>
                    <a:lnTo>
                      <a:pt x="7670" y="423"/>
                    </a:lnTo>
                    <a:lnTo>
                      <a:pt x="7666" y="413"/>
                    </a:lnTo>
                    <a:lnTo>
                      <a:pt x="7666" y="405"/>
                    </a:lnTo>
                    <a:lnTo>
                      <a:pt x="7659" y="392"/>
                    </a:lnTo>
                    <a:lnTo>
                      <a:pt x="7659" y="381"/>
                    </a:lnTo>
                    <a:lnTo>
                      <a:pt x="7647" y="344"/>
                    </a:lnTo>
                    <a:lnTo>
                      <a:pt x="7594" y="200"/>
                    </a:lnTo>
                    <a:lnTo>
                      <a:pt x="7584" y="197"/>
                    </a:lnTo>
                    <a:lnTo>
                      <a:pt x="7557" y="183"/>
                    </a:lnTo>
                    <a:lnTo>
                      <a:pt x="7534" y="173"/>
                    </a:lnTo>
                    <a:lnTo>
                      <a:pt x="7522" y="170"/>
                    </a:lnTo>
                    <a:lnTo>
                      <a:pt x="7508" y="173"/>
                    </a:lnTo>
                    <a:lnTo>
                      <a:pt x="7497" y="184"/>
                    </a:lnTo>
                    <a:lnTo>
                      <a:pt x="7485" y="191"/>
                    </a:lnTo>
                    <a:lnTo>
                      <a:pt x="7475" y="204"/>
                    </a:lnTo>
                    <a:lnTo>
                      <a:pt x="7466" y="207"/>
                    </a:lnTo>
                    <a:lnTo>
                      <a:pt x="7452" y="218"/>
                    </a:lnTo>
                    <a:lnTo>
                      <a:pt x="7439" y="215"/>
                    </a:lnTo>
                    <a:lnTo>
                      <a:pt x="7425" y="207"/>
                    </a:lnTo>
                    <a:lnTo>
                      <a:pt x="7418" y="183"/>
                    </a:lnTo>
                    <a:lnTo>
                      <a:pt x="7406" y="183"/>
                    </a:lnTo>
                    <a:lnTo>
                      <a:pt x="7395" y="184"/>
                    </a:lnTo>
                    <a:lnTo>
                      <a:pt x="7339" y="335"/>
                    </a:lnTo>
                    <a:lnTo>
                      <a:pt x="7346" y="381"/>
                    </a:lnTo>
                    <a:lnTo>
                      <a:pt x="7335" y="395"/>
                    </a:lnTo>
                    <a:lnTo>
                      <a:pt x="7328" y="429"/>
                    </a:lnTo>
                    <a:lnTo>
                      <a:pt x="7335" y="440"/>
                    </a:lnTo>
                    <a:lnTo>
                      <a:pt x="7335" y="461"/>
                    </a:lnTo>
                    <a:lnTo>
                      <a:pt x="7350" y="471"/>
                    </a:lnTo>
                    <a:lnTo>
                      <a:pt x="7332" y="495"/>
                    </a:lnTo>
                    <a:lnTo>
                      <a:pt x="7339" y="504"/>
                    </a:lnTo>
                    <a:lnTo>
                      <a:pt x="7320" y="525"/>
                    </a:lnTo>
                    <a:lnTo>
                      <a:pt x="7313" y="536"/>
                    </a:lnTo>
                    <a:lnTo>
                      <a:pt x="7309" y="549"/>
                    </a:lnTo>
                    <a:lnTo>
                      <a:pt x="7309" y="552"/>
                    </a:lnTo>
                    <a:lnTo>
                      <a:pt x="7320" y="573"/>
                    </a:lnTo>
                    <a:lnTo>
                      <a:pt x="7309" y="566"/>
                    </a:lnTo>
                    <a:lnTo>
                      <a:pt x="7306" y="570"/>
                    </a:lnTo>
                    <a:lnTo>
                      <a:pt x="7302" y="579"/>
                    </a:lnTo>
                    <a:lnTo>
                      <a:pt x="7306" y="590"/>
                    </a:lnTo>
                    <a:lnTo>
                      <a:pt x="7293" y="594"/>
                    </a:lnTo>
                    <a:lnTo>
                      <a:pt x="7283" y="590"/>
                    </a:lnTo>
                    <a:lnTo>
                      <a:pt x="7274" y="600"/>
                    </a:lnTo>
                    <a:lnTo>
                      <a:pt x="7260" y="611"/>
                    </a:lnTo>
                    <a:lnTo>
                      <a:pt x="7249" y="610"/>
                    </a:lnTo>
                    <a:lnTo>
                      <a:pt x="7237" y="618"/>
                    </a:lnTo>
                    <a:lnTo>
                      <a:pt x="7237" y="627"/>
                    </a:lnTo>
                    <a:lnTo>
                      <a:pt x="7233" y="651"/>
                    </a:lnTo>
                    <a:lnTo>
                      <a:pt x="7233" y="659"/>
                    </a:lnTo>
                    <a:lnTo>
                      <a:pt x="7233" y="662"/>
                    </a:lnTo>
                    <a:lnTo>
                      <a:pt x="7233" y="662"/>
                    </a:lnTo>
                    <a:lnTo>
                      <a:pt x="7041" y="709"/>
                    </a:lnTo>
                    <a:lnTo>
                      <a:pt x="7001" y="718"/>
                    </a:lnTo>
                    <a:lnTo>
                      <a:pt x="6996" y="716"/>
                    </a:lnTo>
                    <a:lnTo>
                      <a:pt x="6994" y="720"/>
                    </a:lnTo>
                    <a:lnTo>
                      <a:pt x="6902" y="744"/>
                    </a:lnTo>
                    <a:lnTo>
                      <a:pt x="6816" y="760"/>
                    </a:lnTo>
                    <a:lnTo>
                      <a:pt x="6806" y="760"/>
                    </a:lnTo>
                    <a:lnTo>
                      <a:pt x="6779" y="771"/>
                    </a:lnTo>
                    <a:lnTo>
                      <a:pt x="6737" y="813"/>
                    </a:lnTo>
                    <a:lnTo>
                      <a:pt x="6700" y="873"/>
                    </a:lnTo>
                    <a:lnTo>
                      <a:pt x="6700" y="884"/>
                    </a:lnTo>
                    <a:lnTo>
                      <a:pt x="6681" y="910"/>
                    </a:lnTo>
                    <a:lnTo>
                      <a:pt x="6677" y="915"/>
                    </a:lnTo>
                    <a:lnTo>
                      <a:pt x="6665" y="928"/>
                    </a:lnTo>
                    <a:lnTo>
                      <a:pt x="6640" y="948"/>
                    </a:lnTo>
                    <a:lnTo>
                      <a:pt x="6640" y="958"/>
                    </a:lnTo>
                    <a:lnTo>
                      <a:pt x="6651" y="966"/>
                    </a:lnTo>
                    <a:lnTo>
                      <a:pt x="6654" y="972"/>
                    </a:lnTo>
                    <a:lnTo>
                      <a:pt x="6651" y="960"/>
                    </a:lnTo>
                    <a:lnTo>
                      <a:pt x="6665" y="955"/>
                    </a:lnTo>
                    <a:lnTo>
                      <a:pt x="6665" y="972"/>
                    </a:lnTo>
                    <a:lnTo>
                      <a:pt x="6681" y="963"/>
                    </a:lnTo>
                    <a:lnTo>
                      <a:pt x="6674" y="976"/>
                    </a:lnTo>
                    <a:lnTo>
                      <a:pt x="6670" y="985"/>
                    </a:lnTo>
                    <a:lnTo>
                      <a:pt x="6661" y="990"/>
                    </a:lnTo>
                    <a:lnTo>
                      <a:pt x="6670" y="1011"/>
                    </a:lnTo>
                    <a:lnTo>
                      <a:pt x="6674" y="1020"/>
                    </a:lnTo>
                    <a:lnTo>
                      <a:pt x="6677" y="1030"/>
                    </a:lnTo>
                    <a:lnTo>
                      <a:pt x="6681" y="1041"/>
                    </a:lnTo>
                    <a:lnTo>
                      <a:pt x="6670" y="1054"/>
                    </a:lnTo>
                    <a:lnTo>
                      <a:pt x="6658" y="1054"/>
                    </a:lnTo>
                    <a:lnTo>
                      <a:pt x="6644" y="1065"/>
                    </a:lnTo>
                    <a:lnTo>
                      <a:pt x="6631" y="1075"/>
                    </a:lnTo>
                    <a:lnTo>
                      <a:pt x="6624" y="1086"/>
                    </a:lnTo>
                    <a:lnTo>
                      <a:pt x="6614" y="1099"/>
                    </a:lnTo>
                    <a:lnTo>
                      <a:pt x="6601" y="1105"/>
                    </a:lnTo>
                    <a:lnTo>
                      <a:pt x="6594" y="1113"/>
                    </a:lnTo>
                    <a:lnTo>
                      <a:pt x="6585" y="1110"/>
                    </a:lnTo>
                    <a:lnTo>
                      <a:pt x="6559" y="1113"/>
                    </a:lnTo>
                    <a:lnTo>
                      <a:pt x="6534" y="1116"/>
                    </a:lnTo>
                    <a:lnTo>
                      <a:pt x="6508" y="1132"/>
                    </a:lnTo>
                    <a:lnTo>
                      <a:pt x="6478" y="1119"/>
                    </a:lnTo>
                    <a:lnTo>
                      <a:pt x="6429" y="1119"/>
                    </a:lnTo>
                    <a:lnTo>
                      <a:pt x="6383" y="1129"/>
                    </a:lnTo>
                    <a:lnTo>
                      <a:pt x="6357" y="1137"/>
                    </a:lnTo>
                    <a:lnTo>
                      <a:pt x="6346" y="1147"/>
                    </a:lnTo>
                    <a:lnTo>
                      <a:pt x="6334" y="1150"/>
                    </a:lnTo>
                    <a:lnTo>
                      <a:pt x="6320" y="1156"/>
                    </a:lnTo>
                    <a:lnTo>
                      <a:pt x="6311" y="1161"/>
                    </a:lnTo>
                    <a:lnTo>
                      <a:pt x="6316" y="1183"/>
                    </a:lnTo>
                    <a:lnTo>
                      <a:pt x="6313" y="1191"/>
                    </a:lnTo>
                    <a:lnTo>
                      <a:pt x="6339" y="1194"/>
                    </a:lnTo>
                    <a:lnTo>
                      <a:pt x="6339" y="1201"/>
                    </a:lnTo>
                    <a:lnTo>
                      <a:pt x="6337" y="1207"/>
                    </a:lnTo>
                    <a:lnTo>
                      <a:pt x="6350" y="1231"/>
                    </a:lnTo>
                    <a:lnTo>
                      <a:pt x="6350" y="1242"/>
                    </a:lnTo>
                    <a:lnTo>
                      <a:pt x="6330" y="1263"/>
                    </a:lnTo>
                    <a:lnTo>
                      <a:pt x="6323" y="1276"/>
                    </a:lnTo>
                    <a:lnTo>
                      <a:pt x="6313" y="1286"/>
                    </a:lnTo>
                    <a:lnTo>
                      <a:pt x="6300" y="1300"/>
                    </a:lnTo>
                    <a:lnTo>
                      <a:pt x="6281" y="1321"/>
                    </a:lnTo>
                    <a:lnTo>
                      <a:pt x="6255" y="1348"/>
                    </a:lnTo>
                    <a:lnTo>
                      <a:pt x="6247" y="1351"/>
                    </a:lnTo>
                    <a:lnTo>
                      <a:pt x="6247" y="1351"/>
                    </a:lnTo>
                    <a:lnTo>
                      <a:pt x="6207" y="1378"/>
                    </a:lnTo>
                    <a:lnTo>
                      <a:pt x="6207" y="1375"/>
                    </a:lnTo>
                    <a:lnTo>
                      <a:pt x="6195" y="1386"/>
                    </a:lnTo>
                    <a:lnTo>
                      <a:pt x="6172" y="1405"/>
                    </a:lnTo>
                    <a:lnTo>
                      <a:pt x="6154" y="1413"/>
                    </a:lnTo>
                    <a:lnTo>
                      <a:pt x="6082" y="1453"/>
                    </a:lnTo>
                    <a:lnTo>
                      <a:pt x="6059" y="1468"/>
                    </a:lnTo>
                    <a:lnTo>
                      <a:pt x="6045" y="1477"/>
                    </a:lnTo>
                    <a:lnTo>
                      <a:pt x="6034" y="1485"/>
                    </a:lnTo>
                    <a:lnTo>
                      <a:pt x="6022" y="1504"/>
                    </a:lnTo>
                    <a:lnTo>
                      <a:pt x="5999" y="1522"/>
                    </a:lnTo>
                    <a:lnTo>
                      <a:pt x="5976" y="1525"/>
                    </a:lnTo>
                    <a:lnTo>
                      <a:pt x="5962" y="1525"/>
                    </a:lnTo>
                    <a:lnTo>
                      <a:pt x="5936" y="1535"/>
                    </a:lnTo>
                    <a:lnTo>
                      <a:pt x="5925" y="1543"/>
                    </a:lnTo>
                    <a:lnTo>
                      <a:pt x="5913" y="1546"/>
                    </a:lnTo>
                    <a:lnTo>
                      <a:pt x="5902" y="1556"/>
                    </a:lnTo>
                    <a:lnTo>
                      <a:pt x="5890" y="1552"/>
                    </a:lnTo>
                    <a:lnTo>
                      <a:pt x="5876" y="1546"/>
                    </a:lnTo>
                    <a:lnTo>
                      <a:pt x="5850" y="1546"/>
                    </a:lnTo>
                    <a:lnTo>
                      <a:pt x="5841" y="1556"/>
                    </a:lnTo>
                    <a:lnTo>
                      <a:pt x="5827" y="1556"/>
                    </a:lnTo>
                    <a:lnTo>
                      <a:pt x="5841" y="1543"/>
                    </a:lnTo>
                    <a:lnTo>
                      <a:pt x="5860" y="1540"/>
                    </a:lnTo>
                    <a:lnTo>
                      <a:pt x="5846" y="1528"/>
                    </a:lnTo>
                    <a:lnTo>
                      <a:pt x="5837" y="1540"/>
                    </a:lnTo>
                    <a:lnTo>
                      <a:pt x="5823" y="1536"/>
                    </a:lnTo>
                    <a:lnTo>
                      <a:pt x="5811" y="1528"/>
                    </a:lnTo>
                    <a:lnTo>
                      <a:pt x="5793" y="1525"/>
                    </a:lnTo>
                    <a:lnTo>
                      <a:pt x="5784" y="1522"/>
                    </a:lnTo>
                    <a:lnTo>
                      <a:pt x="5758" y="1519"/>
                    </a:lnTo>
                    <a:lnTo>
                      <a:pt x="5755" y="1512"/>
                    </a:lnTo>
                    <a:lnTo>
                      <a:pt x="5755" y="1512"/>
                    </a:lnTo>
                    <a:lnTo>
                      <a:pt x="5760" y="1492"/>
                    </a:lnTo>
                    <a:lnTo>
                      <a:pt x="5784" y="1460"/>
                    </a:lnTo>
                    <a:lnTo>
                      <a:pt x="5784" y="1426"/>
                    </a:lnTo>
                    <a:lnTo>
                      <a:pt x="5788" y="1413"/>
                    </a:lnTo>
                    <a:lnTo>
                      <a:pt x="5790" y="1410"/>
                    </a:lnTo>
                    <a:lnTo>
                      <a:pt x="5790" y="1409"/>
                    </a:lnTo>
                    <a:lnTo>
                      <a:pt x="5807" y="1399"/>
                    </a:lnTo>
                    <a:lnTo>
                      <a:pt x="5814" y="1386"/>
                    </a:lnTo>
                    <a:lnTo>
                      <a:pt x="5814" y="1362"/>
                    </a:lnTo>
                    <a:lnTo>
                      <a:pt x="5823" y="1354"/>
                    </a:lnTo>
                    <a:lnTo>
                      <a:pt x="5823" y="1345"/>
                    </a:lnTo>
                    <a:lnTo>
                      <a:pt x="5837" y="1338"/>
                    </a:lnTo>
                    <a:lnTo>
                      <a:pt x="5843" y="1345"/>
                    </a:lnTo>
                    <a:lnTo>
                      <a:pt x="5846" y="1357"/>
                    </a:lnTo>
                    <a:lnTo>
                      <a:pt x="5843" y="1361"/>
                    </a:lnTo>
                    <a:lnTo>
                      <a:pt x="5853" y="1357"/>
                    </a:lnTo>
                    <a:lnTo>
                      <a:pt x="5860" y="1345"/>
                    </a:lnTo>
                    <a:lnTo>
                      <a:pt x="5864" y="1321"/>
                    </a:lnTo>
                    <a:lnTo>
                      <a:pt x="5860" y="1311"/>
                    </a:lnTo>
                    <a:lnTo>
                      <a:pt x="5860" y="1287"/>
                    </a:lnTo>
                    <a:lnTo>
                      <a:pt x="5864" y="1286"/>
                    </a:lnTo>
                    <a:lnTo>
                      <a:pt x="5864" y="1276"/>
                    </a:lnTo>
                    <a:lnTo>
                      <a:pt x="5850" y="1258"/>
                    </a:lnTo>
                    <a:lnTo>
                      <a:pt x="5843" y="1246"/>
                    </a:lnTo>
                    <a:lnTo>
                      <a:pt x="5837" y="1222"/>
                    </a:lnTo>
                    <a:lnTo>
                      <a:pt x="5830" y="1201"/>
                    </a:lnTo>
                    <a:lnTo>
                      <a:pt x="5823" y="1188"/>
                    </a:lnTo>
                    <a:lnTo>
                      <a:pt x="5811" y="1147"/>
                    </a:lnTo>
                    <a:lnTo>
                      <a:pt x="5797" y="1126"/>
                    </a:lnTo>
                    <a:lnTo>
                      <a:pt x="5784" y="1113"/>
                    </a:lnTo>
                    <a:lnTo>
                      <a:pt x="5774" y="1110"/>
                    </a:lnTo>
                    <a:lnTo>
                      <a:pt x="5760" y="1108"/>
                    </a:lnTo>
                    <a:lnTo>
                      <a:pt x="5740" y="1119"/>
                    </a:lnTo>
                    <a:lnTo>
                      <a:pt x="5732" y="1126"/>
                    </a:lnTo>
                    <a:lnTo>
                      <a:pt x="5718" y="1135"/>
                    </a:lnTo>
                    <a:lnTo>
                      <a:pt x="5705" y="1137"/>
                    </a:lnTo>
                    <a:lnTo>
                      <a:pt x="5707" y="1150"/>
                    </a:lnTo>
                    <a:lnTo>
                      <a:pt x="5702" y="1167"/>
                    </a:lnTo>
                    <a:lnTo>
                      <a:pt x="5691" y="1177"/>
                    </a:lnTo>
                    <a:lnTo>
                      <a:pt x="5684" y="1188"/>
                    </a:lnTo>
                    <a:lnTo>
                      <a:pt x="5675" y="1201"/>
                    </a:lnTo>
                    <a:lnTo>
                      <a:pt x="5665" y="1194"/>
                    </a:lnTo>
                    <a:lnTo>
                      <a:pt x="5651" y="1194"/>
                    </a:lnTo>
                    <a:lnTo>
                      <a:pt x="5635" y="1183"/>
                    </a:lnTo>
                    <a:lnTo>
                      <a:pt x="5635" y="1164"/>
                    </a:lnTo>
                    <a:lnTo>
                      <a:pt x="5638" y="1140"/>
                    </a:lnTo>
                    <a:lnTo>
                      <a:pt x="5649" y="1135"/>
                    </a:lnTo>
                    <a:lnTo>
                      <a:pt x="5661" y="1132"/>
                    </a:lnTo>
                    <a:lnTo>
                      <a:pt x="5675" y="1113"/>
                    </a:lnTo>
                    <a:lnTo>
                      <a:pt x="5675" y="1092"/>
                    </a:lnTo>
                    <a:lnTo>
                      <a:pt x="5677" y="1081"/>
                    </a:lnTo>
                    <a:lnTo>
                      <a:pt x="5691" y="1075"/>
                    </a:lnTo>
                    <a:lnTo>
                      <a:pt x="5702" y="1065"/>
                    </a:lnTo>
                    <a:lnTo>
                      <a:pt x="5698" y="1030"/>
                    </a:lnTo>
                    <a:lnTo>
                      <a:pt x="5698" y="1009"/>
                    </a:lnTo>
                    <a:lnTo>
                      <a:pt x="5691" y="985"/>
                    </a:lnTo>
                    <a:lnTo>
                      <a:pt x="5688" y="976"/>
                    </a:lnTo>
                    <a:lnTo>
                      <a:pt x="5675" y="966"/>
                    </a:lnTo>
                    <a:lnTo>
                      <a:pt x="5668" y="958"/>
                    </a:lnTo>
                    <a:lnTo>
                      <a:pt x="5672" y="942"/>
                    </a:lnTo>
                    <a:lnTo>
                      <a:pt x="5684" y="942"/>
                    </a:lnTo>
                    <a:lnTo>
                      <a:pt x="5684" y="931"/>
                    </a:lnTo>
                    <a:lnTo>
                      <a:pt x="5677" y="928"/>
                    </a:lnTo>
                    <a:lnTo>
                      <a:pt x="5668" y="915"/>
                    </a:lnTo>
                    <a:lnTo>
                      <a:pt x="5665" y="907"/>
                    </a:lnTo>
                    <a:lnTo>
                      <a:pt x="5651" y="897"/>
                    </a:lnTo>
                    <a:lnTo>
                      <a:pt x="5638" y="897"/>
                    </a:lnTo>
                    <a:lnTo>
                      <a:pt x="5624" y="891"/>
                    </a:lnTo>
                    <a:lnTo>
                      <a:pt x="5601" y="884"/>
                    </a:lnTo>
                    <a:lnTo>
                      <a:pt x="5589" y="880"/>
                    </a:lnTo>
                    <a:lnTo>
                      <a:pt x="5575" y="880"/>
                    </a:lnTo>
                    <a:lnTo>
                      <a:pt x="5566" y="876"/>
                    </a:lnTo>
                    <a:lnTo>
                      <a:pt x="5559" y="867"/>
                    </a:lnTo>
                    <a:lnTo>
                      <a:pt x="5545" y="860"/>
                    </a:lnTo>
                    <a:lnTo>
                      <a:pt x="5536" y="859"/>
                    </a:lnTo>
                    <a:lnTo>
                      <a:pt x="5522" y="859"/>
                    </a:lnTo>
                    <a:lnTo>
                      <a:pt x="5512" y="859"/>
                    </a:lnTo>
                    <a:lnTo>
                      <a:pt x="5499" y="852"/>
                    </a:lnTo>
                    <a:lnTo>
                      <a:pt x="5489" y="849"/>
                    </a:lnTo>
                    <a:lnTo>
                      <a:pt x="5476" y="840"/>
                    </a:lnTo>
                    <a:lnTo>
                      <a:pt x="5466" y="849"/>
                    </a:lnTo>
                    <a:lnTo>
                      <a:pt x="5453" y="856"/>
                    </a:lnTo>
                    <a:lnTo>
                      <a:pt x="5446" y="867"/>
                    </a:lnTo>
                    <a:lnTo>
                      <a:pt x="5436" y="880"/>
                    </a:lnTo>
                    <a:lnTo>
                      <a:pt x="5436" y="891"/>
                    </a:lnTo>
                    <a:lnTo>
                      <a:pt x="5439" y="900"/>
                    </a:lnTo>
                    <a:lnTo>
                      <a:pt x="5453" y="910"/>
                    </a:lnTo>
                    <a:lnTo>
                      <a:pt x="5453" y="918"/>
                    </a:lnTo>
                    <a:lnTo>
                      <a:pt x="5436" y="918"/>
                    </a:lnTo>
                    <a:lnTo>
                      <a:pt x="5424" y="924"/>
                    </a:lnTo>
                    <a:lnTo>
                      <a:pt x="5413" y="934"/>
                    </a:lnTo>
                    <a:lnTo>
                      <a:pt x="5402" y="942"/>
                    </a:lnTo>
                    <a:lnTo>
                      <a:pt x="5409" y="979"/>
                    </a:lnTo>
                    <a:lnTo>
                      <a:pt x="5409" y="990"/>
                    </a:lnTo>
                    <a:lnTo>
                      <a:pt x="5406" y="999"/>
                    </a:lnTo>
                    <a:lnTo>
                      <a:pt x="5402" y="1011"/>
                    </a:lnTo>
                    <a:lnTo>
                      <a:pt x="5394" y="1023"/>
                    </a:lnTo>
                    <a:lnTo>
                      <a:pt x="5397" y="1011"/>
                    </a:lnTo>
                    <a:lnTo>
                      <a:pt x="5397" y="990"/>
                    </a:lnTo>
                    <a:lnTo>
                      <a:pt x="5394" y="990"/>
                    </a:lnTo>
                    <a:lnTo>
                      <a:pt x="5390" y="1014"/>
                    </a:lnTo>
                    <a:lnTo>
                      <a:pt x="5380" y="1023"/>
                    </a:lnTo>
                    <a:lnTo>
                      <a:pt x="5380" y="1014"/>
                    </a:lnTo>
                    <a:lnTo>
                      <a:pt x="5383" y="1003"/>
                    </a:lnTo>
                    <a:lnTo>
                      <a:pt x="5376" y="990"/>
                    </a:lnTo>
                    <a:lnTo>
                      <a:pt x="5380" y="985"/>
                    </a:lnTo>
                    <a:lnTo>
                      <a:pt x="5383" y="952"/>
                    </a:lnTo>
                    <a:lnTo>
                      <a:pt x="5374" y="960"/>
                    </a:lnTo>
                    <a:lnTo>
                      <a:pt x="5367" y="972"/>
                    </a:lnTo>
                    <a:lnTo>
                      <a:pt x="5360" y="982"/>
                    </a:lnTo>
                    <a:lnTo>
                      <a:pt x="5357" y="993"/>
                    </a:lnTo>
                    <a:lnTo>
                      <a:pt x="5350" y="1003"/>
                    </a:lnTo>
                    <a:lnTo>
                      <a:pt x="5337" y="999"/>
                    </a:lnTo>
                    <a:lnTo>
                      <a:pt x="5320" y="1020"/>
                    </a:lnTo>
                    <a:lnTo>
                      <a:pt x="5323" y="1030"/>
                    </a:lnTo>
                    <a:lnTo>
                      <a:pt x="5314" y="1041"/>
                    </a:lnTo>
                    <a:lnTo>
                      <a:pt x="5300" y="1051"/>
                    </a:lnTo>
                    <a:lnTo>
                      <a:pt x="5307" y="1071"/>
                    </a:lnTo>
                    <a:lnTo>
                      <a:pt x="5304" y="1089"/>
                    </a:lnTo>
                    <a:lnTo>
                      <a:pt x="5307" y="1102"/>
                    </a:lnTo>
                    <a:lnTo>
                      <a:pt x="5307" y="1113"/>
                    </a:lnTo>
                    <a:lnTo>
                      <a:pt x="5293" y="1147"/>
                    </a:lnTo>
                    <a:lnTo>
                      <a:pt x="5281" y="1156"/>
                    </a:lnTo>
                    <a:lnTo>
                      <a:pt x="5281" y="1167"/>
                    </a:lnTo>
                    <a:lnTo>
                      <a:pt x="5288" y="1177"/>
                    </a:lnTo>
                    <a:lnTo>
                      <a:pt x="5297" y="1210"/>
                    </a:lnTo>
                    <a:lnTo>
                      <a:pt x="5292" y="1222"/>
                    </a:lnTo>
                    <a:lnTo>
                      <a:pt x="5284" y="1234"/>
                    </a:lnTo>
                    <a:lnTo>
                      <a:pt x="5288" y="1242"/>
                    </a:lnTo>
                    <a:lnTo>
                      <a:pt x="5320" y="1303"/>
                    </a:lnTo>
                    <a:lnTo>
                      <a:pt x="5334" y="1297"/>
                    </a:lnTo>
                    <a:lnTo>
                      <a:pt x="5323" y="1310"/>
                    </a:lnTo>
                    <a:lnTo>
                      <a:pt x="5341" y="1341"/>
                    </a:lnTo>
                    <a:lnTo>
                      <a:pt x="5350" y="1386"/>
                    </a:lnTo>
                    <a:lnTo>
                      <a:pt x="5350" y="1420"/>
                    </a:lnTo>
                    <a:lnTo>
                      <a:pt x="5341" y="1460"/>
                    </a:lnTo>
                    <a:lnTo>
                      <a:pt x="5337" y="1471"/>
                    </a:lnTo>
                    <a:lnTo>
                      <a:pt x="5323" y="1492"/>
                    </a:lnTo>
                    <a:lnTo>
                      <a:pt x="5314" y="1525"/>
                    </a:lnTo>
                    <a:lnTo>
                      <a:pt x="5307" y="1536"/>
                    </a:lnTo>
                    <a:lnTo>
                      <a:pt x="5300" y="1549"/>
                    </a:lnTo>
                    <a:lnTo>
                      <a:pt x="5288" y="1559"/>
                    </a:lnTo>
                    <a:lnTo>
                      <a:pt x="5284" y="1560"/>
                    </a:lnTo>
                    <a:lnTo>
                      <a:pt x="5284" y="1560"/>
                    </a:lnTo>
                    <a:lnTo>
                      <a:pt x="5258" y="1580"/>
                    </a:lnTo>
                    <a:lnTo>
                      <a:pt x="5235" y="1591"/>
                    </a:lnTo>
                    <a:lnTo>
                      <a:pt x="5221" y="1594"/>
                    </a:lnTo>
                    <a:lnTo>
                      <a:pt x="5205" y="1591"/>
                    </a:lnTo>
                    <a:lnTo>
                      <a:pt x="5188" y="1580"/>
                    </a:lnTo>
                    <a:lnTo>
                      <a:pt x="5175" y="1560"/>
                    </a:lnTo>
                    <a:lnTo>
                      <a:pt x="5172" y="1552"/>
                    </a:lnTo>
                    <a:lnTo>
                      <a:pt x="5165" y="1540"/>
                    </a:lnTo>
                    <a:lnTo>
                      <a:pt x="5161" y="1522"/>
                    </a:lnTo>
                    <a:lnTo>
                      <a:pt x="5152" y="1512"/>
                    </a:lnTo>
                    <a:lnTo>
                      <a:pt x="5138" y="1492"/>
                    </a:lnTo>
                    <a:lnTo>
                      <a:pt x="5135" y="1484"/>
                    </a:lnTo>
                    <a:lnTo>
                      <a:pt x="5135" y="1460"/>
                    </a:lnTo>
                    <a:lnTo>
                      <a:pt x="5135" y="1450"/>
                    </a:lnTo>
                    <a:lnTo>
                      <a:pt x="5135" y="1450"/>
                    </a:lnTo>
                    <a:lnTo>
                      <a:pt x="5131" y="1426"/>
                    </a:lnTo>
                    <a:lnTo>
                      <a:pt x="5135" y="1413"/>
                    </a:lnTo>
                    <a:lnTo>
                      <a:pt x="5135" y="1405"/>
                    </a:lnTo>
                    <a:lnTo>
                      <a:pt x="5131" y="1393"/>
                    </a:lnTo>
                    <a:lnTo>
                      <a:pt x="5123" y="1381"/>
                    </a:lnTo>
                    <a:lnTo>
                      <a:pt x="5123" y="1372"/>
                    </a:lnTo>
                    <a:lnTo>
                      <a:pt x="5112" y="1361"/>
                    </a:lnTo>
                    <a:lnTo>
                      <a:pt x="5115" y="1351"/>
                    </a:lnTo>
                    <a:lnTo>
                      <a:pt x="5108" y="1324"/>
                    </a:lnTo>
                    <a:lnTo>
                      <a:pt x="5108" y="1303"/>
                    </a:lnTo>
                    <a:lnTo>
                      <a:pt x="5119" y="1282"/>
                    </a:lnTo>
                    <a:lnTo>
                      <a:pt x="5115" y="1270"/>
                    </a:lnTo>
                    <a:lnTo>
                      <a:pt x="5119" y="1258"/>
                    </a:lnTo>
                    <a:lnTo>
                      <a:pt x="5126" y="1246"/>
                    </a:lnTo>
                    <a:lnTo>
                      <a:pt x="5126" y="1236"/>
                    </a:lnTo>
                    <a:lnTo>
                      <a:pt x="5119" y="1212"/>
                    </a:lnTo>
                    <a:lnTo>
                      <a:pt x="5119" y="1201"/>
                    </a:lnTo>
                    <a:lnTo>
                      <a:pt x="5126" y="1180"/>
                    </a:lnTo>
                    <a:lnTo>
                      <a:pt x="5131" y="1167"/>
                    </a:lnTo>
                    <a:lnTo>
                      <a:pt x="5142" y="1159"/>
                    </a:lnTo>
                    <a:lnTo>
                      <a:pt x="5145" y="1153"/>
                    </a:lnTo>
                    <a:lnTo>
                      <a:pt x="5135" y="1132"/>
                    </a:lnTo>
                    <a:lnTo>
                      <a:pt x="5138" y="1119"/>
                    </a:lnTo>
                    <a:lnTo>
                      <a:pt x="5142" y="1099"/>
                    </a:lnTo>
                    <a:lnTo>
                      <a:pt x="5154" y="1065"/>
                    </a:lnTo>
                    <a:lnTo>
                      <a:pt x="5154" y="1057"/>
                    </a:lnTo>
                    <a:lnTo>
                      <a:pt x="5152" y="1044"/>
                    </a:lnTo>
                    <a:lnTo>
                      <a:pt x="5138" y="1035"/>
                    </a:lnTo>
                    <a:lnTo>
                      <a:pt x="5128" y="1041"/>
                    </a:lnTo>
                    <a:lnTo>
                      <a:pt x="5115" y="1047"/>
                    </a:lnTo>
                    <a:lnTo>
                      <a:pt x="5108" y="1057"/>
                    </a:lnTo>
                    <a:lnTo>
                      <a:pt x="5105" y="1068"/>
                    </a:lnTo>
                    <a:lnTo>
                      <a:pt x="5100" y="1081"/>
                    </a:lnTo>
                    <a:lnTo>
                      <a:pt x="5086" y="1089"/>
                    </a:lnTo>
                    <a:lnTo>
                      <a:pt x="5079" y="1099"/>
                    </a:lnTo>
                    <a:lnTo>
                      <a:pt x="5070" y="1099"/>
                    </a:lnTo>
                    <a:lnTo>
                      <a:pt x="5066" y="1086"/>
                    </a:lnTo>
                    <a:lnTo>
                      <a:pt x="5070" y="1075"/>
                    </a:lnTo>
                    <a:lnTo>
                      <a:pt x="5079" y="1051"/>
                    </a:lnTo>
                    <a:lnTo>
                      <a:pt x="5086" y="1038"/>
                    </a:lnTo>
                    <a:lnTo>
                      <a:pt x="5089" y="1030"/>
                    </a:lnTo>
                    <a:lnTo>
                      <a:pt x="5100" y="1023"/>
                    </a:lnTo>
                    <a:lnTo>
                      <a:pt x="5112" y="1017"/>
                    </a:lnTo>
                    <a:lnTo>
                      <a:pt x="5112" y="1009"/>
                    </a:lnTo>
                    <a:lnTo>
                      <a:pt x="5115" y="999"/>
                    </a:lnTo>
                    <a:lnTo>
                      <a:pt x="5115" y="987"/>
                    </a:lnTo>
                    <a:lnTo>
                      <a:pt x="5128" y="969"/>
                    </a:lnTo>
                    <a:lnTo>
                      <a:pt x="5145" y="936"/>
                    </a:lnTo>
                    <a:lnTo>
                      <a:pt x="5152" y="915"/>
                    </a:lnTo>
                    <a:lnTo>
                      <a:pt x="5158" y="904"/>
                    </a:lnTo>
                    <a:lnTo>
                      <a:pt x="5168" y="891"/>
                    </a:lnTo>
                    <a:lnTo>
                      <a:pt x="5175" y="870"/>
                    </a:lnTo>
                    <a:lnTo>
                      <a:pt x="5184" y="856"/>
                    </a:lnTo>
                    <a:lnTo>
                      <a:pt x="5179" y="867"/>
                    </a:lnTo>
                    <a:lnTo>
                      <a:pt x="5184" y="876"/>
                    </a:lnTo>
                    <a:lnTo>
                      <a:pt x="5191" y="888"/>
                    </a:lnTo>
                    <a:lnTo>
                      <a:pt x="5202" y="880"/>
                    </a:lnTo>
                    <a:lnTo>
                      <a:pt x="5205" y="873"/>
                    </a:lnTo>
                    <a:lnTo>
                      <a:pt x="5218" y="860"/>
                    </a:lnTo>
                    <a:lnTo>
                      <a:pt x="5228" y="856"/>
                    </a:lnTo>
                    <a:lnTo>
                      <a:pt x="5240" y="859"/>
                    </a:lnTo>
                    <a:lnTo>
                      <a:pt x="5237" y="870"/>
                    </a:lnTo>
                    <a:lnTo>
                      <a:pt x="5228" y="880"/>
                    </a:lnTo>
                    <a:lnTo>
                      <a:pt x="5221" y="891"/>
                    </a:lnTo>
                    <a:lnTo>
                      <a:pt x="5235" y="894"/>
                    </a:lnTo>
                    <a:lnTo>
                      <a:pt x="5240" y="883"/>
                    </a:lnTo>
                    <a:lnTo>
                      <a:pt x="5255" y="870"/>
                    </a:lnTo>
                    <a:lnTo>
                      <a:pt x="5265" y="860"/>
                    </a:lnTo>
                    <a:lnTo>
                      <a:pt x="5267" y="849"/>
                    </a:lnTo>
                    <a:lnTo>
                      <a:pt x="5274" y="840"/>
                    </a:lnTo>
                    <a:lnTo>
                      <a:pt x="5284" y="835"/>
                    </a:lnTo>
                    <a:lnTo>
                      <a:pt x="5297" y="832"/>
                    </a:lnTo>
                    <a:lnTo>
                      <a:pt x="5307" y="835"/>
                    </a:lnTo>
                    <a:lnTo>
                      <a:pt x="5330" y="825"/>
                    </a:lnTo>
                    <a:lnTo>
                      <a:pt x="5344" y="825"/>
                    </a:lnTo>
                    <a:lnTo>
                      <a:pt x="5357" y="819"/>
                    </a:lnTo>
                    <a:lnTo>
                      <a:pt x="5367" y="805"/>
                    </a:lnTo>
                    <a:lnTo>
                      <a:pt x="5390" y="801"/>
                    </a:lnTo>
                    <a:lnTo>
                      <a:pt x="5402" y="805"/>
                    </a:lnTo>
                    <a:lnTo>
                      <a:pt x="5413" y="801"/>
                    </a:lnTo>
                    <a:lnTo>
                      <a:pt x="5439" y="809"/>
                    </a:lnTo>
                    <a:lnTo>
                      <a:pt x="5462" y="829"/>
                    </a:lnTo>
                    <a:lnTo>
                      <a:pt x="5476" y="835"/>
                    </a:lnTo>
                    <a:lnTo>
                      <a:pt x="5476" y="813"/>
                    </a:lnTo>
                    <a:lnTo>
                      <a:pt x="5480" y="801"/>
                    </a:lnTo>
                    <a:lnTo>
                      <a:pt x="5489" y="798"/>
                    </a:lnTo>
                    <a:lnTo>
                      <a:pt x="5503" y="805"/>
                    </a:lnTo>
                    <a:lnTo>
                      <a:pt x="5515" y="801"/>
                    </a:lnTo>
                    <a:lnTo>
                      <a:pt x="5571" y="801"/>
                    </a:lnTo>
                    <a:lnTo>
                      <a:pt x="5582" y="798"/>
                    </a:lnTo>
                    <a:lnTo>
                      <a:pt x="5575" y="789"/>
                    </a:lnTo>
                    <a:lnTo>
                      <a:pt x="5563" y="784"/>
                    </a:lnTo>
                    <a:lnTo>
                      <a:pt x="5563" y="774"/>
                    </a:lnTo>
                    <a:lnTo>
                      <a:pt x="5549" y="768"/>
                    </a:lnTo>
                    <a:lnTo>
                      <a:pt x="5545" y="768"/>
                    </a:lnTo>
                    <a:lnTo>
                      <a:pt x="5536" y="760"/>
                    </a:lnTo>
                    <a:lnTo>
                      <a:pt x="5536" y="747"/>
                    </a:lnTo>
                    <a:lnTo>
                      <a:pt x="5529" y="737"/>
                    </a:lnTo>
                    <a:lnTo>
                      <a:pt x="5522" y="726"/>
                    </a:lnTo>
                    <a:lnTo>
                      <a:pt x="5512" y="713"/>
                    </a:lnTo>
                    <a:lnTo>
                      <a:pt x="5503" y="717"/>
                    </a:lnTo>
                    <a:lnTo>
                      <a:pt x="5503" y="720"/>
                    </a:lnTo>
                    <a:lnTo>
                      <a:pt x="5496" y="729"/>
                    </a:lnTo>
                    <a:lnTo>
                      <a:pt x="5483" y="733"/>
                    </a:lnTo>
                    <a:lnTo>
                      <a:pt x="5476" y="723"/>
                    </a:lnTo>
                    <a:lnTo>
                      <a:pt x="5453" y="733"/>
                    </a:lnTo>
                    <a:lnTo>
                      <a:pt x="5427" y="729"/>
                    </a:lnTo>
                    <a:lnTo>
                      <a:pt x="5424" y="720"/>
                    </a:lnTo>
                    <a:lnTo>
                      <a:pt x="5420" y="678"/>
                    </a:lnTo>
                    <a:lnTo>
                      <a:pt x="5397" y="685"/>
                    </a:lnTo>
                    <a:lnTo>
                      <a:pt x="5387" y="686"/>
                    </a:lnTo>
                    <a:lnTo>
                      <a:pt x="5364" y="699"/>
                    </a:lnTo>
                    <a:lnTo>
                      <a:pt x="5350" y="702"/>
                    </a:lnTo>
                    <a:lnTo>
                      <a:pt x="5300" y="705"/>
                    </a:lnTo>
                    <a:lnTo>
                      <a:pt x="5292" y="710"/>
                    </a:lnTo>
                    <a:lnTo>
                      <a:pt x="5270" y="713"/>
                    </a:lnTo>
                    <a:lnTo>
                      <a:pt x="5258" y="726"/>
                    </a:lnTo>
                    <a:lnTo>
                      <a:pt x="5235" y="737"/>
                    </a:lnTo>
                    <a:lnTo>
                      <a:pt x="5214" y="761"/>
                    </a:lnTo>
                    <a:lnTo>
                      <a:pt x="5205" y="757"/>
                    </a:lnTo>
                    <a:lnTo>
                      <a:pt x="5191" y="760"/>
                    </a:lnTo>
                    <a:lnTo>
                      <a:pt x="5179" y="757"/>
                    </a:lnTo>
                    <a:lnTo>
                      <a:pt x="5168" y="747"/>
                    </a:lnTo>
                    <a:lnTo>
                      <a:pt x="5138" y="757"/>
                    </a:lnTo>
                    <a:lnTo>
                      <a:pt x="5128" y="757"/>
                    </a:lnTo>
                    <a:lnTo>
                      <a:pt x="5115" y="750"/>
                    </a:lnTo>
                    <a:lnTo>
                      <a:pt x="5108" y="741"/>
                    </a:lnTo>
                    <a:lnTo>
                      <a:pt x="5086" y="720"/>
                    </a:lnTo>
                    <a:lnTo>
                      <a:pt x="5079" y="709"/>
                    </a:lnTo>
                    <a:lnTo>
                      <a:pt x="5070" y="705"/>
                    </a:lnTo>
                    <a:lnTo>
                      <a:pt x="5056" y="696"/>
                    </a:lnTo>
                    <a:lnTo>
                      <a:pt x="5043" y="693"/>
                    </a:lnTo>
                    <a:lnTo>
                      <a:pt x="5019" y="693"/>
                    </a:lnTo>
                    <a:lnTo>
                      <a:pt x="5006" y="696"/>
                    </a:lnTo>
                    <a:lnTo>
                      <a:pt x="4999" y="709"/>
                    </a:lnTo>
                    <a:lnTo>
                      <a:pt x="4992" y="710"/>
                    </a:lnTo>
                    <a:lnTo>
                      <a:pt x="5003" y="689"/>
                    </a:lnTo>
                    <a:lnTo>
                      <a:pt x="4992" y="699"/>
                    </a:lnTo>
                    <a:lnTo>
                      <a:pt x="4980" y="705"/>
                    </a:lnTo>
                    <a:lnTo>
                      <a:pt x="4976" y="717"/>
                    </a:lnTo>
                    <a:lnTo>
                      <a:pt x="4973" y="720"/>
                    </a:lnTo>
                    <a:lnTo>
                      <a:pt x="4969" y="710"/>
                    </a:lnTo>
                    <a:lnTo>
                      <a:pt x="4969" y="686"/>
                    </a:lnTo>
                    <a:lnTo>
                      <a:pt x="4950" y="666"/>
                    </a:lnTo>
                    <a:lnTo>
                      <a:pt x="4943" y="662"/>
                    </a:lnTo>
                    <a:lnTo>
                      <a:pt x="4934" y="651"/>
                    </a:lnTo>
                    <a:lnTo>
                      <a:pt x="4909" y="678"/>
                    </a:lnTo>
                    <a:lnTo>
                      <a:pt x="4904" y="686"/>
                    </a:lnTo>
                    <a:lnTo>
                      <a:pt x="4878" y="696"/>
                    </a:lnTo>
                    <a:lnTo>
                      <a:pt x="4864" y="709"/>
                    </a:lnTo>
                    <a:lnTo>
                      <a:pt x="4853" y="717"/>
                    </a:lnTo>
                    <a:lnTo>
                      <a:pt x="4841" y="720"/>
                    </a:lnTo>
                    <a:lnTo>
                      <a:pt x="4827" y="723"/>
                    </a:lnTo>
                    <a:lnTo>
                      <a:pt x="4818" y="726"/>
                    </a:lnTo>
                    <a:lnTo>
                      <a:pt x="4804" y="726"/>
                    </a:lnTo>
                    <a:lnTo>
                      <a:pt x="4792" y="733"/>
                    </a:lnTo>
                    <a:lnTo>
                      <a:pt x="4769" y="753"/>
                    </a:lnTo>
                    <a:lnTo>
                      <a:pt x="4732" y="768"/>
                    </a:lnTo>
                    <a:lnTo>
                      <a:pt x="4721" y="774"/>
                    </a:lnTo>
                    <a:lnTo>
                      <a:pt x="4702" y="774"/>
                    </a:lnTo>
                    <a:lnTo>
                      <a:pt x="4688" y="768"/>
                    </a:lnTo>
                    <a:lnTo>
                      <a:pt x="4675" y="765"/>
                    </a:lnTo>
                    <a:lnTo>
                      <a:pt x="4665" y="771"/>
                    </a:lnTo>
                    <a:lnTo>
                      <a:pt x="4652" y="771"/>
                    </a:lnTo>
                    <a:lnTo>
                      <a:pt x="4656" y="765"/>
                    </a:lnTo>
                    <a:lnTo>
                      <a:pt x="4658" y="753"/>
                    </a:lnTo>
                    <a:lnTo>
                      <a:pt x="4658" y="744"/>
                    </a:lnTo>
                    <a:lnTo>
                      <a:pt x="4668" y="733"/>
                    </a:lnTo>
                    <a:lnTo>
                      <a:pt x="4668" y="720"/>
                    </a:lnTo>
                    <a:lnTo>
                      <a:pt x="4658" y="710"/>
                    </a:lnTo>
                    <a:lnTo>
                      <a:pt x="4642" y="720"/>
                    </a:lnTo>
                    <a:lnTo>
                      <a:pt x="4630" y="726"/>
                    </a:lnTo>
                    <a:lnTo>
                      <a:pt x="4619" y="733"/>
                    </a:lnTo>
                    <a:lnTo>
                      <a:pt x="4605" y="737"/>
                    </a:lnTo>
                    <a:lnTo>
                      <a:pt x="4582" y="750"/>
                    </a:lnTo>
                    <a:lnTo>
                      <a:pt x="4533" y="765"/>
                    </a:lnTo>
                    <a:lnTo>
                      <a:pt x="4522" y="768"/>
                    </a:lnTo>
                    <a:lnTo>
                      <a:pt x="4510" y="765"/>
                    </a:lnTo>
                    <a:lnTo>
                      <a:pt x="4496" y="757"/>
                    </a:lnTo>
                    <a:lnTo>
                      <a:pt x="4494" y="760"/>
                    </a:lnTo>
                    <a:lnTo>
                      <a:pt x="4491" y="761"/>
                    </a:lnTo>
                    <a:lnTo>
                      <a:pt x="4487" y="774"/>
                    </a:lnTo>
                    <a:lnTo>
                      <a:pt x="4491" y="761"/>
                    </a:lnTo>
                    <a:lnTo>
                      <a:pt x="4494" y="760"/>
                    </a:lnTo>
                    <a:lnTo>
                      <a:pt x="4496" y="757"/>
                    </a:lnTo>
                    <a:lnTo>
                      <a:pt x="4503" y="747"/>
                    </a:lnTo>
                    <a:lnTo>
                      <a:pt x="4540" y="720"/>
                    </a:lnTo>
                    <a:lnTo>
                      <a:pt x="4549" y="710"/>
                    </a:lnTo>
                    <a:lnTo>
                      <a:pt x="4559" y="702"/>
                    </a:lnTo>
                    <a:lnTo>
                      <a:pt x="4570" y="693"/>
                    </a:lnTo>
                    <a:lnTo>
                      <a:pt x="4603" y="659"/>
                    </a:lnTo>
                    <a:lnTo>
                      <a:pt x="4615" y="642"/>
                    </a:lnTo>
                    <a:lnTo>
                      <a:pt x="4661" y="600"/>
                    </a:lnTo>
                    <a:lnTo>
                      <a:pt x="4698" y="582"/>
                    </a:lnTo>
                    <a:lnTo>
                      <a:pt x="4721" y="573"/>
                    </a:lnTo>
                    <a:lnTo>
                      <a:pt x="4735" y="566"/>
                    </a:lnTo>
                    <a:lnTo>
                      <a:pt x="4774" y="549"/>
                    </a:lnTo>
                    <a:lnTo>
                      <a:pt x="4785" y="542"/>
                    </a:lnTo>
                    <a:lnTo>
                      <a:pt x="4797" y="534"/>
                    </a:lnTo>
                    <a:lnTo>
                      <a:pt x="4807" y="525"/>
                    </a:lnTo>
                    <a:lnTo>
                      <a:pt x="4781" y="525"/>
                    </a:lnTo>
                    <a:lnTo>
                      <a:pt x="4769" y="531"/>
                    </a:lnTo>
                    <a:lnTo>
                      <a:pt x="4755" y="525"/>
                    </a:lnTo>
                    <a:lnTo>
                      <a:pt x="4755" y="522"/>
                    </a:lnTo>
                    <a:lnTo>
                      <a:pt x="4740" y="509"/>
                    </a:lnTo>
                    <a:lnTo>
                      <a:pt x="4718" y="512"/>
                    </a:lnTo>
                    <a:lnTo>
                      <a:pt x="4705" y="515"/>
                    </a:lnTo>
                    <a:lnTo>
                      <a:pt x="4682" y="515"/>
                    </a:lnTo>
                    <a:lnTo>
                      <a:pt x="4668" y="518"/>
                    </a:lnTo>
                    <a:lnTo>
                      <a:pt x="4656" y="518"/>
                    </a:lnTo>
                    <a:lnTo>
                      <a:pt x="4652" y="507"/>
                    </a:lnTo>
                    <a:lnTo>
                      <a:pt x="4645" y="504"/>
                    </a:lnTo>
                    <a:lnTo>
                      <a:pt x="4645" y="498"/>
                    </a:lnTo>
                    <a:lnTo>
                      <a:pt x="4631" y="498"/>
                    </a:lnTo>
                    <a:lnTo>
                      <a:pt x="4608" y="512"/>
                    </a:lnTo>
                    <a:lnTo>
                      <a:pt x="4600" y="525"/>
                    </a:lnTo>
                    <a:lnTo>
                      <a:pt x="4573" y="534"/>
                    </a:lnTo>
                    <a:lnTo>
                      <a:pt x="4559" y="534"/>
                    </a:lnTo>
                    <a:lnTo>
                      <a:pt x="4536" y="522"/>
                    </a:lnTo>
                    <a:lnTo>
                      <a:pt x="4533" y="512"/>
                    </a:lnTo>
                    <a:lnTo>
                      <a:pt x="4499" y="501"/>
                    </a:lnTo>
                    <a:lnTo>
                      <a:pt x="4494" y="488"/>
                    </a:lnTo>
                    <a:lnTo>
                      <a:pt x="4480" y="485"/>
                    </a:lnTo>
                    <a:lnTo>
                      <a:pt x="4464" y="488"/>
                    </a:lnTo>
                    <a:lnTo>
                      <a:pt x="4461" y="504"/>
                    </a:lnTo>
                    <a:lnTo>
                      <a:pt x="4446" y="501"/>
                    </a:lnTo>
                    <a:lnTo>
                      <a:pt x="4439" y="491"/>
                    </a:lnTo>
                    <a:lnTo>
                      <a:pt x="4438" y="483"/>
                    </a:lnTo>
                    <a:lnTo>
                      <a:pt x="4427" y="471"/>
                    </a:lnTo>
                    <a:lnTo>
                      <a:pt x="4413" y="474"/>
                    </a:lnTo>
                    <a:lnTo>
                      <a:pt x="4417" y="461"/>
                    </a:lnTo>
                    <a:lnTo>
                      <a:pt x="4367" y="443"/>
                    </a:lnTo>
                    <a:lnTo>
                      <a:pt x="4341" y="443"/>
                    </a:lnTo>
                    <a:lnTo>
                      <a:pt x="4330" y="443"/>
                    </a:lnTo>
                    <a:lnTo>
                      <a:pt x="4325" y="447"/>
                    </a:lnTo>
                    <a:lnTo>
                      <a:pt x="4322" y="447"/>
                    </a:lnTo>
                    <a:lnTo>
                      <a:pt x="4314" y="450"/>
                    </a:lnTo>
                    <a:lnTo>
                      <a:pt x="4307" y="459"/>
                    </a:lnTo>
                    <a:lnTo>
                      <a:pt x="4277" y="464"/>
                    </a:lnTo>
                    <a:lnTo>
                      <a:pt x="4265" y="459"/>
                    </a:lnTo>
                    <a:lnTo>
                      <a:pt x="4262" y="450"/>
                    </a:lnTo>
                    <a:lnTo>
                      <a:pt x="4209" y="443"/>
                    </a:lnTo>
                    <a:lnTo>
                      <a:pt x="4195" y="434"/>
                    </a:lnTo>
                    <a:lnTo>
                      <a:pt x="4172" y="434"/>
                    </a:lnTo>
                    <a:lnTo>
                      <a:pt x="4160" y="432"/>
                    </a:lnTo>
                    <a:lnTo>
                      <a:pt x="4149" y="423"/>
                    </a:lnTo>
                    <a:lnTo>
                      <a:pt x="4152" y="405"/>
                    </a:lnTo>
                    <a:lnTo>
                      <a:pt x="4138" y="375"/>
                    </a:lnTo>
                    <a:lnTo>
                      <a:pt x="4133" y="338"/>
                    </a:lnTo>
                    <a:lnTo>
                      <a:pt x="4123" y="330"/>
                    </a:lnTo>
                    <a:lnTo>
                      <a:pt x="4100" y="327"/>
                    </a:lnTo>
                    <a:lnTo>
                      <a:pt x="4093" y="324"/>
                    </a:lnTo>
                    <a:lnTo>
                      <a:pt x="4093" y="378"/>
                    </a:lnTo>
                    <a:lnTo>
                      <a:pt x="4089" y="386"/>
                    </a:lnTo>
                    <a:lnTo>
                      <a:pt x="3994" y="389"/>
                    </a:lnTo>
                    <a:lnTo>
                      <a:pt x="3832" y="389"/>
                    </a:lnTo>
                    <a:lnTo>
                      <a:pt x="3723" y="389"/>
                    </a:lnTo>
                    <a:lnTo>
                      <a:pt x="3468" y="384"/>
                    </a:lnTo>
                    <a:lnTo>
                      <a:pt x="3172" y="371"/>
                    </a:lnTo>
                    <a:lnTo>
                      <a:pt x="2975" y="360"/>
                    </a:lnTo>
                    <a:lnTo>
                      <a:pt x="2885" y="354"/>
                    </a:lnTo>
                    <a:lnTo>
                      <a:pt x="2640" y="335"/>
                    </a:lnTo>
                    <a:lnTo>
                      <a:pt x="2445" y="314"/>
                    </a:lnTo>
                    <a:lnTo>
                      <a:pt x="2263" y="293"/>
                    </a:lnTo>
                    <a:lnTo>
                      <a:pt x="1978" y="258"/>
                    </a:lnTo>
                    <a:lnTo>
                      <a:pt x="1658" y="207"/>
                    </a:lnTo>
                    <a:lnTo>
                      <a:pt x="1475" y="173"/>
                    </a:lnTo>
                    <a:lnTo>
                      <a:pt x="1445" y="170"/>
                    </a:lnTo>
                    <a:lnTo>
                      <a:pt x="1353" y="153"/>
                    </a:lnTo>
                    <a:lnTo>
                      <a:pt x="1234" y="129"/>
                    </a:lnTo>
                    <a:lnTo>
                      <a:pt x="1012" y="84"/>
                    </a:lnTo>
                    <a:lnTo>
                      <a:pt x="820" y="37"/>
                    </a:lnTo>
                    <a:lnTo>
                      <a:pt x="651" y="0"/>
                    </a:lnTo>
                    <a:close/>
                    <a:moveTo>
                      <a:pt x="204" y="1835"/>
                    </a:moveTo>
                    <a:lnTo>
                      <a:pt x="204" y="1835"/>
                    </a:lnTo>
                    <a:lnTo>
                      <a:pt x="218" y="1835"/>
                    </a:lnTo>
                    <a:lnTo>
                      <a:pt x="227" y="1843"/>
                    </a:lnTo>
                    <a:lnTo>
                      <a:pt x="251" y="1846"/>
                    </a:lnTo>
                    <a:lnTo>
                      <a:pt x="248" y="1850"/>
                    </a:lnTo>
                    <a:lnTo>
                      <a:pt x="251" y="1850"/>
                    </a:lnTo>
                    <a:lnTo>
                      <a:pt x="248" y="1852"/>
                    </a:lnTo>
                    <a:lnTo>
                      <a:pt x="249" y="1852"/>
                    </a:lnTo>
                    <a:lnTo>
                      <a:pt x="248" y="1853"/>
                    </a:lnTo>
                    <a:lnTo>
                      <a:pt x="211" y="1837"/>
                    </a:lnTo>
                    <a:lnTo>
                      <a:pt x="199" y="1837"/>
                    </a:lnTo>
                    <a:lnTo>
                      <a:pt x="204" y="1835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97" name="Freeform 55"/>
              <p:cNvSpPr>
                <a:spLocks/>
              </p:cNvSpPr>
              <p:nvPr/>
            </p:nvSpPr>
            <p:spPr bwMode="auto">
              <a:xfrm>
                <a:off x="7736066" y="1047955"/>
                <a:ext cx="28517" cy="31636"/>
              </a:xfrm>
              <a:custGeom>
                <a:avLst/>
                <a:gdLst>
                  <a:gd name="T0" fmla="*/ 15 w 30"/>
                  <a:gd name="T1" fmla="*/ 0 h 33"/>
                  <a:gd name="T2" fmla="*/ 15 w 30"/>
                  <a:gd name="T3" fmla="*/ 0 h 33"/>
                  <a:gd name="T4" fmla="*/ 0 w 30"/>
                  <a:gd name="T5" fmla="*/ 20 h 33"/>
                  <a:gd name="T6" fmla="*/ 4 w 30"/>
                  <a:gd name="T7" fmla="*/ 33 h 33"/>
                  <a:gd name="T8" fmla="*/ 30 w 30"/>
                  <a:gd name="T9" fmla="*/ 20 h 33"/>
                  <a:gd name="T10" fmla="*/ 30 w 30"/>
                  <a:gd name="T11" fmla="*/ 9 h 33"/>
                  <a:gd name="T12" fmla="*/ 18 w 30"/>
                  <a:gd name="T13" fmla="*/ 3 h 33"/>
                  <a:gd name="T14" fmla="*/ 15 w 30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3">
                    <a:moveTo>
                      <a:pt x="15" y="0"/>
                    </a:moveTo>
                    <a:lnTo>
                      <a:pt x="15" y="0"/>
                    </a:lnTo>
                    <a:lnTo>
                      <a:pt x="0" y="20"/>
                    </a:lnTo>
                    <a:lnTo>
                      <a:pt x="4" y="33"/>
                    </a:lnTo>
                    <a:lnTo>
                      <a:pt x="30" y="20"/>
                    </a:lnTo>
                    <a:lnTo>
                      <a:pt x="30" y="9"/>
                    </a:lnTo>
                    <a:lnTo>
                      <a:pt x="18" y="3"/>
                    </a:lnTo>
                    <a:lnTo>
                      <a:pt x="15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00" name="Freeform 56"/>
              <p:cNvSpPr>
                <a:spLocks/>
              </p:cNvSpPr>
              <p:nvPr/>
            </p:nvSpPr>
            <p:spPr bwMode="auto">
              <a:xfrm>
                <a:off x="7907168" y="940395"/>
                <a:ext cx="15843" cy="30054"/>
              </a:xfrm>
              <a:custGeom>
                <a:avLst/>
                <a:gdLst>
                  <a:gd name="T0" fmla="*/ 0 w 16"/>
                  <a:gd name="T1" fmla="*/ 11 h 32"/>
                  <a:gd name="T2" fmla="*/ 0 w 16"/>
                  <a:gd name="T3" fmla="*/ 11 h 32"/>
                  <a:gd name="T4" fmla="*/ 0 w 16"/>
                  <a:gd name="T5" fmla="*/ 24 h 32"/>
                  <a:gd name="T6" fmla="*/ 7 w 16"/>
                  <a:gd name="T7" fmla="*/ 32 h 32"/>
                  <a:gd name="T8" fmla="*/ 16 w 16"/>
                  <a:gd name="T9" fmla="*/ 24 h 32"/>
                  <a:gd name="T10" fmla="*/ 16 w 16"/>
                  <a:gd name="T11" fmla="*/ 11 h 32"/>
                  <a:gd name="T12" fmla="*/ 7 w 16"/>
                  <a:gd name="T13" fmla="*/ 3 h 32"/>
                  <a:gd name="T14" fmla="*/ 7 w 16"/>
                  <a:gd name="T15" fmla="*/ 0 h 32"/>
                  <a:gd name="T16" fmla="*/ 0 w 16"/>
                  <a:gd name="T17" fmla="*/ 1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32">
                    <a:moveTo>
                      <a:pt x="0" y="11"/>
                    </a:moveTo>
                    <a:lnTo>
                      <a:pt x="0" y="11"/>
                    </a:lnTo>
                    <a:lnTo>
                      <a:pt x="0" y="24"/>
                    </a:lnTo>
                    <a:lnTo>
                      <a:pt x="7" y="32"/>
                    </a:lnTo>
                    <a:lnTo>
                      <a:pt x="16" y="24"/>
                    </a:lnTo>
                    <a:lnTo>
                      <a:pt x="16" y="11"/>
                    </a:lnTo>
                    <a:lnTo>
                      <a:pt x="7" y="3"/>
                    </a:lnTo>
                    <a:lnTo>
                      <a:pt x="7" y="0"/>
                    </a:lnTo>
                    <a:lnTo>
                      <a:pt x="0" y="11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</p:grpSp>
      <p:sp>
        <p:nvSpPr>
          <p:cNvPr id="401" name="Oval 400"/>
          <p:cNvSpPr/>
          <p:nvPr/>
        </p:nvSpPr>
        <p:spPr>
          <a:xfrm>
            <a:off x="2441848" y="2662977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02" name="Oval 401"/>
          <p:cNvSpPr/>
          <p:nvPr/>
        </p:nvSpPr>
        <p:spPr>
          <a:xfrm>
            <a:off x="3871095" y="1726828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03" name="Oval 402"/>
          <p:cNvSpPr/>
          <p:nvPr/>
        </p:nvSpPr>
        <p:spPr>
          <a:xfrm>
            <a:off x="627136" y="3154408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04" name="Oval 403"/>
          <p:cNvSpPr/>
          <p:nvPr/>
        </p:nvSpPr>
        <p:spPr>
          <a:xfrm>
            <a:off x="3694450" y="2657149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05" name="Oval 404"/>
          <p:cNvSpPr/>
          <p:nvPr/>
        </p:nvSpPr>
        <p:spPr>
          <a:xfrm>
            <a:off x="6009973" y="2567710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06" name="Oval 405"/>
          <p:cNvSpPr/>
          <p:nvPr/>
        </p:nvSpPr>
        <p:spPr>
          <a:xfrm>
            <a:off x="5885577" y="4191025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07" name="Oval 406"/>
          <p:cNvSpPr/>
          <p:nvPr/>
        </p:nvSpPr>
        <p:spPr>
          <a:xfrm>
            <a:off x="6044364" y="2231374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08" name="Oval 407"/>
          <p:cNvSpPr/>
          <p:nvPr/>
        </p:nvSpPr>
        <p:spPr>
          <a:xfrm>
            <a:off x="1119354" y="2914480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09" name="TextBox 408"/>
          <p:cNvSpPr txBox="1"/>
          <p:nvPr/>
        </p:nvSpPr>
        <p:spPr>
          <a:xfrm>
            <a:off x="6661727" y="2770997"/>
            <a:ext cx="2928790" cy="1154162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wrap="square" lIns="201168" tIns="137160" rIns="640080" bIns="137160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Xx </a:t>
            </a:r>
            <a:r>
              <a:rPr lang="en-US" sz="2400" dirty="0" err="1">
                <a:solidFill>
                  <a:schemeClr val="bg1"/>
                </a:solidFill>
              </a:rPr>
              <a:t>xx</a:t>
            </a:r>
            <a:r>
              <a:rPr lang="en-US" sz="2400" dirty="0">
                <a:solidFill>
                  <a:schemeClr val="bg1"/>
                </a:solidFill>
              </a:rPr>
              <a:t> X xx</a:t>
            </a:r>
          </a:p>
          <a:p>
            <a:r>
              <a:rPr lang="en-US" sz="1100" dirty="0">
                <a:solidFill>
                  <a:schemeClr val="bg1"/>
                </a:solidFill>
              </a:rPr>
              <a:t>Xx </a:t>
            </a:r>
            <a:r>
              <a:rPr lang="en-US" sz="1100" dirty="0" err="1">
                <a:solidFill>
                  <a:schemeClr val="bg1"/>
                </a:solidFill>
              </a:rPr>
              <a:t>xx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xxxx</a:t>
            </a:r>
            <a:r>
              <a:rPr lang="en-US" sz="1100" dirty="0">
                <a:solidFill>
                  <a:schemeClr val="bg1"/>
                </a:solidFill>
              </a:rPr>
              <a:t> xx </a:t>
            </a:r>
            <a:r>
              <a:rPr lang="en-US" sz="1100" dirty="0" err="1">
                <a:solidFill>
                  <a:schemeClr val="bg1"/>
                </a:solidFill>
              </a:rPr>
              <a:t>xxxx</a:t>
            </a:r>
            <a:r>
              <a:rPr lang="en-US" sz="1100" dirty="0">
                <a:solidFill>
                  <a:schemeClr val="bg1"/>
                </a:solidFill>
              </a:rPr>
              <a:t> xxx </a:t>
            </a:r>
            <a:r>
              <a:rPr lang="en-US" sz="1100" dirty="0" err="1">
                <a:solidFill>
                  <a:schemeClr val="bg1"/>
                </a:solidFill>
              </a:rPr>
              <a:t>xxxxxx</a:t>
            </a:r>
            <a:r>
              <a:rPr lang="en-US" sz="1100" dirty="0">
                <a:solidFill>
                  <a:schemeClr val="bg1"/>
                </a:solidFill>
              </a:rPr>
              <a:t> x </a:t>
            </a:r>
            <a:r>
              <a:rPr lang="en-US" sz="1100" dirty="0" err="1">
                <a:solidFill>
                  <a:schemeClr val="bg1"/>
                </a:solidFill>
              </a:rPr>
              <a:t>xxxx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Xxxxxx</a:t>
            </a:r>
            <a:r>
              <a:rPr lang="en-US" sz="1100" dirty="0">
                <a:solidFill>
                  <a:schemeClr val="bg1"/>
                </a:solidFill>
              </a:rPr>
              <a:t> xx xxx </a:t>
            </a:r>
            <a:r>
              <a:rPr lang="en-US" sz="1100" dirty="0" err="1">
                <a:solidFill>
                  <a:schemeClr val="bg1"/>
                </a:solidFill>
              </a:rPr>
              <a:t>xxxx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xxxx</a:t>
            </a:r>
            <a:r>
              <a:rPr lang="en-US" sz="1100" dirty="0">
                <a:solidFill>
                  <a:schemeClr val="bg1"/>
                </a:solidFill>
              </a:rPr>
              <a:t> x xxx </a:t>
            </a:r>
            <a:r>
              <a:rPr lang="en-US" sz="1100" dirty="0" err="1">
                <a:solidFill>
                  <a:schemeClr val="bg1"/>
                </a:solidFill>
              </a:rPr>
              <a:t>xxx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xxx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xxxxxxx</a:t>
            </a:r>
            <a:r>
              <a:rPr lang="en-US" sz="1100" dirty="0">
                <a:solidFill>
                  <a:schemeClr val="bg1"/>
                </a:solidFill>
              </a:rPr>
              <a:t> xx</a:t>
            </a:r>
          </a:p>
        </p:txBody>
      </p:sp>
      <p:sp>
        <p:nvSpPr>
          <p:cNvPr id="410" name="Oval 409"/>
          <p:cNvSpPr/>
          <p:nvPr/>
        </p:nvSpPr>
        <p:spPr>
          <a:xfrm>
            <a:off x="350428" y="2441254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11" name="Oval 410"/>
          <p:cNvSpPr/>
          <p:nvPr/>
        </p:nvSpPr>
        <p:spPr>
          <a:xfrm>
            <a:off x="713284" y="1072069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12" name="Oval 411"/>
          <p:cNvSpPr/>
          <p:nvPr/>
        </p:nvSpPr>
        <p:spPr>
          <a:xfrm>
            <a:off x="6508396" y="1853902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14" name="Oval 413"/>
          <p:cNvSpPr/>
          <p:nvPr/>
        </p:nvSpPr>
        <p:spPr>
          <a:xfrm>
            <a:off x="4542522" y="2197584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15" name="Oval 414"/>
          <p:cNvSpPr/>
          <p:nvPr/>
        </p:nvSpPr>
        <p:spPr>
          <a:xfrm>
            <a:off x="6247359" y="2103699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416" name="Straight Connector 415"/>
          <p:cNvCxnSpPr/>
          <p:nvPr/>
        </p:nvCxnSpPr>
        <p:spPr>
          <a:xfrm flipH="1">
            <a:off x="2210553" y="3929437"/>
            <a:ext cx="1103287" cy="438397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7" name="Rectangle 416"/>
          <p:cNvSpPr/>
          <p:nvPr/>
        </p:nvSpPr>
        <p:spPr>
          <a:xfrm>
            <a:off x="892123" y="4015799"/>
            <a:ext cx="1324153" cy="584775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Xxx xxx </a:t>
            </a:r>
          </a:p>
          <a:p>
            <a:pPr algn="ctr"/>
            <a:r>
              <a:rPr lang="en-US" sz="1600" dirty="0" err="1">
                <a:solidFill>
                  <a:schemeClr val="bg1"/>
                </a:solidFill>
              </a:rPr>
              <a:t>Xxxx</a:t>
            </a: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418" name="Straight Connector 417"/>
          <p:cNvCxnSpPr>
            <a:endCxn id="167" idx="34"/>
          </p:cNvCxnSpPr>
          <p:nvPr/>
        </p:nvCxnSpPr>
        <p:spPr>
          <a:xfrm flipH="1">
            <a:off x="6461172" y="2034348"/>
            <a:ext cx="870286" cy="154165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9" name="Rectangle 418"/>
          <p:cNvSpPr/>
          <p:nvPr/>
        </p:nvSpPr>
        <p:spPr>
          <a:xfrm>
            <a:off x="7296274" y="1734175"/>
            <a:ext cx="1324153" cy="584775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Xxx xxx </a:t>
            </a:r>
          </a:p>
          <a:p>
            <a:pPr algn="ctr"/>
            <a:r>
              <a:rPr lang="en-US" sz="1600" dirty="0" err="1">
                <a:solidFill>
                  <a:schemeClr val="bg1"/>
                </a:solidFill>
              </a:rPr>
              <a:t>Xxxx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20" name="Oval 419"/>
          <p:cNvSpPr/>
          <p:nvPr/>
        </p:nvSpPr>
        <p:spPr>
          <a:xfrm>
            <a:off x="3307015" y="3796891"/>
            <a:ext cx="196850" cy="19685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3613D1-0E3B-454D-8149-D7089E48AD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XX </a:t>
            </a:r>
            <a:r>
              <a:rPr lang="en-US" dirty="0" err="1"/>
              <a:t>xx</a:t>
            </a:r>
            <a:r>
              <a:rPr lang="en-US" dirty="0"/>
              <a:t> </a:t>
            </a:r>
            <a:r>
              <a:rPr lang="en-US" dirty="0" err="1"/>
              <a:t>xxxx</a:t>
            </a:r>
            <a:r>
              <a:rPr lang="en-US" dirty="0"/>
              <a:t> xxx </a:t>
            </a:r>
            <a:r>
              <a:rPr lang="en-US" dirty="0" err="1"/>
              <a:t>Xxxx</a:t>
            </a:r>
            <a:r>
              <a:rPr lang="en-US" dirty="0"/>
              <a:t> </a:t>
            </a:r>
            <a:r>
              <a:rPr lang="en-US" dirty="0" err="1"/>
              <a:t>xxxxx</a:t>
            </a:r>
            <a:r>
              <a:rPr lang="en-US" dirty="0"/>
              <a:t> x </a:t>
            </a:r>
          </a:p>
        </p:txBody>
      </p:sp>
    </p:spTree>
    <p:extLst>
      <p:ext uri="{BB962C8B-B14F-4D97-AF65-F5344CB8AC3E}">
        <p14:creationId xmlns:p14="http://schemas.microsoft.com/office/powerpoint/2010/main" val="422264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5556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5556">
                                          <p:cBhvr additive="base">
                                            <p:cTn id="7" dur="900" fill="hold"/>
                                            <p:tgtEl>
                                              <p:spTgt spid="40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5556">
                                          <p:cBhvr additive="base">
                                            <p:cTn id="8" dur="900" fill="hold"/>
                                            <p:tgtEl>
                                              <p:spTgt spid="40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200"/>
                                            <p:tgtEl>
                                              <p:spTgt spid="4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200"/>
                                            <p:tgtEl>
                                              <p:spTgt spid="40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200"/>
                                            <p:tgtEl>
                                              <p:spTgt spid="40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200"/>
                                            <p:tgtEl>
                                              <p:spTgt spid="40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200"/>
                                            <p:tgtEl>
                                              <p:spTgt spid="4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200"/>
                                            <p:tgtEl>
                                              <p:spTgt spid="4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10" presetClass="entr" presetSubtype="0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200"/>
                                            <p:tgtEl>
                                              <p:spTgt spid="40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200"/>
                                            <p:tgtEl>
                                              <p:spTgt spid="40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5" dur="200"/>
                                            <p:tgtEl>
                                              <p:spTgt spid="40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10" presetClass="entr" presetSubtype="0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8" dur="200"/>
                                            <p:tgtEl>
                                              <p:spTgt spid="40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200"/>
                                            <p:tgtEl>
                                              <p:spTgt spid="40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10" presetClass="entr" presetSubtype="0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4" dur="200"/>
                                            <p:tgtEl>
                                              <p:spTgt spid="4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22" presetClass="entr" presetSubtype="1" fill="hold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47" dur="200"/>
                                            <p:tgtEl>
                                              <p:spTgt spid="4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8" presetID="10" presetClass="entr" presetSubtype="0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0" dur="300"/>
                                            <p:tgtEl>
                                              <p:spTgt spid="4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1" presetID="10" presetClass="entr" presetSubtype="0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3" dur="200"/>
                                            <p:tgtEl>
                                              <p:spTgt spid="4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6" dur="200"/>
                                            <p:tgtEl>
                                              <p:spTgt spid="4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7" presetID="22" presetClass="entr" presetSubtype="4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59" dur="200"/>
                                            <p:tgtEl>
                                              <p:spTgt spid="4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0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2" dur="300"/>
                                            <p:tgtEl>
                                              <p:spTgt spid="4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01" grpId="0" animBg="1"/>
          <p:bldP spid="402" grpId="0" animBg="1"/>
          <p:bldP spid="403" grpId="0" animBg="1"/>
          <p:bldP spid="404" grpId="0" animBg="1"/>
          <p:bldP spid="405" grpId="0" animBg="1"/>
          <p:bldP spid="406" grpId="0" animBg="1"/>
          <p:bldP spid="407" grpId="0" animBg="1"/>
          <p:bldP spid="408" grpId="0" animBg="1"/>
          <p:bldP spid="409" grpId="0" animBg="1"/>
          <p:bldP spid="410" grpId="0" animBg="1"/>
          <p:bldP spid="411" grpId="0" animBg="1"/>
          <p:bldP spid="412" grpId="0" animBg="1"/>
          <p:bldP spid="414" grpId="0" animBg="1"/>
          <p:bldP spid="415" grpId="0" animBg="1"/>
          <p:bldP spid="417" grpId="0" animBg="1"/>
          <p:bldP spid="419" grpId="0" animBg="1"/>
          <p:bldP spid="420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900" fill="hold"/>
                                            <p:tgtEl>
                                              <p:spTgt spid="40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900" fill="hold"/>
                                            <p:tgtEl>
                                              <p:spTgt spid="40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200"/>
                                            <p:tgtEl>
                                              <p:spTgt spid="4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200"/>
                                            <p:tgtEl>
                                              <p:spTgt spid="40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200"/>
                                            <p:tgtEl>
                                              <p:spTgt spid="40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200"/>
                                            <p:tgtEl>
                                              <p:spTgt spid="40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200"/>
                                            <p:tgtEl>
                                              <p:spTgt spid="4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200"/>
                                            <p:tgtEl>
                                              <p:spTgt spid="4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10" presetClass="entr" presetSubtype="0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200"/>
                                            <p:tgtEl>
                                              <p:spTgt spid="40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200"/>
                                            <p:tgtEl>
                                              <p:spTgt spid="40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5" dur="200"/>
                                            <p:tgtEl>
                                              <p:spTgt spid="40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10" presetClass="entr" presetSubtype="0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8" dur="200"/>
                                            <p:tgtEl>
                                              <p:spTgt spid="40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200"/>
                                            <p:tgtEl>
                                              <p:spTgt spid="40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10" presetClass="entr" presetSubtype="0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4" dur="200"/>
                                            <p:tgtEl>
                                              <p:spTgt spid="4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22" presetClass="entr" presetSubtype="1" fill="hold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47" dur="200"/>
                                            <p:tgtEl>
                                              <p:spTgt spid="4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8" presetID="10" presetClass="entr" presetSubtype="0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0" dur="300"/>
                                            <p:tgtEl>
                                              <p:spTgt spid="4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1" presetID="10" presetClass="entr" presetSubtype="0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3" dur="200"/>
                                            <p:tgtEl>
                                              <p:spTgt spid="4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6" dur="200"/>
                                            <p:tgtEl>
                                              <p:spTgt spid="4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7" presetID="22" presetClass="entr" presetSubtype="4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59" dur="200"/>
                                            <p:tgtEl>
                                              <p:spTgt spid="4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0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2" dur="300"/>
                                            <p:tgtEl>
                                              <p:spTgt spid="4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01" grpId="0" animBg="1"/>
          <p:bldP spid="402" grpId="0" animBg="1"/>
          <p:bldP spid="403" grpId="0" animBg="1"/>
          <p:bldP spid="404" grpId="0" animBg="1"/>
          <p:bldP spid="405" grpId="0" animBg="1"/>
          <p:bldP spid="406" grpId="0" animBg="1"/>
          <p:bldP spid="407" grpId="0" animBg="1"/>
          <p:bldP spid="408" grpId="0" animBg="1"/>
          <p:bldP spid="409" grpId="0" animBg="1"/>
          <p:bldP spid="410" grpId="0" animBg="1"/>
          <p:bldP spid="411" grpId="0" animBg="1"/>
          <p:bldP spid="412" grpId="0" animBg="1"/>
          <p:bldP spid="414" grpId="0" animBg="1"/>
          <p:bldP spid="415" grpId="0" animBg="1"/>
          <p:bldP spid="417" grpId="0" animBg="1"/>
          <p:bldP spid="419" grpId="0" animBg="1"/>
          <p:bldP spid="420" grpId="0" animBg="1"/>
        </p:bldLst>
      </p:timing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59533" y="303498"/>
            <a:ext cx="4532084" cy="3828930"/>
            <a:chOff x="215516" y="288637"/>
            <a:chExt cx="5052798" cy="4268856"/>
          </a:xfrm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3651768" y="2661212"/>
              <a:ext cx="1575040" cy="1146267"/>
            </a:xfrm>
            <a:custGeom>
              <a:avLst/>
              <a:gdLst>
                <a:gd name="T0" fmla="*/ 494 w 500"/>
                <a:gd name="T1" fmla="*/ 17 h 402"/>
                <a:gd name="T2" fmla="*/ 474 w 500"/>
                <a:gd name="T3" fmla="*/ 24 h 402"/>
                <a:gd name="T4" fmla="*/ 463 w 500"/>
                <a:gd name="T5" fmla="*/ 22 h 402"/>
                <a:gd name="T6" fmla="*/ 452 w 500"/>
                <a:gd name="T7" fmla="*/ 20 h 402"/>
                <a:gd name="T8" fmla="*/ 434 w 500"/>
                <a:gd name="T9" fmla="*/ 25 h 402"/>
                <a:gd name="T10" fmla="*/ 433 w 500"/>
                <a:gd name="T11" fmla="*/ 37 h 402"/>
                <a:gd name="T12" fmla="*/ 423 w 500"/>
                <a:gd name="T13" fmla="*/ 43 h 402"/>
                <a:gd name="T14" fmla="*/ 420 w 500"/>
                <a:gd name="T15" fmla="*/ 43 h 402"/>
                <a:gd name="T16" fmla="*/ 412 w 500"/>
                <a:gd name="T17" fmla="*/ 47 h 402"/>
                <a:gd name="T18" fmla="*/ 405 w 500"/>
                <a:gd name="T19" fmla="*/ 51 h 402"/>
                <a:gd name="T20" fmla="*/ 402 w 500"/>
                <a:gd name="T21" fmla="*/ 44 h 402"/>
                <a:gd name="T22" fmla="*/ 393 w 500"/>
                <a:gd name="T23" fmla="*/ 30 h 402"/>
                <a:gd name="T24" fmla="*/ 367 w 500"/>
                <a:gd name="T25" fmla="*/ 21 h 402"/>
                <a:gd name="T26" fmla="*/ 341 w 500"/>
                <a:gd name="T27" fmla="*/ 17 h 402"/>
                <a:gd name="T28" fmla="*/ 308 w 500"/>
                <a:gd name="T29" fmla="*/ 29 h 402"/>
                <a:gd name="T30" fmla="*/ 282 w 500"/>
                <a:gd name="T31" fmla="*/ 26 h 402"/>
                <a:gd name="T32" fmla="*/ 188 w 500"/>
                <a:gd name="T33" fmla="*/ 17 h 402"/>
                <a:gd name="T34" fmla="*/ 113 w 500"/>
                <a:gd name="T35" fmla="*/ 10 h 402"/>
                <a:gd name="T36" fmla="*/ 18 w 500"/>
                <a:gd name="T37" fmla="*/ 0 h 402"/>
                <a:gd name="T38" fmla="*/ 0 w 500"/>
                <a:gd name="T39" fmla="*/ 222 h 402"/>
                <a:gd name="T40" fmla="*/ 18 w 500"/>
                <a:gd name="T41" fmla="*/ 228 h 402"/>
                <a:gd name="T42" fmla="*/ 31 w 500"/>
                <a:gd name="T43" fmla="*/ 229 h 402"/>
                <a:gd name="T44" fmla="*/ 37 w 500"/>
                <a:gd name="T45" fmla="*/ 228 h 402"/>
                <a:gd name="T46" fmla="*/ 49 w 500"/>
                <a:gd name="T47" fmla="*/ 243 h 402"/>
                <a:gd name="T48" fmla="*/ 57 w 500"/>
                <a:gd name="T49" fmla="*/ 259 h 402"/>
                <a:gd name="T50" fmla="*/ 66 w 500"/>
                <a:gd name="T51" fmla="*/ 253 h 402"/>
                <a:gd name="T52" fmla="*/ 78 w 500"/>
                <a:gd name="T53" fmla="*/ 260 h 402"/>
                <a:gd name="T54" fmla="*/ 84 w 500"/>
                <a:gd name="T55" fmla="*/ 283 h 402"/>
                <a:gd name="T56" fmla="*/ 103 w 500"/>
                <a:gd name="T57" fmla="*/ 296 h 402"/>
                <a:gd name="T58" fmla="*/ 130 w 500"/>
                <a:gd name="T59" fmla="*/ 325 h 402"/>
                <a:gd name="T60" fmla="*/ 136 w 500"/>
                <a:gd name="T61" fmla="*/ 320 h 402"/>
                <a:gd name="T62" fmla="*/ 147 w 500"/>
                <a:gd name="T63" fmla="*/ 314 h 402"/>
                <a:gd name="T64" fmla="*/ 172 w 500"/>
                <a:gd name="T65" fmla="*/ 321 h 402"/>
                <a:gd name="T66" fmla="*/ 218 w 500"/>
                <a:gd name="T67" fmla="*/ 332 h 402"/>
                <a:gd name="T68" fmla="*/ 234 w 500"/>
                <a:gd name="T69" fmla="*/ 328 h 402"/>
                <a:gd name="T70" fmla="*/ 245 w 500"/>
                <a:gd name="T71" fmla="*/ 347 h 402"/>
                <a:gd name="T72" fmla="*/ 281 w 500"/>
                <a:gd name="T73" fmla="*/ 385 h 402"/>
                <a:gd name="T74" fmla="*/ 297 w 500"/>
                <a:gd name="T75" fmla="*/ 395 h 402"/>
                <a:gd name="T76" fmla="*/ 309 w 500"/>
                <a:gd name="T77" fmla="*/ 402 h 402"/>
                <a:gd name="T78" fmla="*/ 310 w 500"/>
                <a:gd name="T79" fmla="*/ 393 h 402"/>
                <a:gd name="T80" fmla="*/ 316 w 500"/>
                <a:gd name="T81" fmla="*/ 363 h 402"/>
                <a:gd name="T82" fmla="*/ 318 w 500"/>
                <a:gd name="T83" fmla="*/ 352 h 402"/>
                <a:gd name="T84" fmla="*/ 323 w 500"/>
                <a:gd name="T85" fmla="*/ 342 h 402"/>
                <a:gd name="T86" fmla="*/ 330 w 500"/>
                <a:gd name="T87" fmla="*/ 327 h 402"/>
                <a:gd name="T88" fmla="*/ 340 w 500"/>
                <a:gd name="T89" fmla="*/ 316 h 402"/>
                <a:gd name="T90" fmla="*/ 353 w 500"/>
                <a:gd name="T91" fmla="*/ 288 h 402"/>
                <a:gd name="T92" fmla="*/ 365 w 500"/>
                <a:gd name="T93" fmla="*/ 268 h 402"/>
                <a:gd name="T94" fmla="*/ 373 w 500"/>
                <a:gd name="T95" fmla="*/ 257 h 402"/>
                <a:gd name="T96" fmla="*/ 373 w 500"/>
                <a:gd name="T97" fmla="*/ 247 h 402"/>
                <a:gd name="T98" fmla="*/ 385 w 500"/>
                <a:gd name="T99" fmla="*/ 227 h 402"/>
                <a:gd name="T100" fmla="*/ 396 w 500"/>
                <a:gd name="T101" fmla="*/ 219 h 402"/>
                <a:gd name="T102" fmla="*/ 411 w 500"/>
                <a:gd name="T103" fmla="*/ 215 h 402"/>
                <a:gd name="T104" fmla="*/ 429 w 500"/>
                <a:gd name="T105" fmla="*/ 192 h 402"/>
                <a:gd name="T106" fmla="*/ 448 w 500"/>
                <a:gd name="T107" fmla="*/ 168 h 402"/>
                <a:gd name="T108" fmla="*/ 470 w 500"/>
                <a:gd name="T109" fmla="*/ 102 h 402"/>
                <a:gd name="T110" fmla="*/ 482 w 500"/>
                <a:gd name="T111" fmla="*/ 73 h 402"/>
                <a:gd name="T112" fmla="*/ 495 w 500"/>
                <a:gd name="T113" fmla="*/ 21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00" h="402">
                  <a:moveTo>
                    <a:pt x="495" y="21"/>
                  </a:moveTo>
                  <a:cubicBezTo>
                    <a:pt x="494" y="17"/>
                    <a:pt x="494" y="17"/>
                    <a:pt x="494" y="17"/>
                  </a:cubicBezTo>
                  <a:cubicBezTo>
                    <a:pt x="491" y="19"/>
                    <a:pt x="491" y="19"/>
                    <a:pt x="491" y="19"/>
                  </a:cubicBezTo>
                  <a:cubicBezTo>
                    <a:pt x="485" y="23"/>
                    <a:pt x="480" y="24"/>
                    <a:pt x="474" y="24"/>
                  </a:cubicBezTo>
                  <a:cubicBezTo>
                    <a:pt x="473" y="24"/>
                    <a:pt x="471" y="24"/>
                    <a:pt x="469" y="24"/>
                  </a:cubicBezTo>
                  <a:cubicBezTo>
                    <a:pt x="467" y="23"/>
                    <a:pt x="465" y="22"/>
                    <a:pt x="463" y="22"/>
                  </a:cubicBezTo>
                  <a:cubicBezTo>
                    <a:pt x="460" y="20"/>
                    <a:pt x="458" y="19"/>
                    <a:pt x="455" y="19"/>
                  </a:cubicBezTo>
                  <a:cubicBezTo>
                    <a:pt x="454" y="19"/>
                    <a:pt x="453" y="19"/>
                    <a:pt x="452" y="20"/>
                  </a:cubicBezTo>
                  <a:cubicBezTo>
                    <a:pt x="446" y="21"/>
                    <a:pt x="439" y="23"/>
                    <a:pt x="436" y="24"/>
                  </a:cubicBezTo>
                  <a:cubicBezTo>
                    <a:pt x="434" y="25"/>
                    <a:pt x="434" y="25"/>
                    <a:pt x="434" y="25"/>
                  </a:cubicBezTo>
                  <a:cubicBezTo>
                    <a:pt x="434" y="27"/>
                    <a:pt x="434" y="27"/>
                    <a:pt x="434" y="27"/>
                  </a:cubicBezTo>
                  <a:cubicBezTo>
                    <a:pt x="435" y="30"/>
                    <a:pt x="434" y="34"/>
                    <a:pt x="433" y="37"/>
                  </a:cubicBezTo>
                  <a:cubicBezTo>
                    <a:pt x="431" y="40"/>
                    <a:pt x="429" y="42"/>
                    <a:pt x="426" y="42"/>
                  </a:cubicBezTo>
                  <a:cubicBezTo>
                    <a:pt x="425" y="43"/>
                    <a:pt x="424" y="43"/>
                    <a:pt x="423" y="43"/>
                  </a:cubicBezTo>
                  <a:cubicBezTo>
                    <a:pt x="423" y="43"/>
                    <a:pt x="422" y="43"/>
                    <a:pt x="422" y="43"/>
                  </a:cubicBezTo>
                  <a:cubicBezTo>
                    <a:pt x="421" y="43"/>
                    <a:pt x="421" y="43"/>
                    <a:pt x="420" y="43"/>
                  </a:cubicBezTo>
                  <a:cubicBezTo>
                    <a:pt x="419" y="43"/>
                    <a:pt x="417" y="43"/>
                    <a:pt x="415" y="44"/>
                  </a:cubicBezTo>
                  <a:cubicBezTo>
                    <a:pt x="414" y="45"/>
                    <a:pt x="413" y="46"/>
                    <a:pt x="412" y="47"/>
                  </a:cubicBezTo>
                  <a:cubicBezTo>
                    <a:pt x="410" y="48"/>
                    <a:pt x="408" y="51"/>
                    <a:pt x="405" y="51"/>
                  </a:cubicBezTo>
                  <a:cubicBezTo>
                    <a:pt x="405" y="51"/>
                    <a:pt x="405" y="51"/>
                    <a:pt x="405" y="51"/>
                  </a:cubicBezTo>
                  <a:cubicBezTo>
                    <a:pt x="404" y="51"/>
                    <a:pt x="403" y="50"/>
                    <a:pt x="403" y="49"/>
                  </a:cubicBezTo>
                  <a:cubicBezTo>
                    <a:pt x="402" y="48"/>
                    <a:pt x="402" y="46"/>
                    <a:pt x="402" y="44"/>
                  </a:cubicBezTo>
                  <a:cubicBezTo>
                    <a:pt x="403" y="42"/>
                    <a:pt x="403" y="41"/>
                    <a:pt x="402" y="40"/>
                  </a:cubicBezTo>
                  <a:cubicBezTo>
                    <a:pt x="401" y="36"/>
                    <a:pt x="398" y="33"/>
                    <a:pt x="393" y="30"/>
                  </a:cubicBezTo>
                  <a:cubicBezTo>
                    <a:pt x="386" y="26"/>
                    <a:pt x="378" y="24"/>
                    <a:pt x="370" y="22"/>
                  </a:cubicBezTo>
                  <a:cubicBezTo>
                    <a:pt x="367" y="21"/>
                    <a:pt x="367" y="21"/>
                    <a:pt x="367" y="21"/>
                  </a:cubicBezTo>
                  <a:cubicBezTo>
                    <a:pt x="360" y="19"/>
                    <a:pt x="353" y="17"/>
                    <a:pt x="345" y="17"/>
                  </a:cubicBezTo>
                  <a:cubicBezTo>
                    <a:pt x="344" y="17"/>
                    <a:pt x="342" y="17"/>
                    <a:pt x="341" y="17"/>
                  </a:cubicBezTo>
                  <a:cubicBezTo>
                    <a:pt x="335" y="18"/>
                    <a:pt x="330" y="21"/>
                    <a:pt x="325" y="23"/>
                  </a:cubicBezTo>
                  <a:cubicBezTo>
                    <a:pt x="320" y="26"/>
                    <a:pt x="314" y="29"/>
                    <a:pt x="308" y="29"/>
                  </a:cubicBezTo>
                  <a:cubicBezTo>
                    <a:pt x="306" y="29"/>
                    <a:pt x="305" y="29"/>
                    <a:pt x="303" y="29"/>
                  </a:cubicBezTo>
                  <a:cubicBezTo>
                    <a:pt x="296" y="27"/>
                    <a:pt x="289" y="27"/>
                    <a:pt x="282" y="26"/>
                  </a:cubicBezTo>
                  <a:cubicBezTo>
                    <a:pt x="279" y="26"/>
                    <a:pt x="277" y="26"/>
                    <a:pt x="274" y="26"/>
                  </a:cubicBezTo>
                  <a:cubicBezTo>
                    <a:pt x="245" y="24"/>
                    <a:pt x="216" y="20"/>
                    <a:pt x="188" y="17"/>
                  </a:cubicBezTo>
                  <a:cubicBezTo>
                    <a:pt x="187" y="17"/>
                    <a:pt x="187" y="17"/>
                    <a:pt x="187" y="17"/>
                  </a:cubicBezTo>
                  <a:cubicBezTo>
                    <a:pt x="163" y="14"/>
                    <a:pt x="138" y="12"/>
                    <a:pt x="113" y="10"/>
                  </a:cubicBezTo>
                  <a:cubicBezTo>
                    <a:pt x="105" y="9"/>
                    <a:pt x="97" y="8"/>
                    <a:pt x="89" y="8"/>
                  </a:cubicBezTo>
                  <a:cubicBezTo>
                    <a:pt x="67" y="6"/>
                    <a:pt x="42" y="4"/>
                    <a:pt x="18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2" y="223"/>
                    <a:pt x="2" y="223"/>
                    <a:pt x="2" y="223"/>
                  </a:cubicBezTo>
                  <a:cubicBezTo>
                    <a:pt x="7" y="224"/>
                    <a:pt x="12" y="226"/>
                    <a:pt x="18" y="228"/>
                  </a:cubicBezTo>
                  <a:cubicBezTo>
                    <a:pt x="21" y="230"/>
                    <a:pt x="23" y="230"/>
                    <a:pt x="25" y="230"/>
                  </a:cubicBezTo>
                  <a:cubicBezTo>
                    <a:pt x="27" y="230"/>
                    <a:pt x="29" y="230"/>
                    <a:pt x="31" y="229"/>
                  </a:cubicBezTo>
                  <a:cubicBezTo>
                    <a:pt x="32" y="229"/>
                    <a:pt x="33" y="229"/>
                    <a:pt x="35" y="229"/>
                  </a:cubicBezTo>
                  <a:cubicBezTo>
                    <a:pt x="36" y="228"/>
                    <a:pt x="37" y="228"/>
                    <a:pt x="37" y="228"/>
                  </a:cubicBezTo>
                  <a:cubicBezTo>
                    <a:pt x="44" y="228"/>
                    <a:pt x="47" y="235"/>
                    <a:pt x="48" y="241"/>
                  </a:cubicBezTo>
                  <a:cubicBezTo>
                    <a:pt x="48" y="242"/>
                    <a:pt x="49" y="243"/>
                    <a:pt x="49" y="243"/>
                  </a:cubicBezTo>
                  <a:cubicBezTo>
                    <a:pt x="51" y="254"/>
                    <a:pt x="53" y="258"/>
                    <a:pt x="57" y="259"/>
                  </a:cubicBezTo>
                  <a:cubicBezTo>
                    <a:pt x="57" y="259"/>
                    <a:pt x="57" y="259"/>
                    <a:pt x="57" y="259"/>
                  </a:cubicBezTo>
                  <a:cubicBezTo>
                    <a:pt x="59" y="259"/>
                    <a:pt x="60" y="257"/>
                    <a:pt x="62" y="256"/>
                  </a:cubicBezTo>
                  <a:cubicBezTo>
                    <a:pt x="63" y="255"/>
                    <a:pt x="64" y="254"/>
                    <a:pt x="66" y="253"/>
                  </a:cubicBezTo>
                  <a:cubicBezTo>
                    <a:pt x="66" y="253"/>
                    <a:pt x="66" y="253"/>
                    <a:pt x="66" y="253"/>
                  </a:cubicBezTo>
                  <a:cubicBezTo>
                    <a:pt x="71" y="253"/>
                    <a:pt x="77" y="257"/>
                    <a:pt x="78" y="260"/>
                  </a:cubicBezTo>
                  <a:cubicBezTo>
                    <a:pt x="81" y="263"/>
                    <a:pt x="81" y="268"/>
                    <a:pt x="81" y="272"/>
                  </a:cubicBezTo>
                  <a:cubicBezTo>
                    <a:pt x="82" y="276"/>
                    <a:pt x="82" y="280"/>
                    <a:pt x="84" y="283"/>
                  </a:cubicBezTo>
                  <a:cubicBezTo>
                    <a:pt x="86" y="287"/>
                    <a:pt x="91" y="289"/>
                    <a:pt x="95" y="292"/>
                  </a:cubicBezTo>
                  <a:cubicBezTo>
                    <a:pt x="98" y="293"/>
                    <a:pt x="101" y="294"/>
                    <a:pt x="103" y="296"/>
                  </a:cubicBezTo>
                  <a:cubicBezTo>
                    <a:pt x="110" y="301"/>
                    <a:pt x="116" y="308"/>
                    <a:pt x="120" y="315"/>
                  </a:cubicBezTo>
                  <a:cubicBezTo>
                    <a:pt x="122" y="318"/>
                    <a:pt x="126" y="325"/>
                    <a:pt x="130" y="325"/>
                  </a:cubicBezTo>
                  <a:cubicBezTo>
                    <a:pt x="131" y="325"/>
                    <a:pt x="131" y="325"/>
                    <a:pt x="131" y="325"/>
                  </a:cubicBezTo>
                  <a:cubicBezTo>
                    <a:pt x="134" y="325"/>
                    <a:pt x="135" y="323"/>
                    <a:pt x="136" y="320"/>
                  </a:cubicBezTo>
                  <a:cubicBezTo>
                    <a:pt x="137" y="319"/>
                    <a:pt x="137" y="318"/>
                    <a:pt x="138" y="317"/>
                  </a:cubicBezTo>
                  <a:cubicBezTo>
                    <a:pt x="141" y="314"/>
                    <a:pt x="144" y="314"/>
                    <a:pt x="147" y="314"/>
                  </a:cubicBezTo>
                  <a:cubicBezTo>
                    <a:pt x="148" y="314"/>
                    <a:pt x="148" y="314"/>
                    <a:pt x="148" y="314"/>
                  </a:cubicBezTo>
                  <a:cubicBezTo>
                    <a:pt x="156" y="314"/>
                    <a:pt x="164" y="318"/>
                    <a:pt x="172" y="321"/>
                  </a:cubicBezTo>
                  <a:cubicBezTo>
                    <a:pt x="173" y="321"/>
                    <a:pt x="174" y="322"/>
                    <a:pt x="176" y="322"/>
                  </a:cubicBezTo>
                  <a:cubicBezTo>
                    <a:pt x="191" y="329"/>
                    <a:pt x="203" y="331"/>
                    <a:pt x="218" y="332"/>
                  </a:cubicBezTo>
                  <a:cubicBezTo>
                    <a:pt x="220" y="332"/>
                    <a:pt x="223" y="331"/>
                    <a:pt x="226" y="330"/>
                  </a:cubicBezTo>
                  <a:cubicBezTo>
                    <a:pt x="228" y="329"/>
                    <a:pt x="231" y="328"/>
                    <a:pt x="234" y="328"/>
                  </a:cubicBezTo>
                  <a:cubicBezTo>
                    <a:pt x="235" y="328"/>
                    <a:pt x="237" y="329"/>
                    <a:pt x="238" y="329"/>
                  </a:cubicBezTo>
                  <a:cubicBezTo>
                    <a:pt x="243" y="332"/>
                    <a:pt x="244" y="341"/>
                    <a:pt x="245" y="347"/>
                  </a:cubicBezTo>
                  <a:cubicBezTo>
                    <a:pt x="245" y="348"/>
                    <a:pt x="245" y="350"/>
                    <a:pt x="246" y="351"/>
                  </a:cubicBezTo>
                  <a:cubicBezTo>
                    <a:pt x="248" y="367"/>
                    <a:pt x="266" y="376"/>
                    <a:pt x="281" y="385"/>
                  </a:cubicBezTo>
                  <a:cubicBezTo>
                    <a:pt x="285" y="387"/>
                    <a:pt x="288" y="389"/>
                    <a:pt x="292" y="390"/>
                  </a:cubicBezTo>
                  <a:cubicBezTo>
                    <a:pt x="293" y="392"/>
                    <a:pt x="295" y="393"/>
                    <a:pt x="297" y="395"/>
                  </a:cubicBezTo>
                  <a:cubicBezTo>
                    <a:pt x="300" y="397"/>
                    <a:pt x="303" y="400"/>
                    <a:pt x="306" y="401"/>
                  </a:cubicBezTo>
                  <a:cubicBezTo>
                    <a:pt x="309" y="402"/>
                    <a:pt x="309" y="402"/>
                    <a:pt x="309" y="402"/>
                  </a:cubicBezTo>
                  <a:cubicBezTo>
                    <a:pt x="310" y="399"/>
                    <a:pt x="310" y="399"/>
                    <a:pt x="310" y="399"/>
                  </a:cubicBezTo>
                  <a:cubicBezTo>
                    <a:pt x="310" y="396"/>
                    <a:pt x="311" y="394"/>
                    <a:pt x="310" y="393"/>
                  </a:cubicBezTo>
                  <a:cubicBezTo>
                    <a:pt x="309" y="386"/>
                    <a:pt x="311" y="380"/>
                    <a:pt x="313" y="373"/>
                  </a:cubicBezTo>
                  <a:cubicBezTo>
                    <a:pt x="314" y="370"/>
                    <a:pt x="315" y="367"/>
                    <a:pt x="316" y="363"/>
                  </a:cubicBezTo>
                  <a:cubicBezTo>
                    <a:pt x="316" y="362"/>
                    <a:pt x="316" y="360"/>
                    <a:pt x="317" y="359"/>
                  </a:cubicBezTo>
                  <a:cubicBezTo>
                    <a:pt x="317" y="356"/>
                    <a:pt x="317" y="354"/>
                    <a:pt x="318" y="352"/>
                  </a:cubicBezTo>
                  <a:cubicBezTo>
                    <a:pt x="318" y="350"/>
                    <a:pt x="319" y="349"/>
                    <a:pt x="320" y="348"/>
                  </a:cubicBezTo>
                  <a:cubicBezTo>
                    <a:pt x="321" y="346"/>
                    <a:pt x="323" y="344"/>
                    <a:pt x="323" y="342"/>
                  </a:cubicBezTo>
                  <a:cubicBezTo>
                    <a:pt x="324" y="341"/>
                    <a:pt x="324" y="340"/>
                    <a:pt x="325" y="338"/>
                  </a:cubicBezTo>
                  <a:cubicBezTo>
                    <a:pt x="326" y="334"/>
                    <a:pt x="327" y="330"/>
                    <a:pt x="330" y="327"/>
                  </a:cubicBezTo>
                  <a:cubicBezTo>
                    <a:pt x="331" y="326"/>
                    <a:pt x="332" y="325"/>
                    <a:pt x="334" y="324"/>
                  </a:cubicBezTo>
                  <a:cubicBezTo>
                    <a:pt x="336" y="322"/>
                    <a:pt x="339" y="320"/>
                    <a:pt x="340" y="316"/>
                  </a:cubicBezTo>
                  <a:cubicBezTo>
                    <a:pt x="343" y="310"/>
                    <a:pt x="346" y="304"/>
                    <a:pt x="349" y="297"/>
                  </a:cubicBezTo>
                  <a:cubicBezTo>
                    <a:pt x="350" y="294"/>
                    <a:pt x="352" y="291"/>
                    <a:pt x="353" y="288"/>
                  </a:cubicBezTo>
                  <a:cubicBezTo>
                    <a:pt x="354" y="287"/>
                    <a:pt x="354" y="285"/>
                    <a:pt x="355" y="284"/>
                  </a:cubicBezTo>
                  <a:cubicBezTo>
                    <a:pt x="358" y="278"/>
                    <a:pt x="360" y="272"/>
                    <a:pt x="365" y="268"/>
                  </a:cubicBezTo>
                  <a:cubicBezTo>
                    <a:pt x="365" y="267"/>
                    <a:pt x="366" y="267"/>
                    <a:pt x="367" y="266"/>
                  </a:cubicBezTo>
                  <a:cubicBezTo>
                    <a:pt x="369" y="264"/>
                    <a:pt x="373" y="261"/>
                    <a:pt x="373" y="257"/>
                  </a:cubicBezTo>
                  <a:cubicBezTo>
                    <a:pt x="373" y="254"/>
                    <a:pt x="373" y="253"/>
                    <a:pt x="373" y="251"/>
                  </a:cubicBezTo>
                  <a:cubicBezTo>
                    <a:pt x="372" y="249"/>
                    <a:pt x="372" y="249"/>
                    <a:pt x="373" y="247"/>
                  </a:cubicBezTo>
                  <a:cubicBezTo>
                    <a:pt x="373" y="246"/>
                    <a:pt x="373" y="246"/>
                    <a:pt x="373" y="246"/>
                  </a:cubicBezTo>
                  <a:cubicBezTo>
                    <a:pt x="377" y="240"/>
                    <a:pt x="381" y="232"/>
                    <a:pt x="385" y="227"/>
                  </a:cubicBezTo>
                  <a:cubicBezTo>
                    <a:pt x="387" y="226"/>
                    <a:pt x="389" y="224"/>
                    <a:pt x="391" y="223"/>
                  </a:cubicBezTo>
                  <a:cubicBezTo>
                    <a:pt x="393" y="222"/>
                    <a:pt x="394" y="221"/>
                    <a:pt x="396" y="219"/>
                  </a:cubicBezTo>
                  <a:cubicBezTo>
                    <a:pt x="399" y="217"/>
                    <a:pt x="402" y="216"/>
                    <a:pt x="406" y="216"/>
                  </a:cubicBezTo>
                  <a:cubicBezTo>
                    <a:pt x="407" y="215"/>
                    <a:pt x="409" y="215"/>
                    <a:pt x="411" y="215"/>
                  </a:cubicBezTo>
                  <a:cubicBezTo>
                    <a:pt x="421" y="212"/>
                    <a:pt x="424" y="204"/>
                    <a:pt x="427" y="197"/>
                  </a:cubicBezTo>
                  <a:cubicBezTo>
                    <a:pt x="428" y="195"/>
                    <a:pt x="428" y="194"/>
                    <a:pt x="429" y="192"/>
                  </a:cubicBezTo>
                  <a:cubicBezTo>
                    <a:pt x="431" y="188"/>
                    <a:pt x="434" y="184"/>
                    <a:pt x="438" y="180"/>
                  </a:cubicBezTo>
                  <a:cubicBezTo>
                    <a:pt x="442" y="176"/>
                    <a:pt x="445" y="173"/>
                    <a:pt x="448" y="168"/>
                  </a:cubicBezTo>
                  <a:cubicBezTo>
                    <a:pt x="453" y="158"/>
                    <a:pt x="454" y="147"/>
                    <a:pt x="456" y="137"/>
                  </a:cubicBezTo>
                  <a:cubicBezTo>
                    <a:pt x="458" y="124"/>
                    <a:pt x="464" y="114"/>
                    <a:pt x="470" y="102"/>
                  </a:cubicBezTo>
                  <a:cubicBezTo>
                    <a:pt x="471" y="101"/>
                    <a:pt x="472" y="99"/>
                    <a:pt x="473" y="97"/>
                  </a:cubicBezTo>
                  <a:cubicBezTo>
                    <a:pt x="477" y="89"/>
                    <a:pt x="480" y="82"/>
                    <a:pt x="482" y="73"/>
                  </a:cubicBezTo>
                  <a:cubicBezTo>
                    <a:pt x="483" y="65"/>
                    <a:pt x="484" y="62"/>
                    <a:pt x="490" y="57"/>
                  </a:cubicBezTo>
                  <a:cubicBezTo>
                    <a:pt x="500" y="46"/>
                    <a:pt x="497" y="31"/>
                    <a:pt x="495" y="21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2172847" y="394370"/>
              <a:ext cx="1229886" cy="1879483"/>
            </a:xfrm>
            <a:custGeom>
              <a:avLst/>
              <a:gdLst>
                <a:gd name="T0" fmla="*/ 380 w 390"/>
                <a:gd name="T1" fmla="*/ 233 h 659"/>
                <a:gd name="T2" fmla="*/ 360 w 390"/>
                <a:gd name="T3" fmla="*/ 220 h 659"/>
                <a:gd name="T4" fmla="*/ 342 w 390"/>
                <a:gd name="T5" fmla="*/ 214 h 659"/>
                <a:gd name="T6" fmla="*/ 334 w 390"/>
                <a:gd name="T7" fmla="*/ 213 h 659"/>
                <a:gd name="T8" fmla="*/ 323 w 390"/>
                <a:gd name="T9" fmla="*/ 202 h 659"/>
                <a:gd name="T10" fmla="*/ 304 w 390"/>
                <a:gd name="T11" fmla="*/ 183 h 659"/>
                <a:gd name="T12" fmla="*/ 292 w 390"/>
                <a:gd name="T13" fmla="*/ 175 h 659"/>
                <a:gd name="T14" fmla="*/ 288 w 390"/>
                <a:gd name="T15" fmla="*/ 155 h 659"/>
                <a:gd name="T16" fmla="*/ 306 w 390"/>
                <a:gd name="T17" fmla="*/ 117 h 659"/>
                <a:gd name="T18" fmla="*/ 304 w 390"/>
                <a:gd name="T19" fmla="*/ 100 h 659"/>
                <a:gd name="T20" fmla="*/ 318 w 390"/>
                <a:gd name="T21" fmla="*/ 99 h 659"/>
                <a:gd name="T22" fmla="*/ 331 w 390"/>
                <a:gd name="T23" fmla="*/ 86 h 659"/>
                <a:gd name="T24" fmla="*/ 338 w 390"/>
                <a:gd name="T25" fmla="*/ 71 h 659"/>
                <a:gd name="T26" fmla="*/ 343 w 390"/>
                <a:gd name="T27" fmla="*/ 48 h 659"/>
                <a:gd name="T28" fmla="*/ 335 w 390"/>
                <a:gd name="T29" fmla="*/ 51 h 659"/>
                <a:gd name="T30" fmla="*/ 333 w 390"/>
                <a:gd name="T31" fmla="*/ 40 h 659"/>
                <a:gd name="T32" fmla="*/ 318 w 390"/>
                <a:gd name="T33" fmla="*/ 49 h 659"/>
                <a:gd name="T34" fmla="*/ 312 w 390"/>
                <a:gd name="T35" fmla="*/ 58 h 659"/>
                <a:gd name="T36" fmla="*/ 299 w 390"/>
                <a:gd name="T37" fmla="*/ 48 h 659"/>
                <a:gd name="T38" fmla="*/ 286 w 390"/>
                <a:gd name="T39" fmla="*/ 42 h 659"/>
                <a:gd name="T40" fmla="*/ 272 w 390"/>
                <a:gd name="T41" fmla="*/ 46 h 659"/>
                <a:gd name="T42" fmla="*/ 264 w 390"/>
                <a:gd name="T43" fmla="*/ 45 h 659"/>
                <a:gd name="T44" fmla="*/ 239 w 390"/>
                <a:gd name="T45" fmla="*/ 41 h 659"/>
                <a:gd name="T46" fmla="*/ 228 w 390"/>
                <a:gd name="T47" fmla="*/ 37 h 659"/>
                <a:gd name="T48" fmla="*/ 219 w 390"/>
                <a:gd name="T49" fmla="*/ 32 h 659"/>
                <a:gd name="T50" fmla="*/ 206 w 390"/>
                <a:gd name="T51" fmla="*/ 26 h 659"/>
                <a:gd name="T52" fmla="*/ 200 w 390"/>
                <a:gd name="T53" fmla="*/ 28 h 659"/>
                <a:gd name="T54" fmla="*/ 189 w 390"/>
                <a:gd name="T55" fmla="*/ 25 h 659"/>
                <a:gd name="T56" fmla="*/ 172 w 390"/>
                <a:gd name="T57" fmla="*/ 8 h 659"/>
                <a:gd name="T58" fmla="*/ 161 w 390"/>
                <a:gd name="T59" fmla="*/ 15 h 659"/>
                <a:gd name="T60" fmla="*/ 146 w 390"/>
                <a:gd name="T61" fmla="*/ 0 h 659"/>
                <a:gd name="T62" fmla="*/ 129 w 390"/>
                <a:gd name="T63" fmla="*/ 13 h 659"/>
                <a:gd name="T64" fmla="*/ 147 w 390"/>
                <a:gd name="T65" fmla="*/ 18 h 659"/>
                <a:gd name="T66" fmla="*/ 115 w 390"/>
                <a:gd name="T67" fmla="*/ 50 h 659"/>
                <a:gd name="T68" fmla="*/ 96 w 390"/>
                <a:gd name="T69" fmla="*/ 47 h 659"/>
                <a:gd name="T70" fmla="*/ 77 w 390"/>
                <a:gd name="T71" fmla="*/ 50 h 659"/>
                <a:gd name="T72" fmla="*/ 65 w 390"/>
                <a:gd name="T73" fmla="*/ 58 h 659"/>
                <a:gd name="T74" fmla="*/ 56 w 390"/>
                <a:gd name="T75" fmla="*/ 69 h 659"/>
                <a:gd name="T76" fmla="*/ 51 w 390"/>
                <a:gd name="T77" fmla="*/ 79 h 659"/>
                <a:gd name="T78" fmla="*/ 48 w 390"/>
                <a:gd name="T79" fmla="*/ 102 h 659"/>
                <a:gd name="T80" fmla="*/ 31 w 390"/>
                <a:gd name="T81" fmla="*/ 118 h 659"/>
                <a:gd name="T82" fmla="*/ 13 w 390"/>
                <a:gd name="T83" fmla="*/ 150 h 659"/>
                <a:gd name="T84" fmla="*/ 25 w 390"/>
                <a:gd name="T85" fmla="*/ 162 h 659"/>
                <a:gd name="T86" fmla="*/ 24 w 390"/>
                <a:gd name="T87" fmla="*/ 163 h 659"/>
                <a:gd name="T88" fmla="*/ 13 w 390"/>
                <a:gd name="T89" fmla="*/ 166 h 659"/>
                <a:gd name="T90" fmla="*/ 5 w 390"/>
                <a:gd name="T91" fmla="*/ 169 h 659"/>
                <a:gd name="T92" fmla="*/ 20 w 390"/>
                <a:gd name="T93" fmla="*/ 659 h 659"/>
                <a:gd name="T94" fmla="*/ 374 w 390"/>
                <a:gd name="T95" fmla="*/ 65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90" h="659">
                  <a:moveTo>
                    <a:pt x="390" y="246"/>
                  </a:moveTo>
                  <a:cubicBezTo>
                    <a:pt x="389" y="245"/>
                    <a:pt x="388" y="243"/>
                    <a:pt x="387" y="242"/>
                  </a:cubicBezTo>
                  <a:cubicBezTo>
                    <a:pt x="385" y="239"/>
                    <a:pt x="383" y="236"/>
                    <a:pt x="380" y="233"/>
                  </a:cubicBezTo>
                  <a:cubicBezTo>
                    <a:pt x="377" y="231"/>
                    <a:pt x="374" y="229"/>
                    <a:pt x="371" y="228"/>
                  </a:cubicBezTo>
                  <a:cubicBezTo>
                    <a:pt x="367" y="227"/>
                    <a:pt x="365" y="225"/>
                    <a:pt x="362" y="223"/>
                  </a:cubicBezTo>
                  <a:cubicBezTo>
                    <a:pt x="361" y="222"/>
                    <a:pt x="360" y="221"/>
                    <a:pt x="360" y="220"/>
                  </a:cubicBezTo>
                  <a:cubicBezTo>
                    <a:pt x="358" y="216"/>
                    <a:pt x="355" y="213"/>
                    <a:pt x="350" y="212"/>
                  </a:cubicBezTo>
                  <a:cubicBezTo>
                    <a:pt x="350" y="212"/>
                    <a:pt x="349" y="212"/>
                    <a:pt x="349" y="212"/>
                  </a:cubicBezTo>
                  <a:cubicBezTo>
                    <a:pt x="347" y="212"/>
                    <a:pt x="344" y="213"/>
                    <a:pt x="342" y="214"/>
                  </a:cubicBezTo>
                  <a:cubicBezTo>
                    <a:pt x="339" y="214"/>
                    <a:pt x="337" y="215"/>
                    <a:pt x="335" y="215"/>
                  </a:cubicBezTo>
                  <a:cubicBezTo>
                    <a:pt x="334" y="215"/>
                    <a:pt x="334" y="215"/>
                    <a:pt x="334" y="215"/>
                  </a:cubicBezTo>
                  <a:cubicBezTo>
                    <a:pt x="334" y="215"/>
                    <a:pt x="334" y="214"/>
                    <a:pt x="334" y="213"/>
                  </a:cubicBezTo>
                  <a:cubicBezTo>
                    <a:pt x="334" y="211"/>
                    <a:pt x="334" y="208"/>
                    <a:pt x="332" y="206"/>
                  </a:cubicBezTo>
                  <a:cubicBezTo>
                    <a:pt x="330" y="205"/>
                    <a:pt x="328" y="204"/>
                    <a:pt x="326" y="203"/>
                  </a:cubicBezTo>
                  <a:cubicBezTo>
                    <a:pt x="325" y="203"/>
                    <a:pt x="324" y="202"/>
                    <a:pt x="323" y="202"/>
                  </a:cubicBezTo>
                  <a:cubicBezTo>
                    <a:pt x="321" y="200"/>
                    <a:pt x="320" y="199"/>
                    <a:pt x="319" y="196"/>
                  </a:cubicBezTo>
                  <a:cubicBezTo>
                    <a:pt x="318" y="194"/>
                    <a:pt x="317" y="192"/>
                    <a:pt x="314" y="189"/>
                  </a:cubicBezTo>
                  <a:cubicBezTo>
                    <a:pt x="311" y="186"/>
                    <a:pt x="308" y="184"/>
                    <a:pt x="304" y="183"/>
                  </a:cubicBezTo>
                  <a:cubicBezTo>
                    <a:pt x="301" y="181"/>
                    <a:pt x="298" y="179"/>
                    <a:pt x="296" y="178"/>
                  </a:cubicBezTo>
                  <a:cubicBezTo>
                    <a:pt x="293" y="176"/>
                    <a:pt x="293" y="176"/>
                    <a:pt x="293" y="176"/>
                  </a:cubicBezTo>
                  <a:cubicBezTo>
                    <a:pt x="292" y="175"/>
                    <a:pt x="292" y="175"/>
                    <a:pt x="292" y="175"/>
                  </a:cubicBezTo>
                  <a:cubicBezTo>
                    <a:pt x="287" y="173"/>
                    <a:pt x="280" y="168"/>
                    <a:pt x="280" y="164"/>
                  </a:cubicBezTo>
                  <a:cubicBezTo>
                    <a:pt x="280" y="163"/>
                    <a:pt x="283" y="160"/>
                    <a:pt x="285" y="158"/>
                  </a:cubicBezTo>
                  <a:cubicBezTo>
                    <a:pt x="286" y="157"/>
                    <a:pt x="287" y="156"/>
                    <a:pt x="288" y="155"/>
                  </a:cubicBezTo>
                  <a:cubicBezTo>
                    <a:pt x="292" y="150"/>
                    <a:pt x="296" y="143"/>
                    <a:pt x="299" y="137"/>
                  </a:cubicBezTo>
                  <a:cubicBezTo>
                    <a:pt x="300" y="136"/>
                    <a:pt x="301" y="135"/>
                    <a:pt x="302" y="133"/>
                  </a:cubicBezTo>
                  <a:cubicBezTo>
                    <a:pt x="305" y="129"/>
                    <a:pt x="309" y="123"/>
                    <a:pt x="306" y="117"/>
                  </a:cubicBezTo>
                  <a:cubicBezTo>
                    <a:pt x="305" y="115"/>
                    <a:pt x="304" y="114"/>
                    <a:pt x="302" y="113"/>
                  </a:cubicBezTo>
                  <a:cubicBezTo>
                    <a:pt x="301" y="112"/>
                    <a:pt x="300" y="112"/>
                    <a:pt x="300" y="111"/>
                  </a:cubicBezTo>
                  <a:cubicBezTo>
                    <a:pt x="298" y="106"/>
                    <a:pt x="302" y="101"/>
                    <a:pt x="304" y="100"/>
                  </a:cubicBezTo>
                  <a:cubicBezTo>
                    <a:pt x="307" y="97"/>
                    <a:pt x="309" y="96"/>
                    <a:pt x="312" y="95"/>
                  </a:cubicBezTo>
                  <a:cubicBezTo>
                    <a:pt x="312" y="95"/>
                    <a:pt x="315" y="94"/>
                    <a:pt x="317" y="94"/>
                  </a:cubicBezTo>
                  <a:cubicBezTo>
                    <a:pt x="317" y="96"/>
                    <a:pt x="317" y="98"/>
                    <a:pt x="318" y="99"/>
                  </a:cubicBezTo>
                  <a:cubicBezTo>
                    <a:pt x="319" y="101"/>
                    <a:pt x="321" y="102"/>
                    <a:pt x="322" y="102"/>
                  </a:cubicBezTo>
                  <a:cubicBezTo>
                    <a:pt x="324" y="102"/>
                    <a:pt x="325" y="101"/>
                    <a:pt x="326" y="101"/>
                  </a:cubicBezTo>
                  <a:cubicBezTo>
                    <a:pt x="332" y="98"/>
                    <a:pt x="331" y="90"/>
                    <a:pt x="331" y="86"/>
                  </a:cubicBezTo>
                  <a:cubicBezTo>
                    <a:pt x="330" y="85"/>
                    <a:pt x="330" y="84"/>
                    <a:pt x="330" y="83"/>
                  </a:cubicBezTo>
                  <a:cubicBezTo>
                    <a:pt x="329" y="80"/>
                    <a:pt x="329" y="78"/>
                    <a:pt x="330" y="77"/>
                  </a:cubicBezTo>
                  <a:cubicBezTo>
                    <a:pt x="332" y="74"/>
                    <a:pt x="335" y="73"/>
                    <a:pt x="338" y="71"/>
                  </a:cubicBezTo>
                  <a:cubicBezTo>
                    <a:pt x="343" y="68"/>
                    <a:pt x="349" y="65"/>
                    <a:pt x="351" y="59"/>
                  </a:cubicBezTo>
                  <a:cubicBezTo>
                    <a:pt x="352" y="55"/>
                    <a:pt x="351" y="53"/>
                    <a:pt x="350" y="51"/>
                  </a:cubicBezTo>
                  <a:cubicBezTo>
                    <a:pt x="348" y="49"/>
                    <a:pt x="346" y="48"/>
                    <a:pt x="343" y="48"/>
                  </a:cubicBezTo>
                  <a:cubicBezTo>
                    <a:pt x="343" y="48"/>
                    <a:pt x="342" y="48"/>
                    <a:pt x="342" y="48"/>
                  </a:cubicBezTo>
                  <a:cubicBezTo>
                    <a:pt x="340" y="49"/>
                    <a:pt x="339" y="49"/>
                    <a:pt x="337" y="50"/>
                  </a:cubicBezTo>
                  <a:cubicBezTo>
                    <a:pt x="337" y="50"/>
                    <a:pt x="336" y="51"/>
                    <a:pt x="335" y="51"/>
                  </a:cubicBezTo>
                  <a:cubicBezTo>
                    <a:pt x="335" y="51"/>
                    <a:pt x="335" y="51"/>
                    <a:pt x="335" y="50"/>
                  </a:cubicBezTo>
                  <a:cubicBezTo>
                    <a:pt x="335" y="50"/>
                    <a:pt x="335" y="49"/>
                    <a:pt x="335" y="48"/>
                  </a:cubicBezTo>
                  <a:cubicBezTo>
                    <a:pt x="335" y="46"/>
                    <a:pt x="335" y="43"/>
                    <a:pt x="333" y="40"/>
                  </a:cubicBezTo>
                  <a:cubicBezTo>
                    <a:pt x="332" y="39"/>
                    <a:pt x="329" y="38"/>
                    <a:pt x="326" y="38"/>
                  </a:cubicBezTo>
                  <a:cubicBezTo>
                    <a:pt x="324" y="38"/>
                    <a:pt x="321" y="39"/>
                    <a:pt x="320" y="41"/>
                  </a:cubicBezTo>
                  <a:cubicBezTo>
                    <a:pt x="316" y="44"/>
                    <a:pt x="318" y="47"/>
                    <a:pt x="318" y="49"/>
                  </a:cubicBezTo>
                  <a:cubicBezTo>
                    <a:pt x="319" y="50"/>
                    <a:pt x="319" y="50"/>
                    <a:pt x="319" y="51"/>
                  </a:cubicBezTo>
                  <a:cubicBezTo>
                    <a:pt x="319" y="52"/>
                    <a:pt x="318" y="54"/>
                    <a:pt x="317" y="56"/>
                  </a:cubicBezTo>
                  <a:cubicBezTo>
                    <a:pt x="316" y="57"/>
                    <a:pt x="314" y="58"/>
                    <a:pt x="312" y="58"/>
                  </a:cubicBezTo>
                  <a:cubicBezTo>
                    <a:pt x="311" y="58"/>
                    <a:pt x="310" y="58"/>
                    <a:pt x="309" y="57"/>
                  </a:cubicBezTo>
                  <a:cubicBezTo>
                    <a:pt x="308" y="57"/>
                    <a:pt x="307" y="55"/>
                    <a:pt x="306" y="53"/>
                  </a:cubicBezTo>
                  <a:cubicBezTo>
                    <a:pt x="305" y="51"/>
                    <a:pt x="303" y="48"/>
                    <a:pt x="299" y="48"/>
                  </a:cubicBezTo>
                  <a:cubicBezTo>
                    <a:pt x="298" y="48"/>
                    <a:pt x="297" y="48"/>
                    <a:pt x="297" y="48"/>
                  </a:cubicBezTo>
                  <a:cubicBezTo>
                    <a:pt x="296" y="47"/>
                    <a:pt x="296" y="47"/>
                    <a:pt x="295" y="46"/>
                  </a:cubicBezTo>
                  <a:cubicBezTo>
                    <a:pt x="293" y="43"/>
                    <a:pt x="290" y="42"/>
                    <a:pt x="286" y="42"/>
                  </a:cubicBezTo>
                  <a:cubicBezTo>
                    <a:pt x="286" y="42"/>
                    <a:pt x="286" y="42"/>
                    <a:pt x="285" y="42"/>
                  </a:cubicBezTo>
                  <a:cubicBezTo>
                    <a:pt x="281" y="42"/>
                    <a:pt x="277" y="44"/>
                    <a:pt x="274" y="45"/>
                  </a:cubicBezTo>
                  <a:cubicBezTo>
                    <a:pt x="273" y="46"/>
                    <a:pt x="272" y="46"/>
                    <a:pt x="272" y="46"/>
                  </a:cubicBezTo>
                  <a:cubicBezTo>
                    <a:pt x="271" y="47"/>
                    <a:pt x="268" y="48"/>
                    <a:pt x="268" y="48"/>
                  </a:cubicBezTo>
                  <a:cubicBezTo>
                    <a:pt x="267" y="48"/>
                    <a:pt x="266" y="47"/>
                    <a:pt x="265" y="46"/>
                  </a:cubicBezTo>
                  <a:cubicBezTo>
                    <a:pt x="264" y="45"/>
                    <a:pt x="264" y="45"/>
                    <a:pt x="264" y="45"/>
                  </a:cubicBezTo>
                  <a:cubicBezTo>
                    <a:pt x="262" y="42"/>
                    <a:pt x="258" y="38"/>
                    <a:pt x="252" y="38"/>
                  </a:cubicBezTo>
                  <a:cubicBezTo>
                    <a:pt x="249" y="38"/>
                    <a:pt x="247" y="39"/>
                    <a:pt x="245" y="40"/>
                  </a:cubicBezTo>
                  <a:cubicBezTo>
                    <a:pt x="243" y="40"/>
                    <a:pt x="241" y="41"/>
                    <a:pt x="239" y="41"/>
                  </a:cubicBezTo>
                  <a:cubicBezTo>
                    <a:pt x="239" y="41"/>
                    <a:pt x="239" y="41"/>
                    <a:pt x="239" y="41"/>
                  </a:cubicBezTo>
                  <a:cubicBezTo>
                    <a:pt x="237" y="41"/>
                    <a:pt x="231" y="39"/>
                    <a:pt x="229" y="38"/>
                  </a:cubicBezTo>
                  <a:cubicBezTo>
                    <a:pt x="228" y="38"/>
                    <a:pt x="228" y="37"/>
                    <a:pt x="228" y="37"/>
                  </a:cubicBezTo>
                  <a:cubicBezTo>
                    <a:pt x="227" y="36"/>
                    <a:pt x="227" y="35"/>
                    <a:pt x="225" y="34"/>
                  </a:cubicBezTo>
                  <a:cubicBezTo>
                    <a:pt x="224" y="32"/>
                    <a:pt x="222" y="32"/>
                    <a:pt x="220" y="32"/>
                  </a:cubicBezTo>
                  <a:cubicBezTo>
                    <a:pt x="220" y="32"/>
                    <a:pt x="219" y="32"/>
                    <a:pt x="219" y="32"/>
                  </a:cubicBezTo>
                  <a:cubicBezTo>
                    <a:pt x="218" y="31"/>
                    <a:pt x="217" y="30"/>
                    <a:pt x="217" y="29"/>
                  </a:cubicBezTo>
                  <a:cubicBezTo>
                    <a:pt x="216" y="28"/>
                    <a:pt x="214" y="25"/>
                    <a:pt x="210" y="25"/>
                  </a:cubicBezTo>
                  <a:cubicBezTo>
                    <a:pt x="209" y="25"/>
                    <a:pt x="208" y="25"/>
                    <a:pt x="206" y="26"/>
                  </a:cubicBezTo>
                  <a:cubicBezTo>
                    <a:pt x="205" y="26"/>
                    <a:pt x="204" y="27"/>
                    <a:pt x="203" y="27"/>
                  </a:cubicBezTo>
                  <a:cubicBezTo>
                    <a:pt x="202" y="28"/>
                    <a:pt x="201" y="28"/>
                    <a:pt x="200" y="28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200" y="28"/>
                    <a:pt x="199" y="28"/>
                    <a:pt x="199" y="27"/>
                  </a:cubicBezTo>
                  <a:cubicBezTo>
                    <a:pt x="198" y="27"/>
                    <a:pt x="197" y="26"/>
                    <a:pt x="195" y="26"/>
                  </a:cubicBezTo>
                  <a:cubicBezTo>
                    <a:pt x="193" y="25"/>
                    <a:pt x="191" y="25"/>
                    <a:pt x="189" y="25"/>
                  </a:cubicBezTo>
                  <a:cubicBezTo>
                    <a:pt x="184" y="25"/>
                    <a:pt x="182" y="25"/>
                    <a:pt x="181" y="23"/>
                  </a:cubicBezTo>
                  <a:cubicBezTo>
                    <a:pt x="180" y="22"/>
                    <a:pt x="179" y="20"/>
                    <a:pt x="179" y="18"/>
                  </a:cubicBezTo>
                  <a:cubicBezTo>
                    <a:pt x="178" y="14"/>
                    <a:pt x="176" y="10"/>
                    <a:pt x="172" y="8"/>
                  </a:cubicBezTo>
                  <a:cubicBezTo>
                    <a:pt x="171" y="8"/>
                    <a:pt x="170" y="8"/>
                    <a:pt x="169" y="8"/>
                  </a:cubicBezTo>
                  <a:cubicBezTo>
                    <a:pt x="165" y="8"/>
                    <a:pt x="163" y="11"/>
                    <a:pt x="162" y="14"/>
                  </a:cubicBezTo>
                  <a:cubicBezTo>
                    <a:pt x="162" y="14"/>
                    <a:pt x="161" y="15"/>
                    <a:pt x="161" y="15"/>
                  </a:cubicBezTo>
                  <a:cubicBezTo>
                    <a:pt x="161" y="15"/>
                    <a:pt x="161" y="15"/>
                    <a:pt x="160" y="15"/>
                  </a:cubicBezTo>
                  <a:cubicBezTo>
                    <a:pt x="159" y="13"/>
                    <a:pt x="158" y="12"/>
                    <a:pt x="157" y="10"/>
                  </a:cubicBezTo>
                  <a:cubicBezTo>
                    <a:pt x="155" y="6"/>
                    <a:pt x="153" y="2"/>
                    <a:pt x="146" y="0"/>
                  </a:cubicBezTo>
                  <a:cubicBezTo>
                    <a:pt x="146" y="0"/>
                    <a:pt x="145" y="0"/>
                    <a:pt x="145" y="0"/>
                  </a:cubicBezTo>
                  <a:cubicBezTo>
                    <a:pt x="139" y="0"/>
                    <a:pt x="130" y="5"/>
                    <a:pt x="129" y="12"/>
                  </a:cubicBezTo>
                  <a:cubicBezTo>
                    <a:pt x="129" y="13"/>
                    <a:pt x="129" y="13"/>
                    <a:pt x="129" y="13"/>
                  </a:cubicBezTo>
                  <a:cubicBezTo>
                    <a:pt x="131" y="14"/>
                    <a:pt x="131" y="14"/>
                    <a:pt x="131" y="14"/>
                  </a:cubicBezTo>
                  <a:cubicBezTo>
                    <a:pt x="134" y="16"/>
                    <a:pt x="138" y="17"/>
                    <a:pt x="141" y="17"/>
                  </a:cubicBezTo>
                  <a:cubicBezTo>
                    <a:pt x="143" y="17"/>
                    <a:pt x="145" y="17"/>
                    <a:pt x="147" y="18"/>
                  </a:cubicBezTo>
                  <a:cubicBezTo>
                    <a:pt x="152" y="20"/>
                    <a:pt x="154" y="28"/>
                    <a:pt x="155" y="31"/>
                  </a:cubicBezTo>
                  <a:cubicBezTo>
                    <a:pt x="156" y="34"/>
                    <a:pt x="155" y="37"/>
                    <a:pt x="153" y="40"/>
                  </a:cubicBezTo>
                  <a:cubicBezTo>
                    <a:pt x="147" y="47"/>
                    <a:pt x="129" y="50"/>
                    <a:pt x="115" y="50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08" y="50"/>
                    <a:pt x="104" y="50"/>
                    <a:pt x="101" y="49"/>
                  </a:cubicBezTo>
                  <a:cubicBezTo>
                    <a:pt x="99" y="48"/>
                    <a:pt x="98" y="48"/>
                    <a:pt x="96" y="47"/>
                  </a:cubicBezTo>
                  <a:cubicBezTo>
                    <a:pt x="94" y="45"/>
                    <a:pt x="91" y="44"/>
                    <a:pt x="88" y="44"/>
                  </a:cubicBezTo>
                  <a:cubicBezTo>
                    <a:pt x="86" y="44"/>
                    <a:pt x="85" y="44"/>
                    <a:pt x="83" y="45"/>
                  </a:cubicBezTo>
                  <a:cubicBezTo>
                    <a:pt x="80" y="46"/>
                    <a:pt x="79" y="48"/>
                    <a:pt x="77" y="50"/>
                  </a:cubicBezTo>
                  <a:cubicBezTo>
                    <a:pt x="76" y="51"/>
                    <a:pt x="76" y="52"/>
                    <a:pt x="75" y="52"/>
                  </a:cubicBezTo>
                  <a:cubicBezTo>
                    <a:pt x="74" y="53"/>
                    <a:pt x="73" y="53"/>
                    <a:pt x="72" y="53"/>
                  </a:cubicBezTo>
                  <a:cubicBezTo>
                    <a:pt x="70" y="54"/>
                    <a:pt x="67" y="55"/>
                    <a:pt x="65" y="58"/>
                  </a:cubicBezTo>
                  <a:cubicBezTo>
                    <a:pt x="64" y="61"/>
                    <a:pt x="64" y="63"/>
                    <a:pt x="64" y="66"/>
                  </a:cubicBezTo>
                  <a:cubicBezTo>
                    <a:pt x="64" y="66"/>
                    <a:pt x="63" y="66"/>
                    <a:pt x="63" y="66"/>
                  </a:cubicBezTo>
                  <a:cubicBezTo>
                    <a:pt x="60" y="66"/>
                    <a:pt x="57" y="67"/>
                    <a:pt x="56" y="69"/>
                  </a:cubicBezTo>
                  <a:cubicBezTo>
                    <a:pt x="53" y="71"/>
                    <a:pt x="53" y="74"/>
                    <a:pt x="53" y="76"/>
                  </a:cubicBezTo>
                  <a:cubicBezTo>
                    <a:pt x="53" y="77"/>
                    <a:pt x="54" y="78"/>
                    <a:pt x="53" y="79"/>
                  </a:cubicBezTo>
                  <a:cubicBezTo>
                    <a:pt x="53" y="79"/>
                    <a:pt x="52" y="79"/>
                    <a:pt x="51" y="79"/>
                  </a:cubicBezTo>
                  <a:cubicBezTo>
                    <a:pt x="49" y="79"/>
                    <a:pt x="47" y="79"/>
                    <a:pt x="45" y="81"/>
                  </a:cubicBezTo>
                  <a:cubicBezTo>
                    <a:pt x="42" y="85"/>
                    <a:pt x="42" y="90"/>
                    <a:pt x="45" y="94"/>
                  </a:cubicBezTo>
                  <a:cubicBezTo>
                    <a:pt x="47" y="97"/>
                    <a:pt x="49" y="100"/>
                    <a:pt x="48" y="102"/>
                  </a:cubicBezTo>
                  <a:cubicBezTo>
                    <a:pt x="48" y="103"/>
                    <a:pt x="47" y="104"/>
                    <a:pt x="45" y="105"/>
                  </a:cubicBezTo>
                  <a:cubicBezTo>
                    <a:pt x="43" y="106"/>
                    <a:pt x="42" y="107"/>
                    <a:pt x="41" y="107"/>
                  </a:cubicBezTo>
                  <a:cubicBezTo>
                    <a:pt x="37" y="109"/>
                    <a:pt x="33" y="111"/>
                    <a:pt x="31" y="118"/>
                  </a:cubicBezTo>
                  <a:cubicBezTo>
                    <a:pt x="31" y="119"/>
                    <a:pt x="31" y="120"/>
                    <a:pt x="30" y="121"/>
                  </a:cubicBezTo>
                  <a:cubicBezTo>
                    <a:pt x="29" y="126"/>
                    <a:pt x="29" y="127"/>
                    <a:pt x="24" y="130"/>
                  </a:cubicBezTo>
                  <a:cubicBezTo>
                    <a:pt x="16" y="134"/>
                    <a:pt x="12" y="142"/>
                    <a:pt x="13" y="150"/>
                  </a:cubicBezTo>
                  <a:cubicBezTo>
                    <a:pt x="14" y="158"/>
                    <a:pt x="21" y="159"/>
                    <a:pt x="25" y="160"/>
                  </a:cubicBezTo>
                  <a:cubicBezTo>
                    <a:pt x="25" y="160"/>
                    <a:pt x="26" y="160"/>
                    <a:pt x="26" y="160"/>
                  </a:cubicBezTo>
                  <a:cubicBezTo>
                    <a:pt x="26" y="160"/>
                    <a:pt x="25" y="161"/>
                    <a:pt x="25" y="162"/>
                  </a:cubicBezTo>
                  <a:cubicBezTo>
                    <a:pt x="25" y="162"/>
                    <a:pt x="25" y="162"/>
                    <a:pt x="25" y="162"/>
                  </a:cubicBezTo>
                  <a:cubicBezTo>
                    <a:pt x="25" y="163"/>
                    <a:pt x="25" y="163"/>
                    <a:pt x="25" y="164"/>
                  </a:cubicBezTo>
                  <a:cubicBezTo>
                    <a:pt x="24" y="163"/>
                    <a:pt x="24" y="163"/>
                    <a:pt x="24" y="163"/>
                  </a:cubicBezTo>
                  <a:cubicBezTo>
                    <a:pt x="22" y="165"/>
                    <a:pt x="22" y="165"/>
                    <a:pt x="22" y="165"/>
                  </a:cubicBezTo>
                  <a:cubicBezTo>
                    <a:pt x="21" y="166"/>
                    <a:pt x="21" y="168"/>
                    <a:pt x="20" y="170"/>
                  </a:cubicBezTo>
                  <a:cubicBezTo>
                    <a:pt x="19" y="168"/>
                    <a:pt x="16" y="166"/>
                    <a:pt x="13" y="166"/>
                  </a:cubicBezTo>
                  <a:cubicBezTo>
                    <a:pt x="12" y="166"/>
                    <a:pt x="11" y="167"/>
                    <a:pt x="10" y="167"/>
                  </a:cubicBezTo>
                  <a:cubicBezTo>
                    <a:pt x="9" y="168"/>
                    <a:pt x="9" y="169"/>
                    <a:pt x="8" y="171"/>
                  </a:cubicBezTo>
                  <a:cubicBezTo>
                    <a:pt x="7" y="170"/>
                    <a:pt x="6" y="170"/>
                    <a:pt x="5" y="169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17" y="659"/>
                    <a:pt x="17" y="659"/>
                    <a:pt x="17" y="659"/>
                  </a:cubicBezTo>
                  <a:cubicBezTo>
                    <a:pt x="20" y="659"/>
                    <a:pt x="20" y="659"/>
                    <a:pt x="20" y="659"/>
                  </a:cubicBezTo>
                  <a:cubicBezTo>
                    <a:pt x="36" y="659"/>
                    <a:pt x="117" y="658"/>
                    <a:pt x="208" y="658"/>
                  </a:cubicBezTo>
                  <a:cubicBezTo>
                    <a:pt x="272" y="658"/>
                    <a:pt x="327" y="658"/>
                    <a:pt x="371" y="659"/>
                  </a:cubicBezTo>
                  <a:cubicBezTo>
                    <a:pt x="374" y="659"/>
                    <a:pt x="374" y="659"/>
                    <a:pt x="374" y="659"/>
                  </a:cubicBezTo>
                  <a:cubicBezTo>
                    <a:pt x="390" y="247"/>
                    <a:pt x="390" y="247"/>
                    <a:pt x="390" y="247"/>
                  </a:cubicBezTo>
                  <a:lnTo>
                    <a:pt x="390" y="246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2279889" y="394370"/>
              <a:ext cx="243574" cy="116603"/>
            </a:xfrm>
            <a:custGeom>
              <a:avLst/>
              <a:gdLst>
                <a:gd name="T0" fmla="*/ 10 w 77"/>
                <a:gd name="T1" fmla="*/ 39 h 41"/>
                <a:gd name="T2" fmla="*/ 18 w 77"/>
                <a:gd name="T3" fmla="*/ 36 h 41"/>
                <a:gd name="T4" fmla="*/ 22 w 77"/>
                <a:gd name="T5" fmla="*/ 35 h 41"/>
                <a:gd name="T6" fmla="*/ 27 w 77"/>
                <a:gd name="T7" fmla="*/ 36 h 41"/>
                <a:gd name="T8" fmla="*/ 33 w 77"/>
                <a:gd name="T9" fmla="*/ 37 h 41"/>
                <a:gd name="T10" fmla="*/ 38 w 77"/>
                <a:gd name="T11" fmla="*/ 35 h 41"/>
                <a:gd name="T12" fmla="*/ 49 w 77"/>
                <a:gd name="T13" fmla="*/ 41 h 41"/>
                <a:gd name="T14" fmla="*/ 63 w 77"/>
                <a:gd name="T15" fmla="*/ 34 h 41"/>
                <a:gd name="T16" fmla="*/ 67 w 77"/>
                <a:gd name="T17" fmla="*/ 30 h 41"/>
                <a:gd name="T18" fmla="*/ 76 w 77"/>
                <a:gd name="T19" fmla="*/ 14 h 41"/>
                <a:gd name="T20" fmla="*/ 67 w 77"/>
                <a:gd name="T21" fmla="*/ 0 h 41"/>
                <a:gd name="T22" fmla="*/ 64 w 77"/>
                <a:gd name="T23" fmla="*/ 0 h 41"/>
                <a:gd name="T24" fmla="*/ 57 w 77"/>
                <a:gd name="T25" fmla="*/ 3 h 41"/>
                <a:gd name="T26" fmla="*/ 55 w 77"/>
                <a:gd name="T27" fmla="*/ 5 h 41"/>
                <a:gd name="T28" fmla="*/ 39 w 77"/>
                <a:gd name="T29" fmla="*/ 10 h 41"/>
                <a:gd name="T30" fmla="*/ 38 w 77"/>
                <a:gd name="T31" fmla="*/ 10 h 41"/>
                <a:gd name="T32" fmla="*/ 33 w 77"/>
                <a:gd name="T33" fmla="*/ 8 h 41"/>
                <a:gd name="T34" fmla="*/ 32 w 77"/>
                <a:gd name="T35" fmla="*/ 7 h 41"/>
                <a:gd name="T36" fmla="*/ 24 w 77"/>
                <a:gd name="T37" fmla="*/ 4 h 41"/>
                <a:gd name="T38" fmla="*/ 24 w 77"/>
                <a:gd name="T39" fmla="*/ 4 h 41"/>
                <a:gd name="T40" fmla="*/ 19 w 77"/>
                <a:gd name="T41" fmla="*/ 8 h 41"/>
                <a:gd name="T42" fmla="*/ 19 w 77"/>
                <a:gd name="T43" fmla="*/ 9 h 41"/>
                <a:gd name="T44" fmla="*/ 17 w 77"/>
                <a:gd name="T45" fmla="*/ 9 h 41"/>
                <a:gd name="T46" fmla="*/ 11 w 77"/>
                <a:gd name="T47" fmla="*/ 11 h 41"/>
                <a:gd name="T48" fmla="*/ 8 w 77"/>
                <a:gd name="T49" fmla="*/ 19 h 41"/>
                <a:gd name="T50" fmla="*/ 8 w 77"/>
                <a:gd name="T51" fmla="*/ 21 h 41"/>
                <a:gd name="T52" fmla="*/ 8 w 77"/>
                <a:gd name="T53" fmla="*/ 23 h 41"/>
                <a:gd name="T54" fmla="*/ 6 w 77"/>
                <a:gd name="T55" fmla="*/ 25 h 41"/>
                <a:gd name="T56" fmla="*/ 5 w 77"/>
                <a:gd name="T57" fmla="*/ 26 h 41"/>
                <a:gd name="T58" fmla="*/ 3 w 77"/>
                <a:gd name="T59" fmla="*/ 35 h 41"/>
                <a:gd name="T60" fmla="*/ 10 w 77"/>
                <a:gd name="T61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7" h="41">
                  <a:moveTo>
                    <a:pt x="10" y="39"/>
                  </a:moveTo>
                  <a:cubicBezTo>
                    <a:pt x="13" y="39"/>
                    <a:pt x="15" y="38"/>
                    <a:pt x="18" y="36"/>
                  </a:cubicBezTo>
                  <a:cubicBezTo>
                    <a:pt x="19" y="36"/>
                    <a:pt x="21" y="35"/>
                    <a:pt x="22" y="35"/>
                  </a:cubicBezTo>
                  <a:cubicBezTo>
                    <a:pt x="24" y="35"/>
                    <a:pt x="26" y="35"/>
                    <a:pt x="27" y="36"/>
                  </a:cubicBezTo>
                  <a:cubicBezTo>
                    <a:pt x="29" y="36"/>
                    <a:pt x="31" y="37"/>
                    <a:pt x="33" y="37"/>
                  </a:cubicBezTo>
                  <a:cubicBezTo>
                    <a:pt x="35" y="37"/>
                    <a:pt x="37" y="36"/>
                    <a:pt x="38" y="35"/>
                  </a:cubicBezTo>
                  <a:cubicBezTo>
                    <a:pt x="42" y="39"/>
                    <a:pt x="45" y="41"/>
                    <a:pt x="49" y="41"/>
                  </a:cubicBezTo>
                  <a:cubicBezTo>
                    <a:pt x="54" y="41"/>
                    <a:pt x="58" y="38"/>
                    <a:pt x="63" y="34"/>
                  </a:cubicBezTo>
                  <a:cubicBezTo>
                    <a:pt x="64" y="32"/>
                    <a:pt x="65" y="31"/>
                    <a:pt x="67" y="30"/>
                  </a:cubicBezTo>
                  <a:cubicBezTo>
                    <a:pt x="71" y="26"/>
                    <a:pt x="77" y="21"/>
                    <a:pt x="76" y="14"/>
                  </a:cubicBezTo>
                  <a:cubicBezTo>
                    <a:pt x="76" y="9"/>
                    <a:pt x="73" y="2"/>
                    <a:pt x="67" y="0"/>
                  </a:cubicBezTo>
                  <a:cubicBezTo>
                    <a:pt x="66" y="0"/>
                    <a:pt x="65" y="0"/>
                    <a:pt x="64" y="0"/>
                  </a:cubicBezTo>
                  <a:cubicBezTo>
                    <a:pt x="61" y="0"/>
                    <a:pt x="59" y="2"/>
                    <a:pt x="57" y="3"/>
                  </a:cubicBezTo>
                  <a:cubicBezTo>
                    <a:pt x="57" y="4"/>
                    <a:pt x="56" y="4"/>
                    <a:pt x="55" y="5"/>
                  </a:cubicBezTo>
                  <a:cubicBezTo>
                    <a:pt x="51" y="7"/>
                    <a:pt x="44" y="10"/>
                    <a:pt x="39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6" y="10"/>
                    <a:pt x="35" y="9"/>
                    <a:pt x="33" y="8"/>
                  </a:cubicBezTo>
                  <a:cubicBezTo>
                    <a:pt x="33" y="8"/>
                    <a:pt x="32" y="7"/>
                    <a:pt x="32" y="7"/>
                  </a:cubicBezTo>
                  <a:cubicBezTo>
                    <a:pt x="30" y="6"/>
                    <a:pt x="27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0" y="4"/>
                    <a:pt x="19" y="7"/>
                    <a:pt x="19" y="8"/>
                  </a:cubicBezTo>
                  <a:cubicBezTo>
                    <a:pt x="19" y="8"/>
                    <a:pt x="19" y="9"/>
                    <a:pt x="19" y="9"/>
                  </a:cubicBezTo>
                  <a:cubicBezTo>
                    <a:pt x="18" y="9"/>
                    <a:pt x="17" y="9"/>
                    <a:pt x="17" y="9"/>
                  </a:cubicBezTo>
                  <a:cubicBezTo>
                    <a:pt x="14" y="9"/>
                    <a:pt x="12" y="9"/>
                    <a:pt x="11" y="11"/>
                  </a:cubicBezTo>
                  <a:cubicBezTo>
                    <a:pt x="7" y="14"/>
                    <a:pt x="8" y="17"/>
                    <a:pt x="8" y="19"/>
                  </a:cubicBezTo>
                  <a:cubicBezTo>
                    <a:pt x="8" y="20"/>
                    <a:pt x="8" y="21"/>
                    <a:pt x="8" y="21"/>
                  </a:cubicBezTo>
                  <a:cubicBezTo>
                    <a:pt x="8" y="21"/>
                    <a:pt x="8" y="23"/>
                    <a:pt x="8" y="23"/>
                  </a:cubicBezTo>
                  <a:cubicBezTo>
                    <a:pt x="8" y="24"/>
                    <a:pt x="7" y="24"/>
                    <a:pt x="6" y="25"/>
                  </a:cubicBezTo>
                  <a:cubicBezTo>
                    <a:pt x="6" y="25"/>
                    <a:pt x="5" y="26"/>
                    <a:pt x="5" y="26"/>
                  </a:cubicBezTo>
                  <a:cubicBezTo>
                    <a:pt x="3" y="27"/>
                    <a:pt x="0" y="30"/>
                    <a:pt x="3" y="35"/>
                  </a:cubicBezTo>
                  <a:cubicBezTo>
                    <a:pt x="5" y="38"/>
                    <a:pt x="8" y="39"/>
                    <a:pt x="10" y="39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3172266" y="722440"/>
              <a:ext cx="103765" cy="93875"/>
            </a:xfrm>
            <a:custGeom>
              <a:avLst/>
              <a:gdLst>
                <a:gd name="T0" fmla="*/ 24 w 33"/>
                <a:gd name="T1" fmla="*/ 17 h 33"/>
                <a:gd name="T2" fmla="*/ 32 w 33"/>
                <a:gd name="T3" fmla="*/ 6 h 33"/>
                <a:gd name="T4" fmla="*/ 28 w 33"/>
                <a:gd name="T5" fmla="*/ 1 h 33"/>
                <a:gd name="T6" fmla="*/ 22 w 33"/>
                <a:gd name="T7" fmla="*/ 4 h 33"/>
                <a:gd name="T8" fmla="*/ 21 w 33"/>
                <a:gd name="T9" fmla="*/ 5 h 33"/>
                <a:gd name="T10" fmla="*/ 20 w 33"/>
                <a:gd name="T11" fmla="*/ 6 h 33"/>
                <a:gd name="T12" fmla="*/ 19 w 33"/>
                <a:gd name="T13" fmla="*/ 5 h 33"/>
                <a:gd name="T14" fmla="*/ 16 w 33"/>
                <a:gd name="T15" fmla="*/ 2 h 33"/>
                <a:gd name="T16" fmla="*/ 10 w 33"/>
                <a:gd name="T17" fmla="*/ 0 h 33"/>
                <a:gd name="T18" fmla="*/ 1 w 33"/>
                <a:gd name="T19" fmla="*/ 15 h 33"/>
                <a:gd name="T20" fmla="*/ 1 w 33"/>
                <a:gd name="T21" fmla="*/ 16 h 33"/>
                <a:gd name="T22" fmla="*/ 13 w 33"/>
                <a:gd name="T23" fmla="*/ 31 h 33"/>
                <a:gd name="T24" fmla="*/ 15 w 33"/>
                <a:gd name="T25" fmla="*/ 31 h 33"/>
                <a:gd name="T26" fmla="*/ 23 w 33"/>
                <a:gd name="T27" fmla="*/ 33 h 33"/>
                <a:gd name="T28" fmla="*/ 23 w 33"/>
                <a:gd name="T29" fmla="*/ 33 h 33"/>
                <a:gd name="T30" fmla="*/ 29 w 33"/>
                <a:gd name="T31" fmla="*/ 30 h 33"/>
                <a:gd name="T32" fmla="*/ 30 w 33"/>
                <a:gd name="T33" fmla="*/ 25 h 33"/>
                <a:gd name="T34" fmla="*/ 22 w 33"/>
                <a:gd name="T35" fmla="*/ 20 h 33"/>
                <a:gd name="T36" fmla="*/ 20 w 33"/>
                <a:gd name="T37" fmla="*/ 20 h 33"/>
                <a:gd name="T38" fmla="*/ 24 w 33"/>
                <a:gd name="T39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" h="33">
                  <a:moveTo>
                    <a:pt x="24" y="17"/>
                  </a:moveTo>
                  <a:cubicBezTo>
                    <a:pt x="28" y="15"/>
                    <a:pt x="33" y="12"/>
                    <a:pt x="32" y="6"/>
                  </a:cubicBezTo>
                  <a:cubicBezTo>
                    <a:pt x="32" y="1"/>
                    <a:pt x="29" y="1"/>
                    <a:pt x="28" y="1"/>
                  </a:cubicBezTo>
                  <a:cubicBezTo>
                    <a:pt x="25" y="1"/>
                    <a:pt x="23" y="3"/>
                    <a:pt x="22" y="4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5"/>
                    <a:pt x="20" y="6"/>
                    <a:pt x="20" y="6"/>
                  </a:cubicBezTo>
                  <a:cubicBezTo>
                    <a:pt x="20" y="6"/>
                    <a:pt x="19" y="6"/>
                    <a:pt x="19" y="5"/>
                  </a:cubicBezTo>
                  <a:cubicBezTo>
                    <a:pt x="19" y="5"/>
                    <a:pt x="18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ubicBezTo>
                    <a:pt x="3" y="0"/>
                    <a:pt x="2" y="10"/>
                    <a:pt x="1" y="1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27"/>
                    <a:pt x="1" y="29"/>
                    <a:pt x="13" y="31"/>
                  </a:cubicBezTo>
                  <a:cubicBezTo>
                    <a:pt x="13" y="31"/>
                    <a:pt x="14" y="31"/>
                    <a:pt x="15" y="31"/>
                  </a:cubicBezTo>
                  <a:cubicBezTo>
                    <a:pt x="17" y="32"/>
                    <a:pt x="20" y="33"/>
                    <a:pt x="23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5" y="33"/>
                    <a:pt x="27" y="32"/>
                    <a:pt x="29" y="30"/>
                  </a:cubicBezTo>
                  <a:cubicBezTo>
                    <a:pt x="30" y="29"/>
                    <a:pt x="30" y="27"/>
                    <a:pt x="30" y="25"/>
                  </a:cubicBezTo>
                  <a:cubicBezTo>
                    <a:pt x="29" y="20"/>
                    <a:pt x="25" y="20"/>
                    <a:pt x="22" y="20"/>
                  </a:cubicBezTo>
                  <a:cubicBezTo>
                    <a:pt x="21" y="20"/>
                    <a:pt x="20" y="20"/>
                    <a:pt x="20" y="20"/>
                  </a:cubicBezTo>
                  <a:cubicBezTo>
                    <a:pt x="20" y="19"/>
                    <a:pt x="22" y="18"/>
                    <a:pt x="24" y="17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3613539" y="3294623"/>
              <a:ext cx="1011433" cy="658115"/>
            </a:xfrm>
            <a:custGeom>
              <a:avLst/>
              <a:gdLst>
                <a:gd name="T0" fmla="*/ 309 w 321"/>
                <a:gd name="T1" fmla="*/ 173 h 231"/>
                <a:gd name="T2" fmla="*/ 293 w 321"/>
                <a:gd name="T3" fmla="*/ 162 h 231"/>
                <a:gd name="T4" fmla="*/ 257 w 321"/>
                <a:gd name="T5" fmla="*/ 125 h 231"/>
                <a:gd name="T6" fmla="*/ 246 w 321"/>
                <a:gd name="T7" fmla="*/ 106 h 231"/>
                <a:gd name="T8" fmla="*/ 230 w 321"/>
                <a:gd name="T9" fmla="*/ 110 h 231"/>
                <a:gd name="T10" fmla="*/ 188 w 321"/>
                <a:gd name="T11" fmla="*/ 100 h 231"/>
                <a:gd name="T12" fmla="*/ 160 w 321"/>
                <a:gd name="T13" fmla="*/ 92 h 231"/>
                <a:gd name="T14" fmla="*/ 150 w 321"/>
                <a:gd name="T15" fmla="*/ 95 h 231"/>
                <a:gd name="T16" fmla="*/ 143 w 321"/>
                <a:gd name="T17" fmla="*/ 103 h 231"/>
                <a:gd name="T18" fmla="*/ 132 w 321"/>
                <a:gd name="T19" fmla="*/ 93 h 231"/>
                <a:gd name="T20" fmla="*/ 107 w 321"/>
                <a:gd name="T21" fmla="*/ 69 h 231"/>
                <a:gd name="T22" fmla="*/ 94 w 321"/>
                <a:gd name="T23" fmla="*/ 50 h 231"/>
                <a:gd name="T24" fmla="*/ 79 w 321"/>
                <a:gd name="T25" fmla="*/ 31 h 231"/>
                <a:gd name="T26" fmla="*/ 74 w 321"/>
                <a:gd name="T27" fmla="*/ 34 h 231"/>
                <a:gd name="T28" fmla="*/ 69 w 321"/>
                <a:gd name="T29" fmla="*/ 36 h 231"/>
                <a:gd name="T30" fmla="*/ 61 w 321"/>
                <a:gd name="T31" fmla="*/ 19 h 231"/>
                <a:gd name="T32" fmla="*/ 47 w 321"/>
                <a:gd name="T33" fmla="*/ 6 h 231"/>
                <a:gd name="T34" fmla="*/ 37 w 321"/>
                <a:gd name="T35" fmla="*/ 8 h 231"/>
                <a:gd name="T36" fmla="*/ 16 w 321"/>
                <a:gd name="T37" fmla="*/ 1 h 231"/>
                <a:gd name="T38" fmla="*/ 0 w 321"/>
                <a:gd name="T39" fmla="*/ 178 h 231"/>
                <a:gd name="T40" fmla="*/ 9 w 321"/>
                <a:gd name="T41" fmla="*/ 181 h 231"/>
                <a:gd name="T42" fmla="*/ 12 w 321"/>
                <a:gd name="T43" fmla="*/ 194 h 231"/>
                <a:gd name="T44" fmla="*/ 26 w 321"/>
                <a:gd name="T45" fmla="*/ 189 h 231"/>
                <a:gd name="T46" fmla="*/ 28 w 321"/>
                <a:gd name="T47" fmla="*/ 186 h 231"/>
                <a:gd name="T48" fmla="*/ 34 w 321"/>
                <a:gd name="T49" fmla="*/ 189 h 231"/>
                <a:gd name="T50" fmla="*/ 47 w 321"/>
                <a:gd name="T51" fmla="*/ 195 h 231"/>
                <a:gd name="T52" fmla="*/ 57 w 321"/>
                <a:gd name="T53" fmla="*/ 201 h 231"/>
                <a:gd name="T54" fmla="*/ 71 w 321"/>
                <a:gd name="T55" fmla="*/ 211 h 231"/>
                <a:gd name="T56" fmla="*/ 95 w 321"/>
                <a:gd name="T57" fmla="*/ 212 h 231"/>
                <a:gd name="T58" fmla="*/ 113 w 321"/>
                <a:gd name="T59" fmla="*/ 202 h 231"/>
                <a:gd name="T60" fmla="*/ 132 w 321"/>
                <a:gd name="T61" fmla="*/ 196 h 231"/>
                <a:gd name="T62" fmla="*/ 130 w 321"/>
                <a:gd name="T63" fmla="*/ 186 h 231"/>
                <a:gd name="T64" fmla="*/ 126 w 321"/>
                <a:gd name="T65" fmla="*/ 187 h 231"/>
                <a:gd name="T66" fmla="*/ 126 w 321"/>
                <a:gd name="T67" fmla="*/ 181 h 231"/>
                <a:gd name="T68" fmla="*/ 141 w 321"/>
                <a:gd name="T69" fmla="*/ 178 h 231"/>
                <a:gd name="T70" fmla="*/ 138 w 321"/>
                <a:gd name="T71" fmla="*/ 194 h 231"/>
                <a:gd name="T72" fmla="*/ 131 w 321"/>
                <a:gd name="T73" fmla="*/ 207 h 231"/>
                <a:gd name="T74" fmla="*/ 146 w 321"/>
                <a:gd name="T75" fmla="*/ 206 h 231"/>
                <a:gd name="T76" fmla="*/ 155 w 321"/>
                <a:gd name="T77" fmla="*/ 198 h 231"/>
                <a:gd name="T78" fmla="*/ 154 w 321"/>
                <a:gd name="T79" fmla="*/ 207 h 231"/>
                <a:gd name="T80" fmla="*/ 161 w 321"/>
                <a:gd name="T81" fmla="*/ 217 h 231"/>
                <a:gd name="T82" fmla="*/ 170 w 321"/>
                <a:gd name="T83" fmla="*/ 231 h 231"/>
                <a:gd name="T84" fmla="*/ 179 w 321"/>
                <a:gd name="T85" fmla="*/ 225 h 231"/>
                <a:gd name="T86" fmla="*/ 182 w 321"/>
                <a:gd name="T87" fmla="*/ 223 h 231"/>
                <a:gd name="T88" fmla="*/ 192 w 321"/>
                <a:gd name="T89" fmla="*/ 225 h 231"/>
                <a:gd name="T90" fmla="*/ 206 w 321"/>
                <a:gd name="T91" fmla="*/ 219 h 231"/>
                <a:gd name="T92" fmla="*/ 236 w 321"/>
                <a:gd name="T93" fmla="*/ 198 h 231"/>
                <a:gd name="T94" fmla="*/ 267 w 321"/>
                <a:gd name="T95" fmla="*/ 189 h 231"/>
                <a:gd name="T96" fmla="*/ 287 w 321"/>
                <a:gd name="T97" fmla="*/ 194 h 231"/>
                <a:gd name="T98" fmla="*/ 295 w 321"/>
                <a:gd name="T99" fmla="*/ 192 h 231"/>
                <a:gd name="T100" fmla="*/ 300 w 321"/>
                <a:gd name="T101" fmla="*/ 191 h 231"/>
                <a:gd name="T102" fmla="*/ 307 w 321"/>
                <a:gd name="T103" fmla="*/ 192 h 231"/>
                <a:gd name="T104" fmla="*/ 320 w 321"/>
                <a:gd name="T105" fmla="*/ 183 h 231"/>
                <a:gd name="T106" fmla="*/ 318 w 321"/>
                <a:gd name="T107" fmla="*/ 179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1" h="231">
                  <a:moveTo>
                    <a:pt x="318" y="179"/>
                  </a:moveTo>
                  <a:cubicBezTo>
                    <a:pt x="315" y="177"/>
                    <a:pt x="312" y="175"/>
                    <a:pt x="309" y="173"/>
                  </a:cubicBezTo>
                  <a:cubicBezTo>
                    <a:pt x="307" y="171"/>
                    <a:pt x="305" y="169"/>
                    <a:pt x="304" y="168"/>
                  </a:cubicBezTo>
                  <a:cubicBezTo>
                    <a:pt x="301" y="166"/>
                    <a:pt x="297" y="164"/>
                    <a:pt x="293" y="162"/>
                  </a:cubicBezTo>
                  <a:cubicBezTo>
                    <a:pt x="279" y="154"/>
                    <a:pt x="261" y="144"/>
                    <a:pt x="258" y="129"/>
                  </a:cubicBezTo>
                  <a:cubicBezTo>
                    <a:pt x="258" y="127"/>
                    <a:pt x="258" y="126"/>
                    <a:pt x="257" y="125"/>
                  </a:cubicBezTo>
                  <a:cubicBezTo>
                    <a:pt x="257" y="119"/>
                    <a:pt x="255" y="110"/>
                    <a:pt x="250" y="107"/>
                  </a:cubicBezTo>
                  <a:cubicBezTo>
                    <a:pt x="249" y="107"/>
                    <a:pt x="247" y="106"/>
                    <a:pt x="246" y="106"/>
                  </a:cubicBezTo>
                  <a:cubicBezTo>
                    <a:pt x="243" y="106"/>
                    <a:pt x="240" y="107"/>
                    <a:pt x="237" y="108"/>
                  </a:cubicBezTo>
                  <a:cubicBezTo>
                    <a:pt x="235" y="109"/>
                    <a:pt x="232" y="110"/>
                    <a:pt x="230" y="110"/>
                  </a:cubicBezTo>
                  <a:cubicBezTo>
                    <a:pt x="229" y="110"/>
                    <a:pt x="229" y="110"/>
                    <a:pt x="229" y="110"/>
                  </a:cubicBezTo>
                  <a:cubicBezTo>
                    <a:pt x="215" y="109"/>
                    <a:pt x="203" y="107"/>
                    <a:pt x="188" y="100"/>
                  </a:cubicBezTo>
                  <a:cubicBezTo>
                    <a:pt x="186" y="100"/>
                    <a:pt x="185" y="99"/>
                    <a:pt x="184" y="99"/>
                  </a:cubicBezTo>
                  <a:cubicBezTo>
                    <a:pt x="176" y="95"/>
                    <a:pt x="169" y="92"/>
                    <a:pt x="160" y="92"/>
                  </a:cubicBezTo>
                  <a:cubicBezTo>
                    <a:pt x="159" y="92"/>
                    <a:pt x="159" y="92"/>
                    <a:pt x="159" y="92"/>
                  </a:cubicBezTo>
                  <a:cubicBezTo>
                    <a:pt x="156" y="92"/>
                    <a:pt x="153" y="92"/>
                    <a:pt x="150" y="95"/>
                  </a:cubicBezTo>
                  <a:cubicBezTo>
                    <a:pt x="149" y="95"/>
                    <a:pt x="149" y="97"/>
                    <a:pt x="148" y="98"/>
                  </a:cubicBezTo>
                  <a:cubicBezTo>
                    <a:pt x="146" y="101"/>
                    <a:pt x="145" y="103"/>
                    <a:pt x="143" y="103"/>
                  </a:cubicBezTo>
                  <a:cubicBezTo>
                    <a:pt x="142" y="103"/>
                    <a:pt x="142" y="103"/>
                    <a:pt x="142" y="103"/>
                  </a:cubicBezTo>
                  <a:cubicBezTo>
                    <a:pt x="139" y="103"/>
                    <a:pt x="136" y="99"/>
                    <a:pt x="132" y="93"/>
                  </a:cubicBezTo>
                  <a:cubicBezTo>
                    <a:pt x="128" y="86"/>
                    <a:pt x="122" y="79"/>
                    <a:pt x="115" y="74"/>
                  </a:cubicBezTo>
                  <a:cubicBezTo>
                    <a:pt x="113" y="72"/>
                    <a:pt x="110" y="71"/>
                    <a:pt x="107" y="69"/>
                  </a:cubicBezTo>
                  <a:cubicBezTo>
                    <a:pt x="103" y="67"/>
                    <a:pt x="98" y="65"/>
                    <a:pt x="96" y="61"/>
                  </a:cubicBezTo>
                  <a:cubicBezTo>
                    <a:pt x="94" y="58"/>
                    <a:pt x="94" y="54"/>
                    <a:pt x="94" y="50"/>
                  </a:cubicBezTo>
                  <a:cubicBezTo>
                    <a:pt x="93" y="46"/>
                    <a:pt x="93" y="41"/>
                    <a:pt x="91" y="38"/>
                  </a:cubicBezTo>
                  <a:cubicBezTo>
                    <a:pt x="88" y="35"/>
                    <a:pt x="82" y="31"/>
                    <a:pt x="79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6" y="31"/>
                    <a:pt x="75" y="33"/>
                    <a:pt x="74" y="34"/>
                  </a:cubicBezTo>
                  <a:cubicBezTo>
                    <a:pt x="72" y="35"/>
                    <a:pt x="71" y="37"/>
                    <a:pt x="69" y="37"/>
                  </a:cubicBezTo>
                  <a:cubicBezTo>
                    <a:pt x="69" y="37"/>
                    <a:pt x="69" y="37"/>
                    <a:pt x="69" y="36"/>
                  </a:cubicBezTo>
                  <a:cubicBezTo>
                    <a:pt x="64" y="36"/>
                    <a:pt x="62" y="26"/>
                    <a:pt x="61" y="21"/>
                  </a:cubicBezTo>
                  <a:cubicBezTo>
                    <a:pt x="61" y="21"/>
                    <a:pt x="61" y="20"/>
                    <a:pt x="61" y="19"/>
                  </a:cubicBezTo>
                  <a:cubicBezTo>
                    <a:pt x="59" y="13"/>
                    <a:pt x="57" y="6"/>
                    <a:pt x="49" y="6"/>
                  </a:cubicBezTo>
                  <a:cubicBezTo>
                    <a:pt x="49" y="6"/>
                    <a:pt x="48" y="6"/>
                    <a:pt x="47" y="6"/>
                  </a:cubicBezTo>
                  <a:cubicBezTo>
                    <a:pt x="45" y="7"/>
                    <a:pt x="44" y="7"/>
                    <a:pt x="43" y="7"/>
                  </a:cubicBezTo>
                  <a:cubicBezTo>
                    <a:pt x="41" y="8"/>
                    <a:pt x="39" y="8"/>
                    <a:pt x="37" y="8"/>
                  </a:cubicBezTo>
                  <a:cubicBezTo>
                    <a:pt x="35" y="8"/>
                    <a:pt x="33" y="7"/>
                    <a:pt x="30" y="6"/>
                  </a:cubicBezTo>
                  <a:cubicBezTo>
                    <a:pt x="24" y="4"/>
                    <a:pt x="20" y="2"/>
                    <a:pt x="16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3" y="179"/>
                    <a:pt x="3" y="179"/>
                    <a:pt x="3" y="179"/>
                  </a:cubicBezTo>
                  <a:cubicBezTo>
                    <a:pt x="6" y="179"/>
                    <a:pt x="7" y="180"/>
                    <a:pt x="9" y="181"/>
                  </a:cubicBezTo>
                  <a:cubicBezTo>
                    <a:pt x="10" y="182"/>
                    <a:pt x="10" y="184"/>
                    <a:pt x="10" y="186"/>
                  </a:cubicBezTo>
                  <a:cubicBezTo>
                    <a:pt x="10" y="189"/>
                    <a:pt x="10" y="192"/>
                    <a:pt x="12" y="194"/>
                  </a:cubicBezTo>
                  <a:cubicBezTo>
                    <a:pt x="14" y="197"/>
                    <a:pt x="16" y="197"/>
                    <a:pt x="17" y="197"/>
                  </a:cubicBezTo>
                  <a:cubicBezTo>
                    <a:pt x="23" y="197"/>
                    <a:pt x="26" y="190"/>
                    <a:pt x="26" y="189"/>
                  </a:cubicBezTo>
                  <a:cubicBezTo>
                    <a:pt x="26" y="188"/>
                    <a:pt x="26" y="188"/>
                    <a:pt x="26" y="188"/>
                  </a:cubicBezTo>
                  <a:cubicBezTo>
                    <a:pt x="27" y="187"/>
                    <a:pt x="27" y="186"/>
                    <a:pt x="28" y="186"/>
                  </a:cubicBezTo>
                  <a:cubicBezTo>
                    <a:pt x="28" y="186"/>
                    <a:pt x="29" y="186"/>
                    <a:pt x="30" y="187"/>
                  </a:cubicBezTo>
                  <a:cubicBezTo>
                    <a:pt x="31" y="187"/>
                    <a:pt x="33" y="188"/>
                    <a:pt x="34" y="189"/>
                  </a:cubicBezTo>
                  <a:cubicBezTo>
                    <a:pt x="36" y="191"/>
                    <a:pt x="38" y="193"/>
                    <a:pt x="41" y="194"/>
                  </a:cubicBezTo>
                  <a:cubicBezTo>
                    <a:pt x="43" y="194"/>
                    <a:pt x="45" y="195"/>
                    <a:pt x="47" y="195"/>
                  </a:cubicBezTo>
                  <a:cubicBezTo>
                    <a:pt x="49" y="195"/>
                    <a:pt x="51" y="195"/>
                    <a:pt x="53" y="197"/>
                  </a:cubicBezTo>
                  <a:cubicBezTo>
                    <a:pt x="55" y="198"/>
                    <a:pt x="56" y="199"/>
                    <a:pt x="57" y="201"/>
                  </a:cubicBezTo>
                  <a:cubicBezTo>
                    <a:pt x="58" y="202"/>
                    <a:pt x="59" y="203"/>
                    <a:pt x="60" y="204"/>
                  </a:cubicBezTo>
                  <a:cubicBezTo>
                    <a:pt x="63" y="208"/>
                    <a:pt x="67" y="210"/>
                    <a:pt x="71" y="211"/>
                  </a:cubicBezTo>
                  <a:cubicBezTo>
                    <a:pt x="77" y="213"/>
                    <a:pt x="81" y="214"/>
                    <a:pt x="86" y="214"/>
                  </a:cubicBezTo>
                  <a:cubicBezTo>
                    <a:pt x="89" y="214"/>
                    <a:pt x="92" y="214"/>
                    <a:pt x="95" y="212"/>
                  </a:cubicBezTo>
                  <a:cubicBezTo>
                    <a:pt x="98" y="211"/>
                    <a:pt x="100" y="209"/>
                    <a:pt x="103" y="208"/>
                  </a:cubicBezTo>
                  <a:cubicBezTo>
                    <a:pt x="106" y="205"/>
                    <a:pt x="110" y="203"/>
                    <a:pt x="113" y="202"/>
                  </a:cubicBezTo>
                  <a:cubicBezTo>
                    <a:pt x="114" y="202"/>
                    <a:pt x="115" y="202"/>
                    <a:pt x="116" y="202"/>
                  </a:cubicBezTo>
                  <a:cubicBezTo>
                    <a:pt x="122" y="201"/>
                    <a:pt x="130" y="201"/>
                    <a:pt x="132" y="196"/>
                  </a:cubicBezTo>
                  <a:cubicBezTo>
                    <a:pt x="133" y="194"/>
                    <a:pt x="133" y="191"/>
                    <a:pt x="131" y="188"/>
                  </a:cubicBezTo>
                  <a:cubicBezTo>
                    <a:pt x="130" y="186"/>
                    <a:pt x="130" y="186"/>
                    <a:pt x="130" y="186"/>
                  </a:cubicBezTo>
                  <a:cubicBezTo>
                    <a:pt x="128" y="187"/>
                    <a:pt x="128" y="187"/>
                    <a:pt x="128" y="187"/>
                  </a:cubicBezTo>
                  <a:cubicBezTo>
                    <a:pt x="128" y="187"/>
                    <a:pt x="127" y="187"/>
                    <a:pt x="126" y="187"/>
                  </a:cubicBezTo>
                  <a:cubicBezTo>
                    <a:pt x="126" y="187"/>
                    <a:pt x="125" y="187"/>
                    <a:pt x="125" y="186"/>
                  </a:cubicBezTo>
                  <a:cubicBezTo>
                    <a:pt x="124" y="185"/>
                    <a:pt x="124" y="183"/>
                    <a:pt x="126" y="181"/>
                  </a:cubicBezTo>
                  <a:cubicBezTo>
                    <a:pt x="128" y="178"/>
                    <a:pt x="131" y="176"/>
                    <a:pt x="135" y="176"/>
                  </a:cubicBezTo>
                  <a:cubicBezTo>
                    <a:pt x="137" y="176"/>
                    <a:pt x="139" y="176"/>
                    <a:pt x="141" y="178"/>
                  </a:cubicBezTo>
                  <a:cubicBezTo>
                    <a:pt x="144" y="180"/>
                    <a:pt x="144" y="186"/>
                    <a:pt x="143" y="189"/>
                  </a:cubicBezTo>
                  <a:cubicBezTo>
                    <a:pt x="142" y="191"/>
                    <a:pt x="140" y="192"/>
                    <a:pt x="138" y="194"/>
                  </a:cubicBezTo>
                  <a:cubicBezTo>
                    <a:pt x="136" y="196"/>
                    <a:pt x="133" y="197"/>
                    <a:pt x="131" y="201"/>
                  </a:cubicBezTo>
                  <a:cubicBezTo>
                    <a:pt x="131" y="202"/>
                    <a:pt x="130" y="205"/>
                    <a:pt x="131" y="207"/>
                  </a:cubicBezTo>
                  <a:cubicBezTo>
                    <a:pt x="132" y="208"/>
                    <a:pt x="133" y="209"/>
                    <a:pt x="136" y="209"/>
                  </a:cubicBezTo>
                  <a:cubicBezTo>
                    <a:pt x="140" y="209"/>
                    <a:pt x="146" y="207"/>
                    <a:pt x="146" y="206"/>
                  </a:cubicBezTo>
                  <a:cubicBezTo>
                    <a:pt x="148" y="205"/>
                    <a:pt x="150" y="203"/>
                    <a:pt x="152" y="202"/>
                  </a:cubicBezTo>
                  <a:cubicBezTo>
                    <a:pt x="152" y="200"/>
                    <a:pt x="154" y="198"/>
                    <a:pt x="155" y="198"/>
                  </a:cubicBezTo>
                  <a:cubicBezTo>
                    <a:pt x="155" y="198"/>
                    <a:pt x="155" y="199"/>
                    <a:pt x="154" y="202"/>
                  </a:cubicBezTo>
                  <a:cubicBezTo>
                    <a:pt x="154" y="203"/>
                    <a:pt x="154" y="205"/>
                    <a:pt x="154" y="207"/>
                  </a:cubicBezTo>
                  <a:cubicBezTo>
                    <a:pt x="154" y="211"/>
                    <a:pt x="156" y="213"/>
                    <a:pt x="158" y="215"/>
                  </a:cubicBezTo>
                  <a:cubicBezTo>
                    <a:pt x="159" y="215"/>
                    <a:pt x="160" y="216"/>
                    <a:pt x="161" y="217"/>
                  </a:cubicBezTo>
                  <a:cubicBezTo>
                    <a:pt x="161" y="218"/>
                    <a:pt x="162" y="220"/>
                    <a:pt x="162" y="221"/>
                  </a:cubicBezTo>
                  <a:cubicBezTo>
                    <a:pt x="163" y="225"/>
                    <a:pt x="164" y="231"/>
                    <a:pt x="170" y="231"/>
                  </a:cubicBezTo>
                  <a:cubicBezTo>
                    <a:pt x="171" y="231"/>
                    <a:pt x="172" y="230"/>
                    <a:pt x="173" y="230"/>
                  </a:cubicBezTo>
                  <a:cubicBezTo>
                    <a:pt x="176" y="229"/>
                    <a:pt x="177" y="227"/>
                    <a:pt x="179" y="225"/>
                  </a:cubicBezTo>
                  <a:cubicBezTo>
                    <a:pt x="180" y="224"/>
                    <a:pt x="181" y="223"/>
                    <a:pt x="181" y="223"/>
                  </a:cubicBezTo>
                  <a:cubicBezTo>
                    <a:pt x="181" y="223"/>
                    <a:pt x="182" y="223"/>
                    <a:pt x="182" y="223"/>
                  </a:cubicBezTo>
                  <a:cubicBezTo>
                    <a:pt x="183" y="223"/>
                    <a:pt x="184" y="223"/>
                    <a:pt x="186" y="224"/>
                  </a:cubicBezTo>
                  <a:cubicBezTo>
                    <a:pt x="188" y="224"/>
                    <a:pt x="190" y="225"/>
                    <a:pt x="192" y="225"/>
                  </a:cubicBezTo>
                  <a:cubicBezTo>
                    <a:pt x="192" y="225"/>
                    <a:pt x="193" y="225"/>
                    <a:pt x="193" y="225"/>
                  </a:cubicBezTo>
                  <a:cubicBezTo>
                    <a:pt x="199" y="225"/>
                    <a:pt x="204" y="220"/>
                    <a:pt x="206" y="219"/>
                  </a:cubicBezTo>
                  <a:cubicBezTo>
                    <a:pt x="212" y="213"/>
                    <a:pt x="217" y="209"/>
                    <a:pt x="223" y="206"/>
                  </a:cubicBezTo>
                  <a:cubicBezTo>
                    <a:pt x="228" y="204"/>
                    <a:pt x="232" y="201"/>
                    <a:pt x="236" y="198"/>
                  </a:cubicBezTo>
                  <a:cubicBezTo>
                    <a:pt x="244" y="193"/>
                    <a:pt x="251" y="188"/>
                    <a:pt x="261" y="188"/>
                  </a:cubicBezTo>
                  <a:cubicBezTo>
                    <a:pt x="263" y="188"/>
                    <a:pt x="265" y="189"/>
                    <a:pt x="267" y="189"/>
                  </a:cubicBezTo>
                  <a:cubicBezTo>
                    <a:pt x="270" y="190"/>
                    <a:pt x="271" y="190"/>
                    <a:pt x="273" y="191"/>
                  </a:cubicBezTo>
                  <a:cubicBezTo>
                    <a:pt x="277" y="192"/>
                    <a:pt x="282" y="194"/>
                    <a:pt x="287" y="194"/>
                  </a:cubicBezTo>
                  <a:cubicBezTo>
                    <a:pt x="287" y="194"/>
                    <a:pt x="288" y="194"/>
                    <a:pt x="288" y="194"/>
                  </a:cubicBezTo>
                  <a:cubicBezTo>
                    <a:pt x="291" y="194"/>
                    <a:pt x="293" y="193"/>
                    <a:pt x="295" y="192"/>
                  </a:cubicBezTo>
                  <a:cubicBezTo>
                    <a:pt x="296" y="192"/>
                    <a:pt x="298" y="192"/>
                    <a:pt x="299" y="191"/>
                  </a:cubicBezTo>
                  <a:cubicBezTo>
                    <a:pt x="300" y="191"/>
                    <a:pt x="300" y="191"/>
                    <a:pt x="300" y="191"/>
                  </a:cubicBezTo>
                  <a:cubicBezTo>
                    <a:pt x="301" y="191"/>
                    <a:pt x="302" y="191"/>
                    <a:pt x="303" y="192"/>
                  </a:cubicBezTo>
                  <a:cubicBezTo>
                    <a:pt x="304" y="192"/>
                    <a:pt x="306" y="192"/>
                    <a:pt x="307" y="192"/>
                  </a:cubicBezTo>
                  <a:cubicBezTo>
                    <a:pt x="308" y="192"/>
                    <a:pt x="309" y="192"/>
                    <a:pt x="310" y="192"/>
                  </a:cubicBezTo>
                  <a:cubicBezTo>
                    <a:pt x="314" y="191"/>
                    <a:pt x="317" y="188"/>
                    <a:pt x="320" y="183"/>
                  </a:cubicBezTo>
                  <a:cubicBezTo>
                    <a:pt x="321" y="180"/>
                    <a:pt x="321" y="180"/>
                    <a:pt x="321" y="180"/>
                  </a:cubicBezTo>
                  <a:lnTo>
                    <a:pt x="318" y="179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3887696" y="4004123"/>
              <a:ext cx="66628" cy="83006"/>
            </a:xfrm>
            <a:custGeom>
              <a:avLst/>
              <a:gdLst>
                <a:gd name="T0" fmla="*/ 12 w 21"/>
                <a:gd name="T1" fmla="*/ 0 h 29"/>
                <a:gd name="T2" fmla="*/ 11 w 21"/>
                <a:gd name="T3" fmla="*/ 0 h 29"/>
                <a:gd name="T4" fmla="*/ 4 w 21"/>
                <a:gd name="T5" fmla="*/ 3 h 29"/>
                <a:gd name="T6" fmla="*/ 2 w 21"/>
                <a:gd name="T7" fmla="*/ 20 h 29"/>
                <a:gd name="T8" fmla="*/ 5 w 21"/>
                <a:gd name="T9" fmla="*/ 27 h 29"/>
                <a:gd name="T10" fmla="*/ 9 w 21"/>
                <a:gd name="T11" fmla="*/ 29 h 29"/>
                <a:gd name="T12" fmla="*/ 20 w 21"/>
                <a:gd name="T13" fmla="*/ 18 h 29"/>
                <a:gd name="T14" fmla="*/ 17 w 21"/>
                <a:gd name="T15" fmla="*/ 3 h 29"/>
                <a:gd name="T16" fmla="*/ 12 w 21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29">
                  <a:moveTo>
                    <a:pt x="12" y="0"/>
                  </a:moveTo>
                  <a:cubicBezTo>
                    <a:pt x="12" y="0"/>
                    <a:pt x="11" y="0"/>
                    <a:pt x="11" y="0"/>
                  </a:cubicBezTo>
                  <a:cubicBezTo>
                    <a:pt x="8" y="0"/>
                    <a:pt x="6" y="1"/>
                    <a:pt x="4" y="3"/>
                  </a:cubicBezTo>
                  <a:cubicBezTo>
                    <a:pt x="0" y="8"/>
                    <a:pt x="2" y="16"/>
                    <a:pt x="2" y="20"/>
                  </a:cubicBezTo>
                  <a:cubicBezTo>
                    <a:pt x="3" y="22"/>
                    <a:pt x="4" y="25"/>
                    <a:pt x="5" y="27"/>
                  </a:cubicBezTo>
                  <a:cubicBezTo>
                    <a:pt x="6" y="28"/>
                    <a:pt x="7" y="29"/>
                    <a:pt x="9" y="29"/>
                  </a:cubicBezTo>
                  <a:cubicBezTo>
                    <a:pt x="14" y="29"/>
                    <a:pt x="20" y="21"/>
                    <a:pt x="20" y="18"/>
                  </a:cubicBezTo>
                  <a:cubicBezTo>
                    <a:pt x="21" y="15"/>
                    <a:pt x="20" y="7"/>
                    <a:pt x="17" y="3"/>
                  </a:cubicBezTo>
                  <a:cubicBezTo>
                    <a:pt x="16" y="1"/>
                    <a:pt x="14" y="0"/>
                    <a:pt x="12" y="0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4316955" y="4058472"/>
              <a:ext cx="87381" cy="88935"/>
            </a:xfrm>
            <a:custGeom>
              <a:avLst/>
              <a:gdLst>
                <a:gd name="T0" fmla="*/ 21 w 28"/>
                <a:gd name="T1" fmla="*/ 9 h 31"/>
                <a:gd name="T2" fmla="*/ 20 w 28"/>
                <a:gd name="T3" fmla="*/ 9 h 31"/>
                <a:gd name="T4" fmla="*/ 18 w 28"/>
                <a:gd name="T5" fmla="*/ 6 h 31"/>
                <a:gd name="T6" fmla="*/ 9 w 28"/>
                <a:gd name="T7" fmla="*/ 0 h 31"/>
                <a:gd name="T8" fmla="*/ 3 w 28"/>
                <a:gd name="T9" fmla="*/ 4 h 31"/>
                <a:gd name="T10" fmla="*/ 3 w 28"/>
                <a:gd name="T11" fmla="*/ 17 h 31"/>
                <a:gd name="T12" fmla="*/ 14 w 28"/>
                <a:gd name="T13" fmla="*/ 31 h 31"/>
                <a:gd name="T14" fmla="*/ 14 w 28"/>
                <a:gd name="T15" fmla="*/ 31 h 31"/>
                <a:gd name="T16" fmla="*/ 25 w 28"/>
                <a:gd name="T17" fmla="*/ 22 h 31"/>
                <a:gd name="T18" fmla="*/ 21 w 28"/>
                <a:gd name="T19" fmla="*/ 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31">
                  <a:moveTo>
                    <a:pt x="21" y="9"/>
                  </a:moveTo>
                  <a:cubicBezTo>
                    <a:pt x="20" y="9"/>
                    <a:pt x="20" y="9"/>
                    <a:pt x="20" y="9"/>
                  </a:cubicBezTo>
                  <a:cubicBezTo>
                    <a:pt x="19" y="8"/>
                    <a:pt x="19" y="7"/>
                    <a:pt x="18" y="6"/>
                  </a:cubicBezTo>
                  <a:cubicBezTo>
                    <a:pt x="16" y="4"/>
                    <a:pt x="13" y="0"/>
                    <a:pt x="9" y="0"/>
                  </a:cubicBezTo>
                  <a:cubicBezTo>
                    <a:pt x="6" y="0"/>
                    <a:pt x="4" y="1"/>
                    <a:pt x="3" y="4"/>
                  </a:cubicBezTo>
                  <a:cubicBezTo>
                    <a:pt x="0" y="8"/>
                    <a:pt x="2" y="14"/>
                    <a:pt x="3" y="17"/>
                  </a:cubicBezTo>
                  <a:cubicBezTo>
                    <a:pt x="5" y="21"/>
                    <a:pt x="11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9" y="31"/>
                    <a:pt x="24" y="26"/>
                    <a:pt x="25" y="22"/>
                  </a:cubicBezTo>
                  <a:cubicBezTo>
                    <a:pt x="28" y="15"/>
                    <a:pt x="24" y="12"/>
                    <a:pt x="21" y="9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3972893" y="4144442"/>
              <a:ext cx="412875" cy="413051"/>
            </a:xfrm>
            <a:custGeom>
              <a:avLst/>
              <a:gdLst>
                <a:gd name="T0" fmla="*/ 56 w 131"/>
                <a:gd name="T1" fmla="*/ 142 h 145"/>
                <a:gd name="T2" fmla="*/ 52 w 131"/>
                <a:gd name="T3" fmla="*/ 138 h 145"/>
                <a:gd name="T4" fmla="*/ 48 w 131"/>
                <a:gd name="T5" fmla="*/ 139 h 145"/>
                <a:gd name="T6" fmla="*/ 39 w 131"/>
                <a:gd name="T7" fmla="*/ 141 h 145"/>
                <a:gd name="T8" fmla="*/ 34 w 131"/>
                <a:gd name="T9" fmla="*/ 129 h 145"/>
                <a:gd name="T10" fmla="*/ 40 w 131"/>
                <a:gd name="T11" fmla="*/ 127 h 145"/>
                <a:gd name="T12" fmla="*/ 31 w 131"/>
                <a:gd name="T13" fmla="*/ 124 h 145"/>
                <a:gd name="T14" fmla="*/ 15 w 131"/>
                <a:gd name="T15" fmla="*/ 93 h 145"/>
                <a:gd name="T16" fmla="*/ 14 w 131"/>
                <a:gd name="T17" fmla="*/ 86 h 145"/>
                <a:gd name="T18" fmla="*/ 18 w 131"/>
                <a:gd name="T19" fmla="*/ 73 h 145"/>
                <a:gd name="T20" fmla="*/ 12 w 131"/>
                <a:gd name="T21" fmla="*/ 59 h 145"/>
                <a:gd name="T22" fmla="*/ 0 w 131"/>
                <a:gd name="T23" fmla="*/ 18 h 145"/>
                <a:gd name="T24" fmla="*/ 10 w 131"/>
                <a:gd name="T25" fmla="*/ 0 h 145"/>
                <a:gd name="T26" fmla="*/ 22 w 131"/>
                <a:gd name="T27" fmla="*/ 8 h 145"/>
                <a:gd name="T28" fmla="*/ 36 w 131"/>
                <a:gd name="T29" fmla="*/ 19 h 145"/>
                <a:gd name="T30" fmla="*/ 55 w 131"/>
                <a:gd name="T31" fmla="*/ 27 h 145"/>
                <a:gd name="T32" fmla="*/ 60 w 131"/>
                <a:gd name="T33" fmla="*/ 29 h 145"/>
                <a:gd name="T34" fmla="*/ 68 w 131"/>
                <a:gd name="T35" fmla="*/ 27 h 145"/>
                <a:gd name="T36" fmla="*/ 75 w 131"/>
                <a:gd name="T37" fmla="*/ 26 h 145"/>
                <a:gd name="T38" fmla="*/ 85 w 131"/>
                <a:gd name="T39" fmla="*/ 23 h 145"/>
                <a:gd name="T40" fmla="*/ 91 w 131"/>
                <a:gd name="T41" fmla="*/ 23 h 145"/>
                <a:gd name="T42" fmla="*/ 99 w 131"/>
                <a:gd name="T43" fmla="*/ 22 h 145"/>
                <a:gd name="T44" fmla="*/ 108 w 131"/>
                <a:gd name="T45" fmla="*/ 20 h 145"/>
                <a:gd name="T46" fmla="*/ 112 w 131"/>
                <a:gd name="T47" fmla="*/ 18 h 145"/>
                <a:gd name="T48" fmla="*/ 116 w 131"/>
                <a:gd name="T49" fmla="*/ 17 h 145"/>
                <a:gd name="T50" fmla="*/ 128 w 131"/>
                <a:gd name="T51" fmla="*/ 40 h 145"/>
                <a:gd name="T52" fmla="*/ 126 w 131"/>
                <a:gd name="T53" fmla="*/ 52 h 145"/>
                <a:gd name="T54" fmla="*/ 126 w 131"/>
                <a:gd name="T55" fmla="*/ 69 h 145"/>
                <a:gd name="T56" fmla="*/ 119 w 131"/>
                <a:gd name="T57" fmla="*/ 86 h 145"/>
                <a:gd name="T58" fmla="*/ 115 w 131"/>
                <a:gd name="T59" fmla="*/ 82 h 145"/>
                <a:gd name="T60" fmla="*/ 108 w 131"/>
                <a:gd name="T61" fmla="*/ 110 h 145"/>
                <a:gd name="T62" fmla="*/ 106 w 131"/>
                <a:gd name="T63" fmla="*/ 115 h 145"/>
                <a:gd name="T64" fmla="*/ 104 w 131"/>
                <a:gd name="T65" fmla="*/ 132 h 145"/>
                <a:gd name="T66" fmla="*/ 98 w 131"/>
                <a:gd name="T67" fmla="*/ 134 h 145"/>
                <a:gd name="T68" fmla="*/ 87 w 131"/>
                <a:gd name="T69" fmla="*/ 110 h 145"/>
                <a:gd name="T70" fmla="*/ 86 w 131"/>
                <a:gd name="T71" fmla="*/ 117 h 145"/>
                <a:gd name="T72" fmla="*/ 78 w 131"/>
                <a:gd name="T73" fmla="*/ 132 h 145"/>
                <a:gd name="T74" fmla="*/ 74 w 131"/>
                <a:gd name="T75" fmla="*/ 131 h 145"/>
                <a:gd name="T76" fmla="*/ 64 w 131"/>
                <a:gd name="T77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1" h="145">
                  <a:moveTo>
                    <a:pt x="64" y="145"/>
                  </a:moveTo>
                  <a:cubicBezTo>
                    <a:pt x="61" y="145"/>
                    <a:pt x="59" y="144"/>
                    <a:pt x="56" y="142"/>
                  </a:cubicBezTo>
                  <a:cubicBezTo>
                    <a:pt x="55" y="142"/>
                    <a:pt x="55" y="141"/>
                    <a:pt x="54" y="140"/>
                  </a:cubicBezTo>
                  <a:cubicBezTo>
                    <a:pt x="53" y="139"/>
                    <a:pt x="53" y="138"/>
                    <a:pt x="52" y="138"/>
                  </a:cubicBezTo>
                  <a:cubicBezTo>
                    <a:pt x="52" y="138"/>
                    <a:pt x="52" y="138"/>
                    <a:pt x="51" y="138"/>
                  </a:cubicBezTo>
                  <a:cubicBezTo>
                    <a:pt x="50" y="138"/>
                    <a:pt x="49" y="139"/>
                    <a:pt x="48" y="139"/>
                  </a:cubicBezTo>
                  <a:cubicBezTo>
                    <a:pt x="46" y="140"/>
                    <a:pt x="44" y="141"/>
                    <a:pt x="42" y="141"/>
                  </a:cubicBezTo>
                  <a:cubicBezTo>
                    <a:pt x="41" y="141"/>
                    <a:pt x="40" y="141"/>
                    <a:pt x="39" y="141"/>
                  </a:cubicBezTo>
                  <a:cubicBezTo>
                    <a:pt x="36" y="140"/>
                    <a:pt x="33" y="138"/>
                    <a:pt x="33" y="135"/>
                  </a:cubicBezTo>
                  <a:cubicBezTo>
                    <a:pt x="32" y="134"/>
                    <a:pt x="32" y="131"/>
                    <a:pt x="34" y="129"/>
                  </a:cubicBezTo>
                  <a:cubicBezTo>
                    <a:pt x="35" y="127"/>
                    <a:pt x="37" y="127"/>
                    <a:pt x="39" y="127"/>
                  </a:cubicBezTo>
                  <a:cubicBezTo>
                    <a:pt x="40" y="127"/>
                    <a:pt x="40" y="127"/>
                    <a:pt x="40" y="127"/>
                  </a:cubicBezTo>
                  <a:cubicBezTo>
                    <a:pt x="39" y="126"/>
                    <a:pt x="38" y="126"/>
                    <a:pt x="36" y="125"/>
                  </a:cubicBezTo>
                  <a:cubicBezTo>
                    <a:pt x="35" y="125"/>
                    <a:pt x="33" y="124"/>
                    <a:pt x="31" y="124"/>
                  </a:cubicBezTo>
                  <a:cubicBezTo>
                    <a:pt x="26" y="121"/>
                    <a:pt x="21" y="114"/>
                    <a:pt x="17" y="105"/>
                  </a:cubicBezTo>
                  <a:cubicBezTo>
                    <a:pt x="16" y="101"/>
                    <a:pt x="15" y="97"/>
                    <a:pt x="15" y="93"/>
                  </a:cubicBezTo>
                  <a:cubicBezTo>
                    <a:pt x="15" y="91"/>
                    <a:pt x="15" y="89"/>
                    <a:pt x="14" y="87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1"/>
                    <a:pt x="12" y="77"/>
                    <a:pt x="14" y="74"/>
                  </a:cubicBezTo>
                  <a:cubicBezTo>
                    <a:pt x="15" y="73"/>
                    <a:pt x="16" y="73"/>
                    <a:pt x="18" y="73"/>
                  </a:cubicBezTo>
                  <a:cubicBezTo>
                    <a:pt x="18" y="73"/>
                    <a:pt x="18" y="73"/>
                    <a:pt x="18" y="73"/>
                  </a:cubicBezTo>
                  <a:cubicBezTo>
                    <a:pt x="17" y="68"/>
                    <a:pt x="14" y="63"/>
                    <a:pt x="12" y="59"/>
                  </a:cubicBezTo>
                  <a:cubicBezTo>
                    <a:pt x="10" y="55"/>
                    <a:pt x="8" y="52"/>
                    <a:pt x="6" y="48"/>
                  </a:cubicBezTo>
                  <a:cubicBezTo>
                    <a:pt x="2" y="38"/>
                    <a:pt x="1" y="27"/>
                    <a:pt x="0" y="18"/>
                  </a:cubicBezTo>
                  <a:cubicBezTo>
                    <a:pt x="0" y="14"/>
                    <a:pt x="1" y="6"/>
                    <a:pt x="5" y="3"/>
                  </a:cubicBezTo>
                  <a:cubicBezTo>
                    <a:pt x="6" y="1"/>
                    <a:pt x="8" y="0"/>
                    <a:pt x="10" y="0"/>
                  </a:cubicBezTo>
                  <a:cubicBezTo>
                    <a:pt x="12" y="0"/>
                    <a:pt x="13" y="0"/>
                    <a:pt x="14" y="1"/>
                  </a:cubicBezTo>
                  <a:cubicBezTo>
                    <a:pt x="17" y="3"/>
                    <a:pt x="20" y="6"/>
                    <a:pt x="22" y="8"/>
                  </a:cubicBezTo>
                  <a:cubicBezTo>
                    <a:pt x="23" y="10"/>
                    <a:pt x="24" y="11"/>
                    <a:pt x="25" y="12"/>
                  </a:cubicBezTo>
                  <a:cubicBezTo>
                    <a:pt x="28" y="14"/>
                    <a:pt x="32" y="17"/>
                    <a:pt x="36" y="19"/>
                  </a:cubicBezTo>
                  <a:cubicBezTo>
                    <a:pt x="38" y="21"/>
                    <a:pt x="41" y="22"/>
                    <a:pt x="44" y="22"/>
                  </a:cubicBezTo>
                  <a:cubicBezTo>
                    <a:pt x="47" y="24"/>
                    <a:pt x="51" y="25"/>
                    <a:pt x="55" y="27"/>
                  </a:cubicBezTo>
                  <a:cubicBezTo>
                    <a:pt x="57" y="28"/>
                    <a:pt x="58" y="29"/>
                    <a:pt x="60" y="2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1" y="29"/>
                    <a:pt x="63" y="28"/>
                    <a:pt x="64" y="28"/>
                  </a:cubicBezTo>
                  <a:cubicBezTo>
                    <a:pt x="65" y="28"/>
                    <a:pt x="66" y="28"/>
                    <a:pt x="68" y="27"/>
                  </a:cubicBezTo>
                  <a:cubicBezTo>
                    <a:pt x="69" y="27"/>
                    <a:pt x="70" y="27"/>
                    <a:pt x="70" y="27"/>
                  </a:cubicBezTo>
                  <a:cubicBezTo>
                    <a:pt x="72" y="27"/>
                    <a:pt x="73" y="27"/>
                    <a:pt x="75" y="26"/>
                  </a:cubicBezTo>
                  <a:cubicBezTo>
                    <a:pt x="76" y="26"/>
                    <a:pt x="77" y="25"/>
                    <a:pt x="77" y="25"/>
                  </a:cubicBezTo>
                  <a:cubicBezTo>
                    <a:pt x="80" y="24"/>
                    <a:pt x="82" y="23"/>
                    <a:pt x="85" y="23"/>
                  </a:cubicBezTo>
                  <a:cubicBezTo>
                    <a:pt x="86" y="23"/>
                    <a:pt x="86" y="23"/>
                    <a:pt x="87" y="23"/>
                  </a:cubicBezTo>
                  <a:cubicBezTo>
                    <a:pt x="89" y="23"/>
                    <a:pt x="90" y="23"/>
                    <a:pt x="91" y="23"/>
                  </a:cubicBezTo>
                  <a:cubicBezTo>
                    <a:pt x="92" y="23"/>
                    <a:pt x="93" y="23"/>
                    <a:pt x="94" y="23"/>
                  </a:cubicBezTo>
                  <a:cubicBezTo>
                    <a:pt x="96" y="23"/>
                    <a:pt x="97" y="23"/>
                    <a:pt x="99" y="22"/>
                  </a:cubicBezTo>
                  <a:cubicBezTo>
                    <a:pt x="101" y="20"/>
                    <a:pt x="104" y="20"/>
                    <a:pt x="106" y="20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10" y="20"/>
                    <a:pt x="111" y="20"/>
                    <a:pt x="111" y="19"/>
                  </a:cubicBezTo>
                  <a:cubicBezTo>
                    <a:pt x="112" y="18"/>
                    <a:pt x="112" y="18"/>
                    <a:pt x="112" y="18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4" y="17"/>
                    <a:pt x="115" y="17"/>
                    <a:pt x="116" y="17"/>
                  </a:cubicBezTo>
                  <a:cubicBezTo>
                    <a:pt x="122" y="17"/>
                    <a:pt x="127" y="21"/>
                    <a:pt x="128" y="25"/>
                  </a:cubicBezTo>
                  <a:cubicBezTo>
                    <a:pt x="131" y="31"/>
                    <a:pt x="129" y="36"/>
                    <a:pt x="128" y="40"/>
                  </a:cubicBezTo>
                  <a:cubicBezTo>
                    <a:pt x="127" y="42"/>
                    <a:pt x="126" y="44"/>
                    <a:pt x="126" y="45"/>
                  </a:cubicBezTo>
                  <a:cubicBezTo>
                    <a:pt x="126" y="48"/>
                    <a:pt x="126" y="50"/>
                    <a:pt x="126" y="52"/>
                  </a:cubicBezTo>
                  <a:cubicBezTo>
                    <a:pt x="126" y="55"/>
                    <a:pt x="127" y="57"/>
                    <a:pt x="126" y="60"/>
                  </a:cubicBezTo>
                  <a:cubicBezTo>
                    <a:pt x="126" y="63"/>
                    <a:pt x="126" y="66"/>
                    <a:pt x="126" y="69"/>
                  </a:cubicBezTo>
                  <a:cubicBezTo>
                    <a:pt x="126" y="71"/>
                    <a:pt x="126" y="73"/>
                    <a:pt x="126" y="75"/>
                  </a:cubicBezTo>
                  <a:cubicBezTo>
                    <a:pt x="126" y="77"/>
                    <a:pt x="125" y="86"/>
                    <a:pt x="119" y="86"/>
                  </a:cubicBezTo>
                  <a:cubicBezTo>
                    <a:pt x="119" y="86"/>
                    <a:pt x="118" y="86"/>
                    <a:pt x="118" y="86"/>
                  </a:cubicBezTo>
                  <a:cubicBezTo>
                    <a:pt x="116" y="85"/>
                    <a:pt x="115" y="84"/>
                    <a:pt x="115" y="82"/>
                  </a:cubicBezTo>
                  <a:cubicBezTo>
                    <a:pt x="110" y="88"/>
                    <a:pt x="109" y="94"/>
                    <a:pt x="111" y="100"/>
                  </a:cubicBezTo>
                  <a:cubicBezTo>
                    <a:pt x="112" y="105"/>
                    <a:pt x="111" y="108"/>
                    <a:pt x="108" y="110"/>
                  </a:cubicBezTo>
                  <a:cubicBezTo>
                    <a:pt x="106" y="111"/>
                    <a:pt x="106" y="111"/>
                    <a:pt x="105" y="113"/>
                  </a:cubicBezTo>
                  <a:cubicBezTo>
                    <a:pt x="105" y="113"/>
                    <a:pt x="105" y="114"/>
                    <a:pt x="106" y="115"/>
                  </a:cubicBezTo>
                  <a:cubicBezTo>
                    <a:pt x="106" y="116"/>
                    <a:pt x="107" y="117"/>
                    <a:pt x="107" y="118"/>
                  </a:cubicBezTo>
                  <a:cubicBezTo>
                    <a:pt x="107" y="120"/>
                    <a:pt x="108" y="128"/>
                    <a:pt x="104" y="132"/>
                  </a:cubicBezTo>
                  <a:cubicBezTo>
                    <a:pt x="103" y="133"/>
                    <a:pt x="102" y="134"/>
                    <a:pt x="100" y="134"/>
                  </a:cubicBezTo>
                  <a:cubicBezTo>
                    <a:pt x="99" y="134"/>
                    <a:pt x="98" y="134"/>
                    <a:pt x="98" y="134"/>
                  </a:cubicBezTo>
                  <a:cubicBezTo>
                    <a:pt x="92" y="132"/>
                    <a:pt x="92" y="121"/>
                    <a:pt x="92" y="119"/>
                  </a:cubicBezTo>
                  <a:cubicBezTo>
                    <a:pt x="92" y="117"/>
                    <a:pt x="89" y="111"/>
                    <a:pt x="87" y="110"/>
                  </a:cubicBezTo>
                  <a:cubicBezTo>
                    <a:pt x="87" y="111"/>
                    <a:pt x="87" y="111"/>
                    <a:pt x="86" y="112"/>
                  </a:cubicBezTo>
                  <a:cubicBezTo>
                    <a:pt x="86" y="113"/>
                    <a:pt x="86" y="115"/>
                    <a:pt x="86" y="117"/>
                  </a:cubicBezTo>
                  <a:cubicBezTo>
                    <a:pt x="86" y="121"/>
                    <a:pt x="87" y="127"/>
                    <a:pt x="83" y="130"/>
                  </a:cubicBezTo>
                  <a:cubicBezTo>
                    <a:pt x="82" y="132"/>
                    <a:pt x="80" y="132"/>
                    <a:pt x="78" y="132"/>
                  </a:cubicBezTo>
                  <a:cubicBezTo>
                    <a:pt x="76" y="132"/>
                    <a:pt x="75" y="132"/>
                    <a:pt x="74" y="131"/>
                  </a:cubicBezTo>
                  <a:cubicBezTo>
                    <a:pt x="74" y="131"/>
                    <a:pt x="74" y="131"/>
                    <a:pt x="74" y="131"/>
                  </a:cubicBezTo>
                  <a:cubicBezTo>
                    <a:pt x="74" y="136"/>
                    <a:pt x="73" y="140"/>
                    <a:pt x="71" y="143"/>
                  </a:cubicBezTo>
                  <a:cubicBezTo>
                    <a:pt x="69" y="144"/>
                    <a:pt x="66" y="145"/>
                    <a:pt x="64" y="145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14"/>
            <p:cNvSpPr>
              <a:spLocks noEditPoints="1"/>
            </p:cNvSpPr>
            <p:nvPr/>
          </p:nvSpPr>
          <p:spPr bwMode="auto">
            <a:xfrm>
              <a:off x="2226368" y="2267924"/>
              <a:ext cx="1497489" cy="1534614"/>
            </a:xfrm>
            <a:custGeom>
              <a:avLst/>
              <a:gdLst>
                <a:gd name="T0" fmla="*/ 9 w 475"/>
                <a:gd name="T1" fmla="*/ 253 h 538"/>
                <a:gd name="T2" fmla="*/ 54 w 475"/>
                <a:gd name="T3" fmla="*/ 251 h 538"/>
                <a:gd name="T4" fmla="*/ 93 w 475"/>
                <a:gd name="T5" fmla="*/ 241 h 538"/>
                <a:gd name="T6" fmla="*/ 141 w 475"/>
                <a:gd name="T7" fmla="*/ 263 h 538"/>
                <a:gd name="T8" fmla="*/ 168 w 475"/>
                <a:gd name="T9" fmla="*/ 272 h 538"/>
                <a:gd name="T10" fmla="*/ 191 w 475"/>
                <a:gd name="T11" fmla="*/ 279 h 538"/>
                <a:gd name="T12" fmla="*/ 203 w 475"/>
                <a:gd name="T13" fmla="*/ 287 h 538"/>
                <a:gd name="T14" fmla="*/ 206 w 475"/>
                <a:gd name="T15" fmla="*/ 314 h 538"/>
                <a:gd name="T16" fmla="*/ 223 w 475"/>
                <a:gd name="T17" fmla="*/ 321 h 538"/>
                <a:gd name="T18" fmla="*/ 243 w 475"/>
                <a:gd name="T19" fmla="*/ 368 h 538"/>
                <a:gd name="T20" fmla="*/ 284 w 475"/>
                <a:gd name="T21" fmla="*/ 360 h 538"/>
                <a:gd name="T22" fmla="*/ 329 w 475"/>
                <a:gd name="T23" fmla="*/ 314 h 538"/>
                <a:gd name="T24" fmla="*/ 334 w 475"/>
                <a:gd name="T25" fmla="*/ 316 h 538"/>
                <a:gd name="T26" fmla="*/ 321 w 475"/>
                <a:gd name="T27" fmla="*/ 372 h 538"/>
                <a:gd name="T28" fmla="*/ 311 w 475"/>
                <a:gd name="T29" fmla="*/ 387 h 538"/>
                <a:gd name="T30" fmla="*/ 321 w 475"/>
                <a:gd name="T31" fmla="*/ 406 h 538"/>
                <a:gd name="T32" fmla="*/ 349 w 475"/>
                <a:gd name="T33" fmla="*/ 361 h 538"/>
                <a:gd name="T34" fmla="*/ 355 w 475"/>
                <a:gd name="T35" fmla="*/ 394 h 538"/>
                <a:gd name="T36" fmla="*/ 340 w 475"/>
                <a:gd name="T37" fmla="*/ 418 h 538"/>
                <a:gd name="T38" fmla="*/ 326 w 475"/>
                <a:gd name="T39" fmla="*/ 422 h 538"/>
                <a:gd name="T40" fmla="*/ 286 w 475"/>
                <a:gd name="T41" fmla="*/ 430 h 538"/>
                <a:gd name="T42" fmla="*/ 310 w 475"/>
                <a:gd name="T43" fmla="*/ 441 h 538"/>
                <a:gd name="T44" fmla="*/ 332 w 475"/>
                <a:gd name="T45" fmla="*/ 436 h 538"/>
                <a:gd name="T46" fmla="*/ 346 w 475"/>
                <a:gd name="T47" fmla="*/ 436 h 538"/>
                <a:gd name="T48" fmla="*/ 370 w 475"/>
                <a:gd name="T49" fmla="*/ 421 h 538"/>
                <a:gd name="T50" fmla="*/ 385 w 475"/>
                <a:gd name="T51" fmla="*/ 427 h 538"/>
                <a:gd name="T52" fmla="*/ 397 w 475"/>
                <a:gd name="T53" fmla="*/ 491 h 538"/>
                <a:gd name="T54" fmla="*/ 415 w 475"/>
                <a:gd name="T55" fmla="*/ 526 h 538"/>
                <a:gd name="T56" fmla="*/ 431 w 475"/>
                <a:gd name="T57" fmla="*/ 537 h 538"/>
                <a:gd name="T58" fmla="*/ 441 w 475"/>
                <a:gd name="T59" fmla="*/ 538 h 538"/>
                <a:gd name="T60" fmla="*/ 406 w 475"/>
                <a:gd name="T61" fmla="*/ 218 h 538"/>
                <a:gd name="T62" fmla="*/ 420 w 475"/>
                <a:gd name="T63" fmla="*/ 211 h 538"/>
                <a:gd name="T64" fmla="*/ 340 w 475"/>
                <a:gd name="T65" fmla="*/ 246 h 538"/>
                <a:gd name="T66" fmla="*/ 332 w 475"/>
                <a:gd name="T67" fmla="*/ 225 h 538"/>
                <a:gd name="T68" fmla="*/ 326 w 475"/>
                <a:gd name="T69" fmla="*/ 197 h 538"/>
                <a:gd name="T70" fmla="*/ 339 w 475"/>
                <a:gd name="T71" fmla="*/ 201 h 538"/>
                <a:gd name="T72" fmla="*/ 349 w 475"/>
                <a:gd name="T73" fmla="*/ 226 h 538"/>
                <a:gd name="T74" fmla="*/ 312 w 475"/>
                <a:gd name="T75" fmla="*/ 108 h 538"/>
                <a:gd name="T76" fmla="*/ 322 w 475"/>
                <a:gd name="T77" fmla="*/ 88 h 538"/>
                <a:gd name="T78" fmla="*/ 338 w 475"/>
                <a:gd name="T79" fmla="*/ 123 h 538"/>
                <a:gd name="T80" fmla="*/ 319 w 475"/>
                <a:gd name="T81" fmla="*/ 125 h 538"/>
                <a:gd name="T82" fmla="*/ 310 w 475"/>
                <a:gd name="T83" fmla="*/ 113 h 538"/>
                <a:gd name="T84" fmla="*/ 336 w 475"/>
                <a:gd name="T85" fmla="*/ 148 h 538"/>
                <a:gd name="T86" fmla="*/ 328 w 475"/>
                <a:gd name="T87" fmla="*/ 150 h 538"/>
                <a:gd name="T88" fmla="*/ 320 w 475"/>
                <a:gd name="T89" fmla="*/ 146 h 538"/>
                <a:gd name="T90" fmla="*/ 272 w 475"/>
                <a:gd name="T91" fmla="*/ 262 h 538"/>
                <a:gd name="T92" fmla="*/ 260 w 475"/>
                <a:gd name="T93" fmla="*/ 237 h 538"/>
                <a:gd name="T94" fmla="*/ 270 w 475"/>
                <a:gd name="T95" fmla="*/ 230 h 538"/>
                <a:gd name="T96" fmla="*/ 280 w 475"/>
                <a:gd name="T97" fmla="*/ 257 h 538"/>
                <a:gd name="T98" fmla="*/ 233 w 475"/>
                <a:gd name="T99" fmla="*/ 243 h 538"/>
                <a:gd name="T100" fmla="*/ 245 w 475"/>
                <a:gd name="T101" fmla="*/ 223 h 538"/>
                <a:gd name="T102" fmla="*/ 252 w 475"/>
                <a:gd name="T103" fmla="*/ 225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75" h="538">
                  <a:moveTo>
                    <a:pt x="472" y="9"/>
                  </a:moveTo>
                  <a:cubicBezTo>
                    <a:pt x="427" y="2"/>
                    <a:pt x="295" y="0"/>
                    <a:pt x="192" y="0"/>
                  </a:cubicBezTo>
                  <a:cubicBezTo>
                    <a:pt x="97" y="0"/>
                    <a:pt x="13" y="2"/>
                    <a:pt x="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9" y="253"/>
                    <a:pt x="9" y="253"/>
                    <a:pt x="9" y="253"/>
                  </a:cubicBezTo>
                  <a:cubicBezTo>
                    <a:pt x="13" y="252"/>
                    <a:pt x="13" y="252"/>
                    <a:pt x="13" y="252"/>
                  </a:cubicBezTo>
                  <a:cubicBezTo>
                    <a:pt x="17" y="250"/>
                    <a:pt x="21" y="249"/>
                    <a:pt x="24" y="249"/>
                  </a:cubicBezTo>
                  <a:cubicBezTo>
                    <a:pt x="26" y="249"/>
                    <a:pt x="27" y="249"/>
                    <a:pt x="29" y="249"/>
                  </a:cubicBezTo>
                  <a:cubicBezTo>
                    <a:pt x="33" y="249"/>
                    <a:pt x="37" y="249"/>
                    <a:pt x="42" y="250"/>
                  </a:cubicBezTo>
                  <a:cubicBezTo>
                    <a:pt x="46" y="250"/>
                    <a:pt x="50" y="251"/>
                    <a:pt x="54" y="251"/>
                  </a:cubicBezTo>
                  <a:cubicBezTo>
                    <a:pt x="55" y="251"/>
                    <a:pt x="55" y="251"/>
                    <a:pt x="55" y="251"/>
                  </a:cubicBezTo>
                  <a:cubicBezTo>
                    <a:pt x="65" y="251"/>
                    <a:pt x="76" y="248"/>
                    <a:pt x="84" y="245"/>
                  </a:cubicBezTo>
                  <a:cubicBezTo>
                    <a:pt x="85" y="244"/>
                    <a:pt x="87" y="243"/>
                    <a:pt x="88" y="243"/>
                  </a:cubicBezTo>
                  <a:cubicBezTo>
                    <a:pt x="89" y="241"/>
                    <a:pt x="91" y="241"/>
                    <a:pt x="93" y="241"/>
                  </a:cubicBezTo>
                  <a:cubicBezTo>
                    <a:pt x="93" y="241"/>
                    <a:pt x="93" y="241"/>
                    <a:pt x="93" y="241"/>
                  </a:cubicBezTo>
                  <a:cubicBezTo>
                    <a:pt x="96" y="241"/>
                    <a:pt x="99" y="242"/>
                    <a:pt x="103" y="245"/>
                  </a:cubicBezTo>
                  <a:cubicBezTo>
                    <a:pt x="108" y="248"/>
                    <a:pt x="112" y="251"/>
                    <a:pt x="116" y="255"/>
                  </a:cubicBezTo>
                  <a:cubicBezTo>
                    <a:pt x="119" y="257"/>
                    <a:pt x="122" y="260"/>
                    <a:pt x="125" y="262"/>
                  </a:cubicBezTo>
                  <a:cubicBezTo>
                    <a:pt x="128" y="264"/>
                    <a:pt x="130" y="265"/>
                    <a:pt x="133" y="265"/>
                  </a:cubicBezTo>
                  <a:cubicBezTo>
                    <a:pt x="135" y="265"/>
                    <a:pt x="138" y="264"/>
                    <a:pt x="141" y="263"/>
                  </a:cubicBezTo>
                  <a:cubicBezTo>
                    <a:pt x="143" y="262"/>
                    <a:pt x="145" y="261"/>
                    <a:pt x="148" y="261"/>
                  </a:cubicBezTo>
                  <a:cubicBezTo>
                    <a:pt x="148" y="261"/>
                    <a:pt x="149" y="261"/>
                    <a:pt x="149" y="261"/>
                  </a:cubicBezTo>
                  <a:cubicBezTo>
                    <a:pt x="152" y="262"/>
                    <a:pt x="154" y="264"/>
                    <a:pt x="156" y="266"/>
                  </a:cubicBezTo>
                  <a:cubicBezTo>
                    <a:pt x="159" y="268"/>
                    <a:pt x="163" y="271"/>
                    <a:pt x="168" y="272"/>
                  </a:cubicBezTo>
                  <a:cubicBezTo>
                    <a:pt x="168" y="272"/>
                    <a:pt x="168" y="272"/>
                    <a:pt x="168" y="272"/>
                  </a:cubicBezTo>
                  <a:cubicBezTo>
                    <a:pt x="171" y="272"/>
                    <a:pt x="173" y="271"/>
                    <a:pt x="176" y="270"/>
                  </a:cubicBezTo>
                  <a:cubicBezTo>
                    <a:pt x="177" y="270"/>
                    <a:pt x="179" y="269"/>
                    <a:pt x="181" y="269"/>
                  </a:cubicBezTo>
                  <a:cubicBezTo>
                    <a:pt x="183" y="269"/>
                    <a:pt x="184" y="270"/>
                    <a:pt x="185" y="271"/>
                  </a:cubicBezTo>
                  <a:cubicBezTo>
                    <a:pt x="186" y="271"/>
                    <a:pt x="186" y="272"/>
                    <a:pt x="187" y="274"/>
                  </a:cubicBezTo>
                  <a:cubicBezTo>
                    <a:pt x="187" y="275"/>
                    <a:pt x="188" y="278"/>
                    <a:pt x="191" y="279"/>
                  </a:cubicBezTo>
                  <a:cubicBezTo>
                    <a:pt x="192" y="280"/>
                    <a:pt x="194" y="280"/>
                    <a:pt x="195" y="280"/>
                  </a:cubicBezTo>
                  <a:cubicBezTo>
                    <a:pt x="196" y="280"/>
                    <a:pt x="197" y="280"/>
                    <a:pt x="198" y="280"/>
                  </a:cubicBezTo>
                  <a:cubicBezTo>
                    <a:pt x="199" y="280"/>
                    <a:pt x="200" y="279"/>
                    <a:pt x="200" y="279"/>
                  </a:cubicBezTo>
                  <a:cubicBezTo>
                    <a:pt x="201" y="279"/>
                    <a:pt x="202" y="280"/>
                    <a:pt x="203" y="280"/>
                  </a:cubicBezTo>
                  <a:cubicBezTo>
                    <a:pt x="204" y="282"/>
                    <a:pt x="204" y="283"/>
                    <a:pt x="203" y="287"/>
                  </a:cubicBezTo>
                  <a:cubicBezTo>
                    <a:pt x="203" y="288"/>
                    <a:pt x="203" y="289"/>
                    <a:pt x="203" y="289"/>
                  </a:cubicBezTo>
                  <a:cubicBezTo>
                    <a:pt x="203" y="290"/>
                    <a:pt x="203" y="290"/>
                    <a:pt x="203" y="290"/>
                  </a:cubicBezTo>
                  <a:cubicBezTo>
                    <a:pt x="199" y="289"/>
                    <a:pt x="199" y="289"/>
                    <a:pt x="199" y="289"/>
                  </a:cubicBezTo>
                  <a:cubicBezTo>
                    <a:pt x="199" y="293"/>
                    <a:pt x="199" y="293"/>
                    <a:pt x="199" y="293"/>
                  </a:cubicBezTo>
                  <a:cubicBezTo>
                    <a:pt x="199" y="300"/>
                    <a:pt x="198" y="310"/>
                    <a:pt x="206" y="314"/>
                  </a:cubicBezTo>
                  <a:cubicBezTo>
                    <a:pt x="207" y="315"/>
                    <a:pt x="208" y="315"/>
                    <a:pt x="210" y="315"/>
                  </a:cubicBezTo>
                  <a:cubicBezTo>
                    <a:pt x="211" y="315"/>
                    <a:pt x="212" y="315"/>
                    <a:pt x="213" y="315"/>
                  </a:cubicBezTo>
                  <a:cubicBezTo>
                    <a:pt x="213" y="315"/>
                    <a:pt x="214" y="315"/>
                    <a:pt x="214" y="315"/>
                  </a:cubicBezTo>
                  <a:cubicBezTo>
                    <a:pt x="215" y="315"/>
                    <a:pt x="216" y="315"/>
                    <a:pt x="216" y="315"/>
                  </a:cubicBezTo>
                  <a:cubicBezTo>
                    <a:pt x="219" y="316"/>
                    <a:pt x="221" y="319"/>
                    <a:pt x="223" y="321"/>
                  </a:cubicBezTo>
                  <a:cubicBezTo>
                    <a:pt x="227" y="326"/>
                    <a:pt x="230" y="333"/>
                    <a:pt x="232" y="339"/>
                  </a:cubicBezTo>
                  <a:cubicBezTo>
                    <a:pt x="233" y="342"/>
                    <a:pt x="233" y="342"/>
                    <a:pt x="233" y="342"/>
                  </a:cubicBezTo>
                  <a:cubicBezTo>
                    <a:pt x="235" y="345"/>
                    <a:pt x="236" y="347"/>
                    <a:pt x="238" y="350"/>
                  </a:cubicBezTo>
                  <a:cubicBezTo>
                    <a:pt x="240" y="353"/>
                    <a:pt x="242" y="357"/>
                    <a:pt x="243" y="360"/>
                  </a:cubicBezTo>
                  <a:cubicBezTo>
                    <a:pt x="243" y="362"/>
                    <a:pt x="243" y="364"/>
                    <a:pt x="243" y="368"/>
                  </a:cubicBezTo>
                  <a:cubicBezTo>
                    <a:pt x="244" y="376"/>
                    <a:pt x="244" y="388"/>
                    <a:pt x="255" y="389"/>
                  </a:cubicBezTo>
                  <a:cubicBezTo>
                    <a:pt x="256" y="389"/>
                    <a:pt x="256" y="390"/>
                    <a:pt x="256" y="390"/>
                  </a:cubicBezTo>
                  <a:cubicBezTo>
                    <a:pt x="263" y="390"/>
                    <a:pt x="267" y="382"/>
                    <a:pt x="270" y="376"/>
                  </a:cubicBezTo>
                  <a:cubicBezTo>
                    <a:pt x="272" y="373"/>
                    <a:pt x="274" y="370"/>
                    <a:pt x="275" y="368"/>
                  </a:cubicBezTo>
                  <a:cubicBezTo>
                    <a:pt x="278" y="365"/>
                    <a:pt x="281" y="362"/>
                    <a:pt x="284" y="360"/>
                  </a:cubicBezTo>
                  <a:cubicBezTo>
                    <a:pt x="290" y="353"/>
                    <a:pt x="296" y="347"/>
                    <a:pt x="304" y="343"/>
                  </a:cubicBezTo>
                  <a:cubicBezTo>
                    <a:pt x="309" y="341"/>
                    <a:pt x="314" y="339"/>
                    <a:pt x="318" y="332"/>
                  </a:cubicBezTo>
                  <a:cubicBezTo>
                    <a:pt x="319" y="331"/>
                    <a:pt x="319" y="329"/>
                    <a:pt x="320" y="327"/>
                  </a:cubicBezTo>
                  <a:cubicBezTo>
                    <a:pt x="321" y="324"/>
                    <a:pt x="323" y="321"/>
                    <a:pt x="325" y="318"/>
                  </a:cubicBezTo>
                  <a:cubicBezTo>
                    <a:pt x="326" y="317"/>
                    <a:pt x="328" y="316"/>
                    <a:pt x="329" y="314"/>
                  </a:cubicBezTo>
                  <a:cubicBezTo>
                    <a:pt x="332" y="312"/>
                    <a:pt x="335" y="309"/>
                    <a:pt x="337" y="306"/>
                  </a:cubicBezTo>
                  <a:cubicBezTo>
                    <a:pt x="339" y="302"/>
                    <a:pt x="339" y="298"/>
                    <a:pt x="340" y="293"/>
                  </a:cubicBezTo>
                  <a:cubicBezTo>
                    <a:pt x="342" y="297"/>
                    <a:pt x="344" y="303"/>
                    <a:pt x="343" y="307"/>
                  </a:cubicBezTo>
                  <a:cubicBezTo>
                    <a:pt x="343" y="309"/>
                    <a:pt x="341" y="310"/>
                    <a:pt x="339" y="311"/>
                  </a:cubicBezTo>
                  <a:cubicBezTo>
                    <a:pt x="337" y="312"/>
                    <a:pt x="335" y="313"/>
                    <a:pt x="334" y="316"/>
                  </a:cubicBezTo>
                  <a:cubicBezTo>
                    <a:pt x="331" y="320"/>
                    <a:pt x="333" y="324"/>
                    <a:pt x="335" y="327"/>
                  </a:cubicBezTo>
                  <a:cubicBezTo>
                    <a:pt x="335" y="328"/>
                    <a:pt x="336" y="330"/>
                    <a:pt x="336" y="331"/>
                  </a:cubicBezTo>
                  <a:cubicBezTo>
                    <a:pt x="337" y="333"/>
                    <a:pt x="336" y="334"/>
                    <a:pt x="333" y="337"/>
                  </a:cubicBezTo>
                  <a:cubicBezTo>
                    <a:pt x="332" y="338"/>
                    <a:pt x="330" y="339"/>
                    <a:pt x="329" y="340"/>
                  </a:cubicBezTo>
                  <a:cubicBezTo>
                    <a:pt x="320" y="350"/>
                    <a:pt x="321" y="361"/>
                    <a:pt x="321" y="372"/>
                  </a:cubicBezTo>
                  <a:cubicBezTo>
                    <a:pt x="321" y="372"/>
                    <a:pt x="322" y="377"/>
                    <a:pt x="322" y="378"/>
                  </a:cubicBezTo>
                  <a:cubicBezTo>
                    <a:pt x="322" y="383"/>
                    <a:pt x="322" y="386"/>
                    <a:pt x="319" y="387"/>
                  </a:cubicBezTo>
                  <a:cubicBezTo>
                    <a:pt x="319" y="388"/>
                    <a:pt x="318" y="388"/>
                    <a:pt x="316" y="388"/>
                  </a:cubicBezTo>
                  <a:cubicBezTo>
                    <a:pt x="315" y="388"/>
                    <a:pt x="315" y="388"/>
                    <a:pt x="314" y="388"/>
                  </a:cubicBezTo>
                  <a:cubicBezTo>
                    <a:pt x="313" y="388"/>
                    <a:pt x="312" y="387"/>
                    <a:pt x="311" y="387"/>
                  </a:cubicBezTo>
                  <a:cubicBezTo>
                    <a:pt x="309" y="387"/>
                    <a:pt x="305" y="388"/>
                    <a:pt x="303" y="390"/>
                  </a:cubicBezTo>
                  <a:cubicBezTo>
                    <a:pt x="300" y="393"/>
                    <a:pt x="299" y="396"/>
                    <a:pt x="300" y="399"/>
                  </a:cubicBezTo>
                  <a:cubicBezTo>
                    <a:pt x="300" y="403"/>
                    <a:pt x="303" y="406"/>
                    <a:pt x="306" y="407"/>
                  </a:cubicBezTo>
                  <a:cubicBezTo>
                    <a:pt x="308" y="408"/>
                    <a:pt x="310" y="408"/>
                    <a:pt x="312" y="408"/>
                  </a:cubicBezTo>
                  <a:cubicBezTo>
                    <a:pt x="315" y="408"/>
                    <a:pt x="318" y="407"/>
                    <a:pt x="321" y="406"/>
                  </a:cubicBezTo>
                  <a:cubicBezTo>
                    <a:pt x="323" y="406"/>
                    <a:pt x="323" y="406"/>
                    <a:pt x="323" y="406"/>
                  </a:cubicBezTo>
                  <a:cubicBezTo>
                    <a:pt x="336" y="402"/>
                    <a:pt x="337" y="393"/>
                    <a:pt x="338" y="384"/>
                  </a:cubicBezTo>
                  <a:cubicBezTo>
                    <a:pt x="339" y="381"/>
                    <a:pt x="339" y="381"/>
                    <a:pt x="339" y="381"/>
                  </a:cubicBezTo>
                  <a:cubicBezTo>
                    <a:pt x="340" y="376"/>
                    <a:pt x="341" y="369"/>
                    <a:pt x="343" y="365"/>
                  </a:cubicBezTo>
                  <a:cubicBezTo>
                    <a:pt x="345" y="363"/>
                    <a:pt x="347" y="361"/>
                    <a:pt x="349" y="361"/>
                  </a:cubicBezTo>
                  <a:cubicBezTo>
                    <a:pt x="350" y="361"/>
                    <a:pt x="350" y="362"/>
                    <a:pt x="351" y="363"/>
                  </a:cubicBezTo>
                  <a:cubicBezTo>
                    <a:pt x="351" y="363"/>
                    <a:pt x="351" y="365"/>
                    <a:pt x="352" y="367"/>
                  </a:cubicBezTo>
                  <a:cubicBezTo>
                    <a:pt x="352" y="368"/>
                    <a:pt x="352" y="370"/>
                    <a:pt x="352" y="372"/>
                  </a:cubicBezTo>
                  <a:cubicBezTo>
                    <a:pt x="353" y="374"/>
                    <a:pt x="354" y="376"/>
                    <a:pt x="355" y="378"/>
                  </a:cubicBezTo>
                  <a:cubicBezTo>
                    <a:pt x="358" y="384"/>
                    <a:pt x="359" y="386"/>
                    <a:pt x="355" y="394"/>
                  </a:cubicBezTo>
                  <a:cubicBezTo>
                    <a:pt x="354" y="397"/>
                    <a:pt x="354" y="401"/>
                    <a:pt x="354" y="404"/>
                  </a:cubicBezTo>
                  <a:cubicBezTo>
                    <a:pt x="354" y="410"/>
                    <a:pt x="354" y="413"/>
                    <a:pt x="351" y="415"/>
                  </a:cubicBezTo>
                  <a:cubicBezTo>
                    <a:pt x="351" y="415"/>
                    <a:pt x="351" y="415"/>
                    <a:pt x="349" y="415"/>
                  </a:cubicBezTo>
                  <a:cubicBezTo>
                    <a:pt x="347" y="415"/>
                    <a:pt x="347" y="415"/>
                    <a:pt x="347" y="415"/>
                  </a:cubicBezTo>
                  <a:cubicBezTo>
                    <a:pt x="345" y="415"/>
                    <a:pt x="342" y="415"/>
                    <a:pt x="340" y="418"/>
                  </a:cubicBezTo>
                  <a:cubicBezTo>
                    <a:pt x="338" y="421"/>
                    <a:pt x="339" y="423"/>
                    <a:pt x="339" y="425"/>
                  </a:cubicBezTo>
                  <a:cubicBezTo>
                    <a:pt x="340" y="425"/>
                    <a:pt x="340" y="426"/>
                    <a:pt x="340" y="426"/>
                  </a:cubicBezTo>
                  <a:cubicBezTo>
                    <a:pt x="339" y="426"/>
                    <a:pt x="338" y="426"/>
                    <a:pt x="337" y="425"/>
                  </a:cubicBezTo>
                  <a:cubicBezTo>
                    <a:pt x="336" y="425"/>
                    <a:pt x="336" y="425"/>
                    <a:pt x="336" y="425"/>
                  </a:cubicBezTo>
                  <a:cubicBezTo>
                    <a:pt x="331" y="425"/>
                    <a:pt x="329" y="425"/>
                    <a:pt x="326" y="422"/>
                  </a:cubicBezTo>
                  <a:cubicBezTo>
                    <a:pt x="324" y="419"/>
                    <a:pt x="321" y="418"/>
                    <a:pt x="317" y="418"/>
                  </a:cubicBezTo>
                  <a:cubicBezTo>
                    <a:pt x="314" y="418"/>
                    <a:pt x="311" y="419"/>
                    <a:pt x="307" y="420"/>
                  </a:cubicBezTo>
                  <a:cubicBezTo>
                    <a:pt x="305" y="421"/>
                    <a:pt x="302" y="422"/>
                    <a:pt x="299" y="422"/>
                  </a:cubicBezTo>
                  <a:cubicBezTo>
                    <a:pt x="298" y="422"/>
                    <a:pt x="298" y="422"/>
                    <a:pt x="298" y="422"/>
                  </a:cubicBezTo>
                  <a:cubicBezTo>
                    <a:pt x="294" y="423"/>
                    <a:pt x="287" y="423"/>
                    <a:pt x="286" y="430"/>
                  </a:cubicBezTo>
                  <a:cubicBezTo>
                    <a:pt x="285" y="435"/>
                    <a:pt x="290" y="445"/>
                    <a:pt x="296" y="446"/>
                  </a:cubicBezTo>
                  <a:cubicBezTo>
                    <a:pt x="296" y="446"/>
                    <a:pt x="297" y="446"/>
                    <a:pt x="297" y="446"/>
                  </a:cubicBezTo>
                  <a:cubicBezTo>
                    <a:pt x="300" y="446"/>
                    <a:pt x="303" y="444"/>
                    <a:pt x="305" y="443"/>
                  </a:cubicBezTo>
                  <a:cubicBezTo>
                    <a:pt x="306" y="442"/>
                    <a:pt x="308" y="441"/>
                    <a:pt x="310" y="441"/>
                  </a:cubicBezTo>
                  <a:cubicBezTo>
                    <a:pt x="310" y="441"/>
                    <a:pt x="310" y="441"/>
                    <a:pt x="310" y="441"/>
                  </a:cubicBezTo>
                  <a:cubicBezTo>
                    <a:pt x="311" y="441"/>
                    <a:pt x="313" y="442"/>
                    <a:pt x="314" y="443"/>
                  </a:cubicBezTo>
                  <a:cubicBezTo>
                    <a:pt x="317" y="444"/>
                    <a:pt x="319" y="446"/>
                    <a:pt x="322" y="446"/>
                  </a:cubicBezTo>
                  <a:cubicBezTo>
                    <a:pt x="322" y="446"/>
                    <a:pt x="323" y="446"/>
                    <a:pt x="323" y="446"/>
                  </a:cubicBezTo>
                  <a:cubicBezTo>
                    <a:pt x="327" y="445"/>
                    <a:pt x="329" y="441"/>
                    <a:pt x="330" y="439"/>
                  </a:cubicBezTo>
                  <a:cubicBezTo>
                    <a:pt x="330" y="437"/>
                    <a:pt x="331" y="436"/>
                    <a:pt x="332" y="436"/>
                  </a:cubicBezTo>
                  <a:cubicBezTo>
                    <a:pt x="332" y="435"/>
                    <a:pt x="332" y="435"/>
                    <a:pt x="332" y="435"/>
                  </a:cubicBezTo>
                  <a:cubicBezTo>
                    <a:pt x="333" y="435"/>
                    <a:pt x="335" y="436"/>
                    <a:pt x="336" y="437"/>
                  </a:cubicBezTo>
                  <a:cubicBezTo>
                    <a:pt x="338" y="438"/>
                    <a:pt x="339" y="439"/>
                    <a:pt x="341" y="439"/>
                  </a:cubicBezTo>
                  <a:cubicBezTo>
                    <a:pt x="341" y="439"/>
                    <a:pt x="341" y="439"/>
                    <a:pt x="341" y="439"/>
                  </a:cubicBezTo>
                  <a:cubicBezTo>
                    <a:pt x="342" y="439"/>
                    <a:pt x="344" y="439"/>
                    <a:pt x="346" y="436"/>
                  </a:cubicBezTo>
                  <a:cubicBezTo>
                    <a:pt x="347" y="433"/>
                    <a:pt x="346" y="430"/>
                    <a:pt x="345" y="429"/>
                  </a:cubicBezTo>
                  <a:cubicBezTo>
                    <a:pt x="345" y="429"/>
                    <a:pt x="345" y="429"/>
                    <a:pt x="345" y="428"/>
                  </a:cubicBezTo>
                  <a:cubicBezTo>
                    <a:pt x="348" y="429"/>
                    <a:pt x="351" y="429"/>
                    <a:pt x="353" y="429"/>
                  </a:cubicBezTo>
                  <a:cubicBezTo>
                    <a:pt x="354" y="429"/>
                    <a:pt x="354" y="429"/>
                    <a:pt x="355" y="429"/>
                  </a:cubicBezTo>
                  <a:cubicBezTo>
                    <a:pt x="361" y="429"/>
                    <a:pt x="366" y="425"/>
                    <a:pt x="370" y="421"/>
                  </a:cubicBezTo>
                  <a:cubicBezTo>
                    <a:pt x="373" y="418"/>
                    <a:pt x="376" y="416"/>
                    <a:pt x="379" y="415"/>
                  </a:cubicBezTo>
                  <a:cubicBezTo>
                    <a:pt x="380" y="414"/>
                    <a:pt x="381" y="414"/>
                    <a:pt x="382" y="414"/>
                  </a:cubicBezTo>
                  <a:cubicBezTo>
                    <a:pt x="383" y="414"/>
                    <a:pt x="387" y="415"/>
                    <a:pt x="387" y="419"/>
                  </a:cubicBezTo>
                  <a:cubicBezTo>
                    <a:pt x="387" y="420"/>
                    <a:pt x="387" y="421"/>
                    <a:pt x="386" y="423"/>
                  </a:cubicBezTo>
                  <a:cubicBezTo>
                    <a:pt x="386" y="424"/>
                    <a:pt x="385" y="426"/>
                    <a:pt x="385" y="427"/>
                  </a:cubicBezTo>
                  <a:cubicBezTo>
                    <a:pt x="384" y="432"/>
                    <a:pt x="386" y="436"/>
                    <a:pt x="388" y="441"/>
                  </a:cubicBezTo>
                  <a:cubicBezTo>
                    <a:pt x="389" y="443"/>
                    <a:pt x="391" y="445"/>
                    <a:pt x="392" y="448"/>
                  </a:cubicBezTo>
                  <a:cubicBezTo>
                    <a:pt x="397" y="457"/>
                    <a:pt x="403" y="466"/>
                    <a:pt x="399" y="476"/>
                  </a:cubicBezTo>
                  <a:cubicBezTo>
                    <a:pt x="399" y="477"/>
                    <a:pt x="398" y="477"/>
                    <a:pt x="398" y="478"/>
                  </a:cubicBezTo>
                  <a:cubicBezTo>
                    <a:pt x="396" y="482"/>
                    <a:pt x="395" y="486"/>
                    <a:pt x="397" y="491"/>
                  </a:cubicBezTo>
                  <a:cubicBezTo>
                    <a:pt x="398" y="494"/>
                    <a:pt x="400" y="496"/>
                    <a:pt x="402" y="498"/>
                  </a:cubicBezTo>
                  <a:cubicBezTo>
                    <a:pt x="403" y="500"/>
                    <a:pt x="404" y="502"/>
                    <a:pt x="405" y="504"/>
                  </a:cubicBezTo>
                  <a:cubicBezTo>
                    <a:pt x="407" y="507"/>
                    <a:pt x="408" y="510"/>
                    <a:pt x="409" y="513"/>
                  </a:cubicBezTo>
                  <a:cubicBezTo>
                    <a:pt x="410" y="516"/>
                    <a:pt x="412" y="519"/>
                    <a:pt x="413" y="521"/>
                  </a:cubicBezTo>
                  <a:cubicBezTo>
                    <a:pt x="413" y="523"/>
                    <a:pt x="414" y="524"/>
                    <a:pt x="415" y="526"/>
                  </a:cubicBezTo>
                  <a:cubicBezTo>
                    <a:pt x="417" y="529"/>
                    <a:pt x="418" y="531"/>
                    <a:pt x="418" y="534"/>
                  </a:cubicBezTo>
                  <a:cubicBezTo>
                    <a:pt x="419" y="538"/>
                    <a:pt x="419" y="538"/>
                    <a:pt x="419" y="538"/>
                  </a:cubicBezTo>
                  <a:cubicBezTo>
                    <a:pt x="422" y="537"/>
                    <a:pt x="422" y="537"/>
                    <a:pt x="422" y="537"/>
                  </a:cubicBezTo>
                  <a:cubicBezTo>
                    <a:pt x="423" y="537"/>
                    <a:pt x="425" y="536"/>
                    <a:pt x="426" y="536"/>
                  </a:cubicBezTo>
                  <a:cubicBezTo>
                    <a:pt x="428" y="536"/>
                    <a:pt x="429" y="537"/>
                    <a:pt x="431" y="537"/>
                  </a:cubicBezTo>
                  <a:cubicBezTo>
                    <a:pt x="433" y="538"/>
                    <a:pt x="434" y="538"/>
                    <a:pt x="436" y="538"/>
                  </a:cubicBezTo>
                  <a:cubicBezTo>
                    <a:pt x="436" y="538"/>
                    <a:pt x="437" y="538"/>
                    <a:pt x="437" y="538"/>
                  </a:cubicBezTo>
                  <a:cubicBezTo>
                    <a:pt x="438" y="535"/>
                    <a:pt x="438" y="535"/>
                    <a:pt x="438" y="535"/>
                  </a:cubicBezTo>
                  <a:cubicBezTo>
                    <a:pt x="438" y="538"/>
                    <a:pt x="438" y="538"/>
                    <a:pt x="438" y="538"/>
                  </a:cubicBezTo>
                  <a:cubicBezTo>
                    <a:pt x="441" y="538"/>
                    <a:pt x="441" y="538"/>
                    <a:pt x="441" y="538"/>
                  </a:cubicBezTo>
                  <a:cubicBezTo>
                    <a:pt x="475" y="10"/>
                    <a:pt x="475" y="10"/>
                    <a:pt x="475" y="10"/>
                  </a:cubicBezTo>
                  <a:lnTo>
                    <a:pt x="472" y="9"/>
                  </a:lnTo>
                  <a:close/>
                  <a:moveTo>
                    <a:pt x="413" y="222"/>
                  </a:moveTo>
                  <a:cubicBezTo>
                    <a:pt x="411" y="220"/>
                    <a:pt x="409" y="219"/>
                    <a:pt x="408" y="219"/>
                  </a:cubicBezTo>
                  <a:cubicBezTo>
                    <a:pt x="407" y="219"/>
                    <a:pt x="406" y="218"/>
                    <a:pt x="406" y="218"/>
                  </a:cubicBezTo>
                  <a:cubicBezTo>
                    <a:pt x="406" y="218"/>
                    <a:pt x="405" y="216"/>
                    <a:pt x="411" y="209"/>
                  </a:cubicBezTo>
                  <a:cubicBezTo>
                    <a:pt x="413" y="207"/>
                    <a:pt x="415" y="206"/>
                    <a:pt x="416" y="204"/>
                  </a:cubicBezTo>
                  <a:cubicBezTo>
                    <a:pt x="418" y="202"/>
                    <a:pt x="421" y="200"/>
                    <a:pt x="423" y="197"/>
                  </a:cubicBezTo>
                  <a:cubicBezTo>
                    <a:pt x="424" y="199"/>
                    <a:pt x="423" y="201"/>
                    <a:pt x="422" y="203"/>
                  </a:cubicBezTo>
                  <a:cubicBezTo>
                    <a:pt x="421" y="206"/>
                    <a:pt x="421" y="209"/>
                    <a:pt x="420" y="211"/>
                  </a:cubicBezTo>
                  <a:cubicBezTo>
                    <a:pt x="419" y="216"/>
                    <a:pt x="418" y="220"/>
                    <a:pt x="415" y="224"/>
                  </a:cubicBezTo>
                  <a:cubicBezTo>
                    <a:pt x="415" y="224"/>
                    <a:pt x="415" y="224"/>
                    <a:pt x="415" y="224"/>
                  </a:cubicBezTo>
                  <a:cubicBezTo>
                    <a:pt x="415" y="224"/>
                    <a:pt x="415" y="224"/>
                    <a:pt x="414" y="223"/>
                  </a:cubicBezTo>
                  <a:cubicBezTo>
                    <a:pt x="414" y="223"/>
                    <a:pt x="413" y="222"/>
                    <a:pt x="413" y="222"/>
                  </a:cubicBezTo>
                  <a:close/>
                  <a:moveTo>
                    <a:pt x="340" y="246"/>
                  </a:moveTo>
                  <a:cubicBezTo>
                    <a:pt x="339" y="247"/>
                    <a:pt x="339" y="248"/>
                    <a:pt x="338" y="248"/>
                  </a:cubicBezTo>
                  <a:cubicBezTo>
                    <a:pt x="339" y="247"/>
                    <a:pt x="339" y="246"/>
                    <a:pt x="339" y="244"/>
                  </a:cubicBezTo>
                  <a:cubicBezTo>
                    <a:pt x="339" y="239"/>
                    <a:pt x="339" y="235"/>
                    <a:pt x="336" y="230"/>
                  </a:cubicBezTo>
                  <a:cubicBezTo>
                    <a:pt x="336" y="230"/>
                    <a:pt x="335" y="229"/>
                    <a:pt x="334" y="228"/>
                  </a:cubicBezTo>
                  <a:cubicBezTo>
                    <a:pt x="334" y="228"/>
                    <a:pt x="332" y="226"/>
                    <a:pt x="332" y="225"/>
                  </a:cubicBezTo>
                  <a:cubicBezTo>
                    <a:pt x="333" y="225"/>
                    <a:pt x="333" y="224"/>
                    <a:pt x="334" y="224"/>
                  </a:cubicBezTo>
                  <a:cubicBezTo>
                    <a:pt x="336" y="223"/>
                    <a:pt x="338" y="221"/>
                    <a:pt x="338" y="218"/>
                  </a:cubicBezTo>
                  <a:cubicBezTo>
                    <a:pt x="338" y="215"/>
                    <a:pt x="336" y="212"/>
                    <a:pt x="334" y="208"/>
                  </a:cubicBezTo>
                  <a:cubicBezTo>
                    <a:pt x="333" y="207"/>
                    <a:pt x="333" y="206"/>
                    <a:pt x="333" y="206"/>
                  </a:cubicBezTo>
                  <a:cubicBezTo>
                    <a:pt x="331" y="203"/>
                    <a:pt x="329" y="200"/>
                    <a:pt x="326" y="197"/>
                  </a:cubicBezTo>
                  <a:cubicBezTo>
                    <a:pt x="324" y="194"/>
                    <a:pt x="322" y="190"/>
                    <a:pt x="323" y="188"/>
                  </a:cubicBezTo>
                  <a:cubicBezTo>
                    <a:pt x="324" y="189"/>
                    <a:pt x="327" y="193"/>
                    <a:pt x="329" y="194"/>
                  </a:cubicBezTo>
                  <a:cubicBezTo>
                    <a:pt x="330" y="195"/>
                    <a:pt x="331" y="196"/>
                    <a:pt x="331" y="197"/>
                  </a:cubicBezTo>
                  <a:cubicBezTo>
                    <a:pt x="333" y="198"/>
                    <a:pt x="334" y="199"/>
                    <a:pt x="336" y="200"/>
                  </a:cubicBezTo>
                  <a:cubicBezTo>
                    <a:pt x="337" y="201"/>
                    <a:pt x="338" y="201"/>
                    <a:pt x="339" y="201"/>
                  </a:cubicBezTo>
                  <a:cubicBezTo>
                    <a:pt x="339" y="201"/>
                    <a:pt x="340" y="202"/>
                    <a:pt x="341" y="202"/>
                  </a:cubicBezTo>
                  <a:cubicBezTo>
                    <a:pt x="341" y="202"/>
                    <a:pt x="342" y="205"/>
                    <a:pt x="342" y="206"/>
                  </a:cubicBezTo>
                  <a:cubicBezTo>
                    <a:pt x="343" y="207"/>
                    <a:pt x="343" y="208"/>
                    <a:pt x="343" y="208"/>
                  </a:cubicBezTo>
                  <a:cubicBezTo>
                    <a:pt x="344" y="210"/>
                    <a:pt x="344" y="212"/>
                    <a:pt x="345" y="214"/>
                  </a:cubicBezTo>
                  <a:cubicBezTo>
                    <a:pt x="347" y="218"/>
                    <a:pt x="348" y="222"/>
                    <a:pt x="349" y="226"/>
                  </a:cubicBezTo>
                  <a:cubicBezTo>
                    <a:pt x="350" y="234"/>
                    <a:pt x="348" y="239"/>
                    <a:pt x="340" y="246"/>
                  </a:cubicBezTo>
                  <a:close/>
                  <a:moveTo>
                    <a:pt x="310" y="113"/>
                  </a:moveTo>
                  <a:cubicBezTo>
                    <a:pt x="309" y="111"/>
                    <a:pt x="309" y="110"/>
                    <a:pt x="309" y="110"/>
                  </a:cubicBezTo>
                  <a:cubicBezTo>
                    <a:pt x="309" y="110"/>
                    <a:pt x="309" y="109"/>
                    <a:pt x="311" y="108"/>
                  </a:cubicBezTo>
                  <a:cubicBezTo>
                    <a:pt x="312" y="108"/>
                    <a:pt x="312" y="108"/>
                    <a:pt x="312" y="108"/>
                  </a:cubicBezTo>
                  <a:cubicBezTo>
                    <a:pt x="316" y="106"/>
                    <a:pt x="318" y="104"/>
                    <a:pt x="317" y="98"/>
                  </a:cubicBezTo>
                  <a:cubicBezTo>
                    <a:pt x="316" y="95"/>
                    <a:pt x="315" y="94"/>
                    <a:pt x="313" y="92"/>
                  </a:cubicBezTo>
                  <a:cubicBezTo>
                    <a:pt x="312" y="90"/>
                    <a:pt x="311" y="89"/>
                    <a:pt x="311" y="88"/>
                  </a:cubicBezTo>
                  <a:cubicBezTo>
                    <a:pt x="311" y="88"/>
                    <a:pt x="312" y="86"/>
                    <a:pt x="315" y="86"/>
                  </a:cubicBezTo>
                  <a:cubicBezTo>
                    <a:pt x="318" y="86"/>
                    <a:pt x="321" y="87"/>
                    <a:pt x="322" y="88"/>
                  </a:cubicBezTo>
                  <a:cubicBezTo>
                    <a:pt x="326" y="91"/>
                    <a:pt x="329" y="94"/>
                    <a:pt x="332" y="98"/>
                  </a:cubicBezTo>
                  <a:cubicBezTo>
                    <a:pt x="333" y="99"/>
                    <a:pt x="334" y="100"/>
                    <a:pt x="335" y="102"/>
                  </a:cubicBezTo>
                  <a:cubicBezTo>
                    <a:pt x="338" y="104"/>
                    <a:pt x="338" y="106"/>
                    <a:pt x="337" y="110"/>
                  </a:cubicBezTo>
                  <a:cubicBezTo>
                    <a:pt x="337" y="112"/>
                    <a:pt x="336" y="115"/>
                    <a:pt x="337" y="118"/>
                  </a:cubicBezTo>
                  <a:cubicBezTo>
                    <a:pt x="337" y="119"/>
                    <a:pt x="338" y="121"/>
                    <a:pt x="338" y="123"/>
                  </a:cubicBezTo>
                  <a:cubicBezTo>
                    <a:pt x="339" y="125"/>
                    <a:pt x="340" y="128"/>
                    <a:pt x="339" y="129"/>
                  </a:cubicBezTo>
                  <a:cubicBezTo>
                    <a:pt x="339" y="130"/>
                    <a:pt x="338" y="130"/>
                    <a:pt x="337" y="131"/>
                  </a:cubicBezTo>
                  <a:cubicBezTo>
                    <a:pt x="336" y="131"/>
                    <a:pt x="335" y="131"/>
                    <a:pt x="334" y="131"/>
                  </a:cubicBezTo>
                  <a:cubicBezTo>
                    <a:pt x="330" y="131"/>
                    <a:pt x="326" y="129"/>
                    <a:pt x="322" y="126"/>
                  </a:cubicBezTo>
                  <a:cubicBezTo>
                    <a:pt x="319" y="125"/>
                    <a:pt x="319" y="125"/>
                    <a:pt x="319" y="125"/>
                  </a:cubicBezTo>
                  <a:cubicBezTo>
                    <a:pt x="318" y="127"/>
                    <a:pt x="318" y="127"/>
                    <a:pt x="318" y="127"/>
                  </a:cubicBezTo>
                  <a:cubicBezTo>
                    <a:pt x="316" y="130"/>
                    <a:pt x="314" y="131"/>
                    <a:pt x="314" y="131"/>
                  </a:cubicBezTo>
                  <a:cubicBezTo>
                    <a:pt x="313" y="131"/>
                    <a:pt x="312" y="130"/>
                    <a:pt x="312" y="128"/>
                  </a:cubicBezTo>
                  <a:cubicBezTo>
                    <a:pt x="312" y="127"/>
                    <a:pt x="312" y="125"/>
                    <a:pt x="312" y="123"/>
                  </a:cubicBezTo>
                  <a:cubicBezTo>
                    <a:pt x="313" y="120"/>
                    <a:pt x="313" y="116"/>
                    <a:pt x="310" y="113"/>
                  </a:cubicBezTo>
                  <a:close/>
                  <a:moveTo>
                    <a:pt x="332" y="146"/>
                  </a:moveTo>
                  <a:cubicBezTo>
                    <a:pt x="333" y="146"/>
                    <a:pt x="333" y="146"/>
                    <a:pt x="333" y="146"/>
                  </a:cubicBezTo>
                  <a:cubicBezTo>
                    <a:pt x="334" y="145"/>
                    <a:pt x="335" y="145"/>
                    <a:pt x="336" y="144"/>
                  </a:cubicBezTo>
                  <a:cubicBezTo>
                    <a:pt x="336" y="144"/>
                    <a:pt x="336" y="144"/>
                    <a:pt x="336" y="144"/>
                  </a:cubicBezTo>
                  <a:cubicBezTo>
                    <a:pt x="336" y="146"/>
                    <a:pt x="336" y="147"/>
                    <a:pt x="336" y="148"/>
                  </a:cubicBezTo>
                  <a:cubicBezTo>
                    <a:pt x="336" y="148"/>
                    <a:pt x="336" y="148"/>
                    <a:pt x="336" y="148"/>
                  </a:cubicBezTo>
                  <a:cubicBezTo>
                    <a:pt x="335" y="147"/>
                    <a:pt x="334" y="146"/>
                    <a:pt x="332" y="146"/>
                  </a:cubicBezTo>
                  <a:close/>
                  <a:moveTo>
                    <a:pt x="329" y="146"/>
                  </a:moveTo>
                  <a:cubicBezTo>
                    <a:pt x="330" y="146"/>
                    <a:pt x="330" y="146"/>
                    <a:pt x="331" y="146"/>
                  </a:cubicBezTo>
                  <a:cubicBezTo>
                    <a:pt x="329" y="147"/>
                    <a:pt x="328" y="149"/>
                    <a:pt x="328" y="150"/>
                  </a:cubicBezTo>
                  <a:cubicBezTo>
                    <a:pt x="327" y="150"/>
                    <a:pt x="327" y="151"/>
                    <a:pt x="327" y="151"/>
                  </a:cubicBezTo>
                  <a:cubicBezTo>
                    <a:pt x="326" y="152"/>
                    <a:pt x="325" y="152"/>
                    <a:pt x="324" y="152"/>
                  </a:cubicBezTo>
                  <a:cubicBezTo>
                    <a:pt x="322" y="152"/>
                    <a:pt x="320" y="151"/>
                    <a:pt x="319" y="151"/>
                  </a:cubicBezTo>
                  <a:cubicBezTo>
                    <a:pt x="319" y="150"/>
                    <a:pt x="318" y="150"/>
                    <a:pt x="318" y="149"/>
                  </a:cubicBezTo>
                  <a:cubicBezTo>
                    <a:pt x="318" y="148"/>
                    <a:pt x="319" y="147"/>
                    <a:pt x="320" y="146"/>
                  </a:cubicBezTo>
                  <a:cubicBezTo>
                    <a:pt x="321" y="146"/>
                    <a:pt x="321" y="146"/>
                    <a:pt x="323" y="146"/>
                  </a:cubicBezTo>
                  <a:cubicBezTo>
                    <a:pt x="324" y="146"/>
                    <a:pt x="325" y="146"/>
                    <a:pt x="326" y="146"/>
                  </a:cubicBezTo>
                  <a:cubicBezTo>
                    <a:pt x="327" y="146"/>
                    <a:pt x="328" y="146"/>
                    <a:pt x="329" y="146"/>
                  </a:cubicBezTo>
                  <a:close/>
                  <a:moveTo>
                    <a:pt x="272" y="268"/>
                  </a:moveTo>
                  <a:cubicBezTo>
                    <a:pt x="271" y="267"/>
                    <a:pt x="272" y="263"/>
                    <a:pt x="272" y="262"/>
                  </a:cubicBezTo>
                  <a:cubicBezTo>
                    <a:pt x="272" y="261"/>
                    <a:pt x="272" y="261"/>
                    <a:pt x="272" y="261"/>
                  </a:cubicBezTo>
                  <a:cubicBezTo>
                    <a:pt x="274" y="255"/>
                    <a:pt x="272" y="250"/>
                    <a:pt x="267" y="246"/>
                  </a:cubicBezTo>
                  <a:cubicBezTo>
                    <a:pt x="267" y="245"/>
                    <a:pt x="266" y="245"/>
                    <a:pt x="265" y="244"/>
                  </a:cubicBezTo>
                  <a:cubicBezTo>
                    <a:pt x="263" y="243"/>
                    <a:pt x="262" y="242"/>
                    <a:pt x="261" y="241"/>
                  </a:cubicBezTo>
                  <a:cubicBezTo>
                    <a:pt x="261" y="240"/>
                    <a:pt x="261" y="239"/>
                    <a:pt x="260" y="237"/>
                  </a:cubicBezTo>
                  <a:cubicBezTo>
                    <a:pt x="260" y="235"/>
                    <a:pt x="259" y="233"/>
                    <a:pt x="258" y="231"/>
                  </a:cubicBezTo>
                  <a:cubicBezTo>
                    <a:pt x="258" y="231"/>
                    <a:pt x="258" y="231"/>
                    <a:pt x="258" y="231"/>
                  </a:cubicBezTo>
                  <a:cubicBezTo>
                    <a:pt x="259" y="231"/>
                    <a:pt x="260" y="232"/>
                    <a:pt x="262" y="232"/>
                  </a:cubicBezTo>
                  <a:cubicBezTo>
                    <a:pt x="264" y="232"/>
                    <a:pt x="266" y="231"/>
                    <a:pt x="267" y="231"/>
                  </a:cubicBezTo>
                  <a:cubicBezTo>
                    <a:pt x="268" y="230"/>
                    <a:pt x="270" y="230"/>
                    <a:pt x="270" y="230"/>
                  </a:cubicBezTo>
                  <a:cubicBezTo>
                    <a:pt x="271" y="230"/>
                    <a:pt x="271" y="230"/>
                    <a:pt x="272" y="231"/>
                  </a:cubicBezTo>
                  <a:cubicBezTo>
                    <a:pt x="273" y="233"/>
                    <a:pt x="273" y="235"/>
                    <a:pt x="273" y="238"/>
                  </a:cubicBezTo>
                  <a:cubicBezTo>
                    <a:pt x="274" y="240"/>
                    <a:pt x="274" y="242"/>
                    <a:pt x="275" y="245"/>
                  </a:cubicBezTo>
                  <a:cubicBezTo>
                    <a:pt x="275" y="246"/>
                    <a:pt x="276" y="247"/>
                    <a:pt x="277" y="249"/>
                  </a:cubicBezTo>
                  <a:cubicBezTo>
                    <a:pt x="278" y="252"/>
                    <a:pt x="279" y="254"/>
                    <a:pt x="280" y="257"/>
                  </a:cubicBezTo>
                  <a:cubicBezTo>
                    <a:pt x="281" y="264"/>
                    <a:pt x="279" y="266"/>
                    <a:pt x="274" y="267"/>
                  </a:cubicBezTo>
                  <a:cubicBezTo>
                    <a:pt x="273" y="268"/>
                    <a:pt x="273" y="268"/>
                    <a:pt x="272" y="268"/>
                  </a:cubicBezTo>
                  <a:cubicBezTo>
                    <a:pt x="272" y="268"/>
                    <a:pt x="272" y="268"/>
                    <a:pt x="272" y="268"/>
                  </a:cubicBezTo>
                  <a:cubicBezTo>
                    <a:pt x="272" y="268"/>
                    <a:pt x="272" y="268"/>
                    <a:pt x="272" y="268"/>
                  </a:cubicBezTo>
                  <a:close/>
                  <a:moveTo>
                    <a:pt x="233" y="243"/>
                  </a:moveTo>
                  <a:cubicBezTo>
                    <a:pt x="233" y="242"/>
                    <a:pt x="234" y="241"/>
                    <a:pt x="234" y="240"/>
                  </a:cubicBezTo>
                  <a:cubicBezTo>
                    <a:pt x="235" y="238"/>
                    <a:pt x="236" y="236"/>
                    <a:pt x="237" y="235"/>
                  </a:cubicBezTo>
                  <a:cubicBezTo>
                    <a:pt x="237" y="236"/>
                    <a:pt x="238" y="237"/>
                    <a:pt x="239" y="238"/>
                  </a:cubicBezTo>
                  <a:cubicBezTo>
                    <a:pt x="236" y="238"/>
                    <a:pt x="234" y="241"/>
                    <a:pt x="233" y="243"/>
                  </a:cubicBezTo>
                  <a:close/>
                  <a:moveTo>
                    <a:pt x="245" y="223"/>
                  </a:moveTo>
                  <a:cubicBezTo>
                    <a:pt x="244" y="223"/>
                    <a:pt x="243" y="223"/>
                    <a:pt x="241" y="224"/>
                  </a:cubicBezTo>
                  <a:cubicBezTo>
                    <a:pt x="243" y="220"/>
                    <a:pt x="244" y="220"/>
                    <a:pt x="245" y="220"/>
                  </a:cubicBezTo>
                  <a:cubicBezTo>
                    <a:pt x="246" y="220"/>
                    <a:pt x="246" y="220"/>
                    <a:pt x="246" y="220"/>
                  </a:cubicBezTo>
                  <a:cubicBezTo>
                    <a:pt x="248" y="220"/>
                    <a:pt x="250" y="222"/>
                    <a:pt x="252" y="225"/>
                  </a:cubicBezTo>
                  <a:cubicBezTo>
                    <a:pt x="252" y="225"/>
                    <a:pt x="252" y="225"/>
                    <a:pt x="252" y="225"/>
                  </a:cubicBezTo>
                  <a:cubicBezTo>
                    <a:pt x="250" y="224"/>
                    <a:pt x="248" y="223"/>
                    <a:pt x="245" y="223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417584" y="1752104"/>
              <a:ext cx="43690" cy="45455"/>
            </a:xfrm>
            <a:custGeom>
              <a:avLst/>
              <a:gdLst>
                <a:gd name="T0" fmla="*/ 3 w 14"/>
                <a:gd name="T1" fmla="*/ 15 h 16"/>
                <a:gd name="T2" fmla="*/ 7 w 14"/>
                <a:gd name="T3" fmla="*/ 16 h 16"/>
                <a:gd name="T4" fmla="*/ 11 w 14"/>
                <a:gd name="T5" fmla="*/ 15 h 16"/>
                <a:gd name="T6" fmla="*/ 14 w 14"/>
                <a:gd name="T7" fmla="*/ 5 h 16"/>
                <a:gd name="T8" fmla="*/ 10 w 14"/>
                <a:gd name="T9" fmla="*/ 0 h 16"/>
                <a:gd name="T10" fmla="*/ 9 w 14"/>
                <a:gd name="T11" fmla="*/ 0 h 16"/>
                <a:gd name="T12" fmla="*/ 4 w 14"/>
                <a:gd name="T13" fmla="*/ 4 h 16"/>
                <a:gd name="T14" fmla="*/ 2 w 14"/>
                <a:gd name="T15" fmla="*/ 7 h 16"/>
                <a:gd name="T16" fmla="*/ 1 w 14"/>
                <a:gd name="T17" fmla="*/ 13 h 16"/>
                <a:gd name="T18" fmla="*/ 3 w 14"/>
                <a:gd name="T1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6">
                  <a:moveTo>
                    <a:pt x="3" y="15"/>
                  </a:moveTo>
                  <a:cubicBezTo>
                    <a:pt x="4" y="16"/>
                    <a:pt x="5" y="16"/>
                    <a:pt x="7" y="16"/>
                  </a:cubicBezTo>
                  <a:cubicBezTo>
                    <a:pt x="8" y="16"/>
                    <a:pt x="10" y="16"/>
                    <a:pt x="11" y="15"/>
                  </a:cubicBezTo>
                  <a:cubicBezTo>
                    <a:pt x="13" y="12"/>
                    <a:pt x="14" y="8"/>
                    <a:pt x="14" y="5"/>
                  </a:cubicBezTo>
                  <a:cubicBezTo>
                    <a:pt x="13" y="1"/>
                    <a:pt x="12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7" y="0"/>
                    <a:pt x="5" y="2"/>
                    <a:pt x="4" y="4"/>
                  </a:cubicBezTo>
                  <a:cubicBezTo>
                    <a:pt x="3" y="5"/>
                    <a:pt x="3" y="6"/>
                    <a:pt x="2" y="7"/>
                  </a:cubicBezTo>
                  <a:cubicBezTo>
                    <a:pt x="1" y="8"/>
                    <a:pt x="0" y="10"/>
                    <a:pt x="1" y="13"/>
                  </a:cubicBezTo>
                  <a:cubicBezTo>
                    <a:pt x="1" y="14"/>
                    <a:pt x="2" y="15"/>
                    <a:pt x="3" y="15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1356928" y="982326"/>
              <a:ext cx="63351" cy="48420"/>
            </a:xfrm>
            <a:custGeom>
              <a:avLst/>
              <a:gdLst>
                <a:gd name="T0" fmla="*/ 4 w 20"/>
                <a:gd name="T1" fmla="*/ 14 h 17"/>
                <a:gd name="T2" fmla="*/ 6 w 20"/>
                <a:gd name="T3" fmla="*/ 16 h 17"/>
                <a:gd name="T4" fmla="*/ 6 w 20"/>
                <a:gd name="T5" fmla="*/ 14 h 17"/>
                <a:gd name="T6" fmla="*/ 9 w 20"/>
                <a:gd name="T7" fmla="*/ 15 h 17"/>
                <a:gd name="T8" fmla="*/ 11 w 20"/>
                <a:gd name="T9" fmla="*/ 17 h 17"/>
                <a:gd name="T10" fmla="*/ 20 w 20"/>
                <a:gd name="T11" fmla="*/ 7 h 17"/>
                <a:gd name="T12" fmla="*/ 18 w 20"/>
                <a:gd name="T13" fmla="*/ 2 h 17"/>
                <a:gd name="T14" fmla="*/ 12 w 20"/>
                <a:gd name="T15" fmla="*/ 0 h 17"/>
                <a:gd name="T16" fmla="*/ 2 w 20"/>
                <a:gd name="T17" fmla="*/ 4 h 17"/>
                <a:gd name="T18" fmla="*/ 0 w 20"/>
                <a:gd name="T19" fmla="*/ 8 h 17"/>
                <a:gd name="T20" fmla="*/ 4 w 20"/>
                <a:gd name="T21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17">
                  <a:moveTo>
                    <a:pt x="4" y="14"/>
                  </a:moveTo>
                  <a:cubicBezTo>
                    <a:pt x="5" y="14"/>
                    <a:pt x="6" y="15"/>
                    <a:pt x="6" y="16"/>
                  </a:cubicBezTo>
                  <a:cubicBezTo>
                    <a:pt x="6" y="16"/>
                    <a:pt x="6" y="15"/>
                    <a:pt x="6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7" y="14"/>
                    <a:pt x="20" y="10"/>
                    <a:pt x="20" y="7"/>
                  </a:cubicBezTo>
                  <a:cubicBezTo>
                    <a:pt x="20" y="5"/>
                    <a:pt x="20" y="3"/>
                    <a:pt x="18" y="2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9" y="0"/>
                    <a:pt x="4" y="1"/>
                    <a:pt x="2" y="4"/>
                  </a:cubicBezTo>
                  <a:cubicBezTo>
                    <a:pt x="0" y="5"/>
                    <a:pt x="0" y="6"/>
                    <a:pt x="0" y="8"/>
                  </a:cubicBezTo>
                  <a:cubicBezTo>
                    <a:pt x="0" y="10"/>
                    <a:pt x="1" y="11"/>
                    <a:pt x="4" y="14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231900" y="742203"/>
              <a:ext cx="2026144" cy="2768828"/>
            </a:xfrm>
            <a:custGeom>
              <a:avLst/>
              <a:gdLst>
                <a:gd name="T0" fmla="*/ 605 w 643"/>
                <a:gd name="T1" fmla="*/ 44 h 971"/>
                <a:gd name="T2" fmla="*/ 587 w 643"/>
                <a:gd name="T3" fmla="*/ 47 h 971"/>
                <a:gd name="T4" fmla="*/ 579 w 643"/>
                <a:gd name="T5" fmla="*/ 54 h 971"/>
                <a:gd name="T6" fmla="*/ 551 w 643"/>
                <a:gd name="T7" fmla="*/ 11 h 971"/>
                <a:gd name="T8" fmla="*/ 526 w 643"/>
                <a:gd name="T9" fmla="*/ 1 h 971"/>
                <a:gd name="T10" fmla="*/ 508 w 643"/>
                <a:gd name="T11" fmla="*/ 20 h 971"/>
                <a:gd name="T12" fmla="*/ 492 w 643"/>
                <a:gd name="T13" fmla="*/ 23 h 971"/>
                <a:gd name="T14" fmla="*/ 480 w 643"/>
                <a:gd name="T15" fmla="*/ 38 h 971"/>
                <a:gd name="T16" fmla="*/ 458 w 643"/>
                <a:gd name="T17" fmla="*/ 40 h 971"/>
                <a:gd name="T18" fmla="*/ 457 w 643"/>
                <a:gd name="T19" fmla="*/ 66 h 971"/>
                <a:gd name="T20" fmla="*/ 442 w 643"/>
                <a:gd name="T21" fmla="*/ 66 h 971"/>
                <a:gd name="T22" fmla="*/ 446 w 643"/>
                <a:gd name="T23" fmla="*/ 78 h 971"/>
                <a:gd name="T24" fmla="*/ 425 w 643"/>
                <a:gd name="T25" fmla="*/ 84 h 971"/>
                <a:gd name="T26" fmla="*/ 423 w 643"/>
                <a:gd name="T27" fmla="*/ 113 h 971"/>
                <a:gd name="T28" fmla="*/ 401 w 643"/>
                <a:gd name="T29" fmla="*/ 123 h 971"/>
                <a:gd name="T30" fmla="*/ 387 w 643"/>
                <a:gd name="T31" fmla="*/ 131 h 971"/>
                <a:gd name="T32" fmla="*/ 397 w 643"/>
                <a:gd name="T33" fmla="*/ 152 h 971"/>
                <a:gd name="T34" fmla="*/ 397 w 643"/>
                <a:gd name="T35" fmla="*/ 156 h 971"/>
                <a:gd name="T36" fmla="*/ 388 w 643"/>
                <a:gd name="T37" fmla="*/ 176 h 971"/>
                <a:gd name="T38" fmla="*/ 357 w 643"/>
                <a:gd name="T39" fmla="*/ 137 h 971"/>
                <a:gd name="T40" fmla="*/ 345 w 643"/>
                <a:gd name="T41" fmla="*/ 149 h 971"/>
                <a:gd name="T42" fmla="*/ 330 w 643"/>
                <a:gd name="T43" fmla="*/ 168 h 971"/>
                <a:gd name="T44" fmla="*/ 326 w 643"/>
                <a:gd name="T45" fmla="*/ 221 h 971"/>
                <a:gd name="T46" fmla="*/ 310 w 643"/>
                <a:gd name="T47" fmla="*/ 255 h 971"/>
                <a:gd name="T48" fmla="*/ 232 w 643"/>
                <a:gd name="T49" fmla="*/ 302 h 971"/>
                <a:gd name="T50" fmla="*/ 194 w 643"/>
                <a:gd name="T51" fmla="*/ 320 h 971"/>
                <a:gd name="T52" fmla="*/ 153 w 643"/>
                <a:gd name="T53" fmla="*/ 343 h 971"/>
                <a:gd name="T54" fmla="*/ 131 w 643"/>
                <a:gd name="T55" fmla="*/ 344 h 971"/>
                <a:gd name="T56" fmla="*/ 115 w 643"/>
                <a:gd name="T57" fmla="*/ 350 h 971"/>
                <a:gd name="T58" fmla="*/ 87 w 643"/>
                <a:gd name="T59" fmla="*/ 371 h 971"/>
                <a:gd name="T60" fmla="*/ 52 w 643"/>
                <a:gd name="T61" fmla="*/ 401 h 971"/>
                <a:gd name="T62" fmla="*/ 30 w 643"/>
                <a:gd name="T63" fmla="*/ 440 h 971"/>
                <a:gd name="T64" fmla="*/ 21 w 643"/>
                <a:gd name="T65" fmla="*/ 409 h 971"/>
                <a:gd name="T66" fmla="*/ 7 w 643"/>
                <a:gd name="T67" fmla="*/ 455 h 971"/>
                <a:gd name="T68" fmla="*/ 16 w 643"/>
                <a:gd name="T69" fmla="*/ 490 h 971"/>
                <a:gd name="T70" fmla="*/ 28 w 643"/>
                <a:gd name="T71" fmla="*/ 561 h 971"/>
                <a:gd name="T72" fmla="*/ 53 w 643"/>
                <a:gd name="T73" fmla="*/ 601 h 971"/>
                <a:gd name="T74" fmla="*/ 43 w 643"/>
                <a:gd name="T75" fmla="*/ 598 h 971"/>
                <a:gd name="T76" fmla="*/ 27 w 643"/>
                <a:gd name="T77" fmla="*/ 577 h 971"/>
                <a:gd name="T78" fmla="*/ 34 w 643"/>
                <a:gd name="T79" fmla="*/ 602 h 971"/>
                <a:gd name="T80" fmla="*/ 40 w 643"/>
                <a:gd name="T81" fmla="*/ 613 h 971"/>
                <a:gd name="T82" fmla="*/ 29 w 643"/>
                <a:gd name="T83" fmla="*/ 604 h 971"/>
                <a:gd name="T84" fmla="*/ 29 w 643"/>
                <a:gd name="T85" fmla="*/ 627 h 971"/>
                <a:gd name="T86" fmla="*/ 59 w 643"/>
                <a:gd name="T87" fmla="*/ 667 h 971"/>
                <a:gd name="T88" fmla="*/ 103 w 643"/>
                <a:gd name="T89" fmla="*/ 729 h 971"/>
                <a:gd name="T90" fmla="*/ 128 w 643"/>
                <a:gd name="T91" fmla="*/ 809 h 971"/>
                <a:gd name="T92" fmla="*/ 149 w 643"/>
                <a:gd name="T93" fmla="*/ 866 h 971"/>
                <a:gd name="T94" fmla="*/ 141 w 643"/>
                <a:gd name="T95" fmla="*/ 913 h 971"/>
                <a:gd name="T96" fmla="*/ 133 w 643"/>
                <a:gd name="T97" fmla="*/ 931 h 971"/>
                <a:gd name="T98" fmla="*/ 156 w 643"/>
                <a:gd name="T99" fmla="*/ 950 h 971"/>
                <a:gd name="T100" fmla="*/ 208 w 643"/>
                <a:gd name="T101" fmla="*/ 971 h 971"/>
                <a:gd name="T102" fmla="*/ 284 w 643"/>
                <a:gd name="T103" fmla="*/ 937 h 971"/>
                <a:gd name="T104" fmla="*/ 306 w 643"/>
                <a:gd name="T105" fmla="*/ 926 h 971"/>
                <a:gd name="T106" fmla="*/ 336 w 643"/>
                <a:gd name="T107" fmla="*/ 912 h 971"/>
                <a:gd name="T108" fmla="*/ 385 w 643"/>
                <a:gd name="T109" fmla="*/ 902 h 971"/>
                <a:gd name="T110" fmla="*/ 426 w 643"/>
                <a:gd name="T111" fmla="*/ 897 h 971"/>
                <a:gd name="T112" fmla="*/ 448 w 643"/>
                <a:gd name="T113" fmla="*/ 896 h 971"/>
                <a:gd name="T114" fmla="*/ 477 w 643"/>
                <a:gd name="T115" fmla="*/ 853 h 971"/>
                <a:gd name="T116" fmla="*/ 507 w 643"/>
                <a:gd name="T117" fmla="*/ 837 h 971"/>
                <a:gd name="T118" fmla="*/ 570 w 643"/>
                <a:gd name="T119" fmla="*/ 819 h 971"/>
                <a:gd name="T120" fmla="*/ 624 w 643"/>
                <a:gd name="T121" fmla="*/ 797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43" h="971">
                  <a:moveTo>
                    <a:pt x="616" y="45"/>
                  </a:moveTo>
                  <a:cubicBezTo>
                    <a:pt x="614" y="44"/>
                    <a:pt x="614" y="44"/>
                    <a:pt x="614" y="44"/>
                  </a:cubicBezTo>
                  <a:cubicBezTo>
                    <a:pt x="613" y="44"/>
                    <a:pt x="612" y="44"/>
                    <a:pt x="611" y="44"/>
                  </a:cubicBezTo>
                  <a:cubicBezTo>
                    <a:pt x="610" y="44"/>
                    <a:pt x="609" y="44"/>
                    <a:pt x="608" y="44"/>
                  </a:cubicBezTo>
                  <a:cubicBezTo>
                    <a:pt x="608" y="44"/>
                    <a:pt x="605" y="44"/>
                    <a:pt x="605" y="44"/>
                  </a:cubicBezTo>
                  <a:cubicBezTo>
                    <a:pt x="604" y="44"/>
                    <a:pt x="603" y="44"/>
                    <a:pt x="602" y="44"/>
                  </a:cubicBezTo>
                  <a:cubicBezTo>
                    <a:pt x="602" y="44"/>
                    <a:pt x="601" y="43"/>
                    <a:pt x="600" y="43"/>
                  </a:cubicBezTo>
                  <a:cubicBezTo>
                    <a:pt x="599" y="42"/>
                    <a:pt x="597" y="41"/>
                    <a:pt x="595" y="41"/>
                  </a:cubicBezTo>
                  <a:cubicBezTo>
                    <a:pt x="594" y="41"/>
                    <a:pt x="593" y="42"/>
                    <a:pt x="593" y="42"/>
                  </a:cubicBezTo>
                  <a:cubicBezTo>
                    <a:pt x="590" y="43"/>
                    <a:pt x="589" y="45"/>
                    <a:pt x="587" y="47"/>
                  </a:cubicBezTo>
                  <a:cubicBezTo>
                    <a:pt x="587" y="48"/>
                    <a:pt x="586" y="49"/>
                    <a:pt x="586" y="49"/>
                  </a:cubicBezTo>
                  <a:cubicBezTo>
                    <a:pt x="585" y="50"/>
                    <a:pt x="585" y="50"/>
                    <a:pt x="584" y="50"/>
                  </a:cubicBezTo>
                  <a:cubicBezTo>
                    <a:pt x="583" y="52"/>
                    <a:pt x="581" y="53"/>
                    <a:pt x="580" y="56"/>
                  </a:cubicBezTo>
                  <a:cubicBezTo>
                    <a:pt x="580" y="57"/>
                    <a:pt x="580" y="58"/>
                    <a:pt x="580" y="59"/>
                  </a:cubicBezTo>
                  <a:cubicBezTo>
                    <a:pt x="579" y="57"/>
                    <a:pt x="579" y="55"/>
                    <a:pt x="579" y="54"/>
                  </a:cubicBezTo>
                  <a:cubicBezTo>
                    <a:pt x="580" y="53"/>
                    <a:pt x="581" y="51"/>
                    <a:pt x="581" y="50"/>
                  </a:cubicBezTo>
                  <a:cubicBezTo>
                    <a:pt x="583" y="48"/>
                    <a:pt x="584" y="46"/>
                    <a:pt x="583" y="43"/>
                  </a:cubicBezTo>
                  <a:cubicBezTo>
                    <a:pt x="583" y="40"/>
                    <a:pt x="580" y="39"/>
                    <a:pt x="577" y="38"/>
                  </a:cubicBezTo>
                  <a:cubicBezTo>
                    <a:pt x="571" y="36"/>
                    <a:pt x="567" y="30"/>
                    <a:pt x="563" y="24"/>
                  </a:cubicBezTo>
                  <a:cubicBezTo>
                    <a:pt x="560" y="20"/>
                    <a:pt x="556" y="15"/>
                    <a:pt x="551" y="11"/>
                  </a:cubicBezTo>
                  <a:cubicBezTo>
                    <a:pt x="547" y="9"/>
                    <a:pt x="543" y="8"/>
                    <a:pt x="540" y="7"/>
                  </a:cubicBezTo>
                  <a:cubicBezTo>
                    <a:pt x="539" y="7"/>
                    <a:pt x="538" y="7"/>
                    <a:pt x="537" y="7"/>
                  </a:cubicBezTo>
                  <a:cubicBezTo>
                    <a:pt x="535" y="7"/>
                    <a:pt x="534" y="7"/>
                    <a:pt x="533" y="6"/>
                  </a:cubicBezTo>
                  <a:cubicBezTo>
                    <a:pt x="533" y="6"/>
                    <a:pt x="532" y="5"/>
                    <a:pt x="532" y="5"/>
                  </a:cubicBezTo>
                  <a:cubicBezTo>
                    <a:pt x="531" y="3"/>
                    <a:pt x="529" y="1"/>
                    <a:pt x="526" y="1"/>
                  </a:cubicBezTo>
                  <a:cubicBezTo>
                    <a:pt x="526" y="1"/>
                    <a:pt x="525" y="0"/>
                    <a:pt x="524" y="0"/>
                  </a:cubicBezTo>
                  <a:cubicBezTo>
                    <a:pt x="517" y="0"/>
                    <a:pt x="517" y="8"/>
                    <a:pt x="517" y="11"/>
                  </a:cubicBezTo>
                  <a:cubicBezTo>
                    <a:pt x="517" y="12"/>
                    <a:pt x="517" y="13"/>
                    <a:pt x="517" y="14"/>
                  </a:cubicBezTo>
                  <a:cubicBezTo>
                    <a:pt x="516" y="16"/>
                    <a:pt x="513" y="21"/>
                    <a:pt x="511" y="22"/>
                  </a:cubicBezTo>
                  <a:cubicBezTo>
                    <a:pt x="510" y="21"/>
                    <a:pt x="509" y="20"/>
                    <a:pt x="508" y="20"/>
                  </a:cubicBezTo>
                  <a:cubicBezTo>
                    <a:pt x="504" y="16"/>
                    <a:pt x="502" y="15"/>
                    <a:pt x="500" y="15"/>
                  </a:cubicBezTo>
                  <a:cubicBezTo>
                    <a:pt x="499" y="15"/>
                    <a:pt x="498" y="16"/>
                    <a:pt x="497" y="17"/>
                  </a:cubicBezTo>
                  <a:cubicBezTo>
                    <a:pt x="497" y="18"/>
                    <a:pt x="497" y="19"/>
                    <a:pt x="496" y="20"/>
                  </a:cubicBezTo>
                  <a:cubicBezTo>
                    <a:pt x="496" y="22"/>
                    <a:pt x="496" y="22"/>
                    <a:pt x="495" y="23"/>
                  </a:cubicBezTo>
                  <a:cubicBezTo>
                    <a:pt x="494" y="23"/>
                    <a:pt x="493" y="23"/>
                    <a:pt x="492" y="23"/>
                  </a:cubicBezTo>
                  <a:cubicBezTo>
                    <a:pt x="490" y="24"/>
                    <a:pt x="487" y="24"/>
                    <a:pt x="485" y="29"/>
                  </a:cubicBezTo>
                  <a:cubicBezTo>
                    <a:pt x="485" y="31"/>
                    <a:pt x="485" y="33"/>
                    <a:pt x="485" y="35"/>
                  </a:cubicBezTo>
                  <a:cubicBezTo>
                    <a:pt x="485" y="36"/>
                    <a:pt x="484" y="40"/>
                    <a:pt x="484" y="41"/>
                  </a:cubicBezTo>
                  <a:cubicBezTo>
                    <a:pt x="484" y="41"/>
                    <a:pt x="483" y="41"/>
                    <a:pt x="483" y="40"/>
                  </a:cubicBezTo>
                  <a:cubicBezTo>
                    <a:pt x="482" y="40"/>
                    <a:pt x="481" y="39"/>
                    <a:pt x="480" y="38"/>
                  </a:cubicBezTo>
                  <a:cubicBezTo>
                    <a:pt x="478" y="36"/>
                    <a:pt x="474" y="33"/>
                    <a:pt x="470" y="33"/>
                  </a:cubicBezTo>
                  <a:cubicBezTo>
                    <a:pt x="469" y="33"/>
                    <a:pt x="468" y="34"/>
                    <a:pt x="466" y="34"/>
                  </a:cubicBezTo>
                  <a:cubicBezTo>
                    <a:pt x="465" y="35"/>
                    <a:pt x="464" y="36"/>
                    <a:pt x="463" y="37"/>
                  </a:cubicBezTo>
                  <a:cubicBezTo>
                    <a:pt x="462" y="38"/>
                    <a:pt x="462" y="39"/>
                    <a:pt x="461" y="39"/>
                  </a:cubicBezTo>
                  <a:cubicBezTo>
                    <a:pt x="460" y="39"/>
                    <a:pt x="459" y="40"/>
                    <a:pt x="458" y="40"/>
                  </a:cubicBezTo>
                  <a:cubicBezTo>
                    <a:pt x="457" y="40"/>
                    <a:pt x="454" y="41"/>
                    <a:pt x="452" y="42"/>
                  </a:cubicBezTo>
                  <a:cubicBezTo>
                    <a:pt x="444" y="49"/>
                    <a:pt x="448" y="55"/>
                    <a:pt x="451" y="60"/>
                  </a:cubicBezTo>
                  <a:cubicBezTo>
                    <a:pt x="452" y="61"/>
                    <a:pt x="452" y="61"/>
                    <a:pt x="452" y="61"/>
                  </a:cubicBezTo>
                  <a:cubicBezTo>
                    <a:pt x="452" y="61"/>
                    <a:pt x="453" y="62"/>
                    <a:pt x="454" y="63"/>
                  </a:cubicBezTo>
                  <a:cubicBezTo>
                    <a:pt x="455" y="64"/>
                    <a:pt x="456" y="66"/>
                    <a:pt x="457" y="66"/>
                  </a:cubicBezTo>
                  <a:cubicBezTo>
                    <a:pt x="456" y="66"/>
                    <a:pt x="456" y="66"/>
                    <a:pt x="456" y="66"/>
                  </a:cubicBezTo>
                  <a:cubicBezTo>
                    <a:pt x="455" y="66"/>
                    <a:pt x="455" y="65"/>
                    <a:pt x="454" y="65"/>
                  </a:cubicBezTo>
                  <a:cubicBezTo>
                    <a:pt x="453" y="64"/>
                    <a:pt x="451" y="62"/>
                    <a:pt x="448" y="62"/>
                  </a:cubicBezTo>
                  <a:cubicBezTo>
                    <a:pt x="448" y="62"/>
                    <a:pt x="447" y="62"/>
                    <a:pt x="447" y="62"/>
                  </a:cubicBezTo>
                  <a:cubicBezTo>
                    <a:pt x="444" y="63"/>
                    <a:pt x="442" y="64"/>
                    <a:pt x="442" y="66"/>
                  </a:cubicBezTo>
                  <a:cubicBezTo>
                    <a:pt x="441" y="68"/>
                    <a:pt x="442" y="71"/>
                    <a:pt x="444" y="74"/>
                  </a:cubicBezTo>
                  <a:cubicBezTo>
                    <a:pt x="444" y="75"/>
                    <a:pt x="445" y="76"/>
                    <a:pt x="446" y="76"/>
                  </a:cubicBezTo>
                  <a:cubicBezTo>
                    <a:pt x="447" y="77"/>
                    <a:pt x="448" y="78"/>
                    <a:pt x="448" y="80"/>
                  </a:cubicBezTo>
                  <a:cubicBezTo>
                    <a:pt x="449" y="80"/>
                    <a:pt x="448" y="82"/>
                    <a:pt x="448" y="82"/>
                  </a:cubicBezTo>
                  <a:cubicBezTo>
                    <a:pt x="447" y="82"/>
                    <a:pt x="446" y="80"/>
                    <a:pt x="446" y="78"/>
                  </a:cubicBezTo>
                  <a:cubicBezTo>
                    <a:pt x="444" y="75"/>
                    <a:pt x="442" y="71"/>
                    <a:pt x="437" y="71"/>
                  </a:cubicBezTo>
                  <a:cubicBezTo>
                    <a:pt x="436" y="71"/>
                    <a:pt x="436" y="71"/>
                    <a:pt x="435" y="71"/>
                  </a:cubicBezTo>
                  <a:cubicBezTo>
                    <a:pt x="430" y="72"/>
                    <a:pt x="429" y="76"/>
                    <a:pt x="428" y="79"/>
                  </a:cubicBezTo>
                  <a:cubicBezTo>
                    <a:pt x="428" y="81"/>
                    <a:pt x="428" y="82"/>
                    <a:pt x="427" y="83"/>
                  </a:cubicBezTo>
                  <a:cubicBezTo>
                    <a:pt x="426" y="83"/>
                    <a:pt x="426" y="84"/>
                    <a:pt x="425" y="84"/>
                  </a:cubicBezTo>
                  <a:cubicBezTo>
                    <a:pt x="423" y="84"/>
                    <a:pt x="422" y="85"/>
                    <a:pt x="420" y="87"/>
                  </a:cubicBezTo>
                  <a:cubicBezTo>
                    <a:pt x="418" y="90"/>
                    <a:pt x="416" y="97"/>
                    <a:pt x="417" y="101"/>
                  </a:cubicBezTo>
                  <a:cubicBezTo>
                    <a:pt x="418" y="104"/>
                    <a:pt x="420" y="106"/>
                    <a:pt x="422" y="107"/>
                  </a:cubicBezTo>
                  <a:cubicBezTo>
                    <a:pt x="424" y="108"/>
                    <a:pt x="424" y="109"/>
                    <a:pt x="425" y="110"/>
                  </a:cubicBezTo>
                  <a:cubicBezTo>
                    <a:pt x="425" y="112"/>
                    <a:pt x="425" y="112"/>
                    <a:pt x="423" y="113"/>
                  </a:cubicBezTo>
                  <a:cubicBezTo>
                    <a:pt x="422" y="114"/>
                    <a:pt x="419" y="115"/>
                    <a:pt x="418" y="118"/>
                  </a:cubicBezTo>
                  <a:cubicBezTo>
                    <a:pt x="417" y="119"/>
                    <a:pt x="417" y="121"/>
                    <a:pt x="417" y="122"/>
                  </a:cubicBezTo>
                  <a:cubicBezTo>
                    <a:pt x="416" y="121"/>
                    <a:pt x="413" y="119"/>
                    <a:pt x="410" y="119"/>
                  </a:cubicBezTo>
                  <a:cubicBezTo>
                    <a:pt x="409" y="119"/>
                    <a:pt x="408" y="119"/>
                    <a:pt x="408" y="120"/>
                  </a:cubicBezTo>
                  <a:cubicBezTo>
                    <a:pt x="405" y="120"/>
                    <a:pt x="403" y="122"/>
                    <a:pt x="401" y="123"/>
                  </a:cubicBezTo>
                  <a:cubicBezTo>
                    <a:pt x="401" y="124"/>
                    <a:pt x="400" y="124"/>
                    <a:pt x="400" y="124"/>
                  </a:cubicBezTo>
                  <a:cubicBezTo>
                    <a:pt x="398" y="120"/>
                    <a:pt x="394" y="115"/>
                    <a:pt x="390" y="115"/>
                  </a:cubicBezTo>
                  <a:cubicBezTo>
                    <a:pt x="388" y="115"/>
                    <a:pt x="386" y="116"/>
                    <a:pt x="384" y="118"/>
                  </a:cubicBezTo>
                  <a:cubicBezTo>
                    <a:pt x="379" y="124"/>
                    <a:pt x="384" y="129"/>
                    <a:pt x="387" y="131"/>
                  </a:cubicBezTo>
                  <a:cubicBezTo>
                    <a:pt x="387" y="131"/>
                    <a:pt x="387" y="131"/>
                    <a:pt x="387" y="131"/>
                  </a:cubicBezTo>
                  <a:cubicBezTo>
                    <a:pt x="385" y="133"/>
                    <a:pt x="383" y="136"/>
                    <a:pt x="384" y="139"/>
                  </a:cubicBezTo>
                  <a:cubicBezTo>
                    <a:pt x="385" y="141"/>
                    <a:pt x="387" y="142"/>
                    <a:pt x="389" y="143"/>
                  </a:cubicBezTo>
                  <a:cubicBezTo>
                    <a:pt x="389" y="144"/>
                    <a:pt x="391" y="144"/>
                    <a:pt x="391" y="145"/>
                  </a:cubicBezTo>
                  <a:cubicBezTo>
                    <a:pt x="391" y="145"/>
                    <a:pt x="391" y="145"/>
                    <a:pt x="391" y="145"/>
                  </a:cubicBezTo>
                  <a:cubicBezTo>
                    <a:pt x="393" y="148"/>
                    <a:pt x="395" y="150"/>
                    <a:pt x="397" y="152"/>
                  </a:cubicBezTo>
                  <a:cubicBezTo>
                    <a:pt x="398" y="152"/>
                    <a:pt x="398" y="152"/>
                    <a:pt x="398" y="152"/>
                  </a:cubicBezTo>
                  <a:cubicBezTo>
                    <a:pt x="399" y="153"/>
                    <a:pt x="399" y="153"/>
                    <a:pt x="399" y="155"/>
                  </a:cubicBezTo>
                  <a:cubicBezTo>
                    <a:pt x="399" y="157"/>
                    <a:pt x="399" y="158"/>
                    <a:pt x="399" y="159"/>
                  </a:cubicBezTo>
                  <a:cubicBezTo>
                    <a:pt x="399" y="159"/>
                    <a:pt x="399" y="159"/>
                    <a:pt x="399" y="158"/>
                  </a:cubicBezTo>
                  <a:cubicBezTo>
                    <a:pt x="398" y="158"/>
                    <a:pt x="398" y="157"/>
                    <a:pt x="397" y="156"/>
                  </a:cubicBezTo>
                  <a:cubicBezTo>
                    <a:pt x="395" y="153"/>
                    <a:pt x="394" y="152"/>
                    <a:pt x="392" y="152"/>
                  </a:cubicBezTo>
                  <a:cubicBezTo>
                    <a:pt x="390" y="152"/>
                    <a:pt x="389" y="153"/>
                    <a:pt x="388" y="154"/>
                  </a:cubicBezTo>
                  <a:cubicBezTo>
                    <a:pt x="386" y="156"/>
                    <a:pt x="386" y="159"/>
                    <a:pt x="386" y="162"/>
                  </a:cubicBezTo>
                  <a:cubicBezTo>
                    <a:pt x="386" y="163"/>
                    <a:pt x="387" y="164"/>
                    <a:pt x="387" y="165"/>
                  </a:cubicBezTo>
                  <a:cubicBezTo>
                    <a:pt x="387" y="167"/>
                    <a:pt x="389" y="174"/>
                    <a:pt x="388" y="176"/>
                  </a:cubicBezTo>
                  <a:cubicBezTo>
                    <a:pt x="388" y="175"/>
                    <a:pt x="386" y="174"/>
                    <a:pt x="383" y="169"/>
                  </a:cubicBezTo>
                  <a:cubicBezTo>
                    <a:pt x="383" y="169"/>
                    <a:pt x="382" y="168"/>
                    <a:pt x="382" y="168"/>
                  </a:cubicBezTo>
                  <a:cubicBezTo>
                    <a:pt x="380" y="165"/>
                    <a:pt x="379" y="162"/>
                    <a:pt x="377" y="158"/>
                  </a:cubicBezTo>
                  <a:cubicBezTo>
                    <a:pt x="374" y="151"/>
                    <a:pt x="371" y="144"/>
                    <a:pt x="366" y="140"/>
                  </a:cubicBezTo>
                  <a:cubicBezTo>
                    <a:pt x="365" y="139"/>
                    <a:pt x="361" y="137"/>
                    <a:pt x="357" y="137"/>
                  </a:cubicBezTo>
                  <a:cubicBezTo>
                    <a:pt x="356" y="137"/>
                    <a:pt x="355" y="137"/>
                    <a:pt x="354" y="137"/>
                  </a:cubicBezTo>
                  <a:cubicBezTo>
                    <a:pt x="352" y="139"/>
                    <a:pt x="351" y="141"/>
                    <a:pt x="351" y="143"/>
                  </a:cubicBezTo>
                  <a:cubicBezTo>
                    <a:pt x="350" y="143"/>
                    <a:pt x="350" y="144"/>
                    <a:pt x="350" y="145"/>
                  </a:cubicBezTo>
                  <a:cubicBezTo>
                    <a:pt x="349" y="145"/>
                    <a:pt x="349" y="145"/>
                    <a:pt x="348" y="146"/>
                  </a:cubicBezTo>
                  <a:cubicBezTo>
                    <a:pt x="347" y="147"/>
                    <a:pt x="346" y="147"/>
                    <a:pt x="345" y="149"/>
                  </a:cubicBezTo>
                  <a:cubicBezTo>
                    <a:pt x="344" y="150"/>
                    <a:pt x="344" y="152"/>
                    <a:pt x="344" y="154"/>
                  </a:cubicBezTo>
                  <a:cubicBezTo>
                    <a:pt x="343" y="155"/>
                    <a:pt x="343" y="155"/>
                    <a:pt x="343" y="156"/>
                  </a:cubicBezTo>
                  <a:cubicBezTo>
                    <a:pt x="343" y="156"/>
                    <a:pt x="342" y="157"/>
                    <a:pt x="341" y="157"/>
                  </a:cubicBezTo>
                  <a:cubicBezTo>
                    <a:pt x="340" y="157"/>
                    <a:pt x="338" y="158"/>
                    <a:pt x="337" y="159"/>
                  </a:cubicBezTo>
                  <a:cubicBezTo>
                    <a:pt x="334" y="161"/>
                    <a:pt x="332" y="164"/>
                    <a:pt x="330" y="168"/>
                  </a:cubicBezTo>
                  <a:cubicBezTo>
                    <a:pt x="329" y="174"/>
                    <a:pt x="330" y="180"/>
                    <a:pt x="331" y="185"/>
                  </a:cubicBezTo>
                  <a:cubicBezTo>
                    <a:pt x="331" y="187"/>
                    <a:pt x="331" y="188"/>
                    <a:pt x="331" y="189"/>
                  </a:cubicBezTo>
                  <a:cubicBezTo>
                    <a:pt x="332" y="193"/>
                    <a:pt x="334" y="197"/>
                    <a:pt x="336" y="200"/>
                  </a:cubicBezTo>
                  <a:cubicBezTo>
                    <a:pt x="337" y="201"/>
                    <a:pt x="338" y="203"/>
                    <a:pt x="338" y="205"/>
                  </a:cubicBezTo>
                  <a:cubicBezTo>
                    <a:pt x="341" y="210"/>
                    <a:pt x="332" y="218"/>
                    <a:pt x="326" y="221"/>
                  </a:cubicBezTo>
                  <a:cubicBezTo>
                    <a:pt x="320" y="225"/>
                    <a:pt x="319" y="226"/>
                    <a:pt x="317" y="232"/>
                  </a:cubicBezTo>
                  <a:cubicBezTo>
                    <a:pt x="317" y="233"/>
                    <a:pt x="317" y="233"/>
                    <a:pt x="317" y="233"/>
                  </a:cubicBezTo>
                  <a:cubicBezTo>
                    <a:pt x="317" y="234"/>
                    <a:pt x="316" y="235"/>
                    <a:pt x="315" y="237"/>
                  </a:cubicBezTo>
                  <a:cubicBezTo>
                    <a:pt x="314" y="239"/>
                    <a:pt x="312" y="241"/>
                    <a:pt x="312" y="245"/>
                  </a:cubicBezTo>
                  <a:cubicBezTo>
                    <a:pt x="312" y="249"/>
                    <a:pt x="311" y="251"/>
                    <a:pt x="310" y="255"/>
                  </a:cubicBezTo>
                  <a:cubicBezTo>
                    <a:pt x="307" y="263"/>
                    <a:pt x="302" y="269"/>
                    <a:pt x="294" y="275"/>
                  </a:cubicBezTo>
                  <a:cubicBezTo>
                    <a:pt x="283" y="284"/>
                    <a:pt x="269" y="290"/>
                    <a:pt x="256" y="297"/>
                  </a:cubicBezTo>
                  <a:cubicBezTo>
                    <a:pt x="252" y="298"/>
                    <a:pt x="248" y="300"/>
                    <a:pt x="244" y="302"/>
                  </a:cubicBezTo>
                  <a:cubicBezTo>
                    <a:pt x="242" y="303"/>
                    <a:pt x="241" y="303"/>
                    <a:pt x="239" y="303"/>
                  </a:cubicBezTo>
                  <a:cubicBezTo>
                    <a:pt x="237" y="303"/>
                    <a:pt x="235" y="303"/>
                    <a:pt x="232" y="302"/>
                  </a:cubicBezTo>
                  <a:cubicBezTo>
                    <a:pt x="230" y="302"/>
                    <a:pt x="227" y="301"/>
                    <a:pt x="224" y="301"/>
                  </a:cubicBezTo>
                  <a:cubicBezTo>
                    <a:pt x="222" y="301"/>
                    <a:pt x="220" y="301"/>
                    <a:pt x="218" y="302"/>
                  </a:cubicBezTo>
                  <a:cubicBezTo>
                    <a:pt x="213" y="304"/>
                    <a:pt x="210" y="308"/>
                    <a:pt x="207" y="312"/>
                  </a:cubicBezTo>
                  <a:cubicBezTo>
                    <a:pt x="204" y="314"/>
                    <a:pt x="202" y="317"/>
                    <a:pt x="199" y="319"/>
                  </a:cubicBezTo>
                  <a:cubicBezTo>
                    <a:pt x="198" y="319"/>
                    <a:pt x="196" y="320"/>
                    <a:pt x="194" y="320"/>
                  </a:cubicBezTo>
                  <a:cubicBezTo>
                    <a:pt x="192" y="320"/>
                    <a:pt x="190" y="320"/>
                    <a:pt x="187" y="321"/>
                  </a:cubicBezTo>
                  <a:cubicBezTo>
                    <a:pt x="182" y="323"/>
                    <a:pt x="177" y="326"/>
                    <a:pt x="173" y="330"/>
                  </a:cubicBezTo>
                  <a:cubicBezTo>
                    <a:pt x="172" y="331"/>
                    <a:pt x="171" y="332"/>
                    <a:pt x="170" y="333"/>
                  </a:cubicBezTo>
                  <a:cubicBezTo>
                    <a:pt x="166" y="337"/>
                    <a:pt x="162" y="340"/>
                    <a:pt x="157" y="342"/>
                  </a:cubicBezTo>
                  <a:cubicBezTo>
                    <a:pt x="156" y="343"/>
                    <a:pt x="154" y="343"/>
                    <a:pt x="153" y="343"/>
                  </a:cubicBezTo>
                  <a:cubicBezTo>
                    <a:pt x="151" y="343"/>
                    <a:pt x="149" y="343"/>
                    <a:pt x="147" y="342"/>
                  </a:cubicBezTo>
                  <a:cubicBezTo>
                    <a:pt x="145" y="342"/>
                    <a:pt x="143" y="341"/>
                    <a:pt x="140" y="341"/>
                  </a:cubicBezTo>
                  <a:cubicBezTo>
                    <a:pt x="140" y="341"/>
                    <a:pt x="140" y="341"/>
                    <a:pt x="139" y="341"/>
                  </a:cubicBezTo>
                  <a:cubicBezTo>
                    <a:pt x="137" y="341"/>
                    <a:pt x="135" y="342"/>
                    <a:pt x="133" y="343"/>
                  </a:cubicBezTo>
                  <a:cubicBezTo>
                    <a:pt x="132" y="343"/>
                    <a:pt x="132" y="344"/>
                    <a:pt x="131" y="344"/>
                  </a:cubicBezTo>
                  <a:cubicBezTo>
                    <a:pt x="130" y="344"/>
                    <a:pt x="129" y="345"/>
                    <a:pt x="128" y="345"/>
                  </a:cubicBezTo>
                  <a:cubicBezTo>
                    <a:pt x="125" y="345"/>
                    <a:pt x="122" y="346"/>
                    <a:pt x="120" y="348"/>
                  </a:cubicBezTo>
                  <a:cubicBezTo>
                    <a:pt x="119" y="348"/>
                    <a:pt x="118" y="349"/>
                    <a:pt x="118" y="349"/>
                  </a:cubicBezTo>
                  <a:cubicBezTo>
                    <a:pt x="117" y="350"/>
                    <a:pt x="117" y="350"/>
                    <a:pt x="116" y="350"/>
                  </a:cubicBezTo>
                  <a:cubicBezTo>
                    <a:pt x="116" y="350"/>
                    <a:pt x="116" y="350"/>
                    <a:pt x="115" y="350"/>
                  </a:cubicBezTo>
                  <a:cubicBezTo>
                    <a:pt x="114" y="350"/>
                    <a:pt x="114" y="350"/>
                    <a:pt x="114" y="350"/>
                  </a:cubicBezTo>
                  <a:cubicBezTo>
                    <a:pt x="113" y="350"/>
                    <a:pt x="112" y="350"/>
                    <a:pt x="112" y="351"/>
                  </a:cubicBezTo>
                  <a:cubicBezTo>
                    <a:pt x="108" y="352"/>
                    <a:pt x="104" y="354"/>
                    <a:pt x="101" y="357"/>
                  </a:cubicBezTo>
                  <a:cubicBezTo>
                    <a:pt x="100" y="358"/>
                    <a:pt x="99" y="358"/>
                    <a:pt x="99" y="359"/>
                  </a:cubicBezTo>
                  <a:cubicBezTo>
                    <a:pt x="94" y="362"/>
                    <a:pt x="91" y="366"/>
                    <a:pt x="87" y="371"/>
                  </a:cubicBezTo>
                  <a:cubicBezTo>
                    <a:pt x="85" y="374"/>
                    <a:pt x="83" y="377"/>
                    <a:pt x="80" y="380"/>
                  </a:cubicBezTo>
                  <a:cubicBezTo>
                    <a:pt x="78" y="382"/>
                    <a:pt x="76" y="384"/>
                    <a:pt x="74" y="387"/>
                  </a:cubicBezTo>
                  <a:cubicBezTo>
                    <a:pt x="70" y="392"/>
                    <a:pt x="66" y="396"/>
                    <a:pt x="61" y="399"/>
                  </a:cubicBezTo>
                  <a:cubicBezTo>
                    <a:pt x="60" y="399"/>
                    <a:pt x="58" y="399"/>
                    <a:pt x="57" y="400"/>
                  </a:cubicBezTo>
                  <a:cubicBezTo>
                    <a:pt x="55" y="400"/>
                    <a:pt x="54" y="400"/>
                    <a:pt x="52" y="401"/>
                  </a:cubicBezTo>
                  <a:cubicBezTo>
                    <a:pt x="47" y="403"/>
                    <a:pt x="44" y="407"/>
                    <a:pt x="42" y="411"/>
                  </a:cubicBezTo>
                  <a:cubicBezTo>
                    <a:pt x="40" y="414"/>
                    <a:pt x="39" y="417"/>
                    <a:pt x="39" y="420"/>
                  </a:cubicBezTo>
                  <a:cubicBezTo>
                    <a:pt x="39" y="421"/>
                    <a:pt x="39" y="423"/>
                    <a:pt x="39" y="424"/>
                  </a:cubicBezTo>
                  <a:cubicBezTo>
                    <a:pt x="38" y="428"/>
                    <a:pt x="36" y="436"/>
                    <a:pt x="32" y="439"/>
                  </a:cubicBezTo>
                  <a:cubicBezTo>
                    <a:pt x="31" y="440"/>
                    <a:pt x="30" y="440"/>
                    <a:pt x="30" y="440"/>
                  </a:cubicBezTo>
                  <a:cubicBezTo>
                    <a:pt x="30" y="440"/>
                    <a:pt x="29" y="440"/>
                    <a:pt x="29" y="438"/>
                  </a:cubicBezTo>
                  <a:cubicBezTo>
                    <a:pt x="27" y="433"/>
                    <a:pt x="26" y="427"/>
                    <a:pt x="27" y="422"/>
                  </a:cubicBezTo>
                  <a:cubicBezTo>
                    <a:pt x="27" y="422"/>
                    <a:pt x="27" y="421"/>
                    <a:pt x="27" y="420"/>
                  </a:cubicBezTo>
                  <a:cubicBezTo>
                    <a:pt x="28" y="417"/>
                    <a:pt x="29" y="412"/>
                    <a:pt x="23" y="410"/>
                  </a:cubicBezTo>
                  <a:cubicBezTo>
                    <a:pt x="23" y="409"/>
                    <a:pt x="22" y="409"/>
                    <a:pt x="21" y="409"/>
                  </a:cubicBezTo>
                  <a:cubicBezTo>
                    <a:pt x="15" y="409"/>
                    <a:pt x="12" y="418"/>
                    <a:pt x="12" y="423"/>
                  </a:cubicBezTo>
                  <a:cubicBezTo>
                    <a:pt x="12" y="424"/>
                    <a:pt x="12" y="426"/>
                    <a:pt x="12" y="427"/>
                  </a:cubicBezTo>
                  <a:cubicBezTo>
                    <a:pt x="12" y="431"/>
                    <a:pt x="12" y="435"/>
                    <a:pt x="10" y="438"/>
                  </a:cubicBezTo>
                  <a:cubicBezTo>
                    <a:pt x="10" y="439"/>
                    <a:pt x="10" y="440"/>
                    <a:pt x="9" y="441"/>
                  </a:cubicBezTo>
                  <a:cubicBezTo>
                    <a:pt x="7" y="445"/>
                    <a:pt x="4" y="451"/>
                    <a:pt x="7" y="455"/>
                  </a:cubicBezTo>
                  <a:cubicBezTo>
                    <a:pt x="8" y="457"/>
                    <a:pt x="9" y="459"/>
                    <a:pt x="11" y="460"/>
                  </a:cubicBezTo>
                  <a:cubicBezTo>
                    <a:pt x="13" y="462"/>
                    <a:pt x="14" y="462"/>
                    <a:pt x="14" y="464"/>
                  </a:cubicBezTo>
                  <a:cubicBezTo>
                    <a:pt x="15" y="466"/>
                    <a:pt x="15" y="469"/>
                    <a:pt x="15" y="471"/>
                  </a:cubicBezTo>
                  <a:cubicBezTo>
                    <a:pt x="16" y="474"/>
                    <a:pt x="16" y="476"/>
                    <a:pt x="16" y="478"/>
                  </a:cubicBezTo>
                  <a:cubicBezTo>
                    <a:pt x="17" y="483"/>
                    <a:pt x="18" y="487"/>
                    <a:pt x="16" y="490"/>
                  </a:cubicBezTo>
                  <a:cubicBezTo>
                    <a:pt x="12" y="499"/>
                    <a:pt x="0" y="523"/>
                    <a:pt x="11" y="534"/>
                  </a:cubicBezTo>
                  <a:cubicBezTo>
                    <a:pt x="13" y="535"/>
                    <a:pt x="14" y="536"/>
                    <a:pt x="16" y="537"/>
                  </a:cubicBezTo>
                  <a:cubicBezTo>
                    <a:pt x="18" y="539"/>
                    <a:pt x="19" y="540"/>
                    <a:pt x="20" y="542"/>
                  </a:cubicBezTo>
                  <a:cubicBezTo>
                    <a:pt x="22" y="544"/>
                    <a:pt x="23" y="547"/>
                    <a:pt x="23" y="550"/>
                  </a:cubicBezTo>
                  <a:cubicBezTo>
                    <a:pt x="24" y="553"/>
                    <a:pt x="25" y="557"/>
                    <a:pt x="28" y="561"/>
                  </a:cubicBezTo>
                  <a:cubicBezTo>
                    <a:pt x="30" y="563"/>
                    <a:pt x="32" y="566"/>
                    <a:pt x="34" y="568"/>
                  </a:cubicBezTo>
                  <a:cubicBezTo>
                    <a:pt x="37" y="571"/>
                    <a:pt x="39" y="573"/>
                    <a:pt x="41" y="576"/>
                  </a:cubicBezTo>
                  <a:cubicBezTo>
                    <a:pt x="42" y="578"/>
                    <a:pt x="44" y="580"/>
                    <a:pt x="46" y="582"/>
                  </a:cubicBezTo>
                  <a:cubicBezTo>
                    <a:pt x="48" y="583"/>
                    <a:pt x="50" y="585"/>
                    <a:pt x="51" y="588"/>
                  </a:cubicBezTo>
                  <a:cubicBezTo>
                    <a:pt x="53" y="591"/>
                    <a:pt x="53" y="597"/>
                    <a:pt x="53" y="601"/>
                  </a:cubicBezTo>
                  <a:cubicBezTo>
                    <a:pt x="53" y="603"/>
                    <a:pt x="53" y="603"/>
                    <a:pt x="53" y="603"/>
                  </a:cubicBezTo>
                  <a:cubicBezTo>
                    <a:pt x="53" y="606"/>
                    <a:pt x="52" y="607"/>
                    <a:pt x="52" y="607"/>
                  </a:cubicBezTo>
                  <a:cubicBezTo>
                    <a:pt x="52" y="607"/>
                    <a:pt x="52" y="607"/>
                    <a:pt x="50" y="605"/>
                  </a:cubicBezTo>
                  <a:cubicBezTo>
                    <a:pt x="50" y="605"/>
                    <a:pt x="49" y="604"/>
                    <a:pt x="49" y="604"/>
                  </a:cubicBezTo>
                  <a:cubicBezTo>
                    <a:pt x="48" y="602"/>
                    <a:pt x="46" y="599"/>
                    <a:pt x="43" y="598"/>
                  </a:cubicBezTo>
                  <a:cubicBezTo>
                    <a:pt x="43" y="598"/>
                    <a:pt x="42" y="598"/>
                    <a:pt x="41" y="598"/>
                  </a:cubicBezTo>
                  <a:cubicBezTo>
                    <a:pt x="40" y="598"/>
                    <a:pt x="38" y="598"/>
                    <a:pt x="37" y="599"/>
                  </a:cubicBezTo>
                  <a:cubicBezTo>
                    <a:pt x="37" y="599"/>
                    <a:pt x="37" y="598"/>
                    <a:pt x="37" y="598"/>
                  </a:cubicBezTo>
                  <a:cubicBezTo>
                    <a:pt x="37" y="595"/>
                    <a:pt x="37" y="590"/>
                    <a:pt x="36" y="586"/>
                  </a:cubicBezTo>
                  <a:cubicBezTo>
                    <a:pt x="34" y="579"/>
                    <a:pt x="30" y="577"/>
                    <a:pt x="27" y="577"/>
                  </a:cubicBezTo>
                  <a:cubicBezTo>
                    <a:pt x="27" y="580"/>
                    <a:pt x="27" y="580"/>
                    <a:pt x="27" y="580"/>
                  </a:cubicBezTo>
                  <a:cubicBezTo>
                    <a:pt x="26" y="580"/>
                    <a:pt x="26" y="580"/>
                    <a:pt x="25" y="580"/>
                  </a:cubicBezTo>
                  <a:cubicBezTo>
                    <a:pt x="18" y="583"/>
                    <a:pt x="25" y="597"/>
                    <a:pt x="31" y="601"/>
                  </a:cubicBezTo>
                  <a:cubicBezTo>
                    <a:pt x="31" y="602"/>
                    <a:pt x="31" y="602"/>
                    <a:pt x="31" y="602"/>
                  </a:cubicBezTo>
                  <a:cubicBezTo>
                    <a:pt x="34" y="602"/>
                    <a:pt x="34" y="602"/>
                    <a:pt x="34" y="602"/>
                  </a:cubicBezTo>
                  <a:cubicBezTo>
                    <a:pt x="34" y="605"/>
                    <a:pt x="34" y="605"/>
                    <a:pt x="34" y="605"/>
                  </a:cubicBezTo>
                  <a:cubicBezTo>
                    <a:pt x="35" y="605"/>
                    <a:pt x="35" y="605"/>
                    <a:pt x="35" y="605"/>
                  </a:cubicBezTo>
                  <a:cubicBezTo>
                    <a:pt x="35" y="605"/>
                    <a:pt x="35" y="606"/>
                    <a:pt x="36" y="606"/>
                  </a:cubicBezTo>
                  <a:cubicBezTo>
                    <a:pt x="36" y="608"/>
                    <a:pt x="37" y="609"/>
                    <a:pt x="38" y="610"/>
                  </a:cubicBezTo>
                  <a:cubicBezTo>
                    <a:pt x="39" y="611"/>
                    <a:pt x="40" y="612"/>
                    <a:pt x="40" y="613"/>
                  </a:cubicBezTo>
                  <a:cubicBezTo>
                    <a:pt x="40" y="616"/>
                    <a:pt x="40" y="618"/>
                    <a:pt x="39" y="619"/>
                  </a:cubicBezTo>
                  <a:cubicBezTo>
                    <a:pt x="39" y="619"/>
                    <a:pt x="38" y="619"/>
                    <a:pt x="38" y="619"/>
                  </a:cubicBezTo>
                  <a:cubicBezTo>
                    <a:pt x="36" y="618"/>
                    <a:pt x="33" y="612"/>
                    <a:pt x="32" y="610"/>
                  </a:cubicBezTo>
                  <a:cubicBezTo>
                    <a:pt x="31" y="608"/>
                    <a:pt x="30" y="607"/>
                    <a:pt x="29" y="606"/>
                  </a:cubicBezTo>
                  <a:cubicBezTo>
                    <a:pt x="29" y="605"/>
                    <a:pt x="29" y="605"/>
                    <a:pt x="29" y="604"/>
                  </a:cubicBezTo>
                  <a:cubicBezTo>
                    <a:pt x="27" y="601"/>
                    <a:pt x="25" y="597"/>
                    <a:pt x="22" y="597"/>
                  </a:cubicBezTo>
                  <a:cubicBezTo>
                    <a:pt x="21" y="597"/>
                    <a:pt x="21" y="597"/>
                    <a:pt x="21" y="597"/>
                  </a:cubicBezTo>
                  <a:cubicBezTo>
                    <a:pt x="20" y="597"/>
                    <a:pt x="18" y="598"/>
                    <a:pt x="17" y="599"/>
                  </a:cubicBezTo>
                  <a:cubicBezTo>
                    <a:pt x="15" y="601"/>
                    <a:pt x="14" y="605"/>
                    <a:pt x="14" y="607"/>
                  </a:cubicBezTo>
                  <a:cubicBezTo>
                    <a:pt x="15" y="616"/>
                    <a:pt x="23" y="622"/>
                    <a:pt x="29" y="627"/>
                  </a:cubicBezTo>
                  <a:cubicBezTo>
                    <a:pt x="29" y="627"/>
                    <a:pt x="32" y="629"/>
                    <a:pt x="33" y="630"/>
                  </a:cubicBezTo>
                  <a:cubicBezTo>
                    <a:pt x="38" y="633"/>
                    <a:pt x="41" y="636"/>
                    <a:pt x="45" y="640"/>
                  </a:cubicBezTo>
                  <a:cubicBezTo>
                    <a:pt x="46" y="642"/>
                    <a:pt x="48" y="644"/>
                    <a:pt x="49" y="645"/>
                  </a:cubicBezTo>
                  <a:cubicBezTo>
                    <a:pt x="53" y="650"/>
                    <a:pt x="57" y="654"/>
                    <a:pt x="58" y="659"/>
                  </a:cubicBezTo>
                  <a:cubicBezTo>
                    <a:pt x="58" y="662"/>
                    <a:pt x="58" y="664"/>
                    <a:pt x="59" y="667"/>
                  </a:cubicBezTo>
                  <a:cubicBezTo>
                    <a:pt x="59" y="675"/>
                    <a:pt x="60" y="682"/>
                    <a:pt x="70" y="690"/>
                  </a:cubicBezTo>
                  <a:cubicBezTo>
                    <a:pt x="74" y="693"/>
                    <a:pt x="77" y="697"/>
                    <a:pt x="80" y="702"/>
                  </a:cubicBezTo>
                  <a:cubicBezTo>
                    <a:pt x="81" y="703"/>
                    <a:pt x="81" y="704"/>
                    <a:pt x="82" y="706"/>
                  </a:cubicBezTo>
                  <a:cubicBezTo>
                    <a:pt x="87" y="712"/>
                    <a:pt x="93" y="715"/>
                    <a:pt x="99" y="718"/>
                  </a:cubicBezTo>
                  <a:cubicBezTo>
                    <a:pt x="102" y="720"/>
                    <a:pt x="103" y="723"/>
                    <a:pt x="103" y="729"/>
                  </a:cubicBezTo>
                  <a:cubicBezTo>
                    <a:pt x="102" y="735"/>
                    <a:pt x="103" y="740"/>
                    <a:pt x="104" y="744"/>
                  </a:cubicBezTo>
                  <a:cubicBezTo>
                    <a:pt x="105" y="747"/>
                    <a:pt x="106" y="749"/>
                    <a:pt x="106" y="752"/>
                  </a:cubicBezTo>
                  <a:cubicBezTo>
                    <a:pt x="106" y="755"/>
                    <a:pt x="106" y="755"/>
                    <a:pt x="106" y="755"/>
                  </a:cubicBezTo>
                  <a:cubicBezTo>
                    <a:pt x="109" y="771"/>
                    <a:pt x="111" y="790"/>
                    <a:pt x="123" y="802"/>
                  </a:cubicBezTo>
                  <a:cubicBezTo>
                    <a:pt x="126" y="804"/>
                    <a:pt x="127" y="806"/>
                    <a:pt x="128" y="809"/>
                  </a:cubicBezTo>
                  <a:cubicBezTo>
                    <a:pt x="130" y="811"/>
                    <a:pt x="131" y="813"/>
                    <a:pt x="132" y="815"/>
                  </a:cubicBezTo>
                  <a:cubicBezTo>
                    <a:pt x="134" y="817"/>
                    <a:pt x="135" y="819"/>
                    <a:pt x="137" y="821"/>
                  </a:cubicBezTo>
                  <a:cubicBezTo>
                    <a:pt x="139" y="824"/>
                    <a:pt x="142" y="827"/>
                    <a:pt x="143" y="830"/>
                  </a:cubicBezTo>
                  <a:cubicBezTo>
                    <a:pt x="148" y="838"/>
                    <a:pt x="150" y="848"/>
                    <a:pt x="150" y="859"/>
                  </a:cubicBezTo>
                  <a:cubicBezTo>
                    <a:pt x="150" y="861"/>
                    <a:pt x="149" y="863"/>
                    <a:pt x="149" y="866"/>
                  </a:cubicBezTo>
                  <a:cubicBezTo>
                    <a:pt x="148" y="873"/>
                    <a:pt x="148" y="879"/>
                    <a:pt x="151" y="887"/>
                  </a:cubicBezTo>
                  <a:cubicBezTo>
                    <a:pt x="155" y="894"/>
                    <a:pt x="156" y="905"/>
                    <a:pt x="151" y="911"/>
                  </a:cubicBezTo>
                  <a:cubicBezTo>
                    <a:pt x="148" y="913"/>
                    <a:pt x="146" y="915"/>
                    <a:pt x="144" y="915"/>
                  </a:cubicBezTo>
                  <a:cubicBezTo>
                    <a:pt x="144" y="915"/>
                    <a:pt x="143" y="915"/>
                    <a:pt x="143" y="915"/>
                  </a:cubicBezTo>
                  <a:cubicBezTo>
                    <a:pt x="142" y="915"/>
                    <a:pt x="141" y="913"/>
                    <a:pt x="141" y="913"/>
                  </a:cubicBezTo>
                  <a:cubicBezTo>
                    <a:pt x="139" y="911"/>
                    <a:pt x="137" y="909"/>
                    <a:pt x="134" y="909"/>
                  </a:cubicBezTo>
                  <a:cubicBezTo>
                    <a:pt x="134" y="909"/>
                    <a:pt x="133" y="910"/>
                    <a:pt x="132" y="910"/>
                  </a:cubicBezTo>
                  <a:cubicBezTo>
                    <a:pt x="128" y="912"/>
                    <a:pt x="130" y="918"/>
                    <a:pt x="131" y="921"/>
                  </a:cubicBezTo>
                  <a:cubicBezTo>
                    <a:pt x="131" y="922"/>
                    <a:pt x="131" y="922"/>
                    <a:pt x="131" y="922"/>
                  </a:cubicBezTo>
                  <a:cubicBezTo>
                    <a:pt x="132" y="925"/>
                    <a:pt x="133" y="928"/>
                    <a:pt x="133" y="931"/>
                  </a:cubicBezTo>
                  <a:cubicBezTo>
                    <a:pt x="134" y="934"/>
                    <a:pt x="135" y="938"/>
                    <a:pt x="136" y="941"/>
                  </a:cubicBezTo>
                  <a:cubicBezTo>
                    <a:pt x="138" y="949"/>
                    <a:pt x="144" y="950"/>
                    <a:pt x="148" y="950"/>
                  </a:cubicBezTo>
                  <a:cubicBezTo>
                    <a:pt x="149" y="950"/>
                    <a:pt x="150" y="950"/>
                    <a:pt x="151" y="950"/>
                  </a:cubicBezTo>
                  <a:cubicBezTo>
                    <a:pt x="151" y="949"/>
                    <a:pt x="152" y="949"/>
                    <a:pt x="153" y="949"/>
                  </a:cubicBezTo>
                  <a:cubicBezTo>
                    <a:pt x="154" y="949"/>
                    <a:pt x="155" y="949"/>
                    <a:pt x="156" y="950"/>
                  </a:cubicBezTo>
                  <a:cubicBezTo>
                    <a:pt x="161" y="950"/>
                    <a:pt x="164" y="954"/>
                    <a:pt x="167" y="958"/>
                  </a:cubicBezTo>
                  <a:cubicBezTo>
                    <a:pt x="169" y="960"/>
                    <a:pt x="171" y="963"/>
                    <a:pt x="174" y="965"/>
                  </a:cubicBezTo>
                  <a:cubicBezTo>
                    <a:pt x="179" y="969"/>
                    <a:pt x="188" y="970"/>
                    <a:pt x="195" y="970"/>
                  </a:cubicBezTo>
                  <a:cubicBezTo>
                    <a:pt x="196" y="970"/>
                    <a:pt x="198" y="971"/>
                    <a:pt x="199" y="971"/>
                  </a:cubicBezTo>
                  <a:cubicBezTo>
                    <a:pt x="202" y="971"/>
                    <a:pt x="205" y="971"/>
                    <a:pt x="208" y="971"/>
                  </a:cubicBezTo>
                  <a:cubicBezTo>
                    <a:pt x="215" y="971"/>
                    <a:pt x="222" y="970"/>
                    <a:pt x="229" y="969"/>
                  </a:cubicBezTo>
                  <a:cubicBezTo>
                    <a:pt x="232" y="969"/>
                    <a:pt x="235" y="969"/>
                    <a:pt x="238" y="969"/>
                  </a:cubicBezTo>
                  <a:cubicBezTo>
                    <a:pt x="245" y="969"/>
                    <a:pt x="253" y="968"/>
                    <a:pt x="260" y="965"/>
                  </a:cubicBezTo>
                  <a:cubicBezTo>
                    <a:pt x="265" y="962"/>
                    <a:pt x="269" y="956"/>
                    <a:pt x="272" y="950"/>
                  </a:cubicBezTo>
                  <a:cubicBezTo>
                    <a:pt x="275" y="945"/>
                    <a:pt x="278" y="939"/>
                    <a:pt x="284" y="937"/>
                  </a:cubicBezTo>
                  <a:cubicBezTo>
                    <a:pt x="284" y="937"/>
                    <a:pt x="285" y="937"/>
                    <a:pt x="285" y="937"/>
                  </a:cubicBezTo>
                  <a:cubicBezTo>
                    <a:pt x="287" y="937"/>
                    <a:pt x="288" y="938"/>
                    <a:pt x="290" y="938"/>
                  </a:cubicBezTo>
                  <a:cubicBezTo>
                    <a:pt x="292" y="939"/>
                    <a:pt x="294" y="940"/>
                    <a:pt x="296" y="940"/>
                  </a:cubicBezTo>
                  <a:cubicBezTo>
                    <a:pt x="299" y="940"/>
                    <a:pt x="301" y="939"/>
                    <a:pt x="303" y="936"/>
                  </a:cubicBezTo>
                  <a:cubicBezTo>
                    <a:pt x="305" y="934"/>
                    <a:pt x="306" y="930"/>
                    <a:pt x="306" y="926"/>
                  </a:cubicBezTo>
                  <a:cubicBezTo>
                    <a:pt x="306" y="924"/>
                    <a:pt x="307" y="922"/>
                    <a:pt x="307" y="921"/>
                  </a:cubicBezTo>
                  <a:cubicBezTo>
                    <a:pt x="309" y="918"/>
                    <a:pt x="313" y="910"/>
                    <a:pt x="319" y="910"/>
                  </a:cubicBezTo>
                  <a:cubicBezTo>
                    <a:pt x="319" y="910"/>
                    <a:pt x="320" y="910"/>
                    <a:pt x="320" y="910"/>
                  </a:cubicBezTo>
                  <a:cubicBezTo>
                    <a:pt x="322" y="910"/>
                    <a:pt x="324" y="911"/>
                    <a:pt x="325" y="911"/>
                  </a:cubicBezTo>
                  <a:cubicBezTo>
                    <a:pt x="329" y="912"/>
                    <a:pt x="332" y="912"/>
                    <a:pt x="336" y="912"/>
                  </a:cubicBezTo>
                  <a:cubicBezTo>
                    <a:pt x="337" y="912"/>
                    <a:pt x="337" y="912"/>
                    <a:pt x="337" y="912"/>
                  </a:cubicBezTo>
                  <a:cubicBezTo>
                    <a:pt x="342" y="912"/>
                    <a:pt x="345" y="910"/>
                    <a:pt x="348" y="908"/>
                  </a:cubicBezTo>
                  <a:cubicBezTo>
                    <a:pt x="349" y="907"/>
                    <a:pt x="350" y="907"/>
                    <a:pt x="351" y="906"/>
                  </a:cubicBezTo>
                  <a:cubicBezTo>
                    <a:pt x="356" y="903"/>
                    <a:pt x="363" y="901"/>
                    <a:pt x="371" y="901"/>
                  </a:cubicBezTo>
                  <a:cubicBezTo>
                    <a:pt x="375" y="901"/>
                    <a:pt x="380" y="901"/>
                    <a:pt x="385" y="902"/>
                  </a:cubicBezTo>
                  <a:cubicBezTo>
                    <a:pt x="387" y="903"/>
                    <a:pt x="389" y="903"/>
                    <a:pt x="390" y="903"/>
                  </a:cubicBezTo>
                  <a:cubicBezTo>
                    <a:pt x="394" y="904"/>
                    <a:pt x="397" y="905"/>
                    <a:pt x="400" y="905"/>
                  </a:cubicBezTo>
                  <a:cubicBezTo>
                    <a:pt x="403" y="905"/>
                    <a:pt x="406" y="904"/>
                    <a:pt x="409" y="903"/>
                  </a:cubicBezTo>
                  <a:cubicBezTo>
                    <a:pt x="414" y="902"/>
                    <a:pt x="418" y="900"/>
                    <a:pt x="423" y="898"/>
                  </a:cubicBezTo>
                  <a:cubicBezTo>
                    <a:pt x="424" y="897"/>
                    <a:pt x="425" y="897"/>
                    <a:pt x="426" y="897"/>
                  </a:cubicBezTo>
                  <a:cubicBezTo>
                    <a:pt x="430" y="900"/>
                    <a:pt x="434" y="903"/>
                    <a:pt x="438" y="903"/>
                  </a:cubicBezTo>
                  <a:cubicBezTo>
                    <a:pt x="438" y="903"/>
                    <a:pt x="439" y="903"/>
                    <a:pt x="439" y="903"/>
                  </a:cubicBezTo>
                  <a:cubicBezTo>
                    <a:pt x="442" y="902"/>
                    <a:pt x="443" y="900"/>
                    <a:pt x="444" y="898"/>
                  </a:cubicBezTo>
                  <a:cubicBezTo>
                    <a:pt x="444" y="898"/>
                    <a:pt x="444" y="898"/>
                    <a:pt x="445" y="897"/>
                  </a:cubicBezTo>
                  <a:cubicBezTo>
                    <a:pt x="445" y="897"/>
                    <a:pt x="447" y="896"/>
                    <a:pt x="448" y="896"/>
                  </a:cubicBezTo>
                  <a:cubicBezTo>
                    <a:pt x="450" y="895"/>
                    <a:pt x="452" y="895"/>
                    <a:pt x="454" y="893"/>
                  </a:cubicBezTo>
                  <a:cubicBezTo>
                    <a:pt x="460" y="887"/>
                    <a:pt x="467" y="877"/>
                    <a:pt x="468" y="867"/>
                  </a:cubicBezTo>
                  <a:cubicBezTo>
                    <a:pt x="468" y="866"/>
                    <a:pt x="468" y="864"/>
                    <a:pt x="468" y="863"/>
                  </a:cubicBezTo>
                  <a:cubicBezTo>
                    <a:pt x="468" y="860"/>
                    <a:pt x="468" y="858"/>
                    <a:pt x="470" y="855"/>
                  </a:cubicBezTo>
                  <a:cubicBezTo>
                    <a:pt x="472" y="853"/>
                    <a:pt x="474" y="853"/>
                    <a:pt x="477" y="853"/>
                  </a:cubicBezTo>
                  <a:cubicBezTo>
                    <a:pt x="480" y="853"/>
                    <a:pt x="480" y="853"/>
                    <a:pt x="480" y="853"/>
                  </a:cubicBezTo>
                  <a:cubicBezTo>
                    <a:pt x="481" y="853"/>
                    <a:pt x="482" y="853"/>
                    <a:pt x="483" y="853"/>
                  </a:cubicBezTo>
                  <a:cubicBezTo>
                    <a:pt x="485" y="853"/>
                    <a:pt x="485" y="853"/>
                    <a:pt x="485" y="853"/>
                  </a:cubicBezTo>
                  <a:cubicBezTo>
                    <a:pt x="489" y="853"/>
                    <a:pt x="494" y="852"/>
                    <a:pt x="498" y="846"/>
                  </a:cubicBezTo>
                  <a:cubicBezTo>
                    <a:pt x="501" y="840"/>
                    <a:pt x="501" y="840"/>
                    <a:pt x="507" y="837"/>
                  </a:cubicBezTo>
                  <a:cubicBezTo>
                    <a:pt x="512" y="835"/>
                    <a:pt x="516" y="831"/>
                    <a:pt x="520" y="828"/>
                  </a:cubicBezTo>
                  <a:cubicBezTo>
                    <a:pt x="527" y="823"/>
                    <a:pt x="533" y="818"/>
                    <a:pt x="540" y="817"/>
                  </a:cubicBezTo>
                  <a:cubicBezTo>
                    <a:pt x="542" y="817"/>
                    <a:pt x="543" y="817"/>
                    <a:pt x="545" y="817"/>
                  </a:cubicBezTo>
                  <a:cubicBezTo>
                    <a:pt x="549" y="817"/>
                    <a:pt x="553" y="818"/>
                    <a:pt x="557" y="818"/>
                  </a:cubicBezTo>
                  <a:cubicBezTo>
                    <a:pt x="561" y="818"/>
                    <a:pt x="566" y="819"/>
                    <a:pt x="570" y="819"/>
                  </a:cubicBezTo>
                  <a:cubicBezTo>
                    <a:pt x="570" y="819"/>
                    <a:pt x="570" y="819"/>
                    <a:pt x="570" y="819"/>
                  </a:cubicBezTo>
                  <a:cubicBezTo>
                    <a:pt x="575" y="819"/>
                    <a:pt x="579" y="818"/>
                    <a:pt x="583" y="817"/>
                  </a:cubicBezTo>
                  <a:cubicBezTo>
                    <a:pt x="588" y="815"/>
                    <a:pt x="591" y="813"/>
                    <a:pt x="595" y="811"/>
                  </a:cubicBezTo>
                  <a:cubicBezTo>
                    <a:pt x="599" y="808"/>
                    <a:pt x="602" y="806"/>
                    <a:pt x="606" y="805"/>
                  </a:cubicBezTo>
                  <a:cubicBezTo>
                    <a:pt x="613" y="803"/>
                    <a:pt x="619" y="800"/>
                    <a:pt x="624" y="797"/>
                  </a:cubicBezTo>
                  <a:cubicBezTo>
                    <a:pt x="626" y="796"/>
                    <a:pt x="627" y="795"/>
                    <a:pt x="629" y="794"/>
                  </a:cubicBezTo>
                  <a:cubicBezTo>
                    <a:pt x="633" y="793"/>
                    <a:pt x="637" y="791"/>
                    <a:pt x="641" y="789"/>
                  </a:cubicBezTo>
                  <a:cubicBezTo>
                    <a:pt x="643" y="788"/>
                    <a:pt x="643" y="788"/>
                    <a:pt x="643" y="788"/>
                  </a:cubicBezTo>
                  <a:lnTo>
                    <a:pt x="616" y="45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215516" y="2387491"/>
              <a:ext cx="66628" cy="68183"/>
            </a:xfrm>
            <a:custGeom>
              <a:avLst/>
              <a:gdLst>
                <a:gd name="T0" fmla="*/ 20 w 21"/>
                <a:gd name="T1" fmla="*/ 16 h 24"/>
                <a:gd name="T2" fmla="*/ 8 w 21"/>
                <a:gd name="T3" fmla="*/ 0 h 24"/>
                <a:gd name="T4" fmla="*/ 4 w 21"/>
                <a:gd name="T5" fmla="*/ 2 h 24"/>
                <a:gd name="T6" fmla="*/ 8 w 21"/>
                <a:gd name="T7" fmla="*/ 19 h 24"/>
                <a:gd name="T8" fmla="*/ 15 w 21"/>
                <a:gd name="T9" fmla="*/ 24 h 24"/>
                <a:gd name="T10" fmla="*/ 19 w 21"/>
                <a:gd name="T11" fmla="*/ 22 h 24"/>
                <a:gd name="T12" fmla="*/ 20 w 21"/>
                <a:gd name="T13" fmla="*/ 1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4">
                  <a:moveTo>
                    <a:pt x="20" y="16"/>
                  </a:moveTo>
                  <a:cubicBezTo>
                    <a:pt x="20" y="15"/>
                    <a:pt x="15" y="0"/>
                    <a:pt x="8" y="0"/>
                  </a:cubicBezTo>
                  <a:cubicBezTo>
                    <a:pt x="7" y="0"/>
                    <a:pt x="5" y="1"/>
                    <a:pt x="4" y="2"/>
                  </a:cubicBezTo>
                  <a:cubicBezTo>
                    <a:pt x="0" y="7"/>
                    <a:pt x="4" y="15"/>
                    <a:pt x="8" y="19"/>
                  </a:cubicBezTo>
                  <a:cubicBezTo>
                    <a:pt x="9" y="21"/>
                    <a:pt x="12" y="24"/>
                    <a:pt x="15" y="24"/>
                  </a:cubicBezTo>
                  <a:cubicBezTo>
                    <a:pt x="17" y="24"/>
                    <a:pt x="18" y="23"/>
                    <a:pt x="19" y="22"/>
                  </a:cubicBezTo>
                  <a:cubicBezTo>
                    <a:pt x="20" y="21"/>
                    <a:pt x="21" y="18"/>
                    <a:pt x="20" y="16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392462" y="2761016"/>
              <a:ext cx="68812" cy="69171"/>
            </a:xfrm>
            <a:custGeom>
              <a:avLst/>
              <a:gdLst>
                <a:gd name="T0" fmla="*/ 17 w 22"/>
                <a:gd name="T1" fmla="*/ 11 h 24"/>
                <a:gd name="T2" fmla="*/ 14 w 22"/>
                <a:gd name="T3" fmla="*/ 10 h 24"/>
                <a:gd name="T4" fmla="*/ 12 w 22"/>
                <a:gd name="T5" fmla="*/ 11 h 24"/>
                <a:gd name="T6" fmla="*/ 13 w 22"/>
                <a:gd name="T7" fmla="*/ 5 h 24"/>
                <a:gd name="T8" fmla="*/ 8 w 22"/>
                <a:gd name="T9" fmla="*/ 0 h 24"/>
                <a:gd name="T10" fmla="*/ 4 w 22"/>
                <a:gd name="T11" fmla="*/ 1 h 24"/>
                <a:gd name="T12" fmla="*/ 1 w 22"/>
                <a:gd name="T13" fmla="*/ 13 h 24"/>
                <a:gd name="T14" fmla="*/ 5 w 22"/>
                <a:gd name="T15" fmla="*/ 17 h 24"/>
                <a:gd name="T16" fmla="*/ 7 w 22"/>
                <a:gd name="T17" fmla="*/ 16 h 24"/>
                <a:gd name="T18" fmla="*/ 9 w 22"/>
                <a:gd name="T19" fmla="*/ 15 h 24"/>
                <a:gd name="T20" fmla="*/ 9 w 22"/>
                <a:gd name="T21" fmla="*/ 16 h 24"/>
                <a:gd name="T22" fmla="*/ 10 w 22"/>
                <a:gd name="T23" fmla="*/ 18 h 24"/>
                <a:gd name="T24" fmla="*/ 13 w 22"/>
                <a:gd name="T25" fmla="*/ 23 h 24"/>
                <a:gd name="T26" fmla="*/ 18 w 22"/>
                <a:gd name="T27" fmla="*/ 24 h 24"/>
                <a:gd name="T28" fmla="*/ 19 w 22"/>
                <a:gd name="T29" fmla="*/ 24 h 24"/>
                <a:gd name="T30" fmla="*/ 21 w 22"/>
                <a:gd name="T31" fmla="*/ 23 h 24"/>
                <a:gd name="T32" fmla="*/ 22 w 22"/>
                <a:gd name="T33" fmla="*/ 22 h 24"/>
                <a:gd name="T34" fmla="*/ 22 w 22"/>
                <a:gd name="T35" fmla="*/ 17 h 24"/>
                <a:gd name="T36" fmla="*/ 17 w 22"/>
                <a:gd name="T37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4">
                  <a:moveTo>
                    <a:pt x="17" y="11"/>
                  </a:moveTo>
                  <a:cubicBezTo>
                    <a:pt x="16" y="11"/>
                    <a:pt x="15" y="10"/>
                    <a:pt x="14" y="10"/>
                  </a:cubicBezTo>
                  <a:cubicBezTo>
                    <a:pt x="13" y="10"/>
                    <a:pt x="13" y="11"/>
                    <a:pt x="12" y="11"/>
                  </a:cubicBezTo>
                  <a:cubicBezTo>
                    <a:pt x="13" y="9"/>
                    <a:pt x="13" y="7"/>
                    <a:pt x="13" y="5"/>
                  </a:cubicBezTo>
                  <a:cubicBezTo>
                    <a:pt x="13" y="2"/>
                    <a:pt x="11" y="0"/>
                    <a:pt x="8" y="0"/>
                  </a:cubicBezTo>
                  <a:cubicBezTo>
                    <a:pt x="7" y="0"/>
                    <a:pt x="5" y="0"/>
                    <a:pt x="4" y="1"/>
                  </a:cubicBezTo>
                  <a:cubicBezTo>
                    <a:pt x="1" y="3"/>
                    <a:pt x="0" y="9"/>
                    <a:pt x="1" y="13"/>
                  </a:cubicBezTo>
                  <a:cubicBezTo>
                    <a:pt x="1" y="15"/>
                    <a:pt x="3" y="17"/>
                    <a:pt x="5" y="17"/>
                  </a:cubicBezTo>
                  <a:cubicBezTo>
                    <a:pt x="6" y="17"/>
                    <a:pt x="6" y="17"/>
                    <a:pt x="7" y="16"/>
                  </a:cubicBezTo>
                  <a:cubicBezTo>
                    <a:pt x="8" y="16"/>
                    <a:pt x="9" y="16"/>
                    <a:pt x="9" y="15"/>
                  </a:cubicBezTo>
                  <a:cubicBezTo>
                    <a:pt x="9" y="15"/>
                    <a:pt x="9" y="16"/>
                    <a:pt x="9" y="16"/>
                  </a:cubicBezTo>
                  <a:cubicBezTo>
                    <a:pt x="9" y="17"/>
                    <a:pt x="10" y="17"/>
                    <a:pt x="10" y="18"/>
                  </a:cubicBezTo>
                  <a:cubicBezTo>
                    <a:pt x="10" y="19"/>
                    <a:pt x="11" y="22"/>
                    <a:pt x="13" y="23"/>
                  </a:cubicBezTo>
                  <a:cubicBezTo>
                    <a:pt x="15" y="23"/>
                    <a:pt x="16" y="24"/>
                    <a:pt x="18" y="24"/>
                  </a:cubicBezTo>
                  <a:cubicBezTo>
                    <a:pt x="18" y="24"/>
                    <a:pt x="19" y="24"/>
                    <a:pt x="19" y="24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0"/>
                    <a:pt x="22" y="19"/>
                    <a:pt x="22" y="17"/>
                  </a:cubicBezTo>
                  <a:cubicBezTo>
                    <a:pt x="21" y="15"/>
                    <a:pt x="19" y="12"/>
                    <a:pt x="17" y="11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3982723" y="288637"/>
              <a:ext cx="62259" cy="108698"/>
            </a:xfrm>
            <a:custGeom>
              <a:avLst/>
              <a:gdLst>
                <a:gd name="T0" fmla="*/ 4 w 20"/>
                <a:gd name="T1" fmla="*/ 27 h 38"/>
                <a:gd name="T2" fmla="*/ 1 w 20"/>
                <a:gd name="T3" fmla="*/ 33 h 38"/>
                <a:gd name="T4" fmla="*/ 7 w 20"/>
                <a:gd name="T5" fmla="*/ 38 h 38"/>
                <a:gd name="T6" fmla="*/ 15 w 20"/>
                <a:gd name="T7" fmla="*/ 34 h 38"/>
                <a:gd name="T8" fmla="*/ 18 w 20"/>
                <a:gd name="T9" fmla="*/ 24 h 38"/>
                <a:gd name="T10" fmla="*/ 15 w 20"/>
                <a:gd name="T11" fmla="*/ 21 h 38"/>
                <a:gd name="T12" fmla="*/ 15 w 20"/>
                <a:gd name="T13" fmla="*/ 13 h 38"/>
                <a:gd name="T14" fmla="*/ 15 w 20"/>
                <a:gd name="T15" fmla="*/ 3 h 38"/>
                <a:gd name="T16" fmla="*/ 15 w 20"/>
                <a:gd name="T17" fmla="*/ 1 h 38"/>
                <a:gd name="T18" fmla="*/ 13 w 20"/>
                <a:gd name="T19" fmla="*/ 0 h 38"/>
                <a:gd name="T20" fmla="*/ 10 w 20"/>
                <a:gd name="T21" fmla="*/ 0 h 38"/>
                <a:gd name="T22" fmla="*/ 7 w 20"/>
                <a:gd name="T23" fmla="*/ 0 h 38"/>
                <a:gd name="T24" fmla="*/ 5 w 20"/>
                <a:gd name="T25" fmla="*/ 1 h 38"/>
                <a:gd name="T26" fmla="*/ 4 w 20"/>
                <a:gd name="T27" fmla="*/ 3 h 38"/>
                <a:gd name="T28" fmla="*/ 5 w 20"/>
                <a:gd name="T29" fmla="*/ 9 h 38"/>
                <a:gd name="T30" fmla="*/ 5 w 20"/>
                <a:gd name="T31" fmla="*/ 17 h 38"/>
                <a:gd name="T32" fmla="*/ 4 w 20"/>
                <a:gd name="T33" fmla="*/ 17 h 38"/>
                <a:gd name="T34" fmla="*/ 1 w 20"/>
                <a:gd name="T35" fmla="*/ 24 h 38"/>
                <a:gd name="T36" fmla="*/ 4 w 20"/>
                <a:gd name="T37" fmla="*/ 2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" h="38">
                  <a:moveTo>
                    <a:pt x="4" y="27"/>
                  </a:moveTo>
                  <a:cubicBezTo>
                    <a:pt x="2" y="28"/>
                    <a:pt x="1" y="30"/>
                    <a:pt x="1" y="33"/>
                  </a:cubicBezTo>
                  <a:cubicBezTo>
                    <a:pt x="1" y="36"/>
                    <a:pt x="4" y="38"/>
                    <a:pt x="7" y="38"/>
                  </a:cubicBezTo>
                  <a:cubicBezTo>
                    <a:pt x="10" y="38"/>
                    <a:pt x="14" y="36"/>
                    <a:pt x="15" y="34"/>
                  </a:cubicBezTo>
                  <a:cubicBezTo>
                    <a:pt x="16" y="34"/>
                    <a:pt x="20" y="28"/>
                    <a:pt x="18" y="24"/>
                  </a:cubicBezTo>
                  <a:cubicBezTo>
                    <a:pt x="18" y="23"/>
                    <a:pt x="17" y="22"/>
                    <a:pt x="15" y="21"/>
                  </a:cubicBezTo>
                  <a:cubicBezTo>
                    <a:pt x="15" y="18"/>
                    <a:pt x="15" y="16"/>
                    <a:pt x="15" y="13"/>
                  </a:cubicBezTo>
                  <a:cubicBezTo>
                    <a:pt x="15" y="10"/>
                    <a:pt x="16" y="7"/>
                    <a:pt x="15" y="3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5"/>
                    <a:pt x="5" y="7"/>
                    <a:pt x="5" y="9"/>
                  </a:cubicBezTo>
                  <a:cubicBezTo>
                    <a:pt x="5" y="12"/>
                    <a:pt x="5" y="15"/>
                    <a:pt x="5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8"/>
                    <a:pt x="0" y="20"/>
                    <a:pt x="1" y="24"/>
                  </a:cubicBezTo>
                  <a:cubicBezTo>
                    <a:pt x="2" y="25"/>
                    <a:pt x="2" y="26"/>
                    <a:pt x="4" y="27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Freeform 21"/>
            <p:cNvSpPr>
              <a:spLocks/>
            </p:cNvSpPr>
            <p:nvPr/>
          </p:nvSpPr>
          <p:spPr bwMode="auto">
            <a:xfrm>
              <a:off x="3352489" y="368678"/>
              <a:ext cx="1915825" cy="2437794"/>
            </a:xfrm>
            <a:custGeom>
              <a:avLst/>
              <a:gdLst>
                <a:gd name="T0" fmla="*/ 599 w 608"/>
                <a:gd name="T1" fmla="*/ 670 h 855"/>
                <a:gd name="T2" fmla="*/ 590 w 608"/>
                <a:gd name="T3" fmla="*/ 689 h 855"/>
                <a:gd name="T4" fmla="*/ 577 w 608"/>
                <a:gd name="T5" fmla="*/ 684 h 855"/>
                <a:gd name="T6" fmla="*/ 559 w 608"/>
                <a:gd name="T7" fmla="*/ 650 h 855"/>
                <a:gd name="T8" fmla="*/ 535 w 608"/>
                <a:gd name="T9" fmla="*/ 618 h 855"/>
                <a:gd name="T10" fmla="*/ 520 w 608"/>
                <a:gd name="T11" fmla="*/ 606 h 855"/>
                <a:gd name="T12" fmla="*/ 515 w 608"/>
                <a:gd name="T13" fmla="*/ 603 h 855"/>
                <a:gd name="T14" fmla="*/ 521 w 608"/>
                <a:gd name="T15" fmla="*/ 562 h 855"/>
                <a:gd name="T16" fmla="*/ 506 w 608"/>
                <a:gd name="T17" fmla="*/ 561 h 855"/>
                <a:gd name="T18" fmla="*/ 500 w 608"/>
                <a:gd name="T19" fmla="*/ 549 h 855"/>
                <a:gd name="T20" fmla="*/ 484 w 608"/>
                <a:gd name="T21" fmla="*/ 550 h 855"/>
                <a:gd name="T22" fmla="*/ 476 w 608"/>
                <a:gd name="T23" fmla="*/ 549 h 855"/>
                <a:gd name="T24" fmla="*/ 467 w 608"/>
                <a:gd name="T25" fmla="*/ 495 h 855"/>
                <a:gd name="T26" fmla="*/ 454 w 608"/>
                <a:gd name="T27" fmla="*/ 467 h 855"/>
                <a:gd name="T28" fmla="*/ 447 w 608"/>
                <a:gd name="T29" fmla="*/ 448 h 855"/>
                <a:gd name="T30" fmla="*/ 418 w 608"/>
                <a:gd name="T31" fmla="*/ 430 h 855"/>
                <a:gd name="T32" fmla="*/ 399 w 608"/>
                <a:gd name="T33" fmla="*/ 409 h 855"/>
                <a:gd name="T34" fmla="*/ 383 w 608"/>
                <a:gd name="T35" fmla="*/ 401 h 855"/>
                <a:gd name="T36" fmla="*/ 358 w 608"/>
                <a:gd name="T37" fmla="*/ 384 h 855"/>
                <a:gd name="T38" fmla="*/ 350 w 608"/>
                <a:gd name="T39" fmla="*/ 351 h 855"/>
                <a:gd name="T40" fmla="*/ 352 w 608"/>
                <a:gd name="T41" fmla="*/ 312 h 855"/>
                <a:gd name="T42" fmla="*/ 334 w 608"/>
                <a:gd name="T43" fmla="*/ 270 h 855"/>
                <a:gd name="T44" fmla="*/ 330 w 608"/>
                <a:gd name="T45" fmla="*/ 231 h 855"/>
                <a:gd name="T46" fmla="*/ 317 w 608"/>
                <a:gd name="T47" fmla="*/ 188 h 855"/>
                <a:gd name="T48" fmla="*/ 297 w 608"/>
                <a:gd name="T49" fmla="*/ 166 h 855"/>
                <a:gd name="T50" fmla="*/ 262 w 608"/>
                <a:gd name="T51" fmla="*/ 127 h 855"/>
                <a:gd name="T52" fmla="*/ 251 w 608"/>
                <a:gd name="T53" fmla="*/ 74 h 855"/>
                <a:gd name="T54" fmla="*/ 238 w 608"/>
                <a:gd name="T55" fmla="*/ 30 h 855"/>
                <a:gd name="T56" fmla="*/ 226 w 608"/>
                <a:gd name="T57" fmla="*/ 0 h 855"/>
                <a:gd name="T58" fmla="*/ 211 w 608"/>
                <a:gd name="T59" fmla="*/ 13 h 855"/>
                <a:gd name="T60" fmla="*/ 182 w 608"/>
                <a:gd name="T61" fmla="*/ 65 h 855"/>
                <a:gd name="T62" fmla="*/ 178 w 608"/>
                <a:gd name="T63" fmla="*/ 99 h 855"/>
                <a:gd name="T64" fmla="*/ 174 w 608"/>
                <a:gd name="T65" fmla="*/ 119 h 855"/>
                <a:gd name="T66" fmla="*/ 164 w 608"/>
                <a:gd name="T67" fmla="*/ 172 h 855"/>
                <a:gd name="T68" fmla="*/ 165 w 608"/>
                <a:gd name="T69" fmla="*/ 207 h 855"/>
                <a:gd name="T70" fmla="*/ 132 w 608"/>
                <a:gd name="T71" fmla="*/ 296 h 855"/>
                <a:gd name="T72" fmla="*/ 114 w 608"/>
                <a:gd name="T73" fmla="*/ 307 h 855"/>
                <a:gd name="T74" fmla="*/ 68 w 608"/>
                <a:gd name="T75" fmla="*/ 287 h 855"/>
                <a:gd name="T76" fmla="*/ 36 w 608"/>
                <a:gd name="T77" fmla="*/ 264 h 855"/>
                <a:gd name="T78" fmla="*/ 3 w 608"/>
                <a:gd name="T79" fmla="*/ 668 h 855"/>
                <a:gd name="T80" fmla="*/ 184 w 608"/>
                <a:gd name="T81" fmla="*/ 812 h 855"/>
                <a:gd name="T82" fmla="*/ 369 w 608"/>
                <a:gd name="T83" fmla="*/ 830 h 855"/>
                <a:gd name="T84" fmla="*/ 403 w 608"/>
                <a:gd name="T85" fmla="*/ 833 h 855"/>
                <a:gd name="T86" fmla="*/ 462 w 608"/>
                <a:gd name="T87" fmla="*/ 825 h 855"/>
                <a:gd name="T88" fmla="*/ 497 w 608"/>
                <a:gd name="T89" fmla="*/ 848 h 855"/>
                <a:gd name="T90" fmla="*/ 500 w 608"/>
                <a:gd name="T91" fmla="*/ 855 h 855"/>
                <a:gd name="T92" fmla="*/ 515 w 608"/>
                <a:gd name="T93" fmla="*/ 847 h 855"/>
                <a:gd name="T94" fmla="*/ 528 w 608"/>
                <a:gd name="T95" fmla="*/ 841 h 855"/>
                <a:gd name="T96" fmla="*/ 558 w 608"/>
                <a:gd name="T97" fmla="*/ 826 h 855"/>
                <a:gd name="T98" fmla="*/ 589 w 608"/>
                <a:gd name="T99" fmla="*/ 821 h 855"/>
                <a:gd name="T100" fmla="*/ 580 w 608"/>
                <a:gd name="T101" fmla="*/ 784 h 855"/>
                <a:gd name="T102" fmla="*/ 587 w 608"/>
                <a:gd name="T103" fmla="*/ 754 h 855"/>
                <a:gd name="T104" fmla="*/ 593 w 608"/>
                <a:gd name="T105" fmla="*/ 727 h 855"/>
                <a:gd name="T106" fmla="*/ 605 w 608"/>
                <a:gd name="T107" fmla="*/ 695 h 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08" h="855">
                  <a:moveTo>
                    <a:pt x="606" y="684"/>
                  </a:moveTo>
                  <a:cubicBezTo>
                    <a:pt x="606" y="683"/>
                    <a:pt x="606" y="683"/>
                    <a:pt x="606" y="682"/>
                  </a:cubicBezTo>
                  <a:cubicBezTo>
                    <a:pt x="605" y="681"/>
                    <a:pt x="605" y="680"/>
                    <a:pt x="605" y="680"/>
                  </a:cubicBezTo>
                  <a:cubicBezTo>
                    <a:pt x="605" y="677"/>
                    <a:pt x="605" y="670"/>
                    <a:pt x="599" y="670"/>
                  </a:cubicBezTo>
                  <a:cubicBezTo>
                    <a:pt x="599" y="670"/>
                    <a:pt x="596" y="670"/>
                    <a:pt x="596" y="670"/>
                  </a:cubicBezTo>
                  <a:cubicBezTo>
                    <a:pt x="596" y="674"/>
                    <a:pt x="596" y="674"/>
                    <a:pt x="596" y="674"/>
                  </a:cubicBezTo>
                  <a:cubicBezTo>
                    <a:pt x="595" y="684"/>
                    <a:pt x="594" y="689"/>
                    <a:pt x="591" y="689"/>
                  </a:cubicBezTo>
                  <a:cubicBezTo>
                    <a:pt x="590" y="689"/>
                    <a:pt x="590" y="689"/>
                    <a:pt x="590" y="689"/>
                  </a:cubicBezTo>
                  <a:cubicBezTo>
                    <a:pt x="587" y="689"/>
                    <a:pt x="586" y="694"/>
                    <a:pt x="585" y="698"/>
                  </a:cubicBezTo>
                  <a:cubicBezTo>
                    <a:pt x="584" y="696"/>
                    <a:pt x="582" y="695"/>
                    <a:pt x="581" y="693"/>
                  </a:cubicBezTo>
                  <a:cubicBezTo>
                    <a:pt x="580" y="693"/>
                    <a:pt x="580" y="692"/>
                    <a:pt x="579" y="691"/>
                  </a:cubicBezTo>
                  <a:cubicBezTo>
                    <a:pt x="577" y="689"/>
                    <a:pt x="577" y="687"/>
                    <a:pt x="577" y="684"/>
                  </a:cubicBezTo>
                  <a:cubicBezTo>
                    <a:pt x="577" y="682"/>
                    <a:pt x="576" y="680"/>
                    <a:pt x="576" y="678"/>
                  </a:cubicBezTo>
                  <a:cubicBezTo>
                    <a:pt x="574" y="673"/>
                    <a:pt x="571" y="670"/>
                    <a:pt x="567" y="667"/>
                  </a:cubicBezTo>
                  <a:cubicBezTo>
                    <a:pt x="565" y="665"/>
                    <a:pt x="563" y="664"/>
                    <a:pt x="561" y="661"/>
                  </a:cubicBezTo>
                  <a:cubicBezTo>
                    <a:pt x="559" y="658"/>
                    <a:pt x="559" y="654"/>
                    <a:pt x="559" y="650"/>
                  </a:cubicBezTo>
                  <a:cubicBezTo>
                    <a:pt x="558" y="647"/>
                    <a:pt x="558" y="643"/>
                    <a:pt x="556" y="639"/>
                  </a:cubicBezTo>
                  <a:cubicBezTo>
                    <a:pt x="554" y="634"/>
                    <a:pt x="550" y="632"/>
                    <a:pt x="547" y="631"/>
                  </a:cubicBezTo>
                  <a:cubicBezTo>
                    <a:pt x="545" y="631"/>
                    <a:pt x="543" y="630"/>
                    <a:pt x="542" y="629"/>
                  </a:cubicBezTo>
                  <a:cubicBezTo>
                    <a:pt x="538" y="625"/>
                    <a:pt x="535" y="622"/>
                    <a:pt x="535" y="618"/>
                  </a:cubicBezTo>
                  <a:cubicBezTo>
                    <a:pt x="535" y="616"/>
                    <a:pt x="535" y="616"/>
                    <a:pt x="535" y="616"/>
                  </a:cubicBezTo>
                  <a:cubicBezTo>
                    <a:pt x="534" y="612"/>
                    <a:pt x="534" y="603"/>
                    <a:pt x="526" y="603"/>
                  </a:cubicBezTo>
                  <a:cubicBezTo>
                    <a:pt x="525" y="603"/>
                    <a:pt x="525" y="604"/>
                    <a:pt x="524" y="604"/>
                  </a:cubicBezTo>
                  <a:cubicBezTo>
                    <a:pt x="522" y="604"/>
                    <a:pt x="521" y="605"/>
                    <a:pt x="520" y="606"/>
                  </a:cubicBezTo>
                  <a:cubicBezTo>
                    <a:pt x="519" y="606"/>
                    <a:pt x="519" y="606"/>
                    <a:pt x="519" y="606"/>
                  </a:cubicBezTo>
                  <a:cubicBezTo>
                    <a:pt x="519" y="606"/>
                    <a:pt x="519" y="606"/>
                    <a:pt x="519" y="606"/>
                  </a:cubicBezTo>
                  <a:cubicBezTo>
                    <a:pt x="518" y="606"/>
                    <a:pt x="516" y="604"/>
                    <a:pt x="516" y="604"/>
                  </a:cubicBezTo>
                  <a:cubicBezTo>
                    <a:pt x="515" y="603"/>
                    <a:pt x="515" y="603"/>
                    <a:pt x="515" y="603"/>
                  </a:cubicBezTo>
                  <a:cubicBezTo>
                    <a:pt x="510" y="598"/>
                    <a:pt x="511" y="595"/>
                    <a:pt x="512" y="592"/>
                  </a:cubicBezTo>
                  <a:cubicBezTo>
                    <a:pt x="513" y="590"/>
                    <a:pt x="515" y="589"/>
                    <a:pt x="516" y="588"/>
                  </a:cubicBezTo>
                  <a:cubicBezTo>
                    <a:pt x="519" y="587"/>
                    <a:pt x="522" y="585"/>
                    <a:pt x="523" y="580"/>
                  </a:cubicBezTo>
                  <a:cubicBezTo>
                    <a:pt x="525" y="575"/>
                    <a:pt x="524" y="567"/>
                    <a:pt x="521" y="562"/>
                  </a:cubicBezTo>
                  <a:cubicBezTo>
                    <a:pt x="521" y="562"/>
                    <a:pt x="516" y="554"/>
                    <a:pt x="511" y="554"/>
                  </a:cubicBezTo>
                  <a:cubicBezTo>
                    <a:pt x="511" y="554"/>
                    <a:pt x="511" y="554"/>
                    <a:pt x="511" y="554"/>
                  </a:cubicBezTo>
                  <a:cubicBezTo>
                    <a:pt x="510" y="555"/>
                    <a:pt x="510" y="555"/>
                    <a:pt x="510" y="555"/>
                  </a:cubicBezTo>
                  <a:cubicBezTo>
                    <a:pt x="507" y="555"/>
                    <a:pt x="506" y="557"/>
                    <a:pt x="506" y="561"/>
                  </a:cubicBezTo>
                  <a:cubicBezTo>
                    <a:pt x="506" y="561"/>
                    <a:pt x="506" y="561"/>
                    <a:pt x="506" y="561"/>
                  </a:cubicBezTo>
                  <a:cubicBezTo>
                    <a:pt x="506" y="561"/>
                    <a:pt x="506" y="561"/>
                    <a:pt x="506" y="561"/>
                  </a:cubicBezTo>
                  <a:cubicBezTo>
                    <a:pt x="504" y="561"/>
                    <a:pt x="501" y="555"/>
                    <a:pt x="500" y="551"/>
                  </a:cubicBezTo>
                  <a:cubicBezTo>
                    <a:pt x="500" y="550"/>
                    <a:pt x="500" y="550"/>
                    <a:pt x="500" y="549"/>
                  </a:cubicBezTo>
                  <a:cubicBezTo>
                    <a:pt x="499" y="547"/>
                    <a:pt x="499" y="543"/>
                    <a:pt x="494" y="542"/>
                  </a:cubicBezTo>
                  <a:cubicBezTo>
                    <a:pt x="493" y="541"/>
                    <a:pt x="492" y="541"/>
                    <a:pt x="491" y="541"/>
                  </a:cubicBezTo>
                  <a:cubicBezTo>
                    <a:pt x="487" y="541"/>
                    <a:pt x="485" y="543"/>
                    <a:pt x="484" y="547"/>
                  </a:cubicBezTo>
                  <a:cubicBezTo>
                    <a:pt x="484" y="548"/>
                    <a:pt x="484" y="549"/>
                    <a:pt x="484" y="550"/>
                  </a:cubicBezTo>
                  <a:cubicBezTo>
                    <a:pt x="483" y="549"/>
                    <a:pt x="481" y="548"/>
                    <a:pt x="479" y="548"/>
                  </a:cubicBezTo>
                  <a:cubicBezTo>
                    <a:pt x="479" y="548"/>
                    <a:pt x="479" y="548"/>
                    <a:pt x="478" y="548"/>
                  </a:cubicBezTo>
                  <a:cubicBezTo>
                    <a:pt x="477" y="548"/>
                    <a:pt x="477" y="548"/>
                    <a:pt x="477" y="548"/>
                  </a:cubicBezTo>
                  <a:cubicBezTo>
                    <a:pt x="476" y="549"/>
                    <a:pt x="476" y="549"/>
                    <a:pt x="476" y="549"/>
                  </a:cubicBezTo>
                  <a:cubicBezTo>
                    <a:pt x="476" y="545"/>
                    <a:pt x="476" y="540"/>
                    <a:pt x="474" y="535"/>
                  </a:cubicBezTo>
                  <a:cubicBezTo>
                    <a:pt x="472" y="528"/>
                    <a:pt x="472" y="521"/>
                    <a:pt x="472" y="516"/>
                  </a:cubicBezTo>
                  <a:cubicBezTo>
                    <a:pt x="472" y="510"/>
                    <a:pt x="470" y="506"/>
                    <a:pt x="469" y="501"/>
                  </a:cubicBezTo>
                  <a:cubicBezTo>
                    <a:pt x="468" y="499"/>
                    <a:pt x="467" y="497"/>
                    <a:pt x="467" y="495"/>
                  </a:cubicBezTo>
                  <a:cubicBezTo>
                    <a:pt x="465" y="490"/>
                    <a:pt x="461" y="485"/>
                    <a:pt x="457" y="481"/>
                  </a:cubicBezTo>
                  <a:cubicBezTo>
                    <a:pt x="453" y="477"/>
                    <a:pt x="449" y="473"/>
                    <a:pt x="449" y="469"/>
                  </a:cubicBezTo>
                  <a:cubicBezTo>
                    <a:pt x="449" y="468"/>
                    <a:pt x="449" y="468"/>
                    <a:pt x="449" y="468"/>
                  </a:cubicBezTo>
                  <a:cubicBezTo>
                    <a:pt x="451" y="468"/>
                    <a:pt x="452" y="467"/>
                    <a:pt x="454" y="467"/>
                  </a:cubicBezTo>
                  <a:cubicBezTo>
                    <a:pt x="457" y="467"/>
                    <a:pt x="457" y="467"/>
                    <a:pt x="457" y="467"/>
                  </a:cubicBezTo>
                  <a:cubicBezTo>
                    <a:pt x="456" y="464"/>
                    <a:pt x="456" y="464"/>
                    <a:pt x="456" y="464"/>
                  </a:cubicBezTo>
                  <a:cubicBezTo>
                    <a:pt x="455" y="457"/>
                    <a:pt x="452" y="454"/>
                    <a:pt x="449" y="450"/>
                  </a:cubicBezTo>
                  <a:cubicBezTo>
                    <a:pt x="448" y="450"/>
                    <a:pt x="447" y="449"/>
                    <a:pt x="447" y="448"/>
                  </a:cubicBezTo>
                  <a:cubicBezTo>
                    <a:pt x="445" y="445"/>
                    <a:pt x="442" y="442"/>
                    <a:pt x="438" y="441"/>
                  </a:cubicBezTo>
                  <a:cubicBezTo>
                    <a:pt x="436" y="441"/>
                    <a:pt x="436" y="441"/>
                    <a:pt x="436" y="441"/>
                  </a:cubicBezTo>
                  <a:cubicBezTo>
                    <a:pt x="432" y="438"/>
                    <a:pt x="428" y="435"/>
                    <a:pt x="423" y="432"/>
                  </a:cubicBezTo>
                  <a:cubicBezTo>
                    <a:pt x="421" y="431"/>
                    <a:pt x="420" y="431"/>
                    <a:pt x="418" y="430"/>
                  </a:cubicBezTo>
                  <a:cubicBezTo>
                    <a:pt x="414" y="428"/>
                    <a:pt x="411" y="427"/>
                    <a:pt x="409" y="423"/>
                  </a:cubicBezTo>
                  <a:cubicBezTo>
                    <a:pt x="409" y="422"/>
                    <a:pt x="409" y="420"/>
                    <a:pt x="408" y="419"/>
                  </a:cubicBezTo>
                  <a:cubicBezTo>
                    <a:pt x="408" y="418"/>
                    <a:pt x="408" y="416"/>
                    <a:pt x="407" y="415"/>
                  </a:cubicBezTo>
                  <a:cubicBezTo>
                    <a:pt x="405" y="411"/>
                    <a:pt x="403" y="409"/>
                    <a:pt x="399" y="409"/>
                  </a:cubicBezTo>
                  <a:cubicBezTo>
                    <a:pt x="398" y="409"/>
                    <a:pt x="396" y="409"/>
                    <a:pt x="395" y="410"/>
                  </a:cubicBezTo>
                  <a:cubicBezTo>
                    <a:pt x="394" y="410"/>
                    <a:pt x="393" y="410"/>
                    <a:pt x="392" y="410"/>
                  </a:cubicBezTo>
                  <a:cubicBezTo>
                    <a:pt x="391" y="408"/>
                    <a:pt x="389" y="406"/>
                    <a:pt x="387" y="405"/>
                  </a:cubicBezTo>
                  <a:cubicBezTo>
                    <a:pt x="385" y="404"/>
                    <a:pt x="383" y="403"/>
                    <a:pt x="383" y="401"/>
                  </a:cubicBezTo>
                  <a:cubicBezTo>
                    <a:pt x="379" y="397"/>
                    <a:pt x="376" y="396"/>
                    <a:pt x="373" y="395"/>
                  </a:cubicBezTo>
                  <a:cubicBezTo>
                    <a:pt x="372" y="394"/>
                    <a:pt x="370" y="394"/>
                    <a:pt x="369" y="393"/>
                  </a:cubicBezTo>
                  <a:cubicBezTo>
                    <a:pt x="365" y="391"/>
                    <a:pt x="363" y="389"/>
                    <a:pt x="360" y="386"/>
                  </a:cubicBezTo>
                  <a:cubicBezTo>
                    <a:pt x="358" y="384"/>
                    <a:pt x="358" y="384"/>
                    <a:pt x="358" y="384"/>
                  </a:cubicBezTo>
                  <a:cubicBezTo>
                    <a:pt x="356" y="381"/>
                    <a:pt x="356" y="378"/>
                    <a:pt x="356" y="375"/>
                  </a:cubicBezTo>
                  <a:cubicBezTo>
                    <a:pt x="356" y="373"/>
                    <a:pt x="356" y="372"/>
                    <a:pt x="356" y="370"/>
                  </a:cubicBezTo>
                  <a:cubicBezTo>
                    <a:pt x="356" y="364"/>
                    <a:pt x="353" y="358"/>
                    <a:pt x="350" y="353"/>
                  </a:cubicBezTo>
                  <a:cubicBezTo>
                    <a:pt x="350" y="351"/>
                    <a:pt x="350" y="351"/>
                    <a:pt x="350" y="351"/>
                  </a:cubicBezTo>
                  <a:cubicBezTo>
                    <a:pt x="348" y="348"/>
                    <a:pt x="350" y="344"/>
                    <a:pt x="352" y="340"/>
                  </a:cubicBezTo>
                  <a:cubicBezTo>
                    <a:pt x="352" y="338"/>
                    <a:pt x="353" y="336"/>
                    <a:pt x="354" y="334"/>
                  </a:cubicBezTo>
                  <a:cubicBezTo>
                    <a:pt x="355" y="329"/>
                    <a:pt x="354" y="325"/>
                    <a:pt x="353" y="321"/>
                  </a:cubicBezTo>
                  <a:cubicBezTo>
                    <a:pt x="352" y="318"/>
                    <a:pt x="352" y="315"/>
                    <a:pt x="352" y="312"/>
                  </a:cubicBezTo>
                  <a:cubicBezTo>
                    <a:pt x="352" y="301"/>
                    <a:pt x="351" y="298"/>
                    <a:pt x="345" y="290"/>
                  </a:cubicBezTo>
                  <a:cubicBezTo>
                    <a:pt x="343" y="287"/>
                    <a:pt x="343" y="287"/>
                    <a:pt x="343" y="287"/>
                  </a:cubicBezTo>
                  <a:cubicBezTo>
                    <a:pt x="340" y="284"/>
                    <a:pt x="337" y="280"/>
                    <a:pt x="335" y="277"/>
                  </a:cubicBezTo>
                  <a:cubicBezTo>
                    <a:pt x="334" y="274"/>
                    <a:pt x="334" y="273"/>
                    <a:pt x="334" y="270"/>
                  </a:cubicBezTo>
                  <a:cubicBezTo>
                    <a:pt x="334" y="269"/>
                    <a:pt x="334" y="267"/>
                    <a:pt x="334" y="266"/>
                  </a:cubicBezTo>
                  <a:cubicBezTo>
                    <a:pt x="334" y="261"/>
                    <a:pt x="333" y="255"/>
                    <a:pt x="332" y="250"/>
                  </a:cubicBezTo>
                  <a:cubicBezTo>
                    <a:pt x="331" y="245"/>
                    <a:pt x="331" y="241"/>
                    <a:pt x="330" y="236"/>
                  </a:cubicBezTo>
                  <a:cubicBezTo>
                    <a:pt x="330" y="234"/>
                    <a:pt x="330" y="233"/>
                    <a:pt x="330" y="231"/>
                  </a:cubicBezTo>
                  <a:cubicBezTo>
                    <a:pt x="330" y="227"/>
                    <a:pt x="330" y="223"/>
                    <a:pt x="331" y="219"/>
                  </a:cubicBezTo>
                  <a:cubicBezTo>
                    <a:pt x="331" y="218"/>
                    <a:pt x="331" y="217"/>
                    <a:pt x="331" y="216"/>
                  </a:cubicBezTo>
                  <a:cubicBezTo>
                    <a:pt x="332" y="212"/>
                    <a:pt x="333" y="207"/>
                    <a:pt x="330" y="202"/>
                  </a:cubicBezTo>
                  <a:cubicBezTo>
                    <a:pt x="327" y="197"/>
                    <a:pt x="321" y="192"/>
                    <a:pt x="317" y="188"/>
                  </a:cubicBezTo>
                  <a:cubicBezTo>
                    <a:pt x="315" y="187"/>
                    <a:pt x="313" y="186"/>
                    <a:pt x="312" y="186"/>
                  </a:cubicBezTo>
                  <a:cubicBezTo>
                    <a:pt x="308" y="184"/>
                    <a:pt x="307" y="183"/>
                    <a:pt x="306" y="181"/>
                  </a:cubicBezTo>
                  <a:cubicBezTo>
                    <a:pt x="306" y="179"/>
                    <a:pt x="306" y="178"/>
                    <a:pt x="306" y="176"/>
                  </a:cubicBezTo>
                  <a:cubicBezTo>
                    <a:pt x="306" y="173"/>
                    <a:pt x="306" y="167"/>
                    <a:pt x="297" y="166"/>
                  </a:cubicBezTo>
                  <a:cubicBezTo>
                    <a:pt x="292" y="166"/>
                    <a:pt x="286" y="169"/>
                    <a:pt x="281" y="173"/>
                  </a:cubicBezTo>
                  <a:cubicBezTo>
                    <a:pt x="279" y="174"/>
                    <a:pt x="277" y="175"/>
                    <a:pt x="275" y="175"/>
                  </a:cubicBezTo>
                  <a:cubicBezTo>
                    <a:pt x="272" y="175"/>
                    <a:pt x="269" y="172"/>
                    <a:pt x="266" y="163"/>
                  </a:cubicBezTo>
                  <a:cubicBezTo>
                    <a:pt x="263" y="152"/>
                    <a:pt x="261" y="140"/>
                    <a:pt x="262" y="127"/>
                  </a:cubicBezTo>
                  <a:cubicBezTo>
                    <a:pt x="262" y="118"/>
                    <a:pt x="262" y="110"/>
                    <a:pt x="259" y="103"/>
                  </a:cubicBezTo>
                  <a:cubicBezTo>
                    <a:pt x="259" y="102"/>
                    <a:pt x="258" y="100"/>
                    <a:pt x="258" y="98"/>
                  </a:cubicBezTo>
                  <a:cubicBezTo>
                    <a:pt x="257" y="94"/>
                    <a:pt x="255" y="89"/>
                    <a:pt x="252" y="86"/>
                  </a:cubicBezTo>
                  <a:cubicBezTo>
                    <a:pt x="248" y="81"/>
                    <a:pt x="248" y="81"/>
                    <a:pt x="251" y="74"/>
                  </a:cubicBezTo>
                  <a:cubicBezTo>
                    <a:pt x="253" y="66"/>
                    <a:pt x="251" y="64"/>
                    <a:pt x="246" y="60"/>
                  </a:cubicBezTo>
                  <a:cubicBezTo>
                    <a:pt x="245" y="60"/>
                    <a:pt x="244" y="59"/>
                    <a:pt x="243" y="58"/>
                  </a:cubicBezTo>
                  <a:cubicBezTo>
                    <a:pt x="238" y="54"/>
                    <a:pt x="238" y="44"/>
                    <a:pt x="238" y="36"/>
                  </a:cubicBezTo>
                  <a:cubicBezTo>
                    <a:pt x="238" y="34"/>
                    <a:pt x="238" y="32"/>
                    <a:pt x="238" y="30"/>
                  </a:cubicBezTo>
                  <a:cubicBezTo>
                    <a:pt x="238" y="25"/>
                    <a:pt x="235" y="22"/>
                    <a:pt x="233" y="18"/>
                  </a:cubicBezTo>
                  <a:cubicBezTo>
                    <a:pt x="233" y="17"/>
                    <a:pt x="233" y="17"/>
                    <a:pt x="233" y="17"/>
                  </a:cubicBezTo>
                  <a:cubicBezTo>
                    <a:pt x="232" y="16"/>
                    <a:pt x="232" y="14"/>
                    <a:pt x="232" y="12"/>
                  </a:cubicBezTo>
                  <a:cubicBezTo>
                    <a:pt x="232" y="8"/>
                    <a:pt x="232" y="1"/>
                    <a:pt x="22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0" y="0"/>
                    <a:pt x="217" y="4"/>
                    <a:pt x="216" y="7"/>
                  </a:cubicBezTo>
                  <a:cubicBezTo>
                    <a:pt x="215" y="9"/>
                    <a:pt x="214" y="11"/>
                    <a:pt x="213" y="12"/>
                  </a:cubicBezTo>
                  <a:cubicBezTo>
                    <a:pt x="212" y="12"/>
                    <a:pt x="211" y="12"/>
                    <a:pt x="211" y="13"/>
                  </a:cubicBezTo>
                  <a:cubicBezTo>
                    <a:pt x="208" y="14"/>
                    <a:pt x="204" y="15"/>
                    <a:pt x="202" y="19"/>
                  </a:cubicBezTo>
                  <a:cubicBezTo>
                    <a:pt x="201" y="22"/>
                    <a:pt x="201" y="24"/>
                    <a:pt x="202" y="27"/>
                  </a:cubicBezTo>
                  <a:cubicBezTo>
                    <a:pt x="202" y="29"/>
                    <a:pt x="202" y="31"/>
                    <a:pt x="202" y="32"/>
                  </a:cubicBezTo>
                  <a:cubicBezTo>
                    <a:pt x="199" y="44"/>
                    <a:pt x="192" y="55"/>
                    <a:pt x="182" y="65"/>
                  </a:cubicBezTo>
                  <a:cubicBezTo>
                    <a:pt x="176" y="70"/>
                    <a:pt x="178" y="75"/>
                    <a:pt x="181" y="80"/>
                  </a:cubicBezTo>
                  <a:cubicBezTo>
                    <a:pt x="184" y="87"/>
                    <a:pt x="184" y="88"/>
                    <a:pt x="181" y="94"/>
                  </a:cubicBezTo>
                  <a:cubicBezTo>
                    <a:pt x="180" y="95"/>
                    <a:pt x="180" y="95"/>
                    <a:pt x="180" y="95"/>
                  </a:cubicBezTo>
                  <a:cubicBezTo>
                    <a:pt x="180" y="97"/>
                    <a:pt x="179" y="98"/>
                    <a:pt x="178" y="99"/>
                  </a:cubicBezTo>
                  <a:cubicBezTo>
                    <a:pt x="178" y="99"/>
                    <a:pt x="177" y="100"/>
                    <a:pt x="177" y="100"/>
                  </a:cubicBezTo>
                  <a:cubicBezTo>
                    <a:pt x="175" y="101"/>
                    <a:pt x="173" y="102"/>
                    <a:pt x="173" y="106"/>
                  </a:cubicBezTo>
                  <a:cubicBezTo>
                    <a:pt x="173" y="108"/>
                    <a:pt x="173" y="111"/>
                    <a:pt x="174" y="113"/>
                  </a:cubicBezTo>
                  <a:cubicBezTo>
                    <a:pt x="174" y="115"/>
                    <a:pt x="175" y="117"/>
                    <a:pt x="174" y="119"/>
                  </a:cubicBezTo>
                  <a:cubicBezTo>
                    <a:pt x="174" y="121"/>
                    <a:pt x="172" y="125"/>
                    <a:pt x="170" y="130"/>
                  </a:cubicBezTo>
                  <a:cubicBezTo>
                    <a:pt x="166" y="137"/>
                    <a:pt x="161" y="145"/>
                    <a:pt x="168" y="154"/>
                  </a:cubicBezTo>
                  <a:cubicBezTo>
                    <a:pt x="170" y="157"/>
                    <a:pt x="170" y="158"/>
                    <a:pt x="167" y="162"/>
                  </a:cubicBezTo>
                  <a:cubicBezTo>
                    <a:pt x="166" y="165"/>
                    <a:pt x="164" y="168"/>
                    <a:pt x="164" y="172"/>
                  </a:cubicBezTo>
                  <a:cubicBezTo>
                    <a:pt x="163" y="177"/>
                    <a:pt x="164" y="182"/>
                    <a:pt x="165" y="185"/>
                  </a:cubicBezTo>
                  <a:cubicBezTo>
                    <a:pt x="166" y="187"/>
                    <a:pt x="167" y="188"/>
                    <a:pt x="168" y="189"/>
                  </a:cubicBezTo>
                  <a:cubicBezTo>
                    <a:pt x="169" y="191"/>
                    <a:pt x="170" y="193"/>
                    <a:pt x="170" y="194"/>
                  </a:cubicBezTo>
                  <a:cubicBezTo>
                    <a:pt x="170" y="199"/>
                    <a:pt x="167" y="203"/>
                    <a:pt x="165" y="207"/>
                  </a:cubicBezTo>
                  <a:cubicBezTo>
                    <a:pt x="163" y="212"/>
                    <a:pt x="160" y="217"/>
                    <a:pt x="160" y="223"/>
                  </a:cubicBezTo>
                  <a:cubicBezTo>
                    <a:pt x="158" y="240"/>
                    <a:pt x="151" y="259"/>
                    <a:pt x="139" y="274"/>
                  </a:cubicBezTo>
                  <a:cubicBezTo>
                    <a:pt x="136" y="278"/>
                    <a:pt x="136" y="282"/>
                    <a:pt x="135" y="286"/>
                  </a:cubicBezTo>
                  <a:cubicBezTo>
                    <a:pt x="135" y="290"/>
                    <a:pt x="134" y="294"/>
                    <a:pt x="132" y="296"/>
                  </a:cubicBezTo>
                  <a:cubicBezTo>
                    <a:pt x="131" y="296"/>
                    <a:pt x="130" y="297"/>
                    <a:pt x="129" y="297"/>
                  </a:cubicBezTo>
                  <a:cubicBezTo>
                    <a:pt x="128" y="298"/>
                    <a:pt x="126" y="298"/>
                    <a:pt x="125" y="299"/>
                  </a:cubicBezTo>
                  <a:cubicBezTo>
                    <a:pt x="124" y="300"/>
                    <a:pt x="123" y="301"/>
                    <a:pt x="122" y="302"/>
                  </a:cubicBezTo>
                  <a:cubicBezTo>
                    <a:pt x="119" y="304"/>
                    <a:pt x="117" y="306"/>
                    <a:pt x="114" y="307"/>
                  </a:cubicBezTo>
                  <a:cubicBezTo>
                    <a:pt x="112" y="307"/>
                    <a:pt x="110" y="308"/>
                    <a:pt x="108" y="308"/>
                  </a:cubicBezTo>
                  <a:cubicBezTo>
                    <a:pt x="97" y="308"/>
                    <a:pt x="88" y="301"/>
                    <a:pt x="79" y="294"/>
                  </a:cubicBezTo>
                  <a:cubicBezTo>
                    <a:pt x="76" y="292"/>
                    <a:pt x="74" y="290"/>
                    <a:pt x="72" y="289"/>
                  </a:cubicBezTo>
                  <a:cubicBezTo>
                    <a:pt x="70" y="288"/>
                    <a:pt x="69" y="287"/>
                    <a:pt x="68" y="287"/>
                  </a:cubicBezTo>
                  <a:cubicBezTo>
                    <a:pt x="66" y="285"/>
                    <a:pt x="64" y="285"/>
                    <a:pt x="63" y="282"/>
                  </a:cubicBezTo>
                  <a:cubicBezTo>
                    <a:pt x="62" y="281"/>
                    <a:pt x="62" y="280"/>
                    <a:pt x="62" y="279"/>
                  </a:cubicBezTo>
                  <a:cubicBezTo>
                    <a:pt x="60" y="274"/>
                    <a:pt x="58" y="271"/>
                    <a:pt x="52" y="267"/>
                  </a:cubicBezTo>
                  <a:cubicBezTo>
                    <a:pt x="47" y="265"/>
                    <a:pt x="41" y="264"/>
                    <a:pt x="36" y="264"/>
                  </a:cubicBezTo>
                  <a:cubicBezTo>
                    <a:pt x="30" y="263"/>
                    <a:pt x="25" y="263"/>
                    <a:pt x="20" y="260"/>
                  </a:cubicBezTo>
                  <a:cubicBezTo>
                    <a:pt x="16" y="257"/>
                    <a:pt x="16" y="257"/>
                    <a:pt x="16" y="257"/>
                  </a:cubicBezTo>
                  <a:cubicBezTo>
                    <a:pt x="0" y="668"/>
                    <a:pt x="0" y="668"/>
                    <a:pt x="0" y="668"/>
                  </a:cubicBezTo>
                  <a:cubicBezTo>
                    <a:pt x="3" y="668"/>
                    <a:pt x="3" y="668"/>
                    <a:pt x="3" y="668"/>
                  </a:cubicBezTo>
                  <a:cubicBezTo>
                    <a:pt x="60" y="670"/>
                    <a:pt x="99" y="672"/>
                    <a:pt x="118" y="676"/>
                  </a:cubicBezTo>
                  <a:cubicBezTo>
                    <a:pt x="110" y="804"/>
                    <a:pt x="110" y="804"/>
                    <a:pt x="110" y="804"/>
                  </a:cubicBezTo>
                  <a:cubicBezTo>
                    <a:pt x="112" y="805"/>
                    <a:pt x="112" y="805"/>
                    <a:pt x="112" y="805"/>
                  </a:cubicBezTo>
                  <a:cubicBezTo>
                    <a:pt x="137" y="808"/>
                    <a:pt x="162" y="810"/>
                    <a:pt x="184" y="812"/>
                  </a:cubicBezTo>
                  <a:cubicBezTo>
                    <a:pt x="185" y="812"/>
                    <a:pt x="185" y="812"/>
                    <a:pt x="185" y="812"/>
                  </a:cubicBezTo>
                  <a:cubicBezTo>
                    <a:pt x="193" y="812"/>
                    <a:pt x="200" y="813"/>
                    <a:pt x="208" y="814"/>
                  </a:cubicBezTo>
                  <a:cubicBezTo>
                    <a:pt x="233" y="816"/>
                    <a:pt x="258" y="819"/>
                    <a:pt x="282" y="821"/>
                  </a:cubicBezTo>
                  <a:cubicBezTo>
                    <a:pt x="311" y="825"/>
                    <a:pt x="340" y="828"/>
                    <a:pt x="369" y="830"/>
                  </a:cubicBezTo>
                  <a:cubicBezTo>
                    <a:pt x="371" y="830"/>
                    <a:pt x="373" y="830"/>
                    <a:pt x="376" y="830"/>
                  </a:cubicBezTo>
                  <a:cubicBezTo>
                    <a:pt x="377" y="831"/>
                    <a:pt x="377" y="831"/>
                    <a:pt x="377" y="831"/>
                  </a:cubicBezTo>
                  <a:cubicBezTo>
                    <a:pt x="384" y="831"/>
                    <a:pt x="391" y="831"/>
                    <a:pt x="398" y="833"/>
                  </a:cubicBezTo>
                  <a:cubicBezTo>
                    <a:pt x="400" y="833"/>
                    <a:pt x="401" y="833"/>
                    <a:pt x="403" y="833"/>
                  </a:cubicBezTo>
                  <a:cubicBezTo>
                    <a:pt x="409" y="833"/>
                    <a:pt x="415" y="830"/>
                    <a:pt x="420" y="827"/>
                  </a:cubicBezTo>
                  <a:cubicBezTo>
                    <a:pt x="425" y="825"/>
                    <a:pt x="430" y="822"/>
                    <a:pt x="436" y="821"/>
                  </a:cubicBezTo>
                  <a:cubicBezTo>
                    <a:pt x="437" y="821"/>
                    <a:pt x="439" y="821"/>
                    <a:pt x="440" y="821"/>
                  </a:cubicBezTo>
                  <a:cubicBezTo>
                    <a:pt x="448" y="821"/>
                    <a:pt x="455" y="823"/>
                    <a:pt x="462" y="825"/>
                  </a:cubicBezTo>
                  <a:cubicBezTo>
                    <a:pt x="465" y="826"/>
                    <a:pt x="465" y="826"/>
                    <a:pt x="465" y="826"/>
                  </a:cubicBezTo>
                  <a:cubicBezTo>
                    <a:pt x="473" y="828"/>
                    <a:pt x="481" y="830"/>
                    <a:pt x="488" y="835"/>
                  </a:cubicBezTo>
                  <a:cubicBezTo>
                    <a:pt x="490" y="836"/>
                    <a:pt x="496" y="839"/>
                    <a:pt x="497" y="844"/>
                  </a:cubicBezTo>
                  <a:cubicBezTo>
                    <a:pt x="498" y="845"/>
                    <a:pt x="497" y="846"/>
                    <a:pt x="497" y="848"/>
                  </a:cubicBezTo>
                  <a:cubicBezTo>
                    <a:pt x="497" y="850"/>
                    <a:pt x="497" y="851"/>
                    <a:pt x="497" y="852"/>
                  </a:cubicBezTo>
                  <a:cubicBezTo>
                    <a:pt x="497" y="853"/>
                    <a:pt x="497" y="853"/>
                    <a:pt x="497" y="853"/>
                  </a:cubicBezTo>
                  <a:cubicBezTo>
                    <a:pt x="498" y="854"/>
                    <a:pt x="498" y="854"/>
                    <a:pt x="498" y="854"/>
                  </a:cubicBezTo>
                  <a:cubicBezTo>
                    <a:pt x="498" y="854"/>
                    <a:pt x="499" y="855"/>
                    <a:pt x="500" y="855"/>
                  </a:cubicBezTo>
                  <a:cubicBezTo>
                    <a:pt x="501" y="855"/>
                    <a:pt x="501" y="855"/>
                    <a:pt x="501" y="855"/>
                  </a:cubicBezTo>
                  <a:cubicBezTo>
                    <a:pt x="502" y="855"/>
                    <a:pt x="504" y="854"/>
                    <a:pt x="507" y="851"/>
                  </a:cubicBezTo>
                  <a:cubicBezTo>
                    <a:pt x="508" y="850"/>
                    <a:pt x="509" y="849"/>
                    <a:pt x="510" y="849"/>
                  </a:cubicBezTo>
                  <a:cubicBezTo>
                    <a:pt x="512" y="847"/>
                    <a:pt x="514" y="847"/>
                    <a:pt x="515" y="847"/>
                  </a:cubicBezTo>
                  <a:cubicBezTo>
                    <a:pt x="516" y="847"/>
                    <a:pt x="516" y="847"/>
                    <a:pt x="517" y="847"/>
                  </a:cubicBezTo>
                  <a:cubicBezTo>
                    <a:pt x="517" y="847"/>
                    <a:pt x="518" y="847"/>
                    <a:pt x="518" y="847"/>
                  </a:cubicBezTo>
                  <a:cubicBezTo>
                    <a:pt x="519" y="847"/>
                    <a:pt x="520" y="847"/>
                    <a:pt x="521" y="847"/>
                  </a:cubicBezTo>
                  <a:cubicBezTo>
                    <a:pt x="524" y="846"/>
                    <a:pt x="526" y="844"/>
                    <a:pt x="528" y="841"/>
                  </a:cubicBezTo>
                  <a:cubicBezTo>
                    <a:pt x="530" y="837"/>
                    <a:pt x="530" y="833"/>
                    <a:pt x="529" y="829"/>
                  </a:cubicBezTo>
                  <a:cubicBezTo>
                    <a:pt x="534" y="827"/>
                    <a:pt x="541" y="825"/>
                    <a:pt x="547" y="824"/>
                  </a:cubicBezTo>
                  <a:cubicBezTo>
                    <a:pt x="548" y="824"/>
                    <a:pt x="549" y="824"/>
                    <a:pt x="550" y="824"/>
                  </a:cubicBezTo>
                  <a:cubicBezTo>
                    <a:pt x="553" y="824"/>
                    <a:pt x="556" y="825"/>
                    <a:pt x="558" y="826"/>
                  </a:cubicBezTo>
                  <a:cubicBezTo>
                    <a:pt x="560" y="827"/>
                    <a:pt x="562" y="827"/>
                    <a:pt x="564" y="828"/>
                  </a:cubicBezTo>
                  <a:cubicBezTo>
                    <a:pt x="566" y="828"/>
                    <a:pt x="568" y="828"/>
                    <a:pt x="569" y="828"/>
                  </a:cubicBezTo>
                  <a:cubicBezTo>
                    <a:pt x="577" y="828"/>
                    <a:pt x="583" y="825"/>
                    <a:pt x="588" y="823"/>
                  </a:cubicBezTo>
                  <a:cubicBezTo>
                    <a:pt x="589" y="821"/>
                    <a:pt x="589" y="821"/>
                    <a:pt x="589" y="821"/>
                  </a:cubicBezTo>
                  <a:cubicBezTo>
                    <a:pt x="589" y="819"/>
                    <a:pt x="589" y="819"/>
                    <a:pt x="589" y="819"/>
                  </a:cubicBezTo>
                  <a:cubicBezTo>
                    <a:pt x="589" y="818"/>
                    <a:pt x="588" y="816"/>
                    <a:pt x="588" y="814"/>
                  </a:cubicBezTo>
                  <a:cubicBezTo>
                    <a:pt x="587" y="810"/>
                    <a:pt x="586" y="805"/>
                    <a:pt x="584" y="801"/>
                  </a:cubicBezTo>
                  <a:cubicBezTo>
                    <a:pt x="582" y="795"/>
                    <a:pt x="580" y="790"/>
                    <a:pt x="580" y="784"/>
                  </a:cubicBezTo>
                  <a:cubicBezTo>
                    <a:pt x="580" y="782"/>
                    <a:pt x="582" y="780"/>
                    <a:pt x="583" y="777"/>
                  </a:cubicBezTo>
                  <a:cubicBezTo>
                    <a:pt x="584" y="776"/>
                    <a:pt x="585" y="774"/>
                    <a:pt x="586" y="772"/>
                  </a:cubicBezTo>
                  <a:cubicBezTo>
                    <a:pt x="587" y="767"/>
                    <a:pt x="587" y="763"/>
                    <a:pt x="587" y="758"/>
                  </a:cubicBezTo>
                  <a:cubicBezTo>
                    <a:pt x="587" y="757"/>
                    <a:pt x="587" y="755"/>
                    <a:pt x="587" y="754"/>
                  </a:cubicBezTo>
                  <a:cubicBezTo>
                    <a:pt x="587" y="753"/>
                    <a:pt x="587" y="752"/>
                    <a:pt x="587" y="751"/>
                  </a:cubicBezTo>
                  <a:cubicBezTo>
                    <a:pt x="587" y="748"/>
                    <a:pt x="587" y="744"/>
                    <a:pt x="588" y="742"/>
                  </a:cubicBezTo>
                  <a:cubicBezTo>
                    <a:pt x="588" y="740"/>
                    <a:pt x="589" y="739"/>
                    <a:pt x="590" y="738"/>
                  </a:cubicBezTo>
                  <a:cubicBezTo>
                    <a:pt x="592" y="735"/>
                    <a:pt x="594" y="732"/>
                    <a:pt x="593" y="727"/>
                  </a:cubicBezTo>
                  <a:cubicBezTo>
                    <a:pt x="593" y="723"/>
                    <a:pt x="591" y="719"/>
                    <a:pt x="590" y="715"/>
                  </a:cubicBezTo>
                  <a:cubicBezTo>
                    <a:pt x="592" y="714"/>
                    <a:pt x="594" y="711"/>
                    <a:pt x="598" y="703"/>
                  </a:cubicBezTo>
                  <a:cubicBezTo>
                    <a:pt x="599" y="701"/>
                    <a:pt x="600" y="700"/>
                    <a:pt x="601" y="698"/>
                  </a:cubicBezTo>
                  <a:cubicBezTo>
                    <a:pt x="602" y="697"/>
                    <a:pt x="603" y="696"/>
                    <a:pt x="605" y="695"/>
                  </a:cubicBezTo>
                  <a:cubicBezTo>
                    <a:pt x="608" y="691"/>
                    <a:pt x="607" y="687"/>
                    <a:pt x="606" y="684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3538173" y="1070273"/>
              <a:ext cx="103765" cy="68183"/>
            </a:xfrm>
            <a:custGeom>
              <a:avLst/>
              <a:gdLst>
                <a:gd name="T0" fmla="*/ 5 w 33"/>
                <a:gd name="T1" fmla="*/ 24 h 24"/>
                <a:gd name="T2" fmla="*/ 16 w 33"/>
                <a:gd name="T3" fmla="*/ 18 h 24"/>
                <a:gd name="T4" fmla="*/ 19 w 33"/>
                <a:gd name="T5" fmla="*/ 15 h 24"/>
                <a:gd name="T6" fmla="*/ 22 w 33"/>
                <a:gd name="T7" fmla="*/ 14 h 24"/>
                <a:gd name="T8" fmla="*/ 32 w 33"/>
                <a:gd name="T9" fmla="*/ 10 h 24"/>
                <a:gd name="T10" fmla="*/ 30 w 33"/>
                <a:gd name="T11" fmla="*/ 3 h 24"/>
                <a:gd name="T12" fmla="*/ 23 w 33"/>
                <a:gd name="T13" fmla="*/ 0 h 24"/>
                <a:gd name="T14" fmla="*/ 9 w 33"/>
                <a:gd name="T15" fmla="*/ 5 h 24"/>
                <a:gd name="T16" fmla="*/ 0 w 33"/>
                <a:gd name="T17" fmla="*/ 18 h 24"/>
                <a:gd name="T18" fmla="*/ 1 w 33"/>
                <a:gd name="T19" fmla="*/ 23 h 24"/>
                <a:gd name="T20" fmla="*/ 5 w 33"/>
                <a:gd name="T2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24">
                  <a:moveTo>
                    <a:pt x="5" y="24"/>
                  </a:moveTo>
                  <a:cubicBezTo>
                    <a:pt x="9" y="24"/>
                    <a:pt x="13" y="21"/>
                    <a:pt x="16" y="18"/>
                  </a:cubicBezTo>
                  <a:cubicBezTo>
                    <a:pt x="17" y="17"/>
                    <a:pt x="18" y="15"/>
                    <a:pt x="19" y="15"/>
                  </a:cubicBezTo>
                  <a:cubicBezTo>
                    <a:pt x="19" y="15"/>
                    <a:pt x="21" y="15"/>
                    <a:pt x="22" y="14"/>
                  </a:cubicBezTo>
                  <a:cubicBezTo>
                    <a:pt x="26" y="14"/>
                    <a:pt x="31" y="13"/>
                    <a:pt x="32" y="10"/>
                  </a:cubicBezTo>
                  <a:cubicBezTo>
                    <a:pt x="33" y="8"/>
                    <a:pt x="32" y="5"/>
                    <a:pt x="30" y="3"/>
                  </a:cubicBezTo>
                  <a:cubicBezTo>
                    <a:pt x="29" y="1"/>
                    <a:pt x="27" y="0"/>
                    <a:pt x="23" y="0"/>
                  </a:cubicBezTo>
                  <a:cubicBezTo>
                    <a:pt x="17" y="0"/>
                    <a:pt x="10" y="4"/>
                    <a:pt x="9" y="5"/>
                  </a:cubicBezTo>
                  <a:cubicBezTo>
                    <a:pt x="7" y="6"/>
                    <a:pt x="0" y="13"/>
                    <a:pt x="0" y="18"/>
                  </a:cubicBezTo>
                  <a:cubicBezTo>
                    <a:pt x="0" y="20"/>
                    <a:pt x="0" y="22"/>
                    <a:pt x="1" y="23"/>
                  </a:cubicBezTo>
                  <a:cubicBezTo>
                    <a:pt x="2" y="24"/>
                    <a:pt x="4" y="24"/>
                    <a:pt x="5" y="24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5192948" y="2595993"/>
              <a:ext cx="50244" cy="65219"/>
            </a:xfrm>
            <a:custGeom>
              <a:avLst/>
              <a:gdLst>
                <a:gd name="T0" fmla="*/ 13 w 16"/>
                <a:gd name="T1" fmla="*/ 11 h 23"/>
                <a:gd name="T2" fmla="*/ 13 w 16"/>
                <a:gd name="T3" fmla="*/ 9 h 23"/>
                <a:gd name="T4" fmla="*/ 11 w 16"/>
                <a:gd name="T5" fmla="*/ 2 h 23"/>
                <a:gd name="T6" fmla="*/ 8 w 16"/>
                <a:gd name="T7" fmla="*/ 0 h 23"/>
                <a:gd name="T8" fmla="*/ 2 w 16"/>
                <a:gd name="T9" fmla="*/ 9 h 23"/>
                <a:gd name="T10" fmla="*/ 3 w 16"/>
                <a:gd name="T11" fmla="*/ 21 h 23"/>
                <a:gd name="T12" fmla="*/ 7 w 16"/>
                <a:gd name="T13" fmla="*/ 23 h 23"/>
                <a:gd name="T14" fmla="*/ 9 w 16"/>
                <a:gd name="T15" fmla="*/ 22 h 23"/>
                <a:gd name="T16" fmla="*/ 13 w 16"/>
                <a:gd name="T17" fmla="*/ 12 h 23"/>
                <a:gd name="T18" fmla="*/ 13 w 16"/>
                <a:gd name="T1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23">
                  <a:moveTo>
                    <a:pt x="13" y="11"/>
                  </a:moveTo>
                  <a:cubicBezTo>
                    <a:pt x="13" y="10"/>
                    <a:pt x="13" y="10"/>
                    <a:pt x="13" y="9"/>
                  </a:cubicBezTo>
                  <a:cubicBezTo>
                    <a:pt x="13" y="7"/>
                    <a:pt x="13" y="4"/>
                    <a:pt x="11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3" y="0"/>
                    <a:pt x="2" y="6"/>
                    <a:pt x="2" y="9"/>
                  </a:cubicBezTo>
                  <a:cubicBezTo>
                    <a:pt x="2" y="9"/>
                    <a:pt x="0" y="17"/>
                    <a:pt x="3" y="21"/>
                  </a:cubicBezTo>
                  <a:cubicBezTo>
                    <a:pt x="4" y="22"/>
                    <a:pt x="5" y="23"/>
                    <a:pt x="7" y="23"/>
                  </a:cubicBezTo>
                  <a:cubicBezTo>
                    <a:pt x="8" y="23"/>
                    <a:pt x="9" y="23"/>
                    <a:pt x="9" y="22"/>
                  </a:cubicBezTo>
                  <a:cubicBezTo>
                    <a:pt x="16" y="20"/>
                    <a:pt x="14" y="15"/>
                    <a:pt x="13" y="12"/>
                  </a:cubicBezTo>
                  <a:cubicBezTo>
                    <a:pt x="13" y="12"/>
                    <a:pt x="13" y="11"/>
                    <a:pt x="13" y="11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3175" cap="rnd">
              <a:solidFill>
                <a:schemeClr val="tx1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24" name="Rectangle 23"/>
          <p:cNvSpPr/>
          <p:nvPr/>
        </p:nvSpPr>
        <p:spPr>
          <a:xfrm>
            <a:off x="5328084" y="338623"/>
            <a:ext cx="3384376" cy="12134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28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Xxxxx</a:t>
            </a:r>
            <a:r>
              <a:rPr lang="en-US" sz="2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x </a:t>
            </a:r>
          </a:p>
          <a:p>
            <a:pPr>
              <a:lnSpc>
                <a:spcPct val="95000"/>
              </a:lnSpc>
              <a:spcAft>
                <a:spcPts val="600"/>
              </a:spcAft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xx xx </a:t>
            </a:r>
            <a:r>
              <a:rPr lang="en-US" sz="1100" dirty="0" err="1"/>
              <a:t>xxxxxxxx</a:t>
            </a:r>
            <a:r>
              <a:rPr lang="en-US" sz="1100" dirty="0"/>
              <a:t> </a:t>
            </a:r>
            <a:r>
              <a:rPr lang="en-US" sz="1100" dirty="0" err="1"/>
              <a:t>xxxxxx</a:t>
            </a:r>
            <a:r>
              <a:rPr lang="en-US" sz="1100" dirty="0"/>
              <a:t> x xx </a:t>
            </a:r>
            <a:r>
              <a:rPr lang="en-US" sz="1100" dirty="0" err="1"/>
              <a:t>Xx</a:t>
            </a:r>
            <a:r>
              <a:rPr lang="en-US" sz="1100" dirty="0"/>
              <a:t> </a:t>
            </a:r>
            <a:r>
              <a:rPr lang="en-US" sz="1100" dirty="0" err="1"/>
              <a:t>xxxxxxxxx</a:t>
            </a:r>
            <a:r>
              <a:rPr lang="en-US" sz="1100" dirty="0"/>
              <a:t> x xxx Xx </a:t>
            </a:r>
            <a:r>
              <a:rPr lang="en-US" sz="1100" dirty="0" err="1"/>
              <a:t>xx</a:t>
            </a:r>
            <a:r>
              <a:rPr lang="en-US" sz="1100" dirty="0"/>
              <a:t> xxx x </a:t>
            </a:r>
            <a:r>
              <a:rPr lang="en-US" sz="1100" dirty="0" err="1"/>
              <a:t>xxxxxx</a:t>
            </a:r>
            <a:r>
              <a:rPr lang="en-US" sz="1100" dirty="0"/>
              <a:t> xxx </a:t>
            </a:r>
            <a:r>
              <a:rPr lang="en-US" sz="1100" dirty="0" err="1"/>
              <a:t>xxxxxxx</a:t>
            </a:r>
            <a:r>
              <a:rPr lang="en-US" sz="1100" dirty="0"/>
              <a:t> xx </a:t>
            </a:r>
            <a:r>
              <a:rPr lang="en-US" sz="1100" dirty="0" err="1"/>
              <a:t>xxxxxxxxx</a:t>
            </a:r>
            <a:r>
              <a:rPr lang="en-US" sz="1100" dirty="0"/>
              <a:t> x xx </a:t>
            </a:r>
            <a:r>
              <a:rPr lang="en-US" sz="1100" dirty="0" err="1"/>
              <a:t>xxxxxxxxxxxxxxxxxxx</a:t>
            </a:r>
            <a:r>
              <a:rPr lang="en-US" sz="1100" dirty="0"/>
              <a:t> xx </a:t>
            </a:r>
            <a:r>
              <a:rPr lang="en-US" sz="1100" dirty="0" err="1"/>
              <a:t>Xxxxxxxxx</a:t>
            </a:r>
            <a:r>
              <a:rPr lang="en-US" sz="1100" dirty="0"/>
              <a:t> </a:t>
            </a:r>
            <a:r>
              <a:rPr lang="en-US" sz="1100" dirty="0" err="1"/>
              <a:t>xxxxxxxxxx</a:t>
            </a:r>
            <a:r>
              <a:rPr lang="en-US" sz="1100" dirty="0"/>
              <a:t> x xxx </a:t>
            </a:r>
            <a:r>
              <a:rPr lang="en-US" sz="1100" dirty="0" err="1"/>
              <a:t>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xxxxxxxxx</a:t>
            </a:r>
            <a:r>
              <a:rPr lang="en-US" sz="1100" dirty="0"/>
              <a:t> xxx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</a:t>
            </a:r>
            <a:r>
              <a:rPr lang="en-US" sz="1100" dirty="0"/>
              <a:t> x xxx x </a:t>
            </a:r>
            <a:endParaRPr lang="en-US" sz="11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Oval 24"/>
          <p:cNvSpPr/>
          <p:nvPr/>
        </p:nvSpPr>
        <p:spPr>
          <a:xfrm>
            <a:off x="3867231" y="3444060"/>
            <a:ext cx="176564" cy="1765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Oval 25"/>
          <p:cNvSpPr/>
          <p:nvPr/>
        </p:nvSpPr>
        <p:spPr>
          <a:xfrm>
            <a:off x="807646" y="2741848"/>
            <a:ext cx="176564" cy="1765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7" name="Oval 26"/>
          <p:cNvSpPr/>
          <p:nvPr/>
        </p:nvSpPr>
        <p:spPr>
          <a:xfrm>
            <a:off x="4314574" y="3048592"/>
            <a:ext cx="176564" cy="1765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8" name="Oval 27"/>
          <p:cNvSpPr/>
          <p:nvPr/>
        </p:nvSpPr>
        <p:spPr>
          <a:xfrm>
            <a:off x="4672813" y="2197033"/>
            <a:ext cx="176564" cy="1765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1" name="TextBox 30"/>
          <p:cNvSpPr txBox="1"/>
          <p:nvPr/>
        </p:nvSpPr>
        <p:spPr>
          <a:xfrm>
            <a:off x="2630329" y="3913436"/>
            <a:ext cx="1249673" cy="571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2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5%</a:t>
            </a:r>
          </a:p>
          <a:p>
            <a:pPr>
              <a:lnSpc>
                <a:spcPct val="89000"/>
              </a:lnSpc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endParaRPr lang="en-US" sz="1100" dirty="0"/>
          </a:p>
        </p:txBody>
      </p:sp>
      <p:sp>
        <p:nvSpPr>
          <p:cNvPr id="32" name="TextBox 31"/>
          <p:cNvSpPr txBox="1"/>
          <p:nvPr/>
        </p:nvSpPr>
        <p:spPr>
          <a:xfrm>
            <a:off x="985806" y="3913436"/>
            <a:ext cx="1249673" cy="571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2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5%</a:t>
            </a:r>
          </a:p>
          <a:p>
            <a:pPr>
              <a:lnSpc>
                <a:spcPct val="89000"/>
              </a:lnSpc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endParaRPr lang="en-US" sz="1100" dirty="0"/>
          </a:p>
        </p:txBody>
      </p:sp>
      <p:grpSp>
        <p:nvGrpSpPr>
          <p:cNvPr id="33" name="Group 32"/>
          <p:cNvGrpSpPr/>
          <p:nvPr/>
        </p:nvGrpSpPr>
        <p:grpSpPr>
          <a:xfrm>
            <a:off x="2087725" y="3908476"/>
            <a:ext cx="499479" cy="499479"/>
            <a:chOff x="5076056" y="1050744"/>
            <a:chExt cx="684076" cy="684076"/>
          </a:xfrm>
        </p:grpSpPr>
        <p:sp>
          <p:nvSpPr>
            <p:cNvPr id="34" name="Oval 33"/>
            <p:cNvSpPr/>
            <p:nvPr/>
          </p:nvSpPr>
          <p:spPr>
            <a:xfrm>
              <a:off x="5076056" y="1050744"/>
              <a:ext cx="684076" cy="68407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5" name="Freeform 5"/>
            <p:cNvSpPr>
              <a:spLocks noChangeAspect="1" noEditPoints="1"/>
            </p:cNvSpPr>
            <p:nvPr/>
          </p:nvSpPr>
          <p:spPr bwMode="auto">
            <a:xfrm>
              <a:off x="5295608" y="1139532"/>
              <a:ext cx="254168" cy="506500"/>
            </a:xfrm>
            <a:custGeom>
              <a:avLst/>
              <a:gdLst>
                <a:gd name="T0" fmla="*/ 116 w 117"/>
                <a:gd name="T1" fmla="*/ 130 h 233"/>
                <a:gd name="T2" fmla="*/ 93 w 117"/>
                <a:gd name="T3" fmla="*/ 63 h 233"/>
                <a:gd name="T4" fmla="*/ 24 w 117"/>
                <a:gd name="T5" fmla="*/ 63 h 233"/>
                <a:gd name="T6" fmla="*/ 1 w 117"/>
                <a:gd name="T7" fmla="*/ 130 h 233"/>
                <a:gd name="T8" fmla="*/ 7 w 117"/>
                <a:gd name="T9" fmla="*/ 140 h 233"/>
                <a:gd name="T10" fmla="*/ 18 w 117"/>
                <a:gd name="T11" fmla="*/ 136 h 233"/>
                <a:gd name="T12" fmla="*/ 30 w 117"/>
                <a:gd name="T13" fmla="*/ 223 h 233"/>
                <a:gd name="T14" fmla="*/ 41 w 117"/>
                <a:gd name="T15" fmla="*/ 233 h 233"/>
                <a:gd name="T16" fmla="*/ 59 w 117"/>
                <a:gd name="T17" fmla="*/ 165 h 233"/>
                <a:gd name="T18" fmla="*/ 76 w 117"/>
                <a:gd name="T19" fmla="*/ 233 h 233"/>
                <a:gd name="T20" fmla="*/ 87 w 117"/>
                <a:gd name="T21" fmla="*/ 224 h 233"/>
                <a:gd name="T22" fmla="*/ 84 w 117"/>
                <a:gd name="T23" fmla="*/ 101 h 233"/>
                <a:gd name="T24" fmla="*/ 107 w 117"/>
                <a:gd name="T25" fmla="*/ 141 h 233"/>
                <a:gd name="T26" fmla="*/ 116 w 117"/>
                <a:gd name="T27" fmla="*/ 130 h 233"/>
                <a:gd name="T28" fmla="*/ 104 w 117"/>
                <a:gd name="T29" fmla="*/ 134 h 233"/>
                <a:gd name="T30" fmla="*/ 80 w 117"/>
                <a:gd name="T31" fmla="*/ 87 h 233"/>
                <a:gd name="T32" fmla="*/ 80 w 117"/>
                <a:gd name="T33" fmla="*/ 157 h 233"/>
                <a:gd name="T34" fmla="*/ 82 w 117"/>
                <a:gd name="T35" fmla="*/ 218 h 233"/>
                <a:gd name="T36" fmla="*/ 82 w 117"/>
                <a:gd name="T37" fmla="*/ 223 h 233"/>
                <a:gd name="T38" fmla="*/ 76 w 117"/>
                <a:gd name="T39" fmla="*/ 230 h 233"/>
                <a:gd name="T40" fmla="*/ 70 w 117"/>
                <a:gd name="T41" fmla="*/ 223 h 233"/>
                <a:gd name="T42" fmla="*/ 59 w 117"/>
                <a:gd name="T43" fmla="*/ 143 h 233"/>
                <a:gd name="T44" fmla="*/ 47 w 117"/>
                <a:gd name="T45" fmla="*/ 223 h 233"/>
                <a:gd name="T46" fmla="*/ 35 w 117"/>
                <a:gd name="T47" fmla="*/ 223 h 233"/>
                <a:gd name="T48" fmla="*/ 35 w 117"/>
                <a:gd name="T49" fmla="*/ 218 h 233"/>
                <a:gd name="T50" fmla="*/ 37 w 117"/>
                <a:gd name="T51" fmla="*/ 157 h 233"/>
                <a:gd name="T52" fmla="*/ 37 w 117"/>
                <a:gd name="T53" fmla="*/ 87 h 233"/>
                <a:gd name="T54" fmla="*/ 13 w 117"/>
                <a:gd name="T55" fmla="*/ 134 h 233"/>
                <a:gd name="T56" fmla="*/ 9 w 117"/>
                <a:gd name="T57" fmla="*/ 136 h 233"/>
                <a:gd name="T58" fmla="*/ 6 w 117"/>
                <a:gd name="T59" fmla="*/ 131 h 233"/>
                <a:gd name="T60" fmla="*/ 8 w 117"/>
                <a:gd name="T61" fmla="*/ 123 h 233"/>
                <a:gd name="T62" fmla="*/ 59 w 117"/>
                <a:gd name="T63" fmla="*/ 54 h 233"/>
                <a:gd name="T64" fmla="*/ 109 w 117"/>
                <a:gd name="T65" fmla="*/ 123 h 233"/>
                <a:gd name="T66" fmla="*/ 111 w 117"/>
                <a:gd name="T67" fmla="*/ 131 h 233"/>
                <a:gd name="T68" fmla="*/ 109 w 117"/>
                <a:gd name="T69" fmla="*/ 136 h 233"/>
                <a:gd name="T70" fmla="*/ 81 w 117"/>
                <a:gd name="T71" fmla="*/ 22 h 233"/>
                <a:gd name="T72" fmla="*/ 36 w 117"/>
                <a:gd name="T73" fmla="*/ 22 h 233"/>
                <a:gd name="T74" fmla="*/ 59 w 117"/>
                <a:gd name="T75" fmla="*/ 4 h 233"/>
                <a:gd name="T76" fmla="*/ 59 w 117"/>
                <a:gd name="T77" fmla="*/ 39 h 233"/>
                <a:gd name="T78" fmla="*/ 59 w 117"/>
                <a:gd name="T79" fmla="*/ 4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7" h="233">
                  <a:moveTo>
                    <a:pt x="116" y="130"/>
                  </a:moveTo>
                  <a:cubicBezTo>
                    <a:pt x="116" y="130"/>
                    <a:pt x="116" y="130"/>
                    <a:pt x="116" y="130"/>
                  </a:cubicBezTo>
                  <a:cubicBezTo>
                    <a:pt x="116" y="129"/>
                    <a:pt x="115" y="126"/>
                    <a:pt x="113" y="122"/>
                  </a:cubicBezTo>
                  <a:cubicBezTo>
                    <a:pt x="108" y="105"/>
                    <a:pt x="96" y="69"/>
                    <a:pt x="93" y="63"/>
                  </a:cubicBezTo>
                  <a:cubicBezTo>
                    <a:pt x="88" y="53"/>
                    <a:pt x="78" y="49"/>
                    <a:pt x="59" y="49"/>
                  </a:cubicBezTo>
                  <a:cubicBezTo>
                    <a:pt x="39" y="49"/>
                    <a:pt x="29" y="53"/>
                    <a:pt x="24" y="63"/>
                  </a:cubicBezTo>
                  <a:cubicBezTo>
                    <a:pt x="21" y="69"/>
                    <a:pt x="9" y="105"/>
                    <a:pt x="4" y="122"/>
                  </a:cubicBezTo>
                  <a:cubicBezTo>
                    <a:pt x="3" y="126"/>
                    <a:pt x="1" y="129"/>
                    <a:pt x="1" y="130"/>
                  </a:cubicBezTo>
                  <a:cubicBezTo>
                    <a:pt x="1" y="130"/>
                    <a:pt x="1" y="130"/>
                    <a:pt x="1" y="130"/>
                  </a:cubicBezTo>
                  <a:cubicBezTo>
                    <a:pt x="0" y="134"/>
                    <a:pt x="3" y="139"/>
                    <a:pt x="7" y="140"/>
                  </a:cubicBezTo>
                  <a:cubicBezTo>
                    <a:pt x="8" y="141"/>
                    <a:pt x="9" y="141"/>
                    <a:pt x="10" y="141"/>
                  </a:cubicBezTo>
                  <a:cubicBezTo>
                    <a:pt x="13" y="141"/>
                    <a:pt x="16" y="139"/>
                    <a:pt x="18" y="136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32" y="148"/>
                    <a:pt x="31" y="220"/>
                    <a:pt x="30" y="223"/>
                  </a:cubicBezTo>
                  <a:cubicBezTo>
                    <a:pt x="30" y="223"/>
                    <a:pt x="30" y="223"/>
                    <a:pt x="30" y="224"/>
                  </a:cubicBezTo>
                  <a:cubicBezTo>
                    <a:pt x="31" y="229"/>
                    <a:pt x="35" y="233"/>
                    <a:pt x="41" y="233"/>
                  </a:cubicBezTo>
                  <a:cubicBezTo>
                    <a:pt x="47" y="233"/>
                    <a:pt x="51" y="229"/>
                    <a:pt x="52" y="224"/>
                  </a:cubicBezTo>
                  <a:cubicBezTo>
                    <a:pt x="59" y="165"/>
                    <a:pt x="59" y="165"/>
                    <a:pt x="59" y="165"/>
                  </a:cubicBezTo>
                  <a:cubicBezTo>
                    <a:pt x="65" y="224"/>
                    <a:pt x="65" y="224"/>
                    <a:pt x="65" y="224"/>
                  </a:cubicBezTo>
                  <a:cubicBezTo>
                    <a:pt x="66" y="229"/>
                    <a:pt x="71" y="233"/>
                    <a:pt x="76" y="233"/>
                  </a:cubicBezTo>
                  <a:cubicBezTo>
                    <a:pt x="76" y="233"/>
                    <a:pt x="76" y="233"/>
                    <a:pt x="76" y="233"/>
                  </a:cubicBezTo>
                  <a:cubicBezTo>
                    <a:pt x="82" y="233"/>
                    <a:pt x="86" y="229"/>
                    <a:pt x="87" y="224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87" y="220"/>
                    <a:pt x="85" y="148"/>
                    <a:pt x="84" y="101"/>
                  </a:cubicBezTo>
                  <a:cubicBezTo>
                    <a:pt x="99" y="136"/>
                    <a:pt x="99" y="136"/>
                    <a:pt x="99" y="136"/>
                  </a:cubicBezTo>
                  <a:cubicBezTo>
                    <a:pt x="101" y="139"/>
                    <a:pt x="104" y="141"/>
                    <a:pt x="107" y="141"/>
                  </a:cubicBezTo>
                  <a:cubicBezTo>
                    <a:pt x="108" y="141"/>
                    <a:pt x="109" y="141"/>
                    <a:pt x="110" y="140"/>
                  </a:cubicBezTo>
                  <a:cubicBezTo>
                    <a:pt x="114" y="139"/>
                    <a:pt x="117" y="134"/>
                    <a:pt x="116" y="130"/>
                  </a:cubicBezTo>
                  <a:close/>
                  <a:moveTo>
                    <a:pt x="109" y="136"/>
                  </a:moveTo>
                  <a:cubicBezTo>
                    <a:pt x="107" y="136"/>
                    <a:pt x="104" y="136"/>
                    <a:pt x="104" y="134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88"/>
                    <a:pt x="82" y="87"/>
                    <a:pt x="80" y="87"/>
                  </a:cubicBezTo>
                  <a:cubicBezTo>
                    <a:pt x="79" y="88"/>
                    <a:pt x="79" y="89"/>
                    <a:pt x="79" y="90"/>
                  </a:cubicBezTo>
                  <a:cubicBezTo>
                    <a:pt x="79" y="90"/>
                    <a:pt x="79" y="123"/>
                    <a:pt x="80" y="157"/>
                  </a:cubicBezTo>
                  <a:cubicBezTo>
                    <a:pt x="81" y="173"/>
                    <a:pt x="81" y="190"/>
                    <a:pt x="81" y="203"/>
                  </a:cubicBezTo>
                  <a:cubicBezTo>
                    <a:pt x="82" y="209"/>
                    <a:pt x="82" y="214"/>
                    <a:pt x="82" y="218"/>
                  </a:cubicBezTo>
                  <a:cubicBezTo>
                    <a:pt x="82" y="221"/>
                    <a:pt x="82" y="222"/>
                    <a:pt x="82" y="223"/>
                  </a:cubicBezTo>
                  <a:cubicBezTo>
                    <a:pt x="82" y="223"/>
                    <a:pt x="82" y="223"/>
                    <a:pt x="82" y="223"/>
                  </a:cubicBezTo>
                  <a:cubicBezTo>
                    <a:pt x="82" y="226"/>
                    <a:pt x="79" y="228"/>
                    <a:pt x="76" y="228"/>
                  </a:cubicBezTo>
                  <a:cubicBezTo>
                    <a:pt x="76" y="230"/>
                    <a:pt x="76" y="230"/>
                    <a:pt x="76" y="230"/>
                  </a:cubicBezTo>
                  <a:cubicBezTo>
                    <a:pt x="76" y="228"/>
                    <a:pt x="76" y="228"/>
                    <a:pt x="76" y="228"/>
                  </a:cubicBezTo>
                  <a:cubicBezTo>
                    <a:pt x="73" y="228"/>
                    <a:pt x="70" y="226"/>
                    <a:pt x="70" y="223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1" y="143"/>
                    <a:pt x="60" y="143"/>
                    <a:pt x="59" y="143"/>
                  </a:cubicBezTo>
                  <a:cubicBezTo>
                    <a:pt x="57" y="143"/>
                    <a:pt x="56" y="143"/>
                    <a:pt x="56" y="145"/>
                  </a:cubicBezTo>
                  <a:cubicBezTo>
                    <a:pt x="47" y="223"/>
                    <a:pt x="47" y="223"/>
                    <a:pt x="47" y="223"/>
                  </a:cubicBezTo>
                  <a:cubicBezTo>
                    <a:pt x="47" y="226"/>
                    <a:pt x="44" y="228"/>
                    <a:pt x="41" y="228"/>
                  </a:cubicBezTo>
                  <a:cubicBezTo>
                    <a:pt x="38" y="228"/>
                    <a:pt x="35" y="226"/>
                    <a:pt x="35" y="223"/>
                  </a:cubicBezTo>
                  <a:cubicBezTo>
                    <a:pt x="35" y="223"/>
                    <a:pt x="35" y="222"/>
                    <a:pt x="35" y="222"/>
                  </a:cubicBezTo>
                  <a:cubicBezTo>
                    <a:pt x="35" y="221"/>
                    <a:pt x="35" y="220"/>
                    <a:pt x="35" y="218"/>
                  </a:cubicBezTo>
                  <a:cubicBezTo>
                    <a:pt x="35" y="214"/>
                    <a:pt x="35" y="209"/>
                    <a:pt x="36" y="203"/>
                  </a:cubicBezTo>
                  <a:cubicBezTo>
                    <a:pt x="36" y="190"/>
                    <a:pt x="36" y="173"/>
                    <a:pt x="37" y="157"/>
                  </a:cubicBezTo>
                  <a:cubicBezTo>
                    <a:pt x="38" y="123"/>
                    <a:pt x="38" y="90"/>
                    <a:pt x="38" y="90"/>
                  </a:cubicBezTo>
                  <a:cubicBezTo>
                    <a:pt x="38" y="89"/>
                    <a:pt x="38" y="88"/>
                    <a:pt x="37" y="87"/>
                  </a:cubicBezTo>
                  <a:cubicBezTo>
                    <a:pt x="36" y="87"/>
                    <a:pt x="34" y="88"/>
                    <a:pt x="34" y="89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5"/>
                    <a:pt x="12" y="136"/>
                    <a:pt x="10" y="136"/>
                  </a:cubicBezTo>
                  <a:cubicBezTo>
                    <a:pt x="10" y="136"/>
                    <a:pt x="9" y="136"/>
                    <a:pt x="9" y="136"/>
                  </a:cubicBezTo>
                  <a:cubicBezTo>
                    <a:pt x="6" y="135"/>
                    <a:pt x="5" y="133"/>
                    <a:pt x="6" y="131"/>
                  </a:cubicBezTo>
                  <a:cubicBezTo>
                    <a:pt x="6" y="131"/>
                    <a:pt x="6" y="131"/>
                    <a:pt x="6" y="131"/>
                  </a:cubicBezTo>
                  <a:cubicBezTo>
                    <a:pt x="6" y="131"/>
                    <a:pt x="6" y="130"/>
                    <a:pt x="6" y="129"/>
                  </a:cubicBezTo>
                  <a:cubicBezTo>
                    <a:pt x="7" y="128"/>
                    <a:pt x="8" y="126"/>
                    <a:pt x="8" y="123"/>
                  </a:cubicBezTo>
                  <a:cubicBezTo>
                    <a:pt x="13" y="108"/>
                    <a:pt x="25" y="71"/>
                    <a:pt x="28" y="65"/>
                  </a:cubicBezTo>
                  <a:cubicBezTo>
                    <a:pt x="31" y="59"/>
                    <a:pt x="37" y="54"/>
                    <a:pt x="59" y="54"/>
                  </a:cubicBezTo>
                  <a:cubicBezTo>
                    <a:pt x="80" y="54"/>
                    <a:pt x="86" y="59"/>
                    <a:pt x="89" y="65"/>
                  </a:cubicBezTo>
                  <a:cubicBezTo>
                    <a:pt x="92" y="71"/>
                    <a:pt x="104" y="108"/>
                    <a:pt x="109" y="123"/>
                  </a:cubicBezTo>
                  <a:cubicBezTo>
                    <a:pt x="110" y="126"/>
                    <a:pt x="110" y="128"/>
                    <a:pt x="111" y="129"/>
                  </a:cubicBezTo>
                  <a:cubicBezTo>
                    <a:pt x="111" y="130"/>
                    <a:pt x="111" y="131"/>
                    <a:pt x="111" y="131"/>
                  </a:cubicBezTo>
                  <a:cubicBezTo>
                    <a:pt x="111" y="131"/>
                    <a:pt x="111" y="131"/>
                    <a:pt x="111" y="131"/>
                  </a:cubicBezTo>
                  <a:cubicBezTo>
                    <a:pt x="112" y="133"/>
                    <a:pt x="111" y="135"/>
                    <a:pt x="109" y="136"/>
                  </a:cubicBezTo>
                  <a:close/>
                  <a:moveTo>
                    <a:pt x="59" y="44"/>
                  </a:moveTo>
                  <a:cubicBezTo>
                    <a:pt x="71" y="44"/>
                    <a:pt x="81" y="34"/>
                    <a:pt x="81" y="22"/>
                  </a:cubicBezTo>
                  <a:cubicBezTo>
                    <a:pt x="81" y="10"/>
                    <a:pt x="71" y="0"/>
                    <a:pt x="59" y="0"/>
                  </a:cubicBezTo>
                  <a:cubicBezTo>
                    <a:pt x="46" y="0"/>
                    <a:pt x="36" y="10"/>
                    <a:pt x="36" y="22"/>
                  </a:cubicBezTo>
                  <a:cubicBezTo>
                    <a:pt x="36" y="34"/>
                    <a:pt x="46" y="44"/>
                    <a:pt x="59" y="44"/>
                  </a:cubicBezTo>
                  <a:close/>
                  <a:moveTo>
                    <a:pt x="59" y="4"/>
                  </a:moveTo>
                  <a:cubicBezTo>
                    <a:pt x="68" y="4"/>
                    <a:pt x="76" y="12"/>
                    <a:pt x="76" y="22"/>
                  </a:cubicBezTo>
                  <a:cubicBezTo>
                    <a:pt x="76" y="31"/>
                    <a:pt x="68" y="39"/>
                    <a:pt x="59" y="39"/>
                  </a:cubicBezTo>
                  <a:cubicBezTo>
                    <a:pt x="49" y="39"/>
                    <a:pt x="41" y="31"/>
                    <a:pt x="41" y="22"/>
                  </a:cubicBezTo>
                  <a:cubicBezTo>
                    <a:pt x="41" y="12"/>
                    <a:pt x="49" y="4"/>
                    <a:pt x="59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467545" y="3908476"/>
            <a:ext cx="499479" cy="499479"/>
            <a:chOff x="5076056" y="123478"/>
            <a:chExt cx="684076" cy="684076"/>
          </a:xfrm>
        </p:grpSpPr>
        <p:sp>
          <p:nvSpPr>
            <p:cNvPr id="37" name="Oval 36"/>
            <p:cNvSpPr/>
            <p:nvPr/>
          </p:nvSpPr>
          <p:spPr>
            <a:xfrm>
              <a:off x="5076056" y="123478"/>
              <a:ext cx="684076" cy="68407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8" name="Freeform 6"/>
            <p:cNvSpPr>
              <a:spLocks noChangeAspect="1" noEditPoints="1"/>
            </p:cNvSpPr>
            <p:nvPr/>
          </p:nvSpPr>
          <p:spPr bwMode="auto">
            <a:xfrm>
              <a:off x="5292080" y="212267"/>
              <a:ext cx="252028" cy="506498"/>
            </a:xfrm>
            <a:custGeom>
              <a:avLst/>
              <a:gdLst>
                <a:gd name="T0" fmla="*/ 80 w 116"/>
                <a:gd name="T1" fmla="*/ 22 h 233"/>
                <a:gd name="T2" fmla="*/ 36 w 116"/>
                <a:gd name="T3" fmla="*/ 22 h 233"/>
                <a:gd name="T4" fmla="*/ 58 w 116"/>
                <a:gd name="T5" fmla="*/ 5 h 233"/>
                <a:gd name="T6" fmla="*/ 58 w 116"/>
                <a:gd name="T7" fmla="*/ 40 h 233"/>
                <a:gd name="T8" fmla="*/ 58 w 116"/>
                <a:gd name="T9" fmla="*/ 5 h 233"/>
                <a:gd name="T10" fmla="*/ 115 w 116"/>
                <a:gd name="T11" fmla="*/ 130 h 233"/>
                <a:gd name="T12" fmla="*/ 93 w 116"/>
                <a:gd name="T13" fmla="*/ 63 h 233"/>
                <a:gd name="T14" fmla="*/ 23 w 116"/>
                <a:gd name="T15" fmla="*/ 63 h 233"/>
                <a:gd name="T16" fmla="*/ 1 w 116"/>
                <a:gd name="T17" fmla="*/ 130 h 233"/>
                <a:gd name="T18" fmla="*/ 6 w 116"/>
                <a:gd name="T19" fmla="*/ 140 h 233"/>
                <a:gd name="T20" fmla="*/ 17 w 116"/>
                <a:gd name="T21" fmla="*/ 136 h 233"/>
                <a:gd name="T22" fmla="*/ 18 w 116"/>
                <a:gd name="T23" fmla="*/ 170 h 233"/>
                <a:gd name="T24" fmla="*/ 21 w 116"/>
                <a:gd name="T25" fmla="*/ 172 h 233"/>
                <a:gd name="T26" fmla="*/ 30 w 116"/>
                <a:gd name="T27" fmla="*/ 223 h 233"/>
                <a:gd name="T28" fmla="*/ 40 w 116"/>
                <a:gd name="T29" fmla="*/ 233 h 233"/>
                <a:gd name="T30" fmla="*/ 57 w 116"/>
                <a:gd name="T31" fmla="*/ 172 h 233"/>
                <a:gd name="T32" fmla="*/ 65 w 116"/>
                <a:gd name="T33" fmla="*/ 224 h 233"/>
                <a:gd name="T34" fmla="*/ 76 w 116"/>
                <a:gd name="T35" fmla="*/ 233 h 233"/>
                <a:gd name="T36" fmla="*/ 86 w 116"/>
                <a:gd name="T37" fmla="*/ 223 h 233"/>
                <a:gd name="T38" fmla="*/ 95 w 116"/>
                <a:gd name="T39" fmla="*/ 172 h 233"/>
                <a:gd name="T40" fmla="*/ 98 w 116"/>
                <a:gd name="T41" fmla="*/ 169 h 233"/>
                <a:gd name="T42" fmla="*/ 99 w 116"/>
                <a:gd name="T43" fmla="*/ 136 h 233"/>
                <a:gd name="T44" fmla="*/ 107 w 116"/>
                <a:gd name="T45" fmla="*/ 141 h 233"/>
                <a:gd name="T46" fmla="*/ 115 w 116"/>
                <a:gd name="T47" fmla="*/ 130 h 233"/>
                <a:gd name="T48" fmla="*/ 107 w 116"/>
                <a:gd name="T49" fmla="*/ 136 h 233"/>
                <a:gd name="T50" fmla="*/ 103 w 116"/>
                <a:gd name="T51" fmla="*/ 134 h 233"/>
                <a:gd name="T52" fmla="*/ 81 w 116"/>
                <a:gd name="T53" fmla="*/ 87 h 233"/>
                <a:gd name="T54" fmla="*/ 93 w 116"/>
                <a:gd name="T55" fmla="*/ 168 h 233"/>
                <a:gd name="T56" fmla="*/ 81 w 116"/>
                <a:gd name="T57" fmla="*/ 168 h 233"/>
                <a:gd name="T58" fmla="*/ 81 w 116"/>
                <a:gd name="T59" fmla="*/ 197 h 233"/>
                <a:gd name="T60" fmla="*/ 82 w 116"/>
                <a:gd name="T61" fmla="*/ 223 h 233"/>
                <a:gd name="T62" fmla="*/ 76 w 116"/>
                <a:gd name="T63" fmla="*/ 228 h 233"/>
                <a:gd name="T64" fmla="*/ 76 w 116"/>
                <a:gd name="T65" fmla="*/ 228 h 233"/>
                <a:gd name="T66" fmla="*/ 63 w 116"/>
                <a:gd name="T67" fmla="*/ 170 h 233"/>
                <a:gd name="T68" fmla="*/ 55 w 116"/>
                <a:gd name="T69" fmla="*/ 168 h 233"/>
                <a:gd name="T70" fmla="*/ 46 w 116"/>
                <a:gd name="T71" fmla="*/ 223 h 233"/>
                <a:gd name="T72" fmla="*/ 34 w 116"/>
                <a:gd name="T73" fmla="*/ 223 h 233"/>
                <a:gd name="T74" fmla="*/ 35 w 116"/>
                <a:gd name="T75" fmla="*/ 221 h 233"/>
                <a:gd name="T76" fmla="*/ 35 w 116"/>
                <a:gd name="T77" fmla="*/ 197 h 233"/>
                <a:gd name="T78" fmla="*/ 35 w 116"/>
                <a:gd name="T79" fmla="*/ 168 h 233"/>
                <a:gd name="T80" fmla="*/ 23 w 116"/>
                <a:gd name="T81" fmla="*/ 168 h 233"/>
                <a:gd name="T82" fmla="*/ 35 w 116"/>
                <a:gd name="T83" fmla="*/ 87 h 233"/>
                <a:gd name="T84" fmla="*/ 13 w 116"/>
                <a:gd name="T85" fmla="*/ 134 h 233"/>
                <a:gd name="T86" fmla="*/ 5 w 116"/>
                <a:gd name="T87" fmla="*/ 131 h 233"/>
                <a:gd name="T88" fmla="*/ 6 w 116"/>
                <a:gd name="T89" fmla="*/ 129 h 233"/>
                <a:gd name="T90" fmla="*/ 28 w 116"/>
                <a:gd name="T91" fmla="*/ 65 h 233"/>
                <a:gd name="T92" fmla="*/ 88 w 116"/>
                <a:gd name="T93" fmla="*/ 65 h 233"/>
                <a:gd name="T94" fmla="*/ 110 w 116"/>
                <a:gd name="T95" fmla="*/ 129 h 233"/>
                <a:gd name="T96" fmla="*/ 111 w 116"/>
                <a:gd name="T97" fmla="*/ 131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6" h="233">
                  <a:moveTo>
                    <a:pt x="58" y="44"/>
                  </a:moveTo>
                  <a:cubicBezTo>
                    <a:pt x="70" y="44"/>
                    <a:pt x="80" y="34"/>
                    <a:pt x="80" y="22"/>
                  </a:cubicBezTo>
                  <a:cubicBezTo>
                    <a:pt x="80" y="10"/>
                    <a:pt x="70" y="0"/>
                    <a:pt x="58" y="0"/>
                  </a:cubicBezTo>
                  <a:cubicBezTo>
                    <a:pt x="46" y="0"/>
                    <a:pt x="36" y="10"/>
                    <a:pt x="36" y="22"/>
                  </a:cubicBezTo>
                  <a:cubicBezTo>
                    <a:pt x="36" y="34"/>
                    <a:pt x="46" y="44"/>
                    <a:pt x="58" y="44"/>
                  </a:cubicBezTo>
                  <a:close/>
                  <a:moveTo>
                    <a:pt x="58" y="5"/>
                  </a:moveTo>
                  <a:cubicBezTo>
                    <a:pt x="68" y="5"/>
                    <a:pt x="75" y="13"/>
                    <a:pt x="75" y="22"/>
                  </a:cubicBezTo>
                  <a:cubicBezTo>
                    <a:pt x="75" y="32"/>
                    <a:pt x="68" y="40"/>
                    <a:pt x="58" y="40"/>
                  </a:cubicBezTo>
                  <a:cubicBezTo>
                    <a:pt x="48" y="40"/>
                    <a:pt x="41" y="32"/>
                    <a:pt x="41" y="22"/>
                  </a:cubicBezTo>
                  <a:cubicBezTo>
                    <a:pt x="41" y="13"/>
                    <a:pt x="48" y="5"/>
                    <a:pt x="58" y="5"/>
                  </a:cubicBezTo>
                  <a:close/>
                  <a:moveTo>
                    <a:pt x="115" y="130"/>
                  </a:moveTo>
                  <a:cubicBezTo>
                    <a:pt x="115" y="130"/>
                    <a:pt x="115" y="130"/>
                    <a:pt x="115" y="130"/>
                  </a:cubicBezTo>
                  <a:cubicBezTo>
                    <a:pt x="115" y="129"/>
                    <a:pt x="114" y="126"/>
                    <a:pt x="113" y="122"/>
                  </a:cubicBezTo>
                  <a:cubicBezTo>
                    <a:pt x="107" y="105"/>
                    <a:pt x="96" y="69"/>
                    <a:pt x="93" y="63"/>
                  </a:cubicBezTo>
                  <a:cubicBezTo>
                    <a:pt x="88" y="53"/>
                    <a:pt x="77" y="49"/>
                    <a:pt x="58" y="49"/>
                  </a:cubicBezTo>
                  <a:cubicBezTo>
                    <a:pt x="39" y="49"/>
                    <a:pt x="28" y="53"/>
                    <a:pt x="23" y="63"/>
                  </a:cubicBezTo>
                  <a:cubicBezTo>
                    <a:pt x="20" y="69"/>
                    <a:pt x="9" y="105"/>
                    <a:pt x="3" y="122"/>
                  </a:cubicBezTo>
                  <a:cubicBezTo>
                    <a:pt x="2" y="126"/>
                    <a:pt x="1" y="129"/>
                    <a:pt x="1" y="130"/>
                  </a:cubicBezTo>
                  <a:cubicBezTo>
                    <a:pt x="1" y="130"/>
                    <a:pt x="1" y="130"/>
                    <a:pt x="1" y="130"/>
                  </a:cubicBezTo>
                  <a:cubicBezTo>
                    <a:pt x="0" y="134"/>
                    <a:pt x="2" y="139"/>
                    <a:pt x="6" y="140"/>
                  </a:cubicBezTo>
                  <a:cubicBezTo>
                    <a:pt x="7" y="141"/>
                    <a:pt x="8" y="141"/>
                    <a:pt x="10" y="141"/>
                  </a:cubicBezTo>
                  <a:cubicBezTo>
                    <a:pt x="13" y="141"/>
                    <a:pt x="16" y="139"/>
                    <a:pt x="17" y="136"/>
                  </a:cubicBezTo>
                  <a:cubicBezTo>
                    <a:pt x="29" y="109"/>
                    <a:pt x="29" y="109"/>
                    <a:pt x="29" y="109"/>
                  </a:cubicBezTo>
                  <a:cubicBezTo>
                    <a:pt x="18" y="170"/>
                    <a:pt x="18" y="170"/>
                    <a:pt x="18" y="170"/>
                  </a:cubicBezTo>
                  <a:cubicBezTo>
                    <a:pt x="18" y="170"/>
                    <a:pt x="18" y="171"/>
                    <a:pt x="19" y="172"/>
                  </a:cubicBezTo>
                  <a:cubicBezTo>
                    <a:pt x="19" y="172"/>
                    <a:pt x="20" y="172"/>
                    <a:pt x="21" y="172"/>
                  </a:cubicBezTo>
                  <a:cubicBezTo>
                    <a:pt x="31" y="172"/>
                    <a:pt x="31" y="172"/>
                    <a:pt x="31" y="172"/>
                  </a:cubicBezTo>
                  <a:cubicBezTo>
                    <a:pt x="31" y="188"/>
                    <a:pt x="30" y="221"/>
                    <a:pt x="30" y="223"/>
                  </a:cubicBezTo>
                  <a:cubicBezTo>
                    <a:pt x="30" y="223"/>
                    <a:pt x="30" y="223"/>
                    <a:pt x="30" y="224"/>
                  </a:cubicBezTo>
                  <a:cubicBezTo>
                    <a:pt x="30" y="229"/>
                    <a:pt x="35" y="233"/>
                    <a:pt x="40" y="233"/>
                  </a:cubicBezTo>
                  <a:cubicBezTo>
                    <a:pt x="46" y="233"/>
                    <a:pt x="51" y="229"/>
                    <a:pt x="51" y="224"/>
                  </a:cubicBezTo>
                  <a:cubicBezTo>
                    <a:pt x="57" y="172"/>
                    <a:pt x="57" y="172"/>
                    <a:pt x="57" y="172"/>
                  </a:cubicBezTo>
                  <a:cubicBezTo>
                    <a:pt x="59" y="172"/>
                    <a:pt x="59" y="172"/>
                    <a:pt x="59" y="172"/>
                  </a:cubicBezTo>
                  <a:cubicBezTo>
                    <a:pt x="65" y="224"/>
                    <a:pt x="65" y="224"/>
                    <a:pt x="65" y="224"/>
                  </a:cubicBezTo>
                  <a:cubicBezTo>
                    <a:pt x="65" y="229"/>
                    <a:pt x="70" y="233"/>
                    <a:pt x="76" y="233"/>
                  </a:cubicBezTo>
                  <a:cubicBezTo>
                    <a:pt x="76" y="233"/>
                    <a:pt x="76" y="233"/>
                    <a:pt x="76" y="233"/>
                  </a:cubicBezTo>
                  <a:cubicBezTo>
                    <a:pt x="81" y="233"/>
                    <a:pt x="86" y="229"/>
                    <a:pt x="86" y="224"/>
                  </a:cubicBezTo>
                  <a:cubicBezTo>
                    <a:pt x="86" y="223"/>
                    <a:pt x="86" y="223"/>
                    <a:pt x="86" y="223"/>
                  </a:cubicBezTo>
                  <a:cubicBezTo>
                    <a:pt x="86" y="221"/>
                    <a:pt x="85" y="188"/>
                    <a:pt x="85" y="172"/>
                  </a:cubicBezTo>
                  <a:cubicBezTo>
                    <a:pt x="95" y="172"/>
                    <a:pt x="95" y="172"/>
                    <a:pt x="95" y="172"/>
                  </a:cubicBezTo>
                  <a:cubicBezTo>
                    <a:pt x="97" y="172"/>
                    <a:pt x="98" y="171"/>
                    <a:pt x="98" y="170"/>
                  </a:cubicBezTo>
                  <a:cubicBezTo>
                    <a:pt x="98" y="170"/>
                    <a:pt x="98" y="170"/>
                    <a:pt x="98" y="169"/>
                  </a:cubicBezTo>
                  <a:cubicBezTo>
                    <a:pt x="87" y="109"/>
                    <a:pt x="87" y="109"/>
                    <a:pt x="87" y="109"/>
                  </a:cubicBezTo>
                  <a:cubicBezTo>
                    <a:pt x="99" y="136"/>
                    <a:pt x="99" y="136"/>
                    <a:pt x="99" y="136"/>
                  </a:cubicBezTo>
                  <a:cubicBezTo>
                    <a:pt x="100" y="139"/>
                    <a:pt x="103" y="141"/>
                    <a:pt x="107" y="141"/>
                  </a:cubicBezTo>
                  <a:cubicBezTo>
                    <a:pt x="107" y="141"/>
                    <a:pt x="107" y="141"/>
                    <a:pt x="107" y="141"/>
                  </a:cubicBezTo>
                  <a:cubicBezTo>
                    <a:pt x="108" y="141"/>
                    <a:pt x="109" y="141"/>
                    <a:pt x="110" y="140"/>
                  </a:cubicBezTo>
                  <a:cubicBezTo>
                    <a:pt x="114" y="139"/>
                    <a:pt x="116" y="134"/>
                    <a:pt x="115" y="130"/>
                  </a:cubicBezTo>
                  <a:close/>
                  <a:moveTo>
                    <a:pt x="108" y="136"/>
                  </a:moveTo>
                  <a:cubicBezTo>
                    <a:pt x="108" y="136"/>
                    <a:pt x="107" y="136"/>
                    <a:pt x="107" y="136"/>
                  </a:cubicBezTo>
                  <a:cubicBezTo>
                    <a:pt x="107" y="136"/>
                    <a:pt x="107" y="136"/>
                    <a:pt x="107" y="136"/>
                  </a:cubicBezTo>
                  <a:cubicBezTo>
                    <a:pt x="105" y="136"/>
                    <a:pt x="104" y="135"/>
                    <a:pt x="103" y="134"/>
                  </a:cubicBezTo>
                  <a:cubicBezTo>
                    <a:pt x="84" y="89"/>
                    <a:pt x="84" y="89"/>
                    <a:pt x="84" y="89"/>
                  </a:cubicBezTo>
                  <a:cubicBezTo>
                    <a:pt x="84" y="88"/>
                    <a:pt x="82" y="87"/>
                    <a:pt x="81" y="87"/>
                  </a:cubicBezTo>
                  <a:cubicBezTo>
                    <a:pt x="80" y="88"/>
                    <a:pt x="79" y="89"/>
                    <a:pt x="80" y="90"/>
                  </a:cubicBezTo>
                  <a:cubicBezTo>
                    <a:pt x="93" y="168"/>
                    <a:pt x="93" y="168"/>
                    <a:pt x="93" y="168"/>
                  </a:cubicBezTo>
                  <a:cubicBezTo>
                    <a:pt x="82" y="168"/>
                    <a:pt x="82" y="168"/>
                    <a:pt x="82" y="168"/>
                  </a:cubicBezTo>
                  <a:cubicBezTo>
                    <a:pt x="82" y="168"/>
                    <a:pt x="81" y="168"/>
                    <a:pt x="81" y="168"/>
                  </a:cubicBezTo>
                  <a:cubicBezTo>
                    <a:pt x="80" y="169"/>
                    <a:pt x="80" y="170"/>
                    <a:pt x="80" y="170"/>
                  </a:cubicBezTo>
                  <a:cubicBezTo>
                    <a:pt x="80" y="170"/>
                    <a:pt x="80" y="183"/>
                    <a:pt x="81" y="197"/>
                  </a:cubicBezTo>
                  <a:cubicBezTo>
                    <a:pt x="81" y="203"/>
                    <a:pt x="81" y="210"/>
                    <a:pt x="81" y="215"/>
                  </a:cubicBezTo>
                  <a:cubicBezTo>
                    <a:pt x="81" y="220"/>
                    <a:pt x="81" y="222"/>
                    <a:pt x="82" y="223"/>
                  </a:cubicBezTo>
                  <a:cubicBezTo>
                    <a:pt x="82" y="223"/>
                    <a:pt x="82" y="223"/>
                    <a:pt x="82" y="223"/>
                  </a:cubicBezTo>
                  <a:cubicBezTo>
                    <a:pt x="81" y="226"/>
                    <a:pt x="79" y="228"/>
                    <a:pt x="76" y="228"/>
                  </a:cubicBezTo>
                  <a:cubicBezTo>
                    <a:pt x="76" y="230"/>
                    <a:pt x="76" y="230"/>
                    <a:pt x="76" y="230"/>
                  </a:cubicBezTo>
                  <a:cubicBezTo>
                    <a:pt x="76" y="228"/>
                    <a:pt x="76" y="228"/>
                    <a:pt x="76" y="228"/>
                  </a:cubicBezTo>
                  <a:cubicBezTo>
                    <a:pt x="72" y="228"/>
                    <a:pt x="70" y="226"/>
                    <a:pt x="70" y="223"/>
                  </a:cubicBezTo>
                  <a:cubicBezTo>
                    <a:pt x="63" y="170"/>
                    <a:pt x="63" y="170"/>
                    <a:pt x="63" y="170"/>
                  </a:cubicBezTo>
                  <a:cubicBezTo>
                    <a:pt x="63" y="169"/>
                    <a:pt x="62" y="168"/>
                    <a:pt x="61" y="168"/>
                  </a:cubicBezTo>
                  <a:cubicBezTo>
                    <a:pt x="55" y="168"/>
                    <a:pt x="55" y="168"/>
                    <a:pt x="55" y="168"/>
                  </a:cubicBezTo>
                  <a:cubicBezTo>
                    <a:pt x="54" y="168"/>
                    <a:pt x="53" y="169"/>
                    <a:pt x="53" y="170"/>
                  </a:cubicBezTo>
                  <a:cubicBezTo>
                    <a:pt x="46" y="223"/>
                    <a:pt x="46" y="223"/>
                    <a:pt x="46" y="223"/>
                  </a:cubicBezTo>
                  <a:cubicBezTo>
                    <a:pt x="46" y="226"/>
                    <a:pt x="44" y="228"/>
                    <a:pt x="40" y="228"/>
                  </a:cubicBezTo>
                  <a:cubicBezTo>
                    <a:pt x="37" y="228"/>
                    <a:pt x="35" y="226"/>
                    <a:pt x="34" y="223"/>
                  </a:cubicBezTo>
                  <a:cubicBezTo>
                    <a:pt x="34" y="223"/>
                    <a:pt x="34" y="223"/>
                    <a:pt x="34" y="223"/>
                  </a:cubicBezTo>
                  <a:cubicBezTo>
                    <a:pt x="35" y="223"/>
                    <a:pt x="35" y="222"/>
                    <a:pt x="35" y="221"/>
                  </a:cubicBezTo>
                  <a:cubicBezTo>
                    <a:pt x="35" y="220"/>
                    <a:pt x="35" y="218"/>
                    <a:pt x="35" y="215"/>
                  </a:cubicBezTo>
                  <a:cubicBezTo>
                    <a:pt x="35" y="210"/>
                    <a:pt x="35" y="203"/>
                    <a:pt x="35" y="197"/>
                  </a:cubicBezTo>
                  <a:cubicBezTo>
                    <a:pt x="36" y="184"/>
                    <a:pt x="36" y="170"/>
                    <a:pt x="36" y="170"/>
                  </a:cubicBezTo>
                  <a:cubicBezTo>
                    <a:pt x="36" y="170"/>
                    <a:pt x="36" y="169"/>
                    <a:pt x="35" y="168"/>
                  </a:cubicBezTo>
                  <a:cubicBezTo>
                    <a:pt x="35" y="168"/>
                    <a:pt x="34" y="168"/>
                    <a:pt x="34" y="168"/>
                  </a:cubicBezTo>
                  <a:cubicBezTo>
                    <a:pt x="23" y="168"/>
                    <a:pt x="23" y="168"/>
                    <a:pt x="23" y="168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7" y="89"/>
                    <a:pt x="36" y="88"/>
                    <a:pt x="35" y="87"/>
                  </a:cubicBezTo>
                  <a:cubicBezTo>
                    <a:pt x="34" y="87"/>
                    <a:pt x="32" y="88"/>
                    <a:pt x="32" y="89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2" y="136"/>
                    <a:pt x="10" y="136"/>
                    <a:pt x="8" y="136"/>
                  </a:cubicBezTo>
                  <a:cubicBezTo>
                    <a:pt x="6" y="135"/>
                    <a:pt x="5" y="133"/>
                    <a:pt x="5" y="131"/>
                  </a:cubicBezTo>
                  <a:cubicBezTo>
                    <a:pt x="5" y="131"/>
                    <a:pt x="5" y="131"/>
                    <a:pt x="5" y="131"/>
                  </a:cubicBezTo>
                  <a:cubicBezTo>
                    <a:pt x="5" y="131"/>
                    <a:pt x="6" y="130"/>
                    <a:pt x="6" y="129"/>
                  </a:cubicBezTo>
                  <a:cubicBezTo>
                    <a:pt x="6" y="128"/>
                    <a:pt x="7" y="126"/>
                    <a:pt x="8" y="123"/>
                  </a:cubicBezTo>
                  <a:cubicBezTo>
                    <a:pt x="13" y="108"/>
                    <a:pt x="25" y="71"/>
                    <a:pt x="28" y="65"/>
                  </a:cubicBezTo>
                  <a:cubicBezTo>
                    <a:pt x="30" y="59"/>
                    <a:pt x="36" y="54"/>
                    <a:pt x="58" y="54"/>
                  </a:cubicBezTo>
                  <a:cubicBezTo>
                    <a:pt x="80" y="54"/>
                    <a:pt x="86" y="59"/>
                    <a:pt x="88" y="65"/>
                  </a:cubicBezTo>
                  <a:cubicBezTo>
                    <a:pt x="91" y="71"/>
                    <a:pt x="103" y="108"/>
                    <a:pt x="108" y="123"/>
                  </a:cubicBezTo>
                  <a:cubicBezTo>
                    <a:pt x="109" y="126"/>
                    <a:pt x="110" y="128"/>
                    <a:pt x="110" y="129"/>
                  </a:cubicBezTo>
                  <a:cubicBezTo>
                    <a:pt x="111" y="130"/>
                    <a:pt x="111" y="131"/>
                    <a:pt x="111" y="131"/>
                  </a:cubicBezTo>
                  <a:cubicBezTo>
                    <a:pt x="111" y="131"/>
                    <a:pt x="111" y="131"/>
                    <a:pt x="111" y="131"/>
                  </a:cubicBezTo>
                  <a:cubicBezTo>
                    <a:pt x="111" y="133"/>
                    <a:pt x="110" y="135"/>
                    <a:pt x="108" y="1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016425" y="1923679"/>
            <a:ext cx="3840052" cy="2520287"/>
            <a:chOff x="6688566" y="2564905"/>
            <a:chExt cx="5120069" cy="3360383"/>
          </a:xfrm>
        </p:grpSpPr>
        <p:grpSp>
          <p:nvGrpSpPr>
            <p:cNvPr id="3" name="Group 2"/>
            <p:cNvGrpSpPr/>
            <p:nvPr/>
          </p:nvGrpSpPr>
          <p:grpSpPr>
            <a:xfrm>
              <a:off x="7661985" y="2912961"/>
              <a:ext cx="4146650" cy="3012327"/>
              <a:chOff x="7661985" y="2912961"/>
              <a:chExt cx="4146650" cy="3012327"/>
            </a:xfrm>
          </p:grpSpPr>
          <p:sp>
            <p:nvSpPr>
              <p:cNvPr id="46" name="Rounded Rectangle 45"/>
              <p:cNvSpPr/>
              <p:nvPr/>
            </p:nvSpPr>
            <p:spPr>
              <a:xfrm rot="5400000">
                <a:off x="9455111" y="1197001"/>
                <a:ext cx="329184" cy="3761103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75000"/>
                  <a:alpha val="50000"/>
                </a:schemeClr>
              </a:solidFill>
              <a:ln w="793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Rounded Rectangle 47"/>
              <p:cNvSpPr/>
              <p:nvPr/>
            </p:nvSpPr>
            <p:spPr>
              <a:xfrm rot="5400000">
                <a:off x="9455111" y="1750561"/>
                <a:ext cx="329184" cy="3761103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75000"/>
                  <a:alpha val="50000"/>
                </a:schemeClr>
              </a:solidFill>
              <a:ln w="793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Rounded Rectangle 49"/>
              <p:cNvSpPr/>
              <p:nvPr/>
            </p:nvSpPr>
            <p:spPr>
              <a:xfrm rot="5400000">
                <a:off x="9455111" y="2304121"/>
                <a:ext cx="329184" cy="3761103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75000"/>
                  <a:alpha val="50000"/>
                </a:schemeClr>
              </a:solidFill>
              <a:ln w="793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Rounded Rectangle 51"/>
              <p:cNvSpPr/>
              <p:nvPr/>
            </p:nvSpPr>
            <p:spPr>
              <a:xfrm rot="5400000">
                <a:off x="9455111" y="2857681"/>
                <a:ext cx="329184" cy="3761103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75000"/>
                  <a:alpha val="50000"/>
                </a:schemeClr>
              </a:solidFill>
              <a:ln w="793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Rounded Rectangle 53"/>
              <p:cNvSpPr/>
              <p:nvPr/>
            </p:nvSpPr>
            <p:spPr>
              <a:xfrm rot="5400000">
                <a:off x="9455111" y="3411241"/>
                <a:ext cx="329184" cy="3761103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75000"/>
                  <a:alpha val="50000"/>
                </a:schemeClr>
              </a:solidFill>
              <a:ln w="793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58" name="Group 57"/>
              <p:cNvGrpSpPr/>
              <p:nvPr/>
            </p:nvGrpSpPr>
            <p:grpSpPr>
              <a:xfrm>
                <a:off x="7661985" y="5587760"/>
                <a:ext cx="4146650" cy="337528"/>
                <a:chOff x="5984569" y="2907631"/>
                <a:chExt cx="3013765" cy="253145"/>
              </a:xfrm>
            </p:grpSpPr>
            <p:sp>
              <p:nvSpPr>
                <p:cNvPr id="59" name="Rectangle 58"/>
                <p:cNvSpPr/>
                <p:nvPr/>
              </p:nvSpPr>
              <p:spPr>
                <a:xfrm>
                  <a:off x="8237578" y="2907631"/>
                  <a:ext cx="760756" cy="25314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95000"/>
                    </a:lnSpc>
                  </a:pPr>
                  <a:r>
                    <a:rPr lang="en-US" sz="1100" dirty="0"/>
                    <a:t>100%</a:t>
                  </a:r>
                </a:p>
              </p:txBody>
            </p:sp>
            <p:sp>
              <p:nvSpPr>
                <p:cNvPr id="60" name="Rectangle 59"/>
                <p:cNvSpPr/>
                <p:nvPr/>
              </p:nvSpPr>
              <p:spPr>
                <a:xfrm>
                  <a:off x="7674327" y="2907631"/>
                  <a:ext cx="760756" cy="25314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95000"/>
                    </a:lnSpc>
                  </a:pPr>
                  <a:r>
                    <a:rPr lang="en-US" sz="1100" dirty="0"/>
                    <a:t>75%</a:t>
                  </a:r>
                </a:p>
              </p:txBody>
            </p:sp>
            <p:sp>
              <p:nvSpPr>
                <p:cNvPr id="61" name="Rectangle 60"/>
                <p:cNvSpPr/>
                <p:nvPr/>
              </p:nvSpPr>
              <p:spPr>
                <a:xfrm>
                  <a:off x="7111075" y="2907631"/>
                  <a:ext cx="760756" cy="25314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95000"/>
                    </a:lnSpc>
                  </a:pPr>
                  <a:r>
                    <a:rPr lang="en-US" sz="1100" dirty="0"/>
                    <a:t>50%</a:t>
                  </a:r>
                </a:p>
              </p:txBody>
            </p:sp>
            <p:sp>
              <p:nvSpPr>
                <p:cNvPr id="62" name="Rectangle 61"/>
                <p:cNvSpPr/>
                <p:nvPr/>
              </p:nvSpPr>
              <p:spPr>
                <a:xfrm>
                  <a:off x="5984569" y="2907631"/>
                  <a:ext cx="760756" cy="25314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95000"/>
                    </a:lnSpc>
                  </a:pPr>
                  <a:r>
                    <a:rPr lang="en-US" sz="1100" dirty="0"/>
                    <a:t>0%</a:t>
                  </a:r>
                </a:p>
              </p:txBody>
            </p:sp>
            <p:sp>
              <p:nvSpPr>
                <p:cNvPr id="63" name="Rectangle 62"/>
                <p:cNvSpPr/>
                <p:nvPr/>
              </p:nvSpPr>
              <p:spPr>
                <a:xfrm>
                  <a:off x="6547822" y="2907631"/>
                  <a:ext cx="760756" cy="25314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95000"/>
                    </a:lnSpc>
                  </a:pPr>
                  <a:r>
                    <a:rPr lang="en-US" sz="1100" dirty="0"/>
                    <a:t>25%</a:t>
                  </a:r>
                </a:p>
              </p:txBody>
            </p:sp>
          </p:grpSp>
        </p:grpSp>
        <p:sp>
          <p:nvSpPr>
            <p:cNvPr id="29" name="TextBox 28"/>
            <p:cNvSpPr txBox="1"/>
            <p:nvPr/>
          </p:nvSpPr>
          <p:spPr>
            <a:xfrm>
              <a:off x="7104113" y="2564905"/>
              <a:ext cx="1754755" cy="22570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100" dirty="0" err="1"/>
                <a:t>Xxxxx</a:t>
              </a:r>
              <a:r>
                <a:rPr lang="en-US" sz="1100" dirty="0"/>
                <a:t> x </a:t>
              </a:r>
              <a:r>
                <a:rPr lang="en-US" sz="1100" dirty="0" err="1"/>
                <a:t>Xxxxxx</a:t>
              </a:r>
              <a:r>
                <a:rPr lang="en-US" sz="1100" dirty="0"/>
                <a:t> </a:t>
              </a:r>
              <a:r>
                <a:rPr lang="en-US" sz="1100" dirty="0" err="1"/>
                <a:t>Xxxx</a:t>
              </a:r>
              <a:endParaRPr lang="en-US" sz="1100" dirty="0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688566" y="5123028"/>
              <a:ext cx="935592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 dirty="0"/>
                <a:t>2015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6688566" y="4569468"/>
              <a:ext cx="935592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 dirty="0"/>
                <a:t>2014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6688566" y="4015908"/>
              <a:ext cx="935592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 dirty="0"/>
                <a:t>2013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6688566" y="3462348"/>
              <a:ext cx="935592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 dirty="0"/>
                <a:t>2012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6688566" y="2908788"/>
              <a:ext cx="935592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 dirty="0"/>
                <a:t>2011</a:t>
              </a:r>
            </a:p>
          </p:txBody>
        </p:sp>
      </p:grpSp>
      <p:sp>
        <p:nvSpPr>
          <p:cNvPr id="47" name="Rounded Rectangle 46"/>
          <p:cNvSpPr/>
          <p:nvPr/>
        </p:nvSpPr>
        <p:spPr>
          <a:xfrm>
            <a:off x="5804365" y="2184720"/>
            <a:ext cx="937392" cy="24688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 dirty="0">
                <a:solidFill>
                  <a:srgbClr val="FFFFFF"/>
                </a:solidFill>
              </a:rPr>
              <a:t>18%</a:t>
            </a:r>
          </a:p>
        </p:txBody>
      </p:sp>
      <p:sp>
        <p:nvSpPr>
          <p:cNvPr id="49" name="Rounded Rectangle 48"/>
          <p:cNvSpPr/>
          <p:nvPr/>
        </p:nvSpPr>
        <p:spPr>
          <a:xfrm>
            <a:off x="5804364" y="2599890"/>
            <a:ext cx="1530671" cy="24688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 dirty="0">
                <a:solidFill>
                  <a:srgbClr val="FFFFFF"/>
                </a:solidFill>
              </a:rPr>
              <a:t>45%</a:t>
            </a:r>
          </a:p>
        </p:txBody>
      </p:sp>
      <p:sp>
        <p:nvSpPr>
          <p:cNvPr id="51" name="Rounded Rectangle 50"/>
          <p:cNvSpPr/>
          <p:nvPr/>
        </p:nvSpPr>
        <p:spPr>
          <a:xfrm>
            <a:off x="5804363" y="3015060"/>
            <a:ext cx="1481232" cy="246888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 dirty="0">
                <a:solidFill>
                  <a:srgbClr val="FFFFFF"/>
                </a:solidFill>
              </a:rPr>
              <a:t>40%</a:t>
            </a:r>
          </a:p>
        </p:txBody>
      </p:sp>
      <p:sp>
        <p:nvSpPr>
          <p:cNvPr id="53" name="Rounded Rectangle 52"/>
          <p:cNvSpPr/>
          <p:nvPr/>
        </p:nvSpPr>
        <p:spPr>
          <a:xfrm>
            <a:off x="5804363" y="3430230"/>
            <a:ext cx="1974935" cy="24688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 dirty="0">
                <a:solidFill>
                  <a:srgbClr val="FFFFFF"/>
                </a:solidFill>
              </a:rPr>
              <a:t>68%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5804364" y="3845400"/>
            <a:ext cx="1827311" cy="246888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 dirty="0">
                <a:solidFill>
                  <a:srgbClr val="FFFFFF"/>
                </a:solidFill>
              </a:rPr>
              <a:t>62%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989C53D0-5EAA-F04C-9903-E2CE950176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5C0DA039-97D1-CE49-9F6A-CBAF296DA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420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4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6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8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0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2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1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3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1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4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1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50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1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6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1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 animBg="1"/>
      <p:bldP spid="26" grpId="0" animBg="1"/>
      <p:bldP spid="27" grpId="0" animBg="1"/>
      <p:bldP spid="28" grpId="0" animBg="1"/>
      <p:bldP spid="31" grpId="0"/>
      <p:bldP spid="32" grpId="0"/>
      <p:bldP spid="47" grpId="0" animBg="1"/>
      <p:bldP spid="49" grpId="0" animBg="1"/>
      <p:bldP spid="51" grpId="0" animBg="1"/>
      <p:bldP spid="53" grpId="0" animBg="1"/>
      <p:bldP spid="55" grpId="0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863798" y="1167595"/>
            <a:ext cx="2904447" cy="3543997"/>
            <a:chOff x="5151730" y="1556792"/>
            <a:chExt cx="3872596" cy="4725330"/>
          </a:xfrm>
        </p:grpSpPr>
        <p:sp>
          <p:nvSpPr>
            <p:cNvPr id="75" name="Rectangle 74"/>
            <p:cNvSpPr/>
            <p:nvPr/>
          </p:nvSpPr>
          <p:spPr>
            <a:xfrm>
              <a:off x="5151730" y="5431708"/>
              <a:ext cx="899796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/>
                <a:t>2018</a:t>
              </a:r>
            </a:p>
          </p:txBody>
        </p:sp>
        <p:sp>
          <p:nvSpPr>
            <p:cNvPr id="76" name="Rectangle 75"/>
            <p:cNvSpPr/>
            <p:nvPr/>
          </p:nvSpPr>
          <p:spPr>
            <a:xfrm>
              <a:off x="5151730" y="4878152"/>
              <a:ext cx="899796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/>
                <a:t>2017</a:t>
              </a: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5151730" y="4324592"/>
              <a:ext cx="899796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/>
                <a:t>2016</a:t>
              </a: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5151730" y="3771032"/>
              <a:ext cx="899796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/>
                <a:t>2015</a:t>
              </a: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5151730" y="3217472"/>
              <a:ext cx="899796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/>
                <a:t>2014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5151730" y="2663912"/>
              <a:ext cx="899796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/>
                <a:t>2013</a:t>
              </a: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5151730" y="2110352"/>
              <a:ext cx="899796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/>
                <a:t>2012</a:t>
              </a: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5151730" y="1556792"/>
              <a:ext cx="899796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/>
                <a:t>2011</a:t>
              </a:r>
            </a:p>
          </p:txBody>
        </p:sp>
        <p:sp>
          <p:nvSpPr>
            <p:cNvPr id="57" name="Rounded Rectangle 56"/>
            <p:cNvSpPr/>
            <p:nvPr/>
          </p:nvSpPr>
          <p:spPr>
            <a:xfrm rot="5400000">
              <a:off x="7154449" y="531083"/>
              <a:ext cx="329184" cy="238894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50000"/>
                <a:alpha val="20000"/>
              </a:schemeClr>
            </a:solidFill>
            <a:ln w="793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59" name="Rounded Rectangle 58"/>
            <p:cNvSpPr/>
            <p:nvPr/>
          </p:nvSpPr>
          <p:spPr>
            <a:xfrm rot="5400000">
              <a:off x="7154449" y="1084643"/>
              <a:ext cx="329184" cy="238894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50000"/>
                <a:alpha val="20000"/>
              </a:schemeClr>
            </a:solidFill>
            <a:ln w="793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61" name="Rounded Rectangle 60"/>
            <p:cNvSpPr/>
            <p:nvPr/>
          </p:nvSpPr>
          <p:spPr>
            <a:xfrm rot="5400000">
              <a:off x="7154449" y="1638203"/>
              <a:ext cx="329184" cy="238894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50000"/>
                <a:alpha val="20000"/>
              </a:schemeClr>
            </a:solidFill>
            <a:ln w="793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63" name="Rounded Rectangle 62"/>
            <p:cNvSpPr/>
            <p:nvPr/>
          </p:nvSpPr>
          <p:spPr>
            <a:xfrm rot="5400000">
              <a:off x="7154449" y="2191763"/>
              <a:ext cx="329184" cy="238894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50000"/>
                <a:alpha val="20000"/>
              </a:schemeClr>
            </a:solidFill>
            <a:ln w="793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65" name="Rounded Rectangle 64"/>
            <p:cNvSpPr/>
            <p:nvPr/>
          </p:nvSpPr>
          <p:spPr>
            <a:xfrm rot="5400000">
              <a:off x="7154449" y="2745323"/>
              <a:ext cx="329184" cy="238894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50000"/>
                <a:alpha val="20000"/>
              </a:schemeClr>
            </a:solidFill>
            <a:ln w="793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67" name="Rounded Rectangle 66"/>
            <p:cNvSpPr/>
            <p:nvPr/>
          </p:nvSpPr>
          <p:spPr>
            <a:xfrm rot="5400000">
              <a:off x="7154449" y="3298883"/>
              <a:ext cx="329184" cy="238894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50000"/>
                <a:alpha val="20000"/>
              </a:schemeClr>
            </a:solidFill>
            <a:ln w="793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69" name="Rounded Rectangle 68"/>
            <p:cNvSpPr/>
            <p:nvPr/>
          </p:nvSpPr>
          <p:spPr>
            <a:xfrm rot="5400000">
              <a:off x="7154449" y="3852443"/>
              <a:ext cx="329184" cy="238894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50000"/>
                <a:alpha val="20000"/>
              </a:schemeClr>
            </a:solidFill>
            <a:ln w="793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71" name="Rounded Rectangle 70"/>
            <p:cNvSpPr/>
            <p:nvPr/>
          </p:nvSpPr>
          <p:spPr>
            <a:xfrm rot="5400000">
              <a:off x="7154449" y="4405999"/>
              <a:ext cx="329184" cy="238894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50000"/>
                <a:alpha val="20000"/>
              </a:schemeClr>
            </a:solidFill>
            <a:ln w="793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8279975" y="5944594"/>
              <a:ext cx="744351" cy="3375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sz="1100"/>
                <a:t>100%</a:t>
              </a: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7728871" y="5944593"/>
              <a:ext cx="744351" cy="3375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sz="1100"/>
                <a:t>75%</a:t>
              </a: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7177766" y="5944593"/>
              <a:ext cx="744351" cy="3375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sz="1100"/>
                <a:t>50%</a:t>
              </a: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6075553" y="5944593"/>
              <a:ext cx="744351" cy="3375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sz="1100"/>
                <a:t>0%</a:t>
              </a:r>
            </a:p>
          </p:txBody>
        </p:sp>
        <p:sp>
          <p:nvSpPr>
            <p:cNvPr id="89" name="Rectangle 88"/>
            <p:cNvSpPr/>
            <p:nvPr/>
          </p:nvSpPr>
          <p:spPr>
            <a:xfrm>
              <a:off x="6626659" y="5944593"/>
              <a:ext cx="744351" cy="3375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sz="1100"/>
                <a:t>25%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39552" y="901290"/>
            <a:ext cx="3248025" cy="3722688"/>
            <a:chOff x="1022351" y="641350"/>
            <a:chExt cx="3248025" cy="3722688"/>
          </a:xfrm>
        </p:grpSpPr>
        <p:grpSp>
          <p:nvGrpSpPr>
            <p:cNvPr id="3" name="Group 2"/>
            <p:cNvGrpSpPr/>
            <p:nvPr/>
          </p:nvGrpSpPr>
          <p:grpSpPr>
            <a:xfrm>
              <a:off x="1022351" y="641350"/>
              <a:ext cx="3248025" cy="3722688"/>
              <a:chOff x="1022351" y="641350"/>
              <a:chExt cx="3248025" cy="3722688"/>
            </a:xfrm>
          </p:grpSpPr>
          <p:sp>
            <p:nvSpPr>
              <p:cNvPr id="108" name="Freeform 6"/>
              <p:cNvSpPr>
                <a:spLocks noEditPoints="1"/>
              </p:cNvSpPr>
              <p:nvPr/>
            </p:nvSpPr>
            <p:spPr bwMode="auto">
              <a:xfrm>
                <a:off x="2024063" y="2728913"/>
                <a:ext cx="236538" cy="195262"/>
              </a:xfrm>
              <a:custGeom>
                <a:avLst/>
                <a:gdLst>
                  <a:gd name="T0" fmla="*/ 22 w 149"/>
                  <a:gd name="T1" fmla="*/ 100 h 123"/>
                  <a:gd name="T2" fmla="*/ 27 w 149"/>
                  <a:gd name="T3" fmla="*/ 91 h 123"/>
                  <a:gd name="T4" fmla="*/ 95 w 149"/>
                  <a:gd name="T5" fmla="*/ 105 h 123"/>
                  <a:gd name="T6" fmla="*/ 86 w 149"/>
                  <a:gd name="T7" fmla="*/ 109 h 123"/>
                  <a:gd name="T8" fmla="*/ 86 w 149"/>
                  <a:gd name="T9" fmla="*/ 105 h 123"/>
                  <a:gd name="T10" fmla="*/ 72 w 149"/>
                  <a:gd name="T11" fmla="*/ 114 h 123"/>
                  <a:gd name="T12" fmla="*/ 72 w 149"/>
                  <a:gd name="T13" fmla="*/ 114 h 123"/>
                  <a:gd name="T14" fmla="*/ 68 w 149"/>
                  <a:gd name="T15" fmla="*/ 109 h 123"/>
                  <a:gd name="T16" fmla="*/ 149 w 149"/>
                  <a:gd name="T17" fmla="*/ 78 h 123"/>
                  <a:gd name="T18" fmla="*/ 145 w 149"/>
                  <a:gd name="T19" fmla="*/ 59 h 123"/>
                  <a:gd name="T20" fmla="*/ 145 w 149"/>
                  <a:gd name="T21" fmla="*/ 41 h 123"/>
                  <a:gd name="T22" fmla="*/ 140 w 149"/>
                  <a:gd name="T23" fmla="*/ 23 h 123"/>
                  <a:gd name="T24" fmla="*/ 122 w 149"/>
                  <a:gd name="T25" fmla="*/ 5 h 123"/>
                  <a:gd name="T26" fmla="*/ 104 w 149"/>
                  <a:gd name="T27" fmla="*/ 0 h 123"/>
                  <a:gd name="T28" fmla="*/ 90 w 149"/>
                  <a:gd name="T29" fmla="*/ 5 h 123"/>
                  <a:gd name="T30" fmla="*/ 72 w 149"/>
                  <a:gd name="T31" fmla="*/ 19 h 123"/>
                  <a:gd name="T32" fmla="*/ 68 w 149"/>
                  <a:gd name="T33" fmla="*/ 23 h 123"/>
                  <a:gd name="T34" fmla="*/ 63 w 149"/>
                  <a:gd name="T35" fmla="*/ 32 h 123"/>
                  <a:gd name="T36" fmla="*/ 45 w 149"/>
                  <a:gd name="T37" fmla="*/ 32 h 123"/>
                  <a:gd name="T38" fmla="*/ 36 w 149"/>
                  <a:gd name="T39" fmla="*/ 32 h 123"/>
                  <a:gd name="T40" fmla="*/ 27 w 149"/>
                  <a:gd name="T41" fmla="*/ 32 h 123"/>
                  <a:gd name="T42" fmla="*/ 13 w 149"/>
                  <a:gd name="T43" fmla="*/ 41 h 123"/>
                  <a:gd name="T44" fmla="*/ 9 w 149"/>
                  <a:gd name="T45" fmla="*/ 50 h 123"/>
                  <a:gd name="T46" fmla="*/ 0 w 149"/>
                  <a:gd name="T47" fmla="*/ 64 h 123"/>
                  <a:gd name="T48" fmla="*/ 0 w 149"/>
                  <a:gd name="T49" fmla="*/ 82 h 123"/>
                  <a:gd name="T50" fmla="*/ 18 w 149"/>
                  <a:gd name="T51" fmla="*/ 105 h 123"/>
                  <a:gd name="T52" fmla="*/ 31 w 149"/>
                  <a:gd name="T53" fmla="*/ 87 h 123"/>
                  <a:gd name="T54" fmla="*/ 45 w 149"/>
                  <a:gd name="T55" fmla="*/ 87 h 123"/>
                  <a:gd name="T56" fmla="*/ 50 w 149"/>
                  <a:gd name="T57" fmla="*/ 91 h 123"/>
                  <a:gd name="T58" fmla="*/ 50 w 149"/>
                  <a:gd name="T59" fmla="*/ 100 h 123"/>
                  <a:gd name="T60" fmla="*/ 54 w 149"/>
                  <a:gd name="T61" fmla="*/ 109 h 123"/>
                  <a:gd name="T62" fmla="*/ 59 w 149"/>
                  <a:gd name="T63" fmla="*/ 105 h 123"/>
                  <a:gd name="T64" fmla="*/ 72 w 149"/>
                  <a:gd name="T65" fmla="*/ 105 h 123"/>
                  <a:gd name="T66" fmla="*/ 77 w 149"/>
                  <a:gd name="T67" fmla="*/ 100 h 123"/>
                  <a:gd name="T68" fmla="*/ 90 w 149"/>
                  <a:gd name="T69" fmla="*/ 100 h 123"/>
                  <a:gd name="T70" fmla="*/ 113 w 149"/>
                  <a:gd name="T71" fmla="*/ 91 h 123"/>
                  <a:gd name="T72" fmla="*/ 118 w 149"/>
                  <a:gd name="T73" fmla="*/ 96 h 123"/>
                  <a:gd name="T74" fmla="*/ 113 w 149"/>
                  <a:gd name="T75" fmla="*/ 96 h 123"/>
                  <a:gd name="T76" fmla="*/ 109 w 149"/>
                  <a:gd name="T77" fmla="*/ 105 h 123"/>
                  <a:gd name="T78" fmla="*/ 118 w 149"/>
                  <a:gd name="T79" fmla="*/ 105 h 123"/>
                  <a:gd name="T80" fmla="*/ 122 w 149"/>
                  <a:gd name="T81" fmla="*/ 100 h 123"/>
                  <a:gd name="T82" fmla="*/ 127 w 149"/>
                  <a:gd name="T83" fmla="*/ 87 h 123"/>
                  <a:gd name="T84" fmla="*/ 136 w 149"/>
                  <a:gd name="T85" fmla="*/ 96 h 123"/>
                  <a:gd name="T86" fmla="*/ 131 w 149"/>
                  <a:gd name="T87" fmla="*/ 100 h 123"/>
                  <a:gd name="T88" fmla="*/ 145 w 149"/>
                  <a:gd name="T89" fmla="*/ 87 h 123"/>
                  <a:gd name="T90" fmla="*/ 149 w 149"/>
                  <a:gd name="T91" fmla="*/ 82 h 123"/>
                  <a:gd name="T92" fmla="*/ 45 w 149"/>
                  <a:gd name="T93" fmla="*/ 114 h 123"/>
                  <a:gd name="T94" fmla="*/ 50 w 149"/>
                  <a:gd name="T95" fmla="*/ 114 h 123"/>
                  <a:gd name="T96" fmla="*/ 50 w 149"/>
                  <a:gd name="T97" fmla="*/ 118 h 123"/>
                  <a:gd name="T98" fmla="*/ 41 w 149"/>
                  <a:gd name="T99" fmla="*/ 123 h 123"/>
                  <a:gd name="T100" fmla="*/ 100 w 149"/>
                  <a:gd name="T101" fmla="*/ 109 h 123"/>
                  <a:gd name="T102" fmla="*/ 104 w 149"/>
                  <a:gd name="T103" fmla="*/ 100 h 123"/>
                  <a:gd name="T104" fmla="*/ 95 w 149"/>
                  <a:gd name="T105" fmla="*/ 114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9" h="123">
                    <a:moveTo>
                      <a:pt x="31" y="96"/>
                    </a:moveTo>
                    <a:lnTo>
                      <a:pt x="31" y="96"/>
                    </a:lnTo>
                    <a:lnTo>
                      <a:pt x="31" y="96"/>
                    </a:lnTo>
                    <a:lnTo>
                      <a:pt x="31" y="96"/>
                    </a:lnTo>
                    <a:lnTo>
                      <a:pt x="27" y="96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27" y="96"/>
                    </a:lnTo>
                    <a:lnTo>
                      <a:pt x="27" y="91"/>
                    </a:lnTo>
                    <a:lnTo>
                      <a:pt x="27" y="91"/>
                    </a:lnTo>
                    <a:lnTo>
                      <a:pt x="31" y="91"/>
                    </a:lnTo>
                    <a:lnTo>
                      <a:pt x="31" y="96"/>
                    </a:lnTo>
                    <a:moveTo>
                      <a:pt x="95" y="100"/>
                    </a:moveTo>
                    <a:lnTo>
                      <a:pt x="95" y="100"/>
                    </a:lnTo>
                    <a:lnTo>
                      <a:pt x="95" y="105"/>
                    </a:lnTo>
                    <a:lnTo>
                      <a:pt x="90" y="105"/>
                    </a:lnTo>
                    <a:lnTo>
                      <a:pt x="90" y="109"/>
                    </a:lnTo>
                    <a:lnTo>
                      <a:pt x="90" y="109"/>
                    </a:lnTo>
                    <a:lnTo>
                      <a:pt x="90" y="109"/>
                    </a:lnTo>
                    <a:lnTo>
                      <a:pt x="86" y="109"/>
                    </a:lnTo>
                    <a:lnTo>
                      <a:pt x="86" y="109"/>
                    </a:lnTo>
                    <a:lnTo>
                      <a:pt x="86" y="109"/>
                    </a:lnTo>
                    <a:lnTo>
                      <a:pt x="81" y="109"/>
                    </a:lnTo>
                    <a:lnTo>
                      <a:pt x="81" y="105"/>
                    </a:lnTo>
                    <a:lnTo>
                      <a:pt x="86" y="105"/>
                    </a:lnTo>
                    <a:lnTo>
                      <a:pt x="86" y="105"/>
                    </a:lnTo>
                    <a:lnTo>
                      <a:pt x="86" y="105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90" y="100"/>
                    </a:lnTo>
                    <a:lnTo>
                      <a:pt x="95" y="100"/>
                    </a:lnTo>
                    <a:moveTo>
                      <a:pt x="72" y="114"/>
                    </a:moveTo>
                    <a:lnTo>
                      <a:pt x="72" y="114"/>
                    </a:lnTo>
                    <a:lnTo>
                      <a:pt x="72" y="114"/>
                    </a:lnTo>
                    <a:lnTo>
                      <a:pt x="72" y="114"/>
                    </a:lnTo>
                    <a:lnTo>
                      <a:pt x="72" y="114"/>
                    </a:lnTo>
                    <a:lnTo>
                      <a:pt x="72" y="114"/>
                    </a:lnTo>
                    <a:lnTo>
                      <a:pt x="72" y="114"/>
                    </a:lnTo>
                    <a:lnTo>
                      <a:pt x="72" y="114"/>
                    </a:lnTo>
                    <a:lnTo>
                      <a:pt x="72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72" y="109"/>
                    </a:lnTo>
                    <a:lnTo>
                      <a:pt x="72" y="109"/>
                    </a:lnTo>
                    <a:lnTo>
                      <a:pt x="72" y="114"/>
                    </a:lnTo>
                    <a:moveTo>
                      <a:pt x="149" y="78"/>
                    </a:moveTo>
                    <a:lnTo>
                      <a:pt x="149" y="78"/>
                    </a:lnTo>
                    <a:lnTo>
                      <a:pt x="149" y="78"/>
                    </a:lnTo>
                    <a:lnTo>
                      <a:pt x="149" y="78"/>
                    </a:lnTo>
                    <a:lnTo>
                      <a:pt x="149" y="73"/>
                    </a:lnTo>
                    <a:lnTo>
                      <a:pt x="145" y="69"/>
                    </a:lnTo>
                    <a:lnTo>
                      <a:pt x="145" y="69"/>
                    </a:lnTo>
                    <a:lnTo>
                      <a:pt x="145" y="64"/>
                    </a:lnTo>
                    <a:lnTo>
                      <a:pt x="145" y="59"/>
                    </a:lnTo>
                    <a:lnTo>
                      <a:pt x="145" y="55"/>
                    </a:lnTo>
                    <a:lnTo>
                      <a:pt x="145" y="50"/>
                    </a:lnTo>
                    <a:lnTo>
                      <a:pt x="145" y="50"/>
                    </a:lnTo>
                    <a:lnTo>
                      <a:pt x="145" y="46"/>
                    </a:lnTo>
                    <a:lnTo>
                      <a:pt x="145" y="46"/>
                    </a:lnTo>
                    <a:lnTo>
                      <a:pt x="145" y="41"/>
                    </a:lnTo>
                    <a:lnTo>
                      <a:pt x="145" y="41"/>
                    </a:lnTo>
                    <a:lnTo>
                      <a:pt x="140" y="37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40" y="28"/>
                    </a:lnTo>
                    <a:lnTo>
                      <a:pt x="140" y="23"/>
                    </a:lnTo>
                    <a:lnTo>
                      <a:pt x="140" y="19"/>
                    </a:lnTo>
                    <a:lnTo>
                      <a:pt x="140" y="14"/>
                    </a:lnTo>
                    <a:lnTo>
                      <a:pt x="136" y="10"/>
                    </a:lnTo>
                    <a:lnTo>
                      <a:pt x="131" y="5"/>
                    </a:lnTo>
                    <a:lnTo>
                      <a:pt x="127" y="5"/>
                    </a:lnTo>
                    <a:lnTo>
                      <a:pt x="122" y="5"/>
                    </a:lnTo>
                    <a:lnTo>
                      <a:pt x="118" y="5"/>
                    </a:lnTo>
                    <a:lnTo>
                      <a:pt x="113" y="5"/>
                    </a:lnTo>
                    <a:lnTo>
                      <a:pt x="113" y="5"/>
                    </a:lnTo>
                    <a:lnTo>
                      <a:pt x="109" y="5"/>
                    </a:lnTo>
                    <a:lnTo>
                      <a:pt x="109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0" y="0"/>
                    </a:lnTo>
                    <a:lnTo>
                      <a:pt x="95" y="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0" y="5"/>
                    </a:lnTo>
                    <a:lnTo>
                      <a:pt x="86" y="5"/>
                    </a:lnTo>
                    <a:lnTo>
                      <a:pt x="81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2" y="19"/>
                    </a:lnTo>
                    <a:lnTo>
                      <a:pt x="72" y="19"/>
                    </a:lnTo>
                    <a:lnTo>
                      <a:pt x="72" y="19"/>
                    </a:lnTo>
                    <a:lnTo>
                      <a:pt x="68" y="19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72" y="28"/>
                    </a:lnTo>
                    <a:lnTo>
                      <a:pt x="72" y="28"/>
                    </a:lnTo>
                    <a:lnTo>
                      <a:pt x="72" y="28"/>
                    </a:lnTo>
                    <a:lnTo>
                      <a:pt x="72" y="28"/>
                    </a:lnTo>
                    <a:lnTo>
                      <a:pt x="63" y="32"/>
                    </a:lnTo>
                    <a:lnTo>
                      <a:pt x="59" y="32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0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1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18" y="37"/>
                    </a:lnTo>
                    <a:lnTo>
                      <a:pt x="13" y="37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13" y="46"/>
                    </a:lnTo>
                    <a:lnTo>
                      <a:pt x="13" y="46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5"/>
                    </a:lnTo>
                    <a:lnTo>
                      <a:pt x="9" y="55"/>
                    </a:lnTo>
                    <a:lnTo>
                      <a:pt x="4" y="59"/>
                    </a:lnTo>
                    <a:lnTo>
                      <a:pt x="4" y="59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9"/>
                    </a:lnTo>
                    <a:lnTo>
                      <a:pt x="0" y="69"/>
                    </a:lnTo>
                    <a:lnTo>
                      <a:pt x="0" y="69"/>
                    </a:lnTo>
                    <a:lnTo>
                      <a:pt x="0" y="73"/>
                    </a:lnTo>
                    <a:lnTo>
                      <a:pt x="0" y="82"/>
                    </a:lnTo>
                    <a:lnTo>
                      <a:pt x="4" y="96"/>
                    </a:lnTo>
                    <a:lnTo>
                      <a:pt x="9" y="100"/>
                    </a:lnTo>
                    <a:lnTo>
                      <a:pt x="9" y="100"/>
                    </a:lnTo>
                    <a:lnTo>
                      <a:pt x="9" y="100"/>
                    </a:lnTo>
                    <a:lnTo>
                      <a:pt x="13" y="105"/>
                    </a:lnTo>
                    <a:lnTo>
                      <a:pt x="18" y="105"/>
                    </a:lnTo>
                    <a:lnTo>
                      <a:pt x="18" y="105"/>
                    </a:lnTo>
                    <a:lnTo>
                      <a:pt x="18" y="105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27" y="91"/>
                    </a:lnTo>
                    <a:lnTo>
                      <a:pt x="31" y="87"/>
                    </a:lnTo>
                    <a:lnTo>
                      <a:pt x="36" y="87"/>
                    </a:lnTo>
                    <a:lnTo>
                      <a:pt x="36" y="87"/>
                    </a:lnTo>
                    <a:lnTo>
                      <a:pt x="41" y="87"/>
                    </a:lnTo>
                    <a:lnTo>
                      <a:pt x="45" y="87"/>
                    </a:lnTo>
                    <a:lnTo>
                      <a:pt x="45" y="87"/>
                    </a:lnTo>
                    <a:lnTo>
                      <a:pt x="45" y="87"/>
                    </a:lnTo>
                    <a:lnTo>
                      <a:pt x="50" y="87"/>
                    </a:lnTo>
                    <a:lnTo>
                      <a:pt x="50" y="91"/>
                    </a:lnTo>
                    <a:lnTo>
                      <a:pt x="50" y="91"/>
                    </a:lnTo>
                    <a:lnTo>
                      <a:pt x="50" y="91"/>
                    </a:lnTo>
                    <a:lnTo>
                      <a:pt x="50" y="91"/>
                    </a:lnTo>
                    <a:lnTo>
                      <a:pt x="50" y="91"/>
                    </a:lnTo>
                    <a:lnTo>
                      <a:pt x="50" y="91"/>
                    </a:lnTo>
                    <a:lnTo>
                      <a:pt x="50" y="96"/>
                    </a:lnTo>
                    <a:lnTo>
                      <a:pt x="45" y="96"/>
                    </a:lnTo>
                    <a:lnTo>
                      <a:pt x="45" y="96"/>
                    </a:lnTo>
                    <a:lnTo>
                      <a:pt x="50" y="96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0" y="105"/>
                    </a:lnTo>
                    <a:lnTo>
                      <a:pt x="54" y="105"/>
                    </a:lnTo>
                    <a:lnTo>
                      <a:pt x="50" y="109"/>
                    </a:lnTo>
                    <a:lnTo>
                      <a:pt x="50" y="109"/>
                    </a:lnTo>
                    <a:lnTo>
                      <a:pt x="54" y="109"/>
                    </a:lnTo>
                    <a:lnTo>
                      <a:pt x="54" y="109"/>
                    </a:lnTo>
                    <a:lnTo>
                      <a:pt x="54" y="109"/>
                    </a:lnTo>
                    <a:lnTo>
                      <a:pt x="59" y="109"/>
                    </a:lnTo>
                    <a:lnTo>
                      <a:pt x="59" y="105"/>
                    </a:lnTo>
                    <a:lnTo>
                      <a:pt x="59" y="105"/>
                    </a:lnTo>
                    <a:lnTo>
                      <a:pt x="59" y="105"/>
                    </a:lnTo>
                    <a:lnTo>
                      <a:pt x="59" y="109"/>
                    </a:lnTo>
                    <a:lnTo>
                      <a:pt x="59" y="109"/>
                    </a:lnTo>
                    <a:lnTo>
                      <a:pt x="59" y="109"/>
                    </a:lnTo>
                    <a:lnTo>
                      <a:pt x="63" y="109"/>
                    </a:lnTo>
                    <a:lnTo>
                      <a:pt x="68" y="105"/>
                    </a:lnTo>
                    <a:lnTo>
                      <a:pt x="72" y="105"/>
                    </a:lnTo>
                    <a:lnTo>
                      <a:pt x="72" y="105"/>
                    </a:lnTo>
                    <a:lnTo>
                      <a:pt x="77" y="105"/>
                    </a:lnTo>
                    <a:lnTo>
                      <a:pt x="77" y="105"/>
                    </a:lnTo>
                    <a:lnTo>
                      <a:pt x="77" y="105"/>
                    </a:lnTo>
                    <a:lnTo>
                      <a:pt x="77" y="105"/>
                    </a:lnTo>
                    <a:lnTo>
                      <a:pt x="77" y="100"/>
                    </a:lnTo>
                    <a:lnTo>
                      <a:pt x="77" y="100"/>
                    </a:lnTo>
                    <a:lnTo>
                      <a:pt x="77" y="100"/>
                    </a:lnTo>
                    <a:lnTo>
                      <a:pt x="81" y="100"/>
                    </a:lnTo>
                    <a:lnTo>
                      <a:pt x="81" y="96"/>
                    </a:lnTo>
                    <a:lnTo>
                      <a:pt x="86" y="100"/>
                    </a:lnTo>
                    <a:lnTo>
                      <a:pt x="90" y="100"/>
                    </a:lnTo>
                    <a:lnTo>
                      <a:pt x="90" y="96"/>
                    </a:lnTo>
                    <a:lnTo>
                      <a:pt x="104" y="96"/>
                    </a:lnTo>
                    <a:lnTo>
                      <a:pt x="109" y="96"/>
                    </a:lnTo>
                    <a:lnTo>
                      <a:pt x="109" y="96"/>
                    </a:lnTo>
                    <a:lnTo>
                      <a:pt x="109" y="91"/>
                    </a:lnTo>
                    <a:lnTo>
                      <a:pt x="113" y="91"/>
                    </a:lnTo>
                    <a:lnTo>
                      <a:pt x="113" y="91"/>
                    </a:lnTo>
                    <a:lnTo>
                      <a:pt x="113" y="91"/>
                    </a:lnTo>
                    <a:lnTo>
                      <a:pt x="113" y="91"/>
                    </a:lnTo>
                    <a:lnTo>
                      <a:pt x="118" y="91"/>
                    </a:lnTo>
                    <a:lnTo>
                      <a:pt x="118" y="91"/>
                    </a:lnTo>
                    <a:lnTo>
                      <a:pt x="118" y="96"/>
                    </a:lnTo>
                    <a:lnTo>
                      <a:pt x="118" y="96"/>
                    </a:lnTo>
                    <a:lnTo>
                      <a:pt x="118" y="96"/>
                    </a:lnTo>
                    <a:lnTo>
                      <a:pt x="113" y="100"/>
                    </a:lnTo>
                    <a:lnTo>
                      <a:pt x="113" y="100"/>
                    </a:lnTo>
                    <a:lnTo>
                      <a:pt x="113" y="100"/>
                    </a:lnTo>
                    <a:lnTo>
                      <a:pt x="113" y="96"/>
                    </a:lnTo>
                    <a:lnTo>
                      <a:pt x="113" y="96"/>
                    </a:lnTo>
                    <a:lnTo>
                      <a:pt x="113" y="96"/>
                    </a:lnTo>
                    <a:lnTo>
                      <a:pt x="109" y="96"/>
                    </a:lnTo>
                    <a:lnTo>
                      <a:pt x="109" y="100"/>
                    </a:lnTo>
                    <a:lnTo>
                      <a:pt x="109" y="100"/>
                    </a:lnTo>
                    <a:lnTo>
                      <a:pt x="109" y="105"/>
                    </a:lnTo>
                    <a:lnTo>
                      <a:pt x="109" y="105"/>
                    </a:lnTo>
                    <a:lnTo>
                      <a:pt x="109" y="109"/>
                    </a:lnTo>
                    <a:lnTo>
                      <a:pt x="113" y="105"/>
                    </a:lnTo>
                    <a:lnTo>
                      <a:pt x="113" y="105"/>
                    </a:lnTo>
                    <a:lnTo>
                      <a:pt x="118" y="105"/>
                    </a:lnTo>
                    <a:lnTo>
                      <a:pt x="118" y="105"/>
                    </a:lnTo>
                    <a:lnTo>
                      <a:pt x="118" y="105"/>
                    </a:lnTo>
                    <a:lnTo>
                      <a:pt x="118" y="105"/>
                    </a:lnTo>
                    <a:lnTo>
                      <a:pt x="118" y="105"/>
                    </a:lnTo>
                    <a:lnTo>
                      <a:pt x="122" y="105"/>
                    </a:lnTo>
                    <a:lnTo>
                      <a:pt x="122" y="105"/>
                    </a:lnTo>
                    <a:lnTo>
                      <a:pt x="122" y="100"/>
                    </a:lnTo>
                    <a:lnTo>
                      <a:pt x="122" y="100"/>
                    </a:lnTo>
                    <a:lnTo>
                      <a:pt x="122" y="96"/>
                    </a:lnTo>
                    <a:lnTo>
                      <a:pt x="122" y="96"/>
                    </a:lnTo>
                    <a:lnTo>
                      <a:pt x="122" y="96"/>
                    </a:lnTo>
                    <a:lnTo>
                      <a:pt x="127" y="91"/>
                    </a:lnTo>
                    <a:lnTo>
                      <a:pt x="127" y="87"/>
                    </a:lnTo>
                    <a:lnTo>
                      <a:pt x="131" y="87"/>
                    </a:lnTo>
                    <a:lnTo>
                      <a:pt x="131" y="91"/>
                    </a:lnTo>
                    <a:lnTo>
                      <a:pt x="131" y="91"/>
                    </a:lnTo>
                    <a:lnTo>
                      <a:pt x="131" y="91"/>
                    </a:lnTo>
                    <a:lnTo>
                      <a:pt x="131" y="91"/>
                    </a:lnTo>
                    <a:lnTo>
                      <a:pt x="136" y="96"/>
                    </a:lnTo>
                    <a:lnTo>
                      <a:pt x="136" y="96"/>
                    </a:lnTo>
                    <a:lnTo>
                      <a:pt x="136" y="96"/>
                    </a:lnTo>
                    <a:lnTo>
                      <a:pt x="131" y="96"/>
                    </a:lnTo>
                    <a:lnTo>
                      <a:pt x="131" y="96"/>
                    </a:lnTo>
                    <a:lnTo>
                      <a:pt x="131" y="100"/>
                    </a:lnTo>
                    <a:lnTo>
                      <a:pt x="131" y="100"/>
                    </a:lnTo>
                    <a:lnTo>
                      <a:pt x="131" y="100"/>
                    </a:lnTo>
                    <a:lnTo>
                      <a:pt x="131" y="100"/>
                    </a:lnTo>
                    <a:lnTo>
                      <a:pt x="131" y="100"/>
                    </a:lnTo>
                    <a:lnTo>
                      <a:pt x="136" y="100"/>
                    </a:lnTo>
                    <a:lnTo>
                      <a:pt x="136" y="96"/>
                    </a:lnTo>
                    <a:lnTo>
                      <a:pt x="145" y="87"/>
                    </a:lnTo>
                    <a:lnTo>
                      <a:pt x="149" y="87"/>
                    </a:lnTo>
                    <a:lnTo>
                      <a:pt x="145" y="87"/>
                    </a:lnTo>
                    <a:lnTo>
                      <a:pt x="149" y="82"/>
                    </a:lnTo>
                    <a:lnTo>
                      <a:pt x="149" y="82"/>
                    </a:lnTo>
                    <a:lnTo>
                      <a:pt x="149" y="82"/>
                    </a:lnTo>
                    <a:lnTo>
                      <a:pt x="149" y="82"/>
                    </a:lnTo>
                    <a:lnTo>
                      <a:pt x="149" y="78"/>
                    </a:lnTo>
                    <a:moveTo>
                      <a:pt x="45" y="118"/>
                    </a:moveTo>
                    <a:lnTo>
                      <a:pt x="45" y="118"/>
                    </a:lnTo>
                    <a:lnTo>
                      <a:pt x="45" y="118"/>
                    </a:lnTo>
                    <a:lnTo>
                      <a:pt x="45" y="114"/>
                    </a:lnTo>
                    <a:lnTo>
                      <a:pt x="45" y="114"/>
                    </a:lnTo>
                    <a:lnTo>
                      <a:pt x="50" y="109"/>
                    </a:lnTo>
                    <a:lnTo>
                      <a:pt x="50" y="109"/>
                    </a:lnTo>
                    <a:lnTo>
                      <a:pt x="50" y="109"/>
                    </a:lnTo>
                    <a:lnTo>
                      <a:pt x="50" y="114"/>
                    </a:lnTo>
                    <a:lnTo>
                      <a:pt x="50" y="114"/>
                    </a:lnTo>
                    <a:lnTo>
                      <a:pt x="50" y="114"/>
                    </a:lnTo>
                    <a:lnTo>
                      <a:pt x="50" y="114"/>
                    </a:lnTo>
                    <a:lnTo>
                      <a:pt x="50" y="114"/>
                    </a:lnTo>
                    <a:lnTo>
                      <a:pt x="50" y="114"/>
                    </a:lnTo>
                    <a:lnTo>
                      <a:pt x="50" y="118"/>
                    </a:lnTo>
                    <a:lnTo>
                      <a:pt x="50" y="118"/>
                    </a:lnTo>
                    <a:lnTo>
                      <a:pt x="50" y="118"/>
                    </a:lnTo>
                    <a:lnTo>
                      <a:pt x="54" y="118"/>
                    </a:lnTo>
                    <a:lnTo>
                      <a:pt x="54" y="123"/>
                    </a:lnTo>
                    <a:lnTo>
                      <a:pt x="54" y="123"/>
                    </a:lnTo>
                    <a:lnTo>
                      <a:pt x="50" y="123"/>
                    </a:lnTo>
                    <a:lnTo>
                      <a:pt x="50" y="123"/>
                    </a:lnTo>
                    <a:lnTo>
                      <a:pt x="41" y="123"/>
                    </a:lnTo>
                    <a:lnTo>
                      <a:pt x="41" y="123"/>
                    </a:lnTo>
                    <a:lnTo>
                      <a:pt x="41" y="118"/>
                    </a:lnTo>
                    <a:lnTo>
                      <a:pt x="45" y="118"/>
                    </a:lnTo>
                    <a:moveTo>
                      <a:pt x="100" y="109"/>
                    </a:moveTo>
                    <a:lnTo>
                      <a:pt x="100" y="109"/>
                    </a:lnTo>
                    <a:lnTo>
                      <a:pt x="100" y="109"/>
                    </a:lnTo>
                    <a:lnTo>
                      <a:pt x="100" y="105"/>
                    </a:lnTo>
                    <a:lnTo>
                      <a:pt x="100" y="105"/>
                    </a:lnTo>
                    <a:lnTo>
                      <a:pt x="95" y="105"/>
                    </a:lnTo>
                    <a:lnTo>
                      <a:pt x="100" y="105"/>
                    </a:lnTo>
                    <a:lnTo>
                      <a:pt x="100" y="100"/>
                    </a:lnTo>
                    <a:lnTo>
                      <a:pt x="104" y="100"/>
                    </a:lnTo>
                    <a:lnTo>
                      <a:pt x="104" y="105"/>
                    </a:lnTo>
                    <a:lnTo>
                      <a:pt x="104" y="109"/>
                    </a:lnTo>
                    <a:lnTo>
                      <a:pt x="104" y="109"/>
                    </a:lnTo>
                    <a:lnTo>
                      <a:pt x="104" y="114"/>
                    </a:lnTo>
                    <a:lnTo>
                      <a:pt x="100" y="114"/>
                    </a:lnTo>
                    <a:lnTo>
                      <a:pt x="95" y="114"/>
                    </a:lnTo>
                    <a:lnTo>
                      <a:pt x="95" y="114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100" y="109"/>
                    </a:lnTo>
                    <a:lnTo>
                      <a:pt x="100" y="10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9" name="Freeform 7"/>
              <p:cNvSpPr>
                <a:spLocks/>
              </p:cNvSpPr>
              <p:nvPr/>
            </p:nvSpPr>
            <p:spPr bwMode="auto">
              <a:xfrm>
                <a:off x="2239963" y="2693988"/>
                <a:ext cx="193675" cy="179387"/>
              </a:xfrm>
              <a:custGeom>
                <a:avLst/>
                <a:gdLst>
                  <a:gd name="T0" fmla="*/ 109 w 122"/>
                  <a:gd name="T1" fmla="*/ 81 h 113"/>
                  <a:gd name="T2" fmla="*/ 100 w 122"/>
                  <a:gd name="T3" fmla="*/ 81 h 113"/>
                  <a:gd name="T4" fmla="*/ 104 w 122"/>
                  <a:gd name="T5" fmla="*/ 86 h 113"/>
                  <a:gd name="T6" fmla="*/ 100 w 122"/>
                  <a:gd name="T7" fmla="*/ 86 h 113"/>
                  <a:gd name="T8" fmla="*/ 95 w 122"/>
                  <a:gd name="T9" fmla="*/ 91 h 113"/>
                  <a:gd name="T10" fmla="*/ 95 w 122"/>
                  <a:gd name="T11" fmla="*/ 91 h 113"/>
                  <a:gd name="T12" fmla="*/ 86 w 122"/>
                  <a:gd name="T13" fmla="*/ 95 h 113"/>
                  <a:gd name="T14" fmla="*/ 77 w 122"/>
                  <a:gd name="T15" fmla="*/ 95 h 113"/>
                  <a:gd name="T16" fmla="*/ 68 w 122"/>
                  <a:gd name="T17" fmla="*/ 95 h 113"/>
                  <a:gd name="T18" fmla="*/ 68 w 122"/>
                  <a:gd name="T19" fmla="*/ 100 h 113"/>
                  <a:gd name="T20" fmla="*/ 77 w 122"/>
                  <a:gd name="T21" fmla="*/ 95 h 113"/>
                  <a:gd name="T22" fmla="*/ 77 w 122"/>
                  <a:gd name="T23" fmla="*/ 100 h 113"/>
                  <a:gd name="T24" fmla="*/ 77 w 122"/>
                  <a:gd name="T25" fmla="*/ 104 h 113"/>
                  <a:gd name="T26" fmla="*/ 68 w 122"/>
                  <a:gd name="T27" fmla="*/ 113 h 113"/>
                  <a:gd name="T28" fmla="*/ 50 w 122"/>
                  <a:gd name="T29" fmla="*/ 113 h 113"/>
                  <a:gd name="T30" fmla="*/ 45 w 122"/>
                  <a:gd name="T31" fmla="*/ 104 h 113"/>
                  <a:gd name="T32" fmla="*/ 45 w 122"/>
                  <a:gd name="T33" fmla="*/ 100 h 113"/>
                  <a:gd name="T34" fmla="*/ 36 w 122"/>
                  <a:gd name="T35" fmla="*/ 104 h 113"/>
                  <a:gd name="T36" fmla="*/ 27 w 122"/>
                  <a:gd name="T37" fmla="*/ 109 h 113"/>
                  <a:gd name="T38" fmla="*/ 22 w 122"/>
                  <a:gd name="T39" fmla="*/ 109 h 113"/>
                  <a:gd name="T40" fmla="*/ 22 w 122"/>
                  <a:gd name="T41" fmla="*/ 104 h 113"/>
                  <a:gd name="T42" fmla="*/ 13 w 122"/>
                  <a:gd name="T43" fmla="*/ 104 h 113"/>
                  <a:gd name="T44" fmla="*/ 13 w 122"/>
                  <a:gd name="T45" fmla="*/ 100 h 113"/>
                  <a:gd name="T46" fmla="*/ 9 w 122"/>
                  <a:gd name="T47" fmla="*/ 91 h 113"/>
                  <a:gd name="T48" fmla="*/ 9 w 122"/>
                  <a:gd name="T49" fmla="*/ 72 h 113"/>
                  <a:gd name="T50" fmla="*/ 9 w 122"/>
                  <a:gd name="T51" fmla="*/ 63 h 113"/>
                  <a:gd name="T52" fmla="*/ 4 w 122"/>
                  <a:gd name="T53" fmla="*/ 54 h 113"/>
                  <a:gd name="T54" fmla="*/ 4 w 122"/>
                  <a:gd name="T55" fmla="*/ 36 h 113"/>
                  <a:gd name="T56" fmla="*/ 4 w 122"/>
                  <a:gd name="T57" fmla="*/ 27 h 113"/>
                  <a:gd name="T58" fmla="*/ 13 w 122"/>
                  <a:gd name="T59" fmla="*/ 22 h 113"/>
                  <a:gd name="T60" fmla="*/ 13 w 122"/>
                  <a:gd name="T61" fmla="*/ 18 h 113"/>
                  <a:gd name="T62" fmla="*/ 27 w 122"/>
                  <a:gd name="T63" fmla="*/ 18 h 113"/>
                  <a:gd name="T64" fmla="*/ 27 w 122"/>
                  <a:gd name="T65" fmla="*/ 9 h 113"/>
                  <a:gd name="T66" fmla="*/ 32 w 122"/>
                  <a:gd name="T67" fmla="*/ 9 h 113"/>
                  <a:gd name="T68" fmla="*/ 36 w 122"/>
                  <a:gd name="T69" fmla="*/ 0 h 113"/>
                  <a:gd name="T70" fmla="*/ 54 w 122"/>
                  <a:gd name="T71" fmla="*/ 4 h 113"/>
                  <a:gd name="T72" fmla="*/ 63 w 122"/>
                  <a:gd name="T73" fmla="*/ 9 h 113"/>
                  <a:gd name="T74" fmla="*/ 68 w 122"/>
                  <a:gd name="T75" fmla="*/ 9 h 113"/>
                  <a:gd name="T76" fmla="*/ 72 w 122"/>
                  <a:gd name="T77" fmla="*/ 4 h 113"/>
                  <a:gd name="T78" fmla="*/ 81 w 122"/>
                  <a:gd name="T79" fmla="*/ 4 h 113"/>
                  <a:gd name="T80" fmla="*/ 81 w 122"/>
                  <a:gd name="T81" fmla="*/ 4 h 113"/>
                  <a:gd name="T82" fmla="*/ 91 w 122"/>
                  <a:gd name="T83" fmla="*/ 13 h 113"/>
                  <a:gd name="T84" fmla="*/ 95 w 122"/>
                  <a:gd name="T85" fmla="*/ 18 h 113"/>
                  <a:gd name="T86" fmla="*/ 100 w 122"/>
                  <a:gd name="T87" fmla="*/ 22 h 113"/>
                  <a:gd name="T88" fmla="*/ 109 w 122"/>
                  <a:gd name="T89" fmla="*/ 22 h 113"/>
                  <a:gd name="T90" fmla="*/ 118 w 122"/>
                  <a:gd name="T91" fmla="*/ 18 h 113"/>
                  <a:gd name="T92" fmla="*/ 122 w 122"/>
                  <a:gd name="T93" fmla="*/ 27 h 113"/>
                  <a:gd name="T94" fmla="*/ 118 w 122"/>
                  <a:gd name="T95" fmla="*/ 32 h 113"/>
                  <a:gd name="T96" fmla="*/ 104 w 122"/>
                  <a:gd name="T97" fmla="*/ 45 h 113"/>
                  <a:gd name="T98" fmla="*/ 104 w 122"/>
                  <a:gd name="T99" fmla="*/ 50 h 113"/>
                  <a:gd name="T100" fmla="*/ 104 w 122"/>
                  <a:gd name="T101" fmla="*/ 63 h 113"/>
                  <a:gd name="T102" fmla="*/ 109 w 122"/>
                  <a:gd name="T103" fmla="*/ 72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22" h="113">
                    <a:moveTo>
                      <a:pt x="109" y="77"/>
                    </a:moveTo>
                    <a:lnTo>
                      <a:pt x="109" y="77"/>
                    </a:lnTo>
                    <a:lnTo>
                      <a:pt x="109" y="81"/>
                    </a:lnTo>
                    <a:lnTo>
                      <a:pt x="109" y="81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0" y="81"/>
                    </a:lnTo>
                    <a:lnTo>
                      <a:pt x="100" y="81"/>
                    </a:lnTo>
                    <a:lnTo>
                      <a:pt x="100" y="81"/>
                    </a:lnTo>
                    <a:lnTo>
                      <a:pt x="100" y="81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0" y="86"/>
                    </a:lnTo>
                    <a:lnTo>
                      <a:pt x="100" y="86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5" y="91"/>
                    </a:lnTo>
                    <a:lnTo>
                      <a:pt x="95" y="91"/>
                    </a:lnTo>
                    <a:lnTo>
                      <a:pt x="91" y="91"/>
                    </a:lnTo>
                    <a:lnTo>
                      <a:pt x="91" y="91"/>
                    </a:lnTo>
                    <a:lnTo>
                      <a:pt x="95" y="91"/>
                    </a:lnTo>
                    <a:lnTo>
                      <a:pt x="95" y="91"/>
                    </a:lnTo>
                    <a:lnTo>
                      <a:pt x="95" y="91"/>
                    </a:lnTo>
                    <a:lnTo>
                      <a:pt x="95" y="95"/>
                    </a:lnTo>
                    <a:lnTo>
                      <a:pt x="91" y="95"/>
                    </a:lnTo>
                    <a:lnTo>
                      <a:pt x="86" y="95"/>
                    </a:lnTo>
                    <a:lnTo>
                      <a:pt x="86" y="95"/>
                    </a:lnTo>
                    <a:lnTo>
                      <a:pt x="81" y="95"/>
                    </a:lnTo>
                    <a:lnTo>
                      <a:pt x="81" y="95"/>
                    </a:lnTo>
                    <a:lnTo>
                      <a:pt x="77" y="95"/>
                    </a:lnTo>
                    <a:lnTo>
                      <a:pt x="72" y="91"/>
                    </a:lnTo>
                    <a:lnTo>
                      <a:pt x="72" y="95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72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81" y="95"/>
                    </a:lnTo>
                    <a:lnTo>
                      <a:pt x="81" y="100"/>
                    </a:lnTo>
                    <a:lnTo>
                      <a:pt x="77" y="100"/>
                    </a:lnTo>
                    <a:lnTo>
                      <a:pt x="77" y="100"/>
                    </a:lnTo>
                    <a:lnTo>
                      <a:pt x="77" y="104"/>
                    </a:lnTo>
                    <a:lnTo>
                      <a:pt x="77" y="104"/>
                    </a:lnTo>
                    <a:lnTo>
                      <a:pt x="77" y="104"/>
                    </a:lnTo>
                    <a:lnTo>
                      <a:pt x="77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68" y="109"/>
                    </a:lnTo>
                    <a:lnTo>
                      <a:pt x="68" y="113"/>
                    </a:lnTo>
                    <a:lnTo>
                      <a:pt x="59" y="109"/>
                    </a:lnTo>
                    <a:lnTo>
                      <a:pt x="54" y="109"/>
                    </a:lnTo>
                    <a:lnTo>
                      <a:pt x="54" y="113"/>
                    </a:lnTo>
                    <a:lnTo>
                      <a:pt x="50" y="113"/>
                    </a:lnTo>
                    <a:lnTo>
                      <a:pt x="50" y="109"/>
                    </a:lnTo>
                    <a:lnTo>
                      <a:pt x="50" y="104"/>
                    </a:lnTo>
                    <a:lnTo>
                      <a:pt x="45" y="104"/>
                    </a:lnTo>
                    <a:lnTo>
                      <a:pt x="45" y="104"/>
                    </a:lnTo>
                    <a:lnTo>
                      <a:pt x="45" y="104"/>
                    </a:lnTo>
                    <a:lnTo>
                      <a:pt x="45" y="104"/>
                    </a:lnTo>
                    <a:lnTo>
                      <a:pt x="45" y="100"/>
                    </a:lnTo>
                    <a:lnTo>
                      <a:pt x="45" y="100"/>
                    </a:lnTo>
                    <a:lnTo>
                      <a:pt x="41" y="100"/>
                    </a:lnTo>
                    <a:lnTo>
                      <a:pt x="41" y="100"/>
                    </a:lnTo>
                    <a:lnTo>
                      <a:pt x="41" y="104"/>
                    </a:lnTo>
                    <a:lnTo>
                      <a:pt x="36" y="104"/>
                    </a:lnTo>
                    <a:lnTo>
                      <a:pt x="32" y="104"/>
                    </a:lnTo>
                    <a:lnTo>
                      <a:pt x="32" y="104"/>
                    </a:lnTo>
                    <a:lnTo>
                      <a:pt x="27" y="109"/>
                    </a:lnTo>
                    <a:lnTo>
                      <a:pt x="27" y="109"/>
                    </a:lnTo>
                    <a:lnTo>
                      <a:pt x="27" y="109"/>
                    </a:lnTo>
                    <a:lnTo>
                      <a:pt x="27" y="109"/>
                    </a:lnTo>
                    <a:lnTo>
                      <a:pt x="22" y="109"/>
                    </a:lnTo>
                    <a:lnTo>
                      <a:pt x="22" y="109"/>
                    </a:lnTo>
                    <a:lnTo>
                      <a:pt x="22" y="109"/>
                    </a:lnTo>
                    <a:lnTo>
                      <a:pt x="18" y="113"/>
                    </a:lnTo>
                    <a:lnTo>
                      <a:pt x="22" y="109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13" y="104"/>
                    </a:lnTo>
                    <a:lnTo>
                      <a:pt x="13" y="104"/>
                    </a:lnTo>
                    <a:lnTo>
                      <a:pt x="13" y="104"/>
                    </a:lnTo>
                    <a:lnTo>
                      <a:pt x="13" y="100"/>
                    </a:lnTo>
                    <a:lnTo>
                      <a:pt x="13" y="100"/>
                    </a:lnTo>
                    <a:lnTo>
                      <a:pt x="13" y="100"/>
                    </a:lnTo>
                    <a:lnTo>
                      <a:pt x="13" y="95"/>
                    </a:lnTo>
                    <a:lnTo>
                      <a:pt x="9" y="91"/>
                    </a:lnTo>
                    <a:lnTo>
                      <a:pt x="9" y="91"/>
                    </a:lnTo>
                    <a:lnTo>
                      <a:pt x="9" y="86"/>
                    </a:lnTo>
                    <a:lnTo>
                      <a:pt x="9" y="81"/>
                    </a:lnTo>
                    <a:lnTo>
                      <a:pt x="9" y="77"/>
                    </a:lnTo>
                    <a:lnTo>
                      <a:pt x="9" y="72"/>
                    </a:lnTo>
                    <a:lnTo>
                      <a:pt x="9" y="72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9" y="63"/>
                    </a:lnTo>
                    <a:lnTo>
                      <a:pt x="9" y="63"/>
                    </a:lnTo>
                    <a:lnTo>
                      <a:pt x="4" y="59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0"/>
                    </a:lnTo>
                    <a:lnTo>
                      <a:pt x="4" y="45"/>
                    </a:lnTo>
                    <a:lnTo>
                      <a:pt x="4" y="41"/>
                    </a:lnTo>
                    <a:lnTo>
                      <a:pt x="4" y="36"/>
                    </a:lnTo>
                    <a:lnTo>
                      <a:pt x="0" y="32"/>
                    </a:lnTo>
                    <a:lnTo>
                      <a:pt x="0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9" y="27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22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1" y="0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63" y="13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8" y="9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81" y="0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81" y="9"/>
                    </a:lnTo>
                    <a:lnTo>
                      <a:pt x="91" y="9"/>
                    </a:lnTo>
                    <a:lnTo>
                      <a:pt x="91" y="13"/>
                    </a:lnTo>
                    <a:lnTo>
                      <a:pt x="95" y="13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22"/>
                    </a:lnTo>
                    <a:lnTo>
                      <a:pt x="95" y="22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9" y="22"/>
                    </a:lnTo>
                    <a:lnTo>
                      <a:pt x="109" y="22"/>
                    </a:lnTo>
                    <a:lnTo>
                      <a:pt x="113" y="22"/>
                    </a:lnTo>
                    <a:lnTo>
                      <a:pt x="113" y="22"/>
                    </a:lnTo>
                    <a:lnTo>
                      <a:pt x="113" y="22"/>
                    </a:lnTo>
                    <a:lnTo>
                      <a:pt x="118" y="18"/>
                    </a:lnTo>
                    <a:lnTo>
                      <a:pt x="122" y="18"/>
                    </a:lnTo>
                    <a:lnTo>
                      <a:pt x="122" y="18"/>
                    </a:lnTo>
                    <a:lnTo>
                      <a:pt x="122" y="22"/>
                    </a:lnTo>
                    <a:lnTo>
                      <a:pt x="122" y="27"/>
                    </a:lnTo>
                    <a:lnTo>
                      <a:pt x="122" y="27"/>
                    </a:lnTo>
                    <a:lnTo>
                      <a:pt x="122" y="27"/>
                    </a:lnTo>
                    <a:lnTo>
                      <a:pt x="122" y="32"/>
                    </a:lnTo>
                    <a:lnTo>
                      <a:pt x="118" y="32"/>
                    </a:lnTo>
                    <a:lnTo>
                      <a:pt x="118" y="32"/>
                    </a:lnTo>
                    <a:lnTo>
                      <a:pt x="113" y="41"/>
                    </a:lnTo>
                    <a:lnTo>
                      <a:pt x="109" y="45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9" y="45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04" y="54"/>
                    </a:lnTo>
                    <a:lnTo>
                      <a:pt x="104" y="59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9" y="72"/>
                    </a:lnTo>
                    <a:lnTo>
                      <a:pt x="109" y="72"/>
                    </a:lnTo>
                    <a:lnTo>
                      <a:pt x="109" y="77"/>
                    </a:lnTo>
                    <a:lnTo>
                      <a:pt x="109" y="77"/>
                    </a:lnTo>
                    <a:lnTo>
                      <a:pt x="109" y="77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0" name="Rectangle 8"/>
              <p:cNvSpPr>
                <a:spLocks noChangeArrowheads="1"/>
              </p:cNvSpPr>
              <p:nvPr/>
            </p:nvSpPr>
            <p:spPr bwMode="auto">
              <a:xfrm>
                <a:off x="2160588" y="2651125"/>
                <a:ext cx="1588" cy="1587"/>
              </a:xfrm>
              <a:prstGeom prst="rect">
                <a:avLst/>
              </a:pr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" name="Freeform 9"/>
              <p:cNvSpPr>
                <a:spLocks noEditPoints="1"/>
              </p:cNvSpPr>
              <p:nvPr/>
            </p:nvSpPr>
            <p:spPr bwMode="auto">
              <a:xfrm>
                <a:off x="1958976" y="2484438"/>
                <a:ext cx="315913" cy="382587"/>
              </a:xfrm>
              <a:custGeom>
                <a:avLst/>
                <a:gdLst>
                  <a:gd name="T0" fmla="*/ 4 w 199"/>
                  <a:gd name="T1" fmla="*/ 204 h 241"/>
                  <a:gd name="T2" fmla="*/ 0 w 199"/>
                  <a:gd name="T3" fmla="*/ 213 h 241"/>
                  <a:gd name="T4" fmla="*/ 4 w 199"/>
                  <a:gd name="T5" fmla="*/ 223 h 241"/>
                  <a:gd name="T6" fmla="*/ 9 w 199"/>
                  <a:gd name="T7" fmla="*/ 232 h 241"/>
                  <a:gd name="T8" fmla="*/ 14 w 199"/>
                  <a:gd name="T9" fmla="*/ 241 h 241"/>
                  <a:gd name="T10" fmla="*/ 27 w 199"/>
                  <a:gd name="T11" fmla="*/ 241 h 241"/>
                  <a:gd name="T12" fmla="*/ 32 w 199"/>
                  <a:gd name="T13" fmla="*/ 236 h 241"/>
                  <a:gd name="T14" fmla="*/ 32 w 199"/>
                  <a:gd name="T15" fmla="*/ 232 h 241"/>
                  <a:gd name="T16" fmla="*/ 41 w 199"/>
                  <a:gd name="T17" fmla="*/ 218 h 241"/>
                  <a:gd name="T18" fmla="*/ 50 w 199"/>
                  <a:gd name="T19" fmla="*/ 204 h 241"/>
                  <a:gd name="T20" fmla="*/ 54 w 199"/>
                  <a:gd name="T21" fmla="*/ 195 h 241"/>
                  <a:gd name="T22" fmla="*/ 63 w 199"/>
                  <a:gd name="T23" fmla="*/ 186 h 241"/>
                  <a:gd name="T24" fmla="*/ 77 w 199"/>
                  <a:gd name="T25" fmla="*/ 186 h 241"/>
                  <a:gd name="T26" fmla="*/ 86 w 199"/>
                  <a:gd name="T27" fmla="*/ 186 h 241"/>
                  <a:gd name="T28" fmla="*/ 100 w 199"/>
                  <a:gd name="T29" fmla="*/ 186 h 241"/>
                  <a:gd name="T30" fmla="*/ 109 w 199"/>
                  <a:gd name="T31" fmla="*/ 177 h 241"/>
                  <a:gd name="T32" fmla="*/ 113 w 199"/>
                  <a:gd name="T33" fmla="*/ 173 h 241"/>
                  <a:gd name="T34" fmla="*/ 127 w 199"/>
                  <a:gd name="T35" fmla="*/ 159 h 241"/>
                  <a:gd name="T36" fmla="*/ 145 w 199"/>
                  <a:gd name="T37" fmla="*/ 154 h 241"/>
                  <a:gd name="T38" fmla="*/ 159 w 199"/>
                  <a:gd name="T39" fmla="*/ 159 h 241"/>
                  <a:gd name="T40" fmla="*/ 168 w 199"/>
                  <a:gd name="T41" fmla="*/ 141 h 241"/>
                  <a:gd name="T42" fmla="*/ 181 w 199"/>
                  <a:gd name="T43" fmla="*/ 132 h 241"/>
                  <a:gd name="T44" fmla="*/ 186 w 199"/>
                  <a:gd name="T45" fmla="*/ 118 h 241"/>
                  <a:gd name="T46" fmla="*/ 186 w 199"/>
                  <a:gd name="T47" fmla="*/ 114 h 241"/>
                  <a:gd name="T48" fmla="*/ 177 w 199"/>
                  <a:gd name="T49" fmla="*/ 109 h 241"/>
                  <a:gd name="T50" fmla="*/ 172 w 199"/>
                  <a:gd name="T51" fmla="*/ 105 h 241"/>
                  <a:gd name="T52" fmla="*/ 181 w 199"/>
                  <a:gd name="T53" fmla="*/ 100 h 241"/>
                  <a:gd name="T54" fmla="*/ 181 w 199"/>
                  <a:gd name="T55" fmla="*/ 96 h 241"/>
                  <a:gd name="T56" fmla="*/ 177 w 199"/>
                  <a:gd name="T57" fmla="*/ 96 h 241"/>
                  <a:gd name="T58" fmla="*/ 163 w 199"/>
                  <a:gd name="T59" fmla="*/ 91 h 241"/>
                  <a:gd name="T60" fmla="*/ 159 w 199"/>
                  <a:gd name="T61" fmla="*/ 100 h 241"/>
                  <a:gd name="T62" fmla="*/ 150 w 199"/>
                  <a:gd name="T63" fmla="*/ 100 h 241"/>
                  <a:gd name="T64" fmla="*/ 127 w 199"/>
                  <a:gd name="T65" fmla="*/ 105 h 241"/>
                  <a:gd name="T66" fmla="*/ 122 w 199"/>
                  <a:gd name="T67" fmla="*/ 105 h 241"/>
                  <a:gd name="T68" fmla="*/ 113 w 199"/>
                  <a:gd name="T69" fmla="*/ 109 h 241"/>
                  <a:gd name="T70" fmla="*/ 118 w 199"/>
                  <a:gd name="T71" fmla="*/ 114 h 241"/>
                  <a:gd name="T72" fmla="*/ 104 w 199"/>
                  <a:gd name="T73" fmla="*/ 127 h 241"/>
                  <a:gd name="T74" fmla="*/ 86 w 199"/>
                  <a:gd name="T75" fmla="*/ 141 h 241"/>
                  <a:gd name="T76" fmla="*/ 72 w 199"/>
                  <a:gd name="T77" fmla="*/ 154 h 241"/>
                  <a:gd name="T78" fmla="*/ 50 w 199"/>
                  <a:gd name="T79" fmla="*/ 168 h 241"/>
                  <a:gd name="T80" fmla="*/ 32 w 199"/>
                  <a:gd name="T81" fmla="*/ 182 h 241"/>
                  <a:gd name="T82" fmla="*/ 23 w 199"/>
                  <a:gd name="T83" fmla="*/ 186 h 241"/>
                  <a:gd name="T84" fmla="*/ 9 w 199"/>
                  <a:gd name="T85" fmla="*/ 195 h 241"/>
                  <a:gd name="T86" fmla="*/ 4 w 199"/>
                  <a:gd name="T87" fmla="*/ 195 h 241"/>
                  <a:gd name="T88" fmla="*/ 168 w 199"/>
                  <a:gd name="T89" fmla="*/ 37 h 241"/>
                  <a:gd name="T90" fmla="*/ 154 w 199"/>
                  <a:gd name="T91" fmla="*/ 32 h 241"/>
                  <a:gd name="T92" fmla="*/ 168 w 199"/>
                  <a:gd name="T93" fmla="*/ 23 h 241"/>
                  <a:gd name="T94" fmla="*/ 163 w 199"/>
                  <a:gd name="T95" fmla="*/ 27 h 241"/>
                  <a:gd name="T96" fmla="*/ 159 w 199"/>
                  <a:gd name="T97" fmla="*/ 32 h 241"/>
                  <a:gd name="T98" fmla="*/ 159 w 199"/>
                  <a:gd name="T99" fmla="*/ 27 h 241"/>
                  <a:gd name="T100" fmla="*/ 154 w 199"/>
                  <a:gd name="T101" fmla="*/ 32 h 241"/>
                  <a:gd name="T102" fmla="*/ 168 w 199"/>
                  <a:gd name="T103" fmla="*/ 27 h 241"/>
                  <a:gd name="T104" fmla="*/ 159 w 199"/>
                  <a:gd name="T105" fmla="*/ 41 h 241"/>
                  <a:gd name="T106" fmla="*/ 163 w 199"/>
                  <a:gd name="T107" fmla="*/ 41 h 241"/>
                  <a:gd name="T108" fmla="*/ 190 w 199"/>
                  <a:gd name="T109" fmla="*/ 0 h 241"/>
                  <a:gd name="T110" fmla="*/ 195 w 199"/>
                  <a:gd name="T111" fmla="*/ 5 h 241"/>
                  <a:gd name="T112" fmla="*/ 199 w 199"/>
                  <a:gd name="T113" fmla="*/ 9 h 241"/>
                  <a:gd name="T114" fmla="*/ 195 w 199"/>
                  <a:gd name="T115" fmla="*/ 18 h 241"/>
                  <a:gd name="T116" fmla="*/ 195 w 199"/>
                  <a:gd name="T117" fmla="*/ 23 h 241"/>
                  <a:gd name="T118" fmla="*/ 181 w 199"/>
                  <a:gd name="T119" fmla="*/ 14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9" h="241">
                    <a:moveTo>
                      <a:pt x="4" y="195"/>
                    </a:moveTo>
                    <a:lnTo>
                      <a:pt x="4" y="195"/>
                    </a:lnTo>
                    <a:lnTo>
                      <a:pt x="4" y="195"/>
                    </a:lnTo>
                    <a:lnTo>
                      <a:pt x="4" y="200"/>
                    </a:lnTo>
                    <a:lnTo>
                      <a:pt x="4" y="200"/>
                    </a:lnTo>
                    <a:lnTo>
                      <a:pt x="4" y="204"/>
                    </a:lnTo>
                    <a:lnTo>
                      <a:pt x="4" y="204"/>
                    </a:lnTo>
                    <a:lnTo>
                      <a:pt x="4" y="209"/>
                    </a:lnTo>
                    <a:lnTo>
                      <a:pt x="4" y="209"/>
                    </a:lnTo>
                    <a:lnTo>
                      <a:pt x="0" y="213"/>
                    </a:lnTo>
                    <a:lnTo>
                      <a:pt x="0" y="213"/>
                    </a:lnTo>
                    <a:lnTo>
                      <a:pt x="0" y="213"/>
                    </a:lnTo>
                    <a:lnTo>
                      <a:pt x="0" y="218"/>
                    </a:lnTo>
                    <a:lnTo>
                      <a:pt x="0" y="218"/>
                    </a:lnTo>
                    <a:lnTo>
                      <a:pt x="0" y="218"/>
                    </a:lnTo>
                    <a:lnTo>
                      <a:pt x="0" y="223"/>
                    </a:lnTo>
                    <a:lnTo>
                      <a:pt x="0" y="223"/>
                    </a:lnTo>
                    <a:lnTo>
                      <a:pt x="4" y="223"/>
                    </a:lnTo>
                    <a:lnTo>
                      <a:pt x="9" y="227"/>
                    </a:lnTo>
                    <a:lnTo>
                      <a:pt x="9" y="227"/>
                    </a:lnTo>
                    <a:lnTo>
                      <a:pt x="9" y="227"/>
                    </a:lnTo>
                    <a:lnTo>
                      <a:pt x="9" y="232"/>
                    </a:lnTo>
                    <a:lnTo>
                      <a:pt x="9" y="232"/>
                    </a:lnTo>
                    <a:lnTo>
                      <a:pt x="9" y="232"/>
                    </a:lnTo>
                    <a:lnTo>
                      <a:pt x="9" y="236"/>
                    </a:lnTo>
                    <a:lnTo>
                      <a:pt x="9" y="236"/>
                    </a:lnTo>
                    <a:lnTo>
                      <a:pt x="9" y="236"/>
                    </a:lnTo>
                    <a:lnTo>
                      <a:pt x="9" y="241"/>
                    </a:lnTo>
                    <a:lnTo>
                      <a:pt x="9" y="241"/>
                    </a:lnTo>
                    <a:lnTo>
                      <a:pt x="14" y="241"/>
                    </a:lnTo>
                    <a:lnTo>
                      <a:pt x="14" y="241"/>
                    </a:lnTo>
                    <a:lnTo>
                      <a:pt x="18" y="241"/>
                    </a:lnTo>
                    <a:lnTo>
                      <a:pt x="23" y="241"/>
                    </a:lnTo>
                    <a:lnTo>
                      <a:pt x="23" y="241"/>
                    </a:lnTo>
                    <a:lnTo>
                      <a:pt x="27" y="241"/>
                    </a:lnTo>
                    <a:lnTo>
                      <a:pt x="27" y="241"/>
                    </a:lnTo>
                    <a:lnTo>
                      <a:pt x="27" y="241"/>
                    </a:lnTo>
                    <a:lnTo>
                      <a:pt x="27" y="241"/>
                    </a:lnTo>
                    <a:lnTo>
                      <a:pt x="27" y="241"/>
                    </a:lnTo>
                    <a:lnTo>
                      <a:pt x="32" y="241"/>
                    </a:lnTo>
                    <a:lnTo>
                      <a:pt x="32" y="236"/>
                    </a:lnTo>
                    <a:lnTo>
                      <a:pt x="32" y="236"/>
                    </a:lnTo>
                    <a:lnTo>
                      <a:pt x="36" y="236"/>
                    </a:lnTo>
                    <a:lnTo>
                      <a:pt x="36" y="236"/>
                    </a:lnTo>
                    <a:lnTo>
                      <a:pt x="36" y="236"/>
                    </a:lnTo>
                    <a:lnTo>
                      <a:pt x="36" y="236"/>
                    </a:lnTo>
                    <a:lnTo>
                      <a:pt x="36" y="232"/>
                    </a:lnTo>
                    <a:lnTo>
                      <a:pt x="32" y="232"/>
                    </a:lnTo>
                    <a:lnTo>
                      <a:pt x="32" y="232"/>
                    </a:lnTo>
                    <a:lnTo>
                      <a:pt x="36" y="227"/>
                    </a:lnTo>
                    <a:lnTo>
                      <a:pt x="41" y="223"/>
                    </a:lnTo>
                    <a:lnTo>
                      <a:pt x="41" y="223"/>
                    </a:lnTo>
                    <a:lnTo>
                      <a:pt x="41" y="223"/>
                    </a:lnTo>
                    <a:lnTo>
                      <a:pt x="41" y="218"/>
                    </a:lnTo>
                    <a:lnTo>
                      <a:pt x="41" y="218"/>
                    </a:lnTo>
                    <a:lnTo>
                      <a:pt x="45" y="213"/>
                    </a:lnTo>
                    <a:lnTo>
                      <a:pt x="45" y="213"/>
                    </a:lnTo>
                    <a:lnTo>
                      <a:pt x="50" y="209"/>
                    </a:lnTo>
                    <a:lnTo>
                      <a:pt x="50" y="209"/>
                    </a:lnTo>
                    <a:lnTo>
                      <a:pt x="50" y="204"/>
                    </a:lnTo>
                    <a:lnTo>
                      <a:pt x="50" y="204"/>
                    </a:lnTo>
                    <a:lnTo>
                      <a:pt x="50" y="204"/>
                    </a:lnTo>
                    <a:lnTo>
                      <a:pt x="54" y="200"/>
                    </a:lnTo>
                    <a:lnTo>
                      <a:pt x="54" y="200"/>
                    </a:lnTo>
                    <a:lnTo>
                      <a:pt x="54" y="195"/>
                    </a:lnTo>
                    <a:lnTo>
                      <a:pt x="54" y="195"/>
                    </a:lnTo>
                    <a:lnTo>
                      <a:pt x="54" y="195"/>
                    </a:lnTo>
                    <a:lnTo>
                      <a:pt x="54" y="191"/>
                    </a:lnTo>
                    <a:lnTo>
                      <a:pt x="59" y="191"/>
                    </a:lnTo>
                    <a:lnTo>
                      <a:pt x="63" y="186"/>
                    </a:lnTo>
                    <a:lnTo>
                      <a:pt x="63" y="186"/>
                    </a:lnTo>
                    <a:lnTo>
                      <a:pt x="63" y="186"/>
                    </a:lnTo>
                    <a:lnTo>
                      <a:pt x="68" y="186"/>
                    </a:lnTo>
                    <a:lnTo>
                      <a:pt x="68" y="186"/>
                    </a:lnTo>
                    <a:lnTo>
                      <a:pt x="68" y="186"/>
                    </a:lnTo>
                    <a:lnTo>
                      <a:pt x="68" y="186"/>
                    </a:lnTo>
                    <a:lnTo>
                      <a:pt x="72" y="186"/>
                    </a:lnTo>
                    <a:lnTo>
                      <a:pt x="77" y="186"/>
                    </a:lnTo>
                    <a:lnTo>
                      <a:pt x="77" y="186"/>
                    </a:lnTo>
                    <a:lnTo>
                      <a:pt x="82" y="186"/>
                    </a:lnTo>
                    <a:lnTo>
                      <a:pt x="82" y="186"/>
                    </a:lnTo>
                    <a:lnTo>
                      <a:pt x="82" y="186"/>
                    </a:lnTo>
                    <a:lnTo>
                      <a:pt x="82" y="186"/>
                    </a:lnTo>
                    <a:lnTo>
                      <a:pt x="86" y="186"/>
                    </a:lnTo>
                    <a:lnTo>
                      <a:pt x="86" y="186"/>
                    </a:lnTo>
                    <a:lnTo>
                      <a:pt x="86" y="186"/>
                    </a:lnTo>
                    <a:lnTo>
                      <a:pt x="91" y="186"/>
                    </a:lnTo>
                    <a:lnTo>
                      <a:pt x="95" y="186"/>
                    </a:lnTo>
                    <a:lnTo>
                      <a:pt x="95" y="186"/>
                    </a:lnTo>
                    <a:lnTo>
                      <a:pt x="100" y="186"/>
                    </a:lnTo>
                    <a:lnTo>
                      <a:pt x="104" y="186"/>
                    </a:lnTo>
                    <a:lnTo>
                      <a:pt x="113" y="182"/>
                    </a:lnTo>
                    <a:lnTo>
                      <a:pt x="113" y="182"/>
                    </a:lnTo>
                    <a:lnTo>
                      <a:pt x="113" y="182"/>
                    </a:lnTo>
                    <a:lnTo>
                      <a:pt x="113" y="182"/>
                    </a:lnTo>
                    <a:lnTo>
                      <a:pt x="109" y="177"/>
                    </a:lnTo>
                    <a:lnTo>
                      <a:pt x="109" y="177"/>
                    </a:lnTo>
                    <a:lnTo>
                      <a:pt x="109" y="177"/>
                    </a:lnTo>
                    <a:lnTo>
                      <a:pt x="109" y="177"/>
                    </a:lnTo>
                    <a:lnTo>
                      <a:pt x="109" y="177"/>
                    </a:lnTo>
                    <a:lnTo>
                      <a:pt x="109" y="173"/>
                    </a:lnTo>
                    <a:lnTo>
                      <a:pt x="113" y="173"/>
                    </a:lnTo>
                    <a:lnTo>
                      <a:pt x="113" y="173"/>
                    </a:lnTo>
                    <a:lnTo>
                      <a:pt x="113" y="173"/>
                    </a:lnTo>
                    <a:lnTo>
                      <a:pt x="118" y="168"/>
                    </a:lnTo>
                    <a:lnTo>
                      <a:pt x="118" y="168"/>
                    </a:lnTo>
                    <a:lnTo>
                      <a:pt x="122" y="168"/>
                    </a:lnTo>
                    <a:lnTo>
                      <a:pt x="127" y="159"/>
                    </a:lnTo>
                    <a:lnTo>
                      <a:pt x="131" y="159"/>
                    </a:lnTo>
                    <a:lnTo>
                      <a:pt x="131" y="154"/>
                    </a:lnTo>
                    <a:lnTo>
                      <a:pt x="131" y="154"/>
                    </a:lnTo>
                    <a:lnTo>
                      <a:pt x="136" y="154"/>
                    </a:lnTo>
                    <a:lnTo>
                      <a:pt x="141" y="154"/>
                    </a:lnTo>
                    <a:lnTo>
                      <a:pt x="145" y="154"/>
                    </a:lnTo>
                    <a:lnTo>
                      <a:pt x="145" y="154"/>
                    </a:lnTo>
                    <a:lnTo>
                      <a:pt x="150" y="154"/>
                    </a:lnTo>
                    <a:lnTo>
                      <a:pt x="150" y="159"/>
                    </a:lnTo>
                    <a:lnTo>
                      <a:pt x="154" y="159"/>
                    </a:lnTo>
                    <a:lnTo>
                      <a:pt x="154" y="159"/>
                    </a:lnTo>
                    <a:lnTo>
                      <a:pt x="159" y="159"/>
                    </a:lnTo>
                    <a:lnTo>
                      <a:pt x="163" y="159"/>
                    </a:lnTo>
                    <a:lnTo>
                      <a:pt x="163" y="150"/>
                    </a:lnTo>
                    <a:lnTo>
                      <a:pt x="168" y="145"/>
                    </a:lnTo>
                    <a:lnTo>
                      <a:pt x="168" y="145"/>
                    </a:lnTo>
                    <a:lnTo>
                      <a:pt x="168" y="145"/>
                    </a:lnTo>
                    <a:lnTo>
                      <a:pt x="168" y="141"/>
                    </a:lnTo>
                    <a:lnTo>
                      <a:pt x="168" y="141"/>
                    </a:lnTo>
                    <a:lnTo>
                      <a:pt x="168" y="141"/>
                    </a:lnTo>
                    <a:lnTo>
                      <a:pt x="172" y="141"/>
                    </a:lnTo>
                    <a:lnTo>
                      <a:pt x="181" y="136"/>
                    </a:lnTo>
                    <a:lnTo>
                      <a:pt x="181" y="136"/>
                    </a:lnTo>
                    <a:lnTo>
                      <a:pt x="181" y="132"/>
                    </a:lnTo>
                    <a:lnTo>
                      <a:pt x="181" y="132"/>
                    </a:lnTo>
                    <a:lnTo>
                      <a:pt x="181" y="127"/>
                    </a:lnTo>
                    <a:lnTo>
                      <a:pt x="186" y="118"/>
                    </a:lnTo>
                    <a:lnTo>
                      <a:pt x="186" y="118"/>
                    </a:lnTo>
                    <a:lnTo>
                      <a:pt x="186" y="118"/>
                    </a:lnTo>
                    <a:lnTo>
                      <a:pt x="186" y="118"/>
                    </a:lnTo>
                    <a:lnTo>
                      <a:pt x="186" y="118"/>
                    </a:lnTo>
                    <a:lnTo>
                      <a:pt x="186" y="118"/>
                    </a:lnTo>
                    <a:lnTo>
                      <a:pt x="186" y="118"/>
                    </a:lnTo>
                    <a:lnTo>
                      <a:pt x="186" y="114"/>
                    </a:lnTo>
                    <a:lnTo>
                      <a:pt x="186" y="114"/>
                    </a:lnTo>
                    <a:lnTo>
                      <a:pt x="186" y="114"/>
                    </a:lnTo>
                    <a:lnTo>
                      <a:pt x="181" y="114"/>
                    </a:lnTo>
                    <a:lnTo>
                      <a:pt x="181" y="114"/>
                    </a:lnTo>
                    <a:lnTo>
                      <a:pt x="177" y="109"/>
                    </a:lnTo>
                    <a:lnTo>
                      <a:pt x="177" y="109"/>
                    </a:lnTo>
                    <a:lnTo>
                      <a:pt x="177" y="109"/>
                    </a:lnTo>
                    <a:lnTo>
                      <a:pt x="177" y="109"/>
                    </a:lnTo>
                    <a:lnTo>
                      <a:pt x="177" y="105"/>
                    </a:lnTo>
                    <a:lnTo>
                      <a:pt x="177" y="105"/>
                    </a:lnTo>
                    <a:lnTo>
                      <a:pt x="177" y="105"/>
                    </a:lnTo>
                    <a:lnTo>
                      <a:pt x="177" y="105"/>
                    </a:lnTo>
                    <a:lnTo>
                      <a:pt x="177" y="105"/>
                    </a:lnTo>
                    <a:lnTo>
                      <a:pt x="172" y="105"/>
                    </a:lnTo>
                    <a:lnTo>
                      <a:pt x="172" y="105"/>
                    </a:lnTo>
                    <a:lnTo>
                      <a:pt x="177" y="100"/>
                    </a:lnTo>
                    <a:lnTo>
                      <a:pt x="177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6" y="100"/>
                    </a:lnTo>
                    <a:lnTo>
                      <a:pt x="186" y="100"/>
                    </a:lnTo>
                    <a:lnTo>
                      <a:pt x="186" y="100"/>
                    </a:lnTo>
                    <a:lnTo>
                      <a:pt x="186" y="96"/>
                    </a:lnTo>
                    <a:lnTo>
                      <a:pt x="181" y="96"/>
                    </a:lnTo>
                    <a:lnTo>
                      <a:pt x="181" y="96"/>
                    </a:lnTo>
                    <a:lnTo>
                      <a:pt x="181" y="100"/>
                    </a:lnTo>
                    <a:lnTo>
                      <a:pt x="177" y="96"/>
                    </a:lnTo>
                    <a:lnTo>
                      <a:pt x="177" y="96"/>
                    </a:lnTo>
                    <a:lnTo>
                      <a:pt x="177" y="96"/>
                    </a:lnTo>
                    <a:lnTo>
                      <a:pt x="177" y="96"/>
                    </a:lnTo>
                    <a:lnTo>
                      <a:pt x="177" y="96"/>
                    </a:lnTo>
                    <a:lnTo>
                      <a:pt x="177" y="96"/>
                    </a:lnTo>
                    <a:lnTo>
                      <a:pt x="172" y="96"/>
                    </a:lnTo>
                    <a:lnTo>
                      <a:pt x="168" y="96"/>
                    </a:lnTo>
                    <a:lnTo>
                      <a:pt x="168" y="96"/>
                    </a:lnTo>
                    <a:lnTo>
                      <a:pt x="168" y="96"/>
                    </a:lnTo>
                    <a:lnTo>
                      <a:pt x="163" y="91"/>
                    </a:lnTo>
                    <a:lnTo>
                      <a:pt x="163" y="91"/>
                    </a:lnTo>
                    <a:lnTo>
                      <a:pt x="163" y="96"/>
                    </a:lnTo>
                    <a:lnTo>
                      <a:pt x="163" y="96"/>
                    </a:lnTo>
                    <a:lnTo>
                      <a:pt x="159" y="96"/>
                    </a:lnTo>
                    <a:lnTo>
                      <a:pt x="159" y="96"/>
                    </a:lnTo>
                    <a:lnTo>
                      <a:pt x="159" y="100"/>
                    </a:lnTo>
                    <a:lnTo>
                      <a:pt x="154" y="100"/>
                    </a:lnTo>
                    <a:lnTo>
                      <a:pt x="150" y="100"/>
                    </a:lnTo>
                    <a:lnTo>
                      <a:pt x="150" y="100"/>
                    </a:lnTo>
                    <a:lnTo>
                      <a:pt x="150" y="100"/>
                    </a:lnTo>
                    <a:lnTo>
                      <a:pt x="150" y="100"/>
                    </a:lnTo>
                    <a:lnTo>
                      <a:pt x="150" y="100"/>
                    </a:lnTo>
                    <a:lnTo>
                      <a:pt x="136" y="100"/>
                    </a:lnTo>
                    <a:lnTo>
                      <a:pt x="136" y="100"/>
                    </a:lnTo>
                    <a:lnTo>
                      <a:pt x="136" y="105"/>
                    </a:lnTo>
                    <a:lnTo>
                      <a:pt x="131" y="105"/>
                    </a:lnTo>
                    <a:lnTo>
                      <a:pt x="127" y="105"/>
                    </a:lnTo>
                    <a:lnTo>
                      <a:pt x="127" y="105"/>
                    </a:lnTo>
                    <a:lnTo>
                      <a:pt x="127" y="105"/>
                    </a:lnTo>
                    <a:lnTo>
                      <a:pt x="127" y="105"/>
                    </a:lnTo>
                    <a:lnTo>
                      <a:pt x="127" y="105"/>
                    </a:lnTo>
                    <a:lnTo>
                      <a:pt x="127" y="105"/>
                    </a:lnTo>
                    <a:lnTo>
                      <a:pt x="127" y="105"/>
                    </a:lnTo>
                    <a:lnTo>
                      <a:pt x="122" y="105"/>
                    </a:lnTo>
                    <a:lnTo>
                      <a:pt x="127" y="105"/>
                    </a:lnTo>
                    <a:lnTo>
                      <a:pt x="122" y="109"/>
                    </a:lnTo>
                    <a:lnTo>
                      <a:pt x="118" y="105"/>
                    </a:lnTo>
                    <a:lnTo>
                      <a:pt x="118" y="105"/>
                    </a:lnTo>
                    <a:lnTo>
                      <a:pt x="118" y="109"/>
                    </a:lnTo>
                    <a:lnTo>
                      <a:pt x="113" y="109"/>
                    </a:lnTo>
                    <a:lnTo>
                      <a:pt x="113" y="109"/>
                    </a:lnTo>
                    <a:lnTo>
                      <a:pt x="113" y="109"/>
                    </a:lnTo>
                    <a:lnTo>
                      <a:pt x="118" y="114"/>
                    </a:lnTo>
                    <a:lnTo>
                      <a:pt x="118" y="114"/>
                    </a:lnTo>
                    <a:lnTo>
                      <a:pt x="118" y="114"/>
                    </a:lnTo>
                    <a:lnTo>
                      <a:pt x="118" y="114"/>
                    </a:lnTo>
                    <a:lnTo>
                      <a:pt x="118" y="118"/>
                    </a:lnTo>
                    <a:lnTo>
                      <a:pt x="118" y="123"/>
                    </a:lnTo>
                    <a:lnTo>
                      <a:pt x="113" y="123"/>
                    </a:lnTo>
                    <a:lnTo>
                      <a:pt x="113" y="127"/>
                    </a:lnTo>
                    <a:lnTo>
                      <a:pt x="113" y="127"/>
                    </a:lnTo>
                    <a:lnTo>
                      <a:pt x="104" y="127"/>
                    </a:lnTo>
                    <a:lnTo>
                      <a:pt x="104" y="127"/>
                    </a:lnTo>
                    <a:lnTo>
                      <a:pt x="100" y="132"/>
                    </a:lnTo>
                    <a:lnTo>
                      <a:pt x="95" y="132"/>
                    </a:lnTo>
                    <a:lnTo>
                      <a:pt x="95" y="132"/>
                    </a:lnTo>
                    <a:lnTo>
                      <a:pt x="86" y="136"/>
                    </a:lnTo>
                    <a:lnTo>
                      <a:pt x="86" y="141"/>
                    </a:lnTo>
                    <a:lnTo>
                      <a:pt x="86" y="141"/>
                    </a:lnTo>
                    <a:lnTo>
                      <a:pt x="86" y="145"/>
                    </a:lnTo>
                    <a:lnTo>
                      <a:pt x="82" y="145"/>
                    </a:lnTo>
                    <a:lnTo>
                      <a:pt x="77" y="154"/>
                    </a:lnTo>
                    <a:lnTo>
                      <a:pt x="72" y="154"/>
                    </a:lnTo>
                    <a:lnTo>
                      <a:pt x="72" y="154"/>
                    </a:lnTo>
                    <a:lnTo>
                      <a:pt x="68" y="154"/>
                    </a:lnTo>
                    <a:lnTo>
                      <a:pt x="63" y="154"/>
                    </a:lnTo>
                    <a:lnTo>
                      <a:pt x="59" y="159"/>
                    </a:lnTo>
                    <a:lnTo>
                      <a:pt x="54" y="164"/>
                    </a:lnTo>
                    <a:lnTo>
                      <a:pt x="54" y="164"/>
                    </a:lnTo>
                    <a:lnTo>
                      <a:pt x="50" y="168"/>
                    </a:lnTo>
                    <a:lnTo>
                      <a:pt x="45" y="168"/>
                    </a:lnTo>
                    <a:lnTo>
                      <a:pt x="45" y="173"/>
                    </a:lnTo>
                    <a:lnTo>
                      <a:pt x="45" y="173"/>
                    </a:lnTo>
                    <a:lnTo>
                      <a:pt x="41" y="173"/>
                    </a:lnTo>
                    <a:lnTo>
                      <a:pt x="41" y="177"/>
                    </a:lnTo>
                    <a:lnTo>
                      <a:pt x="32" y="182"/>
                    </a:lnTo>
                    <a:lnTo>
                      <a:pt x="32" y="182"/>
                    </a:lnTo>
                    <a:lnTo>
                      <a:pt x="27" y="182"/>
                    </a:lnTo>
                    <a:lnTo>
                      <a:pt x="27" y="182"/>
                    </a:lnTo>
                    <a:lnTo>
                      <a:pt x="27" y="186"/>
                    </a:lnTo>
                    <a:lnTo>
                      <a:pt x="23" y="186"/>
                    </a:lnTo>
                    <a:lnTo>
                      <a:pt x="23" y="186"/>
                    </a:lnTo>
                    <a:lnTo>
                      <a:pt x="23" y="191"/>
                    </a:lnTo>
                    <a:lnTo>
                      <a:pt x="23" y="191"/>
                    </a:lnTo>
                    <a:lnTo>
                      <a:pt x="23" y="191"/>
                    </a:lnTo>
                    <a:lnTo>
                      <a:pt x="14" y="191"/>
                    </a:lnTo>
                    <a:lnTo>
                      <a:pt x="14" y="191"/>
                    </a:lnTo>
                    <a:lnTo>
                      <a:pt x="9" y="195"/>
                    </a:lnTo>
                    <a:lnTo>
                      <a:pt x="4" y="195"/>
                    </a:lnTo>
                    <a:lnTo>
                      <a:pt x="4" y="195"/>
                    </a:lnTo>
                    <a:lnTo>
                      <a:pt x="4" y="195"/>
                    </a:lnTo>
                    <a:lnTo>
                      <a:pt x="4" y="195"/>
                    </a:lnTo>
                    <a:lnTo>
                      <a:pt x="4" y="195"/>
                    </a:lnTo>
                    <a:lnTo>
                      <a:pt x="4" y="195"/>
                    </a:lnTo>
                    <a:moveTo>
                      <a:pt x="168" y="27"/>
                    </a:moveTo>
                    <a:lnTo>
                      <a:pt x="168" y="27"/>
                    </a:lnTo>
                    <a:lnTo>
                      <a:pt x="172" y="27"/>
                    </a:lnTo>
                    <a:lnTo>
                      <a:pt x="172" y="27"/>
                    </a:lnTo>
                    <a:lnTo>
                      <a:pt x="172" y="32"/>
                    </a:lnTo>
                    <a:lnTo>
                      <a:pt x="168" y="37"/>
                    </a:lnTo>
                    <a:lnTo>
                      <a:pt x="168" y="37"/>
                    </a:lnTo>
                    <a:lnTo>
                      <a:pt x="168" y="32"/>
                    </a:lnTo>
                    <a:lnTo>
                      <a:pt x="168" y="27"/>
                    </a:lnTo>
                    <a:lnTo>
                      <a:pt x="168" y="27"/>
                    </a:lnTo>
                    <a:moveTo>
                      <a:pt x="154" y="32"/>
                    </a:moveTo>
                    <a:lnTo>
                      <a:pt x="154" y="32"/>
                    </a:lnTo>
                    <a:lnTo>
                      <a:pt x="154" y="32"/>
                    </a:lnTo>
                    <a:lnTo>
                      <a:pt x="154" y="27"/>
                    </a:lnTo>
                    <a:lnTo>
                      <a:pt x="159" y="23"/>
                    </a:lnTo>
                    <a:lnTo>
                      <a:pt x="163" y="23"/>
                    </a:lnTo>
                    <a:lnTo>
                      <a:pt x="163" y="23"/>
                    </a:lnTo>
                    <a:lnTo>
                      <a:pt x="168" y="23"/>
                    </a:lnTo>
                    <a:lnTo>
                      <a:pt x="168" y="23"/>
                    </a:lnTo>
                    <a:lnTo>
                      <a:pt x="168" y="23"/>
                    </a:lnTo>
                    <a:lnTo>
                      <a:pt x="168" y="27"/>
                    </a:lnTo>
                    <a:lnTo>
                      <a:pt x="168" y="27"/>
                    </a:lnTo>
                    <a:lnTo>
                      <a:pt x="163" y="27"/>
                    </a:lnTo>
                    <a:lnTo>
                      <a:pt x="163" y="27"/>
                    </a:lnTo>
                    <a:lnTo>
                      <a:pt x="163" y="32"/>
                    </a:lnTo>
                    <a:lnTo>
                      <a:pt x="163" y="32"/>
                    </a:lnTo>
                    <a:lnTo>
                      <a:pt x="163" y="32"/>
                    </a:lnTo>
                    <a:lnTo>
                      <a:pt x="163" y="32"/>
                    </a:lnTo>
                    <a:lnTo>
                      <a:pt x="163" y="32"/>
                    </a:lnTo>
                    <a:lnTo>
                      <a:pt x="159" y="32"/>
                    </a:lnTo>
                    <a:lnTo>
                      <a:pt x="159" y="32"/>
                    </a:lnTo>
                    <a:lnTo>
                      <a:pt x="159" y="32"/>
                    </a:lnTo>
                    <a:lnTo>
                      <a:pt x="159" y="32"/>
                    </a:lnTo>
                    <a:lnTo>
                      <a:pt x="159" y="27"/>
                    </a:lnTo>
                    <a:lnTo>
                      <a:pt x="159" y="27"/>
                    </a:lnTo>
                    <a:lnTo>
                      <a:pt x="159" y="27"/>
                    </a:lnTo>
                    <a:lnTo>
                      <a:pt x="159" y="27"/>
                    </a:lnTo>
                    <a:lnTo>
                      <a:pt x="159" y="32"/>
                    </a:lnTo>
                    <a:lnTo>
                      <a:pt x="159" y="32"/>
                    </a:lnTo>
                    <a:lnTo>
                      <a:pt x="159" y="32"/>
                    </a:lnTo>
                    <a:lnTo>
                      <a:pt x="154" y="32"/>
                    </a:lnTo>
                    <a:lnTo>
                      <a:pt x="154" y="32"/>
                    </a:lnTo>
                    <a:moveTo>
                      <a:pt x="168" y="27"/>
                    </a:moveTo>
                    <a:lnTo>
                      <a:pt x="168" y="27"/>
                    </a:lnTo>
                    <a:lnTo>
                      <a:pt x="168" y="23"/>
                    </a:lnTo>
                    <a:lnTo>
                      <a:pt x="168" y="23"/>
                    </a:lnTo>
                    <a:lnTo>
                      <a:pt x="172" y="27"/>
                    </a:lnTo>
                    <a:lnTo>
                      <a:pt x="168" y="27"/>
                    </a:lnTo>
                    <a:moveTo>
                      <a:pt x="163" y="41"/>
                    </a:moveTo>
                    <a:lnTo>
                      <a:pt x="163" y="41"/>
                    </a:lnTo>
                    <a:lnTo>
                      <a:pt x="168" y="41"/>
                    </a:lnTo>
                    <a:lnTo>
                      <a:pt x="163" y="41"/>
                    </a:lnTo>
                    <a:lnTo>
                      <a:pt x="159" y="41"/>
                    </a:lnTo>
                    <a:lnTo>
                      <a:pt x="159" y="41"/>
                    </a:lnTo>
                    <a:lnTo>
                      <a:pt x="159" y="41"/>
                    </a:lnTo>
                    <a:lnTo>
                      <a:pt x="159" y="37"/>
                    </a:lnTo>
                    <a:lnTo>
                      <a:pt x="159" y="37"/>
                    </a:lnTo>
                    <a:lnTo>
                      <a:pt x="159" y="37"/>
                    </a:lnTo>
                    <a:lnTo>
                      <a:pt x="163" y="37"/>
                    </a:lnTo>
                    <a:lnTo>
                      <a:pt x="163" y="41"/>
                    </a:lnTo>
                    <a:moveTo>
                      <a:pt x="181" y="14"/>
                    </a:moveTo>
                    <a:lnTo>
                      <a:pt x="181" y="14"/>
                    </a:lnTo>
                    <a:lnTo>
                      <a:pt x="181" y="14"/>
                    </a:lnTo>
                    <a:lnTo>
                      <a:pt x="181" y="5"/>
                    </a:lnTo>
                    <a:lnTo>
                      <a:pt x="181" y="5"/>
                    </a:lnTo>
                    <a:lnTo>
                      <a:pt x="190" y="0"/>
                    </a:lnTo>
                    <a:lnTo>
                      <a:pt x="190" y="0"/>
                    </a:lnTo>
                    <a:lnTo>
                      <a:pt x="190" y="0"/>
                    </a:lnTo>
                    <a:lnTo>
                      <a:pt x="195" y="0"/>
                    </a:lnTo>
                    <a:lnTo>
                      <a:pt x="195" y="0"/>
                    </a:lnTo>
                    <a:lnTo>
                      <a:pt x="195" y="0"/>
                    </a:lnTo>
                    <a:lnTo>
                      <a:pt x="195" y="5"/>
                    </a:lnTo>
                    <a:lnTo>
                      <a:pt x="195" y="5"/>
                    </a:lnTo>
                    <a:lnTo>
                      <a:pt x="195" y="5"/>
                    </a:lnTo>
                    <a:lnTo>
                      <a:pt x="195" y="5"/>
                    </a:lnTo>
                    <a:lnTo>
                      <a:pt x="199" y="5"/>
                    </a:lnTo>
                    <a:lnTo>
                      <a:pt x="199" y="5"/>
                    </a:lnTo>
                    <a:lnTo>
                      <a:pt x="199" y="9"/>
                    </a:lnTo>
                    <a:lnTo>
                      <a:pt x="199" y="9"/>
                    </a:lnTo>
                    <a:lnTo>
                      <a:pt x="199" y="9"/>
                    </a:lnTo>
                    <a:lnTo>
                      <a:pt x="199" y="18"/>
                    </a:lnTo>
                    <a:lnTo>
                      <a:pt x="199" y="18"/>
                    </a:lnTo>
                    <a:lnTo>
                      <a:pt x="195" y="18"/>
                    </a:lnTo>
                    <a:lnTo>
                      <a:pt x="195" y="18"/>
                    </a:lnTo>
                    <a:lnTo>
                      <a:pt x="195" y="18"/>
                    </a:lnTo>
                    <a:lnTo>
                      <a:pt x="195" y="18"/>
                    </a:lnTo>
                    <a:lnTo>
                      <a:pt x="195" y="18"/>
                    </a:lnTo>
                    <a:lnTo>
                      <a:pt x="195" y="18"/>
                    </a:lnTo>
                    <a:lnTo>
                      <a:pt x="195" y="18"/>
                    </a:lnTo>
                    <a:lnTo>
                      <a:pt x="195" y="23"/>
                    </a:lnTo>
                    <a:lnTo>
                      <a:pt x="195" y="23"/>
                    </a:lnTo>
                    <a:lnTo>
                      <a:pt x="190" y="23"/>
                    </a:lnTo>
                    <a:lnTo>
                      <a:pt x="190" y="23"/>
                    </a:lnTo>
                    <a:lnTo>
                      <a:pt x="186" y="18"/>
                    </a:lnTo>
                    <a:lnTo>
                      <a:pt x="186" y="18"/>
                    </a:lnTo>
                    <a:lnTo>
                      <a:pt x="181" y="14"/>
                    </a:lnTo>
                    <a:lnTo>
                      <a:pt x="181" y="1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" name="Freeform 10"/>
              <p:cNvSpPr>
                <a:spLocks/>
              </p:cNvSpPr>
              <p:nvPr/>
            </p:nvSpPr>
            <p:spPr bwMode="auto">
              <a:xfrm>
                <a:off x="2217738" y="2643188"/>
                <a:ext cx="238125" cy="101600"/>
              </a:xfrm>
              <a:custGeom>
                <a:avLst/>
                <a:gdLst>
                  <a:gd name="T0" fmla="*/ 18 w 150"/>
                  <a:gd name="T1" fmla="*/ 0 h 64"/>
                  <a:gd name="T2" fmla="*/ 18 w 150"/>
                  <a:gd name="T3" fmla="*/ 0 h 64"/>
                  <a:gd name="T4" fmla="*/ 18 w 150"/>
                  <a:gd name="T5" fmla="*/ 9 h 64"/>
                  <a:gd name="T6" fmla="*/ 32 w 150"/>
                  <a:gd name="T7" fmla="*/ 14 h 64"/>
                  <a:gd name="T8" fmla="*/ 41 w 150"/>
                  <a:gd name="T9" fmla="*/ 9 h 64"/>
                  <a:gd name="T10" fmla="*/ 50 w 150"/>
                  <a:gd name="T11" fmla="*/ 5 h 64"/>
                  <a:gd name="T12" fmla="*/ 73 w 150"/>
                  <a:gd name="T13" fmla="*/ 14 h 64"/>
                  <a:gd name="T14" fmla="*/ 123 w 150"/>
                  <a:gd name="T15" fmla="*/ 9 h 64"/>
                  <a:gd name="T16" fmla="*/ 127 w 150"/>
                  <a:gd name="T17" fmla="*/ 5 h 64"/>
                  <a:gd name="T18" fmla="*/ 136 w 150"/>
                  <a:gd name="T19" fmla="*/ 5 h 64"/>
                  <a:gd name="T20" fmla="*/ 136 w 150"/>
                  <a:gd name="T21" fmla="*/ 5 h 64"/>
                  <a:gd name="T22" fmla="*/ 141 w 150"/>
                  <a:gd name="T23" fmla="*/ 23 h 64"/>
                  <a:gd name="T24" fmla="*/ 145 w 150"/>
                  <a:gd name="T25" fmla="*/ 32 h 64"/>
                  <a:gd name="T26" fmla="*/ 150 w 150"/>
                  <a:gd name="T27" fmla="*/ 41 h 64"/>
                  <a:gd name="T28" fmla="*/ 150 w 150"/>
                  <a:gd name="T29" fmla="*/ 45 h 64"/>
                  <a:gd name="T30" fmla="*/ 145 w 150"/>
                  <a:gd name="T31" fmla="*/ 50 h 64"/>
                  <a:gd name="T32" fmla="*/ 141 w 150"/>
                  <a:gd name="T33" fmla="*/ 50 h 64"/>
                  <a:gd name="T34" fmla="*/ 132 w 150"/>
                  <a:gd name="T35" fmla="*/ 50 h 64"/>
                  <a:gd name="T36" fmla="*/ 127 w 150"/>
                  <a:gd name="T37" fmla="*/ 54 h 64"/>
                  <a:gd name="T38" fmla="*/ 118 w 150"/>
                  <a:gd name="T39" fmla="*/ 54 h 64"/>
                  <a:gd name="T40" fmla="*/ 109 w 150"/>
                  <a:gd name="T41" fmla="*/ 54 h 64"/>
                  <a:gd name="T42" fmla="*/ 109 w 150"/>
                  <a:gd name="T43" fmla="*/ 50 h 64"/>
                  <a:gd name="T44" fmla="*/ 109 w 150"/>
                  <a:gd name="T45" fmla="*/ 45 h 64"/>
                  <a:gd name="T46" fmla="*/ 95 w 150"/>
                  <a:gd name="T47" fmla="*/ 41 h 64"/>
                  <a:gd name="T48" fmla="*/ 95 w 150"/>
                  <a:gd name="T49" fmla="*/ 36 h 64"/>
                  <a:gd name="T50" fmla="*/ 95 w 150"/>
                  <a:gd name="T51" fmla="*/ 36 h 64"/>
                  <a:gd name="T52" fmla="*/ 91 w 150"/>
                  <a:gd name="T53" fmla="*/ 32 h 64"/>
                  <a:gd name="T54" fmla="*/ 86 w 150"/>
                  <a:gd name="T55" fmla="*/ 36 h 64"/>
                  <a:gd name="T56" fmla="*/ 77 w 150"/>
                  <a:gd name="T57" fmla="*/ 41 h 64"/>
                  <a:gd name="T58" fmla="*/ 77 w 150"/>
                  <a:gd name="T59" fmla="*/ 41 h 64"/>
                  <a:gd name="T60" fmla="*/ 73 w 150"/>
                  <a:gd name="T61" fmla="*/ 41 h 64"/>
                  <a:gd name="T62" fmla="*/ 68 w 150"/>
                  <a:gd name="T63" fmla="*/ 36 h 64"/>
                  <a:gd name="T64" fmla="*/ 50 w 150"/>
                  <a:gd name="T65" fmla="*/ 32 h 64"/>
                  <a:gd name="T66" fmla="*/ 46 w 150"/>
                  <a:gd name="T67" fmla="*/ 41 h 64"/>
                  <a:gd name="T68" fmla="*/ 41 w 150"/>
                  <a:gd name="T69" fmla="*/ 41 h 64"/>
                  <a:gd name="T70" fmla="*/ 41 w 150"/>
                  <a:gd name="T71" fmla="*/ 45 h 64"/>
                  <a:gd name="T72" fmla="*/ 41 w 150"/>
                  <a:gd name="T73" fmla="*/ 50 h 64"/>
                  <a:gd name="T74" fmla="*/ 27 w 150"/>
                  <a:gd name="T75" fmla="*/ 50 h 64"/>
                  <a:gd name="T76" fmla="*/ 27 w 150"/>
                  <a:gd name="T77" fmla="*/ 54 h 64"/>
                  <a:gd name="T78" fmla="*/ 27 w 150"/>
                  <a:gd name="T79" fmla="*/ 54 h 64"/>
                  <a:gd name="T80" fmla="*/ 18 w 150"/>
                  <a:gd name="T81" fmla="*/ 59 h 64"/>
                  <a:gd name="T82" fmla="*/ 9 w 150"/>
                  <a:gd name="T83" fmla="*/ 59 h 64"/>
                  <a:gd name="T84" fmla="*/ 0 w 150"/>
                  <a:gd name="T85" fmla="*/ 50 h 64"/>
                  <a:gd name="T86" fmla="*/ 5 w 150"/>
                  <a:gd name="T87" fmla="*/ 45 h 64"/>
                  <a:gd name="T88" fmla="*/ 5 w 150"/>
                  <a:gd name="T89" fmla="*/ 41 h 64"/>
                  <a:gd name="T90" fmla="*/ 18 w 150"/>
                  <a:gd name="T91" fmla="*/ 36 h 64"/>
                  <a:gd name="T92" fmla="*/ 18 w 150"/>
                  <a:gd name="T93" fmla="*/ 27 h 64"/>
                  <a:gd name="T94" fmla="*/ 23 w 150"/>
                  <a:gd name="T95" fmla="*/ 18 h 64"/>
                  <a:gd name="T96" fmla="*/ 23 w 150"/>
                  <a:gd name="T97" fmla="*/ 18 h 64"/>
                  <a:gd name="T98" fmla="*/ 23 w 150"/>
                  <a:gd name="T99" fmla="*/ 14 h 64"/>
                  <a:gd name="T100" fmla="*/ 18 w 150"/>
                  <a:gd name="T101" fmla="*/ 14 h 64"/>
                  <a:gd name="T102" fmla="*/ 14 w 150"/>
                  <a:gd name="T103" fmla="*/ 9 h 64"/>
                  <a:gd name="T104" fmla="*/ 14 w 150"/>
                  <a:gd name="T105" fmla="*/ 5 h 64"/>
                  <a:gd name="T106" fmla="*/ 14 w 150"/>
                  <a:gd name="T107" fmla="*/ 5 h 64"/>
                  <a:gd name="T108" fmla="*/ 14 w 150"/>
                  <a:gd name="T10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0" h="64">
                    <a:moveTo>
                      <a:pt x="14" y="0"/>
                    </a:move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9"/>
                    </a:lnTo>
                    <a:lnTo>
                      <a:pt x="23" y="9"/>
                    </a:lnTo>
                    <a:lnTo>
                      <a:pt x="27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6" y="14"/>
                    </a:lnTo>
                    <a:lnTo>
                      <a:pt x="41" y="9"/>
                    </a:lnTo>
                    <a:lnTo>
                      <a:pt x="46" y="5"/>
                    </a:lnTo>
                    <a:lnTo>
                      <a:pt x="46" y="5"/>
                    </a:lnTo>
                    <a:lnTo>
                      <a:pt x="50" y="5"/>
                    </a:lnTo>
                    <a:lnTo>
                      <a:pt x="55" y="5"/>
                    </a:lnTo>
                    <a:lnTo>
                      <a:pt x="64" y="9"/>
                    </a:lnTo>
                    <a:lnTo>
                      <a:pt x="73" y="14"/>
                    </a:lnTo>
                    <a:lnTo>
                      <a:pt x="91" y="9"/>
                    </a:lnTo>
                    <a:lnTo>
                      <a:pt x="105" y="9"/>
                    </a:lnTo>
                    <a:lnTo>
                      <a:pt x="123" y="9"/>
                    </a:lnTo>
                    <a:lnTo>
                      <a:pt x="123" y="9"/>
                    </a:lnTo>
                    <a:lnTo>
                      <a:pt x="123" y="9"/>
                    </a:lnTo>
                    <a:lnTo>
                      <a:pt x="127" y="5"/>
                    </a:lnTo>
                    <a:lnTo>
                      <a:pt x="132" y="5"/>
                    </a:lnTo>
                    <a:lnTo>
                      <a:pt x="132" y="5"/>
                    </a:lnTo>
                    <a:lnTo>
                      <a:pt x="136" y="5"/>
                    </a:lnTo>
                    <a:lnTo>
                      <a:pt x="136" y="5"/>
                    </a:lnTo>
                    <a:lnTo>
                      <a:pt x="136" y="5"/>
                    </a:lnTo>
                    <a:lnTo>
                      <a:pt x="136" y="5"/>
                    </a:lnTo>
                    <a:lnTo>
                      <a:pt x="141" y="5"/>
                    </a:lnTo>
                    <a:lnTo>
                      <a:pt x="141" y="9"/>
                    </a:lnTo>
                    <a:lnTo>
                      <a:pt x="141" y="23"/>
                    </a:lnTo>
                    <a:lnTo>
                      <a:pt x="145" y="27"/>
                    </a:lnTo>
                    <a:lnTo>
                      <a:pt x="145" y="32"/>
                    </a:lnTo>
                    <a:lnTo>
                      <a:pt x="145" y="32"/>
                    </a:lnTo>
                    <a:lnTo>
                      <a:pt x="150" y="36"/>
                    </a:lnTo>
                    <a:lnTo>
                      <a:pt x="150" y="36"/>
                    </a:lnTo>
                    <a:lnTo>
                      <a:pt x="150" y="41"/>
                    </a:lnTo>
                    <a:lnTo>
                      <a:pt x="150" y="41"/>
                    </a:lnTo>
                    <a:lnTo>
                      <a:pt x="150" y="41"/>
                    </a:lnTo>
                    <a:lnTo>
                      <a:pt x="150" y="45"/>
                    </a:lnTo>
                    <a:lnTo>
                      <a:pt x="150" y="45"/>
                    </a:lnTo>
                    <a:lnTo>
                      <a:pt x="145" y="50"/>
                    </a:lnTo>
                    <a:lnTo>
                      <a:pt x="145" y="50"/>
                    </a:lnTo>
                    <a:lnTo>
                      <a:pt x="141" y="50"/>
                    </a:lnTo>
                    <a:lnTo>
                      <a:pt x="141" y="50"/>
                    </a:lnTo>
                    <a:lnTo>
                      <a:pt x="141" y="50"/>
                    </a:lnTo>
                    <a:lnTo>
                      <a:pt x="136" y="50"/>
                    </a:lnTo>
                    <a:lnTo>
                      <a:pt x="136" y="50"/>
                    </a:lnTo>
                    <a:lnTo>
                      <a:pt x="132" y="50"/>
                    </a:lnTo>
                    <a:lnTo>
                      <a:pt x="127" y="54"/>
                    </a:lnTo>
                    <a:lnTo>
                      <a:pt x="127" y="54"/>
                    </a:lnTo>
                    <a:lnTo>
                      <a:pt x="127" y="54"/>
                    </a:lnTo>
                    <a:lnTo>
                      <a:pt x="123" y="54"/>
                    </a:lnTo>
                    <a:lnTo>
                      <a:pt x="123" y="54"/>
                    </a:lnTo>
                    <a:lnTo>
                      <a:pt x="118" y="54"/>
                    </a:lnTo>
                    <a:lnTo>
                      <a:pt x="114" y="54"/>
                    </a:lnTo>
                    <a:lnTo>
                      <a:pt x="114" y="54"/>
                    </a:lnTo>
                    <a:lnTo>
                      <a:pt x="109" y="54"/>
                    </a:lnTo>
                    <a:lnTo>
                      <a:pt x="109" y="54"/>
                    </a:lnTo>
                    <a:lnTo>
                      <a:pt x="109" y="50"/>
                    </a:lnTo>
                    <a:lnTo>
                      <a:pt x="109" y="50"/>
                    </a:lnTo>
                    <a:lnTo>
                      <a:pt x="109" y="50"/>
                    </a:lnTo>
                    <a:lnTo>
                      <a:pt x="109" y="50"/>
                    </a:lnTo>
                    <a:lnTo>
                      <a:pt x="109" y="45"/>
                    </a:lnTo>
                    <a:lnTo>
                      <a:pt x="105" y="45"/>
                    </a:lnTo>
                    <a:lnTo>
                      <a:pt x="105" y="41"/>
                    </a:lnTo>
                    <a:lnTo>
                      <a:pt x="95" y="41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5" y="32"/>
                    </a:lnTo>
                    <a:lnTo>
                      <a:pt x="91" y="32"/>
                    </a:lnTo>
                    <a:lnTo>
                      <a:pt x="91" y="32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2" y="36"/>
                    </a:lnTo>
                    <a:lnTo>
                      <a:pt x="82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5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55" y="32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46" y="36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41" y="45"/>
                    </a:lnTo>
                    <a:lnTo>
                      <a:pt x="41" y="45"/>
                    </a:lnTo>
                    <a:lnTo>
                      <a:pt x="41" y="45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36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3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4" y="59"/>
                    </a:lnTo>
                    <a:lnTo>
                      <a:pt x="14" y="64"/>
                    </a:lnTo>
                    <a:lnTo>
                      <a:pt x="9" y="59"/>
                    </a:lnTo>
                    <a:lnTo>
                      <a:pt x="5" y="59"/>
                    </a:lnTo>
                    <a:lnTo>
                      <a:pt x="0" y="59"/>
                    </a:lnTo>
                    <a:lnTo>
                      <a:pt x="0" y="50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9" y="41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27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4" y="0"/>
                    </a:lnTo>
                    <a:lnTo>
                      <a:pt x="1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" name="Freeform 11"/>
              <p:cNvSpPr>
                <a:spLocks noEditPoints="1"/>
              </p:cNvSpPr>
              <p:nvPr/>
            </p:nvSpPr>
            <p:spPr bwMode="auto">
              <a:xfrm>
                <a:off x="1814513" y="2794000"/>
                <a:ext cx="274638" cy="187325"/>
              </a:xfrm>
              <a:custGeom>
                <a:avLst/>
                <a:gdLst>
                  <a:gd name="T0" fmla="*/ 132 w 173"/>
                  <a:gd name="T1" fmla="*/ 41 h 118"/>
                  <a:gd name="T2" fmla="*/ 127 w 173"/>
                  <a:gd name="T3" fmla="*/ 41 h 118"/>
                  <a:gd name="T4" fmla="*/ 118 w 173"/>
                  <a:gd name="T5" fmla="*/ 46 h 118"/>
                  <a:gd name="T6" fmla="*/ 109 w 173"/>
                  <a:gd name="T7" fmla="*/ 46 h 118"/>
                  <a:gd name="T8" fmla="*/ 100 w 173"/>
                  <a:gd name="T9" fmla="*/ 41 h 118"/>
                  <a:gd name="T10" fmla="*/ 95 w 173"/>
                  <a:gd name="T11" fmla="*/ 28 h 118"/>
                  <a:gd name="T12" fmla="*/ 91 w 173"/>
                  <a:gd name="T13" fmla="*/ 18 h 118"/>
                  <a:gd name="T14" fmla="*/ 95 w 173"/>
                  <a:gd name="T15" fmla="*/ 5 h 118"/>
                  <a:gd name="T16" fmla="*/ 91 w 173"/>
                  <a:gd name="T17" fmla="*/ 0 h 118"/>
                  <a:gd name="T18" fmla="*/ 82 w 173"/>
                  <a:gd name="T19" fmla="*/ 5 h 118"/>
                  <a:gd name="T20" fmla="*/ 68 w 173"/>
                  <a:gd name="T21" fmla="*/ 14 h 118"/>
                  <a:gd name="T22" fmla="*/ 50 w 173"/>
                  <a:gd name="T23" fmla="*/ 28 h 118"/>
                  <a:gd name="T24" fmla="*/ 41 w 173"/>
                  <a:gd name="T25" fmla="*/ 28 h 118"/>
                  <a:gd name="T26" fmla="*/ 46 w 173"/>
                  <a:gd name="T27" fmla="*/ 23 h 118"/>
                  <a:gd name="T28" fmla="*/ 36 w 173"/>
                  <a:gd name="T29" fmla="*/ 28 h 118"/>
                  <a:gd name="T30" fmla="*/ 27 w 173"/>
                  <a:gd name="T31" fmla="*/ 23 h 118"/>
                  <a:gd name="T32" fmla="*/ 18 w 173"/>
                  <a:gd name="T33" fmla="*/ 23 h 118"/>
                  <a:gd name="T34" fmla="*/ 14 w 173"/>
                  <a:gd name="T35" fmla="*/ 23 h 118"/>
                  <a:gd name="T36" fmla="*/ 18 w 173"/>
                  <a:gd name="T37" fmla="*/ 28 h 118"/>
                  <a:gd name="T38" fmla="*/ 9 w 173"/>
                  <a:gd name="T39" fmla="*/ 28 h 118"/>
                  <a:gd name="T40" fmla="*/ 5 w 173"/>
                  <a:gd name="T41" fmla="*/ 37 h 118"/>
                  <a:gd name="T42" fmla="*/ 9 w 173"/>
                  <a:gd name="T43" fmla="*/ 50 h 118"/>
                  <a:gd name="T44" fmla="*/ 0 w 173"/>
                  <a:gd name="T45" fmla="*/ 59 h 118"/>
                  <a:gd name="T46" fmla="*/ 5 w 173"/>
                  <a:gd name="T47" fmla="*/ 68 h 118"/>
                  <a:gd name="T48" fmla="*/ 0 w 173"/>
                  <a:gd name="T49" fmla="*/ 82 h 118"/>
                  <a:gd name="T50" fmla="*/ 18 w 173"/>
                  <a:gd name="T51" fmla="*/ 68 h 118"/>
                  <a:gd name="T52" fmla="*/ 32 w 173"/>
                  <a:gd name="T53" fmla="*/ 82 h 118"/>
                  <a:gd name="T54" fmla="*/ 36 w 173"/>
                  <a:gd name="T55" fmla="*/ 82 h 118"/>
                  <a:gd name="T56" fmla="*/ 36 w 173"/>
                  <a:gd name="T57" fmla="*/ 86 h 118"/>
                  <a:gd name="T58" fmla="*/ 55 w 173"/>
                  <a:gd name="T59" fmla="*/ 82 h 118"/>
                  <a:gd name="T60" fmla="*/ 59 w 173"/>
                  <a:gd name="T61" fmla="*/ 82 h 118"/>
                  <a:gd name="T62" fmla="*/ 64 w 173"/>
                  <a:gd name="T63" fmla="*/ 82 h 118"/>
                  <a:gd name="T64" fmla="*/ 64 w 173"/>
                  <a:gd name="T65" fmla="*/ 77 h 118"/>
                  <a:gd name="T66" fmla="*/ 68 w 173"/>
                  <a:gd name="T67" fmla="*/ 77 h 118"/>
                  <a:gd name="T68" fmla="*/ 77 w 173"/>
                  <a:gd name="T69" fmla="*/ 82 h 118"/>
                  <a:gd name="T70" fmla="*/ 77 w 173"/>
                  <a:gd name="T71" fmla="*/ 77 h 118"/>
                  <a:gd name="T72" fmla="*/ 91 w 173"/>
                  <a:gd name="T73" fmla="*/ 77 h 118"/>
                  <a:gd name="T74" fmla="*/ 100 w 173"/>
                  <a:gd name="T75" fmla="*/ 82 h 118"/>
                  <a:gd name="T76" fmla="*/ 105 w 173"/>
                  <a:gd name="T77" fmla="*/ 86 h 118"/>
                  <a:gd name="T78" fmla="*/ 118 w 173"/>
                  <a:gd name="T79" fmla="*/ 96 h 118"/>
                  <a:gd name="T80" fmla="*/ 132 w 173"/>
                  <a:gd name="T81" fmla="*/ 105 h 118"/>
                  <a:gd name="T82" fmla="*/ 127 w 173"/>
                  <a:gd name="T83" fmla="*/ 109 h 118"/>
                  <a:gd name="T84" fmla="*/ 136 w 173"/>
                  <a:gd name="T85" fmla="*/ 109 h 118"/>
                  <a:gd name="T86" fmla="*/ 136 w 173"/>
                  <a:gd name="T87" fmla="*/ 96 h 118"/>
                  <a:gd name="T88" fmla="*/ 150 w 173"/>
                  <a:gd name="T89" fmla="*/ 73 h 118"/>
                  <a:gd name="T90" fmla="*/ 145 w 173"/>
                  <a:gd name="T91" fmla="*/ 118 h 118"/>
                  <a:gd name="T92" fmla="*/ 141 w 173"/>
                  <a:gd name="T93" fmla="*/ 114 h 118"/>
                  <a:gd name="T94" fmla="*/ 173 w 173"/>
                  <a:gd name="T95" fmla="*/ 100 h 118"/>
                  <a:gd name="T96" fmla="*/ 163 w 173"/>
                  <a:gd name="T97" fmla="*/ 105 h 118"/>
                  <a:gd name="T98" fmla="*/ 154 w 173"/>
                  <a:gd name="T99" fmla="*/ 109 h 118"/>
                  <a:gd name="T100" fmla="*/ 150 w 173"/>
                  <a:gd name="T101" fmla="*/ 105 h 118"/>
                  <a:gd name="T102" fmla="*/ 145 w 173"/>
                  <a:gd name="T103" fmla="*/ 105 h 118"/>
                  <a:gd name="T104" fmla="*/ 150 w 173"/>
                  <a:gd name="T105" fmla="*/ 96 h 118"/>
                  <a:gd name="T106" fmla="*/ 163 w 173"/>
                  <a:gd name="T107" fmla="*/ 100 h 118"/>
                  <a:gd name="T108" fmla="*/ 173 w 173"/>
                  <a:gd name="T109" fmla="*/ 10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3" h="118">
                    <a:moveTo>
                      <a:pt x="145" y="64"/>
                    </a:moveTo>
                    <a:lnTo>
                      <a:pt x="145" y="64"/>
                    </a:lnTo>
                    <a:lnTo>
                      <a:pt x="141" y="59"/>
                    </a:lnTo>
                    <a:lnTo>
                      <a:pt x="141" y="59"/>
                    </a:lnTo>
                    <a:lnTo>
                      <a:pt x="141" y="59"/>
                    </a:lnTo>
                    <a:lnTo>
                      <a:pt x="136" y="55"/>
                    </a:lnTo>
                    <a:lnTo>
                      <a:pt x="132" y="41"/>
                    </a:lnTo>
                    <a:lnTo>
                      <a:pt x="132" y="32"/>
                    </a:lnTo>
                    <a:lnTo>
                      <a:pt x="132" y="28"/>
                    </a:lnTo>
                    <a:lnTo>
                      <a:pt x="127" y="32"/>
                    </a:lnTo>
                    <a:lnTo>
                      <a:pt x="123" y="37"/>
                    </a:lnTo>
                    <a:lnTo>
                      <a:pt x="123" y="37"/>
                    </a:lnTo>
                    <a:lnTo>
                      <a:pt x="127" y="37"/>
                    </a:lnTo>
                    <a:lnTo>
                      <a:pt x="127" y="41"/>
                    </a:lnTo>
                    <a:lnTo>
                      <a:pt x="127" y="41"/>
                    </a:lnTo>
                    <a:lnTo>
                      <a:pt x="127" y="41"/>
                    </a:lnTo>
                    <a:lnTo>
                      <a:pt x="127" y="41"/>
                    </a:lnTo>
                    <a:lnTo>
                      <a:pt x="123" y="41"/>
                    </a:lnTo>
                    <a:lnTo>
                      <a:pt x="123" y="41"/>
                    </a:lnTo>
                    <a:lnTo>
                      <a:pt x="123" y="46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14" y="46"/>
                    </a:lnTo>
                    <a:lnTo>
                      <a:pt x="114" y="46"/>
                    </a:lnTo>
                    <a:lnTo>
                      <a:pt x="109" y="46"/>
                    </a:lnTo>
                    <a:lnTo>
                      <a:pt x="105" y="46"/>
                    </a:lnTo>
                    <a:lnTo>
                      <a:pt x="105" y="46"/>
                    </a:lnTo>
                    <a:lnTo>
                      <a:pt x="100" y="46"/>
                    </a:lnTo>
                    <a:lnTo>
                      <a:pt x="100" y="46"/>
                    </a:lnTo>
                    <a:lnTo>
                      <a:pt x="100" y="41"/>
                    </a:lnTo>
                    <a:lnTo>
                      <a:pt x="100" y="41"/>
                    </a:lnTo>
                    <a:lnTo>
                      <a:pt x="100" y="41"/>
                    </a:lnTo>
                    <a:lnTo>
                      <a:pt x="100" y="37"/>
                    </a:lnTo>
                    <a:lnTo>
                      <a:pt x="100" y="37"/>
                    </a:lnTo>
                    <a:lnTo>
                      <a:pt x="100" y="37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95" y="28"/>
                    </a:lnTo>
                    <a:lnTo>
                      <a:pt x="91" y="28"/>
                    </a:lnTo>
                    <a:lnTo>
                      <a:pt x="91" y="28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5" y="14"/>
                    </a:lnTo>
                    <a:lnTo>
                      <a:pt x="95" y="14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5" y="5"/>
                    </a:lnTo>
                    <a:lnTo>
                      <a:pt x="95" y="5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73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4" y="23"/>
                    </a:lnTo>
                    <a:lnTo>
                      <a:pt x="64" y="23"/>
                    </a:lnTo>
                    <a:lnTo>
                      <a:pt x="64" y="28"/>
                    </a:lnTo>
                    <a:lnTo>
                      <a:pt x="50" y="28"/>
                    </a:lnTo>
                    <a:lnTo>
                      <a:pt x="46" y="28"/>
                    </a:lnTo>
                    <a:lnTo>
                      <a:pt x="41" y="28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6" y="23"/>
                    </a:lnTo>
                    <a:lnTo>
                      <a:pt x="46" y="23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50" y="28"/>
                    </a:lnTo>
                    <a:lnTo>
                      <a:pt x="46" y="23"/>
                    </a:lnTo>
                    <a:lnTo>
                      <a:pt x="46" y="23"/>
                    </a:lnTo>
                    <a:lnTo>
                      <a:pt x="46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28"/>
                    </a:lnTo>
                    <a:lnTo>
                      <a:pt x="36" y="32"/>
                    </a:lnTo>
                    <a:lnTo>
                      <a:pt x="36" y="28"/>
                    </a:lnTo>
                    <a:lnTo>
                      <a:pt x="32" y="28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8" y="23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9" y="28"/>
                    </a:lnTo>
                    <a:lnTo>
                      <a:pt x="9" y="28"/>
                    </a:lnTo>
                    <a:lnTo>
                      <a:pt x="9" y="28"/>
                    </a:lnTo>
                    <a:lnTo>
                      <a:pt x="5" y="28"/>
                    </a:lnTo>
                    <a:lnTo>
                      <a:pt x="5" y="32"/>
                    </a:lnTo>
                    <a:lnTo>
                      <a:pt x="5" y="37"/>
                    </a:lnTo>
                    <a:lnTo>
                      <a:pt x="5" y="37"/>
                    </a:lnTo>
                    <a:lnTo>
                      <a:pt x="5" y="37"/>
                    </a:lnTo>
                    <a:lnTo>
                      <a:pt x="5" y="37"/>
                    </a:lnTo>
                    <a:lnTo>
                      <a:pt x="5" y="37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9" y="46"/>
                    </a:lnTo>
                    <a:lnTo>
                      <a:pt x="9" y="46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0" y="55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5" y="68"/>
                    </a:lnTo>
                    <a:lnTo>
                      <a:pt x="5" y="68"/>
                    </a:lnTo>
                    <a:lnTo>
                      <a:pt x="5" y="68"/>
                    </a:lnTo>
                    <a:lnTo>
                      <a:pt x="5" y="68"/>
                    </a:lnTo>
                    <a:lnTo>
                      <a:pt x="5" y="73"/>
                    </a:lnTo>
                    <a:lnTo>
                      <a:pt x="5" y="73"/>
                    </a:lnTo>
                    <a:lnTo>
                      <a:pt x="5" y="73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0" y="77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5" y="82"/>
                    </a:lnTo>
                    <a:lnTo>
                      <a:pt x="5" y="82"/>
                    </a:lnTo>
                    <a:lnTo>
                      <a:pt x="5" y="82"/>
                    </a:lnTo>
                    <a:lnTo>
                      <a:pt x="9" y="77"/>
                    </a:lnTo>
                    <a:lnTo>
                      <a:pt x="14" y="73"/>
                    </a:lnTo>
                    <a:lnTo>
                      <a:pt x="18" y="68"/>
                    </a:lnTo>
                    <a:lnTo>
                      <a:pt x="23" y="73"/>
                    </a:lnTo>
                    <a:lnTo>
                      <a:pt x="23" y="73"/>
                    </a:lnTo>
                    <a:lnTo>
                      <a:pt x="27" y="77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2" y="82"/>
                    </a:lnTo>
                    <a:lnTo>
                      <a:pt x="32" y="82"/>
                    </a:lnTo>
                    <a:lnTo>
                      <a:pt x="32" y="82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36" y="86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50" y="82"/>
                    </a:lnTo>
                    <a:lnTo>
                      <a:pt x="50" y="82"/>
                    </a:lnTo>
                    <a:lnTo>
                      <a:pt x="55" y="82"/>
                    </a:lnTo>
                    <a:lnTo>
                      <a:pt x="55" y="73"/>
                    </a:lnTo>
                    <a:lnTo>
                      <a:pt x="55" y="73"/>
                    </a:lnTo>
                    <a:lnTo>
                      <a:pt x="59" y="73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5" y="82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59" y="77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77"/>
                    </a:lnTo>
                    <a:lnTo>
                      <a:pt x="64" y="77"/>
                    </a:lnTo>
                    <a:lnTo>
                      <a:pt x="64" y="77"/>
                    </a:lnTo>
                    <a:lnTo>
                      <a:pt x="64" y="77"/>
                    </a:lnTo>
                    <a:lnTo>
                      <a:pt x="64" y="77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73" y="82"/>
                    </a:lnTo>
                    <a:lnTo>
                      <a:pt x="73" y="82"/>
                    </a:lnTo>
                    <a:lnTo>
                      <a:pt x="73" y="82"/>
                    </a:lnTo>
                    <a:lnTo>
                      <a:pt x="73" y="82"/>
                    </a:lnTo>
                    <a:lnTo>
                      <a:pt x="77" y="82"/>
                    </a:lnTo>
                    <a:lnTo>
                      <a:pt x="77" y="82"/>
                    </a:lnTo>
                    <a:lnTo>
                      <a:pt x="77" y="82"/>
                    </a:lnTo>
                    <a:lnTo>
                      <a:pt x="77" y="82"/>
                    </a:lnTo>
                    <a:lnTo>
                      <a:pt x="77" y="82"/>
                    </a:lnTo>
                    <a:lnTo>
                      <a:pt x="77" y="82"/>
                    </a:lnTo>
                    <a:lnTo>
                      <a:pt x="77" y="82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82" y="77"/>
                    </a:lnTo>
                    <a:lnTo>
                      <a:pt x="82" y="77"/>
                    </a:lnTo>
                    <a:lnTo>
                      <a:pt x="82" y="77"/>
                    </a:lnTo>
                    <a:lnTo>
                      <a:pt x="86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5" y="77"/>
                    </a:lnTo>
                    <a:lnTo>
                      <a:pt x="100" y="77"/>
                    </a:lnTo>
                    <a:lnTo>
                      <a:pt x="100" y="82"/>
                    </a:lnTo>
                    <a:lnTo>
                      <a:pt x="105" y="82"/>
                    </a:lnTo>
                    <a:lnTo>
                      <a:pt x="105" y="82"/>
                    </a:lnTo>
                    <a:lnTo>
                      <a:pt x="100" y="82"/>
                    </a:lnTo>
                    <a:lnTo>
                      <a:pt x="100" y="86"/>
                    </a:lnTo>
                    <a:lnTo>
                      <a:pt x="100" y="86"/>
                    </a:lnTo>
                    <a:lnTo>
                      <a:pt x="100" y="86"/>
                    </a:lnTo>
                    <a:lnTo>
                      <a:pt x="105" y="86"/>
                    </a:lnTo>
                    <a:lnTo>
                      <a:pt x="105" y="86"/>
                    </a:lnTo>
                    <a:lnTo>
                      <a:pt x="100" y="86"/>
                    </a:lnTo>
                    <a:lnTo>
                      <a:pt x="105" y="86"/>
                    </a:lnTo>
                    <a:lnTo>
                      <a:pt x="105" y="86"/>
                    </a:lnTo>
                    <a:lnTo>
                      <a:pt x="109" y="86"/>
                    </a:lnTo>
                    <a:lnTo>
                      <a:pt x="109" y="86"/>
                    </a:lnTo>
                    <a:lnTo>
                      <a:pt x="109" y="91"/>
                    </a:lnTo>
                    <a:lnTo>
                      <a:pt x="114" y="91"/>
                    </a:lnTo>
                    <a:lnTo>
                      <a:pt x="114" y="91"/>
                    </a:lnTo>
                    <a:lnTo>
                      <a:pt x="118" y="96"/>
                    </a:lnTo>
                    <a:lnTo>
                      <a:pt x="118" y="96"/>
                    </a:lnTo>
                    <a:lnTo>
                      <a:pt x="123" y="96"/>
                    </a:lnTo>
                    <a:lnTo>
                      <a:pt x="127" y="100"/>
                    </a:lnTo>
                    <a:lnTo>
                      <a:pt x="127" y="100"/>
                    </a:lnTo>
                    <a:lnTo>
                      <a:pt x="132" y="105"/>
                    </a:lnTo>
                    <a:lnTo>
                      <a:pt x="132" y="105"/>
                    </a:lnTo>
                    <a:lnTo>
                      <a:pt x="132" y="105"/>
                    </a:lnTo>
                    <a:lnTo>
                      <a:pt x="132" y="109"/>
                    </a:lnTo>
                    <a:lnTo>
                      <a:pt x="132" y="109"/>
                    </a:lnTo>
                    <a:lnTo>
                      <a:pt x="132" y="109"/>
                    </a:lnTo>
                    <a:lnTo>
                      <a:pt x="132" y="109"/>
                    </a:lnTo>
                    <a:lnTo>
                      <a:pt x="127" y="109"/>
                    </a:lnTo>
                    <a:lnTo>
                      <a:pt x="127" y="109"/>
                    </a:lnTo>
                    <a:lnTo>
                      <a:pt x="127" y="109"/>
                    </a:lnTo>
                    <a:lnTo>
                      <a:pt x="127" y="109"/>
                    </a:lnTo>
                    <a:lnTo>
                      <a:pt x="123" y="114"/>
                    </a:lnTo>
                    <a:lnTo>
                      <a:pt x="123" y="114"/>
                    </a:lnTo>
                    <a:lnTo>
                      <a:pt x="127" y="114"/>
                    </a:lnTo>
                    <a:lnTo>
                      <a:pt x="127" y="114"/>
                    </a:lnTo>
                    <a:lnTo>
                      <a:pt x="132" y="114"/>
                    </a:lnTo>
                    <a:lnTo>
                      <a:pt x="136" y="109"/>
                    </a:lnTo>
                    <a:lnTo>
                      <a:pt x="136" y="109"/>
                    </a:lnTo>
                    <a:lnTo>
                      <a:pt x="136" y="105"/>
                    </a:lnTo>
                    <a:lnTo>
                      <a:pt x="136" y="100"/>
                    </a:lnTo>
                    <a:lnTo>
                      <a:pt x="136" y="100"/>
                    </a:lnTo>
                    <a:lnTo>
                      <a:pt x="136" y="96"/>
                    </a:lnTo>
                    <a:lnTo>
                      <a:pt x="136" y="96"/>
                    </a:lnTo>
                    <a:lnTo>
                      <a:pt x="136" y="96"/>
                    </a:lnTo>
                    <a:lnTo>
                      <a:pt x="141" y="96"/>
                    </a:lnTo>
                    <a:lnTo>
                      <a:pt x="145" y="91"/>
                    </a:lnTo>
                    <a:lnTo>
                      <a:pt x="145" y="86"/>
                    </a:lnTo>
                    <a:lnTo>
                      <a:pt x="145" y="82"/>
                    </a:lnTo>
                    <a:lnTo>
                      <a:pt x="145" y="73"/>
                    </a:lnTo>
                    <a:lnTo>
                      <a:pt x="145" y="73"/>
                    </a:lnTo>
                    <a:lnTo>
                      <a:pt x="150" y="73"/>
                    </a:lnTo>
                    <a:lnTo>
                      <a:pt x="150" y="73"/>
                    </a:lnTo>
                    <a:lnTo>
                      <a:pt x="150" y="68"/>
                    </a:lnTo>
                    <a:lnTo>
                      <a:pt x="150" y="64"/>
                    </a:lnTo>
                    <a:lnTo>
                      <a:pt x="150" y="64"/>
                    </a:lnTo>
                    <a:lnTo>
                      <a:pt x="145" y="64"/>
                    </a:lnTo>
                    <a:moveTo>
                      <a:pt x="145" y="118"/>
                    </a:moveTo>
                    <a:lnTo>
                      <a:pt x="145" y="118"/>
                    </a:lnTo>
                    <a:lnTo>
                      <a:pt x="150" y="118"/>
                    </a:lnTo>
                    <a:lnTo>
                      <a:pt x="150" y="118"/>
                    </a:lnTo>
                    <a:lnTo>
                      <a:pt x="145" y="118"/>
                    </a:lnTo>
                    <a:lnTo>
                      <a:pt x="145" y="118"/>
                    </a:lnTo>
                    <a:lnTo>
                      <a:pt x="141" y="118"/>
                    </a:lnTo>
                    <a:lnTo>
                      <a:pt x="141" y="118"/>
                    </a:lnTo>
                    <a:lnTo>
                      <a:pt x="141" y="114"/>
                    </a:lnTo>
                    <a:lnTo>
                      <a:pt x="141" y="114"/>
                    </a:lnTo>
                    <a:lnTo>
                      <a:pt x="145" y="114"/>
                    </a:lnTo>
                    <a:lnTo>
                      <a:pt x="145" y="114"/>
                    </a:lnTo>
                    <a:lnTo>
                      <a:pt x="145" y="118"/>
                    </a:lnTo>
                    <a:moveTo>
                      <a:pt x="173" y="100"/>
                    </a:moveTo>
                    <a:lnTo>
                      <a:pt x="173" y="100"/>
                    </a:lnTo>
                    <a:lnTo>
                      <a:pt x="173" y="100"/>
                    </a:lnTo>
                    <a:lnTo>
                      <a:pt x="173" y="100"/>
                    </a:lnTo>
                    <a:lnTo>
                      <a:pt x="168" y="105"/>
                    </a:lnTo>
                    <a:lnTo>
                      <a:pt x="168" y="105"/>
                    </a:lnTo>
                    <a:lnTo>
                      <a:pt x="168" y="105"/>
                    </a:lnTo>
                    <a:lnTo>
                      <a:pt x="163" y="105"/>
                    </a:lnTo>
                    <a:lnTo>
                      <a:pt x="163" y="105"/>
                    </a:lnTo>
                    <a:lnTo>
                      <a:pt x="163" y="105"/>
                    </a:lnTo>
                    <a:lnTo>
                      <a:pt x="163" y="109"/>
                    </a:lnTo>
                    <a:lnTo>
                      <a:pt x="163" y="109"/>
                    </a:lnTo>
                    <a:lnTo>
                      <a:pt x="159" y="109"/>
                    </a:lnTo>
                    <a:lnTo>
                      <a:pt x="159" y="109"/>
                    </a:lnTo>
                    <a:lnTo>
                      <a:pt x="159" y="109"/>
                    </a:lnTo>
                    <a:lnTo>
                      <a:pt x="154" y="109"/>
                    </a:lnTo>
                    <a:lnTo>
                      <a:pt x="154" y="109"/>
                    </a:lnTo>
                    <a:lnTo>
                      <a:pt x="154" y="105"/>
                    </a:lnTo>
                    <a:lnTo>
                      <a:pt x="154" y="105"/>
                    </a:lnTo>
                    <a:lnTo>
                      <a:pt x="154" y="105"/>
                    </a:lnTo>
                    <a:lnTo>
                      <a:pt x="154" y="105"/>
                    </a:lnTo>
                    <a:lnTo>
                      <a:pt x="154" y="105"/>
                    </a:lnTo>
                    <a:lnTo>
                      <a:pt x="154" y="105"/>
                    </a:lnTo>
                    <a:lnTo>
                      <a:pt x="150" y="105"/>
                    </a:lnTo>
                    <a:lnTo>
                      <a:pt x="150" y="109"/>
                    </a:lnTo>
                    <a:lnTo>
                      <a:pt x="150" y="109"/>
                    </a:lnTo>
                    <a:lnTo>
                      <a:pt x="150" y="105"/>
                    </a:lnTo>
                    <a:lnTo>
                      <a:pt x="145" y="105"/>
                    </a:lnTo>
                    <a:lnTo>
                      <a:pt x="145" y="105"/>
                    </a:lnTo>
                    <a:lnTo>
                      <a:pt x="145" y="105"/>
                    </a:lnTo>
                    <a:lnTo>
                      <a:pt x="145" y="105"/>
                    </a:lnTo>
                    <a:lnTo>
                      <a:pt x="145" y="109"/>
                    </a:lnTo>
                    <a:lnTo>
                      <a:pt x="145" y="105"/>
                    </a:lnTo>
                    <a:lnTo>
                      <a:pt x="141" y="100"/>
                    </a:lnTo>
                    <a:lnTo>
                      <a:pt x="141" y="100"/>
                    </a:lnTo>
                    <a:lnTo>
                      <a:pt x="145" y="96"/>
                    </a:lnTo>
                    <a:lnTo>
                      <a:pt x="145" y="96"/>
                    </a:lnTo>
                    <a:lnTo>
                      <a:pt x="150" y="96"/>
                    </a:lnTo>
                    <a:lnTo>
                      <a:pt x="150" y="96"/>
                    </a:lnTo>
                    <a:lnTo>
                      <a:pt x="154" y="100"/>
                    </a:lnTo>
                    <a:lnTo>
                      <a:pt x="154" y="105"/>
                    </a:lnTo>
                    <a:lnTo>
                      <a:pt x="159" y="105"/>
                    </a:lnTo>
                    <a:lnTo>
                      <a:pt x="159" y="105"/>
                    </a:lnTo>
                    <a:lnTo>
                      <a:pt x="163" y="100"/>
                    </a:lnTo>
                    <a:lnTo>
                      <a:pt x="163" y="100"/>
                    </a:lnTo>
                    <a:lnTo>
                      <a:pt x="163" y="100"/>
                    </a:lnTo>
                    <a:lnTo>
                      <a:pt x="163" y="100"/>
                    </a:lnTo>
                    <a:lnTo>
                      <a:pt x="163" y="100"/>
                    </a:lnTo>
                    <a:lnTo>
                      <a:pt x="163" y="100"/>
                    </a:lnTo>
                    <a:lnTo>
                      <a:pt x="168" y="100"/>
                    </a:lnTo>
                    <a:lnTo>
                      <a:pt x="168" y="100"/>
                    </a:lnTo>
                    <a:lnTo>
                      <a:pt x="173" y="10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" name="Freeform 12"/>
              <p:cNvSpPr>
                <a:spLocks noEditPoints="1"/>
              </p:cNvSpPr>
              <p:nvPr/>
            </p:nvSpPr>
            <p:spPr bwMode="auto">
              <a:xfrm>
                <a:off x="1397001" y="2736850"/>
                <a:ext cx="309563" cy="439737"/>
              </a:xfrm>
              <a:custGeom>
                <a:avLst/>
                <a:gdLst>
                  <a:gd name="T0" fmla="*/ 59 w 195"/>
                  <a:gd name="T1" fmla="*/ 177 h 277"/>
                  <a:gd name="T2" fmla="*/ 36 w 195"/>
                  <a:gd name="T3" fmla="*/ 231 h 277"/>
                  <a:gd name="T4" fmla="*/ 32 w 195"/>
                  <a:gd name="T5" fmla="*/ 227 h 277"/>
                  <a:gd name="T6" fmla="*/ 36 w 195"/>
                  <a:gd name="T7" fmla="*/ 227 h 277"/>
                  <a:gd name="T8" fmla="*/ 45 w 195"/>
                  <a:gd name="T9" fmla="*/ 222 h 277"/>
                  <a:gd name="T10" fmla="*/ 45 w 195"/>
                  <a:gd name="T11" fmla="*/ 218 h 277"/>
                  <a:gd name="T12" fmla="*/ 50 w 195"/>
                  <a:gd name="T13" fmla="*/ 218 h 277"/>
                  <a:gd name="T14" fmla="*/ 41 w 195"/>
                  <a:gd name="T15" fmla="*/ 227 h 277"/>
                  <a:gd name="T16" fmla="*/ 36 w 195"/>
                  <a:gd name="T17" fmla="*/ 222 h 277"/>
                  <a:gd name="T18" fmla="*/ 41 w 195"/>
                  <a:gd name="T19" fmla="*/ 222 h 277"/>
                  <a:gd name="T20" fmla="*/ 109 w 195"/>
                  <a:gd name="T21" fmla="*/ 154 h 277"/>
                  <a:gd name="T22" fmla="*/ 159 w 195"/>
                  <a:gd name="T23" fmla="*/ 218 h 277"/>
                  <a:gd name="T24" fmla="*/ 141 w 195"/>
                  <a:gd name="T25" fmla="*/ 195 h 277"/>
                  <a:gd name="T26" fmla="*/ 141 w 195"/>
                  <a:gd name="T27" fmla="*/ 172 h 277"/>
                  <a:gd name="T28" fmla="*/ 118 w 195"/>
                  <a:gd name="T29" fmla="*/ 181 h 277"/>
                  <a:gd name="T30" fmla="*/ 123 w 195"/>
                  <a:gd name="T31" fmla="*/ 190 h 277"/>
                  <a:gd name="T32" fmla="*/ 123 w 195"/>
                  <a:gd name="T33" fmla="*/ 204 h 277"/>
                  <a:gd name="T34" fmla="*/ 132 w 195"/>
                  <a:gd name="T35" fmla="*/ 200 h 277"/>
                  <a:gd name="T36" fmla="*/ 136 w 195"/>
                  <a:gd name="T37" fmla="*/ 209 h 277"/>
                  <a:gd name="T38" fmla="*/ 154 w 195"/>
                  <a:gd name="T39" fmla="*/ 240 h 277"/>
                  <a:gd name="T40" fmla="*/ 136 w 195"/>
                  <a:gd name="T41" fmla="*/ 240 h 277"/>
                  <a:gd name="T42" fmla="*/ 136 w 195"/>
                  <a:gd name="T43" fmla="*/ 231 h 277"/>
                  <a:gd name="T44" fmla="*/ 132 w 195"/>
                  <a:gd name="T45" fmla="*/ 213 h 277"/>
                  <a:gd name="T46" fmla="*/ 127 w 195"/>
                  <a:gd name="T47" fmla="*/ 209 h 277"/>
                  <a:gd name="T48" fmla="*/ 123 w 195"/>
                  <a:gd name="T49" fmla="*/ 236 h 277"/>
                  <a:gd name="T50" fmla="*/ 136 w 195"/>
                  <a:gd name="T51" fmla="*/ 249 h 277"/>
                  <a:gd name="T52" fmla="*/ 127 w 195"/>
                  <a:gd name="T53" fmla="*/ 272 h 277"/>
                  <a:gd name="T54" fmla="*/ 168 w 195"/>
                  <a:gd name="T55" fmla="*/ 249 h 277"/>
                  <a:gd name="T56" fmla="*/ 172 w 195"/>
                  <a:gd name="T57" fmla="*/ 263 h 277"/>
                  <a:gd name="T58" fmla="*/ 182 w 195"/>
                  <a:gd name="T59" fmla="*/ 272 h 277"/>
                  <a:gd name="T60" fmla="*/ 195 w 195"/>
                  <a:gd name="T61" fmla="*/ 254 h 277"/>
                  <a:gd name="T62" fmla="*/ 172 w 195"/>
                  <a:gd name="T63" fmla="*/ 240 h 277"/>
                  <a:gd name="T64" fmla="*/ 95 w 195"/>
                  <a:gd name="T65" fmla="*/ 41 h 277"/>
                  <a:gd name="T66" fmla="*/ 100 w 195"/>
                  <a:gd name="T67" fmla="*/ 27 h 277"/>
                  <a:gd name="T68" fmla="*/ 109 w 195"/>
                  <a:gd name="T69" fmla="*/ 5 h 277"/>
                  <a:gd name="T70" fmla="*/ 123 w 195"/>
                  <a:gd name="T71" fmla="*/ 5 h 277"/>
                  <a:gd name="T72" fmla="*/ 123 w 195"/>
                  <a:gd name="T73" fmla="*/ 18 h 277"/>
                  <a:gd name="T74" fmla="*/ 109 w 195"/>
                  <a:gd name="T75" fmla="*/ 41 h 277"/>
                  <a:gd name="T76" fmla="*/ 104 w 195"/>
                  <a:gd name="T77" fmla="*/ 45 h 277"/>
                  <a:gd name="T78" fmla="*/ 95 w 195"/>
                  <a:gd name="T79" fmla="*/ 41 h 277"/>
                  <a:gd name="T80" fmla="*/ 91 w 195"/>
                  <a:gd name="T81" fmla="*/ 45 h 277"/>
                  <a:gd name="T82" fmla="*/ 104 w 195"/>
                  <a:gd name="T83" fmla="*/ 50 h 277"/>
                  <a:gd name="T84" fmla="*/ 86 w 195"/>
                  <a:gd name="T85" fmla="*/ 73 h 277"/>
                  <a:gd name="T86" fmla="*/ 132 w 195"/>
                  <a:gd name="T87" fmla="*/ 118 h 277"/>
                  <a:gd name="T88" fmla="*/ 145 w 195"/>
                  <a:gd name="T89" fmla="*/ 118 h 277"/>
                  <a:gd name="T90" fmla="*/ 145 w 195"/>
                  <a:gd name="T91" fmla="*/ 127 h 277"/>
                  <a:gd name="T92" fmla="*/ 113 w 195"/>
                  <a:gd name="T93" fmla="*/ 168 h 277"/>
                  <a:gd name="T94" fmla="*/ 104 w 195"/>
                  <a:gd name="T95" fmla="*/ 186 h 277"/>
                  <a:gd name="T96" fmla="*/ 95 w 195"/>
                  <a:gd name="T97" fmla="*/ 186 h 277"/>
                  <a:gd name="T98" fmla="*/ 64 w 195"/>
                  <a:gd name="T99" fmla="*/ 213 h 277"/>
                  <a:gd name="T100" fmla="*/ 55 w 195"/>
                  <a:gd name="T101" fmla="*/ 227 h 277"/>
                  <a:gd name="T102" fmla="*/ 45 w 195"/>
                  <a:gd name="T103" fmla="*/ 213 h 277"/>
                  <a:gd name="T104" fmla="*/ 59 w 195"/>
                  <a:gd name="T105" fmla="*/ 204 h 277"/>
                  <a:gd name="T106" fmla="*/ 64 w 195"/>
                  <a:gd name="T107" fmla="*/ 200 h 277"/>
                  <a:gd name="T108" fmla="*/ 32 w 195"/>
                  <a:gd name="T109" fmla="*/ 249 h 277"/>
                  <a:gd name="T110" fmla="*/ 18 w 195"/>
                  <a:gd name="T111" fmla="*/ 254 h 277"/>
                  <a:gd name="T112" fmla="*/ 5 w 195"/>
                  <a:gd name="T113" fmla="*/ 240 h 277"/>
                  <a:gd name="T114" fmla="*/ 5 w 195"/>
                  <a:gd name="T115" fmla="*/ 236 h 277"/>
                  <a:gd name="T116" fmla="*/ 14 w 195"/>
                  <a:gd name="T117" fmla="*/ 231 h 277"/>
                  <a:gd name="T118" fmla="*/ 27 w 195"/>
                  <a:gd name="T119" fmla="*/ 231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5" h="277">
                    <a:moveTo>
                      <a:pt x="68" y="172"/>
                    </a:moveTo>
                    <a:lnTo>
                      <a:pt x="68" y="172"/>
                    </a:lnTo>
                    <a:lnTo>
                      <a:pt x="68" y="172"/>
                    </a:lnTo>
                    <a:lnTo>
                      <a:pt x="68" y="177"/>
                    </a:lnTo>
                    <a:lnTo>
                      <a:pt x="68" y="177"/>
                    </a:lnTo>
                    <a:lnTo>
                      <a:pt x="68" y="177"/>
                    </a:lnTo>
                    <a:lnTo>
                      <a:pt x="64" y="177"/>
                    </a:lnTo>
                    <a:lnTo>
                      <a:pt x="64" y="177"/>
                    </a:lnTo>
                    <a:lnTo>
                      <a:pt x="64" y="177"/>
                    </a:lnTo>
                    <a:lnTo>
                      <a:pt x="64" y="177"/>
                    </a:lnTo>
                    <a:lnTo>
                      <a:pt x="59" y="172"/>
                    </a:lnTo>
                    <a:lnTo>
                      <a:pt x="59" y="177"/>
                    </a:lnTo>
                    <a:lnTo>
                      <a:pt x="59" y="172"/>
                    </a:lnTo>
                    <a:lnTo>
                      <a:pt x="64" y="172"/>
                    </a:lnTo>
                    <a:lnTo>
                      <a:pt x="64" y="172"/>
                    </a:lnTo>
                    <a:lnTo>
                      <a:pt x="64" y="172"/>
                    </a:lnTo>
                    <a:lnTo>
                      <a:pt x="68" y="172"/>
                    </a:lnTo>
                    <a:lnTo>
                      <a:pt x="68" y="172"/>
                    </a:lnTo>
                    <a:lnTo>
                      <a:pt x="68" y="172"/>
                    </a:lnTo>
                    <a:moveTo>
                      <a:pt x="36" y="227"/>
                    </a:moveTo>
                    <a:lnTo>
                      <a:pt x="36" y="227"/>
                    </a:lnTo>
                    <a:lnTo>
                      <a:pt x="36" y="231"/>
                    </a:lnTo>
                    <a:lnTo>
                      <a:pt x="36" y="231"/>
                    </a:lnTo>
                    <a:lnTo>
                      <a:pt x="36" y="231"/>
                    </a:lnTo>
                    <a:lnTo>
                      <a:pt x="32" y="231"/>
                    </a:lnTo>
                    <a:lnTo>
                      <a:pt x="32" y="231"/>
                    </a:lnTo>
                    <a:lnTo>
                      <a:pt x="32" y="231"/>
                    </a:lnTo>
                    <a:lnTo>
                      <a:pt x="27" y="231"/>
                    </a:lnTo>
                    <a:lnTo>
                      <a:pt x="27" y="231"/>
                    </a:lnTo>
                    <a:lnTo>
                      <a:pt x="27" y="231"/>
                    </a:lnTo>
                    <a:lnTo>
                      <a:pt x="27" y="227"/>
                    </a:lnTo>
                    <a:lnTo>
                      <a:pt x="27" y="227"/>
                    </a:lnTo>
                    <a:lnTo>
                      <a:pt x="27" y="222"/>
                    </a:lnTo>
                    <a:lnTo>
                      <a:pt x="32" y="222"/>
                    </a:lnTo>
                    <a:lnTo>
                      <a:pt x="32" y="227"/>
                    </a:lnTo>
                    <a:lnTo>
                      <a:pt x="32" y="227"/>
                    </a:lnTo>
                    <a:lnTo>
                      <a:pt x="32" y="227"/>
                    </a:lnTo>
                    <a:lnTo>
                      <a:pt x="32" y="227"/>
                    </a:lnTo>
                    <a:lnTo>
                      <a:pt x="32" y="227"/>
                    </a:lnTo>
                    <a:lnTo>
                      <a:pt x="32" y="227"/>
                    </a:lnTo>
                    <a:lnTo>
                      <a:pt x="32" y="227"/>
                    </a:lnTo>
                    <a:lnTo>
                      <a:pt x="32" y="227"/>
                    </a:lnTo>
                    <a:lnTo>
                      <a:pt x="32" y="227"/>
                    </a:lnTo>
                    <a:lnTo>
                      <a:pt x="32" y="227"/>
                    </a:lnTo>
                    <a:lnTo>
                      <a:pt x="32" y="222"/>
                    </a:lnTo>
                    <a:lnTo>
                      <a:pt x="32" y="222"/>
                    </a:lnTo>
                    <a:lnTo>
                      <a:pt x="36" y="227"/>
                    </a:lnTo>
                    <a:lnTo>
                      <a:pt x="36" y="227"/>
                    </a:lnTo>
                    <a:lnTo>
                      <a:pt x="36" y="227"/>
                    </a:lnTo>
                    <a:moveTo>
                      <a:pt x="50" y="218"/>
                    </a:moveTo>
                    <a:lnTo>
                      <a:pt x="50" y="218"/>
                    </a:lnTo>
                    <a:lnTo>
                      <a:pt x="50" y="222"/>
                    </a:lnTo>
                    <a:lnTo>
                      <a:pt x="50" y="222"/>
                    </a:lnTo>
                    <a:lnTo>
                      <a:pt x="50" y="227"/>
                    </a:lnTo>
                    <a:lnTo>
                      <a:pt x="50" y="227"/>
                    </a:lnTo>
                    <a:lnTo>
                      <a:pt x="50" y="222"/>
                    </a:lnTo>
                    <a:lnTo>
                      <a:pt x="50" y="222"/>
                    </a:lnTo>
                    <a:lnTo>
                      <a:pt x="45" y="222"/>
                    </a:lnTo>
                    <a:lnTo>
                      <a:pt x="45" y="222"/>
                    </a:lnTo>
                    <a:lnTo>
                      <a:pt x="45" y="222"/>
                    </a:lnTo>
                    <a:lnTo>
                      <a:pt x="45" y="222"/>
                    </a:lnTo>
                    <a:lnTo>
                      <a:pt x="45" y="222"/>
                    </a:lnTo>
                    <a:lnTo>
                      <a:pt x="45" y="222"/>
                    </a:lnTo>
                    <a:lnTo>
                      <a:pt x="45" y="222"/>
                    </a:lnTo>
                    <a:lnTo>
                      <a:pt x="45" y="218"/>
                    </a:lnTo>
                    <a:lnTo>
                      <a:pt x="45" y="218"/>
                    </a:lnTo>
                    <a:lnTo>
                      <a:pt x="45" y="218"/>
                    </a:lnTo>
                    <a:lnTo>
                      <a:pt x="45" y="218"/>
                    </a:lnTo>
                    <a:lnTo>
                      <a:pt x="45" y="218"/>
                    </a:lnTo>
                    <a:lnTo>
                      <a:pt x="45" y="218"/>
                    </a:lnTo>
                    <a:lnTo>
                      <a:pt x="45" y="218"/>
                    </a:lnTo>
                    <a:lnTo>
                      <a:pt x="45" y="218"/>
                    </a:lnTo>
                    <a:lnTo>
                      <a:pt x="45" y="218"/>
                    </a:lnTo>
                    <a:lnTo>
                      <a:pt x="45" y="218"/>
                    </a:lnTo>
                    <a:lnTo>
                      <a:pt x="45" y="218"/>
                    </a:lnTo>
                    <a:lnTo>
                      <a:pt x="45" y="213"/>
                    </a:lnTo>
                    <a:lnTo>
                      <a:pt x="45" y="213"/>
                    </a:lnTo>
                    <a:lnTo>
                      <a:pt x="45" y="213"/>
                    </a:lnTo>
                    <a:lnTo>
                      <a:pt x="45" y="213"/>
                    </a:lnTo>
                    <a:lnTo>
                      <a:pt x="50" y="218"/>
                    </a:lnTo>
                    <a:lnTo>
                      <a:pt x="50" y="218"/>
                    </a:lnTo>
                    <a:lnTo>
                      <a:pt x="50" y="218"/>
                    </a:lnTo>
                    <a:lnTo>
                      <a:pt x="50" y="218"/>
                    </a:lnTo>
                    <a:lnTo>
                      <a:pt x="50" y="218"/>
                    </a:lnTo>
                    <a:moveTo>
                      <a:pt x="41" y="222"/>
                    </a:moveTo>
                    <a:lnTo>
                      <a:pt x="41" y="222"/>
                    </a:lnTo>
                    <a:lnTo>
                      <a:pt x="41" y="227"/>
                    </a:lnTo>
                    <a:lnTo>
                      <a:pt x="41" y="227"/>
                    </a:lnTo>
                    <a:lnTo>
                      <a:pt x="41" y="227"/>
                    </a:lnTo>
                    <a:lnTo>
                      <a:pt x="41" y="227"/>
                    </a:lnTo>
                    <a:lnTo>
                      <a:pt x="41" y="227"/>
                    </a:lnTo>
                    <a:lnTo>
                      <a:pt x="41" y="227"/>
                    </a:lnTo>
                    <a:lnTo>
                      <a:pt x="41" y="231"/>
                    </a:lnTo>
                    <a:lnTo>
                      <a:pt x="41" y="231"/>
                    </a:lnTo>
                    <a:lnTo>
                      <a:pt x="41" y="227"/>
                    </a:lnTo>
                    <a:lnTo>
                      <a:pt x="41" y="227"/>
                    </a:lnTo>
                    <a:lnTo>
                      <a:pt x="36" y="227"/>
                    </a:lnTo>
                    <a:lnTo>
                      <a:pt x="36" y="227"/>
                    </a:lnTo>
                    <a:lnTo>
                      <a:pt x="36" y="227"/>
                    </a:lnTo>
                    <a:lnTo>
                      <a:pt x="36" y="227"/>
                    </a:lnTo>
                    <a:lnTo>
                      <a:pt x="36" y="227"/>
                    </a:lnTo>
                    <a:lnTo>
                      <a:pt x="36" y="227"/>
                    </a:lnTo>
                    <a:lnTo>
                      <a:pt x="36" y="222"/>
                    </a:lnTo>
                    <a:lnTo>
                      <a:pt x="36" y="222"/>
                    </a:lnTo>
                    <a:lnTo>
                      <a:pt x="36" y="222"/>
                    </a:lnTo>
                    <a:lnTo>
                      <a:pt x="36" y="222"/>
                    </a:lnTo>
                    <a:lnTo>
                      <a:pt x="32" y="222"/>
                    </a:lnTo>
                    <a:lnTo>
                      <a:pt x="36" y="222"/>
                    </a:lnTo>
                    <a:lnTo>
                      <a:pt x="36" y="222"/>
                    </a:lnTo>
                    <a:lnTo>
                      <a:pt x="36" y="222"/>
                    </a:lnTo>
                    <a:lnTo>
                      <a:pt x="41" y="222"/>
                    </a:lnTo>
                    <a:lnTo>
                      <a:pt x="41" y="222"/>
                    </a:lnTo>
                    <a:lnTo>
                      <a:pt x="41" y="222"/>
                    </a:lnTo>
                    <a:lnTo>
                      <a:pt x="41" y="222"/>
                    </a:lnTo>
                    <a:lnTo>
                      <a:pt x="41" y="222"/>
                    </a:lnTo>
                    <a:lnTo>
                      <a:pt x="41" y="222"/>
                    </a:lnTo>
                    <a:lnTo>
                      <a:pt x="41" y="218"/>
                    </a:lnTo>
                    <a:lnTo>
                      <a:pt x="41" y="222"/>
                    </a:lnTo>
                    <a:lnTo>
                      <a:pt x="41" y="222"/>
                    </a:lnTo>
                    <a:lnTo>
                      <a:pt x="41" y="222"/>
                    </a:lnTo>
                    <a:moveTo>
                      <a:pt x="118" y="154"/>
                    </a:moveTo>
                    <a:lnTo>
                      <a:pt x="118" y="154"/>
                    </a:lnTo>
                    <a:lnTo>
                      <a:pt x="118" y="154"/>
                    </a:lnTo>
                    <a:lnTo>
                      <a:pt x="118" y="154"/>
                    </a:lnTo>
                    <a:lnTo>
                      <a:pt x="113" y="154"/>
                    </a:lnTo>
                    <a:lnTo>
                      <a:pt x="113" y="154"/>
                    </a:lnTo>
                    <a:lnTo>
                      <a:pt x="113" y="154"/>
                    </a:lnTo>
                    <a:lnTo>
                      <a:pt x="113" y="154"/>
                    </a:lnTo>
                    <a:lnTo>
                      <a:pt x="109" y="154"/>
                    </a:lnTo>
                    <a:lnTo>
                      <a:pt x="109" y="154"/>
                    </a:lnTo>
                    <a:lnTo>
                      <a:pt x="109" y="154"/>
                    </a:lnTo>
                    <a:lnTo>
                      <a:pt x="109" y="154"/>
                    </a:lnTo>
                    <a:lnTo>
                      <a:pt x="113" y="154"/>
                    </a:lnTo>
                    <a:lnTo>
                      <a:pt x="113" y="150"/>
                    </a:lnTo>
                    <a:lnTo>
                      <a:pt x="113" y="150"/>
                    </a:lnTo>
                    <a:lnTo>
                      <a:pt x="113" y="154"/>
                    </a:lnTo>
                    <a:lnTo>
                      <a:pt x="113" y="154"/>
                    </a:lnTo>
                    <a:lnTo>
                      <a:pt x="118" y="154"/>
                    </a:lnTo>
                    <a:moveTo>
                      <a:pt x="168" y="227"/>
                    </a:moveTo>
                    <a:lnTo>
                      <a:pt x="168" y="227"/>
                    </a:lnTo>
                    <a:lnTo>
                      <a:pt x="163" y="227"/>
                    </a:lnTo>
                    <a:lnTo>
                      <a:pt x="159" y="222"/>
                    </a:lnTo>
                    <a:lnTo>
                      <a:pt x="159" y="222"/>
                    </a:lnTo>
                    <a:lnTo>
                      <a:pt x="159" y="218"/>
                    </a:lnTo>
                    <a:lnTo>
                      <a:pt x="150" y="213"/>
                    </a:lnTo>
                    <a:lnTo>
                      <a:pt x="150" y="209"/>
                    </a:lnTo>
                    <a:lnTo>
                      <a:pt x="150" y="209"/>
                    </a:lnTo>
                    <a:lnTo>
                      <a:pt x="150" y="209"/>
                    </a:lnTo>
                    <a:lnTo>
                      <a:pt x="150" y="209"/>
                    </a:lnTo>
                    <a:lnTo>
                      <a:pt x="150" y="204"/>
                    </a:lnTo>
                    <a:lnTo>
                      <a:pt x="150" y="204"/>
                    </a:lnTo>
                    <a:lnTo>
                      <a:pt x="150" y="204"/>
                    </a:lnTo>
                    <a:lnTo>
                      <a:pt x="150" y="200"/>
                    </a:lnTo>
                    <a:lnTo>
                      <a:pt x="145" y="200"/>
                    </a:lnTo>
                    <a:lnTo>
                      <a:pt x="141" y="195"/>
                    </a:lnTo>
                    <a:lnTo>
                      <a:pt x="141" y="195"/>
                    </a:lnTo>
                    <a:lnTo>
                      <a:pt x="141" y="195"/>
                    </a:lnTo>
                    <a:lnTo>
                      <a:pt x="136" y="190"/>
                    </a:lnTo>
                    <a:lnTo>
                      <a:pt x="136" y="190"/>
                    </a:lnTo>
                    <a:lnTo>
                      <a:pt x="136" y="186"/>
                    </a:lnTo>
                    <a:lnTo>
                      <a:pt x="136" y="186"/>
                    </a:lnTo>
                    <a:lnTo>
                      <a:pt x="136" y="181"/>
                    </a:lnTo>
                    <a:lnTo>
                      <a:pt x="136" y="181"/>
                    </a:lnTo>
                    <a:lnTo>
                      <a:pt x="141" y="177"/>
                    </a:lnTo>
                    <a:lnTo>
                      <a:pt x="141" y="177"/>
                    </a:lnTo>
                    <a:lnTo>
                      <a:pt x="141" y="177"/>
                    </a:lnTo>
                    <a:lnTo>
                      <a:pt x="141" y="177"/>
                    </a:lnTo>
                    <a:lnTo>
                      <a:pt x="141" y="172"/>
                    </a:lnTo>
                    <a:lnTo>
                      <a:pt x="132" y="172"/>
                    </a:lnTo>
                    <a:lnTo>
                      <a:pt x="127" y="172"/>
                    </a:lnTo>
                    <a:lnTo>
                      <a:pt x="127" y="172"/>
                    </a:lnTo>
                    <a:lnTo>
                      <a:pt x="127" y="168"/>
                    </a:lnTo>
                    <a:lnTo>
                      <a:pt x="123" y="172"/>
                    </a:lnTo>
                    <a:lnTo>
                      <a:pt x="123" y="172"/>
                    </a:lnTo>
                    <a:lnTo>
                      <a:pt x="118" y="168"/>
                    </a:lnTo>
                    <a:lnTo>
                      <a:pt x="118" y="168"/>
                    </a:lnTo>
                    <a:lnTo>
                      <a:pt x="118" y="172"/>
                    </a:lnTo>
                    <a:lnTo>
                      <a:pt x="118" y="177"/>
                    </a:lnTo>
                    <a:lnTo>
                      <a:pt x="118" y="181"/>
                    </a:lnTo>
                    <a:lnTo>
                      <a:pt x="118" y="181"/>
                    </a:lnTo>
                    <a:lnTo>
                      <a:pt x="118" y="181"/>
                    </a:lnTo>
                    <a:lnTo>
                      <a:pt x="113" y="181"/>
                    </a:lnTo>
                    <a:lnTo>
                      <a:pt x="113" y="181"/>
                    </a:lnTo>
                    <a:lnTo>
                      <a:pt x="113" y="181"/>
                    </a:lnTo>
                    <a:lnTo>
                      <a:pt x="113" y="186"/>
                    </a:lnTo>
                    <a:lnTo>
                      <a:pt x="113" y="186"/>
                    </a:lnTo>
                    <a:lnTo>
                      <a:pt x="113" y="190"/>
                    </a:lnTo>
                    <a:lnTo>
                      <a:pt x="113" y="190"/>
                    </a:lnTo>
                    <a:lnTo>
                      <a:pt x="118" y="190"/>
                    </a:lnTo>
                    <a:lnTo>
                      <a:pt x="118" y="190"/>
                    </a:lnTo>
                    <a:lnTo>
                      <a:pt x="118" y="190"/>
                    </a:lnTo>
                    <a:lnTo>
                      <a:pt x="123" y="190"/>
                    </a:lnTo>
                    <a:lnTo>
                      <a:pt x="123" y="190"/>
                    </a:lnTo>
                    <a:lnTo>
                      <a:pt x="123" y="190"/>
                    </a:lnTo>
                    <a:lnTo>
                      <a:pt x="123" y="195"/>
                    </a:lnTo>
                    <a:lnTo>
                      <a:pt x="123" y="195"/>
                    </a:lnTo>
                    <a:lnTo>
                      <a:pt x="123" y="195"/>
                    </a:lnTo>
                    <a:lnTo>
                      <a:pt x="123" y="195"/>
                    </a:lnTo>
                    <a:lnTo>
                      <a:pt x="123" y="195"/>
                    </a:lnTo>
                    <a:lnTo>
                      <a:pt x="123" y="200"/>
                    </a:lnTo>
                    <a:lnTo>
                      <a:pt x="127" y="200"/>
                    </a:lnTo>
                    <a:lnTo>
                      <a:pt x="123" y="200"/>
                    </a:lnTo>
                    <a:lnTo>
                      <a:pt x="123" y="204"/>
                    </a:lnTo>
                    <a:lnTo>
                      <a:pt x="123" y="204"/>
                    </a:lnTo>
                    <a:lnTo>
                      <a:pt x="123" y="204"/>
                    </a:lnTo>
                    <a:lnTo>
                      <a:pt x="123" y="204"/>
                    </a:lnTo>
                    <a:lnTo>
                      <a:pt x="127" y="204"/>
                    </a:lnTo>
                    <a:lnTo>
                      <a:pt x="127" y="204"/>
                    </a:lnTo>
                    <a:lnTo>
                      <a:pt x="127" y="204"/>
                    </a:lnTo>
                    <a:lnTo>
                      <a:pt x="127" y="200"/>
                    </a:lnTo>
                    <a:lnTo>
                      <a:pt x="127" y="200"/>
                    </a:lnTo>
                    <a:lnTo>
                      <a:pt x="127" y="200"/>
                    </a:lnTo>
                    <a:lnTo>
                      <a:pt x="127" y="200"/>
                    </a:lnTo>
                    <a:lnTo>
                      <a:pt x="132" y="200"/>
                    </a:lnTo>
                    <a:lnTo>
                      <a:pt x="127" y="204"/>
                    </a:lnTo>
                    <a:lnTo>
                      <a:pt x="132" y="200"/>
                    </a:lnTo>
                    <a:lnTo>
                      <a:pt x="132" y="200"/>
                    </a:lnTo>
                    <a:lnTo>
                      <a:pt x="136" y="204"/>
                    </a:lnTo>
                    <a:lnTo>
                      <a:pt x="132" y="204"/>
                    </a:lnTo>
                    <a:lnTo>
                      <a:pt x="132" y="204"/>
                    </a:lnTo>
                    <a:lnTo>
                      <a:pt x="132" y="204"/>
                    </a:lnTo>
                    <a:lnTo>
                      <a:pt x="132" y="204"/>
                    </a:lnTo>
                    <a:lnTo>
                      <a:pt x="132" y="209"/>
                    </a:lnTo>
                    <a:lnTo>
                      <a:pt x="132" y="209"/>
                    </a:lnTo>
                    <a:lnTo>
                      <a:pt x="132" y="209"/>
                    </a:lnTo>
                    <a:lnTo>
                      <a:pt x="132" y="209"/>
                    </a:lnTo>
                    <a:lnTo>
                      <a:pt x="136" y="213"/>
                    </a:lnTo>
                    <a:lnTo>
                      <a:pt x="136" y="209"/>
                    </a:lnTo>
                    <a:lnTo>
                      <a:pt x="136" y="209"/>
                    </a:lnTo>
                    <a:lnTo>
                      <a:pt x="141" y="213"/>
                    </a:lnTo>
                    <a:lnTo>
                      <a:pt x="141" y="213"/>
                    </a:lnTo>
                    <a:lnTo>
                      <a:pt x="141" y="213"/>
                    </a:lnTo>
                    <a:lnTo>
                      <a:pt x="145" y="213"/>
                    </a:lnTo>
                    <a:lnTo>
                      <a:pt x="145" y="213"/>
                    </a:lnTo>
                    <a:lnTo>
                      <a:pt x="150" y="218"/>
                    </a:lnTo>
                    <a:lnTo>
                      <a:pt x="150" y="222"/>
                    </a:lnTo>
                    <a:lnTo>
                      <a:pt x="150" y="222"/>
                    </a:lnTo>
                    <a:lnTo>
                      <a:pt x="150" y="227"/>
                    </a:lnTo>
                    <a:lnTo>
                      <a:pt x="150" y="231"/>
                    </a:lnTo>
                    <a:lnTo>
                      <a:pt x="154" y="240"/>
                    </a:lnTo>
                    <a:lnTo>
                      <a:pt x="154" y="240"/>
                    </a:lnTo>
                    <a:lnTo>
                      <a:pt x="154" y="245"/>
                    </a:lnTo>
                    <a:lnTo>
                      <a:pt x="150" y="236"/>
                    </a:lnTo>
                    <a:lnTo>
                      <a:pt x="145" y="236"/>
                    </a:lnTo>
                    <a:lnTo>
                      <a:pt x="141" y="240"/>
                    </a:lnTo>
                    <a:lnTo>
                      <a:pt x="141" y="240"/>
                    </a:lnTo>
                    <a:lnTo>
                      <a:pt x="141" y="240"/>
                    </a:lnTo>
                    <a:lnTo>
                      <a:pt x="141" y="240"/>
                    </a:lnTo>
                    <a:lnTo>
                      <a:pt x="141" y="240"/>
                    </a:lnTo>
                    <a:lnTo>
                      <a:pt x="141" y="240"/>
                    </a:lnTo>
                    <a:lnTo>
                      <a:pt x="136" y="240"/>
                    </a:lnTo>
                    <a:lnTo>
                      <a:pt x="136" y="240"/>
                    </a:lnTo>
                    <a:lnTo>
                      <a:pt x="136" y="236"/>
                    </a:lnTo>
                    <a:lnTo>
                      <a:pt x="136" y="236"/>
                    </a:lnTo>
                    <a:lnTo>
                      <a:pt x="136" y="236"/>
                    </a:lnTo>
                    <a:lnTo>
                      <a:pt x="136" y="236"/>
                    </a:lnTo>
                    <a:lnTo>
                      <a:pt x="136" y="236"/>
                    </a:lnTo>
                    <a:lnTo>
                      <a:pt x="132" y="231"/>
                    </a:lnTo>
                    <a:lnTo>
                      <a:pt x="132" y="231"/>
                    </a:lnTo>
                    <a:lnTo>
                      <a:pt x="136" y="227"/>
                    </a:lnTo>
                    <a:lnTo>
                      <a:pt x="136" y="227"/>
                    </a:lnTo>
                    <a:lnTo>
                      <a:pt x="136" y="227"/>
                    </a:lnTo>
                    <a:lnTo>
                      <a:pt x="136" y="231"/>
                    </a:lnTo>
                    <a:lnTo>
                      <a:pt x="136" y="231"/>
                    </a:lnTo>
                    <a:lnTo>
                      <a:pt x="136" y="231"/>
                    </a:lnTo>
                    <a:lnTo>
                      <a:pt x="136" y="227"/>
                    </a:lnTo>
                    <a:lnTo>
                      <a:pt x="136" y="227"/>
                    </a:lnTo>
                    <a:lnTo>
                      <a:pt x="136" y="222"/>
                    </a:lnTo>
                    <a:lnTo>
                      <a:pt x="136" y="222"/>
                    </a:lnTo>
                    <a:lnTo>
                      <a:pt x="136" y="218"/>
                    </a:lnTo>
                    <a:lnTo>
                      <a:pt x="132" y="218"/>
                    </a:lnTo>
                    <a:lnTo>
                      <a:pt x="132" y="218"/>
                    </a:lnTo>
                    <a:lnTo>
                      <a:pt x="132" y="218"/>
                    </a:lnTo>
                    <a:lnTo>
                      <a:pt x="127" y="218"/>
                    </a:lnTo>
                    <a:lnTo>
                      <a:pt x="132" y="218"/>
                    </a:lnTo>
                    <a:lnTo>
                      <a:pt x="132" y="213"/>
                    </a:lnTo>
                    <a:lnTo>
                      <a:pt x="132" y="213"/>
                    </a:lnTo>
                    <a:lnTo>
                      <a:pt x="132" y="213"/>
                    </a:lnTo>
                    <a:lnTo>
                      <a:pt x="132" y="213"/>
                    </a:lnTo>
                    <a:lnTo>
                      <a:pt x="132" y="213"/>
                    </a:lnTo>
                    <a:lnTo>
                      <a:pt x="132" y="213"/>
                    </a:lnTo>
                    <a:lnTo>
                      <a:pt x="132" y="213"/>
                    </a:lnTo>
                    <a:lnTo>
                      <a:pt x="127" y="213"/>
                    </a:lnTo>
                    <a:lnTo>
                      <a:pt x="127" y="213"/>
                    </a:lnTo>
                    <a:lnTo>
                      <a:pt x="127" y="213"/>
                    </a:lnTo>
                    <a:lnTo>
                      <a:pt x="127" y="209"/>
                    </a:lnTo>
                    <a:lnTo>
                      <a:pt x="127" y="209"/>
                    </a:lnTo>
                    <a:lnTo>
                      <a:pt x="127" y="209"/>
                    </a:lnTo>
                    <a:lnTo>
                      <a:pt x="123" y="204"/>
                    </a:lnTo>
                    <a:lnTo>
                      <a:pt x="123" y="218"/>
                    </a:lnTo>
                    <a:lnTo>
                      <a:pt x="118" y="218"/>
                    </a:lnTo>
                    <a:lnTo>
                      <a:pt x="118" y="222"/>
                    </a:lnTo>
                    <a:lnTo>
                      <a:pt x="118" y="227"/>
                    </a:lnTo>
                    <a:lnTo>
                      <a:pt x="118" y="227"/>
                    </a:lnTo>
                    <a:lnTo>
                      <a:pt x="118" y="227"/>
                    </a:lnTo>
                    <a:lnTo>
                      <a:pt x="118" y="227"/>
                    </a:lnTo>
                    <a:lnTo>
                      <a:pt x="123" y="231"/>
                    </a:lnTo>
                    <a:lnTo>
                      <a:pt x="123" y="231"/>
                    </a:lnTo>
                    <a:lnTo>
                      <a:pt x="123" y="231"/>
                    </a:lnTo>
                    <a:lnTo>
                      <a:pt x="123" y="236"/>
                    </a:lnTo>
                    <a:lnTo>
                      <a:pt x="123" y="236"/>
                    </a:lnTo>
                    <a:lnTo>
                      <a:pt x="123" y="240"/>
                    </a:lnTo>
                    <a:lnTo>
                      <a:pt x="127" y="245"/>
                    </a:lnTo>
                    <a:lnTo>
                      <a:pt x="127" y="240"/>
                    </a:lnTo>
                    <a:lnTo>
                      <a:pt x="127" y="240"/>
                    </a:lnTo>
                    <a:lnTo>
                      <a:pt x="132" y="240"/>
                    </a:lnTo>
                    <a:lnTo>
                      <a:pt x="132" y="240"/>
                    </a:lnTo>
                    <a:lnTo>
                      <a:pt x="132" y="245"/>
                    </a:lnTo>
                    <a:lnTo>
                      <a:pt x="132" y="245"/>
                    </a:lnTo>
                    <a:lnTo>
                      <a:pt x="132" y="245"/>
                    </a:lnTo>
                    <a:lnTo>
                      <a:pt x="132" y="245"/>
                    </a:lnTo>
                    <a:lnTo>
                      <a:pt x="136" y="249"/>
                    </a:lnTo>
                    <a:lnTo>
                      <a:pt x="136" y="254"/>
                    </a:lnTo>
                    <a:lnTo>
                      <a:pt x="136" y="254"/>
                    </a:lnTo>
                    <a:lnTo>
                      <a:pt x="136" y="259"/>
                    </a:lnTo>
                    <a:lnTo>
                      <a:pt x="136" y="259"/>
                    </a:lnTo>
                    <a:lnTo>
                      <a:pt x="132" y="263"/>
                    </a:lnTo>
                    <a:lnTo>
                      <a:pt x="127" y="268"/>
                    </a:lnTo>
                    <a:lnTo>
                      <a:pt x="127" y="268"/>
                    </a:lnTo>
                    <a:lnTo>
                      <a:pt x="127" y="268"/>
                    </a:lnTo>
                    <a:lnTo>
                      <a:pt x="127" y="268"/>
                    </a:lnTo>
                    <a:lnTo>
                      <a:pt x="127" y="272"/>
                    </a:lnTo>
                    <a:lnTo>
                      <a:pt x="123" y="272"/>
                    </a:lnTo>
                    <a:lnTo>
                      <a:pt x="127" y="272"/>
                    </a:lnTo>
                    <a:lnTo>
                      <a:pt x="132" y="272"/>
                    </a:lnTo>
                    <a:lnTo>
                      <a:pt x="141" y="263"/>
                    </a:lnTo>
                    <a:lnTo>
                      <a:pt x="145" y="263"/>
                    </a:lnTo>
                    <a:lnTo>
                      <a:pt x="150" y="249"/>
                    </a:lnTo>
                    <a:lnTo>
                      <a:pt x="150" y="254"/>
                    </a:lnTo>
                    <a:lnTo>
                      <a:pt x="154" y="254"/>
                    </a:lnTo>
                    <a:lnTo>
                      <a:pt x="154" y="254"/>
                    </a:lnTo>
                    <a:lnTo>
                      <a:pt x="159" y="254"/>
                    </a:lnTo>
                    <a:lnTo>
                      <a:pt x="163" y="249"/>
                    </a:lnTo>
                    <a:lnTo>
                      <a:pt x="163" y="249"/>
                    </a:lnTo>
                    <a:lnTo>
                      <a:pt x="163" y="249"/>
                    </a:lnTo>
                    <a:lnTo>
                      <a:pt x="168" y="249"/>
                    </a:lnTo>
                    <a:lnTo>
                      <a:pt x="172" y="249"/>
                    </a:lnTo>
                    <a:lnTo>
                      <a:pt x="172" y="249"/>
                    </a:lnTo>
                    <a:lnTo>
                      <a:pt x="177" y="249"/>
                    </a:lnTo>
                    <a:lnTo>
                      <a:pt x="172" y="254"/>
                    </a:lnTo>
                    <a:lnTo>
                      <a:pt x="172" y="254"/>
                    </a:lnTo>
                    <a:lnTo>
                      <a:pt x="172" y="254"/>
                    </a:lnTo>
                    <a:lnTo>
                      <a:pt x="172" y="254"/>
                    </a:lnTo>
                    <a:lnTo>
                      <a:pt x="172" y="254"/>
                    </a:lnTo>
                    <a:lnTo>
                      <a:pt x="177" y="254"/>
                    </a:lnTo>
                    <a:lnTo>
                      <a:pt x="177" y="259"/>
                    </a:lnTo>
                    <a:lnTo>
                      <a:pt x="177" y="259"/>
                    </a:lnTo>
                    <a:lnTo>
                      <a:pt x="172" y="263"/>
                    </a:lnTo>
                    <a:lnTo>
                      <a:pt x="172" y="263"/>
                    </a:lnTo>
                    <a:lnTo>
                      <a:pt x="172" y="263"/>
                    </a:lnTo>
                    <a:lnTo>
                      <a:pt x="168" y="263"/>
                    </a:lnTo>
                    <a:lnTo>
                      <a:pt x="168" y="263"/>
                    </a:lnTo>
                    <a:lnTo>
                      <a:pt x="168" y="268"/>
                    </a:lnTo>
                    <a:lnTo>
                      <a:pt x="168" y="268"/>
                    </a:lnTo>
                    <a:lnTo>
                      <a:pt x="168" y="272"/>
                    </a:lnTo>
                    <a:lnTo>
                      <a:pt x="172" y="272"/>
                    </a:lnTo>
                    <a:lnTo>
                      <a:pt x="172" y="277"/>
                    </a:lnTo>
                    <a:lnTo>
                      <a:pt x="172" y="277"/>
                    </a:lnTo>
                    <a:lnTo>
                      <a:pt x="177" y="272"/>
                    </a:lnTo>
                    <a:lnTo>
                      <a:pt x="182" y="272"/>
                    </a:lnTo>
                    <a:lnTo>
                      <a:pt x="182" y="272"/>
                    </a:lnTo>
                    <a:lnTo>
                      <a:pt x="182" y="272"/>
                    </a:lnTo>
                    <a:lnTo>
                      <a:pt x="182" y="272"/>
                    </a:lnTo>
                    <a:lnTo>
                      <a:pt x="191" y="268"/>
                    </a:lnTo>
                    <a:lnTo>
                      <a:pt x="191" y="268"/>
                    </a:lnTo>
                    <a:lnTo>
                      <a:pt x="191" y="268"/>
                    </a:lnTo>
                    <a:lnTo>
                      <a:pt x="191" y="263"/>
                    </a:lnTo>
                    <a:lnTo>
                      <a:pt x="191" y="263"/>
                    </a:lnTo>
                    <a:lnTo>
                      <a:pt x="195" y="259"/>
                    </a:lnTo>
                    <a:lnTo>
                      <a:pt x="195" y="259"/>
                    </a:lnTo>
                    <a:lnTo>
                      <a:pt x="195" y="254"/>
                    </a:lnTo>
                    <a:lnTo>
                      <a:pt x="195" y="254"/>
                    </a:lnTo>
                    <a:lnTo>
                      <a:pt x="195" y="245"/>
                    </a:lnTo>
                    <a:lnTo>
                      <a:pt x="191" y="245"/>
                    </a:lnTo>
                    <a:lnTo>
                      <a:pt x="186" y="240"/>
                    </a:lnTo>
                    <a:lnTo>
                      <a:pt x="182" y="240"/>
                    </a:lnTo>
                    <a:lnTo>
                      <a:pt x="177" y="245"/>
                    </a:lnTo>
                    <a:lnTo>
                      <a:pt x="172" y="245"/>
                    </a:lnTo>
                    <a:lnTo>
                      <a:pt x="172" y="245"/>
                    </a:lnTo>
                    <a:lnTo>
                      <a:pt x="168" y="240"/>
                    </a:lnTo>
                    <a:lnTo>
                      <a:pt x="168" y="240"/>
                    </a:lnTo>
                    <a:lnTo>
                      <a:pt x="168" y="240"/>
                    </a:lnTo>
                    <a:lnTo>
                      <a:pt x="168" y="236"/>
                    </a:lnTo>
                    <a:lnTo>
                      <a:pt x="172" y="240"/>
                    </a:lnTo>
                    <a:lnTo>
                      <a:pt x="172" y="236"/>
                    </a:lnTo>
                    <a:lnTo>
                      <a:pt x="172" y="236"/>
                    </a:lnTo>
                    <a:lnTo>
                      <a:pt x="177" y="236"/>
                    </a:lnTo>
                    <a:lnTo>
                      <a:pt x="177" y="236"/>
                    </a:lnTo>
                    <a:lnTo>
                      <a:pt x="177" y="231"/>
                    </a:lnTo>
                    <a:lnTo>
                      <a:pt x="182" y="231"/>
                    </a:lnTo>
                    <a:lnTo>
                      <a:pt x="177" y="231"/>
                    </a:lnTo>
                    <a:lnTo>
                      <a:pt x="168" y="227"/>
                    </a:lnTo>
                    <a:moveTo>
                      <a:pt x="95" y="41"/>
                    </a:moveTo>
                    <a:lnTo>
                      <a:pt x="95" y="41"/>
                    </a:lnTo>
                    <a:lnTo>
                      <a:pt x="95" y="41"/>
                    </a:lnTo>
                    <a:lnTo>
                      <a:pt x="95" y="41"/>
                    </a:lnTo>
                    <a:lnTo>
                      <a:pt x="95" y="41"/>
                    </a:lnTo>
                    <a:lnTo>
                      <a:pt x="95" y="41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0" y="27"/>
                    </a:lnTo>
                    <a:lnTo>
                      <a:pt x="100" y="27"/>
                    </a:lnTo>
                    <a:lnTo>
                      <a:pt x="100" y="27"/>
                    </a:lnTo>
                    <a:lnTo>
                      <a:pt x="100" y="23"/>
                    </a:lnTo>
                    <a:lnTo>
                      <a:pt x="100" y="23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9"/>
                    </a:lnTo>
                    <a:lnTo>
                      <a:pt x="104" y="9"/>
                    </a:lnTo>
                    <a:lnTo>
                      <a:pt x="109" y="5"/>
                    </a:lnTo>
                    <a:lnTo>
                      <a:pt x="109" y="5"/>
                    </a:lnTo>
                    <a:lnTo>
                      <a:pt x="113" y="9"/>
                    </a:lnTo>
                    <a:lnTo>
                      <a:pt x="113" y="5"/>
                    </a:lnTo>
                    <a:lnTo>
                      <a:pt x="118" y="5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23" y="0"/>
                    </a:lnTo>
                    <a:lnTo>
                      <a:pt x="123" y="0"/>
                    </a:lnTo>
                    <a:lnTo>
                      <a:pt x="123" y="0"/>
                    </a:lnTo>
                    <a:lnTo>
                      <a:pt x="123" y="0"/>
                    </a:lnTo>
                    <a:lnTo>
                      <a:pt x="123" y="5"/>
                    </a:lnTo>
                    <a:lnTo>
                      <a:pt x="127" y="5"/>
                    </a:lnTo>
                    <a:lnTo>
                      <a:pt x="127" y="9"/>
                    </a:lnTo>
                    <a:lnTo>
                      <a:pt x="123" y="9"/>
                    </a:lnTo>
                    <a:lnTo>
                      <a:pt x="123" y="14"/>
                    </a:lnTo>
                    <a:lnTo>
                      <a:pt x="123" y="14"/>
                    </a:lnTo>
                    <a:lnTo>
                      <a:pt x="123" y="9"/>
                    </a:lnTo>
                    <a:lnTo>
                      <a:pt x="123" y="9"/>
                    </a:lnTo>
                    <a:lnTo>
                      <a:pt x="118" y="9"/>
                    </a:lnTo>
                    <a:lnTo>
                      <a:pt x="123" y="14"/>
                    </a:lnTo>
                    <a:lnTo>
                      <a:pt x="123" y="14"/>
                    </a:lnTo>
                    <a:lnTo>
                      <a:pt x="123" y="14"/>
                    </a:lnTo>
                    <a:lnTo>
                      <a:pt x="123" y="18"/>
                    </a:lnTo>
                    <a:lnTo>
                      <a:pt x="123" y="18"/>
                    </a:lnTo>
                    <a:lnTo>
                      <a:pt x="123" y="23"/>
                    </a:lnTo>
                    <a:lnTo>
                      <a:pt x="118" y="23"/>
                    </a:lnTo>
                    <a:lnTo>
                      <a:pt x="113" y="32"/>
                    </a:lnTo>
                    <a:lnTo>
                      <a:pt x="109" y="32"/>
                    </a:lnTo>
                    <a:lnTo>
                      <a:pt x="109" y="36"/>
                    </a:lnTo>
                    <a:lnTo>
                      <a:pt x="109" y="36"/>
                    </a:lnTo>
                    <a:lnTo>
                      <a:pt x="109" y="36"/>
                    </a:lnTo>
                    <a:lnTo>
                      <a:pt x="109" y="36"/>
                    </a:lnTo>
                    <a:lnTo>
                      <a:pt x="113" y="36"/>
                    </a:lnTo>
                    <a:lnTo>
                      <a:pt x="109" y="41"/>
                    </a:lnTo>
                    <a:lnTo>
                      <a:pt x="109" y="41"/>
                    </a:lnTo>
                    <a:lnTo>
                      <a:pt x="109" y="41"/>
                    </a:lnTo>
                    <a:lnTo>
                      <a:pt x="109" y="41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00" y="50"/>
                    </a:lnTo>
                    <a:lnTo>
                      <a:pt x="100" y="45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4" y="41"/>
                    </a:lnTo>
                    <a:lnTo>
                      <a:pt x="100" y="45"/>
                    </a:lnTo>
                    <a:lnTo>
                      <a:pt x="100" y="41"/>
                    </a:lnTo>
                    <a:lnTo>
                      <a:pt x="100" y="41"/>
                    </a:lnTo>
                    <a:lnTo>
                      <a:pt x="100" y="41"/>
                    </a:lnTo>
                    <a:lnTo>
                      <a:pt x="104" y="36"/>
                    </a:lnTo>
                    <a:lnTo>
                      <a:pt x="100" y="36"/>
                    </a:lnTo>
                    <a:lnTo>
                      <a:pt x="100" y="41"/>
                    </a:lnTo>
                    <a:lnTo>
                      <a:pt x="100" y="41"/>
                    </a:lnTo>
                    <a:lnTo>
                      <a:pt x="100" y="41"/>
                    </a:lnTo>
                    <a:lnTo>
                      <a:pt x="95" y="41"/>
                    </a:lnTo>
                    <a:lnTo>
                      <a:pt x="95" y="41"/>
                    </a:lnTo>
                    <a:moveTo>
                      <a:pt x="86" y="68"/>
                    </a:moveTo>
                    <a:lnTo>
                      <a:pt x="86" y="68"/>
                    </a:lnTo>
                    <a:lnTo>
                      <a:pt x="86" y="64"/>
                    </a:lnTo>
                    <a:lnTo>
                      <a:pt x="86" y="59"/>
                    </a:lnTo>
                    <a:lnTo>
                      <a:pt x="86" y="59"/>
                    </a:lnTo>
                    <a:lnTo>
                      <a:pt x="86" y="54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50"/>
                    </a:lnTo>
                    <a:lnTo>
                      <a:pt x="91" y="50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100" y="50"/>
                    </a:lnTo>
                    <a:lnTo>
                      <a:pt x="100" y="50"/>
                    </a:lnTo>
                    <a:lnTo>
                      <a:pt x="100" y="50"/>
                    </a:lnTo>
                    <a:lnTo>
                      <a:pt x="100" y="50"/>
                    </a:lnTo>
                    <a:lnTo>
                      <a:pt x="100" y="50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00" y="59"/>
                    </a:lnTo>
                    <a:lnTo>
                      <a:pt x="100" y="59"/>
                    </a:lnTo>
                    <a:lnTo>
                      <a:pt x="100" y="59"/>
                    </a:lnTo>
                    <a:lnTo>
                      <a:pt x="100" y="59"/>
                    </a:lnTo>
                    <a:lnTo>
                      <a:pt x="100" y="59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91" y="73"/>
                    </a:lnTo>
                    <a:lnTo>
                      <a:pt x="86" y="77"/>
                    </a:lnTo>
                    <a:lnTo>
                      <a:pt x="86" y="73"/>
                    </a:lnTo>
                    <a:lnTo>
                      <a:pt x="86" y="73"/>
                    </a:lnTo>
                    <a:lnTo>
                      <a:pt x="86" y="73"/>
                    </a:lnTo>
                    <a:lnTo>
                      <a:pt x="86" y="73"/>
                    </a:lnTo>
                    <a:lnTo>
                      <a:pt x="86" y="68"/>
                    </a:lnTo>
                    <a:moveTo>
                      <a:pt x="132" y="122"/>
                    </a:moveTo>
                    <a:lnTo>
                      <a:pt x="132" y="122"/>
                    </a:lnTo>
                    <a:lnTo>
                      <a:pt x="132" y="122"/>
                    </a:lnTo>
                    <a:lnTo>
                      <a:pt x="132" y="122"/>
                    </a:lnTo>
                    <a:lnTo>
                      <a:pt x="132" y="122"/>
                    </a:lnTo>
                    <a:lnTo>
                      <a:pt x="132" y="122"/>
                    </a:lnTo>
                    <a:lnTo>
                      <a:pt x="132" y="122"/>
                    </a:lnTo>
                    <a:lnTo>
                      <a:pt x="132" y="122"/>
                    </a:lnTo>
                    <a:lnTo>
                      <a:pt x="132" y="118"/>
                    </a:lnTo>
                    <a:lnTo>
                      <a:pt x="132" y="118"/>
                    </a:lnTo>
                    <a:lnTo>
                      <a:pt x="132" y="118"/>
                    </a:lnTo>
                    <a:lnTo>
                      <a:pt x="132" y="113"/>
                    </a:lnTo>
                    <a:lnTo>
                      <a:pt x="136" y="113"/>
                    </a:lnTo>
                    <a:lnTo>
                      <a:pt x="136" y="113"/>
                    </a:lnTo>
                    <a:lnTo>
                      <a:pt x="136" y="109"/>
                    </a:lnTo>
                    <a:lnTo>
                      <a:pt x="136" y="109"/>
                    </a:lnTo>
                    <a:lnTo>
                      <a:pt x="136" y="109"/>
                    </a:lnTo>
                    <a:lnTo>
                      <a:pt x="141" y="113"/>
                    </a:lnTo>
                    <a:lnTo>
                      <a:pt x="145" y="113"/>
                    </a:lnTo>
                    <a:lnTo>
                      <a:pt x="145" y="113"/>
                    </a:lnTo>
                    <a:lnTo>
                      <a:pt x="145" y="118"/>
                    </a:lnTo>
                    <a:lnTo>
                      <a:pt x="141" y="118"/>
                    </a:lnTo>
                    <a:lnTo>
                      <a:pt x="145" y="118"/>
                    </a:lnTo>
                    <a:lnTo>
                      <a:pt x="145" y="118"/>
                    </a:lnTo>
                    <a:lnTo>
                      <a:pt x="145" y="118"/>
                    </a:lnTo>
                    <a:lnTo>
                      <a:pt x="145" y="118"/>
                    </a:lnTo>
                    <a:lnTo>
                      <a:pt x="145" y="118"/>
                    </a:lnTo>
                    <a:lnTo>
                      <a:pt x="145" y="122"/>
                    </a:lnTo>
                    <a:lnTo>
                      <a:pt x="141" y="122"/>
                    </a:lnTo>
                    <a:lnTo>
                      <a:pt x="141" y="122"/>
                    </a:lnTo>
                    <a:lnTo>
                      <a:pt x="145" y="122"/>
                    </a:lnTo>
                    <a:lnTo>
                      <a:pt x="145" y="122"/>
                    </a:lnTo>
                    <a:lnTo>
                      <a:pt x="145" y="127"/>
                    </a:lnTo>
                    <a:lnTo>
                      <a:pt x="141" y="127"/>
                    </a:lnTo>
                    <a:lnTo>
                      <a:pt x="141" y="127"/>
                    </a:lnTo>
                    <a:lnTo>
                      <a:pt x="136" y="127"/>
                    </a:lnTo>
                    <a:lnTo>
                      <a:pt x="136" y="132"/>
                    </a:lnTo>
                    <a:lnTo>
                      <a:pt x="136" y="132"/>
                    </a:lnTo>
                    <a:lnTo>
                      <a:pt x="136" y="127"/>
                    </a:lnTo>
                    <a:lnTo>
                      <a:pt x="136" y="127"/>
                    </a:lnTo>
                    <a:lnTo>
                      <a:pt x="136" y="127"/>
                    </a:lnTo>
                    <a:lnTo>
                      <a:pt x="132" y="122"/>
                    </a:lnTo>
                    <a:moveTo>
                      <a:pt x="113" y="168"/>
                    </a:moveTo>
                    <a:lnTo>
                      <a:pt x="113" y="168"/>
                    </a:lnTo>
                    <a:lnTo>
                      <a:pt x="113" y="168"/>
                    </a:lnTo>
                    <a:lnTo>
                      <a:pt x="113" y="168"/>
                    </a:lnTo>
                    <a:lnTo>
                      <a:pt x="113" y="163"/>
                    </a:lnTo>
                    <a:lnTo>
                      <a:pt x="113" y="163"/>
                    </a:lnTo>
                    <a:lnTo>
                      <a:pt x="118" y="168"/>
                    </a:lnTo>
                    <a:lnTo>
                      <a:pt x="113" y="172"/>
                    </a:lnTo>
                    <a:lnTo>
                      <a:pt x="113" y="172"/>
                    </a:lnTo>
                    <a:lnTo>
                      <a:pt x="109" y="177"/>
                    </a:lnTo>
                    <a:lnTo>
                      <a:pt x="113" y="177"/>
                    </a:lnTo>
                    <a:lnTo>
                      <a:pt x="109" y="177"/>
                    </a:lnTo>
                    <a:lnTo>
                      <a:pt x="109" y="177"/>
                    </a:lnTo>
                    <a:lnTo>
                      <a:pt x="109" y="177"/>
                    </a:lnTo>
                    <a:lnTo>
                      <a:pt x="104" y="186"/>
                    </a:lnTo>
                    <a:lnTo>
                      <a:pt x="100" y="190"/>
                    </a:lnTo>
                    <a:lnTo>
                      <a:pt x="95" y="190"/>
                    </a:lnTo>
                    <a:lnTo>
                      <a:pt x="91" y="190"/>
                    </a:lnTo>
                    <a:lnTo>
                      <a:pt x="91" y="190"/>
                    </a:lnTo>
                    <a:lnTo>
                      <a:pt x="91" y="190"/>
                    </a:lnTo>
                    <a:lnTo>
                      <a:pt x="95" y="190"/>
                    </a:lnTo>
                    <a:lnTo>
                      <a:pt x="95" y="186"/>
                    </a:lnTo>
                    <a:lnTo>
                      <a:pt x="95" y="186"/>
                    </a:lnTo>
                    <a:lnTo>
                      <a:pt x="95" y="186"/>
                    </a:lnTo>
                    <a:lnTo>
                      <a:pt x="95" y="186"/>
                    </a:lnTo>
                    <a:lnTo>
                      <a:pt x="95" y="186"/>
                    </a:lnTo>
                    <a:lnTo>
                      <a:pt x="95" y="186"/>
                    </a:lnTo>
                    <a:lnTo>
                      <a:pt x="95" y="186"/>
                    </a:lnTo>
                    <a:lnTo>
                      <a:pt x="100" y="186"/>
                    </a:lnTo>
                    <a:lnTo>
                      <a:pt x="95" y="181"/>
                    </a:lnTo>
                    <a:lnTo>
                      <a:pt x="100" y="181"/>
                    </a:lnTo>
                    <a:lnTo>
                      <a:pt x="100" y="177"/>
                    </a:lnTo>
                    <a:lnTo>
                      <a:pt x="104" y="172"/>
                    </a:lnTo>
                    <a:lnTo>
                      <a:pt x="104" y="172"/>
                    </a:lnTo>
                    <a:lnTo>
                      <a:pt x="113" y="168"/>
                    </a:lnTo>
                    <a:lnTo>
                      <a:pt x="113" y="168"/>
                    </a:lnTo>
                    <a:lnTo>
                      <a:pt x="113" y="168"/>
                    </a:lnTo>
                    <a:lnTo>
                      <a:pt x="113" y="168"/>
                    </a:lnTo>
                    <a:moveTo>
                      <a:pt x="64" y="213"/>
                    </a:moveTo>
                    <a:lnTo>
                      <a:pt x="64" y="213"/>
                    </a:lnTo>
                    <a:lnTo>
                      <a:pt x="64" y="218"/>
                    </a:lnTo>
                    <a:lnTo>
                      <a:pt x="59" y="213"/>
                    </a:lnTo>
                    <a:lnTo>
                      <a:pt x="59" y="218"/>
                    </a:lnTo>
                    <a:lnTo>
                      <a:pt x="59" y="218"/>
                    </a:lnTo>
                    <a:lnTo>
                      <a:pt x="59" y="222"/>
                    </a:lnTo>
                    <a:lnTo>
                      <a:pt x="59" y="222"/>
                    </a:lnTo>
                    <a:lnTo>
                      <a:pt x="59" y="222"/>
                    </a:lnTo>
                    <a:lnTo>
                      <a:pt x="59" y="227"/>
                    </a:lnTo>
                    <a:lnTo>
                      <a:pt x="55" y="227"/>
                    </a:lnTo>
                    <a:lnTo>
                      <a:pt x="55" y="227"/>
                    </a:lnTo>
                    <a:lnTo>
                      <a:pt x="55" y="227"/>
                    </a:lnTo>
                    <a:lnTo>
                      <a:pt x="55" y="227"/>
                    </a:lnTo>
                    <a:lnTo>
                      <a:pt x="55" y="227"/>
                    </a:lnTo>
                    <a:lnTo>
                      <a:pt x="55" y="231"/>
                    </a:lnTo>
                    <a:lnTo>
                      <a:pt x="50" y="227"/>
                    </a:lnTo>
                    <a:lnTo>
                      <a:pt x="50" y="227"/>
                    </a:lnTo>
                    <a:lnTo>
                      <a:pt x="50" y="222"/>
                    </a:lnTo>
                    <a:lnTo>
                      <a:pt x="55" y="218"/>
                    </a:lnTo>
                    <a:lnTo>
                      <a:pt x="55" y="218"/>
                    </a:lnTo>
                    <a:lnTo>
                      <a:pt x="50" y="213"/>
                    </a:lnTo>
                    <a:lnTo>
                      <a:pt x="50" y="213"/>
                    </a:lnTo>
                    <a:lnTo>
                      <a:pt x="45" y="213"/>
                    </a:lnTo>
                    <a:lnTo>
                      <a:pt x="45" y="213"/>
                    </a:lnTo>
                    <a:lnTo>
                      <a:pt x="50" y="213"/>
                    </a:lnTo>
                    <a:lnTo>
                      <a:pt x="50" y="213"/>
                    </a:lnTo>
                    <a:lnTo>
                      <a:pt x="50" y="209"/>
                    </a:lnTo>
                    <a:lnTo>
                      <a:pt x="55" y="213"/>
                    </a:lnTo>
                    <a:lnTo>
                      <a:pt x="55" y="209"/>
                    </a:lnTo>
                    <a:lnTo>
                      <a:pt x="55" y="204"/>
                    </a:lnTo>
                    <a:lnTo>
                      <a:pt x="55" y="204"/>
                    </a:lnTo>
                    <a:lnTo>
                      <a:pt x="55" y="204"/>
                    </a:lnTo>
                    <a:lnTo>
                      <a:pt x="59" y="204"/>
                    </a:lnTo>
                    <a:lnTo>
                      <a:pt x="59" y="209"/>
                    </a:lnTo>
                    <a:lnTo>
                      <a:pt x="59" y="204"/>
                    </a:lnTo>
                    <a:lnTo>
                      <a:pt x="59" y="204"/>
                    </a:lnTo>
                    <a:lnTo>
                      <a:pt x="59" y="200"/>
                    </a:lnTo>
                    <a:lnTo>
                      <a:pt x="59" y="200"/>
                    </a:lnTo>
                    <a:lnTo>
                      <a:pt x="64" y="195"/>
                    </a:lnTo>
                    <a:lnTo>
                      <a:pt x="64" y="190"/>
                    </a:lnTo>
                    <a:lnTo>
                      <a:pt x="64" y="190"/>
                    </a:lnTo>
                    <a:lnTo>
                      <a:pt x="64" y="190"/>
                    </a:lnTo>
                    <a:lnTo>
                      <a:pt x="64" y="190"/>
                    </a:lnTo>
                    <a:lnTo>
                      <a:pt x="64" y="195"/>
                    </a:lnTo>
                    <a:lnTo>
                      <a:pt x="64" y="195"/>
                    </a:lnTo>
                    <a:lnTo>
                      <a:pt x="64" y="195"/>
                    </a:lnTo>
                    <a:lnTo>
                      <a:pt x="64" y="200"/>
                    </a:lnTo>
                    <a:lnTo>
                      <a:pt x="64" y="200"/>
                    </a:lnTo>
                    <a:lnTo>
                      <a:pt x="59" y="204"/>
                    </a:lnTo>
                    <a:lnTo>
                      <a:pt x="59" y="204"/>
                    </a:lnTo>
                    <a:lnTo>
                      <a:pt x="59" y="204"/>
                    </a:lnTo>
                    <a:lnTo>
                      <a:pt x="59" y="209"/>
                    </a:lnTo>
                    <a:lnTo>
                      <a:pt x="59" y="209"/>
                    </a:lnTo>
                    <a:lnTo>
                      <a:pt x="68" y="209"/>
                    </a:lnTo>
                    <a:lnTo>
                      <a:pt x="68" y="209"/>
                    </a:lnTo>
                    <a:lnTo>
                      <a:pt x="68" y="213"/>
                    </a:lnTo>
                    <a:lnTo>
                      <a:pt x="64" y="213"/>
                    </a:lnTo>
                    <a:moveTo>
                      <a:pt x="32" y="249"/>
                    </a:moveTo>
                    <a:lnTo>
                      <a:pt x="32" y="249"/>
                    </a:lnTo>
                    <a:lnTo>
                      <a:pt x="32" y="249"/>
                    </a:lnTo>
                    <a:lnTo>
                      <a:pt x="27" y="245"/>
                    </a:lnTo>
                    <a:lnTo>
                      <a:pt x="23" y="245"/>
                    </a:lnTo>
                    <a:lnTo>
                      <a:pt x="23" y="245"/>
                    </a:lnTo>
                    <a:lnTo>
                      <a:pt x="23" y="245"/>
                    </a:lnTo>
                    <a:lnTo>
                      <a:pt x="18" y="245"/>
                    </a:lnTo>
                    <a:lnTo>
                      <a:pt x="18" y="245"/>
                    </a:lnTo>
                    <a:lnTo>
                      <a:pt x="18" y="249"/>
                    </a:lnTo>
                    <a:lnTo>
                      <a:pt x="18" y="249"/>
                    </a:lnTo>
                    <a:lnTo>
                      <a:pt x="18" y="249"/>
                    </a:lnTo>
                    <a:lnTo>
                      <a:pt x="18" y="249"/>
                    </a:lnTo>
                    <a:lnTo>
                      <a:pt x="18" y="249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5" y="249"/>
                    </a:lnTo>
                    <a:lnTo>
                      <a:pt x="5" y="249"/>
                    </a:lnTo>
                    <a:lnTo>
                      <a:pt x="0" y="249"/>
                    </a:lnTo>
                    <a:lnTo>
                      <a:pt x="0" y="245"/>
                    </a:lnTo>
                    <a:lnTo>
                      <a:pt x="5" y="245"/>
                    </a:lnTo>
                    <a:lnTo>
                      <a:pt x="0" y="245"/>
                    </a:lnTo>
                    <a:lnTo>
                      <a:pt x="0" y="245"/>
                    </a:lnTo>
                    <a:lnTo>
                      <a:pt x="5" y="240"/>
                    </a:lnTo>
                    <a:lnTo>
                      <a:pt x="5" y="240"/>
                    </a:lnTo>
                    <a:lnTo>
                      <a:pt x="5" y="240"/>
                    </a:lnTo>
                    <a:lnTo>
                      <a:pt x="5" y="240"/>
                    </a:lnTo>
                    <a:lnTo>
                      <a:pt x="5" y="245"/>
                    </a:lnTo>
                    <a:lnTo>
                      <a:pt x="5" y="245"/>
                    </a:lnTo>
                    <a:lnTo>
                      <a:pt x="5" y="245"/>
                    </a:lnTo>
                    <a:lnTo>
                      <a:pt x="5" y="240"/>
                    </a:lnTo>
                    <a:lnTo>
                      <a:pt x="5" y="240"/>
                    </a:lnTo>
                    <a:lnTo>
                      <a:pt x="9" y="240"/>
                    </a:lnTo>
                    <a:lnTo>
                      <a:pt x="9" y="236"/>
                    </a:lnTo>
                    <a:lnTo>
                      <a:pt x="9" y="236"/>
                    </a:lnTo>
                    <a:lnTo>
                      <a:pt x="5" y="236"/>
                    </a:lnTo>
                    <a:lnTo>
                      <a:pt x="5" y="236"/>
                    </a:lnTo>
                    <a:lnTo>
                      <a:pt x="5" y="236"/>
                    </a:lnTo>
                    <a:lnTo>
                      <a:pt x="5" y="236"/>
                    </a:lnTo>
                    <a:lnTo>
                      <a:pt x="5" y="231"/>
                    </a:lnTo>
                    <a:lnTo>
                      <a:pt x="9" y="231"/>
                    </a:lnTo>
                    <a:lnTo>
                      <a:pt x="9" y="231"/>
                    </a:lnTo>
                    <a:lnTo>
                      <a:pt x="9" y="227"/>
                    </a:lnTo>
                    <a:lnTo>
                      <a:pt x="9" y="227"/>
                    </a:lnTo>
                    <a:lnTo>
                      <a:pt x="9" y="227"/>
                    </a:lnTo>
                    <a:lnTo>
                      <a:pt x="14" y="231"/>
                    </a:lnTo>
                    <a:lnTo>
                      <a:pt x="14" y="231"/>
                    </a:lnTo>
                    <a:lnTo>
                      <a:pt x="14" y="231"/>
                    </a:lnTo>
                    <a:lnTo>
                      <a:pt x="14" y="231"/>
                    </a:lnTo>
                    <a:lnTo>
                      <a:pt x="14" y="231"/>
                    </a:lnTo>
                    <a:lnTo>
                      <a:pt x="14" y="231"/>
                    </a:lnTo>
                    <a:lnTo>
                      <a:pt x="18" y="231"/>
                    </a:lnTo>
                    <a:lnTo>
                      <a:pt x="23" y="227"/>
                    </a:lnTo>
                    <a:lnTo>
                      <a:pt x="27" y="227"/>
                    </a:lnTo>
                    <a:lnTo>
                      <a:pt x="27" y="231"/>
                    </a:lnTo>
                    <a:lnTo>
                      <a:pt x="27" y="231"/>
                    </a:lnTo>
                    <a:lnTo>
                      <a:pt x="27" y="231"/>
                    </a:lnTo>
                    <a:lnTo>
                      <a:pt x="27" y="231"/>
                    </a:lnTo>
                    <a:lnTo>
                      <a:pt x="27" y="231"/>
                    </a:lnTo>
                    <a:lnTo>
                      <a:pt x="27" y="231"/>
                    </a:lnTo>
                    <a:lnTo>
                      <a:pt x="27" y="236"/>
                    </a:lnTo>
                    <a:lnTo>
                      <a:pt x="27" y="236"/>
                    </a:lnTo>
                    <a:lnTo>
                      <a:pt x="32" y="240"/>
                    </a:lnTo>
                    <a:lnTo>
                      <a:pt x="32" y="240"/>
                    </a:lnTo>
                    <a:lnTo>
                      <a:pt x="32" y="245"/>
                    </a:lnTo>
                    <a:lnTo>
                      <a:pt x="32" y="249"/>
                    </a:lnTo>
                    <a:lnTo>
                      <a:pt x="32" y="249"/>
                    </a:lnTo>
                    <a:lnTo>
                      <a:pt x="32" y="249"/>
                    </a:lnTo>
                    <a:lnTo>
                      <a:pt x="32" y="24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" name="Freeform 13"/>
              <p:cNvSpPr>
                <a:spLocks/>
              </p:cNvSpPr>
              <p:nvPr/>
            </p:nvSpPr>
            <p:spPr bwMode="auto">
              <a:xfrm>
                <a:off x="1612901" y="2974975"/>
                <a:ext cx="130175" cy="128587"/>
              </a:xfrm>
              <a:custGeom>
                <a:avLst/>
                <a:gdLst>
                  <a:gd name="T0" fmla="*/ 59 w 82"/>
                  <a:gd name="T1" fmla="*/ 59 h 81"/>
                  <a:gd name="T2" fmla="*/ 59 w 82"/>
                  <a:gd name="T3" fmla="*/ 59 h 81"/>
                  <a:gd name="T4" fmla="*/ 50 w 82"/>
                  <a:gd name="T5" fmla="*/ 54 h 81"/>
                  <a:gd name="T6" fmla="*/ 41 w 82"/>
                  <a:gd name="T7" fmla="*/ 59 h 81"/>
                  <a:gd name="T8" fmla="*/ 36 w 82"/>
                  <a:gd name="T9" fmla="*/ 59 h 81"/>
                  <a:gd name="T10" fmla="*/ 46 w 82"/>
                  <a:gd name="T11" fmla="*/ 77 h 81"/>
                  <a:gd name="T12" fmla="*/ 46 w 82"/>
                  <a:gd name="T13" fmla="*/ 81 h 81"/>
                  <a:gd name="T14" fmla="*/ 27 w 82"/>
                  <a:gd name="T15" fmla="*/ 77 h 81"/>
                  <a:gd name="T16" fmla="*/ 23 w 82"/>
                  <a:gd name="T17" fmla="*/ 68 h 81"/>
                  <a:gd name="T18" fmla="*/ 14 w 82"/>
                  <a:gd name="T19" fmla="*/ 59 h 81"/>
                  <a:gd name="T20" fmla="*/ 14 w 82"/>
                  <a:gd name="T21" fmla="*/ 54 h 81"/>
                  <a:gd name="T22" fmla="*/ 14 w 82"/>
                  <a:gd name="T23" fmla="*/ 50 h 81"/>
                  <a:gd name="T24" fmla="*/ 5 w 82"/>
                  <a:gd name="T25" fmla="*/ 45 h 81"/>
                  <a:gd name="T26" fmla="*/ 0 w 82"/>
                  <a:gd name="T27" fmla="*/ 40 h 81"/>
                  <a:gd name="T28" fmla="*/ 0 w 82"/>
                  <a:gd name="T29" fmla="*/ 31 h 81"/>
                  <a:gd name="T30" fmla="*/ 5 w 82"/>
                  <a:gd name="T31" fmla="*/ 27 h 81"/>
                  <a:gd name="T32" fmla="*/ 5 w 82"/>
                  <a:gd name="T33" fmla="*/ 31 h 81"/>
                  <a:gd name="T34" fmla="*/ 9 w 82"/>
                  <a:gd name="T35" fmla="*/ 36 h 81"/>
                  <a:gd name="T36" fmla="*/ 9 w 82"/>
                  <a:gd name="T37" fmla="*/ 27 h 81"/>
                  <a:gd name="T38" fmla="*/ 14 w 82"/>
                  <a:gd name="T39" fmla="*/ 22 h 81"/>
                  <a:gd name="T40" fmla="*/ 5 w 82"/>
                  <a:gd name="T41" fmla="*/ 13 h 81"/>
                  <a:gd name="T42" fmla="*/ 9 w 82"/>
                  <a:gd name="T43" fmla="*/ 9 h 81"/>
                  <a:gd name="T44" fmla="*/ 9 w 82"/>
                  <a:gd name="T45" fmla="*/ 13 h 81"/>
                  <a:gd name="T46" fmla="*/ 14 w 82"/>
                  <a:gd name="T47" fmla="*/ 13 h 81"/>
                  <a:gd name="T48" fmla="*/ 9 w 82"/>
                  <a:gd name="T49" fmla="*/ 4 h 81"/>
                  <a:gd name="T50" fmla="*/ 14 w 82"/>
                  <a:gd name="T51" fmla="*/ 4 h 81"/>
                  <a:gd name="T52" fmla="*/ 23 w 82"/>
                  <a:gd name="T53" fmla="*/ 9 h 81"/>
                  <a:gd name="T54" fmla="*/ 23 w 82"/>
                  <a:gd name="T55" fmla="*/ 13 h 81"/>
                  <a:gd name="T56" fmla="*/ 23 w 82"/>
                  <a:gd name="T57" fmla="*/ 13 h 81"/>
                  <a:gd name="T58" fmla="*/ 27 w 82"/>
                  <a:gd name="T59" fmla="*/ 13 h 81"/>
                  <a:gd name="T60" fmla="*/ 32 w 82"/>
                  <a:gd name="T61" fmla="*/ 13 h 81"/>
                  <a:gd name="T62" fmla="*/ 46 w 82"/>
                  <a:gd name="T63" fmla="*/ 18 h 81"/>
                  <a:gd name="T64" fmla="*/ 55 w 82"/>
                  <a:gd name="T65" fmla="*/ 18 h 81"/>
                  <a:gd name="T66" fmla="*/ 64 w 82"/>
                  <a:gd name="T67" fmla="*/ 22 h 81"/>
                  <a:gd name="T68" fmla="*/ 68 w 82"/>
                  <a:gd name="T69" fmla="*/ 27 h 81"/>
                  <a:gd name="T70" fmla="*/ 73 w 82"/>
                  <a:gd name="T71" fmla="*/ 27 h 81"/>
                  <a:gd name="T72" fmla="*/ 82 w 82"/>
                  <a:gd name="T73" fmla="*/ 27 h 81"/>
                  <a:gd name="T74" fmla="*/ 82 w 82"/>
                  <a:gd name="T75" fmla="*/ 27 h 81"/>
                  <a:gd name="T76" fmla="*/ 82 w 82"/>
                  <a:gd name="T77" fmla="*/ 36 h 81"/>
                  <a:gd name="T78" fmla="*/ 82 w 82"/>
                  <a:gd name="T79" fmla="*/ 36 h 81"/>
                  <a:gd name="T80" fmla="*/ 77 w 82"/>
                  <a:gd name="T81" fmla="*/ 40 h 81"/>
                  <a:gd name="T82" fmla="*/ 73 w 82"/>
                  <a:gd name="T83" fmla="*/ 45 h 81"/>
                  <a:gd name="T84" fmla="*/ 68 w 82"/>
                  <a:gd name="T85" fmla="*/ 45 h 81"/>
                  <a:gd name="T86" fmla="*/ 64 w 82"/>
                  <a:gd name="T87" fmla="*/ 45 h 81"/>
                  <a:gd name="T88" fmla="*/ 64 w 82"/>
                  <a:gd name="T89" fmla="*/ 50 h 81"/>
                  <a:gd name="T90" fmla="*/ 59 w 82"/>
                  <a:gd name="T91" fmla="*/ 5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82" h="81">
                    <a:moveTo>
                      <a:pt x="59" y="54"/>
                    </a:moveTo>
                    <a:lnTo>
                      <a:pt x="59" y="54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5" y="59"/>
                    </a:lnTo>
                    <a:lnTo>
                      <a:pt x="55" y="54"/>
                    </a:lnTo>
                    <a:lnTo>
                      <a:pt x="50" y="54"/>
                    </a:lnTo>
                    <a:lnTo>
                      <a:pt x="50" y="50"/>
                    </a:lnTo>
                    <a:lnTo>
                      <a:pt x="46" y="54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63"/>
                    </a:lnTo>
                    <a:lnTo>
                      <a:pt x="41" y="68"/>
                    </a:lnTo>
                    <a:lnTo>
                      <a:pt x="46" y="77"/>
                    </a:lnTo>
                    <a:lnTo>
                      <a:pt x="46" y="81"/>
                    </a:lnTo>
                    <a:lnTo>
                      <a:pt x="46" y="81"/>
                    </a:lnTo>
                    <a:lnTo>
                      <a:pt x="46" y="81"/>
                    </a:lnTo>
                    <a:lnTo>
                      <a:pt x="41" y="81"/>
                    </a:lnTo>
                    <a:lnTo>
                      <a:pt x="32" y="77"/>
                    </a:lnTo>
                    <a:lnTo>
                      <a:pt x="27" y="77"/>
                    </a:lnTo>
                    <a:lnTo>
                      <a:pt x="23" y="72"/>
                    </a:lnTo>
                    <a:lnTo>
                      <a:pt x="23" y="72"/>
                    </a:lnTo>
                    <a:lnTo>
                      <a:pt x="23" y="68"/>
                    </a:lnTo>
                    <a:lnTo>
                      <a:pt x="14" y="63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0"/>
                    </a:lnTo>
                    <a:lnTo>
                      <a:pt x="9" y="50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9" y="31"/>
                    </a:lnTo>
                    <a:lnTo>
                      <a:pt x="9" y="36"/>
                    </a:lnTo>
                    <a:lnTo>
                      <a:pt x="9" y="31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5" y="18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3" y="4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7" y="13"/>
                    </a:lnTo>
                    <a:lnTo>
                      <a:pt x="27" y="18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6" y="13"/>
                    </a:lnTo>
                    <a:lnTo>
                      <a:pt x="41" y="13"/>
                    </a:lnTo>
                    <a:lnTo>
                      <a:pt x="46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5" y="18"/>
                    </a:lnTo>
                    <a:lnTo>
                      <a:pt x="55" y="18"/>
                    </a:lnTo>
                    <a:lnTo>
                      <a:pt x="59" y="18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7"/>
                    </a:lnTo>
                    <a:lnTo>
                      <a:pt x="68" y="27"/>
                    </a:lnTo>
                    <a:lnTo>
                      <a:pt x="73" y="27"/>
                    </a:lnTo>
                    <a:lnTo>
                      <a:pt x="73" y="27"/>
                    </a:lnTo>
                    <a:lnTo>
                      <a:pt x="73" y="27"/>
                    </a:lnTo>
                    <a:lnTo>
                      <a:pt x="77" y="27"/>
                    </a:lnTo>
                    <a:lnTo>
                      <a:pt x="77" y="27"/>
                    </a:lnTo>
                    <a:lnTo>
                      <a:pt x="82" y="27"/>
                    </a:lnTo>
                    <a:lnTo>
                      <a:pt x="82" y="27"/>
                    </a:lnTo>
                    <a:lnTo>
                      <a:pt x="82" y="27"/>
                    </a:lnTo>
                    <a:lnTo>
                      <a:pt x="82" y="27"/>
                    </a:lnTo>
                    <a:lnTo>
                      <a:pt x="82" y="31"/>
                    </a:lnTo>
                    <a:lnTo>
                      <a:pt x="82" y="31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77" y="36"/>
                    </a:lnTo>
                    <a:lnTo>
                      <a:pt x="77" y="40"/>
                    </a:lnTo>
                    <a:lnTo>
                      <a:pt x="77" y="40"/>
                    </a:lnTo>
                    <a:lnTo>
                      <a:pt x="77" y="40"/>
                    </a:lnTo>
                    <a:lnTo>
                      <a:pt x="73" y="45"/>
                    </a:lnTo>
                    <a:lnTo>
                      <a:pt x="73" y="45"/>
                    </a:lnTo>
                    <a:lnTo>
                      <a:pt x="73" y="45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4" y="45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4"/>
                    </a:lnTo>
                    <a:lnTo>
                      <a:pt x="64" y="54"/>
                    </a:lnTo>
                    <a:lnTo>
                      <a:pt x="59" y="54"/>
                    </a:lnTo>
                    <a:lnTo>
                      <a:pt x="59" y="5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" name="Freeform 14"/>
              <p:cNvSpPr>
                <a:spLocks/>
              </p:cNvSpPr>
              <p:nvPr/>
            </p:nvSpPr>
            <p:spPr bwMode="auto">
              <a:xfrm>
                <a:off x="1663701" y="2916238"/>
                <a:ext cx="201613" cy="187325"/>
              </a:xfrm>
              <a:custGeom>
                <a:avLst/>
                <a:gdLst>
                  <a:gd name="T0" fmla="*/ 36 w 127"/>
                  <a:gd name="T1" fmla="*/ 114 h 118"/>
                  <a:gd name="T2" fmla="*/ 36 w 127"/>
                  <a:gd name="T3" fmla="*/ 105 h 118"/>
                  <a:gd name="T4" fmla="*/ 32 w 127"/>
                  <a:gd name="T5" fmla="*/ 100 h 118"/>
                  <a:gd name="T6" fmla="*/ 27 w 127"/>
                  <a:gd name="T7" fmla="*/ 96 h 118"/>
                  <a:gd name="T8" fmla="*/ 32 w 127"/>
                  <a:gd name="T9" fmla="*/ 87 h 118"/>
                  <a:gd name="T10" fmla="*/ 36 w 127"/>
                  <a:gd name="T11" fmla="*/ 82 h 118"/>
                  <a:gd name="T12" fmla="*/ 41 w 127"/>
                  <a:gd name="T13" fmla="*/ 82 h 118"/>
                  <a:gd name="T14" fmla="*/ 50 w 127"/>
                  <a:gd name="T15" fmla="*/ 73 h 118"/>
                  <a:gd name="T16" fmla="*/ 50 w 127"/>
                  <a:gd name="T17" fmla="*/ 68 h 118"/>
                  <a:gd name="T18" fmla="*/ 45 w 127"/>
                  <a:gd name="T19" fmla="*/ 64 h 118"/>
                  <a:gd name="T20" fmla="*/ 36 w 127"/>
                  <a:gd name="T21" fmla="*/ 64 h 118"/>
                  <a:gd name="T22" fmla="*/ 23 w 127"/>
                  <a:gd name="T23" fmla="*/ 55 h 118"/>
                  <a:gd name="T24" fmla="*/ 9 w 127"/>
                  <a:gd name="T25" fmla="*/ 50 h 118"/>
                  <a:gd name="T26" fmla="*/ 4 w 127"/>
                  <a:gd name="T27" fmla="*/ 46 h 118"/>
                  <a:gd name="T28" fmla="*/ 9 w 127"/>
                  <a:gd name="T29" fmla="*/ 46 h 118"/>
                  <a:gd name="T30" fmla="*/ 14 w 127"/>
                  <a:gd name="T31" fmla="*/ 41 h 118"/>
                  <a:gd name="T32" fmla="*/ 4 w 127"/>
                  <a:gd name="T33" fmla="*/ 41 h 118"/>
                  <a:gd name="T34" fmla="*/ 9 w 127"/>
                  <a:gd name="T35" fmla="*/ 37 h 118"/>
                  <a:gd name="T36" fmla="*/ 18 w 127"/>
                  <a:gd name="T37" fmla="*/ 32 h 118"/>
                  <a:gd name="T38" fmla="*/ 23 w 127"/>
                  <a:gd name="T39" fmla="*/ 28 h 118"/>
                  <a:gd name="T40" fmla="*/ 23 w 127"/>
                  <a:gd name="T41" fmla="*/ 37 h 118"/>
                  <a:gd name="T42" fmla="*/ 27 w 127"/>
                  <a:gd name="T43" fmla="*/ 41 h 118"/>
                  <a:gd name="T44" fmla="*/ 27 w 127"/>
                  <a:gd name="T45" fmla="*/ 41 h 118"/>
                  <a:gd name="T46" fmla="*/ 36 w 127"/>
                  <a:gd name="T47" fmla="*/ 37 h 118"/>
                  <a:gd name="T48" fmla="*/ 41 w 127"/>
                  <a:gd name="T49" fmla="*/ 32 h 118"/>
                  <a:gd name="T50" fmla="*/ 32 w 127"/>
                  <a:gd name="T51" fmla="*/ 32 h 118"/>
                  <a:gd name="T52" fmla="*/ 45 w 127"/>
                  <a:gd name="T53" fmla="*/ 23 h 118"/>
                  <a:gd name="T54" fmla="*/ 50 w 127"/>
                  <a:gd name="T55" fmla="*/ 14 h 118"/>
                  <a:gd name="T56" fmla="*/ 54 w 127"/>
                  <a:gd name="T57" fmla="*/ 9 h 118"/>
                  <a:gd name="T58" fmla="*/ 59 w 127"/>
                  <a:gd name="T59" fmla="*/ 5 h 118"/>
                  <a:gd name="T60" fmla="*/ 72 w 127"/>
                  <a:gd name="T61" fmla="*/ 5 h 118"/>
                  <a:gd name="T62" fmla="*/ 77 w 127"/>
                  <a:gd name="T63" fmla="*/ 0 h 118"/>
                  <a:gd name="T64" fmla="*/ 91 w 127"/>
                  <a:gd name="T65" fmla="*/ 5 h 118"/>
                  <a:gd name="T66" fmla="*/ 100 w 127"/>
                  <a:gd name="T67" fmla="*/ 9 h 118"/>
                  <a:gd name="T68" fmla="*/ 109 w 127"/>
                  <a:gd name="T69" fmla="*/ 5 h 118"/>
                  <a:gd name="T70" fmla="*/ 109 w 127"/>
                  <a:gd name="T71" fmla="*/ 9 h 118"/>
                  <a:gd name="T72" fmla="*/ 104 w 127"/>
                  <a:gd name="T73" fmla="*/ 14 h 118"/>
                  <a:gd name="T74" fmla="*/ 104 w 127"/>
                  <a:gd name="T75" fmla="*/ 19 h 118"/>
                  <a:gd name="T76" fmla="*/ 109 w 127"/>
                  <a:gd name="T77" fmla="*/ 23 h 118"/>
                  <a:gd name="T78" fmla="*/ 113 w 127"/>
                  <a:gd name="T79" fmla="*/ 41 h 118"/>
                  <a:gd name="T80" fmla="*/ 127 w 127"/>
                  <a:gd name="T81" fmla="*/ 50 h 118"/>
                  <a:gd name="T82" fmla="*/ 122 w 127"/>
                  <a:gd name="T83" fmla="*/ 55 h 118"/>
                  <a:gd name="T84" fmla="*/ 122 w 127"/>
                  <a:gd name="T85" fmla="*/ 59 h 118"/>
                  <a:gd name="T86" fmla="*/ 104 w 127"/>
                  <a:gd name="T87" fmla="*/ 59 h 118"/>
                  <a:gd name="T88" fmla="*/ 95 w 127"/>
                  <a:gd name="T89" fmla="*/ 64 h 118"/>
                  <a:gd name="T90" fmla="*/ 86 w 127"/>
                  <a:gd name="T91" fmla="*/ 77 h 118"/>
                  <a:gd name="T92" fmla="*/ 86 w 127"/>
                  <a:gd name="T93" fmla="*/ 82 h 118"/>
                  <a:gd name="T94" fmla="*/ 82 w 127"/>
                  <a:gd name="T95" fmla="*/ 100 h 118"/>
                  <a:gd name="T96" fmla="*/ 68 w 127"/>
                  <a:gd name="T97" fmla="*/ 100 h 118"/>
                  <a:gd name="T98" fmla="*/ 59 w 127"/>
                  <a:gd name="T99" fmla="*/ 105 h 118"/>
                  <a:gd name="T100" fmla="*/ 45 w 127"/>
                  <a:gd name="T101" fmla="*/ 109 h 118"/>
                  <a:gd name="T102" fmla="*/ 45 w 127"/>
                  <a:gd name="T103" fmla="*/ 114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27" h="118">
                    <a:moveTo>
                      <a:pt x="41" y="114"/>
                    </a:moveTo>
                    <a:lnTo>
                      <a:pt x="41" y="114"/>
                    </a:lnTo>
                    <a:lnTo>
                      <a:pt x="36" y="114"/>
                    </a:lnTo>
                    <a:lnTo>
                      <a:pt x="36" y="118"/>
                    </a:lnTo>
                    <a:lnTo>
                      <a:pt x="36" y="114"/>
                    </a:lnTo>
                    <a:lnTo>
                      <a:pt x="36" y="109"/>
                    </a:lnTo>
                    <a:lnTo>
                      <a:pt x="36" y="105"/>
                    </a:lnTo>
                    <a:lnTo>
                      <a:pt x="36" y="105"/>
                    </a:lnTo>
                    <a:lnTo>
                      <a:pt x="36" y="105"/>
                    </a:lnTo>
                    <a:lnTo>
                      <a:pt x="36" y="105"/>
                    </a:lnTo>
                    <a:lnTo>
                      <a:pt x="36" y="105"/>
                    </a:lnTo>
                    <a:lnTo>
                      <a:pt x="36" y="105"/>
                    </a:lnTo>
                    <a:lnTo>
                      <a:pt x="32" y="100"/>
                    </a:lnTo>
                    <a:lnTo>
                      <a:pt x="32" y="100"/>
                    </a:lnTo>
                    <a:lnTo>
                      <a:pt x="32" y="100"/>
                    </a:lnTo>
                    <a:lnTo>
                      <a:pt x="32" y="96"/>
                    </a:lnTo>
                    <a:lnTo>
                      <a:pt x="32" y="96"/>
                    </a:lnTo>
                    <a:lnTo>
                      <a:pt x="32" y="96"/>
                    </a:lnTo>
                    <a:lnTo>
                      <a:pt x="27" y="96"/>
                    </a:lnTo>
                    <a:lnTo>
                      <a:pt x="27" y="96"/>
                    </a:lnTo>
                    <a:lnTo>
                      <a:pt x="27" y="91"/>
                    </a:lnTo>
                    <a:lnTo>
                      <a:pt x="27" y="91"/>
                    </a:lnTo>
                    <a:lnTo>
                      <a:pt x="32" y="91"/>
                    </a:lnTo>
                    <a:lnTo>
                      <a:pt x="32" y="91"/>
                    </a:lnTo>
                    <a:lnTo>
                      <a:pt x="32" y="87"/>
                    </a:lnTo>
                    <a:lnTo>
                      <a:pt x="32" y="87"/>
                    </a:lnTo>
                    <a:lnTo>
                      <a:pt x="32" y="87"/>
                    </a:lnTo>
                    <a:lnTo>
                      <a:pt x="32" y="82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41" y="82"/>
                    </a:lnTo>
                    <a:lnTo>
                      <a:pt x="41" y="82"/>
                    </a:lnTo>
                    <a:lnTo>
                      <a:pt x="41" y="82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3"/>
                    </a:lnTo>
                    <a:lnTo>
                      <a:pt x="50" y="73"/>
                    </a:lnTo>
                    <a:lnTo>
                      <a:pt x="50" y="73"/>
                    </a:lnTo>
                    <a:lnTo>
                      <a:pt x="50" y="73"/>
                    </a:lnTo>
                    <a:lnTo>
                      <a:pt x="50" y="73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45" y="64"/>
                    </a:lnTo>
                    <a:lnTo>
                      <a:pt x="45" y="64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6" y="59"/>
                    </a:lnTo>
                    <a:lnTo>
                      <a:pt x="32" y="59"/>
                    </a:lnTo>
                    <a:lnTo>
                      <a:pt x="27" y="55"/>
                    </a:lnTo>
                    <a:lnTo>
                      <a:pt x="23" y="55"/>
                    </a:lnTo>
                    <a:lnTo>
                      <a:pt x="23" y="55"/>
                    </a:lnTo>
                    <a:lnTo>
                      <a:pt x="18" y="55"/>
                    </a:lnTo>
                    <a:lnTo>
                      <a:pt x="18" y="55"/>
                    </a:lnTo>
                    <a:lnTo>
                      <a:pt x="14" y="55"/>
                    </a:lnTo>
                    <a:lnTo>
                      <a:pt x="9" y="50"/>
                    </a:lnTo>
                    <a:lnTo>
                      <a:pt x="4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9" y="46"/>
                    </a:lnTo>
                    <a:lnTo>
                      <a:pt x="9" y="46"/>
                    </a:lnTo>
                    <a:lnTo>
                      <a:pt x="9" y="46"/>
                    </a:lnTo>
                    <a:lnTo>
                      <a:pt x="9" y="46"/>
                    </a:lnTo>
                    <a:lnTo>
                      <a:pt x="9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4" y="41"/>
                    </a:lnTo>
                    <a:lnTo>
                      <a:pt x="4" y="37"/>
                    </a:lnTo>
                    <a:lnTo>
                      <a:pt x="4" y="37"/>
                    </a:lnTo>
                    <a:lnTo>
                      <a:pt x="9" y="37"/>
                    </a:lnTo>
                    <a:lnTo>
                      <a:pt x="9" y="37"/>
                    </a:lnTo>
                    <a:lnTo>
                      <a:pt x="9" y="37"/>
                    </a:lnTo>
                    <a:lnTo>
                      <a:pt x="9" y="37"/>
                    </a:lnTo>
                    <a:lnTo>
                      <a:pt x="14" y="37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37"/>
                    </a:lnTo>
                    <a:lnTo>
                      <a:pt x="41" y="37"/>
                    </a:lnTo>
                    <a:lnTo>
                      <a:pt x="41" y="37"/>
                    </a:lnTo>
                    <a:lnTo>
                      <a:pt x="41" y="37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2" y="32"/>
                    </a:lnTo>
                    <a:lnTo>
                      <a:pt x="36" y="32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50" y="23"/>
                    </a:lnTo>
                    <a:lnTo>
                      <a:pt x="50" y="23"/>
                    </a:lnTo>
                    <a:lnTo>
                      <a:pt x="45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9" y="9"/>
                    </a:lnTo>
                    <a:lnTo>
                      <a:pt x="59" y="5"/>
                    </a:lnTo>
                    <a:lnTo>
                      <a:pt x="59" y="5"/>
                    </a:lnTo>
                    <a:lnTo>
                      <a:pt x="59" y="5"/>
                    </a:lnTo>
                    <a:lnTo>
                      <a:pt x="59" y="5"/>
                    </a:lnTo>
                    <a:lnTo>
                      <a:pt x="68" y="5"/>
                    </a:lnTo>
                    <a:lnTo>
                      <a:pt x="68" y="5"/>
                    </a:lnTo>
                    <a:lnTo>
                      <a:pt x="72" y="5"/>
                    </a:lnTo>
                    <a:lnTo>
                      <a:pt x="72" y="0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6" y="5"/>
                    </a:lnTo>
                    <a:lnTo>
                      <a:pt x="91" y="5"/>
                    </a:lnTo>
                    <a:lnTo>
                      <a:pt x="91" y="5"/>
                    </a:lnTo>
                    <a:lnTo>
                      <a:pt x="91" y="5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100" y="9"/>
                    </a:lnTo>
                    <a:lnTo>
                      <a:pt x="100" y="9"/>
                    </a:lnTo>
                    <a:lnTo>
                      <a:pt x="100" y="5"/>
                    </a:lnTo>
                    <a:lnTo>
                      <a:pt x="104" y="5"/>
                    </a:lnTo>
                    <a:lnTo>
                      <a:pt x="109" y="5"/>
                    </a:lnTo>
                    <a:lnTo>
                      <a:pt x="109" y="5"/>
                    </a:lnTo>
                    <a:lnTo>
                      <a:pt x="109" y="5"/>
                    </a:lnTo>
                    <a:lnTo>
                      <a:pt x="109" y="5"/>
                    </a:lnTo>
                    <a:lnTo>
                      <a:pt x="109" y="5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9"/>
                    </a:lnTo>
                    <a:lnTo>
                      <a:pt x="104" y="19"/>
                    </a:lnTo>
                    <a:lnTo>
                      <a:pt x="104" y="19"/>
                    </a:lnTo>
                    <a:lnTo>
                      <a:pt x="104" y="19"/>
                    </a:lnTo>
                    <a:lnTo>
                      <a:pt x="104" y="19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9" y="23"/>
                    </a:lnTo>
                    <a:lnTo>
                      <a:pt x="109" y="28"/>
                    </a:lnTo>
                    <a:lnTo>
                      <a:pt x="109" y="28"/>
                    </a:lnTo>
                    <a:lnTo>
                      <a:pt x="109" y="32"/>
                    </a:lnTo>
                    <a:lnTo>
                      <a:pt x="113" y="37"/>
                    </a:lnTo>
                    <a:lnTo>
                      <a:pt x="113" y="41"/>
                    </a:lnTo>
                    <a:lnTo>
                      <a:pt x="113" y="46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18" y="50"/>
                    </a:lnTo>
                    <a:lnTo>
                      <a:pt x="127" y="50"/>
                    </a:lnTo>
                    <a:lnTo>
                      <a:pt x="127" y="50"/>
                    </a:lnTo>
                    <a:lnTo>
                      <a:pt x="122" y="50"/>
                    </a:lnTo>
                    <a:lnTo>
                      <a:pt x="122" y="50"/>
                    </a:lnTo>
                    <a:lnTo>
                      <a:pt x="122" y="50"/>
                    </a:lnTo>
                    <a:lnTo>
                      <a:pt x="122" y="55"/>
                    </a:lnTo>
                    <a:lnTo>
                      <a:pt x="122" y="55"/>
                    </a:lnTo>
                    <a:lnTo>
                      <a:pt x="122" y="59"/>
                    </a:lnTo>
                    <a:lnTo>
                      <a:pt x="122" y="59"/>
                    </a:lnTo>
                    <a:lnTo>
                      <a:pt x="122" y="59"/>
                    </a:lnTo>
                    <a:lnTo>
                      <a:pt x="122" y="59"/>
                    </a:lnTo>
                    <a:lnTo>
                      <a:pt x="118" y="64"/>
                    </a:lnTo>
                    <a:lnTo>
                      <a:pt x="118" y="64"/>
                    </a:lnTo>
                    <a:lnTo>
                      <a:pt x="118" y="64"/>
                    </a:lnTo>
                    <a:lnTo>
                      <a:pt x="109" y="59"/>
                    </a:lnTo>
                    <a:lnTo>
                      <a:pt x="104" y="59"/>
                    </a:lnTo>
                    <a:lnTo>
                      <a:pt x="104" y="59"/>
                    </a:lnTo>
                    <a:lnTo>
                      <a:pt x="100" y="59"/>
                    </a:lnTo>
                    <a:lnTo>
                      <a:pt x="100" y="59"/>
                    </a:lnTo>
                    <a:lnTo>
                      <a:pt x="95" y="64"/>
                    </a:lnTo>
                    <a:lnTo>
                      <a:pt x="95" y="64"/>
                    </a:lnTo>
                    <a:lnTo>
                      <a:pt x="95" y="64"/>
                    </a:lnTo>
                    <a:lnTo>
                      <a:pt x="91" y="68"/>
                    </a:lnTo>
                    <a:lnTo>
                      <a:pt x="91" y="68"/>
                    </a:lnTo>
                    <a:lnTo>
                      <a:pt x="86" y="73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2" y="77"/>
                    </a:lnTo>
                    <a:lnTo>
                      <a:pt x="82" y="77"/>
                    </a:lnTo>
                    <a:lnTo>
                      <a:pt x="86" y="82"/>
                    </a:lnTo>
                    <a:lnTo>
                      <a:pt x="82" y="87"/>
                    </a:lnTo>
                    <a:lnTo>
                      <a:pt x="82" y="91"/>
                    </a:lnTo>
                    <a:lnTo>
                      <a:pt x="82" y="91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82" y="109"/>
                    </a:lnTo>
                    <a:lnTo>
                      <a:pt x="77" y="105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3" y="100"/>
                    </a:lnTo>
                    <a:lnTo>
                      <a:pt x="63" y="100"/>
                    </a:lnTo>
                    <a:lnTo>
                      <a:pt x="59" y="105"/>
                    </a:lnTo>
                    <a:lnTo>
                      <a:pt x="59" y="105"/>
                    </a:lnTo>
                    <a:lnTo>
                      <a:pt x="59" y="105"/>
                    </a:lnTo>
                    <a:lnTo>
                      <a:pt x="54" y="105"/>
                    </a:lnTo>
                    <a:lnTo>
                      <a:pt x="50" y="105"/>
                    </a:lnTo>
                    <a:lnTo>
                      <a:pt x="50" y="105"/>
                    </a:lnTo>
                    <a:lnTo>
                      <a:pt x="45" y="109"/>
                    </a:lnTo>
                    <a:lnTo>
                      <a:pt x="45" y="109"/>
                    </a:lnTo>
                    <a:lnTo>
                      <a:pt x="45" y="109"/>
                    </a:lnTo>
                    <a:lnTo>
                      <a:pt x="45" y="114"/>
                    </a:lnTo>
                    <a:lnTo>
                      <a:pt x="45" y="114"/>
                    </a:lnTo>
                    <a:lnTo>
                      <a:pt x="45" y="114"/>
                    </a:lnTo>
                    <a:lnTo>
                      <a:pt x="45" y="114"/>
                    </a:lnTo>
                    <a:lnTo>
                      <a:pt x="41" y="11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7" name="Freeform 15"/>
              <p:cNvSpPr>
                <a:spLocks noEditPoints="1"/>
              </p:cNvSpPr>
              <p:nvPr/>
            </p:nvSpPr>
            <p:spPr bwMode="auto">
              <a:xfrm>
                <a:off x="1504951" y="3262313"/>
                <a:ext cx="323850" cy="511175"/>
              </a:xfrm>
              <a:custGeom>
                <a:avLst/>
                <a:gdLst>
                  <a:gd name="T0" fmla="*/ 59 w 204"/>
                  <a:gd name="T1" fmla="*/ 159 h 322"/>
                  <a:gd name="T2" fmla="*/ 55 w 204"/>
                  <a:gd name="T3" fmla="*/ 159 h 322"/>
                  <a:gd name="T4" fmla="*/ 0 w 204"/>
                  <a:gd name="T5" fmla="*/ 268 h 322"/>
                  <a:gd name="T6" fmla="*/ 0 w 204"/>
                  <a:gd name="T7" fmla="*/ 268 h 322"/>
                  <a:gd name="T8" fmla="*/ 45 w 204"/>
                  <a:gd name="T9" fmla="*/ 268 h 322"/>
                  <a:gd name="T10" fmla="*/ 41 w 204"/>
                  <a:gd name="T11" fmla="*/ 263 h 322"/>
                  <a:gd name="T12" fmla="*/ 45 w 204"/>
                  <a:gd name="T13" fmla="*/ 263 h 322"/>
                  <a:gd name="T14" fmla="*/ 5 w 204"/>
                  <a:gd name="T15" fmla="*/ 322 h 322"/>
                  <a:gd name="T16" fmla="*/ 68 w 204"/>
                  <a:gd name="T17" fmla="*/ 32 h 322"/>
                  <a:gd name="T18" fmla="*/ 64 w 204"/>
                  <a:gd name="T19" fmla="*/ 36 h 322"/>
                  <a:gd name="T20" fmla="*/ 59 w 204"/>
                  <a:gd name="T21" fmla="*/ 32 h 322"/>
                  <a:gd name="T22" fmla="*/ 55 w 204"/>
                  <a:gd name="T23" fmla="*/ 32 h 322"/>
                  <a:gd name="T24" fmla="*/ 64 w 204"/>
                  <a:gd name="T25" fmla="*/ 32 h 322"/>
                  <a:gd name="T26" fmla="*/ 200 w 204"/>
                  <a:gd name="T27" fmla="*/ 91 h 322"/>
                  <a:gd name="T28" fmla="*/ 195 w 204"/>
                  <a:gd name="T29" fmla="*/ 77 h 322"/>
                  <a:gd name="T30" fmla="*/ 186 w 204"/>
                  <a:gd name="T31" fmla="*/ 68 h 322"/>
                  <a:gd name="T32" fmla="*/ 172 w 204"/>
                  <a:gd name="T33" fmla="*/ 55 h 322"/>
                  <a:gd name="T34" fmla="*/ 163 w 204"/>
                  <a:gd name="T35" fmla="*/ 32 h 322"/>
                  <a:gd name="T36" fmla="*/ 141 w 204"/>
                  <a:gd name="T37" fmla="*/ 5 h 322"/>
                  <a:gd name="T38" fmla="*/ 123 w 204"/>
                  <a:gd name="T39" fmla="*/ 5 h 322"/>
                  <a:gd name="T40" fmla="*/ 114 w 204"/>
                  <a:gd name="T41" fmla="*/ 5 h 322"/>
                  <a:gd name="T42" fmla="*/ 95 w 204"/>
                  <a:gd name="T43" fmla="*/ 18 h 322"/>
                  <a:gd name="T44" fmla="*/ 95 w 204"/>
                  <a:gd name="T45" fmla="*/ 36 h 322"/>
                  <a:gd name="T46" fmla="*/ 95 w 204"/>
                  <a:gd name="T47" fmla="*/ 45 h 322"/>
                  <a:gd name="T48" fmla="*/ 109 w 204"/>
                  <a:gd name="T49" fmla="*/ 73 h 322"/>
                  <a:gd name="T50" fmla="*/ 95 w 204"/>
                  <a:gd name="T51" fmla="*/ 95 h 322"/>
                  <a:gd name="T52" fmla="*/ 86 w 204"/>
                  <a:gd name="T53" fmla="*/ 91 h 322"/>
                  <a:gd name="T54" fmla="*/ 91 w 204"/>
                  <a:gd name="T55" fmla="*/ 104 h 322"/>
                  <a:gd name="T56" fmla="*/ 123 w 204"/>
                  <a:gd name="T57" fmla="*/ 118 h 322"/>
                  <a:gd name="T58" fmla="*/ 127 w 204"/>
                  <a:gd name="T59" fmla="*/ 127 h 322"/>
                  <a:gd name="T60" fmla="*/ 141 w 204"/>
                  <a:gd name="T61" fmla="*/ 118 h 322"/>
                  <a:gd name="T62" fmla="*/ 127 w 204"/>
                  <a:gd name="T63" fmla="*/ 91 h 322"/>
                  <a:gd name="T64" fmla="*/ 141 w 204"/>
                  <a:gd name="T65" fmla="*/ 68 h 322"/>
                  <a:gd name="T66" fmla="*/ 163 w 204"/>
                  <a:gd name="T67" fmla="*/ 64 h 322"/>
                  <a:gd name="T68" fmla="*/ 150 w 204"/>
                  <a:gd name="T69" fmla="*/ 77 h 322"/>
                  <a:gd name="T70" fmla="*/ 136 w 204"/>
                  <a:gd name="T71" fmla="*/ 77 h 322"/>
                  <a:gd name="T72" fmla="*/ 154 w 204"/>
                  <a:gd name="T73" fmla="*/ 95 h 322"/>
                  <a:gd name="T74" fmla="*/ 150 w 204"/>
                  <a:gd name="T75" fmla="*/ 132 h 322"/>
                  <a:gd name="T76" fmla="*/ 150 w 204"/>
                  <a:gd name="T77" fmla="*/ 145 h 322"/>
                  <a:gd name="T78" fmla="*/ 168 w 204"/>
                  <a:gd name="T79" fmla="*/ 136 h 322"/>
                  <a:gd name="T80" fmla="*/ 186 w 204"/>
                  <a:gd name="T81" fmla="*/ 123 h 322"/>
                  <a:gd name="T82" fmla="*/ 191 w 204"/>
                  <a:gd name="T83" fmla="*/ 113 h 322"/>
                  <a:gd name="T84" fmla="*/ 191 w 204"/>
                  <a:gd name="T85" fmla="*/ 100 h 322"/>
                  <a:gd name="T86" fmla="*/ 41 w 204"/>
                  <a:gd name="T87" fmla="*/ 281 h 322"/>
                  <a:gd name="T88" fmla="*/ 41 w 204"/>
                  <a:gd name="T89" fmla="*/ 277 h 322"/>
                  <a:gd name="T90" fmla="*/ 23 w 204"/>
                  <a:gd name="T91" fmla="*/ 299 h 322"/>
                  <a:gd name="T92" fmla="*/ 23 w 204"/>
                  <a:gd name="T93" fmla="*/ 299 h 322"/>
                  <a:gd name="T94" fmla="*/ 41 w 204"/>
                  <a:gd name="T95" fmla="*/ 55 h 322"/>
                  <a:gd name="T96" fmla="*/ 36 w 204"/>
                  <a:gd name="T97" fmla="*/ 50 h 322"/>
                  <a:gd name="T98" fmla="*/ 41 w 204"/>
                  <a:gd name="T99" fmla="*/ 45 h 322"/>
                  <a:gd name="T100" fmla="*/ 50 w 204"/>
                  <a:gd name="T101" fmla="*/ 41 h 322"/>
                  <a:gd name="T102" fmla="*/ 177 w 204"/>
                  <a:gd name="T103" fmla="*/ 204 h 322"/>
                  <a:gd name="T104" fmla="*/ 159 w 204"/>
                  <a:gd name="T105" fmla="*/ 231 h 322"/>
                  <a:gd name="T106" fmla="*/ 168 w 204"/>
                  <a:gd name="T107" fmla="*/ 204 h 322"/>
                  <a:gd name="T108" fmla="*/ 177 w 204"/>
                  <a:gd name="T109" fmla="*/ 177 h 322"/>
                  <a:gd name="T110" fmla="*/ 132 w 204"/>
                  <a:gd name="T111" fmla="*/ 227 h 322"/>
                  <a:gd name="T112" fmla="*/ 109 w 204"/>
                  <a:gd name="T113" fmla="*/ 236 h 322"/>
                  <a:gd name="T114" fmla="*/ 109 w 204"/>
                  <a:gd name="T115" fmla="*/ 218 h 322"/>
                  <a:gd name="T116" fmla="*/ 86 w 204"/>
                  <a:gd name="T117" fmla="*/ 213 h 322"/>
                  <a:gd name="T118" fmla="*/ 77 w 204"/>
                  <a:gd name="T119" fmla="*/ 204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04" h="322">
                    <a:moveTo>
                      <a:pt x="0" y="150"/>
                    </a:moveTo>
                    <a:lnTo>
                      <a:pt x="0" y="150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0"/>
                    </a:lnTo>
                    <a:moveTo>
                      <a:pt x="59" y="159"/>
                    </a:moveTo>
                    <a:lnTo>
                      <a:pt x="59" y="159"/>
                    </a:lnTo>
                    <a:lnTo>
                      <a:pt x="59" y="159"/>
                    </a:lnTo>
                    <a:lnTo>
                      <a:pt x="59" y="159"/>
                    </a:lnTo>
                    <a:lnTo>
                      <a:pt x="59" y="159"/>
                    </a:lnTo>
                    <a:lnTo>
                      <a:pt x="55" y="159"/>
                    </a:lnTo>
                    <a:lnTo>
                      <a:pt x="55" y="159"/>
                    </a:lnTo>
                    <a:lnTo>
                      <a:pt x="55" y="159"/>
                    </a:lnTo>
                    <a:lnTo>
                      <a:pt x="55" y="159"/>
                    </a:lnTo>
                    <a:lnTo>
                      <a:pt x="55" y="159"/>
                    </a:lnTo>
                    <a:lnTo>
                      <a:pt x="55" y="159"/>
                    </a:lnTo>
                    <a:lnTo>
                      <a:pt x="55" y="159"/>
                    </a:lnTo>
                    <a:lnTo>
                      <a:pt x="55" y="159"/>
                    </a:lnTo>
                    <a:lnTo>
                      <a:pt x="55" y="154"/>
                    </a:lnTo>
                    <a:lnTo>
                      <a:pt x="55" y="154"/>
                    </a:lnTo>
                    <a:lnTo>
                      <a:pt x="55" y="154"/>
                    </a:lnTo>
                    <a:lnTo>
                      <a:pt x="59" y="159"/>
                    </a:lnTo>
                    <a:moveTo>
                      <a:pt x="0" y="268"/>
                    </a:moveTo>
                    <a:lnTo>
                      <a:pt x="0" y="268"/>
                    </a:lnTo>
                    <a:lnTo>
                      <a:pt x="0" y="268"/>
                    </a:lnTo>
                    <a:lnTo>
                      <a:pt x="0" y="268"/>
                    </a:lnTo>
                    <a:lnTo>
                      <a:pt x="0" y="268"/>
                    </a:lnTo>
                    <a:lnTo>
                      <a:pt x="0" y="268"/>
                    </a:lnTo>
                    <a:lnTo>
                      <a:pt x="0" y="268"/>
                    </a:lnTo>
                    <a:lnTo>
                      <a:pt x="0" y="268"/>
                    </a:lnTo>
                    <a:lnTo>
                      <a:pt x="0" y="268"/>
                    </a:lnTo>
                    <a:lnTo>
                      <a:pt x="0" y="268"/>
                    </a:lnTo>
                    <a:lnTo>
                      <a:pt x="0" y="268"/>
                    </a:lnTo>
                    <a:moveTo>
                      <a:pt x="45" y="263"/>
                    </a:moveTo>
                    <a:lnTo>
                      <a:pt x="45" y="263"/>
                    </a:lnTo>
                    <a:lnTo>
                      <a:pt x="45" y="268"/>
                    </a:lnTo>
                    <a:lnTo>
                      <a:pt x="45" y="268"/>
                    </a:lnTo>
                    <a:lnTo>
                      <a:pt x="45" y="268"/>
                    </a:lnTo>
                    <a:lnTo>
                      <a:pt x="45" y="268"/>
                    </a:lnTo>
                    <a:lnTo>
                      <a:pt x="45" y="268"/>
                    </a:lnTo>
                    <a:lnTo>
                      <a:pt x="45" y="268"/>
                    </a:lnTo>
                    <a:lnTo>
                      <a:pt x="41" y="268"/>
                    </a:lnTo>
                    <a:lnTo>
                      <a:pt x="41" y="263"/>
                    </a:lnTo>
                    <a:lnTo>
                      <a:pt x="41" y="263"/>
                    </a:lnTo>
                    <a:lnTo>
                      <a:pt x="41" y="263"/>
                    </a:lnTo>
                    <a:lnTo>
                      <a:pt x="41" y="263"/>
                    </a:lnTo>
                    <a:lnTo>
                      <a:pt x="41" y="263"/>
                    </a:lnTo>
                    <a:lnTo>
                      <a:pt x="41" y="263"/>
                    </a:lnTo>
                    <a:lnTo>
                      <a:pt x="45" y="263"/>
                    </a:lnTo>
                    <a:lnTo>
                      <a:pt x="41" y="259"/>
                    </a:lnTo>
                    <a:lnTo>
                      <a:pt x="45" y="259"/>
                    </a:lnTo>
                    <a:lnTo>
                      <a:pt x="45" y="263"/>
                    </a:lnTo>
                    <a:lnTo>
                      <a:pt x="45" y="263"/>
                    </a:lnTo>
                    <a:lnTo>
                      <a:pt x="45" y="263"/>
                    </a:lnTo>
                    <a:lnTo>
                      <a:pt x="45" y="263"/>
                    </a:lnTo>
                    <a:moveTo>
                      <a:pt x="0" y="322"/>
                    </a:moveTo>
                    <a:lnTo>
                      <a:pt x="0" y="322"/>
                    </a:lnTo>
                    <a:lnTo>
                      <a:pt x="0" y="322"/>
                    </a:lnTo>
                    <a:lnTo>
                      <a:pt x="0" y="322"/>
                    </a:lnTo>
                    <a:lnTo>
                      <a:pt x="0" y="322"/>
                    </a:lnTo>
                    <a:lnTo>
                      <a:pt x="5" y="322"/>
                    </a:lnTo>
                    <a:lnTo>
                      <a:pt x="5" y="322"/>
                    </a:lnTo>
                    <a:lnTo>
                      <a:pt x="5" y="322"/>
                    </a:lnTo>
                    <a:lnTo>
                      <a:pt x="5" y="322"/>
                    </a:lnTo>
                    <a:lnTo>
                      <a:pt x="5" y="322"/>
                    </a:lnTo>
                    <a:lnTo>
                      <a:pt x="5" y="322"/>
                    </a:lnTo>
                    <a:lnTo>
                      <a:pt x="0" y="322"/>
                    </a:lnTo>
                    <a:lnTo>
                      <a:pt x="0" y="322"/>
                    </a:lnTo>
                    <a:moveTo>
                      <a:pt x="68" y="32"/>
                    </a:move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5" y="32"/>
                    </a:lnTo>
                    <a:lnTo>
                      <a:pt x="55" y="32"/>
                    </a:lnTo>
                    <a:lnTo>
                      <a:pt x="55" y="32"/>
                    </a:lnTo>
                    <a:lnTo>
                      <a:pt x="55" y="32"/>
                    </a:lnTo>
                    <a:lnTo>
                      <a:pt x="55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moveTo>
                      <a:pt x="200" y="95"/>
                    </a:moveTo>
                    <a:lnTo>
                      <a:pt x="200" y="95"/>
                    </a:lnTo>
                    <a:lnTo>
                      <a:pt x="200" y="91"/>
                    </a:lnTo>
                    <a:lnTo>
                      <a:pt x="204" y="91"/>
                    </a:lnTo>
                    <a:lnTo>
                      <a:pt x="204" y="86"/>
                    </a:lnTo>
                    <a:lnTo>
                      <a:pt x="204" y="86"/>
                    </a:lnTo>
                    <a:lnTo>
                      <a:pt x="204" y="86"/>
                    </a:lnTo>
                    <a:lnTo>
                      <a:pt x="204" y="82"/>
                    </a:lnTo>
                    <a:lnTo>
                      <a:pt x="200" y="82"/>
                    </a:lnTo>
                    <a:lnTo>
                      <a:pt x="200" y="77"/>
                    </a:lnTo>
                    <a:lnTo>
                      <a:pt x="195" y="77"/>
                    </a:lnTo>
                    <a:lnTo>
                      <a:pt x="195" y="77"/>
                    </a:lnTo>
                    <a:lnTo>
                      <a:pt x="195" y="77"/>
                    </a:lnTo>
                    <a:lnTo>
                      <a:pt x="195" y="77"/>
                    </a:lnTo>
                    <a:lnTo>
                      <a:pt x="191" y="77"/>
                    </a:lnTo>
                    <a:lnTo>
                      <a:pt x="186" y="73"/>
                    </a:lnTo>
                    <a:lnTo>
                      <a:pt x="186" y="73"/>
                    </a:lnTo>
                    <a:lnTo>
                      <a:pt x="186" y="68"/>
                    </a:lnTo>
                    <a:lnTo>
                      <a:pt x="186" y="68"/>
                    </a:lnTo>
                    <a:lnTo>
                      <a:pt x="186" y="68"/>
                    </a:lnTo>
                    <a:lnTo>
                      <a:pt x="186" y="64"/>
                    </a:lnTo>
                    <a:lnTo>
                      <a:pt x="186" y="64"/>
                    </a:lnTo>
                    <a:lnTo>
                      <a:pt x="186" y="64"/>
                    </a:lnTo>
                    <a:lnTo>
                      <a:pt x="182" y="59"/>
                    </a:lnTo>
                    <a:lnTo>
                      <a:pt x="182" y="59"/>
                    </a:lnTo>
                    <a:lnTo>
                      <a:pt x="172" y="55"/>
                    </a:lnTo>
                    <a:lnTo>
                      <a:pt x="172" y="55"/>
                    </a:lnTo>
                    <a:lnTo>
                      <a:pt x="172" y="50"/>
                    </a:lnTo>
                    <a:lnTo>
                      <a:pt x="172" y="50"/>
                    </a:lnTo>
                    <a:lnTo>
                      <a:pt x="172" y="45"/>
                    </a:lnTo>
                    <a:lnTo>
                      <a:pt x="172" y="41"/>
                    </a:lnTo>
                    <a:lnTo>
                      <a:pt x="168" y="36"/>
                    </a:lnTo>
                    <a:lnTo>
                      <a:pt x="168" y="36"/>
                    </a:lnTo>
                    <a:lnTo>
                      <a:pt x="163" y="36"/>
                    </a:lnTo>
                    <a:lnTo>
                      <a:pt x="163" y="32"/>
                    </a:lnTo>
                    <a:lnTo>
                      <a:pt x="154" y="18"/>
                    </a:lnTo>
                    <a:lnTo>
                      <a:pt x="154" y="18"/>
                    </a:lnTo>
                    <a:lnTo>
                      <a:pt x="154" y="18"/>
                    </a:lnTo>
                    <a:lnTo>
                      <a:pt x="154" y="14"/>
                    </a:lnTo>
                    <a:lnTo>
                      <a:pt x="154" y="9"/>
                    </a:lnTo>
                    <a:lnTo>
                      <a:pt x="145" y="5"/>
                    </a:lnTo>
                    <a:lnTo>
                      <a:pt x="145" y="5"/>
                    </a:lnTo>
                    <a:lnTo>
                      <a:pt x="141" y="5"/>
                    </a:lnTo>
                    <a:lnTo>
                      <a:pt x="141" y="5"/>
                    </a:lnTo>
                    <a:lnTo>
                      <a:pt x="141" y="5"/>
                    </a:lnTo>
                    <a:lnTo>
                      <a:pt x="136" y="5"/>
                    </a:lnTo>
                    <a:lnTo>
                      <a:pt x="136" y="5"/>
                    </a:lnTo>
                    <a:lnTo>
                      <a:pt x="132" y="5"/>
                    </a:lnTo>
                    <a:lnTo>
                      <a:pt x="127" y="5"/>
                    </a:lnTo>
                    <a:lnTo>
                      <a:pt x="123" y="5"/>
                    </a:lnTo>
                    <a:lnTo>
                      <a:pt x="123" y="5"/>
                    </a:lnTo>
                    <a:lnTo>
                      <a:pt x="123" y="5"/>
                    </a:lnTo>
                    <a:lnTo>
                      <a:pt x="123" y="5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14" y="5"/>
                    </a:lnTo>
                    <a:lnTo>
                      <a:pt x="114" y="5"/>
                    </a:lnTo>
                    <a:lnTo>
                      <a:pt x="114" y="5"/>
                    </a:lnTo>
                    <a:lnTo>
                      <a:pt x="109" y="5"/>
                    </a:lnTo>
                    <a:lnTo>
                      <a:pt x="109" y="5"/>
                    </a:lnTo>
                    <a:lnTo>
                      <a:pt x="104" y="0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0" y="9"/>
                    </a:lnTo>
                    <a:lnTo>
                      <a:pt x="95" y="14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100" y="18"/>
                    </a:lnTo>
                    <a:lnTo>
                      <a:pt x="100" y="23"/>
                    </a:lnTo>
                    <a:lnTo>
                      <a:pt x="100" y="23"/>
                    </a:lnTo>
                    <a:lnTo>
                      <a:pt x="100" y="27"/>
                    </a:lnTo>
                    <a:lnTo>
                      <a:pt x="95" y="32"/>
                    </a:lnTo>
                    <a:lnTo>
                      <a:pt x="95" y="36"/>
                    </a:lnTo>
                    <a:lnTo>
                      <a:pt x="100" y="36"/>
                    </a:lnTo>
                    <a:lnTo>
                      <a:pt x="100" y="41"/>
                    </a:lnTo>
                    <a:lnTo>
                      <a:pt x="100" y="41"/>
                    </a:lnTo>
                    <a:lnTo>
                      <a:pt x="100" y="41"/>
                    </a:lnTo>
                    <a:lnTo>
                      <a:pt x="95" y="41"/>
                    </a:lnTo>
                    <a:lnTo>
                      <a:pt x="95" y="41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5" y="50"/>
                    </a:lnTo>
                    <a:lnTo>
                      <a:pt x="100" y="50"/>
                    </a:lnTo>
                    <a:lnTo>
                      <a:pt x="100" y="55"/>
                    </a:lnTo>
                    <a:lnTo>
                      <a:pt x="104" y="59"/>
                    </a:lnTo>
                    <a:lnTo>
                      <a:pt x="109" y="64"/>
                    </a:lnTo>
                    <a:lnTo>
                      <a:pt x="109" y="68"/>
                    </a:lnTo>
                    <a:lnTo>
                      <a:pt x="109" y="68"/>
                    </a:lnTo>
                    <a:lnTo>
                      <a:pt x="109" y="73"/>
                    </a:lnTo>
                    <a:lnTo>
                      <a:pt x="109" y="73"/>
                    </a:lnTo>
                    <a:lnTo>
                      <a:pt x="109" y="77"/>
                    </a:lnTo>
                    <a:lnTo>
                      <a:pt x="104" y="82"/>
                    </a:lnTo>
                    <a:lnTo>
                      <a:pt x="104" y="86"/>
                    </a:lnTo>
                    <a:lnTo>
                      <a:pt x="104" y="91"/>
                    </a:lnTo>
                    <a:lnTo>
                      <a:pt x="95" y="91"/>
                    </a:lnTo>
                    <a:lnTo>
                      <a:pt x="95" y="95"/>
                    </a:lnTo>
                    <a:lnTo>
                      <a:pt x="95" y="95"/>
                    </a:lnTo>
                    <a:lnTo>
                      <a:pt x="91" y="91"/>
                    </a:lnTo>
                    <a:lnTo>
                      <a:pt x="91" y="91"/>
                    </a:lnTo>
                    <a:lnTo>
                      <a:pt x="91" y="91"/>
                    </a:lnTo>
                    <a:lnTo>
                      <a:pt x="86" y="91"/>
                    </a:lnTo>
                    <a:lnTo>
                      <a:pt x="86" y="91"/>
                    </a:lnTo>
                    <a:lnTo>
                      <a:pt x="86" y="91"/>
                    </a:lnTo>
                    <a:lnTo>
                      <a:pt x="82" y="91"/>
                    </a:lnTo>
                    <a:lnTo>
                      <a:pt x="86" y="91"/>
                    </a:lnTo>
                    <a:lnTo>
                      <a:pt x="86" y="95"/>
                    </a:lnTo>
                    <a:lnTo>
                      <a:pt x="91" y="100"/>
                    </a:lnTo>
                    <a:lnTo>
                      <a:pt x="91" y="100"/>
                    </a:lnTo>
                    <a:lnTo>
                      <a:pt x="91" y="100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91" y="109"/>
                    </a:lnTo>
                    <a:lnTo>
                      <a:pt x="95" y="109"/>
                    </a:lnTo>
                    <a:lnTo>
                      <a:pt x="95" y="113"/>
                    </a:lnTo>
                    <a:lnTo>
                      <a:pt x="95" y="113"/>
                    </a:lnTo>
                    <a:lnTo>
                      <a:pt x="100" y="113"/>
                    </a:lnTo>
                    <a:lnTo>
                      <a:pt x="100" y="113"/>
                    </a:lnTo>
                    <a:lnTo>
                      <a:pt x="123" y="118"/>
                    </a:lnTo>
                    <a:lnTo>
                      <a:pt x="123" y="118"/>
                    </a:lnTo>
                    <a:lnTo>
                      <a:pt x="123" y="118"/>
                    </a:lnTo>
                    <a:lnTo>
                      <a:pt x="123" y="123"/>
                    </a:lnTo>
                    <a:lnTo>
                      <a:pt x="123" y="123"/>
                    </a:lnTo>
                    <a:lnTo>
                      <a:pt x="123" y="127"/>
                    </a:lnTo>
                    <a:lnTo>
                      <a:pt x="127" y="127"/>
                    </a:lnTo>
                    <a:lnTo>
                      <a:pt x="127" y="127"/>
                    </a:lnTo>
                    <a:lnTo>
                      <a:pt x="127" y="127"/>
                    </a:lnTo>
                    <a:lnTo>
                      <a:pt x="132" y="127"/>
                    </a:lnTo>
                    <a:lnTo>
                      <a:pt x="132" y="127"/>
                    </a:lnTo>
                    <a:lnTo>
                      <a:pt x="132" y="127"/>
                    </a:lnTo>
                    <a:lnTo>
                      <a:pt x="136" y="127"/>
                    </a:lnTo>
                    <a:lnTo>
                      <a:pt x="136" y="127"/>
                    </a:lnTo>
                    <a:lnTo>
                      <a:pt x="141" y="123"/>
                    </a:lnTo>
                    <a:lnTo>
                      <a:pt x="141" y="123"/>
                    </a:lnTo>
                    <a:lnTo>
                      <a:pt x="141" y="118"/>
                    </a:lnTo>
                    <a:lnTo>
                      <a:pt x="141" y="113"/>
                    </a:lnTo>
                    <a:lnTo>
                      <a:pt x="141" y="113"/>
                    </a:lnTo>
                    <a:lnTo>
                      <a:pt x="136" y="109"/>
                    </a:lnTo>
                    <a:lnTo>
                      <a:pt x="132" y="109"/>
                    </a:lnTo>
                    <a:lnTo>
                      <a:pt x="132" y="109"/>
                    </a:lnTo>
                    <a:lnTo>
                      <a:pt x="132" y="104"/>
                    </a:lnTo>
                    <a:lnTo>
                      <a:pt x="132" y="100"/>
                    </a:lnTo>
                    <a:lnTo>
                      <a:pt x="127" y="91"/>
                    </a:lnTo>
                    <a:lnTo>
                      <a:pt x="127" y="91"/>
                    </a:lnTo>
                    <a:lnTo>
                      <a:pt x="127" y="86"/>
                    </a:lnTo>
                    <a:lnTo>
                      <a:pt x="132" y="82"/>
                    </a:lnTo>
                    <a:lnTo>
                      <a:pt x="132" y="82"/>
                    </a:lnTo>
                    <a:lnTo>
                      <a:pt x="132" y="77"/>
                    </a:lnTo>
                    <a:lnTo>
                      <a:pt x="136" y="73"/>
                    </a:lnTo>
                    <a:lnTo>
                      <a:pt x="136" y="73"/>
                    </a:lnTo>
                    <a:lnTo>
                      <a:pt x="141" y="68"/>
                    </a:lnTo>
                    <a:lnTo>
                      <a:pt x="141" y="68"/>
                    </a:lnTo>
                    <a:lnTo>
                      <a:pt x="141" y="64"/>
                    </a:lnTo>
                    <a:lnTo>
                      <a:pt x="141" y="64"/>
                    </a:lnTo>
                    <a:lnTo>
                      <a:pt x="145" y="59"/>
                    </a:lnTo>
                    <a:lnTo>
                      <a:pt x="150" y="59"/>
                    </a:lnTo>
                    <a:lnTo>
                      <a:pt x="154" y="59"/>
                    </a:lnTo>
                    <a:lnTo>
                      <a:pt x="159" y="64"/>
                    </a:lnTo>
                    <a:lnTo>
                      <a:pt x="163" y="64"/>
                    </a:lnTo>
                    <a:lnTo>
                      <a:pt x="163" y="68"/>
                    </a:lnTo>
                    <a:lnTo>
                      <a:pt x="159" y="73"/>
                    </a:lnTo>
                    <a:lnTo>
                      <a:pt x="159" y="77"/>
                    </a:lnTo>
                    <a:lnTo>
                      <a:pt x="154" y="82"/>
                    </a:lnTo>
                    <a:lnTo>
                      <a:pt x="154" y="82"/>
                    </a:lnTo>
                    <a:lnTo>
                      <a:pt x="154" y="82"/>
                    </a:lnTo>
                    <a:lnTo>
                      <a:pt x="150" y="77"/>
                    </a:lnTo>
                    <a:lnTo>
                      <a:pt x="150" y="77"/>
                    </a:lnTo>
                    <a:lnTo>
                      <a:pt x="150" y="77"/>
                    </a:lnTo>
                    <a:lnTo>
                      <a:pt x="150" y="73"/>
                    </a:lnTo>
                    <a:lnTo>
                      <a:pt x="150" y="73"/>
                    </a:lnTo>
                    <a:lnTo>
                      <a:pt x="145" y="73"/>
                    </a:lnTo>
                    <a:lnTo>
                      <a:pt x="145" y="73"/>
                    </a:lnTo>
                    <a:lnTo>
                      <a:pt x="141" y="73"/>
                    </a:lnTo>
                    <a:lnTo>
                      <a:pt x="141" y="73"/>
                    </a:lnTo>
                    <a:lnTo>
                      <a:pt x="136" y="77"/>
                    </a:lnTo>
                    <a:lnTo>
                      <a:pt x="141" y="77"/>
                    </a:lnTo>
                    <a:lnTo>
                      <a:pt x="141" y="77"/>
                    </a:lnTo>
                    <a:lnTo>
                      <a:pt x="141" y="77"/>
                    </a:lnTo>
                    <a:lnTo>
                      <a:pt x="150" y="82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50" y="91"/>
                    </a:lnTo>
                    <a:lnTo>
                      <a:pt x="154" y="95"/>
                    </a:lnTo>
                    <a:lnTo>
                      <a:pt x="154" y="100"/>
                    </a:lnTo>
                    <a:lnTo>
                      <a:pt x="154" y="104"/>
                    </a:lnTo>
                    <a:lnTo>
                      <a:pt x="159" y="109"/>
                    </a:lnTo>
                    <a:lnTo>
                      <a:pt x="159" y="113"/>
                    </a:lnTo>
                    <a:lnTo>
                      <a:pt x="154" y="118"/>
                    </a:lnTo>
                    <a:lnTo>
                      <a:pt x="154" y="123"/>
                    </a:lnTo>
                    <a:lnTo>
                      <a:pt x="154" y="127"/>
                    </a:lnTo>
                    <a:lnTo>
                      <a:pt x="150" y="132"/>
                    </a:lnTo>
                    <a:lnTo>
                      <a:pt x="150" y="136"/>
                    </a:lnTo>
                    <a:lnTo>
                      <a:pt x="145" y="136"/>
                    </a:lnTo>
                    <a:lnTo>
                      <a:pt x="141" y="136"/>
                    </a:lnTo>
                    <a:lnTo>
                      <a:pt x="141" y="141"/>
                    </a:lnTo>
                    <a:lnTo>
                      <a:pt x="141" y="150"/>
                    </a:lnTo>
                    <a:lnTo>
                      <a:pt x="141" y="150"/>
                    </a:lnTo>
                    <a:lnTo>
                      <a:pt x="145" y="145"/>
                    </a:lnTo>
                    <a:lnTo>
                      <a:pt x="150" y="145"/>
                    </a:lnTo>
                    <a:lnTo>
                      <a:pt x="150" y="141"/>
                    </a:lnTo>
                    <a:lnTo>
                      <a:pt x="154" y="141"/>
                    </a:lnTo>
                    <a:lnTo>
                      <a:pt x="159" y="141"/>
                    </a:lnTo>
                    <a:lnTo>
                      <a:pt x="159" y="141"/>
                    </a:lnTo>
                    <a:lnTo>
                      <a:pt x="159" y="141"/>
                    </a:lnTo>
                    <a:lnTo>
                      <a:pt x="159" y="141"/>
                    </a:lnTo>
                    <a:lnTo>
                      <a:pt x="168" y="136"/>
                    </a:lnTo>
                    <a:lnTo>
                      <a:pt x="168" y="136"/>
                    </a:lnTo>
                    <a:lnTo>
                      <a:pt x="172" y="136"/>
                    </a:lnTo>
                    <a:lnTo>
                      <a:pt x="172" y="136"/>
                    </a:lnTo>
                    <a:lnTo>
                      <a:pt x="172" y="136"/>
                    </a:lnTo>
                    <a:lnTo>
                      <a:pt x="177" y="132"/>
                    </a:lnTo>
                    <a:lnTo>
                      <a:pt x="177" y="132"/>
                    </a:lnTo>
                    <a:lnTo>
                      <a:pt x="177" y="127"/>
                    </a:lnTo>
                    <a:lnTo>
                      <a:pt x="182" y="127"/>
                    </a:lnTo>
                    <a:lnTo>
                      <a:pt x="186" y="123"/>
                    </a:lnTo>
                    <a:lnTo>
                      <a:pt x="186" y="123"/>
                    </a:lnTo>
                    <a:lnTo>
                      <a:pt x="195" y="123"/>
                    </a:lnTo>
                    <a:lnTo>
                      <a:pt x="191" y="118"/>
                    </a:lnTo>
                    <a:lnTo>
                      <a:pt x="191" y="118"/>
                    </a:lnTo>
                    <a:lnTo>
                      <a:pt x="191" y="118"/>
                    </a:lnTo>
                    <a:lnTo>
                      <a:pt x="191" y="118"/>
                    </a:lnTo>
                    <a:lnTo>
                      <a:pt x="191" y="113"/>
                    </a:lnTo>
                    <a:lnTo>
                      <a:pt x="191" y="113"/>
                    </a:lnTo>
                    <a:lnTo>
                      <a:pt x="191" y="113"/>
                    </a:lnTo>
                    <a:lnTo>
                      <a:pt x="186" y="109"/>
                    </a:lnTo>
                    <a:lnTo>
                      <a:pt x="182" y="109"/>
                    </a:lnTo>
                    <a:lnTo>
                      <a:pt x="182" y="109"/>
                    </a:lnTo>
                    <a:lnTo>
                      <a:pt x="182" y="104"/>
                    </a:lnTo>
                    <a:lnTo>
                      <a:pt x="186" y="100"/>
                    </a:lnTo>
                    <a:lnTo>
                      <a:pt x="186" y="100"/>
                    </a:lnTo>
                    <a:lnTo>
                      <a:pt x="191" y="100"/>
                    </a:lnTo>
                    <a:lnTo>
                      <a:pt x="195" y="95"/>
                    </a:lnTo>
                    <a:lnTo>
                      <a:pt x="195" y="95"/>
                    </a:lnTo>
                    <a:lnTo>
                      <a:pt x="200" y="95"/>
                    </a:lnTo>
                    <a:lnTo>
                      <a:pt x="200" y="95"/>
                    </a:lnTo>
                    <a:lnTo>
                      <a:pt x="200" y="95"/>
                    </a:lnTo>
                    <a:lnTo>
                      <a:pt x="200" y="95"/>
                    </a:lnTo>
                    <a:moveTo>
                      <a:pt x="41" y="281"/>
                    </a:moveTo>
                    <a:lnTo>
                      <a:pt x="41" y="281"/>
                    </a:lnTo>
                    <a:lnTo>
                      <a:pt x="36" y="281"/>
                    </a:lnTo>
                    <a:lnTo>
                      <a:pt x="36" y="277"/>
                    </a:lnTo>
                    <a:lnTo>
                      <a:pt x="36" y="277"/>
                    </a:lnTo>
                    <a:lnTo>
                      <a:pt x="36" y="277"/>
                    </a:lnTo>
                    <a:lnTo>
                      <a:pt x="36" y="277"/>
                    </a:lnTo>
                    <a:lnTo>
                      <a:pt x="36" y="277"/>
                    </a:lnTo>
                    <a:lnTo>
                      <a:pt x="36" y="277"/>
                    </a:lnTo>
                    <a:lnTo>
                      <a:pt x="41" y="277"/>
                    </a:lnTo>
                    <a:lnTo>
                      <a:pt x="41" y="277"/>
                    </a:lnTo>
                    <a:lnTo>
                      <a:pt x="41" y="277"/>
                    </a:lnTo>
                    <a:lnTo>
                      <a:pt x="41" y="281"/>
                    </a:lnTo>
                    <a:lnTo>
                      <a:pt x="45" y="281"/>
                    </a:lnTo>
                    <a:lnTo>
                      <a:pt x="41" y="281"/>
                    </a:lnTo>
                    <a:lnTo>
                      <a:pt x="41" y="281"/>
                    </a:lnTo>
                    <a:lnTo>
                      <a:pt x="41" y="281"/>
                    </a:lnTo>
                    <a:moveTo>
                      <a:pt x="23" y="299"/>
                    </a:moveTo>
                    <a:lnTo>
                      <a:pt x="23" y="299"/>
                    </a:lnTo>
                    <a:lnTo>
                      <a:pt x="23" y="299"/>
                    </a:lnTo>
                    <a:lnTo>
                      <a:pt x="18" y="304"/>
                    </a:lnTo>
                    <a:lnTo>
                      <a:pt x="18" y="304"/>
                    </a:lnTo>
                    <a:lnTo>
                      <a:pt x="18" y="304"/>
                    </a:lnTo>
                    <a:lnTo>
                      <a:pt x="18" y="299"/>
                    </a:lnTo>
                    <a:lnTo>
                      <a:pt x="18" y="299"/>
                    </a:lnTo>
                    <a:lnTo>
                      <a:pt x="23" y="299"/>
                    </a:lnTo>
                    <a:moveTo>
                      <a:pt x="50" y="41"/>
                    </a:moveTo>
                    <a:lnTo>
                      <a:pt x="50" y="41"/>
                    </a:lnTo>
                    <a:lnTo>
                      <a:pt x="50" y="45"/>
                    </a:lnTo>
                    <a:lnTo>
                      <a:pt x="50" y="45"/>
                    </a:lnTo>
                    <a:lnTo>
                      <a:pt x="50" y="45"/>
                    </a:lnTo>
                    <a:lnTo>
                      <a:pt x="45" y="50"/>
                    </a:lnTo>
                    <a:lnTo>
                      <a:pt x="41" y="55"/>
                    </a:lnTo>
                    <a:lnTo>
                      <a:pt x="41" y="55"/>
                    </a:lnTo>
                    <a:lnTo>
                      <a:pt x="41" y="55"/>
                    </a:lnTo>
                    <a:lnTo>
                      <a:pt x="36" y="55"/>
                    </a:lnTo>
                    <a:lnTo>
                      <a:pt x="36" y="55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41" y="45"/>
                    </a:lnTo>
                    <a:lnTo>
                      <a:pt x="41" y="45"/>
                    </a:lnTo>
                    <a:lnTo>
                      <a:pt x="45" y="45"/>
                    </a:lnTo>
                    <a:lnTo>
                      <a:pt x="45" y="41"/>
                    </a:lnTo>
                    <a:lnTo>
                      <a:pt x="50" y="41"/>
                    </a:lnTo>
                    <a:lnTo>
                      <a:pt x="50" y="41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41"/>
                    </a:lnTo>
                    <a:moveTo>
                      <a:pt x="182" y="177"/>
                    </a:moveTo>
                    <a:lnTo>
                      <a:pt x="182" y="177"/>
                    </a:lnTo>
                    <a:lnTo>
                      <a:pt x="182" y="186"/>
                    </a:lnTo>
                    <a:lnTo>
                      <a:pt x="182" y="186"/>
                    </a:lnTo>
                    <a:lnTo>
                      <a:pt x="177" y="200"/>
                    </a:lnTo>
                    <a:lnTo>
                      <a:pt x="177" y="200"/>
                    </a:lnTo>
                    <a:lnTo>
                      <a:pt x="177" y="204"/>
                    </a:lnTo>
                    <a:lnTo>
                      <a:pt x="177" y="204"/>
                    </a:lnTo>
                    <a:lnTo>
                      <a:pt x="172" y="209"/>
                    </a:lnTo>
                    <a:lnTo>
                      <a:pt x="168" y="213"/>
                    </a:lnTo>
                    <a:lnTo>
                      <a:pt x="168" y="222"/>
                    </a:lnTo>
                    <a:lnTo>
                      <a:pt x="163" y="227"/>
                    </a:lnTo>
                    <a:lnTo>
                      <a:pt x="163" y="227"/>
                    </a:lnTo>
                    <a:lnTo>
                      <a:pt x="159" y="231"/>
                    </a:lnTo>
                    <a:lnTo>
                      <a:pt x="159" y="231"/>
                    </a:lnTo>
                    <a:lnTo>
                      <a:pt x="159" y="231"/>
                    </a:lnTo>
                    <a:lnTo>
                      <a:pt x="154" y="231"/>
                    </a:lnTo>
                    <a:lnTo>
                      <a:pt x="154" y="227"/>
                    </a:lnTo>
                    <a:lnTo>
                      <a:pt x="154" y="222"/>
                    </a:lnTo>
                    <a:lnTo>
                      <a:pt x="154" y="218"/>
                    </a:lnTo>
                    <a:lnTo>
                      <a:pt x="159" y="213"/>
                    </a:lnTo>
                    <a:lnTo>
                      <a:pt x="163" y="209"/>
                    </a:lnTo>
                    <a:lnTo>
                      <a:pt x="163" y="204"/>
                    </a:lnTo>
                    <a:lnTo>
                      <a:pt x="168" y="204"/>
                    </a:lnTo>
                    <a:lnTo>
                      <a:pt x="168" y="200"/>
                    </a:lnTo>
                    <a:lnTo>
                      <a:pt x="168" y="195"/>
                    </a:lnTo>
                    <a:lnTo>
                      <a:pt x="168" y="195"/>
                    </a:lnTo>
                    <a:lnTo>
                      <a:pt x="168" y="191"/>
                    </a:lnTo>
                    <a:lnTo>
                      <a:pt x="168" y="191"/>
                    </a:lnTo>
                    <a:lnTo>
                      <a:pt x="168" y="191"/>
                    </a:lnTo>
                    <a:lnTo>
                      <a:pt x="172" y="186"/>
                    </a:lnTo>
                    <a:lnTo>
                      <a:pt x="177" y="177"/>
                    </a:lnTo>
                    <a:lnTo>
                      <a:pt x="177" y="172"/>
                    </a:lnTo>
                    <a:lnTo>
                      <a:pt x="182" y="172"/>
                    </a:lnTo>
                    <a:lnTo>
                      <a:pt x="182" y="172"/>
                    </a:lnTo>
                    <a:lnTo>
                      <a:pt x="182" y="172"/>
                    </a:lnTo>
                    <a:lnTo>
                      <a:pt x="182" y="177"/>
                    </a:lnTo>
                    <a:moveTo>
                      <a:pt x="132" y="222"/>
                    </a:moveTo>
                    <a:lnTo>
                      <a:pt x="132" y="222"/>
                    </a:lnTo>
                    <a:lnTo>
                      <a:pt x="132" y="227"/>
                    </a:lnTo>
                    <a:lnTo>
                      <a:pt x="132" y="231"/>
                    </a:lnTo>
                    <a:lnTo>
                      <a:pt x="127" y="236"/>
                    </a:lnTo>
                    <a:lnTo>
                      <a:pt x="127" y="240"/>
                    </a:lnTo>
                    <a:lnTo>
                      <a:pt x="123" y="240"/>
                    </a:lnTo>
                    <a:lnTo>
                      <a:pt x="118" y="240"/>
                    </a:lnTo>
                    <a:lnTo>
                      <a:pt x="114" y="240"/>
                    </a:lnTo>
                    <a:lnTo>
                      <a:pt x="109" y="240"/>
                    </a:lnTo>
                    <a:lnTo>
                      <a:pt x="109" y="236"/>
                    </a:lnTo>
                    <a:lnTo>
                      <a:pt x="104" y="236"/>
                    </a:lnTo>
                    <a:lnTo>
                      <a:pt x="104" y="231"/>
                    </a:lnTo>
                    <a:lnTo>
                      <a:pt x="100" y="222"/>
                    </a:lnTo>
                    <a:lnTo>
                      <a:pt x="100" y="222"/>
                    </a:lnTo>
                    <a:lnTo>
                      <a:pt x="100" y="222"/>
                    </a:lnTo>
                    <a:lnTo>
                      <a:pt x="100" y="218"/>
                    </a:lnTo>
                    <a:lnTo>
                      <a:pt x="100" y="218"/>
                    </a:lnTo>
                    <a:lnTo>
                      <a:pt x="109" y="218"/>
                    </a:lnTo>
                    <a:lnTo>
                      <a:pt x="114" y="213"/>
                    </a:lnTo>
                    <a:lnTo>
                      <a:pt x="114" y="213"/>
                    </a:lnTo>
                    <a:lnTo>
                      <a:pt x="118" y="213"/>
                    </a:lnTo>
                    <a:lnTo>
                      <a:pt x="127" y="218"/>
                    </a:lnTo>
                    <a:lnTo>
                      <a:pt x="132" y="222"/>
                    </a:lnTo>
                    <a:moveTo>
                      <a:pt x="86" y="209"/>
                    </a:moveTo>
                    <a:lnTo>
                      <a:pt x="86" y="209"/>
                    </a:lnTo>
                    <a:lnTo>
                      <a:pt x="86" y="213"/>
                    </a:lnTo>
                    <a:lnTo>
                      <a:pt x="82" y="213"/>
                    </a:lnTo>
                    <a:lnTo>
                      <a:pt x="82" y="213"/>
                    </a:lnTo>
                    <a:lnTo>
                      <a:pt x="82" y="209"/>
                    </a:lnTo>
                    <a:lnTo>
                      <a:pt x="82" y="209"/>
                    </a:lnTo>
                    <a:lnTo>
                      <a:pt x="82" y="209"/>
                    </a:lnTo>
                    <a:lnTo>
                      <a:pt x="77" y="209"/>
                    </a:lnTo>
                    <a:lnTo>
                      <a:pt x="77" y="209"/>
                    </a:lnTo>
                    <a:lnTo>
                      <a:pt x="77" y="204"/>
                    </a:lnTo>
                    <a:lnTo>
                      <a:pt x="77" y="204"/>
                    </a:lnTo>
                    <a:lnTo>
                      <a:pt x="77" y="204"/>
                    </a:lnTo>
                    <a:lnTo>
                      <a:pt x="77" y="204"/>
                    </a:lnTo>
                    <a:lnTo>
                      <a:pt x="82" y="204"/>
                    </a:lnTo>
                    <a:lnTo>
                      <a:pt x="82" y="209"/>
                    </a:lnTo>
                    <a:lnTo>
                      <a:pt x="86" y="209"/>
                    </a:lnTo>
                    <a:lnTo>
                      <a:pt x="86" y="20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8" name="Freeform 16"/>
              <p:cNvSpPr>
                <a:spLocks noEditPoints="1"/>
              </p:cNvSpPr>
              <p:nvPr/>
            </p:nvSpPr>
            <p:spPr bwMode="auto">
              <a:xfrm>
                <a:off x="1627188" y="3074988"/>
                <a:ext cx="244475" cy="209550"/>
              </a:xfrm>
              <a:custGeom>
                <a:avLst/>
                <a:gdLst>
                  <a:gd name="T0" fmla="*/ 55 w 154"/>
                  <a:gd name="T1" fmla="*/ 73 h 132"/>
                  <a:gd name="T2" fmla="*/ 50 w 154"/>
                  <a:gd name="T3" fmla="*/ 68 h 132"/>
                  <a:gd name="T4" fmla="*/ 55 w 154"/>
                  <a:gd name="T5" fmla="*/ 64 h 132"/>
                  <a:gd name="T6" fmla="*/ 55 w 154"/>
                  <a:gd name="T7" fmla="*/ 64 h 132"/>
                  <a:gd name="T8" fmla="*/ 32 w 154"/>
                  <a:gd name="T9" fmla="*/ 100 h 132"/>
                  <a:gd name="T10" fmla="*/ 27 w 154"/>
                  <a:gd name="T11" fmla="*/ 104 h 132"/>
                  <a:gd name="T12" fmla="*/ 27 w 154"/>
                  <a:gd name="T13" fmla="*/ 100 h 132"/>
                  <a:gd name="T14" fmla="*/ 46 w 154"/>
                  <a:gd name="T15" fmla="*/ 123 h 132"/>
                  <a:gd name="T16" fmla="*/ 59 w 154"/>
                  <a:gd name="T17" fmla="*/ 123 h 132"/>
                  <a:gd name="T18" fmla="*/ 68 w 154"/>
                  <a:gd name="T19" fmla="*/ 123 h 132"/>
                  <a:gd name="T20" fmla="*/ 91 w 154"/>
                  <a:gd name="T21" fmla="*/ 132 h 132"/>
                  <a:gd name="T22" fmla="*/ 105 w 154"/>
                  <a:gd name="T23" fmla="*/ 132 h 132"/>
                  <a:gd name="T24" fmla="*/ 118 w 154"/>
                  <a:gd name="T25" fmla="*/ 127 h 132"/>
                  <a:gd name="T26" fmla="*/ 118 w 154"/>
                  <a:gd name="T27" fmla="*/ 118 h 132"/>
                  <a:gd name="T28" fmla="*/ 123 w 154"/>
                  <a:gd name="T29" fmla="*/ 109 h 132"/>
                  <a:gd name="T30" fmla="*/ 114 w 154"/>
                  <a:gd name="T31" fmla="*/ 95 h 132"/>
                  <a:gd name="T32" fmla="*/ 118 w 154"/>
                  <a:gd name="T33" fmla="*/ 82 h 132"/>
                  <a:gd name="T34" fmla="*/ 127 w 154"/>
                  <a:gd name="T35" fmla="*/ 77 h 132"/>
                  <a:gd name="T36" fmla="*/ 136 w 154"/>
                  <a:gd name="T37" fmla="*/ 64 h 132"/>
                  <a:gd name="T38" fmla="*/ 145 w 154"/>
                  <a:gd name="T39" fmla="*/ 50 h 132"/>
                  <a:gd name="T40" fmla="*/ 145 w 154"/>
                  <a:gd name="T41" fmla="*/ 36 h 132"/>
                  <a:gd name="T42" fmla="*/ 145 w 154"/>
                  <a:gd name="T43" fmla="*/ 18 h 132"/>
                  <a:gd name="T44" fmla="*/ 127 w 154"/>
                  <a:gd name="T45" fmla="*/ 0 h 132"/>
                  <a:gd name="T46" fmla="*/ 118 w 154"/>
                  <a:gd name="T47" fmla="*/ 5 h 132"/>
                  <a:gd name="T48" fmla="*/ 123 w 154"/>
                  <a:gd name="T49" fmla="*/ 18 h 132"/>
                  <a:gd name="T50" fmla="*/ 100 w 154"/>
                  <a:gd name="T51" fmla="*/ 5 h 132"/>
                  <a:gd name="T52" fmla="*/ 82 w 154"/>
                  <a:gd name="T53" fmla="*/ 5 h 132"/>
                  <a:gd name="T54" fmla="*/ 68 w 154"/>
                  <a:gd name="T55" fmla="*/ 9 h 132"/>
                  <a:gd name="T56" fmla="*/ 68 w 154"/>
                  <a:gd name="T57" fmla="*/ 14 h 132"/>
                  <a:gd name="T58" fmla="*/ 64 w 154"/>
                  <a:gd name="T59" fmla="*/ 27 h 132"/>
                  <a:gd name="T60" fmla="*/ 77 w 154"/>
                  <a:gd name="T61" fmla="*/ 46 h 132"/>
                  <a:gd name="T62" fmla="*/ 73 w 154"/>
                  <a:gd name="T63" fmla="*/ 50 h 132"/>
                  <a:gd name="T64" fmla="*/ 73 w 154"/>
                  <a:gd name="T65" fmla="*/ 55 h 132"/>
                  <a:gd name="T66" fmla="*/ 55 w 154"/>
                  <a:gd name="T67" fmla="*/ 64 h 132"/>
                  <a:gd name="T68" fmla="*/ 77 w 154"/>
                  <a:gd name="T69" fmla="*/ 68 h 132"/>
                  <a:gd name="T70" fmla="*/ 68 w 154"/>
                  <a:gd name="T71" fmla="*/ 77 h 132"/>
                  <a:gd name="T72" fmla="*/ 64 w 154"/>
                  <a:gd name="T73" fmla="*/ 91 h 132"/>
                  <a:gd name="T74" fmla="*/ 55 w 154"/>
                  <a:gd name="T75" fmla="*/ 95 h 132"/>
                  <a:gd name="T76" fmla="*/ 55 w 154"/>
                  <a:gd name="T77" fmla="*/ 104 h 132"/>
                  <a:gd name="T78" fmla="*/ 41 w 154"/>
                  <a:gd name="T79" fmla="*/ 118 h 132"/>
                  <a:gd name="T80" fmla="*/ 41 w 154"/>
                  <a:gd name="T81" fmla="*/ 118 h 132"/>
                  <a:gd name="T82" fmla="*/ 41 w 154"/>
                  <a:gd name="T83" fmla="*/ 86 h 132"/>
                  <a:gd name="T84" fmla="*/ 27 w 154"/>
                  <a:gd name="T85" fmla="*/ 82 h 132"/>
                  <a:gd name="T86" fmla="*/ 37 w 154"/>
                  <a:gd name="T87" fmla="*/ 77 h 132"/>
                  <a:gd name="T88" fmla="*/ 46 w 154"/>
                  <a:gd name="T89" fmla="*/ 73 h 132"/>
                  <a:gd name="T90" fmla="*/ 59 w 154"/>
                  <a:gd name="T91" fmla="*/ 77 h 132"/>
                  <a:gd name="T92" fmla="*/ 14 w 154"/>
                  <a:gd name="T93" fmla="*/ 114 h 132"/>
                  <a:gd name="T94" fmla="*/ 18 w 154"/>
                  <a:gd name="T95" fmla="*/ 109 h 132"/>
                  <a:gd name="T96" fmla="*/ 18 w 154"/>
                  <a:gd name="T97" fmla="*/ 118 h 132"/>
                  <a:gd name="T98" fmla="*/ 14 w 154"/>
                  <a:gd name="T99" fmla="*/ 114 h 132"/>
                  <a:gd name="T100" fmla="*/ 9 w 154"/>
                  <a:gd name="T101" fmla="*/ 109 h 132"/>
                  <a:gd name="T102" fmla="*/ 5 w 154"/>
                  <a:gd name="T103" fmla="*/ 104 h 132"/>
                  <a:gd name="T104" fmla="*/ 0 w 154"/>
                  <a:gd name="T105" fmla="*/ 100 h 132"/>
                  <a:gd name="T106" fmla="*/ 9 w 154"/>
                  <a:gd name="T107" fmla="*/ 95 h 132"/>
                  <a:gd name="T108" fmla="*/ 0 w 154"/>
                  <a:gd name="T109" fmla="*/ 91 h 132"/>
                  <a:gd name="T110" fmla="*/ 5 w 154"/>
                  <a:gd name="T111" fmla="*/ 82 h 132"/>
                  <a:gd name="T112" fmla="*/ 5 w 154"/>
                  <a:gd name="T113" fmla="*/ 68 h 132"/>
                  <a:gd name="T114" fmla="*/ 14 w 154"/>
                  <a:gd name="T115" fmla="*/ 68 h 132"/>
                  <a:gd name="T116" fmla="*/ 27 w 154"/>
                  <a:gd name="T117" fmla="*/ 77 h 132"/>
                  <a:gd name="T118" fmla="*/ 27 w 154"/>
                  <a:gd name="T119" fmla="*/ 95 h 132"/>
                  <a:gd name="T120" fmla="*/ 18 w 154"/>
                  <a:gd name="T121" fmla="*/ 10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4" h="132">
                    <a:moveTo>
                      <a:pt x="55" y="64"/>
                    </a:moveTo>
                    <a:lnTo>
                      <a:pt x="55" y="64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5" y="73"/>
                    </a:lnTo>
                    <a:lnTo>
                      <a:pt x="55" y="73"/>
                    </a:lnTo>
                    <a:lnTo>
                      <a:pt x="55" y="73"/>
                    </a:lnTo>
                    <a:lnTo>
                      <a:pt x="55" y="73"/>
                    </a:lnTo>
                    <a:lnTo>
                      <a:pt x="55" y="73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5" y="64"/>
                    </a:lnTo>
                    <a:lnTo>
                      <a:pt x="55" y="64"/>
                    </a:lnTo>
                    <a:lnTo>
                      <a:pt x="55" y="64"/>
                    </a:lnTo>
                    <a:lnTo>
                      <a:pt x="55" y="64"/>
                    </a:lnTo>
                    <a:lnTo>
                      <a:pt x="55" y="64"/>
                    </a:lnTo>
                    <a:lnTo>
                      <a:pt x="55" y="64"/>
                    </a:lnTo>
                    <a:lnTo>
                      <a:pt x="55" y="64"/>
                    </a:lnTo>
                    <a:lnTo>
                      <a:pt x="55" y="64"/>
                    </a:lnTo>
                    <a:lnTo>
                      <a:pt x="55" y="64"/>
                    </a:lnTo>
                    <a:lnTo>
                      <a:pt x="55" y="64"/>
                    </a:lnTo>
                    <a:lnTo>
                      <a:pt x="55" y="64"/>
                    </a:lnTo>
                    <a:moveTo>
                      <a:pt x="32" y="100"/>
                    </a:moveTo>
                    <a:lnTo>
                      <a:pt x="32" y="100"/>
                    </a:lnTo>
                    <a:lnTo>
                      <a:pt x="32" y="100"/>
                    </a:lnTo>
                    <a:lnTo>
                      <a:pt x="32" y="100"/>
                    </a:lnTo>
                    <a:lnTo>
                      <a:pt x="32" y="104"/>
                    </a:lnTo>
                    <a:lnTo>
                      <a:pt x="27" y="104"/>
                    </a:lnTo>
                    <a:lnTo>
                      <a:pt x="27" y="104"/>
                    </a:lnTo>
                    <a:lnTo>
                      <a:pt x="27" y="104"/>
                    </a:lnTo>
                    <a:lnTo>
                      <a:pt x="27" y="104"/>
                    </a:lnTo>
                    <a:lnTo>
                      <a:pt x="27" y="104"/>
                    </a:lnTo>
                    <a:lnTo>
                      <a:pt x="27" y="104"/>
                    </a:lnTo>
                    <a:lnTo>
                      <a:pt x="27" y="100"/>
                    </a:lnTo>
                    <a:lnTo>
                      <a:pt x="27" y="100"/>
                    </a:lnTo>
                    <a:lnTo>
                      <a:pt x="27" y="100"/>
                    </a:lnTo>
                    <a:lnTo>
                      <a:pt x="27" y="100"/>
                    </a:lnTo>
                    <a:lnTo>
                      <a:pt x="27" y="100"/>
                    </a:lnTo>
                    <a:lnTo>
                      <a:pt x="27" y="100"/>
                    </a:lnTo>
                    <a:lnTo>
                      <a:pt x="32" y="100"/>
                    </a:lnTo>
                    <a:lnTo>
                      <a:pt x="32" y="100"/>
                    </a:lnTo>
                    <a:moveTo>
                      <a:pt x="41" y="118"/>
                    </a:moveTo>
                    <a:lnTo>
                      <a:pt x="41" y="118"/>
                    </a:lnTo>
                    <a:lnTo>
                      <a:pt x="46" y="123"/>
                    </a:lnTo>
                    <a:lnTo>
                      <a:pt x="46" y="123"/>
                    </a:lnTo>
                    <a:lnTo>
                      <a:pt x="46" y="123"/>
                    </a:lnTo>
                    <a:lnTo>
                      <a:pt x="46" y="123"/>
                    </a:lnTo>
                    <a:lnTo>
                      <a:pt x="50" y="123"/>
                    </a:lnTo>
                    <a:lnTo>
                      <a:pt x="55" y="123"/>
                    </a:lnTo>
                    <a:lnTo>
                      <a:pt x="59" y="123"/>
                    </a:lnTo>
                    <a:lnTo>
                      <a:pt x="59" y="123"/>
                    </a:lnTo>
                    <a:lnTo>
                      <a:pt x="64" y="123"/>
                    </a:lnTo>
                    <a:lnTo>
                      <a:pt x="64" y="123"/>
                    </a:lnTo>
                    <a:lnTo>
                      <a:pt x="64" y="123"/>
                    </a:lnTo>
                    <a:lnTo>
                      <a:pt x="68" y="123"/>
                    </a:lnTo>
                    <a:lnTo>
                      <a:pt x="68" y="123"/>
                    </a:lnTo>
                    <a:lnTo>
                      <a:pt x="77" y="127"/>
                    </a:lnTo>
                    <a:lnTo>
                      <a:pt x="77" y="132"/>
                    </a:lnTo>
                    <a:lnTo>
                      <a:pt x="82" y="132"/>
                    </a:lnTo>
                    <a:lnTo>
                      <a:pt x="91" y="132"/>
                    </a:lnTo>
                    <a:lnTo>
                      <a:pt x="91" y="132"/>
                    </a:lnTo>
                    <a:lnTo>
                      <a:pt x="91" y="132"/>
                    </a:lnTo>
                    <a:lnTo>
                      <a:pt x="95" y="132"/>
                    </a:lnTo>
                    <a:lnTo>
                      <a:pt x="100" y="132"/>
                    </a:lnTo>
                    <a:lnTo>
                      <a:pt x="100" y="132"/>
                    </a:lnTo>
                    <a:lnTo>
                      <a:pt x="100" y="132"/>
                    </a:lnTo>
                    <a:lnTo>
                      <a:pt x="105" y="132"/>
                    </a:lnTo>
                    <a:lnTo>
                      <a:pt x="105" y="132"/>
                    </a:lnTo>
                    <a:lnTo>
                      <a:pt x="109" y="132"/>
                    </a:lnTo>
                    <a:lnTo>
                      <a:pt x="109" y="127"/>
                    </a:lnTo>
                    <a:lnTo>
                      <a:pt x="109" y="127"/>
                    </a:lnTo>
                    <a:lnTo>
                      <a:pt x="114" y="127"/>
                    </a:lnTo>
                    <a:lnTo>
                      <a:pt x="118" y="127"/>
                    </a:lnTo>
                    <a:lnTo>
                      <a:pt x="118" y="127"/>
                    </a:lnTo>
                    <a:lnTo>
                      <a:pt x="118" y="127"/>
                    </a:lnTo>
                    <a:lnTo>
                      <a:pt x="123" y="127"/>
                    </a:lnTo>
                    <a:lnTo>
                      <a:pt x="118" y="127"/>
                    </a:lnTo>
                    <a:lnTo>
                      <a:pt x="118" y="123"/>
                    </a:lnTo>
                    <a:lnTo>
                      <a:pt x="118" y="118"/>
                    </a:lnTo>
                    <a:lnTo>
                      <a:pt x="118" y="118"/>
                    </a:lnTo>
                    <a:lnTo>
                      <a:pt x="118" y="118"/>
                    </a:lnTo>
                    <a:lnTo>
                      <a:pt x="118" y="114"/>
                    </a:lnTo>
                    <a:lnTo>
                      <a:pt x="123" y="114"/>
                    </a:lnTo>
                    <a:lnTo>
                      <a:pt x="123" y="109"/>
                    </a:lnTo>
                    <a:lnTo>
                      <a:pt x="123" y="109"/>
                    </a:lnTo>
                    <a:lnTo>
                      <a:pt x="123" y="109"/>
                    </a:lnTo>
                    <a:lnTo>
                      <a:pt x="123" y="104"/>
                    </a:lnTo>
                    <a:lnTo>
                      <a:pt x="123" y="104"/>
                    </a:lnTo>
                    <a:lnTo>
                      <a:pt x="118" y="100"/>
                    </a:lnTo>
                    <a:lnTo>
                      <a:pt x="118" y="100"/>
                    </a:lnTo>
                    <a:lnTo>
                      <a:pt x="118" y="95"/>
                    </a:lnTo>
                    <a:lnTo>
                      <a:pt x="114" y="95"/>
                    </a:lnTo>
                    <a:lnTo>
                      <a:pt x="114" y="91"/>
                    </a:lnTo>
                    <a:lnTo>
                      <a:pt x="114" y="91"/>
                    </a:lnTo>
                    <a:lnTo>
                      <a:pt x="114" y="91"/>
                    </a:lnTo>
                    <a:lnTo>
                      <a:pt x="114" y="86"/>
                    </a:lnTo>
                    <a:lnTo>
                      <a:pt x="114" y="86"/>
                    </a:lnTo>
                    <a:lnTo>
                      <a:pt x="118" y="82"/>
                    </a:lnTo>
                    <a:lnTo>
                      <a:pt x="118" y="77"/>
                    </a:lnTo>
                    <a:lnTo>
                      <a:pt x="123" y="77"/>
                    </a:lnTo>
                    <a:lnTo>
                      <a:pt x="123" y="77"/>
                    </a:lnTo>
                    <a:lnTo>
                      <a:pt x="123" y="77"/>
                    </a:lnTo>
                    <a:lnTo>
                      <a:pt x="127" y="77"/>
                    </a:lnTo>
                    <a:lnTo>
                      <a:pt x="127" y="77"/>
                    </a:lnTo>
                    <a:lnTo>
                      <a:pt x="127" y="77"/>
                    </a:lnTo>
                    <a:lnTo>
                      <a:pt x="127" y="73"/>
                    </a:lnTo>
                    <a:lnTo>
                      <a:pt x="127" y="68"/>
                    </a:lnTo>
                    <a:lnTo>
                      <a:pt x="132" y="68"/>
                    </a:lnTo>
                    <a:lnTo>
                      <a:pt x="132" y="68"/>
                    </a:lnTo>
                    <a:lnTo>
                      <a:pt x="136" y="64"/>
                    </a:lnTo>
                    <a:lnTo>
                      <a:pt x="136" y="64"/>
                    </a:lnTo>
                    <a:lnTo>
                      <a:pt x="136" y="59"/>
                    </a:lnTo>
                    <a:lnTo>
                      <a:pt x="141" y="59"/>
                    </a:lnTo>
                    <a:lnTo>
                      <a:pt x="141" y="55"/>
                    </a:lnTo>
                    <a:lnTo>
                      <a:pt x="145" y="55"/>
                    </a:lnTo>
                    <a:lnTo>
                      <a:pt x="145" y="50"/>
                    </a:lnTo>
                    <a:lnTo>
                      <a:pt x="145" y="50"/>
                    </a:lnTo>
                    <a:lnTo>
                      <a:pt x="150" y="50"/>
                    </a:lnTo>
                    <a:lnTo>
                      <a:pt x="154" y="50"/>
                    </a:lnTo>
                    <a:lnTo>
                      <a:pt x="150" y="41"/>
                    </a:lnTo>
                    <a:lnTo>
                      <a:pt x="145" y="36"/>
                    </a:lnTo>
                    <a:lnTo>
                      <a:pt x="145" y="36"/>
                    </a:lnTo>
                    <a:lnTo>
                      <a:pt x="145" y="32"/>
                    </a:lnTo>
                    <a:lnTo>
                      <a:pt x="145" y="32"/>
                    </a:lnTo>
                    <a:lnTo>
                      <a:pt x="145" y="27"/>
                    </a:lnTo>
                    <a:lnTo>
                      <a:pt x="145" y="23"/>
                    </a:lnTo>
                    <a:lnTo>
                      <a:pt x="145" y="23"/>
                    </a:lnTo>
                    <a:lnTo>
                      <a:pt x="145" y="18"/>
                    </a:lnTo>
                    <a:lnTo>
                      <a:pt x="141" y="18"/>
                    </a:lnTo>
                    <a:lnTo>
                      <a:pt x="141" y="14"/>
                    </a:lnTo>
                    <a:lnTo>
                      <a:pt x="136" y="9"/>
                    </a:lnTo>
                    <a:lnTo>
                      <a:pt x="136" y="5"/>
                    </a:lnTo>
                    <a:lnTo>
                      <a:pt x="132" y="5"/>
                    </a:lnTo>
                    <a:lnTo>
                      <a:pt x="127" y="0"/>
                    </a:lnTo>
                    <a:lnTo>
                      <a:pt x="127" y="0"/>
                    </a:lnTo>
                    <a:lnTo>
                      <a:pt x="127" y="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118" y="5"/>
                    </a:lnTo>
                    <a:lnTo>
                      <a:pt x="118" y="5"/>
                    </a:lnTo>
                    <a:lnTo>
                      <a:pt x="118" y="5"/>
                    </a:lnTo>
                    <a:lnTo>
                      <a:pt x="123" y="9"/>
                    </a:lnTo>
                    <a:lnTo>
                      <a:pt x="123" y="9"/>
                    </a:lnTo>
                    <a:lnTo>
                      <a:pt x="123" y="14"/>
                    </a:lnTo>
                    <a:lnTo>
                      <a:pt x="123" y="14"/>
                    </a:lnTo>
                    <a:lnTo>
                      <a:pt x="123" y="18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14" y="18"/>
                    </a:lnTo>
                    <a:lnTo>
                      <a:pt x="109" y="14"/>
                    </a:lnTo>
                    <a:lnTo>
                      <a:pt x="105" y="9"/>
                    </a:lnTo>
                    <a:lnTo>
                      <a:pt x="100" y="5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77" y="5"/>
                    </a:lnTo>
                    <a:lnTo>
                      <a:pt x="73" y="5"/>
                    </a:lnTo>
                    <a:lnTo>
                      <a:pt x="73" y="5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4" y="14"/>
                    </a:lnTo>
                    <a:lnTo>
                      <a:pt x="59" y="14"/>
                    </a:lnTo>
                    <a:lnTo>
                      <a:pt x="59" y="18"/>
                    </a:lnTo>
                    <a:lnTo>
                      <a:pt x="59" y="23"/>
                    </a:lnTo>
                    <a:lnTo>
                      <a:pt x="59" y="23"/>
                    </a:lnTo>
                    <a:lnTo>
                      <a:pt x="64" y="27"/>
                    </a:lnTo>
                    <a:lnTo>
                      <a:pt x="68" y="32"/>
                    </a:lnTo>
                    <a:lnTo>
                      <a:pt x="73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6"/>
                    </a:lnTo>
                    <a:lnTo>
                      <a:pt x="77" y="46"/>
                    </a:lnTo>
                    <a:lnTo>
                      <a:pt x="77" y="46"/>
                    </a:lnTo>
                    <a:lnTo>
                      <a:pt x="73" y="46"/>
                    </a:lnTo>
                    <a:lnTo>
                      <a:pt x="73" y="46"/>
                    </a:lnTo>
                    <a:lnTo>
                      <a:pt x="73" y="50"/>
                    </a:lnTo>
                    <a:lnTo>
                      <a:pt x="73" y="50"/>
                    </a:lnTo>
                    <a:lnTo>
                      <a:pt x="73" y="50"/>
                    </a:lnTo>
                    <a:lnTo>
                      <a:pt x="77" y="55"/>
                    </a:lnTo>
                    <a:lnTo>
                      <a:pt x="77" y="55"/>
                    </a:lnTo>
                    <a:lnTo>
                      <a:pt x="77" y="55"/>
                    </a:lnTo>
                    <a:lnTo>
                      <a:pt x="77" y="55"/>
                    </a:lnTo>
                    <a:lnTo>
                      <a:pt x="73" y="55"/>
                    </a:lnTo>
                    <a:lnTo>
                      <a:pt x="73" y="55"/>
                    </a:lnTo>
                    <a:lnTo>
                      <a:pt x="73" y="55"/>
                    </a:lnTo>
                    <a:lnTo>
                      <a:pt x="68" y="55"/>
                    </a:lnTo>
                    <a:lnTo>
                      <a:pt x="68" y="55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5" y="64"/>
                    </a:lnTo>
                    <a:lnTo>
                      <a:pt x="59" y="64"/>
                    </a:lnTo>
                    <a:lnTo>
                      <a:pt x="59" y="64"/>
                    </a:lnTo>
                    <a:lnTo>
                      <a:pt x="77" y="59"/>
                    </a:lnTo>
                    <a:lnTo>
                      <a:pt x="82" y="64"/>
                    </a:lnTo>
                    <a:lnTo>
                      <a:pt x="77" y="64"/>
                    </a:lnTo>
                    <a:lnTo>
                      <a:pt x="77" y="68"/>
                    </a:lnTo>
                    <a:lnTo>
                      <a:pt x="68" y="73"/>
                    </a:lnTo>
                    <a:lnTo>
                      <a:pt x="68" y="73"/>
                    </a:lnTo>
                    <a:lnTo>
                      <a:pt x="68" y="73"/>
                    </a:lnTo>
                    <a:lnTo>
                      <a:pt x="73" y="77"/>
                    </a:lnTo>
                    <a:lnTo>
                      <a:pt x="73" y="77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4" y="91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59" y="95"/>
                    </a:lnTo>
                    <a:lnTo>
                      <a:pt x="59" y="100"/>
                    </a:lnTo>
                    <a:lnTo>
                      <a:pt x="59" y="100"/>
                    </a:lnTo>
                    <a:lnTo>
                      <a:pt x="55" y="95"/>
                    </a:lnTo>
                    <a:lnTo>
                      <a:pt x="55" y="95"/>
                    </a:lnTo>
                    <a:lnTo>
                      <a:pt x="55" y="100"/>
                    </a:lnTo>
                    <a:lnTo>
                      <a:pt x="55" y="100"/>
                    </a:lnTo>
                    <a:lnTo>
                      <a:pt x="55" y="100"/>
                    </a:lnTo>
                    <a:lnTo>
                      <a:pt x="55" y="100"/>
                    </a:lnTo>
                    <a:lnTo>
                      <a:pt x="55" y="104"/>
                    </a:lnTo>
                    <a:lnTo>
                      <a:pt x="50" y="104"/>
                    </a:lnTo>
                    <a:lnTo>
                      <a:pt x="50" y="104"/>
                    </a:lnTo>
                    <a:lnTo>
                      <a:pt x="50" y="109"/>
                    </a:lnTo>
                    <a:lnTo>
                      <a:pt x="41" y="114"/>
                    </a:lnTo>
                    <a:lnTo>
                      <a:pt x="41" y="114"/>
                    </a:lnTo>
                    <a:lnTo>
                      <a:pt x="41" y="118"/>
                    </a:lnTo>
                    <a:lnTo>
                      <a:pt x="41" y="118"/>
                    </a:lnTo>
                    <a:lnTo>
                      <a:pt x="41" y="118"/>
                    </a:lnTo>
                    <a:lnTo>
                      <a:pt x="41" y="118"/>
                    </a:lnTo>
                    <a:lnTo>
                      <a:pt x="41" y="118"/>
                    </a:lnTo>
                    <a:lnTo>
                      <a:pt x="41" y="118"/>
                    </a:lnTo>
                    <a:lnTo>
                      <a:pt x="41" y="118"/>
                    </a:lnTo>
                    <a:moveTo>
                      <a:pt x="46" y="91"/>
                    </a:moveTo>
                    <a:lnTo>
                      <a:pt x="46" y="91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37" y="86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77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7" y="77"/>
                    </a:lnTo>
                    <a:lnTo>
                      <a:pt x="37" y="77"/>
                    </a:lnTo>
                    <a:lnTo>
                      <a:pt x="41" y="73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50" y="73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5" y="73"/>
                    </a:lnTo>
                    <a:lnTo>
                      <a:pt x="55" y="73"/>
                    </a:lnTo>
                    <a:lnTo>
                      <a:pt x="59" y="77"/>
                    </a:lnTo>
                    <a:lnTo>
                      <a:pt x="55" y="77"/>
                    </a:lnTo>
                    <a:lnTo>
                      <a:pt x="46" y="91"/>
                    </a:lnTo>
                    <a:lnTo>
                      <a:pt x="46" y="91"/>
                    </a:lnTo>
                    <a:lnTo>
                      <a:pt x="46" y="91"/>
                    </a:lnTo>
                    <a:lnTo>
                      <a:pt x="46" y="91"/>
                    </a:lnTo>
                    <a:moveTo>
                      <a:pt x="14" y="114"/>
                    </a:moveTo>
                    <a:lnTo>
                      <a:pt x="14" y="114"/>
                    </a:lnTo>
                    <a:lnTo>
                      <a:pt x="14" y="114"/>
                    </a:lnTo>
                    <a:lnTo>
                      <a:pt x="14" y="109"/>
                    </a:lnTo>
                    <a:lnTo>
                      <a:pt x="14" y="109"/>
                    </a:lnTo>
                    <a:lnTo>
                      <a:pt x="14" y="109"/>
                    </a:lnTo>
                    <a:lnTo>
                      <a:pt x="18" y="109"/>
                    </a:lnTo>
                    <a:lnTo>
                      <a:pt x="18" y="109"/>
                    </a:lnTo>
                    <a:lnTo>
                      <a:pt x="23" y="109"/>
                    </a:lnTo>
                    <a:lnTo>
                      <a:pt x="23" y="109"/>
                    </a:lnTo>
                    <a:lnTo>
                      <a:pt x="23" y="114"/>
                    </a:lnTo>
                    <a:lnTo>
                      <a:pt x="23" y="114"/>
                    </a:lnTo>
                    <a:lnTo>
                      <a:pt x="18" y="118"/>
                    </a:lnTo>
                    <a:lnTo>
                      <a:pt x="18" y="123"/>
                    </a:lnTo>
                    <a:lnTo>
                      <a:pt x="18" y="123"/>
                    </a:lnTo>
                    <a:lnTo>
                      <a:pt x="14" y="118"/>
                    </a:lnTo>
                    <a:lnTo>
                      <a:pt x="14" y="118"/>
                    </a:lnTo>
                    <a:lnTo>
                      <a:pt x="18" y="118"/>
                    </a:lnTo>
                    <a:lnTo>
                      <a:pt x="14" y="114"/>
                    </a:lnTo>
                    <a:moveTo>
                      <a:pt x="18" y="100"/>
                    </a:moveTo>
                    <a:lnTo>
                      <a:pt x="18" y="100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9" y="104"/>
                    </a:lnTo>
                    <a:lnTo>
                      <a:pt x="9" y="109"/>
                    </a:lnTo>
                    <a:lnTo>
                      <a:pt x="5" y="109"/>
                    </a:lnTo>
                    <a:lnTo>
                      <a:pt x="5" y="109"/>
                    </a:lnTo>
                    <a:lnTo>
                      <a:pt x="0" y="109"/>
                    </a:lnTo>
                    <a:lnTo>
                      <a:pt x="0" y="109"/>
                    </a:lnTo>
                    <a:lnTo>
                      <a:pt x="5" y="100"/>
                    </a:lnTo>
                    <a:lnTo>
                      <a:pt x="5" y="104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5" y="95"/>
                    </a:lnTo>
                    <a:lnTo>
                      <a:pt x="5" y="95"/>
                    </a:lnTo>
                    <a:lnTo>
                      <a:pt x="5" y="95"/>
                    </a:lnTo>
                    <a:lnTo>
                      <a:pt x="9" y="95"/>
                    </a:lnTo>
                    <a:lnTo>
                      <a:pt x="9" y="95"/>
                    </a:lnTo>
                    <a:lnTo>
                      <a:pt x="9" y="95"/>
                    </a:lnTo>
                    <a:lnTo>
                      <a:pt x="9" y="95"/>
                    </a:lnTo>
                    <a:lnTo>
                      <a:pt x="9" y="95"/>
                    </a:lnTo>
                    <a:lnTo>
                      <a:pt x="5" y="95"/>
                    </a:lnTo>
                    <a:lnTo>
                      <a:pt x="5" y="95"/>
                    </a:lnTo>
                    <a:lnTo>
                      <a:pt x="5" y="95"/>
                    </a:lnTo>
                    <a:lnTo>
                      <a:pt x="0" y="91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5" y="86"/>
                    </a:lnTo>
                    <a:lnTo>
                      <a:pt x="5" y="86"/>
                    </a:lnTo>
                    <a:lnTo>
                      <a:pt x="5" y="82"/>
                    </a:lnTo>
                    <a:lnTo>
                      <a:pt x="5" y="82"/>
                    </a:lnTo>
                    <a:lnTo>
                      <a:pt x="5" y="77"/>
                    </a:lnTo>
                    <a:lnTo>
                      <a:pt x="9" y="77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5" y="68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3" y="68"/>
                    </a:lnTo>
                    <a:lnTo>
                      <a:pt x="23" y="68"/>
                    </a:lnTo>
                    <a:lnTo>
                      <a:pt x="27" y="73"/>
                    </a:lnTo>
                    <a:lnTo>
                      <a:pt x="27" y="77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7" y="91"/>
                    </a:lnTo>
                    <a:lnTo>
                      <a:pt x="27" y="91"/>
                    </a:lnTo>
                    <a:lnTo>
                      <a:pt x="27" y="95"/>
                    </a:lnTo>
                    <a:lnTo>
                      <a:pt x="27" y="95"/>
                    </a:lnTo>
                    <a:lnTo>
                      <a:pt x="23" y="95"/>
                    </a:lnTo>
                    <a:lnTo>
                      <a:pt x="23" y="95"/>
                    </a:lnTo>
                    <a:lnTo>
                      <a:pt x="23" y="95"/>
                    </a:lnTo>
                    <a:lnTo>
                      <a:pt x="18" y="95"/>
                    </a:lnTo>
                    <a:lnTo>
                      <a:pt x="18" y="100"/>
                    </a:lnTo>
                    <a:lnTo>
                      <a:pt x="18" y="10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9" name="Freeform 17"/>
              <p:cNvSpPr>
                <a:spLocks/>
              </p:cNvSpPr>
              <p:nvPr/>
            </p:nvSpPr>
            <p:spPr bwMode="auto">
              <a:xfrm>
                <a:off x="1749426" y="3154363"/>
                <a:ext cx="215900" cy="287337"/>
              </a:xfrm>
              <a:custGeom>
                <a:avLst/>
                <a:gdLst>
                  <a:gd name="T0" fmla="*/ 136 w 136"/>
                  <a:gd name="T1" fmla="*/ 18 h 181"/>
                  <a:gd name="T2" fmla="*/ 136 w 136"/>
                  <a:gd name="T3" fmla="*/ 18 h 181"/>
                  <a:gd name="T4" fmla="*/ 132 w 136"/>
                  <a:gd name="T5" fmla="*/ 23 h 181"/>
                  <a:gd name="T6" fmla="*/ 127 w 136"/>
                  <a:gd name="T7" fmla="*/ 23 h 181"/>
                  <a:gd name="T8" fmla="*/ 123 w 136"/>
                  <a:gd name="T9" fmla="*/ 27 h 181"/>
                  <a:gd name="T10" fmla="*/ 123 w 136"/>
                  <a:gd name="T11" fmla="*/ 32 h 181"/>
                  <a:gd name="T12" fmla="*/ 114 w 136"/>
                  <a:gd name="T13" fmla="*/ 32 h 181"/>
                  <a:gd name="T14" fmla="*/ 114 w 136"/>
                  <a:gd name="T15" fmla="*/ 41 h 181"/>
                  <a:gd name="T16" fmla="*/ 118 w 136"/>
                  <a:gd name="T17" fmla="*/ 45 h 181"/>
                  <a:gd name="T18" fmla="*/ 109 w 136"/>
                  <a:gd name="T19" fmla="*/ 50 h 181"/>
                  <a:gd name="T20" fmla="*/ 109 w 136"/>
                  <a:gd name="T21" fmla="*/ 54 h 181"/>
                  <a:gd name="T22" fmla="*/ 105 w 136"/>
                  <a:gd name="T23" fmla="*/ 64 h 181"/>
                  <a:gd name="T24" fmla="*/ 100 w 136"/>
                  <a:gd name="T25" fmla="*/ 68 h 181"/>
                  <a:gd name="T26" fmla="*/ 91 w 136"/>
                  <a:gd name="T27" fmla="*/ 86 h 181"/>
                  <a:gd name="T28" fmla="*/ 82 w 136"/>
                  <a:gd name="T29" fmla="*/ 113 h 181"/>
                  <a:gd name="T30" fmla="*/ 82 w 136"/>
                  <a:gd name="T31" fmla="*/ 123 h 181"/>
                  <a:gd name="T32" fmla="*/ 82 w 136"/>
                  <a:gd name="T33" fmla="*/ 132 h 181"/>
                  <a:gd name="T34" fmla="*/ 77 w 136"/>
                  <a:gd name="T35" fmla="*/ 154 h 181"/>
                  <a:gd name="T36" fmla="*/ 73 w 136"/>
                  <a:gd name="T37" fmla="*/ 159 h 181"/>
                  <a:gd name="T38" fmla="*/ 73 w 136"/>
                  <a:gd name="T39" fmla="*/ 163 h 181"/>
                  <a:gd name="T40" fmla="*/ 68 w 136"/>
                  <a:gd name="T41" fmla="*/ 168 h 181"/>
                  <a:gd name="T42" fmla="*/ 64 w 136"/>
                  <a:gd name="T43" fmla="*/ 177 h 181"/>
                  <a:gd name="T44" fmla="*/ 64 w 136"/>
                  <a:gd name="T45" fmla="*/ 181 h 181"/>
                  <a:gd name="T46" fmla="*/ 64 w 136"/>
                  <a:gd name="T47" fmla="*/ 177 h 181"/>
                  <a:gd name="T48" fmla="*/ 55 w 136"/>
                  <a:gd name="T49" fmla="*/ 177 h 181"/>
                  <a:gd name="T50" fmla="*/ 55 w 136"/>
                  <a:gd name="T51" fmla="*/ 172 h 181"/>
                  <a:gd name="T52" fmla="*/ 50 w 136"/>
                  <a:gd name="T53" fmla="*/ 168 h 181"/>
                  <a:gd name="T54" fmla="*/ 46 w 136"/>
                  <a:gd name="T55" fmla="*/ 163 h 181"/>
                  <a:gd name="T56" fmla="*/ 50 w 136"/>
                  <a:gd name="T57" fmla="*/ 159 h 181"/>
                  <a:gd name="T58" fmla="*/ 50 w 136"/>
                  <a:gd name="T59" fmla="*/ 150 h 181"/>
                  <a:gd name="T60" fmla="*/ 41 w 136"/>
                  <a:gd name="T61" fmla="*/ 145 h 181"/>
                  <a:gd name="T62" fmla="*/ 32 w 136"/>
                  <a:gd name="T63" fmla="*/ 141 h 181"/>
                  <a:gd name="T64" fmla="*/ 32 w 136"/>
                  <a:gd name="T65" fmla="*/ 136 h 181"/>
                  <a:gd name="T66" fmla="*/ 28 w 136"/>
                  <a:gd name="T67" fmla="*/ 127 h 181"/>
                  <a:gd name="T68" fmla="*/ 18 w 136"/>
                  <a:gd name="T69" fmla="*/ 118 h 181"/>
                  <a:gd name="T70" fmla="*/ 14 w 136"/>
                  <a:gd name="T71" fmla="*/ 104 h 181"/>
                  <a:gd name="T72" fmla="*/ 0 w 136"/>
                  <a:gd name="T73" fmla="*/ 86 h 181"/>
                  <a:gd name="T74" fmla="*/ 5 w 136"/>
                  <a:gd name="T75" fmla="*/ 82 h 181"/>
                  <a:gd name="T76" fmla="*/ 18 w 136"/>
                  <a:gd name="T77" fmla="*/ 82 h 181"/>
                  <a:gd name="T78" fmla="*/ 28 w 136"/>
                  <a:gd name="T79" fmla="*/ 82 h 181"/>
                  <a:gd name="T80" fmla="*/ 32 w 136"/>
                  <a:gd name="T81" fmla="*/ 77 h 181"/>
                  <a:gd name="T82" fmla="*/ 41 w 136"/>
                  <a:gd name="T83" fmla="*/ 77 h 181"/>
                  <a:gd name="T84" fmla="*/ 41 w 136"/>
                  <a:gd name="T85" fmla="*/ 68 h 181"/>
                  <a:gd name="T86" fmla="*/ 46 w 136"/>
                  <a:gd name="T87" fmla="*/ 64 h 181"/>
                  <a:gd name="T88" fmla="*/ 46 w 136"/>
                  <a:gd name="T89" fmla="*/ 54 h 181"/>
                  <a:gd name="T90" fmla="*/ 41 w 136"/>
                  <a:gd name="T91" fmla="*/ 45 h 181"/>
                  <a:gd name="T92" fmla="*/ 37 w 136"/>
                  <a:gd name="T93" fmla="*/ 41 h 181"/>
                  <a:gd name="T94" fmla="*/ 41 w 136"/>
                  <a:gd name="T95" fmla="*/ 27 h 181"/>
                  <a:gd name="T96" fmla="*/ 50 w 136"/>
                  <a:gd name="T97" fmla="*/ 27 h 181"/>
                  <a:gd name="T98" fmla="*/ 50 w 136"/>
                  <a:gd name="T99" fmla="*/ 18 h 181"/>
                  <a:gd name="T100" fmla="*/ 59 w 136"/>
                  <a:gd name="T101" fmla="*/ 14 h 181"/>
                  <a:gd name="T102" fmla="*/ 68 w 136"/>
                  <a:gd name="T103" fmla="*/ 5 h 181"/>
                  <a:gd name="T104" fmla="*/ 77 w 136"/>
                  <a:gd name="T105" fmla="*/ 0 h 181"/>
                  <a:gd name="T106" fmla="*/ 87 w 136"/>
                  <a:gd name="T107" fmla="*/ 0 h 181"/>
                  <a:gd name="T108" fmla="*/ 96 w 136"/>
                  <a:gd name="T109" fmla="*/ 0 h 181"/>
                  <a:gd name="T110" fmla="*/ 96 w 136"/>
                  <a:gd name="T111" fmla="*/ 5 h 181"/>
                  <a:gd name="T112" fmla="*/ 96 w 136"/>
                  <a:gd name="T113" fmla="*/ 9 h 181"/>
                  <a:gd name="T114" fmla="*/ 100 w 136"/>
                  <a:gd name="T115" fmla="*/ 9 h 181"/>
                  <a:gd name="T116" fmla="*/ 118 w 136"/>
                  <a:gd name="T117" fmla="*/ 9 h 181"/>
                  <a:gd name="T118" fmla="*/ 123 w 136"/>
                  <a:gd name="T119" fmla="*/ 5 h 181"/>
                  <a:gd name="T120" fmla="*/ 127 w 136"/>
                  <a:gd name="T121" fmla="*/ 5 h 181"/>
                  <a:gd name="T122" fmla="*/ 132 w 136"/>
                  <a:gd name="T123" fmla="*/ 14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36" h="181">
                    <a:moveTo>
                      <a:pt x="132" y="14"/>
                    </a:moveTo>
                    <a:lnTo>
                      <a:pt x="132" y="14"/>
                    </a:lnTo>
                    <a:lnTo>
                      <a:pt x="132" y="18"/>
                    </a:lnTo>
                    <a:lnTo>
                      <a:pt x="136" y="18"/>
                    </a:lnTo>
                    <a:lnTo>
                      <a:pt x="136" y="18"/>
                    </a:lnTo>
                    <a:lnTo>
                      <a:pt x="136" y="18"/>
                    </a:lnTo>
                    <a:lnTo>
                      <a:pt x="136" y="18"/>
                    </a:lnTo>
                    <a:lnTo>
                      <a:pt x="136" y="18"/>
                    </a:lnTo>
                    <a:lnTo>
                      <a:pt x="132" y="18"/>
                    </a:lnTo>
                    <a:lnTo>
                      <a:pt x="132" y="23"/>
                    </a:lnTo>
                    <a:lnTo>
                      <a:pt x="132" y="23"/>
                    </a:lnTo>
                    <a:lnTo>
                      <a:pt x="132" y="23"/>
                    </a:lnTo>
                    <a:lnTo>
                      <a:pt x="132" y="23"/>
                    </a:lnTo>
                    <a:lnTo>
                      <a:pt x="127" y="23"/>
                    </a:lnTo>
                    <a:lnTo>
                      <a:pt x="127" y="23"/>
                    </a:lnTo>
                    <a:lnTo>
                      <a:pt x="127" y="23"/>
                    </a:lnTo>
                    <a:lnTo>
                      <a:pt x="123" y="27"/>
                    </a:lnTo>
                    <a:lnTo>
                      <a:pt x="123" y="27"/>
                    </a:lnTo>
                    <a:lnTo>
                      <a:pt x="123" y="27"/>
                    </a:lnTo>
                    <a:lnTo>
                      <a:pt x="123" y="27"/>
                    </a:lnTo>
                    <a:lnTo>
                      <a:pt x="123" y="27"/>
                    </a:lnTo>
                    <a:lnTo>
                      <a:pt x="123" y="27"/>
                    </a:lnTo>
                    <a:lnTo>
                      <a:pt x="123" y="27"/>
                    </a:lnTo>
                    <a:lnTo>
                      <a:pt x="123" y="32"/>
                    </a:lnTo>
                    <a:lnTo>
                      <a:pt x="123" y="32"/>
                    </a:lnTo>
                    <a:lnTo>
                      <a:pt x="118" y="32"/>
                    </a:lnTo>
                    <a:lnTo>
                      <a:pt x="118" y="32"/>
                    </a:lnTo>
                    <a:lnTo>
                      <a:pt x="114" y="32"/>
                    </a:lnTo>
                    <a:lnTo>
                      <a:pt x="114" y="36"/>
                    </a:lnTo>
                    <a:lnTo>
                      <a:pt x="114" y="41"/>
                    </a:lnTo>
                    <a:lnTo>
                      <a:pt x="114" y="41"/>
                    </a:lnTo>
                    <a:lnTo>
                      <a:pt x="114" y="41"/>
                    </a:lnTo>
                    <a:lnTo>
                      <a:pt x="118" y="41"/>
                    </a:lnTo>
                    <a:lnTo>
                      <a:pt x="118" y="41"/>
                    </a:lnTo>
                    <a:lnTo>
                      <a:pt x="118" y="45"/>
                    </a:lnTo>
                    <a:lnTo>
                      <a:pt x="118" y="45"/>
                    </a:lnTo>
                    <a:lnTo>
                      <a:pt x="114" y="45"/>
                    </a:lnTo>
                    <a:lnTo>
                      <a:pt x="114" y="45"/>
                    </a:lnTo>
                    <a:lnTo>
                      <a:pt x="109" y="50"/>
                    </a:lnTo>
                    <a:lnTo>
                      <a:pt x="109" y="50"/>
                    </a:lnTo>
                    <a:lnTo>
                      <a:pt x="109" y="54"/>
                    </a:lnTo>
                    <a:lnTo>
                      <a:pt x="109" y="54"/>
                    </a:lnTo>
                    <a:lnTo>
                      <a:pt x="109" y="54"/>
                    </a:lnTo>
                    <a:lnTo>
                      <a:pt x="109" y="54"/>
                    </a:lnTo>
                    <a:lnTo>
                      <a:pt x="105" y="54"/>
                    </a:lnTo>
                    <a:lnTo>
                      <a:pt x="105" y="59"/>
                    </a:lnTo>
                    <a:lnTo>
                      <a:pt x="105" y="59"/>
                    </a:lnTo>
                    <a:lnTo>
                      <a:pt x="105" y="64"/>
                    </a:lnTo>
                    <a:lnTo>
                      <a:pt x="105" y="64"/>
                    </a:lnTo>
                    <a:lnTo>
                      <a:pt x="105" y="64"/>
                    </a:lnTo>
                    <a:lnTo>
                      <a:pt x="105" y="64"/>
                    </a:lnTo>
                    <a:lnTo>
                      <a:pt x="100" y="68"/>
                    </a:lnTo>
                    <a:lnTo>
                      <a:pt x="100" y="73"/>
                    </a:lnTo>
                    <a:lnTo>
                      <a:pt x="96" y="77"/>
                    </a:lnTo>
                    <a:lnTo>
                      <a:pt x="96" y="82"/>
                    </a:lnTo>
                    <a:lnTo>
                      <a:pt x="91" y="86"/>
                    </a:lnTo>
                    <a:lnTo>
                      <a:pt x="91" y="86"/>
                    </a:lnTo>
                    <a:lnTo>
                      <a:pt x="91" y="91"/>
                    </a:lnTo>
                    <a:lnTo>
                      <a:pt x="91" y="104"/>
                    </a:lnTo>
                    <a:lnTo>
                      <a:pt x="82" y="113"/>
                    </a:lnTo>
                    <a:lnTo>
                      <a:pt x="82" y="118"/>
                    </a:lnTo>
                    <a:lnTo>
                      <a:pt x="82" y="123"/>
                    </a:lnTo>
                    <a:lnTo>
                      <a:pt x="82" y="123"/>
                    </a:lnTo>
                    <a:lnTo>
                      <a:pt x="82" y="123"/>
                    </a:lnTo>
                    <a:lnTo>
                      <a:pt x="87" y="127"/>
                    </a:lnTo>
                    <a:lnTo>
                      <a:pt x="87" y="127"/>
                    </a:lnTo>
                    <a:lnTo>
                      <a:pt x="87" y="132"/>
                    </a:lnTo>
                    <a:lnTo>
                      <a:pt x="82" y="132"/>
                    </a:lnTo>
                    <a:lnTo>
                      <a:pt x="82" y="132"/>
                    </a:lnTo>
                    <a:lnTo>
                      <a:pt x="77" y="145"/>
                    </a:lnTo>
                    <a:lnTo>
                      <a:pt x="77" y="150"/>
                    </a:lnTo>
                    <a:lnTo>
                      <a:pt x="77" y="154"/>
                    </a:lnTo>
                    <a:lnTo>
                      <a:pt x="73" y="154"/>
                    </a:lnTo>
                    <a:lnTo>
                      <a:pt x="73" y="154"/>
                    </a:lnTo>
                    <a:lnTo>
                      <a:pt x="73" y="154"/>
                    </a:lnTo>
                    <a:lnTo>
                      <a:pt x="73" y="159"/>
                    </a:lnTo>
                    <a:lnTo>
                      <a:pt x="68" y="159"/>
                    </a:lnTo>
                    <a:lnTo>
                      <a:pt x="68" y="159"/>
                    </a:lnTo>
                    <a:lnTo>
                      <a:pt x="68" y="163"/>
                    </a:lnTo>
                    <a:lnTo>
                      <a:pt x="73" y="163"/>
                    </a:lnTo>
                    <a:lnTo>
                      <a:pt x="73" y="163"/>
                    </a:lnTo>
                    <a:lnTo>
                      <a:pt x="73" y="163"/>
                    </a:lnTo>
                    <a:lnTo>
                      <a:pt x="68" y="168"/>
                    </a:lnTo>
                    <a:lnTo>
                      <a:pt x="68" y="168"/>
                    </a:lnTo>
                    <a:lnTo>
                      <a:pt x="68" y="168"/>
                    </a:lnTo>
                    <a:lnTo>
                      <a:pt x="68" y="172"/>
                    </a:lnTo>
                    <a:lnTo>
                      <a:pt x="68" y="177"/>
                    </a:lnTo>
                    <a:lnTo>
                      <a:pt x="64" y="177"/>
                    </a:lnTo>
                    <a:lnTo>
                      <a:pt x="64" y="177"/>
                    </a:lnTo>
                    <a:lnTo>
                      <a:pt x="64" y="177"/>
                    </a:lnTo>
                    <a:lnTo>
                      <a:pt x="64" y="181"/>
                    </a:lnTo>
                    <a:lnTo>
                      <a:pt x="64" y="181"/>
                    </a:lnTo>
                    <a:lnTo>
                      <a:pt x="64" y="181"/>
                    </a:lnTo>
                    <a:lnTo>
                      <a:pt x="64" y="177"/>
                    </a:lnTo>
                    <a:lnTo>
                      <a:pt x="59" y="177"/>
                    </a:lnTo>
                    <a:lnTo>
                      <a:pt x="64" y="177"/>
                    </a:lnTo>
                    <a:lnTo>
                      <a:pt x="64" y="177"/>
                    </a:lnTo>
                    <a:lnTo>
                      <a:pt x="64" y="177"/>
                    </a:lnTo>
                    <a:lnTo>
                      <a:pt x="59" y="177"/>
                    </a:lnTo>
                    <a:lnTo>
                      <a:pt x="55" y="177"/>
                    </a:lnTo>
                    <a:lnTo>
                      <a:pt x="55" y="177"/>
                    </a:lnTo>
                    <a:lnTo>
                      <a:pt x="55" y="177"/>
                    </a:lnTo>
                    <a:lnTo>
                      <a:pt x="55" y="172"/>
                    </a:lnTo>
                    <a:lnTo>
                      <a:pt x="55" y="172"/>
                    </a:lnTo>
                    <a:lnTo>
                      <a:pt x="55" y="172"/>
                    </a:lnTo>
                    <a:lnTo>
                      <a:pt x="50" y="168"/>
                    </a:lnTo>
                    <a:lnTo>
                      <a:pt x="50" y="168"/>
                    </a:lnTo>
                    <a:lnTo>
                      <a:pt x="50" y="168"/>
                    </a:lnTo>
                    <a:lnTo>
                      <a:pt x="50" y="168"/>
                    </a:lnTo>
                    <a:lnTo>
                      <a:pt x="46" y="168"/>
                    </a:lnTo>
                    <a:lnTo>
                      <a:pt x="46" y="163"/>
                    </a:lnTo>
                    <a:lnTo>
                      <a:pt x="46" y="163"/>
                    </a:lnTo>
                    <a:lnTo>
                      <a:pt x="46" y="163"/>
                    </a:lnTo>
                    <a:lnTo>
                      <a:pt x="46" y="163"/>
                    </a:lnTo>
                    <a:lnTo>
                      <a:pt x="46" y="159"/>
                    </a:lnTo>
                    <a:lnTo>
                      <a:pt x="50" y="159"/>
                    </a:lnTo>
                    <a:lnTo>
                      <a:pt x="50" y="154"/>
                    </a:lnTo>
                    <a:lnTo>
                      <a:pt x="50" y="154"/>
                    </a:lnTo>
                    <a:lnTo>
                      <a:pt x="50" y="154"/>
                    </a:lnTo>
                    <a:lnTo>
                      <a:pt x="50" y="150"/>
                    </a:lnTo>
                    <a:lnTo>
                      <a:pt x="46" y="150"/>
                    </a:lnTo>
                    <a:lnTo>
                      <a:pt x="46" y="145"/>
                    </a:lnTo>
                    <a:lnTo>
                      <a:pt x="41" y="145"/>
                    </a:lnTo>
                    <a:lnTo>
                      <a:pt x="41" y="145"/>
                    </a:lnTo>
                    <a:lnTo>
                      <a:pt x="41" y="145"/>
                    </a:lnTo>
                    <a:lnTo>
                      <a:pt x="41" y="145"/>
                    </a:lnTo>
                    <a:lnTo>
                      <a:pt x="37" y="145"/>
                    </a:lnTo>
                    <a:lnTo>
                      <a:pt x="32" y="141"/>
                    </a:lnTo>
                    <a:lnTo>
                      <a:pt x="32" y="141"/>
                    </a:lnTo>
                    <a:lnTo>
                      <a:pt x="32" y="136"/>
                    </a:lnTo>
                    <a:lnTo>
                      <a:pt x="32" y="136"/>
                    </a:lnTo>
                    <a:lnTo>
                      <a:pt x="32" y="136"/>
                    </a:lnTo>
                    <a:lnTo>
                      <a:pt x="32" y="132"/>
                    </a:lnTo>
                    <a:lnTo>
                      <a:pt x="32" y="132"/>
                    </a:lnTo>
                    <a:lnTo>
                      <a:pt x="32" y="132"/>
                    </a:lnTo>
                    <a:lnTo>
                      <a:pt x="28" y="127"/>
                    </a:lnTo>
                    <a:lnTo>
                      <a:pt x="28" y="127"/>
                    </a:lnTo>
                    <a:lnTo>
                      <a:pt x="18" y="123"/>
                    </a:lnTo>
                    <a:lnTo>
                      <a:pt x="18" y="123"/>
                    </a:lnTo>
                    <a:lnTo>
                      <a:pt x="18" y="118"/>
                    </a:lnTo>
                    <a:lnTo>
                      <a:pt x="18" y="118"/>
                    </a:lnTo>
                    <a:lnTo>
                      <a:pt x="18" y="113"/>
                    </a:lnTo>
                    <a:lnTo>
                      <a:pt x="18" y="109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9" y="104"/>
                    </a:lnTo>
                    <a:lnTo>
                      <a:pt x="9" y="10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5" y="82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8" y="82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8" y="82"/>
                    </a:lnTo>
                    <a:lnTo>
                      <a:pt x="28" y="82"/>
                    </a:lnTo>
                    <a:lnTo>
                      <a:pt x="32" y="82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7" y="77"/>
                    </a:lnTo>
                    <a:lnTo>
                      <a:pt x="41" y="77"/>
                    </a:lnTo>
                    <a:lnTo>
                      <a:pt x="41" y="77"/>
                    </a:lnTo>
                    <a:lnTo>
                      <a:pt x="41" y="77"/>
                    </a:lnTo>
                    <a:lnTo>
                      <a:pt x="46" y="77"/>
                    </a:lnTo>
                    <a:lnTo>
                      <a:pt x="41" y="77"/>
                    </a:lnTo>
                    <a:lnTo>
                      <a:pt x="41" y="73"/>
                    </a:lnTo>
                    <a:lnTo>
                      <a:pt x="41" y="68"/>
                    </a:lnTo>
                    <a:lnTo>
                      <a:pt x="41" y="68"/>
                    </a:lnTo>
                    <a:lnTo>
                      <a:pt x="41" y="68"/>
                    </a:lnTo>
                    <a:lnTo>
                      <a:pt x="41" y="64"/>
                    </a:lnTo>
                    <a:lnTo>
                      <a:pt x="46" y="64"/>
                    </a:lnTo>
                    <a:lnTo>
                      <a:pt x="46" y="59"/>
                    </a:lnTo>
                    <a:lnTo>
                      <a:pt x="46" y="59"/>
                    </a:lnTo>
                    <a:lnTo>
                      <a:pt x="46" y="59"/>
                    </a:lnTo>
                    <a:lnTo>
                      <a:pt x="46" y="54"/>
                    </a:lnTo>
                    <a:lnTo>
                      <a:pt x="46" y="54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41" y="45"/>
                    </a:lnTo>
                    <a:lnTo>
                      <a:pt x="37" y="45"/>
                    </a:lnTo>
                    <a:lnTo>
                      <a:pt x="37" y="41"/>
                    </a:lnTo>
                    <a:lnTo>
                      <a:pt x="37" y="41"/>
                    </a:lnTo>
                    <a:lnTo>
                      <a:pt x="37" y="41"/>
                    </a:lnTo>
                    <a:lnTo>
                      <a:pt x="37" y="36"/>
                    </a:lnTo>
                    <a:lnTo>
                      <a:pt x="37" y="36"/>
                    </a:lnTo>
                    <a:lnTo>
                      <a:pt x="41" y="32"/>
                    </a:lnTo>
                    <a:lnTo>
                      <a:pt x="41" y="27"/>
                    </a:lnTo>
                    <a:lnTo>
                      <a:pt x="46" y="27"/>
                    </a:lnTo>
                    <a:lnTo>
                      <a:pt x="46" y="27"/>
                    </a:lnTo>
                    <a:lnTo>
                      <a:pt x="46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3"/>
                    </a:lnTo>
                    <a:lnTo>
                      <a:pt x="50" y="18"/>
                    </a:lnTo>
                    <a:lnTo>
                      <a:pt x="55" y="18"/>
                    </a:lnTo>
                    <a:lnTo>
                      <a:pt x="55" y="18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9" y="9"/>
                    </a:lnTo>
                    <a:lnTo>
                      <a:pt x="64" y="9"/>
                    </a:lnTo>
                    <a:lnTo>
                      <a:pt x="64" y="5"/>
                    </a:lnTo>
                    <a:lnTo>
                      <a:pt x="68" y="5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3" y="0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7" y="0"/>
                    </a:lnTo>
                    <a:lnTo>
                      <a:pt x="87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6" y="0"/>
                    </a:lnTo>
                    <a:lnTo>
                      <a:pt x="96" y="5"/>
                    </a:lnTo>
                    <a:lnTo>
                      <a:pt x="96" y="5"/>
                    </a:lnTo>
                    <a:lnTo>
                      <a:pt x="96" y="5"/>
                    </a:lnTo>
                    <a:lnTo>
                      <a:pt x="96" y="5"/>
                    </a:lnTo>
                    <a:lnTo>
                      <a:pt x="96" y="5"/>
                    </a:lnTo>
                    <a:lnTo>
                      <a:pt x="96" y="9"/>
                    </a:lnTo>
                    <a:lnTo>
                      <a:pt x="96" y="9"/>
                    </a:lnTo>
                    <a:lnTo>
                      <a:pt x="96" y="9"/>
                    </a:lnTo>
                    <a:lnTo>
                      <a:pt x="96" y="9"/>
                    </a:lnTo>
                    <a:lnTo>
                      <a:pt x="100" y="9"/>
                    </a:lnTo>
                    <a:lnTo>
                      <a:pt x="100" y="9"/>
                    </a:lnTo>
                    <a:lnTo>
                      <a:pt x="100" y="9"/>
                    </a:lnTo>
                    <a:lnTo>
                      <a:pt x="105" y="9"/>
                    </a:lnTo>
                    <a:lnTo>
                      <a:pt x="105" y="9"/>
                    </a:lnTo>
                    <a:lnTo>
                      <a:pt x="114" y="9"/>
                    </a:lnTo>
                    <a:lnTo>
                      <a:pt x="118" y="9"/>
                    </a:lnTo>
                    <a:lnTo>
                      <a:pt x="118" y="9"/>
                    </a:lnTo>
                    <a:lnTo>
                      <a:pt x="118" y="9"/>
                    </a:lnTo>
                    <a:lnTo>
                      <a:pt x="118" y="5"/>
                    </a:lnTo>
                    <a:lnTo>
                      <a:pt x="123" y="5"/>
                    </a:lnTo>
                    <a:lnTo>
                      <a:pt x="123" y="5"/>
                    </a:lnTo>
                    <a:lnTo>
                      <a:pt x="123" y="5"/>
                    </a:lnTo>
                    <a:lnTo>
                      <a:pt x="123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32" y="5"/>
                    </a:lnTo>
                    <a:lnTo>
                      <a:pt x="132" y="9"/>
                    </a:lnTo>
                    <a:lnTo>
                      <a:pt x="132" y="14"/>
                    </a:lnTo>
                    <a:lnTo>
                      <a:pt x="132" y="14"/>
                    </a:lnTo>
                    <a:lnTo>
                      <a:pt x="132" y="1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0" name="Freeform 18"/>
              <p:cNvSpPr>
                <a:spLocks noEditPoints="1"/>
              </p:cNvSpPr>
              <p:nvPr/>
            </p:nvSpPr>
            <p:spPr bwMode="auto">
              <a:xfrm>
                <a:off x="1022351" y="3960813"/>
                <a:ext cx="547688" cy="403225"/>
              </a:xfrm>
              <a:custGeom>
                <a:avLst/>
                <a:gdLst>
                  <a:gd name="T0" fmla="*/ 0 w 345"/>
                  <a:gd name="T1" fmla="*/ 186 h 254"/>
                  <a:gd name="T2" fmla="*/ 145 w 345"/>
                  <a:gd name="T3" fmla="*/ 159 h 254"/>
                  <a:gd name="T4" fmla="*/ 141 w 345"/>
                  <a:gd name="T5" fmla="*/ 154 h 254"/>
                  <a:gd name="T6" fmla="*/ 145 w 345"/>
                  <a:gd name="T7" fmla="*/ 154 h 254"/>
                  <a:gd name="T8" fmla="*/ 9 w 345"/>
                  <a:gd name="T9" fmla="*/ 240 h 254"/>
                  <a:gd name="T10" fmla="*/ 14 w 345"/>
                  <a:gd name="T11" fmla="*/ 231 h 254"/>
                  <a:gd name="T12" fmla="*/ 95 w 345"/>
                  <a:gd name="T13" fmla="*/ 141 h 254"/>
                  <a:gd name="T14" fmla="*/ 132 w 345"/>
                  <a:gd name="T15" fmla="*/ 54 h 254"/>
                  <a:gd name="T16" fmla="*/ 245 w 345"/>
                  <a:gd name="T17" fmla="*/ 27 h 254"/>
                  <a:gd name="T18" fmla="*/ 263 w 345"/>
                  <a:gd name="T19" fmla="*/ 45 h 254"/>
                  <a:gd name="T20" fmla="*/ 254 w 345"/>
                  <a:gd name="T21" fmla="*/ 41 h 254"/>
                  <a:gd name="T22" fmla="*/ 254 w 345"/>
                  <a:gd name="T23" fmla="*/ 41 h 254"/>
                  <a:gd name="T24" fmla="*/ 245 w 345"/>
                  <a:gd name="T25" fmla="*/ 32 h 254"/>
                  <a:gd name="T26" fmla="*/ 250 w 345"/>
                  <a:gd name="T27" fmla="*/ 32 h 254"/>
                  <a:gd name="T28" fmla="*/ 254 w 345"/>
                  <a:gd name="T29" fmla="*/ 41 h 254"/>
                  <a:gd name="T30" fmla="*/ 245 w 345"/>
                  <a:gd name="T31" fmla="*/ 27 h 254"/>
                  <a:gd name="T32" fmla="*/ 336 w 345"/>
                  <a:gd name="T33" fmla="*/ 32 h 254"/>
                  <a:gd name="T34" fmla="*/ 309 w 345"/>
                  <a:gd name="T35" fmla="*/ 5 h 254"/>
                  <a:gd name="T36" fmla="*/ 304 w 345"/>
                  <a:gd name="T37" fmla="*/ 9 h 254"/>
                  <a:gd name="T38" fmla="*/ 295 w 345"/>
                  <a:gd name="T39" fmla="*/ 14 h 254"/>
                  <a:gd name="T40" fmla="*/ 281 w 345"/>
                  <a:gd name="T41" fmla="*/ 23 h 254"/>
                  <a:gd name="T42" fmla="*/ 272 w 345"/>
                  <a:gd name="T43" fmla="*/ 27 h 254"/>
                  <a:gd name="T44" fmla="*/ 268 w 345"/>
                  <a:gd name="T45" fmla="*/ 36 h 254"/>
                  <a:gd name="T46" fmla="*/ 263 w 345"/>
                  <a:gd name="T47" fmla="*/ 41 h 254"/>
                  <a:gd name="T48" fmla="*/ 254 w 345"/>
                  <a:gd name="T49" fmla="*/ 27 h 254"/>
                  <a:gd name="T50" fmla="*/ 241 w 345"/>
                  <a:gd name="T51" fmla="*/ 23 h 254"/>
                  <a:gd name="T52" fmla="*/ 259 w 345"/>
                  <a:gd name="T53" fmla="*/ 18 h 254"/>
                  <a:gd name="T54" fmla="*/ 259 w 345"/>
                  <a:gd name="T55" fmla="*/ 14 h 254"/>
                  <a:gd name="T56" fmla="*/ 272 w 345"/>
                  <a:gd name="T57" fmla="*/ 9 h 254"/>
                  <a:gd name="T58" fmla="*/ 281 w 345"/>
                  <a:gd name="T59" fmla="*/ 9 h 254"/>
                  <a:gd name="T60" fmla="*/ 295 w 345"/>
                  <a:gd name="T61" fmla="*/ 5 h 254"/>
                  <a:gd name="T62" fmla="*/ 304 w 345"/>
                  <a:gd name="T63" fmla="*/ 0 h 254"/>
                  <a:gd name="T64" fmla="*/ 222 w 345"/>
                  <a:gd name="T65" fmla="*/ 77 h 254"/>
                  <a:gd name="T66" fmla="*/ 213 w 345"/>
                  <a:gd name="T67" fmla="*/ 86 h 254"/>
                  <a:gd name="T68" fmla="*/ 204 w 345"/>
                  <a:gd name="T69" fmla="*/ 77 h 254"/>
                  <a:gd name="T70" fmla="*/ 209 w 345"/>
                  <a:gd name="T71" fmla="*/ 59 h 254"/>
                  <a:gd name="T72" fmla="*/ 222 w 345"/>
                  <a:gd name="T73" fmla="*/ 77 h 254"/>
                  <a:gd name="T74" fmla="*/ 173 w 345"/>
                  <a:gd name="T75" fmla="*/ 118 h 254"/>
                  <a:gd name="T76" fmla="*/ 163 w 345"/>
                  <a:gd name="T77" fmla="*/ 118 h 254"/>
                  <a:gd name="T78" fmla="*/ 159 w 345"/>
                  <a:gd name="T79" fmla="*/ 113 h 254"/>
                  <a:gd name="T80" fmla="*/ 173 w 345"/>
                  <a:gd name="T81" fmla="*/ 113 h 254"/>
                  <a:gd name="T82" fmla="*/ 64 w 345"/>
                  <a:gd name="T83" fmla="*/ 181 h 254"/>
                  <a:gd name="T84" fmla="*/ 64 w 345"/>
                  <a:gd name="T85" fmla="*/ 181 h 254"/>
                  <a:gd name="T86" fmla="*/ 123 w 345"/>
                  <a:gd name="T87" fmla="*/ 172 h 254"/>
                  <a:gd name="T88" fmla="*/ 114 w 345"/>
                  <a:gd name="T89" fmla="*/ 186 h 254"/>
                  <a:gd name="T90" fmla="*/ 105 w 345"/>
                  <a:gd name="T91" fmla="*/ 195 h 254"/>
                  <a:gd name="T92" fmla="*/ 91 w 345"/>
                  <a:gd name="T93" fmla="*/ 191 h 254"/>
                  <a:gd name="T94" fmla="*/ 77 w 345"/>
                  <a:gd name="T95" fmla="*/ 186 h 254"/>
                  <a:gd name="T96" fmla="*/ 86 w 345"/>
                  <a:gd name="T97" fmla="*/ 200 h 254"/>
                  <a:gd name="T98" fmla="*/ 68 w 345"/>
                  <a:gd name="T99" fmla="*/ 213 h 254"/>
                  <a:gd name="T100" fmla="*/ 55 w 345"/>
                  <a:gd name="T101" fmla="*/ 213 h 254"/>
                  <a:gd name="T102" fmla="*/ 55 w 345"/>
                  <a:gd name="T103" fmla="*/ 236 h 254"/>
                  <a:gd name="T104" fmla="*/ 46 w 345"/>
                  <a:gd name="T105" fmla="*/ 250 h 254"/>
                  <a:gd name="T106" fmla="*/ 59 w 345"/>
                  <a:gd name="T107" fmla="*/ 250 h 254"/>
                  <a:gd name="T108" fmla="*/ 59 w 345"/>
                  <a:gd name="T109" fmla="*/ 240 h 254"/>
                  <a:gd name="T110" fmla="*/ 77 w 345"/>
                  <a:gd name="T111" fmla="*/ 231 h 254"/>
                  <a:gd name="T112" fmla="*/ 73 w 345"/>
                  <a:gd name="T113" fmla="*/ 218 h 254"/>
                  <a:gd name="T114" fmla="*/ 82 w 345"/>
                  <a:gd name="T115" fmla="*/ 218 h 254"/>
                  <a:gd name="T116" fmla="*/ 95 w 345"/>
                  <a:gd name="T117" fmla="*/ 209 h 254"/>
                  <a:gd name="T118" fmla="*/ 105 w 345"/>
                  <a:gd name="T119" fmla="*/ 204 h 254"/>
                  <a:gd name="T120" fmla="*/ 109 w 345"/>
                  <a:gd name="T121" fmla="*/ 200 h 254"/>
                  <a:gd name="T122" fmla="*/ 127 w 345"/>
                  <a:gd name="T123" fmla="*/ 195 h 254"/>
                  <a:gd name="T124" fmla="*/ 132 w 345"/>
                  <a:gd name="T125" fmla="*/ 18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45" h="254">
                    <a:moveTo>
                      <a:pt x="0" y="186"/>
                    </a:moveTo>
                    <a:lnTo>
                      <a:pt x="0" y="186"/>
                    </a:lnTo>
                    <a:lnTo>
                      <a:pt x="0" y="186"/>
                    </a:lnTo>
                    <a:lnTo>
                      <a:pt x="5" y="186"/>
                    </a:lnTo>
                    <a:lnTo>
                      <a:pt x="5" y="186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0" y="186"/>
                    </a:lnTo>
                    <a:moveTo>
                      <a:pt x="145" y="154"/>
                    </a:moveTo>
                    <a:lnTo>
                      <a:pt x="145" y="154"/>
                    </a:lnTo>
                    <a:lnTo>
                      <a:pt x="145" y="159"/>
                    </a:lnTo>
                    <a:lnTo>
                      <a:pt x="145" y="159"/>
                    </a:lnTo>
                    <a:lnTo>
                      <a:pt x="145" y="159"/>
                    </a:lnTo>
                    <a:lnTo>
                      <a:pt x="141" y="154"/>
                    </a:lnTo>
                    <a:lnTo>
                      <a:pt x="141" y="154"/>
                    </a:lnTo>
                    <a:lnTo>
                      <a:pt x="141" y="154"/>
                    </a:lnTo>
                    <a:lnTo>
                      <a:pt x="141" y="154"/>
                    </a:lnTo>
                    <a:lnTo>
                      <a:pt x="141" y="154"/>
                    </a:lnTo>
                    <a:lnTo>
                      <a:pt x="141" y="154"/>
                    </a:lnTo>
                    <a:lnTo>
                      <a:pt x="141" y="154"/>
                    </a:lnTo>
                    <a:lnTo>
                      <a:pt x="145" y="154"/>
                    </a:lnTo>
                    <a:lnTo>
                      <a:pt x="145" y="154"/>
                    </a:lnTo>
                    <a:lnTo>
                      <a:pt x="145" y="154"/>
                    </a:lnTo>
                    <a:lnTo>
                      <a:pt x="145" y="154"/>
                    </a:lnTo>
                    <a:lnTo>
                      <a:pt x="145" y="154"/>
                    </a:lnTo>
                    <a:moveTo>
                      <a:pt x="14" y="236"/>
                    </a:moveTo>
                    <a:lnTo>
                      <a:pt x="14" y="236"/>
                    </a:lnTo>
                    <a:lnTo>
                      <a:pt x="14" y="236"/>
                    </a:lnTo>
                    <a:lnTo>
                      <a:pt x="14" y="236"/>
                    </a:lnTo>
                    <a:lnTo>
                      <a:pt x="9" y="240"/>
                    </a:lnTo>
                    <a:lnTo>
                      <a:pt x="9" y="240"/>
                    </a:lnTo>
                    <a:lnTo>
                      <a:pt x="9" y="240"/>
                    </a:lnTo>
                    <a:lnTo>
                      <a:pt x="9" y="240"/>
                    </a:lnTo>
                    <a:lnTo>
                      <a:pt x="9" y="240"/>
                    </a:lnTo>
                    <a:lnTo>
                      <a:pt x="9" y="236"/>
                    </a:lnTo>
                    <a:lnTo>
                      <a:pt x="9" y="236"/>
                    </a:lnTo>
                    <a:lnTo>
                      <a:pt x="9" y="236"/>
                    </a:lnTo>
                    <a:lnTo>
                      <a:pt x="9" y="231"/>
                    </a:lnTo>
                    <a:lnTo>
                      <a:pt x="14" y="231"/>
                    </a:lnTo>
                    <a:lnTo>
                      <a:pt x="14" y="236"/>
                    </a:lnTo>
                    <a:lnTo>
                      <a:pt x="14" y="236"/>
                    </a:lnTo>
                    <a:moveTo>
                      <a:pt x="91" y="150"/>
                    </a:moveTo>
                    <a:lnTo>
                      <a:pt x="91" y="150"/>
                    </a:lnTo>
                    <a:lnTo>
                      <a:pt x="86" y="150"/>
                    </a:lnTo>
                    <a:lnTo>
                      <a:pt x="86" y="150"/>
                    </a:lnTo>
                    <a:lnTo>
                      <a:pt x="95" y="141"/>
                    </a:lnTo>
                    <a:lnTo>
                      <a:pt x="95" y="141"/>
                    </a:lnTo>
                    <a:lnTo>
                      <a:pt x="95" y="141"/>
                    </a:lnTo>
                    <a:lnTo>
                      <a:pt x="95" y="145"/>
                    </a:lnTo>
                    <a:lnTo>
                      <a:pt x="91" y="145"/>
                    </a:lnTo>
                    <a:lnTo>
                      <a:pt x="91" y="150"/>
                    </a:lnTo>
                    <a:moveTo>
                      <a:pt x="132" y="54"/>
                    </a:moveTo>
                    <a:lnTo>
                      <a:pt x="132" y="54"/>
                    </a:lnTo>
                    <a:lnTo>
                      <a:pt x="132" y="54"/>
                    </a:lnTo>
                    <a:lnTo>
                      <a:pt x="132" y="54"/>
                    </a:lnTo>
                    <a:lnTo>
                      <a:pt x="132" y="54"/>
                    </a:lnTo>
                    <a:lnTo>
                      <a:pt x="132" y="50"/>
                    </a:lnTo>
                    <a:lnTo>
                      <a:pt x="132" y="54"/>
                    </a:lnTo>
                    <a:lnTo>
                      <a:pt x="132" y="54"/>
                    </a:lnTo>
                    <a:moveTo>
                      <a:pt x="245" y="27"/>
                    </a:moveTo>
                    <a:lnTo>
                      <a:pt x="245" y="27"/>
                    </a:lnTo>
                    <a:lnTo>
                      <a:pt x="245" y="27"/>
                    </a:lnTo>
                    <a:lnTo>
                      <a:pt x="245" y="27"/>
                    </a:lnTo>
                    <a:lnTo>
                      <a:pt x="245" y="27"/>
                    </a:lnTo>
                    <a:moveTo>
                      <a:pt x="263" y="41"/>
                    </a:moveTo>
                    <a:lnTo>
                      <a:pt x="263" y="41"/>
                    </a:lnTo>
                    <a:lnTo>
                      <a:pt x="263" y="45"/>
                    </a:lnTo>
                    <a:lnTo>
                      <a:pt x="259" y="45"/>
                    </a:lnTo>
                    <a:lnTo>
                      <a:pt x="259" y="45"/>
                    </a:lnTo>
                    <a:lnTo>
                      <a:pt x="259" y="41"/>
                    </a:lnTo>
                    <a:lnTo>
                      <a:pt x="259" y="41"/>
                    </a:lnTo>
                    <a:lnTo>
                      <a:pt x="254" y="41"/>
                    </a:lnTo>
                    <a:lnTo>
                      <a:pt x="254" y="41"/>
                    </a:lnTo>
                    <a:lnTo>
                      <a:pt x="254" y="41"/>
                    </a:lnTo>
                    <a:lnTo>
                      <a:pt x="254" y="45"/>
                    </a:lnTo>
                    <a:lnTo>
                      <a:pt x="254" y="45"/>
                    </a:lnTo>
                    <a:lnTo>
                      <a:pt x="254" y="45"/>
                    </a:lnTo>
                    <a:lnTo>
                      <a:pt x="254" y="45"/>
                    </a:lnTo>
                    <a:lnTo>
                      <a:pt x="254" y="45"/>
                    </a:lnTo>
                    <a:lnTo>
                      <a:pt x="254" y="41"/>
                    </a:lnTo>
                    <a:lnTo>
                      <a:pt x="254" y="41"/>
                    </a:lnTo>
                    <a:lnTo>
                      <a:pt x="250" y="41"/>
                    </a:lnTo>
                    <a:lnTo>
                      <a:pt x="250" y="41"/>
                    </a:lnTo>
                    <a:lnTo>
                      <a:pt x="250" y="41"/>
                    </a:lnTo>
                    <a:lnTo>
                      <a:pt x="245" y="41"/>
                    </a:lnTo>
                    <a:lnTo>
                      <a:pt x="245" y="36"/>
                    </a:lnTo>
                    <a:lnTo>
                      <a:pt x="245" y="36"/>
                    </a:lnTo>
                    <a:lnTo>
                      <a:pt x="245" y="32"/>
                    </a:lnTo>
                    <a:lnTo>
                      <a:pt x="245" y="27"/>
                    </a:lnTo>
                    <a:lnTo>
                      <a:pt x="245" y="27"/>
                    </a:lnTo>
                    <a:lnTo>
                      <a:pt x="245" y="27"/>
                    </a:lnTo>
                    <a:lnTo>
                      <a:pt x="245" y="27"/>
                    </a:lnTo>
                    <a:lnTo>
                      <a:pt x="250" y="32"/>
                    </a:lnTo>
                    <a:lnTo>
                      <a:pt x="250" y="32"/>
                    </a:lnTo>
                    <a:lnTo>
                      <a:pt x="250" y="32"/>
                    </a:lnTo>
                    <a:lnTo>
                      <a:pt x="254" y="32"/>
                    </a:lnTo>
                    <a:lnTo>
                      <a:pt x="254" y="32"/>
                    </a:lnTo>
                    <a:lnTo>
                      <a:pt x="254" y="36"/>
                    </a:lnTo>
                    <a:lnTo>
                      <a:pt x="250" y="36"/>
                    </a:lnTo>
                    <a:lnTo>
                      <a:pt x="250" y="36"/>
                    </a:lnTo>
                    <a:lnTo>
                      <a:pt x="254" y="36"/>
                    </a:lnTo>
                    <a:lnTo>
                      <a:pt x="254" y="41"/>
                    </a:lnTo>
                    <a:lnTo>
                      <a:pt x="254" y="41"/>
                    </a:lnTo>
                    <a:lnTo>
                      <a:pt x="259" y="41"/>
                    </a:lnTo>
                    <a:lnTo>
                      <a:pt x="263" y="41"/>
                    </a:lnTo>
                    <a:moveTo>
                      <a:pt x="245" y="27"/>
                    </a:moveTo>
                    <a:lnTo>
                      <a:pt x="245" y="27"/>
                    </a:lnTo>
                    <a:lnTo>
                      <a:pt x="245" y="27"/>
                    </a:lnTo>
                    <a:lnTo>
                      <a:pt x="245" y="27"/>
                    </a:lnTo>
                    <a:lnTo>
                      <a:pt x="245" y="27"/>
                    </a:lnTo>
                    <a:moveTo>
                      <a:pt x="345" y="23"/>
                    </a:moveTo>
                    <a:lnTo>
                      <a:pt x="345" y="23"/>
                    </a:lnTo>
                    <a:lnTo>
                      <a:pt x="340" y="23"/>
                    </a:lnTo>
                    <a:lnTo>
                      <a:pt x="340" y="27"/>
                    </a:lnTo>
                    <a:lnTo>
                      <a:pt x="340" y="27"/>
                    </a:lnTo>
                    <a:lnTo>
                      <a:pt x="336" y="32"/>
                    </a:lnTo>
                    <a:lnTo>
                      <a:pt x="336" y="32"/>
                    </a:lnTo>
                    <a:lnTo>
                      <a:pt x="331" y="32"/>
                    </a:lnTo>
                    <a:lnTo>
                      <a:pt x="327" y="27"/>
                    </a:lnTo>
                    <a:lnTo>
                      <a:pt x="336" y="23"/>
                    </a:lnTo>
                    <a:lnTo>
                      <a:pt x="340" y="23"/>
                    </a:lnTo>
                    <a:lnTo>
                      <a:pt x="345" y="23"/>
                    </a:lnTo>
                    <a:moveTo>
                      <a:pt x="309" y="5"/>
                    </a:moveTo>
                    <a:lnTo>
                      <a:pt x="309" y="5"/>
                    </a:lnTo>
                    <a:lnTo>
                      <a:pt x="309" y="9"/>
                    </a:lnTo>
                    <a:lnTo>
                      <a:pt x="309" y="9"/>
                    </a:lnTo>
                    <a:lnTo>
                      <a:pt x="309" y="9"/>
                    </a:lnTo>
                    <a:lnTo>
                      <a:pt x="309" y="9"/>
                    </a:lnTo>
                    <a:lnTo>
                      <a:pt x="304" y="9"/>
                    </a:lnTo>
                    <a:lnTo>
                      <a:pt x="304" y="9"/>
                    </a:lnTo>
                    <a:lnTo>
                      <a:pt x="304" y="9"/>
                    </a:lnTo>
                    <a:lnTo>
                      <a:pt x="300" y="9"/>
                    </a:lnTo>
                    <a:lnTo>
                      <a:pt x="295" y="9"/>
                    </a:lnTo>
                    <a:lnTo>
                      <a:pt x="295" y="9"/>
                    </a:lnTo>
                    <a:lnTo>
                      <a:pt x="295" y="14"/>
                    </a:lnTo>
                    <a:lnTo>
                      <a:pt x="295" y="14"/>
                    </a:lnTo>
                    <a:lnTo>
                      <a:pt x="295" y="14"/>
                    </a:lnTo>
                    <a:lnTo>
                      <a:pt x="295" y="14"/>
                    </a:lnTo>
                    <a:lnTo>
                      <a:pt x="291" y="14"/>
                    </a:lnTo>
                    <a:lnTo>
                      <a:pt x="286" y="18"/>
                    </a:lnTo>
                    <a:lnTo>
                      <a:pt x="286" y="18"/>
                    </a:lnTo>
                    <a:lnTo>
                      <a:pt x="286" y="18"/>
                    </a:lnTo>
                    <a:lnTo>
                      <a:pt x="281" y="23"/>
                    </a:lnTo>
                    <a:lnTo>
                      <a:pt x="281" y="23"/>
                    </a:lnTo>
                    <a:lnTo>
                      <a:pt x="277" y="23"/>
                    </a:lnTo>
                    <a:lnTo>
                      <a:pt x="277" y="23"/>
                    </a:lnTo>
                    <a:lnTo>
                      <a:pt x="277" y="23"/>
                    </a:lnTo>
                    <a:lnTo>
                      <a:pt x="277" y="23"/>
                    </a:lnTo>
                    <a:lnTo>
                      <a:pt x="272" y="27"/>
                    </a:lnTo>
                    <a:lnTo>
                      <a:pt x="272" y="27"/>
                    </a:lnTo>
                    <a:lnTo>
                      <a:pt x="272" y="27"/>
                    </a:lnTo>
                    <a:lnTo>
                      <a:pt x="272" y="27"/>
                    </a:lnTo>
                    <a:lnTo>
                      <a:pt x="277" y="32"/>
                    </a:lnTo>
                    <a:lnTo>
                      <a:pt x="277" y="32"/>
                    </a:lnTo>
                    <a:lnTo>
                      <a:pt x="272" y="32"/>
                    </a:lnTo>
                    <a:lnTo>
                      <a:pt x="268" y="32"/>
                    </a:lnTo>
                    <a:lnTo>
                      <a:pt x="268" y="36"/>
                    </a:lnTo>
                    <a:lnTo>
                      <a:pt x="268" y="36"/>
                    </a:lnTo>
                    <a:lnTo>
                      <a:pt x="263" y="36"/>
                    </a:lnTo>
                    <a:lnTo>
                      <a:pt x="263" y="36"/>
                    </a:lnTo>
                    <a:lnTo>
                      <a:pt x="263" y="36"/>
                    </a:lnTo>
                    <a:lnTo>
                      <a:pt x="263" y="41"/>
                    </a:lnTo>
                    <a:lnTo>
                      <a:pt x="268" y="41"/>
                    </a:lnTo>
                    <a:lnTo>
                      <a:pt x="263" y="41"/>
                    </a:lnTo>
                    <a:lnTo>
                      <a:pt x="263" y="41"/>
                    </a:lnTo>
                    <a:lnTo>
                      <a:pt x="263" y="36"/>
                    </a:lnTo>
                    <a:lnTo>
                      <a:pt x="254" y="32"/>
                    </a:lnTo>
                    <a:lnTo>
                      <a:pt x="254" y="32"/>
                    </a:lnTo>
                    <a:lnTo>
                      <a:pt x="254" y="27"/>
                    </a:lnTo>
                    <a:lnTo>
                      <a:pt x="254" y="27"/>
                    </a:lnTo>
                    <a:lnTo>
                      <a:pt x="254" y="27"/>
                    </a:lnTo>
                    <a:lnTo>
                      <a:pt x="254" y="27"/>
                    </a:lnTo>
                    <a:lnTo>
                      <a:pt x="250" y="27"/>
                    </a:lnTo>
                    <a:lnTo>
                      <a:pt x="250" y="27"/>
                    </a:lnTo>
                    <a:lnTo>
                      <a:pt x="245" y="23"/>
                    </a:lnTo>
                    <a:lnTo>
                      <a:pt x="241" y="23"/>
                    </a:lnTo>
                    <a:lnTo>
                      <a:pt x="241" y="23"/>
                    </a:lnTo>
                    <a:lnTo>
                      <a:pt x="241" y="23"/>
                    </a:lnTo>
                    <a:lnTo>
                      <a:pt x="241" y="23"/>
                    </a:lnTo>
                    <a:lnTo>
                      <a:pt x="241" y="18"/>
                    </a:lnTo>
                    <a:lnTo>
                      <a:pt x="245" y="23"/>
                    </a:lnTo>
                    <a:lnTo>
                      <a:pt x="245" y="23"/>
                    </a:lnTo>
                    <a:lnTo>
                      <a:pt x="250" y="23"/>
                    </a:lnTo>
                    <a:lnTo>
                      <a:pt x="250" y="23"/>
                    </a:lnTo>
                    <a:lnTo>
                      <a:pt x="254" y="23"/>
                    </a:lnTo>
                    <a:lnTo>
                      <a:pt x="259" y="18"/>
                    </a:lnTo>
                    <a:lnTo>
                      <a:pt x="254" y="18"/>
                    </a:lnTo>
                    <a:lnTo>
                      <a:pt x="250" y="18"/>
                    </a:lnTo>
                    <a:lnTo>
                      <a:pt x="250" y="18"/>
                    </a:lnTo>
                    <a:lnTo>
                      <a:pt x="254" y="14"/>
                    </a:lnTo>
                    <a:lnTo>
                      <a:pt x="254" y="14"/>
                    </a:lnTo>
                    <a:lnTo>
                      <a:pt x="254" y="14"/>
                    </a:lnTo>
                    <a:lnTo>
                      <a:pt x="259" y="14"/>
                    </a:lnTo>
                    <a:lnTo>
                      <a:pt x="259" y="14"/>
                    </a:lnTo>
                    <a:lnTo>
                      <a:pt x="263" y="14"/>
                    </a:lnTo>
                    <a:lnTo>
                      <a:pt x="263" y="9"/>
                    </a:lnTo>
                    <a:lnTo>
                      <a:pt x="263" y="9"/>
                    </a:lnTo>
                    <a:lnTo>
                      <a:pt x="268" y="9"/>
                    </a:lnTo>
                    <a:lnTo>
                      <a:pt x="268" y="9"/>
                    </a:lnTo>
                    <a:lnTo>
                      <a:pt x="272" y="9"/>
                    </a:lnTo>
                    <a:lnTo>
                      <a:pt x="272" y="9"/>
                    </a:lnTo>
                    <a:lnTo>
                      <a:pt x="277" y="9"/>
                    </a:lnTo>
                    <a:lnTo>
                      <a:pt x="277" y="9"/>
                    </a:lnTo>
                    <a:lnTo>
                      <a:pt x="277" y="9"/>
                    </a:lnTo>
                    <a:lnTo>
                      <a:pt x="281" y="5"/>
                    </a:lnTo>
                    <a:lnTo>
                      <a:pt x="281" y="9"/>
                    </a:lnTo>
                    <a:lnTo>
                      <a:pt x="281" y="9"/>
                    </a:lnTo>
                    <a:lnTo>
                      <a:pt x="281" y="9"/>
                    </a:lnTo>
                    <a:lnTo>
                      <a:pt x="286" y="9"/>
                    </a:lnTo>
                    <a:lnTo>
                      <a:pt x="286" y="5"/>
                    </a:lnTo>
                    <a:lnTo>
                      <a:pt x="291" y="5"/>
                    </a:lnTo>
                    <a:lnTo>
                      <a:pt x="300" y="0"/>
                    </a:lnTo>
                    <a:lnTo>
                      <a:pt x="295" y="5"/>
                    </a:lnTo>
                    <a:lnTo>
                      <a:pt x="295" y="5"/>
                    </a:lnTo>
                    <a:lnTo>
                      <a:pt x="300" y="9"/>
                    </a:lnTo>
                    <a:lnTo>
                      <a:pt x="300" y="5"/>
                    </a:lnTo>
                    <a:lnTo>
                      <a:pt x="300" y="5"/>
                    </a:lnTo>
                    <a:lnTo>
                      <a:pt x="304" y="0"/>
                    </a:lnTo>
                    <a:lnTo>
                      <a:pt x="304" y="0"/>
                    </a:lnTo>
                    <a:lnTo>
                      <a:pt x="304" y="0"/>
                    </a:lnTo>
                    <a:lnTo>
                      <a:pt x="304" y="0"/>
                    </a:lnTo>
                    <a:lnTo>
                      <a:pt x="304" y="0"/>
                    </a:lnTo>
                    <a:lnTo>
                      <a:pt x="304" y="0"/>
                    </a:lnTo>
                    <a:lnTo>
                      <a:pt x="304" y="0"/>
                    </a:lnTo>
                    <a:lnTo>
                      <a:pt x="309" y="5"/>
                    </a:lnTo>
                    <a:lnTo>
                      <a:pt x="309" y="5"/>
                    </a:lnTo>
                    <a:lnTo>
                      <a:pt x="309" y="5"/>
                    </a:lnTo>
                    <a:moveTo>
                      <a:pt x="222" y="77"/>
                    </a:moveTo>
                    <a:lnTo>
                      <a:pt x="222" y="77"/>
                    </a:lnTo>
                    <a:lnTo>
                      <a:pt x="222" y="77"/>
                    </a:lnTo>
                    <a:lnTo>
                      <a:pt x="222" y="77"/>
                    </a:lnTo>
                    <a:lnTo>
                      <a:pt x="218" y="82"/>
                    </a:lnTo>
                    <a:lnTo>
                      <a:pt x="218" y="86"/>
                    </a:lnTo>
                    <a:lnTo>
                      <a:pt x="213" y="86"/>
                    </a:lnTo>
                    <a:lnTo>
                      <a:pt x="213" y="86"/>
                    </a:lnTo>
                    <a:lnTo>
                      <a:pt x="213" y="86"/>
                    </a:lnTo>
                    <a:lnTo>
                      <a:pt x="209" y="86"/>
                    </a:lnTo>
                    <a:lnTo>
                      <a:pt x="209" y="86"/>
                    </a:lnTo>
                    <a:lnTo>
                      <a:pt x="209" y="82"/>
                    </a:lnTo>
                    <a:lnTo>
                      <a:pt x="209" y="82"/>
                    </a:lnTo>
                    <a:lnTo>
                      <a:pt x="204" y="82"/>
                    </a:lnTo>
                    <a:lnTo>
                      <a:pt x="204" y="77"/>
                    </a:lnTo>
                    <a:lnTo>
                      <a:pt x="209" y="77"/>
                    </a:lnTo>
                    <a:lnTo>
                      <a:pt x="204" y="68"/>
                    </a:lnTo>
                    <a:lnTo>
                      <a:pt x="204" y="68"/>
                    </a:lnTo>
                    <a:lnTo>
                      <a:pt x="209" y="64"/>
                    </a:lnTo>
                    <a:lnTo>
                      <a:pt x="209" y="59"/>
                    </a:lnTo>
                    <a:lnTo>
                      <a:pt x="209" y="59"/>
                    </a:lnTo>
                    <a:lnTo>
                      <a:pt x="209" y="59"/>
                    </a:lnTo>
                    <a:lnTo>
                      <a:pt x="213" y="59"/>
                    </a:lnTo>
                    <a:lnTo>
                      <a:pt x="218" y="64"/>
                    </a:lnTo>
                    <a:lnTo>
                      <a:pt x="218" y="68"/>
                    </a:lnTo>
                    <a:lnTo>
                      <a:pt x="218" y="73"/>
                    </a:lnTo>
                    <a:lnTo>
                      <a:pt x="218" y="73"/>
                    </a:lnTo>
                    <a:lnTo>
                      <a:pt x="222" y="73"/>
                    </a:lnTo>
                    <a:lnTo>
                      <a:pt x="222" y="77"/>
                    </a:lnTo>
                    <a:moveTo>
                      <a:pt x="182" y="109"/>
                    </a:moveTo>
                    <a:lnTo>
                      <a:pt x="182" y="109"/>
                    </a:lnTo>
                    <a:lnTo>
                      <a:pt x="182" y="109"/>
                    </a:lnTo>
                    <a:lnTo>
                      <a:pt x="182" y="113"/>
                    </a:lnTo>
                    <a:lnTo>
                      <a:pt x="177" y="113"/>
                    </a:lnTo>
                    <a:lnTo>
                      <a:pt x="177" y="113"/>
                    </a:lnTo>
                    <a:lnTo>
                      <a:pt x="173" y="118"/>
                    </a:lnTo>
                    <a:lnTo>
                      <a:pt x="173" y="118"/>
                    </a:lnTo>
                    <a:lnTo>
                      <a:pt x="168" y="118"/>
                    </a:lnTo>
                    <a:lnTo>
                      <a:pt x="168" y="118"/>
                    </a:lnTo>
                    <a:lnTo>
                      <a:pt x="168" y="118"/>
                    </a:lnTo>
                    <a:lnTo>
                      <a:pt x="168" y="118"/>
                    </a:lnTo>
                    <a:lnTo>
                      <a:pt x="168" y="118"/>
                    </a:lnTo>
                    <a:lnTo>
                      <a:pt x="163" y="118"/>
                    </a:lnTo>
                    <a:lnTo>
                      <a:pt x="163" y="118"/>
                    </a:lnTo>
                    <a:lnTo>
                      <a:pt x="163" y="118"/>
                    </a:lnTo>
                    <a:lnTo>
                      <a:pt x="159" y="118"/>
                    </a:lnTo>
                    <a:lnTo>
                      <a:pt x="159" y="118"/>
                    </a:lnTo>
                    <a:lnTo>
                      <a:pt x="159" y="113"/>
                    </a:lnTo>
                    <a:lnTo>
                      <a:pt x="159" y="113"/>
                    </a:lnTo>
                    <a:lnTo>
                      <a:pt x="159" y="113"/>
                    </a:lnTo>
                    <a:lnTo>
                      <a:pt x="159" y="113"/>
                    </a:lnTo>
                    <a:lnTo>
                      <a:pt x="163" y="113"/>
                    </a:lnTo>
                    <a:lnTo>
                      <a:pt x="163" y="113"/>
                    </a:lnTo>
                    <a:lnTo>
                      <a:pt x="163" y="113"/>
                    </a:lnTo>
                    <a:lnTo>
                      <a:pt x="168" y="113"/>
                    </a:lnTo>
                    <a:lnTo>
                      <a:pt x="173" y="113"/>
                    </a:lnTo>
                    <a:lnTo>
                      <a:pt x="173" y="113"/>
                    </a:lnTo>
                    <a:lnTo>
                      <a:pt x="173" y="113"/>
                    </a:lnTo>
                    <a:lnTo>
                      <a:pt x="182" y="109"/>
                    </a:lnTo>
                    <a:lnTo>
                      <a:pt x="182" y="109"/>
                    </a:lnTo>
                    <a:lnTo>
                      <a:pt x="182" y="109"/>
                    </a:lnTo>
                    <a:lnTo>
                      <a:pt x="182" y="109"/>
                    </a:lnTo>
                    <a:moveTo>
                      <a:pt x="64" y="181"/>
                    </a:moveTo>
                    <a:lnTo>
                      <a:pt x="64" y="181"/>
                    </a:lnTo>
                    <a:lnTo>
                      <a:pt x="64" y="181"/>
                    </a:lnTo>
                    <a:lnTo>
                      <a:pt x="64" y="181"/>
                    </a:lnTo>
                    <a:lnTo>
                      <a:pt x="68" y="181"/>
                    </a:lnTo>
                    <a:lnTo>
                      <a:pt x="68" y="181"/>
                    </a:lnTo>
                    <a:lnTo>
                      <a:pt x="68" y="181"/>
                    </a:lnTo>
                    <a:lnTo>
                      <a:pt x="68" y="186"/>
                    </a:lnTo>
                    <a:lnTo>
                      <a:pt x="64" y="181"/>
                    </a:lnTo>
                    <a:moveTo>
                      <a:pt x="132" y="186"/>
                    </a:moveTo>
                    <a:lnTo>
                      <a:pt x="132" y="186"/>
                    </a:lnTo>
                    <a:lnTo>
                      <a:pt x="132" y="186"/>
                    </a:lnTo>
                    <a:lnTo>
                      <a:pt x="132" y="181"/>
                    </a:lnTo>
                    <a:lnTo>
                      <a:pt x="132" y="181"/>
                    </a:lnTo>
                    <a:lnTo>
                      <a:pt x="132" y="181"/>
                    </a:lnTo>
                    <a:lnTo>
                      <a:pt x="123" y="172"/>
                    </a:lnTo>
                    <a:lnTo>
                      <a:pt x="123" y="172"/>
                    </a:lnTo>
                    <a:lnTo>
                      <a:pt x="118" y="177"/>
                    </a:lnTo>
                    <a:lnTo>
                      <a:pt x="118" y="177"/>
                    </a:lnTo>
                    <a:lnTo>
                      <a:pt x="118" y="181"/>
                    </a:lnTo>
                    <a:lnTo>
                      <a:pt x="114" y="181"/>
                    </a:lnTo>
                    <a:lnTo>
                      <a:pt x="114" y="181"/>
                    </a:lnTo>
                    <a:lnTo>
                      <a:pt x="114" y="186"/>
                    </a:lnTo>
                    <a:lnTo>
                      <a:pt x="109" y="186"/>
                    </a:lnTo>
                    <a:lnTo>
                      <a:pt x="109" y="186"/>
                    </a:lnTo>
                    <a:lnTo>
                      <a:pt x="109" y="186"/>
                    </a:lnTo>
                    <a:lnTo>
                      <a:pt x="109" y="186"/>
                    </a:lnTo>
                    <a:lnTo>
                      <a:pt x="105" y="191"/>
                    </a:lnTo>
                    <a:lnTo>
                      <a:pt x="105" y="191"/>
                    </a:lnTo>
                    <a:lnTo>
                      <a:pt x="105" y="195"/>
                    </a:lnTo>
                    <a:lnTo>
                      <a:pt x="95" y="195"/>
                    </a:lnTo>
                    <a:lnTo>
                      <a:pt x="91" y="195"/>
                    </a:lnTo>
                    <a:lnTo>
                      <a:pt x="91" y="195"/>
                    </a:lnTo>
                    <a:lnTo>
                      <a:pt x="91" y="195"/>
                    </a:lnTo>
                    <a:lnTo>
                      <a:pt x="91" y="195"/>
                    </a:lnTo>
                    <a:lnTo>
                      <a:pt x="91" y="191"/>
                    </a:lnTo>
                    <a:lnTo>
                      <a:pt x="91" y="191"/>
                    </a:lnTo>
                    <a:lnTo>
                      <a:pt x="91" y="191"/>
                    </a:lnTo>
                    <a:lnTo>
                      <a:pt x="91" y="191"/>
                    </a:lnTo>
                    <a:lnTo>
                      <a:pt x="86" y="186"/>
                    </a:lnTo>
                    <a:lnTo>
                      <a:pt x="82" y="186"/>
                    </a:lnTo>
                    <a:lnTo>
                      <a:pt x="77" y="186"/>
                    </a:lnTo>
                    <a:lnTo>
                      <a:pt x="77" y="186"/>
                    </a:lnTo>
                    <a:lnTo>
                      <a:pt x="77" y="186"/>
                    </a:lnTo>
                    <a:lnTo>
                      <a:pt x="77" y="191"/>
                    </a:lnTo>
                    <a:lnTo>
                      <a:pt x="77" y="195"/>
                    </a:lnTo>
                    <a:lnTo>
                      <a:pt x="77" y="195"/>
                    </a:lnTo>
                    <a:lnTo>
                      <a:pt x="77" y="195"/>
                    </a:lnTo>
                    <a:lnTo>
                      <a:pt x="82" y="200"/>
                    </a:lnTo>
                    <a:lnTo>
                      <a:pt x="86" y="200"/>
                    </a:lnTo>
                    <a:lnTo>
                      <a:pt x="86" y="200"/>
                    </a:lnTo>
                    <a:lnTo>
                      <a:pt x="86" y="204"/>
                    </a:lnTo>
                    <a:lnTo>
                      <a:pt x="82" y="209"/>
                    </a:lnTo>
                    <a:lnTo>
                      <a:pt x="77" y="209"/>
                    </a:lnTo>
                    <a:lnTo>
                      <a:pt x="73" y="209"/>
                    </a:lnTo>
                    <a:lnTo>
                      <a:pt x="68" y="209"/>
                    </a:lnTo>
                    <a:lnTo>
                      <a:pt x="68" y="209"/>
                    </a:lnTo>
                    <a:lnTo>
                      <a:pt x="68" y="213"/>
                    </a:lnTo>
                    <a:lnTo>
                      <a:pt x="68" y="213"/>
                    </a:lnTo>
                    <a:lnTo>
                      <a:pt x="64" y="213"/>
                    </a:lnTo>
                    <a:lnTo>
                      <a:pt x="64" y="213"/>
                    </a:lnTo>
                    <a:lnTo>
                      <a:pt x="64" y="213"/>
                    </a:lnTo>
                    <a:lnTo>
                      <a:pt x="59" y="213"/>
                    </a:lnTo>
                    <a:lnTo>
                      <a:pt x="59" y="213"/>
                    </a:lnTo>
                    <a:lnTo>
                      <a:pt x="55" y="213"/>
                    </a:lnTo>
                    <a:lnTo>
                      <a:pt x="55" y="218"/>
                    </a:lnTo>
                    <a:lnTo>
                      <a:pt x="55" y="222"/>
                    </a:lnTo>
                    <a:lnTo>
                      <a:pt x="55" y="227"/>
                    </a:lnTo>
                    <a:lnTo>
                      <a:pt x="55" y="227"/>
                    </a:lnTo>
                    <a:lnTo>
                      <a:pt x="55" y="231"/>
                    </a:lnTo>
                    <a:lnTo>
                      <a:pt x="55" y="231"/>
                    </a:lnTo>
                    <a:lnTo>
                      <a:pt x="55" y="236"/>
                    </a:lnTo>
                    <a:lnTo>
                      <a:pt x="50" y="231"/>
                    </a:lnTo>
                    <a:lnTo>
                      <a:pt x="50" y="236"/>
                    </a:lnTo>
                    <a:lnTo>
                      <a:pt x="50" y="236"/>
                    </a:lnTo>
                    <a:lnTo>
                      <a:pt x="46" y="240"/>
                    </a:lnTo>
                    <a:lnTo>
                      <a:pt x="46" y="240"/>
                    </a:lnTo>
                    <a:lnTo>
                      <a:pt x="41" y="240"/>
                    </a:lnTo>
                    <a:lnTo>
                      <a:pt x="46" y="250"/>
                    </a:lnTo>
                    <a:lnTo>
                      <a:pt x="46" y="254"/>
                    </a:lnTo>
                    <a:lnTo>
                      <a:pt x="50" y="254"/>
                    </a:lnTo>
                    <a:lnTo>
                      <a:pt x="50" y="254"/>
                    </a:lnTo>
                    <a:lnTo>
                      <a:pt x="55" y="254"/>
                    </a:lnTo>
                    <a:lnTo>
                      <a:pt x="55" y="254"/>
                    </a:lnTo>
                    <a:lnTo>
                      <a:pt x="59" y="254"/>
                    </a:lnTo>
                    <a:lnTo>
                      <a:pt x="59" y="250"/>
                    </a:lnTo>
                    <a:lnTo>
                      <a:pt x="64" y="250"/>
                    </a:lnTo>
                    <a:lnTo>
                      <a:pt x="64" y="245"/>
                    </a:lnTo>
                    <a:lnTo>
                      <a:pt x="64" y="245"/>
                    </a:lnTo>
                    <a:lnTo>
                      <a:pt x="59" y="245"/>
                    </a:lnTo>
                    <a:lnTo>
                      <a:pt x="59" y="245"/>
                    </a:lnTo>
                    <a:lnTo>
                      <a:pt x="59" y="245"/>
                    </a:lnTo>
                    <a:lnTo>
                      <a:pt x="59" y="240"/>
                    </a:lnTo>
                    <a:lnTo>
                      <a:pt x="59" y="240"/>
                    </a:lnTo>
                    <a:lnTo>
                      <a:pt x="68" y="231"/>
                    </a:lnTo>
                    <a:lnTo>
                      <a:pt x="68" y="231"/>
                    </a:lnTo>
                    <a:lnTo>
                      <a:pt x="68" y="231"/>
                    </a:lnTo>
                    <a:lnTo>
                      <a:pt x="73" y="231"/>
                    </a:lnTo>
                    <a:lnTo>
                      <a:pt x="73" y="231"/>
                    </a:lnTo>
                    <a:lnTo>
                      <a:pt x="77" y="231"/>
                    </a:lnTo>
                    <a:lnTo>
                      <a:pt x="77" y="231"/>
                    </a:lnTo>
                    <a:lnTo>
                      <a:pt x="73" y="231"/>
                    </a:lnTo>
                    <a:lnTo>
                      <a:pt x="73" y="227"/>
                    </a:lnTo>
                    <a:lnTo>
                      <a:pt x="73" y="227"/>
                    </a:lnTo>
                    <a:lnTo>
                      <a:pt x="73" y="222"/>
                    </a:lnTo>
                    <a:lnTo>
                      <a:pt x="73" y="222"/>
                    </a:lnTo>
                    <a:lnTo>
                      <a:pt x="73" y="218"/>
                    </a:lnTo>
                    <a:lnTo>
                      <a:pt x="68" y="218"/>
                    </a:lnTo>
                    <a:lnTo>
                      <a:pt x="68" y="218"/>
                    </a:lnTo>
                    <a:lnTo>
                      <a:pt x="73" y="218"/>
                    </a:lnTo>
                    <a:lnTo>
                      <a:pt x="73" y="218"/>
                    </a:lnTo>
                    <a:lnTo>
                      <a:pt x="73" y="218"/>
                    </a:lnTo>
                    <a:lnTo>
                      <a:pt x="82" y="218"/>
                    </a:lnTo>
                    <a:lnTo>
                      <a:pt x="82" y="218"/>
                    </a:lnTo>
                    <a:lnTo>
                      <a:pt x="82" y="213"/>
                    </a:lnTo>
                    <a:lnTo>
                      <a:pt x="82" y="213"/>
                    </a:lnTo>
                    <a:lnTo>
                      <a:pt x="86" y="213"/>
                    </a:lnTo>
                    <a:lnTo>
                      <a:pt x="86" y="213"/>
                    </a:lnTo>
                    <a:lnTo>
                      <a:pt x="91" y="209"/>
                    </a:lnTo>
                    <a:lnTo>
                      <a:pt x="95" y="209"/>
                    </a:lnTo>
                    <a:lnTo>
                      <a:pt x="95" y="209"/>
                    </a:lnTo>
                    <a:lnTo>
                      <a:pt x="100" y="209"/>
                    </a:lnTo>
                    <a:lnTo>
                      <a:pt x="100" y="209"/>
                    </a:lnTo>
                    <a:lnTo>
                      <a:pt x="105" y="209"/>
                    </a:lnTo>
                    <a:lnTo>
                      <a:pt x="105" y="209"/>
                    </a:lnTo>
                    <a:lnTo>
                      <a:pt x="105" y="209"/>
                    </a:lnTo>
                    <a:lnTo>
                      <a:pt x="105" y="209"/>
                    </a:lnTo>
                    <a:lnTo>
                      <a:pt x="105" y="204"/>
                    </a:lnTo>
                    <a:lnTo>
                      <a:pt x="105" y="204"/>
                    </a:lnTo>
                    <a:lnTo>
                      <a:pt x="105" y="204"/>
                    </a:lnTo>
                    <a:lnTo>
                      <a:pt x="105" y="204"/>
                    </a:lnTo>
                    <a:lnTo>
                      <a:pt x="105" y="204"/>
                    </a:lnTo>
                    <a:lnTo>
                      <a:pt x="105" y="204"/>
                    </a:lnTo>
                    <a:lnTo>
                      <a:pt x="109" y="200"/>
                    </a:lnTo>
                    <a:lnTo>
                      <a:pt x="109" y="200"/>
                    </a:lnTo>
                    <a:lnTo>
                      <a:pt x="109" y="200"/>
                    </a:lnTo>
                    <a:lnTo>
                      <a:pt x="114" y="200"/>
                    </a:lnTo>
                    <a:lnTo>
                      <a:pt x="118" y="200"/>
                    </a:lnTo>
                    <a:lnTo>
                      <a:pt x="123" y="200"/>
                    </a:lnTo>
                    <a:lnTo>
                      <a:pt x="127" y="195"/>
                    </a:lnTo>
                    <a:lnTo>
                      <a:pt x="127" y="195"/>
                    </a:lnTo>
                    <a:lnTo>
                      <a:pt x="127" y="195"/>
                    </a:lnTo>
                    <a:lnTo>
                      <a:pt x="127" y="195"/>
                    </a:lnTo>
                    <a:lnTo>
                      <a:pt x="127" y="195"/>
                    </a:lnTo>
                    <a:lnTo>
                      <a:pt x="127" y="191"/>
                    </a:lnTo>
                    <a:lnTo>
                      <a:pt x="127" y="191"/>
                    </a:lnTo>
                    <a:lnTo>
                      <a:pt x="127" y="191"/>
                    </a:lnTo>
                    <a:lnTo>
                      <a:pt x="127" y="186"/>
                    </a:lnTo>
                    <a:lnTo>
                      <a:pt x="132" y="186"/>
                    </a:lnTo>
                    <a:lnTo>
                      <a:pt x="132" y="186"/>
                    </a:lnTo>
                    <a:lnTo>
                      <a:pt x="132" y="186"/>
                    </a:lnTo>
                    <a:lnTo>
                      <a:pt x="132" y="186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" name="Freeform 19"/>
              <p:cNvSpPr>
                <a:spLocks noEditPoints="1"/>
              </p:cNvSpPr>
              <p:nvPr/>
            </p:nvSpPr>
            <p:spPr bwMode="auto">
              <a:xfrm>
                <a:off x="2001838" y="2909888"/>
                <a:ext cx="295275" cy="252412"/>
              </a:xfrm>
              <a:custGeom>
                <a:avLst/>
                <a:gdLst>
                  <a:gd name="T0" fmla="*/ 118 w 186"/>
                  <a:gd name="T1" fmla="*/ 9 h 159"/>
                  <a:gd name="T2" fmla="*/ 118 w 186"/>
                  <a:gd name="T3" fmla="*/ 4 h 159"/>
                  <a:gd name="T4" fmla="*/ 123 w 186"/>
                  <a:gd name="T5" fmla="*/ 4 h 159"/>
                  <a:gd name="T6" fmla="*/ 73 w 186"/>
                  <a:gd name="T7" fmla="*/ 23 h 159"/>
                  <a:gd name="T8" fmla="*/ 73 w 186"/>
                  <a:gd name="T9" fmla="*/ 27 h 159"/>
                  <a:gd name="T10" fmla="*/ 68 w 186"/>
                  <a:gd name="T11" fmla="*/ 23 h 159"/>
                  <a:gd name="T12" fmla="*/ 68 w 186"/>
                  <a:gd name="T13" fmla="*/ 154 h 159"/>
                  <a:gd name="T14" fmla="*/ 64 w 186"/>
                  <a:gd name="T15" fmla="*/ 140 h 159"/>
                  <a:gd name="T16" fmla="*/ 64 w 186"/>
                  <a:gd name="T17" fmla="*/ 127 h 159"/>
                  <a:gd name="T18" fmla="*/ 68 w 186"/>
                  <a:gd name="T19" fmla="*/ 131 h 159"/>
                  <a:gd name="T20" fmla="*/ 77 w 186"/>
                  <a:gd name="T21" fmla="*/ 122 h 159"/>
                  <a:gd name="T22" fmla="*/ 82 w 186"/>
                  <a:gd name="T23" fmla="*/ 113 h 159"/>
                  <a:gd name="T24" fmla="*/ 91 w 186"/>
                  <a:gd name="T25" fmla="*/ 104 h 159"/>
                  <a:gd name="T26" fmla="*/ 86 w 186"/>
                  <a:gd name="T27" fmla="*/ 100 h 159"/>
                  <a:gd name="T28" fmla="*/ 104 w 186"/>
                  <a:gd name="T29" fmla="*/ 91 h 159"/>
                  <a:gd name="T30" fmla="*/ 114 w 186"/>
                  <a:gd name="T31" fmla="*/ 81 h 159"/>
                  <a:gd name="T32" fmla="*/ 118 w 186"/>
                  <a:gd name="T33" fmla="*/ 68 h 159"/>
                  <a:gd name="T34" fmla="*/ 127 w 186"/>
                  <a:gd name="T35" fmla="*/ 54 h 159"/>
                  <a:gd name="T36" fmla="*/ 141 w 186"/>
                  <a:gd name="T37" fmla="*/ 50 h 159"/>
                  <a:gd name="T38" fmla="*/ 163 w 186"/>
                  <a:gd name="T39" fmla="*/ 50 h 159"/>
                  <a:gd name="T40" fmla="*/ 182 w 186"/>
                  <a:gd name="T41" fmla="*/ 45 h 159"/>
                  <a:gd name="T42" fmla="*/ 177 w 186"/>
                  <a:gd name="T43" fmla="*/ 27 h 159"/>
                  <a:gd name="T44" fmla="*/ 163 w 186"/>
                  <a:gd name="T45" fmla="*/ 32 h 159"/>
                  <a:gd name="T46" fmla="*/ 145 w 186"/>
                  <a:gd name="T47" fmla="*/ 32 h 159"/>
                  <a:gd name="T48" fmla="*/ 136 w 186"/>
                  <a:gd name="T49" fmla="*/ 36 h 159"/>
                  <a:gd name="T50" fmla="*/ 123 w 186"/>
                  <a:gd name="T51" fmla="*/ 36 h 159"/>
                  <a:gd name="T52" fmla="*/ 109 w 186"/>
                  <a:gd name="T53" fmla="*/ 9 h 159"/>
                  <a:gd name="T54" fmla="*/ 100 w 186"/>
                  <a:gd name="T55" fmla="*/ 9 h 159"/>
                  <a:gd name="T56" fmla="*/ 104 w 186"/>
                  <a:gd name="T57" fmla="*/ 13 h 159"/>
                  <a:gd name="T58" fmla="*/ 86 w 186"/>
                  <a:gd name="T59" fmla="*/ 32 h 159"/>
                  <a:gd name="T60" fmla="*/ 77 w 186"/>
                  <a:gd name="T61" fmla="*/ 50 h 159"/>
                  <a:gd name="T62" fmla="*/ 55 w 186"/>
                  <a:gd name="T63" fmla="*/ 68 h 159"/>
                  <a:gd name="T64" fmla="*/ 45 w 186"/>
                  <a:gd name="T65" fmla="*/ 77 h 159"/>
                  <a:gd name="T66" fmla="*/ 18 w 186"/>
                  <a:gd name="T67" fmla="*/ 86 h 159"/>
                  <a:gd name="T68" fmla="*/ 9 w 186"/>
                  <a:gd name="T69" fmla="*/ 91 h 159"/>
                  <a:gd name="T70" fmla="*/ 9 w 186"/>
                  <a:gd name="T71" fmla="*/ 95 h 159"/>
                  <a:gd name="T72" fmla="*/ 14 w 186"/>
                  <a:gd name="T73" fmla="*/ 95 h 159"/>
                  <a:gd name="T74" fmla="*/ 36 w 186"/>
                  <a:gd name="T75" fmla="*/ 86 h 159"/>
                  <a:gd name="T76" fmla="*/ 41 w 186"/>
                  <a:gd name="T77" fmla="*/ 86 h 159"/>
                  <a:gd name="T78" fmla="*/ 41 w 186"/>
                  <a:gd name="T79" fmla="*/ 95 h 159"/>
                  <a:gd name="T80" fmla="*/ 41 w 186"/>
                  <a:gd name="T81" fmla="*/ 100 h 159"/>
                  <a:gd name="T82" fmla="*/ 41 w 186"/>
                  <a:gd name="T83" fmla="*/ 104 h 159"/>
                  <a:gd name="T84" fmla="*/ 50 w 186"/>
                  <a:gd name="T85" fmla="*/ 113 h 159"/>
                  <a:gd name="T86" fmla="*/ 55 w 186"/>
                  <a:gd name="T87" fmla="*/ 118 h 159"/>
                  <a:gd name="T88" fmla="*/ 45 w 186"/>
                  <a:gd name="T89" fmla="*/ 122 h 159"/>
                  <a:gd name="T90" fmla="*/ 45 w 186"/>
                  <a:gd name="T91" fmla="*/ 122 h 159"/>
                  <a:gd name="T92" fmla="*/ 45 w 186"/>
                  <a:gd name="T93" fmla="*/ 127 h 159"/>
                  <a:gd name="T94" fmla="*/ 45 w 186"/>
                  <a:gd name="T95" fmla="*/ 131 h 159"/>
                  <a:gd name="T96" fmla="*/ 45 w 186"/>
                  <a:gd name="T97" fmla="*/ 136 h 159"/>
                  <a:gd name="T98" fmla="*/ 45 w 186"/>
                  <a:gd name="T99" fmla="*/ 140 h 159"/>
                  <a:gd name="T100" fmla="*/ 45 w 186"/>
                  <a:gd name="T101" fmla="*/ 159 h 159"/>
                  <a:gd name="T102" fmla="*/ 50 w 186"/>
                  <a:gd name="T103" fmla="*/ 154 h 159"/>
                  <a:gd name="T104" fmla="*/ 55 w 186"/>
                  <a:gd name="T105" fmla="*/ 154 h 159"/>
                  <a:gd name="T106" fmla="*/ 68 w 186"/>
                  <a:gd name="T107" fmla="*/ 154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86" h="159">
                    <a:moveTo>
                      <a:pt x="123" y="4"/>
                    </a:moveTo>
                    <a:lnTo>
                      <a:pt x="123" y="4"/>
                    </a:lnTo>
                    <a:lnTo>
                      <a:pt x="123" y="4"/>
                    </a:lnTo>
                    <a:lnTo>
                      <a:pt x="123" y="4"/>
                    </a:lnTo>
                    <a:lnTo>
                      <a:pt x="118" y="9"/>
                    </a:lnTo>
                    <a:lnTo>
                      <a:pt x="118" y="9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4" y="4"/>
                    </a:lnTo>
                    <a:lnTo>
                      <a:pt x="118" y="4"/>
                    </a:lnTo>
                    <a:lnTo>
                      <a:pt x="118" y="4"/>
                    </a:lnTo>
                    <a:lnTo>
                      <a:pt x="118" y="4"/>
                    </a:lnTo>
                    <a:lnTo>
                      <a:pt x="118" y="4"/>
                    </a:lnTo>
                    <a:lnTo>
                      <a:pt x="118" y="4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23" y="0"/>
                    </a:lnTo>
                    <a:lnTo>
                      <a:pt x="123" y="4"/>
                    </a:lnTo>
                    <a:lnTo>
                      <a:pt x="123" y="4"/>
                    </a:lnTo>
                    <a:lnTo>
                      <a:pt x="123" y="4"/>
                    </a:lnTo>
                    <a:lnTo>
                      <a:pt x="123" y="4"/>
                    </a:lnTo>
                    <a:moveTo>
                      <a:pt x="73" y="18"/>
                    </a:moveTo>
                    <a:lnTo>
                      <a:pt x="73" y="18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3" y="27"/>
                    </a:lnTo>
                    <a:lnTo>
                      <a:pt x="68" y="27"/>
                    </a:lnTo>
                    <a:lnTo>
                      <a:pt x="68" y="27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8"/>
                    </a:lnTo>
                    <a:moveTo>
                      <a:pt x="68" y="154"/>
                    </a:moveTo>
                    <a:lnTo>
                      <a:pt x="68" y="154"/>
                    </a:lnTo>
                    <a:lnTo>
                      <a:pt x="68" y="150"/>
                    </a:lnTo>
                    <a:lnTo>
                      <a:pt x="68" y="150"/>
                    </a:lnTo>
                    <a:lnTo>
                      <a:pt x="68" y="145"/>
                    </a:lnTo>
                    <a:lnTo>
                      <a:pt x="64" y="140"/>
                    </a:lnTo>
                    <a:lnTo>
                      <a:pt x="64" y="140"/>
                    </a:lnTo>
                    <a:lnTo>
                      <a:pt x="64" y="140"/>
                    </a:lnTo>
                    <a:lnTo>
                      <a:pt x="64" y="136"/>
                    </a:lnTo>
                    <a:lnTo>
                      <a:pt x="64" y="136"/>
                    </a:lnTo>
                    <a:lnTo>
                      <a:pt x="64" y="136"/>
                    </a:lnTo>
                    <a:lnTo>
                      <a:pt x="64" y="131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68" y="131"/>
                    </a:lnTo>
                    <a:lnTo>
                      <a:pt x="68" y="131"/>
                    </a:lnTo>
                    <a:lnTo>
                      <a:pt x="68" y="131"/>
                    </a:lnTo>
                    <a:lnTo>
                      <a:pt x="73" y="131"/>
                    </a:lnTo>
                    <a:lnTo>
                      <a:pt x="73" y="127"/>
                    </a:lnTo>
                    <a:lnTo>
                      <a:pt x="73" y="127"/>
                    </a:lnTo>
                    <a:lnTo>
                      <a:pt x="77" y="122"/>
                    </a:lnTo>
                    <a:lnTo>
                      <a:pt x="77" y="122"/>
                    </a:lnTo>
                    <a:lnTo>
                      <a:pt x="77" y="122"/>
                    </a:lnTo>
                    <a:lnTo>
                      <a:pt x="77" y="122"/>
                    </a:lnTo>
                    <a:lnTo>
                      <a:pt x="77" y="122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3"/>
                    </a:lnTo>
                    <a:lnTo>
                      <a:pt x="91" y="113"/>
                    </a:lnTo>
                    <a:lnTo>
                      <a:pt x="91" y="109"/>
                    </a:lnTo>
                    <a:lnTo>
                      <a:pt x="95" y="109"/>
                    </a:lnTo>
                    <a:lnTo>
                      <a:pt x="91" y="109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86" y="95"/>
                    </a:lnTo>
                    <a:lnTo>
                      <a:pt x="86" y="95"/>
                    </a:lnTo>
                    <a:lnTo>
                      <a:pt x="86" y="91"/>
                    </a:lnTo>
                    <a:lnTo>
                      <a:pt x="86" y="91"/>
                    </a:lnTo>
                    <a:lnTo>
                      <a:pt x="100" y="91"/>
                    </a:lnTo>
                    <a:lnTo>
                      <a:pt x="104" y="91"/>
                    </a:lnTo>
                    <a:lnTo>
                      <a:pt x="104" y="91"/>
                    </a:lnTo>
                    <a:lnTo>
                      <a:pt x="109" y="91"/>
                    </a:lnTo>
                    <a:lnTo>
                      <a:pt x="114" y="86"/>
                    </a:lnTo>
                    <a:lnTo>
                      <a:pt x="114" y="86"/>
                    </a:lnTo>
                    <a:lnTo>
                      <a:pt x="114" y="81"/>
                    </a:lnTo>
                    <a:lnTo>
                      <a:pt x="114" y="81"/>
                    </a:lnTo>
                    <a:lnTo>
                      <a:pt x="114" y="81"/>
                    </a:lnTo>
                    <a:lnTo>
                      <a:pt x="114" y="77"/>
                    </a:lnTo>
                    <a:lnTo>
                      <a:pt x="114" y="77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8" y="68"/>
                    </a:lnTo>
                    <a:lnTo>
                      <a:pt x="123" y="68"/>
                    </a:lnTo>
                    <a:lnTo>
                      <a:pt x="123" y="68"/>
                    </a:lnTo>
                    <a:lnTo>
                      <a:pt x="127" y="59"/>
                    </a:lnTo>
                    <a:lnTo>
                      <a:pt x="127" y="59"/>
                    </a:lnTo>
                    <a:lnTo>
                      <a:pt x="127" y="54"/>
                    </a:lnTo>
                    <a:lnTo>
                      <a:pt x="127" y="54"/>
                    </a:lnTo>
                    <a:lnTo>
                      <a:pt x="132" y="54"/>
                    </a:lnTo>
                    <a:lnTo>
                      <a:pt x="132" y="54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41" y="50"/>
                    </a:lnTo>
                    <a:lnTo>
                      <a:pt x="141" y="50"/>
                    </a:lnTo>
                    <a:lnTo>
                      <a:pt x="145" y="50"/>
                    </a:lnTo>
                    <a:lnTo>
                      <a:pt x="145" y="50"/>
                    </a:lnTo>
                    <a:lnTo>
                      <a:pt x="150" y="50"/>
                    </a:lnTo>
                    <a:lnTo>
                      <a:pt x="159" y="50"/>
                    </a:lnTo>
                    <a:lnTo>
                      <a:pt x="163" y="50"/>
                    </a:lnTo>
                    <a:lnTo>
                      <a:pt x="163" y="50"/>
                    </a:lnTo>
                    <a:lnTo>
                      <a:pt x="168" y="50"/>
                    </a:lnTo>
                    <a:lnTo>
                      <a:pt x="172" y="50"/>
                    </a:lnTo>
                    <a:lnTo>
                      <a:pt x="182" y="50"/>
                    </a:lnTo>
                    <a:lnTo>
                      <a:pt x="182" y="45"/>
                    </a:lnTo>
                    <a:lnTo>
                      <a:pt x="182" y="45"/>
                    </a:lnTo>
                    <a:lnTo>
                      <a:pt x="186" y="41"/>
                    </a:lnTo>
                    <a:lnTo>
                      <a:pt x="182" y="32"/>
                    </a:lnTo>
                    <a:lnTo>
                      <a:pt x="182" y="27"/>
                    </a:lnTo>
                    <a:lnTo>
                      <a:pt x="182" y="27"/>
                    </a:lnTo>
                    <a:lnTo>
                      <a:pt x="177" y="27"/>
                    </a:lnTo>
                    <a:lnTo>
                      <a:pt x="177" y="27"/>
                    </a:lnTo>
                    <a:lnTo>
                      <a:pt x="172" y="27"/>
                    </a:lnTo>
                    <a:lnTo>
                      <a:pt x="172" y="32"/>
                    </a:lnTo>
                    <a:lnTo>
                      <a:pt x="172" y="32"/>
                    </a:lnTo>
                    <a:lnTo>
                      <a:pt x="168" y="32"/>
                    </a:lnTo>
                    <a:lnTo>
                      <a:pt x="168" y="32"/>
                    </a:lnTo>
                    <a:lnTo>
                      <a:pt x="163" y="32"/>
                    </a:lnTo>
                    <a:lnTo>
                      <a:pt x="159" y="32"/>
                    </a:lnTo>
                    <a:lnTo>
                      <a:pt x="159" y="32"/>
                    </a:lnTo>
                    <a:lnTo>
                      <a:pt x="150" y="32"/>
                    </a:lnTo>
                    <a:lnTo>
                      <a:pt x="145" y="32"/>
                    </a:lnTo>
                    <a:lnTo>
                      <a:pt x="145" y="32"/>
                    </a:lnTo>
                    <a:lnTo>
                      <a:pt x="145" y="32"/>
                    </a:lnTo>
                    <a:lnTo>
                      <a:pt x="145" y="32"/>
                    </a:lnTo>
                    <a:lnTo>
                      <a:pt x="141" y="32"/>
                    </a:lnTo>
                    <a:lnTo>
                      <a:pt x="141" y="32"/>
                    </a:lnTo>
                    <a:lnTo>
                      <a:pt x="141" y="32"/>
                    </a:lnTo>
                    <a:lnTo>
                      <a:pt x="141" y="32"/>
                    </a:lnTo>
                    <a:lnTo>
                      <a:pt x="136" y="36"/>
                    </a:lnTo>
                    <a:lnTo>
                      <a:pt x="132" y="36"/>
                    </a:lnTo>
                    <a:lnTo>
                      <a:pt x="132" y="36"/>
                    </a:lnTo>
                    <a:lnTo>
                      <a:pt x="127" y="36"/>
                    </a:lnTo>
                    <a:lnTo>
                      <a:pt x="127" y="36"/>
                    </a:lnTo>
                    <a:lnTo>
                      <a:pt x="123" y="36"/>
                    </a:lnTo>
                    <a:lnTo>
                      <a:pt x="123" y="36"/>
                    </a:lnTo>
                    <a:lnTo>
                      <a:pt x="118" y="32"/>
                    </a:lnTo>
                    <a:lnTo>
                      <a:pt x="118" y="32"/>
                    </a:lnTo>
                    <a:lnTo>
                      <a:pt x="118" y="27"/>
                    </a:lnTo>
                    <a:lnTo>
                      <a:pt x="118" y="23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4" y="9"/>
                    </a:lnTo>
                    <a:lnTo>
                      <a:pt x="104" y="9"/>
                    </a:lnTo>
                    <a:lnTo>
                      <a:pt x="100" y="9"/>
                    </a:lnTo>
                    <a:lnTo>
                      <a:pt x="100" y="9"/>
                    </a:lnTo>
                    <a:lnTo>
                      <a:pt x="104" y="9"/>
                    </a:lnTo>
                    <a:lnTo>
                      <a:pt x="104" y="13"/>
                    </a:lnTo>
                    <a:lnTo>
                      <a:pt x="104" y="13"/>
                    </a:lnTo>
                    <a:lnTo>
                      <a:pt x="104" y="13"/>
                    </a:lnTo>
                    <a:lnTo>
                      <a:pt x="104" y="13"/>
                    </a:lnTo>
                    <a:lnTo>
                      <a:pt x="100" y="18"/>
                    </a:lnTo>
                    <a:lnTo>
                      <a:pt x="95" y="18"/>
                    </a:lnTo>
                    <a:lnTo>
                      <a:pt x="91" y="23"/>
                    </a:lnTo>
                    <a:lnTo>
                      <a:pt x="86" y="23"/>
                    </a:lnTo>
                    <a:lnTo>
                      <a:pt x="86" y="27"/>
                    </a:lnTo>
                    <a:lnTo>
                      <a:pt x="86" y="32"/>
                    </a:lnTo>
                    <a:lnTo>
                      <a:pt x="86" y="36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77" y="41"/>
                    </a:lnTo>
                    <a:lnTo>
                      <a:pt x="77" y="45"/>
                    </a:lnTo>
                    <a:lnTo>
                      <a:pt x="77" y="50"/>
                    </a:lnTo>
                    <a:lnTo>
                      <a:pt x="77" y="50"/>
                    </a:lnTo>
                    <a:lnTo>
                      <a:pt x="73" y="54"/>
                    </a:lnTo>
                    <a:lnTo>
                      <a:pt x="73" y="59"/>
                    </a:lnTo>
                    <a:lnTo>
                      <a:pt x="68" y="63"/>
                    </a:lnTo>
                    <a:lnTo>
                      <a:pt x="64" y="63"/>
                    </a:lnTo>
                    <a:lnTo>
                      <a:pt x="55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45" y="72"/>
                    </a:lnTo>
                    <a:lnTo>
                      <a:pt x="45" y="72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27" y="81"/>
                    </a:lnTo>
                    <a:lnTo>
                      <a:pt x="27" y="86"/>
                    </a:lnTo>
                    <a:lnTo>
                      <a:pt x="23" y="86"/>
                    </a:lnTo>
                    <a:lnTo>
                      <a:pt x="23" y="86"/>
                    </a:lnTo>
                    <a:lnTo>
                      <a:pt x="23" y="86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91"/>
                    </a:lnTo>
                    <a:lnTo>
                      <a:pt x="14" y="91"/>
                    </a:lnTo>
                    <a:lnTo>
                      <a:pt x="14" y="91"/>
                    </a:lnTo>
                    <a:lnTo>
                      <a:pt x="9" y="91"/>
                    </a:lnTo>
                    <a:lnTo>
                      <a:pt x="5" y="95"/>
                    </a:lnTo>
                    <a:lnTo>
                      <a:pt x="0" y="95"/>
                    </a:lnTo>
                    <a:lnTo>
                      <a:pt x="0" y="95"/>
                    </a:lnTo>
                    <a:lnTo>
                      <a:pt x="0" y="95"/>
                    </a:lnTo>
                    <a:lnTo>
                      <a:pt x="5" y="95"/>
                    </a:lnTo>
                    <a:lnTo>
                      <a:pt x="9" y="95"/>
                    </a:lnTo>
                    <a:lnTo>
                      <a:pt x="9" y="95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23" y="91"/>
                    </a:lnTo>
                    <a:lnTo>
                      <a:pt x="27" y="86"/>
                    </a:lnTo>
                    <a:lnTo>
                      <a:pt x="32" y="86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41" y="86"/>
                    </a:lnTo>
                    <a:lnTo>
                      <a:pt x="45" y="86"/>
                    </a:lnTo>
                    <a:lnTo>
                      <a:pt x="41" y="86"/>
                    </a:lnTo>
                    <a:lnTo>
                      <a:pt x="41" y="91"/>
                    </a:lnTo>
                    <a:lnTo>
                      <a:pt x="41" y="91"/>
                    </a:lnTo>
                    <a:lnTo>
                      <a:pt x="41" y="91"/>
                    </a:lnTo>
                    <a:lnTo>
                      <a:pt x="41" y="91"/>
                    </a:lnTo>
                    <a:lnTo>
                      <a:pt x="41" y="91"/>
                    </a:lnTo>
                    <a:lnTo>
                      <a:pt x="41" y="95"/>
                    </a:lnTo>
                    <a:lnTo>
                      <a:pt x="41" y="95"/>
                    </a:lnTo>
                    <a:lnTo>
                      <a:pt x="41" y="100"/>
                    </a:lnTo>
                    <a:lnTo>
                      <a:pt x="45" y="95"/>
                    </a:lnTo>
                    <a:lnTo>
                      <a:pt x="41" y="100"/>
                    </a:lnTo>
                    <a:lnTo>
                      <a:pt x="41" y="100"/>
                    </a:lnTo>
                    <a:lnTo>
                      <a:pt x="41" y="100"/>
                    </a:lnTo>
                    <a:lnTo>
                      <a:pt x="41" y="100"/>
                    </a:lnTo>
                    <a:lnTo>
                      <a:pt x="41" y="100"/>
                    </a:lnTo>
                    <a:lnTo>
                      <a:pt x="36" y="104"/>
                    </a:lnTo>
                    <a:lnTo>
                      <a:pt x="36" y="104"/>
                    </a:lnTo>
                    <a:lnTo>
                      <a:pt x="41" y="104"/>
                    </a:lnTo>
                    <a:lnTo>
                      <a:pt x="41" y="104"/>
                    </a:lnTo>
                    <a:lnTo>
                      <a:pt x="55" y="109"/>
                    </a:lnTo>
                    <a:lnTo>
                      <a:pt x="55" y="109"/>
                    </a:lnTo>
                    <a:lnTo>
                      <a:pt x="50" y="109"/>
                    </a:lnTo>
                    <a:lnTo>
                      <a:pt x="50" y="109"/>
                    </a:lnTo>
                    <a:lnTo>
                      <a:pt x="50" y="113"/>
                    </a:lnTo>
                    <a:lnTo>
                      <a:pt x="50" y="113"/>
                    </a:lnTo>
                    <a:lnTo>
                      <a:pt x="50" y="113"/>
                    </a:lnTo>
                    <a:lnTo>
                      <a:pt x="50" y="113"/>
                    </a:lnTo>
                    <a:lnTo>
                      <a:pt x="55" y="113"/>
                    </a:lnTo>
                    <a:lnTo>
                      <a:pt x="55" y="113"/>
                    </a:lnTo>
                    <a:lnTo>
                      <a:pt x="55" y="113"/>
                    </a:lnTo>
                    <a:lnTo>
                      <a:pt x="55" y="118"/>
                    </a:lnTo>
                    <a:lnTo>
                      <a:pt x="50" y="122"/>
                    </a:lnTo>
                    <a:lnTo>
                      <a:pt x="50" y="122"/>
                    </a:lnTo>
                    <a:lnTo>
                      <a:pt x="50" y="122"/>
                    </a:lnTo>
                    <a:lnTo>
                      <a:pt x="50" y="122"/>
                    </a:lnTo>
                    <a:lnTo>
                      <a:pt x="45" y="122"/>
                    </a:lnTo>
                    <a:lnTo>
                      <a:pt x="45" y="122"/>
                    </a:lnTo>
                    <a:lnTo>
                      <a:pt x="45" y="122"/>
                    </a:lnTo>
                    <a:lnTo>
                      <a:pt x="41" y="118"/>
                    </a:lnTo>
                    <a:lnTo>
                      <a:pt x="41" y="118"/>
                    </a:lnTo>
                    <a:lnTo>
                      <a:pt x="41" y="122"/>
                    </a:lnTo>
                    <a:lnTo>
                      <a:pt x="45" y="122"/>
                    </a:lnTo>
                    <a:lnTo>
                      <a:pt x="45" y="122"/>
                    </a:lnTo>
                    <a:lnTo>
                      <a:pt x="45" y="122"/>
                    </a:lnTo>
                    <a:lnTo>
                      <a:pt x="45" y="122"/>
                    </a:lnTo>
                    <a:lnTo>
                      <a:pt x="41" y="122"/>
                    </a:lnTo>
                    <a:lnTo>
                      <a:pt x="45" y="127"/>
                    </a:lnTo>
                    <a:lnTo>
                      <a:pt x="45" y="127"/>
                    </a:lnTo>
                    <a:lnTo>
                      <a:pt x="45" y="127"/>
                    </a:lnTo>
                    <a:lnTo>
                      <a:pt x="50" y="127"/>
                    </a:lnTo>
                    <a:lnTo>
                      <a:pt x="50" y="127"/>
                    </a:lnTo>
                    <a:lnTo>
                      <a:pt x="45" y="131"/>
                    </a:lnTo>
                    <a:lnTo>
                      <a:pt x="45" y="131"/>
                    </a:lnTo>
                    <a:lnTo>
                      <a:pt x="45" y="131"/>
                    </a:lnTo>
                    <a:lnTo>
                      <a:pt x="45" y="131"/>
                    </a:lnTo>
                    <a:lnTo>
                      <a:pt x="45" y="131"/>
                    </a:lnTo>
                    <a:lnTo>
                      <a:pt x="45" y="131"/>
                    </a:lnTo>
                    <a:lnTo>
                      <a:pt x="45" y="131"/>
                    </a:lnTo>
                    <a:lnTo>
                      <a:pt x="45" y="136"/>
                    </a:lnTo>
                    <a:lnTo>
                      <a:pt x="45" y="136"/>
                    </a:lnTo>
                    <a:lnTo>
                      <a:pt x="45" y="136"/>
                    </a:lnTo>
                    <a:lnTo>
                      <a:pt x="45" y="136"/>
                    </a:lnTo>
                    <a:lnTo>
                      <a:pt x="45" y="136"/>
                    </a:lnTo>
                    <a:lnTo>
                      <a:pt x="41" y="136"/>
                    </a:lnTo>
                    <a:lnTo>
                      <a:pt x="41" y="136"/>
                    </a:lnTo>
                    <a:lnTo>
                      <a:pt x="45" y="140"/>
                    </a:lnTo>
                    <a:lnTo>
                      <a:pt x="45" y="140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45" y="150"/>
                    </a:lnTo>
                    <a:lnTo>
                      <a:pt x="45" y="150"/>
                    </a:lnTo>
                    <a:lnTo>
                      <a:pt x="45" y="154"/>
                    </a:lnTo>
                    <a:lnTo>
                      <a:pt x="45" y="159"/>
                    </a:lnTo>
                    <a:lnTo>
                      <a:pt x="50" y="159"/>
                    </a:lnTo>
                    <a:lnTo>
                      <a:pt x="50" y="159"/>
                    </a:lnTo>
                    <a:lnTo>
                      <a:pt x="50" y="159"/>
                    </a:lnTo>
                    <a:lnTo>
                      <a:pt x="50" y="159"/>
                    </a:lnTo>
                    <a:lnTo>
                      <a:pt x="50" y="154"/>
                    </a:lnTo>
                    <a:lnTo>
                      <a:pt x="50" y="154"/>
                    </a:lnTo>
                    <a:lnTo>
                      <a:pt x="50" y="154"/>
                    </a:lnTo>
                    <a:lnTo>
                      <a:pt x="50" y="154"/>
                    </a:lnTo>
                    <a:lnTo>
                      <a:pt x="55" y="154"/>
                    </a:lnTo>
                    <a:lnTo>
                      <a:pt x="55" y="154"/>
                    </a:lnTo>
                    <a:lnTo>
                      <a:pt x="55" y="154"/>
                    </a:lnTo>
                    <a:lnTo>
                      <a:pt x="55" y="154"/>
                    </a:lnTo>
                    <a:lnTo>
                      <a:pt x="59" y="159"/>
                    </a:lnTo>
                    <a:lnTo>
                      <a:pt x="64" y="159"/>
                    </a:lnTo>
                    <a:lnTo>
                      <a:pt x="64" y="159"/>
                    </a:lnTo>
                    <a:lnTo>
                      <a:pt x="64" y="159"/>
                    </a:lnTo>
                    <a:lnTo>
                      <a:pt x="68" y="154"/>
                    </a:lnTo>
                    <a:lnTo>
                      <a:pt x="68" y="15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2" name="Freeform 20"/>
              <p:cNvSpPr>
                <a:spLocks noEditPoints="1"/>
              </p:cNvSpPr>
              <p:nvPr/>
            </p:nvSpPr>
            <p:spPr bwMode="auto">
              <a:xfrm>
                <a:off x="2274888" y="2859088"/>
                <a:ext cx="152400" cy="101600"/>
              </a:xfrm>
              <a:custGeom>
                <a:avLst/>
                <a:gdLst>
                  <a:gd name="T0" fmla="*/ 23 w 96"/>
                  <a:gd name="T1" fmla="*/ 18 h 64"/>
                  <a:gd name="T2" fmla="*/ 19 w 96"/>
                  <a:gd name="T3" fmla="*/ 18 h 64"/>
                  <a:gd name="T4" fmla="*/ 19 w 96"/>
                  <a:gd name="T5" fmla="*/ 18 h 64"/>
                  <a:gd name="T6" fmla="*/ 19 w 96"/>
                  <a:gd name="T7" fmla="*/ 14 h 64"/>
                  <a:gd name="T8" fmla="*/ 10 w 96"/>
                  <a:gd name="T9" fmla="*/ 59 h 64"/>
                  <a:gd name="T10" fmla="*/ 19 w 96"/>
                  <a:gd name="T11" fmla="*/ 59 h 64"/>
                  <a:gd name="T12" fmla="*/ 23 w 96"/>
                  <a:gd name="T13" fmla="*/ 55 h 64"/>
                  <a:gd name="T14" fmla="*/ 28 w 96"/>
                  <a:gd name="T15" fmla="*/ 55 h 64"/>
                  <a:gd name="T16" fmla="*/ 37 w 96"/>
                  <a:gd name="T17" fmla="*/ 50 h 64"/>
                  <a:gd name="T18" fmla="*/ 41 w 96"/>
                  <a:gd name="T19" fmla="*/ 55 h 64"/>
                  <a:gd name="T20" fmla="*/ 46 w 96"/>
                  <a:gd name="T21" fmla="*/ 55 h 64"/>
                  <a:gd name="T22" fmla="*/ 55 w 96"/>
                  <a:gd name="T23" fmla="*/ 55 h 64"/>
                  <a:gd name="T24" fmla="*/ 64 w 96"/>
                  <a:gd name="T25" fmla="*/ 50 h 64"/>
                  <a:gd name="T26" fmla="*/ 69 w 96"/>
                  <a:gd name="T27" fmla="*/ 45 h 64"/>
                  <a:gd name="T28" fmla="*/ 91 w 96"/>
                  <a:gd name="T29" fmla="*/ 50 h 64"/>
                  <a:gd name="T30" fmla="*/ 96 w 96"/>
                  <a:gd name="T31" fmla="*/ 45 h 64"/>
                  <a:gd name="T32" fmla="*/ 96 w 96"/>
                  <a:gd name="T33" fmla="*/ 41 h 64"/>
                  <a:gd name="T34" fmla="*/ 96 w 96"/>
                  <a:gd name="T35" fmla="*/ 36 h 64"/>
                  <a:gd name="T36" fmla="*/ 87 w 96"/>
                  <a:gd name="T37" fmla="*/ 36 h 64"/>
                  <a:gd name="T38" fmla="*/ 82 w 96"/>
                  <a:gd name="T39" fmla="*/ 32 h 64"/>
                  <a:gd name="T40" fmla="*/ 82 w 96"/>
                  <a:gd name="T41" fmla="*/ 27 h 64"/>
                  <a:gd name="T42" fmla="*/ 73 w 96"/>
                  <a:gd name="T43" fmla="*/ 23 h 64"/>
                  <a:gd name="T44" fmla="*/ 69 w 96"/>
                  <a:gd name="T45" fmla="*/ 27 h 64"/>
                  <a:gd name="T46" fmla="*/ 69 w 96"/>
                  <a:gd name="T47" fmla="*/ 23 h 64"/>
                  <a:gd name="T48" fmla="*/ 69 w 96"/>
                  <a:gd name="T49" fmla="*/ 18 h 64"/>
                  <a:gd name="T50" fmla="*/ 64 w 96"/>
                  <a:gd name="T51" fmla="*/ 18 h 64"/>
                  <a:gd name="T52" fmla="*/ 59 w 96"/>
                  <a:gd name="T53" fmla="*/ 23 h 64"/>
                  <a:gd name="T54" fmla="*/ 55 w 96"/>
                  <a:gd name="T55" fmla="*/ 23 h 64"/>
                  <a:gd name="T56" fmla="*/ 50 w 96"/>
                  <a:gd name="T57" fmla="*/ 23 h 64"/>
                  <a:gd name="T58" fmla="*/ 46 w 96"/>
                  <a:gd name="T59" fmla="*/ 18 h 64"/>
                  <a:gd name="T60" fmla="*/ 41 w 96"/>
                  <a:gd name="T61" fmla="*/ 18 h 64"/>
                  <a:gd name="T62" fmla="*/ 41 w 96"/>
                  <a:gd name="T63" fmla="*/ 18 h 64"/>
                  <a:gd name="T64" fmla="*/ 32 w 96"/>
                  <a:gd name="T65" fmla="*/ 23 h 64"/>
                  <a:gd name="T66" fmla="*/ 23 w 96"/>
                  <a:gd name="T67" fmla="*/ 32 h 64"/>
                  <a:gd name="T68" fmla="*/ 14 w 96"/>
                  <a:gd name="T69" fmla="*/ 32 h 64"/>
                  <a:gd name="T70" fmla="*/ 5 w 96"/>
                  <a:gd name="T71" fmla="*/ 32 h 64"/>
                  <a:gd name="T72" fmla="*/ 5 w 96"/>
                  <a:gd name="T73" fmla="*/ 32 h 64"/>
                  <a:gd name="T74" fmla="*/ 10 w 96"/>
                  <a:gd name="T75" fmla="*/ 36 h 64"/>
                  <a:gd name="T76" fmla="*/ 10 w 96"/>
                  <a:gd name="T77" fmla="*/ 45 h 64"/>
                  <a:gd name="T78" fmla="*/ 10 w 96"/>
                  <a:gd name="T79" fmla="*/ 55 h 64"/>
                  <a:gd name="T80" fmla="*/ 10 w 96"/>
                  <a:gd name="T81" fmla="*/ 59 h 64"/>
                  <a:gd name="T82" fmla="*/ 69 w 96"/>
                  <a:gd name="T83" fmla="*/ 5 h 64"/>
                  <a:gd name="T84" fmla="*/ 73 w 96"/>
                  <a:gd name="T85" fmla="*/ 5 h 64"/>
                  <a:gd name="T86" fmla="*/ 82 w 96"/>
                  <a:gd name="T87" fmla="*/ 0 h 64"/>
                  <a:gd name="T88" fmla="*/ 91 w 96"/>
                  <a:gd name="T89" fmla="*/ 0 h 64"/>
                  <a:gd name="T90" fmla="*/ 91 w 96"/>
                  <a:gd name="T91" fmla="*/ 0 h 64"/>
                  <a:gd name="T92" fmla="*/ 91 w 96"/>
                  <a:gd name="T93" fmla="*/ 14 h 64"/>
                  <a:gd name="T94" fmla="*/ 87 w 96"/>
                  <a:gd name="T95" fmla="*/ 14 h 64"/>
                  <a:gd name="T96" fmla="*/ 87 w 96"/>
                  <a:gd name="T97" fmla="*/ 9 h 64"/>
                  <a:gd name="T98" fmla="*/ 82 w 96"/>
                  <a:gd name="T99" fmla="*/ 9 h 64"/>
                  <a:gd name="T100" fmla="*/ 82 w 96"/>
                  <a:gd name="T101" fmla="*/ 14 h 64"/>
                  <a:gd name="T102" fmla="*/ 78 w 96"/>
                  <a:gd name="T103" fmla="*/ 9 h 64"/>
                  <a:gd name="T104" fmla="*/ 73 w 96"/>
                  <a:gd name="T105" fmla="*/ 9 h 64"/>
                  <a:gd name="T106" fmla="*/ 69 w 96"/>
                  <a:gd name="T107" fmla="*/ 5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6" h="64">
                    <a:moveTo>
                      <a:pt x="23" y="14"/>
                    </a:moveTo>
                    <a:lnTo>
                      <a:pt x="23" y="14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23" y="14"/>
                    </a:lnTo>
                    <a:moveTo>
                      <a:pt x="10" y="59"/>
                    </a:moveTo>
                    <a:lnTo>
                      <a:pt x="10" y="59"/>
                    </a:lnTo>
                    <a:lnTo>
                      <a:pt x="10" y="64"/>
                    </a:lnTo>
                    <a:lnTo>
                      <a:pt x="19" y="59"/>
                    </a:lnTo>
                    <a:lnTo>
                      <a:pt x="19" y="59"/>
                    </a:lnTo>
                    <a:lnTo>
                      <a:pt x="19" y="59"/>
                    </a:lnTo>
                    <a:lnTo>
                      <a:pt x="23" y="55"/>
                    </a:lnTo>
                    <a:lnTo>
                      <a:pt x="23" y="55"/>
                    </a:lnTo>
                    <a:lnTo>
                      <a:pt x="28" y="55"/>
                    </a:lnTo>
                    <a:lnTo>
                      <a:pt x="28" y="55"/>
                    </a:lnTo>
                    <a:lnTo>
                      <a:pt x="28" y="55"/>
                    </a:lnTo>
                    <a:lnTo>
                      <a:pt x="32" y="55"/>
                    </a:lnTo>
                    <a:lnTo>
                      <a:pt x="37" y="50"/>
                    </a:lnTo>
                    <a:lnTo>
                      <a:pt x="41" y="55"/>
                    </a:lnTo>
                    <a:lnTo>
                      <a:pt x="41" y="55"/>
                    </a:lnTo>
                    <a:lnTo>
                      <a:pt x="41" y="55"/>
                    </a:lnTo>
                    <a:lnTo>
                      <a:pt x="46" y="55"/>
                    </a:lnTo>
                    <a:lnTo>
                      <a:pt x="46" y="55"/>
                    </a:lnTo>
                    <a:lnTo>
                      <a:pt x="46" y="55"/>
                    </a:lnTo>
                    <a:lnTo>
                      <a:pt x="50" y="55"/>
                    </a:lnTo>
                    <a:lnTo>
                      <a:pt x="55" y="55"/>
                    </a:lnTo>
                    <a:lnTo>
                      <a:pt x="55" y="55"/>
                    </a:lnTo>
                    <a:lnTo>
                      <a:pt x="59" y="55"/>
                    </a:lnTo>
                    <a:lnTo>
                      <a:pt x="59" y="55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45"/>
                    </a:lnTo>
                    <a:lnTo>
                      <a:pt x="69" y="45"/>
                    </a:lnTo>
                    <a:lnTo>
                      <a:pt x="73" y="45"/>
                    </a:lnTo>
                    <a:lnTo>
                      <a:pt x="87" y="50"/>
                    </a:lnTo>
                    <a:lnTo>
                      <a:pt x="91" y="50"/>
                    </a:lnTo>
                    <a:lnTo>
                      <a:pt x="96" y="50"/>
                    </a:lnTo>
                    <a:lnTo>
                      <a:pt x="96" y="50"/>
                    </a:lnTo>
                    <a:lnTo>
                      <a:pt x="96" y="45"/>
                    </a:lnTo>
                    <a:lnTo>
                      <a:pt x="96" y="41"/>
                    </a:lnTo>
                    <a:lnTo>
                      <a:pt x="96" y="41"/>
                    </a:lnTo>
                    <a:lnTo>
                      <a:pt x="96" y="41"/>
                    </a:lnTo>
                    <a:lnTo>
                      <a:pt x="96" y="41"/>
                    </a:lnTo>
                    <a:lnTo>
                      <a:pt x="96" y="41"/>
                    </a:lnTo>
                    <a:lnTo>
                      <a:pt x="96" y="36"/>
                    </a:lnTo>
                    <a:lnTo>
                      <a:pt x="91" y="36"/>
                    </a:lnTo>
                    <a:lnTo>
                      <a:pt x="91" y="36"/>
                    </a:lnTo>
                    <a:lnTo>
                      <a:pt x="87" y="36"/>
                    </a:lnTo>
                    <a:lnTo>
                      <a:pt x="87" y="36"/>
                    </a:lnTo>
                    <a:lnTo>
                      <a:pt x="87" y="36"/>
                    </a:lnTo>
                    <a:lnTo>
                      <a:pt x="82" y="32"/>
                    </a:lnTo>
                    <a:lnTo>
                      <a:pt x="82" y="32"/>
                    </a:lnTo>
                    <a:lnTo>
                      <a:pt x="78" y="32"/>
                    </a:lnTo>
                    <a:lnTo>
                      <a:pt x="82" y="27"/>
                    </a:lnTo>
                    <a:lnTo>
                      <a:pt x="78" y="27"/>
                    </a:lnTo>
                    <a:lnTo>
                      <a:pt x="78" y="23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3" y="27"/>
                    </a:lnTo>
                    <a:lnTo>
                      <a:pt x="69" y="27"/>
                    </a:lnTo>
                    <a:lnTo>
                      <a:pt x="69" y="27"/>
                    </a:lnTo>
                    <a:lnTo>
                      <a:pt x="69" y="23"/>
                    </a:lnTo>
                    <a:lnTo>
                      <a:pt x="69" y="23"/>
                    </a:lnTo>
                    <a:lnTo>
                      <a:pt x="69" y="18"/>
                    </a:lnTo>
                    <a:lnTo>
                      <a:pt x="69" y="18"/>
                    </a:lnTo>
                    <a:lnTo>
                      <a:pt x="69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23"/>
                    </a:lnTo>
                    <a:lnTo>
                      <a:pt x="64" y="18"/>
                    </a:lnTo>
                    <a:lnTo>
                      <a:pt x="59" y="23"/>
                    </a:lnTo>
                    <a:lnTo>
                      <a:pt x="59" y="23"/>
                    </a:lnTo>
                    <a:lnTo>
                      <a:pt x="55" y="23"/>
                    </a:lnTo>
                    <a:lnTo>
                      <a:pt x="55" y="23"/>
                    </a:lnTo>
                    <a:lnTo>
                      <a:pt x="55" y="23"/>
                    </a:lnTo>
                    <a:lnTo>
                      <a:pt x="50" y="23"/>
                    </a:lnTo>
                    <a:lnTo>
                      <a:pt x="50" y="23"/>
                    </a:lnTo>
                    <a:lnTo>
                      <a:pt x="50" y="1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37" y="23"/>
                    </a:lnTo>
                    <a:lnTo>
                      <a:pt x="37" y="23"/>
                    </a:lnTo>
                    <a:lnTo>
                      <a:pt x="32" y="23"/>
                    </a:lnTo>
                    <a:lnTo>
                      <a:pt x="28" y="27"/>
                    </a:lnTo>
                    <a:lnTo>
                      <a:pt x="23" y="27"/>
                    </a:lnTo>
                    <a:lnTo>
                      <a:pt x="23" y="32"/>
                    </a:lnTo>
                    <a:lnTo>
                      <a:pt x="19" y="32"/>
                    </a:lnTo>
                    <a:lnTo>
                      <a:pt x="14" y="36"/>
                    </a:lnTo>
                    <a:lnTo>
                      <a:pt x="14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5" y="32"/>
                    </a:lnTo>
                    <a:lnTo>
                      <a:pt x="0" y="27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41"/>
                    </a:lnTo>
                    <a:lnTo>
                      <a:pt x="10" y="41"/>
                    </a:lnTo>
                    <a:lnTo>
                      <a:pt x="10" y="45"/>
                    </a:lnTo>
                    <a:lnTo>
                      <a:pt x="10" y="55"/>
                    </a:lnTo>
                    <a:lnTo>
                      <a:pt x="10" y="55"/>
                    </a:lnTo>
                    <a:lnTo>
                      <a:pt x="10" y="55"/>
                    </a:lnTo>
                    <a:lnTo>
                      <a:pt x="5" y="59"/>
                    </a:lnTo>
                    <a:lnTo>
                      <a:pt x="10" y="59"/>
                    </a:lnTo>
                    <a:lnTo>
                      <a:pt x="10" y="59"/>
                    </a:lnTo>
                    <a:moveTo>
                      <a:pt x="69" y="5"/>
                    </a:moveTo>
                    <a:lnTo>
                      <a:pt x="69" y="5"/>
                    </a:lnTo>
                    <a:lnTo>
                      <a:pt x="69" y="5"/>
                    </a:lnTo>
                    <a:lnTo>
                      <a:pt x="69" y="5"/>
                    </a:lnTo>
                    <a:lnTo>
                      <a:pt x="73" y="0"/>
                    </a:lnTo>
                    <a:lnTo>
                      <a:pt x="73" y="5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7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1" y="5"/>
                    </a:lnTo>
                    <a:lnTo>
                      <a:pt x="91" y="9"/>
                    </a:lnTo>
                    <a:lnTo>
                      <a:pt x="91" y="14"/>
                    </a:lnTo>
                    <a:lnTo>
                      <a:pt x="87" y="14"/>
                    </a:lnTo>
                    <a:lnTo>
                      <a:pt x="87" y="14"/>
                    </a:lnTo>
                    <a:lnTo>
                      <a:pt x="87" y="14"/>
                    </a:lnTo>
                    <a:lnTo>
                      <a:pt x="87" y="14"/>
                    </a:lnTo>
                    <a:lnTo>
                      <a:pt x="87" y="9"/>
                    </a:lnTo>
                    <a:lnTo>
                      <a:pt x="87" y="9"/>
                    </a:lnTo>
                    <a:lnTo>
                      <a:pt x="87" y="9"/>
                    </a:lnTo>
                    <a:lnTo>
                      <a:pt x="87" y="9"/>
                    </a:lnTo>
                    <a:lnTo>
                      <a:pt x="82" y="9"/>
                    </a:lnTo>
                    <a:lnTo>
                      <a:pt x="82" y="9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78" y="14"/>
                    </a:lnTo>
                    <a:lnTo>
                      <a:pt x="78" y="9"/>
                    </a:lnTo>
                    <a:lnTo>
                      <a:pt x="78" y="9"/>
                    </a:lnTo>
                    <a:lnTo>
                      <a:pt x="78" y="9"/>
                    </a:lnTo>
                    <a:lnTo>
                      <a:pt x="73" y="9"/>
                    </a:lnTo>
                    <a:lnTo>
                      <a:pt x="73" y="9"/>
                    </a:lnTo>
                    <a:lnTo>
                      <a:pt x="69" y="9"/>
                    </a:lnTo>
                    <a:lnTo>
                      <a:pt x="69" y="5"/>
                    </a:lnTo>
                    <a:lnTo>
                      <a:pt x="69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3" name="Freeform 21"/>
              <p:cNvSpPr>
                <a:spLocks noEditPoints="1"/>
              </p:cNvSpPr>
              <p:nvPr/>
            </p:nvSpPr>
            <p:spPr bwMode="auto">
              <a:xfrm>
                <a:off x="2081213" y="2989263"/>
                <a:ext cx="317500" cy="215900"/>
              </a:xfrm>
              <a:custGeom>
                <a:avLst/>
                <a:gdLst>
                  <a:gd name="T0" fmla="*/ 5 w 200"/>
                  <a:gd name="T1" fmla="*/ 131 h 136"/>
                  <a:gd name="T2" fmla="*/ 0 w 200"/>
                  <a:gd name="T3" fmla="*/ 131 h 136"/>
                  <a:gd name="T4" fmla="*/ 0 w 200"/>
                  <a:gd name="T5" fmla="*/ 127 h 136"/>
                  <a:gd name="T6" fmla="*/ 195 w 200"/>
                  <a:gd name="T7" fmla="*/ 45 h 136"/>
                  <a:gd name="T8" fmla="*/ 186 w 200"/>
                  <a:gd name="T9" fmla="*/ 41 h 136"/>
                  <a:gd name="T10" fmla="*/ 186 w 200"/>
                  <a:gd name="T11" fmla="*/ 31 h 136"/>
                  <a:gd name="T12" fmla="*/ 181 w 200"/>
                  <a:gd name="T13" fmla="*/ 27 h 136"/>
                  <a:gd name="T14" fmla="*/ 172 w 200"/>
                  <a:gd name="T15" fmla="*/ 18 h 136"/>
                  <a:gd name="T16" fmla="*/ 172 w 200"/>
                  <a:gd name="T17" fmla="*/ 9 h 136"/>
                  <a:gd name="T18" fmla="*/ 163 w 200"/>
                  <a:gd name="T19" fmla="*/ 9 h 136"/>
                  <a:gd name="T20" fmla="*/ 154 w 200"/>
                  <a:gd name="T21" fmla="*/ 9 h 136"/>
                  <a:gd name="T22" fmla="*/ 145 w 200"/>
                  <a:gd name="T23" fmla="*/ 4 h 136"/>
                  <a:gd name="T24" fmla="*/ 118 w 200"/>
                  <a:gd name="T25" fmla="*/ 0 h 136"/>
                  <a:gd name="T26" fmla="*/ 100 w 200"/>
                  <a:gd name="T27" fmla="*/ 0 h 136"/>
                  <a:gd name="T28" fmla="*/ 91 w 200"/>
                  <a:gd name="T29" fmla="*/ 0 h 136"/>
                  <a:gd name="T30" fmla="*/ 82 w 200"/>
                  <a:gd name="T31" fmla="*/ 4 h 136"/>
                  <a:gd name="T32" fmla="*/ 77 w 200"/>
                  <a:gd name="T33" fmla="*/ 9 h 136"/>
                  <a:gd name="T34" fmla="*/ 68 w 200"/>
                  <a:gd name="T35" fmla="*/ 18 h 136"/>
                  <a:gd name="T36" fmla="*/ 64 w 200"/>
                  <a:gd name="T37" fmla="*/ 27 h 136"/>
                  <a:gd name="T38" fmla="*/ 64 w 200"/>
                  <a:gd name="T39" fmla="*/ 36 h 136"/>
                  <a:gd name="T40" fmla="*/ 54 w 200"/>
                  <a:gd name="T41" fmla="*/ 41 h 136"/>
                  <a:gd name="T42" fmla="*/ 36 w 200"/>
                  <a:gd name="T43" fmla="*/ 45 h 136"/>
                  <a:gd name="T44" fmla="*/ 36 w 200"/>
                  <a:gd name="T45" fmla="*/ 50 h 136"/>
                  <a:gd name="T46" fmla="*/ 41 w 200"/>
                  <a:gd name="T47" fmla="*/ 54 h 136"/>
                  <a:gd name="T48" fmla="*/ 41 w 200"/>
                  <a:gd name="T49" fmla="*/ 59 h 136"/>
                  <a:gd name="T50" fmla="*/ 32 w 200"/>
                  <a:gd name="T51" fmla="*/ 68 h 136"/>
                  <a:gd name="T52" fmla="*/ 27 w 200"/>
                  <a:gd name="T53" fmla="*/ 72 h 136"/>
                  <a:gd name="T54" fmla="*/ 23 w 200"/>
                  <a:gd name="T55" fmla="*/ 77 h 136"/>
                  <a:gd name="T56" fmla="*/ 18 w 200"/>
                  <a:gd name="T57" fmla="*/ 81 h 136"/>
                  <a:gd name="T58" fmla="*/ 14 w 200"/>
                  <a:gd name="T59" fmla="*/ 77 h 136"/>
                  <a:gd name="T60" fmla="*/ 14 w 200"/>
                  <a:gd name="T61" fmla="*/ 86 h 136"/>
                  <a:gd name="T62" fmla="*/ 18 w 200"/>
                  <a:gd name="T63" fmla="*/ 95 h 136"/>
                  <a:gd name="T64" fmla="*/ 18 w 200"/>
                  <a:gd name="T65" fmla="*/ 104 h 136"/>
                  <a:gd name="T66" fmla="*/ 18 w 200"/>
                  <a:gd name="T67" fmla="*/ 113 h 136"/>
                  <a:gd name="T68" fmla="*/ 9 w 200"/>
                  <a:gd name="T69" fmla="*/ 122 h 136"/>
                  <a:gd name="T70" fmla="*/ 23 w 200"/>
                  <a:gd name="T71" fmla="*/ 127 h 136"/>
                  <a:gd name="T72" fmla="*/ 32 w 200"/>
                  <a:gd name="T73" fmla="*/ 131 h 136"/>
                  <a:gd name="T74" fmla="*/ 36 w 200"/>
                  <a:gd name="T75" fmla="*/ 127 h 136"/>
                  <a:gd name="T76" fmla="*/ 45 w 200"/>
                  <a:gd name="T77" fmla="*/ 127 h 136"/>
                  <a:gd name="T78" fmla="*/ 50 w 200"/>
                  <a:gd name="T79" fmla="*/ 136 h 136"/>
                  <a:gd name="T80" fmla="*/ 54 w 200"/>
                  <a:gd name="T81" fmla="*/ 136 h 136"/>
                  <a:gd name="T82" fmla="*/ 50 w 200"/>
                  <a:gd name="T83" fmla="*/ 127 h 136"/>
                  <a:gd name="T84" fmla="*/ 50 w 200"/>
                  <a:gd name="T85" fmla="*/ 118 h 136"/>
                  <a:gd name="T86" fmla="*/ 54 w 200"/>
                  <a:gd name="T87" fmla="*/ 109 h 136"/>
                  <a:gd name="T88" fmla="*/ 64 w 200"/>
                  <a:gd name="T89" fmla="*/ 100 h 136"/>
                  <a:gd name="T90" fmla="*/ 68 w 200"/>
                  <a:gd name="T91" fmla="*/ 95 h 136"/>
                  <a:gd name="T92" fmla="*/ 77 w 200"/>
                  <a:gd name="T93" fmla="*/ 81 h 136"/>
                  <a:gd name="T94" fmla="*/ 77 w 200"/>
                  <a:gd name="T95" fmla="*/ 81 h 136"/>
                  <a:gd name="T96" fmla="*/ 82 w 200"/>
                  <a:gd name="T97" fmla="*/ 77 h 136"/>
                  <a:gd name="T98" fmla="*/ 86 w 200"/>
                  <a:gd name="T99" fmla="*/ 72 h 136"/>
                  <a:gd name="T100" fmla="*/ 86 w 200"/>
                  <a:gd name="T101" fmla="*/ 68 h 136"/>
                  <a:gd name="T102" fmla="*/ 86 w 200"/>
                  <a:gd name="T103" fmla="*/ 63 h 136"/>
                  <a:gd name="T104" fmla="*/ 91 w 200"/>
                  <a:gd name="T105" fmla="*/ 54 h 136"/>
                  <a:gd name="T106" fmla="*/ 91 w 200"/>
                  <a:gd name="T107" fmla="*/ 59 h 136"/>
                  <a:gd name="T108" fmla="*/ 100 w 200"/>
                  <a:gd name="T109" fmla="*/ 54 h 136"/>
                  <a:gd name="T110" fmla="*/ 104 w 200"/>
                  <a:gd name="T111" fmla="*/ 54 h 136"/>
                  <a:gd name="T112" fmla="*/ 122 w 200"/>
                  <a:gd name="T113" fmla="*/ 41 h 136"/>
                  <a:gd name="T114" fmla="*/ 154 w 200"/>
                  <a:gd name="T115" fmla="*/ 45 h 136"/>
                  <a:gd name="T116" fmla="*/ 168 w 200"/>
                  <a:gd name="T117" fmla="*/ 59 h 136"/>
                  <a:gd name="T118" fmla="*/ 177 w 200"/>
                  <a:gd name="T119" fmla="*/ 72 h 136"/>
                  <a:gd name="T120" fmla="*/ 186 w 200"/>
                  <a:gd name="T121" fmla="*/ 81 h 136"/>
                  <a:gd name="T122" fmla="*/ 186 w 200"/>
                  <a:gd name="T123" fmla="*/ 68 h 136"/>
                  <a:gd name="T124" fmla="*/ 200 w 200"/>
                  <a:gd name="T125" fmla="*/ 4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0" h="136">
                    <a:moveTo>
                      <a:pt x="5" y="127"/>
                    </a:moveTo>
                    <a:lnTo>
                      <a:pt x="5" y="127"/>
                    </a:lnTo>
                    <a:lnTo>
                      <a:pt x="5" y="131"/>
                    </a:lnTo>
                    <a:lnTo>
                      <a:pt x="5" y="131"/>
                    </a:lnTo>
                    <a:lnTo>
                      <a:pt x="5" y="131"/>
                    </a:lnTo>
                    <a:lnTo>
                      <a:pt x="0" y="131"/>
                    </a:lnTo>
                    <a:lnTo>
                      <a:pt x="0" y="131"/>
                    </a:lnTo>
                    <a:lnTo>
                      <a:pt x="0" y="131"/>
                    </a:lnTo>
                    <a:lnTo>
                      <a:pt x="0" y="127"/>
                    </a:lnTo>
                    <a:lnTo>
                      <a:pt x="0" y="127"/>
                    </a:lnTo>
                    <a:lnTo>
                      <a:pt x="0" y="127"/>
                    </a:lnTo>
                    <a:lnTo>
                      <a:pt x="0" y="127"/>
                    </a:lnTo>
                    <a:lnTo>
                      <a:pt x="5" y="127"/>
                    </a:lnTo>
                    <a:lnTo>
                      <a:pt x="5" y="127"/>
                    </a:lnTo>
                    <a:lnTo>
                      <a:pt x="5" y="127"/>
                    </a:lnTo>
                    <a:moveTo>
                      <a:pt x="195" y="45"/>
                    </a:moveTo>
                    <a:lnTo>
                      <a:pt x="195" y="45"/>
                    </a:lnTo>
                    <a:lnTo>
                      <a:pt x="191" y="45"/>
                    </a:lnTo>
                    <a:lnTo>
                      <a:pt x="191" y="45"/>
                    </a:lnTo>
                    <a:lnTo>
                      <a:pt x="186" y="41"/>
                    </a:lnTo>
                    <a:lnTo>
                      <a:pt x="186" y="41"/>
                    </a:lnTo>
                    <a:lnTo>
                      <a:pt x="186" y="36"/>
                    </a:lnTo>
                    <a:lnTo>
                      <a:pt x="186" y="31"/>
                    </a:lnTo>
                    <a:lnTo>
                      <a:pt x="186" y="31"/>
                    </a:lnTo>
                    <a:lnTo>
                      <a:pt x="186" y="31"/>
                    </a:lnTo>
                    <a:lnTo>
                      <a:pt x="186" y="27"/>
                    </a:lnTo>
                    <a:lnTo>
                      <a:pt x="186" y="27"/>
                    </a:lnTo>
                    <a:lnTo>
                      <a:pt x="181" y="27"/>
                    </a:lnTo>
                    <a:lnTo>
                      <a:pt x="177" y="27"/>
                    </a:lnTo>
                    <a:lnTo>
                      <a:pt x="177" y="27"/>
                    </a:lnTo>
                    <a:lnTo>
                      <a:pt x="172" y="22"/>
                    </a:lnTo>
                    <a:lnTo>
                      <a:pt x="172" y="18"/>
                    </a:lnTo>
                    <a:lnTo>
                      <a:pt x="172" y="13"/>
                    </a:lnTo>
                    <a:lnTo>
                      <a:pt x="172" y="13"/>
                    </a:lnTo>
                    <a:lnTo>
                      <a:pt x="172" y="13"/>
                    </a:lnTo>
                    <a:lnTo>
                      <a:pt x="172" y="9"/>
                    </a:lnTo>
                    <a:lnTo>
                      <a:pt x="172" y="9"/>
                    </a:lnTo>
                    <a:lnTo>
                      <a:pt x="168" y="4"/>
                    </a:lnTo>
                    <a:lnTo>
                      <a:pt x="163" y="9"/>
                    </a:lnTo>
                    <a:lnTo>
                      <a:pt x="163" y="9"/>
                    </a:lnTo>
                    <a:lnTo>
                      <a:pt x="163" y="9"/>
                    </a:lnTo>
                    <a:lnTo>
                      <a:pt x="159" y="9"/>
                    </a:lnTo>
                    <a:lnTo>
                      <a:pt x="159" y="9"/>
                    </a:lnTo>
                    <a:lnTo>
                      <a:pt x="154" y="9"/>
                    </a:lnTo>
                    <a:lnTo>
                      <a:pt x="150" y="4"/>
                    </a:lnTo>
                    <a:lnTo>
                      <a:pt x="150" y="4"/>
                    </a:lnTo>
                    <a:lnTo>
                      <a:pt x="145" y="4"/>
                    </a:lnTo>
                    <a:lnTo>
                      <a:pt x="145" y="4"/>
                    </a:lnTo>
                    <a:lnTo>
                      <a:pt x="141" y="4"/>
                    </a:lnTo>
                    <a:lnTo>
                      <a:pt x="132" y="0"/>
                    </a:lnTo>
                    <a:lnTo>
                      <a:pt x="122" y="0"/>
                    </a:lnTo>
                    <a:lnTo>
                      <a:pt x="118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09" y="0"/>
                    </a:lnTo>
                    <a:lnTo>
                      <a:pt x="100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77" y="4"/>
                    </a:lnTo>
                    <a:lnTo>
                      <a:pt x="77" y="4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68" y="18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7"/>
                    </a:lnTo>
                    <a:lnTo>
                      <a:pt x="64" y="27"/>
                    </a:lnTo>
                    <a:lnTo>
                      <a:pt x="64" y="31"/>
                    </a:lnTo>
                    <a:lnTo>
                      <a:pt x="64" y="31"/>
                    </a:lnTo>
                    <a:lnTo>
                      <a:pt x="64" y="31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59" y="41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0" y="41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9"/>
                    </a:lnTo>
                    <a:lnTo>
                      <a:pt x="45" y="59"/>
                    </a:lnTo>
                    <a:lnTo>
                      <a:pt x="41" y="59"/>
                    </a:lnTo>
                    <a:lnTo>
                      <a:pt x="41" y="63"/>
                    </a:lnTo>
                    <a:lnTo>
                      <a:pt x="32" y="63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27" y="72"/>
                    </a:lnTo>
                    <a:lnTo>
                      <a:pt x="27" y="72"/>
                    </a:lnTo>
                    <a:lnTo>
                      <a:pt x="27" y="72"/>
                    </a:lnTo>
                    <a:lnTo>
                      <a:pt x="27" y="72"/>
                    </a:lnTo>
                    <a:lnTo>
                      <a:pt x="27" y="72"/>
                    </a:lnTo>
                    <a:lnTo>
                      <a:pt x="23" y="77"/>
                    </a:lnTo>
                    <a:lnTo>
                      <a:pt x="23" y="77"/>
                    </a:lnTo>
                    <a:lnTo>
                      <a:pt x="23" y="81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81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8" y="95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14" y="109"/>
                    </a:lnTo>
                    <a:lnTo>
                      <a:pt x="23" y="109"/>
                    </a:lnTo>
                    <a:lnTo>
                      <a:pt x="23" y="109"/>
                    </a:lnTo>
                    <a:lnTo>
                      <a:pt x="18" y="113"/>
                    </a:lnTo>
                    <a:lnTo>
                      <a:pt x="18" y="113"/>
                    </a:lnTo>
                    <a:lnTo>
                      <a:pt x="14" y="118"/>
                    </a:lnTo>
                    <a:lnTo>
                      <a:pt x="14" y="122"/>
                    </a:lnTo>
                    <a:lnTo>
                      <a:pt x="9" y="122"/>
                    </a:lnTo>
                    <a:lnTo>
                      <a:pt x="14" y="127"/>
                    </a:lnTo>
                    <a:lnTo>
                      <a:pt x="18" y="122"/>
                    </a:lnTo>
                    <a:lnTo>
                      <a:pt x="18" y="122"/>
                    </a:lnTo>
                    <a:lnTo>
                      <a:pt x="23" y="127"/>
                    </a:lnTo>
                    <a:lnTo>
                      <a:pt x="23" y="127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32" y="131"/>
                    </a:lnTo>
                    <a:lnTo>
                      <a:pt x="32" y="131"/>
                    </a:lnTo>
                    <a:lnTo>
                      <a:pt x="32" y="127"/>
                    </a:lnTo>
                    <a:lnTo>
                      <a:pt x="36" y="127"/>
                    </a:lnTo>
                    <a:lnTo>
                      <a:pt x="36" y="127"/>
                    </a:lnTo>
                    <a:lnTo>
                      <a:pt x="36" y="131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5" y="127"/>
                    </a:lnTo>
                    <a:lnTo>
                      <a:pt x="45" y="131"/>
                    </a:lnTo>
                    <a:lnTo>
                      <a:pt x="45" y="131"/>
                    </a:lnTo>
                    <a:lnTo>
                      <a:pt x="50" y="131"/>
                    </a:lnTo>
                    <a:lnTo>
                      <a:pt x="50" y="136"/>
                    </a:lnTo>
                    <a:lnTo>
                      <a:pt x="50" y="136"/>
                    </a:lnTo>
                    <a:lnTo>
                      <a:pt x="50" y="136"/>
                    </a:lnTo>
                    <a:lnTo>
                      <a:pt x="50" y="136"/>
                    </a:lnTo>
                    <a:lnTo>
                      <a:pt x="54" y="136"/>
                    </a:lnTo>
                    <a:lnTo>
                      <a:pt x="54" y="131"/>
                    </a:lnTo>
                    <a:lnTo>
                      <a:pt x="54" y="131"/>
                    </a:lnTo>
                    <a:lnTo>
                      <a:pt x="50" y="127"/>
                    </a:lnTo>
                    <a:lnTo>
                      <a:pt x="50" y="127"/>
                    </a:lnTo>
                    <a:lnTo>
                      <a:pt x="50" y="127"/>
                    </a:lnTo>
                    <a:lnTo>
                      <a:pt x="50" y="122"/>
                    </a:lnTo>
                    <a:lnTo>
                      <a:pt x="50" y="122"/>
                    </a:lnTo>
                    <a:lnTo>
                      <a:pt x="50" y="118"/>
                    </a:lnTo>
                    <a:lnTo>
                      <a:pt x="50" y="118"/>
                    </a:lnTo>
                    <a:lnTo>
                      <a:pt x="54" y="118"/>
                    </a:lnTo>
                    <a:lnTo>
                      <a:pt x="54" y="113"/>
                    </a:lnTo>
                    <a:lnTo>
                      <a:pt x="54" y="109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59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95"/>
                    </a:lnTo>
                    <a:lnTo>
                      <a:pt x="68" y="95"/>
                    </a:lnTo>
                    <a:lnTo>
                      <a:pt x="68" y="90"/>
                    </a:lnTo>
                    <a:lnTo>
                      <a:pt x="73" y="81"/>
                    </a:lnTo>
                    <a:lnTo>
                      <a:pt x="77" y="81"/>
                    </a:lnTo>
                    <a:lnTo>
                      <a:pt x="77" y="81"/>
                    </a:lnTo>
                    <a:lnTo>
                      <a:pt x="77" y="86"/>
                    </a:lnTo>
                    <a:lnTo>
                      <a:pt x="82" y="81"/>
                    </a:lnTo>
                    <a:lnTo>
                      <a:pt x="77" y="81"/>
                    </a:lnTo>
                    <a:lnTo>
                      <a:pt x="77" y="81"/>
                    </a:lnTo>
                    <a:lnTo>
                      <a:pt x="77" y="81"/>
                    </a:lnTo>
                    <a:lnTo>
                      <a:pt x="82" y="77"/>
                    </a:lnTo>
                    <a:lnTo>
                      <a:pt x="82" y="77"/>
                    </a:lnTo>
                    <a:lnTo>
                      <a:pt x="82" y="77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2" y="68"/>
                    </a:lnTo>
                    <a:lnTo>
                      <a:pt x="82" y="63"/>
                    </a:lnTo>
                    <a:lnTo>
                      <a:pt x="86" y="63"/>
                    </a:lnTo>
                    <a:lnTo>
                      <a:pt x="82" y="63"/>
                    </a:lnTo>
                    <a:lnTo>
                      <a:pt x="86" y="59"/>
                    </a:lnTo>
                    <a:lnTo>
                      <a:pt x="86" y="59"/>
                    </a:lnTo>
                    <a:lnTo>
                      <a:pt x="91" y="54"/>
                    </a:lnTo>
                    <a:lnTo>
                      <a:pt x="91" y="54"/>
                    </a:lnTo>
                    <a:lnTo>
                      <a:pt x="91" y="59"/>
                    </a:lnTo>
                    <a:lnTo>
                      <a:pt x="91" y="59"/>
                    </a:lnTo>
                    <a:lnTo>
                      <a:pt x="91" y="59"/>
                    </a:lnTo>
                    <a:lnTo>
                      <a:pt x="95" y="54"/>
                    </a:lnTo>
                    <a:lnTo>
                      <a:pt x="95" y="54"/>
                    </a:lnTo>
                    <a:lnTo>
                      <a:pt x="95" y="54"/>
                    </a:lnTo>
                    <a:lnTo>
                      <a:pt x="100" y="54"/>
                    </a:lnTo>
                    <a:lnTo>
                      <a:pt x="100" y="54"/>
                    </a:lnTo>
                    <a:lnTo>
                      <a:pt x="100" y="54"/>
                    </a:lnTo>
                    <a:lnTo>
                      <a:pt x="104" y="54"/>
                    </a:lnTo>
                    <a:lnTo>
                      <a:pt x="104" y="54"/>
                    </a:lnTo>
                    <a:lnTo>
                      <a:pt x="104" y="50"/>
                    </a:lnTo>
                    <a:lnTo>
                      <a:pt x="113" y="45"/>
                    </a:lnTo>
                    <a:lnTo>
                      <a:pt x="118" y="45"/>
                    </a:lnTo>
                    <a:lnTo>
                      <a:pt x="122" y="41"/>
                    </a:lnTo>
                    <a:lnTo>
                      <a:pt x="127" y="41"/>
                    </a:lnTo>
                    <a:lnTo>
                      <a:pt x="132" y="41"/>
                    </a:lnTo>
                    <a:lnTo>
                      <a:pt x="136" y="41"/>
                    </a:lnTo>
                    <a:lnTo>
                      <a:pt x="154" y="45"/>
                    </a:lnTo>
                    <a:lnTo>
                      <a:pt x="159" y="50"/>
                    </a:lnTo>
                    <a:lnTo>
                      <a:pt x="163" y="54"/>
                    </a:lnTo>
                    <a:lnTo>
                      <a:pt x="168" y="59"/>
                    </a:lnTo>
                    <a:lnTo>
                      <a:pt x="168" y="59"/>
                    </a:lnTo>
                    <a:lnTo>
                      <a:pt x="168" y="63"/>
                    </a:lnTo>
                    <a:lnTo>
                      <a:pt x="172" y="68"/>
                    </a:lnTo>
                    <a:lnTo>
                      <a:pt x="177" y="72"/>
                    </a:lnTo>
                    <a:lnTo>
                      <a:pt x="177" y="72"/>
                    </a:lnTo>
                    <a:lnTo>
                      <a:pt x="181" y="77"/>
                    </a:lnTo>
                    <a:lnTo>
                      <a:pt x="181" y="77"/>
                    </a:lnTo>
                    <a:lnTo>
                      <a:pt x="186" y="81"/>
                    </a:lnTo>
                    <a:lnTo>
                      <a:pt x="186" y="81"/>
                    </a:lnTo>
                    <a:lnTo>
                      <a:pt x="186" y="77"/>
                    </a:lnTo>
                    <a:lnTo>
                      <a:pt x="186" y="72"/>
                    </a:lnTo>
                    <a:lnTo>
                      <a:pt x="186" y="72"/>
                    </a:lnTo>
                    <a:lnTo>
                      <a:pt x="186" y="68"/>
                    </a:lnTo>
                    <a:lnTo>
                      <a:pt x="191" y="63"/>
                    </a:lnTo>
                    <a:lnTo>
                      <a:pt x="195" y="54"/>
                    </a:lnTo>
                    <a:lnTo>
                      <a:pt x="200" y="45"/>
                    </a:lnTo>
                    <a:lnTo>
                      <a:pt x="200" y="45"/>
                    </a:lnTo>
                    <a:lnTo>
                      <a:pt x="195" y="4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4" name="Freeform 22"/>
              <p:cNvSpPr>
                <a:spLocks/>
              </p:cNvSpPr>
              <p:nvPr/>
            </p:nvSpPr>
            <p:spPr bwMode="auto">
              <a:xfrm>
                <a:off x="1793876" y="2989263"/>
                <a:ext cx="207963" cy="193675"/>
              </a:xfrm>
              <a:custGeom>
                <a:avLst/>
                <a:gdLst>
                  <a:gd name="T0" fmla="*/ 131 w 131"/>
                  <a:gd name="T1" fmla="*/ 100 h 122"/>
                  <a:gd name="T2" fmla="*/ 122 w 131"/>
                  <a:gd name="T3" fmla="*/ 104 h 122"/>
                  <a:gd name="T4" fmla="*/ 122 w 131"/>
                  <a:gd name="T5" fmla="*/ 109 h 122"/>
                  <a:gd name="T6" fmla="*/ 118 w 131"/>
                  <a:gd name="T7" fmla="*/ 109 h 122"/>
                  <a:gd name="T8" fmla="*/ 122 w 131"/>
                  <a:gd name="T9" fmla="*/ 113 h 122"/>
                  <a:gd name="T10" fmla="*/ 113 w 131"/>
                  <a:gd name="T11" fmla="*/ 118 h 122"/>
                  <a:gd name="T12" fmla="*/ 108 w 131"/>
                  <a:gd name="T13" fmla="*/ 122 h 122"/>
                  <a:gd name="T14" fmla="*/ 104 w 131"/>
                  <a:gd name="T15" fmla="*/ 118 h 122"/>
                  <a:gd name="T16" fmla="*/ 99 w 131"/>
                  <a:gd name="T17" fmla="*/ 109 h 122"/>
                  <a:gd name="T18" fmla="*/ 95 w 131"/>
                  <a:gd name="T19" fmla="*/ 109 h 122"/>
                  <a:gd name="T20" fmla="*/ 90 w 131"/>
                  <a:gd name="T21" fmla="*/ 113 h 122"/>
                  <a:gd name="T22" fmla="*/ 72 w 131"/>
                  <a:gd name="T23" fmla="*/ 113 h 122"/>
                  <a:gd name="T24" fmla="*/ 68 w 131"/>
                  <a:gd name="T25" fmla="*/ 113 h 122"/>
                  <a:gd name="T26" fmla="*/ 68 w 131"/>
                  <a:gd name="T27" fmla="*/ 109 h 122"/>
                  <a:gd name="T28" fmla="*/ 68 w 131"/>
                  <a:gd name="T29" fmla="*/ 104 h 122"/>
                  <a:gd name="T30" fmla="*/ 59 w 131"/>
                  <a:gd name="T31" fmla="*/ 104 h 122"/>
                  <a:gd name="T32" fmla="*/ 49 w 131"/>
                  <a:gd name="T33" fmla="*/ 104 h 122"/>
                  <a:gd name="T34" fmla="*/ 40 w 131"/>
                  <a:gd name="T35" fmla="*/ 86 h 122"/>
                  <a:gd name="T36" fmla="*/ 40 w 131"/>
                  <a:gd name="T37" fmla="*/ 77 h 122"/>
                  <a:gd name="T38" fmla="*/ 31 w 131"/>
                  <a:gd name="T39" fmla="*/ 63 h 122"/>
                  <a:gd name="T40" fmla="*/ 22 w 131"/>
                  <a:gd name="T41" fmla="*/ 54 h 122"/>
                  <a:gd name="T42" fmla="*/ 13 w 131"/>
                  <a:gd name="T43" fmla="*/ 59 h 122"/>
                  <a:gd name="T44" fmla="*/ 18 w 131"/>
                  <a:gd name="T45" fmla="*/ 63 h 122"/>
                  <a:gd name="T46" fmla="*/ 13 w 131"/>
                  <a:gd name="T47" fmla="*/ 72 h 122"/>
                  <a:gd name="T48" fmla="*/ 0 w 131"/>
                  <a:gd name="T49" fmla="*/ 63 h 122"/>
                  <a:gd name="T50" fmla="*/ 0 w 131"/>
                  <a:gd name="T51" fmla="*/ 45 h 122"/>
                  <a:gd name="T52" fmla="*/ 0 w 131"/>
                  <a:gd name="T53" fmla="*/ 31 h 122"/>
                  <a:gd name="T54" fmla="*/ 4 w 131"/>
                  <a:gd name="T55" fmla="*/ 27 h 122"/>
                  <a:gd name="T56" fmla="*/ 13 w 131"/>
                  <a:gd name="T57" fmla="*/ 18 h 122"/>
                  <a:gd name="T58" fmla="*/ 22 w 131"/>
                  <a:gd name="T59" fmla="*/ 13 h 122"/>
                  <a:gd name="T60" fmla="*/ 36 w 131"/>
                  <a:gd name="T61" fmla="*/ 18 h 122"/>
                  <a:gd name="T62" fmla="*/ 40 w 131"/>
                  <a:gd name="T63" fmla="*/ 13 h 122"/>
                  <a:gd name="T64" fmla="*/ 40 w 131"/>
                  <a:gd name="T65" fmla="*/ 4 h 122"/>
                  <a:gd name="T66" fmla="*/ 45 w 131"/>
                  <a:gd name="T67" fmla="*/ 4 h 122"/>
                  <a:gd name="T68" fmla="*/ 59 w 131"/>
                  <a:gd name="T69" fmla="*/ 9 h 122"/>
                  <a:gd name="T70" fmla="*/ 72 w 131"/>
                  <a:gd name="T71" fmla="*/ 9 h 122"/>
                  <a:gd name="T72" fmla="*/ 81 w 131"/>
                  <a:gd name="T73" fmla="*/ 0 h 122"/>
                  <a:gd name="T74" fmla="*/ 90 w 131"/>
                  <a:gd name="T75" fmla="*/ 0 h 122"/>
                  <a:gd name="T76" fmla="*/ 99 w 131"/>
                  <a:gd name="T77" fmla="*/ 13 h 122"/>
                  <a:gd name="T78" fmla="*/ 99 w 131"/>
                  <a:gd name="T79" fmla="*/ 31 h 122"/>
                  <a:gd name="T80" fmla="*/ 90 w 131"/>
                  <a:gd name="T81" fmla="*/ 31 h 122"/>
                  <a:gd name="T82" fmla="*/ 86 w 131"/>
                  <a:gd name="T83" fmla="*/ 36 h 122"/>
                  <a:gd name="T84" fmla="*/ 81 w 131"/>
                  <a:gd name="T85" fmla="*/ 41 h 122"/>
                  <a:gd name="T86" fmla="*/ 77 w 131"/>
                  <a:gd name="T87" fmla="*/ 41 h 122"/>
                  <a:gd name="T88" fmla="*/ 77 w 131"/>
                  <a:gd name="T89" fmla="*/ 50 h 122"/>
                  <a:gd name="T90" fmla="*/ 108 w 131"/>
                  <a:gd name="T91" fmla="*/ 59 h 122"/>
                  <a:gd name="T92" fmla="*/ 113 w 131"/>
                  <a:gd name="T93" fmla="*/ 59 h 122"/>
                  <a:gd name="T94" fmla="*/ 113 w 131"/>
                  <a:gd name="T95" fmla="*/ 63 h 122"/>
                  <a:gd name="T96" fmla="*/ 108 w 131"/>
                  <a:gd name="T97" fmla="*/ 72 h 122"/>
                  <a:gd name="T98" fmla="*/ 113 w 131"/>
                  <a:gd name="T99" fmla="*/ 77 h 122"/>
                  <a:gd name="T100" fmla="*/ 113 w 131"/>
                  <a:gd name="T101" fmla="*/ 77 h 122"/>
                  <a:gd name="T102" fmla="*/ 118 w 131"/>
                  <a:gd name="T103" fmla="*/ 77 h 122"/>
                  <a:gd name="T104" fmla="*/ 122 w 131"/>
                  <a:gd name="T105" fmla="*/ 81 h 122"/>
                  <a:gd name="T106" fmla="*/ 127 w 131"/>
                  <a:gd name="T107" fmla="*/ 81 h 122"/>
                  <a:gd name="T108" fmla="*/ 127 w 131"/>
                  <a:gd name="T109" fmla="*/ 81 h 122"/>
                  <a:gd name="T110" fmla="*/ 118 w 131"/>
                  <a:gd name="T111" fmla="*/ 86 h 122"/>
                  <a:gd name="T112" fmla="*/ 118 w 131"/>
                  <a:gd name="T113" fmla="*/ 95 h 122"/>
                  <a:gd name="T114" fmla="*/ 122 w 131"/>
                  <a:gd name="T115" fmla="*/ 95 h 122"/>
                  <a:gd name="T116" fmla="*/ 127 w 131"/>
                  <a:gd name="T117" fmla="*/ 95 h 122"/>
                  <a:gd name="T118" fmla="*/ 131 w 131"/>
                  <a:gd name="T119" fmla="*/ 9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1" h="122">
                    <a:moveTo>
                      <a:pt x="131" y="100"/>
                    </a:moveTo>
                    <a:lnTo>
                      <a:pt x="131" y="100"/>
                    </a:lnTo>
                    <a:lnTo>
                      <a:pt x="131" y="100"/>
                    </a:lnTo>
                    <a:lnTo>
                      <a:pt x="131" y="100"/>
                    </a:lnTo>
                    <a:lnTo>
                      <a:pt x="131" y="100"/>
                    </a:lnTo>
                    <a:lnTo>
                      <a:pt x="127" y="100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22" y="109"/>
                    </a:lnTo>
                    <a:lnTo>
                      <a:pt x="122" y="109"/>
                    </a:lnTo>
                    <a:lnTo>
                      <a:pt x="122" y="109"/>
                    </a:lnTo>
                    <a:lnTo>
                      <a:pt x="118" y="109"/>
                    </a:lnTo>
                    <a:lnTo>
                      <a:pt x="118" y="109"/>
                    </a:lnTo>
                    <a:lnTo>
                      <a:pt x="118" y="109"/>
                    </a:lnTo>
                    <a:lnTo>
                      <a:pt x="122" y="109"/>
                    </a:lnTo>
                    <a:lnTo>
                      <a:pt x="122" y="109"/>
                    </a:lnTo>
                    <a:lnTo>
                      <a:pt x="122" y="113"/>
                    </a:lnTo>
                    <a:lnTo>
                      <a:pt x="122" y="113"/>
                    </a:lnTo>
                    <a:lnTo>
                      <a:pt x="118" y="113"/>
                    </a:lnTo>
                    <a:lnTo>
                      <a:pt x="118" y="113"/>
                    </a:lnTo>
                    <a:lnTo>
                      <a:pt x="113" y="118"/>
                    </a:lnTo>
                    <a:lnTo>
                      <a:pt x="108" y="113"/>
                    </a:lnTo>
                    <a:lnTo>
                      <a:pt x="108" y="118"/>
                    </a:lnTo>
                    <a:lnTo>
                      <a:pt x="108" y="122"/>
                    </a:lnTo>
                    <a:lnTo>
                      <a:pt x="108" y="122"/>
                    </a:lnTo>
                    <a:lnTo>
                      <a:pt x="104" y="122"/>
                    </a:lnTo>
                    <a:lnTo>
                      <a:pt x="104" y="118"/>
                    </a:lnTo>
                    <a:lnTo>
                      <a:pt x="104" y="118"/>
                    </a:lnTo>
                    <a:lnTo>
                      <a:pt x="104" y="118"/>
                    </a:lnTo>
                    <a:lnTo>
                      <a:pt x="104" y="113"/>
                    </a:lnTo>
                    <a:lnTo>
                      <a:pt x="104" y="109"/>
                    </a:lnTo>
                    <a:lnTo>
                      <a:pt x="99" y="109"/>
                    </a:lnTo>
                    <a:lnTo>
                      <a:pt x="99" y="109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0" y="109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86" y="113"/>
                    </a:lnTo>
                    <a:lnTo>
                      <a:pt x="77" y="113"/>
                    </a:lnTo>
                    <a:lnTo>
                      <a:pt x="77" y="113"/>
                    </a:lnTo>
                    <a:lnTo>
                      <a:pt x="72" y="113"/>
                    </a:lnTo>
                    <a:lnTo>
                      <a:pt x="72" y="113"/>
                    </a:lnTo>
                    <a:lnTo>
                      <a:pt x="72" y="113"/>
                    </a:lnTo>
                    <a:lnTo>
                      <a:pt x="68" y="113"/>
                    </a:lnTo>
                    <a:lnTo>
                      <a:pt x="68" y="113"/>
                    </a:lnTo>
                    <a:lnTo>
                      <a:pt x="68" y="113"/>
                    </a:lnTo>
                    <a:lnTo>
                      <a:pt x="68" y="113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68" y="104"/>
                    </a:lnTo>
                    <a:lnTo>
                      <a:pt x="63" y="104"/>
                    </a:lnTo>
                    <a:lnTo>
                      <a:pt x="63" y="104"/>
                    </a:lnTo>
                    <a:lnTo>
                      <a:pt x="59" y="104"/>
                    </a:lnTo>
                    <a:lnTo>
                      <a:pt x="59" y="104"/>
                    </a:lnTo>
                    <a:lnTo>
                      <a:pt x="54" y="104"/>
                    </a:lnTo>
                    <a:lnTo>
                      <a:pt x="54" y="104"/>
                    </a:lnTo>
                    <a:lnTo>
                      <a:pt x="49" y="104"/>
                    </a:lnTo>
                    <a:lnTo>
                      <a:pt x="49" y="104"/>
                    </a:lnTo>
                    <a:lnTo>
                      <a:pt x="45" y="95"/>
                    </a:lnTo>
                    <a:lnTo>
                      <a:pt x="40" y="90"/>
                    </a:lnTo>
                    <a:lnTo>
                      <a:pt x="40" y="90"/>
                    </a:lnTo>
                    <a:lnTo>
                      <a:pt x="40" y="86"/>
                    </a:lnTo>
                    <a:lnTo>
                      <a:pt x="40" y="86"/>
                    </a:lnTo>
                    <a:lnTo>
                      <a:pt x="40" y="81"/>
                    </a:lnTo>
                    <a:lnTo>
                      <a:pt x="40" y="77"/>
                    </a:lnTo>
                    <a:lnTo>
                      <a:pt x="40" y="77"/>
                    </a:lnTo>
                    <a:lnTo>
                      <a:pt x="40" y="72"/>
                    </a:lnTo>
                    <a:lnTo>
                      <a:pt x="36" y="72"/>
                    </a:lnTo>
                    <a:lnTo>
                      <a:pt x="36" y="68"/>
                    </a:lnTo>
                    <a:lnTo>
                      <a:pt x="31" y="63"/>
                    </a:lnTo>
                    <a:lnTo>
                      <a:pt x="31" y="59"/>
                    </a:lnTo>
                    <a:lnTo>
                      <a:pt x="27" y="59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18" y="54"/>
                    </a:lnTo>
                    <a:lnTo>
                      <a:pt x="13" y="54"/>
                    </a:lnTo>
                    <a:lnTo>
                      <a:pt x="13" y="59"/>
                    </a:lnTo>
                    <a:lnTo>
                      <a:pt x="13" y="59"/>
                    </a:lnTo>
                    <a:lnTo>
                      <a:pt x="13" y="59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72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9" y="72"/>
                    </a:lnTo>
                    <a:lnTo>
                      <a:pt x="4" y="68"/>
                    </a:lnTo>
                    <a:lnTo>
                      <a:pt x="0" y="63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0" y="41"/>
                    </a:lnTo>
                    <a:lnTo>
                      <a:pt x="4" y="36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4" y="27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22" y="13"/>
                    </a:lnTo>
                    <a:lnTo>
                      <a:pt x="22" y="13"/>
                    </a:lnTo>
                    <a:lnTo>
                      <a:pt x="27" y="13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54" y="9"/>
                    </a:lnTo>
                    <a:lnTo>
                      <a:pt x="59" y="9"/>
                    </a:lnTo>
                    <a:lnTo>
                      <a:pt x="63" y="9"/>
                    </a:lnTo>
                    <a:lnTo>
                      <a:pt x="68" y="9"/>
                    </a:lnTo>
                    <a:lnTo>
                      <a:pt x="72" y="9"/>
                    </a:lnTo>
                    <a:lnTo>
                      <a:pt x="72" y="9"/>
                    </a:lnTo>
                    <a:lnTo>
                      <a:pt x="77" y="4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81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5" y="0"/>
                    </a:lnTo>
                    <a:lnTo>
                      <a:pt x="95" y="4"/>
                    </a:lnTo>
                    <a:lnTo>
                      <a:pt x="99" y="13"/>
                    </a:lnTo>
                    <a:lnTo>
                      <a:pt x="104" y="13"/>
                    </a:lnTo>
                    <a:lnTo>
                      <a:pt x="104" y="18"/>
                    </a:lnTo>
                    <a:lnTo>
                      <a:pt x="99" y="31"/>
                    </a:lnTo>
                    <a:lnTo>
                      <a:pt x="99" y="31"/>
                    </a:lnTo>
                    <a:lnTo>
                      <a:pt x="95" y="31"/>
                    </a:lnTo>
                    <a:lnTo>
                      <a:pt x="95" y="31"/>
                    </a:lnTo>
                    <a:lnTo>
                      <a:pt x="90" y="31"/>
                    </a:lnTo>
                    <a:lnTo>
                      <a:pt x="90" y="31"/>
                    </a:lnTo>
                    <a:lnTo>
                      <a:pt x="90" y="36"/>
                    </a:lnTo>
                    <a:lnTo>
                      <a:pt x="90" y="36"/>
                    </a:lnTo>
                    <a:lnTo>
                      <a:pt x="90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41"/>
                    </a:lnTo>
                    <a:lnTo>
                      <a:pt x="81" y="41"/>
                    </a:lnTo>
                    <a:lnTo>
                      <a:pt x="81" y="41"/>
                    </a:lnTo>
                    <a:lnTo>
                      <a:pt x="81" y="41"/>
                    </a:lnTo>
                    <a:lnTo>
                      <a:pt x="81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50"/>
                    </a:lnTo>
                    <a:lnTo>
                      <a:pt x="77" y="50"/>
                    </a:lnTo>
                    <a:lnTo>
                      <a:pt x="77" y="50"/>
                    </a:lnTo>
                    <a:lnTo>
                      <a:pt x="81" y="54"/>
                    </a:lnTo>
                    <a:lnTo>
                      <a:pt x="95" y="54"/>
                    </a:lnTo>
                    <a:lnTo>
                      <a:pt x="99" y="54"/>
                    </a:lnTo>
                    <a:lnTo>
                      <a:pt x="108" y="59"/>
                    </a:lnTo>
                    <a:lnTo>
                      <a:pt x="113" y="59"/>
                    </a:lnTo>
                    <a:lnTo>
                      <a:pt x="113" y="54"/>
                    </a:lnTo>
                    <a:lnTo>
                      <a:pt x="118" y="54"/>
                    </a:lnTo>
                    <a:lnTo>
                      <a:pt x="113" y="59"/>
                    </a:lnTo>
                    <a:lnTo>
                      <a:pt x="113" y="63"/>
                    </a:lnTo>
                    <a:lnTo>
                      <a:pt x="113" y="63"/>
                    </a:lnTo>
                    <a:lnTo>
                      <a:pt x="113" y="63"/>
                    </a:lnTo>
                    <a:lnTo>
                      <a:pt x="113" y="63"/>
                    </a:lnTo>
                    <a:lnTo>
                      <a:pt x="108" y="63"/>
                    </a:lnTo>
                    <a:lnTo>
                      <a:pt x="108" y="68"/>
                    </a:lnTo>
                    <a:lnTo>
                      <a:pt x="108" y="72"/>
                    </a:lnTo>
                    <a:lnTo>
                      <a:pt x="108" y="72"/>
                    </a:lnTo>
                    <a:lnTo>
                      <a:pt x="113" y="72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3" y="77"/>
                    </a:lnTo>
                    <a:lnTo>
                      <a:pt x="113" y="77"/>
                    </a:lnTo>
                    <a:lnTo>
                      <a:pt x="113" y="77"/>
                    </a:lnTo>
                    <a:lnTo>
                      <a:pt x="113" y="77"/>
                    </a:lnTo>
                    <a:lnTo>
                      <a:pt x="113" y="77"/>
                    </a:lnTo>
                    <a:lnTo>
                      <a:pt x="118" y="77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77"/>
                    </a:lnTo>
                    <a:lnTo>
                      <a:pt x="118" y="77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22" y="81"/>
                    </a:lnTo>
                    <a:lnTo>
                      <a:pt x="122" y="81"/>
                    </a:lnTo>
                    <a:lnTo>
                      <a:pt x="122" y="81"/>
                    </a:lnTo>
                    <a:lnTo>
                      <a:pt x="122" y="81"/>
                    </a:lnTo>
                    <a:lnTo>
                      <a:pt x="127" y="81"/>
                    </a:lnTo>
                    <a:lnTo>
                      <a:pt x="127" y="77"/>
                    </a:lnTo>
                    <a:lnTo>
                      <a:pt x="127" y="81"/>
                    </a:lnTo>
                    <a:lnTo>
                      <a:pt x="127" y="81"/>
                    </a:lnTo>
                    <a:lnTo>
                      <a:pt x="127" y="81"/>
                    </a:lnTo>
                    <a:lnTo>
                      <a:pt x="118" y="81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3" y="90"/>
                    </a:lnTo>
                    <a:lnTo>
                      <a:pt x="113" y="90"/>
                    </a:lnTo>
                    <a:lnTo>
                      <a:pt x="118" y="95"/>
                    </a:lnTo>
                    <a:lnTo>
                      <a:pt x="118" y="95"/>
                    </a:lnTo>
                    <a:lnTo>
                      <a:pt x="122" y="95"/>
                    </a:lnTo>
                    <a:lnTo>
                      <a:pt x="122" y="95"/>
                    </a:lnTo>
                    <a:lnTo>
                      <a:pt x="122" y="95"/>
                    </a:lnTo>
                    <a:lnTo>
                      <a:pt x="122" y="95"/>
                    </a:lnTo>
                    <a:lnTo>
                      <a:pt x="122" y="95"/>
                    </a:lnTo>
                    <a:lnTo>
                      <a:pt x="122" y="95"/>
                    </a:lnTo>
                    <a:lnTo>
                      <a:pt x="127" y="95"/>
                    </a:lnTo>
                    <a:lnTo>
                      <a:pt x="127" y="95"/>
                    </a:lnTo>
                    <a:lnTo>
                      <a:pt x="127" y="100"/>
                    </a:lnTo>
                    <a:lnTo>
                      <a:pt x="127" y="100"/>
                    </a:lnTo>
                    <a:lnTo>
                      <a:pt x="131" y="95"/>
                    </a:lnTo>
                    <a:lnTo>
                      <a:pt x="131" y="95"/>
                    </a:lnTo>
                    <a:lnTo>
                      <a:pt x="131" y="10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5" name="Freeform 23"/>
              <p:cNvSpPr>
                <a:spLocks/>
              </p:cNvSpPr>
              <p:nvPr/>
            </p:nvSpPr>
            <p:spPr bwMode="auto">
              <a:xfrm>
                <a:off x="2290763" y="2924175"/>
                <a:ext cx="185738" cy="136525"/>
              </a:xfrm>
              <a:custGeom>
                <a:avLst/>
                <a:gdLst>
                  <a:gd name="T0" fmla="*/ 117 w 117"/>
                  <a:gd name="T1" fmla="*/ 54 h 86"/>
                  <a:gd name="T2" fmla="*/ 113 w 117"/>
                  <a:gd name="T3" fmla="*/ 54 h 86"/>
                  <a:gd name="T4" fmla="*/ 108 w 117"/>
                  <a:gd name="T5" fmla="*/ 59 h 86"/>
                  <a:gd name="T6" fmla="*/ 99 w 117"/>
                  <a:gd name="T7" fmla="*/ 63 h 86"/>
                  <a:gd name="T8" fmla="*/ 77 w 117"/>
                  <a:gd name="T9" fmla="*/ 72 h 86"/>
                  <a:gd name="T10" fmla="*/ 77 w 117"/>
                  <a:gd name="T11" fmla="*/ 77 h 86"/>
                  <a:gd name="T12" fmla="*/ 72 w 117"/>
                  <a:gd name="T13" fmla="*/ 82 h 86"/>
                  <a:gd name="T14" fmla="*/ 68 w 117"/>
                  <a:gd name="T15" fmla="*/ 86 h 86"/>
                  <a:gd name="T16" fmla="*/ 68 w 117"/>
                  <a:gd name="T17" fmla="*/ 86 h 86"/>
                  <a:gd name="T18" fmla="*/ 59 w 117"/>
                  <a:gd name="T19" fmla="*/ 86 h 86"/>
                  <a:gd name="T20" fmla="*/ 54 w 117"/>
                  <a:gd name="T21" fmla="*/ 77 h 86"/>
                  <a:gd name="T22" fmla="*/ 54 w 117"/>
                  <a:gd name="T23" fmla="*/ 72 h 86"/>
                  <a:gd name="T24" fmla="*/ 49 w 117"/>
                  <a:gd name="T25" fmla="*/ 68 h 86"/>
                  <a:gd name="T26" fmla="*/ 40 w 117"/>
                  <a:gd name="T27" fmla="*/ 63 h 86"/>
                  <a:gd name="T28" fmla="*/ 40 w 117"/>
                  <a:gd name="T29" fmla="*/ 54 h 86"/>
                  <a:gd name="T30" fmla="*/ 40 w 117"/>
                  <a:gd name="T31" fmla="*/ 50 h 86"/>
                  <a:gd name="T32" fmla="*/ 31 w 117"/>
                  <a:gd name="T33" fmla="*/ 50 h 86"/>
                  <a:gd name="T34" fmla="*/ 27 w 117"/>
                  <a:gd name="T35" fmla="*/ 50 h 86"/>
                  <a:gd name="T36" fmla="*/ 18 w 117"/>
                  <a:gd name="T37" fmla="*/ 45 h 86"/>
                  <a:gd name="T38" fmla="*/ 9 w 117"/>
                  <a:gd name="T39" fmla="*/ 45 h 86"/>
                  <a:gd name="T40" fmla="*/ 0 w 117"/>
                  <a:gd name="T41" fmla="*/ 36 h 86"/>
                  <a:gd name="T42" fmla="*/ 9 w 117"/>
                  <a:gd name="T43" fmla="*/ 18 h 86"/>
                  <a:gd name="T44" fmla="*/ 13 w 117"/>
                  <a:gd name="T45" fmla="*/ 14 h 86"/>
                  <a:gd name="T46" fmla="*/ 18 w 117"/>
                  <a:gd name="T47" fmla="*/ 14 h 86"/>
                  <a:gd name="T48" fmla="*/ 27 w 117"/>
                  <a:gd name="T49" fmla="*/ 9 h 86"/>
                  <a:gd name="T50" fmla="*/ 31 w 117"/>
                  <a:gd name="T51" fmla="*/ 14 h 86"/>
                  <a:gd name="T52" fmla="*/ 36 w 117"/>
                  <a:gd name="T53" fmla="*/ 14 h 86"/>
                  <a:gd name="T54" fmla="*/ 45 w 117"/>
                  <a:gd name="T55" fmla="*/ 14 h 86"/>
                  <a:gd name="T56" fmla="*/ 54 w 117"/>
                  <a:gd name="T57" fmla="*/ 9 h 86"/>
                  <a:gd name="T58" fmla="*/ 59 w 117"/>
                  <a:gd name="T59" fmla="*/ 4 h 86"/>
                  <a:gd name="T60" fmla="*/ 81 w 117"/>
                  <a:gd name="T61" fmla="*/ 9 h 86"/>
                  <a:gd name="T62" fmla="*/ 86 w 117"/>
                  <a:gd name="T63" fmla="*/ 4 h 86"/>
                  <a:gd name="T64" fmla="*/ 104 w 117"/>
                  <a:gd name="T65" fmla="*/ 0 h 86"/>
                  <a:gd name="T66" fmla="*/ 108 w 117"/>
                  <a:gd name="T67" fmla="*/ 0 h 86"/>
                  <a:gd name="T68" fmla="*/ 108 w 117"/>
                  <a:gd name="T69" fmla="*/ 4 h 86"/>
                  <a:gd name="T70" fmla="*/ 113 w 117"/>
                  <a:gd name="T71" fmla="*/ 0 h 86"/>
                  <a:gd name="T72" fmla="*/ 108 w 117"/>
                  <a:gd name="T73" fmla="*/ 4 h 86"/>
                  <a:gd name="T74" fmla="*/ 108 w 117"/>
                  <a:gd name="T75" fmla="*/ 4 h 86"/>
                  <a:gd name="T76" fmla="*/ 108 w 117"/>
                  <a:gd name="T77" fmla="*/ 9 h 86"/>
                  <a:gd name="T78" fmla="*/ 108 w 117"/>
                  <a:gd name="T79" fmla="*/ 14 h 86"/>
                  <a:gd name="T80" fmla="*/ 104 w 117"/>
                  <a:gd name="T81" fmla="*/ 23 h 86"/>
                  <a:gd name="T82" fmla="*/ 104 w 117"/>
                  <a:gd name="T83" fmla="*/ 23 h 86"/>
                  <a:gd name="T84" fmla="*/ 104 w 117"/>
                  <a:gd name="T85" fmla="*/ 32 h 86"/>
                  <a:gd name="T86" fmla="*/ 108 w 117"/>
                  <a:gd name="T87" fmla="*/ 32 h 86"/>
                  <a:gd name="T88" fmla="*/ 113 w 117"/>
                  <a:gd name="T89" fmla="*/ 41 h 86"/>
                  <a:gd name="T90" fmla="*/ 113 w 117"/>
                  <a:gd name="T91" fmla="*/ 45 h 86"/>
                  <a:gd name="T92" fmla="*/ 108 w 117"/>
                  <a:gd name="T93" fmla="*/ 50 h 86"/>
                  <a:gd name="T94" fmla="*/ 113 w 117"/>
                  <a:gd name="T95" fmla="*/ 50 h 86"/>
                  <a:gd name="T96" fmla="*/ 113 w 117"/>
                  <a:gd name="T97" fmla="*/ 5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7" h="86">
                    <a:moveTo>
                      <a:pt x="117" y="54"/>
                    </a:moveTo>
                    <a:lnTo>
                      <a:pt x="117" y="54"/>
                    </a:lnTo>
                    <a:lnTo>
                      <a:pt x="117" y="54"/>
                    </a:lnTo>
                    <a:lnTo>
                      <a:pt x="117" y="50"/>
                    </a:lnTo>
                    <a:lnTo>
                      <a:pt x="117" y="54"/>
                    </a:lnTo>
                    <a:lnTo>
                      <a:pt x="113" y="54"/>
                    </a:lnTo>
                    <a:lnTo>
                      <a:pt x="108" y="54"/>
                    </a:lnTo>
                    <a:lnTo>
                      <a:pt x="108" y="59"/>
                    </a:lnTo>
                    <a:lnTo>
                      <a:pt x="108" y="59"/>
                    </a:lnTo>
                    <a:lnTo>
                      <a:pt x="104" y="59"/>
                    </a:lnTo>
                    <a:lnTo>
                      <a:pt x="99" y="63"/>
                    </a:lnTo>
                    <a:lnTo>
                      <a:pt x="99" y="63"/>
                    </a:lnTo>
                    <a:lnTo>
                      <a:pt x="95" y="63"/>
                    </a:lnTo>
                    <a:lnTo>
                      <a:pt x="86" y="68"/>
                    </a:lnTo>
                    <a:lnTo>
                      <a:pt x="77" y="72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7" y="82"/>
                    </a:lnTo>
                    <a:lnTo>
                      <a:pt x="72" y="82"/>
                    </a:lnTo>
                    <a:lnTo>
                      <a:pt x="72" y="82"/>
                    </a:lnTo>
                    <a:lnTo>
                      <a:pt x="72" y="82"/>
                    </a:lnTo>
                    <a:lnTo>
                      <a:pt x="72" y="82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3" y="86"/>
                    </a:lnTo>
                    <a:lnTo>
                      <a:pt x="59" y="86"/>
                    </a:lnTo>
                    <a:lnTo>
                      <a:pt x="59" y="86"/>
                    </a:lnTo>
                    <a:lnTo>
                      <a:pt x="54" y="82"/>
                    </a:lnTo>
                    <a:lnTo>
                      <a:pt x="54" y="82"/>
                    </a:lnTo>
                    <a:lnTo>
                      <a:pt x="54" y="77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49" y="68"/>
                    </a:lnTo>
                    <a:lnTo>
                      <a:pt x="45" y="68"/>
                    </a:lnTo>
                    <a:lnTo>
                      <a:pt x="45" y="68"/>
                    </a:lnTo>
                    <a:lnTo>
                      <a:pt x="40" y="63"/>
                    </a:lnTo>
                    <a:lnTo>
                      <a:pt x="40" y="59"/>
                    </a:lnTo>
                    <a:lnTo>
                      <a:pt x="40" y="54"/>
                    </a:lnTo>
                    <a:lnTo>
                      <a:pt x="40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36" y="45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2" y="50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9" y="45"/>
                    </a:lnTo>
                    <a:lnTo>
                      <a:pt x="0" y="41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0" y="23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7" y="9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40" y="14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9" y="14"/>
                    </a:lnTo>
                    <a:lnTo>
                      <a:pt x="49" y="14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4" y="4"/>
                    </a:lnTo>
                    <a:lnTo>
                      <a:pt x="59" y="4"/>
                    </a:lnTo>
                    <a:lnTo>
                      <a:pt x="63" y="4"/>
                    </a:lnTo>
                    <a:lnTo>
                      <a:pt x="77" y="9"/>
                    </a:lnTo>
                    <a:lnTo>
                      <a:pt x="81" y="9"/>
                    </a:lnTo>
                    <a:lnTo>
                      <a:pt x="86" y="9"/>
                    </a:lnTo>
                    <a:lnTo>
                      <a:pt x="86" y="9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9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04" y="0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9"/>
                    </a:lnTo>
                    <a:lnTo>
                      <a:pt x="108" y="9"/>
                    </a:lnTo>
                    <a:lnTo>
                      <a:pt x="108" y="9"/>
                    </a:lnTo>
                    <a:lnTo>
                      <a:pt x="108" y="9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8"/>
                    </a:lnTo>
                    <a:lnTo>
                      <a:pt x="104" y="18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13" y="36"/>
                    </a:lnTo>
                    <a:lnTo>
                      <a:pt x="113" y="41"/>
                    </a:lnTo>
                    <a:lnTo>
                      <a:pt x="113" y="41"/>
                    </a:lnTo>
                    <a:lnTo>
                      <a:pt x="113" y="45"/>
                    </a:lnTo>
                    <a:lnTo>
                      <a:pt x="113" y="45"/>
                    </a:lnTo>
                    <a:lnTo>
                      <a:pt x="108" y="45"/>
                    </a:lnTo>
                    <a:lnTo>
                      <a:pt x="108" y="45"/>
                    </a:lnTo>
                    <a:lnTo>
                      <a:pt x="108" y="50"/>
                    </a:lnTo>
                    <a:lnTo>
                      <a:pt x="108" y="50"/>
                    </a:lnTo>
                    <a:lnTo>
                      <a:pt x="113" y="50"/>
                    </a:lnTo>
                    <a:lnTo>
                      <a:pt x="113" y="50"/>
                    </a:lnTo>
                    <a:lnTo>
                      <a:pt x="113" y="50"/>
                    </a:lnTo>
                    <a:lnTo>
                      <a:pt x="113" y="50"/>
                    </a:lnTo>
                    <a:lnTo>
                      <a:pt x="113" y="50"/>
                    </a:lnTo>
                    <a:lnTo>
                      <a:pt x="113" y="50"/>
                    </a:lnTo>
                    <a:lnTo>
                      <a:pt x="117" y="5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6" name="Freeform 24"/>
              <p:cNvSpPr>
                <a:spLocks/>
              </p:cNvSpPr>
              <p:nvPr/>
            </p:nvSpPr>
            <p:spPr bwMode="auto">
              <a:xfrm>
                <a:off x="2822576" y="2714625"/>
                <a:ext cx="187325" cy="166687"/>
              </a:xfrm>
              <a:custGeom>
                <a:avLst/>
                <a:gdLst>
                  <a:gd name="T0" fmla="*/ 82 w 118"/>
                  <a:gd name="T1" fmla="*/ 96 h 105"/>
                  <a:gd name="T2" fmla="*/ 37 w 118"/>
                  <a:gd name="T3" fmla="*/ 105 h 105"/>
                  <a:gd name="T4" fmla="*/ 37 w 118"/>
                  <a:gd name="T5" fmla="*/ 100 h 105"/>
                  <a:gd name="T6" fmla="*/ 41 w 118"/>
                  <a:gd name="T7" fmla="*/ 96 h 105"/>
                  <a:gd name="T8" fmla="*/ 46 w 118"/>
                  <a:gd name="T9" fmla="*/ 100 h 105"/>
                  <a:gd name="T10" fmla="*/ 50 w 118"/>
                  <a:gd name="T11" fmla="*/ 96 h 105"/>
                  <a:gd name="T12" fmla="*/ 64 w 118"/>
                  <a:gd name="T13" fmla="*/ 87 h 105"/>
                  <a:gd name="T14" fmla="*/ 68 w 118"/>
                  <a:gd name="T15" fmla="*/ 87 h 105"/>
                  <a:gd name="T16" fmla="*/ 68 w 118"/>
                  <a:gd name="T17" fmla="*/ 87 h 105"/>
                  <a:gd name="T18" fmla="*/ 68 w 118"/>
                  <a:gd name="T19" fmla="*/ 78 h 105"/>
                  <a:gd name="T20" fmla="*/ 59 w 118"/>
                  <a:gd name="T21" fmla="*/ 78 h 105"/>
                  <a:gd name="T22" fmla="*/ 55 w 118"/>
                  <a:gd name="T23" fmla="*/ 78 h 105"/>
                  <a:gd name="T24" fmla="*/ 46 w 118"/>
                  <a:gd name="T25" fmla="*/ 82 h 105"/>
                  <a:gd name="T26" fmla="*/ 37 w 118"/>
                  <a:gd name="T27" fmla="*/ 78 h 105"/>
                  <a:gd name="T28" fmla="*/ 32 w 118"/>
                  <a:gd name="T29" fmla="*/ 73 h 105"/>
                  <a:gd name="T30" fmla="*/ 32 w 118"/>
                  <a:gd name="T31" fmla="*/ 59 h 105"/>
                  <a:gd name="T32" fmla="*/ 23 w 118"/>
                  <a:gd name="T33" fmla="*/ 68 h 105"/>
                  <a:gd name="T34" fmla="*/ 27 w 118"/>
                  <a:gd name="T35" fmla="*/ 82 h 105"/>
                  <a:gd name="T36" fmla="*/ 27 w 118"/>
                  <a:gd name="T37" fmla="*/ 87 h 105"/>
                  <a:gd name="T38" fmla="*/ 18 w 118"/>
                  <a:gd name="T39" fmla="*/ 82 h 105"/>
                  <a:gd name="T40" fmla="*/ 18 w 118"/>
                  <a:gd name="T41" fmla="*/ 73 h 105"/>
                  <a:gd name="T42" fmla="*/ 14 w 118"/>
                  <a:gd name="T43" fmla="*/ 64 h 105"/>
                  <a:gd name="T44" fmla="*/ 14 w 118"/>
                  <a:gd name="T45" fmla="*/ 55 h 105"/>
                  <a:gd name="T46" fmla="*/ 23 w 118"/>
                  <a:gd name="T47" fmla="*/ 46 h 105"/>
                  <a:gd name="T48" fmla="*/ 23 w 118"/>
                  <a:gd name="T49" fmla="*/ 41 h 105"/>
                  <a:gd name="T50" fmla="*/ 18 w 118"/>
                  <a:gd name="T51" fmla="*/ 41 h 105"/>
                  <a:gd name="T52" fmla="*/ 14 w 118"/>
                  <a:gd name="T53" fmla="*/ 41 h 105"/>
                  <a:gd name="T54" fmla="*/ 5 w 118"/>
                  <a:gd name="T55" fmla="*/ 41 h 105"/>
                  <a:gd name="T56" fmla="*/ 0 w 118"/>
                  <a:gd name="T57" fmla="*/ 32 h 105"/>
                  <a:gd name="T58" fmla="*/ 9 w 118"/>
                  <a:gd name="T59" fmla="*/ 5 h 105"/>
                  <a:gd name="T60" fmla="*/ 14 w 118"/>
                  <a:gd name="T61" fmla="*/ 5 h 105"/>
                  <a:gd name="T62" fmla="*/ 18 w 118"/>
                  <a:gd name="T63" fmla="*/ 5 h 105"/>
                  <a:gd name="T64" fmla="*/ 27 w 118"/>
                  <a:gd name="T65" fmla="*/ 0 h 105"/>
                  <a:gd name="T66" fmla="*/ 37 w 118"/>
                  <a:gd name="T67" fmla="*/ 5 h 105"/>
                  <a:gd name="T68" fmla="*/ 37 w 118"/>
                  <a:gd name="T69" fmla="*/ 9 h 105"/>
                  <a:gd name="T70" fmla="*/ 41 w 118"/>
                  <a:gd name="T71" fmla="*/ 14 h 105"/>
                  <a:gd name="T72" fmla="*/ 46 w 118"/>
                  <a:gd name="T73" fmla="*/ 19 h 105"/>
                  <a:gd name="T74" fmla="*/ 55 w 118"/>
                  <a:gd name="T75" fmla="*/ 19 h 105"/>
                  <a:gd name="T76" fmla="*/ 68 w 118"/>
                  <a:gd name="T77" fmla="*/ 19 h 105"/>
                  <a:gd name="T78" fmla="*/ 77 w 118"/>
                  <a:gd name="T79" fmla="*/ 23 h 105"/>
                  <a:gd name="T80" fmla="*/ 86 w 118"/>
                  <a:gd name="T81" fmla="*/ 19 h 105"/>
                  <a:gd name="T82" fmla="*/ 95 w 118"/>
                  <a:gd name="T83" fmla="*/ 28 h 105"/>
                  <a:gd name="T84" fmla="*/ 100 w 118"/>
                  <a:gd name="T85" fmla="*/ 28 h 105"/>
                  <a:gd name="T86" fmla="*/ 114 w 118"/>
                  <a:gd name="T87" fmla="*/ 28 h 105"/>
                  <a:gd name="T88" fmla="*/ 118 w 118"/>
                  <a:gd name="T89" fmla="*/ 37 h 105"/>
                  <a:gd name="T90" fmla="*/ 105 w 118"/>
                  <a:gd name="T91" fmla="*/ 50 h 105"/>
                  <a:gd name="T92" fmla="*/ 100 w 118"/>
                  <a:gd name="T93" fmla="*/ 64 h 105"/>
                  <a:gd name="T94" fmla="*/ 95 w 118"/>
                  <a:gd name="T95" fmla="*/ 73 h 105"/>
                  <a:gd name="T96" fmla="*/ 86 w 118"/>
                  <a:gd name="T97" fmla="*/ 78 h 105"/>
                  <a:gd name="T98" fmla="*/ 82 w 118"/>
                  <a:gd name="T99" fmla="*/ 87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8" h="105">
                    <a:moveTo>
                      <a:pt x="82" y="91"/>
                    </a:moveTo>
                    <a:lnTo>
                      <a:pt x="82" y="91"/>
                    </a:lnTo>
                    <a:lnTo>
                      <a:pt x="82" y="91"/>
                    </a:lnTo>
                    <a:lnTo>
                      <a:pt x="82" y="96"/>
                    </a:lnTo>
                    <a:lnTo>
                      <a:pt x="77" y="96"/>
                    </a:lnTo>
                    <a:lnTo>
                      <a:pt x="68" y="96"/>
                    </a:lnTo>
                    <a:lnTo>
                      <a:pt x="46" y="105"/>
                    </a:lnTo>
                    <a:lnTo>
                      <a:pt x="37" y="105"/>
                    </a:lnTo>
                    <a:lnTo>
                      <a:pt x="37" y="105"/>
                    </a:lnTo>
                    <a:lnTo>
                      <a:pt x="37" y="105"/>
                    </a:lnTo>
                    <a:lnTo>
                      <a:pt x="32" y="100"/>
                    </a:lnTo>
                    <a:lnTo>
                      <a:pt x="37" y="100"/>
                    </a:lnTo>
                    <a:lnTo>
                      <a:pt x="37" y="100"/>
                    </a:lnTo>
                    <a:lnTo>
                      <a:pt x="37" y="100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6" y="96"/>
                    </a:lnTo>
                    <a:lnTo>
                      <a:pt x="46" y="100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5" y="91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64" y="87"/>
                    </a:lnTo>
                    <a:lnTo>
                      <a:pt x="68" y="87"/>
                    </a:lnTo>
                    <a:lnTo>
                      <a:pt x="68" y="87"/>
                    </a:lnTo>
                    <a:lnTo>
                      <a:pt x="68" y="87"/>
                    </a:lnTo>
                    <a:lnTo>
                      <a:pt x="68" y="87"/>
                    </a:lnTo>
                    <a:lnTo>
                      <a:pt x="68" y="87"/>
                    </a:lnTo>
                    <a:lnTo>
                      <a:pt x="68" y="87"/>
                    </a:lnTo>
                    <a:lnTo>
                      <a:pt x="68" y="87"/>
                    </a:lnTo>
                    <a:lnTo>
                      <a:pt x="68" y="87"/>
                    </a:lnTo>
                    <a:lnTo>
                      <a:pt x="68" y="87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4" y="73"/>
                    </a:lnTo>
                    <a:lnTo>
                      <a:pt x="59" y="78"/>
                    </a:lnTo>
                    <a:lnTo>
                      <a:pt x="59" y="78"/>
                    </a:lnTo>
                    <a:lnTo>
                      <a:pt x="59" y="78"/>
                    </a:lnTo>
                    <a:lnTo>
                      <a:pt x="55" y="78"/>
                    </a:lnTo>
                    <a:lnTo>
                      <a:pt x="55" y="78"/>
                    </a:lnTo>
                    <a:lnTo>
                      <a:pt x="55" y="78"/>
                    </a:lnTo>
                    <a:lnTo>
                      <a:pt x="55" y="78"/>
                    </a:lnTo>
                    <a:lnTo>
                      <a:pt x="50" y="78"/>
                    </a:lnTo>
                    <a:lnTo>
                      <a:pt x="50" y="82"/>
                    </a:lnTo>
                    <a:lnTo>
                      <a:pt x="46" y="82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1" y="82"/>
                    </a:lnTo>
                    <a:lnTo>
                      <a:pt x="37" y="78"/>
                    </a:lnTo>
                    <a:lnTo>
                      <a:pt x="37" y="82"/>
                    </a:lnTo>
                    <a:lnTo>
                      <a:pt x="37" y="78"/>
                    </a:lnTo>
                    <a:lnTo>
                      <a:pt x="32" y="78"/>
                    </a:lnTo>
                    <a:lnTo>
                      <a:pt x="32" y="73"/>
                    </a:lnTo>
                    <a:lnTo>
                      <a:pt x="32" y="73"/>
                    </a:lnTo>
                    <a:lnTo>
                      <a:pt x="32" y="73"/>
                    </a:lnTo>
                    <a:lnTo>
                      <a:pt x="32" y="64"/>
                    </a:lnTo>
                    <a:lnTo>
                      <a:pt x="32" y="59"/>
                    </a:lnTo>
                    <a:lnTo>
                      <a:pt x="27" y="59"/>
                    </a:lnTo>
                    <a:lnTo>
                      <a:pt x="27" y="64"/>
                    </a:lnTo>
                    <a:lnTo>
                      <a:pt x="27" y="68"/>
                    </a:lnTo>
                    <a:lnTo>
                      <a:pt x="23" y="68"/>
                    </a:lnTo>
                    <a:lnTo>
                      <a:pt x="23" y="73"/>
                    </a:lnTo>
                    <a:lnTo>
                      <a:pt x="23" y="78"/>
                    </a:lnTo>
                    <a:lnTo>
                      <a:pt x="23" y="78"/>
                    </a:lnTo>
                    <a:lnTo>
                      <a:pt x="27" y="82"/>
                    </a:lnTo>
                    <a:lnTo>
                      <a:pt x="27" y="87"/>
                    </a:lnTo>
                    <a:lnTo>
                      <a:pt x="27" y="87"/>
                    </a:lnTo>
                    <a:lnTo>
                      <a:pt x="27" y="91"/>
                    </a:lnTo>
                    <a:lnTo>
                      <a:pt x="27" y="87"/>
                    </a:lnTo>
                    <a:lnTo>
                      <a:pt x="23" y="87"/>
                    </a:lnTo>
                    <a:lnTo>
                      <a:pt x="18" y="82"/>
                    </a:lnTo>
                    <a:lnTo>
                      <a:pt x="18" y="82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4" y="55"/>
                    </a:lnTo>
                    <a:lnTo>
                      <a:pt x="14" y="55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3" y="46"/>
                    </a:lnTo>
                    <a:lnTo>
                      <a:pt x="23" y="46"/>
                    </a:lnTo>
                    <a:lnTo>
                      <a:pt x="23" y="46"/>
                    </a:lnTo>
                    <a:lnTo>
                      <a:pt x="23" y="41"/>
                    </a:lnTo>
                    <a:lnTo>
                      <a:pt x="23" y="37"/>
                    </a:lnTo>
                    <a:lnTo>
                      <a:pt x="23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37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9" y="46"/>
                    </a:lnTo>
                    <a:lnTo>
                      <a:pt x="5" y="46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3"/>
                    </a:lnTo>
                    <a:lnTo>
                      <a:pt x="0" y="19"/>
                    </a:lnTo>
                    <a:lnTo>
                      <a:pt x="5" y="9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23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32" y="5"/>
                    </a:lnTo>
                    <a:lnTo>
                      <a:pt x="37" y="5"/>
                    </a:lnTo>
                    <a:lnTo>
                      <a:pt x="37" y="5"/>
                    </a:lnTo>
                    <a:lnTo>
                      <a:pt x="37" y="5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9"/>
                    </a:lnTo>
                    <a:lnTo>
                      <a:pt x="50" y="19"/>
                    </a:lnTo>
                    <a:lnTo>
                      <a:pt x="50" y="19"/>
                    </a:lnTo>
                    <a:lnTo>
                      <a:pt x="55" y="19"/>
                    </a:lnTo>
                    <a:lnTo>
                      <a:pt x="55" y="19"/>
                    </a:lnTo>
                    <a:lnTo>
                      <a:pt x="64" y="19"/>
                    </a:lnTo>
                    <a:lnTo>
                      <a:pt x="64" y="19"/>
                    </a:lnTo>
                    <a:lnTo>
                      <a:pt x="64" y="19"/>
                    </a:lnTo>
                    <a:lnTo>
                      <a:pt x="68" y="19"/>
                    </a:lnTo>
                    <a:lnTo>
                      <a:pt x="73" y="19"/>
                    </a:lnTo>
                    <a:lnTo>
                      <a:pt x="73" y="23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82" y="23"/>
                    </a:lnTo>
                    <a:lnTo>
                      <a:pt x="86" y="19"/>
                    </a:lnTo>
                    <a:lnTo>
                      <a:pt x="86" y="19"/>
                    </a:lnTo>
                    <a:lnTo>
                      <a:pt x="91" y="19"/>
                    </a:lnTo>
                    <a:lnTo>
                      <a:pt x="91" y="23"/>
                    </a:lnTo>
                    <a:lnTo>
                      <a:pt x="95" y="28"/>
                    </a:lnTo>
                    <a:lnTo>
                      <a:pt x="95" y="28"/>
                    </a:lnTo>
                    <a:lnTo>
                      <a:pt x="95" y="28"/>
                    </a:lnTo>
                    <a:lnTo>
                      <a:pt x="95" y="28"/>
                    </a:lnTo>
                    <a:lnTo>
                      <a:pt x="100" y="28"/>
                    </a:lnTo>
                    <a:lnTo>
                      <a:pt x="100" y="28"/>
                    </a:lnTo>
                    <a:lnTo>
                      <a:pt x="105" y="28"/>
                    </a:lnTo>
                    <a:lnTo>
                      <a:pt x="105" y="28"/>
                    </a:lnTo>
                    <a:lnTo>
                      <a:pt x="109" y="28"/>
                    </a:lnTo>
                    <a:lnTo>
                      <a:pt x="114" y="28"/>
                    </a:lnTo>
                    <a:lnTo>
                      <a:pt x="118" y="28"/>
                    </a:lnTo>
                    <a:lnTo>
                      <a:pt x="118" y="32"/>
                    </a:lnTo>
                    <a:lnTo>
                      <a:pt x="118" y="37"/>
                    </a:lnTo>
                    <a:lnTo>
                      <a:pt x="118" y="37"/>
                    </a:lnTo>
                    <a:lnTo>
                      <a:pt x="118" y="41"/>
                    </a:lnTo>
                    <a:lnTo>
                      <a:pt x="114" y="46"/>
                    </a:lnTo>
                    <a:lnTo>
                      <a:pt x="109" y="50"/>
                    </a:lnTo>
                    <a:lnTo>
                      <a:pt x="105" y="50"/>
                    </a:lnTo>
                    <a:lnTo>
                      <a:pt x="105" y="59"/>
                    </a:lnTo>
                    <a:lnTo>
                      <a:pt x="105" y="59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95" y="73"/>
                    </a:lnTo>
                    <a:lnTo>
                      <a:pt x="95" y="73"/>
                    </a:lnTo>
                    <a:lnTo>
                      <a:pt x="91" y="73"/>
                    </a:lnTo>
                    <a:lnTo>
                      <a:pt x="86" y="73"/>
                    </a:lnTo>
                    <a:lnTo>
                      <a:pt x="86" y="73"/>
                    </a:lnTo>
                    <a:lnTo>
                      <a:pt x="86" y="78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82" y="87"/>
                    </a:lnTo>
                    <a:lnTo>
                      <a:pt x="82" y="87"/>
                    </a:lnTo>
                    <a:lnTo>
                      <a:pt x="82" y="91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7" name="Freeform 25"/>
              <p:cNvSpPr>
                <a:spLocks/>
              </p:cNvSpPr>
              <p:nvPr/>
            </p:nvSpPr>
            <p:spPr bwMode="auto">
              <a:xfrm>
                <a:off x="2751138" y="2498725"/>
                <a:ext cx="238125" cy="266700"/>
              </a:xfrm>
              <a:custGeom>
                <a:avLst/>
                <a:gdLst>
                  <a:gd name="T0" fmla="*/ 136 w 150"/>
                  <a:gd name="T1" fmla="*/ 155 h 168"/>
                  <a:gd name="T2" fmla="*/ 122 w 150"/>
                  <a:gd name="T3" fmla="*/ 159 h 168"/>
                  <a:gd name="T4" fmla="*/ 118 w 150"/>
                  <a:gd name="T5" fmla="*/ 155 h 168"/>
                  <a:gd name="T6" fmla="*/ 109 w 150"/>
                  <a:gd name="T7" fmla="*/ 155 h 168"/>
                  <a:gd name="T8" fmla="*/ 95 w 150"/>
                  <a:gd name="T9" fmla="*/ 155 h 168"/>
                  <a:gd name="T10" fmla="*/ 91 w 150"/>
                  <a:gd name="T11" fmla="*/ 150 h 168"/>
                  <a:gd name="T12" fmla="*/ 86 w 150"/>
                  <a:gd name="T13" fmla="*/ 145 h 168"/>
                  <a:gd name="T14" fmla="*/ 82 w 150"/>
                  <a:gd name="T15" fmla="*/ 141 h 168"/>
                  <a:gd name="T16" fmla="*/ 77 w 150"/>
                  <a:gd name="T17" fmla="*/ 136 h 168"/>
                  <a:gd name="T18" fmla="*/ 68 w 150"/>
                  <a:gd name="T19" fmla="*/ 136 h 168"/>
                  <a:gd name="T20" fmla="*/ 59 w 150"/>
                  <a:gd name="T21" fmla="*/ 141 h 168"/>
                  <a:gd name="T22" fmla="*/ 54 w 150"/>
                  <a:gd name="T23" fmla="*/ 141 h 168"/>
                  <a:gd name="T24" fmla="*/ 45 w 150"/>
                  <a:gd name="T25" fmla="*/ 159 h 168"/>
                  <a:gd name="T26" fmla="*/ 32 w 150"/>
                  <a:gd name="T27" fmla="*/ 159 h 168"/>
                  <a:gd name="T28" fmla="*/ 27 w 150"/>
                  <a:gd name="T29" fmla="*/ 155 h 168"/>
                  <a:gd name="T30" fmla="*/ 13 w 150"/>
                  <a:gd name="T31" fmla="*/ 141 h 168"/>
                  <a:gd name="T32" fmla="*/ 13 w 150"/>
                  <a:gd name="T33" fmla="*/ 127 h 168"/>
                  <a:gd name="T34" fmla="*/ 9 w 150"/>
                  <a:gd name="T35" fmla="*/ 114 h 168"/>
                  <a:gd name="T36" fmla="*/ 4 w 150"/>
                  <a:gd name="T37" fmla="*/ 109 h 168"/>
                  <a:gd name="T38" fmla="*/ 4 w 150"/>
                  <a:gd name="T39" fmla="*/ 96 h 168"/>
                  <a:gd name="T40" fmla="*/ 9 w 150"/>
                  <a:gd name="T41" fmla="*/ 87 h 168"/>
                  <a:gd name="T42" fmla="*/ 18 w 150"/>
                  <a:gd name="T43" fmla="*/ 87 h 168"/>
                  <a:gd name="T44" fmla="*/ 27 w 150"/>
                  <a:gd name="T45" fmla="*/ 91 h 168"/>
                  <a:gd name="T46" fmla="*/ 27 w 150"/>
                  <a:gd name="T47" fmla="*/ 87 h 168"/>
                  <a:gd name="T48" fmla="*/ 50 w 150"/>
                  <a:gd name="T49" fmla="*/ 87 h 168"/>
                  <a:gd name="T50" fmla="*/ 59 w 150"/>
                  <a:gd name="T51" fmla="*/ 82 h 168"/>
                  <a:gd name="T52" fmla="*/ 59 w 150"/>
                  <a:gd name="T53" fmla="*/ 77 h 168"/>
                  <a:gd name="T54" fmla="*/ 54 w 150"/>
                  <a:gd name="T55" fmla="*/ 68 h 168"/>
                  <a:gd name="T56" fmla="*/ 50 w 150"/>
                  <a:gd name="T57" fmla="*/ 64 h 168"/>
                  <a:gd name="T58" fmla="*/ 50 w 150"/>
                  <a:gd name="T59" fmla="*/ 55 h 168"/>
                  <a:gd name="T60" fmla="*/ 54 w 150"/>
                  <a:gd name="T61" fmla="*/ 46 h 168"/>
                  <a:gd name="T62" fmla="*/ 63 w 150"/>
                  <a:gd name="T63" fmla="*/ 28 h 168"/>
                  <a:gd name="T64" fmla="*/ 59 w 150"/>
                  <a:gd name="T65" fmla="*/ 23 h 168"/>
                  <a:gd name="T66" fmla="*/ 63 w 150"/>
                  <a:gd name="T67" fmla="*/ 18 h 168"/>
                  <a:gd name="T68" fmla="*/ 68 w 150"/>
                  <a:gd name="T69" fmla="*/ 14 h 168"/>
                  <a:gd name="T70" fmla="*/ 77 w 150"/>
                  <a:gd name="T71" fmla="*/ 14 h 168"/>
                  <a:gd name="T72" fmla="*/ 77 w 150"/>
                  <a:gd name="T73" fmla="*/ 18 h 168"/>
                  <a:gd name="T74" fmla="*/ 82 w 150"/>
                  <a:gd name="T75" fmla="*/ 23 h 168"/>
                  <a:gd name="T76" fmla="*/ 86 w 150"/>
                  <a:gd name="T77" fmla="*/ 18 h 168"/>
                  <a:gd name="T78" fmla="*/ 91 w 150"/>
                  <a:gd name="T79" fmla="*/ 14 h 168"/>
                  <a:gd name="T80" fmla="*/ 100 w 150"/>
                  <a:gd name="T81" fmla="*/ 5 h 168"/>
                  <a:gd name="T82" fmla="*/ 104 w 150"/>
                  <a:gd name="T83" fmla="*/ 5 h 168"/>
                  <a:gd name="T84" fmla="*/ 113 w 150"/>
                  <a:gd name="T85" fmla="*/ 0 h 168"/>
                  <a:gd name="T86" fmla="*/ 113 w 150"/>
                  <a:gd name="T87" fmla="*/ 5 h 168"/>
                  <a:gd name="T88" fmla="*/ 118 w 150"/>
                  <a:gd name="T89" fmla="*/ 5 h 168"/>
                  <a:gd name="T90" fmla="*/ 127 w 150"/>
                  <a:gd name="T91" fmla="*/ 9 h 168"/>
                  <a:gd name="T92" fmla="*/ 150 w 150"/>
                  <a:gd name="T93" fmla="*/ 18 h 168"/>
                  <a:gd name="T94" fmla="*/ 150 w 150"/>
                  <a:gd name="T95" fmla="*/ 28 h 168"/>
                  <a:gd name="T96" fmla="*/ 140 w 150"/>
                  <a:gd name="T97" fmla="*/ 32 h 168"/>
                  <a:gd name="T98" fmla="*/ 140 w 150"/>
                  <a:gd name="T99" fmla="*/ 41 h 168"/>
                  <a:gd name="T100" fmla="*/ 140 w 150"/>
                  <a:gd name="T101" fmla="*/ 50 h 168"/>
                  <a:gd name="T102" fmla="*/ 145 w 150"/>
                  <a:gd name="T103" fmla="*/ 55 h 168"/>
                  <a:gd name="T104" fmla="*/ 131 w 150"/>
                  <a:gd name="T105" fmla="*/ 73 h 168"/>
                  <a:gd name="T106" fmla="*/ 127 w 150"/>
                  <a:gd name="T107" fmla="*/ 73 h 168"/>
                  <a:gd name="T108" fmla="*/ 118 w 150"/>
                  <a:gd name="T109" fmla="*/ 87 h 168"/>
                  <a:gd name="T110" fmla="*/ 122 w 150"/>
                  <a:gd name="T111" fmla="*/ 87 h 168"/>
                  <a:gd name="T112" fmla="*/ 127 w 150"/>
                  <a:gd name="T113" fmla="*/ 91 h 168"/>
                  <a:gd name="T114" fmla="*/ 131 w 150"/>
                  <a:gd name="T115" fmla="*/ 105 h 168"/>
                  <a:gd name="T116" fmla="*/ 136 w 150"/>
                  <a:gd name="T117" fmla="*/ 114 h 168"/>
                  <a:gd name="T118" fmla="*/ 136 w 150"/>
                  <a:gd name="T119" fmla="*/ 123 h 168"/>
                  <a:gd name="T120" fmla="*/ 145 w 150"/>
                  <a:gd name="T121" fmla="*/ 132 h 168"/>
                  <a:gd name="T122" fmla="*/ 145 w 150"/>
                  <a:gd name="T123" fmla="*/ 141 h 168"/>
                  <a:gd name="T124" fmla="*/ 140 w 150"/>
                  <a:gd name="T125" fmla="*/ 141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50" h="168">
                    <a:moveTo>
                      <a:pt x="140" y="150"/>
                    </a:moveTo>
                    <a:lnTo>
                      <a:pt x="140" y="150"/>
                    </a:lnTo>
                    <a:lnTo>
                      <a:pt x="140" y="150"/>
                    </a:lnTo>
                    <a:lnTo>
                      <a:pt x="136" y="155"/>
                    </a:lnTo>
                    <a:lnTo>
                      <a:pt x="131" y="155"/>
                    </a:lnTo>
                    <a:lnTo>
                      <a:pt x="131" y="155"/>
                    </a:lnTo>
                    <a:lnTo>
                      <a:pt x="127" y="159"/>
                    </a:lnTo>
                    <a:lnTo>
                      <a:pt x="122" y="159"/>
                    </a:lnTo>
                    <a:lnTo>
                      <a:pt x="122" y="159"/>
                    </a:lnTo>
                    <a:lnTo>
                      <a:pt x="122" y="159"/>
                    </a:lnTo>
                    <a:lnTo>
                      <a:pt x="118" y="159"/>
                    </a:lnTo>
                    <a:lnTo>
                      <a:pt x="118" y="155"/>
                    </a:lnTo>
                    <a:lnTo>
                      <a:pt x="113" y="155"/>
                    </a:lnTo>
                    <a:lnTo>
                      <a:pt x="109" y="155"/>
                    </a:lnTo>
                    <a:lnTo>
                      <a:pt x="109" y="155"/>
                    </a:lnTo>
                    <a:lnTo>
                      <a:pt x="109" y="155"/>
                    </a:lnTo>
                    <a:lnTo>
                      <a:pt x="100" y="155"/>
                    </a:lnTo>
                    <a:lnTo>
                      <a:pt x="100" y="155"/>
                    </a:lnTo>
                    <a:lnTo>
                      <a:pt x="95" y="155"/>
                    </a:lnTo>
                    <a:lnTo>
                      <a:pt x="95" y="155"/>
                    </a:lnTo>
                    <a:lnTo>
                      <a:pt x="91" y="155"/>
                    </a:lnTo>
                    <a:lnTo>
                      <a:pt x="91" y="150"/>
                    </a:lnTo>
                    <a:lnTo>
                      <a:pt x="91" y="150"/>
                    </a:lnTo>
                    <a:lnTo>
                      <a:pt x="91" y="150"/>
                    </a:lnTo>
                    <a:lnTo>
                      <a:pt x="86" y="150"/>
                    </a:lnTo>
                    <a:lnTo>
                      <a:pt x="86" y="150"/>
                    </a:lnTo>
                    <a:lnTo>
                      <a:pt x="86" y="145"/>
                    </a:lnTo>
                    <a:lnTo>
                      <a:pt x="86" y="145"/>
                    </a:lnTo>
                    <a:lnTo>
                      <a:pt x="82" y="145"/>
                    </a:lnTo>
                    <a:lnTo>
                      <a:pt x="82" y="145"/>
                    </a:lnTo>
                    <a:lnTo>
                      <a:pt x="82" y="145"/>
                    </a:lnTo>
                    <a:lnTo>
                      <a:pt x="82" y="141"/>
                    </a:lnTo>
                    <a:lnTo>
                      <a:pt x="82" y="141"/>
                    </a:lnTo>
                    <a:lnTo>
                      <a:pt x="82" y="141"/>
                    </a:lnTo>
                    <a:lnTo>
                      <a:pt x="77" y="141"/>
                    </a:lnTo>
                    <a:lnTo>
                      <a:pt x="77" y="136"/>
                    </a:lnTo>
                    <a:lnTo>
                      <a:pt x="72" y="136"/>
                    </a:lnTo>
                    <a:lnTo>
                      <a:pt x="72" y="136"/>
                    </a:lnTo>
                    <a:lnTo>
                      <a:pt x="72" y="136"/>
                    </a:lnTo>
                    <a:lnTo>
                      <a:pt x="68" y="136"/>
                    </a:lnTo>
                    <a:lnTo>
                      <a:pt x="63" y="141"/>
                    </a:lnTo>
                    <a:lnTo>
                      <a:pt x="63" y="141"/>
                    </a:lnTo>
                    <a:lnTo>
                      <a:pt x="59" y="141"/>
                    </a:lnTo>
                    <a:lnTo>
                      <a:pt x="59" y="141"/>
                    </a:lnTo>
                    <a:lnTo>
                      <a:pt x="59" y="141"/>
                    </a:lnTo>
                    <a:lnTo>
                      <a:pt x="54" y="141"/>
                    </a:lnTo>
                    <a:lnTo>
                      <a:pt x="54" y="141"/>
                    </a:lnTo>
                    <a:lnTo>
                      <a:pt x="54" y="141"/>
                    </a:lnTo>
                    <a:lnTo>
                      <a:pt x="54" y="141"/>
                    </a:lnTo>
                    <a:lnTo>
                      <a:pt x="50" y="145"/>
                    </a:lnTo>
                    <a:lnTo>
                      <a:pt x="45" y="155"/>
                    </a:lnTo>
                    <a:lnTo>
                      <a:pt x="45" y="159"/>
                    </a:lnTo>
                    <a:lnTo>
                      <a:pt x="45" y="168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2" y="159"/>
                    </a:lnTo>
                    <a:lnTo>
                      <a:pt x="32" y="159"/>
                    </a:lnTo>
                    <a:lnTo>
                      <a:pt x="32" y="155"/>
                    </a:lnTo>
                    <a:lnTo>
                      <a:pt x="27" y="155"/>
                    </a:lnTo>
                    <a:lnTo>
                      <a:pt x="27" y="155"/>
                    </a:lnTo>
                    <a:lnTo>
                      <a:pt x="13" y="159"/>
                    </a:lnTo>
                    <a:lnTo>
                      <a:pt x="13" y="155"/>
                    </a:lnTo>
                    <a:lnTo>
                      <a:pt x="13" y="150"/>
                    </a:lnTo>
                    <a:lnTo>
                      <a:pt x="13" y="141"/>
                    </a:lnTo>
                    <a:lnTo>
                      <a:pt x="13" y="141"/>
                    </a:lnTo>
                    <a:lnTo>
                      <a:pt x="13" y="136"/>
                    </a:lnTo>
                    <a:lnTo>
                      <a:pt x="18" y="132"/>
                    </a:lnTo>
                    <a:lnTo>
                      <a:pt x="13" y="127"/>
                    </a:lnTo>
                    <a:lnTo>
                      <a:pt x="13" y="118"/>
                    </a:lnTo>
                    <a:lnTo>
                      <a:pt x="13" y="118"/>
                    </a:lnTo>
                    <a:lnTo>
                      <a:pt x="13" y="114"/>
                    </a:lnTo>
                    <a:lnTo>
                      <a:pt x="9" y="114"/>
                    </a:lnTo>
                    <a:lnTo>
                      <a:pt x="9" y="114"/>
                    </a:lnTo>
                    <a:lnTo>
                      <a:pt x="9" y="114"/>
                    </a:lnTo>
                    <a:lnTo>
                      <a:pt x="9" y="114"/>
                    </a:lnTo>
                    <a:lnTo>
                      <a:pt x="4" y="109"/>
                    </a:lnTo>
                    <a:lnTo>
                      <a:pt x="4" y="109"/>
                    </a:lnTo>
                    <a:lnTo>
                      <a:pt x="4" y="105"/>
                    </a:lnTo>
                    <a:lnTo>
                      <a:pt x="0" y="100"/>
                    </a:lnTo>
                    <a:lnTo>
                      <a:pt x="4" y="96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13" y="87"/>
                    </a:lnTo>
                    <a:lnTo>
                      <a:pt x="13" y="87"/>
                    </a:lnTo>
                    <a:lnTo>
                      <a:pt x="18" y="87"/>
                    </a:lnTo>
                    <a:lnTo>
                      <a:pt x="18" y="87"/>
                    </a:lnTo>
                    <a:lnTo>
                      <a:pt x="23" y="87"/>
                    </a:lnTo>
                    <a:lnTo>
                      <a:pt x="23" y="87"/>
                    </a:lnTo>
                    <a:lnTo>
                      <a:pt x="23" y="87"/>
                    </a:lnTo>
                    <a:lnTo>
                      <a:pt x="27" y="91"/>
                    </a:lnTo>
                    <a:lnTo>
                      <a:pt x="27" y="91"/>
                    </a:lnTo>
                    <a:lnTo>
                      <a:pt x="27" y="87"/>
                    </a:lnTo>
                    <a:lnTo>
                      <a:pt x="27" y="87"/>
                    </a:lnTo>
                    <a:lnTo>
                      <a:pt x="27" y="87"/>
                    </a:lnTo>
                    <a:lnTo>
                      <a:pt x="41" y="87"/>
                    </a:lnTo>
                    <a:lnTo>
                      <a:pt x="41" y="87"/>
                    </a:lnTo>
                    <a:lnTo>
                      <a:pt x="45" y="87"/>
                    </a:lnTo>
                    <a:lnTo>
                      <a:pt x="50" y="87"/>
                    </a:lnTo>
                    <a:lnTo>
                      <a:pt x="50" y="87"/>
                    </a:lnTo>
                    <a:lnTo>
                      <a:pt x="54" y="87"/>
                    </a:lnTo>
                    <a:lnTo>
                      <a:pt x="54" y="87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9" y="73"/>
                    </a:lnTo>
                    <a:lnTo>
                      <a:pt x="59" y="73"/>
                    </a:lnTo>
                    <a:lnTo>
                      <a:pt x="59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59"/>
                    </a:lnTo>
                    <a:lnTo>
                      <a:pt x="50" y="55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3" y="28"/>
                    </a:lnTo>
                    <a:lnTo>
                      <a:pt x="63" y="28"/>
                    </a:lnTo>
                    <a:lnTo>
                      <a:pt x="63" y="28"/>
                    </a:lnTo>
                    <a:lnTo>
                      <a:pt x="59" y="23"/>
                    </a:lnTo>
                    <a:lnTo>
                      <a:pt x="59" y="23"/>
                    </a:lnTo>
                    <a:lnTo>
                      <a:pt x="59" y="18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63" y="18"/>
                    </a:lnTo>
                    <a:lnTo>
                      <a:pt x="63" y="18"/>
                    </a:lnTo>
                    <a:lnTo>
                      <a:pt x="63" y="18"/>
                    </a:lnTo>
                    <a:lnTo>
                      <a:pt x="63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7" y="14"/>
                    </a:lnTo>
                    <a:lnTo>
                      <a:pt x="77" y="18"/>
                    </a:lnTo>
                    <a:lnTo>
                      <a:pt x="77" y="18"/>
                    </a:lnTo>
                    <a:lnTo>
                      <a:pt x="77" y="18"/>
                    </a:lnTo>
                    <a:lnTo>
                      <a:pt x="77" y="18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82" y="23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91" y="14"/>
                    </a:lnTo>
                    <a:lnTo>
                      <a:pt x="91" y="14"/>
                    </a:lnTo>
                    <a:lnTo>
                      <a:pt x="91" y="14"/>
                    </a:lnTo>
                    <a:lnTo>
                      <a:pt x="91" y="9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4" y="5"/>
                    </a:lnTo>
                    <a:lnTo>
                      <a:pt x="104" y="5"/>
                    </a:lnTo>
                    <a:lnTo>
                      <a:pt x="104" y="5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13" y="5"/>
                    </a:lnTo>
                    <a:lnTo>
                      <a:pt x="113" y="5"/>
                    </a:lnTo>
                    <a:lnTo>
                      <a:pt x="113" y="5"/>
                    </a:lnTo>
                    <a:lnTo>
                      <a:pt x="113" y="5"/>
                    </a:lnTo>
                    <a:lnTo>
                      <a:pt x="113" y="5"/>
                    </a:lnTo>
                    <a:lnTo>
                      <a:pt x="118" y="5"/>
                    </a:lnTo>
                    <a:lnTo>
                      <a:pt x="118" y="5"/>
                    </a:lnTo>
                    <a:lnTo>
                      <a:pt x="118" y="5"/>
                    </a:lnTo>
                    <a:lnTo>
                      <a:pt x="118" y="5"/>
                    </a:lnTo>
                    <a:lnTo>
                      <a:pt x="122" y="5"/>
                    </a:lnTo>
                    <a:lnTo>
                      <a:pt x="127" y="5"/>
                    </a:lnTo>
                    <a:lnTo>
                      <a:pt x="127" y="9"/>
                    </a:lnTo>
                    <a:lnTo>
                      <a:pt x="136" y="9"/>
                    </a:lnTo>
                    <a:lnTo>
                      <a:pt x="140" y="9"/>
                    </a:lnTo>
                    <a:lnTo>
                      <a:pt x="145" y="14"/>
                    </a:lnTo>
                    <a:lnTo>
                      <a:pt x="150" y="18"/>
                    </a:lnTo>
                    <a:lnTo>
                      <a:pt x="150" y="18"/>
                    </a:lnTo>
                    <a:lnTo>
                      <a:pt x="150" y="18"/>
                    </a:lnTo>
                    <a:lnTo>
                      <a:pt x="150" y="23"/>
                    </a:lnTo>
                    <a:lnTo>
                      <a:pt x="150" y="28"/>
                    </a:lnTo>
                    <a:lnTo>
                      <a:pt x="150" y="28"/>
                    </a:lnTo>
                    <a:lnTo>
                      <a:pt x="145" y="28"/>
                    </a:lnTo>
                    <a:lnTo>
                      <a:pt x="145" y="32"/>
                    </a:lnTo>
                    <a:lnTo>
                      <a:pt x="140" y="32"/>
                    </a:lnTo>
                    <a:lnTo>
                      <a:pt x="140" y="37"/>
                    </a:lnTo>
                    <a:lnTo>
                      <a:pt x="140" y="37"/>
                    </a:lnTo>
                    <a:lnTo>
                      <a:pt x="140" y="37"/>
                    </a:lnTo>
                    <a:lnTo>
                      <a:pt x="140" y="41"/>
                    </a:lnTo>
                    <a:lnTo>
                      <a:pt x="140" y="41"/>
                    </a:lnTo>
                    <a:lnTo>
                      <a:pt x="140" y="46"/>
                    </a:lnTo>
                    <a:lnTo>
                      <a:pt x="140" y="46"/>
                    </a:lnTo>
                    <a:lnTo>
                      <a:pt x="140" y="50"/>
                    </a:lnTo>
                    <a:lnTo>
                      <a:pt x="145" y="50"/>
                    </a:lnTo>
                    <a:lnTo>
                      <a:pt x="145" y="55"/>
                    </a:lnTo>
                    <a:lnTo>
                      <a:pt x="145" y="55"/>
                    </a:lnTo>
                    <a:lnTo>
                      <a:pt x="145" y="55"/>
                    </a:lnTo>
                    <a:lnTo>
                      <a:pt x="140" y="59"/>
                    </a:lnTo>
                    <a:lnTo>
                      <a:pt x="136" y="68"/>
                    </a:lnTo>
                    <a:lnTo>
                      <a:pt x="131" y="73"/>
                    </a:lnTo>
                    <a:lnTo>
                      <a:pt x="131" y="73"/>
                    </a:lnTo>
                    <a:lnTo>
                      <a:pt x="131" y="73"/>
                    </a:lnTo>
                    <a:lnTo>
                      <a:pt x="131" y="73"/>
                    </a:lnTo>
                    <a:lnTo>
                      <a:pt x="127" y="73"/>
                    </a:lnTo>
                    <a:lnTo>
                      <a:pt x="127" y="73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18" y="82"/>
                    </a:lnTo>
                    <a:lnTo>
                      <a:pt x="118" y="87"/>
                    </a:lnTo>
                    <a:lnTo>
                      <a:pt x="118" y="87"/>
                    </a:lnTo>
                    <a:lnTo>
                      <a:pt x="118" y="87"/>
                    </a:lnTo>
                    <a:lnTo>
                      <a:pt x="118" y="87"/>
                    </a:lnTo>
                    <a:lnTo>
                      <a:pt x="122" y="87"/>
                    </a:lnTo>
                    <a:lnTo>
                      <a:pt x="122" y="91"/>
                    </a:lnTo>
                    <a:lnTo>
                      <a:pt x="122" y="91"/>
                    </a:lnTo>
                    <a:lnTo>
                      <a:pt x="122" y="91"/>
                    </a:lnTo>
                    <a:lnTo>
                      <a:pt x="127" y="91"/>
                    </a:lnTo>
                    <a:lnTo>
                      <a:pt x="127" y="91"/>
                    </a:lnTo>
                    <a:lnTo>
                      <a:pt x="127" y="96"/>
                    </a:lnTo>
                    <a:lnTo>
                      <a:pt x="131" y="100"/>
                    </a:lnTo>
                    <a:lnTo>
                      <a:pt x="131" y="105"/>
                    </a:lnTo>
                    <a:lnTo>
                      <a:pt x="136" y="105"/>
                    </a:lnTo>
                    <a:lnTo>
                      <a:pt x="136" y="109"/>
                    </a:lnTo>
                    <a:lnTo>
                      <a:pt x="136" y="109"/>
                    </a:lnTo>
                    <a:lnTo>
                      <a:pt x="136" y="114"/>
                    </a:ln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23"/>
                    </a:lnTo>
                    <a:lnTo>
                      <a:pt x="140" y="123"/>
                    </a:lnTo>
                    <a:lnTo>
                      <a:pt x="140" y="123"/>
                    </a:lnTo>
                    <a:lnTo>
                      <a:pt x="145" y="127"/>
                    </a:lnTo>
                    <a:lnTo>
                      <a:pt x="145" y="132"/>
                    </a:lnTo>
                    <a:lnTo>
                      <a:pt x="145" y="132"/>
                    </a:lnTo>
                    <a:lnTo>
                      <a:pt x="145" y="132"/>
                    </a:lnTo>
                    <a:lnTo>
                      <a:pt x="145" y="136"/>
                    </a:lnTo>
                    <a:lnTo>
                      <a:pt x="145" y="141"/>
                    </a:lnTo>
                    <a:lnTo>
                      <a:pt x="145" y="141"/>
                    </a:lnTo>
                    <a:lnTo>
                      <a:pt x="140" y="141"/>
                    </a:lnTo>
                    <a:lnTo>
                      <a:pt x="140" y="141"/>
                    </a:lnTo>
                    <a:lnTo>
                      <a:pt x="140" y="141"/>
                    </a:lnTo>
                    <a:lnTo>
                      <a:pt x="140" y="145"/>
                    </a:lnTo>
                    <a:lnTo>
                      <a:pt x="140" y="145"/>
                    </a:lnTo>
                    <a:lnTo>
                      <a:pt x="140" y="15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8" name="Freeform 26"/>
              <p:cNvSpPr>
                <a:spLocks noEditPoints="1"/>
              </p:cNvSpPr>
              <p:nvPr/>
            </p:nvSpPr>
            <p:spPr bwMode="auto">
              <a:xfrm>
                <a:off x="2757488" y="2282825"/>
                <a:ext cx="195263" cy="295275"/>
              </a:xfrm>
              <a:custGeom>
                <a:avLst/>
                <a:gdLst>
                  <a:gd name="T0" fmla="*/ 87 w 123"/>
                  <a:gd name="T1" fmla="*/ 50 h 186"/>
                  <a:gd name="T2" fmla="*/ 82 w 123"/>
                  <a:gd name="T3" fmla="*/ 55 h 186"/>
                  <a:gd name="T4" fmla="*/ 78 w 123"/>
                  <a:gd name="T5" fmla="*/ 55 h 186"/>
                  <a:gd name="T6" fmla="*/ 73 w 123"/>
                  <a:gd name="T7" fmla="*/ 46 h 186"/>
                  <a:gd name="T8" fmla="*/ 78 w 123"/>
                  <a:gd name="T9" fmla="*/ 50 h 186"/>
                  <a:gd name="T10" fmla="*/ 78 w 123"/>
                  <a:gd name="T11" fmla="*/ 46 h 186"/>
                  <a:gd name="T12" fmla="*/ 82 w 123"/>
                  <a:gd name="T13" fmla="*/ 50 h 186"/>
                  <a:gd name="T14" fmla="*/ 87 w 123"/>
                  <a:gd name="T15" fmla="*/ 46 h 186"/>
                  <a:gd name="T16" fmla="*/ 0 w 123"/>
                  <a:gd name="T17" fmla="*/ 159 h 186"/>
                  <a:gd name="T18" fmla="*/ 5 w 123"/>
                  <a:gd name="T19" fmla="*/ 164 h 186"/>
                  <a:gd name="T20" fmla="*/ 5 w 123"/>
                  <a:gd name="T21" fmla="*/ 168 h 186"/>
                  <a:gd name="T22" fmla="*/ 19 w 123"/>
                  <a:gd name="T23" fmla="*/ 173 h 186"/>
                  <a:gd name="T24" fmla="*/ 23 w 123"/>
                  <a:gd name="T25" fmla="*/ 173 h 186"/>
                  <a:gd name="T26" fmla="*/ 37 w 123"/>
                  <a:gd name="T27" fmla="*/ 182 h 186"/>
                  <a:gd name="T28" fmla="*/ 50 w 123"/>
                  <a:gd name="T29" fmla="*/ 182 h 186"/>
                  <a:gd name="T30" fmla="*/ 59 w 123"/>
                  <a:gd name="T31" fmla="*/ 164 h 186"/>
                  <a:gd name="T32" fmla="*/ 55 w 123"/>
                  <a:gd name="T33" fmla="*/ 154 h 186"/>
                  <a:gd name="T34" fmla="*/ 55 w 123"/>
                  <a:gd name="T35" fmla="*/ 145 h 186"/>
                  <a:gd name="T36" fmla="*/ 55 w 123"/>
                  <a:gd name="T37" fmla="*/ 136 h 186"/>
                  <a:gd name="T38" fmla="*/ 59 w 123"/>
                  <a:gd name="T39" fmla="*/ 123 h 186"/>
                  <a:gd name="T40" fmla="*/ 55 w 123"/>
                  <a:gd name="T41" fmla="*/ 114 h 186"/>
                  <a:gd name="T42" fmla="*/ 59 w 123"/>
                  <a:gd name="T43" fmla="*/ 105 h 186"/>
                  <a:gd name="T44" fmla="*/ 59 w 123"/>
                  <a:gd name="T45" fmla="*/ 100 h 186"/>
                  <a:gd name="T46" fmla="*/ 64 w 123"/>
                  <a:gd name="T47" fmla="*/ 86 h 186"/>
                  <a:gd name="T48" fmla="*/ 73 w 123"/>
                  <a:gd name="T49" fmla="*/ 73 h 186"/>
                  <a:gd name="T50" fmla="*/ 78 w 123"/>
                  <a:gd name="T51" fmla="*/ 73 h 186"/>
                  <a:gd name="T52" fmla="*/ 87 w 123"/>
                  <a:gd name="T53" fmla="*/ 73 h 186"/>
                  <a:gd name="T54" fmla="*/ 87 w 123"/>
                  <a:gd name="T55" fmla="*/ 55 h 186"/>
                  <a:gd name="T56" fmla="*/ 82 w 123"/>
                  <a:gd name="T57" fmla="*/ 59 h 186"/>
                  <a:gd name="T58" fmla="*/ 73 w 123"/>
                  <a:gd name="T59" fmla="*/ 55 h 186"/>
                  <a:gd name="T60" fmla="*/ 68 w 123"/>
                  <a:gd name="T61" fmla="*/ 50 h 186"/>
                  <a:gd name="T62" fmla="*/ 78 w 123"/>
                  <a:gd name="T63" fmla="*/ 41 h 186"/>
                  <a:gd name="T64" fmla="*/ 82 w 123"/>
                  <a:gd name="T65" fmla="*/ 41 h 186"/>
                  <a:gd name="T66" fmla="*/ 91 w 123"/>
                  <a:gd name="T67" fmla="*/ 37 h 186"/>
                  <a:gd name="T68" fmla="*/ 105 w 123"/>
                  <a:gd name="T69" fmla="*/ 32 h 186"/>
                  <a:gd name="T70" fmla="*/ 114 w 123"/>
                  <a:gd name="T71" fmla="*/ 27 h 186"/>
                  <a:gd name="T72" fmla="*/ 109 w 123"/>
                  <a:gd name="T73" fmla="*/ 18 h 186"/>
                  <a:gd name="T74" fmla="*/ 114 w 123"/>
                  <a:gd name="T75" fmla="*/ 14 h 186"/>
                  <a:gd name="T76" fmla="*/ 123 w 123"/>
                  <a:gd name="T77" fmla="*/ 9 h 186"/>
                  <a:gd name="T78" fmla="*/ 114 w 123"/>
                  <a:gd name="T79" fmla="*/ 0 h 186"/>
                  <a:gd name="T80" fmla="*/ 91 w 123"/>
                  <a:gd name="T81" fmla="*/ 9 h 186"/>
                  <a:gd name="T82" fmla="*/ 68 w 123"/>
                  <a:gd name="T83" fmla="*/ 18 h 186"/>
                  <a:gd name="T84" fmla="*/ 55 w 123"/>
                  <a:gd name="T85" fmla="*/ 27 h 186"/>
                  <a:gd name="T86" fmla="*/ 55 w 123"/>
                  <a:gd name="T87" fmla="*/ 37 h 186"/>
                  <a:gd name="T88" fmla="*/ 50 w 123"/>
                  <a:gd name="T89" fmla="*/ 41 h 186"/>
                  <a:gd name="T90" fmla="*/ 55 w 123"/>
                  <a:gd name="T91" fmla="*/ 50 h 186"/>
                  <a:gd name="T92" fmla="*/ 59 w 123"/>
                  <a:gd name="T93" fmla="*/ 68 h 186"/>
                  <a:gd name="T94" fmla="*/ 55 w 123"/>
                  <a:gd name="T95" fmla="*/ 77 h 186"/>
                  <a:gd name="T96" fmla="*/ 50 w 123"/>
                  <a:gd name="T97" fmla="*/ 100 h 186"/>
                  <a:gd name="T98" fmla="*/ 14 w 123"/>
                  <a:gd name="T99" fmla="*/ 145 h 186"/>
                  <a:gd name="T100" fmla="*/ 0 w 123"/>
                  <a:gd name="T101" fmla="*/ 154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23" h="186">
                    <a:moveTo>
                      <a:pt x="87" y="50"/>
                    </a:moveTo>
                    <a:lnTo>
                      <a:pt x="87" y="50"/>
                    </a:lnTo>
                    <a:lnTo>
                      <a:pt x="87" y="50"/>
                    </a:lnTo>
                    <a:lnTo>
                      <a:pt x="87" y="50"/>
                    </a:lnTo>
                    <a:lnTo>
                      <a:pt x="87" y="50"/>
                    </a:lnTo>
                    <a:lnTo>
                      <a:pt x="87" y="50"/>
                    </a:lnTo>
                    <a:lnTo>
                      <a:pt x="82" y="50"/>
                    </a:lnTo>
                    <a:lnTo>
                      <a:pt x="82" y="55"/>
                    </a:lnTo>
                    <a:lnTo>
                      <a:pt x="78" y="55"/>
                    </a:lnTo>
                    <a:lnTo>
                      <a:pt x="78" y="55"/>
                    </a:lnTo>
                    <a:lnTo>
                      <a:pt x="78" y="55"/>
                    </a:lnTo>
                    <a:lnTo>
                      <a:pt x="78" y="55"/>
                    </a:lnTo>
                    <a:lnTo>
                      <a:pt x="78" y="55"/>
                    </a:lnTo>
                    <a:lnTo>
                      <a:pt x="73" y="50"/>
                    </a:lnTo>
                    <a:lnTo>
                      <a:pt x="73" y="50"/>
                    </a:lnTo>
                    <a:lnTo>
                      <a:pt x="73" y="46"/>
                    </a:lnTo>
                    <a:lnTo>
                      <a:pt x="73" y="46"/>
                    </a:lnTo>
                    <a:lnTo>
                      <a:pt x="73" y="50"/>
                    </a:lnTo>
                    <a:lnTo>
                      <a:pt x="73" y="50"/>
                    </a:lnTo>
                    <a:lnTo>
                      <a:pt x="78" y="50"/>
                    </a:lnTo>
                    <a:lnTo>
                      <a:pt x="78" y="50"/>
                    </a:lnTo>
                    <a:lnTo>
                      <a:pt x="78" y="50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82" y="46"/>
                    </a:lnTo>
                    <a:lnTo>
                      <a:pt x="82" y="46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7" y="50"/>
                    </a:lnTo>
                    <a:lnTo>
                      <a:pt x="87" y="46"/>
                    </a:lnTo>
                    <a:lnTo>
                      <a:pt x="87" y="46"/>
                    </a:lnTo>
                    <a:lnTo>
                      <a:pt x="87" y="46"/>
                    </a:lnTo>
                    <a:lnTo>
                      <a:pt x="87" y="50"/>
                    </a:lnTo>
                    <a:moveTo>
                      <a:pt x="0" y="159"/>
                    </a:moveTo>
                    <a:lnTo>
                      <a:pt x="0" y="159"/>
                    </a:lnTo>
                    <a:lnTo>
                      <a:pt x="5" y="159"/>
                    </a:lnTo>
                    <a:lnTo>
                      <a:pt x="5" y="159"/>
                    </a:lnTo>
                    <a:lnTo>
                      <a:pt x="5" y="159"/>
                    </a:lnTo>
                    <a:lnTo>
                      <a:pt x="5" y="164"/>
                    </a:lnTo>
                    <a:lnTo>
                      <a:pt x="5" y="168"/>
                    </a:lnTo>
                    <a:lnTo>
                      <a:pt x="5" y="168"/>
                    </a:lnTo>
                    <a:lnTo>
                      <a:pt x="5" y="168"/>
                    </a:lnTo>
                    <a:lnTo>
                      <a:pt x="5" y="168"/>
                    </a:lnTo>
                    <a:lnTo>
                      <a:pt x="9" y="173"/>
                    </a:lnTo>
                    <a:lnTo>
                      <a:pt x="9" y="173"/>
                    </a:lnTo>
                    <a:lnTo>
                      <a:pt x="14" y="173"/>
                    </a:lnTo>
                    <a:lnTo>
                      <a:pt x="19" y="173"/>
                    </a:lnTo>
                    <a:lnTo>
                      <a:pt x="19" y="173"/>
                    </a:lnTo>
                    <a:lnTo>
                      <a:pt x="19" y="173"/>
                    </a:lnTo>
                    <a:lnTo>
                      <a:pt x="23" y="173"/>
                    </a:lnTo>
                    <a:lnTo>
                      <a:pt x="23" y="173"/>
                    </a:lnTo>
                    <a:lnTo>
                      <a:pt x="28" y="173"/>
                    </a:lnTo>
                    <a:lnTo>
                      <a:pt x="32" y="177"/>
                    </a:lnTo>
                    <a:lnTo>
                      <a:pt x="37" y="177"/>
                    </a:lnTo>
                    <a:lnTo>
                      <a:pt x="37" y="182"/>
                    </a:lnTo>
                    <a:lnTo>
                      <a:pt x="41" y="186"/>
                    </a:lnTo>
                    <a:lnTo>
                      <a:pt x="41" y="186"/>
                    </a:lnTo>
                    <a:lnTo>
                      <a:pt x="50" y="182"/>
                    </a:lnTo>
                    <a:lnTo>
                      <a:pt x="50" y="182"/>
                    </a:lnTo>
                    <a:lnTo>
                      <a:pt x="55" y="173"/>
                    </a:lnTo>
                    <a:lnTo>
                      <a:pt x="55" y="173"/>
                    </a:lnTo>
                    <a:lnTo>
                      <a:pt x="59" y="164"/>
                    </a:lnTo>
                    <a:lnTo>
                      <a:pt x="59" y="164"/>
                    </a:lnTo>
                    <a:lnTo>
                      <a:pt x="59" y="164"/>
                    </a:lnTo>
                    <a:lnTo>
                      <a:pt x="55" y="159"/>
                    </a:lnTo>
                    <a:lnTo>
                      <a:pt x="55" y="159"/>
                    </a:lnTo>
                    <a:lnTo>
                      <a:pt x="55" y="154"/>
                    </a:lnTo>
                    <a:lnTo>
                      <a:pt x="55" y="154"/>
                    </a:lnTo>
                    <a:lnTo>
                      <a:pt x="55" y="150"/>
                    </a:lnTo>
                    <a:lnTo>
                      <a:pt x="55" y="145"/>
                    </a:lnTo>
                    <a:lnTo>
                      <a:pt x="55" y="145"/>
                    </a:lnTo>
                    <a:lnTo>
                      <a:pt x="55" y="145"/>
                    </a:lnTo>
                    <a:lnTo>
                      <a:pt x="55" y="141"/>
                    </a:lnTo>
                    <a:lnTo>
                      <a:pt x="55" y="141"/>
                    </a:lnTo>
                    <a:lnTo>
                      <a:pt x="55" y="136"/>
                    </a:lnTo>
                    <a:lnTo>
                      <a:pt x="55" y="132"/>
                    </a:lnTo>
                    <a:lnTo>
                      <a:pt x="55" y="127"/>
                    </a:lnTo>
                    <a:lnTo>
                      <a:pt x="55" y="127"/>
                    </a:lnTo>
                    <a:lnTo>
                      <a:pt x="59" y="123"/>
                    </a:lnTo>
                    <a:lnTo>
                      <a:pt x="59" y="123"/>
                    </a:lnTo>
                    <a:lnTo>
                      <a:pt x="55" y="118"/>
                    </a:lnTo>
                    <a:lnTo>
                      <a:pt x="55" y="118"/>
                    </a:lnTo>
                    <a:lnTo>
                      <a:pt x="55" y="114"/>
                    </a:lnTo>
                    <a:lnTo>
                      <a:pt x="59" y="109"/>
                    </a:lnTo>
                    <a:lnTo>
                      <a:pt x="59" y="109"/>
                    </a:lnTo>
                    <a:lnTo>
                      <a:pt x="59" y="105"/>
                    </a:lnTo>
                    <a:lnTo>
                      <a:pt x="59" y="105"/>
                    </a:lnTo>
                    <a:lnTo>
                      <a:pt x="59" y="105"/>
                    </a:lnTo>
                    <a:lnTo>
                      <a:pt x="59" y="100"/>
                    </a:lnTo>
                    <a:lnTo>
                      <a:pt x="59" y="100"/>
                    </a:lnTo>
                    <a:lnTo>
                      <a:pt x="59" y="100"/>
                    </a:lnTo>
                    <a:lnTo>
                      <a:pt x="59" y="96"/>
                    </a:lnTo>
                    <a:lnTo>
                      <a:pt x="64" y="91"/>
                    </a:lnTo>
                    <a:lnTo>
                      <a:pt x="64" y="91"/>
                    </a:lnTo>
                    <a:lnTo>
                      <a:pt x="64" y="86"/>
                    </a:lnTo>
                    <a:lnTo>
                      <a:pt x="68" y="82"/>
                    </a:lnTo>
                    <a:lnTo>
                      <a:pt x="68" y="77"/>
                    </a:lnTo>
                    <a:lnTo>
                      <a:pt x="73" y="77"/>
                    </a:lnTo>
                    <a:lnTo>
                      <a:pt x="73" y="73"/>
                    </a:lnTo>
                    <a:lnTo>
                      <a:pt x="73" y="73"/>
                    </a:lnTo>
                    <a:lnTo>
                      <a:pt x="73" y="73"/>
                    </a:lnTo>
                    <a:lnTo>
                      <a:pt x="78" y="73"/>
                    </a:lnTo>
                    <a:lnTo>
                      <a:pt x="78" y="73"/>
                    </a:lnTo>
                    <a:lnTo>
                      <a:pt x="78" y="73"/>
                    </a:lnTo>
                    <a:lnTo>
                      <a:pt x="82" y="73"/>
                    </a:lnTo>
                    <a:lnTo>
                      <a:pt x="82" y="73"/>
                    </a:lnTo>
                    <a:lnTo>
                      <a:pt x="87" y="73"/>
                    </a:lnTo>
                    <a:lnTo>
                      <a:pt x="87" y="73"/>
                    </a:lnTo>
                    <a:lnTo>
                      <a:pt x="87" y="73"/>
                    </a:lnTo>
                    <a:lnTo>
                      <a:pt x="87" y="68"/>
                    </a:lnTo>
                    <a:lnTo>
                      <a:pt x="87" y="55"/>
                    </a:lnTo>
                    <a:lnTo>
                      <a:pt x="87" y="55"/>
                    </a:lnTo>
                    <a:lnTo>
                      <a:pt x="87" y="55"/>
                    </a:lnTo>
                    <a:lnTo>
                      <a:pt x="82" y="59"/>
                    </a:lnTo>
                    <a:lnTo>
                      <a:pt x="82" y="59"/>
                    </a:lnTo>
                    <a:lnTo>
                      <a:pt x="78" y="59"/>
                    </a:lnTo>
                    <a:lnTo>
                      <a:pt x="78" y="55"/>
                    </a:lnTo>
                    <a:lnTo>
                      <a:pt x="73" y="55"/>
                    </a:lnTo>
                    <a:lnTo>
                      <a:pt x="73" y="55"/>
                    </a:lnTo>
                    <a:lnTo>
                      <a:pt x="68" y="59"/>
                    </a:lnTo>
                    <a:lnTo>
                      <a:pt x="68" y="55"/>
                    </a:lnTo>
                    <a:lnTo>
                      <a:pt x="68" y="55"/>
                    </a:lnTo>
                    <a:lnTo>
                      <a:pt x="68" y="50"/>
                    </a:lnTo>
                    <a:lnTo>
                      <a:pt x="73" y="50"/>
                    </a:lnTo>
                    <a:lnTo>
                      <a:pt x="68" y="50"/>
                    </a:lnTo>
                    <a:lnTo>
                      <a:pt x="73" y="41"/>
                    </a:lnTo>
                    <a:lnTo>
                      <a:pt x="78" y="41"/>
                    </a:lnTo>
                    <a:lnTo>
                      <a:pt x="78" y="37"/>
                    </a:lnTo>
                    <a:lnTo>
                      <a:pt x="78" y="37"/>
                    </a:lnTo>
                    <a:lnTo>
                      <a:pt x="78" y="41"/>
                    </a:lnTo>
                    <a:lnTo>
                      <a:pt x="82" y="41"/>
                    </a:lnTo>
                    <a:lnTo>
                      <a:pt x="87" y="41"/>
                    </a:lnTo>
                    <a:lnTo>
                      <a:pt x="87" y="41"/>
                    </a:lnTo>
                    <a:lnTo>
                      <a:pt x="87" y="41"/>
                    </a:lnTo>
                    <a:lnTo>
                      <a:pt x="91" y="37"/>
                    </a:lnTo>
                    <a:lnTo>
                      <a:pt x="96" y="32"/>
                    </a:lnTo>
                    <a:lnTo>
                      <a:pt x="96" y="32"/>
                    </a:lnTo>
                    <a:lnTo>
                      <a:pt x="100" y="32"/>
                    </a:lnTo>
                    <a:lnTo>
                      <a:pt x="105" y="32"/>
                    </a:lnTo>
                    <a:lnTo>
                      <a:pt x="109" y="32"/>
                    </a:lnTo>
                    <a:lnTo>
                      <a:pt x="109" y="27"/>
                    </a:lnTo>
                    <a:lnTo>
                      <a:pt x="109" y="27"/>
                    </a:lnTo>
                    <a:lnTo>
                      <a:pt x="114" y="27"/>
                    </a:lnTo>
                    <a:lnTo>
                      <a:pt x="114" y="23"/>
                    </a:lnTo>
                    <a:lnTo>
                      <a:pt x="109" y="23"/>
                    </a:lnTo>
                    <a:lnTo>
                      <a:pt x="109" y="18"/>
                    </a:lnTo>
                    <a:lnTo>
                      <a:pt x="109" y="18"/>
                    </a:lnTo>
                    <a:lnTo>
                      <a:pt x="109" y="14"/>
                    </a:lnTo>
                    <a:lnTo>
                      <a:pt x="114" y="14"/>
                    </a:lnTo>
                    <a:lnTo>
                      <a:pt x="114" y="14"/>
                    </a:lnTo>
                    <a:lnTo>
                      <a:pt x="114" y="14"/>
                    </a:lnTo>
                    <a:lnTo>
                      <a:pt x="118" y="14"/>
                    </a:lnTo>
                    <a:lnTo>
                      <a:pt x="118" y="14"/>
                    </a:lnTo>
                    <a:lnTo>
                      <a:pt x="123" y="14"/>
                    </a:lnTo>
                    <a:lnTo>
                      <a:pt x="123" y="9"/>
                    </a:lnTo>
                    <a:lnTo>
                      <a:pt x="123" y="9"/>
                    </a:lnTo>
                    <a:lnTo>
                      <a:pt x="123" y="5"/>
                    </a:lnTo>
                    <a:lnTo>
                      <a:pt x="118" y="0"/>
                    </a:lnTo>
                    <a:lnTo>
                      <a:pt x="114" y="0"/>
                    </a:lnTo>
                    <a:lnTo>
                      <a:pt x="96" y="5"/>
                    </a:lnTo>
                    <a:lnTo>
                      <a:pt x="96" y="9"/>
                    </a:lnTo>
                    <a:lnTo>
                      <a:pt x="91" y="9"/>
                    </a:lnTo>
                    <a:lnTo>
                      <a:pt x="91" y="9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4" y="18"/>
                    </a:lnTo>
                    <a:lnTo>
                      <a:pt x="59" y="23"/>
                    </a:lnTo>
                    <a:lnTo>
                      <a:pt x="55" y="23"/>
                    </a:lnTo>
                    <a:lnTo>
                      <a:pt x="55" y="27"/>
                    </a:lnTo>
                    <a:lnTo>
                      <a:pt x="55" y="32"/>
                    </a:lnTo>
                    <a:lnTo>
                      <a:pt x="55" y="32"/>
                    </a:lnTo>
                    <a:lnTo>
                      <a:pt x="55" y="37"/>
                    </a:lnTo>
                    <a:lnTo>
                      <a:pt x="55" y="37"/>
                    </a:lnTo>
                    <a:lnTo>
                      <a:pt x="50" y="37"/>
                    </a:lnTo>
                    <a:lnTo>
                      <a:pt x="50" y="37"/>
                    </a:lnTo>
                    <a:lnTo>
                      <a:pt x="50" y="41"/>
                    </a:lnTo>
                    <a:lnTo>
                      <a:pt x="50" y="41"/>
                    </a:lnTo>
                    <a:lnTo>
                      <a:pt x="50" y="46"/>
                    </a:lnTo>
                    <a:lnTo>
                      <a:pt x="50" y="50"/>
                    </a:lnTo>
                    <a:lnTo>
                      <a:pt x="55" y="46"/>
                    </a:lnTo>
                    <a:lnTo>
                      <a:pt x="55" y="50"/>
                    </a:lnTo>
                    <a:lnTo>
                      <a:pt x="55" y="55"/>
                    </a:lnTo>
                    <a:lnTo>
                      <a:pt x="55" y="59"/>
                    </a:lnTo>
                    <a:lnTo>
                      <a:pt x="55" y="64"/>
                    </a:lnTo>
                    <a:lnTo>
                      <a:pt x="59" y="68"/>
                    </a:lnTo>
                    <a:lnTo>
                      <a:pt x="59" y="73"/>
                    </a:lnTo>
                    <a:lnTo>
                      <a:pt x="59" y="73"/>
                    </a:lnTo>
                    <a:lnTo>
                      <a:pt x="55" y="77"/>
                    </a:lnTo>
                    <a:lnTo>
                      <a:pt x="55" y="77"/>
                    </a:lnTo>
                    <a:lnTo>
                      <a:pt x="59" y="77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50" y="100"/>
                    </a:lnTo>
                    <a:lnTo>
                      <a:pt x="46" y="109"/>
                    </a:lnTo>
                    <a:lnTo>
                      <a:pt x="19" y="136"/>
                    </a:lnTo>
                    <a:lnTo>
                      <a:pt x="14" y="145"/>
                    </a:lnTo>
                    <a:lnTo>
                      <a:pt x="14" y="145"/>
                    </a:lnTo>
                    <a:lnTo>
                      <a:pt x="9" y="145"/>
                    </a:lnTo>
                    <a:lnTo>
                      <a:pt x="5" y="150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9" name="Freeform 27"/>
              <p:cNvSpPr>
                <a:spLocks/>
              </p:cNvSpPr>
              <p:nvPr/>
            </p:nvSpPr>
            <p:spPr bwMode="auto">
              <a:xfrm>
                <a:off x="2671763" y="2744788"/>
                <a:ext cx="187325" cy="301625"/>
              </a:xfrm>
              <a:custGeom>
                <a:avLst/>
                <a:gdLst>
                  <a:gd name="T0" fmla="*/ 100 w 118"/>
                  <a:gd name="T1" fmla="*/ 27 h 190"/>
                  <a:gd name="T2" fmla="*/ 91 w 118"/>
                  <a:gd name="T3" fmla="*/ 36 h 190"/>
                  <a:gd name="T4" fmla="*/ 91 w 118"/>
                  <a:gd name="T5" fmla="*/ 40 h 190"/>
                  <a:gd name="T6" fmla="*/ 77 w 118"/>
                  <a:gd name="T7" fmla="*/ 59 h 190"/>
                  <a:gd name="T8" fmla="*/ 77 w 118"/>
                  <a:gd name="T9" fmla="*/ 72 h 190"/>
                  <a:gd name="T10" fmla="*/ 77 w 118"/>
                  <a:gd name="T11" fmla="*/ 77 h 190"/>
                  <a:gd name="T12" fmla="*/ 91 w 118"/>
                  <a:gd name="T13" fmla="*/ 81 h 190"/>
                  <a:gd name="T14" fmla="*/ 104 w 118"/>
                  <a:gd name="T15" fmla="*/ 95 h 190"/>
                  <a:gd name="T16" fmla="*/ 113 w 118"/>
                  <a:gd name="T17" fmla="*/ 99 h 190"/>
                  <a:gd name="T18" fmla="*/ 118 w 118"/>
                  <a:gd name="T19" fmla="*/ 104 h 190"/>
                  <a:gd name="T20" fmla="*/ 113 w 118"/>
                  <a:gd name="T21" fmla="*/ 108 h 190"/>
                  <a:gd name="T22" fmla="*/ 113 w 118"/>
                  <a:gd name="T23" fmla="*/ 113 h 190"/>
                  <a:gd name="T24" fmla="*/ 113 w 118"/>
                  <a:gd name="T25" fmla="*/ 117 h 190"/>
                  <a:gd name="T26" fmla="*/ 113 w 118"/>
                  <a:gd name="T27" fmla="*/ 122 h 190"/>
                  <a:gd name="T28" fmla="*/ 100 w 118"/>
                  <a:gd name="T29" fmla="*/ 122 h 190"/>
                  <a:gd name="T30" fmla="*/ 109 w 118"/>
                  <a:gd name="T31" fmla="*/ 122 h 190"/>
                  <a:gd name="T32" fmla="*/ 109 w 118"/>
                  <a:gd name="T33" fmla="*/ 117 h 190"/>
                  <a:gd name="T34" fmla="*/ 104 w 118"/>
                  <a:gd name="T35" fmla="*/ 117 h 190"/>
                  <a:gd name="T36" fmla="*/ 95 w 118"/>
                  <a:gd name="T37" fmla="*/ 117 h 190"/>
                  <a:gd name="T38" fmla="*/ 91 w 118"/>
                  <a:gd name="T39" fmla="*/ 113 h 190"/>
                  <a:gd name="T40" fmla="*/ 86 w 118"/>
                  <a:gd name="T41" fmla="*/ 122 h 190"/>
                  <a:gd name="T42" fmla="*/ 77 w 118"/>
                  <a:gd name="T43" fmla="*/ 122 h 190"/>
                  <a:gd name="T44" fmla="*/ 73 w 118"/>
                  <a:gd name="T45" fmla="*/ 122 h 190"/>
                  <a:gd name="T46" fmla="*/ 68 w 118"/>
                  <a:gd name="T47" fmla="*/ 127 h 190"/>
                  <a:gd name="T48" fmla="*/ 50 w 118"/>
                  <a:gd name="T49" fmla="*/ 136 h 190"/>
                  <a:gd name="T50" fmla="*/ 50 w 118"/>
                  <a:gd name="T51" fmla="*/ 140 h 190"/>
                  <a:gd name="T52" fmla="*/ 45 w 118"/>
                  <a:gd name="T53" fmla="*/ 145 h 190"/>
                  <a:gd name="T54" fmla="*/ 41 w 118"/>
                  <a:gd name="T55" fmla="*/ 145 h 190"/>
                  <a:gd name="T56" fmla="*/ 45 w 118"/>
                  <a:gd name="T57" fmla="*/ 149 h 190"/>
                  <a:gd name="T58" fmla="*/ 45 w 118"/>
                  <a:gd name="T59" fmla="*/ 158 h 190"/>
                  <a:gd name="T60" fmla="*/ 41 w 118"/>
                  <a:gd name="T61" fmla="*/ 154 h 190"/>
                  <a:gd name="T62" fmla="*/ 41 w 118"/>
                  <a:gd name="T63" fmla="*/ 158 h 190"/>
                  <a:gd name="T64" fmla="*/ 32 w 118"/>
                  <a:gd name="T65" fmla="*/ 163 h 190"/>
                  <a:gd name="T66" fmla="*/ 27 w 118"/>
                  <a:gd name="T67" fmla="*/ 167 h 190"/>
                  <a:gd name="T68" fmla="*/ 9 w 118"/>
                  <a:gd name="T69" fmla="*/ 190 h 190"/>
                  <a:gd name="T70" fmla="*/ 5 w 118"/>
                  <a:gd name="T71" fmla="*/ 185 h 190"/>
                  <a:gd name="T72" fmla="*/ 0 w 118"/>
                  <a:gd name="T73" fmla="*/ 172 h 190"/>
                  <a:gd name="T74" fmla="*/ 5 w 118"/>
                  <a:gd name="T75" fmla="*/ 167 h 190"/>
                  <a:gd name="T76" fmla="*/ 14 w 118"/>
                  <a:gd name="T77" fmla="*/ 158 h 190"/>
                  <a:gd name="T78" fmla="*/ 27 w 118"/>
                  <a:gd name="T79" fmla="*/ 149 h 190"/>
                  <a:gd name="T80" fmla="*/ 27 w 118"/>
                  <a:gd name="T81" fmla="*/ 136 h 190"/>
                  <a:gd name="T82" fmla="*/ 27 w 118"/>
                  <a:gd name="T83" fmla="*/ 122 h 190"/>
                  <a:gd name="T84" fmla="*/ 27 w 118"/>
                  <a:gd name="T85" fmla="*/ 108 h 190"/>
                  <a:gd name="T86" fmla="*/ 27 w 118"/>
                  <a:gd name="T87" fmla="*/ 99 h 190"/>
                  <a:gd name="T88" fmla="*/ 41 w 118"/>
                  <a:gd name="T89" fmla="*/ 95 h 190"/>
                  <a:gd name="T90" fmla="*/ 36 w 118"/>
                  <a:gd name="T91" fmla="*/ 90 h 190"/>
                  <a:gd name="T92" fmla="*/ 32 w 118"/>
                  <a:gd name="T93" fmla="*/ 86 h 190"/>
                  <a:gd name="T94" fmla="*/ 23 w 118"/>
                  <a:gd name="T95" fmla="*/ 77 h 190"/>
                  <a:gd name="T96" fmla="*/ 23 w 118"/>
                  <a:gd name="T97" fmla="*/ 72 h 190"/>
                  <a:gd name="T98" fmla="*/ 27 w 118"/>
                  <a:gd name="T99" fmla="*/ 63 h 190"/>
                  <a:gd name="T100" fmla="*/ 18 w 118"/>
                  <a:gd name="T101" fmla="*/ 54 h 190"/>
                  <a:gd name="T102" fmla="*/ 32 w 118"/>
                  <a:gd name="T103" fmla="*/ 45 h 190"/>
                  <a:gd name="T104" fmla="*/ 54 w 118"/>
                  <a:gd name="T105" fmla="*/ 45 h 190"/>
                  <a:gd name="T106" fmla="*/ 63 w 118"/>
                  <a:gd name="T107" fmla="*/ 36 h 190"/>
                  <a:gd name="T108" fmla="*/ 68 w 118"/>
                  <a:gd name="T109" fmla="*/ 22 h 190"/>
                  <a:gd name="T110" fmla="*/ 63 w 118"/>
                  <a:gd name="T111" fmla="*/ 4 h 190"/>
                  <a:gd name="T112" fmla="*/ 82 w 118"/>
                  <a:gd name="T113" fmla="*/ 4 h 190"/>
                  <a:gd name="T114" fmla="*/ 95 w 118"/>
                  <a:gd name="T115" fmla="*/ 18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" h="190">
                    <a:moveTo>
                      <a:pt x="100" y="22"/>
                    </a:move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27"/>
                    </a:lnTo>
                    <a:lnTo>
                      <a:pt x="100" y="27"/>
                    </a:lnTo>
                    <a:lnTo>
                      <a:pt x="100" y="27"/>
                    </a:lnTo>
                    <a:lnTo>
                      <a:pt x="95" y="31"/>
                    </a:lnTo>
                    <a:lnTo>
                      <a:pt x="91" y="31"/>
                    </a:lnTo>
                    <a:lnTo>
                      <a:pt x="91" y="31"/>
                    </a:lnTo>
                    <a:lnTo>
                      <a:pt x="91" y="36"/>
                    </a:lnTo>
                    <a:lnTo>
                      <a:pt x="91" y="36"/>
                    </a:lnTo>
                    <a:lnTo>
                      <a:pt x="91" y="36"/>
                    </a:lnTo>
                    <a:lnTo>
                      <a:pt x="91" y="36"/>
                    </a:lnTo>
                    <a:lnTo>
                      <a:pt x="91" y="36"/>
                    </a:lnTo>
                    <a:lnTo>
                      <a:pt x="91" y="40"/>
                    </a:lnTo>
                    <a:lnTo>
                      <a:pt x="91" y="40"/>
                    </a:lnTo>
                    <a:lnTo>
                      <a:pt x="91" y="45"/>
                    </a:lnTo>
                    <a:lnTo>
                      <a:pt x="86" y="49"/>
                    </a:lnTo>
                    <a:lnTo>
                      <a:pt x="82" y="54"/>
                    </a:lnTo>
                    <a:lnTo>
                      <a:pt x="77" y="59"/>
                    </a:lnTo>
                    <a:lnTo>
                      <a:pt x="77" y="63"/>
                    </a:lnTo>
                    <a:lnTo>
                      <a:pt x="77" y="68"/>
                    </a:lnTo>
                    <a:lnTo>
                      <a:pt x="77" y="68"/>
                    </a:lnTo>
                    <a:lnTo>
                      <a:pt x="77" y="68"/>
                    </a:lnTo>
                    <a:lnTo>
                      <a:pt x="77" y="72"/>
                    </a:lnTo>
                    <a:lnTo>
                      <a:pt x="77" y="72"/>
                    </a:lnTo>
                    <a:lnTo>
                      <a:pt x="77" y="72"/>
                    </a:lnTo>
                    <a:lnTo>
                      <a:pt x="77" y="72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7" y="81"/>
                    </a:lnTo>
                    <a:lnTo>
                      <a:pt x="82" y="81"/>
                    </a:lnTo>
                    <a:lnTo>
                      <a:pt x="86" y="81"/>
                    </a:lnTo>
                    <a:lnTo>
                      <a:pt x="86" y="81"/>
                    </a:lnTo>
                    <a:lnTo>
                      <a:pt x="91" y="81"/>
                    </a:lnTo>
                    <a:lnTo>
                      <a:pt x="91" y="86"/>
                    </a:lnTo>
                    <a:lnTo>
                      <a:pt x="91" y="86"/>
                    </a:lnTo>
                    <a:lnTo>
                      <a:pt x="100" y="90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9" y="95"/>
                    </a:lnTo>
                    <a:lnTo>
                      <a:pt x="109" y="95"/>
                    </a:lnTo>
                    <a:lnTo>
                      <a:pt x="109" y="95"/>
                    </a:lnTo>
                    <a:lnTo>
                      <a:pt x="113" y="95"/>
                    </a:lnTo>
                    <a:lnTo>
                      <a:pt x="113" y="99"/>
                    </a:lnTo>
                    <a:lnTo>
                      <a:pt x="113" y="99"/>
                    </a:lnTo>
                    <a:lnTo>
                      <a:pt x="113" y="99"/>
                    </a:lnTo>
                    <a:lnTo>
                      <a:pt x="113" y="99"/>
                    </a:lnTo>
                    <a:lnTo>
                      <a:pt x="113" y="104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3" y="108"/>
                    </a:lnTo>
                    <a:lnTo>
                      <a:pt x="113" y="108"/>
                    </a:lnTo>
                    <a:lnTo>
                      <a:pt x="113" y="108"/>
                    </a:lnTo>
                    <a:lnTo>
                      <a:pt x="113" y="108"/>
                    </a:lnTo>
                    <a:lnTo>
                      <a:pt x="113" y="113"/>
                    </a:lnTo>
                    <a:lnTo>
                      <a:pt x="113" y="113"/>
                    </a:lnTo>
                    <a:lnTo>
                      <a:pt x="113" y="113"/>
                    </a:lnTo>
                    <a:lnTo>
                      <a:pt x="118" y="113"/>
                    </a:lnTo>
                    <a:lnTo>
                      <a:pt x="113" y="113"/>
                    </a:lnTo>
                    <a:lnTo>
                      <a:pt x="113" y="113"/>
                    </a:lnTo>
                    <a:lnTo>
                      <a:pt x="113" y="117"/>
                    </a:lnTo>
                    <a:lnTo>
                      <a:pt x="113" y="117"/>
                    </a:lnTo>
                    <a:lnTo>
                      <a:pt x="113" y="117"/>
                    </a:lnTo>
                    <a:lnTo>
                      <a:pt x="113" y="122"/>
                    </a:lnTo>
                    <a:lnTo>
                      <a:pt x="113" y="122"/>
                    </a:lnTo>
                    <a:lnTo>
                      <a:pt x="113" y="122"/>
                    </a:lnTo>
                    <a:lnTo>
                      <a:pt x="109" y="127"/>
                    </a:lnTo>
                    <a:lnTo>
                      <a:pt x="109" y="127"/>
                    </a:lnTo>
                    <a:lnTo>
                      <a:pt x="104" y="127"/>
                    </a:lnTo>
                    <a:lnTo>
                      <a:pt x="104" y="127"/>
                    </a:lnTo>
                    <a:lnTo>
                      <a:pt x="100" y="122"/>
                    </a:lnTo>
                    <a:lnTo>
                      <a:pt x="100" y="122"/>
                    </a:lnTo>
                    <a:lnTo>
                      <a:pt x="104" y="122"/>
                    </a:lnTo>
                    <a:lnTo>
                      <a:pt x="104" y="122"/>
                    </a:lnTo>
                    <a:lnTo>
                      <a:pt x="109" y="122"/>
                    </a:lnTo>
                    <a:lnTo>
                      <a:pt x="109" y="122"/>
                    </a:lnTo>
                    <a:lnTo>
                      <a:pt x="109" y="122"/>
                    </a:lnTo>
                    <a:lnTo>
                      <a:pt x="109" y="122"/>
                    </a:lnTo>
                    <a:lnTo>
                      <a:pt x="109" y="122"/>
                    </a:lnTo>
                    <a:lnTo>
                      <a:pt x="109" y="122"/>
                    </a:lnTo>
                    <a:lnTo>
                      <a:pt x="109" y="117"/>
                    </a:lnTo>
                    <a:lnTo>
                      <a:pt x="109" y="117"/>
                    </a:lnTo>
                    <a:lnTo>
                      <a:pt x="109" y="117"/>
                    </a:lnTo>
                    <a:lnTo>
                      <a:pt x="104" y="117"/>
                    </a:lnTo>
                    <a:lnTo>
                      <a:pt x="104" y="117"/>
                    </a:lnTo>
                    <a:lnTo>
                      <a:pt x="104" y="117"/>
                    </a:lnTo>
                    <a:lnTo>
                      <a:pt x="104" y="117"/>
                    </a:lnTo>
                    <a:lnTo>
                      <a:pt x="104" y="122"/>
                    </a:lnTo>
                    <a:lnTo>
                      <a:pt x="100" y="117"/>
                    </a:lnTo>
                    <a:lnTo>
                      <a:pt x="100" y="117"/>
                    </a:lnTo>
                    <a:lnTo>
                      <a:pt x="95" y="117"/>
                    </a:lnTo>
                    <a:lnTo>
                      <a:pt x="95" y="117"/>
                    </a:lnTo>
                    <a:lnTo>
                      <a:pt x="95" y="117"/>
                    </a:lnTo>
                    <a:lnTo>
                      <a:pt x="95" y="113"/>
                    </a:lnTo>
                    <a:lnTo>
                      <a:pt x="95" y="113"/>
                    </a:lnTo>
                    <a:lnTo>
                      <a:pt x="91" y="113"/>
                    </a:lnTo>
                    <a:lnTo>
                      <a:pt x="86" y="117"/>
                    </a:lnTo>
                    <a:lnTo>
                      <a:pt x="91" y="117"/>
                    </a:lnTo>
                    <a:lnTo>
                      <a:pt x="91" y="117"/>
                    </a:lnTo>
                    <a:lnTo>
                      <a:pt x="86" y="117"/>
                    </a:lnTo>
                    <a:lnTo>
                      <a:pt x="86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77" y="122"/>
                    </a:lnTo>
                    <a:lnTo>
                      <a:pt x="77" y="122"/>
                    </a:lnTo>
                    <a:lnTo>
                      <a:pt x="77" y="122"/>
                    </a:lnTo>
                    <a:lnTo>
                      <a:pt x="77" y="122"/>
                    </a:lnTo>
                    <a:lnTo>
                      <a:pt x="77" y="122"/>
                    </a:lnTo>
                    <a:lnTo>
                      <a:pt x="73" y="122"/>
                    </a:lnTo>
                    <a:lnTo>
                      <a:pt x="73" y="122"/>
                    </a:lnTo>
                    <a:lnTo>
                      <a:pt x="73" y="122"/>
                    </a:lnTo>
                    <a:lnTo>
                      <a:pt x="73" y="122"/>
                    </a:lnTo>
                    <a:lnTo>
                      <a:pt x="73" y="122"/>
                    </a:lnTo>
                    <a:lnTo>
                      <a:pt x="73" y="127"/>
                    </a:lnTo>
                    <a:lnTo>
                      <a:pt x="73" y="127"/>
                    </a:lnTo>
                    <a:lnTo>
                      <a:pt x="68" y="127"/>
                    </a:lnTo>
                    <a:lnTo>
                      <a:pt x="63" y="127"/>
                    </a:lnTo>
                    <a:lnTo>
                      <a:pt x="63" y="127"/>
                    </a:lnTo>
                    <a:lnTo>
                      <a:pt x="59" y="127"/>
                    </a:lnTo>
                    <a:lnTo>
                      <a:pt x="54" y="131"/>
                    </a:lnTo>
                    <a:lnTo>
                      <a:pt x="50" y="136"/>
                    </a:lnTo>
                    <a:lnTo>
                      <a:pt x="50" y="140"/>
                    </a:lnTo>
                    <a:lnTo>
                      <a:pt x="50" y="140"/>
                    </a:lnTo>
                    <a:lnTo>
                      <a:pt x="50" y="140"/>
                    </a:lnTo>
                    <a:lnTo>
                      <a:pt x="50" y="140"/>
                    </a:lnTo>
                    <a:lnTo>
                      <a:pt x="50" y="140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45" y="145"/>
                    </a:lnTo>
                    <a:lnTo>
                      <a:pt x="45" y="145"/>
                    </a:lnTo>
                    <a:lnTo>
                      <a:pt x="45" y="145"/>
                    </a:lnTo>
                    <a:lnTo>
                      <a:pt x="45" y="140"/>
                    </a:lnTo>
                    <a:lnTo>
                      <a:pt x="45" y="140"/>
                    </a:lnTo>
                    <a:lnTo>
                      <a:pt x="41" y="140"/>
                    </a:lnTo>
                    <a:lnTo>
                      <a:pt x="41" y="145"/>
                    </a:lnTo>
                    <a:lnTo>
                      <a:pt x="41" y="145"/>
                    </a:lnTo>
                    <a:lnTo>
                      <a:pt x="41" y="145"/>
                    </a:lnTo>
                    <a:lnTo>
                      <a:pt x="41" y="145"/>
                    </a:lnTo>
                    <a:lnTo>
                      <a:pt x="41" y="145"/>
                    </a:lnTo>
                    <a:lnTo>
                      <a:pt x="41" y="145"/>
                    </a:lnTo>
                    <a:lnTo>
                      <a:pt x="45" y="149"/>
                    </a:lnTo>
                    <a:lnTo>
                      <a:pt x="45" y="149"/>
                    </a:lnTo>
                    <a:lnTo>
                      <a:pt x="45" y="154"/>
                    </a:lnTo>
                    <a:lnTo>
                      <a:pt x="45" y="154"/>
                    </a:lnTo>
                    <a:lnTo>
                      <a:pt x="45" y="154"/>
                    </a:lnTo>
                    <a:lnTo>
                      <a:pt x="45" y="158"/>
                    </a:lnTo>
                    <a:lnTo>
                      <a:pt x="45" y="158"/>
                    </a:lnTo>
                    <a:lnTo>
                      <a:pt x="45" y="158"/>
                    </a:lnTo>
                    <a:lnTo>
                      <a:pt x="41" y="158"/>
                    </a:lnTo>
                    <a:lnTo>
                      <a:pt x="41" y="154"/>
                    </a:lnTo>
                    <a:lnTo>
                      <a:pt x="41" y="154"/>
                    </a:lnTo>
                    <a:lnTo>
                      <a:pt x="41" y="154"/>
                    </a:lnTo>
                    <a:lnTo>
                      <a:pt x="36" y="158"/>
                    </a:lnTo>
                    <a:lnTo>
                      <a:pt x="36" y="158"/>
                    </a:lnTo>
                    <a:lnTo>
                      <a:pt x="41" y="158"/>
                    </a:lnTo>
                    <a:lnTo>
                      <a:pt x="41" y="158"/>
                    </a:lnTo>
                    <a:lnTo>
                      <a:pt x="41" y="163"/>
                    </a:lnTo>
                    <a:lnTo>
                      <a:pt x="36" y="158"/>
                    </a:lnTo>
                    <a:lnTo>
                      <a:pt x="36" y="163"/>
                    </a:lnTo>
                    <a:lnTo>
                      <a:pt x="36" y="163"/>
                    </a:lnTo>
                    <a:lnTo>
                      <a:pt x="32" y="163"/>
                    </a:lnTo>
                    <a:lnTo>
                      <a:pt x="32" y="163"/>
                    </a:lnTo>
                    <a:lnTo>
                      <a:pt x="32" y="163"/>
                    </a:lnTo>
                    <a:lnTo>
                      <a:pt x="32" y="167"/>
                    </a:lnTo>
                    <a:lnTo>
                      <a:pt x="32" y="167"/>
                    </a:lnTo>
                    <a:lnTo>
                      <a:pt x="27" y="167"/>
                    </a:lnTo>
                    <a:lnTo>
                      <a:pt x="27" y="167"/>
                    </a:lnTo>
                    <a:lnTo>
                      <a:pt x="23" y="172"/>
                    </a:lnTo>
                    <a:lnTo>
                      <a:pt x="18" y="185"/>
                    </a:lnTo>
                    <a:lnTo>
                      <a:pt x="14" y="190"/>
                    </a:lnTo>
                    <a:lnTo>
                      <a:pt x="9" y="190"/>
                    </a:lnTo>
                    <a:lnTo>
                      <a:pt x="9" y="190"/>
                    </a:lnTo>
                    <a:lnTo>
                      <a:pt x="9" y="190"/>
                    </a:lnTo>
                    <a:lnTo>
                      <a:pt x="5" y="185"/>
                    </a:lnTo>
                    <a:lnTo>
                      <a:pt x="5" y="185"/>
                    </a:lnTo>
                    <a:lnTo>
                      <a:pt x="5" y="185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0" y="172"/>
                    </a:lnTo>
                    <a:lnTo>
                      <a:pt x="0" y="172"/>
                    </a:lnTo>
                    <a:lnTo>
                      <a:pt x="0" y="167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9" y="163"/>
                    </a:lnTo>
                    <a:lnTo>
                      <a:pt x="9" y="163"/>
                    </a:lnTo>
                    <a:lnTo>
                      <a:pt x="14" y="158"/>
                    </a:lnTo>
                    <a:lnTo>
                      <a:pt x="14" y="158"/>
                    </a:lnTo>
                    <a:lnTo>
                      <a:pt x="14" y="154"/>
                    </a:lnTo>
                    <a:lnTo>
                      <a:pt x="14" y="154"/>
                    </a:lnTo>
                    <a:lnTo>
                      <a:pt x="18" y="154"/>
                    </a:lnTo>
                    <a:lnTo>
                      <a:pt x="18" y="149"/>
                    </a:lnTo>
                    <a:lnTo>
                      <a:pt x="27" y="149"/>
                    </a:lnTo>
                    <a:lnTo>
                      <a:pt x="27" y="149"/>
                    </a:lnTo>
                    <a:lnTo>
                      <a:pt x="27" y="149"/>
                    </a:lnTo>
                    <a:lnTo>
                      <a:pt x="27" y="149"/>
                    </a:lnTo>
                    <a:lnTo>
                      <a:pt x="27" y="145"/>
                    </a:lnTo>
                    <a:lnTo>
                      <a:pt x="27" y="136"/>
                    </a:lnTo>
                    <a:lnTo>
                      <a:pt x="27" y="136"/>
                    </a:lnTo>
                    <a:lnTo>
                      <a:pt x="27" y="131"/>
                    </a:lnTo>
                    <a:lnTo>
                      <a:pt x="27" y="122"/>
                    </a:lnTo>
                    <a:lnTo>
                      <a:pt x="32" y="122"/>
                    </a:lnTo>
                    <a:lnTo>
                      <a:pt x="27" y="122"/>
                    </a:lnTo>
                    <a:lnTo>
                      <a:pt x="27" y="117"/>
                    </a:lnTo>
                    <a:lnTo>
                      <a:pt x="27" y="117"/>
                    </a:lnTo>
                    <a:lnTo>
                      <a:pt x="27" y="117"/>
                    </a:lnTo>
                    <a:lnTo>
                      <a:pt x="27" y="113"/>
                    </a:lnTo>
                    <a:lnTo>
                      <a:pt x="27" y="108"/>
                    </a:lnTo>
                    <a:lnTo>
                      <a:pt x="27" y="108"/>
                    </a:lnTo>
                    <a:lnTo>
                      <a:pt x="23" y="104"/>
                    </a:lnTo>
                    <a:lnTo>
                      <a:pt x="27" y="104"/>
                    </a:lnTo>
                    <a:lnTo>
                      <a:pt x="27" y="99"/>
                    </a:lnTo>
                    <a:lnTo>
                      <a:pt x="27" y="99"/>
                    </a:lnTo>
                    <a:lnTo>
                      <a:pt x="32" y="99"/>
                    </a:lnTo>
                    <a:lnTo>
                      <a:pt x="36" y="99"/>
                    </a:lnTo>
                    <a:lnTo>
                      <a:pt x="36" y="99"/>
                    </a:lnTo>
                    <a:lnTo>
                      <a:pt x="41" y="95"/>
                    </a:lnTo>
                    <a:lnTo>
                      <a:pt x="41" y="95"/>
                    </a:lnTo>
                    <a:lnTo>
                      <a:pt x="41" y="90"/>
                    </a:lnTo>
                    <a:lnTo>
                      <a:pt x="41" y="90"/>
                    </a:lnTo>
                    <a:lnTo>
                      <a:pt x="41" y="90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27" y="86"/>
                    </a:lnTo>
                    <a:lnTo>
                      <a:pt x="27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3" y="77"/>
                    </a:lnTo>
                    <a:lnTo>
                      <a:pt x="27" y="77"/>
                    </a:lnTo>
                    <a:lnTo>
                      <a:pt x="23" y="72"/>
                    </a:lnTo>
                    <a:lnTo>
                      <a:pt x="23" y="72"/>
                    </a:lnTo>
                    <a:lnTo>
                      <a:pt x="23" y="72"/>
                    </a:lnTo>
                    <a:lnTo>
                      <a:pt x="23" y="72"/>
                    </a:lnTo>
                    <a:lnTo>
                      <a:pt x="23" y="72"/>
                    </a:lnTo>
                    <a:lnTo>
                      <a:pt x="27" y="72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7" y="63"/>
                    </a:lnTo>
                    <a:lnTo>
                      <a:pt x="27" y="63"/>
                    </a:lnTo>
                    <a:lnTo>
                      <a:pt x="27" y="63"/>
                    </a:lnTo>
                    <a:lnTo>
                      <a:pt x="23" y="63"/>
                    </a:lnTo>
                    <a:lnTo>
                      <a:pt x="23" y="63"/>
                    </a:lnTo>
                    <a:lnTo>
                      <a:pt x="18" y="54"/>
                    </a:lnTo>
                    <a:lnTo>
                      <a:pt x="27" y="49"/>
                    </a:lnTo>
                    <a:lnTo>
                      <a:pt x="32" y="49"/>
                    </a:lnTo>
                    <a:lnTo>
                      <a:pt x="32" y="49"/>
                    </a:lnTo>
                    <a:lnTo>
                      <a:pt x="32" y="45"/>
                    </a:lnTo>
                    <a:lnTo>
                      <a:pt x="32" y="45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41" y="45"/>
                    </a:lnTo>
                    <a:lnTo>
                      <a:pt x="45" y="45"/>
                    </a:lnTo>
                    <a:lnTo>
                      <a:pt x="54" y="45"/>
                    </a:lnTo>
                    <a:lnTo>
                      <a:pt x="59" y="40"/>
                    </a:lnTo>
                    <a:lnTo>
                      <a:pt x="59" y="40"/>
                    </a:lnTo>
                    <a:lnTo>
                      <a:pt x="59" y="40"/>
                    </a:lnTo>
                    <a:lnTo>
                      <a:pt x="63" y="36"/>
                    </a:lnTo>
                    <a:lnTo>
                      <a:pt x="63" y="36"/>
                    </a:lnTo>
                    <a:lnTo>
                      <a:pt x="63" y="36"/>
                    </a:lnTo>
                    <a:lnTo>
                      <a:pt x="63" y="31"/>
                    </a:lnTo>
                    <a:lnTo>
                      <a:pt x="63" y="31"/>
                    </a:lnTo>
                    <a:lnTo>
                      <a:pt x="63" y="27"/>
                    </a:lnTo>
                    <a:lnTo>
                      <a:pt x="68" y="22"/>
                    </a:lnTo>
                    <a:lnTo>
                      <a:pt x="68" y="13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82" y="0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9"/>
                    </a:lnTo>
                    <a:lnTo>
                      <a:pt x="86" y="9"/>
                    </a:lnTo>
                    <a:lnTo>
                      <a:pt x="95" y="13"/>
                    </a:lnTo>
                    <a:lnTo>
                      <a:pt x="95" y="13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100" y="22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0" name="Freeform 28"/>
              <p:cNvSpPr>
                <a:spLocks/>
              </p:cNvSpPr>
              <p:nvPr/>
            </p:nvSpPr>
            <p:spPr bwMode="auto">
              <a:xfrm>
                <a:off x="2938463" y="2390775"/>
                <a:ext cx="230188" cy="368300"/>
              </a:xfrm>
              <a:custGeom>
                <a:avLst/>
                <a:gdLst>
                  <a:gd name="T0" fmla="*/ 91 w 145"/>
                  <a:gd name="T1" fmla="*/ 182 h 232"/>
                  <a:gd name="T2" fmla="*/ 86 w 145"/>
                  <a:gd name="T3" fmla="*/ 191 h 232"/>
                  <a:gd name="T4" fmla="*/ 81 w 145"/>
                  <a:gd name="T5" fmla="*/ 200 h 232"/>
                  <a:gd name="T6" fmla="*/ 81 w 145"/>
                  <a:gd name="T7" fmla="*/ 209 h 232"/>
                  <a:gd name="T8" fmla="*/ 72 w 145"/>
                  <a:gd name="T9" fmla="*/ 218 h 232"/>
                  <a:gd name="T10" fmla="*/ 63 w 145"/>
                  <a:gd name="T11" fmla="*/ 223 h 232"/>
                  <a:gd name="T12" fmla="*/ 41 w 145"/>
                  <a:gd name="T13" fmla="*/ 232 h 232"/>
                  <a:gd name="T14" fmla="*/ 22 w 145"/>
                  <a:gd name="T15" fmla="*/ 232 h 232"/>
                  <a:gd name="T16" fmla="*/ 22 w 145"/>
                  <a:gd name="T17" fmla="*/ 218 h 232"/>
                  <a:gd name="T18" fmla="*/ 22 w 145"/>
                  <a:gd name="T19" fmla="*/ 209 h 232"/>
                  <a:gd name="T20" fmla="*/ 27 w 145"/>
                  <a:gd name="T21" fmla="*/ 200 h 232"/>
                  <a:gd name="T22" fmla="*/ 18 w 145"/>
                  <a:gd name="T23" fmla="*/ 186 h 232"/>
                  <a:gd name="T24" fmla="*/ 13 w 145"/>
                  <a:gd name="T25" fmla="*/ 173 h 232"/>
                  <a:gd name="T26" fmla="*/ 4 w 145"/>
                  <a:gd name="T27" fmla="*/ 159 h 232"/>
                  <a:gd name="T28" fmla="*/ 0 w 145"/>
                  <a:gd name="T29" fmla="*/ 155 h 232"/>
                  <a:gd name="T30" fmla="*/ 13 w 145"/>
                  <a:gd name="T31" fmla="*/ 141 h 232"/>
                  <a:gd name="T32" fmla="*/ 27 w 145"/>
                  <a:gd name="T33" fmla="*/ 123 h 232"/>
                  <a:gd name="T34" fmla="*/ 22 w 145"/>
                  <a:gd name="T35" fmla="*/ 114 h 232"/>
                  <a:gd name="T36" fmla="*/ 22 w 145"/>
                  <a:gd name="T37" fmla="*/ 100 h 232"/>
                  <a:gd name="T38" fmla="*/ 32 w 145"/>
                  <a:gd name="T39" fmla="*/ 86 h 232"/>
                  <a:gd name="T40" fmla="*/ 32 w 145"/>
                  <a:gd name="T41" fmla="*/ 73 h 232"/>
                  <a:gd name="T42" fmla="*/ 36 w 145"/>
                  <a:gd name="T43" fmla="*/ 64 h 232"/>
                  <a:gd name="T44" fmla="*/ 45 w 145"/>
                  <a:gd name="T45" fmla="*/ 50 h 232"/>
                  <a:gd name="T46" fmla="*/ 50 w 145"/>
                  <a:gd name="T47" fmla="*/ 28 h 232"/>
                  <a:gd name="T48" fmla="*/ 59 w 145"/>
                  <a:gd name="T49" fmla="*/ 14 h 232"/>
                  <a:gd name="T50" fmla="*/ 63 w 145"/>
                  <a:gd name="T51" fmla="*/ 14 h 232"/>
                  <a:gd name="T52" fmla="*/ 72 w 145"/>
                  <a:gd name="T53" fmla="*/ 14 h 232"/>
                  <a:gd name="T54" fmla="*/ 72 w 145"/>
                  <a:gd name="T55" fmla="*/ 23 h 232"/>
                  <a:gd name="T56" fmla="*/ 81 w 145"/>
                  <a:gd name="T57" fmla="*/ 23 h 232"/>
                  <a:gd name="T58" fmla="*/ 95 w 145"/>
                  <a:gd name="T59" fmla="*/ 23 h 232"/>
                  <a:gd name="T60" fmla="*/ 104 w 145"/>
                  <a:gd name="T61" fmla="*/ 18 h 232"/>
                  <a:gd name="T62" fmla="*/ 113 w 145"/>
                  <a:gd name="T63" fmla="*/ 5 h 232"/>
                  <a:gd name="T64" fmla="*/ 131 w 145"/>
                  <a:gd name="T65" fmla="*/ 5 h 232"/>
                  <a:gd name="T66" fmla="*/ 140 w 145"/>
                  <a:gd name="T67" fmla="*/ 23 h 232"/>
                  <a:gd name="T68" fmla="*/ 140 w 145"/>
                  <a:gd name="T69" fmla="*/ 41 h 232"/>
                  <a:gd name="T70" fmla="*/ 127 w 145"/>
                  <a:gd name="T71" fmla="*/ 41 h 232"/>
                  <a:gd name="T72" fmla="*/ 122 w 145"/>
                  <a:gd name="T73" fmla="*/ 50 h 232"/>
                  <a:gd name="T74" fmla="*/ 118 w 145"/>
                  <a:gd name="T75" fmla="*/ 55 h 232"/>
                  <a:gd name="T76" fmla="*/ 113 w 145"/>
                  <a:gd name="T77" fmla="*/ 73 h 232"/>
                  <a:gd name="T78" fmla="*/ 122 w 145"/>
                  <a:gd name="T79" fmla="*/ 82 h 232"/>
                  <a:gd name="T80" fmla="*/ 131 w 145"/>
                  <a:gd name="T81" fmla="*/ 77 h 232"/>
                  <a:gd name="T82" fmla="*/ 136 w 145"/>
                  <a:gd name="T83" fmla="*/ 91 h 232"/>
                  <a:gd name="T84" fmla="*/ 131 w 145"/>
                  <a:gd name="T85" fmla="*/ 96 h 232"/>
                  <a:gd name="T86" fmla="*/ 131 w 145"/>
                  <a:gd name="T87" fmla="*/ 109 h 232"/>
                  <a:gd name="T88" fmla="*/ 136 w 145"/>
                  <a:gd name="T89" fmla="*/ 114 h 232"/>
                  <a:gd name="T90" fmla="*/ 136 w 145"/>
                  <a:gd name="T91" fmla="*/ 127 h 232"/>
                  <a:gd name="T92" fmla="*/ 140 w 145"/>
                  <a:gd name="T93" fmla="*/ 150 h 232"/>
                  <a:gd name="T94" fmla="*/ 136 w 145"/>
                  <a:gd name="T95" fmla="*/ 145 h 232"/>
                  <a:gd name="T96" fmla="*/ 127 w 145"/>
                  <a:gd name="T97" fmla="*/ 145 h 232"/>
                  <a:gd name="T98" fmla="*/ 118 w 145"/>
                  <a:gd name="T99" fmla="*/ 141 h 232"/>
                  <a:gd name="T100" fmla="*/ 109 w 145"/>
                  <a:gd name="T101" fmla="*/ 136 h 232"/>
                  <a:gd name="T102" fmla="*/ 95 w 145"/>
                  <a:gd name="T103" fmla="*/ 150 h 232"/>
                  <a:gd name="T104" fmla="*/ 91 w 145"/>
                  <a:gd name="T105" fmla="*/ 164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5" h="232">
                    <a:moveTo>
                      <a:pt x="86" y="173"/>
                    </a:moveTo>
                    <a:lnTo>
                      <a:pt x="86" y="173"/>
                    </a:lnTo>
                    <a:lnTo>
                      <a:pt x="91" y="177"/>
                    </a:lnTo>
                    <a:lnTo>
                      <a:pt x="91" y="177"/>
                    </a:lnTo>
                    <a:lnTo>
                      <a:pt x="91" y="182"/>
                    </a:lnTo>
                    <a:lnTo>
                      <a:pt x="91" y="182"/>
                    </a:lnTo>
                    <a:lnTo>
                      <a:pt x="86" y="186"/>
                    </a:lnTo>
                    <a:lnTo>
                      <a:pt x="86" y="186"/>
                    </a:lnTo>
                    <a:lnTo>
                      <a:pt x="86" y="186"/>
                    </a:lnTo>
                    <a:lnTo>
                      <a:pt x="86" y="186"/>
                    </a:lnTo>
                    <a:lnTo>
                      <a:pt x="81" y="186"/>
                    </a:lnTo>
                    <a:lnTo>
                      <a:pt x="86" y="191"/>
                    </a:lnTo>
                    <a:lnTo>
                      <a:pt x="86" y="191"/>
                    </a:lnTo>
                    <a:lnTo>
                      <a:pt x="86" y="191"/>
                    </a:lnTo>
                    <a:lnTo>
                      <a:pt x="81" y="195"/>
                    </a:lnTo>
                    <a:lnTo>
                      <a:pt x="81" y="195"/>
                    </a:lnTo>
                    <a:lnTo>
                      <a:pt x="86" y="200"/>
                    </a:lnTo>
                    <a:lnTo>
                      <a:pt x="81" y="200"/>
                    </a:lnTo>
                    <a:lnTo>
                      <a:pt x="81" y="200"/>
                    </a:lnTo>
                    <a:lnTo>
                      <a:pt x="81" y="204"/>
                    </a:lnTo>
                    <a:lnTo>
                      <a:pt x="81" y="204"/>
                    </a:lnTo>
                    <a:lnTo>
                      <a:pt x="81" y="204"/>
                    </a:lnTo>
                    <a:lnTo>
                      <a:pt x="81" y="204"/>
                    </a:lnTo>
                    <a:lnTo>
                      <a:pt x="81" y="209"/>
                    </a:lnTo>
                    <a:lnTo>
                      <a:pt x="81" y="209"/>
                    </a:lnTo>
                    <a:lnTo>
                      <a:pt x="81" y="209"/>
                    </a:lnTo>
                    <a:lnTo>
                      <a:pt x="81" y="213"/>
                    </a:lnTo>
                    <a:lnTo>
                      <a:pt x="77" y="213"/>
                    </a:lnTo>
                    <a:lnTo>
                      <a:pt x="77" y="213"/>
                    </a:lnTo>
                    <a:lnTo>
                      <a:pt x="72" y="218"/>
                    </a:lnTo>
                    <a:lnTo>
                      <a:pt x="72" y="218"/>
                    </a:lnTo>
                    <a:lnTo>
                      <a:pt x="68" y="218"/>
                    </a:lnTo>
                    <a:lnTo>
                      <a:pt x="68" y="218"/>
                    </a:lnTo>
                    <a:lnTo>
                      <a:pt x="68" y="218"/>
                    </a:lnTo>
                    <a:lnTo>
                      <a:pt x="68" y="223"/>
                    </a:lnTo>
                    <a:lnTo>
                      <a:pt x="63" y="223"/>
                    </a:lnTo>
                    <a:lnTo>
                      <a:pt x="63" y="223"/>
                    </a:lnTo>
                    <a:lnTo>
                      <a:pt x="59" y="227"/>
                    </a:lnTo>
                    <a:lnTo>
                      <a:pt x="54" y="227"/>
                    </a:lnTo>
                    <a:lnTo>
                      <a:pt x="50" y="232"/>
                    </a:lnTo>
                    <a:lnTo>
                      <a:pt x="45" y="232"/>
                    </a:lnTo>
                    <a:lnTo>
                      <a:pt x="41" y="232"/>
                    </a:lnTo>
                    <a:lnTo>
                      <a:pt x="36" y="232"/>
                    </a:lnTo>
                    <a:lnTo>
                      <a:pt x="32" y="232"/>
                    </a:lnTo>
                    <a:lnTo>
                      <a:pt x="32" y="232"/>
                    </a:lnTo>
                    <a:lnTo>
                      <a:pt x="27" y="232"/>
                    </a:lnTo>
                    <a:lnTo>
                      <a:pt x="27" y="232"/>
                    </a:lnTo>
                    <a:lnTo>
                      <a:pt x="22" y="232"/>
                    </a:lnTo>
                    <a:lnTo>
                      <a:pt x="22" y="232"/>
                    </a:lnTo>
                    <a:lnTo>
                      <a:pt x="22" y="232"/>
                    </a:lnTo>
                    <a:lnTo>
                      <a:pt x="22" y="232"/>
                    </a:lnTo>
                    <a:lnTo>
                      <a:pt x="18" y="227"/>
                    </a:lnTo>
                    <a:lnTo>
                      <a:pt x="18" y="223"/>
                    </a:lnTo>
                    <a:lnTo>
                      <a:pt x="22" y="218"/>
                    </a:lnTo>
                    <a:lnTo>
                      <a:pt x="22" y="218"/>
                    </a:lnTo>
                    <a:lnTo>
                      <a:pt x="22" y="213"/>
                    </a:lnTo>
                    <a:lnTo>
                      <a:pt x="22" y="213"/>
                    </a:lnTo>
                    <a:lnTo>
                      <a:pt x="22" y="209"/>
                    </a:lnTo>
                    <a:lnTo>
                      <a:pt x="22" y="209"/>
                    </a:lnTo>
                    <a:lnTo>
                      <a:pt x="22" y="209"/>
                    </a:lnTo>
                    <a:lnTo>
                      <a:pt x="27" y="209"/>
                    </a:lnTo>
                    <a:lnTo>
                      <a:pt x="27" y="209"/>
                    </a:lnTo>
                    <a:lnTo>
                      <a:pt x="27" y="204"/>
                    </a:lnTo>
                    <a:lnTo>
                      <a:pt x="27" y="200"/>
                    </a:lnTo>
                    <a:lnTo>
                      <a:pt x="27" y="200"/>
                    </a:lnTo>
                    <a:lnTo>
                      <a:pt x="27" y="200"/>
                    </a:lnTo>
                    <a:lnTo>
                      <a:pt x="27" y="195"/>
                    </a:lnTo>
                    <a:lnTo>
                      <a:pt x="22" y="191"/>
                    </a:lnTo>
                    <a:lnTo>
                      <a:pt x="22" y="191"/>
                    </a:lnTo>
                    <a:lnTo>
                      <a:pt x="18" y="191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8" y="182"/>
                    </a:lnTo>
                    <a:lnTo>
                      <a:pt x="18" y="177"/>
                    </a:lnTo>
                    <a:lnTo>
                      <a:pt x="18" y="177"/>
                    </a:lnTo>
                    <a:lnTo>
                      <a:pt x="18" y="173"/>
                    </a:lnTo>
                    <a:lnTo>
                      <a:pt x="13" y="173"/>
                    </a:lnTo>
                    <a:lnTo>
                      <a:pt x="13" y="168"/>
                    </a:lnTo>
                    <a:lnTo>
                      <a:pt x="9" y="164"/>
                    </a:lnTo>
                    <a:lnTo>
                      <a:pt x="9" y="159"/>
                    </a:lnTo>
                    <a:lnTo>
                      <a:pt x="9" y="159"/>
                    </a:lnTo>
                    <a:lnTo>
                      <a:pt x="4" y="159"/>
                    </a:lnTo>
                    <a:lnTo>
                      <a:pt x="4" y="159"/>
                    </a:lnTo>
                    <a:lnTo>
                      <a:pt x="4" y="159"/>
                    </a:lnTo>
                    <a:lnTo>
                      <a:pt x="4" y="155"/>
                    </a:lnTo>
                    <a:lnTo>
                      <a:pt x="0" y="155"/>
                    </a:lnTo>
                    <a:lnTo>
                      <a:pt x="0" y="155"/>
                    </a:lnTo>
                    <a:lnTo>
                      <a:pt x="0" y="155"/>
                    </a:lnTo>
                    <a:lnTo>
                      <a:pt x="0" y="155"/>
                    </a:lnTo>
                    <a:lnTo>
                      <a:pt x="0" y="150"/>
                    </a:lnTo>
                    <a:lnTo>
                      <a:pt x="4" y="145"/>
                    </a:lnTo>
                    <a:lnTo>
                      <a:pt x="4" y="145"/>
                    </a:lnTo>
                    <a:lnTo>
                      <a:pt x="9" y="141"/>
                    </a:lnTo>
                    <a:lnTo>
                      <a:pt x="9" y="141"/>
                    </a:lnTo>
                    <a:lnTo>
                      <a:pt x="13" y="141"/>
                    </a:lnTo>
                    <a:lnTo>
                      <a:pt x="13" y="141"/>
                    </a:lnTo>
                    <a:lnTo>
                      <a:pt x="13" y="141"/>
                    </a:lnTo>
                    <a:lnTo>
                      <a:pt x="13" y="141"/>
                    </a:lnTo>
                    <a:lnTo>
                      <a:pt x="18" y="136"/>
                    </a:lnTo>
                    <a:lnTo>
                      <a:pt x="22" y="127"/>
                    </a:lnTo>
                    <a:lnTo>
                      <a:pt x="27" y="123"/>
                    </a:lnTo>
                    <a:lnTo>
                      <a:pt x="27" y="123"/>
                    </a:lnTo>
                    <a:lnTo>
                      <a:pt x="27" y="123"/>
                    </a:lnTo>
                    <a:lnTo>
                      <a:pt x="27" y="118"/>
                    </a:lnTo>
                    <a:lnTo>
                      <a:pt x="22" y="118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09"/>
                    </a:lnTo>
                    <a:lnTo>
                      <a:pt x="22" y="109"/>
                    </a:lnTo>
                    <a:lnTo>
                      <a:pt x="22" y="105"/>
                    </a:lnTo>
                    <a:lnTo>
                      <a:pt x="22" y="105"/>
                    </a:lnTo>
                    <a:lnTo>
                      <a:pt x="22" y="105"/>
                    </a:lnTo>
                    <a:lnTo>
                      <a:pt x="22" y="100"/>
                    </a:lnTo>
                    <a:lnTo>
                      <a:pt x="27" y="100"/>
                    </a:lnTo>
                    <a:lnTo>
                      <a:pt x="27" y="96"/>
                    </a:lnTo>
                    <a:lnTo>
                      <a:pt x="32" y="96"/>
                    </a:lnTo>
                    <a:lnTo>
                      <a:pt x="32" y="96"/>
                    </a:lnTo>
                    <a:lnTo>
                      <a:pt x="32" y="91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27" y="82"/>
                    </a:lnTo>
                    <a:lnTo>
                      <a:pt x="27" y="77"/>
                    </a:lnTo>
                    <a:lnTo>
                      <a:pt x="32" y="77"/>
                    </a:lnTo>
                    <a:lnTo>
                      <a:pt x="32" y="73"/>
                    </a:lnTo>
                    <a:lnTo>
                      <a:pt x="32" y="73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41" y="59"/>
                    </a:lnTo>
                    <a:lnTo>
                      <a:pt x="41" y="55"/>
                    </a:lnTo>
                    <a:lnTo>
                      <a:pt x="41" y="55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46"/>
                    </a:lnTo>
                    <a:lnTo>
                      <a:pt x="45" y="46"/>
                    </a:lnTo>
                    <a:lnTo>
                      <a:pt x="45" y="32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4" y="23"/>
                    </a:lnTo>
                    <a:lnTo>
                      <a:pt x="54" y="18"/>
                    </a:lnTo>
                    <a:lnTo>
                      <a:pt x="59" y="18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63" y="14"/>
                    </a:lnTo>
                    <a:lnTo>
                      <a:pt x="63" y="14"/>
                    </a:lnTo>
                    <a:lnTo>
                      <a:pt x="63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2" y="14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23"/>
                    </a:lnTo>
                    <a:lnTo>
                      <a:pt x="72" y="23"/>
                    </a:lnTo>
                    <a:lnTo>
                      <a:pt x="72" y="23"/>
                    </a:lnTo>
                    <a:lnTo>
                      <a:pt x="77" y="28"/>
                    </a:lnTo>
                    <a:lnTo>
                      <a:pt x="77" y="28"/>
                    </a:lnTo>
                    <a:lnTo>
                      <a:pt x="81" y="23"/>
                    </a:lnTo>
                    <a:lnTo>
                      <a:pt x="81" y="23"/>
                    </a:lnTo>
                    <a:lnTo>
                      <a:pt x="81" y="23"/>
                    </a:lnTo>
                    <a:lnTo>
                      <a:pt x="86" y="23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100" y="23"/>
                    </a:lnTo>
                    <a:lnTo>
                      <a:pt x="100" y="23"/>
                    </a:lnTo>
                    <a:lnTo>
                      <a:pt x="100" y="23"/>
                    </a:lnTo>
                    <a:lnTo>
                      <a:pt x="100" y="18"/>
                    </a:lnTo>
                    <a:lnTo>
                      <a:pt x="104" y="18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9" y="14"/>
                    </a:lnTo>
                    <a:lnTo>
                      <a:pt x="109" y="9"/>
                    </a:lnTo>
                    <a:lnTo>
                      <a:pt x="113" y="5"/>
                    </a:lnTo>
                    <a:lnTo>
                      <a:pt x="113" y="5"/>
                    </a:lnTo>
                    <a:lnTo>
                      <a:pt x="118" y="5"/>
                    </a:lnTo>
                    <a:lnTo>
                      <a:pt x="122" y="0"/>
                    </a:lnTo>
                    <a:lnTo>
                      <a:pt x="127" y="0"/>
                    </a:lnTo>
                    <a:lnTo>
                      <a:pt x="127" y="0"/>
                    </a:lnTo>
                    <a:lnTo>
                      <a:pt x="131" y="0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1" y="14"/>
                    </a:lnTo>
                    <a:lnTo>
                      <a:pt x="136" y="14"/>
                    </a:lnTo>
                    <a:lnTo>
                      <a:pt x="136" y="18"/>
                    </a:lnTo>
                    <a:lnTo>
                      <a:pt x="140" y="23"/>
                    </a:lnTo>
                    <a:lnTo>
                      <a:pt x="140" y="23"/>
                    </a:lnTo>
                    <a:lnTo>
                      <a:pt x="145" y="23"/>
                    </a:lnTo>
                    <a:lnTo>
                      <a:pt x="145" y="28"/>
                    </a:lnTo>
                    <a:lnTo>
                      <a:pt x="140" y="32"/>
                    </a:lnTo>
                    <a:lnTo>
                      <a:pt x="145" y="37"/>
                    </a:lnTo>
                    <a:lnTo>
                      <a:pt x="140" y="41"/>
                    </a:lnTo>
                    <a:lnTo>
                      <a:pt x="140" y="41"/>
                    </a:lnTo>
                    <a:lnTo>
                      <a:pt x="136" y="41"/>
                    </a:lnTo>
                    <a:lnTo>
                      <a:pt x="136" y="41"/>
                    </a:lnTo>
                    <a:lnTo>
                      <a:pt x="131" y="41"/>
                    </a:lnTo>
                    <a:lnTo>
                      <a:pt x="131" y="41"/>
                    </a:lnTo>
                    <a:lnTo>
                      <a:pt x="127" y="41"/>
                    </a:lnTo>
                    <a:lnTo>
                      <a:pt x="127" y="41"/>
                    </a:lnTo>
                    <a:lnTo>
                      <a:pt x="127" y="46"/>
                    </a:lnTo>
                    <a:lnTo>
                      <a:pt x="122" y="46"/>
                    </a:lnTo>
                    <a:lnTo>
                      <a:pt x="127" y="46"/>
                    </a:lnTo>
                    <a:lnTo>
                      <a:pt x="122" y="50"/>
                    </a:lnTo>
                    <a:lnTo>
                      <a:pt x="122" y="50"/>
                    </a:lnTo>
                    <a:lnTo>
                      <a:pt x="118" y="50"/>
                    </a:lnTo>
                    <a:lnTo>
                      <a:pt x="118" y="50"/>
                    </a:lnTo>
                    <a:lnTo>
                      <a:pt x="118" y="50"/>
                    </a:lnTo>
                    <a:lnTo>
                      <a:pt x="118" y="55"/>
                    </a:lnTo>
                    <a:lnTo>
                      <a:pt x="118" y="55"/>
                    </a:lnTo>
                    <a:lnTo>
                      <a:pt x="118" y="55"/>
                    </a:lnTo>
                    <a:lnTo>
                      <a:pt x="113" y="55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13" y="68"/>
                    </a:lnTo>
                    <a:lnTo>
                      <a:pt x="113" y="68"/>
                    </a:lnTo>
                    <a:lnTo>
                      <a:pt x="113" y="73"/>
                    </a:lnTo>
                    <a:lnTo>
                      <a:pt x="113" y="73"/>
                    </a:lnTo>
                    <a:lnTo>
                      <a:pt x="113" y="77"/>
                    </a:lnTo>
                    <a:lnTo>
                      <a:pt x="113" y="77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22" y="82"/>
                    </a:lnTo>
                    <a:lnTo>
                      <a:pt x="122" y="82"/>
                    </a:lnTo>
                    <a:lnTo>
                      <a:pt x="122" y="82"/>
                    </a:lnTo>
                    <a:lnTo>
                      <a:pt x="127" y="82"/>
                    </a:lnTo>
                    <a:lnTo>
                      <a:pt x="127" y="77"/>
                    </a:lnTo>
                    <a:lnTo>
                      <a:pt x="131" y="77"/>
                    </a:lnTo>
                    <a:lnTo>
                      <a:pt x="131" y="77"/>
                    </a:lnTo>
                    <a:lnTo>
                      <a:pt x="131" y="77"/>
                    </a:lnTo>
                    <a:lnTo>
                      <a:pt x="136" y="77"/>
                    </a:lnTo>
                    <a:lnTo>
                      <a:pt x="136" y="82"/>
                    </a:lnTo>
                    <a:lnTo>
                      <a:pt x="136" y="82"/>
                    </a:lnTo>
                    <a:lnTo>
                      <a:pt x="136" y="86"/>
                    </a:lnTo>
                    <a:lnTo>
                      <a:pt x="136" y="91"/>
                    </a:lnTo>
                    <a:lnTo>
                      <a:pt x="136" y="91"/>
                    </a:lnTo>
                    <a:lnTo>
                      <a:pt x="136" y="91"/>
                    </a:lnTo>
                    <a:lnTo>
                      <a:pt x="136" y="91"/>
                    </a:lnTo>
                    <a:lnTo>
                      <a:pt x="136" y="96"/>
                    </a:lnTo>
                    <a:lnTo>
                      <a:pt x="136" y="96"/>
                    </a:lnTo>
                    <a:lnTo>
                      <a:pt x="131" y="96"/>
                    </a:lnTo>
                    <a:lnTo>
                      <a:pt x="131" y="100"/>
                    </a:lnTo>
                    <a:lnTo>
                      <a:pt x="136" y="105"/>
                    </a:lnTo>
                    <a:lnTo>
                      <a:pt x="136" y="105"/>
                    </a:lnTo>
                    <a:lnTo>
                      <a:pt x="136" y="109"/>
                    </a:lnTo>
                    <a:lnTo>
                      <a:pt x="136" y="109"/>
                    </a:lnTo>
                    <a:lnTo>
                      <a:pt x="131" y="109"/>
                    </a:lnTo>
                    <a:lnTo>
                      <a:pt x="131" y="109"/>
                    </a:lnTo>
                    <a:lnTo>
                      <a:pt x="131" y="109"/>
                    </a:lnTo>
                    <a:lnTo>
                      <a:pt x="131" y="114"/>
                    </a:lnTo>
                    <a:lnTo>
                      <a:pt x="131" y="114"/>
                    </a:lnTo>
                    <a:lnTo>
                      <a:pt x="131" y="114"/>
                    </a:lnTo>
                    <a:lnTo>
                      <a:pt x="136" y="114"/>
                    </a:ln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23"/>
                    </a:lnTo>
                    <a:lnTo>
                      <a:pt x="136" y="123"/>
                    </a:lnTo>
                    <a:lnTo>
                      <a:pt x="136" y="123"/>
                    </a:lnTo>
                    <a:lnTo>
                      <a:pt x="136" y="127"/>
                    </a:lnTo>
                    <a:lnTo>
                      <a:pt x="136" y="127"/>
                    </a:lnTo>
                    <a:lnTo>
                      <a:pt x="136" y="127"/>
                    </a:lnTo>
                    <a:lnTo>
                      <a:pt x="145" y="136"/>
                    </a:lnTo>
                    <a:lnTo>
                      <a:pt x="145" y="136"/>
                    </a:lnTo>
                    <a:lnTo>
                      <a:pt x="145" y="145"/>
                    </a:lnTo>
                    <a:lnTo>
                      <a:pt x="140" y="150"/>
                    </a:lnTo>
                    <a:lnTo>
                      <a:pt x="140" y="150"/>
                    </a:lnTo>
                    <a:lnTo>
                      <a:pt x="136" y="150"/>
                    </a:lnTo>
                    <a:lnTo>
                      <a:pt x="136" y="150"/>
                    </a:lnTo>
                    <a:lnTo>
                      <a:pt x="136" y="150"/>
                    </a:lnTo>
                    <a:lnTo>
                      <a:pt x="136" y="150"/>
                    </a:lnTo>
                    <a:lnTo>
                      <a:pt x="136" y="145"/>
                    </a:lnTo>
                    <a:lnTo>
                      <a:pt x="131" y="145"/>
                    </a:lnTo>
                    <a:lnTo>
                      <a:pt x="131" y="145"/>
                    </a:lnTo>
                    <a:lnTo>
                      <a:pt x="131" y="145"/>
                    </a:lnTo>
                    <a:lnTo>
                      <a:pt x="131" y="145"/>
                    </a:lnTo>
                    <a:lnTo>
                      <a:pt x="127" y="145"/>
                    </a:lnTo>
                    <a:lnTo>
                      <a:pt x="127" y="145"/>
                    </a:lnTo>
                    <a:lnTo>
                      <a:pt x="118" y="145"/>
                    </a:lnTo>
                    <a:lnTo>
                      <a:pt x="118" y="145"/>
                    </a:lnTo>
                    <a:lnTo>
                      <a:pt x="118" y="145"/>
                    </a:lnTo>
                    <a:lnTo>
                      <a:pt x="118" y="141"/>
                    </a:lnTo>
                    <a:lnTo>
                      <a:pt x="118" y="141"/>
                    </a:lnTo>
                    <a:lnTo>
                      <a:pt x="118" y="141"/>
                    </a:lnTo>
                    <a:lnTo>
                      <a:pt x="118" y="141"/>
                    </a:lnTo>
                    <a:lnTo>
                      <a:pt x="118" y="141"/>
                    </a:lnTo>
                    <a:lnTo>
                      <a:pt x="113" y="136"/>
                    </a:lnTo>
                    <a:lnTo>
                      <a:pt x="109" y="136"/>
                    </a:lnTo>
                    <a:lnTo>
                      <a:pt x="109" y="136"/>
                    </a:lnTo>
                    <a:lnTo>
                      <a:pt x="109" y="136"/>
                    </a:lnTo>
                    <a:lnTo>
                      <a:pt x="104" y="141"/>
                    </a:lnTo>
                    <a:lnTo>
                      <a:pt x="100" y="150"/>
                    </a:lnTo>
                    <a:lnTo>
                      <a:pt x="100" y="150"/>
                    </a:lnTo>
                    <a:lnTo>
                      <a:pt x="100" y="150"/>
                    </a:lnTo>
                    <a:lnTo>
                      <a:pt x="95" y="150"/>
                    </a:lnTo>
                    <a:lnTo>
                      <a:pt x="95" y="150"/>
                    </a:lnTo>
                    <a:lnTo>
                      <a:pt x="95" y="150"/>
                    </a:lnTo>
                    <a:lnTo>
                      <a:pt x="95" y="150"/>
                    </a:lnTo>
                    <a:lnTo>
                      <a:pt x="91" y="159"/>
                    </a:lnTo>
                    <a:lnTo>
                      <a:pt x="91" y="159"/>
                    </a:lnTo>
                    <a:lnTo>
                      <a:pt x="91" y="159"/>
                    </a:lnTo>
                    <a:lnTo>
                      <a:pt x="91" y="164"/>
                    </a:lnTo>
                    <a:lnTo>
                      <a:pt x="91" y="164"/>
                    </a:lnTo>
                    <a:lnTo>
                      <a:pt x="91" y="164"/>
                    </a:lnTo>
                    <a:lnTo>
                      <a:pt x="86" y="168"/>
                    </a:lnTo>
                    <a:lnTo>
                      <a:pt x="86" y="168"/>
                    </a:lnTo>
                    <a:lnTo>
                      <a:pt x="86" y="173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1" name="Freeform 29"/>
              <p:cNvSpPr>
                <a:spLocks/>
              </p:cNvSpPr>
              <p:nvPr/>
            </p:nvSpPr>
            <p:spPr bwMode="auto">
              <a:xfrm>
                <a:off x="2952751" y="2671763"/>
                <a:ext cx="287338" cy="209550"/>
              </a:xfrm>
              <a:custGeom>
                <a:avLst/>
                <a:gdLst>
                  <a:gd name="T0" fmla="*/ 177 w 181"/>
                  <a:gd name="T1" fmla="*/ 68 h 132"/>
                  <a:gd name="T2" fmla="*/ 177 w 181"/>
                  <a:gd name="T3" fmla="*/ 82 h 132"/>
                  <a:gd name="T4" fmla="*/ 181 w 181"/>
                  <a:gd name="T5" fmla="*/ 100 h 132"/>
                  <a:gd name="T6" fmla="*/ 177 w 181"/>
                  <a:gd name="T7" fmla="*/ 105 h 132"/>
                  <a:gd name="T8" fmla="*/ 168 w 181"/>
                  <a:gd name="T9" fmla="*/ 114 h 132"/>
                  <a:gd name="T10" fmla="*/ 163 w 181"/>
                  <a:gd name="T11" fmla="*/ 118 h 132"/>
                  <a:gd name="T12" fmla="*/ 163 w 181"/>
                  <a:gd name="T13" fmla="*/ 127 h 132"/>
                  <a:gd name="T14" fmla="*/ 150 w 181"/>
                  <a:gd name="T15" fmla="*/ 132 h 132"/>
                  <a:gd name="T16" fmla="*/ 141 w 181"/>
                  <a:gd name="T17" fmla="*/ 123 h 132"/>
                  <a:gd name="T18" fmla="*/ 141 w 181"/>
                  <a:gd name="T19" fmla="*/ 123 h 132"/>
                  <a:gd name="T20" fmla="*/ 141 w 181"/>
                  <a:gd name="T21" fmla="*/ 114 h 132"/>
                  <a:gd name="T22" fmla="*/ 141 w 181"/>
                  <a:gd name="T23" fmla="*/ 105 h 132"/>
                  <a:gd name="T24" fmla="*/ 141 w 181"/>
                  <a:gd name="T25" fmla="*/ 95 h 132"/>
                  <a:gd name="T26" fmla="*/ 141 w 181"/>
                  <a:gd name="T27" fmla="*/ 91 h 132"/>
                  <a:gd name="T28" fmla="*/ 150 w 181"/>
                  <a:gd name="T29" fmla="*/ 82 h 132"/>
                  <a:gd name="T30" fmla="*/ 150 w 181"/>
                  <a:gd name="T31" fmla="*/ 73 h 132"/>
                  <a:gd name="T32" fmla="*/ 127 w 181"/>
                  <a:gd name="T33" fmla="*/ 68 h 132"/>
                  <a:gd name="T34" fmla="*/ 113 w 181"/>
                  <a:gd name="T35" fmla="*/ 77 h 132"/>
                  <a:gd name="T36" fmla="*/ 118 w 181"/>
                  <a:gd name="T37" fmla="*/ 82 h 132"/>
                  <a:gd name="T38" fmla="*/ 100 w 181"/>
                  <a:gd name="T39" fmla="*/ 91 h 132"/>
                  <a:gd name="T40" fmla="*/ 95 w 181"/>
                  <a:gd name="T41" fmla="*/ 100 h 132"/>
                  <a:gd name="T42" fmla="*/ 91 w 181"/>
                  <a:gd name="T43" fmla="*/ 109 h 132"/>
                  <a:gd name="T44" fmla="*/ 82 w 181"/>
                  <a:gd name="T45" fmla="*/ 127 h 132"/>
                  <a:gd name="T46" fmla="*/ 59 w 181"/>
                  <a:gd name="T47" fmla="*/ 127 h 132"/>
                  <a:gd name="T48" fmla="*/ 13 w 181"/>
                  <a:gd name="T49" fmla="*/ 118 h 132"/>
                  <a:gd name="T50" fmla="*/ 0 w 181"/>
                  <a:gd name="T51" fmla="*/ 114 h 132"/>
                  <a:gd name="T52" fmla="*/ 4 w 181"/>
                  <a:gd name="T53" fmla="*/ 100 h 132"/>
                  <a:gd name="T54" fmla="*/ 18 w 181"/>
                  <a:gd name="T55" fmla="*/ 95 h 132"/>
                  <a:gd name="T56" fmla="*/ 23 w 181"/>
                  <a:gd name="T57" fmla="*/ 86 h 132"/>
                  <a:gd name="T58" fmla="*/ 36 w 181"/>
                  <a:gd name="T59" fmla="*/ 64 h 132"/>
                  <a:gd name="T60" fmla="*/ 45 w 181"/>
                  <a:gd name="T61" fmla="*/ 50 h 132"/>
                  <a:gd name="T62" fmla="*/ 59 w 181"/>
                  <a:gd name="T63" fmla="*/ 41 h 132"/>
                  <a:gd name="T64" fmla="*/ 68 w 181"/>
                  <a:gd name="T65" fmla="*/ 36 h 132"/>
                  <a:gd name="T66" fmla="*/ 72 w 181"/>
                  <a:gd name="T67" fmla="*/ 32 h 132"/>
                  <a:gd name="T68" fmla="*/ 72 w 181"/>
                  <a:gd name="T69" fmla="*/ 23 h 132"/>
                  <a:gd name="T70" fmla="*/ 77 w 181"/>
                  <a:gd name="T71" fmla="*/ 14 h 132"/>
                  <a:gd name="T72" fmla="*/ 77 w 181"/>
                  <a:gd name="T73" fmla="*/ 9 h 132"/>
                  <a:gd name="T74" fmla="*/ 82 w 181"/>
                  <a:gd name="T75" fmla="*/ 0 h 132"/>
                  <a:gd name="T76" fmla="*/ 86 w 181"/>
                  <a:gd name="T77" fmla="*/ 14 h 132"/>
                  <a:gd name="T78" fmla="*/ 86 w 181"/>
                  <a:gd name="T79" fmla="*/ 27 h 132"/>
                  <a:gd name="T80" fmla="*/ 86 w 181"/>
                  <a:gd name="T81" fmla="*/ 36 h 132"/>
                  <a:gd name="T82" fmla="*/ 86 w 181"/>
                  <a:gd name="T83" fmla="*/ 46 h 132"/>
                  <a:gd name="T84" fmla="*/ 95 w 181"/>
                  <a:gd name="T85" fmla="*/ 46 h 132"/>
                  <a:gd name="T86" fmla="*/ 104 w 181"/>
                  <a:gd name="T87" fmla="*/ 59 h 132"/>
                  <a:gd name="T88" fmla="*/ 113 w 181"/>
                  <a:gd name="T89" fmla="*/ 59 h 132"/>
                  <a:gd name="T90" fmla="*/ 113 w 181"/>
                  <a:gd name="T91" fmla="*/ 55 h 132"/>
                  <a:gd name="T92" fmla="*/ 113 w 181"/>
                  <a:gd name="T93" fmla="*/ 41 h 132"/>
                  <a:gd name="T94" fmla="*/ 118 w 181"/>
                  <a:gd name="T95" fmla="*/ 27 h 132"/>
                  <a:gd name="T96" fmla="*/ 131 w 181"/>
                  <a:gd name="T97" fmla="*/ 36 h 132"/>
                  <a:gd name="T98" fmla="*/ 163 w 181"/>
                  <a:gd name="T99" fmla="*/ 32 h 132"/>
                  <a:gd name="T100" fmla="*/ 168 w 181"/>
                  <a:gd name="T101" fmla="*/ 36 h 132"/>
                  <a:gd name="T102" fmla="*/ 168 w 181"/>
                  <a:gd name="T103" fmla="*/ 46 h 132"/>
                  <a:gd name="T104" fmla="*/ 163 w 181"/>
                  <a:gd name="T105" fmla="*/ 55 h 132"/>
                  <a:gd name="T106" fmla="*/ 168 w 181"/>
                  <a:gd name="T107" fmla="*/ 64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81" h="132">
                    <a:moveTo>
                      <a:pt x="172" y="68"/>
                    </a:moveTo>
                    <a:lnTo>
                      <a:pt x="172" y="68"/>
                    </a:lnTo>
                    <a:lnTo>
                      <a:pt x="172" y="68"/>
                    </a:lnTo>
                    <a:lnTo>
                      <a:pt x="177" y="68"/>
                    </a:lnTo>
                    <a:lnTo>
                      <a:pt x="177" y="68"/>
                    </a:lnTo>
                    <a:lnTo>
                      <a:pt x="177" y="77"/>
                    </a:lnTo>
                    <a:lnTo>
                      <a:pt x="177" y="77"/>
                    </a:lnTo>
                    <a:lnTo>
                      <a:pt x="177" y="77"/>
                    </a:lnTo>
                    <a:lnTo>
                      <a:pt x="177" y="82"/>
                    </a:lnTo>
                    <a:lnTo>
                      <a:pt x="177" y="82"/>
                    </a:lnTo>
                    <a:lnTo>
                      <a:pt x="177" y="86"/>
                    </a:lnTo>
                    <a:lnTo>
                      <a:pt x="181" y="86"/>
                    </a:lnTo>
                    <a:lnTo>
                      <a:pt x="181" y="91"/>
                    </a:lnTo>
                    <a:lnTo>
                      <a:pt x="181" y="95"/>
                    </a:lnTo>
                    <a:lnTo>
                      <a:pt x="181" y="100"/>
                    </a:lnTo>
                    <a:lnTo>
                      <a:pt x="177" y="100"/>
                    </a:lnTo>
                    <a:lnTo>
                      <a:pt x="177" y="100"/>
                    </a:lnTo>
                    <a:lnTo>
                      <a:pt x="177" y="105"/>
                    </a:lnTo>
                    <a:lnTo>
                      <a:pt x="177" y="105"/>
                    </a:lnTo>
                    <a:lnTo>
                      <a:pt x="177" y="105"/>
                    </a:lnTo>
                    <a:lnTo>
                      <a:pt x="177" y="109"/>
                    </a:lnTo>
                    <a:lnTo>
                      <a:pt x="172" y="109"/>
                    </a:lnTo>
                    <a:lnTo>
                      <a:pt x="172" y="114"/>
                    </a:lnTo>
                    <a:lnTo>
                      <a:pt x="172" y="114"/>
                    </a:lnTo>
                    <a:lnTo>
                      <a:pt x="168" y="114"/>
                    </a:lnTo>
                    <a:lnTo>
                      <a:pt x="168" y="114"/>
                    </a:lnTo>
                    <a:lnTo>
                      <a:pt x="168" y="114"/>
                    </a:lnTo>
                    <a:lnTo>
                      <a:pt x="168" y="118"/>
                    </a:lnTo>
                    <a:lnTo>
                      <a:pt x="168" y="118"/>
                    </a:lnTo>
                    <a:lnTo>
                      <a:pt x="163" y="118"/>
                    </a:lnTo>
                    <a:lnTo>
                      <a:pt x="163" y="123"/>
                    </a:lnTo>
                    <a:lnTo>
                      <a:pt x="163" y="123"/>
                    </a:lnTo>
                    <a:lnTo>
                      <a:pt x="163" y="127"/>
                    </a:lnTo>
                    <a:lnTo>
                      <a:pt x="163" y="127"/>
                    </a:lnTo>
                    <a:lnTo>
                      <a:pt x="163" y="127"/>
                    </a:lnTo>
                    <a:lnTo>
                      <a:pt x="163" y="127"/>
                    </a:lnTo>
                    <a:lnTo>
                      <a:pt x="163" y="127"/>
                    </a:lnTo>
                    <a:lnTo>
                      <a:pt x="154" y="132"/>
                    </a:lnTo>
                    <a:lnTo>
                      <a:pt x="150" y="132"/>
                    </a:lnTo>
                    <a:lnTo>
                      <a:pt x="150" y="132"/>
                    </a:lnTo>
                    <a:lnTo>
                      <a:pt x="145" y="132"/>
                    </a:lnTo>
                    <a:lnTo>
                      <a:pt x="145" y="132"/>
                    </a:lnTo>
                    <a:lnTo>
                      <a:pt x="145" y="132"/>
                    </a:lnTo>
                    <a:lnTo>
                      <a:pt x="145" y="127"/>
                    </a:lnTo>
                    <a:lnTo>
                      <a:pt x="141" y="123"/>
                    </a:lnTo>
                    <a:lnTo>
                      <a:pt x="141" y="123"/>
                    </a:lnTo>
                    <a:lnTo>
                      <a:pt x="141" y="123"/>
                    </a:lnTo>
                    <a:lnTo>
                      <a:pt x="141" y="123"/>
                    </a:lnTo>
                    <a:lnTo>
                      <a:pt x="141" y="123"/>
                    </a:lnTo>
                    <a:lnTo>
                      <a:pt x="141" y="123"/>
                    </a:lnTo>
                    <a:lnTo>
                      <a:pt x="141" y="118"/>
                    </a:lnTo>
                    <a:lnTo>
                      <a:pt x="141" y="118"/>
                    </a:lnTo>
                    <a:lnTo>
                      <a:pt x="141" y="118"/>
                    </a:lnTo>
                    <a:lnTo>
                      <a:pt x="141" y="114"/>
                    </a:lnTo>
                    <a:lnTo>
                      <a:pt x="141" y="114"/>
                    </a:lnTo>
                    <a:lnTo>
                      <a:pt x="141" y="109"/>
                    </a:lnTo>
                    <a:lnTo>
                      <a:pt x="141" y="109"/>
                    </a:lnTo>
                    <a:lnTo>
                      <a:pt x="141" y="105"/>
                    </a:lnTo>
                    <a:lnTo>
                      <a:pt x="141" y="105"/>
                    </a:lnTo>
                    <a:lnTo>
                      <a:pt x="141" y="105"/>
                    </a:lnTo>
                    <a:lnTo>
                      <a:pt x="141" y="100"/>
                    </a:lnTo>
                    <a:lnTo>
                      <a:pt x="141" y="100"/>
                    </a:lnTo>
                    <a:lnTo>
                      <a:pt x="141" y="100"/>
                    </a:lnTo>
                    <a:lnTo>
                      <a:pt x="141" y="100"/>
                    </a:lnTo>
                    <a:lnTo>
                      <a:pt x="141" y="95"/>
                    </a:lnTo>
                    <a:lnTo>
                      <a:pt x="141" y="95"/>
                    </a:lnTo>
                    <a:lnTo>
                      <a:pt x="145" y="95"/>
                    </a:lnTo>
                    <a:lnTo>
                      <a:pt x="145" y="95"/>
                    </a:lnTo>
                    <a:lnTo>
                      <a:pt x="141" y="91"/>
                    </a:lnTo>
                    <a:lnTo>
                      <a:pt x="141" y="91"/>
                    </a:lnTo>
                    <a:lnTo>
                      <a:pt x="141" y="91"/>
                    </a:lnTo>
                    <a:lnTo>
                      <a:pt x="141" y="86"/>
                    </a:lnTo>
                    <a:lnTo>
                      <a:pt x="141" y="82"/>
                    </a:lnTo>
                    <a:lnTo>
                      <a:pt x="145" y="82"/>
                    </a:lnTo>
                    <a:lnTo>
                      <a:pt x="150" y="82"/>
                    </a:lnTo>
                    <a:lnTo>
                      <a:pt x="150" y="82"/>
                    </a:lnTo>
                    <a:lnTo>
                      <a:pt x="154" y="82"/>
                    </a:lnTo>
                    <a:lnTo>
                      <a:pt x="154" y="82"/>
                    </a:lnTo>
                    <a:lnTo>
                      <a:pt x="159" y="77"/>
                    </a:lnTo>
                    <a:lnTo>
                      <a:pt x="150" y="73"/>
                    </a:lnTo>
                    <a:lnTo>
                      <a:pt x="145" y="68"/>
                    </a:lnTo>
                    <a:lnTo>
                      <a:pt x="141" y="68"/>
                    </a:lnTo>
                    <a:lnTo>
                      <a:pt x="136" y="68"/>
                    </a:lnTo>
                    <a:lnTo>
                      <a:pt x="131" y="68"/>
                    </a:lnTo>
                    <a:lnTo>
                      <a:pt x="127" y="68"/>
                    </a:lnTo>
                    <a:lnTo>
                      <a:pt x="127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18" y="77"/>
                    </a:lnTo>
                    <a:lnTo>
                      <a:pt x="113" y="77"/>
                    </a:lnTo>
                    <a:lnTo>
                      <a:pt x="113" y="82"/>
                    </a:lnTo>
                    <a:lnTo>
                      <a:pt x="113" y="82"/>
                    </a:lnTo>
                    <a:lnTo>
                      <a:pt x="113" y="82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3" y="86"/>
                    </a:lnTo>
                    <a:lnTo>
                      <a:pt x="109" y="86"/>
                    </a:lnTo>
                    <a:lnTo>
                      <a:pt x="109" y="91"/>
                    </a:lnTo>
                    <a:lnTo>
                      <a:pt x="100" y="91"/>
                    </a:lnTo>
                    <a:lnTo>
                      <a:pt x="100" y="91"/>
                    </a:lnTo>
                    <a:lnTo>
                      <a:pt x="100" y="95"/>
                    </a:lnTo>
                    <a:lnTo>
                      <a:pt x="95" y="95"/>
                    </a:lnTo>
                    <a:lnTo>
                      <a:pt x="95" y="95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5" y="105"/>
                    </a:lnTo>
                    <a:lnTo>
                      <a:pt x="95" y="105"/>
                    </a:lnTo>
                    <a:lnTo>
                      <a:pt x="95" y="105"/>
                    </a:lnTo>
                    <a:lnTo>
                      <a:pt x="95" y="109"/>
                    </a:lnTo>
                    <a:lnTo>
                      <a:pt x="91" y="109"/>
                    </a:lnTo>
                    <a:lnTo>
                      <a:pt x="86" y="114"/>
                    </a:lnTo>
                    <a:lnTo>
                      <a:pt x="86" y="114"/>
                    </a:lnTo>
                    <a:lnTo>
                      <a:pt x="82" y="123"/>
                    </a:lnTo>
                    <a:lnTo>
                      <a:pt x="77" y="127"/>
                    </a:lnTo>
                    <a:lnTo>
                      <a:pt x="82" y="127"/>
                    </a:lnTo>
                    <a:lnTo>
                      <a:pt x="82" y="132"/>
                    </a:lnTo>
                    <a:lnTo>
                      <a:pt x="82" y="132"/>
                    </a:lnTo>
                    <a:lnTo>
                      <a:pt x="82" y="132"/>
                    </a:lnTo>
                    <a:lnTo>
                      <a:pt x="77" y="132"/>
                    </a:lnTo>
                    <a:lnTo>
                      <a:pt x="59" y="127"/>
                    </a:lnTo>
                    <a:lnTo>
                      <a:pt x="54" y="123"/>
                    </a:lnTo>
                    <a:lnTo>
                      <a:pt x="50" y="123"/>
                    </a:lnTo>
                    <a:lnTo>
                      <a:pt x="36" y="127"/>
                    </a:lnTo>
                    <a:lnTo>
                      <a:pt x="18" y="123"/>
                    </a:lnTo>
                    <a:lnTo>
                      <a:pt x="13" y="118"/>
                    </a:lnTo>
                    <a:lnTo>
                      <a:pt x="9" y="123"/>
                    </a:lnTo>
                    <a:lnTo>
                      <a:pt x="0" y="123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09"/>
                    </a:lnTo>
                    <a:lnTo>
                      <a:pt x="0" y="109"/>
                    </a:lnTo>
                    <a:lnTo>
                      <a:pt x="4" y="105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9" y="100"/>
                    </a:lnTo>
                    <a:lnTo>
                      <a:pt x="13" y="100"/>
                    </a:lnTo>
                    <a:lnTo>
                      <a:pt x="13" y="100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8" y="91"/>
                    </a:lnTo>
                    <a:lnTo>
                      <a:pt x="18" y="91"/>
                    </a:lnTo>
                    <a:lnTo>
                      <a:pt x="23" y="86"/>
                    </a:lnTo>
                    <a:lnTo>
                      <a:pt x="23" y="86"/>
                    </a:lnTo>
                    <a:lnTo>
                      <a:pt x="23" y="77"/>
                    </a:lnTo>
                    <a:lnTo>
                      <a:pt x="27" y="77"/>
                    </a:lnTo>
                    <a:lnTo>
                      <a:pt x="32" y="73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6" y="59"/>
                    </a:lnTo>
                    <a:lnTo>
                      <a:pt x="36" y="55"/>
                    </a:lnTo>
                    <a:lnTo>
                      <a:pt x="41" y="55"/>
                    </a:lnTo>
                    <a:lnTo>
                      <a:pt x="45" y="50"/>
                    </a:lnTo>
                    <a:lnTo>
                      <a:pt x="50" y="50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9" y="46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63" y="41"/>
                    </a:lnTo>
                    <a:lnTo>
                      <a:pt x="63" y="41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72" y="36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72" y="23"/>
                    </a:lnTo>
                    <a:lnTo>
                      <a:pt x="72" y="23"/>
                    </a:lnTo>
                    <a:lnTo>
                      <a:pt x="77" y="23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2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0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6" y="9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86" y="18"/>
                    </a:lnTo>
                    <a:lnTo>
                      <a:pt x="86" y="23"/>
                    </a:lnTo>
                    <a:lnTo>
                      <a:pt x="86" y="23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41"/>
                    </a:lnTo>
                    <a:lnTo>
                      <a:pt x="86" y="41"/>
                    </a:lnTo>
                    <a:lnTo>
                      <a:pt x="86" y="41"/>
                    </a:lnTo>
                    <a:lnTo>
                      <a:pt x="86" y="41"/>
                    </a:lnTo>
                    <a:lnTo>
                      <a:pt x="86" y="46"/>
                    </a:lnTo>
                    <a:lnTo>
                      <a:pt x="91" y="41"/>
                    </a:lnTo>
                    <a:lnTo>
                      <a:pt x="91" y="41"/>
                    </a:lnTo>
                    <a:lnTo>
                      <a:pt x="95" y="41"/>
                    </a:lnTo>
                    <a:lnTo>
                      <a:pt x="95" y="46"/>
                    </a:lnTo>
                    <a:lnTo>
                      <a:pt x="95" y="46"/>
                    </a:lnTo>
                    <a:lnTo>
                      <a:pt x="100" y="55"/>
                    </a:lnTo>
                    <a:lnTo>
                      <a:pt x="100" y="55"/>
                    </a:lnTo>
                    <a:lnTo>
                      <a:pt x="100" y="59"/>
                    </a:lnTo>
                    <a:lnTo>
                      <a:pt x="100" y="59"/>
                    </a:lnTo>
                    <a:lnTo>
                      <a:pt x="104" y="59"/>
                    </a:lnTo>
                    <a:lnTo>
                      <a:pt x="104" y="59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09" y="59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13" y="55"/>
                    </a:lnTo>
                    <a:lnTo>
                      <a:pt x="113" y="55"/>
                    </a:lnTo>
                    <a:lnTo>
                      <a:pt x="113" y="55"/>
                    </a:lnTo>
                    <a:lnTo>
                      <a:pt x="113" y="55"/>
                    </a:lnTo>
                    <a:lnTo>
                      <a:pt x="113" y="50"/>
                    </a:lnTo>
                    <a:lnTo>
                      <a:pt x="113" y="50"/>
                    </a:lnTo>
                    <a:lnTo>
                      <a:pt x="113" y="46"/>
                    </a:lnTo>
                    <a:lnTo>
                      <a:pt x="113" y="41"/>
                    </a:lnTo>
                    <a:lnTo>
                      <a:pt x="118" y="32"/>
                    </a:lnTo>
                    <a:lnTo>
                      <a:pt x="118" y="32"/>
                    </a:lnTo>
                    <a:lnTo>
                      <a:pt x="118" y="27"/>
                    </a:lnTo>
                    <a:lnTo>
                      <a:pt x="118" y="27"/>
                    </a:lnTo>
                    <a:lnTo>
                      <a:pt x="118" y="27"/>
                    </a:lnTo>
                    <a:lnTo>
                      <a:pt x="122" y="32"/>
                    </a:lnTo>
                    <a:lnTo>
                      <a:pt x="127" y="32"/>
                    </a:lnTo>
                    <a:lnTo>
                      <a:pt x="127" y="32"/>
                    </a:lnTo>
                    <a:lnTo>
                      <a:pt x="127" y="36"/>
                    </a:lnTo>
                    <a:lnTo>
                      <a:pt x="131" y="36"/>
                    </a:lnTo>
                    <a:lnTo>
                      <a:pt x="131" y="36"/>
                    </a:lnTo>
                    <a:lnTo>
                      <a:pt x="136" y="36"/>
                    </a:lnTo>
                    <a:lnTo>
                      <a:pt x="150" y="36"/>
                    </a:lnTo>
                    <a:lnTo>
                      <a:pt x="154" y="32"/>
                    </a:lnTo>
                    <a:lnTo>
                      <a:pt x="163" y="32"/>
                    </a:lnTo>
                    <a:lnTo>
                      <a:pt x="163" y="32"/>
                    </a:lnTo>
                    <a:lnTo>
                      <a:pt x="163" y="32"/>
                    </a:lnTo>
                    <a:lnTo>
                      <a:pt x="163" y="36"/>
                    </a:lnTo>
                    <a:lnTo>
                      <a:pt x="163" y="36"/>
                    </a:lnTo>
                    <a:lnTo>
                      <a:pt x="168" y="36"/>
                    </a:lnTo>
                    <a:lnTo>
                      <a:pt x="168" y="41"/>
                    </a:lnTo>
                    <a:lnTo>
                      <a:pt x="168" y="41"/>
                    </a:lnTo>
                    <a:lnTo>
                      <a:pt x="168" y="41"/>
                    </a:lnTo>
                    <a:lnTo>
                      <a:pt x="168" y="46"/>
                    </a:lnTo>
                    <a:lnTo>
                      <a:pt x="168" y="46"/>
                    </a:lnTo>
                    <a:lnTo>
                      <a:pt x="168" y="46"/>
                    </a:lnTo>
                    <a:lnTo>
                      <a:pt x="168" y="46"/>
                    </a:lnTo>
                    <a:lnTo>
                      <a:pt x="163" y="50"/>
                    </a:lnTo>
                    <a:lnTo>
                      <a:pt x="163" y="50"/>
                    </a:lnTo>
                    <a:lnTo>
                      <a:pt x="163" y="55"/>
                    </a:lnTo>
                    <a:lnTo>
                      <a:pt x="163" y="55"/>
                    </a:lnTo>
                    <a:lnTo>
                      <a:pt x="163" y="59"/>
                    </a:lnTo>
                    <a:lnTo>
                      <a:pt x="168" y="64"/>
                    </a:lnTo>
                    <a:lnTo>
                      <a:pt x="168" y="64"/>
                    </a:lnTo>
                    <a:lnTo>
                      <a:pt x="168" y="64"/>
                    </a:lnTo>
                    <a:lnTo>
                      <a:pt x="168" y="64"/>
                    </a:lnTo>
                    <a:lnTo>
                      <a:pt x="172" y="68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2" name="Freeform 30"/>
              <p:cNvSpPr>
                <a:spLocks/>
              </p:cNvSpPr>
              <p:nvPr/>
            </p:nvSpPr>
            <p:spPr bwMode="auto">
              <a:xfrm>
                <a:off x="2844801" y="2398713"/>
                <a:ext cx="165100" cy="136525"/>
              </a:xfrm>
              <a:custGeom>
                <a:avLst/>
                <a:gdLst>
                  <a:gd name="T0" fmla="*/ 32 w 104"/>
                  <a:gd name="T1" fmla="*/ 0 h 86"/>
                  <a:gd name="T2" fmla="*/ 27 w 104"/>
                  <a:gd name="T3" fmla="*/ 13 h 86"/>
                  <a:gd name="T4" fmla="*/ 41 w 104"/>
                  <a:gd name="T5" fmla="*/ 27 h 86"/>
                  <a:gd name="T6" fmla="*/ 59 w 104"/>
                  <a:gd name="T7" fmla="*/ 27 h 86"/>
                  <a:gd name="T8" fmla="*/ 68 w 104"/>
                  <a:gd name="T9" fmla="*/ 18 h 86"/>
                  <a:gd name="T10" fmla="*/ 72 w 104"/>
                  <a:gd name="T11" fmla="*/ 13 h 86"/>
                  <a:gd name="T12" fmla="*/ 72 w 104"/>
                  <a:gd name="T13" fmla="*/ 9 h 86"/>
                  <a:gd name="T14" fmla="*/ 91 w 104"/>
                  <a:gd name="T15" fmla="*/ 0 h 86"/>
                  <a:gd name="T16" fmla="*/ 100 w 104"/>
                  <a:gd name="T17" fmla="*/ 4 h 86"/>
                  <a:gd name="T18" fmla="*/ 104 w 104"/>
                  <a:gd name="T19" fmla="*/ 27 h 86"/>
                  <a:gd name="T20" fmla="*/ 104 w 104"/>
                  <a:gd name="T21" fmla="*/ 45 h 86"/>
                  <a:gd name="T22" fmla="*/ 100 w 104"/>
                  <a:gd name="T23" fmla="*/ 50 h 86"/>
                  <a:gd name="T24" fmla="*/ 95 w 104"/>
                  <a:gd name="T25" fmla="*/ 54 h 86"/>
                  <a:gd name="T26" fmla="*/ 95 w 104"/>
                  <a:gd name="T27" fmla="*/ 59 h 86"/>
                  <a:gd name="T28" fmla="*/ 91 w 104"/>
                  <a:gd name="T29" fmla="*/ 68 h 86"/>
                  <a:gd name="T30" fmla="*/ 86 w 104"/>
                  <a:gd name="T31" fmla="*/ 72 h 86"/>
                  <a:gd name="T32" fmla="*/ 77 w 104"/>
                  <a:gd name="T33" fmla="*/ 72 h 86"/>
                  <a:gd name="T34" fmla="*/ 63 w 104"/>
                  <a:gd name="T35" fmla="*/ 68 h 86"/>
                  <a:gd name="T36" fmla="*/ 59 w 104"/>
                  <a:gd name="T37" fmla="*/ 68 h 86"/>
                  <a:gd name="T38" fmla="*/ 54 w 104"/>
                  <a:gd name="T39" fmla="*/ 68 h 86"/>
                  <a:gd name="T40" fmla="*/ 54 w 104"/>
                  <a:gd name="T41" fmla="*/ 68 h 86"/>
                  <a:gd name="T42" fmla="*/ 54 w 104"/>
                  <a:gd name="T43" fmla="*/ 63 h 86"/>
                  <a:gd name="T44" fmla="*/ 45 w 104"/>
                  <a:gd name="T45" fmla="*/ 68 h 86"/>
                  <a:gd name="T46" fmla="*/ 41 w 104"/>
                  <a:gd name="T47" fmla="*/ 68 h 86"/>
                  <a:gd name="T48" fmla="*/ 32 w 104"/>
                  <a:gd name="T49" fmla="*/ 77 h 86"/>
                  <a:gd name="T50" fmla="*/ 27 w 104"/>
                  <a:gd name="T51" fmla="*/ 77 h 86"/>
                  <a:gd name="T52" fmla="*/ 27 w 104"/>
                  <a:gd name="T53" fmla="*/ 81 h 86"/>
                  <a:gd name="T54" fmla="*/ 23 w 104"/>
                  <a:gd name="T55" fmla="*/ 86 h 86"/>
                  <a:gd name="T56" fmla="*/ 18 w 104"/>
                  <a:gd name="T57" fmla="*/ 86 h 86"/>
                  <a:gd name="T58" fmla="*/ 18 w 104"/>
                  <a:gd name="T59" fmla="*/ 81 h 86"/>
                  <a:gd name="T60" fmla="*/ 13 w 104"/>
                  <a:gd name="T61" fmla="*/ 77 h 86"/>
                  <a:gd name="T62" fmla="*/ 9 w 104"/>
                  <a:gd name="T63" fmla="*/ 77 h 86"/>
                  <a:gd name="T64" fmla="*/ 4 w 104"/>
                  <a:gd name="T65" fmla="*/ 81 h 86"/>
                  <a:gd name="T66" fmla="*/ 4 w 104"/>
                  <a:gd name="T67" fmla="*/ 86 h 86"/>
                  <a:gd name="T68" fmla="*/ 0 w 104"/>
                  <a:gd name="T69" fmla="*/ 77 h 86"/>
                  <a:gd name="T70" fmla="*/ 0 w 104"/>
                  <a:gd name="T71" fmla="*/ 72 h 86"/>
                  <a:gd name="T72" fmla="*/ 0 w 104"/>
                  <a:gd name="T73" fmla="*/ 63 h 86"/>
                  <a:gd name="T74" fmla="*/ 0 w 104"/>
                  <a:gd name="T75" fmla="*/ 54 h 86"/>
                  <a:gd name="T76" fmla="*/ 0 w 104"/>
                  <a:gd name="T77" fmla="*/ 45 h 86"/>
                  <a:gd name="T78" fmla="*/ 4 w 104"/>
                  <a:gd name="T79" fmla="*/ 36 h 86"/>
                  <a:gd name="T80" fmla="*/ 4 w 104"/>
                  <a:gd name="T81" fmla="*/ 32 h 86"/>
                  <a:gd name="T82" fmla="*/ 4 w 104"/>
                  <a:gd name="T83" fmla="*/ 27 h 86"/>
                  <a:gd name="T84" fmla="*/ 9 w 104"/>
                  <a:gd name="T85" fmla="*/ 18 h 86"/>
                  <a:gd name="T86" fmla="*/ 13 w 104"/>
                  <a:gd name="T87" fmla="*/ 9 h 86"/>
                  <a:gd name="T88" fmla="*/ 18 w 104"/>
                  <a:gd name="T89" fmla="*/ 0 h 86"/>
                  <a:gd name="T90" fmla="*/ 23 w 104"/>
                  <a:gd name="T91" fmla="*/ 0 h 86"/>
                  <a:gd name="T92" fmla="*/ 27 w 104"/>
                  <a:gd name="T93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4" h="86">
                    <a:moveTo>
                      <a:pt x="27" y="0"/>
                    </a:moveTo>
                    <a:lnTo>
                      <a:pt x="27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7" y="9"/>
                    </a:lnTo>
                    <a:lnTo>
                      <a:pt x="27" y="13"/>
                    </a:lnTo>
                    <a:lnTo>
                      <a:pt x="32" y="18"/>
                    </a:lnTo>
                    <a:lnTo>
                      <a:pt x="32" y="23"/>
                    </a:lnTo>
                    <a:lnTo>
                      <a:pt x="41" y="27"/>
                    </a:lnTo>
                    <a:lnTo>
                      <a:pt x="45" y="27"/>
                    </a:lnTo>
                    <a:lnTo>
                      <a:pt x="54" y="27"/>
                    </a:lnTo>
                    <a:lnTo>
                      <a:pt x="59" y="27"/>
                    </a:lnTo>
                    <a:lnTo>
                      <a:pt x="63" y="27"/>
                    </a:lnTo>
                    <a:lnTo>
                      <a:pt x="68" y="23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72" y="9"/>
                    </a:lnTo>
                    <a:lnTo>
                      <a:pt x="72" y="9"/>
                    </a:lnTo>
                    <a:lnTo>
                      <a:pt x="72" y="4"/>
                    </a:lnTo>
                    <a:lnTo>
                      <a:pt x="81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5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9"/>
                    </a:lnTo>
                    <a:lnTo>
                      <a:pt x="104" y="27"/>
                    </a:lnTo>
                    <a:lnTo>
                      <a:pt x="104" y="41"/>
                    </a:lnTo>
                    <a:lnTo>
                      <a:pt x="104" y="41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0" y="50"/>
                    </a:lnTo>
                    <a:lnTo>
                      <a:pt x="100" y="50"/>
                    </a:lnTo>
                    <a:lnTo>
                      <a:pt x="100" y="54"/>
                    </a:lnTo>
                    <a:lnTo>
                      <a:pt x="95" y="54"/>
                    </a:lnTo>
                    <a:lnTo>
                      <a:pt x="95" y="54"/>
                    </a:lnTo>
                    <a:lnTo>
                      <a:pt x="95" y="59"/>
                    </a:lnTo>
                    <a:lnTo>
                      <a:pt x="95" y="59"/>
                    </a:lnTo>
                    <a:lnTo>
                      <a:pt x="95" y="59"/>
                    </a:lnTo>
                    <a:lnTo>
                      <a:pt x="95" y="63"/>
                    </a:lnTo>
                    <a:lnTo>
                      <a:pt x="95" y="63"/>
                    </a:lnTo>
                    <a:lnTo>
                      <a:pt x="91" y="68"/>
                    </a:lnTo>
                    <a:lnTo>
                      <a:pt x="91" y="68"/>
                    </a:lnTo>
                    <a:lnTo>
                      <a:pt x="91" y="72"/>
                    </a:lnTo>
                    <a:lnTo>
                      <a:pt x="86" y="72"/>
                    </a:lnTo>
                    <a:lnTo>
                      <a:pt x="86" y="77"/>
                    </a:lnTo>
                    <a:lnTo>
                      <a:pt x="81" y="72"/>
                    </a:lnTo>
                    <a:lnTo>
                      <a:pt x="77" y="72"/>
                    </a:lnTo>
                    <a:lnTo>
                      <a:pt x="68" y="72"/>
                    </a:lnTo>
                    <a:lnTo>
                      <a:pt x="68" y="68"/>
                    </a:lnTo>
                    <a:lnTo>
                      <a:pt x="63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3"/>
                    </a:lnTo>
                    <a:lnTo>
                      <a:pt x="54" y="63"/>
                    </a:lnTo>
                    <a:lnTo>
                      <a:pt x="54" y="63"/>
                    </a:lnTo>
                    <a:lnTo>
                      <a:pt x="45" y="68"/>
                    </a:lnTo>
                    <a:lnTo>
                      <a:pt x="45" y="68"/>
                    </a:lnTo>
                    <a:lnTo>
                      <a:pt x="45" y="68"/>
                    </a:lnTo>
                    <a:lnTo>
                      <a:pt x="41" y="68"/>
                    </a:lnTo>
                    <a:lnTo>
                      <a:pt x="41" y="68"/>
                    </a:lnTo>
                    <a:lnTo>
                      <a:pt x="41" y="68"/>
                    </a:lnTo>
                    <a:lnTo>
                      <a:pt x="32" y="72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7" y="81"/>
                    </a:lnTo>
                    <a:lnTo>
                      <a:pt x="27" y="81"/>
                    </a:lnTo>
                    <a:lnTo>
                      <a:pt x="27" y="81"/>
                    </a:lnTo>
                    <a:lnTo>
                      <a:pt x="27" y="81"/>
                    </a:lnTo>
                    <a:lnTo>
                      <a:pt x="23" y="81"/>
                    </a:lnTo>
                    <a:lnTo>
                      <a:pt x="23" y="86"/>
                    </a:lnTo>
                    <a:lnTo>
                      <a:pt x="18" y="86"/>
                    </a:lnTo>
                    <a:lnTo>
                      <a:pt x="18" y="86"/>
                    </a:lnTo>
                    <a:lnTo>
                      <a:pt x="18" y="86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8" y="77"/>
                    </a:lnTo>
                    <a:lnTo>
                      <a:pt x="13" y="77"/>
                    </a:lnTo>
                    <a:lnTo>
                      <a:pt x="13" y="77"/>
                    </a:lnTo>
                    <a:lnTo>
                      <a:pt x="9" y="77"/>
                    </a:lnTo>
                    <a:lnTo>
                      <a:pt x="9" y="77"/>
                    </a:lnTo>
                    <a:lnTo>
                      <a:pt x="4" y="77"/>
                    </a:lnTo>
                    <a:lnTo>
                      <a:pt x="4" y="81"/>
                    </a:lnTo>
                    <a:lnTo>
                      <a:pt x="4" y="81"/>
                    </a:lnTo>
                    <a:lnTo>
                      <a:pt x="4" y="81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0" y="81"/>
                    </a:lnTo>
                    <a:lnTo>
                      <a:pt x="0" y="81"/>
                    </a:lnTo>
                    <a:lnTo>
                      <a:pt x="0" y="77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3"/>
                    </a:lnTo>
                    <a:lnTo>
                      <a:pt x="0" y="59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0" y="41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3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3"/>
                    </a:lnTo>
                    <a:lnTo>
                      <a:pt x="13" y="9"/>
                    </a:lnTo>
                    <a:lnTo>
                      <a:pt x="13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7" y="0"/>
                    </a:lnTo>
                    <a:lnTo>
                      <a:pt x="27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3" name="Freeform 31"/>
              <p:cNvSpPr>
                <a:spLocks noEditPoints="1"/>
              </p:cNvSpPr>
              <p:nvPr/>
            </p:nvSpPr>
            <p:spPr bwMode="auto">
              <a:xfrm>
                <a:off x="3284538" y="641350"/>
                <a:ext cx="985838" cy="857250"/>
              </a:xfrm>
              <a:custGeom>
                <a:avLst/>
                <a:gdLst>
                  <a:gd name="T0" fmla="*/ 0 w 621"/>
                  <a:gd name="T1" fmla="*/ 522 h 540"/>
                  <a:gd name="T2" fmla="*/ 607 w 621"/>
                  <a:gd name="T3" fmla="*/ 259 h 540"/>
                  <a:gd name="T4" fmla="*/ 589 w 621"/>
                  <a:gd name="T5" fmla="*/ 277 h 540"/>
                  <a:gd name="T6" fmla="*/ 571 w 621"/>
                  <a:gd name="T7" fmla="*/ 272 h 540"/>
                  <a:gd name="T8" fmla="*/ 567 w 621"/>
                  <a:gd name="T9" fmla="*/ 250 h 540"/>
                  <a:gd name="T10" fmla="*/ 544 w 621"/>
                  <a:gd name="T11" fmla="*/ 213 h 540"/>
                  <a:gd name="T12" fmla="*/ 562 w 621"/>
                  <a:gd name="T13" fmla="*/ 173 h 540"/>
                  <a:gd name="T14" fmla="*/ 562 w 621"/>
                  <a:gd name="T15" fmla="*/ 141 h 540"/>
                  <a:gd name="T16" fmla="*/ 512 w 621"/>
                  <a:gd name="T17" fmla="*/ 195 h 540"/>
                  <a:gd name="T18" fmla="*/ 467 w 621"/>
                  <a:gd name="T19" fmla="*/ 177 h 540"/>
                  <a:gd name="T20" fmla="*/ 453 w 621"/>
                  <a:gd name="T21" fmla="*/ 177 h 540"/>
                  <a:gd name="T22" fmla="*/ 421 w 621"/>
                  <a:gd name="T23" fmla="*/ 177 h 540"/>
                  <a:gd name="T24" fmla="*/ 421 w 621"/>
                  <a:gd name="T25" fmla="*/ 168 h 540"/>
                  <a:gd name="T26" fmla="*/ 367 w 621"/>
                  <a:gd name="T27" fmla="*/ 136 h 540"/>
                  <a:gd name="T28" fmla="*/ 267 w 621"/>
                  <a:gd name="T29" fmla="*/ 23 h 540"/>
                  <a:gd name="T30" fmla="*/ 240 w 621"/>
                  <a:gd name="T31" fmla="*/ 5 h 540"/>
                  <a:gd name="T32" fmla="*/ 222 w 621"/>
                  <a:gd name="T33" fmla="*/ 9 h 540"/>
                  <a:gd name="T34" fmla="*/ 213 w 621"/>
                  <a:gd name="T35" fmla="*/ 32 h 540"/>
                  <a:gd name="T36" fmla="*/ 222 w 621"/>
                  <a:gd name="T37" fmla="*/ 159 h 540"/>
                  <a:gd name="T38" fmla="*/ 199 w 621"/>
                  <a:gd name="T39" fmla="*/ 222 h 540"/>
                  <a:gd name="T40" fmla="*/ 195 w 621"/>
                  <a:gd name="T41" fmla="*/ 259 h 540"/>
                  <a:gd name="T42" fmla="*/ 181 w 621"/>
                  <a:gd name="T43" fmla="*/ 313 h 540"/>
                  <a:gd name="T44" fmla="*/ 158 w 621"/>
                  <a:gd name="T45" fmla="*/ 299 h 540"/>
                  <a:gd name="T46" fmla="*/ 113 w 621"/>
                  <a:gd name="T47" fmla="*/ 286 h 540"/>
                  <a:gd name="T48" fmla="*/ 95 w 621"/>
                  <a:gd name="T49" fmla="*/ 299 h 540"/>
                  <a:gd name="T50" fmla="*/ 108 w 621"/>
                  <a:gd name="T51" fmla="*/ 336 h 540"/>
                  <a:gd name="T52" fmla="*/ 86 w 621"/>
                  <a:gd name="T53" fmla="*/ 358 h 540"/>
                  <a:gd name="T54" fmla="*/ 68 w 621"/>
                  <a:gd name="T55" fmla="*/ 372 h 540"/>
                  <a:gd name="T56" fmla="*/ 45 w 621"/>
                  <a:gd name="T57" fmla="*/ 426 h 540"/>
                  <a:gd name="T58" fmla="*/ 77 w 621"/>
                  <a:gd name="T59" fmla="*/ 458 h 540"/>
                  <a:gd name="T60" fmla="*/ 77 w 621"/>
                  <a:gd name="T61" fmla="*/ 481 h 540"/>
                  <a:gd name="T62" fmla="*/ 63 w 621"/>
                  <a:gd name="T63" fmla="*/ 513 h 540"/>
                  <a:gd name="T64" fmla="*/ 77 w 621"/>
                  <a:gd name="T65" fmla="*/ 535 h 540"/>
                  <a:gd name="T66" fmla="*/ 108 w 621"/>
                  <a:gd name="T67" fmla="*/ 504 h 540"/>
                  <a:gd name="T68" fmla="*/ 136 w 621"/>
                  <a:gd name="T69" fmla="*/ 485 h 540"/>
                  <a:gd name="T70" fmla="*/ 167 w 621"/>
                  <a:gd name="T71" fmla="*/ 495 h 540"/>
                  <a:gd name="T72" fmla="*/ 163 w 621"/>
                  <a:gd name="T73" fmla="*/ 472 h 540"/>
                  <a:gd name="T74" fmla="*/ 122 w 621"/>
                  <a:gd name="T75" fmla="*/ 445 h 540"/>
                  <a:gd name="T76" fmla="*/ 104 w 621"/>
                  <a:gd name="T77" fmla="*/ 390 h 540"/>
                  <a:gd name="T78" fmla="*/ 158 w 621"/>
                  <a:gd name="T79" fmla="*/ 413 h 540"/>
                  <a:gd name="T80" fmla="*/ 163 w 621"/>
                  <a:gd name="T81" fmla="*/ 422 h 540"/>
                  <a:gd name="T82" fmla="*/ 204 w 621"/>
                  <a:gd name="T83" fmla="*/ 386 h 540"/>
                  <a:gd name="T84" fmla="*/ 285 w 621"/>
                  <a:gd name="T85" fmla="*/ 408 h 540"/>
                  <a:gd name="T86" fmla="*/ 381 w 621"/>
                  <a:gd name="T87" fmla="*/ 463 h 540"/>
                  <a:gd name="T88" fmla="*/ 399 w 621"/>
                  <a:gd name="T89" fmla="*/ 395 h 540"/>
                  <a:gd name="T90" fmla="*/ 485 w 621"/>
                  <a:gd name="T91" fmla="*/ 322 h 540"/>
                  <a:gd name="T92" fmla="*/ 521 w 621"/>
                  <a:gd name="T93" fmla="*/ 318 h 540"/>
                  <a:gd name="T94" fmla="*/ 530 w 621"/>
                  <a:gd name="T95" fmla="*/ 309 h 540"/>
                  <a:gd name="T96" fmla="*/ 544 w 621"/>
                  <a:gd name="T97" fmla="*/ 309 h 540"/>
                  <a:gd name="T98" fmla="*/ 558 w 621"/>
                  <a:gd name="T99" fmla="*/ 304 h 540"/>
                  <a:gd name="T100" fmla="*/ 589 w 621"/>
                  <a:gd name="T101" fmla="*/ 290 h 540"/>
                  <a:gd name="T102" fmla="*/ 603 w 621"/>
                  <a:gd name="T103" fmla="*/ 272 h 540"/>
                  <a:gd name="T104" fmla="*/ 621 w 621"/>
                  <a:gd name="T105" fmla="*/ 263 h 540"/>
                  <a:gd name="T106" fmla="*/ 430 w 621"/>
                  <a:gd name="T107" fmla="*/ 168 h 540"/>
                  <a:gd name="T108" fmla="*/ 571 w 621"/>
                  <a:gd name="T109" fmla="*/ 241 h 540"/>
                  <a:gd name="T110" fmla="*/ 567 w 621"/>
                  <a:gd name="T111" fmla="*/ 245 h 540"/>
                  <a:gd name="T112" fmla="*/ 172 w 621"/>
                  <a:gd name="T113" fmla="*/ 36 h 540"/>
                  <a:gd name="T114" fmla="*/ 181 w 621"/>
                  <a:gd name="T115" fmla="*/ 55 h 540"/>
                  <a:gd name="T116" fmla="*/ 158 w 621"/>
                  <a:gd name="T117" fmla="*/ 9 h 540"/>
                  <a:gd name="T118" fmla="*/ 163 w 621"/>
                  <a:gd name="T119" fmla="*/ 32 h 540"/>
                  <a:gd name="T120" fmla="*/ 13 w 621"/>
                  <a:gd name="T121" fmla="*/ 431 h 540"/>
                  <a:gd name="T122" fmla="*/ 18 w 621"/>
                  <a:gd name="T123" fmla="*/ 449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21" h="540">
                    <a:moveTo>
                      <a:pt x="4" y="522"/>
                    </a:moveTo>
                    <a:lnTo>
                      <a:pt x="4" y="522"/>
                    </a:lnTo>
                    <a:lnTo>
                      <a:pt x="4" y="522"/>
                    </a:lnTo>
                    <a:lnTo>
                      <a:pt x="4" y="526"/>
                    </a:lnTo>
                    <a:lnTo>
                      <a:pt x="4" y="526"/>
                    </a:lnTo>
                    <a:lnTo>
                      <a:pt x="0" y="526"/>
                    </a:lnTo>
                    <a:lnTo>
                      <a:pt x="0" y="526"/>
                    </a:lnTo>
                    <a:lnTo>
                      <a:pt x="0" y="526"/>
                    </a:lnTo>
                    <a:lnTo>
                      <a:pt x="0" y="522"/>
                    </a:lnTo>
                    <a:lnTo>
                      <a:pt x="0" y="522"/>
                    </a:lnTo>
                    <a:lnTo>
                      <a:pt x="0" y="522"/>
                    </a:lnTo>
                    <a:lnTo>
                      <a:pt x="0" y="522"/>
                    </a:lnTo>
                    <a:lnTo>
                      <a:pt x="4" y="522"/>
                    </a:lnTo>
                    <a:moveTo>
                      <a:pt x="616" y="259"/>
                    </a:moveTo>
                    <a:lnTo>
                      <a:pt x="616" y="259"/>
                    </a:lnTo>
                    <a:lnTo>
                      <a:pt x="616" y="259"/>
                    </a:lnTo>
                    <a:lnTo>
                      <a:pt x="616" y="259"/>
                    </a:lnTo>
                    <a:lnTo>
                      <a:pt x="616" y="259"/>
                    </a:lnTo>
                    <a:lnTo>
                      <a:pt x="612" y="259"/>
                    </a:lnTo>
                    <a:lnTo>
                      <a:pt x="612" y="259"/>
                    </a:lnTo>
                    <a:lnTo>
                      <a:pt x="612" y="259"/>
                    </a:lnTo>
                    <a:lnTo>
                      <a:pt x="612" y="259"/>
                    </a:lnTo>
                    <a:lnTo>
                      <a:pt x="612" y="259"/>
                    </a:lnTo>
                    <a:lnTo>
                      <a:pt x="607" y="259"/>
                    </a:lnTo>
                    <a:lnTo>
                      <a:pt x="603" y="259"/>
                    </a:lnTo>
                    <a:lnTo>
                      <a:pt x="603" y="263"/>
                    </a:lnTo>
                    <a:lnTo>
                      <a:pt x="603" y="263"/>
                    </a:lnTo>
                    <a:lnTo>
                      <a:pt x="603" y="263"/>
                    </a:lnTo>
                    <a:lnTo>
                      <a:pt x="603" y="263"/>
                    </a:lnTo>
                    <a:lnTo>
                      <a:pt x="603" y="263"/>
                    </a:lnTo>
                    <a:lnTo>
                      <a:pt x="598" y="268"/>
                    </a:lnTo>
                    <a:lnTo>
                      <a:pt x="598" y="268"/>
                    </a:lnTo>
                    <a:lnTo>
                      <a:pt x="594" y="272"/>
                    </a:lnTo>
                    <a:lnTo>
                      <a:pt x="589" y="277"/>
                    </a:lnTo>
                    <a:lnTo>
                      <a:pt x="589" y="277"/>
                    </a:lnTo>
                    <a:lnTo>
                      <a:pt x="589" y="277"/>
                    </a:lnTo>
                    <a:lnTo>
                      <a:pt x="594" y="277"/>
                    </a:lnTo>
                    <a:lnTo>
                      <a:pt x="594" y="281"/>
                    </a:lnTo>
                    <a:lnTo>
                      <a:pt x="594" y="281"/>
                    </a:lnTo>
                    <a:lnTo>
                      <a:pt x="589" y="281"/>
                    </a:lnTo>
                    <a:lnTo>
                      <a:pt x="589" y="277"/>
                    </a:lnTo>
                    <a:lnTo>
                      <a:pt x="580" y="277"/>
                    </a:lnTo>
                    <a:lnTo>
                      <a:pt x="576" y="277"/>
                    </a:lnTo>
                    <a:lnTo>
                      <a:pt x="576" y="277"/>
                    </a:lnTo>
                    <a:lnTo>
                      <a:pt x="571" y="277"/>
                    </a:lnTo>
                    <a:lnTo>
                      <a:pt x="571" y="272"/>
                    </a:lnTo>
                    <a:lnTo>
                      <a:pt x="571" y="272"/>
                    </a:lnTo>
                    <a:lnTo>
                      <a:pt x="571" y="272"/>
                    </a:lnTo>
                    <a:lnTo>
                      <a:pt x="571" y="272"/>
                    </a:lnTo>
                    <a:lnTo>
                      <a:pt x="567" y="272"/>
                    </a:lnTo>
                    <a:lnTo>
                      <a:pt x="567" y="272"/>
                    </a:lnTo>
                    <a:lnTo>
                      <a:pt x="567" y="268"/>
                    </a:lnTo>
                    <a:lnTo>
                      <a:pt x="567" y="268"/>
                    </a:lnTo>
                    <a:lnTo>
                      <a:pt x="571" y="268"/>
                    </a:lnTo>
                    <a:lnTo>
                      <a:pt x="576" y="272"/>
                    </a:lnTo>
                    <a:lnTo>
                      <a:pt x="580" y="272"/>
                    </a:lnTo>
                    <a:lnTo>
                      <a:pt x="576" y="268"/>
                    </a:lnTo>
                    <a:lnTo>
                      <a:pt x="571" y="263"/>
                    </a:lnTo>
                    <a:lnTo>
                      <a:pt x="571" y="259"/>
                    </a:lnTo>
                    <a:lnTo>
                      <a:pt x="567" y="250"/>
                    </a:lnTo>
                    <a:lnTo>
                      <a:pt x="567" y="245"/>
                    </a:lnTo>
                    <a:lnTo>
                      <a:pt x="567" y="245"/>
                    </a:lnTo>
                    <a:lnTo>
                      <a:pt x="562" y="245"/>
                    </a:lnTo>
                    <a:lnTo>
                      <a:pt x="562" y="241"/>
                    </a:lnTo>
                    <a:lnTo>
                      <a:pt x="562" y="241"/>
                    </a:lnTo>
                    <a:lnTo>
                      <a:pt x="562" y="236"/>
                    </a:lnTo>
                    <a:lnTo>
                      <a:pt x="562" y="236"/>
                    </a:lnTo>
                    <a:lnTo>
                      <a:pt x="558" y="231"/>
                    </a:lnTo>
                    <a:lnTo>
                      <a:pt x="553" y="227"/>
                    </a:lnTo>
                    <a:lnTo>
                      <a:pt x="548" y="222"/>
                    </a:lnTo>
                    <a:lnTo>
                      <a:pt x="548" y="218"/>
                    </a:lnTo>
                    <a:lnTo>
                      <a:pt x="544" y="213"/>
                    </a:lnTo>
                    <a:lnTo>
                      <a:pt x="544" y="213"/>
                    </a:lnTo>
                    <a:lnTo>
                      <a:pt x="544" y="213"/>
                    </a:lnTo>
                    <a:lnTo>
                      <a:pt x="548" y="209"/>
                    </a:lnTo>
                    <a:lnTo>
                      <a:pt x="548" y="209"/>
                    </a:lnTo>
                    <a:lnTo>
                      <a:pt x="548" y="204"/>
                    </a:lnTo>
                    <a:lnTo>
                      <a:pt x="548" y="200"/>
                    </a:lnTo>
                    <a:lnTo>
                      <a:pt x="548" y="200"/>
                    </a:lnTo>
                    <a:lnTo>
                      <a:pt x="548" y="195"/>
                    </a:lnTo>
                    <a:lnTo>
                      <a:pt x="553" y="191"/>
                    </a:lnTo>
                    <a:lnTo>
                      <a:pt x="553" y="186"/>
                    </a:lnTo>
                    <a:lnTo>
                      <a:pt x="562" y="173"/>
                    </a:lnTo>
                    <a:lnTo>
                      <a:pt x="562" y="173"/>
                    </a:lnTo>
                    <a:lnTo>
                      <a:pt x="562" y="163"/>
                    </a:lnTo>
                    <a:lnTo>
                      <a:pt x="562" y="163"/>
                    </a:lnTo>
                    <a:lnTo>
                      <a:pt x="567" y="154"/>
                    </a:lnTo>
                    <a:lnTo>
                      <a:pt x="571" y="150"/>
                    </a:lnTo>
                    <a:lnTo>
                      <a:pt x="571" y="145"/>
                    </a:lnTo>
                    <a:lnTo>
                      <a:pt x="571" y="141"/>
                    </a:lnTo>
                    <a:lnTo>
                      <a:pt x="567" y="141"/>
                    </a:lnTo>
                    <a:lnTo>
                      <a:pt x="567" y="136"/>
                    </a:lnTo>
                    <a:lnTo>
                      <a:pt x="567" y="136"/>
                    </a:lnTo>
                    <a:lnTo>
                      <a:pt x="567" y="136"/>
                    </a:lnTo>
                    <a:lnTo>
                      <a:pt x="562" y="141"/>
                    </a:lnTo>
                    <a:lnTo>
                      <a:pt x="562" y="141"/>
                    </a:lnTo>
                    <a:lnTo>
                      <a:pt x="562" y="145"/>
                    </a:lnTo>
                    <a:lnTo>
                      <a:pt x="558" y="145"/>
                    </a:lnTo>
                    <a:lnTo>
                      <a:pt x="553" y="154"/>
                    </a:lnTo>
                    <a:lnTo>
                      <a:pt x="553" y="159"/>
                    </a:lnTo>
                    <a:lnTo>
                      <a:pt x="553" y="159"/>
                    </a:lnTo>
                    <a:lnTo>
                      <a:pt x="548" y="163"/>
                    </a:lnTo>
                    <a:lnTo>
                      <a:pt x="539" y="168"/>
                    </a:lnTo>
                    <a:lnTo>
                      <a:pt x="539" y="168"/>
                    </a:lnTo>
                    <a:lnTo>
                      <a:pt x="530" y="182"/>
                    </a:lnTo>
                    <a:lnTo>
                      <a:pt x="521" y="195"/>
                    </a:lnTo>
                    <a:lnTo>
                      <a:pt x="517" y="195"/>
                    </a:lnTo>
                    <a:lnTo>
                      <a:pt x="512" y="195"/>
                    </a:lnTo>
                    <a:lnTo>
                      <a:pt x="499" y="195"/>
                    </a:lnTo>
                    <a:lnTo>
                      <a:pt x="485" y="195"/>
                    </a:lnTo>
                    <a:lnTo>
                      <a:pt x="480" y="195"/>
                    </a:lnTo>
                    <a:lnTo>
                      <a:pt x="480" y="195"/>
                    </a:lnTo>
                    <a:lnTo>
                      <a:pt x="476" y="191"/>
                    </a:lnTo>
                    <a:lnTo>
                      <a:pt x="476" y="191"/>
                    </a:lnTo>
                    <a:lnTo>
                      <a:pt x="471" y="191"/>
                    </a:lnTo>
                    <a:lnTo>
                      <a:pt x="471" y="186"/>
                    </a:lnTo>
                    <a:lnTo>
                      <a:pt x="471" y="186"/>
                    </a:lnTo>
                    <a:lnTo>
                      <a:pt x="467" y="186"/>
                    </a:lnTo>
                    <a:lnTo>
                      <a:pt x="467" y="182"/>
                    </a:lnTo>
                    <a:lnTo>
                      <a:pt x="467" y="177"/>
                    </a:lnTo>
                    <a:lnTo>
                      <a:pt x="467" y="173"/>
                    </a:lnTo>
                    <a:lnTo>
                      <a:pt x="467" y="173"/>
                    </a:lnTo>
                    <a:lnTo>
                      <a:pt x="462" y="173"/>
                    </a:lnTo>
                    <a:lnTo>
                      <a:pt x="462" y="177"/>
                    </a:lnTo>
                    <a:lnTo>
                      <a:pt x="462" y="182"/>
                    </a:lnTo>
                    <a:lnTo>
                      <a:pt x="462" y="182"/>
                    </a:lnTo>
                    <a:lnTo>
                      <a:pt x="458" y="186"/>
                    </a:lnTo>
                    <a:lnTo>
                      <a:pt x="458" y="186"/>
                    </a:lnTo>
                    <a:lnTo>
                      <a:pt x="458" y="186"/>
                    </a:lnTo>
                    <a:lnTo>
                      <a:pt x="458" y="186"/>
                    </a:lnTo>
                    <a:lnTo>
                      <a:pt x="453" y="186"/>
                    </a:lnTo>
                    <a:lnTo>
                      <a:pt x="453" y="177"/>
                    </a:lnTo>
                    <a:lnTo>
                      <a:pt x="458" y="177"/>
                    </a:lnTo>
                    <a:lnTo>
                      <a:pt x="458" y="177"/>
                    </a:lnTo>
                    <a:lnTo>
                      <a:pt x="458" y="177"/>
                    </a:lnTo>
                    <a:lnTo>
                      <a:pt x="458" y="177"/>
                    </a:lnTo>
                    <a:lnTo>
                      <a:pt x="458" y="173"/>
                    </a:lnTo>
                    <a:lnTo>
                      <a:pt x="453" y="173"/>
                    </a:lnTo>
                    <a:lnTo>
                      <a:pt x="444" y="173"/>
                    </a:lnTo>
                    <a:lnTo>
                      <a:pt x="440" y="173"/>
                    </a:lnTo>
                    <a:lnTo>
                      <a:pt x="440" y="173"/>
                    </a:lnTo>
                    <a:lnTo>
                      <a:pt x="435" y="177"/>
                    </a:lnTo>
                    <a:lnTo>
                      <a:pt x="435" y="177"/>
                    </a:lnTo>
                    <a:lnTo>
                      <a:pt x="421" y="177"/>
                    </a:lnTo>
                    <a:lnTo>
                      <a:pt x="421" y="177"/>
                    </a:lnTo>
                    <a:lnTo>
                      <a:pt x="421" y="177"/>
                    </a:lnTo>
                    <a:lnTo>
                      <a:pt x="417" y="177"/>
                    </a:lnTo>
                    <a:lnTo>
                      <a:pt x="417" y="177"/>
                    </a:lnTo>
                    <a:lnTo>
                      <a:pt x="417" y="177"/>
                    </a:lnTo>
                    <a:lnTo>
                      <a:pt x="417" y="173"/>
                    </a:lnTo>
                    <a:lnTo>
                      <a:pt x="412" y="173"/>
                    </a:lnTo>
                    <a:lnTo>
                      <a:pt x="412" y="168"/>
                    </a:lnTo>
                    <a:lnTo>
                      <a:pt x="412" y="168"/>
                    </a:lnTo>
                    <a:lnTo>
                      <a:pt x="412" y="168"/>
                    </a:lnTo>
                    <a:lnTo>
                      <a:pt x="421" y="168"/>
                    </a:lnTo>
                    <a:lnTo>
                      <a:pt x="421" y="168"/>
                    </a:lnTo>
                    <a:lnTo>
                      <a:pt x="399" y="159"/>
                    </a:lnTo>
                    <a:lnTo>
                      <a:pt x="385" y="150"/>
                    </a:lnTo>
                    <a:lnTo>
                      <a:pt x="385" y="150"/>
                    </a:lnTo>
                    <a:lnTo>
                      <a:pt x="381" y="150"/>
                    </a:lnTo>
                    <a:lnTo>
                      <a:pt x="381" y="145"/>
                    </a:lnTo>
                    <a:lnTo>
                      <a:pt x="381" y="145"/>
                    </a:lnTo>
                    <a:lnTo>
                      <a:pt x="381" y="141"/>
                    </a:lnTo>
                    <a:lnTo>
                      <a:pt x="376" y="141"/>
                    </a:lnTo>
                    <a:lnTo>
                      <a:pt x="372" y="141"/>
                    </a:lnTo>
                    <a:lnTo>
                      <a:pt x="367" y="136"/>
                    </a:lnTo>
                    <a:lnTo>
                      <a:pt x="367" y="136"/>
                    </a:lnTo>
                    <a:lnTo>
                      <a:pt x="367" y="136"/>
                    </a:lnTo>
                    <a:lnTo>
                      <a:pt x="358" y="127"/>
                    </a:lnTo>
                    <a:lnTo>
                      <a:pt x="349" y="123"/>
                    </a:lnTo>
                    <a:lnTo>
                      <a:pt x="344" y="118"/>
                    </a:lnTo>
                    <a:lnTo>
                      <a:pt x="340" y="114"/>
                    </a:lnTo>
                    <a:lnTo>
                      <a:pt x="335" y="109"/>
                    </a:lnTo>
                    <a:lnTo>
                      <a:pt x="317" y="91"/>
                    </a:lnTo>
                    <a:lnTo>
                      <a:pt x="313" y="82"/>
                    </a:lnTo>
                    <a:lnTo>
                      <a:pt x="308" y="82"/>
                    </a:lnTo>
                    <a:lnTo>
                      <a:pt x="308" y="77"/>
                    </a:lnTo>
                    <a:lnTo>
                      <a:pt x="299" y="64"/>
                    </a:lnTo>
                    <a:lnTo>
                      <a:pt x="272" y="27"/>
                    </a:lnTo>
                    <a:lnTo>
                      <a:pt x="267" y="23"/>
                    </a:lnTo>
                    <a:lnTo>
                      <a:pt x="258" y="18"/>
                    </a:lnTo>
                    <a:lnTo>
                      <a:pt x="254" y="14"/>
                    </a:lnTo>
                    <a:lnTo>
                      <a:pt x="249" y="9"/>
                    </a:lnTo>
                    <a:lnTo>
                      <a:pt x="249" y="5"/>
                    </a:lnTo>
                    <a:lnTo>
                      <a:pt x="249" y="5"/>
                    </a:lnTo>
                    <a:lnTo>
                      <a:pt x="249" y="5"/>
                    </a:lnTo>
                    <a:lnTo>
                      <a:pt x="245" y="0"/>
                    </a:lnTo>
                    <a:lnTo>
                      <a:pt x="245" y="0"/>
                    </a:lnTo>
                    <a:lnTo>
                      <a:pt x="240" y="0"/>
                    </a:lnTo>
                    <a:lnTo>
                      <a:pt x="240" y="0"/>
                    </a:lnTo>
                    <a:lnTo>
                      <a:pt x="240" y="5"/>
                    </a:lnTo>
                    <a:lnTo>
                      <a:pt x="240" y="5"/>
                    </a:lnTo>
                    <a:lnTo>
                      <a:pt x="240" y="9"/>
                    </a:lnTo>
                    <a:lnTo>
                      <a:pt x="240" y="9"/>
                    </a:lnTo>
                    <a:lnTo>
                      <a:pt x="235" y="9"/>
                    </a:lnTo>
                    <a:lnTo>
                      <a:pt x="235" y="9"/>
                    </a:lnTo>
                    <a:lnTo>
                      <a:pt x="235" y="14"/>
                    </a:lnTo>
                    <a:lnTo>
                      <a:pt x="231" y="14"/>
                    </a:lnTo>
                    <a:lnTo>
                      <a:pt x="226" y="14"/>
                    </a:lnTo>
                    <a:lnTo>
                      <a:pt x="222" y="14"/>
                    </a:lnTo>
                    <a:lnTo>
                      <a:pt x="222" y="14"/>
                    </a:lnTo>
                    <a:lnTo>
                      <a:pt x="222" y="14"/>
                    </a:lnTo>
                    <a:lnTo>
                      <a:pt x="222" y="14"/>
                    </a:lnTo>
                    <a:lnTo>
                      <a:pt x="222" y="9"/>
                    </a:lnTo>
                    <a:lnTo>
                      <a:pt x="222" y="9"/>
                    </a:lnTo>
                    <a:lnTo>
                      <a:pt x="217" y="9"/>
                    </a:lnTo>
                    <a:lnTo>
                      <a:pt x="217" y="9"/>
                    </a:lnTo>
                    <a:lnTo>
                      <a:pt x="217" y="14"/>
                    </a:lnTo>
                    <a:lnTo>
                      <a:pt x="217" y="14"/>
                    </a:lnTo>
                    <a:lnTo>
                      <a:pt x="217" y="18"/>
                    </a:lnTo>
                    <a:lnTo>
                      <a:pt x="217" y="23"/>
                    </a:lnTo>
                    <a:lnTo>
                      <a:pt x="217" y="23"/>
                    </a:lnTo>
                    <a:lnTo>
                      <a:pt x="217" y="27"/>
                    </a:lnTo>
                    <a:lnTo>
                      <a:pt x="217" y="27"/>
                    </a:lnTo>
                    <a:lnTo>
                      <a:pt x="213" y="27"/>
                    </a:lnTo>
                    <a:lnTo>
                      <a:pt x="213" y="32"/>
                    </a:lnTo>
                    <a:lnTo>
                      <a:pt x="213" y="32"/>
                    </a:lnTo>
                    <a:lnTo>
                      <a:pt x="213" y="32"/>
                    </a:lnTo>
                    <a:lnTo>
                      <a:pt x="213" y="36"/>
                    </a:lnTo>
                    <a:lnTo>
                      <a:pt x="213" y="41"/>
                    </a:lnTo>
                    <a:lnTo>
                      <a:pt x="213" y="46"/>
                    </a:lnTo>
                    <a:lnTo>
                      <a:pt x="226" y="73"/>
                    </a:lnTo>
                    <a:lnTo>
                      <a:pt x="226" y="82"/>
                    </a:lnTo>
                    <a:lnTo>
                      <a:pt x="231" y="100"/>
                    </a:lnTo>
                    <a:lnTo>
                      <a:pt x="231" y="114"/>
                    </a:lnTo>
                    <a:lnTo>
                      <a:pt x="231" y="118"/>
                    </a:lnTo>
                    <a:lnTo>
                      <a:pt x="231" y="141"/>
                    </a:lnTo>
                    <a:lnTo>
                      <a:pt x="222" y="159"/>
                    </a:lnTo>
                    <a:lnTo>
                      <a:pt x="222" y="163"/>
                    </a:lnTo>
                    <a:lnTo>
                      <a:pt x="222" y="191"/>
                    </a:lnTo>
                    <a:lnTo>
                      <a:pt x="222" y="195"/>
                    </a:lnTo>
                    <a:lnTo>
                      <a:pt x="222" y="200"/>
                    </a:lnTo>
                    <a:lnTo>
                      <a:pt x="222" y="209"/>
                    </a:lnTo>
                    <a:lnTo>
                      <a:pt x="217" y="213"/>
                    </a:lnTo>
                    <a:lnTo>
                      <a:pt x="217" y="213"/>
                    </a:lnTo>
                    <a:lnTo>
                      <a:pt x="208" y="218"/>
                    </a:lnTo>
                    <a:lnTo>
                      <a:pt x="208" y="222"/>
                    </a:lnTo>
                    <a:lnTo>
                      <a:pt x="208" y="222"/>
                    </a:lnTo>
                    <a:lnTo>
                      <a:pt x="204" y="222"/>
                    </a:lnTo>
                    <a:lnTo>
                      <a:pt x="199" y="222"/>
                    </a:lnTo>
                    <a:lnTo>
                      <a:pt x="199" y="222"/>
                    </a:lnTo>
                    <a:lnTo>
                      <a:pt x="195" y="227"/>
                    </a:lnTo>
                    <a:lnTo>
                      <a:pt x="195" y="231"/>
                    </a:lnTo>
                    <a:lnTo>
                      <a:pt x="195" y="236"/>
                    </a:lnTo>
                    <a:lnTo>
                      <a:pt x="190" y="236"/>
                    </a:lnTo>
                    <a:lnTo>
                      <a:pt x="195" y="241"/>
                    </a:lnTo>
                    <a:lnTo>
                      <a:pt x="195" y="245"/>
                    </a:lnTo>
                    <a:lnTo>
                      <a:pt x="195" y="250"/>
                    </a:lnTo>
                    <a:lnTo>
                      <a:pt x="195" y="250"/>
                    </a:lnTo>
                    <a:lnTo>
                      <a:pt x="199" y="254"/>
                    </a:lnTo>
                    <a:lnTo>
                      <a:pt x="195" y="259"/>
                    </a:lnTo>
                    <a:lnTo>
                      <a:pt x="195" y="259"/>
                    </a:lnTo>
                    <a:lnTo>
                      <a:pt x="195" y="263"/>
                    </a:lnTo>
                    <a:lnTo>
                      <a:pt x="195" y="263"/>
                    </a:lnTo>
                    <a:lnTo>
                      <a:pt x="199" y="272"/>
                    </a:lnTo>
                    <a:lnTo>
                      <a:pt x="204" y="277"/>
                    </a:lnTo>
                    <a:lnTo>
                      <a:pt x="204" y="281"/>
                    </a:lnTo>
                    <a:lnTo>
                      <a:pt x="199" y="286"/>
                    </a:lnTo>
                    <a:lnTo>
                      <a:pt x="199" y="295"/>
                    </a:lnTo>
                    <a:lnTo>
                      <a:pt x="195" y="295"/>
                    </a:lnTo>
                    <a:lnTo>
                      <a:pt x="190" y="304"/>
                    </a:lnTo>
                    <a:lnTo>
                      <a:pt x="181" y="309"/>
                    </a:lnTo>
                    <a:lnTo>
                      <a:pt x="181" y="313"/>
                    </a:lnTo>
                    <a:lnTo>
                      <a:pt x="181" y="313"/>
                    </a:lnTo>
                    <a:lnTo>
                      <a:pt x="176" y="313"/>
                    </a:lnTo>
                    <a:lnTo>
                      <a:pt x="176" y="313"/>
                    </a:lnTo>
                    <a:lnTo>
                      <a:pt x="172" y="309"/>
                    </a:lnTo>
                    <a:lnTo>
                      <a:pt x="172" y="309"/>
                    </a:lnTo>
                    <a:lnTo>
                      <a:pt x="167" y="309"/>
                    </a:lnTo>
                    <a:lnTo>
                      <a:pt x="163" y="309"/>
                    </a:lnTo>
                    <a:lnTo>
                      <a:pt x="163" y="309"/>
                    </a:lnTo>
                    <a:lnTo>
                      <a:pt x="163" y="304"/>
                    </a:lnTo>
                    <a:lnTo>
                      <a:pt x="163" y="304"/>
                    </a:lnTo>
                    <a:lnTo>
                      <a:pt x="163" y="299"/>
                    </a:lnTo>
                    <a:lnTo>
                      <a:pt x="163" y="299"/>
                    </a:lnTo>
                    <a:lnTo>
                      <a:pt x="158" y="299"/>
                    </a:lnTo>
                    <a:lnTo>
                      <a:pt x="154" y="304"/>
                    </a:lnTo>
                    <a:lnTo>
                      <a:pt x="145" y="304"/>
                    </a:lnTo>
                    <a:lnTo>
                      <a:pt x="140" y="304"/>
                    </a:lnTo>
                    <a:lnTo>
                      <a:pt x="140" y="304"/>
                    </a:lnTo>
                    <a:lnTo>
                      <a:pt x="140" y="304"/>
                    </a:lnTo>
                    <a:lnTo>
                      <a:pt x="140" y="299"/>
                    </a:lnTo>
                    <a:lnTo>
                      <a:pt x="131" y="299"/>
                    </a:lnTo>
                    <a:lnTo>
                      <a:pt x="131" y="295"/>
                    </a:lnTo>
                    <a:lnTo>
                      <a:pt x="127" y="295"/>
                    </a:lnTo>
                    <a:lnTo>
                      <a:pt x="127" y="290"/>
                    </a:lnTo>
                    <a:lnTo>
                      <a:pt x="117" y="286"/>
                    </a:lnTo>
                    <a:lnTo>
                      <a:pt x="113" y="286"/>
                    </a:lnTo>
                    <a:lnTo>
                      <a:pt x="113" y="286"/>
                    </a:lnTo>
                    <a:lnTo>
                      <a:pt x="113" y="281"/>
                    </a:lnTo>
                    <a:lnTo>
                      <a:pt x="113" y="281"/>
                    </a:lnTo>
                    <a:lnTo>
                      <a:pt x="108" y="281"/>
                    </a:lnTo>
                    <a:lnTo>
                      <a:pt x="108" y="281"/>
                    </a:lnTo>
                    <a:lnTo>
                      <a:pt x="108" y="286"/>
                    </a:lnTo>
                    <a:lnTo>
                      <a:pt x="108" y="286"/>
                    </a:lnTo>
                    <a:lnTo>
                      <a:pt x="108" y="286"/>
                    </a:lnTo>
                    <a:lnTo>
                      <a:pt x="108" y="286"/>
                    </a:lnTo>
                    <a:lnTo>
                      <a:pt x="104" y="290"/>
                    </a:lnTo>
                    <a:lnTo>
                      <a:pt x="99" y="290"/>
                    </a:lnTo>
                    <a:lnTo>
                      <a:pt x="95" y="299"/>
                    </a:lnTo>
                    <a:lnTo>
                      <a:pt x="99" y="304"/>
                    </a:lnTo>
                    <a:lnTo>
                      <a:pt x="99" y="309"/>
                    </a:lnTo>
                    <a:lnTo>
                      <a:pt x="104" y="309"/>
                    </a:lnTo>
                    <a:lnTo>
                      <a:pt x="108" y="313"/>
                    </a:lnTo>
                    <a:lnTo>
                      <a:pt x="113" y="318"/>
                    </a:lnTo>
                    <a:lnTo>
                      <a:pt x="113" y="322"/>
                    </a:lnTo>
                    <a:lnTo>
                      <a:pt x="113" y="327"/>
                    </a:lnTo>
                    <a:lnTo>
                      <a:pt x="113" y="327"/>
                    </a:lnTo>
                    <a:lnTo>
                      <a:pt x="117" y="327"/>
                    </a:lnTo>
                    <a:lnTo>
                      <a:pt x="113" y="331"/>
                    </a:lnTo>
                    <a:lnTo>
                      <a:pt x="113" y="331"/>
                    </a:lnTo>
                    <a:lnTo>
                      <a:pt x="108" y="336"/>
                    </a:lnTo>
                    <a:lnTo>
                      <a:pt x="104" y="345"/>
                    </a:lnTo>
                    <a:lnTo>
                      <a:pt x="99" y="345"/>
                    </a:lnTo>
                    <a:lnTo>
                      <a:pt x="99" y="349"/>
                    </a:lnTo>
                    <a:lnTo>
                      <a:pt x="99" y="354"/>
                    </a:lnTo>
                    <a:lnTo>
                      <a:pt x="95" y="354"/>
                    </a:lnTo>
                    <a:lnTo>
                      <a:pt x="95" y="354"/>
                    </a:lnTo>
                    <a:lnTo>
                      <a:pt x="95" y="358"/>
                    </a:lnTo>
                    <a:lnTo>
                      <a:pt x="95" y="363"/>
                    </a:lnTo>
                    <a:lnTo>
                      <a:pt x="90" y="363"/>
                    </a:lnTo>
                    <a:lnTo>
                      <a:pt x="90" y="363"/>
                    </a:lnTo>
                    <a:lnTo>
                      <a:pt x="90" y="358"/>
                    </a:lnTo>
                    <a:lnTo>
                      <a:pt x="86" y="358"/>
                    </a:lnTo>
                    <a:lnTo>
                      <a:pt x="86" y="354"/>
                    </a:lnTo>
                    <a:lnTo>
                      <a:pt x="81" y="354"/>
                    </a:lnTo>
                    <a:lnTo>
                      <a:pt x="81" y="358"/>
                    </a:lnTo>
                    <a:lnTo>
                      <a:pt x="77" y="363"/>
                    </a:lnTo>
                    <a:lnTo>
                      <a:pt x="77" y="363"/>
                    </a:lnTo>
                    <a:lnTo>
                      <a:pt x="77" y="363"/>
                    </a:lnTo>
                    <a:lnTo>
                      <a:pt x="77" y="363"/>
                    </a:lnTo>
                    <a:lnTo>
                      <a:pt x="77" y="363"/>
                    </a:lnTo>
                    <a:lnTo>
                      <a:pt x="72" y="368"/>
                    </a:lnTo>
                    <a:lnTo>
                      <a:pt x="72" y="372"/>
                    </a:lnTo>
                    <a:lnTo>
                      <a:pt x="68" y="372"/>
                    </a:lnTo>
                    <a:lnTo>
                      <a:pt x="68" y="372"/>
                    </a:lnTo>
                    <a:lnTo>
                      <a:pt x="59" y="372"/>
                    </a:lnTo>
                    <a:lnTo>
                      <a:pt x="54" y="377"/>
                    </a:lnTo>
                    <a:lnTo>
                      <a:pt x="49" y="381"/>
                    </a:lnTo>
                    <a:lnTo>
                      <a:pt x="49" y="386"/>
                    </a:lnTo>
                    <a:lnTo>
                      <a:pt x="49" y="395"/>
                    </a:lnTo>
                    <a:lnTo>
                      <a:pt x="49" y="399"/>
                    </a:lnTo>
                    <a:lnTo>
                      <a:pt x="49" y="404"/>
                    </a:lnTo>
                    <a:lnTo>
                      <a:pt x="49" y="408"/>
                    </a:lnTo>
                    <a:lnTo>
                      <a:pt x="45" y="417"/>
                    </a:lnTo>
                    <a:lnTo>
                      <a:pt x="45" y="417"/>
                    </a:lnTo>
                    <a:lnTo>
                      <a:pt x="40" y="422"/>
                    </a:lnTo>
                    <a:lnTo>
                      <a:pt x="45" y="426"/>
                    </a:lnTo>
                    <a:lnTo>
                      <a:pt x="45" y="431"/>
                    </a:lnTo>
                    <a:lnTo>
                      <a:pt x="45" y="431"/>
                    </a:lnTo>
                    <a:lnTo>
                      <a:pt x="49" y="436"/>
                    </a:lnTo>
                    <a:lnTo>
                      <a:pt x="54" y="436"/>
                    </a:lnTo>
                    <a:lnTo>
                      <a:pt x="54" y="436"/>
                    </a:lnTo>
                    <a:lnTo>
                      <a:pt x="54" y="440"/>
                    </a:lnTo>
                    <a:lnTo>
                      <a:pt x="54" y="440"/>
                    </a:lnTo>
                    <a:lnTo>
                      <a:pt x="54" y="440"/>
                    </a:lnTo>
                    <a:lnTo>
                      <a:pt x="59" y="445"/>
                    </a:lnTo>
                    <a:lnTo>
                      <a:pt x="68" y="449"/>
                    </a:lnTo>
                    <a:lnTo>
                      <a:pt x="72" y="449"/>
                    </a:lnTo>
                    <a:lnTo>
                      <a:pt x="77" y="458"/>
                    </a:lnTo>
                    <a:lnTo>
                      <a:pt x="81" y="463"/>
                    </a:lnTo>
                    <a:lnTo>
                      <a:pt x="77" y="467"/>
                    </a:lnTo>
                    <a:lnTo>
                      <a:pt x="77" y="467"/>
                    </a:lnTo>
                    <a:lnTo>
                      <a:pt x="81" y="472"/>
                    </a:lnTo>
                    <a:lnTo>
                      <a:pt x="81" y="472"/>
                    </a:lnTo>
                    <a:lnTo>
                      <a:pt x="81" y="472"/>
                    </a:lnTo>
                    <a:lnTo>
                      <a:pt x="81" y="476"/>
                    </a:lnTo>
                    <a:lnTo>
                      <a:pt x="81" y="476"/>
                    </a:lnTo>
                    <a:lnTo>
                      <a:pt x="77" y="476"/>
                    </a:lnTo>
                    <a:lnTo>
                      <a:pt x="77" y="476"/>
                    </a:lnTo>
                    <a:lnTo>
                      <a:pt x="77" y="476"/>
                    </a:lnTo>
                    <a:lnTo>
                      <a:pt x="77" y="481"/>
                    </a:lnTo>
                    <a:lnTo>
                      <a:pt x="77" y="481"/>
                    </a:lnTo>
                    <a:lnTo>
                      <a:pt x="77" y="481"/>
                    </a:lnTo>
                    <a:lnTo>
                      <a:pt x="77" y="485"/>
                    </a:lnTo>
                    <a:lnTo>
                      <a:pt x="77" y="485"/>
                    </a:lnTo>
                    <a:lnTo>
                      <a:pt x="77" y="485"/>
                    </a:lnTo>
                    <a:lnTo>
                      <a:pt x="77" y="485"/>
                    </a:lnTo>
                    <a:lnTo>
                      <a:pt x="72" y="485"/>
                    </a:lnTo>
                    <a:lnTo>
                      <a:pt x="72" y="485"/>
                    </a:lnTo>
                    <a:lnTo>
                      <a:pt x="72" y="495"/>
                    </a:lnTo>
                    <a:lnTo>
                      <a:pt x="68" y="499"/>
                    </a:lnTo>
                    <a:lnTo>
                      <a:pt x="68" y="508"/>
                    </a:lnTo>
                    <a:lnTo>
                      <a:pt x="63" y="513"/>
                    </a:lnTo>
                    <a:lnTo>
                      <a:pt x="63" y="517"/>
                    </a:lnTo>
                    <a:lnTo>
                      <a:pt x="63" y="517"/>
                    </a:lnTo>
                    <a:lnTo>
                      <a:pt x="68" y="526"/>
                    </a:lnTo>
                    <a:lnTo>
                      <a:pt x="68" y="531"/>
                    </a:lnTo>
                    <a:lnTo>
                      <a:pt x="68" y="535"/>
                    </a:lnTo>
                    <a:lnTo>
                      <a:pt x="72" y="535"/>
                    </a:lnTo>
                    <a:lnTo>
                      <a:pt x="72" y="535"/>
                    </a:lnTo>
                    <a:lnTo>
                      <a:pt x="72" y="535"/>
                    </a:lnTo>
                    <a:lnTo>
                      <a:pt x="77" y="535"/>
                    </a:lnTo>
                    <a:lnTo>
                      <a:pt x="77" y="535"/>
                    </a:lnTo>
                    <a:lnTo>
                      <a:pt x="77" y="535"/>
                    </a:lnTo>
                    <a:lnTo>
                      <a:pt x="77" y="535"/>
                    </a:lnTo>
                    <a:lnTo>
                      <a:pt x="81" y="540"/>
                    </a:lnTo>
                    <a:lnTo>
                      <a:pt x="86" y="540"/>
                    </a:lnTo>
                    <a:lnTo>
                      <a:pt x="86" y="535"/>
                    </a:lnTo>
                    <a:lnTo>
                      <a:pt x="86" y="535"/>
                    </a:lnTo>
                    <a:lnTo>
                      <a:pt x="90" y="531"/>
                    </a:lnTo>
                    <a:lnTo>
                      <a:pt x="90" y="531"/>
                    </a:lnTo>
                    <a:lnTo>
                      <a:pt x="90" y="526"/>
                    </a:lnTo>
                    <a:lnTo>
                      <a:pt x="104" y="526"/>
                    </a:lnTo>
                    <a:lnTo>
                      <a:pt x="108" y="522"/>
                    </a:lnTo>
                    <a:lnTo>
                      <a:pt x="108" y="517"/>
                    </a:lnTo>
                    <a:lnTo>
                      <a:pt x="108" y="508"/>
                    </a:lnTo>
                    <a:lnTo>
                      <a:pt x="108" y="504"/>
                    </a:lnTo>
                    <a:lnTo>
                      <a:pt x="113" y="504"/>
                    </a:lnTo>
                    <a:lnTo>
                      <a:pt x="117" y="499"/>
                    </a:lnTo>
                    <a:lnTo>
                      <a:pt x="117" y="499"/>
                    </a:lnTo>
                    <a:lnTo>
                      <a:pt x="117" y="499"/>
                    </a:lnTo>
                    <a:lnTo>
                      <a:pt x="122" y="495"/>
                    </a:lnTo>
                    <a:lnTo>
                      <a:pt x="127" y="495"/>
                    </a:lnTo>
                    <a:lnTo>
                      <a:pt x="127" y="485"/>
                    </a:lnTo>
                    <a:lnTo>
                      <a:pt x="127" y="485"/>
                    </a:lnTo>
                    <a:lnTo>
                      <a:pt x="131" y="485"/>
                    </a:lnTo>
                    <a:lnTo>
                      <a:pt x="131" y="481"/>
                    </a:lnTo>
                    <a:lnTo>
                      <a:pt x="136" y="485"/>
                    </a:lnTo>
                    <a:lnTo>
                      <a:pt x="136" y="485"/>
                    </a:lnTo>
                    <a:lnTo>
                      <a:pt x="136" y="485"/>
                    </a:lnTo>
                    <a:lnTo>
                      <a:pt x="136" y="490"/>
                    </a:lnTo>
                    <a:lnTo>
                      <a:pt x="136" y="490"/>
                    </a:lnTo>
                    <a:lnTo>
                      <a:pt x="136" y="490"/>
                    </a:lnTo>
                    <a:lnTo>
                      <a:pt x="136" y="495"/>
                    </a:lnTo>
                    <a:lnTo>
                      <a:pt x="136" y="495"/>
                    </a:lnTo>
                    <a:lnTo>
                      <a:pt x="140" y="490"/>
                    </a:lnTo>
                    <a:lnTo>
                      <a:pt x="145" y="490"/>
                    </a:lnTo>
                    <a:lnTo>
                      <a:pt x="149" y="490"/>
                    </a:lnTo>
                    <a:lnTo>
                      <a:pt x="158" y="495"/>
                    </a:lnTo>
                    <a:lnTo>
                      <a:pt x="163" y="499"/>
                    </a:lnTo>
                    <a:lnTo>
                      <a:pt x="167" y="495"/>
                    </a:lnTo>
                    <a:lnTo>
                      <a:pt x="172" y="490"/>
                    </a:lnTo>
                    <a:lnTo>
                      <a:pt x="176" y="490"/>
                    </a:lnTo>
                    <a:lnTo>
                      <a:pt x="176" y="490"/>
                    </a:lnTo>
                    <a:lnTo>
                      <a:pt x="181" y="485"/>
                    </a:lnTo>
                    <a:lnTo>
                      <a:pt x="181" y="485"/>
                    </a:lnTo>
                    <a:lnTo>
                      <a:pt x="181" y="485"/>
                    </a:lnTo>
                    <a:lnTo>
                      <a:pt x="172" y="476"/>
                    </a:lnTo>
                    <a:lnTo>
                      <a:pt x="172" y="476"/>
                    </a:lnTo>
                    <a:lnTo>
                      <a:pt x="167" y="476"/>
                    </a:lnTo>
                    <a:lnTo>
                      <a:pt x="167" y="476"/>
                    </a:lnTo>
                    <a:lnTo>
                      <a:pt x="163" y="476"/>
                    </a:lnTo>
                    <a:lnTo>
                      <a:pt x="163" y="472"/>
                    </a:lnTo>
                    <a:lnTo>
                      <a:pt x="158" y="472"/>
                    </a:lnTo>
                    <a:lnTo>
                      <a:pt x="154" y="463"/>
                    </a:lnTo>
                    <a:lnTo>
                      <a:pt x="154" y="463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0" y="449"/>
                    </a:lnTo>
                    <a:lnTo>
                      <a:pt x="140" y="449"/>
                    </a:lnTo>
                    <a:lnTo>
                      <a:pt x="136" y="445"/>
                    </a:lnTo>
                    <a:lnTo>
                      <a:pt x="131" y="445"/>
                    </a:lnTo>
                    <a:lnTo>
                      <a:pt x="131" y="445"/>
                    </a:lnTo>
                    <a:lnTo>
                      <a:pt x="127" y="445"/>
                    </a:lnTo>
                    <a:lnTo>
                      <a:pt x="122" y="445"/>
                    </a:lnTo>
                    <a:lnTo>
                      <a:pt x="117" y="449"/>
                    </a:lnTo>
                    <a:lnTo>
                      <a:pt x="117" y="445"/>
                    </a:lnTo>
                    <a:lnTo>
                      <a:pt x="108" y="440"/>
                    </a:lnTo>
                    <a:lnTo>
                      <a:pt x="108" y="436"/>
                    </a:lnTo>
                    <a:lnTo>
                      <a:pt x="95" y="431"/>
                    </a:lnTo>
                    <a:lnTo>
                      <a:pt x="95" y="426"/>
                    </a:lnTo>
                    <a:lnTo>
                      <a:pt x="90" y="422"/>
                    </a:lnTo>
                    <a:lnTo>
                      <a:pt x="95" y="417"/>
                    </a:lnTo>
                    <a:lnTo>
                      <a:pt x="95" y="408"/>
                    </a:lnTo>
                    <a:lnTo>
                      <a:pt x="95" y="404"/>
                    </a:lnTo>
                    <a:lnTo>
                      <a:pt x="104" y="395"/>
                    </a:lnTo>
                    <a:lnTo>
                      <a:pt x="104" y="390"/>
                    </a:lnTo>
                    <a:lnTo>
                      <a:pt x="108" y="386"/>
                    </a:lnTo>
                    <a:lnTo>
                      <a:pt x="113" y="386"/>
                    </a:lnTo>
                    <a:lnTo>
                      <a:pt x="117" y="386"/>
                    </a:lnTo>
                    <a:lnTo>
                      <a:pt x="122" y="386"/>
                    </a:lnTo>
                    <a:lnTo>
                      <a:pt x="131" y="386"/>
                    </a:lnTo>
                    <a:lnTo>
                      <a:pt x="131" y="386"/>
                    </a:lnTo>
                    <a:lnTo>
                      <a:pt x="136" y="386"/>
                    </a:lnTo>
                    <a:lnTo>
                      <a:pt x="154" y="404"/>
                    </a:lnTo>
                    <a:lnTo>
                      <a:pt x="154" y="413"/>
                    </a:lnTo>
                    <a:lnTo>
                      <a:pt x="154" y="413"/>
                    </a:lnTo>
                    <a:lnTo>
                      <a:pt x="154" y="413"/>
                    </a:lnTo>
                    <a:lnTo>
                      <a:pt x="158" y="413"/>
                    </a:lnTo>
                    <a:lnTo>
                      <a:pt x="158" y="417"/>
                    </a:lnTo>
                    <a:lnTo>
                      <a:pt x="163" y="417"/>
                    </a:lnTo>
                    <a:lnTo>
                      <a:pt x="163" y="417"/>
                    </a:lnTo>
                    <a:lnTo>
                      <a:pt x="158" y="417"/>
                    </a:lnTo>
                    <a:lnTo>
                      <a:pt x="154" y="417"/>
                    </a:lnTo>
                    <a:lnTo>
                      <a:pt x="154" y="417"/>
                    </a:lnTo>
                    <a:lnTo>
                      <a:pt x="154" y="417"/>
                    </a:lnTo>
                    <a:lnTo>
                      <a:pt x="158" y="422"/>
                    </a:lnTo>
                    <a:lnTo>
                      <a:pt x="158" y="422"/>
                    </a:lnTo>
                    <a:lnTo>
                      <a:pt x="158" y="422"/>
                    </a:lnTo>
                    <a:lnTo>
                      <a:pt x="158" y="422"/>
                    </a:lnTo>
                    <a:lnTo>
                      <a:pt x="163" y="422"/>
                    </a:lnTo>
                    <a:lnTo>
                      <a:pt x="163" y="422"/>
                    </a:lnTo>
                    <a:lnTo>
                      <a:pt x="163" y="417"/>
                    </a:lnTo>
                    <a:lnTo>
                      <a:pt x="167" y="413"/>
                    </a:lnTo>
                    <a:lnTo>
                      <a:pt x="172" y="408"/>
                    </a:lnTo>
                    <a:lnTo>
                      <a:pt x="176" y="404"/>
                    </a:lnTo>
                    <a:lnTo>
                      <a:pt x="181" y="404"/>
                    </a:lnTo>
                    <a:lnTo>
                      <a:pt x="181" y="404"/>
                    </a:lnTo>
                    <a:lnTo>
                      <a:pt x="181" y="404"/>
                    </a:lnTo>
                    <a:lnTo>
                      <a:pt x="181" y="404"/>
                    </a:lnTo>
                    <a:lnTo>
                      <a:pt x="186" y="399"/>
                    </a:lnTo>
                    <a:lnTo>
                      <a:pt x="186" y="399"/>
                    </a:lnTo>
                    <a:lnTo>
                      <a:pt x="204" y="386"/>
                    </a:lnTo>
                    <a:lnTo>
                      <a:pt x="213" y="381"/>
                    </a:lnTo>
                    <a:lnTo>
                      <a:pt x="222" y="381"/>
                    </a:lnTo>
                    <a:lnTo>
                      <a:pt x="231" y="377"/>
                    </a:lnTo>
                    <a:lnTo>
                      <a:pt x="240" y="381"/>
                    </a:lnTo>
                    <a:lnTo>
                      <a:pt x="249" y="386"/>
                    </a:lnTo>
                    <a:lnTo>
                      <a:pt x="249" y="386"/>
                    </a:lnTo>
                    <a:lnTo>
                      <a:pt x="254" y="386"/>
                    </a:lnTo>
                    <a:lnTo>
                      <a:pt x="258" y="390"/>
                    </a:lnTo>
                    <a:lnTo>
                      <a:pt x="263" y="395"/>
                    </a:lnTo>
                    <a:lnTo>
                      <a:pt x="276" y="399"/>
                    </a:lnTo>
                    <a:lnTo>
                      <a:pt x="281" y="404"/>
                    </a:lnTo>
                    <a:lnTo>
                      <a:pt x="285" y="408"/>
                    </a:lnTo>
                    <a:lnTo>
                      <a:pt x="303" y="422"/>
                    </a:lnTo>
                    <a:lnTo>
                      <a:pt x="313" y="426"/>
                    </a:lnTo>
                    <a:lnTo>
                      <a:pt x="335" y="436"/>
                    </a:lnTo>
                    <a:lnTo>
                      <a:pt x="353" y="440"/>
                    </a:lnTo>
                    <a:lnTo>
                      <a:pt x="367" y="449"/>
                    </a:lnTo>
                    <a:lnTo>
                      <a:pt x="372" y="454"/>
                    </a:lnTo>
                    <a:lnTo>
                      <a:pt x="376" y="454"/>
                    </a:lnTo>
                    <a:lnTo>
                      <a:pt x="376" y="458"/>
                    </a:lnTo>
                    <a:lnTo>
                      <a:pt x="376" y="458"/>
                    </a:lnTo>
                    <a:lnTo>
                      <a:pt x="376" y="463"/>
                    </a:lnTo>
                    <a:lnTo>
                      <a:pt x="381" y="463"/>
                    </a:lnTo>
                    <a:lnTo>
                      <a:pt x="381" y="463"/>
                    </a:lnTo>
                    <a:lnTo>
                      <a:pt x="385" y="463"/>
                    </a:lnTo>
                    <a:lnTo>
                      <a:pt x="385" y="454"/>
                    </a:lnTo>
                    <a:lnTo>
                      <a:pt x="385" y="454"/>
                    </a:lnTo>
                    <a:lnTo>
                      <a:pt x="385" y="449"/>
                    </a:lnTo>
                    <a:lnTo>
                      <a:pt x="390" y="440"/>
                    </a:lnTo>
                    <a:lnTo>
                      <a:pt x="390" y="436"/>
                    </a:lnTo>
                    <a:lnTo>
                      <a:pt x="390" y="436"/>
                    </a:lnTo>
                    <a:lnTo>
                      <a:pt x="390" y="431"/>
                    </a:lnTo>
                    <a:lnTo>
                      <a:pt x="390" y="422"/>
                    </a:lnTo>
                    <a:lnTo>
                      <a:pt x="390" y="417"/>
                    </a:lnTo>
                    <a:lnTo>
                      <a:pt x="390" y="413"/>
                    </a:lnTo>
                    <a:lnTo>
                      <a:pt x="399" y="395"/>
                    </a:lnTo>
                    <a:lnTo>
                      <a:pt x="412" y="372"/>
                    </a:lnTo>
                    <a:lnTo>
                      <a:pt x="417" y="368"/>
                    </a:lnTo>
                    <a:lnTo>
                      <a:pt x="430" y="354"/>
                    </a:lnTo>
                    <a:lnTo>
                      <a:pt x="440" y="340"/>
                    </a:lnTo>
                    <a:lnTo>
                      <a:pt x="453" y="331"/>
                    </a:lnTo>
                    <a:lnTo>
                      <a:pt x="467" y="322"/>
                    </a:lnTo>
                    <a:lnTo>
                      <a:pt x="480" y="318"/>
                    </a:lnTo>
                    <a:lnTo>
                      <a:pt x="480" y="318"/>
                    </a:lnTo>
                    <a:lnTo>
                      <a:pt x="485" y="318"/>
                    </a:lnTo>
                    <a:lnTo>
                      <a:pt x="485" y="322"/>
                    </a:lnTo>
                    <a:lnTo>
                      <a:pt x="485" y="322"/>
                    </a:lnTo>
                    <a:lnTo>
                      <a:pt x="485" y="322"/>
                    </a:lnTo>
                    <a:lnTo>
                      <a:pt x="485" y="322"/>
                    </a:lnTo>
                    <a:lnTo>
                      <a:pt x="485" y="322"/>
                    </a:lnTo>
                    <a:lnTo>
                      <a:pt x="494" y="327"/>
                    </a:lnTo>
                    <a:lnTo>
                      <a:pt x="499" y="327"/>
                    </a:lnTo>
                    <a:lnTo>
                      <a:pt x="499" y="327"/>
                    </a:lnTo>
                    <a:lnTo>
                      <a:pt x="508" y="322"/>
                    </a:lnTo>
                    <a:lnTo>
                      <a:pt x="521" y="327"/>
                    </a:lnTo>
                    <a:lnTo>
                      <a:pt x="526" y="327"/>
                    </a:lnTo>
                    <a:lnTo>
                      <a:pt x="526" y="322"/>
                    </a:lnTo>
                    <a:lnTo>
                      <a:pt x="521" y="322"/>
                    </a:lnTo>
                    <a:lnTo>
                      <a:pt x="521" y="322"/>
                    </a:lnTo>
                    <a:lnTo>
                      <a:pt x="521" y="318"/>
                    </a:lnTo>
                    <a:lnTo>
                      <a:pt x="521" y="318"/>
                    </a:lnTo>
                    <a:lnTo>
                      <a:pt x="521" y="318"/>
                    </a:lnTo>
                    <a:lnTo>
                      <a:pt x="521" y="313"/>
                    </a:lnTo>
                    <a:lnTo>
                      <a:pt x="521" y="313"/>
                    </a:lnTo>
                    <a:lnTo>
                      <a:pt x="521" y="313"/>
                    </a:lnTo>
                    <a:lnTo>
                      <a:pt x="526" y="313"/>
                    </a:lnTo>
                    <a:lnTo>
                      <a:pt x="526" y="309"/>
                    </a:lnTo>
                    <a:lnTo>
                      <a:pt x="526" y="309"/>
                    </a:lnTo>
                    <a:lnTo>
                      <a:pt x="526" y="309"/>
                    </a:lnTo>
                    <a:lnTo>
                      <a:pt x="526" y="309"/>
                    </a:lnTo>
                    <a:lnTo>
                      <a:pt x="526" y="309"/>
                    </a:lnTo>
                    <a:lnTo>
                      <a:pt x="530" y="309"/>
                    </a:lnTo>
                    <a:lnTo>
                      <a:pt x="530" y="313"/>
                    </a:lnTo>
                    <a:lnTo>
                      <a:pt x="530" y="313"/>
                    </a:lnTo>
                    <a:lnTo>
                      <a:pt x="530" y="313"/>
                    </a:lnTo>
                    <a:lnTo>
                      <a:pt x="535" y="318"/>
                    </a:lnTo>
                    <a:lnTo>
                      <a:pt x="535" y="318"/>
                    </a:lnTo>
                    <a:lnTo>
                      <a:pt x="539" y="318"/>
                    </a:lnTo>
                    <a:lnTo>
                      <a:pt x="544" y="318"/>
                    </a:lnTo>
                    <a:lnTo>
                      <a:pt x="548" y="318"/>
                    </a:lnTo>
                    <a:lnTo>
                      <a:pt x="548" y="313"/>
                    </a:lnTo>
                    <a:lnTo>
                      <a:pt x="548" y="313"/>
                    </a:lnTo>
                    <a:lnTo>
                      <a:pt x="548" y="313"/>
                    </a:lnTo>
                    <a:lnTo>
                      <a:pt x="544" y="309"/>
                    </a:lnTo>
                    <a:lnTo>
                      <a:pt x="548" y="309"/>
                    </a:lnTo>
                    <a:lnTo>
                      <a:pt x="553" y="309"/>
                    </a:lnTo>
                    <a:lnTo>
                      <a:pt x="553" y="309"/>
                    </a:lnTo>
                    <a:lnTo>
                      <a:pt x="553" y="309"/>
                    </a:lnTo>
                    <a:lnTo>
                      <a:pt x="553" y="309"/>
                    </a:lnTo>
                    <a:lnTo>
                      <a:pt x="553" y="304"/>
                    </a:lnTo>
                    <a:lnTo>
                      <a:pt x="558" y="304"/>
                    </a:lnTo>
                    <a:lnTo>
                      <a:pt x="558" y="304"/>
                    </a:lnTo>
                    <a:lnTo>
                      <a:pt x="562" y="304"/>
                    </a:lnTo>
                    <a:lnTo>
                      <a:pt x="558" y="304"/>
                    </a:lnTo>
                    <a:lnTo>
                      <a:pt x="558" y="304"/>
                    </a:lnTo>
                    <a:lnTo>
                      <a:pt x="558" y="304"/>
                    </a:lnTo>
                    <a:lnTo>
                      <a:pt x="558" y="299"/>
                    </a:lnTo>
                    <a:lnTo>
                      <a:pt x="558" y="299"/>
                    </a:lnTo>
                    <a:lnTo>
                      <a:pt x="558" y="295"/>
                    </a:lnTo>
                    <a:lnTo>
                      <a:pt x="558" y="295"/>
                    </a:lnTo>
                    <a:lnTo>
                      <a:pt x="567" y="295"/>
                    </a:lnTo>
                    <a:lnTo>
                      <a:pt x="567" y="295"/>
                    </a:lnTo>
                    <a:lnTo>
                      <a:pt x="571" y="290"/>
                    </a:lnTo>
                    <a:lnTo>
                      <a:pt x="571" y="290"/>
                    </a:lnTo>
                    <a:lnTo>
                      <a:pt x="580" y="290"/>
                    </a:lnTo>
                    <a:lnTo>
                      <a:pt x="585" y="286"/>
                    </a:lnTo>
                    <a:lnTo>
                      <a:pt x="585" y="286"/>
                    </a:lnTo>
                    <a:lnTo>
                      <a:pt x="589" y="290"/>
                    </a:lnTo>
                    <a:lnTo>
                      <a:pt x="589" y="290"/>
                    </a:lnTo>
                    <a:lnTo>
                      <a:pt x="594" y="290"/>
                    </a:lnTo>
                    <a:lnTo>
                      <a:pt x="594" y="290"/>
                    </a:lnTo>
                    <a:lnTo>
                      <a:pt x="594" y="290"/>
                    </a:lnTo>
                    <a:lnTo>
                      <a:pt x="594" y="286"/>
                    </a:lnTo>
                    <a:lnTo>
                      <a:pt x="594" y="286"/>
                    </a:lnTo>
                    <a:lnTo>
                      <a:pt x="598" y="281"/>
                    </a:lnTo>
                    <a:lnTo>
                      <a:pt x="598" y="277"/>
                    </a:lnTo>
                    <a:lnTo>
                      <a:pt x="598" y="277"/>
                    </a:lnTo>
                    <a:lnTo>
                      <a:pt x="598" y="277"/>
                    </a:lnTo>
                    <a:lnTo>
                      <a:pt x="603" y="272"/>
                    </a:lnTo>
                    <a:lnTo>
                      <a:pt x="603" y="272"/>
                    </a:lnTo>
                    <a:lnTo>
                      <a:pt x="603" y="272"/>
                    </a:lnTo>
                    <a:lnTo>
                      <a:pt x="603" y="272"/>
                    </a:lnTo>
                    <a:lnTo>
                      <a:pt x="603" y="268"/>
                    </a:lnTo>
                    <a:lnTo>
                      <a:pt x="607" y="272"/>
                    </a:lnTo>
                    <a:lnTo>
                      <a:pt x="607" y="268"/>
                    </a:lnTo>
                    <a:lnTo>
                      <a:pt x="607" y="268"/>
                    </a:lnTo>
                    <a:lnTo>
                      <a:pt x="612" y="268"/>
                    </a:lnTo>
                    <a:lnTo>
                      <a:pt x="612" y="268"/>
                    </a:lnTo>
                    <a:lnTo>
                      <a:pt x="616" y="268"/>
                    </a:lnTo>
                    <a:lnTo>
                      <a:pt x="616" y="263"/>
                    </a:lnTo>
                    <a:lnTo>
                      <a:pt x="616" y="263"/>
                    </a:lnTo>
                    <a:lnTo>
                      <a:pt x="621" y="263"/>
                    </a:lnTo>
                    <a:lnTo>
                      <a:pt x="621" y="263"/>
                    </a:lnTo>
                    <a:lnTo>
                      <a:pt x="621" y="259"/>
                    </a:lnTo>
                    <a:lnTo>
                      <a:pt x="621" y="259"/>
                    </a:lnTo>
                    <a:lnTo>
                      <a:pt x="616" y="259"/>
                    </a:lnTo>
                    <a:moveTo>
                      <a:pt x="430" y="173"/>
                    </a:moveTo>
                    <a:lnTo>
                      <a:pt x="430" y="173"/>
                    </a:lnTo>
                    <a:lnTo>
                      <a:pt x="426" y="168"/>
                    </a:lnTo>
                    <a:lnTo>
                      <a:pt x="426" y="168"/>
                    </a:lnTo>
                    <a:lnTo>
                      <a:pt x="426" y="168"/>
                    </a:lnTo>
                    <a:lnTo>
                      <a:pt x="430" y="168"/>
                    </a:lnTo>
                    <a:lnTo>
                      <a:pt x="430" y="168"/>
                    </a:lnTo>
                    <a:lnTo>
                      <a:pt x="430" y="168"/>
                    </a:lnTo>
                    <a:lnTo>
                      <a:pt x="435" y="173"/>
                    </a:lnTo>
                    <a:lnTo>
                      <a:pt x="440" y="173"/>
                    </a:lnTo>
                    <a:lnTo>
                      <a:pt x="440" y="173"/>
                    </a:lnTo>
                    <a:lnTo>
                      <a:pt x="435" y="173"/>
                    </a:lnTo>
                    <a:lnTo>
                      <a:pt x="430" y="173"/>
                    </a:lnTo>
                    <a:moveTo>
                      <a:pt x="485" y="195"/>
                    </a:moveTo>
                    <a:lnTo>
                      <a:pt x="485" y="195"/>
                    </a:lnTo>
                    <a:lnTo>
                      <a:pt x="485" y="195"/>
                    </a:lnTo>
                    <a:lnTo>
                      <a:pt x="485" y="195"/>
                    </a:lnTo>
                    <a:lnTo>
                      <a:pt x="485" y="195"/>
                    </a:lnTo>
                    <a:moveTo>
                      <a:pt x="571" y="241"/>
                    </a:moveTo>
                    <a:lnTo>
                      <a:pt x="571" y="241"/>
                    </a:lnTo>
                    <a:lnTo>
                      <a:pt x="571" y="241"/>
                    </a:lnTo>
                    <a:lnTo>
                      <a:pt x="558" y="231"/>
                    </a:lnTo>
                    <a:lnTo>
                      <a:pt x="567" y="236"/>
                    </a:lnTo>
                    <a:lnTo>
                      <a:pt x="571" y="236"/>
                    </a:lnTo>
                    <a:lnTo>
                      <a:pt x="571" y="236"/>
                    </a:lnTo>
                    <a:lnTo>
                      <a:pt x="576" y="241"/>
                    </a:lnTo>
                    <a:lnTo>
                      <a:pt x="576" y="241"/>
                    </a:lnTo>
                    <a:lnTo>
                      <a:pt x="576" y="241"/>
                    </a:lnTo>
                    <a:lnTo>
                      <a:pt x="571" y="241"/>
                    </a:lnTo>
                    <a:lnTo>
                      <a:pt x="571" y="245"/>
                    </a:lnTo>
                    <a:lnTo>
                      <a:pt x="571" y="245"/>
                    </a:lnTo>
                    <a:lnTo>
                      <a:pt x="567" y="245"/>
                    </a:lnTo>
                    <a:lnTo>
                      <a:pt x="567" y="245"/>
                    </a:lnTo>
                    <a:lnTo>
                      <a:pt x="567" y="245"/>
                    </a:lnTo>
                    <a:lnTo>
                      <a:pt x="567" y="241"/>
                    </a:lnTo>
                    <a:lnTo>
                      <a:pt x="571" y="241"/>
                    </a:lnTo>
                    <a:moveTo>
                      <a:pt x="172" y="46"/>
                    </a:moveTo>
                    <a:lnTo>
                      <a:pt x="172" y="46"/>
                    </a:lnTo>
                    <a:lnTo>
                      <a:pt x="172" y="46"/>
                    </a:lnTo>
                    <a:lnTo>
                      <a:pt x="172" y="41"/>
                    </a:lnTo>
                    <a:lnTo>
                      <a:pt x="172" y="41"/>
                    </a:lnTo>
                    <a:lnTo>
                      <a:pt x="172" y="41"/>
                    </a:lnTo>
                    <a:lnTo>
                      <a:pt x="172" y="36"/>
                    </a:lnTo>
                    <a:lnTo>
                      <a:pt x="172" y="36"/>
                    </a:lnTo>
                    <a:lnTo>
                      <a:pt x="176" y="36"/>
                    </a:lnTo>
                    <a:lnTo>
                      <a:pt x="181" y="36"/>
                    </a:lnTo>
                    <a:lnTo>
                      <a:pt x="181" y="41"/>
                    </a:lnTo>
                    <a:lnTo>
                      <a:pt x="186" y="41"/>
                    </a:lnTo>
                    <a:lnTo>
                      <a:pt x="190" y="46"/>
                    </a:lnTo>
                    <a:lnTo>
                      <a:pt x="190" y="46"/>
                    </a:lnTo>
                    <a:lnTo>
                      <a:pt x="190" y="50"/>
                    </a:lnTo>
                    <a:lnTo>
                      <a:pt x="186" y="50"/>
                    </a:lnTo>
                    <a:lnTo>
                      <a:pt x="186" y="50"/>
                    </a:lnTo>
                    <a:lnTo>
                      <a:pt x="186" y="55"/>
                    </a:lnTo>
                    <a:lnTo>
                      <a:pt x="181" y="55"/>
                    </a:lnTo>
                    <a:lnTo>
                      <a:pt x="181" y="55"/>
                    </a:lnTo>
                    <a:lnTo>
                      <a:pt x="181" y="55"/>
                    </a:lnTo>
                    <a:lnTo>
                      <a:pt x="176" y="50"/>
                    </a:lnTo>
                    <a:lnTo>
                      <a:pt x="172" y="50"/>
                    </a:lnTo>
                    <a:lnTo>
                      <a:pt x="172" y="46"/>
                    </a:lnTo>
                    <a:moveTo>
                      <a:pt x="158" y="14"/>
                    </a:moveTo>
                    <a:lnTo>
                      <a:pt x="158" y="14"/>
                    </a:lnTo>
                    <a:lnTo>
                      <a:pt x="154" y="9"/>
                    </a:lnTo>
                    <a:lnTo>
                      <a:pt x="154" y="9"/>
                    </a:lnTo>
                    <a:lnTo>
                      <a:pt x="154" y="9"/>
                    </a:lnTo>
                    <a:lnTo>
                      <a:pt x="154" y="9"/>
                    </a:lnTo>
                    <a:lnTo>
                      <a:pt x="158" y="9"/>
                    </a:lnTo>
                    <a:lnTo>
                      <a:pt x="158" y="9"/>
                    </a:lnTo>
                    <a:lnTo>
                      <a:pt x="158" y="9"/>
                    </a:lnTo>
                    <a:lnTo>
                      <a:pt x="158" y="9"/>
                    </a:lnTo>
                    <a:lnTo>
                      <a:pt x="158" y="9"/>
                    </a:lnTo>
                    <a:lnTo>
                      <a:pt x="163" y="9"/>
                    </a:lnTo>
                    <a:lnTo>
                      <a:pt x="163" y="9"/>
                    </a:lnTo>
                    <a:lnTo>
                      <a:pt x="163" y="14"/>
                    </a:lnTo>
                    <a:lnTo>
                      <a:pt x="163" y="27"/>
                    </a:lnTo>
                    <a:lnTo>
                      <a:pt x="163" y="32"/>
                    </a:lnTo>
                    <a:lnTo>
                      <a:pt x="163" y="32"/>
                    </a:lnTo>
                    <a:lnTo>
                      <a:pt x="158" y="32"/>
                    </a:lnTo>
                    <a:lnTo>
                      <a:pt x="158" y="32"/>
                    </a:lnTo>
                    <a:lnTo>
                      <a:pt x="163" y="32"/>
                    </a:lnTo>
                    <a:lnTo>
                      <a:pt x="158" y="27"/>
                    </a:lnTo>
                    <a:lnTo>
                      <a:pt x="158" y="23"/>
                    </a:lnTo>
                    <a:lnTo>
                      <a:pt x="158" y="18"/>
                    </a:lnTo>
                    <a:lnTo>
                      <a:pt x="158" y="14"/>
                    </a:lnTo>
                    <a:lnTo>
                      <a:pt x="158" y="14"/>
                    </a:lnTo>
                    <a:moveTo>
                      <a:pt x="9" y="440"/>
                    </a:moveTo>
                    <a:lnTo>
                      <a:pt x="9" y="440"/>
                    </a:lnTo>
                    <a:lnTo>
                      <a:pt x="9" y="440"/>
                    </a:lnTo>
                    <a:lnTo>
                      <a:pt x="9" y="440"/>
                    </a:lnTo>
                    <a:lnTo>
                      <a:pt x="9" y="436"/>
                    </a:lnTo>
                    <a:lnTo>
                      <a:pt x="9" y="436"/>
                    </a:lnTo>
                    <a:lnTo>
                      <a:pt x="13" y="431"/>
                    </a:lnTo>
                    <a:lnTo>
                      <a:pt x="13" y="431"/>
                    </a:lnTo>
                    <a:lnTo>
                      <a:pt x="13" y="431"/>
                    </a:lnTo>
                    <a:lnTo>
                      <a:pt x="18" y="431"/>
                    </a:lnTo>
                    <a:lnTo>
                      <a:pt x="18" y="431"/>
                    </a:lnTo>
                    <a:lnTo>
                      <a:pt x="22" y="431"/>
                    </a:lnTo>
                    <a:lnTo>
                      <a:pt x="22" y="431"/>
                    </a:lnTo>
                    <a:lnTo>
                      <a:pt x="22" y="431"/>
                    </a:lnTo>
                    <a:lnTo>
                      <a:pt x="22" y="436"/>
                    </a:lnTo>
                    <a:lnTo>
                      <a:pt x="18" y="440"/>
                    </a:lnTo>
                    <a:lnTo>
                      <a:pt x="18" y="440"/>
                    </a:lnTo>
                    <a:lnTo>
                      <a:pt x="18" y="445"/>
                    </a:lnTo>
                    <a:lnTo>
                      <a:pt x="18" y="449"/>
                    </a:lnTo>
                    <a:lnTo>
                      <a:pt x="18" y="449"/>
                    </a:lnTo>
                    <a:lnTo>
                      <a:pt x="13" y="454"/>
                    </a:lnTo>
                    <a:lnTo>
                      <a:pt x="9" y="454"/>
                    </a:lnTo>
                    <a:lnTo>
                      <a:pt x="9" y="454"/>
                    </a:lnTo>
                    <a:lnTo>
                      <a:pt x="9" y="449"/>
                    </a:lnTo>
                    <a:lnTo>
                      <a:pt x="9" y="449"/>
                    </a:lnTo>
                    <a:lnTo>
                      <a:pt x="9" y="449"/>
                    </a:lnTo>
                    <a:lnTo>
                      <a:pt x="9" y="449"/>
                    </a:lnTo>
                    <a:lnTo>
                      <a:pt x="9" y="445"/>
                    </a:lnTo>
                    <a:lnTo>
                      <a:pt x="9" y="445"/>
                    </a:lnTo>
                    <a:lnTo>
                      <a:pt x="9" y="44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4" name="Freeform 32"/>
              <p:cNvSpPr>
                <a:spLocks/>
              </p:cNvSpPr>
              <p:nvPr/>
            </p:nvSpPr>
            <p:spPr bwMode="auto">
              <a:xfrm>
                <a:off x="2614613" y="2527300"/>
                <a:ext cx="230188" cy="187325"/>
              </a:xfrm>
              <a:custGeom>
                <a:avLst/>
                <a:gdLst>
                  <a:gd name="T0" fmla="*/ 4 w 145"/>
                  <a:gd name="T1" fmla="*/ 91 h 118"/>
                  <a:gd name="T2" fmla="*/ 4 w 145"/>
                  <a:gd name="T3" fmla="*/ 91 h 118"/>
                  <a:gd name="T4" fmla="*/ 9 w 145"/>
                  <a:gd name="T5" fmla="*/ 91 h 118"/>
                  <a:gd name="T6" fmla="*/ 9 w 145"/>
                  <a:gd name="T7" fmla="*/ 96 h 118"/>
                  <a:gd name="T8" fmla="*/ 18 w 145"/>
                  <a:gd name="T9" fmla="*/ 96 h 118"/>
                  <a:gd name="T10" fmla="*/ 22 w 145"/>
                  <a:gd name="T11" fmla="*/ 91 h 118"/>
                  <a:gd name="T12" fmla="*/ 18 w 145"/>
                  <a:gd name="T13" fmla="*/ 100 h 118"/>
                  <a:gd name="T14" fmla="*/ 31 w 145"/>
                  <a:gd name="T15" fmla="*/ 100 h 118"/>
                  <a:gd name="T16" fmla="*/ 27 w 145"/>
                  <a:gd name="T17" fmla="*/ 91 h 118"/>
                  <a:gd name="T18" fmla="*/ 31 w 145"/>
                  <a:gd name="T19" fmla="*/ 91 h 118"/>
                  <a:gd name="T20" fmla="*/ 41 w 145"/>
                  <a:gd name="T21" fmla="*/ 96 h 118"/>
                  <a:gd name="T22" fmla="*/ 41 w 145"/>
                  <a:gd name="T23" fmla="*/ 91 h 118"/>
                  <a:gd name="T24" fmla="*/ 45 w 145"/>
                  <a:gd name="T25" fmla="*/ 91 h 118"/>
                  <a:gd name="T26" fmla="*/ 41 w 145"/>
                  <a:gd name="T27" fmla="*/ 87 h 118"/>
                  <a:gd name="T28" fmla="*/ 41 w 145"/>
                  <a:gd name="T29" fmla="*/ 82 h 118"/>
                  <a:gd name="T30" fmla="*/ 45 w 145"/>
                  <a:gd name="T31" fmla="*/ 82 h 118"/>
                  <a:gd name="T32" fmla="*/ 50 w 145"/>
                  <a:gd name="T33" fmla="*/ 87 h 118"/>
                  <a:gd name="T34" fmla="*/ 59 w 145"/>
                  <a:gd name="T35" fmla="*/ 82 h 118"/>
                  <a:gd name="T36" fmla="*/ 59 w 145"/>
                  <a:gd name="T37" fmla="*/ 73 h 118"/>
                  <a:gd name="T38" fmla="*/ 63 w 145"/>
                  <a:gd name="T39" fmla="*/ 78 h 118"/>
                  <a:gd name="T40" fmla="*/ 68 w 145"/>
                  <a:gd name="T41" fmla="*/ 78 h 118"/>
                  <a:gd name="T42" fmla="*/ 72 w 145"/>
                  <a:gd name="T43" fmla="*/ 69 h 118"/>
                  <a:gd name="T44" fmla="*/ 63 w 145"/>
                  <a:gd name="T45" fmla="*/ 50 h 118"/>
                  <a:gd name="T46" fmla="*/ 59 w 145"/>
                  <a:gd name="T47" fmla="*/ 37 h 118"/>
                  <a:gd name="T48" fmla="*/ 63 w 145"/>
                  <a:gd name="T49" fmla="*/ 28 h 118"/>
                  <a:gd name="T50" fmla="*/ 77 w 145"/>
                  <a:gd name="T51" fmla="*/ 14 h 118"/>
                  <a:gd name="T52" fmla="*/ 77 w 145"/>
                  <a:gd name="T53" fmla="*/ 5 h 118"/>
                  <a:gd name="T54" fmla="*/ 90 w 145"/>
                  <a:gd name="T55" fmla="*/ 0 h 118"/>
                  <a:gd name="T56" fmla="*/ 95 w 145"/>
                  <a:gd name="T57" fmla="*/ 5 h 118"/>
                  <a:gd name="T58" fmla="*/ 95 w 145"/>
                  <a:gd name="T59" fmla="*/ 14 h 118"/>
                  <a:gd name="T60" fmla="*/ 99 w 145"/>
                  <a:gd name="T61" fmla="*/ 19 h 118"/>
                  <a:gd name="T62" fmla="*/ 109 w 145"/>
                  <a:gd name="T63" fmla="*/ 19 h 118"/>
                  <a:gd name="T64" fmla="*/ 122 w 145"/>
                  <a:gd name="T65" fmla="*/ 23 h 118"/>
                  <a:gd name="T66" fmla="*/ 131 w 145"/>
                  <a:gd name="T67" fmla="*/ 32 h 118"/>
                  <a:gd name="T68" fmla="*/ 140 w 145"/>
                  <a:gd name="T69" fmla="*/ 32 h 118"/>
                  <a:gd name="T70" fmla="*/ 136 w 145"/>
                  <a:gd name="T71" fmla="*/ 46 h 118"/>
                  <a:gd name="T72" fmla="*/ 140 w 145"/>
                  <a:gd name="T73" fmla="*/ 50 h 118"/>
                  <a:gd name="T74" fmla="*/ 145 w 145"/>
                  <a:gd name="T75" fmla="*/ 55 h 118"/>
                  <a:gd name="T76" fmla="*/ 145 w 145"/>
                  <a:gd name="T77" fmla="*/ 64 h 118"/>
                  <a:gd name="T78" fmla="*/ 136 w 145"/>
                  <a:gd name="T79" fmla="*/ 69 h 118"/>
                  <a:gd name="T80" fmla="*/ 127 w 145"/>
                  <a:gd name="T81" fmla="*/ 69 h 118"/>
                  <a:gd name="T82" fmla="*/ 113 w 145"/>
                  <a:gd name="T83" fmla="*/ 73 h 118"/>
                  <a:gd name="T84" fmla="*/ 109 w 145"/>
                  <a:gd name="T85" fmla="*/ 69 h 118"/>
                  <a:gd name="T86" fmla="*/ 99 w 145"/>
                  <a:gd name="T87" fmla="*/ 69 h 118"/>
                  <a:gd name="T88" fmla="*/ 95 w 145"/>
                  <a:gd name="T89" fmla="*/ 69 h 118"/>
                  <a:gd name="T90" fmla="*/ 77 w 145"/>
                  <a:gd name="T91" fmla="*/ 78 h 118"/>
                  <a:gd name="T92" fmla="*/ 72 w 145"/>
                  <a:gd name="T93" fmla="*/ 82 h 118"/>
                  <a:gd name="T94" fmla="*/ 77 w 145"/>
                  <a:gd name="T95" fmla="*/ 91 h 118"/>
                  <a:gd name="T96" fmla="*/ 72 w 145"/>
                  <a:gd name="T97" fmla="*/ 91 h 118"/>
                  <a:gd name="T98" fmla="*/ 68 w 145"/>
                  <a:gd name="T99" fmla="*/ 96 h 118"/>
                  <a:gd name="T100" fmla="*/ 63 w 145"/>
                  <a:gd name="T101" fmla="*/ 96 h 118"/>
                  <a:gd name="T102" fmla="*/ 59 w 145"/>
                  <a:gd name="T103" fmla="*/ 100 h 118"/>
                  <a:gd name="T104" fmla="*/ 54 w 145"/>
                  <a:gd name="T105" fmla="*/ 100 h 118"/>
                  <a:gd name="T106" fmla="*/ 50 w 145"/>
                  <a:gd name="T107" fmla="*/ 109 h 118"/>
                  <a:gd name="T108" fmla="*/ 45 w 145"/>
                  <a:gd name="T109" fmla="*/ 114 h 118"/>
                  <a:gd name="T110" fmla="*/ 36 w 145"/>
                  <a:gd name="T111" fmla="*/ 114 h 118"/>
                  <a:gd name="T112" fmla="*/ 9 w 145"/>
                  <a:gd name="T113" fmla="*/ 114 h 118"/>
                  <a:gd name="T114" fmla="*/ 0 w 145"/>
                  <a:gd name="T115" fmla="*/ 105 h 118"/>
                  <a:gd name="T116" fmla="*/ 0 w 145"/>
                  <a:gd name="T117" fmla="*/ 100 h 118"/>
                  <a:gd name="T118" fmla="*/ 0 w 145"/>
                  <a:gd name="T119" fmla="*/ 96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5" h="118">
                    <a:moveTo>
                      <a:pt x="4" y="91"/>
                    </a:moveTo>
                    <a:lnTo>
                      <a:pt x="4" y="91"/>
                    </a:lnTo>
                    <a:lnTo>
                      <a:pt x="4" y="91"/>
                    </a:lnTo>
                    <a:lnTo>
                      <a:pt x="4" y="91"/>
                    </a:lnTo>
                    <a:lnTo>
                      <a:pt x="4" y="91"/>
                    </a:lnTo>
                    <a:lnTo>
                      <a:pt x="4" y="91"/>
                    </a:lnTo>
                    <a:lnTo>
                      <a:pt x="4" y="91"/>
                    </a:lnTo>
                    <a:lnTo>
                      <a:pt x="4" y="91"/>
                    </a:lnTo>
                    <a:lnTo>
                      <a:pt x="4" y="91"/>
                    </a:lnTo>
                    <a:lnTo>
                      <a:pt x="4" y="91"/>
                    </a:lnTo>
                    <a:lnTo>
                      <a:pt x="4" y="91"/>
                    </a:lnTo>
                    <a:lnTo>
                      <a:pt x="9" y="91"/>
                    </a:lnTo>
                    <a:lnTo>
                      <a:pt x="9" y="91"/>
                    </a:lnTo>
                    <a:lnTo>
                      <a:pt x="9" y="96"/>
                    </a:lnTo>
                    <a:lnTo>
                      <a:pt x="9" y="96"/>
                    </a:lnTo>
                    <a:lnTo>
                      <a:pt x="9" y="96"/>
                    </a:lnTo>
                    <a:lnTo>
                      <a:pt x="13" y="96"/>
                    </a:lnTo>
                    <a:lnTo>
                      <a:pt x="13" y="96"/>
                    </a:lnTo>
                    <a:lnTo>
                      <a:pt x="13" y="96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22" y="91"/>
                    </a:lnTo>
                    <a:lnTo>
                      <a:pt x="22" y="91"/>
                    </a:lnTo>
                    <a:lnTo>
                      <a:pt x="22" y="91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27" y="100"/>
                    </a:lnTo>
                    <a:lnTo>
                      <a:pt x="31" y="100"/>
                    </a:lnTo>
                    <a:lnTo>
                      <a:pt x="31" y="100"/>
                    </a:lnTo>
                    <a:lnTo>
                      <a:pt x="31" y="96"/>
                    </a:lnTo>
                    <a:lnTo>
                      <a:pt x="31" y="96"/>
                    </a:lnTo>
                    <a:lnTo>
                      <a:pt x="31" y="96"/>
                    </a:lnTo>
                    <a:lnTo>
                      <a:pt x="27" y="91"/>
                    </a:lnTo>
                    <a:lnTo>
                      <a:pt x="27" y="91"/>
                    </a:lnTo>
                    <a:lnTo>
                      <a:pt x="27" y="91"/>
                    </a:lnTo>
                    <a:lnTo>
                      <a:pt x="31" y="91"/>
                    </a:lnTo>
                    <a:lnTo>
                      <a:pt x="31" y="91"/>
                    </a:lnTo>
                    <a:lnTo>
                      <a:pt x="31" y="91"/>
                    </a:lnTo>
                    <a:lnTo>
                      <a:pt x="36" y="91"/>
                    </a:lnTo>
                    <a:lnTo>
                      <a:pt x="36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1" y="91"/>
                    </a:lnTo>
                    <a:lnTo>
                      <a:pt x="41" y="91"/>
                    </a:lnTo>
                    <a:lnTo>
                      <a:pt x="41" y="91"/>
                    </a:lnTo>
                    <a:lnTo>
                      <a:pt x="41" y="91"/>
                    </a:lnTo>
                    <a:lnTo>
                      <a:pt x="41" y="91"/>
                    </a:lnTo>
                    <a:lnTo>
                      <a:pt x="41" y="91"/>
                    </a:lnTo>
                    <a:lnTo>
                      <a:pt x="45" y="91"/>
                    </a:lnTo>
                    <a:lnTo>
                      <a:pt x="45" y="87"/>
                    </a:lnTo>
                    <a:lnTo>
                      <a:pt x="45" y="87"/>
                    </a:lnTo>
                    <a:lnTo>
                      <a:pt x="45" y="87"/>
                    </a:lnTo>
                    <a:lnTo>
                      <a:pt x="41" y="87"/>
                    </a:lnTo>
                    <a:lnTo>
                      <a:pt x="41" y="82"/>
                    </a:lnTo>
                    <a:lnTo>
                      <a:pt x="41" y="82"/>
                    </a:lnTo>
                    <a:lnTo>
                      <a:pt x="41" y="82"/>
                    </a:lnTo>
                    <a:lnTo>
                      <a:pt x="41" y="82"/>
                    </a:lnTo>
                    <a:lnTo>
                      <a:pt x="41" y="82"/>
                    </a:lnTo>
                    <a:lnTo>
                      <a:pt x="45" y="82"/>
                    </a:lnTo>
                    <a:lnTo>
                      <a:pt x="45" y="82"/>
                    </a:lnTo>
                    <a:lnTo>
                      <a:pt x="45" y="82"/>
                    </a:lnTo>
                    <a:lnTo>
                      <a:pt x="45" y="87"/>
                    </a:lnTo>
                    <a:lnTo>
                      <a:pt x="45" y="87"/>
                    </a:lnTo>
                    <a:lnTo>
                      <a:pt x="45" y="87"/>
                    </a:lnTo>
                    <a:lnTo>
                      <a:pt x="50" y="87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59" y="78"/>
                    </a:lnTo>
                    <a:lnTo>
                      <a:pt x="59" y="78"/>
                    </a:lnTo>
                    <a:lnTo>
                      <a:pt x="59" y="78"/>
                    </a:lnTo>
                    <a:lnTo>
                      <a:pt x="59" y="73"/>
                    </a:lnTo>
                    <a:lnTo>
                      <a:pt x="59" y="69"/>
                    </a:lnTo>
                    <a:lnTo>
                      <a:pt x="63" y="69"/>
                    </a:lnTo>
                    <a:lnTo>
                      <a:pt x="63" y="73"/>
                    </a:lnTo>
                    <a:lnTo>
                      <a:pt x="63" y="78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3"/>
                    </a:lnTo>
                    <a:lnTo>
                      <a:pt x="72" y="73"/>
                    </a:lnTo>
                    <a:lnTo>
                      <a:pt x="72" y="69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63" y="50"/>
                    </a:lnTo>
                    <a:lnTo>
                      <a:pt x="63" y="50"/>
                    </a:lnTo>
                    <a:lnTo>
                      <a:pt x="63" y="46"/>
                    </a:lnTo>
                    <a:lnTo>
                      <a:pt x="63" y="46"/>
                    </a:lnTo>
                    <a:lnTo>
                      <a:pt x="59" y="41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3" y="32"/>
                    </a:lnTo>
                    <a:lnTo>
                      <a:pt x="63" y="28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0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86" y="5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0" y="5"/>
                    </a:lnTo>
                    <a:lnTo>
                      <a:pt x="95" y="5"/>
                    </a:lnTo>
                    <a:lnTo>
                      <a:pt x="95" y="5"/>
                    </a:lnTo>
                    <a:lnTo>
                      <a:pt x="95" y="5"/>
                    </a:lnTo>
                    <a:lnTo>
                      <a:pt x="95" y="10"/>
                    </a:lnTo>
                    <a:lnTo>
                      <a:pt x="95" y="14"/>
                    </a:lnTo>
                    <a:lnTo>
                      <a:pt x="95" y="14"/>
                    </a:lnTo>
                    <a:lnTo>
                      <a:pt x="95" y="14"/>
                    </a:lnTo>
                    <a:lnTo>
                      <a:pt x="95" y="14"/>
                    </a:lnTo>
                    <a:lnTo>
                      <a:pt x="99" y="19"/>
                    </a:lnTo>
                    <a:lnTo>
                      <a:pt x="99" y="19"/>
                    </a:lnTo>
                    <a:lnTo>
                      <a:pt x="104" y="19"/>
                    </a:lnTo>
                    <a:lnTo>
                      <a:pt x="109" y="19"/>
                    </a:lnTo>
                    <a:lnTo>
                      <a:pt x="109" y="19"/>
                    </a:lnTo>
                    <a:lnTo>
                      <a:pt x="109" y="19"/>
                    </a:lnTo>
                    <a:lnTo>
                      <a:pt x="113" y="19"/>
                    </a:lnTo>
                    <a:lnTo>
                      <a:pt x="113" y="19"/>
                    </a:lnTo>
                    <a:lnTo>
                      <a:pt x="118" y="19"/>
                    </a:lnTo>
                    <a:lnTo>
                      <a:pt x="122" y="23"/>
                    </a:lnTo>
                    <a:lnTo>
                      <a:pt x="127" y="23"/>
                    </a:lnTo>
                    <a:lnTo>
                      <a:pt x="127" y="28"/>
                    </a:lnTo>
                    <a:lnTo>
                      <a:pt x="131" y="32"/>
                    </a:lnTo>
                    <a:lnTo>
                      <a:pt x="131" y="32"/>
                    </a:lnTo>
                    <a:lnTo>
                      <a:pt x="140" y="28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36" y="37"/>
                    </a:lnTo>
                    <a:lnTo>
                      <a:pt x="136" y="41"/>
                    </a:lnTo>
                    <a:lnTo>
                      <a:pt x="136" y="46"/>
                    </a:lnTo>
                    <a:lnTo>
                      <a:pt x="136" y="46"/>
                    </a:lnTo>
                    <a:lnTo>
                      <a:pt x="136" y="46"/>
                    </a:lnTo>
                    <a:lnTo>
                      <a:pt x="136" y="50"/>
                    </a:lnTo>
                    <a:lnTo>
                      <a:pt x="136" y="50"/>
                    </a:lnTo>
                    <a:lnTo>
                      <a:pt x="140" y="50"/>
                    </a:lnTo>
                    <a:lnTo>
                      <a:pt x="140" y="50"/>
                    </a:lnTo>
                    <a:lnTo>
                      <a:pt x="145" y="50"/>
                    </a:lnTo>
                    <a:lnTo>
                      <a:pt x="145" y="55"/>
                    </a:lnTo>
                    <a:lnTo>
                      <a:pt x="145" y="55"/>
                    </a:lnTo>
                    <a:lnTo>
                      <a:pt x="145" y="59"/>
                    </a:lnTo>
                    <a:lnTo>
                      <a:pt x="145" y="59"/>
                    </a:lnTo>
                    <a:lnTo>
                      <a:pt x="145" y="64"/>
                    </a:lnTo>
                    <a:lnTo>
                      <a:pt x="145" y="64"/>
                    </a:lnTo>
                    <a:lnTo>
                      <a:pt x="145" y="64"/>
                    </a:lnTo>
                    <a:lnTo>
                      <a:pt x="140" y="69"/>
                    </a:lnTo>
                    <a:lnTo>
                      <a:pt x="140" y="69"/>
                    </a:lnTo>
                    <a:lnTo>
                      <a:pt x="136" y="69"/>
                    </a:lnTo>
                    <a:lnTo>
                      <a:pt x="136" y="69"/>
                    </a:lnTo>
                    <a:lnTo>
                      <a:pt x="131" y="69"/>
                    </a:lnTo>
                    <a:lnTo>
                      <a:pt x="127" y="69"/>
                    </a:lnTo>
                    <a:lnTo>
                      <a:pt x="127" y="69"/>
                    </a:lnTo>
                    <a:lnTo>
                      <a:pt x="113" y="69"/>
                    </a:lnTo>
                    <a:lnTo>
                      <a:pt x="113" y="69"/>
                    </a:lnTo>
                    <a:lnTo>
                      <a:pt x="113" y="69"/>
                    </a:lnTo>
                    <a:lnTo>
                      <a:pt x="113" y="73"/>
                    </a:lnTo>
                    <a:lnTo>
                      <a:pt x="113" y="73"/>
                    </a:lnTo>
                    <a:lnTo>
                      <a:pt x="109" y="69"/>
                    </a:lnTo>
                    <a:lnTo>
                      <a:pt x="109" y="69"/>
                    </a:lnTo>
                    <a:lnTo>
                      <a:pt x="109" y="69"/>
                    </a:lnTo>
                    <a:lnTo>
                      <a:pt x="104" y="69"/>
                    </a:lnTo>
                    <a:lnTo>
                      <a:pt x="104" y="69"/>
                    </a:lnTo>
                    <a:lnTo>
                      <a:pt x="99" y="69"/>
                    </a:lnTo>
                    <a:lnTo>
                      <a:pt x="99" y="69"/>
                    </a:lnTo>
                    <a:lnTo>
                      <a:pt x="95" y="69"/>
                    </a:lnTo>
                    <a:lnTo>
                      <a:pt x="95" y="69"/>
                    </a:lnTo>
                    <a:lnTo>
                      <a:pt x="95" y="69"/>
                    </a:lnTo>
                    <a:lnTo>
                      <a:pt x="95" y="69"/>
                    </a:lnTo>
                    <a:lnTo>
                      <a:pt x="90" y="78"/>
                    </a:lnTo>
                    <a:lnTo>
                      <a:pt x="86" y="82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2" y="78"/>
                    </a:lnTo>
                    <a:lnTo>
                      <a:pt x="72" y="82"/>
                    </a:lnTo>
                    <a:lnTo>
                      <a:pt x="72" y="82"/>
                    </a:lnTo>
                    <a:lnTo>
                      <a:pt x="72" y="82"/>
                    </a:lnTo>
                    <a:lnTo>
                      <a:pt x="72" y="82"/>
                    </a:lnTo>
                    <a:lnTo>
                      <a:pt x="72" y="87"/>
                    </a:lnTo>
                    <a:lnTo>
                      <a:pt x="77" y="87"/>
                    </a:lnTo>
                    <a:lnTo>
                      <a:pt x="77" y="91"/>
                    </a:lnTo>
                    <a:lnTo>
                      <a:pt x="77" y="91"/>
                    </a:lnTo>
                    <a:lnTo>
                      <a:pt x="72" y="91"/>
                    </a:lnTo>
                    <a:lnTo>
                      <a:pt x="72" y="91"/>
                    </a:lnTo>
                    <a:lnTo>
                      <a:pt x="72" y="91"/>
                    </a:lnTo>
                    <a:lnTo>
                      <a:pt x="68" y="91"/>
                    </a:lnTo>
                    <a:lnTo>
                      <a:pt x="68" y="91"/>
                    </a:lnTo>
                    <a:lnTo>
                      <a:pt x="68" y="96"/>
                    </a:lnTo>
                    <a:lnTo>
                      <a:pt x="68" y="96"/>
                    </a:lnTo>
                    <a:lnTo>
                      <a:pt x="68" y="96"/>
                    </a:lnTo>
                    <a:lnTo>
                      <a:pt x="68" y="96"/>
                    </a:lnTo>
                    <a:lnTo>
                      <a:pt x="68" y="96"/>
                    </a:lnTo>
                    <a:lnTo>
                      <a:pt x="63" y="96"/>
                    </a:lnTo>
                    <a:lnTo>
                      <a:pt x="63" y="96"/>
                    </a:lnTo>
                    <a:lnTo>
                      <a:pt x="63" y="100"/>
                    </a:lnTo>
                    <a:lnTo>
                      <a:pt x="59" y="100"/>
                    </a:lnTo>
                    <a:lnTo>
                      <a:pt x="59" y="100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0" y="109"/>
                    </a:lnTo>
                    <a:lnTo>
                      <a:pt x="50" y="109"/>
                    </a:lnTo>
                    <a:lnTo>
                      <a:pt x="45" y="114"/>
                    </a:lnTo>
                    <a:lnTo>
                      <a:pt x="45" y="114"/>
                    </a:lnTo>
                    <a:lnTo>
                      <a:pt x="45" y="114"/>
                    </a:lnTo>
                    <a:lnTo>
                      <a:pt x="45" y="114"/>
                    </a:lnTo>
                    <a:lnTo>
                      <a:pt x="41" y="114"/>
                    </a:lnTo>
                    <a:lnTo>
                      <a:pt x="41" y="114"/>
                    </a:lnTo>
                    <a:lnTo>
                      <a:pt x="36" y="114"/>
                    </a:lnTo>
                    <a:lnTo>
                      <a:pt x="31" y="118"/>
                    </a:lnTo>
                    <a:lnTo>
                      <a:pt x="27" y="118"/>
                    </a:lnTo>
                    <a:lnTo>
                      <a:pt x="9" y="114"/>
                    </a:lnTo>
                    <a:lnTo>
                      <a:pt x="9" y="114"/>
                    </a:lnTo>
                    <a:lnTo>
                      <a:pt x="4" y="109"/>
                    </a:lnTo>
                    <a:lnTo>
                      <a:pt x="4" y="109"/>
                    </a:lnTo>
                    <a:lnTo>
                      <a:pt x="4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91"/>
                    </a:lnTo>
                    <a:lnTo>
                      <a:pt x="4" y="91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5" name="Freeform 33"/>
              <p:cNvSpPr>
                <a:spLocks noEditPoints="1"/>
              </p:cNvSpPr>
              <p:nvPr/>
            </p:nvSpPr>
            <p:spPr bwMode="auto">
              <a:xfrm>
                <a:off x="2405063" y="2636838"/>
                <a:ext cx="201613" cy="293687"/>
              </a:xfrm>
              <a:custGeom>
                <a:avLst/>
                <a:gdLst>
                  <a:gd name="T0" fmla="*/ 127 w 127"/>
                  <a:gd name="T1" fmla="*/ 127 h 185"/>
                  <a:gd name="T2" fmla="*/ 127 w 127"/>
                  <a:gd name="T3" fmla="*/ 113 h 185"/>
                  <a:gd name="T4" fmla="*/ 127 w 127"/>
                  <a:gd name="T5" fmla="*/ 99 h 185"/>
                  <a:gd name="T6" fmla="*/ 118 w 127"/>
                  <a:gd name="T7" fmla="*/ 86 h 185"/>
                  <a:gd name="T8" fmla="*/ 123 w 127"/>
                  <a:gd name="T9" fmla="*/ 81 h 185"/>
                  <a:gd name="T10" fmla="*/ 118 w 127"/>
                  <a:gd name="T11" fmla="*/ 72 h 185"/>
                  <a:gd name="T12" fmla="*/ 114 w 127"/>
                  <a:gd name="T13" fmla="*/ 68 h 185"/>
                  <a:gd name="T14" fmla="*/ 104 w 127"/>
                  <a:gd name="T15" fmla="*/ 63 h 185"/>
                  <a:gd name="T16" fmla="*/ 95 w 127"/>
                  <a:gd name="T17" fmla="*/ 58 h 185"/>
                  <a:gd name="T18" fmla="*/ 86 w 127"/>
                  <a:gd name="T19" fmla="*/ 54 h 185"/>
                  <a:gd name="T20" fmla="*/ 77 w 127"/>
                  <a:gd name="T21" fmla="*/ 49 h 185"/>
                  <a:gd name="T22" fmla="*/ 77 w 127"/>
                  <a:gd name="T23" fmla="*/ 40 h 185"/>
                  <a:gd name="T24" fmla="*/ 82 w 127"/>
                  <a:gd name="T25" fmla="*/ 40 h 185"/>
                  <a:gd name="T26" fmla="*/ 86 w 127"/>
                  <a:gd name="T27" fmla="*/ 40 h 185"/>
                  <a:gd name="T28" fmla="*/ 91 w 127"/>
                  <a:gd name="T29" fmla="*/ 27 h 185"/>
                  <a:gd name="T30" fmla="*/ 86 w 127"/>
                  <a:gd name="T31" fmla="*/ 22 h 185"/>
                  <a:gd name="T32" fmla="*/ 73 w 127"/>
                  <a:gd name="T33" fmla="*/ 18 h 185"/>
                  <a:gd name="T34" fmla="*/ 73 w 127"/>
                  <a:gd name="T35" fmla="*/ 9 h 185"/>
                  <a:gd name="T36" fmla="*/ 68 w 127"/>
                  <a:gd name="T37" fmla="*/ 4 h 185"/>
                  <a:gd name="T38" fmla="*/ 50 w 127"/>
                  <a:gd name="T39" fmla="*/ 4 h 185"/>
                  <a:gd name="T40" fmla="*/ 23 w 127"/>
                  <a:gd name="T41" fmla="*/ 4 h 185"/>
                  <a:gd name="T42" fmla="*/ 23 w 127"/>
                  <a:gd name="T43" fmla="*/ 27 h 185"/>
                  <a:gd name="T44" fmla="*/ 32 w 127"/>
                  <a:gd name="T45" fmla="*/ 40 h 185"/>
                  <a:gd name="T46" fmla="*/ 32 w 127"/>
                  <a:gd name="T47" fmla="*/ 49 h 185"/>
                  <a:gd name="T48" fmla="*/ 23 w 127"/>
                  <a:gd name="T49" fmla="*/ 54 h 185"/>
                  <a:gd name="T50" fmla="*/ 18 w 127"/>
                  <a:gd name="T51" fmla="*/ 63 h 185"/>
                  <a:gd name="T52" fmla="*/ 14 w 127"/>
                  <a:gd name="T53" fmla="*/ 68 h 185"/>
                  <a:gd name="T54" fmla="*/ 5 w 127"/>
                  <a:gd name="T55" fmla="*/ 81 h 185"/>
                  <a:gd name="T56" fmla="*/ 0 w 127"/>
                  <a:gd name="T57" fmla="*/ 99 h 185"/>
                  <a:gd name="T58" fmla="*/ 5 w 127"/>
                  <a:gd name="T59" fmla="*/ 108 h 185"/>
                  <a:gd name="T60" fmla="*/ 5 w 127"/>
                  <a:gd name="T61" fmla="*/ 117 h 185"/>
                  <a:gd name="T62" fmla="*/ 14 w 127"/>
                  <a:gd name="T63" fmla="*/ 117 h 185"/>
                  <a:gd name="T64" fmla="*/ 18 w 127"/>
                  <a:gd name="T65" fmla="*/ 117 h 185"/>
                  <a:gd name="T66" fmla="*/ 23 w 127"/>
                  <a:gd name="T67" fmla="*/ 113 h 185"/>
                  <a:gd name="T68" fmla="*/ 27 w 127"/>
                  <a:gd name="T69" fmla="*/ 108 h 185"/>
                  <a:gd name="T70" fmla="*/ 27 w 127"/>
                  <a:gd name="T71" fmla="*/ 113 h 185"/>
                  <a:gd name="T72" fmla="*/ 32 w 127"/>
                  <a:gd name="T73" fmla="*/ 113 h 185"/>
                  <a:gd name="T74" fmla="*/ 55 w 127"/>
                  <a:gd name="T75" fmla="*/ 117 h 185"/>
                  <a:gd name="T76" fmla="*/ 73 w 127"/>
                  <a:gd name="T77" fmla="*/ 131 h 185"/>
                  <a:gd name="T78" fmla="*/ 95 w 127"/>
                  <a:gd name="T79" fmla="*/ 136 h 185"/>
                  <a:gd name="T80" fmla="*/ 114 w 127"/>
                  <a:gd name="T81" fmla="*/ 127 h 185"/>
                  <a:gd name="T82" fmla="*/ 118 w 127"/>
                  <a:gd name="T83" fmla="*/ 127 h 185"/>
                  <a:gd name="T84" fmla="*/ 127 w 127"/>
                  <a:gd name="T85" fmla="*/ 127 h 185"/>
                  <a:gd name="T86" fmla="*/ 77 w 127"/>
                  <a:gd name="T87" fmla="*/ 145 h 185"/>
                  <a:gd name="T88" fmla="*/ 68 w 127"/>
                  <a:gd name="T89" fmla="*/ 163 h 185"/>
                  <a:gd name="T90" fmla="*/ 68 w 127"/>
                  <a:gd name="T91" fmla="*/ 172 h 185"/>
                  <a:gd name="T92" fmla="*/ 68 w 127"/>
                  <a:gd name="T93" fmla="*/ 181 h 185"/>
                  <a:gd name="T94" fmla="*/ 59 w 127"/>
                  <a:gd name="T95" fmla="*/ 185 h 185"/>
                  <a:gd name="T96" fmla="*/ 45 w 127"/>
                  <a:gd name="T97" fmla="*/ 181 h 185"/>
                  <a:gd name="T98" fmla="*/ 59 w 127"/>
                  <a:gd name="T99" fmla="*/ 154 h 185"/>
                  <a:gd name="T100" fmla="*/ 64 w 127"/>
                  <a:gd name="T101" fmla="*/ 149 h 185"/>
                  <a:gd name="T102" fmla="*/ 77 w 127"/>
                  <a:gd name="T103" fmla="*/ 140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27" h="185">
                    <a:moveTo>
                      <a:pt x="127" y="127"/>
                    </a:moveTo>
                    <a:lnTo>
                      <a:pt x="127" y="127"/>
                    </a:lnTo>
                    <a:lnTo>
                      <a:pt x="127" y="127"/>
                    </a:lnTo>
                    <a:lnTo>
                      <a:pt x="127" y="127"/>
                    </a:lnTo>
                    <a:lnTo>
                      <a:pt x="127" y="127"/>
                    </a:lnTo>
                    <a:lnTo>
                      <a:pt x="127" y="127"/>
                    </a:lnTo>
                    <a:lnTo>
                      <a:pt x="127" y="122"/>
                    </a:lnTo>
                    <a:lnTo>
                      <a:pt x="127" y="117"/>
                    </a:lnTo>
                    <a:lnTo>
                      <a:pt x="127" y="113"/>
                    </a:lnTo>
                    <a:lnTo>
                      <a:pt x="127" y="113"/>
                    </a:lnTo>
                    <a:lnTo>
                      <a:pt x="127" y="108"/>
                    </a:lnTo>
                    <a:lnTo>
                      <a:pt x="127" y="108"/>
                    </a:lnTo>
                    <a:lnTo>
                      <a:pt x="127" y="104"/>
                    </a:lnTo>
                    <a:lnTo>
                      <a:pt x="127" y="104"/>
                    </a:lnTo>
                    <a:lnTo>
                      <a:pt x="127" y="99"/>
                    </a:lnTo>
                    <a:lnTo>
                      <a:pt x="123" y="99"/>
                    </a:lnTo>
                    <a:lnTo>
                      <a:pt x="118" y="95"/>
                    </a:lnTo>
                    <a:lnTo>
                      <a:pt x="118" y="90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23" y="86"/>
                    </a:lnTo>
                    <a:lnTo>
                      <a:pt x="123" y="81"/>
                    </a:lnTo>
                    <a:lnTo>
                      <a:pt x="123" y="81"/>
                    </a:lnTo>
                    <a:lnTo>
                      <a:pt x="123" y="77"/>
                    </a:lnTo>
                    <a:lnTo>
                      <a:pt x="123" y="77"/>
                    </a:lnTo>
                    <a:lnTo>
                      <a:pt x="123" y="77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4" y="72"/>
                    </a:lnTo>
                    <a:lnTo>
                      <a:pt x="114" y="72"/>
                    </a:lnTo>
                    <a:lnTo>
                      <a:pt x="114" y="72"/>
                    </a:lnTo>
                    <a:lnTo>
                      <a:pt x="114" y="68"/>
                    </a:lnTo>
                    <a:lnTo>
                      <a:pt x="109" y="68"/>
                    </a:lnTo>
                    <a:lnTo>
                      <a:pt x="109" y="68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4" y="63"/>
                    </a:lnTo>
                    <a:lnTo>
                      <a:pt x="100" y="63"/>
                    </a:lnTo>
                    <a:lnTo>
                      <a:pt x="100" y="58"/>
                    </a:lnTo>
                    <a:lnTo>
                      <a:pt x="100" y="58"/>
                    </a:lnTo>
                    <a:lnTo>
                      <a:pt x="100" y="58"/>
                    </a:lnTo>
                    <a:lnTo>
                      <a:pt x="95" y="58"/>
                    </a:lnTo>
                    <a:lnTo>
                      <a:pt x="95" y="58"/>
                    </a:lnTo>
                    <a:lnTo>
                      <a:pt x="91" y="58"/>
                    </a:lnTo>
                    <a:lnTo>
                      <a:pt x="91" y="58"/>
                    </a:lnTo>
                    <a:lnTo>
                      <a:pt x="91" y="58"/>
                    </a:lnTo>
                    <a:lnTo>
                      <a:pt x="86" y="54"/>
                    </a:lnTo>
                    <a:lnTo>
                      <a:pt x="86" y="54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77" y="49"/>
                    </a:lnTo>
                    <a:lnTo>
                      <a:pt x="77" y="49"/>
                    </a:lnTo>
                    <a:lnTo>
                      <a:pt x="77" y="49"/>
                    </a:lnTo>
                    <a:lnTo>
                      <a:pt x="73" y="45"/>
                    </a:lnTo>
                    <a:lnTo>
                      <a:pt x="73" y="45"/>
                    </a:lnTo>
                    <a:lnTo>
                      <a:pt x="77" y="40"/>
                    </a:lnTo>
                    <a:lnTo>
                      <a:pt x="77" y="40"/>
                    </a:lnTo>
                    <a:lnTo>
                      <a:pt x="77" y="40"/>
                    </a:lnTo>
                    <a:lnTo>
                      <a:pt x="77" y="36"/>
                    </a:lnTo>
                    <a:lnTo>
                      <a:pt x="77" y="36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91" y="36"/>
                    </a:lnTo>
                    <a:lnTo>
                      <a:pt x="91" y="36"/>
                    </a:lnTo>
                    <a:lnTo>
                      <a:pt x="91" y="36"/>
                    </a:lnTo>
                    <a:lnTo>
                      <a:pt x="91" y="27"/>
                    </a:lnTo>
                    <a:lnTo>
                      <a:pt x="91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77" y="22"/>
                    </a:lnTo>
                    <a:lnTo>
                      <a:pt x="77" y="22"/>
                    </a:lnTo>
                    <a:lnTo>
                      <a:pt x="73" y="18"/>
                    </a:lnTo>
                    <a:lnTo>
                      <a:pt x="73" y="13"/>
                    </a:lnTo>
                    <a:lnTo>
                      <a:pt x="73" y="13"/>
                    </a:lnTo>
                    <a:lnTo>
                      <a:pt x="73" y="13"/>
                    </a:lnTo>
                    <a:lnTo>
                      <a:pt x="73" y="9"/>
                    </a:lnTo>
                    <a:lnTo>
                      <a:pt x="73" y="9"/>
                    </a:lnTo>
                    <a:lnTo>
                      <a:pt x="73" y="9"/>
                    </a:lnTo>
                    <a:lnTo>
                      <a:pt x="73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55" y="4"/>
                    </a:lnTo>
                    <a:lnTo>
                      <a:pt x="50" y="4"/>
                    </a:lnTo>
                    <a:lnTo>
                      <a:pt x="45" y="4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27" y="4"/>
                    </a:lnTo>
                    <a:lnTo>
                      <a:pt x="23" y="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3" y="9"/>
                    </a:lnTo>
                    <a:lnTo>
                      <a:pt x="23" y="13"/>
                    </a:lnTo>
                    <a:lnTo>
                      <a:pt x="23" y="27"/>
                    </a:lnTo>
                    <a:lnTo>
                      <a:pt x="27" y="31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5"/>
                    </a:lnTo>
                    <a:lnTo>
                      <a:pt x="32" y="45"/>
                    </a:lnTo>
                    <a:lnTo>
                      <a:pt x="32" y="45"/>
                    </a:lnTo>
                    <a:lnTo>
                      <a:pt x="32" y="49"/>
                    </a:lnTo>
                    <a:lnTo>
                      <a:pt x="32" y="49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58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18" y="68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9" y="77"/>
                    </a:lnTo>
                    <a:lnTo>
                      <a:pt x="5" y="81"/>
                    </a:lnTo>
                    <a:lnTo>
                      <a:pt x="0" y="81"/>
                    </a:lnTo>
                    <a:lnTo>
                      <a:pt x="0" y="81"/>
                    </a:lnTo>
                    <a:lnTo>
                      <a:pt x="5" y="81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90"/>
                    </a:lnTo>
                    <a:lnTo>
                      <a:pt x="0" y="95"/>
                    </a:lnTo>
                    <a:lnTo>
                      <a:pt x="0" y="99"/>
                    </a:lnTo>
                    <a:lnTo>
                      <a:pt x="0" y="99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5" y="108"/>
                    </a:lnTo>
                    <a:lnTo>
                      <a:pt x="5" y="108"/>
                    </a:lnTo>
                    <a:lnTo>
                      <a:pt x="5" y="113"/>
                    </a:lnTo>
                    <a:lnTo>
                      <a:pt x="5" y="113"/>
                    </a:lnTo>
                    <a:lnTo>
                      <a:pt x="5" y="113"/>
                    </a:lnTo>
                    <a:lnTo>
                      <a:pt x="5" y="117"/>
                    </a:lnTo>
                    <a:lnTo>
                      <a:pt x="5" y="117"/>
                    </a:lnTo>
                    <a:lnTo>
                      <a:pt x="5" y="117"/>
                    </a:lnTo>
                    <a:lnTo>
                      <a:pt x="9" y="117"/>
                    </a:lnTo>
                    <a:lnTo>
                      <a:pt x="9" y="117"/>
                    </a:lnTo>
                    <a:lnTo>
                      <a:pt x="9" y="117"/>
                    </a:lnTo>
                    <a:lnTo>
                      <a:pt x="14" y="117"/>
                    </a:lnTo>
                    <a:lnTo>
                      <a:pt x="14" y="117"/>
                    </a:lnTo>
                    <a:lnTo>
                      <a:pt x="14" y="117"/>
                    </a:lnTo>
                    <a:lnTo>
                      <a:pt x="14" y="117"/>
                    </a:lnTo>
                    <a:lnTo>
                      <a:pt x="14" y="117"/>
                    </a:lnTo>
                    <a:lnTo>
                      <a:pt x="18" y="117"/>
                    </a:lnTo>
                    <a:lnTo>
                      <a:pt x="18" y="117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08"/>
                    </a:lnTo>
                    <a:lnTo>
                      <a:pt x="27" y="108"/>
                    </a:lnTo>
                    <a:lnTo>
                      <a:pt x="23" y="113"/>
                    </a:lnTo>
                    <a:lnTo>
                      <a:pt x="27" y="113"/>
                    </a:lnTo>
                    <a:lnTo>
                      <a:pt x="27" y="113"/>
                    </a:lnTo>
                    <a:lnTo>
                      <a:pt x="27" y="113"/>
                    </a:lnTo>
                    <a:lnTo>
                      <a:pt x="27" y="113"/>
                    </a:lnTo>
                    <a:lnTo>
                      <a:pt x="27" y="113"/>
                    </a:lnTo>
                    <a:lnTo>
                      <a:pt x="32" y="113"/>
                    </a:lnTo>
                    <a:lnTo>
                      <a:pt x="32" y="113"/>
                    </a:lnTo>
                    <a:lnTo>
                      <a:pt x="32" y="113"/>
                    </a:lnTo>
                    <a:lnTo>
                      <a:pt x="32" y="113"/>
                    </a:lnTo>
                    <a:lnTo>
                      <a:pt x="32" y="113"/>
                    </a:lnTo>
                    <a:lnTo>
                      <a:pt x="32" y="113"/>
                    </a:lnTo>
                    <a:lnTo>
                      <a:pt x="45" y="113"/>
                    </a:lnTo>
                    <a:lnTo>
                      <a:pt x="50" y="113"/>
                    </a:lnTo>
                    <a:lnTo>
                      <a:pt x="55" y="117"/>
                    </a:lnTo>
                    <a:lnTo>
                      <a:pt x="59" y="122"/>
                    </a:lnTo>
                    <a:lnTo>
                      <a:pt x="64" y="122"/>
                    </a:lnTo>
                    <a:lnTo>
                      <a:pt x="68" y="127"/>
                    </a:lnTo>
                    <a:lnTo>
                      <a:pt x="68" y="131"/>
                    </a:lnTo>
                    <a:lnTo>
                      <a:pt x="73" y="131"/>
                    </a:lnTo>
                    <a:lnTo>
                      <a:pt x="73" y="131"/>
                    </a:lnTo>
                    <a:lnTo>
                      <a:pt x="77" y="131"/>
                    </a:lnTo>
                    <a:lnTo>
                      <a:pt x="82" y="136"/>
                    </a:lnTo>
                    <a:lnTo>
                      <a:pt x="86" y="136"/>
                    </a:lnTo>
                    <a:lnTo>
                      <a:pt x="95" y="136"/>
                    </a:lnTo>
                    <a:lnTo>
                      <a:pt x="100" y="131"/>
                    </a:lnTo>
                    <a:lnTo>
                      <a:pt x="100" y="131"/>
                    </a:lnTo>
                    <a:lnTo>
                      <a:pt x="109" y="127"/>
                    </a:lnTo>
                    <a:lnTo>
                      <a:pt x="109" y="127"/>
                    </a:lnTo>
                    <a:lnTo>
                      <a:pt x="114" y="127"/>
                    </a:lnTo>
                    <a:lnTo>
                      <a:pt x="114" y="127"/>
                    </a:lnTo>
                    <a:lnTo>
                      <a:pt x="114" y="127"/>
                    </a:lnTo>
                    <a:lnTo>
                      <a:pt x="118" y="127"/>
                    </a:lnTo>
                    <a:lnTo>
                      <a:pt x="118" y="127"/>
                    </a:lnTo>
                    <a:lnTo>
                      <a:pt x="118" y="127"/>
                    </a:lnTo>
                    <a:lnTo>
                      <a:pt x="123" y="131"/>
                    </a:lnTo>
                    <a:lnTo>
                      <a:pt x="123" y="131"/>
                    </a:lnTo>
                    <a:lnTo>
                      <a:pt x="123" y="131"/>
                    </a:lnTo>
                    <a:lnTo>
                      <a:pt x="123" y="131"/>
                    </a:lnTo>
                    <a:lnTo>
                      <a:pt x="127" y="127"/>
                    </a:lnTo>
                    <a:moveTo>
                      <a:pt x="82" y="140"/>
                    </a:moveTo>
                    <a:lnTo>
                      <a:pt x="82" y="140"/>
                    </a:lnTo>
                    <a:lnTo>
                      <a:pt x="82" y="140"/>
                    </a:lnTo>
                    <a:lnTo>
                      <a:pt x="82" y="145"/>
                    </a:lnTo>
                    <a:lnTo>
                      <a:pt x="77" y="145"/>
                    </a:lnTo>
                    <a:lnTo>
                      <a:pt x="77" y="145"/>
                    </a:lnTo>
                    <a:lnTo>
                      <a:pt x="77" y="149"/>
                    </a:lnTo>
                    <a:lnTo>
                      <a:pt x="68" y="158"/>
                    </a:lnTo>
                    <a:lnTo>
                      <a:pt x="68" y="163"/>
                    </a:lnTo>
                    <a:lnTo>
                      <a:pt x="68" y="163"/>
                    </a:lnTo>
                    <a:lnTo>
                      <a:pt x="68" y="167"/>
                    </a:lnTo>
                    <a:lnTo>
                      <a:pt x="68" y="167"/>
                    </a:lnTo>
                    <a:lnTo>
                      <a:pt x="68" y="167"/>
                    </a:lnTo>
                    <a:lnTo>
                      <a:pt x="68" y="172"/>
                    </a:lnTo>
                    <a:lnTo>
                      <a:pt x="68" y="172"/>
                    </a:lnTo>
                    <a:lnTo>
                      <a:pt x="73" y="176"/>
                    </a:lnTo>
                    <a:lnTo>
                      <a:pt x="73" y="176"/>
                    </a:lnTo>
                    <a:lnTo>
                      <a:pt x="73" y="181"/>
                    </a:lnTo>
                    <a:lnTo>
                      <a:pt x="68" y="181"/>
                    </a:lnTo>
                    <a:lnTo>
                      <a:pt x="68" y="181"/>
                    </a:lnTo>
                    <a:lnTo>
                      <a:pt x="64" y="181"/>
                    </a:lnTo>
                    <a:lnTo>
                      <a:pt x="64" y="181"/>
                    </a:lnTo>
                    <a:lnTo>
                      <a:pt x="59" y="185"/>
                    </a:lnTo>
                    <a:lnTo>
                      <a:pt x="59" y="185"/>
                    </a:lnTo>
                    <a:lnTo>
                      <a:pt x="59" y="185"/>
                    </a:lnTo>
                    <a:lnTo>
                      <a:pt x="55" y="185"/>
                    </a:lnTo>
                    <a:lnTo>
                      <a:pt x="50" y="185"/>
                    </a:lnTo>
                    <a:lnTo>
                      <a:pt x="45" y="185"/>
                    </a:lnTo>
                    <a:lnTo>
                      <a:pt x="45" y="181"/>
                    </a:lnTo>
                    <a:lnTo>
                      <a:pt x="45" y="181"/>
                    </a:lnTo>
                    <a:lnTo>
                      <a:pt x="41" y="181"/>
                    </a:lnTo>
                    <a:lnTo>
                      <a:pt x="41" y="176"/>
                    </a:lnTo>
                    <a:lnTo>
                      <a:pt x="41" y="172"/>
                    </a:lnTo>
                    <a:lnTo>
                      <a:pt x="50" y="167"/>
                    </a:lnTo>
                    <a:lnTo>
                      <a:pt x="59" y="154"/>
                    </a:lnTo>
                    <a:lnTo>
                      <a:pt x="59" y="154"/>
                    </a:lnTo>
                    <a:lnTo>
                      <a:pt x="59" y="154"/>
                    </a:lnTo>
                    <a:lnTo>
                      <a:pt x="64" y="154"/>
                    </a:lnTo>
                    <a:lnTo>
                      <a:pt x="64" y="154"/>
                    </a:lnTo>
                    <a:lnTo>
                      <a:pt x="64" y="149"/>
                    </a:lnTo>
                    <a:lnTo>
                      <a:pt x="64" y="149"/>
                    </a:lnTo>
                    <a:lnTo>
                      <a:pt x="68" y="145"/>
                    </a:lnTo>
                    <a:lnTo>
                      <a:pt x="68" y="145"/>
                    </a:lnTo>
                    <a:lnTo>
                      <a:pt x="73" y="145"/>
                    </a:lnTo>
                    <a:lnTo>
                      <a:pt x="77" y="140"/>
                    </a:lnTo>
                    <a:lnTo>
                      <a:pt x="77" y="140"/>
                    </a:lnTo>
                    <a:lnTo>
                      <a:pt x="82" y="140"/>
                    </a:lnTo>
                    <a:lnTo>
                      <a:pt x="82" y="14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6" name="Freeform 34"/>
              <p:cNvSpPr>
                <a:spLocks/>
              </p:cNvSpPr>
              <p:nvPr/>
            </p:nvSpPr>
            <p:spPr bwMode="auto">
              <a:xfrm>
                <a:off x="2520951" y="2620963"/>
                <a:ext cx="187325" cy="223837"/>
              </a:xfrm>
              <a:custGeom>
                <a:avLst/>
                <a:gdLst>
                  <a:gd name="T0" fmla="*/ 0 w 118"/>
                  <a:gd name="T1" fmla="*/ 14 h 141"/>
                  <a:gd name="T2" fmla="*/ 4 w 118"/>
                  <a:gd name="T3" fmla="*/ 14 h 141"/>
                  <a:gd name="T4" fmla="*/ 9 w 118"/>
                  <a:gd name="T5" fmla="*/ 14 h 141"/>
                  <a:gd name="T6" fmla="*/ 18 w 118"/>
                  <a:gd name="T7" fmla="*/ 10 h 141"/>
                  <a:gd name="T8" fmla="*/ 27 w 118"/>
                  <a:gd name="T9" fmla="*/ 5 h 141"/>
                  <a:gd name="T10" fmla="*/ 41 w 118"/>
                  <a:gd name="T11" fmla="*/ 5 h 141"/>
                  <a:gd name="T12" fmla="*/ 45 w 118"/>
                  <a:gd name="T13" fmla="*/ 14 h 141"/>
                  <a:gd name="T14" fmla="*/ 41 w 118"/>
                  <a:gd name="T15" fmla="*/ 14 h 141"/>
                  <a:gd name="T16" fmla="*/ 36 w 118"/>
                  <a:gd name="T17" fmla="*/ 28 h 141"/>
                  <a:gd name="T18" fmla="*/ 36 w 118"/>
                  <a:gd name="T19" fmla="*/ 32 h 141"/>
                  <a:gd name="T20" fmla="*/ 36 w 118"/>
                  <a:gd name="T21" fmla="*/ 28 h 141"/>
                  <a:gd name="T22" fmla="*/ 41 w 118"/>
                  <a:gd name="T23" fmla="*/ 28 h 141"/>
                  <a:gd name="T24" fmla="*/ 36 w 118"/>
                  <a:gd name="T25" fmla="*/ 32 h 141"/>
                  <a:gd name="T26" fmla="*/ 45 w 118"/>
                  <a:gd name="T27" fmla="*/ 37 h 141"/>
                  <a:gd name="T28" fmla="*/ 45 w 118"/>
                  <a:gd name="T29" fmla="*/ 41 h 141"/>
                  <a:gd name="T30" fmla="*/ 50 w 118"/>
                  <a:gd name="T31" fmla="*/ 37 h 141"/>
                  <a:gd name="T32" fmla="*/ 54 w 118"/>
                  <a:gd name="T33" fmla="*/ 37 h 141"/>
                  <a:gd name="T34" fmla="*/ 50 w 118"/>
                  <a:gd name="T35" fmla="*/ 28 h 141"/>
                  <a:gd name="T36" fmla="*/ 59 w 118"/>
                  <a:gd name="T37" fmla="*/ 28 h 141"/>
                  <a:gd name="T38" fmla="*/ 63 w 118"/>
                  <a:gd name="T39" fmla="*/ 28 h 141"/>
                  <a:gd name="T40" fmla="*/ 63 w 118"/>
                  <a:gd name="T41" fmla="*/ 32 h 141"/>
                  <a:gd name="T42" fmla="*/ 59 w 118"/>
                  <a:gd name="T43" fmla="*/ 37 h 141"/>
                  <a:gd name="T44" fmla="*/ 59 w 118"/>
                  <a:gd name="T45" fmla="*/ 41 h 141"/>
                  <a:gd name="T46" fmla="*/ 63 w 118"/>
                  <a:gd name="T47" fmla="*/ 50 h 141"/>
                  <a:gd name="T48" fmla="*/ 68 w 118"/>
                  <a:gd name="T49" fmla="*/ 55 h 141"/>
                  <a:gd name="T50" fmla="*/ 100 w 118"/>
                  <a:gd name="T51" fmla="*/ 68 h 141"/>
                  <a:gd name="T52" fmla="*/ 100 w 118"/>
                  <a:gd name="T53" fmla="*/ 82 h 141"/>
                  <a:gd name="T54" fmla="*/ 95 w 118"/>
                  <a:gd name="T55" fmla="*/ 100 h 141"/>
                  <a:gd name="T56" fmla="*/ 100 w 118"/>
                  <a:gd name="T57" fmla="*/ 114 h 141"/>
                  <a:gd name="T58" fmla="*/ 100 w 118"/>
                  <a:gd name="T59" fmla="*/ 118 h 141"/>
                  <a:gd name="T60" fmla="*/ 104 w 118"/>
                  <a:gd name="T61" fmla="*/ 118 h 141"/>
                  <a:gd name="T62" fmla="*/ 109 w 118"/>
                  <a:gd name="T63" fmla="*/ 123 h 141"/>
                  <a:gd name="T64" fmla="*/ 113 w 118"/>
                  <a:gd name="T65" fmla="*/ 132 h 141"/>
                  <a:gd name="T66" fmla="*/ 118 w 118"/>
                  <a:gd name="T67" fmla="*/ 141 h 141"/>
                  <a:gd name="T68" fmla="*/ 109 w 118"/>
                  <a:gd name="T69" fmla="*/ 141 h 141"/>
                  <a:gd name="T70" fmla="*/ 100 w 118"/>
                  <a:gd name="T71" fmla="*/ 141 h 141"/>
                  <a:gd name="T72" fmla="*/ 95 w 118"/>
                  <a:gd name="T73" fmla="*/ 141 h 141"/>
                  <a:gd name="T74" fmla="*/ 86 w 118"/>
                  <a:gd name="T75" fmla="*/ 132 h 141"/>
                  <a:gd name="T76" fmla="*/ 81 w 118"/>
                  <a:gd name="T77" fmla="*/ 123 h 141"/>
                  <a:gd name="T78" fmla="*/ 72 w 118"/>
                  <a:gd name="T79" fmla="*/ 114 h 141"/>
                  <a:gd name="T80" fmla="*/ 68 w 118"/>
                  <a:gd name="T81" fmla="*/ 109 h 141"/>
                  <a:gd name="T82" fmla="*/ 68 w 118"/>
                  <a:gd name="T83" fmla="*/ 109 h 141"/>
                  <a:gd name="T84" fmla="*/ 63 w 118"/>
                  <a:gd name="T85" fmla="*/ 109 h 141"/>
                  <a:gd name="T86" fmla="*/ 54 w 118"/>
                  <a:gd name="T87" fmla="*/ 100 h 141"/>
                  <a:gd name="T88" fmla="*/ 45 w 118"/>
                  <a:gd name="T89" fmla="*/ 96 h 141"/>
                  <a:gd name="T90" fmla="*/ 45 w 118"/>
                  <a:gd name="T91" fmla="*/ 96 h 141"/>
                  <a:gd name="T92" fmla="*/ 50 w 118"/>
                  <a:gd name="T93" fmla="*/ 87 h 141"/>
                  <a:gd name="T94" fmla="*/ 45 w 118"/>
                  <a:gd name="T95" fmla="*/ 82 h 141"/>
                  <a:gd name="T96" fmla="*/ 41 w 118"/>
                  <a:gd name="T97" fmla="*/ 78 h 141"/>
                  <a:gd name="T98" fmla="*/ 31 w 118"/>
                  <a:gd name="T99" fmla="*/ 78 h 141"/>
                  <a:gd name="T100" fmla="*/ 27 w 118"/>
                  <a:gd name="T101" fmla="*/ 68 h 141"/>
                  <a:gd name="T102" fmla="*/ 18 w 118"/>
                  <a:gd name="T103" fmla="*/ 68 h 141"/>
                  <a:gd name="T104" fmla="*/ 13 w 118"/>
                  <a:gd name="T105" fmla="*/ 64 h 141"/>
                  <a:gd name="T106" fmla="*/ 4 w 118"/>
                  <a:gd name="T107" fmla="*/ 59 h 141"/>
                  <a:gd name="T108" fmla="*/ 4 w 118"/>
                  <a:gd name="T109" fmla="*/ 50 h 141"/>
                  <a:gd name="T110" fmla="*/ 4 w 118"/>
                  <a:gd name="T111" fmla="*/ 46 h 141"/>
                  <a:gd name="T112" fmla="*/ 9 w 118"/>
                  <a:gd name="T113" fmla="*/ 50 h 141"/>
                  <a:gd name="T114" fmla="*/ 13 w 118"/>
                  <a:gd name="T115" fmla="*/ 50 h 141"/>
                  <a:gd name="T116" fmla="*/ 18 w 118"/>
                  <a:gd name="T117" fmla="*/ 37 h 141"/>
                  <a:gd name="T118" fmla="*/ 13 w 118"/>
                  <a:gd name="T119" fmla="*/ 32 h 141"/>
                  <a:gd name="T120" fmla="*/ 4 w 118"/>
                  <a:gd name="T121" fmla="*/ 32 h 141"/>
                  <a:gd name="T122" fmla="*/ 0 w 118"/>
                  <a:gd name="T123" fmla="*/ 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" h="141">
                    <a:moveTo>
                      <a:pt x="0" y="19"/>
                    </a:moveTo>
                    <a:lnTo>
                      <a:pt x="0" y="19"/>
                    </a:lnTo>
                    <a:lnTo>
                      <a:pt x="0" y="19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0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7" y="5"/>
                    </a:lnTo>
                    <a:lnTo>
                      <a:pt x="31" y="0"/>
                    </a:lnTo>
                    <a:lnTo>
                      <a:pt x="36" y="0"/>
                    </a:lnTo>
                    <a:lnTo>
                      <a:pt x="36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5" y="10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9"/>
                    </a:lnTo>
                    <a:lnTo>
                      <a:pt x="41" y="19"/>
                    </a:lnTo>
                    <a:lnTo>
                      <a:pt x="41" y="23"/>
                    </a:lnTo>
                    <a:lnTo>
                      <a:pt x="36" y="28"/>
                    </a:lnTo>
                    <a:lnTo>
                      <a:pt x="31" y="28"/>
                    </a:lnTo>
                    <a:lnTo>
                      <a:pt x="31" y="28"/>
                    </a:lnTo>
                    <a:lnTo>
                      <a:pt x="31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41" y="23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1" y="32"/>
                    </a:lnTo>
                    <a:lnTo>
                      <a:pt x="36" y="32"/>
                    </a:lnTo>
                    <a:lnTo>
                      <a:pt x="45" y="37"/>
                    </a:lnTo>
                    <a:lnTo>
                      <a:pt x="45" y="37"/>
                    </a:lnTo>
                    <a:lnTo>
                      <a:pt x="45" y="37"/>
                    </a:lnTo>
                    <a:lnTo>
                      <a:pt x="45" y="37"/>
                    </a:lnTo>
                    <a:lnTo>
                      <a:pt x="45" y="37"/>
                    </a:lnTo>
                    <a:lnTo>
                      <a:pt x="45" y="37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50" y="41"/>
                    </a:lnTo>
                    <a:lnTo>
                      <a:pt x="50" y="37"/>
                    </a:lnTo>
                    <a:lnTo>
                      <a:pt x="54" y="37"/>
                    </a:lnTo>
                    <a:lnTo>
                      <a:pt x="54" y="41"/>
                    </a:lnTo>
                    <a:lnTo>
                      <a:pt x="54" y="37"/>
                    </a:lnTo>
                    <a:lnTo>
                      <a:pt x="54" y="37"/>
                    </a:lnTo>
                    <a:lnTo>
                      <a:pt x="50" y="37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4" y="28"/>
                    </a:lnTo>
                    <a:lnTo>
                      <a:pt x="54" y="28"/>
                    </a:lnTo>
                    <a:lnTo>
                      <a:pt x="59" y="28"/>
                    </a:lnTo>
                    <a:lnTo>
                      <a:pt x="59" y="28"/>
                    </a:lnTo>
                    <a:lnTo>
                      <a:pt x="59" y="28"/>
                    </a:lnTo>
                    <a:lnTo>
                      <a:pt x="63" y="28"/>
                    </a:lnTo>
                    <a:lnTo>
                      <a:pt x="63" y="28"/>
                    </a:lnTo>
                    <a:lnTo>
                      <a:pt x="63" y="28"/>
                    </a:lnTo>
                    <a:lnTo>
                      <a:pt x="63" y="32"/>
                    </a:lnTo>
                    <a:lnTo>
                      <a:pt x="63" y="32"/>
                    </a:lnTo>
                    <a:lnTo>
                      <a:pt x="63" y="32"/>
                    </a:lnTo>
                    <a:lnTo>
                      <a:pt x="63" y="32"/>
                    </a:lnTo>
                    <a:lnTo>
                      <a:pt x="59" y="32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46"/>
                    </a:lnTo>
                    <a:lnTo>
                      <a:pt x="63" y="50"/>
                    </a:lnTo>
                    <a:lnTo>
                      <a:pt x="63" y="50"/>
                    </a:lnTo>
                    <a:lnTo>
                      <a:pt x="63" y="50"/>
                    </a:lnTo>
                    <a:lnTo>
                      <a:pt x="68" y="55"/>
                    </a:lnTo>
                    <a:lnTo>
                      <a:pt x="68" y="55"/>
                    </a:lnTo>
                    <a:lnTo>
                      <a:pt x="86" y="59"/>
                    </a:lnTo>
                    <a:lnTo>
                      <a:pt x="90" y="59"/>
                    </a:lnTo>
                    <a:lnTo>
                      <a:pt x="95" y="64"/>
                    </a:lnTo>
                    <a:lnTo>
                      <a:pt x="100" y="68"/>
                    </a:lnTo>
                    <a:lnTo>
                      <a:pt x="100" y="73"/>
                    </a:lnTo>
                    <a:lnTo>
                      <a:pt x="100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7"/>
                    </a:lnTo>
                    <a:lnTo>
                      <a:pt x="100" y="87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5" y="105"/>
                    </a:lnTo>
                    <a:lnTo>
                      <a:pt x="100" y="109"/>
                    </a:lnTo>
                    <a:lnTo>
                      <a:pt x="100" y="109"/>
                    </a:lnTo>
                    <a:lnTo>
                      <a:pt x="100" y="114"/>
                    </a:lnTo>
                    <a:lnTo>
                      <a:pt x="100" y="114"/>
                    </a:lnTo>
                    <a:lnTo>
                      <a:pt x="100" y="118"/>
                    </a:lnTo>
                    <a:lnTo>
                      <a:pt x="100" y="118"/>
                    </a:lnTo>
                    <a:lnTo>
                      <a:pt x="100" y="118"/>
                    </a:lnTo>
                    <a:lnTo>
                      <a:pt x="100" y="118"/>
                    </a:lnTo>
                    <a:lnTo>
                      <a:pt x="104" y="118"/>
                    </a:lnTo>
                    <a:lnTo>
                      <a:pt x="104" y="118"/>
                    </a:lnTo>
                    <a:lnTo>
                      <a:pt x="104" y="118"/>
                    </a:lnTo>
                    <a:lnTo>
                      <a:pt x="109" y="123"/>
                    </a:lnTo>
                    <a:lnTo>
                      <a:pt x="109" y="123"/>
                    </a:lnTo>
                    <a:lnTo>
                      <a:pt x="109" y="123"/>
                    </a:lnTo>
                    <a:lnTo>
                      <a:pt x="109" y="123"/>
                    </a:lnTo>
                    <a:lnTo>
                      <a:pt x="113" y="127"/>
                    </a:lnTo>
                    <a:lnTo>
                      <a:pt x="113" y="127"/>
                    </a:lnTo>
                    <a:lnTo>
                      <a:pt x="113" y="127"/>
                    </a:lnTo>
                    <a:lnTo>
                      <a:pt x="113" y="132"/>
                    </a:lnTo>
                    <a:lnTo>
                      <a:pt x="113" y="132"/>
                    </a:lnTo>
                    <a:lnTo>
                      <a:pt x="118" y="141"/>
                    </a:lnTo>
                    <a:lnTo>
                      <a:pt x="118" y="141"/>
                    </a:lnTo>
                    <a:lnTo>
                      <a:pt x="118" y="141"/>
                    </a:lnTo>
                    <a:lnTo>
                      <a:pt x="113" y="141"/>
                    </a:lnTo>
                    <a:lnTo>
                      <a:pt x="113" y="141"/>
                    </a:lnTo>
                    <a:lnTo>
                      <a:pt x="113" y="141"/>
                    </a:lnTo>
                    <a:lnTo>
                      <a:pt x="109" y="141"/>
                    </a:lnTo>
                    <a:lnTo>
                      <a:pt x="109" y="137"/>
                    </a:lnTo>
                    <a:lnTo>
                      <a:pt x="104" y="137"/>
                    </a:lnTo>
                    <a:lnTo>
                      <a:pt x="104" y="141"/>
                    </a:lnTo>
                    <a:lnTo>
                      <a:pt x="100" y="141"/>
                    </a:lnTo>
                    <a:lnTo>
                      <a:pt x="100" y="141"/>
                    </a:lnTo>
                    <a:lnTo>
                      <a:pt x="95" y="141"/>
                    </a:lnTo>
                    <a:lnTo>
                      <a:pt x="95" y="141"/>
                    </a:lnTo>
                    <a:lnTo>
                      <a:pt x="95" y="141"/>
                    </a:lnTo>
                    <a:lnTo>
                      <a:pt x="90" y="137"/>
                    </a:lnTo>
                    <a:lnTo>
                      <a:pt x="86" y="137"/>
                    </a:lnTo>
                    <a:lnTo>
                      <a:pt x="86" y="137"/>
                    </a:lnTo>
                    <a:lnTo>
                      <a:pt x="86" y="132"/>
                    </a:lnTo>
                    <a:lnTo>
                      <a:pt x="81" y="132"/>
                    </a:lnTo>
                    <a:lnTo>
                      <a:pt x="86" y="127"/>
                    </a:lnTo>
                    <a:lnTo>
                      <a:pt x="81" y="127"/>
                    </a:lnTo>
                    <a:lnTo>
                      <a:pt x="81" y="123"/>
                    </a:lnTo>
                    <a:lnTo>
                      <a:pt x="81" y="123"/>
                    </a:lnTo>
                    <a:lnTo>
                      <a:pt x="77" y="114"/>
                    </a:lnTo>
                    <a:lnTo>
                      <a:pt x="77" y="114"/>
                    </a:lnTo>
                    <a:lnTo>
                      <a:pt x="72" y="114"/>
                    </a:lnTo>
                    <a:lnTo>
                      <a:pt x="72" y="114"/>
                    </a:lnTo>
                    <a:lnTo>
                      <a:pt x="72" y="109"/>
                    </a:lnTo>
                    <a:lnTo>
                      <a:pt x="72" y="109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3" y="114"/>
                    </a:lnTo>
                    <a:lnTo>
                      <a:pt x="63" y="109"/>
                    </a:lnTo>
                    <a:lnTo>
                      <a:pt x="59" y="109"/>
                    </a:lnTo>
                    <a:lnTo>
                      <a:pt x="59" y="105"/>
                    </a:lnTo>
                    <a:lnTo>
                      <a:pt x="59" y="105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50" y="100"/>
                    </a:lnTo>
                    <a:lnTo>
                      <a:pt x="45" y="100"/>
                    </a:lnTo>
                    <a:lnTo>
                      <a:pt x="45" y="96"/>
                    </a:lnTo>
                    <a:lnTo>
                      <a:pt x="45" y="96"/>
                    </a:lnTo>
                    <a:lnTo>
                      <a:pt x="45" y="96"/>
                    </a:lnTo>
                    <a:lnTo>
                      <a:pt x="45" y="96"/>
                    </a:lnTo>
                    <a:lnTo>
                      <a:pt x="45" y="96"/>
                    </a:lnTo>
                    <a:lnTo>
                      <a:pt x="50" y="96"/>
                    </a:lnTo>
                    <a:lnTo>
                      <a:pt x="50" y="91"/>
                    </a:lnTo>
                    <a:lnTo>
                      <a:pt x="50" y="91"/>
                    </a:lnTo>
                    <a:lnTo>
                      <a:pt x="50" y="87"/>
                    </a:lnTo>
                    <a:lnTo>
                      <a:pt x="50" y="87"/>
                    </a:lnTo>
                    <a:lnTo>
                      <a:pt x="50" y="87"/>
                    </a:lnTo>
                    <a:lnTo>
                      <a:pt x="45" y="82"/>
                    </a:lnTo>
                    <a:lnTo>
                      <a:pt x="45" y="82"/>
                    </a:lnTo>
                    <a:lnTo>
                      <a:pt x="41" y="82"/>
                    </a:lnTo>
                    <a:lnTo>
                      <a:pt x="41" y="82"/>
                    </a:lnTo>
                    <a:lnTo>
                      <a:pt x="41" y="82"/>
                    </a:lnTo>
                    <a:lnTo>
                      <a:pt x="41" y="78"/>
                    </a:lnTo>
                    <a:lnTo>
                      <a:pt x="36" y="78"/>
                    </a:lnTo>
                    <a:lnTo>
                      <a:pt x="36" y="78"/>
                    </a:lnTo>
                    <a:lnTo>
                      <a:pt x="31" y="78"/>
                    </a:lnTo>
                    <a:lnTo>
                      <a:pt x="31" y="78"/>
                    </a:lnTo>
                    <a:lnTo>
                      <a:pt x="31" y="73"/>
                    </a:lnTo>
                    <a:lnTo>
                      <a:pt x="27" y="73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3" y="64"/>
                    </a:lnTo>
                    <a:lnTo>
                      <a:pt x="13" y="64"/>
                    </a:lnTo>
                    <a:lnTo>
                      <a:pt x="9" y="64"/>
                    </a:lnTo>
                    <a:lnTo>
                      <a:pt x="9" y="64"/>
                    </a:lnTo>
                    <a:lnTo>
                      <a:pt x="4" y="59"/>
                    </a:lnTo>
                    <a:lnTo>
                      <a:pt x="4" y="59"/>
                    </a:lnTo>
                    <a:lnTo>
                      <a:pt x="4" y="59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13" y="50"/>
                    </a:lnTo>
                    <a:lnTo>
                      <a:pt x="13" y="50"/>
                    </a:lnTo>
                    <a:lnTo>
                      <a:pt x="13" y="50"/>
                    </a:lnTo>
                    <a:lnTo>
                      <a:pt x="13" y="50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18" y="37"/>
                    </a:lnTo>
                    <a:lnTo>
                      <a:pt x="18" y="32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0" y="28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19"/>
                    </a:lnTo>
                    <a:lnTo>
                      <a:pt x="0" y="1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7" name="Freeform 35"/>
              <p:cNvSpPr>
                <a:spLocks/>
              </p:cNvSpPr>
              <p:nvPr/>
            </p:nvSpPr>
            <p:spPr bwMode="auto">
              <a:xfrm>
                <a:off x="2620963" y="2830513"/>
                <a:ext cx="115888" cy="187325"/>
              </a:xfrm>
              <a:custGeom>
                <a:avLst/>
                <a:gdLst>
                  <a:gd name="T0" fmla="*/ 55 w 73"/>
                  <a:gd name="T1" fmla="*/ 9 h 118"/>
                  <a:gd name="T2" fmla="*/ 59 w 73"/>
                  <a:gd name="T3" fmla="*/ 9 h 118"/>
                  <a:gd name="T4" fmla="*/ 59 w 73"/>
                  <a:gd name="T5" fmla="*/ 14 h 118"/>
                  <a:gd name="T6" fmla="*/ 55 w 73"/>
                  <a:gd name="T7" fmla="*/ 18 h 118"/>
                  <a:gd name="T8" fmla="*/ 55 w 73"/>
                  <a:gd name="T9" fmla="*/ 18 h 118"/>
                  <a:gd name="T10" fmla="*/ 55 w 73"/>
                  <a:gd name="T11" fmla="*/ 23 h 118"/>
                  <a:gd name="T12" fmla="*/ 59 w 73"/>
                  <a:gd name="T13" fmla="*/ 27 h 118"/>
                  <a:gd name="T14" fmla="*/ 64 w 73"/>
                  <a:gd name="T15" fmla="*/ 32 h 118"/>
                  <a:gd name="T16" fmla="*/ 68 w 73"/>
                  <a:gd name="T17" fmla="*/ 32 h 118"/>
                  <a:gd name="T18" fmla="*/ 73 w 73"/>
                  <a:gd name="T19" fmla="*/ 36 h 118"/>
                  <a:gd name="T20" fmla="*/ 73 w 73"/>
                  <a:gd name="T21" fmla="*/ 41 h 118"/>
                  <a:gd name="T22" fmla="*/ 68 w 73"/>
                  <a:gd name="T23" fmla="*/ 45 h 118"/>
                  <a:gd name="T24" fmla="*/ 59 w 73"/>
                  <a:gd name="T25" fmla="*/ 45 h 118"/>
                  <a:gd name="T26" fmla="*/ 59 w 73"/>
                  <a:gd name="T27" fmla="*/ 54 h 118"/>
                  <a:gd name="T28" fmla="*/ 59 w 73"/>
                  <a:gd name="T29" fmla="*/ 63 h 118"/>
                  <a:gd name="T30" fmla="*/ 59 w 73"/>
                  <a:gd name="T31" fmla="*/ 68 h 118"/>
                  <a:gd name="T32" fmla="*/ 59 w 73"/>
                  <a:gd name="T33" fmla="*/ 77 h 118"/>
                  <a:gd name="T34" fmla="*/ 59 w 73"/>
                  <a:gd name="T35" fmla="*/ 91 h 118"/>
                  <a:gd name="T36" fmla="*/ 59 w 73"/>
                  <a:gd name="T37" fmla="*/ 95 h 118"/>
                  <a:gd name="T38" fmla="*/ 50 w 73"/>
                  <a:gd name="T39" fmla="*/ 100 h 118"/>
                  <a:gd name="T40" fmla="*/ 46 w 73"/>
                  <a:gd name="T41" fmla="*/ 104 h 118"/>
                  <a:gd name="T42" fmla="*/ 41 w 73"/>
                  <a:gd name="T43" fmla="*/ 109 h 118"/>
                  <a:gd name="T44" fmla="*/ 37 w 73"/>
                  <a:gd name="T45" fmla="*/ 113 h 118"/>
                  <a:gd name="T46" fmla="*/ 32 w 73"/>
                  <a:gd name="T47" fmla="*/ 118 h 118"/>
                  <a:gd name="T48" fmla="*/ 23 w 73"/>
                  <a:gd name="T49" fmla="*/ 113 h 118"/>
                  <a:gd name="T50" fmla="*/ 18 w 73"/>
                  <a:gd name="T51" fmla="*/ 113 h 118"/>
                  <a:gd name="T52" fmla="*/ 14 w 73"/>
                  <a:gd name="T53" fmla="*/ 113 h 118"/>
                  <a:gd name="T54" fmla="*/ 9 w 73"/>
                  <a:gd name="T55" fmla="*/ 113 h 118"/>
                  <a:gd name="T56" fmla="*/ 5 w 73"/>
                  <a:gd name="T57" fmla="*/ 113 h 118"/>
                  <a:gd name="T58" fmla="*/ 5 w 73"/>
                  <a:gd name="T59" fmla="*/ 109 h 118"/>
                  <a:gd name="T60" fmla="*/ 5 w 73"/>
                  <a:gd name="T61" fmla="*/ 100 h 118"/>
                  <a:gd name="T62" fmla="*/ 0 w 73"/>
                  <a:gd name="T63" fmla="*/ 95 h 118"/>
                  <a:gd name="T64" fmla="*/ 0 w 73"/>
                  <a:gd name="T65" fmla="*/ 91 h 118"/>
                  <a:gd name="T66" fmla="*/ 0 w 73"/>
                  <a:gd name="T67" fmla="*/ 86 h 118"/>
                  <a:gd name="T68" fmla="*/ 5 w 73"/>
                  <a:gd name="T69" fmla="*/ 77 h 118"/>
                  <a:gd name="T70" fmla="*/ 9 w 73"/>
                  <a:gd name="T71" fmla="*/ 73 h 118"/>
                  <a:gd name="T72" fmla="*/ 18 w 73"/>
                  <a:gd name="T73" fmla="*/ 68 h 118"/>
                  <a:gd name="T74" fmla="*/ 14 w 73"/>
                  <a:gd name="T75" fmla="*/ 63 h 118"/>
                  <a:gd name="T76" fmla="*/ 9 w 73"/>
                  <a:gd name="T77" fmla="*/ 50 h 118"/>
                  <a:gd name="T78" fmla="*/ 14 w 73"/>
                  <a:gd name="T79" fmla="*/ 45 h 118"/>
                  <a:gd name="T80" fmla="*/ 14 w 73"/>
                  <a:gd name="T81" fmla="*/ 41 h 118"/>
                  <a:gd name="T82" fmla="*/ 14 w 73"/>
                  <a:gd name="T83" fmla="*/ 32 h 118"/>
                  <a:gd name="T84" fmla="*/ 9 w 73"/>
                  <a:gd name="T85" fmla="*/ 27 h 118"/>
                  <a:gd name="T86" fmla="*/ 14 w 73"/>
                  <a:gd name="T87" fmla="*/ 9 h 118"/>
                  <a:gd name="T88" fmla="*/ 18 w 73"/>
                  <a:gd name="T89" fmla="*/ 0 h 118"/>
                  <a:gd name="T90" fmla="*/ 23 w 73"/>
                  <a:gd name="T91" fmla="*/ 5 h 118"/>
                  <a:gd name="T92" fmla="*/ 32 w 73"/>
                  <a:gd name="T93" fmla="*/ 9 h 118"/>
                  <a:gd name="T94" fmla="*/ 37 w 73"/>
                  <a:gd name="T95" fmla="*/ 9 h 118"/>
                  <a:gd name="T96" fmla="*/ 46 w 73"/>
                  <a:gd name="T97" fmla="*/ 5 h 118"/>
                  <a:gd name="T98" fmla="*/ 50 w 73"/>
                  <a:gd name="T99" fmla="*/ 9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3" h="118">
                    <a:moveTo>
                      <a:pt x="55" y="9"/>
                    </a:moveTo>
                    <a:lnTo>
                      <a:pt x="55" y="9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9" y="18"/>
                    </a:lnTo>
                    <a:lnTo>
                      <a:pt x="55" y="18"/>
                    </a:lnTo>
                    <a:lnTo>
                      <a:pt x="55" y="18"/>
                    </a:lnTo>
                    <a:lnTo>
                      <a:pt x="55" y="18"/>
                    </a:lnTo>
                    <a:lnTo>
                      <a:pt x="55" y="18"/>
                    </a:lnTo>
                    <a:lnTo>
                      <a:pt x="55" y="18"/>
                    </a:lnTo>
                    <a:lnTo>
                      <a:pt x="59" y="23"/>
                    </a:lnTo>
                    <a:lnTo>
                      <a:pt x="55" y="23"/>
                    </a:lnTo>
                    <a:lnTo>
                      <a:pt x="55" y="27"/>
                    </a:lnTo>
                    <a:lnTo>
                      <a:pt x="55" y="27"/>
                    </a:lnTo>
                    <a:lnTo>
                      <a:pt x="59" y="27"/>
                    </a:lnTo>
                    <a:lnTo>
                      <a:pt x="59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4" y="45"/>
                    </a:lnTo>
                    <a:lnTo>
                      <a:pt x="59" y="45"/>
                    </a:lnTo>
                    <a:lnTo>
                      <a:pt x="59" y="45"/>
                    </a:lnTo>
                    <a:lnTo>
                      <a:pt x="59" y="50"/>
                    </a:lnTo>
                    <a:lnTo>
                      <a:pt x="55" y="50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9" y="59"/>
                    </a:lnTo>
                    <a:lnTo>
                      <a:pt x="59" y="63"/>
                    </a:lnTo>
                    <a:lnTo>
                      <a:pt x="59" y="63"/>
                    </a:lnTo>
                    <a:lnTo>
                      <a:pt x="59" y="63"/>
                    </a:lnTo>
                    <a:lnTo>
                      <a:pt x="59" y="68"/>
                    </a:lnTo>
                    <a:lnTo>
                      <a:pt x="64" y="68"/>
                    </a:lnTo>
                    <a:lnTo>
                      <a:pt x="59" y="68"/>
                    </a:lnTo>
                    <a:lnTo>
                      <a:pt x="59" y="77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59" y="91"/>
                    </a:lnTo>
                    <a:lnTo>
                      <a:pt x="59" y="95"/>
                    </a:lnTo>
                    <a:lnTo>
                      <a:pt x="59" y="95"/>
                    </a:lnTo>
                    <a:lnTo>
                      <a:pt x="59" y="95"/>
                    </a:lnTo>
                    <a:lnTo>
                      <a:pt x="59" y="95"/>
                    </a:lnTo>
                    <a:lnTo>
                      <a:pt x="50" y="95"/>
                    </a:lnTo>
                    <a:lnTo>
                      <a:pt x="50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4"/>
                    </a:lnTo>
                    <a:lnTo>
                      <a:pt x="46" y="104"/>
                    </a:lnTo>
                    <a:lnTo>
                      <a:pt x="41" y="109"/>
                    </a:lnTo>
                    <a:lnTo>
                      <a:pt x="41" y="109"/>
                    </a:lnTo>
                    <a:lnTo>
                      <a:pt x="37" y="113"/>
                    </a:lnTo>
                    <a:lnTo>
                      <a:pt x="37" y="113"/>
                    </a:lnTo>
                    <a:lnTo>
                      <a:pt x="37" y="113"/>
                    </a:lnTo>
                    <a:lnTo>
                      <a:pt x="37" y="113"/>
                    </a:lnTo>
                    <a:lnTo>
                      <a:pt x="32" y="113"/>
                    </a:lnTo>
                    <a:lnTo>
                      <a:pt x="32" y="118"/>
                    </a:lnTo>
                    <a:lnTo>
                      <a:pt x="32" y="118"/>
                    </a:lnTo>
                    <a:lnTo>
                      <a:pt x="27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18" y="113"/>
                    </a:lnTo>
                    <a:lnTo>
                      <a:pt x="18" y="113"/>
                    </a:lnTo>
                    <a:lnTo>
                      <a:pt x="18" y="113"/>
                    </a:lnTo>
                    <a:lnTo>
                      <a:pt x="14" y="113"/>
                    </a:lnTo>
                    <a:lnTo>
                      <a:pt x="14" y="113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5" y="113"/>
                    </a:lnTo>
                    <a:lnTo>
                      <a:pt x="5" y="113"/>
                    </a:lnTo>
                    <a:lnTo>
                      <a:pt x="5" y="113"/>
                    </a:lnTo>
                    <a:lnTo>
                      <a:pt x="5" y="113"/>
                    </a:lnTo>
                    <a:lnTo>
                      <a:pt x="5" y="109"/>
                    </a:lnTo>
                    <a:lnTo>
                      <a:pt x="5" y="104"/>
                    </a:lnTo>
                    <a:lnTo>
                      <a:pt x="5" y="104"/>
                    </a:lnTo>
                    <a:lnTo>
                      <a:pt x="5" y="100"/>
                    </a:lnTo>
                    <a:lnTo>
                      <a:pt x="5" y="100"/>
                    </a:lnTo>
                    <a:lnTo>
                      <a:pt x="0" y="95"/>
                    </a:lnTo>
                    <a:lnTo>
                      <a:pt x="0" y="95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14" y="68"/>
                    </a:lnTo>
                    <a:lnTo>
                      <a:pt x="14" y="73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14" y="59"/>
                    </a:lnTo>
                    <a:lnTo>
                      <a:pt x="14" y="54"/>
                    </a:lnTo>
                    <a:lnTo>
                      <a:pt x="9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4" y="36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14" y="18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8" y="9"/>
                    </a:lnTo>
                    <a:lnTo>
                      <a:pt x="18" y="0"/>
                    </a:lnTo>
                    <a:lnTo>
                      <a:pt x="23" y="0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7" y="5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41" y="9"/>
                    </a:lnTo>
                    <a:lnTo>
                      <a:pt x="41" y="5"/>
                    </a:lnTo>
                    <a:lnTo>
                      <a:pt x="46" y="5"/>
                    </a:lnTo>
                    <a:lnTo>
                      <a:pt x="46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5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8" name="Freeform 36"/>
              <p:cNvSpPr>
                <a:spLocks/>
              </p:cNvSpPr>
              <p:nvPr/>
            </p:nvSpPr>
            <p:spPr bwMode="auto">
              <a:xfrm>
                <a:off x="2541588" y="2779713"/>
                <a:ext cx="115888" cy="144462"/>
              </a:xfrm>
              <a:custGeom>
                <a:avLst/>
                <a:gdLst>
                  <a:gd name="T0" fmla="*/ 0 w 73"/>
                  <a:gd name="T1" fmla="*/ 91 h 91"/>
                  <a:gd name="T2" fmla="*/ 0 w 73"/>
                  <a:gd name="T3" fmla="*/ 86 h 91"/>
                  <a:gd name="T4" fmla="*/ 18 w 73"/>
                  <a:gd name="T5" fmla="*/ 82 h 91"/>
                  <a:gd name="T6" fmla="*/ 23 w 73"/>
                  <a:gd name="T7" fmla="*/ 77 h 91"/>
                  <a:gd name="T8" fmla="*/ 32 w 73"/>
                  <a:gd name="T9" fmla="*/ 64 h 91"/>
                  <a:gd name="T10" fmla="*/ 37 w 73"/>
                  <a:gd name="T11" fmla="*/ 64 h 91"/>
                  <a:gd name="T12" fmla="*/ 37 w 73"/>
                  <a:gd name="T13" fmla="*/ 64 h 91"/>
                  <a:gd name="T14" fmla="*/ 41 w 73"/>
                  <a:gd name="T15" fmla="*/ 59 h 91"/>
                  <a:gd name="T16" fmla="*/ 41 w 73"/>
                  <a:gd name="T17" fmla="*/ 55 h 91"/>
                  <a:gd name="T18" fmla="*/ 41 w 73"/>
                  <a:gd name="T19" fmla="*/ 50 h 91"/>
                  <a:gd name="T20" fmla="*/ 37 w 73"/>
                  <a:gd name="T21" fmla="*/ 41 h 91"/>
                  <a:gd name="T22" fmla="*/ 41 w 73"/>
                  <a:gd name="T23" fmla="*/ 37 h 91"/>
                  <a:gd name="T24" fmla="*/ 41 w 73"/>
                  <a:gd name="T25" fmla="*/ 37 h 91"/>
                  <a:gd name="T26" fmla="*/ 41 w 73"/>
                  <a:gd name="T27" fmla="*/ 37 h 91"/>
                  <a:gd name="T28" fmla="*/ 41 w 73"/>
                  <a:gd name="T29" fmla="*/ 27 h 91"/>
                  <a:gd name="T30" fmla="*/ 41 w 73"/>
                  <a:gd name="T31" fmla="*/ 23 h 91"/>
                  <a:gd name="T32" fmla="*/ 41 w 73"/>
                  <a:gd name="T33" fmla="*/ 18 h 91"/>
                  <a:gd name="T34" fmla="*/ 41 w 73"/>
                  <a:gd name="T35" fmla="*/ 14 h 91"/>
                  <a:gd name="T36" fmla="*/ 37 w 73"/>
                  <a:gd name="T37" fmla="*/ 9 h 91"/>
                  <a:gd name="T38" fmla="*/ 32 w 73"/>
                  <a:gd name="T39" fmla="*/ 0 h 91"/>
                  <a:gd name="T40" fmla="*/ 41 w 73"/>
                  <a:gd name="T41" fmla="*/ 0 h 91"/>
                  <a:gd name="T42" fmla="*/ 46 w 73"/>
                  <a:gd name="T43" fmla="*/ 5 h 91"/>
                  <a:gd name="T44" fmla="*/ 46 w 73"/>
                  <a:gd name="T45" fmla="*/ 9 h 91"/>
                  <a:gd name="T46" fmla="*/ 50 w 73"/>
                  <a:gd name="T47" fmla="*/ 14 h 91"/>
                  <a:gd name="T48" fmla="*/ 55 w 73"/>
                  <a:gd name="T49" fmla="*/ 14 h 91"/>
                  <a:gd name="T50" fmla="*/ 55 w 73"/>
                  <a:gd name="T51" fmla="*/ 9 h 91"/>
                  <a:gd name="T52" fmla="*/ 55 w 73"/>
                  <a:gd name="T53" fmla="*/ 9 h 91"/>
                  <a:gd name="T54" fmla="*/ 59 w 73"/>
                  <a:gd name="T55" fmla="*/ 9 h 91"/>
                  <a:gd name="T56" fmla="*/ 59 w 73"/>
                  <a:gd name="T57" fmla="*/ 14 h 91"/>
                  <a:gd name="T58" fmla="*/ 64 w 73"/>
                  <a:gd name="T59" fmla="*/ 14 h 91"/>
                  <a:gd name="T60" fmla="*/ 68 w 73"/>
                  <a:gd name="T61" fmla="*/ 23 h 91"/>
                  <a:gd name="T62" fmla="*/ 68 w 73"/>
                  <a:gd name="T63" fmla="*/ 27 h 91"/>
                  <a:gd name="T64" fmla="*/ 68 w 73"/>
                  <a:gd name="T65" fmla="*/ 32 h 91"/>
                  <a:gd name="T66" fmla="*/ 64 w 73"/>
                  <a:gd name="T67" fmla="*/ 41 h 91"/>
                  <a:gd name="T68" fmla="*/ 64 w 73"/>
                  <a:gd name="T69" fmla="*/ 50 h 91"/>
                  <a:gd name="T70" fmla="*/ 59 w 73"/>
                  <a:gd name="T71" fmla="*/ 59 h 91"/>
                  <a:gd name="T72" fmla="*/ 59 w 73"/>
                  <a:gd name="T73" fmla="*/ 59 h 91"/>
                  <a:gd name="T74" fmla="*/ 64 w 73"/>
                  <a:gd name="T75" fmla="*/ 64 h 91"/>
                  <a:gd name="T76" fmla="*/ 64 w 73"/>
                  <a:gd name="T77" fmla="*/ 73 h 91"/>
                  <a:gd name="T78" fmla="*/ 64 w 73"/>
                  <a:gd name="T79" fmla="*/ 77 h 91"/>
                  <a:gd name="T80" fmla="*/ 64 w 73"/>
                  <a:gd name="T81" fmla="*/ 82 h 91"/>
                  <a:gd name="T82" fmla="*/ 59 w 73"/>
                  <a:gd name="T83" fmla="*/ 82 h 91"/>
                  <a:gd name="T84" fmla="*/ 46 w 73"/>
                  <a:gd name="T85" fmla="*/ 86 h 91"/>
                  <a:gd name="T86" fmla="*/ 46 w 73"/>
                  <a:gd name="T87" fmla="*/ 86 h 91"/>
                  <a:gd name="T88" fmla="*/ 41 w 73"/>
                  <a:gd name="T89" fmla="*/ 86 h 91"/>
                  <a:gd name="T90" fmla="*/ 23 w 73"/>
                  <a:gd name="T91" fmla="*/ 86 h 91"/>
                  <a:gd name="T92" fmla="*/ 0 w 73"/>
                  <a:gd name="T93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73" h="91">
                    <a:moveTo>
                      <a:pt x="0" y="91"/>
                    </a:moveTo>
                    <a:lnTo>
                      <a:pt x="0" y="91"/>
                    </a:lnTo>
                    <a:lnTo>
                      <a:pt x="0" y="91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18" y="82"/>
                    </a:lnTo>
                    <a:lnTo>
                      <a:pt x="18" y="77"/>
                    </a:lnTo>
                    <a:lnTo>
                      <a:pt x="23" y="77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7" y="64"/>
                    </a:lnTo>
                    <a:lnTo>
                      <a:pt x="37" y="64"/>
                    </a:lnTo>
                    <a:lnTo>
                      <a:pt x="37" y="64"/>
                    </a:lnTo>
                    <a:lnTo>
                      <a:pt x="37" y="64"/>
                    </a:lnTo>
                    <a:lnTo>
                      <a:pt x="41" y="59"/>
                    </a:lnTo>
                    <a:lnTo>
                      <a:pt x="41" y="55"/>
                    </a:lnTo>
                    <a:lnTo>
                      <a:pt x="41" y="55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41" y="46"/>
                    </a:lnTo>
                    <a:lnTo>
                      <a:pt x="37" y="41"/>
                    </a:lnTo>
                    <a:lnTo>
                      <a:pt x="37" y="41"/>
                    </a:lnTo>
                    <a:lnTo>
                      <a:pt x="41" y="37"/>
                    </a:lnTo>
                    <a:lnTo>
                      <a:pt x="41" y="37"/>
                    </a:lnTo>
                    <a:lnTo>
                      <a:pt x="41" y="37"/>
                    </a:lnTo>
                    <a:lnTo>
                      <a:pt x="41" y="37"/>
                    </a:lnTo>
                    <a:lnTo>
                      <a:pt x="41" y="37"/>
                    </a:lnTo>
                    <a:lnTo>
                      <a:pt x="41" y="32"/>
                    </a:lnTo>
                    <a:lnTo>
                      <a:pt x="41" y="27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9"/>
                    </a:lnTo>
                    <a:lnTo>
                      <a:pt x="37" y="9"/>
                    </a:lnTo>
                    <a:lnTo>
                      <a:pt x="32" y="5"/>
                    </a:lnTo>
                    <a:lnTo>
                      <a:pt x="32" y="0"/>
                    </a:lnTo>
                    <a:lnTo>
                      <a:pt x="37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6" y="5"/>
                    </a:lnTo>
                    <a:lnTo>
                      <a:pt x="46" y="5"/>
                    </a:lnTo>
                    <a:lnTo>
                      <a:pt x="46" y="9"/>
                    </a:lnTo>
                    <a:lnTo>
                      <a:pt x="50" y="9"/>
                    </a:lnTo>
                    <a:lnTo>
                      <a:pt x="50" y="14"/>
                    </a:lnTo>
                    <a:lnTo>
                      <a:pt x="55" y="14"/>
                    </a:lnTo>
                    <a:lnTo>
                      <a:pt x="55" y="14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68" y="27"/>
                    </a:lnTo>
                    <a:lnTo>
                      <a:pt x="73" y="27"/>
                    </a:lnTo>
                    <a:lnTo>
                      <a:pt x="68" y="32"/>
                    </a:lnTo>
                    <a:lnTo>
                      <a:pt x="68" y="41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4" y="50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8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64" y="77"/>
                    </a:lnTo>
                    <a:lnTo>
                      <a:pt x="64" y="77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59" y="82"/>
                    </a:lnTo>
                    <a:lnTo>
                      <a:pt x="55" y="82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28" y="86"/>
                    </a:lnTo>
                    <a:lnTo>
                      <a:pt x="23" y="86"/>
                    </a:lnTo>
                    <a:lnTo>
                      <a:pt x="5" y="91"/>
                    </a:lnTo>
                    <a:lnTo>
                      <a:pt x="0" y="91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9" name="Freeform 37"/>
              <p:cNvSpPr>
                <a:spLocks/>
              </p:cNvSpPr>
              <p:nvPr/>
            </p:nvSpPr>
            <p:spPr bwMode="auto">
              <a:xfrm>
                <a:off x="2663826" y="2651125"/>
                <a:ext cx="115888" cy="179387"/>
              </a:xfrm>
              <a:custGeom>
                <a:avLst/>
                <a:gdLst>
                  <a:gd name="T0" fmla="*/ 68 w 73"/>
                  <a:gd name="T1" fmla="*/ 54 h 113"/>
                  <a:gd name="T2" fmla="*/ 68 w 73"/>
                  <a:gd name="T3" fmla="*/ 63 h 113"/>
                  <a:gd name="T4" fmla="*/ 73 w 73"/>
                  <a:gd name="T5" fmla="*/ 68 h 113"/>
                  <a:gd name="T6" fmla="*/ 73 w 73"/>
                  <a:gd name="T7" fmla="*/ 72 h 113"/>
                  <a:gd name="T8" fmla="*/ 68 w 73"/>
                  <a:gd name="T9" fmla="*/ 86 h 113"/>
                  <a:gd name="T10" fmla="*/ 68 w 73"/>
                  <a:gd name="T11" fmla="*/ 90 h 113"/>
                  <a:gd name="T12" fmla="*/ 68 w 73"/>
                  <a:gd name="T13" fmla="*/ 95 h 113"/>
                  <a:gd name="T14" fmla="*/ 64 w 73"/>
                  <a:gd name="T15" fmla="*/ 99 h 113"/>
                  <a:gd name="T16" fmla="*/ 64 w 73"/>
                  <a:gd name="T17" fmla="*/ 99 h 113"/>
                  <a:gd name="T18" fmla="*/ 50 w 73"/>
                  <a:gd name="T19" fmla="*/ 104 h 113"/>
                  <a:gd name="T20" fmla="*/ 37 w 73"/>
                  <a:gd name="T21" fmla="*/ 99 h 113"/>
                  <a:gd name="T22" fmla="*/ 37 w 73"/>
                  <a:gd name="T23" fmla="*/ 104 h 113"/>
                  <a:gd name="T24" fmla="*/ 37 w 73"/>
                  <a:gd name="T25" fmla="*/ 108 h 113"/>
                  <a:gd name="T26" fmla="*/ 32 w 73"/>
                  <a:gd name="T27" fmla="*/ 108 h 113"/>
                  <a:gd name="T28" fmla="*/ 23 w 73"/>
                  <a:gd name="T29" fmla="*/ 113 h 113"/>
                  <a:gd name="T30" fmla="*/ 23 w 73"/>
                  <a:gd name="T31" fmla="*/ 108 h 113"/>
                  <a:gd name="T32" fmla="*/ 19 w 73"/>
                  <a:gd name="T33" fmla="*/ 104 h 113"/>
                  <a:gd name="T34" fmla="*/ 19 w 73"/>
                  <a:gd name="T35" fmla="*/ 104 h 113"/>
                  <a:gd name="T36" fmla="*/ 14 w 73"/>
                  <a:gd name="T37" fmla="*/ 99 h 113"/>
                  <a:gd name="T38" fmla="*/ 14 w 73"/>
                  <a:gd name="T39" fmla="*/ 99 h 113"/>
                  <a:gd name="T40" fmla="*/ 10 w 73"/>
                  <a:gd name="T41" fmla="*/ 99 h 113"/>
                  <a:gd name="T42" fmla="*/ 10 w 73"/>
                  <a:gd name="T43" fmla="*/ 99 h 113"/>
                  <a:gd name="T44" fmla="*/ 10 w 73"/>
                  <a:gd name="T45" fmla="*/ 95 h 113"/>
                  <a:gd name="T46" fmla="*/ 10 w 73"/>
                  <a:gd name="T47" fmla="*/ 90 h 113"/>
                  <a:gd name="T48" fmla="*/ 5 w 73"/>
                  <a:gd name="T49" fmla="*/ 81 h 113"/>
                  <a:gd name="T50" fmla="*/ 10 w 73"/>
                  <a:gd name="T51" fmla="*/ 68 h 113"/>
                  <a:gd name="T52" fmla="*/ 10 w 73"/>
                  <a:gd name="T53" fmla="*/ 63 h 113"/>
                  <a:gd name="T54" fmla="*/ 10 w 73"/>
                  <a:gd name="T55" fmla="*/ 59 h 113"/>
                  <a:gd name="T56" fmla="*/ 10 w 73"/>
                  <a:gd name="T57" fmla="*/ 49 h 113"/>
                  <a:gd name="T58" fmla="*/ 0 w 73"/>
                  <a:gd name="T59" fmla="*/ 40 h 113"/>
                  <a:gd name="T60" fmla="*/ 10 w 73"/>
                  <a:gd name="T61" fmla="*/ 36 h 113"/>
                  <a:gd name="T62" fmla="*/ 14 w 73"/>
                  <a:gd name="T63" fmla="*/ 36 h 113"/>
                  <a:gd name="T64" fmla="*/ 14 w 73"/>
                  <a:gd name="T65" fmla="*/ 36 h 113"/>
                  <a:gd name="T66" fmla="*/ 19 w 73"/>
                  <a:gd name="T67" fmla="*/ 31 h 113"/>
                  <a:gd name="T68" fmla="*/ 19 w 73"/>
                  <a:gd name="T69" fmla="*/ 22 h 113"/>
                  <a:gd name="T70" fmla="*/ 23 w 73"/>
                  <a:gd name="T71" fmla="*/ 22 h 113"/>
                  <a:gd name="T72" fmla="*/ 23 w 73"/>
                  <a:gd name="T73" fmla="*/ 22 h 113"/>
                  <a:gd name="T74" fmla="*/ 23 w 73"/>
                  <a:gd name="T75" fmla="*/ 22 h 113"/>
                  <a:gd name="T76" fmla="*/ 28 w 73"/>
                  <a:gd name="T77" fmla="*/ 22 h 113"/>
                  <a:gd name="T78" fmla="*/ 32 w 73"/>
                  <a:gd name="T79" fmla="*/ 18 h 113"/>
                  <a:gd name="T80" fmla="*/ 37 w 73"/>
                  <a:gd name="T81" fmla="*/ 18 h 113"/>
                  <a:gd name="T82" fmla="*/ 37 w 73"/>
                  <a:gd name="T83" fmla="*/ 18 h 113"/>
                  <a:gd name="T84" fmla="*/ 37 w 73"/>
                  <a:gd name="T85" fmla="*/ 18 h 113"/>
                  <a:gd name="T86" fmla="*/ 37 w 73"/>
                  <a:gd name="T87" fmla="*/ 13 h 113"/>
                  <a:gd name="T88" fmla="*/ 41 w 73"/>
                  <a:gd name="T89" fmla="*/ 13 h 113"/>
                  <a:gd name="T90" fmla="*/ 46 w 73"/>
                  <a:gd name="T91" fmla="*/ 13 h 113"/>
                  <a:gd name="T92" fmla="*/ 46 w 73"/>
                  <a:gd name="T93" fmla="*/ 9 h 113"/>
                  <a:gd name="T94" fmla="*/ 41 w 73"/>
                  <a:gd name="T95" fmla="*/ 4 h 113"/>
                  <a:gd name="T96" fmla="*/ 41 w 73"/>
                  <a:gd name="T97" fmla="*/ 4 h 113"/>
                  <a:gd name="T98" fmla="*/ 41 w 73"/>
                  <a:gd name="T99" fmla="*/ 0 h 113"/>
                  <a:gd name="T100" fmla="*/ 46 w 73"/>
                  <a:gd name="T101" fmla="*/ 0 h 113"/>
                  <a:gd name="T102" fmla="*/ 59 w 73"/>
                  <a:gd name="T103" fmla="*/ 9 h 113"/>
                  <a:gd name="T104" fmla="*/ 59 w 73"/>
                  <a:gd name="T105" fmla="*/ 13 h 113"/>
                  <a:gd name="T106" fmla="*/ 64 w 73"/>
                  <a:gd name="T107" fmla="*/ 18 h 113"/>
                  <a:gd name="T108" fmla="*/ 64 w 73"/>
                  <a:gd name="T109" fmla="*/ 18 h 113"/>
                  <a:gd name="T110" fmla="*/ 68 w 73"/>
                  <a:gd name="T111" fmla="*/ 22 h 113"/>
                  <a:gd name="T112" fmla="*/ 68 w 73"/>
                  <a:gd name="T113" fmla="*/ 31 h 113"/>
                  <a:gd name="T114" fmla="*/ 68 w 73"/>
                  <a:gd name="T115" fmla="*/ 40 h 113"/>
                  <a:gd name="T116" fmla="*/ 68 w 73"/>
                  <a:gd name="T117" fmla="*/ 45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3" h="113">
                    <a:moveTo>
                      <a:pt x="68" y="54"/>
                    </a:moveTo>
                    <a:lnTo>
                      <a:pt x="68" y="54"/>
                    </a:lnTo>
                    <a:lnTo>
                      <a:pt x="68" y="59"/>
                    </a:lnTo>
                    <a:lnTo>
                      <a:pt x="68" y="63"/>
                    </a:lnTo>
                    <a:lnTo>
                      <a:pt x="68" y="63"/>
                    </a:lnTo>
                    <a:lnTo>
                      <a:pt x="73" y="68"/>
                    </a:lnTo>
                    <a:lnTo>
                      <a:pt x="73" y="68"/>
                    </a:lnTo>
                    <a:lnTo>
                      <a:pt x="73" y="72"/>
                    </a:lnTo>
                    <a:lnTo>
                      <a:pt x="73" y="81"/>
                    </a:lnTo>
                    <a:lnTo>
                      <a:pt x="68" y="86"/>
                    </a:lnTo>
                    <a:lnTo>
                      <a:pt x="68" y="90"/>
                    </a:lnTo>
                    <a:lnTo>
                      <a:pt x="68" y="90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4" y="99"/>
                    </a:lnTo>
                    <a:lnTo>
                      <a:pt x="64" y="99"/>
                    </a:lnTo>
                    <a:lnTo>
                      <a:pt x="64" y="99"/>
                    </a:lnTo>
                    <a:lnTo>
                      <a:pt x="59" y="104"/>
                    </a:lnTo>
                    <a:lnTo>
                      <a:pt x="50" y="104"/>
                    </a:lnTo>
                    <a:lnTo>
                      <a:pt x="46" y="104"/>
                    </a:lnTo>
                    <a:lnTo>
                      <a:pt x="37" y="99"/>
                    </a:lnTo>
                    <a:lnTo>
                      <a:pt x="37" y="99"/>
                    </a:lnTo>
                    <a:lnTo>
                      <a:pt x="37" y="104"/>
                    </a:lnTo>
                    <a:lnTo>
                      <a:pt x="37" y="104"/>
                    </a:lnTo>
                    <a:lnTo>
                      <a:pt x="37" y="108"/>
                    </a:lnTo>
                    <a:lnTo>
                      <a:pt x="37" y="108"/>
                    </a:lnTo>
                    <a:lnTo>
                      <a:pt x="32" y="108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08"/>
                    </a:lnTo>
                    <a:lnTo>
                      <a:pt x="23" y="108"/>
                    </a:lnTo>
                    <a:lnTo>
                      <a:pt x="23" y="108"/>
                    </a:lnTo>
                    <a:lnTo>
                      <a:pt x="19" y="104"/>
                    </a:lnTo>
                    <a:lnTo>
                      <a:pt x="19" y="104"/>
                    </a:lnTo>
                    <a:lnTo>
                      <a:pt x="19" y="104"/>
                    </a:lnTo>
                    <a:lnTo>
                      <a:pt x="19" y="104"/>
                    </a:lnTo>
                    <a:lnTo>
                      <a:pt x="14" y="99"/>
                    </a:lnTo>
                    <a:lnTo>
                      <a:pt x="14" y="99"/>
                    </a:lnTo>
                    <a:lnTo>
                      <a:pt x="14" y="99"/>
                    </a:lnTo>
                    <a:lnTo>
                      <a:pt x="10" y="99"/>
                    </a:lnTo>
                    <a:lnTo>
                      <a:pt x="10" y="99"/>
                    </a:lnTo>
                    <a:lnTo>
                      <a:pt x="10" y="99"/>
                    </a:lnTo>
                    <a:lnTo>
                      <a:pt x="10" y="99"/>
                    </a:lnTo>
                    <a:lnTo>
                      <a:pt x="10" y="95"/>
                    </a:lnTo>
                    <a:lnTo>
                      <a:pt x="10" y="95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5" y="86"/>
                    </a:lnTo>
                    <a:lnTo>
                      <a:pt x="5" y="81"/>
                    </a:lnTo>
                    <a:lnTo>
                      <a:pt x="5" y="81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0" y="63"/>
                    </a:lnTo>
                    <a:lnTo>
                      <a:pt x="10" y="59"/>
                    </a:lnTo>
                    <a:lnTo>
                      <a:pt x="10" y="59"/>
                    </a:lnTo>
                    <a:lnTo>
                      <a:pt x="10" y="54"/>
                    </a:lnTo>
                    <a:lnTo>
                      <a:pt x="10" y="49"/>
                    </a:lnTo>
                    <a:lnTo>
                      <a:pt x="5" y="45"/>
                    </a:lnTo>
                    <a:lnTo>
                      <a:pt x="0" y="40"/>
                    </a:lnTo>
                    <a:lnTo>
                      <a:pt x="5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19" y="22"/>
                    </a:lnTo>
                    <a:lnTo>
                      <a:pt x="19" y="22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2" y="22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7" y="18"/>
                    </a:lnTo>
                    <a:lnTo>
                      <a:pt x="37" y="18"/>
                    </a:lnTo>
                    <a:lnTo>
                      <a:pt x="37" y="18"/>
                    </a:lnTo>
                    <a:lnTo>
                      <a:pt x="37" y="18"/>
                    </a:lnTo>
                    <a:lnTo>
                      <a:pt x="37" y="18"/>
                    </a:lnTo>
                    <a:lnTo>
                      <a:pt x="37" y="13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6" y="13"/>
                    </a:lnTo>
                    <a:lnTo>
                      <a:pt x="46" y="13"/>
                    </a:lnTo>
                    <a:lnTo>
                      <a:pt x="46" y="9"/>
                    </a:lnTo>
                    <a:lnTo>
                      <a:pt x="41" y="9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55" y="4"/>
                    </a:lnTo>
                    <a:lnTo>
                      <a:pt x="59" y="9"/>
                    </a:lnTo>
                    <a:lnTo>
                      <a:pt x="59" y="13"/>
                    </a:lnTo>
                    <a:lnTo>
                      <a:pt x="59" y="13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31"/>
                    </a:lnTo>
                    <a:lnTo>
                      <a:pt x="73" y="36"/>
                    </a:lnTo>
                    <a:lnTo>
                      <a:pt x="68" y="40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8" y="5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0" name="Freeform 38"/>
              <p:cNvSpPr>
                <a:spLocks/>
              </p:cNvSpPr>
              <p:nvPr/>
            </p:nvSpPr>
            <p:spPr bwMode="auto">
              <a:xfrm>
                <a:off x="2535238" y="2909888"/>
                <a:ext cx="158750" cy="187325"/>
              </a:xfrm>
              <a:custGeom>
                <a:avLst/>
                <a:gdLst>
                  <a:gd name="T0" fmla="*/ 95 w 100"/>
                  <a:gd name="T1" fmla="*/ 86 h 118"/>
                  <a:gd name="T2" fmla="*/ 100 w 100"/>
                  <a:gd name="T3" fmla="*/ 91 h 118"/>
                  <a:gd name="T4" fmla="*/ 95 w 100"/>
                  <a:gd name="T5" fmla="*/ 100 h 118"/>
                  <a:gd name="T6" fmla="*/ 95 w 100"/>
                  <a:gd name="T7" fmla="*/ 100 h 118"/>
                  <a:gd name="T8" fmla="*/ 86 w 100"/>
                  <a:gd name="T9" fmla="*/ 109 h 118"/>
                  <a:gd name="T10" fmla="*/ 77 w 100"/>
                  <a:gd name="T11" fmla="*/ 113 h 118"/>
                  <a:gd name="T12" fmla="*/ 77 w 100"/>
                  <a:gd name="T13" fmla="*/ 118 h 118"/>
                  <a:gd name="T14" fmla="*/ 72 w 100"/>
                  <a:gd name="T15" fmla="*/ 118 h 118"/>
                  <a:gd name="T16" fmla="*/ 63 w 100"/>
                  <a:gd name="T17" fmla="*/ 109 h 118"/>
                  <a:gd name="T18" fmla="*/ 41 w 100"/>
                  <a:gd name="T19" fmla="*/ 100 h 118"/>
                  <a:gd name="T20" fmla="*/ 32 w 100"/>
                  <a:gd name="T21" fmla="*/ 95 h 118"/>
                  <a:gd name="T22" fmla="*/ 32 w 100"/>
                  <a:gd name="T23" fmla="*/ 91 h 118"/>
                  <a:gd name="T24" fmla="*/ 27 w 100"/>
                  <a:gd name="T25" fmla="*/ 91 h 118"/>
                  <a:gd name="T26" fmla="*/ 32 w 100"/>
                  <a:gd name="T27" fmla="*/ 86 h 118"/>
                  <a:gd name="T28" fmla="*/ 32 w 100"/>
                  <a:gd name="T29" fmla="*/ 81 h 118"/>
                  <a:gd name="T30" fmla="*/ 22 w 100"/>
                  <a:gd name="T31" fmla="*/ 72 h 118"/>
                  <a:gd name="T32" fmla="*/ 18 w 100"/>
                  <a:gd name="T33" fmla="*/ 68 h 118"/>
                  <a:gd name="T34" fmla="*/ 9 w 100"/>
                  <a:gd name="T35" fmla="*/ 59 h 118"/>
                  <a:gd name="T36" fmla="*/ 0 w 100"/>
                  <a:gd name="T37" fmla="*/ 59 h 118"/>
                  <a:gd name="T38" fmla="*/ 0 w 100"/>
                  <a:gd name="T39" fmla="*/ 54 h 118"/>
                  <a:gd name="T40" fmla="*/ 0 w 100"/>
                  <a:gd name="T41" fmla="*/ 54 h 118"/>
                  <a:gd name="T42" fmla="*/ 4 w 100"/>
                  <a:gd name="T43" fmla="*/ 50 h 118"/>
                  <a:gd name="T44" fmla="*/ 0 w 100"/>
                  <a:gd name="T45" fmla="*/ 50 h 118"/>
                  <a:gd name="T46" fmla="*/ 4 w 100"/>
                  <a:gd name="T47" fmla="*/ 45 h 118"/>
                  <a:gd name="T48" fmla="*/ 9 w 100"/>
                  <a:gd name="T49" fmla="*/ 41 h 118"/>
                  <a:gd name="T50" fmla="*/ 9 w 100"/>
                  <a:gd name="T51" fmla="*/ 36 h 118"/>
                  <a:gd name="T52" fmla="*/ 4 w 100"/>
                  <a:gd name="T53" fmla="*/ 32 h 118"/>
                  <a:gd name="T54" fmla="*/ 9 w 100"/>
                  <a:gd name="T55" fmla="*/ 27 h 118"/>
                  <a:gd name="T56" fmla="*/ 9 w 100"/>
                  <a:gd name="T57" fmla="*/ 27 h 118"/>
                  <a:gd name="T58" fmla="*/ 13 w 100"/>
                  <a:gd name="T59" fmla="*/ 27 h 118"/>
                  <a:gd name="T60" fmla="*/ 13 w 100"/>
                  <a:gd name="T61" fmla="*/ 23 h 118"/>
                  <a:gd name="T62" fmla="*/ 9 w 100"/>
                  <a:gd name="T63" fmla="*/ 13 h 118"/>
                  <a:gd name="T64" fmla="*/ 4 w 100"/>
                  <a:gd name="T65" fmla="*/ 4 h 118"/>
                  <a:gd name="T66" fmla="*/ 4 w 100"/>
                  <a:gd name="T67" fmla="*/ 9 h 118"/>
                  <a:gd name="T68" fmla="*/ 32 w 100"/>
                  <a:gd name="T69" fmla="*/ 4 h 118"/>
                  <a:gd name="T70" fmla="*/ 50 w 100"/>
                  <a:gd name="T71" fmla="*/ 4 h 118"/>
                  <a:gd name="T72" fmla="*/ 59 w 100"/>
                  <a:gd name="T73" fmla="*/ 0 h 118"/>
                  <a:gd name="T74" fmla="*/ 68 w 100"/>
                  <a:gd name="T75" fmla="*/ 9 h 118"/>
                  <a:gd name="T76" fmla="*/ 72 w 100"/>
                  <a:gd name="T77" fmla="*/ 18 h 118"/>
                  <a:gd name="T78" fmla="*/ 68 w 100"/>
                  <a:gd name="T79" fmla="*/ 18 h 118"/>
                  <a:gd name="T80" fmla="*/ 63 w 100"/>
                  <a:gd name="T81" fmla="*/ 23 h 118"/>
                  <a:gd name="T82" fmla="*/ 54 w 100"/>
                  <a:gd name="T83" fmla="*/ 32 h 118"/>
                  <a:gd name="T84" fmla="*/ 54 w 100"/>
                  <a:gd name="T85" fmla="*/ 41 h 118"/>
                  <a:gd name="T86" fmla="*/ 54 w 100"/>
                  <a:gd name="T87" fmla="*/ 41 h 118"/>
                  <a:gd name="T88" fmla="*/ 59 w 100"/>
                  <a:gd name="T89" fmla="*/ 50 h 118"/>
                  <a:gd name="T90" fmla="*/ 59 w 100"/>
                  <a:gd name="T91" fmla="*/ 54 h 118"/>
                  <a:gd name="T92" fmla="*/ 59 w 100"/>
                  <a:gd name="T93" fmla="*/ 63 h 118"/>
                  <a:gd name="T94" fmla="*/ 63 w 100"/>
                  <a:gd name="T95" fmla="*/ 63 h 118"/>
                  <a:gd name="T96" fmla="*/ 68 w 100"/>
                  <a:gd name="T97" fmla="*/ 63 h 118"/>
                  <a:gd name="T98" fmla="*/ 72 w 100"/>
                  <a:gd name="T99" fmla="*/ 63 h 118"/>
                  <a:gd name="T100" fmla="*/ 77 w 100"/>
                  <a:gd name="T101" fmla="*/ 63 h 118"/>
                  <a:gd name="T102" fmla="*/ 86 w 100"/>
                  <a:gd name="T103" fmla="*/ 68 h 118"/>
                  <a:gd name="T104" fmla="*/ 86 w 100"/>
                  <a:gd name="T105" fmla="*/ 72 h 118"/>
                  <a:gd name="T106" fmla="*/ 91 w 100"/>
                  <a:gd name="T107" fmla="*/ 81 h 118"/>
                  <a:gd name="T108" fmla="*/ 95 w 100"/>
                  <a:gd name="T109" fmla="*/ 86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0" h="118">
                    <a:moveTo>
                      <a:pt x="95" y="86"/>
                    </a:moveTo>
                    <a:lnTo>
                      <a:pt x="95" y="86"/>
                    </a:lnTo>
                    <a:lnTo>
                      <a:pt x="95" y="86"/>
                    </a:lnTo>
                    <a:lnTo>
                      <a:pt x="100" y="86"/>
                    </a:lnTo>
                    <a:lnTo>
                      <a:pt x="100" y="86"/>
                    </a:lnTo>
                    <a:lnTo>
                      <a:pt x="100" y="91"/>
                    </a:lnTo>
                    <a:lnTo>
                      <a:pt x="95" y="95"/>
                    </a:lnTo>
                    <a:lnTo>
                      <a:pt x="95" y="95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1" y="104"/>
                    </a:lnTo>
                    <a:lnTo>
                      <a:pt x="86" y="104"/>
                    </a:lnTo>
                    <a:lnTo>
                      <a:pt x="86" y="109"/>
                    </a:lnTo>
                    <a:lnTo>
                      <a:pt x="81" y="109"/>
                    </a:lnTo>
                    <a:lnTo>
                      <a:pt x="77" y="109"/>
                    </a:lnTo>
                    <a:lnTo>
                      <a:pt x="77" y="113"/>
                    </a:lnTo>
                    <a:lnTo>
                      <a:pt x="77" y="113"/>
                    </a:lnTo>
                    <a:lnTo>
                      <a:pt x="77" y="113"/>
                    </a:lnTo>
                    <a:lnTo>
                      <a:pt x="77" y="118"/>
                    </a:lnTo>
                    <a:lnTo>
                      <a:pt x="72" y="118"/>
                    </a:lnTo>
                    <a:lnTo>
                      <a:pt x="72" y="118"/>
                    </a:lnTo>
                    <a:lnTo>
                      <a:pt x="72" y="118"/>
                    </a:lnTo>
                    <a:lnTo>
                      <a:pt x="72" y="113"/>
                    </a:lnTo>
                    <a:lnTo>
                      <a:pt x="72" y="113"/>
                    </a:lnTo>
                    <a:lnTo>
                      <a:pt x="63" y="109"/>
                    </a:lnTo>
                    <a:lnTo>
                      <a:pt x="59" y="109"/>
                    </a:lnTo>
                    <a:lnTo>
                      <a:pt x="45" y="104"/>
                    </a:lnTo>
                    <a:lnTo>
                      <a:pt x="41" y="100"/>
                    </a:lnTo>
                    <a:lnTo>
                      <a:pt x="36" y="100"/>
                    </a:lnTo>
                    <a:lnTo>
                      <a:pt x="36" y="95"/>
                    </a:lnTo>
                    <a:lnTo>
                      <a:pt x="32" y="95"/>
                    </a:lnTo>
                    <a:lnTo>
                      <a:pt x="32" y="95"/>
                    </a:lnTo>
                    <a:lnTo>
                      <a:pt x="32" y="91"/>
                    </a:lnTo>
                    <a:lnTo>
                      <a:pt x="32" y="91"/>
                    </a:lnTo>
                    <a:lnTo>
                      <a:pt x="32" y="91"/>
                    </a:lnTo>
                    <a:lnTo>
                      <a:pt x="32" y="91"/>
                    </a:lnTo>
                    <a:lnTo>
                      <a:pt x="27" y="91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36" y="81"/>
                    </a:lnTo>
                    <a:lnTo>
                      <a:pt x="32" y="81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2" y="72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8" y="68"/>
                    </a:lnTo>
                    <a:lnTo>
                      <a:pt x="13" y="68"/>
                    </a:lnTo>
                    <a:lnTo>
                      <a:pt x="9" y="63"/>
                    </a:lnTo>
                    <a:lnTo>
                      <a:pt x="9" y="59"/>
                    </a:lnTo>
                    <a:lnTo>
                      <a:pt x="9" y="59"/>
                    </a:lnTo>
                    <a:lnTo>
                      <a:pt x="4" y="59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0" y="50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9" y="45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13" y="27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9" y="18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4" y="13"/>
                    </a:lnTo>
                    <a:lnTo>
                      <a:pt x="4" y="9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9" y="9"/>
                    </a:lnTo>
                    <a:lnTo>
                      <a:pt x="27" y="4"/>
                    </a:lnTo>
                    <a:lnTo>
                      <a:pt x="32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9" y="0"/>
                    </a:lnTo>
                    <a:lnTo>
                      <a:pt x="63" y="0"/>
                    </a:lnTo>
                    <a:lnTo>
                      <a:pt x="68" y="4"/>
                    </a:lnTo>
                    <a:lnTo>
                      <a:pt x="68" y="9"/>
                    </a:lnTo>
                    <a:lnTo>
                      <a:pt x="68" y="13"/>
                    </a:lnTo>
                    <a:lnTo>
                      <a:pt x="68" y="13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68" y="23"/>
                    </a:lnTo>
                    <a:lnTo>
                      <a:pt x="68" y="18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4" y="32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4" y="45"/>
                    </a:lnTo>
                    <a:lnTo>
                      <a:pt x="54" y="45"/>
                    </a:lnTo>
                    <a:lnTo>
                      <a:pt x="59" y="50"/>
                    </a:lnTo>
                    <a:lnTo>
                      <a:pt x="59" y="50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9" y="59"/>
                    </a:lnTo>
                    <a:lnTo>
                      <a:pt x="59" y="63"/>
                    </a:lnTo>
                    <a:lnTo>
                      <a:pt x="59" y="63"/>
                    </a:lnTo>
                    <a:lnTo>
                      <a:pt x="59" y="63"/>
                    </a:lnTo>
                    <a:lnTo>
                      <a:pt x="59" y="63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8" y="63"/>
                    </a:lnTo>
                    <a:lnTo>
                      <a:pt x="68" y="63"/>
                    </a:lnTo>
                    <a:lnTo>
                      <a:pt x="72" y="63"/>
                    </a:lnTo>
                    <a:lnTo>
                      <a:pt x="72" y="63"/>
                    </a:lnTo>
                    <a:lnTo>
                      <a:pt x="72" y="63"/>
                    </a:lnTo>
                    <a:lnTo>
                      <a:pt x="77" y="63"/>
                    </a:lnTo>
                    <a:lnTo>
                      <a:pt x="77" y="63"/>
                    </a:lnTo>
                    <a:lnTo>
                      <a:pt x="77" y="63"/>
                    </a:lnTo>
                    <a:lnTo>
                      <a:pt x="81" y="63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91" y="81"/>
                    </a:lnTo>
                    <a:lnTo>
                      <a:pt x="91" y="81"/>
                    </a:lnTo>
                    <a:lnTo>
                      <a:pt x="91" y="81"/>
                    </a:lnTo>
                    <a:lnTo>
                      <a:pt x="95" y="86"/>
                    </a:lnTo>
                    <a:lnTo>
                      <a:pt x="95" y="86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1" name="Freeform 39"/>
              <p:cNvSpPr>
                <a:spLocks/>
              </p:cNvSpPr>
              <p:nvPr/>
            </p:nvSpPr>
            <p:spPr bwMode="auto">
              <a:xfrm>
                <a:off x="3348038" y="2586038"/>
                <a:ext cx="187325" cy="236537"/>
              </a:xfrm>
              <a:custGeom>
                <a:avLst/>
                <a:gdLst>
                  <a:gd name="T0" fmla="*/ 118 w 118"/>
                  <a:gd name="T1" fmla="*/ 45 h 149"/>
                  <a:gd name="T2" fmla="*/ 118 w 118"/>
                  <a:gd name="T3" fmla="*/ 45 h 149"/>
                  <a:gd name="T4" fmla="*/ 118 w 118"/>
                  <a:gd name="T5" fmla="*/ 50 h 149"/>
                  <a:gd name="T6" fmla="*/ 114 w 118"/>
                  <a:gd name="T7" fmla="*/ 50 h 149"/>
                  <a:gd name="T8" fmla="*/ 109 w 118"/>
                  <a:gd name="T9" fmla="*/ 50 h 149"/>
                  <a:gd name="T10" fmla="*/ 96 w 118"/>
                  <a:gd name="T11" fmla="*/ 50 h 149"/>
                  <a:gd name="T12" fmla="*/ 73 w 118"/>
                  <a:gd name="T13" fmla="*/ 72 h 149"/>
                  <a:gd name="T14" fmla="*/ 68 w 118"/>
                  <a:gd name="T15" fmla="*/ 100 h 149"/>
                  <a:gd name="T16" fmla="*/ 68 w 118"/>
                  <a:gd name="T17" fmla="*/ 113 h 149"/>
                  <a:gd name="T18" fmla="*/ 64 w 118"/>
                  <a:gd name="T19" fmla="*/ 118 h 149"/>
                  <a:gd name="T20" fmla="*/ 59 w 118"/>
                  <a:gd name="T21" fmla="*/ 122 h 149"/>
                  <a:gd name="T22" fmla="*/ 50 w 118"/>
                  <a:gd name="T23" fmla="*/ 122 h 149"/>
                  <a:gd name="T24" fmla="*/ 41 w 118"/>
                  <a:gd name="T25" fmla="*/ 122 h 149"/>
                  <a:gd name="T26" fmla="*/ 37 w 118"/>
                  <a:gd name="T27" fmla="*/ 127 h 149"/>
                  <a:gd name="T28" fmla="*/ 23 w 118"/>
                  <a:gd name="T29" fmla="*/ 136 h 149"/>
                  <a:gd name="T30" fmla="*/ 23 w 118"/>
                  <a:gd name="T31" fmla="*/ 140 h 149"/>
                  <a:gd name="T32" fmla="*/ 23 w 118"/>
                  <a:gd name="T33" fmla="*/ 145 h 149"/>
                  <a:gd name="T34" fmla="*/ 19 w 118"/>
                  <a:gd name="T35" fmla="*/ 149 h 149"/>
                  <a:gd name="T36" fmla="*/ 9 w 118"/>
                  <a:gd name="T37" fmla="*/ 149 h 149"/>
                  <a:gd name="T38" fmla="*/ 9 w 118"/>
                  <a:gd name="T39" fmla="*/ 149 h 149"/>
                  <a:gd name="T40" fmla="*/ 0 w 118"/>
                  <a:gd name="T41" fmla="*/ 145 h 149"/>
                  <a:gd name="T42" fmla="*/ 0 w 118"/>
                  <a:gd name="T43" fmla="*/ 140 h 149"/>
                  <a:gd name="T44" fmla="*/ 5 w 118"/>
                  <a:gd name="T45" fmla="*/ 140 h 149"/>
                  <a:gd name="T46" fmla="*/ 9 w 118"/>
                  <a:gd name="T47" fmla="*/ 140 h 149"/>
                  <a:gd name="T48" fmla="*/ 9 w 118"/>
                  <a:gd name="T49" fmla="*/ 136 h 149"/>
                  <a:gd name="T50" fmla="*/ 9 w 118"/>
                  <a:gd name="T51" fmla="*/ 131 h 149"/>
                  <a:gd name="T52" fmla="*/ 9 w 118"/>
                  <a:gd name="T53" fmla="*/ 127 h 149"/>
                  <a:gd name="T54" fmla="*/ 9 w 118"/>
                  <a:gd name="T55" fmla="*/ 118 h 149"/>
                  <a:gd name="T56" fmla="*/ 5 w 118"/>
                  <a:gd name="T57" fmla="*/ 113 h 149"/>
                  <a:gd name="T58" fmla="*/ 9 w 118"/>
                  <a:gd name="T59" fmla="*/ 109 h 149"/>
                  <a:gd name="T60" fmla="*/ 5 w 118"/>
                  <a:gd name="T61" fmla="*/ 100 h 149"/>
                  <a:gd name="T62" fmla="*/ 5 w 118"/>
                  <a:gd name="T63" fmla="*/ 100 h 149"/>
                  <a:gd name="T64" fmla="*/ 9 w 118"/>
                  <a:gd name="T65" fmla="*/ 95 h 149"/>
                  <a:gd name="T66" fmla="*/ 14 w 118"/>
                  <a:gd name="T67" fmla="*/ 90 h 149"/>
                  <a:gd name="T68" fmla="*/ 14 w 118"/>
                  <a:gd name="T69" fmla="*/ 86 h 149"/>
                  <a:gd name="T70" fmla="*/ 23 w 118"/>
                  <a:gd name="T71" fmla="*/ 81 h 149"/>
                  <a:gd name="T72" fmla="*/ 32 w 118"/>
                  <a:gd name="T73" fmla="*/ 72 h 149"/>
                  <a:gd name="T74" fmla="*/ 37 w 118"/>
                  <a:gd name="T75" fmla="*/ 68 h 149"/>
                  <a:gd name="T76" fmla="*/ 32 w 118"/>
                  <a:gd name="T77" fmla="*/ 63 h 149"/>
                  <a:gd name="T78" fmla="*/ 32 w 118"/>
                  <a:gd name="T79" fmla="*/ 54 h 149"/>
                  <a:gd name="T80" fmla="*/ 28 w 118"/>
                  <a:gd name="T81" fmla="*/ 54 h 149"/>
                  <a:gd name="T82" fmla="*/ 19 w 118"/>
                  <a:gd name="T83" fmla="*/ 54 h 149"/>
                  <a:gd name="T84" fmla="*/ 14 w 118"/>
                  <a:gd name="T85" fmla="*/ 54 h 149"/>
                  <a:gd name="T86" fmla="*/ 14 w 118"/>
                  <a:gd name="T87" fmla="*/ 59 h 149"/>
                  <a:gd name="T88" fmla="*/ 14 w 118"/>
                  <a:gd name="T89" fmla="*/ 54 h 149"/>
                  <a:gd name="T90" fmla="*/ 9 w 118"/>
                  <a:gd name="T91" fmla="*/ 36 h 149"/>
                  <a:gd name="T92" fmla="*/ 9 w 118"/>
                  <a:gd name="T93" fmla="*/ 22 h 149"/>
                  <a:gd name="T94" fmla="*/ 5 w 118"/>
                  <a:gd name="T95" fmla="*/ 18 h 149"/>
                  <a:gd name="T96" fmla="*/ 0 w 118"/>
                  <a:gd name="T97" fmla="*/ 0 h 149"/>
                  <a:gd name="T98" fmla="*/ 5 w 118"/>
                  <a:gd name="T99" fmla="*/ 0 h 149"/>
                  <a:gd name="T100" fmla="*/ 23 w 118"/>
                  <a:gd name="T101" fmla="*/ 22 h 149"/>
                  <a:gd name="T102" fmla="*/ 46 w 118"/>
                  <a:gd name="T103" fmla="*/ 32 h 149"/>
                  <a:gd name="T104" fmla="*/ 64 w 118"/>
                  <a:gd name="T105" fmla="*/ 27 h 149"/>
                  <a:gd name="T106" fmla="*/ 82 w 118"/>
                  <a:gd name="T107" fmla="*/ 22 h 149"/>
                  <a:gd name="T108" fmla="*/ 96 w 118"/>
                  <a:gd name="T109" fmla="*/ 32 h 149"/>
                  <a:gd name="T110" fmla="*/ 105 w 118"/>
                  <a:gd name="T111" fmla="*/ 36 h 149"/>
                  <a:gd name="T112" fmla="*/ 114 w 118"/>
                  <a:gd name="T113" fmla="*/ 45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18" h="149">
                    <a:moveTo>
                      <a:pt x="114" y="45"/>
                    </a:moveTo>
                    <a:lnTo>
                      <a:pt x="114" y="45"/>
                    </a:lnTo>
                    <a:lnTo>
                      <a:pt x="118" y="45"/>
                    </a:lnTo>
                    <a:lnTo>
                      <a:pt x="118" y="45"/>
                    </a:lnTo>
                    <a:lnTo>
                      <a:pt x="118" y="45"/>
                    </a:lnTo>
                    <a:lnTo>
                      <a:pt x="118" y="45"/>
                    </a:lnTo>
                    <a:lnTo>
                      <a:pt x="118" y="45"/>
                    </a:lnTo>
                    <a:lnTo>
                      <a:pt x="118" y="45"/>
                    </a:lnTo>
                    <a:lnTo>
                      <a:pt x="118" y="50"/>
                    </a:lnTo>
                    <a:lnTo>
                      <a:pt x="118" y="50"/>
                    </a:lnTo>
                    <a:lnTo>
                      <a:pt x="118" y="50"/>
                    </a:lnTo>
                    <a:lnTo>
                      <a:pt x="114" y="50"/>
                    </a:lnTo>
                    <a:lnTo>
                      <a:pt x="114" y="50"/>
                    </a:lnTo>
                    <a:lnTo>
                      <a:pt x="114" y="50"/>
                    </a:lnTo>
                    <a:lnTo>
                      <a:pt x="109" y="50"/>
                    </a:lnTo>
                    <a:lnTo>
                      <a:pt x="109" y="50"/>
                    </a:lnTo>
                    <a:lnTo>
                      <a:pt x="105" y="50"/>
                    </a:lnTo>
                    <a:lnTo>
                      <a:pt x="96" y="50"/>
                    </a:lnTo>
                    <a:lnTo>
                      <a:pt x="91" y="54"/>
                    </a:lnTo>
                    <a:lnTo>
                      <a:pt x="77" y="68"/>
                    </a:lnTo>
                    <a:lnTo>
                      <a:pt x="73" y="72"/>
                    </a:lnTo>
                    <a:lnTo>
                      <a:pt x="68" y="86"/>
                    </a:lnTo>
                    <a:lnTo>
                      <a:pt x="68" y="95"/>
                    </a:lnTo>
                    <a:lnTo>
                      <a:pt x="68" y="100"/>
                    </a:lnTo>
                    <a:lnTo>
                      <a:pt x="68" y="104"/>
                    </a:lnTo>
                    <a:lnTo>
                      <a:pt x="68" y="109"/>
                    </a:lnTo>
                    <a:lnTo>
                      <a:pt x="68" y="113"/>
                    </a:lnTo>
                    <a:lnTo>
                      <a:pt x="68" y="113"/>
                    </a:lnTo>
                    <a:lnTo>
                      <a:pt x="64" y="118"/>
                    </a:lnTo>
                    <a:lnTo>
                      <a:pt x="64" y="118"/>
                    </a:lnTo>
                    <a:lnTo>
                      <a:pt x="64" y="118"/>
                    </a:lnTo>
                    <a:lnTo>
                      <a:pt x="59" y="122"/>
                    </a:lnTo>
                    <a:lnTo>
                      <a:pt x="59" y="122"/>
                    </a:lnTo>
                    <a:lnTo>
                      <a:pt x="55" y="122"/>
                    </a:lnTo>
                    <a:lnTo>
                      <a:pt x="55" y="122"/>
                    </a:lnTo>
                    <a:lnTo>
                      <a:pt x="50" y="122"/>
                    </a:lnTo>
                    <a:lnTo>
                      <a:pt x="50" y="122"/>
                    </a:lnTo>
                    <a:lnTo>
                      <a:pt x="50" y="122"/>
                    </a:lnTo>
                    <a:lnTo>
                      <a:pt x="41" y="122"/>
                    </a:lnTo>
                    <a:lnTo>
                      <a:pt x="41" y="122"/>
                    </a:lnTo>
                    <a:lnTo>
                      <a:pt x="37" y="127"/>
                    </a:lnTo>
                    <a:lnTo>
                      <a:pt x="37" y="127"/>
                    </a:lnTo>
                    <a:lnTo>
                      <a:pt x="37" y="131"/>
                    </a:lnTo>
                    <a:lnTo>
                      <a:pt x="32" y="131"/>
                    </a:lnTo>
                    <a:lnTo>
                      <a:pt x="23" y="136"/>
                    </a:lnTo>
                    <a:lnTo>
                      <a:pt x="23" y="136"/>
                    </a:lnTo>
                    <a:lnTo>
                      <a:pt x="23" y="136"/>
                    </a:lnTo>
                    <a:lnTo>
                      <a:pt x="23" y="140"/>
                    </a:lnTo>
                    <a:lnTo>
                      <a:pt x="23" y="140"/>
                    </a:lnTo>
                    <a:lnTo>
                      <a:pt x="23" y="140"/>
                    </a:lnTo>
                    <a:lnTo>
                      <a:pt x="23" y="145"/>
                    </a:lnTo>
                    <a:lnTo>
                      <a:pt x="23" y="145"/>
                    </a:lnTo>
                    <a:lnTo>
                      <a:pt x="19" y="149"/>
                    </a:lnTo>
                    <a:lnTo>
                      <a:pt x="19" y="149"/>
                    </a:lnTo>
                    <a:lnTo>
                      <a:pt x="14" y="149"/>
                    </a:lnTo>
                    <a:lnTo>
                      <a:pt x="9" y="149"/>
                    </a:lnTo>
                    <a:lnTo>
                      <a:pt x="9" y="149"/>
                    </a:lnTo>
                    <a:lnTo>
                      <a:pt x="9" y="149"/>
                    </a:lnTo>
                    <a:lnTo>
                      <a:pt x="9" y="149"/>
                    </a:lnTo>
                    <a:lnTo>
                      <a:pt x="9" y="149"/>
                    </a:lnTo>
                    <a:lnTo>
                      <a:pt x="5" y="149"/>
                    </a:lnTo>
                    <a:lnTo>
                      <a:pt x="5" y="145"/>
                    </a:lnTo>
                    <a:lnTo>
                      <a:pt x="0" y="145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5" y="140"/>
                    </a:lnTo>
                    <a:lnTo>
                      <a:pt x="5" y="140"/>
                    </a:lnTo>
                    <a:lnTo>
                      <a:pt x="5" y="140"/>
                    </a:lnTo>
                    <a:lnTo>
                      <a:pt x="9" y="140"/>
                    </a:lnTo>
                    <a:lnTo>
                      <a:pt x="9" y="140"/>
                    </a:lnTo>
                    <a:lnTo>
                      <a:pt x="9" y="140"/>
                    </a:lnTo>
                    <a:lnTo>
                      <a:pt x="9" y="140"/>
                    </a:lnTo>
                    <a:lnTo>
                      <a:pt x="9" y="136"/>
                    </a:lnTo>
                    <a:lnTo>
                      <a:pt x="9" y="136"/>
                    </a:lnTo>
                    <a:lnTo>
                      <a:pt x="9" y="136"/>
                    </a:lnTo>
                    <a:lnTo>
                      <a:pt x="9" y="136"/>
                    </a:lnTo>
                    <a:lnTo>
                      <a:pt x="9" y="131"/>
                    </a:lnTo>
                    <a:lnTo>
                      <a:pt x="9" y="131"/>
                    </a:lnTo>
                    <a:lnTo>
                      <a:pt x="9" y="131"/>
                    </a:lnTo>
                    <a:lnTo>
                      <a:pt x="9" y="127"/>
                    </a:lnTo>
                    <a:lnTo>
                      <a:pt x="9" y="127"/>
                    </a:lnTo>
                    <a:lnTo>
                      <a:pt x="9" y="127"/>
                    </a:lnTo>
                    <a:lnTo>
                      <a:pt x="9" y="118"/>
                    </a:lnTo>
                    <a:lnTo>
                      <a:pt x="5" y="118"/>
                    </a:lnTo>
                    <a:lnTo>
                      <a:pt x="5" y="118"/>
                    </a:lnTo>
                    <a:lnTo>
                      <a:pt x="5" y="113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9" y="109"/>
                    </a:lnTo>
                    <a:lnTo>
                      <a:pt x="14" y="109"/>
                    </a:lnTo>
                    <a:lnTo>
                      <a:pt x="9" y="104"/>
                    </a:lnTo>
                    <a:lnTo>
                      <a:pt x="5" y="100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5" y="100"/>
                    </a:lnTo>
                    <a:lnTo>
                      <a:pt x="5" y="95"/>
                    </a:lnTo>
                    <a:lnTo>
                      <a:pt x="9" y="95"/>
                    </a:lnTo>
                    <a:lnTo>
                      <a:pt x="9" y="95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4" y="90"/>
                    </a:lnTo>
                    <a:lnTo>
                      <a:pt x="19" y="90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9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8" y="77"/>
                    </a:lnTo>
                    <a:lnTo>
                      <a:pt x="32" y="72"/>
                    </a:lnTo>
                    <a:lnTo>
                      <a:pt x="32" y="68"/>
                    </a:lnTo>
                    <a:lnTo>
                      <a:pt x="37" y="68"/>
                    </a:lnTo>
                    <a:lnTo>
                      <a:pt x="37" y="68"/>
                    </a:lnTo>
                    <a:lnTo>
                      <a:pt x="37" y="63"/>
                    </a:lnTo>
                    <a:lnTo>
                      <a:pt x="37" y="63"/>
                    </a:lnTo>
                    <a:lnTo>
                      <a:pt x="32" y="63"/>
                    </a:lnTo>
                    <a:lnTo>
                      <a:pt x="32" y="59"/>
                    </a:lnTo>
                    <a:lnTo>
                      <a:pt x="32" y="59"/>
                    </a:lnTo>
                    <a:lnTo>
                      <a:pt x="32" y="54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23" y="54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14" y="54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9" y="59"/>
                    </a:lnTo>
                    <a:lnTo>
                      <a:pt x="9" y="54"/>
                    </a:lnTo>
                    <a:lnTo>
                      <a:pt x="14" y="54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9" y="36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5" y="9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9"/>
                    </a:lnTo>
                    <a:lnTo>
                      <a:pt x="19" y="18"/>
                    </a:lnTo>
                    <a:lnTo>
                      <a:pt x="23" y="22"/>
                    </a:lnTo>
                    <a:lnTo>
                      <a:pt x="37" y="27"/>
                    </a:lnTo>
                    <a:lnTo>
                      <a:pt x="41" y="32"/>
                    </a:lnTo>
                    <a:lnTo>
                      <a:pt x="46" y="32"/>
                    </a:lnTo>
                    <a:lnTo>
                      <a:pt x="59" y="27"/>
                    </a:lnTo>
                    <a:lnTo>
                      <a:pt x="64" y="27"/>
                    </a:lnTo>
                    <a:lnTo>
                      <a:pt x="64" y="27"/>
                    </a:lnTo>
                    <a:lnTo>
                      <a:pt x="68" y="22"/>
                    </a:lnTo>
                    <a:lnTo>
                      <a:pt x="73" y="22"/>
                    </a:lnTo>
                    <a:lnTo>
                      <a:pt x="82" y="22"/>
                    </a:lnTo>
                    <a:lnTo>
                      <a:pt x="87" y="22"/>
                    </a:lnTo>
                    <a:lnTo>
                      <a:pt x="91" y="27"/>
                    </a:lnTo>
                    <a:lnTo>
                      <a:pt x="96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5" y="36"/>
                    </a:lnTo>
                    <a:lnTo>
                      <a:pt x="109" y="41"/>
                    </a:lnTo>
                    <a:lnTo>
                      <a:pt x="109" y="41"/>
                    </a:lnTo>
                    <a:lnTo>
                      <a:pt x="114" y="4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2" name="Freeform 40"/>
              <p:cNvSpPr>
                <a:spLocks/>
              </p:cNvSpPr>
              <p:nvPr/>
            </p:nvSpPr>
            <p:spPr bwMode="auto">
              <a:xfrm>
                <a:off x="3117851" y="2390775"/>
                <a:ext cx="215900" cy="215900"/>
              </a:xfrm>
              <a:custGeom>
                <a:avLst/>
                <a:gdLst>
                  <a:gd name="T0" fmla="*/ 86 w 136"/>
                  <a:gd name="T1" fmla="*/ 9 h 136"/>
                  <a:gd name="T2" fmla="*/ 95 w 136"/>
                  <a:gd name="T3" fmla="*/ 14 h 136"/>
                  <a:gd name="T4" fmla="*/ 100 w 136"/>
                  <a:gd name="T5" fmla="*/ 23 h 136"/>
                  <a:gd name="T6" fmla="*/ 105 w 136"/>
                  <a:gd name="T7" fmla="*/ 28 h 136"/>
                  <a:gd name="T8" fmla="*/ 100 w 136"/>
                  <a:gd name="T9" fmla="*/ 32 h 136"/>
                  <a:gd name="T10" fmla="*/ 100 w 136"/>
                  <a:gd name="T11" fmla="*/ 41 h 136"/>
                  <a:gd name="T12" fmla="*/ 95 w 136"/>
                  <a:gd name="T13" fmla="*/ 50 h 136"/>
                  <a:gd name="T14" fmla="*/ 109 w 136"/>
                  <a:gd name="T15" fmla="*/ 55 h 136"/>
                  <a:gd name="T16" fmla="*/ 109 w 136"/>
                  <a:gd name="T17" fmla="*/ 59 h 136"/>
                  <a:gd name="T18" fmla="*/ 109 w 136"/>
                  <a:gd name="T19" fmla="*/ 64 h 136"/>
                  <a:gd name="T20" fmla="*/ 105 w 136"/>
                  <a:gd name="T21" fmla="*/ 68 h 136"/>
                  <a:gd name="T22" fmla="*/ 105 w 136"/>
                  <a:gd name="T23" fmla="*/ 77 h 136"/>
                  <a:gd name="T24" fmla="*/ 100 w 136"/>
                  <a:gd name="T25" fmla="*/ 82 h 136"/>
                  <a:gd name="T26" fmla="*/ 100 w 136"/>
                  <a:gd name="T27" fmla="*/ 86 h 136"/>
                  <a:gd name="T28" fmla="*/ 109 w 136"/>
                  <a:gd name="T29" fmla="*/ 96 h 136"/>
                  <a:gd name="T30" fmla="*/ 114 w 136"/>
                  <a:gd name="T31" fmla="*/ 96 h 136"/>
                  <a:gd name="T32" fmla="*/ 132 w 136"/>
                  <a:gd name="T33" fmla="*/ 105 h 136"/>
                  <a:gd name="T34" fmla="*/ 123 w 136"/>
                  <a:gd name="T35" fmla="*/ 109 h 136"/>
                  <a:gd name="T36" fmla="*/ 109 w 136"/>
                  <a:gd name="T37" fmla="*/ 105 h 136"/>
                  <a:gd name="T38" fmla="*/ 86 w 136"/>
                  <a:gd name="T39" fmla="*/ 100 h 136"/>
                  <a:gd name="T40" fmla="*/ 77 w 136"/>
                  <a:gd name="T41" fmla="*/ 96 h 136"/>
                  <a:gd name="T42" fmla="*/ 68 w 136"/>
                  <a:gd name="T43" fmla="*/ 109 h 136"/>
                  <a:gd name="T44" fmla="*/ 68 w 136"/>
                  <a:gd name="T45" fmla="*/ 114 h 136"/>
                  <a:gd name="T46" fmla="*/ 41 w 136"/>
                  <a:gd name="T47" fmla="*/ 127 h 136"/>
                  <a:gd name="T48" fmla="*/ 37 w 136"/>
                  <a:gd name="T49" fmla="*/ 132 h 136"/>
                  <a:gd name="T50" fmla="*/ 32 w 136"/>
                  <a:gd name="T51" fmla="*/ 136 h 136"/>
                  <a:gd name="T52" fmla="*/ 23 w 136"/>
                  <a:gd name="T53" fmla="*/ 127 h 136"/>
                  <a:gd name="T54" fmla="*/ 23 w 136"/>
                  <a:gd name="T55" fmla="*/ 118 h 136"/>
                  <a:gd name="T56" fmla="*/ 18 w 136"/>
                  <a:gd name="T57" fmla="*/ 114 h 136"/>
                  <a:gd name="T58" fmla="*/ 18 w 136"/>
                  <a:gd name="T59" fmla="*/ 109 h 136"/>
                  <a:gd name="T60" fmla="*/ 23 w 136"/>
                  <a:gd name="T61" fmla="*/ 105 h 136"/>
                  <a:gd name="T62" fmla="*/ 23 w 136"/>
                  <a:gd name="T63" fmla="*/ 96 h 136"/>
                  <a:gd name="T64" fmla="*/ 23 w 136"/>
                  <a:gd name="T65" fmla="*/ 91 h 136"/>
                  <a:gd name="T66" fmla="*/ 23 w 136"/>
                  <a:gd name="T67" fmla="*/ 77 h 136"/>
                  <a:gd name="T68" fmla="*/ 14 w 136"/>
                  <a:gd name="T69" fmla="*/ 77 h 136"/>
                  <a:gd name="T70" fmla="*/ 9 w 136"/>
                  <a:gd name="T71" fmla="*/ 82 h 136"/>
                  <a:gd name="T72" fmla="*/ 0 w 136"/>
                  <a:gd name="T73" fmla="*/ 77 h 136"/>
                  <a:gd name="T74" fmla="*/ 0 w 136"/>
                  <a:gd name="T75" fmla="*/ 68 h 136"/>
                  <a:gd name="T76" fmla="*/ 5 w 136"/>
                  <a:gd name="T77" fmla="*/ 55 h 136"/>
                  <a:gd name="T78" fmla="*/ 5 w 136"/>
                  <a:gd name="T79" fmla="*/ 50 h 136"/>
                  <a:gd name="T80" fmla="*/ 14 w 136"/>
                  <a:gd name="T81" fmla="*/ 46 h 136"/>
                  <a:gd name="T82" fmla="*/ 14 w 136"/>
                  <a:gd name="T83" fmla="*/ 41 h 136"/>
                  <a:gd name="T84" fmla="*/ 23 w 136"/>
                  <a:gd name="T85" fmla="*/ 41 h 136"/>
                  <a:gd name="T86" fmla="*/ 37 w 136"/>
                  <a:gd name="T87" fmla="*/ 37 h 136"/>
                  <a:gd name="T88" fmla="*/ 46 w 136"/>
                  <a:gd name="T89" fmla="*/ 32 h 136"/>
                  <a:gd name="T90" fmla="*/ 55 w 136"/>
                  <a:gd name="T91" fmla="*/ 28 h 136"/>
                  <a:gd name="T92" fmla="*/ 55 w 136"/>
                  <a:gd name="T93" fmla="*/ 18 h 136"/>
                  <a:gd name="T94" fmla="*/ 59 w 136"/>
                  <a:gd name="T95" fmla="*/ 14 h 136"/>
                  <a:gd name="T96" fmla="*/ 64 w 136"/>
                  <a:gd name="T97" fmla="*/ 9 h 136"/>
                  <a:gd name="T98" fmla="*/ 73 w 136"/>
                  <a:gd name="T99" fmla="*/ 5 h 136"/>
                  <a:gd name="T100" fmla="*/ 77 w 136"/>
                  <a:gd name="T101" fmla="*/ 0 h 136"/>
                  <a:gd name="T102" fmla="*/ 77 w 136"/>
                  <a:gd name="T103" fmla="*/ 5 h 136"/>
                  <a:gd name="T104" fmla="*/ 82 w 136"/>
                  <a:gd name="T105" fmla="*/ 5 h 136"/>
                  <a:gd name="T106" fmla="*/ 86 w 136"/>
                  <a:gd name="T107" fmla="*/ 9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6" h="136">
                    <a:moveTo>
                      <a:pt x="86" y="9"/>
                    </a:moveTo>
                    <a:lnTo>
                      <a:pt x="86" y="9"/>
                    </a:lnTo>
                    <a:lnTo>
                      <a:pt x="86" y="9"/>
                    </a:lnTo>
                    <a:lnTo>
                      <a:pt x="86" y="9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91" y="14"/>
                    </a:lnTo>
                    <a:lnTo>
                      <a:pt x="95" y="14"/>
                    </a:lnTo>
                    <a:lnTo>
                      <a:pt x="105" y="18"/>
                    </a:lnTo>
                    <a:lnTo>
                      <a:pt x="100" y="23"/>
                    </a:lnTo>
                    <a:lnTo>
                      <a:pt x="100" y="23"/>
                    </a:lnTo>
                    <a:lnTo>
                      <a:pt x="100" y="23"/>
                    </a:lnTo>
                    <a:lnTo>
                      <a:pt x="100" y="28"/>
                    </a:lnTo>
                    <a:lnTo>
                      <a:pt x="105" y="28"/>
                    </a:lnTo>
                    <a:lnTo>
                      <a:pt x="105" y="28"/>
                    </a:lnTo>
                    <a:lnTo>
                      <a:pt x="105" y="28"/>
                    </a:lnTo>
                    <a:lnTo>
                      <a:pt x="105" y="28"/>
                    </a:lnTo>
                    <a:lnTo>
                      <a:pt x="105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7"/>
                    </a:lnTo>
                    <a:lnTo>
                      <a:pt x="100" y="37"/>
                    </a:lnTo>
                    <a:lnTo>
                      <a:pt x="100" y="41"/>
                    </a:lnTo>
                    <a:lnTo>
                      <a:pt x="100" y="41"/>
                    </a:lnTo>
                    <a:lnTo>
                      <a:pt x="95" y="46"/>
                    </a:lnTo>
                    <a:lnTo>
                      <a:pt x="95" y="50"/>
                    </a:lnTo>
                    <a:lnTo>
                      <a:pt x="95" y="50"/>
                    </a:lnTo>
                    <a:lnTo>
                      <a:pt x="95" y="50"/>
                    </a:lnTo>
                    <a:lnTo>
                      <a:pt x="100" y="55"/>
                    </a:lnTo>
                    <a:lnTo>
                      <a:pt x="100" y="55"/>
                    </a:lnTo>
                    <a:lnTo>
                      <a:pt x="105" y="55"/>
                    </a:lnTo>
                    <a:lnTo>
                      <a:pt x="109" y="55"/>
                    </a:lnTo>
                    <a:lnTo>
                      <a:pt x="109" y="55"/>
                    </a:lnTo>
                    <a:lnTo>
                      <a:pt x="114" y="59"/>
                    </a:lnTo>
                    <a:lnTo>
                      <a:pt x="114" y="59"/>
                    </a:lnTo>
                    <a:lnTo>
                      <a:pt x="109" y="59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09" y="68"/>
                    </a:lnTo>
                    <a:lnTo>
                      <a:pt x="109" y="68"/>
                    </a:lnTo>
                    <a:lnTo>
                      <a:pt x="105" y="68"/>
                    </a:lnTo>
                    <a:lnTo>
                      <a:pt x="105" y="68"/>
                    </a:lnTo>
                    <a:lnTo>
                      <a:pt x="105" y="73"/>
                    </a:lnTo>
                    <a:lnTo>
                      <a:pt x="105" y="73"/>
                    </a:lnTo>
                    <a:lnTo>
                      <a:pt x="105" y="77"/>
                    </a:lnTo>
                    <a:lnTo>
                      <a:pt x="105" y="77"/>
                    </a:lnTo>
                    <a:lnTo>
                      <a:pt x="100" y="77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6"/>
                    </a:lnTo>
                    <a:lnTo>
                      <a:pt x="100" y="86"/>
                    </a:lnTo>
                    <a:lnTo>
                      <a:pt x="100" y="86"/>
                    </a:lnTo>
                    <a:lnTo>
                      <a:pt x="105" y="91"/>
                    </a:lnTo>
                    <a:lnTo>
                      <a:pt x="105" y="91"/>
                    </a:lnTo>
                    <a:lnTo>
                      <a:pt x="105" y="96"/>
                    </a:lnTo>
                    <a:lnTo>
                      <a:pt x="109" y="96"/>
                    </a:lnTo>
                    <a:lnTo>
                      <a:pt x="109" y="100"/>
                    </a:lnTo>
                    <a:lnTo>
                      <a:pt x="114" y="100"/>
                    </a:lnTo>
                    <a:lnTo>
                      <a:pt x="114" y="100"/>
                    </a:lnTo>
                    <a:lnTo>
                      <a:pt x="114" y="96"/>
                    </a:lnTo>
                    <a:lnTo>
                      <a:pt x="118" y="96"/>
                    </a:lnTo>
                    <a:lnTo>
                      <a:pt x="127" y="100"/>
                    </a:lnTo>
                    <a:lnTo>
                      <a:pt x="127" y="100"/>
                    </a:lnTo>
                    <a:lnTo>
                      <a:pt x="132" y="105"/>
                    </a:lnTo>
                    <a:lnTo>
                      <a:pt x="132" y="105"/>
                    </a:lnTo>
                    <a:lnTo>
                      <a:pt x="136" y="114"/>
                    </a:lnTo>
                    <a:lnTo>
                      <a:pt x="127" y="109"/>
                    </a:lnTo>
                    <a:lnTo>
                      <a:pt x="123" y="109"/>
                    </a:lnTo>
                    <a:lnTo>
                      <a:pt x="118" y="109"/>
                    </a:lnTo>
                    <a:lnTo>
                      <a:pt x="114" y="109"/>
                    </a:lnTo>
                    <a:lnTo>
                      <a:pt x="109" y="109"/>
                    </a:lnTo>
                    <a:lnTo>
                      <a:pt x="109" y="105"/>
                    </a:lnTo>
                    <a:lnTo>
                      <a:pt x="105" y="105"/>
                    </a:lnTo>
                    <a:lnTo>
                      <a:pt x="95" y="105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82" y="100"/>
                    </a:lnTo>
                    <a:lnTo>
                      <a:pt x="77" y="100"/>
                    </a:lnTo>
                    <a:lnTo>
                      <a:pt x="77" y="96"/>
                    </a:lnTo>
                    <a:lnTo>
                      <a:pt x="77" y="100"/>
                    </a:lnTo>
                    <a:lnTo>
                      <a:pt x="73" y="100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4" y="114"/>
                    </a:lnTo>
                    <a:lnTo>
                      <a:pt x="59" y="118"/>
                    </a:lnTo>
                    <a:lnTo>
                      <a:pt x="50" y="123"/>
                    </a:lnTo>
                    <a:lnTo>
                      <a:pt x="41" y="127"/>
                    </a:lnTo>
                    <a:lnTo>
                      <a:pt x="37" y="127"/>
                    </a:lnTo>
                    <a:lnTo>
                      <a:pt x="37" y="127"/>
                    </a:lnTo>
                    <a:lnTo>
                      <a:pt x="37" y="127"/>
                    </a:lnTo>
                    <a:lnTo>
                      <a:pt x="37" y="132"/>
                    </a:lnTo>
                    <a:lnTo>
                      <a:pt x="37" y="132"/>
                    </a:lnTo>
                    <a:lnTo>
                      <a:pt x="37" y="132"/>
                    </a:lnTo>
                    <a:lnTo>
                      <a:pt x="37" y="132"/>
                    </a:lnTo>
                    <a:lnTo>
                      <a:pt x="32" y="136"/>
                    </a:lnTo>
                    <a:lnTo>
                      <a:pt x="32" y="136"/>
                    </a:lnTo>
                    <a:lnTo>
                      <a:pt x="23" y="127"/>
                    </a:lnTo>
                    <a:lnTo>
                      <a:pt x="23" y="127"/>
                    </a:lnTo>
                    <a:lnTo>
                      <a:pt x="23" y="127"/>
                    </a:lnTo>
                    <a:lnTo>
                      <a:pt x="23" y="123"/>
                    </a:lnTo>
                    <a:lnTo>
                      <a:pt x="23" y="123"/>
                    </a:lnTo>
                    <a:lnTo>
                      <a:pt x="23" y="123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23" y="114"/>
                    </a:lnTo>
                    <a:lnTo>
                      <a:pt x="18" y="114"/>
                    </a:lnTo>
                    <a:lnTo>
                      <a:pt x="18" y="114"/>
                    </a:lnTo>
                    <a:lnTo>
                      <a:pt x="18" y="114"/>
                    </a:lnTo>
                    <a:lnTo>
                      <a:pt x="18" y="109"/>
                    </a:lnTo>
                    <a:lnTo>
                      <a:pt x="18" y="109"/>
                    </a:lnTo>
                    <a:lnTo>
                      <a:pt x="18" y="109"/>
                    </a:lnTo>
                    <a:lnTo>
                      <a:pt x="23" y="109"/>
                    </a:lnTo>
                    <a:lnTo>
                      <a:pt x="23" y="109"/>
                    </a:lnTo>
                    <a:lnTo>
                      <a:pt x="23" y="105"/>
                    </a:lnTo>
                    <a:lnTo>
                      <a:pt x="23" y="105"/>
                    </a:lnTo>
                    <a:lnTo>
                      <a:pt x="18" y="100"/>
                    </a:lnTo>
                    <a:lnTo>
                      <a:pt x="18" y="96"/>
                    </a:lnTo>
                    <a:lnTo>
                      <a:pt x="23" y="96"/>
                    </a:lnTo>
                    <a:lnTo>
                      <a:pt x="23" y="96"/>
                    </a:lnTo>
                    <a:lnTo>
                      <a:pt x="23" y="91"/>
                    </a:lnTo>
                    <a:lnTo>
                      <a:pt x="23" y="91"/>
                    </a:lnTo>
                    <a:lnTo>
                      <a:pt x="23" y="91"/>
                    </a:lnTo>
                    <a:lnTo>
                      <a:pt x="23" y="91"/>
                    </a:lnTo>
                    <a:lnTo>
                      <a:pt x="23" y="86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3" y="77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14" y="77"/>
                    </a:lnTo>
                    <a:lnTo>
                      <a:pt x="14" y="82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5" y="82"/>
                    </a:lnTo>
                    <a:lnTo>
                      <a:pt x="5" y="82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0" y="73"/>
                    </a:lnTo>
                    <a:lnTo>
                      <a:pt x="0" y="73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0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14" y="46"/>
                    </a:lnTo>
                    <a:lnTo>
                      <a:pt x="9" y="46"/>
                    </a:lnTo>
                    <a:lnTo>
                      <a:pt x="14" y="46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32" y="37"/>
                    </a:lnTo>
                    <a:lnTo>
                      <a:pt x="37" y="37"/>
                    </a:lnTo>
                    <a:lnTo>
                      <a:pt x="37" y="37"/>
                    </a:lnTo>
                    <a:lnTo>
                      <a:pt x="41" y="37"/>
                    </a:lnTo>
                    <a:lnTo>
                      <a:pt x="41" y="37"/>
                    </a:lnTo>
                    <a:lnTo>
                      <a:pt x="46" y="32"/>
                    </a:lnTo>
                    <a:lnTo>
                      <a:pt x="46" y="32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55" y="28"/>
                    </a:lnTo>
                    <a:lnTo>
                      <a:pt x="55" y="23"/>
                    </a:lnTo>
                    <a:lnTo>
                      <a:pt x="55" y="23"/>
                    </a:lnTo>
                    <a:lnTo>
                      <a:pt x="55" y="23"/>
                    </a:lnTo>
                    <a:lnTo>
                      <a:pt x="55" y="18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64" y="9"/>
                    </a:lnTo>
                    <a:lnTo>
                      <a:pt x="68" y="5"/>
                    </a:lnTo>
                    <a:lnTo>
                      <a:pt x="73" y="5"/>
                    </a:lnTo>
                    <a:lnTo>
                      <a:pt x="73" y="5"/>
                    </a:lnTo>
                    <a:lnTo>
                      <a:pt x="73" y="5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9"/>
                    </a:lnTo>
                    <a:lnTo>
                      <a:pt x="82" y="9"/>
                    </a:lnTo>
                    <a:lnTo>
                      <a:pt x="86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3" name="Freeform 41"/>
              <p:cNvSpPr>
                <a:spLocks/>
              </p:cNvSpPr>
              <p:nvPr/>
            </p:nvSpPr>
            <p:spPr bwMode="auto">
              <a:xfrm>
                <a:off x="3327401" y="2413000"/>
                <a:ext cx="207963" cy="244475"/>
              </a:xfrm>
              <a:custGeom>
                <a:avLst/>
                <a:gdLst>
                  <a:gd name="T0" fmla="*/ 113 w 131"/>
                  <a:gd name="T1" fmla="*/ 9 h 154"/>
                  <a:gd name="T2" fmla="*/ 118 w 131"/>
                  <a:gd name="T3" fmla="*/ 18 h 154"/>
                  <a:gd name="T4" fmla="*/ 104 w 131"/>
                  <a:gd name="T5" fmla="*/ 50 h 154"/>
                  <a:gd name="T6" fmla="*/ 104 w 131"/>
                  <a:gd name="T7" fmla="*/ 63 h 154"/>
                  <a:gd name="T8" fmla="*/ 104 w 131"/>
                  <a:gd name="T9" fmla="*/ 77 h 154"/>
                  <a:gd name="T10" fmla="*/ 100 w 131"/>
                  <a:gd name="T11" fmla="*/ 86 h 154"/>
                  <a:gd name="T12" fmla="*/ 104 w 131"/>
                  <a:gd name="T13" fmla="*/ 113 h 154"/>
                  <a:gd name="T14" fmla="*/ 127 w 131"/>
                  <a:gd name="T15" fmla="*/ 150 h 154"/>
                  <a:gd name="T16" fmla="*/ 131 w 131"/>
                  <a:gd name="T17" fmla="*/ 154 h 154"/>
                  <a:gd name="T18" fmla="*/ 122 w 131"/>
                  <a:gd name="T19" fmla="*/ 150 h 154"/>
                  <a:gd name="T20" fmla="*/ 113 w 131"/>
                  <a:gd name="T21" fmla="*/ 141 h 154"/>
                  <a:gd name="T22" fmla="*/ 100 w 131"/>
                  <a:gd name="T23" fmla="*/ 131 h 154"/>
                  <a:gd name="T24" fmla="*/ 81 w 131"/>
                  <a:gd name="T25" fmla="*/ 131 h 154"/>
                  <a:gd name="T26" fmla="*/ 72 w 131"/>
                  <a:gd name="T27" fmla="*/ 136 h 154"/>
                  <a:gd name="T28" fmla="*/ 50 w 131"/>
                  <a:gd name="T29" fmla="*/ 136 h 154"/>
                  <a:gd name="T30" fmla="*/ 22 w 131"/>
                  <a:gd name="T31" fmla="*/ 118 h 154"/>
                  <a:gd name="T32" fmla="*/ 13 w 131"/>
                  <a:gd name="T33" fmla="*/ 109 h 154"/>
                  <a:gd name="T34" fmla="*/ 9 w 131"/>
                  <a:gd name="T35" fmla="*/ 109 h 154"/>
                  <a:gd name="T36" fmla="*/ 4 w 131"/>
                  <a:gd name="T37" fmla="*/ 100 h 154"/>
                  <a:gd name="T38" fmla="*/ 4 w 131"/>
                  <a:gd name="T39" fmla="*/ 95 h 154"/>
                  <a:gd name="T40" fmla="*/ 9 w 131"/>
                  <a:gd name="T41" fmla="*/ 91 h 154"/>
                  <a:gd name="T42" fmla="*/ 18 w 131"/>
                  <a:gd name="T43" fmla="*/ 86 h 154"/>
                  <a:gd name="T44" fmla="*/ 22 w 131"/>
                  <a:gd name="T45" fmla="*/ 82 h 154"/>
                  <a:gd name="T46" fmla="*/ 27 w 131"/>
                  <a:gd name="T47" fmla="*/ 82 h 154"/>
                  <a:gd name="T48" fmla="*/ 36 w 131"/>
                  <a:gd name="T49" fmla="*/ 72 h 154"/>
                  <a:gd name="T50" fmla="*/ 36 w 131"/>
                  <a:gd name="T51" fmla="*/ 72 h 154"/>
                  <a:gd name="T52" fmla="*/ 45 w 131"/>
                  <a:gd name="T53" fmla="*/ 68 h 154"/>
                  <a:gd name="T54" fmla="*/ 54 w 131"/>
                  <a:gd name="T55" fmla="*/ 68 h 154"/>
                  <a:gd name="T56" fmla="*/ 59 w 131"/>
                  <a:gd name="T57" fmla="*/ 68 h 154"/>
                  <a:gd name="T58" fmla="*/ 63 w 131"/>
                  <a:gd name="T59" fmla="*/ 54 h 154"/>
                  <a:gd name="T60" fmla="*/ 63 w 131"/>
                  <a:gd name="T61" fmla="*/ 41 h 154"/>
                  <a:gd name="T62" fmla="*/ 63 w 131"/>
                  <a:gd name="T63" fmla="*/ 32 h 154"/>
                  <a:gd name="T64" fmla="*/ 68 w 131"/>
                  <a:gd name="T65" fmla="*/ 27 h 154"/>
                  <a:gd name="T66" fmla="*/ 63 w 131"/>
                  <a:gd name="T67" fmla="*/ 14 h 154"/>
                  <a:gd name="T68" fmla="*/ 63 w 131"/>
                  <a:gd name="T69" fmla="*/ 9 h 154"/>
                  <a:gd name="T70" fmla="*/ 68 w 131"/>
                  <a:gd name="T71" fmla="*/ 4 h 154"/>
                  <a:gd name="T72" fmla="*/ 77 w 131"/>
                  <a:gd name="T73" fmla="*/ 9 h 154"/>
                  <a:gd name="T74" fmla="*/ 86 w 131"/>
                  <a:gd name="T75" fmla="*/ 18 h 154"/>
                  <a:gd name="T76" fmla="*/ 90 w 131"/>
                  <a:gd name="T77" fmla="*/ 14 h 154"/>
                  <a:gd name="T78" fmla="*/ 95 w 131"/>
                  <a:gd name="T79" fmla="*/ 9 h 154"/>
                  <a:gd name="T80" fmla="*/ 100 w 131"/>
                  <a:gd name="T81" fmla="*/ 4 h 154"/>
                  <a:gd name="T82" fmla="*/ 95 w 131"/>
                  <a:gd name="T83" fmla="*/ 0 h 154"/>
                  <a:gd name="T84" fmla="*/ 100 w 131"/>
                  <a:gd name="T85" fmla="*/ 0 h 154"/>
                  <a:gd name="T86" fmla="*/ 104 w 131"/>
                  <a:gd name="T87" fmla="*/ 4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1" h="154">
                    <a:moveTo>
                      <a:pt x="109" y="9"/>
                    </a:moveTo>
                    <a:lnTo>
                      <a:pt x="109" y="9"/>
                    </a:lnTo>
                    <a:lnTo>
                      <a:pt x="113" y="9"/>
                    </a:lnTo>
                    <a:lnTo>
                      <a:pt x="122" y="9"/>
                    </a:lnTo>
                    <a:lnTo>
                      <a:pt x="122" y="14"/>
                    </a:lnTo>
                    <a:lnTo>
                      <a:pt x="118" y="18"/>
                    </a:lnTo>
                    <a:lnTo>
                      <a:pt x="118" y="23"/>
                    </a:lnTo>
                    <a:lnTo>
                      <a:pt x="113" y="41"/>
                    </a:lnTo>
                    <a:lnTo>
                      <a:pt x="104" y="50"/>
                    </a:lnTo>
                    <a:lnTo>
                      <a:pt x="104" y="54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104" y="77"/>
                    </a:lnTo>
                    <a:lnTo>
                      <a:pt x="100" y="82"/>
                    </a:lnTo>
                    <a:lnTo>
                      <a:pt x="100" y="86"/>
                    </a:lnTo>
                    <a:lnTo>
                      <a:pt x="100" y="86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4" y="113"/>
                    </a:lnTo>
                    <a:lnTo>
                      <a:pt x="122" y="145"/>
                    </a:lnTo>
                    <a:lnTo>
                      <a:pt x="127" y="150"/>
                    </a:lnTo>
                    <a:lnTo>
                      <a:pt x="127" y="150"/>
                    </a:lnTo>
                    <a:lnTo>
                      <a:pt x="127" y="150"/>
                    </a:lnTo>
                    <a:lnTo>
                      <a:pt x="131" y="154"/>
                    </a:lnTo>
                    <a:lnTo>
                      <a:pt x="131" y="154"/>
                    </a:lnTo>
                    <a:lnTo>
                      <a:pt x="127" y="154"/>
                    </a:lnTo>
                    <a:lnTo>
                      <a:pt x="122" y="150"/>
                    </a:lnTo>
                    <a:lnTo>
                      <a:pt x="122" y="150"/>
                    </a:lnTo>
                    <a:lnTo>
                      <a:pt x="118" y="145"/>
                    </a:lnTo>
                    <a:lnTo>
                      <a:pt x="113" y="141"/>
                    </a:lnTo>
                    <a:lnTo>
                      <a:pt x="113" y="141"/>
                    </a:lnTo>
                    <a:lnTo>
                      <a:pt x="109" y="141"/>
                    </a:lnTo>
                    <a:lnTo>
                      <a:pt x="104" y="136"/>
                    </a:lnTo>
                    <a:lnTo>
                      <a:pt x="100" y="131"/>
                    </a:lnTo>
                    <a:lnTo>
                      <a:pt x="95" y="131"/>
                    </a:lnTo>
                    <a:lnTo>
                      <a:pt x="86" y="131"/>
                    </a:lnTo>
                    <a:lnTo>
                      <a:pt x="81" y="131"/>
                    </a:lnTo>
                    <a:lnTo>
                      <a:pt x="77" y="136"/>
                    </a:lnTo>
                    <a:lnTo>
                      <a:pt x="77" y="136"/>
                    </a:lnTo>
                    <a:lnTo>
                      <a:pt x="72" y="136"/>
                    </a:lnTo>
                    <a:lnTo>
                      <a:pt x="59" y="141"/>
                    </a:lnTo>
                    <a:lnTo>
                      <a:pt x="54" y="141"/>
                    </a:lnTo>
                    <a:lnTo>
                      <a:pt x="50" y="136"/>
                    </a:lnTo>
                    <a:lnTo>
                      <a:pt x="36" y="131"/>
                    </a:lnTo>
                    <a:lnTo>
                      <a:pt x="32" y="127"/>
                    </a:lnTo>
                    <a:lnTo>
                      <a:pt x="22" y="118"/>
                    </a:lnTo>
                    <a:lnTo>
                      <a:pt x="18" y="109"/>
                    </a:lnTo>
                    <a:lnTo>
                      <a:pt x="18" y="109"/>
                    </a:lnTo>
                    <a:lnTo>
                      <a:pt x="13" y="109"/>
                    </a:lnTo>
                    <a:lnTo>
                      <a:pt x="13" y="109"/>
                    </a:lnTo>
                    <a:lnTo>
                      <a:pt x="9" y="109"/>
                    </a:lnTo>
                    <a:lnTo>
                      <a:pt x="9" y="109"/>
                    </a:lnTo>
                    <a:lnTo>
                      <a:pt x="9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0" y="91"/>
                    </a:lnTo>
                    <a:lnTo>
                      <a:pt x="4" y="95"/>
                    </a:lnTo>
                    <a:lnTo>
                      <a:pt x="4" y="95"/>
                    </a:lnTo>
                    <a:lnTo>
                      <a:pt x="4" y="91"/>
                    </a:lnTo>
                    <a:lnTo>
                      <a:pt x="9" y="91"/>
                    </a:lnTo>
                    <a:lnTo>
                      <a:pt x="13" y="91"/>
                    </a:lnTo>
                    <a:lnTo>
                      <a:pt x="18" y="86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22" y="82"/>
                    </a:lnTo>
                    <a:lnTo>
                      <a:pt x="22" y="82"/>
                    </a:lnTo>
                    <a:lnTo>
                      <a:pt x="22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77"/>
                    </a:lnTo>
                    <a:lnTo>
                      <a:pt x="32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1" y="72"/>
                    </a:lnTo>
                    <a:lnTo>
                      <a:pt x="41" y="72"/>
                    </a:lnTo>
                    <a:lnTo>
                      <a:pt x="45" y="68"/>
                    </a:lnTo>
                    <a:lnTo>
                      <a:pt x="45" y="68"/>
                    </a:lnTo>
                    <a:lnTo>
                      <a:pt x="50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9" y="68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63" y="54"/>
                    </a:lnTo>
                    <a:lnTo>
                      <a:pt x="63" y="54"/>
                    </a:lnTo>
                    <a:lnTo>
                      <a:pt x="63" y="50"/>
                    </a:lnTo>
                    <a:lnTo>
                      <a:pt x="63" y="41"/>
                    </a:lnTo>
                    <a:lnTo>
                      <a:pt x="63" y="36"/>
                    </a:lnTo>
                    <a:lnTo>
                      <a:pt x="63" y="32"/>
                    </a:lnTo>
                    <a:lnTo>
                      <a:pt x="63" y="32"/>
                    </a:lnTo>
                    <a:lnTo>
                      <a:pt x="63" y="32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63" y="14"/>
                    </a:lnTo>
                    <a:lnTo>
                      <a:pt x="63" y="14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4"/>
                    </a:lnTo>
                    <a:lnTo>
                      <a:pt x="63" y="0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9"/>
                    </a:lnTo>
                    <a:lnTo>
                      <a:pt x="77" y="9"/>
                    </a:lnTo>
                    <a:lnTo>
                      <a:pt x="77" y="14"/>
                    </a:lnTo>
                    <a:lnTo>
                      <a:pt x="81" y="14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5" y="9"/>
                    </a:lnTo>
                    <a:lnTo>
                      <a:pt x="100" y="9"/>
                    </a:lnTo>
                    <a:lnTo>
                      <a:pt x="100" y="9"/>
                    </a:lnTo>
                    <a:lnTo>
                      <a:pt x="100" y="4"/>
                    </a:lnTo>
                    <a:lnTo>
                      <a:pt x="95" y="4"/>
                    </a:lnTo>
                    <a:lnTo>
                      <a:pt x="95" y="4"/>
                    </a:lnTo>
                    <a:lnTo>
                      <a:pt x="95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9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4" name="Freeform 42"/>
              <p:cNvSpPr>
                <a:spLocks/>
              </p:cNvSpPr>
              <p:nvPr/>
            </p:nvSpPr>
            <p:spPr bwMode="auto">
              <a:xfrm>
                <a:off x="3197226" y="2671763"/>
                <a:ext cx="150813" cy="107950"/>
              </a:xfrm>
              <a:custGeom>
                <a:avLst/>
                <a:gdLst>
                  <a:gd name="T0" fmla="*/ 95 w 95"/>
                  <a:gd name="T1" fmla="*/ 18 h 68"/>
                  <a:gd name="T2" fmla="*/ 91 w 95"/>
                  <a:gd name="T3" fmla="*/ 23 h 68"/>
                  <a:gd name="T4" fmla="*/ 86 w 95"/>
                  <a:gd name="T5" fmla="*/ 23 h 68"/>
                  <a:gd name="T6" fmla="*/ 86 w 95"/>
                  <a:gd name="T7" fmla="*/ 27 h 68"/>
                  <a:gd name="T8" fmla="*/ 86 w 95"/>
                  <a:gd name="T9" fmla="*/ 32 h 68"/>
                  <a:gd name="T10" fmla="*/ 82 w 95"/>
                  <a:gd name="T11" fmla="*/ 32 h 68"/>
                  <a:gd name="T12" fmla="*/ 82 w 95"/>
                  <a:gd name="T13" fmla="*/ 36 h 68"/>
                  <a:gd name="T14" fmla="*/ 82 w 95"/>
                  <a:gd name="T15" fmla="*/ 46 h 68"/>
                  <a:gd name="T16" fmla="*/ 86 w 95"/>
                  <a:gd name="T17" fmla="*/ 46 h 68"/>
                  <a:gd name="T18" fmla="*/ 91 w 95"/>
                  <a:gd name="T19" fmla="*/ 50 h 68"/>
                  <a:gd name="T20" fmla="*/ 91 w 95"/>
                  <a:gd name="T21" fmla="*/ 55 h 68"/>
                  <a:gd name="T22" fmla="*/ 91 w 95"/>
                  <a:gd name="T23" fmla="*/ 55 h 68"/>
                  <a:gd name="T24" fmla="*/ 82 w 95"/>
                  <a:gd name="T25" fmla="*/ 64 h 68"/>
                  <a:gd name="T26" fmla="*/ 86 w 95"/>
                  <a:gd name="T27" fmla="*/ 64 h 68"/>
                  <a:gd name="T28" fmla="*/ 82 w 95"/>
                  <a:gd name="T29" fmla="*/ 68 h 68"/>
                  <a:gd name="T30" fmla="*/ 77 w 95"/>
                  <a:gd name="T31" fmla="*/ 64 h 68"/>
                  <a:gd name="T32" fmla="*/ 82 w 95"/>
                  <a:gd name="T33" fmla="*/ 59 h 68"/>
                  <a:gd name="T34" fmla="*/ 73 w 95"/>
                  <a:gd name="T35" fmla="*/ 50 h 68"/>
                  <a:gd name="T36" fmla="*/ 73 w 95"/>
                  <a:gd name="T37" fmla="*/ 46 h 68"/>
                  <a:gd name="T38" fmla="*/ 68 w 95"/>
                  <a:gd name="T39" fmla="*/ 46 h 68"/>
                  <a:gd name="T40" fmla="*/ 59 w 95"/>
                  <a:gd name="T41" fmla="*/ 46 h 68"/>
                  <a:gd name="T42" fmla="*/ 41 w 95"/>
                  <a:gd name="T43" fmla="*/ 46 h 68"/>
                  <a:gd name="T44" fmla="*/ 27 w 95"/>
                  <a:gd name="T45" fmla="*/ 59 h 68"/>
                  <a:gd name="T46" fmla="*/ 23 w 95"/>
                  <a:gd name="T47" fmla="*/ 68 h 68"/>
                  <a:gd name="T48" fmla="*/ 14 w 95"/>
                  <a:gd name="T49" fmla="*/ 64 h 68"/>
                  <a:gd name="T50" fmla="*/ 14 w 95"/>
                  <a:gd name="T51" fmla="*/ 64 h 68"/>
                  <a:gd name="T52" fmla="*/ 9 w 95"/>
                  <a:gd name="T53" fmla="*/ 55 h 68"/>
                  <a:gd name="T54" fmla="*/ 14 w 95"/>
                  <a:gd name="T55" fmla="*/ 46 h 68"/>
                  <a:gd name="T56" fmla="*/ 14 w 95"/>
                  <a:gd name="T57" fmla="*/ 46 h 68"/>
                  <a:gd name="T58" fmla="*/ 14 w 95"/>
                  <a:gd name="T59" fmla="*/ 41 h 68"/>
                  <a:gd name="T60" fmla="*/ 9 w 95"/>
                  <a:gd name="T61" fmla="*/ 36 h 68"/>
                  <a:gd name="T62" fmla="*/ 9 w 95"/>
                  <a:gd name="T63" fmla="*/ 32 h 68"/>
                  <a:gd name="T64" fmla="*/ 5 w 95"/>
                  <a:gd name="T65" fmla="*/ 27 h 68"/>
                  <a:gd name="T66" fmla="*/ 14 w 95"/>
                  <a:gd name="T67" fmla="*/ 23 h 68"/>
                  <a:gd name="T68" fmla="*/ 23 w 95"/>
                  <a:gd name="T69" fmla="*/ 14 h 68"/>
                  <a:gd name="T70" fmla="*/ 27 w 95"/>
                  <a:gd name="T71" fmla="*/ 5 h 68"/>
                  <a:gd name="T72" fmla="*/ 27 w 95"/>
                  <a:gd name="T73" fmla="*/ 0 h 68"/>
                  <a:gd name="T74" fmla="*/ 41 w 95"/>
                  <a:gd name="T75" fmla="*/ 9 h 68"/>
                  <a:gd name="T76" fmla="*/ 50 w 95"/>
                  <a:gd name="T77" fmla="*/ 9 h 68"/>
                  <a:gd name="T78" fmla="*/ 59 w 95"/>
                  <a:gd name="T79" fmla="*/ 14 h 68"/>
                  <a:gd name="T80" fmla="*/ 64 w 95"/>
                  <a:gd name="T81" fmla="*/ 23 h 68"/>
                  <a:gd name="T82" fmla="*/ 64 w 95"/>
                  <a:gd name="T83" fmla="*/ 18 h 68"/>
                  <a:gd name="T84" fmla="*/ 64 w 95"/>
                  <a:gd name="T85" fmla="*/ 14 h 68"/>
                  <a:gd name="T86" fmla="*/ 64 w 95"/>
                  <a:gd name="T87" fmla="*/ 14 h 68"/>
                  <a:gd name="T88" fmla="*/ 64 w 95"/>
                  <a:gd name="T89" fmla="*/ 9 h 68"/>
                  <a:gd name="T90" fmla="*/ 64 w 95"/>
                  <a:gd name="T91" fmla="*/ 5 h 68"/>
                  <a:gd name="T92" fmla="*/ 64 w 95"/>
                  <a:gd name="T93" fmla="*/ 9 h 68"/>
                  <a:gd name="T94" fmla="*/ 68 w 95"/>
                  <a:gd name="T95" fmla="*/ 5 h 68"/>
                  <a:gd name="T96" fmla="*/ 82 w 95"/>
                  <a:gd name="T97" fmla="*/ 9 h 68"/>
                  <a:gd name="T98" fmla="*/ 86 w 95"/>
                  <a:gd name="T99" fmla="*/ 1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5" h="68">
                    <a:moveTo>
                      <a:pt x="86" y="14"/>
                    </a:moveTo>
                    <a:lnTo>
                      <a:pt x="86" y="14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86" y="23"/>
                    </a:lnTo>
                    <a:lnTo>
                      <a:pt x="86" y="23"/>
                    </a:lnTo>
                    <a:lnTo>
                      <a:pt x="82" y="23"/>
                    </a:lnTo>
                    <a:lnTo>
                      <a:pt x="82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2" y="32"/>
                    </a:lnTo>
                    <a:lnTo>
                      <a:pt x="82" y="32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82" y="41"/>
                    </a:lnTo>
                    <a:lnTo>
                      <a:pt x="82" y="41"/>
                    </a:lnTo>
                    <a:lnTo>
                      <a:pt x="82" y="46"/>
                    </a:lnTo>
                    <a:lnTo>
                      <a:pt x="82" y="46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91" y="50"/>
                    </a:lnTo>
                    <a:lnTo>
                      <a:pt x="91" y="50"/>
                    </a:lnTo>
                    <a:lnTo>
                      <a:pt x="91" y="55"/>
                    </a:lnTo>
                    <a:lnTo>
                      <a:pt x="91" y="55"/>
                    </a:lnTo>
                    <a:lnTo>
                      <a:pt x="91" y="55"/>
                    </a:lnTo>
                    <a:lnTo>
                      <a:pt x="91" y="55"/>
                    </a:lnTo>
                    <a:lnTo>
                      <a:pt x="91" y="55"/>
                    </a:lnTo>
                    <a:lnTo>
                      <a:pt x="86" y="59"/>
                    </a:lnTo>
                    <a:lnTo>
                      <a:pt x="86" y="59"/>
                    </a:lnTo>
                    <a:lnTo>
                      <a:pt x="82" y="64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68"/>
                    </a:lnTo>
                    <a:lnTo>
                      <a:pt x="77" y="68"/>
                    </a:lnTo>
                    <a:lnTo>
                      <a:pt x="77" y="64"/>
                    </a:lnTo>
                    <a:lnTo>
                      <a:pt x="77" y="64"/>
                    </a:lnTo>
                    <a:lnTo>
                      <a:pt x="82" y="59"/>
                    </a:lnTo>
                    <a:lnTo>
                      <a:pt x="82" y="59"/>
                    </a:lnTo>
                    <a:lnTo>
                      <a:pt x="77" y="59"/>
                    </a:lnTo>
                    <a:lnTo>
                      <a:pt x="77" y="59"/>
                    </a:lnTo>
                    <a:lnTo>
                      <a:pt x="73" y="50"/>
                    </a:lnTo>
                    <a:lnTo>
                      <a:pt x="73" y="50"/>
                    </a:lnTo>
                    <a:lnTo>
                      <a:pt x="73" y="46"/>
                    </a:lnTo>
                    <a:lnTo>
                      <a:pt x="73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59" y="46"/>
                    </a:lnTo>
                    <a:lnTo>
                      <a:pt x="50" y="46"/>
                    </a:lnTo>
                    <a:lnTo>
                      <a:pt x="45" y="46"/>
                    </a:lnTo>
                    <a:lnTo>
                      <a:pt x="41" y="46"/>
                    </a:lnTo>
                    <a:lnTo>
                      <a:pt x="36" y="50"/>
                    </a:lnTo>
                    <a:lnTo>
                      <a:pt x="32" y="55"/>
                    </a:lnTo>
                    <a:lnTo>
                      <a:pt x="27" y="59"/>
                    </a:lnTo>
                    <a:lnTo>
                      <a:pt x="27" y="64"/>
                    </a:lnTo>
                    <a:lnTo>
                      <a:pt x="27" y="68"/>
                    </a:lnTo>
                    <a:lnTo>
                      <a:pt x="23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9" y="59"/>
                    </a:lnTo>
                    <a:lnTo>
                      <a:pt x="9" y="55"/>
                    </a:lnTo>
                    <a:lnTo>
                      <a:pt x="9" y="55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4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0" y="32"/>
                    </a:lnTo>
                    <a:lnTo>
                      <a:pt x="5" y="32"/>
                    </a:lnTo>
                    <a:lnTo>
                      <a:pt x="5" y="27"/>
                    </a:lnTo>
                    <a:lnTo>
                      <a:pt x="9" y="27"/>
                    </a:lnTo>
                    <a:lnTo>
                      <a:pt x="9" y="23"/>
                    </a:lnTo>
                    <a:lnTo>
                      <a:pt x="14" y="23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7" y="9"/>
                    </a:lnTo>
                    <a:lnTo>
                      <a:pt x="27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36" y="5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5" y="9"/>
                    </a:lnTo>
                    <a:lnTo>
                      <a:pt x="50" y="9"/>
                    </a:lnTo>
                    <a:lnTo>
                      <a:pt x="55" y="9"/>
                    </a:lnTo>
                    <a:lnTo>
                      <a:pt x="55" y="14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64" y="18"/>
                    </a:lnTo>
                    <a:lnTo>
                      <a:pt x="64" y="23"/>
                    </a:lnTo>
                    <a:lnTo>
                      <a:pt x="64" y="23"/>
                    </a:lnTo>
                    <a:lnTo>
                      <a:pt x="64" y="23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4" y="5"/>
                    </a:lnTo>
                    <a:lnTo>
                      <a:pt x="64" y="5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8" y="5"/>
                    </a:lnTo>
                    <a:lnTo>
                      <a:pt x="68" y="5"/>
                    </a:lnTo>
                    <a:lnTo>
                      <a:pt x="68" y="5"/>
                    </a:lnTo>
                    <a:lnTo>
                      <a:pt x="68" y="5"/>
                    </a:lnTo>
                    <a:lnTo>
                      <a:pt x="73" y="5"/>
                    </a:lnTo>
                    <a:lnTo>
                      <a:pt x="82" y="9"/>
                    </a:lnTo>
                    <a:lnTo>
                      <a:pt x="82" y="14"/>
                    </a:lnTo>
                    <a:lnTo>
                      <a:pt x="86" y="14"/>
                    </a:lnTo>
                    <a:lnTo>
                      <a:pt x="86" y="1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5" name="Freeform 43"/>
              <p:cNvSpPr>
                <a:spLocks/>
              </p:cNvSpPr>
              <p:nvPr/>
            </p:nvSpPr>
            <p:spPr bwMode="auto">
              <a:xfrm>
                <a:off x="3168651" y="2543175"/>
                <a:ext cx="193675" cy="107950"/>
              </a:xfrm>
              <a:custGeom>
                <a:avLst/>
                <a:gdLst>
                  <a:gd name="T0" fmla="*/ 91 w 122"/>
                  <a:gd name="T1" fmla="*/ 13 h 68"/>
                  <a:gd name="T2" fmla="*/ 104 w 122"/>
                  <a:gd name="T3" fmla="*/ 18 h 68"/>
                  <a:gd name="T4" fmla="*/ 104 w 122"/>
                  <a:gd name="T5" fmla="*/ 22 h 68"/>
                  <a:gd name="T6" fmla="*/ 109 w 122"/>
                  <a:gd name="T7" fmla="*/ 27 h 68"/>
                  <a:gd name="T8" fmla="*/ 113 w 122"/>
                  <a:gd name="T9" fmla="*/ 27 h 68"/>
                  <a:gd name="T10" fmla="*/ 118 w 122"/>
                  <a:gd name="T11" fmla="*/ 36 h 68"/>
                  <a:gd name="T12" fmla="*/ 122 w 122"/>
                  <a:gd name="T13" fmla="*/ 45 h 68"/>
                  <a:gd name="T14" fmla="*/ 122 w 122"/>
                  <a:gd name="T15" fmla="*/ 49 h 68"/>
                  <a:gd name="T16" fmla="*/ 122 w 122"/>
                  <a:gd name="T17" fmla="*/ 54 h 68"/>
                  <a:gd name="T18" fmla="*/ 118 w 122"/>
                  <a:gd name="T19" fmla="*/ 63 h 68"/>
                  <a:gd name="T20" fmla="*/ 109 w 122"/>
                  <a:gd name="T21" fmla="*/ 63 h 68"/>
                  <a:gd name="T22" fmla="*/ 109 w 122"/>
                  <a:gd name="T23" fmla="*/ 63 h 68"/>
                  <a:gd name="T24" fmla="*/ 109 w 122"/>
                  <a:gd name="T25" fmla="*/ 68 h 68"/>
                  <a:gd name="T26" fmla="*/ 100 w 122"/>
                  <a:gd name="T27" fmla="*/ 68 h 68"/>
                  <a:gd name="T28" fmla="*/ 95 w 122"/>
                  <a:gd name="T29" fmla="*/ 68 h 68"/>
                  <a:gd name="T30" fmla="*/ 86 w 122"/>
                  <a:gd name="T31" fmla="*/ 68 h 68"/>
                  <a:gd name="T32" fmla="*/ 86 w 122"/>
                  <a:gd name="T33" fmla="*/ 68 h 68"/>
                  <a:gd name="T34" fmla="*/ 86 w 122"/>
                  <a:gd name="T35" fmla="*/ 63 h 68"/>
                  <a:gd name="T36" fmla="*/ 82 w 122"/>
                  <a:gd name="T37" fmla="*/ 68 h 68"/>
                  <a:gd name="T38" fmla="*/ 77 w 122"/>
                  <a:gd name="T39" fmla="*/ 68 h 68"/>
                  <a:gd name="T40" fmla="*/ 73 w 122"/>
                  <a:gd name="T41" fmla="*/ 68 h 68"/>
                  <a:gd name="T42" fmla="*/ 59 w 122"/>
                  <a:gd name="T43" fmla="*/ 63 h 68"/>
                  <a:gd name="T44" fmla="*/ 36 w 122"/>
                  <a:gd name="T45" fmla="*/ 54 h 68"/>
                  <a:gd name="T46" fmla="*/ 32 w 122"/>
                  <a:gd name="T47" fmla="*/ 49 h 68"/>
                  <a:gd name="T48" fmla="*/ 27 w 122"/>
                  <a:gd name="T49" fmla="*/ 54 h 68"/>
                  <a:gd name="T50" fmla="*/ 18 w 122"/>
                  <a:gd name="T51" fmla="*/ 59 h 68"/>
                  <a:gd name="T52" fmla="*/ 9 w 122"/>
                  <a:gd name="T53" fmla="*/ 54 h 68"/>
                  <a:gd name="T54" fmla="*/ 0 w 122"/>
                  <a:gd name="T55" fmla="*/ 40 h 68"/>
                  <a:gd name="T56" fmla="*/ 0 w 122"/>
                  <a:gd name="T57" fmla="*/ 40 h 68"/>
                  <a:gd name="T58" fmla="*/ 5 w 122"/>
                  <a:gd name="T59" fmla="*/ 36 h 68"/>
                  <a:gd name="T60" fmla="*/ 5 w 122"/>
                  <a:gd name="T61" fmla="*/ 36 h 68"/>
                  <a:gd name="T62" fmla="*/ 5 w 122"/>
                  <a:gd name="T63" fmla="*/ 31 h 68"/>
                  <a:gd name="T64" fmla="*/ 9 w 122"/>
                  <a:gd name="T65" fmla="*/ 31 h 68"/>
                  <a:gd name="T66" fmla="*/ 27 w 122"/>
                  <a:gd name="T67" fmla="*/ 22 h 68"/>
                  <a:gd name="T68" fmla="*/ 36 w 122"/>
                  <a:gd name="T69" fmla="*/ 18 h 68"/>
                  <a:gd name="T70" fmla="*/ 36 w 122"/>
                  <a:gd name="T71" fmla="*/ 13 h 68"/>
                  <a:gd name="T72" fmla="*/ 36 w 122"/>
                  <a:gd name="T73" fmla="*/ 13 h 68"/>
                  <a:gd name="T74" fmla="*/ 41 w 122"/>
                  <a:gd name="T75" fmla="*/ 4 h 68"/>
                  <a:gd name="T76" fmla="*/ 45 w 122"/>
                  <a:gd name="T77" fmla="*/ 0 h 68"/>
                  <a:gd name="T78" fmla="*/ 50 w 122"/>
                  <a:gd name="T79" fmla="*/ 4 h 68"/>
                  <a:gd name="T80" fmla="*/ 54 w 122"/>
                  <a:gd name="T81" fmla="*/ 4 h 68"/>
                  <a:gd name="T82" fmla="*/ 63 w 122"/>
                  <a:gd name="T83" fmla="*/ 9 h 68"/>
                  <a:gd name="T84" fmla="*/ 77 w 122"/>
                  <a:gd name="T85" fmla="*/ 9 h 68"/>
                  <a:gd name="T86" fmla="*/ 82 w 122"/>
                  <a:gd name="T87" fmla="*/ 13 h 68"/>
                  <a:gd name="T88" fmla="*/ 91 w 122"/>
                  <a:gd name="T89" fmla="*/ 13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2" h="68">
                    <a:moveTo>
                      <a:pt x="91" y="13"/>
                    </a:moveTo>
                    <a:lnTo>
                      <a:pt x="91" y="13"/>
                    </a:lnTo>
                    <a:lnTo>
                      <a:pt x="95" y="13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9" y="22"/>
                    </a:lnTo>
                    <a:lnTo>
                      <a:pt x="109" y="27"/>
                    </a:lnTo>
                    <a:lnTo>
                      <a:pt x="109" y="27"/>
                    </a:lnTo>
                    <a:lnTo>
                      <a:pt x="113" y="27"/>
                    </a:lnTo>
                    <a:lnTo>
                      <a:pt x="113" y="31"/>
                    </a:lnTo>
                    <a:lnTo>
                      <a:pt x="118" y="36"/>
                    </a:lnTo>
                    <a:lnTo>
                      <a:pt x="118" y="45"/>
                    </a:lnTo>
                    <a:lnTo>
                      <a:pt x="122" y="45"/>
                    </a:lnTo>
                    <a:lnTo>
                      <a:pt x="122" y="49"/>
                    </a:lnTo>
                    <a:lnTo>
                      <a:pt x="122" y="49"/>
                    </a:lnTo>
                    <a:lnTo>
                      <a:pt x="122" y="54"/>
                    </a:lnTo>
                    <a:lnTo>
                      <a:pt x="122" y="54"/>
                    </a:lnTo>
                    <a:lnTo>
                      <a:pt x="122" y="63"/>
                    </a:lnTo>
                    <a:lnTo>
                      <a:pt x="118" y="63"/>
                    </a:lnTo>
                    <a:lnTo>
                      <a:pt x="113" y="63"/>
                    </a:lnTo>
                    <a:lnTo>
                      <a:pt x="109" y="63"/>
                    </a:lnTo>
                    <a:lnTo>
                      <a:pt x="109" y="63"/>
                    </a:lnTo>
                    <a:lnTo>
                      <a:pt x="109" y="63"/>
                    </a:lnTo>
                    <a:lnTo>
                      <a:pt x="109" y="68"/>
                    </a:lnTo>
                    <a:lnTo>
                      <a:pt x="109" y="68"/>
                    </a:lnTo>
                    <a:lnTo>
                      <a:pt x="100" y="63"/>
                    </a:lnTo>
                    <a:lnTo>
                      <a:pt x="100" y="68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63"/>
                    </a:lnTo>
                    <a:lnTo>
                      <a:pt x="86" y="63"/>
                    </a:lnTo>
                    <a:lnTo>
                      <a:pt x="82" y="68"/>
                    </a:lnTo>
                    <a:lnTo>
                      <a:pt x="82" y="68"/>
                    </a:lnTo>
                    <a:lnTo>
                      <a:pt x="82" y="68"/>
                    </a:lnTo>
                    <a:lnTo>
                      <a:pt x="77" y="68"/>
                    </a:lnTo>
                    <a:lnTo>
                      <a:pt x="77" y="68"/>
                    </a:lnTo>
                    <a:lnTo>
                      <a:pt x="73" y="68"/>
                    </a:lnTo>
                    <a:lnTo>
                      <a:pt x="63" y="63"/>
                    </a:lnTo>
                    <a:lnTo>
                      <a:pt x="59" y="63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2" y="54"/>
                    </a:lnTo>
                    <a:lnTo>
                      <a:pt x="32" y="49"/>
                    </a:lnTo>
                    <a:lnTo>
                      <a:pt x="32" y="54"/>
                    </a:lnTo>
                    <a:lnTo>
                      <a:pt x="27" y="54"/>
                    </a:lnTo>
                    <a:lnTo>
                      <a:pt x="23" y="59"/>
                    </a:lnTo>
                    <a:lnTo>
                      <a:pt x="18" y="59"/>
                    </a:lnTo>
                    <a:lnTo>
                      <a:pt x="14" y="54"/>
                    </a:lnTo>
                    <a:lnTo>
                      <a:pt x="9" y="54"/>
                    </a:lnTo>
                    <a:lnTo>
                      <a:pt x="0" y="49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9" y="31"/>
                    </a:lnTo>
                    <a:lnTo>
                      <a:pt x="18" y="27"/>
                    </a:lnTo>
                    <a:lnTo>
                      <a:pt x="27" y="22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41" y="4"/>
                    </a:lnTo>
                    <a:lnTo>
                      <a:pt x="45" y="4"/>
                    </a:lnTo>
                    <a:lnTo>
                      <a:pt x="45" y="0"/>
                    </a:lnTo>
                    <a:lnTo>
                      <a:pt x="45" y="4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63" y="9"/>
                    </a:lnTo>
                    <a:lnTo>
                      <a:pt x="73" y="9"/>
                    </a:lnTo>
                    <a:lnTo>
                      <a:pt x="77" y="9"/>
                    </a:lnTo>
                    <a:lnTo>
                      <a:pt x="77" y="13"/>
                    </a:lnTo>
                    <a:lnTo>
                      <a:pt x="82" y="13"/>
                    </a:lnTo>
                    <a:lnTo>
                      <a:pt x="86" y="13"/>
                    </a:lnTo>
                    <a:lnTo>
                      <a:pt x="91" y="13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6" name="Freeform 44"/>
              <p:cNvSpPr>
                <a:spLocks/>
              </p:cNvSpPr>
              <p:nvPr/>
            </p:nvSpPr>
            <p:spPr bwMode="auto">
              <a:xfrm>
                <a:off x="3268663" y="2370138"/>
                <a:ext cx="166688" cy="193675"/>
              </a:xfrm>
              <a:custGeom>
                <a:avLst/>
                <a:gdLst>
                  <a:gd name="T0" fmla="*/ 5 w 105"/>
                  <a:gd name="T1" fmla="*/ 36 h 122"/>
                  <a:gd name="T2" fmla="*/ 19 w 105"/>
                  <a:gd name="T3" fmla="*/ 22 h 122"/>
                  <a:gd name="T4" fmla="*/ 41 w 105"/>
                  <a:gd name="T5" fmla="*/ 13 h 122"/>
                  <a:gd name="T6" fmla="*/ 55 w 105"/>
                  <a:gd name="T7" fmla="*/ 9 h 122"/>
                  <a:gd name="T8" fmla="*/ 64 w 105"/>
                  <a:gd name="T9" fmla="*/ 0 h 122"/>
                  <a:gd name="T10" fmla="*/ 87 w 105"/>
                  <a:gd name="T11" fmla="*/ 4 h 122"/>
                  <a:gd name="T12" fmla="*/ 91 w 105"/>
                  <a:gd name="T13" fmla="*/ 9 h 122"/>
                  <a:gd name="T14" fmla="*/ 96 w 105"/>
                  <a:gd name="T15" fmla="*/ 13 h 122"/>
                  <a:gd name="T16" fmla="*/ 100 w 105"/>
                  <a:gd name="T17" fmla="*/ 18 h 122"/>
                  <a:gd name="T18" fmla="*/ 100 w 105"/>
                  <a:gd name="T19" fmla="*/ 18 h 122"/>
                  <a:gd name="T20" fmla="*/ 100 w 105"/>
                  <a:gd name="T21" fmla="*/ 27 h 122"/>
                  <a:gd name="T22" fmla="*/ 100 w 105"/>
                  <a:gd name="T23" fmla="*/ 36 h 122"/>
                  <a:gd name="T24" fmla="*/ 100 w 105"/>
                  <a:gd name="T25" fmla="*/ 50 h 122"/>
                  <a:gd name="T26" fmla="*/ 100 w 105"/>
                  <a:gd name="T27" fmla="*/ 54 h 122"/>
                  <a:gd name="T28" fmla="*/ 100 w 105"/>
                  <a:gd name="T29" fmla="*/ 59 h 122"/>
                  <a:gd name="T30" fmla="*/ 100 w 105"/>
                  <a:gd name="T31" fmla="*/ 77 h 122"/>
                  <a:gd name="T32" fmla="*/ 96 w 105"/>
                  <a:gd name="T33" fmla="*/ 86 h 122"/>
                  <a:gd name="T34" fmla="*/ 91 w 105"/>
                  <a:gd name="T35" fmla="*/ 95 h 122"/>
                  <a:gd name="T36" fmla="*/ 87 w 105"/>
                  <a:gd name="T37" fmla="*/ 95 h 122"/>
                  <a:gd name="T38" fmla="*/ 78 w 105"/>
                  <a:gd name="T39" fmla="*/ 99 h 122"/>
                  <a:gd name="T40" fmla="*/ 73 w 105"/>
                  <a:gd name="T41" fmla="*/ 99 h 122"/>
                  <a:gd name="T42" fmla="*/ 69 w 105"/>
                  <a:gd name="T43" fmla="*/ 99 h 122"/>
                  <a:gd name="T44" fmla="*/ 64 w 105"/>
                  <a:gd name="T45" fmla="*/ 109 h 122"/>
                  <a:gd name="T46" fmla="*/ 59 w 105"/>
                  <a:gd name="T47" fmla="*/ 109 h 122"/>
                  <a:gd name="T48" fmla="*/ 55 w 105"/>
                  <a:gd name="T49" fmla="*/ 113 h 122"/>
                  <a:gd name="T50" fmla="*/ 41 w 105"/>
                  <a:gd name="T51" fmla="*/ 118 h 122"/>
                  <a:gd name="T52" fmla="*/ 37 w 105"/>
                  <a:gd name="T53" fmla="*/ 118 h 122"/>
                  <a:gd name="T54" fmla="*/ 32 w 105"/>
                  <a:gd name="T55" fmla="*/ 113 h 122"/>
                  <a:gd name="T56" fmla="*/ 19 w 105"/>
                  <a:gd name="T57" fmla="*/ 113 h 122"/>
                  <a:gd name="T58" fmla="*/ 14 w 105"/>
                  <a:gd name="T59" fmla="*/ 109 h 122"/>
                  <a:gd name="T60" fmla="*/ 10 w 105"/>
                  <a:gd name="T61" fmla="*/ 104 h 122"/>
                  <a:gd name="T62" fmla="*/ 5 w 105"/>
                  <a:gd name="T63" fmla="*/ 99 h 122"/>
                  <a:gd name="T64" fmla="*/ 5 w 105"/>
                  <a:gd name="T65" fmla="*/ 95 h 122"/>
                  <a:gd name="T66" fmla="*/ 10 w 105"/>
                  <a:gd name="T67" fmla="*/ 90 h 122"/>
                  <a:gd name="T68" fmla="*/ 10 w 105"/>
                  <a:gd name="T69" fmla="*/ 86 h 122"/>
                  <a:gd name="T70" fmla="*/ 14 w 105"/>
                  <a:gd name="T71" fmla="*/ 81 h 122"/>
                  <a:gd name="T72" fmla="*/ 14 w 105"/>
                  <a:gd name="T73" fmla="*/ 77 h 122"/>
                  <a:gd name="T74" fmla="*/ 14 w 105"/>
                  <a:gd name="T75" fmla="*/ 72 h 122"/>
                  <a:gd name="T76" fmla="*/ 14 w 105"/>
                  <a:gd name="T77" fmla="*/ 68 h 122"/>
                  <a:gd name="T78" fmla="*/ 5 w 105"/>
                  <a:gd name="T79" fmla="*/ 68 h 122"/>
                  <a:gd name="T80" fmla="*/ 0 w 105"/>
                  <a:gd name="T81" fmla="*/ 63 h 122"/>
                  <a:gd name="T82" fmla="*/ 5 w 105"/>
                  <a:gd name="T83" fmla="*/ 54 h 122"/>
                  <a:gd name="T84" fmla="*/ 5 w 105"/>
                  <a:gd name="T85" fmla="*/ 50 h 122"/>
                  <a:gd name="T86" fmla="*/ 10 w 105"/>
                  <a:gd name="T87" fmla="*/ 45 h 122"/>
                  <a:gd name="T88" fmla="*/ 10 w 105"/>
                  <a:gd name="T89" fmla="*/ 41 h 122"/>
                  <a:gd name="T90" fmla="*/ 5 w 105"/>
                  <a:gd name="T91" fmla="*/ 36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5" h="122">
                    <a:moveTo>
                      <a:pt x="5" y="36"/>
                    </a:moveTo>
                    <a:lnTo>
                      <a:pt x="5" y="36"/>
                    </a:lnTo>
                    <a:lnTo>
                      <a:pt x="5" y="36"/>
                    </a:lnTo>
                    <a:lnTo>
                      <a:pt x="10" y="31"/>
                    </a:lnTo>
                    <a:lnTo>
                      <a:pt x="14" y="27"/>
                    </a:lnTo>
                    <a:lnTo>
                      <a:pt x="19" y="22"/>
                    </a:lnTo>
                    <a:lnTo>
                      <a:pt x="19" y="22"/>
                    </a:lnTo>
                    <a:lnTo>
                      <a:pt x="23" y="22"/>
                    </a:lnTo>
                    <a:lnTo>
                      <a:pt x="41" y="13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5" y="9"/>
                    </a:lnTo>
                    <a:lnTo>
                      <a:pt x="55" y="4"/>
                    </a:lnTo>
                    <a:lnTo>
                      <a:pt x="59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9" y="0"/>
                    </a:lnTo>
                    <a:lnTo>
                      <a:pt x="87" y="4"/>
                    </a:lnTo>
                    <a:lnTo>
                      <a:pt x="87" y="4"/>
                    </a:lnTo>
                    <a:lnTo>
                      <a:pt x="91" y="9"/>
                    </a:lnTo>
                    <a:lnTo>
                      <a:pt x="91" y="9"/>
                    </a:lnTo>
                    <a:lnTo>
                      <a:pt x="96" y="13"/>
                    </a:lnTo>
                    <a:lnTo>
                      <a:pt x="96" y="13"/>
                    </a:lnTo>
                    <a:lnTo>
                      <a:pt x="96" y="13"/>
                    </a:lnTo>
                    <a:lnTo>
                      <a:pt x="96" y="13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27"/>
                    </a:lnTo>
                    <a:lnTo>
                      <a:pt x="100" y="27"/>
                    </a:lnTo>
                    <a:lnTo>
                      <a:pt x="100" y="31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1"/>
                    </a:lnTo>
                    <a:lnTo>
                      <a:pt x="100" y="41"/>
                    </a:lnTo>
                    <a:lnTo>
                      <a:pt x="100" y="50"/>
                    </a:lnTo>
                    <a:lnTo>
                      <a:pt x="100" y="50"/>
                    </a:lnTo>
                    <a:lnTo>
                      <a:pt x="105" y="54"/>
                    </a:lnTo>
                    <a:lnTo>
                      <a:pt x="100" y="54"/>
                    </a:lnTo>
                    <a:lnTo>
                      <a:pt x="100" y="59"/>
                    </a:lnTo>
                    <a:lnTo>
                      <a:pt x="100" y="59"/>
                    </a:lnTo>
                    <a:lnTo>
                      <a:pt x="100" y="59"/>
                    </a:lnTo>
                    <a:lnTo>
                      <a:pt x="100" y="63"/>
                    </a:lnTo>
                    <a:lnTo>
                      <a:pt x="100" y="68"/>
                    </a:lnTo>
                    <a:lnTo>
                      <a:pt x="100" y="77"/>
                    </a:lnTo>
                    <a:lnTo>
                      <a:pt x="100" y="81"/>
                    </a:lnTo>
                    <a:lnTo>
                      <a:pt x="100" y="81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95"/>
                    </a:lnTo>
                    <a:lnTo>
                      <a:pt x="91" y="95"/>
                    </a:lnTo>
                    <a:lnTo>
                      <a:pt x="91" y="95"/>
                    </a:lnTo>
                    <a:lnTo>
                      <a:pt x="91" y="95"/>
                    </a:lnTo>
                    <a:lnTo>
                      <a:pt x="87" y="95"/>
                    </a:lnTo>
                    <a:lnTo>
                      <a:pt x="82" y="95"/>
                    </a:lnTo>
                    <a:lnTo>
                      <a:pt x="82" y="95"/>
                    </a:lnTo>
                    <a:lnTo>
                      <a:pt x="78" y="99"/>
                    </a:lnTo>
                    <a:lnTo>
                      <a:pt x="78" y="99"/>
                    </a:lnTo>
                    <a:lnTo>
                      <a:pt x="73" y="99"/>
                    </a:lnTo>
                    <a:lnTo>
                      <a:pt x="73" y="99"/>
                    </a:lnTo>
                    <a:lnTo>
                      <a:pt x="73" y="99"/>
                    </a:lnTo>
                    <a:lnTo>
                      <a:pt x="73" y="99"/>
                    </a:lnTo>
                    <a:lnTo>
                      <a:pt x="69" y="99"/>
                    </a:lnTo>
                    <a:lnTo>
                      <a:pt x="64" y="104"/>
                    </a:lnTo>
                    <a:lnTo>
                      <a:pt x="64" y="109"/>
                    </a:lnTo>
                    <a:lnTo>
                      <a:pt x="64" y="109"/>
                    </a:lnTo>
                    <a:lnTo>
                      <a:pt x="59" y="109"/>
                    </a:lnTo>
                    <a:lnTo>
                      <a:pt x="59" y="109"/>
                    </a:lnTo>
                    <a:lnTo>
                      <a:pt x="59" y="109"/>
                    </a:lnTo>
                    <a:lnTo>
                      <a:pt x="55" y="109"/>
                    </a:lnTo>
                    <a:lnTo>
                      <a:pt x="55" y="113"/>
                    </a:lnTo>
                    <a:lnTo>
                      <a:pt x="55" y="113"/>
                    </a:lnTo>
                    <a:lnTo>
                      <a:pt x="50" y="118"/>
                    </a:lnTo>
                    <a:lnTo>
                      <a:pt x="46" y="118"/>
                    </a:lnTo>
                    <a:lnTo>
                      <a:pt x="41" y="118"/>
                    </a:lnTo>
                    <a:lnTo>
                      <a:pt x="41" y="122"/>
                    </a:lnTo>
                    <a:lnTo>
                      <a:pt x="41" y="122"/>
                    </a:lnTo>
                    <a:lnTo>
                      <a:pt x="37" y="118"/>
                    </a:lnTo>
                    <a:lnTo>
                      <a:pt x="37" y="118"/>
                    </a:lnTo>
                    <a:lnTo>
                      <a:pt x="32" y="113"/>
                    </a:lnTo>
                    <a:lnTo>
                      <a:pt x="32" y="113"/>
                    </a:lnTo>
                    <a:lnTo>
                      <a:pt x="23" y="109"/>
                    </a:lnTo>
                    <a:lnTo>
                      <a:pt x="19" y="109"/>
                    </a:lnTo>
                    <a:lnTo>
                      <a:pt x="19" y="113"/>
                    </a:lnTo>
                    <a:lnTo>
                      <a:pt x="19" y="113"/>
                    </a:lnTo>
                    <a:lnTo>
                      <a:pt x="14" y="113"/>
                    </a:lnTo>
                    <a:lnTo>
                      <a:pt x="14" y="109"/>
                    </a:lnTo>
                    <a:lnTo>
                      <a:pt x="10" y="109"/>
                    </a:lnTo>
                    <a:lnTo>
                      <a:pt x="10" y="104"/>
                    </a:lnTo>
                    <a:lnTo>
                      <a:pt x="10" y="104"/>
                    </a:lnTo>
                    <a:lnTo>
                      <a:pt x="5" y="99"/>
                    </a:lnTo>
                    <a:lnTo>
                      <a:pt x="5" y="99"/>
                    </a:lnTo>
                    <a:lnTo>
                      <a:pt x="5" y="99"/>
                    </a:lnTo>
                    <a:lnTo>
                      <a:pt x="5" y="95"/>
                    </a:lnTo>
                    <a:lnTo>
                      <a:pt x="5" y="95"/>
                    </a:lnTo>
                    <a:lnTo>
                      <a:pt x="5" y="95"/>
                    </a:lnTo>
                    <a:lnTo>
                      <a:pt x="5" y="95"/>
                    </a:lnTo>
                    <a:lnTo>
                      <a:pt x="5" y="90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1"/>
                    </a:lnTo>
                    <a:lnTo>
                      <a:pt x="10" y="81"/>
                    </a:lnTo>
                    <a:lnTo>
                      <a:pt x="14" y="81"/>
                    </a:lnTo>
                    <a:lnTo>
                      <a:pt x="14" y="81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2"/>
                    </a:lnTo>
                    <a:lnTo>
                      <a:pt x="19" y="72"/>
                    </a:lnTo>
                    <a:lnTo>
                      <a:pt x="19" y="72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0" y="68"/>
                    </a:lnTo>
                    <a:lnTo>
                      <a:pt x="5" y="68"/>
                    </a:lnTo>
                    <a:lnTo>
                      <a:pt x="5" y="68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59"/>
                    </a:lnTo>
                    <a:lnTo>
                      <a:pt x="5" y="54"/>
                    </a:lnTo>
                    <a:lnTo>
                      <a:pt x="5" y="54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10" y="45"/>
                    </a:lnTo>
                    <a:lnTo>
                      <a:pt x="10" y="41"/>
                    </a:lnTo>
                    <a:lnTo>
                      <a:pt x="10" y="41"/>
                    </a:lnTo>
                    <a:lnTo>
                      <a:pt x="10" y="41"/>
                    </a:lnTo>
                    <a:lnTo>
                      <a:pt x="10" y="41"/>
                    </a:lnTo>
                    <a:lnTo>
                      <a:pt x="5" y="41"/>
                    </a:lnTo>
                    <a:lnTo>
                      <a:pt x="5" y="36"/>
                    </a:lnTo>
                    <a:lnTo>
                      <a:pt x="5" y="36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7" name="Freeform 45"/>
              <p:cNvSpPr>
                <a:spLocks noEditPoints="1"/>
              </p:cNvSpPr>
              <p:nvPr/>
            </p:nvSpPr>
            <p:spPr bwMode="auto">
              <a:xfrm>
                <a:off x="3205163" y="2620963"/>
                <a:ext cx="165100" cy="374650"/>
              </a:xfrm>
              <a:custGeom>
                <a:avLst/>
                <a:gdLst>
                  <a:gd name="T0" fmla="*/ 40 w 104"/>
                  <a:gd name="T1" fmla="*/ 191 h 236"/>
                  <a:gd name="T2" fmla="*/ 40 w 104"/>
                  <a:gd name="T3" fmla="*/ 191 h 236"/>
                  <a:gd name="T4" fmla="*/ 40 w 104"/>
                  <a:gd name="T5" fmla="*/ 191 h 236"/>
                  <a:gd name="T6" fmla="*/ 40 w 104"/>
                  <a:gd name="T7" fmla="*/ 191 h 236"/>
                  <a:gd name="T8" fmla="*/ 36 w 104"/>
                  <a:gd name="T9" fmla="*/ 200 h 236"/>
                  <a:gd name="T10" fmla="*/ 36 w 104"/>
                  <a:gd name="T11" fmla="*/ 195 h 236"/>
                  <a:gd name="T12" fmla="*/ 36 w 104"/>
                  <a:gd name="T13" fmla="*/ 191 h 236"/>
                  <a:gd name="T14" fmla="*/ 40 w 104"/>
                  <a:gd name="T15" fmla="*/ 191 h 236"/>
                  <a:gd name="T16" fmla="*/ 40 w 104"/>
                  <a:gd name="T17" fmla="*/ 191 h 236"/>
                  <a:gd name="T18" fmla="*/ 40 w 104"/>
                  <a:gd name="T19" fmla="*/ 191 h 236"/>
                  <a:gd name="T20" fmla="*/ 68 w 104"/>
                  <a:gd name="T21" fmla="*/ 232 h 236"/>
                  <a:gd name="T22" fmla="*/ 63 w 104"/>
                  <a:gd name="T23" fmla="*/ 236 h 236"/>
                  <a:gd name="T24" fmla="*/ 63 w 104"/>
                  <a:gd name="T25" fmla="*/ 227 h 236"/>
                  <a:gd name="T26" fmla="*/ 54 w 104"/>
                  <a:gd name="T27" fmla="*/ 150 h 236"/>
                  <a:gd name="T28" fmla="*/ 54 w 104"/>
                  <a:gd name="T29" fmla="*/ 155 h 236"/>
                  <a:gd name="T30" fmla="*/ 50 w 104"/>
                  <a:gd name="T31" fmla="*/ 155 h 236"/>
                  <a:gd name="T32" fmla="*/ 50 w 104"/>
                  <a:gd name="T33" fmla="*/ 141 h 236"/>
                  <a:gd name="T34" fmla="*/ 54 w 104"/>
                  <a:gd name="T35" fmla="*/ 146 h 236"/>
                  <a:gd name="T36" fmla="*/ 40 w 104"/>
                  <a:gd name="T37" fmla="*/ 191 h 236"/>
                  <a:gd name="T38" fmla="*/ 40 w 104"/>
                  <a:gd name="T39" fmla="*/ 191 h 236"/>
                  <a:gd name="T40" fmla="*/ 104 w 104"/>
                  <a:gd name="T41" fmla="*/ 28 h 236"/>
                  <a:gd name="T42" fmla="*/ 95 w 104"/>
                  <a:gd name="T43" fmla="*/ 14 h 236"/>
                  <a:gd name="T44" fmla="*/ 86 w 104"/>
                  <a:gd name="T45" fmla="*/ 14 h 236"/>
                  <a:gd name="T46" fmla="*/ 86 w 104"/>
                  <a:gd name="T47" fmla="*/ 19 h 236"/>
                  <a:gd name="T48" fmla="*/ 72 w 104"/>
                  <a:gd name="T49" fmla="*/ 19 h 236"/>
                  <a:gd name="T50" fmla="*/ 63 w 104"/>
                  <a:gd name="T51" fmla="*/ 19 h 236"/>
                  <a:gd name="T52" fmla="*/ 63 w 104"/>
                  <a:gd name="T53" fmla="*/ 14 h 236"/>
                  <a:gd name="T54" fmla="*/ 59 w 104"/>
                  <a:gd name="T55" fmla="*/ 19 h 236"/>
                  <a:gd name="T56" fmla="*/ 54 w 104"/>
                  <a:gd name="T57" fmla="*/ 19 h 236"/>
                  <a:gd name="T58" fmla="*/ 36 w 104"/>
                  <a:gd name="T59" fmla="*/ 14 h 236"/>
                  <a:gd name="T60" fmla="*/ 9 w 104"/>
                  <a:gd name="T61" fmla="*/ 5 h 236"/>
                  <a:gd name="T62" fmla="*/ 4 w 104"/>
                  <a:gd name="T63" fmla="*/ 5 h 236"/>
                  <a:gd name="T64" fmla="*/ 4 w 104"/>
                  <a:gd name="T65" fmla="*/ 19 h 236"/>
                  <a:gd name="T66" fmla="*/ 13 w 104"/>
                  <a:gd name="T67" fmla="*/ 28 h 236"/>
                  <a:gd name="T68" fmla="*/ 27 w 104"/>
                  <a:gd name="T69" fmla="*/ 32 h 236"/>
                  <a:gd name="T70" fmla="*/ 36 w 104"/>
                  <a:gd name="T71" fmla="*/ 41 h 236"/>
                  <a:gd name="T72" fmla="*/ 50 w 104"/>
                  <a:gd name="T73" fmla="*/ 41 h 236"/>
                  <a:gd name="T74" fmla="*/ 54 w 104"/>
                  <a:gd name="T75" fmla="*/ 46 h 236"/>
                  <a:gd name="T76" fmla="*/ 59 w 104"/>
                  <a:gd name="T77" fmla="*/ 55 h 236"/>
                  <a:gd name="T78" fmla="*/ 59 w 104"/>
                  <a:gd name="T79" fmla="*/ 50 h 236"/>
                  <a:gd name="T80" fmla="*/ 59 w 104"/>
                  <a:gd name="T81" fmla="*/ 46 h 236"/>
                  <a:gd name="T82" fmla="*/ 59 w 104"/>
                  <a:gd name="T83" fmla="*/ 46 h 236"/>
                  <a:gd name="T84" fmla="*/ 59 w 104"/>
                  <a:gd name="T85" fmla="*/ 41 h 236"/>
                  <a:gd name="T86" fmla="*/ 59 w 104"/>
                  <a:gd name="T87" fmla="*/ 41 h 236"/>
                  <a:gd name="T88" fmla="*/ 63 w 104"/>
                  <a:gd name="T89" fmla="*/ 37 h 236"/>
                  <a:gd name="T90" fmla="*/ 63 w 104"/>
                  <a:gd name="T91" fmla="*/ 37 h 236"/>
                  <a:gd name="T92" fmla="*/ 77 w 104"/>
                  <a:gd name="T93" fmla="*/ 46 h 236"/>
                  <a:gd name="T94" fmla="*/ 90 w 104"/>
                  <a:gd name="T95" fmla="*/ 50 h 236"/>
                  <a:gd name="T96" fmla="*/ 90 w 104"/>
                  <a:gd name="T97" fmla="*/ 50 h 236"/>
                  <a:gd name="T98" fmla="*/ 90 w 104"/>
                  <a:gd name="T99" fmla="*/ 41 h 236"/>
                  <a:gd name="T100" fmla="*/ 90 w 104"/>
                  <a:gd name="T101" fmla="*/ 32 h 236"/>
                  <a:gd name="T102" fmla="*/ 95 w 104"/>
                  <a:gd name="T103" fmla="*/ 37 h 236"/>
                  <a:gd name="T104" fmla="*/ 99 w 104"/>
                  <a:gd name="T105" fmla="*/ 32 h 236"/>
                  <a:gd name="T106" fmla="*/ 104 w 104"/>
                  <a:gd name="T107" fmla="*/ 32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4" h="236">
                    <a:moveTo>
                      <a:pt x="40" y="191"/>
                    </a:moveTo>
                    <a:lnTo>
                      <a:pt x="40" y="191"/>
                    </a:lnTo>
                    <a:lnTo>
                      <a:pt x="40" y="191"/>
                    </a:lnTo>
                    <a:lnTo>
                      <a:pt x="40" y="191"/>
                    </a:lnTo>
                    <a:lnTo>
                      <a:pt x="40" y="191"/>
                    </a:lnTo>
                    <a:moveTo>
                      <a:pt x="40" y="191"/>
                    </a:moveTo>
                    <a:lnTo>
                      <a:pt x="40" y="191"/>
                    </a:lnTo>
                    <a:lnTo>
                      <a:pt x="40" y="191"/>
                    </a:lnTo>
                    <a:lnTo>
                      <a:pt x="40" y="191"/>
                    </a:lnTo>
                    <a:lnTo>
                      <a:pt x="40" y="191"/>
                    </a:lnTo>
                    <a:moveTo>
                      <a:pt x="40" y="191"/>
                    </a:moveTo>
                    <a:lnTo>
                      <a:pt x="40" y="191"/>
                    </a:lnTo>
                    <a:lnTo>
                      <a:pt x="40" y="191"/>
                    </a:lnTo>
                    <a:lnTo>
                      <a:pt x="40" y="195"/>
                    </a:lnTo>
                    <a:lnTo>
                      <a:pt x="36" y="200"/>
                    </a:lnTo>
                    <a:lnTo>
                      <a:pt x="36" y="200"/>
                    </a:lnTo>
                    <a:lnTo>
                      <a:pt x="36" y="200"/>
                    </a:lnTo>
                    <a:lnTo>
                      <a:pt x="36" y="195"/>
                    </a:lnTo>
                    <a:lnTo>
                      <a:pt x="36" y="191"/>
                    </a:lnTo>
                    <a:lnTo>
                      <a:pt x="36" y="191"/>
                    </a:lnTo>
                    <a:lnTo>
                      <a:pt x="36" y="191"/>
                    </a:lnTo>
                    <a:lnTo>
                      <a:pt x="36" y="191"/>
                    </a:lnTo>
                    <a:lnTo>
                      <a:pt x="40" y="186"/>
                    </a:lnTo>
                    <a:lnTo>
                      <a:pt x="40" y="191"/>
                    </a:lnTo>
                    <a:moveTo>
                      <a:pt x="40" y="191"/>
                    </a:moveTo>
                    <a:lnTo>
                      <a:pt x="40" y="191"/>
                    </a:lnTo>
                    <a:lnTo>
                      <a:pt x="40" y="191"/>
                    </a:lnTo>
                    <a:lnTo>
                      <a:pt x="40" y="191"/>
                    </a:lnTo>
                    <a:lnTo>
                      <a:pt x="40" y="191"/>
                    </a:lnTo>
                    <a:lnTo>
                      <a:pt x="40" y="191"/>
                    </a:lnTo>
                    <a:moveTo>
                      <a:pt x="68" y="227"/>
                    </a:moveTo>
                    <a:lnTo>
                      <a:pt x="68" y="227"/>
                    </a:lnTo>
                    <a:lnTo>
                      <a:pt x="68" y="232"/>
                    </a:lnTo>
                    <a:lnTo>
                      <a:pt x="68" y="236"/>
                    </a:lnTo>
                    <a:lnTo>
                      <a:pt x="63" y="236"/>
                    </a:lnTo>
                    <a:lnTo>
                      <a:pt x="63" y="236"/>
                    </a:lnTo>
                    <a:lnTo>
                      <a:pt x="59" y="232"/>
                    </a:lnTo>
                    <a:lnTo>
                      <a:pt x="59" y="232"/>
                    </a:lnTo>
                    <a:lnTo>
                      <a:pt x="63" y="227"/>
                    </a:lnTo>
                    <a:lnTo>
                      <a:pt x="68" y="227"/>
                    </a:lnTo>
                    <a:moveTo>
                      <a:pt x="54" y="150"/>
                    </a:moveTo>
                    <a:lnTo>
                      <a:pt x="54" y="150"/>
                    </a:lnTo>
                    <a:lnTo>
                      <a:pt x="59" y="150"/>
                    </a:lnTo>
                    <a:lnTo>
                      <a:pt x="59" y="155"/>
                    </a:lnTo>
                    <a:lnTo>
                      <a:pt x="54" y="155"/>
                    </a:lnTo>
                    <a:lnTo>
                      <a:pt x="54" y="155"/>
                    </a:lnTo>
                    <a:lnTo>
                      <a:pt x="54" y="155"/>
                    </a:lnTo>
                    <a:lnTo>
                      <a:pt x="50" y="155"/>
                    </a:lnTo>
                    <a:lnTo>
                      <a:pt x="45" y="150"/>
                    </a:lnTo>
                    <a:lnTo>
                      <a:pt x="45" y="146"/>
                    </a:lnTo>
                    <a:lnTo>
                      <a:pt x="50" y="141"/>
                    </a:lnTo>
                    <a:lnTo>
                      <a:pt x="50" y="141"/>
                    </a:lnTo>
                    <a:lnTo>
                      <a:pt x="54" y="141"/>
                    </a:lnTo>
                    <a:lnTo>
                      <a:pt x="54" y="146"/>
                    </a:lnTo>
                    <a:lnTo>
                      <a:pt x="54" y="146"/>
                    </a:lnTo>
                    <a:lnTo>
                      <a:pt x="54" y="150"/>
                    </a:lnTo>
                    <a:moveTo>
                      <a:pt x="40" y="191"/>
                    </a:moveTo>
                    <a:lnTo>
                      <a:pt x="40" y="191"/>
                    </a:lnTo>
                    <a:lnTo>
                      <a:pt x="40" y="191"/>
                    </a:lnTo>
                    <a:lnTo>
                      <a:pt x="40" y="191"/>
                    </a:lnTo>
                    <a:lnTo>
                      <a:pt x="40" y="191"/>
                    </a:lnTo>
                    <a:moveTo>
                      <a:pt x="104" y="28"/>
                    </a:moveTo>
                    <a:lnTo>
                      <a:pt x="104" y="28"/>
                    </a:lnTo>
                    <a:lnTo>
                      <a:pt x="104" y="28"/>
                    </a:lnTo>
                    <a:lnTo>
                      <a:pt x="99" y="14"/>
                    </a:lnTo>
                    <a:lnTo>
                      <a:pt x="95" y="14"/>
                    </a:lnTo>
                    <a:lnTo>
                      <a:pt x="90" y="14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86" y="19"/>
                    </a:lnTo>
                    <a:lnTo>
                      <a:pt x="86" y="19"/>
                    </a:lnTo>
                    <a:lnTo>
                      <a:pt x="77" y="14"/>
                    </a:lnTo>
                    <a:lnTo>
                      <a:pt x="77" y="19"/>
                    </a:lnTo>
                    <a:lnTo>
                      <a:pt x="72" y="19"/>
                    </a:lnTo>
                    <a:lnTo>
                      <a:pt x="72" y="19"/>
                    </a:lnTo>
                    <a:lnTo>
                      <a:pt x="63" y="19"/>
                    </a:lnTo>
                    <a:lnTo>
                      <a:pt x="63" y="19"/>
                    </a:lnTo>
                    <a:lnTo>
                      <a:pt x="63" y="19"/>
                    </a:lnTo>
                    <a:lnTo>
                      <a:pt x="63" y="19"/>
                    </a:lnTo>
                    <a:lnTo>
                      <a:pt x="63" y="14"/>
                    </a:lnTo>
                    <a:lnTo>
                      <a:pt x="63" y="14"/>
                    </a:lnTo>
                    <a:lnTo>
                      <a:pt x="59" y="19"/>
                    </a:lnTo>
                    <a:lnTo>
                      <a:pt x="59" y="19"/>
                    </a:lnTo>
                    <a:lnTo>
                      <a:pt x="59" y="19"/>
                    </a:lnTo>
                    <a:lnTo>
                      <a:pt x="54" y="19"/>
                    </a:lnTo>
                    <a:lnTo>
                      <a:pt x="54" y="19"/>
                    </a:lnTo>
                    <a:lnTo>
                      <a:pt x="50" y="19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9" y="5"/>
                    </a:lnTo>
                    <a:lnTo>
                      <a:pt x="9" y="0"/>
                    </a:lnTo>
                    <a:lnTo>
                      <a:pt x="9" y="5"/>
                    </a:lnTo>
                    <a:lnTo>
                      <a:pt x="4" y="5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9"/>
                    </a:lnTo>
                    <a:lnTo>
                      <a:pt x="4" y="19"/>
                    </a:lnTo>
                    <a:lnTo>
                      <a:pt x="9" y="23"/>
                    </a:lnTo>
                    <a:lnTo>
                      <a:pt x="13" y="28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7" y="32"/>
                    </a:lnTo>
                    <a:lnTo>
                      <a:pt x="31" y="37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40" y="41"/>
                    </a:lnTo>
                    <a:lnTo>
                      <a:pt x="45" y="41"/>
                    </a:lnTo>
                    <a:lnTo>
                      <a:pt x="50" y="41"/>
                    </a:lnTo>
                    <a:lnTo>
                      <a:pt x="50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9" y="50"/>
                    </a:lnTo>
                    <a:lnTo>
                      <a:pt x="59" y="55"/>
                    </a:lnTo>
                    <a:lnTo>
                      <a:pt x="59" y="55"/>
                    </a:lnTo>
                    <a:lnTo>
                      <a:pt x="59" y="55"/>
                    </a:lnTo>
                    <a:lnTo>
                      <a:pt x="59" y="50"/>
                    </a:lnTo>
                    <a:lnTo>
                      <a:pt x="59" y="50"/>
                    </a:lnTo>
                    <a:lnTo>
                      <a:pt x="59" y="50"/>
                    </a:lnTo>
                    <a:lnTo>
                      <a:pt x="59" y="46"/>
                    </a:lnTo>
                    <a:lnTo>
                      <a:pt x="59" y="46"/>
                    </a:lnTo>
                    <a:lnTo>
                      <a:pt x="59" y="46"/>
                    </a:lnTo>
                    <a:lnTo>
                      <a:pt x="59" y="46"/>
                    </a:lnTo>
                    <a:lnTo>
                      <a:pt x="59" y="46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63" y="37"/>
                    </a:lnTo>
                    <a:lnTo>
                      <a:pt x="63" y="37"/>
                    </a:lnTo>
                    <a:lnTo>
                      <a:pt x="63" y="37"/>
                    </a:lnTo>
                    <a:lnTo>
                      <a:pt x="63" y="37"/>
                    </a:lnTo>
                    <a:lnTo>
                      <a:pt x="68" y="37"/>
                    </a:lnTo>
                    <a:lnTo>
                      <a:pt x="77" y="41"/>
                    </a:lnTo>
                    <a:lnTo>
                      <a:pt x="77" y="46"/>
                    </a:lnTo>
                    <a:lnTo>
                      <a:pt x="81" y="46"/>
                    </a:lnTo>
                    <a:lnTo>
                      <a:pt x="81" y="46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1"/>
                    </a:lnTo>
                    <a:lnTo>
                      <a:pt x="90" y="37"/>
                    </a:lnTo>
                    <a:lnTo>
                      <a:pt x="90" y="37"/>
                    </a:lnTo>
                    <a:lnTo>
                      <a:pt x="90" y="32"/>
                    </a:lnTo>
                    <a:lnTo>
                      <a:pt x="95" y="37"/>
                    </a:lnTo>
                    <a:lnTo>
                      <a:pt x="95" y="37"/>
                    </a:lnTo>
                    <a:lnTo>
                      <a:pt x="95" y="37"/>
                    </a:lnTo>
                    <a:lnTo>
                      <a:pt x="99" y="37"/>
                    </a:lnTo>
                    <a:lnTo>
                      <a:pt x="99" y="37"/>
                    </a:lnTo>
                    <a:lnTo>
                      <a:pt x="99" y="32"/>
                    </a:lnTo>
                    <a:lnTo>
                      <a:pt x="99" y="32"/>
                    </a:lnTo>
                    <a:lnTo>
                      <a:pt x="99" y="32"/>
                    </a:lnTo>
                    <a:lnTo>
                      <a:pt x="104" y="32"/>
                    </a:lnTo>
                    <a:lnTo>
                      <a:pt x="104" y="28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8" name="Freeform 46"/>
              <p:cNvSpPr>
                <a:spLocks/>
              </p:cNvSpPr>
              <p:nvPr/>
            </p:nvSpPr>
            <p:spPr bwMode="auto">
              <a:xfrm>
                <a:off x="3313113" y="3024188"/>
                <a:ext cx="14288" cy="7937"/>
              </a:xfrm>
              <a:custGeom>
                <a:avLst/>
                <a:gdLst>
                  <a:gd name="T0" fmla="*/ 4 w 9"/>
                  <a:gd name="T1" fmla="*/ 0 h 5"/>
                  <a:gd name="T2" fmla="*/ 4 w 9"/>
                  <a:gd name="T3" fmla="*/ 0 h 5"/>
                  <a:gd name="T4" fmla="*/ 4 w 9"/>
                  <a:gd name="T5" fmla="*/ 0 h 5"/>
                  <a:gd name="T6" fmla="*/ 4 w 9"/>
                  <a:gd name="T7" fmla="*/ 0 h 5"/>
                  <a:gd name="T8" fmla="*/ 4 w 9"/>
                  <a:gd name="T9" fmla="*/ 0 h 5"/>
                  <a:gd name="T10" fmla="*/ 0 w 9"/>
                  <a:gd name="T11" fmla="*/ 5 h 5"/>
                  <a:gd name="T12" fmla="*/ 0 w 9"/>
                  <a:gd name="T13" fmla="*/ 5 h 5"/>
                  <a:gd name="T14" fmla="*/ 4 w 9"/>
                  <a:gd name="T15" fmla="*/ 5 h 5"/>
                  <a:gd name="T16" fmla="*/ 4 w 9"/>
                  <a:gd name="T17" fmla="*/ 5 h 5"/>
                  <a:gd name="T18" fmla="*/ 4 w 9"/>
                  <a:gd name="T19" fmla="*/ 5 h 5"/>
                  <a:gd name="T20" fmla="*/ 4 w 9"/>
                  <a:gd name="T21" fmla="*/ 5 h 5"/>
                  <a:gd name="T22" fmla="*/ 9 w 9"/>
                  <a:gd name="T23" fmla="*/ 5 h 5"/>
                  <a:gd name="T24" fmla="*/ 4 w 9"/>
                  <a:gd name="T2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5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9" y="5"/>
                    </a:lnTo>
                    <a:lnTo>
                      <a:pt x="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49" name="Freeform 47"/>
              <p:cNvSpPr>
                <a:spLocks/>
              </p:cNvSpPr>
              <p:nvPr/>
            </p:nvSpPr>
            <p:spPr bwMode="auto">
              <a:xfrm>
                <a:off x="3074988" y="2606675"/>
                <a:ext cx="165100" cy="166687"/>
              </a:xfrm>
              <a:custGeom>
                <a:avLst/>
                <a:gdLst>
                  <a:gd name="T0" fmla="*/ 77 w 104"/>
                  <a:gd name="T1" fmla="*/ 19 h 105"/>
                  <a:gd name="T2" fmla="*/ 86 w 104"/>
                  <a:gd name="T3" fmla="*/ 28 h 105"/>
                  <a:gd name="T4" fmla="*/ 95 w 104"/>
                  <a:gd name="T5" fmla="*/ 37 h 105"/>
                  <a:gd name="T6" fmla="*/ 104 w 104"/>
                  <a:gd name="T7" fmla="*/ 46 h 105"/>
                  <a:gd name="T8" fmla="*/ 100 w 104"/>
                  <a:gd name="T9" fmla="*/ 55 h 105"/>
                  <a:gd name="T10" fmla="*/ 91 w 104"/>
                  <a:gd name="T11" fmla="*/ 64 h 105"/>
                  <a:gd name="T12" fmla="*/ 82 w 104"/>
                  <a:gd name="T13" fmla="*/ 68 h 105"/>
                  <a:gd name="T14" fmla="*/ 73 w 104"/>
                  <a:gd name="T15" fmla="*/ 77 h 105"/>
                  <a:gd name="T16" fmla="*/ 54 w 104"/>
                  <a:gd name="T17" fmla="*/ 77 h 105"/>
                  <a:gd name="T18" fmla="*/ 50 w 104"/>
                  <a:gd name="T19" fmla="*/ 73 h 105"/>
                  <a:gd name="T20" fmla="*/ 41 w 104"/>
                  <a:gd name="T21" fmla="*/ 68 h 105"/>
                  <a:gd name="T22" fmla="*/ 41 w 104"/>
                  <a:gd name="T23" fmla="*/ 73 h 105"/>
                  <a:gd name="T24" fmla="*/ 36 w 104"/>
                  <a:gd name="T25" fmla="*/ 91 h 105"/>
                  <a:gd name="T26" fmla="*/ 36 w 104"/>
                  <a:gd name="T27" fmla="*/ 96 h 105"/>
                  <a:gd name="T28" fmla="*/ 36 w 104"/>
                  <a:gd name="T29" fmla="*/ 100 h 105"/>
                  <a:gd name="T30" fmla="*/ 32 w 104"/>
                  <a:gd name="T31" fmla="*/ 100 h 105"/>
                  <a:gd name="T32" fmla="*/ 27 w 104"/>
                  <a:gd name="T33" fmla="*/ 100 h 105"/>
                  <a:gd name="T34" fmla="*/ 23 w 104"/>
                  <a:gd name="T35" fmla="*/ 100 h 105"/>
                  <a:gd name="T36" fmla="*/ 18 w 104"/>
                  <a:gd name="T37" fmla="*/ 87 h 105"/>
                  <a:gd name="T38" fmla="*/ 14 w 104"/>
                  <a:gd name="T39" fmla="*/ 82 h 105"/>
                  <a:gd name="T40" fmla="*/ 9 w 104"/>
                  <a:gd name="T41" fmla="*/ 82 h 105"/>
                  <a:gd name="T42" fmla="*/ 9 w 104"/>
                  <a:gd name="T43" fmla="*/ 82 h 105"/>
                  <a:gd name="T44" fmla="*/ 9 w 104"/>
                  <a:gd name="T45" fmla="*/ 77 h 105"/>
                  <a:gd name="T46" fmla="*/ 9 w 104"/>
                  <a:gd name="T47" fmla="*/ 68 h 105"/>
                  <a:gd name="T48" fmla="*/ 9 w 104"/>
                  <a:gd name="T49" fmla="*/ 64 h 105"/>
                  <a:gd name="T50" fmla="*/ 9 w 104"/>
                  <a:gd name="T51" fmla="*/ 55 h 105"/>
                  <a:gd name="T52" fmla="*/ 5 w 104"/>
                  <a:gd name="T53" fmla="*/ 46 h 105"/>
                  <a:gd name="T54" fmla="*/ 0 w 104"/>
                  <a:gd name="T55" fmla="*/ 37 h 105"/>
                  <a:gd name="T56" fmla="*/ 5 w 104"/>
                  <a:gd name="T57" fmla="*/ 28 h 105"/>
                  <a:gd name="T58" fmla="*/ 5 w 104"/>
                  <a:gd name="T59" fmla="*/ 23 h 105"/>
                  <a:gd name="T60" fmla="*/ 9 w 104"/>
                  <a:gd name="T61" fmla="*/ 14 h 105"/>
                  <a:gd name="T62" fmla="*/ 9 w 104"/>
                  <a:gd name="T63" fmla="*/ 14 h 105"/>
                  <a:gd name="T64" fmla="*/ 14 w 104"/>
                  <a:gd name="T65" fmla="*/ 14 h 105"/>
                  <a:gd name="T66" fmla="*/ 23 w 104"/>
                  <a:gd name="T67" fmla="*/ 0 h 105"/>
                  <a:gd name="T68" fmla="*/ 32 w 104"/>
                  <a:gd name="T69" fmla="*/ 5 h 105"/>
                  <a:gd name="T70" fmla="*/ 32 w 104"/>
                  <a:gd name="T71" fmla="*/ 5 h 105"/>
                  <a:gd name="T72" fmla="*/ 32 w 104"/>
                  <a:gd name="T73" fmla="*/ 9 h 105"/>
                  <a:gd name="T74" fmla="*/ 41 w 104"/>
                  <a:gd name="T75" fmla="*/ 9 h 105"/>
                  <a:gd name="T76" fmla="*/ 45 w 104"/>
                  <a:gd name="T77" fmla="*/ 9 h 105"/>
                  <a:gd name="T78" fmla="*/ 50 w 104"/>
                  <a:gd name="T79" fmla="*/ 14 h 105"/>
                  <a:gd name="T80" fmla="*/ 50 w 104"/>
                  <a:gd name="T81" fmla="*/ 14 h 105"/>
                  <a:gd name="T82" fmla="*/ 59 w 104"/>
                  <a:gd name="T83" fmla="*/ 9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4" h="105">
                    <a:moveTo>
                      <a:pt x="73" y="14"/>
                    </a:moveTo>
                    <a:lnTo>
                      <a:pt x="73" y="14"/>
                    </a:lnTo>
                    <a:lnTo>
                      <a:pt x="77" y="19"/>
                    </a:lnTo>
                    <a:lnTo>
                      <a:pt x="82" y="19"/>
                    </a:lnTo>
                    <a:lnTo>
                      <a:pt x="86" y="19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91" y="32"/>
                    </a:lnTo>
                    <a:lnTo>
                      <a:pt x="95" y="37"/>
                    </a:lnTo>
                    <a:lnTo>
                      <a:pt x="104" y="41"/>
                    </a:lnTo>
                    <a:lnTo>
                      <a:pt x="104" y="41"/>
                    </a:lnTo>
                    <a:lnTo>
                      <a:pt x="104" y="46"/>
                    </a:lnTo>
                    <a:lnTo>
                      <a:pt x="104" y="50"/>
                    </a:lnTo>
                    <a:lnTo>
                      <a:pt x="100" y="55"/>
                    </a:lnTo>
                    <a:lnTo>
                      <a:pt x="100" y="55"/>
                    </a:lnTo>
                    <a:lnTo>
                      <a:pt x="100" y="59"/>
                    </a:lnTo>
                    <a:lnTo>
                      <a:pt x="100" y="59"/>
                    </a:lnTo>
                    <a:lnTo>
                      <a:pt x="91" y="64"/>
                    </a:lnTo>
                    <a:lnTo>
                      <a:pt x="86" y="64"/>
                    </a:lnTo>
                    <a:lnTo>
                      <a:pt x="86" y="68"/>
                    </a:lnTo>
                    <a:lnTo>
                      <a:pt x="82" y="68"/>
                    </a:lnTo>
                    <a:lnTo>
                      <a:pt x="82" y="73"/>
                    </a:lnTo>
                    <a:lnTo>
                      <a:pt x="77" y="73"/>
                    </a:lnTo>
                    <a:lnTo>
                      <a:pt x="73" y="77"/>
                    </a:lnTo>
                    <a:lnTo>
                      <a:pt x="59" y="77"/>
                    </a:lnTo>
                    <a:lnTo>
                      <a:pt x="54" y="77"/>
                    </a:lnTo>
                    <a:lnTo>
                      <a:pt x="54" y="77"/>
                    </a:lnTo>
                    <a:lnTo>
                      <a:pt x="50" y="77"/>
                    </a:lnTo>
                    <a:lnTo>
                      <a:pt x="50" y="73"/>
                    </a:lnTo>
                    <a:lnTo>
                      <a:pt x="50" y="73"/>
                    </a:lnTo>
                    <a:lnTo>
                      <a:pt x="45" y="73"/>
                    </a:lnTo>
                    <a:lnTo>
                      <a:pt x="41" y="68"/>
                    </a:lnTo>
                    <a:lnTo>
                      <a:pt x="41" y="68"/>
                    </a:lnTo>
                    <a:lnTo>
                      <a:pt x="41" y="68"/>
                    </a:lnTo>
                    <a:lnTo>
                      <a:pt x="41" y="73"/>
                    </a:lnTo>
                    <a:lnTo>
                      <a:pt x="41" y="73"/>
                    </a:lnTo>
                    <a:lnTo>
                      <a:pt x="36" y="82"/>
                    </a:lnTo>
                    <a:lnTo>
                      <a:pt x="36" y="87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6"/>
                    </a:lnTo>
                    <a:lnTo>
                      <a:pt x="36" y="96"/>
                    </a:lnTo>
                    <a:lnTo>
                      <a:pt x="36" y="96"/>
                    </a:lnTo>
                    <a:lnTo>
                      <a:pt x="36" y="96"/>
                    </a:lnTo>
                    <a:lnTo>
                      <a:pt x="36" y="100"/>
                    </a:lnTo>
                    <a:lnTo>
                      <a:pt x="36" y="100"/>
                    </a:lnTo>
                    <a:lnTo>
                      <a:pt x="36" y="100"/>
                    </a:lnTo>
                    <a:lnTo>
                      <a:pt x="32" y="100"/>
                    </a:lnTo>
                    <a:lnTo>
                      <a:pt x="32" y="105"/>
                    </a:lnTo>
                    <a:lnTo>
                      <a:pt x="32" y="105"/>
                    </a:lnTo>
                    <a:lnTo>
                      <a:pt x="27" y="100"/>
                    </a:lnTo>
                    <a:lnTo>
                      <a:pt x="27" y="100"/>
                    </a:lnTo>
                    <a:lnTo>
                      <a:pt x="23" y="100"/>
                    </a:lnTo>
                    <a:lnTo>
                      <a:pt x="23" y="100"/>
                    </a:lnTo>
                    <a:lnTo>
                      <a:pt x="23" y="96"/>
                    </a:lnTo>
                    <a:lnTo>
                      <a:pt x="23" y="96"/>
                    </a:lnTo>
                    <a:lnTo>
                      <a:pt x="18" y="87"/>
                    </a:lnTo>
                    <a:lnTo>
                      <a:pt x="18" y="87"/>
                    </a:lnTo>
                    <a:lnTo>
                      <a:pt x="18" y="82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9" y="87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9" y="77"/>
                    </a:lnTo>
                    <a:lnTo>
                      <a:pt x="9" y="77"/>
                    </a:lnTo>
                    <a:lnTo>
                      <a:pt x="9" y="77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9" y="64"/>
                    </a:lnTo>
                    <a:lnTo>
                      <a:pt x="9" y="64"/>
                    </a:lnTo>
                    <a:lnTo>
                      <a:pt x="9" y="59"/>
                    </a:lnTo>
                    <a:lnTo>
                      <a:pt x="9" y="55"/>
                    </a:lnTo>
                    <a:lnTo>
                      <a:pt x="9" y="55"/>
                    </a:lnTo>
                    <a:lnTo>
                      <a:pt x="9" y="50"/>
                    </a:lnTo>
                    <a:lnTo>
                      <a:pt x="5" y="46"/>
                    </a:lnTo>
                    <a:lnTo>
                      <a:pt x="5" y="46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0" y="37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5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7" y="0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50" y="9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9" y="9"/>
                    </a:lnTo>
                    <a:lnTo>
                      <a:pt x="68" y="14"/>
                    </a:lnTo>
                    <a:lnTo>
                      <a:pt x="73" y="1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0" name="Freeform 48"/>
              <p:cNvSpPr>
                <a:spLocks/>
              </p:cNvSpPr>
              <p:nvPr/>
            </p:nvSpPr>
            <p:spPr bwMode="auto">
              <a:xfrm>
                <a:off x="3341688" y="1685925"/>
                <a:ext cx="201613" cy="330200"/>
              </a:xfrm>
              <a:custGeom>
                <a:avLst/>
                <a:gdLst>
                  <a:gd name="T0" fmla="*/ 18 w 127"/>
                  <a:gd name="T1" fmla="*/ 177 h 208"/>
                  <a:gd name="T2" fmla="*/ 18 w 127"/>
                  <a:gd name="T3" fmla="*/ 163 h 208"/>
                  <a:gd name="T4" fmla="*/ 27 w 127"/>
                  <a:gd name="T5" fmla="*/ 149 h 208"/>
                  <a:gd name="T6" fmla="*/ 36 w 127"/>
                  <a:gd name="T7" fmla="*/ 100 h 208"/>
                  <a:gd name="T8" fmla="*/ 32 w 127"/>
                  <a:gd name="T9" fmla="*/ 81 h 208"/>
                  <a:gd name="T10" fmla="*/ 13 w 127"/>
                  <a:gd name="T11" fmla="*/ 77 h 208"/>
                  <a:gd name="T12" fmla="*/ 4 w 127"/>
                  <a:gd name="T13" fmla="*/ 81 h 208"/>
                  <a:gd name="T14" fmla="*/ 0 w 127"/>
                  <a:gd name="T15" fmla="*/ 72 h 208"/>
                  <a:gd name="T16" fmla="*/ 0 w 127"/>
                  <a:gd name="T17" fmla="*/ 63 h 208"/>
                  <a:gd name="T18" fmla="*/ 9 w 127"/>
                  <a:gd name="T19" fmla="*/ 68 h 208"/>
                  <a:gd name="T20" fmla="*/ 27 w 127"/>
                  <a:gd name="T21" fmla="*/ 45 h 208"/>
                  <a:gd name="T22" fmla="*/ 32 w 127"/>
                  <a:gd name="T23" fmla="*/ 36 h 208"/>
                  <a:gd name="T24" fmla="*/ 23 w 127"/>
                  <a:gd name="T25" fmla="*/ 9 h 208"/>
                  <a:gd name="T26" fmla="*/ 32 w 127"/>
                  <a:gd name="T27" fmla="*/ 4 h 208"/>
                  <a:gd name="T28" fmla="*/ 36 w 127"/>
                  <a:gd name="T29" fmla="*/ 4 h 208"/>
                  <a:gd name="T30" fmla="*/ 63 w 127"/>
                  <a:gd name="T31" fmla="*/ 4 h 208"/>
                  <a:gd name="T32" fmla="*/ 72 w 127"/>
                  <a:gd name="T33" fmla="*/ 0 h 208"/>
                  <a:gd name="T34" fmla="*/ 81 w 127"/>
                  <a:gd name="T35" fmla="*/ 9 h 208"/>
                  <a:gd name="T36" fmla="*/ 86 w 127"/>
                  <a:gd name="T37" fmla="*/ 9 h 208"/>
                  <a:gd name="T38" fmla="*/ 91 w 127"/>
                  <a:gd name="T39" fmla="*/ 9 h 208"/>
                  <a:gd name="T40" fmla="*/ 100 w 127"/>
                  <a:gd name="T41" fmla="*/ 9 h 208"/>
                  <a:gd name="T42" fmla="*/ 109 w 127"/>
                  <a:gd name="T43" fmla="*/ 4 h 208"/>
                  <a:gd name="T44" fmla="*/ 118 w 127"/>
                  <a:gd name="T45" fmla="*/ 0 h 208"/>
                  <a:gd name="T46" fmla="*/ 122 w 127"/>
                  <a:gd name="T47" fmla="*/ 0 h 208"/>
                  <a:gd name="T48" fmla="*/ 122 w 127"/>
                  <a:gd name="T49" fmla="*/ 4 h 208"/>
                  <a:gd name="T50" fmla="*/ 122 w 127"/>
                  <a:gd name="T51" fmla="*/ 9 h 208"/>
                  <a:gd name="T52" fmla="*/ 127 w 127"/>
                  <a:gd name="T53" fmla="*/ 13 h 208"/>
                  <a:gd name="T54" fmla="*/ 122 w 127"/>
                  <a:gd name="T55" fmla="*/ 22 h 208"/>
                  <a:gd name="T56" fmla="*/ 122 w 127"/>
                  <a:gd name="T57" fmla="*/ 32 h 208"/>
                  <a:gd name="T58" fmla="*/ 113 w 127"/>
                  <a:gd name="T59" fmla="*/ 41 h 208"/>
                  <a:gd name="T60" fmla="*/ 113 w 127"/>
                  <a:gd name="T61" fmla="*/ 45 h 208"/>
                  <a:gd name="T62" fmla="*/ 113 w 127"/>
                  <a:gd name="T63" fmla="*/ 50 h 208"/>
                  <a:gd name="T64" fmla="*/ 113 w 127"/>
                  <a:gd name="T65" fmla="*/ 59 h 208"/>
                  <a:gd name="T66" fmla="*/ 113 w 127"/>
                  <a:gd name="T67" fmla="*/ 72 h 208"/>
                  <a:gd name="T68" fmla="*/ 118 w 127"/>
                  <a:gd name="T69" fmla="*/ 77 h 208"/>
                  <a:gd name="T70" fmla="*/ 113 w 127"/>
                  <a:gd name="T71" fmla="*/ 81 h 208"/>
                  <a:gd name="T72" fmla="*/ 109 w 127"/>
                  <a:gd name="T73" fmla="*/ 81 h 208"/>
                  <a:gd name="T74" fmla="*/ 113 w 127"/>
                  <a:gd name="T75" fmla="*/ 91 h 208"/>
                  <a:gd name="T76" fmla="*/ 109 w 127"/>
                  <a:gd name="T77" fmla="*/ 95 h 208"/>
                  <a:gd name="T78" fmla="*/ 109 w 127"/>
                  <a:gd name="T79" fmla="*/ 104 h 208"/>
                  <a:gd name="T80" fmla="*/ 109 w 127"/>
                  <a:gd name="T81" fmla="*/ 113 h 208"/>
                  <a:gd name="T82" fmla="*/ 104 w 127"/>
                  <a:gd name="T83" fmla="*/ 122 h 208"/>
                  <a:gd name="T84" fmla="*/ 95 w 127"/>
                  <a:gd name="T85" fmla="*/ 140 h 208"/>
                  <a:gd name="T86" fmla="*/ 100 w 127"/>
                  <a:gd name="T87" fmla="*/ 154 h 208"/>
                  <a:gd name="T88" fmla="*/ 104 w 127"/>
                  <a:gd name="T89" fmla="*/ 159 h 208"/>
                  <a:gd name="T90" fmla="*/ 109 w 127"/>
                  <a:gd name="T91" fmla="*/ 163 h 208"/>
                  <a:gd name="T92" fmla="*/ 109 w 127"/>
                  <a:gd name="T93" fmla="*/ 168 h 208"/>
                  <a:gd name="T94" fmla="*/ 109 w 127"/>
                  <a:gd name="T95" fmla="*/ 172 h 208"/>
                  <a:gd name="T96" fmla="*/ 104 w 127"/>
                  <a:gd name="T97" fmla="*/ 177 h 208"/>
                  <a:gd name="T98" fmla="*/ 109 w 127"/>
                  <a:gd name="T99" fmla="*/ 186 h 208"/>
                  <a:gd name="T100" fmla="*/ 109 w 127"/>
                  <a:gd name="T101" fmla="*/ 199 h 208"/>
                  <a:gd name="T102" fmla="*/ 100 w 127"/>
                  <a:gd name="T103" fmla="*/ 204 h 208"/>
                  <a:gd name="T104" fmla="*/ 86 w 127"/>
                  <a:gd name="T105" fmla="*/ 208 h 208"/>
                  <a:gd name="T106" fmla="*/ 72 w 127"/>
                  <a:gd name="T107" fmla="*/ 199 h 208"/>
                  <a:gd name="T108" fmla="*/ 63 w 127"/>
                  <a:gd name="T109" fmla="*/ 190 h 208"/>
                  <a:gd name="T110" fmla="*/ 50 w 127"/>
                  <a:gd name="T111" fmla="*/ 186 h 208"/>
                  <a:gd name="T112" fmla="*/ 41 w 127"/>
                  <a:gd name="T113" fmla="*/ 186 h 208"/>
                  <a:gd name="T114" fmla="*/ 32 w 127"/>
                  <a:gd name="T115" fmla="*/ 177 h 208"/>
                  <a:gd name="T116" fmla="*/ 27 w 127"/>
                  <a:gd name="T117" fmla="*/ 181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7" h="208">
                    <a:moveTo>
                      <a:pt x="27" y="181"/>
                    </a:moveTo>
                    <a:lnTo>
                      <a:pt x="27" y="181"/>
                    </a:lnTo>
                    <a:lnTo>
                      <a:pt x="18" y="177"/>
                    </a:lnTo>
                    <a:lnTo>
                      <a:pt x="18" y="177"/>
                    </a:lnTo>
                    <a:lnTo>
                      <a:pt x="18" y="177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8" y="163"/>
                    </a:lnTo>
                    <a:lnTo>
                      <a:pt x="23" y="159"/>
                    </a:lnTo>
                    <a:lnTo>
                      <a:pt x="23" y="159"/>
                    </a:lnTo>
                    <a:lnTo>
                      <a:pt x="27" y="154"/>
                    </a:lnTo>
                    <a:lnTo>
                      <a:pt x="27" y="149"/>
                    </a:lnTo>
                    <a:lnTo>
                      <a:pt x="32" y="140"/>
                    </a:lnTo>
                    <a:lnTo>
                      <a:pt x="36" y="131"/>
                    </a:lnTo>
                    <a:lnTo>
                      <a:pt x="36" y="109"/>
                    </a:lnTo>
                    <a:lnTo>
                      <a:pt x="36" y="100"/>
                    </a:lnTo>
                    <a:lnTo>
                      <a:pt x="36" y="95"/>
                    </a:lnTo>
                    <a:lnTo>
                      <a:pt x="32" y="91"/>
                    </a:lnTo>
                    <a:lnTo>
                      <a:pt x="32" y="86"/>
                    </a:lnTo>
                    <a:lnTo>
                      <a:pt x="32" y="81"/>
                    </a:lnTo>
                    <a:lnTo>
                      <a:pt x="27" y="77"/>
                    </a:lnTo>
                    <a:lnTo>
                      <a:pt x="23" y="77"/>
                    </a:lnTo>
                    <a:lnTo>
                      <a:pt x="18" y="77"/>
                    </a:lnTo>
                    <a:lnTo>
                      <a:pt x="13" y="77"/>
                    </a:lnTo>
                    <a:lnTo>
                      <a:pt x="13" y="81"/>
                    </a:lnTo>
                    <a:lnTo>
                      <a:pt x="13" y="81"/>
                    </a:lnTo>
                    <a:lnTo>
                      <a:pt x="13" y="81"/>
                    </a:lnTo>
                    <a:lnTo>
                      <a:pt x="4" y="81"/>
                    </a:lnTo>
                    <a:lnTo>
                      <a:pt x="4" y="81"/>
                    </a:lnTo>
                    <a:lnTo>
                      <a:pt x="4" y="77"/>
                    </a:lnTo>
                    <a:lnTo>
                      <a:pt x="0" y="77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4" y="68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18" y="68"/>
                    </a:lnTo>
                    <a:lnTo>
                      <a:pt x="18" y="63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27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59" y="4"/>
                    </a:lnTo>
                    <a:lnTo>
                      <a:pt x="63" y="4"/>
                    </a:lnTo>
                    <a:lnTo>
                      <a:pt x="63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4"/>
                    </a:lnTo>
                    <a:lnTo>
                      <a:pt x="77" y="4"/>
                    </a:lnTo>
                    <a:lnTo>
                      <a:pt x="81" y="9"/>
                    </a:lnTo>
                    <a:lnTo>
                      <a:pt x="81" y="9"/>
                    </a:lnTo>
                    <a:lnTo>
                      <a:pt x="86" y="9"/>
                    </a:lnTo>
                    <a:lnTo>
                      <a:pt x="86" y="9"/>
                    </a:lnTo>
                    <a:lnTo>
                      <a:pt x="86" y="9"/>
                    </a:lnTo>
                    <a:lnTo>
                      <a:pt x="86" y="9"/>
                    </a:lnTo>
                    <a:lnTo>
                      <a:pt x="91" y="9"/>
                    </a:lnTo>
                    <a:lnTo>
                      <a:pt x="91" y="9"/>
                    </a:lnTo>
                    <a:lnTo>
                      <a:pt x="91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100" y="9"/>
                    </a:lnTo>
                    <a:lnTo>
                      <a:pt x="100" y="9"/>
                    </a:lnTo>
                    <a:lnTo>
                      <a:pt x="100" y="9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9" y="4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13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7" y="9"/>
                    </a:lnTo>
                    <a:lnTo>
                      <a:pt x="127" y="13"/>
                    </a:lnTo>
                    <a:lnTo>
                      <a:pt x="127" y="13"/>
                    </a:lnTo>
                    <a:lnTo>
                      <a:pt x="127" y="18"/>
                    </a:lnTo>
                    <a:lnTo>
                      <a:pt x="122" y="18"/>
                    </a:lnTo>
                    <a:lnTo>
                      <a:pt x="122" y="18"/>
                    </a:lnTo>
                    <a:lnTo>
                      <a:pt x="122" y="22"/>
                    </a:lnTo>
                    <a:lnTo>
                      <a:pt x="122" y="22"/>
                    </a:lnTo>
                    <a:lnTo>
                      <a:pt x="122" y="27"/>
                    </a:lnTo>
                    <a:lnTo>
                      <a:pt x="122" y="27"/>
                    </a:lnTo>
                    <a:lnTo>
                      <a:pt x="122" y="32"/>
                    </a:lnTo>
                    <a:lnTo>
                      <a:pt x="118" y="32"/>
                    </a:lnTo>
                    <a:lnTo>
                      <a:pt x="118" y="36"/>
                    </a:lnTo>
                    <a:lnTo>
                      <a:pt x="118" y="36"/>
                    </a:lnTo>
                    <a:lnTo>
                      <a:pt x="113" y="41"/>
                    </a:lnTo>
                    <a:lnTo>
                      <a:pt x="113" y="41"/>
                    </a:lnTo>
                    <a:lnTo>
                      <a:pt x="113" y="41"/>
                    </a:lnTo>
                    <a:lnTo>
                      <a:pt x="118" y="41"/>
                    </a:lnTo>
                    <a:lnTo>
                      <a:pt x="113" y="45"/>
                    </a:lnTo>
                    <a:lnTo>
                      <a:pt x="113" y="45"/>
                    </a:lnTo>
                    <a:lnTo>
                      <a:pt x="113" y="45"/>
                    </a:lnTo>
                    <a:lnTo>
                      <a:pt x="113" y="50"/>
                    </a:lnTo>
                    <a:lnTo>
                      <a:pt x="113" y="50"/>
                    </a:lnTo>
                    <a:lnTo>
                      <a:pt x="113" y="54"/>
                    </a:lnTo>
                    <a:lnTo>
                      <a:pt x="113" y="54"/>
                    </a:lnTo>
                    <a:lnTo>
                      <a:pt x="113" y="54"/>
                    </a:lnTo>
                    <a:lnTo>
                      <a:pt x="113" y="59"/>
                    </a:lnTo>
                    <a:lnTo>
                      <a:pt x="113" y="63"/>
                    </a:lnTo>
                    <a:lnTo>
                      <a:pt x="113" y="68"/>
                    </a:lnTo>
                    <a:lnTo>
                      <a:pt x="113" y="68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18" y="77"/>
                    </a:lnTo>
                    <a:lnTo>
                      <a:pt x="118" y="77"/>
                    </a:lnTo>
                    <a:lnTo>
                      <a:pt x="118" y="77"/>
                    </a:lnTo>
                    <a:lnTo>
                      <a:pt x="113" y="81"/>
                    </a:lnTo>
                    <a:lnTo>
                      <a:pt x="113" y="81"/>
                    </a:lnTo>
                    <a:lnTo>
                      <a:pt x="113" y="81"/>
                    </a:lnTo>
                    <a:lnTo>
                      <a:pt x="113" y="81"/>
                    </a:lnTo>
                    <a:lnTo>
                      <a:pt x="109" y="81"/>
                    </a:lnTo>
                    <a:lnTo>
                      <a:pt x="109" y="81"/>
                    </a:lnTo>
                    <a:lnTo>
                      <a:pt x="109" y="81"/>
                    </a:lnTo>
                    <a:lnTo>
                      <a:pt x="109" y="81"/>
                    </a:lnTo>
                    <a:lnTo>
                      <a:pt x="109" y="86"/>
                    </a:lnTo>
                    <a:lnTo>
                      <a:pt x="109" y="86"/>
                    </a:lnTo>
                    <a:lnTo>
                      <a:pt x="109" y="86"/>
                    </a:lnTo>
                    <a:lnTo>
                      <a:pt x="113" y="91"/>
                    </a:lnTo>
                    <a:lnTo>
                      <a:pt x="113" y="91"/>
                    </a:lnTo>
                    <a:lnTo>
                      <a:pt x="113" y="91"/>
                    </a:lnTo>
                    <a:lnTo>
                      <a:pt x="113" y="91"/>
                    </a:lnTo>
                    <a:lnTo>
                      <a:pt x="109" y="95"/>
                    </a:lnTo>
                    <a:lnTo>
                      <a:pt x="109" y="95"/>
                    </a:lnTo>
                    <a:lnTo>
                      <a:pt x="109" y="100"/>
                    </a:lnTo>
                    <a:lnTo>
                      <a:pt x="109" y="104"/>
                    </a:lnTo>
                    <a:lnTo>
                      <a:pt x="109" y="104"/>
                    </a:lnTo>
                    <a:lnTo>
                      <a:pt x="113" y="104"/>
                    </a:lnTo>
                    <a:lnTo>
                      <a:pt x="113" y="109"/>
                    </a:lnTo>
                    <a:lnTo>
                      <a:pt x="113" y="109"/>
                    </a:lnTo>
                    <a:lnTo>
                      <a:pt x="109" y="113"/>
                    </a:lnTo>
                    <a:lnTo>
                      <a:pt x="109" y="113"/>
                    </a:lnTo>
                    <a:lnTo>
                      <a:pt x="104" y="118"/>
                    </a:lnTo>
                    <a:lnTo>
                      <a:pt x="104" y="122"/>
                    </a:lnTo>
                    <a:lnTo>
                      <a:pt x="104" y="122"/>
                    </a:lnTo>
                    <a:lnTo>
                      <a:pt x="100" y="127"/>
                    </a:lnTo>
                    <a:lnTo>
                      <a:pt x="100" y="136"/>
                    </a:lnTo>
                    <a:lnTo>
                      <a:pt x="95" y="140"/>
                    </a:lnTo>
                    <a:lnTo>
                      <a:pt x="95" y="140"/>
                    </a:lnTo>
                    <a:lnTo>
                      <a:pt x="95" y="145"/>
                    </a:lnTo>
                    <a:lnTo>
                      <a:pt x="100" y="149"/>
                    </a:lnTo>
                    <a:lnTo>
                      <a:pt x="100" y="154"/>
                    </a:lnTo>
                    <a:lnTo>
                      <a:pt x="100" y="154"/>
                    </a:lnTo>
                    <a:lnTo>
                      <a:pt x="100" y="154"/>
                    </a:lnTo>
                    <a:lnTo>
                      <a:pt x="104" y="159"/>
                    </a:lnTo>
                    <a:lnTo>
                      <a:pt x="104" y="159"/>
                    </a:lnTo>
                    <a:lnTo>
                      <a:pt x="104" y="159"/>
                    </a:lnTo>
                    <a:lnTo>
                      <a:pt x="104" y="159"/>
                    </a:lnTo>
                    <a:lnTo>
                      <a:pt x="104" y="159"/>
                    </a:lnTo>
                    <a:lnTo>
                      <a:pt x="109" y="163"/>
                    </a:lnTo>
                    <a:lnTo>
                      <a:pt x="109" y="163"/>
                    </a:lnTo>
                    <a:lnTo>
                      <a:pt x="109" y="163"/>
                    </a:lnTo>
                    <a:lnTo>
                      <a:pt x="109" y="168"/>
                    </a:lnTo>
                    <a:lnTo>
                      <a:pt x="109" y="168"/>
                    </a:lnTo>
                    <a:lnTo>
                      <a:pt x="109" y="168"/>
                    </a:lnTo>
                    <a:lnTo>
                      <a:pt x="109" y="168"/>
                    </a:lnTo>
                    <a:lnTo>
                      <a:pt x="109" y="168"/>
                    </a:lnTo>
                    <a:lnTo>
                      <a:pt x="109" y="172"/>
                    </a:lnTo>
                    <a:lnTo>
                      <a:pt x="109" y="172"/>
                    </a:lnTo>
                    <a:lnTo>
                      <a:pt x="109" y="172"/>
                    </a:lnTo>
                    <a:lnTo>
                      <a:pt x="104" y="177"/>
                    </a:lnTo>
                    <a:lnTo>
                      <a:pt x="104" y="177"/>
                    </a:lnTo>
                    <a:lnTo>
                      <a:pt x="104" y="177"/>
                    </a:lnTo>
                    <a:lnTo>
                      <a:pt x="104" y="181"/>
                    </a:lnTo>
                    <a:lnTo>
                      <a:pt x="109" y="181"/>
                    </a:lnTo>
                    <a:lnTo>
                      <a:pt x="109" y="181"/>
                    </a:lnTo>
                    <a:lnTo>
                      <a:pt x="109" y="186"/>
                    </a:lnTo>
                    <a:lnTo>
                      <a:pt x="109" y="186"/>
                    </a:lnTo>
                    <a:lnTo>
                      <a:pt x="109" y="186"/>
                    </a:lnTo>
                    <a:lnTo>
                      <a:pt x="109" y="190"/>
                    </a:lnTo>
                    <a:lnTo>
                      <a:pt x="109" y="199"/>
                    </a:lnTo>
                    <a:lnTo>
                      <a:pt x="104" y="199"/>
                    </a:lnTo>
                    <a:lnTo>
                      <a:pt x="104" y="199"/>
                    </a:lnTo>
                    <a:lnTo>
                      <a:pt x="100" y="199"/>
                    </a:lnTo>
                    <a:lnTo>
                      <a:pt x="100" y="204"/>
                    </a:lnTo>
                    <a:lnTo>
                      <a:pt x="95" y="204"/>
                    </a:lnTo>
                    <a:lnTo>
                      <a:pt x="86" y="208"/>
                    </a:lnTo>
                    <a:lnTo>
                      <a:pt x="86" y="208"/>
                    </a:lnTo>
                    <a:lnTo>
                      <a:pt x="86" y="208"/>
                    </a:lnTo>
                    <a:lnTo>
                      <a:pt x="81" y="208"/>
                    </a:lnTo>
                    <a:lnTo>
                      <a:pt x="77" y="204"/>
                    </a:lnTo>
                    <a:lnTo>
                      <a:pt x="77" y="204"/>
                    </a:lnTo>
                    <a:lnTo>
                      <a:pt x="72" y="199"/>
                    </a:lnTo>
                    <a:lnTo>
                      <a:pt x="72" y="195"/>
                    </a:lnTo>
                    <a:lnTo>
                      <a:pt x="72" y="195"/>
                    </a:lnTo>
                    <a:lnTo>
                      <a:pt x="63" y="190"/>
                    </a:lnTo>
                    <a:lnTo>
                      <a:pt x="63" y="190"/>
                    </a:lnTo>
                    <a:lnTo>
                      <a:pt x="59" y="190"/>
                    </a:lnTo>
                    <a:lnTo>
                      <a:pt x="50" y="190"/>
                    </a:lnTo>
                    <a:lnTo>
                      <a:pt x="50" y="190"/>
                    </a:lnTo>
                    <a:lnTo>
                      <a:pt x="50" y="186"/>
                    </a:lnTo>
                    <a:lnTo>
                      <a:pt x="45" y="186"/>
                    </a:lnTo>
                    <a:lnTo>
                      <a:pt x="45" y="186"/>
                    </a:lnTo>
                    <a:lnTo>
                      <a:pt x="45" y="186"/>
                    </a:lnTo>
                    <a:lnTo>
                      <a:pt x="41" y="186"/>
                    </a:lnTo>
                    <a:lnTo>
                      <a:pt x="41" y="186"/>
                    </a:lnTo>
                    <a:lnTo>
                      <a:pt x="36" y="181"/>
                    </a:lnTo>
                    <a:lnTo>
                      <a:pt x="32" y="177"/>
                    </a:lnTo>
                    <a:lnTo>
                      <a:pt x="32" y="177"/>
                    </a:lnTo>
                    <a:lnTo>
                      <a:pt x="32" y="177"/>
                    </a:lnTo>
                    <a:lnTo>
                      <a:pt x="27" y="177"/>
                    </a:lnTo>
                    <a:lnTo>
                      <a:pt x="27" y="177"/>
                    </a:lnTo>
                    <a:lnTo>
                      <a:pt x="27" y="181"/>
                    </a:lnTo>
                    <a:lnTo>
                      <a:pt x="27" y="181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1" name="Freeform 49"/>
              <p:cNvSpPr>
                <a:spLocks/>
              </p:cNvSpPr>
              <p:nvPr/>
            </p:nvSpPr>
            <p:spPr bwMode="auto">
              <a:xfrm>
                <a:off x="3362326" y="1470025"/>
                <a:ext cx="288925" cy="273050"/>
              </a:xfrm>
              <a:custGeom>
                <a:avLst/>
                <a:gdLst>
                  <a:gd name="T0" fmla="*/ 10 w 182"/>
                  <a:gd name="T1" fmla="*/ 140 h 172"/>
                  <a:gd name="T2" fmla="*/ 5 w 182"/>
                  <a:gd name="T3" fmla="*/ 122 h 172"/>
                  <a:gd name="T4" fmla="*/ 14 w 182"/>
                  <a:gd name="T5" fmla="*/ 109 h 172"/>
                  <a:gd name="T6" fmla="*/ 28 w 182"/>
                  <a:gd name="T7" fmla="*/ 104 h 172"/>
                  <a:gd name="T8" fmla="*/ 41 w 182"/>
                  <a:gd name="T9" fmla="*/ 95 h 172"/>
                  <a:gd name="T10" fmla="*/ 46 w 182"/>
                  <a:gd name="T11" fmla="*/ 72 h 172"/>
                  <a:gd name="T12" fmla="*/ 50 w 182"/>
                  <a:gd name="T13" fmla="*/ 68 h 172"/>
                  <a:gd name="T14" fmla="*/ 55 w 182"/>
                  <a:gd name="T15" fmla="*/ 68 h 172"/>
                  <a:gd name="T16" fmla="*/ 46 w 182"/>
                  <a:gd name="T17" fmla="*/ 54 h 172"/>
                  <a:gd name="T18" fmla="*/ 50 w 182"/>
                  <a:gd name="T19" fmla="*/ 45 h 172"/>
                  <a:gd name="T20" fmla="*/ 50 w 182"/>
                  <a:gd name="T21" fmla="*/ 36 h 172"/>
                  <a:gd name="T22" fmla="*/ 59 w 182"/>
                  <a:gd name="T23" fmla="*/ 45 h 172"/>
                  <a:gd name="T24" fmla="*/ 78 w 182"/>
                  <a:gd name="T25" fmla="*/ 41 h 172"/>
                  <a:gd name="T26" fmla="*/ 78 w 182"/>
                  <a:gd name="T27" fmla="*/ 54 h 172"/>
                  <a:gd name="T28" fmla="*/ 82 w 182"/>
                  <a:gd name="T29" fmla="*/ 81 h 172"/>
                  <a:gd name="T30" fmla="*/ 100 w 182"/>
                  <a:gd name="T31" fmla="*/ 86 h 172"/>
                  <a:gd name="T32" fmla="*/ 100 w 182"/>
                  <a:gd name="T33" fmla="*/ 72 h 172"/>
                  <a:gd name="T34" fmla="*/ 109 w 182"/>
                  <a:gd name="T35" fmla="*/ 72 h 172"/>
                  <a:gd name="T36" fmla="*/ 127 w 182"/>
                  <a:gd name="T37" fmla="*/ 86 h 172"/>
                  <a:gd name="T38" fmla="*/ 137 w 182"/>
                  <a:gd name="T39" fmla="*/ 68 h 172"/>
                  <a:gd name="T40" fmla="*/ 141 w 182"/>
                  <a:gd name="T41" fmla="*/ 54 h 172"/>
                  <a:gd name="T42" fmla="*/ 141 w 182"/>
                  <a:gd name="T43" fmla="*/ 41 h 172"/>
                  <a:gd name="T44" fmla="*/ 132 w 182"/>
                  <a:gd name="T45" fmla="*/ 36 h 172"/>
                  <a:gd name="T46" fmla="*/ 123 w 182"/>
                  <a:gd name="T47" fmla="*/ 45 h 172"/>
                  <a:gd name="T48" fmla="*/ 100 w 182"/>
                  <a:gd name="T49" fmla="*/ 50 h 172"/>
                  <a:gd name="T50" fmla="*/ 91 w 182"/>
                  <a:gd name="T51" fmla="*/ 41 h 172"/>
                  <a:gd name="T52" fmla="*/ 96 w 182"/>
                  <a:gd name="T53" fmla="*/ 27 h 172"/>
                  <a:gd name="T54" fmla="*/ 100 w 182"/>
                  <a:gd name="T55" fmla="*/ 18 h 172"/>
                  <a:gd name="T56" fmla="*/ 105 w 182"/>
                  <a:gd name="T57" fmla="*/ 4 h 172"/>
                  <a:gd name="T58" fmla="*/ 105 w 182"/>
                  <a:gd name="T59" fmla="*/ 0 h 172"/>
                  <a:gd name="T60" fmla="*/ 114 w 182"/>
                  <a:gd name="T61" fmla="*/ 4 h 172"/>
                  <a:gd name="T62" fmla="*/ 123 w 182"/>
                  <a:gd name="T63" fmla="*/ 9 h 172"/>
                  <a:gd name="T64" fmla="*/ 141 w 182"/>
                  <a:gd name="T65" fmla="*/ 22 h 172"/>
                  <a:gd name="T66" fmla="*/ 159 w 182"/>
                  <a:gd name="T67" fmla="*/ 18 h 172"/>
                  <a:gd name="T68" fmla="*/ 159 w 182"/>
                  <a:gd name="T69" fmla="*/ 22 h 172"/>
                  <a:gd name="T70" fmla="*/ 155 w 182"/>
                  <a:gd name="T71" fmla="*/ 41 h 172"/>
                  <a:gd name="T72" fmla="*/ 155 w 182"/>
                  <a:gd name="T73" fmla="*/ 54 h 172"/>
                  <a:gd name="T74" fmla="*/ 155 w 182"/>
                  <a:gd name="T75" fmla="*/ 81 h 172"/>
                  <a:gd name="T76" fmla="*/ 168 w 182"/>
                  <a:gd name="T77" fmla="*/ 131 h 172"/>
                  <a:gd name="T78" fmla="*/ 177 w 182"/>
                  <a:gd name="T79" fmla="*/ 131 h 172"/>
                  <a:gd name="T80" fmla="*/ 173 w 182"/>
                  <a:gd name="T81" fmla="*/ 145 h 172"/>
                  <a:gd name="T82" fmla="*/ 168 w 182"/>
                  <a:gd name="T83" fmla="*/ 149 h 172"/>
                  <a:gd name="T84" fmla="*/ 150 w 182"/>
                  <a:gd name="T85" fmla="*/ 154 h 172"/>
                  <a:gd name="T86" fmla="*/ 141 w 182"/>
                  <a:gd name="T87" fmla="*/ 154 h 172"/>
                  <a:gd name="T88" fmla="*/ 114 w 182"/>
                  <a:gd name="T89" fmla="*/ 172 h 172"/>
                  <a:gd name="T90" fmla="*/ 109 w 182"/>
                  <a:gd name="T91" fmla="*/ 158 h 172"/>
                  <a:gd name="T92" fmla="*/ 114 w 182"/>
                  <a:gd name="T93" fmla="*/ 149 h 172"/>
                  <a:gd name="T94" fmla="*/ 109 w 182"/>
                  <a:gd name="T95" fmla="*/ 140 h 172"/>
                  <a:gd name="T96" fmla="*/ 109 w 182"/>
                  <a:gd name="T97" fmla="*/ 140 h 172"/>
                  <a:gd name="T98" fmla="*/ 109 w 182"/>
                  <a:gd name="T99" fmla="*/ 136 h 172"/>
                  <a:gd name="T100" fmla="*/ 96 w 182"/>
                  <a:gd name="T101" fmla="*/ 140 h 172"/>
                  <a:gd name="T102" fmla="*/ 87 w 182"/>
                  <a:gd name="T103" fmla="*/ 145 h 172"/>
                  <a:gd name="T104" fmla="*/ 78 w 182"/>
                  <a:gd name="T105" fmla="*/ 145 h 172"/>
                  <a:gd name="T106" fmla="*/ 68 w 182"/>
                  <a:gd name="T107" fmla="*/ 145 h 172"/>
                  <a:gd name="T108" fmla="*/ 59 w 182"/>
                  <a:gd name="T109" fmla="*/ 136 h 172"/>
                  <a:gd name="T110" fmla="*/ 46 w 182"/>
                  <a:gd name="T111" fmla="*/ 140 h 172"/>
                  <a:gd name="T112" fmla="*/ 19 w 182"/>
                  <a:gd name="T113" fmla="*/ 14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82" h="172">
                    <a:moveTo>
                      <a:pt x="14" y="145"/>
                    </a:moveTo>
                    <a:lnTo>
                      <a:pt x="14" y="145"/>
                    </a:lnTo>
                    <a:lnTo>
                      <a:pt x="14" y="145"/>
                    </a:lnTo>
                    <a:lnTo>
                      <a:pt x="10" y="145"/>
                    </a:lnTo>
                    <a:lnTo>
                      <a:pt x="10" y="140"/>
                    </a:lnTo>
                    <a:lnTo>
                      <a:pt x="10" y="136"/>
                    </a:lnTo>
                    <a:lnTo>
                      <a:pt x="10" y="131"/>
                    </a:lnTo>
                    <a:lnTo>
                      <a:pt x="10" y="127"/>
                    </a:lnTo>
                    <a:lnTo>
                      <a:pt x="10" y="127"/>
                    </a:lnTo>
                    <a:lnTo>
                      <a:pt x="5" y="122"/>
                    </a:lnTo>
                    <a:lnTo>
                      <a:pt x="0" y="122"/>
                    </a:lnTo>
                    <a:lnTo>
                      <a:pt x="0" y="118"/>
                    </a:lnTo>
                    <a:lnTo>
                      <a:pt x="5" y="118"/>
                    </a:lnTo>
                    <a:lnTo>
                      <a:pt x="14" y="109"/>
                    </a:lnTo>
                    <a:lnTo>
                      <a:pt x="14" y="109"/>
                    </a:lnTo>
                    <a:lnTo>
                      <a:pt x="14" y="104"/>
                    </a:lnTo>
                    <a:lnTo>
                      <a:pt x="19" y="104"/>
                    </a:lnTo>
                    <a:lnTo>
                      <a:pt x="19" y="100"/>
                    </a:lnTo>
                    <a:lnTo>
                      <a:pt x="23" y="100"/>
                    </a:lnTo>
                    <a:lnTo>
                      <a:pt x="28" y="104"/>
                    </a:lnTo>
                    <a:lnTo>
                      <a:pt x="32" y="104"/>
                    </a:lnTo>
                    <a:lnTo>
                      <a:pt x="32" y="100"/>
                    </a:lnTo>
                    <a:lnTo>
                      <a:pt x="41" y="95"/>
                    </a:lnTo>
                    <a:lnTo>
                      <a:pt x="41" y="95"/>
                    </a:lnTo>
                    <a:lnTo>
                      <a:pt x="41" y="95"/>
                    </a:lnTo>
                    <a:lnTo>
                      <a:pt x="46" y="86"/>
                    </a:lnTo>
                    <a:lnTo>
                      <a:pt x="46" y="77"/>
                    </a:lnTo>
                    <a:lnTo>
                      <a:pt x="46" y="77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6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72"/>
                    </a:lnTo>
                    <a:lnTo>
                      <a:pt x="55" y="72"/>
                    </a:lnTo>
                    <a:lnTo>
                      <a:pt x="55" y="72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50" y="59"/>
                    </a:lnTo>
                    <a:lnTo>
                      <a:pt x="46" y="54"/>
                    </a:lnTo>
                    <a:lnTo>
                      <a:pt x="46" y="54"/>
                    </a:lnTo>
                    <a:lnTo>
                      <a:pt x="41" y="50"/>
                    </a:lnTo>
                    <a:lnTo>
                      <a:pt x="46" y="50"/>
                    </a:lnTo>
                    <a:lnTo>
                      <a:pt x="46" y="54"/>
                    </a:lnTo>
                    <a:lnTo>
                      <a:pt x="50" y="50"/>
                    </a:lnTo>
                    <a:lnTo>
                      <a:pt x="50" y="45"/>
                    </a:lnTo>
                    <a:lnTo>
                      <a:pt x="50" y="45"/>
                    </a:lnTo>
                    <a:lnTo>
                      <a:pt x="50" y="45"/>
                    </a:lnTo>
                    <a:lnTo>
                      <a:pt x="50" y="41"/>
                    </a:lnTo>
                    <a:lnTo>
                      <a:pt x="50" y="41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5" y="41"/>
                    </a:lnTo>
                    <a:lnTo>
                      <a:pt x="55" y="41"/>
                    </a:lnTo>
                    <a:lnTo>
                      <a:pt x="59" y="45"/>
                    </a:lnTo>
                    <a:lnTo>
                      <a:pt x="59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8" y="41"/>
                    </a:lnTo>
                    <a:lnTo>
                      <a:pt x="73" y="41"/>
                    </a:lnTo>
                    <a:lnTo>
                      <a:pt x="78" y="41"/>
                    </a:lnTo>
                    <a:lnTo>
                      <a:pt x="78" y="45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78" y="59"/>
                    </a:lnTo>
                    <a:lnTo>
                      <a:pt x="78" y="59"/>
                    </a:lnTo>
                    <a:lnTo>
                      <a:pt x="78" y="63"/>
                    </a:lnTo>
                    <a:lnTo>
                      <a:pt x="82" y="68"/>
                    </a:lnTo>
                    <a:lnTo>
                      <a:pt x="82" y="81"/>
                    </a:lnTo>
                    <a:lnTo>
                      <a:pt x="87" y="86"/>
                    </a:lnTo>
                    <a:lnTo>
                      <a:pt x="87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100" y="86"/>
                    </a:lnTo>
                    <a:lnTo>
                      <a:pt x="105" y="81"/>
                    </a:lnTo>
                    <a:lnTo>
                      <a:pt x="100" y="77"/>
                    </a:lnTo>
                    <a:lnTo>
                      <a:pt x="100" y="77"/>
                    </a:lnTo>
                    <a:lnTo>
                      <a:pt x="100" y="77"/>
                    </a:lnTo>
                    <a:lnTo>
                      <a:pt x="100" y="72"/>
                    </a:lnTo>
                    <a:lnTo>
                      <a:pt x="105" y="72"/>
                    </a:lnTo>
                    <a:lnTo>
                      <a:pt x="105" y="72"/>
                    </a:lnTo>
                    <a:lnTo>
                      <a:pt x="105" y="72"/>
                    </a:lnTo>
                    <a:lnTo>
                      <a:pt x="109" y="68"/>
                    </a:lnTo>
                    <a:lnTo>
                      <a:pt x="109" y="72"/>
                    </a:lnTo>
                    <a:lnTo>
                      <a:pt x="114" y="77"/>
                    </a:lnTo>
                    <a:lnTo>
                      <a:pt x="118" y="77"/>
                    </a:lnTo>
                    <a:lnTo>
                      <a:pt x="118" y="77"/>
                    </a:lnTo>
                    <a:lnTo>
                      <a:pt x="123" y="86"/>
                    </a:lnTo>
                    <a:lnTo>
                      <a:pt x="127" y="86"/>
                    </a:lnTo>
                    <a:lnTo>
                      <a:pt x="127" y="86"/>
                    </a:lnTo>
                    <a:lnTo>
                      <a:pt x="132" y="86"/>
                    </a:lnTo>
                    <a:lnTo>
                      <a:pt x="132" y="86"/>
                    </a:lnTo>
                    <a:lnTo>
                      <a:pt x="132" y="81"/>
                    </a:lnTo>
                    <a:lnTo>
                      <a:pt x="137" y="68"/>
                    </a:lnTo>
                    <a:lnTo>
                      <a:pt x="141" y="68"/>
                    </a:lnTo>
                    <a:lnTo>
                      <a:pt x="141" y="59"/>
                    </a:lnTo>
                    <a:lnTo>
                      <a:pt x="141" y="54"/>
                    </a:lnTo>
                    <a:lnTo>
                      <a:pt x="141" y="54"/>
                    </a:lnTo>
                    <a:lnTo>
                      <a:pt x="141" y="54"/>
                    </a:lnTo>
                    <a:lnTo>
                      <a:pt x="141" y="50"/>
                    </a:lnTo>
                    <a:lnTo>
                      <a:pt x="141" y="50"/>
                    </a:lnTo>
                    <a:lnTo>
                      <a:pt x="141" y="50"/>
                    </a:lnTo>
                    <a:lnTo>
                      <a:pt x="141" y="45"/>
                    </a:lnTo>
                    <a:lnTo>
                      <a:pt x="141" y="41"/>
                    </a:lnTo>
                    <a:lnTo>
                      <a:pt x="137" y="36"/>
                    </a:lnTo>
                    <a:lnTo>
                      <a:pt x="137" y="36"/>
                    </a:lnTo>
                    <a:lnTo>
                      <a:pt x="132" y="31"/>
                    </a:lnTo>
                    <a:lnTo>
                      <a:pt x="132" y="36"/>
                    </a:lnTo>
                    <a:lnTo>
                      <a:pt x="132" y="36"/>
                    </a:lnTo>
                    <a:lnTo>
                      <a:pt x="127" y="36"/>
                    </a:lnTo>
                    <a:lnTo>
                      <a:pt x="127" y="36"/>
                    </a:lnTo>
                    <a:lnTo>
                      <a:pt x="132" y="36"/>
                    </a:lnTo>
                    <a:lnTo>
                      <a:pt x="127" y="41"/>
                    </a:lnTo>
                    <a:lnTo>
                      <a:pt x="123" y="45"/>
                    </a:lnTo>
                    <a:lnTo>
                      <a:pt x="109" y="45"/>
                    </a:lnTo>
                    <a:lnTo>
                      <a:pt x="105" y="45"/>
                    </a:lnTo>
                    <a:lnTo>
                      <a:pt x="105" y="50"/>
                    </a:lnTo>
                    <a:lnTo>
                      <a:pt x="100" y="50"/>
                    </a:lnTo>
                    <a:lnTo>
                      <a:pt x="100" y="50"/>
                    </a:lnTo>
                    <a:lnTo>
                      <a:pt x="96" y="54"/>
                    </a:lnTo>
                    <a:lnTo>
                      <a:pt x="96" y="50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41"/>
                    </a:lnTo>
                    <a:lnTo>
                      <a:pt x="91" y="41"/>
                    </a:lnTo>
                    <a:lnTo>
                      <a:pt x="91" y="36"/>
                    </a:lnTo>
                    <a:lnTo>
                      <a:pt x="96" y="31"/>
                    </a:lnTo>
                    <a:lnTo>
                      <a:pt x="96" y="31"/>
                    </a:lnTo>
                    <a:lnTo>
                      <a:pt x="96" y="27"/>
                    </a:lnTo>
                    <a:lnTo>
                      <a:pt x="96" y="27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5" y="9"/>
                    </a:lnTo>
                    <a:lnTo>
                      <a:pt x="105" y="9"/>
                    </a:lnTo>
                    <a:lnTo>
                      <a:pt x="105" y="4"/>
                    </a:lnTo>
                    <a:lnTo>
                      <a:pt x="105" y="4"/>
                    </a:lnTo>
                    <a:lnTo>
                      <a:pt x="105" y="4"/>
                    </a:lnTo>
                    <a:lnTo>
                      <a:pt x="105" y="4"/>
                    </a:lnTo>
                    <a:lnTo>
                      <a:pt x="105" y="4"/>
                    </a:lnTo>
                    <a:lnTo>
                      <a:pt x="105" y="4"/>
                    </a:lnTo>
                    <a:lnTo>
                      <a:pt x="105" y="0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9" y="4"/>
                    </a:lnTo>
                    <a:lnTo>
                      <a:pt x="114" y="4"/>
                    </a:lnTo>
                    <a:lnTo>
                      <a:pt x="114" y="4"/>
                    </a:lnTo>
                    <a:lnTo>
                      <a:pt x="114" y="4"/>
                    </a:lnTo>
                    <a:lnTo>
                      <a:pt x="114" y="4"/>
                    </a:lnTo>
                    <a:lnTo>
                      <a:pt x="118" y="4"/>
                    </a:lnTo>
                    <a:lnTo>
                      <a:pt x="118" y="4"/>
                    </a:lnTo>
                    <a:lnTo>
                      <a:pt x="123" y="9"/>
                    </a:lnTo>
                    <a:lnTo>
                      <a:pt x="127" y="9"/>
                    </a:lnTo>
                    <a:lnTo>
                      <a:pt x="132" y="13"/>
                    </a:lnTo>
                    <a:lnTo>
                      <a:pt x="132" y="18"/>
                    </a:lnTo>
                    <a:lnTo>
                      <a:pt x="137" y="22"/>
                    </a:lnTo>
                    <a:lnTo>
                      <a:pt x="141" y="22"/>
                    </a:lnTo>
                    <a:lnTo>
                      <a:pt x="146" y="22"/>
                    </a:lnTo>
                    <a:lnTo>
                      <a:pt x="150" y="22"/>
                    </a:lnTo>
                    <a:lnTo>
                      <a:pt x="155" y="22"/>
                    </a:lnTo>
                    <a:lnTo>
                      <a:pt x="155" y="18"/>
                    </a:lnTo>
                    <a:lnTo>
                      <a:pt x="159" y="18"/>
                    </a:lnTo>
                    <a:lnTo>
                      <a:pt x="159" y="13"/>
                    </a:lnTo>
                    <a:lnTo>
                      <a:pt x="159" y="13"/>
                    </a:lnTo>
                    <a:lnTo>
                      <a:pt x="159" y="18"/>
                    </a:lnTo>
                    <a:lnTo>
                      <a:pt x="159" y="18"/>
                    </a:lnTo>
                    <a:lnTo>
                      <a:pt x="159" y="22"/>
                    </a:lnTo>
                    <a:lnTo>
                      <a:pt x="159" y="22"/>
                    </a:lnTo>
                    <a:lnTo>
                      <a:pt x="159" y="22"/>
                    </a:lnTo>
                    <a:lnTo>
                      <a:pt x="159" y="27"/>
                    </a:lnTo>
                    <a:lnTo>
                      <a:pt x="159" y="36"/>
                    </a:lnTo>
                    <a:lnTo>
                      <a:pt x="155" y="41"/>
                    </a:lnTo>
                    <a:lnTo>
                      <a:pt x="155" y="41"/>
                    </a:lnTo>
                    <a:lnTo>
                      <a:pt x="155" y="50"/>
                    </a:lnTo>
                    <a:lnTo>
                      <a:pt x="155" y="50"/>
                    </a:lnTo>
                    <a:lnTo>
                      <a:pt x="155" y="50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9"/>
                    </a:lnTo>
                    <a:lnTo>
                      <a:pt x="155" y="72"/>
                    </a:lnTo>
                    <a:lnTo>
                      <a:pt x="155" y="77"/>
                    </a:lnTo>
                    <a:lnTo>
                      <a:pt x="155" y="81"/>
                    </a:lnTo>
                    <a:lnTo>
                      <a:pt x="159" y="104"/>
                    </a:lnTo>
                    <a:lnTo>
                      <a:pt x="164" y="122"/>
                    </a:lnTo>
                    <a:lnTo>
                      <a:pt x="164" y="122"/>
                    </a:lnTo>
                    <a:lnTo>
                      <a:pt x="164" y="127"/>
                    </a:lnTo>
                    <a:lnTo>
                      <a:pt x="168" y="131"/>
                    </a:lnTo>
                    <a:lnTo>
                      <a:pt x="168" y="131"/>
                    </a:lnTo>
                    <a:lnTo>
                      <a:pt x="173" y="127"/>
                    </a:lnTo>
                    <a:lnTo>
                      <a:pt x="173" y="127"/>
                    </a:lnTo>
                    <a:lnTo>
                      <a:pt x="173" y="127"/>
                    </a:lnTo>
                    <a:lnTo>
                      <a:pt x="177" y="131"/>
                    </a:lnTo>
                    <a:lnTo>
                      <a:pt x="182" y="140"/>
                    </a:lnTo>
                    <a:lnTo>
                      <a:pt x="182" y="140"/>
                    </a:lnTo>
                    <a:lnTo>
                      <a:pt x="173" y="145"/>
                    </a:lnTo>
                    <a:lnTo>
                      <a:pt x="173" y="145"/>
                    </a:lnTo>
                    <a:lnTo>
                      <a:pt x="173" y="145"/>
                    </a:lnTo>
                    <a:lnTo>
                      <a:pt x="173" y="149"/>
                    </a:lnTo>
                    <a:lnTo>
                      <a:pt x="173" y="149"/>
                    </a:lnTo>
                    <a:lnTo>
                      <a:pt x="173" y="149"/>
                    </a:lnTo>
                    <a:lnTo>
                      <a:pt x="168" y="149"/>
                    </a:lnTo>
                    <a:lnTo>
                      <a:pt x="168" y="149"/>
                    </a:lnTo>
                    <a:lnTo>
                      <a:pt x="164" y="149"/>
                    </a:lnTo>
                    <a:lnTo>
                      <a:pt x="164" y="149"/>
                    </a:lnTo>
                    <a:lnTo>
                      <a:pt x="159" y="149"/>
                    </a:lnTo>
                    <a:lnTo>
                      <a:pt x="155" y="154"/>
                    </a:lnTo>
                    <a:lnTo>
                      <a:pt x="150" y="154"/>
                    </a:lnTo>
                    <a:lnTo>
                      <a:pt x="150" y="154"/>
                    </a:lnTo>
                    <a:lnTo>
                      <a:pt x="150" y="154"/>
                    </a:lnTo>
                    <a:lnTo>
                      <a:pt x="146" y="149"/>
                    </a:lnTo>
                    <a:lnTo>
                      <a:pt x="146" y="149"/>
                    </a:lnTo>
                    <a:lnTo>
                      <a:pt x="141" y="154"/>
                    </a:lnTo>
                    <a:lnTo>
                      <a:pt x="123" y="163"/>
                    </a:lnTo>
                    <a:lnTo>
                      <a:pt x="118" y="168"/>
                    </a:lnTo>
                    <a:lnTo>
                      <a:pt x="118" y="172"/>
                    </a:lnTo>
                    <a:lnTo>
                      <a:pt x="118" y="172"/>
                    </a:lnTo>
                    <a:lnTo>
                      <a:pt x="114" y="172"/>
                    </a:lnTo>
                    <a:lnTo>
                      <a:pt x="114" y="168"/>
                    </a:lnTo>
                    <a:lnTo>
                      <a:pt x="109" y="168"/>
                    </a:lnTo>
                    <a:lnTo>
                      <a:pt x="109" y="163"/>
                    </a:lnTo>
                    <a:lnTo>
                      <a:pt x="109" y="163"/>
                    </a:lnTo>
                    <a:lnTo>
                      <a:pt x="109" y="158"/>
                    </a:lnTo>
                    <a:lnTo>
                      <a:pt x="109" y="158"/>
                    </a:lnTo>
                    <a:lnTo>
                      <a:pt x="109" y="154"/>
                    </a:lnTo>
                    <a:lnTo>
                      <a:pt x="109" y="154"/>
                    </a:lnTo>
                    <a:lnTo>
                      <a:pt x="114" y="154"/>
                    </a:lnTo>
                    <a:lnTo>
                      <a:pt x="114" y="149"/>
                    </a:lnTo>
                    <a:lnTo>
                      <a:pt x="114" y="149"/>
                    </a:lnTo>
                    <a:lnTo>
                      <a:pt x="114" y="145"/>
                    </a:lnTo>
                    <a:lnTo>
                      <a:pt x="109" y="145"/>
                    </a:lnTo>
                    <a:lnTo>
                      <a:pt x="109" y="145"/>
                    </a:lnTo>
                    <a:lnTo>
                      <a:pt x="109" y="140"/>
                    </a:lnTo>
                    <a:lnTo>
                      <a:pt x="109" y="140"/>
                    </a:lnTo>
                    <a:lnTo>
                      <a:pt x="109" y="140"/>
                    </a:lnTo>
                    <a:lnTo>
                      <a:pt x="109" y="140"/>
                    </a:lnTo>
                    <a:lnTo>
                      <a:pt x="109" y="140"/>
                    </a:lnTo>
                    <a:lnTo>
                      <a:pt x="109" y="140"/>
                    </a:lnTo>
                    <a:lnTo>
                      <a:pt x="109" y="140"/>
                    </a:lnTo>
                    <a:lnTo>
                      <a:pt x="109" y="136"/>
                    </a:lnTo>
                    <a:lnTo>
                      <a:pt x="109" y="136"/>
                    </a:lnTo>
                    <a:lnTo>
                      <a:pt x="109" y="136"/>
                    </a:lnTo>
                    <a:lnTo>
                      <a:pt x="109" y="136"/>
                    </a:lnTo>
                    <a:lnTo>
                      <a:pt x="105" y="136"/>
                    </a:lnTo>
                    <a:lnTo>
                      <a:pt x="100" y="136"/>
                    </a:lnTo>
                    <a:lnTo>
                      <a:pt x="96" y="136"/>
                    </a:lnTo>
                    <a:lnTo>
                      <a:pt x="96" y="136"/>
                    </a:lnTo>
                    <a:lnTo>
                      <a:pt x="96" y="140"/>
                    </a:lnTo>
                    <a:lnTo>
                      <a:pt x="91" y="140"/>
                    </a:lnTo>
                    <a:lnTo>
                      <a:pt x="91" y="140"/>
                    </a:lnTo>
                    <a:lnTo>
                      <a:pt x="87" y="145"/>
                    </a:lnTo>
                    <a:lnTo>
                      <a:pt x="87" y="145"/>
                    </a:lnTo>
                    <a:lnTo>
                      <a:pt x="87" y="145"/>
                    </a:lnTo>
                    <a:lnTo>
                      <a:pt x="82" y="145"/>
                    </a:lnTo>
                    <a:lnTo>
                      <a:pt x="82" y="145"/>
                    </a:lnTo>
                    <a:lnTo>
                      <a:pt x="78" y="145"/>
                    </a:lnTo>
                    <a:lnTo>
                      <a:pt x="78" y="145"/>
                    </a:lnTo>
                    <a:lnTo>
                      <a:pt x="78" y="145"/>
                    </a:lnTo>
                    <a:lnTo>
                      <a:pt x="73" y="145"/>
                    </a:lnTo>
                    <a:lnTo>
                      <a:pt x="73" y="145"/>
                    </a:lnTo>
                    <a:lnTo>
                      <a:pt x="73" y="145"/>
                    </a:lnTo>
                    <a:lnTo>
                      <a:pt x="73" y="145"/>
                    </a:lnTo>
                    <a:lnTo>
                      <a:pt x="68" y="145"/>
                    </a:lnTo>
                    <a:lnTo>
                      <a:pt x="68" y="145"/>
                    </a:lnTo>
                    <a:lnTo>
                      <a:pt x="64" y="140"/>
                    </a:lnTo>
                    <a:lnTo>
                      <a:pt x="59" y="140"/>
                    </a:lnTo>
                    <a:lnTo>
                      <a:pt x="59" y="136"/>
                    </a:lnTo>
                    <a:lnTo>
                      <a:pt x="59" y="136"/>
                    </a:lnTo>
                    <a:lnTo>
                      <a:pt x="55" y="136"/>
                    </a:lnTo>
                    <a:lnTo>
                      <a:pt x="55" y="136"/>
                    </a:lnTo>
                    <a:lnTo>
                      <a:pt x="50" y="136"/>
                    </a:lnTo>
                    <a:lnTo>
                      <a:pt x="50" y="140"/>
                    </a:lnTo>
                    <a:lnTo>
                      <a:pt x="46" y="140"/>
                    </a:lnTo>
                    <a:lnTo>
                      <a:pt x="28" y="140"/>
                    </a:lnTo>
                    <a:lnTo>
                      <a:pt x="28" y="140"/>
                    </a:lnTo>
                    <a:lnTo>
                      <a:pt x="23" y="140"/>
                    </a:lnTo>
                    <a:lnTo>
                      <a:pt x="23" y="140"/>
                    </a:lnTo>
                    <a:lnTo>
                      <a:pt x="19" y="140"/>
                    </a:lnTo>
                    <a:lnTo>
                      <a:pt x="19" y="140"/>
                    </a:lnTo>
                    <a:lnTo>
                      <a:pt x="19" y="140"/>
                    </a:lnTo>
                    <a:lnTo>
                      <a:pt x="14" y="14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2" name="Freeform 50"/>
              <p:cNvSpPr>
                <a:spLocks/>
              </p:cNvSpPr>
              <p:nvPr/>
            </p:nvSpPr>
            <p:spPr bwMode="auto">
              <a:xfrm>
                <a:off x="3248026" y="2203450"/>
                <a:ext cx="309563" cy="238125"/>
              </a:xfrm>
              <a:custGeom>
                <a:avLst/>
                <a:gdLst>
                  <a:gd name="T0" fmla="*/ 186 w 195"/>
                  <a:gd name="T1" fmla="*/ 9 h 150"/>
                  <a:gd name="T2" fmla="*/ 195 w 195"/>
                  <a:gd name="T3" fmla="*/ 28 h 150"/>
                  <a:gd name="T4" fmla="*/ 195 w 195"/>
                  <a:gd name="T5" fmla="*/ 32 h 150"/>
                  <a:gd name="T6" fmla="*/ 195 w 195"/>
                  <a:gd name="T7" fmla="*/ 37 h 150"/>
                  <a:gd name="T8" fmla="*/ 195 w 195"/>
                  <a:gd name="T9" fmla="*/ 87 h 150"/>
                  <a:gd name="T10" fmla="*/ 195 w 195"/>
                  <a:gd name="T11" fmla="*/ 105 h 150"/>
                  <a:gd name="T12" fmla="*/ 186 w 195"/>
                  <a:gd name="T13" fmla="*/ 132 h 150"/>
                  <a:gd name="T14" fmla="*/ 177 w 195"/>
                  <a:gd name="T15" fmla="*/ 136 h 150"/>
                  <a:gd name="T16" fmla="*/ 172 w 195"/>
                  <a:gd name="T17" fmla="*/ 136 h 150"/>
                  <a:gd name="T18" fmla="*/ 159 w 195"/>
                  <a:gd name="T19" fmla="*/ 141 h 150"/>
                  <a:gd name="T20" fmla="*/ 150 w 195"/>
                  <a:gd name="T21" fmla="*/ 132 h 150"/>
                  <a:gd name="T22" fmla="*/ 145 w 195"/>
                  <a:gd name="T23" fmla="*/ 136 h 150"/>
                  <a:gd name="T24" fmla="*/ 150 w 195"/>
                  <a:gd name="T25" fmla="*/ 141 h 150"/>
                  <a:gd name="T26" fmla="*/ 140 w 195"/>
                  <a:gd name="T27" fmla="*/ 146 h 150"/>
                  <a:gd name="T28" fmla="*/ 131 w 195"/>
                  <a:gd name="T29" fmla="*/ 146 h 150"/>
                  <a:gd name="T30" fmla="*/ 122 w 195"/>
                  <a:gd name="T31" fmla="*/ 136 h 150"/>
                  <a:gd name="T32" fmla="*/ 113 w 195"/>
                  <a:gd name="T33" fmla="*/ 123 h 150"/>
                  <a:gd name="T34" fmla="*/ 113 w 195"/>
                  <a:gd name="T35" fmla="*/ 123 h 150"/>
                  <a:gd name="T36" fmla="*/ 109 w 195"/>
                  <a:gd name="T37" fmla="*/ 118 h 150"/>
                  <a:gd name="T38" fmla="*/ 100 w 195"/>
                  <a:gd name="T39" fmla="*/ 109 h 150"/>
                  <a:gd name="T40" fmla="*/ 77 w 195"/>
                  <a:gd name="T41" fmla="*/ 105 h 150"/>
                  <a:gd name="T42" fmla="*/ 63 w 195"/>
                  <a:gd name="T43" fmla="*/ 114 h 150"/>
                  <a:gd name="T44" fmla="*/ 32 w 195"/>
                  <a:gd name="T45" fmla="*/ 127 h 150"/>
                  <a:gd name="T46" fmla="*/ 13 w 195"/>
                  <a:gd name="T47" fmla="*/ 132 h 150"/>
                  <a:gd name="T48" fmla="*/ 4 w 195"/>
                  <a:gd name="T49" fmla="*/ 127 h 150"/>
                  <a:gd name="T50" fmla="*/ 9 w 195"/>
                  <a:gd name="T51" fmla="*/ 118 h 150"/>
                  <a:gd name="T52" fmla="*/ 9 w 195"/>
                  <a:gd name="T53" fmla="*/ 105 h 150"/>
                  <a:gd name="T54" fmla="*/ 4 w 195"/>
                  <a:gd name="T55" fmla="*/ 100 h 150"/>
                  <a:gd name="T56" fmla="*/ 0 w 195"/>
                  <a:gd name="T57" fmla="*/ 96 h 150"/>
                  <a:gd name="T58" fmla="*/ 4 w 195"/>
                  <a:gd name="T59" fmla="*/ 87 h 150"/>
                  <a:gd name="T60" fmla="*/ 4 w 195"/>
                  <a:gd name="T61" fmla="*/ 73 h 150"/>
                  <a:gd name="T62" fmla="*/ 4 w 195"/>
                  <a:gd name="T63" fmla="*/ 68 h 150"/>
                  <a:gd name="T64" fmla="*/ 18 w 195"/>
                  <a:gd name="T65" fmla="*/ 64 h 150"/>
                  <a:gd name="T66" fmla="*/ 27 w 195"/>
                  <a:gd name="T67" fmla="*/ 59 h 150"/>
                  <a:gd name="T68" fmla="*/ 32 w 195"/>
                  <a:gd name="T69" fmla="*/ 59 h 150"/>
                  <a:gd name="T70" fmla="*/ 41 w 195"/>
                  <a:gd name="T71" fmla="*/ 59 h 150"/>
                  <a:gd name="T72" fmla="*/ 41 w 195"/>
                  <a:gd name="T73" fmla="*/ 46 h 150"/>
                  <a:gd name="T74" fmla="*/ 41 w 195"/>
                  <a:gd name="T75" fmla="*/ 41 h 150"/>
                  <a:gd name="T76" fmla="*/ 54 w 195"/>
                  <a:gd name="T77" fmla="*/ 23 h 150"/>
                  <a:gd name="T78" fmla="*/ 68 w 195"/>
                  <a:gd name="T79" fmla="*/ 19 h 150"/>
                  <a:gd name="T80" fmla="*/ 77 w 195"/>
                  <a:gd name="T81" fmla="*/ 19 h 150"/>
                  <a:gd name="T82" fmla="*/ 82 w 195"/>
                  <a:gd name="T83" fmla="*/ 19 h 150"/>
                  <a:gd name="T84" fmla="*/ 86 w 195"/>
                  <a:gd name="T85" fmla="*/ 28 h 150"/>
                  <a:gd name="T86" fmla="*/ 95 w 195"/>
                  <a:gd name="T87" fmla="*/ 28 h 150"/>
                  <a:gd name="T88" fmla="*/ 100 w 195"/>
                  <a:gd name="T89" fmla="*/ 32 h 150"/>
                  <a:gd name="T90" fmla="*/ 104 w 195"/>
                  <a:gd name="T91" fmla="*/ 28 h 150"/>
                  <a:gd name="T92" fmla="*/ 109 w 195"/>
                  <a:gd name="T93" fmla="*/ 28 h 150"/>
                  <a:gd name="T94" fmla="*/ 113 w 195"/>
                  <a:gd name="T95" fmla="*/ 23 h 150"/>
                  <a:gd name="T96" fmla="*/ 113 w 195"/>
                  <a:gd name="T97" fmla="*/ 9 h 150"/>
                  <a:gd name="T98" fmla="*/ 122 w 195"/>
                  <a:gd name="T99" fmla="*/ 0 h 150"/>
                  <a:gd name="T100" fmla="*/ 136 w 195"/>
                  <a:gd name="T101" fmla="*/ 0 h 150"/>
                  <a:gd name="T102" fmla="*/ 140 w 195"/>
                  <a:gd name="T103" fmla="*/ 9 h 150"/>
                  <a:gd name="T104" fmla="*/ 150 w 195"/>
                  <a:gd name="T105" fmla="*/ 9 h 150"/>
                  <a:gd name="T106" fmla="*/ 159 w 195"/>
                  <a:gd name="T107" fmla="*/ 14 h 150"/>
                  <a:gd name="T108" fmla="*/ 159 w 195"/>
                  <a:gd name="T109" fmla="*/ 19 h 150"/>
                  <a:gd name="T110" fmla="*/ 168 w 195"/>
                  <a:gd name="T111" fmla="*/ 23 h 150"/>
                  <a:gd name="T112" fmla="*/ 172 w 195"/>
                  <a:gd name="T113" fmla="*/ 23 h 150"/>
                  <a:gd name="T114" fmla="*/ 177 w 195"/>
                  <a:gd name="T115" fmla="*/ 14 h 150"/>
                  <a:gd name="T116" fmla="*/ 177 w 195"/>
                  <a:gd name="T117" fmla="*/ 9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95" h="150">
                    <a:moveTo>
                      <a:pt x="177" y="9"/>
                    </a:moveTo>
                    <a:lnTo>
                      <a:pt x="177" y="9"/>
                    </a:lnTo>
                    <a:lnTo>
                      <a:pt x="186" y="9"/>
                    </a:lnTo>
                    <a:lnTo>
                      <a:pt x="186" y="9"/>
                    </a:lnTo>
                    <a:lnTo>
                      <a:pt x="186" y="19"/>
                    </a:lnTo>
                    <a:lnTo>
                      <a:pt x="190" y="23"/>
                    </a:lnTo>
                    <a:lnTo>
                      <a:pt x="190" y="23"/>
                    </a:lnTo>
                    <a:lnTo>
                      <a:pt x="195" y="28"/>
                    </a:lnTo>
                    <a:lnTo>
                      <a:pt x="195" y="28"/>
                    </a:lnTo>
                    <a:lnTo>
                      <a:pt x="195" y="28"/>
                    </a:lnTo>
                    <a:lnTo>
                      <a:pt x="195" y="32"/>
                    </a:lnTo>
                    <a:lnTo>
                      <a:pt x="195" y="32"/>
                    </a:lnTo>
                    <a:lnTo>
                      <a:pt x="195" y="37"/>
                    </a:lnTo>
                    <a:lnTo>
                      <a:pt x="195" y="37"/>
                    </a:lnTo>
                    <a:lnTo>
                      <a:pt x="195" y="37"/>
                    </a:lnTo>
                    <a:lnTo>
                      <a:pt x="195" y="37"/>
                    </a:lnTo>
                    <a:lnTo>
                      <a:pt x="195" y="41"/>
                    </a:lnTo>
                    <a:lnTo>
                      <a:pt x="195" y="73"/>
                    </a:lnTo>
                    <a:lnTo>
                      <a:pt x="195" y="77"/>
                    </a:lnTo>
                    <a:lnTo>
                      <a:pt x="195" y="87"/>
                    </a:lnTo>
                    <a:lnTo>
                      <a:pt x="195" y="91"/>
                    </a:lnTo>
                    <a:lnTo>
                      <a:pt x="195" y="91"/>
                    </a:lnTo>
                    <a:lnTo>
                      <a:pt x="195" y="105"/>
                    </a:lnTo>
                    <a:lnTo>
                      <a:pt x="195" y="105"/>
                    </a:lnTo>
                    <a:lnTo>
                      <a:pt x="190" y="109"/>
                    </a:lnTo>
                    <a:lnTo>
                      <a:pt x="190" y="123"/>
                    </a:lnTo>
                    <a:lnTo>
                      <a:pt x="190" y="127"/>
                    </a:lnTo>
                    <a:lnTo>
                      <a:pt x="186" y="132"/>
                    </a:lnTo>
                    <a:lnTo>
                      <a:pt x="186" y="132"/>
                    </a:lnTo>
                    <a:lnTo>
                      <a:pt x="181" y="132"/>
                    </a:lnTo>
                    <a:lnTo>
                      <a:pt x="177" y="132"/>
                    </a:lnTo>
                    <a:lnTo>
                      <a:pt x="177" y="136"/>
                    </a:lnTo>
                    <a:lnTo>
                      <a:pt x="172" y="136"/>
                    </a:lnTo>
                    <a:lnTo>
                      <a:pt x="172" y="136"/>
                    </a:lnTo>
                    <a:lnTo>
                      <a:pt x="172" y="136"/>
                    </a:lnTo>
                    <a:lnTo>
                      <a:pt x="172" y="136"/>
                    </a:lnTo>
                    <a:lnTo>
                      <a:pt x="172" y="141"/>
                    </a:lnTo>
                    <a:lnTo>
                      <a:pt x="172" y="141"/>
                    </a:lnTo>
                    <a:lnTo>
                      <a:pt x="163" y="141"/>
                    </a:lnTo>
                    <a:lnTo>
                      <a:pt x="159" y="141"/>
                    </a:lnTo>
                    <a:lnTo>
                      <a:pt x="154" y="136"/>
                    </a:lnTo>
                    <a:lnTo>
                      <a:pt x="150" y="136"/>
                    </a:lnTo>
                    <a:lnTo>
                      <a:pt x="150" y="132"/>
                    </a:lnTo>
                    <a:lnTo>
                      <a:pt x="150" y="132"/>
                    </a:lnTo>
                    <a:lnTo>
                      <a:pt x="150" y="132"/>
                    </a:lnTo>
                    <a:lnTo>
                      <a:pt x="150" y="132"/>
                    </a:lnTo>
                    <a:lnTo>
                      <a:pt x="145" y="132"/>
                    </a:lnTo>
                    <a:lnTo>
                      <a:pt x="145" y="136"/>
                    </a:lnTo>
                    <a:lnTo>
                      <a:pt x="145" y="136"/>
                    </a:lnTo>
                    <a:lnTo>
                      <a:pt x="150" y="136"/>
                    </a:lnTo>
                    <a:lnTo>
                      <a:pt x="150" y="141"/>
                    </a:lnTo>
                    <a:lnTo>
                      <a:pt x="150" y="141"/>
                    </a:lnTo>
                    <a:lnTo>
                      <a:pt x="145" y="141"/>
                    </a:lnTo>
                    <a:lnTo>
                      <a:pt x="140" y="146"/>
                    </a:lnTo>
                    <a:lnTo>
                      <a:pt x="140" y="146"/>
                    </a:lnTo>
                    <a:lnTo>
                      <a:pt x="140" y="146"/>
                    </a:lnTo>
                    <a:lnTo>
                      <a:pt x="140" y="150"/>
                    </a:lnTo>
                    <a:lnTo>
                      <a:pt x="136" y="150"/>
                    </a:lnTo>
                    <a:lnTo>
                      <a:pt x="136" y="150"/>
                    </a:lnTo>
                    <a:lnTo>
                      <a:pt x="131" y="146"/>
                    </a:lnTo>
                    <a:lnTo>
                      <a:pt x="127" y="146"/>
                    </a:lnTo>
                    <a:lnTo>
                      <a:pt x="127" y="141"/>
                    </a:lnTo>
                    <a:lnTo>
                      <a:pt x="122" y="141"/>
                    </a:lnTo>
                    <a:lnTo>
                      <a:pt x="122" y="136"/>
                    </a:lnTo>
                    <a:lnTo>
                      <a:pt x="118" y="136"/>
                    </a:lnTo>
                    <a:lnTo>
                      <a:pt x="113" y="132"/>
                    </a:lnTo>
                    <a:lnTo>
                      <a:pt x="113" y="132"/>
                    </a:lnTo>
                    <a:lnTo>
                      <a:pt x="113" y="123"/>
                    </a:lnTo>
                    <a:lnTo>
                      <a:pt x="113" y="123"/>
                    </a:lnTo>
                    <a:lnTo>
                      <a:pt x="113" y="123"/>
                    </a:lnTo>
                    <a:lnTo>
                      <a:pt x="113" y="123"/>
                    </a:lnTo>
                    <a:lnTo>
                      <a:pt x="113" y="123"/>
                    </a:lnTo>
                    <a:lnTo>
                      <a:pt x="109" y="123"/>
                    </a:lnTo>
                    <a:lnTo>
                      <a:pt x="109" y="118"/>
                    </a:lnTo>
                    <a:lnTo>
                      <a:pt x="109" y="118"/>
                    </a:lnTo>
                    <a:lnTo>
                      <a:pt x="109" y="118"/>
                    </a:lnTo>
                    <a:lnTo>
                      <a:pt x="109" y="118"/>
                    </a:lnTo>
                    <a:lnTo>
                      <a:pt x="104" y="114"/>
                    </a:lnTo>
                    <a:lnTo>
                      <a:pt x="104" y="114"/>
                    </a:lnTo>
                    <a:lnTo>
                      <a:pt x="100" y="109"/>
                    </a:lnTo>
                    <a:lnTo>
                      <a:pt x="100" y="109"/>
                    </a:lnTo>
                    <a:lnTo>
                      <a:pt x="82" y="105"/>
                    </a:lnTo>
                    <a:lnTo>
                      <a:pt x="77" y="105"/>
                    </a:lnTo>
                    <a:lnTo>
                      <a:pt x="77" y="105"/>
                    </a:lnTo>
                    <a:lnTo>
                      <a:pt x="72" y="105"/>
                    </a:lnTo>
                    <a:lnTo>
                      <a:pt x="68" y="109"/>
                    </a:lnTo>
                    <a:lnTo>
                      <a:pt x="68" y="114"/>
                    </a:lnTo>
                    <a:lnTo>
                      <a:pt x="63" y="114"/>
                    </a:lnTo>
                    <a:lnTo>
                      <a:pt x="63" y="114"/>
                    </a:lnTo>
                    <a:lnTo>
                      <a:pt x="54" y="118"/>
                    </a:lnTo>
                    <a:lnTo>
                      <a:pt x="36" y="127"/>
                    </a:lnTo>
                    <a:lnTo>
                      <a:pt x="32" y="127"/>
                    </a:lnTo>
                    <a:lnTo>
                      <a:pt x="32" y="127"/>
                    </a:lnTo>
                    <a:lnTo>
                      <a:pt x="27" y="132"/>
                    </a:lnTo>
                    <a:lnTo>
                      <a:pt x="23" y="136"/>
                    </a:lnTo>
                    <a:lnTo>
                      <a:pt x="13" y="132"/>
                    </a:lnTo>
                    <a:lnTo>
                      <a:pt x="9" y="132"/>
                    </a:lnTo>
                    <a:lnTo>
                      <a:pt x="4" y="132"/>
                    </a:lnTo>
                    <a:lnTo>
                      <a:pt x="4" y="132"/>
                    </a:lnTo>
                    <a:lnTo>
                      <a:pt x="4" y="127"/>
                    </a:lnTo>
                    <a:lnTo>
                      <a:pt x="9" y="127"/>
                    </a:lnTo>
                    <a:lnTo>
                      <a:pt x="9" y="123"/>
                    </a:lnTo>
                    <a:lnTo>
                      <a:pt x="9" y="118"/>
                    </a:lnTo>
                    <a:lnTo>
                      <a:pt x="9" y="118"/>
                    </a:lnTo>
                    <a:lnTo>
                      <a:pt x="9" y="109"/>
                    </a:lnTo>
                    <a:lnTo>
                      <a:pt x="9" y="109"/>
                    </a:lnTo>
                    <a:lnTo>
                      <a:pt x="9" y="105"/>
                    </a:lnTo>
                    <a:lnTo>
                      <a:pt x="9" y="105"/>
                    </a:lnTo>
                    <a:lnTo>
                      <a:pt x="9" y="105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91"/>
                    </a:lnTo>
                    <a:lnTo>
                      <a:pt x="4" y="87"/>
                    </a:lnTo>
                    <a:lnTo>
                      <a:pt x="4" y="87"/>
                    </a:lnTo>
                    <a:lnTo>
                      <a:pt x="4" y="77"/>
                    </a:lnTo>
                    <a:lnTo>
                      <a:pt x="4" y="77"/>
                    </a:lnTo>
                    <a:lnTo>
                      <a:pt x="4" y="73"/>
                    </a:lnTo>
                    <a:lnTo>
                      <a:pt x="4" y="73"/>
                    </a:lnTo>
                    <a:lnTo>
                      <a:pt x="4" y="73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9" y="64"/>
                    </a:lnTo>
                    <a:lnTo>
                      <a:pt x="9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3" y="64"/>
                    </a:lnTo>
                    <a:lnTo>
                      <a:pt x="23" y="64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32" y="59"/>
                    </a:lnTo>
                    <a:lnTo>
                      <a:pt x="32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5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41" y="46"/>
                    </a:lnTo>
                    <a:lnTo>
                      <a:pt x="41" y="46"/>
                    </a:lnTo>
                    <a:lnTo>
                      <a:pt x="41" y="46"/>
                    </a:lnTo>
                    <a:lnTo>
                      <a:pt x="41" y="46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45" y="37"/>
                    </a:lnTo>
                    <a:lnTo>
                      <a:pt x="54" y="23"/>
                    </a:lnTo>
                    <a:lnTo>
                      <a:pt x="54" y="23"/>
                    </a:lnTo>
                    <a:lnTo>
                      <a:pt x="59" y="19"/>
                    </a:lnTo>
                    <a:lnTo>
                      <a:pt x="63" y="19"/>
                    </a:lnTo>
                    <a:lnTo>
                      <a:pt x="63" y="19"/>
                    </a:lnTo>
                    <a:lnTo>
                      <a:pt x="68" y="19"/>
                    </a:lnTo>
                    <a:lnTo>
                      <a:pt x="68" y="19"/>
                    </a:lnTo>
                    <a:lnTo>
                      <a:pt x="68" y="19"/>
                    </a:lnTo>
                    <a:lnTo>
                      <a:pt x="72" y="19"/>
                    </a:lnTo>
                    <a:lnTo>
                      <a:pt x="77" y="19"/>
                    </a:lnTo>
                    <a:lnTo>
                      <a:pt x="77" y="19"/>
                    </a:lnTo>
                    <a:lnTo>
                      <a:pt x="77" y="19"/>
                    </a:lnTo>
                    <a:lnTo>
                      <a:pt x="82" y="19"/>
                    </a:lnTo>
                    <a:lnTo>
                      <a:pt x="82" y="19"/>
                    </a:lnTo>
                    <a:lnTo>
                      <a:pt x="82" y="19"/>
                    </a:lnTo>
                    <a:lnTo>
                      <a:pt x="86" y="23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91" y="28"/>
                    </a:lnTo>
                    <a:lnTo>
                      <a:pt x="91" y="28"/>
                    </a:lnTo>
                    <a:lnTo>
                      <a:pt x="95" y="28"/>
                    </a:lnTo>
                    <a:lnTo>
                      <a:pt x="95" y="28"/>
                    </a:lnTo>
                    <a:lnTo>
                      <a:pt x="95" y="28"/>
                    </a:lnTo>
                    <a:lnTo>
                      <a:pt x="100" y="28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4" y="28"/>
                    </a:lnTo>
                    <a:lnTo>
                      <a:pt x="104" y="28"/>
                    </a:lnTo>
                    <a:lnTo>
                      <a:pt x="104" y="28"/>
                    </a:lnTo>
                    <a:lnTo>
                      <a:pt x="109" y="28"/>
                    </a:lnTo>
                    <a:lnTo>
                      <a:pt x="109" y="28"/>
                    </a:lnTo>
                    <a:lnTo>
                      <a:pt x="109" y="28"/>
                    </a:lnTo>
                    <a:lnTo>
                      <a:pt x="109" y="28"/>
                    </a:lnTo>
                    <a:lnTo>
                      <a:pt x="113" y="28"/>
                    </a:lnTo>
                    <a:lnTo>
                      <a:pt x="113" y="28"/>
                    </a:lnTo>
                    <a:lnTo>
                      <a:pt x="113" y="23"/>
                    </a:lnTo>
                    <a:lnTo>
                      <a:pt x="118" y="23"/>
                    </a:lnTo>
                    <a:lnTo>
                      <a:pt x="118" y="19"/>
                    </a:lnTo>
                    <a:lnTo>
                      <a:pt x="118" y="19"/>
                    </a:lnTo>
                    <a:lnTo>
                      <a:pt x="113" y="9"/>
                    </a:lnTo>
                    <a:lnTo>
                      <a:pt x="118" y="5"/>
                    </a:lnTo>
                    <a:lnTo>
                      <a:pt x="118" y="5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7" y="0"/>
                    </a:lnTo>
                    <a:lnTo>
                      <a:pt x="131" y="0"/>
                    </a:lnTo>
                    <a:lnTo>
                      <a:pt x="136" y="0"/>
                    </a:lnTo>
                    <a:lnTo>
                      <a:pt x="136" y="5"/>
                    </a:lnTo>
                    <a:lnTo>
                      <a:pt x="136" y="5"/>
                    </a:lnTo>
                    <a:lnTo>
                      <a:pt x="140" y="5"/>
                    </a:lnTo>
                    <a:lnTo>
                      <a:pt x="140" y="9"/>
                    </a:lnTo>
                    <a:lnTo>
                      <a:pt x="140" y="9"/>
                    </a:lnTo>
                    <a:lnTo>
                      <a:pt x="140" y="9"/>
                    </a:lnTo>
                    <a:lnTo>
                      <a:pt x="150" y="5"/>
                    </a:lnTo>
                    <a:lnTo>
                      <a:pt x="150" y="9"/>
                    </a:lnTo>
                    <a:lnTo>
                      <a:pt x="154" y="9"/>
                    </a:lnTo>
                    <a:lnTo>
                      <a:pt x="154" y="9"/>
                    </a:lnTo>
                    <a:lnTo>
                      <a:pt x="159" y="9"/>
                    </a:lnTo>
                    <a:lnTo>
                      <a:pt x="159" y="14"/>
                    </a:lnTo>
                    <a:lnTo>
                      <a:pt x="159" y="14"/>
                    </a:lnTo>
                    <a:lnTo>
                      <a:pt x="159" y="19"/>
                    </a:lnTo>
                    <a:lnTo>
                      <a:pt x="159" y="19"/>
                    </a:lnTo>
                    <a:lnTo>
                      <a:pt x="159" y="19"/>
                    </a:lnTo>
                    <a:lnTo>
                      <a:pt x="159" y="19"/>
                    </a:lnTo>
                    <a:lnTo>
                      <a:pt x="163" y="23"/>
                    </a:lnTo>
                    <a:lnTo>
                      <a:pt x="168" y="23"/>
                    </a:lnTo>
                    <a:lnTo>
                      <a:pt x="168" y="23"/>
                    </a:lnTo>
                    <a:lnTo>
                      <a:pt x="168" y="23"/>
                    </a:lnTo>
                    <a:lnTo>
                      <a:pt x="168" y="23"/>
                    </a:lnTo>
                    <a:lnTo>
                      <a:pt x="168" y="23"/>
                    </a:lnTo>
                    <a:lnTo>
                      <a:pt x="172" y="23"/>
                    </a:lnTo>
                    <a:lnTo>
                      <a:pt x="177" y="23"/>
                    </a:lnTo>
                    <a:lnTo>
                      <a:pt x="177" y="19"/>
                    </a:lnTo>
                    <a:lnTo>
                      <a:pt x="177" y="19"/>
                    </a:lnTo>
                    <a:lnTo>
                      <a:pt x="177" y="14"/>
                    </a:lnTo>
                    <a:lnTo>
                      <a:pt x="177" y="14"/>
                    </a:lnTo>
                    <a:lnTo>
                      <a:pt x="177" y="9"/>
                    </a:lnTo>
                    <a:lnTo>
                      <a:pt x="177" y="9"/>
                    </a:lnTo>
                    <a:lnTo>
                      <a:pt x="177" y="9"/>
                    </a:lnTo>
                    <a:lnTo>
                      <a:pt x="177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3" name="Freeform 51"/>
              <p:cNvSpPr>
                <a:spLocks/>
              </p:cNvSpPr>
              <p:nvPr/>
            </p:nvSpPr>
            <p:spPr bwMode="auto">
              <a:xfrm>
                <a:off x="3492501" y="1692275"/>
                <a:ext cx="230188" cy="346075"/>
              </a:xfrm>
              <a:custGeom>
                <a:avLst/>
                <a:gdLst>
                  <a:gd name="T0" fmla="*/ 145 w 145"/>
                  <a:gd name="T1" fmla="*/ 114 h 218"/>
                  <a:gd name="T2" fmla="*/ 132 w 145"/>
                  <a:gd name="T3" fmla="*/ 123 h 218"/>
                  <a:gd name="T4" fmla="*/ 141 w 145"/>
                  <a:gd name="T5" fmla="*/ 123 h 218"/>
                  <a:gd name="T6" fmla="*/ 141 w 145"/>
                  <a:gd name="T7" fmla="*/ 132 h 218"/>
                  <a:gd name="T8" fmla="*/ 136 w 145"/>
                  <a:gd name="T9" fmla="*/ 132 h 218"/>
                  <a:gd name="T10" fmla="*/ 127 w 145"/>
                  <a:gd name="T11" fmla="*/ 141 h 218"/>
                  <a:gd name="T12" fmla="*/ 132 w 145"/>
                  <a:gd name="T13" fmla="*/ 145 h 218"/>
                  <a:gd name="T14" fmla="*/ 127 w 145"/>
                  <a:gd name="T15" fmla="*/ 150 h 218"/>
                  <a:gd name="T16" fmla="*/ 132 w 145"/>
                  <a:gd name="T17" fmla="*/ 155 h 218"/>
                  <a:gd name="T18" fmla="*/ 127 w 145"/>
                  <a:gd name="T19" fmla="*/ 164 h 218"/>
                  <a:gd name="T20" fmla="*/ 123 w 145"/>
                  <a:gd name="T21" fmla="*/ 168 h 218"/>
                  <a:gd name="T22" fmla="*/ 123 w 145"/>
                  <a:gd name="T23" fmla="*/ 177 h 218"/>
                  <a:gd name="T24" fmla="*/ 118 w 145"/>
                  <a:gd name="T25" fmla="*/ 177 h 218"/>
                  <a:gd name="T26" fmla="*/ 114 w 145"/>
                  <a:gd name="T27" fmla="*/ 182 h 218"/>
                  <a:gd name="T28" fmla="*/ 114 w 145"/>
                  <a:gd name="T29" fmla="*/ 186 h 218"/>
                  <a:gd name="T30" fmla="*/ 109 w 145"/>
                  <a:gd name="T31" fmla="*/ 191 h 218"/>
                  <a:gd name="T32" fmla="*/ 104 w 145"/>
                  <a:gd name="T33" fmla="*/ 186 h 218"/>
                  <a:gd name="T34" fmla="*/ 95 w 145"/>
                  <a:gd name="T35" fmla="*/ 191 h 218"/>
                  <a:gd name="T36" fmla="*/ 86 w 145"/>
                  <a:gd name="T37" fmla="*/ 191 h 218"/>
                  <a:gd name="T38" fmla="*/ 86 w 145"/>
                  <a:gd name="T39" fmla="*/ 200 h 218"/>
                  <a:gd name="T40" fmla="*/ 82 w 145"/>
                  <a:gd name="T41" fmla="*/ 209 h 218"/>
                  <a:gd name="T42" fmla="*/ 73 w 145"/>
                  <a:gd name="T43" fmla="*/ 214 h 218"/>
                  <a:gd name="T44" fmla="*/ 68 w 145"/>
                  <a:gd name="T45" fmla="*/ 214 h 218"/>
                  <a:gd name="T46" fmla="*/ 55 w 145"/>
                  <a:gd name="T47" fmla="*/ 218 h 218"/>
                  <a:gd name="T48" fmla="*/ 50 w 145"/>
                  <a:gd name="T49" fmla="*/ 204 h 218"/>
                  <a:gd name="T50" fmla="*/ 36 w 145"/>
                  <a:gd name="T51" fmla="*/ 204 h 218"/>
                  <a:gd name="T52" fmla="*/ 14 w 145"/>
                  <a:gd name="T53" fmla="*/ 186 h 218"/>
                  <a:gd name="T54" fmla="*/ 9 w 145"/>
                  <a:gd name="T55" fmla="*/ 177 h 218"/>
                  <a:gd name="T56" fmla="*/ 14 w 145"/>
                  <a:gd name="T57" fmla="*/ 168 h 218"/>
                  <a:gd name="T58" fmla="*/ 14 w 145"/>
                  <a:gd name="T59" fmla="*/ 159 h 218"/>
                  <a:gd name="T60" fmla="*/ 9 w 145"/>
                  <a:gd name="T61" fmla="*/ 155 h 218"/>
                  <a:gd name="T62" fmla="*/ 0 w 145"/>
                  <a:gd name="T63" fmla="*/ 141 h 218"/>
                  <a:gd name="T64" fmla="*/ 9 w 145"/>
                  <a:gd name="T65" fmla="*/ 118 h 218"/>
                  <a:gd name="T66" fmla="*/ 18 w 145"/>
                  <a:gd name="T67" fmla="*/ 100 h 218"/>
                  <a:gd name="T68" fmla="*/ 18 w 145"/>
                  <a:gd name="T69" fmla="*/ 87 h 218"/>
                  <a:gd name="T70" fmla="*/ 14 w 145"/>
                  <a:gd name="T71" fmla="*/ 82 h 218"/>
                  <a:gd name="T72" fmla="*/ 18 w 145"/>
                  <a:gd name="T73" fmla="*/ 77 h 218"/>
                  <a:gd name="T74" fmla="*/ 18 w 145"/>
                  <a:gd name="T75" fmla="*/ 68 h 218"/>
                  <a:gd name="T76" fmla="*/ 18 w 145"/>
                  <a:gd name="T77" fmla="*/ 50 h 218"/>
                  <a:gd name="T78" fmla="*/ 18 w 145"/>
                  <a:gd name="T79" fmla="*/ 41 h 218"/>
                  <a:gd name="T80" fmla="*/ 23 w 145"/>
                  <a:gd name="T81" fmla="*/ 32 h 218"/>
                  <a:gd name="T82" fmla="*/ 36 w 145"/>
                  <a:gd name="T83" fmla="*/ 32 h 218"/>
                  <a:gd name="T84" fmla="*/ 64 w 145"/>
                  <a:gd name="T85" fmla="*/ 9 h 218"/>
                  <a:gd name="T86" fmla="*/ 82 w 145"/>
                  <a:gd name="T87" fmla="*/ 9 h 218"/>
                  <a:gd name="T88" fmla="*/ 91 w 145"/>
                  <a:gd name="T89" fmla="*/ 9 h 218"/>
                  <a:gd name="T90" fmla="*/ 104 w 145"/>
                  <a:gd name="T91" fmla="*/ 0 h 218"/>
                  <a:gd name="T92" fmla="*/ 114 w 145"/>
                  <a:gd name="T93" fmla="*/ 14 h 218"/>
                  <a:gd name="T94" fmla="*/ 118 w 145"/>
                  <a:gd name="T95" fmla="*/ 28 h 218"/>
                  <a:gd name="T96" fmla="*/ 118 w 145"/>
                  <a:gd name="T97" fmla="*/ 32 h 218"/>
                  <a:gd name="T98" fmla="*/ 118 w 145"/>
                  <a:gd name="T99" fmla="*/ 46 h 218"/>
                  <a:gd name="T100" fmla="*/ 132 w 145"/>
                  <a:gd name="T101" fmla="*/ 55 h 218"/>
                  <a:gd name="T102" fmla="*/ 132 w 145"/>
                  <a:gd name="T103" fmla="*/ 64 h 218"/>
                  <a:gd name="T104" fmla="*/ 132 w 145"/>
                  <a:gd name="T105" fmla="*/ 77 h 218"/>
                  <a:gd name="T106" fmla="*/ 136 w 145"/>
                  <a:gd name="T107" fmla="*/ 91 h 218"/>
                  <a:gd name="T108" fmla="*/ 132 w 145"/>
                  <a:gd name="T109" fmla="*/ 105 h 218"/>
                  <a:gd name="T110" fmla="*/ 141 w 145"/>
                  <a:gd name="T111" fmla="*/ 105 h 218"/>
                  <a:gd name="T112" fmla="*/ 145 w 145"/>
                  <a:gd name="T113" fmla="*/ 114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5" h="218">
                    <a:moveTo>
                      <a:pt x="145" y="114"/>
                    </a:moveTo>
                    <a:lnTo>
                      <a:pt x="145" y="114"/>
                    </a:lnTo>
                    <a:lnTo>
                      <a:pt x="145" y="114"/>
                    </a:lnTo>
                    <a:lnTo>
                      <a:pt x="145" y="114"/>
                    </a:lnTo>
                    <a:lnTo>
                      <a:pt x="145" y="114"/>
                    </a:lnTo>
                    <a:lnTo>
                      <a:pt x="145" y="114"/>
                    </a:lnTo>
                    <a:lnTo>
                      <a:pt x="141" y="118"/>
                    </a:lnTo>
                    <a:lnTo>
                      <a:pt x="141" y="118"/>
                    </a:lnTo>
                    <a:lnTo>
                      <a:pt x="141" y="118"/>
                    </a:lnTo>
                    <a:lnTo>
                      <a:pt x="136" y="123"/>
                    </a:lnTo>
                    <a:lnTo>
                      <a:pt x="136" y="123"/>
                    </a:lnTo>
                    <a:lnTo>
                      <a:pt x="132" y="123"/>
                    </a:lnTo>
                    <a:lnTo>
                      <a:pt x="132" y="127"/>
                    </a:lnTo>
                    <a:lnTo>
                      <a:pt x="136" y="127"/>
                    </a:lnTo>
                    <a:lnTo>
                      <a:pt x="136" y="127"/>
                    </a:lnTo>
                    <a:lnTo>
                      <a:pt x="141" y="127"/>
                    </a:lnTo>
                    <a:lnTo>
                      <a:pt x="141" y="123"/>
                    </a:lnTo>
                    <a:lnTo>
                      <a:pt x="141" y="123"/>
                    </a:lnTo>
                    <a:lnTo>
                      <a:pt x="141" y="123"/>
                    </a:lnTo>
                    <a:lnTo>
                      <a:pt x="141" y="123"/>
                    </a:lnTo>
                    <a:lnTo>
                      <a:pt x="141" y="127"/>
                    </a:lnTo>
                    <a:lnTo>
                      <a:pt x="141" y="127"/>
                    </a:lnTo>
                    <a:lnTo>
                      <a:pt x="141" y="127"/>
                    </a:lnTo>
                    <a:lnTo>
                      <a:pt x="141" y="132"/>
                    </a:lnTo>
                    <a:lnTo>
                      <a:pt x="141" y="132"/>
                    </a:lnTo>
                    <a:lnTo>
                      <a:pt x="136" y="132"/>
                    </a:lnTo>
                    <a:lnTo>
                      <a:pt x="136" y="132"/>
                    </a:lnTo>
                    <a:lnTo>
                      <a:pt x="136" y="132"/>
                    </a:lnTo>
                    <a:lnTo>
                      <a:pt x="136" y="132"/>
                    </a:lnTo>
                    <a:lnTo>
                      <a:pt x="136" y="132"/>
                    </a:lnTo>
                    <a:lnTo>
                      <a:pt x="132" y="136"/>
                    </a:lnTo>
                    <a:lnTo>
                      <a:pt x="132" y="136"/>
                    </a:lnTo>
                    <a:lnTo>
                      <a:pt x="132" y="136"/>
                    </a:lnTo>
                    <a:lnTo>
                      <a:pt x="132" y="136"/>
                    </a:lnTo>
                    <a:lnTo>
                      <a:pt x="132" y="141"/>
                    </a:lnTo>
                    <a:lnTo>
                      <a:pt x="127" y="141"/>
                    </a:lnTo>
                    <a:lnTo>
                      <a:pt x="132" y="145"/>
                    </a:lnTo>
                    <a:lnTo>
                      <a:pt x="132" y="141"/>
                    </a:lnTo>
                    <a:lnTo>
                      <a:pt x="136" y="141"/>
                    </a:lnTo>
                    <a:lnTo>
                      <a:pt x="136" y="141"/>
                    </a:lnTo>
                    <a:lnTo>
                      <a:pt x="136" y="141"/>
                    </a:lnTo>
                    <a:lnTo>
                      <a:pt x="132" y="145"/>
                    </a:lnTo>
                    <a:lnTo>
                      <a:pt x="127" y="145"/>
                    </a:lnTo>
                    <a:lnTo>
                      <a:pt x="132" y="150"/>
                    </a:lnTo>
                    <a:lnTo>
                      <a:pt x="132" y="150"/>
                    </a:lnTo>
                    <a:lnTo>
                      <a:pt x="132" y="150"/>
                    </a:lnTo>
                    <a:lnTo>
                      <a:pt x="132" y="150"/>
                    </a:lnTo>
                    <a:lnTo>
                      <a:pt x="127" y="150"/>
                    </a:lnTo>
                    <a:lnTo>
                      <a:pt x="127" y="150"/>
                    </a:lnTo>
                    <a:lnTo>
                      <a:pt x="127" y="150"/>
                    </a:lnTo>
                    <a:lnTo>
                      <a:pt x="127" y="155"/>
                    </a:lnTo>
                    <a:lnTo>
                      <a:pt x="132" y="155"/>
                    </a:lnTo>
                    <a:lnTo>
                      <a:pt x="132" y="155"/>
                    </a:lnTo>
                    <a:lnTo>
                      <a:pt x="132" y="155"/>
                    </a:lnTo>
                    <a:lnTo>
                      <a:pt x="132" y="155"/>
                    </a:lnTo>
                    <a:lnTo>
                      <a:pt x="132" y="159"/>
                    </a:lnTo>
                    <a:lnTo>
                      <a:pt x="127" y="159"/>
                    </a:lnTo>
                    <a:lnTo>
                      <a:pt x="127" y="159"/>
                    </a:lnTo>
                    <a:lnTo>
                      <a:pt x="127" y="159"/>
                    </a:lnTo>
                    <a:lnTo>
                      <a:pt x="127" y="164"/>
                    </a:lnTo>
                    <a:lnTo>
                      <a:pt x="132" y="159"/>
                    </a:lnTo>
                    <a:lnTo>
                      <a:pt x="127" y="164"/>
                    </a:lnTo>
                    <a:lnTo>
                      <a:pt x="127" y="164"/>
                    </a:lnTo>
                    <a:lnTo>
                      <a:pt x="123" y="164"/>
                    </a:lnTo>
                    <a:lnTo>
                      <a:pt x="123" y="168"/>
                    </a:lnTo>
                    <a:lnTo>
                      <a:pt x="123" y="168"/>
                    </a:lnTo>
                    <a:lnTo>
                      <a:pt x="127" y="173"/>
                    </a:lnTo>
                    <a:lnTo>
                      <a:pt x="127" y="173"/>
                    </a:lnTo>
                    <a:lnTo>
                      <a:pt x="127" y="173"/>
                    </a:lnTo>
                    <a:lnTo>
                      <a:pt x="123" y="173"/>
                    </a:lnTo>
                    <a:lnTo>
                      <a:pt x="118" y="173"/>
                    </a:lnTo>
                    <a:lnTo>
                      <a:pt x="123" y="177"/>
                    </a:lnTo>
                    <a:lnTo>
                      <a:pt x="127" y="177"/>
                    </a:lnTo>
                    <a:lnTo>
                      <a:pt x="123" y="177"/>
                    </a:lnTo>
                    <a:lnTo>
                      <a:pt x="123" y="177"/>
                    </a:lnTo>
                    <a:lnTo>
                      <a:pt x="123" y="177"/>
                    </a:lnTo>
                    <a:lnTo>
                      <a:pt x="118" y="177"/>
                    </a:lnTo>
                    <a:lnTo>
                      <a:pt x="118" y="177"/>
                    </a:lnTo>
                    <a:lnTo>
                      <a:pt x="123" y="182"/>
                    </a:lnTo>
                    <a:lnTo>
                      <a:pt x="123" y="182"/>
                    </a:lnTo>
                    <a:lnTo>
                      <a:pt x="123" y="182"/>
                    </a:lnTo>
                    <a:lnTo>
                      <a:pt x="123" y="182"/>
                    </a:lnTo>
                    <a:lnTo>
                      <a:pt x="118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09" y="182"/>
                    </a:lnTo>
                    <a:lnTo>
                      <a:pt x="109" y="182"/>
                    </a:lnTo>
                    <a:lnTo>
                      <a:pt x="109" y="186"/>
                    </a:lnTo>
                    <a:lnTo>
                      <a:pt x="114" y="186"/>
                    </a:lnTo>
                    <a:lnTo>
                      <a:pt x="114" y="186"/>
                    </a:lnTo>
                    <a:lnTo>
                      <a:pt x="114" y="186"/>
                    </a:lnTo>
                    <a:lnTo>
                      <a:pt x="109" y="186"/>
                    </a:lnTo>
                    <a:lnTo>
                      <a:pt x="109" y="191"/>
                    </a:lnTo>
                    <a:lnTo>
                      <a:pt x="109" y="191"/>
                    </a:lnTo>
                    <a:lnTo>
                      <a:pt x="109" y="191"/>
                    </a:lnTo>
                    <a:lnTo>
                      <a:pt x="109" y="191"/>
                    </a:lnTo>
                    <a:lnTo>
                      <a:pt x="109" y="191"/>
                    </a:lnTo>
                    <a:lnTo>
                      <a:pt x="109" y="191"/>
                    </a:lnTo>
                    <a:lnTo>
                      <a:pt x="109" y="191"/>
                    </a:lnTo>
                    <a:lnTo>
                      <a:pt x="104" y="191"/>
                    </a:lnTo>
                    <a:lnTo>
                      <a:pt x="104" y="186"/>
                    </a:lnTo>
                    <a:lnTo>
                      <a:pt x="104" y="186"/>
                    </a:lnTo>
                    <a:lnTo>
                      <a:pt x="109" y="186"/>
                    </a:lnTo>
                    <a:lnTo>
                      <a:pt x="104" y="186"/>
                    </a:lnTo>
                    <a:lnTo>
                      <a:pt x="100" y="186"/>
                    </a:lnTo>
                    <a:lnTo>
                      <a:pt x="100" y="191"/>
                    </a:lnTo>
                    <a:lnTo>
                      <a:pt x="100" y="191"/>
                    </a:lnTo>
                    <a:lnTo>
                      <a:pt x="95" y="191"/>
                    </a:lnTo>
                    <a:lnTo>
                      <a:pt x="95" y="186"/>
                    </a:lnTo>
                    <a:lnTo>
                      <a:pt x="91" y="186"/>
                    </a:lnTo>
                    <a:lnTo>
                      <a:pt x="91" y="186"/>
                    </a:lnTo>
                    <a:lnTo>
                      <a:pt x="86" y="186"/>
                    </a:lnTo>
                    <a:lnTo>
                      <a:pt x="86" y="191"/>
                    </a:lnTo>
                    <a:lnTo>
                      <a:pt x="86" y="191"/>
                    </a:lnTo>
                    <a:lnTo>
                      <a:pt x="86" y="195"/>
                    </a:lnTo>
                    <a:lnTo>
                      <a:pt x="86" y="195"/>
                    </a:lnTo>
                    <a:lnTo>
                      <a:pt x="86" y="195"/>
                    </a:lnTo>
                    <a:lnTo>
                      <a:pt x="86" y="200"/>
                    </a:lnTo>
                    <a:lnTo>
                      <a:pt x="86" y="200"/>
                    </a:lnTo>
                    <a:lnTo>
                      <a:pt x="86" y="200"/>
                    </a:lnTo>
                    <a:lnTo>
                      <a:pt x="82" y="200"/>
                    </a:lnTo>
                    <a:lnTo>
                      <a:pt x="82" y="200"/>
                    </a:lnTo>
                    <a:lnTo>
                      <a:pt x="82" y="204"/>
                    </a:lnTo>
                    <a:lnTo>
                      <a:pt x="82" y="204"/>
                    </a:lnTo>
                    <a:lnTo>
                      <a:pt x="82" y="204"/>
                    </a:lnTo>
                    <a:lnTo>
                      <a:pt x="82" y="209"/>
                    </a:lnTo>
                    <a:lnTo>
                      <a:pt x="82" y="209"/>
                    </a:lnTo>
                    <a:lnTo>
                      <a:pt x="82" y="209"/>
                    </a:lnTo>
                    <a:lnTo>
                      <a:pt x="82" y="209"/>
                    </a:lnTo>
                    <a:lnTo>
                      <a:pt x="77" y="214"/>
                    </a:lnTo>
                    <a:lnTo>
                      <a:pt x="77" y="214"/>
                    </a:lnTo>
                    <a:lnTo>
                      <a:pt x="73" y="214"/>
                    </a:lnTo>
                    <a:lnTo>
                      <a:pt x="73" y="214"/>
                    </a:lnTo>
                    <a:lnTo>
                      <a:pt x="68" y="209"/>
                    </a:lnTo>
                    <a:lnTo>
                      <a:pt x="68" y="214"/>
                    </a:lnTo>
                    <a:lnTo>
                      <a:pt x="68" y="214"/>
                    </a:lnTo>
                    <a:lnTo>
                      <a:pt x="68" y="214"/>
                    </a:lnTo>
                    <a:lnTo>
                      <a:pt x="68" y="214"/>
                    </a:lnTo>
                    <a:lnTo>
                      <a:pt x="64" y="214"/>
                    </a:lnTo>
                    <a:lnTo>
                      <a:pt x="64" y="218"/>
                    </a:lnTo>
                    <a:lnTo>
                      <a:pt x="59" y="218"/>
                    </a:lnTo>
                    <a:lnTo>
                      <a:pt x="59" y="218"/>
                    </a:lnTo>
                    <a:lnTo>
                      <a:pt x="59" y="218"/>
                    </a:lnTo>
                    <a:lnTo>
                      <a:pt x="55" y="218"/>
                    </a:lnTo>
                    <a:lnTo>
                      <a:pt x="50" y="214"/>
                    </a:lnTo>
                    <a:lnTo>
                      <a:pt x="50" y="214"/>
                    </a:lnTo>
                    <a:lnTo>
                      <a:pt x="50" y="209"/>
                    </a:lnTo>
                    <a:lnTo>
                      <a:pt x="50" y="209"/>
                    </a:lnTo>
                    <a:lnTo>
                      <a:pt x="50" y="209"/>
                    </a:lnTo>
                    <a:lnTo>
                      <a:pt x="50" y="204"/>
                    </a:lnTo>
                    <a:lnTo>
                      <a:pt x="50" y="204"/>
                    </a:lnTo>
                    <a:lnTo>
                      <a:pt x="50" y="204"/>
                    </a:lnTo>
                    <a:lnTo>
                      <a:pt x="50" y="204"/>
                    </a:lnTo>
                    <a:lnTo>
                      <a:pt x="50" y="204"/>
                    </a:lnTo>
                    <a:lnTo>
                      <a:pt x="45" y="204"/>
                    </a:lnTo>
                    <a:lnTo>
                      <a:pt x="36" y="204"/>
                    </a:lnTo>
                    <a:lnTo>
                      <a:pt x="36" y="204"/>
                    </a:lnTo>
                    <a:lnTo>
                      <a:pt x="32" y="204"/>
                    </a:lnTo>
                    <a:lnTo>
                      <a:pt x="27" y="200"/>
                    </a:lnTo>
                    <a:lnTo>
                      <a:pt x="18" y="195"/>
                    </a:lnTo>
                    <a:lnTo>
                      <a:pt x="14" y="195"/>
                    </a:lnTo>
                    <a:lnTo>
                      <a:pt x="14" y="186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77"/>
                    </a:lnTo>
                    <a:lnTo>
                      <a:pt x="14" y="177"/>
                    </a:lnTo>
                    <a:lnTo>
                      <a:pt x="9" y="177"/>
                    </a:lnTo>
                    <a:lnTo>
                      <a:pt x="9" y="173"/>
                    </a:lnTo>
                    <a:lnTo>
                      <a:pt x="9" y="173"/>
                    </a:lnTo>
                    <a:lnTo>
                      <a:pt x="9" y="173"/>
                    </a:lnTo>
                    <a:lnTo>
                      <a:pt x="14" y="168"/>
                    </a:lnTo>
                    <a:lnTo>
                      <a:pt x="14" y="168"/>
                    </a:lnTo>
                    <a:lnTo>
                      <a:pt x="14" y="168"/>
                    </a:lnTo>
                    <a:lnTo>
                      <a:pt x="14" y="164"/>
                    </a:lnTo>
                    <a:lnTo>
                      <a:pt x="14" y="164"/>
                    </a:lnTo>
                    <a:lnTo>
                      <a:pt x="14" y="164"/>
                    </a:lnTo>
                    <a:lnTo>
                      <a:pt x="14" y="164"/>
                    </a:lnTo>
                    <a:lnTo>
                      <a:pt x="14" y="164"/>
                    </a:lnTo>
                    <a:lnTo>
                      <a:pt x="14" y="159"/>
                    </a:lnTo>
                    <a:lnTo>
                      <a:pt x="14" y="159"/>
                    </a:lnTo>
                    <a:lnTo>
                      <a:pt x="14" y="159"/>
                    </a:lnTo>
                    <a:lnTo>
                      <a:pt x="9" y="155"/>
                    </a:lnTo>
                    <a:lnTo>
                      <a:pt x="9" y="155"/>
                    </a:lnTo>
                    <a:lnTo>
                      <a:pt x="9" y="155"/>
                    </a:lnTo>
                    <a:lnTo>
                      <a:pt x="9" y="155"/>
                    </a:lnTo>
                    <a:lnTo>
                      <a:pt x="9" y="155"/>
                    </a:lnTo>
                    <a:lnTo>
                      <a:pt x="5" y="150"/>
                    </a:lnTo>
                    <a:lnTo>
                      <a:pt x="5" y="150"/>
                    </a:lnTo>
                    <a:lnTo>
                      <a:pt x="5" y="150"/>
                    </a:lnTo>
                    <a:lnTo>
                      <a:pt x="5" y="145"/>
                    </a:lnTo>
                    <a:lnTo>
                      <a:pt x="0" y="141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5" y="132"/>
                    </a:lnTo>
                    <a:lnTo>
                      <a:pt x="5" y="123"/>
                    </a:lnTo>
                    <a:lnTo>
                      <a:pt x="9" y="118"/>
                    </a:lnTo>
                    <a:lnTo>
                      <a:pt x="9" y="118"/>
                    </a:lnTo>
                    <a:lnTo>
                      <a:pt x="9" y="114"/>
                    </a:lnTo>
                    <a:lnTo>
                      <a:pt x="14" y="109"/>
                    </a:lnTo>
                    <a:lnTo>
                      <a:pt x="14" y="109"/>
                    </a:lnTo>
                    <a:lnTo>
                      <a:pt x="18" y="105"/>
                    </a:lnTo>
                    <a:lnTo>
                      <a:pt x="18" y="105"/>
                    </a:lnTo>
                    <a:lnTo>
                      <a:pt x="18" y="100"/>
                    </a:lnTo>
                    <a:lnTo>
                      <a:pt x="14" y="100"/>
                    </a:lnTo>
                    <a:lnTo>
                      <a:pt x="14" y="100"/>
                    </a:lnTo>
                    <a:lnTo>
                      <a:pt x="14" y="96"/>
                    </a:lnTo>
                    <a:lnTo>
                      <a:pt x="14" y="91"/>
                    </a:lnTo>
                    <a:lnTo>
                      <a:pt x="14" y="91"/>
                    </a:lnTo>
                    <a:lnTo>
                      <a:pt x="18" y="87"/>
                    </a:lnTo>
                    <a:lnTo>
                      <a:pt x="18" y="87"/>
                    </a:lnTo>
                    <a:lnTo>
                      <a:pt x="18" y="87"/>
                    </a:lnTo>
                    <a:lnTo>
                      <a:pt x="18" y="87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23" y="73"/>
                    </a:lnTo>
                    <a:lnTo>
                      <a:pt x="23" y="73"/>
                    </a:lnTo>
                    <a:lnTo>
                      <a:pt x="23" y="73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59"/>
                    </a:lnTo>
                    <a:lnTo>
                      <a:pt x="18" y="55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23" y="37"/>
                    </a:lnTo>
                    <a:lnTo>
                      <a:pt x="18" y="37"/>
                    </a:lnTo>
                    <a:lnTo>
                      <a:pt x="18" y="37"/>
                    </a:lnTo>
                    <a:lnTo>
                      <a:pt x="18" y="37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3" y="28"/>
                    </a:lnTo>
                    <a:lnTo>
                      <a:pt x="27" y="28"/>
                    </a:lnTo>
                    <a:lnTo>
                      <a:pt x="32" y="28"/>
                    </a:lnTo>
                    <a:lnTo>
                      <a:pt x="32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28"/>
                    </a:lnTo>
                    <a:lnTo>
                      <a:pt x="41" y="23"/>
                    </a:lnTo>
                    <a:lnTo>
                      <a:pt x="59" y="14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3" y="14"/>
                    </a:lnTo>
                    <a:lnTo>
                      <a:pt x="77" y="9"/>
                    </a:lnTo>
                    <a:lnTo>
                      <a:pt x="82" y="9"/>
                    </a:lnTo>
                    <a:lnTo>
                      <a:pt x="82" y="9"/>
                    </a:lnTo>
                    <a:lnTo>
                      <a:pt x="86" y="9"/>
                    </a:lnTo>
                    <a:lnTo>
                      <a:pt x="86" y="9"/>
                    </a:lnTo>
                    <a:lnTo>
                      <a:pt x="91" y="9"/>
                    </a:lnTo>
                    <a:lnTo>
                      <a:pt x="91" y="9"/>
                    </a:lnTo>
                    <a:lnTo>
                      <a:pt x="91" y="9"/>
                    </a:lnTo>
                    <a:lnTo>
                      <a:pt x="91" y="5"/>
                    </a:lnTo>
                    <a:lnTo>
                      <a:pt x="91" y="5"/>
                    </a:lnTo>
                    <a:lnTo>
                      <a:pt x="91" y="5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4" y="0"/>
                    </a:lnTo>
                    <a:lnTo>
                      <a:pt x="104" y="5"/>
                    </a:lnTo>
                    <a:lnTo>
                      <a:pt x="104" y="5"/>
                    </a:lnTo>
                    <a:lnTo>
                      <a:pt x="109" y="5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14" y="14"/>
                    </a:lnTo>
                    <a:lnTo>
                      <a:pt x="114" y="14"/>
                    </a:lnTo>
                    <a:lnTo>
                      <a:pt x="114" y="14"/>
                    </a:lnTo>
                    <a:lnTo>
                      <a:pt x="114" y="18"/>
                    </a:lnTo>
                    <a:lnTo>
                      <a:pt x="114" y="18"/>
                    </a:lnTo>
                    <a:lnTo>
                      <a:pt x="118" y="23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8" y="32"/>
                    </a:lnTo>
                    <a:lnTo>
                      <a:pt x="114" y="32"/>
                    </a:lnTo>
                    <a:lnTo>
                      <a:pt x="118" y="32"/>
                    </a:lnTo>
                    <a:lnTo>
                      <a:pt x="118" y="32"/>
                    </a:lnTo>
                    <a:lnTo>
                      <a:pt x="118" y="37"/>
                    </a:lnTo>
                    <a:lnTo>
                      <a:pt x="123" y="37"/>
                    </a:lnTo>
                    <a:lnTo>
                      <a:pt x="123" y="37"/>
                    </a:lnTo>
                    <a:lnTo>
                      <a:pt x="123" y="41"/>
                    </a:lnTo>
                    <a:lnTo>
                      <a:pt x="118" y="41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23" y="50"/>
                    </a:lnTo>
                    <a:lnTo>
                      <a:pt x="127" y="55"/>
                    </a:lnTo>
                    <a:lnTo>
                      <a:pt x="127" y="55"/>
                    </a:lnTo>
                    <a:lnTo>
                      <a:pt x="132" y="55"/>
                    </a:lnTo>
                    <a:lnTo>
                      <a:pt x="132" y="55"/>
                    </a:lnTo>
                    <a:lnTo>
                      <a:pt x="132" y="59"/>
                    </a:lnTo>
                    <a:lnTo>
                      <a:pt x="132" y="59"/>
                    </a:lnTo>
                    <a:lnTo>
                      <a:pt x="132" y="64"/>
                    </a:lnTo>
                    <a:lnTo>
                      <a:pt x="132" y="64"/>
                    </a:lnTo>
                    <a:lnTo>
                      <a:pt x="132" y="64"/>
                    </a:lnTo>
                    <a:lnTo>
                      <a:pt x="132" y="64"/>
                    </a:lnTo>
                    <a:lnTo>
                      <a:pt x="132" y="68"/>
                    </a:lnTo>
                    <a:lnTo>
                      <a:pt x="132" y="68"/>
                    </a:lnTo>
                    <a:lnTo>
                      <a:pt x="132" y="68"/>
                    </a:lnTo>
                    <a:lnTo>
                      <a:pt x="132" y="73"/>
                    </a:lnTo>
                    <a:lnTo>
                      <a:pt x="132" y="77"/>
                    </a:lnTo>
                    <a:lnTo>
                      <a:pt x="132" y="77"/>
                    </a:lnTo>
                    <a:lnTo>
                      <a:pt x="136" y="87"/>
                    </a:lnTo>
                    <a:lnTo>
                      <a:pt x="136" y="87"/>
                    </a:lnTo>
                    <a:lnTo>
                      <a:pt x="136" y="87"/>
                    </a:lnTo>
                    <a:lnTo>
                      <a:pt x="136" y="87"/>
                    </a:lnTo>
                    <a:lnTo>
                      <a:pt x="136" y="87"/>
                    </a:lnTo>
                    <a:lnTo>
                      <a:pt x="136" y="91"/>
                    </a:lnTo>
                    <a:lnTo>
                      <a:pt x="136" y="91"/>
                    </a:lnTo>
                    <a:lnTo>
                      <a:pt x="136" y="91"/>
                    </a:lnTo>
                    <a:lnTo>
                      <a:pt x="136" y="96"/>
                    </a:lnTo>
                    <a:lnTo>
                      <a:pt x="136" y="100"/>
                    </a:lnTo>
                    <a:lnTo>
                      <a:pt x="136" y="100"/>
                    </a:lnTo>
                    <a:lnTo>
                      <a:pt x="132" y="105"/>
                    </a:lnTo>
                    <a:lnTo>
                      <a:pt x="132" y="105"/>
                    </a:lnTo>
                    <a:lnTo>
                      <a:pt x="132" y="109"/>
                    </a:lnTo>
                    <a:lnTo>
                      <a:pt x="136" y="105"/>
                    </a:lnTo>
                    <a:lnTo>
                      <a:pt x="141" y="105"/>
                    </a:lnTo>
                    <a:lnTo>
                      <a:pt x="141" y="105"/>
                    </a:lnTo>
                    <a:lnTo>
                      <a:pt x="141" y="105"/>
                    </a:lnTo>
                    <a:lnTo>
                      <a:pt x="141" y="105"/>
                    </a:lnTo>
                    <a:lnTo>
                      <a:pt x="141" y="105"/>
                    </a:lnTo>
                    <a:lnTo>
                      <a:pt x="141" y="109"/>
                    </a:lnTo>
                    <a:lnTo>
                      <a:pt x="141" y="109"/>
                    </a:lnTo>
                    <a:lnTo>
                      <a:pt x="141" y="114"/>
                    </a:lnTo>
                    <a:lnTo>
                      <a:pt x="145" y="11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4" name="Freeform 52"/>
              <p:cNvSpPr>
                <a:spLocks/>
              </p:cNvSpPr>
              <p:nvPr/>
            </p:nvSpPr>
            <p:spPr bwMode="auto">
              <a:xfrm>
                <a:off x="3435351" y="1987550"/>
                <a:ext cx="222250" cy="252412"/>
              </a:xfrm>
              <a:custGeom>
                <a:avLst/>
                <a:gdLst>
                  <a:gd name="T0" fmla="*/ 140 w 140"/>
                  <a:gd name="T1" fmla="*/ 9 h 159"/>
                  <a:gd name="T2" fmla="*/ 140 w 140"/>
                  <a:gd name="T3" fmla="*/ 14 h 159"/>
                  <a:gd name="T4" fmla="*/ 136 w 140"/>
                  <a:gd name="T5" fmla="*/ 14 h 159"/>
                  <a:gd name="T6" fmla="*/ 131 w 140"/>
                  <a:gd name="T7" fmla="*/ 23 h 159"/>
                  <a:gd name="T8" fmla="*/ 127 w 140"/>
                  <a:gd name="T9" fmla="*/ 32 h 159"/>
                  <a:gd name="T10" fmla="*/ 131 w 140"/>
                  <a:gd name="T11" fmla="*/ 37 h 159"/>
                  <a:gd name="T12" fmla="*/ 127 w 140"/>
                  <a:gd name="T13" fmla="*/ 37 h 159"/>
                  <a:gd name="T14" fmla="*/ 122 w 140"/>
                  <a:gd name="T15" fmla="*/ 41 h 159"/>
                  <a:gd name="T16" fmla="*/ 127 w 140"/>
                  <a:gd name="T17" fmla="*/ 46 h 159"/>
                  <a:gd name="T18" fmla="*/ 122 w 140"/>
                  <a:gd name="T19" fmla="*/ 55 h 159"/>
                  <a:gd name="T20" fmla="*/ 127 w 140"/>
                  <a:gd name="T21" fmla="*/ 59 h 159"/>
                  <a:gd name="T22" fmla="*/ 127 w 140"/>
                  <a:gd name="T23" fmla="*/ 68 h 159"/>
                  <a:gd name="T24" fmla="*/ 122 w 140"/>
                  <a:gd name="T25" fmla="*/ 68 h 159"/>
                  <a:gd name="T26" fmla="*/ 122 w 140"/>
                  <a:gd name="T27" fmla="*/ 73 h 159"/>
                  <a:gd name="T28" fmla="*/ 122 w 140"/>
                  <a:gd name="T29" fmla="*/ 77 h 159"/>
                  <a:gd name="T30" fmla="*/ 127 w 140"/>
                  <a:gd name="T31" fmla="*/ 77 h 159"/>
                  <a:gd name="T32" fmla="*/ 127 w 140"/>
                  <a:gd name="T33" fmla="*/ 86 h 159"/>
                  <a:gd name="T34" fmla="*/ 127 w 140"/>
                  <a:gd name="T35" fmla="*/ 96 h 159"/>
                  <a:gd name="T36" fmla="*/ 122 w 140"/>
                  <a:gd name="T37" fmla="*/ 91 h 159"/>
                  <a:gd name="T38" fmla="*/ 118 w 140"/>
                  <a:gd name="T39" fmla="*/ 86 h 159"/>
                  <a:gd name="T40" fmla="*/ 113 w 140"/>
                  <a:gd name="T41" fmla="*/ 82 h 159"/>
                  <a:gd name="T42" fmla="*/ 109 w 140"/>
                  <a:gd name="T43" fmla="*/ 77 h 159"/>
                  <a:gd name="T44" fmla="*/ 91 w 140"/>
                  <a:gd name="T45" fmla="*/ 86 h 159"/>
                  <a:gd name="T46" fmla="*/ 86 w 140"/>
                  <a:gd name="T47" fmla="*/ 82 h 159"/>
                  <a:gd name="T48" fmla="*/ 81 w 140"/>
                  <a:gd name="T49" fmla="*/ 82 h 159"/>
                  <a:gd name="T50" fmla="*/ 81 w 140"/>
                  <a:gd name="T51" fmla="*/ 91 h 159"/>
                  <a:gd name="T52" fmla="*/ 81 w 140"/>
                  <a:gd name="T53" fmla="*/ 96 h 159"/>
                  <a:gd name="T54" fmla="*/ 68 w 140"/>
                  <a:gd name="T55" fmla="*/ 123 h 159"/>
                  <a:gd name="T56" fmla="*/ 68 w 140"/>
                  <a:gd name="T57" fmla="*/ 145 h 159"/>
                  <a:gd name="T58" fmla="*/ 59 w 140"/>
                  <a:gd name="T59" fmla="*/ 150 h 159"/>
                  <a:gd name="T60" fmla="*/ 54 w 140"/>
                  <a:gd name="T61" fmla="*/ 159 h 159"/>
                  <a:gd name="T62" fmla="*/ 50 w 140"/>
                  <a:gd name="T63" fmla="*/ 159 h 159"/>
                  <a:gd name="T64" fmla="*/ 41 w 140"/>
                  <a:gd name="T65" fmla="*/ 155 h 159"/>
                  <a:gd name="T66" fmla="*/ 36 w 140"/>
                  <a:gd name="T67" fmla="*/ 145 h 159"/>
                  <a:gd name="T68" fmla="*/ 22 w 140"/>
                  <a:gd name="T69" fmla="*/ 145 h 159"/>
                  <a:gd name="T70" fmla="*/ 13 w 140"/>
                  <a:gd name="T71" fmla="*/ 136 h 159"/>
                  <a:gd name="T72" fmla="*/ 0 w 140"/>
                  <a:gd name="T73" fmla="*/ 127 h 159"/>
                  <a:gd name="T74" fmla="*/ 9 w 140"/>
                  <a:gd name="T75" fmla="*/ 123 h 159"/>
                  <a:gd name="T76" fmla="*/ 18 w 140"/>
                  <a:gd name="T77" fmla="*/ 109 h 159"/>
                  <a:gd name="T78" fmla="*/ 18 w 140"/>
                  <a:gd name="T79" fmla="*/ 96 h 159"/>
                  <a:gd name="T80" fmla="*/ 22 w 140"/>
                  <a:gd name="T81" fmla="*/ 86 h 159"/>
                  <a:gd name="T82" fmla="*/ 32 w 140"/>
                  <a:gd name="T83" fmla="*/ 73 h 159"/>
                  <a:gd name="T84" fmla="*/ 27 w 140"/>
                  <a:gd name="T85" fmla="*/ 64 h 159"/>
                  <a:gd name="T86" fmla="*/ 27 w 140"/>
                  <a:gd name="T87" fmla="*/ 50 h 159"/>
                  <a:gd name="T88" fmla="*/ 32 w 140"/>
                  <a:gd name="T89" fmla="*/ 46 h 159"/>
                  <a:gd name="T90" fmla="*/ 32 w 140"/>
                  <a:gd name="T91" fmla="*/ 41 h 159"/>
                  <a:gd name="T92" fmla="*/ 32 w 140"/>
                  <a:gd name="T93" fmla="*/ 32 h 159"/>
                  <a:gd name="T94" fmla="*/ 27 w 140"/>
                  <a:gd name="T95" fmla="*/ 18 h 159"/>
                  <a:gd name="T96" fmla="*/ 41 w 140"/>
                  <a:gd name="T97" fmla="*/ 9 h 159"/>
                  <a:gd name="T98" fmla="*/ 63 w 140"/>
                  <a:gd name="T99" fmla="*/ 14 h 159"/>
                  <a:gd name="T100" fmla="*/ 86 w 140"/>
                  <a:gd name="T101" fmla="*/ 18 h 159"/>
                  <a:gd name="T102" fmla="*/ 86 w 140"/>
                  <a:gd name="T103" fmla="*/ 23 h 159"/>
                  <a:gd name="T104" fmla="*/ 91 w 140"/>
                  <a:gd name="T105" fmla="*/ 32 h 159"/>
                  <a:gd name="T106" fmla="*/ 100 w 140"/>
                  <a:gd name="T107" fmla="*/ 28 h 159"/>
                  <a:gd name="T108" fmla="*/ 104 w 140"/>
                  <a:gd name="T109" fmla="*/ 23 h 159"/>
                  <a:gd name="T110" fmla="*/ 118 w 140"/>
                  <a:gd name="T111" fmla="*/ 23 h 159"/>
                  <a:gd name="T112" fmla="*/ 118 w 140"/>
                  <a:gd name="T113" fmla="*/ 18 h 159"/>
                  <a:gd name="T114" fmla="*/ 122 w 140"/>
                  <a:gd name="T115" fmla="*/ 14 h 159"/>
                  <a:gd name="T116" fmla="*/ 122 w 140"/>
                  <a:gd name="T117" fmla="*/ 5 h 159"/>
                  <a:gd name="T118" fmla="*/ 131 w 140"/>
                  <a:gd name="T11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0" h="159">
                    <a:moveTo>
                      <a:pt x="131" y="5"/>
                    </a:moveTo>
                    <a:lnTo>
                      <a:pt x="131" y="5"/>
                    </a:lnTo>
                    <a:lnTo>
                      <a:pt x="136" y="5"/>
                    </a:lnTo>
                    <a:lnTo>
                      <a:pt x="136" y="5"/>
                    </a:lnTo>
                    <a:lnTo>
                      <a:pt x="140" y="9"/>
                    </a:lnTo>
                    <a:lnTo>
                      <a:pt x="140" y="18"/>
                    </a:lnTo>
                    <a:lnTo>
                      <a:pt x="140" y="18"/>
                    </a:lnTo>
                    <a:lnTo>
                      <a:pt x="140" y="18"/>
                    </a:lnTo>
                    <a:lnTo>
                      <a:pt x="140" y="18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4"/>
                    </a:lnTo>
                    <a:lnTo>
                      <a:pt x="136" y="14"/>
                    </a:lnTo>
                    <a:lnTo>
                      <a:pt x="136" y="14"/>
                    </a:lnTo>
                    <a:lnTo>
                      <a:pt x="136" y="14"/>
                    </a:lnTo>
                    <a:lnTo>
                      <a:pt x="131" y="14"/>
                    </a:lnTo>
                    <a:lnTo>
                      <a:pt x="131" y="14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23"/>
                    </a:lnTo>
                    <a:lnTo>
                      <a:pt x="131" y="23"/>
                    </a:lnTo>
                    <a:lnTo>
                      <a:pt x="131" y="23"/>
                    </a:lnTo>
                    <a:lnTo>
                      <a:pt x="131" y="23"/>
                    </a:lnTo>
                    <a:lnTo>
                      <a:pt x="127" y="28"/>
                    </a:lnTo>
                    <a:lnTo>
                      <a:pt x="127" y="32"/>
                    </a:lnTo>
                    <a:lnTo>
                      <a:pt x="127" y="32"/>
                    </a:lnTo>
                    <a:lnTo>
                      <a:pt x="127" y="32"/>
                    </a:lnTo>
                    <a:lnTo>
                      <a:pt x="127" y="32"/>
                    </a:lnTo>
                    <a:lnTo>
                      <a:pt x="131" y="37"/>
                    </a:lnTo>
                    <a:lnTo>
                      <a:pt x="131" y="37"/>
                    </a:lnTo>
                    <a:lnTo>
                      <a:pt x="131" y="37"/>
                    </a:lnTo>
                    <a:lnTo>
                      <a:pt x="131" y="41"/>
                    </a:lnTo>
                    <a:lnTo>
                      <a:pt x="131" y="37"/>
                    </a:lnTo>
                    <a:lnTo>
                      <a:pt x="127" y="37"/>
                    </a:lnTo>
                    <a:lnTo>
                      <a:pt x="127" y="37"/>
                    </a:lnTo>
                    <a:lnTo>
                      <a:pt x="127" y="37"/>
                    </a:lnTo>
                    <a:lnTo>
                      <a:pt x="127" y="41"/>
                    </a:lnTo>
                    <a:lnTo>
                      <a:pt x="127" y="41"/>
                    </a:lnTo>
                    <a:lnTo>
                      <a:pt x="122" y="41"/>
                    </a:lnTo>
                    <a:lnTo>
                      <a:pt x="122" y="41"/>
                    </a:lnTo>
                    <a:lnTo>
                      <a:pt x="122" y="46"/>
                    </a:lnTo>
                    <a:lnTo>
                      <a:pt x="122" y="46"/>
                    </a:lnTo>
                    <a:lnTo>
                      <a:pt x="122" y="46"/>
                    </a:lnTo>
                    <a:lnTo>
                      <a:pt x="122" y="46"/>
                    </a:lnTo>
                    <a:lnTo>
                      <a:pt x="127" y="46"/>
                    </a:lnTo>
                    <a:lnTo>
                      <a:pt x="127" y="46"/>
                    </a:lnTo>
                    <a:lnTo>
                      <a:pt x="127" y="50"/>
                    </a:lnTo>
                    <a:lnTo>
                      <a:pt x="127" y="50"/>
                    </a:lnTo>
                    <a:lnTo>
                      <a:pt x="127" y="50"/>
                    </a:lnTo>
                    <a:lnTo>
                      <a:pt x="122" y="55"/>
                    </a:lnTo>
                    <a:lnTo>
                      <a:pt x="122" y="59"/>
                    </a:lnTo>
                    <a:lnTo>
                      <a:pt x="122" y="59"/>
                    </a:lnTo>
                    <a:lnTo>
                      <a:pt x="127" y="59"/>
                    </a:lnTo>
                    <a:lnTo>
                      <a:pt x="127" y="59"/>
                    </a:lnTo>
                    <a:lnTo>
                      <a:pt x="127" y="59"/>
                    </a:lnTo>
                    <a:lnTo>
                      <a:pt x="131" y="64"/>
                    </a:lnTo>
                    <a:lnTo>
                      <a:pt x="131" y="64"/>
                    </a:lnTo>
                    <a:lnTo>
                      <a:pt x="127" y="68"/>
                    </a:lnTo>
                    <a:lnTo>
                      <a:pt x="127" y="68"/>
                    </a:lnTo>
                    <a:lnTo>
                      <a:pt x="127" y="68"/>
                    </a:lnTo>
                    <a:lnTo>
                      <a:pt x="127" y="64"/>
                    </a:lnTo>
                    <a:lnTo>
                      <a:pt x="127" y="64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7" y="73"/>
                    </a:lnTo>
                    <a:lnTo>
                      <a:pt x="127" y="73"/>
                    </a:lnTo>
                    <a:lnTo>
                      <a:pt x="127" y="73"/>
                    </a:lnTo>
                    <a:lnTo>
                      <a:pt x="122" y="73"/>
                    </a:lnTo>
                    <a:lnTo>
                      <a:pt x="122" y="73"/>
                    </a:lnTo>
                    <a:lnTo>
                      <a:pt x="122" y="73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27" y="77"/>
                    </a:lnTo>
                    <a:lnTo>
                      <a:pt x="127" y="77"/>
                    </a:lnTo>
                    <a:lnTo>
                      <a:pt x="131" y="77"/>
                    </a:lnTo>
                    <a:lnTo>
                      <a:pt x="127" y="77"/>
                    </a:lnTo>
                    <a:lnTo>
                      <a:pt x="127" y="77"/>
                    </a:lnTo>
                    <a:lnTo>
                      <a:pt x="127" y="77"/>
                    </a:lnTo>
                    <a:lnTo>
                      <a:pt x="127" y="82"/>
                    </a:lnTo>
                    <a:lnTo>
                      <a:pt x="127" y="82"/>
                    </a:lnTo>
                    <a:lnTo>
                      <a:pt x="127" y="86"/>
                    </a:lnTo>
                    <a:lnTo>
                      <a:pt x="127" y="86"/>
                    </a:lnTo>
                    <a:lnTo>
                      <a:pt x="131" y="91"/>
                    </a:lnTo>
                    <a:lnTo>
                      <a:pt x="127" y="91"/>
                    </a:lnTo>
                    <a:lnTo>
                      <a:pt x="127" y="96"/>
                    </a:lnTo>
                    <a:lnTo>
                      <a:pt x="127" y="96"/>
                    </a:lnTo>
                    <a:lnTo>
                      <a:pt x="122" y="91"/>
                    </a:lnTo>
                    <a:lnTo>
                      <a:pt x="122" y="91"/>
                    </a:lnTo>
                    <a:lnTo>
                      <a:pt x="122" y="91"/>
                    </a:lnTo>
                    <a:lnTo>
                      <a:pt x="122" y="91"/>
                    </a:lnTo>
                    <a:lnTo>
                      <a:pt x="122" y="91"/>
                    </a:lnTo>
                    <a:lnTo>
                      <a:pt x="122" y="9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3" y="82"/>
                    </a:lnTo>
                    <a:lnTo>
                      <a:pt x="113" y="82"/>
                    </a:lnTo>
                    <a:lnTo>
                      <a:pt x="113" y="82"/>
                    </a:lnTo>
                    <a:lnTo>
                      <a:pt x="113" y="82"/>
                    </a:lnTo>
                    <a:lnTo>
                      <a:pt x="109" y="77"/>
                    </a:lnTo>
                    <a:lnTo>
                      <a:pt x="109" y="77"/>
                    </a:lnTo>
                    <a:lnTo>
                      <a:pt x="104" y="77"/>
                    </a:lnTo>
                    <a:lnTo>
                      <a:pt x="95" y="77"/>
                    </a:lnTo>
                    <a:lnTo>
                      <a:pt x="95" y="82"/>
                    </a:lnTo>
                    <a:lnTo>
                      <a:pt x="91" y="82"/>
                    </a:lnTo>
                    <a:lnTo>
                      <a:pt x="91" y="86"/>
                    </a:lnTo>
                    <a:lnTo>
                      <a:pt x="91" y="86"/>
                    </a:lnTo>
                    <a:lnTo>
                      <a:pt x="91" y="86"/>
                    </a:lnTo>
                    <a:lnTo>
                      <a:pt x="91" y="86"/>
                    </a:lnTo>
                    <a:lnTo>
                      <a:pt x="91" y="86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1" y="82"/>
                    </a:lnTo>
                    <a:lnTo>
                      <a:pt x="81" y="82"/>
                    </a:lnTo>
                    <a:lnTo>
                      <a:pt x="81" y="86"/>
                    </a:lnTo>
                    <a:lnTo>
                      <a:pt x="77" y="86"/>
                    </a:lnTo>
                    <a:lnTo>
                      <a:pt x="77" y="91"/>
                    </a:lnTo>
                    <a:lnTo>
                      <a:pt x="77" y="91"/>
                    </a:lnTo>
                    <a:lnTo>
                      <a:pt x="81" y="91"/>
                    </a:lnTo>
                    <a:lnTo>
                      <a:pt x="81" y="91"/>
                    </a:lnTo>
                    <a:lnTo>
                      <a:pt x="81" y="91"/>
                    </a:lnTo>
                    <a:lnTo>
                      <a:pt x="81" y="91"/>
                    </a:lnTo>
                    <a:lnTo>
                      <a:pt x="81" y="91"/>
                    </a:lnTo>
                    <a:lnTo>
                      <a:pt x="81" y="96"/>
                    </a:lnTo>
                    <a:lnTo>
                      <a:pt x="77" y="96"/>
                    </a:lnTo>
                    <a:lnTo>
                      <a:pt x="77" y="100"/>
                    </a:lnTo>
                    <a:lnTo>
                      <a:pt x="72" y="105"/>
                    </a:lnTo>
                    <a:lnTo>
                      <a:pt x="68" y="109"/>
                    </a:lnTo>
                    <a:lnTo>
                      <a:pt x="68" y="123"/>
                    </a:lnTo>
                    <a:lnTo>
                      <a:pt x="63" y="127"/>
                    </a:lnTo>
                    <a:lnTo>
                      <a:pt x="63" y="136"/>
                    </a:lnTo>
                    <a:lnTo>
                      <a:pt x="68" y="145"/>
                    </a:lnTo>
                    <a:lnTo>
                      <a:pt x="68" y="145"/>
                    </a:lnTo>
                    <a:lnTo>
                      <a:pt x="68" y="145"/>
                    </a:lnTo>
                    <a:lnTo>
                      <a:pt x="59" y="145"/>
                    </a:lnTo>
                    <a:lnTo>
                      <a:pt x="59" y="145"/>
                    </a:lnTo>
                    <a:lnTo>
                      <a:pt x="59" y="145"/>
                    </a:lnTo>
                    <a:lnTo>
                      <a:pt x="59" y="145"/>
                    </a:lnTo>
                    <a:lnTo>
                      <a:pt x="59" y="150"/>
                    </a:lnTo>
                    <a:lnTo>
                      <a:pt x="59" y="150"/>
                    </a:lnTo>
                    <a:lnTo>
                      <a:pt x="59" y="155"/>
                    </a:lnTo>
                    <a:lnTo>
                      <a:pt x="59" y="155"/>
                    </a:lnTo>
                    <a:lnTo>
                      <a:pt x="59" y="159"/>
                    </a:lnTo>
                    <a:lnTo>
                      <a:pt x="54" y="159"/>
                    </a:lnTo>
                    <a:lnTo>
                      <a:pt x="50" y="159"/>
                    </a:lnTo>
                    <a:lnTo>
                      <a:pt x="50" y="159"/>
                    </a:lnTo>
                    <a:lnTo>
                      <a:pt x="50" y="159"/>
                    </a:lnTo>
                    <a:lnTo>
                      <a:pt x="50" y="159"/>
                    </a:lnTo>
                    <a:lnTo>
                      <a:pt x="50" y="159"/>
                    </a:lnTo>
                    <a:lnTo>
                      <a:pt x="45" y="159"/>
                    </a:lnTo>
                    <a:lnTo>
                      <a:pt x="41" y="155"/>
                    </a:lnTo>
                    <a:lnTo>
                      <a:pt x="41" y="155"/>
                    </a:lnTo>
                    <a:lnTo>
                      <a:pt x="41" y="155"/>
                    </a:lnTo>
                    <a:lnTo>
                      <a:pt x="41" y="155"/>
                    </a:lnTo>
                    <a:lnTo>
                      <a:pt x="41" y="150"/>
                    </a:lnTo>
                    <a:lnTo>
                      <a:pt x="41" y="150"/>
                    </a:lnTo>
                    <a:lnTo>
                      <a:pt x="41" y="145"/>
                    </a:lnTo>
                    <a:lnTo>
                      <a:pt x="36" y="145"/>
                    </a:lnTo>
                    <a:lnTo>
                      <a:pt x="36" y="145"/>
                    </a:lnTo>
                    <a:lnTo>
                      <a:pt x="32" y="145"/>
                    </a:lnTo>
                    <a:lnTo>
                      <a:pt x="32" y="141"/>
                    </a:lnTo>
                    <a:lnTo>
                      <a:pt x="22" y="145"/>
                    </a:lnTo>
                    <a:lnTo>
                      <a:pt x="22" y="145"/>
                    </a:lnTo>
                    <a:lnTo>
                      <a:pt x="22" y="145"/>
                    </a:lnTo>
                    <a:lnTo>
                      <a:pt x="22" y="141"/>
                    </a:lnTo>
                    <a:lnTo>
                      <a:pt x="18" y="141"/>
                    </a:lnTo>
                    <a:lnTo>
                      <a:pt x="18" y="141"/>
                    </a:lnTo>
                    <a:lnTo>
                      <a:pt x="18" y="136"/>
                    </a:lnTo>
                    <a:lnTo>
                      <a:pt x="13" y="136"/>
                    </a:lnTo>
                    <a:lnTo>
                      <a:pt x="9" y="136"/>
                    </a:lnTo>
                    <a:lnTo>
                      <a:pt x="4" y="136"/>
                    </a:lnTo>
                    <a:lnTo>
                      <a:pt x="4" y="136"/>
                    </a:lnTo>
                    <a:lnTo>
                      <a:pt x="0" y="136"/>
                    </a:lnTo>
                    <a:lnTo>
                      <a:pt x="0" y="127"/>
                    </a:lnTo>
                    <a:lnTo>
                      <a:pt x="0" y="123"/>
                    </a:lnTo>
                    <a:lnTo>
                      <a:pt x="0" y="123"/>
                    </a:lnTo>
                    <a:lnTo>
                      <a:pt x="0" y="123"/>
                    </a:lnTo>
                    <a:lnTo>
                      <a:pt x="4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18"/>
                    </a:lnTo>
                    <a:lnTo>
                      <a:pt x="13" y="114"/>
                    </a:lnTo>
                    <a:lnTo>
                      <a:pt x="13" y="114"/>
                    </a:lnTo>
                    <a:lnTo>
                      <a:pt x="18" y="109"/>
                    </a:lnTo>
                    <a:lnTo>
                      <a:pt x="18" y="109"/>
                    </a:lnTo>
                    <a:lnTo>
                      <a:pt x="18" y="105"/>
                    </a:lnTo>
                    <a:lnTo>
                      <a:pt x="18" y="105"/>
                    </a:lnTo>
                    <a:lnTo>
                      <a:pt x="18" y="100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18" y="91"/>
                    </a:lnTo>
                    <a:lnTo>
                      <a:pt x="22" y="91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77"/>
                    </a:lnTo>
                    <a:lnTo>
                      <a:pt x="32" y="73"/>
                    </a:lnTo>
                    <a:lnTo>
                      <a:pt x="32" y="73"/>
                    </a:lnTo>
                    <a:lnTo>
                      <a:pt x="32" y="68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7" y="64"/>
                    </a:lnTo>
                    <a:lnTo>
                      <a:pt x="27" y="64"/>
                    </a:lnTo>
                    <a:lnTo>
                      <a:pt x="27" y="59"/>
                    </a:lnTo>
                    <a:lnTo>
                      <a:pt x="27" y="55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27" y="50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32" y="37"/>
                    </a:lnTo>
                    <a:lnTo>
                      <a:pt x="32" y="37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28"/>
                    </a:lnTo>
                    <a:lnTo>
                      <a:pt x="27" y="23"/>
                    </a:lnTo>
                    <a:lnTo>
                      <a:pt x="27" y="18"/>
                    </a:lnTo>
                    <a:lnTo>
                      <a:pt x="22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36" y="14"/>
                    </a:lnTo>
                    <a:lnTo>
                      <a:pt x="41" y="14"/>
                    </a:lnTo>
                    <a:lnTo>
                      <a:pt x="41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50" y="9"/>
                    </a:lnTo>
                    <a:lnTo>
                      <a:pt x="54" y="9"/>
                    </a:lnTo>
                    <a:lnTo>
                      <a:pt x="63" y="14"/>
                    </a:lnTo>
                    <a:lnTo>
                      <a:pt x="68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81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23"/>
                    </a:lnTo>
                    <a:lnTo>
                      <a:pt x="86" y="23"/>
                    </a:lnTo>
                    <a:lnTo>
                      <a:pt x="86" y="23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91" y="32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100" y="32"/>
                    </a:lnTo>
                    <a:lnTo>
                      <a:pt x="100" y="28"/>
                    </a:lnTo>
                    <a:lnTo>
                      <a:pt x="104" y="28"/>
                    </a:lnTo>
                    <a:lnTo>
                      <a:pt x="104" y="28"/>
                    </a:lnTo>
                    <a:lnTo>
                      <a:pt x="104" y="28"/>
                    </a:lnTo>
                    <a:lnTo>
                      <a:pt x="104" y="28"/>
                    </a:lnTo>
                    <a:lnTo>
                      <a:pt x="104" y="23"/>
                    </a:lnTo>
                    <a:lnTo>
                      <a:pt x="109" y="28"/>
                    </a:lnTo>
                    <a:lnTo>
                      <a:pt x="109" y="28"/>
                    </a:lnTo>
                    <a:lnTo>
                      <a:pt x="113" y="28"/>
                    </a:lnTo>
                    <a:lnTo>
                      <a:pt x="113" y="28"/>
                    </a:lnTo>
                    <a:lnTo>
                      <a:pt x="118" y="23"/>
                    </a:lnTo>
                    <a:lnTo>
                      <a:pt x="118" y="23"/>
                    </a:lnTo>
                    <a:lnTo>
                      <a:pt x="118" y="23"/>
                    </a:lnTo>
                    <a:lnTo>
                      <a:pt x="118" y="23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18" y="14"/>
                    </a:lnTo>
                    <a:lnTo>
                      <a:pt x="118" y="14"/>
                    </a:lnTo>
                    <a:lnTo>
                      <a:pt x="122" y="14"/>
                    </a:lnTo>
                    <a:lnTo>
                      <a:pt x="122" y="14"/>
                    </a:lnTo>
                    <a:lnTo>
                      <a:pt x="122" y="14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5"/>
                    </a:lnTo>
                    <a:lnTo>
                      <a:pt x="122" y="5"/>
                    </a:lnTo>
                    <a:lnTo>
                      <a:pt x="122" y="0"/>
                    </a:lnTo>
                    <a:lnTo>
                      <a:pt x="127" y="0"/>
                    </a:lnTo>
                    <a:lnTo>
                      <a:pt x="127" y="0"/>
                    </a:lnTo>
                    <a:lnTo>
                      <a:pt x="131" y="0"/>
                    </a:lnTo>
                    <a:lnTo>
                      <a:pt x="131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5" name="Freeform 53"/>
              <p:cNvSpPr>
                <a:spLocks noEditPoints="1"/>
              </p:cNvSpPr>
              <p:nvPr/>
            </p:nvSpPr>
            <p:spPr bwMode="auto">
              <a:xfrm>
                <a:off x="2989263" y="2081213"/>
                <a:ext cx="373063" cy="368300"/>
              </a:xfrm>
              <a:custGeom>
                <a:avLst/>
                <a:gdLst>
                  <a:gd name="T0" fmla="*/ 9 w 235"/>
                  <a:gd name="T1" fmla="*/ 209 h 232"/>
                  <a:gd name="T2" fmla="*/ 22 w 235"/>
                  <a:gd name="T3" fmla="*/ 218 h 232"/>
                  <a:gd name="T4" fmla="*/ 27 w 235"/>
                  <a:gd name="T5" fmla="*/ 209 h 232"/>
                  <a:gd name="T6" fmla="*/ 31 w 235"/>
                  <a:gd name="T7" fmla="*/ 209 h 232"/>
                  <a:gd name="T8" fmla="*/ 36 w 235"/>
                  <a:gd name="T9" fmla="*/ 209 h 232"/>
                  <a:gd name="T10" fmla="*/ 40 w 235"/>
                  <a:gd name="T11" fmla="*/ 213 h 232"/>
                  <a:gd name="T12" fmla="*/ 45 w 235"/>
                  <a:gd name="T13" fmla="*/ 223 h 232"/>
                  <a:gd name="T14" fmla="*/ 59 w 235"/>
                  <a:gd name="T15" fmla="*/ 218 h 232"/>
                  <a:gd name="T16" fmla="*/ 63 w 235"/>
                  <a:gd name="T17" fmla="*/ 218 h 232"/>
                  <a:gd name="T18" fmla="*/ 72 w 235"/>
                  <a:gd name="T19" fmla="*/ 213 h 232"/>
                  <a:gd name="T20" fmla="*/ 81 w 235"/>
                  <a:gd name="T21" fmla="*/ 200 h 232"/>
                  <a:gd name="T22" fmla="*/ 95 w 235"/>
                  <a:gd name="T23" fmla="*/ 195 h 232"/>
                  <a:gd name="T24" fmla="*/ 99 w 235"/>
                  <a:gd name="T25" fmla="*/ 209 h 232"/>
                  <a:gd name="T26" fmla="*/ 113 w 235"/>
                  <a:gd name="T27" fmla="*/ 218 h 232"/>
                  <a:gd name="T28" fmla="*/ 118 w 235"/>
                  <a:gd name="T29" fmla="*/ 232 h 232"/>
                  <a:gd name="T30" fmla="*/ 127 w 235"/>
                  <a:gd name="T31" fmla="*/ 223 h 232"/>
                  <a:gd name="T32" fmla="*/ 136 w 235"/>
                  <a:gd name="T33" fmla="*/ 218 h 232"/>
                  <a:gd name="T34" fmla="*/ 140 w 235"/>
                  <a:gd name="T35" fmla="*/ 209 h 232"/>
                  <a:gd name="T36" fmla="*/ 149 w 235"/>
                  <a:gd name="T37" fmla="*/ 200 h 232"/>
                  <a:gd name="T38" fmla="*/ 154 w 235"/>
                  <a:gd name="T39" fmla="*/ 195 h 232"/>
                  <a:gd name="T40" fmla="*/ 158 w 235"/>
                  <a:gd name="T41" fmla="*/ 200 h 232"/>
                  <a:gd name="T42" fmla="*/ 163 w 235"/>
                  <a:gd name="T43" fmla="*/ 200 h 232"/>
                  <a:gd name="T44" fmla="*/ 167 w 235"/>
                  <a:gd name="T45" fmla="*/ 204 h 232"/>
                  <a:gd name="T46" fmla="*/ 172 w 235"/>
                  <a:gd name="T47" fmla="*/ 195 h 232"/>
                  <a:gd name="T48" fmla="*/ 172 w 235"/>
                  <a:gd name="T49" fmla="*/ 182 h 232"/>
                  <a:gd name="T50" fmla="*/ 163 w 235"/>
                  <a:gd name="T51" fmla="*/ 177 h 232"/>
                  <a:gd name="T52" fmla="*/ 167 w 235"/>
                  <a:gd name="T53" fmla="*/ 164 h 232"/>
                  <a:gd name="T54" fmla="*/ 167 w 235"/>
                  <a:gd name="T55" fmla="*/ 150 h 232"/>
                  <a:gd name="T56" fmla="*/ 167 w 235"/>
                  <a:gd name="T57" fmla="*/ 141 h 232"/>
                  <a:gd name="T58" fmla="*/ 186 w 235"/>
                  <a:gd name="T59" fmla="*/ 141 h 232"/>
                  <a:gd name="T60" fmla="*/ 195 w 235"/>
                  <a:gd name="T61" fmla="*/ 136 h 232"/>
                  <a:gd name="T62" fmla="*/ 204 w 235"/>
                  <a:gd name="T63" fmla="*/ 136 h 232"/>
                  <a:gd name="T64" fmla="*/ 204 w 235"/>
                  <a:gd name="T65" fmla="*/ 123 h 232"/>
                  <a:gd name="T66" fmla="*/ 208 w 235"/>
                  <a:gd name="T67" fmla="*/ 114 h 232"/>
                  <a:gd name="T68" fmla="*/ 217 w 235"/>
                  <a:gd name="T69" fmla="*/ 91 h 232"/>
                  <a:gd name="T70" fmla="*/ 213 w 235"/>
                  <a:gd name="T71" fmla="*/ 77 h 232"/>
                  <a:gd name="T72" fmla="*/ 213 w 235"/>
                  <a:gd name="T73" fmla="*/ 68 h 232"/>
                  <a:gd name="T74" fmla="*/ 222 w 235"/>
                  <a:gd name="T75" fmla="*/ 46 h 232"/>
                  <a:gd name="T76" fmla="*/ 231 w 235"/>
                  <a:gd name="T77" fmla="*/ 46 h 232"/>
                  <a:gd name="T78" fmla="*/ 235 w 235"/>
                  <a:gd name="T79" fmla="*/ 32 h 232"/>
                  <a:gd name="T80" fmla="*/ 231 w 235"/>
                  <a:gd name="T81" fmla="*/ 27 h 232"/>
                  <a:gd name="T82" fmla="*/ 222 w 235"/>
                  <a:gd name="T83" fmla="*/ 23 h 232"/>
                  <a:gd name="T84" fmla="*/ 222 w 235"/>
                  <a:gd name="T85" fmla="*/ 9 h 232"/>
                  <a:gd name="T86" fmla="*/ 217 w 235"/>
                  <a:gd name="T87" fmla="*/ 5 h 232"/>
                  <a:gd name="T88" fmla="*/ 195 w 235"/>
                  <a:gd name="T89" fmla="*/ 18 h 232"/>
                  <a:gd name="T90" fmla="*/ 181 w 235"/>
                  <a:gd name="T91" fmla="*/ 64 h 232"/>
                  <a:gd name="T92" fmla="*/ 122 w 235"/>
                  <a:gd name="T93" fmla="*/ 118 h 232"/>
                  <a:gd name="T94" fmla="*/ 104 w 235"/>
                  <a:gd name="T95" fmla="*/ 141 h 232"/>
                  <a:gd name="T96" fmla="*/ 68 w 235"/>
                  <a:gd name="T97" fmla="*/ 173 h 232"/>
                  <a:gd name="T98" fmla="*/ 45 w 235"/>
                  <a:gd name="T99" fmla="*/ 182 h 232"/>
                  <a:gd name="T100" fmla="*/ 0 w 235"/>
                  <a:gd name="T101" fmla="*/ 200 h 232"/>
                  <a:gd name="T102" fmla="*/ 68 w 235"/>
                  <a:gd name="T103" fmla="*/ 91 h 232"/>
                  <a:gd name="T104" fmla="*/ 72 w 235"/>
                  <a:gd name="T105" fmla="*/ 86 h 232"/>
                  <a:gd name="T106" fmla="*/ 77 w 235"/>
                  <a:gd name="T107" fmla="*/ 68 h 232"/>
                  <a:gd name="T108" fmla="*/ 68 w 235"/>
                  <a:gd name="T109" fmla="*/ 59 h 232"/>
                  <a:gd name="T110" fmla="*/ 81 w 235"/>
                  <a:gd name="T111" fmla="*/ 46 h 232"/>
                  <a:gd name="T112" fmla="*/ 95 w 235"/>
                  <a:gd name="T113" fmla="*/ 27 h 232"/>
                  <a:gd name="T114" fmla="*/ 95 w 235"/>
                  <a:gd name="T115" fmla="*/ 41 h 232"/>
                  <a:gd name="T116" fmla="*/ 90 w 235"/>
                  <a:gd name="T117" fmla="*/ 64 h 232"/>
                  <a:gd name="T118" fmla="*/ 104 w 235"/>
                  <a:gd name="T119" fmla="*/ 59 h 232"/>
                  <a:gd name="T120" fmla="*/ 95 w 235"/>
                  <a:gd name="T121" fmla="*/ 82 h 232"/>
                  <a:gd name="T122" fmla="*/ 68 w 235"/>
                  <a:gd name="T123" fmla="*/ 9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35" h="232">
                    <a:moveTo>
                      <a:pt x="4" y="204"/>
                    </a:moveTo>
                    <a:lnTo>
                      <a:pt x="4" y="204"/>
                    </a:lnTo>
                    <a:lnTo>
                      <a:pt x="9" y="204"/>
                    </a:lnTo>
                    <a:lnTo>
                      <a:pt x="9" y="204"/>
                    </a:lnTo>
                    <a:lnTo>
                      <a:pt x="9" y="209"/>
                    </a:lnTo>
                    <a:lnTo>
                      <a:pt x="13" y="227"/>
                    </a:lnTo>
                    <a:lnTo>
                      <a:pt x="18" y="223"/>
                    </a:lnTo>
                    <a:lnTo>
                      <a:pt x="18" y="223"/>
                    </a:lnTo>
                    <a:lnTo>
                      <a:pt x="18" y="223"/>
                    </a:lnTo>
                    <a:lnTo>
                      <a:pt x="22" y="218"/>
                    </a:lnTo>
                    <a:lnTo>
                      <a:pt x="22" y="213"/>
                    </a:lnTo>
                    <a:lnTo>
                      <a:pt x="27" y="213"/>
                    </a:lnTo>
                    <a:lnTo>
                      <a:pt x="27" y="209"/>
                    </a:lnTo>
                    <a:lnTo>
                      <a:pt x="27" y="209"/>
                    </a:lnTo>
                    <a:lnTo>
                      <a:pt x="27" y="209"/>
                    </a:lnTo>
                    <a:lnTo>
                      <a:pt x="27" y="209"/>
                    </a:lnTo>
                    <a:lnTo>
                      <a:pt x="27" y="209"/>
                    </a:lnTo>
                    <a:lnTo>
                      <a:pt x="27" y="209"/>
                    </a:lnTo>
                    <a:lnTo>
                      <a:pt x="27" y="209"/>
                    </a:lnTo>
                    <a:lnTo>
                      <a:pt x="31" y="209"/>
                    </a:lnTo>
                    <a:lnTo>
                      <a:pt x="31" y="209"/>
                    </a:lnTo>
                    <a:lnTo>
                      <a:pt x="31" y="209"/>
                    </a:lnTo>
                    <a:lnTo>
                      <a:pt x="36" y="209"/>
                    </a:lnTo>
                    <a:lnTo>
                      <a:pt x="36" y="209"/>
                    </a:lnTo>
                    <a:lnTo>
                      <a:pt x="36" y="209"/>
                    </a:lnTo>
                    <a:lnTo>
                      <a:pt x="40" y="209"/>
                    </a:lnTo>
                    <a:lnTo>
                      <a:pt x="40" y="213"/>
                    </a:lnTo>
                    <a:lnTo>
                      <a:pt x="40" y="213"/>
                    </a:lnTo>
                    <a:lnTo>
                      <a:pt x="40" y="213"/>
                    </a:lnTo>
                    <a:lnTo>
                      <a:pt x="40" y="213"/>
                    </a:lnTo>
                    <a:lnTo>
                      <a:pt x="40" y="218"/>
                    </a:lnTo>
                    <a:lnTo>
                      <a:pt x="40" y="218"/>
                    </a:lnTo>
                    <a:lnTo>
                      <a:pt x="40" y="218"/>
                    </a:lnTo>
                    <a:lnTo>
                      <a:pt x="45" y="223"/>
                    </a:lnTo>
                    <a:lnTo>
                      <a:pt x="45" y="223"/>
                    </a:lnTo>
                    <a:lnTo>
                      <a:pt x="49" y="218"/>
                    </a:lnTo>
                    <a:lnTo>
                      <a:pt x="49" y="218"/>
                    </a:lnTo>
                    <a:lnTo>
                      <a:pt x="49" y="218"/>
                    </a:lnTo>
                    <a:lnTo>
                      <a:pt x="54" y="218"/>
                    </a:lnTo>
                    <a:lnTo>
                      <a:pt x="59" y="218"/>
                    </a:lnTo>
                    <a:lnTo>
                      <a:pt x="59" y="218"/>
                    </a:lnTo>
                    <a:lnTo>
                      <a:pt x="63" y="218"/>
                    </a:lnTo>
                    <a:lnTo>
                      <a:pt x="63" y="218"/>
                    </a:lnTo>
                    <a:lnTo>
                      <a:pt x="63" y="218"/>
                    </a:lnTo>
                    <a:lnTo>
                      <a:pt x="63" y="218"/>
                    </a:lnTo>
                    <a:lnTo>
                      <a:pt x="68" y="218"/>
                    </a:lnTo>
                    <a:lnTo>
                      <a:pt x="68" y="218"/>
                    </a:lnTo>
                    <a:lnTo>
                      <a:pt x="68" y="218"/>
                    </a:lnTo>
                    <a:lnTo>
                      <a:pt x="68" y="213"/>
                    </a:lnTo>
                    <a:lnTo>
                      <a:pt x="72" y="213"/>
                    </a:lnTo>
                    <a:lnTo>
                      <a:pt x="72" y="209"/>
                    </a:lnTo>
                    <a:lnTo>
                      <a:pt x="72" y="209"/>
                    </a:lnTo>
                    <a:lnTo>
                      <a:pt x="77" y="209"/>
                    </a:lnTo>
                    <a:lnTo>
                      <a:pt x="77" y="204"/>
                    </a:lnTo>
                    <a:lnTo>
                      <a:pt x="81" y="200"/>
                    </a:lnTo>
                    <a:lnTo>
                      <a:pt x="81" y="200"/>
                    </a:lnTo>
                    <a:lnTo>
                      <a:pt x="86" y="200"/>
                    </a:lnTo>
                    <a:lnTo>
                      <a:pt x="90" y="195"/>
                    </a:lnTo>
                    <a:lnTo>
                      <a:pt x="95" y="195"/>
                    </a:lnTo>
                    <a:lnTo>
                      <a:pt x="95" y="195"/>
                    </a:lnTo>
                    <a:lnTo>
                      <a:pt x="99" y="195"/>
                    </a:lnTo>
                    <a:lnTo>
                      <a:pt x="99" y="200"/>
                    </a:lnTo>
                    <a:lnTo>
                      <a:pt x="99" y="200"/>
                    </a:lnTo>
                    <a:lnTo>
                      <a:pt x="99" y="200"/>
                    </a:lnTo>
                    <a:lnTo>
                      <a:pt x="99" y="209"/>
                    </a:lnTo>
                    <a:lnTo>
                      <a:pt x="104" y="209"/>
                    </a:lnTo>
                    <a:lnTo>
                      <a:pt x="104" y="213"/>
                    </a:lnTo>
                    <a:lnTo>
                      <a:pt x="108" y="218"/>
                    </a:lnTo>
                    <a:lnTo>
                      <a:pt x="108" y="218"/>
                    </a:lnTo>
                    <a:lnTo>
                      <a:pt x="113" y="218"/>
                    </a:lnTo>
                    <a:lnTo>
                      <a:pt x="113" y="223"/>
                    </a:lnTo>
                    <a:lnTo>
                      <a:pt x="108" y="227"/>
                    </a:lnTo>
                    <a:lnTo>
                      <a:pt x="113" y="232"/>
                    </a:lnTo>
                    <a:lnTo>
                      <a:pt x="118" y="232"/>
                    </a:lnTo>
                    <a:lnTo>
                      <a:pt x="118" y="232"/>
                    </a:lnTo>
                    <a:lnTo>
                      <a:pt x="122" y="232"/>
                    </a:lnTo>
                    <a:lnTo>
                      <a:pt x="122" y="232"/>
                    </a:lnTo>
                    <a:lnTo>
                      <a:pt x="127" y="227"/>
                    </a:lnTo>
                    <a:lnTo>
                      <a:pt x="127" y="227"/>
                    </a:lnTo>
                    <a:lnTo>
                      <a:pt x="127" y="223"/>
                    </a:lnTo>
                    <a:lnTo>
                      <a:pt x="127" y="223"/>
                    </a:lnTo>
                    <a:lnTo>
                      <a:pt x="136" y="223"/>
                    </a:lnTo>
                    <a:lnTo>
                      <a:pt x="136" y="218"/>
                    </a:lnTo>
                    <a:lnTo>
                      <a:pt x="136" y="218"/>
                    </a:lnTo>
                    <a:lnTo>
                      <a:pt x="136" y="218"/>
                    </a:lnTo>
                    <a:lnTo>
                      <a:pt x="136" y="213"/>
                    </a:lnTo>
                    <a:lnTo>
                      <a:pt x="140" y="213"/>
                    </a:lnTo>
                    <a:lnTo>
                      <a:pt x="140" y="213"/>
                    </a:lnTo>
                    <a:lnTo>
                      <a:pt x="140" y="213"/>
                    </a:lnTo>
                    <a:lnTo>
                      <a:pt x="140" y="209"/>
                    </a:lnTo>
                    <a:lnTo>
                      <a:pt x="140" y="209"/>
                    </a:lnTo>
                    <a:lnTo>
                      <a:pt x="140" y="204"/>
                    </a:lnTo>
                    <a:lnTo>
                      <a:pt x="140" y="204"/>
                    </a:lnTo>
                    <a:lnTo>
                      <a:pt x="145" y="204"/>
                    </a:lnTo>
                    <a:lnTo>
                      <a:pt x="149" y="200"/>
                    </a:lnTo>
                    <a:lnTo>
                      <a:pt x="154" y="200"/>
                    </a:lnTo>
                    <a:lnTo>
                      <a:pt x="154" y="200"/>
                    </a:lnTo>
                    <a:lnTo>
                      <a:pt x="154" y="200"/>
                    </a:lnTo>
                    <a:lnTo>
                      <a:pt x="154" y="195"/>
                    </a:lnTo>
                    <a:lnTo>
                      <a:pt x="154" y="195"/>
                    </a:lnTo>
                    <a:lnTo>
                      <a:pt x="154" y="195"/>
                    </a:lnTo>
                    <a:lnTo>
                      <a:pt x="158" y="195"/>
                    </a:lnTo>
                    <a:lnTo>
                      <a:pt x="158" y="195"/>
                    </a:lnTo>
                    <a:lnTo>
                      <a:pt x="158" y="195"/>
                    </a:lnTo>
                    <a:lnTo>
                      <a:pt x="158" y="200"/>
                    </a:lnTo>
                    <a:lnTo>
                      <a:pt x="158" y="200"/>
                    </a:lnTo>
                    <a:lnTo>
                      <a:pt x="158" y="200"/>
                    </a:lnTo>
                    <a:lnTo>
                      <a:pt x="163" y="200"/>
                    </a:lnTo>
                    <a:lnTo>
                      <a:pt x="163" y="200"/>
                    </a:lnTo>
                    <a:lnTo>
                      <a:pt x="163" y="200"/>
                    </a:lnTo>
                    <a:lnTo>
                      <a:pt x="163" y="200"/>
                    </a:lnTo>
                    <a:lnTo>
                      <a:pt x="163" y="204"/>
                    </a:lnTo>
                    <a:lnTo>
                      <a:pt x="163" y="204"/>
                    </a:lnTo>
                    <a:lnTo>
                      <a:pt x="167" y="204"/>
                    </a:lnTo>
                    <a:lnTo>
                      <a:pt x="167" y="204"/>
                    </a:lnTo>
                    <a:lnTo>
                      <a:pt x="167" y="204"/>
                    </a:lnTo>
                    <a:lnTo>
                      <a:pt x="172" y="204"/>
                    </a:lnTo>
                    <a:lnTo>
                      <a:pt x="172" y="200"/>
                    </a:lnTo>
                    <a:lnTo>
                      <a:pt x="172" y="195"/>
                    </a:lnTo>
                    <a:lnTo>
                      <a:pt x="172" y="195"/>
                    </a:lnTo>
                    <a:lnTo>
                      <a:pt x="172" y="186"/>
                    </a:lnTo>
                    <a:lnTo>
                      <a:pt x="172" y="186"/>
                    </a:lnTo>
                    <a:lnTo>
                      <a:pt x="172" y="182"/>
                    </a:lnTo>
                    <a:lnTo>
                      <a:pt x="172" y="182"/>
                    </a:lnTo>
                    <a:lnTo>
                      <a:pt x="172" y="182"/>
                    </a:lnTo>
                    <a:lnTo>
                      <a:pt x="167" y="177"/>
                    </a:lnTo>
                    <a:lnTo>
                      <a:pt x="167" y="177"/>
                    </a:lnTo>
                    <a:lnTo>
                      <a:pt x="167" y="177"/>
                    </a:lnTo>
                    <a:lnTo>
                      <a:pt x="167" y="177"/>
                    </a:lnTo>
                    <a:lnTo>
                      <a:pt x="163" y="177"/>
                    </a:lnTo>
                    <a:lnTo>
                      <a:pt x="163" y="173"/>
                    </a:lnTo>
                    <a:lnTo>
                      <a:pt x="163" y="173"/>
                    </a:lnTo>
                    <a:lnTo>
                      <a:pt x="163" y="173"/>
                    </a:lnTo>
                    <a:lnTo>
                      <a:pt x="163" y="168"/>
                    </a:lnTo>
                    <a:lnTo>
                      <a:pt x="167" y="164"/>
                    </a:lnTo>
                    <a:lnTo>
                      <a:pt x="167" y="164"/>
                    </a:lnTo>
                    <a:lnTo>
                      <a:pt x="167" y="154"/>
                    </a:lnTo>
                    <a:lnTo>
                      <a:pt x="167" y="154"/>
                    </a:lnTo>
                    <a:lnTo>
                      <a:pt x="167" y="150"/>
                    </a:lnTo>
                    <a:lnTo>
                      <a:pt x="167" y="150"/>
                    </a:lnTo>
                    <a:lnTo>
                      <a:pt x="167" y="150"/>
                    </a:lnTo>
                    <a:lnTo>
                      <a:pt x="167" y="145"/>
                    </a:lnTo>
                    <a:lnTo>
                      <a:pt x="167" y="145"/>
                    </a:lnTo>
                    <a:lnTo>
                      <a:pt x="167" y="145"/>
                    </a:lnTo>
                    <a:lnTo>
                      <a:pt x="167" y="141"/>
                    </a:lnTo>
                    <a:lnTo>
                      <a:pt x="172" y="141"/>
                    </a:lnTo>
                    <a:lnTo>
                      <a:pt x="172" y="141"/>
                    </a:lnTo>
                    <a:lnTo>
                      <a:pt x="181" y="141"/>
                    </a:lnTo>
                    <a:lnTo>
                      <a:pt x="181" y="141"/>
                    </a:lnTo>
                    <a:lnTo>
                      <a:pt x="186" y="141"/>
                    </a:lnTo>
                    <a:lnTo>
                      <a:pt x="186" y="141"/>
                    </a:lnTo>
                    <a:lnTo>
                      <a:pt x="190" y="136"/>
                    </a:lnTo>
                    <a:lnTo>
                      <a:pt x="190" y="136"/>
                    </a:lnTo>
                    <a:lnTo>
                      <a:pt x="190" y="136"/>
                    </a:lnTo>
                    <a:lnTo>
                      <a:pt x="195" y="136"/>
                    </a:lnTo>
                    <a:lnTo>
                      <a:pt x="195" y="136"/>
                    </a:lnTo>
                    <a:lnTo>
                      <a:pt x="199" y="136"/>
                    </a:lnTo>
                    <a:lnTo>
                      <a:pt x="199" y="136"/>
                    </a:lnTo>
                    <a:lnTo>
                      <a:pt x="204" y="136"/>
                    </a:lnTo>
                    <a:lnTo>
                      <a:pt x="204" y="136"/>
                    </a:lnTo>
                    <a:lnTo>
                      <a:pt x="204" y="132"/>
                    </a:lnTo>
                    <a:lnTo>
                      <a:pt x="204" y="127"/>
                    </a:lnTo>
                    <a:lnTo>
                      <a:pt x="204" y="127"/>
                    </a:lnTo>
                    <a:lnTo>
                      <a:pt x="204" y="123"/>
                    </a:lnTo>
                    <a:lnTo>
                      <a:pt x="204" y="123"/>
                    </a:lnTo>
                    <a:lnTo>
                      <a:pt x="204" y="123"/>
                    </a:lnTo>
                    <a:lnTo>
                      <a:pt x="204" y="123"/>
                    </a:lnTo>
                    <a:lnTo>
                      <a:pt x="204" y="118"/>
                    </a:lnTo>
                    <a:lnTo>
                      <a:pt x="204" y="118"/>
                    </a:lnTo>
                    <a:lnTo>
                      <a:pt x="208" y="114"/>
                    </a:lnTo>
                    <a:lnTo>
                      <a:pt x="217" y="100"/>
                    </a:lnTo>
                    <a:lnTo>
                      <a:pt x="217" y="100"/>
                    </a:lnTo>
                    <a:lnTo>
                      <a:pt x="222" y="96"/>
                    </a:lnTo>
                    <a:lnTo>
                      <a:pt x="217" y="91"/>
                    </a:lnTo>
                    <a:lnTo>
                      <a:pt x="217" y="91"/>
                    </a:lnTo>
                    <a:lnTo>
                      <a:pt x="213" y="86"/>
                    </a:lnTo>
                    <a:lnTo>
                      <a:pt x="213" y="86"/>
                    </a:lnTo>
                    <a:lnTo>
                      <a:pt x="213" y="82"/>
                    </a:lnTo>
                    <a:lnTo>
                      <a:pt x="213" y="82"/>
                    </a:lnTo>
                    <a:lnTo>
                      <a:pt x="213" y="77"/>
                    </a:lnTo>
                    <a:lnTo>
                      <a:pt x="213" y="77"/>
                    </a:lnTo>
                    <a:lnTo>
                      <a:pt x="213" y="73"/>
                    </a:lnTo>
                    <a:lnTo>
                      <a:pt x="213" y="73"/>
                    </a:lnTo>
                    <a:lnTo>
                      <a:pt x="213" y="73"/>
                    </a:lnTo>
                    <a:lnTo>
                      <a:pt x="213" y="68"/>
                    </a:lnTo>
                    <a:lnTo>
                      <a:pt x="213" y="68"/>
                    </a:lnTo>
                    <a:lnTo>
                      <a:pt x="217" y="64"/>
                    </a:lnTo>
                    <a:lnTo>
                      <a:pt x="217" y="46"/>
                    </a:lnTo>
                    <a:lnTo>
                      <a:pt x="217" y="46"/>
                    </a:lnTo>
                    <a:lnTo>
                      <a:pt x="222" y="46"/>
                    </a:lnTo>
                    <a:lnTo>
                      <a:pt x="222" y="46"/>
                    </a:lnTo>
                    <a:lnTo>
                      <a:pt x="226" y="46"/>
                    </a:lnTo>
                    <a:lnTo>
                      <a:pt x="226" y="46"/>
                    </a:lnTo>
                    <a:lnTo>
                      <a:pt x="231" y="46"/>
                    </a:lnTo>
                    <a:lnTo>
                      <a:pt x="231" y="46"/>
                    </a:lnTo>
                    <a:lnTo>
                      <a:pt x="235" y="41"/>
                    </a:lnTo>
                    <a:lnTo>
                      <a:pt x="235" y="41"/>
                    </a:lnTo>
                    <a:lnTo>
                      <a:pt x="235" y="37"/>
                    </a:lnTo>
                    <a:lnTo>
                      <a:pt x="235" y="37"/>
                    </a:lnTo>
                    <a:lnTo>
                      <a:pt x="235" y="32"/>
                    </a:lnTo>
                    <a:lnTo>
                      <a:pt x="235" y="32"/>
                    </a:lnTo>
                    <a:lnTo>
                      <a:pt x="235" y="32"/>
                    </a:lnTo>
                    <a:lnTo>
                      <a:pt x="235" y="27"/>
                    </a:lnTo>
                    <a:lnTo>
                      <a:pt x="231" y="27"/>
                    </a:lnTo>
                    <a:lnTo>
                      <a:pt x="231" y="27"/>
                    </a:lnTo>
                    <a:lnTo>
                      <a:pt x="226" y="27"/>
                    </a:lnTo>
                    <a:lnTo>
                      <a:pt x="226" y="27"/>
                    </a:lnTo>
                    <a:lnTo>
                      <a:pt x="222" y="23"/>
                    </a:lnTo>
                    <a:lnTo>
                      <a:pt x="222" y="23"/>
                    </a:lnTo>
                    <a:lnTo>
                      <a:pt x="222" y="23"/>
                    </a:lnTo>
                    <a:lnTo>
                      <a:pt x="222" y="18"/>
                    </a:lnTo>
                    <a:lnTo>
                      <a:pt x="222" y="18"/>
                    </a:lnTo>
                    <a:lnTo>
                      <a:pt x="222" y="14"/>
                    </a:lnTo>
                    <a:lnTo>
                      <a:pt x="222" y="9"/>
                    </a:lnTo>
                    <a:lnTo>
                      <a:pt x="222" y="9"/>
                    </a:lnTo>
                    <a:lnTo>
                      <a:pt x="222" y="9"/>
                    </a:lnTo>
                    <a:lnTo>
                      <a:pt x="222" y="9"/>
                    </a:lnTo>
                    <a:lnTo>
                      <a:pt x="217" y="9"/>
                    </a:lnTo>
                    <a:lnTo>
                      <a:pt x="217" y="5"/>
                    </a:lnTo>
                    <a:lnTo>
                      <a:pt x="217" y="5"/>
                    </a:lnTo>
                    <a:lnTo>
                      <a:pt x="204" y="0"/>
                    </a:lnTo>
                    <a:lnTo>
                      <a:pt x="204" y="0"/>
                    </a:lnTo>
                    <a:lnTo>
                      <a:pt x="204" y="5"/>
                    </a:lnTo>
                    <a:lnTo>
                      <a:pt x="199" y="14"/>
                    </a:lnTo>
                    <a:lnTo>
                      <a:pt x="195" y="18"/>
                    </a:lnTo>
                    <a:lnTo>
                      <a:pt x="195" y="23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5"/>
                    </a:lnTo>
                    <a:lnTo>
                      <a:pt x="181" y="64"/>
                    </a:lnTo>
                    <a:lnTo>
                      <a:pt x="172" y="73"/>
                    </a:lnTo>
                    <a:lnTo>
                      <a:pt x="140" y="86"/>
                    </a:lnTo>
                    <a:lnTo>
                      <a:pt x="131" y="91"/>
                    </a:lnTo>
                    <a:lnTo>
                      <a:pt x="127" y="100"/>
                    </a:lnTo>
                    <a:lnTo>
                      <a:pt x="122" y="118"/>
                    </a:lnTo>
                    <a:lnTo>
                      <a:pt x="122" y="123"/>
                    </a:lnTo>
                    <a:lnTo>
                      <a:pt x="118" y="127"/>
                    </a:lnTo>
                    <a:lnTo>
                      <a:pt x="108" y="132"/>
                    </a:lnTo>
                    <a:lnTo>
                      <a:pt x="108" y="136"/>
                    </a:lnTo>
                    <a:lnTo>
                      <a:pt x="104" y="141"/>
                    </a:lnTo>
                    <a:lnTo>
                      <a:pt x="104" y="145"/>
                    </a:lnTo>
                    <a:lnTo>
                      <a:pt x="99" y="150"/>
                    </a:lnTo>
                    <a:lnTo>
                      <a:pt x="90" y="154"/>
                    </a:lnTo>
                    <a:lnTo>
                      <a:pt x="77" y="168"/>
                    </a:lnTo>
                    <a:lnTo>
                      <a:pt x="68" y="173"/>
                    </a:lnTo>
                    <a:lnTo>
                      <a:pt x="63" y="177"/>
                    </a:lnTo>
                    <a:lnTo>
                      <a:pt x="63" y="177"/>
                    </a:lnTo>
                    <a:lnTo>
                      <a:pt x="49" y="177"/>
                    </a:lnTo>
                    <a:lnTo>
                      <a:pt x="49" y="177"/>
                    </a:lnTo>
                    <a:lnTo>
                      <a:pt x="45" y="182"/>
                    </a:lnTo>
                    <a:lnTo>
                      <a:pt x="40" y="186"/>
                    </a:lnTo>
                    <a:lnTo>
                      <a:pt x="31" y="191"/>
                    </a:lnTo>
                    <a:lnTo>
                      <a:pt x="22" y="191"/>
                    </a:lnTo>
                    <a:lnTo>
                      <a:pt x="9" y="200"/>
                    </a:lnTo>
                    <a:lnTo>
                      <a:pt x="0" y="200"/>
                    </a:lnTo>
                    <a:lnTo>
                      <a:pt x="0" y="200"/>
                    </a:lnTo>
                    <a:lnTo>
                      <a:pt x="4" y="204"/>
                    </a:lnTo>
                    <a:moveTo>
                      <a:pt x="68" y="96"/>
                    </a:moveTo>
                    <a:lnTo>
                      <a:pt x="68" y="96"/>
                    </a:lnTo>
                    <a:lnTo>
                      <a:pt x="68" y="91"/>
                    </a:lnTo>
                    <a:lnTo>
                      <a:pt x="68" y="91"/>
                    </a:lnTo>
                    <a:lnTo>
                      <a:pt x="68" y="91"/>
                    </a:lnTo>
                    <a:lnTo>
                      <a:pt x="72" y="91"/>
                    </a:lnTo>
                    <a:lnTo>
                      <a:pt x="72" y="91"/>
                    </a:lnTo>
                    <a:lnTo>
                      <a:pt x="72" y="86"/>
                    </a:lnTo>
                    <a:lnTo>
                      <a:pt x="72" y="82"/>
                    </a:lnTo>
                    <a:lnTo>
                      <a:pt x="77" y="82"/>
                    </a:lnTo>
                    <a:lnTo>
                      <a:pt x="77" y="77"/>
                    </a:lnTo>
                    <a:lnTo>
                      <a:pt x="81" y="73"/>
                    </a:lnTo>
                    <a:lnTo>
                      <a:pt x="77" y="68"/>
                    </a:lnTo>
                    <a:lnTo>
                      <a:pt x="68" y="73"/>
                    </a:lnTo>
                    <a:lnTo>
                      <a:pt x="68" y="68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59"/>
                    </a:lnTo>
                    <a:lnTo>
                      <a:pt x="72" y="59"/>
                    </a:lnTo>
                    <a:lnTo>
                      <a:pt x="77" y="50"/>
                    </a:lnTo>
                    <a:lnTo>
                      <a:pt x="77" y="50"/>
                    </a:lnTo>
                    <a:lnTo>
                      <a:pt x="77" y="46"/>
                    </a:lnTo>
                    <a:lnTo>
                      <a:pt x="81" y="46"/>
                    </a:lnTo>
                    <a:lnTo>
                      <a:pt x="81" y="46"/>
                    </a:lnTo>
                    <a:lnTo>
                      <a:pt x="86" y="41"/>
                    </a:lnTo>
                    <a:lnTo>
                      <a:pt x="90" y="37"/>
                    </a:lnTo>
                    <a:lnTo>
                      <a:pt x="95" y="32"/>
                    </a:lnTo>
                    <a:lnTo>
                      <a:pt x="95" y="27"/>
                    </a:lnTo>
                    <a:lnTo>
                      <a:pt x="95" y="27"/>
                    </a:lnTo>
                    <a:lnTo>
                      <a:pt x="99" y="27"/>
                    </a:lnTo>
                    <a:lnTo>
                      <a:pt x="99" y="27"/>
                    </a:lnTo>
                    <a:lnTo>
                      <a:pt x="99" y="32"/>
                    </a:lnTo>
                    <a:lnTo>
                      <a:pt x="95" y="41"/>
                    </a:lnTo>
                    <a:lnTo>
                      <a:pt x="95" y="46"/>
                    </a:lnTo>
                    <a:lnTo>
                      <a:pt x="90" y="55"/>
                    </a:lnTo>
                    <a:lnTo>
                      <a:pt x="90" y="59"/>
                    </a:lnTo>
                    <a:lnTo>
                      <a:pt x="90" y="64"/>
                    </a:lnTo>
                    <a:lnTo>
                      <a:pt x="90" y="64"/>
                    </a:lnTo>
                    <a:lnTo>
                      <a:pt x="90" y="64"/>
                    </a:lnTo>
                    <a:lnTo>
                      <a:pt x="90" y="59"/>
                    </a:lnTo>
                    <a:lnTo>
                      <a:pt x="95" y="64"/>
                    </a:lnTo>
                    <a:lnTo>
                      <a:pt x="99" y="59"/>
                    </a:lnTo>
                    <a:lnTo>
                      <a:pt x="104" y="59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99" y="73"/>
                    </a:lnTo>
                    <a:lnTo>
                      <a:pt x="95" y="77"/>
                    </a:lnTo>
                    <a:lnTo>
                      <a:pt x="95" y="82"/>
                    </a:lnTo>
                    <a:lnTo>
                      <a:pt x="95" y="82"/>
                    </a:lnTo>
                    <a:lnTo>
                      <a:pt x="81" y="91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8" y="96"/>
                    </a:lnTo>
                    <a:lnTo>
                      <a:pt x="68" y="96"/>
                    </a:lnTo>
                    <a:lnTo>
                      <a:pt x="68" y="96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6" name="Freeform 54"/>
              <p:cNvSpPr>
                <a:spLocks/>
              </p:cNvSpPr>
              <p:nvPr/>
            </p:nvSpPr>
            <p:spPr bwMode="auto">
              <a:xfrm>
                <a:off x="3313113" y="1966913"/>
                <a:ext cx="173038" cy="287337"/>
              </a:xfrm>
              <a:custGeom>
                <a:avLst/>
                <a:gdLst>
                  <a:gd name="T0" fmla="*/ 0 w 109"/>
                  <a:gd name="T1" fmla="*/ 72 h 181"/>
                  <a:gd name="T2" fmla="*/ 9 w 109"/>
                  <a:gd name="T3" fmla="*/ 59 h 181"/>
                  <a:gd name="T4" fmla="*/ 22 w 109"/>
                  <a:gd name="T5" fmla="*/ 45 h 181"/>
                  <a:gd name="T6" fmla="*/ 31 w 109"/>
                  <a:gd name="T7" fmla="*/ 9 h 181"/>
                  <a:gd name="T8" fmla="*/ 36 w 109"/>
                  <a:gd name="T9" fmla="*/ 0 h 181"/>
                  <a:gd name="T10" fmla="*/ 45 w 109"/>
                  <a:gd name="T11" fmla="*/ 4 h 181"/>
                  <a:gd name="T12" fmla="*/ 50 w 109"/>
                  <a:gd name="T13" fmla="*/ 0 h 181"/>
                  <a:gd name="T14" fmla="*/ 54 w 109"/>
                  <a:gd name="T15" fmla="*/ 4 h 181"/>
                  <a:gd name="T16" fmla="*/ 63 w 109"/>
                  <a:gd name="T17" fmla="*/ 9 h 181"/>
                  <a:gd name="T18" fmla="*/ 68 w 109"/>
                  <a:gd name="T19" fmla="*/ 9 h 181"/>
                  <a:gd name="T20" fmla="*/ 77 w 109"/>
                  <a:gd name="T21" fmla="*/ 13 h 181"/>
                  <a:gd name="T22" fmla="*/ 90 w 109"/>
                  <a:gd name="T23" fmla="*/ 18 h 181"/>
                  <a:gd name="T24" fmla="*/ 95 w 109"/>
                  <a:gd name="T25" fmla="*/ 27 h 181"/>
                  <a:gd name="T26" fmla="*/ 104 w 109"/>
                  <a:gd name="T27" fmla="*/ 31 h 181"/>
                  <a:gd name="T28" fmla="*/ 109 w 109"/>
                  <a:gd name="T29" fmla="*/ 45 h 181"/>
                  <a:gd name="T30" fmla="*/ 109 w 109"/>
                  <a:gd name="T31" fmla="*/ 50 h 181"/>
                  <a:gd name="T32" fmla="*/ 109 w 109"/>
                  <a:gd name="T33" fmla="*/ 54 h 181"/>
                  <a:gd name="T34" fmla="*/ 109 w 109"/>
                  <a:gd name="T35" fmla="*/ 59 h 181"/>
                  <a:gd name="T36" fmla="*/ 104 w 109"/>
                  <a:gd name="T37" fmla="*/ 59 h 181"/>
                  <a:gd name="T38" fmla="*/ 104 w 109"/>
                  <a:gd name="T39" fmla="*/ 63 h 181"/>
                  <a:gd name="T40" fmla="*/ 104 w 109"/>
                  <a:gd name="T41" fmla="*/ 72 h 181"/>
                  <a:gd name="T42" fmla="*/ 104 w 109"/>
                  <a:gd name="T43" fmla="*/ 81 h 181"/>
                  <a:gd name="T44" fmla="*/ 109 w 109"/>
                  <a:gd name="T45" fmla="*/ 86 h 181"/>
                  <a:gd name="T46" fmla="*/ 104 w 109"/>
                  <a:gd name="T47" fmla="*/ 95 h 181"/>
                  <a:gd name="T48" fmla="*/ 99 w 109"/>
                  <a:gd name="T49" fmla="*/ 99 h 181"/>
                  <a:gd name="T50" fmla="*/ 95 w 109"/>
                  <a:gd name="T51" fmla="*/ 104 h 181"/>
                  <a:gd name="T52" fmla="*/ 95 w 109"/>
                  <a:gd name="T53" fmla="*/ 113 h 181"/>
                  <a:gd name="T54" fmla="*/ 95 w 109"/>
                  <a:gd name="T55" fmla="*/ 122 h 181"/>
                  <a:gd name="T56" fmla="*/ 90 w 109"/>
                  <a:gd name="T57" fmla="*/ 127 h 181"/>
                  <a:gd name="T58" fmla="*/ 86 w 109"/>
                  <a:gd name="T59" fmla="*/ 136 h 181"/>
                  <a:gd name="T60" fmla="*/ 77 w 109"/>
                  <a:gd name="T61" fmla="*/ 136 h 181"/>
                  <a:gd name="T62" fmla="*/ 77 w 109"/>
                  <a:gd name="T63" fmla="*/ 149 h 181"/>
                  <a:gd name="T64" fmla="*/ 72 w 109"/>
                  <a:gd name="T65" fmla="*/ 158 h 181"/>
                  <a:gd name="T66" fmla="*/ 77 w 109"/>
                  <a:gd name="T67" fmla="*/ 172 h 181"/>
                  <a:gd name="T68" fmla="*/ 72 w 109"/>
                  <a:gd name="T69" fmla="*/ 177 h 181"/>
                  <a:gd name="T70" fmla="*/ 68 w 109"/>
                  <a:gd name="T71" fmla="*/ 177 h 181"/>
                  <a:gd name="T72" fmla="*/ 63 w 109"/>
                  <a:gd name="T73" fmla="*/ 177 h 181"/>
                  <a:gd name="T74" fmla="*/ 59 w 109"/>
                  <a:gd name="T75" fmla="*/ 181 h 181"/>
                  <a:gd name="T76" fmla="*/ 54 w 109"/>
                  <a:gd name="T77" fmla="*/ 177 h 181"/>
                  <a:gd name="T78" fmla="*/ 50 w 109"/>
                  <a:gd name="T79" fmla="*/ 177 h 181"/>
                  <a:gd name="T80" fmla="*/ 45 w 109"/>
                  <a:gd name="T81" fmla="*/ 177 h 181"/>
                  <a:gd name="T82" fmla="*/ 41 w 109"/>
                  <a:gd name="T83" fmla="*/ 168 h 181"/>
                  <a:gd name="T84" fmla="*/ 36 w 109"/>
                  <a:gd name="T85" fmla="*/ 168 h 181"/>
                  <a:gd name="T86" fmla="*/ 31 w 109"/>
                  <a:gd name="T87" fmla="*/ 168 h 181"/>
                  <a:gd name="T88" fmla="*/ 27 w 109"/>
                  <a:gd name="T89" fmla="*/ 168 h 181"/>
                  <a:gd name="T90" fmla="*/ 18 w 109"/>
                  <a:gd name="T91" fmla="*/ 168 h 181"/>
                  <a:gd name="T92" fmla="*/ 9 w 109"/>
                  <a:gd name="T93" fmla="*/ 158 h 181"/>
                  <a:gd name="T94" fmla="*/ 9 w 109"/>
                  <a:gd name="T95" fmla="*/ 154 h 181"/>
                  <a:gd name="T96" fmla="*/ 9 w 109"/>
                  <a:gd name="T97" fmla="*/ 145 h 181"/>
                  <a:gd name="T98" fmla="*/ 9 w 109"/>
                  <a:gd name="T99" fmla="*/ 140 h 181"/>
                  <a:gd name="T100" fmla="*/ 13 w 109"/>
                  <a:gd name="T101" fmla="*/ 118 h 181"/>
                  <a:gd name="T102" fmla="*/ 18 w 109"/>
                  <a:gd name="T103" fmla="*/ 118 h 181"/>
                  <a:gd name="T104" fmla="*/ 27 w 109"/>
                  <a:gd name="T105" fmla="*/ 118 h 181"/>
                  <a:gd name="T106" fmla="*/ 31 w 109"/>
                  <a:gd name="T107" fmla="*/ 113 h 181"/>
                  <a:gd name="T108" fmla="*/ 31 w 109"/>
                  <a:gd name="T109" fmla="*/ 104 h 181"/>
                  <a:gd name="T110" fmla="*/ 31 w 109"/>
                  <a:gd name="T111" fmla="*/ 99 h 181"/>
                  <a:gd name="T112" fmla="*/ 22 w 109"/>
                  <a:gd name="T113" fmla="*/ 99 h 181"/>
                  <a:gd name="T114" fmla="*/ 18 w 109"/>
                  <a:gd name="T115" fmla="*/ 95 h 181"/>
                  <a:gd name="T116" fmla="*/ 18 w 109"/>
                  <a:gd name="T117" fmla="*/ 90 h 181"/>
                  <a:gd name="T118" fmla="*/ 18 w 109"/>
                  <a:gd name="T119" fmla="*/ 81 h 181"/>
                  <a:gd name="T120" fmla="*/ 13 w 109"/>
                  <a:gd name="T121" fmla="*/ 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9" h="181">
                    <a:moveTo>
                      <a:pt x="13" y="77"/>
                    </a:moveTo>
                    <a:lnTo>
                      <a:pt x="13" y="77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68"/>
                    </a:lnTo>
                    <a:lnTo>
                      <a:pt x="9" y="59"/>
                    </a:lnTo>
                    <a:lnTo>
                      <a:pt x="9" y="54"/>
                    </a:lnTo>
                    <a:lnTo>
                      <a:pt x="18" y="50"/>
                    </a:lnTo>
                    <a:lnTo>
                      <a:pt x="22" y="45"/>
                    </a:lnTo>
                    <a:lnTo>
                      <a:pt x="22" y="41"/>
                    </a:lnTo>
                    <a:lnTo>
                      <a:pt x="31" y="13"/>
                    </a:lnTo>
                    <a:lnTo>
                      <a:pt x="31" y="9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4" y="4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8" y="9"/>
                    </a:lnTo>
                    <a:lnTo>
                      <a:pt x="68" y="13"/>
                    </a:lnTo>
                    <a:lnTo>
                      <a:pt x="68" y="13"/>
                    </a:lnTo>
                    <a:lnTo>
                      <a:pt x="77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5" y="27"/>
                    </a:lnTo>
                    <a:lnTo>
                      <a:pt x="95" y="27"/>
                    </a:lnTo>
                    <a:lnTo>
                      <a:pt x="99" y="31"/>
                    </a:lnTo>
                    <a:lnTo>
                      <a:pt x="104" y="31"/>
                    </a:lnTo>
                    <a:lnTo>
                      <a:pt x="104" y="36"/>
                    </a:lnTo>
                    <a:lnTo>
                      <a:pt x="109" y="41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09" y="50"/>
                    </a:lnTo>
                    <a:lnTo>
                      <a:pt x="109" y="50"/>
                    </a:lnTo>
                    <a:lnTo>
                      <a:pt x="109" y="54"/>
                    </a:lnTo>
                    <a:lnTo>
                      <a:pt x="109" y="54"/>
                    </a:lnTo>
                    <a:lnTo>
                      <a:pt x="109" y="59"/>
                    </a:lnTo>
                    <a:lnTo>
                      <a:pt x="109" y="59"/>
                    </a:lnTo>
                    <a:lnTo>
                      <a:pt x="109" y="59"/>
                    </a:lnTo>
                    <a:lnTo>
                      <a:pt x="109" y="59"/>
                    </a:lnTo>
                    <a:lnTo>
                      <a:pt x="104" y="63"/>
                    </a:lnTo>
                    <a:lnTo>
                      <a:pt x="104" y="59"/>
                    </a:lnTo>
                    <a:lnTo>
                      <a:pt x="104" y="59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104" y="77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9" y="81"/>
                    </a:lnTo>
                    <a:lnTo>
                      <a:pt x="109" y="86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99" y="99"/>
                    </a:lnTo>
                    <a:lnTo>
                      <a:pt x="99" y="99"/>
                    </a:lnTo>
                    <a:lnTo>
                      <a:pt x="99" y="104"/>
                    </a:lnTo>
                    <a:lnTo>
                      <a:pt x="95" y="104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5" y="113"/>
                    </a:lnTo>
                    <a:lnTo>
                      <a:pt x="95" y="118"/>
                    </a:lnTo>
                    <a:lnTo>
                      <a:pt x="95" y="118"/>
                    </a:lnTo>
                    <a:lnTo>
                      <a:pt x="95" y="122"/>
                    </a:lnTo>
                    <a:lnTo>
                      <a:pt x="95" y="122"/>
                    </a:lnTo>
                    <a:lnTo>
                      <a:pt x="90" y="127"/>
                    </a:lnTo>
                    <a:lnTo>
                      <a:pt x="90" y="127"/>
                    </a:lnTo>
                    <a:lnTo>
                      <a:pt x="86" y="131"/>
                    </a:lnTo>
                    <a:lnTo>
                      <a:pt x="86" y="136"/>
                    </a:lnTo>
                    <a:lnTo>
                      <a:pt x="86" y="136"/>
                    </a:lnTo>
                    <a:lnTo>
                      <a:pt x="81" y="136"/>
                    </a:lnTo>
                    <a:lnTo>
                      <a:pt x="77" y="136"/>
                    </a:lnTo>
                    <a:lnTo>
                      <a:pt x="77" y="136"/>
                    </a:lnTo>
                    <a:lnTo>
                      <a:pt x="77" y="136"/>
                    </a:lnTo>
                    <a:lnTo>
                      <a:pt x="77" y="140"/>
                    </a:lnTo>
                    <a:lnTo>
                      <a:pt x="77" y="149"/>
                    </a:lnTo>
                    <a:lnTo>
                      <a:pt x="77" y="154"/>
                    </a:lnTo>
                    <a:lnTo>
                      <a:pt x="77" y="154"/>
                    </a:lnTo>
                    <a:lnTo>
                      <a:pt x="72" y="158"/>
                    </a:lnTo>
                    <a:lnTo>
                      <a:pt x="77" y="168"/>
                    </a:lnTo>
                    <a:lnTo>
                      <a:pt x="77" y="168"/>
                    </a:lnTo>
                    <a:lnTo>
                      <a:pt x="77" y="172"/>
                    </a:lnTo>
                    <a:lnTo>
                      <a:pt x="72" y="172"/>
                    </a:lnTo>
                    <a:lnTo>
                      <a:pt x="72" y="177"/>
                    </a:lnTo>
                    <a:lnTo>
                      <a:pt x="72" y="177"/>
                    </a:lnTo>
                    <a:lnTo>
                      <a:pt x="68" y="177"/>
                    </a:lnTo>
                    <a:lnTo>
                      <a:pt x="68" y="177"/>
                    </a:lnTo>
                    <a:lnTo>
                      <a:pt x="68" y="177"/>
                    </a:lnTo>
                    <a:lnTo>
                      <a:pt x="68" y="177"/>
                    </a:lnTo>
                    <a:lnTo>
                      <a:pt x="63" y="177"/>
                    </a:lnTo>
                    <a:lnTo>
                      <a:pt x="63" y="177"/>
                    </a:lnTo>
                    <a:lnTo>
                      <a:pt x="63" y="177"/>
                    </a:lnTo>
                    <a:lnTo>
                      <a:pt x="59" y="181"/>
                    </a:lnTo>
                    <a:lnTo>
                      <a:pt x="59" y="181"/>
                    </a:lnTo>
                    <a:lnTo>
                      <a:pt x="59" y="181"/>
                    </a:lnTo>
                    <a:lnTo>
                      <a:pt x="59" y="177"/>
                    </a:lnTo>
                    <a:lnTo>
                      <a:pt x="54" y="177"/>
                    </a:lnTo>
                    <a:lnTo>
                      <a:pt x="54" y="177"/>
                    </a:lnTo>
                    <a:lnTo>
                      <a:pt x="54" y="177"/>
                    </a:lnTo>
                    <a:lnTo>
                      <a:pt x="50" y="177"/>
                    </a:lnTo>
                    <a:lnTo>
                      <a:pt x="50" y="177"/>
                    </a:lnTo>
                    <a:lnTo>
                      <a:pt x="45" y="177"/>
                    </a:lnTo>
                    <a:lnTo>
                      <a:pt x="45" y="177"/>
                    </a:lnTo>
                    <a:lnTo>
                      <a:pt x="45" y="177"/>
                    </a:lnTo>
                    <a:lnTo>
                      <a:pt x="45" y="172"/>
                    </a:lnTo>
                    <a:lnTo>
                      <a:pt x="41" y="168"/>
                    </a:lnTo>
                    <a:lnTo>
                      <a:pt x="41" y="168"/>
                    </a:lnTo>
                    <a:lnTo>
                      <a:pt x="41" y="168"/>
                    </a:lnTo>
                    <a:lnTo>
                      <a:pt x="36" y="168"/>
                    </a:lnTo>
                    <a:lnTo>
                      <a:pt x="36" y="168"/>
                    </a:lnTo>
                    <a:lnTo>
                      <a:pt x="36" y="168"/>
                    </a:lnTo>
                    <a:lnTo>
                      <a:pt x="31" y="168"/>
                    </a:lnTo>
                    <a:lnTo>
                      <a:pt x="27" y="168"/>
                    </a:lnTo>
                    <a:lnTo>
                      <a:pt x="27" y="168"/>
                    </a:lnTo>
                    <a:lnTo>
                      <a:pt x="27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18" y="168"/>
                    </a:lnTo>
                    <a:lnTo>
                      <a:pt x="13" y="163"/>
                    </a:lnTo>
                    <a:lnTo>
                      <a:pt x="13" y="163"/>
                    </a:lnTo>
                    <a:lnTo>
                      <a:pt x="9" y="158"/>
                    </a:lnTo>
                    <a:lnTo>
                      <a:pt x="9" y="158"/>
                    </a:lnTo>
                    <a:lnTo>
                      <a:pt x="9" y="154"/>
                    </a:lnTo>
                    <a:lnTo>
                      <a:pt x="9" y="154"/>
                    </a:lnTo>
                    <a:lnTo>
                      <a:pt x="9" y="149"/>
                    </a:lnTo>
                    <a:lnTo>
                      <a:pt x="9" y="149"/>
                    </a:lnTo>
                    <a:lnTo>
                      <a:pt x="9" y="145"/>
                    </a:lnTo>
                    <a:lnTo>
                      <a:pt x="9" y="145"/>
                    </a:lnTo>
                    <a:lnTo>
                      <a:pt x="9" y="145"/>
                    </a:lnTo>
                    <a:lnTo>
                      <a:pt x="9" y="140"/>
                    </a:lnTo>
                    <a:lnTo>
                      <a:pt x="9" y="140"/>
                    </a:lnTo>
                    <a:lnTo>
                      <a:pt x="13" y="136"/>
                    </a:lnTo>
                    <a:lnTo>
                      <a:pt x="13" y="118"/>
                    </a:lnTo>
                    <a:lnTo>
                      <a:pt x="13" y="118"/>
                    </a:lnTo>
                    <a:lnTo>
                      <a:pt x="18" y="118"/>
                    </a:lnTo>
                    <a:lnTo>
                      <a:pt x="18" y="118"/>
                    </a:lnTo>
                    <a:lnTo>
                      <a:pt x="22" y="118"/>
                    </a:lnTo>
                    <a:lnTo>
                      <a:pt x="22" y="118"/>
                    </a:lnTo>
                    <a:lnTo>
                      <a:pt x="27" y="118"/>
                    </a:lnTo>
                    <a:lnTo>
                      <a:pt x="27" y="118"/>
                    </a:lnTo>
                    <a:lnTo>
                      <a:pt x="31" y="113"/>
                    </a:lnTo>
                    <a:lnTo>
                      <a:pt x="31" y="113"/>
                    </a:lnTo>
                    <a:lnTo>
                      <a:pt x="31" y="109"/>
                    </a:lnTo>
                    <a:lnTo>
                      <a:pt x="31" y="109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1" y="99"/>
                    </a:lnTo>
                    <a:lnTo>
                      <a:pt x="27" y="99"/>
                    </a:lnTo>
                    <a:lnTo>
                      <a:pt x="27" y="99"/>
                    </a:lnTo>
                    <a:lnTo>
                      <a:pt x="22" y="99"/>
                    </a:lnTo>
                    <a:lnTo>
                      <a:pt x="22" y="99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8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3" y="81"/>
                    </a:lnTo>
                    <a:lnTo>
                      <a:pt x="13" y="77"/>
                    </a:lnTo>
                    <a:lnTo>
                      <a:pt x="13" y="77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157" name="Freeform 55"/>
            <p:cNvSpPr>
              <a:spLocks noEditPoints="1"/>
            </p:cNvSpPr>
            <p:nvPr/>
          </p:nvSpPr>
          <p:spPr bwMode="auto">
            <a:xfrm>
              <a:off x="1022351" y="641350"/>
              <a:ext cx="3248025" cy="3722687"/>
            </a:xfrm>
            <a:custGeom>
              <a:avLst/>
              <a:gdLst>
                <a:gd name="T0" fmla="*/ 55 w 2046"/>
                <a:gd name="T1" fmla="*/ 2345 h 2345"/>
                <a:gd name="T2" fmla="*/ 91 w 2046"/>
                <a:gd name="T3" fmla="*/ 2241 h 2345"/>
                <a:gd name="T4" fmla="*/ 254 w 2046"/>
                <a:gd name="T5" fmla="*/ 2132 h 2345"/>
                <a:gd name="T6" fmla="*/ 254 w 2046"/>
                <a:gd name="T7" fmla="*/ 2105 h 2345"/>
                <a:gd name="T8" fmla="*/ 345 w 2046"/>
                <a:gd name="T9" fmla="*/ 1914 h 2345"/>
                <a:gd name="T10" fmla="*/ 359 w 2046"/>
                <a:gd name="T11" fmla="*/ 1810 h 2345"/>
                <a:gd name="T12" fmla="*/ 408 w 2046"/>
                <a:gd name="T13" fmla="*/ 1637 h 2345"/>
                <a:gd name="T14" fmla="*/ 386 w 2046"/>
                <a:gd name="T15" fmla="*/ 1619 h 2345"/>
                <a:gd name="T16" fmla="*/ 241 w 2046"/>
                <a:gd name="T17" fmla="*/ 1560 h 2345"/>
                <a:gd name="T18" fmla="*/ 286 w 2046"/>
                <a:gd name="T19" fmla="*/ 1538 h 2345"/>
                <a:gd name="T20" fmla="*/ 300 w 2046"/>
                <a:gd name="T21" fmla="*/ 1497 h 2345"/>
                <a:gd name="T22" fmla="*/ 368 w 2046"/>
                <a:gd name="T23" fmla="*/ 1442 h 2345"/>
                <a:gd name="T24" fmla="*/ 508 w 2046"/>
                <a:gd name="T25" fmla="*/ 1452 h 2345"/>
                <a:gd name="T26" fmla="*/ 604 w 2046"/>
                <a:gd name="T27" fmla="*/ 1560 h 2345"/>
                <a:gd name="T28" fmla="*/ 549 w 2046"/>
                <a:gd name="T29" fmla="*/ 1674 h 2345"/>
                <a:gd name="T30" fmla="*/ 458 w 2046"/>
                <a:gd name="T31" fmla="*/ 1774 h 2345"/>
                <a:gd name="T32" fmla="*/ 408 w 2046"/>
                <a:gd name="T33" fmla="*/ 1733 h 2345"/>
                <a:gd name="T34" fmla="*/ 454 w 2046"/>
                <a:gd name="T35" fmla="*/ 1574 h 2345"/>
                <a:gd name="T36" fmla="*/ 368 w 2046"/>
                <a:gd name="T37" fmla="*/ 1592 h 2345"/>
                <a:gd name="T38" fmla="*/ 368 w 2046"/>
                <a:gd name="T39" fmla="*/ 1529 h 2345"/>
                <a:gd name="T40" fmla="*/ 395 w 2046"/>
                <a:gd name="T41" fmla="*/ 1483 h 2345"/>
                <a:gd name="T42" fmla="*/ 490 w 2046"/>
                <a:gd name="T43" fmla="*/ 1438 h 2345"/>
                <a:gd name="T44" fmla="*/ 703 w 2046"/>
                <a:gd name="T45" fmla="*/ 1429 h 2345"/>
                <a:gd name="T46" fmla="*/ 322 w 2046"/>
                <a:gd name="T47" fmla="*/ 1379 h 2345"/>
                <a:gd name="T48" fmla="*/ 876 w 2046"/>
                <a:gd name="T49" fmla="*/ 1515 h 2345"/>
                <a:gd name="T50" fmla="*/ 717 w 2046"/>
                <a:gd name="T51" fmla="*/ 1615 h 2345"/>
                <a:gd name="T52" fmla="*/ 653 w 2046"/>
                <a:gd name="T53" fmla="*/ 1533 h 2345"/>
                <a:gd name="T54" fmla="*/ 753 w 2046"/>
                <a:gd name="T55" fmla="*/ 1465 h 2345"/>
                <a:gd name="T56" fmla="*/ 1411 w 2046"/>
                <a:gd name="T57" fmla="*/ 1438 h 2345"/>
                <a:gd name="T58" fmla="*/ 359 w 2046"/>
                <a:gd name="T59" fmla="*/ 1329 h 2345"/>
                <a:gd name="T60" fmla="*/ 753 w 2046"/>
                <a:gd name="T61" fmla="*/ 1202 h 2345"/>
                <a:gd name="T62" fmla="*/ 1180 w 2046"/>
                <a:gd name="T63" fmla="*/ 1084 h 2345"/>
                <a:gd name="T64" fmla="*/ 1615 w 2046"/>
                <a:gd name="T65" fmla="*/ 544 h 2345"/>
                <a:gd name="T66" fmla="*/ 1697 w 2046"/>
                <a:gd name="T67" fmla="*/ 767 h 2345"/>
                <a:gd name="T68" fmla="*/ 1665 w 2046"/>
                <a:gd name="T69" fmla="*/ 853 h 2345"/>
                <a:gd name="T70" fmla="*/ 1642 w 2046"/>
                <a:gd name="T71" fmla="*/ 939 h 2345"/>
                <a:gd name="T72" fmla="*/ 1574 w 2046"/>
                <a:gd name="T73" fmla="*/ 1261 h 2345"/>
                <a:gd name="T74" fmla="*/ 1479 w 2046"/>
                <a:gd name="T75" fmla="*/ 1320 h 2345"/>
                <a:gd name="T76" fmla="*/ 1443 w 2046"/>
                <a:gd name="T77" fmla="*/ 1329 h 2345"/>
                <a:gd name="T78" fmla="*/ 1338 w 2046"/>
                <a:gd name="T79" fmla="*/ 1347 h 2345"/>
                <a:gd name="T80" fmla="*/ 1166 w 2046"/>
                <a:gd name="T81" fmla="*/ 1365 h 2345"/>
                <a:gd name="T82" fmla="*/ 1152 w 2046"/>
                <a:gd name="T83" fmla="*/ 1433 h 2345"/>
                <a:gd name="T84" fmla="*/ 1075 w 2046"/>
                <a:gd name="T85" fmla="*/ 1483 h 2345"/>
                <a:gd name="T86" fmla="*/ 962 w 2046"/>
                <a:gd name="T87" fmla="*/ 1456 h 2345"/>
                <a:gd name="T88" fmla="*/ 867 w 2046"/>
                <a:gd name="T89" fmla="*/ 1379 h 2345"/>
                <a:gd name="T90" fmla="*/ 753 w 2046"/>
                <a:gd name="T91" fmla="*/ 1415 h 2345"/>
                <a:gd name="T92" fmla="*/ 635 w 2046"/>
                <a:gd name="T93" fmla="*/ 1452 h 2345"/>
                <a:gd name="T94" fmla="*/ 549 w 2046"/>
                <a:gd name="T95" fmla="*/ 1438 h 2345"/>
                <a:gd name="T96" fmla="*/ 531 w 2046"/>
                <a:gd name="T97" fmla="*/ 1379 h 2345"/>
                <a:gd name="T98" fmla="*/ 703 w 2046"/>
                <a:gd name="T99" fmla="*/ 1270 h 2345"/>
                <a:gd name="T100" fmla="*/ 966 w 2046"/>
                <a:gd name="T101" fmla="*/ 1252 h 2345"/>
                <a:gd name="T102" fmla="*/ 1034 w 2046"/>
                <a:gd name="T103" fmla="*/ 1279 h 2345"/>
                <a:gd name="T104" fmla="*/ 1148 w 2046"/>
                <a:gd name="T105" fmla="*/ 1071 h 2345"/>
                <a:gd name="T106" fmla="*/ 1343 w 2046"/>
                <a:gd name="T107" fmla="*/ 1052 h 2345"/>
                <a:gd name="T108" fmla="*/ 1520 w 2046"/>
                <a:gd name="T109" fmla="*/ 599 h 2345"/>
                <a:gd name="T110" fmla="*/ 1570 w 2046"/>
                <a:gd name="T111" fmla="*/ 576 h 2345"/>
                <a:gd name="T112" fmla="*/ 1851 w 2046"/>
                <a:gd name="T113" fmla="*/ 168 h 2345"/>
                <a:gd name="T114" fmla="*/ 1865 w 2046"/>
                <a:gd name="T115" fmla="*/ 173 h 2345"/>
                <a:gd name="T116" fmla="*/ 2014 w 2046"/>
                <a:gd name="T117" fmla="*/ 277 h 2345"/>
                <a:gd name="T118" fmla="*/ 1946 w 2046"/>
                <a:gd name="T119" fmla="*/ 313 h 2345"/>
                <a:gd name="T120" fmla="*/ 1529 w 2046"/>
                <a:gd name="T121" fmla="*/ 390 h 2345"/>
                <a:gd name="T122" fmla="*/ 1502 w 2046"/>
                <a:gd name="T123" fmla="*/ 476 h 2345"/>
                <a:gd name="T124" fmla="*/ 1588 w 2046"/>
                <a:gd name="T125" fmla="*/ 309 h 2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46" h="2345">
                  <a:moveTo>
                    <a:pt x="9" y="2331"/>
                  </a:moveTo>
                  <a:lnTo>
                    <a:pt x="9" y="2331"/>
                  </a:lnTo>
                  <a:lnTo>
                    <a:pt x="9" y="2331"/>
                  </a:lnTo>
                  <a:lnTo>
                    <a:pt x="9" y="2331"/>
                  </a:lnTo>
                  <a:lnTo>
                    <a:pt x="9" y="2331"/>
                  </a:lnTo>
                  <a:lnTo>
                    <a:pt x="9" y="2327"/>
                  </a:lnTo>
                  <a:lnTo>
                    <a:pt x="9" y="2327"/>
                  </a:lnTo>
                  <a:lnTo>
                    <a:pt x="9" y="2327"/>
                  </a:lnTo>
                  <a:lnTo>
                    <a:pt x="9" y="2322"/>
                  </a:lnTo>
                  <a:lnTo>
                    <a:pt x="14" y="2322"/>
                  </a:lnTo>
                  <a:lnTo>
                    <a:pt x="14" y="2327"/>
                  </a:lnTo>
                  <a:lnTo>
                    <a:pt x="14" y="2327"/>
                  </a:lnTo>
                  <a:lnTo>
                    <a:pt x="14" y="2327"/>
                  </a:lnTo>
                  <a:lnTo>
                    <a:pt x="14" y="2327"/>
                  </a:lnTo>
                  <a:lnTo>
                    <a:pt x="9" y="2331"/>
                  </a:lnTo>
                  <a:lnTo>
                    <a:pt x="9" y="2331"/>
                  </a:lnTo>
                  <a:moveTo>
                    <a:pt x="5" y="2277"/>
                  </a:moveTo>
                  <a:lnTo>
                    <a:pt x="5" y="2277"/>
                  </a:lnTo>
                  <a:lnTo>
                    <a:pt x="0" y="2277"/>
                  </a:lnTo>
                  <a:lnTo>
                    <a:pt x="0" y="2277"/>
                  </a:lnTo>
                  <a:lnTo>
                    <a:pt x="0" y="2277"/>
                  </a:lnTo>
                  <a:lnTo>
                    <a:pt x="0" y="2277"/>
                  </a:lnTo>
                  <a:lnTo>
                    <a:pt x="0" y="2277"/>
                  </a:lnTo>
                  <a:lnTo>
                    <a:pt x="0" y="2277"/>
                  </a:lnTo>
                  <a:lnTo>
                    <a:pt x="0" y="2277"/>
                  </a:lnTo>
                  <a:lnTo>
                    <a:pt x="5" y="2277"/>
                  </a:lnTo>
                  <a:lnTo>
                    <a:pt x="5" y="2277"/>
                  </a:lnTo>
                  <a:moveTo>
                    <a:pt x="68" y="2272"/>
                  </a:moveTo>
                  <a:lnTo>
                    <a:pt x="68" y="2272"/>
                  </a:lnTo>
                  <a:lnTo>
                    <a:pt x="68" y="2277"/>
                  </a:lnTo>
                  <a:lnTo>
                    <a:pt x="68" y="2277"/>
                  </a:lnTo>
                  <a:lnTo>
                    <a:pt x="64" y="2272"/>
                  </a:lnTo>
                  <a:lnTo>
                    <a:pt x="64" y="2272"/>
                  </a:lnTo>
                  <a:lnTo>
                    <a:pt x="64" y="2272"/>
                  </a:lnTo>
                  <a:lnTo>
                    <a:pt x="68" y="2272"/>
                  </a:lnTo>
                  <a:lnTo>
                    <a:pt x="68" y="2272"/>
                  </a:lnTo>
                  <a:moveTo>
                    <a:pt x="127" y="2286"/>
                  </a:moveTo>
                  <a:lnTo>
                    <a:pt x="127" y="2286"/>
                  </a:lnTo>
                  <a:lnTo>
                    <a:pt x="127" y="2286"/>
                  </a:lnTo>
                  <a:lnTo>
                    <a:pt x="127" y="2286"/>
                  </a:lnTo>
                  <a:lnTo>
                    <a:pt x="127" y="2286"/>
                  </a:lnTo>
                  <a:lnTo>
                    <a:pt x="127" y="2286"/>
                  </a:lnTo>
                  <a:lnTo>
                    <a:pt x="123" y="2291"/>
                  </a:lnTo>
                  <a:lnTo>
                    <a:pt x="118" y="2291"/>
                  </a:lnTo>
                  <a:lnTo>
                    <a:pt x="114" y="2291"/>
                  </a:lnTo>
                  <a:lnTo>
                    <a:pt x="109" y="2291"/>
                  </a:lnTo>
                  <a:lnTo>
                    <a:pt x="109" y="2291"/>
                  </a:lnTo>
                  <a:lnTo>
                    <a:pt x="109" y="2291"/>
                  </a:lnTo>
                  <a:lnTo>
                    <a:pt x="105" y="2295"/>
                  </a:lnTo>
                  <a:lnTo>
                    <a:pt x="105" y="2295"/>
                  </a:lnTo>
                  <a:lnTo>
                    <a:pt x="105" y="2295"/>
                  </a:lnTo>
                  <a:lnTo>
                    <a:pt x="105" y="2295"/>
                  </a:lnTo>
                  <a:lnTo>
                    <a:pt x="105" y="2295"/>
                  </a:lnTo>
                  <a:lnTo>
                    <a:pt x="105" y="2295"/>
                  </a:lnTo>
                  <a:lnTo>
                    <a:pt x="105" y="2300"/>
                  </a:lnTo>
                  <a:lnTo>
                    <a:pt x="105" y="2300"/>
                  </a:lnTo>
                  <a:lnTo>
                    <a:pt x="105" y="2300"/>
                  </a:lnTo>
                  <a:lnTo>
                    <a:pt x="105" y="2300"/>
                  </a:lnTo>
                  <a:lnTo>
                    <a:pt x="100" y="2300"/>
                  </a:lnTo>
                  <a:lnTo>
                    <a:pt x="100" y="2300"/>
                  </a:lnTo>
                  <a:lnTo>
                    <a:pt x="95" y="2300"/>
                  </a:lnTo>
                  <a:lnTo>
                    <a:pt x="95" y="2300"/>
                  </a:lnTo>
                  <a:lnTo>
                    <a:pt x="91" y="2300"/>
                  </a:lnTo>
                  <a:lnTo>
                    <a:pt x="86" y="2304"/>
                  </a:lnTo>
                  <a:lnTo>
                    <a:pt x="86" y="2304"/>
                  </a:lnTo>
                  <a:lnTo>
                    <a:pt x="82" y="2304"/>
                  </a:lnTo>
                  <a:lnTo>
                    <a:pt x="82" y="2304"/>
                  </a:lnTo>
                  <a:lnTo>
                    <a:pt x="82" y="2309"/>
                  </a:lnTo>
                  <a:lnTo>
                    <a:pt x="82" y="2309"/>
                  </a:lnTo>
                  <a:lnTo>
                    <a:pt x="73" y="2309"/>
                  </a:lnTo>
                  <a:lnTo>
                    <a:pt x="73" y="2309"/>
                  </a:lnTo>
                  <a:lnTo>
                    <a:pt x="73" y="2309"/>
                  </a:lnTo>
                  <a:lnTo>
                    <a:pt x="68" y="2309"/>
                  </a:lnTo>
                  <a:lnTo>
                    <a:pt x="68" y="2309"/>
                  </a:lnTo>
                  <a:lnTo>
                    <a:pt x="73" y="2309"/>
                  </a:lnTo>
                  <a:lnTo>
                    <a:pt x="73" y="2313"/>
                  </a:lnTo>
                  <a:lnTo>
                    <a:pt x="73" y="2313"/>
                  </a:lnTo>
                  <a:lnTo>
                    <a:pt x="73" y="2318"/>
                  </a:lnTo>
                  <a:lnTo>
                    <a:pt x="73" y="2318"/>
                  </a:lnTo>
                  <a:lnTo>
                    <a:pt x="73" y="2322"/>
                  </a:lnTo>
                  <a:lnTo>
                    <a:pt x="77" y="2322"/>
                  </a:lnTo>
                  <a:lnTo>
                    <a:pt x="77" y="2322"/>
                  </a:lnTo>
                  <a:lnTo>
                    <a:pt x="73" y="2322"/>
                  </a:lnTo>
                  <a:lnTo>
                    <a:pt x="73" y="2322"/>
                  </a:lnTo>
                  <a:lnTo>
                    <a:pt x="68" y="2322"/>
                  </a:lnTo>
                  <a:lnTo>
                    <a:pt x="68" y="2322"/>
                  </a:lnTo>
                  <a:lnTo>
                    <a:pt x="68" y="2322"/>
                  </a:lnTo>
                  <a:lnTo>
                    <a:pt x="59" y="2331"/>
                  </a:lnTo>
                  <a:lnTo>
                    <a:pt x="59" y="2331"/>
                  </a:lnTo>
                  <a:lnTo>
                    <a:pt x="59" y="2336"/>
                  </a:lnTo>
                  <a:lnTo>
                    <a:pt x="59" y="2336"/>
                  </a:lnTo>
                  <a:lnTo>
                    <a:pt x="59" y="2336"/>
                  </a:lnTo>
                  <a:lnTo>
                    <a:pt x="64" y="2336"/>
                  </a:lnTo>
                  <a:lnTo>
                    <a:pt x="64" y="2336"/>
                  </a:lnTo>
                  <a:lnTo>
                    <a:pt x="64" y="2341"/>
                  </a:lnTo>
                  <a:lnTo>
                    <a:pt x="59" y="2341"/>
                  </a:lnTo>
                  <a:lnTo>
                    <a:pt x="59" y="2345"/>
                  </a:lnTo>
                  <a:lnTo>
                    <a:pt x="55" y="2345"/>
                  </a:lnTo>
                  <a:lnTo>
                    <a:pt x="55" y="2345"/>
                  </a:lnTo>
                  <a:lnTo>
                    <a:pt x="50" y="2345"/>
                  </a:lnTo>
                  <a:lnTo>
                    <a:pt x="50" y="2345"/>
                  </a:lnTo>
                  <a:lnTo>
                    <a:pt x="46" y="2345"/>
                  </a:lnTo>
                  <a:lnTo>
                    <a:pt x="46" y="2341"/>
                  </a:lnTo>
                  <a:lnTo>
                    <a:pt x="41" y="2331"/>
                  </a:lnTo>
                  <a:lnTo>
                    <a:pt x="46" y="2331"/>
                  </a:lnTo>
                  <a:lnTo>
                    <a:pt x="46" y="2331"/>
                  </a:lnTo>
                  <a:lnTo>
                    <a:pt x="50" y="2327"/>
                  </a:lnTo>
                  <a:lnTo>
                    <a:pt x="50" y="2327"/>
                  </a:lnTo>
                  <a:lnTo>
                    <a:pt x="50" y="2322"/>
                  </a:lnTo>
                  <a:lnTo>
                    <a:pt x="55" y="2327"/>
                  </a:lnTo>
                  <a:lnTo>
                    <a:pt x="55" y="2322"/>
                  </a:lnTo>
                  <a:lnTo>
                    <a:pt x="55" y="2322"/>
                  </a:lnTo>
                  <a:lnTo>
                    <a:pt x="55" y="2318"/>
                  </a:lnTo>
                  <a:lnTo>
                    <a:pt x="55" y="2318"/>
                  </a:lnTo>
                  <a:lnTo>
                    <a:pt x="55" y="2313"/>
                  </a:lnTo>
                  <a:lnTo>
                    <a:pt x="55" y="2309"/>
                  </a:lnTo>
                  <a:lnTo>
                    <a:pt x="55" y="2304"/>
                  </a:lnTo>
                  <a:lnTo>
                    <a:pt x="59" y="2304"/>
                  </a:lnTo>
                  <a:lnTo>
                    <a:pt x="59" y="2304"/>
                  </a:lnTo>
                  <a:lnTo>
                    <a:pt x="64" y="2304"/>
                  </a:lnTo>
                  <a:lnTo>
                    <a:pt x="64" y="2304"/>
                  </a:lnTo>
                  <a:lnTo>
                    <a:pt x="64" y="2304"/>
                  </a:lnTo>
                  <a:lnTo>
                    <a:pt x="68" y="2304"/>
                  </a:lnTo>
                  <a:lnTo>
                    <a:pt x="68" y="2304"/>
                  </a:lnTo>
                  <a:lnTo>
                    <a:pt x="68" y="2300"/>
                  </a:lnTo>
                  <a:lnTo>
                    <a:pt x="68" y="2300"/>
                  </a:lnTo>
                  <a:lnTo>
                    <a:pt x="73" y="2300"/>
                  </a:lnTo>
                  <a:lnTo>
                    <a:pt x="77" y="2300"/>
                  </a:lnTo>
                  <a:lnTo>
                    <a:pt x="82" y="2300"/>
                  </a:lnTo>
                  <a:lnTo>
                    <a:pt x="86" y="2295"/>
                  </a:lnTo>
                  <a:lnTo>
                    <a:pt x="86" y="2291"/>
                  </a:lnTo>
                  <a:lnTo>
                    <a:pt x="86" y="2291"/>
                  </a:lnTo>
                  <a:lnTo>
                    <a:pt x="82" y="2291"/>
                  </a:lnTo>
                  <a:lnTo>
                    <a:pt x="77" y="2286"/>
                  </a:lnTo>
                  <a:lnTo>
                    <a:pt x="77" y="2286"/>
                  </a:lnTo>
                  <a:lnTo>
                    <a:pt x="77" y="2286"/>
                  </a:lnTo>
                  <a:lnTo>
                    <a:pt x="77" y="2282"/>
                  </a:lnTo>
                  <a:lnTo>
                    <a:pt x="77" y="2277"/>
                  </a:lnTo>
                  <a:lnTo>
                    <a:pt x="77" y="2277"/>
                  </a:lnTo>
                  <a:lnTo>
                    <a:pt x="77" y="2277"/>
                  </a:lnTo>
                  <a:lnTo>
                    <a:pt x="82" y="2277"/>
                  </a:lnTo>
                  <a:lnTo>
                    <a:pt x="86" y="2277"/>
                  </a:lnTo>
                  <a:lnTo>
                    <a:pt x="91" y="2282"/>
                  </a:lnTo>
                  <a:lnTo>
                    <a:pt x="91" y="2282"/>
                  </a:lnTo>
                  <a:lnTo>
                    <a:pt x="91" y="2282"/>
                  </a:lnTo>
                  <a:lnTo>
                    <a:pt x="91" y="2282"/>
                  </a:lnTo>
                  <a:lnTo>
                    <a:pt x="91" y="2286"/>
                  </a:lnTo>
                  <a:lnTo>
                    <a:pt x="91" y="2286"/>
                  </a:lnTo>
                  <a:lnTo>
                    <a:pt x="91" y="2286"/>
                  </a:lnTo>
                  <a:lnTo>
                    <a:pt x="91" y="2286"/>
                  </a:lnTo>
                  <a:lnTo>
                    <a:pt x="95" y="2286"/>
                  </a:lnTo>
                  <a:lnTo>
                    <a:pt x="105" y="2286"/>
                  </a:lnTo>
                  <a:lnTo>
                    <a:pt x="105" y="2282"/>
                  </a:lnTo>
                  <a:lnTo>
                    <a:pt x="105" y="2282"/>
                  </a:lnTo>
                  <a:lnTo>
                    <a:pt x="109" y="2277"/>
                  </a:lnTo>
                  <a:lnTo>
                    <a:pt x="109" y="2277"/>
                  </a:lnTo>
                  <a:lnTo>
                    <a:pt x="109" y="2277"/>
                  </a:lnTo>
                  <a:lnTo>
                    <a:pt x="109" y="2277"/>
                  </a:lnTo>
                  <a:lnTo>
                    <a:pt x="114" y="2277"/>
                  </a:lnTo>
                  <a:lnTo>
                    <a:pt x="114" y="2272"/>
                  </a:lnTo>
                  <a:lnTo>
                    <a:pt x="114" y="2272"/>
                  </a:lnTo>
                  <a:lnTo>
                    <a:pt x="118" y="2272"/>
                  </a:lnTo>
                  <a:lnTo>
                    <a:pt x="118" y="2268"/>
                  </a:lnTo>
                  <a:lnTo>
                    <a:pt x="118" y="2268"/>
                  </a:lnTo>
                  <a:lnTo>
                    <a:pt x="123" y="2263"/>
                  </a:lnTo>
                  <a:lnTo>
                    <a:pt x="123" y="2263"/>
                  </a:lnTo>
                  <a:lnTo>
                    <a:pt x="132" y="2272"/>
                  </a:lnTo>
                  <a:lnTo>
                    <a:pt x="132" y="2272"/>
                  </a:lnTo>
                  <a:lnTo>
                    <a:pt x="132" y="2272"/>
                  </a:lnTo>
                  <a:lnTo>
                    <a:pt x="132" y="2277"/>
                  </a:lnTo>
                  <a:lnTo>
                    <a:pt x="132" y="2277"/>
                  </a:lnTo>
                  <a:lnTo>
                    <a:pt x="132" y="2277"/>
                  </a:lnTo>
                  <a:lnTo>
                    <a:pt x="132" y="2277"/>
                  </a:lnTo>
                  <a:lnTo>
                    <a:pt x="132" y="2277"/>
                  </a:lnTo>
                  <a:lnTo>
                    <a:pt x="127" y="2277"/>
                  </a:lnTo>
                  <a:lnTo>
                    <a:pt x="127" y="2282"/>
                  </a:lnTo>
                  <a:lnTo>
                    <a:pt x="127" y="2282"/>
                  </a:lnTo>
                  <a:lnTo>
                    <a:pt x="127" y="2282"/>
                  </a:lnTo>
                  <a:lnTo>
                    <a:pt x="127" y="2286"/>
                  </a:lnTo>
                  <a:moveTo>
                    <a:pt x="145" y="2250"/>
                  </a:moveTo>
                  <a:lnTo>
                    <a:pt x="145" y="2250"/>
                  </a:lnTo>
                  <a:lnTo>
                    <a:pt x="145" y="2250"/>
                  </a:lnTo>
                  <a:lnTo>
                    <a:pt x="145" y="2250"/>
                  </a:lnTo>
                  <a:lnTo>
                    <a:pt x="141" y="2245"/>
                  </a:lnTo>
                  <a:lnTo>
                    <a:pt x="141" y="2245"/>
                  </a:lnTo>
                  <a:lnTo>
                    <a:pt x="141" y="2245"/>
                  </a:lnTo>
                  <a:lnTo>
                    <a:pt x="141" y="2245"/>
                  </a:lnTo>
                  <a:lnTo>
                    <a:pt x="141" y="2245"/>
                  </a:lnTo>
                  <a:lnTo>
                    <a:pt x="141" y="2245"/>
                  </a:lnTo>
                  <a:lnTo>
                    <a:pt x="141" y="2245"/>
                  </a:lnTo>
                  <a:lnTo>
                    <a:pt x="145" y="2245"/>
                  </a:lnTo>
                  <a:lnTo>
                    <a:pt x="145" y="2245"/>
                  </a:lnTo>
                  <a:lnTo>
                    <a:pt x="145" y="2245"/>
                  </a:lnTo>
                  <a:lnTo>
                    <a:pt x="145" y="2245"/>
                  </a:lnTo>
                  <a:lnTo>
                    <a:pt x="145" y="2245"/>
                  </a:lnTo>
                  <a:lnTo>
                    <a:pt x="145" y="2250"/>
                  </a:lnTo>
                  <a:moveTo>
                    <a:pt x="91" y="2241"/>
                  </a:moveTo>
                  <a:lnTo>
                    <a:pt x="91" y="2241"/>
                  </a:lnTo>
                  <a:lnTo>
                    <a:pt x="86" y="2241"/>
                  </a:lnTo>
                  <a:lnTo>
                    <a:pt x="86" y="2241"/>
                  </a:lnTo>
                  <a:lnTo>
                    <a:pt x="95" y="2232"/>
                  </a:lnTo>
                  <a:lnTo>
                    <a:pt x="95" y="2232"/>
                  </a:lnTo>
                  <a:lnTo>
                    <a:pt x="95" y="2232"/>
                  </a:lnTo>
                  <a:lnTo>
                    <a:pt x="95" y="2236"/>
                  </a:lnTo>
                  <a:lnTo>
                    <a:pt x="91" y="2236"/>
                  </a:lnTo>
                  <a:lnTo>
                    <a:pt x="91" y="2241"/>
                  </a:lnTo>
                  <a:moveTo>
                    <a:pt x="177" y="2204"/>
                  </a:moveTo>
                  <a:lnTo>
                    <a:pt x="177" y="2204"/>
                  </a:lnTo>
                  <a:lnTo>
                    <a:pt x="177" y="2204"/>
                  </a:lnTo>
                  <a:lnTo>
                    <a:pt x="173" y="2209"/>
                  </a:lnTo>
                  <a:lnTo>
                    <a:pt x="173" y="2209"/>
                  </a:lnTo>
                  <a:lnTo>
                    <a:pt x="168" y="2209"/>
                  </a:lnTo>
                  <a:lnTo>
                    <a:pt x="168" y="2209"/>
                  </a:lnTo>
                  <a:lnTo>
                    <a:pt x="168" y="2209"/>
                  </a:lnTo>
                  <a:lnTo>
                    <a:pt x="168" y="2209"/>
                  </a:lnTo>
                  <a:lnTo>
                    <a:pt x="168" y="2209"/>
                  </a:lnTo>
                  <a:lnTo>
                    <a:pt x="163" y="2209"/>
                  </a:lnTo>
                  <a:lnTo>
                    <a:pt x="163" y="2209"/>
                  </a:lnTo>
                  <a:lnTo>
                    <a:pt x="163" y="2209"/>
                  </a:lnTo>
                  <a:lnTo>
                    <a:pt x="159" y="2209"/>
                  </a:lnTo>
                  <a:lnTo>
                    <a:pt x="159" y="2209"/>
                  </a:lnTo>
                  <a:lnTo>
                    <a:pt x="159" y="2204"/>
                  </a:lnTo>
                  <a:lnTo>
                    <a:pt x="159" y="2204"/>
                  </a:lnTo>
                  <a:lnTo>
                    <a:pt x="159" y="2204"/>
                  </a:lnTo>
                  <a:lnTo>
                    <a:pt x="159" y="2204"/>
                  </a:lnTo>
                  <a:lnTo>
                    <a:pt x="163" y="2204"/>
                  </a:lnTo>
                  <a:lnTo>
                    <a:pt x="163" y="2204"/>
                  </a:lnTo>
                  <a:lnTo>
                    <a:pt x="163" y="2204"/>
                  </a:lnTo>
                  <a:lnTo>
                    <a:pt x="168" y="2204"/>
                  </a:lnTo>
                  <a:lnTo>
                    <a:pt x="173" y="2204"/>
                  </a:lnTo>
                  <a:lnTo>
                    <a:pt x="173" y="2204"/>
                  </a:lnTo>
                  <a:lnTo>
                    <a:pt x="173" y="2204"/>
                  </a:lnTo>
                  <a:lnTo>
                    <a:pt x="182" y="2200"/>
                  </a:lnTo>
                  <a:lnTo>
                    <a:pt x="182" y="2200"/>
                  </a:lnTo>
                  <a:lnTo>
                    <a:pt x="182" y="2200"/>
                  </a:lnTo>
                  <a:lnTo>
                    <a:pt x="182" y="2200"/>
                  </a:lnTo>
                  <a:lnTo>
                    <a:pt x="182" y="2200"/>
                  </a:lnTo>
                  <a:lnTo>
                    <a:pt x="182" y="2204"/>
                  </a:lnTo>
                  <a:lnTo>
                    <a:pt x="177" y="2204"/>
                  </a:lnTo>
                  <a:moveTo>
                    <a:pt x="132" y="2145"/>
                  </a:moveTo>
                  <a:lnTo>
                    <a:pt x="132" y="2145"/>
                  </a:lnTo>
                  <a:lnTo>
                    <a:pt x="132" y="2145"/>
                  </a:lnTo>
                  <a:lnTo>
                    <a:pt x="132" y="2145"/>
                  </a:lnTo>
                  <a:lnTo>
                    <a:pt x="132" y="2141"/>
                  </a:lnTo>
                  <a:lnTo>
                    <a:pt x="132" y="2145"/>
                  </a:lnTo>
                  <a:lnTo>
                    <a:pt x="132" y="2145"/>
                  </a:lnTo>
                  <a:lnTo>
                    <a:pt x="132" y="2145"/>
                  </a:lnTo>
                  <a:moveTo>
                    <a:pt x="213" y="2177"/>
                  </a:moveTo>
                  <a:lnTo>
                    <a:pt x="213" y="2177"/>
                  </a:lnTo>
                  <a:lnTo>
                    <a:pt x="213" y="2177"/>
                  </a:lnTo>
                  <a:lnTo>
                    <a:pt x="209" y="2177"/>
                  </a:lnTo>
                  <a:lnTo>
                    <a:pt x="209" y="2177"/>
                  </a:lnTo>
                  <a:lnTo>
                    <a:pt x="209" y="2173"/>
                  </a:lnTo>
                  <a:lnTo>
                    <a:pt x="209" y="2173"/>
                  </a:lnTo>
                  <a:lnTo>
                    <a:pt x="204" y="2173"/>
                  </a:lnTo>
                  <a:lnTo>
                    <a:pt x="204" y="2168"/>
                  </a:lnTo>
                  <a:lnTo>
                    <a:pt x="209" y="2168"/>
                  </a:lnTo>
                  <a:lnTo>
                    <a:pt x="204" y="2159"/>
                  </a:lnTo>
                  <a:lnTo>
                    <a:pt x="204" y="2159"/>
                  </a:lnTo>
                  <a:lnTo>
                    <a:pt x="209" y="2155"/>
                  </a:lnTo>
                  <a:lnTo>
                    <a:pt x="209" y="2150"/>
                  </a:lnTo>
                  <a:lnTo>
                    <a:pt x="209" y="2150"/>
                  </a:lnTo>
                  <a:lnTo>
                    <a:pt x="209" y="2150"/>
                  </a:lnTo>
                  <a:lnTo>
                    <a:pt x="213" y="2150"/>
                  </a:lnTo>
                  <a:lnTo>
                    <a:pt x="218" y="2155"/>
                  </a:lnTo>
                  <a:lnTo>
                    <a:pt x="218" y="2159"/>
                  </a:lnTo>
                  <a:lnTo>
                    <a:pt x="218" y="2164"/>
                  </a:lnTo>
                  <a:lnTo>
                    <a:pt x="218" y="2164"/>
                  </a:lnTo>
                  <a:lnTo>
                    <a:pt x="222" y="2164"/>
                  </a:lnTo>
                  <a:lnTo>
                    <a:pt x="222" y="2168"/>
                  </a:lnTo>
                  <a:lnTo>
                    <a:pt x="222" y="2168"/>
                  </a:lnTo>
                  <a:lnTo>
                    <a:pt x="222" y="2168"/>
                  </a:lnTo>
                  <a:lnTo>
                    <a:pt x="218" y="2173"/>
                  </a:lnTo>
                  <a:lnTo>
                    <a:pt x="218" y="2177"/>
                  </a:lnTo>
                  <a:lnTo>
                    <a:pt x="213" y="2177"/>
                  </a:lnTo>
                  <a:lnTo>
                    <a:pt x="213" y="2177"/>
                  </a:lnTo>
                  <a:moveTo>
                    <a:pt x="245" y="2118"/>
                  </a:moveTo>
                  <a:lnTo>
                    <a:pt x="245" y="2118"/>
                  </a:lnTo>
                  <a:lnTo>
                    <a:pt x="250" y="2123"/>
                  </a:lnTo>
                  <a:lnTo>
                    <a:pt x="250" y="2123"/>
                  </a:lnTo>
                  <a:lnTo>
                    <a:pt x="250" y="2123"/>
                  </a:lnTo>
                  <a:lnTo>
                    <a:pt x="254" y="2123"/>
                  </a:lnTo>
                  <a:lnTo>
                    <a:pt x="254" y="2123"/>
                  </a:lnTo>
                  <a:lnTo>
                    <a:pt x="254" y="2127"/>
                  </a:lnTo>
                  <a:lnTo>
                    <a:pt x="250" y="2127"/>
                  </a:lnTo>
                  <a:lnTo>
                    <a:pt x="250" y="2127"/>
                  </a:lnTo>
                  <a:lnTo>
                    <a:pt x="254" y="2127"/>
                  </a:lnTo>
                  <a:lnTo>
                    <a:pt x="254" y="2132"/>
                  </a:lnTo>
                  <a:lnTo>
                    <a:pt x="254" y="2132"/>
                  </a:lnTo>
                  <a:lnTo>
                    <a:pt x="259" y="2132"/>
                  </a:lnTo>
                  <a:lnTo>
                    <a:pt x="263" y="2132"/>
                  </a:lnTo>
                  <a:lnTo>
                    <a:pt x="263" y="2136"/>
                  </a:lnTo>
                  <a:lnTo>
                    <a:pt x="259" y="2136"/>
                  </a:lnTo>
                  <a:lnTo>
                    <a:pt x="259" y="2136"/>
                  </a:lnTo>
                  <a:lnTo>
                    <a:pt x="259" y="2132"/>
                  </a:lnTo>
                  <a:lnTo>
                    <a:pt x="259" y="2132"/>
                  </a:lnTo>
                  <a:lnTo>
                    <a:pt x="254" y="2132"/>
                  </a:lnTo>
                  <a:lnTo>
                    <a:pt x="254" y="2132"/>
                  </a:lnTo>
                  <a:lnTo>
                    <a:pt x="254" y="2132"/>
                  </a:lnTo>
                  <a:lnTo>
                    <a:pt x="254" y="2136"/>
                  </a:lnTo>
                  <a:lnTo>
                    <a:pt x="254" y="2136"/>
                  </a:lnTo>
                  <a:lnTo>
                    <a:pt x="254" y="2136"/>
                  </a:lnTo>
                  <a:lnTo>
                    <a:pt x="254" y="2136"/>
                  </a:lnTo>
                  <a:lnTo>
                    <a:pt x="254" y="2136"/>
                  </a:lnTo>
                  <a:lnTo>
                    <a:pt x="254" y="2132"/>
                  </a:lnTo>
                  <a:lnTo>
                    <a:pt x="254" y="2132"/>
                  </a:lnTo>
                  <a:lnTo>
                    <a:pt x="250" y="2132"/>
                  </a:lnTo>
                  <a:lnTo>
                    <a:pt x="250" y="2132"/>
                  </a:lnTo>
                  <a:lnTo>
                    <a:pt x="250" y="2132"/>
                  </a:lnTo>
                  <a:lnTo>
                    <a:pt x="245" y="2132"/>
                  </a:lnTo>
                  <a:lnTo>
                    <a:pt x="245" y="2127"/>
                  </a:lnTo>
                  <a:lnTo>
                    <a:pt x="245" y="2127"/>
                  </a:lnTo>
                  <a:lnTo>
                    <a:pt x="245" y="2123"/>
                  </a:lnTo>
                  <a:lnTo>
                    <a:pt x="245" y="2118"/>
                  </a:lnTo>
                  <a:lnTo>
                    <a:pt x="245" y="2118"/>
                  </a:lnTo>
                  <a:lnTo>
                    <a:pt x="245" y="2118"/>
                  </a:lnTo>
                  <a:lnTo>
                    <a:pt x="245" y="2118"/>
                  </a:lnTo>
                  <a:moveTo>
                    <a:pt x="336" y="2123"/>
                  </a:moveTo>
                  <a:lnTo>
                    <a:pt x="336" y="2123"/>
                  </a:lnTo>
                  <a:lnTo>
                    <a:pt x="336" y="2123"/>
                  </a:lnTo>
                  <a:lnTo>
                    <a:pt x="331" y="2123"/>
                  </a:lnTo>
                  <a:lnTo>
                    <a:pt x="327" y="2118"/>
                  </a:lnTo>
                  <a:lnTo>
                    <a:pt x="336" y="2114"/>
                  </a:lnTo>
                  <a:lnTo>
                    <a:pt x="340" y="2114"/>
                  </a:lnTo>
                  <a:lnTo>
                    <a:pt x="345" y="2114"/>
                  </a:lnTo>
                  <a:lnTo>
                    <a:pt x="340" y="2114"/>
                  </a:lnTo>
                  <a:lnTo>
                    <a:pt x="340" y="2118"/>
                  </a:lnTo>
                  <a:lnTo>
                    <a:pt x="340" y="2118"/>
                  </a:lnTo>
                  <a:lnTo>
                    <a:pt x="336" y="2123"/>
                  </a:lnTo>
                  <a:moveTo>
                    <a:pt x="309" y="2100"/>
                  </a:moveTo>
                  <a:lnTo>
                    <a:pt x="309" y="2100"/>
                  </a:lnTo>
                  <a:lnTo>
                    <a:pt x="309" y="2100"/>
                  </a:lnTo>
                  <a:lnTo>
                    <a:pt x="309" y="2100"/>
                  </a:lnTo>
                  <a:lnTo>
                    <a:pt x="304" y="2100"/>
                  </a:lnTo>
                  <a:lnTo>
                    <a:pt x="304" y="2100"/>
                  </a:lnTo>
                  <a:lnTo>
                    <a:pt x="304" y="2100"/>
                  </a:lnTo>
                  <a:lnTo>
                    <a:pt x="300" y="2100"/>
                  </a:lnTo>
                  <a:lnTo>
                    <a:pt x="295" y="2100"/>
                  </a:lnTo>
                  <a:lnTo>
                    <a:pt x="295" y="2100"/>
                  </a:lnTo>
                  <a:lnTo>
                    <a:pt x="295" y="2105"/>
                  </a:lnTo>
                  <a:lnTo>
                    <a:pt x="295" y="2105"/>
                  </a:lnTo>
                  <a:lnTo>
                    <a:pt x="295" y="2105"/>
                  </a:lnTo>
                  <a:lnTo>
                    <a:pt x="295" y="2105"/>
                  </a:lnTo>
                  <a:lnTo>
                    <a:pt x="291" y="2105"/>
                  </a:lnTo>
                  <a:lnTo>
                    <a:pt x="286" y="2109"/>
                  </a:lnTo>
                  <a:lnTo>
                    <a:pt x="286" y="2109"/>
                  </a:lnTo>
                  <a:lnTo>
                    <a:pt x="286" y="2109"/>
                  </a:lnTo>
                  <a:lnTo>
                    <a:pt x="281" y="2114"/>
                  </a:lnTo>
                  <a:lnTo>
                    <a:pt x="281" y="2114"/>
                  </a:lnTo>
                  <a:lnTo>
                    <a:pt x="277" y="2114"/>
                  </a:lnTo>
                  <a:lnTo>
                    <a:pt x="277" y="2114"/>
                  </a:lnTo>
                  <a:lnTo>
                    <a:pt x="277" y="2114"/>
                  </a:lnTo>
                  <a:lnTo>
                    <a:pt x="277" y="2114"/>
                  </a:lnTo>
                  <a:lnTo>
                    <a:pt x="272" y="2118"/>
                  </a:lnTo>
                  <a:lnTo>
                    <a:pt x="272" y="2118"/>
                  </a:lnTo>
                  <a:lnTo>
                    <a:pt x="272" y="2118"/>
                  </a:lnTo>
                  <a:lnTo>
                    <a:pt x="272" y="2118"/>
                  </a:lnTo>
                  <a:lnTo>
                    <a:pt x="277" y="2123"/>
                  </a:lnTo>
                  <a:lnTo>
                    <a:pt x="277" y="2123"/>
                  </a:lnTo>
                  <a:lnTo>
                    <a:pt x="272" y="2123"/>
                  </a:lnTo>
                  <a:lnTo>
                    <a:pt x="268" y="2123"/>
                  </a:lnTo>
                  <a:lnTo>
                    <a:pt x="268" y="2127"/>
                  </a:lnTo>
                  <a:lnTo>
                    <a:pt x="268" y="2127"/>
                  </a:lnTo>
                  <a:lnTo>
                    <a:pt x="263" y="2127"/>
                  </a:lnTo>
                  <a:lnTo>
                    <a:pt x="263" y="2127"/>
                  </a:lnTo>
                  <a:lnTo>
                    <a:pt x="263" y="2127"/>
                  </a:lnTo>
                  <a:lnTo>
                    <a:pt x="263" y="2132"/>
                  </a:lnTo>
                  <a:lnTo>
                    <a:pt x="268" y="2132"/>
                  </a:lnTo>
                  <a:lnTo>
                    <a:pt x="263" y="2132"/>
                  </a:lnTo>
                  <a:lnTo>
                    <a:pt x="263" y="2132"/>
                  </a:lnTo>
                  <a:lnTo>
                    <a:pt x="263" y="2127"/>
                  </a:lnTo>
                  <a:lnTo>
                    <a:pt x="254" y="2123"/>
                  </a:lnTo>
                  <a:lnTo>
                    <a:pt x="254" y="2123"/>
                  </a:lnTo>
                  <a:lnTo>
                    <a:pt x="254" y="2118"/>
                  </a:lnTo>
                  <a:lnTo>
                    <a:pt x="254" y="2118"/>
                  </a:lnTo>
                  <a:lnTo>
                    <a:pt x="254" y="2118"/>
                  </a:lnTo>
                  <a:lnTo>
                    <a:pt x="254" y="2118"/>
                  </a:lnTo>
                  <a:lnTo>
                    <a:pt x="250" y="2118"/>
                  </a:lnTo>
                  <a:lnTo>
                    <a:pt x="250" y="2118"/>
                  </a:lnTo>
                  <a:lnTo>
                    <a:pt x="245" y="2114"/>
                  </a:lnTo>
                  <a:lnTo>
                    <a:pt x="241" y="2114"/>
                  </a:lnTo>
                  <a:lnTo>
                    <a:pt x="241" y="2114"/>
                  </a:lnTo>
                  <a:lnTo>
                    <a:pt x="241" y="2114"/>
                  </a:lnTo>
                  <a:lnTo>
                    <a:pt x="241" y="2114"/>
                  </a:lnTo>
                  <a:lnTo>
                    <a:pt x="241" y="2109"/>
                  </a:lnTo>
                  <a:lnTo>
                    <a:pt x="245" y="2114"/>
                  </a:lnTo>
                  <a:lnTo>
                    <a:pt x="245" y="2114"/>
                  </a:lnTo>
                  <a:lnTo>
                    <a:pt x="250" y="2114"/>
                  </a:lnTo>
                  <a:lnTo>
                    <a:pt x="250" y="2114"/>
                  </a:lnTo>
                  <a:lnTo>
                    <a:pt x="254" y="2114"/>
                  </a:lnTo>
                  <a:lnTo>
                    <a:pt x="259" y="2109"/>
                  </a:lnTo>
                  <a:lnTo>
                    <a:pt x="254" y="2109"/>
                  </a:lnTo>
                  <a:lnTo>
                    <a:pt x="250" y="2109"/>
                  </a:lnTo>
                  <a:lnTo>
                    <a:pt x="250" y="2109"/>
                  </a:lnTo>
                  <a:lnTo>
                    <a:pt x="254" y="2105"/>
                  </a:lnTo>
                  <a:lnTo>
                    <a:pt x="254" y="2105"/>
                  </a:lnTo>
                  <a:lnTo>
                    <a:pt x="254" y="2105"/>
                  </a:lnTo>
                  <a:lnTo>
                    <a:pt x="259" y="2105"/>
                  </a:lnTo>
                  <a:lnTo>
                    <a:pt x="259" y="2105"/>
                  </a:lnTo>
                  <a:lnTo>
                    <a:pt x="263" y="2105"/>
                  </a:lnTo>
                  <a:lnTo>
                    <a:pt x="263" y="2100"/>
                  </a:lnTo>
                  <a:lnTo>
                    <a:pt x="263" y="2100"/>
                  </a:lnTo>
                  <a:lnTo>
                    <a:pt x="268" y="2100"/>
                  </a:lnTo>
                  <a:lnTo>
                    <a:pt x="268" y="2105"/>
                  </a:lnTo>
                  <a:lnTo>
                    <a:pt x="272" y="2100"/>
                  </a:lnTo>
                  <a:lnTo>
                    <a:pt x="272" y="2100"/>
                  </a:lnTo>
                  <a:lnTo>
                    <a:pt x="277" y="2100"/>
                  </a:lnTo>
                  <a:lnTo>
                    <a:pt x="277" y="2100"/>
                  </a:lnTo>
                  <a:lnTo>
                    <a:pt x="277" y="2100"/>
                  </a:lnTo>
                  <a:lnTo>
                    <a:pt x="281" y="2096"/>
                  </a:lnTo>
                  <a:lnTo>
                    <a:pt x="281" y="2100"/>
                  </a:lnTo>
                  <a:lnTo>
                    <a:pt x="281" y="2100"/>
                  </a:lnTo>
                  <a:lnTo>
                    <a:pt x="281" y="2100"/>
                  </a:lnTo>
                  <a:lnTo>
                    <a:pt x="286" y="2100"/>
                  </a:lnTo>
                  <a:lnTo>
                    <a:pt x="286" y="2096"/>
                  </a:lnTo>
                  <a:lnTo>
                    <a:pt x="291" y="2096"/>
                  </a:lnTo>
                  <a:lnTo>
                    <a:pt x="300" y="2091"/>
                  </a:lnTo>
                  <a:lnTo>
                    <a:pt x="295" y="2096"/>
                  </a:lnTo>
                  <a:lnTo>
                    <a:pt x="295" y="2096"/>
                  </a:lnTo>
                  <a:lnTo>
                    <a:pt x="300" y="2100"/>
                  </a:lnTo>
                  <a:lnTo>
                    <a:pt x="300" y="2096"/>
                  </a:lnTo>
                  <a:lnTo>
                    <a:pt x="300" y="2096"/>
                  </a:lnTo>
                  <a:lnTo>
                    <a:pt x="304" y="2091"/>
                  </a:lnTo>
                  <a:lnTo>
                    <a:pt x="304" y="2091"/>
                  </a:lnTo>
                  <a:lnTo>
                    <a:pt x="304" y="2091"/>
                  </a:lnTo>
                  <a:lnTo>
                    <a:pt x="304" y="2091"/>
                  </a:lnTo>
                  <a:lnTo>
                    <a:pt x="304" y="2091"/>
                  </a:lnTo>
                  <a:lnTo>
                    <a:pt x="304" y="2091"/>
                  </a:lnTo>
                  <a:lnTo>
                    <a:pt x="304" y="2091"/>
                  </a:lnTo>
                  <a:lnTo>
                    <a:pt x="309" y="2096"/>
                  </a:lnTo>
                  <a:lnTo>
                    <a:pt x="309" y="2096"/>
                  </a:lnTo>
                  <a:lnTo>
                    <a:pt x="309" y="2096"/>
                  </a:lnTo>
                  <a:lnTo>
                    <a:pt x="309" y="2100"/>
                  </a:lnTo>
                  <a:lnTo>
                    <a:pt x="309" y="2100"/>
                  </a:lnTo>
                  <a:moveTo>
                    <a:pt x="309" y="1973"/>
                  </a:moveTo>
                  <a:lnTo>
                    <a:pt x="309" y="1973"/>
                  </a:lnTo>
                  <a:lnTo>
                    <a:pt x="304" y="1973"/>
                  </a:lnTo>
                  <a:lnTo>
                    <a:pt x="304" y="1973"/>
                  </a:lnTo>
                  <a:lnTo>
                    <a:pt x="304" y="1973"/>
                  </a:lnTo>
                  <a:lnTo>
                    <a:pt x="304" y="1973"/>
                  </a:lnTo>
                  <a:lnTo>
                    <a:pt x="304" y="1973"/>
                  </a:lnTo>
                  <a:lnTo>
                    <a:pt x="309" y="1973"/>
                  </a:lnTo>
                  <a:lnTo>
                    <a:pt x="309" y="1973"/>
                  </a:lnTo>
                  <a:lnTo>
                    <a:pt x="309" y="1973"/>
                  </a:lnTo>
                  <a:lnTo>
                    <a:pt x="309" y="1973"/>
                  </a:lnTo>
                  <a:lnTo>
                    <a:pt x="309" y="1973"/>
                  </a:lnTo>
                  <a:lnTo>
                    <a:pt x="309" y="1973"/>
                  </a:lnTo>
                  <a:moveTo>
                    <a:pt x="322" y="1955"/>
                  </a:moveTo>
                  <a:lnTo>
                    <a:pt x="322" y="1955"/>
                  </a:lnTo>
                  <a:lnTo>
                    <a:pt x="322" y="1955"/>
                  </a:lnTo>
                  <a:lnTo>
                    <a:pt x="322" y="1955"/>
                  </a:lnTo>
                  <a:lnTo>
                    <a:pt x="322" y="1950"/>
                  </a:lnTo>
                  <a:lnTo>
                    <a:pt x="322" y="1950"/>
                  </a:lnTo>
                  <a:lnTo>
                    <a:pt x="327" y="1950"/>
                  </a:lnTo>
                  <a:lnTo>
                    <a:pt x="327" y="1950"/>
                  </a:lnTo>
                  <a:lnTo>
                    <a:pt x="322" y="1955"/>
                  </a:lnTo>
                  <a:moveTo>
                    <a:pt x="345" y="1932"/>
                  </a:moveTo>
                  <a:lnTo>
                    <a:pt x="345" y="1932"/>
                  </a:lnTo>
                  <a:lnTo>
                    <a:pt x="345" y="1932"/>
                  </a:lnTo>
                  <a:lnTo>
                    <a:pt x="340" y="1932"/>
                  </a:lnTo>
                  <a:lnTo>
                    <a:pt x="340" y="1928"/>
                  </a:lnTo>
                  <a:lnTo>
                    <a:pt x="340" y="1928"/>
                  </a:lnTo>
                  <a:lnTo>
                    <a:pt x="340" y="1928"/>
                  </a:lnTo>
                  <a:lnTo>
                    <a:pt x="340" y="1928"/>
                  </a:lnTo>
                  <a:lnTo>
                    <a:pt x="340" y="1928"/>
                  </a:lnTo>
                  <a:lnTo>
                    <a:pt x="340" y="1928"/>
                  </a:lnTo>
                  <a:lnTo>
                    <a:pt x="345" y="1928"/>
                  </a:lnTo>
                  <a:lnTo>
                    <a:pt x="345" y="1928"/>
                  </a:lnTo>
                  <a:lnTo>
                    <a:pt x="345" y="1928"/>
                  </a:lnTo>
                  <a:lnTo>
                    <a:pt x="345" y="1932"/>
                  </a:lnTo>
                  <a:lnTo>
                    <a:pt x="349" y="1932"/>
                  </a:lnTo>
                  <a:lnTo>
                    <a:pt x="345" y="1932"/>
                  </a:lnTo>
                  <a:lnTo>
                    <a:pt x="345" y="1932"/>
                  </a:lnTo>
                  <a:moveTo>
                    <a:pt x="304" y="1919"/>
                  </a:moveTo>
                  <a:lnTo>
                    <a:pt x="304" y="1919"/>
                  </a:lnTo>
                  <a:lnTo>
                    <a:pt x="304" y="1919"/>
                  </a:lnTo>
                  <a:lnTo>
                    <a:pt x="304" y="1919"/>
                  </a:lnTo>
                  <a:lnTo>
                    <a:pt x="304" y="1919"/>
                  </a:lnTo>
                  <a:lnTo>
                    <a:pt x="304" y="1919"/>
                  </a:lnTo>
                  <a:lnTo>
                    <a:pt x="304" y="1919"/>
                  </a:lnTo>
                  <a:lnTo>
                    <a:pt x="304" y="1919"/>
                  </a:lnTo>
                  <a:lnTo>
                    <a:pt x="304" y="1919"/>
                  </a:lnTo>
                  <a:lnTo>
                    <a:pt x="304" y="1919"/>
                  </a:lnTo>
                  <a:lnTo>
                    <a:pt x="304" y="1919"/>
                  </a:lnTo>
                  <a:moveTo>
                    <a:pt x="349" y="1919"/>
                  </a:moveTo>
                  <a:lnTo>
                    <a:pt x="349" y="1919"/>
                  </a:lnTo>
                  <a:lnTo>
                    <a:pt x="349" y="1919"/>
                  </a:lnTo>
                  <a:lnTo>
                    <a:pt x="349" y="1919"/>
                  </a:lnTo>
                  <a:lnTo>
                    <a:pt x="345" y="1919"/>
                  </a:lnTo>
                  <a:lnTo>
                    <a:pt x="345" y="1914"/>
                  </a:lnTo>
                  <a:lnTo>
                    <a:pt x="345" y="1914"/>
                  </a:lnTo>
                  <a:lnTo>
                    <a:pt x="345" y="1914"/>
                  </a:lnTo>
                  <a:lnTo>
                    <a:pt x="345" y="1914"/>
                  </a:lnTo>
                  <a:lnTo>
                    <a:pt x="345" y="1914"/>
                  </a:lnTo>
                  <a:lnTo>
                    <a:pt x="345" y="1914"/>
                  </a:lnTo>
                  <a:lnTo>
                    <a:pt x="349" y="1914"/>
                  </a:lnTo>
                  <a:lnTo>
                    <a:pt x="345" y="1910"/>
                  </a:lnTo>
                  <a:lnTo>
                    <a:pt x="349" y="1910"/>
                  </a:lnTo>
                  <a:lnTo>
                    <a:pt x="349" y="1914"/>
                  </a:lnTo>
                  <a:lnTo>
                    <a:pt x="349" y="1914"/>
                  </a:lnTo>
                  <a:lnTo>
                    <a:pt x="349" y="1914"/>
                  </a:lnTo>
                  <a:lnTo>
                    <a:pt x="349" y="1914"/>
                  </a:lnTo>
                  <a:lnTo>
                    <a:pt x="349" y="1919"/>
                  </a:lnTo>
                  <a:lnTo>
                    <a:pt x="349" y="1919"/>
                  </a:lnTo>
                  <a:lnTo>
                    <a:pt x="349" y="1919"/>
                  </a:lnTo>
                  <a:lnTo>
                    <a:pt x="349" y="1919"/>
                  </a:lnTo>
                  <a:moveTo>
                    <a:pt x="422" y="1891"/>
                  </a:moveTo>
                  <a:lnTo>
                    <a:pt x="422" y="1891"/>
                  </a:lnTo>
                  <a:lnTo>
                    <a:pt x="418" y="1891"/>
                  </a:lnTo>
                  <a:lnTo>
                    <a:pt x="413" y="1891"/>
                  </a:lnTo>
                  <a:lnTo>
                    <a:pt x="413" y="1887"/>
                  </a:lnTo>
                  <a:lnTo>
                    <a:pt x="408" y="1887"/>
                  </a:lnTo>
                  <a:lnTo>
                    <a:pt x="408" y="1882"/>
                  </a:lnTo>
                  <a:lnTo>
                    <a:pt x="404" y="1873"/>
                  </a:lnTo>
                  <a:lnTo>
                    <a:pt x="404" y="1873"/>
                  </a:lnTo>
                  <a:lnTo>
                    <a:pt x="404" y="1873"/>
                  </a:lnTo>
                  <a:lnTo>
                    <a:pt x="404" y="1869"/>
                  </a:lnTo>
                  <a:lnTo>
                    <a:pt x="404" y="1869"/>
                  </a:lnTo>
                  <a:lnTo>
                    <a:pt x="413" y="1869"/>
                  </a:lnTo>
                  <a:lnTo>
                    <a:pt x="418" y="1864"/>
                  </a:lnTo>
                  <a:lnTo>
                    <a:pt x="418" y="1864"/>
                  </a:lnTo>
                  <a:lnTo>
                    <a:pt x="422" y="1864"/>
                  </a:lnTo>
                  <a:lnTo>
                    <a:pt x="431" y="1869"/>
                  </a:lnTo>
                  <a:lnTo>
                    <a:pt x="436" y="1873"/>
                  </a:lnTo>
                  <a:lnTo>
                    <a:pt x="436" y="1878"/>
                  </a:lnTo>
                  <a:lnTo>
                    <a:pt x="436" y="1882"/>
                  </a:lnTo>
                  <a:lnTo>
                    <a:pt x="431" y="1887"/>
                  </a:lnTo>
                  <a:lnTo>
                    <a:pt x="431" y="1891"/>
                  </a:lnTo>
                  <a:lnTo>
                    <a:pt x="427" y="1891"/>
                  </a:lnTo>
                  <a:lnTo>
                    <a:pt x="422" y="1891"/>
                  </a:lnTo>
                  <a:moveTo>
                    <a:pt x="390" y="1864"/>
                  </a:moveTo>
                  <a:lnTo>
                    <a:pt x="390" y="1864"/>
                  </a:lnTo>
                  <a:lnTo>
                    <a:pt x="386" y="1864"/>
                  </a:lnTo>
                  <a:lnTo>
                    <a:pt x="386" y="1864"/>
                  </a:lnTo>
                  <a:lnTo>
                    <a:pt x="386" y="1860"/>
                  </a:lnTo>
                  <a:lnTo>
                    <a:pt x="386" y="1860"/>
                  </a:lnTo>
                  <a:lnTo>
                    <a:pt x="386" y="1860"/>
                  </a:lnTo>
                  <a:lnTo>
                    <a:pt x="381" y="1860"/>
                  </a:lnTo>
                  <a:lnTo>
                    <a:pt x="381" y="1860"/>
                  </a:lnTo>
                  <a:lnTo>
                    <a:pt x="381" y="1855"/>
                  </a:lnTo>
                  <a:lnTo>
                    <a:pt x="381" y="1855"/>
                  </a:lnTo>
                  <a:lnTo>
                    <a:pt x="381" y="1855"/>
                  </a:lnTo>
                  <a:lnTo>
                    <a:pt x="381" y="1855"/>
                  </a:lnTo>
                  <a:lnTo>
                    <a:pt x="386" y="1855"/>
                  </a:lnTo>
                  <a:lnTo>
                    <a:pt x="386" y="1860"/>
                  </a:lnTo>
                  <a:lnTo>
                    <a:pt x="390" y="1860"/>
                  </a:lnTo>
                  <a:lnTo>
                    <a:pt x="390" y="1860"/>
                  </a:lnTo>
                  <a:lnTo>
                    <a:pt x="390" y="1864"/>
                  </a:lnTo>
                  <a:moveTo>
                    <a:pt x="463" y="1882"/>
                  </a:moveTo>
                  <a:lnTo>
                    <a:pt x="463" y="1882"/>
                  </a:lnTo>
                  <a:lnTo>
                    <a:pt x="463" y="1882"/>
                  </a:lnTo>
                  <a:lnTo>
                    <a:pt x="458" y="1882"/>
                  </a:lnTo>
                  <a:lnTo>
                    <a:pt x="458" y="1878"/>
                  </a:lnTo>
                  <a:lnTo>
                    <a:pt x="458" y="1873"/>
                  </a:lnTo>
                  <a:lnTo>
                    <a:pt x="458" y="1869"/>
                  </a:lnTo>
                  <a:lnTo>
                    <a:pt x="463" y="1864"/>
                  </a:lnTo>
                  <a:lnTo>
                    <a:pt x="467" y="1860"/>
                  </a:lnTo>
                  <a:lnTo>
                    <a:pt x="467" y="1855"/>
                  </a:lnTo>
                  <a:lnTo>
                    <a:pt x="472" y="1855"/>
                  </a:lnTo>
                  <a:lnTo>
                    <a:pt x="472" y="1851"/>
                  </a:lnTo>
                  <a:lnTo>
                    <a:pt x="472" y="1846"/>
                  </a:lnTo>
                  <a:lnTo>
                    <a:pt x="472" y="1846"/>
                  </a:lnTo>
                  <a:lnTo>
                    <a:pt x="472" y="1842"/>
                  </a:lnTo>
                  <a:lnTo>
                    <a:pt x="472" y="1842"/>
                  </a:lnTo>
                  <a:lnTo>
                    <a:pt x="472" y="1842"/>
                  </a:lnTo>
                  <a:lnTo>
                    <a:pt x="476" y="1837"/>
                  </a:lnTo>
                  <a:lnTo>
                    <a:pt x="481" y="1828"/>
                  </a:lnTo>
                  <a:lnTo>
                    <a:pt x="481" y="1823"/>
                  </a:lnTo>
                  <a:lnTo>
                    <a:pt x="486" y="1823"/>
                  </a:lnTo>
                  <a:lnTo>
                    <a:pt x="486" y="1823"/>
                  </a:lnTo>
                  <a:lnTo>
                    <a:pt x="486" y="1823"/>
                  </a:lnTo>
                  <a:lnTo>
                    <a:pt x="486" y="1828"/>
                  </a:lnTo>
                  <a:lnTo>
                    <a:pt x="486" y="1837"/>
                  </a:lnTo>
                  <a:lnTo>
                    <a:pt x="486" y="1837"/>
                  </a:lnTo>
                  <a:lnTo>
                    <a:pt x="481" y="1851"/>
                  </a:lnTo>
                  <a:lnTo>
                    <a:pt x="481" y="1851"/>
                  </a:lnTo>
                  <a:lnTo>
                    <a:pt x="481" y="1855"/>
                  </a:lnTo>
                  <a:lnTo>
                    <a:pt x="481" y="1855"/>
                  </a:lnTo>
                  <a:lnTo>
                    <a:pt x="476" y="1860"/>
                  </a:lnTo>
                  <a:lnTo>
                    <a:pt x="472" y="1864"/>
                  </a:lnTo>
                  <a:lnTo>
                    <a:pt x="472" y="1873"/>
                  </a:lnTo>
                  <a:lnTo>
                    <a:pt x="467" y="1878"/>
                  </a:lnTo>
                  <a:lnTo>
                    <a:pt x="467" y="1878"/>
                  </a:lnTo>
                  <a:lnTo>
                    <a:pt x="463" y="1882"/>
                  </a:lnTo>
                  <a:lnTo>
                    <a:pt x="463" y="1882"/>
                  </a:lnTo>
                  <a:moveTo>
                    <a:pt x="304" y="1801"/>
                  </a:moveTo>
                  <a:lnTo>
                    <a:pt x="304" y="1801"/>
                  </a:lnTo>
                  <a:lnTo>
                    <a:pt x="304" y="1801"/>
                  </a:lnTo>
                  <a:lnTo>
                    <a:pt x="304" y="1801"/>
                  </a:lnTo>
                  <a:lnTo>
                    <a:pt x="304" y="1801"/>
                  </a:lnTo>
                  <a:lnTo>
                    <a:pt x="304" y="1801"/>
                  </a:lnTo>
                  <a:moveTo>
                    <a:pt x="359" y="1810"/>
                  </a:moveTo>
                  <a:lnTo>
                    <a:pt x="359" y="1810"/>
                  </a:lnTo>
                  <a:lnTo>
                    <a:pt x="359" y="1810"/>
                  </a:lnTo>
                  <a:lnTo>
                    <a:pt x="359" y="1810"/>
                  </a:lnTo>
                  <a:lnTo>
                    <a:pt x="359" y="1810"/>
                  </a:lnTo>
                  <a:lnTo>
                    <a:pt x="359" y="1810"/>
                  </a:lnTo>
                  <a:lnTo>
                    <a:pt x="359" y="1810"/>
                  </a:lnTo>
                  <a:lnTo>
                    <a:pt x="359" y="1810"/>
                  </a:lnTo>
                  <a:lnTo>
                    <a:pt x="359" y="1810"/>
                  </a:lnTo>
                  <a:lnTo>
                    <a:pt x="359" y="1805"/>
                  </a:lnTo>
                  <a:lnTo>
                    <a:pt x="359" y="1805"/>
                  </a:lnTo>
                  <a:lnTo>
                    <a:pt x="359" y="1805"/>
                  </a:lnTo>
                  <a:lnTo>
                    <a:pt x="363" y="1810"/>
                  </a:lnTo>
                  <a:lnTo>
                    <a:pt x="363" y="1810"/>
                  </a:lnTo>
                  <a:lnTo>
                    <a:pt x="363" y="1810"/>
                  </a:lnTo>
                  <a:lnTo>
                    <a:pt x="363" y="1810"/>
                  </a:lnTo>
                  <a:lnTo>
                    <a:pt x="359" y="1810"/>
                  </a:lnTo>
                  <a:moveTo>
                    <a:pt x="345" y="1706"/>
                  </a:moveTo>
                  <a:lnTo>
                    <a:pt x="345" y="1706"/>
                  </a:lnTo>
                  <a:lnTo>
                    <a:pt x="345" y="1706"/>
                  </a:lnTo>
                  <a:lnTo>
                    <a:pt x="340" y="1706"/>
                  </a:lnTo>
                  <a:lnTo>
                    <a:pt x="340" y="1706"/>
                  </a:lnTo>
                  <a:lnTo>
                    <a:pt x="340" y="1701"/>
                  </a:lnTo>
                  <a:lnTo>
                    <a:pt x="340" y="1701"/>
                  </a:lnTo>
                  <a:lnTo>
                    <a:pt x="345" y="1696"/>
                  </a:lnTo>
                  <a:lnTo>
                    <a:pt x="345" y="1696"/>
                  </a:lnTo>
                  <a:lnTo>
                    <a:pt x="349" y="1696"/>
                  </a:lnTo>
                  <a:lnTo>
                    <a:pt x="349" y="1692"/>
                  </a:lnTo>
                  <a:lnTo>
                    <a:pt x="354" y="1692"/>
                  </a:lnTo>
                  <a:lnTo>
                    <a:pt x="354" y="1692"/>
                  </a:lnTo>
                  <a:lnTo>
                    <a:pt x="354" y="1687"/>
                  </a:lnTo>
                  <a:lnTo>
                    <a:pt x="354" y="1687"/>
                  </a:lnTo>
                  <a:lnTo>
                    <a:pt x="354" y="1692"/>
                  </a:lnTo>
                  <a:lnTo>
                    <a:pt x="354" y="1696"/>
                  </a:lnTo>
                  <a:lnTo>
                    <a:pt x="354" y="1696"/>
                  </a:lnTo>
                  <a:lnTo>
                    <a:pt x="354" y="1696"/>
                  </a:lnTo>
                  <a:lnTo>
                    <a:pt x="349" y="1701"/>
                  </a:lnTo>
                  <a:lnTo>
                    <a:pt x="345" y="1706"/>
                  </a:lnTo>
                  <a:lnTo>
                    <a:pt x="345" y="1706"/>
                  </a:lnTo>
                  <a:moveTo>
                    <a:pt x="363" y="1678"/>
                  </a:moveTo>
                  <a:lnTo>
                    <a:pt x="363" y="1678"/>
                  </a:lnTo>
                  <a:lnTo>
                    <a:pt x="368" y="1683"/>
                  </a:lnTo>
                  <a:lnTo>
                    <a:pt x="368" y="1683"/>
                  </a:lnTo>
                  <a:lnTo>
                    <a:pt x="368" y="1683"/>
                  </a:lnTo>
                  <a:lnTo>
                    <a:pt x="368" y="1683"/>
                  </a:lnTo>
                  <a:lnTo>
                    <a:pt x="368" y="1683"/>
                  </a:lnTo>
                  <a:lnTo>
                    <a:pt x="372" y="1683"/>
                  </a:lnTo>
                  <a:lnTo>
                    <a:pt x="372" y="1683"/>
                  </a:lnTo>
                  <a:lnTo>
                    <a:pt x="372" y="1683"/>
                  </a:lnTo>
                  <a:lnTo>
                    <a:pt x="372" y="1683"/>
                  </a:lnTo>
                  <a:lnTo>
                    <a:pt x="372" y="1683"/>
                  </a:lnTo>
                  <a:lnTo>
                    <a:pt x="372" y="1683"/>
                  </a:lnTo>
                  <a:lnTo>
                    <a:pt x="372" y="1683"/>
                  </a:lnTo>
                  <a:lnTo>
                    <a:pt x="372" y="1683"/>
                  </a:lnTo>
                  <a:lnTo>
                    <a:pt x="372" y="1687"/>
                  </a:lnTo>
                  <a:lnTo>
                    <a:pt x="372" y="1687"/>
                  </a:lnTo>
                  <a:lnTo>
                    <a:pt x="372" y="1687"/>
                  </a:lnTo>
                  <a:lnTo>
                    <a:pt x="368" y="1687"/>
                  </a:lnTo>
                  <a:lnTo>
                    <a:pt x="368" y="1687"/>
                  </a:lnTo>
                  <a:lnTo>
                    <a:pt x="368" y="1687"/>
                  </a:lnTo>
                  <a:lnTo>
                    <a:pt x="363" y="1687"/>
                  </a:lnTo>
                  <a:lnTo>
                    <a:pt x="363" y="1687"/>
                  </a:lnTo>
                  <a:lnTo>
                    <a:pt x="363" y="1687"/>
                  </a:lnTo>
                  <a:lnTo>
                    <a:pt x="363" y="1687"/>
                  </a:lnTo>
                  <a:lnTo>
                    <a:pt x="363" y="1683"/>
                  </a:lnTo>
                  <a:lnTo>
                    <a:pt x="363" y="1683"/>
                  </a:lnTo>
                  <a:lnTo>
                    <a:pt x="363" y="1683"/>
                  </a:lnTo>
                  <a:lnTo>
                    <a:pt x="363" y="1683"/>
                  </a:lnTo>
                  <a:lnTo>
                    <a:pt x="363" y="1683"/>
                  </a:lnTo>
                  <a:lnTo>
                    <a:pt x="363" y="1683"/>
                  </a:lnTo>
                  <a:lnTo>
                    <a:pt x="363" y="1683"/>
                  </a:lnTo>
                  <a:lnTo>
                    <a:pt x="359" y="1683"/>
                  </a:lnTo>
                  <a:lnTo>
                    <a:pt x="359" y="1683"/>
                  </a:lnTo>
                  <a:lnTo>
                    <a:pt x="359" y="1683"/>
                  </a:lnTo>
                  <a:lnTo>
                    <a:pt x="359" y="1683"/>
                  </a:lnTo>
                  <a:lnTo>
                    <a:pt x="359" y="1678"/>
                  </a:lnTo>
                  <a:lnTo>
                    <a:pt x="363" y="1678"/>
                  </a:lnTo>
                  <a:lnTo>
                    <a:pt x="363" y="1678"/>
                  </a:lnTo>
                  <a:lnTo>
                    <a:pt x="363" y="1678"/>
                  </a:lnTo>
                  <a:moveTo>
                    <a:pt x="399" y="1656"/>
                  </a:moveTo>
                  <a:lnTo>
                    <a:pt x="399" y="1656"/>
                  </a:lnTo>
                  <a:lnTo>
                    <a:pt x="399" y="1656"/>
                  </a:lnTo>
                  <a:lnTo>
                    <a:pt x="395" y="1651"/>
                  </a:lnTo>
                  <a:lnTo>
                    <a:pt x="395" y="1651"/>
                  </a:lnTo>
                  <a:lnTo>
                    <a:pt x="399" y="1651"/>
                  </a:lnTo>
                  <a:lnTo>
                    <a:pt x="395" y="1647"/>
                  </a:lnTo>
                  <a:lnTo>
                    <a:pt x="395" y="1647"/>
                  </a:lnTo>
                  <a:lnTo>
                    <a:pt x="395" y="1642"/>
                  </a:lnTo>
                  <a:lnTo>
                    <a:pt x="395" y="1642"/>
                  </a:lnTo>
                  <a:lnTo>
                    <a:pt x="395" y="1642"/>
                  </a:lnTo>
                  <a:lnTo>
                    <a:pt x="399" y="1642"/>
                  </a:lnTo>
                  <a:lnTo>
                    <a:pt x="399" y="1642"/>
                  </a:lnTo>
                  <a:lnTo>
                    <a:pt x="404" y="1642"/>
                  </a:lnTo>
                  <a:lnTo>
                    <a:pt x="404" y="1642"/>
                  </a:lnTo>
                  <a:lnTo>
                    <a:pt x="404" y="1647"/>
                  </a:lnTo>
                  <a:lnTo>
                    <a:pt x="404" y="1647"/>
                  </a:lnTo>
                  <a:lnTo>
                    <a:pt x="399" y="1651"/>
                  </a:lnTo>
                  <a:lnTo>
                    <a:pt x="399" y="1656"/>
                  </a:lnTo>
                  <a:moveTo>
                    <a:pt x="408" y="1637"/>
                  </a:moveTo>
                  <a:lnTo>
                    <a:pt x="408" y="1637"/>
                  </a:lnTo>
                  <a:lnTo>
                    <a:pt x="408" y="1637"/>
                  </a:lnTo>
                  <a:lnTo>
                    <a:pt x="408" y="1637"/>
                  </a:lnTo>
                  <a:lnTo>
                    <a:pt x="408" y="1637"/>
                  </a:lnTo>
                  <a:lnTo>
                    <a:pt x="408" y="1633"/>
                  </a:lnTo>
                  <a:lnTo>
                    <a:pt x="408" y="1633"/>
                  </a:lnTo>
                  <a:lnTo>
                    <a:pt x="408" y="1633"/>
                  </a:lnTo>
                  <a:lnTo>
                    <a:pt x="408" y="1633"/>
                  </a:lnTo>
                  <a:lnTo>
                    <a:pt x="408" y="1633"/>
                  </a:lnTo>
                  <a:lnTo>
                    <a:pt x="408" y="1633"/>
                  </a:lnTo>
                  <a:lnTo>
                    <a:pt x="413" y="1633"/>
                  </a:lnTo>
                  <a:lnTo>
                    <a:pt x="413" y="1633"/>
                  </a:lnTo>
                  <a:lnTo>
                    <a:pt x="413" y="1633"/>
                  </a:lnTo>
                  <a:lnTo>
                    <a:pt x="413" y="1633"/>
                  </a:lnTo>
                  <a:lnTo>
                    <a:pt x="413" y="1637"/>
                  </a:lnTo>
                  <a:lnTo>
                    <a:pt x="408" y="1637"/>
                  </a:lnTo>
                  <a:lnTo>
                    <a:pt x="408" y="1637"/>
                  </a:lnTo>
                  <a:lnTo>
                    <a:pt x="408" y="1637"/>
                  </a:lnTo>
                  <a:moveTo>
                    <a:pt x="431" y="1610"/>
                  </a:moveTo>
                  <a:lnTo>
                    <a:pt x="431" y="1610"/>
                  </a:lnTo>
                  <a:lnTo>
                    <a:pt x="431" y="1610"/>
                  </a:lnTo>
                  <a:lnTo>
                    <a:pt x="431" y="1610"/>
                  </a:lnTo>
                  <a:lnTo>
                    <a:pt x="436" y="1606"/>
                  </a:lnTo>
                  <a:lnTo>
                    <a:pt x="436" y="1606"/>
                  </a:lnTo>
                  <a:lnTo>
                    <a:pt x="440" y="1610"/>
                  </a:lnTo>
                  <a:lnTo>
                    <a:pt x="436" y="1610"/>
                  </a:lnTo>
                  <a:lnTo>
                    <a:pt x="427" y="1624"/>
                  </a:lnTo>
                  <a:lnTo>
                    <a:pt x="427" y="1624"/>
                  </a:lnTo>
                  <a:lnTo>
                    <a:pt x="427" y="1624"/>
                  </a:lnTo>
                  <a:lnTo>
                    <a:pt x="427" y="1624"/>
                  </a:lnTo>
                  <a:lnTo>
                    <a:pt x="427" y="1619"/>
                  </a:lnTo>
                  <a:lnTo>
                    <a:pt x="427" y="1619"/>
                  </a:lnTo>
                  <a:lnTo>
                    <a:pt x="422" y="1619"/>
                  </a:lnTo>
                  <a:lnTo>
                    <a:pt x="422" y="1619"/>
                  </a:lnTo>
                  <a:lnTo>
                    <a:pt x="418" y="1619"/>
                  </a:lnTo>
                  <a:lnTo>
                    <a:pt x="413" y="1619"/>
                  </a:lnTo>
                  <a:lnTo>
                    <a:pt x="413" y="1619"/>
                  </a:lnTo>
                  <a:lnTo>
                    <a:pt x="408" y="1615"/>
                  </a:lnTo>
                  <a:lnTo>
                    <a:pt x="408" y="1615"/>
                  </a:lnTo>
                  <a:lnTo>
                    <a:pt x="408" y="1615"/>
                  </a:lnTo>
                  <a:lnTo>
                    <a:pt x="408" y="1610"/>
                  </a:lnTo>
                  <a:lnTo>
                    <a:pt x="413" y="1610"/>
                  </a:lnTo>
                  <a:lnTo>
                    <a:pt x="413" y="1610"/>
                  </a:lnTo>
                  <a:lnTo>
                    <a:pt x="413" y="1610"/>
                  </a:lnTo>
                  <a:lnTo>
                    <a:pt x="418" y="1610"/>
                  </a:lnTo>
                  <a:lnTo>
                    <a:pt x="418" y="1610"/>
                  </a:lnTo>
                  <a:lnTo>
                    <a:pt x="422" y="1606"/>
                  </a:lnTo>
                  <a:lnTo>
                    <a:pt x="427" y="1606"/>
                  </a:lnTo>
                  <a:lnTo>
                    <a:pt x="427" y="1606"/>
                  </a:lnTo>
                  <a:lnTo>
                    <a:pt x="427" y="1606"/>
                  </a:lnTo>
                  <a:lnTo>
                    <a:pt x="427" y="1606"/>
                  </a:lnTo>
                  <a:lnTo>
                    <a:pt x="427" y="1606"/>
                  </a:lnTo>
                  <a:lnTo>
                    <a:pt x="431" y="1610"/>
                  </a:lnTo>
                  <a:moveTo>
                    <a:pt x="408" y="1606"/>
                  </a:moveTo>
                  <a:lnTo>
                    <a:pt x="408" y="1606"/>
                  </a:lnTo>
                  <a:lnTo>
                    <a:pt x="408" y="1610"/>
                  </a:lnTo>
                  <a:lnTo>
                    <a:pt x="408" y="1619"/>
                  </a:lnTo>
                  <a:lnTo>
                    <a:pt x="408" y="1619"/>
                  </a:lnTo>
                  <a:lnTo>
                    <a:pt x="408" y="1619"/>
                  </a:lnTo>
                  <a:lnTo>
                    <a:pt x="408" y="1624"/>
                  </a:lnTo>
                  <a:lnTo>
                    <a:pt x="408" y="1624"/>
                  </a:lnTo>
                  <a:lnTo>
                    <a:pt x="408" y="1628"/>
                  </a:lnTo>
                  <a:lnTo>
                    <a:pt x="408" y="1628"/>
                  </a:lnTo>
                  <a:lnTo>
                    <a:pt x="404" y="1628"/>
                  </a:lnTo>
                  <a:lnTo>
                    <a:pt x="404" y="1628"/>
                  </a:lnTo>
                  <a:lnTo>
                    <a:pt x="404" y="1628"/>
                  </a:lnTo>
                  <a:lnTo>
                    <a:pt x="399" y="1628"/>
                  </a:lnTo>
                  <a:lnTo>
                    <a:pt x="399" y="1633"/>
                  </a:lnTo>
                  <a:lnTo>
                    <a:pt x="399" y="1637"/>
                  </a:lnTo>
                  <a:lnTo>
                    <a:pt x="395" y="1637"/>
                  </a:lnTo>
                  <a:lnTo>
                    <a:pt x="395" y="1637"/>
                  </a:lnTo>
                  <a:lnTo>
                    <a:pt x="390" y="1637"/>
                  </a:lnTo>
                  <a:lnTo>
                    <a:pt x="390" y="1642"/>
                  </a:lnTo>
                  <a:lnTo>
                    <a:pt x="386" y="1642"/>
                  </a:lnTo>
                  <a:lnTo>
                    <a:pt x="386" y="1642"/>
                  </a:lnTo>
                  <a:lnTo>
                    <a:pt x="381" y="1642"/>
                  </a:lnTo>
                  <a:lnTo>
                    <a:pt x="381" y="1642"/>
                  </a:lnTo>
                  <a:lnTo>
                    <a:pt x="386" y="1633"/>
                  </a:lnTo>
                  <a:lnTo>
                    <a:pt x="386" y="1637"/>
                  </a:lnTo>
                  <a:lnTo>
                    <a:pt x="381" y="1637"/>
                  </a:lnTo>
                  <a:lnTo>
                    <a:pt x="381" y="1633"/>
                  </a:lnTo>
                  <a:lnTo>
                    <a:pt x="381" y="1637"/>
                  </a:lnTo>
                  <a:lnTo>
                    <a:pt x="381" y="1633"/>
                  </a:lnTo>
                  <a:lnTo>
                    <a:pt x="381" y="1633"/>
                  </a:lnTo>
                  <a:lnTo>
                    <a:pt x="381" y="1633"/>
                  </a:lnTo>
                  <a:lnTo>
                    <a:pt x="386" y="1633"/>
                  </a:lnTo>
                  <a:lnTo>
                    <a:pt x="386" y="1628"/>
                  </a:lnTo>
                  <a:lnTo>
                    <a:pt x="386" y="1628"/>
                  </a:lnTo>
                  <a:lnTo>
                    <a:pt x="390" y="1628"/>
                  </a:lnTo>
                  <a:lnTo>
                    <a:pt x="390" y="1628"/>
                  </a:lnTo>
                  <a:lnTo>
                    <a:pt x="390" y="1628"/>
                  </a:lnTo>
                  <a:lnTo>
                    <a:pt x="390" y="1628"/>
                  </a:lnTo>
                  <a:lnTo>
                    <a:pt x="390" y="1628"/>
                  </a:lnTo>
                  <a:lnTo>
                    <a:pt x="386" y="1628"/>
                  </a:lnTo>
                  <a:lnTo>
                    <a:pt x="386" y="1628"/>
                  </a:lnTo>
                  <a:lnTo>
                    <a:pt x="386" y="1628"/>
                  </a:lnTo>
                  <a:lnTo>
                    <a:pt x="381" y="1624"/>
                  </a:lnTo>
                  <a:lnTo>
                    <a:pt x="381" y="1619"/>
                  </a:lnTo>
                  <a:lnTo>
                    <a:pt x="381" y="1619"/>
                  </a:lnTo>
                  <a:lnTo>
                    <a:pt x="381" y="1619"/>
                  </a:lnTo>
                  <a:lnTo>
                    <a:pt x="386" y="1619"/>
                  </a:lnTo>
                  <a:lnTo>
                    <a:pt x="386" y="1619"/>
                  </a:lnTo>
                  <a:lnTo>
                    <a:pt x="386" y="1615"/>
                  </a:lnTo>
                  <a:lnTo>
                    <a:pt x="386" y="1615"/>
                  </a:lnTo>
                  <a:lnTo>
                    <a:pt x="386" y="1610"/>
                  </a:lnTo>
                  <a:lnTo>
                    <a:pt x="390" y="1610"/>
                  </a:lnTo>
                  <a:lnTo>
                    <a:pt x="390" y="1606"/>
                  </a:lnTo>
                  <a:lnTo>
                    <a:pt x="390" y="1606"/>
                  </a:lnTo>
                  <a:lnTo>
                    <a:pt x="386" y="1601"/>
                  </a:lnTo>
                  <a:lnTo>
                    <a:pt x="390" y="1601"/>
                  </a:lnTo>
                  <a:lnTo>
                    <a:pt x="390" y="1601"/>
                  </a:lnTo>
                  <a:lnTo>
                    <a:pt x="390" y="1601"/>
                  </a:lnTo>
                  <a:lnTo>
                    <a:pt x="390" y="1601"/>
                  </a:lnTo>
                  <a:lnTo>
                    <a:pt x="395" y="1601"/>
                  </a:lnTo>
                  <a:lnTo>
                    <a:pt x="395" y="1601"/>
                  </a:lnTo>
                  <a:lnTo>
                    <a:pt x="399" y="1601"/>
                  </a:lnTo>
                  <a:lnTo>
                    <a:pt x="399" y="1601"/>
                  </a:lnTo>
                  <a:lnTo>
                    <a:pt x="404" y="1601"/>
                  </a:lnTo>
                  <a:lnTo>
                    <a:pt x="404" y="1601"/>
                  </a:lnTo>
                  <a:lnTo>
                    <a:pt x="408" y="1606"/>
                  </a:lnTo>
                  <a:moveTo>
                    <a:pt x="436" y="1597"/>
                  </a:moveTo>
                  <a:lnTo>
                    <a:pt x="436" y="1597"/>
                  </a:lnTo>
                  <a:lnTo>
                    <a:pt x="436" y="1597"/>
                  </a:lnTo>
                  <a:lnTo>
                    <a:pt x="436" y="1597"/>
                  </a:lnTo>
                  <a:lnTo>
                    <a:pt x="436" y="1597"/>
                  </a:lnTo>
                  <a:lnTo>
                    <a:pt x="436" y="1601"/>
                  </a:lnTo>
                  <a:lnTo>
                    <a:pt x="436" y="1601"/>
                  </a:lnTo>
                  <a:lnTo>
                    <a:pt x="436" y="1606"/>
                  </a:lnTo>
                  <a:lnTo>
                    <a:pt x="436" y="1606"/>
                  </a:lnTo>
                  <a:lnTo>
                    <a:pt x="436" y="1606"/>
                  </a:lnTo>
                  <a:lnTo>
                    <a:pt x="436" y="1606"/>
                  </a:lnTo>
                  <a:lnTo>
                    <a:pt x="436" y="1606"/>
                  </a:lnTo>
                  <a:lnTo>
                    <a:pt x="431" y="1601"/>
                  </a:lnTo>
                  <a:lnTo>
                    <a:pt x="431" y="1601"/>
                  </a:lnTo>
                  <a:lnTo>
                    <a:pt x="431" y="1601"/>
                  </a:lnTo>
                  <a:lnTo>
                    <a:pt x="431" y="1601"/>
                  </a:lnTo>
                  <a:lnTo>
                    <a:pt x="431" y="1597"/>
                  </a:lnTo>
                  <a:lnTo>
                    <a:pt x="431" y="1597"/>
                  </a:lnTo>
                  <a:lnTo>
                    <a:pt x="436" y="1597"/>
                  </a:lnTo>
                  <a:lnTo>
                    <a:pt x="436" y="1597"/>
                  </a:lnTo>
                  <a:lnTo>
                    <a:pt x="436" y="1597"/>
                  </a:lnTo>
                  <a:lnTo>
                    <a:pt x="436" y="1597"/>
                  </a:lnTo>
                  <a:lnTo>
                    <a:pt x="436" y="1597"/>
                  </a:lnTo>
                  <a:lnTo>
                    <a:pt x="436" y="1597"/>
                  </a:lnTo>
                  <a:lnTo>
                    <a:pt x="436" y="1597"/>
                  </a:lnTo>
                  <a:lnTo>
                    <a:pt x="436" y="1597"/>
                  </a:lnTo>
                  <a:moveTo>
                    <a:pt x="672" y="1610"/>
                  </a:moveTo>
                  <a:lnTo>
                    <a:pt x="672" y="1610"/>
                  </a:lnTo>
                  <a:lnTo>
                    <a:pt x="667" y="1610"/>
                  </a:lnTo>
                  <a:lnTo>
                    <a:pt x="667" y="1610"/>
                  </a:lnTo>
                  <a:lnTo>
                    <a:pt x="667" y="1610"/>
                  </a:lnTo>
                  <a:lnTo>
                    <a:pt x="667" y="1606"/>
                  </a:lnTo>
                  <a:lnTo>
                    <a:pt x="667" y="1606"/>
                  </a:lnTo>
                  <a:lnTo>
                    <a:pt x="667" y="1606"/>
                  </a:lnTo>
                  <a:lnTo>
                    <a:pt x="667" y="1606"/>
                  </a:lnTo>
                  <a:lnTo>
                    <a:pt x="672" y="1606"/>
                  </a:lnTo>
                  <a:lnTo>
                    <a:pt x="672" y="1606"/>
                  </a:lnTo>
                  <a:lnTo>
                    <a:pt x="672" y="1606"/>
                  </a:lnTo>
                  <a:lnTo>
                    <a:pt x="672" y="1610"/>
                  </a:lnTo>
                  <a:lnTo>
                    <a:pt x="672" y="1610"/>
                  </a:lnTo>
                  <a:lnTo>
                    <a:pt x="672" y="1610"/>
                  </a:lnTo>
                  <a:moveTo>
                    <a:pt x="263" y="1551"/>
                  </a:moveTo>
                  <a:lnTo>
                    <a:pt x="263" y="1551"/>
                  </a:lnTo>
                  <a:lnTo>
                    <a:pt x="259" y="1551"/>
                  </a:lnTo>
                  <a:lnTo>
                    <a:pt x="263" y="1551"/>
                  </a:lnTo>
                  <a:lnTo>
                    <a:pt x="263" y="1551"/>
                  </a:lnTo>
                  <a:lnTo>
                    <a:pt x="263" y="1556"/>
                  </a:lnTo>
                  <a:lnTo>
                    <a:pt x="263" y="1556"/>
                  </a:lnTo>
                  <a:lnTo>
                    <a:pt x="268" y="1560"/>
                  </a:lnTo>
                  <a:lnTo>
                    <a:pt x="268" y="1560"/>
                  </a:lnTo>
                  <a:lnTo>
                    <a:pt x="268" y="1565"/>
                  </a:lnTo>
                  <a:lnTo>
                    <a:pt x="268" y="1569"/>
                  </a:lnTo>
                  <a:lnTo>
                    <a:pt x="268" y="1569"/>
                  </a:lnTo>
                  <a:lnTo>
                    <a:pt x="268" y="1569"/>
                  </a:lnTo>
                  <a:lnTo>
                    <a:pt x="268" y="1569"/>
                  </a:lnTo>
                  <a:lnTo>
                    <a:pt x="268" y="1569"/>
                  </a:lnTo>
                  <a:lnTo>
                    <a:pt x="263" y="1569"/>
                  </a:lnTo>
                  <a:lnTo>
                    <a:pt x="259" y="1565"/>
                  </a:lnTo>
                  <a:lnTo>
                    <a:pt x="259" y="1565"/>
                  </a:lnTo>
                  <a:lnTo>
                    <a:pt x="259" y="1565"/>
                  </a:lnTo>
                  <a:lnTo>
                    <a:pt x="254" y="1565"/>
                  </a:lnTo>
                  <a:lnTo>
                    <a:pt x="254" y="1565"/>
                  </a:lnTo>
                  <a:lnTo>
                    <a:pt x="254" y="1569"/>
                  </a:lnTo>
                  <a:lnTo>
                    <a:pt x="254" y="1569"/>
                  </a:lnTo>
                  <a:lnTo>
                    <a:pt x="254" y="1569"/>
                  </a:lnTo>
                  <a:lnTo>
                    <a:pt x="254" y="1569"/>
                  </a:lnTo>
                  <a:lnTo>
                    <a:pt x="254" y="1569"/>
                  </a:lnTo>
                  <a:lnTo>
                    <a:pt x="254" y="1574"/>
                  </a:lnTo>
                  <a:lnTo>
                    <a:pt x="254" y="1574"/>
                  </a:lnTo>
                  <a:lnTo>
                    <a:pt x="254" y="1574"/>
                  </a:lnTo>
                  <a:lnTo>
                    <a:pt x="250" y="1569"/>
                  </a:lnTo>
                  <a:lnTo>
                    <a:pt x="250" y="1569"/>
                  </a:lnTo>
                  <a:lnTo>
                    <a:pt x="241" y="1569"/>
                  </a:lnTo>
                  <a:lnTo>
                    <a:pt x="241" y="1569"/>
                  </a:lnTo>
                  <a:lnTo>
                    <a:pt x="236" y="1569"/>
                  </a:lnTo>
                  <a:lnTo>
                    <a:pt x="236" y="1565"/>
                  </a:lnTo>
                  <a:lnTo>
                    <a:pt x="241" y="1565"/>
                  </a:lnTo>
                  <a:lnTo>
                    <a:pt x="236" y="1565"/>
                  </a:lnTo>
                  <a:lnTo>
                    <a:pt x="236" y="1565"/>
                  </a:lnTo>
                  <a:lnTo>
                    <a:pt x="241" y="1560"/>
                  </a:lnTo>
                  <a:lnTo>
                    <a:pt x="241" y="1560"/>
                  </a:lnTo>
                  <a:lnTo>
                    <a:pt x="241" y="1560"/>
                  </a:lnTo>
                  <a:lnTo>
                    <a:pt x="241" y="1560"/>
                  </a:lnTo>
                  <a:lnTo>
                    <a:pt x="241" y="1565"/>
                  </a:lnTo>
                  <a:lnTo>
                    <a:pt x="241" y="1565"/>
                  </a:lnTo>
                  <a:lnTo>
                    <a:pt x="241" y="1565"/>
                  </a:lnTo>
                  <a:lnTo>
                    <a:pt x="241" y="1560"/>
                  </a:lnTo>
                  <a:lnTo>
                    <a:pt x="241" y="1560"/>
                  </a:lnTo>
                  <a:lnTo>
                    <a:pt x="245" y="1560"/>
                  </a:lnTo>
                  <a:lnTo>
                    <a:pt x="245" y="1556"/>
                  </a:lnTo>
                  <a:lnTo>
                    <a:pt x="245" y="1556"/>
                  </a:lnTo>
                  <a:lnTo>
                    <a:pt x="241" y="1556"/>
                  </a:lnTo>
                  <a:lnTo>
                    <a:pt x="241" y="1556"/>
                  </a:lnTo>
                  <a:lnTo>
                    <a:pt x="241" y="1556"/>
                  </a:lnTo>
                  <a:lnTo>
                    <a:pt x="241" y="1556"/>
                  </a:lnTo>
                  <a:lnTo>
                    <a:pt x="241" y="1551"/>
                  </a:lnTo>
                  <a:lnTo>
                    <a:pt x="245" y="1551"/>
                  </a:lnTo>
                  <a:lnTo>
                    <a:pt x="245" y="1551"/>
                  </a:lnTo>
                  <a:lnTo>
                    <a:pt x="245" y="1547"/>
                  </a:lnTo>
                  <a:lnTo>
                    <a:pt x="245" y="1547"/>
                  </a:lnTo>
                  <a:lnTo>
                    <a:pt x="245" y="1547"/>
                  </a:lnTo>
                  <a:lnTo>
                    <a:pt x="250" y="1551"/>
                  </a:lnTo>
                  <a:lnTo>
                    <a:pt x="250" y="1551"/>
                  </a:lnTo>
                  <a:lnTo>
                    <a:pt x="250" y="1551"/>
                  </a:lnTo>
                  <a:lnTo>
                    <a:pt x="250" y="1551"/>
                  </a:lnTo>
                  <a:lnTo>
                    <a:pt x="250" y="1551"/>
                  </a:lnTo>
                  <a:lnTo>
                    <a:pt x="250" y="1551"/>
                  </a:lnTo>
                  <a:lnTo>
                    <a:pt x="254" y="1551"/>
                  </a:lnTo>
                  <a:lnTo>
                    <a:pt x="259" y="1547"/>
                  </a:lnTo>
                  <a:lnTo>
                    <a:pt x="263" y="1547"/>
                  </a:lnTo>
                  <a:lnTo>
                    <a:pt x="263" y="1551"/>
                  </a:lnTo>
                  <a:lnTo>
                    <a:pt x="263" y="1551"/>
                  </a:lnTo>
                  <a:lnTo>
                    <a:pt x="263" y="1551"/>
                  </a:lnTo>
                  <a:moveTo>
                    <a:pt x="272" y="1551"/>
                  </a:moveTo>
                  <a:lnTo>
                    <a:pt x="272" y="1551"/>
                  </a:lnTo>
                  <a:lnTo>
                    <a:pt x="272" y="1551"/>
                  </a:lnTo>
                  <a:lnTo>
                    <a:pt x="272" y="1551"/>
                  </a:lnTo>
                  <a:lnTo>
                    <a:pt x="268" y="1551"/>
                  </a:lnTo>
                  <a:lnTo>
                    <a:pt x="268" y="1551"/>
                  </a:lnTo>
                  <a:lnTo>
                    <a:pt x="268" y="1551"/>
                  </a:lnTo>
                  <a:lnTo>
                    <a:pt x="263" y="1551"/>
                  </a:lnTo>
                  <a:lnTo>
                    <a:pt x="263" y="1551"/>
                  </a:lnTo>
                  <a:lnTo>
                    <a:pt x="263" y="1551"/>
                  </a:lnTo>
                  <a:lnTo>
                    <a:pt x="263" y="1547"/>
                  </a:lnTo>
                  <a:lnTo>
                    <a:pt x="263" y="1547"/>
                  </a:lnTo>
                  <a:lnTo>
                    <a:pt x="263" y="1542"/>
                  </a:lnTo>
                  <a:lnTo>
                    <a:pt x="268" y="1542"/>
                  </a:lnTo>
                  <a:lnTo>
                    <a:pt x="268" y="1547"/>
                  </a:lnTo>
                  <a:lnTo>
                    <a:pt x="268" y="1547"/>
                  </a:lnTo>
                  <a:lnTo>
                    <a:pt x="268" y="1547"/>
                  </a:lnTo>
                  <a:lnTo>
                    <a:pt x="268" y="1547"/>
                  </a:lnTo>
                  <a:lnTo>
                    <a:pt x="268" y="1547"/>
                  </a:lnTo>
                  <a:lnTo>
                    <a:pt x="268" y="1547"/>
                  </a:lnTo>
                  <a:lnTo>
                    <a:pt x="268" y="1547"/>
                  </a:lnTo>
                  <a:lnTo>
                    <a:pt x="268" y="1547"/>
                  </a:lnTo>
                  <a:lnTo>
                    <a:pt x="268" y="1547"/>
                  </a:lnTo>
                  <a:lnTo>
                    <a:pt x="268" y="1547"/>
                  </a:lnTo>
                  <a:lnTo>
                    <a:pt x="268" y="1542"/>
                  </a:lnTo>
                  <a:lnTo>
                    <a:pt x="268" y="1542"/>
                  </a:lnTo>
                  <a:lnTo>
                    <a:pt x="272" y="1547"/>
                  </a:lnTo>
                  <a:lnTo>
                    <a:pt x="272" y="1547"/>
                  </a:lnTo>
                  <a:lnTo>
                    <a:pt x="272" y="1547"/>
                  </a:lnTo>
                  <a:lnTo>
                    <a:pt x="272" y="1551"/>
                  </a:lnTo>
                  <a:moveTo>
                    <a:pt x="277" y="1542"/>
                  </a:moveTo>
                  <a:lnTo>
                    <a:pt x="277" y="1542"/>
                  </a:lnTo>
                  <a:lnTo>
                    <a:pt x="277" y="1547"/>
                  </a:lnTo>
                  <a:lnTo>
                    <a:pt x="277" y="1547"/>
                  </a:lnTo>
                  <a:lnTo>
                    <a:pt x="277" y="1547"/>
                  </a:lnTo>
                  <a:lnTo>
                    <a:pt x="277" y="1547"/>
                  </a:lnTo>
                  <a:lnTo>
                    <a:pt x="277" y="1547"/>
                  </a:lnTo>
                  <a:lnTo>
                    <a:pt x="277" y="1547"/>
                  </a:lnTo>
                  <a:lnTo>
                    <a:pt x="277" y="1551"/>
                  </a:lnTo>
                  <a:lnTo>
                    <a:pt x="277" y="1551"/>
                  </a:lnTo>
                  <a:lnTo>
                    <a:pt x="277" y="1547"/>
                  </a:lnTo>
                  <a:lnTo>
                    <a:pt x="277" y="1547"/>
                  </a:lnTo>
                  <a:lnTo>
                    <a:pt x="272" y="1547"/>
                  </a:lnTo>
                  <a:lnTo>
                    <a:pt x="272" y="1547"/>
                  </a:lnTo>
                  <a:lnTo>
                    <a:pt x="272" y="1547"/>
                  </a:lnTo>
                  <a:lnTo>
                    <a:pt x="272" y="1547"/>
                  </a:lnTo>
                  <a:lnTo>
                    <a:pt x="272" y="1547"/>
                  </a:lnTo>
                  <a:lnTo>
                    <a:pt x="272" y="1547"/>
                  </a:lnTo>
                  <a:lnTo>
                    <a:pt x="272" y="1542"/>
                  </a:lnTo>
                  <a:lnTo>
                    <a:pt x="272" y="1542"/>
                  </a:lnTo>
                  <a:lnTo>
                    <a:pt x="272" y="1542"/>
                  </a:lnTo>
                  <a:lnTo>
                    <a:pt x="272" y="1542"/>
                  </a:lnTo>
                  <a:lnTo>
                    <a:pt x="268" y="1542"/>
                  </a:lnTo>
                  <a:lnTo>
                    <a:pt x="272" y="1542"/>
                  </a:lnTo>
                  <a:lnTo>
                    <a:pt x="272" y="1542"/>
                  </a:lnTo>
                  <a:lnTo>
                    <a:pt x="272" y="1542"/>
                  </a:lnTo>
                  <a:lnTo>
                    <a:pt x="277" y="1542"/>
                  </a:lnTo>
                  <a:lnTo>
                    <a:pt x="277" y="1542"/>
                  </a:lnTo>
                  <a:lnTo>
                    <a:pt x="277" y="1542"/>
                  </a:lnTo>
                  <a:lnTo>
                    <a:pt x="277" y="1542"/>
                  </a:lnTo>
                  <a:lnTo>
                    <a:pt x="277" y="1542"/>
                  </a:lnTo>
                  <a:lnTo>
                    <a:pt x="277" y="1542"/>
                  </a:lnTo>
                  <a:lnTo>
                    <a:pt x="277" y="1538"/>
                  </a:lnTo>
                  <a:lnTo>
                    <a:pt x="277" y="1542"/>
                  </a:lnTo>
                  <a:lnTo>
                    <a:pt x="277" y="1542"/>
                  </a:lnTo>
                  <a:lnTo>
                    <a:pt x="277" y="1542"/>
                  </a:lnTo>
                  <a:moveTo>
                    <a:pt x="286" y="1538"/>
                  </a:moveTo>
                  <a:lnTo>
                    <a:pt x="286" y="1538"/>
                  </a:lnTo>
                  <a:lnTo>
                    <a:pt x="286" y="1542"/>
                  </a:lnTo>
                  <a:lnTo>
                    <a:pt x="286" y="1542"/>
                  </a:lnTo>
                  <a:lnTo>
                    <a:pt x="286" y="1547"/>
                  </a:lnTo>
                  <a:lnTo>
                    <a:pt x="286" y="1547"/>
                  </a:lnTo>
                  <a:lnTo>
                    <a:pt x="286" y="1542"/>
                  </a:lnTo>
                  <a:lnTo>
                    <a:pt x="286" y="1542"/>
                  </a:lnTo>
                  <a:lnTo>
                    <a:pt x="281" y="1542"/>
                  </a:lnTo>
                  <a:lnTo>
                    <a:pt x="281" y="1542"/>
                  </a:lnTo>
                  <a:lnTo>
                    <a:pt x="281" y="1542"/>
                  </a:lnTo>
                  <a:lnTo>
                    <a:pt x="281" y="1542"/>
                  </a:lnTo>
                  <a:lnTo>
                    <a:pt x="281" y="1542"/>
                  </a:lnTo>
                  <a:lnTo>
                    <a:pt x="281" y="1542"/>
                  </a:lnTo>
                  <a:lnTo>
                    <a:pt x="281" y="1542"/>
                  </a:lnTo>
                  <a:lnTo>
                    <a:pt x="281" y="1538"/>
                  </a:lnTo>
                  <a:lnTo>
                    <a:pt x="281" y="1538"/>
                  </a:lnTo>
                  <a:lnTo>
                    <a:pt x="281" y="1538"/>
                  </a:lnTo>
                  <a:lnTo>
                    <a:pt x="281" y="1538"/>
                  </a:lnTo>
                  <a:lnTo>
                    <a:pt x="281" y="1538"/>
                  </a:lnTo>
                  <a:lnTo>
                    <a:pt x="281" y="1538"/>
                  </a:lnTo>
                  <a:lnTo>
                    <a:pt x="281" y="1538"/>
                  </a:lnTo>
                  <a:lnTo>
                    <a:pt x="281" y="1538"/>
                  </a:lnTo>
                  <a:lnTo>
                    <a:pt x="281" y="1538"/>
                  </a:lnTo>
                  <a:lnTo>
                    <a:pt x="281" y="1538"/>
                  </a:lnTo>
                  <a:lnTo>
                    <a:pt x="281" y="1538"/>
                  </a:lnTo>
                  <a:lnTo>
                    <a:pt x="281" y="1533"/>
                  </a:lnTo>
                  <a:lnTo>
                    <a:pt x="281" y="1533"/>
                  </a:lnTo>
                  <a:lnTo>
                    <a:pt x="281" y="1533"/>
                  </a:lnTo>
                  <a:lnTo>
                    <a:pt x="281" y="1533"/>
                  </a:lnTo>
                  <a:lnTo>
                    <a:pt x="286" y="1538"/>
                  </a:lnTo>
                  <a:lnTo>
                    <a:pt x="286" y="1538"/>
                  </a:lnTo>
                  <a:lnTo>
                    <a:pt x="286" y="1538"/>
                  </a:lnTo>
                  <a:lnTo>
                    <a:pt x="286" y="1538"/>
                  </a:lnTo>
                  <a:lnTo>
                    <a:pt x="286" y="1538"/>
                  </a:lnTo>
                  <a:moveTo>
                    <a:pt x="295" y="1524"/>
                  </a:moveTo>
                  <a:lnTo>
                    <a:pt x="295" y="1524"/>
                  </a:lnTo>
                  <a:lnTo>
                    <a:pt x="295" y="1529"/>
                  </a:lnTo>
                  <a:lnTo>
                    <a:pt x="295" y="1529"/>
                  </a:lnTo>
                  <a:lnTo>
                    <a:pt x="304" y="1529"/>
                  </a:lnTo>
                  <a:lnTo>
                    <a:pt x="304" y="1529"/>
                  </a:lnTo>
                  <a:lnTo>
                    <a:pt x="304" y="1533"/>
                  </a:lnTo>
                  <a:lnTo>
                    <a:pt x="300" y="1533"/>
                  </a:lnTo>
                  <a:lnTo>
                    <a:pt x="300" y="1538"/>
                  </a:lnTo>
                  <a:lnTo>
                    <a:pt x="295" y="1533"/>
                  </a:lnTo>
                  <a:lnTo>
                    <a:pt x="295" y="1538"/>
                  </a:lnTo>
                  <a:lnTo>
                    <a:pt x="295" y="1538"/>
                  </a:lnTo>
                  <a:lnTo>
                    <a:pt x="295" y="1542"/>
                  </a:lnTo>
                  <a:lnTo>
                    <a:pt x="295" y="1542"/>
                  </a:lnTo>
                  <a:lnTo>
                    <a:pt x="295" y="1542"/>
                  </a:lnTo>
                  <a:lnTo>
                    <a:pt x="295" y="1547"/>
                  </a:lnTo>
                  <a:lnTo>
                    <a:pt x="291" y="1547"/>
                  </a:lnTo>
                  <a:lnTo>
                    <a:pt x="291" y="1547"/>
                  </a:lnTo>
                  <a:lnTo>
                    <a:pt x="291" y="1547"/>
                  </a:lnTo>
                  <a:lnTo>
                    <a:pt x="291" y="1547"/>
                  </a:lnTo>
                  <a:lnTo>
                    <a:pt x="291" y="1547"/>
                  </a:lnTo>
                  <a:lnTo>
                    <a:pt x="291" y="1551"/>
                  </a:lnTo>
                  <a:lnTo>
                    <a:pt x="286" y="1547"/>
                  </a:lnTo>
                  <a:lnTo>
                    <a:pt x="286" y="1547"/>
                  </a:lnTo>
                  <a:lnTo>
                    <a:pt x="286" y="1542"/>
                  </a:lnTo>
                  <a:lnTo>
                    <a:pt x="291" y="1538"/>
                  </a:lnTo>
                  <a:lnTo>
                    <a:pt x="291" y="1538"/>
                  </a:lnTo>
                  <a:lnTo>
                    <a:pt x="286" y="1533"/>
                  </a:lnTo>
                  <a:lnTo>
                    <a:pt x="286" y="1533"/>
                  </a:lnTo>
                  <a:lnTo>
                    <a:pt x="281" y="1533"/>
                  </a:lnTo>
                  <a:lnTo>
                    <a:pt x="281" y="1533"/>
                  </a:lnTo>
                  <a:lnTo>
                    <a:pt x="286" y="1533"/>
                  </a:lnTo>
                  <a:lnTo>
                    <a:pt x="286" y="1533"/>
                  </a:lnTo>
                  <a:lnTo>
                    <a:pt x="286" y="1529"/>
                  </a:lnTo>
                  <a:lnTo>
                    <a:pt x="291" y="1533"/>
                  </a:lnTo>
                  <a:lnTo>
                    <a:pt x="291" y="1529"/>
                  </a:lnTo>
                  <a:lnTo>
                    <a:pt x="291" y="1524"/>
                  </a:lnTo>
                  <a:lnTo>
                    <a:pt x="291" y="1524"/>
                  </a:lnTo>
                  <a:lnTo>
                    <a:pt x="291" y="1524"/>
                  </a:lnTo>
                  <a:lnTo>
                    <a:pt x="295" y="1524"/>
                  </a:lnTo>
                  <a:lnTo>
                    <a:pt x="295" y="1529"/>
                  </a:lnTo>
                  <a:lnTo>
                    <a:pt x="295" y="1524"/>
                  </a:lnTo>
                  <a:lnTo>
                    <a:pt x="295" y="1524"/>
                  </a:lnTo>
                  <a:lnTo>
                    <a:pt x="295" y="1520"/>
                  </a:lnTo>
                  <a:lnTo>
                    <a:pt x="295" y="1520"/>
                  </a:lnTo>
                  <a:lnTo>
                    <a:pt x="300" y="1515"/>
                  </a:lnTo>
                  <a:lnTo>
                    <a:pt x="300" y="1510"/>
                  </a:lnTo>
                  <a:lnTo>
                    <a:pt x="300" y="1510"/>
                  </a:lnTo>
                  <a:lnTo>
                    <a:pt x="300" y="1510"/>
                  </a:lnTo>
                  <a:lnTo>
                    <a:pt x="300" y="1510"/>
                  </a:lnTo>
                  <a:lnTo>
                    <a:pt x="300" y="1515"/>
                  </a:lnTo>
                  <a:lnTo>
                    <a:pt x="300" y="1515"/>
                  </a:lnTo>
                  <a:lnTo>
                    <a:pt x="300" y="1515"/>
                  </a:lnTo>
                  <a:lnTo>
                    <a:pt x="300" y="1520"/>
                  </a:lnTo>
                  <a:lnTo>
                    <a:pt x="300" y="1520"/>
                  </a:lnTo>
                  <a:lnTo>
                    <a:pt x="295" y="1524"/>
                  </a:lnTo>
                  <a:lnTo>
                    <a:pt x="295" y="1524"/>
                  </a:lnTo>
                  <a:lnTo>
                    <a:pt x="295" y="1524"/>
                  </a:lnTo>
                  <a:moveTo>
                    <a:pt x="304" y="1497"/>
                  </a:moveTo>
                  <a:lnTo>
                    <a:pt x="304" y="1497"/>
                  </a:lnTo>
                  <a:lnTo>
                    <a:pt x="304" y="1497"/>
                  </a:lnTo>
                  <a:lnTo>
                    <a:pt x="304" y="1497"/>
                  </a:lnTo>
                  <a:lnTo>
                    <a:pt x="300" y="1497"/>
                  </a:lnTo>
                  <a:lnTo>
                    <a:pt x="300" y="1497"/>
                  </a:lnTo>
                  <a:lnTo>
                    <a:pt x="300" y="1497"/>
                  </a:lnTo>
                  <a:lnTo>
                    <a:pt x="300" y="1497"/>
                  </a:lnTo>
                  <a:lnTo>
                    <a:pt x="295" y="1492"/>
                  </a:lnTo>
                  <a:lnTo>
                    <a:pt x="295" y="1497"/>
                  </a:lnTo>
                  <a:lnTo>
                    <a:pt x="295" y="1492"/>
                  </a:lnTo>
                  <a:lnTo>
                    <a:pt x="300" y="1492"/>
                  </a:lnTo>
                  <a:lnTo>
                    <a:pt x="300" y="1492"/>
                  </a:lnTo>
                  <a:lnTo>
                    <a:pt x="300" y="1492"/>
                  </a:lnTo>
                  <a:lnTo>
                    <a:pt x="304" y="1492"/>
                  </a:lnTo>
                  <a:lnTo>
                    <a:pt x="304" y="1492"/>
                  </a:lnTo>
                  <a:lnTo>
                    <a:pt x="304" y="1492"/>
                  </a:lnTo>
                  <a:lnTo>
                    <a:pt x="304" y="1492"/>
                  </a:lnTo>
                  <a:lnTo>
                    <a:pt x="304" y="1497"/>
                  </a:lnTo>
                  <a:moveTo>
                    <a:pt x="340" y="1506"/>
                  </a:moveTo>
                  <a:lnTo>
                    <a:pt x="340" y="1506"/>
                  </a:lnTo>
                  <a:lnTo>
                    <a:pt x="336" y="1510"/>
                  </a:lnTo>
                  <a:lnTo>
                    <a:pt x="331" y="1510"/>
                  </a:lnTo>
                  <a:lnTo>
                    <a:pt x="327" y="1510"/>
                  </a:lnTo>
                  <a:lnTo>
                    <a:pt x="327" y="1510"/>
                  </a:lnTo>
                  <a:lnTo>
                    <a:pt x="327" y="1510"/>
                  </a:lnTo>
                  <a:lnTo>
                    <a:pt x="331" y="1510"/>
                  </a:lnTo>
                  <a:lnTo>
                    <a:pt x="331" y="1506"/>
                  </a:lnTo>
                  <a:lnTo>
                    <a:pt x="331" y="1506"/>
                  </a:lnTo>
                  <a:lnTo>
                    <a:pt x="331" y="1506"/>
                  </a:lnTo>
                  <a:lnTo>
                    <a:pt x="331" y="1506"/>
                  </a:lnTo>
                  <a:lnTo>
                    <a:pt x="331" y="1506"/>
                  </a:lnTo>
                  <a:lnTo>
                    <a:pt x="331" y="1506"/>
                  </a:lnTo>
                  <a:lnTo>
                    <a:pt x="331" y="1506"/>
                  </a:lnTo>
                  <a:lnTo>
                    <a:pt x="336" y="1506"/>
                  </a:lnTo>
                  <a:lnTo>
                    <a:pt x="331" y="1501"/>
                  </a:lnTo>
                  <a:lnTo>
                    <a:pt x="336" y="1501"/>
                  </a:lnTo>
                  <a:lnTo>
                    <a:pt x="336" y="1497"/>
                  </a:lnTo>
                  <a:lnTo>
                    <a:pt x="340" y="1492"/>
                  </a:lnTo>
                  <a:lnTo>
                    <a:pt x="340" y="1492"/>
                  </a:lnTo>
                  <a:lnTo>
                    <a:pt x="349" y="1488"/>
                  </a:lnTo>
                  <a:lnTo>
                    <a:pt x="349" y="1488"/>
                  </a:lnTo>
                  <a:lnTo>
                    <a:pt x="349" y="1488"/>
                  </a:lnTo>
                  <a:lnTo>
                    <a:pt x="349" y="1488"/>
                  </a:lnTo>
                  <a:lnTo>
                    <a:pt x="349" y="1488"/>
                  </a:lnTo>
                  <a:lnTo>
                    <a:pt x="349" y="1488"/>
                  </a:lnTo>
                  <a:lnTo>
                    <a:pt x="349" y="1483"/>
                  </a:lnTo>
                  <a:lnTo>
                    <a:pt x="349" y="1483"/>
                  </a:lnTo>
                  <a:lnTo>
                    <a:pt x="354" y="1488"/>
                  </a:lnTo>
                  <a:lnTo>
                    <a:pt x="349" y="1492"/>
                  </a:lnTo>
                  <a:lnTo>
                    <a:pt x="349" y="1492"/>
                  </a:lnTo>
                  <a:lnTo>
                    <a:pt x="345" y="1497"/>
                  </a:lnTo>
                  <a:lnTo>
                    <a:pt x="349" y="1497"/>
                  </a:lnTo>
                  <a:lnTo>
                    <a:pt x="345" y="1497"/>
                  </a:lnTo>
                  <a:lnTo>
                    <a:pt x="345" y="1497"/>
                  </a:lnTo>
                  <a:lnTo>
                    <a:pt x="345" y="1497"/>
                  </a:lnTo>
                  <a:lnTo>
                    <a:pt x="340" y="1506"/>
                  </a:lnTo>
                  <a:moveTo>
                    <a:pt x="349" y="1474"/>
                  </a:moveTo>
                  <a:lnTo>
                    <a:pt x="349" y="1474"/>
                  </a:lnTo>
                  <a:lnTo>
                    <a:pt x="349" y="1474"/>
                  </a:lnTo>
                  <a:lnTo>
                    <a:pt x="354" y="1474"/>
                  </a:lnTo>
                  <a:lnTo>
                    <a:pt x="354" y="1474"/>
                  </a:lnTo>
                  <a:lnTo>
                    <a:pt x="354" y="1474"/>
                  </a:lnTo>
                  <a:lnTo>
                    <a:pt x="349" y="1474"/>
                  </a:lnTo>
                  <a:lnTo>
                    <a:pt x="349" y="1474"/>
                  </a:lnTo>
                  <a:lnTo>
                    <a:pt x="349" y="1474"/>
                  </a:lnTo>
                  <a:lnTo>
                    <a:pt x="349" y="1474"/>
                  </a:lnTo>
                  <a:lnTo>
                    <a:pt x="345" y="1474"/>
                  </a:lnTo>
                  <a:lnTo>
                    <a:pt x="345" y="1474"/>
                  </a:lnTo>
                  <a:lnTo>
                    <a:pt x="345" y="1474"/>
                  </a:lnTo>
                  <a:lnTo>
                    <a:pt x="345" y="1474"/>
                  </a:lnTo>
                  <a:lnTo>
                    <a:pt x="349" y="1474"/>
                  </a:lnTo>
                  <a:lnTo>
                    <a:pt x="349" y="1470"/>
                  </a:lnTo>
                  <a:lnTo>
                    <a:pt x="349" y="1470"/>
                  </a:lnTo>
                  <a:lnTo>
                    <a:pt x="349" y="1474"/>
                  </a:lnTo>
                  <a:moveTo>
                    <a:pt x="644" y="1474"/>
                  </a:moveTo>
                  <a:lnTo>
                    <a:pt x="644" y="1474"/>
                  </a:lnTo>
                  <a:lnTo>
                    <a:pt x="649" y="1474"/>
                  </a:lnTo>
                  <a:lnTo>
                    <a:pt x="649" y="1474"/>
                  </a:lnTo>
                  <a:lnTo>
                    <a:pt x="644" y="1474"/>
                  </a:lnTo>
                  <a:lnTo>
                    <a:pt x="644" y="1474"/>
                  </a:lnTo>
                  <a:lnTo>
                    <a:pt x="640" y="1474"/>
                  </a:lnTo>
                  <a:lnTo>
                    <a:pt x="640" y="1474"/>
                  </a:lnTo>
                  <a:lnTo>
                    <a:pt x="640" y="1470"/>
                  </a:lnTo>
                  <a:lnTo>
                    <a:pt x="640" y="1470"/>
                  </a:lnTo>
                  <a:lnTo>
                    <a:pt x="644" y="1470"/>
                  </a:lnTo>
                  <a:lnTo>
                    <a:pt x="644" y="1470"/>
                  </a:lnTo>
                  <a:lnTo>
                    <a:pt x="644" y="1474"/>
                  </a:lnTo>
                  <a:moveTo>
                    <a:pt x="381" y="1442"/>
                  </a:moveTo>
                  <a:lnTo>
                    <a:pt x="381" y="1442"/>
                  </a:lnTo>
                  <a:lnTo>
                    <a:pt x="381" y="1442"/>
                  </a:lnTo>
                  <a:lnTo>
                    <a:pt x="381" y="1447"/>
                  </a:lnTo>
                  <a:lnTo>
                    <a:pt x="377" y="1447"/>
                  </a:lnTo>
                  <a:lnTo>
                    <a:pt x="377" y="1447"/>
                  </a:lnTo>
                  <a:lnTo>
                    <a:pt x="372" y="1447"/>
                  </a:lnTo>
                  <a:lnTo>
                    <a:pt x="372" y="1452"/>
                  </a:lnTo>
                  <a:lnTo>
                    <a:pt x="372" y="1452"/>
                  </a:lnTo>
                  <a:lnTo>
                    <a:pt x="372" y="1447"/>
                  </a:lnTo>
                  <a:lnTo>
                    <a:pt x="372" y="1447"/>
                  </a:lnTo>
                  <a:lnTo>
                    <a:pt x="372" y="1447"/>
                  </a:lnTo>
                  <a:lnTo>
                    <a:pt x="368" y="1442"/>
                  </a:lnTo>
                  <a:lnTo>
                    <a:pt x="368" y="1442"/>
                  </a:lnTo>
                  <a:lnTo>
                    <a:pt x="368" y="1442"/>
                  </a:lnTo>
                  <a:lnTo>
                    <a:pt x="368" y="1442"/>
                  </a:lnTo>
                  <a:lnTo>
                    <a:pt x="368" y="1442"/>
                  </a:lnTo>
                  <a:lnTo>
                    <a:pt x="368" y="1442"/>
                  </a:lnTo>
                  <a:lnTo>
                    <a:pt x="368" y="1442"/>
                  </a:lnTo>
                  <a:lnTo>
                    <a:pt x="368" y="1438"/>
                  </a:lnTo>
                  <a:lnTo>
                    <a:pt x="368" y="1438"/>
                  </a:lnTo>
                  <a:lnTo>
                    <a:pt x="368" y="1438"/>
                  </a:lnTo>
                  <a:lnTo>
                    <a:pt x="368" y="1433"/>
                  </a:lnTo>
                  <a:lnTo>
                    <a:pt x="372" y="1433"/>
                  </a:lnTo>
                  <a:lnTo>
                    <a:pt x="372" y="1433"/>
                  </a:lnTo>
                  <a:lnTo>
                    <a:pt x="372" y="1429"/>
                  </a:lnTo>
                  <a:lnTo>
                    <a:pt x="372" y="1429"/>
                  </a:lnTo>
                  <a:lnTo>
                    <a:pt x="372" y="1429"/>
                  </a:lnTo>
                  <a:lnTo>
                    <a:pt x="377" y="1433"/>
                  </a:lnTo>
                  <a:lnTo>
                    <a:pt x="381" y="1433"/>
                  </a:lnTo>
                  <a:lnTo>
                    <a:pt x="381" y="1433"/>
                  </a:lnTo>
                  <a:lnTo>
                    <a:pt x="381" y="1438"/>
                  </a:lnTo>
                  <a:lnTo>
                    <a:pt x="377" y="1438"/>
                  </a:lnTo>
                  <a:lnTo>
                    <a:pt x="381" y="1438"/>
                  </a:lnTo>
                  <a:lnTo>
                    <a:pt x="381" y="1438"/>
                  </a:lnTo>
                  <a:lnTo>
                    <a:pt x="381" y="1438"/>
                  </a:lnTo>
                  <a:lnTo>
                    <a:pt x="381" y="1438"/>
                  </a:lnTo>
                  <a:lnTo>
                    <a:pt x="381" y="1438"/>
                  </a:lnTo>
                  <a:lnTo>
                    <a:pt x="381" y="1442"/>
                  </a:lnTo>
                  <a:lnTo>
                    <a:pt x="377" y="1442"/>
                  </a:lnTo>
                  <a:lnTo>
                    <a:pt x="377" y="1442"/>
                  </a:lnTo>
                  <a:lnTo>
                    <a:pt x="381" y="1442"/>
                  </a:lnTo>
                  <a:moveTo>
                    <a:pt x="1447" y="1506"/>
                  </a:moveTo>
                  <a:lnTo>
                    <a:pt x="1447" y="1506"/>
                  </a:lnTo>
                  <a:lnTo>
                    <a:pt x="1447" y="1506"/>
                  </a:lnTo>
                  <a:lnTo>
                    <a:pt x="1447" y="1506"/>
                  </a:lnTo>
                  <a:lnTo>
                    <a:pt x="1443" y="1506"/>
                  </a:lnTo>
                  <a:lnTo>
                    <a:pt x="1443" y="1506"/>
                  </a:lnTo>
                  <a:lnTo>
                    <a:pt x="1447" y="1501"/>
                  </a:lnTo>
                  <a:lnTo>
                    <a:pt x="1447" y="1501"/>
                  </a:lnTo>
                  <a:lnTo>
                    <a:pt x="1447" y="1501"/>
                  </a:lnTo>
                  <a:lnTo>
                    <a:pt x="1447" y="1501"/>
                  </a:lnTo>
                  <a:lnTo>
                    <a:pt x="1452" y="1506"/>
                  </a:lnTo>
                  <a:lnTo>
                    <a:pt x="1447" y="1506"/>
                  </a:lnTo>
                  <a:lnTo>
                    <a:pt x="1447" y="1506"/>
                  </a:lnTo>
                  <a:moveTo>
                    <a:pt x="653" y="1456"/>
                  </a:moveTo>
                  <a:lnTo>
                    <a:pt x="653" y="1456"/>
                  </a:lnTo>
                  <a:lnTo>
                    <a:pt x="653" y="1461"/>
                  </a:lnTo>
                  <a:lnTo>
                    <a:pt x="658" y="1461"/>
                  </a:lnTo>
                  <a:lnTo>
                    <a:pt x="658" y="1461"/>
                  </a:lnTo>
                  <a:lnTo>
                    <a:pt x="662" y="1456"/>
                  </a:lnTo>
                  <a:lnTo>
                    <a:pt x="662" y="1456"/>
                  </a:lnTo>
                  <a:lnTo>
                    <a:pt x="662" y="1456"/>
                  </a:lnTo>
                  <a:lnTo>
                    <a:pt x="662" y="1456"/>
                  </a:lnTo>
                  <a:lnTo>
                    <a:pt x="662" y="1456"/>
                  </a:lnTo>
                  <a:lnTo>
                    <a:pt x="662" y="1456"/>
                  </a:lnTo>
                  <a:lnTo>
                    <a:pt x="667" y="1456"/>
                  </a:lnTo>
                  <a:lnTo>
                    <a:pt x="667" y="1456"/>
                  </a:lnTo>
                  <a:lnTo>
                    <a:pt x="672" y="1456"/>
                  </a:lnTo>
                  <a:lnTo>
                    <a:pt x="672" y="1456"/>
                  </a:lnTo>
                  <a:lnTo>
                    <a:pt x="672" y="1456"/>
                  </a:lnTo>
                  <a:lnTo>
                    <a:pt x="667" y="1461"/>
                  </a:lnTo>
                  <a:lnTo>
                    <a:pt x="667" y="1461"/>
                  </a:lnTo>
                  <a:lnTo>
                    <a:pt x="667" y="1461"/>
                  </a:lnTo>
                  <a:lnTo>
                    <a:pt x="662" y="1461"/>
                  </a:lnTo>
                  <a:lnTo>
                    <a:pt x="662" y="1461"/>
                  </a:lnTo>
                  <a:lnTo>
                    <a:pt x="662" y="1461"/>
                  </a:lnTo>
                  <a:lnTo>
                    <a:pt x="662" y="1465"/>
                  </a:lnTo>
                  <a:lnTo>
                    <a:pt x="662" y="1465"/>
                  </a:lnTo>
                  <a:lnTo>
                    <a:pt x="658" y="1465"/>
                  </a:lnTo>
                  <a:lnTo>
                    <a:pt x="658" y="1465"/>
                  </a:lnTo>
                  <a:lnTo>
                    <a:pt x="658" y="1465"/>
                  </a:lnTo>
                  <a:lnTo>
                    <a:pt x="653" y="1465"/>
                  </a:lnTo>
                  <a:lnTo>
                    <a:pt x="653" y="1465"/>
                  </a:lnTo>
                  <a:lnTo>
                    <a:pt x="653" y="1465"/>
                  </a:lnTo>
                  <a:lnTo>
                    <a:pt x="653" y="1461"/>
                  </a:lnTo>
                  <a:lnTo>
                    <a:pt x="653" y="1461"/>
                  </a:lnTo>
                  <a:lnTo>
                    <a:pt x="653" y="1461"/>
                  </a:lnTo>
                  <a:lnTo>
                    <a:pt x="653" y="1461"/>
                  </a:lnTo>
                  <a:lnTo>
                    <a:pt x="653" y="1461"/>
                  </a:lnTo>
                  <a:lnTo>
                    <a:pt x="649" y="1461"/>
                  </a:lnTo>
                  <a:lnTo>
                    <a:pt x="649" y="1465"/>
                  </a:lnTo>
                  <a:lnTo>
                    <a:pt x="649" y="1465"/>
                  </a:lnTo>
                  <a:lnTo>
                    <a:pt x="649" y="1461"/>
                  </a:lnTo>
                  <a:lnTo>
                    <a:pt x="644" y="1461"/>
                  </a:lnTo>
                  <a:lnTo>
                    <a:pt x="644" y="1461"/>
                  </a:lnTo>
                  <a:lnTo>
                    <a:pt x="644" y="1461"/>
                  </a:lnTo>
                  <a:lnTo>
                    <a:pt x="644" y="1461"/>
                  </a:lnTo>
                  <a:lnTo>
                    <a:pt x="644" y="1465"/>
                  </a:lnTo>
                  <a:lnTo>
                    <a:pt x="644" y="1461"/>
                  </a:lnTo>
                  <a:lnTo>
                    <a:pt x="640" y="1456"/>
                  </a:lnTo>
                  <a:lnTo>
                    <a:pt x="640" y="1456"/>
                  </a:lnTo>
                  <a:lnTo>
                    <a:pt x="644" y="1452"/>
                  </a:lnTo>
                  <a:lnTo>
                    <a:pt x="644" y="1452"/>
                  </a:lnTo>
                  <a:lnTo>
                    <a:pt x="649" y="1452"/>
                  </a:lnTo>
                  <a:lnTo>
                    <a:pt x="649" y="1452"/>
                  </a:lnTo>
                  <a:lnTo>
                    <a:pt x="653" y="1456"/>
                  </a:lnTo>
                  <a:moveTo>
                    <a:pt x="513" y="1442"/>
                  </a:moveTo>
                  <a:lnTo>
                    <a:pt x="513" y="1442"/>
                  </a:lnTo>
                  <a:lnTo>
                    <a:pt x="513" y="1442"/>
                  </a:lnTo>
                  <a:lnTo>
                    <a:pt x="508" y="1447"/>
                  </a:lnTo>
                  <a:lnTo>
                    <a:pt x="508" y="1447"/>
                  </a:lnTo>
                  <a:lnTo>
                    <a:pt x="508" y="1447"/>
                  </a:lnTo>
                  <a:lnTo>
                    <a:pt x="508" y="1447"/>
                  </a:lnTo>
                  <a:lnTo>
                    <a:pt x="508" y="1452"/>
                  </a:lnTo>
                  <a:lnTo>
                    <a:pt x="508" y="1452"/>
                  </a:lnTo>
                  <a:lnTo>
                    <a:pt x="508" y="1452"/>
                  </a:lnTo>
                  <a:lnTo>
                    <a:pt x="508" y="1452"/>
                  </a:lnTo>
                  <a:lnTo>
                    <a:pt x="508" y="1452"/>
                  </a:lnTo>
                  <a:lnTo>
                    <a:pt x="508" y="1456"/>
                  </a:lnTo>
                  <a:lnTo>
                    <a:pt x="508" y="1456"/>
                  </a:lnTo>
                  <a:lnTo>
                    <a:pt x="513" y="1456"/>
                  </a:lnTo>
                  <a:lnTo>
                    <a:pt x="513" y="1461"/>
                  </a:lnTo>
                  <a:lnTo>
                    <a:pt x="513" y="1461"/>
                  </a:lnTo>
                  <a:lnTo>
                    <a:pt x="513" y="1465"/>
                  </a:lnTo>
                  <a:lnTo>
                    <a:pt x="517" y="1470"/>
                  </a:lnTo>
                  <a:lnTo>
                    <a:pt x="517" y="1474"/>
                  </a:lnTo>
                  <a:lnTo>
                    <a:pt x="517" y="1479"/>
                  </a:lnTo>
                  <a:lnTo>
                    <a:pt x="522" y="1479"/>
                  </a:lnTo>
                  <a:lnTo>
                    <a:pt x="522" y="1479"/>
                  </a:lnTo>
                  <a:lnTo>
                    <a:pt x="522" y="1483"/>
                  </a:lnTo>
                  <a:lnTo>
                    <a:pt x="531" y="1483"/>
                  </a:lnTo>
                  <a:lnTo>
                    <a:pt x="531" y="1483"/>
                  </a:lnTo>
                  <a:lnTo>
                    <a:pt x="540" y="1488"/>
                  </a:lnTo>
                  <a:lnTo>
                    <a:pt x="545" y="1488"/>
                  </a:lnTo>
                  <a:lnTo>
                    <a:pt x="549" y="1488"/>
                  </a:lnTo>
                  <a:lnTo>
                    <a:pt x="554" y="1488"/>
                  </a:lnTo>
                  <a:lnTo>
                    <a:pt x="558" y="1488"/>
                  </a:lnTo>
                  <a:lnTo>
                    <a:pt x="558" y="1488"/>
                  </a:lnTo>
                  <a:lnTo>
                    <a:pt x="563" y="1483"/>
                  </a:lnTo>
                  <a:lnTo>
                    <a:pt x="563" y="1479"/>
                  </a:lnTo>
                  <a:lnTo>
                    <a:pt x="563" y="1479"/>
                  </a:lnTo>
                  <a:lnTo>
                    <a:pt x="567" y="1479"/>
                  </a:lnTo>
                  <a:lnTo>
                    <a:pt x="572" y="1479"/>
                  </a:lnTo>
                  <a:lnTo>
                    <a:pt x="572" y="1479"/>
                  </a:lnTo>
                  <a:lnTo>
                    <a:pt x="572" y="1479"/>
                  </a:lnTo>
                  <a:lnTo>
                    <a:pt x="576" y="1479"/>
                  </a:lnTo>
                  <a:lnTo>
                    <a:pt x="576" y="1479"/>
                  </a:lnTo>
                  <a:lnTo>
                    <a:pt x="581" y="1479"/>
                  </a:lnTo>
                  <a:lnTo>
                    <a:pt x="581" y="1483"/>
                  </a:lnTo>
                  <a:lnTo>
                    <a:pt x="585" y="1492"/>
                  </a:lnTo>
                  <a:lnTo>
                    <a:pt x="590" y="1492"/>
                  </a:lnTo>
                  <a:lnTo>
                    <a:pt x="590" y="1497"/>
                  </a:lnTo>
                  <a:lnTo>
                    <a:pt x="585" y="1510"/>
                  </a:lnTo>
                  <a:lnTo>
                    <a:pt x="585" y="1510"/>
                  </a:lnTo>
                  <a:lnTo>
                    <a:pt x="581" y="1510"/>
                  </a:lnTo>
                  <a:lnTo>
                    <a:pt x="581" y="1510"/>
                  </a:lnTo>
                  <a:lnTo>
                    <a:pt x="576" y="1510"/>
                  </a:lnTo>
                  <a:lnTo>
                    <a:pt x="576" y="1510"/>
                  </a:lnTo>
                  <a:lnTo>
                    <a:pt x="576" y="1515"/>
                  </a:lnTo>
                  <a:lnTo>
                    <a:pt x="576" y="1515"/>
                  </a:lnTo>
                  <a:lnTo>
                    <a:pt x="576" y="1515"/>
                  </a:lnTo>
                  <a:lnTo>
                    <a:pt x="572" y="1515"/>
                  </a:lnTo>
                  <a:lnTo>
                    <a:pt x="572" y="1515"/>
                  </a:lnTo>
                  <a:lnTo>
                    <a:pt x="572" y="1520"/>
                  </a:lnTo>
                  <a:lnTo>
                    <a:pt x="567" y="1520"/>
                  </a:lnTo>
                  <a:lnTo>
                    <a:pt x="567" y="1520"/>
                  </a:lnTo>
                  <a:lnTo>
                    <a:pt x="567" y="1520"/>
                  </a:lnTo>
                  <a:lnTo>
                    <a:pt x="567" y="1520"/>
                  </a:lnTo>
                  <a:lnTo>
                    <a:pt x="563" y="1520"/>
                  </a:lnTo>
                  <a:lnTo>
                    <a:pt x="563" y="1520"/>
                  </a:lnTo>
                  <a:lnTo>
                    <a:pt x="563" y="1520"/>
                  </a:lnTo>
                  <a:lnTo>
                    <a:pt x="563" y="1529"/>
                  </a:lnTo>
                  <a:lnTo>
                    <a:pt x="563" y="1529"/>
                  </a:lnTo>
                  <a:lnTo>
                    <a:pt x="563" y="1529"/>
                  </a:lnTo>
                  <a:lnTo>
                    <a:pt x="567" y="1533"/>
                  </a:lnTo>
                  <a:lnTo>
                    <a:pt x="581" y="1533"/>
                  </a:lnTo>
                  <a:lnTo>
                    <a:pt x="585" y="1533"/>
                  </a:lnTo>
                  <a:lnTo>
                    <a:pt x="594" y="1538"/>
                  </a:lnTo>
                  <a:lnTo>
                    <a:pt x="599" y="1538"/>
                  </a:lnTo>
                  <a:lnTo>
                    <a:pt x="599" y="1533"/>
                  </a:lnTo>
                  <a:lnTo>
                    <a:pt x="604" y="1533"/>
                  </a:lnTo>
                  <a:lnTo>
                    <a:pt x="599" y="1538"/>
                  </a:lnTo>
                  <a:lnTo>
                    <a:pt x="599" y="1542"/>
                  </a:lnTo>
                  <a:lnTo>
                    <a:pt x="599" y="1542"/>
                  </a:lnTo>
                  <a:lnTo>
                    <a:pt x="599" y="1542"/>
                  </a:lnTo>
                  <a:lnTo>
                    <a:pt x="599" y="1542"/>
                  </a:lnTo>
                  <a:lnTo>
                    <a:pt x="594" y="1542"/>
                  </a:lnTo>
                  <a:lnTo>
                    <a:pt x="594" y="1547"/>
                  </a:lnTo>
                  <a:lnTo>
                    <a:pt x="594" y="1551"/>
                  </a:lnTo>
                  <a:lnTo>
                    <a:pt x="594" y="1551"/>
                  </a:lnTo>
                  <a:lnTo>
                    <a:pt x="599" y="1551"/>
                  </a:lnTo>
                  <a:lnTo>
                    <a:pt x="604" y="1551"/>
                  </a:lnTo>
                  <a:lnTo>
                    <a:pt x="604" y="1551"/>
                  </a:lnTo>
                  <a:lnTo>
                    <a:pt x="599" y="1556"/>
                  </a:lnTo>
                  <a:lnTo>
                    <a:pt x="599" y="1556"/>
                  </a:lnTo>
                  <a:lnTo>
                    <a:pt x="599" y="1556"/>
                  </a:lnTo>
                  <a:lnTo>
                    <a:pt x="599" y="1556"/>
                  </a:lnTo>
                  <a:lnTo>
                    <a:pt x="599" y="1556"/>
                  </a:lnTo>
                  <a:lnTo>
                    <a:pt x="604" y="1556"/>
                  </a:lnTo>
                  <a:lnTo>
                    <a:pt x="604" y="1560"/>
                  </a:lnTo>
                  <a:lnTo>
                    <a:pt x="604" y="1560"/>
                  </a:lnTo>
                  <a:lnTo>
                    <a:pt x="604" y="1556"/>
                  </a:lnTo>
                  <a:lnTo>
                    <a:pt x="604" y="1556"/>
                  </a:lnTo>
                  <a:lnTo>
                    <a:pt x="608" y="1556"/>
                  </a:lnTo>
                  <a:lnTo>
                    <a:pt x="608" y="1556"/>
                  </a:lnTo>
                  <a:lnTo>
                    <a:pt x="608" y="1560"/>
                  </a:lnTo>
                  <a:lnTo>
                    <a:pt x="608" y="1560"/>
                  </a:lnTo>
                  <a:lnTo>
                    <a:pt x="608" y="1560"/>
                  </a:lnTo>
                  <a:lnTo>
                    <a:pt x="608" y="1560"/>
                  </a:lnTo>
                  <a:lnTo>
                    <a:pt x="613" y="1560"/>
                  </a:lnTo>
                  <a:lnTo>
                    <a:pt x="613" y="1556"/>
                  </a:lnTo>
                  <a:lnTo>
                    <a:pt x="613" y="1560"/>
                  </a:lnTo>
                  <a:lnTo>
                    <a:pt x="613" y="1560"/>
                  </a:lnTo>
                  <a:lnTo>
                    <a:pt x="613" y="1560"/>
                  </a:lnTo>
                  <a:lnTo>
                    <a:pt x="604" y="1560"/>
                  </a:lnTo>
                  <a:lnTo>
                    <a:pt x="604" y="1565"/>
                  </a:lnTo>
                  <a:lnTo>
                    <a:pt x="604" y="1565"/>
                  </a:lnTo>
                  <a:lnTo>
                    <a:pt x="604" y="1565"/>
                  </a:lnTo>
                  <a:lnTo>
                    <a:pt x="599" y="1569"/>
                  </a:lnTo>
                  <a:lnTo>
                    <a:pt x="599" y="1569"/>
                  </a:lnTo>
                  <a:lnTo>
                    <a:pt x="604" y="1574"/>
                  </a:lnTo>
                  <a:lnTo>
                    <a:pt x="604" y="1574"/>
                  </a:lnTo>
                  <a:lnTo>
                    <a:pt x="608" y="1574"/>
                  </a:lnTo>
                  <a:lnTo>
                    <a:pt x="608" y="1574"/>
                  </a:lnTo>
                  <a:lnTo>
                    <a:pt x="608" y="1574"/>
                  </a:lnTo>
                  <a:lnTo>
                    <a:pt x="608" y="1574"/>
                  </a:lnTo>
                  <a:lnTo>
                    <a:pt x="608" y="1574"/>
                  </a:lnTo>
                  <a:lnTo>
                    <a:pt x="608" y="1574"/>
                  </a:lnTo>
                  <a:lnTo>
                    <a:pt x="613" y="1574"/>
                  </a:lnTo>
                  <a:lnTo>
                    <a:pt x="613" y="1574"/>
                  </a:lnTo>
                  <a:lnTo>
                    <a:pt x="613" y="1579"/>
                  </a:lnTo>
                  <a:lnTo>
                    <a:pt x="613" y="1579"/>
                  </a:lnTo>
                  <a:lnTo>
                    <a:pt x="617" y="1574"/>
                  </a:lnTo>
                  <a:lnTo>
                    <a:pt x="617" y="1574"/>
                  </a:lnTo>
                  <a:lnTo>
                    <a:pt x="617" y="1579"/>
                  </a:lnTo>
                  <a:lnTo>
                    <a:pt x="617" y="1579"/>
                  </a:lnTo>
                  <a:lnTo>
                    <a:pt x="617" y="1579"/>
                  </a:lnTo>
                  <a:lnTo>
                    <a:pt x="617" y="1579"/>
                  </a:lnTo>
                  <a:lnTo>
                    <a:pt x="613" y="1579"/>
                  </a:lnTo>
                  <a:lnTo>
                    <a:pt x="608" y="1579"/>
                  </a:lnTo>
                  <a:lnTo>
                    <a:pt x="608" y="1583"/>
                  </a:lnTo>
                  <a:lnTo>
                    <a:pt x="608" y="1583"/>
                  </a:lnTo>
                  <a:lnTo>
                    <a:pt x="608" y="1583"/>
                  </a:lnTo>
                  <a:lnTo>
                    <a:pt x="608" y="1583"/>
                  </a:lnTo>
                  <a:lnTo>
                    <a:pt x="608" y="1588"/>
                  </a:lnTo>
                  <a:lnTo>
                    <a:pt x="608" y="1588"/>
                  </a:lnTo>
                  <a:lnTo>
                    <a:pt x="608" y="1588"/>
                  </a:lnTo>
                  <a:lnTo>
                    <a:pt x="604" y="1588"/>
                  </a:lnTo>
                  <a:lnTo>
                    <a:pt x="604" y="1588"/>
                  </a:lnTo>
                  <a:lnTo>
                    <a:pt x="604" y="1588"/>
                  </a:lnTo>
                  <a:lnTo>
                    <a:pt x="608" y="1588"/>
                  </a:lnTo>
                  <a:lnTo>
                    <a:pt x="608" y="1588"/>
                  </a:lnTo>
                  <a:lnTo>
                    <a:pt x="608" y="1592"/>
                  </a:lnTo>
                  <a:lnTo>
                    <a:pt x="608" y="1592"/>
                  </a:lnTo>
                  <a:lnTo>
                    <a:pt x="604" y="1592"/>
                  </a:lnTo>
                  <a:lnTo>
                    <a:pt x="604" y="1592"/>
                  </a:lnTo>
                  <a:lnTo>
                    <a:pt x="599" y="1597"/>
                  </a:lnTo>
                  <a:lnTo>
                    <a:pt x="594" y="1592"/>
                  </a:lnTo>
                  <a:lnTo>
                    <a:pt x="594" y="1597"/>
                  </a:lnTo>
                  <a:lnTo>
                    <a:pt x="594" y="1601"/>
                  </a:lnTo>
                  <a:lnTo>
                    <a:pt x="594" y="1601"/>
                  </a:lnTo>
                  <a:lnTo>
                    <a:pt x="594" y="1601"/>
                  </a:lnTo>
                  <a:lnTo>
                    <a:pt x="594" y="1601"/>
                  </a:lnTo>
                  <a:lnTo>
                    <a:pt x="594" y="1601"/>
                  </a:lnTo>
                  <a:lnTo>
                    <a:pt x="590" y="1606"/>
                  </a:lnTo>
                  <a:lnTo>
                    <a:pt x="590" y="1606"/>
                  </a:lnTo>
                  <a:lnTo>
                    <a:pt x="590" y="1606"/>
                  </a:lnTo>
                  <a:lnTo>
                    <a:pt x="590" y="1606"/>
                  </a:lnTo>
                  <a:lnTo>
                    <a:pt x="590" y="1606"/>
                  </a:lnTo>
                  <a:lnTo>
                    <a:pt x="585" y="1606"/>
                  </a:lnTo>
                  <a:lnTo>
                    <a:pt x="585" y="1606"/>
                  </a:lnTo>
                  <a:lnTo>
                    <a:pt x="585" y="1606"/>
                  </a:lnTo>
                  <a:lnTo>
                    <a:pt x="581" y="1610"/>
                  </a:lnTo>
                  <a:lnTo>
                    <a:pt x="581" y="1610"/>
                  </a:lnTo>
                  <a:lnTo>
                    <a:pt x="581" y="1610"/>
                  </a:lnTo>
                  <a:lnTo>
                    <a:pt x="581" y="1610"/>
                  </a:lnTo>
                  <a:lnTo>
                    <a:pt x="581" y="1610"/>
                  </a:lnTo>
                  <a:lnTo>
                    <a:pt x="581" y="1610"/>
                  </a:lnTo>
                  <a:lnTo>
                    <a:pt x="581" y="1610"/>
                  </a:lnTo>
                  <a:lnTo>
                    <a:pt x="581" y="1615"/>
                  </a:lnTo>
                  <a:lnTo>
                    <a:pt x="581" y="1615"/>
                  </a:lnTo>
                  <a:lnTo>
                    <a:pt x="576" y="1615"/>
                  </a:lnTo>
                  <a:lnTo>
                    <a:pt x="576" y="1615"/>
                  </a:lnTo>
                  <a:lnTo>
                    <a:pt x="572" y="1615"/>
                  </a:lnTo>
                  <a:lnTo>
                    <a:pt x="572" y="1619"/>
                  </a:lnTo>
                  <a:lnTo>
                    <a:pt x="572" y="1624"/>
                  </a:lnTo>
                  <a:lnTo>
                    <a:pt x="572" y="1624"/>
                  </a:lnTo>
                  <a:lnTo>
                    <a:pt x="572" y="1624"/>
                  </a:lnTo>
                  <a:lnTo>
                    <a:pt x="576" y="1624"/>
                  </a:lnTo>
                  <a:lnTo>
                    <a:pt x="576" y="1624"/>
                  </a:lnTo>
                  <a:lnTo>
                    <a:pt x="576" y="1628"/>
                  </a:lnTo>
                  <a:lnTo>
                    <a:pt x="576" y="1628"/>
                  </a:lnTo>
                  <a:lnTo>
                    <a:pt x="572" y="1628"/>
                  </a:lnTo>
                  <a:lnTo>
                    <a:pt x="572" y="1628"/>
                  </a:lnTo>
                  <a:lnTo>
                    <a:pt x="567" y="1633"/>
                  </a:lnTo>
                  <a:lnTo>
                    <a:pt x="567" y="1633"/>
                  </a:lnTo>
                  <a:lnTo>
                    <a:pt x="567" y="1637"/>
                  </a:lnTo>
                  <a:lnTo>
                    <a:pt x="567" y="1637"/>
                  </a:lnTo>
                  <a:lnTo>
                    <a:pt x="567" y="1637"/>
                  </a:lnTo>
                  <a:lnTo>
                    <a:pt x="567" y="1637"/>
                  </a:lnTo>
                  <a:lnTo>
                    <a:pt x="563" y="1637"/>
                  </a:lnTo>
                  <a:lnTo>
                    <a:pt x="563" y="1642"/>
                  </a:lnTo>
                  <a:lnTo>
                    <a:pt x="563" y="1642"/>
                  </a:lnTo>
                  <a:lnTo>
                    <a:pt x="563" y="1647"/>
                  </a:lnTo>
                  <a:lnTo>
                    <a:pt x="563" y="1647"/>
                  </a:lnTo>
                  <a:lnTo>
                    <a:pt x="563" y="1647"/>
                  </a:lnTo>
                  <a:lnTo>
                    <a:pt x="563" y="1647"/>
                  </a:lnTo>
                  <a:lnTo>
                    <a:pt x="558" y="1651"/>
                  </a:lnTo>
                  <a:lnTo>
                    <a:pt x="558" y="1656"/>
                  </a:lnTo>
                  <a:lnTo>
                    <a:pt x="554" y="1660"/>
                  </a:lnTo>
                  <a:lnTo>
                    <a:pt x="554" y="1665"/>
                  </a:lnTo>
                  <a:lnTo>
                    <a:pt x="549" y="1669"/>
                  </a:lnTo>
                  <a:lnTo>
                    <a:pt x="549" y="1669"/>
                  </a:lnTo>
                  <a:lnTo>
                    <a:pt x="549" y="1674"/>
                  </a:lnTo>
                  <a:lnTo>
                    <a:pt x="549" y="1687"/>
                  </a:lnTo>
                  <a:lnTo>
                    <a:pt x="540" y="1701"/>
                  </a:lnTo>
                  <a:lnTo>
                    <a:pt x="540" y="1701"/>
                  </a:lnTo>
                  <a:lnTo>
                    <a:pt x="540" y="1706"/>
                  </a:lnTo>
                  <a:lnTo>
                    <a:pt x="540" y="1706"/>
                  </a:lnTo>
                  <a:lnTo>
                    <a:pt x="540" y="1706"/>
                  </a:lnTo>
                  <a:lnTo>
                    <a:pt x="545" y="1710"/>
                  </a:lnTo>
                  <a:lnTo>
                    <a:pt x="545" y="1710"/>
                  </a:lnTo>
                  <a:lnTo>
                    <a:pt x="545" y="1715"/>
                  </a:lnTo>
                  <a:lnTo>
                    <a:pt x="540" y="1715"/>
                  </a:lnTo>
                  <a:lnTo>
                    <a:pt x="540" y="1715"/>
                  </a:lnTo>
                  <a:lnTo>
                    <a:pt x="535" y="1728"/>
                  </a:lnTo>
                  <a:lnTo>
                    <a:pt x="535" y="1733"/>
                  </a:lnTo>
                  <a:lnTo>
                    <a:pt x="535" y="1737"/>
                  </a:lnTo>
                  <a:lnTo>
                    <a:pt x="531" y="1737"/>
                  </a:lnTo>
                  <a:lnTo>
                    <a:pt x="531" y="1737"/>
                  </a:lnTo>
                  <a:lnTo>
                    <a:pt x="531" y="1737"/>
                  </a:lnTo>
                  <a:lnTo>
                    <a:pt x="531" y="1742"/>
                  </a:lnTo>
                  <a:lnTo>
                    <a:pt x="526" y="1742"/>
                  </a:lnTo>
                  <a:lnTo>
                    <a:pt x="526" y="1742"/>
                  </a:lnTo>
                  <a:lnTo>
                    <a:pt x="526" y="1746"/>
                  </a:lnTo>
                  <a:lnTo>
                    <a:pt x="531" y="1746"/>
                  </a:lnTo>
                  <a:lnTo>
                    <a:pt x="531" y="1746"/>
                  </a:lnTo>
                  <a:lnTo>
                    <a:pt x="531" y="1746"/>
                  </a:lnTo>
                  <a:lnTo>
                    <a:pt x="526" y="1751"/>
                  </a:lnTo>
                  <a:lnTo>
                    <a:pt x="526" y="1751"/>
                  </a:lnTo>
                  <a:lnTo>
                    <a:pt x="526" y="1751"/>
                  </a:lnTo>
                  <a:lnTo>
                    <a:pt x="526" y="1755"/>
                  </a:lnTo>
                  <a:lnTo>
                    <a:pt x="526" y="1760"/>
                  </a:lnTo>
                  <a:lnTo>
                    <a:pt x="522" y="1760"/>
                  </a:lnTo>
                  <a:lnTo>
                    <a:pt x="522" y="1760"/>
                  </a:lnTo>
                  <a:lnTo>
                    <a:pt x="522" y="1760"/>
                  </a:lnTo>
                  <a:lnTo>
                    <a:pt x="522" y="1764"/>
                  </a:lnTo>
                  <a:lnTo>
                    <a:pt x="522" y="1764"/>
                  </a:lnTo>
                  <a:lnTo>
                    <a:pt x="522" y="1764"/>
                  </a:lnTo>
                  <a:lnTo>
                    <a:pt x="522" y="1760"/>
                  </a:lnTo>
                  <a:lnTo>
                    <a:pt x="517" y="1760"/>
                  </a:lnTo>
                  <a:lnTo>
                    <a:pt x="522" y="1760"/>
                  </a:lnTo>
                  <a:lnTo>
                    <a:pt x="522" y="1760"/>
                  </a:lnTo>
                  <a:lnTo>
                    <a:pt x="522" y="1760"/>
                  </a:lnTo>
                  <a:lnTo>
                    <a:pt x="517" y="1760"/>
                  </a:lnTo>
                  <a:lnTo>
                    <a:pt x="513" y="1760"/>
                  </a:lnTo>
                  <a:lnTo>
                    <a:pt x="513" y="1760"/>
                  </a:lnTo>
                  <a:lnTo>
                    <a:pt x="513" y="1760"/>
                  </a:lnTo>
                  <a:lnTo>
                    <a:pt x="513" y="1755"/>
                  </a:lnTo>
                  <a:lnTo>
                    <a:pt x="513" y="1755"/>
                  </a:lnTo>
                  <a:lnTo>
                    <a:pt x="513" y="1755"/>
                  </a:lnTo>
                  <a:lnTo>
                    <a:pt x="508" y="1751"/>
                  </a:lnTo>
                  <a:lnTo>
                    <a:pt x="508" y="1751"/>
                  </a:lnTo>
                  <a:lnTo>
                    <a:pt x="508" y="1751"/>
                  </a:lnTo>
                  <a:lnTo>
                    <a:pt x="508" y="1751"/>
                  </a:lnTo>
                  <a:lnTo>
                    <a:pt x="504" y="1751"/>
                  </a:lnTo>
                  <a:lnTo>
                    <a:pt x="504" y="1746"/>
                  </a:lnTo>
                  <a:lnTo>
                    <a:pt x="504" y="1746"/>
                  </a:lnTo>
                  <a:lnTo>
                    <a:pt x="499" y="1746"/>
                  </a:lnTo>
                  <a:lnTo>
                    <a:pt x="499" y="1746"/>
                  </a:lnTo>
                  <a:lnTo>
                    <a:pt x="495" y="1751"/>
                  </a:lnTo>
                  <a:lnTo>
                    <a:pt x="490" y="1751"/>
                  </a:lnTo>
                  <a:lnTo>
                    <a:pt x="490" y="1751"/>
                  </a:lnTo>
                  <a:lnTo>
                    <a:pt x="486" y="1755"/>
                  </a:lnTo>
                  <a:lnTo>
                    <a:pt x="486" y="1760"/>
                  </a:lnTo>
                  <a:lnTo>
                    <a:pt x="486" y="1760"/>
                  </a:lnTo>
                  <a:lnTo>
                    <a:pt x="490" y="1760"/>
                  </a:lnTo>
                  <a:lnTo>
                    <a:pt x="495" y="1764"/>
                  </a:lnTo>
                  <a:lnTo>
                    <a:pt x="495" y="1764"/>
                  </a:lnTo>
                  <a:lnTo>
                    <a:pt x="495" y="1764"/>
                  </a:lnTo>
                  <a:lnTo>
                    <a:pt x="495" y="1769"/>
                  </a:lnTo>
                  <a:lnTo>
                    <a:pt x="495" y="1769"/>
                  </a:lnTo>
                  <a:lnTo>
                    <a:pt x="495" y="1769"/>
                  </a:lnTo>
                  <a:lnTo>
                    <a:pt x="495" y="1769"/>
                  </a:lnTo>
                  <a:lnTo>
                    <a:pt x="499" y="1774"/>
                  </a:lnTo>
                  <a:lnTo>
                    <a:pt x="490" y="1774"/>
                  </a:lnTo>
                  <a:lnTo>
                    <a:pt x="490" y="1774"/>
                  </a:lnTo>
                  <a:lnTo>
                    <a:pt x="486" y="1778"/>
                  </a:lnTo>
                  <a:lnTo>
                    <a:pt x="481" y="1778"/>
                  </a:lnTo>
                  <a:lnTo>
                    <a:pt x="481" y="1783"/>
                  </a:lnTo>
                  <a:lnTo>
                    <a:pt x="481" y="1783"/>
                  </a:lnTo>
                  <a:lnTo>
                    <a:pt x="476" y="1787"/>
                  </a:lnTo>
                  <a:lnTo>
                    <a:pt x="476" y="1787"/>
                  </a:lnTo>
                  <a:lnTo>
                    <a:pt x="476" y="1787"/>
                  </a:lnTo>
                  <a:lnTo>
                    <a:pt x="472" y="1787"/>
                  </a:lnTo>
                  <a:lnTo>
                    <a:pt x="472" y="1792"/>
                  </a:lnTo>
                  <a:lnTo>
                    <a:pt x="463" y="1792"/>
                  </a:lnTo>
                  <a:lnTo>
                    <a:pt x="463" y="1792"/>
                  </a:lnTo>
                  <a:lnTo>
                    <a:pt x="463" y="1792"/>
                  </a:lnTo>
                  <a:lnTo>
                    <a:pt x="463" y="1792"/>
                  </a:lnTo>
                  <a:lnTo>
                    <a:pt x="458" y="1792"/>
                  </a:lnTo>
                  <a:lnTo>
                    <a:pt x="454" y="1792"/>
                  </a:lnTo>
                  <a:lnTo>
                    <a:pt x="454" y="1796"/>
                  </a:lnTo>
                  <a:lnTo>
                    <a:pt x="449" y="1796"/>
                  </a:lnTo>
                  <a:lnTo>
                    <a:pt x="445" y="1801"/>
                  </a:lnTo>
                  <a:lnTo>
                    <a:pt x="445" y="1801"/>
                  </a:lnTo>
                  <a:lnTo>
                    <a:pt x="445" y="1792"/>
                  </a:lnTo>
                  <a:lnTo>
                    <a:pt x="445" y="1787"/>
                  </a:lnTo>
                  <a:lnTo>
                    <a:pt x="449" y="1787"/>
                  </a:lnTo>
                  <a:lnTo>
                    <a:pt x="454" y="1787"/>
                  </a:lnTo>
                  <a:lnTo>
                    <a:pt x="454" y="1783"/>
                  </a:lnTo>
                  <a:lnTo>
                    <a:pt x="458" y="1778"/>
                  </a:lnTo>
                  <a:lnTo>
                    <a:pt x="458" y="1774"/>
                  </a:lnTo>
                  <a:lnTo>
                    <a:pt x="458" y="1769"/>
                  </a:lnTo>
                  <a:lnTo>
                    <a:pt x="463" y="1764"/>
                  </a:lnTo>
                  <a:lnTo>
                    <a:pt x="463" y="1760"/>
                  </a:lnTo>
                  <a:lnTo>
                    <a:pt x="458" y="1755"/>
                  </a:lnTo>
                  <a:lnTo>
                    <a:pt x="458" y="1751"/>
                  </a:lnTo>
                  <a:lnTo>
                    <a:pt x="458" y="1746"/>
                  </a:lnTo>
                  <a:lnTo>
                    <a:pt x="454" y="1742"/>
                  </a:lnTo>
                  <a:lnTo>
                    <a:pt x="454" y="1737"/>
                  </a:lnTo>
                  <a:lnTo>
                    <a:pt x="454" y="1733"/>
                  </a:lnTo>
                  <a:lnTo>
                    <a:pt x="454" y="1733"/>
                  </a:lnTo>
                  <a:lnTo>
                    <a:pt x="445" y="1728"/>
                  </a:lnTo>
                  <a:lnTo>
                    <a:pt x="445" y="1728"/>
                  </a:lnTo>
                  <a:lnTo>
                    <a:pt x="445" y="1728"/>
                  </a:lnTo>
                  <a:lnTo>
                    <a:pt x="440" y="1728"/>
                  </a:lnTo>
                  <a:lnTo>
                    <a:pt x="445" y="1724"/>
                  </a:lnTo>
                  <a:lnTo>
                    <a:pt x="445" y="1724"/>
                  </a:lnTo>
                  <a:lnTo>
                    <a:pt x="449" y="1724"/>
                  </a:lnTo>
                  <a:lnTo>
                    <a:pt x="449" y="1724"/>
                  </a:lnTo>
                  <a:lnTo>
                    <a:pt x="454" y="1724"/>
                  </a:lnTo>
                  <a:lnTo>
                    <a:pt x="454" y="1724"/>
                  </a:lnTo>
                  <a:lnTo>
                    <a:pt x="454" y="1728"/>
                  </a:lnTo>
                  <a:lnTo>
                    <a:pt x="454" y="1728"/>
                  </a:lnTo>
                  <a:lnTo>
                    <a:pt x="454" y="1728"/>
                  </a:lnTo>
                  <a:lnTo>
                    <a:pt x="458" y="1733"/>
                  </a:lnTo>
                  <a:lnTo>
                    <a:pt x="458" y="1733"/>
                  </a:lnTo>
                  <a:lnTo>
                    <a:pt x="458" y="1733"/>
                  </a:lnTo>
                  <a:lnTo>
                    <a:pt x="463" y="1728"/>
                  </a:lnTo>
                  <a:lnTo>
                    <a:pt x="463" y="1724"/>
                  </a:lnTo>
                  <a:lnTo>
                    <a:pt x="467" y="1719"/>
                  </a:lnTo>
                  <a:lnTo>
                    <a:pt x="467" y="1715"/>
                  </a:lnTo>
                  <a:lnTo>
                    <a:pt x="463" y="1715"/>
                  </a:lnTo>
                  <a:lnTo>
                    <a:pt x="458" y="1710"/>
                  </a:lnTo>
                  <a:lnTo>
                    <a:pt x="454" y="1710"/>
                  </a:lnTo>
                  <a:lnTo>
                    <a:pt x="449" y="1710"/>
                  </a:lnTo>
                  <a:lnTo>
                    <a:pt x="445" y="1715"/>
                  </a:lnTo>
                  <a:lnTo>
                    <a:pt x="445" y="1715"/>
                  </a:lnTo>
                  <a:lnTo>
                    <a:pt x="445" y="1719"/>
                  </a:lnTo>
                  <a:lnTo>
                    <a:pt x="445" y="1719"/>
                  </a:lnTo>
                  <a:lnTo>
                    <a:pt x="440" y="1724"/>
                  </a:lnTo>
                  <a:lnTo>
                    <a:pt x="440" y="1724"/>
                  </a:lnTo>
                  <a:lnTo>
                    <a:pt x="436" y="1728"/>
                  </a:lnTo>
                  <a:lnTo>
                    <a:pt x="436" y="1733"/>
                  </a:lnTo>
                  <a:lnTo>
                    <a:pt x="436" y="1733"/>
                  </a:lnTo>
                  <a:lnTo>
                    <a:pt x="431" y="1737"/>
                  </a:lnTo>
                  <a:lnTo>
                    <a:pt x="431" y="1742"/>
                  </a:lnTo>
                  <a:lnTo>
                    <a:pt x="431" y="1742"/>
                  </a:lnTo>
                  <a:lnTo>
                    <a:pt x="436" y="1751"/>
                  </a:lnTo>
                  <a:lnTo>
                    <a:pt x="436" y="1755"/>
                  </a:lnTo>
                  <a:lnTo>
                    <a:pt x="436" y="1760"/>
                  </a:lnTo>
                  <a:lnTo>
                    <a:pt x="436" y="1760"/>
                  </a:lnTo>
                  <a:lnTo>
                    <a:pt x="440" y="1760"/>
                  </a:lnTo>
                  <a:lnTo>
                    <a:pt x="445" y="1764"/>
                  </a:lnTo>
                  <a:lnTo>
                    <a:pt x="445" y="1764"/>
                  </a:lnTo>
                  <a:lnTo>
                    <a:pt x="445" y="1769"/>
                  </a:lnTo>
                  <a:lnTo>
                    <a:pt x="445" y="1774"/>
                  </a:lnTo>
                  <a:lnTo>
                    <a:pt x="445" y="1774"/>
                  </a:lnTo>
                  <a:lnTo>
                    <a:pt x="440" y="1778"/>
                  </a:lnTo>
                  <a:lnTo>
                    <a:pt x="440" y="1778"/>
                  </a:lnTo>
                  <a:lnTo>
                    <a:pt x="436" y="1778"/>
                  </a:lnTo>
                  <a:lnTo>
                    <a:pt x="436" y="1778"/>
                  </a:lnTo>
                  <a:lnTo>
                    <a:pt x="436" y="1778"/>
                  </a:lnTo>
                  <a:lnTo>
                    <a:pt x="431" y="1778"/>
                  </a:lnTo>
                  <a:lnTo>
                    <a:pt x="431" y="1778"/>
                  </a:lnTo>
                  <a:lnTo>
                    <a:pt x="431" y="1778"/>
                  </a:lnTo>
                  <a:lnTo>
                    <a:pt x="427" y="1778"/>
                  </a:lnTo>
                  <a:lnTo>
                    <a:pt x="427" y="1774"/>
                  </a:lnTo>
                  <a:lnTo>
                    <a:pt x="427" y="1774"/>
                  </a:lnTo>
                  <a:lnTo>
                    <a:pt x="427" y="1769"/>
                  </a:lnTo>
                  <a:lnTo>
                    <a:pt x="427" y="1769"/>
                  </a:lnTo>
                  <a:lnTo>
                    <a:pt x="427" y="1769"/>
                  </a:lnTo>
                  <a:lnTo>
                    <a:pt x="404" y="1764"/>
                  </a:lnTo>
                  <a:lnTo>
                    <a:pt x="404" y="1764"/>
                  </a:lnTo>
                  <a:lnTo>
                    <a:pt x="399" y="1764"/>
                  </a:lnTo>
                  <a:lnTo>
                    <a:pt x="399" y="1764"/>
                  </a:lnTo>
                  <a:lnTo>
                    <a:pt x="399" y="1760"/>
                  </a:lnTo>
                  <a:lnTo>
                    <a:pt x="395" y="1760"/>
                  </a:lnTo>
                  <a:lnTo>
                    <a:pt x="395" y="1755"/>
                  </a:lnTo>
                  <a:lnTo>
                    <a:pt x="395" y="1755"/>
                  </a:lnTo>
                  <a:lnTo>
                    <a:pt x="395" y="1755"/>
                  </a:lnTo>
                  <a:lnTo>
                    <a:pt x="395" y="1755"/>
                  </a:lnTo>
                  <a:lnTo>
                    <a:pt x="395" y="1755"/>
                  </a:lnTo>
                  <a:lnTo>
                    <a:pt x="395" y="1751"/>
                  </a:lnTo>
                  <a:lnTo>
                    <a:pt x="395" y="1751"/>
                  </a:lnTo>
                  <a:lnTo>
                    <a:pt x="395" y="1751"/>
                  </a:lnTo>
                  <a:lnTo>
                    <a:pt x="390" y="1746"/>
                  </a:lnTo>
                  <a:lnTo>
                    <a:pt x="390" y="1742"/>
                  </a:lnTo>
                  <a:lnTo>
                    <a:pt x="386" y="1742"/>
                  </a:lnTo>
                  <a:lnTo>
                    <a:pt x="390" y="1742"/>
                  </a:lnTo>
                  <a:lnTo>
                    <a:pt x="390" y="1742"/>
                  </a:lnTo>
                  <a:lnTo>
                    <a:pt x="390" y="1742"/>
                  </a:lnTo>
                  <a:lnTo>
                    <a:pt x="395" y="1742"/>
                  </a:lnTo>
                  <a:lnTo>
                    <a:pt x="395" y="1742"/>
                  </a:lnTo>
                  <a:lnTo>
                    <a:pt x="395" y="1742"/>
                  </a:lnTo>
                  <a:lnTo>
                    <a:pt x="399" y="1746"/>
                  </a:lnTo>
                  <a:lnTo>
                    <a:pt x="399" y="1746"/>
                  </a:lnTo>
                  <a:lnTo>
                    <a:pt x="399" y="1742"/>
                  </a:lnTo>
                  <a:lnTo>
                    <a:pt x="408" y="1742"/>
                  </a:lnTo>
                  <a:lnTo>
                    <a:pt x="408" y="1737"/>
                  </a:lnTo>
                  <a:lnTo>
                    <a:pt x="408" y="1733"/>
                  </a:lnTo>
                  <a:lnTo>
                    <a:pt x="413" y="1728"/>
                  </a:lnTo>
                  <a:lnTo>
                    <a:pt x="413" y="1724"/>
                  </a:lnTo>
                  <a:lnTo>
                    <a:pt x="413" y="1724"/>
                  </a:lnTo>
                  <a:lnTo>
                    <a:pt x="413" y="1719"/>
                  </a:lnTo>
                  <a:lnTo>
                    <a:pt x="413" y="1719"/>
                  </a:lnTo>
                  <a:lnTo>
                    <a:pt x="413" y="1715"/>
                  </a:lnTo>
                  <a:lnTo>
                    <a:pt x="408" y="1710"/>
                  </a:lnTo>
                  <a:lnTo>
                    <a:pt x="404" y="1706"/>
                  </a:lnTo>
                  <a:lnTo>
                    <a:pt x="404" y="1701"/>
                  </a:lnTo>
                  <a:lnTo>
                    <a:pt x="399" y="1701"/>
                  </a:lnTo>
                  <a:lnTo>
                    <a:pt x="399" y="1696"/>
                  </a:lnTo>
                  <a:lnTo>
                    <a:pt x="399" y="1696"/>
                  </a:lnTo>
                  <a:lnTo>
                    <a:pt x="399" y="1692"/>
                  </a:lnTo>
                  <a:lnTo>
                    <a:pt x="399" y="1692"/>
                  </a:lnTo>
                  <a:lnTo>
                    <a:pt x="404" y="1692"/>
                  </a:lnTo>
                  <a:lnTo>
                    <a:pt x="404" y="1692"/>
                  </a:lnTo>
                  <a:lnTo>
                    <a:pt x="404" y="1692"/>
                  </a:lnTo>
                  <a:lnTo>
                    <a:pt x="404" y="1687"/>
                  </a:lnTo>
                  <a:lnTo>
                    <a:pt x="399" y="1687"/>
                  </a:lnTo>
                  <a:lnTo>
                    <a:pt x="399" y="1683"/>
                  </a:lnTo>
                  <a:lnTo>
                    <a:pt x="404" y="1678"/>
                  </a:lnTo>
                  <a:lnTo>
                    <a:pt x="404" y="1674"/>
                  </a:lnTo>
                  <a:lnTo>
                    <a:pt x="404" y="1674"/>
                  </a:lnTo>
                  <a:lnTo>
                    <a:pt x="404" y="1669"/>
                  </a:lnTo>
                  <a:lnTo>
                    <a:pt x="399" y="1669"/>
                  </a:lnTo>
                  <a:lnTo>
                    <a:pt x="399" y="1669"/>
                  </a:lnTo>
                  <a:lnTo>
                    <a:pt x="399" y="1669"/>
                  </a:lnTo>
                  <a:lnTo>
                    <a:pt x="399" y="1665"/>
                  </a:lnTo>
                  <a:lnTo>
                    <a:pt x="404" y="1660"/>
                  </a:lnTo>
                  <a:lnTo>
                    <a:pt x="404" y="1656"/>
                  </a:lnTo>
                  <a:lnTo>
                    <a:pt x="404" y="1656"/>
                  </a:lnTo>
                  <a:lnTo>
                    <a:pt x="408" y="1651"/>
                  </a:lnTo>
                  <a:lnTo>
                    <a:pt x="413" y="1656"/>
                  </a:lnTo>
                  <a:lnTo>
                    <a:pt x="413" y="1656"/>
                  </a:lnTo>
                  <a:lnTo>
                    <a:pt x="418" y="1656"/>
                  </a:lnTo>
                  <a:lnTo>
                    <a:pt x="418" y="1656"/>
                  </a:lnTo>
                  <a:lnTo>
                    <a:pt x="418" y="1656"/>
                  </a:lnTo>
                  <a:lnTo>
                    <a:pt x="422" y="1651"/>
                  </a:lnTo>
                  <a:lnTo>
                    <a:pt x="422" y="1651"/>
                  </a:lnTo>
                  <a:lnTo>
                    <a:pt x="422" y="1651"/>
                  </a:lnTo>
                  <a:lnTo>
                    <a:pt x="422" y="1651"/>
                  </a:lnTo>
                  <a:lnTo>
                    <a:pt x="422" y="1647"/>
                  </a:lnTo>
                  <a:lnTo>
                    <a:pt x="422" y="1647"/>
                  </a:lnTo>
                  <a:lnTo>
                    <a:pt x="431" y="1642"/>
                  </a:lnTo>
                  <a:lnTo>
                    <a:pt x="431" y="1637"/>
                  </a:lnTo>
                  <a:lnTo>
                    <a:pt x="431" y="1637"/>
                  </a:lnTo>
                  <a:lnTo>
                    <a:pt x="436" y="1637"/>
                  </a:lnTo>
                  <a:lnTo>
                    <a:pt x="436" y="1637"/>
                  </a:lnTo>
                  <a:lnTo>
                    <a:pt x="436" y="1633"/>
                  </a:lnTo>
                  <a:lnTo>
                    <a:pt x="436" y="1633"/>
                  </a:lnTo>
                  <a:lnTo>
                    <a:pt x="436" y="1633"/>
                  </a:lnTo>
                  <a:lnTo>
                    <a:pt x="436" y="1628"/>
                  </a:lnTo>
                  <a:lnTo>
                    <a:pt x="436" y="1628"/>
                  </a:lnTo>
                  <a:lnTo>
                    <a:pt x="440" y="1633"/>
                  </a:lnTo>
                  <a:lnTo>
                    <a:pt x="440" y="1633"/>
                  </a:lnTo>
                  <a:lnTo>
                    <a:pt x="440" y="1628"/>
                  </a:lnTo>
                  <a:lnTo>
                    <a:pt x="440" y="1624"/>
                  </a:lnTo>
                  <a:lnTo>
                    <a:pt x="440" y="1624"/>
                  </a:lnTo>
                  <a:lnTo>
                    <a:pt x="445" y="1624"/>
                  </a:lnTo>
                  <a:lnTo>
                    <a:pt x="449" y="1619"/>
                  </a:lnTo>
                  <a:lnTo>
                    <a:pt x="449" y="1619"/>
                  </a:lnTo>
                  <a:lnTo>
                    <a:pt x="449" y="1615"/>
                  </a:lnTo>
                  <a:lnTo>
                    <a:pt x="449" y="1615"/>
                  </a:lnTo>
                  <a:lnTo>
                    <a:pt x="449" y="1610"/>
                  </a:lnTo>
                  <a:lnTo>
                    <a:pt x="449" y="1610"/>
                  </a:lnTo>
                  <a:lnTo>
                    <a:pt x="454" y="1610"/>
                  </a:lnTo>
                  <a:lnTo>
                    <a:pt x="454" y="1610"/>
                  </a:lnTo>
                  <a:lnTo>
                    <a:pt x="449" y="1606"/>
                  </a:lnTo>
                  <a:lnTo>
                    <a:pt x="449" y="1606"/>
                  </a:lnTo>
                  <a:lnTo>
                    <a:pt x="449" y="1606"/>
                  </a:lnTo>
                  <a:lnTo>
                    <a:pt x="458" y="1601"/>
                  </a:lnTo>
                  <a:lnTo>
                    <a:pt x="458" y="1597"/>
                  </a:lnTo>
                  <a:lnTo>
                    <a:pt x="463" y="1597"/>
                  </a:lnTo>
                  <a:lnTo>
                    <a:pt x="458" y="1592"/>
                  </a:lnTo>
                  <a:lnTo>
                    <a:pt x="440" y="1597"/>
                  </a:lnTo>
                  <a:lnTo>
                    <a:pt x="440" y="1597"/>
                  </a:lnTo>
                  <a:lnTo>
                    <a:pt x="436" y="1597"/>
                  </a:lnTo>
                  <a:lnTo>
                    <a:pt x="440" y="1592"/>
                  </a:lnTo>
                  <a:lnTo>
                    <a:pt x="440" y="1592"/>
                  </a:lnTo>
                  <a:lnTo>
                    <a:pt x="449" y="1588"/>
                  </a:lnTo>
                  <a:lnTo>
                    <a:pt x="449" y="1588"/>
                  </a:lnTo>
                  <a:lnTo>
                    <a:pt x="454" y="1588"/>
                  </a:lnTo>
                  <a:lnTo>
                    <a:pt x="454" y="1588"/>
                  </a:lnTo>
                  <a:lnTo>
                    <a:pt x="454" y="1588"/>
                  </a:lnTo>
                  <a:lnTo>
                    <a:pt x="458" y="1588"/>
                  </a:lnTo>
                  <a:lnTo>
                    <a:pt x="458" y="1588"/>
                  </a:lnTo>
                  <a:lnTo>
                    <a:pt x="458" y="1588"/>
                  </a:lnTo>
                  <a:lnTo>
                    <a:pt x="458" y="1588"/>
                  </a:lnTo>
                  <a:lnTo>
                    <a:pt x="454" y="1583"/>
                  </a:lnTo>
                  <a:lnTo>
                    <a:pt x="454" y="1583"/>
                  </a:lnTo>
                  <a:lnTo>
                    <a:pt x="454" y="1583"/>
                  </a:lnTo>
                  <a:lnTo>
                    <a:pt x="454" y="1579"/>
                  </a:lnTo>
                  <a:lnTo>
                    <a:pt x="454" y="1579"/>
                  </a:lnTo>
                  <a:lnTo>
                    <a:pt x="458" y="1579"/>
                  </a:lnTo>
                  <a:lnTo>
                    <a:pt x="458" y="1579"/>
                  </a:lnTo>
                  <a:lnTo>
                    <a:pt x="458" y="1579"/>
                  </a:lnTo>
                  <a:lnTo>
                    <a:pt x="458" y="1574"/>
                  </a:lnTo>
                  <a:lnTo>
                    <a:pt x="458" y="1574"/>
                  </a:lnTo>
                  <a:lnTo>
                    <a:pt x="454" y="1574"/>
                  </a:lnTo>
                  <a:lnTo>
                    <a:pt x="449" y="1565"/>
                  </a:lnTo>
                  <a:lnTo>
                    <a:pt x="445" y="1560"/>
                  </a:lnTo>
                  <a:lnTo>
                    <a:pt x="440" y="1556"/>
                  </a:lnTo>
                  <a:lnTo>
                    <a:pt x="440" y="1556"/>
                  </a:lnTo>
                  <a:lnTo>
                    <a:pt x="440" y="1547"/>
                  </a:lnTo>
                  <a:lnTo>
                    <a:pt x="440" y="1542"/>
                  </a:lnTo>
                  <a:lnTo>
                    <a:pt x="440" y="1538"/>
                  </a:lnTo>
                  <a:lnTo>
                    <a:pt x="440" y="1538"/>
                  </a:lnTo>
                  <a:lnTo>
                    <a:pt x="440" y="1538"/>
                  </a:lnTo>
                  <a:lnTo>
                    <a:pt x="440" y="1538"/>
                  </a:lnTo>
                  <a:lnTo>
                    <a:pt x="440" y="1538"/>
                  </a:lnTo>
                  <a:lnTo>
                    <a:pt x="440" y="1538"/>
                  </a:lnTo>
                  <a:lnTo>
                    <a:pt x="436" y="1533"/>
                  </a:lnTo>
                  <a:lnTo>
                    <a:pt x="436" y="1533"/>
                  </a:lnTo>
                  <a:lnTo>
                    <a:pt x="436" y="1533"/>
                  </a:lnTo>
                  <a:lnTo>
                    <a:pt x="436" y="1529"/>
                  </a:lnTo>
                  <a:lnTo>
                    <a:pt x="436" y="1529"/>
                  </a:lnTo>
                  <a:lnTo>
                    <a:pt x="436" y="1529"/>
                  </a:lnTo>
                  <a:lnTo>
                    <a:pt x="431" y="1529"/>
                  </a:lnTo>
                  <a:lnTo>
                    <a:pt x="431" y="1529"/>
                  </a:lnTo>
                  <a:lnTo>
                    <a:pt x="427" y="1529"/>
                  </a:lnTo>
                  <a:lnTo>
                    <a:pt x="427" y="1524"/>
                  </a:lnTo>
                  <a:lnTo>
                    <a:pt x="422" y="1524"/>
                  </a:lnTo>
                  <a:lnTo>
                    <a:pt x="422" y="1524"/>
                  </a:lnTo>
                  <a:lnTo>
                    <a:pt x="418" y="1524"/>
                  </a:lnTo>
                  <a:lnTo>
                    <a:pt x="413" y="1529"/>
                  </a:lnTo>
                  <a:lnTo>
                    <a:pt x="413" y="1529"/>
                  </a:lnTo>
                  <a:lnTo>
                    <a:pt x="408" y="1529"/>
                  </a:lnTo>
                  <a:lnTo>
                    <a:pt x="408" y="1529"/>
                  </a:lnTo>
                  <a:lnTo>
                    <a:pt x="408" y="1533"/>
                  </a:lnTo>
                  <a:lnTo>
                    <a:pt x="413" y="1538"/>
                  </a:lnTo>
                  <a:lnTo>
                    <a:pt x="418" y="1547"/>
                  </a:lnTo>
                  <a:lnTo>
                    <a:pt x="418" y="1551"/>
                  </a:lnTo>
                  <a:lnTo>
                    <a:pt x="418" y="1551"/>
                  </a:lnTo>
                  <a:lnTo>
                    <a:pt x="413" y="1551"/>
                  </a:lnTo>
                  <a:lnTo>
                    <a:pt x="413" y="1556"/>
                  </a:lnTo>
                  <a:lnTo>
                    <a:pt x="413" y="1556"/>
                  </a:lnTo>
                  <a:lnTo>
                    <a:pt x="408" y="1556"/>
                  </a:lnTo>
                  <a:lnTo>
                    <a:pt x="408" y="1556"/>
                  </a:lnTo>
                  <a:lnTo>
                    <a:pt x="408" y="1560"/>
                  </a:lnTo>
                  <a:lnTo>
                    <a:pt x="404" y="1556"/>
                  </a:lnTo>
                  <a:lnTo>
                    <a:pt x="404" y="1560"/>
                  </a:lnTo>
                  <a:lnTo>
                    <a:pt x="404" y="1560"/>
                  </a:lnTo>
                  <a:lnTo>
                    <a:pt x="404" y="1560"/>
                  </a:lnTo>
                  <a:lnTo>
                    <a:pt x="408" y="1565"/>
                  </a:lnTo>
                  <a:lnTo>
                    <a:pt x="408" y="1565"/>
                  </a:lnTo>
                  <a:lnTo>
                    <a:pt x="413" y="1565"/>
                  </a:lnTo>
                  <a:lnTo>
                    <a:pt x="418" y="1560"/>
                  </a:lnTo>
                  <a:lnTo>
                    <a:pt x="422" y="1560"/>
                  </a:lnTo>
                  <a:lnTo>
                    <a:pt x="427" y="1565"/>
                  </a:lnTo>
                  <a:lnTo>
                    <a:pt x="431" y="1565"/>
                  </a:lnTo>
                  <a:lnTo>
                    <a:pt x="431" y="1574"/>
                  </a:lnTo>
                  <a:lnTo>
                    <a:pt x="431" y="1574"/>
                  </a:lnTo>
                  <a:lnTo>
                    <a:pt x="431" y="1579"/>
                  </a:lnTo>
                  <a:lnTo>
                    <a:pt x="431" y="1579"/>
                  </a:lnTo>
                  <a:lnTo>
                    <a:pt x="427" y="1583"/>
                  </a:lnTo>
                  <a:lnTo>
                    <a:pt x="427" y="1583"/>
                  </a:lnTo>
                  <a:lnTo>
                    <a:pt x="427" y="1588"/>
                  </a:lnTo>
                  <a:lnTo>
                    <a:pt x="427" y="1588"/>
                  </a:lnTo>
                  <a:lnTo>
                    <a:pt x="427" y="1588"/>
                  </a:lnTo>
                  <a:lnTo>
                    <a:pt x="418" y="1592"/>
                  </a:lnTo>
                  <a:lnTo>
                    <a:pt x="418" y="1592"/>
                  </a:lnTo>
                  <a:lnTo>
                    <a:pt x="418" y="1592"/>
                  </a:lnTo>
                  <a:lnTo>
                    <a:pt x="418" y="1592"/>
                  </a:lnTo>
                  <a:lnTo>
                    <a:pt x="413" y="1592"/>
                  </a:lnTo>
                  <a:lnTo>
                    <a:pt x="408" y="1597"/>
                  </a:lnTo>
                  <a:lnTo>
                    <a:pt x="408" y="1597"/>
                  </a:lnTo>
                  <a:lnTo>
                    <a:pt x="408" y="1592"/>
                  </a:lnTo>
                  <a:lnTo>
                    <a:pt x="404" y="1592"/>
                  </a:lnTo>
                  <a:lnTo>
                    <a:pt x="404" y="1588"/>
                  </a:lnTo>
                  <a:lnTo>
                    <a:pt x="404" y="1588"/>
                  </a:lnTo>
                  <a:lnTo>
                    <a:pt x="404" y="1583"/>
                  </a:lnTo>
                  <a:lnTo>
                    <a:pt x="404" y="1583"/>
                  </a:lnTo>
                  <a:lnTo>
                    <a:pt x="408" y="1583"/>
                  </a:lnTo>
                  <a:lnTo>
                    <a:pt x="408" y="1583"/>
                  </a:lnTo>
                  <a:lnTo>
                    <a:pt x="408" y="1583"/>
                  </a:lnTo>
                  <a:lnTo>
                    <a:pt x="413" y="1579"/>
                  </a:lnTo>
                  <a:lnTo>
                    <a:pt x="413" y="1579"/>
                  </a:lnTo>
                  <a:lnTo>
                    <a:pt x="413" y="1574"/>
                  </a:lnTo>
                  <a:lnTo>
                    <a:pt x="408" y="1574"/>
                  </a:lnTo>
                  <a:lnTo>
                    <a:pt x="408" y="1574"/>
                  </a:lnTo>
                  <a:lnTo>
                    <a:pt x="408" y="1574"/>
                  </a:lnTo>
                  <a:lnTo>
                    <a:pt x="408" y="1574"/>
                  </a:lnTo>
                  <a:lnTo>
                    <a:pt x="408" y="1574"/>
                  </a:lnTo>
                  <a:lnTo>
                    <a:pt x="413" y="1569"/>
                  </a:lnTo>
                  <a:lnTo>
                    <a:pt x="408" y="1569"/>
                  </a:lnTo>
                  <a:lnTo>
                    <a:pt x="408" y="1569"/>
                  </a:lnTo>
                  <a:lnTo>
                    <a:pt x="404" y="1569"/>
                  </a:lnTo>
                  <a:lnTo>
                    <a:pt x="399" y="1569"/>
                  </a:lnTo>
                  <a:lnTo>
                    <a:pt x="399" y="1569"/>
                  </a:lnTo>
                  <a:lnTo>
                    <a:pt x="399" y="1569"/>
                  </a:lnTo>
                  <a:lnTo>
                    <a:pt x="395" y="1574"/>
                  </a:lnTo>
                  <a:lnTo>
                    <a:pt x="390" y="1574"/>
                  </a:lnTo>
                  <a:lnTo>
                    <a:pt x="390" y="1574"/>
                  </a:lnTo>
                  <a:lnTo>
                    <a:pt x="386" y="1574"/>
                  </a:lnTo>
                  <a:lnTo>
                    <a:pt x="386" y="1569"/>
                  </a:lnTo>
                  <a:lnTo>
                    <a:pt x="381" y="1583"/>
                  </a:lnTo>
                  <a:lnTo>
                    <a:pt x="377" y="1583"/>
                  </a:lnTo>
                  <a:lnTo>
                    <a:pt x="368" y="1592"/>
                  </a:lnTo>
                  <a:lnTo>
                    <a:pt x="363" y="1592"/>
                  </a:lnTo>
                  <a:lnTo>
                    <a:pt x="359" y="1592"/>
                  </a:lnTo>
                  <a:lnTo>
                    <a:pt x="359" y="1592"/>
                  </a:lnTo>
                  <a:lnTo>
                    <a:pt x="363" y="1588"/>
                  </a:lnTo>
                  <a:lnTo>
                    <a:pt x="363" y="1588"/>
                  </a:lnTo>
                  <a:lnTo>
                    <a:pt x="363" y="1588"/>
                  </a:lnTo>
                  <a:lnTo>
                    <a:pt x="363" y="1588"/>
                  </a:lnTo>
                  <a:lnTo>
                    <a:pt x="368" y="1583"/>
                  </a:lnTo>
                  <a:lnTo>
                    <a:pt x="372" y="1579"/>
                  </a:lnTo>
                  <a:lnTo>
                    <a:pt x="372" y="1579"/>
                  </a:lnTo>
                  <a:lnTo>
                    <a:pt x="372" y="1574"/>
                  </a:lnTo>
                  <a:lnTo>
                    <a:pt x="372" y="1574"/>
                  </a:lnTo>
                  <a:lnTo>
                    <a:pt x="372" y="1569"/>
                  </a:lnTo>
                  <a:lnTo>
                    <a:pt x="368" y="1565"/>
                  </a:lnTo>
                  <a:lnTo>
                    <a:pt x="368" y="1565"/>
                  </a:lnTo>
                  <a:lnTo>
                    <a:pt x="368" y="1565"/>
                  </a:lnTo>
                  <a:lnTo>
                    <a:pt x="368" y="1565"/>
                  </a:lnTo>
                  <a:lnTo>
                    <a:pt x="368" y="1560"/>
                  </a:lnTo>
                  <a:lnTo>
                    <a:pt x="368" y="1560"/>
                  </a:lnTo>
                  <a:lnTo>
                    <a:pt x="363" y="1560"/>
                  </a:lnTo>
                  <a:lnTo>
                    <a:pt x="363" y="1560"/>
                  </a:lnTo>
                  <a:lnTo>
                    <a:pt x="363" y="1565"/>
                  </a:lnTo>
                  <a:lnTo>
                    <a:pt x="359" y="1560"/>
                  </a:lnTo>
                  <a:lnTo>
                    <a:pt x="359" y="1556"/>
                  </a:lnTo>
                  <a:lnTo>
                    <a:pt x="359" y="1556"/>
                  </a:lnTo>
                  <a:lnTo>
                    <a:pt x="359" y="1551"/>
                  </a:lnTo>
                  <a:lnTo>
                    <a:pt x="359" y="1551"/>
                  </a:lnTo>
                  <a:lnTo>
                    <a:pt x="359" y="1551"/>
                  </a:lnTo>
                  <a:lnTo>
                    <a:pt x="354" y="1547"/>
                  </a:lnTo>
                  <a:lnTo>
                    <a:pt x="354" y="1547"/>
                  </a:lnTo>
                  <a:lnTo>
                    <a:pt x="354" y="1547"/>
                  </a:lnTo>
                  <a:lnTo>
                    <a:pt x="354" y="1547"/>
                  </a:lnTo>
                  <a:lnTo>
                    <a:pt x="354" y="1542"/>
                  </a:lnTo>
                  <a:lnTo>
                    <a:pt x="354" y="1538"/>
                  </a:lnTo>
                  <a:lnTo>
                    <a:pt x="359" y="1538"/>
                  </a:lnTo>
                  <a:lnTo>
                    <a:pt x="359" y="1524"/>
                  </a:lnTo>
                  <a:lnTo>
                    <a:pt x="363" y="1529"/>
                  </a:lnTo>
                  <a:lnTo>
                    <a:pt x="363" y="1529"/>
                  </a:lnTo>
                  <a:lnTo>
                    <a:pt x="363" y="1529"/>
                  </a:lnTo>
                  <a:lnTo>
                    <a:pt x="363" y="1533"/>
                  </a:lnTo>
                  <a:lnTo>
                    <a:pt x="363" y="1533"/>
                  </a:lnTo>
                  <a:lnTo>
                    <a:pt x="363" y="1533"/>
                  </a:lnTo>
                  <a:lnTo>
                    <a:pt x="368" y="1533"/>
                  </a:lnTo>
                  <a:lnTo>
                    <a:pt x="368" y="1533"/>
                  </a:lnTo>
                  <a:lnTo>
                    <a:pt x="368" y="1533"/>
                  </a:lnTo>
                  <a:lnTo>
                    <a:pt x="368" y="1533"/>
                  </a:lnTo>
                  <a:lnTo>
                    <a:pt x="368" y="1533"/>
                  </a:lnTo>
                  <a:lnTo>
                    <a:pt x="368" y="1533"/>
                  </a:lnTo>
                  <a:lnTo>
                    <a:pt x="368" y="1533"/>
                  </a:lnTo>
                  <a:lnTo>
                    <a:pt x="368" y="1538"/>
                  </a:lnTo>
                  <a:lnTo>
                    <a:pt x="363" y="1538"/>
                  </a:lnTo>
                  <a:lnTo>
                    <a:pt x="368" y="1538"/>
                  </a:lnTo>
                  <a:lnTo>
                    <a:pt x="368" y="1538"/>
                  </a:lnTo>
                  <a:lnTo>
                    <a:pt x="368" y="1538"/>
                  </a:lnTo>
                  <a:lnTo>
                    <a:pt x="372" y="1538"/>
                  </a:lnTo>
                  <a:lnTo>
                    <a:pt x="372" y="1542"/>
                  </a:lnTo>
                  <a:lnTo>
                    <a:pt x="372" y="1542"/>
                  </a:lnTo>
                  <a:lnTo>
                    <a:pt x="372" y="1547"/>
                  </a:lnTo>
                  <a:lnTo>
                    <a:pt x="372" y="1547"/>
                  </a:lnTo>
                  <a:lnTo>
                    <a:pt x="372" y="1551"/>
                  </a:lnTo>
                  <a:lnTo>
                    <a:pt x="372" y="1551"/>
                  </a:lnTo>
                  <a:lnTo>
                    <a:pt x="372" y="1551"/>
                  </a:lnTo>
                  <a:lnTo>
                    <a:pt x="372" y="1547"/>
                  </a:lnTo>
                  <a:lnTo>
                    <a:pt x="372" y="1547"/>
                  </a:lnTo>
                  <a:lnTo>
                    <a:pt x="372" y="1547"/>
                  </a:lnTo>
                  <a:lnTo>
                    <a:pt x="368" y="1551"/>
                  </a:lnTo>
                  <a:lnTo>
                    <a:pt x="368" y="1551"/>
                  </a:lnTo>
                  <a:lnTo>
                    <a:pt x="372" y="1556"/>
                  </a:lnTo>
                  <a:lnTo>
                    <a:pt x="372" y="1556"/>
                  </a:lnTo>
                  <a:lnTo>
                    <a:pt x="372" y="1556"/>
                  </a:lnTo>
                  <a:lnTo>
                    <a:pt x="372" y="1556"/>
                  </a:lnTo>
                  <a:lnTo>
                    <a:pt x="372" y="1556"/>
                  </a:lnTo>
                  <a:lnTo>
                    <a:pt x="372" y="1560"/>
                  </a:lnTo>
                  <a:lnTo>
                    <a:pt x="372" y="1560"/>
                  </a:lnTo>
                  <a:lnTo>
                    <a:pt x="377" y="1560"/>
                  </a:lnTo>
                  <a:lnTo>
                    <a:pt x="377" y="1560"/>
                  </a:lnTo>
                  <a:lnTo>
                    <a:pt x="377" y="1560"/>
                  </a:lnTo>
                  <a:lnTo>
                    <a:pt x="377" y="1560"/>
                  </a:lnTo>
                  <a:lnTo>
                    <a:pt x="377" y="1560"/>
                  </a:lnTo>
                  <a:lnTo>
                    <a:pt x="377" y="1560"/>
                  </a:lnTo>
                  <a:lnTo>
                    <a:pt x="381" y="1556"/>
                  </a:lnTo>
                  <a:lnTo>
                    <a:pt x="386" y="1556"/>
                  </a:lnTo>
                  <a:lnTo>
                    <a:pt x="390" y="1565"/>
                  </a:lnTo>
                  <a:lnTo>
                    <a:pt x="390" y="1560"/>
                  </a:lnTo>
                  <a:lnTo>
                    <a:pt x="390" y="1560"/>
                  </a:lnTo>
                  <a:lnTo>
                    <a:pt x="386" y="1551"/>
                  </a:lnTo>
                  <a:lnTo>
                    <a:pt x="386" y="1547"/>
                  </a:lnTo>
                  <a:lnTo>
                    <a:pt x="386" y="1542"/>
                  </a:lnTo>
                  <a:lnTo>
                    <a:pt x="386" y="1542"/>
                  </a:lnTo>
                  <a:lnTo>
                    <a:pt x="386" y="1538"/>
                  </a:lnTo>
                  <a:lnTo>
                    <a:pt x="381" y="1533"/>
                  </a:lnTo>
                  <a:lnTo>
                    <a:pt x="381" y="1533"/>
                  </a:lnTo>
                  <a:lnTo>
                    <a:pt x="377" y="1533"/>
                  </a:lnTo>
                  <a:lnTo>
                    <a:pt x="377" y="1533"/>
                  </a:lnTo>
                  <a:lnTo>
                    <a:pt x="377" y="1533"/>
                  </a:lnTo>
                  <a:lnTo>
                    <a:pt x="372" y="1529"/>
                  </a:lnTo>
                  <a:lnTo>
                    <a:pt x="372" y="1529"/>
                  </a:lnTo>
                  <a:lnTo>
                    <a:pt x="372" y="1533"/>
                  </a:lnTo>
                  <a:lnTo>
                    <a:pt x="368" y="1529"/>
                  </a:lnTo>
                  <a:lnTo>
                    <a:pt x="368" y="1529"/>
                  </a:lnTo>
                  <a:lnTo>
                    <a:pt x="368" y="1529"/>
                  </a:lnTo>
                  <a:lnTo>
                    <a:pt x="368" y="1529"/>
                  </a:lnTo>
                  <a:lnTo>
                    <a:pt x="368" y="1524"/>
                  </a:lnTo>
                  <a:lnTo>
                    <a:pt x="368" y="1524"/>
                  </a:lnTo>
                  <a:lnTo>
                    <a:pt x="368" y="1524"/>
                  </a:lnTo>
                  <a:lnTo>
                    <a:pt x="368" y="1524"/>
                  </a:lnTo>
                  <a:lnTo>
                    <a:pt x="372" y="1524"/>
                  </a:lnTo>
                  <a:lnTo>
                    <a:pt x="368" y="1520"/>
                  </a:lnTo>
                  <a:lnTo>
                    <a:pt x="368" y="1520"/>
                  </a:lnTo>
                  <a:lnTo>
                    <a:pt x="363" y="1524"/>
                  </a:lnTo>
                  <a:lnTo>
                    <a:pt x="368" y="1520"/>
                  </a:lnTo>
                  <a:lnTo>
                    <a:pt x="363" y="1520"/>
                  </a:lnTo>
                  <a:lnTo>
                    <a:pt x="363" y="1520"/>
                  </a:lnTo>
                  <a:lnTo>
                    <a:pt x="363" y="1520"/>
                  </a:lnTo>
                  <a:lnTo>
                    <a:pt x="363" y="1520"/>
                  </a:lnTo>
                  <a:lnTo>
                    <a:pt x="363" y="1524"/>
                  </a:lnTo>
                  <a:lnTo>
                    <a:pt x="363" y="1524"/>
                  </a:lnTo>
                  <a:lnTo>
                    <a:pt x="363" y="1524"/>
                  </a:lnTo>
                  <a:lnTo>
                    <a:pt x="359" y="1524"/>
                  </a:lnTo>
                  <a:lnTo>
                    <a:pt x="359" y="1524"/>
                  </a:lnTo>
                  <a:lnTo>
                    <a:pt x="359" y="1524"/>
                  </a:lnTo>
                  <a:lnTo>
                    <a:pt x="359" y="1524"/>
                  </a:lnTo>
                  <a:lnTo>
                    <a:pt x="359" y="1520"/>
                  </a:lnTo>
                  <a:lnTo>
                    <a:pt x="363" y="1520"/>
                  </a:lnTo>
                  <a:lnTo>
                    <a:pt x="359" y="1520"/>
                  </a:lnTo>
                  <a:lnTo>
                    <a:pt x="359" y="1515"/>
                  </a:lnTo>
                  <a:lnTo>
                    <a:pt x="359" y="1515"/>
                  </a:lnTo>
                  <a:lnTo>
                    <a:pt x="359" y="1515"/>
                  </a:lnTo>
                  <a:lnTo>
                    <a:pt x="359" y="1515"/>
                  </a:lnTo>
                  <a:lnTo>
                    <a:pt x="359" y="1515"/>
                  </a:lnTo>
                  <a:lnTo>
                    <a:pt x="359" y="1510"/>
                  </a:lnTo>
                  <a:lnTo>
                    <a:pt x="359" y="1510"/>
                  </a:lnTo>
                  <a:lnTo>
                    <a:pt x="359" y="1510"/>
                  </a:lnTo>
                  <a:lnTo>
                    <a:pt x="354" y="1510"/>
                  </a:lnTo>
                  <a:lnTo>
                    <a:pt x="354" y="1510"/>
                  </a:lnTo>
                  <a:lnTo>
                    <a:pt x="354" y="1510"/>
                  </a:lnTo>
                  <a:lnTo>
                    <a:pt x="349" y="1510"/>
                  </a:lnTo>
                  <a:lnTo>
                    <a:pt x="349" y="1510"/>
                  </a:lnTo>
                  <a:lnTo>
                    <a:pt x="349" y="1506"/>
                  </a:lnTo>
                  <a:lnTo>
                    <a:pt x="349" y="1506"/>
                  </a:lnTo>
                  <a:lnTo>
                    <a:pt x="349" y="1501"/>
                  </a:lnTo>
                  <a:lnTo>
                    <a:pt x="349" y="1501"/>
                  </a:lnTo>
                  <a:lnTo>
                    <a:pt x="349" y="1501"/>
                  </a:lnTo>
                  <a:lnTo>
                    <a:pt x="354" y="1501"/>
                  </a:lnTo>
                  <a:lnTo>
                    <a:pt x="354" y="1501"/>
                  </a:lnTo>
                  <a:lnTo>
                    <a:pt x="354" y="1501"/>
                  </a:lnTo>
                  <a:lnTo>
                    <a:pt x="354" y="1497"/>
                  </a:lnTo>
                  <a:lnTo>
                    <a:pt x="354" y="1492"/>
                  </a:lnTo>
                  <a:lnTo>
                    <a:pt x="354" y="1488"/>
                  </a:lnTo>
                  <a:lnTo>
                    <a:pt x="354" y="1488"/>
                  </a:lnTo>
                  <a:lnTo>
                    <a:pt x="359" y="1492"/>
                  </a:lnTo>
                  <a:lnTo>
                    <a:pt x="359" y="1492"/>
                  </a:lnTo>
                  <a:lnTo>
                    <a:pt x="363" y="1488"/>
                  </a:lnTo>
                  <a:lnTo>
                    <a:pt x="363" y="1492"/>
                  </a:lnTo>
                  <a:lnTo>
                    <a:pt x="363" y="1492"/>
                  </a:lnTo>
                  <a:lnTo>
                    <a:pt x="368" y="1492"/>
                  </a:lnTo>
                  <a:lnTo>
                    <a:pt x="377" y="1492"/>
                  </a:lnTo>
                  <a:lnTo>
                    <a:pt x="377" y="1497"/>
                  </a:lnTo>
                  <a:lnTo>
                    <a:pt x="377" y="1497"/>
                  </a:lnTo>
                  <a:lnTo>
                    <a:pt x="377" y="1501"/>
                  </a:lnTo>
                  <a:lnTo>
                    <a:pt x="377" y="1501"/>
                  </a:lnTo>
                  <a:lnTo>
                    <a:pt x="381" y="1501"/>
                  </a:lnTo>
                  <a:lnTo>
                    <a:pt x="381" y="1506"/>
                  </a:lnTo>
                  <a:lnTo>
                    <a:pt x="381" y="1501"/>
                  </a:lnTo>
                  <a:lnTo>
                    <a:pt x="381" y="1497"/>
                  </a:lnTo>
                  <a:lnTo>
                    <a:pt x="381" y="1497"/>
                  </a:lnTo>
                  <a:lnTo>
                    <a:pt x="381" y="1497"/>
                  </a:lnTo>
                  <a:lnTo>
                    <a:pt x="386" y="1492"/>
                  </a:lnTo>
                  <a:lnTo>
                    <a:pt x="386" y="1492"/>
                  </a:lnTo>
                  <a:lnTo>
                    <a:pt x="386" y="1488"/>
                  </a:lnTo>
                  <a:lnTo>
                    <a:pt x="377" y="1488"/>
                  </a:lnTo>
                  <a:lnTo>
                    <a:pt x="377" y="1483"/>
                  </a:lnTo>
                  <a:lnTo>
                    <a:pt x="377" y="1483"/>
                  </a:lnTo>
                  <a:lnTo>
                    <a:pt x="377" y="1479"/>
                  </a:lnTo>
                  <a:lnTo>
                    <a:pt x="381" y="1479"/>
                  </a:lnTo>
                  <a:lnTo>
                    <a:pt x="381" y="1479"/>
                  </a:lnTo>
                  <a:lnTo>
                    <a:pt x="381" y="1479"/>
                  </a:lnTo>
                  <a:lnTo>
                    <a:pt x="381" y="1483"/>
                  </a:lnTo>
                  <a:lnTo>
                    <a:pt x="381" y="1483"/>
                  </a:lnTo>
                  <a:lnTo>
                    <a:pt x="386" y="1483"/>
                  </a:lnTo>
                  <a:lnTo>
                    <a:pt x="386" y="1483"/>
                  </a:lnTo>
                  <a:lnTo>
                    <a:pt x="386" y="1483"/>
                  </a:lnTo>
                  <a:lnTo>
                    <a:pt x="381" y="1479"/>
                  </a:lnTo>
                  <a:lnTo>
                    <a:pt x="381" y="1479"/>
                  </a:lnTo>
                  <a:lnTo>
                    <a:pt x="386" y="1474"/>
                  </a:lnTo>
                  <a:lnTo>
                    <a:pt x="386" y="1470"/>
                  </a:lnTo>
                  <a:lnTo>
                    <a:pt x="386" y="1474"/>
                  </a:lnTo>
                  <a:lnTo>
                    <a:pt x="390" y="1474"/>
                  </a:lnTo>
                  <a:lnTo>
                    <a:pt x="395" y="1474"/>
                  </a:lnTo>
                  <a:lnTo>
                    <a:pt x="395" y="1479"/>
                  </a:lnTo>
                  <a:lnTo>
                    <a:pt x="395" y="1479"/>
                  </a:lnTo>
                  <a:lnTo>
                    <a:pt x="395" y="1479"/>
                  </a:lnTo>
                  <a:lnTo>
                    <a:pt x="395" y="1483"/>
                  </a:lnTo>
                  <a:lnTo>
                    <a:pt x="395" y="1483"/>
                  </a:lnTo>
                  <a:lnTo>
                    <a:pt x="395" y="1483"/>
                  </a:lnTo>
                  <a:lnTo>
                    <a:pt x="395" y="1483"/>
                  </a:lnTo>
                  <a:lnTo>
                    <a:pt x="395" y="1483"/>
                  </a:lnTo>
                  <a:lnTo>
                    <a:pt x="395" y="1483"/>
                  </a:lnTo>
                  <a:lnTo>
                    <a:pt x="399" y="1488"/>
                  </a:lnTo>
                  <a:lnTo>
                    <a:pt x="399" y="1488"/>
                  </a:lnTo>
                  <a:lnTo>
                    <a:pt x="404" y="1483"/>
                  </a:lnTo>
                  <a:lnTo>
                    <a:pt x="404" y="1483"/>
                  </a:lnTo>
                  <a:lnTo>
                    <a:pt x="404" y="1483"/>
                  </a:lnTo>
                  <a:lnTo>
                    <a:pt x="408" y="1479"/>
                  </a:lnTo>
                  <a:lnTo>
                    <a:pt x="408" y="1479"/>
                  </a:lnTo>
                  <a:lnTo>
                    <a:pt x="413" y="1479"/>
                  </a:lnTo>
                  <a:lnTo>
                    <a:pt x="413" y="1479"/>
                  </a:lnTo>
                  <a:lnTo>
                    <a:pt x="413" y="1479"/>
                  </a:lnTo>
                  <a:lnTo>
                    <a:pt x="413" y="1479"/>
                  </a:lnTo>
                  <a:lnTo>
                    <a:pt x="413" y="1479"/>
                  </a:lnTo>
                  <a:lnTo>
                    <a:pt x="418" y="1479"/>
                  </a:lnTo>
                  <a:lnTo>
                    <a:pt x="418" y="1479"/>
                  </a:lnTo>
                  <a:lnTo>
                    <a:pt x="418" y="1474"/>
                  </a:lnTo>
                  <a:lnTo>
                    <a:pt x="418" y="1474"/>
                  </a:lnTo>
                  <a:lnTo>
                    <a:pt x="413" y="1474"/>
                  </a:lnTo>
                  <a:lnTo>
                    <a:pt x="413" y="1474"/>
                  </a:lnTo>
                  <a:lnTo>
                    <a:pt x="413" y="1474"/>
                  </a:lnTo>
                  <a:lnTo>
                    <a:pt x="413" y="1474"/>
                  </a:lnTo>
                  <a:lnTo>
                    <a:pt x="408" y="1474"/>
                  </a:lnTo>
                  <a:lnTo>
                    <a:pt x="408" y="1470"/>
                  </a:lnTo>
                  <a:lnTo>
                    <a:pt x="408" y="1470"/>
                  </a:lnTo>
                  <a:lnTo>
                    <a:pt x="413" y="1470"/>
                  </a:lnTo>
                  <a:lnTo>
                    <a:pt x="413" y="1470"/>
                  </a:lnTo>
                  <a:lnTo>
                    <a:pt x="413" y="1470"/>
                  </a:lnTo>
                  <a:lnTo>
                    <a:pt x="413" y="1470"/>
                  </a:lnTo>
                  <a:lnTo>
                    <a:pt x="418" y="1470"/>
                  </a:lnTo>
                  <a:lnTo>
                    <a:pt x="418" y="1465"/>
                  </a:lnTo>
                  <a:lnTo>
                    <a:pt x="418" y="1465"/>
                  </a:lnTo>
                  <a:lnTo>
                    <a:pt x="422" y="1465"/>
                  </a:lnTo>
                  <a:lnTo>
                    <a:pt x="422" y="1465"/>
                  </a:lnTo>
                  <a:lnTo>
                    <a:pt x="422" y="1465"/>
                  </a:lnTo>
                  <a:lnTo>
                    <a:pt x="422" y="1465"/>
                  </a:lnTo>
                  <a:lnTo>
                    <a:pt x="427" y="1461"/>
                  </a:lnTo>
                  <a:lnTo>
                    <a:pt x="427" y="1461"/>
                  </a:lnTo>
                  <a:lnTo>
                    <a:pt x="427" y="1465"/>
                  </a:lnTo>
                  <a:lnTo>
                    <a:pt x="427" y="1465"/>
                  </a:lnTo>
                  <a:lnTo>
                    <a:pt x="427" y="1465"/>
                  </a:lnTo>
                  <a:lnTo>
                    <a:pt x="427" y="1470"/>
                  </a:lnTo>
                  <a:lnTo>
                    <a:pt x="427" y="1470"/>
                  </a:lnTo>
                  <a:lnTo>
                    <a:pt x="431" y="1470"/>
                  </a:lnTo>
                  <a:lnTo>
                    <a:pt x="431" y="1470"/>
                  </a:lnTo>
                  <a:lnTo>
                    <a:pt x="431" y="1470"/>
                  </a:lnTo>
                  <a:lnTo>
                    <a:pt x="431" y="1470"/>
                  </a:lnTo>
                  <a:lnTo>
                    <a:pt x="431" y="1474"/>
                  </a:lnTo>
                  <a:lnTo>
                    <a:pt x="431" y="1474"/>
                  </a:lnTo>
                  <a:lnTo>
                    <a:pt x="431" y="1474"/>
                  </a:lnTo>
                  <a:lnTo>
                    <a:pt x="431" y="1474"/>
                  </a:lnTo>
                  <a:lnTo>
                    <a:pt x="431" y="1474"/>
                  </a:lnTo>
                  <a:lnTo>
                    <a:pt x="431" y="1474"/>
                  </a:lnTo>
                  <a:lnTo>
                    <a:pt x="436" y="1474"/>
                  </a:lnTo>
                  <a:lnTo>
                    <a:pt x="436" y="1474"/>
                  </a:lnTo>
                  <a:lnTo>
                    <a:pt x="440" y="1474"/>
                  </a:lnTo>
                  <a:lnTo>
                    <a:pt x="440" y="1474"/>
                  </a:lnTo>
                  <a:lnTo>
                    <a:pt x="440" y="1470"/>
                  </a:lnTo>
                  <a:lnTo>
                    <a:pt x="445" y="1470"/>
                  </a:lnTo>
                  <a:lnTo>
                    <a:pt x="445" y="1470"/>
                  </a:lnTo>
                  <a:lnTo>
                    <a:pt x="445" y="1470"/>
                  </a:lnTo>
                  <a:lnTo>
                    <a:pt x="445" y="1465"/>
                  </a:lnTo>
                  <a:lnTo>
                    <a:pt x="445" y="1465"/>
                  </a:lnTo>
                  <a:lnTo>
                    <a:pt x="445" y="1465"/>
                  </a:lnTo>
                  <a:lnTo>
                    <a:pt x="440" y="1465"/>
                  </a:lnTo>
                  <a:lnTo>
                    <a:pt x="440" y="1465"/>
                  </a:lnTo>
                  <a:lnTo>
                    <a:pt x="440" y="1465"/>
                  </a:lnTo>
                  <a:lnTo>
                    <a:pt x="436" y="1465"/>
                  </a:lnTo>
                  <a:lnTo>
                    <a:pt x="440" y="1465"/>
                  </a:lnTo>
                  <a:lnTo>
                    <a:pt x="445" y="1461"/>
                  </a:lnTo>
                  <a:lnTo>
                    <a:pt x="445" y="1461"/>
                  </a:lnTo>
                  <a:lnTo>
                    <a:pt x="445" y="1461"/>
                  </a:lnTo>
                  <a:lnTo>
                    <a:pt x="449" y="1456"/>
                  </a:lnTo>
                  <a:lnTo>
                    <a:pt x="449" y="1456"/>
                  </a:lnTo>
                  <a:lnTo>
                    <a:pt x="454" y="1456"/>
                  </a:lnTo>
                  <a:lnTo>
                    <a:pt x="454" y="1456"/>
                  </a:lnTo>
                  <a:lnTo>
                    <a:pt x="449" y="1447"/>
                  </a:lnTo>
                  <a:lnTo>
                    <a:pt x="454" y="1447"/>
                  </a:lnTo>
                  <a:lnTo>
                    <a:pt x="454" y="1447"/>
                  </a:lnTo>
                  <a:lnTo>
                    <a:pt x="454" y="1447"/>
                  </a:lnTo>
                  <a:lnTo>
                    <a:pt x="454" y="1447"/>
                  </a:lnTo>
                  <a:lnTo>
                    <a:pt x="454" y="1447"/>
                  </a:lnTo>
                  <a:lnTo>
                    <a:pt x="458" y="1442"/>
                  </a:lnTo>
                  <a:lnTo>
                    <a:pt x="458" y="1442"/>
                  </a:lnTo>
                  <a:lnTo>
                    <a:pt x="458" y="1442"/>
                  </a:lnTo>
                  <a:lnTo>
                    <a:pt x="463" y="1442"/>
                  </a:lnTo>
                  <a:lnTo>
                    <a:pt x="463" y="1438"/>
                  </a:lnTo>
                  <a:lnTo>
                    <a:pt x="463" y="1438"/>
                  </a:lnTo>
                  <a:lnTo>
                    <a:pt x="463" y="1438"/>
                  </a:lnTo>
                  <a:lnTo>
                    <a:pt x="463" y="1438"/>
                  </a:lnTo>
                  <a:lnTo>
                    <a:pt x="472" y="1438"/>
                  </a:lnTo>
                  <a:lnTo>
                    <a:pt x="472" y="1438"/>
                  </a:lnTo>
                  <a:lnTo>
                    <a:pt x="476" y="1438"/>
                  </a:lnTo>
                  <a:lnTo>
                    <a:pt x="476" y="1433"/>
                  </a:lnTo>
                  <a:lnTo>
                    <a:pt x="481" y="1433"/>
                  </a:lnTo>
                  <a:lnTo>
                    <a:pt x="481" y="1433"/>
                  </a:lnTo>
                  <a:lnTo>
                    <a:pt x="481" y="1433"/>
                  </a:lnTo>
                  <a:lnTo>
                    <a:pt x="481" y="1433"/>
                  </a:lnTo>
                  <a:lnTo>
                    <a:pt x="486" y="1438"/>
                  </a:lnTo>
                  <a:lnTo>
                    <a:pt x="486" y="1438"/>
                  </a:lnTo>
                  <a:lnTo>
                    <a:pt x="490" y="1438"/>
                  </a:lnTo>
                  <a:lnTo>
                    <a:pt x="495" y="1438"/>
                  </a:lnTo>
                  <a:lnTo>
                    <a:pt x="495" y="1438"/>
                  </a:lnTo>
                  <a:lnTo>
                    <a:pt x="495" y="1438"/>
                  </a:lnTo>
                  <a:lnTo>
                    <a:pt x="499" y="1442"/>
                  </a:lnTo>
                  <a:lnTo>
                    <a:pt x="499" y="1442"/>
                  </a:lnTo>
                  <a:lnTo>
                    <a:pt x="499" y="1442"/>
                  </a:lnTo>
                  <a:lnTo>
                    <a:pt x="504" y="1442"/>
                  </a:lnTo>
                  <a:lnTo>
                    <a:pt x="504" y="1442"/>
                  </a:lnTo>
                  <a:lnTo>
                    <a:pt x="504" y="1438"/>
                  </a:lnTo>
                  <a:lnTo>
                    <a:pt x="508" y="1438"/>
                  </a:lnTo>
                  <a:lnTo>
                    <a:pt x="513" y="1438"/>
                  </a:lnTo>
                  <a:lnTo>
                    <a:pt x="513" y="1438"/>
                  </a:lnTo>
                  <a:lnTo>
                    <a:pt x="513" y="1438"/>
                  </a:lnTo>
                  <a:lnTo>
                    <a:pt x="513" y="1438"/>
                  </a:lnTo>
                  <a:lnTo>
                    <a:pt x="513" y="1438"/>
                  </a:lnTo>
                  <a:lnTo>
                    <a:pt x="513" y="1442"/>
                  </a:lnTo>
                  <a:lnTo>
                    <a:pt x="513" y="1442"/>
                  </a:lnTo>
                  <a:lnTo>
                    <a:pt x="513" y="1442"/>
                  </a:lnTo>
                  <a:lnTo>
                    <a:pt x="513" y="1442"/>
                  </a:lnTo>
                  <a:moveTo>
                    <a:pt x="690" y="1456"/>
                  </a:moveTo>
                  <a:lnTo>
                    <a:pt x="690" y="1456"/>
                  </a:lnTo>
                  <a:lnTo>
                    <a:pt x="685" y="1456"/>
                  </a:lnTo>
                  <a:lnTo>
                    <a:pt x="685" y="1456"/>
                  </a:lnTo>
                  <a:lnTo>
                    <a:pt x="685" y="1452"/>
                  </a:lnTo>
                  <a:lnTo>
                    <a:pt x="685" y="1452"/>
                  </a:lnTo>
                  <a:lnTo>
                    <a:pt x="685" y="1452"/>
                  </a:lnTo>
                  <a:lnTo>
                    <a:pt x="685" y="1452"/>
                  </a:lnTo>
                  <a:lnTo>
                    <a:pt x="690" y="1452"/>
                  </a:lnTo>
                  <a:lnTo>
                    <a:pt x="690" y="1452"/>
                  </a:lnTo>
                  <a:lnTo>
                    <a:pt x="690" y="1447"/>
                  </a:lnTo>
                  <a:lnTo>
                    <a:pt x="690" y="1447"/>
                  </a:lnTo>
                  <a:lnTo>
                    <a:pt x="690" y="1447"/>
                  </a:lnTo>
                  <a:lnTo>
                    <a:pt x="690" y="1452"/>
                  </a:lnTo>
                  <a:lnTo>
                    <a:pt x="690" y="1452"/>
                  </a:lnTo>
                  <a:lnTo>
                    <a:pt x="690" y="1452"/>
                  </a:lnTo>
                  <a:lnTo>
                    <a:pt x="690" y="1452"/>
                  </a:lnTo>
                  <a:lnTo>
                    <a:pt x="690" y="1452"/>
                  </a:lnTo>
                  <a:lnTo>
                    <a:pt x="690" y="1452"/>
                  </a:lnTo>
                  <a:lnTo>
                    <a:pt x="690" y="1456"/>
                  </a:lnTo>
                  <a:moveTo>
                    <a:pt x="1438" y="1483"/>
                  </a:moveTo>
                  <a:lnTo>
                    <a:pt x="1438" y="1483"/>
                  </a:lnTo>
                  <a:lnTo>
                    <a:pt x="1438" y="1483"/>
                  </a:lnTo>
                  <a:lnTo>
                    <a:pt x="1434" y="1479"/>
                  </a:lnTo>
                  <a:lnTo>
                    <a:pt x="1434" y="1479"/>
                  </a:lnTo>
                  <a:lnTo>
                    <a:pt x="1438" y="1474"/>
                  </a:lnTo>
                  <a:lnTo>
                    <a:pt x="1443" y="1474"/>
                  </a:lnTo>
                  <a:lnTo>
                    <a:pt x="1443" y="1479"/>
                  </a:lnTo>
                  <a:lnTo>
                    <a:pt x="1443" y="1483"/>
                  </a:lnTo>
                  <a:lnTo>
                    <a:pt x="1438" y="1483"/>
                  </a:lnTo>
                  <a:moveTo>
                    <a:pt x="681" y="1433"/>
                  </a:moveTo>
                  <a:lnTo>
                    <a:pt x="681" y="1433"/>
                  </a:lnTo>
                  <a:lnTo>
                    <a:pt x="681" y="1433"/>
                  </a:lnTo>
                  <a:lnTo>
                    <a:pt x="685" y="1433"/>
                  </a:lnTo>
                  <a:lnTo>
                    <a:pt x="685" y="1438"/>
                  </a:lnTo>
                  <a:lnTo>
                    <a:pt x="685" y="1438"/>
                  </a:lnTo>
                  <a:lnTo>
                    <a:pt x="681" y="1438"/>
                  </a:lnTo>
                  <a:lnTo>
                    <a:pt x="681" y="1438"/>
                  </a:lnTo>
                  <a:lnTo>
                    <a:pt x="672" y="1438"/>
                  </a:lnTo>
                  <a:lnTo>
                    <a:pt x="672" y="1438"/>
                  </a:lnTo>
                  <a:lnTo>
                    <a:pt x="672" y="1433"/>
                  </a:lnTo>
                  <a:lnTo>
                    <a:pt x="676" y="1433"/>
                  </a:lnTo>
                  <a:lnTo>
                    <a:pt x="676" y="1433"/>
                  </a:lnTo>
                  <a:lnTo>
                    <a:pt x="676" y="1429"/>
                  </a:lnTo>
                  <a:lnTo>
                    <a:pt x="676" y="1429"/>
                  </a:lnTo>
                  <a:lnTo>
                    <a:pt x="681" y="1424"/>
                  </a:lnTo>
                  <a:lnTo>
                    <a:pt x="681" y="1424"/>
                  </a:lnTo>
                  <a:lnTo>
                    <a:pt x="681" y="1424"/>
                  </a:lnTo>
                  <a:lnTo>
                    <a:pt x="681" y="1429"/>
                  </a:lnTo>
                  <a:lnTo>
                    <a:pt x="681" y="1429"/>
                  </a:lnTo>
                  <a:lnTo>
                    <a:pt x="681" y="1429"/>
                  </a:lnTo>
                  <a:lnTo>
                    <a:pt x="681" y="1429"/>
                  </a:lnTo>
                  <a:lnTo>
                    <a:pt x="681" y="1429"/>
                  </a:lnTo>
                  <a:lnTo>
                    <a:pt x="681" y="1429"/>
                  </a:lnTo>
                  <a:lnTo>
                    <a:pt x="681" y="1433"/>
                  </a:lnTo>
                  <a:lnTo>
                    <a:pt x="681" y="1433"/>
                  </a:lnTo>
                  <a:moveTo>
                    <a:pt x="740" y="1433"/>
                  </a:moveTo>
                  <a:lnTo>
                    <a:pt x="740" y="1433"/>
                  </a:lnTo>
                  <a:lnTo>
                    <a:pt x="740" y="1433"/>
                  </a:lnTo>
                  <a:lnTo>
                    <a:pt x="740" y="1433"/>
                  </a:lnTo>
                  <a:lnTo>
                    <a:pt x="740" y="1433"/>
                  </a:lnTo>
                  <a:lnTo>
                    <a:pt x="740" y="1433"/>
                  </a:lnTo>
                  <a:lnTo>
                    <a:pt x="735" y="1438"/>
                  </a:lnTo>
                  <a:lnTo>
                    <a:pt x="735" y="1438"/>
                  </a:lnTo>
                  <a:lnTo>
                    <a:pt x="731" y="1438"/>
                  </a:lnTo>
                  <a:lnTo>
                    <a:pt x="731" y="1438"/>
                  </a:lnTo>
                  <a:lnTo>
                    <a:pt x="731" y="1433"/>
                  </a:lnTo>
                  <a:lnTo>
                    <a:pt x="735" y="1433"/>
                  </a:lnTo>
                  <a:lnTo>
                    <a:pt x="735" y="1433"/>
                  </a:lnTo>
                  <a:lnTo>
                    <a:pt x="735" y="1433"/>
                  </a:lnTo>
                  <a:lnTo>
                    <a:pt x="735" y="1433"/>
                  </a:lnTo>
                  <a:lnTo>
                    <a:pt x="735" y="1433"/>
                  </a:lnTo>
                  <a:lnTo>
                    <a:pt x="735" y="1429"/>
                  </a:lnTo>
                  <a:lnTo>
                    <a:pt x="735" y="1429"/>
                  </a:lnTo>
                  <a:lnTo>
                    <a:pt x="740" y="1429"/>
                  </a:lnTo>
                  <a:lnTo>
                    <a:pt x="740" y="1433"/>
                  </a:lnTo>
                  <a:lnTo>
                    <a:pt x="740" y="1433"/>
                  </a:lnTo>
                  <a:moveTo>
                    <a:pt x="703" y="1429"/>
                  </a:moveTo>
                  <a:lnTo>
                    <a:pt x="703" y="1429"/>
                  </a:lnTo>
                  <a:lnTo>
                    <a:pt x="703" y="1429"/>
                  </a:lnTo>
                  <a:lnTo>
                    <a:pt x="703" y="1429"/>
                  </a:lnTo>
                  <a:lnTo>
                    <a:pt x="703" y="1429"/>
                  </a:lnTo>
                  <a:lnTo>
                    <a:pt x="703" y="1429"/>
                  </a:lnTo>
                  <a:lnTo>
                    <a:pt x="703" y="1429"/>
                  </a:lnTo>
                  <a:lnTo>
                    <a:pt x="703" y="1429"/>
                  </a:lnTo>
                  <a:lnTo>
                    <a:pt x="699" y="1429"/>
                  </a:lnTo>
                  <a:lnTo>
                    <a:pt x="699" y="1429"/>
                  </a:lnTo>
                  <a:lnTo>
                    <a:pt x="699" y="1424"/>
                  </a:lnTo>
                  <a:lnTo>
                    <a:pt x="699" y="1424"/>
                  </a:lnTo>
                  <a:lnTo>
                    <a:pt x="699" y="1424"/>
                  </a:lnTo>
                  <a:lnTo>
                    <a:pt x="703" y="1424"/>
                  </a:lnTo>
                  <a:lnTo>
                    <a:pt x="703" y="1424"/>
                  </a:lnTo>
                  <a:lnTo>
                    <a:pt x="703" y="1429"/>
                  </a:lnTo>
                  <a:lnTo>
                    <a:pt x="703" y="1429"/>
                  </a:lnTo>
                  <a:moveTo>
                    <a:pt x="726" y="1420"/>
                  </a:moveTo>
                  <a:lnTo>
                    <a:pt x="726" y="1420"/>
                  </a:lnTo>
                  <a:lnTo>
                    <a:pt x="721" y="1420"/>
                  </a:lnTo>
                  <a:lnTo>
                    <a:pt x="721" y="1424"/>
                  </a:lnTo>
                  <a:lnTo>
                    <a:pt x="721" y="1424"/>
                  </a:lnTo>
                  <a:lnTo>
                    <a:pt x="721" y="1424"/>
                  </a:lnTo>
                  <a:lnTo>
                    <a:pt x="717" y="1424"/>
                  </a:lnTo>
                  <a:lnTo>
                    <a:pt x="717" y="1424"/>
                  </a:lnTo>
                  <a:lnTo>
                    <a:pt x="717" y="1424"/>
                  </a:lnTo>
                  <a:lnTo>
                    <a:pt x="712" y="1424"/>
                  </a:lnTo>
                  <a:lnTo>
                    <a:pt x="712" y="1420"/>
                  </a:lnTo>
                  <a:lnTo>
                    <a:pt x="717" y="1420"/>
                  </a:lnTo>
                  <a:lnTo>
                    <a:pt x="717" y="1420"/>
                  </a:lnTo>
                  <a:lnTo>
                    <a:pt x="717" y="1420"/>
                  </a:lnTo>
                  <a:lnTo>
                    <a:pt x="721" y="1420"/>
                  </a:lnTo>
                  <a:lnTo>
                    <a:pt x="721" y="1420"/>
                  </a:lnTo>
                  <a:lnTo>
                    <a:pt x="721" y="1415"/>
                  </a:lnTo>
                  <a:lnTo>
                    <a:pt x="726" y="1415"/>
                  </a:lnTo>
                  <a:lnTo>
                    <a:pt x="726" y="1420"/>
                  </a:lnTo>
                  <a:moveTo>
                    <a:pt x="731" y="1429"/>
                  </a:moveTo>
                  <a:lnTo>
                    <a:pt x="731" y="1429"/>
                  </a:lnTo>
                  <a:lnTo>
                    <a:pt x="726" y="1429"/>
                  </a:lnTo>
                  <a:lnTo>
                    <a:pt x="726" y="1429"/>
                  </a:lnTo>
                  <a:lnTo>
                    <a:pt x="726" y="1424"/>
                  </a:lnTo>
                  <a:lnTo>
                    <a:pt x="726" y="1424"/>
                  </a:lnTo>
                  <a:lnTo>
                    <a:pt x="731" y="1424"/>
                  </a:lnTo>
                  <a:lnTo>
                    <a:pt x="731" y="1424"/>
                  </a:lnTo>
                  <a:lnTo>
                    <a:pt x="731" y="1424"/>
                  </a:lnTo>
                  <a:lnTo>
                    <a:pt x="731" y="1420"/>
                  </a:lnTo>
                  <a:lnTo>
                    <a:pt x="731" y="1420"/>
                  </a:lnTo>
                  <a:lnTo>
                    <a:pt x="726" y="1420"/>
                  </a:lnTo>
                  <a:lnTo>
                    <a:pt x="731" y="1420"/>
                  </a:lnTo>
                  <a:lnTo>
                    <a:pt x="731" y="1415"/>
                  </a:lnTo>
                  <a:lnTo>
                    <a:pt x="735" y="1415"/>
                  </a:lnTo>
                  <a:lnTo>
                    <a:pt x="735" y="1420"/>
                  </a:lnTo>
                  <a:lnTo>
                    <a:pt x="735" y="1424"/>
                  </a:lnTo>
                  <a:lnTo>
                    <a:pt x="735" y="1424"/>
                  </a:lnTo>
                  <a:lnTo>
                    <a:pt x="735" y="1429"/>
                  </a:lnTo>
                  <a:lnTo>
                    <a:pt x="731" y="1429"/>
                  </a:lnTo>
                  <a:moveTo>
                    <a:pt x="653" y="1415"/>
                  </a:moveTo>
                  <a:lnTo>
                    <a:pt x="653" y="1415"/>
                  </a:lnTo>
                  <a:lnTo>
                    <a:pt x="653" y="1415"/>
                  </a:lnTo>
                  <a:lnTo>
                    <a:pt x="653" y="1415"/>
                  </a:lnTo>
                  <a:lnTo>
                    <a:pt x="653" y="1415"/>
                  </a:lnTo>
                  <a:lnTo>
                    <a:pt x="653" y="1411"/>
                  </a:lnTo>
                  <a:lnTo>
                    <a:pt x="658" y="1411"/>
                  </a:lnTo>
                  <a:lnTo>
                    <a:pt x="658" y="1406"/>
                  </a:lnTo>
                  <a:lnTo>
                    <a:pt x="658" y="1406"/>
                  </a:lnTo>
                  <a:lnTo>
                    <a:pt x="662" y="1406"/>
                  </a:lnTo>
                  <a:lnTo>
                    <a:pt x="662" y="1411"/>
                  </a:lnTo>
                  <a:lnTo>
                    <a:pt x="662" y="1411"/>
                  </a:lnTo>
                  <a:lnTo>
                    <a:pt x="662" y="1411"/>
                  </a:lnTo>
                  <a:lnTo>
                    <a:pt x="658" y="1411"/>
                  </a:lnTo>
                  <a:lnTo>
                    <a:pt x="653" y="1415"/>
                  </a:lnTo>
                  <a:moveTo>
                    <a:pt x="327" y="1370"/>
                  </a:moveTo>
                  <a:lnTo>
                    <a:pt x="327" y="1370"/>
                  </a:lnTo>
                  <a:lnTo>
                    <a:pt x="327" y="1370"/>
                  </a:lnTo>
                  <a:lnTo>
                    <a:pt x="331" y="1365"/>
                  </a:lnTo>
                  <a:lnTo>
                    <a:pt x="331" y="1365"/>
                  </a:lnTo>
                  <a:lnTo>
                    <a:pt x="336" y="1370"/>
                  </a:lnTo>
                  <a:lnTo>
                    <a:pt x="336" y="1370"/>
                  </a:lnTo>
                  <a:lnTo>
                    <a:pt x="336" y="1370"/>
                  </a:lnTo>
                  <a:lnTo>
                    <a:pt x="336" y="1370"/>
                  </a:lnTo>
                  <a:lnTo>
                    <a:pt x="336" y="1370"/>
                  </a:lnTo>
                  <a:lnTo>
                    <a:pt x="340" y="1370"/>
                  </a:lnTo>
                  <a:lnTo>
                    <a:pt x="340" y="1370"/>
                  </a:lnTo>
                  <a:lnTo>
                    <a:pt x="340" y="1370"/>
                  </a:lnTo>
                  <a:lnTo>
                    <a:pt x="336" y="1379"/>
                  </a:lnTo>
                  <a:lnTo>
                    <a:pt x="336" y="1379"/>
                  </a:lnTo>
                  <a:lnTo>
                    <a:pt x="336" y="1379"/>
                  </a:lnTo>
                  <a:lnTo>
                    <a:pt x="336" y="1379"/>
                  </a:lnTo>
                  <a:lnTo>
                    <a:pt x="336" y="1379"/>
                  </a:lnTo>
                  <a:lnTo>
                    <a:pt x="331" y="1388"/>
                  </a:lnTo>
                  <a:lnTo>
                    <a:pt x="331" y="1388"/>
                  </a:lnTo>
                  <a:lnTo>
                    <a:pt x="331" y="1388"/>
                  </a:lnTo>
                  <a:lnTo>
                    <a:pt x="327" y="1393"/>
                  </a:lnTo>
                  <a:lnTo>
                    <a:pt x="322" y="1397"/>
                  </a:lnTo>
                  <a:lnTo>
                    <a:pt x="322" y="1393"/>
                  </a:lnTo>
                  <a:lnTo>
                    <a:pt x="322" y="1393"/>
                  </a:lnTo>
                  <a:lnTo>
                    <a:pt x="322" y="1393"/>
                  </a:lnTo>
                  <a:lnTo>
                    <a:pt x="322" y="1393"/>
                  </a:lnTo>
                  <a:lnTo>
                    <a:pt x="322" y="1388"/>
                  </a:lnTo>
                  <a:lnTo>
                    <a:pt x="322" y="1384"/>
                  </a:lnTo>
                  <a:lnTo>
                    <a:pt x="322" y="1379"/>
                  </a:lnTo>
                  <a:lnTo>
                    <a:pt x="322" y="1379"/>
                  </a:lnTo>
                  <a:lnTo>
                    <a:pt x="322" y="1374"/>
                  </a:lnTo>
                  <a:lnTo>
                    <a:pt x="327" y="1365"/>
                  </a:lnTo>
                  <a:lnTo>
                    <a:pt x="327" y="1365"/>
                  </a:lnTo>
                  <a:lnTo>
                    <a:pt x="327" y="1365"/>
                  </a:lnTo>
                  <a:lnTo>
                    <a:pt x="327" y="1365"/>
                  </a:lnTo>
                  <a:lnTo>
                    <a:pt x="327" y="1365"/>
                  </a:lnTo>
                  <a:lnTo>
                    <a:pt x="327" y="1365"/>
                  </a:lnTo>
                  <a:lnTo>
                    <a:pt x="327" y="1370"/>
                  </a:lnTo>
                  <a:moveTo>
                    <a:pt x="858" y="1420"/>
                  </a:moveTo>
                  <a:lnTo>
                    <a:pt x="858" y="1420"/>
                  </a:lnTo>
                  <a:lnTo>
                    <a:pt x="858" y="1420"/>
                  </a:lnTo>
                  <a:lnTo>
                    <a:pt x="858" y="1424"/>
                  </a:lnTo>
                  <a:lnTo>
                    <a:pt x="858" y="1424"/>
                  </a:lnTo>
                  <a:lnTo>
                    <a:pt x="862" y="1424"/>
                  </a:lnTo>
                  <a:lnTo>
                    <a:pt x="862" y="1420"/>
                  </a:lnTo>
                  <a:lnTo>
                    <a:pt x="862" y="1420"/>
                  </a:lnTo>
                  <a:lnTo>
                    <a:pt x="867" y="1420"/>
                  </a:lnTo>
                  <a:lnTo>
                    <a:pt x="867" y="1424"/>
                  </a:lnTo>
                  <a:lnTo>
                    <a:pt x="871" y="1424"/>
                  </a:lnTo>
                  <a:lnTo>
                    <a:pt x="867" y="1429"/>
                  </a:lnTo>
                  <a:lnTo>
                    <a:pt x="871" y="1429"/>
                  </a:lnTo>
                  <a:lnTo>
                    <a:pt x="871" y="1429"/>
                  </a:lnTo>
                  <a:lnTo>
                    <a:pt x="876" y="1433"/>
                  </a:lnTo>
                  <a:lnTo>
                    <a:pt x="876" y="1433"/>
                  </a:lnTo>
                  <a:lnTo>
                    <a:pt x="876" y="1433"/>
                  </a:lnTo>
                  <a:lnTo>
                    <a:pt x="880" y="1433"/>
                  </a:lnTo>
                  <a:lnTo>
                    <a:pt x="880" y="1433"/>
                  </a:lnTo>
                  <a:lnTo>
                    <a:pt x="885" y="1433"/>
                  </a:lnTo>
                  <a:lnTo>
                    <a:pt x="885" y="1438"/>
                  </a:lnTo>
                  <a:lnTo>
                    <a:pt x="885" y="1438"/>
                  </a:lnTo>
                  <a:lnTo>
                    <a:pt x="885" y="1438"/>
                  </a:lnTo>
                  <a:lnTo>
                    <a:pt x="885" y="1438"/>
                  </a:lnTo>
                  <a:lnTo>
                    <a:pt x="898" y="1438"/>
                  </a:lnTo>
                  <a:lnTo>
                    <a:pt x="903" y="1438"/>
                  </a:lnTo>
                  <a:lnTo>
                    <a:pt x="903" y="1438"/>
                  </a:lnTo>
                  <a:lnTo>
                    <a:pt x="903" y="1438"/>
                  </a:lnTo>
                  <a:lnTo>
                    <a:pt x="907" y="1438"/>
                  </a:lnTo>
                  <a:lnTo>
                    <a:pt x="903" y="1438"/>
                  </a:lnTo>
                  <a:lnTo>
                    <a:pt x="903" y="1442"/>
                  </a:lnTo>
                  <a:lnTo>
                    <a:pt x="907" y="1442"/>
                  </a:lnTo>
                  <a:lnTo>
                    <a:pt x="907" y="1438"/>
                  </a:lnTo>
                  <a:lnTo>
                    <a:pt x="912" y="1438"/>
                  </a:lnTo>
                  <a:lnTo>
                    <a:pt x="912" y="1438"/>
                  </a:lnTo>
                  <a:lnTo>
                    <a:pt x="907" y="1442"/>
                  </a:lnTo>
                  <a:lnTo>
                    <a:pt x="907" y="1442"/>
                  </a:lnTo>
                  <a:lnTo>
                    <a:pt x="907" y="1442"/>
                  </a:lnTo>
                  <a:lnTo>
                    <a:pt x="907" y="1442"/>
                  </a:lnTo>
                  <a:lnTo>
                    <a:pt x="903" y="1442"/>
                  </a:lnTo>
                  <a:lnTo>
                    <a:pt x="907" y="1447"/>
                  </a:lnTo>
                  <a:lnTo>
                    <a:pt x="907" y="1447"/>
                  </a:lnTo>
                  <a:lnTo>
                    <a:pt x="907" y="1447"/>
                  </a:lnTo>
                  <a:lnTo>
                    <a:pt x="907" y="1447"/>
                  </a:lnTo>
                  <a:lnTo>
                    <a:pt x="907" y="1447"/>
                  </a:lnTo>
                  <a:lnTo>
                    <a:pt x="907" y="1452"/>
                  </a:lnTo>
                  <a:lnTo>
                    <a:pt x="907" y="1452"/>
                  </a:lnTo>
                  <a:lnTo>
                    <a:pt x="907" y="1456"/>
                  </a:lnTo>
                  <a:lnTo>
                    <a:pt x="903" y="1456"/>
                  </a:lnTo>
                  <a:lnTo>
                    <a:pt x="903" y="1461"/>
                  </a:lnTo>
                  <a:lnTo>
                    <a:pt x="903" y="1461"/>
                  </a:lnTo>
                  <a:lnTo>
                    <a:pt x="903" y="1461"/>
                  </a:lnTo>
                  <a:lnTo>
                    <a:pt x="903" y="1461"/>
                  </a:lnTo>
                  <a:lnTo>
                    <a:pt x="903" y="1465"/>
                  </a:lnTo>
                  <a:lnTo>
                    <a:pt x="903" y="1465"/>
                  </a:lnTo>
                  <a:lnTo>
                    <a:pt x="903" y="1470"/>
                  </a:lnTo>
                  <a:lnTo>
                    <a:pt x="903" y="1470"/>
                  </a:lnTo>
                  <a:lnTo>
                    <a:pt x="903" y="1470"/>
                  </a:lnTo>
                  <a:lnTo>
                    <a:pt x="907" y="1470"/>
                  </a:lnTo>
                  <a:lnTo>
                    <a:pt x="907" y="1470"/>
                  </a:lnTo>
                  <a:lnTo>
                    <a:pt x="912" y="1474"/>
                  </a:lnTo>
                  <a:lnTo>
                    <a:pt x="912" y="1479"/>
                  </a:lnTo>
                  <a:lnTo>
                    <a:pt x="912" y="1479"/>
                  </a:lnTo>
                  <a:lnTo>
                    <a:pt x="912" y="1483"/>
                  </a:lnTo>
                  <a:lnTo>
                    <a:pt x="912" y="1483"/>
                  </a:lnTo>
                  <a:lnTo>
                    <a:pt x="907" y="1483"/>
                  </a:lnTo>
                  <a:lnTo>
                    <a:pt x="907" y="1483"/>
                  </a:lnTo>
                  <a:lnTo>
                    <a:pt x="907" y="1488"/>
                  </a:lnTo>
                  <a:lnTo>
                    <a:pt x="907" y="1488"/>
                  </a:lnTo>
                  <a:lnTo>
                    <a:pt x="912" y="1488"/>
                  </a:lnTo>
                  <a:lnTo>
                    <a:pt x="912" y="1488"/>
                  </a:lnTo>
                  <a:lnTo>
                    <a:pt x="912" y="1488"/>
                  </a:lnTo>
                  <a:lnTo>
                    <a:pt x="912" y="1488"/>
                  </a:lnTo>
                  <a:lnTo>
                    <a:pt x="912" y="1488"/>
                  </a:lnTo>
                  <a:lnTo>
                    <a:pt x="912" y="1488"/>
                  </a:lnTo>
                  <a:lnTo>
                    <a:pt x="916" y="1492"/>
                  </a:lnTo>
                  <a:lnTo>
                    <a:pt x="916" y="1492"/>
                  </a:lnTo>
                  <a:lnTo>
                    <a:pt x="916" y="1488"/>
                  </a:lnTo>
                  <a:lnTo>
                    <a:pt x="916" y="1492"/>
                  </a:lnTo>
                  <a:lnTo>
                    <a:pt x="912" y="1492"/>
                  </a:lnTo>
                  <a:lnTo>
                    <a:pt x="907" y="1492"/>
                  </a:lnTo>
                  <a:lnTo>
                    <a:pt x="907" y="1497"/>
                  </a:lnTo>
                  <a:lnTo>
                    <a:pt x="907" y="1497"/>
                  </a:lnTo>
                  <a:lnTo>
                    <a:pt x="903" y="1497"/>
                  </a:lnTo>
                  <a:lnTo>
                    <a:pt x="898" y="1501"/>
                  </a:lnTo>
                  <a:lnTo>
                    <a:pt x="898" y="1501"/>
                  </a:lnTo>
                  <a:lnTo>
                    <a:pt x="894" y="1501"/>
                  </a:lnTo>
                  <a:lnTo>
                    <a:pt x="885" y="1506"/>
                  </a:lnTo>
                  <a:lnTo>
                    <a:pt x="876" y="1510"/>
                  </a:lnTo>
                  <a:lnTo>
                    <a:pt x="876" y="1515"/>
                  </a:lnTo>
                  <a:lnTo>
                    <a:pt x="876" y="1515"/>
                  </a:lnTo>
                  <a:lnTo>
                    <a:pt x="876" y="1515"/>
                  </a:lnTo>
                  <a:lnTo>
                    <a:pt x="876" y="1520"/>
                  </a:lnTo>
                  <a:lnTo>
                    <a:pt x="871" y="1520"/>
                  </a:lnTo>
                  <a:lnTo>
                    <a:pt x="871" y="1520"/>
                  </a:lnTo>
                  <a:lnTo>
                    <a:pt x="871" y="1520"/>
                  </a:lnTo>
                  <a:lnTo>
                    <a:pt x="871" y="1520"/>
                  </a:lnTo>
                  <a:lnTo>
                    <a:pt x="867" y="1524"/>
                  </a:lnTo>
                  <a:lnTo>
                    <a:pt x="867" y="1524"/>
                  </a:lnTo>
                  <a:lnTo>
                    <a:pt x="862" y="1533"/>
                  </a:lnTo>
                  <a:lnTo>
                    <a:pt x="858" y="1542"/>
                  </a:lnTo>
                  <a:lnTo>
                    <a:pt x="853" y="1547"/>
                  </a:lnTo>
                  <a:lnTo>
                    <a:pt x="853" y="1551"/>
                  </a:lnTo>
                  <a:lnTo>
                    <a:pt x="853" y="1551"/>
                  </a:lnTo>
                  <a:lnTo>
                    <a:pt x="853" y="1556"/>
                  </a:lnTo>
                  <a:lnTo>
                    <a:pt x="853" y="1560"/>
                  </a:lnTo>
                  <a:lnTo>
                    <a:pt x="853" y="1560"/>
                  </a:lnTo>
                  <a:lnTo>
                    <a:pt x="848" y="1556"/>
                  </a:lnTo>
                  <a:lnTo>
                    <a:pt x="848" y="1556"/>
                  </a:lnTo>
                  <a:lnTo>
                    <a:pt x="844" y="1551"/>
                  </a:lnTo>
                  <a:lnTo>
                    <a:pt x="844" y="1551"/>
                  </a:lnTo>
                  <a:lnTo>
                    <a:pt x="839" y="1547"/>
                  </a:lnTo>
                  <a:lnTo>
                    <a:pt x="835" y="1542"/>
                  </a:lnTo>
                  <a:lnTo>
                    <a:pt x="835" y="1538"/>
                  </a:lnTo>
                  <a:lnTo>
                    <a:pt x="835" y="1538"/>
                  </a:lnTo>
                  <a:lnTo>
                    <a:pt x="830" y="1533"/>
                  </a:lnTo>
                  <a:lnTo>
                    <a:pt x="826" y="1529"/>
                  </a:lnTo>
                  <a:lnTo>
                    <a:pt x="821" y="1524"/>
                  </a:lnTo>
                  <a:lnTo>
                    <a:pt x="803" y="1520"/>
                  </a:lnTo>
                  <a:lnTo>
                    <a:pt x="799" y="1520"/>
                  </a:lnTo>
                  <a:lnTo>
                    <a:pt x="794" y="1520"/>
                  </a:lnTo>
                  <a:lnTo>
                    <a:pt x="789" y="1520"/>
                  </a:lnTo>
                  <a:lnTo>
                    <a:pt x="785" y="1524"/>
                  </a:lnTo>
                  <a:lnTo>
                    <a:pt x="780" y="1524"/>
                  </a:lnTo>
                  <a:lnTo>
                    <a:pt x="771" y="1529"/>
                  </a:lnTo>
                  <a:lnTo>
                    <a:pt x="771" y="1533"/>
                  </a:lnTo>
                  <a:lnTo>
                    <a:pt x="771" y="1533"/>
                  </a:lnTo>
                  <a:lnTo>
                    <a:pt x="767" y="1533"/>
                  </a:lnTo>
                  <a:lnTo>
                    <a:pt x="767" y="1533"/>
                  </a:lnTo>
                  <a:lnTo>
                    <a:pt x="767" y="1533"/>
                  </a:lnTo>
                  <a:lnTo>
                    <a:pt x="762" y="1533"/>
                  </a:lnTo>
                  <a:lnTo>
                    <a:pt x="762" y="1533"/>
                  </a:lnTo>
                  <a:lnTo>
                    <a:pt x="762" y="1533"/>
                  </a:lnTo>
                  <a:lnTo>
                    <a:pt x="758" y="1538"/>
                  </a:lnTo>
                  <a:lnTo>
                    <a:pt x="758" y="1538"/>
                  </a:lnTo>
                  <a:lnTo>
                    <a:pt x="758" y="1538"/>
                  </a:lnTo>
                  <a:lnTo>
                    <a:pt x="758" y="1533"/>
                  </a:lnTo>
                  <a:lnTo>
                    <a:pt x="758" y="1533"/>
                  </a:lnTo>
                  <a:lnTo>
                    <a:pt x="753" y="1538"/>
                  </a:lnTo>
                  <a:lnTo>
                    <a:pt x="753" y="1538"/>
                  </a:lnTo>
                  <a:lnTo>
                    <a:pt x="749" y="1542"/>
                  </a:lnTo>
                  <a:lnTo>
                    <a:pt x="753" y="1542"/>
                  </a:lnTo>
                  <a:lnTo>
                    <a:pt x="749" y="1542"/>
                  </a:lnTo>
                  <a:lnTo>
                    <a:pt x="749" y="1547"/>
                  </a:lnTo>
                  <a:lnTo>
                    <a:pt x="753" y="1547"/>
                  </a:lnTo>
                  <a:lnTo>
                    <a:pt x="753" y="1547"/>
                  </a:lnTo>
                  <a:lnTo>
                    <a:pt x="753" y="1547"/>
                  </a:lnTo>
                  <a:lnTo>
                    <a:pt x="753" y="1547"/>
                  </a:lnTo>
                  <a:lnTo>
                    <a:pt x="753" y="1547"/>
                  </a:lnTo>
                  <a:lnTo>
                    <a:pt x="753" y="1551"/>
                  </a:lnTo>
                  <a:lnTo>
                    <a:pt x="753" y="1551"/>
                  </a:lnTo>
                  <a:lnTo>
                    <a:pt x="749" y="1551"/>
                  </a:lnTo>
                  <a:lnTo>
                    <a:pt x="749" y="1551"/>
                  </a:lnTo>
                  <a:lnTo>
                    <a:pt x="749" y="1556"/>
                  </a:lnTo>
                  <a:lnTo>
                    <a:pt x="749" y="1556"/>
                  </a:lnTo>
                  <a:lnTo>
                    <a:pt x="749" y="1556"/>
                  </a:lnTo>
                  <a:lnTo>
                    <a:pt x="744" y="1560"/>
                  </a:lnTo>
                  <a:lnTo>
                    <a:pt x="744" y="1560"/>
                  </a:lnTo>
                  <a:lnTo>
                    <a:pt x="744" y="1560"/>
                  </a:lnTo>
                  <a:lnTo>
                    <a:pt x="749" y="1560"/>
                  </a:lnTo>
                  <a:lnTo>
                    <a:pt x="744" y="1565"/>
                  </a:lnTo>
                  <a:lnTo>
                    <a:pt x="744" y="1560"/>
                  </a:lnTo>
                  <a:lnTo>
                    <a:pt x="744" y="1560"/>
                  </a:lnTo>
                  <a:lnTo>
                    <a:pt x="740" y="1560"/>
                  </a:lnTo>
                  <a:lnTo>
                    <a:pt x="735" y="1569"/>
                  </a:lnTo>
                  <a:lnTo>
                    <a:pt x="735" y="1574"/>
                  </a:lnTo>
                  <a:lnTo>
                    <a:pt x="731" y="1574"/>
                  </a:lnTo>
                  <a:lnTo>
                    <a:pt x="731" y="1579"/>
                  </a:lnTo>
                  <a:lnTo>
                    <a:pt x="731" y="1579"/>
                  </a:lnTo>
                  <a:lnTo>
                    <a:pt x="731" y="1579"/>
                  </a:lnTo>
                  <a:lnTo>
                    <a:pt x="726" y="1579"/>
                  </a:lnTo>
                  <a:lnTo>
                    <a:pt x="721" y="1579"/>
                  </a:lnTo>
                  <a:lnTo>
                    <a:pt x="721" y="1579"/>
                  </a:lnTo>
                  <a:lnTo>
                    <a:pt x="721" y="1588"/>
                  </a:lnTo>
                  <a:lnTo>
                    <a:pt x="721" y="1592"/>
                  </a:lnTo>
                  <a:lnTo>
                    <a:pt x="721" y="1597"/>
                  </a:lnTo>
                  <a:lnTo>
                    <a:pt x="717" y="1597"/>
                  </a:lnTo>
                  <a:lnTo>
                    <a:pt x="717" y="1597"/>
                  </a:lnTo>
                  <a:lnTo>
                    <a:pt x="717" y="1601"/>
                  </a:lnTo>
                  <a:lnTo>
                    <a:pt x="717" y="1601"/>
                  </a:lnTo>
                  <a:lnTo>
                    <a:pt x="717" y="1606"/>
                  </a:lnTo>
                  <a:lnTo>
                    <a:pt x="717" y="1606"/>
                  </a:lnTo>
                  <a:lnTo>
                    <a:pt x="717" y="1606"/>
                  </a:lnTo>
                  <a:lnTo>
                    <a:pt x="721" y="1610"/>
                  </a:lnTo>
                  <a:lnTo>
                    <a:pt x="721" y="1610"/>
                  </a:lnTo>
                  <a:lnTo>
                    <a:pt x="721" y="1615"/>
                  </a:lnTo>
                  <a:lnTo>
                    <a:pt x="717" y="1615"/>
                  </a:lnTo>
                  <a:lnTo>
                    <a:pt x="717" y="1615"/>
                  </a:lnTo>
                  <a:lnTo>
                    <a:pt x="717" y="1615"/>
                  </a:lnTo>
                  <a:lnTo>
                    <a:pt x="717" y="1615"/>
                  </a:lnTo>
                  <a:lnTo>
                    <a:pt x="717" y="1610"/>
                  </a:lnTo>
                  <a:lnTo>
                    <a:pt x="712" y="1610"/>
                  </a:lnTo>
                  <a:lnTo>
                    <a:pt x="712" y="1610"/>
                  </a:lnTo>
                  <a:lnTo>
                    <a:pt x="712" y="1606"/>
                  </a:lnTo>
                  <a:lnTo>
                    <a:pt x="708" y="1606"/>
                  </a:lnTo>
                  <a:lnTo>
                    <a:pt x="708" y="1606"/>
                  </a:lnTo>
                  <a:lnTo>
                    <a:pt x="703" y="1610"/>
                  </a:lnTo>
                  <a:lnTo>
                    <a:pt x="703" y="1606"/>
                  </a:lnTo>
                  <a:lnTo>
                    <a:pt x="703" y="1606"/>
                  </a:lnTo>
                  <a:lnTo>
                    <a:pt x="699" y="1606"/>
                  </a:lnTo>
                  <a:lnTo>
                    <a:pt x="699" y="1610"/>
                  </a:lnTo>
                  <a:lnTo>
                    <a:pt x="699" y="1610"/>
                  </a:lnTo>
                  <a:lnTo>
                    <a:pt x="694" y="1610"/>
                  </a:lnTo>
                  <a:lnTo>
                    <a:pt x="694" y="1610"/>
                  </a:lnTo>
                  <a:lnTo>
                    <a:pt x="690" y="1606"/>
                  </a:lnTo>
                  <a:lnTo>
                    <a:pt x="690" y="1606"/>
                  </a:lnTo>
                  <a:lnTo>
                    <a:pt x="685" y="1601"/>
                  </a:lnTo>
                  <a:lnTo>
                    <a:pt x="685" y="1601"/>
                  </a:lnTo>
                  <a:lnTo>
                    <a:pt x="681" y="1606"/>
                  </a:lnTo>
                  <a:lnTo>
                    <a:pt x="676" y="1601"/>
                  </a:lnTo>
                  <a:lnTo>
                    <a:pt x="681" y="1601"/>
                  </a:lnTo>
                  <a:lnTo>
                    <a:pt x="681" y="1597"/>
                  </a:lnTo>
                  <a:lnTo>
                    <a:pt x="685" y="1592"/>
                  </a:lnTo>
                  <a:lnTo>
                    <a:pt x="685" y="1592"/>
                  </a:lnTo>
                  <a:lnTo>
                    <a:pt x="690" y="1588"/>
                  </a:lnTo>
                  <a:lnTo>
                    <a:pt x="690" y="1588"/>
                  </a:lnTo>
                  <a:lnTo>
                    <a:pt x="681" y="1588"/>
                  </a:lnTo>
                  <a:lnTo>
                    <a:pt x="681" y="1588"/>
                  </a:lnTo>
                  <a:lnTo>
                    <a:pt x="676" y="1588"/>
                  </a:lnTo>
                  <a:lnTo>
                    <a:pt x="672" y="1583"/>
                  </a:lnTo>
                  <a:lnTo>
                    <a:pt x="672" y="1583"/>
                  </a:lnTo>
                  <a:lnTo>
                    <a:pt x="672" y="1583"/>
                  </a:lnTo>
                  <a:lnTo>
                    <a:pt x="672" y="1583"/>
                  </a:lnTo>
                  <a:lnTo>
                    <a:pt x="667" y="1583"/>
                  </a:lnTo>
                  <a:lnTo>
                    <a:pt x="667" y="1583"/>
                  </a:lnTo>
                  <a:lnTo>
                    <a:pt x="667" y="1583"/>
                  </a:lnTo>
                  <a:lnTo>
                    <a:pt x="667" y="1588"/>
                  </a:lnTo>
                  <a:lnTo>
                    <a:pt x="667" y="1588"/>
                  </a:lnTo>
                  <a:lnTo>
                    <a:pt x="667" y="1588"/>
                  </a:lnTo>
                  <a:lnTo>
                    <a:pt x="667" y="1588"/>
                  </a:lnTo>
                  <a:lnTo>
                    <a:pt x="667" y="1588"/>
                  </a:lnTo>
                  <a:lnTo>
                    <a:pt x="662" y="1588"/>
                  </a:lnTo>
                  <a:lnTo>
                    <a:pt x="662" y="1583"/>
                  </a:lnTo>
                  <a:lnTo>
                    <a:pt x="662" y="1579"/>
                  </a:lnTo>
                  <a:lnTo>
                    <a:pt x="662" y="1579"/>
                  </a:lnTo>
                  <a:lnTo>
                    <a:pt x="667" y="1579"/>
                  </a:lnTo>
                  <a:lnTo>
                    <a:pt x="667" y="1574"/>
                  </a:lnTo>
                  <a:lnTo>
                    <a:pt x="662" y="1569"/>
                  </a:lnTo>
                  <a:lnTo>
                    <a:pt x="662" y="1569"/>
                  </a:lnTo>
                  <a:lnTo>
                    <a:pt x="658" y="1565"/>
                  </a:lnTo>
                  <a:lnTo>
                    <a:pt x="658" y="1565"/>
                  </a:lnTo>
                  <a:lnTo>
                    <a:pt x="662" y="1565"/>
                  </a:lnTo>
                  <a:lnTo>
                    <a:pt x="662" y="1565"/>
                  </a:lnTo>
                  <a:lnTo>
                    <a:pt x="662" y="1565"/>
                  </a:lnTo>
                  <a:lnTo>
                    <a:pt x="662" y="1565"/>
                  </a:lnTo>
                  <a:lnTo>
                    <a:pt x="662" y="1565"/>
                  </a:lnTo>
                  <a:lnTo>
                    <a:pt x="662" y="1560"/>
                  </a:lnTo>
                  <a:lnTo>
                    <a:pt x="662" y="1560"/>
                  </a:lnTo>
                  <a:lnTo>
                    <a:pt x="662" y="1560"/>
                  </a:lnTo>
                  <a:lnTo>
                    <a:pt x="662" y="1560"/>
                  </a:lnTo>
                  <a:lnTo>
                    <a:pt x="662" y="1560"/>
                  </a:lnTo>
                  <a:lnTo>
                    <a:pt x="662" y="1560"/>
                  </a:lnTo>
                  <a:lnTo>
                    <a:pt x="662" y="1560"/>
                  </a:lnTo>
                  <a:lnTo>
                    <a:pt x="667" y="1556"/>
                  </a:lnTo>
                  <a:lnTo>
                    <a:pt x="667" y="1556"/>
                  </a:lnTo>
                  <a:lnTo>
                    <a:pt x="662" y="1556"/>
                  </a:lnTo>
                  <a:lnTo>
                    <a:pt x="662" y="1556"/>
                  </a:lnTo>
                  <a:lnTo>
                    <a:pt x="662" y="1556"/>
                  </a:lnTo>
                  <a:lnTo>
                    <a:pt x="658" y="1551"/>
                  </a:lnTo>
                  <a:lnTo>
                    <a:pt x="662" y="1551"/>
                  </a:lnTo>
                  <a:lnTo>
                    <a:pt x="662" y="1551"/>
                  </a:lnTo>
                  <a:lnTo>
                    <a:pt x="662" y="1551"/>
                  </a:lnTo>
                  <a:lnTo>
                    <a:pt x="662" y="1551"/>
                  </a:lnTo>
                  <a:lnTo>
                    <a:pt x="658" y="1551"/>
                  </a:lnTo>
                  <a:lnTo>
                    <a:pt x="658" y="1547"/>
                  </a:lnTo>
                  <a:lnTo>
                    <a:pt x="658" y="1547"/>
                  </a:lnTo>
                  <a:lnTo>
                    <a:pt x="662" y="1551"/>
                  </a:lnTo>
                  <a:lnTo>
                    <a:pt x="662" y="1551"/>
                  </a:lnTo>
                  <a:lnTo>
                    <a:pt x="662" y="1551"/>
                  </a:lnTo>
                  <a:lnTo>
                    <a:pt x="667" y="1551"/>
                  </a:lnTo>
                  <a:lnTo>
                    <a:pt x="667" y="1551"/>
                  </a:lnTo>
                  <a:lnTo>
                    <a:pt x="667" y="1551"/>
                  </a:lnTo>
                  <a:lnTo>
                    <a:pt x="667" y="1551"/>
                  </a:lnTo>
                  <a:lnTo>
                    <a:pt x="672" y="1547"/>
                  </a:lnTo>
                  <a:lnTo>
                    <a:pt x="672" y="1542"/>
                  </a:lnTo>
                  <a:lnTo>
                    <a:pt x="672" y="1542"/>
                  </a:lnTo>
                  <a:lnTo>
                    <a:pt x="672" y="1542"/>
                  </a:lnTo>
                  <a:lnTo>
                    <a:pt x="667" y="1542"/>
                  </a:lnTo>
                  <a:lnTo>
                    <a:pt x="667" y="1542"/>
                  </a:lnTo>
                  <a:lnTo>
                    <a:pt x="667" y="1542"/>
                  </a:lnTo>
                  <a:lnTo>
                    <a:pt x="667" y="1542"/>
                  </a:lnTo>
                  <a:lnTo>
                    <a:pt x="667" y="1538"/>
                  </a:lnTo>
                  <a:lnTo>
                    <a:pt x="667" y="1538"/>
                  </a:lnTo>
                  <a:lnTo>
                    <a:pt x="672" y="1538"/>
                  </a:lnTo>
                  <a:lnTo>
                    <a:pt x="672" y="1538"/>
                  </a:lnTo>
                  <a:lnTo>
                    <a:pt x="658" y="1533"/>
                  </a:lnTo>
                  <a:lnTo>
                    <a:pt x="658" y="1533"/>
                  </a:lnTo>
                  <a:lnTo>
                    <a:pt x="653" y="1533"/>
                  </a:lnTo>
                  <a:lnTo>
                    <a:pt x="653" y="1533"/>
                  </a:lnTo>
                  <a:lnTo>
                    <a:pt x="658" y="1529"/>
                  </a:lnTo>
                  <a:lnTo>
                    <a:pt x="658" y="1529"/>
                  </a:lnTo>
                  <a:lnTo>
                    <a:pt x="658" y="1529"/>
                  </a:lnTo>
                  <a:lnTo>
                    <a:pt x="658" y="1529"/>
                  </a:lnTo>
                  <a:lnTo>
                    <a:pt x="658" y="1529"/>
                  </a:lnTo>
                  <a:lnTo>
                    <a:pt x="662" y="1524"/>
                  </a:lnTo>
                  <a:lnTo>
                    <a:pt x="658" y="1529"/>
                  </a:lnTo>
                  <a:lnTo>
                    <a:pt x="658" y="1524"/>
                  </a:lnTo>
                  <a:lnTo>
                    <a:pt x="658" y="1524"/>
                  </a:lnTo>
                  <a:lnTo>
                    <a:pt x="658" y="1520"/>
                  </a:lnTo>
                  <a:lnTo>
                    <a:pt x="658" y="1520"/>
                  </a:lnTo>
                  <a:lnTo>
                    <a:pt x="658" y="1520"/>
                  </a:lnTo>
                  <a:lnTo>
                    <a:pt x="658" y="1520"/>
                  </a:lnTo>
                  <a:lnTo>
                    <a:pt x="658" y="1520"/>
                  </a:lnTo>
                  <a:lnTo>
                    <a:pt x="658" y="1515"/>
                  </a:lnTo>
                  <a:lnTo>
                    <a:pt x="662" y="1515"/>
                  </a:lnTo>
                  <a:lnTo>
                    <a:pt x="658" y="1515"/>
                  </a:lnTo>
                  <a:lnTo>
                    <a:pt x="653" y="1515"/>
                  </a:lnTo>
                  <a:lnTo>
                    <a:pt x="653" y="1515"/>
                  </a:lnTo>
                  <a:lnTo>
                    <a:pt x="653" y="1515"/>
                  </a:lnTo>
                  <a:lnTo>
                    <a:pt x="653" y="1515"/>
                  </a:lnTo>
                  <a:lnTo>
                    <a:pt x="653" y="1515"/>
                  </a:lnTo>
                  <a:lnTo>
                    <a:pt x="649" y="1515"/>
                  </a:lnTo>
                  <a:lnTo>
                    <a:pt x="644" y="1515"/>
                  </a:lnTo>
                  <a:lnTo>
                    <a:pt x="640" y="1520"/>
                  </a:lnTo>
                  <a:lnTo>
                    <a:pt x="631" y="1524"/>
                  </a:lnTo>
                  <a:lnTo>
                    <a:pt x="631" y="1524"/>
                  </a:lnTo>
                  <a:lnTo>
                    <a:pt x="631" y="1524"/>
                  </a:lnTo>
                  <a:lnTo>
                    <a:pt x="631" y="1524"/>
                  </a:lnTo>
                  <a:lnTo>
                    <a:pt x="631" y="1524"/>
                  </a:lnTo>
                  <a:lnTo>
                    <a:pt x="631" y="1524"/>
                  </a:lnTo>
                  <a:lnTo>
                    <a:pt x="626" y="1524"/>
                  </a:lnTo>
                  <a:lnTo>
                    <a:pt x="626" y="1524"/>
                  </a:lnTo>
                  <a:lnTo>
                    <a:pt x="622" y="1524"/>
                  </a:lnTo>
                  <a:lnTo>
                    <a:pt x="617" y="1524"/>
                  </a:lnTo>
                  <a:lnTo>
                    <a:pt x="617" y="1524"/>
                  </a:lnTo>
                  <a:lnTo>
                    <a:pt x="617" y="1524"/>
                  </a:lnTo>
                  <a:lnTo>
                    <a:pt x="622" y="1524"/>
                  </a:lnTo>
                  <a:lnTo>
                    <a:pt x="626" y="1520"/>
                  </a:lnTo>
                  <a:lnTo>
                    <a:pt x="631" y="1520"/>
                  </a:lnTo>
                  <a:lnTo>
                    <a:pt x="631" y="1520"/>
                  </a:lnTo>
                  <a:lnTo>
                    <a:pt x="631" y="1520"/>
                  </a:lnTo>
                  <a:lnTo>
                    <a:pt x="631" y="1515"/>
                  </a:lnTo>
                  <a:lnTo>
                    <a:pt x="631" y="1515"/>
                  </a:lnTo>
                  <a:lnTo>
                    <a:pt x="635" y="1515"/>
                  </a:lnTo>
                  <a:lnTo>
                    <a:pt x="640" y="1515"/>
                  </a:lnTo>
                  <a:lnTo>
                    <a:pt x="640" y="1515"/>
                  </a:lnTo>
                  <a:lnTo>
                    <a:pt x="640" y="1515"/>
                  </a:lnTo>
                  <a:lnTo>
                    <a:pt x="644" y="1515"/>
                  </a:lnTo>
                  <a:lnTo>
                    <a:pt x="644" y="1510"/>
                  </a:lnTo>
                  <a:lnTo>
                    <a:pt x="662" y="1506"/>
                  </a:lnTo>
                  <a:lnTo>
                    <a:pt x="662" y="1506"/>
                  </a:lnTo>
                  <a:lnTo>
                    <a:pt x="662" y="1501"/>
                  </a:lnTo>
                  <a:lnTo>
                    <a:pt x="662" y="1501"/>
                  </a:lnTo>
                  <a:lnTo>
                    <a:pt x="667" y="1497"/>
                  </a:lnTo>
                  <a:lnTo>
                    <a:pt x="667" y="1497"/>
                  </a:lnTo>
                  <a:lnTo>
                    <a:pt x="672" y="1497"/>
                  </a:lnTo>
                  <a:lnTo>
                    <a:pt x="681" y="1492"/>
                  </a:lnTo>
                  <a:lnTo>
                    <a:pt x="685" y="1492"/>
                  </a:lnTo>
                  <a:lnTo>
                    <a:pt x="690" y="1488"/>
                  </a:lnTo>
                  <a:lnTo>
                    <a:pt x="690" y="1488"/>
                  </a:lnTo>
                  <a:lnTo>
                    <a:pt x="694" y="1479"/>
                  </a:lnTo>
                  <a:lnTo>
                    <a:pt x="694" y="1479"/>
                  </a:lnTo>
                  <a:lnTo>
                    <a:pt x="694" y="1474"/>
                  </a:lnTo>
                  <a:lnTo>
                    <a:pt x="694" y="1470"/>
                  </a:lnTo>
                  <a:lnTo>
                    <a:pt x="699" y="1465"/>
                  </a:lnTo>
                  <a:lnTo>
                    <a:pt x="699" y="1465"/>
                  </a:lnTo>
                  <a:lnTo>
                    <a:pt x="703" y="1465"/>
                  </a:lnTo>
                  <a:lnTo>
                    <a:pt x="703" y="1461"/>
                  </a:lnTo>
                  <a:lnTo>
                    <a:pt x="703" y="1456"/>
                  </a:lnTo>
                  <a:lnTo>
                    <a:pt x="703" y="1452"/>
                  </a:lnTo>
                  <a:lnTo>
                    <a:pt x="708" y="1452"/>
                  </a:lnTo>
                  <a:lnTo>
                    <a:pt x="712" y="1447"/>
                  </a:lnTo>
                  <a:lnTo>
                    <a:pt x="717" y="1447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21" y="1438"/>
                  </a:lnTo>
                  <a:lnTo>
                    <a:pt x="717" y="1438"/>
                  </a:lnTo>
                  <a:lnTo>
                    <a:pt x="717" y="1438"/>
                  </a:lnTo>
                  <a:lnTo>
                    <a:pt x="721" y="1438"/>
                  </a:lnTo>
                  <a:lnTo>
                    <a:pt x="721" y="1438"/>
                  </a:lnTo>
                  <a:lnTo>
                    <a:pt x="726" y="1438"/>
                  </a:lnTo>
                  <a:lnTo>
                    <a:pt x="726" y="1438"/>
                  </a:lnTo>
                  <a:lnTo>
                    <a:pt x="726" y="1438"/>
                  </a:lnTo>
                  <a:lnTo>
                    <a:pt x="726" y="1438"/>
                  </a:lnTo>
                  <a:lnTo>
                    <a:pt x="726" y="1438"/>
                  </a:lnTo>
                  <a:lnTo>
                    <a:pt x="735" y="1452"/>
                  </a:lnTo>
                  <a:lnTo>
                    <a:pt x="735" y="1456"/>
                  </a:lnTo>
                  <a:lnTo>
                    <a:pt x="735" y="1461"/>
                  </a:lnTo>
                  <a:lnTo>
                    <a:pt x="735" y="1461"/>
                  </a:lnTo>
                  <a:lnTo>
                    <a:pt x="740" y="1465"/>
                  </a:lnTo>
                  <a:lnTo>
                    <a:pt x="740" y="1465"/>
                  </a:lnTo>
                  <a:lnTo>
                    <a:pt x="744" y="1465"/>
                  </a:lnTo>
                  <a:lnTo>
                    <a:pt x="744" y="1465"/>
                  </a:lnTo>
                  <a:lnTo>
                    <a:pt x="749" y="1465"/>
                  </a:lnTo>
                  <a:lnTo>
                    <a:pt x="749" y="1465"/>
                  </a:lnTo>
                  <a:lnTo>
                    <a:pt x="753" y="1465"/>
                  </a:lnTo>
                  <a:lnTo>
                    <a:pt x="758" y="1461"/>
                  </a:lnTo>
                  <a:lnTo>
                    <a:pt x="758" y="1461"/>
                  </a:lnTo>
                  <a:lnTo>
                    <a:pt x="758" y="1461"/>
                  </a:lnTo>
                  <a:lnTo>
                    <a:pt x="758" y="1461"/>
                  </a:lnTo>
                  <a:lnTo>
                    <a:pt x="762" y="1461"/>
                  </a:lnTo>
                  <a:lnTo>
                    <a:pt x="762" y="1461"/>
                  </a:lnTo>
                  <a:lnTo>
                    <a:pt x="762" y="1461"/>
                  </a:lnTo>
                  <a:lnTo>
                    <a:pt x="762" y="1461"/>
                  </a:lnTo>
                  <a:lnTo>
                    <a:pt x="767" y="1461"/>
                  </a:lnTo>
                  <a:lnTo>
                    <a:pt x="776" y="1461"/>
                  </a:lnTo>
                  <a:lnTo>
                    <a:pt x="776" y="1461"/>
                  </a:lnTo>
                  <a:lnTo>
                    <a:pt x="780" y="1461"/>
                  </a:lnTo>
                  <a:lnTo>
                    <a:pt x="785" y="1461"/>
                  </a:lnTo>
                  <a:lnTo>
                    <a:pt x="785" y="1461"/>
                  </a:lnTo>
                  <a:lnTo>
                    <a:pt x="789" y="1461"/>
                  </a:lnTo>
                  <a:lnTo>
                    <a:pt x="789" y="1461"/>
                  </a:lnTo>
                  <a:lnTo>
                    <a:pt x="789" y="1456"/>
                  </a:lnTo>
                  <a:lnTo>
                    <a:pt x="794" y="1456"/>
                  </a:lnTo>
                  <a:lnTo>
                    <a:pt x="799" y="1452"/>
                  </a:lnTo>
                  <a:lnTo>
                    <a:pt x="799" y="1452"/>
                  </a:lnTo>
                  <a:lnTo>
                    <a:pt x="799" y="1452"/>
                  </a:lnTo>
                  <a:lnTo>
                    <a:pt x="799" y="1442"/>
                  </a:lnTo>
                  <a:lnTo>
                    <a:pt x="799" y="1438"/>
                  </a:lnTo>
                  <a:lnTo>
                    <a:pt x="799" y="1438"/>
                  </a:lnTo>
                  <a:lnTo>
                    <a:pt x="799" y="1433"/>
                  </a:lnTo>
                  <a:lnTo>
                    <a:pt x="799" y="1433"/>
                  </a:lnTo>
                  <a:lnTo>
                    <a:pt x="794" y="1429"/>
                  </a:lnTo>
                  <a:lnTo>
                    <a:pt x="794" y="1429"/>
                  </a:lnTo>
                  <a:lnTo>
                    <a:pt x="794" y="1429"/>
                  </a:lnTo>
                  <a:lnTo>
                    <a:pt x="789" y="1424"/>
                  </a:lnTo>
                  <a:lnTo>
                    <a:pt x="794" y="1429"/>
                  </a:lnTo>
                  <a:lnTo>
                    <a:pt x="799" y="1429"/>
                  </a:lnTo>
                  <a:lnTo>
                    <a:pt x="799" y="1429"/>
                  </a:lnTo>
                  <a:lnTo>
                    <a:pt x="803" y="1429"/>
                  </a:lnTo>
                  <a:lnTo>
                    <a:pt x="803" y="1433"/>
                  </a:lnTo>
                  <a:lnTo>
                    <a:pt x="808" y="1429"/>
                  </a:lnTo>
                  <a:lnTo>
                    <a:pt x="812" y="1429"/>
                  </a:lnTo>
                  <a:lnTo>
                    <a:pt x="812" y="1424"/>
                  </a:lnTo>
                  <a:lnTo>
                    <a:pt x="817" y="1424"/>
                  </a:lnTo>
                  <a:lnTo>
                    <a:pt x="821" y="1420"/>
                  </a:lnTo>
                  <a:lnTo>
                    <a:pt x="826" y="1420"/>
                  </a:lnTo>
                  <a:lnTo>
                    <a:pt x="826" y="1420"/>
                  </a:lnTo>
                  <a:lnTo>
                    <a:pt x="830" y="1415"/>
                  </a:lnTo>
                  <a:lnTo>
                    <a:pt x="830" y="1415"/>
                  </a:lnTo>
                  <a:lnTo>
                    <a:pt x="830" y="1415"/>
                  </a:lnTo>
                  <a:lnTo>
                    <a:pt x="830" y="1415"/>
                  </a:lnTo>
                  <a:lnTo>
                    <a:pt x="835" y="1415"/>
                  </a:lnTo>
                  <a:lnTo>
                    <a:pt x="835" y="1415"/>
                  </a:lnTo>
                  <a:lnTo>
                    <a:pt x="835" y="1415"/>
                  </a:lnTo>
                  <a:lnTo>
                    <a:pt x="835" y="1415"/>
                  </a:lnTo>
                  <a:lnTo>
                    <a:pt x="839" y="1415"/>
                  </a:lnTo>
                  <a:lnTo>
                    <a:pt x="839" y="1420"/>
                  </a:lnTo>
                  <a:lnTo>
                    <a:pt x="839" y="1420"/>
                  </a:lnTo>
                  <a:lnTo>
                    <a:pt x="844" y="1420"/>
                  </a:lnTo>
                  <a:lnTo>
                    <a:pt x="844" y="1420"/>
                  </a:lnTo>
                  <a:lnTo>
                    <a:pt x="844" y="1420"/>
                  </a:lnTo>
                  <a:lnTo>
                    <a:pt x="848" y="1420"/>
                  </a:lnTo>
                  <a:lnTo>
                    <a:pt x="848" y="1420"/>
                  </a:lnTo>
                  <a:lnTo>
                    <a:pt x="853" y="1415"/>
                  </a:lnTo>
                  <a:lnTo>
                    <a:pt x="853" y="1420"/>
                  </a:lnTo>
                  <a:lnTo>
                    <a:pt x="853" y="1415"/>
                  </a:lnTo>
                  <a:lnTo>
                    <a:pt x="853" y="1415"/>
                  </a:lnTo>
                  <a:lnTo>
                    <a:pt x="853" y="1415"/>
                  </a:lnTo>
                  <a:lnTo>
                    <a:pt x="858" y="1415"/>
                  </a:lnTo>
                  <a:lnTo>
                    <a:pt x="858" y="1415"/>
                  </a:lnTo>
                  <a:lnTo>
                    <a:pt x="858" y="1415"/>
                  </a:lnTo>
                  <a:lnTo>
                    <a:pt x="858" y="1420"/>
                  </a:lnTo>
                  <a:moveTo>
                    <a:pt x="808" y="1415"/>
                  </a:moveTo>
                  <a:lnTo>
                    <a:pt x="808" y="1415"/>
                  </a:lnTo>
                  <a:lnTo>
                    <a:pt x="808" y="1415"/>
                  </a:lnTo>
                  <a:lnTo>
                    <a:pt x="808" y="1415"/>
                  </a:lnTo>
                  <a:lnTo>
                    <a:pt x="808" y="1415"/>
                  </a:lnTo>
                  <a:lnTo>
                    <a:pt x="808" y="1411"/>
                  </a:lnTo>
                  <a:lnTo>
                    <a:pt x="808" y="1411"/>
                  </a:lnTo>
                  <a:lnTo>
                    <a:pt x="808" y="1411"/>
                  </a:lnTo>
                  <a:lnTo>
                    <a:pt x="808" y="1411"/>
                  </a:lnTo>
                  <a:lnTo>
                    <a:pt x="812" y="1411"/>
                  </a:lnTo>
                  <a:lnTo>
                    <a:pt x="812" y="1415"/>
                  </a:lnTo>
                  <a:lnTo>
                    <a:pt x="812" y="1415"/>
                  </a:lnTo>
                  <a:lnTo>
                    <a:pt x="808" y="1415"/>
                  </a:lnTo>
                  <a:lnTo>
                    <a:pt x="808" y="1415"/>
                  </a:lnTo>
                  <a:moveTo>
                    <a:pt x="1415" y="1438"/>
                  </a:moveTo>
                  <a:lnTo>
                    <a:pt x="1415" y="1438"/>
                  </a:lnTo>
                  <a:lnTo>
                    <a:pt x="1415" y="1438"/>
                  </a:lnTo>
                  <a:lnTo>
                    <a:pt x="1415" y="1438"/>
                  </a:lnTo>
                  <a:lnTo>
                    <a:pt x="1415" y="1438"/>
                  </a:lnTo>
                  <a:moveTo>
                    <a:pt x="1415" y="1438"/>
                  </a:moveTo>
                  <a:lnTo>
                    <a:pt x="1415" y="1438"/>
                  </a:lnTo>
                  <a:lnTo>
                    <a:pt x="1415" y="1438"/>
                  </a:lnTo>
                  <a:lnTo>
                    <a:pt x="1415" y="1438"/>
                  </a:lnTo>
                  <a:lnTo>
                    <a:pt x="1415" y="1438"/>
                  </a:lnTo>
                  <a:lnTo>
                    <a:pt x="1415" y="1438"/>
                  </a:lnTo>
                  <a:lnTo>
                    <a:pt x="1415" y="1442"/>
                  </a:lnTo>
                  <a:lnTo>
                    <a:pt x="1411" y="1447"/>
                  </a:lnTo>
                  <a:lnTo>
                    <a:pt x="1411" y="1447"/>
                  </a:lnTo>
                  <a:lnTo>
                    <a:pt x="1411" y="1447"/>
                  </a:lnTo>
                  <a:lnTo>
                    <a:pt x="1411" y="1442"/>
                  </a:lnTo>
                  <a:lnTo>
                    <a:pt x="1411" y="1438"/>
                  </a:lnTo>
                  <a:lnTo>
                    <a:pt x="1411" y="1438"/>
                  </a:lnTo>
                  <a:lnTo>
                    <a:pt x="1411" y="1438"/>
                  </a:lnTo>
                  <a:lnTo>
                    <a:pt x="1411" y="1438"/>
                  </a:lnTo>
                  <a:lnTo>
                    <a:pt x="1415" y="1433"/>
                  </a:lnTo>
                  <a:lnTo>
                    <a:pt x="1415" y="1438"/>
                  </a:lnTo>
                  <a:lnTo>
                    <a:pt x="1415" y="1438"/>
                  </a:lnTo>
                  <a:moveTo>
                    <a:pt x="880" y="1402"/>
                  </a:moveTo>
                  <a:lnTo>
                    <a:pt x="880" y="1402"/>
                  </a:lnTo>
                  <a:lnTo>
                    <a:pt x="880" y="1406"/>
                  </a:lnTo>
                  <a:lnTo>
                    <a:pt x="880" y="1411"/>
                  </a:lnTo>
                  <a:lnTo>
                    <a:pt x="876" y="1411"/>
                  </a:lnTo>
                  <a:lnTo>
                    <a:pt x="876" y="1411"/>
                  </a:lnTo>
                  <a:lnTo>
                    <a:pt x="876" y="1411"/>
                  </a:lnTo>
                  <a:lnTo>
                    <a:pt x="876" y="1411"/>
                  </a:lnTo>
                  <a:lnTo>
                    <a:pt x="876" y="1406"/>
                  </a:lnTo>
                  <a:lnTo>
                    <a:pt x="876" y="1406"/>
                  </a:lnTo>
                  <a:lnTo>
                    <a:pt x="876" y="1406"/>
                  </a:lnTo>
                  <a:lnTo>
                    <a:pt x="876" y="1406"/>
                  </a:lnTo>
                  <a:lnTo>
                    <a:pt x="871" y="1406"/>
                  </a:lnTo>
                  <a:lnTo>
                    <a:pt x="871" y="1406"/>
                  </a:lnTo>
                  <a:lnTo>
                    <a:pt x="871" y="1411"/>
                  </a:lnTo>
                  <a:lnTo>
                    <a:pt x="871" y="1411"/>
                  </a:lnTo>
                  <a:lnTo>
                    <a:pt x="867" y="1411"/>
                  </a:lnTo>
                  <a:lnTo>
                    <a:pt x="867" y="1406"/>
                  </a:lnTo>
                  <a:lnTo>
                    <a:pt x="867" y="1406"/>
                  </a:lnTo>
                  <a:lnTo>
                    <a:pt x="867" y="1406"/>
                  </a:lnTo>
                  <a:lnTo>
                    <a:pt x="862" y="1406"/>
                  </a:lnTo>
                  <a:lnTo>
                    <a:pt x="862" y="1406"/>
                  </a:lnTo>
                  <a:lnTo>
                    <a:pt x="858" y="1406"/>
                  </a:lnTo>
                  <a:lnTo>
                    <a:pt x="858" y="1402"/>
                  </a:lnTo>
                  <a:lnTo>
                    <a:pt x="858" y="1402"/>
                  </a:lnTo>
                  <a:lnTo>
                    <a:pt x="858" y="1402"/>
                  </a:lnTo>
                  <a:lnTo>
                    <a:pt x="858" y="1402"/>
                  </a:lnTo>
                  <a:lnTo>
                    <a:pt x="862" y="1397"/>
                  </a:lnTo>
                  <a:lnTo>
                    <a:pt x="862" y="1402"/>
                  </a:lnTo>
                  <a:lnTo>
                    <a:pt x="867" y="1397"/>
                  </a:lnTo>
                  <a:lnTo>
                    <a:pt x="871" y="1397"/>
                  </a:lnTo>
                  <a:lnTo>
                    <a:pt x="871" y="1397"/>
                  </a:lnTo>
                  <a:lnTo>
                    <a:pt x="876" y="1397"/>
                  </a:lnTo>
                  <a:lnTo>
                    <a:pt x="880" y="1397"/>
                  </a:lnTo>
                  <a:lnTo>
                    <a:pt x="880" y="1397"/>
                  </a:lnTo>
                  <a:lnTo>
                    <a:pt x="880" y="1397"/>
                  </a:lnTo>
                  <a:lnTo>
                    <a:pt x="880" y="1397"/>
                  </a:lnTo>
                  <a:lnTo>
                    <a:pt x="880" y="1397"/>
                  </a:lnTo>
                  <a:lnTo>
                    <a:pt x="880" y="1402"/>
                  </a:lnTo>
                  <a:moveTo>
                    <a:pt x="939" y="1438"/>
                  </a:moveTo>
                  <a:lnTo>
                    <a:pt x="939" y="1438"/>
                  </a:lnTo>
                  <a:lnTo>
                    <a:pt x="939" y="1438"/>
                  </a:lnTo>
                  <a:lnTo>
                    <a:pt x="935" y="1438"/>
                  </a:lnTo>
                  <a:lnTo>
                    <a:pt x="935" y="1438"/>
                  </a:lnTo>
                  <a:lnTo>
                    <a:pt x="930" y="1442"/>
                  </a:lnTo>
                  <a:lnTo>
                    <a:pt x="930" y="1442"/>
                  </a:lnTo>
                  <a:lnTo>
                    <a:pt x="930" y="1442"/>
                  </a:lnTo>
                  <a:lnTo>
                    <a:pt x="926" y="1442"/>
                  </a:lnTo>
                  <a:lnTo>
                    <a:pt x="921" y="1442"/>
                  </a:lnTo>
                  <a:lnTo>
                    <a:pt x="916" y="1442"/>
                  </a:lnTo>
                  <a:lnTo>
                    <a:pt x="916" y="1438"/>
                  </a:lnTo>
                  <a:lnTo>
                    <a:pt x="916" y="1438"/>
                  </a:lnTo>
                  <a:lnTo>
                    <a:pt x="912" y="1438"/>
                  </a:lnTo>
                  <a:lnTo>
                    <a:pt x="912" y="1433"/>
                  </a:lnTo>
                  <a:lnTo>
                    <a:pt x="912" y="1429"/>
                  </a:lnTo>
                  <a:lnTo>
                    <a:pt x="921" y="1424"/>
                  </a:lnTo>
                  <a:lnTo>
                    <a:pt x="930" y="1411"/>
                  </a:lnTo>
                  <a:lnTo>
                    <a:pt x="930" y="1411"/>
                  </a:lnTo>
                  <a:lnTo>
                    <a:pt x="930" y="1411"/>
                  </a:lnTo>
                  <a:lnTo>
                    <a:pt x="935" y="1411"/>
                  </a:lnTo>
                  <a:lnTo>
                    <a:pt x="935" y="1411"/>
                  </a:lnTo>
                  <a:lnTo>
                    <a:pt x="935" y="1406"/>
                  </a:lnTo>
                  <a:lnTo>
                    <a:pt x="935" y="1406"/>
                  </a:lnTo>
                  <a:lnTo>
                    <a:pt x="939" y="1406"/>
                  </a:lnTo>
                  <a:lnTo>
                    <a:pt x="939" y="1402"/>
                  </a:lnTo>
                  <a:lnTo>
                    <a:pt x="944" y="1402"/>
                  </a:lnTo>
                  <a:lnTo>
                    <a:pt x="948" y="1397"/>
                  </a:lnTo>
                  <a:lnTo>
                    <a:pt x="948" y="1397"/>
                  </a:lnTo>
                  <a:lnTo>
                    <a:pt x="953" y="1397"/>
                  </a:lnTo>
                  <a:lnTo>
                    <a:pt x="953" y="1397"/>
                  </a:lnTo>
                  <a:lnTo>
                    <a:pt x="953" y="1397"/>
                  </a:lnTo>
                  <a:lnTo>
                    <a:pt x="953" y="1402"/>
                  </a:lnTo>
                  <a:lnTo>
                    <a:pt x="948" y="1402"/>
                  </a:lnTo>
                  <a:lnTo>
                    <a:pt x="948" y="1402"/>
                  </a:lnTo>
                  <a:lnTo>
                    <a:pt x="948" y="1406"/>
                  </a:lnTo>
                  <a:lnTo>
                    <a:pt x="939" y="1415"/>
                  </a:lnTo>
                  <a:lnTo>
                    <a:pt x="939" y="1420"/>
                  </a:lnTo>
                  <a:lnTo>
                    <a:pt x="939" y="1420"/>
                  </a:lnTo>
                  <a:lnTo>
                    <a:pt x="939" y="1424"/>
                  </a:lnTo>
                  <a:lnTo>
                    <a:pt x="939" y="1424"/>
                  </a:lnTo>
                  <a:lnTo>
                    <a:pt x="939" y="1424"/>
                  </a:lnTo>
                  <a:lnTo>
                    <a:pt x="939" y="1429"/>
                  </a:lnTo>
                  <a:lnTo>
                    <a:pt x="939" y="1429"/>
                  </a:lnTo>
                  <a:lnTo>
                    <a:pt x="944" y="1433"/>
                  </a:lnTo>
                  <a:lnTo>
                    <a:pt x="944" y="1433"/>
                  </a:lnTo>
                  <a:lnTo>
                    <a:pt x="944" y="1438"/>
                  </a:lnTo>
                  <a:lnTo>
                    <a:pt x="939" y="1438"/>
                  </a:lnTo>
                  <a:moveTo>
                    <a:pt x="363" y="1329"/>
                  </a:moveTo>
                  <a:lnTo>
                    <a:pt x="363" y="1329"/>
                  </a:lnTo>
                  <a:lnTo>
                    <a:pt x="359" y="1329"/>
                  </a:lnTo>
                  <a:lnTo>
                    <a:pt x="359" y="1334"/>
                  </a:lnTo>
                  <a:lnTo>
                    <a:pt x="359" y="1334"/>
                  </a:lnTo>
                  <a:lnTo>
                    <a:pt x="359" y="1329"/>
                  </a:lnTo>
                  <a:lnTo>
                    <a:pt x="359" y="1329"/>
                  </a:lnTo>
                  <a:lnTo>
                    <a:pt x="354" y="1329"/>
                  </a:lnTo>
                  <a:lnTo>
                    <a:pt x="359" y="1334"/>
                  </a:lnTo>
                  <a:lnTo>
                    <a:pt x="359" y="1334"/>
                  </a:lnTo>
                  <a:lnTo>
                    <a:pt x="359" y="1334"/>
                  </a:lnTo>
                  <a:lnTo>
                    <a:pt x="359" y="1338"/>
                  </a:lnTo>
                  <a:lnTo>
                    <a:pt x="359" y="1338"/>
                  </a:lnTo>
                  <a:lnTo>
                    <a:pt x="359" y="1343"/>
                  </a:lnTo>
                  <a:lnTo>
                    <a:pt x="354" y="1343"/>
                  </a:lnTo>
                  <a:lnTo>
                    <a:pt x="349" y="1352"/>
                  </a:lnTo>
                  <a:lnTo>
                    <a:pt x="345" y="1352"/>
                  </a:lnTo>
                  <a:lnTo>
                    <a:pt x="345" y="1356"/>
                  </a:lnTo>
                  <a:lnTo>
                    <a:pt x="345" y="1356"/>
                  </a:lnTo>
                  <a:lnTo>
                    <a:pt x="345" y="1356"/>
                  </a:lnTo>
                  <a:lnTo>
                    <a:pt x="345" y="1356"/>
                  </a:lnTo>
                  <a:lnTo>
                    <a:pt x="349" y="1356"/>
                  </a:lnTo>
                  <a:lnTo>
                    <a:pt x="345" y="1361"/>
                  </a:lnTo>
                  <a:lnTo>
                    <a:pt x="345" y="1361"/>
                  </a:lnTo>
                  <a:lnTo>
                    <a:pt x="345" y="1361"/>
                  </a:lnTo>
                  <a:lnTo>
                    <a:pt x="345" y="1361"/>
                  </a:lnTo>
                  <a:lnTo>
                    <a:pt x="345" y="1365"/>
                  </a:lnTo>
                  <a:lnTo>
                    <a:pt x="345" y="1365"/>
                  </a:lnTo>
                  <a:lnTo>
                    <a:pt x="345" y="1365"/>
                  </a:lnTo>
                  <a:lnTo>
                    <a:pt x="345" y="1365"/>
                  </a:lnTo>
                  <a:lnTo>
                    <a:pt x="340" y="1370"/>
                  </a:lnTo>
                  <a:lnTo>
                    <a:pt x="340" y="1370"/>
                  </a:lnTo>
                  <a:lnTo>
                    <a:pt x="336" y="1370"/>
                  </a:lnTo>
                  <a:lnTo>
                    <a:pt x="336" y="1365"/>
                  </a:lnTo>
                  <a:lnTo>
                    <a:pt x="340" y="1365"/>
                  </a:lnTo>
                  <a:lnTo>
                    <a:pt x="340" y="1365"/>
                  </a:lnTo>
                  <a:lnTo>
                    <a:pt x="340" y="1361"/>
                  </a:lnTo>
                  <a:lnTo>
                    <a:pt x="336" y="1365"/>
                  </a:lnTo>
                  <a:lnTo>
                    <a:pt x="336" y="1361"/>
                  </a:lnTo>
                  <a:lnTo>
                    <a:pt x="336" y="1361"/>
                  </a:lnTo>
                  <a:lnTo>
                    <a:pt x="336" y="1361"/>
                  </a:lnTo>
                  <a:lnTo>
                    <a:pt x="340" y="1356"/>
                  </a:lnTo>
                  <a:lnTo>
                    <a:pt x="336" y="1356"/>
                  </a:lnTo>
                  <a:lnTo>
                    <a:pt x="336" y="1361"/>
                  </a:lnTo>
                  <a:lnTo>
                    <a:pt x="336" y="1361"/>
                  </a:lnTo>
                  <a:lnTo>
                    <a:pt x="336" y="1361"/>
                  </a:lnTo>
                  <a:lnTo>
                    <a:pt x="331" y="1361"/>
                  </a:lnTo>
                  <a:lnTo>
                    <a:pt x="331" y="1361"/>
                  </a:lnTo>
                  <a:lnTo>
                    <a:pt x="331" y="1361"/>
                  </a:lnTo>
                  <a:lnTo>
                    <a:pt x="331" y="1361"/>
                  </a:lnTo>
                  <a:lnTo>
                    <a:pt x="331" y="1361"/>
                  </a:lnTo>
                  <a:lnTo>
                    <a:pt x="331" y="1361"/>
                  </a:lnTo>
                  <a:lnTo>
                    <a:pt x="336" y="1352"/>
                  </a:lnTo>
                  <a:lnTo>
                    <a:pt x="336" y="1352"/>
                  </a:lnTo>
                  <a:lnTo>
                    <a:pt x="336" y="1352"/>
                  </a:lnTo>
                  <a:lnTo>
                    <a:pt x="336" y="1352"/>
                  </a:lnTo>
                  <a:lnTo>
                    <a:pt x="336" y="1352"/>
                  </a:lnTo>
                  <a:lnTo>
                    <a:pt x="336" y="1352"/>
                  </a:lnTo>
                  <a:lnTo>
                    <a:pt x="340" y="1347"/>
                  </a:lnTo>
                  <a:lnTo>
                    <a:pt x="340" y="1347"/>
                  </a:lnTo>
                  <a:lnTo>
                    <a:pt x="336" y="1347"/>
                  </a:lnTo>
                  <a:lnTo>
                    <a:pt x="336" y="1347"/>
                  </a:lnTo>
                  <a:lnTo>
                    <a:pt x="336" y="1347"/>
                  </a:lnTo>
                  <a:lnTo>
                    <a:pt x="336" y="1343"/>
                  </a:lnTo>
                  <a:lnTo>
                    <a:pt x="336" y="1343"/>
                  </a:lnTo>
                  <a:lnTo>
                    <a:pt x="340" y="1338"/>
                  </a:lnTo>
                  <a:lnTo>
                    <a:pt x="340" y="1338"/>
                  </a:lnTo>
                  <a:lnTo>
                    <a:pt x="340" y="1338"/>
                  </a:lnTo>
                  <a:lnTo>
                    <a:pt x="340" y="1334"/>
                  </a:lnTo>
                  <a:lnTo>
                    <a:pt x="340" y="1334"/>
                  </a:lnTo>
                  <a:lnTo>
                    <a:pt x="340" y="1334"/>
                  </a:lnTo>
                  <a:lnTo>
                    <a:pt x="340" y="1329"/>
                  </a:lnTo>
                  <a:lnTo>
                    <a:pt x="340" y="1329"/>
                  </a:lnTo>
                  <a:lnTo>
                    <a:pt x="345" y="1329"/>
                  </a:lnTo>
                  <a:lnTo>
                    <a:pt x="345" y="1325"/>
                  </a:lnTo>
                  <a:lnTo>
                    <a:pt x="349" y="1329"/>
                  </a:lnTo>
                  <a:lnTo>
                    <a:pt x="349" y="1325"/>
                  </a:lnTo>
                  <a:lnTo>
                    <a:pt x="354" y="1325"/>
                  </a:lnTo>
                  <a:lnTo>
                    <a:pt x="354" y="1320"/>
                  </a:lnTo>
                  <a:lnTo>
                    <a:pt x="354" y="1320"/>
                  </a:lnTo>
                  <a:lnTo>
                    <a:pt x="354" y="1320"/>
                  </a:lnTo>
                  <a:lnTo>
                    <a:pt x="359" y="1320"/>
                  </a:lnTo>
                  <a:lnTo>
                    <a:pt x="359" y="1320"/>
                  </a:lnTo>
                  <a:lnTo>
                    <a:pt x="359" y="1320"/>
                  </a:lnTo>
                  <a:lnTo>
                    <a:pt x="359" y="1320"/>
                  </a:lnTo>
                  <a:lnTo>
                    <a:pt x="359" y="1325"/>
                  </a:lnTo>
                  <a:lnTo>
                    <a:pt x="363" y="1325"/>
                  </a:lnTo>
                  <a:lnTo>
                    <a:pt x="363" y="1329"/>
                  </a:lnTo>
                  <a:moveTo>
                    <a:pt x="1429" y="1402"/>
                  </a:moveTo>
                  <a:lnTo>
                    <a:pt x="1429" y="1402"/>
                  </a:lnTo>
                  <a:lnTo>
                    <a:pt x="1429" y="1402"/>
                  </a:lnTo>
                  <a:lnTo>
                    <a:pt x="1429" y="1402"/>
                  </a:lnTo>
                  <a:lnTo>
                    <a:pt x="1425" y="1402"/>
                  </a:lnTo>
                  <a:lnTo>
                    <a:pt x="1420" y="1397"/>
                  </a:lnTo>
                  <a:lnTo>
                    <a:pt x="1420" y="1393"/>
                  </a:lnTo>
                  <a:lnTo>
                    <a:pt x="1425" y="1388"/>
                  </a:lnTo>
                  <a:lnTo>
                    <a:pt x="1425" y="1388"/>
                  </a:lnTo>
                  <a:lnTo>
                    <a:pt x="1429" y="1388"/>
                  </a:lnTo>
                  <a:lnTo>
                    <a:pt x="1429" y="1393"/>
                  </a:lnTo>
                  <a:lnTo>
                    <a:pt x="1429" y="1393"/>
                  </a:lnTo>
                  <a:lnTo>
                    <a:pt x="1429" y="1397"/>
                  </a:lnTo>
                  <a:lnTo>
                    <a:pt x="1434" y="1397"/>
                  </a:lnTo>
                  <a:lnTo>
                    <a:pt x="1434" y="1402"/>
                  </a:lnTo>
                  <a:lnTo>
                    <a:pt x="1429" y="1402"/>
                  </a:lnTo>
                  <a:moveTo>
                    <a:pt x="753" y="1202"/>
                  </a:moveTo>
                  <a:lnTo>
                    <a:pt x="753" y="1202"/>
                  </a:lnTo>
                  <a:lnTo>
                    <a:pt x="758" y="1202"/>
                  </a:lnTo>
                  <a:lnTo>
                    <a:pt x="753" y="1202"/>
                  </a:lnTo>
                  <a:lnTo>
                    <a:pt x="749" y="1202"/>
                  </a:lnTo>
                  <a:lnTo>
                    <a:pt x="749" y="1202"/>
                  </a:lnTo>
                  <a:lnTo>
                    <a:pt x="749" y="1202"/>
                  </a:lnTo>
                  <a:lnTo>
                    <a:pt x="749" y="1198"/>
                  </a:lnTo>
                  <a:lnTo>
                    <a:pt x="749" y="1198"/>
                  </a:lnTo>
                  <a:lnTo>
                    <a:pt x="749" y="1198"/>
                  </a:lnTo>
                  <a:lnTo>
                    <a:pt x="753" y="1198"/>
                  </a:lnTo>
                  <a:lnTo>
                    <a:pt x="753" y="1202"/>
                  </a:lnTo>
                  <a:moveTo>
                    <a:pt x="762" y="1188"/>
                  </a:moveTo>
                  <a:lnTo>
                    <a:pt x="762" y="1188"/>
                  </a:lnTo>
                  <a:lnTo>
                    <a:pt x="762" y="1188"/>
                  </a:lnTo>
                  <a:lnTo>
                    <a:pt x="762" y="1193"/>
                  </a:lnTo>
                  <a:lnTo>
                    <a:pt x="758" y="1198"/>
                  </a:lnTo>
                  <a:lnTo>
                    <a:pt x="758" y="1198"/>
                  </a:lnTo>
                  <a:lnTo>
                    <a:pt x="758" y="1193"/>
                  </a:lnTo>
                  <a:lnTo>
                    <a:pt x="758" y="1193"/>
                  </a:lnTo>
                  <a:lnTo>
                    <a:pt x="758" y="1188"/>
                  </a:lnTo>
                  <a:lnTo>
                    <a:pt x="762" y="1188"/>
                  </a:lnTo>
                  <a:moveTo>
                    <a:pt x="762" y="1188"/>
                  </a:moveTo>
                  <a:lnTo>
                    <a:pt x="762" y="1188"/>
                  </a:lnTo>
                  <a:lnTo>
                    <a:pt x="758" y="1188"/>
                  </a:lnTo>
                  <a:lnTo>
                    <a:pt x="758" y="1184"/>
                  </a:lnTo>
                  <a:lnTo>
                    <a:pt x="758" y="1184"/>
                  </a:lnTo>
                  <a:lnTo>
                    <a:pt x="762" y="1188"/>
                  </a:lnTo>
                  <a:moveTo>
                    <a:pt x="758" y="1184"/>
                  </a:moveTo>
                  <a:lnTo>
                    <a:pt x="758" y="1184"/>
                  </a:lnTo>
                  <a:lnTo>
                    <a:pt x="758" y="1188"/>
                  </a:lnTo>
                  <a:lnTo>
                    <a:pt x="758" y="1188"/>
                  </a:lnTo>
                  <a:lnTo>
                    <a:pt x="753" y="1188"/>
                  </a:lnTo>
                  <a:lnTo>
                    <a:pt x="753" y="1188"/>
                  </a:lnTo>
                  <a:lnTo>
                    <a:pt x="753" y="1193"/>
                  </a:lnTo>
                  <a:lnTo>
                    <a:pt x="753" y="1193"/>
                  </a:lnTo>
                  <a:lnTo>
                    <a:pt x="753" y="1193"/>
                  </a:lnTo>
                  <a:lnTo>
                    <a:pt x="753" y="1193"/>
                  </a:lnTo>
                  <a:lnTo>
                    <a:pt x="753" y="1193"/>
                  </a:lnTo>
                  <a:lnTo>
                    <a:pt x="749" y="1193"/>
                  </a:lnTo>
                  <a:lnTo>
                    <a:pt x="749" y="1193"/>
                  </a:lnTo>
                  <a:lnTo>
                    <a:pt x="749" y="1193"/>
                  </a:lnTo>
                  <a:lnTo>
                    <a:pt x="749" y="1193"/>
                  </a:lnTo>
                  <a:lnTo>
                    <a:pt x="749" y="1188"/>
                  </a:lnTo>
                  <a:lnTo>
                    <a:pt x="749" y="1188"/>
                  </a:lnTo>
                  <a:lnTo>
                    <a:pt x="749" y="1188"/>
                  </a:lnTo>
                  <a:lnTo>
                    <a:pt x="749" y="1188"/>
                  </a:lnTo>
                  <a:lnTo>
                    <a:pt x="749" y="1193"/>
                  </a:lnTo>
                  <a:lnTo>
                    <a:pt x="749" y="1193"/>
                  </a:lnTo>
                  <a:lnTo>
                    <a:pt x="749" y="1193"/>
                  </a:lnTo>
                  <a:lnTo>
                    <a:pt x="744" y="1193"/>
                  </a:lnTo>
                  <a:lnTo>
                    <a:pt x="744" y="1193"/>
                  </a:lnTo>
                  <a:lnTo>
                    <a:pt x="744" y="1193"/>
                  </a:lnTo>
                  <a:lnTo>
                    <a:pt x="744" y="1188"/>
                  </a:lnTo>
                  <a:lnTo>
                    <a:pt x="749" y="1184"/>
                  </a:lnTo>
                  <a:lnTo>
                    <a:pt x="753" y="1184"/>
                  </a:lnTo>
                  <a:lnTo>
                    <a:pt x="753" y="1184"/>
                  </a:lnTo>
                  <a:lnTo>
                    <a:pt x="758" y="1184"/>
                  </a:lnTo>
                  <a:lnTo>
                    <a:pt x="758" y="1184"/>
                  </a:lnTo>
                  <a:lnTo>
                    <a:pt x="758" y="1184"/>
                  </a:lnTo>
                  <a:moveTo>
                    <a:pt x="789" y="1179"/>
                  </a:moveTo>
                  <a:lnTo>
                    <a:pt x="789" y="1179"/>
                  </a:lnTo>
                  <a:lnTo>
                    <a:pt x="789" y="1179"/>
                  </a:lnTo>
                  <a:lnTo>
                    <a:pt x="785" y="1179"/>
                  </a:lnTo>
                  <a:lnTo>
                    <a:pt x="785" y="1179"/>
                  </a:lnTo>
                  <a:lnTo>
                    <a:pt x="785" y="1179"/>
                  </a:lnTo>
                  <a:lnTo>
                    <a:pt x="785" y="1179"/>
                  </a:lnTo>
                  <a:lnTo>
                    <a:pt x="785" y="1179"/>
                  </a:lnTo>
                  <a:lnTo>
                    <a:pt x="785" y="1179"/>
                  </a:lnTo>
                  <a:lnTo>
                    <a:pt x="785" y="1179"/>
                  </a:lnTo>
                  <a:lnTo>
                    <a:pt x="785" y="1184"/>
                  </a:lnTo>
                  <a:lnTo>
                    <a:pt x="785" y="1184"/>
                  </a:lnTo>
                  <a:lnTo>
                    <a:pt x="780" y="1184"/>
                  </a:lnTo>
                  <a:lnTo>
                    <a:pt x="780" y="1184"/>
                  </a:lnTo>
                  <a:lnTo>
                    <a:pt x="776" y="1179"/>
                  </a:lnTo>
                  <a:lnTo>
                    <a:pt x="776" y="1179"/>
                  </a:lnTo>
                  <a:lnTo>
                    <a:pt x="771" y="1175"/>
                  </a:lnTo>
                  <a:lnTo>
                    <a:pt x="771" y="1175"/>
                  </a:lnTo>
                  <a:lnTo>
                    <a:pt x="771" y="1175"/>
                  </a:lnTo>
                  <a:lnTo>
                    <a:pt x="771" y="1166"/>
                  </a:lnTo>
                  <a:lnTo>
                    <a:pt x="771" y="1166"/>
                  </a:lnTo>
                  <a:lnTo>
                    <a:pt x="780" y="1161"/>
                  </a:lnTo>
                  <a:lnTo>
                    <a:pt x="780" y="1161"/>
                  </a:lnTo>
                  <a:lnTo>
                    <a:pt x="780" y="1161"/>
                  </a:lnTo>
                  <a:lnTo>
                    <a:pt x="785" y="1161"/>
                  </a:lnTo>
                  <a:lnTo>
                    <a:pt x="785" y="1161"/>
                  </a:lnTo>
                  <a:lnTo>
                    <a:pt x="785" y="1161"/>
                  </a:lnTo>
                  <a:lnTo>
                    <a:pt x="785" y="1166"/>
                  </a:lnTo>
                  <a:lnTo>
                    <a:pt x="785" y="1166"/>
                  </a:lnTo>
                  <a:lnTo>
                    <a:pt x="785" y="1166"/>
                  </a:lnTo>
                  <a:lnTo>
                    <a:pt x="785" y="1166"/>
                  </a:lnTo>
                  <a:lnTo>
                    <a:pt x="789" y="1166"/>
                  </a:lnTo>
                  <a:lnTo>
                    <a:pt x="789" y="1166"/>
                  </a:lnTo>
                  <a:lnTo>
                    <a:pt x="789" y="1170"/>
                  </a:lnTo>
                  <a:lnTo>
                    <a:pt x="789" y="1170"/>
                  </a:lnTo>
                  <a:lnTo>
                    <a:pt x="789" y="1170"/>
                  </a:lnTo>
                  <a:lnTo>
                    <a:pt x="789" y="1179"/>
                  </a:lnTo>
                  <a:moveTo>
                    <a:pt x="1180" y="1084"/>
                  </a:moveTo>
                  <a:lnTo>
                    <a:pt x="1180" y="1084"/>
                  </a:lnTo>
                  <a:lnTo>
                    <a:pt x="1180" y="1084"/>
                  </a:lnTo>
                  <a:lnTo>
                    <a:pt x="1180" y="1084"/>
                  </a:lnTo>
                  <a:lnTo>
                    <a:pt x="1180" y="1084"/>
                  </a:lnTo>
                  <a:lnTo>
                    <a:pt x="1180" y="1084"/>
                  </a:lnTo>
                  <a:lnTo>
                    <a:pt x="1175" y="1084"/>
                  </a:lnTo>
                  <a:lnTo>
                    <a:pt x="1175" y="1089"/>
                  </a:lnTo>
                  <a:lnTo>
                    <a:pt x="1171" y="1089"/>
                  </a:lnTo>
                  <a:lnTo>
                    <a:pt x="1171" y="1089"/>
                  </a:lnTo>
                  <a:lnTo>
                    <a:pt x="1171" y="1089"/>
                  </a:lnTo>
                  <a:lnTo>
                    <a:pt x="1171" y="1089"/>
                  </a:lnTo>
                  <a:lnTo>
                    <a:pt x="1171" y="1089"/>
                  </a:lnTo>
                  <a:lnTo>
                    <a:pt x="1166" y="1084"/>
                  </a:lnTo>
                  <a:lnTo>
                    <a:pt x="1166" y="1084"/>
                  </a:lnTo>
                  <a:lnTo>
                    <a:pt x="1166" y="1080"/>
                  </a:lnTo>
                  <a:lnTo>
                    <a:pt x="1166" y="1080"/>
                  </a:lnTo>
                  <a:lnTo>
                    <a:pt x="1166" y="1084"/>
                  </a:lnTo>
                  <a:lnTo>
                    <a:pt x="1166" y="1084"/>
                  </a:lnTo>
                  <a:lnTo>
                    <a:pt x="1171" y="1084"/>
                  </a:lnTo>
                  <a:lnTo>
                    <a:pt x="1171" y="1084"/>
                  </a:lnTo>
                  <a:lnTo>
                    <a:pt x="1171" y="1084"/>
                  </a:lnTo>
                  <a:lnTo>
                    <a:pt x="1171" y="1080"/>
                  </a:lnTo>
                  <a:lnTo>
                    <a:pt x="1171" y="1080"/>
                  </a:lnTo>
                  <a:lnTo>
                    <a:pt x="1175" y="1080"/>
                  </a:lnTo>
                  <a:lnTo>
                    <a:pt x="1175" y="1080"/>
                  </a:lnTo>
                  <a:lnTo>
                    <a:pt x="1175" y="1084"/>
                  </a:lnTo>
                  <a:lnTo>
                    <a:pt x="1175" y="1084"/>
                  </a:lnTo>
                  <a:lnTo>
                    <a:pt x="1175" y="1084"/>
                  </a:lnTo>
                  <a:lnTo>
                    <a:pt x="1180" y="1084"/>
                  </a:lnTo>
                  <a:lnTo>
                    <a:pt x="1180" y="1080"/>
                  </a:lnTo>
                  <a:lnTo>
                    <a:pt x="1180" y="1080"/>
                  </a:lnTo>
                  <a:lnTo>
                    <a:pt x="1180" y="1080"/>
                  </a:lnTo>
                  <a:lnTo>
                    <a:pt x="1180" y="1084"/>
                  </a:lnTo>
                  <a:moveTo>
                    <a:pt x="1329" y="971"/>
                  </a:moveTo>
                  <a:lnTo>
                    <a:pt x="1329" y="971"/>
                  </a:lnTo>
                  <a:lnTo>
                    <a:pt x="1329" y="971"/>
                  </a:lnTo>
                  <a:lnTo>
                    <a:pt x="1329" y="971"/>
                  </a:lnTo>
                  <a:lnTo>
                    <a:pt x="1329" y="966"/>
                  </a:lnTo>
                  <a:lnTo>
                    <a:pt x="1334" y="971"/>
                  </a:lnTo>
                  <a:lnTo>
                    <a:pt x="1338" y="966"/>
                  </a:lnTo>
                  <a:lnTo>
                    <a:pt x="1343" y="966"/>
                  </a:lnTo>
                  <a:lnTo>
                    <a:pt x="1343" y="971"/>
                  </a:lnTo>
                  <a:lnTo>
                    <a:pt x="1343" y="975"/>
                  </a:lnTo>
                  <a:lnTo>
                    <a:pt x="1338" y="980"/>
                  </a:lnTo>
                  <a:lnTo>
                    <a:pt x="1334" y="984"/>
                  </a:lnTo>
                  <a:lnTo>
                    <a:pt x="1334" y="989"/>
                  </a:lnTo>
                  <a:lnTo>
                    <a:pt x="1334" y="989"/>
                  </a:lnTo>
                  <a:lnTo>
                    <a:pt x="1320" y="998"/>
                  </a:lnTo>
                  <a:lnTo>
                    <a:pt x="1311" y="1003"/>
                  </a:lnTo>
                  <a:lnTo>
                    <a:pt x="1307" y="1003"/>
                  </a:lnTo>
                  <a:lnTo>
                    <a:pt x="1307" y="1003"/>
                  </a:lnTo>
                  <a:lnTo>
                    <a:pt x="1307" y="1003"/>
                  </a:lnTo>
                  <a:lnTo>
                    <a:pt x="1307" y="1003"/>
                  </a:lnTo>
                  <a:lnTo>
                    <a:pt x="1307" y="998"/>
                  </a:lnTo>
                  <a:lnTo>
                    <a:pt x="1307" y="998"/>
                  </a:lnTo>
                  <a:lnTo>
                    <a:pt x="1307" y="998"/>
                  </a:lnTo>
                  <a:lnTo>
                    <a:pt x="1311" y="998"/>
                  </a:lnTo>
                  <a:lnTo>
                    <a:pt x="1311" y="998"/>
                  </a:lnTo>
                  <a:lnTo>
                    <a:pt x="1311" y="993"/>
                  </a:lnTo>
                  <a:lnTo>
                    <a:pt x="1311" y="989"/>
                  </a:lnTo>
                  <a:lnTo>
                    <a:pt x="1316" y="989"/>
                  </a:lnTo>
                  <a:lnTo>
                    <a:pt x="1316" y="984"/>
                  </a:lnTo>
                  <a:lnTo>
                    <a:pt x="1320" y="980"/>
                  </a:lnTo>
                  <a:lnTo>
                    <a:pt x="1316" y="975"/>
                  </a:lnTo>
                  <a:lnTo>
                    <a:pt x="1307" y="980"/>
                  </a:lnTo>
                  <a:lnTo>
                    <a:pt x="1307" y="975"/>
                  </a:lnTo>
                  <a:lnTo>
                    <a:pt x="1307" y="971"/>
                  </a:lnTo>
                  <a:lnTo>
                    <a:pt x="1307" y="971"/>
                  </a:lnTo>
                  <a:lnTo>
                    <a:pt x="1307" y="966"/>
                  </a:lnTo>
                  <a:lnTo>
                    <a:pt x="1311" y="966"/>
                  </a:lnTo>
                  <a:lnTo>
                    <a:pt x="1316" y="957"/>
                  </a:lnTo>
                  <a:lnTo>
                    <a:pt x="1316" y="957"/>
                  </a:lnTo>
                  <a:lnTo>
                    <a:pt x="1316" y="953"/>
                  </a:lnTo>
                  <a:lnTo>
                    <a:pt x="1320" y="953"/>
                  </a:lnTo>
                  <a:lnTo>
                    <a:pt x="1320" y="953"/>
                  </a:lnTo>
                  <a:lnTo>
                    <a:pt x="1325" y="948"/>
                  </a:lnTo>
                  <a:lnTo>
                    <a:pt x="1329" y="944"/>
                  </a:lnTo>
                  <a:lnTo>
                    <a:pt x="1334" y="939"/>
                  </a:lnTo>
                  <a:lnTo>
                    <a:pt x="1334" y="934"/>
                  </a:lnTo>
                  <a:lnTo>
                    <a:pt x="1334" y="934"/>
                  </a:lnTo>
                  <a:lnTo>
                    <a:pt x="1338" y="934"/>
                  </a:lnTo>
                  <a:lnTo>
                    <a:pt x="1338" y="934"/>
                  </a:lnTo>
                  <a:lnTo>
                    <a:pt x="1338" y="939"/>
                  </a:lnTo>
                  <a:lnTo>
                    <a:pt x="1334" y="948"/>
                  </a:lnTo>
                  <a:lnTo>
                    <a:pt x="1334" y="953"/>
                  </a:lnTo>
                  <a:lnTo>
                    <a:pt x="1329" y="966"/>
                  </a:lnTo>
                  <a:lnTo>
                    <a:pt x="1329" y="966"/>
                  </a:lnTo>
                  <a:lnTo>
                    <a:pt x="1329" y="971"/>
                  </a:lnTo>
                  <a:moveTo>
                    <a:pt x="1429" y="526"/>
                  </a:moveTo>
                  <a:lnTo>
                    <a:pt x="1429" y="526"/>
                  </a:lnTo>
                  <a:lnTo>
                    <a:pt x="1425" y="526"/>
                  </a:lnTo>
                  <a:lnTo>
                    <a:pt x="1425" y="526"/>
                  </a:lnTo>
                  <a:lnTo>
                    <a:pt x="1425" y="526"/>
                  </a:lnTo>
                  <a:lnTo>
                    <a:pt x="1425" y="522"/>
                  </a:lnTo>
                  <a:lnTo>
                    <a:pt x="1425" y="522"/>
                  </a:lnTo>
                  <a:lnTo>
                    <a:pt x="1425" y="522"/>
                  </a:lnTo>
                  <a:lnTo>
                    <a:pt x="1425" y="522"/>
                  </a:lnTo>
                  <a:lnTo>
                    <a:pt x="1429" y="522"/>
                  </a:lnTo>
                  <a:lnTo>
                    <a:pt x="1429" y="522"/>
                  </a:lnTo>
                  <a:lnTo>
                    <a:pt x="1429" y="526"/>
                  </a:lnTo>
                  <a:lnTo>
                    <a:pt x="1429" y="526"/>
                  </a:lnTo>
                  <a:moveTo>
                    <a:pt x="1615" y="544"/>
                  </a:moveTo>
                  <a:lnTo>
                    <a:pt x="1615" y="544"/>
                  </a:lnTo>
                  <a:lnTo>
                    <a:pt x="1620" y="544"/>
                  </a:lnTo>
                  <a:lnTo>
                    <a:pt x="1624" y="544"/>
                  </a:lnTo>
                  <a:lnTo>
                    <a:pt x="1629" y="544"/>
                  </a:lnTo>
                  <a:lnTo>
                    <a:pt x="1629" y="540"/>
                  </a:lnTo>
                  <a:lnTo>
                    <a:pt x="1633" y="540"/>
                  </a:lnTo>
                  <a:lnTo>
                    <a:pt x="1633" y="535"/>
                  </a:lnTo>
                  <a:lnTo>
                    <a:pt x="1633" y="535"/>
                  </a:lnTo>
                  <a:lnTo>
                    <a:pt x="1633" y="540"/>
                  </a:lnTo>
                  <a:lnTo>
                    <a:pt x="1633" y="540"/>
                  </a:lnTo>
                  <a:lnTo>
                    <a:pt x="1633" y="544"/>
                  </a:lnTo>
                  <a:lnTo>
                    <a:pt x="1633" y="544"/>
                  </a:lnTo>
                  <a:lnTo>
                    <a:pt x="1633" y="544"/>
                  </a:lnTo>
                  <a:lnTo>
                    <a:pt x="1633" y="549"/>
                  </a:lnTo>
                  <a:lnTo>
                    <a:pt x="1633" y="558"/>
                  </a:lnTo>
                  <a:lnTo>
                    <a:pt x="1629" y="563"/>
                  </a:lnTo>
                  <a:lnTo>
                    <a:pt x="1629" y="563"/>
                  </a:lnTo>
                  <a:lnTo>
                    <a:pt x="1629" y="572"/>
                  </a:lnTo>
                  <a:lnTo>
                    <a:pt x="1629" y="572"/>
                  </a:lnTo>
                  <a:lnTo>
                    <a:pt x="1629" y="572"/>
                  </a:lnTo>
                  <a:lnTo>
                    <a:pt x="1629" y="576"/>
                  </a:lnTo>
                  <a:lnTo>
                    <a:pt x="1629" y="576"/>
                  </a:lnTo>
                  <a:lnTo>
                    <a:pt x="1629" y="581"/>
                  </a:lnTo>
                  <a:lnTo>
                    <a:pt x="1629" y="594"/>
                  </a:lnTo>
                  <a:lnTo>
                    <a:pt x="1629" y="599"/>
                  </a:lnTo>
                  <a:lnTo>
                    <a:pt x="1629" y="603"/>
                  </a:lnTo>
                  <a:lnTo>
                    <a:pt x="1633" y="626"/>
                  </a:lnTo>
                  <a:lnTo>
                    <a:pt x="1638" y="644"/>
                  </a:lnTo>
                  <a:lnTo>
                    <a:pt x="1638" y="644"/>
                  </a:lnTo>
                  <a:lnTo>
                    <a:pt x="1638" y="649"/>
                  </a:lnTo>
                  <a:lnTo>
                    <a:pt x="1642" y="653"/>
                  </a:lnTo>
                  <a:lnTo>
                    <a:pt x="1642" y="653"/>
                  </a:lnTo>
                  <a:lnTo>
                    <a:pt x="1647" y="649"/>
                  </a:lnTo>
                  <a:lnTo>
                    <a:pt x="1647" y="649"/>
                  </a:lnTo>
                  <a:lnTo>
                    <a:pt x="1647" y="649"/>
                  </a:lnTo>
                  <a:lnTo>
                    <a:pt x="1651" y="653"/>
                  </a:lnTo>
                  <a:lnTo>
                    <a:pt x="1660" y="662"/>
                  </a:lnTo>
                  <a:lnTo>
                    <a:pt x="1660" y="667"/>
                  </a:lnTo>
                  <a:lnTo>
                    <a:pt x="1660" y="667"/>
                  </a:lnTo>
                  <a:lnTo>
                    <a:pt x="1665" y="667"/>
                  </a:lnTo>
                  <a:lnTo>
                    <a:pt x="1665" y="671"/>
                  </a:lnTo>
                  <a:lnTo>
                    <a:pt x="1665" y="671"/>
                  </a:lnTo>
                  <a:lnTo>
                    <a:pt x="1670" y="676"/>
                  </a:lnTo>
                  <a:lnTo>
                    <a:pt x="1670" y="676"/>
                  </a:lnTo>
                  <a:lnTo>
                    <a:pt x="1670" y="676"/>
                  </a:lnTo>
                  <a:lnTo>
                    <a:pt x="1670" y="680"/>
                  </a:lnTo>
                  <a:lnTo>
                    <a:pt x="1670" y="680"/>
                  </a:lnTo>
                  <a:lnTo>
                    <a:pt x="1674" y="685"/>
                  </a:lnTo>
                  <a:lnTo>
                    <a:pt x="1674" y="690"/>
                  </a:lnTo>
                  <a:lnTo>
                    <a:pt x="1674" y="690"/>
                  </a:lnTo>
                  <a:lnTo>
                    <a:pt x="1674" y="690"/>
                  </a:lnTo>
                  <a:lnTo>
                    <a:pt x="1674" y="694"/>
                  </a:lnTo>
                  <a:lnTo>
                    <a:pt x="1670" y="694"/>
                  </a:lnTo>
                  <a:lnTo>
                    <a:pt x="1674" y="694"/>
                  </a:lnTo>
                  <a:lnTo>
                    <a:pt x="1674" y="694"/>
                  </a:lnTo>
                  <a:lnTo>
                    <a:pt x="1674" y="699"/>
                  </a:lnTo>
                  <a:lnTo>
                    <a:pt x="1679" y="699"/>
                  </a:lnTo>
                  <a:lnTo>
                    <a:pt x="1679" y="699"/>
                  </a:lnTo>
                  <a:lnTo>
                    <a:pt x="1679" y="703"/>
                  </a:lnTo>
                  <a:lnTo>
                    <a:pt x="1674" y="703"/>
                  </a:lnTo>
                  <a:lnTo>
                    <a:pt x="1674" y="708"/>
                  </a:lnTo>
                  <a:lnTo>
                    <a:pt x="1674" y="708"/>
                  </a:lnTo>
                  <a:lnTo>
                    <a:pt x="1679" y="712"/>
                  </a:lnTo>
                  <a:lnTo>
                    <a:pt x="1683" y="717"/>
                  </a:lnTo>
                  <a:lnTo>
                    <a:pt x="1683" y="717"/>
                  </a:lnTo>
                  <a:lnTo>
                    <a:pt x="1688" y="717"/>
                  </a:lnTo>
                  <a:lnTo>
                    <a:pt x="1688" y="717"/>
                  </a:lnTo>
                  <a:lnTo>
                    <a:pt x="1688" y="721"/>
                  </a:lnTo>
                  <a:lnTo>
                    <a:pt x="1688" y="721"/>
                  </a:lnTo>
                  <a:lnTo>
                    <a:pt x="1688" y="726"/>
                  </a:lnTo>
                  <a:lnTo>
                    <a:pt x="1688" y="726"/>
                  </a:lnTo>
                  <a:lnTo>
                    <a:pt x="1688" y="726"/>
                  </a:lnTo>
                  <a:lnTo>
                    <a:pt x="1688" y="726"/>
                  </a:lnTo>
                  <a:lnTo>
                    <a:pt x="1688" y="730"/>
                  </a:lnTo>
                  <a:lnTo>
                    <a:pt x="1688" y="730"/>
                  </a:lnTo>
                  <a:lnTo>
                    <a:pt x="1688" y="730"/>
                  </a:lnTo>
                  <a:lnTo>
                    <a:pt x="1688" y="735"/>
                  </a:lnTo>
                  <a:lnTo>
                    <a:pt x="1688" y="739"/>
                  </a:lnTo>
                  <a:lnTo>
                    <a:pt x="1688" y="739"/>
                  </a:lnTo>
                  <a:lnTo>
                    <a:pt x="1692" y="749"/>
                  </a:lnTo>
                  <a:lnTo>
                    <a:pt x="1692" y="749"/>
                  </a:lnTo>
                  <a:lnTo>
                    <a:pt x="1692" y="749"/>
                  </a:lnTo>
                  <a:lnTo>
                    <a:pt x="1692" y="749"/>
                  </a:lnTo>
                  <a:lnTo>
                    <a:pt x="1692" y="749"/>
                  </a:lnTo>
                  <a:lnTo>
                    <a:pt x="1692" y="753"/>
                  </a:lnTo>
                  <a:lnTo>
                    <a:pt x="1692" y="753"/>
                  </a:lnTo>
                  <a:lnTo>
                    <a:pt x="1692" y="753"/>
                  </a:lnTo>
                  <a:lnTo>
                    <a:pt x="1692" y="758"/>
                  </a:lnTo>
                  <a:lnTo>
                    <a:pt x="1692" y="762"/>
                  </a:lnTo>
                  <a:lnTo>
                    <a:pt x="1692" y="762"/>
                  </a:lnTo>
                  <a:lnTo>
                    <a:pt x="1688" y="767"/>
                  </a:lnTo>
                  <a:lnTo>
                    <a:pt x="1688" y="767"/>
                  </a:lnTo>
                  <a:lnTo>
                    <a:pt x="1688" y="771"/>
                  </a:lnTo>
                  <a:lnTo>
                    <a:pt x="1692" y="767"/>
                  </a:lnTo>
                  <a:lnTo>
                    <a:pt x="1697" y="767"/>
                  </a:lnTo>
                  <a:lnTo>
                    <a:pt x="1697" y="767"/>
                  </a:lnTo>
                  <a:lnTo>
                    <a:pt x="1697" y="767"/>
                  </a:lnTo>
                  <a:lnTo>
                    <a:pt x="1697" y="767"/>
                  </a:lnTo>
                  <a:lnTo>
                    <a:pt x="1697" y="767"/>
                  </a:lnTo>
                  <a:lnTo>
                    <a:pt x="1697" y="771"/>
                  </a:lnTo>
                  <a:lnTo>
                    <a:pt x="1697" y="771"/>
                  </a:lnTo>
                  <a:lnTo>
                    <a:pt x="1697" y="776"/>
                  </a:lnTo>
                  <a:lnTo>
                    <a:pt x="1701" y="776"/>
                  </a:lnTo>
                  <a:lnTo>
                    <a:pt x="1701" y="776"/>
                  </a:lnTo>
                  <a:lnTo>
                    <a:pt x="1701" y="776"/>
                  </a:lnTo>
                  <a:lnTo>
                    <a:pt x="1701" y="776"/>
                  </a:lnTo>
                  <a:lnTo>
                    <a:pt x="1701" y="776"/>
                  </a:lnTo>
                  <a:lnTo>
                    <a:pt x="1697" y="780"/>
                  </a:lnTo>
                  <a:lnTo>
                    <a:pt x="1697" y="780"/>
                  </a:lnTo>
                  <a:lnTo>
                    <a:pt x="1697" y="780"/>
                  </a:lnTo>
                  <a:lnTo>
                    <a:pt x="1692" y="785"/>
                  </a:lnTo>
                  <a:lnTo>
                    <a:pt x="1692" y="785"/>
                  </a:lnTo>
                  <a:lnTo>
                    <a:pt x="1688" y="785"/>
                  </a:lnTo>
                  <a:lnTo>
                    <a:pt x="1688" y="789"/>
                  </a:lnTo>
                  <a:lnTo>
                    <a:pt x="1692" y="789"/>
                  </a:lnTo>
                  <a:lnTo>
                    <a:pt x="1692" y="789"/>
                  </a:lnTo>
                  <a:lnTo>
                    <a:pt x="1697" y="789"/>
                  </a:lnTo>
                  <a:lnTo>
                    <a:pt x="1697" y="785"/>
                  </a:lnTo>
                  <a:lnTo>
                    <a:pt x="1697" y="785"/>
                  </a:lnTo>
                  <a:lnTo>
                    <a:pt x="1697" y="785"/>
                  </a:lnTo>
                  <a:lnTo>
                    <a:pt x="1697" y="785"/>
                  </a:lnTo>
                  <a:lnTo>
                    <a:pt x="1697" y="789"/>
                  </a:lnTo>
                  <a:lnTo>
                    <a:pt x="1697" y="789"/>
                  </a:lnTo>
                  <a:lnTo>
                    <a:pt x="1697" y="789"/>
                  </a:lnTo>
                  <a:lnTo>
                    <a:pt x="1697" y="794"/>
                  </a:lnTo>
                  <a:lnTo>
                    <a:pt x="1697" y="794"/>
                  </a:lnTo>
                  <a:lnTo>
                    <a:pt x="1692" y="794"/>
                  </a:lnTo>
                  <a:lnTo>
                    <a:pt x="1692" y="794"/>
                  </a:lnTo>
                  <a:lnTo>
                    <a:pt x="1692" y="794"/>
                  </a:lnTo>
                  <a:lnTo>
                    <a:pt x="1692" y="794"/>
                  </a:lnTo>
                  <a:lnTo>
                    <a:pt x="1692" y="794"/>
                  </a:lnTo>
                  <a:lnTo>
                    <a:pt x="1688" y="798"/>
                  </a:lnTo>
                  <a:lnTo>
                    <a:pt x="1688" y="798"/>
                  </a:lnTo>
                  <a:lnTo>
                    <a:pt x="1688" y="798"/>
                  </a:lnTo>
                  <a:lnTo>
                    <a:pt x="1688" y="798"/>
                  </a:lnTo>
                  <a:lnTo>
                    <a:pt x="1688" y="803"/>
                  </a:lnTo>
                  <a:lnTo>
                    <a:pt x="1683" y="803"/>
                  </a:lnTo>
                  <a:lnTo>
                    <a:pt x="1688" y="807"/>
                  </a:lnTo>
                  <a:lnTo>
                    <a:pt x="1688" y="803"/>
                  </a:lnTo>
                  <a:lnTo>
                    <a:pt x="1692" y="803"/>
                  </a:lnTo>
                  <a:lnTo>
                    <a:pt x="1692" y="803"/>
                  </a:lnTo>
                  <a:lnTo>
                    <a:pt x="1692" y="803"/>
                  </a:lnTo>
                  <a:lnTo>
                    <a:pt x="1688" y="807"/>
                  </a:lnTo>
                  <a:lnTo>
                    <a:pt x="1683" y="807"/>
                  </a:lnTo>
                  <a:lnTo>
                    <a:pt x="1688" y="812"/>
                  </a:lnTo>
                  <a:lnTo>
                    <a:pt x="1688" y="812"/>
                  </a:lnTo>
                  <a:lnTo>
                    <a:pt x="1688" y="812"/>
                  </a:lnTo>
                  <a:lnTo>
                    <a:pt x="1688" y="812"/>
                  </a:lnTo>
                  <a:lnTo>
                    <a:pt x="1683" y="812"/>
                  </a:lnTo>
                  <a:lnTo>
                    <a:pt x="1683" y="812"/>
                  </a:lnTo>
                  <a:lnTo>
                    <a:pt x="1683" y="812"/>
                  </a:lnTo>
                  <a:lnTo>
                    <a:pt x="1683" y="817"/>
                  </a:lnTo>
                  <a:lnTo>
                    <a:pt x="1688" y="817"/>
                  </a:lnTo>
                  <a:lnTo>
                    <a:pt x="1688" y="817"/>
                  </a:lnTo>
                  <a:lnTo>
                    <a:pt x="1688" y="817"/>
                  </a:lnTo>
                  <a:lnTo>
                    <a:pt x="1688" y="817"/>
                  </a:lnTo>
                  <a:lnTo>
                    <a:pt x="1688" y="821"/>
                  </a:lnTo>
                  <a:lnTo>
                    <a:pt x="1683" y="821"/>
                  </a:lnTo>
                  <a:lnTo>
                    <a:pt x="1683" y="821"/>
                  </a:lnTo>
                  <a:lnTo>
                    <a:pt x="1683" y="821"/>
                  </a:lnTo>
                  <a:lnTo>
                    <a:pt x="1683" y="826"/>
                  </a:lnTo>
                  <a:lnTo>
                    <a:pt x="1688" y="821"/>
                  </a:lnTo>
                  <a:lnTo>
                    <a:pt x="1683" y="826"/>
                  </a:lnTo>
                  <a:lnTo>
                    <a:pt x="1683" y="826"/>
                  </a:lnTo>
                  <a:lnTo>
                    <a:pt x="1679" y="826"/>
                  </a:lnTo>
                  <a:lnTo>
                    <a:pt x="1679" y="830"/>
                  </a:lnTo>
                  <a:lnTo>
                    <a:pt x="1679" y="830"/>
                  </a:lnTo>
                  <a:lnTo>
                    <a:pt x="1683" y="835"/>
                  </a:lnTo>
                  <a:lnTo>
                    <a:pt x="1683" y="835"/>
                  </a:lnTo>
                  <a:lnTo>
                    <a:pt x="1683" y="835"/>
                  </a:lnTo>
                  <a:lnTo>
                    <a:pt x="1679" y="835"/>
                  </a:lnTo>
                  <a:lnTo>
                    <a:pt x="1674" y="835"/>
                  </a:lnTo>
                  <a:lnTo>
                    <a:pt x="1679" y="839"/>
                  </a:lnTo>
                  <a:lnTo>
                    <a:pt x="1683" y="839"/>
                  </a:lnTo>
                  <a:lnTo>
                    <a:pt x="1679" y="839"/>
                  </a:lnTo>
                  <a:lnTo>
                    <a:pt x="1679" y="839"/>
                  </a:lnTo>
                  <a:lnTo>
                    <a:pt x="1679" y="839"/>
                  </a:lnTo>
                  <a:lnTo>
                    <a:pt x="1674" y="839"/>
                  </a:lnTo>
                  <a:lnTo>
                    <a:pt x="1674" y="839"/>
                  </a:lnTo>
                  <a:lnTo>
                    <a:pt x="1679" y="844"/>
                  </a:lnTo>
                  <a:lnTo>
                    <a:pt x="1679" y="844"/>
                  </a:lnTo>
                  <a:lnTo>
                    <a:pt x="1679" y="844"/>
                  </a:lnTo>
                  <a:lnTo>
                    <a:pt x="1679" y="844"/>
                  </a:lnTo>
                  <a:lnTo>
                    <a:pt x="1674" y="844"/>
                  </a:lnTo>
                  <a:lnTo>
                    <a:pt x="1670" y="844"/>
                  </a:lnTo>
                  <a:lnTo>
                    <a:pt x="1670" y="844"/>
                  </a:lnTo>
                  <a:lnTo>
                    <a:pt x="1665" y="844"/>
                  </a:lnTo>
                  <a:lnTo>
                    <a:pt x="1665" y="844"/>
                  </a:lnTo>
                  <a:lnTo>
                    <a:pt x="1665" y="848"/>
                  </a:lnTo>
                  <a:lnTo>
                    <a:pt x="1670" y="848"/>
                  </a:lnTo>
                  <a:lnTo>
                    <a:pt x="1670" y="848"/>
                  </a:lnTo>
                  <a:lnTo>
                    <a:pt x="1670" y="848"/>
                  </a:lnTo>
                  <a:lnTo>
                    <a:pt x="1665" y="848"/>
                  </a:lnTo>
                  <a:lnTo>
                    <a:pt x="1665" y="853"/>
                  </a:lnTo>
                  <a:lnTo>
                    <a:pt x="1665" y="853"/>
                  </a:lnTo>
                  <a:lnTo>
                    <a:pt x="1665" y="853"/>
                  </a:lnTo>
                  <a:lnTo>
                    <a:pt x="1665" y="853"/>
                  </a:lnTo>
                  <a:lnTo>
                    <a:pt x="1665" y="853"/>
                  </a:lnTo>
                  <a:lnTo>
                    <a:pt x="1665" y="853"/>
                  </a:lnTo>
                  <a:lnTo>
                    <a:pt x="1665" y="853"/>
                  </a:lnTo>
                  <a:lnTo>
                    <a:pt x="1660" y="853"/>
                  </a:lnTo>
                  <a:lnTo>
                    <a:pt x="1660" y="848"/>
                  </a:lnTo>
                  <a:lnTo>
                    <a:pt x="1660" y="848"/>
                  </a:lnTo>
                  <a:lnTo>
                    <a:pt x="1665" y="848"/>
                  </a:lnTo>
                  <a:lnTo>
                    <a:pt x="1660" y="848"/>
                  </a:lnTo>
                  <a:lnTo>
                    <a:pt x="1656" y="848"/>
                  </a:lnTo>
                  <a:lnTo>
                    <a:pt x="1660" y="857"/>
                  </a:lnTo>
                  <a:lnTo>
                    <a:pt x="1660" y="866"/>
                  </a:lnTo>
                  <a:lnTo>
                    <a:pt x="1660" y="866"/>
                  </a:lnTo>
                  <a:lnTo>
                    <a:pt x="1660" y="866"/>
                  </a:lnTo>
                  <a:lnTo>
                    <a:pt x="1660" y="866"/>
                  </a:lnTo>
                  <a:lnTo>
                    <a:pt x="1660" y="862"/>
                  </a:lnTo>
                  <a:lnTo>
                    <a:pt x="1656" y="862"/>
                  </a:lnTo>
                  <a:lnTo>
                    <a:pt x="1656" y="862"/>
                  </a:lnTo>
                  <a:lnTo>
                    <a:pt x="1656" y="862"/>
                  </a:lnTo>
                  <a:lnTo>
                    <a:pt x="1656" y="862"/>
                  </a:lnTo>
                  <a:lnTo>
                    <a:pt x="1656" y="862"/>
                  </a:lnTo>
                  <a:lnTo>
                    <a:pt x="1651" y="862"/>
                  </a:lnTo>
                  <a:lnTo>
                    <a:pt x="1651" y="862"/>
                  </a:lnTo>
                  <a:lnTo>
                    <a:pt x="1651" y="866"/>
                  </a:lnTo>
                  <a:lnTo>
                    <a:pt x="1651" y="866"/>
                  </a:lnTo>
                  <a:lnTo>
                    <a:pt x="1651" y="871"/>
                  </a:lnTo>
                  <a:lnTo>
                    <a:pt x="1651" y="871"/>
                  </a:lnTo>
                  <a:lnTo>
                    <a:pt x="1651" y="871"/>
                  </a:lnTo>
                  <a:lnTo>
                    <a:pt x="1651" y="876"/>
                  </a:lnTo>
                  <a:lnTo>
                    <a:pt x="1647" y="876"/>
                  </a:lnTo>
                  <a:lnTo>
                    <a:pt x="1647" y="880"/>
                  </a:lnTo>
                  <a:lnTo>
                    <a:pt x="1647" y="880"/>
                  </a:lnTo>
                  <a:lnTo>
                    <a:pt x="1647" y="880"/>
                  </a:lnTo>
                  <a:lnTo>
                    <a:pt x="1647" y="880"/>
                  </a:lnTo>
                  <a:lnTo>
                    <a:pt x="1651" y="885"/>
                  </a:lnTo>
                  <a:lnTo>
                    <a:pt x="1651" y="885"/>
                  </a:lnTo>
                  <a:lnTo>
                    <a:pt x="1651" y="885"/>
                  </a:lnTo>
                  <a:lnTo>
                    <a:pt x="1651" y="889"/>
                  </a:lnTo>
                  <a:lnTo>
                    <a:pt x="1651" y="885"/>
                  </a:lnTo>
                  <a:lnTo>
                    <a:pt x="1647" y="885"/>
                  </a:lnTo>
                  <a:lnTo>
                    <a:pt x="1647" y="885"/>
                  </a:lnTo>
                  <a:lnTo>
                    <a:pt x="1647" y="885"/>
                  </a:lnTo>
                  <a:lnTo>
                    <a:pt x="1647" y="889"/>
                  </a:lnTo>
                  <a:lnTo>
                    <a:pt x="1647" y="889"/>
                  </a:lnTo>
                  <a:lnTo>
                    <a:pt x="1642" y="889"/>
                  </a:lnTo>
                  <a:lnTo>
                    <a:pt x="1642" y="889"/>
                  </a:lnTo>
                  <a:lnTo>
                    <a:pt x="1642" y="894"/>
                  </a:lnTo>
                  <a:lnTo>
                    <a:pt x="1642" y="894"/>
                  </a:lnTo>
                  <a:lnTo>
                    <a:pt x="1642" y="894"/>
                  </a:lnTo>
                  <a:lnTo>
                    <a:pt x="1642" y="894"/>
                  </a:lnTo>
                  <a:lnTo>
                    <a:pt x="1647" y="894"/>
                  </a:lnTo>
                  <a:lnTo>
                    <a:pt x="1647" y="894"/>
                  </a:lnTo>
                  <a:lnTo>
                    <a:pt x="1647" y="898"/>
                  </a:lnTo>
                  <a:lnTo>
                    <a:pt x="1647" y="898"/>
                  </a:lnTo>
                  <a:lnTo>
                    <a:pt x="1647" y="898"/>
                  </a:lnTo>
                  <a:lnTo>
                    <a:pt x="1642" y="903"/>
                  </a:lnTo>
                  <a:lnTo>
                    <a:pt x="1642" y="907"/>
                  </a:lnTo>
                  <a:lnTo>
                    <a:pt x="1642" y="907"/>
                  </a:lnTo>
                  <a:lnTo>
                    <a:pt x="1647" y="907"/>
                  </a:lnTo>
                  <a:lnTo>
                    <a:pt x="1647" y="907"/>
                  </a:lnTo>
                  <a:lnTo>
                    <a:pt x="1647" y="907"/>
                  </a:lnTo>
                  <a:lnTo>
                    <a:pt x="1651" y="912"/>
                  </a:lnTo>
                  <a:lnTo>
                    <a:pt x="1651" y="912"/>
                  </a:lnTo>
                  <a:lnTo>
                    <a:pt x="1647" y="916"/>
                  </a:lnTo>
                  <a:lnTo>
                    <a:pt x="1647" y="916"/>
                  </a:lnTo>
                  <a:lnTo>
                    <a:pt x="1647" y="916"/>
                  </a:lnTo>
                  <a:lnTo>
                    <a:pt x="1647" y="912"/>
                  </a:lnTo>
                  <a:lnTo>
                    <a:pt x="1647" y="912"/>
                  </a:lnTo>
                  <a:lnTo>
                    <a:pt x="1642" y="916"/>
                  </a:lnTo>
                  <a:lnTo>
                    <a:pt x="1642" y="916"/>
                  </a:lnTo>
                  <a:lnTo>
                    <a:pt x="1642" y="916"/>
                  </a:lnTo>
                  <a:lnTo>
                    <a:pt x="1647" y="921"/>
                  </a:lnTo>
                  <a:lnTo>
                    <a:pt x="1647" y="921"/>
                  </a:lnTo>
                  <a:lnTo>
                    <a:pt x="1647" y="921"/>
                  </a:lnTo>
                  <a:lnTo>
                    <a:pt x="1642" y="921"/>
                  </a:lnTo>
                  <a:lnTo>
                    <a:pt x="1642" y="921"/>
                  </a:lnTo>
                  <a:lnTo>
                    <a:pt x="1642" y="921"/>
                  </a:lnTo>
                  <a:lnTo>
                    <a:pt x="1642" y="925"/>
                  </a:lnTo>
                  <a:lnTo>
                    <a:pt x="1642" y="925"/>
                  </a:lnTo>
                  <a:lnTo>
                    <a:pt x="1642" y="925"/>
                  </a:lnTo>
                  <a:lnTo>
                    <a:pt x="1642" y="925"/>
                  </a:lnTo>
                  <a:lnTo>
                    <a:pt x="1642" y="925"/>
                  </a:lnTo>
                  <a:lnTo>
                    <a:pt x="1647" y="925"/>
                  </a:lnTo>
                  <a:lnTo>
                    <a:pt x="1647" y="925"/>
                  </a:lnTo>
                  <a:lnTo>
                    <a:pt x="1651" y="925"/>
                  </a:lnTo>
                  <a:lnTo>
                    <a:pt x="1647" y="925"/>
                  </a:lnTo>
                  <a:lnTo>
                    <a:pt x="1647" y="925"/>
                  </a:lnTo>
                  <a:lnTo>
                    <a:pt x="1647" y="925"/>
                  </a:lnTo>
                  <a:lnTo>
                    <a:pt x="1647" y="930"/>
                  </a:lnTo>
                  <a:lnTo>
                    <a:pt x="1647" y="930"/>
                  </a:lnTo>
                  <a:lnTo>
                    <a:pt x="1647" y="934"/>
                  </a:lnTo>
                  <a:lnTo>
                    <a:pt x="1647" y="934"/>
                  </a:lnTo>
                  <a:lnTo>
                    <a:pt x="1651" y="939"/>
                  </a:lnTo>
                  <a:lnTo>
                    <a:pt x="1647" y="939"/>
                  </a:lnTo>
                  <a:lnTo>
                    <a:pt x="1647" y="944"/>
                  </a:lnTo>
                  <a:lnTo>
                    <a:pt x="1647" y="944"/>
                  </a:lnTo>
                  <a:lnTo>
                    <a:pt x="1642" y="939"/>
                  </a:lnTo>
                  <a:lnTo>
                    <a:pt x="1642" y="939"/>
                  </a:lnTo>
                  <a:lnTo>
                    <a:pt x="1642" y="939"/>
                  </a:lnTo>
                  <a:lnTo>
                    <a:pt x="1642" y="939"/>
                  </a:lnTo>
                  <a:lnTo>
                    <a:pt x="1642" y="939"/>
                  </a:lnTo>
                  <a:lnTo>
                    <a:pt x="1642" y="939"/>
                  </a:lnTo>
                  <a:lnTo>
                    <a:pt x="1642" y="934"/>
                  </a:lnTo>
                  <a:lnTo>
                    <a:pt x="1642" y="934"/>
                  </a:lnTo>
                  <a:lnTo>
                    <a:pt x="1642" y="934"/>
                  </a:lnTo>
                  <a:lnTo>
                    <a:pt x="1638" y="934"/>
                  </a:lnTo>
                  <a:lnTo>
                    <a:pt x="1638" y="934"/>
                  </a:lnTo>
                  <a:lnTo>
                    <a:pt x="1638" y="930"/>
                  </a:lnTo>
                  <a:lnTo>
                    <a:pt x="1638" y="930"/>
                  </a:lnTo>
                  <a:lnTo>
                    <a:pt x="1638" y="930"/>
                  </a:lnTo>
                  <a:lnTo>
                    <a:pt x="1633" y="930"/>
                  </a:lnTo>
                  <a:lnTo>
                    <a:pt x="1633" y="930"/>
                  </a:lnTo>
                  <a:lnTo>
                    <a:pt x="1633" y="930"/>
                  </a:lnTo>
                  <a:lnTo>
                    <a:pt x="1633" y="930"/>
                  </a:lnTo>
                  <a:lnTo>
                    <a:pt x="1629" y="925"/>
                  </a:lnTo>
                  <a:lnTo>
                    <a:pt x="1629" y="925"/>
                  </a:lnTo>
                  <a:lnTo>
                    <a:pt x="1624" y="925"/>
                  </a:lnTo>
                  <a:lnTo>
                    <a:pt x="1615" y="925"/>
                  </a:lnTo>
                  <a:lnTo>
                    <a:pt x="1615" y="930"/>
                  </a:lnTo>
                  <a:lnTo>
                    <a:pt x="1611" y="930"/>
                  </a:lnTo>
                  <a:lnTo>
                    <a:pt x="1611" y="934"/>
                  </a:lnTo>
                  <a:lnTo>
                    <a:pt x="1611" y="934"/>
                  </a:lnTo>
                  <a:lnTo>
                    <a:pt x="1611" y="934"/>
                  </a:lnTo>
                  <a:lnTo>
                    <a:pt x="1611" y="934"/>
                  </a:lnTo>
                  <a:lnTo>
                    <a:pt x="1611" y="934"/>
                  </a:lnTo>
                  <a:lnTo>
                    <a:pt x="1606" y="930"/>
                  </a:lnTo>
                  <a:lnTo>
                    <a:pt x="1606" y="930"/>
                  </a:lnTo>
                  <a:lnTo>
                    <a:pt x="1606" y="930"/>
                  </a:lnTo>
                  <a:lnTo>
                    <a:pt x="1606" y="930"/>
                  </a:lnTo>
                  <a:lnTo>
                    <a:pt x="1601" y="930"/>
                  </a:lnTo>
                  <a:lnTo>
                    <a:pt x="1601" y="930"/>
                  </a:lnTo>
                  <a:lnTo>
                    <a:pt x="1601" y="934"/>
                  </a:lnTo>
                  <a:lnTo>
                    <a:pt x="1597" y="934"/>
                  </a:lnTo>
                  <a:lnTo>
                    <a:pt x="1597" y="939"/>
                  </a:lnTo>
                  <a:lnTo>
                    <a:pt x="1597" y="939"/>
                  </a:lnTo>
                  <a:lnTo>
                    <a:pt x="1601" y="939"/>
                  </a:lnTo>
                  <a:lnTo>
                    <a:pt x="1601" y="939"/>
                  </a:lnTo>
                  <a:lnTo>
                    <a:pt x="1601" y="939"/>
                  </a:lnTo>
                  <a:lnTo>
                    <a:pt x="1601" y="939"/>
                  </a:lnTo>
                  <a:lnTo>
                    <a:pt x="1601" y="939"/>
                  </a:lnTo>
                  <a:lnTo>
                    <a:pt x="1601" y="944"/>
                  </a:lnTo>
                  <a:lnTo>
                    <a:pt x="1597" y="944"/>
                  </a:lnTo>
                  <a:lnTo>
                    <a:pt x="1597" y="948"/>
                  </a:lnTo>
                  <a:lnTo>
                    <a:pt x="1592" y="953"/>
                  </a:lnTo>
                  <a:lnTo>
                    <a:pt x="1588" y="957"/>
                  </a:lnTo>
                  <a:lnTo>
                    <a:pt x="1588" y="971"/>
                  </a:lnTo>
                  <a:lnTo>
                    <a:pt x="1583" y="975"/>
                  </a:lnTo>
                  <a:lnTo>
                    <a:pt x="1583" y="984"/>
                  </a:lnTo>
                  <a:lnTo>
                    <a:pt x="1588" y="993"/>
                  </a:lnTo>
                  <a:lnTo>
                    <a:pt x="1588" y="1003"/>
                  </a:lnTo>
                  <a:lnTo>
                    <a:pt x="1592" y="1007"/>
                  </a:lnTo>
                  <a:lnTo>
                    <a:pt x="1592" y="1007"/>
                  </a:lnTo>
                  <a:lnTo>
                    <a:pt x="1597" y="1012"/>
                  </a:lnTo>
                  <a:lnTo>
                    <a:pt x="1597" y="1012"/>
                  </a:lnTo>
                  <a:lnTo>
                    <a:pt x="1597" y="1012"/>
                  </a:lnTo>
                  <a:lnTo>
                    <a:pt x="1597" y="1016"/>
                  </a:lnTo>
                  <a:lnTo>
                    <a:pt x="1597" y="1016"/>
                  </a:lnTo>
                  <a:lnTo>
                    <a:pt x="1597" y="1021"/>
                  </a:lnTo>
                  <a:lnTo>
                    <a:pt x="1597" y="1021"/>
                  </a:lnTo>
                  <a:lnTo>
                    <a:pt x="1597" y="1021"/>
                  </a:lnTo>
                  <a:lnTo>
                    <a:pt x="1597" y="1021"/>
                  </a:lnTo>
                  <a:lnTo>
                    <a:pt x="1597" y="1025"/>
                  </a:lnTo>
                  <a:lnTo>
                    <a:pt x="1597" y="1057"/>
                  </a:lnTo>
                  <a:lnTo>
                    <a:pt x="1597" y="1061"/>
                  </a:lnTo>
                  <a:lnTo>
                    <a:pt x="1597" y="1071"/>
                  </a:lnTo>
                  <a:lnTo>
                    <a:pt x="1597" y="1075"/>
                  </a:lnTo>
                  <a:lnTo>
                    <a:pt x="1597" y="1080"/>
                  </a:lnTo>
                  <a:lnTo>
                    <a:pt x="1597" y="1089"/>
                  </a:lnTo>
                  <a:lnTo>
                    <a:pt x="1597" y="1089"/>
                  </a:lnTo>
                  <a:lnTo>
                    <a:pt x="1592" y="1093"/>
                  </a:lnTo>
                  <a:lnTo>
                    <a:pt x="1592" y="1107"/>
                  </a:lnTo>
                  <a:lnTo>
                    <a:pt x="1592" y="1111"/>
                  </a:lnTo>
                  <a:lnTo>
                    <a:pt x="1588" y="1116"/>
                  </a:lnTo>
                  <a:lnTo>
                    <a:pt x="1588" y="1116"/>
                  </a:lnTo>
                  <a:lnTo>
                    <a:pt x="1583" y="1116"/>
                  </a:lnTo>
                  <a:lnTo>
                    <a:pt x="1579" y="1116"/>
                  </a:lnTo>
                  <a:lnTo>
                    <a:pt x="1579" y="1120"/>
                  </a:lnTo>
                  <a:lnTo>
                    <a:pt x="1574" y="1120"/>
                  </a:lnTo>
                  <a:lnTo>
                    <a:pt x="1574" y="1120"/>
                  </a:lnTo>
                  <a:lnTo>
                    <a:pt x="1574" y="1120"/>
                  </a:lnTo>
                  <a:lnTo>
                    <a:pt x="1574" y="1125"/>
                  </a:lnTo>
                  <a:lnTo>
                    <a:pt x="1574" y="1125"/>
                  </a:lnTo>
                  <a:lnTo>
                    <a:pt x="1574" y="1130"/>
                  </a:lnTo>
                  <a:lnTo>
                    <a:pt x="1570" y="1134"/>
                  </a:lnTo>
                  <a:lnTo>
                    <a:pt x="1570" y="1139"/>
                  </a:lnTo>
                  <a:lnTo>
                    <a:pt x="1565" y="1157"/>
                  </a:lnTo>
                  <a:lnTo>
                    <a:pt x="1556" y="1166"/>
                  </a:lnTo>
                  <a:lnTo>
                    <a:pt x="1556" y="1170"/>
                  </a:lnTo>
                  <a:lnTo>
                    <a:pt x="1556" y="1179"/>
                  </a:lnTo>
                  <a:lnTo>
                    <a:pt x="1556" y="1179"/>
                  </a:lnTo>
                  <a:lnTo>
                    <a:pt x="1556" y="1184"/>
                  </a:lnTo>
                  <a:lnTo>
                    <a:pt x="1556" y="1188"/>
                  </a:lnTo>
                  <a:lnTo>
                    <a:pt x="1556" y="1193"/>
                  </a:lnTo>
                  <a:lnTo>
                    <a:pt x="1552" y="1198"/>
                  </a:lnTo>
                  <a:lnTo>
                    <a:pt x="1552" y="1202"/>
                  </a:lnTo>
                  <a:lnTo>
                    <a:pt x="1552" y="1202"/>
                  </a:lnTo>
                  <a:lnTo>
                    <a:pt x="1552" y="1216"/>
                  </a:lnTo>
                  <a:lnTo>
                    <a:pt x="1552" y="1220"/>
                  </a:lnTo>
                  <a:lnTo>
                    <a:pt x="1556" y="1229"/>
                  </a:lnTo>
                  <a:lnTo>
                    <a:pt x="1574" y="1261"/>
                  </a:lnTo>
                  <a:lnTo>
                    <a:pt x="1579" y="1266"/>
                  </a:lnTo>
                  <a:lnTo>
                    <a:pt x="1579" y="1266"/>
                  </a:lnTo>
                  <a:lnTo>
                    <a:pt x="1579" y="1270"/>
                  </a:lnTo>
                  <a:lnTo>
                    <a:pt x="1583" y="1270"/>
                  </a:lnTo>
                  <a:lnTo>
                    <a:pt x="1583" y="1270"/>
                  </a:lnTo>
                  <a:lnTo>
                    <a:pt x="1583" y="1270"/>
                  </a:lnTo>
                  <a:lnTo>
                    <a:pt x="1583" y="1270"/>
                  </a:lnTo>
                  <a:lnTo>
                    <a:pt x="1583" y="1275"/>
                  </a:lnTo>
                  <a:lnTo>
                    <a:pt x="1583" y="1275"/>
                  </a:lnTo>
                  <a:lnTo>
                    <a:pt x="1583" y="1275"/>
                  </a:lnTo>
                  <a:lnTo>
                    <a:pt x="1579" y="1275"/>
                  </a:lnTo>
                  <a:lnTo>
                    <a:pt x="1579" y="1275"/>
                  </a:lnTo>
                  <a:lnTo>
                    <a:pt x="1579" y="1275"/>
                  </a:lnTo>
                  <a:lnTo>
                    <a:pt x="1574" y="1275"/>
                  </a:lnTo>
                  <a:lnTo>
                    <a:pt x="1574" y="1275"/>
                  </a:lnTo>
                  <a:lnTo>
                    <a:pt x="1570" y="1275"/>
                  </a:lnTo>
                  <a:lnTo>
                    <a:pt x="1561" y="1275"/>
                  </a:lnTo>
                  <a:lnTo>
                    <a:pt x="1556" y="1279"/>
                  </a:lnTo>
                  <a:lnTo>
                    <a:pt x="1542" y="1293"/>
                  </a:lnTo>
                  <a:lnTo>
                    <a:pt x="1538" y="1297"/>
                  </a:lnTo>
                  <a:lnTo>
                    <a:pt x="1533" y="1311"/>
                  </a:lnTo>
                  <a:lnTo>
                    <a:pt x="1533" y="1320"/>
                  </a:lnTo>
                  <a:lnTo>
                    <a:pt x="1533" y="1325"/>
                  </a:lnTo>
                  <a:lnTo>
                    <a:pt x="1533" y="1329"/>
                  </a:lnTo>
                  <a:lnTo>
                    <a:pt x="1533" y="1334"/>
                  </a:lnTo>
                  <a:lnTo>
                    <a:pt x="1533" y="1338"/>
                  </a:lnTo>
                  <a:lnTo>
                    <a:pt x="1533" y="1338"/>
                  </a:lnTo>
                  <a:lnTo>
                    <a:pt x="1529" y="1343"/>
                  </a:lnTo>
                  <a:lnTo>
                    <a:pt x="1529" y="1343"/>
                  </a:lnTo>
                  <a:lnTo>
                    <a:pt x="1529" y="1343"/>
                  </a:lnTo>
                  <a:lnTo>
                    <a:pt x="1524" y="1347"/>
                  </a:lnTo>
                  <a:lnTo>
                    <a:pt x="1524" y="1347"/>
                  </a:lnTo>
                  <a:lnTo>
                    <a:pt x="1520" y="1347"/>
                  </a:lnTo>
                  <a:lnTo>
                    <a:pt x="1520" y="1347"/>
                  </a:lnTo>
                  <a:lnTo>
                    <a:pt x="1515" y="1347"/>
                  </a:lnTo>
                  <a:lnTo>
                    <a:pt x="1515" y="1347"/>
                  </a:lnTo>
                  <a:lnTo>
                    <a:pt x="1515" y="1347"/>
                  </a:lnTo>
                  <a:lnTo>
                    <a:pt x="1506" y="1347"/>
                  </a:lnTo>
                  <a:lnTo>
                    <a:pt x="1506" y="1347"/>
                  </a:lnTo>
                  <a:lnTo>
                    <a:pt x="1502" y="1352"/>
                  </a:lnTo>
                  <a:lnTo>
                    <a:pt x="1502" y="1352"/>
                  </a:lnTo>
                  <a:lnTo>
                    <a:pt x="1502" y="1356"/>
                  </a:lnTo>
                  <a:lnTo>
                    <a:pt x="1497" y="1356"/>
                  </a:lnTo>
                  <a:lnTo>
                    <a:pt x="1488" y="1361"/>
                  </a:lnTo>
                  <a:lnTo>
                    <a:pt x="1488" y="1361"/>
                  </a:lnTo>
                  <a:lnTo>
                    <a:pt x="1488" y="1361"/>
                  </a:lnTo>
                  <a:lnTo>
                    <a:pt x="1488" y="1365"/>
                  </a:lnTo>
                  <a:lnTo>
                    <a:pt x="1488" y="1365"/>
                  </a:lnTo>
                  <a:lnTo>
                    <a:pt x="1488" y="1365"/>
                  </a:lnTo>
                  <a:lnTo>
                    <a:pt x="1488" y="1370"/>
                  </a:lnTo>
                  <a:lnTo>
                    <a:pt x="1488" y="1370"/>
                  </a:lnTo>
                  <a:lnTo>
                    <a:pt x="1484" y="1374"/>
                  </a:lnTo>
                  <a:lnTo>
                    <a:pt x="1484" y="1374"/>
                  </a:lnTo>
                  <a:lnTo>
                    <a:pt x="1479" y="1374"/>
                  </a:lnTo>
                  <a:lnTo>
                    <a:pt x="1474" y="1374"/>
                  </a:lnTo>
                  <a:lnTo>
                    <a:pt x="1474" y="1374"/>
                  </a:lnTo>
                  <a:lnTo>
                    <a:pt x="1474" y="1374"/>
                  </a:lnTo>
                  <a:lnTo>
                    <a:pt x="1474" y="1374"/>
                  </a:lnTo>
                  <a:lnTo>
                    <a:pt x="1474" y="1374"/>
                  </a:lnTo>
                  <a:lnTo>
                    <a:pt x="1470" y="1374"/>
                  </a:lnTo>
                  <a:lnTo>
                    <a:pt x="1470" y="1374"/>
                  </a:lnTo>
                  <a:lnTo>
                    <a:pt x="1465" y="1370"/>
                  </a:lnTo>
                  <a:lnTo>
                    <a:pt x="1465" y="1365"/>
                  </a:lnTo>
                  <a:lnTo>
                    <a:pt x="1465" y="1365"/>
                  </a:lnTo>
                  <a:lnTo>
                    <a:pt x="1465" y="1365"/>
                  </a:lnTo>
                  <a:lnTo>
                    <a:pt x="1470" y="1365"/>
                  </a:lnTo>
                  <a:lnTo>
                    <a:pt x="1470" y="1365"/>
                  </a:lnTo>
                  <a:lnTo>
                    <a:pt x="1470" y="1365"/>
                  </a:lnTo>
                  <a:lnTo>
                    <a:pt x="1474" y="1365"/>
                  </a:lnTo>
                  <a:lnTo>
                    <a:pt x="1474" y="1365"/>
                  </a:lnTo>
                  <a:lnTo>
                    <a:pt x="1474" y="1365"/>
                  </a:lnTo>
                  <a:lnTo>
                    <a:pt x="1474" y="1365"/>
                  </a:lnTo>
                  <a:lnTo>
                    <a:pt x="1474" y="1361"/>
                  </a:lnTo>
                  <a:lnTo>
                    <a:pt x="1474" y="1361"/>
                  </a:lnTo>
                  <a:lnTo>
                    <a:pt x="1474" y="1361"/>
                  </a:lnTo>
                  <a:lnTo>
                    <a:pt x="1474" y="1361"/>
                  </a:lnTo>
                  <a:lnTo>
                    <a:pt x="1474" y="1356"/>
                  </a:lnTo>
                  <a:lnTo>
                    <a:pt x="1474" y="1356"/>
                  </a:lnTo>
                  <a:lnTo>
                    <a:pt x="1474" y="1356"/>
                  </a:lnTo>
                  <a:lnTo>
                    <a:pt x="1474" y="1352"/>
                  </a:lnTo>
                  <a:lnTo>
                    <a:pt x="1474" y="1352"/>
                  </a:lnTo>
                  <a:lnTo>
                    <a:pt x="1474" y="1352"/>
                  </a:lnTo>
                  <a:lnTo>
                    <a:pt x="1474" y="1347"/>
                  </a:lnTo>
                  <a:lnTo>
                    <a:pt x="1470" y="1343"/>
                  </a:lnTo>
                  <a:lnTo>
                    <a:pt x="1470" y="1343"/>
                  </a:lnTo>
                  <a:lnTo>
                    <a:pt x="1470" y="1338"/>
                  </a:lnTo>
                  <a:lnTo>
                    <a:pt x="1474" y="1338"/>
                  </a:lnTo>
                  <a:lnTo>
                    <a:pt x="1474" y="1338"/>
                  </a:lnTo>
                  <a:lnTo>
                    <a:pt x="1474" y="1334"/>
                  </a:lnTo>
                  <a:lnTo>
                    <a:pt x="1479" y="1334"/>
                  </a:lnTo>
                  <a:lnTo>
                    <a:pt x="1474" y="1329"/>
                  </a:lnTo>
                  <a:lnTo>
                    <a:pt x="1470" y="1325"/>
                  </a:lnTo>
                  <a:lnTo>
                    <a:pt x="1465" y="1325"/>
                  </a:lnTo>
                  <a:lnTo>
                    <a:pt x="1465" y="1325"/>
                  </a:lnTo>
                  <a:lnTo>
                    <a:pt x="1470" y="1325"/>
                  </a:lnTo>
                  <a:lnTo>
                    <a:pt x="1470" y="1320"/>
                  </a:lnTo>
                  <a:lnTo>
                    <a:pt x="1474" y="1320"/>
                  </a:lnTo>
                  <a:lnTo>
                    <a:pt x="1474" y="1320"/>
                  </a:lnTo>
                  <a:lnTo>
                    <a:pt x="1479" y="1320"/>
                  </a:lnTo>
                  <a:lnTo>
                    <a:pt x="1479" y="1320"/>
                  </a:lnTo>
                  <a:lnTo>
                    <a:pt x="1479" y="1315"/>
                  </a:lnTo>
                  <a:lnTo>
                    <a:pt x="1484" y="1315"/>
                  </a:lnTo>
                  <a:lnTo>
                    <a:pt x="1479" y="1311"/>
                  </a:lnTo>
                  <a:lnTo>
                    <a:pt x="1479" y="1311"/>
                  </a:lnTo>
                  <a:lnTo>
                    <a:pt x="1484" y="1306"/>
                  </a:lnTo>
                  <a:lnTo>
                    <a:pt x="1488" y="1306"/>
                  </a:lnTo>
                  <a:lnTo>
                    <a:pt x="1488" y="1306"/>
                  </a:lnTo>
                  <a:lnTo>
                    <a:pt x="1488" y="1306"/>
                  </a:lnTo>
                  <a:lnTo>
                    <a:pt x="1493" y="1302"/>
                  </a:lnTo>
                  <a:lnTo>
                    <a:pt x="1497" y="1297"/>
                  </a:lnTo>
                  <a:lnTo>
                    <a:pt x="1497" y="1293"/>
                  </a:lnTo>
                  <a:lnTo>
                    <a:pt x="1502" y="1293"/>
                  </a:lnTo>
                  <a:lnTo>
                    <a:pt x="1502" y="1293"/>
                  </a:lnTo>
                  <a:lnTo>
                    <a:pt x="1502" y="1288"/>
                  </a:lnTo>
                  <a:lnTo>
                    <a:pt x="1502" y="1288"/>
                  </a:lnTo>
                  <a:lnTo>
                    <a:pt x="1497" y="1288"/>
                  </a:lnTo>
                  <a:lnTo>
                    <a:pt x="1497" y="1284"/>
                  </a:lnTo>
                  <a:lnTo>
                    <a:pt x="1497" y="1284"/>
                  </a:lnTo>
                  <a:lnTo>
                    <a:pt x="1497" y="1279"/>
                  </a:lnTo>
                  <a:lnTo>
                    <a:pt x="1493" y="1279"/>
                  </a:lnTo>
                  <a:lnTo>
                    <a:pt x="1493" y="1279"/>
                  </a:lnTo>
                  <a:lnTo>
                    <a:pt x="1493" y="1279"/>
                  </a:lnTo>
                  <a:lnTo>
                    <a:pt x="1488" y="1279"/>
                  </a:lnTo>
                  <a:lnTo>
                    <a:pt x="1484" y="1279"/>
                  </a:lnTo>
                  <a:lnTo>
                    <a:pt x="1484" y="1279"/>
                  </a:lnTo>
                  <a:lnTo>
                    <a:pt x="1484" y="1279"/>
                  </a:lnTo>
                  <a:lnTo>
                    <a:pt x="1484" y="1279"/>
                  </a:lnTo>
                  <a:lnTo>
                    <a:pt x="1479" y="1279"/>
                  </a:lnTo>
                  <a:lnTo>
                    <a:pt x="1479" y="1284"/>
                  </a:lnTo>
                  <a:lnTo>
                    <a:pt x="1479" y="1284"/>
                  </a:lnTo>
                  <a:lnTo>
                    <a:pt x="1479" y="1284"/>
                  </a:lnTo>
                  <a:lnTo>
                    <a:pt x="1474" y="1284"/>
                  </a:lnTo>
                  <a:lnTo>
                    <a:pt x="1474" y="1279"/>
                  </a:lnTo>
                  <a:lnTo>
                    <a:pt x="1474" y="1279"/>
                  </a:lnTo>
                  <a:lnTo>
                    <a:pt x="1474" y="1284"/>
                  </a:lnTo>
                  <a:lnTo>
                    <a:pt x="1474" y="1284"/>
                  </a:lnTo>
                  <a:lnTo>
                    <a:pt x="1470" y="1284"/>
                  </a:lnTo>
                  <a:lnTo>
                    <a:pt x="1470" y="1284"/>
                  </a:lnTo>
                  <a:lnTo>
                    <a:pt x="1470" y="1284"/>
                  </a:lnTo>
                  <a:lnTo>
                    <a:pt x="1465" y="1279"/>
                  </a:lnTo>
                  <a:lnTo>
                    <a:pt x="1465" y="1284"/>
                  </a:lnTo>
                  <a:lnTo>
                    <a:pt x="1465" y="1284"/>
                  </a:lnTo>
                  <a:lnTo>
                    <a:pt x="1465" y="1288"/>
                  </a:lnTo>
                  <a:lnTo>
                    <a:pt x="1465" y="1293"/>
                  </a:lnTo>
                  <a:lnTo>
                    <a:pt x="1465" y="1293"/>
                  </a:lnTo>
                  <a:lnTo>
                    <a:pt x="1465" y="1297"/>
                  </a:lnTo>
                  <a:lnTo>
                    <a:pt x="1465" y="1297"/>
                  </a:lnTo>
                  <a:lnTo>
                    <a:pt x="1465" y="1297"/>
                  </a:lnTo>
                  <a:lnTo>
                    <a:pt x="1461" y="1302"/>
                  </a:lnTo>
                  <a:lnTo>
                    <a:pt x="1461" y="1302"/>
                  </a:lnTo>
                  <a:lnTo>
                    <a:pt x="1456" y="1302"/>
                  </a:lnTo>
                  <a:lnTo>
                    <a:pt x="1456" y="1302"/>
                  </a:lnTo>
                  <a:lnTo>
                    <a:pt x="1452" y="1302"/>
                  </a:lnTo>
                  <a:lnTo>
                    <a:pt x="1452" y="1306"/>
                  </a:lnTo>
                  <a:lnTo>
                    <a:pt x="1456" y="1306"/>
                  </a:lnTo>
                  <a:lnTo>
                    <a:pt x="1456" y="1306"/>
                  </a:lnTo>
                  <a:lnTo>
                    <a:pt x="1456" y="1306"/>
                  </a:lnTo>
                  <a:lnTo>
                    <a:pt x="1456" y="1311"/>
                  </a:lnTo>
                  <a:lnTo>
                    <a:pt x="1456" y="1311"/>
                  </a:lnTo>
                  <a:lnTo>
                    <a:pt x="1456" y="1311"/>
                  </a:lnTo>
                  <a:lnTo>
                    <a:pt x="1452" y="1311"/>
                  </a:lnTo>
                  <a:lnTo>
                    <a:pt x="1452" y="1311"/>
                  </a:lnTo>
                  <a:lnTo>
                    <a:pt x="1452" y="1315"/>
                  </a:lnTo>
                  <a:lnTo>
                    <a:pt x="1452" y="1315"/>
                  </a:lnTo>
                  <a:lnTo>
                    <a:pt x="1452" y="1320"/>
                  </a:lnTo>
                  <a:lnTo>
                    <a:pt x="1452" y="1320"/>
                  </a:lnTo>
                  <a:lnTo>
                    <a:pt x="1452" y="1325"/>
                  </a:lnTo>
                  <a:lnTo>
                    <a:pt x="1452" y="1325"/>
                  </a:lnTo>
                  <a:lnTo>
                    <a:pt x="1456" y="1325"/>
                  </a:lnTo>
                  <a:lnTo>
                    <a:pt x="1456" y="1325"/>
                  </a:lnTo>
                  <a:lnTo>
                    <a:pt x="1456" y="1325"/>
                  </a:lnTo>
                  <a:lnTo>
                    <a:pt x="1456" y="1329"/>
                  </a:lnTo>
                  <a:lnTo>
                    <a:pt x="1461" y="1329"/>
                  </a:lnTo>
                  <a:lnTo>
                    <a:pt x="1461" y="1329"/>
                  </a:lnTo>
                  <a:lnTo>
                    <a:pt x="1461" y="1334"/>
                  </a:lnTo>
                  <a:lnTo>
                    <a:pt x="1461" y="1334"/>
                  </a:lnTo>
                  <a:lnTo>
                    <a:pt x="1461" y="1334"/>
                  </a:lnTo>
                  <a:lnTo>
                    <a:pt x="1461" y="1334"/>
                  </a:lnTo>
                  <a:lnTo>
                    <a:pt x="1461" y="1334"/>
                  </a:lnTo>
                  <a:lnTo>
                    <a:pt x="1456" y="1338"/>
                  </a:lnTo>
                  <a:lnTo>
                    <a:pt x="1456" y="1338"/>
                  </a:lnTo>
                  <a:lnTo>
                    <a:pt x="1452" y="1343"/>
                  </a:lnTo>
                  <a:lnTo>
                    <a:pt x="1456" y="1343"/>
                  </a:lnTo>
                  <a:lnTo>
                    <a:pt x="1456" y="1343"/>
                  </a:lnTo>
                  <a:lnTo>
                    <a:pt x="1456" y="1343"/>
                  </a:lnTo>
                  <a:lnTo>
                    <a:pt x="1456" y="1343"/>
                  </a:lnTo>
                  <a:lnTo>
                    <a:pt x="1452" y="1347"/>
                  </a:lnTo>
                  <a:lnTo>
                    <a:pt x="1452" y="1347"/>
                  </a:lnTo>
                  <a:lnTo>
                    <a:pt x="1452" y="1347"/>
                  </a:lnTo>
                  <a:lnTo>
                    <a:pt x="1447" y="1347"/>
                  </a:lnTo>
                  <a:lnTo>
                    <a:pt x="1447" y="1343"/>
                  </a:lnTo>
                  <a:lnTo>
                    <a:pt x="1447" y="1343"/>
                  </a:lnTo>
                  <a:lnTo>
                    <a:pt x="1452" y="1338"/>
                  </a:lnTo>
                  <a:lnTo>
                    <a:pt x="1452" y="1338"/>
                  </a:lnTo>
                  <a:lnTo>
                    <a:pt x="1447" y="1338"/>
                  </a:lnTo>
                  <a:lnTo>
                    <a:pt x="1447" y="1338"/>
                  </a:lnTo>
                  <a:lnTo>
                    <a:pt x="1443" y="1329"/>
                  </a:lnTo>
                  <a:lnTo>
                    <a:pt x="1443" y="1329"/>
                  </a:lnTo>
                  <a:lnTo>
                    <a:pt x="1443" y="1325"/>
                  </a:lnTo>
                  <a:lnTo>
                    <a:pt x="1443" y="1325"/>
                  </a:lnTo>
                  <a:lnTo>
                    <a:pt x="1438" y="1325"/>
                  </a:lnTo>
                  <a:lnTo>
                    <a:pt x="1438" y="1325"/>
                  </a:lnTo>
                  <a:lnTo>
                    <a:pt x="1438" y="1325"/>
                  </a:lnTo>
                  <a:lnTo>
                    <a:pt x="1434" y="1325"/>
                  </a:lnTo>
                  <a:lnTo>
                    <a:pt x="1434" y="1325"/>
                  </a:lnTo>
                  <a:lnTo>
                    <a:pt x="1429" y="1325"/>
                  </a:lnTo>
                  <a:lnTo>
                    <a:pt x="1420" y="1325"/>
                  </a:lnTo>
                  <a:lnTo>
                    <a:pt x="1415" y="1325"/>
                  </a:lnTo>
                  <a:lnTo>
                    <a:pt x="1411" y="1325"/>
                  </a:lnTo>
                  <a:lnTo>
                    <a:pt x="1406" y="1329"/>
                  </a:lnTo>
                  <a:lnTo>
                    <a:pt x="1402" y="1334"/>
                  </a:lnTo>
                  <a:lnTo>
                    <a:pt x="1397" y="1338"/>
                  </a:lnTo>
                  <a:lnTo>
                    <a:pt x="1397" y="1343"/>
                  </a:lnTo>
                  <a:lnTo>
                    <a:pt x="1397" y="1347"/>
                  </a:lnTo>
                  <a:lnTo>
                    <a:pt x="1393" y="1347"/>
                  </a:lnTo>
                  <a:lnTo>
                    <a:pt x="1393" y="1356"/>
                  </a:lnTo>
                  <a:lnTo>
                    <a:pt x="1393" y="1356"/>
                  </a:lnTo>
                  <a:lnTo>
                    <a:pt x="1393" y="1356"/>
                  </a:lnTo>
                  <a:lnTo>
                    <a:pt x="1393" y="1361"/>
                  </a:lnTo>
                  <a:lnTo>
                    <a:pt x="1393" y="1361"/>
                  </a:lnTo>
                  <a:lnTo>
                    <a:pt x="1393" y="1365"/>
                  </a:lnTo>
                  <a:lnTo>
                    <a:pt x="1397" y="1365"/>
                  </a:lnTo>
                  <a:lnTo>
                    <a:pt x="1397" y="1370"/>
                  </a:lnTo>
                  <a:lnTo>
                    <a:pt x="1397" y="1374"/>
                  </a:lnTo>
                  <a:lnTo>
                    <a:pt x="1397" y="1379"/>
                  </a:lnTo>
                  <a:lnTo>
                    <a:pt x="1393" y="1379"/>
                  </a:lnTo>
                  <a:lnTo>
                    <a:pt x="1393" y="1379"/>
                  </a:lnTo>
                  <a:lnTo>
                    <a:pt x="1393" y="1384"/>
                  </a:lnTo>
                  <a:lnTo>
                    <a:pt x="1393" y="1384"/>
                  </a:lnTo>
                  <a:lnTo>
                    <a:pt x="1393" y="1384"/>
                  </a:lnTo>
                  <a:lnTo>
                    <a:pt x="1393" y="1388"/>
                  </a:lnTo>
                  <a:lnTo>
                    <a:pt x="1388" y="1388"/>
                  </a:lnTo>
                  <a:lnTo>
                    <a:pt x="1388" y="1393"/>
                  </a:lnTo>
                  <a:lnTo>
                    <a:pt x="1388" y="1393"/>
                  </a:lnTo>
                  <a:lnTo>
                    <a:pt x="1384" y="1393"/>
                  </a:lnTo>
                  <a:lnTo>
                    <a:pt x="1384" y="1393"/>
                  </a:lnTo>
                  <a:lnTo>
                    <a:pt x="1384" y="1393"/>
                  </a:lnTo>
                  <a:lnTo>
                    <a:pt x="1384" y="1397"/>
                  </a:lnTo>
                  <a:lnTo>
                    <a:pt x="1384" y="1397"/>
                  </a:lnTo>
                  <a:lnTo>
                    <a:pt x="1379" y="1397"/>
                  </a:lnTo>
                  <a:lnTo>
                    <a:pt x="1379" y="1402"/>
                  </a:lnTo>
                  <a:lnTo>
                    <a:pt x="1379" y="1406"/>
                  </a:lnTo>
                  <a:lnTo>
                    <a:pt x="1379" y="1406"/>
                  </a:lnTo>
                  <a:lnTo>
                    <a:pt x="1379" y="1406"/>
                  </a:lnTo>
                  <a:lnTo>
                    <a:pt x="1379" y="1406"/>
                  </a:lnTo>
                  <a:lnTo>
                    <a:pt x="1379" y="1406"/>
                  </a:lnTo>
                  <a:lnTo>
                    <a:pt x="1379" y="1406"/>
                  </a:lnTo>
                  <a:lnTo>
                    <a:pt x="1370" y="1411"/>
                  </a:lnTo>
                  <a:lnTo>
                    <a:pt x="1366" y="1411"/>
                  </a:lnTo>
                  <a:lnTo>
                    <a:pt x="1366" y="1411"/>
                  </a:lnTo>
                  <a:lnTo>
                    <a:pt x="1361" y="1411"/>
                  </a:lnTo>
                  <a:lnTo>
                    <a:pt x="1361" y="1411"/>
                  </a:lnTo>
                  <a:lnTo>
                    <a:pt x="1361" y="1411"/>
                  </a:lnTo>
                  <a:lnTo>
                    <a:pt x="1361" y="1406"/>
                  </a:lnTo>
                  <a:lnTo>
                    <a:pt x="1357" y="1402"/>
                  </a:lnTo>
                  <a:lnTo>
                    <a:pt x="1357" y="1402"/>
                  </a:lnTo>
                  <a:lnTo>
                    <a:pt x="1357" y="1402"/>
                  </a:lnTo>
                  <a:lnTo>
                    <a:pt x="1357" y="1402"/>
                  </a:lnTo>
                  <a:lnTo>
                    <a:pt x="1357" y="1402"/>
                  </a:lnTo>
                  <a:lnTo>
                    <a:pt x="1357" y="1402"/>
                  </a:lnTo>
                  <a:lnTo>
                    <a:pt x="1357" y="1397"/>
                  </a:lnTo>
                  <a:lnTo>
                    <a:pt x="1357" y="1397"/>
                  </a:lnTo>
                  <a:lnTo>
                    <a:pt x="1357" y="1397"/>
                  </a:lnTo>
                  <a:lnTo>
                    <a:pt x="1357" y="1393"/>
                  </a:lnTo>
                  <a:lnTo>
                    <a:pt x="1357" y="1393"/>
                  </a:lnTo>
                  <a:lnTo>
                    <a:pt x="1357" y="1388"/>
                  </a:lnTo>
                  <a:lnTo>
                    <a:pt x="1357" y="1388"/>
                  </a:lnTo>
                  <a:lnTo>
                    <a:pt x="1357" y="1384"/>
                  </a:lnTo>
                  <a:lnTo>
                    <a:pt x="1357" y="1384"/>
                  </a:lnTo>
                  <a:lnTo>
                    <a:pt x="1357" y="1384"/>
                  </a:lnTo>
                  <a:lnTo>
                    <a:pt x="1357" y="1379"/>
                  </a:lnTo>
                  <a:lnTo>
                    <a:pt x="1357" y="1379"/>
                  </a:lnTo>
                  <a:lnTo>
                    <a:pt x="1357" y="1379"/>
                  </a:lnTo>
                  <a:lnTo>
                    <a:pt x="1357" y="1379"/>
                  </a:lnTo>
                  <a:lnTo>
                    <a:pt x="1357" y="1374"/>
                  </a:lnTo>
                  <a:lnTo>
                    <a:pt x="1357" y="1374"/>
                  </a:lnTo>
                  <a:lnTo>
                    <a:pt x="1361" y="1374"/>
                  </a:lnTo>
                  <a:lnTo>
                    <a:pt x="1361" y="1374"/>
                  </a:lnTo>
                  <a:lnTo>
                    <a:pt x="1357" y="1370"/>
                  </a:lnTo>
                  <a:lnTo>
                    <a:pt x="1357" y="1370"/>
                  </a:lnTo>
                  <a:lnTo>
                    <a:pt x="1357" y="1370"/>
                  </a:lnTo>
                  <a:lnTo>
                    <a:pt x="1357" y="1365"/>
                  </a:lnTo>
                  <a:lnTo>
                    <a:pt x="1357" y="1361"/>
                  </a:lnTo>
                  <a:lnTo>
                    <a:pt x="1361" y="1361"/>
                  </a:lnTo>
                  <a:lnTo>
                    <a:pt x="1366" y="1361"/>
                  </a:lnTo>
                  <a:lnTo>
                    <a:pt x="1366" y="1361"/>
                  </a:lnTo>
                  <a:lnTo>
                    <a:pt x="1370" y="1361"/>
                  </a:lnTo>
                  <a:lnTo>
                    <a:pt x="1370" y="1361"/>
                  </a:lnTo>
                  <a:lnTo>
                    <a:pt x="1375" y="1356"/>
                  </a:lnTo>
                  <a:lnTo>
                    <a:pt x="1366" y="1352"/>
                  </a:lnTo>
                  <a:lnTo>
                    <a:pt x="1361" y="1347"/>
                  </a:lnTo>
                  <a:lnTo>
                    <a:pt x="1357" y="1347"/>
                  </a:lnTo>
                  <a:lnTo>
                    <a:pt x="1352" y="1347"/>
                  </a:lnTo>
                  <a:lnTo>
                    <a:pt x="1347" y="1347"/>
                  </a:lnTo>
                  <a:lnTo>
                    <a:pt x="1343" y="1347"/>
                  </a:lnTo>
                  <a:lnTo>
                    <a:pt x="1343" y="1347"/>
                  </a:lnTo>
                  <a:lnTo>
                    <a:pt x="1338" y="1347"/>
                  </a:lnTo>
                  <a:lnTo>
                    <a:pt x="1338" y="1347"/>
                  </a:lnTo>
                  <a:lnTo>
                    <a:pt x="1334" y="1356"/>
                  </a:lnTo>
                  <a:lnTo>
                    <a:pt x="1329" y="1356"/>
                  </a:lnTo>
                  <a:lnTo>
                    <a:pt x="1329" y="1361"/>
                  </a:lnTo>
                  <a:lnTo>
                    <a:pt x="1329" y="1361"/>
                  </a:lnTo>
                  <a:lnTo>
                    <a:pt x="1329" y="1361"/>
                  </a:lnTo>
                  <a:lnTo>
                    <a:pt x="1334" y="1361"/>
                  </a:lnTo>
                  <a:lnTo>
                    <a:pt x="1334" y="1361"/>
                  </a:lnTo>
                  <a:lnTo>
                    <a:pt x="1329" y="1365"/>
                  </a:lnTo>
                  <a:lnTo>
                    <a:pt x="1325" y="1365"/>
                  </a:lnTo>
                  <a:lnTo>
                    <a:pt x="1325" y="1370"/>
                  </a:lnTo>
                  <a:lnTo>
                    <a:pt x="1316" y="1370"/>
                  </a:lnTo>
                  <a:lnTo>
                    <a:pt x="1316" y="1370"/>
                  </a:lnTo>
                  <a:lnTo>
                    <a:pt x="1316" y="1374"/>
                  </a:lnTo>
                  <a:lnTo>
                    <a:pt x="1311" y="1374"/>
                  </a:lnTo>
                  <a:lnTo>
                    <a:pt x="1311" y="1374"/>
                  </a:lnTo>
                  <a:lnTo>
                    <a:pt x="1311" y="1379"/>
                  </a:lnTo>
                  <a:lnTo>
                    <a:pt x="1311" y="1379"/>
                  </a:lnTo>
                  <a:lnTo>
                    <a:pt x="1311" y="1384"/>
                  </a:lnTo>
                  <a:lnTo>
                    <a:pt x="1311" y="1384"/>
                  </a:lnTo>
                  <a:lnTo>
                    <a:pt x="1311" y="1384"/>
                  </a:lnTo>
                  <a:lnTo>
                    <a:pt x="1311" y="1388"/>
                  </a:lnTo>
                  <a:lnTo>
                    <a:pt x="1307" y="1388"/>
                  </a:lnTo>
                  <a:lnTo>
                    <a:pt x="1302" y="1393"/>
                  </a:lnTo>
                  <a:lnTo>
                    <a:pt x="1302" y="1393"/>
                  </a:lnTo>
                  <a:lnTo>
                    <a:pt x="1298" y="1402"/>
                  </a:lnTo>
                  <a:lnTo>
                    <a:pt x="1293" y="1406"/>
                  </a:lnTo>
                  <a:lnTo>
                    <a:pt x="1298" y="1406"/>
                  </a:lnTo>
                  <a:lnTo>
                    <a:pt x="1298" y="1411"/>
                  </a:lnTo>
                  <a:lnTo>
                    <a:pt x="1298" y="1411"/>
                  </a:lnTo>
                  <a:lnTo>
                    <a:pt x="1298" y="1411"/>
                  </a:lnTo>
                  <a:lnTo>
                    <a:pt x="1293" y="1411"/>
                  </a:lnTo>
                  <a:lnTo>
                    <a:pt x="1275" y="1406"/>
                  </a:lnTo>
                  <a:lnTo>
                    <a:pt x="1270" y="1402"/>
                  </a:lnTo>
                  <a:lnTo>
                    <a:pt x="1266" y="1402"/>
                  </a:lnTo>
                  <a:lnTo>
                    <a:pt x="1252" y="1406"/>
                  </a:lnTo>
                  <a:lnTo>
                    <a:pt x="1234" y="1402"/>
                  </a:lnTo>
                  <a:lnTo>
                    <a:pt x="1229" y="1397"/>
                  </a:lnTo>
                  <a:lnTo>
                    <a:pt x="1225" y="1402"/>
                  </a:lnTo>
                  <a:lnTo>
                    <a:pt x="1211" y="1402"/>
                  </a:lnTo>
                  <a:lnTo>
                    <a:pt x="1202" y="1402"/>
                  </a:lnTo>
                  <a:lnTo>
                    <a:pt x="1180" y="1411"/>
                  </a:lnTo>
                  <a:lnTo>
                    <a:pt x="1171" y="1411"/>
                  </a:lnTo>
                  <a:lnTo>
                    <a:pt x="1171" y="1411"/>
                  </a:lnTo>
                  <a:lnTo>
                    <a:pt x="1171" y="1411"/>
                  </a:lnTo>
                  <a:lnTo>
                    <a:pt x="1166" y="1406"/>
                  </a:lnTo>
                  <a:lnTo>
                    <a:pt x="1171" y="1406"/>
                  </a:lnTo>
                  <a:lnTo>
                    <a:pt x="1171" y="1406"/>
                  </a:lnTo>
                  <a:lnTo>
                    <a:pt x="1171" y="1406"/>
                  </a:lnTo>
                  <a:lnTo>
                    <a:pt x="1175" y="1402"/>
                  </a:lnTo>
                  <a:lnTo>
                    <a:pt x="1175" y="1402"/>
                  </a:lnTo>
                  <a:lnTo>
                    <a:pt x="1175" y="1402"/>
                  </a:lnTo>
                  <a:lnTo>
                    <a:pt x="1175" y="1402"/>
                  </a:lnTo>
                  <a:lnTo>
                    <a:pt x="1180" y="1402"/>
                  </a:lnTo>
                  <a:lnTo>
                    <a:pt x="1180" y="1406"/>
                  </a:lnTo>
                  <a:lnTo>
                    <a:pt x="1180" y="1402"/>
                  </a:lnTo>
                  <a:lnTo>
                    <a:pt x="1180" y="1402"/>
                  </a:lnTo>
                  <a:lnTo>
                    <a:pt x="1184" y="1402"/>
                  </a:lnTo>
                  <a:lnTo>
                    <a:pt x="1184" y="1402"/>
                  </a:lnTo>
                  <a:lnTo>
                    <a:pt x="1189" y="1397"/>
                  </a:lnTo>
                  <a:lnTo>
                    <a:pt x="1193" y="1397"/>
                  </a:lnTo>
                  <a:lnTo>
                    <a:pt x="1193" y="1397"/>
                  </a:lnTo>
                  <a:lnTo>
                    <a:pt x="1198" y="1393"/>
                  </a:lnTo>
                  <a:lnTo>
                    <a:pt x="1202" y="1393"/>
                  </a:lnTo>
                  <a:lnTo>
                    <a:pt x="1202" y="1393"/>
                  </a:lnTo>
                  <a:lnTo>
                    <a:pt x="1202" y="1393"/>
                  </a:lnTo>
                  <a:lnTo>
                    <a:pt x="1202" y="1393"/>
                  </a:lnTo>
                  <a:lnTo>
                    <a:pt x="1202" y="1393"/>
                  </a:lnTo>
                  <a:lnTo>
                    <a:pt x="1202" y="1393"/>
                  </a:lnTo>
                  <a:lnTo>
                    <a:pt x="1202" y="1393"/>
                  </a:lnTo>
                  <a:lnTo>
                    <a:pt x="1202" y="1393"/>
                  </a:lnTo>
                  <a:lnTo>
                    <a:pt x="1202" y="1393"/>
                  </a:lnTo>
                  <a:lnTo>
                    <a:pt x="1202" y="1388"/>
                  </a:lnTo>
                  <a:lnTo>
                    <a:pt x="1202" y="1388"/>
                  </a:lnTo>
                  <a:lnTo>
                    <a:pt x="1202" y="1384"/>
                  </a:lnTo>
                  <a:lnTo>
                    <a:pt x="1202" y="1384"/>
                  </a:lnTo>
                  <a:lnTo>
                    <a:pt x="1198" y="1379"/>
                  </a:lnTo>
                  <a:lnTo>
                    <a:pt x="1193" y="1384"/>
                  </a:lnTo>
                  <a:lnTo>
                    <a:pt x="1193" y="1384"/>
                  </a:lnTo>
                  <a:lnTo>
                    <a:pt x="1193" y="1384"/>
                  </a:lnTo>
                  <a:lnTo>
                    <a:pt x="1189" y="1384"/>
                  </a:lnTo>
                  <a:lnTo>
                    <a:pt x="1189" y="1384"/>
                  </a:lnTo>
                  <a:lnTo>
                    <a:pt x="1189" y="1384"/>
                  </a:lnTo>
                  <a:lnTo>
                    <a:pt x="1189" y="1384"/>
                  </a:lnTo>
                  <a:lnTo>
                    <a:pt x="1184" y="1384"/>
                  </a:lnTo>
                  <a:lnTo>
                    <a:pt x="1184" y="1388"/>
                  </a:lnTo>
                  <a:lnTo>
                    <a:pt x="1180" y="1388"/>
                  </a:lnTo>
                  <a:lnTo>
                    <a:pt x="1180" y="1384"/>
                  </a:lnTo>
                  <a:lnTo>
                    <a:pt x="1180" y="1384"/>
                  </a:lnTo>
                  <a:lnTo>
                    <a:pt x="1175" y="1388"/>
                  </a:lnTo>
                  <a:lnTo>
                    <a:pt x="1171" y="1384"/>
                  </a:lnTo>
                  <a:lnTo>
                    <a:pt x="1171" y="1388"/>
                  </a:lnTo>
                  <a:lnTo>
                    <a:pt x="1171" y="1384"/>
                  </a:lnTo>
                  <a:lnTo>
                    <a:pt x="1166" y="1384"/>
                  </a:lnTo>
                  <a:lnTo>
                    <a:pt x="1166" y="1379"/>
                  </a:lnTo>
                  <a:lnTo>
                    <a:pt x="1166" y="1379"/>
                  </a:lnTo>
                  <a:lnTo>
                    <a:pt x="1166" y="1379"/>
                  </a:lnTo>
                  <a:lnTo>
                    <a:pt x="1166" y="1370"/>
                  </a:lnTo>
                  <a:lnTo>
                    <a:pt x="1166" y="1365"/>
                  </a:lnTo>
                  <a:lnTo>
                    <a:pt x="1161" y="1365"/>
                  </a:lnTo>
                  <a:lnTo>
                    <a:pt x="1161" y="1370"/>
                  </a:lnTo>
                  <a:lnTo>
                    <a:pt x="1161" y="1374"/>
                  </a:lnTo>
                  <a:lnTo>
                    <a:pt x="1157" y="1374"/>
                  </a:lnTo>
                  <a:lnTo>
                    <a:pt x="1157" y="1379"/>
                  </a:lnTo>
                  <a:lnTo>
                    <a:pt x="1157" y="1384"/>
                  </a:lnTo>
                  <a:lnTo>
                    <a:pt x="1157" y="1384"/>
                  </a:lnTo>
                  <a:lnTo>
                    <a:pt x="1161" y="1388"/>
                  </a:lnTo>
                  <a:lnTo>
                    <a:pt x="1161" y="1393"/>
                  </a:lnTo>
                  <a:lnTo>
                    <a:pt x="1161" y="1393"/>
                  </a:lnTo>
                  <a:lnTo>
                    <a:pt x="1161" y="1397"/>
                  </a:lnTo>
                  <a:lnTo>
                    <a:pt x="1161" y="1393"/>
                  </a:lnTo>
                  <a:lnTo>
                    <a:pt x="1157" y="1393"/>
                  </a:lnTo>
                  <a:lnTo>
                    <a:pt x="1152" y="1388"/>
                  </a:lnTo>
                  <a:lnTo>
                    <a:pt x="1152" y="1388"/>
                  </a:lnTo>
                  <a:lnTo>
                    <a:pt x="1152" y="1388"/>
                  </a:lnTo>
                  <a:lnTo>
                    <a:pt x="1152" y="1384"/>
                  </a:lnTo>
                  <a:lnTo>
                    <a:pt x="1152" y="1384"/>
                  </a:lnTo>
                  <a:lnTo>
                    <a:pt x="1152" y="1379"/>
                  </a:lnTo>
                  <a:lnTo>
                    <a:pt x="1152" y="1379"/>
                  </a:lnTo>
                  <a:lnTo>
                    <a:pt x="1152" y="1374"/>
                  </a:lnTo>
                  <a:lnTo>
                    <a:pt x="1152" y="1374"/>
                  </a:lnTo>
                  <a:lnTo>
                    <a:pt x="1148" y="1374"/>
                  </a:lnTo>
                  <a:lnTo>
                    <a:pt x="1148" y="1370"/>
                  </a:lnTo>
                  <a:lnTo>
                    <a:pt x="1148" y="1365"/>
                  </a:lnTo>
                  <a:lnTo>
                    <a:pt x="1148" y="1365"/>
                  </a:lnTo>
                  <a:lnTo>
                    <a:pt x="1148" y="1361"/>
                  </a:lnTo>
                  <a:lnTo>
                    <a:pt x="1148" y="1361"/>
                  </a:lnTo>
                  <a:lnTo>
                    <a:pt x="1152" y="1356"/>
                  </a:lnTo>
                  <a:lnTo>
                    <a:pt x="1152" y="1356"/>
                  </a:lnTo>
                  <a:lnTo>
                    <a:pt x="1157" y="1352"/>
                  </a:lnTo>
                  <a:lnTo>
                    <a:pt x="1157" y="1352"/>
                  </a:lnTo>
                  <a:lnTo>
                    <a:pt x="1157" y="1352"/>
                  </a:lnTo>
                  <a:lnTo>
                    <a:pt x="1157" y="1347"/>
                  </a:lnTo>
                  <a:lnTo>
                    <a:pt x="1157" y="1343"/>
                  </a:lnTo>
                  <a:lnTo>
                    <a:pt x="1157" y="1347"/>
                  </a:lnTo>
                  <a:lnTo>
                    <a:pt x="1152" y="1347"/>
                  </a:lnTo>
                  <a:lnTo>
                    <a:pt x="1152" y="1347"/>
                  </a:lnTo>
                  <a:lnTo>
                    <a:pt x="1152" y="1347"/>
                  </a:lnTo>
                  <a:lnTo>
                    <a:pt x="1152" y="1347"/>
                  </a:lnTo>
                  <a:lnTo>
                    <a:pt x="1152" y="1347"/>
                  </a:lnTo>
                  <a:lnTo>
                    <a:pt x="1148" y="1347"/>
                  </a:lnTo>
                  <a:lnTo>
                    <a:pt x="1148" y="1347"/>
                  </a:lnTo>
                  <a:lnTo>
                    <a:pt x="1148" y="1347"/>
                  </a:lnTo>
                  <a:lnTo>
                    <a:pt x="1143" y="1352"/>
                  </a:lnTo>
                  <a:lnTo>
                    <a:pt x="1139" y="1352"/>
                  </a:lnTo>
                  <a:lnTo>
                    <a:pt x="1139" y="1352"/>
                  </a:lnTo>
                  <a:lnTo>
                    <a:pt x="1134" y="1356"/>
                  </a:lnTo>
                  <a:lnTo>
                    <a:pt x="1130" y="1356"/>
                  </a:lnTo>
                  <a:lnTo>
                    <a:pt x="1130" y="1356"/>
                  </a:lnTo>
                  <a:lnTo>
                    <a:pt x="1130" y="1361"/>
                  </a:lnTo>
                  <a:lnTo>
                    <a:pt x="1130" y="1361"/>
                  </a:lnTo>
                  <a:lnTo>
                    <a:pt x="1130" y="1361"/>
                  </a:lnTo>
                  <a:lnTo>
                    <a:pt x="1130" y="1361"/>
                  </a:lnTo>
                  <a:lnTo>
                    <a:pt x="1130" y="1361"/>
                  </a:lnTo>
                  <a:lnTo>
                    <a:pt x="1130" y="1365"/>
                  </a:lnTo>
                  <a:lnTo>
                    <a:pt x="1130" y="1365"/>
                  </a:lnTo>
                  <a:lnTo>
                    <a:pt x="1130" y="1370"/>
                  </a:lnTo>
                  <a:lnTo>
                    <a:pt x="1125" y="1374"/>
                  </a:lnTo>
                  <a:lnTo>
                    <a:pt x="1121" y="1379"/>
                  </a:lnTo>
                  <a:lnTo>
                    <a:pt x="1116" y="1384"/>
                  </a:lnTo>
                  <a:lnTo>
                    <a:pt x="1116" y="1388"/>
                  </a:lnTo>
                  <a:lnTo>
                    <a:pt x="1116" y="1393"/>
                  </a:lnTo>
                  <a:lnTo>
                    <a:pt x="1116" y="1393"/>
                  </a:lnTo>
                  <a:lnTo>
                    <a:pt x="1116" y="1393"/>
                  </a:lnTo>
                  <a:lnTo>
                    <a:pt x="1116" y="1397"/>
                  </a:lnTo>
                  <a:lnTo>
                    <a:pt x="1116" y="1397"/>
                  </a:lnTo>
                  <a:lnTo>
                    <a:pt x="1116" y="1397"/>
                  </a:lnTo>
                  <a:lnTo>
                    <a:pt x="1116" y="1397"/>
                  </a:lnTo>
                  <a:lnTo>
                    <a:pt x="1116" y="1402"/>
                  </a:lnTo>
                  <a:lnTo>
                    <a:pt x="1116" y="1402"/>
                  </a:lnTo>
                  <a:lnTo>
                    <a:pt x="1116" y="1406"/>
                  </a:lnTo>
                  <a:lnTo>
                    <a:pt x="1121" y="1406"/>
                  </a:lnTo>
                  <a:lnTo>
                    <a:pt x="1125" y="1406"/>
                  </a:lnTo>
                  <a:lnTo>
                    <a:pt x="1125" y="1406"/>
                  </a:lnTo>
                  <a:lnTo>
                    <a:pt x="1130" y="1406"/>
                  </a:lnTo>
                  <a:lnTo>
                    <a:pt x="1130" y="1411"/>
                  </a:lnTo>
                  <a:lnTo>
                    <a:pt x="1130" y="1411"/>
                  </a:lnTo>
                  <a:lnTo>
                    <a:pt x="1139" y="1415"/>
                  </a:lnTo>
                  <a:lnTo>
                    <a:pt x="1143" y="1420"/>
                  </a:lnTo>
                  <a:lnTo>
                    <a:pt x="1143" y="1420"/>
                  </a:lnTo>
                  <a:lnTo>
                    <a:pt x="1148" y="1420"/>
                  </a:lnTo>
                  <a:lnTo>
                    <a:pt x="1148" y="1420"/>
                  </a:lnTo>
                  <a:lnTo>
                    <a:pt x="1148" y="1420"/>
                  </a:lnTo>
                  <a:lnTo>
                    <a:pt x="1152" y="1420"/>
                  </a:lnTo>
                  <a:lnTo>
                    <a:pt x="1152" y="1424"/>
                  </a:lnTo>
                  <a:lnTo>
                    <a:pt x="1152" y="1424"/>
                  </a:lnTo>
                  <a:lnTo>
                    <a:pt x="1152" y="1424"/>
                  </a:lnTo>
                  <a:lnTo>
                    <a:pt x="1152" y="1424"/>
                  </a:lnTo>
                  <a:lnTo>
                    <a:pt x="1152" y="1429"/>
                  </a:lnTo>
                  <a:lnTo>
                    <a:pt x="1157" y="1429"/>
                  </a:lnTo>
                  <a:lnTo>
                    <a:pt x="1157" y="1429"/>
                  </a:lnTo>
                  <a:lnTo>
                    <a:pt x="1157" y="1429"/>
                  </a:lnTo>
                  <a:lnTo>
                    <a:pt x="1157" y="1429"/>
                  </a:lnTo>
                  <a:lnTo>
                    <a:pt x="1157" y="1433"/>
                  </a:lnTo>
                  <a:lnTo>
                    <a:pt x="1152" y="1433"/>
                  </a:lnTo>
                  <a:lnTo>
                    <a:pt x="1152" y="1433"/>
                  </a:lnTo>
                  <a:lnTo>
                    <a:pt x="1152" y="1433"/>
                  </a:lnTo>
                  <a:lnTo>
                    <a:pt x="1152" y="1433"/>
                  </a:lnTo>
                  <a:lnTo>
                    <a:pt x="1152" y="1438"/>
                  </a:lnTo>
                  <a:lnTo>
                    <a:pt x="1152" y="1438"/>
                  </a:lnTo>
                  <a:lnTo>
                    <a:pt x="1152" y="1438"/>
                  </a:lnTo>
                  <a:lnTo>
                    <a:pt x="1157" y="1438"/>
                  </a:lnTo>
                  <a:lnTo>
                    <a:pt x="1152" y="1438"/>
                  </a:lnTo>
                  <a:lnTo>
                    <a:pt x="1152" y="1438"/>
                  </a:lnTo>
                  <a:lnTo>
                    <a:pt x="1152" y="1442"/>
                  </a:lnTo>
                  <a:lnTo>
                    <a:pt x="1152" y="1442"/>
                  </a:lnTo>
                  <a:lnTo>
                    <a:pt x="1152" y="1442"/>
                  </a:lnTo>
                  <a:lnTo>
                    <a:pt x="1152" y="1447"/>
                  </a:lnTo>
                  <a:lnTo>
                    <a:pt x="1152" y="1447"/>
                  </a:lnTo>
                  <a:lnTo>
                    <a:pt x="1152" y="1447"/>
                  </a:lnTo>
                  <a:lnTo>
                    <a:pt x="1148" y="1452"/>
                  </a:lnTo>
                  <a:lnTo>
                    <a:pt x="1148" y="1452"/>
                  </a:lnTo>
                  <a:lnTo>
                    <a:pt x="1143" y="1452"/>
                  </a:lnTo>
                  <a:lnTo>
                    <a:pt x="1143" y="1452"/>
                  </a:lnTo>
                  <a:lnTo>
                    <a:pt x="1139" y="1447"/>
                  </a:lnTo>
                  <a:lnTo>
                    <a:pt x="1139" y="1447"/>
                  </a:lnTo>
                  <a:lnTo>
                    <a:pt x="1143" y="1447"/>
                  </a:lnTo>
                  <a:lnTo>
                    <a:pt x="1143" y="1447"/>
                  </a:lnTo>
                  <a:lnTo>
                    <a:pt x="1148" y="1447"/>
                  </a:lnTo>
                  <a:lnTo>
                    <a:pt x="1148" y="1447"/>
                  </a:lnTo>
                  <a:lnTo>
                    <a:pt x="1148" y="1447"/>
                  </a:lnTo>
                  <a:lnTo>
                    <a:pt x="1148" y="1447"/>
                  </a:lnTo>
                  <a:lnTo>
                    <a:pt x="1148" y="1447"/>
                  </a:lnTo>
                  <a:lnTo>
                    <a:pt x="1148" y="1447"/>
                  </a:lnTo>
                  <a:lnTo>
                    <a:pt x="1148" y="1442"/>
                  </a:lnTo>
                  <a:lnTo>
                    <a:pt x="1148" y="1442"/>
                  </a:lnTo>
                  <a:lnTo>
                    <a:pt x="1148" y="1442"/>
                  </a:lnTo>
                  <a:lnTo>
                    <a:pt x="1143" y="1442"/>
                  </a:lnTo>
                  <a:lnTo>
                    <a:pt x="1143" y="1442"/>
                  </a:lnTo>
                  <a:lnTo>
                    <a:pt x="1143" y="1442"/>
                  </a:lnTo>
                  <a:lnTo>
                    <a:pt x="1143" y="1442"/>
                  </a:lnTo>
                  <a:lnTo>
                    <a:pt x="1143" y="1447"/>
                  </a:lnTo>
                  <a:lnTo>
                    <a:pt x="1139" y="1442"/>
                  </a:lnTo>
                  <a:lnTo>
                    <a:pt x="1139" y="1442"/>
                  </a:lnTo>
                  <a:lnTo>
                    <a:pt x="1134" y="1442"/>
                  </a:lnTo>
                  <a:lnTo>
                    <a:pt x="1134" y="1442"/>
                  </a:lnTo>
                  <a:lnTo>
                    <a:pt x="1134" y="1442"/>
                  </a:lnTo>
                  <a:lnTo>
                    <a:pt x="1134" y="1438"/>
                  </a:lnTo>
                  <a:lnTo>
                    <a:pt x="1134" y="1438"/>
                  </a:lnTo>
                  <a:lnTo>
                    <a:pt x="1130" y="1438"/>
                  </a:lnTo>
                  <a:lnTo>
                    <a:pt x="1125" y="1442"/>
                  </a:lnTo>
                  <a:lnTo>
                    <a:pt x="1130" y="1442"/>
                  </a:lnTo>
                  <a:lnTo>
                    <a:pt x="1130" y="1442"/>
                  </a:lnTo>
                  <a:lnTo>
                    <a:pt x="1125" y="1442"/>
                  </a:lnTo>
                  <a:lnTo>
                    <a:pt x="1125" y="1447"/>
                  </a:lnTo>
                  <a:lnTo>
                    <a:pt x="1121" y="1447"/>
                  </a:lnTo>
                  <a:lnTo>
                    <a:pt x="1121" y="1447"/>
                  </a:lnTo>
                  <a:lnTo>
                    <a:pt x="1116" y="1447"/>
                  </a:lnTo>
                  <a:lnTo>
                    <a:pt x="1116" y="1447"/>
                  </a:lnTo>
                  <a:lnTo>
                    <a:pt x="1116" y="1447"/>
                  </a:lnTo>
                  <a:lnTo>
                    <a:pt x="1116" y="1447"/>
                  </a:lnTo>
                  <a:lnTo>
                    <a:pt x="1116" y="1447"/>
                  </a:lnTo>
                  <a:lnTo>
                    <a:pt x="1112" y="1447"/>
                  </a:lnTo>
                  <a:lnTo>
                    <a:pt x="1112" y="1447"/>
                  </a:lnTo>
                  <a:lnTo>
                    <a:pt x="1112" y="1447"/>
                  </a:lnTo>
                  <a:lnTo>
                    <a:pt x="1112" y="1447"/>
                  </a:lnTo>
                  <a:lnTo>
                    <a:pt x="1112" y="1447"/>
                  </a:lnTo>
                  <a:lnTo>
                    <a:pt x="1112" y="1452"/>
                  </a:lnTo>
                  <a:lnTo>
                    <a:pt x="1112" y="1452"/>
                  </a:lnTo>
                  <a:lnTo>
                    <a:pt x="1107" y="1452"/>
                  </a:lnTo>
                  <a:lnTo>
                    <a:pt x="1102" y="1452"/>
                  </a:lnTo>
                  <a:lnTo>
                    <a:pt x="1102" y="1452"/>
                  </a:lnTo>
                  <a:lnTo>
                    <a:pt x="1098" y="1452"/>
                  </a:lnTo>
                  <a:lnTo>
                    <a:pt x="1093" y="1456"/>
                  </a:lnTo>
                  <a:lnTo>
                    <a:pt x="1089" y="1461"/>
                  </a:lnTo>
                  <a:lnTo>
                    <a:pt x="1089" y="1465"/>
                  </a:lnTo>
                  <a:lnTo>
                    <a:pt x="1089" y="1465"/>
                  </a:lnTo>
                  <a:lnTo>
                    <a:pt x="1089" y="1465"/>
                  </a:lnTo>
                  <a:lnTo>
                    <a:pt x="1089" y="1465"/>
                  </a:lnTo>
                  <a:lnTo>
                    <a:pt x="1089" y="1465"/>
                  </a:lnTo>
                  <a:lnTo>
                    <a:pt x="1089" y="1470"/>
                  </a:lnTo>
                  <a:lnTo>
                    <a:pt x="1089" y="1470"/>
                  </a:lnTo>
                  <a:lnTo>
                    <a:pt x="1084" y="1470"/>
                  </a:lnTo>
                  <a:lnTo>
                    <a:pt x="1084" y="1470"/>
                  </a:lnTo>
                  <a:lnTo>
                    <a:pt x="1084" y="1470"/>
                  </a:lnTo>
                  <a:lnTo>
                    <a:pt x="1084" y="1465"/>
                  </a:lnTo>
                  <a:lnTo>
                    <a:pt x="1084" y="1465"/>
                  </a:lnTo>
                  <a:lnTo>
                    <a:pt x="1080" y="1465"/>
                  </a:lnTo>
                  <a:lnTo>
                    <a:pt x="1080" y="1470"/>
                  </a:lnTo>
                  <a:lnTo>
                    <a:pt x="1080" y="1470"/>
                  </a:lnTo>
                  <a:lnTo>
                    <a:pt x="1080" y="1470"/>
                  </a:lnTo>
                  <a:lnTo>
                    <a:pt x="1080" y="1470"/>
                  </a:lnTo>
                  <a:lnTo>
                    <a:pt x="1080" y="1470"/>
                  </a:lnTo>
                  <a:lnTo>
                    <a:pt x="1080" y="1470"/>
                  </a:lnTo>
                  <a:lnTo>
                    <a:pt x="1084" y="1474"/>
                  </a:lnTo>
                  <a:lnTo>
                    <a:pt x="1084" y="1474"/>
                  </a:lnTo>
                  <a:lnTo>
                    <a:pt x="1084" y="1479"/>
                  </a:lnTo>
                  <a:lnTo>
                    <a:pt x="1084" y="1479"/>
                  </a:lnTo>
                  <a:lnTo>
                    <a:pt x="1084" y="1479"/>
                  </a:lnTo>
                  <a:lnTo>
                    <a:pt x="1084" y="1483"/>
                  </a:lnTo>
                  <a:lnTo>
                    <a:pt x="1084" y="1483"/>
                  </a:lnTo>
                  <a:lnTo>
                    <a:pt x="1084" y="1483"/>
                  </a:lnTo>
                  <a:lnTo>
                    <a:pt x="1080" y="1483"/>
                  </a:lnTo>
                  <a:lnTo>
                    <a:pt x="1080" y="1479"/>
                  </a:lnTo>
                  <a:lnTo>
                    <a:pt x="1080" y="1479"/>
                  </a:lnTo>
                  <a:lnTo>
                    <a:pt x="1080" y="1479"/>
                  </a:lnTo>
                  <a:lnTo>
                    <a:pt x="1075" y="1483"/>
                  </a:lnTo>
                  <a:lnTo>
                    <a:pt x="1075" y="1483"/>
                  </a:lnTo>
                  <a:lnTo>
                    <a:pt x="1080" y="1483"/>
                  </a:lnTo>
                  <a:lnTo>
                    <a:pt x="1080" y="1483"/>
                  </a:lnTo>
                  <a:lnTo>
                    <a:pt x="1080" y="1488"/>
                  </a:lnTo>
                  <a:lnTo>
                    <a:pt x="1075" y="1483"/>
                  </a:lnTo>
                  <a:lnTo>
                    <a:pt x="1075" y="1488"/>
                  </a:lnTo>
                  <a:lnTo>
                    <a:pt x="1075" y="1488"/>
                  </a:lnTo>
                  <a:lnTo>
                    <a:pt x="1071" y="1488"/>
                  </a:lnTo>
                  <a:lnTo>
                    <a:pt x="1071" y="1488"/>
                  </a:lnTo>
                  <a:lnTo>
                    <a:pt x="1071" y="1488"/>
                  </a:lnTo>
                  <a:lnTo>
                    <a:pt x="1071" y="1492"/>
                  </a:lnTo>
                  <a:lnTo>
                    <a:pt x="1071" y="1492"/>
                  </a:lnTo>
                  <a:lnTo>
                    <a:pt x="1066" y="1492"/>
                  </a:lnTo>
                  <a:lnTo>
                    <a:pt x="1066" y="1492"/>
                  </a:lnTo>
                  <a:lnTo>
                    <a:pt x="1062" y="1497"/>
                  </a:lnTo>
                  <a:lnTo>
                    <a:pt x="1057" y="1510"/>
                  </a:lnTo>
                  <a:lnTo>
                    <a:pt x="1053" y="1515"/>
                  </a:lnTo>
                  <a:lnTo>
                    <a:pt x="1053" y="1520"/>
                  </a:lnTo>
                  <a:lnTo>
                    <a:pt x="1048" y="1524"/>
                  </a:lnTo>
                  <a:lnTo>
                    <a:pt x="1048" y="1524"/>
                  </a:lnTo>
                  <a:lnTo>
                    <a:pt x="1048" y="1529"/>
                  </a:lnTo>
                  <a:lnTo>
                    <a:pt x="1048" y="1529"/>
                  </a:lnTo>
                  <a:lnTo>
                    <a:pt x="1048" y="1529"/>
                  </a:lnTo>
                  <a:lnTo>
                    <a:pt x="1048" y="1529"/>
                  </a:lnTo>
                  <a:lnTo>
                    <a:pt x="1044" y="1533"/>
                  </a:lnTo>
                  <a:lnTo>
                    <a:pt x="1039" y="1533"/>
                  </a:lnTo>
                  <a:lnTo>
                    <a:pt x="1039" y="1538"/>
                  </a:lnTo>
                  <a:lnTo>
                    <a:pt x="1034" y="1538"/>
                  </a:lnTo>
                  <a:lnTo>
                    <a:pt x="1030" y="1538"/>
                  </a:lnTo>
                  <a:lnTo>
                    <a:pt x="1030" y="1542"/>
                  </a:lnTo>
                  <a:lnTo>
                    <a:pt x="1030" y="1542"/>
                  </a:lnTo>
                  <a:lnTo>
                    <a:pt x="1030" y="1542"/>
                  </a:lnTo>
                  <a:lnTo>
                    <a:pt x="1030" y="1547"/>
                  </a:lnTo>
                  <a:lnTo>
                    <a:pt x="1025" y="1547"/>
                  </a:lnTo>
                  <a:lnTo>
                    <a:pt x="1025" y="1547"/>
                  </a:lnTo>
                  <a:lnTo>
                    <a:pt x="1025" y="1547"/>
                  </a:lnTo>
                  <a:lnTo>
                    <a:pt x="1025" y="1547"/>
                  </a:lnTo>
                  <a:lnTo>
                    <a:pt x="1025" y="1542"/>
                  </a:lnTo>
                  <a:lnTo>
                    <a:pt x="1016" y="1538"/>
                  </a:lnTo>
                  <a:lnTo>
                    <a:pt x="1012" y="1538"/>
                  </a:lnTo>
                  <a:lnTo>
                    <a:pt x="998" y="1533"/>
                  </a:lnTo>
                  <a:lnTo>
                    <a:pt x="994" y="1529"/>
                  </a:lnTo>
                  <a:lnTo>
                    <a:pt x="989" y="1529"/>
                  </a:lnTo>
                  <a:lnTo>
                    <a:pt x="989" y="1524"/>
                  </a:lnTo>
                  <a:lnTo>
                    <a:pt x="985" y="1524"/>
                  </a:lnTo>
                  <a:lnTo>
                    <a:pt x="985" y="1524"/>
                  </a:lnTo>
                  <a:lnTo>
                    <a:pt x="985" y="1520"/>
                  </a:lnTo>
                  <a:lnTo>
                    <a:pt x="985" y="1520"/>
                  </a:lnTo>
                  <a:lnTo>
                    <a:pt x="985" y="1520"/>
                  </a:lnTo>
                  <a:lnTo>
                    <a:pt x="985" y="1520"/>
                  </a:lnTo>
                  <a:lnTo>
                    <a:pt x="980" y="1520"/>
                  </a:lnTo>
                  <a:lnTo>
                    <a:pt x="980" y="1515"/>
                  </a:lnTo>
                  <a:lnTo>
                    <a:pt x="980" y="1515"/>
                  </a:lnTo>
                  <a:lnTo>
                    <a:pt x="985" y="1515"/>
                  </a:lnTo>
                  <a:lnTo>
                    <a:pt x="985" y="1515"/>
                  </a:lnTo>
                  <a:lnTo>
                    <a:pt x="989" y="1510"/>
                  </a:lnTo>
                  <a:lnTo>
                    <a:pt x="985" y="1510"/>
                  </a:lnTo>
                  <a:lnTo>
                    <a:pt x="980" y="1506"/>
                  </a:lnTo>
                  <a:lnTo>
                    <a:pt x="980" y="1506"/>
                  </a:lnTo>
                  <a:lnTo>
                    <a:pt x="975" y="1501"/>
                  </a:lnTo>
                  <a:lnTo>
                    <a:pt x="975" y="1501"/>
                  </a:lnTo>
                  <a:lnTo>
                    <a:pt x="971" y="1501"/>
                  </a:lnTo>
                  <a:lnTo>
                    <a:pt x="971" y="1497"/>
                  </a:lnTo>
                  <a:lnTo>
                    <a:pt x="966" y="1497"/>
                  </a:lnTo>
                  <a:lnTo>
                    <a:pt x="962" y="1492"/>
                  </a:lnTo>
                  <a:lnTo>
                    <a:pt x="962" y="1488"/>
                  </a:lnTo>
                  <a:lnTo>
                    <a:pt x="962" y="1488"/>
                  </a:lnTo>
                  <a:lnTo>
                    <a:pt x="957" y="1488"/>
                  </a:lnTo>
                  <a:lnTo>
                    <a:pt x="953" y="1488"/>
                  </a:lnTo>
                  <a:lnTo>
                    <a:pt x="953" y="1488"/>
                  </a:lnTo>
                  <a:lnTo>
                    <a:pt x="953" y="1483"/>
                  </a:lnTo>
                  <a:lnTo>
                    <a:pt x="953" y="1483"/>
                  </a:lnTo>
                  <a:lnTo>
                    <a:pt x="953" y="1483"/>
                  </a:lnTo>
                  <a:lnTo>
                    <a:pt x="953" y="1483"/>
                  </a:lnTo>
                  <a:lnTo>
                    <a:pt x="953" y="1483"/>
                  </a:lnTo>
                  <a:lnTo>
                    <a:pt x="953" y="1483"/>
                  </a:lnTo>
                  <a:lnTo>
                    <a:pt x="953" y="1479"/>
                  </a:lnTo>
                  <a:lnTo>
                    <a:pt x="957" y="1479"/>
                  </a:lnTo>
                  <a:lnTo>
                    <a:pt x="957" y="1479"/>
                  </a:lnTo>
                  <a:lnTo>
                    <a:pt x="957" y="1479"/>
                  </a:lnTo>
                  <a:lnTo>
                    <a:pt x="953" y="1479"/>
                  </a:lnTo>
                  <a:lnTo>
                    <a:pt x="957" y="1474"/>
                  </a:lnTo>
                  <a:lnTo>
                    <a:pt x="957" y="1474"/>
                  </a:lnTo>
                  <a:lnTo>
                    <a:pt x="957" y="1474"/>
                  </a:lnTo>
                  <a:lnTo>
                    <a:pt x="962" y="1474"/>
                  </a:lnTo>
                  <a:lnTo>
                    <a:pt x="962" y="1470"/>
                  </a:lnTo>
                  <a:lnTo>
                    <a:pt x="962" y="1470"/>
                  </a:lnTo>
                  <a:lnTo>
                    <a:pt x="962" y="1470"/>
                  </a:lnTo>
                  <a:lnTo>
                    <a:pt x="962" y="1465"/>
                  </a:lnTo>
                  <a:lnTo>
                    <a:pt x="962" y="1465"/>
                  </a:lnTo>
                  <a:lnTo>
                    <a:pt x="962" y="1465"/>
                  </a:lnTo>
                  <a:lnTo>
                    <a:pt x="957" y="1465"/>
                  </a:lnTo>
                  <a:lnTo>
                    <a:pt x="957" y="1461"/>
                  </a:lnTo>
                  <a:lnTo>
                    <a:pt x="957" y="1461"/>
                  </a:lnTo>
                  <a:lnTo>
                    <a:pt x="957" y="1461"/>
                  </a:lnTo>
                  <a:lnTo>
                    <a:pt x="962" y="1456"/>
                  </a:lnTo>
                  <a:lnTo>
                    <a:pt x="962" y="1456"/>
                  </a:lnTo>
                  <a:lnTo>
                    <a:pt x="962" y="1456"/>
                  </a:lnTo>
                  <a:lnTo>
                    <a:pt x="962" y="1456"/>
                  </a:lnTo>
                  <a:lnTo>
                    <a:pt x="962" y="1456"/>
                  </a:lnTo>
                  <a:lnTo>
                    <a:pt x="962" y="1456"/>
                  </a:lnTo>
                  <a:lnTo>
                    <a:pt x="966" y="1456"/>
                  </a:lnTo>
                  <a:lnTo>
                    <a:pt x="966" y="1452"/>
                  </a:lnTo>
                  <a:lnTo>
                    <a:pt x="966" y="1452"/>
                  </a:lnTo>
                  <a:lnTo>
                    <a:pt x="966" y="1452"/>
                  </a:lnTo>
                  <a:lnTo>
                    <a:pt x="962" y="1447"/>
                  </a:lnTo>
                  <a:lnTo>
                    <a:pt x="962" y="1442"/>
                  </a:lnTo>
                  <a:lnTo>
                    <a:pt x="962" y="1442"/>
                  </a:lnTo>
                  <a:lnTo>
                    <a:pt x="957" y="1442"/>
                  </a:lnTo>
                  <a:lnTo>
                    <a:pt x="957" y="1438"/>
                  </a:lnTo>
                  <a:lnTo>
                    <a:pt x="957" y="1433"/>
                  </a:lnTo>
                  <a:lnTo>
                    <a:pt x="957" y="1433"/>
                  </a:lnTo>
                  <a:lnTo>
                    <a:pt x="975" y="1429"/>
                  </a:lnTo>
                  <a:lnTo>
                    <a:pt x="975" y="1424"/>
                  </a:lnTo>
                  <a:lnTo>
                    <a:pt x="980" y="1424"/>
                  </a:lnTo>
                  <a:lnTo>
                    <a:pt x="989" y="1415"/>
                  </a:lnTo>
                  <a:lnTo>
                    <a:pt x="989" y="1411"/>
                  </a:lnTo>
                  <a:lnTo>
                    <a:pt x="989" y="1411"/>
                  </a:lnTo>
                  <a:lnTo>
                    <a:pt x="994" y="1411"/>
                  </a:lnTo>
                  <a:lnTo>
                    <a:pt x="994" y="1411"/>
                  </a:lnTo>
                  <a:lnTo>
                    <a:pt x="994" y="1411"/>
                  </a:lnTo>
                  <a:lnTo>
                    <a:pt x="994" y="1411"/>
                  </a:lnTo>
                  <a:lnTo>
                    <a:pt x="998" y="1406"/>
                  </a:lnTo>
                  <a:lnTo>
                    <a:pt x="998" y="1402"/>
                  </a:lnTo>
                  <a:lnTo>
                    <a:pt x="998" y="1402"/>
                  </a:lnTo>
                  <a:lnTo>
                    <a:pt x="998" y="1397"/>
                  </a:lnTo>
                  <a:lnTo>
                    <a:pt x="998" y="1397"/>
                  </a:lnTo>
                  <a:lnTo>
                    <a:pt x="998" y="1393"/>
                  </a:lnTo>
                  <a:lnTo>
                    <a:pt x="994" y="1388"/>
                  </a:lnTo>
                  <a:lnTo>
                    <a:pt x="994" y="1388"/>
                  </a:lnTo>
                  <a:lnTo>
                    <a:pt x="989" y="1384"/>
                  </a:lnTo>
                  <a:lnTo>
                    <a:pt x="989" y="1384"/>
                  </a:lnTo>
                  <a:lnTo>
                    <a:pt x="989" y="1384"/>
                  </a:lnTo>
                  <a:lnTo>
                    <a:pt x="985" y="1384"/>
                  </a:lnTo>
                  <a:lnTo>
                    <a:pt x="985" y="1384"/>
                  </a:lnTo>
                  <a:lnTo>
                    <a:pt x="985" y="1384"/>
                  </a:lnTo>
                  <a:lnTo>
                    <a:pt x="980" y="1384"/>
                  </a:lnTo>
                  <a:lnTo>
                    <a:pt x="980" y="1384"/>
                  </a:lnTo>
                  <a:lnTo>
                    <a:pt x="971" y="1388"/>
                  </a:lnTo>
                  <a:lnTo>
                    <a:pt x="971" y="1388"/>
                  </a:lnTo>
                  <a:lnTo>
                    <a:pt x="966" y="1393"/>
                  </a:lnTo>
                  <a:lnTo>
                    <a:pt x="957" y="1393"/>
                  </a:lnTo>
                  <a:lnTo>
                    <a:pt x="953" y="1393"/>
                  </a:lnTo>
                  <a:lnTo>
                    <a:pt x="948" y="1388"/>
                  </a:lnTo>
                  <a:lnTo>
                    <a:pt x="944" y="1388"/>
                  </a:lnTo>
                  <a:lnTo>
                    <a:pt x="944" y="1388"/>
                  </a:lnTo>
                  <a:lnTo>
                    <a:pt x="939" y="1388"/>
                  </a:lnTo>
                  <a:lnTo>
                    <a:pt x="939" y="1384"/>
                  </a:lnTo>
                  <a:lnTo>
                    <a:pt x="935" y="1379"/>
                  </a:lnTo>
                  <a:lnTo>
                    <a:pt x="930" y="1379"/>
                  </a:lnTo>
                  <a:lnTo>
                    <a:pt x="926" y="1374"/>
                  </a:lnTo>
                  <a:lnTo>
                    <a:pt x="921" y="1370"/>
                  </a:lnTo>
                  <a:lnTo>
                    <a:pt x="916" y="1370"/>
                  </a:lnTo>
                  <a:lnTo>
                    <a:pt x="903" y="1370"/>
                  </a:lnTo>
                  <a:lnTo>
                    <a:pt x="903" y="1370"/>
                  </a:lnTo>
                  <a:lnTo>
                    <a:pt x="903" y="1370"/>
                  </a:lnTo>
                  <a:lnTo>
                    <a:pt x="903" y="1370"/>
                  </a:lnTo>
                  <a:lnTo>
                    <a:pt x="903" y="1370"/>
                  </a:lnTo>
                  <a:lnTo>
                    <a:pt x="903" y="1370"/>
                  </a:lnTo>
                  <a:lnTo>
                    <a:pt x="898" y="1370"/>
                  </a:lnTo>
                  <a:lnTo>
                    <a:pt x="898" y="1370"/>
                  </a:lnTo>
                  <a:lnTo>
                    <a:pt x="898" y="1370"/>
                  </a:lnTo>
                  <a:lnTo>
                    <a:pt x="898" y="1370"/>
                  </a:lnTo>
                  <a:lnTo>
                    <a:pt x="898" y="1370"/>
                  </a:lnTo>
                  <a:lnTo>
                    <a:pt x="894" y="1370"/>
                  </a:lnTo>
                  <a:lnTo>
                    <a:pt x="898" y="1365"/>
                  </a:lnTo>
                  <a:lnTo>
                    <a:pt x="894" y="1365"/>
                  </a:lnTo>
                  <a:lnTo>
                    <a:pt x="894" y="1370"/>
                  </a:lnTo>
                  <a:lnTo>
                    <a:pt x="894" y="1370"/>
                  </a:lnTo>
                  <a:lnTo>
                    <a:pt x="894" y="1370"/>
                  </a:lnTo>
                  <a:lnTo>
                    <a:pt x="894" y="1370"/>
                  </a:lnTo>
                  <a:lnTo>
                    <a:pt x="894" y="1370"/>
                  </a:lnTo>
                  <a:lnTo>
                    <a:pt x="894" y="1370"/>
                  </a:lnTo>
                  <a:lnTo>
                    <a:pt x="894" y="1370"/>
                  </a:lnTo>
                  <a:lnTo>
                    <a:pt x="889" y="1374"/>
                  </a:lnTo>
                  <a:lnTo>
                    <a:pt x="889" y="1374"/>
                  </a:lnTo>
                  <a:lnTo>
                    <a:pt x="885" y="1374"/>
                  </a:lnTo>
                  <a:lnTo>
                    <a:pt x="885" y="1374"/>
                  </a:lnTo>
                  <a:lnTo>
                    <a:pt x="885" y="1374"/>
                  </a:lnTo>
                  <a:lnTo>
                    <a:pt x="885" y="1374"/>
                  </a:lnTo>
                  <a:lnTo>
                    <a:pt x="885" y="1374"/>
                  </a:lnTo>
                  <a:lnTo>
                    <a:pt x="880" y="1374"/>
                  </a:lnTo>
                  <a:lnTo>
                    <a:pt x="880" y="1374"/>
                  </a:lnTo>
                  <a:lnTo>
                    <a:pt x="880" y="1374"/>
                  </a:lnTo>
                  <a:lnTo>
                    <a:pt x="876" y="1374"/>
                  </a:lnTo>
                  <a:lnTo>
                    <a:pt x="871" y="1374"/>
                  </a:lnTo>
                  <a:lnTo>
                    <a:pt x="871" y="1374"/>
                  </a:lnTo>
                  <a:lnTo>
                    <a:pt x="867" y="1374"/>
                  </a:lnTo>
                  <a:lnTo>
                    <a:pt x="867" y="1374"/>
                  </a:lnTo>
                  <a:lnTo>
                    <a:pt x="867" y="1374"/>
                  </a:lnTo>
                  <a:lnTo>
                    <a:pt x="867" y="1374"/>
                  </a:lnTo>
                  <a:lnTo>
                    <a:pt x="871" y="1379"/>
                  </a:lnTo>
                  <a:lnTo>
                    <a:pt x="871" y="1379"/>
                  </a:lnTo>
                  <a:lnTo>
                    <a:pt x="871" y="1379"/>
                  </a:lnTo>
                  <a:lnTo>
                    <a:pt x="871" y="1379"/>
                  </a:lnTo>
                  <a:lnTo>
                    <a:pt x="867" y="1379"/>
                  </a:lnTo>
                  <a:lnTo>
                    <a:pt x="867" y="1379"/>
                  </a:lnTo>
                  <a:lnTo>
                    <a:pt x="867" y="1379"/>
                  </a:lnTo>
                  <a:lnTo>
                    <a:pt x="862" y="1384"/>
                  </a:lnTo>
                  <a:lnTo>
                    <a:pt x="862" y="1384"/>
                  </a:lnTo>
                  <a:lnTo>
                    <a:pt x="862" y="1384"/>
                  </a:lnTo>
                  <a:lnTo>
                    <a:pt x="858" y="1384"/>
                  </a:lnTo>
                  <a:lnTo>
                    <a:pt x="858" y="1384"/>
                  </a:lnTo>
                  <a:lnTo>
                    <a:pt x="862" y="1384"/>
                  </a:lnTo>
                  <a:lnTo>
                    <a:pt x="862" y="1384"/>
                  </a:lnTo>
                  <a:lnTo>
                    <a:pt x="862" y="1384"/>
                  </a:lnTo>
                  <a:lnTo>
                    <a:pt x="862" y="1388"/>
                  </a:lnTo>
                  <a:lnTo>
                    <a:pt x="858" y="1388"/>
                  </a:lnTo>
                  <a:lnTo>
                    <a:pt x="853" y="1388"/>
                  </a:lnTo>
                  <a:lnTo>
                    <a:pt x="853" y="1388"/>
                  </a:lnTo>
                  <a:lnTo>
                    <a:pt x="848" y="1388"/>
                  </a:lnTo>
                  <a:lnTo>
                    <a:pt x="848" y="1388"/>
                  </a:lnTo>
                  <a:lnTo>
                    <a:pt x="844" y="1388"/>
                  </a:lnTo>
                  <a:lnTo>
                    <a:pt x="839" y="1384"/>
                  </a:lnTo>
                  <a:lnTo>
                    <a:pt x="839" y="1388"/>
                  </a:lnTo>
                  <a:lnTo>
                    <a:pt x="835" y="1388"/>
                  </a:lnTo>
                  <a:lnTo>
                    <a:pt x="835" y="1388"/>
                  </a:lnTo>
                  <a:lnTo>
                    <a:pt x="835" y="1388"/>
                  </a:lnTo>
                  <a:lnTo>
                    <a:pt x="835" y="1393"/>
                  </a:lnTo>
                  <a:lnTo>
                    <a:pt x="835" y="1393"/>
                  </a:lnTo>
                  <a:lnTo>
                    <a:pt x="835" y="1393"/>
                  </a:lnTo>
                  <a:lnTo>
                    <a:pt x="839" y="1388"/>
                  </a:lnTo>
                  <a:lnTo>
                    <a:pt x="844" y="1388"/>
                  </a:lnTo>
                  <a:lnTo>
                    <a:pt x="844" y="1388"/>
                  </a:lnTo>
                  <a:lnTo>
                    <a:pt x="844" y="1388"/>
                  </a:lnTo>
                  <a:lnTo>
                    <a:pt x="848" y="1388"/>
                  </a:lnTo>
                  <a:lnTo>
                    <a:pt x="848" y="1393"/>
                  </a:lnTo>
                  <a:lnTo>
                    <a:pt x="844" y="1393"/>
                  </a:lnTo>
                  <a:lnTo>
                    <a:pt x="844" y="1393"/>
                  </a:lnTo>
                  <a:lnTo>
                    <a:pt x="844" y="1397"/>
                  </a:lnTo>
                  <a:lnTo>
                    <a:pt x="844" y="1397"/>
                  </a:lnTo>
                  <a:lnTo>
                    <a:pt x="844" y="1397"/>
                  </a:lnTo>
                  <a:lnTo>
                    <a:pt x="844" y="1397"/>
                  </a:lnTo>
                  <a:lnTo>
                    <a:pt x="839" y="1397"/>
                  </a:lnTo>
                  <a:lnTo>
                    <a:pt x="839" y="1397"/>
                  </a:lnTo>
                  <a:lnTo>
                    <a:pt x="835" y="1402"/>
                  </a:lnTo>
                  <a:lnTo>
                    <a:pt x="835" y="1406"/>
                  </a:lnTo>
                  <a:lnTo>
                    <a:pt x="826" y="1402"/>
                  </a:lnTo>
                  <a:lnTo>
                    <a:pt x="821" y="1402"/>
                  </a:lnTo>
                  <a:lnTo>
                    <a:pt x="821" y="1406"/>
                  </a:lnTo>
                  <a:lnTo>
                    <a:pt x="817" y="1406"/>
                  </a:lnTo>
                  <a:lnTo>
                    <a:pt x="817" y="1402"/>
                  </a:lnTo>
                  <a:lnTo>
                    <a:pt x="817" y="1397"/>
                  </a:lnTo>
                  <a:lnTo>
                    <a:pt x="812" y="1397"/>
                  </a:lnTo>
                  <a:lnTo>
                    <a:pt x="812" y="1397"/>
                  </a:lnTo>
                  <a:lnTo>
                    <a:pt x="812" y="1397"/>
                  </a:lnTo>
                  <a:lnTo>
                    <a:pt x="812" y="1397"/>
                  </a:lnTo>
                  <a:lnTo>
                    <a:pt x="812" y="1393"/>
                  </a:lnTo>
                  <a:lnTo>
                    <a:pt x="812" y="1393"/>
                  </a:lnTo>
                  <a:lnTo>
                    <a:pt x="808" y="1393"/>
                  </a:lnTo>
                  <a:lnTo>
                    <a:pt x="808" y="1393"/>
                  </a:lnTo>
                  <a:lnTo>
                    <a:pt x="808" y="1397"/>
                  </a:lnTo>
                  <a:lnTo>
                    <a:pt x="803" y="1397"/>
                  </a:lnTo>
                  <a:lnTo>
                    <a:pt x="799" y="1397"/>
                  </a:lnTo>
                  <a:lnTo>
                    <a:pt x="799" y="1397"/>
                  </a:lnTo>
                  <a:lnTo>
                    <a:pt x="794" y="1402"/>
                  </a:lnTo>
                  <a:lnTo>
                    <a:pt x="794" y="1402"/>
                  </a:lnTo>
                  <a:lnTo>
                    <a:pt x="794" y="1402"/>
                  </a:lnTo>
                  <a:lnTo>
                    <a:pt x="794" y="1402"/>
                  </a:lnTo>
                  <a:lnTo>
                    <a:pt x="789" y="1402"/>
                  </a:lnTo>
                  <a:lnTo>
                    <a:pt x="789" y="1402"/>
                  </a:lnTo>
                  <a:lnTo>
                    <a:pt x="789" y="1402"/>
                  </a:lnTo>
                  <a:lnTo>
                    <a:pt x="785" y="1406"/>
                  </a:lnTo>
                  <a:lnTo>
                    <a:pt x="789" y="1402"/>
                  </a:lnTo>
                  <a:lnTo>
                    <a:pt x="789" y="1397"/>
                  </a:lnTo>
                  <a:lnTo>
                    <a:pt x="789" y="1397"/>
                  </a:lnTo>
                  <a:lnTo>
                    <a:pt x="785" y="1397"/>
                  </a:lnTo>
                  <a:lnTo>
                    <a:pt x="785" y="1397"/>
                  </a:lnTo>
                  <a:lnTo>
                    <a:pt x="780" y="1397"/>
                  </a:lnTo>
                  <a:lnTo>
                    <a:pt x="780" y="1397"/>
                  </a:lnTo>
                  <a:lnTo>
                    <a:pt x="780" y="1397"/>
                  </a:lnTo>
                  <a:lnTo>
                    <a:pt x="776" y="1402"/>
                  </a:lnTo>
                  <a:lnTo>
                    <a:pt x="780" y="1402"/>
                  </a:lnTo>
                  <a:lnTo>
                    <a:pt x="776" y="1402"/>
                  </a:lnTo>
                  <a:lnTo>
                    <a:pt x="767" y="1411"/>
                  </a:lnTo>
                  <a:lnTo>
                    <a:pt x="767" y="1415"/>
                  </a:lnTo>
                  <a:lnTo>
                    <a:pt x="762" y="1415"/>
                  </a:lnTo>
                  <a:lnTo>
                    <a:pt x="762" y="1415"/>
                  </a:lnTo>
                  <a:lnTo>
                    <a:pt x="762" y="1415"/>
                  </a:lnTo>
                  <a:lnTo>
                    <a:pt x="762" y="1415"/>
                  </a:lnTo>
                  <a:lnTo>
                    <a:pt x="762" y="1415"/>
                  </a:lnTo>
                  <a:lnTo>
                    <a:pt x="762" y="1411"/>
                  </a:lnTo>
                  <a:lnTo>
                    <a:pt x="762" y="1411"/>
                  </a:lnTo>
                  <a:lnTo>
                    <a:pt x="767" y="1411"/>
                  </a:lnTo>
                  <a:lnTo>
                    <a:pt x="767" y="1411"/>
                  </a:lnTo>
                  <a:lnTo>
                    <a:pt x="767" y="1411"/>
                  </a:lnTo>
                  <a:lnTo>
                    <a:pt x="762" y="1406"/>
                  </a:lnTo>
                  <a:lnTo>
                    <a:pt x="762" y="1406"/>
                  </a:lnTo>
                  <a:lnTo>
                    <a:pt x="762" y="1406"/>
                  </a:lnTo>
                  <a:lnTo>
                    <a:pt x="762" y="1406"/>
                  </a:lnTo>
                  <a:lnTo>
                    <a:pt x="762" y="1402"/>
                  </a:lnTo>
                  <a:lnTo>
                    <a:pt x="758" y="1402"/>
                  </a:lnTo>
                  <a:lnTo>
                    <a:pt x="758" y="1406"/>
                  </a:lnTo>
                  <a:lnTo>
                    <a:pt x="753" y="1411"/>
                  </a:lnTo>
                  <a:lnTo>
                    <a:pt x="753" y="1411"/>
                  </a:lnTo>
                  <a:lnTo>
                    <a:pt x="753" y="1411"/>
                  </a:lnTo>
                  <a:lnTo>
                    <a:pt x="753" y="1415"/>
                  </a:lnTo>
                  <a:lnTo>
                    <a:pt x="753" y="1415"/>
                  </a:lnTo>
                  <a:lnTo>
                    <a:pt x="753" y="1420"/>
                  </a:lnTo>
                  <a:lnTo>
                    <a:pt x="753" y="1420"/>
                  </a:lnTo>
                  <a:lnTo>
                    <a:pt x="749" y="1420"/>
                  </a:lnTo>
                  <a:lnTo>
                    <a:pt x="749" y="1420"/>
                  </a:lnTo>
                  <a:lnTo>
                    <a:pt x="749" y="1420"/>
                  </a:lnTo>
                  <a:lnTo>
                    <a:pt x="749" y="1420"/>
                  </a:lnTo>
                  <a:lnTo>
                    <a:pt x="749" y="1420"/>
                  </a:lnTo>
                  <a:lnTo>
                    <a:pt x="744" y="1420"/>
                  </a:lnTo>
                  <a:lnTo>
                    <a:pt x="744" y="1420"/>
                  </a:lnTo>
                  <a:lnTo>
                    <a:pt x="740" y="1424"/>
                  </a:lnTo>
                  <a:lnTo>
                    <a:pt x="740" y="1420"/>
                  </a:lnTo>
                  <a:lnTo>
                    <a:pt x="740" y="1420"/>
                  </a:lnTo>
                  <a:lnTo>
                    <a:pt x="740" y="1415"/>
                  </a:lnTo>
                  <a:lnTo>
                    <a:pt x="740" y="1415"/>
                  </a:lnTo>
                  <a:lnTo>
                    <a:pt x="740" y="1411"/>
                  </a:lnTo>
                  <a:lnTo>
                    <a:pt x="744" y="1411"/>
                  </a:lnTo>
                  <a:lnTo>
                    <a:pt x="744" y="1411"/>
                  </a:lnTo>
                  <a:lnTo>
                    <a:pt x="744" y="1411"/>
                  </a:lnTo>
                  <a:lnTo>
                    <a:pt x="744" y="1415"/>
                  </a:lnTo>
                  <a:lnTo>
                    <a:pt x="744" y="1415"/>
                  </a:lnTo>
                  <a:lnTo>
                    <a:pt x="744" y="1415"/>
                  </a:lnTo>
                  <a:lnTo>
                    <a:pt x="749" y="1411"/>
                  </a:lnTo>
                  <a:lnTo>
                    <a:pt x="749" y="1411"/>
                  </a:lnTo>
                  <a:lnTo>
                    <a:pt x="749" y="1411"/>
                  </a:lnTo>
                  <a:lnTo>
                    <a:pt x="749" y="1406"/>
                  </a:lnTo>
                  <a:lnTo>
                    <a:pt x="749" y="1406"/>
                  </a:lnTo>
                  <a:lnTo>
                    <a:pt x="744" y="1406"/>
                  </a:lnTo>
                  <a:lnTo>
                    <a:pt x="744" y="1406"/>
                  </a:lnTo>
                  <a:lnTo>
                    <a:pt x="744" y="1406"/>
                  </a:lnTo>
                  <a:lnTo>
                    <a:pt x="744" y="1406"/>
                  </a:lnTo>
                  <a:lnTo>
                    <a:pt x="740" y="1406"/>
                  </a:lnTo>
                  <a:lnTo>
                    <a:pt x="740" y="1411"/>
                  </a:lnTo>
                  <a:lnTo>
                    <a:pt x="740" y="1411"/>
                  </a:lnTo>
                  <a:lnTo>
                    <a:pt x="735" y="1411"/>
                  </a:lnTo>
                  <a:lnTo>
                    <a:pt x="721" y="1411"/>
                  </a:lnTo>
                  <a:lnTo>
                    <a:pt x="721" y="1415"/>
                  </a:lnTo>
                  <a:lnTo>
                    <a:pt x="717" y="1415"/>
                  </a:lnTo>
                  <a:lnTo>
                    <a:pt x="712" y="1411"/>
                  </a:lnTo>
                  <a:lnTo>
                    <a:pt x="712" y="1415"/>
                  </a:lnTo>
                  <a:lnTo>
                    <a:pt x="708" y="1415"/>
                  </a:lnTo>
                  <a:lnTo>
                    <a:pt x="708" y="1415"/>
                  </a:lnTo>
                  <a:lnTo>
                    <a:pt x="708" y="1415"/>
                  </a:lnTo>
                  <a:lnTo>
                    <a:pt x="708" y="1420"/>
                  </a:lnTo>
                  <a:lnTo>
                    <a:pt x="708" y="1420"/>
                  </a:lnTo>
                  <a:lnTo>
                    <a:pt x="708" y="1420"/>
                  </a:lnTo>
                  <a:lnTo>
                    <a:pt x="708" y="1420"/>
                  </a:lnTo>
                  <a:lnTo>
                    <a:pt x="703" y="1420"/>
                  </a:lnTo>
                  <a:lnTo>
                    <a:pt x="703" y="1420"/>
                  </a:lnTo>
                  <a:lnTo>
                    <a:pt x="699" y="1420"/>
                  </a:lnTo>
                  <a:lnTo>
                    <a:pt x="694" y="1424"/>
                  </a:lnTo>
                  <a:lnTo>
                    <a:pt x="690" y="1424"/>
                  </a:lnTo>
                  <a:lnTo>
                    <a:pt x="690" y="1424"/>
                  </a:lnTo>
                  <a:lnTo>
                    <a:pt x="690" y="1424"/>
                  </a:lnTo>
                  <a:lnTo>
                    <a:pt x="690" y="1420"/>
                  </a:lnTo>
                  <a:lnTo>
                    <a:pt x="690" y="1420"/>
                  </a:lnTo>
                  <a:lnTo>
                    <a:pt x="690" y="1420"/>
                  </a:lnTo>
                  <a:lnTo>
                    <a:pt x="690" y="1424"/>
                  </a:lnTo>
                  <a:lnTo>
                    <a:pt x="685" y="1424"/>
                  </a:lnTo>
                  <a:lnTo>
                    <a:pt x="685" y="1424"/>
                  </a:lnTo>
                  <a:lnTo>
                    <a:pt x="685" y="1424"/>
                  </a:lnTo>
                  <a:lnTo>
                    <a:pt x="681" y="1424"/>
                  </a:lnTo>
                  <a:lnTo>
                    <a:pt x="681" y="1424"/>
                  </a:lnTo>
                  <a:lnTo>
                    <a:pt x="685" y="1420"/>
                  </a:lnTo>
                  <a:lnTo>
                    <a:pt x="681" y="1420"/>
                  </a:lnTo>
                  <a:lnTo>
                    <a:pt x="681" y="1415"/>
                  </a:lnTo>
                  <a:lnTo>
                    <a:pt x="681" y="1415"/>
                  </a:lnTo>
                  <a:lnTo>
                    <a:pt x="681" y="1411"/>
                  </a:lnTo>
                  <a:lnTo>
                    <a:pt x="676" y="1411"/>
                  </a:lnTo>
                  <a:lnTo>
                    <a:pt x="676" y="1411"/>
                  </a:lnTo>
                  <a:lnTo>
                    <a:pt x="681" y="1411"/>
                  </a:lnTo>
                  <a:lnTo>
                    <a:pt x="681" y="1406"/>
                  </a:lnTo>
                  <a:lnTo>
                    <a:pt x="681" y="1406"/>
                  </a:lnTo>
                  <a:lnTo>
                    <a:pt x="681" y="1406"/>
                  </a:lnTo>
                  <a:lnTo>
                    <a:pt x="681" y="1406"/>
                  </a:lnTo>
                  <a:lnTo>
                    <a:pt x="681" y="1406"/>
                  </a:lnTo>
                  <a:lnTo>
                    <a:pt x="681" y="1406"/>
                  </a:lnTo>
                  <a:lnTo>
                    <a:pt x="681" y="1402"/>
                  </a:lnTo>
                  <a:lnTo>
                    <a:pt x="676" y="1402"/>
                  </a:lnTo>
                  <a:lnTo>
                    <a:pt x="676" y="1402"/>
                  </a:lnTo>
                  <a:lnTo>
                    <a:pt x="676" y="1402"/>
                  </a:lnTo>
                  <a:lnTo>
                    <a:pt x="672" y="1402"/>
                  </a:lnTo>
                  <a:lnTo>
                    <a:pt x="667" y="1402"/>
                  </a:lnTo>
                  <a:lnTo>
                    <a:pt x="667" y="1402"/>
                  </a:lnTo>
                  <a:lnTo>
                    <a:pt x="662" y="1402"/>
                  </a:lnTo>
                  <a:lnTo>
                    <a:pt x="658" y="1406"/>
                  </a:lnTo>
                  <a:lnTo>
                    <a:pt x="649" y="1415"/>
                  </a:lnTo>
                  <a:lnTo>
                    <a:pt x="649" y="1415"/>
                  </a:lnTo>
                  <a:lnTo>
                    <a:pt x="649" y="1420"/>
                  </a:lnTo>
                  <a:lnTo>
                    <a:pt x="649" y="1424"/>
                  </a:lnTo>
                  <a:lnTo>
                    <a:pt x="649" y="1429"/>
                  </a:lnTo>
                  <a:lnTo>
                    <a:pt x="649" y="1429"/>
                  </a:lnTo>
                  <a:lnTo>
                    <a:pt x="644" y="1429"/>
                  </a:lnTo>
                  <a:lnTo>
                    <a:pt x="644" y="1429"/>
                  </a:lnTo>
                  <a:lnTo>
                    <a:pt x="644" y="1438"/>
                  </a:lnTo>
                  <a:lnTo>
                    <a:pt x="644" y="1442"/>
                  </a:lnTo>
                  <a:lnTo>
                    <a:pt x="644" y="1447"/>
                  </a:lnTo>
                  <a:lnTo>
                    <a:pt x="640" y="1452"/>
                  </a:lnTo>
                  <a:lnTo>
                    <a:pt x="635" y="1452"/>
                  </a:lnTo>
                  <a:lnTo>
                    <a:pt x="635" y="1452"/>
                  </a:lnTo>
                  <a:lnTo>
                    <a:pt x="635" y="1452"/>
                  </a:lnTo>
                  <a:lnTo>
                    <a:pt x="635" y="1456"/>
                  </a:lnTo>
                  <a:lnTo>
                    <a:pt x="635" y="1456"/>
                  </a:lnTo>
                  <a:lnTo>
                    <a:pt x="635" y="1461"/>
                  </a:lnTo>
                  <a:lnTo>
                    <a:pt x="635" y="1465"/>
                  </a:lnTo>
                  <a:lnTo>
                    <a:pt x="635" y="1465"/>
                  </a:lnTo>
                  <a:lnTo>
                    <a:pt x="631" y="1470"/>
                  </a:lnTo>
                  <a:lnTo>
                    <a:pt x="626" y="1470"/>
                  </a:lnTo>
                  <a:lnTo>
                    <a:pt x="626" y="1470"/>
                  </a:lnTo>
                  <a:lnTo>
                    <a:pt x="622" y="1470"/>
                  </a:lnTo>
                  <a:lnTo>
                    <a:pt x="622" y="1470"/>
                  </a:lnTo>
                  <a:lnTo>
                    <a:pt x="626" y="1465"/>
                  </a:lnTo>
                  <a:lnTo>
                    <a:pt x="626" y="1465"/>
                  </a:lnTo>
                  <a:lnTo>
                    <a:pt x="626" y="1465"/>
                  </a:lnTo>
                  <a:lnTo>
                    <a:pt x="626" y="1465"/>
                  </a:lnTo>
                  <a:lnTo>
                    <a:pt x="631" y="1465"/>
                  </a:lnTo>
                  <a:lnTo>
                    <a:pt x="631" y="1465"/>
                  </a:lnTo>
                  <a:lnTo>
                    <a:pt x="631" y="1465"/>
                  </a:lnTo>
                  <a:lnTo>
                    <a:pt x="631" y="1465"/>
                  </a:lnTo>
                  <a:lnTo>
                    <a:pt x="631" y="1461"/>
                  </a:lnTo>
                  <a:lnTo>
                    <a:pt x="631" y="1461"/>
                  </a:lnTo>
                  <a:lnTo>
                    <a:pt x="631" y="1461"/>
                  </a:lnTo>
                  <a:lnTo>
                    <a:pt x="626" y="1456"/>
                  </a:lnTo>
                  <a:lnTo>
                    <a:pt x="626" y="1456"/>
                  </a:lnTo>
                  <a:lnTo>
                    <a:pt x="622" y="1452"/>
                  </a:lnTo>
                  <a:lnTo>
                    <a:pt x="617" y="1452"/>
                  </a:lnTo>
                  <a:lnTo>
                    <a:pt x="617" y="1452"/>
                  </a:lnTo>
                  <a:lnTo>
                    <a:pt x="613" y="1447"/>
                  </a:lnTo>
                  <a:lnTo>
                    <a:pt x="613" y="1447"/>
                  </a:lnTo>
                  <a:lnTo>
                    <a:pt x="608" y="1447"/>
                  </a:lnTo>
                  <a:lnTo>
                    <a:pt x="608" y="1442"/>
                  </a:lnTo>
                  <a:lnTo>
                    <a:pt x="608" y="1442"/>
                  </a:lnTo>
                  <a:lnTo>
                    <a:pt x="604" y="1442"/>
                  </a:lnTo>
                  <a:lnTo>
                    <a:pt x="604" y="1442"/>
                  </a:lnTo>
                  <a:lnTo>
                    <a:pt x="599" y="1442"/>
                  </a:lnTo>
                  <a:lnTo>
                    <a:pt x="604" y="1442"/>
                  </a:lnTo>
                  <a:lnTo>
                    <a:pt x="604" y="1442"/>
                  </a:lnTo>
                  <a:lnTo>
                    <a:pt x="599" y="1442"/>
                  </a:lnTo>
                  <a:lnTo>
                    <a:pt x="599" y="1442"/>
                  </a:lnTo>
                  <a:lnTo>
                    <a:pt x="599" y="1442"/>
                  </a:lnTo>
                  <a:lnTo>
                    <a:pt x="599" y="1438"/>
                  </a:lnTo>
                  <a:lnTo>
                    <a:pt x="604" y="1438"/>
                  </a:lnTo>
                  <a:lnTo>
                    <a:pt x="604" y="1438"/>
                  </a:lnTo>
                  <a:lnTo>
                    <a:pt x="599" y="1438"/>
                  </a:lnTo>
                  <a:lnTo>
                    <a:pt x="599" y="1433"/>
                  </a:lnTo>
                  <a:lnTo>
                    <a:pt x="594" y="1433"/>
                  </a:lnTo>
                  <a:lnTo>
                    <a:pt x="590" y="1433"/>
                  </a:lnTo>
                  <a:lnTo>
                    <a:pt x="590" y="1433"/>
                  </a:lnTo>
                  <a:lnTo>
                    <a:pt x="585" y="1433"/>
                  </a:lnTo>
                  <a:lnTo>
                    <a:pt x="581" y="1433"/>
                  </a:lnTo>
                  <a:lnTo>
                    <a:pt x="581" y="1433"/>
                  </a:lnTo>
                  <a:lnTo>
                    <a:pt x="581" y="1433"/>
                  </a:lnTo>
                  <a:lnTo>
                    <a:pt x="576" y="1433"/>
                  </a:lnTo>
                  <a:lnTo>
                    <a:pt x="576" y="1433"/>
                  </a:lnTo>
                  <a:lnTo>
                    <a:pt x="576" y="1433"/>
                  </a:lnTo>
                  <a:lnTo>
                    <a:pt x="576" y="1433"/>
                  </a:lnTo>
                  <a:lnTo>
                    <a:pt x="576" y="1433"/>
                  </a:lnTo>
                  <a:lnTo>
                    <a:pt x="576" y="1438"/>
                  </a:lnTo>
                  <a:lnTo>
                    <a:pt x="576" y="1438"/>
                  </a:lnTo>
                  <a:lnTo>
                    <a:pt x="576" y="1438"/>
                  </a:lnTo>
                  <a:lnTo>
                    <a:pt x="576" y="1438"/>
                  </a:lnTo>
                  <a:lnTo>
                    <a:pt x="576" y="1438"/>
                  </a:lnTo>
                  <a:lnTo>
                    <a:pt x="576" y="1438"/>
                  </a:lnTo>
                  <a:lnTo>
                    <a:pt x="576" y="1438"/>
                  </a:lnTo>
                  <a:lnTo>
                    <a:pt x="572" y="1438"/>
                  </a:lnTo>
                  <a:lnTo>
                    <a:pt x="572" y="1438"/>
                  </a:lnTo>
                  <a:lnTo>
                    <a:pt x="572" y="1438"/>
                  </a:lnTo>
                  <a:lnTo>
                    <a:pt x="572" y="1438"/>
                  </a:lnTo>
                  <a:lnTo>
                    <a:pt x="567" y="1433"/>
                  </a:lnTo>
                  <a:lnTo>
                    <a:pt x="567" y="1433"/>
                  </a:lnTo>
                  <a:lnTo>
                    <a:pt x="567" y="1433"/>
                  </a:lnTo>
                  <a:lnTo>
                    <a:pt x="567" y="1433"/>
                  </a:lnTo>
                  <a:lnTo>
                    <a:pt x="563" y="1433"/>
                  </a:lnTo>
                  <a:lnTo>
                    <a:pt x="563" y="1433"/>
                  </a:lnTo>
                  <a:lnTo>
                    <a:pt x="563" y="1433"/>
                  </a:lnTo>
                  <a:lnTo>
                    <a:pt x="563" y="1433"/>
                  </a:lnTo>
                  <a:lnTo>
                    <a:pt x="563" y="1433"/>
                  </a:lnTo>
                  <a:lnTo>
                    <a:pt x="563" y="1438"/>
                  </a:lnTo>
                  <a:lnTo>
                    <a:pt x="563" y="1438"/>
                  </a:lnTo>
                  <a:lnTo>
                    <a:pt x="563" y="1438"/>
                  </a:lnTo>
                  <a:lnTo>
                    <a:pt x="563" y="1438"/>
                  </a:lnTo>
                  <a:lnTo>
                    <a:pt x="563" y="1438"/>
                  </a:lnTo>
                  <a:lnTo>
                    <a:pt x="563" y="1438"/>
                  </a:lnTo>
                  <a:lnTo>
                    <a:pt x="558" y="1438"/>
                  </a:lnTo>
                  <a:lnTo>
                    <a:pt x="558" y="1438"/>
                  </a:lnTo>
                  <a:lnTo>
                    <a:pt x="558" y="1438"/>
                  </a:lnTo>
                  <a:lnTo>
                    <a:pt x="558" y="1433"/>
                  </a:lnTo>
                  <a:lnTo>
                    <a:pt x="558" y="1438"/>
                  </a:lnTo>
                  <a:lnTo>
                    <a:pt x="558" y="1438"/>
                  </a:lnTo>
                  <a:lnTo>
                    <a:pt x="558" y="1438"/>
                  </a:lnTo>
                  <a:lnTo>
                    <a:pt x="554" y="1438"/>
                  </a:lnTo>
                  <a:lnTo>
                    <a:pt x="558" y="1433"/>
                  </a:lnTo>
                  <a:lnTo>
                    <a:pt x="558" y="1433"/>
                  </a:lnTo>
                  <a:lnTo>
                    <a:pt x="558" y="1429"/>
                  </a:lnTo>
                  <a:lnTo>
                    <a:pt x="554" y="1429"/>
                  </a:lnTo>
                  <a:lnTo>
                    <a:pt x="554" y="1429"/>
                  </a:lnTo>
                  <a:lnTo>
                    <a:pt x="554" y="1438"/>
                  </a:lnTo>
                  <a:lnTo>
                    <a:pt x="549" y="1438"/>
                  </a:lnTo>
                  <a:lnTo>
                    <a:pt x="549" y="1438"/>
                  </a:lnTo>
                  <a:lnTo>
                    <a:pt x="540" y="1442"/>
                  </a:lnTo>
                  <a:lnTo>
                    <a:pt x="540" y="1442"/>
                  </a:lnTo>
                  <a:lnTo>
                    <a:pt x="540" y="1442"/>
                  </a:lnTo>
                  <a:lnTo>
                    <a:pt x="540" y="1442"/>
                  </a:lnTo>
                  <a:lnTo>
                    <a:pt x="535" y="1442"/>
                  </a:lnTo>
                  <a:lnTo>
                    <a:pt x="535" y="1442"/>
                  </a:lnTo>
                  <a:lnTo>
                    <a:pt x="535" y="1438"/>
                  </a:lnTo>
                  <a:lnTo>
                    <a:pt x="535" y="1438"/>
                  </a:lnTo>
                  <a:lnTo>
                    <a:pt x="535" y="1438"/>
                  </a:lnTo>
                  <a:lnTo>
                    <a:pt x="535" y="1438"/>
                  </a:lnTo>
                  <a:lnTo>
                    <a:pt x="535" y="1438"/>
                  </a:lnTo>
                  <a:lnTo>
                    <a:pt x="535" y="1438"/>
                  </a:lnTo>
                  <a:lnTo>
                    <a:pt x="535" y="1442"/>
                  </a:lnTo>
                  <a:lnTo>
                    <a:pt x="531" y="1442"/>
                  </a:lnTo>
                  <a:lnTo>
                    <a:pt x="531" y="1442"/>
                  </a:lnTo>
                  <a:lnTo>
                    <a:pt x="531" y="1442"/>
                  </a:lnTo>
                  <a:lnTo>
                    <a:pt x="531" y="1438"/>
                  </a:lnTo>
                  <a:lnTo>
                    <a:pt x="531" y="1438"/>
                  </a:lnTo>
                  <a:lnTo>
                    <a:pt x="531" y="1438"/>
                  </a:lnTo>
                  <a:lnTo>
                    <a:pt x="531" y="1433"/>
                  </a:lnTo>
                  <a:lnTo>
                    <a:pt x="531" y="1433"/>
                  </a:lnTo>
                  <a:lnTo>
                    <a:pt x="531" y="1433"/>
                  </a:lnTo>
                  <a:lnTo>
                    <a:pt x="526" y="1433"/>
                  </a:lnTo>
                  <a:lnTo>
                    <a:pt x="522" y="1429"/>
                  </a:lnTo>
                  <a:lnTo>
                    <a:pt x="522" y="1429"/>
                  </a:lnTo>
                  <a:lnTo>
                    <a:pt x="517" y="1424"/>
                  </a:lnTo>
                  <a:lnTo>
                    <a:pt x="513" y="1429"/>
                  </a:lnTo>
                  <a:lnTo>
                    <a:pt x="508" y="1433"/>
                  </a:lnTo>
                  <a:lnTo>
                    <a:pt x="504" y="1438"/>
                  </a:lnTo>
                  <a:lnTo>
                    <a:pt x="504" y="1438"/>
                  </a:lnTo>
                  <a:lnTo>
                    <a:pt x="504" y="1438"/>
                  </a:lnTo>
                  <a:lnTo>
                    <a:pt x="499" y="1438"/>
                  </a:lnTo>
                  <a:lnTo>
                    <a:pt x="499" y="1438"/>
                  </a:lnTo>
                  <a:lnTo>
                    <a:pt x="499" y="1433"/>
                  </a:lnTo>
                  <a:lnTo>
                    <a:pt x="504" y="1433"/>
                  </a:lnTo>
                  <a:lnTo>
                    <a:pt x="504" y="1433"/>
                  </a:lnTo>
                  <a:lnTo>
                    <a:pt x="504" y="1429"/>
                  </a:lnTo>
                  <a:lnTo>
                    <a:pt x="504" y="1429"/>
                  </a:lnTo>
                  <a:lnTo>
                    <a:pt x="504" y="1429"/>
                  </a:lnTo>
                  <a:lnTo>
                    <a:pt x="504" y="1424"/>
                  </a:lnTo>
                  <a:lnTo>
                    <a:pt x="504" y="1424"/>
                  </a:lnTo>
                  <a:lnTo>
                    <a:pt x="504" y="1424"/>
                  </a:lnTo>
                  <a:lnTo>
                    <a:pt x="504" y="1424"/>
                  </a:lnTo>
                  <a:lnTo>
                    <a:pt x="499" y="1420"/>
                  </a:lnTo>
                  <a:lnTo>
                    <a:pt x="499" y="1420"/>
                  </a:lnTo>
                  <a:lnTo>
                    <a:pt x="499" y="1415"/>
                  </a:lnTo>
                  <a:lnTo>
                    <a:pt x="499" y="1415"/>
                  </a:lnTo>
                  <a:lnTo>
                    <a:pt x="499" y="1415"/>
                  </a:lnTo>
                  <a:lnTo>
                    <a:pt x="499" y="1411"/>
                  </a:lnTo>
                  <a:lnTo>
                    <a:pt x="504" y="1411"/>
                  </a:lnTo>
                  <a:lnTo>
                    <a:pt x="504" y="1411"/>
                  </a:lnTo>
                  <a:lnTo>
                    <a:pt x="504" y="1411"/>
                  </a:lnTo>
                  <a:lnTo>
                    <a:pt x="508" y="1406"/>
                  </a:lnTo>
                  <a:lnTo>
                    <a:pt x="508" y="1406"/>
                  </a:lnTo>
                  <a:lnTo>
                    <a:pt x="508" y="1406"/>
                  </a:lnTo>
                  <a:lnTo>
                    <a:pt x="508" y="1402"/>
                  </a:lnTo>
                  <a:lnTo>
                    <a:pt x="508" y="1402"/>
                  </a:lnTo>
                  <a:lnTo>
                    <a:pt x="504" y="1397"/>
                  </a:lnTo>
                  <a:lnTo>
                    <a:pt x="504" y="1397"/>
                  </a:lnTo>
                  <a:lnTo>
                    <a:pt x="504" y="1397"/>
                  </a:lnTo>
                  <a:lnTo>
                    <a:pt x="504" y="1393"/>
                  </a:lnTo>
                  <a:lnTo>
                    <a:pt x="504" y="1393"/>
                  </a:lnTo>
                  <a:lnTo>
                    <a:pt x="504" y="1393"/>
                  </a:lnTo>
                  <a:lnTo>
                    <a:pt x="504" y="1393"/>
                  </a:lnTo>
                  <a:lnTo>
                    <a:pt x="504" y="1393"/>
                  </a:lnTo>
                  <a:lnTo>
                    <a:pt x="504" y="1388"/>
                  </a:lnTo>
                  <a:lnTo>
                    <a:pt x="504" y="1384"/>
                  </a:lnTo>
                  <a:lnTo>
                    <a:pt x="508" y="1384"/>
                  </a:lnTo>
                  <a:lnTo>
                    <a:pt x="508" y="1384"/>
                  </a:lnTo>
                  <a:lnTo>
                    <a:pt x="508" y="1384"/>
                  </a:lnTo>
                  <a:lnTo>
                    <a:pt x="513" y="1384"/>
                  </a:lnTo>
                  <a:lnTo>
                    <a:pt x="513" y="1384"/>
                  </a:lnTo>
                  <a:lnTo>
                    <a:pt x="513" y="1384"/>
                  </a:lnTo>
                  <a:lnTo>
                    <a:pt x="517" y="1384"/>
                  </a:lnTo>
                  <a:lnTo>
                    <a:pt x="517" y="1384"/>
                  </a:lnTo>
                  <a:lnTo>
                    <a:pt x="517" y="1384"/>
                  </a:lnTo>
                  <a:lnTo>
                    <a:pt x="517" y="1384"/>
                  </a:lnTo>
                  <a:lnTo>
                    <a:pt x="517" y="1379"/>
                  </a:lnTo>
                  <a:lnTo>
                    <a:pt x="513" y="1379"/>
                  </a:lnTo>
                  <a:lnTo>
                    <a:pt x="513" y="1379"/>
                  </a:lnTo>
                  <a:lnTo>
                    <a:pt x="513" y="1379"/>
                  </a:lnTo>
                  <a:lnTo>
                    <a:pt x="513" y="1379"/>
                  </a:lnTo>
                  <a:lnTo>
                    <a:pt x="513" y="1379"/>
                  </a:lnTo>
                  <a:lnTo>
                    <a:pt x="513" y="1379"/>
                  </a:lnTo>
                  <a:lnTo>
                    <a:pt x="513" y="1374"/>
                  </a:lnTo>
                  <a:lnTo>
                    <a:pt x="513" y="1374"/>
                  </a:lnTo>
                  <a:lnTo>
                    <a:pt x="517" y="1374"/>
                  </a:lnTo>
                  <a:lnTo>
                    <a:pt x="517" y="1374"/>
                  </a:lnTo>
                  <a:lnTo>
                    <a:pt x="517" y="1379"/>
                  </a:lnTo>
                  <a:lnTo>
                    <a:pt x="517" y="1379"/>
                  </a:lnTo>
                  <a:lnTo>
                    <a:pt x="517" y="1379"/>
                  </a:lnTo>
                  <a:lnTo>
                    <a:pt x="522" y="1379"/>
                  </a:lnTo>
                  <a:lnTo>
                    <a:pt x="522" y="1379"/>
                  </a:lnTo>
                  <a:lnTo>
                    <a:pt x="522" y="1379"/>
                  </a:lnTo>
                  <a:lnTo>
                    <a:pt x="526" y="1379"/>
                  </a:lnTo>
                  <a:lnTo>
                    <a:pt x="526" y="1379"/>
                  </a:lnTo>
                  <a:lnTo>
                    <a:pt x="526" y="1379"/>
                  </a:lnTo>
                  <a:lnTo>
                    <a:pt x="531" y="1379"/>
                  </a:lnTo>
                  <a:lnTo>
                    <a:pt x="531" y="1379"/>
                  </a:lnTo>
                  <a:lnTo>
                    <a:pt x="531" y="1384"/>
                  </a:lnTo>
                  <a:lnTo>
                    <a:pt x="535" y="1384"/>
                  </a:lnTo>
                  <a:lnTo>
                    <a:pt x="535" y="1388"/>
                  </a:lnTo>
                  <a:lnTo>
                    <a:pt x="535" y="1384"/>
                  </a:lnTo>
                  <a:lnTo>
                    <a:pt x="535" y="1379"/>
                  </a:lnTo>
                  <a:lnTo>
                    <a:pt x="535" y="1379"/>
                  </a:lnTo>
                  <a:lnTo>
                    <a:pt x="535" y="1379"/>
                  </a:lnTo>
                  <a:lnTo>
                    <a:pt x="540" y="1379"/>
                  </a:lnTo>
                  <a:lnTo>
                    <a:pt x="540" y="1379"/>
                  </a:lnTo>
                  <a:lnTo>
                    <a:pt x="545" y="1379"/>
                  </a:lnTo>
                  <a:lnTo>
                    <a:pt x="545" y="1379"/>
                  </a:lnTo>
                  <a:lnTo>
                    <a:pt x="545" y="1379"/>
                  </a:lnTo>
                  <a:lnTo>
                    <a:pt x="549" y="1384"/>
                  </a:lnTo>
                  <a:lnTo>
                    <a:pt x="545" y="1384"/>
                  </a:lnTo>
                  <a:lnTo>
                    <a:pt x="545" y="1384"/>
                  </a:lnTo>
                  <a:lnTo>
                    <a:pt x="545" y="1384"/>
                  </a:lnTo>
                  <a:lnTo>
                    <a:pt x="545" y="1379"/>
                  </a:lnTo>
                  <a:lnTo>
                    <a:pt x="540" y="1384"/>
                  </a:lnTo>
                  <a:lnTo>
                    <a:pt x="540" y="1384"/>
                  </a:lnTo>
                  <a:lnTo>
                    <a:pt x="540" y="1384"/>
                  </a:lnTo>
                  <a:lnTo>
                    <a:pt x="540" y="1388"/>
                  </a:lnTo>
                  <a:lnTo>
                    <a:pt x="540" y="1388"/>
                  </a:lnTo>
                  <a:lnTo>
                    <a:pt x="540" y="1384"/>
                  </a:lnTo>
                  <a:lnTo>
                    <a:pt x="545" y="1384"/>
                  </a:lnTo>
                  <a:lnTo>
                    <a:pt x="549" y="1384"/>
                  </a:lnTo>
                  <a:lnTo>
                    <a:pt x="563" y="1384"/>
                  </a:lnTo>
                  <a:lnTo>
                    <a:pt x="563" y="1379"/>
                  </a:lnTo>
                  <a:lnTo>
                    <a:pt x="563" y="1379"/>
                  </a:lnTo>
                  <a:lnTo>
                    <a:pt x="567" y="1374"/>
                  </a:lnTo>
                  <a:lnTo>
                    <a:pt x="567" y="1374"/>
                  </a:lnTo>
                  <a:lnTo>
                    <a:pt x="567" y="1370"/>
                  </a:lnTo>
                  <a:lnTo>
                    <a:pt x="567" y="1370"/>
                  </a:lnTo>
                  <a:lnTo>
                    <a:pt x="572" y="1370"/>
                  </a:lnTo>
                  <a:lnTo>
                    <a:pt x="576" y="1365"/>
                  </a:lnTo>
                  <a:lnTo>
                    <a:pt x="576" y="1365"/>
                  </a:lnTo>
                  <a:lnTo>
                    <a:pt x="581" y="1365"/>
                  </a:lnTo>
                  <a:lnTo>
                    <a:pt x="581" y="1361"/>
                  </a:lnTo>
                  <a:lnTo>
                    <a:pt x="581" y="1361"/>
                  </a:lnTo>
                  <a:lnTo>
                    <a:pt x="581" y="1361"/>
                  </a:lnTo>
                  <a:lnTo>
                    <a:pt x="585" y="1361"/>
                  </a:lnTo>
                  <a:lnTo>
                    <a:pt x="585" y="1361"/>
                  </a:lnTo>
                  <a:lnTo>
                    <a:pt x="585" y="1361"/>
                  </a:lnTo>
                  <a:lnTo>
                    <a:pt x="585" y="1356"/>
                  </a:lnTo>
                  <a:lnTo>
                    <a:pt x="585" y="1356"/>
                  </a:lnTo>
                  <a:lnTo>
                    <a:pt x="585" y="1356"/>
                  </a:lnTo>
                  <a:lnTo>
                    <a:pt x="590" y="1356"/>
                  </a:lnTo>
                  <a:lnTo>
                    <a:pt x="590" y="1356"/>
                  </a:lnTo>
                  <a:lnTo>
                    <a:pt x="594" y="1356"/>
                  </a:lnTo>
                  <a:lnTo>
                    <a:pt x="594" y="1356"/>
                  </a:lnTo>
                  <a:lnTo>
                    <a:pt x="599" y="1356"/>
                  </a:lnTo>
                  <a:lnTo>
                    <a:pt x="604" y="1352"/>
                  </a:lnTo>
                  <a:lnTo>
                    <a:pt x="604" y="1352"/>
                  </a:lnTo>
                  <a:lnTo>
                    <a:pt x="613" y="1352"/>
                  </a:lnTo>
                  <a:lnTo>
                    <a:pt x="613" y="1352"/>
                  </a:lnTo>
                  <a:lnTo>
                    <a:pt x="613" y="1352"/>
                  </a:lnTo>
                  <a:lnTo>
                    <a:pt x="613" y="1347"/>
                  </a:lnTo>
                  <a:lnTo>
                    <a:pt x="613" y="1347"/>
                  </a:lnTo>
                  <a:lnTo>
                    <a:pt x="617" y="1347"/>
                  </a:lnTo>
                  <a:lnTo>
                    <a:pt x="617" y="1343"/>
                  </a:lnTo>
                  <a:lnTo>
                    <a:pt x="617" y="1343"/>
                  </a:lnTo>
                  <a:lnTo>
                    <a:pt x="622" y="1343"/>
                  </a:lnTo>
                  <a:lnTo>
                    <a:pt x="622" y="1343"/>
                  </a:lnTo>
                  <a:lnTo>
                    <a:pt x="631" y="1338"/>
                  </a:lnTo>
                  <a:lnTo>
                    <a:pt x="631" y="1334"/>
                  </a:lnTo>
                  <a:lnTo>
                    <a:pt x="635" y="1334"/>
                  </a:lnTo>
                  <a:lnTo>
                    <a:pt x="635" y="1334"/>
                  </a:lnTo>
                  <a:lnTo>
                    <a:pt x="635" y="1329"/>
                  </a:lnTo>
                  <a:lnTo>
                    <a:pt x="640" y="1329"/>
                  </a:lnTo>
                  <a:lnTo>
                    <a:pt x="644" y="1325"/>
                  </a:lnTo>
                  <a:lnTo>
                    <a:pt x="644" y="1325"/>
                  </a:lnTo>
                  <a:lnTo>
                    <a:pt x="649" y="1320"/>
                  </a:lnTo>
                  <a:lnTo>
                    <a:pt x="653" y="1315"/>
                  </a:lnTo>
                  <a:lnTo>
                    <a:pt x="658" y="1315"/>
                  </a:lnTo>
                  <a:lnTo>
                    <a:pt x="662" y="1315"/>
                  </a:lnTo>
                  <a:lnTo>
                    <a:pt x="662" y="1315"/>
                  </a:lnTo>
                  <a:lnTo>
                    <a:pt x="667" y="1315"/>
                  </a:lnTo>
                  <a:lnTo>
                    <a:pt x="672" y="1306"/>
                  </a:lnTo>
                  <a:lnTo>
                    <a:pt x="676" y="1306"/>
                  </a:lnTo>
                  <a:lnTo>
                    <a:pt x="676" y="1302"/>
                  </a:lnTo>
                  <a:lnTo>
                    <a:pt x="676" y="1302"/>
                  </a:lnTo>
                  <a:lnTo>
                    <a:pt x="676" y="1297"/>
                  </a:lnTo>
                  <a:lnTo>
                    <a:pt x="685" y="1293"/>
                  </a:lnTo>
                  <a:lnTo>
                    <a:pt x="685" y="1293"/>
                  </a:lnTo>
                  <a:lnTo>
                    <a:pt x="690" y="1293"/>
                  </a:lnTo>
                  <a:lnTo>
                    <a:pt x="694" y="1288"/>
                  </a:lnTo>
                  <a:lnTo>
                    <a:pt x="694" y="1288"/>
                  </a:lnTo>
                  <a:lnTo>
                    <a:pt x="703" y="1288"/>
                  </a:lnTo>
                  <a:lnTo>
                    <a:pt x="703" y="1288"/>
                  </a:lnTo>
                  <a:lnTo>
                    <a:pt x="703" y="1284"/>
                  </a:lnTo>
                  <a:lnTo>
                    <a:pt x="708" y="1284"/>
                  </a:lnTo>
                  <a:lnTo>
                    <a:pt x="708" y="1279"/>
                  </a:lnTo>
                  <a:lnTo>
                    <a:pt x="708" y="1275"/>
                  </a:lnTo>
                  <a:lnTo>
                    <a:pt x="708" y="1275"/>
                  </a:lnTo>
                  <a:lnTo>
                    <a:pt x="708" y="1275"/>
                  </a:lnTo>
                  <a:lnTo>
                    <a:pt x="708" y="1275"/>
                  </a:lnTo>
                  <a:lnTo>
                    <a:pt x="703" y="1270"/>
                  </a:lnTo>
                  <a:lnTo>
                    <a:pt x="703" y="1270"/>
                  </a:lnTo>
                  <a:lnTo>
                    <a:pt x="703" y="1270"/>
                  </a:lnTo>
                  <a:lnTo>
                    <a:pt x="708" y="1270"/>
                  </a:lnTo>
                  <a:lnTo>
                    <a:pt x="708" y="1266"/>
                  </a:lnTo>
                  <a:lnTo>
                    <a:pt x="708" y="1266"/>
                  </a:lnTo>
                  <a:lnTo>
                    <a:pt x="712" y="1270"/>
                  </a:lnTo>
                  <a:lnTo>
                    <a:pt x="717" y="1266"/>
                  </a:lnTo>
                  <a:lnTo>
                    <a:pt x="712" y="1266"/>
                  </a:lnTo>
                  <a:lnTo>
                    <a:pt x="717" y="1266"/>
                  </a:lnTo>
                  <a:lnTo>
                    <a:pt x="717" y="1266"/>
                  </a:lnTo>
                  <a:lnTo>
                    <a:pt x="717" y="1266"/>
                  </a:lnTo>
                  <a:lnTo>
                    <a:pt x="717" y="1266"/>
                  </a:lnTo>
                  <a:lnTo>
                    <a:pt x="721" y="1266"/>
                  </a:lnTo>
                  <a:lnTo>
                    <a:pt x="726" y="1266"/>
                  </a:lnTo>
                  <a:lnTo>
                    <a:pt x="726" y="1261"/>
                  </a:lnTo>
                  <a:lnTo>
                    <a:pt x="726" y="1261"/>
                  </a:lnTo>
                  <a:lnTo>
                    <a:pt x="740" y="1261"/>
                  </a:lnTo>
                  <a:lnTo>
                    <a:pt x="740" y="1261"/>
                  </a:lnTo>
                  <a:lnTo>
                    <a:pt x="740" y="1261"/>
                  </a:lnTo>
                  <a:lnTo>
                    <a:pt x="740" y="1261"/>
                  </a:lnTo>
                  <a:lnTo>
                    <a:pt x="740" y="1261"/>
                  </a:lnTo>
                  <a:lnTo>
                    <a:pt x="744" y="1261"/>
                  </a:lnTo>
                  <a:lnTo>
                    <a:pt x="749" y="1261"/>
                  </a:lnTo>
                  <a:lnTo>
                    <a:pt x="749" y="1257"/>
                  </a:lnTo>
                  <a:lnTo>
                    <a:pt x="749" y="1257"/>
                  </a:lnTo>
                  <a:lnTo>
                    <a:pt x="753" y="1257"/>
                  </a:lnTo>
                  <a:lnTo>
                    <a:pt x="753" y="1257"/>
                  </a:lnTo>
                  <a:lnTo>
                    <a:pt x="753" y="1252"/>
                  </a:lnTo>
                  <a:lnTo>
                    <a:pt x="753" y="1252"/>
                  </a:lnTo>
                  <a:lnTo>
                    <a:pt x="758" y="1257"/>
                  </a:lnTo>
                  <a:lnTo>
                    <a:pt x="758" y="1257"/>
                  </a:lnTo>
                  <a:lnTo>
                    <a:pt x="758" y="1257"/>
                  </a:lnTo>
                  <a:lnTo>
                    <a:pt x="762" y="1257"/>
                  </a:lnTo>
                  <a:lnTo>
                    <a:pt x="767" y="1261"/>
                  </a:lnTo>
                  <a:lnTo>
                    <a:pt x="767" y="1257"/>
                  </a:lnTo>
                  <a:lnTo>
                    <a:pt x="767" y="1257"/>
                  </a:lnTo>
                  <a:lnTo>
                    <a:pt x="767" y="1257"/>
                  </a:lnTo>
                  <a:lnTo>
                    <a:pt x="767" y="1257"/>
                  </a:lnTo>
                  <a:lnTo>
                    <a:pt x="767" y="1257"/>
                  </a:lnTo>
                  <a:lnTo>
                    <a:pt x="771" y="1261"/>
                  </a:lnTo>
                  <a:lnTo>
                    <a:pt x="771" y="1257"/>
                  </a:lnTo>
                  <a:lnTo>
                    <a:pt x="771" y="1257"/>
                  </a:lnTo>
                  <a:lnTo>
                    <a:pt x="776" y="1257"/>
                  </a:lnTo>
                  <a:lnTo>
                    <a:pt x="776" y="1261"/>
                  </a:lnTo>
                  <a:lnTo>
                    <a:pt x="776" y="1261"/>
                  </a:lnTo>
                  <a:lnTo>
                    <a:pt x="776" y="1261"/>
                  </a:lnTo>
                  <a:lnTo>
                    <a:pt x="771" y="1261"/>
                  </a:lnTo>
                  <a:lnTo>
                    <a:pt x="771" y="1261"/>
                  </a:lnTo>
                  <a:lnTo>
                    <a:pt x="771" y="1266"/>
                  </a:lnTo>
                  <a:lnTo>
                    <a:pt x="771" y="1266"/>
                  </a:lnTo>
                  <a:lnTo>
                    <a:pt x="771" y="1266"/>
                  </a:lnTo>
                  <a:lnTo>
                    <a:pt x="771" y="1270"/>
                  </a:lnTo>
                  <a:lnTo>
                    <a:pt x="776" y="1270"/>
                  </a:lnTo>
                  <a:lnTo>
                    <a:pt x="780" y="1275"/>
                  </a:lnTo>
                  <a:lnTo>
                    <a:pt x="785" y="1275"/>
                  </a:lnTo>
                  <a:lnTo>
                    <a:pt x="785" y="1275"/>
                  </a:lnTo>
                  <a:lnTo>
                    <a:pt x="789" y="1275"/>
                  </a:lnTo>
                  <a:lnTo>
                    <a:pt x="794" y="1270"/>
                  </a:lnTo>
                  <a:lnTo>
                    <a:pt x="799" y="1266"/>
                  </a:lnTo>
                  <a:lnTo>
                    <a:pt x="799" y="1266"/>
                  </a:lnTo>
                  <a:lnTo>
                    <a:pt x="803" y="1266"/>
                  </a:lnTo>
                  <a:lnTo>
                    <a:pt x="808" y="1266"/>
                  </a:lnTo>
                  <a:lnTo>
                    <a:pt x="817" y="1270"/>
                  </a:lnTo>
                  <a:lnTo>
                    <a:pt x="826" y="1275"/>
                  </a:lnTo>
                  <a:lnTo>
                    <a:pt x="844" y="1270"/>
                  </a:lnTo>
                  <a:lnTo>
                    <a:pt x="858" y="1270"/>
                  </a:lnTo>
                  <a:lnTo>
                    <a:pt x="876" y="1270"/>
                  </a:lnTo>
                  <a:lnTo>
                    <a:pt x="876" y="1270"/>
                  </a:lnTo>
                  <a:lnTo>
                    <a:pt x="876" y="1270"/>
                  </a:lnTo>
                  <a:lnTo>
                    <a:pt x="880" y="1266"/>
                  </a:lnTo>
                  <a:lnTo>
                    <a:pt x="885" y="1266"/>
                  </a:lnTo>
                  <a:lnTo>
                    <a:pt x="885" y="1266"/>
                  </a:lnTo>
                  <a:lnTo>
                    <a:pt x="889" y="1266"/>
                  </a:lnTo>
                  <a:lnTo>
                    <a:pt x="889" y="1266"/>
                  </a:lnTo>
                  <a:lnTo>
                    <a:pt x="894" y="1261"/>
                  </a:lnTo>
                  <a:lnTo>
                    <a:pt x="898" y="1261"/>
                  </a:lnTo>
                  <a:lnTo>
                    <a:pt x="903" y="1257"/>
                  </a:lnTo>
                  <a:lnTo>
                    <a:pt x="907" y="1257"/>
                  </a:lnTo>
                  <a:lnTo>
                    <a:pt x="916" y="1261"/>
                  </a:lnTo>
                  <a:lnTo>
                    <a:pt x="921" y="1261"/>
                  </a:lnTo>
                  <a:lnTo>
                    <a:pt x="926" y="1261"/>
                  </a:lnTo>
                  <a:lnTo>
                    <a:pt x="935" y="1261"/>
                  </a:lnTo>
                  <a:lnTo>
                    <a:pt x="935" y="1261"/>
                  </a:lnTo>
                  <a:lnTo>
                    <a:pt x="935" y="1261"/>
                  </a:lnTo>
                  <a:lnTo>
                    <a:pt x="939" y="1261"/>
                  </a:lnTo>
                  <a:lnTo>
                    <a:pt x="939" y="1261"/>
                  </a:lnTo>
                  <a:lnTo>
                    <a:pt x="939" y="1261"/>
                  </a:lnTo>
                  <a:lnTo>
                    <a:pt x="944" y="1261"/>
                  </a:lnTo>
                  <a:lnTo>
                    <a:pt x="944" y="1261"/>
                  </a:lnTo>
                  <a:lnTo>
                    <a:pt x="948" y="1261"/>
                  </a:lnTo>
                  <a:lnTo>
                    <a:pt x="948" y="1261"/>
                  </a:lnTo>
                  <a:lnTo>
                    <a:pt x="948" y="1261"/>
                  </a:lnTo>
                  <a:lnTo>
                    <a:pt x="953" y="1261"/>
                  </a:lnTo>
                  <a:lnTo>
                    <a:pt x="953" y="1261"/>
                  </a:lnTo>
                  <a:lnTo>
                    <a:pt x="953" y="1261"/>
                  </a:lnTo>
                  <a:lnTo>
                    <a:pt x="953" y="1257"/>
                  </a:lnTo>
                  <a:lnTo>
                    <a:pt x="957" y="1257"/>
                  </a:lnTo>
                  <a:lnTo>
                    <a:pt x="957" y="1257"/>
                  </a:lnTo>
                  <a:lnTo>
                    <a:pt x="962" y="1257"/>
                  </a:lnTo>
                  <a:lnTo>
                    <a:pt x="962" y="1257"/>
                  </a:lnTo>
                  <a:lnTo>
                    <a:pt x="966" y="1252"/>
                  </a:lnTo>
                  <a:lnTo>
                    <a:pt x="966" y="1252"/>
                  </a:lnTo>
                  <a:lnTo>
                    <a:pt x="971" y="1252"/>
                  </a:lnTo>
                  <a:lnTo>
                    <a:pt x="975" y="1247"/>
                  </a:lnTo>
                  <a:lnTo>
                    <a:pt x="980" y="1247"/>
                  </a:lnTo>
                  <a:lnTo>
                    <a:pt x="980" y="1252"/>
                  </a:lnTo>
                  <a:lnTo>
                    <a:pt x="985" y="1252"/>
                  </a:lnTo>
                  <a:lnTo>
                    <a:pt x="985" y="1252"/>
                  </a:lnTo>
                  <a:lnTo>
                    <a:pt x="985" y="1252"/>
                  </a:lnTo>
                  <a:lnTo>
                    <a:pt x="989" y="1257"/>
                  </a:lnTo>
                  <a:lnTo>
                    <a:pt x="989" y="1261"/>
                  </a:lnTo>
                  <a:lnTo>
                    <a:pt x="989" y="1261"/>
                  </a:lnTo>
                  <a:lnTo>
                    <a:pt x="989" y="1261"/>
                  </a:lnTo>
                  <a:lnTo>
                    <a:pt x="985" y="1261"/>
                  </a:lnTo>
                  <a:lnTo>
                    <a:pt x="985" y="1261"/>
                  </a:lnTo>
                  <a:lnTo>
                    <a:pt x="985" y="1266"/>
                  </a:lnTo>
                  <a:lnTo>
                    <a:pt x="985" y="1266"/>
                  </a:lnTo>
                  <a:lnTo>
                    <a:pt x="985" y="1270"/>
                  </a:lnTo>
                  <a:lnTo>
                    <a:pt x="980" y="1275"/>
                  </a:lnTo>
                  <a:lnTo>
                    <a:pt x="975" y="1275"/>
                  </a:lnTo>
                  <a:lnTo>
                    <a:pt x="975" y="1275"/>
                  </a:lnTo>
                  <a:lnTo>
                    <a:pt x="975" y="1279"/>
                  </a:lnTo>
                  <a:lnTo>
                    <a:pt x="980" y="1279"/>
                  </a:lnTo>
                  <a:lnTo>
                    <a:pt x="980" y="1279"/>
                  </a:lnTo>
                  <a:lnTo>
                    <a:pt x="980" y="1275"/>
                  </a:lnTo>
                  <a:lnTo>
                    <a:pt x="980" y="1275"/>
                  </a:lnTo>
                  <a:lnTo>
                    <a:pt x="980" y="1275"/>
                  </a:lnTo>
                  <a:lnTo>
                    <a:pt x="985" y="1270"/>
                  </a:lnTo>
                  <a:lnTo>
                    <a:pt x="985" y="1275"/>
                  </a:lnTo>
                  <a:lnTo>
                    <a:pt x="985" y="1275"/>
                  </a:lnTo>
                  <a:lnTo>
                    <a:pt x="985" y="1275"/>
                  </a:lnTo>
                  <a:lnTo>
                    <a:pt x="985" y="1275"/>
                  </a:lnTo>
                  <a:lnTo>
                    <a:pt x="985" y="1275"/>
                  </a:lnTo>
                  <a:lnTo>
                    <a:pt x="985" y="1279"/>
                  </a:lnTo>
                  <a:lnTo>
                    <a:pt x="980" y="1279"/>
                  </a:lnTo>
                  <a:lnTo>
                    <a:pt x="989" y="1284"/>
                  </a:lnTo>
                  <a:lnTo>
                    <a:pt x="989" y="1284"/>
                  </a:lnTo>
                  <a:lnTo>
                    <a:pt x="989" y="1284"/>
                  </a:lnTo>
                  <a:lnTo>
                    <a:pt x="989" y="1284"/>
                  </a:lnTo>
                  <a:lnTo>
                    <a:pt x="989" y="1284"/>
                  </a:lnTo>
                  <a:lnTo>
                    <a:pt x="989" y="1284"/>
                  </a:lnTo>
                  <a:lnTo>
                    <a:pt x="989" y="1288"/>
                  </a:lnTo>
                  <a:lnTo>
                    <a:pt x="989" y="1288"/>
                  </a:lnTo>
                  <a:lnTo>
                    <a:pt x="989" y="1288"/>
                  </a:lnTo>
                  <a:lnTo>
                    <a:pt x="989" y="1288"/>
                  </a:lnTo>
                  <a:lnTo>
                    <a:pt x="994" y="1288"/>
                  </a:lnTo>
                  <a:lnTo>
                    <a:pt x="994" y="1284"/>
                  </a:lnTo>
                  <a:lnTo>
                    <a:pt x="998" y="1288"/>
                  </a:lnTo>
                  <a:lnTo>
                    <a:pt x="998" y="1288"/>
                  </a:lnTo>
                  <a:lnTo>
                    <a:pt x="998" y="1284"/>
                  </a:lnTo>
                  <a:lnTo>
                    <a:pt x="998" y="1284"/>
                  </a:lnTo>
                  <a:lnTo>
                    <a:pt x="994" y="1284"/>
                  </a:lnTo>
                  <a:lnTo>
                    <a:pt x="994" y="1279"/>
                  </a:lnTo>
                  <a:lnTo>
                    <a:pt x="994" y="1279"/>
                  </a:lnTo>
                  <a:lnTo>
                    <a:pt x="994" y="1275"/>
                  </a:lnTo>
                  <a:lnTo>
                    <a:pt x="994" y="1275"/>
                  </a:lnTo>
                  <a:lnTo>
                    <a:pt x="998" y="1275"/>
                  </a:lnTo>
                  <a:lnTo>
                    <a:pt x="998" y="1275"/>
                  </a:lnTo>
                  <a:lnTo>
                    <a:pt x="1003" y="1275"/>
                  </a:lnTo>
                  <a:lnTo>
                    <a:pt x="1003" y="1275"/>
                  </a:lnTo>
                  <a:lnTo>
                    <a:pt x="1003" y="1275"/>
                  </a:lnTo>
                  <a:lnTo>
                    <a:pt x="1007" y="1275"/>
                  </a:lnTo>
                  <a:lnTo>
                    <a:pt x="1007" y="1275"/>
                  </a:lnTo>
                  <a:lnTo>
                    <a:pt x="1007" y="1275"/>
                  </a:lnTo>
                  <a:lnTo>
                    <a:pt x="1007" y="1279"/>
                  </a:lnTo>
                  <a:lnTo>
                    <a:pt x="1007" y="1279"/>
                  </a:lnTo>
                  <a:lnTo>
                    <a:pt x="1007" y="1279"/>
                  </a:lnTo>
                  <a:lnTo>
                    <a:pt x="1007" y="1279"/>
                  </a:lnTo>
                  <a:lnTo>
                    <a:pt x="1007" y="1279"/>
                  </a:lnTo>
                  <a:lnTo>
                    <a:pt x="1007" y="1279"/>
                  </a:lnTo>
                  <a:lnTo>
                    <a:pt x="1007" y="1279"/>
                  </a:lnTo>
                  <a:lnTo>
                    <a:pt x="1007" y="1279"/>
                  </a:lnTo>
                  <a:lnTo>
                    <a:pt x="1012" y="1279"/>
                  </a:lnTo>
                  <a:lnTo>
                    <a:pt x="1012" y="1279"/>
                  </a:lnTo>
                  <a:lnTo>
                    <a:pt x="1012" y="1284"/>
                  </a:lnTo>
                  <a:lnTo>
                    <a:pt x="1012" y="1284"/>
                  </a:lnTo>
                  <a:lnTo>
                    <a:pt x="1012" y="1284"/>
                  </a:lnTo>
                  <a:lnTo>
                    <a:pt x="1016" y="1284"/>
                  </a:lnTo>
                  <a:lnTo>
                    <a:pt x="1016" y="1284"/>
                  </a:lnTo>
                  <a:lnTo>
                    <a:pt x="1016" y="1284"/>
                  </a:lnTo>
                  <a:lnTo>
                    <a:pt x="1021" y="1284"/>
                  </a:lnTo>
                  <a:lnTo>
                    <a:pt x="1021" y="1284"/>
                  </a:lnTo>
                  <a:lnTo>
                    <a:pt x="1025" y="1279"/>
                  </a:lnTo>
                  <a:lnTo>
                    <a:pt x="1025" y="1279"/>
                  </a:lnTo>
                  <a:lnTo>
                    <a:pt x="1025" y="1279"/>
                  </a:lnTo>
                  <a:lnTo>
                    <a:pt x="1025" y="1284"/>
                  </a:lnTo>
                  <a:lnTo>
                    <a:pt x="1025" y="1284"/>
                  </a:lnTo>
                  <a:lnTo>
                    <a:pt x="1025" y="1284"/>
                  </a:lnTo>
                  <a:lnTo>
                    <a:pt x="1021" y="1288"/>
                  </a:lnTo>
                  <a:lnTo>
                    <a:pt x="1021" y="1288"/>
                  </a:lnTo>
                  <a:lnTo>
                    <a:pt x="1030" y="1288"/>
                  </a:lnTo>
                  <a:lnTo>
                    <a:pt x="1034" y="1288"/>
                  </a:lnTo>
                  <a:lnTo>
                    <a:pt x="1034" y="1288"/>
                  </a:lnTo>
                  <a:lnTo>
                    <a:pt x="1034" y="1284"/>
                  </a:lnTo>
                  <a:lnTo>
                    <a:pt x="1034" y="1284"/>
                  </a:lnTo>
                  <a:lnTo>
                    <a:pt x="1034" y="1284"/>
                  </a:lnTo>
                  <a:lnTo>
                    <a:pt x="1030" y="1279"/>
                  </a:lnTo>
                  <a:lnTo>
                    <a:pt x="1030" y="1279"/>
                  </a:lnTo>
                  <a:lnTo>
                    <a:pt x="1030" y="1279"/>
                  </a:lnTo>
                  <a:lnTo>
                    <a:pt x="1034" y="1279"/>
                  </a:lnTo>
                  <a:lnTo>
                    <a:pt x="1034" y="1279"/>
                  </a:lnTo>
                  <a:lnTo>
                    <a:pt x="1034" y="1279"/>
                  </a:lnTo>
                  <a:lnTo>
                    <a:pt x="1039" y="1279"/>
                  </a:lnTo>
                  <a:lnTo>
                    <a:pt x="1039" y="1284"/>
                  </a:lnTo>
                  <a:lnTo>
                    <a:pt x="1044" y="1284"/>
                  </a:lnTo>
                  <a:lnTo>
                    <a:pt x="1044" y="1284"/>
                  </a:lnTo>
                  <a:lnTo>
                    <a:pt x="1044" y="1279"/>
                  </a:lnTo>
                  <a:lnTo>
                    <a:pt x="1044" y="1279"/>
                  </a:lnTo>
                  <a:lnTo>
                    <a:pt x="1044" y="1279"/>
                  </a:lnTo>
                  <a:lnTo>
                    <a:pt x="1044" y="1279"/>
                  </a:lnTo>
                  <a:lnTo>
                    <a:pt x="1044" y="1279"/>
                  </a:lnTo>
                  <a:lnTo>
                    <a:pt x="1044" y="1279"/>
                  </a:lnTo>
                  <a:lnTo>
                    <a:pt x="1048" y="1279"/>
                  </a:lnTo>
                  <a:lnTo>
                    <a:pt x="1048" y="1275"/>
                  </a:lnTo>
                  <a:lnTo>
                    <a:pt x="1048" y="1275"/>
                  </a:lnTo>
                  <a:lnTo>
                    <a:pt x="1048" y="1275"/>
                  </a:lnTo>
                  <a:lnTo>
                    <a:pt x="1044" y="1275"/>
                  </a:lnTo>
                  <a:lnTo>
                    <a:pt x="1044" y="1270"/>
                  </a:lnTo>
                  <a:lnTo>
                    <a:pt x="1044" y="1270"/>
                  </a:lnTo>
                  <a:lnTo>
                    <a:pt x="1044" y="1270"/>
                  </a:lnTo>
                  <a:lnTo>
                    <a:pt x="1044" y="1270"/>
                  </a:lnTo>
                  <a:lnTo>
                    <a:pt x="1044" y="1270"/>
                  </a:lnTo>
                  <a:lnTo>
                    <a:pt x="1048" y="1270"/>
                  </a:lnTo>
                  <a:lnTo>
                    <a:pt x="1048" y="1270"/>
                  </a:lnTo>
                  <a:lnTo>
                    <a:pt x="1048" y="1270"/>
                  </a:lnTo>
                  <a:lnTo>
                    <a:pt x="1048" y="1275"/>
                  </a:lnTo>
                  <a:lnTo>
                    <a:pt x="1048" y="1275"/>
                  </a:lnTo>
                  <a:lnTo>
                    <a:pt x="1048" y="1275"/>
                  </a:lnTo>
                  <a:lnTo>
                    <a:pt x="1053" y="1275"/>
                  </a:lnTo>
                  <a:lnTo>
                    <a:pt x="1062" y="1270"/>
                  </a:lnTo>
                  <a:lnTo>
                    <a:pt x="1062" y="1270"/>
                  </a:lnTo>
                  <a:lnTo>
                    <a:pt x="1062" y="1270"/>
                  </a:lnTo>
                  <a:lnTo>
                    <a:pt x="1062" y="1270"/>
                  </a:lnTo>
                  <a:lnTo>
                    <a:pt x="1062" y="1266"/>
                  </a:lnTo>
                  <a:lnTo>
                    <a:pt x="1062" y="1266"/>
                  </a:lnTo>
                  <a:lnTo>
                    <a:pt x="1062" y="1266"/>
                  </a:lnTo>
                  <a:lnTo>
                    <a:pt x="1062" y="1261"/>
                  </a:lnTo>
                  <a:lnTo>
                    <a:pt x="1062" y="1257"/>
                  </a:lnTo>
                  <a:lnTo>
                    <a:pt x="1066" y="1257"/>
                  </a:lnTo>
                  <a:lnTo>
                    <a:pt x="1066" y="1261"/>
                  </a:lnTo>
                  <a:lnTo>
                    <a:pt x="1066" y="1266"/>
                  </a:lnTo>
                  <a:lnTo>
                    <a:pt x="1071" y="1270"/>
                  </a:lnTo>
                  <a:lnTo>
                    <a:pt x="1071" y="1270"/>
                  </a:lnTo>
                  <a:lnTo>
                    <a:pt x="1071" y="1266"/>
                  </a:lnTo>
                  <a:lnTo>
                    <a:pt x="1071" y="1266"/>
                  </a:lnTo>
                  <a:lnTo>
                    <a:pt x="1071" y="1266"/>
                  </a:lnTo>
                  <a:lnTo>
                    <a:pt x="1071" y="1261"/>
                  </a:lnTo>
                  <a:lnTo>
                    <a:pt x="1075" y="1261"/>
                  </a:lnTo>
                  <a:lnTo>
                    <a:pt x="1075" y="1257"/>
                  </a:lnTo>
                  <a:lnTo>
                    <a:pt x="1075" y="1252"/>
                  </a:lnTo>
                  <a:lnTo>
                    <a:pt x="1075" y="1252"/>
                  </a:lnTo>
                  <a:lnTo>
                    <a:pt x="1066" y="1238"/>
                  </a:lnTo>
                  <a:lnTo>
                    <a:pt x="1066" y="1238"/>
                  </a:lnTo>
                  <a:lnTo>
                    <a:pt x="1066" y="1234"/>
                  </a:lnTo>
                  <a:lnTo>
                    <a:pt x="1066" y="1234"/>
                  </a:lnTo>
                  <a:lnTo>
                    <a:pt x="1062" y="1229"/>
                  </a:lnTo>
                  <a:lnTo>
                    <a:pt x="1062" y="1225"/>
                  </a:lnTo>
                  <a:lnTo>
                    <a:pt x="1062" y="1225"/>
                  </a:lnTo>
                  <a:lnTo>
                    <a:pt x="1062" y="1225"/>
                  </a:lnTo>
                  <a:lnTo>
                    <a:pt x="1066" y="1220"/>
                  </a:lnTo>
                  <a:lnTo>
                    <a:pt x="1066" y="1216"/>
                  </a:lnTo>
                  <a:lnTo>
                    <a:pt x="1071" y="1216"/>
                  </a:lnTo>
                  <a:lnTo>
                    <a:pt x="1071" y="1211"/>
                  </a:lnTo>
                  <a:lnTo>
                    <a:pt x="1080" y="1202"/>
                  </a:lnTo>
                  <a:lnTo>
                    <a:pt x="1080" y="1202"/>
                  </a:lnTo>
                  <a:lnTo>
                    <a:pt x="1080" y="1202"/>
                  </a:lnTo>
                  <a:lnTo>
                    <a:pt x="1080" y="1202"/>
                  </a:lnTo>
                  <a:lnTo>
                    <a:pt x="1080" y="1198"/>
                  </a:lnTo>
                  <a:lnTo>
                    <a:pt x="1080" y="1193"/>
                  </a:lnTo>
                  <a:lnTo>
                    <a:pt x="1080" y="1193"/>
                  </a:lnTo>
                  <a:lnTo>
                    <a:pt x="1080" y="1193"/>
                  </a:lnTo>
                  <a:lnTo>
                    <a:pt x="1089" y="1193"/>
                  </a:lnTo>
                  <a:lnTo>
                    <a:pt x="1098" y="1184"/>
                  </a:lnTo>
                  <a:lnTo>
                    <a:pt x="1102" y="1179"/>
                  </a:lnTo>
                  <a:lnTo>
                    <a:pt x="1107" y="1179"/>
                  </a:lnTo>
                  <a:lnTo>
                    <a:pt x="1107" y="1179"/>
                  </a:lnTo>
                  <a:lnTo>
                    <a:pt x="1112" y="1170"/>
                  </a:lnTo>
                  <a:lnTo>
                    <a:pt x="1139" y="1143"/>
                  </a:lnTo>
                  <a:lnTo>
                    <a:pt x="1143" y="1134"/>
                  </a:lnTo>
                  <a:lnTo>
                    <a:pt x="1152" y="1116"/>
                  </a:lnTo>
                  <a:lnTo>
                    <a:pt x="1152" y="1116"/>
                  </a:lnTo>
                  <a:lnTo>
                    <a:pt x="1152" y="1111"/>
                  </a:lnTo>
                  <a:lnTo>
                    <a:pt x="1148" y="1111"/>
                  </a:lnTo>
                  <a:lnTo>
                    <a:pt x="1148" y="1111"/>
                  </a:lnTo>
                  <a:lnTo>
                    <a:pt x="1152" y="1107"/>
                  </a:lnTo>
                  <a:lnTo>
                    <a:pt x="1152" y="1107"/>
                  </a:lnTo>
                  <a:lnTo>
                    <a:pt x="1152" y="1102"/>
                  </a:lnTo>
                  <a:lnTo>
                    <a:pt x="1148" y="1098"/>
                  </a:lnTo>
                  <a:lnTo>
                    <a:pt x="1148" y="1093"/>
                  </a:lnTo>
                  <a:lnTo>
                    <a:pt x="1148" y="1089"/>
                  </a:lnTo>
                  <a:lnTo>
                    <a:pt x="1148" y="1084"/>
                  </a:lnTo>
                  <a:lnTo>
                    <a:pt x="1148" y="1080"/>
                  </a:lnTo>
                  <a:lnTo>
                    <a:pt x="1143" y="1084"/>
                  </a:lnTo>
                  <a:lnTo>
                    <a:pt x="1143" y="1080"/>
                  </a:lnTo>
                  <a:lnTo>
                    <a:pt x="1143" y="1075"/>
                  </a:lnTo>
                  <a:lnTo>
                    <a:pt x="1143" y="1075"/>
                  </a:lnTo>
                  <a:lnTo>
                    <a:pt x="1143" y="1071"/>
                  </a:lnTo>
                  <a:lnTo>
                    <a:pt x="1143" y="1071"/>
                  </a:lnTo>
                  <a:lnTo>
                    <a:pt x="1148" y="1071"/>
                  </a:lnTo>
                  <a:lnTo>
                    <a:pt x="1148" y="1071"/>
                  </a:lnTo>
                  <a:lnTo>
                    <a:pt x="1148" y="1066"/>
                  </a:lnTo>
                  <a:lnTo>
                    <a:pt x="1148" y="1066"/>
                  </a:lnTo>
                  <a:lnTo>
                    <a:pt x="1148" y="1061"/>
                  </a:lnTo>
                  <a:lnTo>
                    <a:pt x="1148" y="1057"/>
                  </a:lnTo>
                  <a:lnTo>
                    <a:pt x="1152" y="1057"/>
                  </a:lnTo>
                  <a:lnTo>
                    <a:pt x="1157" y="1052"/>
                  </a:lnTo>
                  <a:lnTo>
                    <a:pt x="1161" y="1052"/>
                  </a:lnTo>
                  <a:lnTo>
                    <a:pt x="1161" y="1052"/>
                  </a:lnTo>
                  <a:lnTo>
                    <a:pt x="1171" y="1052"/>
                  </a:lnTo>
                  <a:lnTo>
                    <a:pt x="1171" y="1048"/>
                  </a:lnTo>
                  <a:lnTo>
                    <a:pt x="1184" y="1043"/>
                  </a:lnTo>
                  <a:lnTo>
                    <a:pt x="1184" y="1043"/>
                  </a:lnTo>
                  <a:lnTo>
                    <a:pt x="1189" y="1043"/>
                  </a:lnTo>
                  <a:lnTo>
                    <a:pt x="1189" y="1039"/>
                  </a:lnTo>
                  <a:lnTo>
                    <a:pt x="1207" y="1034"/>
                  </a:lnTo>
                  <a:lnTo>
                    <a:pt x="1211" y="1034"/>
                  </a:lnTo>
                  <a:lnTo>
                    <a:pt x="1216" y="1039"/>
                  </a:lnTo>
                  <a:lnTo>
                    <a:pt x="1216" y="1043"/>
                  </a:lnTo>
                  <a:lnTo>
                    <a:pt x="1216" y="1043"/>
                  </a:lnTo>
                  <a:lnTo>
                    <a:pt x="1216" y="1048"/>
                  </a:lnTo>
                  <a:lnTo>
                    <a:pt x="1211" y="1048"/>
                  </a:lnTo>
                  <a:lnTo>
                    <a:pt x="1211" y="1048"/>
                  </a:lnTo>
                  <a:lnTo>
                    <a:pt x="1207" y="1048"/>
                  </a:lnTo>
                  <a:lnTo>
                    <a:pt x="1207" y="1048"/>
                  </a:lnTo>
                  <a:lnTo>
                    <a:pt x="1207" y="1048"/>
                  </a:lnTo>
                  <a:lnTo>
                    <a:pt x="1202" y="1048"/>
                  </a:lnTo>
                  <a:lnTo>
                    <a:pt x="1202" y="1052"/>
                  </a:lnTo>
                  <a:lnTo>
                    <a:pt x="1202" y="1052"/>
                  </a:lnTo>
                  <a:lnTo>
                    <a:pt x="1202" y="1057"/>
                  </a:lnTo>
                  <a:lnTo>
                    <a:pt x="1207" y="1057"/>
                  </a:lnTo>
                  <a:lnTo>
                    <a:pt x="1207" y="1061"/>
                  </a:lnTo>
                  <a:lnTo>
                    <a:pt x="1202" y="1061"/>
                  </a:lnTo>
                  <a:lnTo>
                    <a:pt x="1202" y="1061"/>
                  </a:lnTo>
                  <a:lnTo>
                    <a:pt x="1202" y="1066"/>
                  </a:lnTo>
                  <a:lnTo>
                    <a:pt x="1198" y="1066"/>
                  </a:lnTo>
                  <a:lnTo>
                    <a:pt x="1193" y="1066"/>
                  </a:lnTo>
                  <a:lnTo>
                    <a:pt x="1189" y="1066"/>
                  </a:lnTo>
                  <a:lnTo>
                    <a:pt x="1189" y="1066"/>
                  </a:lnTo>
                  <a:lnTo>
                    <a:pt x="1184" y="1071"/>
                  </a:lnTo>
                  <a:lnTo>
                    <a:pt x="1180" y="1075"/>
                  </a:lnTo>
                  <a:lnTo>
                    <a:pt x="1180" y="1075"/>
                  </a:lnTo>
                  <a:lnTo>
                    <a:pt x="1180" y="1075"/>
                  </a:lnTo>
                  <a:lnTo>
                    <a:pt x="1175" y="1075"/>
                  </a:lnTo>
                  <a:lnTo>
                    <a:pt x="1171" y="1075"/>
                  </a:lnTo>
                  <a:lnTo>
                    <a:pt x="1171" y="1071"/>
                  </a:lnTo>
                  <a:lnTo>
                    <a:pt x="1171" y="1071"/>
                  </a:lnTo>
                  <a:lnTo>
                    <a:pt x="1171" y="1075"/>
                  </a:lnTo>
                  <a:lnTo>
                    <a:pt x="1166" y="1075"/>
                  </a:lnTo>
                  <a:lnTo>
                    <a:pt x="1161" y="1084"/>
                  </a:lnTo>
                  <a:lnTo>
                    <a:pt x="1166" y="1084"/>
                  </a:lnTo>
                  <a:lnTo>
                    <a:pt x="1161" y="1084"/>
                  </a:lnTo>
                  <a:lnTo>
                    <a:pt x="1161" y="1089"/>
                  </a:lnTo>
                  <a:lnTo>
                    <a:pt x="1161" y="1089"/>
                  </a:lnTo>
                  <a:lnTo>
                    <a:pt x="1161" y="1093"/>
                  </a:lnTo>
                  <a:lnTo>
                    <a:pt x="1166" y="1093"/>
                  </a:lnTo>
                  <a:lnTo>
                    <a:pt x="1166" y="1089"/>
                  </a:lnTo>
                  <a:lnTo>
                    <a:pt x="1171" y="1089"/>
                  </a:lnTo>
                  <a:lnTo>
                    <a:pt x="1171" y="1093"/>
                  </a:lnTo>
                  <a:lnTo>
                    <a:pt x="1175" y="1093"/>
                  </a:lnTo>
                  <a:lnTo>
                    <a:pt x="1175" y="1093"/>
                  </a:lnTo>
                  <a:lnTo>
                    <a:pt x="1180" y="1089"/>
                  </a:lnTo>
                  <a:lnTo>
                    <a:pt x="1180" y="1089"/>
                  </a:lnTo>
                  <a:lnTo>
                    <a:pt x="1180" y="1089"/>
                  </a:lnTo>
                  <a:lnTo>
                    <a:pt x="1180" y="1102"/>
                  </a:lnTo>
                  <a:lnTo>
                    <a:pt x="1180" y="1107"/>
                  </a:lnTo>
                  <a:lnTo>
                    <a:pt x="1175" y="1116"/>
                  </a:lnTo>
                  <a:lnTo>
                    <a:pt x="1175" y="1120"/>
                  </a:lnTo>
                  <a:lnTo>
                    <a:pt x="1180" y="1125"/>
                  </a:lnTo>
                  <a:lnTo>
                    <a:pt x="1180" y="1130"/>
                  </a:lnTo>
                  <a:lnTo>
                    <a:pt x="1189" y="1134"/>
                  </a:lnTo>
                  <a:lnTo>
                    <a:pt x="1193" y="1134"/>
                  </a:lnTo>
                  <a:lnTo>
                    <a:pt x="1202" y="1134"/>
                  </a:lnTo>
                  <a:lnTo>
                    <a:pt x="1207" y="1134"/>
                  </a:lnTo>
                  <a:lnTo>
                    <a:pt x="1211" y="1134"/>
                  </a:lnTo>
                  <a:lnTo>
                    <a:pt x="1216" y="1130"/>
                  </a:lnTo>
                  <a:lnTo>
                    <a:pt x="1216" y="1125"/>
                  </a:lnTo>
                  <a:lnTo>
                    <a:pt x="1216" y="1125"/>
                  </a:lnTo>
                  <a:lnTo>
                    <a:pt x="1216" y="1125"/>
                  </a:lnTo>
                  <a:lnTo>
                    <a:pt x="1220" y="1120"/>
                  </a:lnTo>
                  <a:lnTo>
                    <a:pt x="1220" y="1120"/>
                  </a:lnTo>
                  <a:lnTo>
                    <a:pt x="1220" y="1116"/>
                  </a:lnTo>
                  <a:lnTo>
                    <a:pt x="1220" y="1116"/>
                  </a:lnTo>
                  <a:lnTo>
                    <a:pt x="1220" y="1111"/>
                  </a:lnTo>
                  <a:lnTo>
                    <a:pt x="1229" y="1107"/>
                  </a:lnTo>
                  <a:lnTo>
                    <a:pt x="1248" y="1107"/>
                  </a:lnTo>
                  <a:lnTo>
                    <a:pt x="1261" y="1098"/>
                  </a:lnTo>
                  <a:lnTo>
                    <a:pt x="1270" y="1098"/>
                  </a:lnTo>
                  <a:lnTo>
                    <a:pt x="1279" y="1093"/>
                  </a:lnTo>
                  <a:lnTo>
                    <a:pt x="1284" y="1089"/>
                  </a:lnTo>
                  <a:lnTo>
                    <a:pt x="1288" y="1084"/>
                  </a:lnTo>
                  <a:lnTo>
                    <a:pt x="1288" y="1084"/>
                  </a:lnTo>
                  <a:lnTo>
                    <a:pt x="1302" y="1084"/>
                  </a:lnTo>
                  <a:lnTo>
                    <a:pt x="1302" y="1084"/>
                  </a:lnTo>
                  <a:lnTo>
                    <a:pt x="1307" y="1080"/>
                  </a:lnTo>
                  <a:lnTo>
                    <a:pt x="1316" y="1075"/>
                  </a:lnTo>
                  <a:lnTo>
                    <a:pt x="1329" y="1061"/>
                  </a:lnTo>
                  <a:lnTo>
                    <a:pt x="1338" y="1057"/>
                  </a:lnTo>
                  <a:lnTo>
                    <a:pt x="1343" y="1052"/>
                  </a:lnTo>
                  <a:lnTo>
                    <a:pt x="1343" y="1048"/>
                  </a:lnTo>
                  <a:lnTo>
                    <a:pt x="1347" y="1043"/>
                  </a:lnTo>
                  <a:lnTo>
                    <a:pt x="1347" y="1039"/>
                  </a:lnTo>
                  <a:lnTo>
                    <a:pt x="1357" y="1034"/>
                  </a:lnTo>
                  <a:lnTo>
                    <a:pt x="1361" y="1030"/>
                  </a:lnTo>
                  <a:lnTo>
                    <a:pt x="1361" y="1025"/>
                  </a:lnTo>
                  <a:lnTo>
                    <a:pt x="1366" y="1007"/>
                  </a:lnTo>
                  <a:lnTo>
                    <a:pt x="1370" y="998"/>
                  </a:lnTo>
                  <a:lnTo>
                    <a:pt x="1379" y="993"/>
                  </a:lnTo>
                  <a:lnTo>
                    <a:pt x="1411" y="980"/>
                  </a:lnTo>
                  <a:lnTo>
                    <a:pt x="1420" y="975"/>
                  </a:lnTo>
                  <a:lnTo>
                    <a:pt x="1429" y="962"/>
                  </a:lnTo>
                  <a:lnTo>
                    <a:pt x="1429" y="957"/>
                  </a:lnTo>
                  <a:lnTo>
                    <a:pt x="1429" y="957"/>
                  </a:lnTo>
                  <a:lnTo>
                    <a:pt x="1434" y="930"/>
                  </a:lnTo>
                  <a:lnTo>
                    <a:pt x="1434" y="925"/>
                  </a:lnTo>
                  <a:lnTo>
                    <a:pt x="1438" y="921"/>
                  </a:lnTo>
                  <a:lnTo>
                    <a:pt x="1443" y="912"/>
                  </a:lnTo>
                  <a:lnTo>
                    <a:pt x="1447" y="903"/>
                  </a:lnTo>
                  <a:lnTo>
                    <a:pt x="1452" y="894"/>
                  </a:lnTo>
                  <a:lnTo>
                    <a:pt x="1452" y="889"/>
                  </a:lnTo>
                  <a:lnTo>
                    <a:pt x="1461" y="885"/>
                  </a:lnTo>
                  <a:lnTo>
                    <a:pt x="1465" y="880"/>
                  </a:lnTo>
                  <a:lnTo>
                    <a:pt x="1465" y="876"/>
                  </a:lnTo>
                  <a:lnTo>
                    <a:pt x="1474" y="848"/>
                  </a:lnTo>
                  <a:lnTo>
                    <a:pt x="1474" y="844"/>
                  </a:lnTo>
                  <a:lnTo>
                    <a:pt x="1479" y="839"/>
                  </a:lnTo>
                  <a:lnTo>
                    <a:pt x="1479" y="835"/>
                  </a:lnTo>
                  <a:lnTo>
                    <a:pt x="1479" y="835"/>
                  </a:lnTo>
                  <a:lnTo>
                    <a:pt x="1479" y="830"/>
                  </a:lnTo>
                  <a:lnTo>
                    <a:pt x="1479" y="826"/>
                  </a:lnTo>
                  <a:lnTo>
                    <a:pt x="1479" y="821"/>
                  </a:lnTo>
                  <a:lnTo>
                    <a:pt x="1484" y="817"/>
                  </a:lnTo>
                  <a:lnTo>
                    <a:pt x="1484" y="817"/>
                  </a:lnTo>
                  <a:lnTo>
                    <a:pt x="1488" y="812"/>
                  </a:lnTo>
                  <a:lnTo>
                    <a:pt x="1488" y="807"/>
                  </a:lnTo>
                  <a:lnTo>
                    <a:pt x="1493" y="798"/>
                  </a:lnTo>
                  <a:lnTo>
                    <a:pt x="1497" y="789"/>
                  </a:lnTo>
                  <a:lnTo>
                    <a:pt x="1497" y="767"/>
                  </a:lnTo>
                  <a:lnTo>
                    <a:pt x="1497" y="758"/>
                  </a:lnTo>
                  <a:lnTo>
                    <a:pt x="1497" y="753"/>
                  </a:lnTo>
                  <a:lnTo>
                    <a:pt x="1493" y="749"/>
                  </a:lnTo>
                  <a:lnTo>
                    <a:pt x="1493" y="744"/>
                  </a:lnTo>
                  <a:lnTo>
                    <a:pt x="1493" y="739"/>
                  </a:lnTo>
                  <a:lnTo>
                    <a:pt x="1488" y="735"/>
                  </a:lnTo>
                  <a:lnTo>
                    <a:pt x="1484" y="735"/>
                  </a:lnTo>
                  <a:lnTo>
                    <a:pt x="1479" y="735"/>
                  </a:lnTo>
                  <a:lnTo>
                    <a:pt x="1474" y="735"/>
                  </a:lnTo>
                  <a:lnTo>
                    <a:pt x="1474" y="739"/>
                  </a:lnTo>
                  <a:lnTo>
                    <a:pt x="1474" y="739"/>
                  </a:lnTo>
                  <a:lnTo>
                    <a:pt x="1474" y="739"/>
                  </a:lnTo>
                  <a:lnTo>
                    <a:pt x="1465" y="739"/>
                  </a:lnTo>
                  <a:lnTo>
                    <a:pt x="1465" y="739"/>
                  </a:lnTo>
                  <a:lnTo>
                    <a:pt x="1465" y="735"/>
                  </a:lnTo>
                  <a:lnTo>
                    <a:pt x="1461" y="735"/>
                  </a:lnTo>
                  <a:lnTo>
                    <a:pt x="1461" y="730"/>
                  </a:lnTo>
                  <a:lnTo>
                    <a:pt x="1461" y="730"/>
                  </a:lnTo>
                  <a:lnTo>
                    <a:pt x="1461" y="730"/>
                  </a:lnTo>
                  <a:lnTo>
                    <a:pt x="1461" y="726"/>
                  </a:lnTo>
                  <a:lnTo>
                    <a:pt x="1461" y="721"/>
                  </a:lnTo>
                  <a:lnTo>
                    <a:pt x="1461" y="721"/>
                  </a:lnTo>
                  <a:lnTo>
                    <a:pt x="1465" y="726"/>
                  </a:lnTo>
                  <a:lnTo>
                    <a:pt x="1470" y="726"/>
                  </a:lnTo>
                  <a:lnTo>
                    <a:pt x="1470" y="726"/>
                  </a:lnTo>
                  <a:lnTo>
                    <a:pt x="1479" y="726"/>
                  </a:lnTo>
                  <a:lnTo>
                    <a:pt x="1479" y="721"/>
                  </a:lnTo>
                  <a:lnTo>
                    <a:pt x="1488" y="703"/>
                  </a:lnTo>
                  <a:lnTo>
                    <a:pt x="1488" y="703"/>
                  </a:lnTo>
                  <a:lnTo>
                    <a:pt x="1488" y="699"/>
                  </a:lnTo>
                  <a:lnTo>
                    <a:pt x="1488" y="699"/>
                  </a:lnTo>
                  <a:lnTo>
                    <a:pt x="1493" y="694"/>
                  </a:lnTo>
                  <a:lnTo>
                    <a:pt x="1493" y="694"/>
                  </a:lnTo>
                  <a:lnTo>
                    <a:pt x="1493" y="676"/>
                  </a:lnTo>
                  <a:lnTo>
                    <a:pt x="1493" y="676"/>
                  </a:lnTo>
                  <a:lnTo>
                    <a:pt x="1488" y="667"/>
                  </a:lnTo>
                  <a:lnTo>
                    <a:pt x="1484" y="667"/>
                  </a:lnTo>
                  <a:lnTo>
                    <a:pt x="1484" y="662"/>
                  </a:lnTo>
                  <a:lnTo>
                    <a:pt x="1484" y="658"/>
                  </a:lnTo>
                  <a:lnTo>
                    <a:pt x="1484" y="653"/>
                  </a:lnTo>
                  <a:lnTo>
                    <a:pt x="1484" y="649"/>
                  </a:lnTo>
                  <a:lnTo>
                    <a:pt x="1484" y="649"/>
                  </a:lnTo>
                  <a:lnTo>
                    <a:pt x="1479" y="644"/>
                  </a:lnTo>
                  <a:lnTo>
                    <a:pt x="1474" y="644"/>
                  </a:lnTo>
                  <a:lnTo>
                    <a:pt x="1474" y="640"/>
                  </a:lnTo>
                  <a:lnTo>
                    <a:pt x="1479" y="640"/>
                  </a:lnTo>
                  <a:lnTo>
                    <a:pt x="1488" y="631"/>
                  </a:lnTo>
                  <a:lnTo>
                    <a:pt x="1488" y="631"/>
                  </a:lnTo>
                  <a:lnTo>
                    <a:pt x="1488" y="626"/>
                  </a:lnTo>
                  <a:lnTo>
                    <a:pt x="1493" y="626"/>
                  </a:lnTo>
                  <a:lnTo>
                    <a:pt x="1493" y="622"/>
                  </a:lnTo>
                  <a:lnTo>
                    <a:pt x="1497" y="622"/>
                  </a:lnTo>
                  <a:lnTo>
                    <a:pt x="1502" y="626"/>
                  </a:lnTo>
                  <a:lnTo>
                    <a:pt x="1506" y="626"/>
                  </a:lnTo>
                  <a:lnTo>
                    <a:pt x="1506" y="622"/>
                  </a:lnTo>
                  <a:lnTo>
                    <a:pt x="1515" y="617"/>
                  </a:lnTo>
                  <a:lnTo>
                    <a:pt x="1515" y="617"/>
                  </a:lnTo>
                  <a:lnTo>
                    <a:pt x="1515" y="617"/>
                  </a:lnTo>
                  <a:lnTo>
                    <a:pt x="1520" y="608"/>
                  </a:lnTo>
                  <a:lnTo>
                    <a:pt x="1520" y="599"/>
                  </a:lnTo>
                  <a:lnTo>
                    <a:pt x="1520" y="599"/>
                  </a:lnTo>
                  <a:lnTo>
                    <a:pt x="1520" y="594"/>
                  </a:lnTo>
                  <a:lnTo>
                    <a:pt x="1520" y="594"/>
                  </a:lnTo>
                  <a:lnTo>
                    <a:pt x="1520" y="590"/>
                  </a:lnTo>
                  <a:lnTo>
                    <a:pt x="1524" y="590"/>
                  </a:lnTo>
                  <a:lnTo>
                    <a:pt x="1524" y="590"/>
                  </a:lnTo>
                  <a:lnTo>
                    <a:pt x="1524" y="590"/>
                  </a:lnTo>
                  <a:lnTo>
                    <a:pt x="1524" y="590"/>
                  </a:lnTo>
                  <a:lnTo>
                    <a:pt x="1524" y="594"/>
                  </a:lnTo>
                  <a:lnTo>
                    <a:pt x="1529" y="594"/>
                  </a:lnTo>
                  <a:lnTo>
                    <a:pt x="1529" y="594"/>
                  </a:lnTo>
                  <a:lnTo>
                    <a:pt x="1529" y="590"/>
                  </a:lnTo>
                  <a:lnTo>
                    <a:pt x="1529" y="590"/>
                  </a:lnTo>
                  <a:lnTo>
                    <a:pt x="1524" y="585"/>
                  </a:lnTo>
                  <a:lnTo>
                    <a:pt x="1524" y="585"/>
                  </a:lnTo>
                  <a:lnTo>
                    <a:pt x="1524" y="581"/>
                  </a:lnTo>
                  <a:lnTo>
                    <a:pt x="1520" y="576"/>
                  </a:lnTo>
                  <a:lnTo>
                    <a:pt x="1520" y="576"/>
                  </a:lnTo>
                  <a:lnTo>
                    <a:pt x="1515" y="572"/>
                  </a:lnTo>
                  <a:lnTo>
                    <a:pt x="1520" y="572"/>
                  </a:lnTo>
                  <a:lnTo>
                    <a:pt x="1520" y="576"/>
                  </a:lnTo>
                  <a:lnTo>
                    <a:pt x="1524" y="572"/>
                  </a:lnTo>
                  <a:lnTo>
                    <a:pt x="1524" y="567"/>
                  </a:lnTo>
                  <a:lnTo>
                    <a:pt x="1524" y="567"/>
                  </a:lnTo>
                  <a:lnTo>
                    <a:pt x="1524" y="567"/>
                  </a:lnTo>
                  <a:lnTo>
                    <a:pt x="1524" y="563"/>
                  </a:lnTo>
                  <a:lnTo>
                    <a:pt x="1524" y="563"/>
                  </a:lnTo>
                  <a:lnTo>
                    <a:pt x="1524" y="558"/>
                  </a:lnTo>
                  <a:lnTo>
                    <a:pt x="1524" y="558"/>
                  </a:lnTo>
                  <a:lnTo>
                    <a:pt x="1529" y="563"/>
                  </a:lnTo>
                  <a:lnTo>
                    <a:pt x="1529" y="563"/>
                  </a:lnTo>
                  <a:lnTo>
                    <a:pt x="1533" y="567"/>
                  </a:lnTo>
                  <a:lnTo>
                    <a:pt x="1533" y="567"/>
                  </a:lnTo>
                  <a:lnTo>
                    <a:pt x="1538" y="567"/>
                  </a:lnTo>
                  <a:lnTo>
                    <a:pt x="1538" y="567"/>
                  </a:lnTo>
                  <a:lnTo>
                    <a:pt x="1542" y="563"/>
                  </a:lnTo>
                  <a:lnTo>
                    <a:pt x="1547" y="563"/>
                  </a:lnTo>
                  <a:lnTo>
                    <a:pt x="1552" y="563"/>
                  </a:lnTo>
                  <a:lnTo>
                    <a:pt x="1552" y="567"/>
                  </a:lnTo>
                  <a:lnTo>
                    <a:pt x="1556" y="572"/>
                  </a:lnTo>
                  <a:lnTo>
                    <a:pt x="1556" y="572"/>
                  </a:lnTo>
                  <a:lnTo>
                    <a:pt x="1552" y="576"/>
                  </a:lnTo>
                  <a:lnTo>
                    <a:pt x="1552" y="576"/>
                  </a:lnTo>
                  <a:lnTo>
                    <a:pt x="1552" y="581"/>
                  </a:lnTo>
                  <a:lnTo>
                    <a:pt x="1552" y="581"/>
                  </a:lnTo>
                  <a:lnTo>
                    <a:pt x="1552" y="585"/>
                  </a:lnTo>
                  <a:lnTo>
                    <a:pt x="1556" y="590"/>
                  </a:lnTo>
                  <a:lnTo>
                    <a:pt x="1556" y="603"/>
                  </a:lnTo>
                  <a:lnTo>
                    <a:pt x="1561" y="608"/>
                  </a:lnTo>
                  <a:lnTo>
                    <a:pt x="1561" y="612"/>
                  </a:lnTo>
                  <a:lnTo>
                    <a:pt x="1570" y="612"/>
                  </a:lnTo>
                  <a:lnTo>
                    <a:pt x="1570" y="612"/>
                  </a:lnTo>
                  <a:lnTo>
                    <a:pt x="1574" y="608"/>
                  </a:lnTo>
                  <a:lnTo>
                    <a:pt x="1579" y="603"/>
                  </a:lnTo>
                  <a:lnTo>
                    <a:pt x="1574" y="599"/>
                  </a:lnTo>
                  <a:lnTo>
                    <a:pt x="1574" y="599"/>
                  </a:lnTo>
                  <a:lnTo>
                    <a:pt x="1574" y="599"/>
                  </a:lnTo>
                  <a:lnTo>
                    <a:pt x="1574" y="594"/>
                  </a:lnTo>
                  <a:lnTo>
                    <a:pt x="1579" y="594"/>
                  </a:lnTo>
                  <a:lnTo>
                    <a:pt x="1579" y="594"/>
                  </a:lnTo>
                  <a:lnTo>
                    <a:pt x="1579" y="594"/>
                  </a:lnTo>
                  <a:lnTo>
                    <a:pt x="1583" y="590"/>
                  </a:lnTo>
                  <a:lnTo>
                    <a:pt x="1583" y="594"/>
                  </a:lnTo>
                  <a:lnTo>
                    <a:pt x="1588" y="599"/>
                  </a:lnTo>
                  <a:lnTo>
                    <a:pt x="1592" y="599"/>
                  </a:lnTo>
                  <a:lnTo>
                    <a:pt x="1592" y="599"/>
                  </a:lnTo>
                  <a:lnTo>
                    <a:pt x="1597" y="608"/>
                  </a:lnTo>
                  <a:lnTo>
                    <a:pt x="1601" y="608"/>
                  </a:lnTo>
                  <a:lnTo>
                    <a:pt x="1601" y="608"/>
                  </a:lnTo>
                  <a:lnTo>
                    <a:pt x="1606" y="608"/>
                  </a:lnTo>
                  <a:lnTo>
                    <a:pt x="1606" y="608"/>
                  </a:lnTo>
                  <a:lnTo>
                    <a:pt x="1606" y="603"/>
                  </a:lnTo>
                  <a:lnTo>
                    <a:pt x="1611" y="590"/>
                  </a:lnTo>
                  <a:lnTo>
                    <a:pt x="1615" y="590"/>
                  </a:lnTo>
                  <a:lnTo>
                    <a:pt x="1615" y="581"/>
                  </a:lnTo>
                  <a:lnTo>
                    <a:pt x="1615" y="576"/>
                  </a:lnTo>
                  <a:lnTo>
                    <a:pt x="1615" y="576"/>
                  </a:lnTo>
                  <a:lnTo>
                    <a:pt x="1615" y="576"/>
                  </a:lnTo>
                  <a:lnTo>
                    <a:pt x="1615" y="572"/>
                  </a:lnTo>
                  <a:lnTo>
                    <a:pt x="1615" y="572"/>
                  </a:lnTo>
                  <a:lnTo>
                    <a:pt x="1615" y="572"/>
                  </a:lnTo>
                  <a:lnTo>
                    <a:pt x="1615" y="567"/>
                  </a:lnTo>
                  <a:lnTo>
                    <a:pt x="1615" y="563"/>
                  </a:lnTo>
                  <a:lnTo>
                    <a:pt x="1611" y="558"/>
                  </a:lnTo>
                  <a:lnTo>
                    <a:pt x="1611" y="558"/>
                  </a:lnTo>
                  <a:lnTo>
                    <a:pt x="1606" y="553"/>
                  </a:lnTo>
                  <a:lnTo>
                    <a:pt x="1606" y="558"/>
                  </a:lnTo>
                  <a:lnTo>
                    <a:pt x="1606" y="558"/>
                  </a:lnTo>
                  <a:lnTo>
                    <a:pt x="1601" y="558"/>
                  </a:lnTo>
                  <a:lnTo>
                    <a:pt x="1601" y="558"/>
                  </a:lnTo>
                  <a:lnTo>
                    <a:pt x="1606" y="558"/>
                  </a:lnTo>
                  <a:lnTo>
                    <a:pt x="1601" y="563"/>
                  </a:lnTo>
                  <a:lnTo>
                    <a:pt x="1597" y="567"/>
                  </a:lnTo>
                  <a:lnTo>
                    <a:pt x="1583" y="567"/>
                  </a:lnTo>
                  <a:lnTo>
                    <a:pt x="1579" y="567"/>
                  </a:lnTo>
                  <a:lnTo>
                    <a:pt x="1579" y="572"/>
                  </a:lnTo>
                  <a:lnTo>
                    <a:pt x="1574" y="572"/>
                  </a:lnTo>
                  <a:lnTo>
                    <a:pt x="1574" y="572"/>
                  </a:lnTo>
                  <a:lnTo>
                    <a:pt x="1570" y="576"/>
                  </a:lnTo>
                  <a:lnTo>
                    <a:pt x="1570" y="572"/>
                  </a:lnTo>
                  <a:lnTo>
                    <a:pt x="1565" y="567"/>
                  </a:lnTo>
                  <a:lnTo>
                    <a:pt x="1565" y="567"/>
                  </a:lnTo>
                  <a:lnTo>
                    <a:pt x="1565" y="563"/>
                  </a:lnTo>
                  <a:lnTo>
                    <a:pt x="1565" y="563"/>
                  </a:lnTo>
                  <a:lnTo>
                    <a:pt x="1565" y="558"/>
                  </a:lnTo>
                  <a:lnTo>
                    <a:pt x="1570" y="553"/>
                  </a:lnTo>
                  <a:lnTo>
                    <a:pt x="1570" y="553"/>
                  </a:lnTo>
                  <a:lnTo>
                    <a:pt x="1570" y="549"/>
                  </a:lnTo>
                  <a:lnTo>
                    <a:pt x="1570" y="549"/>
                  </a:lnTo>
                  <a:lnTo>
                    <a:pt x="1574" y="544"/>
                  </a:lnTo>
                  <a:lnTo>
                    <a:pt x="1574" y="544"/>
                  </a:lnTo>
                  <a:lnTo>
                    <a:pt x="1570" y="540"/>
                  </a:lnTo>
                  <a:lnTo>
                    <a:pt x="1574" y="540"/>
                  </a:lnTo>
                  <a:lnTo>
                    <a:pt x="1574" y="540"/>
                  </a:lnTo>
                  <a:lnTo>
                    <a:pt x="1579" y="531"/>
                  </a:lnTo>
                  <a:lnTo>
                    <a:pt x="1579" y="531"/>
                  </a:lnTo>
                  <a:lnTo>
                    <a:pt x="1579" y="526"/>
                  </a:lnTo>
                  <a:lnTo>
                    <a:pt x="1579" y="526"/>
                  </a:lnTo>
                  <a:lnTo>
                    <a:pt x="1579" y="526"/>
                  </a:lnTo>
                  <a:lnTo>
                    <a:pt x="1579" y="526"/>
                  </a:lnTo>
                  <a:lnTo>
                    <a:pt x="1579" y="526"/>
                  </a:lnTo>
                  <a:lnTo>
                    <a:pt x="1579" y="526"/>
                  </a:lnTo>
                  <a:lnTo>
                    <a:pt x="1579" y="522"/>
                  </a:lnTo>
                  <a:lnTo>
                    <a:pt x="1583" y="522"/>
                  </a:lnTo>
                  <a:lnTo>
                    <a:pt x="1583" y="522"/>
                  </a:lnTo>
                  <a:lnTo>
                    <a:pt x="1583" y="526"/>
                  </a:lnTo>
                  <a:lnTo>
                    <a:pt x="1588" y="526"/>
                  </a:lnTo>
                  <a:lnTo>
                    <a:pt x="1588" y="526"/>
                  </a:lnTo>
                  <a:lnTo>
                    <a:pt x="1588" y="526"/>
                  </a:lnTo>
                  <a:lnTo>
                    <a:pt x="1588" y="526"/>
                  </a:lnTo>
                  <a:lnTo>
                    <a:pt x="1592" y="526"/>
                  </a:lnTo>
                  <a:lnTo>
                    <a:pt x="1592" y="526"/>
                  </a:lnTo>
                  <a:lnTo>
                    <a:pt x="1597" y="531"/>
                  </a:lnTo>
                  <a:lnTo>
                    <a:pt x="1601" y="531"/>
                  </a:lnTo>
                  <a:lnTo>
                    <a:pt x="1606" y="535"/>
                  </a:lnTo>
                  <a:lnTo>
                    <a:pt x="1606" y="540"/>
                  </a:lnTo>
                  <a:lnTo>
                    <a:pt x="1611" y="544"/>
                  </a:lnTo>
                  <a:lnTo>
                    <a:pt x="1615" y="544"/>
                  </a:lnTo>
                  <a:moveTo>
                    <a:pt x="1443" y="449"/>
                  </a:moveTo>
                  <a:lnTo>
                    <a:pt x="1443" y="449"/>
                  </a:lnTo>
                  <a:lnTo>
                    <a:pt x="1438" y="454"/>
                  </a:lnTo>
                  <a:lnTo>
                    <a:pt x="1434" y="454"/>
                  </a:lnTo>
                  <a:lnTo>
                    <a:pt x="1434" y="454"/>
                  </a:lnTo>
                  <a:lnTo>
                    <a:pt x="1434" y="449"/>
                  </a:lnTo>
                  <a:lnTo>
                    <a:pt x="1434" y="449"/>
                  </a:lnTo>
                  <a:lnTo>
                    <a:pt x="1434" y="449"/>
                  </a:lnTo>
                  <a:lnTo>
                    <a:pt x="1434" y="449"/>
                  </a:lnTo>
                  <a:lnTo>
                    <a:pt x="1434" y="445"/>
                  </a:lnTo>
                  <a:lnTo>
                    <a:pt x="1434" y="445"/>
                  </a:lnTo>
                  <a:lnTo>
                    <a:pt x="1434" y="440"/>
                  </a:lnTo>
                  <a:lnTo>
                    <a:pt x="1434" y="440"/>
                  </a:lnTo>
                  <a:lnTo>
                    <a:pt x="1434" y="440"/>
                  </a:lnTo>
                  <a:lnTo>
                    <a:pt x="1434" y="436"/>
                  </a:lnTo>
                  <a:lnTo>
                    <a:pt x="1434" y="436"/>
                  </a:lnTo>
                  <a:lnTo>
                    <a:pt x="1438" y="431"/>
                  </a:lnTo>
                  <a:lnTo>
                    <a:pt x="1438" y="431"/>
                  </a:lnTo>
                  <a:lnTo>
                    <a:pt x="1438" y="431"/>
                  </a:lnTo>
                  <a:lnTo>
                    <a:pt x="1443" y="431"/>
                  </a:lnTo>
                  <a:lnTo>
                    <a:pt x="1443" y="431"/>
                  </a:lnTo>
                  <a:lnTo>
                    <a:pt x="1447" y="431"/>
                  </a:lnTo>
                  <a:lnTo>
                    <a:pt x="1447" y="431"/>
                  </a:lnTo>
                  <a:lnTo>
                    <a:pt x="1447" y="431"/>
                  </a:lnTo>
                  <a:lnTo>
                    <a:pt x="1447" y="436"/>
                  </a:lnTo>
                  <a:lnTo>
                    <a:pt x="1443" y="440"/>
                  </a:lnTo>
                  <a:lnTo>
                    <a:pt x="1443" y="440"/>
                  </a:lnTo>
                  <a:lnTo>
                    <a:pt x="1443" y="445"/>
                  </a:lnTo>
                  <a:lnTo>
                    <a:pt x="1443" y="449"/>
                  </a:lnTo>
                  <a:lnTo>
                    <a:pt x="1443" y="449"/>
                  </a:lnTo>
                  <a:moveTo>
                    <a:pt x="1996" y="245"/>
                  </a:moveTo>
                  <a:lnTo>
                    <a:pt x="1996" y="245"/>
                  </a:lnTo>
                  <a:lnTo>
                    <a:pt x="1992" y="245"/>
                  </a:lnTo>
                  <a:lnTo>
                    <a:pt x="1992" y="245"/>
                  </a:lnTo>
                  <a:lnTo>
                    <a:pt x="1992" y="245"/>
                  </a:lnTo>
                  <a:lnTo>
                    <a:pt x="1992" y="241"/>
                  </a:lnTo>
                  <a:lnTo>
                    <a:pt x="1996" y="241"/>
                  </a:lnTo>
                  <a:lnTo>
                    <a:pt x="1996" y="241"/>
                  </a:lnTo>
                  <a:lnTo>
                    <a:pt x="1983" y="231"/>
                  </a:lnTo>
                  <a:lnTo>
                    <a:pt x="1992" y="236"/>
                  </a:lnTo>
                  <a:lnTo>
                    <a:pt x="1996" y="236"/>
                  </a:lnTo>
                  <a:lnTo>
                    <a:pt x="1996" y="236"/>
                  </a:lnTo>
                  <a:lnTo>
                    <a:pt x="2001" y="241"/>
                  </a:lnTo>
                  <a:lnTo>
                    <a:pt x="2001" y="241"/>
                  </a:lnTo>
                  <a:lnTo>
                    <a:pt x="2001" y="241"/>
                  </a:lnTo>
                  <a:lnTo>
                    <a:pt x="1996" y="241"/>
                  </a:lnTo>
                  <a:lnTo>
                    <a:pt x="1996" y="245"/>
                  </a:lnTo>
                  <a:lnTo>
                    <a:pt x="1996" y="245"/>
                  </a:lnTo>
                  <a:moveTo>
                    <a:pt x="1910" y="195"/>
                  </a:moveTo>
                  <a:lnTo>
                    <a:pt x="1910" y="195"/>
                  </a:lnTo>
                  <a:lnTo>
                    <a:pt x="1910" y="195"/>
                  </a:lnTo>
                  <a:lnTo>
                    <a:pt x="1910" y="195"/>
                  </a:lnTo>
                  <a:lnTo>
                    <a:pt x="1910" y="195"/>
                  </a:lnTo>
                  <a:moveTo>
                    <a:pt x="1865" y="173"/>
                  </a:moveTo>
                  <a:lnTo>
                    <a:pt x="1865" y="173"/>
                  </a:lnTo>
                  <a:lnTo>
                    <a:pt x="1860" y="173"/>
                  </a:lnTo>
                  <a:lnTo>
                    <a:pt x="1855" y="173"/>
                  </a:lnTo>
                  <a:lnTo>
                    <a:pt x="1851" y="168"/>
                  </a:lnTo>
                  <a:lnTo>
                    <a:pt x="1851" y="168"/>
                  </a:lnTo>
                  <a:lnTo>
                    <a:pt x="1851" y="168"/>
                  </a:lnTo>
                  <a:lnTo>
                    <a:pt x="1855" y="168"/>
                  </a:lnTo>
                  <a:lnTo>
                    <a:pt x="1855" y="168"/>
                  </a:lnTo>
                  <a:lnTo>
                    <a:pt x="1855" y="168"/>
                  </a:lnTo>
                  <a:lnTo>
                    <a:pt x="1860" y="173"/>
                  </a:lnTo>
                  <a:lnTo>
                    <a:pt x="1865" y="173"/>
                  </a:lnTo>
                  <a:lnTo>
                    <a:pt x="1865" y="173"/>
                  </a:lnTo>
                  <a:moveTo>
                    <a:pt x="1606" y="55"/>
                  </a:moveTo>
                  <a:lnTo>
                    <a:pt x="1606" y="55"/>
                  </a:lnTo>
                  <a:lnTo>
                    <a:pt x="1606" y="55"/>
                  </a:lnTo>
                  <a:lnTo>
                    <a:pt x="1606" y="55"/>
                  </a:lnTo>
                  <a:lnTo>
                    <a:pt x="1601" y="50"/>
                  </a:lnTo>
                  <a:lnTo>
                    <a:pt x="1597" y="50"/>
                  </a:lnTo>
                  <a:lnTo>
                    <a:pt x="1597" y="46"/>
                  </a:lnTo>
                  <a:lnTo>
                    <a:pt x="1597" y="46"/>
                  </a:lnTo>
                  <a:lnTo>
                    <a:pt x="1597" y="41"/>
                  </a:lnTo>
                  <a:lnTo>
                    <a:pt x="1597" y="41"/>
                  </a:lnTo>
                  <a:lnTo>
                    <a:pt x="1597" y="41"/>
                  </a:lnTo>
                  <a:lnTo>
                    <a:pt x="1597" y="36"/>
                  </a:lnTo>
                  <a:lnTo>
                    <a:pt x="1597" y="36"/>
                  </a:lnTo>
                  <a:lnTo>
                    <a:pt x="1601" y="36"/>
                  </a:lnTo>
                  <a:lnTo>
                    <a:pt x="1606" y="36"/>
                  </a:lnTo>
                  <a:lnTo>
                    <a:pt x="1606" y="41"/>
                  </a:lnTo>
                  <a:lnTo>
                    <a:pt x="1611" y="41"/>
                  </a:lnTo>
                  <a:lnTo>
                    <a:pt x="1615" y="46"/>
                  </a:lnTo>
                  <a:lnTo>
                    <a:pt x="1615" y="46"/>
                  </a:lnTo>
                  <a:lnTo>
                    <a:pt x="1615" y="50"/>
                  </a:lnTo>
                  <a:lnTo>
                    <a:pt x="1611" y="50"/>
                  </a:lnTo>
                  <a:lnTo>
                    <a:pt x="1611" y="50"/>
                  </a:lnTo>
                  <a:lnTo>
                    <a:pt x="1611" y="55"/>
                  </a:lnTo>
                  <a:lnTo>
                    <a:pt x="1606" y="55"/>
                  </a:lnTo>
                  <a:moveTo>
                    <a:pt x="1583" y="9"/>
                  </a:moveTo>
                  <a:lnTo>
                    <a:pt x="1583" y="9"/>
                  </a:lnTo>
                  <a:lnTo>
                    <a:pt x="1583" y="9"/>
                  </a:lnTo>
                  <a:lnTo>
                    <a:pt x="1583" y="9"/>
                  </a:lnTo>
                  <a:lnTo>
                    <a:pt x="1588" y="9"/>
                  </a:lnTo>
                  <a:lnTo>
                    <a:pt x="1588" y="9"/>
                  </a:lnTo>
                  <a:lnTo>
                    <a:pt x="1588" y="14"/>
                  </a:lnTo>
                  <a:lnTo>
                    <a:pt x="1588" y="27"/>
                  </a:lnTo>
                  <a:lnTo>
                    <a:pt x="1588" y="32"/>
                  </a:lnTo>
                  <a:lnTo>
                    <a:pt x="1588" y="32"/>
                  </a:lnTo>
                  <a:lnTo>
                    <a:pt x="1583" y="32"/>
                  </a:lnTo>
                  <a:lnTo>
                    <a:pt x="1583" y="32"/>
                  </a:lnTo>
                  <a:lnTo>
                    <a:pt x="1588" y="32"/>
                  </a:lnTo>
                  <a:lnTo>
                    <a:pt x="1583" y="27"/>
                  </a:lnTo>
                  <a:lnTo>
                    <a:pt x="1583" y="23"/>
                  </a:lnTo>
                  <a:lnTo>
                    <a:pt x="1583" y="18"/>
                  </a:lnTo>
                  <a:lnTo>
                    <a:pt x="1583" y="14"/>
                  </a:lnTo>
                  <a:lnTo>
                    <a:pt x="1583" y="14"/>
                  </a:lnTo>
                  <a:lnTo>
                    <a:pt x="1579" y="9"/>
                  </a:lnTo>
                  <a:lnTo>
                    <a:pt x="1579" y="9"/>
                  </a:lnTo>
                  <a:lnTo>
                    <a:pt x="1579" y="9"/>
                  </a:lnTo>
                  <a:lnTo>
                    <a:pt x="1579" y="9"/>
                  </a:lnTo>
                  <a:lnTo>
                    <a:pt x="1583" y="9"/>
                  </a:lnTo>
                  <a:lnTo>
                    <a:pt x="1583" y="9"/>
                  </a:lnTo>
                  <a:lnTo>
                    <a:pt x="1583" y="9"/>
                  </a:lnTo>
                  <a:moveTo>
                    <a:pt x="1679" y="14"/>
                  </a:moveTo>
                  <a:lnTo>
                    <a:pt x="1679" y="14"/>
                  </a:lnTo>
                  <a:lnTo>
                    <a:pt x="1683" y="18"/>
                  </a:lnTo>
                  <a:lnTo>
                    <a:pt x="1692" y="23"/>
                  </a:lnTo>
                  <a:lnTo>
                    <a:pt x="1697" y="27"/>
                  </a:lnTo>
                  <a:lnTo>
                    <a:pt x="1724" y="64"/>
                  </a:lnTo>
                  <a:lnTo>
                    <a:pt x="1733" y="77"/>
                  </a:lnTo>
                  <a:lnTo>
                    <a:pt x="1733" y="82"/>
                  </a:lnTo>
                  <a:lnTo>
                    <a:pt x="1738" y="82"/>
                  </a:lnTo>
                  <a:lnTo>
                    <a:pt x="1742" y="91"/>
                  </a:lnTo>
                  <a:lnTo>
                    <a:pt x="1760" y="109"/>
                  </a:lnTo>
                  <a:lnTo>
                    <a:pt x="1765" y="114"/>
                  </a:lnTo>
                  <a:lnTo>
                    <a:pt x="1769" y="118"/>
                  </a:lnTo>
                  <a:lnTo>
                    <a:pt x="1774" y="123"/>
                  </a:lnTo>
                  <a:lnTo>
                    <a:pt x="1783" y="127"/>
                  </a:lnTo>
                  <a:lnTo>
                    <a:pt x="1792" y="136"/>
                  </a:lnTo>
                  <a:lnTo>
                    <a:pt x="1792" y="136"/>
                  </a:lnTo>
                  <a:lnTo>
                    <a:pt x="1792" y="136"/>
                  </a:lnTo>
                  <a:lnTo>
                    <a:pt x="1797" y="141"/>
                  </a:lnTo>
                  <a:lnTo>
                    <a:pt x="1801" y="141"/>
                  </a:lnTo>
                  <a:lnTo>
                    <a:pt x="1806" y="141"/>
                  </a:lnTo>
                  <a:lnTo>
                    <a:pt x="1806" y="145"/>
                  </a:lnTo>
                  <a:lnTo>
                    <a:pt x="1806" y="145"/>
                  </a:lnTo>
                  <a:lnTo>
                    <a:pt x="1806" y="150"/>
                  </a:lnTo>
                  <a:lnTo>
                    <a:pt x="1810" y="150"/>
                  </a:lnTo>
                  <a:lnTo>
                    <a:pt x="1810" y="150"/>
                  </a:lnTo>
                  <a:lnTo>
                    <a:pt x="1824" y="159"/>
                  </a:lnTo>
                  <a:lnTo>
                    <a:pt x="1846" y="168"/>
                  </a:lnTo>
                  <a:lnTo>
                    <a:pt x="1846" y="168"/>
                  </a:lnTo>
                  <a:lnTo>
                    <a:pt x="1837" y="168"/>
                  </a:lnTo>
                  <a:lnTo>
                    <a:pt x="1837" y="168"/>
                  </a:lnTo>
                  <a:lnTo>
                    <a:pt x="1837" y="168"/>
                  </a:lnTo>
                  <a:lnTo>
                    <a:pt x="1837" y="173"/>
                  </a:lnTo>
                  <a:lnTo>
                    <a:pt x="1842" y="173"/>
                  </a:lnTo>
                  <a:lnTo>
                    <a:pt x="1842" y="177"/>
                  </a:lnTo>
                  <a:lnTo>
                    <a:pt x="1842" y="177"/>
                  </a:lnTo>
                  <a:lnTo>
                    <a:pt x="1842" y="177"/>
                  </a:lnTo>
                  <a:lnTo>
                    <a:pt x="1846" y="177"/>
                  </a:lnTo>
                  <a:lnTo>
                    <a:pt x="1846" y="177"/>
                  </a:lnTo>
                  <a:lnTo>
                    <a:pt x="1846" y="177"/>
                  </a:lnTo>
                  <a:lnTo>
                    <a:pt x="1860" y="177"/>
                  </a:lnTo>
                  <a:lnTo>
                    <a:pt x="1860" y="177"/>
                  </a:lnTo>
                  <a:lnTo>
                    <a:pt x="1865" y="173"/>
                  </a:lnTo>
                  <a:lnTo>
                    <a:pt x="1865" y="173"/>
                  </a:lnTo>
                  <a:lnTo>
                    <a:pt x="1869" y="173"/>
                  </a:lnTo>
                  <a:lnTo>
                    <a:pt x="1878" y="173"/>
                  </a:lnTo>
                  <a:lnTo>
                    <a:pt x="1883" y="173"/>
                  </a:lnTo>
                  <a:lnTo>
                    <a:pt x="1883" y="177"/>
                  </a:lnTo>
                  <a:lnTo>
                    <a:pt x="1883" y="177"/>
                  </a:lnTo>
                  <a:lnTo>
                    <a:pt x="1883" y="177"/>
                  </a:lnTo>
                  <a:lnTo>
                    <a:pt x="1883" y="177"/>
                  </a:lnTo>
                  <a:lnTo>
                    <a:pt x="1878" y="177"/>
                  </a:lnTo>
                  <a:lnTo>
                    <a:pt x="1878" y="186"/>
                  </a:lnTo>
                  <a:lnTo>
                    <a:pt x="1883" y="186"/>
                  </a:lnTo>
                  <a:lnTo>
                    <a:pt x="1883" y="186"/>
                  </a:lnTo>
                  <a:lnTo>
                    <a:pt x="1883" y="186"/>
                  </a:lnTo>
                  <a:lnTo>
                    <a:pt x="1883" y="186"/>
                  </a:lnTo>
                  <a:lnTo>
                    <a:pt x="1887" y="182"/>
                  </a:lnTo>
                  <a:lnTo>
                    <a:pt x="1887" y="182"/>
                  </a:lnTo>
                  <a:lnTo>
                    <a:pt x="1887" y="177"/>
                  </a:lnTo>
                  <a:lnTo>
                    <a:pt x="1887" y="173"/>
                  </a:lnTo>
                  <a:lnTo>
                    <a:pt x="1892" y="173"/>
                  </a:lnTo>
                  <a:lnTo>
                    <a:pt x="1892" y="173"/>
                  </a:lnTo>
                  <a:lnTo>
                    <a:pt x="1892" y="177"/>
                  </a:lnTo>
                  <a:lnTo>
                    <a:pt x="1892" y="182"/>
                  </a:lnTo>
                  <a:lnTo>
                    <a:pt x="1892" y="186"/>
                  </a:lnTo>
                  <a:lnTo>
                    <a:pt x="1896" y="186"/>
                  </a:lnTo>
                  <a:lnTo>
                    <a:pt x="1896" y="186"/>
                  </a:lnTo>
                  <a:lnTo>
                    <a:pt x="1896" y="191"/>
                  </a:lnTo>
                  <a:lnTo>
                    <a:pt x="1901" y="191"/>
                  </a:lnTo>
                  <a:lnTo>
                    <a:pt x="1901" y="191"/>
                  </a:lnTo>
                  <a:lnTo>
                    <a:pt x="1905" y="195"/>
                  </a:lnTo>
                  <a:lnTo>
                    <a:pt x="1905" y="195"/>
                  </a:lnTo>
                  <a:lnTo>
                    <a:pt x="1910" y="195"/>
                  </a:lnTo>
                  <a:lnTo>
                    <a:pt x="1924" y="195"/>
                  </a:lnTo>
                  <a:lnTo>
                    <a:pt x="1937" y="195"/>
                  </a:lnTo>
                  <a:lnTo>
                    <a:pt x="1942" y="195"/>
                  </a:lnTo>
                  <a:lnTo>
                    <a:pt x="1946" y="195"/>
                  </a:lnTo>
                  <a:lnTo>
                    <a:pt x="1955" y="182"/>
                  </a:lnTo>
                  <a:lnTo>
                    <a:pt x="1964" y="168"/>
                  </a:lnTo>
                  <a:lnTo>
                    <a:pt x="1964" y="168"/>
                  </a:lnTo>
                  <a:lnTo>
                    <a:pt x="1973" y="163"/>
                  </a:lnTo>
                  <a:lnTo>
                    <a:pt x="1978" y="159"/>
                  </a:lnTo>
                  <a:lnTo>
                    <a:pt x="1978" y="159"/>
                  </a:lnTo>
                  <a:lnTo>
                    <a:pt x="1978" y="154"/>
                  </a:lnTo>
                  <a:lnTo>
                    <a:pt x="1983" y="145"/>
                  </a:lnTo>
                  <a:lnTo>
                    <a:pt x="1987" y="145"/>
                  </a:lnTo>
                  <a:lnTo>
                    <a:pt x="1987" y="141"/>
                  </a:lnTo>
                  <a:lnTo>
                    <a:pt x="1987" y="141"/>
                  </a:lnTo>
                  <a:lnTo>
                    <a:pt x="1992" y="136"/>
                  </a:lnTo>
                  <a:lnTo>
                    <a:pt x="1992" y="136"/>
                  </a:lnTo>
                  <a:lnTo>
                    <a:pt x="1992" y="136"/>
                  </a:lnTo>
                  <a:lnTo>
                    <a:pt x="1992" y="141"/>
                  </a:lnTo>
                  <a:lnTo>
                    <a:pt x="1996" y="141"/>
                  </a:lnTo>
                  <a:lnTo>
                    <a:pt x="1996" y="145"/>
                  </a:lnTo>
                  <a:lnTo>
                    <a:pt x="1996" y="150"/>
                  </a:lnTo>
                  <a:lnTo>
                    <a:pt x="1992" y="154"/>
                  </a:lnTo>
                  <a:lnTo>
                    <a:pt x="1987" y="163"/>
                  </a:lnTo>
                  <a:lnTo>
                    <a:pt x="1987" y="163"/>
                  </a:lnTo>
                  <a:lnTo>
                    <a:pt x="1987" y="173"/>
                  </a:lnTo>
                  <a:lnTo>
                    <a:pt x="1987" y="173"/>
                  </a:lnTo>
                  <a:lnTo>
                    <a:pt x="1978" y="186"/>
                  </a:lnTo>
                  <a:lnTo>
                    <a:pt x="1978" y="191"/>
                  </a:lnTo>
                  <a:lnTo>
                    <a:pt x="1973" y="195"/>
                  </a:lnTo>
                  <a:lnTo>
                    <a:pt x="1973" y="200"/>
                  </a:lnTo>
                  <a:lnTo>
                    <a:pt x="1973" y="200"/>
                  </a:lnTo>
                  <a:lnTo>
                    <a:pt x="1973" y="204"/>
                  </a:lnTo>
                  <a:lnTo>
                    <a:pt x="1973" y="209"/>
                  </a:lnTo>
                  <a:lnTo>
                    <a:pt x="1973" y="209"/>
                  </a:lnTo>
                  <a:lnTo>
                    <a:pt x="1969" y="213"/>
                  </a:lnTo>
                  <a:lnTo>
                    <a:pt x="1969" y="213"/>
                  </a:lnTo>
                  <a:lnTo>
                    <a:pt x="1969" y="213"/>
                  </a:lnTo>
                  <a:lnTo>
                    <a:pt x="1973" y="218"/>
                  </a:lnTo>
                  <a:lnTo>
                    <a:pt x="1973" y="222"/>
                  </a:lnTo>
                  <a:lnTo>
                    <a:pt x="1978" y="227"/>
                  </a:lnTo>
                  <a:lnTo>
                    <a:pt x="1983" y="231"/>
                  </a:lnTo>
                  <a:lnTo>
                    <a:pt x="1987" y="236"/>
                  </a:lnTo>
                  <a:lnTo>
                    <a:pt x="1987" y="236"/>
                  </a:lnTo>
                  <a:lnTo>
                    <a:pt x="1987" y="241"/>
                  </a:lnTo>
                  <a:lnTo>
                    <a:pt x="1987" y="241"/>
                  </a:lnTo>
                  <a:lnTo>
                    <a:pt x="1987" y="245"/>
                  </a:lnTo>
                  <a:lnTo>
                    <a:pt x="1992" y="245"/>
                  </a:lnTo>
                  <a:lnTo>
                    <a:pt x="1992" y="245"/>
                  </a:lnTo>
                  <a:lnTo>
                    <a:pt x="1992" y="250"/>
                  </a:lnTo>
                  <a:lnTo>
                    <a:pt x="1996" y="259"/>
                  </a:lnTo>
                  <a:lnTo>
                    <a:pt x="1996" y="263"/>
                  </a:lnTo>
                  <a:lnTo>
                    <a:pt x="2001" y="268"/>
                  </a:lnTo>
                  <a:lnTo>
                    <a:pt x="2005" y="272"/>
                  </a:lnTo>
                  <a:lnTo>
                    <a:pt x="2001" y="272"/>
                  </a:lnTo>
                  <a:lnTo>
                    <a:pt x="1996" y="268"/>
                  </a:lnTo>
                  <a:lnTo>
                    <a:pt x="1992" y="268"/>
                  </a:lnTo>
                  <a:lnTo>
                    <a:pt x="1992" y="268"/>
                  </a:lnTo>
                  <a:lnTo>
                    <a:pt x="1992" y="272"/>
                  </a:lnTo>
                  <a:lnTo>
                    <a:pt x="1992" y="272"/>
                  </a:lnTo>
                  <a:lnTo>
                    <a:pt x="1996" y="272"/>
                  </a:lnTo>
                  <a:lnTo>
                    <a:pt x="1996" y="272"/>
                  </a:lnTo>
                  <a:lnTo>
                    <a:pt x="1996" y="272"/>
                  </a:lnTo>
                  <a:lnTo>
                    <a:pt x="1996" y="272"/>
                  </a:lnTo>
                  <a:lnTo>
                    <a:pt x="1996" y="277"/>
                  </a:lnTo>
                  <a:lnTo>
                    <a:pt x="2001" y="277"/>
                  </a:lnTo>
                  <a:lnTo>
                    <a:pt x="2001" y="277"/>
                  </a:lnTo>
                  <a:lnTo>
                    <a:pt x="2005" y="277"/>
                  </a:lnTo>
                  <a:lnTo>
                    <a:pt x="2014" y="277"/>
                  </a:lnTo>
                  <a:lnTo>
                    <a:pt x="2014" y="281"/>
                  </a:lnTo>
                  <a:lnTo>
                    <a:pt x="2019" y="281"/>
                  </a:lnTo>
                  <a:lnTo>
                    <a:pt x="2019" y="281"/>
                  </a:lnTo>
                  <a:lnTo>
                    <a:pt x="2019" y="277"/>
                  </a:lnTo>
                  <a:lnTo>
                    <a:pt x="2014" y="277"/>
                  </a:lnTo>
                  <a:lnTo>
                    <a:pt x="2014" y="277"/>
                  </a:lnTo>
                  <a:lnTo>
                    <a:pt x="2014" y="277"/>
                  </a:lnTo>
                  <a:lnTo>
                    <a:pt x="2019" y="272"/>
                  </a:lnTo>
                  <a:lnTo>
                    <a:pt x="2023" y="268"/>
                  </a:lnTo>
                  <a:lnTo>
                    <a:pt x="2023" y="268"/>
                  </a:lnTo>
                  <a:lnTo>
                    <a:pt x="2028" y="263"/>
                  </a:lnTo>
                  <a:lnTo>
                    <a:pt x="2028" y="263"/>
                  </a:lnTo>
                  <a:lnTo>
                    <a:pt x="2028" y="263"/>
                  </a:lnTo>
                  <a:lnTo>
                    <a:pt x="2028" y="263"/>
                  </a:lnTo>
                  <a:lnTo>
                    <a:pt x="2028" y="263"/>
                  </a:lnTo>
                  <a:lnTo>
                    <a:pt x="2028" y="259"/>
                  </a:lnTo>
                  <a:lnTo>
                    <a:pt x="2032" y="259"/>
                  </a:lnTo>
                  <a:lnTo>
                    <a:pt x="2037" y="259"/>
                  </a:lnTo>
                  <a:lnTo>
                    <a:pt x="2037" y="259"/>
                  </a:lnTo>
                  <a:lnTo>
                    <a:pt x="2037" y="259"/>
                  </a:lnTo>
                  <a:lnTo>
                    <a:pt x="2037" y="259"/>
                  </a:lnTo>
                  <a:lnTo>
                    <a:pt x="2037" y="259"/>
                  </a:lnTo>
                  <a:lnTo>
                    <a:pt x="2041" y="259"/>
                  </a:lnTo>
                  <a:lnTo>
                    <a:pt x="2041" y="259"/>
                  </a:lnTo>
                  <a:lnTo>
                    <a:pt x="2041" y="259"/>
                  </a:lnTo>
                  <a:lnTo>
                    <a:pt x="2041" y="259"/>
                  </a:lnTo>
                  <a:lnTo>
                    <a:pt x="2046" y="259"/>
                  </a:lnTo>
                  <a:lnTo>
                    <a:pt x="2046" y="259"/>
                  </a:lnTo>
                  <a:lnTo>
                    <a:pt x="2046" y="263"/>
                  </a:lnTo>
                  <a:lnTo>
                    <a:pt x="2046" y="263"/>
                  </a:lnTo>
                  <a:lnTo>
                    <a:pt x="2041" y="263"/>
                  </a:lnTo>
                  <a:lnTo>
                    <a:pt x="2041" y="263"/>
                  </a:lnTo>
                  <a:lnTo>
                    <a:pt x="2041" y="268"/>
                  </a:lnTo>
                  <a:lnTo>
                    <a:pt x="2037" y="268"/>
                  </a:lnTo>
                  <a:lnTo>
                    <a:pt x="2037" y="268"/>
                  </a:lnTo>
                  <a:lnTo>
                    <a:pt x="2032" y="268"/>
                  </a:lnTo>
                  <a:lnTo>
                    <a:pt x="2032" y="268"/>
                  </a:lnTo>
                  <a:lnTo>
                    <a:pt x="2032" y="272"/>
                  </a:lnTo>
                  <a:lnTo>
                    <a:pt x="2028" y="268"/>
                  </a:lnTo>
                  <a:lnTo>
                    <a:pt x="2028" y="272"/>
                  </a:lnTo>
                  <a:lnTo>
                    <a:pt x="2028" y="272"/>
                  </a:lnTo>
                  <a:lnTo>
                    <a:pt x="2028" y="272"/>
                  </a:lnTo>
                  <a:lnTo>
                    <a:pt x="2028" y="272"/>
                  </a:lnTo>
                  <a:lnTo>
                    <a:pt x="2023" y="277"/>
                  </a:lnTo>
                  <a:lnTo>
                    <a:pt x="2023" y="277"/>
                  </a:lnTo>
                  <a:lnTo>
                    <a:pt x="2023" y="277"/>
                  </a:lnTo>
                  <a:lnTo>
                    <a:pt x="2023" y="281"/>
                  </a:lnTo>
                  <a:lnTo>
                    <a:pt x="2023" y="286"/>
                  </a:lnTo>
                  <a:lnTo>
                    <a:pt x="2019" y="286"/>
                  </a:lnTo>
                  <a:lnTo>
                    <a:pt x="2019" y="290"/>
                  </a:lnTo>
                  <a:lnTo>
                    <a:pt x="2019" y="290"/>
                  </a:lnTo>
                  <a:lnTo>
                    <a:pt x="2019" y="290"/>
                  </a:lnTo>
                  <a:lnTo>
                    <a:pt x="2014" y="290"/>
                  </a:lnTo>
                  <a:lnTo>
                    <a:pt x="2014" y="290"/>
                  </a:lnTo>
                  <a:lnTo>
                    <a:pt x="2010" y="286"/>
                  </a:lnTo>
                  <a:lnTo>
                    <a:pt x="2010" y="290"/>
                  </a:lnTo>
                  <a:lnTo>
                    <a:pt x="2005" y="290"/>
                  </a:lnTo>
                  <a:lnTo>
                    <a:pt x="1996" y="290"/>
                  </a:lnTo>
                  <a:lnTo>
                    <a:pt x="1996" y="290"/>
                  </a:lnTo>
                  <a:lnTo>
                    <a:pt x="1992" y="295"/>
                  </a:lnTo>
                  <a:lnTo>
                    <a:pt x="1992" y="295"/>
                  </a:lnTo>
                  <a:lnTo>
                    <a:pt x="1983" y="295"/>
                  </a:lnTo>
                  <a:lnTo>
                    <a:pt x="1983" y="295"/>
                  </a:lnTo>
                  <a:lnTo>
                    <a:pt x="1983" y="299"/>
                  </a:lnTo>
                  <a:lnTo>
                    <a:pt x="1983" y="299"/>
                  </a:lnTo>
                  <a:lnTo>
                    <a:pt x="1983" y="304"/>
                  </a:lnTo>
                  <a:lnTo>
                    <a:pt x="1983" y="304"/>
                  </a:lnTo>
                  <a:lnTo>
                    <a:pt x="1983" y="304"/>
                  </a:lnTo>
                  <a:lnTo>
                    <a:pt x="1987" y="304"/>
                  </a:lnTo>
                  <a:lnTo>
                    <a:pt x="1983" y="304"/>
                  </a:lnTo>
                  <a:lnTo>
                    <a:pt x="1983" y="304"/>
                  </a:lnTo>
                  <a:lnTo>
                    <a:pt x="1978" y="304"/>
                  </a:lnTo>
                  <a:lnTo>
                    <a:pt x="1978" y="309"/>
                  </a:lnTo>
                  <a:lnTo>
                    <a:pt x="1978" y="309"/>
                  </a:lnTo>
                  <a:lnTo>
                    <a:pt x="1978" y="309"/>
                  </a:lnTo>
                  <a:lnTo>
                    <a:pt x="1978" y="309"/>
                  </a:lnTo>
                  <a:lnTo>
                    <a:pt x="1973" y="309"/>
                  </a:lnTo>
                  <a:lnTo>
                    <a:pt x="1969" y="309"/>
                  </a:lnTo>
                  <a:lnTo>
                    <a:pt x="1973" y="313"/>
                  </a:lnTo>
                  <a:lnTo>
                    <a:pt x="1973" y="313"/>
                  </a:lnTo>
                  <a:lnTo>
                    <a:pt x="1973" y="313"/>
                  </a:lnTo>
                  <a:lnTo>
                    <a:pt x="1973" y="318"/>
                  </a:lnTo>
                  <a:lnTo>
                    <a:pt x="1969" y="318"/>
                  </a:lnTo>
                  <a:lnTo>
                    <a:pt x="1964" y="318"/>
                  </a:lnTo>
                  <a:lnTo>
                    <a:pt x="1960" y="318"/>
                  </a:lnTo>
                  <a:lnTo>
                    <a:pt x="1960" y="318"/>
                  </a:lnTo>
                  <a:lnTo>
                    <a:pt x="1955" y="313"/>
                  </a:lnTo>
                  <a:lnTo>
                    <a:pt x="1955" y="313"/>
                  </a:lnTo>
                  <a:lnTo>
                    <a:pt x="1955" y="313"/>
                  </a:lnTo>
                  <a:lnTo>
                    <a:pt x="1955" y="309"/>
                  </a:lnTo>
                  <a:lnTo>
                    <a:pt x="1951" y="309"/>
                  </a:lnTo>
                  <a:lnTo>
                    <a:pt x="1951" y="309"/>
                  </a:lnTo>
                  <a:lnTo>
                    <a:pt x="1951" y="309"/>
                  </a:lnTo>
                  <a:lnTo>
                    <a:pt x="1951" y="309"/>
                  </a:lnTo>
                  <a:lnTo>
                    <a:pt x="1951" y="309"/>
                  </a:lnTo>
                  <a:lnTo>
                    <a:pt x="1951" y="313"/>
                  </a:lnTo>
                  <a:lnTo>
                    <a:pt x="1946" y="313"/>
                  </a:lnTo>
                  <a:lnTo>
                    <a:pt x="1946" y="313"/>
                  </a:lnTo>
                  <a:lnTo>
                    <a:pt x="1946" y="313"/>
                  </a:lnTo>
                  <a:lnTo>
                    <a:pt x="1946" y="318"/>
                  </a:lnTo>
                  <a:lnTo>
                    <a:pt x="1946" y="318"/>
                  </a:lnTo>
                  <a:lnTo>
                    <a:pt x="1946" y="318"/>
                  </a:lnTo>
                  <a:lnTo>
                    <a:pt x="1946" y="322"/>
                  </a:lnTo>
                  <a:lnTo>
                    <a:pt x="1946" y="322"/>
                  </a:lnTo>
                  <a:lnTo>
                    <a:pt x="1951" y="322"/>
                  </a:lnTo>
                  <a:lnTo>
                    <a:pt x="1951" y="327"/>
                  </a:lnTo>
                  <a:lnTo>
                    <a:pt x="1946" y="327"/>
                  </a:lnTo>
                  <a:lnTo>
                    <a:pt x="1933" y="322"/>
                  </a:lnTo>
                  <a:lnTo>
                    <a:pt x="1924" y="327"/>
                  </a:lnTo>
                  <a:lnTo>
                    <a:pt x="1924" y="327"/>
                  </a:lnTo>
                  <a:lnTo>
                    <a:pt x="1919" y="327"/>
                  </a:lnTo>
                  <a:lnTo>
                    <a:pt x="1910" y="322"/>
                  </a:lnTo>
                  <a:lnTo>
                    <a:pt x="1910" y="322"/>
                  </a:lnTo>
                  <a:lnTo>
                    <a:pt x="1910" y="322"/>
                  </a:lnTo>
                  <a:lnTo>
                    <a:pt x="1910" y="322"/>
                  </a:lnTo>
                  <a:lnTo>
                    <a:pt x="1910" y="322"/>
                  </a:lnTo>
                  <a:lnTo>
                    <a:pt x="1910" y="318"/>
                  </a:lnTo>
                  <a:lnTo>
                    <a:pt x="1905" y="318"/>
                  </a:lnTo>
                  <a:lnTo>
                    <a:pt x="1905" y="318"/>
                  </a:lnTo>
                  <a:lnTo>
                    <a:pt x="1892" y="322"/>
                  </a:lnTo>
                  <a:lnTo>
                    <a:pt x="1878" y="331"/>
                  </a:lnTo>
                  <a:lnTo>
                    <a:pt x="1865" y="340"/>
                  </a:lnTo>
                  <a:lnTo>
                    <a:pt x="1855" y="354"/>
                  </a:lnTo>
                  <a:lnTo>
                    <a:pt x="1842" y="368"/>
                  </a:lnTo>
                  <a:lnTo>
                    <a:pt x="1837" y="372"/>
                  </a:lnTo>
                  <a:lnTo>
                    <a:pt x="1824" y="395"/>
                  </a:lnTo>
                  <a:lnTo>
                    <a:pt x="1815" y="413"/>
                  </a:lnTo>
                  <a:lnTo>
                    <a:pt x="1815" y="417"/>
                  </a:lnTo>
                  <a:lnTo>
                    <a:pt x="1815" y="422"/>
                  </a:lnTo>
                  <a:lnTo>
                    <a:pt x="1815" y="431"/>
                  </a:lnTo>
                  <a:lnTo>
                    <a:pt x="1815" y="436"/>
                  </a:lnTo>
                  <a:lnTo>
                    <a:pt x="1815" y="436"/>
                  </a:lnTo>
                  <a:lnTo>
                    <a:pt x="1815" y="440"/>
                  </a:lnTo>
                  <a:lnTo>
                    <a:pt x="1810" y="449"/>
                  </a:lnTo>
                  <a:lnTo>
                    <a:pt x="1810" y="454"/>
                  </a:lnTo>
                  <a:lnTo>
                    <a:pt x="1810" y="454"/>
                  </a:lnTo>
                  <a:lnTo>
                    <a:pt x="1810" y="463"/>
                  </a:lnTo>
                  <a:lnTo>
                    <a:pt x="1806" y="463"/>
                  </a:lnTo>
                  <a:lnTo>
                    <a:pt x="1806" y="463"/>
                  </a:lnTo>
                  <a:lnTo>
                    <a:pt x="1801" y="463"/>
                  </a:lnTo>
                  <a:lnTo>
                    <a:pt x="1801" y="458"/>
                  </a:lnTo>
                  <a:lnTo>
                    <a:pt x="1801" y="458"/>
                  </a:lnTo>
                  <a:lnTo>
                    <a:pt x="1801" y="454"/>
                  </a:lnTo>
                  <a:lnTo>
                    <a:pt x="1797" y="454"/>
                  </a:lnTo>
                  <a:lnTo>
                    <a:pt x="1792" y="449"/>
                  </a:lnTo>
                  <a:lnTo>
                    <a:pt x="1778" y="440"/>
                  </a:lnTo>
                  <a:lnTo>
                    <a:pt x="1760" y="436"/>
                  </a:lnTo>
                  <a:lnTo>
                    <a:pt x="1738" y="426"/>
                  </a:lnTo>
                  <a:lnTo>
                    <a:pt x="1728" y="422"/>
                  </a:lnTo>
                  <a:lnTo>
                    <a:pt x="1710" y="408"/>
                  </a:lnTo>
                  <a:lnTo>
                    <a:pt x="1706" y="404"/>
                  </a:lnTo>
                  <a:lnTo>
                    <a:pt x="1701" y="399"/>
                  </a:lnTo>
                  <a:lnTo>
                    <a:pt x="1688" y="395"/>
                  </a:lnTo>
                  <a:lnTo>
                    <a:pt x="1683" y="390"/>
                  </a:lnTo>
                  <a:lnTo>
                    <a:pt x="1679" y="386"/>
                  </a:lnTo>
                  <a:lnTo>
                    <a:pt x="1674" y="386"/>
                  </a:lnTo>
                  <a:lnTo>
                    <a:pt x="1674" y="386"/>
                  </a:lnTo>
                  <a:lnTo>
                    <a:pt x="1665" y="381"/>
                  </a:lnTo>
                  <a:lnTo>
                    <a:pt x="1656" y="377"/>
                  </a:lnTo>
                  <a:lnTo>
                    <a:pt x="1647" y="381"/>
                  </a:lnTo>
                  <a:lnTo>
                    <a:pt x="1638" y="381"/>
                  </a:lnTo>
                  <a:lnTo>
                    <a:pt x="1629" y="386"/>
                  </a:lnTo>
                  <a:lnTo>
                    <a:pt x="1611" y="399"/>
                  </a:lnTo>
                  <a:lnTo>
                    <a:pt x="1611" y="399"/>
                  </a:lnTo>
                  <a:lnTo>
                    <a:pt x="1606" y="404"/>
                  </a:lnTo>
                  <a:lnTo>
                    <a:pt x="1606" y="404"/>
                  </a:lnTo>
                  <a:lnTo>
                    <a:pt x="1606" y="404"/>
                  </a:lnTo>
                  <a:lnTo>
                    <a:pt x="1606" y="404"/>
                  </a:lnTo>
                  <a:lnTo>
                    <a:pt x="1601" y="404"/>
                  </a:lnTo>
                  <a:lnTo>
                    <a:pt x="1597" y="408"/>
                  </a:lnTo>
                  <a:lnTo>
                    <a:pt x="1592" y="413"/>
                  </a:lnTo>
                  <a:lnTo>
                    <a:pt x="1588" y="417"/>
                  </a:lnTo>
                  <a:lnTo>
                    <a:pt x="1588" y="422"/>
                  </a:lnTo>
                  <a:lnTo>
                    <a:pt x="1588" y="422"/>
                  </a:lnTo>
                  <a:lnTo>
                    <a:pt x="1583" y="422"/>
                  </a:lnTo>
                  <a:lnTo>
                    <a:pt x="1583" y="422"/>
                  </a:lnTo>
                  <a:lnTo>
                    <a:pt x="1583" y="422"/>
                  </a:lnTo>
                  <a:lnTo>
                    <a:pt x="1583" y="422"/>
                  </a:lnTo>
                  <a:lnTo>
                    <a:pt x="1579" y="417"/>
                  </a:lnTo>
                  <a:lnTo>
                    <a:pt x="1579" y="417"/>
                  </a:lnTo>
                  <a:lnTo>
                    <a:pt x="1579" y="417"/>
                  </a:lnTo>
                  <a:lnTo>
                    <a:pt x="1583" y="417"/>
                  </a:lnTo>
                  <a:lnTo>
                    <a:pt x="1588" y="417"/>
                  </a:lnTo>
                  <a:lnTo>
                    <a:pt x="1588" y="417"/>
                  </a:lnTo>
                  <a:lnTo>
                    <a:pt x="1583" y="417"/>
                  </a:lnTo>
                  <a:lnTo>
                    <a:pt x="1583" y="413"/>
                  </a:lnTo>
                  <a:lnTo>
                    <a:pt x="1579" y="413"/>
                  </a:lnTo>
                  <a:lnTo>
                    <a:pt x="1579" y="413"/>
                  </a:lnTo>
                  <a:lnTo>
                    <a:pt x="1579" y="413"/>
                  </a:lnTo>
                  <a:lnTo>
                    <a:pt x="1579" y="404"/>
                  </a:lnTo>
                  <a:lnTo>
                    <a:pt x="1561" y="386"/>
                  </a:lnTo>
                  <a:lnTo>
                    <a:pt x="1556" y="386"/>
                  </a:lnTo>
                  <a:lnTo>
                    <a:pt x="1556" y="386"/>
                  </a:lnTo>
                  <a:lnTo>
                    <a:pt x="1547" y="386"/>
                  </a:lnTo>
                  <a:lnTo>
                    <a:pt x="1542" y="386"/>
                  </a:lnTo>
                  <a:lnTo>
                    <a:pt x="1538" y="386"/>
                  </a:lnTo>
                  <a:lnTo>
                    <a:pt x="1533" y="386"/>
                  </a:lnTo>
                  <a:lnTo>
                    <a:pt x="1529" y="390"/>
                  </a:lnTo>
                  <a:lnTo>
                    <a:pt x="1529" y="395"/>
                  </a:lnTo>
                  <a:lnTo>
                    <a:pt x="1520" y="404"/>
                  </a:lnTo>
                  <a:lnTo>
                    <a:pt x="1520" y="408"/>
                  </a:lnTo>
                  <a:lnTo>
                    <a:pt x="1520" y="417"/>
                  </a:lnTo>
                  <a:lnTo>
                    <a:pt x="1515" y="422"/>
                  </a:lnTo>
                  <a:lnTo>
                    <a:pt x="1520" y="426"/>
                  </a:lnTo>
                  <a:lnTo>
                    <a:pt x="1520" y="431"/>
                  </a:lnTo>
                  <a:lnTo>
                    <a:pt x="1533" y="436"/>
                  </a:lnTo>
                  <a:lnTo>
                    <a:pt x="1533" y="440"/>
                  </a:lnTo>
                  <a:lnTo>
                    <a:pt x="1542" y="445"/>
                  </a:lnTo>
                  <a:lnTo>
                    <a:pt x="1542" y="449"/>
                  </a:lnTo>
                  <a:lnTo>
                    <a:pt x="1547" y="449"/>
                  </a:lnTo>
                  <a:lnTo>
                    <a:pt x="1552" y="445"/>
                  </a:lnTo>
                  <a:lnTo>
                    <a:pt x="1556" y="445"/>
                  </a:lnTo>
                  <a:lnTo>
                    <a:pt x="1556" y="445"/>
                  </a:lnTo>
                  <a:lnTo>
                    <a:pt x="1561" y="445"/>
                  </a:lnTo>
                  <a:lnTo>
                    <a:pt x="1565" y="449"/>
                  </a:lnTo>
                  <a:lnTo>
                    <a:pt x="1565" y="449"/>
                  </a:lnTo>
                  <a:lnTo>
                    <a:pt x="1570" y="458"/>
                  </a:lnTo>
                  <a:lnTo>
                    <a:pt x="1574" y="458"/>
                  </a:lnTo>
                  <a:lnTo>
                    <a:pt x="1579" y="463"/>
                  </a:lnTo>
                  <a:lnTo>
                    <a:pt x="1579" y="463"/>
                  </a:lnTo>
                  <a:lnTo>
                    <a:pt x="1583" y="472"/>
                  </a:lnTo>
                  <a:lnTo>
                    <a:pt x="1588" y="472"/>
                  </a:lnTo>
                  <a:lnTo>
                    <a:pt x="1588" y="476"/>
                  </a:lnTo>
                  <a:lnTo>
                    <a:pt x="1592" y="476"/>
                  </a:lnTo>
                  <a:lnTo>
                    <a:pt x="1592" y="476"/>
                  </a:lnTo>
                  <a:lnTo>
                    <a:pt x="1597" y="476"/>
                  </a:lnTo>
                  <a:lnTo>
                    <a:pt x="1597" y="476"/>
                  </a:lnTo>
                  <a:lnTo>
                    <a:pt x="1606" y="485"/>
                  </a:lnTo>
                  <a:lnTo>
                    <a:pt x="1606" y="485"/>
                  </a:lnTo>
                  <a:lnTo>
                    <a:pt x="1606" y="485"/>
                  </a:lnTo>
                  <a:lnTo>
                    <a:pt x="1601" y="490"/>
                  </a:lnTo>
                  <a:lnTo>
                    <a:pt x="1601" y="490"/>
                  </a:lnTo>
                  <a:lnTo>
                    <a:pt x="1597" y="490"/>
                  </a:lnTo>
                  <a:lnTo>
                    <a:pt x="1592" y="495"/>
                  </a:lnTo>
                  <a:lnTo>
                    <a:pt x="1588" y="499"/>
                  </a:lnTo>
                  <a:lnTo>
                    <a:pt x="1583" y="495"/>
                  </a:lnTo>
                  <a:lnTo>
                    <a:pt x="1574" y="490"/>
                  </a:lnTo>
                  <a:lnTo>
                    <a:pt x="1570" y="490"/>
                  </a:lnTo>
                  <a:lnTo>
                    <a:pt x="1565" y="490"/>
                  </a:lnTo>
                  <a:lnTo>
                    <a:pt x="1561" y="495"/>
                  </a:lnTo>
                  <a:lnTo>
                    <a:pt x="1561" y="495"/>
                  </a:lnTo>
                  <a:lnTo>
                    <a:pt x="1561" y="490"/>
                  </a:lnTo>
                  <a:lnTo>
                    <a:pt x="1561" y="490"/>
                  </a:lnTo>
                  <a:lnTo>
                    <a:pt x="1561" y="490"/>
                  </a:lnTo>
                  <a:lnTo>
                    <a:pt x="1561" y="485"/>
                  </a:lnTo>
                  <a:lnTo>
                    <a:pt x="1561" y="485"/>
                  </a:lnTo>
                  <a:lnTo>
                    <a:pt x="1561" y="485"/>
                  </a:lnTo>
                  <a:lnTo>
                    <a:pt x="1556" y="481"/>
                  </a:lnTo>
                  <a:lnTo>
                    <a:pt x="1556" y="485"/>
                  </a:lnTo>
                  <a:lnTo>
                    <a:pt x="1552" y="485"/>
                  </a:lnTo>
                  <a:lnTo>
                    <a:pt x="1552" y="485"/>
                  </a:lnTo>
                  <a:lnTo>
                    <a:pt x="1552" y="495"/>
                  </a:lnTo>
                  <a:lnTo>
                    <a:pt x="1547" y="495"/>
                  </a:lnTo>
                  <a:lnTo>
                    <a:pt x="1542" y="499"/>
                  </a:lnTo>
                  <a:lnTo>
                    <a:pt x="1542" y="499"/>
                  </a:lnTo>
                  <a:lnTo>
                    <a:pt x="1542" y="499"/>
                  </a:lnTo>
                  <a:lnTo>
                    <a:pt x="1538" y="504"/>
                  </a:lnTo>
                  <a:lnTo>
                    <a:pt x="1533" y="504"/>
                  </a:lnTo>
                  <a:lnTo>
                    <a:pt x="1533" y="508"/>
                  </a:lnTo>
                  <a:lnTo>
                    <a:pt x="1533" y="517"/>
                  </a:lnTo>
                  <a:lnTo>
                    <a:pt x="1533" y="522"/>
                  </a:lnTo>
                  <a:lnTo>
                    <a:pt x="1529" y="526"/>
                  </a:lnTo>
                  <a:lnTo>
                    <a:pt x="1515" y="526"/>
                  </a:lnTo>
                  <a:lnTo>
                    <a:pt x="1515" y="531"/>
                  </a:lnTo>
                  <a:lnTo>
                    <a:pt x="1515" y="531"/>
                  </a:lnTo>
                  <a:lnTo>
                    <a:pt x="1511" y="535"/>
                  </a:lnTo>
                  <a:lnTo>
                    <a:pt x="1511" y="535"/>
                  </a:lnTo>
                  <a:lnTo>
                    <a:pt x="1511" y="540"/>
                  </a:lnTo>
                  <a:lnTo>
                    <a:pt x="1506" y="540"/>
                  </a:lnTo>
                  <a:lnTo>
                    <a:pt x="1502" y="535"/>
                  </a:lnTo>
                  <a:lnTo>
                    <a:pt x="1502" y="535"/>
                  </a:lnTo>
                  <a:lnTo>
                    <a:pt x="1502" y="535"/>
                  </a:lnTo>
                  <a:lnTo>
                    <a:pt x="1502" y="535"/>
                  </a:lnTo>
                  <a:lnTo>
                    <a:pt x="1497" y="535"/>
                  </a:lnTo>
                  <a:lnTo>
                    <a:pt x="1497" y="535"/>
                  </a:lnTo>
                  <a:lnTo>
                    <a:pt x="1497" y="535"/>
                  </a:lnTo>
                  <a:lnTo>
                    <a:pt x="1493" y="535"/>
                  </a:lnTo>
                  <a:lnTo>
                    <a:pt x="1493" y="531"/>
                  </a:lnTo>
                  <a:lnTo>
                    <a:pt x="1493" y="526"/>
                  </a:lnTo>
                  <a:lnTo>
                    <a:pt x="1488" y="517"/>
                  </a:lnTo>
                  <a:lnTo>
                    <a:pt x="1488" y="517"/>
                  </a:lnTo>
                  <a:lnTo>
                    <a:pt x="1488" y="513"/>
                  </a:lnTo>
                  <a:lnTo>
                    <a:pt x="1488" y="508"/>
                  </a:lnTo>
                  <a:lnTo>
                    <a:pt x="1493" y="499"/>
                  </a:lnTo>
                  <a:lnTo>
                    <a:pt x="1497" y="495"/>
                  </a:lnTo>
                  <a:lnTo>
                    <a:pt x="1497" y="485"/>
                  </a:lnTo>
                  <a:lnTo>
                    <a:pt x="1497" y="485"/>
                  </a:lnTo>
                  <a:lnTo>
                    <a:pt x="1502" y="485"/>
                  </a:lnTo>
                  <a:lnTo>
                    <a:pt x="1502" y="485"/>
                  </a:lnTo>
                  <a:lnTo>
                    <a:pt x="1502" y="485"/>
                  </a:lnTo>
                  <a:lnTo>
                    <a:pt x="1502" y="485"/>
                  </a:lnTo>
                  <a:lnTo>
                    <a:pt x="1502" y="481"/>
                  </a:lnTo>
                  <a:lnTo>
                    <a:pt x="1502" y="481"/>
                  </a:lnTo>
                  <a:lnTo>
                    <a:pt x="1502" y="481"/>
                  </a:lnTo>
                  <a:lnTo>
                    <a:pt x="1502" y="476"/>
                  </a:lnTo>
                  <a:lnTo>
                    <a:pt x="1502" y="476"/>
                  </a:lnTo>
                  <a:lnTo>
                    <a:pt x="1502" y="476"/>
                  </a:lnTo>
                  <a:lnTo>
                    <a:pt x="1506" y="476"/>
                  </a:lnTo>
                  <a:lnTo>
                    <a:pt x="1506" y="476"/>
                  </a:lnTo>
                  <a:lnTo>
                    <a:pt x="1506" y="472"/>
                  </a:lnTo>
                  <a:lnTo>
                    <a:pt x="1506" y="472"/>
                  </a:lnTo>
                  <a:lnTo>
                    <a:pt x="1506" y="472"/>
                  </a:lnTo>
                  <a:lnTo>
                    <a:pt x="1502" y="467"/>
                  </a:lnTo>
                  <a:lnTo>
                    <a:pt x="1502" y="467"/>
                  </a:lnTo>
                  <a:lnTo>
                    <a:pt x="1506" y="463"/>
                  </a:lnTo>
                  <a:lnTo>
                    <a:pt x="1502" y="458"/>
                  </a:lnTo>
                  <a:lnTo>
                    <a:pt x="1497" y="449"/>
                  </a:lnTo>
                  <a:lnTo>
                    <a:pt x="1493" y="449"/>
                  </a:lnTo>
                  <a:lnTo>
                    <a:pt x="1484" y="445"/>
                  </a:lnTo>
                  <a:lnTo>
                    <a:pt x="1479" y="440"/>
                  </a:lnTo>
                  <a:lnTo>
                    <a:pt x="1479" y="440"/>
                  </a:lnTo>
                  <a:lnTo>
                    <a:pt x="1479" y="440"/>
                  </a:lnTo>
                  <a:lnTo>
                    <a:pt x="1479" y="436"/>
                  </a:lnTo>
                  <a:lnTo>
                    <a:pt x="1479" y="436"/>
                  </a:lnTo>
                  <a:lnTo>
                    <a:pt x="1474" y="436"/>
                  </a:lnTo>
                  <a:lnTo>
                    <a:pt x="1470" y="431"/>
                  </a:lnTo>
                  <a:lnTo>
                    <a:pt x="1470" y="431"/>
                  </a:lnTo>
                  <a:lnTo>
                    <a:pt x="1470" y="426"/>
                  </a:lnTo>
                  <a:lnTo>
                    <a:pt x="1465" y="422"/>
                  </a:lnTo>
                  <a:lnTo>
                    <a:pt x="1470" y="417"/>
                  </a:lnTo>
                  <a:lnTo>
                    <a:pt x="1470" y="417"/>
                  </a:lnTo>
                  <a:lnTo>
                    <a:pt x="1474" y="408"/>
                  </a:lnTo>
                  <a:lnTo>
                    <a:pt x="1474" y="404"/>
                  </a:lnTo>
                  <a:lnTo>
                    <a:pt x="1474" y="399"/>
                  </a:lnTo>
                  <a:lnTo>
                    <a:pt x="1474" y="395"/>
                  </a:lnTo>
                  <a:lnTo>
                    <a:pt x="1474" y="386"/>
                  </a:lnTo>
                  <a:lnTo>
                    <a:pt x="1474" y="381"/>
                  </a:lnTo>
                  <a:lnTo>
                    <a:pt x="1479" y="377"/>
                  </a:lnTo>
                  <a:lnTo>
                    <a:pt x="1484" y="372"/>
                  </a:lnTo>
                  <a:lnTo>
                    <a:pt x="1493" y="372"/>
                  </a:lnTo>
                  <a:lnTo>
                    <a:pt x="1493" y="372"/>
                  </a:lnTo>
                  <a:lnTo>
                    <a:pt x="1497" y="372"/>
                  </a:lnTo>
                  <a:lnTo>
                    <a:pt x="1497" y="368"/>
                  </a:lnTo>
                  <a:lnTo>
                    <a:pt x="1502" y="363"/>
                  </a:lnTo>
                  <a:lnTo>
                    <a:pt x="1502" y="363"/>
                  </a:lnTo>
                  <a:lnTo>
                    <a:pt x="1502" y="363"/>
                  </a:lnTo>
                  <a:lnTo>
                    <a:pt x="1502" y="363"/>
                  </a:lnTo>
                  <a:lnTo>
                    <a:pt x="1502" y="363"/>
                  </a:lnTo>
                  <a:lnTo>
                    <a:pt x="1506" y="358"/>
                  </a:lnTo>
                  <a:lnTo>
                    <a:pt x="1506" y="354"/>
                  </a:lnTo>
                  <a:lnTo>
                    <a:pt x="1511" y="354"/>
                  </a:lnTo>
                  <a:lnTo>
                    <a:pt x="1511" y="358"/>
                  </a:lnTo>
                  <a:lnTo>
                    <a:pt x="1515" y="358"/>
                  </a:lnTo>
                  <a:lnTo>
                    <a:pt x="1515" y="363"/>
                  </a:lnTo>
                  <a:lnTo>
                    <a:pt x="1515" y="363"/>
                  </a:lnTo>
                  <a:lnTo>
                    <a:pt x="1520" y="363"/>
                  </a:lnTo>
                  <a:lnTo>
                    <a:pt x="1520" y="358"/>
                  </a:lnTo>
                  <a:lnTo>
                    <a:pt x="1520" y="354"/>
                  </a:lnTo>
                  <a:lnTo>
                    <a:pt x="1520" y="354"/>
                  </a:lnTo>
                  <a:lnTo>
                    <a:pt x="1524" y="354"/>
                  </a:lnTo>
                  <a:lnTo>
                    <a:pt x="1524" y="349"/>
                  </a:lnTo>
                  <a:lnTo>
                    <a:pt x="1524" y="345"/>
                  </a:lnTo>
                  <a:lnTo>
                    <a:pt x="1529" y="345"/>
                  </a:lnTo>
                  <a:lnTo>
                    <a:pt x="1533" y="336"/>
                  </a:lnTo>
                  <a:lnTo>
                    <a:pt x="1538" y="331"/>
                  </a:lnTo>
                  <a:lnTo>
                    <a:pt x="1538" y="331"/>
                  </a:lnTo>
                  <a:lnTo>
                    <a:pt x="1542" y="327"/>
                  </a:lnTo>
                  <a:lnTo>
                    <a:pt x="1538" y="327"/>
                  </a:lnTo>
                  <a:lnTo>
                    <a:pt x="1538" y="327"/>
                  </a:lnTo>
                  <a:lnTo>
                    <a:pt x="1538" y="322"/>
                  </a:lnTo>
                  <a:lnTo>
                    <a:pt x="1538" y="322"/>
                  </a:lnTo>
                  <a:lnTo>
                    <a:pt x="1533" y="313"/>
                  </a:lnTo>
                  <a:lnTo>
                    <a:pt x="1529" y="309"/>
                  </a:lnTo>
                  <a:lnTo>
                    <a:pt x="1524" y="309"/>
                  </a:lnTo>
                  <a:lnTo>
                    <a:pt x="1524" y="304"/>
                  </a:lnTo>
                  <a:lnTo>
                    <a:pt x="1520" y="299"/>
                  </a:lnTo>
                  <a:lnTo>
                    <a:pt x="1524" y="290"/>
                  </a:lnTo>
                  <a:lnTo>
                    <a:pt x="1529" y="290"/>
                  </a:lnTo>
                  <a:lnTo>
                    <a:pt x="1533" y="286"/>
                  </a:lnTo>
                  <a:lnTo>
                    <a:pt x="1533" y="286"/>
                  </a:lnTo>
                  <a:lnTo>
                    <a:pt x="1533" y="286"/>
                  </a:lnTo>
                  <a:lnTo>
                    <a:pt x="1533" y="286"/>
                  </a:lnTo>
                  <a:lnTo>
                    <a:pt x="1533" y="281"/>
                  </a:lnTo>
                  <a:lnTo>
                    <a:pt x="1533" y="281"/>
                  </a:lnTo>
                  <a:lnTo>
                    <a:pt x="1538" y="281"/>
                  </a:lnTo>
                  <a:lnTo>
                    <a:pt x="1538" y="281"/>
                  </a:lnTo>
                  <a:lnTo>
                    <a:pt x="1538" y="286"/>
                  </a:lnTo>
                  <a:lnTo>
                    <a:pt x="1538" y="286"/>
                  </a:lnTo>
                  <a:lnTo>
                    <a:pt x="1542" y="286"/>
                  </a:lnTo>
                  <a:lnTo>
                    <a:pt x="1552" y="290"/>
                  </a:lnTo>
                  <a:lnTo>
                    <a:pt x="1552" y="295"/>
                  </a:lnTo>
                  <a:lnTo>
                    <a:pt x="1556" y="295"/>
                  </a:lnTo>
                  <a:lnTo>
                    <a:pt x="1556" y="299"/>
                  </a:lnTo>
                  <a:lnTo>
                    <a:pt x="1565" y="299"/>
                  </a:lnTo>
                  <a:lnTo>
                    <a:pt x="1565" y="304"/>
                  </a:lnTo>
                  <a:lnTo>
                    <a:pt x="1565" y="304"/>
                  </a:lnTo>
                  <a:lnTo>
                    <a:pt x="1565" y="304"/>
                  </a:lnTo>
                  <a:lnTo>
                    <a:pt x="1570" y="304"/>
                  </a:lnTo>
                  <a:lnTo>
                    <a:pt x="1579" y="304"/>
                  </a:lnTo>
                  <a:lnTo>
                    <a:pt x="1583" y="299"/>
                  </a:lnTo>
                  <a:lnTo>
                    <a:pt x="1588" y="299"/>
                  </a:lnTo>
                  <a:lnTo>
                    <a:pt x="1588" y="299"/>
                  </a:lnTo>
                  <a:lnTo>
                    <a:pt x="1588" y="304"/>
                  </a:lnTo>
                  <a:lnTo>
                    <a:pt x="1588" y="304"/>
                  </a:lnTo>
                  <a:lnTo>
                    <a:pt x="1588" y="309"/>
                  </a:lnTo>
                  <a:lnTo>
                    <a:pt x="1588" y="309"/>
                  </a:lnTo>
                  <a:lnTo>
                    <a:pt x="1592" y="309"/>
                  </a:lnTo>
                  <a:lnTo>
                    <a:pt x="1597" y="309"/>
                  </a:lnTo>
                  <a:lnTo>
                    <a:pt x="1597" y="309"/>
                  </a:lnTo>
                  <a:lnTo>
                    <a:pt x="1601" y="313"/>
                  </a:lnTo>
                  <a:lnTo>
                    <a:pt x="1601" y="313"/>
                  </a:lnTo>
                  <a:lnTo>
                    <a:pt x="1606" y="313"/>
                  </a:lnTo>
                  <a:lnTo>
                    <a:pt x="1606" y="313"/>
                  </a:lnTo>
                  <a:lnTo>
                    <a:pt x="1606" y="309"/>
                  </a:lnTo>
                  <a:lnTo>
                    <a:pt x="1615" y="304"/>
                  </a:lnTo>
                  <a:lnTo>
                    <a:pt x="1620" y="295"/>
                  </a:lnTo>
                  <a:lnTo>
                    <a:pt x="1624" y="295"/>
                  </a:lnTo>
                  <a:lnTo>
                    <a:pt x="1624" y="286"/>
                  </a:lnTo>
                  <a:lnTo>
                    <a:pt x="1629" y="281"/>
                  </a:lnTo>
                  <a:lnTo>
                    <a:pt x="1629" y="277"/>
                  </a:lnTo>
                  <a:lnTo>
                    <a:pt x="1624" y="272"/>
                  </a:lnTo>
                  <a:lnTo>
                    <a:pt x="1620" y="263"/>
                  </a:lnTo>
                  <a:lnTo>
                    <a:pt x="1620" y="263"/>
                  </a:lnTo>
                  <a:lnTo>
                    <a:pt x="1620" y="259"/>
                  </a:lnTo>
                  <a:lnTo>
                    <a:pt x="1620" y="259"/>
                  </a:lnTo>
                  <a:lnTo>
                    <a:pt x="1624" y="254"/>
                  </a:lnTo>
                  <a:lnTo>
                    <a:pt x="1620" y="250"/>
                  </a:lnTo>
                  <a:lnTo>
                    <a:pt x="1620" y="250"/>
                  </a:lnTo>
                  <a:lnTo>
                    <a:pt x="1620" y="245"/>
                  </a:lnTo>
                  <a:lnTo>
                    <a:pt x="1620" y="241"/>
                  </a:lnTo>
                  <a:lnTo>
                    <a:pt x="1615" y="236"/>
                  </a:lnTo>
                  <a:lnTo>
                    <a:pt x="1620" y="236"/>
                  </a:lnTo>
                  <a:lnTo>
                    <a:pt x="1620" y="231"/>
                  </a:lnTo>
                  <a:lnTo>
                    <a:pt x="1620" y="227"/>
                  </a:lnTo>
                  <a:lnTo>
                    <a:pt x="1624" y="227"/>
                  </a:lnTo>
                  <a:lnTo>
                    <a:pt x="1624" y="222"/>
                  </a:lnTo>
                  <a:lnTo>
                    <a:pt x="1629" y="222"/>
                  </a:lnTo>
                  <a:lnTo>
                    <a:pt x="1633" y="222"/>
                  </a:lnTo>
                  <a:lnTo>
                    <a:pt x="1633" y="222"/>
                  </a:lnTo>
                  <a:lnTo>
                    <a:pt x="1633" y="218"/>
                  </a:lnTo>
                  <a:lnTo>
                    <a:pt x="1642" y="213"/>
                  </a:lnTo>
                  <a:lnTo>
                    <a:pt x="1642" y="213"/>
                  </a:lnTo>
                  <a:lnTo>
                    <a:pt x="1647" y="209"/>
                  </a:lnTo>
                  <a:lnTo>
                    <a:pt x="1647" y="200"/>
                  </a:lnTo>
                  <a:lnTo>
                    <a:pt x="1647" y="195"/>
                  </a:lnTo>
                  <a:lnTo>
                    <a:pt x="1647" y="191"/>
                  </a:lnTo>
                  <a:lnTo>
                    <a:pt x="1647" y="163"/>
                  </a:lnTo>
                  <a:lnTo>
                    <a:pt x="1647" y="159"/>
                  </a:lnTo>
                  <a:lnTo>
                    <a:pt x="1656" y="141"/>
                  </a:lnTo>
                  <a:lnTo>
                    <a:pt x="1656" y="118"/>
                  </a:lnTo>
                  <a:lnTo>
                    <a:pt x="1656" y="114"/>
                  </a:lnTo>
                  <a:lnTo>
                    <a:pt x="1656" y="100"/>
                  </a:lnTo>
                  <a:lnTo>
                    <a:pt x="1651" y="82"/>
                  </a:lnTo>
                  <a:lnTo>
                    <a:pt x="1651" y="73"/>
                  </a:lnTo>
                  <a:lnTo>
                    <a:pt x="1638" y="46"/>
                  </a:lnTo>
                  <a:lnTo>
                    <a:pt x="1638" y="41"/>
                  </a:lnTo>
                  <a:lnTo>
                    <a:pt x="1638" y="36"/>
                  </a:lnTo>
                  <a:lnTo>
                    <a:pt x="1638" y="32"/>
                  </a:lnTo>
                  <a:lnTo>
                    <a:pt x="1638" y="32"/>
                  </a:lnTo>
                  <a:lnTo>
                    <a:pt x="1638" y="32"/>
                  </a:lnTo>
                  <a:lnTo>
                    <a:pt x="1638" y="27"/>
                  </a:lnTo>
                  <a:lnTo>
                    <a:pt x="1642" y="27"/>
                  </a:lnTo>
                  <a:lnTo>
                    <a:pt x="1642" y="27"/>
                  </a:lnTo>
                  <a:lnTo>
                    <a:pt x="1642" y="23"/>
                  </a:lnTo>
                  <a:lnTo>
                    <a:pt x="1642" y="23"/>
                  </a:lnTo>
                  <a:lnTo>
                    <a:pt x="1642" y="18"/>
                  </a:lnTo>
                  <a:lnTo>
                    <a:pt x="1642" y="14"/>
                  </a:lnTo>
                  <a:lnTo>
                    <a:pt x="1642" y="14"/>
                  </a:lnTo>
                  <a:lnTo>
                    <a:pt x="1642" y="9"/>
                  </a:lnTo>
                  <a:lnTo>
                    <a:pt x="1642" y="9"/>
                  </a:lnTo>
                  <a:lnTo>
                    <a:pt x="1647" y="9"/>
                  </a:lnTo>
                  <a:lnTo>
                    <a:pt x="1647" y="9"/>
                  </a:lnTo>
                  <a:lnTo>
                    <a:pt x="1647" y="14"/>
                  </a:lnTo>
                  <a:lnTo>
                    <a:pt x="1647" y="14"/>
                  </a:lnTo>
                  <a:lnTo>
                    <a:pt x="1647" y="14"/>
                  </a:lnTo>
                  <a:lnTo>
                    <a:pt x="1647" y="14"/>
                  </a:lnTo>
                  <a:lnTo>
                    <a:pt x="1651" y="14"/>
                  </a:lnTo>
                  <a:lnTo>
                    <a:pt x="1656" y="14"/>
                  </a:lnTo>
                  <a:lnTo>
                    <a:pt x="1660" y="14"/>
                  </a:lnTo>
                  <a:lnTo>
                    <a:pt x="1660" y="9"/>
                  </a:lnTo>
                  <a:lnTo>
                    <a:pt x="1660" y="9"/>
                  </a:lnTo>
                  <a:lnTo>
                    <a:pt x="1665" y="9"/>
                  </a:lnTo>
                  <a:lnTo>
                    <a:pt x="1665" y="9"/>
                  </a:lnTo>
                  <a:lnTo>
                    <a:pt x="1665" y="5"/>
                  </a:lnTo>
                  <a:lnTo>
                    <a:pt x="1665" y="5"/>
                  </a:lnTo>
                  <a:lnTo>
                    <a:pt x="1665" y="0"/>
                  </a:lnTo>
                  <a:lnTo>
                    <a:pt x="1665" y="0"/>
                  </a:lnTo>
                  <a:lnTo>
                    <a:pt x="1670" y="0"/>
                  </a:lnTo>
                  <a:lnTo>
                    <a:pt x="1670" y="0"/>
                  </a:lnTo>
                  <a:lnTo>
                    <a:pt x="1674" y="5"/>
                  </a:lnTo>
                  <a:lnTo>
                    <a:pt x="1674" y="5"/>
                  </a:lnTo>
                  <a:lnTo>
                    <a:pt x="1674" y="5"/>
                  </a:lnTo>
                  <a:lnTo>
                    <a:pt x="1674" y="9"/>
                  </a:lnTo>
                  <a:lnTo>
                    <a:pt x="1679" y="14"/>
                  </a:lnTo>
                </a:path>
              </a:pathLst>
            </a:custGeom>
            <a:noFill/>
            <a:ln w="12700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58" name="Rounded Rectangle 57"/>
          <p:cNvSpPr/>
          <p:nvPr/>
        </p:nvSpPr>
        <p:spPr>
          <a:xfrm>
            <a:off x="4593426" y="1170723"/>
            <a:ext cx="595405" cy="24688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>
                <a:solidFill>
                  <a:srgbClr val="FFFFFF"/>
                </a:solidFill>
              </a:rPr>
              <a:t>18%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4593425" y="1585893"/>
            <a:ext cx="972240" cy="24688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>
                <a:solidFill>
                  <a:srgbClr val="FFFFFF"/>
                </a:solidFill>
              </a:rPr>
              <a:t>45%</a:t>
            </a:r>
          </a:p>
        </p:txBody>
      </p:sp>
      <p:sp>
        <p:nvSpPr>
          <p:cNvPr id="62" name="Rounded Rectangle 61"/>
          <p:cNvSpPr/>
          <p:nvPr/>
        </p:nvSpPr>
        <p:spPr>
          <a:xfrm>
            <a:off x="4593425" y="2001063"/>
            <a:ext cx="940837" cy="24688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>
                <a:solidFill>
                  <a:srgbClr val="FFFFFF"/>
                </a:solidFill>
              </a:rPr>
              <a:t>40%</a:t>
            </a:r>
          </a:p>
        </p:txBody>
      </p:sp>
      <p:sp>
        <p:nvSpPr>
          <p:cNvPr id="64" name="Rounded Rectangle 63"/>
          <p:cNvSpPr/>
          <p:nvPr/>
        </p:nvSpPr>
        <p:spPr>
          <a:xfrm>
            <a:off x="4593425" y="2416233"/>
            <a:ext cx="1254423" cy="246888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>
                <a:solidFill>
                  <a:srgbClr val="FFFFFF"/>
                </a:solidFill>
              </a:rPr>
              <a:t>68%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4593425" y="2831403"/>
            <a:ext cx="1160657" cy="24688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>
                <a:solidFill>
                  <a:srgbClr val="FFFFFF"/>
                </a:solidFill>
              </a:rPr>
              <a:t>62%</a:t>
            </a:r>
          </a:p>
        </p:txBody>
      </p:sp>
      <p:sp>
        <p:nvSpPr>
          <p:cNvPr id="68" name="Rounded Rectangle 67"/>
          <p:cNvSpPr/>
          <p:nvPr/>
        </p:nvSpPr>
        <p:spPr>
          <a:xfrm>
            <a:off x="4593425" y="3246573"/>
            <a:ext cx="1537492" cy="246888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>
                <a:solidFill>
                  <a:srgbClr val="FFFFFF"/>
                </a:solidFill>
              </a:rPr>
              <a:t>80%</a:t>
            </a:r>
          </a:p>
        </p:txBody>
      </p:sp>
      <p:sp>
        <p:nvSpPr>
          <p:cNvPr id="70" name="Rounded Rectangle 69"/>
          <p:cNvSpPr/>
          <p:nvPr/>
        </p:nvSpPr>
        <p:spPr>
          <a:xfrm>
            <a:off x="4593425" y="3661743"/>
            <a:ext cx="1160657" cy="246888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>
                <a:solidFill>
                  <a:srgbClr val="FFFFFF"/>
                </a:solidFill>
              </a:rPr>
              <a:t>64%</a:t>
            </a:r>
          </a:p>
        </p:txBody>
      </p:sp>
      <p:sp>
        <p:nvSpPr>
          <p:cNvPr id="72" name="Rounded Rectangle 71"/>
          <p:cNvSpPr/>
          <p:nvPr/>
        </p:nvSpPr>
        <p:spPr>
          <a:xfrm>
            <a:off x="4593425" y="4076910"/>
            <a:ext cx="1625023" cy="246888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>
                <a:solidFill>
                  <a:srgbClr val="FFFFFF"/>
                </a:solidFill>
              </a:rPr>
              <a:t>94%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/>
            <a:r>
              <a:rPr lang="en-US" err="1"/>
              <a:t>Xxxx</a:t>
            </a:r>
            <a:r>
              <a:rPr lang="en-US"/>
              <a:t> xx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/>
              <a:t>Xxx x </a:t>
            </a:r>
            <a:r>
              <a:rPr lang="en-US" err="1"/>
              <a:t>xxxxxxx</a:t>
            </a:r>
            <a:r>
              <a:rPr lang="en-US"/>
              <a:t> xxx </a:t>
            </a:r>
            <a:r>
              <a:rPr lang="en-US" err="1"/>
              <a:t>xxx</a:t>
            </a:r>
            <a:r>
              <a:rPr lang="en-US"/>
              <a:t> xxx x xxx xx </a:t>
            </a:r>
            <a:r>
              <a:rPr lang="en-US" err="1"/>
              <a:t>xx</a:t>
            </a:r>
            <a:endParaRPr lang="en-US"/>
          </a:p>
        </p:txBody>
      </p:sp>
      <p:sp>
        <p:nvSpPr>
          <p:cNvPr id="95" name="Rectangle 94"/>
          <p:cNvSpPr/>
          <p:nvPr/>
        </p:nvSpPr>
        <p:spPr>
          <a:xfrm>
            <a:off x="6805380" y="1131591"/>
            <a:ext cx="2027471" cy="2733825"/>
          </a:xfrm>
          <a:prstGeom prst="rect">
            <a:avLst/>
          </a:prstGeom>
        </p:spPr>
        <p:txBody>
          <a:bodyPr wrap="square" lIns="54864" tIns="0" rIns="0" bIns="0">
            <a:spAutoFit/>
          </a:bodyPr>
          <a:lstStyle/>
          <a:p>
            <a:pPr>
              <a:lnSpc>
                <a:spcPct val="95000"/>
              </a:lnSpc>
              <a:spcAft>
                <a:spcPts val="600"/>
              </a:spcAft>
            </a:pPr>
            <a:r>
              <a:rPr lang="en-US" sz="1100" err="1"/>
              <a:t>Xxxxx</a:t>
            </a:r>
            <a:r>
              <a:rPr lang="en-US" sz="1100"/>
              <a:t> </a:t>
            </a:r>
            <a:r>
              <a:rPr lang="en-US" sz="1100" err="1"/>
              <a:t>xxxxx</a:t>
            </a:r>
            <a:r>
              <a:rPr lang="en-US" sz="1100"/>
              <a:t> </a:t>
            </a:r>
            <a:r>
              <a:rPr lang="en-US" sz="1100" err="1"/>
              <a:t>xxxxxx</a:t>
            </a:r>
            <a:r>
              <a:rPr lang="en-US" sz="1100"/>
              <a:t> xxx xx </a:t>
            </a:r>
            <a:r>
              <a:rPr lang="en-US" sz="1100" err="1"/>
              <a:t>xxxxxxxx</a:t>
            </a:r>
            <a:r>
              <a:rPr lang="en-US" sz="1100"/>
              <a:t> </a:t>
            </a:r>
            <a:r>
              <a:rPr lang="en-US" sz="1100" err="1"/>
              <a:t>xxxxxx</a:t>
            </a:r>
            <a:r>
              <a:rPr lang="en-US" sz="1100"/>
              <a:t> x xx </a:t>
            </a:r>
            <a:r>
              <a:rPr lang="en-US" sz="1100" err="1"/>
              <a:t>Xx</a:t>
            </a:r>
            <a:r>
              <a:rPr lang="en-US" sz="1100"/>
              <a:t> </a:t>
            </a:r>
            <a:r>
              <a:rPr lang="en-US" sz="1100" err="1"/>
              <a:t>xxxxxxxxx</a:t>
            </a:r>
            <a:r>
              <a:rPr lang="en-US" sz="1100"/>
              <a:t> x xxx Xx </a:t>
            </a:r>
            <a:r>
              <a:rPr lang="en-US" sz="1100" err="1"/>
              <a:t>xx</a:t>
            </a:r>
            <a:r>
              <a:rPr lang="en-US" sz="1100"/>
              <a:t> xxx x </a:t>
            </a:r>
            <a:r>
              <a:rPr lang="en-US" sz="1100" err="1"/>
              <a:t>xxxxxx</a:t>
            </a:r>
            <a:r>
              <a:rPr lang="en-US" sz="1100"/>
              <a:t> xxx </a:t>
            </a:r>
            <a:r>
              <a:rPr lang="en-US" sz="1100" err="1"/>
              <a:t>xxxxxxx</a:t>
            </a:r>
            <a:r>
              <a:rPr lang="en-US" sz="1100"/>
              <a:t> xx </a:t>
            </a:r>
            <a:r>
              <a:rPr lang="en-US" sz="1100" err="1"/>
              <a:t>xxxxxxxxx</a:t>
            </a:r>
            <a:r>
              <a:rPr lang="en-US" sz="1100"/>
              <a:t> x xx </a:t>
            </a:r>
            <a:r>
              <a:rPr lang="en-US" sz="1100" err="1"/>
              <a:t>xxxxxxxxxxxxxxxxxxx</a:t>
            </a:r>
            <a:r>
              <a:rPr lang="en-US" sz="1100"/>
              <a:t> xx </a:t>
            </a:r>
            <a:r>
              <a:rPr lang="en-US" sz="1100" err="1"/>
              <a:t>Xxxxxxxxx</a:t>
            </a:r>
            <a:r>
              <a:rPr lang="en-US" sz="1100"/>
              <a:t> </a:t>
            </a:r>
            <a:r>
              <a:rPr lang="en-US" sz="1100" err="1"/>
              <a:t>xxxxxxxxxx</a:t>
            </a:r>
            <a:r>
              <a:rPr lang="en-US" sz="1100"/>
              <a:t> x xxx </a:t>
            </a:r>
            <a:r>
              <a:rPr lang="en-US" sz="1100" err="1"/>
              <a:t>xxx</a:t>
            </a:r>
            <a:r>
              <a:rPr lang="en-US" sz="1100"/>
              <a:t> </a:t>
            </a:r>
            <a:r>
              <a:rPr lang="en-US" sz="1100" err="1"/>
              <a:t>xxxxx</a:t>
            </a:r>
            <a:r>
              <a:rPr lang="en-US" sz="1100"/>
              <a:t> </a:t>
            </a:r>
            <a:r>
              <a:rPr lang="en-US" sz="1100" err="1"/>
              <a:t>xxxxxxxxxxxxxx</a:t>
            </a:r>
            <a:r>
              <a:rPr lang="en-US" sz="1100"/>
              <a:t> xxx </a:t>
            </a:r>
            <a:r>
              <a:rPr lang="en-US" sz="1100" err="1"/>
              <a:t>Xxxxx</a:t>
            </a:r>
            <a:r>
              <a:rPr lang="en-US" sz="1100"/>
              <a:t> </a:t>
            </a:r>
            <a:r>
              <a:rPr lang="en-US" sz="1100" err="1"/>
              <a:t>xxxx</a:t>
            </a:r>
            <a:r>
              <a:rPr lang="en-US" sz="1100"/>
              <a:t> x xxx x </a:t>
            </a:r>
            <a:r>
              <a:rPr lang="en-US" sz="1100" err="1"/>
              <a:t>Xxxx</a:t>
            </a:r>
            <a:r>
              <a:rPr lang="en-US" sz="1100"/>
              <a:t> </a:t>
            </a:r>
            <a:r>
              <a:rPr lang="en-US" sz="1100" err="1"/>
              <a:t>xxxxx</a:t>
            </a:r>
            <a:r>
              <a:rPr lang="en-US" sz="1100"/>
              <a:t> </a:t>
            </a:r>
            <a:r>
              <a:rPr lang="en-US" sz="1100" err="1"/>
              <a:t>xxxxxxx</a:t>
            </a:r>
            <a:r>
              <a:rPr lang="en-US" sz="1100"/>
              <a:t> x </a:t>
            </a:r>
            <a:r>
              <a:rPr lang="en-US" sz="1100" err="1"/>
              <a:t>xxxx</a:t>
            </a:r>
            <a:r>
              <a:rPr lang="en-US" sz="1100"/>
              <a:t> xx x </a:t>
            </a:r>
            <a:r>
              <a:rPr lang="en-US" sz="1100" err="1"/>
              <a:t>xxxx</a:t>
            </a:r>
            <a:r>
              <a:rPr lang="en-US" sz="1100"/>
              <a:t> xxx </a:t>
            </a:r>
            <a:r>
              <a:rPr lang="en-US" sz="1100" err="1"/>
              <a:t>xxx</a:t>
            </a:r>
            <a:r>
              <a:rPr lang="en-US" sz="1100"/>
              <a:t> xx Xxx x </a:t>
            </a:r>
            <a:r>
              <a:rPr lang="en-US" sz="1100" err="1"/>
              <a:t>xxxxxxx</a:t>
            </a:r>
            <a:r>
              <a:rPr lang="en-US" sz="1100"/>
              <a:t> </a:t>
            </a:r>
            <a:r>
              <a:rPr lang="en-US" sz="1100" err="1"/>
              <a:t>xxxxxx</a:t>
            </a:r>
            <a:r>
              <a:rPr lang="en-US" sz="1100"/>
              <a:t> </a:t>
            </a:r>
            <a:r>
              <a:rPr lang="en-US" sz="1100" err="1"/>
              <a:t>xxxxxx</a:t>
            </a:r>
            <a:r>
              <a:rPr lang="en-US" sz="1100"/>
              <a:t> xxx xx x xxx </a:t>
            </a:r>
            <a:r>
              <a:rPr lang="en-US" sz="1100" err="1"/>
              <a:t>xxx</a:t>
            </a:r>
            <a:r>
              <a:rPr lang="en-US" sz="1100"/>
              <a:t> x xx </a:t>
            </a:r>
            <a:r>
              <a:rPr lang="en-US" sz="1100" err="1"/>
              <a:t>Xxxxxxx</a:t>
            </a:r>
            <a:r>
              <a:rPr lang="en-US" sz="1100"/>
              <a:t> xx </a:t>
            </a:r>
            <a:r>
              <a:rPr lang="en-US" sz="1100" err="1"/>
              <a:t>xxxxx</a:t>
            </a:r>
            <a:r>
              <a:rPr lang="en-US" sz="1100"/>
              <a:t> </a:t>
            </a:r>
            <a:r>
              <a:rPr lang="en-US" sz="1100" err="1"/>
              <a:t>xxxxx</a:t>
            </a:r>
            <a:r>
              <a:rPr lang="en-US" sz="1100"/>
              <a:t> Xx x </a:t>
            </a:r>
            <a:r>
              <a:rPr lang="en-US" sz="1100" err="1"/>
              <a:t>xxxx</a:t>
            </a:r>
            <a:r>
              <a:rPr lang="en-US" sz="1100"/>
              <a:t> </a:t>
            </a:r>
            <a:r>
              <a:rPr lang="en-US" sz="1100" err="1"/>
              <a:t>xxxxx</a:t>
            </a:r>
            <a:r>
              <a:rPr lang="en-US" sz="1100"/>
              <a:t> </a:t>
            </a:r>
            <a:r>
              <a:rPr lang="en-US" sz="1100" err="1"/>
              <a:t>xxxxxxx</a:t>
            </a:r>
            <a:r>
              <a:rPr lang="en-US" sz="1100"/>
              <a:t> xx x </a:t>
            </a:r>
            <a:r>
              <a:rPr lang="en-US" sz="1100" err="1"/>
              <a:t>xxxxxxx</a:t>
            </a:r>
            <a:r>
              <a:rPr lang="en-US" sz="1100"/>
              <a:t> x </a:t>
            </a:r>
            <a:r>
              <a:rPr lang="en-US" sz="1100" err="1"/>
              <a:t>xxxxx</a:t>
            </a:r>
            <a:r>
              <a:rPr lang="en-US" sz="1100"/>
              <a:t> </a:t>
            </a:r>
            <a:r>
              <a:rPr lang="en-US" sz="1100" err="1"/>
              <a:t>Xxxxxxxx</a:t>
            </a:r>
            <a:r>
              <a:rPr lang="en-US" sz="1100"/>
              <a:t> xxx </a:t>
            </a:r>
            <a:r>
              <a:rPr lang="en-US" sz="1100" err="1"/>
              <a:t>xxx</a:t>
            </a:r>
            <a:r>
              <a:rPr lang="en-US" sz="1100"/>
              <a:t> </a:t>
            </a:r>
            <a:r>
              <a:rPr lang="en-US" sz="1100" err="1"/>
              <a:t>xxxxxx</a:t>
            </a:r>
            <a:r>
              <a:rPr lang="en-US" sz="1100"/>
              <a:t> x </a:t>
            </a:r>
            <a:r>
              <a:rPr lang="en-US" sz="1100" err="1"/>
              <a:t>xxxxxx</a:t>
            </a:r>
            <a:r>
              <a:rPr lang="en-US" sz="1100"/>
              <a:t> </a:t>
            </a:r>
            <a:r>
              <a:rPr lang="en-US" sz="1100" err="1"/>
              <a:t>xxxxxxxxx</a:t>
            </a:r>
            <a:r>
              <a:rPr lang="en-US" sz="1100"/>
              <a:t> </a:t>
            </a:r>
            <a:r>
              <a:rPr lang="en-US" sz="1100" err="1"/>
              <a:t>Xxxxxx</a:t>
            </a:r>
            <a:r>
              <a:rPr lang="en-US" sz="1100"/>
              <a:t> x xxx xx</a:t>
            </a:r>
            <a:endParaRPr lang="en-US" sz="110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88" name="Group 87"/>
          <p:cNvGrpSpPr/>
          <p:nvPr/>
        </p:nvGrpSpPr>
        <p:grpSpPr>
          <a:xfrm>
            <a:off x="2530798" y="2695238"/>
            <a:ext cx="298302" cy="298302"/>
            <a:chOff x="3821765" y="1310265"/>
            <a:chExt cx="346262" cy="346262"/>
          </a:xfrm>
        </p:grpSpPr>
        <p:sp>
          <p:nvSpPr>
            <p:cNvPr id="90" name="Teardrop 89"/>
            <p:cNvSpPr/>
            <p:nvPr/>
          </p:nvSpPr>
          <p:spPr>
            <a:xfrm rot="7994273">
              <a:off x="3821765" y="1310265"/>
              <a:ext cx="346262" cy="346262"/>
            </a:xfrm>
            <a:prstGeom prst="teardrop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91" name="Oval 90"/>
            <p:cNvSpPr/>
            <p:nvPr/>
          </p:nvSpPr>
          <p:spPr>
            <a:xfrm>
              <a:off x="3862005" y="1350505"/>
              <a:ext cx="265782" cy="265782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2876500" y="1999988"/>
            <a:ext cx="298302" cy="298302"/>
            <a:chOff x="2134497" y="2419863"/>
            <a:chExt cx="346262" cy="346262"/>
          </a:xfrm>
        </p:grpSpPr>
        <p:sp>
          <p:nvSpPr>
            <p:cNvPr id="93" name="Teardrop 92"/>
            <p:cNvSpPr/>
            <p:nvPr/>
          </p:nvSpPr>
          <p:spPr>
            <a:xfrm rot="7994273">
              <a:off x="2134497" y="2419863"/>
              <a:ext cx="346262" cy="346262"/>
            </a:xfrm>
            <a:prstGeom prst="teardrop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94" name="Oval 93"/>
            <p:cNvSpPr/>
            <p:nvPr/>
          </p:nvSpPr>
          <p:spPr>
            <a:xfrm>
              <a:off x="2174737" y="2460103"/>
              <a:ext cx="265782" cy="265782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2001068" y="2745650"/>
            <a:ext cx="298302" cy="298302"/>
            <a:chOff x="4867093" y="1729051"/>
            <a:chExt cx="346262" cy="346262"/>
          </a:xfrm>
        </p:grpSpPr>
        <p:sp>
          <p:nvSpPr>
            <p:cNvPr id="97" name="Teardrop 96"/>
            <p:cNvSpPr/>
            <p:nvPr/>
          </p:nvSpPr>
          <p:spPr>
            <a:xfrm rot="7994273">
              <a:off x="4867093" y="1729051"/>
              <a:ext cx="346262" cy="346262"/>
            </a:xfrm>
            <a:prstGeom prst="teardrop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98" name="Oval 97"/>
            <p:cNvSpPr/>
            <p:nvPr/>
          </p:nvSpPr>
          <p:spPr>
            <a:xfrm>
              <a:off x="4907333" y="1769291"/>
              <a:ext cx="265782" cy="265782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707219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5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1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5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85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95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1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5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1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15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1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25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1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35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1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45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1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60" grpId="0" animBg="1"/>
      <p:bldP spid="62" grpId="0" animBg="1"/>
      <p:bldP spid="64" grpId="0" animBg="1"/>
      <p:bldP spid="66" grpId="0" animBg="1"/>
      <p:bldP spid="68" grpId="0" animBg="1"/>
      <p:bldP spid="70" grpId="0" animBg="1"/>
      <p:bldP spid="72" grpId="0" animBg="1"/>
      <p:bldP spid="95" grpId="0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85" name="Group 2084"/>
          <p:cNvGrpSpPr/>
          <p:nvPr/>
        </p:nvGrpSpPr>
        <p:grpSpPr>
          <a:xfrm>
            <a:off x="-201224" y="693292"/>
            <a:ext cx="8877680" cy="4146710"/>
            <a:chOff x="17463" y="447676"/>
            <a:chExt cx="9136063" cy="4206876"/>
          </a:xfrm>
        </p:grpSpPr>
        <p:grpSp>
          <p:nvGrpSpPr>
            <p:cNvPr id="2084" name="Group 2083"/>
            <p:cNvGrpSpPr/>
            <p:nvPr/>
          </p:nvGrpSpPr>
          <p:grpSpPr>
            <a:xfrm>
              <a:off x="17463" y="447676"/>
              <a:ext cx="9136063" cy="4206876"/>
              <a:chOff x="17463" y="447676"/>
              <a:chExt cx="9136063" cy="4206876"/>
            </a:xfrm>
          </p:grpSpPr>
          <p:sp>
            <p:nvSpPr>
              <p:cNvPr id="1884" name="Freeform 5"/>
              <p:cNvSpPr>
                <a:spLocks/>
              </p:cNvSpPr>
              <p:nvPr/>
            </p:nvSpPr>
            <p:spPr bwMode="auto">
              <a:xfrm>
                <a:off x="5840413" y="1774826"/>
                <a:ext cx="338138" cy="280988"/>
              </a:xfrm>
              <a:custGeom>
                <a:avLst/>
                <a:gdLst>
                  <a:gd name="T0" fmla="*/ 158 w 213"/>
                  <a:gd name="T1" fmla="*/ 14 h 177"/>
                  <a:gd name="T2" fmla="*/ 163 w 213"/>
                  <a:gd name="T3" fmla="*/ 28 h 177"/>
                  <a:gd name="T4" fmla="*/ 172 w 213"/>
                  <a:gd name="T5" fmla="*/ 32 h 177"/>
                  <a:gd name="T6" fmla="*/ 190 w 213"/>
                  <a:gd name="T7" fmla="*/ 19 h 177"/>
                  <a:gd name="T8" fmla="*/ 195 w 213"/>
                  <a:gd name="T9" fmla="*/ 23 h 177"/>
                  <a:gd name="T10" fmla="*/ 204 w 213"/>
                  <a:gd name="T11" fmla="*/ 23 h 177"/>
                  <a:gd name="T12" fmla="*/ 213 w 213"/>
                  <a:gd name="T13" fmla="*/ 23 h 177"/>
                  <a:gd name="T14" fmla="*/ 213 w 213"/>
                  <a:gd name="T15" fmla="*/ 23 h 177"/>
                  <a:gd name="T16" fmla="*/ 208 w 213"/>
                  <a:gd name="T17" fmla="*/ 28 h 177"/>
                  <a:gd name="T18" fmla="*/ 195 w 213"/>
                  <a:gd name="T19" fmla="*/ 32 h 177"/>
                  <a:gd name="T20" fmla="*/ 177 w 213"/>
                  <a:gd name="T21" fmla="*/ 32 h 177"/>
                  <a:gd name="T22" fmla="*/ 167 w 213"/>
                  <a:gd name="T23" fmla="*/ 41 h 177"/>
                  <a:gd name="T24" fmla="*/ 163 w 213"/>
                  <a:gd name="T25" fmla="*/ 50 h 177"/>
                  <a:gd name="T26" fmla="*/ 172 w 213"/>
                  <a:gd name="T27" fmla="*/ 59 h 177"/>
                  <a:gd name="T28" fmla="*/ 172 w 213"/>
                  <a:gd name="T29" fmla="*/ 64 h 177"/>
                  <a:gd name="T30" fmla="*/ 167 w 213"/>
                  <a:gd name="T31" fmla="*/ 73 h 177"/>
                  <a:gd name="T32" fmla="*/ 167 w 213"/>
                  <a:gd name="T33" fmla="*/ 82 h 177"/>
                  <a:gd name="T34" fmla="*/ 158 w 213"/>
                  <a:gd name="T35" fmla="*/ 86 h 177"/>
                  <a:gd name="T36" fmla="*/ 158 w 213"/>
                  <a:gd name="T37" fmla="*/ 95 h 177"/>
                  <a:gd name="T38" fmla="*/ 149 w 213"/>
                  <a:gd name="T39" fmla="*/ 104 h 177"/>
                  <a:gd name="T40" fmla="*/ 149 w 213"/>
                  <a:gd name="T41" fmla="*/ 118 h 177"/>
                  <a:gd name="T42" fmla="*/ 145 w 213"/>
                  <a:gd name="T43" fmla="*/ 132 h 177"/>
                  <a:gd name="T44" fmla="*/ 136 w 213"/>
                  <a:gd name="T45" fmla="*/ 132 h 177"/>
                  <a:gd name="T46" fmla="*/ 127 w 213"/>
                  <a:gd name="T47" fmla="*/ 136 h 177"/>
                  <a:gd name="T48" fmla="*/ 122 w 213"/>
                  <a:gd name="T49" fmla="*/ 141 h 177"/>
                  <a:gd name="T50" fmla="*/ 113 w 213"/>
                  <a:gd name="T51" fmla="*/ 145 h 177"/>
                  <a:gd name="T52" fmla="*/ 109 w 213"/>
                  <a:gd name="T53" fmla="*/ 159 h 177"/>
                  <a:gd name="T54" fmla="*/ 109 w 213"/>
                  <a:gd name="T55" fmla="*/ 168 h 177"/>
                  <a:gd name="T56" fmla="*/ 91 w 213"/>
                  <a:gd name="T57" fmla="*/ 172 h 177"/>
                  <a:gd name="T58" fmla="*/ 77 w 213"/>
                  <a:gd name="T59" fmla="*/ 177 h 177"/>
                  <a:gd name="T60" fmla="*/ 27 w 213"/>
                  <a:gd name="T61" fmla="*/ 172 h 177"/>
                  <a:gd name="T62" fmla="*/ 32 w 213"/>
                  <a:gd name="T63" fmla="*/ 145 h 177"/>
                  <a:gd name="T64" fmla="*/ 14 w 213"/>
                  <a:gd name="T65" fmla="*/ 136 h 177"/>
                  <a:gd name="T66" fmla="*/ 9 w 213"/>
                  <a:gd name="T67" fmla="*/ 114 h 177"/>
                  <a:gd name="T68" fmla="*/ 9 w 213"/>
                  <a:gd name="T69" fmla="*/ 100 h 177"/>
                  <a:gd name="T70" fmla="*/ 0 w 213"/>
                  <a:gd name="T71" fmla="*/ 95 h 177"/>
                  <a:gd name="T72" fmla="*/ 5 w 213"/>
                  <a:gd name="T73" fmla="*/ 82 h 177"/>
                  <a:gd name="T74" fmla="*/ 5 w 213"/>
                  <a:gd name="T75" fmla="*/ 77 h 177"/>
                  <a:gd name="T76" fmla="*/ 5 w 213"/>
                  <a:gd name="T77" fmla="*/ 73 h 177"/>
                  <a:gd name="T78" fmla="*/ 5 w 213"/>
                  <a:gd name="T79" fmla="*/ 64 h 177"/>
                  <a:gd name="T80" fmla="*/ 9 w 213"/>
                  <a:gd name="T81" fmla="*/ 64 h 177"/>
                  <a:gd name="T82" fmla="*/ 18 w 213"/>
                  <a:gd name="T83" fmla="*/ 64 h 177"/>
                  <a:gd name="T84" fmla="*/ 27 w 213"/>
                  <a:gd name="T85" fmla="*/ 68 h 177"/>
                  <a:gd name="T86" fmla="*/ 36 w 213"/>
                  <a:gd name="T87" fmla="*/ 59 h 177"/>
                  <a:gd name="T88" fmla="*/ 36 w 213"/>
                  <a:gd name="T89" fmla="*/ 55 h 177"/>
                  <a:gd name="T90" fmla="*/ 50 w 213"/>
                  <a:gd name="T91" fmla="*/ 50 h 177"/>
                  <a:gd name="T92" fmla="*/ 55 w 213"/>
                  <a:gd name="T93" fmla="*/ 41 h 177"/>
                  <a:gd name="T94" fmla="*/ 64 w 213"/>
                  <a:gd name="T95" fmla="*/ 28 h 177"/>
                  <a:gd name="T96" fmla="*/ 73 w 213"/>
                  <a:gd name="T97" fmla="*/ 23 h 177"/>
                  <a:gd name="T98" fmla="*/ 95 w 213"/>
                  <a:gd name="T99" fmla="*/ 28 h 177"/>
                  <a:gd name="T100" fmla="*/ 104 w 213"/>
                  <a:gd name="T101" fmla="*/ 28 h 177"/>
                  <a:gd name="T102" fmla="*/ 113 w 213"/>
                  <a:gd name="T103" fmla="*/ 32 h 177"/>
                  <a:gd name="T104" fmla="*/ 118 w 213"/>
                  <a:gd name="T105" fmla="*/ 28 h 177"/>
                  <a:gd name="T106" fmla="*/ 122 w 213"/>
                  <a:gd name="T107" fmla="*/ 23 h 177"/>
                  <a:gd name="T108" fmla="*/ 127 w 213"/>
                  <a:gd name="T109" fmla="*/ 23 h 177"/>
                  <a:gd name="T110" fmla="*/ 136 w 213"/>
                  <a:gd name="T111" fmla="*/ 19 h 177"/>
                  <a:gd name="T112" fmla="*/ 136 w 213"/>
                  <a:gd name="T113" fmla="*/ 14 h 177"/>
                  <a:gd name="T114" fmla="*/ 145 w 213"/>
                  <a:gd name="T115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13" h="177">
                    <a:moveTo>
                      <a:pt x="154" y="14"/>
                    </a:moveTo>
                    <a:lnTo>
                      <a:pt x="154" y="14"/>
                    </a:lnTo>
                    <a:lnTo>
                      <a:pt x="154" y="14"/>
                    </a:lnTo>
                    <a:lnTo>
                      <a:pt x="154" y="14"/>
                    </a:lnTo>
                    <a:lnTo>
                      <a:pt x="158" y="14"/>
                    </a:lnTo>
                    <a:lnTo>
                      <a:pt x="158" y="14"/>
                    </a:lnTo>
                    <a:lnTo>
                      <a:pt x="158" y="14"/>
                    </a:lnTo>
                    <a:lnTo>
                      <a:pt x="158" y="14"/>
                    </a:lnTo>
                    <a:lnTo>
                      <a:pt x="158" y="14"/>
                    </a:lnTo>
                    <a:lnTo>
                      <a:pt x="158" y="19"/>
                    </a:lnTo>
                    <a:lnTo>
                      <a:pt x="158" y="23"/>
                    </a:lnTo>
                    <a:lnTo>
                      <a:pt x="158" y="23"/>
                    </a:lnTo>
                    <a:lnTo>
                      <a:pt x="158" y="28"/>
                    </a:lnTo>
                    <a:lnTo>
                      <a:pt x="163" y="28"/>
                    </a:lnTo>
                    <a:lnTo>
                      <a:pt x="163" y="32"/>
                    </a:lnTo>
                    <a:lnTo>
                      <a:pt x="167" y="37"/>
                    </a:lnTo>
                    <a:lnTo>
                      <a:pt x="167" y="37"/>
                    </a:lnTo>
                    <a:lnTo>
                      <a:pt x="167" y="37"/>
                    </a:lnTo>
                    <a:lnTo>
                      <a:pt x="167" y="37"/>
                    </a:lnTo>
                    <a:lnTo>
                      <a:pt x="172" y="32"/>
                    </a:lnTo>
                    <a:lnTo>
                      <a:pt x="172" y="32"/>
                    </a:lnTo>
                    <a:lnTo>
                      <a:pt x="177" y="28"/>
                    </a:lnTo>
                    <a:lnTo>
                      <a:pt x="181" y="28"/>
                    </a:lnTo>
                    <a:lnTo>
                      <a:pt x="181" y="28"/>
                    </a:lnTo>
                    <a:lnTo>
                      <a:pt x="181" y="23"/>
                    </a:lnTo>
                    <a:lnTo>
                      <a:pt x="186" y="23"/>
                    </a:lnTo>
                    <a:lnTo>
                      <a:pt x="190" y="19"/>
                    </a:lnTo>
                    <a:lnTo>
                      <a:pt x="190" y="19"/>
                    </a:lnTo>
                    <a:lnTo>
                      <a:pt x="195" y="19"/>
                    </a:lnTo>
                    <a:lnTo>
                      <a:pt x="195" y="19"/>
                    </a:lnTo>
                    <a:lnTo>
                      <a:pt x="195" y="19"/>
                    </a:lnTo>
                    <a:lnTo>
                      <a:pt x="195" y="19"/>
                    </a:lnTo>
                    <a:lnTo>
                      <a:pt x="195" y="23"/>
                    </a:lnTo>
                    <a:lnTo>
                      <a:pt x="195" y="23"/>
                    </a:lnTo>
                    <a:lnTo>
                      <a:pt x="195" y="23"/>
                    </a:lnTo>
                    <a:lnTo>
                      <a:pt x="195" y="23"/>
                    </a:lnTo>
                    <a:lnTo>
                      <a:pt x="195" y="23"/>
                    </a:lnTo>
                    <a:lnTo>
                      <a:pt x="195" y="23"/>
                    </a:lnTo>
                    <a:lnTo>
                      <a:pt x="199" y="23"/>
                    </a:lnTo>
                    <a:lnTo>
                      <a:pt x="199" y="23"/>
                    </a:lnTo>
                    <a:lnTo>
                      <a:pt x="204" y="23"/>
                    </a:lnTo>
                    <a:lnTo>
                      <a:pt x="204" y="23"/>
                    </a:lnTo>
                    <a:lnTo>
                      <a:pt x="204" y="19"/>
                    </a:lnTo>
                    <a:lnTo>
                      <a:pt x="204" y="19"/>
                    </a:lnTo>
                    <a:lnTo>
                      <a:pt x="208" y="19"/>
                    </a:lnTo>
                    <a:lnTo>
                      <a:pt x="208" y="23"/>
                    </a:lnTo>
                    <a:lnTo>
                      <a:pt x="208" y="19"/>
                    </a:lnTo>
                    <a:lnTo>
                      <a:pt x="213" y="23"/>
                    </a:lnTo>
                    <a:lnTo>
                      <a:pt x="213" y="23"/>
                    </a:lnTo>
                    <a:lnTo>
                      <a:pt x="213" y="23"/>
                    </a:lnTo>
                    <a:lnTo>
                      <a:pt x="213" y="23"/>
                    </a:lnTo>
                    <a:lnTo>
                      <a:pt x="213" y="23"/>
                    </a:lnTo>
                    <a:lnTo>
                      <a:pt x="213" y="23"/>
                    </a:lnTo>
                    <a:lnTo>
                      <a:pt x="213" y="23"/>
                    </a:lnTo>
                    <a:lnTo>
                      <a:pt x="213" y="23"/>
                    </a:lnTo>
                    <a:lnTo>
                      <a:pt x="213" y="23"/>
                    </a:lnTo>
                    <a:lnTo>
                      <a:pt x="208" y="23"/>
                    </a:lnTo>
                    <a:lnTo>
                      <a:pt x="208" y="23"/>
                    </a:lnTo>
                    <a:lnTo>
                      <a:pt x="208" y="28"/>
                    </a:lnTo>
                    <a:lnTo>
                      <a:pt x="208" y="28"/>
                    </a:lnTo>
                    <a:lnTo>
                      <a:pt x="208" y="28"/>
                    </a:lnTo>
                    <a:lnTo>
                      <a:pt x="208" y="28"/>
                    </a:lnTo>
                    <a:lnTo>
                      <a:pt x="208" y="28"/>
                    </a:lnTo>
                    <a:lnTo>
                      <a:pt x="204" y="32"/>
                    </a:lnTo>
                    <a:lnTo>
                      <a:pt x="204" y="32"/>
                    </a:lnTo>
                    <a:lnTo>
                      <a:pt x="204" y="32"/>
                    </a:lnTo>
                    <a:lnTo>
                      <a:pt x="199" y="32"/>
                    </a:lnTo>
                    <a:lnTo>
                      <a:pt x="199" y="32"/>
                    </a:lnTo>
                    <a:lnTo>
                      <a:pt x="199" y="32"/>
                    </a:lnTo>
                    <a:lnTo>
                      <a:pt x="195" y="32"/>
                    </a:lnTo>
                    <a:lnTo>
                      <a:pt x="190" y="32"/>
                    </a:lnTo>
                    <a:lnTo>
                      <a:pt x="186" y="32"/>
                    </a:lnTo>
                    <a:lnTo>
                      <a:pt x="181" y="32"/>
                    </a:lnTo>
                    <a:lnTo>
                      <a:pt x="181" y="32"/>
                    </a:lnTo>
                    <a:lnTo>
                      <a:pt x="181" y="32"/>
                    </a:lnTo>
                    <a:lnTo>
                      <a:pt x="177" y="32"/>
                    </a:lnTo>
                    <a:lnTo>
                      <a:pt x="177" y="32"/>
                    </a:lnTo>
                    <a:lnTo>
                      <a:pt x="177" y="37"/>
                    </a:lnTo>
                    <a:lnTo>
                      <a:pt x="177" y="37"/>
                    </a:lnTo>
                    <a:lnTo>
                      <a:pt x="172" y="37"/>
                    </a:lnTo>
                    <a:lnTo>
                      <a:pt x="172" y="37"/>
                    </a:lnTo>
                    <a:lnTo>
                      <a:pt x="172" y="41"/>
                    </a:lnTo>
                    <a:lnTo>
                      <a:pt x="167" y="41"/>
                    </a:lnTo>
                    <a:lnTo>
                      <a:pt x="167" y="41"/>
                    </a:lnTo>
                    <a:lnTo>
                      <a:pt x="167" y="41"/>
                    </a:lnTo>
                    <a:lnTo>
                      <a:pt x="167" y="41"/>
                    </a:lnTo>
                    <a:lnTo>
                      <a:pt x="167" y="41"/>
                    </a:lnTo>
                    <a:lnTo>
                      <a:pt x="163" y="46"/>
                    </a:lnTo>
                    <a:lnTo>
                      <a:pt x="163" y="46"/>
                    </a:lnTo>
                    <a:lnTo>
                      <a:pt x="163" y="50"/>
                    </a:lnTo>
                    <a:lnTo>
                      <a:pt x="163" y="50"/>
                    </a:lnTo>
                    <a:lnTo>
                      <a:pt x="167" y="50"/>
                    </a:lnTo>
                    <a:lnTo>
                      <a:pt x="167" y="50"/>
                    </a:lnTo>
                    <a:lnTo>
                      <a:pt x="167" y="50"/>
                    </a:lnTo>
                    <a:lnTo>
                      <a:pt x="167" y="55"/>
                    </a:lnTo>
                    <a:lnTo>
                      <a:pt x="172" y="55"/>
                    </a:lnTo>
                    <a:lnTo>
                      <a:pt x="172" y="59"/>
                    </a:lnTo>
                    <a:lnTo>
                      <a:pt x="172" y="59"/>
                    </a:lnTo>
                    <a:lnTo>
                      <a:pt x="172" y="59"/>
                    </a:lnTo>
                    <a:lnTo>
                      <a:pt x="172" y="59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67" y="73"/>
                    </a:lnTo>
                    <a:lnTo>
                      <a:pt x="167" y="73"/>
                    </a:lnTo>
                    <a:lnTo>
                      <a:pt x="167" y="77"/>
                    </a:lnTo>
                    <a:lnTo>
                      <a:pt x="167" y="77"/>
                    </a:lnTo>
                    <a:lnTo>
                      <a:pt x="167" y="77"/>
                    </a:lnTo>
                    <a:lnTo>
                      <a:pt x="167" y="77"/>
                    </a:lnTo>
                    <a:lnTo>
                      <a:pt x="167" y="77"/>
                    </a:lnTo>
                    <a:lnTo>
                      <a:pt x="167" y="82"/>
                    </a:lnTo>
                    <a:lnTo>
                      <a:pt x="172" y="82"/>
                    </a:lnTo>
                    <a:lnTo>
                      <a:pt x="172" y="82"/>
                    </a:lnTo>
                    <a:lnTo>
                      <a:pt x="172" y="86"/>
                    </a:lnTo>
                    <a:lnTo>
                      <a:pt x="172" y="86"/>
                    </a:lnTo>
                    <a:lnTo>
                      <a:pt x="167" y="86"/>
                    </a:lnTo>
                    <a:lnTo>
                      <a:pt x="163" y="86"/>
                    </a:lnTo>
                    <a:lnTo>
                      <a:pt x="158" y="86"/>
                    </a:lnTo>
                    <a:lnTo>
                      <a:pt x="158" y="86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4" y="86"/>
                    </a:lnTo>
                    <a:lnTo>
                      <a:pt x="154" y="91"/>
                    </a:lnTo>
                    <a:lnTo>
                      <a:pt x="154" y="91"/>
                    </a:lnTo>
                    <a:lnTo>
                      <a:pt x="158" y="95"/>
                    </a:lnTo>
                    <a:lnTo>
                      <a:pt x="158" y="100"/>
                    </a:lnTo>
                    <a:lnTo>
                      <a:pt x="163" y="100"/>
                    </a:lnTo>
                    <a:lnTo>
                      <a:pt x="163" y="100"/>
                    </a:lnTo>
                    <a:lnTo>
                      <a:pt x="158" y="104"/>
                    </a:lnTo>
                    <a:lnTo>
                      <a:pt x="158" y="104"/>
                    </a:lnTo>
                    <a:lnTo>
                      <a:pt x="154" y="104"/>
                    </a:lnTo>
                    <a:lnTo>
                      <a:pt x="149" y="104"/>
                    </a:lnTo>
                    <a:lnTo>
                      <a:pt x="149" y="104"/>
                    </a:lnTo>
                    <a:lnTo>
                      <a:pt x="149" y="109"/>
                    </a:lnTo>
                    <a:lnTo>
                      <a:pt x="149" y="114"/>
                    </a:lnTo>
                    <a:lnTo>
                      <a:pt x="149" y="114"/>
                    </a:lnTo>
                    <a:lnTo>
                      <a:pt x="149" y="114"/>
                    </a:lnTo>
                    <a:lnTo>
                      <a:pt x="149" y="118"/>
                    </a:lnTo>
                    <a:lnTo>
                      <a:pt x="149" y="118"/>
                    </a:lnTo>
                    <a:lnTo>
                      <a:pt x="149" y="123"/>
                    </a:lnTo>
                    <a:lnTo>
                      <a:pt x="149" y="127"/>
                    </a:lnTo>
                    <a:lnTo>
                      <a:pt x="149" y="127"/>
                    </a:lnTo>
                    <a:lnTo>
                      <a:pt x="149" y="132"/>
                    </a:lnTo>
                    <a:lnTo>
                      <a:pt x="149" y="132"/>
                    </a:lnTo>
                    <a:lnTo>
                      <a:pt x="145" y="132"/>
                    </a:lnTo>
                    <a:lnTo>
                      <a:pt x="145" y="132"/>
                    </a:lnTo>
                    <a:lnTo>
                      <a:pt x="145" y="132"/>
                    </a:lnTo>
                    <a:lnTo>
                      <a:pt x="140" y="132"/>
                    </a:lnTo>
                    <a:lnTo>
                      <a:pt x="140" y="132"/>
                    </a:lnTo>
                    <a:lnTo>
                      <a:pt x="140" y="132"/>
                    </a:lnTo>
                    <a:lnTo>
                      <a:pt x="140" y="132"/>
                    </a:lnTo>
                    <a:lnTo>
                      <a:pt x="136" y="132"/>
                    </a:lnTo>
                    <a:lnTo>
                      <a:pt x="136" y="132"/>
                    </a:lnTo>
                    <a:lnTo>
                      <a:pt x="136" y="132"/>
                    </a:lnTo>
                    <a:lnTo>
                      <a:pt x="131" y="132"/>
                    </a:lnTo>
                    <a:lnTo>
                      <a:pt x="131" y="132"/>
                    </a:lnTo>
                    <a:lnTo>
                      <a:pt x="127" y="136"/>
                    </a:lnTo>
                    <a:lnTo>
                      <a:pt x="127" y="136"/>
                    </a:lnTo>
                    <a:lnTo>
                      <a:pt x="127" y="136"/>
                    </a:lnTo>
                    <a:lnTo>
                      <a:pt x="127" y="136"/>
                    </a:lnTo>
                    <a:lnTo>
                      <a:pt x="127" y="136"/>
                    </a:lnTo>
                    <a:lnTo>
                      <a:pt x="127" y="141"/>
                    </a:lnTo>
                    <a:lnTo>
                      <a:pt x="127" y="141"/>
                    </a:lnTo>
                    <a:lnTo>
                      <a:pt x="127" y="141"/>
                    </a:lnTo>
                    <a:lnTo>
                      <a:pt x="127" y="141"/>
                    </a:lnTo>
                    <a:lnTo>
                      <a:pt x="127" y="141"/>
                    </a:lnTo>
                    <a:lnTo>
                      <a:pt x="122" y="141"/>
                    </a:lnTo>
                    <a:lnTo>
                      <a:pt x="118" y="141"/>
                    </a:lnTo>
                    <a:lnTo>
                      <a:pt x="118" y="141"/>
                    </a:lnTo>
                    <a:lnTo>
                      <a:pt x="118" y="141"/>
                    </a:lnTo>
                    <a:lnTo>
                      <a:pt x="113" y="141"/>
                    </a:lnTo>
                    <a:lnTo>
                      <a:pt x="113" y="141"/>
                    </a:lnTo>
                    <a:lnTo>
                      <a:pt x="113" y="145"/>
                    </a:lnTo>
                    <a:lnTo>
                      <a:pt x="113" y="145"/>
                    </a:lnTo>
                    <a:lnTo>
                      <a:pt x="113" y="145"/>
                    </a:lnTo>
                    <a:lnTo>
                      <a:pt x="109" y="145"/>
                    </a:lnTo>
                    <a:lnTo>
                      <a:pt x="109" y="150"/>
                    </a:lnTo>
                    <a:lnTo>
                      <a:pt x="109" y="150"/>
                    </a:lnTo>
                    <a:lnTo>
                      <a:pt x="109" y="154"/>
                    </a:lnTo>
                    <a:lnTo>
                      <a:pt x="109" y="154"/>
                    </a:lnTo>
                    <a:lnTo>
                      <a:pt x="109" y="159"/>
                    </a:lnTo>
                    <a:lnTo>
                      <a:pt x="109" y="163"/>
                    </a:lnTo>
                    <a:lnTo>
                      <a:pt x="109" y="163"/>
                    </a:lnTo>
                    <a:lnTo>
                      <a:pt x="109" y="163"/>
                    </a:lnTo>
                    <a:lnTo>
                      <a:pt x="113" y="168"/>
                    </a:lnTo>
                    <a:lnTo>
                      <a:pt x="113" y="168"/>
                    </a:lnTo>
                    <a:lnTo>
                      <a:pt x="109" y="168"/>
                    </a:lnTo>
                    <a:lnTo>
                      <a:pt x="109" y="168"/>
                    </a:lnTo>
                    <a:lnTo>
                      <a:pt x="104" y="168"/>
                    </a:lnTo>
                    <a:lnTo>
                      <a:pt x="100" y="172"/>
                    </a:lnTo>
                    <a:lnTo>
                      <a:pt x="100" y="172"/>
                    </a:lnTo>
                    <a:lnTo>
                      <a:pt x="95" y="172"/>
                    </a:lnTo>
                    <a:lnTo>
                      <a:pt x="91" y="172"/>
                    </a:lnTo>
                    <a:lnTo>
                      <a:pt x="91" y="177"/>
                    </a:lnTo>
                    <a:lnTo>
                      <a:pt x="91" y="172"/>
                    </a:lnTo>
                    <a:lnTo>
                      <a:pt x="86" y="172"/>
                    </a:lnTo>
                    <a:lnTo>
                      <a:pt x="82" y="177"/>
                    </a:lnTo>
                    <a:lnTo>
                      <a:pt x="82" y="177"/>
                    </a:lnTo>
                    <a:lnTo>
                      <a:pt x="82" y="177"/>
                    </a:lnTo>
                    <a:lnTo>
                      <a:pt x="77" y="177"/>
                    </a:lnTo>
                    <a:lnTo>
                      <a:pt x="77" y="177"/>
                    </a:lnTo>
                    <a:lnTo>
                      <a:pt x="77" y="177"/>
                    </a:lnTo>
                    <a:lnTo>
                      <a:pt x="73" y="177"/>
                    </a:lnTo>
                    <a:lnTo>
                      <a:pt x="68" y="177"/>
                    </a:lnTo>
                    <a:lnTo>
                      <a:pt x="50" y="177"/>
                    </a:lnTo>
                    <a:lnTo>
                      <a:pt x="50" y="177"/>
                    </a:lnTo>
                    <a:lnTo>
                      <a:pt x="41" y="177"/>
                    </a:lnTo>
                    <a:lnTo>
                      <a:pt x="32" y="172"/>
                    </a:lnTo>
                    <a:lnTo>
                      <a:pt x="27" y="172"/>
                    </a:lnTo>
                    <a:lnTo>
                      <a:pt x="23" y="172"/>
                    </a:lnTo>
                    <a:lnTo>
                      <a:pt x="27" y="163"/>
                    </a:lnTo>
                    <a:lnTo>
                      <a:pt x="27" y="159"/>
                    </a:lnTo>
                    <a:lnTo>
                      <a:pt x="32" y="154"/>
                    </a:lnTo>
                    <a:lnTo>
                      <a:pt x="32" y="150"/>
                    </a:lnTo>
                    <a:lnTo>
                      <a:pt x="32" y="150"/>
                    </a:lnTo>
                    <a:lnTo>
                      <a:pt x="32" y="145"/>
                    </a:lnTo>
                    <a:lnTo>
                      <a:pt x="32" y="141"/>
                    </a:lnTo>
                    <a:lnTo>
                      <a:pt x="32" y="141"/>
                    </a:lnTo>
                    <a:lnTo>
                      <a:pt x="23" y="141"/>
                    </a:lnTo>
                    <a:lnTo>
                      <a:pt x="18" y="141"/>
                    </a:lnTo>
                    <a:lnTo>
                      <a:pt x="18" y="141"/>
                    </a:lnTo>
                    <a:lnTo>
                      <a:pt x="14" y="141"/>
                    </a:lnTo>
                    <a:lnTo>
                      <a:pt x="14" y="136"/>
                    </a:lnTo>
                    <a:lnTo>
                      <a:pt x="14" y="136"/>
                    </a:lnTo>
                    <a:lnTo>
                      <a:pt x="14" y="132"/>
                    </a:lnTo>
                    <a:lnTo>
                      <a:pt x="14" y="132"/>
                    </a:lnTo>
                    <a:lnTo>
                      <a:pt x="14" y="127"/>
                    </a:lnTo>
                    <a:lnTo>
                      <a:pt x="14" y="127"/>
                    </a:lnTo>
                    <a:lnTo>
                      <a:pt x="9" y="118"/>
                    </a:lnTo>
                    <a:lnTo>
                      <a:pt x="9" y="114"/>
                    </a:lnTo>
                    <a:lnTo>
                      <a:pt x="5" y="109"/>
                    </a:lnTo>
                    <a:lnTo>
                      <a:pt x="5" y="109"/>
                    </a:lnTo>
                    <a:lnTo>
                      <a:pt x="5" y="109"/>
                    </a:lnTo>
                    <a:lnTo>
                      <a:pt x="5" y="104"/>
                    </a:lnTo>
                    <a:lnTo>
                      <a:pt x="9" y="104"/>
                    </a:lnTo>
                    <a:lnTo>
                      <a:pt x="9" y="100"/>
                    </a:lnTo>
                    <a:lnTo>
                      <a:pt x="9" y="100"/>
                    </a:lnTo>
                    <a:lnTo>
                      <a:pt x="9" y="100"/>
                    </a:lnTo>
                    <a:lnTo>
                      <a:pt x="9" y="100"/>
                    </a:lnTo>
                    <a:lnTo>
                      <a:pt x="5" y="100"/>
                    </a:lnTo>
                    <a:lnTo>
                      <a:pt x="5" y="100"/>
                    </a:lnTo>
                    <a:lnTo>
                      <a:pt x="0" y="100"/>
                    </a:lnTo>
                    <a:lnTo>
                      <a:pt x="0" y="95"/>
                    </a:lnTo>
                    <a:lnTo>
                      <a:pt x="0" y="95"/>
                    </a:lnTo>
                    <a:lnTo>
                      <a:pt x="0" y="91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5" y="86"/>
                    </a:lnTo>
                    <a:lnTo>
                      <a:pt x="5" y="82"/>
                    </a:lnTo>
                    <a:lnTo>
                      <a:pt x="5" y="82"/>
                    </a:lnTo>
                    <a:lnTo>
                      <a:pt x="5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5" y="82"/>
                    </a:lnTo>
                    <a:lnTo>
                      <a:pt x="5" y="82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3"/>
                    </a:lnTo>
                    <a:lnTo>
                      <a:pt x="5" y="73"/>
                    </a:lnTo>
                    <a:lnTo>
                      <a:pt x="5" y="73"/>
                    </a:lnTo>
                    <a:lnTo>
                      <a:pt x="5" y="73"/>
                    </a:lnTo>
                    <a:lnTo>
                      <a:pt x="5" y="68"/>
                    </a:lnTo>
                    <a:lnTo>
                      <a:pt x="5" y="68"/>
                    </a:lnTo>
                    <a:lnTo>
                      <a:pt x="5" y="68"/>
                    </a:lnTo>
                    <a:lnTo>
                      <a:pt x="5" y="68"/>
                    </a:lnTo>
                    <a:lnTo>
                      <a:pt x="5" y="68"/>
                    </a:lnTo>
                    <a:lnTo>
                      <a:pt x="5" y="64"/>
                    </a:lnTo>
                    <a:lnTo>
                      <a:pt x="5" y="64"/>
                    </a:lnTo>
                    <a:lnTo>
                      <a:pt x="5" y="64"/>
                    </a:lnTo>
                    <a:lnTo>
                      <a:pt x="9" y="64"/>
                    </a:lnTo>
                    <a:lnTo>
                      <a:pt x="5" y="64"/>
                    </a:lnTo>
                    <a:lnTo>
                      <a:pt x="5" y="59"/>
                    </a:lnTo>
                    <a:lnTo>
                      <a:pt x="9" y="59"/>
                    </a:lnTo>
                    <a:lnTo>
                      <a:pt x="9" y="59"/>
                    </a:lnTo>
                    <a:lnTo>
                      <a:pt x="9" y="64"/>
                    </a:lnTo>
                    <a:lnTo>
                      <a:pt x="9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3" y="68"/>
                    </a:lnTo>
                    <a:lnTo>
                      <a:pt x="23" y="68"/>
                    </a:lnTo>
                    <a:lnTo>
                      <a:pt x="23" y="68"/>
                    </a:lnTo>
                    <a:lnTo>
                      <a:pt x="23" y="68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5"/>
                    </a:lnTo>
                    <a:lnTo>
                      <a:pt x="36" y="55"/>
                    </a:lnTo>
                    <a:lnTo>
                      <a:pt x="36" y="55"/>
                    </a:lnTo>
                    <a:lnTo>
                      <a:pt x="36" y="55"/>
                    </a:lnTo>
                    <a:lnTo>
                      <a:pt x="41" y="55"/>
                    </a:lnTo>
                    <a:lnTo>
                      <a:pt x="46" y="55"/>
                    </a:lnTo>
                    <a:lnTo>
                      <a:pt x="46" y="50"/>
                    </a:lnTo>
                    <a:lnTo>
                      <a:pt x="46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5" y="46"/>
                    </a:lnTo>
                    <a:lnTo>
                      <a:pt x="55" y="46"/>
                    </a:lnTo>
                    <a:lnTo>
                      <a:pt x="55" y="46"/>
                    </a:lnTo>
                    <a:lnTo>
                      <a:pt x="55" y="41"/>
                    </a:lnTo>
                    <a:lnTo>
                      <a:pt x="55" y="37"/>
                    </a:lnTo>
                    <a:lnTo>
                      <a:pt x="55" y="32"/>
                    </a:lnTo>
                    <a:lnTo>
                      <a:pt x="55" y="32"/>
                    </a:lnTo>
                    <a:lnTo>
                      <a:pt x="55" y="32"/>
                    </a:lnTo>
                    <a:lnTo>
                      <a:pt x="59" y="28"/>
                    </a:lnTo>
                    <a:lnTo>
                      <a:pt x="59" y="28"/>
                    </a:lnTo>
                    <a:lnTo>
                      <a:pt x="64" y="28"/>
                    </a:lnTo>
                    <a:lnTo>
                      <a:pt x="68" y="28"/>
                    </a:lnTo>
                    <a:lnTo>
                      <a:pt x="68" y="28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73" y="23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82" y="28"/>
                    </a:lnTo>
                    <a:lnTo>
                      <a:pt x="82" y="28"/>
                    </a:lnTo>
                    <a:lnTo>
                      <a:pt x="86" y="23"/>
                    </a:lnTo>
                    <a:lnTo>
                      <a:pt x="91" y="28"/>
                    </a:lnTo>
                    <a:lnTo>
                      <a:pt x="95" y="28"/>
                    </a:lnTo>
                    <a:lnTo>
                      <a:pt x="95" y="28"/>
                    </a:lnTo>
                    <a:lnTo>
                      <a:pt x="95" y="28"/>
                    </a:lnTo>
                    <a:lnTo>
                      <a:pt x="100" y="28"/>
                    </a:lnTo>
                    <a:lnTo>
                      <a:pt x="100" y="28"/>
                    </a:lnTo>
                    <a:lnTo>
                      <a:pt x="100" y="28"/>
                    </a:lnTo>
                    <a:lnTo>
                      <a:pt x="100" y="28"/>
                    </a:lnTo>
                    <a:lnTo>
                      <a:pt x="104" y="28"/>
                    </a:lnTo>
                    <a:lnTo>
                      <a:pt x="104" y="28"/>
                    </a:lnTo>
                    <a:lnTo>
                      <a:pt x="104" y="28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13" y="32"/>
                    </a:lnTo>
                    <a:lnTo>
                      <a:pt x="113" y="32"/>
                    </a:lnTo>
                    <a:lnTo>
                      <a:pt x="113" y="28"/>
                    </a:lnTo>
                    <a:lnTo>
                      <a:pt x="113" y="28"/>
                    </a:lnTo>
                    <a:lnTo>
                      <a:pt x="113" y="28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8" y="23"/>
                    </a:lnTo>
                    <a:lnTo>
                      <a:pt x="118" y="23"/>
                    </a:lnTo>
                    <a:lnTo>
                      <a:pt x="118" y="23"/>
                    </a:lnTo>
                    <a:lnTo>
                      <a:pt x="118" y="23"/>
                    </a:lnTo>
                    <a:lnTo>
                      <a:pt x="122" y="23"/>
                    </a:lnTo>
                    <a:lnTo>
                      <a:pt x="122" y="28"/>
                    </a:lnTo>
                    <a:lnTo>
                      <a:pt x="127" y="28"/>
                    </a:lnTo>
                    <a:lnTo>
                      <a:pt x="127" y="28"/>
                    </a:lnTo>
                    <a:lnTo>
                      <a:pt x="127" y="28"/>
                    </a:lnTo>
                    <a:lnTo>
                      <a:pt x="127" y="28"/>
                    </a:lnTo>
                    <a:lnTo>
                      <a:pt x="127" y="28"/>
                    </a:lnTo>
                    <a:lnTo>
                      <a:pt x="127" y="23"/>
                    </a:lnTo>
                    <a:lnTo>
                      <a:pt x="127" y="23"/>
                    </a:lnTo>
                    <a:lnTo>
                      <a:pt x="127" y="23"/>
                    </a:lnTo>
                    <a:lnTo>
                      <a:pt x="127" y="19"/>
                    </a:lnTo>
                    <a:lnTo>
                      <a:pt x="131" y="19"/>
                    </a:lnTo>
                    <a:lnTo>
                      <a:pt x="131" y="19"/>
                    </a:lnTo>
                    <a:lnTo>
                      <a:pt x="136" y="19"/>
                    </a:lnTo>
                    <a:lnTo>
                      <a:pt x="136" y="19"/>
                    </a:lnTo>
                    <a:lnTo>
                      <a:pt x="136" y="19"/>
                    </a:lnTo>
                    <a:lnTo>
                      <a:pt x="136" y="19"/>
                    </a:lnTo>
                    <a:lnTo>
                      <a:pt x="140" y="19"/>
                    </a:lnTo>
                    <a:lnTo>
                      <a:pt x="140" y="19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4"/>
                    </a:lnTo>
                    <a:lnTo>
                      <a:pt x="136" y="14"/>
                    </a:lnTo>
                    <a:lnTo>
                      <a:pt x="140" y="10"/>
                    </a:lnTo>
                    <a:lnTo>
                      <a:pt x="140" y="10"/>
                    </a:lnTo>
                    <a:lnTo>
                      <a:pt x="140" y="10"/>
                    </a:lnTo>
                    <a:lnTo>
                      <a:pt x="140" y="5"/>
                    </a:lnTo>
                    <a:lnTo>
                      <a:pt x="140" y="5"/>
                    </a:lnTo>
                    <a:lnTo>
                      <a:pt x="145" y="0"/>
                    </a:lnTo>
                    <a:lnTo>
                      <a:pt x="149" y="5"/>
                    </a:lnTo>
                    <a:lnTo>
                      <a:pt x="149" y="5"/>
                    </a:lnTo>
                    <a:lnTo>
                      <a:pt x="154" y="10"/>
                    </a:lnTo>
                    <a:lnTo>
                      <a:pt x="154" y="10"/>
                    </a:lnTo>
                    <a:lnTo>
                      <a:pt x="154" y="1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85" name="Freeform 6"/>
              <p:cNvSpPr>
                <a:spLocks noEditPoints="1"/>
              </p:cNvSpPr>
              <p:nvPr/>
            </p:nvSpPr>
            <p:spPr bwMode="auto">
              <a:xfrm>
                <a:off x="4592638" y="3081339"/>
                <a:ext cx="338138" cy="403225"/>
              </a:xfrm>
              <a:custGeom>
                <a:avLst/>
                <a:gdLst>
                  <a:gd name="T0" fmla="*/ 59 w 213"/>
                  <a:gd name="T1" fmla="*/ 27 h 254"/>
                  <a:gd name="T2" fmla="*/ 86 w 213"/>
                  <a:gd name="T3" fmla="*/ 27 h 254"/>
                  <a:gd name="T4" fmla="*/ 86 w 213"/>
                  <a:gd name="T5" fmla="*/ 37 h 254"/>
                  <a:gd name="T6" fmla="*/ 91 w 213"/>
                  <a:gd name="T7" fmla="*/ 50 h 254"/>
                  <a:gd name="T8" fmla="*/ 100 w 213"/>
                  <a:gd name="T9" fmla="*/ 64 h 254"/>
                  <a:gd name="T10" fmla="*/ 109 w 213"/>
                  <a:gd name="T11" fmla="*/ 68 h 254"/>
                  <a:gd name="T12" fmla="*/ 122 w 213"/>
                  <a:gd name="T13" fmla="*/ 68 h 254"/>
                  <a:gd name="T14" fmla="*/ 136 w 213"/>
                  <a:gd name="T15" fmla="*/ 59 h 254"/>
                  <a:gd name="T16" fmla="*/ 140 w 213"/>
                  <a:gd name="T17" fmla="*/ 50 h 254"/>
                  <a:gd name="T18" fmla="*/ 154 w 213"/>
                  <a:gd name="T19" fmla="*/ 46 h 254"/>
                  <a:gd name="T20" fmla="*/ 167 w 213"/>
                  <a:gd name="T21" fmla="*/ 55 h 254"/>
                  <a:gd name="T22" fmla="*/ 176 w 213"/>
                  <a:gd name="T23" fmla="*/ 59 h 254"/>
                  <a:gd name="T24" fmla="*/ 176 w 213"/>
                  <a:gd name="T25" fmla="*/ 91 h 254"/>
                  <a:gd name="T26" fmla="*/ 186 w 213"/>
                  <a:gd name="T27" fmla="*/ 109 h 254"/>
                  <a:gd name="T28" fmla="*/ 181 w 213"/>
                  <a:gd name="T29" fmla="*/ 122 h 254"/>
                  <a:gd name="T30" fmla="*/ 186 w 213"/>
                  <a:gd name="T31" fmla="*/ 127 h 254"/>
                  <a:gd name="T32" fmla="*/ 199 w 213"/>
                  <a:gd name="T33" fmla="*/ 127 h 254"/>
                  <a:gd name="T34" fmla="*/ 213 w 213"/>
                  <a:gd name="T35" fmla="*/ 122 h 254"/>
                  <a:gd name="T36" fmla="*/ 213 w 213"/>
                  <a:gd name="T37" fmla="*/ 127 h 254"/>
                  <a:gd name="T38" fmla="*/ 213 w 213"/>
                  <a:gd name="T39" fmla="*/ 136 h 254"/>
                  <a:gd name="T40" fmla="*/ 213 w 213"/>
                  <a:gd name="T41" fmla="*/ 150 h 254"/>
                  <a:gd name="T42" fmla="*/ 213 w 213"/>
                  <a:gd name="T43" fmla="*/ 159 h 254"/>
                  <a:gd name="T44" fmla="*/ 195 w 213"/>
                  <a:gd name="T45" fmla="*/ 163 h 254"/>
                  <a:gd name="T46" fmla="*/ 176 w 213"/>
                  <a:gd name="T47" fmla="*/ 172 h 254"/>
                  <a:gd name="T48" fmla="*/ 176 w 213"/>
                  <a:gd name="T49" fmla="*/ 208 h 254"/>
                  <a:gd name="T50" fmla="*/ 181 w 213"/>
                  <a:gd name="T51" fmla="*/ 231 h 254"/>
                  <a:gd name="T52" fmla="*/ 199 w 213"/>
                  <a:gd name="T53" fmla="*/ 249 h 254"/>
                  <a:gd name="T54" fmla="*/ 167 w 213"/>
                  <a:gd name="T55" fmla="*/ 254 h 254"/>
                  <a:gd name="T56" fmla="*/ 154 w 213"/>
                  <a:gd name="T57" fmla="*/ 254 h 254"/>
                  <a:gd name="T58" fmla="*/ 131 w 213"/>
                  <a:gd name="T59" fmla="*/ 254 h 254"/>
                  <a:gd name="T60" fmla="*/ 118 w 213"/>
                  <a:gd name="T61" fmla="*/ 249 h 254"/>
                  <a:gd name="T62" fmla="*/ 104 w 213"/>
                  <a:gd name="T63" fmla="*/ 245 h 254"/>
                  <a:gd name="T64" fmla="*/ 68 w 213"/>
                  <a:gd name="T65" fmla="*/ 245 h 254"/>
                  <a:gd name="T66" fmla="*/ 41 w 213"/>
                  <a:gd name="T67" fmla="*/ 245 h 254"/>
                  <a:gd name="T68" fmla="*/ 32 w 213"/>
                  <a:gd name="T69" fmla="*/ 240 h 254"/>
                  <a:gd name="T70" fmla="*/ 23 w 213"/>
                  <a:gd name="T71" fmla="*/ 235 h 254"/>
                  <a:gd name="T72" fmla="*/ 9 w 213"/>
                  <a:gd name="T73" fmla="*/ 240 h 254"/>
                  <a:gd name="T74" fmla="*/ 0 w 213"/>
                  <a:gd name="T75" fmla="*/ 235 h 254"/>
                  <a:gd name="T76" fmla="*/ 0 w 213"/>
                  <a:gd name="T77" fmla="*/ 213 h 254"/>
                  <a:gd name="T78" fmla="*/ 14 w 213"/>
                  <a:gd name="T79" fmla="*/ 181 h 254"/>
                  <a:gd name="T80" fmla="*/ 32 w 213"/>
                  <a:gd name="T81" fmla="*/ 154 h 254"/>
                  <a:gd name="T82" fmla="*/ 36 w 213"/>
                  <a:gd name="T83" fmla="*/ 122 h 254"/>
                  <a:gd name="T84" fmla="*/ 27 w 213"/>
                  <a:gd name="T85" fmla="*/ 104 h 254"/>
                  <a:gd name="T86" fmla="*/ 23 w 213"/>
                  <a:gd name="T87" fmla="*/ 86 h 254"/>
                  <a:gd name="T88" fmla="*/ 23 w 213"/>
                  <a:gd name="T89" fmla="*/ 86 h 254"/>
                  <a:gd name="T90" fmla="*/ 23 w 213"/>
                  <a:gd name="T91" fmla="*/ 64 h 254"/>
                  <a:gd name="T92" fmla="*/ 9 w 213"/>
                  <a:gd name="T93" fmla="*/ 32 h 254"/>
                  <a:gd name="T94" fmla="*/ 23 w 213"/>
                  <a:gd name="T95" fmla="*/ 27 h 254"/>
                  <a:gd name="T96" fmla="*/ 36 w 213"/>
                  <a:gd name="T97" fmla="*/ 27 h 254"/>
                  <a:gd name="T98" fmla="*/ 9 w 213"/>
                  <a:gd name="T99" fmla="*/ 23 h 254"/>
                  <a:gd name="T100" fmla="*/ 9 w 213"/>
                  <a:gd name="T101" fmla="*/ 14 h 254"/>
                  <a:gd name="T102" fmla="*/ 9 w 213"/>
                  <a:gd name="T103" fmla="*/ 5 h 254"/>
                  <a:gd name="T104" fmla="*/ 18 w 213"/>
                  <a:gd name="T105" fmla="*/ 0 h 254"/>
                  <a:gd name="T106" fmla="*/ 23 w 213"/>
                  <a:gd name="T107" fmla="*/ 5 h 254"/>
                  <a:gd name="T108" fmla="*/ 14 w 213"/>
                  <a:gd name="T109" fmla="*/ 9 h 254"/>
                  <a:gd name="T110" fmla="*/ 14 w 213"/>
                  <a:gd name="T111" fmla="*/ 1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13" h="254">
                    <a:moveTo>
                      <a:pt x="45" y="27"/>
                    </a:moveTo>
                    <a:lnTo>
                      <a:pt x="45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54" y="27"/>
                    </a:lnTo>
                    <a:lnTo>
                      <a:pt x="59" y="27"/>
                    </a:lnTo>
                    <a:lnTo>
                      <a:pt x="64" y="27"/>
                    </a:lnTo>
                    <a:lnTo>
                      <a:pt x="73" y="27"/>
                    </a:lnTo>
                    <a:lnTo>
                      <a:pt x="77" y="27"/>
                    </a:lnTo>
                    <a:lnTo>
                      <a:pt x="82" y="27"/>
                    </a:lnTo>
                    <a:lnTo>
                      <a:pt x="82" y="27"/>
                    </a:lnTo>
                    <a:lnTo>
                      <a:pt x="86" y="27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7"/>
                    </a:lnTo>
                    <a:lnTo>
                      <a:pt x="86" y="37"/>
                    </a:lnTo>
                    <a:lnTo>
                      <a:pt x="86" y="41"/>
                    </a:lnTo>
                    <a:lnTo>
                      <a:pt x="91" y="46"/>
                    </a:lnTo>
                    <a:lnTo>
                      <a:pt x="91" y="46"/>
                    </a:lnTo>
                    <a:lnTo>
                      <a:pt x="91" y="50"/>
                    </a:lnTo>
                    <a:lnTo>
                      <a:pt x="91" y="50"/>
                    </a:lnTo>
                    <a:lnTo>
                      <a:pt x="91" y="55"/>
                    </a:lnTo>
                    <a:lnTo>
                      <a:pt x="95" y="55"/>
                    </a:lnTo>
                    <a:lnTo>
                      <a:pt x="95" y="55"/>
                    </a:lnTo>
                    <a:lnTo>
                      <a:pt x="95" y="59"/>
                    </a:lnTo>
                    <a:lnTo>
                      <a:pt x="95" y="59"/>
                    </a:lnTo>
                    <a:lnTo>
                      <a:pt x="100" y="64"/>
                    </a:lnTo>
                    <a:lnTo>
                      <a:pt x="100" y="68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9" y="68"/>
                    </a:lnTo>
                    <a:lnTo>
                      <a:pt x="109" y="68"/>
                    </a:lnTo>
                    <a:lnTo>
                      <a:pt x="109" y="68"/>
                    </a:lnTo>
                    <a:lnTo>
                      <a:pt x="113" y="68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22" y="68"/>
                    </a:lnTo>
                    <a:lnTo>
                      <a:pt x="127" y="68"/>
                    </a:lnTo>
                    <a:lnTo>
                      <a:pt x="127" y="68"/>
                    </a:lnTo>
                    <a:lnTo>
                      <a:pt x="131" y="68"/>
                    </a:lnTo>
                    <a:lnTo>
                      <a:pt x="131" y="68"/>
                    </a:lnTo>
                    <a:lnTo>
                      <a:pt x="136" y="64"/>
                    </a:lnTo>
                    <a:lnTo>
                      <a:pt x="136" y="59"/>
                    </a:lnTo>
                    <a:lnTo>
                      <a:pt x="136" y="59"/>
                    </a:lnTo>
                    <a:lnTo>
                      <a:pt x="136" y="59"/>
                    </a:lnTo>
                    <a:lnTo>
                      <a:pt x="136" y="55"/>
                    </a:lnTo>
                    <a:lnTo>
                      <a:pt x="136" y="55"/>
                    </a:lnTo>
                    <a:lnTo>
                      <a:pt x="136" y="50"/>
                    </a:lnTo>
                    <a:lnTo>
                      <a:pt x="140" y="50"/>
                    </a:lnTo>
                    <a:lnTo>
                      <a:pt x="145" y="50"/>
                    </a:lnTo>
                    <a:lnTo>
                      <a:pt x="145" y="50"/>
                    </a:lnTo>
                    <a:lnTo>
                      <a:pt x="149" y="46"/>
                    </a:lnTo>
                    <a:lnTo>
                      <a:pt x="154" y="46"/>
                    </a:lnTo>
                    <a:lnTo>
                      <a:pt x="154" y="46"/>
                    </a:lnTo>
                    <a:lnTo>
                      <a:pt x="154" y="46"/>
                    </a:lnTo>
                    <a:lnTo>
                      <a:pt x="154" y="50"/>
                    </a:lnTo>
                    <a:lnTo>
                      <a:pt x="154" y="50"/>
                    </a:lnTo>
                    <a:lnTo>
                      <a:pt x="154" y="55"/>
                    </a:lnTo>
                    <a:lnTo>
                      <a:pt x="154" y="55"/>
                    </a:lnTo>
                    <a:lnTo>
                      <a:pt x="163" y="55"/>
                    </a:lnTo>
                    <a:lnTo>
                      <a:pt x="167" y="55"/>
                    </a:lnTo>
                    <a:lnTo>
                      <a:pt x="172" y="55"/>
                    </a:lnTo>
                    <a:lnTo>
                      <a:pt x="176" y="55"/>
                    </a:lnTo>
                    <a:lnTo>
                      <a:pt x="176" y="55"/>
                    </a:lnTo>
                    <a:lnTo>
                      <a:pt x="176" y="55"/>
                    </a:lnTo>
                    <a:lnTo>
                      <a:pt x="176" y="55"/>
                    </a:lnTo>
                    <a:lnTo>
                      <a:pt x="176" y="59"/>
                    </a:lnTo>
                    <a:lnTo>
                      <a:pt x="176" y="64"/>
                    </a:lnTo>
                    <a:lnTo>
                      <a:pt x="176" y="68"/>
                    </a:lnTo>
                    <a:lnTo>
                      <a:pt x="176" y="73"/>
                    </a:lnTo>
                    <a:lnTo>
                      <a:pt x="176" y="82"/>
                    </a:lnTo>
                    <a:lnTo>
                      <a:pt x="176" y="86"/>
                    </a:lnTo>
                    <a:lnTo>
                      <a:pt x="176" y="91"/>
                    </a:lnTo>
                    <a:lnTo>
                      <a:pt x="176" y="95"/>
                    </a:lnTo>
                    <a:lnTo>
                      <a:pt x="176" y="95"/>
                    </a:lnTo>
                    <a:lnTo>
                      <a:pt x="176" y="100"/>
                    </a:lnTo>
                    <a:lnTo>
                      <a:pt x="181" y="104"/>
                    </a:lnTo>
                    <a:lnTo>
                      <a:pt x="181" y="104"/>
                    </a:lnTo>
                    <a:lnTo>
                      <a:pt x="186" y="109"/>
                    </a:lnTo>
                    <a:lnTo>
                      <a:pt x="186" y="113"/>
                    </a:lnTo>
                    <a:lnTo>
                      <a:pt x="186" y="113"/>
                    </a:lnTo>
                    <a:lnTo>
                      <a:pt x="186" y="113"/>
                    </a:lnTo>
                    <a:lnTo>
                      <a:pt x="186" y="118"/>
                    </a:lnTo>
                    <a:lnTo>
                      <a:pt x="186" y="118"/>
                    </a:lnTo>
                    <a:lnTo>
                      <a:pt x="181" y="122"/>
                    </a:lnTo>
                    <a:lnTo>
                      <a:pt x="181" y="122"/>
                    </a:lnTo>
                    <a:lnTo>
                      <a:pt x="181" y="122"/>
                    </a:lnTo>
                    <a:lnTo>
                      <a:pt x="181" y="127"/>
                    </a:lnTo>
                    <a:lnTo>
                      <a:pt x="181" y="127"/>
                    </a:lnTo>
                    <a:lnTo>
                      <a:pt x="186" y="127"/>
                    </a:lnTo>
                    <a:lnTo>
                      <a:pt x="186" y="127"/>
                    </a:lnTo>
                    <a:lnTo>
                      <a:pt x="186" y="127"/>
                    </a:lnTo>
                    <a:lnTo>
                      <a:pt x="186" y="127"/>
                    </a:lnTo>
                    <a:lnTo>
                      <a:pt x="190" y="127"/>
                    </a:lnTo>
                    <a:lnTo>
                      <a:pt x="190" y="127"/>
                    </a:lnTo>
                    <a:lnTo>
                      <a:pt x="195" y="127"/>
                    </a:lnTo>
                    <a:lnTo>
                      <a:pt x="199" y="127"/>
                    </a:lnTo>
                    <a:lnTo>
                      <a:pt x="199" y="127"/>
                    </a:lnTo>
                    <a:lnTo>
                      <a:pt x="204" y="122"/>
                    </a:lnTo>
                    <a:lnTo>
                      <a:pt x="204" y="122"/>
                    </a:lnTo>
                    <a:lnTo>
                      <a:pt x="208" y="122"/>
                    </a:lnTo>
                    <a:lnTo>
                      <a:pt x="208" y="122"/>
                    </a:lnTo>
                    <a:lnTo>
                      <a:pt x="213" y="122"/>
                    </a:lnTo>
                    <a:lnTo>
                      <a:pt x="213" y="122"/>
                    </a:lnTo>
                    <a:lnTo>
                      <a:pt x="213" y="122"/>
                    </a:lnTo>
                    <a:lnTo>
                      <a:pt x="213" y="122"/>
                    </a:lnTo>
                    <a:lnTo>
                      <a:pt x="213" y="122"/>
                    </a:lnTo>
                    <a:lnTo>
                      <a:pt x="213" y="122"/>
                    </a:lnTo>
                    <a:lnTo>
                      <a:pt x="213" y="127"/>
                    </a:lnTo>
                    <a:lnTo>
                      <a:pt x="213" y="131"/>
                    </a:lnTo>
                    <a:lnTo>
                      <a:pt x="213" y="131"/>
                    </a:lnTo>
                    <a:lnTo>
                      <a:pt x="213" y="131"/>
                    </a:lnTo>
                    <a:lnTo>
                      <a:pt x="213" y="131"/>
                    </a:lnTo>
                    <a:lnTo>
                      <a:pt x="213" y="131"/>
                    </a:lnTo>
                    <a:lnTo>
                      <a:pt x="213" y="136"/>
                    </a:lnTo>
                    <a:lnTo>
                      <a:pt x="213" y="136"/>
                    </a:lnTo>
                    <a:lnTo>
                      <a:pt x="213" y="136"/>
                    </a:lnTo>
                    <a:lnTo>
                      <a:pt x="213" y="141"/>
                    </a:lnTo>
                    <a:lnTo>
                      <a:pt x="213" y="141"/>
                    </a:lnTo>
                    <a:lnTo>
                      <a:pt x="213" y="145"/>
                    </a:lnTo>
                    <a:lnTo>
                      <a:pt x="213" y="150"/>
                    </a:lnTo>
                    <a:lnTo>
                      <a:pt x="213" y="150"/>
                    </a:lnTo>
                    <a:lnTo>
                      <a:pt x="213" y="154"/>
                    </a:lnTo>
                    <a:lnTo>
                      <a:pt x="213" y="154"/>
                    </a:lnTo>
                    <a:lnTo>
                      <a:pt x="213" y="159"/>
                    </a:lnTo>
                    <a:lnTo>
                      <a:pt x="213" y="159"/>
                    </a:lnTo>
                    <a:lnTo>
                      <a:pt x="213" y="159"/>
                    </a:lnTo>
                    <a:lnTo>
                      <a:pt x="213" y="163"/>
                    </a:lnTo>
                    <a:lnTo>
                      <a:pt x="213" y="163"/>
                    </a:lnTo>
                    <a:lnTo>
                      <a:pt x="208" y="163"/>
                    </a:lnTo>
                    <a:lnTo>
                      <a:pt x="208" y="163"/>
                    </a:lnTo>
                    <a:lnTo>
                      <a:pt x="199" y="163"/>
                    </a:lnTo>
                    <a:lnTo>
                      <a:pt x="195" y="163"/>
                    </a:lnTo>
                    <a:lnTo>
                      <a:pt x="190" y="163"/>
                    </a:lnTo>
                    <a:lnTo>
                      <a:pt x="186" y="163"/>
                    </a:lnTo>
                    <a:lnTo>
                      <a:pt x="181" y="163"/>
                    </a:lnTo>
                    <a:lnTo>
                      <a:pt x="176" y="163"/>
                    </a:lnTo>
                    <a:lnTo>
                      <a:pt x="176" y="163"/>
                    </a:lnTo>
                    <a:lnTo>
                      <a:pt x="176" y="172"/>
                    </a:lnTo>
                    <a:lnTo>
                      <a:pt x="176" y="177"/>
                    </a:lnTo>
                    <a:lnTo>
                      <a:pt x="176" y="181"/>
                    </a:lnTo>
                    <a:lnTo>
                      <a:pt x="176" y="190"/>
                    </a:lnTo>
                    <a:lnTo>
                      <a:pt x="176" y="195"/>
                    </a:lnTo>
                    <a:lnTo>
                      <a:pt x="176" y="199"/>
                    </a:lnTo>
                    <a:lnTo>
                      <a:pt x="176" y="208"/>
                    </a:lnTo>
                    <a:lnTo>
                      <a:pt x="176" y="213"/>
                    </a:lnTo>
                    <a:lnTo>
                      <a:pt x="176" y="217"/>
                    </a:lnTo>
                    <a:lnTo>
                      <a:pt x="176" y="222"/>
                    </a:lnTo>
                    <a:lnTo>
                      <a:pt x="181" y="231"/>
                    </a:lnTo>
                    <a:lnTo>
                      <a:pt x="181" y="231"/>
                    </a:lnTo>
                    <a:lnTo>
                      <a:pt x="181" y="231"/>
                    </a:lnTo>
                    <a:lnTo>
                      <a:pt x="186" y="231"/>
                    </a:lnTo>
                    <a:lnTo>
                      <a:pt x="186" y="235"/>
                    </a:lnTo>
                    <a:lnTo>
                      <a:pt x="190" y="240"/>
                    </a:lnTo>
                    <a:lnTo>
                      <a:pt x="195" y="240"/>
                    </a:lnTo>
                    <a:lnTo>
                      <a:pt x="195" y="245"/>
                    </a:lnTo>
                    <a:lnTo>
                      <a:pt x="199" y="249"/>
                    </a:lnTo>
                    <a:lnTo>
                      <a:pt x="195" y="249"/>
                    </a:lnTo>
                    <a:lnTo>
                      <a:pt x="186" y="249"/>
                    </a:lnTo>
                    <a:lnTo>
                      <a:pt x="181" y="254"/>
                    </a:lnTo>
                    <a:lnTo>
                      <a:pt x="176" y="254"/>
                    </a:lnTo>
                    <a:lnTo>
                      <a:pt x="172" y="254"/>
                    </a:lnTo>
                    <a:lnTo>
                      <a:pt x="167" y="254"/>
                    </a:lnTo>
                    <a:lnTo>
                      <a:pt x="167" y="254"/>
                    </a:lnTo>
                    <a:lnTo>
                      <a:pt x="163" y="254"/>
                    </a:lnTo>
                    <a:lnTo>
                      <a:pt x="163" y="254"/>
                    </a:lnTo>
                    <a:lnTo>
                      <a:pt x="158" y="254"/>
                    </a:lnTo>
                    <a:lnTo>
                      <a:pt x="154" y="254"/>
                    </a:lnTo>
                    <a:lnTo>
                      <a:pt x="154" y="254"/>
                    </a:lnTo>
                    <a:lnTo>
                      <a:pt x="149" y="254"/>
                    </a:lnTo>
                    <a:lnTo>
                      <a:pt x="149" y="254"/>
                    </a:lnTo>
                    <a:lnTo>
                      <a:pt x="145" y="254"/>
                    </a:lnTo>
                    <a:lnTo>
                      <a:pt x="140" y="254"/>
                    </a:lnTo>
                    <a:lnTo>
                      <a:pt x="136" y="254"/>
                    </a:lnTo>
                    <a:lnTo>
                      <a:pt x="131" y="254"/>
                    </a:lnTo>
                    <a:lnTo>
                      <a:pt x="127" y="254"/>
                    </a:lnTo>
                    <a:lnTo>
                      <a:pt x="127" y="254"/>
                    </a:lnTo>
                    <a:lnTo>
                      <a:pt x="122" y="254"/>
                    </a:lnTo>
                    <a:lnTo>
                      <a:pt x="122" y="249"/>
                    </a:lnTo>
                    <a:lnTo>
                      <a:pt x="118" y="249"/>
                    </a:lnTo>
                    <a:lnTo>
                      <a:pt x="118" y="249"/>
                    </a:lnTo>
                    <a:lnTo>
                      <a:pt x="118" y="245"/>
                    </a:lnTo>
                    <a:lnTo>
                      <a:pt x="118" y="245"/>
                    </a:lnTo>
                    <a:lnTo>
                      <a:pt x="113" y="245"/>
                    </a:lnTo>
                    <a:lnTo>
                      <a:pt x="113" y="245"/>
                    </a:lnTo>
                    <a:lnTo>
                      <a:pt x="109" y="245"/>
                    </a:lnTo>
                    <a:lnTo>
                      <a:pt x="104" y="245"/>
                    </a:lnTo>
                    <a:lnTo>
                      <a:pt x="104" y="245"/>
                    </a:lnTo>
                    <a:lnTo>
                      <a:pt x="95" y="245"/>
                    </a:lnTo>
                    <a:lnTo>
                      <a:pt x="91" y="245"/>
                    </a:lnTo>
                    <a:lnTo>
                      <a:pt x="82" y="245"/>
                    </a:lnTo>
                    <a:lnTo>
                      <a:pt x="77" y="245"/>
                    </a:lnTo>
                    <a:lnTo>
                      <a:pt x="68" y="245"/>
                    </a:lnTo>
                    <a:lnTo>
                      <a:pt x="64" y="245"/>
                    </a:lnTo>
                    <a:lnTo>
                      <a:pt x="54" y="245"/>
                    </a:lnTo>
                    <a:lnTo>
                      <a:pt x="50" y="245"/>
                    </a:lnTo>
                    <a:lnTo>
                      <a:pt x="45" y="245"/>
                    </a:lnTo>
                    <a:lnTo>
                      <a:pt x="41" y="245"/>
                    </a:lnTo>
                    <a:lnTo>
                      <a:pt x="41" y="245"/>
                    </a:lnTo>
                    <a:lnTo>
                      <a:pt x="41" y="245"/>
                    </a:lnTo>
                    <a:lnTo>
                      <a:pt x="36" y="245"/>
                    </a:lnTo>
                    <a:lnTo>
                      <a:pt x="36" y="245"/>
                    </a:lnTo>
                    <a:lnTo>
                      <a:pt x="36" y="240"/>
                    </a:lnTo>
                    <a:lnTo>
                      <a:pt x="32" y="240"/>
                    </a:lnTo>
                    <a:lnTo>
                      <a:pt x="32" y="240"/>
                    </a:lnTo>
                    <a:lnTo>
                      <a:pt x="32" y="235"/>
                    </a:lnTo>
                    <a:lnTo>
                      <a:pt x="27" y="235"/>
                    </a:lnTo>
                    <a:lnTo>
                      <a:pt x="27" y="235"/>
                    </a:lnTo>
                    <a:lnTo>
                      <a:pt x="27" y="235"/>
                    </a:lnTo>
                    <a:lnTo>
                      <a:pt x="23" y="235"/>
                    </a:lnTo>
                    <a:lnTo>
                      <a:pt x="23" y="235"/>
                    </a:lnTo>
                    <a:lnTo>
                      <a:pt x="18" y="235"/>
                    </a:lnTo>
                    <a:lnTo>
                      <a:pt x="18" y="240"/>
                    </a:lnTo>
                    <a:lnTo>
                      <a:pt x="18" y="240"/>
                    </a:lnTo>
                    <a:lnTo>
                      <a:pt x="14" y="240"/>
                    </a:lnTo>
                    <a:lnTo>
                      <a:pt x="9" y="240"/>
                    </a:lnTo>
                    <a:lnTo>
                      <a:pt x="9" y="240"/>
                    </a:lnTo>
                    <a:lnTo>
                      <a:pt x="9" y="240"/>
                    </a:lnTo>
                    <a:lnTo>
                      <a:pt x="5" y="240"/>
                    </a:lnTo>
                    <a:lnTo>
                      <a:pt x="5" y="240"/>
                    </a:lnTo>
                    <a:lnTo>
                      <a:pt x="5" y="240"/>
                    </a:lnTo>
                    <a:lnTo>
                      <a:pt x="0" y="240"/>
                    </a:lnTo>
                    <a:lnTo>
                      <a:pt x="0" y="235"/>
                    </a:lnTo>
                    <a:lnTo>
                      <a:pt x="0" y="231"/>
                    </a:lnTo>
                    <a:lnTo>
                      <a:pt x="0" y="226"/>
                    </a:lnTo>
                    <a:lnTo>
                      <a:pt x="0" y="217"/>
                    </a:lnTo>
                    <a:lnTo>
                      <a:pt x="0" y="217"/>
                    </a:lnTo>
                    <a:lnTo>
                      <a:pt x="0" y="213"/>
                    </a:lnTo>
                    <a:lnTo>
                      <a:pt x="0" y="213"/>
                    </a:lnTo>
                    <a:lnTo>
                      <a:pt x="5" y="213"/>
                    </a:lnTo>
                    <a:lnTo>
                      <a:pt x="5" y="213"/>
                    </a:lnTo>
                    <a:lnTo>
                      <a:pt x="5" y="208"/>
                    </a:lnTo>
                    <a:lnTo>
                      <a:pt x="5" y="204"/>
                    </a:lnTo>
                    <a:lnTo>
                      <a:pt x="9" y="190"/>
                    </a:lnTo>
                    <a:lnTo>
                      <a:pt x="14" y="181"/>
                    </a:lnTo>
                    <a:lnTo>
                      <a:pt x="14" y="177"/>
                    </a:lnTo>
                    <a:lnTo>
                      <a:pt x="14" y="168"/>
                    </a:lnTo>
                    <a:lnTo>
                      <a:pt x="23" y="163"/>
                    </a:lnTo>
                    <a:lnTo>
                      <a:pt x="23" y="159"/>
                    </a:lnTo>
                    <a:lnTo>
                      <a:pt x="27" y="154"/>
                    </a:lnTo>
                    <a:lnTo>
                      <a:pt x="32" y="154"/>
                    </a:lnTo>
                    <a:lnTo>
                      <a:pt x="32" y="150"/>
                    </a:lnTo>
                    <a:lnTo>
                      <a:pt x="36" y="145"/>
                    </a:lnTo>
                    <a:lnTo>
                      <a:pt x="36" y="141"/>
                    </a:lnTo>
                    <a:lnTo>
                      <a:pt x="36" y="131"/>
                    </a:lnTo>
                    <a:lnTo>
                      <a:pt x="36" y="122"/>
                    </a:lnTo>
                    <a:lnTo>
                      <a:pt x="36" y="122"/>
                    </a:lnTo>
                    <a:lnTo>
                      <a:pt x="36" y="118"/>
                    </a:lnTo>
                    <a:lnTo>
                      <a:pt x="36" y="118"/>
                    </a:lnTo>
                    <a:lnTo>
                      <a:pt x="32" y="113"/>
                    </a:lnTo>
                    <a:lnTo>
                      <a:pt x="32" y="113"/>
                    </a:lnTo>
                    <a:lnTo>
                      <a:pt x="32" y="109"/>
                    </a:lnTo>
                    <a:lnTo>
                      <a:pt x="27" y="104"/>
                    </a:lnTo>
                    <a:lnTo>
                      <a:pt x="27" y="100"/>
                    </a:lnTo>
                    <a:lnTo>
                      <a:pt x="27" y="100"/>
                    </a:lnTo>
                    <a:lnTo>
                      <a:pt x="27" y="95"/>
                    </a:lnTo>
                    <a:lnTo>
                      <a:pt x="27" y="95"/>
                    </a:lnTo>
                    <a:lnTo>
                      <a:pt x="23" y="91"/>
                    </a:lnTo>
                    <a:lnTo>
                      <a:pt x="23" y="86"/>
                    </a:lnTo>
                    <a:lnTo>
                      <a:pt x="23" y="86"/>
                    </a:lnTo>
                    <a:lnTo>
                      <a:pt x="23" y="86"/>
                    </a:lnTo>
                    <a:lnTo>
                      <a:pt x="23" y="86"/>
                    </a:lnTo>
                    <a:lnTo>
                      <a:pt x="23" y="86"/>
                    </a:lnTo>
                    <a:lnTo>
                      <a:pt x="23" y="86"/>
                    </a:lnTo>
                    <a:lnTo>
                      <a:pt x="23" y="86"/>
                    </a:lnTo>
                    <a:lnTo>
                      <a:pt x="27" y="82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7" y="73"/>
                    </a:lnTo>
                    <a:lnTo>
                      <a:pt x="23" y="64"/>
                    </a:lnTo>
                    <a:lnTo>
                      <a:pt x="18" y="55"/>
                    </a:lnTo>
                    <a:lnTo>
                      <a:pt x="18" y="46"/>
                    </a:lnTo>
                    <a:lnTo>
                      <a:pt x="14" y="41"/>
                    </a:lnTo>
                    <a:lnTo>
                      <a:pt x="14" y="37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8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5" y="27"/>
                    </a:lnTo>
                    <a:moveTo>
                      <a:pt x="9" y="23"/>
                    </a:move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4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18" y="5"/>
                    </a:lnTo>
                    <a:lnTo>
                      <a:pt x="18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9" y="23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86" name="Freeform 7"/>
              <p:cNvSpPr>
                <a:spLocks/>
              </p:cNvSpPr>
              <p:nvPr/>
            </p:nvSpPr>
            <p:spPr bwMode="auto">
              <a:xfrm>
                <a:off x="4772026" y="1674814"/>
                <a:ext cx="50800" cy="93663"/>
              </a:xfrm>
              <a:custGeom>
                <a:avLst/>
                <a:gdLst>
                  <a:gd name="T0" fmla="*/ 9 w 32"/>
                  <a:gd name="T1" fmla="*/ 5 h 59"/>
                  <a:gd name="T2" fmla="*/ 9 w 32"/>
                  <a:gd name="T3" fmla="*/ 5 h 59"/>
                  <a:gd name="T4" fmla="*/ 14 w 32"/>
                  <a:gd name="T5" fmla="*/ 5 h 59"/>
                  <a:gd name="T6" fmla="*/ 14 w 32"/>
                  <a:gd name="T7" fmla="*/ 5 h 59"/>
                  <a:gd name="T8" fmla="*/ 14 w 32"/>
                  <a:gd name="T9" fmla="*/ 9 h 59"/>
                  <a:gd name="T10" fmla="*/ 18 w 32"/>
                  <a:gd name="T11" fmla="*/ 9 h 59"/>
                  <a:gd name="T12" fmla="*/ 18 w 32"/>
                  <a:gd name="T13" fmla="*/ 9 h 59"/>
                  <a:gd name="T14" fmla="*/ 23 w 32"/>
                  <a:gd name="T15" fmla="*/ 14 h 59"/>
                  <a:gd name="T16" fmla="*/ 23 w 32"/>
                  <a:gd name="T17" fmla="*/ 18 h 59"/>
                  <a:gd name="T18" fmla="*/ 23 w 32"/>
                  <a:gd name="T19" fmla="*/ 18 h 59"/>
                  <a:gd name="T20" fmla="*/ 18 w 32"/>
                  <a:gd name="T21" fmla="*/ 23 h 59"/>
                  <a:gd name="T22" fmla="*/ 23 w 32"/>
                  <a:gd name="T23" fmla="*/ 23 h 59"/>
                  <a:gd name="T24" fmla="*/ 23 w 32"/>
                  <a:gd name="T25" fmla="*/ 27 h 59"/>
                  <a:gd name="T26" fmla="*/ 23 w 32"/>
                  <a:gd name="T27" fmla="*/ 32 h 59"/>
                  <a:gd name="T28" fmla="*/ 23 w 32"/>
                  <a:gd name="T29" fmla="*/ 32 h 59"/>
                  <a:gd name="T30" fmla="*/ 27 w 32"/>
                  <a:gd name="T31" fmla="*/ 32 h 59"/>
                  <a:gd name="T32" fmla="*/ 27 w 32"/>
                  <a:gd name="T33" fmla="*/ 36 h 59"/>
                  <a:gd name="T34" fmla="*/ 27 w 32"/>
                  <a:gd name="T35" fmla="*/ 36 h 59"/>
                  <a:gd name="T36" fmla="*/ 32 w 32"/>
                  <a:gd name="T37" fmla="*/ 36 h 59"/>
                  <a:gd name="T38" fmla="*/ 27 w 32"/>
                  <a:gd name="T39" fmla="*/ 41 h 59"/>
                  <a:gd name="T40" fmla="*/ 27 w 32"/>
                  <a:gd name="T41" fmla="*/ 41 h 59"/>
                  <a:gd name="T42" fmla="*/ 27 w 32"/>
                  <a:gd name="T43" fmla="*/ 45 h 59"/>
                  <a:gd name="T44" fmla="*/ 27 w 32"/>
                  <a:gd name="T45" fmla="*/ 45 h 59"/>
                  <a:gd name="T46" fmla="*/ 23 w 32"/>
                  <a:gd name="T47" fmla="*/ 50 h 59"/>
                  <a:gd name="T48" fmla="*/ 23 w 32"/>
                  <a:gd name="T49" fmla="*/ 50 h 59"/>
                  <a:gd name="T50" fmla="*/ 23 w 32"/>
                  <a:gd name="T51" fmla="*/ 50 h 59"/>
                  <a:gd name="T52" fmla="*/ 18 w 32"/>
                  <a:gd name="T53" fmla="*/ 50 h 59"/>
                  <a:gd name="T54" fmla="*/ 18 w 32"/>
                  <a:gd name="T55" fmla="*/ 50 h 59"/>
                  <a:gd name="T56" fmla="*/ 18 w 32"/>
                  <a:gd name="T57" fmla="*/ 54 h 59"/>
                  <a:gd name="T58" fmla="*/ 23 w 32"/>
                  <a:gd name="T59" fmla="*/ 54 h 59"/>
                  <a:gd name="T60" fmla="*/ 18 w 32"/>
                  <a:gd name="T61" fmla="*/ 54 h 59"/>
                  <a:gd name="T62" fmla="*/ 18 w 32"/>
                  <a:gd name="T63" fmla="*/ 54 h 59"/>
                  <a:gd name="T64" fmla="*/ 18 w 32"/>
                  <a:gd name="T65" fmla="*/ 59 h 59"/>
                  <a:gd name="T66" fmla="*/ 18 w 32"/>
                  <a:gd name="T67" fmla="*/ 59 h 59"/>
                  <a:gd name="T68" fmla="*/ 14 w 32"/>
                  <a:gd name="T69" fmla="*/ 54 h 59"/>
                  <a:gd name="T70" fmla="*/ 14 w 32"/>
                  <a:gd name="T71" fmla="*/ 54 h 59"/>
                  <a:gd name="T72" fmla="*/ 14 w 32"/>
                  <a:gd name="T73" fmla="*/ 50 h 59"/>
                  <a:gd name="T74" fmla="*/ 5 w 32"/>
                  <a:gd name="T75" fmla="*/ 45 h 59"/>
                  <a:gd name="T76" fmla="*/ 5 w 32"/>
                  <a:gd name="T77" fmla="*/ 45 h 59"/>
                  <a:gd name="T78" fmla="*/ 5 w 32"/>
                  <a:gd name="T79" fmla="*/ 45 h 59"/>
                  <a:gd name="T80" fmla="*/ 5 w 32"/>
                  <a:gd name="T81" fmla="*/ 45 h 59"/>
                  <a:gd name="T82" fmla="*/ 5 w 32"/>
                  <a:gd name="T83" fmla="*/ 41 h 59"/>
                  <a:gd name="T84" fmla="*/ 5 w 32"/>
                  <a:gd name="T85" fmla="*/ 36 h 59"/>
                  <a:gd name="T86" fmla="*/ 5 w 32"/>
                  <a:gd name="T87" fmla="*/ 32 h 59"/>
                  <a:gd name="T88" fmla="*/ 5 w 32"/>
                  <a:gd name="T89" fmla="*/ 27 h 59"/>
                  <a:gd name="T90" fmla="*/ 5 w 32"/>
                  <a:gd name="T91" fmla="*/ 23 h 59"/>
                  <a:gd name="T92" fmla="*/ 5 w 32"/>
                  <a:gd name="T93" fmla="*/ 18 h 59"/>
                  <a:gd name="T94" fmla="*/ 5 w 32"/>
                  <a:gd name="T95" fmla="*/ 18 h 59"/>
                  <a:gd name="T96" fmla="*/ 0 w 32"/>
                  <a:gd name="T97" fmla="*/ 14 h 59"/>
                  <a:gd name="T98" fmla="*/ 0 w 32"/>
                  <a:gd name="T99" fmla="*/ 14 h 59"/>
                  <a:gd name="T100" fmla="*/ 0 w 32"/>
                  <a:gd name="T101" fmla="*/ 9 h 59"/>
                  <a:gd name="T102" fmla="*/ 0 w 32"/>
                  <a:gd name="T103" fmla="*/ 9 h 59"/>
                  <a:gd name="T104" fmla="*/ 5 w 32"/>
                  <a:gd name="T105" fmla="*/ 5 h 59"/>
                  <a:gd name="T106" fmla="*/ 5 w 32"/>
                  <a:gd name="T107" fmla="*/ 5 h 59"/>
                  <a:gd name="T108" fmla="*/ 9 w 32"/>
                  <a:gd name="T109" fmla="*/ 0 h 59"/>
                  <a:gd name="T110" fmla="*/ 9 w 32"/>
                  <a:gd name="T111" fmla="*/ 0 h 59"/>
                  <a:gd name="T112" fmla="*/ 9 w 32"/>
                  <a:gd name="T113" fmla="*/ 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2" h="59">
                    <a:moveTo>
                      <a:pt x="9" y="5"/>
                    </a:move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3" y="23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32" y="36"/>
                    </a:lnTo>
                    <a:lnTo>
                      <a:pt x="32" y="41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4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4" y="59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0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36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5" y="14"/>
                    </a:lnTo>
                    <a:lnTo>
                      <a:pt x="0" y="14"/>
                    </a:lnTo>
                    <a:lnTo>
                      <a:pt x="5" y="1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5"/>
                    </a:lnTo>
                    <a:lnTo>
                      <a:pt x="9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87" name="Freeform 8"/>
              <p:cNvSpPr>
                <a:spLocks/>
              </p:cNvSpPr>
              <p:nvPr/>
            </p:nvSpPr>
            <p:spPr bwMode="auto">
              <a:xfrm>
                <a:off x="5654676" y="2163764"/>
                <a:ext cx="128588" cy="100013"/>
              </a:xfrm>
              <a:custGeom>
                <a:avLst/>
                <a:gdLst>
                  <a:gd name="T0" fmla="*/ 77 w 81"/>
                  <a:gd name="T1" fmla="*/ 9 h 63"/>
                  <a:gd name="T2" fmla="*/ 77 w 81"/>
                  <a:gd name="T3" fmla="*/ 9 h 63"/>
                  <a:gd name="T4" fmla="*/ 81 w 81"/>
                  <a:gd name="T5" fmla="*/ 18 h 63"/>
                  <a:gd name="T6" fmla="*/ 77 w 81"/>
                  <a:gd name="T7" fmla="*/ 22 h 63"/>
                  <a:gd name="T8" fmla="*/ 77 w 81"/>
                  <a:gd name="T9" fmla="*/ 22 h 63"/>
                  <a:gd name="T10" fmla="*/ 72 w 81"/>
                  <a:gd name="T11" fmla="*/ 22 h 63"/>
                  <a:gd name="T12" fmla="*/ 72 w 81"/>
                  <a:gd name="T13" fmla="*/ 22 h 63"/>
                  <a:gd name="T14" fmla="*/ 72 w 81"/>
                  <a:gd name="T15" fmla="*/ 22 h 63"/>
                  <a:gd name="T16" fmla="*/ 72 w 81"/>
                  <a:gd name="T17" fmla="*/ 22 h 63"/>
                  <a:gd name="T18" fmla="*/ 72 w 81"/>
                  <a:gd name="T19" fmla="*/ 27 h 63"/>
                  <a:gd name="T20" fmla="*/ 72 w 81"/>
                  <a:gd name="T21" fmla="*/ 31 h 63"/>
                  <a:gd name="T22" fmla="*/ 72 w 81"/>
                  <a:gd name="T23" fmla="*/ 36 h 63"/>
                  <a:gd name="T24" fmla="*/ 77 w 81"/>
                  <a:gd name="T25" fmla="*/ 36 h 63"/>
                  <a:gd name="T26" fmla="*/ 72 w 81"/>
                  <a:gd name="T27" fmla="*/ 36 h 63"/>
                  <a:gd name="T28" fmla="*/ 68 w 81"/>
                  <a:gd name="T29" fmla="*/ 40 h 63"/>
                  <a:gd name="T30" fmla="*/ 68 w 81"/>
                  <a:gd name="T31" fmla="*/ 40 h 63"/>
                  <a:gd name="T32" fmla="*/ 68 w 81"/>
                  <a:gd name="T33" fmla="*/ 49 h 63"/>
                  <a:gd name="T34" fmla="*/ 63 w 81"/>
                  <a:gd name="T35" fmla="*/ 58 h 63"/>
                  <a:gd name="T36" fmla="*/ 63 w 81"/>
                  <a:gd name="T37" fmla="*/ 63 h 63"/>
                  <a:gd name="T38" fmla="*/ 63 w 81"/>
                  <a:gd name="T39" fmla="*/ 63 h 63"/>
                  <a:gd name="T40" fmla="*/ 59 w 81"/>
                  <a:gd name="T41" fmla="*/ 63 h 63"/>
                  <a:gd name="T42" fmla="*/ 50 w 81"/>
                  <a:gd name="T43" fmla="*/ 63 h 63"/>
                  <a:gd name="T44" fmla="*/ 41 w 81"/>
                  <a:gd name="T45" fmla="*/ 63 h 63"/>
                  <a:gd name="T46" fmla="*/ 27 w 81"/>
                  <a:gd name="T47" fmla="*/ 58 h 63"/>
                  <a:gd name="T48" fmla="*/ 22 w 81"/>
                  <a:gd name="T49" fmla="*/ 58 h 63"/>
                  <a:gd name="T50" fmla="*/ 18 w 81"/>
                  <a:gd name="T51" fmla="*/ 58 h 63"/>
                  <a:gd name="T52" fmla="*/ 18 w 81"/>
                  <a:gd name="T53" fmla="*/ 54 h 63"/>
                  <a:gd name="T54" fmla="*/ 13 w 81"/>
                  <a:gd name="T55" fmla="*/ 49 h 63"/>
                  <a:gd name="T56" fmla="*/ 9 w 81"/>
                  <a:gd name="T57" fmla="*/ 49 h 63"/>
                  <a:gd name="T58" fmla="*/ 9 w 81"/>
                  <a:gd name="T59" fmla="*/ 45 h 63"/>
                  <a:gd name="T60" fmla="*/ 4 w 81"/>
                  <a:gd name="T61" fmla="*/ 40 h 63"/>
                  <a:gd name="T62" fmla="*/ 0 w 81"/>
                  <a:gd name="T63" fmla="*/ 36 h 63"/>
                  <a:gd name="T64" fmla="*/ 0 w 81"/>
                  <a:gd name="T65" fmla="*/ 31 h 63"/>
                  <a:gd name="T66" fmla="*/ 4 w 81"/>
                  <a:gd name="T67" fmla="*/ 36 h 63"/>
                  <a:gd name="T68" fmla="*/ 4 w 81"/>
                  <a:gd name="T69" fmla="*/ 40 h 63"/>
                  <a:gd name="T70" fmla="*/ 13 w 81"/>
                  <a:gd name="T71" fmla="*/ 40 h 63"/>
                  <a:gd name="T72" fmla="*/ 27 w 81"/>
                  <a:gd name="T73" fmla="*/ 36 h 63"/>
                  <a:gd name="T74" fmla="*/ 41 w 81"/>
                  <a:gd name="T75" fmla="*/ 36 h 63"/>
                  <a:gd name="T76" fmla="*/ 50 w 81"/>
                  <a:gd name="T77" fmla="*/ 31 h 63"/>
                  <a:gd name="T78" fmla="*/ 50 w 81"/>
                  <a:gd name="T79" fmla="*/ 27 h 63"/>
                  <a:gd name="T80" fmla="*/ 50 w 81"/>
                  <a:gd name="T81" fmla="*/ 27 h 63"/>
                  <a:gd name="T82" fmla="*/ 63 w 81"/>
                  <a:gd name="T83" fmla="*/ 13 h 63"/>
                  <a:gd name="T84" fmla="*/ 63 w 81"/>
                  <a:gd name="T85" fmla="*/ 9 h 63"/>
                  <a:gd name="T86" fmla="*/ 72 w 81"/>
                  <a:gd name="T87" fmla="*/ 0 h 63"/>
                  <a:gd name="T88" fmla="*/ 72 w 81"/>
                  <a:gd name="T89" fmla="*/ 0 h 63"/>
                  <a:gd name="T90" fmla="*/ 72 w 81"/>
                  <a:gd name="T91" fmla="*/ 4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81" h="63">
                    <a:moveTo>
                      <a:pt x="77" y="9"/>
                    </a:moveTo>
                    <a:lnTo>
                      <a:pt x="77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77" y="22"/>
                    </a:lnTo>
                    <a:lnTo>
                      <a:pt x="77" y="22"/>
                    </a:lnTo>
                    <a:lnTo>
                      <a:pt x="77" y="22"/>
                    </a:lnTo>
                    <a:lnTo>
                      <a:pt x="77" y="22"/>
                    </a:lnTo>
                    <a:lnTo>
                      <a:pt x="77" y="22"/>
                    </a:lnTo>
                    <a:lnTo>
                      <a:pt x="77" y="22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72" y="31"/>
                    </a:lnTo>
                    <a:lnTo>
                      <a:pt x="72" y="31"/>
                    </a:lnTo>
                    <a:lnTo>
                      <a:pt x="72" y="31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7" y="36"/>
                    </a:lnTo>
                    <a:lnTo>
                      <a:pt x="77" y="36"/>
                    </a:lnTo>
                    <a:lnTo>
                      <a:pt x="77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8" y="49"/>
                    </a:lnTo>
                    <a:lnTo>
                      <a:pt x="68" y="49"/>
                    </a:lnTo>
                    <a:lnTo>
                      <a:pt x="68" y="54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59" y="63"/>
                    </a:lnTo>
                    <a:lnTo>
                      <a:pt x="59" y="63"/>
                    </a:lnTo>
                    <a:lnTo>
                      <a:pt x="54" y="63"/>
                    </a:lnTo>
                    <a:lnTo>
                      <a:pt x="50" y="63"/>
                    </a:lnTo>
                    <a:lnTo>
                      <a:pt x="45" y="63"/>
                    </a:lnTo>
                    <a:lnTo>
                      <a:pt x="41" y="63"/>
                    </a:lnTo>
                    <a:lnTo>
                      <a:pt x="41" y="63"/>
                    </a:lnTo>
                    <a:lnTo>
                      <a:pt x="36" y="63"/>
                    </a:lnTo>
                    <a:lnTo>
                      <a:pt x="32" y="58"/>
                    </a:lnTo>
                    <a:lnTo>
                      <a:pt x="27" y="58"/>
                    </a:lnTo>
                    <a:lnTo>
                      <a:pt x="27" y="58"/>
                    </a:lnTo>
                    <a:lnTo>
                      <a:pt x="22" y="58"/>
                    </a:lnTo>
                    <a:lnTo>
                      <a:pt x="22" y="58"/>
                    </a:lnTo>
                    <a:lnTo>
                      <a:pt x="22" y="58"/>
                    </a:lnTo>
                    <a:lnTo>
                      <a:pt x="22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3" y="54"/>
                    </a:lnTo>
                    <a:lnTo>
                      <a:pt x="13" y="54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9" y="49"/>
                    </a:lnTo>
                    <a:lnTo>
                      <a:pt x="9" y="49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1"/>
                    </a:lnTo>
                    <a:lnTo>
                      <a:pt x="0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40"/>
                    </a:lnTo>
                    <a:lnTo>
                      <a:pt x="9" y="40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7" y="36"/>
                    </a:lnTo>
                    <a:lnTo>
                      <a:pt x="32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4" y="22"/>
                    </a:lnTo>
                    <a:lnTo>
                      <a:pt x="59" y="18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3" y="9"/>
                    </a:lnTo>
                    <a:lnTo>
                      <a:pt x="72" y="4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7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88" name="Freeform 9"/>
              <p:cNvSpPr>
                <a:spLocks noEditPoints="1"/>
              </p:cNvSpPr>
              <p:nvPr/>
            </p:nvSpPr>
            <p:spPr bwMode="auto">
              <a:xfrm>
                <a:off x="2455863" y="3627439"/>
                <a:ext cx="438150" cy="1004888"/>
              </a:xfrm>
              <a:custGeom>
                <a:avLst/>
                <a:gdLst>
                  <a:gd name="T0" fmla="*/ 230 w 276"/>
                  <a:gd name="T1" fmla="*/ 610 h 633"/>
                  <a:gd name="T2" fmla="*/ 271 w 276"/>
                  <a:gd name="T3" fmla="*/ 633 h 633"/>
                  <a:gd name="T4" fmla="*/ 230 w 276"/>
                  <a:gd name="T5" fmla="*/ 633 h 633"/>
                  <a:gd name="T6" fmla="*/ 36 w 276"/>
                  <a:gd name="T7" fmla="*/ 4 h 633"/>
                  <a:gd name="T8" fmla="*/ 63 w 276"/>
                  <a:gd name="T9" fmla="*/ 9 h 633"/>
                  <a:gd name="T10" fmla="*/ 90 w 276"/>
                  <a:gd name="T11" fmla="*/ 4 h 633"/>
                  <a:gd name="T12" fmla="*/ 127 w 276"/>
                  <a:gd name="T13" fmla="*/ 36 h 633"/>
                  <a:gd name="T14" fmla="*/ 176 w 276"/>
                  <a:gd name="T15" fmla="*/ 59 h 633"/>
                  <a:gd name="T16" fmla="*/ 181 w 276"/>
                  <a:gd name="T17" fmla="*/ 77 h 633"/>
                  <a:gd name="T18" fmla="*/ 181 w 276"/>
                  <a:gd name="T19" fmla="*/ 95 h 633"/>
                  <a:gd name="T20" fmla="*/ 212 w 276"/>
                  <a:gd name="T21" fmla="*/ 104 h 633"/>
                  <a:gd name="T22" fmla="*/ 226 w 276"/>
                  <a:gd name="T23" fmla="*/ 95 h 633"/>
                  <a:gd name="T24" fmla="*/ 235 w 276"/>
                  <a:gd name="T25" fmla="*/ 68 h 633"/>
                  <a:gd name="T26" fmla="*/ 253 w 276"/>
                  <a:gd name="T27" fmla="*/ 77 h 633"/>
                  <a:gd name="T28" fmla="*/ 248 w 276"/>
                  <a:gd name="T29" fmla="*/ 99 h 633"/>
                  <a:gd name="T30" fmla="*/ 235 w 276"/>
                  <a:gd name="T31" fmla="*/ 108 h 633"/>
                  <a:gd name="T32" fmla="*/ 226 w 276"/>
                  <a:gd name="T33" fmla="*/ 122 h 633"/>
                  <a:gd name="T34" fmla="*/ 212 w 276"/>
                  <a:gd name="T35" fmla="*/ 145 h 633"/>
                  <a:gd name="T36" fmla="*/ 203 w 276"/>
                  <a:gd name="T37" fmla="*/ 172 h 633"/>
                  <a:gd name="T38" fmla="*/ 208 w 276"/>
                  <a:gd name="T39" fmla="*/ 190 h 633"/>
                  <a:gd name="T40" fmla="*/ 208 w 276"/>
                  <a:gd name="T41" fmla="*/ 226 h 633"/>
                  <a:gd name="T42" fmla="*/ 239 w 276"/>
                  <a:gd name="T43" fmla="*/ 262 h 633"/>
                  <a:gd name="T44" fmla="*/ 248 w 276"/>
                  <a:gd name="T45" fmla="*/ 307 h 633"/>
                  <a:gd name="T46" fmla="*/ 185 w 276"/>
                  <a:gd name="T47" fmla="*/ 330 h 633"/>
                  <a:gd name="T48" fmla="*/ 194 w 276"/>
                  <a:gd name="T49" fmla="*/ 362 h 633"/>
                  <a:gd name="T50" fmla="*/ 154 w 276"/>
                  <a:gd name="T51" fmla="*/ 366 h 633"/>
                  <a:gd name="T52" fmla="*/ 176 w 276"/>
                  <a:gd name="T53" fmla="*/ 393 h 633"/>
                  <a:gd name="T54" fmla="*/ 190 w 276"/>
                  <a:gd name="T55" fmla="*/ 398 h 633"/>
                  <a:gd name="T56" fmla="*/ 181 w 276"/>
                  <a:gd name="T57" fmla="*/ 407 h 633"/>
                  <a:gd name="T58" fmla="*/ 176 w 276"/>
                  <a:gd name="T59" fmla="*/ 443 h 633"/>
                  <a:gd name="T60" fmla="*/ 158 w 276"/>
                  <a:gd name="T61" fmla="*/ 470 h 633"/>
                  <a:gd name="T62" fmla="*/ 194 w 276"/>
                  <a:gd name="T63" fmla="*/ 497 h 633"/>
                  <a:gd name="T64" fmla="*/ 185 w 276"/>
                  <a:gd name="T65" fmla="*/ 529 h 633"/>
                  <a:gd name="T66" fmla="*/ 181 w 276"/>
                  <a:gd name="T67" fmla="*/ 543 h 633"/>
                  <a:gd name="T68" fmla="*/ 181 w 276"/>
                  <a:gd name="T69" fmla="*/ 561 h 633"/>
                  <a:gd name="T70" fmla="*/ 203 w 276"/>
                  <a:gd name="T71" fmla="*/ 583 h 633"/>
                  <a:gd name="T72" fmla="*/ 154 w 276"/>
                  <a:gd name="T73" fmla="*/ 583 h 633"/>
                  <a:gd name="T74" fmla="*/ 131 w 276"/>
                  <a:gd name="T75" fmla="*/ 556 h 633"/>
                  <a:gd name="T76" fmla="*/ 113 w 276"/>
                  <a:gd name="T77" fmla="*/ 547 h 633"/>
                  <a:gd name="T78" fmla="*/ 108 w 276"/>
                  <a:gd name="T79" fmla="*/ 524 h 633"/>
                  <a:gd name="T80" fmla="*/ 99 w 276"/>
                  <a:gd name="T81" fmla="*/ 497 h 633"/>
                  <a:gd name="T82" fmla="*/ 99 w 276"/>
                  <a:gd name="T83" fmla="*/ 475 h 633"/>
                  <a:gd name="T84" fmla="*/ 90 w 276"/>
                  <a:gd name="T85" fmla="*/ 452 h 633"/>
                  <a:gd name="T86" fmla="*/ 90 w 276"/>
                  <a:gd name="T87" fmla="*/ 439 h 633"/>
                  <a:gd name="T88" fmla="*/ 72 w 276"/>
                  <a:gd name="T89" fmla="*/ 420 h 633"/>
                  <a:gd name="T90" fmla="*/ 59 w 276"/>
                  <a:gd name="T91" fmla="*/ 398 h 633"/>
                  <a:gd name="T92" fmla="*/ 50 w 276"/>
                  <a:gd name="T93" fmla="*/ 380 h 633"/>
                  <a:gd name="T94" fmla="*/ 45 w 276"/>
                  <a:gd name="T95" fmla="*/ 353 h 633"/>
                  <a:gd name="T96" fmla="*/ 41 w 276"/>
                  <a:gd name="T97" fmla="*/ 339 h 633"/>
                  <a:gd name="T98" fmla="*/ 36 w 276"/>
                  <a:gd name="T99" fmla="*/ 312 h 633"/>
                  <a:gd name="T100" fmla="*/ 27 w 276"/>
                  <a:gd name="T101" fmla="*/ 285 h 633"/>
                  <a:gd name="T102" fmla="*/ 32 w 276"/>
                  <a:gd name="T103" fmla="*/ 267 h 633"/>
                  <a:gd name="T104" fmla="*/ 27 w 276"/>
                  <a:gd name="T105" fmla="*/ 244 h 633"/>
                  <a:gd name="T106" fmla="*/ 23 w 276"/>
                  <a:gd name="T107" fmla="*/ 222 h 633"/>
                  <a:gd name="T108" fmla="*/ 9 w 276"/>
                  <a:gd name="T109" fmla="*/ 199 h 633"/>
                  <a:gd name="T110" fmla="*/ 5 w 276"/>
                  <a:gd name="T111" fmla="*/ 181 h 633"/>
                  <a:gd name="T112" fmla="*/ 5 w 276"/>
                  <a:gd name="T113" fmla="*/ 163 h 633"/>
                  <a:gd name="T114" fmla="*/ 0 w 276"/>
                  <a:gd name="T115" fmla="*/ 127 h 633"/>
                  <a:gd name="T116" fmla="*/ 9 w 276"/>
                  <a:gd name="T117" fmla="*/ 104 h 633"/>
                  <a:gd name="T118" fmla="*/ 9 w 276"/>
                  <a:gd name="T119" fmla="*/ 81 h 633"/>
                  <a:gd name="T120" fmla="*/ 0 w 276"/>
                  <a:gd name="T121" fmla="*/ 54 h 633"/>
                  <a:gd name="T122" fmla="*/ 14 w 276"/>
                  <a:gd name="T123" fmla="*/ 18 h 633"/>
                  <a:gd name="T124" fmla="*/ 27 w 276"/>
                  <a:gd name="T125" fmla="*/ 0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6" h="633">
                    <a:moveTo>
                      <a:pt x="212" y="597"/>
                    </a:moveTo>
                    <a:lnTo>
                      <a:pt x="212" y="597"/>
                    </a:lnTo>
                    <a:lnTo>
                      <a:pt x="217" y="601"/>
                    </a:lnTo>
                    <a:lnTo>
                      <a:pt x="212" y="597"/>
                    </a:lnTo>
                    <a:lnTo>
                      <a:pt x="212" y="601"/>
                    </a:lnTo>
                    <a:lnTo>
                      <a:pt x="212" y="601"/>
                    </a:lnTo>
                    <a:lnTo>
                      <a:pt x="212" y="601"/>
                    </a:lnTo>
                    <a:lnTo>
                      <a:pt x="212" y="601"/>
                    </a:lnTo>
                    <a:lnTo>
                      <a:pt x="212" y="601"/>
                    </a:lnTo>
                    <a:lnTo>
                      <a:pt x="217" y="606"/>
                    </a:lnTo>
                    <a:lnTo>
                      <a:pt x="217" y="606"/>
                    </a:lnTo>
                    <a:lnTo>
                      <a:pt x="221" y="606"/>
                    </a:lnTo>
                    <a:lnTo>
                      <a:pt x="221" y="610"/>
                    </a:lnTo>
                    <a:lnTo>
                      <a:pt x="226" y="610"/>
                    </a:lnTo>
                    <a:lnTo>
                      <a:pt x="226" y="610"/>
                    </a:lnTo>
                    <a:lnTo>
                      <a:pt x="230" y="610"/>
                    </a:lnTo>
                    <a:lnTo>
                      <a:pt x="235" y="615"/>
                    </a:lnTo>
                    <a:lnTo>
                      <a:pt x="239" y="619"/>
                    </a:lnTo>
                    <a:lnTo>
                      <a:pt x="244" y="619"/>
                    </a:lnTo>
                    <a:lnTo>
                      <a:pt x="244" y="619"/>
                    </a:lnTo>
                    <a:lnTo>
                      <a:pt x="248" y="619"/>
                    </a:lnTo>
                    <a:lnTo>
                      <a:pt x="253" y="624"/>
                    </a:lnTo>
                    <a:lnTo>
                      <a:pt x="258" y="624"/>
                    </a:lnTo>
                    <a:lnTo>
                      <a:pt x="262" y="628"/>
                    </a:lnTo>
                    <a:lnTo>
                      <a:pt x="267" y="628"/>
                    </a:lnTo>
                    <a:lnTo>
                      <a:pt x="271" y="628"/>
                    </a:lnTo>
                    <a:lnTo>
                      <a:pt x="271" y="628"/>
                    </a:lnTo>
                    <a:lnTo>
                      <a:pt x="276" y="628"/>
                    </a:lnTo>
                    <a:lnTo>
                      <a:pt x="276" y="628"/>
                    </a:lnTo>
                    <a:lnTo>
                      <a:pt x="276" y="633"/>
                    </a:lnTo>
                    <a:lnTo>
                      <a:pt x="271" y="633"/>
                    </a:lnTo>
                    <a:lnTo>
                      <a:pt x="271" y="633"/>
                    </a:lnTo>
                    <a:lnTo>
                      <a:pt x="271" y="633"/>
                    </a:lnTo>
                    <a:lnTo>
                      <a:pt x="267" y="633"/>
                    </a:lnTo>
                    <a:lnTo>
                      <a:pt x="267" y="633"/>
                    </a:lnTo>
                    <a:lnTo>
                      <a:pt x="267" y="633"/>
                    </a:lnTo>
                    <a:lnTo>
                      <a:pt x="262" y="633"/>
                    </a:lnTo>
                    <a:lnTo>
                      <a:pt x="262" y="633"/>
                    </a:lnTo>
                    <a:lnTo>
                      <a:pt x="262" y="633"/>
                    </a:lnTo>
                    <a:lnTo>
                      <a:pt x="258" y="633"/>
                    </a:lnTo>
                    <a:lnTo>
                      <a:pt x="258" y="633"/>
                    </a:lnTo>
                    <a:lnTo>
                      <a:pt x="253" y="633"/>
                    </a:lnTo>
                    <a:lnTo>
                      <a:pt x="248" y="633"/>
                    </a:lnTo>
                    <a:lnTo>
                      <a:pt x="239" y="633"/>
                    </a:lnTo>
                    <a:lnTo>
                      <a:pt x="239" y="633"/>
                    </a:lnTo>
                    <a:lnTo>
                      <a:pt x="235" y="633"/>
                    </a:lnTo>
                    <a:lnTo>
                      <a:pt x="230" y="633"/>
                    </a:lnTo>
                    <a:lnTo>
                      <a:pt x="230" y="633"/>
                    </a:lnTo>
                    <a:lnTo>
                      <a:pt x="230" y="633"/>
                    </a:lnTo>
                    <a:lnTo>
                      <a:pt x="230" y="633"/>
                    </a:lnTo>
                    <a:lnTo>
                      <a:pt x="226" y="628"/>
                    </a:lnTo>
                    <a:lnTo>
                      <a:pt x="221" y="624"/>
                    </a:lnTo>
                    <a:lnTo>
                      <a:pt x="221" y="619"/>
                    </a:lnTo>
                    <a:lnTo>
                      <a:pt x="217" y="615"/>
                    </a:lnTo>
                    <a:lnTo>
                      <a:pt x="212" y="610"/>
                    </a:lnTo>
                    <a:lnTo>
                      <a:pt x="212" y="601"/>
                    </a:lnTo>
                    <a:lnTo>
                      <a:pt x="208" y="597"/>
                    </a:lnTo>
                    <a:lnTo>
                      <a:pt x="203" y="592"/>
                    </a:lnTo>
                    <a:lnTo>
                      <a:pt x="208" y="592"/>
                    </a:lnTo>
                    <a:lnTo>
                      <a:pt x="212" y="597"/>
                    </a:lnTo>
                    <a:lnTo>
                      <a:pt x="212" y="597"/>
                    </a:lnTo>
                    <a:moveTo>
                      <a:pt x="36" y="4"/>
                    </a:moveTo>
                    <a:lnTo>
                      <a:pt x="36" y="4"/>
                    </a:lnTo>
                    <a:lnTo>
                      <a:pt x="36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5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14"/>
                    </a:lnTo>
                    <a:lnTo>
                      <a:pt x="63" y="14"/>
                    </a:lnTo>
                    <a:lnTo>
                      <a:pt x="63" y="18"/>
                    </a:lnTo>
                    <a:lnTo>
                      <a:pt x="63" y="18"/>
                    </a:lnTo>
                    <a:lnTo>
                      <a:pt x="63" y="14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7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9"/>
                    </a:lnTo>
                    <a:lnTo>
                      <a:pt x="95" y="9"/>
                    </a:lnTo>
                    <a:lnTo>
                      <a:pt x="95" y="14"/>
                    </a:lnTo>
                    <a:lnTo>
                      <a:pt x="99" y="18"/>
                    </a:lnTo>
                    <a:lnTo>
                      <a:pt x="104" y="18"/>
                    </a:lnTo>
                    <a:lnTo>
                      <a:pt x="104" y="23"/>
                    </a:lnTo>
                    <a:lnTo>
                      <a:pt x="108" y="23"/>
                    </a:lnTo>
                    <a:lnTo>
                      <a:pt x="108" y="27"/>
                    </a:lnTo>
                    <a:lnTo>
                      <a:pt x="113" y="27"/>
                    </a:lnTo>
                    <a:lnTo>
                      <a:pt x="113" y="27"/>
                    </a:lnTo>
                    <a:lnTo>
                      <a:pt x="113" y="27"/>
                    </a:lnTo>
                    <a:lnTo>
                      <a:pt x="117" y="32"/>
                    </a:lnTo>
                    <a:lnTo>
                      <a:pt x="122" y="32"/>
                    </a:lnTo>
                    <a:lnTo>
                      <a:pt x="122" y="32"/>
                    </a:lnTo>
                    <a:lnTo>
                      <a:pt x="127" y="36"/>
                    </a:lnTo>
                    <a:lnTo>
                      <a:pt x="131" y="36"/>
                    </a:lnTo>
                    <a:lnTo>
                      <a:pt x="136" y="36"/>
                    </a:lnTo>
                    <a:lnTo>
                      <a:pt x="136" y="36"/>
                    </a:lnTo>
                    <a:lnTo>
                      <a:pt x="140" y="41"/>
                    </a:lnTo>
                    <a:lnTo>
                      <a:pt x="149" y="41"/>
                    </a:lnTo>
                    <a:lnTo>
                      <a:pt x="149" y="45"/>
                    </a:lnTo>
                    <a:lnTo>
                      <a:pt x="154" y="45"/>
                    </a:lnTo>
                    <a:lnTo>
                      <a:pt x="154" y="50"/>
                    </a:lnTo>
                    <a:lnTo>
                      <a:pt x="163" y="54"/>
                    </a:lnTo>
                    <a:lnTo>
                      <a:pt x="167" y="54"/>
                    </a:lnTo>
                    <a:lnTo>
                      <a:pt x="167" y="54"/>
                    </a:lnTo>
                    <a:lnTo>
                      <a:pt x="172" y="54"/>
                    </a:lnTo>
                    <a:lnTo>
                      <a:pt x="172" y="54"/>
                    </a:lnTo>
                    <a:lnTo>
                      <a:pt x="172" y="54"/>
                    </a:lnTo>
                    <a:lnTo>
                      <a:pt x="176" y="54"/>
                    </a:lnTo>
                    <a:lnTo>
                      <a:pt x="176" y="59"/>
                    </a:lnTo>
                    <a:lnTo>
                      <a:pt x="181" y="59"/>
                    </a:lnTo>
                    <a:lnTo>
                      <a:pt x="185" y="63"/>
                    </a:lnTo>
                    <a:lnTo>
                      <a:pt x="185" y="63"/>
                    </a:lnTo>
                    <a:lnTo>
                      <a:pt x="185" y="63"/>
                    </a:lnTo>
                    <a:lnTo>
                      <a:pt x="185" y="68"/>
                    </a:lnTo>
                    <a:lnTo>
                      <a:pt x="185" y="68"/>
                    </a:lnTo>
                    <a:lnTo>
                      <a:pt x="185" y="68"/>
                    </a:lnTo>
                    <a:lnTo>
                      <a:pt x="185" y="68"/>
                    </a:lnTo>
                    <a:lnTo>
                      <a:pt x="185" y="68"/>
                    </a:lnTo>
                    <a:lnTo>
                      <a:pt x="185" y="72"/>
                    </a:lnTo>
                    <a:lnTo>
                      <a:pt x="181" y="72"/>
                    </a:lnTo>
                    <a:lnTo>
                      <a:pt x="181" y="77"/>
                    </a:lnTo>
                    <a:lnTo>
                      <a:pt x="181" y="77"/>
                    </a:lnTo>
                    <a:lnTo>
                      <a:pt x="181" y="77"/>
                    </a:lnTo>
                    <a:lnTo>
                      <a:pt x="181" y="77"/>
                    </a:lnTo>
                    <a:lnTo>
                      <a:pt x="181" y="77"/>
                    </a:lnTo>
                    <a:lnTo>
                      <a:pt x="181" y="81"/>
                    </a:lnTo>
                    <a:lnTo>
                      <a:pt x="181" y="81"/>
                    </a:lnTo>
                    <a:lnTo>
                      <a:pt x="181" y="81"/>
                    </a:lnTo>
                    <a:lnTo>
                      <a:pt x="181" y="81"/>
                    </a:lnTo>
                    <a:lnTo>
                      <a:pt x="181" y="81"/>
                    </a:lnTo>
                    <a:lnTo>
                      <a:pt x="181" y="86"/>
                    </a:lnTo>
                    <a:lnTo>
                      <a:pt x="181" y="86"/>
                    </a:lnTo>
                    <a:lnTo>
                      <a:pt x="181" y="86"/>
                    </a:lnTo>
                    <a:lnTo>
                      <a:pt x="181" y="86"/>
                    </a:lnTo>
                    <a:lnTo>
                      <a:pt x="181" y="90"/>
                    </a:lnTo>
                    <a:lnTo>
                      <a:pt x="181" y="90"/>
                    </a:lnTo>
                    <a:lnTo>
                      <a:pt x="181" y="90"/>
                    </a:lnTo>
                    <a:lnTo>
                      <a:pt x="181" y="90"/>
                    </a:lnTo>
                    <a:lnTo>
                      <a:pt x="181" y="90"/>
                    </a:lnTo>
                    <a:lnTo>
                      <a:pt x="181" y="90"/>
                    </a:lnTo>
                    <a:lnTo>
                      <a:pt x="181" y="95"/>
                    </a:lnTo>
                    <a:lnTo>
                      <a:pt x="176" y="95"/>
                    </a:lnTo>
                    <a:lnTo>
                      <a:pt x="176" y="95"/>
                    </a:lnTo>
                    <a:lnTo>
                      <a:pt x="176" y="95"/>
                    </a:lnTo>
                    <a:lnTo>
                      <a:pt x="176" y="95"/>
                    </a:lnTo>
                    <a:lnTo>
                      <a:pt x="176" y="99"/>
                    </a:lnTo>
                    <a:lnTo>
                      <a:pt x="176" y="99"/>
                    </a:lnTo>
                    <a:lnTo>
                      <a:pt x="176" y="99"/>
                    </a:lnTo>
                    <a:lnTo>
                      <a:pt x="185" y="99"/>
                    </a:lnTo>
                    <a:lnTo>
                      <a:pt x="190" y="99"/>
                    </a:lnTo>
                    <a:lnTo>
                      <a:pt x="199" y="104"/>
                    </a:lnTo>
                    <a:lnTo>
                      <a:pt x="203" y="104"/>
                    </a:lnTo>
                    <a:lnTo>
                      <a:pt x="203" y="104"/>
                    </a:lnTo>
                    <a:lnTo>
                      <a:pt x="208" y="104"/>
                    </a:lnTo>
                    <a:lnTo>
                      <a:pt x="208" y="104"/>
                    </a:lnTo>
                    <a:lnTo>
                      <a:pt x="208" y="104"/>
                    </a:lnTo>
                    <a:lnTo>
                      <a:pt x="212" y="104"/>
                    </a:lnTo>
                    <a:lnTo>
                      <a:pt x="212" y="104"/>
                    </a:lnTo>
                    <a:lnTo>
                      <a:pt x="212" y="104"/>
                    </a:lnTo>
                    <a:lnTo>
                      <a:pt x="212" y="104"/>
                    </a:lnTo>
                    <a:lnTo>
                      <a:pt x="217" y="104"/>
                    </a:lnTo>
                    <a:lnTo>
                      <a:pt x="217" y="99"/>
                    </a:lnTo>
                    <a:lnTo>
                      <a:pt x="217" y="99"/>
                    </a:lnTo>
                    <a:lnTo>
                      <a:pt x="217" y="99"/>
                    </a:lnTo>
                    <a:lnTo>
                      <a:pt x="221" y="99"/>
                    </a:lnTo>
                    <a:lnTo>
                      <a:pt x="221" y="99"/>
                    </a:lnTo>
                    <a:lnTo>
                      <a:pt x="221" y="99"/>
                    </a:lnTo>
                    <a:lnTo>
                      <a:pt x="226" y="99"/>
                    </a:lnTo>
                    <a:lnTo>
                      <a:pt x="226" y="99"/>
                    </a:lnTo>
                    <a:lnTo>
                      <a:pt x="226" y="99"/>
                    </a:lnTo>
                    <a:lnTo>
                      <a:pt x="226" y="99"/>
                    </a:lnTo>
                    <a:lnTo>
                      <a:pt x="226" y="95"/>
                    </a:lnTo>
                    <a:lnTo>
                      <a:pt x="226" y="95"/>
                    </a:lnTo>
                    <a:lnTo>
                      <a:pt x="226" y="95"/>
                    </a:lnTo>
                    <a:lnTo>
                      <a:pt x="226" y="95"/>
                    </a:lnTo>
                    <a:lnTo>
                      <a:pt x="230" y="95"/>
                    </a:lnTo>
                    <a:lnTo>
                      <a:pt x="230" y="90"/>
                    </a:lnTo>
                    <a:lnTo>
                      <a:pt x="230" y="90"/>
                    </a:lnTo>
                    <a:lnTo>
                      <a:pt x="230" y="90"/>
                    </a:lnTo>
                    <a:lnTo>
                      <a:pt x="235" y="90"/>
                    </a:lnTo>
                    <a:lnTo>
                      <a:pt x="235" y="90"/>
                    </a:lnTo>
                    <a:lnTo>
                      <a:pt x="235" y="90"/>
                    </a:lnTo>
                    <a:lnTo>
                      <a:pt x="235" y="86"/>
                    </a:lnTo>
                    <a:lnTo>
                      <a:pt x="235" y="86"/>
                    </a:lnTo>
                    <a:lnTo>
                      <a:pt x="235" y="86"/>
                    </a:lnTo>
                    <a:lnTo>
                      <a:pt x="235" y="86"/>
                    </a:lnTo>
                    <a:lnTo>
                      <a:pt x="239" y="81"/>
                    </a:lnTo>
                    <a:lnTo>
                      <a:pt x="235" y="72"/>
                    </a:lnTo>
                    <a:lnTo>
                      <a:pt x="235" y="68"/>
                    </a:lnTo>
                    <a:lnTo>
                      <a:pt x="235" y="68"/>
                    </a:lnTo>
                    <a:lnTo>
                      <a:pt x="239" y="68"/>
                    </a:lnTo>
                    <a:lnTo>
                      <a:pt x="239" y="68"/>
                    </a:lnTo>
                    <a:lnTo>
                      <a:pt x="239" y="68"/>
                    </a:lnTo>
                    <a:lnTo>
                      <a:pt x="239" y="68"/>
                    </a:lnTo>
                    <a:lnTo>
                      <a:pt x="239" y="68"/>
                    </a:lnTo>
                    <a:lnTo>
                      <a:pt x="244" y="63"/>
                    </a:lnTo>
                    <a:lnTo>
                      <a:pt x="244" y="63"/>
                    </a:lnTo>
                    <a:lnTo>
                      <a:pt x="244" y="63"/>
                    </a:lnTo>
                    <a:lnTo>
                      <a:pt x="244" y="68"/>
                    </a:lnTo>
                    <a:lnTo>
                      <a:pt x="244" y="68"/>
                    </a:lnTo>
                    <a:lnTo>
                      <a:pt x="248" y="68"/>
                    </a:lnTo>
                    <a:lnTo>
                      <a:pt x="248" y="68"/>
                    </a:lnTo>
                    <a:lnTo>
                      <a:pt x="248" y="68"/>
                    </a:lnTo>
                    <a:lnTo>
                      <a:pt x="248" y="72"/>
                    </a:lnTo>
                    <a:lnTo>
                      <a:pt x="253" y="77"/>
                    </a:lnTo>
                    <a:lnTo>
                      <a:pt x="253" y="77"/>
                    </a:lnTo>
                    <a:lnTo>
                      <a:pt x="253" y="81"/>
                    </a:lnTo>
                    <a:lnTo>
                      <a:pt x="253" y="81"/>
                    </a:lnTo>
                    <a:lnTo>
                      <a:pt x="253" y="81"/>
                    </a:lnTo>
                    <a:lnTo>
                      <a:pt x="253" y="86"/>
                    </a:lnTo>
                    <a:lnTo>
                      <a:pt x="253" y="86"/>
                    </a:lnTo>
                    <a:lnTo>
                      <a:pt x="253" y="90"/>
                    </a:lnTo>
                    <a:lnTo>
                      <a:pt x="258" y="90"/>
                    </a:lnTo>
                    <a:lnTo>
                      <a:pt x="258" y="90"/>
                    </a:lnTo>
                    <a:lnTo>
                      <a:pt x="253" y="95"/>
                    </a:lnTo>
                    <a:lnTo>
                      <a:pt x="253" y="95"/>
                    </a:lnTo>
                    <a:lnTo>
                      <a:pt x="253" y="95"/>
                    </a:lnTo>
                    <a:lnTo>
                      <a:pt x="253" y="99"/>
                    </a:lnTo>
                    <a:lnTo>
                      <a:pt x="248" y="99"/>
                    </a:lnTo>
                    <a:lnTo>
                      <a:pt x="248" y="99"/>
                    </a:lnTo>
                    <a:lnTo>
                      <a:pt x="248" y="99"/>
                    </a:lnTo>
                    <a:lnTo>
                      <a:pt x="248" y="99"/>
                    </a:lnTo>
                    <a:lnTo>
                      <a:pt x="248" y="99"/>
                    </a:lnTo>
                    <a:lnTo>
                      <a:pt x="244" y="99"/>
                    </a:lnTo>
                    <a:lnTo>
                      <a:pt x="244" y="104"/>
                    </a:lnTo>
                    <a:lnTo>
                      <a:pt x="244" y="104"/>
                    </a:lnTo>
                    <a:lnTo>
                      <a:pt x="244" y="104"/>
                    </a:lnTo>
                    <a:lnTo>
                      <a:pt x="244" y="104"/>
                    </a:lnTo>
                    <a:lnTo>
                      <a:pt x="239" y="104"/>
                    </a:lnTo>
                    <a:lnTo>
                      <a:pt x="239" y="104"/>
                    </a:lnTo>
                    <a:lnTo>
                      <a:pt x="239" y="104"/>
                    </a:lnTo>
                    <a:lnTo>
                      <a:pt x="239" y="104"/>
                    </a:lnTo>
                    <a:lnTo>
                      <a:pt x="239" y="104"/>
                    </a:lnTo>
                    <a:lnTo>
                      <a:pt x="239" y="108"/>
                    </a:lnTo>
                    <a:lnTo>
                      <a:pt x="239" y="108"/>
                    </a:lnTo>
                    <a:lnTo>
                      <a:pt x="239" y="108"/>
                    </a:lnTo>
                    <a:lnTo>
                      <a:pt x="235" y="108"/>
                    </a:lnTo>
                    <a:lnTo>
                      <a:pt x="239" y="108"/>
                    </a:lnTo>
                    <a:lnTo>
                      <a:pt x="235" y="108"/>
                    </a:lnTo>
                    <a:lnTo>
                      <a:pt x="235" y="108"/>
                    </a:lnTo>
                    <a:lnTo>
                      <a:pt x="235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26" y="118"/>
                    </a:lnTo>
                    <a:lnTo>
                      <a:pt x="226" y="118"/>
                    </a:lnTo>
                    <a:lnTo>
                      <a:pt x="230" y="118"/>
                    </a:lnTo>
                    <a:lnTo>
                      <a:pt x="230" y="118"/>
                    </a:lnTo>
                    <a:lnTo>
                      <a:pt x="230" y="122"/>
                    </a:lnTo>
                    <a:lnTo>
                      <a:pt x="230" y="122"/>
                    </a:lnTo>
                    <a:lnTo>
                      <a:pt x="226" y="122"/>
                    </a:lnTo>
                    <a:lnTo>
                      <a:pt x="226" y="118"/>
                    </a:lnTo>
                    <a:lnTo>
                      <a:pt x="226" y="122"/>
                    </a:lnTo>
                    <a:lnTo>
                      <a:pt x="226" y="122"/>
                    </a:lnTo>
                    <a:lnTo>
                      <a:pt x="226" y="122"/>
                    </a:lnTo>
                    <a:lnTo>
                      <a:pt x="226" y="122"/>
                    </a:lnTo>
                    <a:lnTo>
                      <a:pt x="226" y="122"/>
                    </a:lnTo>
                    <a:lnTo>
                      <a:pt x="226" y="122"/>
                    </a:lnTo>
                    <a:lnTo>
                      <a:pt x="226" y="122"/>
                    </a:lnTo>
                    <a:lnTo>
                      <a:pt x="221" y="127"/>
                    </a:lnTo>
                    <a:lnTo>
                      <a:pt x="221" y="127"/>
                    </a:lnTo>
                    <a:lnTo>
                      <a:pt x="221" y="131"/>
                    </a:lnTo>
                    <a:lnTo>
                      <a:pt x="221" y="131"/>
                    </a:lnTo>
                    <a:lnTo>
                      <a:pt x="221" y="136"/>
                    </a:lnTo>
                    <a:lnTo>
                      <a:pt x="217" y="136"/>
                    </a:lnTo>
                    <a:lnTo>
                      <a:pt x="217" y="136"/>
                    </a:lnTo>
                    <a:lnTo>
                      <a:pt x="217" y="140"/>
                    </a:lnTo>
                    <a:lnTo>
                      <a:pt x="217" y="140"/>
                    </a:lnTo>
                    <a:lnTo>
                      <a:pt x="212" y="145"/>
                    </a:lnTo>
                    <a:lnTo>
                      <a:pt x="212" y="145"/>
                    </a:lnTo>
                    <a:lnTo>
                      <a:pt x="212" y="149"/>
                    </a:lnTo>
                    <a:lnTo>
                      <a:pt x="208" y="149"/>
                    </a:lnTo>
                    <a:lnTo>
                      <a:pt x="208" y="149"/>
                    </a:lnTo>
                    <a:lnTo>
                      <a:pt x="208" y="154"/>
                    </a:lnTo>
                    <a:lnTo>
                      <a:pt x="208" y="154"/>
                    </a:lnTo>
                    <a:lnTo>
                      <a:pt x="208" y="154"/>
                    </a:lnTo>
                    <a:lnTo>
                      <a:pt x="208" y="158"/>
                    </a:lnTo>
                    <a:lnTo>
                      <a:pt x="208" y="158"/>
                    </a:lnTo>
                    <a:lnTo>
                      <a:pt x="203" y="158"/>
                    </a:lnTo>
                    <a:lnTo>
                      <a:pt x="203" y="163"/>
                    </a:lnTo>
                    <a:lnTo>
                      <a:pt x="203" y="163"/>
                    </a:lnTo>
                    <a:lnTo>
                      <a:pt x="203" y="167"/>
                    </a:lnTo>
                    <a:lnTo>
                      <a:pt x="208" y="167"/>
                    </a:lnTo>
                    <a:lnTo>
                      <a:pt x="208" y="172"/>
                    </a:lnTo>
                    <a:lnTo>
                      <a:pt x="203" y="172"/>
                    </a:lnTo>
                    <a:lnTo>
                      <a:pt x="203" y="172"/>
                    </a:lnTo>
                    <a:lnTo>
                      <a:pt x="208" y="172"/>
                    </a:lnTo>
                    <a:lnTo>
                      <a:pt x="208" y="172"/>
                    </a:lnTo>
                    <a:lnTo>
                      <a:pt x="208" y="176"/>
                    </a:lnTo>
                    <a:lnTo>
                      <a:pt x="208" y="176"/>
                    </a:lnTo>
                    <a:lnTo>
                      <a:pt x="203" y="181"/>
                    </a:lnTo>
                    <a:lnTo>
                      <a:pt x="203" y="181"/>
                    </a:lnTo>
                    <a:lnTo>
                      <a:pt x="208" y="181"/>
                    </a:lnTo>
                    <a:lnTo>
                      <a:pt x="208" y="181"/>
                    </a:lnTo>
                    <a:lnTo>
                      <a:pt x="208" y="185"/>
                    </a:lnTo>
                    <a:lnTo>
                      <a:pt x="208" y="185"/>
                    </a:lnTo>
                    <a:lnTo>
                      <a:pt x="208" y="185"/>
                    </a:lnTo>
                    <a:lnTo>
                      <a:pt x="208" y="185"/>
                    </a:lnTo>
                    <a:lnTo>
                      <a:pt x="203" y="190"/>
                    </a:lnTo>
                    <a:lnTo>
                      <a:pt x="203" y="190"/>
                    </a:lnTo>
                    <a:lnTo>
                      <a:pt x="208" y="190"/>
                    </a:lnTo>
                    <a:lnTo>
                      <a:pt x="208" y="190"/>
                    </a:lnTo>
                    <a:lnTo>
                      <a:pt x="208" y="194"/>
                    </a:lnTo>
                    <a:lnTo>
                      <a:pt x="208" y="194"/>
                    </a:lnTo>
                    <a:lnTo>
                      <a:pt x="208" y="194"/>
                    </a:lnTo>
                    <a:lnTo>
                      <a:pt x="208" y="199"/>
                    </a:lnTo>
                    <a:lnTo>
                      <a:pt x="208" y="199"/>
                    </a:lnTo>
                    <a:lnTo>
                      <a:pt x="208" y="203"/>
                    </a:lnTo>
                    <a:lnTo>
                      <a:pt x="212" y="208"/>
                    </a:lnTo>
                    <a:lnTo>
                      <a:pt x="212" y="212"/>
                    </a:lnTo>
                    <a:lnTo>
                      <a:pt x="212" y="212"/>
                    </a:lnTo>
                    <a:lnTo>
                      <a:pt x="208" y="212"/>
                    </a:lnTo>
                    <a:lnTo>
                      <a:pt x="208" y="212"/>
                    </a:lnTo>
                    <a:lnTo>
                      <a:pt x="208" y="212"/>
                    </a:lnTo>
                    <a:lnTo>
                      <a:pt x="208" y="217"/>
                    </a:lnTo>
                    <a:lnTo>
                      <a:pt x="208" y="222"/>
                    </a:lnTo>
                    <a:lnTo>
                      <a:pt x="208" y="226"/>
                    </a:lnTo>
                    <a:lnTo>
                      <a:pt x="212" y="226"/>
                    </a:lnTo>
                    <a:lnTo>
                      <a:pt x="212" y="231"/>
                    </a:lnTo>
                    <a:lnTo>
                      <a:pt x="212" y="231"/>
                    </a:lnTo>
                    <a:lnTo>
                      <a:pt x="212" y="235"/>
                    </a:lnTo>
                    <a:lnTo>
                      <a:pt x="212" y="235"/>
                    </a:lnTo>
                    <a:lnTo>
                      <a:pt x="212" y="235"/>
                    </a:lnTo>
                    <a:lnTo>
                      <a:pt x="212" y="235"/>
                    </a:lnTo>
                    <a:lnTo>
                      <a:pt x="212" y="240"/>
                    </a:lnTo>
                    <a:lnTo>
                      <a:pt x="217" y="240"/>
                    </a:lnTo>
                    <a:lnTo>
                      <a:pt x="217" y="244"/>
                    </a:lnTo>
                    <a:lnTo>
                      <a:pt x="226" y="244"/>
                    </a:lnTo>
                    <a:lnTo>
                      <a:pt x="230" y="249"/>
                    </a:lnTo>
                    <a:lnTo>
                      <a:pt x="235" y="253"/>
                    </a:lnTo>
                    <a:lnTo>
                      <a:pt x="239" y="253"/>
                    </a:lnTo>
                    <a:lnTo>
                      <a:pt x="239" y="258"/>
                    </a:lnTo>
                    <a:lnTo>
                      <a:pt x="239" y="262"/>
                    </a:lnTo>
                    <a:lnTo>
                      <a:pt x="239" y="267"/>
                    </a:lnTo>
                    <a:lnTo>
                      <a:pt x="239" y="267"/>
                    </a:lnTo>
                    <a:lnTo>
                      <a:pt x="244" y="271"/>
                    </a:lnTo>
                    <a:lnTo>
                      <a:pt x="248" y="271"/>
                    </a:lnTo>
                    <a:lnTo>
                      <a:pt x="248" y="276"/>
                    </a:lnTo>
                    <a:lnTo>
                      <a:pt x="253" y="271"/>
                    </a:lnTo>
                    <a:lnTo>
                      <a:pt x="253" y="276"/>
                    </a:lnTo>
                    <a:lnTo>
                      <a:pt x="253" y="276"/>
                    </a:lnTo>
                    <a:lnTo>
                      <a:pt x="258" y="280"/>
                    </a:lnTo>
                    <a:lnTo>
                      <a:pt x="258" y="285"/>
                    </a:lnTo>
                    <a:lnTo>
                      <a:pt x="258" y="285"/>
                    </a:lnTo>
                    <a:lnTo>
                      <a:pt x="253" y="294"/>
                    </a:lnTo>
                    <a:lnTo>
                      <a:pt x="248" y="298"/>
                    </a:lnTo>
                    <a:lnTo>
                      <a:pt x="248" y="303"/>
                    </a:lnTo>
                    <a:lnTo>
                      <a:pt x="248" y="307"/>
                    </a:lnTo>
                    <a:lnTo>
                      <a:pt x="248" y="307"/>
                    </a:lnTo>
                    <a:lnTo>
                      <a:pt x="244" y="312"/>
                    </a:lnTo>
                    <a:lnTo>
                      <a:pt x="230" y="321"/>
                    </a:lnTo>
                    <a:lnTo>
                      <a:pt x="221" y="321"/>
                    </a:lnTo>
                    <a:lnTo>
                      <a:pt x="221" y="321"/>
                    </a:lnTo>
                    <a:lnTo>
                      <a:pt x="203" y="326"/>
                    </a:lnTo>
                    <a:lnTo>
                      <a:pt x="199" y="326"/>
                    </a:lnTo>
                    <a:lnTo>
                      <a:pt x="194" y="326"/>
                    </a:lnTo>
                    <a:lnTo>
                      <a:pt x="194" y="326"/>
                    </a:lnTo>
                    <a:lnTo>
                      <a:pt x="190" y="326"/>
                    </a:lnTo>
                    <a:lnTo>
                      <a:pt x="185" y="326"/>
                    </a:lnTo>
                    <a:lnTo>
                      <a:pt x="181" y="326"/>
                    </a:lnTo>
                    <a:lnTo>
                      <a:pt x="181" y="326"/>
                    </a:lnTo>
                    <a:lnTo>
                      <a:pt x="181" y="326"/>
                    </a:lnTo>
                    <a:lnTo>
                      <a:pt x="181" y="326"/>
                    </a:lnTo>
                    <a:lnTo>
                      <a:pt x="181" y="330"/>
                    </a:lnTo>
                    <a:lnTo>
                      <a:pt x="185" y="330"/>
                    </a:lnTo>
                    <a:lnTo>
                      <a:pt x="185" y="335"/>
                    </a:lnTo>
                    <a:lnTo>
                      <a:pt x="185" y="335"/>
                    </a:lnTo>
                    <a:lnTo>
                      <a:pt x="190" y="335"/>
                    </a:lnTo>
                    <a:lnTo>
                      <a:pt x="185" y="335"/>
                    </a:lnTo>
                    <a:lnTo>
                      <a:pt x="190" y="335"/>
                    </a:lnTo>
                    <a:lnTo>
                      <a:pt x="190" y="335"/>
                    </a:lnTo>
                    <a:lnTo>
                      <a:pt x="190" y="339"/>
                    </a:lnTo>
                    <a:lnTo>
                      <a:pt x="190" y="344"/>
                    </a:lnTo>
                    <a:lnTo>
                      <a:pt x="190" y="344"/>
                    </a:lnTo>
                    <a:lnTo>
                      <a:pt x="190" y="344"/>
                    </a:lnTo>
                    <a:lnTo>
                      <a:pt x="190" y="344"/>
                    </a:lnTo>
                    <a:lnTo>
                      <a:pt x="190" y="353"/>
                    </a:lnTo>
                    <a:lnTo>
                      <a:pt x="190" y="353"/>
                    </a:lnTo>
                    <a:lnTo>
                      <a:pt x="190" y="357"/>
                    </a:lnTo>
                    <a:lnTo>
                      <a:pt x="194" y="362"/>
                    </a:lnTo>
                    <a:lnTo>
                      <a:pt x="194" y="362"/>
                    </a:lnTo>
                    <a:lnTo>
                      <a:pt x="194" y="362"/>
                    </a:lnTo>
                    <a:lnTo>
                      <a:pt x="190" y="366"/>
                    </a:lnTo>
                    <a:lnTo>
                      <a:pt x="185" y="366"/>
                    </a:lnTo>
                    <a:lnTo>
                      <a:pt x="185" y="371"/>
                    </a:lnTo>
                    <a:lnTo>
                      <a:pt x="176" y="371"/>
                    </a:lnTo>
                    <a:lnTo>
                      <a:pt x="176" y="371"/>
                    </a:lnTo>
                    <a:lnTo>
                      <a:pt x="167" y="366"/>
                    </a:lnTo>
                    <a:lnTo>
                      <a:pt x="163" y="366"/>
                    </a:lnTo>
                    <a:lnTo>
                      <a:pt x="158" y="366"/>
                    </a:lnTo>
                    <a:lnTo>
                      <a:pt x="154" y="362"/>
                    </a:lnTo>
                    <a:lnTo>
                      <a:pt x="154" y="362"/>
                    </a:lnTo>
                    <a:lnTo>
                      <a:pt x="154" y="362"/>
                    </a:lnTo>
                    <a:lnTo>
                      <a:pt x="154" y="362"/>
                    </a:lnTo>
                    <a:lnTo>
                      <a:pt x="154" y="362"/>
                    </a:lnTo>
                    <a:lnTo>
                      <a:pt x="154" y="362"/>
                    </a:lnTo>
                    <a:lnTo>
                      <a:pt x="154" y="366"/>
                    </a:lnTo>
                    <a:lnTo>
                      <a:pt x="154" y="366"/>
                    </a:lnTo>
                    <a:lnTo>
                      <a:pt x="154" y="371"/>
                    </a:lnTo>
                    <a:lnTo>
                      <a:pt x="154" y="371"/>
                    </a:lnTo>
                    <a:lnTo>
                      <a:pt x="158" y="380"/>
                    </a:lnTo>
                    <a:lnTo>
                      <a:pt x="158" y="380"/>
                    </a:lnTo>
                    <a:lnTo>
                      <a:pt x="163" y="384"/>
                    </a:lnTo>
                    <a:lnTo>
                      <a:pt x="163" y="389"/>
                    </a:lnTo>
                    <a:lnTo>
                      <a:pt x="167" y="389"/>
                    </a:lnTo>
                    <a:lnTo>
                      <a:pt x="167" y="389"/>
                    </a:lnTo>
                    <a:lnTo>
                      <a:pt x="172" y="393"/>
                    </a:lnTo>
                    <a:lnTo>
                      <a:pt x="172" y="393"/>
                    </a:lnTo>
                    <a:lnTo>
                      <a:pt x="172" y="393"/>
                    </a:lnTo>
                    <a:lnTo>
                      <a:pt x="172" y="393"/>
                    </a:lnTo>
                    <a:lnTo>
                      <a:pt x="172" y="393"/>
                    </a:lnTo>
                    <a:lnTo>
                      <a:pt x="172" y="393"/>
                    </a:lnTo>
                    <a:lnTo>
                      <a:pt x="176" y="393"/>
                    </a:lnTo>
                    <a:lnTo>
                      <a:pt x="176" y="393"/>
                    </a:lnTo>
                    <a:lnTo>
                      <a:pt x="181" y="393"/>
                    </a:lnTo>
                    <a:lnTo>
                      <a:pt x="181" y="393"/>
                    </a:lnTo>
                    <a:lnTo>
                      <a:pt x="176" y="389"/>
                    </a:lnTo>
                    <a:lnTo>
                      <a:pt x="176" y="389"/>
                    </a:lnTo>
                    <a:lnTo>
                      <a:pt x="176" y="389"/>
                    </a:lnTo>
                    <a:lnTo>
                      <a:pt x="176" y="389"/>
                    </a:lnTo>
                    <a:lnTo>
                      <a:pt x="181" y="389"/>
                    </a:lnTo>
                    <a:lnTo>
                      <a:pt x="181" y="389"/>
                    </a:lnTo>
                    <a:lnTo>
                      <a:pt x="181" y="389"/>
                    </a:lnTo>
                    <a:lnTo>
                      <a:pt x="185" y="389"/>
                    </a:lnTo>
                    <a:lnTo>
                      <a:pt x="185" y="393"/>
                    </a:lnTo>
                    <a:lnTo>
                      <a:pt x="185" y="393"/>
                    </a:lnTo>
                    <a:lnTo>
                      <a:pt x="190" y="398"/>
                    </a:lnTo>
                    <a:lnTo>
                      <a:pt x="190" y="398"/>
                    </a:lnTo>
                    <a:lnTo>
                      <a:pt x="190" y="398"/>
                    </a:lnTo>
                    <a:lnTo>
                      <a:pt x="190" y="402"/>
                    </a:lnTo>
                    <a:lnTo>
                      <a:pt x="185" y="402"/>
                    </a:lnTo>
                    <a:lnTo>
                      <a:pt x="181" y="402"/>
                    </a:lnTo>
                    <a:lnTo>
                      <a:pt x="181" y="402"/>
                    </a:lnTo>
                    <a:lnTo>
                      <a:pt x="181" y="398"/>
                    </a:lnTo>
                    <a:lnTo>
                      <a:pt x="176" y="398"/>
                    </a:lnTo>
                    <a:lnTo>
                      <a:pt x="172" y="398"/>
                    </a:lnTo>
                    <a:lnTo>
                      <a:pt x="172" y="398"/>
                    </a:lnTo>
                    <a:lnTo>
                      <a:pt x="172" y="398"/>
                    </a:lnTo>
                    <a:lnTo>
                      <a:pt x="167" y="398"/>
                    </a:lnTo>
                    <a:lnTo>
                      <a:pt x="167" y="402"/>
                    </a:lnTo>
                    <a:lnTo>
                      <a:pt x="176" y="402"/>
                    </a:lnTo>
                    <a:lnTo>
                      <a:pt x="176" y="402"/>
                    </a:lnTo>
                    <a:lnTo>
                      <a:pt x="181" y="402"/>
                    </a:lnTo>
                    <a:lnTo>
                      <a:pt x="181" y="407"/>
                    </a:lnTo>
                    <a:lnTo>
                      <a:pt x="181" y="407"/>
                    </a:lnTo>
                    <a:lnTo>
                      <a:pt x="181" y="407"/>
                    </a:lnTo>
                    <a:lnTo>
                      <a:pt x="176" y="407"/>
                    </a:lnTo>
                    <a:lnTo>
                      <a:pt x="172" y="411"/>
                    </a:lnTo>
                    <a:lnTo>
                      <a:pt x="172" y="411"/>
                    </a:lnTo>
                    <a:lnTo>
                      <a:pt x="172" y="416"/>
                    </a:lnTo>
                    <a:lnTo>
                      <a:pt x="172" y="416"/>
                    </a:lnTo>
                    <a:lnTo>
                      <a:pt x="172" y="416"/>
                    </a:lnTo>
                    <a:lnTo>
                      <a:pt x="172" y="420"/>
                    </a:lnTo>
                    <a:lnTo>
                      <a:pt x="176" y="425"/>
                    </a:lnTo>
                    <a:lnTo>
                      <a:pt x="176" y="429"/>
                    </a:lnTo>
                    <a:lnTo>
                      <a:pt x="176" y="429"/>
                    </a:lnTo>
                    <a:lnTo>
                      <a:pt x="176" y="434"/>
                    </a:lnTo>
                    <a:lnTo>
                      <a:pt x="176" y="434"/>
                    </a:lnTo>
                    <a:lnTo>
                      <a:pt x="172" y="439"/>
                    </a:lnTo>
                    <a:lnTo>
                      <a:pt x="176" y="439"/>
                    </a:lnTo>
                    <a:lnTo>
                      <a:pt x="176" y="443"/>
                    </a:lnTo>
                    <a:lnTo>
                      <a:pt x="176" y="443"/>
                    </a:lnTo>
                    <a:lnTo>
                      <a:pt x="176" y="443"/>
                    </a:lnTo>
                    <a:lnTo>
                      <a:pt x="176" y="443"/>
                    </a:lnTo>
                    <a:lnTo>
                      <a:pt x="167" y="443"/>
                    </a:lnTo>
                    <a:lnTo>
                      <a:pt x="167" y="448"/>
                    </a:lnTo>
                    <a:lnTo>
                      <a:pt x="163" y="448"/>
                    </a:lnTo>
                    <a:lnTo>
                      <a:pt x="163" y="448"/>
                    </a:lnTo>
                    <a:lnTo>
                      <a:pt x="163" y="448"/>
                    </a:lnTo>
                    <a:lnTo>
                      <a:pt x="158" y="448"/>
                    </a:lnTo>
                    <a:lnTo>
                      <a:pt x="158" y="452"/>
                    </a:lnTo>
                    <a:lnTo>
                      <a:pt x="158" y="457"/>
                    </a:lnTo>
                    <a:lnTo>
                      <a:pt x="158" y="461"/>
                    </a:lnTo>
                    <a:lnTo>
                      <a:pt x="158" y="466"/>
                    </a:lnTo>
                    <a:lnTo>
                      <a:pt x="158" y="466"/>
                    </a:lnTo>
                    <a:lnTo>
                      <a:pt x="158" y="470"/>
                    </a:lnTo>
                    <a:lnTo>
                      <a:pt x="158" y="470"/>
                    </a:lnTo>
                    <a:lnTo>
                      <a:pt x="158" y="470"/>
                    </a:lnTo>
                    <a:lnTo>
                      <a:pt x="163" y="475"/>
                    </a:lnTo>
                    <a:lnTo>
                      <a:pt x="163" y="475"/>
                    </a:lnTo>
                    <a:lnTo>
                      <a:pt x="176" y="484"/>
                    </a:lnTo>
                    <a:lnTo>
                      <a:pt x="181" y="484"/>
                    </a:lnTo>
                    <a:lnTo>
                      <a:pt x="190" y="484"/>
                    </a:lnTo>
                    <a:lnTo>
                      <a:pt x="190" y="484"/>
                    </a:lnTo>
                    <a:lnTo>
                      <a:pt x="194" y="488"/>
                    </a:lnTo>
                    <a:lnTo>
                      <a:pt x="194" y="488"/>
                    </a:lnTo>
                    <a:lnTo>
                      <a:pt x="199" y="493"/>
                    </a:lnTo>
                    <a:lnTo>
                      <a:pt x="199" y="493"/>
                    </a:lnTo>
                    <a:lnTo>
                      <a:pt x="194" y="497"/>
                    </a:lnTo>
                    <a:lnTo>
                      <a:pt x="194" y="497"/>
                    </a:lnTo>
                    <a:lnTo>
                      <a:pt x="194" y="497"/>
                    </a:lnTo>
                    <a:lnTo>
                      <a:pt x="194" y="497"/>
                    </a:lnTo>
                    <a:lnTo>
                      <a:pt x="194" y="497"/>
                    </a:lnTo>
                    <a:lnTo>
                      <a:pt x="199" y="497"/>
                    </a:lnTo>
                    <a:lnTo>
                      <a:pt x="199" y="497"/>
                    </a:lnTo>
                    <a:lnTo>
                      <a:pt x="199" y="502"/>
                    </a:lnTo>
                    <a:lnTo>
                      <a:pt x="199" y="502"/>
                    </a:lnTo>
                    <a:lnTo>
                      <a:pt x="199" y="502"/>
                    </a:lnTo>
                    <a:lnTo>
                      <a:pt x="199" y="502"/>
                    </a:lnTo>
                    <a:lnTo>
                      <a:pt x="194" y="506"/>
                    </a:lnTo>
                    <a:lnTo>
                      <a:pt x="194" y="511"/>
                    </a:lnTo>
                    <a:lnTo>
                      <a:pt x="190" y="511"/>
                    </a:lnTo>
                    <a:lnTo>
                      <a:pt x="190" y="515"/>
                    </a:lnTo>
                    <a:lnTo>
                      <a:pt x="185" y="515"/>
                    </a:lnTo>
                    <a:lnTo>
                      <a:pt x="185" y="520"/>
                    </a:lnTo>
                    <a:lnTo>
                      <a:pt x="185" y="520"/>
                    </a:lnTo>
                    <a:lnTo>
                      <a:pt x="185" y="524"/>
                    </a:lnTo>
                    <a:lnTo>
                      <a:pt x="185" y="529"/>
                    </a:lnTo>
                    <a:lnTo>
                      <a:pt x="185" y="529"/>
                    </a:lnTo>
                    <a:lnTo>
                      <a:pt x="190" y="538"/>
                    </a:lnTo>
                    <a:lnTo>
                      <a:pt x="190" y="538"/>
                    </a:lnTo>
                    <a:lnTo>
                      <a:pt x="190" y="543"/>
                    </a:lnTo>
                    <a:lnTo>
                      <a:pt x="185" y="543"/>
                    </a:lnTo>
                    <a:lnTo>
                      <a:pt x="185" y="543"/>
                    </a:lnTo>
                    <a:lnTo>
                      <a:pt x="181" y="543"/>
                    </a:lnTo>
                    <a:lnTo>
                      <a:pt x="181" y="543"/>
                    </a:lnTo>
                    <a:lnTo>
                      <a:pt x="176" y="538"/>
                    </a:lnTo>
                    <a:lnTo>
                      <a:pt x="176" y="538"/>
                    </a:lnTo>
                    <a:lnTo>
                      <a:pt x="176" y="538"/>
                    </a:lnTo>
                    <a:lnTo>
                      <a:pt x="176" y="538"/>
                    </a:lnTo>
                    <a:lnTo>
                      <a:pt x="176" y="543"/>
                    </a:lnTo>
                    <a:lnTo>
                      <a:pt x="176" y="543"/>
                    </a:lnTo>
                    <a:lnTo>
                      <a:pt x="172" y="543"/>
                    </a:lnTo>
                    <a:lnTo>
                      <a:pt x="176" y="543"/>
                    </a:lnTo>
                    <a:lnTo>
                      <a:pt x="181" y="543"/>
                    </a:lnTo>
                    <a:lnTo>
                      <a:pt x="181" y="543"/>
                    </a:lnTo>
                    <a:lnTo>
                      <a:pt x="181" y="543"/>
                    </a:lnTo>
                    <a:lnTo>
                      <a:pt x="185" y="543"/>
                    </a:lnTo>
                    <a:lnTo>
                      <a:pt x="181" y="547"/>
                    </a:lnTo>
                    <a:lnTo>
                      <a:pt x="181" y="547"/>
                    </a:lnTo>
                    <a:lnTo>
                      <a:pt x="181" y="547"/>
                    </a:lnTo>
                    <a:lnTo>
                      <a:pt x="176" y="547"/>
                    </a:lnTo>
                    <a:lnTo>
                      <a:pt x="176" y="552"/>
                    </a:lnTo>
                    <a:lnTo>
                      <a:pt x="176" y="552"/>
                    </a:lnTo>
                    <a:lnTo>
                      <a:pt x="181" y="556"/>
                    </a:lnTo>
                    <a:lnTo>
                      <a:pt x="181" y="561"/>
                    </a:lnTo>
                    <a:lnTo>
                      <a:pt x="181" y="561"/>
                    </a:lnTo>
                    <a:lnTo>
                      <a:pt x="181" y="561"/>
                    </a:lnTo>
                    <a:lnTo>
                      <a:pt x="181" y="561"/>
                    </a:lnTo>
                    <a:lnTo>
                      <a:pt x="181" y="561"/>
                    </a:lnTo>
                    <a:lnTo>
                      <a:pt x="181" y="561"/>
                    </a:lnTo>
                    <a:lnTo>
                      <a:pt x="181" y="561"/>
                    </a:lnTo>
                    <a:lnTo>
                      <a:pt x="185" y="565"/>
                    </a:lnTo>
                    <a:lnTo>
                      <a:pt x="185" y="570"/>
                    </a:lnTo>
                    <a:lnTo>
                      <a:pt x="190" y="570"/>
                    </a:lnTo>
                    <a:lnTo>
                      <a:pt x="190" y="570"/>
                    </a:lnTo>
                    <a:lnTo>
                      <a:pt x="185" y="570"/>
                    </a:lnTo>
                    <a:lnTo>
                      <a:pt x="185" y="570"/>
                    </a:lnTo>
                    <a:lnTo>
                      <a:pt x="181" y="574"/>
                    </a:lnTo>
                    <a:lnTo>
                      <a:pt x="185" y="574"/>
                    </a:lnTo>
                    <a:lnTo>
                      <a:pt x="185" y="574"/>
                    </a:lnTo>
                    <a:lnTo>
                      <a:pt x="190" y="574"/>
                    </a:lnTo>
                    <a:lnTo>
                      <a:pt x="190" y="574"/>
                    </a:lnTo>
                    <a:lnTo>
                      <a:pt x="190" y="574"/>
                    </a:lnTo>
                    <a:lnTo>
                      <a:pt x="190" y="574"/>
                    </a:lnTo>
                    <a:lnTo>
                      <a:pt x="199" y="579"/>
                    </a:lnTo>
                    <a:lnTo>
                      <a:pt x="203" y="583"/>
                    </a:lnTo>
                    <a:lnTo>
                      <a:pt x="203" y="583"/>
                    </a:lnTo>
                    <a:lnTo>
                      <a:pt x="203" y="588"/>
                    </a:lnTo>
                    <a:lnTo>
                      <a:pt x="203" y="583"/>
                    </a:lnTo>
                    <a:lnTo>
                      <a:pt x="203" y="583"/>
                    </a:lnTo>
                    <a:lnTo>
                      <a:pt x="199" y="583"/>
                    </a:lnTo>
                    <a:lnTo>
                      <a:pt x="199" y="583"/>
                    </a:lnTo>
                    <a:lnTo>
                      <a:pt x="194" y="583"/>
                    </a:lnTo>
                    <a:lnTo>
                      <a:pt x="190" y="583"/>
                    </a:lnTo>
                    <a:lnTo>
                      <a:pt x="185" y="583"/>
                    </a:lnTo>
                    <a:lnTo>
                      <a:pt x="181" y="579"/>
                    </a:lnTo>
                    <a:lnTo>
                      <a:pt x="172" y="583"/>
                    </a:lnTo>
                    <a:lnTo>
                      <a:pt x="167" y="583"/>
                    </a:lnTo>
                    <a:lnTo>
                      <a:pt x="158" y="583"/>
                    </a:lnTo>
                    <a:lnTo>
                      <a:pt x="154" y="583"/>
                    </a:lnTo>
                    <a:lnTo>
                      <a:pt x="154" y="583"/>
                    </a:lnTo>
                    <a:lnTo>
                      <a:pt x="154" y="583"/>
                    </a:lnTo>
                    <a:lnTo>
                      <a:pt x="149" y="579"/>
                    </a:lnTo>
                    <a:lnTo>
                      <a:pt x="149" y="579"/>
                    </a:lnTo>
                    <a:lnTo>
                      <a:pt x="149" y="579"/>
                    </a:lnTo>
                    <a:lnTo>
                      <a:pt x="145" y="579"/>
                    </a:lnTo>
                    <a:lnTo>
                      <a:pt x="145" y="574"/>
                    </a:lnTo>
                    <a:lnTo>
                      <a:pt x="140" y="574"/>
                    </a:lnTo>
                    <a:lnTo>
                      <a:pt x="140" y="574"/>
                    </a:lnTo>
                    <a:lnTo>
                      <a:pt x="140" y="570"/>
                    </a:lnTo>
                    <a:lnTo>
                      <a:pt x="140" y="570"/>
                    </a:lnTo>
                    <a:lnTo>
                      <a:pt x="140" y="565"/>
                    </a:lnTo>
                    <a:lnTo>
                      <a:pt x="136" y="565"/>
                    </a:lnTo>
                    <a:lnTo>
                      <a:pt x="136" y="565"/>
                    </a:lnTo>
                    <a:lnTo>
                      <a:pt x="136" y="565"/>
                    </a:lnTo>
                    <a:lnTo>
                      <a:pt x="136" y="561"/>
                    </a:lnTo>
                    <a:lnTo>
                      <a:pt x="136" y="561"/>
                    </a:lnTo>
                    <a:lnTo>
                      <a:pt x="131" y="556"/>
                    </a:lnTo>
                    <a:lnTo>
                      <a:pt x="131" y="556"/>
                    </a:lnTo>
                    <a:lnTo>
                      <a:pt x="131" y="556"/>
                    </a:lnTo>
                    <a:lnTo>
                      <a:pt x="131" y="556"/>
                    </a:lnTo>
                    <a:lnTo>
                      <a:pt x="131" y="556"/>
                    </a:lnTo>
                    <a:lnTo>
                      <a:pt x="127" y="556"/>
                    </a:lnTo>
                    <a:lnTo>
                      <a:pt x="127" y="556"/>
                    </a:lnTo>
                    <a:lnTo>
                      <a:pt x="127" y="556"/>
                    </a:lnTo>
                    <a:lnTo>
                      <a:pt x="122" y="561"/>
                    </a:lnTo>
                    <a:lnTo>
                      <a:pt x="122" y="561"/>
                    </a:lnTo>
                    <a:lnTo>
                      <a:pt x="122" y="556"/>
                    </a:lnTo>
                    <a:lnTo>
                      <a:pt x="122" y="556"/>
                    </a:lnTo>
                    <a:lnTo>
                      <a:pt x="117" y="556"/>
                    </a:lnTo>
                    <a:lnTo>
                      <a:pt x="117" y="556"/>
                    </a:lnTo>
                    <a:lnTo>
                      <a:pt x="117" y="552"/>
                    </a:lnTo>
                    <a:lnTo>
                      <a:pt x="113" y="552"/>
                    </a:lnTo>
                    <a:lnTo>
                      <a:pt x="113" y="547"/>
                    </a:lnTo>
                    <a:lnTo>
                      <a:pt x="108" y="547"/>
                    </a:lnTo>
                    <a:lnTo>
                      <a:pt x="108" y="543"/>
                    </a:lnTo>
                    <a:lnTo>
                      <a:pt x="108" y="543"/>
                    </a:lnTo>
                    <a:lnTo>
                      <a:pt x="108" y="538"/>
                    </a:lnTo>
                    <a:lnTo>
                      <a:pt x="104" y="538"/>
                    </a:lnTo>
                    <a:lnTo>
                      <a:pt x="104" y="533"/>
                    </a:lnTo>
                    <a:lnTo>
                      <a:pt x="104" y="533"/>
                    </a:lnTo>
                    <a:lnTo>
                      <a:pt x="104" y="533"/>
                    </a:lnTo>
                    <a:lnTo>
                      <a:pt x="108" y="533"/>
                    </a:lnTo>
                    <a:lnTo>
                      <a:pt x="108" y="529"/>
                    </a:lnTo>
                    <a:lnTo>
                      <a:pt x="104" y="529"/>
                    </a:lnTo>
                    <a:lnTo>
                      <a:pt x="108" y="524"/>
                    </a:lnTo>
                    <a:lnTo>
                      <a:pt x="108" y="524"/>
                    </a:lnTo>
                    <a:lnTo>
                      <a:pt x="108" y="524"/>
                    </a:lnTo>
                    <a:lnTo>
                      <a:pt x="108" y="524"/>
                    </a:lnTo>
                    <a:lnTo>
                      <a:pt x="108" y="524"/>
                    </a:lnTo>
                    <a:lnTo>
                      <a:pt x="108" y="520"/>
                    </a:lnTo>
                    <a:lnTo>
                      <a:pt x="108" y="520"/>
                    </a:lnTo>
                    <a:lnTo>
                      <a:pt x="108" y="520"/>
                    </a:lnTo>
                    <a:lnTo>
                      <a:pt x="108" y="515"/>
                    </a:lnTo>
                    <a:lnTo>
                      <a:pt x="108" y="515"/>
                    </a:lnTo>
                    <a:lnTo>
                      <a:pt x="108" y="515"/>
                    </a:lnTo>
                    <a:lnTo>
                      <a:pt x="108" y="515"/>
                    </a:lnTo>
                    <a:lnTo>
                      <a:pt x="108" y="511"/>
                    </a:lnTo>
                    <a:lnTo>
                      <a:pt x="108" y="511"/>
                    </a:lnTo>
                    <a:lnTo>
                      <a:pt x="104" y="506"/>
                    </a:lnTo>
                    <a:lnTo>
                      <a:pt x="104" y="506"/>
                    </a:lnTo>
                    <a:lnTo>
                      <a:pt x="104" y="506"/>
                    </a:lnTo>
                    <a:lnTo>
                      <a:pt x="104" y="502"/>
                    </a:lnTo>
                    <a:lnTo>
                      <a:pt x="104" y="502"/>
                    </a:lnTo>
                    <a:lnTo>
                      <a:pt x="104" y="497"/>
                    </a:lnTo>
                    <a:lnTo>
                      <a:pt x="99" y="497"/>
                    </a:lnTo>
                    <a:lnTo>
                      <a:pt x="99" y="497"/>
                    </a:lnTo>
                    <a:lnTo>
                      <a:pt x="104" y="493"/>
                    </a:lnTo>
                    <a:lnTo>
                      <a:pt x="104" y="493"/>
                    </a:lnTo>
                    <a:lnTo>
                      <a:pt x="104" y="493"/>
                    </a:lnTo>
                    <a:lnTo>
                      <a:pt x="104" y="493"/>
                    </a:lnTo>
                    <a:lnTo>
                      <a:pt x="104" y="488"/>
                    </a:lnTo>
                    <a:lnTo>
                      <a:pt x="104" y="488"/>
                    </a:lnTo>
                    <a:lnTo>
                      <a:pt x="104" y="488"/>
                    </a:lnTo>
                    <a:lnTo>
                      <a:pt x="99" y="488"/>
                    </a:lnTo>
                    <a:lnTo>
                      <a:pt x="99" y="484"/>
                    </a:lnTo>
                    <a:lnTo>
                      <a:pt x="99" y="484"/>
                    </a:lnTo>
                    <a:lnTo>
                      <a:pt x="104" y="479"/>
                    </a:lnTo>
                    <a:lnTo>
                      <a:pt x="104" y="479"/>
                    </a:lnTo>
                    <a:lnTo>
                      <a:pt x="99" y="479"/>
                    </a:lnTo>
                    <a:lnTo>
                      <a:pt x="99" y="475"/>
                    </a:lnTo>
                    <a:lnTo>
                      <a:pt x="99" y="475"/>
                    </a:lnTo>
                    <a:lnTo>
                      <a:pt x="99" y="475"/>
                    </a:lnTo>
                    <a:lnTo>
                      <a:pt x="95" y="470"/>
                    </a:lnTo>
                    <a:lnTo>
                      <a:pt x="95" y="470"/>
                    </a:lnTo>
                    <a:lnTo>
                      <a:pt x="95" y="470"/>
                    </a:lnTo>
                    <a:lnTo>
                      <a:pt x="95" y="470"/>
                    </a:lnTo>
                    <a:lnTo>
                      <a:pt x="95" y="466"/>
                    </a:lnTo>
                    <a:lnTo>
                      <a:pt x="95" y="466"/>
                    </a:lnTo>
                    <a:lnTo>
                      <a:pt x="95" y="466"/>
                    </a:lnTo>
                    <a:lnTo>
                      <a:pt x="90" y="461"/>
                    </a:lnTo>
                    <a:lnTo>
                      <a:pt x="90" y="461"/>
                    </a:lnTo>
                    <a:lnTo>
                      <a:pt x="90" y="461"/>
                    </a:lnTo>
                    <a:lnTo>
                      <a:pt x="95" y="457"/>
                    </a:lnTo>
                    <a:lnTo>
                      <a:pt x="95" y="457"/>
                    </a:lnTo>
                    <a:lnTo>
                      <a:pt x="95" y="457"/>
                    </a:lnTo>
                    <a:lnTo>
                      <a:pt x="95" y="452"/>
                    </a:lnTo>
                    <a:lnTo>
                      <a:pt x="90" y="452"/>
                    </a:lnTo>
                    <a:lnTo>
                      <a:pt x="90" y="452"/>
                    </a:lnTo>
                    <a:lnTo>
                      <a:pt x="90" y="448"/>
                    </a:lnTo>
                    <a:lnTo>
                      <a:pt x="86" y="448"/>
                    </a:lnTo>
                    <a:lnTo>
                      <a:pt x="81" y="448"/>
                    </a:lnTo>
                    <a:lnTo>
                      <a:pt x="81" y="448"/>
                    </a:lnTo>
                    <a:lnTo>
                      <a:pt x="81" y="443"/>
                    </a:lnTo>
                    <a:lnTo>
                      <a:pt x="81" y="443"/>
                    </a:lnTo>
                    <a:lnTo>
                      <a:pt x="86" y="443"/>
                    </a:lnTo>
                    <a:lnTo>
                      <a:pt x="86" y="443"/>
                    </a:lnTo>
                    <a:lnTo>
                      <a:pt x="86" y="443"/>
                    </a:lnTo>
                    <a:lnTo>
                      <a:pt x="90" y="443"/>
                    </a:lnTo>
                    <a:lnTo>
                      <a:pt x="90" y="443"/>
                    </a:lnTo>
                    <a:lnTo>
                      <a:pt x="90" y="443"/>
                    </a:lnTo>
                    <a:lnTo>
                      <a:pt x="90" y="443"/>
                    </a:lnTo>
                    <a:lnTo>
                      <a:pt x="90" y="439"/>
                    </a:lnTo>
                    <a:lnTo>
                      <a:pt x="90" y="439"/>
                    </a:lnTo>
                    <a:lnTo>
                      <a:pt x="90" y="439"/>
                    </a:lnTo>
                    <a:lnTo>
                      <a:pt x="86" y="439"/>
                    </a:lnTo>
                    <a:lnTo>
                      <a:pt x="81" y="439"/>
                    </a:lnTo>
                    <a:lnTo>
                      <a:pt x="77" y="434"/>
                    </a:lnTo>
                    <a:lnTo>
                      <a:pt x="77" y="434"/>
                    </a:lnTo>
                    <a:lnTo>
                      <a:pt x="77" y="434"/>
                    </a:lnTo>
                    <a:lnTo>
                      <a:pt x="77" y="434"/>
                    </a:lnTo>
                    <a:lnTo>
                      <a:pt x="77" y="429"/>
                    </a:lnTo>
                    <a:lnTo>
                      <a:pt x="77" y="429"/>
                    </a:lnTo>
                    <a:lnTo>
                      <a:pt x="77" y="429"/>
                    </a:lnTo>
                    <a:lnTo>
                      <a:pt x="77" y="425"/>
                    </a:lnTo>
                    <a:lnTo>
                      <a:pt x="72" y="425"/>
                    </a:lnTo>
                    <a:lnTo>
                      <a:pt x="77" y="425"/>
                    </a:lnTo>
                    <a:lnTo>
                      <a:pt x="72" y="425"/>
                    </a:lnTo>
                    <a:lnTo>
                      <a:pt x="72" y="420"/>
                    </a:lnTo>
                    <a:lnTo>
                      <a:pt x="72" y="420"/>
                    </a:lnTo>
                    <a:lnTo>
                      <a:pt x="68" y="420"/>
                    </a:lnTo>
                    <a:lnTo>
                      <a:pt x="68" y="416"/>
                    </a:lnTo>
                    <a:lnTo>
                      <a:pt x="72" y="416"/>
                    </a:lnTo>
                    <a:lnTo>
                      <a:pt x="72" y="416"/>
                    </a:lnTo>
                    <a:lnTo>
                      <a:pt x="72" y="416"/>
                    </a:lnTo>
                    <a:lnTo>
                      <a:pt x="68" y="416"/>
                    </a:lnTo>
                    <a:lnTo>
                      <a:pt x="68" y="411"/>
                    </a:lnTo>
                    <a:lnTo>
                      <a:pt x="63" y="411"/>
                    </a:lnTo>
                    <a:lnTo>
                      <a:pt x="63" y="411"/>
                    </a:lnTo>
                    <a:lnTo>
                      <a:pt x="63" y="411"/>
                    </a:lnTo>
                    <a:lnTo>
                      <a:pt x="63" y="407"/>
                    </a:lnTo>
                    <a:lnTo>
                      <a:pt x="59" y="402"/>
                    </a:lnTo>
                    <a:lnTo>
                      <a:pt x="59" y="402"/>
                    </a:lnTo>
                    <a:lnTo>
                      <a:pt x="59" y="402"/>
                    </a:lnTo>
                    <a:lnTo>
                      <a:pt x="59" y="402"/>
                    </a:lnTo>
                    <a:lnTo>
                      <a:pt x="59" y="398"/>
                    </a:lnTo>
                    <a:lnTo>
                      <a:pt x="59" y="398"/>
                    </a:lnTo>
                    <a:lnTo>
                      <a:pt x="59" y="398"/>
                    </a:lnTo>
                    <a:lnTo>
                      <a:pt x="59" y="398"/>
                    </a:lnTo>
                    <a:lnTo>
                      <a:pt x="59" y="393"/>
                    </a:lnTo>
                    <a:lnTo>
                      <a:pt x="59" y="393"/>
                    </a:lnTo>
                    <a:lnTo>
                      <a:pt x="59" y="393"/>
                    </a:lnTo>
                    <a:lnTo>
                      <a:pt x="59" y="393"/>
                    </a:lnTo>
                    <a:lnTo>
                      <a:pt x="59" y="393"/>
                    </a:lnTo>
                    <a:lnTo>
                      <a:pt x="59" y="393"/>
                    </a:lnTo>
                    <a:lnTo>
                      <a:pt x="59" y="389"/>
                    </a:lnTo>
                    <a:lnTo>
                      <a:pt x="59" y="389"/>
                    </a:lnTo>
                    <a:lnTo>
                      <a:pt x="54" y="384"/>
                    </a:lnTo>
                    <a:lnTo>
                      <a:pt x="54" y="384"/>
                    </a:lnTo>
                    <a:lnTo>
                      <a:pt x="54" y="384"/>
                    </a:lnTo>
                    <a:lnTo>
                      <a:pt x="54" y="380"/>
                    </a:lnTo>
                    <a:lnTo>
                      <a:pt x="50" y="380"/>
                    </a:lnTo>
                    <a:lnTo>
                      <a:pt x="50" y="371"/>
                    </a:lnTo>
                    <a:lnTo>
                      <a:pt x="50" y="371"/>
                    </a:lnTo>
                    <a:lnTo>
                      <a:pt x="45" y="366"/>
                    </a:lnTo>
                    <a:lnTo>
                      <a:pt x="45" y="366"/>
                    </a:lnTo>
                    <a:lnTo>
                      <a:pt x="45" y="366"/>
                    </a:lnTo>
                    <a:lnTo>
                      <a:pt x="45" y="362"/>
                    </a:lnTo>
                    <a:lnTo>
                      <a:pt x="45" y="362"/>
                    </a:lnTo>
                    <a:lnTo>
                      <a:pt x="45" y="362"/>
                    </a:lnTo>
                    <a:lnTo>
                      <a:pt x="45" y="362"/>
                    </a:lnTo>
                    <a:lnTo>
                      <a:pt x="45" y="362"/>
                    </a:lnTo>
                    <a:lnTo>
                      <a:pt x="45" y="357"/>
                    </a:lnTo>
                    <a:lnTo>
                      <a:pt x="45" y="357"/>
                    </a:lnTo>
                    <a:lnTo>
                      <a:pt x="45" y="357"/>
                    </a:lnTo>
                    <a:lnTo>
                      <a:pt x="45" y="357"/>
                    </a:lnTo>
                    <a:lnTo>
                      <a:pt x="45" y="353"/>
                    </a:lnTo>
                    <a:lnTo>
                      <a:pt x="45" y="353"/>
                    </a:lnTo>
                    <a:lnTo>
                      <a:pt x="45" y="353"/>
                    </a:lnTo>
                    <a:lnTo>
                      <a:pt x="45" y="353"/>
                    </a:lnTo>
                    <a:lnTo>
                      <a:pt x="45" y="353"/>
                    </a:lnTo>
                    <a:lnTo>
                      <a:pt x="45" y="348"/>
                    </a:lnTo>
                    <a:lnTo>
                      <a:pt x="41" y="348"/>
                    </a:lnTo>
                    <a:lnTo>
                      <a:pt x="41" y="348"/>
                    </a:lnTo>
                    <a:lnTo>
                      <a:pt x="41" y="344"/>
                    </a:lnTo>
                    <a:lnTo>
                      <a:pt x="41" y="344"/>
                    </a:lnTo>
                    <a:lnTo>
                      <a:pt x="41" y="344"/>
                    </a:lnTo>
                    <a:lnTo>
                      <a:pt x="45" y="344"/>
                    </a:lnTo>
                    <a:lnTo>
                      <a:pt x="45" y="344"/>
                    </a:lnTo>
                    <a:lnTo>
                      <a:pt x="45" y="344"/>
                    </a:lnTo>
                    <a:lnTo>
                      <a:pt x="45" y="344"/>
                    </a:lnTo>
                    <a:lnTo>
                      <a:pt x="45" y="344"/>
                    </a:lnTo>
                    <a:lnTo>
                      <a:pt x="45" y="339"/>
                    </a:lnTo>
                    <a:lnTo>
                      <a:pt x="41" y="339"/>
                    </a:lnTo>
                    <a:lnTo>
                      <a:pt x="41" y="335"/>
                    </a:lnTo>
                    <a:lnTo>
                      <a:pt x="41" y="335"/>
                    </a:lnTo>
                    <a:lnTo>
                      <a:pt x="41" y="330"/>
                    </a:lnTo>
                    <a:lnTo>
                      <a:pt x="41" y="330"/>
                    </a:lnTo>
                    <a:lnTo>
                      <a:pt x="41" y="330"/>
                    </a:lnTo>
                    <a:lnTo>
                      <a:pt x="45" y="330"/>
                    </a:lnTo>
                    <a:lnTo>
                      <a:pt x="45" y="330"/>
                    </a:lnTo>
                    <a:lnTo>
                      <a:pt x="45" y="326"/>
                    </a:lnTo>
                    <a:lnTo>
                      <a:pt x="45" y="326"/>
                    </a:lnTo>
                    <a:lnTo>
                      <a:pt x="45" y="326"/>
                    </a:lnTo>
                    <a:lnTo>
                      <a:pt x="45" y="326"/>
                    </a:lnTo>
                    <a:lnTo>
                      <a:pt x="45" y="321"/>
                    </a:lnTo>
                    <a:lnTo>
                      <a:pt x="41" y="321"/>
                    </a:lnTo>
                    <a:lnTo>
                      <a:pt x="41" y="316"/>
                    </a:lnTo>
                    <a:lnTo>
                      <a:pt x="41" y="316"/>
                    </a:lnTo>
                    <a:lnTo>
                      <a:pt x="36" y="312"/>
                    </a:lnTo>
                    <a:lnTo>
                      <a:pt x="36" y="307"/>
                    </a:lnTo>
                    <a:lnTo>
                      <a:pt x="36" y="307"/>
                    </a:lnTo>
                    <a:lnTo>
                      <a:pt x="32" y="307"/>
                    </a:lnTo>
                    <a:lnTo>
                      <a:pt x="32" y="303"/>
                    </a:lnTo>
                    <a:lnTo>
                      <a:pt x="32" y="303"/>
                    </a:lnTo>
                    <a:lnTo>
                      <a:pt x="32" y="303"/>
                    </a:lnTo>
                    <a:lnTo>
                      <a:pt x="32" y="298"/>
                    </a:lnTo>
                    <a:lnTo>
                      <a:pt x="32" y="298"/>
                    </a:lnTo>
                    <a:lnTo>
                      <a:pt x="32" y="294"/>
                    </a:lnTo>
                    <a:lnTo>
                      <a:pt x="27" y="294"/>
                    </a:lnTo>
                    <a:lnTo>
                      <a:pt x="27" y="294"/>
                    </a:lnTo>
                    <a:lnTo>
                      <a:pt x="27" y="289"/>
                    </a:lnTo>
                    <a:lnTo>
                      <a:pt x="27" y="289"/>
                    </a:lnTo>
                    <a:lnTo>
                      <a:pt x="27" y="289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32" y="285"/>
                    </a:lnTo>
                    <a:lnTo>
                      <a:pt x="32" y="285"/>
                    </a:lnTo>
                    <a:lnTo>
                      <a:pt x="32" y="285"/>
                    </a:lnTo>
                    <a:lnTo>
                      <a:pt x="32" y="285"/>
                    </a:lnTo>
                    <a:lnTo>
                      <a:pt x="32" y="280"/>
                    </a:lnTo>
                    <a:lnTo>
                      <a:pt x="32" y="280"/>
                    </a:lnTo>
                    <a:lnTo>
                      <a:pt x="32" y="280"/>
                    </a:lnTo>
                    <a:lnTo>
                      <a:pt x="32" y="276"/>
                    </a:lnTo>
                    <a:lnTo>
                      <a:pt x="36" y="276"/>
                    </a:lnTo>
                    <a:lnTo>
                      <a:pt x="36" y="276"/>
                    </a:lnTo>
                    <a:lnTo>
                      <a:pt x="36" y="276"/>
                    </a:lnTo>
                    <a:lnTo>
                      <a:pt x="32" y="271"/>
                    </a:lnTo>
                    <a:lnTo>
                      <a:pt x="32" y="271"/>
                    </a:lnTo>
                    <a:lnTo>
                      <a:pt x="32" y="267"/>
                    </a:lnTo>
                    <a:lnTo>
                      <a:pt x="32" y="267"/>
                    </a:lnTo>
                    <a:lnTo>
                      <a:pt x="32" y="267"/>
                    </a:lnTo>
                    <a:lnTo>
                      <a:pt x="32" y="262"/>
                    </a:lnTo>
                    <a:lnTo>
                      <a:pt x="27" y="262"/>
                    </a:lnTo>
                    <a:lnTo>
                      <a:pt x="27" y="262"/>
                    </a:lnTo>
                    <a:lnTo>
                      <a:pt x="27" y="262"/>
                    </a:lnTo>
                    <a:lnTo>
                      <a:pt x="27" y="262"/>
                    </a:lnTo>
                    <a:lnTo>
                      <a:pt x="27" y="258"/>
                    </a:lnTo>
                    <a:lnTo>
                      <a:pt x="27" y="258"/>
                    </a:lnTo>
                    <a:lnTo>
                      <a:pt x="27" y="253"/>
                    </a:lnTo>
                    <a:lnTo>
                      <a:pt x="27" y="253"/>
                    </a:lnTo>
                    <a:lnTo>
                      <a:pt x="27" y="253"/>
                    </a:lnTo>
                    <a:lnTo>
                      <a:pt x="27" y="249"/>
                    </a:lnTo>
                    <a:lnTo>
                      <a:pt x="27" y="249"/>
                    </a:lnTo>
                    <a:lnTo>
                      <a:pt x="27" y="249"/>
                    </a:lnTo>
                    <a:lnTo>
                      <a:pt x="27" y="244"/>
                    </a:lnTo>
                    <a:lnTo>
                      <a:pt x="27" y="244"/>
                    </a:lnTo>
                    <a:lnTo>
                      <a:pt x="27" y="244"/>
                    </a:lnTo>
                    <a:lnTo>
                      <a:pt x="27" y="244"/>
                    </a:lnTo>
                    <a:lnTo>
                      <a:pt x="27" y="240"/>
                    </a:lnTo>
                    <a:lnTo>
                      <a:pt x="32" y="240"/>
                    </a:lnTo>
                    <a:lnTo>
                      <a:pt x="32" y="240"/>
                    </a:lnTo>
                    <a:lnTo>
                      <a:pt x="32" y="240"/>
                    </a:lnTo>
                    <a:lnTo>
                      <a:pt x="32" y="240"/>
                    </a:lnTo>
                    <a:lnTo>
                      <a:pt x="32" y="240"/>
                    </a:lnTo>
                    <a:lnTo>
                      <a:pt x="27" y="235"/>
                    </a:lnTo>
                    <a:lnTo>
                      <a:pt x="27" y="231"/>
                    </a:lnTo>
                    <a:lnTo>
                      <a:pt x="27" y="231"/>
                    </a:lnTo>
                    <a:lnTo>
                      <a:pt x="27" y="226"/>
                    </a:lnTo>
                    <a:lnTo>
                      <a:pt x="27" y="226"/>
                    </a:lnTo>
                    <a:lnTo>
                      <a:pt x="27" y="222"/>
                    </a:lnTo>
                    <a:lnTo>
                      <a:pt x="27" y="222"/>
                    </a:lnTo>
                    <a:lnTo>
                      <a:pt x="23" y="222"/>
                    </a:lnTo>
                    <a:lnTo>
                      <a:pt x="23" y="222"/>
                    </a:lnTo>
                    <a:lnTo>
                      <a:pt x="23" y="222"/>
                    </a:lnTo>
                    <a:lnTo>
                      <a:pt x="23" y="222"/>
                    </a:lnTo>
                    <a:lnTo>
                      <a:pt x="18" y="222"/>
                    </a:lnTo>
                    <a:lnTo>
                      <a:pt x="18" y="217"/>
                    </a:lnTo>
                    <a:lnTo>
                      <a:pt x="18" y="217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4" y="208"/>
                    </a:lnTo>
                    <a:lnTo>
                      <a:pt x="14" y="208"/>
                    </a:lnTo>
                    <a:lnTo>
                      <a:pt x="14" y="208"/>
                    </a:lnTo>
                    <a:lnTo>
                      <a:pt x="14" y="203"/>
                    </a:lnTo>
                    <a:lnTo>
                      <a:pt x="9" y="203"/>
                    </a:lnTo>
                    <a:lnTo>
                      <a:pt x="9" y="199"/>
                    </a:lnTo>
                    <a:lnTo>
                      <a:pt x="9" y="199"/>
                    </a:lnTo>
                    <a:lnTo>
                      <a:pt x="9" y="199"/>
                    </a:lnTo>
                    <a:lnTo>
                      <a:pt x="9" y="199"/>
                    </a:lnTo>
                    <a:lnTo>
                      <a:pt x="9" y="199"/>
                    </a:lnTo>
                    <a:lnTo>
                      <a:pt x="9" y="194"/>
                    </a:lnTo>
                    <a:lnTo>
                      <a:pt x="9" y="194"/>
                    </a:lnTo>
                    <a:lnTo>
                      <a:pt x="9" y="194"/>
                    </a:lnTo>
                    <a:lnTo>
                      <a:pt x="5" y="194"/>
                    </a:lnTo>
                    <a:lnTo>
                      <a:pt x="5" y="190"/>
                    </a:lnTo>
                    <a:lnTo>
                      <a:pt x="5" y="190"/>
                    </a:lnTo>
                    <a:lnTo>
                      <a:pt x="0" y="185"/>
                    </a:lnTo>
                    <a:lnTo>
                      <a:pt x="0" y="185"/>
                    </a:lnTo>
                    <a:lnTo>
                      <a:pt x="0" y="181"/>
                    </a:lnTo>
                    <a:lnTo>
                      <a:pt x="0" y="181"/>
                    </a:lnTo>
                    <a:lnTo>
                      <a:pt x="0" y="181"/>
                    </a:lnTo>
                    <a:lnTo>
                      <a:pt x="5" y="181"/>
                    </a:lnTo>
                    <a:lnTo>
                      <a:pt x="5" y="181"/>
                    </a:lnTo>
                    <a:lnTo>
                      <a:pt x="5" y="181"/>
                    </a:lnTo>
                    <a:lnTo>
                      <a:pt x="5" y="181"/>
                    </a:lnTo>
                    <a:lnTo>
                      <a:pt x="5" y="176"/>
                    </a:lnTo>
                    <a:lnTo>
                      <a:pt x="5" y="176"/>
                    </a:lnTo>
                    <a:lnTo>
                      <a:pt x="5" y="176"/>
                    </a:lnTo>
                    <a:lnTo>
                      <a:pt x="5" y="176"/>
                    </a:lnTo>
                    <a:lnTo>
                      <a:pt x="5" y="172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5" y="163"/>
                    </a:lnTo>
                    <a:lnTo>
                      <a:pt x="5" y="163"/>
                    </a:lnTo>
                    <a:lnTo>
                      <a:pt x="5" y="163"/>
                    </a:lnTo>
                    <a:lnTo>
                      <a:pt x="5" y="163"/>
                    </a:lnTo>
                    <a:lnTo>
                      <a:pt x="5" y="163"/>
                    </a:lnTo>
                    <a:lnTo>
                      <a:pt x="5" y="158"/>
                    </a:lnTo>
                    <a:lnTo>
                      <a:pt x="5" y="158"/>
                    </a:lnTo>
                    <a:lnTo>
                      <a:pt x="5" y="158"/>
                    </a:lnTo>
                    <a:lnTo>
                      <a:pt x="5" y="154"/>
                    </a:lnTo>
                    <a:lnTo>
                      <a:pt x="0" y="149"/>
                    </a:lnTo>
                    <a:lnTo>
                      <a:pt x="0" y="145"/>
                    </a:lnTo>
                    <a:lnTo>
                      <a:pt x="0" y="145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0" y="136"/>
                    </a:lnTo>
                    <a:lnTo>
                      <a:pt x="0" y="131"/>
                    </a:lnTo>
                    <a:lnTo>
                      <a:pt x="0" y="131"/>
                    </a:lnTo>
                    <a:lnTo>
                      <a:pt x="0" y="127"/>
                    </a:lnTo>
                    <a:lnTo>
                      <a:pt x="0" y="127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5" y="122"/>
                    </a:lnTo>
                    <a:lnTo>
                      <a:pt x="5" y="122"/>
                    </a:lnTo>
                    <a:lnTo>
                      <a:pt x="5" y="118"/>
                    </a:lnTo>
                    <a:lnTo>
                      <a:pt x="5" y="118"/>
                    </a:lnTo>
                    <a:lnTo>
                      <a:pt x="5" y="118"/>
                    </a:lnTo>
                    <a:lnTo>
                      <a:pt x="5" y="113"/>
                    </a:lnTo>
                    <a:lnTo>
                      <a:pt x="5" y="113"/>
                    </a:lnTo>
                    <a:lnTo>
                      <a:pt x="5" y="108"/>
                    </a:lnTo>
                    <a:lnTo>
                      <a:pt x="5" y="108"/>
                    </a:lnTo>
                    <a:lnTo>
                      <a:pt x="5" y="104"/>
                    </a:lnTo>
                    <a:lnTo>
                      <a:pt x="5" y="104"/>
                    </a:lnTo>
                    <a:lnTo>
                      <a:pt x="9" y="104"/>
                    </a:lnTo>
                    <a:lnTo>
                      <a:pt x="9" y="104"/>
                    </a:lnTo>
                    <a:lnTo>
                      <a:pt x="9" y="104"/>
                    </a:lnTo>
                    <a:lnTo>
                      <a:pt x="9" y="104"/>
                    </a:lnTo>
                    <a:lnTo>
                      <a:pt x="9" y="99"/>
                    </a:lnTo>
                    <a:lnTo>
                      <a:pt x="14" y="99"/>
                    </a:lnTo>
                    <a:lnTo>
                      <a:pt x="14" y="99"/>
                    </a:lnTo>
                    <a:lnTo>
                      <a:pt x="14" y="99"/>
                    </a:lnTo>
                    <a:lnTo>
                      <a:pt x="14" y="99"/>
                    </a:lnTo>
                    <a:lnTo>
                      <a:pt x="14" y="95"/>
                    </a:lnTo>
                    <a:lnTo>
                      <a:pt x="9" y="95"/>
                    </a:lnTo>
                    <a:lnTo>
                      <a:pt x="9" y="90"/>
                    </a:lnTo>
                    <a:lnTo>
                      <a:pt x="9" y="90"/>
                    </a:lnTo>
                    <a:lnTo>
                      <a:pt x="9" y="90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5" y="77"/>
                    </a:lnTo>
                    <a:lnTo>
                      <a:pt x="5" y="72"/>
                    </a:lnTo>
                    <a:lnTo>
                      <a:pt x="5" y="72"/>
                    </a:lnTo>
                    <a:lnTo>
                      <a:pt x="0" y="68"/>
                    </a:lnTo>
                    <a:lnTo>
                      <a:pt x="0" y="63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5" y="59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45"/>
                    </a:lnTo>
                    <a:lnTo>
                      <a:pt x="9" y="45"/>
                    </a:lnTo>
                    <a:lnTo>
                      <a:pt x="14" y="45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32"/>
                    </a:lnTo>
                    <a:lnTo>
                      <a:pt x="18" y="27"/>
                    </a:lnTo>
                    <a:lnTo>
                      <a:pt x="18" y="23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89" name="Freeform 10"/>
              <p:cNvSpPr>
                <a:spLocks/>
              </p:cNvSpPr>
              <p:nvPr/>
            </p:nvSpPr>
            <p:spPr bwMode="auto">
              <a:xfrm>
                <a:off x="5375276" y="1711326"/>
                <a:ext cx="85725" cy="71438"/>
              </a:xfrm>
              <a:custGeom>
                <a:avLst/>
                <a:gdLst>
                  <a:gd name="T0" fmla="*/ 22 w 54"/>
                  <a:gd name="T1" fmla="*/ 0 h 45"/>
                  <a:gd name="T2" fmla="*/ 22 w 54"/>
                  <a:gd name="T3" fmla="*/ 4 h 45"/>
                  <a:gd name="T4" fmla="*/ 22 w 54"/>
                  <a:gd name="T5" fmla="*/ 4 h 45"/>
                  <a:gd name="T6" fmla="*/ 31 w 54"/>
                  <a:gd name="T7" fmla="*/ 4 h 45"/>
                  <a:gd name="T8" fmla="*/ 31 w 54"/>
                  <a:gd name="T9" fmla="*/ 9 h 45"/>
                  <a:gd name="T10" fmla="*/ 31 w 54"/>
                  <a:gd name="T11" fmla="*/ 9 h 45"/>
                  <a:gd name="T12" fmla="*/ 31 w 54"/>
                  <a:gd name="T13" fmla="*/ 13 h 45"/>
                  <a:gd name="T14" fmla="*/ 40 w 54"/>
                  <a:gd name="T15" fmla="*/ 18 h 45"/>
                  <a:gd name="T16" fmla="*/ 40 w 54"/>
                  <a:gd name="T17" fmla="*/ 22 h 45"/>
                  <a:gd name="T18" fmla="*/ 36 w 54"/>
                  <a:gd name="T19" fmla="*/ 22 h 45"/>
                  <a:gd name="T20" fmla="*/ 36 w 54"/>
                  <a:gd name="T21" fmla="*/ 22 h 45"/>
                  <a:gd name="T22" fmla="*/ 40 w 54"/>
                  <a:gd name="T23" fmla="*/ 27 h 45"/>
                  <a:gd name="T24" fmla="*/ 45 w 54"/>
                  <a:gd name="T25" fmla="*/ 31 h 45"/>
                  <a:gd name="T26" fmla="*/ 49 w 54"/>
                  <a:gd name="T27" fmla="*/ 31 h 45"/>
                  <a:gd name="T28" fmla="*/ 49 w 54"/>
                  <a:gd name="T29" fmla="*/ 31 h 45"/>
                  <a:gd name="T30" fmla="*/ 49 w 54"/>
                  <a:gd name="T31" fmla="*/ 36 h 45"/>
                  <a:gd name="T32" fmla="*/ 54 w 54"/>
                  <a:gd name="T33" fmla="*/ 36 h 45"/>
                  <a:gd name="T34" fmla="*/ 49 w 54"/>
                  <a:gd name="T35" fmla="*/ 36 h 45"/>
                  <a:gd name="T36" fmla="*/ 54 w 54"/>
                  <a:gd name="T37" fmla="*/ 40 h 45"/>
                  <a:gd name="T38" fmla="*/ 54 w 54"/>
                  <a:gd name="T39" fmla="*/ 45 h 45"/>
                  <a:gd name="T40" fmla="*/ 45 w 54"/>
                  <a:gd name="T41" fmla="*/ 45 h 45"/>
                  <a:gd name="T42" fmla="*/ 45 w 54"/>
                  <a:gd name="T43" fmla="*/ 40 h 45"/>
                  <a:gd name="T44" fmla="*/ 40 w 54"/>
                  <a:gd name="T45" fmla="*/ 36 h 45"/>
                  <a:gd name="T46" fmla="*/ 40 w 54"/>
                  <a:gd name="T47" fmla="*/ 31 h 45"/>
                  <a:gd name="T48" fmla="*/ 36 w 54"/>
                  <a:gd name="T49" fmla="*/ 31 h 45"/>
                  <a:gd name="T50" fmla="*/ 31 w 54"/>
                  <a:gd name="T51" fmla="*/ 31 h 45"/>
                  <a:gd name="T52" fmla="*/ 31 w 54"/>
                  <a:gd name="T53" fmla="*/ 31 h 45"/>
                  <a:gd name="T54" fmla="*/ 27 w 54"/>
                  <a:gd name="T55" fmla="*/ 27 h 45"/>
                  <a:gd name="T56" fmla="*/ 27 w 54"/>
                  <a:gd name="T57" fmla="*/ 27 h 45"/>
                  <a:gd name="T58" fmla="*/ 18 w 54"/>
                  <a:gd name="T59" fmla="*/ 27 h 45"/>
                  <a:gd name="T60" fmla="*/ 13 w 54"/>
                  <a:gd name="T61" fmla="*/ 22 h 45"/>
                  <a:gd name="T62" fmla="*/ 9 w 54"/>
                  <a:gd name="T63" fmla="*/ 22 h 45"/>
                  <a:gd name="T64" fmla="*/ 4 w 54"/>
                  <a:gd name="T65" fmla="*/ 22 h 45"/>
                  <a:gd name="T66" fmla="*/ 4 w 54"/>
                  <a:gd name="T67" fmla="*/ 18 h 45"/>
                  <a:gd name="T68" fmla="*/ 4 w 54"/>
                  <a:gd name="T69" fmla="*/ 13 h 45"/>
                  <a:gd name="T70" fmla="*/ 4 w 54"/>
                  <a:gd name="T71" fmla="*/ 9 h 45"/>
                  <a:gd name="T72" fmla="*/ 0 w 54"/>
                  <a:gd name="T73" fmla="*/ 4 h 45"/>
                  <a:gd name="T74" fmla="*/ 0 w 54"/>
                  <a:gd name="T75" fmla="*/ 4 h 45"/>
                  <a:gd name="T76" fmla="*/ 4 w 54"/>
                  <a:gd name="T77" fmla="*/ 0 h 45"/>
                  <a:gd name="T78" fmla="*/ 9 w 54"/>
                  <a:gd name="T79" fmla="*/ 0 h 45"/>
                  <a:gd name="T80" fmla="*/ 18 w 54"/>
                  <a:gd name="T81" fmla="*/ 0 h 45"/>
                  <a:gd name="T82" fmla="*/ 18 w 54"/>
                  <a:gd name="T83" fmla="*/ 0 h 45"/>
                  <a:gd name="T84" fmla="*/ 22 w 54"/>
                  <a:gd name="T85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4" h="45">
                    <a:moveTo>
                      <a:pt x="22" y="0"/>
                    </a:moveTo>
                    <a:lnTo>
                      <a:pt x="22" y="0"/>
                    </a:lnTo>
                    <a:lnTo>
                      <a:pt x="22" y="0"/>
                    </a:lnTo>
                    <a:lnTo>
                      <a:pt x="27" y="0"/>
                    </a:lnTo>
                    <a:lnTo>
                      <a:pt x="27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31" y="4"/>
                    </a:lnTo>
                    <a:lnTo>
                      <a:pt x="31" y="4"/>
                    </a:lnTo>
                    <a:lnTo>
                      <a:pt x="31" y="4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36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40" y="27"/>
                    </a:lnTo>
                    <a:lnTo>
                      <a:pt x="40" y="27"/>
                    </a:lnTo>
                    <a:lnTo>
                      <a:pt x="40" y="27"/>
                    </a:lnTo>
                    <a:lnTo>
                      <a:pt x="45" y="27"/>
                    </a:lnTo>
                    <a:lnTo>
                      <a:pt x="45" y="31"/>
                    </a:lnTo>
                    <a:lnTo>
                      <a:pt x="45" y="31"/>
                    </a:lnTo>
                    <a:lnTo>
                      <a:pt x="49" y="31"/>
                    </a:lnTo>
                    <a:lnTo>
                      <a:pt x="49" y="31"/>
                    </a:lnTo>
                    <a:lnTo>
                      <a:pt x="49" y="31"/>
                    </a:lnTo>
                    <a:lnTo>
                      <a:pt x="49" y="31"/>
                    </a:lnTo>
                    <a:lnTo>
                      <a:pt x="49" y="31"/>
                    </a:lnTo>
                    <a:lnTo>
                      <a:pt x="49" y="36"/>
                    </a:lnTo>
                    <a:lnTo>
                      <a:pt x="49" y="36"/>
                    </a:lnTo>
                    <a:lnTo>
                      <a:pt x="49" y="36"/>
                    </a:lnTo>
                    <a:lnTo>
                      <a:pt x="49" y="36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49" y="36"/>
                    </a:lnTo>
                    <a:lnTo>
                      <a:pt x="49" y="40"/>
                    </a:lnTo>
                    <a:lnTo>
                      <a:pt x="49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45"/>
                    </a:lnTo>
                    <a:lnTo>
                      <a:pt x="49" y="45"/>
                    </a:lnTo>
                    <a:lnTo>
                      <a:pt x="49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0"/>
                    </a:lnTo>
                    <a:lnTo>
                      <a:pt x="45" y="40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1"/>
                    </a:lnTo>
                    <a:lnTo>
                      <a:pt x="40" y="31"/>
                    </a:lnTo>
                    <a:lnTo>
                      <a:pt x="40" y="31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31" y="31"/>
                    </a:lnTo>
                    <a:lnTo>
                      <a:pt x="31" y="31"/>
                    </a:lnTo>
                    <a:lnTo>
                      <a:pt x="31" y="31"/>
                    </a:lnTo>
                    <a:lnTo>
                      <a:pt x="31" y="31"/>
                    </a:lnTo>
                    <a:lnTo>
                      <a:pt x="31" y="31"/>
                    </a:lnTo>
                    <a:lnTo>
                      <a:pt x="31" y="31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18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90" name="Freeform 11"/>
              <p:cNvSpPr>
                <a:spLocks noEditPoints="1"/>
              </p:cNvSpPr>
              <p:nvPr/>
            </p:nvSpPr>
            <p:spPr bwMode="auto">
              <a:xfrm>
                <a:off x="7218363" y="3311526"/>
                <a:ext cx="1111250" cy="1084263"/>
              </a:xfrm>
              <a:custGeom>
                <a:avLst/>
                <a:gdLst>
                  <a:gd name="T0" fmla="*/ 397 w 700"/>
                  <a:gd name="T1" fmla="*/ 633 h 683"/>
                  <a:gd name="T2" fmla="*/ 411 w 700"/>
                  <a:gd name="T3" fmla="*/ 642 h 683"/>
                  <a:gd name="T4" fmla="*/ 402 w 700"/>
                  <a:gd name="T5" fmla="*/ 656 h 683"/>
                  <a:gd name="T6" fmla="*/ 379 w 700"/>
                  <a:gd name="T7" fmla="*/ 669 h 683"/>
                  <a:gd name="T8" fmla="*/ 361 w 700"/>
                  <a:gd name="T9" fmla="*/ 683 h 683"/>
                  <a:gd name="T10" fmla="*/ 357 w 700"/>
                  <a:gd name="T11" fmla="*/ 656 h 683"/>
                  <a:gd name="T12" fmla="*/ 375 w 700"/>
                  <a:gd name="T13" fmla="*/ 619 h 683"/>
                  <a:gd name="T14" fmla="*/ 316 w 700"/>
                  <a:gd name="T15" fmla="*/ 515 h 683"/>
                  <a:gd name="T16" fmla="*/ 700 w 700"/>
                  <a:gd name="T17" fmla="*/ 307 h 683"/>
                  <a:gd name="T18" fmla="*/ 501 w 700"/>
                  <a:gd name="T19" fmla="*/ 68 h 683"/>
                  <a:gd name="T20" fmla="*/ 406 w 700"/>
                  <a:gd name="T21" fmla="*/ 9 h 683"/>
                  <a:gd name="T22" fmla="*/ 402 w 700"/>
                  <a:gd name="T23" fmla="*/ 5 h 683"/>
                  <a:gd name="T24" fmla="*/ 619 w 700"/>
                  <a:gd name="T25" fmla="*/ 68 h 683"/>
                  <a:gd name="T26" fmla="*/ 637 w 700"/>
                  <a:gd name="T27" fmla="*/ 118 h 683"/>
                  <a:gd name="T28" fmla="*/ 641 w 700"/>
                  <a:gd name="T29" fmla="*/ 181 h 683"/>
                  <a:gd name="T30" fmla="*/ 664 w 700"/>
                  <a:gd name="T31" fmla="*/ 208 h 683"/>
                  <a:gd name="T32" fmla="*/ 673 w 700"/>
                  <a:gd name="T33" fmla="*/ 249 h 683"/>
                  <a:gd name="T34" fmla="*/ 682 w 700"/>
                  <a:gd name="T35" fmla="*/ 294 h 683"/>
                  <a:gd name="T36" fmla="*/ 668 w 700"/>
                  <a:gd name="T37" fmla="*/ 375 h 683"/>
                  <a:gd name="T38" fmla="*/ 596 w 700"/>
                  <a:gd name="T39" fmla="*/ 470 h 683"/>
                  <a:gd name="T40" fmla="*/ 564 w 700"/>
                  <a:gd name="T41" fmla="*/ 497 h 683"/>
                  <a:gd name="T42" fmla="*/ 519 w 700"/>
                  <a:gd name="T43" fmla="*/ 534 h 683"/>
                  <a:gd name="T44" fmla="*/ 429 w 700"/>
                  <a:gd name="T45" fmla="*/ 583 h 683"/>
                  <a:gd name="T46" fmla="*/ 415 w 700"/>
                  <a:gd name="T47" fmla="*/ 583 h 683"/>
                  <a:gd name="T48" fmla="*/ 406 w 700"/>
                  <a:gd name="T49" fmla="*/ 570 h 683"/>
                  <a:gd name="T50" fmla="*/ 361 w 700"/>
                  <a:gd name="T51" fmla="*/ 570 h 683"/>
                  <a:gd name="T52" fmla="*/ 361 w 700"/>
                  <a:gd name="T53" fmla="*/ 511 h 683"/>
                  <a:gd name="T54" fmla="*/ 361 w 700"/>
                  <a:gd name="T55" fmla="*/ 493 h 683"/>
                  <a:gd name="T56" fmla="*/ 348 w 700"/>
                  <a:gd name="T57" fmla="*/ 488 h 683"/>
                  <a:gd name="T58" fmla="*/ 348 w 700"/>
                  <a:gd name="T59" fmla="*/ 470 h 683"/>
                  <a:gd name="T60" fmla="*/ 311 w 700"/>
                  <a:gd name="T61" fmla="*/ 488 h 683"/>
                  <a:gd name="T62" fmla="*/ 316 w 700"/>
                  <a:gd name="T63" fmla="*/ 448 h 683"/>
                  <a:gd name="T64" fmla="*/ 244 w 700"/>
                  <a:gd name="T65" fmla="*/ 421 h 683"/>
                  <a:gd name="T66" fmla="*/ 131 w 700"/>
                  <a:gd name="T67" fmla="*/ 461 h 683"/>
                  <a:gd name="T68" fmla="*/ 36 w 700"/>
                  <a:gd name="T69" fmla="*/ 479 h 683"/>
                  <a:gd name="T70" fmla="*/ 22 w 700"/>
                  <a:gd name="T71" fmla="*/ 434 h 683"/>
                  <a:gd name="T72" fmla="*/ 36 w 700"/>
                  <a:gd name="T73" fmla="*/ 335 h 683"/>
                  <a:gd name="T74" fmla="*/ 40 w 700"/>
                  <a:gd name="T75" fmla="*/ 298 h 683"/>
                  <a:gd name="T76" fmla="*/ 54 w 700"/>
                  <a:gd name="T77" fmla="*/ 294 h 683"/>
                  <a:gd name="T78" fmla="*/ 77 w 700"/>
                  <a:gd name="T79" fmla="*/ 213 h 683"/>
                  <a:gd name="T80" fmla="*/ 135 w 700"/>
                  <a:gd name="T81" fmla="*/ 190 h 683"/>
                  <a:gd name="T82" fmla="*/ 226 w 700"/>
                  <a:gd name="T83" fmla="*/ 149 h 683"/>
                  <a:gd name="T84" fmla="*/ 257 w 700"/>
                  <a:gd name="T85" fmla="*/ 127 h 683"/>
                  <a:gd name="T86" fmla="*/ 262 w 700"/>
                  <a:gd name="T87" fmla="*/ 109 h 683"/>
                  <a:gd name="T88" fmla="*/ 280 w 700"/>
                  <a:gd name="T89" fmla="*/ 104 h 683"/>
                  <a:gd name="T90" fmla="*/ 293 w 700"/>
                  <a:gd name="T91" fmla="*/ 90 h 683"/>
                  <a:gd name="T92" fmla="*/ 298 w 700"/>
                  <a:gd name="T93" fmla="*/ 72 h 683"/>
                  <a:gd name="T94" fmla="*/ 316 w 700"/>
                  <a:gd name="T95" fmla="*/ 68 h 683"/>
                  <a:gd name="T96" fmla="*/ 339 w 700"/>
                  <a:gd name="T97" fmla="*/ 59 h 683"/>
                  <a:gd name="T98" fmla="*/ 352 w 700"/>
                  <a:gd name="T99" fmla="*/ 77 h 683"/>
                  <a:gd name="T100" fmla="*/ 379 w 700"/>
                  <a:gd name="T101" fmla="*/ 77 h 683"/>
                  <a:gd name="T102" fmla="*/ 393 w 700"/>
                  <a:gd name="T103" fmla="*/ 41 h 683"/>
                  <a:gd name="T104" fmla="*/ 415 w 700"/>
                  <a:gd name="T105" fmla="*/ 23 h 683"/>
                  <a:gd name="T106" fmla="*/ 433 w 700"/>
                  <a:gd name="T107" fmla="*/ 9 h 683"/>
                  <a:gd name="T108" fmla="*/ 451 w 700"/>
                  <a:gd name="T109" fmla="*/ 18 h 683"/>
                  <a:gd name="T110" fmla="*/ 492 w 700"/>
                  <a:gd name="T111" fmla="*/ 23 h 683"/>
                  <a:gd name="T112" fmla="*/ 510 w 700"/>
                  <a:gd name="T113" fmla="*/ 32 h 683"/>
                  <a:gd name="T114" fmla="*/ 474 w 700"/>
                  <a:gd name="T115" fmla="*/ 86 h 683"/>
                  <a:gd name="T116" fmla="*/ 506 w 700"/>
                  <a:gd name="T117" fmla="*/ 118 h 683"/>
                  <a:gd name="T118" fmla="*/ 564 w 700"/>
                  <a:gd name="T119" fmla="*/ 122 h 683"/>
                  <a:gd name="T120" fmla="*/ 596 w 700"/>
                  <a:gd name="T121" fmla="*/ 41 h 683"/>
                  <a:gd name="T122" fmla="*/ 614 w 700"/>
                  <a:gd name="T123" fmla="*/ 5 h 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0" h="683">
                    <a:moveTo>
                      <a:pt x="379" y="624"/>
                    </a:moveTo>
                    <a:lnTo>
                      <a:pt x="379" y="624"/>
                    </a:lnTo>
                    <a:lnTo>
                      <a:pt x="379" y="624"/>
                    </a:lnTo>
                    <a:lnTo>
                      <a:pt x="379" y="624"/>
                    </a:lnTo>
                    <a:lnTo>
                      <a:pt x="379" y="624"/>
                    </a:lnTo>
                    <a:lnTo>
                      <a:pt x="379" y="624"/>
                    </a:lnTo>
                    <a:lnTo>
                      <a:pt x="384" y="624"/>
                    </a:lnTo>
                    <a:lnTo>
                      <a:pt x="384" y="624"/>
                    </a:lnTo>
                    <a:lnTo>
                      <a:pt x="384" y="628"/>
                    </a:lnTo>
                    <a:lnTo>
                      <a:pt x="384" y="628"/>
                    </a:lnTo>
                    <a:lnTo>
                      <a:pt x="384" y="628"/>
                    </a:lnTo>
                    <a:lnTo>
                      <a:pt x="384" y="628"/>
                    </a:lnTo>
                    <a:lnTo>
                      <a:pt x="384" y="628"/>
                    </a:lnTo>
                    <a:lnTo>
                      <a:pt x="384" y="628"/>
                    </a:lnTo>
                    <a:lnTo>
                      <a:pt x="388" y="633"/>
                    </a:lnTo>
                    <a:lnTo>
                      <a:pt x="388" y="633"/>
                    </a:lnTo>
                    <a:lnTo>
                      <a:pt x="393" y="633"/>
                    </a:lnTo>
                    <a:lnTo>
                      <a:pt x="397" y="633"/>
                    </a:lnTo>
                    <a:lnTo>
                      <a:pt x="397" y="633"/>
                    </a:lnTo>
                    <a:lnTo>
                      <a:pt x="397" y="633"/>
                    </a:lnTo>
                    <a:lnTo>
                      <a:pt x="397" y="633"/>
                    </a:lnTo>
                    <a:lnTo>
                      <a:pt x="397" y="633"/>
                    </a:lnTo>
                    <a:lnTo>
                      <a:pt x="397" y="633"/>
                    </a:lnTo>
                    <a:lnTo>
                      <a:pt x="402" y="633"/>
                    </a:lnTo>
                    <a:lnTo>
                      <a:pt x="402" y="633"/>
                    </a:lnTo>
                    <a:lnTo>
                      <a:pt x="402" y="633"/>
                    </a:lnTo>
                    <a:lnTo>
                      <a:pt x="406" y="633"/>
                    </a:lnTo>
                    <a:lnTo>
                      <a:pt x="406" y="633"/>
                    </a:lnTo>
                    <a:lnTo>
                      <a:pt x="406" y="633"/>
                    </a:lnTo>
                    <a:lnTo>
                      <a:pt x="406" y="633"/>
                    </a:lnTo>
                    <a:lnTo>
                      <a:pt x="411" y="633"/>
                    </a:lnTo>
                    <a:lnTo>
                      <a:pt x="411" y="633"/>
                    </a:lnTo>
                    <a:lnTo>
                      <a:pt x="411" y="628"/>
                    </a:lnTo>
                    <a:lnTo>
                      <a:pt x="415" y="628"/>
                    </a:lnTo>
                    <a:lnTo>
                      <a:pt x="415" y="628"/>
                    </a:lnTo>
                    <a:lnTo>
                      <a:pt x="415" y="628"/>
                    </a:lnTo>
                    <a:lnTo>
                      <a:pt x="420" y="628"/>
                    </a:lnTo>
                    <a:lnTo>
                      <a:pt x="420" y="628"/>
                    </a:lnTo>
                    <a:lnTo>
                      <a:pt x="420" y="628"/>
                    </a:lnTo>
                    <a:lnTo>
                      <a:pt x="420" y="633"/>
                    </a:lnTo>
                    <a:lnTo>
                      <a:pt x="420" y="638"/>
                    </a:lnTo>
                    <a:lnTo>
                      <a:pt x="420" y="638"/>
                    </a:lnTo>
                    <a:lnTo>
                      <a:pt x="415" y="638"/>
                    </a:lnTo>
                    <a:lnTo>
                      <a:pt x="415" y="642"/>
                    </a:lnTo>
                    <a:lnTo>
                      <a:pt x="415" y="642"/>
                    </a:lnTo>
                    <a:lnTo>
                      <a:pt x="411" y="642"/>
                    </a:lnTo>
                    <a:lnTo>
                      <a:pt x="411" y="647"/>
                    </a:lnTo>
                    <a:lnTo>
                      <a:pt x="406" y="651"/>
                    </a:lnTo>
                    <a:lnTo>
                      <a:pt x="406" y="651"/>
                    </a:lnTo>
                    <a:lnTo>
                      <a:pt x="406" y="651"/>
                    </a:lnTo>
                    <a:lnTo>
                      <a:pt x="406" y="656"/>
                    </a:lnTo>
                    <a:lnTo>
                      <a:pt x="406" y="656"/>
                    </a:lnTo>
                    <a:lnTo>
                      <a:pt x="406" y="656"/>
                    </a:lnTo>
                    <a:lnTo>
                      <a:pt x="402" y="656"/>
                    </a:lnTo>
                    <a:lnTo>
                      <a:pt x="402" y="656"/>
                    </a:lnTo>
                    <a:lnTo>
                      <a:pt x="402" y="660"/>
                    </a:lnTo>
                    <a:lnTo>
                      <a:pt x="402" y="660"/>
                    </a:lnTo>
                    <a:lnTo>
                      <a:pt x="402" y="656"/>
                    </a:lnTo>
                    <a:lnTo>
                      <a:pt x="402" y="656"/>
                    </a:lnTo>
                    <a:lnTo>
                      <a:pt x="402" y="656"/>
                    </a:lnTo>
                    <a:lnTo>
                      <a:pt x="402" y="656"/>
                    </a:lnTo>
                    <a:lnTo>
                      <a:pt x="402" y="656"/>
                    </a:lnTo>
                    <a:lnTo>
                      <a:pt x="402" y="656"/>
                    </a:lnTo>
                    <a:lnTo>
                      <a:pt x="406" y="651"/>
                    </a:lnTo>
                    <a:lnTo>
                      <a:pt x="406" y="651"/>
                    </a:lnTo>
                    <a:lnTo>
                      <a:pt x="402" y="651"/>
                    </a:lnTo>
                    <a:lnTo>
                      <a:pt x="402" y="656"/>
                    </a:lnTo>
                    <a:lnTo>
                      <a:pt x="402" y="656"/>
                    </a:lnTo>
                    <a:lnTo>
                      <a:pt x="402" y="656"/>
                    </a:lnTo>
                    <a:lnTo>
                      <a:pt x="397" y="656"/>
                    </a:lnTo>
                    <a:lnTo>
                      <a:pt x="397" y="656"/>
                    </a:lnTo>
                    <a:lnTo>
                      <a:pt x="397" y="660"/>
                    </a:lnTo>
                    <a:lnTo>
                      <a:pt x="393" y="660"/>
                    </a:lnTo>
                    <a:lnTo>
                      <a:pt x="393" y="665"/>
                    </a:lnTo>
                    <a:lnTo>
                      <a:pt x="393" y="665"/>
                    </a:lnTo>
                    <a:lnTo>
                      <a:pt x="388" y="665"/>
                    </a:lnTo>
                    <a:lnTo>
                      <a:pt x="388" y="669"/>
                    </a:lnTo>
                    <a:lnTo>
                      <a:pt x="384" y="674"/>
                    </a:lnTo>
                    <a:lnTo>
                      <a:pt x="384" y="674"/>
                    </a:lnTo>
                    <a:lnTo>
                      <a:pt x="384" y="674"/>
                    </a:lnTo>
                    <a:lnTo>
                      <a:pt x="379" y="674"/>
                    </a:lnTo>
                    <a:lnTo>
                      <a:pt x="379" y="678"/>
                    </a:lnTo>
                    <a:lnTo>
                      <a:pt x="379" y="674"/>
                    </a:lnTo>
                    <a:lnTo>
                      <a:pt x="379" y="674"/>
                    </a:lnTo>
                    <a:lnTo>
                      <a:pt x="379" y="674"/>
                    </a:lnTo>
                    <a:lnTo>
                      <a:pt x="384" y="674"/>
                    </a:lnTo>
                    <a:lnTo>
                      <a:pt x="384" y="674"/>
                    </a:lnTo>
                    <a:lnTo>
                      <a:pt x="384" y="669"/>
                    </a:lnTo>
                    <a:lnTo>
                      <a:pt x="384" y="669"/>
                    </a:lnTo>
                    <a:lnTo>
                      <a:pt x="384" y="669"/>
                    </a:lnTo>
                    <a:lnTo>
                      <a:pt x="384" y="669"/>
                    </a:lnTo>
                    <a:lnTo>
                      <a:pt x="379" y="669"/>
                    </a:lnTo>
                    <a:lnTo>
                      <a:pt x="379" y="669"/>
                    </a:lnTo>
                    <a:lnTo>
                      <a:pt x="379" y="674"/>
                    </a:lnTo>
                    <a:lnTo>
                      <a:pt x="379" y="674"/>
                    </a:lnTo>
                    <a:lnTo>
                      <a:pt x="379" y="669"/>
                    </a:lnTo>
                    <a:lnTo>
                      <a:pt x="379" y="669"/>
                    </a:lnTo>
                    <a:lnTo>
                      <a:pt x="379" y="669"/>
                    </a:lnTo>
                    <a:lnTo>
                      <a:pt x="379" y="669"/>
                    </a:lnTo>
                    <a:lnTo>
                      <a:pt x="375" y="669"/>
                    </a:lnTo>
                    <a:lnTo>
                      <a:pt x="375" y="674"/>
                    </a:lnTo>
                    <a:lnTo>
                      <a:pt x="375" y="674"/>
                    </a:lnTo>
                    <a:lnTo>
                      <a:pt x="375" y="674"/>
                    </a:lnTo>
                    <a:lnTo>
                      <a:pt x="375" y="674"/>
                    </a:lnTo>
                    <a:lnTo>
                      <a:pt x="370" y="674"/>
                    </a:lnTo>
                    <a:lnTo>
                      <a:pt x="370" y="678"/>
                    </a:lnTo>
                    <a:lnTo>
                      <a:pt x="370" y="674"/>
                    </a:lnTo>
                    <a:lnTo>
                      <a:pt x="370" y="674"/>
                    </a:lnTo>
                    <a:lnTo>
                      <a:pt x="366" y="674"/>
                    </a:lnTo>
                    <a:lnTo>
                      <a:pt x="370" y="678"/>
                    </a:lnTo>
                    <a:lnTo>
                      <a:pt x="366" y="678"/>
                    </a:lnTo>
                    <a:lnTo>
                      <a:pt x="366" y="678"/>
                    </a:lnTo>
                    <a:lnTo>
                      <a:pt x="361" y="683"/>
                    </a:lnTo>
                    <a:lnTo>
                      <a:pt x="361" y="683"/>
                    </a:lnTo>
                    <a:lnTo>
                      <a:pt x="361" y="683"/>
                    </a:lnTo>
                    <a:lnTo>
                      <a:pt x="357" y="683"/>
                    </a:lnTo>
                    <a:lnTo>
                      <a:pt x="357" y="678"/>
                    </a:lnTo>
                    <a:lnTo>
                      <a:pt x="357" y="678"/>
                    </a:lnTo>
                    <a:lnTo>
                      <a:pt x="352" y="678"/>
                    </a:lnTo>
                    <a:lnTo>
                      <a:pt x="348" y="678"/>
                    </a:lnTo>
                    <a:lnTo>
                      <a:pt x="352" y="678"/>
                    </a:lnTo>
                    <a:lnTo>
                      <a:pt x="352" y="678"/>
                    </a:lnTo>
                    <a:lnTo>
                      <a:pt x="352" y="678"/>
                    </a:lnTo>
                    <a:lnTo>
                      <a:pt x="352" y="678"/>
                    </a:lnTo>
                    <a:lnTo>
                      <a:pt x="357" y="678"/>
                    </a:lnTo>
                    <a:lnTo>
                      <a:pt x="357" y="674"/>
                    </a:lnTo>
                    <a:lnTo>
                      <a:pt x="357" y="674"/>
                    </a:lnTo>
                    <a:lnTo>
                      <a:pt x="352" y="674"/>
                    </a:lnTo>
                    <a:lnTo>
                      <a:pt x="352" y="674"/>
                    </a:lnTo>
                    <a:lnTo>
                      <a:pt x="352" y="674"/>
                    </a:lnTo>
                    <a:lnTo>
                      <a:pt x="352" y="674"/>
                    </a:lnTo>
                    <a:lnTo>
                      <a:pt x="352" y="669"/>
                    </a:lnTo>
                    <a:lnTo>
                      <a:pt x="352" y="669"/>
                    </a:lnTo>
                    <a:lnTo>
                      <a:pt x="352" y="669"/>
                    </a:lnTo>
                    <a:lnTo>
                      <a:pt x="352" y="669"/>
                    </a:lnTo>
                    <a:lnTo>
                      <a:pt x="352" y="669"/>
                    </a:lnTo>
                    <a:lnTo>
                      <a:pt x="352" y="660"/>
                    </a:lnTo>
                    <a:lnTo>
                      <a:pt x="357" y="656"/>
                    </a:lnTo>
                    <a:lnTo>
                      <a:pt x="357" y="651"/>
                    </a:lnTo>
                    <a:lnTo>
                      <a:pt x="357" y="656"/>
                    </a:lnTo>
                    <a:lnTo>
                      <a:pt x="357" y="656"/>
                    </a:lnTo>
                    <a:lnTo>
                      <a:pt x="357" y="660"/>
                    </a:lnTo>
                    <a:lnTo>
                      <a:pt x="361" y="656"/>
                    </a:lnTo>
                    <a:lnTo>
                      <a:pt x="361" y="656"/>
                    </a:lnTo>
                    <a:lnTo>
                      <a:pt x="361" y="651"/>
                    </a:lnTo>
                    <a:lnTo>
                      <a:pt x="361" y="651"/>
                    </a:lnTo>
                    <a:lnTo>
                      <a:pt x="361" y="651"/>
                    </a:lnTo>
                    <a:lnTo>
                      <a:pt x="361" y="651"/>
                    </a:lnTo>
                    <a:lnTo>
                      <a:pt x="357" y="651"/>
                    </a:lnTo>
                    <a:lnTo>
                      <a:pt x="361" y="651"/>
                    </a:lnTo>
                    <a:lnTo>
                      <a:pt x="361" y="647"/>
                    </a:lnTo>
                    <a:lnTo>
                      <a:pt x="361" y="647"/>
                    </a:lnTo>
                    <a:lnTo>
                      <a:pt x="361" y="642"/>
                    </a:lnTo>
                    <a:lnTo>
                      <a:pt x="366" y="638"/>
                    </a:lnTo>
                    <a:lnTo>
                      <a:pt x="366" y="638"/>
                    </a:lnTo>
                    <a:lnTo>
                      <a:pt x="366" y="633"/>
                    </a:lnTo>
                    <a:lnTo>
                      <a:pt x="366" y="633"/>
                    </a:lnTo>
                    <a:lnTo>
                      <a:pt x="366" y="628"/>
                    </a:lnTo>
                    <a:lnTo>
                      <a:pt x="370" y="628"/>
                    </a:lnTo>
                    <a:lnTo>
                      <a:pt x="370" y="624"/>
                    </a:lnTo>
                    <a:lnTo>
                      <a:pt x="375" y="619"/>
                    </a:lnTo>
                    <a:lnTo>
                      <a:pt x="375" y="624"/>
                    </a:lnTo>
                    <a:lnTo>
                      <a:pt x="379" y="624"/>
                    </a:lnTo>
                    <a:moveTo>
                      <a:pt x="334" y="511"/>
                    </a:moveTo>
                    <a:lnTo>
                      <a:pt x="334" y="511"/>
                    </a:lnTo>
                    <a:lnTo>
                      <a:pt x="339" y="515"/>
                    </a:lnTo>
                    <a:lnTo>
                      <a:pt x="339" y="515"/>
                    </a:lnTo>
                    <a:lnTo>
                      <a:pt x="339" y="515"/>
                    </a:lnTo>
                    <a:lnTo>
                      <a:pt x="339" y="515"/>
                    </a:lnTo>
                    <a:lnTo>
                      <a:pt x="339" y="515"/>
                    </a:lnTo>
                    <a:lnTo>
                      <a:pt x="339" y="515"/>
                    </a:lnTo>
                    <a:lnTo>
                      <a:pt x="334" y="515"/>
                    </a:lnTo>
                    <a:lnTo>
                      <a:pt x="334" y="515"/>
                    </a:lnTo>
                    <a:lnTo>
                      <a:pt x="334" y="515"/>
                    </a:lnTo>
                    <a:lnTo>
                      <a:pt x="330" y="520"/>
                    </a:lnTo>
                    <a:lnTo>
                      <a:pt x="330" y="520"/>
                    </a:lnTo>
                    <a:lnTo>
                      <a:pt x="325" y="520"/>
                    </a:lnTo>
                    <a:lnTo>
                      <a:pt x="325" y="515"/>
                    </a:lnTo>
                    <a:lnTo>
                      <a:pt x="325" y="520"/>
                    </a:lnTo>
                    <a:lnTo>
                      <a:pt x="320" y="520"/>
                    </a:lnTo>
                    <a:lnTo>
                      <a:pt x="320" y="520"/>
                    </a:lnTo>
                    <a:lnTo>
                      <a:pt x="316" y="520"/>
                    </a:lnTo>
                    <a:lnTo>
                      <a:pt x="316" y="515"/>
                    </a:lnTo>
                    <a:lnTo>
                      <a:pt x="316" y="515"/>
                    </a:lnTo>
                    <a:lnTo>
                      <a:pt x="316" y="515"/>
                    </a:lnTo>
                    <a:lnTo>
                      <a:pt x="320" y="511"/>
                    </a:lnTo>
                    <a:lnTo>
                      <a:pt x="325" y="511"/>
                    </a:lnTo>
                    <a:lnTo>
                      <a:pt x="330" y="511"/>
                    </a:lnTo>
                    <a:lnTo>
                      <a:pt x="334" y="511"/>
                    </a:lnTo>
                    <a:lnTo>
                      <a:pt x="334" y="511"/>
                    </a:lnTo>
                    <a:lnTo>
                      <a:pt x="334" y="511"/>
                    </a:lnTo>
                    <a:lnTo>
                      <a:pt x="334" y="511"/>
                    </a:lnTo>
                    <a:lnTo>
                      <a:pt x="334" y="511"/>
                    </a:lnTo>
                    <a:moveTo>
                      <a:pt x="686" y="326"/>
                    </a:moveTo>
                    <a:lnTo>
                      <a:pt x="686" y="326"/>
                    </a:lnTo>
                    <a:lnTo>
                      <a:pt x="686" y="326"/>
                    </a:lnTo>
                    <a:lnTo>
                      <a:pt x="686" y="326"/>
                    </a:lnTo>
                    <a:lnTo>
                      <a:pt x="686" y="321"/>
                    </a:lnTo>
                    <a:lnTo>
                      <a:pt x="691" y="321"/>
                    </a:lnTo>
                    <a:lnTo>
                      <a:pt x="691" y="317"/>
                    </a:lnTo>
                    <a:lnTo>
                      <a:pt x="691" y="317"/>
                    </a:lnTo>
                    <a:lnTo>
                      <a:pt x="691" y="317"/>
                    </a:lnTo>
                    <a:lnTo>
                      <a:pt x="695" y="312"/>
                    </a:lnTo>
                    <a:lnTo>
                      <a:pt x="695" y="312"/>
                    </a:lnTo>
                    <a:lnTo>
                      <a:pt x="700" y="307"/>
                    </a:lnTo>
                    <a:lnTo>
                      <a:pt x="700" y="307"/>
                    </a:lnTo>
                    <a:lnTo>
                      <a:pt x="700" y="307"/>
                    </a:lnTo>
                    <a:lnTo>
                      <a:pt x="700" y="307"/>
                    </a:lnTo>
                    <a:lnTo>
                      <a:pt x="700" y="307"/>
                    </a:lnTo>
                    <a:lnTo>
                      <a:pt x="700" y="303"/>
                    </a:lnTo>
                    <a:lnTo>
                      <a:pt x="700" y="307"/>
                    </a:lnTo>
                    <a:lnTo>
                      <a:pt x="700" y="307"/>
                    </a:lnTo>
                    <a:lnTo>
                      <a:pt x="700" y="312"/>
                    </a:lnTo>
                    <a:lnTo>
                      <a:pt x="700" y="312"/>
                    </a:lnTo>
                    <a:lnTo>
                      <a:pt x="691" y="321"/>
                    </a:lnTo>
                    <a:lnTo>
                      <a:pt x="686" y="326"/>
                    </a:lnTo>
                    <a:lnTo>
                      <a:pt x="686" y="326"/>
                    </a:lnTo>
                    <a:moveTo>
                      <a:pt x="501" y="63"/>
                    </a:moveTo>
                    <a:lnTo>
                      <a:pt x="501" y="63"/>
                    </a:lnTo>
                    <a:lnTo>
                      <a:pt x="501" y="63"/>
                    </a:lnTo>
                    <a:lnTo>
                      <a:pt x="501" y="63"/>
                    </a:lnTo>
                    <a:lnTo>
                      <a:pt x="501" y="59"/>
                    </a:lnTo>
                    <a:lnTo>
                      <a:pt x="501" y="59"/>
                    </a:lnTo>
                    <a:lnTo>
                      <a:pt x="501" y="63"/>
                    </a:lnTo>
                    <a:lnTo>
                      <a:pt x="501" y="63"/>
                    </a:lnTo>
                    <a:lnTo>
                      <a:pt x="501" y="63"/>
                    </a:lnTo>
                    <a:lnTo>
                      <a:pt x="501" y="63"/>
                    </a:lnTo>
                    <a:lnTo>
                      <a:pt x="501" y="63"/>
                    </a:lnTo>
                    <a:lnTo>
                      <a:pt x="501" y="68"/>
                    </a:lnTo>
                    <a:lnTo>
                      <a:pt x="501" y="68"/>
                    </a:lnTo>
                    <a:lnTo>
                      <a:pt x="501" y="68"/>
                    </a:lnTo>
                    <a:lnTo>
                      <a:pt x="501" y="68"/>
                    </a:lnTo>
                    <a:lnTo>
                      <a:pt x="501" y="68"/>
                    </a:lnTo>
                    <a:lnTo>
                      <a:pt x="501" y="68"/>
                    </a:lnTo>
                    <a:lnTo>
                      <a:pt x="501" y="72"/>
                    </a:lnTo>
                    <a:lnTo>
                      <a:pt x="501" y="72"/>
                    </a:lnTo>
                    <a:lnTo>
                      <a:pt x="497" y="72"/>
                    </a:lnTo>
                    <a:lnTo>
                      <a:pt x="497" y="72"/>
                    </a:lnTo>
                    <a:lnTo>
                      <a:pt x="492" y="72"/>
                    </a:lnTo>
                    <a:lnTo>
                      <a:pt x="492" y="68"/>
                    </a:lnTo>
                    <a:lnTo>
                      <a:pt x="492" y="68"/>
                    </a:lnTo>
                    <a:lnTo>
                      <a:pt x="492" y="68"/>
                    </a:lnTo>
                    <a:lnTo>
                      <a:pt x="492" y="68"/>
                    </a:lnTo>
                    <a:lnTo>
                      <a:pt x="492" y="63"/>
                    </a:lnTo>
                    <a:lnTo>
                      <a:pt x="497" y="63"/>
                    </a:lnTo>
                    <a:lnTo>
                      <a:pt x="497" y="59"/>
                    </a:lnTo>
                    <a:lnTo>
                      <a:pt x="497" y="59"/>
                    </a:lnTo>
                    <a:lnTo>
                      <a:pt x="501" y="59"/>
                    </a:lnTo>
                    <a:lnTo>
                      <a:pt x="501" y="59"/>
                    </a:lnTo>
                    <a:lnTo>
                      <a:pt x="501" y="59"/>
                    </a:lnTo>
                    <a:lnTo>
                      <a:pt x="501" y="63"/>
                    </a:lnTo>
                    <a:moveTo>
                      <a:pt x="406" y="9"/>
                    </a:moveTo>
                    <a:lnTo>
                      <a:pt x="406" y="9"/>
                    </a:lnTo>
                    <a:lnTo>
                      <a:pt x="406" y="9"/>
                    </a:lnTo>
                    <a:lnTo>
                      <a:pt x="411" y="5"/>
                    </a:lnTo>
                    <a:lnTo>
                      <a:pt x="411" y="9"/>
                    </a:lnTo>
                    <a:lnTo>
                      <a:pt x="411" y="9"/>
                    </a:lnTo>
                    <a:lnTo>
                      <a:pt x="415" y="5"/>
                    </a:lnTo>
                    <a:lnTo>
                      <a:pt x="415" y="5"/>
                    </a:lnTo>
                    <a:lnTo>
                      <a:pt x="415" y="5"/>
                    </a:lnTo>
                    <a:lnTo>
                      <a:pt x="415" y="5"/>
                    </a:lnTo>
                    <a:lnTo>
                      <a:pt x="420" y="9"/>
                    </a:lnTo>
                    <a:lnTo>
                      <a:pt x="420" y="9"/>
                    </a:lnTo>
                    <a:lnTo>
                      <a:pt x="420" y="9"/>
                    </a:lnTo>
                    <a:lnTo>
                      <a:pt x="420" y="9"/>
                    </a:lnTo>
                    <a:lnTo>
                      <a:pt x="420" y="9"/>
                    </a:lnTo>
                    <a:lnTo>
                      <a:pt x="420" y="14"/>
                    </a:lnTo>
                    <a:lnTo>
                      <a:pt x="415" y="14"/>
                    </a:lnTo>
                    <a:lnTo>
                      <a:pt x="415" y="14"/>
                    </a:lnTo>
                    <a:lnTo>
                      <a:pt x="411" y="18"/>
                    </a:lnTo>
                    <a:lnTo>
                      <a:pt x="406" y="14"/>
                    </a:lnTo>
                    <a:lnTo>
                      <a:pt x="402" y="14"/>
                    </a:lnTo>
                    <a:lnTo>
                      <a:pt x="402" y="9"/>
                    </a:lnTo>
                    <a:lnTo>
                      <a:pt x="402" y="5"/>
                    </a:lnTo>
                    <a:lnTo>
                      <a:pt x="402" y="5"/>
                    </a:lnTo>
                    <a:lnTo>
                      <a:pt x="402" y="5"/>
                    </a:lnTo>
                    <a:lnTo>
                      <a:pt x="402" y="5"/>
                    </a:lnTo>
                    <a:lnTo>
                      <a:pt x="402" y="5"/>
                    </a:lnTo>
                    <a:lnTo>
                      <a:pt x="402" y="5"/>
                    </a:lnTo>
                    <a:lnTo>
                      <a:pt x="406" y="5"/>
                    </a:lnTo>
                    <a:lnTo>
                      <a:pt x="406" y="9"/>
                    </a:lnTo>
                    <a:moveTo>
                      <a:pt x="619" y="27"/>
                    </a:moveTo>
                    <a:lnTo>
                      <a:pt x="619" y="27"/>
                    </a:lnTo>
                    <a:lnTo>
                      <a:pt x="619" y="27"/>
                    </a:lnTo>
                    <a:lnTo>
                      <a:pt x="619" y="32"/>
                    </a:lnTo>
                    <a:lnTo>
                      <a:pt x="619" y="32"/>
                    </a:lnTo>
                    <a:lnTo>
                      <a:pt x="619" y="32"/>
                    </a:lnTo>
                    <a:lnTo>
                      <a:pt x="619" y="36"/>
                    </a:lnTo>
                    <a:lnTo>
                      <a:pt x="619" y="36"/>
                    </a:lnTo>
                    <a:lnTo>
                      <a:pt x="619" y="36"/>
                    </a:lnTo>
                    <a:lnTo>
                      <a:pt x="619" y="41"/>
                    </a:lnTo>
                    <a:lnTo>
                      <a:pt x="619" y="41"/>
                    </a:lnTo>
                    <a:lnTo>
                      <a:pt x="619" y="45"/>
                    </a:lnTo>
                    <a:lnTo>
                      <a:pt x="619" y="50"/>
                    </a:lnTo>
                    <a:lnTo>
                      <a:pt x="619" y="54"/>
                    </a:lnTo>
                    <a:lnTo>
                      <a:pt x="619" y="59"/>
                    </a:lnTo>
                    <a:lnTo>
                      <a:pt x="619" y="63"/>
                    </a:lnTo>
                    <a:lnTo>
                      <a:pt x="619" y="68"/>
                    </a:lnTo>
                    <a:lnTo>
                      <a:pt x="619" y="68"/>
                    </a:lnTo>
                    <a:lnTo>
                      <a:pt x="619" y="72"/>
                    </a:lnTo>
                    <a:lnTo>
                      <a:pt x="619" y="77"/>
                    </a:lnTo>
                    <a:lnTo>
                      <a:pt x="619" y="77"/>
                    </a:lnTo>
                    <a:lnTo>
                      <a:pt x="619" y="81"/>
                    </a:lnTo>
                    <a:lnTo>
                      <a:pt x="623" y="77"/>
                    </a:lnTo>
                    <a:lnTo>
                      <a:pt x="628" y="77"/>
                    </a:lnTo>
                    <a:lnTo>
                      <a:pt x="628" y="77"/>
                    </a:lnTo>
                    <a:lnTo>
                      <a:pt x="632" y="77"/>
                    </a:lnTo>
                    <a:lnTo>
                      <a:pt x="632" y="77"/>
                    </a:lnTo>
                    <a:lnTo>
                      <a:pt x="632" y="81"/>
                    </a:lnTo>
                    <a:lnTo>
                      <a:pt x="637" y="86"/>
                    </a:lnTo>
                    <a:lnTo>
                      <a:pt x="637" y="86"/>
                    </a:lnTo>
                    <a:lnTo>
                      <a:pt x="641" y="90"/>
                    </a:lnTo>
                    <a:lnTo>
                      <a:pt x="641" y="90"/>
                    </a:lnTo>
                    <a:lnTo>
                      <a:pt x="641" y="90"/>
                    </a:lnTo>
                    <a:lnTo>
                      <a:pt x="641" y="95"/>
                    </a:lnTo>
                    <a:lnTo>
                      <a:pt x="641" y="95"/>
                    </a:lnTo>
                    <a:lnTo>
                      <a:pt x="637" y="100"/>
                    </a:lnTo>
                    <a:lnTo>
                      <a:pt x="637" y="104"/>
                    </a:lnTo>
                    <a:lnTo>
                      <a:pt x="637" y="109"/>
                    </a:lnTo>
                    <a:lnTo>
                      <a:pt x="637" y="109"/>
                    </a:lnTo>
                    <a:lnTo>
                      <a:pt x="637" y="113"/>
                    </a:lnTo>
                    <a:lnTo>
                      <a:pt x="637" y="118"/>
                    </a:lnTo>
                    <a:lnTo>
                      <a:pt x="637" y="118"/>
                    </a:lnTo>
                    <a:lnTo>
                      <a:pt x="637" y="122"/>
                    </a:lnTo>
                    <a:lnTo>
                      <a:pt x="637" y="122"/>
                    </a:lnTo>
                    <a:lnTo>
                      <a:pt x="637" y="127"/>
                    </a:lnTo>
                    <a:lnTo>
                      <a:pt x="637" y="127"/>
                    </a:lnTo>
                    <a:lnTo>
                      <a:pt x="637" y="131"/>
                    </a:lnTo>
                    <a:lnTo>
                      <a:pt x="637" y="131"/>
                    </a:lnTo>
                    <a:lnTo>
                      <a:pt x="641" y="131"/>
                    </a:lnTo>
                    <a:lnTo>
                      <a:pt x="641" y="136"/>
                    </a:lnTo>
                    <a:lnTo>
                      <a:pt x="641" y="145"/>
                    </a:lnTo>
                    <a:lnTo>
                      <a:pt x="641" y="149"/>
                    </a:lnTo>
                    <a:lnTo>
                      <a:pt x="637" y="154"/>
                    </a:lnTo>
                    <a:lnTo>
                      <a:pt x="632" y="158"/>
                    </a:lnTo>
                    <a:lnTo>
                      <a:pt x="632" y="163"/>
                    </a:lnTo>
                    <a:lnTo>
                      <a:pt x="637" y="167"/>
                    </a:lnTo>
                    <a:lnTo>
                      <a:pt x="637" y="167"/>
                    </a:lnTo>
                    <a:lnTo>
                      <a:pt x="637" y="172"/>
                    </a:lnTo>
                    <a:lnTo>
                      <a:pt x="632" y="172"/>
                    </a:lnTo>
                    <a:lnTo>
                      <a:pt x="637" y="176"/>
                    </a:lnTo>
                    <a:lnTo>
                      <a:pt x="637" y="181"/>
                    </a:lnTo>
                    <a:lnTo>
                      <a:pt x="637" y="181"/>
                    </a:lnTo>
                    <a:lnTo>
                      <a:pt x="637" y="181"/>
                    </a:lnTo>
                    <a:lnTo>
                      <a:pt x="641" y="181"/>
                    </a:lnTo>
                    <a:lnTo>
                      <a:pt x="641" y="181"/>
                    </a:lnTo>
                    <a:lnTo>
                      <a:pt x="646" y="185"/>
                    </a:lnTo>
                    <a:lnTo>
                      <a:pt x="646" y="185"/>
                    </a:lnTo>
                    <a:lnTo>
                      <a:pt x="646" y="185"/>
                    </a:lnTo>
                    <a:lnTo>
                      <a:pt x="646" y="185"/>
                    </a:lnTo>
                    <a:lnTo>
                      <a:pt x="650" y="185"/>
                    </a:lnTo>
                    <a:lnTo>
                      <a:pt x="650" y="185"/>
                    </a:lnTo>
                    <a:lnTo>
                      <a:pt x="650" y="190"/>
                    </a:lnTo>
                    <a:lnTo>
                      <a:pt x="650" y="190"/>
                    </a:lnTo>
                    <a:lnTo>
                      <a:pt x="650" y="194"/>
                    </a:lnTo>
                    <a:lnTo>
                      <a:pt x="655" y="194"/>
                    </a:lnTo>
                    <a:lnTo>
                      <a:pt x="655" y="199"/>
                    </a:lnTo>
                    <a:lnTo>
                      <a:pt x="655" y="199"/>
                    </a:lnTo>
                    <a:lnTo>
                      <a:pt x="655" y="199"/>
                    </a:lnTo>
                    <a:lnTo>
                      <a:pt x="659" y="199"/>
                    </a:lnTo>
                    <a:lnTo>
                      <a:pt x="659" y="203"/>
                    </a:lnTo>
                    <a:lnTo>
                      <a:pt x="664" y="203"/>
                    </a:lnTo>
                    <a:lnTo>
                      <a:pt x="664" y="203"/>
                    </a:lnTo>
                    <a:lnTo>
                      <a:pt x="664" y="208"/>
                    </a:lnTo>
                    <a:lnTo>
                      <a:pt x="664" y="208"/>
                    </a:lnTo>
                    <a:lnTo>
                      <a:pt x="664" y="213"/>
                    </a:lnTo>
                    <a:lnTo>
                      <a:pt x="664" y="213"/>
                    </a:lnTo>
                    <a:lnTo>
                      <a:pt x="664" y="208"/>
                    </a:lnTo>
                    <a:lnTo>
                      <a:pt x="659" y="213"/>
                    </a:lnTo>
                    <a:lnTo>
                      <a:pt x="664" y="217"/>
                    </a:lnTo>
                    <a:lnTo>
                      <a:pt x="664" y="217"/>
                    </a:lnTo>
                    <a:lnTo>
                      <a:pt x="664" y="222"/>
                    </a:lnTo>
                    <a:lnTo>
                      <a:pt x="664" y="226"/>
                    </a:lnTo>
                    <a:lnTo>
                      <a:pt x="664" y="226"/>
                    </a:lnTo>
                    <a:lnTo>
                      <a:pt x="664" y="226"/>
                    </a:lnTo>
                    <a:lnTo>
                      <a:pt x="664" y="231"/>
                    </a:lnTo>
                    <a:lnTo>
                      <a:pt x="668" y="235"/>
                    </a:lnTo>
                    <a:lnTo>
                      <a:pt x="664" y="240"/>
                    </a:lnTo>
                    <a:lnTo>
                      <a:pt x="664" y="244"/>
                    </a:lnTo>
                    <a:lnTo>
                      <a:pt x="664" y="249"/>
                    </a:lnTo>
                    <a:lnTo>
                      <a:pt x="664" y="249"/>
                    </a:lnTo>
                    <a:lnTo>
                      <a:pt x="664" y="253"/>
                    </a:lnTo>
                    <a:lnTo>
                      <a:pt x="664" y="253"/>
                    </a:lnTo>
                    <a:lnTo>
                      <a:pt x="664" y="253"/>
                    </a:lnTo>
                    <a:lnTo>
                      <a:pt x="668" y="253"/>
                    </a:lnTo>
                    <a:lnTo>
                      <a:pt x="668" y="253"/>
                    </a:lnTo>
                    <a:lnTo>
                      <a:pt x="668" y="253"/>
                    </a:lnTo>
                    <a:lnTo>
                      <a:pt x="668" y="249"/>
                    </a:lnTo>
                    <a:lnTo>
                      <a:pt x="668" y="249"/>
                    </a:lnTo>
                    <a:lnTo>
                      <a:pt x="673" y="249"/>
                    </a:lnTo>
                    <a:lnTo>
                      <a:pt x="673" y="249"/>
                    </a:lnTo>
                    <a:lnTo>
                      <a:pt x="673" y="249"/>
                    </a:lnTo>
                    <a:lnTo>
                      <a:pt x="673" y="253"/>
                    </a:lnTo>
                    <a:lnTo>
                      <a:pt x="673" y="253"/>
                    </a:lnTo>
                    <a:lnTo>
                      <a:pt x="677" y="258"/>
                    </a:lnTo>
                    <a:lnTo>
                      <a:pt x="677" y="258"/>
                    </a:lnTo>
                    <a:lnTo>
                      <a:pt x="677" y="253"/>
                    </a:lnTo>
                    <a:lnTo>
                      <a:pt x="677" y="253"/>
                    </a:lnTo>
                    <a:lnTo>
                      <a:pt x="677" y="253"/>
                    </a:lnTo>
                    <a:lnTo>
                      <a:pt x="677" y="253"/>
                    </a:lnTo>
                    <a:lnTo>
                      <a:pt x="677" y="258"/>
                    </a:lnTo>
                    <a:lnTo>
                      <a:pt x="677" y="262"/>
                    </a:lnTo>
                    <a:lnTo>
                      <a:pt x="673" y="271"/>
                    </a:lnTo>
                    <a:lnTo>
                      <a:pt x="673" y="276"/>
                    </a:lnTo>
                    <a:lnTo>
                      <a:pt x="673" y="276"/>
                    </a:lnTo>
                    <a:lnTo>
                      <a:pt x="673" y="280"/>
                    </a:lnTo>
                    <a:lnTo>
                      <a:pt x="673" y="280"/>
                    </a:lnTo>
                    <a:lnTo>
                      <a:pt x="673" y="285"/>
                    </a:lnTo>
                    <a:lnTo>
                      <a:pt x="677" y="285"/>
                    </a:lnTo>
                    <a:lnTo>
                      <a:pt x="677" y="289"/>
                    </a:lnTo>
                    <a:lnTo>
                      <a:pt x="682" y="289"/>
                    </a:lnTo>
                    <a:lnTo>
                      <a:pt x="682" y="289"/>
                    </a:lnTo>
                    <a:lnTo>
                      <a:pt x="682" y="289"/>
                    </a:lnTo>
                    <a:lnTo>
                      <a:pt x="682" y="294"/>
                    </a:lnTo>
                    <a:lnTo>
                      <a:pt x="682" y="298"/>
                    </a:lnTo>
                    <a:lnTo>
                      <a:pt x="682" y="303"/>
                    </a:lnTo>
                    <a:lnTo>
                      <a:pt x="686" y="303"/>
                    </a:lnTo>
                    <a:lnTo>
                      <a:pt x="686" y="303"/>
                    </a:lnTo>
                    <a:lnTo>
                      <a:pt x="686" y="307"/>
                    </a:lnTo>
                    <a:lnTo>
                      <a:pt x="686" y="307"/>
                    </a:lnTo>
                    <a:lnTo>
                      <a:pt x="686" y="307"/>
                    </a:lnTo>
                    <a:lnTo>
                      <a:pt x="686" y="312"/>
                    </a:lnTo>
                    <a:lnTo>
                      <a:pt x="686" y="317"/>
                    </a:lnTo>
                    <a:lnTo>
                      <a:pt x="686" y="317"/>
                    </a:lnTo>
                    <a:lnTo>
                      <a:pt x="686" y="321"/>
                    </a:lnTo>
                    <a:lnTo>
                      <a:pt x="686" y="326"/>
                    </a:lnTo>
                    <a:lnTo>
                      <a:pt x="686" y="326"/>
                    </a:lnTo>
                    <a:lnTo>
                      <a:pt x="686" y="330"/>
                    </a:lnTo>
                    <a:lnTo>
                      <a:pt x="686" y="330"/>
                    </a:lnTo>
                    <a:lnTo>
                      <a:pt x="686" y="330"/>
                    </a:lnTo>
                    <a:lnTo>
                      <a:pt x="682" y="339"/>
                    </a:lnTo>
                    <a:lnTo>
                      <a:pt x="677" y="353"/>
                    </a:lnTo>
                    <a:lnTo>
                      <a:pt x="673" y="357"/>
                    </a:lnTo>
                    <a:lnTo>
                      <a:pt x="673" y="362"/>
                    </a:lnTo>
                    <a:lnTo>
                      <a:pt x="673" y="371"/>
                    </a:lnTo>
                    <a:lnTo>
                      <a:pt x="668" y="371"/>
                    </a:lnTo>
                    <a:lnTo>
                      <a:pt x="668" y="375"/>
                    </a:lnTo>
                    <a:lnTo>
                      <a:pt x="668" y="380"/>
                    </a:lnTo>
                    <a:lnTo>
                      <a:pt x="664" y="384"/>
                    </a:lnTo>
                    <a:lnTo>
                      <a:pt x="664" y="389"/>
                    </a:lnTo>
                    <a:lnTo>
                      <a:pt x="664" y="393"/>
                    </a:lnTo>
                    <a:lnTo>
                      <a:pt x="659" y="398"/>
                    </a:lnTo>
                    <a:lnTo>
                      <a:pt x="655" y="402"/>
                    </a:lnTo>
                    <a:lnTo>
                      <a:pt x="650" y="407"/>
                    </a:lnTo>
                    <a:lnTo>
                      <a:pt x="646" y="411"/>
                    </a:lnTo>
                    <a:lnTo>
                      <a:pt x="641" y="416"/>
                    </a:lnTo>
                    <a:lnTo>
                      <a:pt x="641" y="421"/>
                    </a:lnTo>
                    <a:lnTo>
                      <a:pt x="632" y="425"/>
                    </a:lnTo>
                    <a:lnTo>
                      <a:pt x="632" y="430"/>
                    </a:lnTo>
                    <a:lnTo>
                      <a:pt x="628" y="434"/>
                    </a:lnTo>
                    <a:lnTo>
                      <a:pt x="628" y="439"/>
                    </a:lnTo>
                    <a:lnTo>
                      <a:pt x="623" y="439"/>
                    </a:lnTo>
                    <a:lnTo>
                      <a:pt x="623" y="443"/>
                    </a:lnTo>
                    <a:lnTo>
                      <a:pt x="614" y="452"/>
                    </a:lnTo>
                    <a:lnTo>
                      <a:pt x="610" y="457"/>
                    </a:lnTo>
                    <a:lnTo>
                      <a:pt x="605" y="461"/>
                    </a:lnTo>
                    <a:lnTo>
                      <a:pt x="605" y="461"/>
                    </a:lnTo>
                    <a:lnTo>
                      <a:pt x="601" y="466"/>
                    </a:lnTo>
                    <a:lnTo>
                      <a:pt x="601" y="466"/>
                    </a:lnTo>
                    <a:lnTo>
                      <a:pt x="596" y="470"/>
                    </a:lnTo>
                    <a:lnTo>
                      <a:pt x="596" y="470"/>
                    </a:lnTo>
                    <a:lnTo>
                      <a:pt x="596" y="470"/>
                    </a:lnTo>
                    <a:lnTo>
                      <a:pt x="592" y="470"/>
                    </a:lnTo>
                    <a:lnTo>
                      <a:pt x="596" y="470"/>
                    </a:lnTo>
                    <a:lnTo>
                      <a:pt x="592" y="470"/>
                    </a:lnTo>
                    <a:lnTo>
                      <a:pt x="587" y="470"/>
                    </a:lnTo>
                    <a:lnTo>
                      <a:pt x="587" y="475"/>
                    </a:lnTo>
                    <a:lnTo>
                      <a:pt x="583" y="479"/>
                    </a:lnTo>
                    <a:lnTo>
                      <a:pt x="578" y="479"/>
                    </a:lnTo>
                    <a:lnTo>
                      <a:pt x="578" y="484"/>
                    </a:lnTo>
                    <a:lnTo>
                      <a:pt x="573" y="484"/>
                    </a:lnTo>
                    <a:lnTo>
                      <a:pt x="573" y="484"/>
                    </a:lnTo>
                    <a:lnTo>
                      <a:pt x="573" y="488"/>
                    </a:lnTo>
                    <a:lnTo>
                      <a:pt x="569" y="488"/>
                    </a:lnTo>
                    <a:lnTo>
                      <a:pt x="569" y="488"/>
                    </a:lnTo>
                    <a:lnTo>
                      <a:pt x="569" y="488"/>
                    </a:lnTo>
                    <a:lnTo>
                      <a:pt x="564" y="493"/>
                    </a:lnTo>
                    <a:lnTo>
                      <a:pt x="564" y="493"/>
                    </a:lnTo>
                    <a:lnTo>
                      <a:pt x="564" y="497"/>
                    </a:lnTo>
                    <a:lnTo>
                      <a:pt x="564" y="493"/>
                    </a:lnTo>
                    <a:lnTo>
                      <a:pt x="564" y="493"/>
                    </a:lnTo>
                    <a:lnTo>
                      <a:pt x="560" y="497"/>
                    </a:lnTo>
                    <a:lnTo>
                      <a:pt x="564" y="497"/>
                    </a:lnTo>
                    <a:lnTo>
                      <a:pt x="564" y="497"/>
                    </a:lnTo>
                    <a:lnTo>
                      <a:pt x="560" y="497"/>
                    </a:lnTo>
                    <a:lnTo>
                      <a:pt x="555" y="502"/>
                    </a:lnTo>
                    <a:lnTo>
                      <a:pt x="555" y="502"/>
                    </a:lnTo>
                    <a:lnTo>
                      <a:pt x="551" y="506"/>
                    </a:lnTo>
                    <a:lnTo>
                      <a:pt x="546" y="511"/>
                    </a:lnTo>
                    <a:lnTo>
                      <a:pt x="546" y="515"/>
                    </a:lnTo>
                    <a:lnTo>
                      <a:pt x="542" y="515"/>
                    </a:lnTo>
                    <a:lnTo>
                      <a:pt x="542" y="515"/>
                    </a:lnTo>
                    <a:lnTo>
                      <a:pt x="542" y="515"/>
                    </a:lnTo>
                    <a:lnTo>
                      <a:pt x="542" y="515"/>
                    </a:lnTo>
                    <a:lnTo>
                      <a:pt x="542" y="515"/>
                    </a:lnTo>
                    <a:lnTo>
                      <a:pt x="542" y="515"/>
                    </a:lnTo>
                    <a:lnTo>
                      <a:pt x="542" y="520"/>
                    </a:lnTo>
                    <a:lnTo>
                      <a:pt x="542" y="520"/>
                    </a:lnTo>
                    <a:lnTo>
                      <a:pt x="542" y="520"/>
                    </a:lnTo>
                    <a:lnTo>
                      <a:pt x="537" y="520"/>
                    </a:lnTo>
                    <a:lnTo>
                      <a:pt x="537" y="520"/>
                    </a:lnTo>
                    <a:lnTo>
                      <a:pt x="537" y="520"/>
                    </a:lnTo>
                    <a:lnTo>
                      <a:pt x="528" y="529"/>
                    </a:lnTo>
                    <a:lnTo>
                      <a:pt x="528" y="529"/>
                    </a:lnTo>
                    <a:lnTo>
                      <a:pt x="524" y="534"/>
                    </a:lnTo>
                    <a:lnTo>
                      <a:pt x="519" y="534"/>
                    </a:lnTo>
                    <a:lnTo>
                      <a:pt x="519" y="538"/>
                    </a:lnTo>
                    <a:lnTo>
                      <a:pt x="515" y="543"/>
                    </a:lnTo>
                    <a:lnTo>
                      <a:pt x="510" y="547"/>
                    </a:lnTo>
                    <a:lnTo>
                      <a:pt x="506" y="552"/>
                    </a:lnTo>
                    <a:lnTo>
                      <a:pt x="506" y="552"/>
                    </a:lnTo>
                    <a:lnTo>
                      <a:pt x="501" y="556"/>
                    </a:lnTo>
                    <a:lnTo>
                      <a:pt x="501" y="561"/>
                    </a:lnTo>
                    <a:lnTo>
                      <a:pt x="497" y="561"/>
                    </a:lnTo>
                    <a:lnTo>
                      <a:pt x="497" y="565"/>
                    </a:lnTo>
                    <a:lnTo>
                      <a:pt x="497" y="565"/>
                    </a:lnTo>
                    <a:lnTo>
                      <a:pt x="492" y="565"/>
                    </a:lnTo>
                    <a:lnTo>
                      <a:pt x="492" y="565"/>
                    </a:lnTo>
                    <a:lnTo>
                      <a:pt x="488" y="570"/>
                    </a:lnTo>
                    <a:lnTo>
                      <a:pt x="488" y="570"/>
                    </a:lnTo>
                    <a:lnTo>
                      <a:pt x="483" y="570"/>
                    </a:lnTo>
                    <a:lnTo>
                      <a:pt x="479" y="570"/>
                    </a:lnTo>
                    <a:lnTo>
                      <a:pt x="465" y="570"/>
                    </a:lnTo>
                    <a:lnTo>
                      <a:pt x="465" y="570"/>
                    </a:lnTo>
                    <a:lnTo>
                      <a:pt x="461" y="570"/>
                    </a:lnTo>
                    <a:lnTo>
                      <a:pt x="456" y="574"/>
                    </a:lnTo>
                    <a:lnTo>
                      <a:pt x="447" y="574"/>
                    </a:lnTo>
                    <a:lnTo>
                      <a:pt x="433" y="583"/>
                    </a:lnTo>
                    <a:lnTo>
                      <a:pt x="429" y="583"/>
                    </a:lnTo>
                    <a:lnTo>
                      <a:pt x="424" y="583"/>
                    </a:lnTo>
                    <a:lnTo>
                      <a:pt x="424" y="583"/>
                    </a:lnTo>
                    <a:lnTo>
                      <a:pt x="424" y="583"/>
                    </a:lnTo>
                    <a:lnTo>
                      <a:pt x="424" y="588"/>
                    </a:lnTo>
                    <a:lnTo>
                      <a:pt x="424" y="588"/>
                    </a:lnTo>
                    <a:lnTo>
                      <a:pt x="424" y="588"/>
                    </a:lnTo>
                    <a:lnTo>
                      <a:pt x="424" y="588"/>
                    </a:lnTo>
                    <a:lnTo>
                      <a:pt x="424" y="588"/>
                    </a:lnTo>
                    <a:lnTo>
                      <a:pt x="424" y="588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0" y="592"/>
                    </a:lnTo>
                    <a:lnTo>
                      <a:pt x="420" y="592"/>
                    </a:lnTo>
                    <a:lnTo>
                      <a:pt x="420" y="592"/>
                    </a:lnTo>
                    <a:lnTo>
                      <a:pt x="420" y="588"/>
                    </a:lnTo>
                    <a:lnTo>
                      <a:pt x="420" y="588"/>
                    </a:lnTo>
                    <a:lnTo>
                      <a:pt x="420" y="588"/>
                    </a:lnTo>
                    <a:lnTo>
                      <a:pt x="420" y="588"/>
                    </a:lnTo>
                    <a:lnTo>
                      <a:pt x="415" y="588"/>
                    </a:lnTo>
                    <a:lnTo>
                      <a:pt x="420" y="583"/>
                    </a:lnTo>
                    <a:lnTo>
                      <a:pt x="420" y="583"/>
                    </a:lnTo>
                    <a:lnTo>
                      <a:pt x="415" y="583"/>
                    </a:lnTo>
                    <a:lnTo>
                      <a:pt x="415" y="583"/>
                    </a:lnTo>
                    <a:lnTo>
                      <a:pt x="415" y="583"/>
                    </a:lnTo>
                    <a:lnTo>
                      <a:pt x="415" y="579"/>
                    </a:lnTo>
                    <a:lnTo>
                      <a:pt x="415" y="579"/>
                    </a:lnTo>
                    <a:lnTo>
                      <a:pt x="415" y="579"/>
                    </a:lnTo>
                    <a:lnTo>
                      <a:pt x="420" y="579"/>
                    </a:lnTo>
                    <a:lnTo>
                      <a:pt x="420" y="574"/>
                    </a:lnTo>
                    <a:lnTo>
                      <a:pt x="420" y="574"/>
                    </a:lnTo>
                    <a:lnTo>
                      <a:pt x="420" y="574"/>
                    </a:lnTo>
                    <a:lnTo>
                      <a:pt x="415" y="574"/>
                    </a:lnTo>
                    <a:lnTo>
                      <a:pt x="415" y="574"/>
                    </a:lnTo>
                    <a:lnTo>
                      <a:pt x="415" y="574"/>
                    </a:lnTo>
                    <a:lnTo>
                      <a:pt x="411" y="579"/>
                    </a:lnTo>
                    <a:lnTo>
                      <a:pt x="406" y="579"/>
                    </a:lnTo>
                    <a:lnTo>
                      <a:pt x="406" y="574"/>
                    </a:lnTo>
                    <a:lnTo>
                      <a:pt x="406" y="574"/>
                    </a:lnTo>
                    <a:lnTo>
                      <a:pt x="411" y="574"/>
                    </a:lnTo>
                    <a:lnTo>
                      <a:pt x="411" y="574"/>
                    </a:lnTo>
                    <a:lnTo>
                      <a:pt x="415" y="574"/>
                    </a:lnTo>
                    <a:lnTo>
                      <a:pt x="415" y="570"/>
                    </a:lnTo>
                    <a:lnTo>
                      <a:pt x="415" y="570"/>
                    </a:lnTo>
                    <a:lnTo>
                      <a:pt x="415" y="565"/>
                    </a:lnTo>
                    <a:lnTo>
                      <a:pt x="415" y="565"/>
                    </a:lnTo>
                    <a:lnTo>
                      <a:pt x="406" y="570"/>
                    </a:lnTo>
                    <a:lnTo>
                      <a:pt x="406" y="570"/>
                    </a:lnTo>
                    <a:lnTo>
                      <a:pt x="406" y="570"/>
                    </a:lnTo>
                    <a:lnTo>
                      <a:pt x="406" y="570"/>
                    </a:lnTo>
                    <a:lnTo>
                      <a:pt x="406" y="570"/>
                    </a:lnTo>
                    <a:lnTo>
                      <a:pt x="406" y="574"/>
                    </a:lnTo>
                    <a:lnTo>
                      <a:pt x="406" y="574"/>
                    </a:lnTo>
                    <a:lnTo>
                      <a:pt x="402" y="574"/>
                    </a:lnTo>
                    <a:lnTo>
                      <a:pt x="402" y="574"/>
                    </a:lnTo>
                    <a:lnTo>
                      <a:pt x="397" y="574"/>
                    </a:lnTo>
                    <a:lnTo>
                      <a:pt x="388" y="579"/>
                    </a:lnTo>
                    <a:lnTo>
                      <a:pt x="388" y="583"/>
                    </a:lnTo>
                    <a:lnTo>
                      <a:pt x="384" y="583"/>
                    </a:lnTo>
                    <a:lnTo>
                      <a:pt x="379" y="583"/>
                    </a:lnTo>
                    <a:lnTo>
                      <a:pt x="379" y="579"/>
                    </a:lnTo>
                    <a:lnTo>
                      <a:pt x="379" y="579"/>
                    </a:lnTo>
                    <a:lnTo>
                      <a:pt x="375" y="579"/>
                    </a:lnTo>
                    <a:lnTo>
                      <a:pt x="375" y="574"/>
                    </a:lnTo>
                    <a:lnTo>
                      <a:pt x="375" y="574"/>
                    </a:lnTo>
                    <a:lnTo>
                      <a:pt x="370" y="574"/>
                    </a:lnTo>
                    <a:lnTo>
                      <a:pt x="370" y="574"/>
                    </a:lnTo>
                    <a:lnTo>
                      <a:pt x="366" y="570"/>
                    </a:lnTo>
                    <a:lnTo>
                      <a:pt x="366" y="570"/>
                    </a:lnTo>
                    <a:lnTo>
                      <a:pt x="361" y="570"/>
                    </a:lnTo>
                    <a:lnTo>
                      <a:pt x="361" y="570"/>
                    </a:lnTo>
                    <a:lnTo>
                      <a:pt x="357" y="570"/>
                    </a:lnTo>
                    <a:lnTo>
                      <a:pt x="357" y="565"/>
                    </a:lnTo>
                    <a:lnTo>
                      <a:pt x="357" y="565"/>
                    </a:lnTo>
                    <a:lnTo>
                      <a:pt x="352" y="561"/>
                    </a:lnTo>
                    <a:lnTo>
                      <a:pt x="348" y="561"/>
                    </a:lnTo>
                    <a:lnTo>
                      <a:pt x="348" y="556"/>
                    </a:lnTo>
                    <a:lnTo>
                      <a:pt x="348" y="547"/>
                    </a:lnTo>
                    <a:lnTo>
                      <a:pt x="348" y="547"/>
                    </a:lnTo>
                    <a:lnTo>
                      <a:pt x="348" y="543"/>
                    </a:lnTo>
                    <a:lnTo>
                      <a:pt x="352" y="543"/>
                    </a:lnTo>
                    <a:lnTo>
                      <a:pt x="352" y="538"/>
                    </a:lnTo>
                    <a:lnTo>
                      <a:pt x="357" y="538"/>
                    </a:lnTo>
                    <a:lnTo>
                      <a:pt x="357" y="534"/>
                    </a:lnTo>
                    <a:lnTo>
                      <a:pt x="357" y="529"/>
                    </a:lnTo>
                    <a:lnTo>
                      <a:pt x="361" y="525"/>
                    </a:lnTo>
                    <a:lnTo>
                      <a:pt x="361" y="520"/>
                    </a:lnTo>
                    <a:lnTo>
                      <a:pt x="357" y="515"/>
                    </a:lnTo>
                    <a:lnTo>
                      <a:pt x="357" y="515"/>
                    </a:lnTo>
                    <a:lnTo>
                      <a:pt x="357" y="511"/>
                    </a:lnTo>
                    <a:lnTo>
                      <a:pt x="357" y="511"/>
                    </a:lnTo>
                    <a:lnTo>
                      <a:pt x="357" y="511"/>
                    </a:lnTo>
                    <a:lnTo>
                      <a:pt x="361" y="511"/>
                    </a:lnTo>
                    <a:lnTo>
                      <a:pt x="361" y="511"/>
                    </a:lnTo>
                    <a:lnTo>
                      <a:pt x="361" y="511"/>
                    </a:lnTo>
                    <a:lnTo>
                      <a:pt x="361" y="511"/>
                    </a:lnTo>
                    <a:lnTo>
                      <a:pt x="361" y="511"/>
                    </a:lnTo>
                    <a:lnTo>
                      <a:pt x="366" y="511"/>
                    </a:lnTo>
                    <a:lnTo>
                      <a:pt x="366" y="506"/>
                    </a:lnTo>
                    <a:lnTo>
                      <a:pt x="366" y="506"/>
                    </a:lnTo>
                    <a:lnTo>
                      <a:pt x="361" y="506"/>
                    </a:lnTo>
                    <a:lnTo>
                      <a:pt x="361" y="506"/>
                    </a:lnTo>
                    <a:lnTo>
                      <a:pt x="361" y="511"/>
                    </a:lnTo>
                    <a:lnTo>
                      <a:pt x="357" y="511"/>
                    </a:lnTo>
                    <a:lnTo>
                      <a:pt x="357" y="511"/>
                    </a:lnTo>
                    <a:lnTo>
                      <a:pt x="352" y="511"/>
                    </a:lnTo>
                    <a:lnTo>
                      <a:pt x="352" y="511"/>
                    </a:lnTo>
                    <a:lnTo>
                      <a:pt x="348" y="511"/>
                    </a:lnTo>
                    <a:lnTo>
                      <a:pt x="348" y="511"/>
                    </a:lnTo>
                    <a:lnTo>
                      <a:pt x="343" y="511"/>
                    </a:lnTo>
                    <a:lnTo>
                      <a:pt x="348" y="511"/>
                    </a:lnTo>
                    <a:lnTo>
                      <a:pt x="348" y="506"/>
                    </a:lnTo>
                    <a:lnTo>
                      <a:pt x="352" y="506"/>
                    </a:lnTo>
                    <a:lnTo>
                      <a:pt x="357" y="502"/>
                    </a:lnTo>
                    <a:lnTo>
                      <a:pt x="361" y="493"/>
                    </a:lnTo>
                    <a:lnTo>
                      <a:pt x="361" y="493"/>
                    </a:lnTo>
                    <a:lnTo>
                      <a:pt x="361" y="488"/>
                    </a:lnTo>
                    <a:lnTo>
                      <a:pt x="361" y="484"/>
                    </a:lnTo>
                    <a:lnTo>
                      <a:pt x="361" y="484"/>
                    </a:lnTo>
                    <a:lnTo>
                      <a:pt x="357" y="484"/>
                    </a:lnTo>
                    <a:lnTo>
                      <a:pt x="357" y="484"/>
                    </a:lnTo>
                    <a:lnTo>
                      <a:pt x="352" y="488"/>
                    </a:lnTo>
                    <a:lnTo>
                      <a:pt x="352" y="493"/>
                    </a:lnTo>
                    <a:lnTo>
                      <a:pt x="343" y="502"/>
                    </a:lnTo>
                    <a:lnTo>
                      <a:pt x="339" y="502"/>
                    </a:lnTo>
                    <a:lnTo>
                      <a:pt x="339" y="502"/>
                    </a:lnTo>
                    <a:lnTo>
                      <a:pt x="334" y="502"/>
                    </a:lnTo>
                    <a:lnTo>
                      <a:pt x="334" y="502"/>
                    </a:lnTo>
                    <a:lnTo>
                      <a:pt x="330" y="502"/>
                    </a:lnTo>
                    <a:lnTo>
                      <a:pt x="330" y="502"/>
                    </a:lnTo>
                    <a:lnTo>
                      <a:pt x="330" y="502"/>
                    </a:lnTo>
                    <a:lnTo>
                      <a:pt x="334" y="497"/>
                    </a:lnTo>
                    <a:lnTo>
                      <a:pt x="334" y="497"/>
                    </a:lnTo>
                    <a:lnTo>
                      <a:pt x="339" y="497"/>
                    </a:lnTo>
                    <a:lnTo>
                      <a:pt x="339" y="497"/>
                    </a:lnTo>
                    <a:lnTo>
                      <a:pt x="339" y="497"/>
                    </a:lnTo>
                    <a:lnTo>
                      <a:pt x="343" y="493"/>
                    </a:lnTo>
                    <a:lnTo>
                      <a:pt x="348" y="488"/>
                    </a:lnTo>
                    <a:lnTo>
                      <a:pt x="348" y="488"/>
                    </a:lnTo>
                    <a:lnTo>
                      <a:pt x="348" y="484"/>
                    </a:lnTo>
                    <a:lnTo>
                      <a:pt x="348" y="484"/>
                    </a:lnTo>
                    <a:lnTo>
                      <a:pt x="352" y="479"/>
                    </a:lnTo>
                    <a:lnTo>
                      <a:pt x="357" y="475"/>
                    </a:lnTo>
                    <a:lnTo>
                      <a:pt x="361" y="470"/>
                    </a:lnTo>
                    <a:lnTo>
                      <a:pt x="366" y="470"/>
                    </a:lnTo>
                    <a:lnTo>
                      <a:pt x="366" y="466"/>
                    </a:lnTo>
                    <a:lnTo>
                      <a:pt x="366" y="466"/>
                    </a:lnTo>
                    <a:lnTo>
                      <a:pt x="366" y="461"/>
                    </a:lnTo>
                    <a:lnTo>
                      <a:pt x="370" y="461"/>
                    </a:lnTo>
                    <a:lnTo>
                      <a:pt x="370" y="461"/>
                    </a:lnTo>
                    <a:lnTo>
                      <a:pt x="375" y="452"/>
                    </a:lnTo>
                    <a:lnTo>
                      <a:pt x="375" y="452"/>
                    </a:lnTo>
                    <a:lnTo>
                      <a:pt x="375" y="448"/>
                    </a:lnTo>
                    <a:lnTo>
                      <a:pt x="370" y="452"/>
                    </a:lnTo>
                    <a:lnTo>
                      <a:pt x="370" y="457"/>
                    </a:lnTo>
                    <a:lnTo>
                      <a:pt x="366" y="457"/>
                    </a:lnTo>
                    <a:lnTo>
                      <a:pt x="366" y="461"/>
                    </a:lnTo>
                    <a:lnTo>
                      <a:pt x="361" y="461"/>
                    </a:lnTo>
                    <a:lnTo>
                      <a:pt x="357" y="466"/>
                    </a:lnTo>
                    <a:lnTo>
                      <a:pt x="352" y="470"/>
                    </a:lnTo>
                    <a:lnTo>
                      <a:pt x="352" y="470"/>
                    </a:lnTo>
                    <a:lnTo>
                      <a:pt x="348" y="470"/>
                    </a:lnTo>
                    <a:lnTo>
                      <a:pt x="348" y="470"/>
                    </a:lnTo>
                    <a:lnTo>
                      <a:pt x="343" y="475"/>
                    </a:lnTo>
                    <a:lnTo>
                      <a:pt x="339" y="475"/>
                    </a:lnTo>
                    <a:lnTo>
                      <a:pt x="339" y="475"/>
                    </a:lnTo>
                    <a:lnTo>
                      <a:pt x="334" y="479"/>
                    </a:lnTo>
                    <a:lnTo>
                      <a:pt x="325" y="484"/>
                    </a:lnTo>
                    <a:lnTo>
                      <a:pt x="325" y="488"/>
                    </a:lnTo>
                    <a:lnTo>
                      <a:pt x="320" y="488"/>
                    </a:lnTo>
                    <a:lnTo>
                      <a:pt x="320" y="488"/>
                    </a:lnTo>
                    <a:lnTo>
                      <a:pt x="320" y="493"/>
                    </a:lnTo>
                    <a:lnTo>
                      <a:pt x="320" y="493"/>
                    </a:lnTo>
                    <a:lnTo>
                      <a:pt x="320" y="497"/>
                    </a:lnTo>
                    <a:lnTo>
                      <a:pt x="316" y="497"/>
                    </a:lnTo>
                    <a:lnTo>
                      <a:pt x="316" y="497"/>
                    </a:lnTo>
                    <a:lnTo>
                      <a:pt x="316" y="493"/>
                    </a:lnTo>
                    <a:lnTo>
                      <a:pt x="316" y="493"/>
                    </a:lnTo>
                    <a:lnTo>
                      <a:pt x="311" y="493"/>
                    </a:lnTo>
                    <a:lnTo>
                      <a:pt x="311" y="493"/>
                    </a:lnTo>
                    <a:lnTo>
                      <a:pt x="311" y="488"/>
                    </a:lnTo>
                    <a:lnTo>
                      <a:pt x="311" y="488"/>
                    </a:lnTo>
                    <a:lnTo>
                      <a:pt x="311" y="488"/>
                    </a:lnTo>
                    <a:lnTo>
                      <a:pt x="311" y="488"/>
                    </a:lnTo>
                    <a:lnTo>
                      <a:pt x="311" y="488"/>
                    </a:lnTo>
                    <a:lnTo>
                      <a:pt x="311" y="484"/>
                    </a:lnTo>
                    <a:lnTo>
                      <a:pt x="311" y="484"/>
                    </a:lnTo>
                    <a:lnTo>
                      <a:pt x="311" y="484"/>
                    </a:lnTo>
                    <a:lnTo>
                      <a:pt x="311" y="488"/>
                    </a:lnTo>
                    <a:lnTo>
                      <a:pt x="311" y="488"/>
                    </a:lnTo>
                    <a:lnTo>
                      <a:pt x="316" y="488"/>
                    </a:lnTo>
                    <a:lnTo>
                      <a:pt x="316" y="488"/>
                    </a:lnTo>
                    <a:lnTo>
                      <a:pt x="316" y="484"/>
                    </a:lnTo>
                    <a:lnTo>
                      <a:pt x="316" y="479"/>
                    </a:lnTo>
                    <a:lnTo>
                      <a:pt x="316" y="479"/>
                    </a:lnTo>
                    <a:lnTo>
                      <a:pt x="316" y="475"/>
                    </a:lnTo>
                    <a:lnTo>
                      <a:pt x="316" y="475"/>
                    </a:lnTo>
                    <a:lnTo>
                      <a:pt x="316" y="470"/>
                    </a:lnTo>
                    <a:lnTo>
                      <a:pt x="316" y="466"/>
                    </a:lnTo>
                    <a:lnTo>
                      <a:pt x="316" y="466"/>
                    </a:lnTo>
                    <a:lnTo>
                      <a:pt x="316" y="461"/>
                    </a:lnTo>
                    <a:lnTo>
                      <a:pt x="316" y="461"/>
                    </a:lnTo>
                    <a:lnTo>
                      <a:pt x="316" y="457"/>
                    </a:lnTo>
                    <a:lnTo>
                      <a:pt x="311" y="457"/>
                    </a:lnTo>
                    <a:lnTo>
                      <a:pt x="311" y="452"/>
                    </a:lnTo>
                    <a:lnTo>
                      <a:pt x="311" y="448"/>
                    </a:lnTo>
                    <a:lnTo>
                      <a:pt x="316" y="448"/>
                    </a:lnTo>
                    <a:lnTo>
                      <a:pt x="316" y="448"/>
                    </a:lnTo>
                    <a:lnTo>
                      <a:pt x="316" y="448"/>
                    </a:lnTo>
                    <a:lnTo>
                      <a:pt x="316" y="443"/>
                    </a:lnTo>
                    <a:lnTo>
                      <a:pt x="316" y="443"/>
                    </a:lnTo>
                    <a:lnTo>
                      <a:pt x="311" y="439"/>
                    </a:lnTo>
                    <a:lnTo>
                      <a:pt x="311" y="439"/>
                    </a:lnTo>
                    <a:lnTo>
                      <a:pt x="311" y="439"/>
                    </a:lnTo>
                    <a:lnTo>
                      <a:pt x="307" y="439"/>
                    </a:lnTo>
                    <a:lnTo>
                      <a:pt x="307" y="439"/>
                    </a:lnTo>
                    <a:lnTo>
                      <a:pt x="302" y="430"/>
                    </a:lnTo>
                    <a:lnTo>
                      <a:pt x="298" y="430"/>
                    </a:lnTo>
                    <a:lnTo>
                      <a:pt x="293" y="434"/>
                    </a:lnTo>
                    <a:lnTo>
                      <a:pt x="293" y="430"/>
                    </a:lnTo>
                    <a:lnTo>
                      <a:pt x="289" y="425"/>
                    </a:lnTo>
                    <a:lnTo>
                      <a:pt x="284" y="421"/>
                    </a:lnTo>
                    <a:lnTo>
                      <a:pt x="280" y="421"/>
                    </a:lnTo>
                    <a:lnTo>
                      <a:pt x="280" y="421"/>
                    </a:lnTo>
                    <a:lnTo>
                      <a:pt x="280" y="421"/>
                    </a:lnTo>
                    <a:lnTo>
                      <a:pt x="275" y="421"/>
                    </a:lnTo>
                    <a:lnTo>
                      <a:pt x="275" y="421"/>
                    </a:lnTo>
                    <a:lnTo>
                      <a:pt x="262" y="421"/>
                    </a:lnTo>
                    <a:lnTo>
                      <a:pt x="253" y="421"/>
                    </a:lnTo>
                    <a:lnTo>
                      <a:pt x="248" y="421"/>
                    </a:lnTo>
                    <a:lnTo>
                      <a:pt x="244" y="421"/>
                    </a:lnTo>
                    <a:lnTo>
                      <a:pt x="235" y="425"/>
                    </a:lnTo>
                    <a:lnTo>
                      <a:pt x="226" y="430"/>
                    </a:lnTo>
                    <a:lnTo>
                      <a:pt x="217" y="430"/>
                    </a:lnTo>
                    <a:lnTo>
                      <a:pt x="212" y="430"/>
                    </a:lnTo>
                    <a:lnTo>
                      <a:pt x="208" y="434"/>
                    </a:lnTo>
                    <a:lnTo>
                      <a:pt x="203" y="434"/>
                    </a:lnTo>
                    <a:lnTo>
                      <a:pt x="194" y="430"/>
                    </a:lnTo>
                    <a:lnTo>
                      <a:pt x="189" y="430"/>
                    </a:lnTo>
                    <a:lnTo>
                      <a:pt x="180" y="434"/>
                    </a:lnTo>
                    <a:lnTo>
                      <a:pt x="180" y="434"/>
                    </a:lnTo>
                    <a:lnTo>
                      <a:pt x="176" y="439"/>
                    </a:lnTo>
                    <a:lnTo>
                      <a:pt x="167" y="443"/>
                    </a:lnTo>
                    <a:lnTo>
                      <a:pt x="162" y="443"/>
                    </a:lnTo>
                    <a:lnTo>
                      <a:pt x="158" y="443"/>
                    </a:lnTo>
                    <a:lnTo>
                      <a:pt x="158" y="443"/>
                    </a:lnTo>
                    <a:lnTo>
                      <a:pt x="153" y="448"/>
                    </a:lnTo>
                    <a:lnTo>
                      <a:pt x="149" y="452"/>
                    </a:lnTo>
                    <a:lnTo>
                      <a:pt x="144" y="457"/>
                    </a:lnTo>
                    <a:lnTo>
                      <a:pt x="140" y="461"/>
                    </a:lnTo>
                    <a:lnTo>
                      <a:pt x="135" y="461"/>
                    </a:lnTo>
                    <a:lnTo>
                      <a:pt x="135" y="461"/>
                    </a:lnTo>
                    <a:lnTo>
                      <a:pt x="131" y="461"/>
                    </a:lnTo>
                    <a:lnTo>
                      <a:pt x="131" y="461"/>
                    </a:lnTo>
                    <a:lnTo>
                      <a:pt x="126" y="461"/>
                    </a:lnTo>
                    <a:lnTo>
                      <a:pt x="126" y="461"/>
                    </a:lnTo>
                    <a:lnTo>
                      <a:pt x="113" y="461"/>
                    </a:lnTo>
                    <a:lnTo>
                      <a:pt x="113" y="457"/>
                    </a:lnTo>
                    <a:lnTo>
                      <a:pt x="113" y="457"/>
                    </a:lnTo>
                    <a:lnTo>
                      <a:pt x="108" y="457"/>
                    </a:lnTo>
                    <a:lnTo>
                      <a:pt x="104" y="457"/>
                    </a:lnTo>
                    <a:lnTo>
                      <a:pt x="95" y="457"/>
                    </a:lnTo>
                    <a:lnTo>
                      <a:pt x="90" y="457"/>
                    </a:lnTo>
                    <a:lnTo>
                      <a:pt x="86" y="457"/>
                    </a:lnTo>
                    <a:lnTo>
                      <a:pt x="86" y="457"/>
                    </a:lnTo>
                    <a:lnTo>
                      <a:pt x="77" y="457"/>
                    </a:lnTo>
                    <a:lnTo>
                      <a:pt x="77" y="461"/>
                    </a:lnTo>
                    <a:lnTo>
                      <a:pt x="72" y="461"/>
                    </a:lnTo>
                    <a:lnTo>
                      <a:pt x="67" y="466"/>
                    </a:lnTo>
                    <a:lnTo>
                      <a:pt x="63" y="466"/>
                    </a:lnTo>
                    <a:lnTo>
                      <a:pt x="63" y="466"/>
                    </a:lnTo>
                    <a:lnTo>
                      <a:pt x="58" y="466"/>
                    </a:lnTo>
                    <a:lnTo>
                      <a:pt x="49" y="470"/>
                    </a:lnTo>
                    <a:lnTo>
                      <a:pt x="40" y="475"/>
                    </a:lnTo>
                    <a:lnTo>
                      <a:pt x="40" y="479"/>
                    </a:lnTo>
                    <a:lnTo>
                      <a:pt x="36" y="479"/>
                    </a:lnTo>
                    <a:lnTo>
                      <a:pt x="36" y="479"/>
                    </a:lnTo>
                    <a:lnTo>
                      <a:pt x="31" y="479"/>
                    </a:lnTo>
                    <a:lnTo>
                      <a:pt x="27" y="475"/>
                    </a:lnTo>
                    <a:lnTo>
                      <a:pt x="22" y="475"/>
                    </a:lnTo>
                    <a:lnTo>
                      <a:pt x="18" y="475"/>
                    </a:lnTo>
                    <a:lnTo>
                      <a:pt x="13" y="475"/>
                    </a:lnTo>
                    <a:lnTo>
                      <a:pt x="9" y="470"/>
                    </a:lnTo>
                    <a:lnTo>
                      <a:pt x="9" y="466"/>
                    </a:lnTo>
                    <a:lnTo>
                      <a:pt x="9" y="461"/>
                    </a:lnTo>
                    <a:lnTo>
                      <a:pt x="4" y="461"/>
                    </a:lnTo>
                    <a:lnTo>
                      <a:pt x="4" y="461"/>
                    </a:lnTo>
                    <a:lnTo>
                      <a:pt x="0" y="461"/>
                    </a:lnTo>
                    <a:lnTo>
                      <a:pt x="0" y="461"/>
                    </a:lnTo>
                    <a:lnTo>
                      <a:pt x="0" y="457"/>
                    </a:lnTo>
                    <a:lnTo>
                      <a:pt x="0" y="457"/>
                    </a:lnTo>
                    <a:lnTo>
                      <a:pt x="4" y="452"/>
                    </a:lnTo>
                    <a:lnTo>
                      <a:pt x="4" y="443"/>
                    </a:lnTo>
                    <a:lnTo>
                      <a:pt x="9" y="448"/>
                    </a:lnTo>
                    <a:lnTo>
                      <a:pt x="9" y="448"/>
                    </a:lnTo>
                    <a:lnTo>
                      <a:pt x="9" y="448"/>
                    </a:lnTo>
                    <a:lnTo>
                      <a:pt x="13" y="448"/>
                    </a:lnTo>
                    <a:lnTo>
                      <a:pt x="18" y="443"/>
                    </a:lnTo>
                    <a:lnTo>
                      <a:pt x="18" y="439"/>
                    </a:lnTo>
                    <a:lnTo>
                      <a:pt x="22" y="434"/>
                    </a:lnTo>
                    <a:lnTo>
                      <a:pt x="22" y="430"/>
                    </a:lnTo>
                    <a:lnTo>
                      <a:pt x="22" y="425"/>
                    </a:lnTo>
                    <a:lnTo>
                      <a:pt x="27" y="425"/>
                    </a:lnTo>
                    <a:lnTo>
                      <a:pt x="27" y="425"/>
                    </a:lnTo>
                    <a:lnTo>
                      <a:pt x="31" y="411"/>
                    </a:lnTo>
                    <a:lnTo>
                      <a:pt x="31" y="411"/>
                    </a:lnTo>
                    <a:lnTo>
                      <a:pt x="31" y="402"/>
                    </a:lnTo>
                    <a:lnTo>
                      <a:pt x="31" y="393"/>
                    </a:lnTo>
                    <a:lnTo>
                      <a:pt x="31" y="393"/>
                    </a:lnTo>
                    <a:lnTo>
                      <a:pt x="31" y="384"/>
                    </a:lnTo>
                    <a:lnTo>
                      <a:pt x="31" y="380"/>
                    </a:lnTo>
                    <a:lnTo>
                      <a:pt x="36" y="375"/>
                    </a:lnTo>
                    <a:lnTo>
                      <a:pt x="36" y="371"/>
                    </a:lnTo>
                    <a:lnTo>
                      <a:pt x="40" y="366"/>
                    </a:lnTo>
                    <a:lnTo>
                      <a:pt x="40" y="362"/>
                    </a:lnTo>
                    <a:lnTo>
                      <a:pt x="40" y="357"/>
                    </a:lnTo>
                    <a:lnTo>
                      <a:pt x="36" y="353"/>
                    </a:lnTo>
                    <a:lnTo>
                      <a:pt x="40" y="353"/>
                    </a:lnTo>
                    <a:lnTo>
                      <a:pt x="40" y="348"/>
                    </a:lnTo>
                    <a:lnTo>
                      <a:pt x="40" y="348"/>
                    </a:lnTo>
                    <a:lnTo>
                      <a:pt x="36" y="339"/>
                    </a:lnTo>
                    <a:lnTo>
                      <a:pt x="36" y="335"/>
                    </a:lnTo>
                    <a:lnTo>
                      <a:pt x="36" y="335"/>
                    </a:lnTo>
                    <a:lnTo>
                      <a:pt x="40" y="326"/>
                    </a:lnTo>
                    <a:lnTo>
                      <a:pt x="40" y="321"/>
                    </a:lnTo>
                    <a:lnTo>
                      <a:pt x="36" y="312"/>
                    </a:lnTo>
                    <a:lnTo>
                      <a:pt x="36" y="303"/>
                    </a:lnTo>
                    <a:lnTo>
                      <a:pt x="36" y="298"/>
                    </a:lnTo>
                    <a:lnTo>
                      <a:pt x="31" y="298"/>
                    </a:lnTo>
                    <a:lnTo>
                      <a:pt x="36" y="298"/>
                    </a:lnTo>
                    <a:lnTo>
                      <a:pt x="36" y="298"/>
                    </a:lnTo>
                    <a:lnTo>
                      <a:pt x="36" y="298"/>
                    </a:lnTo>
                    <a:lnTo>
                      <a:pt x="36" y="298"/>
                    </a:lnTo>
                    <a:lnTo>
                      <a:pt x="36" y="298"/>
                    </a:lnTo>
                    <a:lnTo>
                      <a:pt x="36" y="298"/>
                    </a:lnTo>
                    <a:lnTo>
                      <a:pt x="36" y="294"/>
                    </a:lnTo>
                    <a:lnTo>
                      <a:pt x="36" y="298"/>
                    </a:lnTo>
                    <a:lnTo>
                      <a:pt x="36" y="298"/>
                    </a:lnTo>
                    <a:lnTo>
                      <a:pt x="36" y="303"/>
                    </a:lnTo>
                    <a:lnTo>
                      <a:pt x="36" y="307"/>
                    </a:lnTo>
                    <a:lnTo>
                      <a:pt x="40" y="307"/>
                    </a:lnTo>
                    <a:lnTo>
                      <a:pt x="40" y="307"/>
                    </a:lnTo>
                    <a:lnTo>
                      <a:pt x="40" y="303"/>
                    </a:lnTo>
                    <a:lnTo>
                      <a:pt x="45" y="303"/>
                    </a:lnTo>
                    <a:lnTo>
                      <a:pt x="45" y="298"/>
                    </a:lnTo>
                    <a:lnTo>
                      <a:pt x="40" y="298"/>
                    </a:lnTo>
                    <a:lnTo>
                      <a:pt x="40" y="298"/>
                    </a:lnTo>
                    <a:lnTo>
                      <a:pt x="40" y="294"/>
                    </a:lnTo>
                    <a:lnTo>
                      <a:pt x="40" y="289"/>
                    </a:lnTo>
                    <a:lnTo>
                      <a:pt x="40" y="289"/>
                    </a:lnTo>
                    <a:lnTo>
                      <a:pt x="40" y="285"/>
                    </a:lnTo>
                    <a:lnTo>
                      <a:pt x="45" y="289"/>
                    </a:lnTo>
                    <a:lnTo>
                      <a:pt x="45" y="289"/>
                    </a:lnTo>
                    <a:lnTo>
                      <a:pt x="45" y="289"/>
                    </a:lnTo>
                    <a:lnTo>
                      <a:pt x="45" y="294"/>
                    </a:lnTo>
                    <a:lnTo>
                      <a:pt x="40" y="294"/>
                    </a:lnTo>
                    <a:lnTo>
                      <a:pt x="40" y="298"/>
                    </a:lnTo>
                    <a:lnTo>
                      <a:pt x="45" y="298"/>
                    </a:lnTo>
                    <a:lnTo>
                      <a:pt x="45" y="298"/>
                    </a:lnTo>
                    <a:lnTo>
                      <a:pt x="45" y="298"/>
                    </a:lnTo>
                    <a:lnTo>
                      <a:pt x="45" y="294"/>
                    </a:lnTo>
                    <a:lnTo>
                      <a:pt x="45" y="294"/>
                    </a:lnTo>
                    <a:lnTo>
                      <a:pt x="45" y="298"/>
                    </a:lnTo>
                    <a:lnTo>
                      <a:pt x="45" y="303"/>
                    </a:lnTo>
                    <a:lnTo>
                      <a:pt x="45" y="303"/>
                    </a:lnTo>
                    <a:lnTo>
                      <a:pt x="49" y="303"/>
                    </a:lnTo>
                    <a:lnTo>
                      <a:pt x="49" y="303"/>
                    </a:lnTo>
                    <a:lnTo>
                      <a:pt x="49" y="298"/>
                    </a:lnTo>
                    <a:lnTo>
                      <a:pt x="54" y="294"/>
                    </a:lnTo>
                    <a:lnTo>
                      <a:pt x="54" y="294"/>
                    </a:lnTo>
                    <a:lnTo>
                      <a:pt x="49" y="285"/>
                    </a:lnTo>
                    <a:lnTo>
                      <a:pt x="49" y="280"/>
                    </a:lnTo>
                    <a:lnTo>
                      <a:pt x="49" y="276"/>
                    </a:lnTo>
                    <a:lnTo>
                      <a:pt x="49" y="267"/>
                    </a:lnTo>
                    <a:lnTo>
                      <a:pt x="49" y="267"/>
                    </a:lnTo>
                    <a:lnTo>
                      <a:pt x="49" y="262"/>
                    </a:lnTo>
                    <a:lnTo>
                      <a:pt x="49" y="258"/>
                    </a:lnTo>
                    <a:lnTo>
                      <a:pt x="49" y="258"/>
                    </a:lnTo>
                    <a:lnTo>
                      <a:pt x="54" y="253"/>
                    </a:lnTo>
                    <a:lnTo>
                      <a:pt x="54" y="249"/>
                    </a:lnTo>
                    <a:lnTo>
                      <a:pt x="58" y="244"/>
                    </a:lnTo>
                    <a:lnTo>
                      <a:pt x="63" y="240"/>
                    </a:lnTo>
                    <a:lnTo>
                      <a:pt x="63" y="240"/>
                    </a:lnTo>
                    <a:lnTo>
                      <a:pt x="63" y="235"/>
                    </a:lnTo>
                    <a:lnTo>
                      <a:pt x="63" y="235"/>
                    </a:lnTo>
                    <a:lnTo>
                      <a:pt x="63" y="231"/>
                    </a:lnTo>
                    <a:lnTo>
                      <a:pt x="63" y="226"/>
                    </a:lnTo>
                    <a:lnTo>
                      <a:pt x="67" y="222"/>
                    </a:lnTo>
                    <a:lnTo>
                      <a:pt x="72" y="213"/>
                    </a:lnTo>
                    <a:lnTo>
                      <a:pt x="72" y="213"/>
                    </a:lnTo>
                    <a:lnTo>
                      <a:pt x="77" y="213"/>
                    </a:lnTo>
                    <a:lnTo>
                      <a:pt x="77" y="213"/>
                    </a:lnTo>
                    <a:lnTo>
                      <a:pt x="72" y="217"/>
                    </a:lnTo>
                    <a:lnTo>
                      <a:pt x="72" y="222"/>
                    </a:lnTo>
                    <a:lnTo>
                      <a:pt x="72" y="226"/>
                    </a:lnTo>
                    <a:lnTo>
                      <a:pt x="72" y="226"/>
                    </a:lnTo>
                    <a:lnTo>
                      <a:pt x="77" y="222"/>
                    </a:lnTo>
                    <a:lnTo>
                      <a:pt x="77" y="222"/>
                    </a:lnTo>
                    <a:lnTo>
                      <a:pt x="77" y="222"/>
                    </a:lnTo>
                    <a:lnTo>
                      <a:pt x="81" y="213"/>
                    </a:lnTo>
                    <a:lnTo>
                      <a:pt x="86" y="213"/>
                    </a:lnTo>
                    <a:lnTo>
                      <a:pt x="90" y="213"/>
                    </a:lnTo>
                    <a:lnTo>
                      <a:pt x="95" y="208"/>
                    </a:lnTo>
                    <a:lnTo>
                      <a:pt x="99" y="208"/>
                    </a:lnTo>
                    <a:lnTo>
                      <a:pt x="104" y="203"/>
                    </a:lnTo>
                    <a:lnTo>
                      <a:pt x="108" y="199"/>
                    </a:lnTo>
                    <a:lnTo>
                      <a:pt x="108" y="199"/>
                    </a:lnTo>
                    <a:lnTo>
                      <a:pt x="113" y="199"/>
                    </a:lnTo>
                    <a:lnTo>
                      <a:pt x="122" y="190"/>
                    </a:lnTo>
                    <a:lnTo>
                      <a:pt x="126" y="190"/>
                    </a:lnTo>
                    <a:lnTo>
                      <a:pt x="126" y="190"/>
                    </a:lnTo>
                    <a:lnTo>
                      <a:pt x="131" y="190"/>
                    </a:lnTo>
                    <a:lnTo>
                      <a:pt x="131" y="190"/>
                    </a:lnTo>
                    <a:lnTo>
                      <a:pt x="135" y="190"/>
                    </a:lnTo>
                    <a:lnTo>
                      <a:pt x="135" y="190"/>
                    </a:lnTo>
                    <a:lnTo>
                      <a:pt x="144" y="190"/>
                    </a:lnTo>
                    <a:lnTo>
                      <a:pt x="144" y="190"/>
                    </a:lnTo>
                    <a:lnTo>
                      <a:pt x="149" y="185"/>
                    </a:lnTo>
                    <a:lnTo>
                      <a:pt x="153" y="185"/>
                    </a:lnTo>
                    <a:lnTo>
                      <a:pt x="158" y="185"/>
                    </a:lnTo>
                    <a:lnTo>
                      <a:pt x="162" y="181"/>
                    </a:lnTo>
                    <a:lnTo>
                      <a:pt x="171" y="176"/>
                    </a:lnTo>
                    <a:lnTo>
                      <a:pt x="176" y="176"/>
                    </a:lnTo>
                    <a:lnTo>
                      <a:pt x="176" y="181"/>
                    </a:lnTo>
                    <a:lnTo>
                      <a:pt x="180" y="176"/>
                    </a:lnTo>
                    <a:lnTo>
                      <a:pt x="189" y="176"/>
                    </a:lnTo>
                    <a:lnTo>
                      <a:pt x="194" y="176"/>
                    </a:lnTo>
                    <a:lnTo>
                      <a:pt x="203" y="172"/>
                    </a:lnTo>
                    <a:lnTo>
                      <a:pt x="203" y="172"/>
                    </a:lnTo>
                    <a:lnTo>
                      <a:pt x="208" y="167"/>
                    </a:lnTo>
                    <a:lnTo>
                      <a:pt x="212" y="167"/>
                    </a:lnTo>
                    <a:lnTo>
                      <a:pt x="217" y="163"/>
                    </a:lnTo>
                    <a:lnTo>
                      <a:pt x="217" y="158"/>
                    </a:lnTo>
                    <a:lnTo>
                      <a:pt x="217" y="154"/>
                    </a:lnTo>
                    <a:lnTo>
                      <a:pt x="221" y="154"/>
                    </a:lnTo>
                    <a:lnTo>
                      <a:pt x="221" y="149"/>
                    </a:lnTo>
                    <a:lnTo>
                      <a:pt x="226" y="149"/>
                    </a:lnTo>
                    <a:lnTo>
                      <a:pt x="226" y="149"/>
                    </a:lnTo>
                    <a:lnTo>
                      <a:pt x="235" y="145"/>
                    </a:lnTo>
                    <a:lnTo>
                      <a:pt x="235" y="140"/>
                    </a:lnTo>
                    <a:lnTo>
                      <a:pt x="235" y="140"/>
                    </a:lnTo>
                    <a:lnTo>
                      <a:pt x="235" y="140"/>
                    </a:lnTo>
                    <a:lnTo>
                      <a:pt x="235" y="140"/>
                    </a:lnTo>
                    <a:lnTo>
                      <a:pt x="235" y="136"/>
                    </a:lnTo>
                    <a:lnTo>
                      <a:pt x="235" y="131"/>
                    </a:lnTo>
                    <a:lnTo>
                      <a:pt x="235" y="127"/>
                    </a:lnTo>
                    <a:lnTo>
                      <a:pt x="235" y="127"/>
                    </a:lnTo>
                    <a:lnTo>
                      <a:pt x="239" y="122"/>
                    </a:lnTo>
                    <a:lnTo>
                      <a:pt x="239" y="122"/>
                    </a:lnTo>
                    <a:lnTo>
                      <a:pt x="239" y="118"/>
                    </a:lnTo>
                    <a:lnTo>
                      <a:pt x="244" y="118"/>
                    </a:lnTo>
                    <a:lnTo>
                      <a:pt x="244" y="118"/>
                    </a:lnTo>
                    <a:lnTo>
                      <a:pt x="248" y="113"/>
                    </a:lnTo>
                    <a:lnTo>
                      <a:pt x="248" y="113"/>
                    </a:lnTo>
                    <a:lnTo>
                      <a:pt x="248" y="109"/>
                    </a:lnTo>
                    <a:lnTo>
                      <a:pt x="253" y="109"/>
                    </a:lnTo>
                    <a:lnTo>
                      <a:pt x="253" y="109"/>
                    </a:lnTo>
                    <a:lnTo>
                      <a:pt x="253" y="113"/>
                    </a:lnTo>
                    <a:lnTo>
                      <a:pt x="253" y="118"/>
                    </a:lnTo>
                    <a:lnTo>
                      <a:pt x="257" y="122"/>
                    </a:lnTo>
                    <a:lnTo>
                      <a:pt x="257" y="127"/>
                    </a:lnTo>
                    <a:lnTo>
                      <a:pt x="257" y="127"/>
                    </a:lnTo>
                    <a:lnTo>
                      <a:pt x="257" y="131"/>
                    </a:lnTo>
                    <a:lnTo>
                      <a:pt x="257" y="131"/>
                    </a:lnTo>
                    <a:lnTo>
                      <a:pt x="257" y="131"/>
                    </a:lnTo>
                    <a:lnTo>
                      <a:pt x="257" y="127"/>
                    </a:lnTo>
                    <a:lnTo>
                      <a:pt x="262" y="127"/>
                    </a:lnTo>
                    <a:lnTo>
                      <a:pt x="262" y="122"/>
                    </a:lnTo>
                    <a:lnTo>
                      <a:pt x="262" y="122"/>
                    </a:lnTo>
                    <a:lnTo>
                      <a:pt x="262" y="122"/>
                    </a:lnTo>
                    <a:lnTo>
                      <a:pt x="262" y="122"/>
                    </a:lnTo>
                    <a:lnTo>
                      <a:pt x="262" y="122"/>
                    </a:lnTo>
                    <a:lnTo>
                      <a:pt x="262" y="122"/>
                    </a:lnTo>
                    <a:lnTo>
                      <a:pt x="266" y="122"/>
                    </a:lnTo>
                    <a:lnTo>
                      <a:pt x="266" y="122"/>
                    </a:lnTo>
                    <a:lnTo>
                      <a:pt x="266" y="118"/>
                    </a:lnTo>
                    <a:lnTo>
                      <a:pt x="266" y="118"/>
                    </a:lnTo>
                    <a:lnTo>
                      <a:pt x="266" y="118"/>
                    </a:lnTo>
                    <a:lnTo>
                      <a:pt x="266" y="118"/>
                    </a:lnTo>
                    <a:lnTo>
                      <a:pt x="262" y="113"/>
                    </a:lnTo>
                    <a:lnTo>
                      <a:pt x="262" y="113"/>
                    </a:lnTo>
                    <a:lnTo>
                      <a:pt x="262" y="109"/>
                    </a:lnTo>
                    <a:lnTo>
                      <a:pt x="262" y="109"/>
                    </a:lnTo>
                    <a:lnTo>
                      <a:pt x="262" y="109"/>
                    </a:lnTo>
                    <a:lnTo>
                      <a:pt x="262" y="109"/>
                    </a:lnTo>
                    <a:lnTo>
                      <a:pt x="266" y="109"/>
                    </a:lnTo>
                    <a:lnTo>
                      <a:pt x="266" y="109"/>
                    </a:lnTo>
                    <a:lnTo>
                      <a:pt x="266" y="104"/>
                    </a:lnTo>
                    <a:lnTo>
                      <a:pt x="266" y="104"/>
                    </a:lnTo>
                    <a:lnTo>
                      <a:pt x="266" y="104"/>
                    </a:lnTo>
                    <a:lnTo>
                      <a:pt x="266" y="109"/>
                    </a:lnTo>
                    <a:lnTo>
                      <a:pt x="271" y="109"/>
                    </a:lnTo>
                    <a:lnTo>
                      <a:pt x="271" y="104"/>
                    </a:lnTo>
                    <a:lnTo>
                      <a:pt x="271" y="104"/>
                    </a:lnTo>
                    <a:lnTo>
                      <a:pt x="275" y="104"/>
                    </a:lnTo>
                    <a:lnTo>
                      <a:pt x="275" y="109"/>
                    </a:lnTo>
                    <a:lnTo>
                      <a:pt x="275" y="109"/>
                    </a:lnTo>
                    <a:lnTo>
                      <a:pt x="280" y="109"/>
                    </a:lnTo>
                    <a:lnTo>
                      <a:pt x="280" y="109"/>
                    </a:lnTo>
                    <a:lnTo>
                      <a:pt x="284" y="109"/>
                    </a:lnTo>
                    <a:lnTo>
                      <a:pt x="284" y="109"/>
                    </a:lnTo>
                    <a:lnTo>
                      <a:pt x="284" y="109"/>
                    </a:lnTo>
                    <a:lnTo>
                      <a:pt x="284" y="109"/>
                    </a:lnTo>
                    <a:lnTo>
                      <a:pt x="280" y="109"/>
                    </a:lnTo>
                    <a:lnTo>
                      <a:pt x="280" y="109"/>
                    </a:lnTo>
                    <a:lnTo>
                      <a:pt x="280" y="104"/>
                    </a:lnTo>
                    <a:lnTo>
                      <a:pt x="280" y="104"/>
                    </a:lnTo>
                    <a:lnTo>
                      <a:pt x="280" y="104"/>
                    </a:lnTo>
                    <a:lnTo>
                      <a:pt x="280" y="104"/>
                    </a:lnTo>
                    <a:lnTo>
                      <a:pt x="280" y="104"/>
                    </a:lnTo>
                    <a:lnTo>
                      <a:pt x="280" y="104"/>
                    </a:lnTo>
                    <a:lnTo>
                      <a:pt x="284" y="100"/>
                    </a:lnTo>
                    <a:lnTo>
                      <a:pt x="284" y="100"/>
                    </a:lnTo>
                    <a:lnTo>
                      <a:pt x="284" y="100"/>
                    </a:lnTo>
                    <a:lnTo>
                      <a:pt x="284" y="95"/>
                    </a:lnTo>
                    <a:lnTo>
                      <a:pt x="284" y="95"/>
                    </a:lnTo>
                    <a:lnTo>
                      <a:pt x="280" y="100"/>
                    </a:lnTo>
                    <a:lnTo>
                      <a:pt x="280" y="95"/>
                    </a:lnTo>
                    <a:lnTo>
                      <a:pt x="280" y="95"/>
                    </a:lnTo>
                    <a:lnTo>
                      <a:pt x="280" y="90"/>
                    </a:lnTo>
                    <a:lnTo>
                      <a:pt x="284" y="90"/>
                    </a:lnTo>
                    <a:lnTo>
                      <a:pt x="284" y="90"/>
                    </a:lnTo>
                    <a:lnTo>
                      <a:pt x="284" y="90"/>
                    </a:lnTo>
                    <a:lnTo>
                      <a:pt x="284" y="90"/>
                    </a:lnTo>
                    <a:lnTo>
                      <a:pt x="289" y="86"/>
                    </a:lnTo>
                    <a:lnTo>
                      <a:pt x="289" y="86"/>
                    </a:lnTo>
                    <a:lnTo>
                      <a:pt x="289" y="86"/>
                    </a:lnTo>
                    <a:lnTo>
                      <a:pt x="289" y="86"/>
                    </a:lnTo>
                    <a:lnTo>
                      <a:pt x="293" y="86"/>
                    </a:lnTo>
                    <a:lnTo>
                      <a:pt x="293" y="90"/>
                    </a:lnTo>
                    <a:lnTo>
                      <a:pt x="293" y="90"/>
                    </a:lnTo>
                    <a:lnTo>
                      <a:pt x="293" y="86"/>
                    </a:lnTo>
                    <a:lnTo>
                      <a:pt x="293" y="86"/>
                    </a:lnTo>
                    <a:lnTo>
                      <a:pt x="293" y="86"/>
                    </a:lnTo>
                    <a:lnTo>
                      <a:pt x="293" y="86"/>
                    </a:lnTo>
                    <a:lnTo>
                      <a:pt x="289" y="86"/>
                    </a:lnTo>
                    <a:lnTo>
                      <a:pt x="293" y="86"/>
                    </a:lnTo>
                    <a:lnTo>
                      <a:pt x="289" y="81"/>
                    </a:lnTo>
                    <a:lnTo>
                      <a:pt x="293" y="81"/>
                    </a:lnTo>
                    <a:lnTo>
                      <a:pt x="293" y="81"/>
                    </a:lnTo>
                    <a:lnTo>
                      <a:pt x="293" y="81"/>
                    </a:lnTo>
                    <a:lnTo>
                      <a:pt x="293" y="81"/>
                    </a:lnTo>
                    <a:lnTo>
                      <a:pt x="293" y="81"/>
                    </a:lnTo>
                    <a:lnTo>
                      <a:pt x="293" y="81"/>
                    </a:lnTo>
                    <a:lnTo>
                      <a:pt x="298" y="81"/>
                    </a:lnTo>
                    <a:lnTo>
                      <a:pt x="298" y="81"/>
                    </a:lnTo>
                    <a:lnTo>
                      <a:pt x="298" y="81"/>
                    </a:lnTo>
                    <a:lnTo>
                      <a:pt x="302" y="81"/>
                    </a:lnTo>
                    <a:lnTo>
                      <a:pt x="302" y="81"/>
                    </a:lnTo>
                    <a:lnTo>
                      <a:pt x="298" y="77"/>
                    </a:lnTo>
                    <a:lnTo>
                      <a:pt x="298" y="77"/>
                    </a:lnTo>
                    <a:lnTo>
                      <a:pt x="298" y="77"/>
                    </a:lnTo>
                    <a:lnTo>
                      <a:pt x="298" y="72"/>
                    </a:lnTo>
                    <a:lnTo>
                      <a:pt x="302" y="72"/>
                    </a:lnTo>
                    <a:lnTo>
                      <a:pt x="302" y="72"/>
                    </a:lnTo>
                    <a:lnTo>
                      <a:pt x="302" y="72"/>
                    </a:lnTo>
                    <a:lnTo>
                      <a:pt x="302" y="72"/>
                    </a:lnTo>
                    <a:lnTo>
                      <a:pt x="307" y="68"/>
                    </a:lnTo>
                    <a:lnTo>
                      <a:pt x="307" y="68"/>
                    </a:lnTo>
                    <a:lnTo>
                      <a:pt x="307" y="68"/>
                    </a:lnTo>
                    <a:lnTo>
                      <a:pt x="307" y="63"/>
                    </a:lnTo>
                    <a:lnTo>
                      <a:pt x="307" y="63"/>
                    </a:lnTo>
                    <a:lnTo>
                      <a:pt x="311" y="68"/>
                    </a:lnTo>
                    <a:lnTo>
                      <a:pt x="307" y="68"/>
                    </a:lnTo>
                    <a:lnTo>
                      <a:pt x="307" y="68"/>
                    </a:lnTo>
                    <a:lnTo>
                      <a:pt x="307" y="72"/>
                    </a:lnTo>
                    <a:lnTo>
                      <a:pt x="307" y="72"/>
                    </a:lnTo>
                    <a:lnTo>
                      <a:pt x="307" y="68"/>
                    </a:lnTo>
                    <a:lnTo>
                      <a:pt x="307" y="68"/>
                    </a:lnTo>
                    <a:lnTo>
                      <a:pt x="311" y="68"/>
                    </a:lnTo>
                    <a:lnTo>
                      <a:pt x="311" y="72"/>
                    </a:lnTo>
                    <a:lnTo>
                      <a:pt x="311" y="72"/>
                    </a:lnTo>
                    <a:lnTo>
                      <a:pt x="311" y="72"/>
                    </a:lnTo>
                    <a:lnTo>
                      <a:pt x="311" y="72"/>
                    </a:lnTo>
                    <a:lnTo>
                      <a:pt x="316" y="68"/>
                    </a:lnTo>
                    <a:lnTo>
                      <a:pt x="316" y="68"/>
                    </a:lnTo>
                    <a:lnTo>
                      <a:pt x="316" y="68"/>
                    </a:lnTo>
                    <a:lnTo>
                      <a:pt x="316" y="63"/>
                    </a:lnTo>
                    <a:lnTo>
                      <a:pt x="316" y="63"/>
                    </a:lnTo>
                    <a:lnTo>
                      <a:pt x="316" y="63"/>
                    </a:lnTo>
                    <a:lnTo>
                      <a:pt x="316" y="63"/>
                    </a:lnTo>
                    <a:lnTo>
                      <a:pt x="316" y="59"/>
                    </a:lnTo>
                    <a:lnTo>
                      <a:pt x="316" y="59"/>
                    </a:lnTo>
                    <a:lnTo>
                      <a:pt x="320" y="59"/>
                    </a:lnTo>
                    <a:lnTo>
                      <a:pt x="320" y="63"/>
                    </a:lnTo>
                    <a:lnTo>
                      <a:pt x="320" y="63"/>
                    </a:lnTo>
                    <a:lnTo>
                      <a:pt x="320" y="63"/>
                    </a:lnTo>
                    <a:lnTo>
                      <a:pt x="320" y="63"/>
                    </a:lnTo>
                    <a:lnTo>
                      <a:pt x="320" y="59"/>
                    </a:lnTo>
                    <a:lnTo>
                      <a:pt x="325" y="63"/>
                    </a:lnTo>
                    <a:lnTo>
                      <a:pt x="325" y="63"/>
                    </a:lnTo>
                    <a:lnTo>
                      <a:pt x="325" y="63"/>
                    </a:lnTo>
                    <a:lnTo>
                      <a:pt x="330" y="59"/>
                    </a:lnTo>
                    <a:lnTo>
                      <a:pt x="330" y="59"/>
                    </a:lnTo>
                    <a:lnTo>
                      <a:pt x="330" y="54"/>
                    </a:lnTo>
                    <a:lnTo>
                      <a:pt x="334" y="54"/>
                    </a:lnTo>
                    <a:lnTo>
                      <a:pt x="334" y="54"/>
                    </a:lnTo>
                    <a:lnTo>
                      <a:pt x="334" y="59"/>
                    </a:lnTo>
                    <a:lnTo>
                      <a:pt x="339" y="59"/>
                    </a:lnTo>
                    <a:lnTo>
                      <a:pt x="339" y="63"/>
                    </a:lnTo>
                    <a:lnTo>
                      <a:pt x="343" y="63"/>
                    </a:lnTo>
                    <a:lnTo>
                      <a:pt x="343" y="63"/>
                    </a:lnTo>
                    <a:lnTo>
                      <a:pt x="343" y="68"/>
                    </a:lnTo>
                    <a:lnTo>
                      <a:pt x="348" y="72"/>
                    </a:lnTo>
                    <a:lnTo>
                      <a:pt x="352" y="77"/>
                    </a:lnTo>
                    <a:lnTo>
                      <a:pt x="352" y="77"/>
                    </a:lnTo>
                    <a:lnTo>
                      <a:pt x="348" y="77"/>
                    </a:lnTo>
                    <a:lnTo>
                      <a:pt x="348" y="81"/>
                    </a:lnTo>
                    <a:lnTo>
                      <a:pt x="348" y="81"/>
                    </a:lnTo>
                    <a:lnTo>
                      <a:pt x="343" y="90"/>
                    </a:lnTo>
                    <a:lnTo>
                      <a:pt x="348" y="86"/>
                    </a:lnTo>
                    <a:lnTo>
                      <a:pt x="348" y="86"/>
                    </a:lnTo>
                    <a:lnTo>
                      <a:pt x="348" y="86"/>
                    </a:lnTo>
                    <a:lnTo>
                      <a:pt x="348" y="86"/>
                    </a:lnTo>
                    <a:lnTo>
                      <a:pt x="348" y="86"/>
                    </a:lnTo>
                    <a:lnTo>
                      <a:pt x="348" y="86"/>
                    </a:lnTo>
                    <a:lnTo>
                      <a:pt x="348" y="81"/>
                    </a:lnTo>
                    <a:lnTo>
                      <a:pt x="348" y="81"/>
                    </a:lnTo>
                    <a:lnTo>
                      <a:pt x="348" y="81"/>
                    </a:lnTo>
                    <a:lnTo>
                      <a:pt x="352" y="81"/>
                    </a:lnTo>
                    <a:lnTo>
                      <a:pt x="352" y="81"/>
                    </a:lnTo>
                    <a:lnTo>
                      <a:pt x="352" y="77"/>
                    </a:lnTo>
                    <a:lnTo>
                      <a:pt x="352" y="77"/>
                    </a:lnTo>
                    <a:lnTo>
                      <a:pt x="357" y="77"/>
                    </a:lnTo>
                    <a:lnTo>
                      <a:pt x="357" y="77"/>
                    </a:lnTo>
                    <a:lnTo>
                      <a:pt x="357" y="77"/>
                    </a:lnTo>
                    <a:lnTo>
                      <a:pt x="366" y="81"/>
                    </a:lnTo>
                    <a:lnTo>
                      <a:pt x="366" y="81"/>
                    </a:lnTo>
                    <a:lnTo>
                      <a:pt x="366" y="86"/>
                    </a:lnTo>
                    <a:lnTo>
                      <a:pt x="366" y="86"/>
                    </a:lnTo>
                    <a:lnTo>
                      <a:pt x="366" y="86"/>
                    </a:lnTo>
                    <a:lnTo>
                      <a:pt x="366" y="81"/>
                    </a:lnTo>
                    <a:lnTo>
                      <a:pt x="366" y="81"/>
                    </a:lnTo>
                    <a:lnTo>
                      <a:pt x="370" y="81"/>
                    </a:lnTo>
                    <a:lnTo>
                      <a:pt x="370" y="81"/>
                    </a:lnTo>
                    <a:lnTo>
                      <a:pt x="370" y="81"/>
                    </a:lnTo>
                    <a:lnTo>
                      <a:pt x="370" y="86"/>
                    </a:lnTo>
                    <a:lnTo>
                      <a:pt x="375" y="86"/>
                    </a:lnTo>
                    <a:lnTo>
                      <a:pt x="375" y="86"/>
                    </a:lnTo>
                    <a:lnTo>
                      <a:pt x="375" y="81"/>
                    </a:lnTo>
                    <a:lnTo>
                      <a:pt x="375" y="81"/>
                    </a:lnTo>
                    <a:lnTo>
                      <a:pt x="375" y="81"/>
                    </a:lnTo>
                    <a:lnTo>
                      <a:pt x="375" y="81"/>
                    </a:lnTo>
                    <a:lnTo>
                      <a:pt x="379" y="77"/>
                    </a:lnTo>
                    <a:lnTo>
                      <a:pt x="379" y="77"/>
                    </a:lnTo>
                    <a:lnTo>
                      <a:pt x="375" y="77"/>
                    </a:lnTo>
                    <a:lnTo>
                      <a:pt x="375" y="77"/>
                    </a:lnTo>
                    <a:lnTo>
                      <a:pt x="375" y="77"/>
                    </a:lnTo>
                    <a:lnTo>
                      <a:pt x="375" y="72"/>
                    </a:lnTo>
                    <a:lnTo>
                      <a:pt x="375" y="72"/>
                    </a:lnTo>
                    <a:lnTo>
                      <a:pt x="375" y="72"/>
                    </a:lnTo>
                    <a:lnTo>
                      <a:pt x="375" y="72"/>
                    </a:lnTo>
                    <a:lnTo>
                      <a:pt x="370" y="68"/>
                    </a:lnTo>
                    <a:lnTo>
                      <a:pt x="375" y="68"/>
                    </a:lnTo>
                    <a:lnTo>
                      <a:pt x="379" y="63"/>
                    </a:lnTo>
                    <a:lnTo>
                      <a:pt x="379" y="63"/>
                    </a:lnTo>
                    <a:lnTo>
                      <a:pt x="379" y="59"/>
                    </a:lnTo>
                    <a:lnTo>
                      <a:pt x="379" y="59"/>
                    </a:lnTo>
                    <a:lnTo>
                      <a:pt x="384" y="54"/>
                    </a:lnTo>
                    <a:lnTo>
                      <a:pt x="384" y="54"/>
                    </a:lnTo>
                    <a:lnTo>
                      <a:pt x="384" y="54"/>
                    </a:lnTo>
                    <a:lnTo>
                      <a:pt x="384" y="50"/>
                    </a:lnTo>
                    <a:lnTo>
                      <a:pt x="388" y="50"/>
                    </a:lnTo>
                    <a:lnTo>
                      <a:pt x="388" y="50"/>
                    </a:lnTo>
                    <a:lnTo>
                      <a:pt x="388" y="50"/>
                    </a:lnTo>
                    <a:lnTo>
                      <a:pt x="393" y="50"/>
                    </a:lnTo>
                    <a:lnTo>
                      <a:pt x="388" y="45"/>
                    </a:lnTo>
                    <a:lnTo>
                      <a:pt x="393" y="41"/>
                    </a:lnTo>
                    <a:lnTo>
                      <a:pt x="393" y="41"/>
                    </a:lnTo>
                    <a:lnTo>
                      <a:pt x="393" y="41"/>
                    </a:lnTo>
                    <a:lnTo>
                      <a:pt x="397" y="36"/>
                    </a:lnTo>
                    <a:lnTo>
                      <a:pt x="397" y="36"/>
                    </a:lnTo>
                    <a:lnTo>
                      <a:pt x="397" y="36"/>
                    </a:lnTo>
                    <a:lnTo>
                      <a:pt x="402" y="36"/>
                    </a:lnTo>
                    <a:lnTo>
                      <a:pt x="402" y="32"/>
                    </a:lnTo>
                    <a:lnTo>
                      <a:pt x="402" y="32"/>
                    </a:lnTo>
                    <a:lnTo>
                      <a:pt x="402" y="27"/>
                    </a:lnTo>
                    <a:lnTo>
                      <a:pt x="402" y="32"/>
                    </a:lnTo>
                    <a:lnTo>
                      <a:pt x="402" y="32"/>
                    </a:lnTo>
                    <a:lnTo>
                      <a:pt x="406" y="32"/>
                    </a:lnTo>
                    <a:lnTo>
                      <a:pt x="406" y="32"/>
                    </a:lnTo>
                    <a:lnTo>
                      <a:pt x="406" y="32"/>
                    </a:lnTo>
                    <a:lnTo>
                      <a:pt x="406" y="27"/>
                    </a:lnTo>
                    <a:lnTo>
                      <a:pt x="406" y="27"/>
                    </a:lnTo>
                    <a:lnTo>
                      <a:pt x="406" y="27"/>
                    </a:lnTo>
                    <a:lnTo>
                      <a:pt x="411" y="27"/>
                    </a:lnTo>
                    <a:lnTo>
                      <a:pt x="411" y="27"/>
                    </a:lnTo>
                    <a:lnTo>
                      <a:pt x="411" y="27"/>
                    </a:lnTo>
                    <a:lnTo>
                      <a:pt x="411" y="23"/>
                    </a:lnTo>
                    <a:lnTo>
                      <a:pt x="415" y="23"/>
                    </a:lnTo>
                    <a:lnTo>
                      <a:pt x="415" y="23"/>
                    </a:lnTo>
                    <a:lnTo>
                      <a:pt x="415" y="23"/>
                    </a:lnTo>
                    <a:lnTo>
                      <a:pt x="415" y="27"/>
                    </a:lnTo>
                    <a:lnTo>
                      <a:pt x="415" y="27"/>
                    </a:lnTo>
                    <a:lnTo>
                      <a:pt x="420" y="27"/>
                    </a:lnTo>
                    <a:lnTo>
                      <a:pt x="424" y="27"/>
                    </a:lnTo>
                    <a:lnTo>
                      <a:pt x="424" y="27"/>
                    </a:lnTo>
                    <a:lnTo>
                      <a:pt x="424" y="27"/>
                    </a:lnTo>
                    <a:lnTo>
                      <a:pt x="429" y="27"/>
                    </a:lnTo>
                    <a:lnTo>
                      <a:pt x="429" y="27"/>
                    </a:lnTo>
                    <a:lnTo>
                      <a:pt x="433" y="27"/>
                    </a:lnTo>
                    <a:lnTo>
                      <a:pt x="433" y="27"/>
                    </a:lnTo>
                    <a:lnTo>
                      <a:pt x="433" y="27"/>
                    </a:lnTo>
                    <a:lnTo>
                      <a:pt x="433" y="23"/>
                    </a:lnTo>
                    <a:lnTo>
                      <a:pt x="438" y="23"/>
                    </a:lnTo>
                    <a:lnTo>
                      <a:pt x="438" y="23"/>
                    </a:lnTo>
                    <a:lnTo>
                      <a:pt x="438" y="23"/>
                    </a:lnTo>
                    <a:lnTo>
                      <a:pt x="438" y="23"/>
                    </a:lnTo>
                    <a:lnTo>
                      <a:pt x="438" y="23"/>
                    </a:lnTo>
                    <a:lnTo>
                      <a:pt x="438" y="18"/>
                    </a:lnTo>
                    <a:lnTo>
                      <a:pt x="438" y="18"/>
                    </a:lnTo>
                    <a:lnTo>
                      <a:pt x="438" y="14"/>
                    </a:lnTo>
                    <a:lnTo>
                      <a:pt x="438" y="9"/>
                    </a:lnTo>
                    <a:lnTo>
                      <a:pt x="433" y="9"/>
                    </a:lnTo>
                    <a:lnTo>
                      <a:pt x="429" y="9"/>
                    </a:lnTo>
                    <a:lnTo>
                      <a:pt x="429" y="9"/>
                    </a:lnTo>
                    <a:lnTo>
                      <a:pt x="429" y="9"/>
                    </a:lnTo>
                    <a:lnTo>
                      <a:pt x="424" y="9"/>
                    </a:lnTo>
                    <a:lnTo>
                      <a:pt x="424" y="5"/>
                    </a:lnTo>
                    <a:lnTo>
                      <a:pt x="429" y="5"/>
                    </a:lnTo>
                    <a:lnTo>
                      <a:pt x="429" y="5"/>
                    </a:lnTo>
                    <a:lnTo>
                      <a:pt x="429" y="5"/>
                    </a:lnTo>
                    <a:lnTo>
                      <a:pt x="433" y="9"/>
                    </a:lnTo>
                    <a:lnTo>
                      <a:pt x="433" y="9"/>
                    </a:lnTo>
                    <a:lnTo>
                      <a:pt x="433" y="5"/>
                    </a:lnTo>
                    <a:lnTo>
                      <a:pt x="433" y="5"/>
                    </a:lnTo>
                    <a:lnTo>
                      <a:pt x="433" y="5"/>
                    </a:lnTo>
                    <a:lnTo>
                      <a:pt x="438" y="9"/>
                    </a:lnTo>
                    <a:lnTo>
                      <a:pt x="438" y="14"/>
                    </a:lnTo>
                    <a:lnTo>
                      <a:pt x="442" y="9"/>
                    </a:lnTo>
                    <a:lnTo>
                      <a:pt x="442" y="9"/>
                    </a:lnTo>
                    <a:lnTo>
                      <a:pt x="447" y="9"/>
                    </a:lnTo>
                    <a:lnTo>
                      <a:pt x="447" y="9"/>
                    </a:lnTo>
                    <a:lnTo>
                      <a:pt x="447" y="14"/>
                    </a:lnTo>
                    <a:lnTo>
                      <a:pt x="447" y="18"/>
                    </a:lnTo>
                    <a:lnTo>
                      <a:pt x="451" y="18"/>
                    </a:lnTo>
                    <a:lnTo>
                      <a:pt x="451" y="18"/>
                    </a:lnTo>
                    <a:lnTo>
                      <a:pt x="451" y="18"/>
                    </a:lnTo>
                    <a:lnTo>
                      <a:pt x="456" y="18"/>
                    </a:lnTo>
                    <a:lnTo>
                      <a:pt x="461" y="18"/>
                    </a:lnTo>
                    <a:lnTo>
                      <a:pt x="465" y="23"/>
                    </a:lnTo>
                    <a:lnTo>
                      <a:pt x="465" y="23"/>
                    </a:lnTo>
                    <a:lnTo>
                      <a:pt x="465" y="23"/>
                    </a:lnTo>
                    <a:lnTo>
                      <a:pt x="470" y="23"/>
                    </a:lnTo>
                    <a:lnTo>
                      <a:pt x="470" y="23"/>
                    </a:lnTo>
                    <a:lnTo>
                      <a:pt x="474" y="23"/>
                    </a:lnTo>
                    <a:lnTo>
                      <a:pt x="474" y="23"/>
                    </a:lnTo>
                    <a:lnTo>
                      <a:pt x="474" y="27"/>
                    </a:lnTo>
                    <a:lnTo>
                      <a:pt x="479" y="27"/>
                    </a:lnTo>
                    <a:lnTo>
                      <a:pt x="483" y="27"/>
                    </a:lnTo>
                    <a:lnTo>
                      <a:pt x="483" y="27"/>
                    </a:lnTo>
                    <a:lnTo>
                      <a:pt x="488" y="23"/>
                    </a:lnTo>
                    <a:lnTo>
                      <a:pt x="492" y="23"/>
                    </a:lnTo>
                    <a:lnTo>
                      <a:pt x="492" y="23"/>
                    </a:lnTo>
                    <a:lnTo>
                      <a:pt x="492" y="18"/>
                    </a:lnTo>
                    <a:lnTo>
                      <a:pt x="497" y="18"/>
                    </a:lnTo>
                    <a:lnTo>
                      <a:pt x="492" y="23"/>
                    </a:lnTo>
                    <a:lnTo>
                      <a:pt x="492" y="23"/>
                    </a:lnTo>
                    <a:lnTo>
                      <a:pt x="492" y="23"/>
                    </a:lnTo>
                    <a:lnTo>
                      <a:pt x="492" y="23"/>
                    </a:lnTo>
                    <a:lnTo>
                      <a:pt x="492" y="23"/>
                    </a:lnTo>
                    <a:lnTo>
                      <a:pt x="488" y="27"/>
                    </a:lnTo>
                    <a:lnTo>
                      <a:pt x="488" y="27"/>
                    </a:lnTo>
                    <a:lnTo>
                      <a:pt x="492" y="27"/>
                    </a:lnTo>
                    <a:lnTo>
                      <a:pt x="492" y="27"/>
                    </a:lnTo>
                    <a:lnTo>
                      <a:pt x="492" y="27"/>
                    </a:lnTo>
                    <a:lnTo>
                      <a:pt x="492" y="27"/>
                    </a:lnTo>
                    <a:lnTo>
                      <a:pt x="497" y="27"/>
                    </a:lnTo>
                    <a:lnTo>
                      <a:pt x="497" y="32"/>
                    </a:lnTo>
                    <a:lnTo>
                      <a:pt x="497" y="32"/>
                    </a:lnTo>
                    <a:lnTo>
                      <a:pt x="497" y="32"/>
                    </a:lnTo>
                    <a:lnTo>
                      <a:pt x="497" y="32"/>
                    </a:lnTo>
                    <a:lnTo>
                      <a:pt x="501" y="32"/>
                    </a:lnTo>
                    <a:lnTo>
                      <a:pt x="501" y="27"/>
                    </a:lnTo>
                    <a:lnTo>
                      <a:pt x="501" y="27"/>
                    </a:lnTo>
                    <a:lnTo>
                      <a:pt x="501" y="27"/>
                    </a:lnTo>
                    <a:lnTo>
                      <a:pt x="501" y="23"/>
                    </a:lnTo>
                    <a:lnTo>
                      <a:pt x="506" y="23"/>
                    </a:lnTo>
                    <a:lnTo>
                      <a:pt x="506" y="27"/>
                    </a:lnTo>
                    <a:lnTo>
                      <a:pt x="506" y="27"/>
                    </a:lnTo>
                    <a:lnTo>
                      <a:pt x="510" y="27"/>
                    </a:lnTo>
                    <a:lnTo>
                      <a:pt x="510" y="27"/>
                    </a:lnTo>
                    <a:lnTo>
                      <a:pt x="510" y="32"/>
                    </a:lnTo>
                    <a:lnTo>
                      <a:pt x="501" y="41"/>
                    </a:lnTo>
                    <a:lnTo>
                      <a:pt x="501" y="41"/>
                    </a:lnTo>
                    <a:lnTo>
                      <a:pt x="501" y="41"/>
                    </a:lnTo>
                    <a:lnTo>
                      <a:pt x="501" y="45"/>
                    </a:lnTo>
                    <a:lnTo>
                      <a:pt x="497" y="50"/>
                    </a:lnTo>
                    <a:lnTo>
                      <a:pt x="497" y="50"/>
                    </a:lnTo>
                    <a:lnTo>
                      <a:pt x="497" y="50"/>
                    </a:lnTo>
                    <a:lnTo>
                      <a:pt x="497" y="45"/>
                    </a:lnTo>
                    <a:lnTo>
                      <a:pt x="497" y="50"/>
                    </a:lnTo>
                    <a:lnTo>
                      <a:pt x="492" y="50"/>
                    </a:lnTo>
                    <a:lnTo>
                      <a:pt x="488" y="50"/>
                    </a:lnTo>
                    <a:lnTo>
                      <a:pt x="488" y="59"/>
                    </a:lnTo>
                    <a:lnTo>
                      <a:pt x="488" y="63"/>
                    </a:lnTo>
                    <a:lnTo>
                      <a:pt x="488" y="63"/>
                    </a:lnTo>
                    <a:lnTo>
                      <a:pt x="483" y="68"/>
                    </a:lnTo>
                    <a:lnTo>
                      <a:pt x="483" y="68"/>
                    </a:lnTo>
                    <a:lnTo>
                      <a:pt x="483" y="72"/>
                    </a:lnTo>
                    <a:lnTo>
                      <a:pt x="474" y="77"/>
                    </a:lnTo>
                    <a:lnTo>
                      <a:pt x="474" y="77"/>
                    </a:lnTo>
                    <a:lnTo>
                      <a:pt x="474" y="81"/>
                    </a:lnTo>
                    <a:lnTo>
                      <a:pt x="474" y="81"/>
                    </a:lnTo>
                    <a:lnTo>
                      <a:pt x="474" y="86"/>
                    </a:lnTo>
                    <a:lnTo>
                      <a:pt x="474" y="86"/>
                    </a:lnTo>
                    <a:lnTo>
                      <a:pt x="479" y="90"/>
                    </a:lnTo>
                    <a:lnTo>
                      <a:pt x="479" y="90"/>
                    </a:lnTo>
                    <a:lnTo>
                      <a:pt x="483" y="95"/>
                    </a:lnTo>
                    <a:lnTo>
                      <a:pt x="483" y="95"/>
                    </a:lnTo>
                    <a:lnTo>
                      <a:pt x="483" y="100"/>
                    </a:lnTo>
                    <a:lnTo>
                      <a:pt x="488" y="100"/>
                    </a:lnTo>
                    <a:lnTo>
                      <a:pt x="488" y="100"/>
                    </a:lnTo>
                    <a:lnTo>
                      <a:pt x="488" y="100"/>
                    </a:lnTo>
                    <a:lnTo>
                      <a:pt x="488" y="100"/>
                    </a:lnTo>
                    <a:lnTo>
                      <a:pt x="492" y="100"/>
                    </a:lnTo>
                    <a:lnTo>
                      <a:pt x="492" y="100"/>
                    </a:lnTo>
                    <a:lnTo>
                      <a:pt x="492" y="104"/>
                    </a:lnTo>
                    <a:lnTo>
                      <a:pt x="492" y="104"/>
                    </a:lnTo>
                    <a:lnTo>
                      <a:pt x="488" y="104"/>
                    </a:lnTo>
                    <a:lnTo>
                      <a:pt x="492" y="104"/>
                    </a:lnTo>
                    <a:lnTo>
                      <a:pt x="492" y="104"/>
                    </a:lnTo>
                    <a:lnTo>
                      <a:pt x="497" y="104"/>
                    </a:lnTo>
                    <a:lnTo>
                      <a:pt x="497" y="104"/>
                    </a:lnTo>
                    <a:lnTo>
                      <a:pt x="497" y="109"/>
                    </a:lnTo>
                    <a:lnTo>
                      <a:pt x="497" y="109"/>
                    </a:lnTo>
                    <a:lnTo>
                      <a:pt x="501" y="113"/>
                    </a:lnTo>
                    <a:lnTo>
                      <a:pt x="506" y="113"/>
                    </a:lnTo>
                    <a:lnTo>
                      <a:pt x="506" y="118"/>
                    </a:lnTo>
                    <a:lnTo>
                      <a:pt x="510" y="122"/>
                    </a:lnTo>
                    <a:lnTo>
                      <a:pt x="510" y="122"/>
                    </a:lnTo>
                    <a:lnTo>
                      <a:pt x="515" y="127"/>
                    </a:lnTo>
                    <a:lnTo>
                      <a:pt x="519" y="127"/>
                    </a:lnTo>
                    <a:lnTo>
                      <a:pt x="519" y="127"/>
                    </a:lnTo>
                    <a:lnTo>
                      <a:pt x="524" y="127"/>
                    </a:lnTo>
                    <a:lnTo>
                      <a:pt x="524" y="131"/>
                    </a:lnTo>
                    <a:lnTo>
                      <a:pt x="524" y="131"/>
                    </a:lnTo>
                    <a:lnTo>
                      <a:pt x="524" y="131"/>
                    </a:lnTo>
                    <a:lnTo>
                      <a:pt x="524" y="136"/>
                    </a:lnTo>
                    <a:lnTo>
                      <a:pt x="528" y="136"/>
                    </a:lnTo>
                    <a:lnTo>
                      <a:pt x="533" y="140"/>
                    </a:lnTo>
                    <a:lnTo>
                      <a:pt x="533" y="145"/>
                    </a:lnTo>
                    <a:lnTo>
                      <a:pt x="533" y="145"/>
                    </a:lnTo>
                    <a:lnTo>
                      <a:pt x="537" y="145"/>
                    </a:lnTo>
                    <a:lnTo>
                      <a:pt x="537" y="145"/>
                    </a:lnTo>
                    <a:lnTo>
                      <a:pt x="546" y="145"/>
                    </a:lnTo>
                    <a:lnTo>
                      <a:pt x="546" y="140"/>
                    </a:lnTo>
                    <a:lnTo>
                      <a:pt x="551" y="140"/>
                    </a:lnTo>
                    <a:lnTo>
                      <a:pt x="555" y="136"/>
                    </a:lnTo>
                    <a:lnTo>
                      <a:pt x="555" y="131"/>
                    </a:lnTo>
                    <a:lnTo>
                      <a:pt x="564" y="122"/>
                    </a:lnTo>
                    <a:lnTo>
                      <a:pt x="564" y="122"/>
                    </a:lnTo>
                    <a:lnTo>
                      <a:pt x="569" y="113"/>
                    </a:lnTo>
                    <a:lnTo>
                      <a:pt x="569" y="113"/>
                    </a:lnTo>
                    <a:lnTo>
                      <a:pt x="569" y="109"/>
                    </a:lnTo>
                    <a:lnTo>
                      <a:pt x="573" y="104"/>
                    </a:lnTo>
                    <a:lnTo>
                      <a:pt x="578" y="95"/>
                    </a:lnTo>
                    <a:lnTo>
                      <a:pt x="578" y="90"/>
                    </a:lnTo>
                    <a:lnTo>
                      <a:pt x="578" y="86"/>
                    </a:lnTo>
                    <a:lnTo>
                      <a:pt x="578" y="77"/>
                    </a:lnTo>
                    <a:lnTo>
                      <a:pt x="583" y="77"/>
                    </a:lnTo>
                    <a:lnTo>
                      <a:pt x="583" y="72"/>
                    </a:lnTo>
                    <a:lnTo>
                      <a:pt x="583" y="68"/>
                    </a:lnTo>
                    <a:lnTo>
                      <a:pt x="583" y="68"/>
                    </a:lnTo>
                    <a:lnTo>
                      <a:pt x="583" y="63"/>
                    </a:lnTo>
                    <a:lnTo>
                      <a:pt x="583" y="59"/>
                    </a:lnTo>
                    <a:lnTo>
                      <a:pt x="587" y="54"/>
                    </a:lnTo>
                    <a:lnTo>
                      <a:pt x="587" y="54"/>
                    </a:lnTo>
                    <a:lnTo>
                      <a:pt x="587" y="45"/>
                    </a:lnTo>
                    <a:lnTo>
                      <a:pt x="592" y="45"/>
                    </a:lnTo>
                    <a:lnTo>
                      <a:pt x="592" y="41"/>
                    </a:lnTo>
                    <a:lnTo>
                      <a:pt x="592" y="41"/>
                    </a:lnTo>
                    <a:lnTo>
                      <a:pt x="596" y="45"/>
                    </a:lnTo>
                    <a:lnTo>
                      <a:pt x="596" y="41"/>
                    </a:lnTo>
                    <a:lnTo>
                      <a:pt x="596" y="41"/>
                    </a:lnTo>
                    <a:lnTo>
                      <a:pt x="596" y="41"/>
                    </a:lnTo>
                    <a:lnTo>
                      <a:pt x="592" y="36"/>
                    </a:lnTo>
                    <a:lnTo>
                      <a:pt x="592" y="36"/>
                    </a:lnTo>
                    <a:lnTo>
                      <a:pt x="592" y="36"/>
                    </a:lnTo>
                    <a:lnTo>
                      <a:pt x="592" y="36"/>
                    </a:lnTo>
                    <a:lnTo>
                      <a:pt x="592" y="32"/>
                    </a:lnTo>
                    <a:lnTo>
                      <a:pt x="596" y="27"/>
                    </a:lnTo>
                    <a:lnTo>
                      <a:pt x="596" y="27"/>
                    </a:lnTo>
                    <a:lnTo>
                      <a:pt x="596" y="27"/>
                    </a:lnTo>
                    <a:lnTo>
                      <a:pt x="596" y="27"/>
                    </a:lnTo>
                    <a:lnTo>
                      <a:pt x="596" y="27"/>
                    </a:lnTo>
                    <a:lnTo>
                      <a:pt x="596" y="23"/>
                    </a:lnTo>
                    <a:lnTo>
                      <a:pt x="601" y="18"/>
                    </a:lnTo>
                    <a:lnTo>
                      <a:pt x="605" y="9"/>
                    </a:lnTo>
                    <a:lnTo>
                      <a:pt x="605" y="5"/>
                    </a:lnTo>
                    <a:lnTo>
                      <a:pt x="610" y="5"/>
                    </a:lnTo>
                    <a:lnTo>
                      <a:pt x="610" y="0"/>
                    </a:lnTo>
                    <a:lnTo>
                      <a:pt x="610" y="0"/>
                    </a:lnTo>
                    <a:lnTo>
                      <a:pt x="614" y="0"/>
                    </a:lnTo>
                    <a:lnTo>
                      <a:pt x="614" y="0"/>
                    </a:lnTo>
                    <a:lnTo>
                      <a:pt x="614" y="0"/>
                    </a:lnTo>
                    <a:lnTo>
                      <a:pt x="614" y="5"/>
                    </a:lnTo>
                    <a:lnTo>
                      <a:pt x="614" y="5"/>
                    </a:lnTo>
                    <a:lnTo>
                      <a:pt x="614" y="9"/>
                    </a:lnTo>
                    <a:lnTo>
                      <a:pt x="614" y="9"/>
                    </a:lnTo>
                    <a:lnTo>
                      <a:pt x="614" y="14"/>
                    </a:lnTo>
                    <a:lnTo>
                      <a:pt x="614" y="14"/>
                    </a:lnTo>
                    <a:lnTo>
                      <a:pt x="614" y="18"/>
                    </a:lnTo>
                    <a:lnTo>
                      <a:pt x="614" y="23"/>
                    </a:lnTo>
                    <a:lnTo>
                      <a:pt x="614" y="23"/>
                    </a:lnTo>
                    <a:lnTo>
                      <a:pt x="614" y="27"/>
                    </a:lnTo>
                    <a:lnTo>
                      <a:pt x="619" y="27"/>
                    </a:lnTo>
                    <a:lnTo>
                      <a:pt x="619" y="27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91" name="Freeform 12"/>
              <p:cNvSpPr>
                <a:spLocks/>
              </p:cNvSpPr>
              <p:nvPr/>
            </p:nvSpPr>
            <p:spPr bwMode="auto">
              <a:xfrm>
                <a:off x="4535488" y="1489076"/>
                <a:ext cx="179388" cy="77788"/>
              </a:xfrm>
              <a:custGeom>
                <a:avLst/>
                <a:gdLst>
                  <a:gd name="T0" fmla="*/ 86 w 113"/>
                  <a:gd name="T1" fmla="*/ 0 h 49"/>
                  <a:gd name="T2" fmla="*/ 90 w 113"/>
                  <a:gd name="T3" fmla="*/ 0 h 49"/>
                  <a:gd name="T4" fmla="*/ 100 w 113"/>
                  <a:gd name="T5" fmla="*/ 4 h 49"/>
                  <a:gd name="T6" fmla="*/ 109 w 113"/>
                  <a:gd name="T7" fmla="*/ 4 h 49"/>
                  <a:gd name="T8" fmla="*/ 109 w 113"/>
                  <a:gd name="T9" fmla="*/ 9 h 49"/>
                  <a:gd name="T10" fmla="*/ 109 w 113"/>
                  <a:gd name="T11" fmla="*/ 13 h 49"/>
                  <a:gd name="T12" fmla="*/ 113 w 113"/>
                  <a:gd name="T13" fmla="*/ 18 h 49"/>
                  <a:gd name="T14" fmla="*/ 113 w 113"/>
                  <a:gd name="T15" fmla="*/ 22 h 49"/>
                  <a:gd name="T16" fmla="*/ 109 w 113"/>
                  <a:gd name="T17" fmla="*/ 22 h 49"/>
                  <a:gd name="T18" fmla="*/ 104 w 113"/>
                  <a:gd name="T19" fmla="*/ 22 h 49"/>
                  <a:gd name="T20" fmla="*/ 104 w 113"/>
                  <a:gd name="T21" fmla="*/ 27 h 49"/>
                  <a:gd name="T22" fmla="*/ 104 w 113"/>
                  <a:gd name="T23" fmla="*/ 31 h 49"/>
                  <a:gd name="T24" fmla="*/ 104 w 113"/>
                  <a:gd name="T25" fmla="*/ 36 h 49"/>
                  <a:gd name="T26" fmla="*/ 104 w 113"/>
                  <a:gd name="T27" fmla="*/ 36 h 49"/>
                  <a:gd name="T28" fmla="*/ 95 w 113"/>
                  <a:gd name="T29" fmla="*/ 40 h 49"/>
                  <a:gd name="T30" fmla="*/ 95 w 113"/>
                  <a:gd name="T31" fmla="*/ 40 h 49"/>
                  <a:gd name="T32" fmla="*/ 86 w 113"/>
                  <a:gd name="T33" fmla="*/ 45 h 49"/>
                  <a:gd name="T34" fmla="*/ 77 w 113"/>
                  <a:gd name="T35" fmla="*/ 45 h 49"/>
                  <a:gd name="T36" fmla="*/ 77 w 113"/>
                  <a:gd name="T37" fmla="*/ 49 h 49"/>
                  <a:gd name="T38" fmla="*/ 68 w 113"/>
                  <a:gd name="T39" fmla="*/ 45 h 49"/>
                  <a:gd name="T40" fmla="*/ 63 w 113"/>
                  <a:gd name="T41" fmla="*/ 45 h 49"/>
                  <a:gd name="T42" fmla="*/ 45 w 113"/>
                  <a:gd name="T43" fmla="*/ 45 h 49"/>
                  <a:gd name="T44" fmla="*/ 41 w 113"/>
                  <a:gd name="T45" fmla="*/ 40 h 49"/>
                  <a:gd name="T46" fmla="*/ 41 w 113"/>
                  <a:gd name="T47" fmla="*/ 36 h 49"/>
                  <a:gd name="T48" fmla="*/ 32 w 113"/>
                  <a:gd name="T49" fmla="*/ 36 h 49"/>
                  <a:gd name="T50" fmla="*/ 23 w 113"/>
                  <a:gd name="T51" fmla="*/ 40 h 49"/>
                  <a:gd name="T52" fmla="*/ 18 w 113"/>
                  <a:gd name="T53" fmla="*/ 40 h 49"/>
                  <a:gd name="T54" fmla="*/ 14 w 113"/>
                  <a:gd name="T55" fmla="*/ 40 h 49"/>
                  <a:gd name="T56" fmla="*/ 5 w 113"/>
                  <a:gd name="T57" fmla="*/ 40 h 49"/>
                  <a:gd name="T58" fmla="*/ 0 w 113"/>
                  <a:gd name="T59" fmla="*/ 36 h 49"/>
                  <a:gd name="T60" fmla="*/ 0 w 113"/>
                  <a:gd name="T61" fmla="*/ 36 h 49"/>
                  <a:gd name="T62" fmla="*/ 0 w 113"/>
                  <a:gd name="T63" fmla="*/ 31 h 49"/>
                  <a:gd name="T64" fmla="*/ 0 w 113"/>
                  <a:gd name="T65" fmla="*/ 27 h 49"/>
                  <a:gd name="T66" fmla="*/ 5 w 113"/>
                  <a:gd name="T67" fmla="*/ 27 h 49"/>
                  <a:gd name="T68" fmla="*/ 9 w 113"/>
                  <a:gd name="T69" fmla="*/ 31 h 49"/>
                  <a:gd name="T70" fmla="*/ 9 w 113"/>
                  <a:gd name="T71" fmla="*/ 31 h 49"/>
                  <a:gd name="T72" fmla="*/ 14 w 113"/>
                  <a:gd name="T73" fmla="*/ 27 h 49"/>
                  <a:gd name="T74" fmla="*/ 18 w 113"/>
                  <a:gd name="T75" fmla="*/ 27 h 49"/>
                  <a:gd name="T76" fmla="*/ 23 w 113"/>
                  <a:gd name="T77" fmla="*/ 31 h 49"/>
                  <a:gd name="T78" fmla="*/ 27 w 113"/>
                  <a:gd name="T79" fmla="*/ 27 h 49"/>
                  <a:gd name="T80" fmla="*/ 41 w 113"/>
                  <a:gd name="T81" fmla="*/ 27 h 49"/>
                  <a:gd name="T82" fmla="*/ 41 w 113"/>
                  <a:gd name="T83" fmla="*/ 22 h 49"/>
                  <a:gd name="T84" fmla="*/ 50 w 113"/>
                  <a:gd name="T85" fmla="*/ 27 h 49"/>
                  <a:gd name="T86" fmla="*/ 50 w 113"/>
                  <a:gd name="T87" fmla="*/ 27 h 49"/>
                  <a:gd name="T88" fmla="*/ 50 w 113"/>
                  <a:gd name="T89" fmla="*/ 27 h 49"/>
                  <a:gd name="T90" fmla="*/ 50 w 113"/>
                  <a:gd name="T91" fmla="*/ 22 h 49"/>
                  <a:gd name="T92" fmla="*/ 45 w 113"/>
                  <a:gd name="T93" fmla="*/ 18 h 49"/>
                  <a:gd name="T94" fmla="*/ 54 w 113"/>
                  <a:gd name="T95" fmla="*/ 13 h 49"/>
                  <a:gd name="T96" fmla="*/ 59 w 113"/>
                  <a:gd name="T97" fmla="*/ 9 h 49"/>
                  <a:gd name="T98" fmla="*/ 63 w 113"/>
                  <a:gd name="T99" fmla="*/ 9 h 49"/>
                  <a:gd name="T100" fmla="*/ 63 w 113"/>
                  <a:gd name="T101" fmla="*/ 4 h 49"/>
                  <a:gd name="T102" fmla="*/ 72 w 113"/>
                  <a:gd name="T103" fmla="*/ 9 h 49"/>
                  <a:gd name="T104" fmla="*/ 77 w 113"/>
                  <a:gd name="T105" fmla="*/ 4 h 49"/>
                  <a:gd name="T106" fmla="*/ 81 w 113"/>
                  <a:gd name="T10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3" h="49">
                    <a:moveTo>
                      <a:pt x="81" y="0"/>
                    </a:moveTo>
                    <a:lnTo>
                      <a:pt x="81" y="0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5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9" y="4"/>
                    </a:lnTo>
                    <a:lnTo>
                      <a:pt x="109" y="4"/>
                    </a:lnTo>
                    <a:lnTo>
                      <a:pt x="109" y="4"/>
                    </a:lnTo>
                    <a:lnTo>
                      <a:pt x="109" y="4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9" y="13"/>
                    </a:lnTo>
                    <a:lnTo>
                      <a:pt x="113" y="18"/>
                    </a:lnTo>
                    <a:lnTo>
                      <a:pt x="113" y="18"/>
                    </a:lnTo>
                    <a:lnTo>
                      <a:pt x="113" y="18"/>
                    </a:lnTo>
                    <a:lnTo>
                      <a:pt x="113" y="18"/>
                    </a:lnTo>
                    <a:lnTo>
                      <a:pt x="113" y="18"/>
                    </a:lnTo>
                    <a:lnTo>
                      <a:pt x="113" y="22"/>
                    </a:lnTo>
                    <a:lnTo>
                      <a:pt x="113" y="22"/>
                    </a:lnTo>
                    <a:lnTo>
                      <a:pt x="113" y="22"/>
                    </a:lnTo>
                    <a:lnTo>
                      <a:pt x="113" y="22"/>
                    </a:lnTo>
                    <a:lnTo>
                      <a:pt x="113" y="22"/>
                    </a:lnTo>
                    <a:lnTo>
                      <a:pt x="109" y="22"/>
                    </a:lnTo>
                    <a:lnTo>
                      <a:pt x="109" y="22"/>
                    </a:lnTo>
                    <a:lnTo>
                      <a:pt x="109" y="22"/>
                    </a:lnTo>
                    <a:lnTo>
                      <a:pt x="109" y="22"/>
                    </a:lnTo>
                    <a:lnTo>
                      <a:pt x="109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4" y="31"/>
                    </a:lnTo>
                    <a:lnTo>
                      <a:pt x="104" y="31"/>
                    </a:lnTo>
                    <a:lnTo>
                      <a:pt x="104" y="31"/>
                    </a:lnTo>
                    <a:lnTo>
                      <a:pt x="104" y="31"/>
                    </a:lnTo>
                    <a:lnTo>
                      <a:pt x="104" y="31"/>
                    </a:lnTo>
                    <a:lnTo>
                      <a:pt x="104" y="31"/>
                    </a:lnTo>
                    <a:lnTo>
                      <a:pt x="104" y="36"/>
                    </a:lnTo>
                    <a:lnTo>
                      <a:pt x="104" y="36"/>
                    </a:lnTo>
                    <a:lnTo>
                      <a:pt x="104" y="36"/>
                    </a:lnTo>
                    <a:lnTo>
                      <a:pt x="104" y="36"/>
                    </a:lnTo>
                    <a:lnTo>
                      <a:pt x="104" y="36"/>
                    </a:lnTo>
                    <a:lnTo>
                      <a:pt x="104" y="36"/>
                    </a:lnTo>
                    <a:lnTo>
                      <a:pt x="104" y="36"/>
                    </a:lnTo>
                    <a:lnTo>
                      <a:pt x="104" y="36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95" y="40"/>
                    </a:lnTo>
                    <a:lnTo>
                      <a:pt x="95" y="40"/>
                    </a:lnTo>
                    <a:lnTo>
                      <a:pt x="95" y="40"/>
                    </a:lnTo>
                    <a:lnTo>
                      <a:pt x="95" y="40"/>
                    </a:lnTo>
                    <a:lnTo>
                      <a:pt x="95" y="45"/>
                    </a:lnTo>
                    <a:lnTo>
                      <a:pt x="95" y="40"/>
                    </a:lnTo>
                    <a:lnTo>
                      <a:pt x="95" y="40"/>
                    </a:lnTo>
                    <a:lnTo>
                      <a:pt x="90" y="40"/>
                    </a:lnTo>
                    <a:lnTo>
                      <a:pt x="90" y="45"/>
                    </a:lnTo>
                    <a:lnTo>
                      <a:pt x="90" y="45"/>
                    </a:lnTo>
                    <a:lnTo>
                      <a:pt x="86" y="45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7" y="49"/>
                    </a:lnTo>
                    <a:lnTo>
                      <a:pt x="77" y="49"/>
                    </a:lnTo>
                    <a:lnTo>
                      <a:pt x="77" y="49"/>
                    </a:lnTo>
                    <a:lnTo>
                      <a:pt x="72" y="49"/>
                    </a:lnTo>
                    <a:lnTo>
                      <a:pt x="72" y="49"/>
                    </a:lnTo>
                    <a:lnTo>
                      <a:pt x="72" y="49"/>
                    </a:lnTo>
                    <a:lnTo>
                      <a:pt x="72" y="49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3" y="45"/>
                    </a:lnTo>
                    <a:lnTo>
                      <a:pt x="63" y="45"/>
                    </a:lnTo>
                    <a:lnTo>
                      <a:pt x="63" y="45"/>
                    </a:lnTo>
                    <a:lnTo>
                      <a:pt x="63" y="45"/>
                    </a:lnTo>
                    <a:lnTo>
                      <a:pt x="59" y="45"/>
                    </a:lnTo>
                    <a:lnTo>
                      <a:pt x="59" y="45"/>
                    </a:lnTo>
                    <a:lnTo>
                      <a:pt x="54" y="45"/>
                    </a:lnTo>
                    <a:lnTo>
                      <a:pt x="50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36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3" y="40"/>
                    </a:lnTo>
                    <a:lnTo>
                      <a:pt x="23" y="40"/>
                    </a:lnTo>
                    <a:lnTo>
                      <a:pt x="23" y="40"/>
                    </a:lnTo>
                    <a:lnTo>
                      <a:pt x="23" y="40"/>
                    </a:lnTo>
                    <a:lnTo>
                      <a:pt x="23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9" y="40"/>
                    </a:lnTo>
                    <a:lnTo>
                      <a:pt x="9" y="40"/>
                    </a:lnTo>
                    <a:lnTo>
                      <a:pt x="5" y="40"/>
                    </a:lnTo>
                    <a:lnTo>
                      <a:pt x="5" y="40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14" y="31"/>
                    </a:lnTo>
                    <a:lnTo>
                      <a:pt x="14" y="31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23" y="27"/>
                    </a:lnTo>
                    <a:lnTo>
                      <a:pt x="23" y="31"/>
                    </a:lnTo>
                    <a:lnTo>
                      <a:pt x="23" y="31"/>
                    </a:lnTo>
                    <a:lnTo>
                      <a:pt x="23" y="31"/>
                    </a:lnTo>
                    <a:lnTo>
                      <a:pt x="23" y="27"/>
                    </a:lnTo>
                    <a:lnTo>
                      <a:pt x="23" y="31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2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5" y="18"/>
                    </a:lnTo>
                    <a:lnTo>
                      <a:pt x="50" y="13"/>
                    </a:lnTo>
                    <a:lnTo>
                      <a:pt x="50" y="13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72" y="9"/>
                    </a:lnTo>
                    <a:lnTo>
                      <a:pt x="72" y="9"/>
                    </a:lnTo>
                    <a:lnTo>
                      <a:pt x="72" y="4"/>
                    </a:lnTo>
                    <a:lnTo>
                      <a:pt x="72" y="9"/>
                    </a:lnTo>
                    <a:lnTo>
                      <a:pt x="77" y="9"/>
                    </a:lnTo>
                    <a:lnTo>
                      <a:pt x="77" y="4"/>
                    </a:lnTo>
                    <a:lnTo>
                      <a:pt x="77" y="4"/>
                    </a:lnTo>
                    <a:lnTo>
                      <a:pt x="77" y="4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81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92" name="Freeform 13"/>
              <p:cNvSpPr>
                <a:spLocks noEditPoints="1"/>
              </p:cNvSpPr>
              <p:nvPr/>
            </p:nvSpPr>
            <p:spPr bwMode="auto">
              <a:xfrm>
                <a:off x="5410201" y="1689101"/>
                <a:ext cx="136525" cy="107950"/>
              </a:xfrm>
              <a:custGeom>
                <a:avLst/>
                <a:gdLst>
                  <a:gd name="T0" fmla="*/ 9 w 86"/>
                  <a:gd name="T1" fmla="*/ 45 h 68"/>
                  <a:gd name="T2" fmla="*/ 14 w 86"/>
                  <a:gd name="T3" fmla="*/ 45 h 68"/>
                  <a:gd name="T4" fmla="*/ 18 w 86"/>
                  <a:gd name="T5" fmla="*/ 45 h 68"/>
                  <a:gd name="T6" fmla="*/ 23 w 86"/>
                  <a:gd name="T7" fmla="*/ 50 h 68"/>
                  <a:gd name="T8" fmla="*/ 23 w 86"/>
                  <a:gd name="T9" fmla="*/ 59 h 68"/>
                  <a:gd name="T10" fmla="*/ 14 w 86"/>
                  <a:gd name="T11" fmla="*/ 54 h 68"/>
                  <a:gd name="T12" fmla="*/ 9 w 86"/>
                  <a:gd name="T13" fmla="*/ 50 h 68"/>
                  <a:gd name="T14" fmla="*/ 5 w 86"/>
                  <a:gd name="T15" fmla="*/ 50 h 68"/>
                  <a:gd name="T16" fmla="*/ 0 w 86"/>
                  <a:gd name="T17" fmla="*/ 41 h 68"/>
                  <a:gd name="T18" fmla="*/ 5 w 86"/>
                  <a:gd name="T19" fmla="*/ 41 h 68"/>
                  <a:gd name="T20" fmla="*/ 23 w 86"/>
                  <a:gd name="T21" fmla="*/ 5 h 68"/>
                  <a:gd name="T22" fmla="*/ 23 w 86"/>
                  <a:gd name="T23" fmla="*/ 5 h 68"/>
                  <a:gd name="T24" fmla="*/ 27 w 86"/>
                  <a:gd name="T25" fmla="*/ 5 h 68"/>
                  <a:gd name="T26" fmla="*/ 36 w 86"/>
                  <a:gd name="T27" fmla="*/ 14 h 68"/>
                  <a:gd name="T28" fmla="*/ 41 w 86"/>
                  <a:gd name="T29" fmla="*/ 14 h 68"/>
                  <a:gd name="T30" fmla="*/ 45 w 86"/>
                  <a:gd name="T31" fmla="*/ 9 h 68"/>
                  <a:gd name="T32" fmla="*/ 54 w 86"/>
                  <a:gd name="T33" fmla="*/ 5 h 68"/>
                  <a:gd name="T34" fmla="*/ 64 w 86"/>
                  <a:gd name="T35" fmla="*/ 9 h 68"/>
                  <a:gd name="T36" fmla="*/ 68 w 86"/>
                  <a:gd name="T37" fmla="*/ 18 h 68"/>
                  <a:gd name="T38" fmla="*/ 77 w 86"/>
                  <a:gd name="T39" fmla="*/ 23 h 68"/>
                  <a:gd name="T40" fmla="*/ 82 w 86"/>
                  <a:gd name="T41" fmla="*/ 27 h 68"/>
                  <a:gd name="T42" fmla="*/ 82 w 86"/>
                  <a:gd name="T43" fmla="*/ 32 h 68"/>
                  <a:gd name="T44" fmla="*/ 73 w 86"/>
                  <a:gd name="T45" fmla="*/ 32 h 68"/>
                  <a:gd name="T46" fmla="*/ 73 w 86"/>
                  <a:gd name="T47" fmla="*/ 45 h 68"/>
                  <a:gd name="T48" fmla="*/ 73 w 86"/>
                  <a:gd name="T49" fmla="*/ 50 h 68"/>
                  <a:gd name="T50" fmla="*/ 73 w 86"/>
                  <a:gd name="T51" fmla="*/ 54 h 68"/>
                  <a:gd name="T52" fmla="*/ 68 w 86"/>
                  <a:gd name="T53" fmla="*/ 54 h 68"/>
                  <a:gd name="T54" fmla="*/ 68 w 86"/>
                  <a:gd name="T55" fmla="*/ 64 h 68"/>
                  <a:gd name="T56" fmla="*/ 64 w 86"/>
                  <a:gd name="T57" fmla="*/ 64 h 68"/>
                  <a:gd name="T58" fmla="*/ 59 w 86"/>
                  <a:gd name="T59" fmla="*/ 59 h 68"/>
                  <a:gd name="T60" fmla="*/ 54 w 86"/>
                  <a:gd name="T61" fmla="*/ 59 h 68"/>
                  <a:gd name="T62" fmla="*/ 59 w 86"/>
                  <a:gd name="T63" fmla="*/ 54 h 68"/>
                  <a:gd name="T64" fmla="*/ 54 w 86"/>
                  <a:gd name="T65" fmla="*/ 50 h 68"/>
                  <a:gd name="T66" fmla="*/ 54 w 86"/>
                  <a:gd name="T67" fmla="*/ 50 h 68"/>
                  <a:gd name="T68" fmla="*/ 54 w 86"/>
                  <a:gd name="T69" fmla="*/ 45 h 68"/>
                  <a:gd name="T70" fmla="*/ 45 w 86"/>
                  <a:gd name="T71" fmla="*/ 45 h 68"/>
                  <a:gd name="T72" fmla="*/ 41 w 86"/>
                  <a:gd name="T73" fmla="*/ 50 h 68"/>
                  <a:gd name="T74" fmla="*/ 32 w 86"/>
                  <a:gd name="T75" fmla="*/ 59 h 68"/>
                  <a:gd name="T76" fmla="*/ 32 w 86"/>
                  <a:gd name="T77" fmla="*/ 54 h 68"/>
                  <a:gd name="T78" fmla="*/ 32 w 86"/>
                  <a:gd name="T79" fmla="*/ 50 h 68"/>
                  <a:gd name="T80" fmla="*/ 27 w 86"/>
                  <a:gd name="T81" fmla="*/ 50 h 68"/>
                  <a:gd name="T82" fmla="*/ 27 w 86"/>
                  <a:gd name="T83" fmla="*/ 45 h 68"/>
                  <a:gd name="T84" fmla="*/ 27 w 86"/>
                  <a:gd name="T85" fmla="*/ 45 h 68"/>
                  <a:gd name="T86" fmla="*/ 18 w 86"/>
                  <a:gd name="T87" fmla="*/ 41 h 68"/>
                  <a:gd name="T88" fmla="*/ 14 w 86"/>
                  <a:gd name="T89" fmla="*/ 36 h 68"/>
                  <a:gd name="T90" fmla="*/ 18 w 86"/>
                  <a:gd name="T91" fmla="*/ 36 h 68"/>
                  <a:gd name="T92" fmla="*/ 18 w 86"/>
                  <a:gd name="T93" fmla="*/ 32 h 68"/>
                  <a:gd name="T94" fmla="*/ 9 w 86"/>
                  <a:gd name="T95" fmla="*/ 27 h 68"/>
                  <a:gd name="T96" fmla="*/ 9 w 86"/>
                  <a:gd name="T97" fmla="*/ 23 h 68"/>
                  <a:gd name="T98" fmla="*/ 9 w 86"/>
                  <a:gd name="T99" fmla="*/ 18 h 68"/>
                  <a:gd name="T100" fmla="*/ 0 w 86"/>
                  <a:gd name="T101" fmla="*/ 18 h 68"/>
                  <a:gd name="T102" fmla="*/ 5 w 86"/>
                  <a:gd name="T103" fmla="*/ 18 h 68"/>
                  <a:gd name="T104" fmla="*/ 0 w 86"/>
                  <a:gd name="T105" fmla="*/ 14 h 68"/>
                  <a:gd name="T106" fmla="*/ 5 w 86"/>
                  <a:gd name="T107" fmla="*/ 9 h 68"/>
                  <a:gd name="T108" fmla="*/ 14 w 86"/>
                  <a:gd name="T109" fmla="*/ 14 h 68"/>
                  <a:gd name="T110" fmla="*/ 18 w 86"/>
                  <a:gd name="T111" fmla="*/ 14 h 68"/>
                  <a:gd name="T112" fmla="*/ 23 w 86"/>
                  <a:gd name="T113" fmla="*/ 18 h 68"/>
                  <a:gd name="T114" fmla="*/ 27 w 86"/>
                  <a:gd name="T115" fmla="*/ 14 h 68"/>
                  <a:gd name="T116" fmla="*/ 18 w 86"/>
                  <a:gd name="T117" fmla="*/ 9 h 68"/>
                  <a:gd name="T118" fmla="*/ 18 w 86"/>
                  <a:gd name="T119" fmla="*/ 5 h 68"/>
                  <a:gd name="T120" fmla="*/ 18 w 86"/>
                  <a:gd name="T121" fmla="*/ 5 h 68"/>
                  <a:gd name="T122" fmla="*/ 23 w 86"/>
                  <a:gd name="T123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6" h="68">
                    <a:moveTo>
                      <a:pt x="9" y="45"/>
                    </a:moveTo>
                    <a:lnTo>
                      <a:pt x="9" y="45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9" y="54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5" y="50"/>
                    </a:lnTo>
                    <a:lnTo>
                      <a:pt x="5" y="45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0" y="41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9" y="45"/>
                    </a:lnTo>
                    <a:lnTo>
                      <a:pt x="9" y="45"/>
                    </a:lnTo>
                    <a:moveTo>
                      <a:pt x="23" y="5"/>
                    </a:move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0"/>
                    </a:lnTo>
                    <a:lnTo>
                      <a:pt x="23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5" y="14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50" y="9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4" y="5"/>
                    </a:lnTo>
                    <a:lnTo>
                      <a:pt x="54" y="0"/>
                    </a:lnTo>
                    <a:lnTo>
                      <a:pt x="54" y="5"/>
                    </a:lnTo>
                    <a:lnTo>
                      <a:pt x="59" y="5"/>
                    </a:lnTo>
                    <a:lnTo>
                      <a:pt x="64" y="9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8" y="18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82" y="23"/>
                    </a:lnTo>
                    <a:lnTo>
                      <a:pt x="82" y="27"/>
                    </a:lnTo>
                    <a:lnTo>
                      <a:pt x="82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32"/>
                    </a:lnTo>
                    <a:lnTo>
                      <a:pt x="82" y="32"/>
                    </a:lnTo>
                    <a:lnTo>
                      <a:pt x="82" y="32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73" y="32"/>
                    </a:lnTo>
                    <a:lnTo>
                      <a:pt x="73" y="36"/>
                    </a:lnTo>
                    <a:lnTo>
                      <a:pt x="73" y="41"/>
                    </a:lnTo>
                    <a:lnTo>
                      <a:pt x="73" y="45"/>
                    </a:lnTo>
                    <a:lnTo>
                      <a:pt x="73" y="45"/>
                    </a:lnTo>
                    <a:lnTo>
                      <a:pt x="73" y="45"/>
                    </a:lnTo>
                    <a:lnTo>
                      <a:pt x="73" y="50"/>
                    </a:lnTo>
                    <a:lnTo>
                      <a:pt x="73" y="50"/>
                    </a:lnTo>
                    <a:lnTo>
                      <a:pt x="73" y="50"/>
                    </a:lnTo>
                    <a:lnTo>
                      <a:pt x="73" y="54"/>
                    </a:lnTo>
                    <a:lnTo>
                      <a:pt x="73" y="54"/>
                    </a:lnTo>
                    <a:lnTo>
                      <a:pt x="73" y="54"/>
                    </a:lnTo>
                    <a:lnTo>
                      <a:pt x="73" y="54"/>
                    </a:lnTo>
                    <a:lnTo>
                      <a:pt x="73" y="54"/>
                    </a:lnTo>
                    <a:lnTo>
                      <a:pt x="68" y="54"/>
                    </a:lnTo>
                    <a:lnTo>
                      <a:pt x="68" y="54"/>
                    </a:lnTo>
                    <a:lnTo>
                      <a:pt x="68" y="54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8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59" y="64"/>
                    </a:lnTo>
                    <a:lnTo>
                      <a:pt x="59" y="64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4" y="59"/>
                    </a:lnTo>
                    <a:lnTo>
                      <a:pt x="54" y="59"/>
                    </a:lnTo>
                    <a:lnTo>
                      <a:pt x="54" y="59"/>
                    </a:lnTo>
                    <a:lnTo>
                      <a:pt x="54" y="59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9" y="50"/>
                    </a:lnTo>
                    <a:lnTo>
                      <a:pt x="59" y="50"/>
                    </a:lnTo>
                    <a:lnTo>
                      <a:pt x="59" y="45"/>
                    </a:lnTo>
                    <a:lnTo>
                      <a:pt x="54" y="45"/>
                    </a:lnTo>
                    <a:lnTo>
                      <a:pt x="50" y="41"/>
                    </a:lnTo>
                    <a:lnTo>
                      <a:pt x="50" y="41"/>
                    </a:lnTo>
                    <a:lnTo>
                      <a:pt x="50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1" y="45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2" y="59"/>
                    </a:lnTo>
                    <a:lnTo>
                      <a:pt x="32" y="59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3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4" y="32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5" y="18"/>
                    </a:lnTo>
                    <a:lnTo>
                      <a:pt x="5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3" y="14"/>
                    </a:lnTo>
                    <a:lnTo>
                      <a:pt x="23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3" y="0"/>
                    </a:lnTo>
                    <a:lnTo>
                      <a:pt x="23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93" name="Freeform 14"/>
              <p:cNvSpPr>
                <a:spLocks/>
              </p:cNvSpPr>
              <p:nvPr/>
            </p:nvSpPr>
            <p:spPr bwMode="auto">
              <a:xfrm>
                <a:off x="5073651" y="3017839"/>
                <a:ext cx="50800" cy="63500"/>
              </a:xfrm>
              <a:custGeom>
                <a:avLst/>
                <a:gdLst>
                  <a:gd name="T0" fmla="*/ 23 w 32"/>
                  <a:gd name="T1" fmla="*/ 0 h 40"/>
                  <a:gd name="T2" fmla="*/ 27 w 32"/>
                  <a:gd name="T3" fmla="*/ 4 h 40"/>
                  <a:gd name="T4" fmla="*/ 27 w 32"/>
                  <a:gd name="T5" fmla="*/ 4 h 40"/>
                  <a:gd name="T6" fmla="*/ 23 w 32"/>
                  <a:gd name="T7" fmla="*/ 9 h 40"/>
                  <a:gd name="T8" fmla="*/ 27 w 32"/>
                  <a:gd name="T9" fmla="*/ 9 h 40"/>
                  <a:gd name="T10" fmla="*/ 23 w 32"/>
                  <a:gd name="T11" fmla="*/ 9 h 40"/>
                  <a:gd name="T12" fmla="*/ 23 w 32"/>
                  <a:gd name="T13" fmla="*/ 13 h 40"/>
                  <a:gd name="T14" fmla="*/ 27 w 32"/>
                  <a:gd name="T15" fmla="*/ 13 h 40"/>
                  <a:gd name="T16" fmla="*/ 32 w 32"/>
                  <a:gd name="T17" fmla="*/ 13 h 40"/>
                  <a:gd name="T18" fmla="*/ 32 w 32"/>
                  <a:gd name="T19" fmla="*/ 13 h 40"/>
                  <a:gd name="T20" fmla="*/ 32 w 32"/>
                  <a:gd name="T21" fmla="*/ 18 h 40"/>
                  <a:gd name="T22" fmla="*/ 32 w 32"/>
                  <a:gd name="T23" fmla="*/ 18 h 40"/>
                  <a:gd name="T24" fmla="*/ 27 w 32"/>
                  <a:gd name="T25" fmla="*/ 18 h 40"/>
                  <a:gd name="T26" fmla="*/ 27 w 32"/>
                  <a:gd name="T27" fmla="*/ 22 h 40"/>
                  <a:gd name="T28" fmla="*/ 27 w 32"/>
                  <a:gd name="T29" fmla="*/ 22 h 40"/>
                  <a:gd name="T30" fmla="*/ 23 w 32"/>
                  <a:gd name="T31" fmla="*/ 27 h 40"/>
                  <a:gd name="T32" fmla="*/ 23 w 32"/>
                  <a:gd name="T33" fmla="*/ 27 h 40"/>
                  <a:gd name="T34" fmla="*/ 18 w 32"/>
                  <a:gd name="T35" fmla="*/ 31 h 40"/>
                  <a:gd name="T36" fmla="*/ 18 w 32"/>
                  <a:gd name="T37" fmla="*/ 36 h 40"/>
                  <a:gd name="T38" fmla="*/ 14 w 32"/>
                  <a:gd name="T39" fmla="*/ 40 h 40"/>
                  <a:gd name="T40" fmla="*/ 4 w 32"/>
                  <a:gd name="T41" fmla="*/ 36 h 40"/>
                  <a:gd name="T42" fmla="*/ 4 w 32"/>
                  <a:gd name="T43" fmla="*/ 31 h 40"/>
                  <a:gd name="T44" fmla="*/ 4 w 32"/>
                  <a:gd name="T45" fmla="*/ 27 h 40"/>
                  <a:gd name="T46" fmla="*/ 4 w 32"/>
                  <a:gd name="T47" fmla="*/ 22 h 40"/>
                  <a:gd name="T48" fmla="*/ 4 w 32"/>
                  <a:gd name="T49" fmla="*/ 18 h 40"/>
                  <a:gd name="T50" fmla="*/ 0 w 32"/>
                  <a:gd name="T51" fmla="*/ 13 h 40"/>
                  <a:gd name="T52" fmla="*/ 0 w 32"/>
                  <a:gd name="T53" fmla="*/ 9 h 40"/>
                  <a:gd name="T54" fmla="*/ 0 w 32"/>
                  <a:gd name="T55" fmla="*/ 9 h 40"/>
                  <a:gd name="T56" fmla="*/ 0 w 32"/>
                  <a:gd name="T57" fmla="*/ 4 h 40"/>
                  <a:gd name="T58" fmla="*/ 4 w 32"/>
                  <a:gd name="T59" fmla="*/ 4 h 40"/>
                  <a:gd name="T60" fmla="*/ 4 w 32"/>
                  <a:gd name="T61" fmla="*/ 9 h 40"/>
                  <a:gd name="T62" fmla="*/ 9 w 32"/>
                  <a:gd name="T63" fmla="*/ 9 h 40"/>
                  <a:gd name="T64" fmla="*/ 14 w 32"/>
                  <a:gd name="T65" fmla="*/ 9 h 40"/>
                  <a:gd name="T66" fmla="*/ 14 w 32"/>
                  <a:gd name="T67" fmla="*/ 9 h 40"/>
                  <a:gd name="T68" fmla="*/ 14 w 32"/>
                  <a:gd name="T69" fmla="*/ 4 h 40"/>
                  <a:gd name="T70" fmla="*/ 18 w 32"/>
                  <a:gd name="T71" fmla="*/ 0 h 40"/>
                  <a:gd name="T72" fmla="*/ 18 w 32"/>
                  <a:gd name="T73" fmla="*/ 4 h 40"/>
                  <a:gd name="T74" fmla="*/ 18 w 32"/>
                  <a:gd name="T75" fmla="*/ 0 h 40"/>
                  <a:gd name="T76" fmla="*/ 23 w 32"/>
                  <a:gd name="T77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" h="40">
                    <a:moveTo>
                      <a:pt x="23" y="0"/>
                    </a:moveTo>
                    <a:lnTo>
                      <a:pt x="23" y="0"/>
                    </a:lnTo>
                    <a:lnTo>
                      <a:pt x="27" y="0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3" y="4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3" y="22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3" y="31"/>
                    </a:lnTo>
                    <a:lnTo>
                      <a:pt x="18" y="31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4" y="27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3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94" name="Freeform 15"/>
              <p:cNvSpPr>
                <a:spLocks/>
              </p:cNvSpPr>
              <p:nvPr/>
            </p:nvSpPr>
            <p:spPr bwMode="auto">
              <a:xfrm>
                <a:off x="4370388" y="1416051"/>
                <a:ext cx="93663" cy="58738"/>
              </a:xfrm>
              <a:custGeom>
                <a:avLst/>
                <a:gdLst>
                  <a:gd name="T0" fmla="*/ 36 w 59"/>
                  <a:gd name="T1" fmla="*/ 0 h 37"/>
                  <a:gd name="T2" fmla="*/ 36 w 59"/>
                  <a:gd name="T3" fmla="*/ 0 h 37"/>
                  <a:gd name="T4" fmla="*/ 41 w 59"/>
                  <a:gd name="T5" fmla="*/ 0 h 37"/>
                  <a:gd name="T6" fmla="*/ 41 w 59"/>
                  <a:gd name="T7" fmla="*/ 5 h 37"/>
                  <a:gd name="T8" fmla="*/ 45 w 59"/>
                  <a:gd name="T9" fmla="*/ 0 h 37"/>
                  <a:gd name="T10" fmla="*/ 50 w 59"/>
                  <a:gd name="T11" fmla="*/ 5 h 37"/>
                  <a:gd name="T12" fmla="*/ 50 w 59"/>
                  <a:gd name="T13" fmla="*/ 5 h 37"/>
                  <a:gd name="T14" fmla="*/ 50 w 59"/>
                  <a:gd name="T15" fmla="*/ 9 h 37"/>
                  <a:gd name="T16" fmla="*/ 45 w 59"/>
                  <a:gd name="T17" fmla="*/ 9 h 37"/>
                  <a:gd name="T18" fmla="*/ 50 w 59"/>
                  <a:gd name="T19" fmla="*/ 14 h 37"/>
                  <a:gd name="T20" fmla="*/ 50 w 59"/>
                  <a:gd name="T21" fmla="*/ 14 h 37"/>
                  <a:gd name="T22" fmla="*/ 54 w 59"/>
                  <a:gd name="T23" fmla="*/ 14 h 37"/>
                  <a:gd name="T24" fmla="*/ 54 w 59"/>
                  <a:gd name="T25" fmla="*/ 19 h 37"/>
                  <a:gd name="T26" fmla="*/ 54 w 59"/>
                  <a:gd name="T27" fmla="*/ 19 h 37"/>
                  <a:gd name="T28" fmla="*/ 59 w 59"/>
                  <a:gd name="T29" fmla="*/ 19 h 37"/>
                  <a:gd name="T30" fmla="*/ 54 w 59"/>
                  <a:gd name="T31" fmla="*/ 23 h 37"/>
                  <a:gd name="T32" fmla="*/ 54 w 59"/>
                  <a:gd name="T33" fmla="*/ 23 h 37"/>
                  <a:gd name="T34" fmla="*/ 50 w 59"/>
                  <a:gd name="T35" fmla="*/ 28 h 37"/>
                  <a:gd name="T36" fmla="*/ 50 w 59"/>
                  <a:gd name="T37" fmla="*/ 28 h 37"/>
                  <a:gd name="T38" fmla="*/ 50 w 59"/>
                  <a:gd name="T39" fmla="*/ 32 h 37"/>
                  <a:gd name="T40" fmla="*/ 50 w 59"/>
                  <a:gd name="T41" fmla="*/ 32 h 37"/>
                  <a:gd name="T42" fmla="*/ 50 w 59"/>
                  <a:gd name="T43" fmla="*/ 37 h 37"/>
                  <a:gd name="T44" fmla="*/ 45 w 59"/>
                  <a:gd name="T45" fmla="*/ 37 h 37"/>
                  <a:gd name="T46" fmla="*/ 45 w 59"/>
                  <a:gd name="T47" fmla="*/ 37 h 37"/>
                  <a:gd name="T48" fmla="*/ 41 w 59"/>
                  <a:gd name="T49" fmla="*/ 32 h 37"/>
                  <a:gd name="T50" fmla="*/ 36 w 59"/>
                  <a:gd name="T51" fmla="*/ 32 h 37"/>
                  <a:gd name="T52" fmla="*/ 36 w 59"/>
                  <a:gd name="T53" fmla="*/ 32 h 37"/>
                  <a:gd name="T54" fmla="*/ 36 w 59"/>
                  <a:gd name="T55" fmla="*/ 28 h 37"/>
                  <a:gd name="T56" fmla="*/ 36 w 59"/>
                  <a:gd name="T57" fmla="*/ 23 h 37"/>
                  <a:gd name="T58" fmla="*/ 32 w 59"/>
                  <a:gd name="T59" fmla="*/ 28 h 37"/>
                  <a:gd name="T60" fmla="*/ 27 w 59"/>
                  <a:gd name="T61" fmla="*/ 28 h 37"/>
                  <a:gd name="T62" fmla="*/ 23 w 59"/>
                  <a:gd name="T63" fmla="*/ 28 h 37"/>
                  <a:gd name="T64" fmla="*/ 27 w 59"/>
                  <a:gd name="T65" fmla="*/ 23 h 37"/>
                  <a:gd name="T66" fmla="*/ 27 w 59"/>
                  <a:gd name="T67" fmla="*/ 23 h 37"/>
                  <a:gd name="T68" fmla="*/ 23 w 59"/>
                  <a:gd name="T69" fmla="*/ 19 h 37"/>
                  <a:gd name="T70" fmla="*/ 18 w 59"/>
                  <a:gd name="T71" fmla="*/ 19 h 37"/>
                  <a:gd name="T72" fmla="*/ 18 w 59"/>
                  <a:gd name="T73" fmla="*/ 19 h 37"/>
                  <a:gd name="T74" fmla="*/ 18 w 59"/>
                  <a:gd name="T75" fmla="*/ 19 h 37"/>
                  <a:gd name="T76" fmla="*/ 14 w 59"/>
                  <a:gd name="T77" fmla="*/ 19 h 37"/>
                  <a:gd name="T78" fmla="*/ 14 w 59"/>
                  <a:gd name="T79" fmla="*/ 14 h 37"/>
                  <a:gd name="T80" fmla="*/ 9 w 59"/>
                  <a:gd name="T81" fmla="*/ 14 h 37"/>
                  <a:gd name="T82" fmla="*/ 5 w 59"/>
                  <a:gd name="T83" fmla="*/ 14 h 37"/>
                  <a:gd name="T84" fmla="*/ 5 w 59"/>
                  <a:gd name="T85" fmla="*/ 9 h 37"/>
                  <a:gd name="T86" fmla="*/ 5 w 59"/>
                  <a:gd name="T87" fmla="*/ 9 h 37"/>
                  <a:gd name="T88" fmla="*/ 9 w 59"/>
                  <a:gd name="T89" fmla="*/ 0 h 37"/>
                  <a:gd name="T90" fmla="*/ 14 w 59"/>
                  <a:gd name="T91" fmla="*/ 0 h 37"/>
                  <a:gd name="T92" fmla="*/ 18 w 59"/>
                  <a:gd name="T93" fmla="*/ 5 h 37"/>
                  <a:gd name="T94" fmla="*/ 18 w 59"/>
                  <a:gd name="T95" fmla="*/ 0 h 37"/>
                  <a:gd name="T96" fmla="*/ 23 w 59"/>
                  <a:gd name="T97" fmla="*/ 5 h 37"/>
                  <a:gd name="T98" fmla="*/ 27 w 59"/>
                  <a:gd name="T99" fmla="*/ 0 h 37"/>
                  <a:gd name="T100" fmla="*/ 27 w 59"/>
                  <a:gd name="T101" fmla="*/ 0 h 37"/>
                  <a:gd name="T102" fmla="*/ 27 w 59"/>
                  <a:gd name="T103" fmla="*/ 0 h 37"/>
                  <a:gd name="T104" fmla="*/ 32 w 59"/>
                  <a:gd name="T105" fmla="*/ 0 h 37"/>
                  <a:gd name="T106" fmla="*/ 36 w 59"/>
                  <a:gd name="T107" fmla="*/ 0 h 37"/>
                  <a:gd name="T108" fmla="*/ 36 w 59"/>
                  <a:gd name="T10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9" h="37"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5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50" y="9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9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9"/>
                    </a:lnTo>
                    <a:lnTo>
                      <a:pt x="54" y="19"/>
                    </a:lnTo>
                    <a:lnTo>
                      <a:pt x="54" y="19"/>
                    </a:lnTo>
                    <a:lnTo>
                      <a:pt x="54" y="19"/>
                    </a:lnTo>
                    <a:lnTo>
                      <a:pt x="59" y="19"/>
                    </a:lnTo>
                    <a:lnTo>
                      <a:pt x="59" y="19"/>
                    </a:lnTo>
                    <a:lnTo>
                      <a:pt x="59" y="19"/>
                    </a:lnTo>
                    <a:lnTo>
                      <a:pt x="54" y="23"/>
                    </a:lnTo>
                    <a:lnTo>
                      <a:pt x="54" y="23"/>
                    </a:lnTo>
                    <a:lnTo>
                      <a:pt x="54" y="23"/>
                    </a:lnTo>
                    <a:lnTo>
                      <a:pt x="54" y="23"/>
                    </a:lnTo>
                    <a:lnTo>
                      <a:pt x="54" y="23"/>
                    </a:lnTo>
                    <a:lnTo>
                      <a:pt x="54" y="23"/>
                    </a:lnTo>
                    <a:lnTo>
                      <a:pt x="50" y="23"/>
                    </a:lnTo>
                    <a:lnTo>
                      <a:pt x="50" y="23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37"/>
                    </a:lnTo>
                    <a:lnTo>
                      <a:pt x="50" y="37"/>
                    </a:lnTo>
                    <a:lnTo>
                      <a:pt x="50" y="37"/>
                    </a:lnTo>
                    <a:lnTo>
                      <a:pt x="45" y="37"/>
                    </a:lnTo>
                    <a:lnTo>
                      <a:pt x="45" y="37"/>
                    </a:lnTo>
                    <a:lnTo>
                      <a:pt x="45" y="37"/>
                    </a:lnTo>
                    <a:lnTo>
                      <a:pt x="45" y="37"/>
                    </a:lnTo>
                    <a:lnTo>
                      <a:pt x="45" y="37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2" y="23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27" y="28"/>
                    </a:lnTo>
                    <a:lnTo>
                      <a:pt x="27" y="28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7" y="28"/>
                    </a:lnTo>
                    <a:lnTo>
                      <a:pt x="27" y="28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3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18" y="19"/>
                    </a:lnTo>
                    <a:lnTo>
                      <a:pt x="18" y="19"/>
                    </a:lnTo>
                    <a:lnTo>
                      <a:pt x="18" y="19"/>
                    </a:lnTo>
                    <a:lnTo>
                      <a:pt x="18" y="19"/>
                    </a:lnTo>
                    <a:lnTo>
                      <a:pt x="18" y="19"/>
                    </a:lnTo>
                    <a:lnTo>
                      <a:pt x="18" y="19"/>
                    </a:lnTo>
                    <a:lnTo>
                      <a:pt x="18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95" name="Freeform 16"/>
              <p:cNvSpPr>
                <a:spLocks/>
              </p:cNvSpPr>
              <p:nvPr/>
            </p:nvSpPr>
            <p:spPr bwMode="auto">
              <a:xfrm>
                <a:off x="4292601" y="2579689"/>
                <a:ext cx="85725" cy="185738"/>
              </a:xfrm>
              <a:custGeom>
                <a:avLst/>
                <a:gdLst>
                  <a:gd name="T0" fmla="*/ 45 w 54"/>
                  <a:gd name="T1" fmla="*/ 18 h 117"/>
                  <a:gd name="T2" fmla="*/ 49 w 54"/>
                  <a:gd name="T3" fmla="*/ 22 h 117"/>
                  <a:gd name="T4" fmla="*/ 49 w 54"/>
                  <a:gd name="T5" fmla="*/ 27 h 117"/>
                  <a:gd name="T6" fmla="*/ 54 w 54"/>
                  <a:gd name="T7" fmla="*/ 32 h 117"/>
                  <a:gd name="T8" fmla="*/ 49 w 54"/>
                  <a:gd name="T9" fmla="*/ 36 h 117"/>
                  <a:gd name="T10" fmla="*/ 49 w 54"/>
                  <a:gd name="T11" fmla="*/ 41 h 117"/>
                  <a:gd name="T12" fmla="*/ 49 w 54"/>
                  <a:gd name="T13" fmla="*/ 41 h 117"/>
                  <a:gd name="T14" fmla="*/ 45 w 54"/>
                  <a:gd name="T15" fmla="*/ 50 h 117"/>
                  <a:gd name="T16" fmla="*/ 45 w 54"/>
                  <a:gd name="T17" fmla="*/ 50 h 117"/>
                  <a:gd name="T18" fmla="*/ 40 w 54"/>
                  <a:gd name="T19" fmla="*/ 54 h 117"/>
                  <a:gd name="T20" fmla="*/ 40 w 54"/>
                  <a:gd name="T21" fmla="*/ 59 h 117"/>
                  <a:gd name="T22" fmla="*/ 36 w 54"/>
                  <a:gd name="T23" fmla="*/ 63 h 117"/>
                  <a:gd name="T24" fmla="*/ 31 w 54"/>
                  <a:gd name="T25" fmla="*/ 72 h 117"/>
                  <a:gd name="T26" fmla="*/ 31 w 54"/>
                  <a:gd name="T27" fmla="*/ 81 h 117"/>
                  <a:gd name="T28" fmla="*/ 31 w 54"/>
                  <a:gd name="T29" fmla="*/ 86 h 117"/>
                  <a:gd name="T30" fmla="*/ 36 w 54"/>
                  <a:gd name="T31" fmla="*/ 90 h 117"/>
                  <a:gd name="T32" fmla="*/ 31 w 54"/>
                  <a:gd name="T33" fmla="*/ 95 h 117"/>
                  <a:gd name="T34" fmla="*/ 31 w 54"/>
                  <a:gd name="T35" fmla="*/ 99 h 117"/>
                  <a:gd name="T36" fmla="*/ 31 w 54"/>
                  <a:gd name="T37" fmla="*/ 104 h 117"/>
                  <a:gd name="T38" fmla="*/ 31 w 54"/>
                  <a:gd name="T39" fmla="*/ 108 h 117"/>
                  <a:gd name="T40" fmla="*/ 27 w 54"/>
                  <a:gd name="T41" fmla="*/ 113 h 117"/>
                  <a:gd name="T42" fmla="*/ 13 w 54"/>
                  <a:gd name="T43" fmla="*/ 117 h 117"/>
                  <a:gd name="T44" fmla="*/ 13 w 54"/>
                  <a:gd name="T45" fmla="*/ 108 h 117"/>
                  <a:gd name="T46" fmla="*/ 13 w 54"/>
                  <a:gd name="T47" fmla="*/ 108 h 117"/>
                  <a:gd name="T48" fmla="*/ 13 w 54"/>
                  <a:gd name="T49" fmla="*/ 99 h 117"/>
                  <a:gd name="T50" fmla="*/ 13 w 54"/>
                  <a:gd name="T51" fmla="*/ 86 h 117"/>
                  <a:gd name="T52" fmla="*/ 13 w 54"/>
                  <a:gd name="T53" fmla="*/ 72 h 117"/>
                  <a:gd name="T54" fmla="*/ 13 w 54"/>
                  <a:gd name="T55" fmla="*/ 63 h 117"/>
                  <a:gd name="T56" fmla="*/ 9 w 54"/>
                  <a:gd name="T57" fmla="*/ 54 h 117"/>
                  <a:gd name="T58" fmla="*/ 9 w 54"/>
                  <a:gd name="T59" fmla="*/ 45 h 117"/>
                  <a:gd name="T60" fmla="*/ 4 w 54"/>
                  <a:gd name="T61" fmla="*/ 41 h 117"/>
                  <a:gd name="T62" fmla="*/ 0 w 54"/>
                  <a:gd name="T63" fmla="*/ 36 h 117"/>
                  <a:gd name="T64" fmla="*/ 0 w 54"/>
                  <a:gd name="T65" fmla="*/ 27 h 117"/>
                  <a:gd name="T66" fmla="*/ 4 w 54"/>
                  <a:gd name="T67" fmla="*/ 27 h 117"/>
                  <a:gd name="T68" fmla="*/ 4 w 54"/>
                  <a:gd name="T69" fmla="*/ 27 h 117"/>
                  <a:gd name="T70" fmla="*/ 4 w 54"/>
                  <a:gd name="T71" fmla="*/ 22 h 117"/>
                  <a:gd name="T72" fmla="*/ 4 w 54"/>
                  <a:gd name="T73" fmla="*/ 22 h 117"/>
                  <a:gd name="T74" fmla="*/ 9 w 54"/>
                  <a:gd name="T75" fmla="*/ 22 h 117"/>
                  <a:gd name="T76" fmla="*/ 9 w 54"/>
                  <a:gd name="T77" fmla="*/ 18 h 117"/>
                  <a:gd name="T78" fmla="*/ 13 w 54"/>
                  <a:gd name="T79" fmla="*/ 18 h 117"/>
                  <a:gd name="T80" fmla="*/ 18 w 54"/>
                  <a:gd name="T81" fmla="*/ 18 h 117"/>
                  <a:gd name="T82" fmla="*/ 27 w 54"/>
                  <a:gd name="T83" fmla="*/ 13 h 117"/>
                  <a:gd name="T84" fmla="*/ 27 w 54"/>
                  <a:gd name="T85" fmla="*/ 9 h 117"/>
                  <a:gd name="T86" fmla="*/ 31 w 54"/>
                  <a:gd name="T87" fmla="*/ 4 h 117"/>
                  <a:gd name="T88" fmla="*/ 31 w 54"/>
                  <a:gd name="T89" fmla="*/ 0 h 117"/>
                  <a:gd name="T90" fmla="*/ 36 w 54"/>
                  <a:gd name="T91" fmla="*/ 0 h 117"/>
                  <a:gd name="T92" fmla="*/ 45 w 54"/>
                  <a:gd name="T93" fmla="*/ 9 h 117"/>
                  <a:gd name="T94" fmla="*/ 45 w 54"/>
                  <a:gd name="T95" fmla="*/ 9 h 117"/>
                  <a:gd name="T96" fmla="*/ 49 w 54"/>
                  <a:gd name="T97" fmla="*/ 13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4" h="117">
                    <a:moveTo>
                      <a:pt x="45" y="18"/>
                    </a:moveTo>
                    <a:lnTo>
                      <a:pt x="45" y="18"/>
                    </a:lnTo>
                    <a:lnTo>
                      <a:pt x="45" y="18"/>
                    </a:lnTo>
                    <a:lnTo>
                      <a:pt x="49" y="22"/>
                    </a:lnTo>
                    <a:lnTo>
                      <a:pt x="49" y="22"/>
                    </a:lnTo>
                    <a:lnTo>
                      <a:pt x="49" y="22"/>
                    </a:lnTo>
                    <a:lnTo>
                      <a:pt x="49" y="22"/>
                    </a:lnTo>
                    <a:lnTo>
                      <a:pt x="49" y="27"/>
                    </a:lnTo>
                    <a:lnTo>
                      <a:pt x="49" y="27"/>
                    </a:lnTo>
                    <a:lnTo>
                      <a:pt x="49" y="32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4" y="36"/>
                    </a:lnTo>
                    <a:lnTo>
                      <a:pt x="49" y="36"/>
                    </a:lnTo>
                    <a:lnTo>
                      <a:pt x="49" y="36"/>
                    </a:lnTo>
                    <a:lnTo>
                      <a:pt x="49" y="36"/>
                    </a:lnTo>
                    <a:lnTo>
                      <a:pt x="49" y="36"/>
                    </a:lnTo>
                    <a:lnTo>
                      <a:pt x="49" y="41"/>
                    </a:lnTo>
                    <a:lnTo>
                      <a:pt x="49" y="41"/>
                    </a:lnTo>
                    <a:lnTo>
                      <a:pt x="49" y="41"/>
                    </a:lnTo>
                    <a:lnTo>
                      <a:pt x="49" y="41"/>
                    </a:lnTo>
                    <a:lnTo>
                      <a:pt x="49" y="45"/>
                    </a:lnTo>
                    <a:lnTo>
                      <a:pt x="49" y="45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0" y="54"/>
                    </a:lnTo>
                    <a:lnTo>
                      <a:pt x="40" y="54"/>
                    </a:lnTo>
                    <a:lnTo>
                      <a:pt x="40" y="54"/>
                    </a:lnTo>
                    <a:lnTo>
                      <a:pt x="40" y="59"/>
                    </a:lnTo>
                    <a:lnTo>
                      <a:pt x="40" y="59"/>
                    </a:lnTo>
                    <a:lnTo>
                      <a:pt x="40" y="63"/>
                    </a:lnTo>
                    <a:lnTo>
                      <a:pt x="36" y="63"/>
                    </a:lnTo>
                    <a:lnTo>
                      <a:pt x="36" y="63"/>
                    </a:lnTo>
                    <a:lnTo>
                      <a:pt x="31" y="68"/>
                    </a:lnTo>
                    <a:lnTo>
                      <a:pt x="31" y="72"/>
                    </a:lnTo>
                    <a:lnTo>
                      <a:pt x="31" y="72"/>
                    </a:lnTo>
                    <a:lnTo>
                      <a:pt x="31" y="77"/>
                    </a:lnTo>
                    <a:lnTo>
                      <a:pt x="31" y="77"/>
                    </a:lnTo>
                    <a:lnTo>
                      <a:pt x="31" y="81"/>
                    </a:lnTo>
                    <a:lnTo>
                      <a:pt x="31" y="86"/>
                    </a:lnTo>
                    <a:lnTo>
                      <a:pt x="31" y="86"/>
                    </a:lnTo>
                    <a:lnTo>
                      <a:pt x="31" y="86"/>
                    </a:lnTo>
                    <a:lnTo>
                      <a:pt x="31" y="90"/>
                    </a:lnTo>
                    <a:lnTo>
                      <a:pt x="31" y="90"/>
                    </a:lnTo>
                    <a:lnTo>
                      <a:pt x="36" y="90"/>
                    </a:lnTo>
                    <a:lnTo>
                      <a:pt x="36" y="95"/>
                    </a:lnTo>
                    <a:lnTo>
                      <a:pt x="36" y="95"/>
                    </a:lnTo>
                    <a:lnTo>
                      <a:pt x="31" y="95"/>
                    </a:lnTo>
                    <a:lnTo>
                      <a:pt x="31" y="99"/>
                    </a:lnTo>
                    <a:lnTo>
                      <a:pt x="31" y="99"/>
                    </a:lnTo>
                    <a:lnTo>
                      <a:pt x="31" y="99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6" y="108"/>
                    </a:lnTo>
                    <a:lnTo>
                      <a:pt x="31" y="108"/>
                    </a:lnTo>
                    <a:lnTo>
                      <a:pt x="31" y="108"/>
                    </a:lnTo>
                    <a:lnTo>
                      <a:pt x="31" y="113"/>
                    </a:lnTo>
                    <a:lnTo>
                      <a:pt x="31" y="113"/>
                    </a:lnTo>
                    <a:lnTo>
                      <a:pt x="27" y="113"/>
                    </a:lnTo>
                    <a:lnTo>
                      <a:pt x="18" y="117"/>
                    </a:lnTo>
                    <a:lnTo>
                      <a:pt x="13" y="117"/>
                    </a:lnTo>
                    <a:lnTo>
                      <a:pt x="13" y="117"/>
                    </a:lnTo>
                    <a:lnTo>
                      <a:pt x="18" y="113"/>
                    </a:lnTo>
                    <a:lnTo>
                      <a:pt x="18" y="113"/>
                    </a:lnTo>
                    <a:lnTo>
                      <a:pt x="13" y="108"/>
                    </a:lnTo>
                    <a:lnTo>
                      <a:pt x="13" y="108"/>
                    </a:lnTo>
                    <a:lnTo>
                      <a:pt x="13" y="108"/>
                    </a:lnTo>
                    <a:lnTo>
                      <a:pt x="13" y="108"/>
                    </a:lnTo>
                    <a:lnTo>
                      <a:pt x="13" y="104"/>
                    </a:lnTo>
                    <a:lnTo>
                      <a:pt x="13" y="104"/>
                    </a:lnTo>
                    <a:lnTo>
                      <a:pt x="13" y="99"/>
                    </a:lnTo>
                    <a:lnTo>
                      <a:pt x="13" y="99"/>
                    </a:lnTo>
                    <a:lnTo>
                      <a:pt x="13" y="95"/>
                    </a:lnTo>
                    <a:lnTo>
                      <a:pt x="13" y="86"/>
                    </a:lnTo>
                    <a:lnTo>
                      <a:pt x="13" y="81"/>
                    </a:lnTo>
                    <a:lnTo>
                      <a:pt x="13" y="77"/>
                    </a:lnTo>
                    <a:lnTo>
                      <a:pt x="13" y="72"/>
                    </a:lnTo>
                    <a:lnTo>
                      <a:pt x="13" y="68"/>
                    </a:lnTo>
                    <a:lnTo>
                      <a:pt x="13" y="63"/>
                    </a:lnTo>
                    <a:lnTo>
                      <a:pt x="13" y="63"/>
                    </a:lnTo>
                    <a:lnTo>
                      <a:pt x="9" y="59"/>
                    </a:lnTo>
                    <a:lnTo>
                      <a:pt x="9" y="59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0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4" y="41"/>
                    </a:lnTo>
                    <a:lnTo>
                      <a:pt x="0" y="41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2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31" y="4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4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9" y="13"/>
                    </a:lnTo>
                    <a:lnTo>
                      <a:pt x="49" y="13"/>
                    </a:lnTo>
                    <a:lnTo>
                      <a:pt x="49" y="13"/>
                    </a:lnTo>
                    <a:lnTo>
                      <a:pt x="45" y="18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96" name="Freeform 17"/>
              <p:cNvSpPr>
                <a:spLocks/>
              </p:cNvSpPr>
              <p:nvPr/>
            </p:nvSpPr>
            <p:spPr bwMode="auto">
              <a:xfrm>
                <a:off x="4119563" y="2500314"/>
                <a:ext cx="215900" cy="165100"/>
              </a:xfrm>
              <a:custGeom>
                <a:avLst/>
                <a:gdLst>
                  <a:gd name="T0" fmla="*/ 90 w 136"/>
                  <a:gd name="T1" fmla="*/ 0 h 104"/>
                  <a:gd name="T2" fmla="*/ 100 w 136"/>
                  <a:gd name="T3" fmla="*/ 5 h 104"/>
                  <a:gd name="T4" fmla="*/ 104 w 136"/>
                  <a:gd name="T5" fmla="*/ 14 h 104"/>
                  <a:gd name="T6" fmla="*/ 104 w 136"/>
                  <a:gd name="T7" fmla="*/ 18 h 104"/>
                  <a:gd name="T8" fmla="*/ 109 w 136"/>
                  <a:gd name="T9" fmla="*/ 27 h 104"/>
                  <a:gd name="T10" fmla="*/ 113 w 136"/>
                  <a:gd name="T11" fmla="*/ 27 h 104"/>
                  <a:gd name="T12" fmla="*/ 118 w 136"/>
                  <a:gd name="T13" fmla="*/ 32 h 104"/>
                  <a:gd name="T14" fmla="*/ 113 w 136"/>
                  <a:gd name="T15" fmla="*/ 32 h 104"/>
                  <a:gd name="T16" fmla="*/ 113 w 136"/>
                  <a:gd name="T17" fmla="*/ 36 h 104"/>
                  <a:gd name="T18" fmla="*/ 127 w 136"/>
                  <a:gd name="T19" fmla="*/ 45 h 104"/>
                  <a:gd name="T20" fmla="*/ 131 w 136"/>
                  <a:gd name="T21" fmla="*/ 45 h 104"/>
                  <a:gd name="T22" fmla="*/ 136 w 136"/>
                  <a:gd name="T23" fmla="*/ 45 h 104"/>
                  <a:gd name="T24" fmla="*/ 131 w 136"/>
                  <a:gd name="T25" fmla="*/ 50 h 104"/>
                  <a:gd name="T26" fmla="*/ 131 w 136"/>
                  <a:gd name="T27" fmla="*/ 54 h 104"/>
                  <a:gd name="T28" fmla="*/ 136 w 136"/>
                  <a:gd name="T29" fmla="*/ 59 h 104"/>
                  <a:gd name="T30" fmla="*/ 127 w 136"/>
                  <a:gd name="T31" fmla="*/ 68 h 104"/>
                  <a:gd name="T32" fmla="*/ 122 w 136"/>
                  <a:gd name="T33" fmla="*/ 68 h 104"/>
                  <a:gd name="T34" fmla="*/ 118 w 136"/>
                  <a:gd name="T35" fmla="*/ 72 h 104"/>
                  <a:gd name="T36" fmla="*/ 113 w 136"/>
                  <a:gd name="T37" fmla="*/ 72 h 104"/>
                  <a:gd name="T38" fmla="*/ 113 w 136"/>
                  <a:gd name="T39" fmla="*/ 72 h 104"/>
                  <a:gd name="T40" fmla="*/ 113 w 136"/>
                  <a:gd name="T41" fmla="*/ 72 h 104"/>
                  <a:gd name="T42" fmla="*/ 104 w 136"/>
                  <a:gd name="T43" fmla="*/ 77 h 104"/>
                  <a:gd name="T44" fmla="*/ 104 w 136"/>
                  <a:gd name="T45" fmla="*/ 77 h 104"/>
                  <a:gd name="T46" fmla="*/ 90 w 136"/>
                  <a:gd name="T47" fmla="*/ 72 h 104"/>
                  <a:gd name="T48" fmla="*/ 86 w 136"/>
                  <a:gd name="T49" fmla="*/ 77 h 104"/>
                  <a:gd name="T50" fmla="*/ 86 w 136"/>
                  <a:gd name="T51" fmla="*/ 77 h 104"/>
                  <a:gd name="T52" fmla="*/ 81 w 136"/>
                  <a:gd name="T53" fmla="*/ 77 h 104"/>
                  <a:gd name="T54" fmla="*/ 68 w 136"/>
                  <a:gd name="T55" fmla="*/ 77 h 104"/>
                  <a:gd name="T56" fmla="*/ 54 w 136"/>
                  <a:gd name="T57" fmla="*/ 77 h 104"/>
                  <a:gd name="T58" fmla="*/ 45 w 136"/>
                  <a:gd name="T59" fmla="*/ 77 h 104"/>
                  <a:gd name="T60" fmla="*/ 45 w 136"/>
                  <a:gd name="T61" fmla="*/ 86 h 104"/>
                  <a:gd name="T62" fmla="*/ 45 w 136"/>
                  <a:gd name="T63" fmla="*/ 86 h 104"/>
                  <a:gd name="T64" fmla="*/ 45 w 136"/>
                  <a:gd name="T65" fmla="*/ 91 h 104"/>
                  <a:gd name="T66" fmla="*/ 45 w 136"/>
                  <a:gd name="T67" fmla="*/ 100 h 104"/>
                  <a:gd name="T68" fmla="*/ 50 w 136"/>
                  <a:gd name="T69" fmla="*/ 104 h 104"/>
                  <a:gd name="T70" fmla="*/ 45 w 136"/>
                  <a:gd name="T71" fmla="*/ 104 h 104"/>
                  <a:gd name="T72" fmla="*/ 41 w 136"/>
                  <a:gd name="T73" fmla="*/ 100 h 104"/>
                  <a:gd name="T74" fmla="*/ 36 w 136"/>
                  <a:gd name="T75" fmla="*/ 95 h 104"/>
                  <a:gd name="T76" fmla="*/ 27 w 136"/>
                  <a:gd name="T77" fmla="*/ 100 h 104"/>
                  <a:gd name="T78" fmla="*/ 18 w 136"/>
                  <a:gd name="T79" fmla="*/ 100 h 104"/>
                  <a:gd name="T80" fmla="*/ 14 w 136"/>
                  <a:gd name="T81" fmla="*/ 100 h 104"/>
                  <a:gd name="T82" fmla="*/ 9 w 136"/>
                  <a:gd name="T83" fmla="*/ 95 h 104"/>
                  <a:gd name="T84" fmla="*/ 5 w 136"/>
                  <a:gd name="T85" fmla="*/ 91 h 104"/>
                  <a:gd name="T86" fmla="*/ 0 w 136"/>
                  <a:gd name="T87" fmla="*/ 86 h 104"/>
                  <a:gd name="T88" fmla="*/ 0 w 136"/>
                  <a:gd name="T89" fmla="*/ 77 h 104"/>
                  <a:gd name="T90" fmla="*/ 5 w 136"/>
                  <a:gd name="T91" fmla="*/ 72 h 104"/>
                  <a:gd name="T92" fmla="*/ 5 w 136"/>
                  <a:gd name="T93" fmla="*/ 63 h 104"/>
                  <a:gd name="T94" fmla="*/ 5 w 136"/>
                  <a:gd name="T95" fmla="*/ 59 h 104"/>
                  <a:gd name="T96" fmla="*/ 14 w 136"/>
                  <a:gd name="T97" fmla="*/ 54 h 104"/>
                  <a:gd name="T98" fmla="*/ 18 w 136"/>
                  <a:gd name="T99" fmla="*/ 54 h 104"/>
                  <a:gd name="T100" fmla="*/ 18 w 136"/>
                  <a:gd name="T101" fmla="*/ 45 h 104"/>
                  <a:gd name="T102" fmla="*/ 23 w 136"/>
                  <a:gd name="T103" fmla="*/ 41 h 104"/>
                  <a:gd name="T104" fmla="*/ 23 w 136"/>
                  <a:gd name="T105" fmla="*/ 36 h 104"/>
                  <a:gd name="T106" fmla="*/ 27 w 136"/>
                  <a:gd name="T107" fmla="*/ 32 h 104"/>
                  <a:gd name="T108" fmla="*/ 36 w 136"/>
                  <a:gd name="T109" fmla="*/ 36 h 104"/>
                  <a:gd name="T110" fmla="*/ 41 w 136"/>
                  <a:gd name="T111" fmla="*/ 27 h 104"/>
                  <a:gd name="T112" fmla="*/ 45 w 136"/>
                  <a:gd name="T113" fmla="*/ 27 h 104"/>
                  <a:gd name="T114" fmla="*/ 45 w 136"/>
                  <a:gd name="T115" fmla="*/ 23 h 104"/>
                  <a:gd name="T116" fmla="*/ 54 w 136"/>
                  <a:gd name="T117" fmla="*/ 14 h 104"/>
                  <a:gd name="T118" fmla="*/ 63 w 136"/>
                  <a:gd name="T119" fmla="*/ 9 h 104"/>
                  <a:gd name="T120" fmla="*/ 68 w 136"/>
                  <a:gd name="T121" fmla="*/ 9 h 104"/>
                  <a:gd name="T122" fmla="*/ 77 w 136"/>
                  <a:gd name="T123" fmla="*/ 5 h 104"/>
                  <a:gd name="T124" fmla="*/ 86 w 136"/>
                  <a:gd name="T125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36" h="104">
                    <a:moveTo>
                      <a:pt x="90" y="0"/>
                    </a:moveTo>
                    <a:lnTo>
                      <a:pt x="90" y="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5" y="0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0" y="9"/>
                    </a:lnTo>
                    <a:lnTo>
                      <a:pt x="100" y="9"/>
                    </a:lnTo>
                    <a:lnTo>
                      <a:pt x="100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23"/>
                    </a:lnTo>
                    <a:lnTo>
                      <a:pt x="109" y="27"/>
                    </a:lnTo>
                    <a:lnTo>
                      <a:pt x="109" y="27"/>
                    </a:lnTo>
                    <a:lnTo>
                      <a:pt x="109" y="27"/>
                    </a:lnTo>
                    <a:lnTo>
                      <a:pt x="109" y="27"/>
                    </a:lnTo>
                    <a:lnTo>
                      <a:pt x="109" y="27"/>
                    </a:lnTo>
                    <a:lnTo>
                      <a:pt x="113" y="27"/>
                    </a:lnTo>
                    <a:lnTo>
                      <a:pt x="113" y="27"/>
                    </a:lnTo>
                    <a:lnTo>
                      <a:pt x="113" y="27"/>
                    </a:lnTo>
                    <a:lnTo>
                      <a:pt x="113" y="32"/>
                    </a:lnTo>
                    <a:lnTo>
                      <a:pt x="113" y="32"/>
                    </a:lnTo>
                    <a:lnTo>
                      <a:pt x="118" y="32"/>
                    </a:lnTo>
                    <a:lnTo>
                      <a:pt x="118" y="32"/>
                    </a:lnTo>
                    <a:lnTo>
                      <a:pt x="113" y="32"/>
                    </a:lnTo>
                    <a:lnTo>
                      <a:pt x="113" y="32"/>
                    </a:lnTo>
                    <a:lnTo>
                      <a:pt x="113" y="32"/>
                    </a:lnTo>
                    <a:lnTo>
                      <a:pt x="113" y="36"/>
                    </a:lnTo>
                    <a:lnTo>
                      <a:pt x="113" y="36"/>
                    </a:lnTo>
                    <a:lnTo>
                      <a:pt x="113" y="36"/>
                    </a:lnTo>
                    <a:lnTo>
                      <a:pt x="113" y="36"/>
                    </a:lnTo>
                    <a:lnTo>
                      <a:pt x="118" y="41"/>
                    </a:lnTo>
                    <a:lnTo>
                      <a:pt x="122" y="45"/>
                    </a:lnTo>
                    <a:lnTo>
                      <a:pt x="122" y="45"/>
                    </a:lnTo>
                    <a:lnTo>
                      <a:pt x="127" y="45"/>
                    </a:lnTo>
                    <a:lnTo>
                      <a:pt x="127" y="45"/>
                    </a:lnTo>
                    <a:lnTo>
                      <a:pt x="127" y="45"/>
                    </a:lnTo>
                    <a:lnTo>
                      <a:pt x="131" y="45"/>
                    </a:lnTo>
                    <a:lnTo>
                      <a:pt x="131" y="45"/>
                    </a:lnTo>
                    <a:lnTo>
                      <a:pt x="131" y="45"/>
                    </a:lnTo>
                    <a:lnTo>
                      <a:pt x="131" y="45"/>
                    </a:lnTo>
                    <a:lnTo>
                      <a:pt x="131" y="45"/>
                    </a:lnTo>
                    <a:lnTo>
                      <a:pt x="136" y="45"/>
                    </a:lnTo>
                    <a:lnTo>
                      <a:pt x="136" y="50"/>
                    </a:lnTo>
                    <a:lnTo>
                      <a:pt x="136" y="50"/>
                    </a:lnTo>
                    <a:lnTo>
                      <a:pt x="136" y="50"/>
                    </a:lnTo>
                    <a:lnTo>
                      <a:pt x="131" y="50"/>
                    </a:lnTo>
                    <a:lnTo>
                      <a:pt x="131" y="50"/>
                    </a:lnTo>
                    <a:lnTo>
                      <a:pt x="131" y="50"/>
                    </a:lnTo>
                    <a:lnTo>
                      <a:pt x="131" y="50"/>
                    </a:lnTo>
                    <a:lnTo>
                      <a:pt x="131" y="54"/>
                    </a:lnTo>
                    <a:lnTo>
                      <a:pt x="136" y="54"/>
                    </a:lnTo>
                    <a:lnTo>
                      <a:pt x="136" y="59"/>
                    </a:lnTo>
                    <a:lnTo>
                      <a:pt x="136" y="59"/>
                    </a:lnTo>
                    <a:lnTo>
                      <a:pt x="136" y="59"/>
                    </a:lnTo>
                    <a:lnTo>
                      <a:pt x="136" y="63"/>
                    </a:lnTo>
                    <a:lnTo>
                      <a:pt x="136" y="63"/>
                    </a:lnTo>
                    <a:lnTo>
                      <a:pt x="131" y="68"/>
                    </a:lnTo>
                    <a:lnTo>
                      <a:pt x="127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13" y="77"/>
                    </a:lnTo>
                    <a:lnTo>
                      <a:pt x="113" y="77"/>
                    </a:lnTo>
                    <a:lnTo>
                      <a:pt x="113" y="72"/>
                    </a:lnTo>
                    <a:lnTo>
                      <a:pt x="113" y="77"/>
                    </a:lnTo>
                    <a:lnTo>
                      <a:pt x="113" y="77"/>
                    </a:lnTo>
                    <a:lnTo>
                      <a:pt x="109" y="77"/>
                    </a:lnTo>
                    <a:lnTo>
                      <a:pt x="104" y="77"/>
                    </a:lnTo>
                    <a:lnTo>
                      <a:pt x="104" y="77"/>
                    </a:lnTo>
                    <a:lnTo>
                      <a:pt x="104" y="77"/>
                    </a:lnTo>
                    <a:lnTo>
                      <a:pt x="104" y="77"/>
                    </a:lnTo>
                    <a:lnTo>
                      <a:pt x="104" y="77"/>
                    </a:lnTo>
                    <a:lnTo>
                      <a:pt x="100" y="77"/>
                    </a:lnTo>
                    <a:lnTo>
                      <a:pt x="95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1" y="77"/>
                    </a:lnTo>
                    <a:lnTo>
                      <a:pt x="81" y="77"/>
                    </a:lnTo>
                    <a:lnTo>
                      <a:pt x="81" y="77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2" y="77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63" y="77"/>
                    </a:lnTo>
                    <a:lnTo>
                      <a:pt x="54" y="77"/>
                    </a:lnTo>
                    <a:lnTo>
                      <a:pt x="50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82"/>
                    </a:lnTo>
                    <a:lnTo>
                      <a:pt x="45" y="82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5" y="91"/>
                    </a:lnTo>
                    <a:lnTo>
                      <a:pt x="45" y="91"/>
                    </a:lnTo>
                    <a:lnTo>
                      <a:pt x="45" y="91"/>
                    </a:lnTo>
                    <a:lnTo>
                      <a:pt x="45" y="91"/>
                    </a:lnTo>
                    <a:lnTo>
                      <a:pt x="45" y="95"/>
                    </a:lnTo>
                    <a:lnTo>
                      <a:pt x="45" y="95"/>
                    </a:lnTo>
                    <a:lnTo>
                      <a:pt x="45" y="100"/>
                    </a:lnTo>
                    <a:lnTo>
                      <a:pt x="45" y="100"/>
                    </a:lnTo>
                    <a:lnTo>
                      <a:pt x="45" y="100"/>
                    </a:lnTo>
                    <a:lnTo>
                      <a:pt x="50" y="104"/>
                    </a:lnTo>
                    <a:lnTo>
                      <a:pt x="50" y="104"/>
                    </a:lnTo>
                    <a:lnTo>
                      <a:pt x="50" y="104"/>
                    </a:lnTo>
                    <a:lnTo>
                      <a:pt x="45" y="104"/>
                    </a:lnTo>
                    <a:lnTo>
                      <a:pt x="45" y="104"/>
                    </a:lnTo>
                    <a:lnTo>
                      <a:pt x="45" y="104"/>
                    </a:lnTo>
                    <a:lnTo>
                      <a:pt x="45" y="104"/>
                    </a:lnTo>
                    <a:lnTo>
                      <a:pt x="45" y="104"/>
                    </a:lnTo>
                    <a:lnTo>
                      <a:pt x="41" y="100"/>
                    </a:lnTo>
                    <a:lnTo>
                      <a:pt x="41" y="100"/>
                    </a:lnTo>
                    <a:lnTo>
                      <a:pt x="41" y="100"/>
                    </a:lnTo>
                    <a:lnTo>
                      <a:pt x="41" y="100"/>
                    </a:lnTo>
                    <a:lnTo>
                      <a:pt x="41" y="95"/>
                    </a:lnTo>
                    <a:lnTo>
                      <a:pt x="36" y="95"/>
                    </a:lnTo>
                    <a:lnTo>
                      <a:pt x="36" y="95"/>
                    </a:lnTo>
                    <a:lnTo>
                      <a:pt x="32" y="95"/>
                    </a:lnTo>
                    <a:lnTo>
                      <a:pt x="27" y="95"/>
                    </a:lnTo>
                    <a:lnTo>
                      <a:pt x="27" y="95"/>
                    </a:lnTo>
                    <a:lnTo>
                      <a:pt x="27" y="100"/>
                    </a:lnTo>
                    <a:lnTo>
                      <a:pt x="23" y="100"/>
                    </a:lnTo>
                    <a:lnTo>
                      <a:pt x="23" y="100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14" y="100"/>
                    </a:lnTo>
                    <a:lnTo>
                      <a:pt x="14" y="100"/>
                    </a:lnTo>
                    <a:lnTo>
                      <a:pt x="9" y="100"/>
                    </a:lnTo>
                    <a:lnTo>
                      <a:pt x="9" y="95"/>
                    </a:lnTo>
                    <a:lnTo>
                      <a:pt x="9" y="95"/>
                    </a:lnTo>
                    <a:lnTo>
                      <a:pt x="9" y="95"/>
                    </a:lnTo>
                    <a:lnTo>
                      <a:pt x="9" y="91"/>
                    </a:lnTo>
                    <a:lnTo>
                      <a:pt x="5" y="91"/>
                    </a:lnTo>
                    <a:lnTo>
                      <a:pt x="5" y="91"/>
                    </a:lnTo>
                    <a:lnTo>
                      <a:pt x="5" y="91"/>
                    </a:lnTo>
                    <a:lnTo>
                      <a:pt x="0" y="91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0" y="72"/>
                    </a:lnTo>
                    <a:lnTo>
                      <a:pt x="5" y="72"/>
                    </a:lnTo>
                    <a:lnTo>
                      <a:pt x="5" y="72"/>
                    </a:lnTo>
                    <a:lnTo>
                      <a:pt x="5" y="68"/>
                    </a:lnTo>
                    <a:lnTo>
                      <a:pt x="5" y="68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5" y="59"/>
                    </a:lnTo>
                    <a:lnTo>
                      <a:pt x="5" y="59"/>
                    </a:lnTo>
                    <a:lnTo>
                      <a:pt x="5" y="59"/>
                    </a:lnTo>
                    <a:lnTo>
                      <a:pt x="9" y="59"/>
                    </a:lnTo>
                    <a:lnTo>
                      <a:pt x="9" y="59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72" y="9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9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97" name="Freeform 18"/>
              <p:cNvSpPr>
                <a:spLocks/>
              </p:cNvSpPr>
              <p:nvPr/>
            </p:nvSpPr>
            <p:spPr bwMode="auto">
              <a:xfrm>
                <a:off x="6615113" y="2127251"/>
                <a:ext cx="150813" cy="173038"/>
              </a:xfrm>
              <a:custGeom>
                <a:avLst/>
                <a:gdLst>
                  <a:gd name="T0" fmla="*/ 14 w 95"/>
                  <a:gd name="T1" fmla="*/ 5 h 109"/>
                  <a:gd name="T2" fmla="*/ 14 w 95"/>
                  <a:gd name="T3" fmla="*/ 5 h 109"/>
                  <a:gd name="T4" fmla="*/ 23 w 95"/>
                  <a:gd name="T5" fmla="*/ 9 h 109"/>
                  <a:gd name="T6" fmla="*/ 23 w 95"/>
                  <a:gd name="T7" fmla="*/ 5 h 109"/>
                  <a:gd name="T8" fmla="*/ 32 w 95"/>
                  <a:gd name="T9" fmla="*/ 23 h 109"/>
                  <a:gd name="T10" fmla="*/ 36 w 95"/>
                  <a:gd name="T11" fmla="*/ 23 h 109"/>
                  <a:gd name="T12" fmla="*/ 54 w 95"/>
                  <a:gd name="T13" fmla="*/ 27 h 109"/>
                  <a:gd name="T14" fmla="*/ 73 w 95"/>
                  <a:gd name="T15" fmla="*/ 27 h 109"/>
                  <a:gd name="T16" fmla="*/ 77 w 95"/>
                  <a:gd name="T17" fmla="*/ 32 h 109"/>
                  <a:gd name="T18" fmla="*/ 73 w 95"/>
                  <a:gd name="T19" fmla="*/ 36 h 109"/>
                  <a:gd name="T20" fmla="*/ 73 w 95"/>
                  <a:gd name="T21" fmla="*/ 41 h 109"/>
                  <a:gd name="T22" fmla="*/ 68 w 95"/>
                  <a:gd name="T23" fmla="*/ 45 h 109"/>
                  <a:gd name="T24" fmla="*/ 63 w 95"/>
                  <a:gd name="T25" fmla="*/ 45 h 109"/>
                  <a:gd name="T26" fmla="*/ 63 w 95"/>
                  <a:gd name="T27" fmla="*/ 59 h 109"/>
                  <a:gd name="T28" fmla="*/ 68 w 95"/>
                  <a:gd name="T29" fmla="*/ 63 h 109"/>
                  <a:gd name="T30" fmla="*/ 73 w 95"/>
                  <a:gd name="T31" fmla="*/ 68 h 109"/>
                  <a:gd name="T32" fmla="*/ 73 w 95"/>
                  <a:gd name="T33" fmla="*/ 59 h 109"/>
                  <a:gd name="T34" fmla="*/ 77 w 95"/>
                  <a:gd name="T35" fmla="*/ 54 h 109"/>
                  <a:gd name="T36" fmla="*/ 82 w 95"/>
                  <a:gd name="T37" fmla="*/ 59 h 109"/>
                  <a:gd name="T38" fmla="*/ 86 w 95"/>
                  <a:gd name="T39" fmla="*/ 72 h 109"/>
                  <a:gd name="T40" fmla="*/ 95 w 95"/>
                  <a:gd name="T41" fmla="*/ 86 h 109"/>
                  <a:gd name="T42" fmla="*/ 95 w 95"/>
                  <a:gd name="T43" fmla="*/ 100 h 109"/>
                  <a:gd name="T44" fmla="*/ 91 w 95"/>
                  <a:gd name="T45" fmla="*/ 100 h 109"/>
                  <a:gd name="T46" fmla="*/ 91 w 95"/>
                  <a:gd name="T47" fmla="*/ 109 h 109"/>
                  <a:gd name="T48" fmla="*/ 86 w 95"/>
                  <a:gd name="T49" fmla="*/ 104 h 109"/>
                  <a:gd name="T50" fmla="*/ 82 w 95"/>
                  <a:gd name="T51" fmla="*/ 81 h 109"/>
                  <a:gd name="T52" fmla="*/ 73 w 95"/>
                  <a:gd name="T53" fmla="*/ 72 h 109"/>
                  <a:gd name="T54" fmla="*/ 68 w 95"/>
                  <a:gd name="T55" fmla="*/ 77 h 109"/>
                  <a:gd name="T56" fmla="*/ 54 w 95"/>
                  <a:gd name="T57" fmla="*/ 59 h 109"/>
                  <a:gd name="T58" fmla="*/ 54 w 95"/>
                  <a:gd name="T59" fmla="*/ 59 h 109"/>
                  <a:gd name="T60" fmla="*/ 54 w 95"/>
                  <a:gd name="T61" fmla="*/ 63 h 109"/>
                  <a:gd name="T62" fmla="*/ 54 w 95"/>
                  <a:gd name="T63" fmla="*/ 72 h 109"/>
                  <a:gd name="T64" fmla="*/ 54 w 95"/>
                  <a:gd name="T65" fmla="*/ 77 h 109"/>
                  <a:gd name="T66" fmla="*/ 54 w 95"/>
                  <a:gd name="T67" fmla="*/ 86 h 109"/>
                  <a:gd name="T68" fmla="*/ 50 w 95"/>
                  <a:gd name="T69" fmla="*/ 90 h 109"/>
                  <a:gd name="T70" fmla="*/ 50 w 95"/>
                  <a:gd name="T71" fmla="*/ 86 h 109"/>
                  <a:gd name="T72" fmla="*/ 45 w 95"/>
                  <a:gd name="T73" fmla="*/ 86 h 109"/>
                  <a:gd name="T74" fmla="*/ 45 w 95"/>
                  <a:gd name="T75" fmla="*/ 90 h 109"/>
                  <a:gd name="T76" fmla="*/ 41 w 95"/>
                  <a:gd name="T77" fmla="*/ 90 h 109"/>
                  <a:gd name="T78" fmla="*/ 36 w 95"/>
                  <a:gd name="T79" fmla="*/ 90 h 109"/>
                  <a:gd name="T80" fmla="*/ 27 w 95"/>
                  <a:gd name="T81" fmla="*/ 77 h 109"/>
                  <a:gd name="T82" fmla="*/ 27 w 95"/>
                  <a:gd name="T83" fmla="*/ 63 h 109"/>
                  <a:gd name="T84" fmla="*/ 23 w 95"/>
                  <a:gd name="T85" fmla="*/ 59 h 109"/>
                  <a:gd name="T86" fmla="*/ 18 w 95"/>
                  <a:gd name="T87" fmla="*/ 50 h 109"/>
                  <a:gd name="T88" fmla="*/ 14 w 95"/>
                  <a:gd name="T89" fmla="*/ 41 h 109"/>
                  <a:gd name="T90" fmla="*/ 5 w 95"/>
                  <a:gd name="T91" fmla="*/ 41 h 109"/>
                  <a:gd name="T92" fmla="*/ 9 w 95"/>
                  <a:gd name="T93" fmla="*/ 32 h 109"/>
                  <a:gd name="T94" fmla="*/ 14 w 95"/>
                  <a:gd name="T95" fmla="*/ 27 h 109"/>
                  <a:gd name="T96" fmla="*/ 14 w 95"/>
                  <a:gd name="T97" fmla="*/ 23 h 109"/>
                  <a:gd name="T98" fmla="*/ 9 w 95"/>
                  <a:gd name="T99" fmla="*/ 18 h 109"/>
                  <a:gd name="T100" fmla="*/ 0 w 95"/>
                  <a:gd name="T101" fmla="*/ 14 h 109"/>
                  <a:gd name="T102" fmla="*/ 5 w 95"/>
                  <a:gd name="T103" fmla="*/ 5 h 109"/>
                  <a:gd name="T104" fmla="*/ 0 w 95"/>
                  <a:gd name="T105" fmla="*/ 0 h 109"/>
                  <a:gd name="T106" fmla="*/ 9 w 95"/>
                  <a:gd name="T107" fmla="*/ 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5" h="109">
                    <a:moveTo>
                      <a:pt x="9" y="5"/>
                    </a:moveTo>
                    <a:lnTo>
                      <a:pt x="9" y="5"/>
                    </a:lnTo>
                    <a:lnTo>
                      <a:pt x="9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0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7" y="5"/>
                    </a:lnTo>
                    <a:lnTo>
                      <a:pt x="27" y="9"/>
                    </a:lnTo>
                    <a:lnTo>
                      <a:pt x="27" y="14"/>
                    </a:lnTo>
                    <a:lnTo>
                      <a:pt x="32" y="18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54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63" y="27"/>
                    </a:lnTo>
                    <a:lnTo>
                      <a:pt x="68" y="23"/>
                    </a:lnTo>
                    <a:lnTo>
                      <a:pt x="73" y="27"/>
                    </a:lnTo>
                    <a:lnTo>
                      <a:pt x="77" y="27"/>
                    </a:lnTo>
                    <a:lnTo>
                      <a:pt x="77" y="27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73" y="32"/>
                    </a:lnTo>
                    <a:lnTo>
                      <a:pt x="73" y="32"/>
                    </a:lnTo>
                    <a:lnTo>
                      <a:pt x="73" y="32"/>
                    </a:lnTo>
                    <a:lnTo>
                      <a:pt x="73" y="32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73" y="45"/>
                    </a:lnTo>
                    <a:lnTo>
                      <a:pt x="73" y="45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3" y="45"/>
                    </a:lnTo>
                    <a:lnTo>
                      <a:pt x="63" y="45"/>
                    </a:lnTo>
                    <a:lnTo>
                      <a:pt x="63" y="45"/>
                    </a:lnTo>
                    <a:lnTo>
                      <a:pt x="63" y="50"/>
                    </a:lnTo>
                    <a:lnTo>
                      <a:pt x="63" y="50"/>
                    </a:lnTo>
                    <a:lnTo>
                      <a:pt x="63" y="54"/>
                    </a:lnTo>
                    <a:lnTo>
                      <a:pt x="63" y="54"/>
                    </a:lnTo>
                    <a:lnTo>
                      <a:pt x="63" y="54"/>
                    </a:lnTo>
                    <a:lnTo>
                      <a:pt x="63" y="59"/>
                    </a:lnTo>
                    <a:lnTo>
                      <a:pt x="68" y="63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8" y="63"/>
                    </a:lnTo>
                    <a:lnTo>
                      <a:pt x="68" y="63"/>
                    </a:lnTo>
                    <a:lnTo>
                      <a:pt x="68" y="63"/>
                    </a:lnTo>
                    <a:lnTo>
                      <a:pt x="68" y="63"/>
                    </a:lnTo>
                    <a:lnTo>
                      <a:pt x="68" y="63"/>
                    </a:lnTo>
                    <a:lnTo>
                      <a:pt x="73" y="68"/>
                    </a:lnTo>
                    <a:lnTo>
                      <a:pt x="73" y="68"/>
                    </a:lnTo>
                    <a:lnTo>
                      <a:pt x="73" y="68"/>
                    </a:lnTo>
                    <a:lnTo>
                      <a:pt x="73" y="68"/>
                    </a:lnTo>
                    <a:lnTo>
                      <a:pt x="73" y="68"/>
                    </a:lnTo>
                    <a:lnTo>
                      <a:pt x="73" y="63"/>
                    </a:lnTo>
                    <a:lnTo>
                      <a:pt x="73" y="63"/>
                    </a:lnTo>
                    <a:lnTo>
                      <a:pt x="73" y="63"/>
                    </a:lnTo>
                    <a:lnTo>
                      <a:pt x="73" y="59"/>
                    </a:lnTo>
                    <a:lnTo>
                      <a:pt x="77" y="59"/>
                    </a:lnTo>
                    <a:lnTo>
                      <a:pt x="77" y="59"/>
                    </a:lnTo>
                    <a:lnTo>
                      <a:pt x="77" y="54"/>
                    </a:lnTo>
                    <a:lnTo>
                      <a:pt x="73" y="54"/>
                    </a:lnTo>
                    <a:lnTo>
                      <a:pt x="77" y="54"/>
                    </a:lnTo>
                    <a:lnTo>
                      <a:pt x="77" y="54"/>
                    </a:lnTo>
                    <a:lnTo>
                      <a:pt x="77" y="54"/>
                    </a:lnTo>
                    <a:lnTo>
                      <a:pt x="77" y="54"/>
                    </a:lnTo>
                    <a:lnTo>
                      <a:pt x="77" y="54"/>
                    </a:lnTo>
                    <a:lnTo>
                      <a:pt x="82" y="54"/>
                    </a:lnTo>
                    <a:lnTo>
                      <a:pt x="82" y="59"/>
                    </a:lnTo>
                    <a:lnTo>
                      <a:pt x="82" y="59"/>
                    </a:lnTo>
                    <a:lnTo>
                      <a:pt x="82" y="63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91" y="72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1" y="86"/>
                    </a:lnTo>
                    <a:lnTo>
                      <a:pt x="95" y="86"/>
                    </a:lnTo>
                    <a:lnTo>
                      <a:pt x="95" y="86"/>
                    </a:lnTo>
                    <a:lnTo>
                      <a:pt x="95" y="95"/>
                    </a:lnTo>
                    <a:lnTo>
                      <a:pt x="95" y="95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1" y="100"/>
                    </a:lnTo>
                    <a:lnTo>
                      <a:pt x="91" y="100"/>
                    </a:lnTo>
                    <a:lnTo>
                      <a:pt x="91" y="100"/>
                    </a:lnTo>
                    <a:lnTo>
                      <a:pt x="91" y="100"/>
                    </a:lnTo>
                    <a:lnTo>
                      <a:pt x="91" y="100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91" y="109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1" y="109"/>
                    </a:lnTo>
                    <a:lnTo>
                      <a:pt x="91" y="109"/>
                    </a:lnTo>
                    <a:lnTo>
                      <a:pt x="86" y="104"/>
                    </a:lnTo>
                    <a:lnTo>
                      <a:pt x="86" y="95"/>
                    </a:lnTo>
                    <a:lnTo>
                      <a:pt x="86" y="95"/>
                    </a:lnTo>
                    <a:lnTo>
                      <a:pt x="82" y="90"/>
                    </a:lnTo>
                    <a:lnTo>
                      <a:pt x="82" y="86"/>
                    </a:lnTo>
                    <a:lnTo>
                      <a:pt x="82" y="81"/>
                    </a:lnTo>
                    <a:lnTo>
                      <a:pt x="82" y="81"/>
                    </a:lnTo>
                    <a:lnTo>
                      <a:pt x="82" y="81"/>
                    </a:lnTo>
                    <a:lnTo>
                      <a:pt x="77" y="81"/>
                    </a:lnTo>
                    <a:lnTo>
                      <a:pt x="77" y="81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3" y="72"/>
                    </a:lnTo>
                    <a:lnTo>
                      <a:pt x="73" y="72"/>
                    </a:lnTo>
                    <a:lnTo>
                      <a:pt x="73" y="68"/>
                    </a:lnTo>
                    <a:lnTo>
                      <a:pt x="68" y="72"/>
                    </a:lnTo>
                    <a:lnTo>
                      <a:pt x="68" y="72"/>
                    </a:lnTo>
                    <a:lnTo>
                      <a:pt x="68" y="72"/>
                    </a:lnTo>
                    <a:lnTo>
                      <a:pt x="68" y="77"/>
                    </a:lnTo>
                    <a:lnTo>
                      <a:pt x="63" y="77"/>
                    </a:lnTo>
                    <a:lnTo>
                      <a:pt x="59" y="72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3"/>
                    </a:lnTo>
                    <a:lnTo>
                      <a:pt x="54" y="59"/>
                    </a:lnTo>
                    <a:lnTo>
                      <a:pt x="54" y="59"/>
                    </a:lnTo>
                    <a:lnTo>
                      <a:pt x="54" y="54"/>
                    </a:lnTo>
                    <a:lnTo>
                      <a:pt x="54" y="59"/>
                    </a:lnTo>
                    <a:lnTo>
                      <a:pt x="54" y="59"/>
                    </a:lnTo>
                    <a:lnTo>
                      <a:pt x="54" y="59"/>
                    </a:lnTo>
                    <a:lnTo>
                      <a:pt x="54" y="59"/>
                    </a:lnTo>
                    <a:lnTo>
                      <a:pt x="50" y="59"/>
                    </a:lnTo>
                    <a:lnTo>
                      <a:pt x="50" y="59"/>
                    </a:lnTo>
                    <a:lnTo>
                      <a:pt x="50" y="59"/>
                    </a:lnTo>
                    <a:lnTo>
                      <a:pt x="54" y="63"/>
                    </a:lnTo>
                    <a:lnTo>
                      <a:pt x="54" y="63"/>
                    </a:lnTo>
                    <a:lnTo>
                      <a:pt x="54" y="63"/>
                    </a:lnTo>
                    <a:lnTo>
                      <a:pt x="54" y="63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4" y="77"/>
                    </a:lnTo>
                    <a:lnTo>
                      <a:pt x="54" y="77"/>
                    </a:lnTo>
                    <a:lnTo>
                      <a:pt x="54" y="77"/>
                    </a:lnTo>
                    <a:lnTo>
                      <a:pt x="59" y="77"/>
                    </a:lnTo>
                    <a:lnTo>
                      <a:pt x="59" y="81"/>
                    </a:lnTo>
                    <a:lnTo>
                      <a:pt x="59" y="81"/>
                    </a:lnTo>
                    <a:lnTo>
                      <a:pt x="59" y="81"/>
                    </a:lnTo>
                    <a:lnTo>
                      <a:pt x="59" y="86"/>
                    </a:lnTo>
                    <a:lnTo>
                      <a:pt x="54" y="86"/>
                    </a:lnTo>
                    <a:lnTo>
                      <a:pt x="54" y="90"/>
                    </a:lnTo>
                    <a:lnTo>
                      <a:pt x="54" y="90"/>
                    </a:lnTo>
                    <a:lnTo>
                      <a:pt x="54" y="90"/>
                    </a:lnTo>
                    <a:lnTo>
                      <a:pt x="54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86"/>
                    </a:lnTo>
                    <a:lnTo>
                      <a:pt x="54" y="86"/>
                    </a:lnTo>
                    <a:lnTo>
                      <a:pt x="50" y="86"/>
                    </a:lnTo>
                    <a:lnTo>
                      <a:pt x="50" y="86"/>
                    </a:lnTo>
                    <a:lnTo>
                      <a:pt x="50" y="86"/>
                    </a:lnTo>
                    <a:lnTo>
                      <a:pt x="50" y="86"/>
                    </a:lnTo>
                    <a:lnTo>
                      <a:pt x="45" y="86"/>
                    </a:lnTo>
                    <a:lnTo>
                      <a:pt x="45" y="81"/>
                    </a:lnTo>
                    <a:lnTo>
                      <a:pt x="45" y="77"/>
                    </a:lnTo>
                    <a:lnTo>
                      <a:pt x="45" y="81"/>
                    </a:lnTo>
                    <a:lnTo>
                      <a:pt x="45" y="81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41" y="90"/>
                    </a:lnTo>
                    <a:lnTo>
                      <a:pt x="41" y="86"/>
                    </a:lnTo>
                    <a:lnTo>
                      <a:pt x="41" y="81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41" y="90"/>
                    </a:lnTo>
                    <a:lnTo>
                      <a:pt x="41" y="90"/>
                    </a:lnTo>
                    <a:lnTo>
                      <a:pt x="41" y="95"/>
                    </a:lnTo>
                    <a:lnTo>
                      <a:pt x="41" y="95"/>
                    </a:lnTo>
                    <a:lnTo>
                      <a:pt x="36" y="95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86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32" y="81"/>
                    </a:lnTo>
                    <a:lnTo>
                      <a:pt x="32" y="77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7" y="72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7" y="63"/>
                    </a:lnTo>
                    <a:lnTo>
                      <a:pt x="27" y="63"/>
                    </a:lnTo>
                    <a:lnTo>
                      <a:pt x="23" y="63"/>
                    </a:lnTo>
                    <a:lnTo>
                      <a:pt x="23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5" y="41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5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98" name="Freeform 19"/>
              <p:cNvSpPr>
                <a:spLocks/>
              </p:cNvSpPr>
              <p:nvPr/>
            </p:nvSpPr>
            <p:spPr bwMode="auto">
              <a:xfrm>
                <a:off x="4843463" y="1631951"/>
                <a:ext cx="150813" cy="85725"/>
              </a:xfrm>
              <a:custGeom>
                <a:avLst/>
                <a:gdLst>
                  <a:gd name="T0" fmla="*/ 9 w 95"/>
                  <a:gd name="T1" fmla="*/ 5 h 54"/>
                  <a:gd name="T2" fmla="*/ 28 w 95"/>
                  <a:gd name="T3" fmla="*/ 5 h 54"/>
                  <a:gd name="T4" fmla="*/ 41 w 95"/>
                  <a:gd name="T5" fmla="*/ 9 h 54"/>
                  <a:gd name="T6" fmla="*/ 55 w 95"/>
                  <a:gd name="T7" fmla="*/ 9 h 54"/>
                  <a:gd name="T8" fmla="*/ 59 w 95"/>
                  <a:gd name="T9" fmla="*/ 0 h 54"/>
                  <a:gd name="T10" fmla="*/ 73 w 95"/>
                  <a:gd name="T11" fmla="*/ 0 h 54"/>
                  <a:gd name="T12" fmla="*/ 82 w 95"/>
                  <a:gd name="T13" fmla="*/ 0 h 54"/>
                  <a:gd name="T14" fmla="*/ 82 w 95"/>
                  <a:gd name="T15" fmla="*/ 5 h 54"/>
                  <a:gd name="T16" fmla="*/ 91 w 95"/>
                  <a:gd name="T17" fmla="*/ 5 h 54"/>
                  <a:gd name="T18" fmla="*/ 95 w 95"/>
                  <a:gd name="T19" fmla="*/ 5 h 54"/>
                  <a:gd name="T20" fmla="*/ 95 w 95"/>
                  <a:gd name="T21" fmla="*/ 14 h 54"/>
                  <a:gd name="T22" fmla="*/ 91 w 95"/>
                  <a:gd name="T23" fmla="*/ 14 h 54"/>
                  <a:gd name="T24" fmla="*/ 86 w 95"/>
                  <a:gd name="T25" fmla="*/ 18 h 54"/>
                  <a:gd name="T26" fmla="*/ 86 w 95"/>
                  <a:gd name="T27" fmla="*/ 27 h 54"/>
                  <a:gd name="T28" fmla="*/ 86 w 95"/>
                  <a:gd name="T29" fmla="*/ 32 h 54"/>
                  <a:gd name="T30" fmla="*/ 91 w 95"/>
                  <a:gd name="T31" fmla="*/ 41 h 54"/>
                  <a:gd name="T32" fmla="*/ 86 w 95"/>
                  <a:gd name="T33" fmla="*/ 41 h 54"/>
                  <a:gd name="T34" fmla="*/ 86 w 95"/>
                  <a:gd name="T35" fmla="*/ 41 h 54"/>
                  <a:gd name="T36" fmla="*/ 82 w 95"/>
                  <a:gd name="T37" fmla="*/ 41 h 54"/>
                  <a:gd name="T38" fmla="*/ 77 w 95"/>
                  <a:gd name="T39" fmla="*/ 36 h 54"/>
                  <a:gd name="T40" fmla="*/ 73 w 95"/>
                  <a:gd name="T41" fmla="*/ 41 h 54"/>
                  <a:gd name="T42" fmla="*/ 68 w 95"/>
                  <a:gd name="T43" fmla="*/ 41 h 54"/>
                  <a:gd name="T44" fmla="*/ 68 w 95"/>
                  <a:gd name="T45" fmla="*/ 41 h 54"/>
                  <a:gd name="T46" fmla="*/ 64 w 95"/>
                  <a:gd name="T47" fmla="*/ 45 h 54"/>
                  <a:gd name="T48" fmla="*/ 64 w 95"/>
                  <a:gd name="T49" fmla="*/ 45 h 54"/>
                  <a:gd name="T50" fmla="*/ 64 w 95"/>
                  <a:gd name="T51" fmla="*/ 45 h 54"/>
                  <a:gd name="T52" fmla="*/ 64 w 95"/>
                  <a:gd name="T53" fmla="*/ 50 h 54"/>
                  <a:gd name="T54" fmla="*/ 64 w 95"/>
                  <a:gd name="T55" fmla="*/ 50 h 54"/>
                  <a:gd name="T56" fmla="*/ 59 w 95"/>
                  <a:gd name="T57" fmla="*/ 54 h 54"/>
                  <a:gd name="T58" fmla="*/ 50 w 95"/>
                  <a:gd name="T59" fmla="*/ 54 h 54"/>
                  <a:gd name="T60" fmla="*/ 46 w 95"/>
                  <a:gd name="T61" fmla="*/ 50 h 54"/>
                  <a:gd name="T62" fmla="*/ 41 w 95"/>
                  <a:gd name="T63" fmla="*/ 54 h 54"/>
                  <a:gd name="T64" fmla="*/ 41 w 95"/>
                  <a:gd name="T65" fmla="*/ 50 h 54"/>
                  <a:gd name="T66" fmla="*/ 37 w 95"/>
                  <a:gd name="T67" fmla="*/ 50 h 54"/>
                  <a:gd name="T68" fmla="*/ 32 w 95"/>
                  <a:gd name="T69" fmla="*/ 50 h 54"/>
                  <a:gd name="T70" fmla="*/ 32 w 95"/>
                  <a:gd name="T71" fmla="*/ 50 h 54"/>
                  <a:gd name="T72" fmla="*/ 23 w 95"/>
                  <a:gd name="T73" fmla="*/ 50 h 54"/>
                  <a:gd name="T74" fmla="*/ 18 w 95"/>
                  <a:gd name="T75" fmla="*/ 50 h 54"/>
                  <a:gd name="T76" fmla="*/ 14 w 95"/>
                  <a:gd name="T77" fmla="*/ 54 h 54"/>
                  <a:gd name="T78" fmla="*/ 14 w 95"/>
                  <a:gd name="T79" fmla="*/ 50 h 54"/>
                  <a:gd name="T80" fmla="*/ 14 w 95"/>
                  <a:gd name="T81" fmla="*/ 45 h 54"/>
                  <a:gd name="T82" fmla="*/ 9 w 95"/>
                  <a:gd name="T83" fmla="*/ 41 h 54"/>
                  <a:gd name="T84" fmla="*/ 9 w 95"/>
                  <a:gd name="T85" fmla="*/ 36 h 54"/>
                  <a:gd name="T86" fmla="*/ 5 w 95"/>
                  <a:gd name="T87" fmla="*/ 36 h 54"/>
                  <a:gd name="T88" fmla="*/ 5 w 95"/>
                  <a:gd name="T89" fmla="*/ 32 h 54"/>
                  <a:gd name="T90" fmla="*/ 5 w 95"/>
                  <a:gd name="T91" fmla="*/ 27 h 54"/>
                  <a:gd name="T92" fmla="*/ 5 w 95"/>
                  <a:gd name="T93" fmla="*/ 27 h 54"/>
                  <a:gd name="T94" fmla="*/ 5 w 95"/>
                  <a:gd name="T95" fmla="*/ 23 h 54"/>
                  <a:gd name="T96" fmla="*/ 9 w 95"/>
                  <a:gd name="T97" fmla="*/ 23 h 54"/>
                  <a:gd name="T98" fmla="*/ 14 w 95"/>
                  <a:gd name="T99" fmla="*/ 18 h 54"/>
                  <a:gd name="T100" fmla="*/ 9 w 95"/>
                  <a:gd name="T101" fmla="*/ 14 h 54"/>
                  <a:gd name="T102" fmla="*/ 5 w 95"/>
                  <a:gd name="T103" fmla="*/ 14 h 54"/>
                  <a:gd name="T104" fmla="*/ 5 w 95"/>
                  <a:gd name="T105" fmla="*/ 9 h 54"/>
                  <a:gd name="T106" fmla="*/ 0 w 95"/>
                  <a:gd name="T107" fmla="*/ 5 h 54"/>
                  <a:gd name="T108" fmla="*/ 0 w 95"/>
                  <a:gd name="T109" fmla="*/ 5 h 54"/>
                  <a:gd name="T110" fmla="*/ 5 w 95"/>
                  <a:gd name="T111" fmla="*/ 0 h 54"/>
                  <a:gd name="T112" fmla="*/ 5 w 95"/>
                  <a:gd name="T113" fmla="*/ 0 h 54"/>
                  <a:gd name="T114" fmla="*/ 9 w 95"/>
                  <a:gd name="T115" fmla="*/ 0 h 54"/>
                  <a:gd name="T116" fmla="*/ 9 w 95"/>
                  <a:gd name="T117" fmla="*/ 5 h 54"/>
                  <a:gd name="T118" fmla="*/ 9 w 95"/>
                  <a:gd name="T119" fmla="*/ 5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5" h="54">
                    <a:moveTo>
                      <a:pt x="9" y="5"/>
                    </a:moveTo>
                    <a:lnTo>
                      <a:pt x="9" y="5"/>
                    </a:lnTo>
                    <a:lnTo>
                      <a:pt x="9" y="5"/>
                    </a:lnTo>
                    <a:lnTo>
                      <a:pt x="14" y="5"/>
                    </a:lnTo>
                    <a:lnTo>
                      <a:pt x="18" y="5"/>
                    </a:lnTo>
                    <a:lnTo>
                      <a:pt x="28" y="5"/>
                    </a:lnTo>
                    <a:lnTo>
                      <a:pt x="32" y="9"/>
                    </a:lnTo>
                    <a:lnTo>
                      <a:pt x="32" y="5"/>
                    </a:lnTo>
                    <a:lnTo>
                      <a:pt x="41" y="9"/>
                    </a:lnTo>
                    <a:lnTo>
                      <a:pt x="46" y="9"/>
                    </a:lnTo>
                    <a:lnTo>
                      <a:pt x="50" y="9"/>
                    </a:lnTo>
                    <a:lnTo>
                      <a:pt x="55" y="9"/>
                    </a:lnTo>
                    <a:lnTo>
                      <a:pt x="55" y="5"/>
                    </a:lnTo>
                    <a:lnTo>
                      <a:pt x="55" y="5"/>
                    </a:lnTo>
                    <a:lnTo>
                      <a:pt x="59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77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6" y="0"/>
                    </a:lnTo>
                    <a:lnTo>
                      <a:pt x="86" y="5"/>
                    </a:lnTo>
                    <a:lnTo>
                      <a:pt x="91" y="5"/>
                    </a:lnTo>
                    <a:lnTo>
                      <a:pt x="91" y="5"/>
                    </a:lnTo>
                    <a:lnTo>
                      <a:pt x="95" y="5"/>
                    </a:lnTo>
                    <a:lnTo>
                      <a:pt x="95" y="5"/>
                    </a:lnTo>
                    <a:lnTo>
                      <a:pt x="95" y="5"/>
                    </a:lnTo>
                    <a:lnTo>
                      <a:pt x="95" y="9"/>
                    </a:lnTo>
                    <a:lnTo>
                      <a:pt x="95" y="14"/>
                    </a:lnTo>
                    <a:lnTo>
                      <a:pt x="95" y="14"/>
                    </a:lnTo>
                    <a:lnTo>
                      <a:pt x="91" y="14"/>
                    </a:lnTo>
                    <a:lnTo>
                      <a:pt x="91" y="14"/>
                    </a:lnTo>
                    <a:lnTo>
                      <a:pt x="91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2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6"/>
                    </a:lnTo>
                    <a:lnTo>
                      <a:pt x="91" y="41"/>
                    </a:lnTo>
                    <a:lnTo>
                      <a:pt x="91" y="41"/>
                    </a:lnTo>
                    <a:lnTo>
                      <a:pt x="91" y="41"/>
                    </a:lnTo>
                    <a:lnTo>
                      <a:pt x="91" y="41"/>
                    </a:lnTo>
                    <a:lnTo>
                      <a:pt x="86" y="41"/>
                    </a:lnTo>
                    <a:lnTo>
                      <a:pt x="86" y="41"/>
                    </a:lnTo>
                    <a:lnTo>
                      <a:pt x="86" y="41"/>
                    </a:lnTo>
                    <a:lnTo>
                      <a:pt x="86" y="41"/>
                    </a:lnTo>
                    <a:lnTo>
                      <a:pt x="86" y="41"/>
                    </a:lnTo>
                    <a:lnTo>
                      <a:pt x="82" y="41"/>
                    </a:lnTo>
                    <a:lnTo>
                      <a:pt x="82" y="41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77" y="36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5" y="54"/>
                    </a:lnTo>
                    <a:lnTo>
                      <a:pt x="55" y="54"/>
                    </a:lnTo>
                    <a:lnTo>
                      <a:pt x="50" y="54"/>
                    </a:lnTo>
                    <a:lnTo>
                      <a:pt x="50" y="54"/>
                    </a:lnTo>
                    <a:lnTo>
                      <a:pt x="50" y="54"/>
                    </a:lnTo>
                    <a:lnTo>
                      <a:pt x="46" y="50"/>
                    </a:lnTo>
                    <a:lnTo>
                      <a:pt x="46" y="50"/>
                    </a:lnTo>
                    <a:lnTo>
                      <a:pt x="41" y="50"/>
                    </a:lnTo>
                    <a:lnTo>
                      <a:pt x="41" y="54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0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9" y="18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99" name="Freeform 20"/>
              <p:cNvSpPr>
                <a:spLocks/>
              </p:cNvSpPr>
              <p:nvPr/>
            </p:nvSpPr>
            <p:spPr bwMode="auto">
              <a:xfrm>
                <a:off x="2190751" y="2163764"/>
                <a:ext cx="20638" cy="28575"/>
              </a:xfrm>
              <a:custGeom>
                <a:avLst/>
                <a:gdLst>
                  <a:gd name="T0" fmla="*/ 13 w 13"/>
                  <a:gd name="T1" fmla="*/ 9 h 18"/>
                  <a:gd name="T2" fmla="*/ 13 w 13"/>
                  <a:gd name="T3" fmla="*/ 9 h 18"/>
                  <a:gd name="T4" fmla="*/ 13 w 13"/>
                  <a:gd name="T5" fmla="*/ 9 h 18"/>
                  <a:gd name="T6" fmla="*/ 13 w 13"/>
                  <a:gd name="T7" fmla="*/ 13 h 18"/>
                  <a:gd name="T8" fmla="*/ 13 w 13"/>
                  <a:gd name="T9" fmla="*/ 13 h 18"/>
                  <a:gd name="T10" fmla="*/ 9 w 13"/>
                  <a:gd name="T11" fmla="*/ 13 h 18"/>
                  <a:gd name="T12" fmla="*/ 9 w 13"/>
                  <a:gd name="T13" fmla="*/ 13 h 18"/>
                  <a:gd name="T14" fmla="*/ 9 w 13"/>
                  <a:gd name="T15" fmla="*/ 13 h 18"/>
                  <a:gd name="T16" fmla="*/ 4 w 13"/>
                  <a:gd name="T17" fmla="*/ 18 h 18"/>
                  <a:gd name="T18" fmla="*/ 4 w 13"/>
                  <a:gd name="T19" fmla="*/ 13 h 18"/>
                  <a:gd name="T20" fmla="*/ 4 w 13"/>
                  <a:gd name="T21" fmla="*/ 13 h 18"/>
                  <a:gd name="T22" fmla="*/ 4 w 13"/>
                  <a:gd name="T23" fmla="*/ 13 h 18"/>
                  <a:gd name="T24" fmla="*/ 4 w 13"/>
                  <a:gd name="T25" fmla="*/ 13 h 18"/>
                  <a:gd name="T26" fmla="*/ 4 w 13"/>
                  <a:gd name="T27" fmla="*/ 13 h 18"/>
                  <a:gd name="T28" fmla="*/ 4 w 13"/>
                  <a:gd name="T29" fmla="*/ 9 h 18"/>
                  <a:gd name="T30" fmla="*/ 0 w 13"/>
                  <a:gd name="T31" fmla="*/ 9 h 18"/>
                  <a:gd name="T32" fmla="*/ 4 w 13"/>
                  <a:gd name="T33" fmla="*/ 9 h 18"/>
                  <a:gd name="T34" fmla="*/ 4 w 13"/>
                  <a:gd name="T35" fmla="*/ 9 h 18"/>
                  <a:gd name="T36" fmla="*/ 4 w 13"/>
                  <a:gd name="T37" fmla="*/ 9 h 18"/>
                  <a:gd name="T38" fmla="*/ 4 w 13"/>
                  <a:gd name="T39" fmla="*/ 9 h 18"/>
                  <a:gd name="T40" fmla="*/ 4 w 13"/>
                  <a:gd name="T41" fmla="*/ 9 h 18"/>
                  <a:gd name="T42" fmla="*/ 4 w 13"/>
                  <a:gd name="T43" fmla="*/ 9 h 18"/>
                  <a:gd name="T44" fmla="*/ 9 w 13"/>
                  <a:gd name="T45" fmla="*/ 4 h 18"/>
                  <a:gd name="T46" fmla="*/ 9 w 13"/>
                  <a:gd name="T47" fmla="*/ 0 h 18"/>
                  <a:gd name="T48" fmla="*/ 9 w 13"/>
                  <a:gd name="T49" fmla="*/ 0 h 18"/>
                  <a:gd name="T50" fmla="*/ 9 w 13"/>
                  <a:gd name="T51" fmla="*/ 0 h 18"/>
                  <a:gd name="T52" fmla="*/ 9 w 13"/>
                  <a:gd name="T53" fmla="*/ 0 h 18"/>
                  <a:gd name="T54" fmla="*/ 13 w 13"/>
                  <a:gd name="T55" fmla="*/ 0 h 18"/>
                  <a:gd name="T56" fmla="*/ 13 w 13"/>
                  <a:gd name="T57" fmla="*/ 0 h 18"/>
                  <a:gd name="T58" fmla="*/ 13 w 13"/>
                  <a:gd name="T59" fmla="*/ 4 h 18"/>
                  <a:gd name="T60" fmla="*/ 13 w 13"/>
                  <a:gd name="T61" fmla="*/ 4 h 18"/>
                  <a:gd name="T62" fmla="*/ 13 w 13"/>
                  <a:gd name="T6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" h="18">
                    <a:moveTo>
                      <a:pt x="13" y="9"/>
                    </a:moveTo>
                    <a:lnTo>
                      <a:pt x="13" y="9"/>
                    </a:lnTo>
                    <a:lnTo>
                      <a:pt x="13" y="9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4" y="18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9" y="4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3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00" name="Freeform 21"/>
              <p:cNvSpPr>
                <a:spLocks/>
              </p:cNvSpPr>
              <p:nvPr/>
            </p:nvSpPr>
            <p:spPr bwMode="auto">
              <a:xfrm>
                <a:off x="4686301" y="1595439"/>
                <a:ext cx="93663" cy="87313"/>
              </a:xfrm>
              <a:custGeom>
                <a:avLst/>
                <a:gdLst>
                  <a:gd name="T0" fmla="*/ 18 w 59"/>
                  <a:gd name="T1" fmla="*/ 5 h 55"/>
                  <a:gd name="T2" fmla="*/ 23 w 59"/>
                  <a:gd name="T3" fmla="*/ 5 h 55"/>
                  <a:gd name="T4" fmla="*/ 27 w 59"/>
                  <a:gd name="T5" fmla="*/ 5 h 55"/>
                  <a:gd name="T6" fmla="*/ 32 w 59"/>
                  <a:gd name="T7" fmla="*/ 5 h 55"/>
                  <a:gd name="T8" fmla="*/ 32 w 59"/>
                  <a:gd name="T9" fmla="*/ 5 h 55"/>
                  <a:gd name="T10" fmla="*/ 36 w 59"/>
                  <a:gd name="T11" fmla="*/ 5 h 55"/>
                  <a:gd name="T12" fmla="*/ 41 w 59"/>
                  <a:gd name="T13" fmla="*/ 5 h 55"/>
                  <a:gd name="T14" fmla="*/ 45 w 59"/>
                  <a:gd name="T15" fmla="*/ 10 h 55"/>
                  <a:gd name="T16" fmla="*/ 45 w 59"/>
                  <a:gd name="T17" fmla="*/ 10 h 55"/>
                  <a:gd name="T18" fmla="*/ 50 w 59"/>
                  <a:gd name="T19" fmla="*/ 10 h 55"/>
                  <a:gd name="T20" fmla="*/ 54 w 59"/>
                  <a:gd name="T21" fmla="*/ 10 h 55"/>
                  <a:gd name="T22" fmla="*/ 54 w 59"/>
                  <a:gd name="T23" fmla="*/ 10 h 55"/>
                  <a:gd name="T24" fmla="*/ 50 w 59"/>
                  <a:gd name="T25" fmla="*/ 14 h 55"/>
                  <a:gd name="T26" fmla="*/ 50 w 59"/>
                  <a:gd name="T27" fmla="*/ 19 h 55"/>
                  <a:gd name="T28" fmla="*/ 54 w 59"/>
                  <a:gd name="T29" fmla="*/ 19 h 55"/>
                  <a:gd name="T30" fmla="*/ 59 w 59"/>
                  <a:gd name="T31" fmla="*/ 23 h 55"/>
                  <a:gd name="T32" fmla="*/ 59 w 59"/>
                  <a:gd name="T33" fmla="*/ 28 h 55"/>
                  <a:gd name="T34" fmla="*/ 54 w 59"/>
                  <a:gd name="T35" fmla="*/ 28 h 55"/>
                  <a:gd name="T36" fmla="*/ 54 w 59"/>
                  <a:gd name="T37" fmla="*/ 28 h 55"/>
                  <a:gd name="T38" fmla="*/ 59 w 59"/>
                  <a:gd name="T39" fmla="*/ 32 h 55"/>
                  <a:gd name="T40" fmla="*/ 54 w 59"/>
                  <a:gd name="T41" fmla="*/ 32 h 55"/>
                  <a:gd name="T42" fmla="*/ 54 w 59"/>
                  <a:gd name="T43" fmla="*/ 32 h 55"/>
                  <a:gd name="T44" fmla="*/ 50 w 59"/>
                  <a:gd name="T45" fmla="*/ 37 h 55"/>
                  <a:gd name="T46" fmla="*/ 50 w 59"/>
                  <a:gd name="T47" fmla="*/ 37 h 55"/>
                  <a:gd name="T48" fmla="*/ 50 w 59"/>
                  <a:gd name="T49" fmla="*/ 37 h 55"/>
                  <a:gd name="T50" fmla="*/ 50 w 59"/>
                  <a:gd name="T51" fmla="*/ 41 h 55"/>
                  <a:gd name="T52" fmla="*/ 50 w 59"/>
                  <a:gd name="T53" fmla="*/ 37 h 55"/>
                  <a:gd name="T54" fmla="*/ 45 w 59"/>
                  <a:gd name="T55" fmla="*/ 41 h 55"/>
                  <a:gd name="T56" fmla="*/ 45 w 59"/>
                  <a:gd name="T57" fmla="*/ 46 h 55"/>
                  <a:gd name="T58" fmla="*/ 41 w 59"/>
                  <a:gd name="T59" fmla="*/ 46 h 55"/>
                  <a:gd name="T60" fmla="*/ 45 w 59"/>
                  <a:gd name="T61" fmla="*/ 50 h 55"/>
                  <a:gd name="T62" fmla="*/ 41 w 59"/>
                  <a:gd name="T63" fmla="*/ 55 h 55"/>
                  <a:gd name="T64" fmla="*/ 41 w 59"/>
                  <a:gd name="T65" fmla="*/ 55 h 55"/>
                  <a:gd name="T66" fmla="*/ 36 w 59"/>
                  <a:gd name="T67" fmla="*/ 50 h 55"/>
                  <a:gd name="T68" fmla="*/ 32 w 59"/>
                  <a:gd name="T69" fmla="*/ 46 h 55"/>
                  <a:gd name="T70" fmla="*/ 27 w 59"/>
                  <a:gd name="T71" fmla="*/ 46 h 55"/>
                  <a:gd name="T72" fmla="*/ 27 w 59"/>
                  <a:gd name="T73" fmla="*/ 46 h 55"/>
                  <a:gd name="T74" fmla="*/ 23 w 59"/>
                  <a:gd name="T75" fmla="*/ 41 h 55"/>
                  <a:gd name="T76" fmla="*/ 23 w 59"/>
                  <a:gd name="T77" fmla="*/ 37 h 55"/>
                  <a:gd name="T78" fmla="*/ 14 w 59"/>
                  <a:gd name="T79" fmla="*/ 32 h 55"/>
                  <a:gd name="T80" fmla="*/ 9 w 59"/>
                  <a:gd name="T81" fmla="*/ 28 h 55"/>
                  <a:gd name="T82" fmla="*/ 5 w 59"/>
                  <a:gd name="T83" fmla="*/ 23 h 55"/>
                  <a:gd name="T84" fmla="*/ 5 w 59"/>
                  <a:gd name="T85" fmla="*/ 19 h 55"/>
                  <a:gd name="T86" fmla="*/ 0 w 59"/>
                  <a:gd name="T87" fmla="*/ 14 h 55"/>
                  <a:gd name="T88" fmla="*/ 0 w 59"/>
                  <a:gd name="T89" fmla="*/ 5 h 55"/>
                  <a:gd name="T90" fmla="*/ 0 w 59"/>
                  <a:gd name="T91" fmla="*/ 5 h 55"/>
                  <a:gd name="T92" fmla="*/ 5 w 59"/>
                  <a:gd name="T93" fmla="*/ 5 h 55"/>
                  <a:gd name="T94" fmla="*/ 9 w 59"/>
                  <a:gd name="T95" fmla="*/ 5 h 55"/>
                  <a:gd name="T96" fmla="*/ 18 w 59"/>
                  <a:gd name="T97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9" h="55">
                    <a:moveTo>
                      <a:pt x="18" y="0"/>
                    </a:moveTo>
                    <a:lnTo>
                      <a:pt x="18" y="0"/>
                    </a:lnTo>
                    <a:lnTo>
                      <a:pt x="18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10"/>
                    </a:lnTo>
                    <a:lnTo>
                      <a:pt x="45" y="10"/>
                    </a:lnTo>
                    <a:lnTo>
                      <a:pt x="45" y="10"/>
                    </a:lnTo>
                    <a:lnTo>
                      <a:pt x="45" y="10"/>
                    </a:lnTo>
                    <a:lnTo>
                      <a:pt x="50" y="10"/>
                    </a:lnTo>
                    <a:lnTo>
                      <a:pt x="50" y="10"/>
                    </a:lnTo>
                    <a:lnTo>
                      <a:pt x="50" y="10"/>
                    </a:lnTo>
                    <a:lnTo>
                      <a:pt x="50" y="10"/>
                    </a:lnTo>
                    <a:lnTo>
                      <a:pt x="50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0" y="14"/>
                    </a:lnTo>
                    <a:lnTo>
                      <a:pt x="50" y="19"/>
                    </a:lnTo>
                    <a:lnTo>
                      <a:pt x="50" y="19"/>
                    </a:lnTo>
                    <a:lnTo>
                      <a:pt x="50" y="19"/>
                    </a:lnTo>
                    <a:lnTo>
                      <a:pt x="50" y="19"/>
                    </a:lnTo>
                    <a:lnTo>
                      <a:pt x="50" y="19"/>
                    </a:lnTo>
                    <a:lnTo>
                      <a:pt x="54" y="19"/>
                    </a:lnTo>
                    <a:lnTo>
                      <a:pt x="54" y="23"/>
                    </a:lnTo>
                    <a:lnTo>
                      <a:pt x="54" y="23"/>
                    </a:lnTo>
                    <a:lnTo>
                      <a:pt x="59" y="23"/>
                    </a:lnTo>
                    <a:lnTo>
                      <a:pt x="59" y="23"/>
                    </a:lnTo>
                    <a:lnTo>
                      <a:pt x="59" y="28"/>
                    </a:lnTo>
                    <a:lnTo>
                      <a:pt x="59" y="28"/>
                    </a:lnTo>
                    <a:lnTo>
                      <a:pt x="54" y="28"/>
                    </a:lnTo>
                    <a:lnTo>
                      <a:pt x="54" y="28"/>
                    </a:lnTo>
                    <a:lnTo>
                      <a:pt x="54" y="28"/>
                    </a:lnTo>
                    <a:lnTo>
                      <a:pt x="54" y="28"/>
                    </a:lnTo>
                    <a:lnTo>
                      <a:pt x="54" y="28"/>
                    </a:lnTo>
                    <a:lnTo>
                      <a:pt x="54" y="28"/>
                    </a:lnTo>
                    <a:lnTo>
                      <a:pt x="54" y="28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4" y="37"/>
                    </a:lnTo>
                    <a:lnTo>
                      <a:pt x="54" y="37"/>
                    </a:lnTo>
                    <a:lnTo>
                      <a:pt x="50" y="37"/>
                    </a:lnTo>
                    <a:lnTo>
                      <a:pt x="50" y="37"/>
                    </a:lnTo>
                    <a:lnTo>
                      <a:pt x="50" y="37"/>
                    </a:lnTo>
                    <a:lnTo>
                      <a:pt x="50" y="37"/>
                    </a:lnTo>
                    <a:lnTo>
                      <a:pt x="50" y="37"/>
                    </a:lnTo>
                    <a:lnTo>
                      <a:pt x="50" y="37"/>
                    </a:lnTo>
                    <a:lnTo>
                      <a:pt x="50" y="37"/>
                    </a:lnTo>
                    <a:lnTo>
                      <a:pt x="50" y="37"/>
                    </a:lnTo>
                    <a:lnTo>
                      <a:pt x="50" y="41"/>
                    </a:lnTo>
                    <a:lnTo>
                      <a:pt x="50" y="41"/>
                    </a:lnTo>
                    <a:lnTo>
                      <a:pt x="50" y="37"/>
                    </a:lnTo>
                    <a:lnTo>
                      <a:pt x="50" y="37"/>
                    </a:lnTo>
                    <a:lnTo>
                      <a:pt x="50" y="37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5" y="46"/>
                    </a:lnTo>
                    <a:lnTo>
                      <a:pt x="41" y="46"/>
                    </a:lnTo>
                    <a:lnTo>
                      <a:pt x="41" y="46"/>
                    </a:lnTo>
                    <a:lnTo>
                      <a:pt x="41" y="46"/>
                    </a:lnTo>
                    <a:lnTo>
                      <a:pt x="41" y="46"/>
                    </a:lnTo>
                    <a:lnTo>
                      <a:pt x="41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1" y="55"/>
                    </a:lnTo>
                    <a:lnTo>
                      <a:pt x="41" y="55"/>
                    </a:lnTo>
                    <a:lnTo>
                      <a:pt x="41" y="55"/>
                    </a:lnTo>
                    <a:lnTo>
                      <a:pt x="41" y="55"/>
                    </a:lnTo>
                    <a:lnTo>
                      <a:pt x="41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32" y="46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27" y="41"/>
                    </a:lnTo>
                    <a:lnTo>
                      <a:pt x="23" y="41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18" y="37"/>
                    </a:lnTo>
                    <a:lnTo>
                      <a:pt x="18" y="32"/>
                    </a:lnTo>
                    <a:lnTo>
                      <a:pt x="14" y="32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9" y="28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5" y="23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5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4" y="5"/>
                    </a:lnTo>
                    <a:lnTo>
                      <a:pt x="18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01" name="Freeform 22"/>
              <p:cNvSpPr>
                <a:spLocks/>
              </p:cNvSpPr>
              <p:nvPr/>
            </p:nvSpPr>
            <p:spPr bwMode="auto">
              <a:xfrm>
                <a:off x="4843463" y="1273176"/>
                <a:ext cx="215900" cy="142875"/>
              </a:xfrm>
              <a:custGeom>
                <a:avLst/>
                <a:gdLst>
                  <a:gd name="T0" fmla="*/ 68 w 136"/>
                  <a:gd name="T1" fmla="*/ 0 h 90"/>
                  <a:gd name="T2" fmla="*/ 77 w 136"/>
                  <a:gd name="T3" fmla="*/ 0 h 90"/>
                  <a:gd name="T4" fmla="*/ 82 w 136"/>
                  <a:gd name="T5" fmla="*/ 5 h 90"/>
                  <a:gd name="T6" fmla="*/ 86 w 136"/>
                  <a:gd name="T7" fmla="*/ 5 h 90"/>
                  <a:gd name="T8" fmla="*/ 95 w 136"/>
                  <a:gd name="T9" fmla="*/ 5 h 90"/>
                  <a:gd name="T10" fmla="*/ 100 w 136"/>
                  <a:gd name="T11" fmla="*/ 9 h 90"/>
                  <a:gd name="T12" fmla="*/ 104 w 136"/>
                  <a:gd name="T13" fmla="*/ 14 h 90"/>
                  <a:gd name="T14" fmla="*/ 104 w 136"/>
                  <a:gd name="T15" fmla="*/ 18 h 90"/>
                  <a:gd name="T16" fmla="*/ 104 w 136"/>
                  <a:gd name="T17" fmla="*/ 23 h 90"/>
                  <a:gd name="T18" fmla="*/ 109 w 136"/>
                  <a:gd name="T19" fmla="*/ 32 h 90"/>
                  <a:gd name="T20" fmla="*/ 118 w 136"/>
                  <a:gd name="T21" fmla="*/ 36 h 90"/>
                  <a:gd name="T22" fmla="*/ 122 w 136"/>
                  <a:gd name="T23" fmla="*/ 45 h 90"/>
                  <a:gd name="T24" fmla="*/ 131 w 136"/>
                  <a:gd name="T25" fmla="*/ 45 h 90"/>
                  <a:gd name="T26" fmla="*/ 136 w 136"/>
                  <a:gd name="T27" fmla="*/ 50 h 90"/>
                  <a:gd name="T28" fmla="*/ 127 w 136"/>
                  <a:gd name="T29" fmla="*/ 54 h 90"/>
                  <a:gd name="T30" fmla="*/ 118 w 136"/>
                  <a:gd name="T31" fmla="*/ 54 h 90"/>
                  <a:gd name="T32" fmla="*/ 118 w 136"/>
                  <a:gd name="T33" fmla="*/ 59 h 90"/>
                  <a:gd name="T34" fmla="*/ 118 w 136"/>
                  <a:gd name="T35" fmla="*/ 63 h 90"/>
                  <a:gd name="T36" fmla="*/ 122 w 136"/>
                  <a:gd name="T37" fmla="*/ 72 h 90"/>
                  <a:gd name="T38" fmla="*/ 118 w 136"/>
                  <a:gd name="T39" fmla="*/ 77 h 90"/>
                  <a:gd name="T40" fmla="*/ 109 w 136"/>
                  <a:gd name="T41" fmla="*/ 81 h 90"/>
                  <a:gd name="T42" fmla="*/ 109 w 136"/>
                  <a:gd name="T43" fmla="*/ 90 h 90"/>
                  <a:gd name="T44" fmla="*/ 104 w 136"/>
                  <a:gd name="T45" fmla="*/ 90 h 90"/>
                  <a:gd name="T46" fmla="*/ 95 w 136"/>
                  <a:gd name="T47" fmla="*/ 86 h 90"/>
                  <a:gd name="T48" fmla="*/ 86 w 136"/>
                  <a:gd name="T49" fmla="*/ 86 h 90"/>
                  <a:gd name="T50" fmla="*/ 86 w 136"/>
                  <a:gd name="T51" fmla="*/ 86 h 90"/>
                  <a:gd name="T52" fmla="*/ 82 w 136"/>
                  <a:gd name="T53" fmla="*/ 86 h 90"/>
                  <a:gd name="T54" fmla="*/ 73 w 136"/>
                  <a:gd name="T55" fmla="*/ 86 h 90"/>
                  <a:gd name="T56" fmla="*/ 68 w 136"/>
                  <a:gd name="T57" fmla="*/ 86 h 90"/>
                  <a:gd name="T58" fmla="*/ 64 w 136"/>
                  <a:gd name="T59" fmla="*/ 86 h 90"/>
                  <a:gd name="T60" fmla="*/ 50 w 136"/>
                  <a:gd name="T61" fmla="*/ 81 h 90"/>
                  <a:gd name="T62" fmla="*/ 32 w 136"/>
                  <a:gd name="T63" fmla="*/ 81 h 90"/>
                  <a:gd name="T64" fmla="*/ 23 w 136"/>
                  <a:gd name="T65" fmla="*/ 81 h 90"/>
                  <a:gd name="T66" fmla="*/ 14 w 136"/>
                  <a:gd name="T67" fmla="*/ 86 h 90"/>
                  <a:gd name="T68" fmla="*/ 9 w 136"/>
                  <a:gd name="T69" fmla="*/ 86 h 90"/>
                  <a:gd name="T70" fmla="*/ 9 w 136"/>
                  <a:gd name="T71" fmla="*/ 81 h 90"/>
                  <a:gd name="T72" fmla="*/ 5 w 136"/>
                  <a:gd name="T73" fmla="*/ 77 h 90"/>
                  <a:gd name="T74" fmla="*/ 5 w 136"/>
                  <a:gd name="T75" fmla="*/ 72 h 90"/>
                  <a:gd name="T76" fmla="*/ 9 w 136"/>
                  <a:gd name="T77" fmla="*/ 63 h 90"/>
                  <a:gd name="T78" fmla="*/ 5 w 136"/>
                  <a:gd name="T79" fmla="*/ 41 h 90"/>
                  <a:gd name="T80" fmla="*/ 9 w 136"/>
                  <a:gd name="T81" fmla="*/ 41 h 90"/>
                  <a:gd name="T82" fmla="*/ 23 w 136"/>
                  <a:gd name="T83" fmla="*/ 41 h 90"/>
                  <a:gd name="T84" fmla="*/ 28 w 136"/>
                  <a:gd name="T85" fmla="*/ 36 h 90"/>
                  <a:gd name="T86" fmla="*/ 32 w 136"/>
                  <a:gd name="T87" fmla="*/ 36 h 90"/>
                  <a:gd name="T88" fmla="*/ 37 w 136"/>
                  <a:gd name="T89" fmla="*/ 36 h 90"/>
                  <a:gd name="T90" fmla="*/ 32 w 136"/>
                  <a:gd name="T91" fmla="*/ 32 h 90"/>
                  <a:gd name="T92" fmla="*/ 32 w 136"/>
                  <a:gd name="T93" fmla="*/ 27 h 90"/>
                  <a:gd name="T94" fmla="*/ 41 w 136"/>
                  <a:gd name="T95" fmla="*/ 23 h 90"/>
                  <a:gd name="T96" fmla="*/ 46 w 136"/>
                  <a:gd name="T97" fmla="*/ 18 h 90"/>
                  <a:gd name="T98" fmla="*/ 41 w 136"/>
                  <a:gd name="T99" fmla="*/ 14 h 90"/>
                  <a:gd name="T100" fmla="*/ 41 w 136"/>
                  <a:gd name="T101" fmla="*/ 9 h 90"/>
                  <a:gd name="T102" fmla="*/ 55 w 136"/>
                  <a:gd name="T103" fmla="*/ 5 h 90"/>
                  <a:gd name="T104" fmla="*/ 59 w 136"/>
                  <a:gd name="T105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6" h="90">
                    <a:moveTo>
                      <a:pt x="64" y="0"/>
                    </a:move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3" y="0"/>
                    </a:lnTo>
                    <a:lnTo>
                      <a:pt x="73" y="5"/>
                    </a:lnTo>
                    <a:lnTo>
                      <a:pt x="73" y="5"/>
                    </a:lnTo>
                    <a:lnTo>
                      <a:pt x="73" y="0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77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9"/>
                    </a:lnTo>
                    <a:lnTo>
                      <a:pt x="82" y="9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91" y="5"/>
                    </a:lnTo>
                    <a:lnTo>
                      <a:pt x="91" y="5"/>
                    </a:lnTo>
                    <a:lnTo>
                      <a:pt x="91" y="5"/>
                    </a:lnTo>
                    <a:lnTo>
                      <a:pt x="95" y="5"/>
                    </a:lnTo>
                    <a:lnTo>
                      <a:pt x="95" y="5"/>
                    </a:lnTo>
                    <a:lnTo>
                      <a:pt x="100" y="9"/>
                    </a:lnTo>
                    <a:lnTo>
                      <a:pt x="100" y="9"/>
                    </a:lnTo>
                    <a:lnTo>
                      <a:pt x="100" y="9"/>
                    </a:lnTo>
                    <a:lnTo>
                      <a:pt x="100" y="9"/>
                    </a:lnTo>
                    <a:lnTo>
                      <a:pt x="100" y="9"/>
                    </a:lnTo>
                    <a:lnTo>
                      <a:pt x="104" y="9"/>
                    </a:lnTo>
                    <a:lnTo>
                      <a:pt x="104" y="9"/>
                    </a:lnTo>
                    <a:lnTo>
                      <a:pt x="104" y="9"/>
                    </a:lnTo>
                    <a:lnTo>
                      <a:pt x="104" y="9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4" y="27"/>
                    </a:lnTo>
                    <a:lnTo>
                      <a:pt x="109" y="27"/>
                    </a:lnTo>
                    <a:lnTo>
                      <a:pt x="109" y="27"/>
                    </a:lnTo>
                    <a:lnTo>
                      <a:pt x="109" y="27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13" y="32"/>
                    </a:lnTo>
                    <a:lnTo>
                      <a:pt x="113" y="36"/>
                    </a:lnTo>
                    <a:lnTo>
                      <a:pt x="118" y="36"/>
                    </a:lnTo>
                    <a:lnTo>
                      <a:pt x="118" y="36"/>
                    </a:lnTo>
                    <a:lnTo>
                      <a:pt x="122" y="41"/>
                    </a:lnTo>
                    <a:lnTo>
                      <a:pt x="122" y="41"/>
                    </a:lnTo>
                    <a:lnTo>
                      <a:pt x="122" y="41"/>
                    </a:lnTo>
                    <a:lnTo>
                      <a:pt x="122" y="41"/>
                    </a:lnTo>
                    <a:lnTo>
                      <a:pt x="118" y="41"/>
                    </a:lnTo>
                    <a:lnTo>
                      <a:pt x="122" y="45"/>
                    </a:lnTo>
                    <a:lnTo>
                      <a:pt x="122" y="45"/>
                    </a:lnTo>
                    <a:lnTo>
                      <a:pt x="127" y="45"/>
                    </a:lnTo>
                    <a:lnTo>
                      <a:pt x="131" y="45"/>
                    </a:lnTo>
                    <a:lnTo>
                      <a:pt x="131" y="45"/>
                    </a:lnTo>
                    <a:lnTo>
                      <a:pt x="131" y="45"/>
                    </a:lnTo>
                    <a:lnTo>
                      <a:pt x="131" y="45"/>
                    </a:lnTo>
                    <a:lnTo>
                      <a:pt x="131" y="50"/>
                    </a:lnTo>
                    <a:lnTo>
                      <a:pt x="136" y="50"/>
                    </a:lnTo>
                    <a:lnTo>
                      <a:pt x="136" y="50"/>
                    </a:lnTo>
                    <a:lnTo>
                      <a:pt x="136" y="50"/>
                    </a:lnTo>
                    <a:lnTo>
                      <a:pt x="136" y="50"/>
                    </a:lnTo>
                    <a:lnTo>
                      <a:pt x="136" y="50"/>
                    </a:lnTo>
                    <a:lnTo>
                      <a:pt x="131" y="54"/>
                    </a:lnTo>
                    <a:lnTo>
                      <a:pt x="131" y="54"/>
                    </a:lnTo>
                    <a:lnTo>
                      <a:pt x="131" y="54"/>
                    </a:lnTo>
                    <a:lnTo>
                      <a:pt x="127" y="54"/>
                    </a:lnTo>
                    <a:lnTo>
                      <a:pt x="127" y="54"/>
                    </a:lnTo>
                    <a:lnTo>
                      <a:pt x="127" y="54"/>
                    </a:lnTo>
                    <a:lnTo>
                      <a:pt x="122" y="54"/>
                    </a:lnTo>
                    <a:lnTo>
                      <a:pt x="122" y="54"/>
                    </a:lnTo>
                    <a:lnTo>
                      <a:pt x="122" y="54"/>
                    </a:lnTo>
                    <a:lnTo>
                      <a:pt x="122" y="54"/>
                    </a:lnTo>
                    <a:lnTo>
                      <a:pt x="118" y="54"/>
                    </a:lnTo>
                    <a:lnTo>
                      <a:pt x="118" y="54"/>
                    </a:lnTo>
                    <a:lnTo>
                      <a:pt x="118" y="54"/>
                    </a:lnTo>
                    <a:lnTo>
                      <a:pt x="118" y="54"/>
                    </a:lnTo>
                    <a:lnTo>
                      <a:pt x="118" y="59"/>
                    </a:lnTo>
                    <a:lnTo>
                      <a:pt x="113" y="59"/>
                    </a:lnTo>
                    <a:lnTo>
                      <a:pt x="118" y="59"/>
                    </a:lnTo>
                    <a:lnTo>
                      <a:pt x="118" y="59"/>
                    </a:lnTo>
                    <a:lnTo>
                      <a:pt x="118" y="59"/>
                    </a:lnTo>
                    <a:lnTo>
                      <a:pt x="118" y="63"/>
                    </a:lnTo>
                    <a:lnTo>
                      <a:pt x="122" y="63"/>
                    </a:lnTo>
                    <a:lnTo>
                      <a:pt x="122" y="63"/>
                    </a:lnTo>
                    <a:lnTo>
                      <a:pt x="118" y="63"/>
                    </a:lnTo>
                    <a:lnTo>
                      <a:pt x="118" y="63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7" y="72"/>
                    </a:lnTo>
                    <a:lnTo>
                      <a:pt x="127" y="77"/>
                    </a:lnTo>
                    <a:lnTo>
                      <a:pt x="122" y="77"/>
                    </a:lnTo>
                    <a:lnTo>
                      <a:pt x="118" y="77"/>
                    </a:lnTo>
                    <a:lnTo>
                      <a:pt x="118" y="77"/>
                    </a:lnTo>
                    <a:lnTo>
                      <a:pt x="118" y="77"/>
                    </a:lnTo>
                    <a:lnTo>
                      <a:pt x="113" y="77"/>
                    </a:lnTo>
                    <a:lnTo>
                      <a:pt x="113" y="77"/>
                    </a:lnTo>
                    <a:lnTo>
                      <a:pt x="113" y="77"/>
                    </a:lnTo>
                    <a:lnTo>
                      <a:pt x="109" y="77"/>
                    </a:lnTo>
                    <a:lnTo>
                      <a:pt x="109" y="81"/>
                    </a:lnTo>
                    <a:lnTo>
                      <a:pt x="109" y="81"/>
                    </a:lnTo>
                    <a:lnTo>
                      <a:pt x="109" y="81"/>
                    </a:lnTo>
                    <a:lnTo>
                      <a:pt x="109" y="86"/>
                    </a:lnTo>
                    <a:lnTo>
                      <a:pt x="109" y="86"/>
                    </a:lnTo>
                    <a:lnTo>
                      <a:pt x="109" y="86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4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0" y="86"/>
                    </a:lnTo>
                    <a:lnTo>
                      <a:pt x="95" y="86"/>
                    </a:lnTo>
                    <a:lnTo>
                      <a:pt x="95" y="86"/>
                    </a:lnTo>
                    <a:lnTo>
                      <a:pt x="95" y="90"/>
                    </a:lnTo>
                    <a:lnTo>
                      <a:pt x="91" y="90"/>
                    </a:lnTo>
                    <a:lnTo>
                      <a:pt x="91" y="90"/>
                    </a:lnTo>
                    <a:lnTo>
                      <a:pt x="91" y="86"/>
                    </a:lnTo>
                    <a:lnTo>
                      <a:pt x="91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3" y="86"/>
                    </a:lnTo>
                    <a:lnTo>
                      <a:pt x="73" y="86"/>
                    </a:lnTo>
                    <a:lnTo>
                      <a:pt x="73" y="86"/>
                    </a:lnTo>
                    <a:lnTo>
                      <a:pt x="73" y="86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4" y="86"/>
                    </a:lnTo>
                    <a:lnTo>
                      <a:pt x="64" y="86"/>
                    </a:lnTo>
                    <a:lnTo>
                      <a:pt x="64" y="86"/>
                    </a:lnTo>
                    <a:lnTo>
                      <a:pt x="59" y="81"/>
                    </a:lnTo>
                    <a:lnTo>
                      <a:pt x="59" y="81"/>
                    </a:lnTo>
                    <a:lnTo>
                      <a:pt x="55" y="81"/>
                    </a:lnTo>
                    <a:lnTo>
                      <a:pt x="55" y="81"/>
                    </a:lnTo>
                    <a:lnTo>
                      <a:pt x="50" y="81"/>
                    </a:lnTo>
                    <a:lnTo>
                      <a:pt x="50" y="81"/>
                    </a:lnTo>
                    <a:lnTo>
                      <a:pt x="50" y="81"/>
                    </a:lnTo>
                    <a:lnTo>
                      <a:pt x="46" y="81"/>
                    </a:lnTo>
                    <a:lnTo>
                      <a:pt x="41" y="81"/>
                    </a:lnTo>
                    <a:lnTo>
                      <a:pt x="41" y="81"/>
                    </a:lnTo>
                    <a:lnTo>
                      <a:pt x="37" y="81"/>
                    </a:lnTo>
                    <a:lnTo>
                      <a:pt x="32" y="81"/>
                    </a:lnTo>
                    <a:lnTo>
                      <a:pt x="28" y="81"/>
                    </a:lnTo>
                    <a:lnTo>
                      <a:pt x="28" y="81"/>
                    </a:lnTo>
                    <a:lnTo>
                      <a:pt x="28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9" y="77"/>
                    </a:lnTo>
                    <a:lnTo>
                      <a:pt x="9" y="77"/>
                    </a:lnTo>
                    <a:lnTo>
                      <a:pt x="9" y="77"/>
                    </a:lnTo>
                    <a:lnTo>
                      <a:pt x="9" y="77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5" y="72"/>
                    </a:lnTo>
                    <a:lnTo>
                      <a:pt x="5" y="68"/>
                    </a:lnTo>
                    <a:lnTo>
                      <a:pt x="5" y="68"/>
                    </a:lnTo>
                    <a:lnTo>
                      <a:pt x="9" y="68"/>
                    </a:lnTo>
                    <a:lnTo>
                      <a:pt x="9" y="63"/>
                    </a:lnTo>
                    <a:lnTo>
                      <a:pt x="9" y="63"/>
                    </a:lnTo>
                    <a:lnTo>
                      <a:pt x="9" y="63"/>
                    </a:lnTo>
                    <a:lnTo>
                      <a:pt x="9" y="63"/>
                    </a:lnTo>
                    <a:lnTo>
                      <a:pt x="9" y="59"/>
                    </a:lnTo>
                    <a:lnTo>
                      <a:pt x="9" y="59"/>
                    </a:lnTo>
                    <a:lnTo>
                      <a:pt x="9" y="54"/>
                    </a:lnTo>
                    <a:lnTo>
                      <a:pt x="5" y="50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7" y="36"/>
                    </a:lnTo>
                    <a:lnTo>
                      <a:pt x="37" y="36"/>
                    </a:lnTo>
                    <a:lnTo>
                      <a:pt x="37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3"/>
                    </a:lnTo>
                    <a:lnTo>
                      <a:pt x="37" y="23"/>
                    </a:lnTo>
                    <a:lnTo>
                      <a:pt x="37" y="23"/>
                    </a:lnTo>
                    <a:lnTo>
                      <a:pt x="37" y="23"/>
                    </a:lnTo>
                    <a:lnTo>
                      <a:pt x="37" y="23"/>
                    </a:lnTo>
                    <a:lnTo>
                      <a:pt x="41" y="23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6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46" y="5"/>
                    </a:lnTo>
                    <a:lnTo>
                      <a:pt x="50" y="5"/>
                    </a:lnTo>
                    <a:lnTo>
                      <a:pt x="55" y="5"/>
                    </a:lnTo>
                    <a:lnTo>
                      <a:pt x="55" y="5"/>
                    </a:lnTo>
                    <a:lnTo>
                      <a:pt x="55" y="5"/>
                    </a:lnTo>
                    <a:lnTo>
                      <a:pt x="55" y="5"/>
                    </a:lnTo>
                    <a:lnTo>
                      <a:pt x="55" y="5"/>
                    </a:lnTo>
                    <a:lnTo>
                      <a:pt x="55" y="5"/>
                    </a:lnTo>
                    <a:lnTo>
                      <a:pt x="59" y="5"/>
                    </a:lnTo>
                    <a:lnTo>
                      <a:pt x="59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02" name="Freeform 23"/>
              <p:cNvSpPr>
                <a:spLocks/>
              </p:cNvSpPr>
              <p:nvPr/>
            </p:nvSpPr>
            <p:spPr bwMode="auto">
              <a:xfrm>
                <a:off x="1839913" y="2363789"/>
                <a:ext cx="49213" cy="79375"/>
              </a:xfrm>
              <a:custGeom>
                <a:avLst/>
                <a:gdLst>
                  <a:gd name="T0" fmla="*/ 27 w 31"/>
                  <a:gd name="T1" fmla="*/ 0 h 50"/>
                  <a:gd name="T2" fmla="*/ 27 w 31"/>
                  <a:gd name="T3" fmla="*/ 0 h 50"/>
                  <a:gd name="T4" fmla="*/ 27 w 31"/>
                  <a:gd name="T5" fmla="*/ 0 h 50"/>
                  <a:gd name="T6" fmla="*/ 27 w 31"/>
                  <a:gd name="T7" fmla="*/ 0 h 50"/>
                  <a:gd name="T8" fmla="*/ 31 w 31"/>
                  <a:gd name="T9" fmla="*/ 0 h 50"/>
                  <a:gd name="T10" fmla="*/ 31 w 31"/>
                  <a:gd name="T11" fmla="*/ 5 h 50"/>
                  <a:gd name="T12" fmla="*/ 27 w 31"/>
                  <a:gd name="T13" fmla="*/ 5 h 50"/>
                  <a:gd name="T14" fmla="*/ 27 w 31"/>
                  <a:gd name="T15" fmla="*/ 14 h 50"/>
                  <a:gd name="T16" fmla="*/ 27 w 31"/>
                  <a:gd name="T17" fmla="*/ 14 h 50"/>
                  <a:gd name="T18" fmla="*/ 22 w 31"/>
                  <a:gd name="T19" fmla="*/ 18 h 50"/>
                  <a:gd name="T20" fmla="*/ 27 w 31"/>
                  <a:gd name="T21" fmla="*/ 18 h 50"/>
                  <a:gd name="T22" fmla="*/ 22 w 31"/>
                  <a:gd name="T23" fmla="*/ 23 h 50"/>
                  <a:gd name="T24" fmla="*/ 22 w 31"/>
                  <a:gd name="T25" fmla="*/ 23 h 50"/>
                  <a:gd name="T26" fmla="*/ 22 w 31"/>
                  <a:gd name="T27" fmla="*/ 23 h 50"/>
                  <a:gd name="T28" fmla="*/ 22 w 31"/>
                  <a:gd name="T29" fmla="*/ 27 h 50"/>
                  <a:gd name="T30" fmla="*/ 18 w 31"/>
                  <a:gd name="T31" fmla="*/ 36 h 50"/>
                  <a:gd name="T32" fmla="*/ 18 w 31"/>
                  <a:gd name="T33" fmla="*/ 41 h 50"/>
                  <a:gd name="T34" fmla="*/ 18 w 31"/>
                  <a:gd name="T35" fmla="*/ 41 h 50"/>
                  <a:gd name="T36" fmla="*/ 13 w 31"/>
                  <a:gd name="T37" fmla="*/ 41 h 50"/>
                  <a:gd name="T38" fmla="*/ 13 w 31"/>
                  <a:gd name="T39" fmla="*/ 45 h 50"/>
                  <a:gd name="T40" fmla="*/ 9 w 31"/>
                  <a:gd name="T41" fmla="*/ 50 h 50"/>
                  <a:gd name="T42" fmla="*/ 4 w 31"/>
                  <a:gd name="T43" fmla="*/ 50 h 50"/>
                  <a:gd name="T44" fmla="*/ 4 w 31"/>
                  <a:gd name="T45" fmla="*/ 50 h 50"/>
                  <a:gd name="T46" fmla="*/ 4 w 31"/>
                  <a:gd name="T47" fmla="*/ 50 h 50"/>
                  <a:gd name="T48" fmla="*/ 4 w 31"/>
                  <a:gd name="T49" fmla="*/ 50 h 50"/>
                  <a:gd name="T50" fmla="*/ 0 w 31"/>
                  <a:gd name="T51" fmla="*/ 50 h 50"/>
                  <a:gd name="T52" fmla="*/ 0 w 31"/>
                  <a:gd name="T53" fmla="*/ 50 h 50"/>
                  <a:gd name="T54" fmla="*/ 0 w 31"/>
                  <a:gd name="T55" fmla="*/ 45 h 50"/>
                  <a:gd name="T56" fmla="*/ 4 w 31"/>
                  <a:gd name="T57" fmla="*/ 36 h 50"/>
                  <a:gd name="T58" fmla="*/ 4 w 31"/>
                  <a:gd name="T59" fmla="*/ 32 h 50"/>
                  <a:gd name="T60" fmla="*/ 4 w 31"/>
                  <a:gd name="T61" fmla="*/ 27 h 50"/>
                  <a:gd name="T62" fmla="*/ 9 w 31"/>
                  <a:gd name="T63" fmla="*/ 23 h 50"/>
                  <a:gd name="T64" fmla="*/ 9 w 31"/>
                  <a:gd name="T65" fmla="*/ 18 h 50"/>
                  <a:gd name="T66" fmla="*/ 9 w 31"/>
                  <a:gd name="T67" fmla="*/ 14 h 50"/>
                  <a:gd name="T68" fmla="*/ 9 w 31"/>
                  <a:gd name="T69" fmla="*/ 9 h 50"/>
                  <a:gd name="T70" fmla="*/ 9 w 31"/>
                  <a:gd name="T71" fmla="*/ 9 h 50"/>
                  <a:gd name="T72" fmla="*/ 13 w 31"/>
                  <a:gd name="T73" fmla="*/ 9 h 50"/>
                  <a:gd name="T74" fmla="*/ 13 w 31"/>
                  <a:gd name="T75" fmla="*/ 9 h 50"/>
                  <a:gd name="T76" fmla="*/ 13 w 31"/>
                  <a:gd name="T77" fmla="*/ 9 h 50"/>
                  <a:gd name="T78" fmla="*/ 13 w 31"/>
                  <a:gd name="T79" fmla="*/ 9 h 50"/>
                  <a:gd name="T80" fmla="*/ 18 w 31"/>
                  <a:gd name="T81" fmla="*/ 9 h 50"/>
                  <a:gd name="T82" fmla="*/ 18 w 31"/>
                  <a:gd name="T83" fmla="*/ 9 h 50"/>
                  <a:gd name="T84" fmla="*/ 22 w 31"/>
                  <a:gd name="T85" fmla="*/ 5 h 50"/>
                  <a:gd name="T86" fmla="*/ 22 w 31"/>
                  <a:gd name="T87" fmla="*/ 0 h 50"/>
                  <a:gd name="T88" fmla="*/ 22 w 31"/>
                  <a:gd name="T89" fmla="*/ 0 h 50"/>
                  <a:gd name="T90" fmla="*/ 27 w 31"/>
                  <a:gd name="T91" fmla="*/ 0 h 50"/>
                  <a:gd name="T92" fmla="*/ 27 w 31"/>
                  <a:gd name="T93" fmla="*/ 0 h 50"/>
                  <a:gd name="T94" fmla="*/ 27 w 31"/>
                  <a:gd name="T9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1" h="50">
                    <a:moveTo>
                      <a:pt x="27" y="0"/>
                    </a:move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1" y="0"/>
                    </a:lnTo>
                    <a:lnTo>
                      <a:pt x="31" y="5"/>
                    </a:lnTo>
                    <a:lnTo>
                      <a:pt x="27" y="5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2" y="18"/>
                    </a:lnTo>
                    <a:lnTo>
                      <a:pt x="27" y="18"/>
                    </a:lnTo>
                    <a:lnTo>
                      <a:pt x="22" y="23"/>
                    </a:lnTo>
                    <a:lnTo>
                      <a:pt x="22" y="23"/>
                    </a:lnTo>
                    <a:lnTo>
                      <a:pt x="22" y="23"/>
                    </a:lnTo>
                    <a:lnTo>
                      <a:pt x="22" y="27"/>
                    </a:lnTo>
                    <a:lnTo>
                      <a:pt x="18" y="36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3" y="41"/>
                    </a:lnTo>
                    <a:lnTo>
                      <a:pt x="13" y="45"/>
                    </a:lnTo>
                    <a:lnTo>
                      <a:pt x="9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5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27"/>
                    </a:lnTo>
                    <a:lnTo>
                      <a:pt x="9" y="23"/>
                    </a:lnTo>
                    <a:lnTo>
                      <a:pt x="9" y="18"/>
                    </a:lnTo>
                    <a:lnTo>
                      <a:pt x="9" y="14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2" y="5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03" name="Freeform 24"/>
              <p:cNvSpPr>
                <a:spLocks/>
              </p:cNvSpPr>
              <p:nvPr/>
            </p:nvSpPr>
            <p:spPr bwMode="auto">
              <a:xfrm>
                <a:off x="2355851" y="3246439"/>
                <a:ext cx="358775" cy="409575"/>
              </a:xfrm>
              <a:custGeom>
                <a:avLst/>
                <a:gdLst>
                  <a:gd name="T0" fmla="*/ 72 w 226"/>
                  <a:gd name="T1" fmla="*/ 14 h 258"/>
                  <a:gd name="T2" fmla="*/ 72 w 226"/>
                  <a:gd name="T3" fmla="*/ 27 h 258"/>
                  <a:gd name="T4" fmla="*/ 77 w 226"/>
                  <a:gd name="T5" fmla="*/ 37 h 258"/>
                  <a:gd name="T6" fmla="*/ 77 w 226"/>
                  <a:gd name="T7" fmla="*/ 41 h 258"/>
                  <a:gd name="T8" fmla="*/ 81 w 226"/>
                  <a:gd name="T9" fmla="*/ 46 h 258"/>
                  <a:gd name="T10" fmla="*/ 90 w 226"/>
                  <a:gd name="T11" fmla="*/ 55 h 258"/>
                  <a:gd name="T12" fmla="*/ 108 w 226"/>
                  <a:gd name="T13" fmla="*/ 59 h 258"/>
                  <a:gd name="T14" fmla="*/ 117 w 226"/>
                  <a:gd name="T15" fmla="*/ 59 h 258"/>
                  <a:gd name="T16" fmla="*/ 131 w 226"/>
                  <a:gd name="T17" fmla="*/ 68 h 258"/>
                  <a:gd name="T18" fmla="*/ 140 w 226"/>
                  <a:gd name="T19" fmla="*/ 77 h 258"/>
                  <a:gd name="T20" fmla="*/ 158 w 226"/>
                  <a:gd name="T21" fmla="*/ 77 h 258"/>
                  <a:gd name="T22" fmla="*/ 162 w 226"/>
                  <a:gd name="T23" fmla="*/ 86 h 258"/>
                  <a:gd name="T24" fmla="*/ 171 w 226"/>
                  <a:gd name="T25" fmla="*/ 104 h 258"/>
                  <a:gd name="T26" fmla="*/ 171 w 226"/>
                  <a:gd name="T27" fmla="*/ 122 h 258"/>
                  <a:gd name="T28" fmla="*/ 203 w 226"/>
                  <a:gd name="T29" fmla="*/ 127 h 258"/>
                  <a:gd name="T30" fmla="*/ 203 w 226"/>
                  <a:gd name="T31" fmla="*/ 136 h 258"/>
                  <a:gd name="T32" fmla="*/ 217 w 226"/>
                  <a:gd name="T33" fmla="*/ 150 h 258"/>
                  <a:gd name="T34" fmla="*/ 226 w 226"/>
                  <a:gd name="T35" fmla="*/ 163 h 258"/>
                  <a:gd name="T36" fmla="*/ 221 w 226"/>
                  <a:gd name="T37" fmla="*/ 177 h 258"/>
                  <a:gd name="T38" fmla="*/ 221 w 226"/>
                  <a:gd name="T39" fmla="*/ 190 h 258"/>
                  <a:gd name="T40" fmla="*/ 221 w 226"/>
                  <a:gd name="T41" fmla="*/ 199 h 258"/>
                  <a:gd name="T42" fmla="*/ 212 w 226"/>
                  <a:gd name="T43" fmla="*/ 195 h 258"/>
                  <a:gd name="T44" fmla="*/ 167 w 226"/>
                  <a:gd name="T45" fmla="*/ 190 h 258"/>
                  <a:gd name="T46" fmla="*/ 153 w 226"/>
                  <a:gd name="T47" fmla="*/ 213 h 258"/>
                  <a:gd name="T48" fmla="*/ 153 w 226"/>
                  <a:gd name="T49" fmla="*/ 244 h 258"/>
                  <a:gd name="T50" fmla="*/ 135 w 226"/>
                  <a:gd name="T51" fmla="*/ 240 h 258"/>
                  <a:gd name="T52" fmla="*/ 126 w 226"/>
                  <a:gd name="T53" fmla="*/ 249 h 258"/>
                  <a:gd name="T54" fmla="*/ 122 w 226"/>
                  <a:gd name="T55" fmla="*/ 249 h 258"/>
                  <a:gd name="T56" fmla="*/ 108 w 226"/>
                  <a:gd name="T57" fmla="*/ 244 h 258"/>
                  <a:gd name="T58" fmla="*/ 90 w 226"/>
                  <a:gd name="T59" fmla="*/ 240 h 258"/>
                  <a:gd name="T60" fmla="*/ 86 w 226"/>
                  <a:gd name="T61" fmla="*/ 244 h 258"/>
                  <a:gd name="T62" fmla="*/ 77 w 226"/>
                  <a:gd name="T63" fmla="*/ 254 h 258"/>
                  <a:gd name="T64" fmla="*/ 68 w 226"/>
                  <a:gd name="T65" fmla="*/ 258 h 258"/>
                  <a:gd name="T66" fmla="*/ 63 w 226"/>
                  <a:gd name="T67" fmla="*/ 249 h 258"/>
                  <a:gd name="T68" fmla="*/ 54 w 226"/>
                  <a:gd name="T69" fmla="*/ 235 h 258"/>
                  <a:gd name="T70" fmla="*/ 45 w 226"/>
                  <a:gd name="T71" fmla="*/ 222 h 258"/>
                  <a:gd name="T72" fmla="*/ 40 w 226"/>
                  <a:gd name="T73" fmla="*/ 213 h 258"/>
                  <a:gd name="T74" fmla="*/ 40 w 226"/>
                  <a:gd name="T75" fmla="*/ 204 h 258"/>
                  <a:gd name="T76" fmla="*/ 40 w 226"/>
                  <a:gd name="T77" fmla="*/ 199 h 258"/>
                  <a:gd name="T78" fmla="*/ 40 w 226"/>
                  <a:gd name="T79" fmla="*/ 190 h 258"/>
                  <a:gd name="T80" fmla="*/ 31 w 226"/>
                  <a:gd name="T81" fmla="*/ 181 h 258"/>
                  <a:gd name="T82" fmla="*/ 27 w 226"/>
                  <a:gd name="T83" fmla="*/ 168 h 258"/>
                  <a:gd name="T84" fmla="*/ 22 w 226"/>
                  <a:gd name="T85" fmla="*/ 159 h 258"/>
                  <a:gd name="T86" fmla="*/ 13 w 226"/>
                  <a:gd name="T87" fmla="*/ 150 h 258"/>
                  <a:gd name="T88" fmla="*/ 22 w 226"/>
                  <a:gd name="T89" fmla="*/ 141 h 258"/>
                  <a:gd name="T90" fmla="*/ 22 w 226"/>
                  <a:gd name="T91" fmla="*/ 136 h 258"/>
                  <a:gd name="T92" fmla="*/ 22 w 226"/>
                  <a:gd name="T93" fmla="*/ 131 h 258"/>
                  <a:gd name="T94" fmla="*/ 18 w 226"/>
                  <a:gd name="T95" fmla="*/ 113 h 258"/>
                  <a:gd name="T96" fmla="*/ 13 w 226"/>
                  <a:gd name="T97" fmla="*/ 100 h 258"/>
                  <a:gd name="T98" fmla="*/ 18 w 226"/>
                  <a:gd name="T99" fmla="*/ 95 h 258"/>
                  <a:gd name="T100" fmla="*/ 18 w 226"/>
                  <a:gd name="T101" fmla="*/ 86 h 258"/>
                  <a:gd name="T102" fmla="*/ 13 w 226"/>
                  <a:gd name="T103" fmla="*/ 68 h 258"/>
                  <a:gd name="T104" fmla="*/ 18 w 226"/>
                  <a:gd name="T105" fmla="*/ 59 h 258"/>
                  <a:gd name="T106" fmla="*/ 4 w 226"/>
                  <a:gd name="T107" fmla="*/ 37 h 258"/>
                  <a:gd name="T108" fmla="*/ 13 w 226"/>
                  <a:gd name="T109" fmla="*/ 27 h 258"/>
                  <a:gd name="T110" fmla="*/ 22 w 226"/>
                  <a:gd name="T111" fmla="*/ 27 h 258"/>
                  <a:gd name="T112" fmla="*/ 31 w 226"/>
                  <a:gd name="T113" fmla="*/ 23 h 258"/>
                  <a:gd name="T114" fmla="*/ 40 w 226"/>
                  <a:gd name="T115" fmla="*/ 14 h 258"/>
                  <a:gd name="T116" fmla="*/ 63 w 226"/>
                  <a:gd name="T117" fmla="*/ 5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26" h="258">
                    <a:moveTo>
                      <a:pt x="72" y="5"/>
                    </a:moveTo>
                    <a:lnTo>
                      <a:pt x="72" y="5"/>
                    </a:lnTo>
                    <a:lnTo>
                      <a:pt x="72" y="5"/>
                    </a:lnTo>
                    <a:lnTo>
                      <a:pt x="72" y="5"/>
                    </a:lnTo>
                    <a:lnTo>
                      <a:pt x="72" y="9"/>
                    </a:lnTo>
                    <a:lnTo>
                      <a:pt x="72" y="9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23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7"/>
                    </a:lnTo>
                    <a:lnTo>
                      <a:pt x="77" y="37"/>
                    </a:lnTo>
                    <a:lnTo>
                      <a:pt x="77" y="37"/>
                    </a:lnTo>
                    <a:lnTo>
                      <a:pt x="77" y="37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81" y="41"/>
                    </a:lnTo>
                    <a:lnTo>
                      <a:pt x="81" y="46"/>
                    </a:lnTo>
                    <a:lnTo>
                      <a:pt x="81" y="46"/>
                    </a:lnTo>
                    <a:lnTo>
                      <a:pt x="81" y="46"/>
                    </a:lnTo>
                    <a:lnTo>
                      <a:pt x="81" y="46"/>
                    </a:lnTo>
                    <a:lnTo>
                      <a:pt x="81" y="46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90" y="55"/>
                    </a:lnTo>
                    <a:lnTo>
                      <a:pt x="90" y="55"/>
                    </a:lnTo>
                    <a:lnTo>
                      <a:pt x="95" y="55"/>
                    </a:lnTo>
                    <a:lnTo>
                      <a:pt x="99" y="55"/>
                    </a:lnTo>
                    <a:lnTo>
                      <a:pt x="99" y="55"/>
                    </a:lnTo>
                    <a:lnTo>
                      <a:pt x="104" y="55"/>
                    </a:lnTo>
                    <a:lnTo>
                      <a:pt x="104" y="55"/>
                    </a:lnTo>
                    <a:lnTo>
                      <a:pt x="108" y="55"/>
                    </a:lnTo>
                    <a:lnTo>
                      <a:pt x="108" y="59"/>
                    </a:lnTo>
                    <a:lnTo>
                      <a:pt x="108" y="59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17" y="59"/>
                    </a:lnTo>
                    <a:lnTo>
                      <a:pt x="117" y="59"/>
                    </a:lnTo>
                    <a:lnTo>
                      <a:pt x="117" y="59"/>
                    </a:lnTo>
                    <a:lnTo>
                      <a:pt x="117" y="64"/>
                    </a:lnTo>
                    <a:lnTo>
                      <a:pt x="117" y="64"/>
                    </a:lnTo>
                    <a:lnTo>
                      <a:pt x="122" y="64"/>
                    </a:lnTo>
                    <a:lnTo>
                      <a:pt x="122" y="64"/>
                    </a:lnTo>
                    <a:lnTo>
                      <a:pt x="122" y="64"/>
                    </a:lnTo>
                    <a:lnTo>
                      <a:pt x="126" y="68"/>
                    </a:lnTo>
                    <a:lnTo>
                      <a:pt x="131" y="68"/>
                    </a:lnTo>
                    <a:lnTo>
                      <a:pt x="131" y="68"/>
                    </a:lnTo>
                    <a:lnTo>
                      <a:pt x="131" y="68"/>
                    </a:lnTo>
                    <a:lnTo>
                      <a:pt x="135" y="68"/>
                    </a:lnTo>
                    <a:lnTo>
                      <a:pt x="135" y="68"/>
                    </a:lnTo>
                    <a:lnTo>
                      <a:pt x="135" y="73"/>
                    </a:lnTo>
                    <a:lnTo>
                      <a:pt x="140" y="73"/>
                    </a:lnTo>
                    <a:lnTo>
                      <a:pt x="140" y="77"/>
                    </a:lnTo>
                    <a:lnTo>
                      <a:pt x="144" y="77"/>
                    </a:lnTo>
                    <a:lnTo>
                      <a:pt x="144" y="77"/>
                    </a:lnTo>
                    <a:lnTo>
                      <a:pt x="144" y="77"/>
                    </a:lnTo>
                    <a:lnTo>
                      <a:pt x="153" y="73"/>
                    </a:lnTo>
                    <a:lnTo>
                      <a:pt x="153" y="73"/>
                    </a:lnTo>
                    <a:lnTo>
                      <a:pt x="153" y="77"/>
                    </a:lnTo>
                    <a:lnTo>
                      <a:pt x="158" y="77"/>
                    </a:lnTo>
                    <a:lnTo>
                      <a:pt x="162" y="82"/>
                    </a:lnTo>
                    <a:lnTo>
                      <a:pt x="162" y="82"/>
                    </a:lnTo>
                    <a:lnTo>
                      <a:pt x="162" y="82"/>
                    </a:lnTo>
                    <a:lnTo>
                      <a:pt x="162" y="82"/>
                    </a:lnTo>
                    <a:lnTo>
                      <a:pt x="167" y="86"/>
                    </a:lnTo>
                    <a:lnTo>
                      <a:pt x="162" y="86"/>
                    </a:lnTo>
                    <a:lnTo>
                      <a:pt x="162" y="86"/>
                    </a:lnTo>
                    <a:lnTo>
                      <a:pt x="162" y="86"/>
                    </a:lnTo>
                    <a:lnTo>
                      <a:pt x="162" y="91"/>
                    </a:lnTo>
                    <a:lnTo>
                      <a:pt x="167" y="91"/>
                    </a:lnTo>
                    <a:lnTo>
                      <a:pt x="167" y="91"/>
                    </a:lnTo>
                    <a:lnTo>
                      <a:pt x="167" y="95"/>
                    </a:lnTo>
                    <a:lnTo>
                      <a:pt x="167" y="95"/>
                    </a:lnTo>
                    <a:lnTo>
                      <a:pt x="171" y="104"/>
                    </a:lnTo>
                    <a:lnTo>
                      <a:pt x="167" y="104"/>
                    </a:lnTo>
                    <a:lnTo>
                      <a:pt x="162" y="104"/>
                    </a:lnTo>
                    <a:lnTo>
                      <a:pt x="167" y="104"/>
                    </a:lnTo>
                    <a:lnTo>
                      <a:pt x="167" y="109"/>
                    </a:lnTo>
                    <a:lnTo>
                      <a:pt x="171" y="113"/>
                    </a:lnTo>
                    <a:lnTo>
                      <a:pt x="171" y="118"/>
                    </a:lnTo>
                    <a:lnTo>
                      <a:pt x="171" y="122"/>
                    </a:lnTo>
                    <a:lnTo>
                      <a:pt x="176" y="127"/>
                    </a:lnTo>
                    <a:lnTo>
                      <a:pt x="176" y="127"/>
                    </a:lnTo>
                    <a:lnTo>
                      <a:pt x="180" y="127"/>
                    </a:lnTo>
                    <a:lnTo>
                      <a:pt x="185" y="127"/>
                    </a:lnTo>
                    <a:lnTo>
                      <a:pt x="194" y="127"/>
                    </a:lnTo>
                    <a:lnTo>
                      <a:pt x="203" y="127"/>
                    </a:lnTo>
                    <a:lnTo>
                      <a:pt x="203" y="127"/>
                    </a:lnTo>
                    <a:lnTo>
                      <a:pt x="203" y="127"/>
                    </a:lnTo>
                    <a:lnTo>
                      <a:pt x="203" y="127"/>
                    </a:lnTo>
                    <a:lnTo>
                      <a:pt x="208" y="127"/>
                    </a:lnTo>
                    <a:lnTo>
                      <a:pt x="208" y="127"/>
                    </a:lnTo>
                    <a:lnTo>
                      <a:pt x="208" y="131"/>
                    </a:lnTo>
                    <a:lnTo>
                      <a:pt x="208" y="131"/>
                    </a:lnTo>
                    <a:lnTo>
                      <a:pt x="203" y="136"/>
                    </a:lnTo>
                    <a:lnTo>
                      <a:pt x="203" y="136"/>
                    </a:lnTo>
                    <a:lnTo>
                      <a:pt x="208" y="141"/>
                    </a:lnTo>
                    <a:lnTo>
                      <a:pt x="208" y="145"/>
                    </a:lnTo>
                    <a:lnTo>
                      <a:pt x="208" y="145"/>
                    </a:lnTo>
                    <a:lnTo>
                      <a:pt x="208" y="150"/>
                    </a:lnTo>
                    <a:lnTo>
                      <a:pt x="212" y="150"/>
                    </a:lnTo>
                    <a:lnTo>
                      <a:pt x="217" y="150"/>
                    </a:lnTo>
                    <a:lnTo>
                      <a:pt x="217" y="154"/>
                    </a:lnTo>
                    <a:lnTo>
                      <a:pt x="217" y="150"/>
                    </a:lnTo>
                    <a:lnTo>
                      <a:pt x="217" y="154"/>
                    </a:lnTo>
                    <a:lnTo>
                      <a:pt x="221" y="154"/>
                    </a:lnTo>
                    <a:lnTo>
                      <a:pt x="221" y="159"/>
                    </a:lnTo>
                    <a:lnTo>
                      <a:pt x="226" y="163"/>
                    </a:lnTo>
                    <a:lnTo>
                      <a:pt x="226" y="163"/>
                    </a:lnTo>
                    <a:lnTo>
                      <a:pt x="226" y="163"/>
                    </a:lnTo>
                    <a:lnTo>
                      <a:pt x="226" y="168"/>
                    </a:lnTo>
                    <a:lnTo>
                      <a:pt x="226" y="168"/>
                    </a:lnTo>
                    <a:lnTo>
                      <a:pt x="226" y="168"/>
                    </a:lnTo>
                    <a:lnTo>
                      <a:pt x="226" y="172"/>
                    </a:lnTo>
                    <a:lnTo>
                      <a:pt x="221" y="177"/>
                    </a:lnTo>
                    <a:lnTo>
                      <a:pt x="221" y="177"/>
                    </a:lnTo>
                    <a:lnTo>
                      <a:pt x="226" y="177"/>
                    </a:lnTo>
                    <a:lnTo>
                      <a:pt x="226" y="181"/>
                    </a:lnTo>
                    <a:lnTo>
                      <a:pt x="226" y="181"/>
                    </a:lnTo>
                    <a:lnTo>
                      <a:pt x="221" y="181"/>
                    </a:lnTo>
                    <a:lnTo>
                      <a:pt x="221" y="181"/>
                    </a:lnTo>
                    <a:lnTo>
                      <a:pt x="221" y="186"/>
                    </a:lnTo>
                    <a:lnTo>
                      <a:pt x="221" y="190"/>
                    </a:lnTo>
                    <a:lnTo>
                      <a:pt x="221" y="195"/>
                    </a:lnTo>
                    <a:lnTo>
                      <a:pt x="221" y="195"/>
                    </a:lnTo>
                    <a:lnTo>
                      <a:pt x="221" y="195"/>
                    </a:lnTo>
                    <a:lnTo>
                      <a:pt x="226" y="199"/>
                    </a:lnTo>
                    <a:lnTo>
                      <a:pt x="226" y="199"/>
                    </a:lnTo>
                    <a:lnTo>
                      <a:pt x="221" y="199"/>
                    </a:lnTo>
                    <a:lnTo>
                      <a:pt x="221" y="199"/>
                    </a:lnTo>
                    <a:lnTo>
                      <a:pt x="221" y="204"/>
                    </a:lnTo>
                    <a:lnTo>
                      <a:pt x="221" y="204"/>
                    </a:lnTo>
                    <a:lnTo>
                      <a:pt x="221" y="204"/>
                    </a:lnTo>
                    <a:lnTo>
                      <a:pt x="221" y="199"/>
                    </a:lnTo>
                    <a:lnTo>
                      <a:pt x="221" y="195"/>
                    </a:lnTo>
                    <a:lnTo>
                      <a:pt x="217" y="195"/>
                    </a:lnTo>
                    <a:lnTo>
                      <a:pt x="212" y="195"/>
                    </a:lnTo>
                    <a:lnTo>
                      <a:pt x="208" y="190"/>
                    </a:lnTo>
                    <a:lnTo>
                      <a:pt x="203" y="186"/>
                    </a:lnTo>
                    <a:lnTo>
                      <a:pt x="194" y="186"/>
                    </a:lnTo>
                    <a:lnTo>
                      <a:pt x="185" y="186"/>
                    </a:lnTo>
                    <a:lnTo>
                      <a:pt x="180" y="190"/>
                    </a:lnTo>
                    <a:lnTo>
                      <a:pt x="171" y="190"/>
                    </a:lnTo>
                    <a:lnTo>
                      <a:pt x="167" y="190"/>
                    </a:lnTo>
                    <a:lnTo>
                      <a:pt x="162" y="195"/>
                    </a:lnTo>
                    <a:lnTo>
                      <a:pt x="158" y="195"/>
                    </a:lnTo>
                    <a:lnTo>
                      <a:pt x="158" y="199"/>
                    </a:lnTo>
                    <a:lnTo>
                      <a:pt x="158" y="204"/>
                    </a:lnTo>
                    <a:lnTo>
                      <a:pt x="153" y="204"/>
                    </a:lnTo>
                    <a:lnTo>
                      <a:pt x="153" y="208"/>
                    </a:lnTo>
                    <a:lnTo>
                      <a:pt x="153" y="213"/>
                    </a:lnTo>
                    <a:lnTo>
                      <a:pt x="153" y="217"/>
                    </a:lnTo>
                    <a:lnTo>
                      <a:pt x="153" y="222"/>
                    </a:lnTo>
                    <a:lnTo>
                      <a:pt x="153" y="226"/>
                    </a:lnTo>
                    <a:lnTo>
                      <a:pt x="153" y="235"/>
                    </a:lnTo>
                    <a:lnTo>
                      <a:pt x="153" y="240"/>
                    </a:lnTo>
                    <a:lnTo>
                      <a:pt x="153" y="244"/>
                    </a:lnTo>
                    <a:lnTo>
                      <a:pt x="153" y="244"/>
                    </a:lnTo>
                    <a:lnTo>
                      <a:pt x="149" y="244"/>
                    </a:lnTo>
                    <a:lnTo>
                      <a:pt x="149" y="244"/>
                    </a:lnTo>
                    <a:lnTo>
                      <a:pt x="149" y="240"/>
                    </a:lnTo>
                    <a:lnTo>
                      <a:pt x="149" y="240"/>
                    </a:lnTo>
                    <a:lnTo>
                      <a:pt x="149" y="240"/>
                    </a:lnTo>
                    <a:lnTo>
                      <a:pt x="140" y="240"/>
                    </a:lnTo>
                    <a:lnTo>
                      <a:pt x="135" y="240"/>
                    </a:lnTo>
                    <a:lnTo>
                      <a:pt x="131" y="240"/>
                    </a:lnTo>
                    <a:lnTo>
                      <a:pt x="131" y="240"/>
                    </a:lnTo>
                    <a:lnTo>
                      <a:pt x="131" y="240"/>
                    </a:lnTo>
                    <a:lnTo>
                      <a:pt x="131" y="240"/>
                    </a:lnTo>
                    <a:lnTo>
                      <a:pt x="131" y="240"/>
                    </a:lnTo>
                    <a:lnTo>
                      <a:pt x="126" y="240"/>
                    </a:lnTo>
                    <a:lnTo>
                      <a:pt x="126" y="249"/>
                    </a:lnTo>
                    <a:lnTo>
                      <a:pt x="126" y="249"/>
                    </a:lnTo>
                    <a:lnTo>
                      <a:pt x="126" y="254"/>
                    </a:lnTo>
                    <a:lnTo>
                      <a:pt x="126" y="258"/>
                    </a:lnTo>
                    <a:lnTo>
                      <a:pt x="126" y="258"/>
                    </a:lnTo>
                    <a:lnTo>
                      <a:pt x="126" y="254"/>
                    </a:lnTo>
                    <a:lnTo>
                      <a:pt x="122" y="254"/>
                    </a:lnTo>
                    <a:lnTo>
                      <a:pt x="122" y="249"/>
                    </a:lnTo>
                    <a:lnTo>
                      <a:pt x="122" y="249"/>
                    </a:lnTo>
                    <a:lnTo>
                      <a:pt x="117" y="244"/>
                    </a:lnTo>
                    <a:lnTo>
                      <a:pt x="117" y="244"/>
                    </a:lnTo>
                    <a:lnTo>
                      <a:pt x="117" y="244"/>
                    </a:lnTo>
                    <a:lnTo>
                      <a:pt x="113" y="244"/>
                    </a:lnTo>
                    <a:lnTo>
                      <a:pt x="113" y="244"/>
                    </a:lnTo>
                    <a:lnTo>
                      <a:pt x="108" y="244"/>
                    </a:lnTo>
                    <a:lnTo>
                      <a:pt x="104" y="244"/>
                    </a:lnTo>
                    <a:lnTo>
                      <a:pt x="104" y="244"/>
                    </a:lnTo>
                    <a:lnTo>
                      <a:pt x="99" y="244"/>
                    </a:lnTo>
                    <a:lnTo>
                      <a:pt x="99" y="244"/>
                    </a:lnTo>
                    <a:lnTo>
                      <a:pt x="95" y="240"/>
                    </a:lnTo>
                    <a:lnTo>
                      <a:pt x="95" y="240"/>
                    </a:lnTo>
                    <a:lnTo>
                      <a:pt x="90" y="240"/>
                    </a:lnTo>
                    <a:lnTo>
                      <a:pt x="90" y="240"/>
                    </a:lnTo>
                    <a:lnTo>
                      <a:pt x="90" y="240"/>
                    </a:lnTo>
                    <a:lnTo>
                      <a:pt x="90" y="240"/>
                    </a:lnTo>
                    <a:lnTo>
                      <a:pt x="90" y="240"/>
                    </a:lnTo>
                    <a:lnTo>
                      <a:pt x="90" y="244"/>
                    </a:lnTo>
                    <a:lnTo>
                      <a:pt x="90" y="244"/>
                    </a:lnTo>
                    <a:lnTo>
                      <a:pt x="86" y="244"/>
                    </a:lnTo>
                    <a:lnTo>
                      <a:pt x="86" y="244"/>
                    </a:lnTo>
                    <a:lnTo>
                      <a:pt x="81" y="244"/>
                    </a:lnTo>
                    <a:lnTo>
                      <a:pt x="81" y="249"/>
                    </a:lnTo>
                    <a:lnTo>
                      <a:pt x="81" y="249"/>
                    </a:lnTo>
                    <a:lnTo>
                      <a:pt x="81" y="249"/>
                    </a:lnTo>
                    <a:lnTo>
                      <a:pt x="81" y="254"/>
                    </a:lnTo>
                    <a:lnTo>
                      <a:pt x="77" y="254"/>
                    </a:lnTo>
                    <a:lnTo>
                      <a:pt x="77" y="254"/>
                    </a:lnTo>
                    <a:lnTo>
                      <a:pt x="77" y="258"/>
                    </a:lnTo>
                    <a:lnTo>
                      <a:pt x="77" y="258"/>
                    </a:lnTo>
                    <a:lnTo>
                      <a:pt x="77" y="258"/>
                    </a:lnTo>
                    <a:lnTo>
                      <a:pt x="72" y="258"/>
                    </a:lnTo>
                    <a:lnTo>
                      <a:pt x="68" y="258"/>
                    </a:lnTo>
                    <a:lnTo>
                      <a:pt x="68" y="258"/>
                    </a:lnTo>
                    <a:lnTo>
                      <a:pt x="68" y="258"/>
                    </a:lnTo>
                    <a:lnTo>
                      <a:pt x="68" y="258"/>
                    </a:lnTo>
                    <a:lnTo>
                      <a:pt x="68" y="258"/>
                    </a:lnTo>
                    <a:lnTo>
                      <a:pt x="63" y="258"/>
                    </a:lnTo>
                    <a:lnTo>
                      <a:pt x="63" y="254"/>
                    </a:lnTo>
                    <a:lnTo>
                      <a:pt x="63" y="254"/>
                    </a:lnTo>
                    <a:lnTo>
                      <a:pt x="63" y="249"/>
                    </a:lnTo>
                    <a:lnTo>
                      <a:pt x="63" y="249"/>
                    </a:lnTo>
                    <a:lnTo>
                      <a:pt x="63" y="244"/>
                    </a:lnTo>
                    <a:lnTo>
                      <a:pt x="59" y="244"/>
                    </a:lnTo>
                    <a:lnTo>
                      <a:pt x="59" y="240"/>
                    </a:lnTo>
                    <a:lnTo>
                      <a:pt x="59" y="240"/>
                    </a:lnTo>
                    <a:lnTo>
                      <a:pt x="59" y="235"/>
                    </a:lnTo>
                    <a:lnTo>
                      <a:pt x="54" y="235"/>
                    </a:lnTo>
                    <a:lnTo>
                      <a:pt x="54" y="231"/>
                    </a:lnTo>
                    <a:lnTo>
                      <a:pt x="54" y="231"/>
                    </a:lnTo>
                    <a:lnTo>
                      <a:pt x="49" y="226"/>
                    </a:lnTo>
                    <a:lnTo>
                      <a:pt x="49" y="222"/>
                    </a:lnTo>
                    <a:lnTo>
                      <a:pt x="45" y="222"/>
                    </a:lnTo>
                    <a:lnTo>
                      <a:pt x="45" y="222"/>
                    </a:lnTo>
                    <a:lnTo>
                      <a:pt x="45" y="222"/>
                    </a:lnTo>
                    <a:lnTo>
                      <a:pt x="45" y="217"/>
                    </a:lnTo>
                    <a:lnTo>
                      <a:pt x="45" y="217"/>
                    </a:lnTo>
                    <a:lnTo>
                      <a:pt x="45" y="217"/>
                    </a:lnTo>
                    <a:lnTo>
                      <a:pt x="45" y="217"/>
                    </a:lnTo>
                    <a:lnTo>
                      <a:pt x="45" y="217"/>
                    </a:lnTo>
                    <a:lnTo>
                      <a:pt x="40" y="213"/>
                    </a:lnTo>
                    <a:lnTo>
                      <a:pt x="40" y="213"/>
                    </a:lnTo>
                    <a:lnTo>
                      <a:pt x="40" y="213"/>
                    </a:lnTo>
                    <a:lnTo>
                      <a:pt x="40" y="213"/>
                    </a:lnTo>
                    <a:lnTo>
                      <a:pt x="40" y="208"/>
                    </a:lnTo>
                    <a:lnTo>
                      <a:pt x="40" y="208"/>
                    </a:lnTo>
                    <a:lnTo>
                      <a:pt x="40" y="208"/>
                    </a:lnTo>
                    <a:lnTo>
                      <a:pt x="40" y="208"/>
                    </a:lnTo>
                    <a:lnTo>
                      <a:pt x="40" y="204"/>
                    </a:lnTo>
                    <a:lnTo>
                      <a:pt x="40" y="204"/>
                    </a:lnTo>
                    <a:lnTo>
                      <a:pt x="40" y="204"/>
                    </a:lnTo>
                    <a:lnTo>
                      <a:pt x="40" y="204"/>
                    </a:lnTo>
                    <a:lnTo>
                      <a:pt x="45" y="204"/>
                    </a:lnTo>
                    <a:lnTo>
                      <a:pt x="40" y="204"/>
                    </a:lnTo>
                    <a:lnTo>
                      <a:pt x="40" y="199"/>
                    </a:lnTo>
                    <a:lnTo>
                      <a:pt x="40" y="199"/>
                    </a:lnTo>
                    <a:lnTo>
                      <a:pt x="40" y="199"/>
                    </a:lnTo>
                    <a:lnTo>
                      <a:pt x="40" y="195"/>
                    </a:lnTo>
                    <a:lnTo>
                      <a:pt x="40" y="195"/>
                    </a:lnTo>
                    <a:lnTo>
                      <a:pt x="40" y="195"/>
                    </a:lnTo>
                    <a:lnTo>
                      <a:pt x="40" y="190"/>
                    </a:lnTo>
                    <a:lnTo>
                      <a:pt x="40" y="190"/>
                    </a:lnTo>
                    <a:lnTo>
                      <a:pt x="40" y="190"/>
                    </a:lnTo>
                    <a:lnTo>
                      <a:pt x="40" y="190"/>
                    </a:lnTo>
                    <a:lnTo>
                      <a:pt x="40" y="190"/>
                    </a:lnTo>
                    <a:lnTo>
                      <a:pt x="36" y="186"/>
                    </a:lnTo>
                    <a:lnTo>
                      <a:pt x="36" y="186"/>
                    </a:lnTo>
                    <a:lnTo>
                      <a:pt x="31" y="186"/>
                    </a:lnTo>
                    <a:lnTo>
                      <a:pt x="31" y="186"/>
                    </a:lnTo>
                    <a:lnTo>
                      <a:pt x="31" y="181"/>
                    </a:lnTo>
                    <a:lnTo>
                      <a:pt x="31" y="181"/>
                    </a:lnTo>
                    <a:lnTo>
                      <a:pt x="31" y="177"/>
                    </a:lnTo>
                    <a:lnTo>
                      <a:pt x="31" y="177"/>
                    </a:lnTo>
                    <a:lnTo>
                      <a:pt x="27" y="172"/>
                    </a:lnTo>
                    <a:lnTo>
                      <a:pt x="27" y="172"/>
                    </a:lnTo>
                    <a:lnTo>
                      <a:pt x="27" y="172"/>
                    </a:lnTo>
                    <a:lnTo>
                      <a:pt x="27" y="168"/>
                    </a:lnTo>
                    <a:lnTo>
                      <a:pt x="27" y="168"/>
                    </a:lnTo>
                    <a:lnTo>
                      <a:pt x="27" y="168"/>
                    </a:lnTo>
                    <a:lnTo>
                      <a:pt x="27" y="168"/>
                    </a:lnTo>
                    <a:lnTo>
                      <a:pt x="27" y="168"/>
                    </a:lnTo>
                    <a:lnTo>
                      <a:pt x="22" y="163"/>
                    </a:lnTo>
                    <a:lnTo>
                      <a:pt x="22" y="163"/>
                    </a:lnTo>
                    <a:lnTo>
                      <a:pt x="22" y="159"/>
                    </a:lnTo>
                    <a:lnTo>
                      <a:pt x="18" y="159"/>
                    </a:lnTo>
                    <a:lnTo>
                      <a:pt x="18" y="154"/>
                    </a:lnTo>
                    <a:lnTo>
                      <a:pt x="18" y="154"/>
                    </a:lnTo>
                    <a:lnTo>
                      <a:pt x="18" y="154"/>
                    </a:lnTo>
                    <a:lnTo>
                      <a:pt x="18" y="154"/>
                    </a:lnTo>
                    <a:lnTo>
                      <a:pt x="18" y="154"/>
                    </a:lnTo>
                    <a:lnTo>
                      <a:pt x="13" y="150"/>
                    </a:lnTo>
                    <a:lnTo>
                      <a:pt x="13" y="150"/>
                    </a:lnTo>
                    <a:lnTo>
                      <a:pt x="13" y="150"/>
                    </a:lnTo>
                    <a:lnTo>
                      <a:pt x="18" y="150"/>
                    </a:lnTo>
                    <a:lnTo>
                      <a:pt x="18" y="145"/>
                    </a:lnTo>
                    <a:lnTo>
                      <a:pt x="18" y="145"/>
                    </a:lnTo>
                    <a:lnTo>
                      <a:pt x="18" y="145"/>
                    </a:lnTo>
                    <a:lnTo>
                      <a:pt x="22" y="141"/>
                    </a:lnTo>
                    <a:lnTo>
                      <a:pt x="22" y="141"/>
                    </a:lnTo>
                    <a:lnTo>
                      <a:pt x="22" y="141"/>
                    </a:lnTo>
                    <a:lnTo>
                      <a:pt x="22" y="141"/>
                    </a:lnTo>
                    <a:lnTo>
                      <a:pt x="22" y="141"/>
                    </a:lnTo>
                    <a:lnTo>
                      <a:pt x="22" y="136"/>
                    </a:lnTo>
                    <a:lnTo>
                      <a:pt x="22" y="136"/>
                    </a:lnTo>
                    <a:lnTo>
                      <a:pt x="22" y="136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2" y="131"/>
                    </a:lnTo>
                    <a:lnTo>
                      <a:pt x="22" y="131"/>
                    </a:lnTo>
                    <a:lnTo>
                      <a:pt x="22" y="131"/>
                    </a:lnTo>
                    <a:lnTo>
                      <a:pt x="18" y="131"/>
                    </a:lnTo>
                    <a:lnTo>
                      <a:pt x="18" y="127"/>
                    </a:lnTo>
                    <a:lnTo>
                      <a:pt x="13" y="122"/>
                    </a:lnTo>
                    <a:lnTo>
                      <a:pt x="13" y="118"/>
                    </a:lnTo>
                    <a:lnTo>
                      <a:pt x="13" y="118"/>
                    </a:lnTo>
                    <a:lnTo>
                      <a:pt x="13" y="113"/>
                    </a:lnTo>
                    <a:lnTo>
                      <a:pt x="18" y="113"/>
                    </a:lnTo>
                    <a:lnTo>
                      <a:pt x="18" y="109"/>
                    </a:lnTo>
                    <a:lnTo>
                      <a:pt x="18" y="109"/>
                    </a:lnTo>
                    <a:lnTo>
                      <a:pt x="13" y="109"/>
                    </a:lnTo>
                    <a:lnTo>
                      <a:pt x="13" y="104"/>
                    </a:lnTo>
                    <a:lnTo>
                      <a:pt x="13" y="104"/>
                    </a:lnTo>
                    <a:lnTo>
                      <a:pt x="13" y="104"/>
                    </a:lnTo>
                    <a:lnTo>
                      <a:pt x="13" y="100"/>
                    </a:lnTo>
                    <a:lnTo>
                      <a:pt x="13" y="100"/>
                    </a:lnTo>
                    <a:lnTo>
                      <a:pt x="13" y="100"/>
                    </a:lnTo>
                    <a:lnTo>
                      <a:pt x="13" y="100"/>
                    </a:lnTo>
                    <a:lnTo>
                      <a:pt x="13" y="95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8" y="91"/>
                    </a:lnTo>
                    <a:lnTo>
                      <a:pt x="18" y="91"/>
                    </a:lnTo>
                    <a:lnTo>
                      <a:pt x="18" y="91"/>
                    </a:lnTo>
                    <a:lnTo>
                      <a:pt x="18" y="91"/>
                    </a:lnTo>
                    <a:lnTo>
                      <a:pt x="18" y="91"/>
                    </a:lnTo>
                    <a:lnTo>
                      <a:pt x="18" y="86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3" y="82"/>
                    </a:lnTo>
                    <a:lnTo>
                      <a:pt x="13" y="82"/>
                    </a:lnTo>
                    <a:lnTo>
                      <a:pt x="13" y="77"/>
                    </a:lnTo>
                    <a:lnTo>
                      <a:pt x="18" y="77"/>
                    </a:lnTo>
                    <a:lnTo>
                      <a:pt x="18" y="73"/>
                    </a:lnTo>
                    <a:lnTo>
                      <a:pt x="13" y="68"/>
                    </a:lnTo>
                    <a:lnTo>
                      <a:pt x="13" y="64"/>
                    </a:lnTo>
                    <a:lnTo>
                      <a:pt x="13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5"/>
                    </a:lnTo>
                    <a:lnTo>
                      <a:pt x="13" y="50"/>
                    </a:lnTo>
                    <a:lnTo>
                      <a:pt x="9" y="46"/>
                    </a:lnTo>
                    <a:lnTo>
                      <a:pt x="9" y="41"/>
                    </a:lnTo>
                    <a:lnTo>
                      <a:pt x="4" y="37"/>
                    </a:lnTo>
                    <a:lnTo>
                      <a:pt x="4" y="37"/>
                    </a:lnTo>
                    <a:lnTo>
                      <a:pt x="4" y="32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27"/>
                    </a:lnTo>
                    <a:lnTo>
                      <a:pt x="9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2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31" y="23"/>
                    </a:lnTo>
                    <a:lnTo>
                      <a:pt x="31" y="23"/>
                    </a:lnTo>
                    <a:lnTo>
                      <a:pt x="31" y="23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9" y="9"/>
                    </a:lnTo>
                    <a:lnTo>
                      <a:pt x="49" y="5"/>
                    </a:lnTo>
                    <a:lnTo>
                      <a:pt x="49" y="5"/>
                    </a:lnTo>
                    <a:lnTo>
                      <a:pt x="54" y="5"/>
                    </a:lnTo>
                    <a:lnTo>
                      <a:pt x="54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8" y="5"/>
                    </a:lnTo>
                    <a:lnTo>
                      <a:pt x="68" y="5"/>
                    </a:lnTo>
                    <a:lnTo>
                      <a:pt x="68" y="5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2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04" name="Freeform 25"/>
              <p:cNvSpPr>
                <a:spLocks noEditPoints="1"/>
              </p:cNvSpPr>
              <p:nvPr/>
            </p:nvSpPr>
            <p:spPr bwMode="auto">
              <a:xfrm>
                <a:off x="2225676" y="2787651"/>
                <a:ext cx="1084263" cy="1192213"/>
              </a:xfrm>
              <a:custGeom>
                <a:avLst/>
                <a:gdLst>
                  <a:gd name="T0" fmla="*/ 443 w 683"/>
                  <a:gd name="T1" fmla="*/ 108 h 751"/>
                  <a:gd name="T2" fmla="*/ 421 w 683"/>
                  <a:gd name="T3" fmla="*/ 131 h 751"/>
                  <a:gd name="T4" fmla="*/ 403 w 683"/>
                  <a:gd name="T5" fmla="*/ 113 h 751"/>
                  <a:gd name="T6" fmla="*/ 244 w 683"/>
                  <a:gd name="T7" fmla="*/ 18 h 751"/>
                  <a:gd name="T8" fmla="*/ 244 w 683"/>
                  <a:gd name="T9" fmla="*/ 59 h 751"/>
                  <a:gd name="T10" fmla="*/ 262 w 683"/>
                  <a:gd name="T11" fmla="*/ 72 h 751"/>
                  <a:gd name="T12" fmla="*/ 290 w 683"/>
                  <a:gd name="T13" fmla="*/ 63 h 751"/>
                  <a:gd name="T14" fmla="*/ 308 w 683"/>
                  <a:gd name="T15" fmla="*/ 54 h 751"/>
                  <a:gd name="T16" fmla="*/ 335 w 683"/>
                  <a:gd name="T17" fmla="*/ 59 h 751"/>
                  <a:gd name="T18" fmla="*/ 362 w 683"/>
                  <a:gd name="T19" fmla="*/ 59 h 751"/>
                  <a:gd name="T20" fmla="*/ 389 w 683"/>
                  <a:gd name="T21" fmla="*/ 18 h 751"/>
                  <a:gd name="T22" fmla="*/ 412 w 683"/>
                  <a:gd name="T23" fmla="*/ 81 h 751"/>
                  <a:gd name="T24" fmla="*/ 380 w 683"/>
                  <a:gd name="T25" fmla="*/ 131 h 751"/>
                  <a:gd name="T26" fmla="*/ 421 w 683"/>
                  <a:gd name="T27" fmla="*/ 136 h 751"/>
                  <a:gd name="T28" fmla="*/ 443 w 683"/>
                  <a:gd name="T29" fmla="*/ 118 h 751"/>
                  <a:gd name="T30" fmla="*/ 470 w 683"/>
                  <a:gd name="T31" fmla="*/ 118 h 751"/>
                  <a:gd name="T32" fmla="*/ 506 w 683"/>
                  <a:gd name="T33" fmla="*/ 136 h 751"/>
                  <a:gd name="T34" fmla="*/ 515 w 683"/>
                  <a:gd name="T35" fmla="*/ 149 h 751"/>
                  <a:gd name="T36" fmla="*/ 579 w 683"/>
                  <a:gd name="T37" fmla="*/ 154 h 751"/>
                  <a:gd name="T38" fmla="*/ 674 w 683"/>
                  <a:gd name="T39" fmla="*/ 208 h 751"/>
                  <a:gd name="T40" fmla="*/ 660 w 683"/>
                  <a:gd name="T41" fmla="*/ 298 h 751"/>
                  <a:gd name="T42" fmla="*/ 619 w 683"/>
                  <a:gd name="T43" fmla="*/ 344 h 751"/>
                  <a:gd name="T44" fmla="*/ 619 w 683"/>
                  <a:gd name="T45" fmla="*/ 402 h 751"/>
                  <a:gd name="T46" fmla="*/ 597 w 683"/>
                  <a:gd name="T47" fmla="*/ 502 h 751"/>
                  <a:gd name="T48" fmla="*/ 561 w 683"/>
                  <a:gd name="T49" fmla="*/ 538 h 751"/>
                  <a:gd name="T50" fmla="*/ 529 w 683"/>
                  <a:gd name="T51" fmla="*/ 556 h 751"/>
                  <a:gd name="T52" fmla="*/ 479 w 683"/>
                  <a:gd name="T53" fmla="*/ 588 h 751"/>
                  <a:gd name="T54" fmla="*/ 488 w 683"/>
                  <a:gd name="T55" fmla="*/ 642 h 751"/>
                  <a:gd name="T56" fmla="*/ 461 w 683"/>
                  <a:gd name="T57" fmla="*/ 705 h 751"/>
                  <a:gd name="T58" fmla="*/ 457 w 683"/>
                  <a:gd name="T59" fmla="*/ 687 h 751"/>
                  <a:gd name="T60" fmla="*/ 439 w 683"/>
                  <a:gd name="T61" fmla="*/ 751 h 751"/>
                  <a:gd name="T62" fmla="*/ 416 w 683"/>
                  <a:gd name="T63" fmla="*/ 714 h 751"/>
                  <a:gd name="T64" fmla="*/ 380 w 683"/>
                  <a:gd name="T65" fmla="*/ 696 h 751"/>
                  <a:gd name="T66" fmla="*/ 366 w 683"/>
                  <a:gd name="T67" fmla="*/ 660 h 751"/>
                  <a:gd name="T68" fmla="*/ 384 w 683"/>
                  <a:gd name="T69" fmla="*/ 637 h 751"/>
                  <a:gd name="T70" fmla="*/ 398 w 683"/>
                  <a:gd name="T71" fmla="*/ 606 h 751"/>
                  <a:gd name="T72" fmla="*/ 380 w 683"/>
                  <a:gd name="T73" fmla="*/ 565 h 751"/>
                  <a:gd name="T74" fmla="*/ 353 w 683"/>
                  <a:gd name="T75" fmla="*/ 547 h 751"/>
                  <a:gd name="T76" fmla="*/ 330 w 683"/>
                  <a:gd name="T77" fmla="*/ 533 h 751"/>
                  <a:gd name="T78" fmla="*/ 312 w 683"/>
                  <a:gd name="T79" fmla="*/ 515 h 751"/>
                  <a:gd name="T80" fmla="*/ 308 w 683"/>
                  <a:gd name="T81" fmla="*/ 488 h 751"/>
                  <a:gd name="T82" fmla="*/ 290 w 683"/>
                  <a:gd name="T83" fmla="*/ 439 h 751"/>
                  <a:gd name="T84" fmla="*/ 249 w 683"/>
                  <a:gd name="T85" fmla="*/ 384 h 751"/>
                  <a:gd name="T86" fmla="*/ 204 w 683"/>
                  <a:gd name="T87" fmla="*/ 353 h 751"/>
                  <a:gd name="T88" fmla="*/ 163 w 683"/>
                  <a:gd name="T89" fmla="*/ 335 h 751"/>
                  <a:gd name="T90" fmla="*/ 154 w 683"/>
                  <a:gd name="T91" fmla="*/ 298 h 751"/>
                  <a:gd name="T92" fmla="*/ 104 w 683"/>
                  <a:gd name="T93" fmla="*/ 312 h 751"/>
                  <a:gd name="T94" fmla="*/ 64 w 683"/>
                  <a:gd name="T95" fmla="*/ 307 h 751"/>
                  <a:gd name="T96" fmla="*/ 32 w 683"/>
                  <a:gd name="T97" fmla="*/ 294 h 751"/>
                  <a:gd name="T98" fmla="*/ 5 w 683"/>
                  <a:gd name="T99" fmla="*/ 262 h 751"/>
                  <a:gd name="T100" fmla="*/ 0 w 683"/>
                  <a:gd name="T101" fmla="*/ 240 h 751"/>
                  <a:gd name="T102" fmla="*/ 23 w 683"/>
                  <a:gd name="T103" fmla="*/ 194 h 751"/>
                  <a:gd name="T104" fmla="*/ 64 w 683"/>
                  <a:gd name="T105" fmla="*/ 185 h 751"/>
                  <a:gd name="T106" fmla="*/ 68 w 683"/>
                  <a:gd name="T107" fmla="*/ 113 h 751"/>
                  <a:gd name="T108" fmla="*/ 73 w 683"/>
                  <a:gd name="T109" fmla="*/ 90 h 751"/>
                  <a:gd name="T110" fmla="*/ 68 w 683"/>
                  <a:gd name="T111" fmla="*/ 81 h 751"/>
                  <a:gd name="T112" fmla="*/ 100 w 683"/>
                  <a:gd name="T113" fmla="*/ 68 h 751"/>
                  <a:gd name="T114" fmla="*/ 141 w 683"/>
                  <a:gd name="T115" fmla="*/ 81 h 751"/>
                  <a:gd name="T116" fmla="*/ 168 w 683"/>
                  <a:gd name="T117" fmla="*/ 63 h 751"/>
                  <a:gd name="T118" fmla="*/ 154 w 683"/>
                  <a:gd name="T119" fmla="*/ 18 h 751"/>
                  <a:gd name="T120" fmla="*/ 195 w 683"/>
                  <a:gd name="T121" fmla="*/ 23 h 751"/>
                  <a:gd name="T122" fmla="*/ 231 w 683"/>
                  <a:gd name="T123" fmla="*/ 0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83" h="751">
                    <a:moveTo>
                      <a:pt x="380" y="131"/>
                    </a:moveTo>
                    <a:lnTo>
                      <a:pt x="380" y="131"/>
                    </a:lnTo>
                    <a:lnTo>
                      <a:pt x="380" y="131"/>
                    </a:lnTo>
                    <a:lnTo>
                      <a:pt x="380" y="127"/>
                    </a:lnTo>
                    <a:lnTo>
                      <a:pt x="384" y="122"/>
                    </a:lnTo>
                    <a:lnTo>
                      <a:pt x="384" y="118"/>
                    </a:lnTo>
                    <a:lnTo>
                      <a:pt x="384" y="113"/>
                    </a:lnTo>
                    <a:lnTo>
                      <a:pt x="389" y="113"/>
                    </a:lnTo>
                    <a:lnTo>
                      <a:pt x="389" y="113"/>
                    </a:lnTo>
                    <a:lnTo>
                      <a:pt x="393" y="113"/>
                    </a:lnTo>
                    <a:lnTo>
                      <a:pt x="389" y="122"/>
                    </a:lnTo>
                    <a:lnTo>
                      <a:pt x="389" y="122"/>
                    </a:lnTo>
                    <a:lnTo>
                      <a:pt x="389" y="127"/>
                    </a:lnTo>
                    <a:lnTo>
                      <a:pt x="384" y="127"/>
                    </a:lnTo>
                    <a:lnTo>
                      <a:pt x="380" y="131"/>
                    </a:lnTo>
                    <a:moveTo>
                      <a:pt x="421" y="108"/>
                    </a:moveTo>
                    <a:lnTo>
                      <a:pt x="421" y="108"/>
                    </a:lnTo>
                    <a:lnTo>
                      <a:pt x="421" y="108"/>
                    </a:lnTo>
                    <a:lnTo>
                      <a:pt x="425" y="104"/>
                    </a:lnTo>
                    <a:lnTo>
                      <a:pt x="425" y="104"/>
                    </a:lnTo>
                    <a:lnTo>
                      <a:pt x="425" y="104"/>
                    </a:lnTo>
                    <a:lnTo>
                      <a:pt x="430" y="104"/>
                    </a:lnTo>
                    <a:lnTo>
                      <a:pt x="434" y="104"/>
                    </a:lnTo>
                    <a:lnTo>
                      <a:pt x="439" y="108"/>
                    </a:lnTo>
                    <a:lnTo>
                      <a:pt x="439" y="108"/>
                    </a:lnTo>
                    <a:lnTo>
                      <a:pt x="439" y="108"/>
                    </a:lnTo>
                    <a:lnTo>
                      <a:pt x="443" y="108"/>
                    </a:lnTo>
                    <a:lnTo>
                      <a:pt x="443" y="108"/>
                    </a:lnTo>
                    <a:lnTo>
                      <a:pt x="439" y="108"/>
                    </a:lnTo>
                    <a:lnTo>
                      <a:pt x="439" y="113"/>
                    </a:lnTo>
                    <a:lnTo>
                      <a:pt x="439" y="113"/>
                    </a:lnTo>
                    <a:lnTo>
                      <a:pt x="439" y="113"/>
                    </a:lnTo>
                    <a:lnTo>
                      <a:pt x="439" y="113"/>
                    </a:lnTo>
                    <a:lnTo>
                      <a:pt x="439" y="118"/>
                    </a:lnTo>
                    <a:lnTo>
                      <a:pt x="439" y="118"/>
                    </a:lnTo>
                    <a:lnTo>
                      <a:pt x="439" y="118"/>
                    </a:lnTo>
                    <a:lnTo>
                      <a:pt x="439" y="122"/>
                    </a:lnTo>
                    <a:lnTo>
                      <a:pt x="434" y="122"/>
                    </a:lnTo>
                    <a:lnTo>
                      <a:pt x="434" y="122"/>
                    </a:lnTo>
                    <a:lnTo>
                      <a:pt x="434" y="127"/>
                    </a:lnTo>
                    <a:lnTo>
                      <a:pt x="434" y="127"/>
                    </a:lnTo>
                    <a:lnTo>
                      <a:pt x="434" y="127"/>
                    </a:lnTo>
                    <a:lnTo>
                      <a:pt x="434" y="127"/>
                    </a:lnTo>
                    <a:lnTo>
                      <a:pt x="434" y="127"/>
                    </a:lnTo>
                    <a:lnTo>
                      <a:pt x="430" y="131"/>
                    </a:lnTo>
                    <a:lnTo>
                      <a:pt x="430" y="131"/>
                    </a:lnTo>
                    <a:lnTo>
                      <a:pt x="430" y="131"/>
                    </a:lnTo>
                    <a:lnTo>
                      <a:pt x="430" y="131"/>
                    </a:lnTo>
                    <a:lnTo>
                      <a:pt x="430" y="131"/>
                    </a:lnTo>
                    <a:lnTo>
                      <a:pt x="425" y="131"/>
                    </a:lnTo>
                    <a:lnTo>
                      <a:pt x="425" y="131"/>
                    </a:lnTo>
                    <a:lnTo>
                      <a:pt x="425" y="131"/>
                    </a:lnTo>
                    <a:lnTo>
                      <a:pt x="425" y="131"/>
                    </a:lnTo>
                    <a:lnTo>
                      <a:pt x="425" y="131"/>
                    </a:lnTo>
                    <a:lnTo>
                      <a:pt x="421" y="131"/>
                    </a:lnTo>
                    <a:lnTo>
                      <a:pt x="421" y="131"/>
                    </a:lnTo>
                    <a:lnTo>
                      <a:pt x="421" y="136"/>
                    </a:lnTo>
                    <a:lnTo>
                      <a:pt x="421" y="136"/>
                    </a:lnTo>
                    <a:lnTo>
                      <a:pt x="416" y="136"/>
                    </a:lnTo>
                    <a:lnTo>
                      <a:pt x="416" y="136"/>
                    </a:lnTo>
                    <a:lnTo>
                      <a:pt x="416" y="136"/>
                    </a:lnTo>
                    <a:lnTo>
                      <a:pt x="412" y="136"/>
                    </a:lnTo>
                    <a:lnTo>
                      <a:pt x="412" y="136"/>
                    </a:lnTo>
                    <a:lnTo>
                      <a:pt x="412" y="136"/>
                    </a:lnTo>
                    <a:lnTo>
                      <a:pt x="407" y="136"/>
                    </a:lnTo>
                    <a:lnTo>
                      <a:pt x="407" y="136"/>
                    </a:lnTo>
                    <a:lnTo>
                      <a:pt x="403" y="136"/>
                    </a:lnTo>
                    <a:lnTo>
                      <a:pt x="403" y="136"/>
                    </a:lnTo>
                    <a:lnTo>
                      <a:pt x="403" y="136"/>
                    </a:lnTo>
                    <a:lnTo>
                      <a:pt x="403" y="131"/>
                    </a:lnTo>
                    <a:lnTo>
                      <a:pt x="403" y="127"/>
                    </a:lnTo>
                    <a:lnTo>
                      <a:pt x="398" y="127"/>
                    </a:lnTo>
                    <a:lnTo>
                      <a:pt x="398" y="122"/>
                    </a:lnTo>
                    <a:lnTo>
                      <a:pt x="403" y="122"/>
                    </a:lnTo>
                    <a:lnTo>
                      <a:pt x="403" y="122"/>
                    </a:lnTo>
                    <a:lnTo>
                      <a:pt x="403" y="122"/>
                    </a:lnTo>
                    <a:lnTo>
                      <a:pt x="403" y="122"/>
                    </a:lnTo>
                    <a:lnTo>
                      <a:pt x="403" y="122"/>
                    </a:lnTo>
                    <a:lnTo>
                      <a:pt x="403" y="122"/>
                    </a:lnTo>
                    <a:lnTo>
                      <a:pt x="398" y="122"/>
                    </a:lnTo>
                    <a:lnTo>
                      <a:pt x="398" y="118"/>
                    </a:lnTo>
                    <a:lnTo>
                      <a:pt x="398" y="113"/>
                    </a:lnTo>
                    <a:lnTo>
                      <a:pt x="398" y="113"/>
                    </a:lnTo>
                    <a:lnTo>
                      <a:pt x="403" y="113"/>
                    </a:lnTo>
                    <a:lnTo>
                      <a:pt x="403" y="113"/>
                    </a:lnTo>
                    <a:lnTo>
                      <a:pt x="403" y="113"/>
                    </a:lnTo>
                    <a:lnTo>
                      <a:pt x="403" y="108"/>
                    </a:lnTo>
                    <a:lnTo>
                      <a:pt x="403" y="108"/>
                    </a:lnTo>
                    <a:lnTo>
                      <a:pt x="407" y="104"/>
                    </a:lnTo>
                    <a:lnTo>
                      <a:pt x="407" y="104"/>
                    </a:lnTo>
                    <a:lnTo>
                      <a:pt x="421" y="108"/>
                    </a:lnTo>
                    <a:moveTo>
                      <a:pt x="235" y="0"/>
                    </a:moveTo>
                    <a:lnTo>
                      <a:pt x="235" y="0"/>
                    </a:lnTo>
                    <a:lnTo>
                      <a:pt x="235" y="0"/>
                    </a:lnTo>
                    <a:lnTo>
                      <a:pt x="240" y="0"/>
                    </a:lnTo>
                    <a:lnTo>
                      <a:pt x="240" y="0"/>
                    </a:lnTo>
                    <a:lnTo>
                      <a:pt x="240" y="0"/>
                    </a:lnTo>
                    <a:lnTo>
                      <a:pt x="240" y="5"/>
                    </a:lnTo>
                    <a:lnTo>
                      <a:pt x="240" y="5"/>
                    </a:lnTo>
                    <a:lnTo>
                      <a:pt x="240" y="5"/>
                    </a:lnTo>
                    <a:lnTo>
                      <a:pt x="240" y="9"/>
                    </a:lnTo>
                    <a:lnTo>
                      <a:pt x="240" y="9"/>
                    </a:lnTo>
                    <a:lnTo>
                      <a:pt x="240" y="14"/>
                    </a:lnTo>
                    <a:lnTo>
                      <a:pt x="235" y="14"/>
                    </a:lnTo>
                    <a:lnTo>
                      <a:pt x="235" y="14"/>
                    </a:lnTo>
                    <a:lnTo>
                      <a:pt x="235" y="14"/>
                    </a:lnTo>
                    <a:lnTo>
                      <a:pt x="240" y="14"/>
                    </a:lnTo>
                    <a:lnTo>
                      <a:pt x="240" y="14"/>
                    </a:lnTo>
                    <a:lnTo>
                      <a:pt x="240" y="14"/>
                    </a:lnTo>
                    <a:lnTo>
                      <a:pt x="240" y="14"/>
                    </a:lnTo>
                    <a:lnTo>
                      <a:pt x="244" y="14"/>
                    </a:lnTo>
                    <a:lnTo>
                      <a:pt x="244" y="18"/>
                    </a:lnTo>
                    <a:lnTo>
                      <a:pt x="244" y="18"/>
                    </a:lnTo>
                    <a:lnTo>
                      <a:pt x="244" y="18"/>
                    </a:lnTo>
                    <a:lnTo>
                      <a:pt x="244" y="18"/>
                    </a:lnTo>
                    <a:lnTo>
                      <a:pt x="244" y="18"/>
                    </a:lnTo>
                    <a:lnTo>
                      <a:pt x="244" y="23"/>
                    </a:lnTo>
                    <a:lnTo>
                      <a:pt x="244" y="23"/>
                    </a:lnTo>
                    <a:lnTo>
                      <a:pt x="244" y="23"/>
                    </a:lnTo>
                    <a:lnTo>
                      <a:pt x="244" y="23"/>
                    </a:lnTo>
                    <a:lnTo>
                      <a:pt x="249" y="27"/>
                    </a:lnTo>
                    <a:lnTo>
                      <a:pt x="249" y="27"/>
                    </a:lnTo>
                    <a:lnTo>
                      <a:pt x="249" y="27"/>
                    </a:lnTo>
                    <a:lnTo>
                      <a:pt x="244" y="27"/>
                    </a:lnTo>
                    <a:lnTo>
                      <a:pt x="244" y="27"/>
                    </a:lnTo>
                    <a:lnTo>
                      <a:pt x="244" y="32"/>
                    </a:lnTo>
                    <a:lnTo>
                      <a:pt x="244" y="32"/>
                    </a:lnTo>
                    <a:lnTo>
                      <a:pt x="240" y="32"/>
                    </a:lnTo>
                    <a:lnTo>
                      <a:pt x="240" y="36"/>
                    </a:lnTo>
                    <a:lnTo>
                      <a:pt x="240" y="36"/>
                    </a:lnTo>
                    <a:lnTo>
                      <a:pt x="240" y="36"/>
                    </a:lnTo>
                    <a:lnTo>
                      <a:pt x="240" y="36"/>
                    </a:lnTo>
                    <a:lnTo>
                      <a:pt x="240" y="41"/>
                    </a:lnTo>
                    <a:lnTo>
                      <a:pt x="240" y="45"/>
                    </a:lnTo>
                    <a:lnTo>
                      <a:pt x="240" y="50"/>
                    </a:lnTo>
                    <a:lnTo>
                      <a:pt x="240" y="50"/>
                    </a:lnTo>
                    <a:lnTo>
                      <a:pt x="240" y="50"/>
                    </a:lnTo>
                    <a:lnTo>
                      <a:pt x="240" y="54"/>
                    </a:lnTo>
                    <a:lnTo>
                      <a:pt x="240" y="59"/>
                    </a:lnTo>
                    <a:lnTo>
                      <a:pt x="244" y="59"/>
                    </a:lnTo>
                    <a:lnTo>
                      <a:pt x="244" y="59"/>
                    </a:lnTo>
                    <a:lnTo>
                      <a:pt x="244" y="63"/>
                    </a:lnTo>
                    <a:lnTo>
                      <a:pt x="244" y="63"/>
                    </a:lnTo>
                    <a:lnTo>
                      <a:pt x="244" y="68"/>
                    </a:lnTo>
                    <a:lnTo>
                      <a:pt x="244" y="68"/>
                    </a:lnTo>
                    <a:lnTo>
                      <a:pt x="244" y="68"/>
                    </a:lnTo>
                    <a:lnTo>
                      <a:pt x="244" y="68"/>
                    </a:lnTo>
                    <a:lnTo>
                      <a:pt x="244" y="68"/>
                    </a:lnTo>
                    <a:lnTo>
                      <a:pt x="244" y="68"/>
                    </a:lnTo>
                    <a:lnTo>
                      <a:pt x="244" y="68"/>
                    </a:lnTo>
                    <a:lnTo>
                      <a:pt x="249" y="72"/>
                    </a:lnTo>
                    <a:lnTo>
                      <a:pt x="249" y="72"/>
                    </a:lnTo>
                    <a:lnTo>
                      <a:pt x="249" y="72"/>
                    </a:lnTo>
                    <a:lnTo>
                      <a:pt x="249" y="72"/>
                    </a:lnTo>
                    <a:lnTo>
                      <a:pt x="253" y="77"/>
                    </a:lnTo>
                    <a:lnTo>
                      <a:pt x="253" y="77"/>
                    </a:lnTo>
                    <a:lnTo>
                      <a:pt x="258" y="77"/>
                    </a:lnTo>
                    <a:lnTo>
                      <a:pt x="258" y="77"/>
                    </a:lnTo>
                    <a:lnTo>
                      <a:pt x="258" y="77"/>
                    </a:lnTo>
                    <a:lnTo>
                      <a:pt x="258" y="77"/>
                    </a:lnTo>
                    <a:lnTo>
                      <a:pt x="258" y="77"/>
                    </a:lnTo>
                    <a:lnTo>
                      <a:pt x="262" y="77"/>
                    </a:lnTo>
                    <a:lnTo>
                      <a:pt x="262" y="77"/>
                    </a:lnTo>
                    <a:lnTo>
                      <a:pt x="262" y="77"/>
                    </a:lnTo>
                    <a:lnTo>
                      <a:pt x="262" y="77"/>
                    </a:lnTo>
                    <a:lnTo>
                      <a:pt x="262" y="77"/>
                    </a:lnTo>
                    <a:lnTo>
                      <a:pt x="262" y="77"/>
                    </a:lnTo>
                    <a:lnTo>
                      <a:pt x="262" y="72"/>
                    </a:lnTo>
                    <a:lnTo>
                      <a:pt x="267" y="72"/>
                    </a:lnTo>
                    <a:lnTo>
                      <a:pt x="267" y="72"/>
                    </a:lnTo>
                    <a:lnTo>
                      <a:pt x="267" y="72"/>
                    </a:lnTo>
                    <a:lnTo>
                      <a:pt x="267" y="72"/>
                    </a:lnTo>
                    <a:lnTo>
                      <a:pt x="267" y="72"/>
                    </a:lnTo>
                    <a:lnTo>
                      <a:pt x="267" y="72"/>
                    </a:lnTo>
                    <a:lnTo>
                      <a:pt x="267" y="72"/>
                    </a:lnTo>
                    <a:lnTo>
                      <a:pt x="267" y="72"/>
                    </a:lnTo>
                    <a:lnTo>
                      <a:pt x="272" y="72"/>
                    </a:lnTo>
                    <a:lnTo>
                      <a:pt x="272" y="72"/>
                    </a:lnTo>
                    <a:lnTo>
                      <a:pt x="272" y="72"/>
                    </a:lnTo>
                    <a:lnTo>
                      <a:pt x="272" y="72"/>
                    </a:lnTo>
                    <a:lnTo>
                      <a:pt x="272" y="72"/>
                    </a:lnTo>
                    <a:lnTo>
                      <a:pt x="272" y="72"/>
                    </a:lnTo>
                    <a:lnTo>
                      <a:pt x="272" y="68"/>
                    </a:lnTo>
                    <a:lnTo>
                      <a:pt x="276" y="68"/>
                    </a:lnTo>
                    <a:lnTo>
                      <a:pt x="276" y="68"/>
                    </a:lnTo>
                    <a:lnTo>
                      <a:pt x="276" y="68"/>
                    </a:lnTo>
                    <a:lnTo>
                      <a:pt x="281" y="68"/>
                    </a:lnTo>
                    <a:lnTo>
                      <a:pt x="281" y="68"/>
                    </a:lnTo>
                    <a:lnTo>
                      <a:pt x="281" y="68"/>
                    </a:lnTo>
                    <a:lnTo>
                      <a:pt x="281" y="68"/>
                    </a:lnTo>
                    <a:lnTo>
                      <a:pt x="285" y="63"/>
                    </a:lnTo>
                    <a:lnTo>
                      <a:pt x="285" y="63"/>
                    </a:lnTo>
                    <a:lnTo>
                      <a:pt x="285" y="63"/>
                    </a:lnTo>
                    <a:lnTo>
                      <a:pt x="285" y="63"/>
                    </a:lnTo>
                    <a:lnTo>
                      <a:pt x="290" y="63"/>
                    </a:lnTo>
                    <a:lnTo>
                      <a:pt x="290" y="63"/>
                    </a:lnTo>
                    <a:lnTo>
                      <a:pt x="290" y="63"/>
                    </a:lnTo>
                    <a:lnTo>
                      <a:pt x="290" y="63"/>
                    </a:lnTo>
                    <a:lnTo>
                      <a:pt x="290" y="63"/>
                    </a:lnTo>
                    <a:lnTo>
                      <a:pt x="290" y="63"/>
                    </a:lnTo>
                    <a:lnTo>
                      <a:pt x="294" y="63"/>
                    </a:lnTo>
                    <a:lnTo>
                      <a:pt x="294" y="63"/>
                    </a:lnTo>
                    <a:lnTo>
                      <a:pt x="294" y="63"/>
                    </a:lnTo>
                    <a:lnTo>
                      <a:pt x="299" y="63"/>
                    </a:lnTo>
                    <a:lnTo>
                      <a:pt x="299" y="63"/>
                    </a:lnTo>
                    <a:lnTo>
                      <a:pt x="299" y="63"/>
                    </a:lnTo>
                    <a:lnTo>
                      <a:pt x="299" y="63"/>
                    </a:lnTo>
                    <a:lnTo>
                      <a:pt x="299" y="63"/>
                    </a:lnTo>
                    <a:lnTo>
                      <a:pt x="303" y="63"/>
                    </a:lnTo>
                    <a:lnTo>
                      <a:pt x="303" y="63"/>
                    </a:lnTo>
                    <a:lnTo>
                      <a:pt x="308" y="68"/>
                    </a:lnTo>
                    <a:lnTo>
                      <a:pt x="308" y="68"/>
                    </a:lnTo>
                    <a:lnTo>
                      <a:pt x="308" y="63"/>
                    </a:lnTo>
                    <a:lnTo>
                      <a:pt x="308" y="63"/>
                    </a:lnTo>
                    <a:lnTo>
                      <a:pt x="308" y="63"/>
                    </a:lnTo>
                    <a:lnTo>
                      <a:pt x="308" y="63"/>
                    </a:lnTo>
                    <a:lnTo>
                      <a:pt x="308" y="59"/>
                    </a:lnTo>
                    <a:lnTo>
                      <a:pt x="308" y="59"/>
                    </a:lnTo>
                    <a:lnTo>
                      <a:pt x="308" y="59"/>
                    </a:lnTo>
                    <a:lnTo>
                      <a:pt x="308" y="59"/>
                    </a:lnTo>
                    <a:lnTo>
                      <a:pt x="308" y="59"/>
                    </a:lnTo>
                    <a:lnTo>
                      <a:pt x="308" y="54"/>
                    </a:lnTo>
                    <a:lnTo>
                      <a:pt x="308" y="54"/>
                    </a:lnTo>
                    <a:lnTo>
                      <a:pt x="308" y="54"/>
                    </a:lnTo>
                    <a:lnTo>
                      <a:pt x="308" y="54"/>
                    </a:lnTo>
                    <a:lnTo>
                      <a:pt x="308" y="54"/>
                    </a:lnTo>
                    <a:lnTo>
                      <a:pt x="308" y="54"/>
                    </a:lnTo>
                    <a:lnTo>
                      <a:pt x="312" y="54"/>
                    </a:lnTo>
                    <a:lnTo>
                      <a:pt x="312" y="54"/>
                    </a:lnTo>
                    <a:lnTo>
                      <a:pt x="312" y="54"/>
                    </a:lnTo>
                    <a:lnTo>
                      <a:pt x="321" y="54"/>
                    </a:lnTo>
                    <a:lnTo>
                      <a:pt x="321" y="54"/>
                    </a:lnTo>
                    <a:lnTo>
                      <a:pt x="321" y="54"/>
                    </a:lnTo>
                    <a:lnTo>
                      <a:pt x="321" y="54"/>
                    </a:lnTo>
                    <a:lnTo>
                      <a:pt x="321" y="54"/>
                    </a:lnTo>
                    <a:lnTo>
                      <a:pt x="326" y="54"/>
                    </a:lnTo>
                    <a:lnTo>
                      <a:pt x="326" y="54"/>
                    </a:lnTo>
                    <a:lnTo>
                      <a:pt x="326" y="50"/>
                    </a:lnTo>
                    <a:lnTo>
                      <a:pt x="326" y="50"/>
                    </a:lnTo>
                    <a:lnTo>
                      <a:pt x="326" y="54"/>
                    </a:lnTo>
                    <a:lnTo>
                      <a:pt x="326" y="54"/>
                    </a:lnTo>
                    <a:lnTo>
                      <a:pt x="330" y="54"/>
                    </a:lnTo>
                    <a:lnTo>
                      <a:pt x="330" y="54"/>
                    </a:lnTo>
                    <a:lnTo>
                      <a:pt x="330" y="54"/>
                    </a:lnTo>
                    <a:lnTo>
                      <a:pt x="330" y="54"/>
                    </a:lnTo>
                    <a:lnTo>
                      <a:pt x="330" y="54"/>
                    </a:lnTo>
                    <a:lnTo>
                      <a:pt x="330" y="54"/>
                    </a:lnTo>
                    <a:lnTo>
                      <a:pt x="330" y="59"/>
                    </a:lnTo>
                    <a:lnTo>
                      <a:pt x="335" y="59"/>
                    </a:lnTo>
                    <a:lnTo>
                      <a:pt x="335" y="59"/>
                    </a:lnTo>
                    <a:lnTo>
                      <a:pt x="335" y="59"/>
                    </a:lnTo>
                    <a:lnTo>
                      <a:pt x="335" y="59"/>
                    </a:lnTo>
                    <a:lnTo>
                      <a:pt x="335" y="59"/>
                    </a:lnTo>
                    <a:lnTo>
                      <a:pt x="339" y="59"/>
                    </a:lnTo>
                    <a:lnTo>
                      <a:pt x="339" y="59"/>
                    </a:lnTo>
                    <a:lnTo>
                      <a:pt x="339" y="59"/>
                    </a:lnTo>
                    <a:lnTo>
                      <a:pt x="339" y="59"/>
                    </a:lnTo>
                    <a:lnTo>
                      <a:pt x="344" y="59"/>
                    </a:lnTo>
                    <a:lnTo>
                      <a:pt x="344" y="59"/>
                    </a:lnTo>
                    <a:lnTo>
                      <a:pt x="344" y="59"/>
                    </a:lnTo>
                    <a:lnTo>
                      <a:pt x="348" y="59"/>
                    </a:lnTo>
                    <a:lnTo>
                      <a:pt x="348" y="59"/>
                    </a:lnTo>
                    <a:lnTo>
                      <a:pt x="348" y="54"/>
                    </a:lnTo>
                    <a:lnTo>
                      <a:pt x="348" y="59"/>
                    </a:lnTo>
                    <a:lnTo>
                      <a:pt x="348" y="59"/>
                    </a:lnTo>
                    <a:lnTo>
                      <a:pt x="348" y="59"/>
                    </a:lnTo>
                    <a:lnTo>
                      <a:pt x="353" y="59"/>
                    </a:lnTo>
                    <a:lnTo>
                      <a:pt x="353" y="59"/>
                    </a:lnTo>
                    <a:lnTo>
                      <a:pt x="353" y="59"/>
                    </a:lnTo>
                    <a:lnTo>
                      <a:pt x="353" y="59"/>
                    </a:lnTo>
                    <a:lnTo>
                      <a:pt x="353" y="59"/>
                    </a:lnTo>
                    <a:lnTo>
                      <a:pt x="357" y="59"/>
                    </a:lnTo>
                    <a:lnTo>
                      <a:pt x="357" y="59"/>
                    </a:lnTo>
                    <a:lnTo>
                      <a:pt x="357" y="59"/>
                    </a:lnTo>
                    <a:lnTo>
                      <a:pt x="357" y="59"/>
                    </a:lnTo>
                    <a:lnTo>
                      <a:pt x="357" y="59"/>
                    </a:lnTo>
                    <a:lnTo>
                      <a:pt x="362" y="59"/>
                    </a:lnTo>
                    <a:lnTo>
                      <a:pt x="362" y="59"/>
                    </a:lnTo>
                    <a:lnTo>
                      <a:pt x="362" y="59"/>
                    </a:lnTo>
                    <a:lnTo>
                      <a:pt x="362" y="59"/>
                    </a:lnTo>
                    <a:lnTo>
                      <a:pt x="366" y="59"/>
                    </a:lnTo>
                    <a:lnTo>
                      <a:pt x="366" y="54"/>
                    </a:lnTo>
                    <a:lnTo>
                      <a:pt x="366" y="54"/>
                    </a:lnTo>
                    <a:lnTo>
                      <a:pt x="366" y="54"/>
                    </a:lnTo>
                    <a:lnTo>
                      <a:pt x="366" y="54"/>
                    </a:lnTo>
                    <a:lnTo>
                      <a:pt x="371" y="50"/>
                    </a:lnTo>
                    <a:lnTo>
                      <a:pt x="371" y="45"/>
                    </a:lnTo>
                    <a:lnTo>
                      <a:pt x="371" y="45"/>
                    </a:lnTo>
                    <a:lnTo>
                      <a:pt x="371" y="45"/>
                    </a:lnTo>
                    <a:lnTo>
                      <a:pt x="371" y="45"/>
                    </a:lnTo>
                    <a:lnTo>
                      <a:pt x="371" y="41"/>
                    </a:lnTo>
                    <a:lnTo>
                      <a:pt x="371" y="41"/>
                    </a:lnTo>
                    <a:lnTo>
                      <a:pt x="375" y="41"/>
                    </a:lnTo>
                    <a:lnTo>
                      <a:pt x="375" y="41"/>
                    </a:lnTo>
                    <a:lnTo>
                      <a:pt x="375" y="36"/>
                    </a:lnTo>
                    <a:lnTo>
                      <a:pt x="375" y="36"/>
                    </a:lnTo>
                    <a:lnTo>
                      <a:pt x="380" y="32"/>
                    </a:lnTo>
                    <a:lnTo>
                      <a:pt x="380" y="32"/>
                    </a:lnTo>
                    <a:lnTo>
                      <a:pt x="380" y="32"/>
                    </a:lnTo>
                    <a:lnTo>
                      <a:pt x="380" y="27"/>
                    </a:lnTo>
                    <a:lnTo>
                      <a:pt x="380" y="27"/>
                    </a:lnTo>
                    <a:lnTo>
                      <a:pt x="380" y="27"/>
                    </a:lnTo>
                    <a:lnTo>
                      <a:pt x="384" y="27"/>
                    </a:lnTo>
                    <a:lnTo>
                      <a:pt x="384" y="27"/>
                    </a:lnTo>
                    <a:lnTo>
                      <a:pt x="384" y="23"/>
                    </a:lnTo>
                    <a:lnTo>
                      <a:pt x="384" y="23"/>
                    </a:lnTo>
                    <a:lnTo>
                      <a:pt x="389" y="23"/>
                    </a:lnTo>
                    <a:lnTo>
                      <a:pt x="389" y="18"/>
                    </a:lnTo>
                    <a:lnTo>
                      <a:pt x="389" y="18"/>
                    </a:lnTo>
                    <a:lnTo>
                      <a:pt x="389" y="23"/>
                    </a:lnTo>
                    <a:lnTo>
                      <a:pt x="393" y="23"/>
                    </a:lnTo>
                    <a:lnTo>
                      <a:pt x="393" y="32"/>
                    </a:lnTo>
                    <a:lnTo>
                      <a:pt x="393" y="41"/>
                    </a:lnTo>
                    <a:lnTo>
                      <a:pt x="398" y="41"/>
                    </a:lnTo>
                    <a:lnTo>
                      <a:pt x="398" y="50"/>
                    </a:lnTo>
                    <a:lnTo>
                      <a:pt x="398" y="54"/>
                    </a:lnTo>
                    <a:lnTo>
                      <a:pt x="398" y="54"/>
                    </a:lnTo>
                    <a:lnTo>
                      <a:pt x="403" y="54"/>
                    </a:lnTo>
                    <a:lnTo>
                      <a:pt x="403" y="59"/>
                    </a:lnTo>
                    <a:lnTo>
                      <a:pt x="403" y="59"/>
                    </a:lnTo>
                    <a:lnTo>
                      <a:pt x="403" y="59"/>
                    </a:lnTo>
                    <a:lnTo>
                      <a:pt x="403" y="59"/>
                    </a:lnTo>
                    <a:lnTo>
                      <a:pt x="403" y="63"/>
                    </a:lnTo>
                    <a:lnTo>
                      <a:pt x="403" y="63"/>
                    </a:lnTo>
                    <a:lnTo>
                      <a:pt x="403" y="63"/>
                    </a:lnTo>
                    <a:lnTo>
                      <a:pt x="407" y="68"/>
                    </a:lnTo>
                    <a:lnTo>
                      <a:pt x="407" y="68"/>
                    </a:lnTo>
                    <a:lnTo>
                      <a:pt x="412" y="68"/>
                    </a:lnTo>
                    <a:lnTo>
                      <a:pt x="412" y="68"/>
                    </a:lnTo>
                    <a:lnTo>
                      <a:pt x="412" y="68"/>
                    </a:lnTo>
                    <a:lnTo>
                      <a:pt x="416" y="77"/>
                    </a:lnTo>
                    <a:lnTo>
                      <a:pt x="416" y="77"/>
                    </a:lnTo>
                    <a:lnTo>
                      <a:pt x="416" y="81"/>
                    </a:lnTo>
                    <a:lnTo>
                      <a:pt x="416" y="81"/>
                    </a:lnTo>
                    <a:lnTo>
                      <a:pt x="412" y="81"/>
                    </a:lnTo>
                    <a:lnTo>
                      <a:pt x="412" y="81"/>
                    </a:lnTo>
                    <a:lnTo>
                      <a:pt x="407" y="86"/>
                    </a:lnTo>
                    <a:lnTo>
                      <a:pt x="407" y="86"/>
                    </a:lnTo>
                    <a:lnTo>
                      <a:pt x="407" y="90"/>
                    </a:lnTo>
                    <a:lnTo>
                      <a:pt x="403" y="95"/>
                    </a:lnTo>
                    <a:lnTo>
                      <a:pt x="398" y="99"/>
                    </a:lnTo>
                    <a:lnTo>
                      <a:pt x="398" y="99"/>
                    </a:lnTo>
                    <a:lnTo>
                      <a:pt x="398" y="99"/>
                    </a:lnTo>
                    <a:lnTo>
                      <a:pt x="398" y="99"/>
                    </a:lnTo>
                    <a:lnTo>
                      <a:pt x="393" y="104"/>
                    </a:lnTo>
                    <a:lnTo>
                      <a:pt x="389" y="104"/>
                    </a:lnTo>
                    <a:lnTo>
                      <a:pt x="389" y="104"/>
                    </a:lnTo>
                    <a:lnTo>
                      <a:pt x="389" y="108"/>
                    </a:lnTo>
                    <a:lnTo>
                      <a:pt x="389" y="113"/>
                    </a:lnTo>
                    <a:lnTo>
                      <a:pt x="384" y="113"/>
                    </a:lnTo>
                    <a:lnTo>
                      <a:pt x="384" y="118"/>
                    </a:lnTo>
                    <a:lnTo>
                      <a:pt x="384" y="118"/>
                    </a:lnTo>
                    <a:lnTo>
                      <a:pt x="384" y="122"/>
                    </a:lnTo>
                    <a:lnTo>
                      <a:pt x="380" y="122"/>
                    </a:lnTo>
                    <a:lnTo>
                      <a:pt x="380" y="127"/>
                    </a:lnTo>
                    <a:lnTo>
                      <a:pt x="380" y="127"/>
                    </a:lnTo>
                    <a:lnTo>
                      <a:pt x="380" y="127"/>
                    </a:lnTo>
                    <a:lnTo>
                      <a:pt x="380" y="131"/>
                    </a:lnTo>
                    <a:lnTo>
                      <a:pt x="375" y="127"/>
                    </a:lnTo>
                    <a:lnTo>
                      <a:pt x="366" y="131"/>
                    </a:lnTo>
                    <a:lnTo>
                      <a:pt x="366" y="131"/>
                    </a:lnTo>
                    <a:lnTo>
                      <a:pt x="371" y="131"/>
                    </a:lnTo>
                    <a:lnTo>
                      <a:pt x="375" y="136"/>
                    </a:lnTo>
                    <a:lnTo>
                      <a:pt x="380" y="131"/>
                    </a:lnTo>
                    <a:lnTo>
                      <a:pt x="384" y="127"/>
                    </a:lnTo>
                    <a:lnTo>
                      <a:pt x="384" y="127"/>
                    </a:lnTo>
                    <a:lnTo>
                      <a:pt x="389" y="127"/>
                    </a:lnTo>
                    <a:lnTo>
                      <a:pt x="393" y="122"/>
                    </a:lnTo>
                    <a:lnTo>
                      <a:pt x="393" y="122"/>
                    </a:lnTo>
                    <a:lnTo>
                      <a:pt x="393" y="122"/>
                    </a:lnTo>
                    <a:lnTo>
                      <a:pt x="398" y="122"/>
                    </a:lnTo>
                    <a:lnTo>
                      <a:pt x="398" y="122"/>
                    </a:lnTo>
                    <a:lnTo>
                      <a:pt x="398" y="122"/>
                    </a:lnTo>
                    <a:lnTo>
                      <a:pt x="398" y="122"/>
                    </a:lnTo>
                    <a:lnTo>
                      <a:pt x="398" y="122"/>
                    </a:lnTo>
                    <a:lnTo>
                      <a:pt x="398" y="127"/>
                    </a:lnTo>
                    <a:lnTo>
                      <a:pt x="398" y="127"/>
                    </a:lnTo>
                    <a:lnTo>
                      <a:pt x="398" y="127"/>
                    </a:lnTo>
                    <a:lnTo>
                      <a:pt x="398" y="131"/>
                    </a:lnTo>
                    <a:lnTo>
                      <a:pt x="403" y="136"/>
                    </a:lnTo>
                    <a:lnTo>
                      <a:pt x="403" y="136"/>
                    </a:lnTo>
                    <a:lnTo>
                      <a:pt x="403" y="136"/>
                    </a:lnTo>
                    <a:lnTo>
                      <a:pt x="403" y="136"/>
                    </a:lnTo>
                    <a:lnTo>
                      <a:pt x="403" y="136"/>
                    </a:lnTo>
                    <a:lnTo>
                      <a:pt x="407" y="140"/>
                    </a:lnTo>
                    <a:lnTo>
                      <a:pt x="407" y="140"/>
                    </a:lnTo>
                    <a:lnTo>
                      <a:pt x="412" y="140"/>
                    </a:lnTo>
                    <a:lnTo>
                      <a:pt x="412" y="136"/>
                    </a:lnTo>
                    <a:lnTo>
                      <a:pt x="412" y="136"/>
                    </a:lnTo>
                    <a:lnTo>
                      <a:pt x="416" y="136"/>
                    </a:lnTo>
                    <a:lnTo>
                      <a:pt x="416" y="140"/>
                    </a:lnTo>
                    <a:lnTo>
                      <a:pt x="421" y="136"/>
                    </a:lnTo>
                    <a:lnTo>
                      <a:pt x="425" y="136"/>
                    </a:lnTo>
                    <a:lnTo>
                      <a:pt x="425" y="140"/>
                    </a:lnTo>
                    <a:lnTo>
                      <a:pt x="421" y="145"/>
                    </a:lnTo>
                    <a:lnTo>
                      <a:pt x="421" y="145"/>
                    </a:lnTo>
                    <a:lnTo>
                      <a:pt x="421" y="149"/>
                    </a:lnTo>
                    <a:lnTo>
                      <a:pt x="421" y="154"/>
                    </a:lnTo>
                    <a:lnTo>
                      <a:pt x="421" y="154"/>
                    </a:lnTo>
                    <a:lnTo>
                      <a:pt x="421" y="154"/>
                    </a:lnTo>
                    <a:lnTo>
                      <a:pt x="421" y="154"/>
                    </a:lnTo>
                    <a:lnTo>
                      <a:pt x="421" y="149"/>
                    </a:lnTo>
                    <a:lnTo>
                      <a:pt x="425" y="149"/>
                    </a:lnTo>
                    <a:lnTo>
                      <a:pt x="425" y="140"/>
                    </a:lnTo>
                    <a:lnTo>
                      <a:pt x="430" y="140"/>
                    </a:lnTo>
                    <a:lnTo>
                      <a:pt x="430" y="136"/>
                    </a:lnTo>
                    <a:lnTo>
                      <a:pt x="434" y="131"/>
                    </a:lnTo>
                    <a:lnTo>
                      <a:pt x="439" y="131"/>
                    </a:lnTo>
                    <a:lnTo>
                      <a:pt x="439" y="131"/>
                    </a:lnTo>
                    <a:lnTo>
                      <a:pt x="439" y="131"/>
                    </a:lnTo>
                    <a:lnTo>
                      <a:pt x="439" y="131"/>
                    </a:lnTo>
                    <a:lnTo>
                      <a:pt x="443" y="131"/>
                    </a:lnTo>
                    <a:lnTo>
                      <a:pt x="439" y="131"/>
                    </a:lnTo>
                    <a:lnTo>
                      <a:pt x="439" y="127"/>
                    </a:lnTo>
                    <a:lnTo>
                      <a:pt x="439" y="127"/>
                    </a:lnTo>
                    <a:lnTo>
                      <a:pt x="439" y="127"/>
                    </a:lnTo>
                    <a:lnTo>
                      <a:pt x="439" y="122"/>
                    </a:lnTo>
                    <a:lnTo>
                      <a:pt x="443" y="122"/>
                    </a:lnTo>
                    <a:lnTo>
                      <a:pt x="443" y="122"/>
                    </a:lnTo>
                    <a:lnTo>
                      <a:pt x="443" y="118"/>
                    </a:lnTo>
                    <a:lnTo>
                      <a:pt x="443" y="118"/>
                    </a:lnTo>
                    <a:lnTo>
                      <a:pt x="448" y="118"/>
                    </a:lnTo>
                    <a:lnTo>
                      <a:pt x="448" y="118"/>
                    </a:lnTo>
                    <a:lnTo>
                      <a:pt x="448" y="118"/>
                    </a:lnTo>
                    <a:lnTo>
                      <a:pt x="448" y="118"/>
                    </a:lnTo>
                    <a:lnTo>
                      <a:pt x="448" y="118"/>
                    </a:lnTo>
                    <a:lnTo>
                      <a:pt x="448" y="113"/>
                    </a:lnTo>
                    <a:lnTo>
                      <a:pt x="452" y="113"/>
                    </a:lnTo>
                    <a:lnTo>
                      <a:pt x="452" y="113"/>
                    </a:lnTo>
                    <a:lnTo>
                      <a:pt x="452" y="118"/>
                    </a:lnTo>
                    <a:lnTo>
                      <a:pt x="452" y="118"/>
                    </a:lnTo>
                    <a:lnTo>
                      <a:pt x="452" y="118"/>
                    </a:lnTo>
                    <a:lnTo>
                      <a:pt x="457" y="113"/>
                    </a:lnTo>
                    <a:lnTo>
                      <a:pt x="457" y="118"/>
                    </a:lnTo>
                    <a:lnTo>
                      <a:pt x="457" y="118"/>
                    </a:lnTo>
                    <a:lnTo>
                      <a:pt x="457" y="118"/>
                    </a:lnTo>
                    <a:lnTo>
                      <a:pt x="457" y="113"/>
                    </a:lnTo>
                    <a:lnTo>
                      <a:pt x="457" y="113"/>
                    </a:lnTo>
                    <a:lnTo>
                      <a:pt x="457" y="113"/>
                    </a:lnTo>
                    <a:lnTo>
                      <a:pt x="461" y="113"/>
                    </a:lnTo>
                    <a:lnTo>
                      <a:pt x="461" y="113"/>
                    </a:lnTo>
                    <a:lnTo>
                      <a:pt x="461" y="118"/>
                    </a:lnTo>
                    <a:lnTo>
                      <a:pt x="466" y="118"/>
                    </a:lnTo>
                    <a:lnTo>
                      <a:pt x="466" y="118"/>
                    </a:lnTo>
                    <a:lnTo>
                      <a:pt x="466" y="118"/>
                    </a:lnTo>
                    <a:lnTo>
                      <a:pt x="470" y="118"/>
                    </a:lnTo>
                    <a:lnTo>
                      <a:pt x="470" y="118"/>
                    </a:lnTo>
                    <a:lnTo>
                      <a:pt x="470" y="118"/>
                    </a:lnTo>
                    <a:lnTo>
                      <a:pt x="470" y="122"/>
                    </a:lnTo>
                    <a:lnTo>
                      <a:pt x="475" y="122"/>
                    </a:lnTo>
                    <a:lnTo>
                      <a:pt x="475" y="122"/>
                    </a:lnTo>
                    <a:lnTo>
                      <a:pt x="479" y="122"/>
                    </a:lnTo>
                    <a:lnTo>
                      <a:pt x="479" y="122"/>
                    </a:lnTo>
                    <a:lnTo>
                      <a:pt x="479" y="122"/>
                    </a:lnTo>
                    <a:lnTo>
                      <a:pt x="479" y="122"/>
                    </a:lnTo>
                    <a:lnTo>
                      <a:pt x="484" y="122"/>
                    </a:lnTo>
                    <a:lnTo>
                      <a:pt x="484" y="127"/>
                    </a:lnTo>
                    <a:lnTo>
                      <a:pt x="488" y="127"/>
                    </a:lnTo>
                    <a:lnTo>
                      <a:pt x="488" y="127"/>
                    </a:lnTo>
                    <a:lnTo>
                      <a:pt x="493" y="127"/>
                    </a:lnTo>
                    <a:lnTo>
                      <a:pt x="493" y="127"/>
                    </a:lnTo>
                    <a:lnTo>
                      <a:pt x="493" y="131"/>
                    </a:lnTo>
                    <a:lnTo>
                      <a:pt x="493" y="136"/>
                    </a:lnTo>
                    <a:lnTo>
                      <a:pt x="497" y="136"/>
                    </a:lnTo>
                    <a:lnTo>
                      <a:pt x="497" y="131"/>
                    </a:lnTo>
                    <a:lnTo>
                      <a:pt x="497" y="131"/>
                    </a:lnTo>
                    <a:lnTo>
                      <a:pt x="497" y="131"/>
                    </a:lnTo>
                    <a:lnTo>
                      <a:pt x="502" y="131"/>
                    </a:lnTo>
                    <a:lnTo>
                      <a:pt x="502" y="131"/>
                    </a:lnTo>
                    <a:lnTo>
                      <a:pt x="502" y="136"/>
                    </a:lnTo>
                    <a:lnTo>
                      <a:pt x="502" y="136"/>
                    </a:lnTo>
                    <a:lnTo>
                      <a:pt x="506" y="136"/>
                    </a:lnTo>
                    <a:lnTo>
                      <a:pt x="506" y="136"/>
                    </a:lnTo>
                    <a:lnTo>
                      <a:pt x="506" y="136"/>
                    </a:lnTo>
                    <a:lnTo>
                      <a:pt x="506" y="136"/>
                    </a:lnTo>
                    <a:lnTo>
                      <a:pt x="506" y="136"/>
                    </a:lnTo>
                    <a:lnTo>
                      <a:pt x="506" y="140"/>
                    </a:lnTo>
                    <a:lnTo>
                      <a:pt x="506" y="140"/>
                    </a:lnTo>
                    <a:lnTo>
                      <a:pt x="506" y="140"/>
                    </a:lnTo>
                    <a:lnTo>
                      <a:pt x="506" y="145"/>
                    </a:lnTo>
                    <a:lnTo>
                      <a:pt x="506" y="145"/>
                    </a:lnTo>
                    <a:lnTo>
                      <a:pt x="506" y="145"/>
                    </a:lnTo>
                    <a:lnTo>
                      <a:pt x="506" y="145"/>
                    </a:lnTo>
                    <a:lnTo>
                      <a:pt x="506" y="145"/>
                    </a:lnTo>
                    <a:lnTo>
                      <a:pt x="506" y="149"/>
                    </a:lnTo>
                    <a:lnTo>
                      <a:pt x="506" y="145"/>
                    </a:lnTo>
                    <a:lnTo>
                      <a:pt x="511" y="145"/>
                    </a:lnTo>
                    <a:lnTo>
                      <a:pt x="511" y="145"/>
                    </a:lnTo>
                    <a:lnTo>
                      <a:pt x="511" y="145"/>
                    </a:lnTo>
                    <a:lnTo>
                      <a:pt x="511" y="149"/>
                    </a:lnTo>
                    <a:lnTo>
                      <a:pt x="511" y="149"/>
                    </a:lnTo>
                    <a:lnTo>
                      <a:pt x="511" y="149"/>
                    </a:lnTo>
                    <a:lnTo>
                      <a:pt x="506" y="149"/>
                    </a:lnTo>
                    <a:lnTo>
                      <a:pt x="506" y="149"/>
                    </a:lnTo>
                    <a:lnTo>
                      <a:pt x="506" y="154"/>
                    </a:lnTo>
                    <a:lnTo>
                      <a:pt x="506" y="154"/>
                    </a:lnTo>
                    <a:lnTo>
                      <a:pt x="506" y="163"/>
                    </a:lnTo>
                    <a:lnTo>
                      <a:pt x="506" y="163"/>
                    </a:lnTo>
                    <a:lnTo>
                      <a:pt x="506" y="163"/>
                    </a:lnTo>
                    <a:lnTo>
                      <a:pt x="511" y="158"/>
                    </a:lnTo>
                    <a:lnTo>
                      <a:pt x="511" y="154"/>
                    </a:lnTo>
                    <a:lnTo>
                      <a:pt x="511" y="149"/>
                    </a:lnTo>
                    <a:lnTo>
                      <a:pt x="515" y="149"/>
                    </a:lnTo>
                    <a:lnTo>
                      <a:pt x="515" y="149"/>
                    </a:lnTo>
                    <a:lnTo>
                      <a:pt x="515" y="149"/>
                    </a:lnTo>
                    <a:lnTo>
                      <a:pt x="515" y="149"/>
                    </a:lnTo>
                    <a:lnTo>
                      <a:pt x="515" y="154"/>
                    </a:lnTo>
                    <a:lnTo>
                      <a:pt x="515" y="154"/>
                    </a:lnTo>
                    <a:lnTo>
                      <a:pt x="515" y="154"/>
                    </a:lnTo>
                    <a:lnTo>
                      <a:pt x="515" y="154"/>
                    </a:lnTo>
                    <a:lnTo>
                      <a:pt x="520" y="154"/>
                    </a:lnTo>
                    <a:lnTo>
                      <a:pt x="520" y="149"/>
                    </a:lnTo>
                    <a:lnTo>
                      <a:pt x="520" y="154"/>
                    </a:lnTo>
                    <a:lnTo>
                      <a:pt x="525" y="149"/>
                    </a:lnTo>
                    <a:lnTo>
                      <a:pt x="529" y="149"/>
                    </a:lnTo>
                    <a:lnTo>
                      <a:pt x="529" y="149"/>
                    </a:lnTo>
                    <a:lnTo>
                      <a:pt x="529" y="149"/>
                    </a:lnTo>
                    <a:lnTo>
                      <a:pt x="534" y="149"/>
                    </a:lnTo>
                    <a:lnTo>
                      <a:pt x="538" y="149"/>
                    </a:lnTo>
                    <a:lnTo>
                      <a:pt x="538" y="149"/>
                    </a:lnTo>
                    <a:lnTo>
                      <a:pt x="543" y="149"/>
                    </a:lnTo>
                    <a:lnTo>
                      <a:pt x="543" y="154"/>
                    </a:lnTo>
                    <a:lnTo>
                      <a:pt x="547" y="154"/>
                    </a:lnTo>
                    <a:lnTo>
                      <a:pt x="552" y="154"/>
                    </a:lnTo>
                    <a:lnTo>
                      <a:pt x="556" y="154"/>
                    </a:lnTo>
                    <a:lnTo>
                      <a:pt x="556" y="154"/>
                    </a:lnTo>
                    <a:lnTo>
                      <a:pt x="561" y="158"/>
                    </a:lnTo>
                    <a:lnTo>
                      <a:pt x="561" y="158"/>
                    </a:lnTo>
                    <a:lnTo>
                      <a:pt x="565" y="158"/>
                    </a:lnTo>
                    <a:lnTo>
                      <a:pt x="565" y="158"/>
                    </a:lnTo>
                    <a:lnTo>
                      <a:pt x="574" y="158"/>
                    </a:lnTo>
                    <a:lnTo>
                      <a:pt x="579" y="154"/>
                    </a:lnTo>
                    <a:lnTo>
                      <a:pt x="583" y="154"/>
                    </a:lnTo>
                    <a:lnTo>
                      <a:pt x="588" y="158"/>
                    </a:lnTo>
                    <a:lnTo>
                      <a:pt x="592" y="158"/>
                    </a:lnTo>
                    <a:lnTo>
                      <a:pt x="597" y="158"/>
                    </a:lnTo>
                    <a:lnTo>
                      <a:pt x="597" y="163"/>
                    </a:lnTo>
                    <a:lnTo>
                      <a:pt x="601" y="163"/>
                    </a:lnTo>
                    <a:lnTo>
                      <a:pt x="606" y="167"/>
                    </a:lnTo>
                    <a:lnTo>
                      <a:pt x="606" y="167"/>
                    </a:lnTo>
                    <a:lnTo>
                      <a:pt x="610" y="172"/>
                    </a:lnTo>
                    <a:lnTo>
                      <a:pt x="615" y="172"/>
                    </a:lnTo>
                    <a:lnTo>
                      <a:pt x="615" y="176"/>
                    </a:lnTo>
                    <a:lnTo>
                      <a:pt x="619" y="176"/>
                    </a:lnTo>
                    <a:lnTo>
                      <a:pt x="624" y="181"/>
                    </a:lnTo>
                    <a:lnTo>
                      <a:pt x="628" y="185"/>
                    </a:lnTo>
                    <a:lnTo>
                      <a:pt x="628" y="190"/>
                    </a:lnTo>
                    <a:lnTo>
                      <a:pt x="637" y="190"/>
                    </a:lnTo>
                    <a:lnTo>
                      <a:pt x="637" y="194"/>
                    </a:lnTo>
                    <a:lnTo>
                      <a:pt x="642" y="194"/>
                    </a:lnTo>
                    <a:lnTo>
                      <a:pt x="642" y="194"/>
                    </a:lnTo>
                    <a:lnTo>
                      <a:pt x="646" y="199"/>
                    </a:lnTo>
                    <a:lnTo>
                      <a:pt x="646" y="199"/>
                    </a:lnTo>
                    <a:lnTo>
                      <a:pt x="651" y="199"/>
                    </a:lnTo>
                    <a:lnTo>
                      <a:pt x="656" y="199"/>
                    </a:lnTo>
                    <a:lnTo>
                      <a:pt x="660" y="199"/>
                    </a:lnTo>
                    <a:lnTo>
                      <a:pt x="665" y="199"/>
                    </a:lnTo>
                    <a:lnTo>
                      <a:pt x="669" y="199"/>
                    </a:lnTo>
                    <a:lnTo>
                      <a:pt x="669" y="203"/>
                    </a:lnTo>
                    <a:lnTo>
                      <a:pt x="674" y="208"/>
                    </a:lnTo>
                    <a:lnTo>
                      <a:pt x="674" y="212"/>
                    </a:lnTo>
                    <a:lnTo>
                      <a:pt x="674" y="222"/>
                    </a:lnTo>
                    <a:lnTo>
                      <a:pt x="678" y="222"/>
                    </a:lnTo>
                    <a:lnTo>
                      <a:pt x="678" y="231"/>
                    </a:lnTo>
                    <a:lnTo>
                      <a:pt x="678" y="235"/>
                    </a:lnTo>
                    <a:lnTo>
                      <a:pt x="678" y="235"/>
                    </a:lnTo>
                    <a:lnTo>
                      <a:pt x="683" y="235"/>
                    </a:lnTo>
                    <a:lnTo>
                      <a:pt x="683" y="240"/>
                    </a:lnTo>
                    <a:lnTo>
                      <a:pt x="683" y="244"/>
                    </a:lnTo>
                    <a:lnTo>
                      <a:pt x="678" y="244"/>
                    </a:lnTo>
                    <a:lnTo>
                      <a:pt x="678" y="249"/>
                    </a:lnTo>
                    <a:lnTo>
                      <a:pt x="683" y="249"/>
                    </a:lnTo>
                    <a:lnTo>
                      <a:pt x="678" y="249"/>
                    </a:lnTo>
                    <a:lnTo>
                      <a:pt x="678" y="249"/>
                    </a:lnTo>
                    <a:lnTo>
                      <a:pt x="683" y="253"/>
                    </a:lnTo>
                    <a:lnTo>
                      <a:pt x="683" y="253"/>
                    </a:lnTo>
                    <a:lnTo>
                      <a:pt x="678" y="258"/>
                    </a:lnTo>
                    <a:lnTo>
                      <a:pt x="678" y="262"/>
                    </a:lnTo>
                    <a:lnTo>
                      <a:pt x="678" y="271"/>
                    </a:lnTo>
                    <a:lnTo>
                      <a:pt x="674" y="276"/>
                    </a:lnTo>
                    <a:lnTo>
                      <a:pt x="669" y="285"/>
                    </a:lnTo>
                    <a:lnTo>
                      <a:pt x="665" y="285"/>
                    </a:lnTo>
                    <a:lnTo>
                      <a:pt x="665" y="285"/>
                    </a:lnTo>
                    <a:lnTo>
                      <a:pt x="665" y="285"/>
                    </a:lnTo>
                    <a:lnTo>
                      <a:pt x="665" y="289"/>
                    </a:lnTo>
                    <a:lnTo>
                      <a:pt x="665" y="289"/>
                    </a:lnTo>
                    <a:lnTo>
                      <a:pt x="660" y="294"/>
                    </a:lnTo>
                    <a:lnTo>
                      <a:pt x="660" y="298"/>
                    </a:lnTo>
                    <a:lnTo>
                      <a:pt x="656" y="303"/>
                    </a:lnTo>
                    <a:lnTo>
                      <a:pt x="656" y="303"/>
                    </a:lnTo>
                    <a:lnTo>
                      <a:pt x="651" y="303"/>
                    </a:lnTo>
                    <a:lnTo>
                      <a:pt x="651" y="307"/>
                    </a:lnTo>
                    <a:lnTo>
                      <a:pt x="646" y="307"/>
                    </a:lnTo>
                    <a:lnTo>
                      <a:pt x="646" y="312"/>
                    </a:lnTo>
                    <a:lnTo>
                      <a:pt x="646" y="312"/>
                    </a:lnTo>
                    <a:lnTo>
                      <a:pt x="642" y="312"/>
                    </a:lnTo>
                    <a:lnTo>
                      <a:pt x="642" y="316"/>
                    </a:lnTo>
                    <a:lnTo>
                      <a:pt x="642" y="316"/>
                    </a:lnTo>
                    <a:lnTo>
                      <a:pt x="642" y="321"/>
                    </a:lnTo>
                    <a:lnTo>
                      <a:pt x="642" y="316"/>
                    </a:lnTo>
                    <a:lnTo>
                      <a:pt x="642" y="316"/>
                    </a:lnTo>
                    <a:lnTo>
                      <a:pt x="642" y="316"/>
                    </a:lnTo>
                    <a:lnTo>
                      <a:pt x="642" y="316"/>
                    </a:lnTo>
                    <a:lnTo>
                      <a:pt x="642" y="316"/>
                    </a:lnTo>
                    <a:lnTo>
                      <a:pt x="637" y="321"/>
                    </a:lnTo>
                    <a:lnTo>
                      <a:pt x="642" y="321"/>
                    </a:lnTo>
                    <a:lnTo>
                      <a:pt x="637" y="326"/>
                    </a:lnTo>
                    <a:lnTo>
                      <a:pt x="637" y="335"/>
                    </a:lnTo>
                    <a:lnTo>
                      <a:pt x="633" y="339"/>
                    </a:lnTo>
                    <a:lnTo>
                      <a:pt x="633" y="344"/>
                    </a:lnTo>
                    <a:lnTo>
                      <a:pt x="628" y="348"/>
                    </a:lnTo>
                    <a:lnTo>
                      <a:pt x="624" y="348"/>
                    </a:lnTo>
                    <a:lnTo>
                      <a:pt x="624" y="348"/>
                    </a:lnTo>
                    <a:lnTo>
                      <a:pt x="624" y="348"/>
                    </a:lnTo>
                    <a:lnTo>
                      <a:pt x="624" y="344"/>
                    </a:lnTo>
                    <a:lnTo>
                      <a:pt x="619" y="344"/>
                    </a:lnTo>
                    <a:lnTo>
                      <a:pt x="619" y="344"/>
                    </a:lnTo>
                    <a:lnTo>
                      <a:pt x="619" y="344"/>
                    </a:lnTo>
                    <a:lnTo>
                      <a:pt x="619" y="344"/>
                    </a:lnTo>
                    <a:lnTo>
                      <a:pt x="615" y="344"/>
                    </a:lnTo>
                    <a:lnTo>
                      <a:pt x="619" y="348"/>
                    </a:lnTo>
                    <a:lnTo>
                      <a:pt x="619" y="348"/>
                    </a:lnTo>
                    <a:lnTo>
                      <a:pt x="619" y="353"/>
                    </a:lnTo>
                    <a:lnTo>
                      <a:pt x="619" y="353"/>
                    </a:lnTo>
                    <a:lnTo>
                      <a:pt x="615" y="357"/>
                    </a:lnTo>
                    <a:lnTo>
                      <a:pt x="615" y="357"/>
                    </a:lnTo>
                    <a:lnTo>
                      <a:pt x="615" y="357"/>
                    </a:lnTo>
                    <a:lnTo>
                      <a:pt x="615" y="362"/>
                    </a:lnTo>
                    <a:lnTo>
                      <a:pt x="615" y="362"/>
                    </a:lnTo>
                    <a:lnTo>
                      <a:pt x="615" y="362"/>
                    </a:lnTo>
                    <a:lnTo>
                      <a:pt x="615" y="362"/>
                    </a:lnTo>
                    <a:lnTo>
                      <a:pt x="615" y="362"/>
                    </a:lnTo>
                    <a:lnTo>
                      <a:pt x="615" y="366"/>
                    </a:lnTo>
                    <a:lnTo>
                      <a:pt x="615" y="371"/>
                    </a:lnTo>
                    <a:lnTo>
                      <a:pt x="615" y="371"/>
                    </a:lnTo>
                    <a:lnTo>
                      <a:pt x="615" y="371"/>
                    </a:lnTo>
                    <a:lnTo>
                      <a:pt x="615" y="371"/>
                    </a:lnTo>
                    <a:lnTo>
                      <a:pt x="615" y="371"/>
                    </a:lnTo>
                    <a:lnTo>
                      <a:pt x="615" y="380"/>
                    </a:lnTo>
                    <a:lnTo>
                      <a:pt x="615" y="389"/>
                    </a:lnTo>
                    <a:lnTo>
                      <a:pt x="619" y="393"/>
                    </a:lnTo>
                    <a:lnTo>
                      <a:pt x="619" y="398"/>
                    </a:lnTo>
                    <a:lnTo>
                      <a:pt x="619" y="402"/>
                    </a:lnTo>
                    <a:lnTo>
                      <a:pt x="619" y="402"/>
                    </a:lnTo>
                    <a:lnTo>
                      <a:pt x="619" y="411"/>
                    </a:lnTo>
                    <a:lnTo>
                      <a:pt x="619" y="416"/>
                    </a:lnTo>
                    <a:lnTo>
                      <a:pt x="619" y="420"/>
                    </a:lnTo>
                    <a:lnTo>
                      <a:pt x="619" y="425"/>
                    </a:lnTo>
                    <a:lnTo>
                      <a:pt x="619" y="430"/>
                    </a:lnTo>
                    <a:lnTo>
                      <a:pt x="619" y="434"/>
                    </a:lnTo>
                    <a:lnTo>
                      <a:pt x="619" y="439"/>
                    </a:lnTo>
                    <a:lnTo>
                      <a:pt x="619" y="439"/>
                    </a:lnTo>
                    <a:lnTo>
                      <a:pt x="619" y="443"/>
                    </a:lnTo>
                    <a:lnTo>
                      <a:pt x="615" y="443"/>
                    </a:lnTo>
                    <a:lnTo>
                      <a:pt x="615" y="443"/>
                    </a:lnTo>
                    <a:lnTo>
                      <a:pt x="610" y="452"/>
                    </a:lnTo>
                    <a:lnTo>
                      <a:pt x="610" y="457"/>
                    </a:lnTo>
                    <a:lnTo>
                      <a:pt x="610" y="461"/>
                    </a:lnTo>
                    <a:lnTo>
                      <a:pt x="615" y="470"/>
                    </a:lnTo>
                    <a:lnTo>
                      <a:pt x="615" y="475"/>
                    </a:lnTo>
                    <a:lnTo>
                      <a:pt x="615" y="475"/>
                    </a:lnTo>
                    <a:lnTo>
                      <a:pt x="610" y="475"/>
                    </a:lnTo>
                    <a:lnTo>
                      <a:pt x="610" y="479"/>
                    </a:lnTo>
                    <a:lnTo>
                      <a:pt x="606" y="484"/>
                    </a:lnTo>
                    <a:lnTo>
                      <a:pt x="606" y="488"/>
                    </a:lnTo>
                    <a:lnTo>
                      <a:pt x="606" y="488"/>
                    </a:lnTo>
                    <a:lnTo>
                      <a:pt x="606" y="493"/>
                    </a:lnTo>
                    <a:lnTo>
                      <a:pt x="606" y="493"/>
                    </a:lnTo>
                    <a:lnTo>
                      <a:pt x="601" y="497"/>
                    </a:lnTo>
                    <a:lnTo>
                      <a:pt x="601" y="502"/>
                    </a:lnTo>
                    <a:lnTo>
                      <a:pt x="597" y="502"/>
                    </a:lnTo>
                    <a:lnTo>
                      <a:pt x="597" y="502"/>
                    </a:lnTo>
                    <a:lnTo>
                      <a:pt x="597" y="506"/>
                    </a:lnTo>
                    <a:lnTo>
                      <a:pt x="597" y="511"/>
                    </a:lnTo>
                    <a:lnTo>
                      <a:pt x="597" y="515"/>
                    </a:lnTo>
                    <a:lnTo>
                      <a:pt x="597" y="515"/>
                    </a:lnTo>
                    <a:lnTo>
                      <a:pt x="597" y="520"/>
                    </a:lnTo>
                    <a:lnTo>
                      <a:pt x="597" y="520"/>
                    </a:lnTo>
                    <a:lnTo>
                      <a:pt x="597" y="524"/>
                    </a:lnTo>
                    <a:lnTo>
                      <a:pt x="588" y="524"/>
                    </a:lnTo>
                    <a:lnTo>
                      <a:pt x="588" y="529"/>
                    </a:lnTo>
                    <a:lnTo>
                      <a:pt x="583" y="533"/>
                    </a:lnTo>
                    <a:lnTo>
                      <a:pt x="583" y="533"/>
                    </a:lnTo>
                    <a:lnTo>
                      <a:pt x="583" y="538"/>
                    </a:lnTo>
                    <a:lnTo>
                      <a:pt x="583" y="538"/>
                    </a:lnTo>
                    <a:lnTo>
                      <a:pt x="583" y="538"/>
                    </a:lnTo>
                    <a:lnTo>
                      <a:pt x="583" y="538"/>
                    </a:lnTo>
                    <a:lnTo>
                      <a:pt x="583" y="538"/>
                    </a:lnTo>
                    <a:lnTo>
                      <a:pt x="574" y="538"/>
                    </a:lnTo>
                    <a:lnTo>
                      <a:pt x="570" y="543"/>
                    </a:lnTo>
                    <a:lnTo>
                      <a:pt x="570" y="543"/>
                    </a:lnTo>
                    <a:lnTo>
                      <a:pt x="565" y="543"/>
                    </a:lnTo>
                    <a:lnTo>
                      <a:pt x="565" y="538"/>
                    </a:lnTo>
                    <a:lnTo>
                      <a:pt x="565" y="538"/>
                    </a:lnTo>
                    <a:lnTo>
                      <a:pt x="565" y="538"/>
                    </a:lnTo>
                    <a:lnTo>
                      <a:pt x="565" y="538"/>
                    </a:lnTo>
                    <a:lnTo>
                      <a:pt x="565" y="538"/>
                    </a:lnTo>
                    <a:lnTo>
                      <a:pt x="561" y="538"/>
                    </a:lnTo>
                    <a:lnTo>
                      <a:pt x="561" y="538"/>
                    </a:lnTo>
                    <a:lnTo>
                      <a:pt x="561" y="538"/>
                    </a:lnTo>
                    <a:lnTo>
                      <a:pt x="565" y="538"/>
                    </a:lnTo>
                    <a:lnTo>
                      <a:pt x="565" y="543"/>
                    </a:lnTo>
                    <a:lnTo>
                      <a:pt x="565" y="543"/>
                    </a:lnTo>
                    <a:lnTo>
                      <a:pt x="561" y="543"/>
                    </a:lnTo>
                    <a:lnTo>
                      <a:pt x="556" y="543"/>
                    </a:lnTo>
                    <a:lnTo>
                      <a:pt x="556" y="543"/>
                    </a:lnTo>
                    <a:lnTo>
                      <a:pt x="552" y="543"/>
                    </a:lnTo>
                    <a:lnTo>
                      <a:pt x="552" y="543"/>
                    </a:lnTo>
                    <a:lnTo>
                      <a:pt x="552" y="543"/>
                    </a:lnTo>
                    <a:lnTo>
                      <a:pt x="552" y="543"/>
                    </a:lnTo>
                    <a:lnTo>
                      <a:pt x="556" y="543"/>
                    </a:lnTo>
                    <a:lnTo>
                      <a:pt x="556" y="543"/>
                    </a:lnTo>
                    <a:lnTo>
                      <a:pt x="552" y="538"/>
                    </a:lnTo>
                    <a:lnTo>
                      <a:pt x="547" y="543"/>
                    </a:lnTo>
                    <a:lnTo>
                      <a:pt x="547" y="543"/>
                    </a:lnTo>
                    <a:lnTo>
                      <a:pt x="543" y="543"/>
                    </a:lnTo>
                    <a:lnTo>
                      <a:pt x="538" y="543"/>
                    </a:lnTo>
                    <a:lnTo>
                      <a:pt x="538" y="543"/>
                    </a:lnTo>
                    <a:lnTo>
                      <a:pt x="538" y="547"/>
                    </a:lnTo>
                    <a:lnTo>
                      <a:pt x="538" y="547"/>
                    </a:lnTo>
                    <a:lnTo>
                      <a:pt x="543" y="547"/>
                    </a:lnTo>
                    <a:lnTo>
                      <a:pt x="543" y="547"/>
                    </a:lnTo>
                    <a:lnTo>
                      <a:pt x="538" y="547"/>
                    </a:lnTo>
                    <a:lnTo>
                      <a:pt x="534" y="552"/>
                    </a:lnTo>
                    <a:lnTo>
                      <a:pt x="529" y="552"/>
                    </a:lnTo>
                    <a:lnTo>
                      <a:pt x="529" y="552"/>
                    </a:lnTo>
                    <a:lnTo>
                      <a:pt x="529" y="556"/>
                    </a:lnTo>
                    <a:lnTo>
                      <a:pt x="529" y="556"/>
                    </a:lnTo>
                    <a:lnTo>
                      <a:pt x="529" y="556"/>
                    </a:lnTo>
                    <a:lnTo>
                      <a:pt x="525" y="556"/>
                    </a:lnTo>
                    <a:lnTo>
                      <a:pt x="525" y="556"/>
                    </a:lnTo>
                    <a:lnTo>
                      <a:pt x="520" y="556"/>
                    </a:lnTo>
                    <a:lnTo>
                      <a:pt x="520" y="556"/>
                    </a:lnTo>
                    <a:lnTo>
                      <a:pt x="511" y="565"/>
                    </a:lnTo>
                    <a:lnTo>
                      <a:pt x="506" y="565"/>
                    </a:lnTo>
                    <a:lnTo>
                      <a:pt x="502" y="570"/>
                    </a:lnTo>
                    <a:lnTo>
                      <a:pt x="493" y="579"/>
                    </a:lnTo>
                    <a:lnTo>
                      <a:pt x="493" y="579"/>
                    </a:lnTo>
                    <a:lnTo>
                      <a:pt x="493" y="583"/>
                    </a:lnTo>
                    <a:lnTo>
                      <a:pt x="488" y="583"/>
                    </a:lnTo>
                    <a:lnTo>
                      <a:pt x="488" y="583"/>
                    </a:lnTo>
                    <a:lnTo>
                      <a:pt x="488" y="583"/>
                    </a:lnTo>
                    <a:lnTo>
                      <a:pt x="493" y="583"/>
                    </a:lnTo>
                    <a:lnTo>
                      <a:pt x="493" y="583"/>
                    </a:lnTo>
                    <a:lnTo>
                      <a:pt x="488" y="588"/>
                    </a:lnTo>
                    <a:lnTo>
                      <a:pt x="488" y="588"/>
                    </a:lnTo>
                    <a:lnTo>
                      <a:pt x="488" y="588"/>
                    </a:lnTo>
                    <a:lnTo>
                      <a:pt x="488" y="588"/>
                    </a:lnTo>
                    <a:lnTo>
                      <a:pt x="484" y="588"/>
                    </a:lnTo>
                    <a:lnTo>
                      <a:pt x="484" y="588"/>
                    </a:lnTo>
                    <a:lnTo>
                      <a:pt x="484" y="588"/>
                    </a:lnTo>
                    <a:lnTo>
                      <a:pt x="484" y="588"/>
                    </a:lnTo>
                    <a:lnTo>
                      <a:pt x="484" y="588"/>
                    </a:lnTo>
                    <a:lnTo>
                      <a:pt x="479" y="592"/>
                    </a:lnTo>
                    <a:lnTo>
                      <a:pt x="479" y="588"/>
                    </a:lnTo>
                    <a:lnTo>
                      <a:pt x="479" y="588"/>
                    </a:lnTo>
                    <a:lnTo>
                      <a:pt x="479" y="592"/>
                    </a:lnTo>
                    <a:lnTo>
                      <a:pt x="484" y="592"/>
                    </a:lnTo>
                    <a:lnTo>
                      <a:pt x="484" y="592"/>
                    </a:lnTo>
                    <a:lnTo>
                      <a:pt x="484" y="592"/>
                    </a:lnTo>
                    <a:lnTo>
                      <a:pt x="484" y="597"/>
                    </a:lnTo>
                    <a:lnTo>
                      <a:pt x="479" y="597"/>
                    </a:lnTo>
                    <a:lnTo>
                      <a:pt x="479" y="597"/>
                    </a:lnTo>
                    <a:lnTo>
                      <a:pt x="484" y="597"/>
                    </a:lnTo>
                    <a:lnTo>
                      <a:pt x="484" y="601"/>
                    </a:lnTo>
                    <a:lnTo>
                      <a:pt x="484" y="606"/>
                    </a:lnTo>
                    <a:lnTo>
                      <a:pt x="484" y="606"/>
                    </a:lnTo>
                    <a:lnTo>
                      <a:pt x="479" y="606"/>
                    </a:lnTo>
                    <a:lnTo>
                      <a:pt x="479" y="606"/>
                    </a:lnTo>
                    <a:lnTo>
                      <a:pt x="484" y="606"/>
                    </a:lnTo>
                    <a:lnTo>
                      <a:pt x="484" y="610"/>
                    </a:lnTo>
                    <a:lnTo>
                      <a:pt x="484" y="610"/>
                    </a:lnTo>
                    <a:lnTo>
                      <a:pt x="484" y="610"/>
                    </a:lnTo>
                    <a:lnTo>
                      <a:pt x="484" y="615"/>
                    </a:lnTo>
                    <a:lnTo>
                      <a:pt x="484" y="619"/>
                    </a:lnTo>
                    <a:lnTo>
                      <a:pt x="488" y="619"/>
                    </a:lnTo>
                    <a:lnTo>
                      <a:pt x="488" y="624"/>
                    </a:lnTo>
                    <a:lnTo>
                      <a:pt x="488" y="624"/>
                    </a:lnTo>
                    <a:lnTo>
                      <a:pt x="488" y="624"/>
                    </a:lnTo>
                    <a:lnTo>
                      <a:pt x="488" y="628"/>
                    </a:lnTo>
                    <a:lnTo>
                      <a:pt x="488" y="628"/>
                    </a:lnTo>
                    <a:lnTo>
                      <a:pt x="488" y="637"/>
                    </a:lnTo>
                    <a:lnTo>
                      <a:pt x="488" y="642"/>
                    </a:lnTo>
                    <a:lnTo>
                      <a:pt x="488" y="642"/>
                    </a:lnTo>
                    <a:lnTo>
                      <a:pt x="488" y="647"/>
                    </a:lnTo>
                    <a:lnTo>
                      <a:pt x="488" y="647"/>
                    </a:lnTo>
                    <a:lnTo>
                      <a:pt x="488" y="651"/>
                    </a:lnTo>
                    <a:lnTo>
                      <a:pt x="484" y="651"/>
                    </a:lnTo>
                    <a:lnTo>
                      <a:pt x="484" y="656"/>
                    </a:lnTo>
                    <a:lnTo>
                      <a:pt x="479" y="660"/>
                    </a:lnTo>
                    <a:lnTo>
                      <a:pt x="475" y="665"/>
                    </a:lnTo>
                    <a:lnTo>
                      <a:pt x="475" y="674"/>
                    </a:lnTo>
                    <a:lnTo>
                      <a:pt x="470" y="687"/>
                    </a:lnTo>
                    <a:lnTo>
                      <a:pt x="470" y="696"/>
                    </a:lnTo>
                    <a:lnTo>
                      <a:pt x="466" y="696"/>
                    </a:lnTo>
                    <a:lnTo>
                      <a:pt x="466" y="701"/>
                    </a:lnTo>
                    <a:lnTo>
                      <a:pt x="461" y="705"/>
                    </a:lnTo>
                    <a:lnTo>
                      <a:pt x="457" y="710"/>
                    </a:lnTo>
                    <a:lnTo>
                      <a:pt x="452" y="714"/>
                    </a:lnTo>
                    <a:lnTo>
                      <a:pt x="452" y="714"/>
                    </a:lnTo>
                    <a:lnTo>
                      <a:pt x="452" y="719"/>
                    </a:lnTo>
                    <a:lnTo>
                      <a:pt x="452" y="719"/>
                    </a:lnTo>
                    <a:lnTo>
                      <a:pt x="452" y="714"/>
                    </a:lnTo>
                    <a:lnTo>
                      <a:pt x="448" y="714"/>
                    </a:lnTo>
                    <a:lnTo>
                      <a:pt x="448" y="714"/>
                    </a:lnTo>
                    <a:lnTo>
                      <a:pt x="452" y="714"/>
                    </a:lnTo>
                    <a:lnTo>
                      <a:pt x="452" y="714"/>
                    </a:lnTo>
                    <a:lnTo>
                      <a:pt x="452" y="714"/>
                    </a:lnTo>
                    <a:lnTo>
                      <a:pt x="452" y="714"/>
                    </a:lnTo>
                    <a:lnTo>
                      <a:pt x="457" y="714"/>
                    </a:lnTo>
                    <a:lnTo>
                      <a:pt x="457" y="710"/>
                    </a:lnTo>
                    <a:lnTo>
                      <a:pt x="461" y="705"/>
                    </a:lnTo>
                    <a:lnTo>
                      <a:pt x="461" y="705"/>
                    </a:lnTo>
                    <a:lnTo>
                      <a:pt x="461" y="701"/>
                    </a:lnTo>
                    <a:lnTo>
                      <a:pt x="461" y="701"/>
                    </a:lnTo>
                    <a:lnTo>
                      <a:pt x="461" y="701"/>
                    </a:lnTo>
                    <a:lnTo>
                      <a:pt x="461" y="701"/>
                    </a:lnTo>
                    <a:lnTo>
                      <a:pt x="466" y="696"/>
                    </a:lnTo>
                    <a:lnTo>
                      <a:pt x="461" y="696"/>
                    </a:lnTo>
                    <a:lnTo>
                      <a:pt x="461" y="696"/>
                    </a:lnTo>
                    <a:lnTo>
                      <a:pt x="466" y="692"/>
                    </a:lnTo>
                    <a:lnTo>
                      <a:pt x="466" y="692"/>
                    </a:lnTo>
                    <a:lnTo>
                      <a:pt x="466" y="687"/>
                    </a:lnTo>
                    <a:lnTo>
                      <a:pt x="466" y="687"/>
                    </a:lnTo>
                    <a:lnTo>
                      <a:pt x="466" y="687"/>
                    </a:lnTo>
                    <a:lnTo>
                      <a:pt x="466" y="687"/>
                    </a:lnTo>
                    <a:lnTo>
                      <a:pt x="466" y="683"/>
                    </a:lnTo>
                    <a:lnTo>
                      <a:pt x="466" y="683"/>
                    </a:lnTo>
                    <a:lnTo>
                      <a:pt x="466" y="683"/>
                    </a:lnTo>
                    <a:lnTo>
                      <a:pt x="461" y="687"/>
                    </a:lnTo>
                    <a:lnTo>
                      <a:pt x="461" y="687"/>
                    </a:lnTo>
                    <a:lnTo>
                      <a:pt x="457" y="683"/>
                    </a:lnTo>
                    <a:lnTo>
                      <a:pt x="457" y="683"/>
                    </a:lnTo>
                    <a:lnTo>
                      <a:pt x="457" y="683"/>
                    </a:lnTo>
                    <a:lnTo>
                      <a:pt x="452" y="678"/>
                    </a:lnTo>
                    <a:lnTo>
                      <a:pt x="452" y="678"/>
                    </a:lnTo>
                    <a:lnTo>
                      <a:pt x="452" y="683"/>
                    </a:lnTo>
                    <a:lnTo>
                      <a:pt x="457" y="683"/>
                    </a:lnTo>
                    <a:lnTo>
                      <a:pt x="457" y="687"/>
                    </a:lnTo>
                    <a:lnTo>
                      <a:pt x="457" y="687"/>
                    </a:lnTo>
                    <a:lnTo>
                      <a:pt x="457" y="687"/>
                    </a:lnTo>
                    <a:lnTo>
                      <a:pt x="457" y="692"/>
                    </a:lnTo>
                    <a:lnTo>
                      <a:pt x="457" y="692"/>
                    </a:lnTo>
                    <a:lnTo>
                      <a:pt x="457" y="692"/>
                    </a:lnTo>
                    <a:lnTo>
                      <a:pt x="457" y="692"/>
                    </a:lnTo>
                    <a:lnTo>
                      <a:pt x="457" y="696"/>
                    </a:lnTo>
                    <a:lnTo>
                      <a:pt x="457" y="696"/>
                    </a:lnTo>
                    <a:lnTo>
                      <a:pt x="457" y="696"/>
                    </a:lnTo>
                    <a:lnTo>
                      <a:pt x="457" y="696"/>
                    </a:lnTo>
                    <a:lnTo>
                      <a:pt x="457" y="701"/>
                    </a:lnTo>
                    <a:lnTo>
                      <a:pt x="452" y="701"/>
                    </a:lnTo>
                    <a:lnTo>
                      <a:pt x="448" y="705"/>
                    </a:lnTo>
                    <a:lnTo>
                      <a:pt x="448" y="705"/>
                    </a:lnTo>
                    <a:lnTo>
                      <a:pt x="448" y="705"/>
                    </a:lnTo>
                    <a:lnTo>
                      <a:pt x="448" y="710"/>
                    </a:lnTo>
                    <a:lnTo>
                      <a:pt x="448" y="710"/>
                    </a:lnTo>
                    <a:lnTo>
                      <a:pt x="448" y="714"/>
                    </a:lnTo>
                    <a:lnTo>
                      <a:pt x="448" y="714"/>
                    </a:lnTo>
                    <a:lnTo>
                      <a:pt x="448" y="719"/>
                    </a:lnTo>
                    <a:lnTo>
                      <a:pt x="448" y="719"/>
                    </a:lnTo>
                    <a:lnTo>
                      <a:pt x="448" y="723"/>
                    </a:lnTo>
                    <a:lnTo>
                      <a:pt x="448" y="723"/>
                    </a:lnTo>
                    <a:lnTo>
                      <a:pt x="448" y="723"/>
                    </a:lnTo>
                    <a:lnTo>
                      <a:pt x="448" y="732"/>
                    </a:lnTo>
                    <a:lnTo>
                      <a:pt x="448" y="737"/>
                    </a:lnTo>
                    <a:lnTo>
                      <a:pt x="443" y="741"/>
                    </a:lnTo>
                    <a:lnTo>
                      <a:pt x="443" y="746"/>
                    </a:lnTo>
                    <a:lnTo>
                      <a:pt x="439" y="751"/>
                    </a:lnTo>
                    <a:lnTo>
                      <a:pt x="439" y="751"/>
                    </a:lnTo>
                    <a:lnTo>
                      <a:pt x="434" y="751"/>
                    </a:lnTo>
                    <a:lnTo>
                      <a:pt x="434" y="751"/>
                    </a:lnTo>
                    <a:lnTo>
                      <a:pt x="434" y="751"/>
                    </a:lnTo>
                    <a:lnTo>
                      <a:pt x="434" y="751"/>
                    </a:lnTo>
                    <a:lnTo>
                      <a:pt x="434" y="746"/>
                    </a:lnTo>
                    <a:lnTo>
                      <a:pt x="430" y="741"/>
                    </a:lnTo>
                    <a:lnTo>
                      <a:pt x="430" y="737"/>
                    </a:lnTo>
                    <a:lnTo>
                      <a:pt x="434" y="737"/>
                    </a:lnTo>
                    <a:lnTo>
                      <a:pt x="434" y="737"/>
                    </a:lnTo>
                    <a:lnTo>
                      <a:pt x="434" y="737"/>
                    </a:lnTo>
                    <a:lnTo>
                      <a:pt x="434" y="732"/>
                    </a:lnTo>
                    <a:lnTo>
                      <a:pt x="434" y="732"/>
                    </a:lnTo>
                    <a:lnTo>
                      <a:pt x="434" y="732"/>
                    </a:lnTo>
                    <a:lnTo>
                      <a:pt x="434" y="728"/>
                    </a:lnTo>
                    <a:lnTo>
                      <a:pt x="430" y="728"/>
                    </a:lnTo>
                    <a:lnTo>
                      <a:pt x="430" y="728"/>
                    </a:lnTo>
                    <a:lnTo>
                      <a:pt x="425" y="723"/>
                    </a:lnTo>
                    <a:lnTo>
                      <a:pt x="425" y="723"/>
                    </a:lnTo>
                    <a:lnTo>
                      <a:pt x="425" y="723"/>
                    </a:lnTo>
                    <a:lnTo>
                      <a:pt x="425" y="719"/>
                    </a:lnTo>
                    <a:lnTo>
                      <a:pt x="421" y="719"/>
                    </a:lnTo>
                    <a:lnTo>
                      <a:pt x="421" y="719"/>
                    </a:lnTo>
                    <a:lnTo>
                      <a:pt x="421" y="719"/>
                    </a:lnTo>
                    <a:lnTo>
                      <a:pt x="421" y="719"/>
                    </a:lnTo>
                    <a:lnTo>
                      <a:pt x="416" y="714"/>
                    </a:lnTo>
                    <a:lnTo>
                      <a:pt x="416" y="714"/>
                    </a:lnTo>
                    <a:lnTo>
                      <a:pt x="416" y="714"/>
                    </a:lnTo>
                    <a:lnTo>
                      <a:pt x="412" y="714"/>
                    </a:lnTo>
                    <a:lnTo>
                      <a:pt x="407" y="710"/>
                    </a:lnTo>
                    <a:lnTo>
                      <a:pt x="407" y="710"/>
                    </a:lnTo>
                    <a:lnTo>
                      <a:pt x="407" y="710"/>
                    </a:lnTo>
                    <a:lnTo>
                      <a:pt x="403" y="705"/>
                    </a:lnTo>
                    <a:lnTo>
                      <a:pt x="398" y="705"/>
                    </a:lnTo>
                    <a:lnTo>
                      <a:pt x="398" y="705"/>
                    </a:lnTo>
                    <a:lnTo>
                      <a:pt x="398" y="705"/>
                    </a:lnTo>
                    <a:lnTo>
                      <a:pt x="393" y="705"/>
                    </a:lnTo>
                    <a:lnTo>
                      <a:pt x="393" y="701"/>
                    </a:lnTo>
                    <a:lnTo>
                      <a:pt x="393" y="701"/>
                    </a:lnTo>
                    <a:lnTo>
                      <a:pt x="393" y="701"/>
                    </a:lnTo>
                    <a:lnTo>
                      <a:pt x="393" y="701"/>
                    </a:lnTo>
                    <a:lnTo>
                      <a:pt x="389" y="701"/>
                    </a:lnTo>
                    <a:lnTo>
                      <a:pt x="389" y="696"/>
                    </a:lnTo>
                    <a:lnTo>
                      <a:pt x="389" y="696"/>
                    </a:lnTo>
                    <a:lnTo>
                      <a:pt x="384" y="696"/>
                    </a:lnTo>
                    <a:lnTo>
                      <a:pt x="384" y="696"/>
                    </a:lnTo>
                    <a:lnTo>
                      <a:pt x="384" y="696"/>
                    </a:lnTo>
                    <a:lnTo>
                      <a:pt x="384" y="696"/>
                    </a:lnTo>
                    <a:lnTo>
                      <a:pt x="384" y="701"/>
                    </a:lnTo>
                    <a:lnTo>
                      <a:pt x="384" y="701"/>
                    </a:lnTo>
                    <a:lnTo>
                      <a:pt x="384" y="701"/>
                    </a:lnTo>
                    <a:lnTo>
                      <a:pt x="384" y="701"/>
                    </a:lnTo>
                    <a:lnTo>
                      <a:pt x="380" y="701"/>
                    </a:lnTo>
                    <a:lnTo>
                      <a:pt x="380" y="701"/>
                    </a:lnTo>
                    <a:lnTo>
                      <a:pt x="380" y="701"/>
                    </a:lnTo>
                    <a:lnTo>
                      <a:pt x="380" y="696"/>
                    </a:lnTo>
                    <a:lnTo>
                      <a:pt x="380" y="696"/>
                    </a:lnTo>
                    <a:lnTo>
                      <a:pt x="380" y="696"/>
                    </a:lnTo>
                    <a:lnTo>
                      <a:pt x="375" y="692"/>
                    </a:lnTo>
                    <a:lnTo>
                      <a:pt x="371" y="687"/>
                    </a:lnTo>
                    <a:lnTo>
                      <a:pt x="366" y="683"/>
                    </a:lnTo>
                    <a:lnTo>
                      <a:pt x="362" y="683"/>
                    </a:lnTo>
                    <a:lnTo>
                      <a:pt x="362" y="683"/>
                    </a:lnTo>
                    <a:lnTo>
                      <a:pt x="362" y="683"/>
                    </a:lnTo>
                    <a:lnTo>
                      <a:pt x="357" y="683"/>
                    </a:lnTo>
                    <a:lnTo>
                      <a:pt x="357" y="687"/>
                    </a:lnTo>
                    <a:lnTo>
                      <a:pt x="357" y="687"/>
                    </a:lnTo>
                    <a:lnTo>
                      <a:pt x="357" y="687"/>
                    </a:lnTo>
                    <a:lnTo>
                      <a:pt x="353" y="687"/>
                    </a:lnTo>
                    <a:lnTo>
                      <a:pt x="353" y="683"/>
                    </a:lnTo>
                    <a:lnTo>
                      <a:pt x="353" y="683"/>
                    </a:lnTo>
                    <a:lnTo>
                      <a:pt x="353" y="683"/>
                    </a:lnTo>
                    <a:lnTo>
                      <a:pt x="353" y="678"/>
                    </a:lnTo>
                    <a:lnTo>
                      <a:pt x="353" y="678"/>
                    </a:lnTo>
                    <a:lnTo>
                      <a:pt x="357" y="678"/>
                    </a:lnTo>
                    <a:lnTo>
                      <a:pt x="357" y="674"/>
                    </a:lnTo>
                    <a:lnTo>
                      <a:pt x="357" y="674"/>
                    </a:lnTo>
                    <a:lnTo>
                      <a:pt x="362" y="669"/>
                    </a:lnTo>
                    <a:lnTo>
                      <a:pt x="362" y="669"/>
                    </a:lnTo>
                    <a:lnTo>
                      <a:pt x="362" y="665"/>
                    </a:lnTo>
                    <a:lnTo>
                      <a:pt x="362" y="665"/>
                    </a:lnTo>
                    <a:lnTo>
                      <a:pt x="366" y="665"/>
                    </a:lnTo>
                    <a:lnTo>
                      <a:pt x="366" y="660"/>
                    </a:lnTo>
                    <a:lnTo>
                      <a:pt x="366" y="660"/>
                    </a:lnTo>
                    <a:lnTo>
                      <a:pt x="366" y="656"/>
                    </a:lnTo>
                    <a:lnTo>
                      <a:pt x="366" y="656"/>
                    </a:lnTo>
                    <a:lnTo>
                      <a:pt x="371" y="651"/>
                    </a:lnTo>
                    <a:lnTo>
                      <a:pt x="371" y="651"/>
                    </a:lnTo>
                    <a:lnTo>
                      <a:pt x="371" y="651"/>
                    </a:lnTo>
                    <a:lnTo>
                      <a:pt x="371" y="651"/>
                    </a:lnTo>
                    <a:lnTo>
                      <a:pt x="371" y="651"/>
                    </a:lnTo>
                    <a:lnTo>
                      <a:pt x="371" y="651"/>
                    </a:lnTo>
                    <a:lnTo>
                      <a:pt x="371" y="651"/>
                    </a:lnTo>
                    <a:lnTo>
                      <a:pt x="371" y="647"/>
                    </a:lnTo>
                    <a:lnTo>
                      <a:pt x="371" y="651"/>
                    </a:lnTo>
                    <a:lnTo>
                      <a:pt x="375" y="651"/>
                    </a:lnTo>
                    <a:lnTo>
                      <a:pt x="375" y="651"/>
                    </a:lnTo>
                    <a:lnTo>
                      <a:pt x="375" y="647"/>
                    </a:lnTo>
                    <a:lnTo>
                      <a:pt x="375" y="647"/>
                    </a:lnTo>
                    <a:lnTo>
                      <a:pt x="371" y="647"/>
                    </a:lnTo>
                    <a:lnTo>
                      <a:pt x="371" y="647"/>
                    </a:lnTo>
                    <a:lnTo>
                      <a:pt x="375" y="642"/>
                    </a:lnTo>
                    <a:lnTo>
                      <a:pt x="375" y="642"/>
                    </a:lnTo>
                    <a:lnTo>
                      <a:pt x="375" y="642"/>
                    </a:lnTo>
                    <a:lnTo>
                      <a:pt x="380" y="642"/>
                    </a:lnTo>
                    <a:lnTo>
                      <a:pt x="380" y="637"/>
                    </a:lnTo>
                    <a:lnTo>
                      <a:pt x="380" y="637"/>
                    </a:lnTo>
                    <a:lnTo>
                      <a:pt x="384" y="637"/>
                    </a:lnTo>
                    <a:lnTo>
                      <a:pt x="380" y="637"/>
                    </a:lnTo>
                    <a:lnTo>
                      <a:pt x="384" y="637"/>
                    </a:lnTo>
                    <a:lnTo>
                      <a:pt x="384" y="637"/>
                    </a:lnTo>
                    <a:lnTo>
                      <a:pt x="384" y="637"/>
                    </a:lnTo>
                    <a:lnTo>
                      <a:pt x="384" y="633"/>
                    </a:lnTo>
                    <a:lnTo>
                      <a:pt x="384" y="633"/>
                    </a:lnTo>
                    <a:lnTo>
                      <a:pt x="384" y="633"/>
                    </a:lnTo>
                    <a:lnTo>
                      <a:pt x="384" y="633"/>
                    </a:lnTo>
                    <a:lnTo>
                      <a:pt x="384" y="633"/>
                    </a:lnTo>
                    <a:lnTo>
                      <a:pt x="389" y="633"/>
                    </a:lnTo>
                    <a:lnTo>
                      <a:pt x="389" y="633"/>
                    </a:lnTo>
                    <a:lnTo>
                      <a:pt x="389" y="633"/>
                    </a:lnTo>
                    <a:lnTo>
                      <a:pt x="389" y="633"/>
                    </a:lnTo>
                    <a:lnTo>
                      <a:pt x="389" y="628"/>
                    </a:lnTo>
                    <a:lnTo>
                      <a:pt x="393" y="628"/>
                    </a:lnTo>
                    <a:lnTo>
                      <a:pt x="393" y="628"/>
                    </a:lnTo>
                    <a:lnTo>
                      <a:pt x="393" y="628"/>
                    </a:lnTo>
                    <a:lnTo>
                      <a:pt x="393" y="628"/>
                    </a:lnTo>
                    <a:lnTo>
                      <a:pt x="393" y="628"/>
                    </a:lnTo>
                    <a:lnTo>
                      <a:pt x="398" y="628"/>
                    </a:lnTo>
                    <a:lnTo>
                      <a:pt x="398" y="624"/>
                    </a:lnTo>
                    <a:lnTo>
                      <a:pt x="398" y="624"/>
                    </a:lnTo>
                    <a:lnTo>
                      <a:pt x="398" y="624"/>
                    </a:lnTo>
                    <a:lnTo>
                      <a:pt x="403" y="619"/>
                    </a:lnTo>
                    <a:lnTo>
                      <a:pt x="403" y="619"/>
                    </a:lnTo>
                    <a:lnTo>
                      <a:pt x="398" y="619"/>
                    </a:lnTo>
                    <a:lnTo>
                      <a:pt x="398" y="615"/>
                    </a:lnTo>
                    <a:lnTo>
                      <a:pt x="398" y="615"/>
                    </a:lnTo>
                    <a:lnTo>
                      <a:pt x="398" y="610"/>
                    </a:lnTo>
                    <a:lnTo>
                      <a:pt x="398" y="610"/>
                    </a:lnTo>
                    <a:lnTo>
                      <a:pt x="398" y="610"/>
                    </a:lnTo>
                    <a:lnTo>
                      <a:pt x="398" y="606"/>
                    </a:lnTo>
                    <a:lnTo>
                      <a:pt x="398" y="606"/>
                    </a:lnTo>
                    <a:lnTo>
                      <a:pt x="393" y="601"/>
                    </a:lnTo>
                    <a:lnTo>
                      <a:pt x="393" y="597"/>
                    </a:lnTo>
                    <a:lnTo>
                      <a:pt x="393" y="597"/>
                    </a:lnTo>
                    <a:lnTo>
                      <a:pt x="393" y="597"/>
                    </a:lnTo>
                    <a:lnTo>
                      <a:pt x="389" y="597"/>
                    </a:lnTo>
                    <a:lnTo>
                      <a:pt x="389" y="597"/>
                    </a:lnTo>
                    <a:lnTo>
                      <a:pt x="389" y="592"/>
                    </a:lnTo>
                    <a:lnTo>
                      <a:pt x="389" y="592"/>
                    </a:lnTo>
                    <a:lnTo>
                      <a:pt x="389" y="592"/>
                    </a:lnTo>
                    <a:lnTo>
                      <a:pt x="384" y="597"/>
                    </a:lnTo>
                    <a:lnTo>
                      <a:pt x="384" y="597"/>
                    </a:lnTo>
                    <a:lnTo>
                      <a:pt x="384" y="597"/>
                    </a:lnTo>
                    <a:lnTo>
                      <a:pt x="384" y="597"/>
                    </a:lnTo>
                    <a:lnTo>
                      <a:pt x="384" y="597"/>
                    </a:lnTo>
                    <a:lnTo>
                      <a:pt x="380" y="597"/>
                    </a:lnTo>
                    <a:lnTo>
                      <a:pt x="380" y="597"/>
                    </a:lnTo>
                    <a:lnTo>
                      <a:pt x="380" y="592"/>
                    </a:lnTo>
                    <a:lnTo>
                      <a:pt x="380" y="588"/>
                    </a:lnTo>
                    <a:lnTo>
                      <a:pt x="380" y="588"/>
                    </a:lnTo>
                    <a:lnTo>
                      <a:pt x="380" y="583"/>
                    </a:lnTo>
                    <a:lnTo>
                      <a:pt x="380" y="583"/>
                    </a:lnTo>
                    <a:lnTo>
                      <a:pt x="380" y="574"/>
                    </a:lnTo>
                    <a:lnTo>
                      <a:pt x="380" y="570"/>
                    </a:lnTo>
                    <a:lnTo>
                      <a:pt x="380" y="570"/>
                    </a:lnTo>
                    <a:lnTo>
                      <a:pt x="380" y="565"/>
                    </a:lnTo>
                    <a:lnTo>
                      <a:pt x="380" y="565"/>
                    </a:lnTo>
                    <a:lnTo>
                      <a:pt x="380" y="565"/>
                    </a:lnTo>
                    <a:lnTo>
                      <a:pt x="380" y="565"/>
                    </a:lnTo>
                    <a:lnTo>
                      <a:pt x="375" y="561"/>
                    </a:lnTo>
                    <a:lnTo>
                      <a:pt x="375" y="561"/>
                    </a:lnTo>
                    <a:lnTo>
                      <a:pt x="375" y="561"/>
                    </a:lnTo>
                    <a:lnTo>
                      <a:pt x="375" y="561"/>
                    </a:lnTo>
                    <a:lnTo>
                      <a:pt x="371" y="561"/>
                    </a:lnTo>
                    <a:lnTo>
                      <a:pt x="371" y="561"/>
                    </a:lnTo>
                    <a:lnTo>
                      <a:pt x="371" y="565"/>
                    </a:lnTo>
                    <a:lnTo>
                      <a:pt x="366" y="565"/>
                    </a:lnTo>
                    <a:lnTo>
                      <a:pt x="366" y="565"/>
                    </a:lnTo>
                    <a:lnTo>
                      <a:pt x="366" y="565"/>
                    </a:lnTo>
                    <a:lnTo>
                      <a:pt x="362" y="565"/>
                    </a:lnTo>
                    <a:lnTo>
                      <a:pt x="362" y="565"/>
                    </a:lnTo>
                    <a:lnTo>
                      <a:pt x="362" y="565"/>
                    </a:lnTo>
                    <a:lnTo>
                      <a:pt x="362" y="561"/>
                    </a:lnTo>
                    <a:lnTo>
                      <a:pt x="362" y="561"/>
                    </a:lnTo>
                    <a:lnTo>
                      <a:pt x="357" y="561"/>
                    </a:lnTo>
                    <a:lnTo>
                      <a:pt x="357" y="556"/>
                    </a:lnTo>
                    <a:lnTo>
                      <a:pt x="357" y="556"/>
                    </a:lnTo>
                    <a:lnTo>
                      <a:pt x="357" y="556"/>
                    </a:lnTo>
                    <a:lnTo>
                      <a:pt x="357" y="556"/>
                    </a:lnTo>
                    <a:lnTo>
                      <a:pt x="357" y="552"/>
                    </a:lnTo>
                    <a:lnTo>
                      <a:pt x="357" y="552"/>
                    </a:lnTo>
                    <a:lnTo>
                      <a:pt x="357" y="552"/>
                    </a:lnTo>
                    <a:lnTo>
                      <a:pt x="357" y="552"/>
                    </a:lnTo>
                    <a:lnTo>
                      <a:pt x="357" y="547"/>
                    </a:lnTo>
                    <a:lnTo>
                      <a:pt x="353" y="547"/>
                    </a:lnTo>
                    <a:lnTo>
                      <a:pt x="353" y="547"/>
                    </a:lnTo>
                    <a:lnTo>
                      <a:pt x="353" y="547"/>
                    </a:lnTo>
                    <a:lnTo>
                      <a:pt x="353" y="543"/>
                    </a:lnTo>
                    <a:lnTo>
                      <a:pt x="353" y="543"/>
                    </a:lnTo>
                    <a:lnTo>
                      <a:pt x="353" y="543"/>
                    </a:lnTo>
                    <a:lnTo>
                      <a:pt x="353" y="538"/>
                    </a:lnTo>
                    <a:lnTo>
                      <a:pt x="353" y="538"/>
                    </a:lnTo>
                    <a:lnTo>
                      <a:pt x="353" y="538"/>
                    </a:lnTo>
                    <a:lnTo>
                      <a:pt x="348" y="538"/>
                    </a:lnTo>
                    <a:lnTo>
                      <a:pt x="348" y="533"/>
                    </a:lnTo>
                    <a:lnTo>
                      <a:pt x="348" y="533"/>
                    </a:lnTo>
                    <a:lnTo>
                      <a:pt x="348" y="533"/>
                    </a:lnTo>
                    <a:lnTo>
                      <a:pt x="348" y="533"/>
                    </a:lnTo>
                    <a:lnTo>
                      <a:pt x="344" y="533"/>
                    </a:lnTo>
                    <a:lnTo>
                      <a:pt x="344" y="533"/>
                    </a:lnTo>
                    <a:lnTo>
                      <a:pt x="344" y="533"/>
                    </a:lnTo>
                    <a:lnTo>
                      <a:pt x="339" y="533"/>
                    </a:lnTo>
                    <a:lnTo>
                      <a:pt x="339" y="529"/>
                    </a:lnTo>
                    <a:lnTo>
                      <a:pt x="339" y="529"/>
                    </a:lnTo>
                    <a:lnTo>
                      <a:pt x="339" y="529"/>
                    </a:lnTo>
                    <a:lnTo>
                      <a:pt x="339" y="529"/>
                    </a:lnTo>
                    <a:lnTo>
                      <a:pt x="335" y="529"/>
                    </a:lnTo>
                    <a:lnTo>
                      <a:pt x="335" y="529"/>
                    </a:lnTo>
                    <a:lnTo>
                      <a:pt x="335" y="529"/>
                    </a:lnTo>
                    <a:lnTo>
                      <a:pt x="335" y="533"/>
                    </a:lnTo>
                    <a:lnTo>
                      <a:pt x="335" y="533"/>
                    </a:lnTo>
                    <a:lnTo>
                      <a:pt x="330" y="533"/>
                    </a:lnTo>
                    <a:lnTo>
                      <a:pt x="330" y="533"/>
                    </a:lnTo>
                    <a:lnTo>
                      <a:pt x="330" y="533"/>
                    </a:lnTo>
                    <a:lnTo>
                      <a:pt x="330" y="533"/>
                    </a:lnTo>
                    <a:lnTo>
                      <a:pt x="326" y="529"/>
                    </a:lnTo>
                    <a:lnTo>
                      <a:pt x="326" y="529"/>
                    </a:lnTo>
                    <a:lnTo>
                      <a:pt x="321" y="529"/>
                    </a:lnTo>
                    <a:lnTo>
                      <a:pt x="321" y="529"/>
                    </a:lnTo>
                    <a:lnTo>
                      <a:pt x="321" y="529"/>
                    </a:lnTo>
                    <a:lnTo>
                      <a:pt x="317" y="529"/>
                    </a:lnTo>
                    <a:lnTo>
                      <a:pt x="317" y="529"/>
                    </a:lnTo>
                    <a:lnTo>
                      <a:pt x="317" y="529"/>
                    </a:lnTo>
                    <a:lnTo>
                      <a:pt x="317" y="529"/>
                    </a:lnTo>
                    <a:lnTo>
                      <a:pt x="312" y="529"/>
                    </a:lnTo>
                    <a:lnTo>
                      <a:pt x="312" y="529"/>
                    </a:lnTo>
                    <a:lnTo>
                      <a:pt x="312" y="529"/>
                    </a:lnTo>
                    <a:lnTo>
                      <a:pt x="312" y="529"/>
                    </a:lnTo>
                    <a:lnTo>
                      <a:pt x="312" y="529"/>
                    </a:lnTo>
                    <a:lnTo>
                      <a:pt x="312" y="524"/>
                    </a:lnTo>
                    <a:lnTo>
                      <a:pt x="312" y="524"/>
                    </a:lnTo>
                    <a:lnTo>
                      <a:pt x="312" y="524"/>
                    </a:lnTo>
                    <a:lnTo>
                      <a:pt x="312" y="524"/>
                    </a:lnTo>
                    <a:lnTo>
                      <a:pt x="312" y="524"/>
                    </a:lnTo>
                    <a:lnTo>
                      <a:pt x="312" y="520"/>
                    </a:lnTo>
                    <a:lnTo>
                      <a:pt x="312" y="520"/>
                    </a:lnTo>
                    <a:lnTo>
                      <a:pt x="312" y="520"/>
                    </a:lnTo>
                    <a:lnTo>
                      <a:pt x="312" y="520"/>
                    </a:lnTo>
                    <a:lnTo>
                      <a:pt x="312" y="515"/>
                    </a:lnTo>
                    <a:lnTo>
                      <a:pt x="312" y="515"/>
                    </a:lnTo>
                    <a:lnTo>
                      <a:pt x="312" y="515"/>
                    </a:lnTo>
                    <a:lnTo>
                      <a:pt x="312" y="515"/>
                    </a:lnTo>
                    <a:lnTo>
                      <a:pt x="312" y="511"/>
                    </a:lnTo>
                    <a:lnTo>
                      <a:pt x="312" y="511"/>
                    </a:lnTo>
                    <a:lnTo>
                      <a:pt x="312" y="511"/>
                    </a:lnTo>
                    <a:lnTo>
                      <a:pt x="312" y="506"/>
                    </a:lnTo>
                    <a:lnTo>
                      <a:pt x="308" y="506"/>
                    </a:lnTo>
                    <a:lnTo>
                      <a:pt x="308" y="506"/>
                    </a:lnTo>
                    <a:lnTo>
                      <a:pt x="308" y="506"/>
                    </a:lnTo>
                    <a:lnTo>
                      <a:pt x="308" y="506"/>
                    </a:lnTo>
                    <a:lnTo>
                      <a:pt x="308" y="506"/>
                    </a:lnTo>
                    <a:lnTo>
                      <a:pt x="308" y="502"/>
                    </a:lnTo>
                    <a:lnTo>
                      <a:pt x="308" y="502"/>
                    </a:lnTo>
                    <a:lnTo>
                      <a:pt x="308" y="502"/>
                    </a:lnTo>
                    <a:lnTo>
                      <a:pt x="308" y="502"/>
                    </a:lnTo>
                    <a:lnTo>
                      <a:pt x="308" y="502"/>
                    </a:lnTo>
                    <a:lnTo>
                      <a:pt x="308" y="502"/>
                    </a:lnTo>
                    <a:lnTo>
                      <a:pt x="308" y="497"/>
                    </a:lnTo>
                    <a:lnTo>
                      <a:pt x="308" y="497"/>
                    </a:lnTo>
                    <a:lnTo>
                      <a:pt x="303" y="497"/>
                    </a:lnTo>
                    <a:lnTo>
                      <a:pt x="303" y="497"/>
                    </a:lnTo>
                    <a:lnTo>
                      <a:pt x="303" y="497"/>
                    </a:lnTo>
                    <a:lnTo>
                      <a:pt x="303" y="493"/>
                    </a:lnTo>
                    <a:lnTo>
                      <a:pt x="303" y="493"/>
                    </a:lnTo>
                    <a:lnTo>
                      <a:pt x="303" y="493"/>
                    </a:lnTo>
                    <a:lnTo>
                      <a:pt x="303" y="493"/>
                    </a:lnTo>
                    <a:lnTo>
                      <a:pt x="303" y="493"/>
                    </a:lnTo>
                    <a:lnTo>
                      <a:pt x="303" y="488"/>
                    </a:lnTo>
                    <a:lnTo>
                      <a:pt x="303" y="488"/>
                    </a:lnTo>
                    <a:lnTo>
                      <a:pt x="308" y="488"/>
                    </a:lnTo>
                    <a:lnTo>
                      <a:pt x="308" y="488"/>
                    </a:lnTo>
                    <a:lnTo>
                      <a:pt x="303" y="484"/>
                    </a:lnTo>
                    <a:lnTo>
                      <a:pt x="303" y="484"/>
                    </a:lnTo>
                    <a:lnTo>
                      <a:pt x="303" y="484"/>
                    </a:lnTo>
                    <a:lnTo>
                      <a:pt x="303" y="479"/>
                    </a:lnTo>
                    <a:lnTo>
                      <a:pt x="303" y="475"/>
                    </a:lnTo>
                    <a:lnTo>
                      <a:pt x="303" y="470"/>
                    </a:lnTo>
                    <a:lnTo>
                      <a:pt x="303" y="470"/>
                    </a:lnTo>
                    <a:lnTo>
                      <a:pt x="308" y="470"/>
                    </a:lnTo>
                    <a:lnTo>
                      <a:pt x="308" y="470"/>
                    </a:lnTo>
                    <a:lnTo>
                      <a:pt x="308" y="466"/>
                    </a:lnTo>
                    <a:lnTo>
                      <a:pt x="303" y="466"/>
                    </a:lnTo>
                    <a:lnTo>
                      <a:pt x="303" y="466"/>
                    </a:lnTo>
                    <a:lnTo>
                      <a:pt x="308" y="461"/>
                    </a:lnTo>
                    <a:lnTo>
                      <a:pt x="308" y="457"/>
                    </a:lnTo>
                    <a:lnTo>
                      <a:pt x="308" y="457"/>
                    </a:lnTo>
                    <a:lnTo>
                      <a:pt x="308" y="457"/>
                    </a:lnTo>
                    <a:lnTo>
                      <a:pt x="308" y="452"/>
                    </a:lnTo>
                    <a:lnTo>
                      <a:pt x="308" y="452"/>
                    </a:lnTo>
                    <a:lnTo>
                      <a:pt x="308" y="452"/>
                    </a:lnTo>
                    <a:lnTo>
                      <a:pt x="303" y="448"/>
                    </a:lnTo>
                    <a:lnTo>
                      <a:pt x="303" y="443"/>
                    </a:lnTo>
                    <a:lnTo>
                      <a:pt x="299" y="443"/>
                    </a:lnTo>
                    <a:lnTo>
                      <a:pt x="299" y="439"/>
                    </a:lnTo>
                    <a:lnTo>
                      <a:pt x="299" y="443"/>
                    </a:lnTo>
                    <a:lnTo>
                      <a:pt x="299" y="439"/>
                    </a:lnTo>
                    <a:lnTo>
                      <a:pt x="294" y="439"/>
                    </a:lnTo>
                    <a:lnTo>
                      <a:pt x="290" y="439"/>
                    </a:lnTo>
                    <a:lnTo>
                      <a:pt x="290" y="434"/>
                    </a:lnTo>
                    <a:lnTo>
                      <a:pt x="290" y="434"/>
                    </a:lnTo>
                    <a:lnTo>
                      <a:pt x="290" y="430"/>
                    </a:lnTo>
                    <a:lnTo>
                      <a:pt x="285" y="425"/>
                    </a:lnTo>
                    <a:lnTo>
                      <a:pt x="285" y="425"/>
                    </a:lnTo>
                    <a:lnTo>
                      <a:pt x="290" y="420"/>
                    </a:lnTo>
                    <a:lnTo>
                      <a:pt x="290" y="420"/>
                    </a:lnTo>
                    <a:lnTo>
                      <a:pt x="290" y="416"/>
                    </a:lnTo>
                    <a:lnTo>
                      <a:pt x="290" y="416"/>
                    </a:lnTo>
                    <a:lnTo>
                      <a:pt x="285" y="416"/>
                    </a:lnTo>
                    <a:lnTo>
                      <a:pt x="285" y="416"/>
                    </a:lnTo>
                    <a:lnTo>
                      <a:pt x="285" y="416"/>
                    </a:lnTo>
                    <a:lnTo>
                      <a:pt x="285" y="416"/>
                    </a:lnTo>
                    <a:lnTo>
                      <a:pt x="276" y="416"/>
                    </a:lnTo>
                    <a:lnTo>
                      <a:pt x="267" y="416"/>
                    </a:lnTo>
                    <a:lnTo>
                      <a:pt x="262" y="416"/>
                    </a:lnTo>
                    <a:lnTo>
                      <a:pt x="258" y="416"/>
                    </a:lnTo>
                    <a:lnTo>
                      <a:pt x="258" y="416"/>
                    </a:lnTo>
                    <a:lnTo>
                      <a:pt x="253" y="411"/>
                    </a:lnTo>
                    <a:lnTo>
                      <a:pt x="253" y="407"/>
                    </a:lnTo>
                    <a:lnTo>
                      <a:pt x="253" y="402"/>
                    </a:lnTo>
                    <a:lnTo>
                      <a:pt x="249" y="398"/>
                    </a:lnTo>
                    <a:lnTo>
                      <a:pt x="249" y="393"/>
                    </a:lnTo>
                    <a:lnTo>
                      <a:pt x="244" y="393"/>
                    </a:lnTo>
                    <a:lnTo>
                      <a:pt x="249" y="393"/>
                    </a:lnTo>
                    <a:lnTo>
                      <a:pt x="253" y="393"/>
                    </a:lnTo>
                    <a:lnTo>
                      <a:pt x="249" y="384"/>
                    </a:lnTo>
                    <a:lnTo>
                      <a:pt x="249" y="384"/>
                    </a:lnTo>
                    <a:lnTo>
                      <a:pt x="249" y="380"/>
                    </a:lnTo>
                    <a:lnTo>
                      <a:pt x="249" y="380"/>
                    </a:lnTo>
                    <a:lnTo>
                      <a:pt x="244" y="380"/>
                    </a:lnTo>
                    <a:lnTo>
                      <a:pt x="244" y="375"/>
                    </a:lnTo>
                    <a:lnTo>
                      <a:pt x="244" y="375"/>
                    </a:lnTo>
                    <a:lnTo>
                      <a:pt x="244" y="375"/>
                    </a:lnTo>
                    <a:lnTo>
                      <a:pt x="249" y="375"/>
                    </a:lnTo>
                    <a:lnTo>
                      <a:pt x="244" y="371"/>
                    </a:lnTo>
                    <a:lnTo>
                      <a:pt x="244" y="371"/>
                    </a:lnTo>
                    <a:lnTo>
                      <a:pt x="244" y="371"/>
                    </a:lnTo>
                    <a:lnTo>
                      <a:pt x="244" y="371"/>
                    </a:lnTo>
                    <a:lnTo>
                      <a:pt x="240" y="366"/>
                    </a:lnTo>
                    <a:lnTo>
                      <a:pt x="235" y="366"/>
                    </a:lnTo>
                    <a:lnTo>
                      <a:pt x="235" y="362"/>
                    </a:lnTo>
                    <a:lnTo>
                      <a:pt x="235" y="362"/>
                    </a:lnTo>
                    <a:lnTo>
                      <a:pt x="226" y="366"/>
                    </a:lnTo>
                    <a:lnTo>
                      <a:pt x="226" y="366"/>
                    </a:lnTo>
                    <a:lnTo>
                      <a:pt x="226" y="366"/>
                    </a:lnTo>
                    <a:lnTo>
                      <a:pt x="222" y="366"/>
                    </a:lnTo>
                    <a:lnTo>
                      <a:pt x="222" y="362"/>
                    </a:lnTo>
                    <a:lnTo>
                      <a:pt x="217" y="362"/>
                    </a:lnTo>
                    <a:lnTo>
                      <a:pt x="217" y="357"/>
                    </a:lnTo>
                    <a:lnTo>
                      <a:pt x="217" y="357"/>
                    </a:lnTo>
                    <a:lnTo>
                      <a:pt x="213" y="357"/>
                    </a:lnTo>
                    <a:lnTo>
                      <a:pt x="213" y="357"/>
                    </a:lnTo>
                    <a:lnTo>
                      <a:pt x="213" y="357"/>
                    </a:lnTo>
                    <a:lnTo>
                      <a:pt x="208" y="357"/>
                    </a:lnTo>
                    <a:lnTo>
                      <a:pt x="204" y="353"/>
                    </a:lnTo>
                    <a:lnTo>
                      <a:pt x="204" y="353"/>
                    </a:lnTo>
                    <a:lnTo>
                      <a:pt x="204" y="353"/>
                    </a:lnTo>
                    <a:lnTo>
                      <a:pt x="199" y="353"/>
                    </a:lnTo>
                    <a:lnTo>
                      <a:pt x="199" y="353"/>
                    </a:lnTo>
                    <a:lnTo>
                      <a:pt x="199" y="348"/>
                    </a:lnTo>
                    <a:lnTo>
                      <a:pt x="199" y="348"/>
                    </a:lnTo>
                    <a:lnTo>
                      <a:pt x="199" y="348"/>
                    </a:lnTo>
                    <a:lnTo>
                      <a:pt x="195" y="348"/>
                    </a:lnTo>
                    <a:lnTo>
                      <a:pt x="195" y="348"/>
                    </a:lnTo>
                    <a:lnTo>
                      <a:pt x="195" y="348"/>
                    </a:lnTo>
                    <a:lnTo>
                      <a:pt x="190" y="348"/>
                    </a:lnTo>
                    <a:lnTo>
                      <a:pt x="190" y="348"/>
                    </a:lnTo>
                    <a:lnTo>
                      <a:pt x="190" y="344"/>
                    </a:lnTo>
                    <a:lnTo>
                      <a:pt x="186" y="344"/>
                    </a:lnTo>
                    <a:lnTo>
                      <a:pt x="186" y="344"/>
                    </a:lnTo>
                    <a:lnTo>
                      <a:pt x="181" y="344"/>
                    </a:lnTo>
                    <a:lnTo>
                      <a:pt x="181" y="344"/>
                    </a:lnTo>
                    <a:lnTo>
                      <a:pt x="177" y="344"/>
                    </a:lnTo>
                    <a:lnTo>
                      <a:pt x="172" y="344"/>
                    </a:lnTo>
                    <a:lnTo>
                      <a:pt x="172" y="344"/>
                    </a:lnTo>
                    <a:lnTo>
                      <a:pt x="172" y="339"/>
                    </a:lnTo>
                    <a:lnTo>
                      <a:pt x="172" y="339"/>
                    </a:lnTo>
                    <a:lnTo>
                      <a:pt x="168" y="339"/>
                    </a:lnTo>
                    <a:lnTo>
                      <a:pt x="168" y="335"/>
                    </a:lnTo>
                    <a:lnTo>
                      <a:pt x="168" y="335"/>
                    </a:lnTo>
                    <a:lnTo>
                      <a:pt x="163" y="335"/>
                    </a:lnTo>
                    <a:lnTo>
                      <a:pt x="163" y="335"/>
                    </a:lnTo>
                    <a:lnTo>
                      <a:pt x="163" y="335"/>
                    </a:lnTo>
                    <a:lnTo>
                      <a:pt x="163" y="335"/>
                    </a:lnTo>
                    <a:lnTo>
                      <a:pt x="163" y="335"/>
                    </a:lnTo>
                    <a:lnTo>
                      <a:pt x="163" y="330"/>
                    </a:lnTo>
                    <a:lnTo>
                      <a:pt x="159" y="330"/>
                    </a:lnTo>
                    <a:lnTo>
                      <a:pt x="159" y="330"/>
                    </a:lnTo>
                    <a:lnTo>
                      <a:pt x="159" y="330"/>
                    </a:lnTo>
                    <a:lnTo>
                      <a:pt x="159" y="330"/>
                    </a:lnTo>
                    <a:lnTo>
                      <a:pt x="159" y="330"/>
                    </a:lnTo>
                    <a:lnTo>
                      <a:pt x="159" y="330"/>
                    </a:lnTo>
                    <a:lnTo>
                      <a:pt x="159" y="326"/>
                    </a:lnTo>
                    <a:lnTo>
                      <a:pt x="159" y="326"/>
                    </a:lnTo>
                    <a:lnTo>
                      <a:pt x="159" y="326"/>
                    </a:lnTo>
                    <a:lnTo>
                      <a:pt x="154" y="326"/>
                    </a:lnTo>
                    <a:lnTo>
                      <a:pt x="154" y="321"/>
                    </a:lnTo>
                    <a:lnTo>
                      <a:pt x="154" y="321"/>
                    </a:lnTo>
                    <a:lnTo>
                      <a:pt x="154" y="321"/>
                    </a:lnTo>
                    <a:lnTo>
                      <a:pt x="154" y="321"/>
                    </a:lnTo>
                    <a:lnTo>
                      <a:pt x="154" y="316"/>
                    </a:lnTo>
                    <a:lnTo>
                      <a:pt x="154" y="316"/>
                    </a:lnTo>
                    <a:lnTo>
                      <a:pt x="154" y="316"/>
                    </a:lnTo>
                    <a:lnTo>
                      <a:pt x="154" y="312"/>
                    </a:lnTo>
                    <a:lnTo>
                      <a:pt x="154" y="307"/>
                    </a:lnTo>
                    <a:lnTo>
                      <a:pt x="154" y="307"/>
                    </a:lnTo>
                    <a:lnTo>
                      <a:pt x="154" y="307"/>
                    </a:lnTo>
                    <a:lnTo>
                      <a:pt x="154" y="303"/>
                    </a:lnTo>
                    <a:lnTo>
                      <a:pt x="154" y="303"/>
                    </a:lnTo>
                    <a:lnTo>
                      <a:pt x="154" y="298"/>
                    </a:lnTo>
                    <a:lnTo>
                      <a:pt x="154" y="298"/>
                    </a:lnTo>
                    <a:lnTo>
                      <a:pt x="154" y="294"/>
                    </a:lnTo>
                    <a:lnTo>
                      <a:pt x="154" y="294"/>
                    </a:lnTo>
                    <a:lnTo>
                      <a:pt x="154" y="294"/>
                    </a:lnTo>
                    <a:lnTo>
                      <a:pt x="154" y="289"/>
                    </a:lnTo>
                    <a:lnTo>
                      <a:pt x="150" y="289"/>
                    </a:lnTo>
                    <a:lnTo>
                      <a:pt x="150" y="294"/>
                    </a:lnTo>
                    <a:lnTo>
                      <a:pt x="150" y="294"/>
                    </a:lnTo>
                    <a:lnTo>
                      <a:pt x="150" y="294"/>
                    </a:lnTo>
                    <a:lnTo>
                      <a:pt x="145" y="294"/>
                    </a:lnTo>
                    <a:lnTo>
                      <a:pt x="145" y="294"/>
                    </a:lnTo>
                    <a:lnTo>
                      <a:pt x="136" y="294"/>
                    </a:lnTo>
                    <a:lnTo>
                      <a:pt x="136" y="294"/>
                    </a:lnTo>
                    <a:lnTo>
                      <a:pt x="131" y="294"/>
                    </a:lnTo>
                    <a:lnTo>
                      <a:pt x="131" y="294"/>
                    </a:lnTo>
                    <a:lnTo>
                      <a:pt x="131" y="298"/>
                    </a:lnTo>
                    <a:lnTo>
                      <a:pt x="122" y="303"/>
                    </a:lnTo>
                    <a:lnTo>
                      <a:pt x="122" y="303"/>
                    </a:lnTo>
                    <a:lnTo>
                      <a:pt x="122" y="303"/>
                    </a:lnTo>
                    <a:lnTo>
                      <a:pt x="118" y="303"/>
                    </a:lnTo>
                    <a:lnTo>
                      <a:pt x="118" y="303"/>
                    </a:lnTo>
                    <a:lnTo>
                      <a:pt x="113" y="307"/>
                    </a:lnTo>
                    <a:lnTo>
                      <a:pt x="113" y="307"/>
                    </a:lnTo>
                    <a:lnTo>
                      <a:pt x="113" y="312"/>
                    </a:lnTo>
                    <a:lnTo>
                      <a:pt x="113" y="312"/>
                    </a:lnTo>
                    <a:lnTo>
                      <a:pt x="113" y="312"/>
                    </a:lnTo>
                    <a:lnTo>
                      <a:pt x="109" y="312"/>
                    </a:lnTo>
                    <a:lnTo>
                      <a:pt x="109" y="312"/>
                    </a:lnTo>
                    <a:lnTo>
                      <a:pt x="104" y="312"/>
                    </a:lnTo>
                    <a:lnTo>
                      <a:pt x="104" y="316"/>
                    </a:lnTo>
                    <a:lnTo>
                      <a:pt x="104" y="316"/>
                    </a:lnTo>
                    <a:lnTo>
                      <a:pt x="104" y="316"/>
                    </a:lnTo>
                    <a:lnTo>
                      <a:pt x="100" y="316"/>
                    </a:lnTo>
                    <a:lnTo>
                      <a:pt x="100" y="321"/>
                    </a:lnTo>
                    <a:lnTo>
                      <a:pt x="100" y="321"/>
                    </a:lnTo>
                    <a:lnTo>
                      <a:pt x="95" y="321"/>
                    </a:lnTo>
                    <a:lnTo>
                      <a:pt x="95" y="321"/>
                    </a:lnTo>
                    <a:lnTo>
                      <a:pt x="95" y="316"/>
                    </a:lnTo>
                    <a:lnTo>
                      <a:pt x="95" y="316"/>
                    </a:lnTo>
                    <a:lnTo>
                      <a:pt x="91" y="316"/>
                    </a:lnTo>
                    <a:lnTo>
                      <a:pt x="86" y="316"/>
                    </a:lnTo>
                    <a:lnTo>
                      <a:pt x="82" y="316"/>
                    </a:lnTo>
                    <a:lnTo>
                      <a:pt x="82" y="316"/>
                    </a:lnTo>
                    <a:lnTo>
                      <a:pt x="82" y="316"/>
                    </a:lnTo>
                    <a:lnTo>
                      <a:pt x="77" y="316"/>
                    </a:lnTo>
                    <a:lnTo>
                      <a:pt x="77" y="316"/>
                    </a:lnTo>
                    <a:lnTo>
                      <a:pt x="73" y="316"/>
                    </a:lnTo>
                    <a:lnTo>
                      <a:pt x="73" y="316"/>
                    </a:lnTo>
                    <a:lnTo>
                      <a:pt x="68" y="316"/>
                    </a:lnTo>
                    <a:lnTo>
                      <a:pt x="68" y="321"/>
                    </a:lnTo>
                    <a:lnTo>
                      <a:pt x="68" y="316"/>
                    </a:lnTo>
                    <a:lnTo>
                      <a:pt x="68" y="316"/>
                    </a:lnTo>
                    <a:lnTo>
                      <a:pt x="64" y="316"/>
                    </a:lnTo>
                    <a:lnTo>
                      <a:pt x="64" y="316"/>
                    </a:lnTo>
                    <a:lnTo>
                      <a:pt x="64" y="316"/>
                    </a:lnTo>
                    <a:lnTo>
                      <a:pt x="64" y="316"/>
                    </a:lnTo>
                    <a:lnTo>
                      <a:pt x="64" y="307"/>
                    </a:lnTo>
                    <a:lnTo>
                      <a:pt x="64" y="303"/>
                    </a:lnTo>
                    <a:lnTo>
                      <a:pt x="64" y="303"/>
                    </a:lnTo>
                    <a:lnTo>
                      <a:pt x="64" y="298"/>
                    </a:lnTo>
                    <a:lnTo>
                      <a:pt x="59" y="294"/>
                    </a:lnTo>
                    <a:lnTo>
                      <a:pt x="64" y="294"/>
                    </a:lnTo>
                    <a:lnTo>
                      <a:pt x="64" y="294"/>
                    </a:lnTo>
                    <a:lnTo>
                      <a:pt x="64" y="289"/>
                    </a:lnTo>
                    <a:lnTo>
                      <a:pt x="64" y="289"/>
                    </a:lnTo>
                    <a:lnTo>
                      <a:pt x="64" y="289"/>
                    </a:lnTo>
                    <a:lnTo>
                      <a:pt x="64" y="285"/>
                    </a:lnTo>
                    <a:lnTo>
                      <a:pt x="59" y="289"/>
                    </a:lnTo>
                    <a:lnTo>
                      <a:pt x="59" y="289"/>
                    </a:lnTo>
                    <a:lnTo>
                      <a:pt x="59" y="289"/>
                    </a:lnTo>
                    <a:lnTo>
                      <a:pt x="59" y="289"/>
                    </a:lnTo>
                    <a:lnTo>
                      <a:pt x="59" y="289"/>
                    </a:lnTo>
                    <a:lnTo>
                      <a:pt x="55" y="289"/>
                    </a:lnTo>
                    <a:lnTo>
                      <a:pt x="55" y="294"/>
                    </a:lnTo>
                    <a:lnTo>
                      <a:pt x="55" y="294"/>
                    </a:lnTo>
                    <a:lnTo>
                      <a:pt x="55" y="294"/>
                    </a:lnTo>
                    <a:lnTo>
                      <a:pt x="50" y="298"/>
                    </a:lnTo>
                    <a:lnTo>
                      <a:pt x="50" y="298"/>
                    </a:lnTo>
                    <a:lnTo>
                      <a:pt x="46" y="298"/>
                    </a:lnTo>
                    <a:lnTo>
                      <a:pt x="41" y="298"/>
                    </a:lnTo>
                    <a:lnTo>
                      <a:pt x="37" y="298"/>
                    </a:lnTo>
                    <a:lnTo>
                      <a:pt x="37" y="298"/>
                    </a:lnTo>
                    <a:lnTo>
                      <a:pt x="37" y="298"/>
                    </a:lnTo>
                    <a:lnTo>
                      <a:pt x="37" y="294"/>
                    </a:lnTo>
                    <a:lnTo>
                      <a:pt x="32" y="294"/>
                    </a:lnTo>
                    <a:lnTo>
                      <a:pt x="32" y="294"/>
                    </a:lnTo>
                    <a:lnTo>
                      <a:pt x="32" y="289"/>
                    </a:lnTo>
                    <a:lnTo>
                      <a:pt x="32" y="289"/>
                    </a:lnTo>
                    <a:lnTo>
                      <a:pt x="32" y="289"/>
                    </a:lnTo>
                    <a:lnTo>
                      <a:pt x="28" y="289"/>
                    </a:lnTo>
                    <a:lnTo>
                      <a:pt x="28" y="289"/>
                    </a:lnTo>
                    <a:lnTo>
                      <a:pt x="23" y="285"/>
                    </a:lnTo>
                    <a:lnTo>
                      <a:pt x="19" y="285"/>
                    </a:lnTo>
                    <a:lnTo>
                      <a:pt x="14" y="285"/>
                    </a:lnTo>
                    <a:lnTo>
                      <a:pt x="19" y="285"/>
                    </a:lnTo>
                    <a:lnTo>
                      <a:pt x="19" y="280"/>
                    </a:lnTo>
                    <a:lnTo>
                      <a:pt x="19" y="280"/>
                    </a:lnTo>
                    <a:lnTo>
                      <a:pt x="19" y="276"/>
                    </a:lnTo>
                    <a:lnTo>
                      <a:pt x="14" y="276"/>
                    </a:lnTo>
                    <a:lnTo>
                      <a:pt x="14" y="271"/>
                    </a:lnTo>
                    <a:lnTo>
                      <a:pt x="14" y="271"/>
                    </a:lnTo>
                    <a:lnTo>
                      <a:pt x="14" y="271"/>
                    </a:lnTo>
                    <a:lnTo>
                      <a:pt x="14" y="271"/>
                    </a:lnTo>
                    <a:lnTo>
                      <a:pt x="9" y="267"/>
                    </a:lnTo>
                    <a:lnTo>
                      <a:pt x="9" y="267"/>
                    </a:lnTo>
                    <a:lnTo>
                      <a:pt x="9" y="267"/>
                    </a:lnTo>
                    <a:lnTo>
                      <a:pt x="9" y="267"/>
                    </a:lnTo>
                    <a:lnTo>
                      <a:pt x="9" y="267"/>
                    </a:lnTo>
                    <a:lnTo>
                      <a:pt x="9" y="267"/>
                    </a:lnTo>
                    <a:lnTo>
                      <a:pt x="9" y="262"/>
                    </a:lnTo>
                    <a:lnTo>
                      <a:pt x="5" y="262"/>
                    </a:lnTo>
                    <a:lnTo>
                      <a:pt x="5" y="262"/>
                    </a:lnTo>
                    <a:lnTo>
                      <a:pt x="5" y="262"/>
                    </a:lnTo>
                    <a:lnTo>
                      <a:pt x="5" y="258"/>
                    </a:lnTo>
                    <a:lnTo>
                      <a:pt x="5" y="258"/>
                    </a:lnTo>
                    <a:lnTo>
                      <a:pt x="5" y="258"/>
                    </a:lnTo>
                    <a:lnTo>
                      <a:pt x="5" y="258"/>
                    </a:lnTo>
                    <a:lnTo>
                      <a:pt x="5" y="258"/>
                    </a:lnTo>
                    <a:lnTo>
                      <a:pt x="5" y="258"/>
                    </a:lnTo>
                    <a:lnTo>
                      <a:pt x="5" y="253"/>
                    </a:lnTo>
                    <a:lnTo>
                      <a:pt x="5" y="253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0" y="249"/>
                    </a:lnTo>
                    <a:lnTo>
                      <a:pt x="0" y="249"/>
                    </a:lnTo>
                    <a:lnTo>
                      <a:pt x="0" y="249"/>
                    </a:lnTo>
                    <a:lnTo>
                      <a:pt x="0" y="249"/>
                    </a:lnTo>
                    <a:lnTo>
                      <a:pt x="0" y="249"/>
                    </a:lnTo>
                    <a:lnTo>
                      <a:pt x="0" y="249"/>
                    </a:lnTo>
                    <a:lnTo>
                      <a:pt x="0" y="249"/>
                    </a:lnTo>
                    <a:lnTo>
                      <a:pt x="0" y="249"/>
                    </a:lnTo>
                    <a:lnTo>
                      <a:pt x="0" y="249"/>
                    </a:lnTo>
                    <a:lnTo>
                      <a:pt x="0" y="244"/>
                    </a:lnTo>
                    <a:lnTo>
                      <a:pt x="5" y="244"/>
                    </a:lnTo>
                    <a:lnTo>
                      <a:pt x="5" y="244"/>
                    </a:lnTo>
                    <a:lnTo>
                      <a:pt x="5" y="244"/>
                    </a:lnTo>
                    <a:lnTo>
                      <a:pt x="0" y="244"/>
                    </a:lnTo>
                    <a:lnTo>
                      <a:pt x="0" y="244"/>
                    </a:lnTo>
                    <a:lnTo>
                      <a:pt x="0" y="240"/>
                    </a:lnTo>
                    <a:lnTo>
                      <a:pt x="0" y="240"/>
                    </a:lnTo>
                    <a:lnTo>
                      <a:pt x="0" y="240"/>
                    </a:lnTo>
                    <a:lnTo>
                      <a:pt x="5" y="235"/>
                    </a:lnTo>
                    <a:lnTo>
                      <a:pt x="5" y="235"/>
                    </a:lnTo>
                    <a:lnTo>
                      <a:pt x="9" y="231"/>
                    </a:lnTo>
                    <a:lnTo>
                      <a:pt x="9" y="231"/>
                    </a:lnTo>
                    <a:lnTo>
                      <a:pt x="14" y="231"/>
                    </a:lnTo>
                    <a:lnTo>
                      <a:pt x="14" y="231"/>
                    </a:lnTo>
                    <a:lnTo>
                      <a:pt x="14" y="226"/>
                    </a:lnTo>
                    <a:lnTo>
                      <a:pt x="14" y="226"/>
                    </a:lnTo>
                    <a:lnTo>
                      <a:pt x="9" y="226"/>
                    </a:lnTo>
                    <a:lnTo>
                      <a:pt x="9" y="222"/>
                    </a:lnTo>
                    <a:lnTo>
                      <a:pt x="9" y="222"/>
                    </a:lnTo>
                    <a:lnTo>
                      <a:pt x="9" y="222"/>
                    </a:lnTo>
                    <a:lnTo>
                      <a:pt x="9" y="217"/>
                    </a:lnTo>
                    <a:lnTo>
                      <a:pt x="14" y="217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14" y="208"/>
                    </a:lnTo>
                    <a:lnTo>
                      <a:pt x="14" y="208"/>
                    </a:lnTo>
                    <a:lnTo>
                      <a:pt x="14" y="203"/>
                    </a:lnTo>
                    <a:lnTo>
                      <a:pt x="14" y="203"/>
                    </a:lnTo>
                    <a:lnTo>
                      <a:pt x="14" y="203"/>
                    </a:lnTo>
                    <a:lnTo>
                      <a:pt x="19" y="203"/>
                    </a:lnTo>
                    <a:lnTo>
                      <a:pt x="19" y="203"/>
                    </a:lnTo>
                    <a:lnTo>
                      <a:pt x="19" y="199"/>
                    </a:lnTo>
                    <a:lnTo>
                      <a:pt x="23" y="199"/>
                    </a:lnTo>
                    <a:lnTo>
                      <a:pt x="23" y="194"/>
                    </a:lnTo>
                    <a:lnTo>
                      <a:pt x="28" y="194"/>
                    </a:lnTo>
                    <a:lnTo>
                      <a:pt x="28" y="194"/>
                    </a:lnTo>
                    <a:lnTo>
                      <a:pt x="32" y="190"/>
                    </a:lnTo>
                    <a:lnTo>
                      <a:pt x="32" y="190"/>
                    </a:lnTo>
                    <a:lnTo>
                      <a:pt x="32" y="190"/>
                    </a:lnTo>
                    <a:lnTo>
                      <a:pt x="37" y="190"/>
                    </a:lnTo>
                    <a:lnTo>
                      <a:pt x="37" y="190"/>
                    </a:lnTo>
                    <a:lnTo>
                      <a:pt x="41" y="190"/>
                    </a:lnTo>
                    <a:lnTo>
                      <a:pt x="41" y="190"/>
                    </a:lnTo>
                    <a:lnTo>
                      <a:pt x="46" y="190"/>
                    </a:lnTo>
                    <a:lnTo>
                      <a:pt x="46" y="190"/>
                    </a:lnTo>
                    <a:lnTo>
                      <a:pt x="50" y="185"/>
                    </a:lnTo>
                    <a:lnTo>
                      <a:pt x="50" y="185"/>
                    </a:lnTo>
                    <a:lnTo>
                      <a:pt x="50" y="185"/>
                    </a:lnTo>
                    <a:lnTo>
                      <a:pt x="50" y="185"/>
                    </a:lnTo>
                    <a:lnTo>
                      <a:pt x="50" y="185"/>
                    </a:lnTo>
                    <a:lnTo>
                      <a:pt x="55" y="185"/>
                    </a:lnTo>
                    <a:lnTo>
                      <a:pt x="55" y="185"/>
                    </a:lnTo>
                    <a:lnTo>
                      <a:pt x="59" y="185"/>
                    </a:lnTo>
                    <a:lnTo>
                      <a:pt x="59" y="185"/>
                    </a:lnTo>
                    <a:lnTo>
                      <a:pt x="59" y="185"/>
                    </a:lnTo>
                    <a:lnTo>
                      <a:pt x="59" y="185"/>
                    </a:lnTo>
                    <a:lnTo>
                      <a:pt x="64" y="185"/>
                    </a:lnTo>
                    <a:lnTo>
                      <a:pt x="64" y="185"/>
                    </a:lnTo>
                    <a:lnTo>
                      <a:pt x="64" y="185"/>
                    </a:lnTo>
                    <a:lnTo>
                      <a:pt x="64" y="185"/>
                    </a:lnTo>
                    <a:lnTo>
                      <a:pt x="64" y="185"/>
                    </a:lnTo>
                    <a:lnTo>
                      <a:pt x="64" y="185"/>
                    </a:lnTo>
                    <a:lnTo>
                      <a:pt x="64" y="185"/>
                    </a:lnTo>
                    <a:lnTo>
                      <a:pt x="68" y="181"/>
                    </a:lnTo>
                    <a:lnTo>
                      <a:pt x="68" y="172"/>
                    </a:lnTo>
                    <a:lnTo>
                      <a:pt x="68" y="167"/>
                    </a:lnTo>
                    <a:lnTo>
                      <a:pt x="68" y="163"/>
                    </a:lnTo>
                    <a:lnTo>
                      <a:pt x="68" y="154"/>
                    </a:lnTo>
                    <a:lnTo>
                      <a:pt x="73" y="149"/>
                    </a:lnTo>
                    <a:lnTo>
                      <a:pt x="73" y="140"/>
                    </a:lnTo>
                    <a:lnTo>
                      <a:pt x="73" y="136"/>
                    </a:lnTo>
                    <a:lnTo>
                      <a:pt x="73" y="136"/>
                    </a:lnTo>
                    <a:lnTo>
                      <a:pt x="73" y="131"/>
                    </a:lnTo>
                    <a:lnTo>
                      <a:pt x="73" y="127"/>
                    </a:lnTo>
                    <a:lnTo>
                      <a:pt x="73" y="127"/>
                    </a:lnTo>
                    <a:lnTo>
                      <a:pt x="73" y="127"/>
                    </a:lnTo>
                    <a:lnTo>
                      <a:pt x="73" y="122"/>
                    </a:lnTo>
                    <a:lnTo>
                      <a:pt x="73" y="122"/>
                    </a:lnTo>
                    <a:lnTo>
                      <a:pt x="73" y="122"/>
                    </a:lnTo>
                    <a:lnTo>
                      <a:pt x="73" y="122"/>
                    </a:lnTo>
                    <a:lnTo>
                      <a:pt x="73" y="122"/>
                    </a:lnTo>
                    <a:lnTo>
                      <a:pt x="73" y="122"/>
                    </a:lnTo>
                    <a:lnTo>
                      <a:pt x="73" y="122"/>
                    </a:lnTo>
                    <a:lnTo>
                      <a:pt x="73" y="118"/>
                    </a:lnTo>
                    <a:lnTo>
                      <a:pt x="73" y="118"/>
                    </a:lnTo>
                    <a:lnTo>
                      <a:pt x="73" y="118"/>
                    </a:lnTo>
                    <a:lnTo>
                      <a:pt x="68" y="118"/>
                    </a:lnTo>
                    <a:lnTo>
                      <a:pt x="68" y="118"/>
                    </a:lnTo>
                    <a:lnTo>
                      <a:pt x="68" y="113"/>
                    </a:lnTo>
                    <a:lnTo>
                      <a:pt x="68" y="113"/>
                    </a:lnTo>
                    <a:lnTo>
                      <a:pt x="68" y="113"/>
                    </a:lnTo>
                    <a:lnTo>
                      <a:pt x="68" y="113"/>
                    </a:lnTo>
                    <a:lnTo>
                      <a:pt x="68" y="113"/>
                    </a:lnTo>
                    <a:lnTo>
                      <a:pt x="68" y="113"/>
                    </a:lnTo>
                    <a:lnTo>
                      <a:pt x="68" y="113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99"/>
                    </a:lnTo>
                    <a:lnTo>
                      <a:pt x="64" y="99"/>
                    </a:lnTo>
                    <a:lnTo>
                      <a:pt x="64" y="95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68" y="90"/>
                    </a:lnTo>
                    <a:lnTo>
                      <a:pt x="68" y="90"/>
                    </a:lnTo>
                    <a:lnTo>
                      <a:pt x="68" y="90"/>
                    </a:lnTo>
                    <a:lnTo>
                      <a:pt x="68" y="90"/>
                    </a:lnTo>
                    <a:lnTo>
                      <a:pt x="68" y="90"/>
                    </a:lnTo>
                    <a:lnTo>
                      <a:pt x="68" y="90"/>
                    </a:lnTo>
                    <a:lnTo>
                      <a:pt x="73" y="90"/>
                    </a:lnTo>
                    <a:lnTo>
                      <a:pt x="73" y="86"/>
                    </a:lnTo>
                    <a:lnTo>
                      <a:pt x="73" y="86"/>
                    </a:lnTo>
                    <a:lnTo>
                      <a:pt x="73" y="90"/>
                    </a:lnTo>
                    <a:lnTo>
                      <a:pt x="73" y="90"/>
                    </a:lnTo>
                    <a:lnTo>
                      <a:pt x="73" y="90"/>
                    </a:lnTo>
                    <a:lnTo>
                      <a:pt x="77" y="90"/>
                    </a:lnTo>
                    <a:lnTo>
                      <a:pt x="77" y="90"/>
                    </a:lnTo>
                    <a:lnTo>
                      <a:pt x="77" y="90"/>
                    </a:lnTo>
                    <a:lnTo>
                      <a:pt x="77" y="90"/>
                    </a:lnTo>
                    <a:lnTo>
                      <a:pt x="77" y="90"/>
                    </a:lnTo>
                    <a:lnTo>
                      <a:pt x="77" y="90"/>
                    </a:lnTo>
                    <a:lnTo>
                      <a:pt x="77" y="90"/>
                    </a:lnTo>
                    <a:lnTo>
                      <a:pt x="77" y="90"/>
                    </a:lnTo>
                    <a:lnTo>
                      <a:pt x="77" y="90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81"/>
                    </a:lnTo>
                    <a:lnTo>
                      <a:pt x="77" y="81"/>
                    </a:lnTo>
                    <a:lnTo>
                      <a:pt x="77" y="81"/>
                    </a:lnTo>
                    <a:lnTo>
                      <a:pt x="73" y="81"/>
                    </a:lnTo>
                    <a:lnTo>
                      <a:pt x="73" y="81"/>
                    </a:lnTo>
                    <a:lnTo>
                      <a:pt x="73" y="81"/>
                    </a:lnTo>
                    <a:lnTo>
                      <a:pt x="73" y="81"/>
                    </a:lnTo>
                    <a:lnTo>
                      <a:pt x="73" y="81"/>
                    </a:lnTo>
                    <a:lnTo>
                      <a:pt x="73" y="81"/>
                    </a:lnTo>
                    <a:lnTo>
                      <a:pt x="68" y="81"/>
                    </a:lnTo>
                    <a:lnTo>
                      <a:pt x="68" y="81"/>
                    </a:lnTo>
                    <a:lnTo>
                      <a:pt x="68" y="81"/>
                    </a:lnTo>
                    <a:lnTo>
                      <a:pt x="68" y="81"/>
                    </a:lnTo>
                    <a:lnTo>
                      <a:pt x="68" y="81"/>
                    </a:lnTo>
                    <a:lnTo>
                      <a:pt x="68" y="77"/>
                    </a:lnTo>
                    <a:lnTo>
                      <a:pt x="68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3" y="68"/>
                    </a:lnTo>
                    <a:lnTo>
                      <a:pt x="73" y="68"/>
                    </a:lnTo>
                    <a:lnTo>
                      <a:pt x="73" y="68"/>
                    </a:lnTo>
                    <a:lnTo>
                      <a:pt x="73" y="68"/>
                    </a:lnTo>
                    <a:lnTo>
                      <a:pt x="77" y="68"/>
                    </a:lnTo>
                    <a:lnTo>
                      <a:pt x="77" y="68"/>
                    </a:lnTo>
                    <a:lnTo>
                      <a:pt x="82" y="68"/>
                    </a:lnTo>
                    <a:lnTo>
                      <a:pt x="86" y="68"/>
                    </a:lnTo>
                    <a:lnTo>
                      <a:pt x="91" y="68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95" y="63"/>
                    </a:lnTo>
                    <a:lnTo>
                      <a:pt x="95" y="63"/>
                    </a:lnTo>
                    <a:lnTo>
                      <a:pt x="95" y="63"/>
                    </a:lnTo>
                    <a:lnTo>
                      <a:pt x="95" y="63"/>
                    </a:lnTo>
                    <a:lnTo>
                      <a:pt x="95" y="63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9" y="59"/>
                    </a:lnTo>
                    <a:lnTo>
                      <a:pt x="109" y="59"/>
                    </a:lnTo>
                    <a:lnTo>
                      <a:pt x="109" y="59"/>
                    </a:lnTo>
                    <a:lnTo>
                      <a:pt x="109" y="63"/>
                    </a:lnTo>
                    <a:lnTo>
                      <a:pt x="109" y="63"/>
                    </a:lnTo>
                    <a:lnTo>
                      <a:pt x="113" y="68"/>
                    </a:lnTo>
                    <a:lnTo>
                      <a:pt x="113" y="68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13" y="77"/>
                    </a:lnTo>
                    <a:lnTo>
                      <a:pt x="113" y="77"/>
                    </a:lnTo>
                    <a:lnTo>
                      <a:pt x="113" y="77"/>
                    </a:lnTo>
                    <a:lnTo>
                      <a:pt x="118" y="77"/>
                    </a:lnTo>
                    <a:lnTo>
                      <a:pt x="122" y="81"/>
                    </a:lnTo>
                    <a:lnTo>
                      <a:pt x="127" y="86"/>
                    </a:lnTo>
                    <a:lnTo>
                      <a:pt x="127" y="86"/>
                    </a:lnTo>
                    <a:lnTo>
                      <a:pt x="127" y="86"/>
                    </a:lnTo>
                    <a:lnTo>
                      <a:pt x="131" y="86"/>
                    </a:lnTo>
                    <a:lnTo>
                      <a:pt x="131" y="86"/>
                    </a:lnTo>
                    <a:lnTo>
                      <a:pt x="131" y="86"/>
                    </a:lnTo>
                    <a:lnTo>
                      <a:pt x="136" y="86"/>
                    </a:lnTo>
                    <a:lnTo>
                      <a:pt x="136" y="81"/>
                    </a:lnTo>
                    <a:lnTo>
                      <a:pt x="136" y="81"/>
                    </a:lnTo>
                    <a:lnTo>
                      <a:pt x="141" y="81"/>
                    </a:lnTo>
                    <a:lnTo>
                      <a:pt x="141" y="81"/>
                    </a:lnTo>
                    <a:lnTo>
                      <a:pt x="141" y="86"/>
                    </a:lnTo>
                    <a:lnTo>
                      <a:pt x="141" y="86"/>
                    </a:lnTo>
                    <a:lnTo>
                      <a:pt x="141" y="86"/>
                    </a:lnTo>
                    <a:lnTo>
                      <a:pt x="141" y="90"/>
                    </a:lnTo>
                    <a:lnTo>
                      <a:pt x="141" y="90"/>
                    </a:lnTo>
                    <a:lnTo>
                      <a:pt x="145" y="86"/>
                    </a:lnTo>
                    <a:lnTo>
                      <a:pt x="145" y="86"/>
                    </a:lnTo>
                    <a:lnTo>
                      <a:pt x="145" y="86"/>
                    </a:lnTo>
                    <a:lnTo>
                      <a:pt x="150" y="81"/>
                    </a:lnTo>
                    <a:lnTo>
                      <a:pt x="150" y="81"/>
                    </a:lnTo>
                    <a:lnTo>
                      <a:pt x="150" y="81"/>
                    </a:lnTo>
                    <a:lnTo>
                      <a:pt x="154" y="77"/>
                    </a:lnTo>
                    <a:lnTo>
                      <a:pt x="154" y="77"/>
                    </a:lnTo>
                    <a:lnTo>
                      <a:pt x="154" y="77"/>
                    </a:lnTo>
                    <a:lnTo>
                      <a:pt x="159" y="77"/>
                    </a:lnTo>
                    <a:lnTo>
                      <a:pt x="159" y="77"/>
                    </a:lnTo>
                    <a:lnTo>
                      <a:pt x="159" y="72"/>
                    </a:lnTo>
                    <a:lnTo>
                      <a:pt x="159" y="72"/>
                    </a:lnTo>
                    <a:lnTo>
                      <a:pt x="163" y="72"/>
                    </a:lnTo>
                    <a:lnTo>
                      <a:pt x="163" y="72"/>
                    </a:lnTo>
                    <a:lnTo>
                      <a:pt x="163" y="72"/>
                    </a:lnTo>
                    <a:lnTo>
                      <a:pt x="168" y="72"/>
                    </a:lnTo>
                    <a:lnTo>
                      <a:pt x="168" y="68"/>
                    </a:lnTo>
                    <a:lnTo>
                      <a:pt x="168" y="63"/>
                    </a:lnTo>
                    <a:lnTo>
                      <a:pt x="168" y="63"/>
                    </a:lnTo>
                    <a:lnTo>
                      <a:pt x="168" y="63"/>
                    </a:lnTo>
                    <a:lnTo>
                      <a:pt x="168" y="63"/>
                    </a:lnTo>
                    <a:lnTo>
                      <a:pt x="172" y="63"/>
                    </a:lnTo>
                    <a:lnTo>
                      <a:pt x="172" y="63"/>
                    </a:lnTo>
                    <a:lnTo>
                      <a:pt x="177" y="59"/>
                    </a:lnTo>
                    <a:lnTo>
                      <a:pt x="177" y="59"/>
                    </a:lnTo>
                    <a:lnTo>
                      <a:pt x="177" y="59"/>
                    </a:lnTo>
                    <a:lnTo>
                      <a:pt x="181" y="59"/>
                    </a:lnTo>
                    <a:lnTo>
                      <a:pt x="181" y="54"/>
                    </a:lnTo>
                    <a:lnTo>
                      <a:pt x="181" y="54"/>
                    </a:lnTo>
                    <a:lnTo>
                      <a:pt x="177" y="54"/>
                    </a:lnTo>
                    <a:lnTo>
                      <a:pt x="172" y="54"/>
                    </a:lnTo>
                    <a:lnTo>
                      <a:pt x="172" y="54"/>
                    </a:lnTo>
                    <a:lnTo>
                      <a:pt x="168" y="54"/>
                    </a:lnTo>
                    <a:lnTo>
                      <a:pt x="168" y="54"/>
                    </a:lnTo>
                    <a:lnTo>
                      <a:pt x="168" y="54"/>
                    </a:lnTo>
                    <a:lnTo>
                      <a:pt x="168" y="50"/>
                    </a:lnTo>
                    <a:lnTo>
                      <a:pt x="168" y="50"/>
                    </a:lnTo>
                    <a:lnTo>
                      <a:pt x="168" y="45"/>
                    </a:lnTo>
                    <a:lnTo>
                      <a:pt x="168" y="45"/>
                    </a:lnTo>
                    <a:lnTo>
                      <a:pt x="163" y="41"/>
                    </a:lnTo>
                    <a:lnTo>
                      <a:pt x="163" y="36"/>
                    </a:lnTo>
                    <a:lnTo>
                      <a:pt x="163" y="36"/>
                    </a:lnTo>
                    <a:lnTo>
                      <a:pt x="168" y="32"/>
                    </a:lnTo>
                    <a:lnTo>
                      <a:pt x="163" y="32"/>
                    </a:lnTo>
                    <a:lnTo>
                      <a:pt x="159" y="27"/>
                    </a:lnTo>
                    <a:lnTo>
                      <a:pt x="159" y="23"/>
                    </a:lnTo>
                    <a:lnTo>
                      <a:pt x="159" y="23"/>
                    </a:lnTo>
                    <a:lnTo>
                      <a:pt x="154" y="18"/>
                    </a:lnTo>
                    <a:lnTo>
                      <a:pt x="154" y="18"/>
                    </a:lnTo>
                    <a:lnTo>
                      <a:pt x="159" y="18"/>
                    </a:lnTo>
                    <a:lnTo>
                      <a:pt x="159" y="18"/>
                    </a:lnTo>
                    <a:lnTo>
                      <a:pt x="159" y="23"/>
                    </a:lnTo>
                    <a:lnTo>
                      <a:pt x="159" y="23"/>
                    </a:lnTo>
                    <a:lnTo>
                      <a:pt x="159" y="23"/>
                    </a:lnTo>
                    <a:lnTo>
                      <a:pt x="163" y="23"/>
                    </a:lnTo>
                    <a:lnTo>
                      <a:pt x="168" y="23"/>
                    </a:lnTo>
                    <a:lnTo>
                      <a:pt x="168" y="23"/>
                    </a:lnTo>
                    <a:lnTo>
                      <a:pt x="168" y="23"/>
                    </a:lnTo>
                    <a:lnTo>
                      <a:pt x="168" y="23"/>
                    </a:lnTo>
                    <a:lnTo>
                      <a:pt x="168" y="27"/>
                    </a:lnTo>
                    <a:lnTo>
                      <a:pt x="172" y="27"/>
                    </a:lnTo>
                    <a:lnTo>
                      <a:pt x="172" y="27"/>
                    </a:lnTo>
                    <a:lnTo>
                      <a:pt x="177" y="27"/>
                    </a:lnTo>
                    <a:lnTo>
                      <a:pt x="177" y="27"/>
                    </a:lnTo>
                    <a:lnTo>
                      <a:pt x="177" y="27"/>
                    </a:lnTo>
                    <a:lnTo>
                      <a:pt x="181" y="27"/>
                    </a:lnTo>
                    <a:lnTo>
                      <a:pt x="181" y="27"/>
                    </a:lnTo>
                    <a:lnTo>
                      <a:pt x="181" y="27"/>
                    </a:lnTo>
                    <a:lnTo>
                      <a:pt x="186" y="27"/>
                    </a:lnTo>
                    <a:lnTo>
                      <a:pt x="186" y="32"/>
                    </a:lnTo>
                    <a:lnTo>
                      <a:pt x="186" y="32"/>
                    </a:lnTo>
                    <a:lnTo>
                      <a:pt x="190" y="32"/>
                    </a:lnTo>
                    <a:lnTo>
                      <a:pt x="190" y="32"/>
                    </a:lnTo>
                    <a:lnTo>
                      <a:pt x="190" y="27"/>
                    </a:lnTo>
                    <a:lnTo>
                      <a:pt x="190" y="23"/>
                    </a:lnTo>
                    <a:lnTo>
                      <a:pt x="195" y="23"/>
                    </a:lnTo>
                    <a:lnTo>
                      <a:pt x="195" y="23"/>
                    </a:lnTo>
                    <a:lnTo>
                      <a:pt x="195" y="23"/>
                    </a:lnTo>
                    <a:lnTo>
                      <a:pt x="195" y="23"/>
                    </a:lnTo>
                    <a:lnTo>
                      <a:pt x="199" y="23"/>
                    </a:lnTo>
                    <a:lnTo>
                      <a:pt x="204" y="23"/>
                    </a:lnTo>
                    <a:lnTo>
                      <a:pt x="204" y="23"/>
                    </a:lnTo>
                    <a:lnTo>
                      <a:pt x="208" y="23"/>
                    </a:lnTo>
                    <a:lnTo>
                      <a:pt x="213" y="18"/>
                    </a:lnTo>
                    <a:lnTo>
                      <a:pt x="213" y="18"/>
                    </a:lnTo>
                    <a:lnTo>
                      <a:pt x="217" y="18"/>
                    </a:lnTo>
                    <a:lnTo>
                      <a:pt x="217" y="14"/>
                    </a:lnTo>
                    <a:lnTo>
                      <a:pt x="217" y="14"/>
                    </a:lnTo>
                    <a:lnTo>
                      <a:pt x="222" y="14"/>
                    </a:lnTo>
                    <a:lnTo>
                      <a:pt x="222" y="14"/>
                    </a:lnTo>
                    <a:lnTo>
                      <a:pt x="222" y="14"/>
                    </a:lnTo>
                    <a:lnTo>
                      <a:pt x="222" y="14"/>
                    </a:lnTo>
                    <a:lnTo>
                      <a:pt x="222" y="9"/>
                    </a:lnTo>
                    <a:lnTo>
                      <a:pt x="226" y="9"/>
                    </a:lnTo>
                    <a:lnTo>
                      <a:pt x="226" y="9"/>
                    </a:lnTo>
                    <a:lnTo>
                      <a:pt x="226" y="9"/>
                    </a:lnTo>
                    <a:lnTo>
                      <a:pt x="231" y="9"/>
                    </a:lnTo>
                    <a:lnTo>
                      <a:pt x="231" y="5"/>
                    </a:lnTo>
                    <a:lnTo>
                      <a:pt x="231" y="5"/>
                    </a:lnTo>
                    <a:lnTo>
                      <a:pt x="231" y="5"/>
                    </a:lnTo>
                    <a:lnTo>
                      <a:pt x="226" y="0"/>
                    </a:lnTo>
                    <a:lnTo>
                      <a:pt x="226" y="0"/>
                    </a:lnTo>
                    <a:lnTo>
                      <a:pt x="226" y="0"/>
                    </a:lnTo>
                    <a:lnTo>
                      <a:pt x="231" y="0"/>
                    </a:lnTo>
                    <a:lnTo>
                      <a:pt x="231" y="0"/>
                    </a:lnTo>
                    <a:lnTo>
                      <a:pt x="231" y="0"/>
                    </a:lnTo>
                    <a:lnTo>
                      <a:pt x="231" y="0"/>
                    </a:lnTo>
                    <a:lnTo>
                      <a:pt x="235" y="0"/>
                    </a:lnTo>
                    <a:lnTo>
                      <a:pt x="235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05" name="Freeform 26"/>
              <p:cNvSpPr>
                <a:spLocks/>
              </p:cNvSpPr>
              <p:nvPr/>
            </p:nvSpPr>
            <p:spPr bwMode="auto">
              <a:xfrm>
                <a:off x="7426326" y="2787651"/>
                <a:ext cx="28575" cy="36513"/>
              </a:xfrm>
              <a:custGeom>
                <a:avLst/>
                <a:gdLst>
                  <a:gd name="T0" fmla="*/ 18 w 18"/>
                  <a:gd name="T1" fmla="*/ 5 h 23"/>
                  <a:gd name="T2" fmla="*/ 18 w 18"/>
                  <a:gd name="T3" fmla="*/ 5 h 23"/>
                  <a:gd name="T4" fmla="*/ 18 w 18"/>
                  <a:gd name="T5" fmla="*/ 5 h 23"/>
                  <a:gd name="T6" fmla="*/ 18 w 18"/>
                  <a:gd name="T7" fmla="*/ 5 h 23"/>
                  <a:gd name="T8" fmla="*/ 13 w 18"/>
                  <a:gd name="T9" fmla="*/ 5 h 23"/>
                  <a:gd name="T10" fmla="*/ 13 w 18"/>
                  <a:gd name="T11" fmla="*/ 5 h 23"/>
                  <a:gd name="T12" fmla="*/ 13 w 18"/>
                  <a:gd name="T13" fmla="*/ 9 h 23"/>
                  <a:gd name="T14" fmla="*/ 13 w 18"/>
                  <a:gd name="T15" fmla="*/ 9 h 23"/>
                  <a:gd name="T16" fmla="*/ 13 w 18"/>
                  <a:gd name="T17" fmla="*/ 14 h 23"/>
                  <a:gd name="T18" fmla="*/ 13 w 18"/>
                  <a:gd name="T19" fmla="*/ 14 h 23"/>
                  <a:gd name="T20" fmla="*/ 18 w 18"/>
                  <a:gd name="T21" fmla="*/ 14 h 23"/>
                  <a:gd name="T22" fmla="*/ 13 w 18"/>
                  <a:gd name="T23" fmla="*/ 14 h 23"/>
                  <a:gd name="T24" fmla="*/ 13 w 18"/>
                  <a:gd name="T25" fmla="*/ 14 h 23"/>
                  <a:gd name="T26" fmla="*/ 13 w 18"/>
                  <a:gd name="T27" fmla="*/ 14 h 23"/>
                  <a:gd name="T28" fmla="*/ 13 w 18"/>
                  <a:gd name="T29" fmla="*/ 18 h 23"/>
                  <a:gd name="T30" fmla="*/ 13 w 18"/>
                  <a:gd name="T31" fmla="*/ 18 h 23"/>
                  <a:gd name="T32" fmla="*/ 13 w 18"/>
                  <a:gd name="T33" fmla="*/ 18 h 23"/>
                  <a:gd name="T34" fmla="*/ 13 w 18"/>
                  <a:gd name="T35" fmla="*/ 23 h 23"/>
                  <a:gd name="T36" fmla="*/ 13 w 18"/>
                  <a:gd name="T37" fmla="*/ 18 h 23"/>
                  <a:gd name="T38" fmla="*/ 9 w 18"/>
                  <a:gd name="T39" fmla="*/ 18 h 23"/>
                  <a:gd name="T40" fmla="*/ 9 w 18"/>
                  <a:gd name="T41" fmla="*/ 18 h 23"/>
                  <a:gd name="T42" fmla="*/ 9 w 18"/>
                  <a:gd name="T43" fmla="*/ 18 h 23"/>
                  <a:gd name="T44" fmla="*/ 9 w 18"/>
                  <a:gd name="T45" fmla="*/ 14 h 23"/>
                  <a:gd name="T46" fmla="*/ 4 w 18"/>
                  <a:gd name="T47" fmla="*/ 14 h 23"/>
                  <a:gd name="T48" fmla="*/ 4 w 18"/>
                  <a:gd name="T49" fmla="*/ 14 h 23"/>
                  <a:gd name="T50" fmla="*/ 4 w 18"/>
                  <a:gd name="T51" fmla="*/ 14 h 23"/>
                  <a:gd name="T52" fmla="*/ 4 w 18"/>
                  <a:gd name="T53" fmla="*/ 14 h 23"/>
                  <a:gd name="T54" fmla="*/ 4 w 18"/>
                  <a:gd name="T55" fmla="*/ 9 h 23"/>
                  <a:gd name="T56" fmla="*/ 4 w 18"/>
                  <a:gd name="T57" fmla="*/ 9 h 23"/>
                  <a:gd name="T58" fmla="*/ 0 w 18"/>
                  <a:gd name="T59" fmla="*/ 9 h 23"/>
                  <a:gd name="T60" fmla="*/ 4 w 18"/>
                  <a:gd name="T61" fmla="*/ 9 h 23"/>
                  <a:gd name="T62" fmla="*/ 4 w 18"/>
                  <a:gd name="T63" fmla="*/ 9 h 23"/>
                  <a:gd name="T64" fmla="*/ 9 w 18"/>
                  <a:gd name="T65" fmla="*/ 9 h 23"/>
                  <a:gd name="T66" fmla="*/ 9 w 18"/>
                  <a:gd name="T67" fmla="*/ 5 h 23"/>
                  <a:gd name="T68" fmla="*/ 13 w 18"/>
                  <a:gd name="T69" fmla="*/ 5 h 23"/>
                  <a:gd name="T70" fmla="*/ 13 w 18"/>
                  <a:gd name="T71" fmla="*/ 5 h 23"/>
                  <a:gd name="T72" fmla="*/ 13 w 18"/>
                  <a:gd name="T73" fmla="*/ 0 h 23"/>
                  <a:gd name="T74" fmla="*/ 18 w 18"/>
                  <a:gd name="T75" fmla="*/ 0 h 23"/>
                  <a:gd name="T76" fmla="*/ 18 w 18"/>
                  <a:gd name="T77" fmla="*/ 0 h 23"/>
                  <a:gd name="T78" fmla="*/ 18 w 18"/>
                  <a:gd name="T79" fmla="*/ 0 h 23"/>
                  <a:gd name="T80" fmla="*/ 18 w 18"/>
                  <a:gd name="T81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8" h="23">
                    <a:moveTo>
                      <a:pt x="18" y="5"/>
                    </a:move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8" y="14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23"/>
                    </a:lnTo>
                    <a:lnTo>
                      <a:pt x="13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3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06" name="Freeform 27"/>
              <p:cNvSpPr>
                <a:spLocks/>
              </p:cNvSpPr>
              <p:nvPr/>
            </p:nvSpPr>
            <p:spPr bwMode="auto">
              <a:xfrm>
                <a:off x="6623051" y="2070101"/>
                <a:ext cx="85725" cy="50800"/>
              </a:xfrm>
              <a:custGeom>
                <a:avLst/>
                <a:gdLst>
                  <a:gd name="T0" fmla="*/ 22 w 54"/>
                  <a:gd name="T1" fmla="*/ 4 h 32"/>
                  <a:gd name="T2" fmla="*/ 27 w 54"/>
                  <a:gd name="T3" fmla="*/ 4 h 32"/>
                  <a:gd name="T4" fmla="*/ 31 w 54"/>
                  <a:gd name="T5" fmla="*/ 4 h 32"/>
                  <a:gd name="T6" fmla="*/ 31 w 54"/>
                  <a:gd name="T7" fmla="*/ 9 h 32"/>
                  <a:gd name="T8" fmla="*/ 36 w 54"/>
                  <a:gd name="T9" fmla="*/ 4 h 32"/>
                  <a:gd name="T10" fmla="*/ 36 w 54"/>
                  <a:gd name="T11" fmla="*/ 4 h 32"/>
                  <a:gd name="T12" fmla="*/ 40 w 54"/>
                  <a:gd name="T13" fmla="*/ 4 h 32"/>
                  <a:gd name="T14" fmla="*/ 45 w 54"/>
                  <a:gd name="T15" fmla="*/ 9 h 32"/>
                  <a:gd name="T16" fmla="*/ 45 w 54"/>
                  <a:gd name="T17" fmla="*/ 9 h 32"/>
                  <a:gd name="T18" fmla="*/ 45 w 54"/>
                  <a:gd name="T19" fmla="*/ 9 h 32"/>
                  <a:gd name="T20" fmla="*/ 45 w 54"/>
                  <a:gd name="T21" fmla="*/ 13 h 32"/>
                  <a:gd name="T22" fmla="*/ 45 w 54"/>
                  <a:gd name="T23" fmla="*/ 18 h 32"/>
                  <a:gd name="T24" fmla="*/ 49 w 54"/>
                  <a:gd name="T25" fmla="*/ 18 h 32"/>
                  <a:gd name="T26" fmla="*/ 54 w 54"/>
                  <a:gd name="T27" fmla="*/ 18 h 32"/>
                  <a:gd name="T28" fmla="*/ 54 w 54"/>
                  <a:gd name="T29" fmla="*/ 18 h 32"/>
                  <a:gd name="T30" fmla="*/ 54 w 54"/>
                  <a:gd name="T31" fmla="*/ 22 h 32"/>
                  <a:gd name="T32" fmla="*/ 54 w 54"/>
                  <a:gd name="T33" fmla="*/ 22 h 32"/>
                  <a:gd name="T34" fmla="*/ 54 w 54"/>
                  <a:gd name="T35" fmla="*/ 27 h 32"/>
                  <a:gd name="T36" fmla="*/ 54 w 54"/>
                  <a:gd name="T37" fmla="*/ 27 h 32"/>
                  <a:gd name="T38" fmla="*/ 54 w 54"/>
                  <a:gd name="T39" fmla="*/ 27 h 32"/>
                  <a:gd name="T40" fmla="*/ 54 w 54"/>
                  <a:gd name="T41" fmla="*/ 27 h 32"/>
                  <a:gd name="T42" fmla="*/ 49 w 54"/>
                  <a:gd name="T43" fmla="*/ 32 h 32"/>
                  <a:gd name="T44" fmla="*/ 45 w 54"/>
                  <a:gd name="T45" fmla="*/ 27 h 32"/>
                  <a:gd name="T46" fmla="*/ 45 w 54"/>
                  <a:gd name="T47" fmla="*/ 32 h 32"/>
                  <a:gd name="T48" fmla="*/ 36 w 54"/>
                  <a:gd name="T49" fmla="*/ 32 h 32"/>
                  <a:gd name="T50" fmla="*/ 31 w 54"/>
                  <a:gd name="T51" fmla="*/ 32 h 32"/>
                  <a:gd name="T52" fmla="*/ 31 w 54"/>
                  <a:gd name="T53" fmla="*/ 27 h 32"/>
                  <a:gd name="T54" fmla="*/ 27 w 54"/>
                  <a:gd name="T55" fmla="*/ 27 h 32"/>
                  <a:gd name="T56" fmla="*/ 27 w 54"/>
                  <a:gd name="T57" fmla="*/ 32 h 32"/>
                  <a:gd name="T58" fmla="*/ 18 w 54"/>
                  <a:gd name="T59" fmla="*/ 32 h 32"/>
                  <a:gd name="T60" fmla="*/ 18 w 54"/>
                  <a:gd name="T61" fmla="*/ 32 h 32"/>
                  <a:gd name="T62" fmla="*/ 18 w 54"/>
                  <a:gd name="T63" fmla="*/ 32 h 32"/>
                  <a:gd name="T64" fmla="*/ 13 w 54"/>
                  <a:gd name="T65" fmla="*/ 32 h 32"/>
                  <a:gd name="T66" fmla="*/ 13 w 54"/>
                  <a:gd name="T67" fmla="*/ 32 h 32"/>
                  <a:gd name="T68" fmla="*/ 9 w 54"/>
                  <a:gd name="T69" fmla="*/ 32 h 32"/>
                  <a:gd name="T70" fmla="*/ 4 w 54"/>
                  <a:gd name="T71" fmla="*/ 27 h 32"/>
                  <a:gd name="T72" fmla="*/ 0 w 54"/>
                  <a:gd name="T73" fmla="*/ 27 h 32"/>
                  <a:gd name="T74" fmla="*/ 0 w 54"/>
                  <a:gd name="T75" fmla="*/ 22 h 32"/>
                  <a:gd name="T76" fmla="*/ 0 w 54"/>
                  <a:gd name="T77" fmla="*/ 22 h 32"/>
                  <a:gd name="T78" fmla="*/ 0 w 54"/>
                  <a:gd name="T79" fmla="*/ 22 h 32"/>
                  <a:gd name="T80" fmla="*/ 4 w 54"/>
                  <a:gd name="T81" fmla="*/ 18 h 32"/>
                  <a:gd name="T82" fmla="*/ 4 w 54"/>
                  <a:gd name="T83" fmla="*/ 13 h 32"/>
                  <a:gd name="T84" fmla="*/ 9 w 54"/>
                  <a:gd name="T85" fmla="*/ 9 h 32"/>
                  <a:gd name="T86" fmla="*/ 9 w 54"/>
                  <a:gd name="T87" fmla="*/ 4 h 32"/>
                  <a:gd name="T88" fmla="*/ 13 w 54"/>
                  <a:gd name="T89" fmla="*/ 4 h 32"/>
                  <a:gd name="T90" fmla="*/ 13 w 54"/>
                  <a:gd name="T91" fmla="*/ 0 h 32"/>
                  <a:gd name="T92" fmla="*/ 18 w 54"/>
                  <a:gd name="T93" fmla="*/ 0 h 32"/>
                  <a:gd name="T94" fmla="*/ 22 w 54"/>
                  <a:gd name="T95" fmla="*/ 0 h 32"/>
                  <a:gd name="T96" fmla="*/ 22 w 54"/>
                  <a:gd name="T97" fmla="*/ 4 h 32"/>
                  <a:gd name="T98" fmla="*/ 22 w 54"/>
                  <a:gd name="T99" fmla="*/ 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4" h="32">
                    <a:moveTo>
                      <a:pt x="22" y="4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31" y="4"/>
                    </a:lnTo>
                    <a:lnTo>
                      <a:pt x="31" y="4"/>
                    </a:lnTo>
                    <a:lnTo>
                      <a:pt x="31" y="9"/>
                    </a:lnTo>
                    <a:lnTo>
                      <a:pt x="36" y="9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8"/>
                    </a:lnTo>
                    <a:lnTo>
                      <a:pt x="49" y="18"/>
                    </a:lnTo>
                    <a:lnTo>
                      <a:pt x="49" y="18"/>
                    </a:lnTo>
                    <a:lnTo>
                      <a:pt x="49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49" y="27"/>
                    </a:lnTo>
                    <a:lnTo>
                      <a:pt x="49" y="32"/>
                    </a:lnTo>
                    <a:lnTo>
                      <a:pt x="49" y="32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32"/>
                    </a:lnTo>
                    <a:lnTo>
                      <a:pt x="40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1" y="32"/>
                    </a:lnTo>
                    <a:lnTo>
                      <a:pt x="31" y="32"/>
                    </a:lnTo>
                    <a:lnTo>
                      <a:pt x="31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32"/>
                    </a:lnTo>
                    <a:lnTo>
                      <a:pt x="22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9" y="32"/>
                    </a:lnTo>
                    <a:lnTo>
                      <a:pt x="4" y="32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9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13" y="4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07" name="Freeform 28"/>
              <p:cNvSpPr>
                <a:spLocks/>
              </p:cNvSpPr>
              <p:nvPr/>
            </p:nvSpPr>
            <p:spPr bwMode="auto">
              <a:xfrm>
                <a:off x="4814888" y="3484564"/>
                <a:ext cx="250825" cy="265113"/>
              </a:xfrm>
              <a:custGeom>
                <a:avLst/>
                <a:gdLst>
                  <a:gd name="T0" fmla="*/ 95 w 158"/>
                  <a:gd name="T1" fmla="*/ 4 h 167"/>
                  <a:gd name="T2" fmla="*/ 100 w 158"/>
                  <a:gd name="T3" fmla="*/ 13 h 167"/>
                  <a:gd name="T4" fmla="*/ 104 w 158"/>
                  <a:gd name="T5" fmla="*/ 22 h 167"/>
                  <a:gd name="T6" fmla="*/ 109 w 158"/>
                  <a:gd name="T7" fmla="*/ 31 h 167"/>
                  <a:gd name="T8" fmla="*/ 122 w 158"/>
                  <a:gd name="T9" fmla="*/ 40 h 167"/>
                  <a:gd name="T10" fmla="*/ 127 w 158"/>
                  <a:gd name="T11" fmla="*/ 45 h 167"/>
                  <a:gd name="T12" fmla="*/ 131 w 158"/>
                  <a:gd name="T13" fmla="*/ 49 h 167"/>
                  <a:gd name="T14" fmla="*/ 131 w 158"/>
                  <a:gd name="T15" fmla="*/ 54 h 167"/>
                  <a:gd name="T16" fmla="*/ 131 w 158"/>
                  <a:gd name="T17" fmla="*/ 58 h 167"/>
                  <a:gd name="T18" fmla="*/ 136 w 158"/>
                  <a:gd name="T19" fmla="*/ 67 h 167"/>
                  <a:gd name="T20" fmla="*/ 149 w 158"/>
                  <a:gd name="T21" fmla="*/ 72 h 167"/>
                  <a:gd name="T22" fmla="*/ 154 w 158"/>
                  <a:gd name="T23" fmla="*/ 72 h 167"/>
                  <a:gd name="T24" fmla="*/ 154 w 158"/>
                  <a:gd name="T25" fmla="*/ 76 h 167"/>
                  <a:gd name="T26" fmla="*/ 158 w 158"/>
                  <a:gd name="T27" fmla="*/ 81 h 167"/>
                  <a:gd name="T28" fmla="*/ 149 w 158"/>
                  <a:gd name="T29" fmla="*/ 85 h 167"/>
                  <a:gd name="T30" fmla="*/ 140 w 158"/>
                  <a:gd name="T31" fmla="*/ 90 h 167"/>
                  <a:gd name="T32" fmla="*/ 131 w 158"/>
                  <a:gd name="T33" fmla="*/ 99 h 167"/>
                  <a:gd name="T34" fmla="*/ 131 w 158"/>
                  <a:gd name="T35" fmla="*/ 99 h 167"/>
                  <a:gd name="T36" fmla="*/ 127 w 158"/>
                  <a:gd name="T37" fmla="*/ 104 h 167"/>
                  <a:gd name="T38" fmla="*/ 122 w 158"/>
                  <a:gd name="T39" fmla="*/ 104 h 167"/>
                  <a:gd name="T40" fmla="*/ 118 w 158"/>
                  <a:gd name="T41" fmla="*/ 108 h 167"/>
                  <a:gd name="T42" fmla="*/ 109 w 158"/>
                  <a:gd name="T43" fmla="*/ 126 h 167"/>
                  <a:gd name="T44" fmla="*/ 100 w 158"/>
                  <a:gd name="T45" fmla="*/ 126 h 167"/>
                  <a:gd name="T46" fmla="*/ 95 w 158"/>
                  <a:gd name="T47" fmla="*/ 135 h 167"/>
                  <a:gd name="T48" fmla="*/ 91 w 158"/>
                  <a:gd name="T49" fmla="*/ 144 h 167"/>
                  <a:gd name="T50" fmla="*/ 82 w 158"/>
                  <a:gd name="T51" fmla="*/ 149 h 167"/>
                  <a:gd name="T52" fmla="*/ 73 w 158"/>
                  <a:gd name="T53" fmla="*/ 149 h 167"/>
                  <a:gd name="T54" fmla="*/ 68 w 158"/>
                  <a:gd name="T55" fmla="*/ 144 h 167"/>
                  <a:gd name="T56" fmla="*/ 59 w 158"/>
                  <a:gd name="T57" fmla="*/ 140 h 167"/>
                  <a:gd name="T58" fmla="*/ 50 w 158"/>
                  <a:gd name="T59" fmla="*/ 140 h 167"/>
                  <a:gd name="T60" fmla="*/ 46 w 158"/>
                  <a:gd name="T61" fmla="*/ 140 h 167"/>
                  <a:gd name="T62" fmla="*/ 41 w 158"/>
                  <a:gd name="T63" fmla="*/ 153 h 167"/>
                  <a:gd name="T64" fmla="*/ 36 w 158"/>
                  <a:gd name="T65" fmla="*/ 158 h 167"/>
                  <a:gd name="T66" fmla="*/ 27 w 158"/>
                  <a:gd name="T67" fmla="*/ 162 h 167"/>
                  <a:gd name="T68" fmla="*/ 23 w 158"/>
                  <a:gd name="T69" fmla="*/ 167 h 167"/>
                  <a:gd name="T70" fmla="*/ 14 w 158"/>
                  <a:gd name="T71" fmla="*/ 167 h 167"/>
                  <a:gd name="T72" fmla="*/ 9 w 158"/>
                  <a:gd name="T73" fmla="*/ 167 h 167"/>
                  <a:gd name="T74" fmla="*/ 9 w 158"/>
                  <a:gd name="T75" fmla="*/ 158 h 167"/>
                  <a:gd name="T76" fmla="*/ 9 w 158"/>
                  <a:gd name="T77" fmla="*/ 153 h 167"/>
                  <a:gd name="T78" fmla="*/ 5 w 158"/>
                  <a:gd name="T79" fmla="*/ 135 h 167"/>
                  <a:gd name="T80" fmla="*/ 0 w 158"/>
                  <a:gd name="T81" fmla="*/ 131 h 167"/>
                  <a:gd name="T82" fmla="*/ 0 w 158"/>
                  <a:gd name="T83" fmla="*/ 113 h 167"/>
                  <a:gd name="T84" fmla="*/ 0 w 158"/>
                  <a:gd name="T85" fmla="*/ 90 h 167"/>
                  <a:gd name="T86" fmla="*/ 5 w 158"/>
                  <a:gd name="T87" fmla="*/ 76 h 167"/>
                  <a:gd name="T88" fmla="*/ 18 w 158"/>
                  <a:gd name="T89" fmla="*/ 76 h 167"/>
                  <a:gd name="T90" fmla="*/ 18 w 158"/>
                  <a:gd name="T91" fmla="*/ 49 h 167"/>
                  <a:gd name="T92" fmla="*/ 18 w 158"/>
                  <a:gd name="T93" fmla="*/ 18 h 167"/>
                  <a:gd name="T94" fmla="*/ 27 w 158"/>
                  <a:gd name="T95" fmla="*/ 4 h 167"/>
                  <a:gd name="T96" fmla="*/ 55 w 158"/>
                  <a:gd name="T97" fmla="*/ 0 h 167"/>
                  <a:gd name="T98" fmla="*/ 59 w 158"/>
                  <a:gd name="T99" fmla="*/ 4 h 167"/>
                  <a:gd name="T100" fmla="*/ 64 w 158"/>
                  <a:gd name="T101" fmla="*/ 9 h 167"/>
                  <a:gd name="T102" fmla="*/ 68 w 158"/>
                  <a:gd name="T103" fmla="*/ 4 h 167"/>
                  <a:gd name="T104" fmla="*/ 77 w 158"/>
                  <a:gd name="T105" fmla="*/ 0 h 167"/>
                  <a:gd name="T106" fmla="*/ 86 w 158"/>
                  <a:gd name="T107" fmla="*/ 0 h 167"/>
                  <a:gd name="T108" fmla="*/ 91 w 158"/>
                  <a:gd name="T10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8" h="167">
                    <a:moveTo>
                      <a:pt x="91" y="4"/>
                    </a:moveTo>
                    <a:lnTo>
                      <a:pt x="91" y="4"/>
                    </a:lnTo>
                    <a:lnTo>
                      <a:pt x="95" y="4"/>
                    </a:lnTo>
                    <a:lnTo>
                      <a:pt x="95" y="4"/>
                    </a:lnTo>
                    <a:lnTo>
                      <a:pt x="95" y="4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100" y="13"/>
                    </a:lnTo>
                    <a:lnTo>
                      <a:pt x="100" y="13"/>
                    </a:lnTo>
                    <a:lnTo>
                      <a:pt x="100" y="18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7"/>
                    </a:lnTo>
                    <a:lnTo>
                      <a:pt x="104" y="31"/>
                    </a:lnTo>
                    <a:lnTo>
                      <a:pt x="109" y="31"/>
                    </a:lnTo>
                    <a:lnTo>
                      <a:pt x="113" y="36"/>
                    </a:lnTo>
                    <a:lnTo>
                      <a:pt x="113" y="36"/>
                    </a:lnTo>
                    <a:lnTo>
                      <a:pt x="118" y="40"/>
                    </a:lnTo>
                    <a:lnTo>
                      <a:pt x="122" y="40"/>
                    </a:lnTo>
                    <a:lnTo>
                      <a:pt x="122" y="40"/>
                    </a:lnTo>
                    <a:lnTo>
                      <a:pt x="122" y="40"/>
                    </a:lnTo>
                    <a:lnTo>
                      <a:pt x="122" y="45"/>
                    </a:lnTo>
                    <a:lnTo>
                      <a:pt x="127" y="45"/>
                    </a:lnTo>
                    <a:lnTo>
                      <a:pt x="127" y="49"/>
                    </a:lnTo>
                    <a:lnTo>
                      <a:pt x="127" y="49"/>
                    </a:lnTo>
                    <a:lnTo>
                      <a:pt x="131" y="49"/>
                    </a:lnTo>
                    <a:lnTo>
                      <a:pt x="131" y="49"/>
                    </a:lnTo>
                    <a:lnTo>
                      <a:pt x="131" y="49"/>
                    </a:lnTo>
                    <a:lnTo>
                      <a:pt x="131" y="49"/>
                    </a:lnTo>
                    <a:lnTo>
                      <a:pt x="131" y="54"/>
                    </a:lnTo>
                    <a:lnTo>
                      <a:pt x="131" y="54"/>
                    </a:lnTo>
                    <a:lnTo>
                      <a:pt x="131" y="54"/>
                    </a:lnTo>
                    <a:lnTo>
                      <a:pt x="131" y="58"/>
                    </a:lnTo>
                    <a:lnTo>
                      <a:pt x="131" y="58"/>
                    </a:lnTo>
                    <a:lnTo>
                      <a:pt x="131" y="58"/>
                    </a:lnTo>
                    <a:lnTo>
                      <a:pt x="136" y="63"/>
                    </a:lnTo>
                    <a:lnTo>
                      <a:pt x="136" y="63"/>
                    </a:lnTo>
                    <a:lnTo>
                      <a:pt x="136" y="67"/>
                    </a:lnTo>
                    <a:lnTo>
                      <a:pt x="136" y="67"/>
                    </a:lnTo>
                    <a:lnTo>
                      <a:pt x="136" y="67"/>
                    </a:lnTo>
                    <a:lnTo>
                      <a:pt x="140" y="67"/>
                    </a:lnTo>
                    <a:lnTo>
                      <a:pt x="145" y="72"/>
                    </a:lnTo>
                    <a:lnTo>
                      <a:pt x="149" y="72"/>
                    </a:lnTo>
                    <a:lnTo>
                      <a:pt x="149" y="72"/>
                    </a:lnTo>
                    <a:lnTo>
                      <a:pt x="154" y="72"/>
                    </a:lnTo>
                    <a:lnTo>
                      <a:pt x="154" y="72"/>
                    </a:lnTo>
                    <a:lnTo>
                      <a:pt x="154" y="72"/>
                    </a:lnTo>
                    <a:lnTo>
                      <a:pt x="154" y="76"/>
                    </a:lnTo>
                    <a:lnTo>
                      <a:pt x="154" y="76"/>
                    </a:lnTo>
                    <a:lnTo>
                      <a:pt x="154" y="76"/>
                    </a:lnTo>
                    <a:lnTo>
                      <a:pt x="154" y="76"/>
                    </a:lnTo>
                    <a:lnTo>
                      <a:pt x="154" y="76"/>
                    </a:lnTo>
                    <a:lnTo>
                      <a:pt x="158" y="76"/>
                    </a:lnTo>
                    <a:lnTo>
                      <a:pt x="158" y="81"/>
                    </a:lnTo>
                    <a:lnTo>
                      <a:pt x="158" y="81"/>
                    </a:lnTo>
                    <a:lnTo>
                      <a:pt x="154" y="81"/>
                    </a:lnTo>
                    <a:lnTo>
                      <a:pt x="154" y="81"/>
                    </a:lnTo>
                    <a:lnTo>
                      <a:pt x="149" y="85"/>
                    </a:lnTo>
                    <a:lnTo>
                      <a:pt x="149" y="85"/>
                    </a:lnTo>
                    <a:lnTo>
                      <a:pt x="145" y="85"/>
                    </a:lnTo>
                    <a:lnTo>
                      <a:pt x="145" y="90"/>
                    </a:lnTo>
                    <a:lnTo>
                      <a:pt x="140" y="90"/>
                    </a:lnTo>
                    <a:lnTo>
                      <a:pt x="140" y="90"/>
                    </a:lnTo>
                    <a:lnTo>
                      <a:pt x="136" y="94"/>
                    </a:lnTo>
                    <a:lnTo>
                      <a:pt x="136" y="94"/>
                    </a:lnTo>
                    <a:lnTo>
                      <a:pt x="131" y="94"/>
                    </a:lnTo>
                    <a:lnTo>
                      <a:pt x="131" y="99"/>
                    </a:lnTo>
                    <a:lnTo>
                      <a:pt x="131" y="99"/>
                    </a:lnTo>
                    <a:lnTo>
                      <a:pt x="131" y="99"/>
                    </a:lnTo>
                    <a:lnTo>
                      <a:pt x="131" y="99"/>
                    </a:lnTo>
                    <a:lnTo>
                      <a:pt x="131" y="99"/>
                    </a:lnTo>
                    <a:lnTo>
                      <a:pt x="127" y="99"/>
                    </a:lnTo>
                    <a:lnTo>
                      <a:pt x="127" y="99"/>
                    </a:lnTo>
                    <a:lnTo>
                      <a:pt x="127" y="104"/>
                    </a:lnTo>
                    <a:lnTo>
                      <a:pt x="127" y="104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8" y="108"/>
                    </a:lnTo>
                    <a:lnTo>
                      <a:pt x="118" y="108"/>
                    </a:lnTo>
                    <a:lnTo>
                      <a:pt x="113" y="117"/>
                    </a:lnTo>
                    <a:lnTo>
                      <a:pt x="113" y="122"/>
                    </a:lnTo>
                    <a:lnTo>
                      <a:pt x="109" y="122"/>
                    </a:lnTo>
                    <a:lnTo>
                      <a:pt x="109" y="126"/>
                    </a:lnTo>
                    <a:lnTo>
                      <a:pt x="109" y="126"/>
                    </a:lnTo>
                    <a:lnTo>
                      <a:pt x="104" y="126"/>
                    </a:lnTo>
                    <a:lnTo>
                      <a:pt x="100" y="126"/>
                    </a:lnTo>
                    <a:lnTo>
                      <a:pt x="100" y="126"/>
                    </a:lnTo>
                    <a:lnTo>
                      <a:pt x="100" y="131"/>
                    </a:lnTo>
                    <a:lnTo>
                      <a:pt x="100" y="131"/>
                    </a:lnTo>
                    <a:lnTo>
                      <a:pt x="95" y="131"/>
                    </a:lnTo>
                    <a:lnTo>
                      <a:pt x="95" y="135"/>
                    </a:lnTo>
                    <a:lnTo>
                      <a:pt x="95" y="140"/>
                    </a:lnTo>
                    <a:lnTo>
                      <a:pt x="95" y="140"/>
                    </a:lnTo>
                    <a:lnTo>
                      <a:pt x="91" y="144"/>
                    </a:lnTo>
                    <a:lnTo>
                      <a:pt x="91" y="144"/>
                    </a:lnTo>
                    <a:lnTo>
                      <a:pt x="91" y="149"/>
                    </a:lnTo>
                    <a:lnTo>
                      <a:pt x="86" y="149"/>
                    </a:lnTo>
                    <a:lnTo>
                      <a:pt x="86" y="149"/>
                    </a:lnTo>
                    <a:lnTo>
                      <a:pt x="82" y="149"/>
                    </a:lnTo>
                    <a:lnTo>
                      <a:pt x="82" y="149"/>
                    </a:lnTo>
                    <a:lnTo>
                      <a:pt x="82" y="149"/>
                    </a:lnTo>
                    <a:lnTo>
                      <a:pt x="77" y="149"/>
                    </a:lnTo>
                    <a:lnTo>
                      <a:pt x="73" y="149"/>
                    </a:lnTo>
                    <a:lnTo>
                      <a:pt x="73" y="149"/>
                    </a:lnTo>
                    <a:lnTo>
                      <a:pt x="73" y="149"/>
                    </a:lnTo>
                    <a:lnTo>
                      <a:pt x="68" y="144"/>
                    </a:lnTo>
                    <a:lnTo>
                      <a:pt x="68" y="144"/>
                    </a:lnTo>
                    <a:lnTo>
                      <a:pt x="64" y="144"/>
                    </a:lnTo>
                    <a:lnTo>
                      <a:pt x="64" y="144"/>
                    </a:lnTo>
                    <a:lnTo>
                      <a:pt x="64" y="144"/>
                    </a:lnTo>
                    <a:lnTo>
                      <a:pt x="59" y="140"/>
                    </a:lnTo>
                    <a:lnTo>
                      <a:pt x="59" y="140"/>
                    </a:lnTo>
                    <a:lnTo>
                      <a:pt x="55" y="140"/>
                    </a:lnTo>
                    <a:lnTo>
                      <a:pt x="55" y="140"/>
                    </a:lnTo>
                    <a:lnTo>
                      <a:pt x="50" y="140"/>
                    </a:lnTo>
                    <a:lnTo>
                      <a:pt x="50" y="140"/>
                    </a:lnTo>
                    <a:lnTo>
                      <a:pt x="50" y="140"/>
                    </a:lnTo>
                    <a:lnTo>
                      <a:pt x="50" y="140"/>
                    </a:lnTo>
                    <a:lnTo>
                      <a:pt x="46" y="140"/>
                    </a:lnTo>
                    <a:lnTo>
                      <a:pt x="46" y="144"/>
                    </a:lnTo>
                    <a:lnTo>
                      <a:pt x="46" y="144"/>
                    </a:lnTo>
                    <a:lnTo>
                      <a:pt x="46" y="149"/>
                    </a:lnTo>
                    <a:lnTo>
                      <a:pt x="41" y="153"/>
                    </a:lnTo>
                    <a:lnTo>
                      <a:pt x="41" y="153"/>
                    </a:lnTo>
                    <a:lnTo>
                      <a:pt x="41" y="153"/>
                    </a:lnTo>
                    <a:lnTo>
                      <a:pt x="41" y="158"/>
                    </a:lnTo>
                    <a:lnTo>
                      <a:pt x="36" y="158"/>
                    </a:lnTo>
                    <a:lnTo>
                      <a:pt x="32" y="162"/>
                    </a:lnTo>
                    <a:lnTo>
                      <a:pt x="32" y="162"/>
                    </a:lnTo>
                    <a:lnTo>
                      <a:pt x="27" y="162"/>
                    </a:lnTo>
                    <a:lnTo>
                      <a:pt x="27" y="162"/>
                    </a:lnTo>
                    <a:lnTo>
                      <a:pt x="27" y="167"/>
                    </a:lnTo>
                    <a:lnTo>
                      <a:pt x="27" y="167"/>
                    </a:lnTo>
                    <a:lnTo>
                      <a:pt x="27" y="167"/>
                    </a:lnTo>
                    <a:lnTo>
                      <a:pt x="23" y="167"/>
                    </a:lnTo>
                    <a:lnTo>
                      <a:pt x="23" y="167"/>
                    </a:lnTo>
                    <a:lnTo>
                      <a:pt x="23" y="167"/>
                    </a:lnTo>
                    <a:lnTo>
                      <a:pt x="14" y="167"/>
                    </a:lnTo>
                    <a:lnTo>
                      <a:pt x="14" y="167"/>
                    </a:lnTo>
                    <a:lnTo>
                      <a:pt x="14" y="167"/>
                    </a:lnTo>
                    <a:lnTo>
                      <a:pt x="9" y="167"/>
                    </a:lnTo>
                    <a:lnTo>
                      <a:pt x="9" y="167"/>
                    </a:lnTo>
                    <a:lnTo>
                      <a:pt x="9" y="167"/>
                    </a:lnTo>
                    <a:lnTo>
                      <a:pt x="9" y="162"/>
                    </a:lnTo>
                    <a:lnTo>
                      <a:pt x="9" y="158"/>
                    </a:lnTo>
                    <a:lnTo>
                      <a:pt x="9" y="158"/>
                    </a:lnTo>
                    <a:lnTo>
                      <a:pt x="9" y="158"/>
                    </a:lnTo>
                    <a:lnTo>
                      <a:pt x="9" y="153"/>
                    </a:lnTo>
                    <a:lnTo>
                      <a:pt x="14" y="153"/>
                    </a:lnTo>
                    <a:lnTo>
                      <a:pt x="9" y="153"/>
                    </a:lnTo>
                    <a:lnTo>
                      <a:pt x="9" y="153"/>
                    </a:lnTo>
                    <a:lnTo>
                      <a:pt x="9" y="149"/>
                    </a:lnTo>
                    <a:lnTo>
                      <a:pt x="9" y="149"/>
                    </a:lnTo>
                    <a:lnTo>
                      <a:pt x="9" y="144"/>
                    </a:lnTo>
                    <a:lnTo>
                      <a:pt x="5" y="135"/>
                    </a:lnTo>
                    <a:lnTo>
                      <a:pt x="5" y="135"/>
                    </a:lnTo>
                    <a:lnTo>
                      <a:pt x="5" y="135"/>
                    </a:lnTo>
                    <a:lnTo>
                      <a:pt x="0" y="131"/>
                    </a:lnTo>
                    <a:lnTo>
                      <a:pt x="0" y="131"/>
                    </a:lnTo>
                    <a:lnTo>
                      <a:pt x="0" y="126"/>
                    </a:lnTo>
                    <a:lnTo>
                      <a:pt x="0" y="126"/>
                    </a:lnTo>
                    <a:lnTo>
                      <a:pt x="0" y="117"/>
                    </a:lnTo>
                    <a:lnTo>
                      <a:pt x="0" y="113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99"/>
                    </a:lnTo>
                    <a:lnTo>
                      <a:pt x="0" y="90"/>
                    </a:lnTo>
                    <a:lnTo>
                      <a:pt x="0" y="85"/>
                    </a:lnTo>
                    <a:lnTo>
                      <a:pt x="0" y="81"/>
                    </a:lnTo>
                    <a:lnTo>
                      <a:pt x="0" y="76"/>
                    </a:lnTo>
                    <a:lnTo>
                      <a:pt x="5" y="76"/>
                    </a:lnTo>
                    <a:lnTo>
                      <a:pt x="9" y="76"/>
                    </a:lnTo>
                    <a:lnTo>
                      <a:pt x="14" y="76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2"/>
                    </a:lnTo>
                    <a:lnTo>
                      <a:pt x="18" y="63"/>
                    </a:lnTo>
                    <a:lnTo>
                      <a:pt x="18" y="58"/>
                    </a:lnTo>
                    <a:lnTo>
                      <a:pt x="18" y="49"/>
                    </a:lnTo>
                    <a:lnTo>
                      <a:pt x="18" y="40"/>
                    </a:lnTo>
                    <a:lnTo>
                      <a:pt x="18" y="36"/>
                    </a:lnTo>
                    <a:lnTo>
                      <a:pt x="18" y="27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23" y="9"/>
                    </a:lnTo>
                    <a:lnTo>
                      <a:pt x="27" y="4"/>
                    </a:lnTo>
                    <a:lnTo>
                      <a:pt x="3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5" y="0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8" y="9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3" y="4"/>
                    </a:lnTo>
                    <a:lnTo>
                      <a:pt x="73" y="4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77" y="4"/>
                    </a:lnTo>
                    <a:lnTo>
                      <a:pt x="82" y="4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1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08" name="Freeform 29"/>
              <p:cNvSpPr>
                <a:spLocks/>
              </p:cNvSpPr>
              <p:nvPr/>
            </p:nvSpPr>
            <p:spPr bwMode="auto">
              <a:xfrm>
                <a:off x="4672013" y="2622551"/>
                <a:ext cx="358775" cy="258763"/>
              </a:xfrm>
              <a:custGeom>
                <a:avLst/>
                <a:gdLst>
                  <a:gd name="T0" fmla="*/ 154 w 226"/>
                  <a:gd name="T1" fmla="*/ 9 h 163"/>
                  <a:gd name="T2" fmla="*/ 158 w 226"/>
                  <a:gd name="T3" fmla="*/ 32 h 163"/>
                  <a:gd name="T4" fmla="*/ 158 w 226"/>
                  <a:gd name="T5" fmla="*/ 36 h 163"/>
                  <a:gd name="T6" fmla="*/ 167 w 226"/>
                  <a:gd name="T7" fmla="*/ 45 h 163"/>
                  <a:gd name="T8" fmla="*/ 172 w 226"/>
                  <a:gd name="T9" fmla="*/ 50 h 163"/>
                  <a:gd name="T10" fmla="*/ 185 w 226"/>
                  <a:gd name="T11" fmla="*/ 63 h 163"/>
                  <a:gd name="T12" fmla="*/ 199 w 226"/>
                  <a:gd name="T13" fmla="*/ 72 h 163"/>
                  <a:gd name="T14" fmla="*/ 203 w 226"/>
                  <a:gd name="T15" fmla="*/ 86 h 163"/>
                  <a:gd name="T16" fmla="*/ 208 w 226"/>
                  <a:gd name="T17" fmla="*/ 90 h 163"/>
                  <a:gd name="T18" fmla="*/ 221 w 226"/>
                  <a:gd name="T19" fmla="*/ 99 h 163"/>
                  <a:gd name="T20" fmla="*/ 226 w 226"/>
                  <a:gd name="T21" fmla="*/ 109 h 163"/>
                  <a:gd name="T22" fmla="*/ 212 w 226"/>
                  <a:gd name="T23" fmla="*/ 109 h 163"/>
                  <a:gd name="T24" fmla="*/ 190 w 226"/>
                  <a:gd name="T25" fmla="*/ 109 h 163"/>
                  <a:gd name="T26" fmla="*/ 172 w 226"/>
                  <a:gd name="T27" fmla="*/ 113 h 163"/>
                  <a:gd name="T28" fmla="*/ 158 w 226"/>
                  <a:gd name="T29" fmla="*/ 118 h 163"/>
                  <a:gd name="T30" fmla="*/ 145 w 226"/>
                  <a:gd name="T31" fmla="*/ 118 h 163"/>
                  <a:gd name="T32" fmla="*/ 140 w 226"/>
                  <a:gd name="T33" fmla="*/ 127 h 163"/>
                  <a:gd name="T34" fmla="*/ 117 w 226"/>
                  <a:gd name="T35" fmla="*/ 127 h 163"/>
                  <a:gd name="T36" fmla="*/ 104 w 226"/>
                  <a:gd name="T37" fmla="*/ 122 h 163"/>
                  <a:gd name="T38" fmla="*/ 90 w 226"/>
                  <a:gd name="T39" fmla="*/ 109 h 163"/>
                  <a:gd name="T40" fmla="*/ 72 w 226"/>
                  <a:gd name="T41" fmla="*/ 122 h 163"/>
                  <a:gd name="T42" fmla="*/ 72 w 226"/>
                  <a:gd name="T43" fmla="*/ 140 h 163"/>
                  <a:gd name="T44" fmla="*/ 63 w 226"/>
                  <a:gd name="T45" fmla="*/ 140 h 163"/>
                  <a:gd name="T46" fmla="*/ 59 w 226"/>
                  <a:gd name="T47" fmla="*/ 140 h 163"/>
                  <a:gd name="T48" fmla="*/ 50 w 226"/>
                  <a:gd name="T49" fmla="*/ 140 h 163"/>
                  <a:gd name="T50" fmla="*/ 36 w 226"/>
                  <a:gd name="T51" fmla="*/ 140 h 163"/>
                  <a:gd name="T52" fmla="*/ 32 w 226"/>
                  <a:gd name="T53" fmla="*/ 154 h 163"/>
                  <a:gd name="T54" fmla="*/ 27 w 226"/>
                  <a:gd name="T55" fmla="*/ 163 h 163"/>
                  <a:gd name="T56" fmla="*/ 27 w 226"/>
                  <a:gd name="T57" fmla="*/ 154 h 163"/>
                  <a:gd name="T58" fmla="*/ 23 w 226"/>
                  <a:gd name="T59" fmla="*/ 149 h 163"/>
                  <a:gd name="T60" fmla="*/ 14 w 226"/>
                  <a:gd name="T61" fmla="*/ 140 h 163"/>
                  <a:gd name="T62" fmla="*/ 9 w 226"/>
                  <a:gd name="T63" fmla="*/ 131 h 163"/>
                  <a:gd name="T64" fmla="*/ 4 w 226"/>
                  <a:gd name="T65" fmla="*/ 122 h 163"/>
                  <a:gd name="T66" fmla="*/ 0 w 226"/>
                  <a:gd name="T67" fmla="*/ 109 h 163"/>
                  <a:gd name="T68" fmla="*/ 0 w 226"/>
                  <a:gd name="T69" fmla="*/ 104 h 163"/>
                  <a:gd name="T70" fmla="*/ 0 w 226"/>
                  <a:gd name="T71" fmla="*/ 95 h 163"/>
                  <a:gd name="T72" fmla="*/ 4 w 226"/>
                  <a:gd name="T73" fmla="*/ 90 h 163"/>
                  <a:gd name="T74" fmla="*/ 9 w 226"/>
                  <a:gd name="T75" fmla="*/ 77 h 163"/>
                  <a:gd name="T76" fmla="*/ 14 w 226"/>
                  <a:gd name="T77" fmla="*/ 68 h 163"/>
                  <a:gd name="T78" fmla="*/ 27 w 226"/>
                  <a:gd name="T79" fmla="*/ 63 h 163"/>
                  <a:gd name="T80" fmla="*/ 36 w 226"/>
                  <a:gd name="T81" fmla="*/ 59 h 163"/>
                  <a:gd name="T82" fmla="*/ 41 w 226"/>
                  <a:gd name="T83" fmla="*/ 63 h 163"/>
                  <a:gd name="T84" fmla="*/ 50 w 226"/>
                  <a:gd name="T85" fmla="*/ 59 h 163"/>
                  <a:gd name="T86" fmla="*/ 68 w 226"/>
                  <a:gd name="T87" fmla="*/ 54 h 163"/>
                  <a:gd name="T88" fmla="*/ 77 w 226"/>
                  <a:gd name="T89" fmla="*/ 45 h 163"/>
                  <a:gd name="T90" fmla="*/ 77 w 226"/>
                  <a:gd name="T91" fmla="*/ 41 h 163"/>
                  <a:gd name="T92" fmla="*/ 81 w 226"/>
                  <a:gd name="T93" fmla="*/ 36 h 163"/>
                  <a:gd name="T94" fmla="*/ 95 w 226"/>
                  <a:gd name="T95" fmla="*/ 36 h 163"/>
                  <a:gd name="T96" fmla="*/ 108 w 226"/>
                  <a:gd name="T97" fmla="*/ 27 h 163"/>
                  <a:gd name="T98" fmla="*/ 117 w 226"/>
                  <a:gd name="T99" fmla="*/ 18 h 163"/>
                  <a:gd name="T100" fmla="*/ 122 w 226"/>
                  <a:gd name="T101" fmla="*/ 9 h 163"/>
                  <a:gd name="T102" fmla="*/ 126 w 226"/>
                  <a:gd name="T103" fmla="*/ 5 h 163"/>
                  <a:gd name="T104" fmla="*/ 131 w 226"/>
                  <a:gd name="T105" fmla="*/ 0 h 163"/>
                  <a:gd name="T106" fmla="*/ 145 w 226"/>
                  <a:gd name="T107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26" h="163">
                    <a:moveTo>
                      <a:pt x="145" y="0"/>
                    </a:moveTo>
                    <a:lnTo>
                      <a:pt x="145" y="0"/>
                    </a:lnTo>
                    <a:lnTo>
                      <a:pt x="145" y="5"/>
                    </a:lnTo>
                    <a:lnTo>
                      <a:pt x="145" y="5"/>
                    </a:lnTo>
                    <a:lnTo>
                      <a:pt x="149" y="9"/>
                    </a:lnTo>
                    <a:lnTo>
                      <a:pt x="154" y="9"/>
                    </a:lnTo>
                    <a:lnTo>
                      <a:pt x="154" y="14"/>
                    </a:lnTo>
                    <a:lnTo>
                      <a:pt x="158" y="18"/>
                    </a:lnTo>
                    <a:lnTo>
                      <a:pt x="158" y="23"/>
                    </a:lnTo>
                    <a:lnTo>
                      <a:pt x="158" y="23"/>
                    </a:lnTo>
                    <a:lnTo>
                      <a:pt x="158" y="27"/>
                    </a:lnTo>
                    <a:lnTo>
                      <a:pt x="158" y="32"/>
                    </a:lnTo>
                    <a:lnTo>
                      <a:pt x="158" y="32"/>
                    </a:lnTo>
                    <a:lnTo>
                      <a:pt x="154" y="36"/>
                    </a:lnTo>
                    <a:lnTo>
                      <a:pt x="154" y="36"/>
                    </a:lnTo>
                    <a:lnTo>
                      <a:pt x="154" y="36"/>
                    </a:lnTo>
                    <a:lnTo>
                      <a:pt x="158" y="36"/>
                    </a:lnTo>
                    <a:lnTo>
                      <a:pt x="158" y="36"/>
                    </a:lnTo>
                    <a:lnTo>
                      <a:pt x="158" y="41"/>
                    </a:lnTo>
                    <a:lnTo>
                      <a:pt x="158" y="41"/>
                    </a:lnTo>
                    <a:lnTo>
                      <a:pt x="158" y="41"/>
                    </a:lnTo>
                    <a:lnTo>
                      <a:pt x="163" y="41"/>
                    </a:lnTo>
                    <a:lnTo>
                      <a:pt x="167" y="41"/>
                    </a:lnTo>
                    <a:lnTo>
                      <a:pt x="167" y="45"/>
                    </a:lnTo>
                    <a:lnTo>
                      <a:pt x="167" y="45"/>
                    </a:lnTo>
                    <a:lnTo>
                      <a:pt x="167" y="45"/>
                    </a:lnTo>
                    <a:lnTo>
                      <a:pt x="167" y="50"/>
                    </a:lnTo>
                    <a:lnTo>
                      <a:pt x="167" y="50"/>
                    </a:lnTo>
                    <a:lnTo>
                      <a:pt x="172" y="50"/>
                    </a:lnTo>
                    <a:lnTo>
                      <a:pt x="172" y="50"/>
                    </a:lnTo>
                    <a:lnTo>
                      <a:pt x="176" y="50"/>
                    </a:lnTo>
                    <a:lnTo>
                      <a:pt x="181" y="54"/>
                    </a:lnTo>
                    <a:lnTo>
                      <a:pt x="181" y="54"/>
                    </a:lnTo>
                    <a:lnTo>
                      <a:pt x="185" y="59"/>
                    </a:lnTo>
                    <a:lnTo>
                      <a:pt x="185" y="59"/>
                    </a:lnTo>
                    <a:lnTo>
                      <a:pt x="185" y="63"/>
                    </a:lnTo>
                    <a:lnTo>
                      <a:pt x="185" y="63"/>
                    </a:lnTo>
                    <a:lnTo>
                      <a:pt x="185" y="63"/>
                    </a:lnTo>
                    <a:lnTo>
                      <a:pt x="185" y="68"/>
                    </a:lnTo>
                    <a:lnTo>
                      <a:pt x="190" y="68"/>
                    </a:lnTo>
                    <a:lnTo>
                      <a:pt x="190" y="68"/>
                    </a:lnTo>
                    <a:lnTo>
                      <a:pt x="199" y="72"/>
                    </a:lnTo>
                    <a:lnTo>
                      <a:pt x="199" y="77"/>
                    </a:lnTo>
                    <a:lnTo>
                      <a:pt x="199" y="77"/>
                    </a:lnTo>
                    <a:lnTo>
                      <a:pt x="203" y="77"/>
                    </a:lnTo>
                    <a:lnTo>
                      <a:pt x="203" y="81"/>
                    </a:lnTo>
                    <a:lnTo>
                      <a:pt x="208" y="81"/>
                    </a:lnTo>
                    <a:lnTo>
                      <a:pt x="203" y="86"/>
                    </a:lnTo>
                    <a:lnTo>
                      <a:pt x="203" y="86"/>
                    </a:lnTo>
                    <a:lnTo>
                      <a:pt x="208" y="86"/>
                    </a:lnTo>
                    <a:lnTo>
                      <a:pt x="208" y="86"/>
                    </a:lnTo>
                    <a:lnTo>
                      <a:pt x="208" y="90"/>
                    </a:lnTo>
                    <a:lnTo>
                      <a:pt x="208" y="90"/>
                    </a:lnTo>
                    <a:lnTo>
                      <a:pt x="208" y="90"/>
                    </a:lnTo>
                    <a:lnTo>
                      <a:pt x="212" y="95"/>
                    </a:lnTo>
                    <a:lnTo>
                      <a:pt x="212" y="95"/>
                    </a:lnTo>
                    <a:lnTo>
                      <a:pt x="217" y="95"/>
                    </a:lnTo>
                    <a:lnTo>
                      <a:pt x="217" y="95"/>
                    </a:lnTo>
                    <a:lnTo>
                      <a:pt x="221" y="99"/>
                    </a:lnTo>
                    <a:lnTo>
                      <a:pt x="221" y="99"/>
                    </a:lnTo>
                    <a:lnTo>
                      <a:pt x="221" y="99"/>
                    </a:lnTo>
                    <a:lnTo>
                      <a:pt x="221" y="99"/>
                    </a:lnTo>
                    <a:lnTo>
                      <a:pt x="221" y="104"/>
                    </a:lnTo>
                    <a:lnTo>
                      <a:pt x="221" y="109"/>
                    </a:lnTo>
                    <a:lnTo>
                      <a:pt x="221" y="109"/>
                    </a:lnTo>
                    <a:lnTo>
                      <a:pt x="226" y="109"/>
                    </a:lnTo>
                    <a:lnTo>
                      <a:pt x="221" y="109"/>
                    </a:lnTo>
                    <a:lnTo>
                      <a:pt x="217" y="109"/>
                    </a:lnTo>
                    <a:lnTo>
                      <a:pt x="217" y="109"/>
                    </a:lnTo>
                    <a:lnTo>
                      <a:pt x="217" y="109"/>
                    </a:lnTo>
                    <a:lnTo>
                      <a:pt x="212" y="109"/>
                    </a:lnTo>
                    <a:lnTo>
                      <a:pt x="212" y="109"/>
                    </a:lnTo>
                    <a:lnTo>
                      <a:pt x="212" y="109"/>
                    </a:lnTo>
                    <a:lnTo>
                      <a:pt x="203" y="109"/>
                    </a:lnTo>
                    <a:lnTo>
                      <a:pt x="199" y="109"/>
                    </a:lnTo>
                    <a:lnTo>
                      <a:pt x="194" y="109"/>
                    </a:lnTo>
                    <a:lnTo>
                      <a:pt x="190" y="104"/>
                    </a:lnTo>
                    <a:lnTo>
                      <a:pt x="190" y="109"/>
                    </a:lnTo>
                    <a:lnTo>
                      <a:pt x="185" y="109"/>
                    </a:lnTo>
                    <a:lnTo>
                      <a:pt x="185" y="113"/>
                    </a:lnTo>
                    <a:lnTo>
                      <a:pt x="185" y="113"/>
                    </a:lnTo>
                    <a:lnTo>
                      <a:pt x="181" y="113"/>
                    </a:lnTo>
                    <a:lnTo>
                      <a:pt x="176" y="113"/>
                    </a:lnTo>
                    <a:lnTo>
                      <a:pt x="172" y="113"/>
                    </a:lnTo>
                    <a:lnTo>
                      <a:pt x="172" y="113"/>
                    </a:lnTo>
                    <a:lnTo>
                      <a:pt x="167" y="113"/>
                    </a:lnTo>
                    <a:lnTo>
                      <a:pt x="163" y="113"/>
                    </a:lnTo>
                    <a:lnTo>
                      <a:pt x="163" y="118"/>
                    </a:lnTo>
                    <a:lnTo>
                      <a:pt x="158" y="118"/>
                    </a:lnTo>
                    <a:lnTo>
                      <a:pt x="158" y="118"/>
                    </a:lnTo>
                    <a:lnTo>
                      <a:pt x="154" y="118"/>
                    </a:lnTo>
                    <a:lnTo>
                      <a:pt x="154" y="118"/>
                    </a:lnTo>
                    <a:lnTo>
                      <a:pt x="154" y="118"/>
                    </a:lnTo>
                    <a:lnTo>
                      <a:pt x="149" y="118"/>
                    </a:lnTo>
                    <a:lnTo>
                      <a:pt x="149" y="118"/>
                    </a:lnTo>
                    <a:lnTo>
                      <a:pt x="145" y="118"/>
                    </a:lnTo>
                    <a:lnTo>
                      <a:pt x="145" y="118"/>
                    </a:lnTo>
                    <a:lnTo>
                      <a:pt x="145" y="118"/>
                    </a:lnTo>
                    <a:lnTo>
                      <a:pt x="140" y="122"/>
                    </a:lnTo>
                    <a:lnTo>
                      <a:pt x="140" y="127"/>
                    </a:lnTo>
                    <a:lnTo>
                      <a:pt x="140" y="127"/>
                    </a:lnTo>
                    <a:lnTo>
                      <a:pt x="140" y="127"/>
                    </a:lnTo>
                    <a:lnTo>
                      <a:pt x="136" y="127"/>
                    </a:lnTo>
                    <a:lnTo>
                      <a:pt x="126" y="127"/>
                    </a:lnTo>
                    <a:lnTo>
                      <a:pt x="126" y="127"/>
                    </a:lnTo>
                    <a:lnTo>
                      <a:pt x="122" y="127"/>
                    </a:lnTo>
                    <a:lnTo>
                      <a:pt x="117" y="127"/>
                    </a:lnTo>
                    <a:lnTo>
                      <a:pt x="117" y="127"/>
                    </a:lnTo>
                    <a:lnTo>
                      <a:pt x="117" y="127"/>
                    </a:lnTo>
                    <a:lnTo>
                      <a:pt x="113" y="127"/>
                    </a:lnTo>
                    <a:lnTo>
                      <a:pt x="113" y="122"/>
                    </a:lnTo>
                    <a:lnTo>
                      <a:pt x="108" y="122"/>
                    </a:lnTo>
                    <a:lnTo>
                      <a:pt x="108" y="122"/>
                    </a:lnTo>
                    <a:lnTo>
                      <a:pt x="104" y="122"/>
                    </a:lnTo>
                    <a:lnTo>
                      <a:pt x="104" y="122"/>
                    </a:lnTo>
                    <a:lnTo>
                      <a:pt x="104" y="118"/>
                    </a:lnTo>
                    <a:lnTo>
                      <a:pt x="99" y="113"/>
                    </a:lnTo>
                    <a:lnTo>
                      <a:pt x="95" y="113"/>
                    </a:lnTo>
                    <a:lnTo>
                      <a:pt x="95" y="113"/>
                    </a:lnTo>
                    <a:lnTo>
                      <a:pt x="90" y="109"/>
                    </a:lnTo>
                    <a:lnTo>
                      <a:pt x="90" y="109"/>
                    </a:lnTo>
                    <a:lnTo>
                      <a:pt x="86" y="109"/>
                    </a:lnTo>
                    <a:lnTo>
                      <a:pt x="81" y="109"/>
                    </a:lnTo>
                    <a:lnTo>
                      <a:pt x="77" y="113"/>
                    </a:lnTo>
                    <a:lnTo>
                      <a:pt x="77" y="122"/>
                    </a:lnTo>
                    <a:lnTo>
                      <a:pt x="72" y="122"/>
                    </a:lnTo>
                    <a:lnTo>
                      <a:pt x="72" y="122"/>
                    </a:lnTo>
                    <a:lnTo>
                      <a:pt x="72" y="127"/>
                    </a:lnTo>
                    <a:lnTo>
                      <a:pt x="72" y="127"/>
                    </a:lnTo>
                    <a:lnTo>
                      <a:pt x="72" y="131"/>
                    </a:lnTo>
                    <a:lnTo>
                      <a:pt x="72" y="136"/>
                    </a:lnTo>
                    <a:lnTo>
                      <a:pt x="72" y="140"/>
                    </a:lnTo>
                    <a:lnTo>
                      <a:pt x="68" y="140"/>
                    </a:lnTo>
                    <a:lnTo>
                      <a:pt x="68" y="140"/>
                    </a:lnTo>
                    <a:lnTo>
                      <a:pt x="68" y="136"/>
                    </a:lnTo>
                    <a:lnTo>
                      <a:pt x="68" y="140"/>
                    </a:lnTo>
                    <a:lnTo>
                      <a:pt x="63" y="140"/>
                    </a:lnTo>
                    <a:lnTo>
                      <a:pt x="63" y="140"/>
                    </a:lnTo>
                    <a:lnTo>
                      <a:pt x="63" y="140"/>
                    </a:lnTo>
                    <a:lnTo>
                      <a:pt x="63" y="140"/>
                    </a:lnTo>
                    <a:lnTo>
                      <a:pt x="63" y="140"/>
                    </a:lnTo>
                    <a:lnTo>
                      <a:pt x="59" y="140"/>
                    </a:lnTo>
                    <a:lnTo>
                      <a:pt x="59" y="140"/>
                    </a:lnTo>
                    <a:lnTo>
                      <a:pt x="59" y="140"/>
                    </a:lnTo>
                    <a:lnTo>
                      <a:pt x="59" y="140"/>
                    </a:lnTo>
                    <a:lnTo>
                      <a:pt x="59" y="140"/>
                    </a:lnTo>
                    <a:lnTo>
                      <a:pt x="54" y="136"/>
                    </a:lnTo>
                    <a:lnTo>
                      <a:pt x="50" y="136"/>
                    </a:lnTo>
                    <a:lnTo>
                      <a:pt x="50" y="136"/>
                    </a:lnTo>
                    <a:lnTo>
                      <a:pt x="50" y="140"/>
                    </a:lnTo>
                    <a:lnTo>
                      <a:pt x="45" y="140"/>
                    </a:lnTo>
                    <a:lnTo>
                      <a:pt x="45" y="140"/>
                    </a:lnTo>
                    <a:lnTo>
                      <a:pt x="41" y="140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36" y="145"/>
                    </a:lnTo>
                    <a:lnTo>
                      <a:pt x="36" y="145"/>
                    </a:lnTo>
                    <a:lnTo>
                      <a:pt x="32" y="145"/>
                    </a:lnTo>
                    <a:lnTo>
                      <a:pt x="32" y="149"/>
                    </a:lnTo>
                    <a:lnTo>
                      <a:pt x="32" y="149"/>
                    </a:lnTo>
                    <a:lnTo>
                      <a:pt x="32" y="154"/>
                    </a:lnTo>
                    <a:lnTo>
                      <a:pt x="32" y="154"/>
                    </a:lnTo>
                    <a:lnTo>
                      <a:pt x="32" y="154"/>
                    </a:lnTo>
                    <a:lnTo>
                      <a:pt x="32" y="158"/>
                    </a:lnTo>
                    <a:lnTo>
                      <a:pt x="32" y="163"/>
                    </a:lnTo>
                    <a:lnTo>
                      <a:pt x="27" y="163"/>
                    </a:lnTo>
                    <a:lnTo>
                      <a:pt x="27" y="163"/>
                    </a:lnTo>
                    <a:lnTo>
                      <a:pt x="27" y="158"/>
                    </a:lnTo>
                    <a:lnTo>
                      <a:pt x="27" y="158"/>
                    </a:lnTo>
                    <a:lnTo>
                      <a:pt x="27" y="158"/>
                    </a:lnTo>
                    <a:lnTo>
                      <a:pt x="27" y="154"/>
                    </a:lnTo>
                    <a:lnTo>
                      <a:pt x="27" y="154"/>
                    </a:lnTo>
                    <a:lnTo>
                      <a:pt x="27" y="154"/>
                    </a:lnTo>
                    <a:lnTo>
                      <a:pt x="27" y="154"/>
                    </a:lnTo>
                    <a:lnTo>
                      <a:pt x="27" y="149"/>
                    </a:lnTo>
                    <a:lnTo>
                      <a:pt x="27" y="149"/>
                    </a:lnTo>
                    <a:lnTo>
                      <a:pt x="23" y="149"/>
                    </a:lnTo>
                    <a:lnTo>
                      <a:pt x="23" y="149"/>
                    </a:lnTo>
                    <a:lnTo>
                      <a:pt x="23" y="149"/>
                    </a:lnTo>
                    <a:lnTo>
                      <a:pt x="23" y="149"/>
                    </a:lnTo>
                    <a:lnTo>
                      <a:pt x="23" y="149"/>
                    </a:lnTo>
                    <a:lnTo>
                      <a:pt x="18" y="145"/>
                    </a:lnTo>
                    <a:lnTo>
                      <a:pt x="18" y="145"/>
                    </a:lnTo>
                    <a:lnTo>
                      <a:pt x="18" y="140"/>
                    </a:lnTo>
                    <a:lnTo>
                      <a:pt x="14" y="140"/>
                    </a:lnTo>
                    <a:lnTo>
                      <a:pt x="14" y="136"/>
                    </a:lnTo>
                    <a:lnTo>
                      <a:pt x="9" y="136"/>
                    </a:lnTo>
                    <a:lnTo>
                      <a:pt x="9" y="131"/>
                    </a:lnTo>
                    <a:lnTo>
                      <a:pt x="9" y="131"/>
                    </a:lnTo>
                    <a:lnTo>
                      <a:pt x="9" y="131"/>
                    </a:lnTo>
                    <a:lnTo>
                      <a:pt x="9" y="131"/>
                    </a:lnTo>
                    <a:lnTo>
                      <a:pt x="9" y="131"/>
                    </a:lnTo>
                    <a:lnTo>
                      <a:pt x="9" y="131"/>
                    </a:lnTo>
                    <a:lnTo>
                      <a:pt x="9" y="127"/>
                    </a:lnTo>
                    <a:lnTo>
                      <a:pt x="9" y="127"/>
                    </a:lnTo>
                    <a:lnTo>
                      <a:pt x="9" y="122"/>
                    </a:lnTo>
                    <a:lnTo>
                      <a:pt x="4" y="122"/>
                    </a:lnTo>
                    <a:lnTo>
                      <a:pt x="4" y="122"/>
                    </a:lnTo>
                    <a:lnTo>
                      <a:pt x="4" y="118"/>
                    </a:lnTo>
                    <a:lnTo>
                      <a:pt x="4" y="118"/>
                    </a:lnTo>
                    <a:lnTo>
                      <a:pt x="0" y="109"/>
                    </a:lnTo>
                    <a:lnTo>
                      <a:pt x="0" y="109"/>
                    </a:lnTo>
                    <a:lnTo>
                      <a:pt x="0" y="109"/>
                    </a:lnTo>
                    <a:lnTo>
                      <a:pt x="0" y="109"/>
                    </a:lnTo>
                    <a:lnTo>
                      <a:pt x="0" y="109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95"/>
                    </a:lnTo>
                    <a:lnTo>
                      <a:pt x="0" y="95"/>
                    </a:lnTo>
                    <a:lnTo>
                      <a:pt x="0" y="95"/>
                    </a:lnTo>
                    <a:lnTo>
                      <a:pt x="0" y="95"/>
                    </a:lnTo>
                    <a:lnTo>
                      <a:pt x="0" y="95"/>
                    </a:lnTo>
                    <a:lnTo>
                      <a:pt x="0" y="95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1"/>
                    </a:lnTo>
                    <a:lnTo>
                      <a:pt x="9" y="81"/>
                    </a:lnTo>
                    <a:lnTo>
                      <a:pt x="9" y="77"/>
                    </a:lnTo>
                    <a:lnTo>
                      <a:pt x="9" y="77"/>
                    </a:lnTo>
                    <a:lnTo>
                      <a:pt x="9" y="72"/>
                    </a:lnTo>
                    <a:lnTo>
                      <a:pt x="9" y="72"/>
                    </a:lnTo>
                    <a:lnTo>
                      <a:pt x="14" y="72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63"/>
                    </a:lnTo>
                    <a:lnTo>
                      <a:pt x="27" y="63"/>
                    </a:lnTo>
                    <a:lnTo>
                      <a:pt x="27" y="63"/>
                    </a:lnTo>
                    <a:lnTo>
                      <a:pt x="32" y="63"/>
                    </a:lnTo>
                    <a:lnTo>
                      <a:pt x="32" y="59"/>
                    </a:lnTo>
                    <a:lnTo>
                      <a:pt x="32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63"/>
                    </a:lnTo>
                    <a:lnTo>
                      <a:pt x="41" y="63"/>
                    </a:lnTo>
                    <a:lnTo>
                      <a:pt x="41" y="63"/>
                    </a:lnTo>
                    <a:lnTo>
                      <a:pt x="41" y="63"/>
                    </a:lnTo>
                    <a:lnTo>
                      <a:pt x="45" y="63"/>
                    </a:lnTo>
                    <a:lnTo>
                      <a:pt x="45" y="63"/>
                    </a:lnTo>
                    <a:lnTo>
                      <a:pt x="45" y="59"/>
                    </a:lnTo>
                    <a:lnTo>
                      <a:pt x="50" y="59"/>
                    </a:lnTo>
                    <a:lnTo>
                      <a:pt x="50" y="59"/>
                    </a:lnTo>
                    <a:lnTo>
                      <a:pt x="50" y="59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59" y="54"/>
                    </a:lnTo>
                    <a:lnTo>
                      <a:pt x="63" y="54"/>
                    </a:lnTo>
                    <a:lnTo>
                      <a:pt x="68" y="54"/>
                    </a:lnTo>
                    <a:lnTo>
                      <a:pt x="68" y="54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77" y="50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81" y="45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36"/>
                    </a:lnTo>
                    <a:lnTo>
                      <a:pt x="77" y="36"/>
                    </a:lnTo>
                    <a:lnTo>
                      <a:pt x="81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36"/>
                    </a:lnTo>
                    <a:lnTo>
                      <a:pt x="90" y="36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9" y="36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8" y="27"/>
                    </a:lnTo>
                    <a:lnTo>
                      <a:pt x="108" y="27"/>
                    </a:lnTo>
                    <a:lnTo>
                      <a:pt x="113" y="23"/>
                    </a:lnTo>
                    <a:lnTo>
                      <a:pt x="113" y="23"/>
                    </a:lnTo>
                    <a:lnTo>
                      <a:pt x="117" y="18"/>
                    </a:lnTo>
                    <a:lnTo>
                      <a:pt x="117" y="18"/>
                    </a:lnTo>
                    <a:lnTo>
                      <a:pt x="117" y="18"/>
                    </a:lnTo>
                    <a:lnTo>
                      <a:pt x="122" y="14"/>
                    </a:lnTo>
                    <a:lnTo>
                      <a:pt x="122" y="14"/>
                    </a:lnTo>
                    <a:lnTo>
                      <a:pt x="122" y="14"/>
                    </a:lnTo>
                    <a:lnTo>
                      <a:pt x="122" y="14"/>
                    </a:lnTo>
                    <a:lnTo>
                      <a:pt x="122" y="14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5"/>
                    </a:lnTo>
                    <a:lnTo>
                      <a:pt x="126" y="5"/>
                    </a:lnTo>
                    <a:lnTo>
                      <a:pt x="126" y="5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1" y="0"/>
                    </a:lnTo>
                    <a:lnTo>
                      <a:pt x="131" y="0"/>
                    </a:lnTo>
                    <a:lnTo>
                      <a:pt x="136" y="0"/>
                    </a:lnTo>
                    <a:lnTo>
                      <a:pt x="136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5" y="0"/>
                    </a:lnTo>
                    <a:lnTo>
                      <a:pt x="145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09" name="Freeform 30"/>
              <p:cNvSpPr>
                <a:spLocks noEditPoints="1"/>
              </p:cNvSpPr>
              <p:nvPr/>
            </p:nvSpPr>
            <p:spPr bwMode="auto">
              <a:xfrm>
                <a:off x="1452563" y="447676"/>
                <a:ext cx="2100263" cy="1198563"/>
              </a:xfrm>
              <a:custGeom>
                <a:avLst/>
                <a:gdLst>
                  <a:gd name="T0" fmla="*/ 673 w 1323"/>
                  <a:gd name="T1" fmla="*/ 696 h 755"/>
                  <a:gd name="T2" fmla="*/ 862 w 1323"/>
                  <a:gd name="T3" fmla="*/ 705 h 755"/>
                  <a:gd name="T4" fmla="*/ 786 w 1323"/>
                  <a:gd name="T5" fmla="*/ 692 h 755"/>
                  <a:gd name="T6" fmla="*/ 22 w 1323"/>
                  <a:gd name="T7" fmla="*/ 574 h 755"/>
                  <a:gd name="T8" fmla="*/ 975 w 1323"/>
                  <a:gd name="T9" fmla="*/ 619 h 755"/>
                  <a:gd name="T10" fmla="*/ 1007 w 1323"/>
                  <a:gd name="T11" fmla="*/ 660 h 755"/>
                  <a:gd name="T12" fmla="*/ 926 w 1323"/>
                  <a:gd name="T13" fmla="*/ 660 h 755"/>
                  <a:gd name="T14" fmla="*/ 4 w 1323"/>
                  <a:gd name="T15" fmla="*/ 475 h 755"/>
                  <a:gd name="T16" fmla="*/ 817 w 1323"/>
                  <a:gd name="T17" fmla="*/ 371 h 755"/>
                  <a:gd name="T18" fmla="*/ 781 w 1323"/>
                  <a:gd name="T19" fmla="*/ 339 h 755"/>
                  <a:gd name="T20" fmla="*/ 926 w 1323"/>
                  <a:gd name="T21" fmla="*/ 244 h 755"/>
                  <a:gd name="T22" fmla="*/ 596 w 1323"/>
                  <a:gd name="T23" fmla="*/ 728 h 755"/>
                  <a:gd name="T24" fmla="*/ 433 w 1323"/>
                  <a:gd name="T25" fmla="*/ 597 h 755"/>
                  <a:gd name="T26" fmla="*/ 45 w 1323"/>
                  <a:gd name="T27" fmla="*/ 534 h 755"/>
                  <a:gd name="T28" fmla="*/ 58 w 1323"/>
                  <a:gd name="T29" fmla="*/ 470 h 755"/>
                  <a:gd name="T30" fmla="*/ 99 w 1323"/>
                  <a:gd name="T31" fmla="*/ 348 h 755"/>
                  <a:gd name="T32" fmla="*/ 420 w 1323"/>
                  <a:gd name="T33" fmla="*/ 176 h 755"/>
                  <a:gd name="T34" fmla="*/ 469 w 1323"/>
                  <a:gd name="T35" fmla="*/ 190 h 755"/>
                  <a:gd name="T36" fmla="*/ 578 w 1323"/>
                  <a:gd name="T37" fmla="*/ 258 h 755"/>
                  <a:gd name="T38" fmla="*/ 700 w 1323"/>
                  <a:gd name="T39" fmla="*/ 253 h 755"/>
                  <a:gd name="T40" fmla="*/ 772 w 1323"/>
                  <a:gd name="T41" fmla="*/ 226 h 755"/>
                  <a:gd name="T42" fmla="*/ 808 w 1323"/>
                  <a:gd name="T43" fmla="*/ 226 h 755"/>
                  <a:gd name="T44" fmla="*/ 890 w 1323"/>
                  <a:gd name="T45" fmla="*/ 231 h 755"/>
                  <a:gd name="T46" fmla="*/ 781 w 1323"/>
                  <a:gd name="T47" fmla="*/ 303 h 755"/>
                  <a:gd name="T48" fmla="*/ 673 w 1323"/>
                  <a:gd name="T49" fmla="*/ 348 h 755"/>
                  <a:gd name="T50" fmla="*/ 646 w 1323"/>
                  <a:gd name="T51" fmla="*/ 488 h 755"/>
                  <a:gd name="T52" fmla="*/ 709 w 1323"/>
                  <a:gd name="T53" fmla="*/ 520 h 755"/>
                  <a:gd name="T54" fmla="*/ 899 w 1323"/>
                  <a:gd name="T55" fmla="*/ 380 h 755"/>
                  <a:gd name="T56" fmla="*/ 912 w 1323"/>
                  <a:gd name="T57" fmla="*/ 452 h 755"/>
                  <a:gd name="T58" fmla="*/ 975 w 1323"/>
                  <a:gd name="T59" fmla="*/ 452 h 755"/>
                  <a:gd name="T60" fmla="*/ 984 w 1323"/>
                  <a:gd name="T61" fmla="*/ 538 h 755"/>
                  <a:gd name="T62" fmla="*/ 844 w 1323"/>
                  <a:gd name="T63" fmla="*/ 606 h 755"/>
                  <a:gd name="T64" fmla="*/ 691 w 1323"/>
                  <a:gd name="T65" fmla="*/ 163 h 755"/>
                  <a:gd name="T66" fmla="*/ 655 w 1323"/>
                  <a:gd name="T67" fmla="*/ 226 h 755"/>
                  <a:gd name="T68" fmla="*/ 618 w 1323"/>
                  <a:gd name="T69" fmla="*/ 145 h 755"/>
                  <a:gd name="T70" fmla="*/ 921 w 1323"/>
                  <a:gd name="T71" fmla="*/ 181 h 755"/>
                  <a:gd name="T72" fmla="*/ 1025 w 1323"/>
                  <a:gd name="T73" fmla="*/ 194 h 755"/>
                  <a:gd name="T74" fmla="*/ 1061 w 1323"/>
                  <a:gd name="T75" fmla="*/ 231 h 755"/>
                  <a:gd name="T76" fmla="*/ 1066 w 1323"/>
                  <a:gd name="T77" fmla="*/ 289 h 755"/>
                  <a:gd name="T78" fmla="*/ 1016 w 1323"/>
                  <a:gd name="T79" fmla="*/ 298 h 755"/>
                  <a:gd name="T80" fmla="*/ 989 w 1323"/>
                  <a:gd name="T81" fmla="*/ 366 h 755"/>
                  <a:gd name="T82" fmla="*/ 912 w 1323"/>
                  <a:gd name="T83" fmla="*/ 326 h 755"/>
                  <a:gd name="T84" fmla="*/ 971 w 1323"/>
                  <a:gd name="T85" fmla="*/ 249 h 755"/>
                  <a:gd name="T86" fmla="*/ 849 w 1323"/>
                  <a:gd name="T87" fmla="*/ 213 h 755"/>
                  <a:gd name="T88" fmla="*/ 808 w 1323"/>
                  <a:gd name="T89" fmla="*/ 167 h 755"/>
                  <a:gd name="T90" fmla="*/ 876 w 1323"/>
                  <a:gd name="T91" fmla="*/ 145 h 755"/>
                  <a:gd name="T92" fmla="*/ 519 w 1323"/>
                  <a:gd name="T93" fmla="*/ 163 h 755"/>
                  <a:gd name="T94" fmla="*/ 664 w 1323"/>
                  <a:gd name="T95" fmla="*/ 100 h 755"/>
                  <a:gd name="T96" fmla="*/ 826 w 1323"/>
                  <a:gd name="T97" fmla="*/ 109 h 755"/>
                  <a:gd name="T98" fmla="*/ 695 w 1323"/>
                  <a:gd name="T99" fmla="*/ 122 h 755"/>
                  <a:gd name="T100" fmla="*/ 736 w 1323"/>
                  <a:gd name="T101" fmla="*/ 100 h 755"/>
                  <a:gd name="T102" fmla="*/ 989 w 1323"/>
                  <a:gd name="T103" fmla="*/ 122 h 755"/>
                  <a:gd name="T104" fmla="*/ 899 w 1323"/>
                  <a:gd name="T105" fmla="*/ 136 h 755"/>
                  <a:gd name="T106" fmla="*/ 659 w 1323"/>
                  <a:gd name="T107" fmla="*/ 95 h 755"/>
                  <a:gd name="T108" fmla="*/ 795 w 1323"/>
                  <a:gd name="T109" fmla="*/ 68 h 755"/>
                  <a:gd name="T110" fmla="*/ 899 w 1323"/>
                  <a:gd name="T111" fmla="*/ 54 h 755"/>
                  <a:gd name="T112" fmla="*/ 1043 w 1323"/>
                  <a:gd name="T113" fmla="*/ 36 h 755"/>
                  <a:gd name="T114" fmla="*/ 971 w 1323"/>
                  <a:gd name="T115" fmla="*/ 63 h 755"/>
                  <a:gd name="T116" fmla="*/ 1301 w 1323"/>
                  <a:gd name="T117" fmla="*/ 9 h 755"/>
                  <a:gd name="T118" fmla="*/ 1138 w 1323"/>
                  <a:gd name="T119" fmla="*/ 72 h 755"/>
                  <a:gd name="T120" fmla="*/ 998 w 1323"/>
                  <a:gd name="T121" fmla="*/ 90 h 755"/>
                  <a:gd name="T122" fmla="*/ 1147 w 1323"/>
                  <a:gd name="T123" fmla="*/ 36 h 755"/>
                  <a:gd name="T124" fmla="*/ 1138 w 1323"/>
                  <a:gd name="T125" fmla="*/ 1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323" h="755">
                    <a:moveTo>
                      <a:pt x="885" y="692"/>
                    </a:moveTo>
                    <a:lnTo>
                      <a:pt x="885" y="692"/>
                    </a:lnTo>
                    <a:lnTo>
                      <a:pt x="885" y="692"/>
                    </a:lnTo>
                    <a:lnTo>
                      <a:pt x="885" y="687"/>
                    </a:lnTo>
                    <a:lnTo>
                      <a:pt x="885" y="687"/>
                    </a:lnTo>
                    <a:lnTo>
                      <a:pt x="885" y="692"/>
                    </a:lnTo>
                    <a:lnTo>
                      <a:pt x="885" y="692"/>
                    </a:lnTo>
                    <a:lnTo>
                      <a:pt x="885" y="692"/>
                    </a:lnTo>
                    <a:lnTo>
                      <a:pt x="885" y="692"/>
                    </a:lnTo>
                    <a:lnTo>
                      <a:pt x="885" y="692"/>
                    </a:lnTo>
                    <a:lnTo>
                      <a:pt x="885" y="692"/>
                    </a:lnTo>
                    <a:lnTo>
                      <a:pt x="880" y="692"/>
                    </a:lnTo>
                    <a:lnTo>
                      <a:pt x="880" y="696"/>
                    </a:lnTo>
                    <a:lnTo>
                      <a:pt x="885" y="692"/>
                    </a:lnTo>
                    <a:lnTo>
                      <a:pt x="885" y="692"/>
                    </a:lnTo>
                    <a:lnTo>
                      <a:pt x="885" y="692"/>
                    </a:lnTo>
                    <a:lnTo>
                      <a:pt x="890" y="692"/>
                    </a:lnTo>
                    <a:lnTo>
                      <a:pt x="890" y="692"/>
                    </a:lnTo>
                    <a:lnTo>
                      <a:pt x="894" y="692"/>
                    </a:lnTo>
                    <a:lnTo>
                      <a:pt x="894" y="692"/>
                    </a:lnTo>
                    <a:lnTo>
                      <a:pt x="890" y="692"/>
                    </a:lnTo>
                    <a:lnTo>
                      <a:pt x="890" y="692"/>
                    </a:lnTo>
                    <a:lnTo>
                      <a:pt x="894" y="687"/>
                    </a:lnTo>
                    <a:lnTo>
                      <a:pt x="894" y="687"/>
                    </a:lnTo>
                    <a:lnTo>
                      <a:pt x="894" y="687"/>
                    </a:lnTo>
                    <a:lnTo>
                      <a:pt x="894" y="683"/>
                    </a:lnTo>
                    <a:lnTo>
                      <a:pt x="899" y="683"/>
                    </a:lnTo>
                    <a:lnTo>
                      <a:pt x="899" y="683"/>
                    </a:lnTo>
                    <a:lnTo>
                      <a:pt x="899" y="683"/>
                    </a:lnTo>
                    <a:lnTo>
                      <a:pt x="899" y="687"/>
                    </a:lnTo>
                    <a:lnTo>
                      <a:pt x="899" y="687"/>
                    </a:lnTo>
                    <a:lnTo>
                      <a:pt x="903" y="687"/>
                    </a:lnTo>
                    <a:lnTo>
                      <a:pt x="903" y="687"/>
                    </a:lnTo>
                    <a:lnTo>
                      <a:pt x="903" y="687"/>
                    </a:lnTo>
                    <a:lnTo>
                      <a:pt x="903" y="687"/>
                    </a:lnTo>
                    <a:lnTo>
                      <a:pt x="903" y="687"/>
                    </a:lnTo>
                    <a:lnTo>
                      <a:pt x="903" y="687"/>
                    </a:lnTo>
                    <a:lnTo>
                      <a:pt x="903" y="692"/>
                    </a:lnTo>
                    <a:lnTo>
                      <a:pt x="903" y="692"/>
                    </a:lnTo>
                    <a:lnTo>
                      <a:pt x="899" y="692"/>
                    </a:lnTo>
                    <a:lnTo>
                      <a:pt x="899" y="692"/>
                    </a:lnTo>
                    <a:lnTo>
                      <a:pt x="894" y="696"/>
                    </a:lnTo>
                    <a:lnTo>
                      <a:pt x="890" y="696"/>
                    </a:lnTo>
                    <a:lnTo>
                      <a:pt x="885" y="696"/>
                    </a:lnTo>
                    <a:lnTo>
                      <a:pt x="885" y="696"/>
                    </a:lnTo>
                    <a:lnTo>
                      <a:pt x="885" y="696"/>
                    </a:lnTo>
                    <a:lnTo>
                      <a:pt x="880" y="696"/>
                    </a:lnTo>
                    <a:lnTo>
                      <a:pt x="880" y="696"/>
                    </a:lnTo>
                    <a:lnTo>
                      <a:pt x="880" y="696"/>
                    </a:lnTo>
                    <a:lnTo>
                      <a:pt x="880" y="696"/>
                    </a:lnTo>
                    <a:lnTo>
                      <a:pt x="876" y="696"/>
                    </a:lnTo>
                    <a:lnTo>
                      <a:pt x="876" y="696"/>
                    </a:lnTo>
                    <a:lnTo>
                      <a:pt x="876" y="696"/>
                    </a:lnTo>
                    <a:lnTo>
                      <a:pt x="876" y="692"/>
                    </a:lnTo>
                    <a:lnTo>
                      <a:pt x="876" y="687"/>
                    </a:lnTo>
                    <a:lnTo>
                      <a:pt x="880" y="687"/>
                    </a:lnTo>
                    <a:lnTo>
                      <a:pt x="880" y="687"/>
                    </a:lnTo>
                    <a:lnTo>
                      <a:pt x="885" y="683"/>
                    </a:lnTo>
                    <a:lnTo>
                      <a:pt x="885" y="683"/>
                    </a:lnTo>
                    <a:lnTo>
                      <a:pt x="890" y="678"/>
                    </a:lnTo>
                    <a:lnTo>
                      <a:pt x="894" y="674"/>
                    </a:lnTo>
                    <a:lnTo>
                      <a:pt x="894" y="674"/>
                    </a:lnTo>
                    <a:lnTo>
                      <a:pt x="894" y="674"/>
                    </a:lnTo>
                    <a:lnTo>
                      <a:pt x="899" y="669"/>
                    </a:lnTo>
                    <a:lnTo>
                      <a:pt x="899" y="669"/>
                    </a:lnTo>
                    <a:lnTo>
                      <a:pt x="903" y="669"/>
                    </a:lnTo>
                    <a:lnTo>
                      <a:pt x="903" y="669"/>
                    </a:lnTo>
                    <a:lnTo>
                      <a:pt x="903" y="669"/>
                    </a:lnTo>
                    <a:lnTo>
                      <a:pt x="903" y="674"/>
                    </a:lnTo>
                    <a:lnTo>
                      <a:pt x="903" y="674"/>
                    </a:lnTo>
                    <a:lnTo>
                      <a:pt x="903" y="674"/>
                    </a:lnTo>
                    <a:lnTo>
                      <a:pt x="899" y="678"/>
                    </a:lnTo>
                    <a:lnTo>
                      <a:pt x="899" y="683"/>
                    </a:lnTo>
                    <a:lnTo>
                      <a:pt x="894" y="683"/>
                    </a:lnTo>
                    <a:lnTo>
                      <a:pt x="894" y="683"/>
                    </a:lnTo>
                    <a:lnTo>
                      <a:pt x="894" y="683"/>
                    </a:lnTo>
                    <a:lnTo>
                      <a:pt x="894" y="687"/>
                    </a:lnTo>
                    <a:lnTo>
                      <a:pt x="890" y="687"/>
                    </a:lnTo>
                    <a:lnTo>
                      <a:pt x="890" y="687"/>
                    </a:lnTo>
                    <a:lnTo>
                      <a:pt x="885" y="687"/>
                    </a:lnTo>
                    <a:lnTo>
                      <a:pt x="885" y="692"/>
                    </a:lnTo>
                    <a:moveTo>
                      <a:pt x="849" y="678"/>
                    </a:moveTo>
                    <a:lnTo>
                      <a:pt x="849" y="678"/>
                    </a:lnTo>
                    <a:lnTo>
                      <a:pt x="849" y="678"/>
                    </a:lnTo>
                    <a:lnTo>
                      <a:pt x="849" y="678"/>
                    </a:lnTo>
                    <a:lnTo>
                      <a:pt x="849" y="678"/>
                    </a:lnTo>
                    <a:lnTo>
                      <a:pt x="853" y="678"/>
                    </a:lnTo>
                    <a:lnTo>
                      <a:pt x="853" y="678"/>
                    </a:lnTo>
                    <a:lnTo>
                      <a:pt x="853" y="678"/>
                    </a:lnTo>
                    <a:lnTo>
                      <a:pt x="853" y="678"/>
                    </a:lnTo>
                    <a:lnTo>
                      <a:pt x="853" y="678"/>
                    </a:lnTo>
                    <a:lnTo>
                      <a:pt x="858" y="678"/>
                    </a:lnTo>
                    <a:lnTo>
                      <a:pt x="858" y="678"/>
                    </a:lnTo>
                    <a:lnTo>
                      <a:pt x="862" y="678"/>
                    </a:lnTo>
                    <a:lnTo>
                      <a:pt x="862" y="678"/>
                    </a:lnTo>
                    <a:lnTo>
                      <a:pt x="867" y="678"/>
                    </a:lnTo>
                    <a:lnTo>
                      <a:pt x="871" y="678"/>
                    </a:lnTo>
                    <a:lnTo>
                      <a:pt x="871" y="678"/>
                    </a:lnTo>
                    <a:lnTo>
                      <a:pt x="871" y="678"/>
                    </a:lnTo>
                    <a:lnTo>
                      <a:pt x="876" y="678"/>
                    </a:lnTo>
                    <a:lnTo>
                      <a:pt x="871" y="683"/>
                    </a:lnTo>
                    <a:lnTo>
                      <a:pt x="867" y="683"/>
                    </a:lnTo>
                    <a:lnTo>
                      <a:pt x="862" y="683"/>
                    </a:lnTo>
                    <a:lnTo>
                      <a:pt x="862" y="683"/>
                    </a:lnTo>
                    <a:lnTo>
                      <a:pt x="862" y="687"/>
                    </a:lnTo>
                    <a:lnTo>
                      <a:pt x="862" y="687"/>
                    </a:lnTo>
                    <a:lnTo>
                      <a:pt x="862" y="687"/>
                    </a:lnTo>
                    <a:lnTo>
                      <a:pt x="862" y="687"/>
                    </a:lnTo>
                    <a:lnTo>
                      <a:pt x="862" y="687"/>
                    </a:lnTo>
                    <a:lnTo>
                      <a:pt x="858" y="687"/>
                    </a:lnTo>
                    <a:lnTo>
                      <a:pt x="858" y="687"/>
                    </a:lnTo>
                    <a:lnTo>
                      <a:pt x="858" y="687"/>
                    </a:lnTo>
                    <a:lnTo>
                      <a:pt x="858" y="687"/>
                    </a:lnTo>
                    <a:lnTo>
                      <a:pt x="858" y="687"/>
                    </a:lnTo>
                    <a:lnTo>
                      <a:pt x="858" y="687"/>
                    </a:lnTo>
                    <a:lnTo>
                      <a:pt x="858" y="683"/>
                    </a:lnTo>
                    <a:lnTo>
                      <a:pt x="858" y="683"/>
                    </a:lnTo>
                    <a:lnTo>
                      <a:pt x="858" y="683"/>
                    </a:lnTo>
                    <a:lnTo>
                      <a:pt x="858" y="683"/>
                    </a:lnTo>
                    <a:lnTo>
                      <a:pt x="858" y="683"/>
                    </a:lnTo>
                    <a:lnTo>
                      <a:pt x="858" y="683"/>
                    </a:lnTo>
                    <a:lnTo>
                      <a:pt x="858" y="683"/>
                    </a:lnTo>
                    <a:lnTo>
                      <a:pt x="858" y="683"/>
                    </a:lnTo>
                    <a:lnTo>
                      <a:pt x="858" y="683"/>
                    </a:lnTo>
                    <a:lnTo>
                      <a:pt x="853" y="683"/>
                    </a:lnTo>
                    <a:lnTo>
                      <a:pt x="853" y="683"/>
                    </a:lnTo>
                    <a:lnTo>
                      <a:pt x="853" y="683"/>
                    </a:lnTo>
                    <a:lnTo>
                      <a:pt x="853" y="683"/>
                    </a:lnTo>
                    <a:lnTo>
                      <a:pt x="853" y="683"/>
                    </a:lnTo>
                    <a:lnTo>
                      <a:pt x="849" y="683"/>
                    </a:lnTo>
                    <a:lnTo>
                      <a:pt x="849" y="683"/>
                    </a:lnTo>
                    <a:lnTo>
                      <a:pt x="849" y="683"/>
                    </a:lnTo>
                    <a:lnTo>
                      <a:pt x="849" y="678"/>
                    </a:lnTo>
                    <a:lnTo>
                      <a:pt x="849" y="678"/>
                    </a:lnTo>
                    <a:lnTo>
                      <a:pt x="849" y="678"/>
                    </a:lnTo>
                    <a:lnTo>
                      <a:pt x="849" y="678"/>
                    </a:lnTo>
                    <a:lnTo>
                      <a:pt x="849" y="678"/>
                    </a:lnTo>
                    <a:lnTo>
                      <a:pt x="844" y="678"/>
                    </a:lnTo>
                    <a:lnTo>
                      <a:pt x="844" y="678"/>
                    </a:lnTo>
                    <a:lnTo>
                      <a:pt x="844" y="674"/>
                    </a:lnTo>
                    <a:lnTo>
                      <a:pt x="844" y="674"/>
                    </a:lnTo>
                    <a:lnTo>
                      <a:pt x="844" y="674"/>
                    </a:lnTo>
                    <a:lnTo>
                      <a:pt x="840" y="674"/>
                    </a:lnTo>
                    <a:lnTo>
                      <a:pt x="840" y="674"/>
                    </a:lnTo>
                    <a:lnTo>
                      <a:pt x="844" y="674"/>
                    </a:lnTo>
                    <a:lnTo>
                      <a:pt x="844" y="669"/>
                    </a:lnTo>
                    <a:lnTo>
                      <a:pt x="844" y="669"/>
                    </a:lnTo>
                    <a:lnTo>
                      <a:pt x="849" y="669"/>
                    </a:lnTo>
                    <a:lnTo>
                      <a:pt x="849" y="665"/>
                    </a:lnTo>
                    <a:lnTo>
                      <a:pt x="849" y="669"/>
                    </a:lnTo>
                    <a:lnTo>
                      <a:pt x="849" y="669"/>
                    </a:lnTo>
                    <a:lnTo>
                      <a:pt x="844" y="674"/>
                    </a:lnTo>
                    <a:lnTo>
                      <a:pt x="849" y="674"/>
                    </a:lnTo>
                    <a:lnTo>
                      <a:pt x="849" y="674"/>
                    </a:lnTo>
                    <a:lnTo>
                      <a:pt x="849" y="674"/>
                    </a:lnTo>
                    <a:lnTo>
                      <a:pt x="849" y="678"/>
                    </a:lnTo>
                    <a:lnTo>
                      <a:pt x="849" y="678"/>
                    </a:lnTo>
                    <a:lnTo>
                      <a:pt x="849" y="678"/>
                    </a:lnTo>
                    <a:lnTo>
                      <a:pt x="849" y="678"/>
                    </a:lnTo>
                    <a:moveTo>
                      <a:pt x="673" y="696"/>
                    </a:moveTo>
                    <a:lnTo>
                      <a:pt x="673" y="696"/>
                    </a:lnTo>
                    <a:lnTo>
                      <a:pt x="677" y="696"/>
                    </a:lnTo>
                    <a:lnTo>
                      <a:pt x="682" y="696"/>
                    </a:lnTo>
                    <a:lnTo>
                      <a:pt x="686" y="692"/>
                    </a:lnTo>
                    <a:lnTo>
                      <a:pt x="691" y="692"/>
                    </a:lnTo>
                    <a:lnTo>
                      <a:pt x="695" y="692"/>
                    </a:lnTo>
                    <a:lnTo>
                      <a:pt x="695" y="692"/>
                    </a:lnTo>
                    <a:lnTo>
                      <a:pt x="700" y="687"/>
                    </a:lnTo>
                    <a:lnTo>
                      <a:pt x="700" y="687"/>
                    </a:lnTo>
                    <a:lnTo>
                      <a:pt x="700" y="683"/>
                    </a:lnTo>
                    <a:lnTo>
                      <a:pt x="704" y="683"/>
                    </a:lnTo>
                    <a:lnTo>
                      <a:pt x="709" y="678"/>
                    </a:lnTo>
                    <a:lnTo>
                      <a:pt x="709" y="678"/>
                    </a:lnTo>
                    <a:lnTo>
                      <a:pt x="713" y="678"/>
                    </a:lnTo>
                    <a:lnTo>
                      <a:pt x="718" y="674"/>
                    </a:lnTo>
                    <a:lnTo>
                      <a:pt x="722" y="674"/>
                    </a:lnTo>
                    <a:lnTo>
                      <a:pt x="722" y="674"/>
                    </a:lnTo>
                    <a:lnTo>
                      <a:pt x="727" y="669"/>
                    </a:lnTo>
                    <a:lnTo>
                      <a:pt x="727" y="669"/>
                    </a:lnTo>
                    <a:lnTo>
                      <a:pt x="731" y="669"/>
                    </a:lnTo>
                    <a:lnTo>
                      <a:pt x="736" y="669"/>
                    </a:lnTo>
                    <a:lnTo>
                      <a:pt x="740" y="669"/>
                    </a:lnTo>
                    <a:lnTo>
                      <a:pt x="740" y="665"/>
                    </a:lnTo>
                    <a:lnTo>
                      <a:pt x="745" y="665"/>
                    </a:lnTo>
                    <a:lnTo>
                      <a:pt x="745" y="665"/>
                    </a:lnTo>
                    <a:lnTo>
                      <a:pt x="754" y="660"/>
                    </a:lnTo>
                    <a:lnTo>
                      <a:pt x="759" y="660"/>
                    </a:lnTo>
                    <a:lnTo>
                      <a:pt x="763" y="656"/>
                    </a:lnTo>
                    <a:lnTo>
                      <a:pt x="763" y="656"/>
                    </a:lnTo>
                    <a:lnTo>
                      <a:pt x="768" y="656"/>
                    </a:lnTo>
                    <a:lnTo>
                      <a:pt x="772" y="651"/>
                    </a:lnTo>
                    <a:lnTo>
                      <a:pt x="777" y="647"/>
                    </a:lnTo>
                    <a:lnTo>
                      <a:pt x="781" y="647"/>
                    </a:lnTo>
                    <a:lnTo>
                      <a:pt x="781" y="642"/>
                    </a:lnTo>
                    <a:lnTo>
                      <a:pt x="790" y="638"/>
                    </a:lnTo>
                    <a:lnTo>
                      <a:pt x="790" y="638"/>
                    </a:lnTo>
                    <a:lnTo>
                      <a:pt x="795" y="638"/>
                    </a:lnTo>
                    <a:lnTo>
                      <a:pt x="795" y="638"/>
                    </a:lnTo>
                    <a:lnTo>
                      <a:pt x="799" y="633"/>
                    </a:lnTo>
                    <a:lnTo>
                      <a:pt x="804" y="633"/>
                    </a:lnTo>
                    <a:lnTo>
                      <a:pt x="808" y="633"/>
                    </a:lnTo>
                    <a:lnTo>
                      <a:pt x="813" y="629"/>
                    </a:lnTo>
                    <a:lnTo>
                      <a:pt x="822" y="629"/>
                    </a:lnTo>
                    <a:lnTo>
                      <a:pt x="831" y="624"/>
                    </a:lnTo>
                    <a:lnTo>
                      <a:pt x="840" y="624"/>
                    </a:lnTo>
                    <a:lnTo>
                      <a:pt x="844" y="624"/>
                    </a:lnTo>
                    <a:lnTo>
                      <a:pt x="849" y="624"/>
                    </a:lnTo>
                    <a:lnTo>
                      <a:pt x="849" y="624"/>
                    </a:lnTo>
                    <a:lnTo>
                      <a:pt x="858" y="624"/>
                    </a:lnTo>
                    <a:lnTo>
                      <a:pt x="858" y="629"/>
                    </a:lnTo>
                    <a:lnTo>
                      <a:pt x="862" y="633"/>
                    </a:lnTo>
                    <a:lnTo>
                      <a:pt x="862" y="633"/>
                    </a:lnTo>
                    <a:lnTo>
                      <a:pt x="862" y="633"/>
                    </a:lnTo>
                    <a:lnTo>
                      <a:pt x="862" y="633"/>
                    </a:lnTo>
                    <a:lnTo>
                      <a:pt x="858" y="633"/>
                    </a:lnTo>
                    <a:lnTo>
                      <a:pt x="858" y="633"/>
                    </a:lnTo>
                    <a:lnTo>
                      <a:pt x="862" y="633"/>
                    </a:lnTo>
                    <a:lnTo>
                      <a:pt x="858" y="638"/>
                    </a:lnTo>
                    <a:lnTo>
                      <a:pt x="858" y="642"/>
                    </a:lnTo>
                    <a:lnTo>
                      <a:pt x="853" y="642"/>
                    </a:lnTo>
                    <a:lnTo>
                      <a:pt x="849" y="642"/>
                    </a:lnTo>
                    <a:lnTo>
                      <a:pt x="849" y="642"/>
                    </a:lnTo>
                    <a:lnTo>
                      <a:pt x="849" y="642"/>
                    </a:lnTo>
                    <a:lnTo>
                      <a:pt x="844" y="647"/>
                    </a:lnTo>
                    <a:lnTo>
                      <a:pt x="844" y="647"/>
                    </a:lnTo>
                    <a:lnTo>
                      <a:pt x="840" y="647"/>
                    </a:lnTo>
                    <a:lnTo>
                      <a:pt x="840" y="647"/>
                    </a:lnTo>
                    <a:lnTo>
                      <a:pt x="835" y="647"/>
                    </a:lnTo>
                    <a:lnTo>
                      <a:pt x="835" y="647"/>
                    </a:lnTo>
                    <a:lnTo>
                      <a:pt x="831" y="642"/>
                    </a:lnTo>
                    <a:lnTo>
                      <a:pt x="831" y="642"/>
                    </a:lnTo>
                    <a:lnTo>
                      <a:pt x="831" y="647"/>
                    </a:lnTo>
                    <a:lnTo>
                      <a:pt x="826" y="647"/>
                    </a:lnTo>
                    <a:lnTo>
                      <a:pt x="826" y="647"/>
                    </a:lnTo>
                    <a:lnTo>
                      <a:pt x="822" y="647"/>
                    </a:lnTo>
                    <a:lnTo>
                      <a:pt x="817" y="647"/>
                    </a:lnTo>
                    <a:lnTo>
                      <a:pt x="822" y="647"/>
                    </a:lnTo>
                    <a:lnTo>
                      <a:pt x="822" y="647"/>
                    </a:lnTo>
                    <a:lnTo>
                      <a:pt x="826" y="647"/>
                    </a:lnTo>
                    <a:lnTo>
                      <a:pt x="826" y="647"/>
                    </a:lnTo>
                    <a:lnTo>
                      <a:pt x="831" y="651"/>
                    </a:lnTo>
                    <a:lnTo>
                      <a:pt x="831" y="651"/>
                    </a:lnTo>
                    <a:lnTo>
                      <a:pt x="831" y="651"/>
                    </a:lnTo>
                    <a:lnTo>
                      <a:pt x="831" y="656"/>
                    </a:lnTo>
                    <a:lnTo>
                      <a:pt x="835" y="656"/>
                    </a:lnTo>
                    <a:lnTo>
                      <a:pt x="835" y="651"/>
                    </a:lnTo>
                    <a:lnTo>
                      <a:pt x="840" y="651"/>
                    </a:lnTo>
                    <a:lnTo>
                      <a:pt x="844" y="651"/>
                    </a:lnTo>
                    <a:lnTo>
                      <a:pt x="840" y="651"/>
                    </a:lnTo>
                    <a:lnTo>
                      <a:pt x="844" y="651"/>
                    </a:lnTo>
                    <a:lnTo>
                      <a:pt x="844" y="651"/>
                    </a:lnTo>
                    <a:lnTo>
                      <a:pt x="844" y="656"/>
                    </a:lnTo>
                    <a:lnTo>
                      <a:pt x="844" y="656"/>
                    </a:lnTo>
                    <a:lnTo>
                      <a:pt x="840" y="660"/>
                    </a:lnTo>
                    <a:lnTo>
                      <a:pt x="835" y="660"/>
                    </a:lnTo>
                    <a:lnTo>
                      <a:pt x="831" y="665"/>
                    </a:lnTo>
                    <a:lnTo>
                      <a:pt x="831" y="665"/>
                    </a:lnTo>
                    <a:lnTo>
                      <a:pt x="831" y="665"/>
                    </a:lnTo>
                    <a:lnTo>
                      <a:pt x="835" y="665"/>
                    </a:lnTo>
                    <a:lnTo>
                      <a:pt x="835" y="665"/>
                    </a:lnTo>
                    <a:lnTo>
                      <a:pt x="840" y="665"/>
                    </a:lnTo>
                    <a:lnTo>
                      <a:pt x="835" y="669"/>
                    </a:lnTo>
                    <a:lnTo>
                      <a:pt x="835" y="669"/>
                    </a:lnTo>
                    <a:lnTo>
                      <a:pt x="835" y="669"/>
                    </a:lnTo>
                    <a:lnTo>
                      <a:pt x="835" y="674"/>
                    </a:lnTo>
                    <a:lnTo>
                      <a:pt x="835" y="674"/>
                    </a:lnTo>
                    <a:lnTo>
                      <a:pt x="835" y="678"/>
                    </a:lnTo>
                    <a:lnTo>
                      <a:pt x="835" y="678"/>
                    </a:lnTo>
                    <a:lnTo>
                      <a:pt x="835" y="678"/>
                    </a:lnTo>
                    <a:lnTo>
                      <a:pt x="835" y="678"/>
                    </a:lnTo>
                    <a:lnTo>
                      <a:pt x="835" y="683"/>
                    </a:lnTo>
                    <a:lnTo>
                      <a:pt x="840" y="683"/>
                    </a:lnTo>
                    <a:lnTo>
                      <a:pt x="840" y="683"/>
                    </a:lnTo>
                    <a:lnTo>
                      <a:pt x="844" y="683"/>
                    </a:lnTo>
                    <a:lnTo>
                      <a:pt x="844" y="683"/>
                    </a:lnTo>
                    <a:lnTo>
                      <a:pt x="844" y="683"/>
                    </a:lnTo>
                    <a:lnTo>
                      <a:pt x="840" y="687"/>
                    </a:lnTo>
                    <a:lnTo>
                      <a:pt x="844" y="687"/>
                    </a:lnTo>
                    <a:lnTo>
                      <a:pt x="844" y="687"/>
                    </a:lnTo>
                    <a:lnTo>
                      <a:pt x="844" y="687"/>
                    </a:lnTo>
                    <a:lnTo>
                      <a:pt x="849" y="687"/>
                    </a:lnTo>
                    <a:lnTo>
                      <a:pt x="849" y="692"/>
                    </a:lnTo>
                    <a:lnTo>
                      <a:pt x="849" y="692"/>
                    </a:lnTo>
                    <a:lnTo>
                      <a:pt x="849" y="692"/>
                    </a:lnTo>
                    <a:lnTo>
                      <a:pt x="849" y="692"/>
                    </a:lnTo>
                    <a:lnTo>
                      <a:pt x="853" y="692"/>
                    </a:lnTo>
                    <a:lnTo>
                      <a:pt x="853" y="692"/>
                    </a:lnTo>
                    <a:lnTo>
                      <a:pt x="858" y="692"/>
                    </a:lnTo>
                    <a:lnTo>
                      <a:pt x="858" y="692"/>
                    </a:lnTo>
                    <a:lnTo>
                      <a:pt x="858" y="696"/>
                    </a:lnTo>
                    <a:lnTo>
                      <a:pt x="858" y="692"/>
                    </a:lnTo>
                    <a:lnTo>
                      <a:pt x="862" y="696"/>
                    </a:lnTo>
                    <a:lnTo>
                      <a:pt x="862" y="696"/>
                    </a:lnTo>
                    <a:lnTo>
                      <a:pt x="862" y="696"/>
                    </a:lnTo>
                    <a:lnTo>
                      <a:pt x="867" y="692"/>
                    </a:lnTo>
                    <a:lnTo>
                      <a:pt x="871" y="692"/>
                    </a:lnTo>
                    <a:lnTo>
                      <a:pt x="871" y="692"/>
                    </a:lnTo>
                    <a:lnTo>
                      <a:pt x="871" y="692"/>
                    </a:lnTo>
                    <a:lnTo>
                      <a:pt x="871" y="692"/>
                    </a:lnTo>
                    <a:lnTo>
                      <a:pt x="871" y="696"/>
                    </a:lnTo>
                    <a:lnTo>
                      <a:pt x="871" y="696"/>
                    </a:lnTo>
                    <a:lnTo>
                      <a:pt x="876" y="696"/>
                    </a:lnTo>
                    <a:lnTo>
                      <a:pt x="876" y="696"/>
                    </a:lnTo>
                    <a:lnTo>
                      <a:pt x="876" y="696"/>
                    </a:lnTo>
                    <a:lnTo>
                      <a:pt x="876" y="696"/>
                    </a:lnTo>
                    <a:lnTo>
                      <a:pt x="876" y="701"/>
                    </a:lnTo>
                    <a:lnTo>
                      <a:pt x="876" y="701"/>
                    </a:lnTo>
                    <a:lnTo>
                      <a:pt x="871" y="701"/>
                    </a:lnTo>
                    <a:lnTo>
                      <a:pt x="880" y="701"/>
                    </a:lnTo>
                    <a:lnTo>
                      <a:pt x="880" y="701"/>
                    </a:lnTo>
                    <a:lnTo>
                      <a:pt x="880" y="701"/>
                    </a:lnTo>
                    <a:lnTo>
                      <a:pt x="880" y="701"/>
                    </a:lnTo>
                    <a:lnTo>
                      <a:pt x="876" y="705"/>
                    </a:lnTo>
                    <a:lnTo>
                      <a:pt x="876" y="701"/>
                    </a:lnTo>
                    <a:lnTo>
                      <a:pt x="876" y="701"/>
                    </a:lnTo>
                    <a:lnTo>
                      <a:pt x="871" y="705"/>
                    </a:lnTo>
                    <a:lnTo>
                      <a:pt x="871" y="705"/>
                    </a:lnTo>
                    <a:lnTo>
                      <a:pt x="871" y="705"/>
                    </a:lnTo>
                    <a:lnTo>
                      <a:pt x="867" y="705"/>
                    </a:lnTo>
                    <a:lnTo>
                      <a:pt x="867" y="705"/>
                    </a:lnTo>
                    <a:lnTo>
                      <a:pt x="867" y="705"/>
                    </a:lnTo>
                    <a:lnTo>
                      <a:pt x="862" y="705"/>
                    </a:lnTo>
                    <a:lnTo>
                      <a:pt x="858" y="710"/>
                    </a:lnTo>
                    <a:lnTo>
                      <a:pt x="853" y="710"/>
                    </a:lnTo>
                    <a:lnTo>
                      <a:pt x="849" y="710"/>
                    </a:lnTo>
                    <a:lnTo>
                      <a:pt x="844" y="710"/>
                    </a:lnTo>
                    <a:lnTo>
                      <a:pt x="844" y="710"/>
                    </a:lnTo>
                    <a:lnTo>
                      <a:pt x="844" y="710"/>
                    </a:lnTo>
                    <a:lnTo>
                      <a:pt x="840" y="714"/>
                    </a:lnTo>
                    <a:lnTo>
                      <a:pt x="840" y="714"/>
                    </a:lnTo>
                    <a:lnTo>
                      <a:pt x="840" y="714"/>
                    </a:lnTo>
                    <a:lnTo>
                      <a:pt x="835" y="714"/>
                    </a:lnTo>
                    <a:lnTo>
                      <a:pt x="835" y="710"/>
                    </a:lnTo>
                    <a:lnTo>
                      <a:pt x="835" y="714"/>
                    </a:lnTo>
                    <a:lnTo>
                      <a:pt x="835" y="714"/>
                    </a:lnTo>
                    <a:lnTo>
                      <a:pt x="835" y="714"/>
                    </a:lnTo>
                    <a:lnTo>
                      <a:pt x="835" y="714"/>
                    </a:lnTo>
                    <a:lnTo>
                      <a:pt x="831" y="714"/>
                    </a:lnTo>
                    <a:lnTo>
                      <a:pt x="831" y="714"/>
                    </a:lnTo>
                    <a:lnTo>
                      <a:pt x="831" y="714"/>
                    </a:lnTo>
                    <a:lnTo>
                      <a:pt x="831" y="714"/>
                    </a:lnTo>
                    <a:lnTo>
                      <a:pt x="831" y="714"/>
                    </a:lnTo>
                    <a:lnTo>
                      <a:pt x="831" y="714"/>
                    </a:lnTo>
                    <a:lnTo>
                      <a:pt x="831" y="714"/>
                    </a:lnTo>
                    <a:lnTo>
                      <a:pt x="826" y="714"/>
                    </a:lnTo>
                    <a:lnTo>
                      <a:pt x="826" y="714"/>
                    </a:lnTo>
                    <a:lnTo>
                      <a:pt x="826" y="714"/>
                    </a:lnTo>
                    <a:lnTo>
                      <a:pt x="822" y="714"/>
                    </a:lnTo>
                    <a:lnTo>
                      <a:pt x="822" y="714"/>
                    </a:lnTo>
                    <a:lnTo>
                      <a:pt x="822" y="719"/>
                    </a:lnTo>
                    <a:lnTo>
                      <a:pt x="822" y="719"/>
                    </a:lnTo>
                    <a:lnTo>
                      <a:pt x="822" y="719"/>
                    </a:lnTo>
                    <a:lnTo>
                      <a:pt x="817" y="719"/>
                    </a:lnTo>
                    <a:lnTo>
                      <a:pt x="817" y="723"/>
                    </a:lnTo>
                    <a:lnTo>
                      <a:pt x="813" y="723"/>
                    </a:lnTo>
                    <a:lnTo>
                      <a:pt x="813" y="723"/>
                    </a:lnTo>
                    <a:lnTo>
                      <a:pt x="813" y="728"/>
                    </a:lnTo>
                    <a:lnTo>
                      <a:pt x="808" y="728"/>
                    </a:lnTo>
                    <a:lnTo>
                      <a:pt x="804" y="728"/>
                    </a:lnTo>
                    <a:lnTo>
                      <a:pt x="804" y="728"/>
                    </a:lnTo>
                    <a:lnTo>
                      <a:pt x="804" y="728"/>
                    </a:lnTo>
                    <a:lnTo>
                      <a:pt x="799" y="733"/>
                    </a:lnTo>
                    <a:lnTo>
                      <a:pt x="799" y="733"/>
                    </a:lnTo>
                    <a:lnTo>
                      <a:pt x="799" y="733"/>
                    </a:lnTo>
                    <a:lnTo>
                      <a:pt x="799" y="733"/>
                    </a:lnTo>
                    <a:lnTo>
                      <a:pt x="799" y="733"/>
                    </a:lnTo>
                    <a:lnTo>
                      <a:pt x="799" y="733"/>
                    </a:lnTo>
                    <a:lnTo>
                      <a:pt x="795" y="733"/>
                    </a:lnTo>
                    <a:lnTo>
                      <a:pt x="795" y="733"/>
                    </a:lnTo>
                    <a:lnTo>
                      <a:pt x="795" y="728"/>
                    </a:lnTo>
                    <a:lnTo>
                      <a:pt x="795" y="728"/>
                    </a:lnTo>
                    <a:lnTo>
                      <a:pt x="795" y="728"/>
                    </a:lnTo>
                    <a:lnTo>
                      <a:pt x="795" y="728"/>
                    </a:lnTo>
                    <a:lnTo>
                      <a:pt x="790" y="728"/>
                    </a:lnTo>
                    <a:lnTo>
                      <a:pt x="790" y="728"/>
                    </a:lnTo>
                    <a:lnTo>
                      <a:pt x="795" y="723"/>
                    </a:lnTo>
                    <a:lnTo>
                      <a:pt x="795" y="719"/>
                    </a:lnTo>
                    <a:lnTo>
                      <a:pt x="795" y="714"/>
                    </a:lnTo>
                    <a:lnTo>
                      <a:pt x="804" y="714"/>
                    </a:lnTo>
                    <a:lnTo>
                      <a:pt x="799" y="714"/>
                    </a:lnTo>
                    <a:lnTo>
                      <a:pt x="795" y="714"/>
                    </a:lnTo>
                    <a:lnTo>
                      <a:pt x="799" y="714"/>
                    </a:lnTo>
                    <a:lnTo>
                      <a:pt x="799" y="714"/>
                    </a:lnTo>
                    <a:lnTo>
                      <a:pt x="799" y="714"/>
                    </a:lnTo>
                    <a:lnTo>
                      <a:pt x="799" y="710"/>
                    </a:lnTo>
                    <a:lnTo>
                      <a:pt x="804" y="710"/>
                    </a:lnTo>
                    <a:lnTo>
                      <a:pt x="804" y="710"/>
                    </a:lnTo>
                    <a:lnTo>
                      <a:pt x="808" y="710"/>
                    </a:lnTo>
                    <a:lnTo>
                      <a:pt x="808" y="710"/>
                    </a:lnTo>
                    <a:lnTo>
                      <a:pt x="808" y="710"/>
                    </a:lnTo>
                    <a:lnTo>
                      <a:pt x="808" y="710"/>
                    </a:lnTo>
                    <a:lnTo>
                      <a:pt x="804" y="710"/>
                    </a:lnTo>
                    <a:lnTo>
                      <a:pt x="804" y="710"/>
                    </a:lnTo>
                    <a:lnTo>
                      <a:pt x="808" y="710"/>
                    </a:lnTo>
                    <a:lnTo>
                      <a:pt x="822" y="701"/>
                    </a:lnTo>
                    <a:lnTo>
                      <a:pt x="822" y="701"/>
                    </a:lnTo>
                    <a:lnTo>
                      <a:pt x="826" y="701"/>
                    </a:lnTo>
                    <a:lnTo>
                      <a:pt x="831" y="701"/>
                    </a:lnTo>
                    <a:lnTo>
                      <a:pt x="831" y="701"/>
                    </a:lnTo>
                    <a:lnTo>
                      <a:pt x="831" y="701"/>
                    </a:lnTo>
                    <a:lnTo>
                      <a:pt x="831" y="701"/>
                    </a:lnTo>
                    <a:lnTo>
                      <a:pt x="831" y="701"/>
                    </a:lnTo>
                    <a:lnTo>
                      <a:pt x="831" y="701"/>
                    </a:lnTo>
                    <a:lnTo>
                      <a:pt x="831" y="701"/>
                    </a:lnTo>
                    <a:lnTo>
                      <a:pt x="831" y="705"/>
                    </a:lnTo>
                    <a:lnTo>
                      <a:pt x="831" y="705"/>
                    </a:lnTo>
                    <a:lnTo>
                      <a:pt x="831" y="701"/>
                    </a:lnTo>
                    <a:lnTo>
                      <a:pt x="835" y="701"/>
                    </a:lnTo>
                    <a:lnTo>
                      <a:pt x="840" y="701"/>
                    </a:lnTo>
                    <a:lnTo>
                      <a:pt x="844" y="701"/>
                    </a:lnTo>
                    <a:lnTo>
                      <a:pt x="844" y="701"/>
                    </a:lnTo>
                    <a:lnTo>
                      <a:pt x="840" y="696"/>
                    </a:lnTo>
                    <a:lnTo>
                      <a:pt x="835" y="696"/>
                    </a:lnTo>
                    <a:lnTo>
                      <a:pt x="835" y="696"/>
                    </a:lnTo>
                    <a:lnTo>
                      <a:pt x="831" y="696"/>
                    </a:lnTo>
                    <a:lnTo>
                      <a:pt x="826" y="696"/>
                    </a:lnTo>
                    <a:lnTo>
                      <a:pt x="826" y="696"/>
                    </a:lnTo>
                    <a:lnTo>
                      <a:pt x="826" y="701"/>
                    </a:lnTo>
                    <a:lnTo>
                      <a:pt x="822" y="696"/>
                    </a:lnTo>
                    <a:lnTo>
                      <a:pt x="822" y="696"/>
                    </a:lnTo>
                    <a:lnTo>
                      <a:pt x="822" y="696"/>
                    </a:lnTo>
                    <a:lnTo>
                      <a:pt x="826" y="696"/>
                    </a:lnTo>
                    <a:lnTo>
                      <a:pt x="831" y="692"/>
                    </a:lnTo>
                    <a:lnTo>
                      <a:pt x="835" y="692"/>
                    </a:lnTo>
                    <a:lnTo>
                      <a:pt x="835" y="692"/>
                    </a:lnTo>
                    <a:lnTo>
                      <a:pt x="835" y="687"/>
                    </a:lnTo>
                    <a:lnTo>
                      <a:pt x="835" y="692"/>
                    </a:lnTo>
                    <a:lnTo>
                      <a:pt x="831" y="692"/>
                    </a:lnTo>
                    <a:lnTo>
                      <a:pt x="831" y="687"/>
                    </a:lnTo>
                    <a:lnTo>
                      <a:pt x="831" y="687"/>
                    </a:lnTo>
                    <a:lnTo>
                      <a:pt x="831" y="687"/>
                    </a:lnTo>
                    <a:lnTo>
                      <a:pt x="831" y="692"/>
                    </a:lnTo>
                    <a:lnTo>
                      <a:pt x="826" y="692"/>
                    </a:lnTo>
                    <a:lnTo>
                      <a:pt x="826" y="692"/>
                    </a:lnTo>
                    <a:lnTo>
                      <a:pt x="822" y="696"/>
                    </a:lnTo>
                    <a:lnTo>
                      <a:pt x="817" y="696"/>
                    </a:lnTo>
                    <a:lnTo>
                      <a:pt x="813" y="696"/>
                    </a:lnTo>
                    <a:lnTo>
                      <a:pt x="808" y="701"/>
                    </a:lnTo>
                    <a:lnTo>
                      <a:pt x="804" y="701"/>
                    </a:lnTo>
                    <a:lnTo>
                      <a:pt x="804" y="696"/>
                    </a:lnTo>
                    <a:lnTo>
                      <a:pt x="804" y="696"/>
                    </a:lnTo>
                    <a:lnTo>
                      <a:pt x="808" y="696"/>
                    </a:lnTo>
                    <a:lnTo>
                      <a:pt x="804" y="696"/>
                    </a:lnTo>
                    <a:lnTo>
                      <a:pt x="804" y="696"/>
                    </a:lnTo>
                    <a:lnTo>
                      <a:pt x="804" y="696"/>
                    </a:lnTo>
                    <a:lnTo>
                      <a:pt x="804" y="701"/>
                    </a:lnTo>
                    <a:lnTo>
                      <a:pt x="804" y="701"/>
                    </a:lnTo>
                    <a:lnTo>
                      <a:pt x="799" y="701"/>
                    </a:lnTo>
                    <a:lnTo>
                      <a:pt x="799" y="701"/>
                    </a:lnTo>
                    <a:lnTo>
                      <a:pt x="799" y="701"/>
                    </a:lnTo>
                    <a:lnTo>
                      <a:pt x="795" y="701"/>
                    </a:lnTo>
                    <a:lnTo>
                      <a:pt x="795" y="701"/>
                    </a:lnTo>
                    <a:lnTo>
                      <a:pt x="790" y="701"/>
                    </a:lnTo>
                    <a:lnTo>
                      <a:pt x="790" y="701"/>
                    </a:lnTo>
                    <a:lnTo>
                      <a:pt x="790" y="701"/>
                    </a:lnTo>
                    <a:lnTo>
                      <a:pt x="790" y="701"/>
                    </a:lnTo>
                    <a:lnTo>
                      <a:pt x="790" y="701"/>
                    </a:lnTo>
                    <a:lnTo>
                      <a:pt x="790" y="701"/>
                    </a:lnTo>
                    <a:lnTo>
                      <a:pt x="786" y="701"/>
                    </a:lnTo>
                    <a:lnTo>
                      <a:pt x="786" y="701"/>
                    </a:lnTo>
                    <a:lnTo>
                      <a:pt x="786" y="701"/>
                    </a:lnTo>
                    <a:lnTo>
                      <a:pt x="786" y="701"/>
                    </a:lnTo>
                    <a:lnTo>
                      <a:pt x="786" y="701"/>
                    </a:lnTo>
                    <a:lnTo>
                      <a:pt x="786" y="701"/>
                    </a:lnTo>
                    <a:lnTo>
                      <a:pt x="786" y="701"/>
                    </a:lnTo>
                    <a:lnTo>
                      <a:pt x="786" y="701"/>
                    </a:lnTo>
                    <a:lnTo>
                      <a:pt x="786" y="696"/>
                    </a:lnTo>
                    <a:lnTo>
                      <a:pt x="786" y="696"/>
                    </a:lnTo>
                    <a:lnTo>
                      <a:pt x="786" y="696"/>
                    </a:lnTo>
                    <a:lnTo>
                      <a:pt x="786" y="696"/>
                    </a:lnTo>
                    <a:lnTo>
                      <a:pt x="786" y="696"/>
                    </a:lnTo>
                    <a:lnTo>
                      <a:pt x="786" y="696"/>
                    </a:lnTo>
                    <a:lnTo>
                      <a:pt x="786" y="696"/>
                    </a:lnTo>
                    <a:lnTo>
                      <a:pt x="786" y="696"/>
                    </a:lnTo>
                    <a:lnTo>
                      <a:pt x="786" y="692"/>
                    </a:lnTo>
                    <a:lnTo>
                      <a:pt x="786" y="692"/>
                    </a:lnTo>
                    <a:lnTo>
                      <a:pt x="786" y="692"/>
                    </a:lnTo>
                    <a:lnTo>
                      <a:pt x="786" y="692"/>
                    </a:lnTo>
                    <a:lnTo>
                      <a:pt x="786" y="692"/>
                    </a:lnTo>
                    <a:lnTo>
                      <a:pt x="786" y="692"/>
                    </a:lnTo>
                    <a:lnTo>
                      <a:pt x="786" y="692"/>
                    </a:lnTo>
                    <a:lnTo>
                      <a:pt x="786" y="692"/>
                    </a:lnTo>
                    <a:lnTo>
                      <a:pt x="786" y="692"/>
                    </a:lnTo>
                    <a:lnTo>
                      <a:pt x="786" y="692"/>
                    </a:lnTo>
                    <a:lnTo>
                      <a:pt x="786" y="692"/>
                    </a:lnTo>
                    <a:lnTo>
                      <a:pt x="781" y="692"/>
                    </a:lnTo>
                    <a:lnTo>
                      <a:pt x="781" y="692"/>
                    </a:lnTo>
                    <a:lnTo>
                      <a:pt x="781" y="687"/>
                    </a:lnTo>
                    <a:lnTo>
                      <a:pt x="781" y="687"/>
                    </a:lnTo>
                    <a:lnTo>
                      <a:pt x="786" y="687"/>
                    </a:lnTo>
                    <a:lnTo>
                      <a:pt x="786" y="687"/>
                    </a:lnTo>
                    <a:lnTo>
                      <a:pt x="786" y="687"/>
                    </a:lnTo>
                    <a:lnTo>
                      <a:pt x="786" y="687"/>
                    </a:lnTo>
                    <a:lnTo>
                      <a:pt x="786" y="687"/>
                    </a:lnTo>
                    <a:lnTo>
                      <a:pt x="786" y="687"/>
                    </a:lnTo>
                    <a:lnTo>
                      <a:pt x="786" y="687"/>
                    </a:lnTo>
                    <a:lnTo>
                      <a:pt x="786" y="683"/>
                    </a:lnTo>
                    <a:lnTo>
                      <a:pt x="786" y="683"/>
                    </a:lnTo>
                    <a:lnTo>
                      <a:pt x="786" y="678"/>
                    </a:lnTo>
                    <a:lnTo>
                      <a:pt x="790" y="678"/>
                    </a:lnTo>
                    <a:lnTo>
                      <a:pt x="790" y="674"/>
                    </a:lnTo>
                    <a:lnTo>
                      <a:pt x="790" y="674"/>
                    </a:lnTo>
                    <a:lnTo>
                      <a:pt x="790" y="669"/>
                    </a:lnTo>
                    <a:lnTo>
                      <a:pt x="795" y="665"/>
                    </a:lnTo>
                    <a:lnTo>
                      <a:pt x="795" y="665"/>
                    </a:lnTo>
                    <a:lnTo>
                      <a:pt x="795" y="660"/>
                    </a:lnTo>
                    <a:lnTo>
                      <a:pt x="795" y="660"/>
                    </a:lnTo>
                    <a:lnTo>
                      <a:pt x="790" y="656"/>
                    </a:lnTo>
                    <a:lnTo>
                      <a:pt x="790" y="656"/>
                    </a:lnTo>
                    <a:lnTo>
                      <a:pt x="790" y="656"/>
                    </a:lnTo>
                    <a:lnTo>
                      <a:pt x="790" y="660"/>
                    </a:lnTo>
                    <a:lnTo>
                      <a:pt x="786" y="660"/>
                    </a:lnTo>
                    <a:lnTo>
                      <a:pt x="786" y="660"/>
                    </a:lnTo>
                    <a:lnTo>
                      <a:pt x="781" y="660"/>
                    </a:lnTo>
                    <a:lnTo>
                      <a:pt x="781" y="660"/>
                    </a:lnTo>
                    <a:lnTo>
                      <a:pt x="781" y="660"/>
                    </a:lnTo>
                    <a:lnTo>
                      <a:pt x="781" y="660"/>
                    </a:lnTo>
                    <a:lnTo>
                      <a:pt x="777" y="660"/>
                    </a:lnTo>
                    <a:lnTo>
                      <a:pt x="781" y="656"/>
                    </a:lnTo>
                    <a:lnTo>
                      <a:pt x="781" y="656"/>
                    </a:lnTo>
                    <a:lnTo>
                      <a:pt x="777" y="656"/>
                    </a:lnTo>
                    <a:lnTo>
                      <a:pt x="777" y="656"/>
                    </a:lnTo>
                    <a:lnTo>
                      <a:pt x="777" y="656"/>
                    </a:lnTo>
                    <a:lnTo>
                      <a:pt x="777" y="656"/>
                    </a:lnTo>
                    <a:lnTo>
                      <a:pt x="772" y="660"/>
                    </a:lnTo>
                    <a:lnTo>
                      <a:pt x="768" y="660"/>
                    </a:lnTo>
                    <a:lnTo>
                      <a:pt x="768" y="665"/>
                    </a:lnTo>
                    <a:lnTo>
                      <a:pt x="763" y="665"/>
                    </a:lnTo>
                    <a:lnTo>
                      <a:pt x="759" y="669"/>
                    </a:lnTo>
                    <a:lnTo>
                      <a:pt x="759" y="669"/>
                    </a:lnTo>
                    <a:lnTo>
                      <a:pt x="754" y="674"/>
                    </a:lnTo>
                    <a:lnTo>
                      <a:pt x="754" y="674"/>
                    </a:lnTo>
                    <a:lnTo>
                      <a:pt x="749" y="678"/>
                    </a:lnTo>
                    <a:lnTo>
                      <a:pt x="749" y="678"/>
                    </a:lnTo>
                    <a:lnTo>
                      <a:pt x="749" y="683"/>
                    </a:lnTo>
                    <a:lnTo>
                      <a:pt x="749" y="683"/>
                    </a:lnTo>
                    <a:lnTo>
                      <a:pt x="749" y="683"/>
                    </a:lnTo>
                    <a:lnTo>
                      <a:pt x="749" y="683"/>
                    </a:lnTo>
                    <a:lnTo>
                      <a:pt x="745" y="683"/>
                    </a:lnTo>
                    <a:lnTo>
                      <a:pt x="745" y="687"/>
                    </a:lnTo>
                    <a:lnTo>
                      <a:pt x="745" y="687"/>
                    </a:lnTo>
                    <a:lnTo>
                      <a:pt x="745" y="687"/>
                    </a:lnTo>
                    <a:lnTo>
                      <a:pt x="740" y="687"/>
                    </a:lnTo>
                    <a:lnTo>
                      <a:pt x="740" y="692"/>
                    </a:lnTo>
                    <a:lnTo>
                      <a:pt x="736" y="692"/>
                    </a:lnTo>
                    <a:lnTo>
                      <a:pt x="736" y="692"/>
                    </a:lnTo>
                    <a:lnTo>
                      <a:pt x="736" y="692"/>
                    </a:lnTo>
                    <a:lnTo>
                      <a:pt x="736" y="692"/>
                    </a:lnTo>
                    <a:lnTo>
                      <a:pt x="736" y="692"/>
                    </a:lnTo>
                    <a:lnTo>
                      <a:pt x="736" y="692"/>
                    </a:lnTo>
                    <a:lnTo>
                      <a:pt x="736" y="692"/>
                    </a:lnTo>
                    <a:lnTo>
                      <a:pt x="736" y="696"/>
                    </a:lnTo>
                    <a:lnTo>
                      <a:pt x="731" y="696"/>
                    </a:lnTo>
                    <a:lnTo>
                      <a:pt x="731" y="696"/>
                    </a:lnTo>
                    <a:lnTo>
                      <a:pt x="731" y="696"/>
                    </a:lnTo>
                    <a:lnTo>
                      <a:pt x="731" y="696"/>
                    </a:lnTo>
                    <a:lnTo>
                      <a:pt x="731" y="692"/>
                    </a:lnTo>
                    <a:lnTo>
                      <a:pt x="731" y="696"/>
                    </a:lnTo>
                    <a:lnTo>
                      <a:pt x="731" y="696"/>
                    </a:lnTo>
                    <a:lnTo>
                      <a:pt x="727" y="696"/>
                    </a:lnTo>
                    <a:lnTo>
                      <a:pt x="727" y="696"/>
                    </a:lnTo>
                    <a:lnTo>
                      <a:pt x="727" y="696"/>
                    </a:lnTo>
                    <a:lnTo>
                      <a:pt x="722" y="701"/>
                    </a:lnTo>
                    <a:lnTo>
                      <a:pt x="713" y="701"/>
                    </a:lnTo>
                    <a:lnTo>
                      <a:pt x="709" y="701"/>
                    </a:lnTo>
                    <a:lnTo>
                      <a:pt x="704" y="701"/>
                    </a:lnTo>
                    <a:lnTo>
                      <a:pt x="695" y="701"/>
                    </a:lnTo>
                    <a:lnTo>
                      <a:pt x="691" y="696"/>
                    </a:lnTo>
                    <a:lnTo>
                      <a:pt x="686" y="696"/>
                    </a:lnTo>
                    <a:lnTo>
                      <a:pt x="677" y="696"/>
                    </a:lnTo>
                    <a:lnTo>
                      <a:pt x="677" y="696"/>
                    </a:lnTo>
                    <a:lnTo>
                      <a:pt x="673" y="696"/>
                    </a:lnTo>
                    <a:moveTo>
                      <a:pt x="899" y="629"/>
                    </a:moveTo>
                    <a:lnTo>
                      <a:pt x="899" y="629"/>
                    </a:lnTo>
                    <a:lnTo>
                      <a:pt x="894" y="629"/>
                    </a:lnTo>
                    <a:lnTo>
                      <a:pt x="890" y="629"/>
                    </a:lnTo>
                    <a:lnTo>
                      <a:pt x="885" y="629"/>
                    </a:lnTo>
                    <a:lnTo>
                      <a:pt x="885" y="624"/>
                    </a:lnTo>
                    <a:lnTo>
                      <a:pt x="876" y="624"/>
                    </a:lnTo>
                    <a:lnTo>
                      <a:pt x="876" y="619"/>
                    </a:lnTo>
                    <a:lnTo>
                      <a:pt x="876" y="619"/>
                    </a:lnTo>
                    <a:lnTo>
                      <a:pt x="876" y="619"/>
                    </a:lnTo>
                    <a:lnTo>
                      <a:pt x="876" y="619"/>
                    </a:lnTo>
                    <a:lnTo>
                      <a:pt x="867" y="615"/>
                    </a:lnTo>
                    <a:lnTo>
                      <a:pt x="867" y="610"/>
                    </a:lnTo>
                    <a:lnTo>
                      <a:pt x="871" y="610"/>
                    </a:lnTo>
                    <a:lnTo>
                      <a:pt x="871" y="610"/>
                    </a:lnTo>
                    <a:lnTo>
                      <a:pt x="876" y="610"/>
                    </a:lnTo>
                    <a:lnTo>
                      <a:pt x="880" y="615"/>
                    </a:lnTo>
                    <a:lnTo>
                      <a:pt x="885" y="615"/>
                    </a:lnTo>
                    <a:lnTo>
                      <a:pt x="885" y="615"/>
                    </a:lnTo>
                    <a:lnTo>
                      <a:pt x="890" y="615"/>
                    </a:lnTo>
                    <a:lnTo>
                      <a:pt x="894" y="619"/>
                    </a:lnTo>
                    <a:lnTo>
                      <a:pt x="899" y="624"/>
                    </a:lnTo>
                    <a:lnTo>
                      <a:pt x="899" y="624"/>
                    </a:lnTo>
                    <a:lnTo>
                      <a:pt x="903" y="624"/>
                    </a:lnTo>
                    <a:lnTo>
                      <a:pt x="903" y="629"/>
                    </a:lnTo>
                    <a:lnTo>
                      <a:pt x="903" y="629"/>
                    </a:lnTo>
                    <a:lnTo>
                      <a:pt x="899" y="629"/>
                    </a:lnTo>
                    <a:lnTo>
                      <a:pt x="899" y="629"/>
                    </a:lnTo>
                    <a:moveTo>
                      <a:pt x="22" y="529"/>
                    </a:moveTo>
                    <a:lnTo>
                      <a:pt x="22" y="529"/>
                    </a:lnTo>
                    <a:lnTo>
                      <a:pt x="27" y="534"/>
                    </a:lnTo>
                    <a:lnTo>
                      <a:pt x="31" y="534"/>
                    </a:lnTo>
                    <a:lnTo>
                      <a:pt x="36" y="534"/>
                    </a:lnTo>
                    <a:lnTo>
                      <a:pt x="36" y="538"/>
                    </a:lnTo>
                    <a:lnTo>
                      <a:pt x="40" y="538"/>
                    </a:lnTo>
                    <a:lnTo>
                      <a:pt x="40" y="538"/>
                    </a:lnTo>
                    <a:lnTo>
                      <a:pt x="40" y="538"/>
                    </a:lnTo>
                    <a:lnTo>
                      <a:pt x="36" y="543"/>
                    </a:lnTo>
                    <a:lnTo>
                      <a:pt x="36" y="543"/>
                    </a:lnTo>
                    <a:lnTo>
                      <a:pt x="36" y="547"/>
                    </a:lnTo>
                    <a:lnTo>
                      <a:pt x="36" y="547"/>
                    </a:lnTo>
                    <a:lnTo>
                      <a:pt x="36" y="552"/>
                    </a:lnTo>
                    <a:lnTo>
                      <a:pt x="36" y="552"/>
                    </a:lnTo>
                    <a:lnTo>
                      <a:pt x="36" y="552"/>
                    </a:lnTo>
                    <a:lnTo>
                      <a:pt x="31" y="552"/>
                    </a:lnTo>
                    <a:lnTo>
                      <a:pt x="36" y="556"/>
                    </a:lnTo>
                    <a:lnTo>
                      <a:pt x="36" y="556"/>
                    </a:lnTo>
                    <a:lnTo>
                      <a:pt x="36" y="561"/>
                    </a:lnTo>
                    <a:lnTo>
                      <a:pt x="40" y="561"/>
                    </a:lnTo>
                    <a:lnTo>
                      <a:pt x="40" y="561"/>
                    </a:lnTo>
                    <a:lnTo>
                      <a:pt x="40" y="561"/>
                    </a:lnTo>
                    <a:lnTo>
                      <a:pt x="40" y="565"/>
                    </a:lnTo>
                    <a:lnTo>
                      <a:pt x="36" y="565"/>
                    </a:lnTo>
                    <a:lnTo>
                      <a:pt x="36" y="570"/>
                    </a:lnTo>
                    <a:lnTo>
                      <a:pt x="36" y="574"/>
                    </a:lnTo>
                    <a:lnTo>
                      <a:pt x="36" y="574"/>
                    </a:lnTo>
                    <a:lnTo>
                      <a:pt x="36" y="570"/>
                    </a:lnTo>
                    <a:lnTo>
                      <a:pt x="36" y="570"/>
                    </a:lnTo>
                    <a:lnTo>
                      <a:pt x="36" y="570"/>
                    </a:lnTo>
                    <a:lnTo>
                      <a:pt x="36" y="570"/>
                    </a:lnTo>
                    <a:lnTo>
                      <a:pt x="36" y="574"/>
                    </a:lnTo>
                    <a:lnTo>
                      <a:pt x="36" y="574"/>
                    </a:lnTo>
                    <a:lnTo>
                      <a:pt x="36" y="579"/>
                    </a:lnTo>
                    <a:lnTo>
                      <a:pt x="31" y="579"/>
                    </a:lnTo>
                    <a:lnTo>
                      <a:pt x="31" y="574"/>
                    </a:lnTo>
                    <a:lnTo>
                      <a:pt x="31" y="579"/>
                    </a:lnTo>
                    <a:lnTo>
                      <a:pt x="31" y="579"/>
                    </a:lnTo>
                    <a:lnTo>
                      <a:pt x="27" y="579"/>
                    </a:lnTo>
                    <a:lnTo>
                      <a:pt x="27" y="579"/>
                    </a:lnTo>
                    <a:lnTo>
                      <a:pt x="27" y="574"/>
                    </a:lnTo>
                    <a:lnTo>
                      <a:pt x="22" y="574"/>
                    </a:lnTo>
                    <a:lnTo>
                      <a:pt x="22" y="574"/>
                    </a:lnTo>
                    <a:lnTo>
                      <a:pt x="18" y="570"/>
                    </a:lnTo>
                    <a:lnTo>
                      <a:pt x="18" y="570"/>
                    </a:lnTo>
                    <a:lnTo>
                      <a:pt x="18" y="570"/>
                    </a:lnTo>
                    <a:lnTo>
                      <a:pt x="18" y="565"/>
                    </a:lnTo>
                    <a:lnTo>
                      <a:pt x="18" y="565"/>
                    </a:lnTo>
                    <a:lnTo>
                      <a:pt x="18" y="565"/>
                    </a:lnTo>
                    <a:lnTo>
                      <a:pt x="22" y="565"/>
                    </a:lnTo>
                    <a:lnTo>
                      <a:pt x="22" y="561"/>
                    </a:lnTo>
                    <a:lnTo>
                      <a:pt x="27" y="561"/>
                    </a:lnTo>
                    <a:lnTo>
                      <a:pt x="27" y="561"/>
                    </a:lnTo>
                    <a:lnTo>
                      <a:pt x="27" y="561"/>
                    </a:lnTo>
                    <a:lnTo>
                      <a:pt x="27" y="561"/>
                    </a:lnTo>
                    <a:lnTo>
                      <a:pt x="27" y="561"/>
                    </a:lnTo>
                    <a:lnTo>
                      <a:pt x="27" y="561"/>
                    </a:lnTo>
                    <a:lnTo>
                      <a:pt x="22" y="561"/>
                    </a:lnTo>
                    <a:lnTo>
                      <a:pt x="22" y="561"/>
                    </a:lnTo>
                    <a:lnTo>
                      <a:pt x="18" y="565"/>
                    </a:lnTo>
                    <a:lnTo>
                      <a:pt x="18" y="561"/>
                    </a:lnTo>
                    <a:lnTo>
                      <a:pt x="13" y="565"/>
                    </a:lnTo>
                    <a:lnTo>
                      <a:pt x="13" y="565"/>
                    </a:lnTo>
                    <a:lnTo>
                      <a:pt x="13" y="565"/>
                    </a:lnTo>
                    <a:lnTo>
                      <a:pt x="13" y="561"/>
                    </a:lnTo>
                    <a:lnTo>
                      <a:pt x="13" y="561"/>
                    </a:lnTo>
                    <a:lnTo>
                      <a:pt x="13" y="561"/>
                    </a:lnTo>
                    <a:lnTo>
                      <a:pt x="13" y="561"/>
                    </a:lnTo>
                    <a:lnTo>
                      <a:pt x="18" y="561"/>
                    </a:lnTo>
                    <a:lnTo>
                      <a:pt x="18" y="556"/>
                    </a:lnTo>
                    <a:lnTo>
                      <a:pt x="18" y="556"/>
                    </a:lnTo>
                    <a:lnTo>
                      <a:pt x="18" y="556"/>
                    </a:lnTo>
                    <a:lnTo>
                      <a:pt x="18" y="556"/>
                    </a:lnTo>
                    <a:lnTo>
                      <a:pt x="13" y="556"/>
                    </a:lnTo>
                    <a:lnTo>
                      <a:pt x="13" y="556"/>
                    </a:lnTo>
                    <a:lnTo>
                      <a:pt x="13" y="556"/>
                    </a:lnTo>
                    <a:lnTo>
                      <a:pt x="13" y="556"/>
                    </a:lnTo>
                    <a:lnTo>
                      <a:pt x="18" y="556"/>
                    </a:lnTo>
                    <a:lnTo>
                      <a:pt x="18" y="556"/>
                    </a:lnTo>
                    <a:lnTo>
                      <a:pt x="13" y="556"/>
                    </a:lnTo>
                    <a:lnTo>
                      <a:pt x="13" y="556"/>
                    </a:lnTo>
                    <a:lnTo>
                      <a:pt x="13" y="552"/>
                    </a:lnTo>
                    <a:lnTo>
                      <a:pt x="13" y="552"/>
                    </a:lnTo>
                    <a:lnTo>
                      <a:pt x="13" y="552"/>
                    </a:lnTo>
                    <a:lnTo>
                      <a:pt x="13" y="552"/>
                    </a:lnTo>
                    <a:lnTo>
                      <a:pt x="13" y="552"/>
                    </a:lnTo>
                    <a:lnTo>
                      <a:pt x="13" y="552"/>
                    </a:lnTo>
                    <a:lnTo>
                      <a:pt x="13" y="552"/>
                    </a:lnTo>
                    <a:lnTo>
                      <a:pt x="9" y="552"/>
                    </a:lnTo>
                    <a:lnTo>
                      <a:pt x="9" y="552"/>
                    </a:lnTo>
                    <a:lnTo>
                      <a:pt x="9" y="552"/>
                    </a:lnTo>
                    <a:lnTo>
                      <a:pt x="9" y="552"/>
                    </a:lnTo>
                    <a:lnTo>
                      <a:pt x="9" y="552"/>
                    </a:lnTo>
                    <a:lnTo>
                      <a:pt x="9" y="552"/>
                    </a:lnTo>
                    <a:lnTo>
                      <a:pt x="13" y="552"/>
                    </a:lnTo>
                    <a:lnTo>
                      <a:pt x="13" y="547"/>
                    </a:lnTo>
                    <a:lnTo>
                      <a:pt x="13" y="547"/>
                    </a:lnTo>
                    <a:lnTo>
                      <a:pt x="18" y="547"/>
                    </a:lnTo>
                    <a:lnTo>
                      <a:pt x="18" y="547"/>
                    </a:lnTo>
                    <a:lnTo>
                      <a:pt x="18" y="547"/>
                    </a:lnTo>
                    <a:lnTo>
                      <a:pt x="13" y="547"/>
                    </a:lnTo>
                    <a:lnTo>
                      <a:pt x="13" y="547"/>
                    </a:lnTo>
                    <a:lnTo>
                      <a:pt x="13" y="547"/>
                    </a:lnTo>
                    <a:lnTo>
                      <a:pt x="13" y="547"/>
                    </a:lnTo>
                    <a:lnTo>
                      <a:pt x="13" y="547"/>
                    </a:lnTo>
                    <a:lnTo>
                      <a:pt x="13" y="543"/>
                    </a:lnTo>
                    <a:lnTo>
                      <a:pt x="13" y="543"/>
                    </a:lnTo>
                    <a:lnTo>
                      <a:pt x="13" y="543"/>
                    </a:lnTo>
                    <a:lnTo>
                      <a:pt x="13" y="543"/>
                    </a:lnTo>
                    <a:lnTo>
                      <a:pt x="13" y="543"/>
                    </a:lnTo>
                    <a:lnTo>
                      <a:pt x="13" y="543"/>
                    </a:lnTo>
                    <a:lnTo>
                      <a:pt x="13" y="543"/>
                    </a:lnTo>
                    <a:lnTo>
                      <a:pt x="9" y="543"/>
                    </a:lnTo>
                    <a:lnTo>
                      <a:pt x="9" y="543"/>
                    </a:lnTo>
                    <a:lnTo>
                      <a:pt x="9" y="543"/>
                    </a:lnTo>
                    <a:lnTo>
                      <a:pt x="9" y="543"/>
                    </a:lnTo>
                    <a:lnTo>
                      <a:pt x="9" y="543"/>
                    </a:lnTo>
                    <a:lnTo>
                      <a:pt x="13" y="538"/>
                    </a:lnTo>
                    <a:lnTo>
                      <a:pt x="13" y="538"/>
                    </a:lnTo>
                    <a:lnTo>
                      <a:pt x="13" y="538"/>
                    </a:lnTo>
                    <a:lnTo>
                      <a:pt x="13" y="538"/>
                    </a:lnTo>
                    <a:lnTo>
                      <a:pt x="13" y="538"/>
                    </a:lnTo>
                    <a:lnTo>
                      <a:pt x="13" y="538"/>
                    </a:lnTo>
                    <a:lnTo>
                      <a:pt x="13" y="538"/>
                    </a:lnTo>
                    <a:lnTo>
                      <a:pt x="9" y="538"/>
                    </a:lnTo>
                    <a:lnTo>
                      <a:pt x="9" y="538"/>
                    </a:lnTo>
                    <a:lnTo>
                      <a:pt x="9" y="538"/>
                    </a:lnTo>
                    <a:lnTo>
                      <a:pt x="9" y="538"/>
                    </a:lnTo>
                    <a:lnTo>
                      <a:pt x="9" y="538"/>
                    </a:lnTo>
                    <a:lnTo>
                      <a:pt x="9" y="538"/>
                    </a:lnTo>
                    <a:lnTo>
                      <a:pt x="4" y="538"/>
                    </a:lnTo>
                    <a:lnTo>
                      <a:pt x="4" y="538"/>
                    </a:lnTo>
                    <a:lnTo>
                      <a:pt x="4" y="538"/>
                    </a:lnTo>
                    <a:lnTo>
                      <a:pt x="4" y="538"/>
                    </a:lnTo>
                    <a:lnTo>
                      <a:pt x="9" y="534"/>
                    </a:lnTo>
                    <a:lnTo>
                      <a:pt x="9" y="534"/>
                    </a:lnTo>
                    <a:lnTo>
                      <a:pt x="9" y="534"/>
                    </a:lnTo>
                    <a:lnTo>
                      <a:pt x="9" y="534"/>
                    </a:lnTo>
                    <a:lnTo>
                      <a:pt x="9" y="534"/>
                    </a:lnTo>
                    <a:lnTo>
                      <a:pt x="9" y="529"/>
                    </a:lnTo>
                    <a:lnTo>
                      <a:pt x="9" y="529"/>
                    </a:lnTo>
                    <a:lnTo>
                      <a:pt x="13" y="529"/>
                    </a:lnTo>
                    <a:lnTo>
                      <a:pt x="13" y="529"/>
                    </a:lnTo>
                    <a:lnTo>
                      <a:pt x="13" y="529"/>
                    </a:lnTo>
                    <a:lnTo>
                      <a:pt x="13" y="534"/>
                    </a:lnTo>
                    <a:lnTo>
                      <a:pt x="13" y="534"/>
                    </a:lnTo>
                    <a:lnTo>
                      <a:pt x="18" y="529"/>
                    </a:lnTo>
                    <a:lnTo>
                      <a:pt x="18" y="529"/>
                    </a:lnTo>
                    <a:lnTo>
                      <a:pt x="18" y="529"/>
                    </a:lnTo>
                    <a:lnTo>
                      <a:pt x="18" y="529"/>
                    </a:lnTo>
                    <a:lnTo>
                      <a:pt x="13" y="529"/>
                    </a:lnTo>
                    <a:lnTo>
                      <a:pt x="13" y="529"/>
                    </a:lnTo>
                    <a:lnTo>
                      <a:pt x="13" y="529"/>
                    </a:lnTo>
                    <a:lnTo>
                      <a:pt x="13" y="529"/>
                    </a:lnTo>
                    <a:lnTo>
                      <a:pt x="9" y="529"/>
                    </a:lnTo>
                    <a:lnTo>
                      <a:pt x="9" y="529"/>
                    </a:lnTo>
                    <a:lnTo>
                      <a:pt x="9" y="529"/>
                    </a:lnTo>
                    <a:lnTo>
                      <a:pt x="9" y="529"/>
                    </a:lnTo>
                    <a:lnTo>
                      <a:pt x="9" y="525"/>
                    </a:lnTo>
                    <a:lnTo>
                      <a:pt x="9" y="525"/>
                    </a:lnTo>
                    <a:lnTo>
                      <a:pt x="13" y="525"/>
                    </a:lnTo>
                    <a:lnTo>
                      <a:pt x="13" y="525"/>
                    </a:lnTo>
                    <a:lnTo>
                      <a:pt x="13" y="525"/>
                    </a:lnTo>
                    <a:lnTo>
                      <a:pt x="18" y="525"/>
                    </a:lnTo>
                    <a:lnTo>
                      <a:pt x="18" y="525"/>
                    </a:lnTo>
                    <a:lnTo>
                      <a:pt x="22" y="529"/>
                    </a:lnTo>
                    <a:moveTo>
                      <a:pt x="1012" y="588"/>
                    </a:moveTo>
                    <a:lnTo>
                      <a:pt x="1012" y="588"/>
                    </a:lnTo>
                    <a:lnTo>
                      <a:pt x="1007" y="588"/>
                    </a:lnTo>
                    <a:lnTo>
                      <a:pt x="1007" y="592"/>
                    </a:lnTo>
                    <a:lnTo>
                      <a:pt x="1007" y="592"/>
                    </a:lnTo>
                    <a:lnTo>
                      <a:pt x="1007" y="592"/>
                    </a:lnTo>
                    <a:lnTo>
                      <a:pt x="1002" y="592"/>
                    </a:lnTo>
                    <a:lnTo>
                      <a:pt x="1002" y="592"/>
                    </a:lnTo>
                    <a:lnTo>
                      <a:pt x="1002" y="592"/>
                    </a:lnTo>
                    <a:lnTo>
                      <a:pt x="998" y="592"/>
                    </a:lnTo>
                    <a:lnTo>
                      <a:pt x="1002" y="592"/>
                    </a:lnTo>
                    <a:lnTo>
                      <a:pt x="1002" y="592"/>
                    </a:lnTo>
                    <a:lnTo>
                      <a:pt x="1002" y="592"/>
                    </a:lnTo>
                    <a:lnTo>
                      <a:pt x="1002" y="592"/>
                    </a:lnTo>
                    <a:lnTo>
                      <a:pt x="1002" y="592"/>
                    </a:lnTo>
                    <a:lnTo>
                      <a:pt x="1002" y="592"/>
                    </a:lnTo>
                    <a:lnTo>
                      <a:pt x="1002" y="597"/>
                    </a:lnTo>
                    <a:lnTo>
                      <a:pt x="1002" y="597"/>
                    </a:lnTo>
                    <a:lnTo>
                      <a:pt x="1002" y="597"/>
                    </a:lnTo>
                    <a:lnTo>
                      <a:pt x="998" y="597"/>
                    </a:lnTo>
                    <a:lnTo>
                      <a:pt x="998" y="601"/>
                    </a:lnTo>
                    <a:lnTo>
                      <a:pt x="998" y="601"/>
                    </a:lnTo>
                    <a:lnTo>
                      <a:pt x="993" y="601"/>
                    </a:lnTo>
                    <a:lnTo>
                      <a:pt x="993" y="601"/>
                    </a:lnTo>
                    <a:lnTo>
                      <a:pt x="993" y="606"/>
                    </a:lnTo>
                    <a:lnTo>
                      <a:pt x="993" y="606"/>
                    </a:lnTo>
                    <a:lnTo>
                      <a:pt x="989" y="606"/>
                    </a:lnTo>
                    <a:lnTo>
                      <a:pt x="989" y="610"/>
                    </a:lnTo>
                    <a:lnTo>
                      <a:pt x="989" y="610"/>
                    </a:lnTo>
                    <a:lnTo>
                      <a:pt x="984" y="610"/>
                    </a:lnTo>
                    <a:lnTo>
                      <a:pt x="984" y="610"/>
                    </a:lnTo>
                    <a:lnTo>
                      <a:pt x="980" y="615"/>
                    </a:lnTo>
                    <a:lnTo>
                      <a:pt x="980" y="615"/>
                    </a:lnTo>
                    <a:lnTo>
                      <a:pt x="980" y="615"/>
                    </a:lnTo>
                    <a:lnTo>
                      <a:pt x="980" y="619"/>
                    </a:lnTo>
                    <a:lnTo>
                      <a:pt x="980" y="619"/>
                    </a:lnTo>
                    <a:lnTo>
                      <a:pt x="980" y="619"/>
                    </a:lnTo>
                    <a:lnTo>
                      <a:pt x="975" y="619"/>
                    </a:lnTo>
                    <a:lnTo>
                      <a:pt x="975" y="619"/>
                    </a:lnTo>
                    <a:lnTo>
                      <a:pt x="975" y="619"/>
                    </a:lnTo>
                    <a:lnTo>
                      <a:pt x="975" y="619"/>
                    </a:lnTo>
                    <a:lnTo>
                      <a:pt x="975" y="624"/>
                    </a:lnTo>
                    <a:lnTo>
                      <a:pt x="975" y="624"/>
                    </a:lnTo>
                    <a:lnTo>
                      <a:pt x="975" y="624"/>
                    </a:lnTo>
                    <a:lnTo>
                      <a:pt x="980" y="619"/>
                    </a:lnTo>
                    <a:lnTo>
                      <a:pt x="984" y="619"/>
                    </a:lnTo>
                    <a:lnTo>
                      <a:pt x="984" y="619"/>
                    </a:lnTo>
                    <a:lnTo>
                      <a:pt x="984" y="615"/>
                    </a:lnTo>
                    <a:lnTo>
                      <a:pt x="984" y="615"/>
                    </a:lnTo>
                    <a:lnTo>
                      <a:pt x="989" y="615"/>
                    </a:lnTo>
                    <a:lnTo>
                      <a:pt x="989" y="615"/>
                    </a:lnTo>
                    <a:lnTo>
                      <a:pt x="989" y="615"/>
                    </a:lnTo>
                    <a:lnTo>
                      <a:pt x="989" y="615"/>
                    </a:lnTo>
                    <a:lnTo>
                      <a:pt x="989" y="615"/>
                    </a:lnTo>
                    <a:lnTo>
                      <a:pt x="989" y="615"/>
                    </a:lnTo>
                    <a:lnTo>
                      <a:pt x="989" y="615"/>
                    </a:lnTo>
                    <a:lnTo>
                      <a:pt x="989" y="615"/>
                    </a:lnTo>
                    <a:lnTo>
                      <a:pt x="993" y="615"/>
                    </a:lnTo>
                    <a:lnTo>
                      <a:pt x="993" y="615"/>
                    </a:lnTo>
                    <a:lnTo>
                      <a:pt x="993" y="615"/>
                    </a:lnTo>
                    <a:lnTo>
                      <a:pt x="993" y="615"/>
                    </a:lnTo>
                    <a:lnTo>
                      <a:pt x="998" y="615"/>
                    </a:lnTo>
                    <a:lnTo>
                      <a:pt x="998" y="615"/>
                    </a:lnTo>
                    <a:lnTo>
                      <a:pt x="998" y="619"/>
                    </a:lnTo>
                    <a:lnTo>
                      <a:pt x="993" y="619"/>
                    </a:lnTo>
                    <a:lnTo>
                      <a:pt x="993" y="619"/>
                    </a:lnTo>
                    <a:lnTo>
                      <a:pt x="989" y="619"/>
                    </a:lnTo>
                    <a:lnTo>
                      <a:pt x="984" y="624"/>
                    </a:lnTo>
                    <a:lnTo>
                      <a:pt x="984" y="624"/>
                    </a:lnTo>
                    <a:lnTo>
                      <a:pt x="989" y="624"/>
                    </a:lnTo>
                    <a:lnTo>
                      <a:pt x="989" y="624"/>
                    </a:lnTo>
                    <a:lnTo>
                      <a:pt x="989" y="624"/>
                    </a:lnTo>
                    <a:lnTo>
                      <a:pt x="989" y="624"/>
                    </a:lnTo>
                    <a:lnTo>
                      <a:pt x="989" y="624"/>
                    </a:lnTo>
                    <a:lnTo>
                      <a:pt x="989" y="624"/>
                    </a:lnTo>
                    <a:lnTo>
                      <a:pt x="984" y="629"/>
                    </a:lnTo>
                    <a:lnTo>
                      <a:pt x="984" y="629"/>
                    </a:lnTo>
                    <a:lnTo>
                      <a:pt x="989" y="624"/>
                    </a:lnTo>
                    <a:lnTo>
                      <a:pt x="989" y="629"/>
                    </a:lnTo>
                    <a:lnTo>
                      <a:pt x="993" y="629"/>
                    </a:lnTo>
                    <a:lnTo>
                      <a:pt x="993" y="624"/>
                    </a:lnTo>
                    <a:lnTo>
                      <a:pt x="993" y="629"/>
                    </a:lnTo>
                    <a:lnTo>
                      <a:pt x="993" y="629"/>
                    </a:lnTo>
                    <a:lnTo>
                      <a:pt x="993" y="629"/>
                    </a:lnTo>
                    <a:lnTo>
                      <a:pt x="993" y="629"/>
                    </a:lnTo>
                    <a:lnTo>
                      <a:pt x="998" y="629"/>
                    </a:lnTo>
                    <a:lnTo>
                      <a:pt x="998" y="629"/>
                    </a:lnTo>
                    <a:lnTo>
                      <a:pt x="998" y="624"/>
                    </a:lnTo>
                    <a:lnTo>
                      <a:pt x="998" y="624"/>
                    </a:lnTo>
                    <a:lnTo>
                      <a:pt x="998" y="624"/>
                    </a:lnTo>
                    <a:lnTo>
                      <a:pt x="998" y="629"/>
                    </a:lnTo>
                    <a:lnTo>
                      <a:pt x="998" y="629"/>
                    </a:lnTo>
                    <a:lnTo>
                      <a:pt x="998" y="629"/>
                    </a:lnTo>
                    <a:lnTo>
                      <a:pt x="993" y="629"/>
                    </a:lnTo>
                    <a:lnTo>
                      <a:pt x="993" y="633"/>
                    </a:lnTo>
                    <a:lnTo>
                      <a:pt x="993" y="633"/>
                    </a:lnTo>
                    <a:lnTo>
                      <a:pt x="993" y="633"/>
                    </a:lnTo>
                    <a:lnTo>
                      <a:pt x="993" y="633"/>
                    </a:lnTo>
                    <a:lnTo>
                      <a:pt x="993" y="633"/>
                    </a:lnTo>
                    <a:lnTo>
                      <a:pt x="993" y="633"/>
                    </a:lnTo>
                    <a:lnTo>
                      <a:pt x="993" y="633"/>
                    </a:lnTo>
                    <a:lnTo>
                      <a:pt x="993" y="633"/>
                    </a:lnTo>
                    <a:lnTo>
                      <a:pt x="998" y="633"/>
                    </a:lnTo>
                    <a:lnTo>
                      <a:pt x="998" y="629"/>
                    </a:lnTo>
                    <a:lnTo>
                      <a:pt x="998" y="629"/>
                    </a:lnTo>
                    <a:lnTo>
                      <a:pt x="998" y="629"/>
                    </a:lnTo>
                    <a:lnTo>
                      <a:pt x="998" y="629"/>
                    </a:lnTo>
                    <a:lnTo>
                      <a:pt x="998" y="629"/>
                    </a:lnTo>
                    <a:lnTo>
                      <a:pt x="1002" y="629"/>
                    </a:lnTo>
                    <a:lnTo>
                      <a:pt x="1002" y="629"/>
                    </a:lnTo>
                    <a:lnTo>
                      <a:pt x="1002" y="629"/>
                    </a:lnTo>
                    <a:lnTo>
                      <a:pt x="1002" y="629"/>
                    </a:lnTo>
                    <a:lnTo>
                      <a:pt x="1007" y="629"/>
                    </a:lnTo>
                    <a:lnTo>
                      <a:pt x="1007" y="629"/>
                    </a:lnTo>
                    <a:lnTo>
                      <a:pt x="1007" y="624"/>
                    </a:lnTo>
                    <a:lnTo>
                      <a:pt x="1007" y="624"/>
                    </a:lnTo>
                    <a:lnTo>
                      <a:pt x="1007" y="629"/>
                    </a:lnTo>
                    <a:lnTo>
                      <a:pt x="1007" y="629"/>
                    </a:lnTo>
                    <a:lnTo>
                      <a:pt x="1007" y="629"/>
                    </a:lnTo>
                    <a:lnTo>
                      <a:pt x="1007" y="629"/>
                    </a:lnTo>
                    <a:lnTo>
                      <a:pt x="1007" y="629"/>
                    </a:lnTo>
                    <a:lnTo>
                      <a:pt x="1012" y="629"/>
                    </a:lnTo>
                    <a:lnTo>
                      <a:pt x="1012" y="629"/>
                    </a:lnTo>
                    <a:lnTo>
                      <a:pt x="1012" y="629"/>
                    </a:lnTo>
                    <a:lnTo>
                      <a:pt x="1016" y="629"/>
                    </a:lnTo>
                    <a:lnTo>
                      <a:pt x="1016" y="629"/>
                    </a:lnTo>
                    <a:lnTo>
                      <a:pt x="1016" y="629"/>
                    </a:lnTo>
                    <a:lnTo>
                      <a:pt x="1021" y="629"/>
                    </a:lnTo>
                    <a:lnTo>
                      <a:pt x="1021" y="633"/>
                    </a:lnTo>
                    <a:lnTo>
                      <a:pt x="1021" y="633"/>
                    </a:lnTo>
                    <a:lnTo>
                      <a:pt x="1021" y="633"/>
                    </a:lnTo>
                    <a:lnTo>
                      <a:pt x="1016" y="633"/>
                    </a:lnTo>
                    <a:lnTo>
                      <a:pt x="1016" y="638"/>
                    </a:lnTo>
                    <a:lnTo>
                      <a:pt x="1016" y="638"/>
                    </a:lnTo>
                    <a:lnTo>
                      <a:pt x="1012" y="638"/>
                    </a:lnTo>
                    <a:lnTo>
                      <a:pt x="1012" y="638"/>
                    </a:lnTo>
                    <a:lnTo>
                      <a:pt x="1012" y="638"/>
                    </a:lnTo>
                    <a:lnTo>
                      <a:pt x="1007" y="642"/>
                    </a:lnTo>
                    <a:lnTo>
                      <a:pt x="1007" y="642"/>
                    </a:lnTo>
                    <a:lnTo>
                      <a:pt x="1012" y="642"/>
                    </a:lnTo>
                    <a:lnTo>
                      <a:pt x="1012" y="642"/>
                    </a:lnTo>
                    <a:lnTo>
                      <a:pt x="1012" y="642"/>
                    </a:lnTo>
                    <a:lnTo>
                      <a:pt x="1012" y="642"/>
                    </a:lnTo>
                    <a:lnTo>
                      <a:pt x="1012" y="642"/>
                    </a:lnTo>
                    <a:lnTo>
                      <a:pt x="1012" y="642"/>
                    </a:lnTo>
                    <a:lnTo>
                      <a:pt x="1012" y="642"/>
                    </a:lnTo>
                    <a:lnTo>
                      <a:pt x="1012" y="642"/>
                    </a:lnTo>
                    <a:lnTo>
                      <a:pt x="1012" y="642"/>
                    </a:lnTo>
                    <a:lnTo>
                      <a:pt x="1012" y="642"/>
                    </a:lnTo>
                    <a:lnTo>
                      <a:pt x="1012" y="642"/>
                    </a:lnTo>
                    <a:lnTo>
                      <a:pt x="1012" y="647"/>
                    </a:lnTo>
                    <a:lnTo>
                      <a:pt x="1012" y="647"/>
                    </a:lnTo>
                    <a:lnTo>
                      <a:pt x="1007" y="647"/>
                    </a:lnTo>
                    <a:lnTo>
                      <a:pt x="1007" y="647"/>
                    </a:lnTo>
                    <a:lnTo>
                      <a:pt x="1007" y="647"/>
                    </a:lnTo>
                    <a:lnTo>
                      <a:pt x="1007" y="647"/>
                    </a:lnTo>
                    <a:lnTo>
                      <a:pt x="1007" y="647"/>
                    </a:lnTo>
                    <a:lnTo>
                      <a:pt x="1007" y="647"/>
                    </a:lnTo>
                    <a:lnTo>
                      <a:pt x="1012" y="647"/>
                    </a:lnTo>
                    <a:lnTo>
                      <a:pt x="1012" y="647"/>
                    </a:lnTo>
                    <a:lnTo>
                      <a:pt x="1012" y="647"/>
                    </a:lnTo>
                    <a:lnTo>
                      <a:pt x="1016" y="647"/>
                    </a:lnTo>
                    <a:lnTo>
                      <a:pt x="1016" y="647"/>
                    </a:lnTo>
                    <a:lnTo>
                      <a:pt x="1016" y="647"/>
                    </a:lnTo>
                    <a:lnTo>
                      <a:pt x="1021" y="647"/>
                    </a:lnTo>
                    <a:lnTo>
                      <a:pt x="1021" y="647"/>
                    </a:lnTo>
                    <a:lnTo>
                      <a:pt x="1021" y="642"/>
                    </a:lnTo>
                    <a:lnTo>
                      <a:pt x="1021" y="642"/>
                    </a:lnTo>
                    <a:lnTo>
                      <a:pt x="1021" y="642"/>
                    </a:lnTo>
                    <a:lnTo>
                      <a:pt x="1021" y="642"/>
                    </a:lnTo>
                    <a:lnTo>
                      <a:pt x="1021" y="647"/>
                    </a:lnTo>
                    <a:lnTo>
                      <a:pt x="1021" y="647"/>
                    </a:lnTo>
                    <a:lnTo>
                      <a:pt x="1021" y="647"/>
                    </a:lnTo>
                    <a:lnTo>
                      <a:pt x="1021" y="647"/>
                    </a:lnTo>
                    <a:lnTo>
                      <a:pt x="1021" y="647"/>
                    </a:lnTo>
                    <a:lnTo>
                      <a:pt x="1016" y="647"/>
                    </a:lnTo>
                    <a:lnTo>
                      <a:pt x="1016" y="647"/>
                    </a:lnTo>
                    <a:lnTo>
                      <a:pt x="1016" y="651"/>
                    </a:lnTo>
                    <a:lnTo>
                      <a:pt x="1016" y="651"/>
                    </a:lnTo>
                    <a:lnTo>
                      <a:pt x="1012" y="651"/>
                    </a:lnTo>
                    <a:lnTo>
                      <a:pt x="1012" y="651"/>
                    </a:lnTo>
                    <a:lnTo>
                      <a:pt x="1012" y="651"/>
                    </a:lnTo>
                    <a:lnTo>
                      <a:pt x="1012" y="656"/>
                    </a:lnTo>
                    <a:lnTo>
                      <a:pt x="1012" y="656"/>
                    </a:lnTo>
                    <a:lnTo>
                      <a:pt x="1007" y="656"/>
                    </a:lnTo>
                    <a:lnTo>
                      <a:pt x="1007" y="656"/>
                    </a:lnTo>
                    <a:lnTo>
                      <a:pt x="1007" y="656"/>
                    </a:lnTo>
                    <a:lnTo>
                      <a:pt x="1007" y="656"/>
                    </a:lnTo>
                    <a:lnTo>
                      <a:pt x="1007" y="656"/>
                    </a:lnTo>
                    <a:lnTo>
                      <a:pt x="1007" y="656"/>
                    </a:lnTo>
                    <a:lnTo>
                      <a:pt x="1007" y="656"/>
                    </a:lnTo>
                    <a:lnTo>
                      <a:pt x="1007" y="656"/>
                    </a:lnTo>
                    <a:lnTo>
                      <a:pt x="1007" y="656"/>
                    </a:lnTo>
                    <a:lnTo>
                      <a:pt x="1002" y="660"/>
                    </a:lnTo>
                    <a:lnTo>
                      <a:pt x="1002" y="660"/>
                    </a:lnTo>
                    <a:lnTo>
                      <a:pt x="1002" y="660"/>
                    </a:lnTo>
                    <a:lnTo>
                      <a:pt x="1002" y="660"/>
                    </a:lnTo>
                    <a:lnTo>
                      <a:pt x="1002" y="660"/>
                    </a:lnTo>
                    <a:lnTo>
                      <a:pt x="1007" y="660"/>
                    </a:lnTo>
                    <a:lnTo>
                      <a:pt x="1007" y="660"/>
                    </a:lnTo>
                    <a:lnTo>
                      <a:pt x="1007" y="660"/>
                    </a:lnTo>
                    <a:lnTo>
                      <a:pt x="1016" y="656"/>
                    </a:lnTo>
                    <a:lnTo>
                      <a:pt x="1016" y="656"/>
                    </a:lnTo>
                    <a:lnTo>
                      <a:pt x="1021" y="651"/>
                    </a:lnTo>
                    <a:lnTo>
                      <a:pt x="1021" y="656"/>
                    </a:lnTo>
                    <a:lnTo>
                      <a:pt x="1021" y="656"/>
                    </a:lnTo>
                    <a:lnTo>
                      <a:pt x="1021" y="656"/>
                    </a:lnTo>
                    <a:lnTo>
                      <a:pt x="1021" y="656"/>
                    </a:lnTo>
                    <a:lnTo>
                      <a:pt x="1016" y="656"/>
                    </a:lnTo>
                    <a:lnTo>
                      <a:pt x="1016" y="660"/>
                    </a:lnTo>
                    <a:lnTo>
                      <a:pt x="1016" y="660"/>
                    </a:lnTo>
                    <a:lnTo>
                      <a:pt x="1012" y="660"/>
                    </a:lnTo>
                    <a:lnTo>
                      <a:pt x="1012" y="665"/>
                    </a:lnTo>
                    <a:lnTo>
                      <a:pt x="1012" y="665"/>
                    </a:lnTo>
                    <a:lnTo>
                      <a:pt x="1012" y="665"/>
                    </a:lnTo>
                    <a:lnTo>
                      <a:pt x="1012" y="665"/>
                    </a:lnTo>
                    <a:lnTo>
                      <a:pt x="1016" y="665"/>
                    </a:lnTo>
                    <a:lnTo>
                      <a:pt x="1016" y="665"/>
                    </a:lnTo>
                    <a:lnTo>
                      <a:pt x="1021" y="660"/>
                    </a:lnTo>
                    <a:lnTo>
                      <a:pt x="1021" y="660"/>
                    </a:lnTo>
                    <a:lnTo>
                      <a:pt x="1021" y="660"/>
                    </a:lnTo>
                    <a:lnTo>
                      <a:pt x="1021" y="660"/>
                    </a:lnTo>
                    <a:lnTo>
                      <a:pt x="1021" y="660"/>
                    </a:lnTo>
                    <a:lnTo>
                      <a:pt x="1021" y="665"/>
                    </a:lnTo>
                    <a:lnTo>
                      <a:pt x="1021" y="665"/>
                    </a:lnTo>
                    <a:lnTo>
                      <a:pt x="1021" y="665"/>
                    </a:lnTo>
                    <a:lnTo>
                      <a:pt x="1021" y="665"/>
                    </a:lnTo>
                    <a:lnTo>
                      <a:pt x="1012" y="674"/>
                    </a:lnTo>
                    <a:lnTo>
                      <a:pt x="1012" y="674"/>
                    </a:lnTo>
                    <a:lnTo>
                      <a:pt x="1012" y="674"/>
                    </a:lnTo>
                    <a:lnTo>
                      <a:pt x="1012" y="674"/>
                    </a:lnTo>
                    <a:lnTo>
                      <a:pt x="1012" y="678"/>
                    </a:lnTo>
                    <a:lnTo>
                      <a:pt x="1007" y="678"/>
                    </a:lnTo>
                    <a:lnTo>
                      <a:pt x="1007" y="683"/>
                    </a:lnTo>
                    <a:lnTo>
                      <a:pt x="1007" y="683"/>
                    </a:lnTo>
                    <a:lnTo>
                      <a:pt x="1007" y="683"/>
                    </a:lnTo>
                    <a:lnTo>
                      <a:pt x="1007" y="683"/>
                    </a:lnTo>
                    <a:lnTo>
                      <a:pt x="1007" y="678"/>
                    </a:lnTo>
                    <a:lnTo>
                      <a:pt x="1002" y="678"/>
                    </a:lnTo>
                    <a:lnTo>
                      <a:pt x="1002" y="678"/>
                    </a:lnTo>
                    <a:lnTo>
                      <a:pt x="1002" y="678"/>
                    </a:lnTo>
                    <a:lnTo>
                      <a:pt x="1002" y="683"/>
                    </a:lnTo>
                    <a:lnTo>
                      <a:pt x="998" y="683"/>
                    </a:lnTo>
                    <a:lnTo>
                      <a:pt x="998" y="683"/>
                    </a:lnTo>
                    <a:lnTo>
                      <a:pt x="998" y="678"/>
                    </a:lnTo>
                    <a:lnTo>
                      <a:pt x="1002" y="678"/>
                    </a:lnTo>
                    <a:lnTo>
                      <a:pt x="1002" y="674"/>
                    </a:lnTo>
                    <a:lnTo>
                      <a:pt x="1002" y="674"/>
                    </a:lnTo>
                    <a:lnTo>
                      <a:pt x="1002" y="674"/>
                    </a:lnTo>
                    <a:lnTo>
                      <a:pt x="1002" y="674"/>
                    </a:lnTo>
                    <a:lnTo>
                      <a:pt x="1002" y="674"/>
                    </a:lnTo>
                    <a:lnTo>
                      <a:pt x="1002" y="674"/>
                    </a:lnTo>
                    <a:lnTo>
                      <a:pt x="1002" y="674"/>
                    </a:lnTo>
                    <a:lnTo>
                      <a:pt x="998" y="674"/>
                    </a:lnTo>
                    <a:lnTo>
                      <a:pt x="998" y="674"/>
                    </a:lnTo>
                    <a:lnTo>
                      <a:pt x="993" y="678"/>
                    </a:lnTo>
                    <a:lnTo>
                      <a:pt x="993" y="678"/>
                    </a:lnTo>
                    <a:lnTo>
                      <a:pt x="993" y="678"/>
                    </a:lnTo>
                    <a:lnTo>
                      <a:pt x="993" y="678"/>
                    </a:lnTo>
                    <a:lnTo>
                      <a:pt x="993" y="678"/>
                    </a:lnTo>
                    <a:lnTo>
                      <a:pt x="993" y="674"/>
                    </a:lnTo>
                    <a:lnTo>
                      <a:pt x="993" y="674"/>
                    </a:lnTo>
                    <a:lnTo>
                      <a:pt x="993" y="674"/>
                    </a:lnTo>
                    <a:lnTo>
                      <a:pt x="998" y="669"/>
                    </a:lnTo>
                    <a:lnTo>
                      <a:pt x="1002" y="665"/>
                    </a:lnTo>
                    <a:lnTo>
                      <a:pt x="1002" y="665"/>
                    </a:lnTo>
                    <a:lnTo>
                      <a:pt x="1002" y="665"/>
                    </a:lnTo>
                    <a:lnTo>
                      <a:pt x="1002" y="665"/>
                    </a:lnTo>
                    <a:lnTo>
                      <a:pt x="1002" y="660"/>
                    </a:lnTo>
                    <a:lnTo>
                      <a:pt x="1002" y="660"/>
                    </a:lnTo>
                    <a:lnTo>
                      <a:pt x="1002" y="660"/>
                    </a:lnTo>
                    <a:lnTo>
                      <a:pt x="998" y="656"/>
                    </a:lnTo>
                    <a:lnTo>
                      <a:pt x="998" y="660"/>
                    </a:lnTo>
                    <a:lnTo>
                      <a:pt x="998" y="660"/>
                    </a:lnTo>
                    <a:lnTo>
                      <a:pt x="993" y="665"/>
                    </a:lnTo>
                    <a:lnTo>
                      <a:pt x="993" y="665"/>
                    </a:lnTo>
                    <a:lnTo>
                      <a:pt x="993" y="665"/>
                    </a:lnTo>
                    <a:lnTo>
                      <a:pt x="993" y="665"/>
                    </a:lnTo>
                    <a:lnTo>
                      <a:pt x="989" y="665"/>
                    </a:lnTo>
                    <a:lnTo>
                      <a:pt x="993" y="665"/>
                    </a:lnTo>
                    <a:lnTo>
                      <a:pt x="993" y="665"/>
                    </a:lnTo>
                    <a:lnTo>
                      <a:pt x="993" y="665"/>
                    </a:lnTo>
                    <a:lnTo>
                      <a:pt x="989" y="665"/>
                    </a:lnTo>
                    <a:lnTo>
                      <a:pt x="989" y="665"/>
                    </a:lnTo>
                    <a:lnTo>
                      <a:pt x="989" y="665"/>
                    </a:lnTo>
                    <a:lnTo>
                      <a:pt x="989" y="665"/>
                    </a:lnTo>
                    <a:lnTo>
                      <a:pt x="984" y="665"/>
                    </a:lnTo>
                    <a:lnTo>
                      <a:pt x="980" y="669"/>
                    </a:lnTo>
                    <a:lnTo>
                      <a:pt x="980" y="674"/>
                    </a:lnTo>
                    <a:lnTo>
                      <a:pt x="980" y="674"/>
                    </a:lnTo>
                    <a:lnTo>
                      <a:pt x="975" y="674"/>
                    </a:lnTo>
                    <a:lnTo>
                      <a:pt x="975" y="674"/>
                    </a:lnTo>
                    <a:lnTo>
                      <a:pt x="975" y="674"/>
                    </a:lnTo>
                    <a:lnTo>
                      <a:pt x="975" y="674"/>
                    </a:lnTo>
                    <a:lnTo>
                      <a:pt x="971" y="674"/>
                    </a:lnTo>
                    <a:lnTo>
                      <a:pt x="971" y="674"/>
                    </a:lnTo>
                    <a:lnTo>
                      <a:pt x="971" y="674"/>
                    </a:lnTo>
                    <a:lnTo>
                      <a:pt x="966" y="674"/>
                    </a:lnTo>
                    <a:lnTo>
                      <a:pt x="966" y="674"/>
                    </a:lnTo>
                    <a:lnTo>
                      <a:pt x="966" y="674"/>
                    </a:lnTo>
                    <a:lnTo>
                      <a:pt x="966" y="674"/>
                    </a:lnTo>
                    <a:lnTo>
                      <a:pt x="966" y="674"/>
                    </a:lnTo>
                    <a:lnTo>
                      <a:pt x="966" y="674"/>
                    </a:lnTo>
                    <a:lnTo>
                      <a:pt x="971" y="674"/>
                    </a:lnTo>
                    <a:lnTo>
                      <a:pt x="971" y="669"/>
                    </a:lnTo>
                    <a:lnTo>
                      <a:pt x="975" y="669"/>
                    </a:lnTo>
                    <a:lnTo>
                      <a:pt x="975" y="669"/>
                    </a:lnTo>
                    <a:lnTo>
                      <a:pt x="975" y="669"/>
                    </a:lnTo>
                    <a:lnTo>
                      <a:pt x="980" y="669"/>
                    </a:lnTo>
                    <a:lnTo>
                      <a:pt x="980" y="665"/>
                    </a:lnTo>
                    <a:lnTo>
                      <a:pt x="984" y="665"/>
                    </a:lnTo>
                    <a:lnTo>
                      <a:pt x="989" y="665"/>
                    </a:lnTo>
                    <a:lnTo>
                      <a:pt x="989" y="660"/>
                    </a:lnTo>
                    <a:lnTo>
                      <a:pt x="989" y="660"/>
                    </a:lnTo>
                    <a:lnTo>
                      <a:pt x="989" y="660"/>
                    </a:lnTo>
                    <a:lnTo>
                      <a:pt x="989" y="660"/>
                    </a:lnTo>
                    <a:lnTo>
                      <a:pt x="984" y="660"/>
                    </a:lnTo>
                    <a:lnTo>
                      <a:pt x="984" y="660"/>
                    </a:lnTo>
                    <a:lnTo>
                      <a:pt x="984" y="660"/>
                    </a:lnTo>
                    <a:lnTo>
                      <a:pt x="980" y="660"/>
                    </a:lnTo>
                    <a:lnTo>
                      <a:pt x="980" y="660"/>
                    </a:lnTo>
                    <a:lnTo>
                      <a:pt x="980" y="665"/>
                    </a:lnTo>
                    <a:lnTo>
                      <a:pt x="980" y="665"/>
                    </a:lnTo>
                    <a:lnTo>
                      <a:pt x="980" y="665"/>
                    </a:lnTo>
                    <a:lnTo>
                      <a:pt x="980" y="665"/>
                    </a:lnTo>
                    <a:lnTo>
                      <a:pt x="975" y="665"/>
                    </a:lnTo>
                    <a:lnTo>
                      <a:pt x="975" y="665"/>
                    </a:lnTo>
                    <a:lnTo>
                      <a:pt x="975" y="665"/>
                    </a:lnTo>
                    <a:lnTo>
                      <a:pt x="971" y="665"/>
                    </a:lnTo>
                    <a:lnTo>
                      <a:pt x="971" y="665"/>
                    </a:lnTo>
                    <a:lnTo>
                      <a:pt x="971" y="665"/>
                    </a:lnTo>
                    <a:lnTo>
                      <a:pt x="971" y="665"/>
                    </a:lnTo>
                    <a:lnTo>
                      <a:pt x="975" y="660"/>
                    </a:lnTo>
                    <a:lnTo>
                      <a:pt x="975" y="660"/>
                    </a:lnTo>
                    <a:lnTo>
                      <a:pt x="975" y="656"/>
                    </a:lnTo>
                    <a:lnTo>
                      <a:pt x="975" y="660"/>
                    </a:lnTo>
                    <a:lnTo>
                      <a:pt x="971" y="660"/>
                    </a:lnTo>
                    <a:lnTo>
                      <a:pt x="971" y="660"/>
                    </a:lnTo>
                    <a:lnTo>
                      <a:pt x="971" y="656"/>
                    </a:lnTo>
                    <a:lnTo>
                      <a:pt x="971" y="660"/>
                    </a:lnTo>
                    <a:lnTo>
                      <a:pt x="971" y="660"/>
                    </a:lnTo>
                    <a:lnTo>
                      <a:pt x="966" y="660"/>
                    </a:lnTo>
                    <a:lnTo>
                      <a:pt x="966" y="660"/>
                    </a:lnTo>
                    <a:lnTo>
                      <a:pt x="966" y="660"/>
                    </a:lnTo>
                    <a:lnTo>
                      <a:pt x="962" y="660"/>
                    </a:lnTo>
                    <a:lnTo>
                      <a:pt x="962" y="660"/>
                    </a:lnTo>
                    <a:lnTo>
                      <a:pt x="957" y="660"/>
                    </a:lnTo>
                    <a:lnTo>
                      <a:pt x="948" y="660"/>
                    </a:lnTo>
                    <a:lnTo>
                      <a:pt x="948" y="660"/>
                    </a:lnTo>
                    <a:lnTo>
                      <a:pt x="944" y="660"/>
                    </a:lnTo>
                    <a:lnTo>
                      <a:pt x="944" y="660"/>
                    </a:lnTo>
                    <a:lnTo>
                      <a:pt x="939" y="660"/>
                    </a:lnTo>
                    <a:lnTo>
                      <a:pt x="939" y="660"/>
                    </a:lnTo>
                    <a:lnTo>
                      <a:pt x="939" y="656"/>
                    </a:lnTo>
                    <a:lnTo>
                      <a:pt x="939" y="656"/>
                    </a:lnTo>
                    <a:lnTo>
                      <a:pt x="935" y="660"/>
                    </a:lnTo>
                    <a:lnTo>
                      <a:pt x="935" y="660"/>
                    </a:lnTo>
                    <a:lnTo>
                      <a:pt x="935" y="660"/>
                    </a:lnTo>
                    <a:lnTo>
                      <a:pt x="930" y="660"/>
                    </a:lnTo>
                    <a:lnTo>
                      <a:pt x="926" y="660"/>
                    </a:lnTo>
                    <a:lnTo>
                      <a:pt x="926" y="660"/>
                    </a:lnTo>
                    <a:lnTo>
                      <a:pt x="926" y="660"/>
                    </a:lnTo>
                    <a:lnTo>
                      <a:pt x="926" y="656"/>
                    </a:lnTo>
                    <a:lnTo>
                      <a:pt x="926" y="656"/>
                    </a:lnTo>
                    <a:lnTo>
                      <a:pt x="926" y="656"/>
                    </a:lnTo>
                    <a:lnTo>
                      <a:pt x="926" y="651"/>
                    </a:lnTo>
                    <a:lnTo>
                      <a:pt x="926" y="651"/>
                    </a:lnTo>
                    <a:lnTo>
                      <a:pt x="935" y="651"/>
                    </a:lnTo>
                    <a:lnTo>
                      <a:pt x="939" y="647"/>
                    </a:lnTo>
                    <a:lnTo>
                      <a:pt x="939" y="647"/>
                    </a:lnTo>
                    <a:lnTo>
                      <a:pt x="944" y="642"/>
                    </a:lnTo>
                    <a:lnTo>
                      <a:pt x="944" y="642"/>
                    </a:lnTo>
                    <a:lnTo>
                      <a:pt x="944" y="642"/>
                    </a:lnTo>
                    <a:lnTo>
                      <a:pt x="944" y="642"/>
                    </a:lnTo>
                    <a:lnTo>
                      <a:pt x="939" y="642"/>
                    </a:lnTo>
                    <a:lnTo>
                      <a:pt x="939" y="642"/>
                    </a:lnTo>
                    <a:lnTo>
                      <a:pt x="935" y="642"/>
                    </a:lnTo>
                    <a:lnTo>
                      <a:pt x="935" y="642"/>
                    </a:lnTo>
                    <a:lnTo>
                      <a:pt x="935" y="642"/>
                    </a:lnTo>
                    <a:lnTo>
                      <a:pt x="935" y="642"/>
                    </a:lnTo>
                    <a:lnTo>
                      <a:pt x="939" y="638"/>
                    </a:lnTo>
                    <a:lnTo>
                      <a:pt x="939" y="638"/>
                    </a:lnTo>
                    <a:lnTo>
                      <a:pt x="939" y="638"/>
                    </a:lnTo>
                    <a:lnTo>
                      <a:pt x="939" y="638"/>
                    </a:lnTo>
                    <a:lnTo>
                      <a:pt x="939" y="642"/>
                    </a:lnTo>
                    <a:lnTo>
                      <a:pt x="939" y="642"/>
                    </a:lnTo>
                    <a:lnTo>
                      <a:pt x="939" y="642"/>
                    </a:lnTo>
                    <a:lnTo>
                      <a:pt x="939" y="642"/>
                    </a:lnTo>
                    <a:lnTo>
                      <a:pt x="944" y="638"/>
                    </a:lnTo>
                    <a:lnTo>
                      <a:pt x="944" y="638"/>
                    </a:lnTo>
                    <a:lnTo>
                      <a:pt x="948" y="633"/>
                    </a:lnTo>
                    <a:lnTo>
                      <a:pt x="948" y="633"/>
                    </a:lnTo>
                    <a:lnTo>
                      <a:pt x="948" y="633"/>
                    </a:lnTo>
                    <a:lnTo>
                      <a:pt x="948" y="633"/>
                    </a:lnTo>
                    <a:lnTo>
                      <a:pt x="953" y="633"/>
                    </a:lnTo>
                    <a:lnTo>
                      <a:pt x="953" y="633"/>
                    </a:lnTo>
                    <a:lnTo>
                      <a:pt x="953" y="633"/>
                    </a:lnTo>
                    <a:lnTo>
                      <a:pt x="953" y="633"/>
                    </a:lnTo>
                    <a:lnTo>
                      <a:pt x="953" y="633"/>
                    </a:lnTo>
                    <a:lnTo>
                      <a:pt x="953" y="633"/>
                    </a:lnTo>
                    <a:lnTo>
                      <a:pt x="953" y="633"/>
                    </a:lnTo>
                    <a:lnTo>
                      <a:pt x="953" y="629"/>
                    </a:lnTo>
                    <a:lnTo>
                      <a:pt x="957" y="629"/>
                    </a:lnTo>
                    <a:lnTo>
                      <a:pt x="957" y="629"/>
                    </a:lnTo>
                    <a:lnTo>
                      <a:pt x="953" y="629"/>
                    </a:lnTo>
                    <a:lnTo>
                      <a:pt x="953" y="629"/>
                    </a:lnTo>
                    <a:lnTo>
                      <a:pt x="953" y="629"/>
                    </a:lnTo>
                    <a:lnTo>
                      <a:pt x="953" y="629"/>
                    </a:lnTo>
                    <a:lnTo>
                      <a:pt x="953" y="624"/>
                    </a:lnTo>
                    <a:lnTo>
                      <a:pt x="957" y="624"/>
                    </a:lnTo>
                    <a:lnTo>
                      <a:pt x="957" y="624"/>
                    </a:lnTo>
                    <a:lnTo>
                      <a:pt x="957" y="624"/>
                    </a:lnTo>
                    <a:lnTo>
                      <a:pt x="957" y="624"/>
                    </a:lnTo>
                    <a:lnTo>
                      <a:pt x="962" y="624"/>
                    </a:lnTo>
                    <a:lnTo>
                      <a:pt x="962" y="624"/>
                    </a:lnTo>
                    <a:lnTo>
                      <a:pt x="962" y="624"/>
                    </a:lnTo>
                    <a:lnTo>
                      <a:pt x="962" y="619"/>
                    </a:lnTo>
                    <a:lnTo>
                      <a:pt x="962" y="619"/>
                    </a:lnTo>
                    <a:lnTo>
                      <a:pt x="966" y="615"/>
                    </a:lnTo>
                    <a:lnTo>
                      <a:pt x="971" y="610"/>
                    </a:lnTo>
                    <a:lnTo>
                      <a:pt x="975" y="606"/>
                    </a:lnTo>
                    <a:lnTo>
                      <a:pt x="975" y="606"/>
                    </a:lnTo>
                    <a:lnTo>
                      <a:pt x="975" y="606"/>
                    </a:lnTo>
                    <a:lnTo>
                      <a:pt x="975" y="606"/>
                    </a:lnTo>
                    <a:lnTo>
                      <a:pt x="980" y="606"/>
                    </a:lnTo>
                    <a:lnTo>
                      <a:pt x="980" y="606"/>
                    </a:lnTo>
                    <a:lnTo>
                      <a:pt x="980" y="601"/>
                    </a:lnTo>
                    <a:lnTo>
                      <a:pt x="975" y="601"/>
                    </a:lnTo>
                    <a:lnTo>
                      <a:pt x="980" y="601"/>
                    </a:lnTo>
                    <a:lnTo>
                      <a:pt x="980" y="601"/>
                    </a:lnTo>
                    <a:lnTo>
                      <a:pt x="980" y="601"/>
                    </a:lnTo>
                    <a:lnTo>
                      <a:pt x="980" y="601"/>
                    </a:lnTo>
                    <a:lnTo>
                      <a:pt x="984" y="601"/>
                    </a:lnTo>
                    <a:lnTo>
                      <a:pt x="984" y="597"/>
                    </a:lnTo>
                    <a:lnTo>
                      <a:pt x="984" y="597"/>
                    </a:lnTo>
                    <a:lnTo>
                      <a:pt x="984" y="597"/>
                    </a:lnTo>
                    <a:lnTo>
                      <a:pt x="984" y="597"/>
                    </a:lnTo>
                    <a:lnTo>
                      <a:pt x="984" y="597"/>
                    </a:lnTo>
                    <a:lnTo>
                      <a:pt x="989" y="592"/>
                    </a:lnTo>
                    <a:lnTo>
                      <a:pt x="989" y="592"/>
                    </a:lnTo>
                    <a:lnTo>
                      <a:pt x="989" y="592"/>
                    </a:lnTo>
                    <a:lnTo>
                      <a:pt x="993" y="592"/>
                    </a:lnTo>
                    <a:lnTo>
                      <a:pt x="993" y="588"/>
                    </a:lnTo>
                    <a:lnTo>
                      <a:pt x="993" y="588"/>
                    </a:lnTo>
                    <a:lnTo>
                      <a:pt x="998" y="588"/>
                    </a:lnTo>
                    <a:lnTo>
                      <a:pt x="1002" y="588"/>
                    </a:lnTo>
                    <a:lnTo>
                      <a:pt x="1007" y="588"/>
                    </a:lnTo>
                    <a:lnTo>
                      <a:pt x="1007" y="588"/>
                    </a:lnTo>
                    <a:lnTo>
                      <a:pt x="1007" y="588"/>
                    </a:lnTo>
                    <a:lnTo>
                      <a:pt x="1007" y="588"/>
                    </a:lnTo>
                    <a:lnTo>
                      <a:pt x="1007" y="588"/>
                    </a:lnTo>
                    <a:lnTo>
                      <a:pt x="1007" y="588"/>
                    </a:lnTo>
                    <a:lnTo>
                      <a:pt x="1012" y="588"/>
                    </a:lnTo>
                    <a:lnTo>
                      <a:pt x="1012" y="588"/>
                    </a:lnTo>
                    <a:lnTo>
                      <a:pt x="1012" y="588"/>
                    </a:lnTo>
                    <a:lnTo>
                      <a:pt x="1012" y="588"/>
                    </a:lnTo>
                    <a:moveTo>
                      <a:pt x="673" y="547"/>
                    </a:moveTo>
                    <a:lnTo>
                      <a:pt x="673" y="547"/>
                    </a:lnTo>
                    <a:lnTo>
                      <a:pt x="673" y="547"/>
                    </a:lnTo>
                    <a:lnTo>
                      <a:pt x="668" y="543"/>
                    </a:lnTo>
                    <a:lnTo>
                      <a:pt x="668" y="543"/>
                    </a:lnTo>
                    <a:lnTo>
                      <a:pt x="664" y="543"/>
                    </a:lnTo>
                    <a:lnTo>
                      <a:pt x="659" y="538"/>
                    </a:lnTo>
                    <a:lnTo>
                      <a:pt x="659" y="538"/>
                    </a:lnTo>
                    <a:lnTo>
                      <a:pt x="659" y="538"/>
                    </a:lnTo>
                    <a:lnTo>
                      <a:pt x="659" y="538"/>
                    </a:lnTo>
                    <a:lnTo>
                      <a:pt x="664" y="538"/>
                    </a:lnTo>
                    <a:lnTo>
                      <a:pt x="664" y="534"/>
                    </a:lnTo>
                    <a:lnTo>
                      <a:pt x="668" y="534"/>
                    </a:lnTo>
                    <a:lnTo>
                      <a:pt x="673" y="538"/>
                    </a:lnTo>
                    <a:lnTo>
                      <a:pt x="673" y="538"/>
                    </a:lnTo>
                    <a:lnTo>
                      <a:pt x="673" y="543"/>
                    </a:lnTo>
                    <a:lnTo>
                      <a:pt x="673" y="543"/>
                    </a:lnTo>
                    <a:lnTo>
                      <a:pt x="673" y="543"/>
                    </a:lnTo>
                    <a:lnTo>
                      <a:pt x="673" y="547"/>
                    </a:lnTo>
                    <a:moveTo>
                      <a:pt x="13" y="475"/>
                    </a:moveTo>
                    <a:lnTo>
                      <a:pt x="13" y="475"/>
                    </a:lnTo>
                    <a:lnTo>
                      <a:pt x="13" y="475"/>
                    </a:lnTo>
                    <a:lnTo>
                      <a:pt x="13" y="475"/>
                    </a:lnTo>
                    <a:lnTo>
                      <a:pt x="9" y="479"/>
                    </a:lnTo>
                    <a:lnTo>
                      <a:pt x="9" y="479"/>
                    </a:lnTo>
                    <a:lnTo>
                      <a:pt x="9" y="479"/>
                    </a:lnTo>
                    <a:lnTo>
                      <a:pt x="9" y="479"/>
                    </a:lnTo>
                    <a:lnTo>
                      <a:pt x="4" y="479"/>
                    </a:lnTo>
                    <a:lnTo>
                      <a:pt x="4" y="479"/>
                    </a:lnTo>
                    <a:lnTo>
                      <a:pt x="9" y="479"/>
                    </a:lnTo>
                    <a:lnTo>
                      <a:pt x="4" y="479"/>
                    </a:lnTo>
                    <a:lnTo>
                      <a:pt x="9" y="479"/>
                    </a:lnTo>
                    <a:lnTo>
                      <a:pt x="9" y="484"/>
                    </a:lnTo>
                    <a:lnTo>
                      <a:pt x="4" y="484"/>
                    </a:lnTo>
                    <a:lnTo>
                      <a:pt x="4" y="484"/>
                    </a:lnTo>
                    <a:lnTo>
                      <a:pt x="4" y="488"/>
                    </a:lnTo>
                    <a:lnTo>
                      <a:pt x="4" y="488"/>
                    </a:lnTo>
                    <a:lnTo>
                      <a:pt x="4" y="488"/>
                    </a:lnTo>
                    <a:lnTo>
                      <a:pt x="4" y="488"/>
                    </a:lnTo>
                    <a:lnTo>
                      <a:pt x="4" y="488"/>
                    </a:lnTo>
                    <a:lnTo>
                      <a:pt x="4" y="488"/>
                    </a:lnTo>
                    <a:lnTo>
                      <a:pt x="4" y="488"/>
                    </a:lnTo>
                    <a:lnTo>
                      <a:pt x="4" y="488"/>
                    </a:lnTo>
                    <a:lnTo>
                      <a:pt x="4" y="488"/>
                    </a:lnTo>
                    <a:lnTo>
                      <a:pt x="4" y="493"/>
                    </a:lnTo>
                    <a:lnTo>
                      <a:pt x="4" y="493"/>
                    </a:lnTo>
                    <a:lnTo>
                      <a:pt x="0" y="493"/>
                    </a:lnTo>
                    <a:lnTo>
                      <a:pt x="0" y="493"/>
                    </a:lnTo>
                    <a:lnTo>
                      <a:pt x="0" y="488"/>
                    </a:lnTo>
                    <a:lnTo>
                      <a:pt x="0" y="488"/>
                    </a:lnTo>
                    <a:lnTo>
                      <a:pt x="0" y="488"/>
                    </a:lnTo>
                    <a:lnTo>
                      <a:pt x="0" y="484"/>
                    </a:lnTo>
                    <a:lnTo>
                      <a:pt x="0" y="479"/>
                    </a:lnTo>
                    <a:lnTo>
                      <a:pt x="0" y="479"/>
                    </a:lnTo>
                    <a:lnTo>
                      <a:pt x="4" y="479"/>
                    </a:lnTo>
                    <a:lnTo>
                      <a:pt x="4" y="479"/>
                    </a:lnTo>
                    <a:lnTo>
                      <a:pt x="4" y="475"/>
                    </a:lnTo>
                    <a:lnTo>
                      <a:pt x="4" y="475"/>
                    </a:lnTo>
                    <a:lnTo>
                      <a:pt x="4" y="475"/>
                    </a:lnTo>
                    <a:lnTo>
                      <a:pt x="4" y="475"/>
                    </a:lnTo>
                    <a:lnTo>
                      <a:pt x="4" y="475"/>
                    </a:lnTo>
                    <a:lnTo>
                      <a:pt x="4" y="475"/>
                    </a:lnTo>
                    <a:lnTo>
                      <a:pt x="4" y="475"/>
                    </a:lnTo>
                    <a:lnTo>
                      <a:pt x="4" y="470"/>
                    </a:lnTo>
                    <a:lnTo>
                      <a:pt x="4" y="475"/>
                    </a:lnTo>
                    <a:lnTo>
                      <a:pt x="9" y="475"/>
                    </a:lnTo>
                    <a:lnTo>
                      <a:pt x="13" y="475"/>
                    </a:lnTo>
                    <a:lnTo>
                      <a:pt x="13" y="470"/>
                    </a:lnTo>
                    <a:lnTo>
                      <a:pt x="13" y="470"/>
                    </a:lnTo>
                    <a:lnTo>
                      <a:pt x="13" y="470"/>
                    </a:lnTo>
                    <a:lnTo>
                      <a:pt x="13" y="475"/>
                    </a:lnTo>
                    <a:moveTo>
                      <a:pt x="49" y="484"/>
                    </a:moveTo>
                    <a:lnTo>
                      <a:pt x="49" y="484"/>
                    </a:lnTo>
                    <a:lnTo>
                      <a:pt x="45" y="488"/>
                    </a:lnTo>
                    <a:lnTo>
                      <a:pt x="40" y="493"/>
                    </a:lnTo>
                    <a:lnTo>
                      <a:pt x="40" y="493"/>
                    </a:lnTo>
                    <a:lnTo>
                      <a:pt x="36" y="493"/>
                    </a:lnTo>
                    <a:lnTo>
                      <a:pt x="36" y="493"/>
                    </a:lnTo>
                    <a:lnTo>
                      <a:pt x="36" y="493"/>
                    </a:lnTo>
                    <a:lnTo>
                      <a:pt x="36" y="493"/>
                    </a:lnTo>
                    <a:lnTo>
                      <a:pt x="40" y="488"/>
                    </a:lnTo>
                    <a:lnTo>
                      <a:pt x="40" y="488"/>
                    </a:lnTo>
                    <a:lnTo>
                      <a:pt x="45" y="484"/>
                    </a:lnTo>
                    <a:lnTo>
                      <a:pt x="45" y="484"/>
                    </a:lnTo>
                    <a:lnTo>
                      <a:pt x="40" y="488"/>
                    </a:lnTo>
                    <a:lnTo>
                      <a:pt x="40" y="488"/>
                    </a:lnTo>
                    <a:lnTo>
                      <a:pt x="40" y="484"/>
                    </a:lnTo>
                    <a:lnTo>
                      <a:pt x="40" y="484"/>
                    </a:lnTo>
                    <a:lnTo>
                      <a:pt x="40" y="484"/>
                    </a:lnTo>
                    <a:lnTo>
                      <a:pt x="40" y="479"/>
                    </a:lnTo>
                    <a:lnTo>
                      <a:pt x="40" y="479"/>
                    </a:lnTo>
                    <a:lnTo>
                      <a:pt x="45" y="479"/>
                    </a:lnTo>
                    <a:lnTo>
                      <a:pt x="45" y="479"/>
                    </a:lnTo>
                    <a:lnTo>
                      <a:pt x="45" y="479"/>
                    </a:lnTo>
                    <a:lnTo>
                      <a:pt x="49" y="475"/>
                    </a:lnTo>
                    <a:lnTo>
                      <a:pt x="49" y="475"/>
                    </a:lnTo>
                    <a:lnTo>
                      <a:pt x="49" y="475"/>
                    </a:lnTo>
                    <a:lnTo>
                      <a:pt x="49" y="475"/>
                    </a:lnTo>
                    <a:lnTo>
                      <a:pt x="54" y="479"/>
                    </a:lnTo>
                    <a:lnTo>
                      <a:pt x="54" y="479"/>
                    </a:lnTo>
                    <a:lnTo>
                      <a:pt x="49" y="484"/>
                    </a:lnTo>
                    <a:moveTo>
                      <a:pt x="22" y="452"/>
                    </a:moveTo>
                    <a:lnTo>
                      <a:pt x="22" y="452"/>
                    </a:lnTo>
                    <a:lnTo>
                      <a:pt x="22" y="457"/>
                    </a:lnTo>
                    <a:lnTo>
                      <a:pt x="27" y="457"/>
                    </a:lnTo>
                    <a:lnTo>
                      <a:pt x="27" y="457"/>
                    </a:lnTo>
                    <a:lnTo>
                      <a:pt x="27" y="457"/>
                    </a:lnTo>
                    <a:lnTo>
                      <a:pt x="27" y="457"/>
                    </a:lnTo>
                    <a:lnTo>
                      <a:pt x="27" y="457"/>
                    </a:lnTo>
                    <a:lnTo>
                      <a:pt x="22" y="461"/>
                    </a:lnTo>
                    <a:lnTo>
                      <a:pt x="22" y="461"/>
                    </a:lnTo>
                    <a:lnTo>
                      <a:pt x="22" y="461"/>
                    </a:lnTo>
                    <a:lnTo>
                      <a:pt x="13" y="461"/>
                    </a:lnTo>
                    <a:lnTo>
                      <a:pt x="13" y="461"/>
                    </a:lnTo>
                    <a:lnTo>
                      <a:pt x="13" y="461"/>
                    </a:lnTo>
                    <a:lnTo>
                      <a:pt x="13" y="461"/>
                    </a:lnTo>
                    <a:lnTo>
                      <a:pt x="13" y="461"/>
                    </a:lnTo>
                    <a:lnTo>
                      <a:pt x="18" y="461"/>
                    </a:lnTo>
                    <a:lnTo>
                      <a:pt x="22" y="461"/>
                    </a:lnTo>
                    <a:lnTo>
                      <a:pt x="22" y="461"/>
                    </a:lnTo>
                    <a:lnTo>
                      <a:pt x="22" y="461"/>
                    </a:lnTo>
                    <a:lnTo>
                      <a:pt x="27" y="461"/>
                    </a:lnTo>
                    <a:lnTo>
                      <a:pt x="27" y="457"/>
                    </a:lnTo>
                    <a:lnTo>
                      <a:pt x="27" y="457"/>
                    </a:lnTo>
                    <a:lnTo>
                      <a:pt x="31" y="457"/>
                    </a:lnTo>
                    <a:lnTo>
                      <a:pt x="31" y="457"/>
                    </a:lnTo>
                    <a:lnTo>
                      <a:pt x="36" y="457"/>
                    </a:lnTo>
                    <a:lnTo>
                      <a:pt x="36" y="457"/>
                    </a:lnTo>
                    <a:lnTo>
                      <a:pt x="31" y="457"/>
                    </a:lnTo>
                    <a:lnTo>
                      <a:pt x="31" y="457"/>
                    </a:lnTo>
                    <a:lnTo>
                      <a:pt x="27" y="461"/>
                    </a:lnTo>
                    <a:lnTo>
                      <a:pt x="22" y="461"/>
                    </a:lnTo>
                    <a:lnTo>
                      <a:pt x="22" y="466"/>
                    </a:lnTo>
                    <a:lnTo>
                      <a:pt x="18" y="470"/>
                    </a:lnTo>
                    <a:lnTo>
                      <a:pt x="13" y="470"/>
                    </a:lnTo>
                    <a:lnTo>
                      <a:pt x="13" y="470"/>
                    </a:lnTo>
                    <a:lnTo>
                      <a:pt x="9" y="470"/>
                    </a:lnTo>
                    <a:lnTo>
                      <a:pt x="4" y="470"/>
                    </a:lnTo>
                    <a:lnTo>
                      <a:pt x="4" y="470"/>
                    </a:lnTo>
                    <a:lnTo>
                      <a:pt x="4" y="470"/>
                    </a:lnTo>
                    <a:lnTo>
                      <a:pt x="9" y="470"/>
                    </a:lnTo>
                    <a:lnTo>
                      <a:pt x="9" y="470"/>
                    </a:lnTo>
                    <a:lnTo>
                      <a:pt x="9" y="470"/>
                    </a:lnTo>
                    <a:lnTo>
                      <a:pt x="9" y="470"/>
                    </a:lnTo>
                    <a:lnTo>
                      <a:pt x="9" y="470"/>
                    </a:lnTo>
                    <a:lnTo>
                      <a:pt x="9" y="470"/>
                    </a:lnTo>
                    <a:lnTo>
                      <a:pt x="9" y="466"/>
                    </a:lnTo>
                    <a:lnTo>
                      <a:pt x="9" y="466"/>
                    </a:lnTo>
                    <a:lnTo>
                      <a:pt x="9" y="466"/>
                    </a:lnTo>
                    <a:lnTo>
                      <a:pt x="9" y="461"/>
                    </a:lnTo>
                    <a:lnTo>
                      <a:pt x="9" y="461"/>
                    </a:lnTo>
                    <a:lnTo>
                      <a:pt x="9" y="461"/>
                    </a:lnTo>
                    <a:lnTo>
                      <a:pt x="13" y="457"/>
                    </a:lnTo>
                    <a:lnTo>
                      <a:pt x="13" y="457"/>
                    </a:lnTo>
                    <a:lnTo>
                      <a:pt x="13" y="457"/>
                    </a:lnTo>
                    <a:lnTo>
                      <a:pt x="18" y="452"/>
                    </a:lnTo>
                    <a:lnTo>
                      <a:pt x="18" y="452"/>
                    </a:lnTo>
                    <a:lnTo>
                      <a:pt x="18" y="452"/>
                    </a:lnTo>
                    <a:lnTo>
                      <a:pt x="22" y="452"/>
                    </a:lnTo>
                    <a:lnTo>
                      <a:pt x="22" y="452"/>
                    </a:lnTo>
                    <a:moveTo>
                      <a:pt x="740" y="479"/>
                    </a:moveTo>
                    <a:lnTo>
                      <a:pt x="740" y="479"/>
                    </a:lnTo>
                    <a:lnTo>
                      <a:pt x="740" y="484"/>
                    </a:lnTo>
                    <a:lnTo>
                      <a:pt x="736" y="484"/>
                    </a:lnTo>
                    <a:lnTo>
                      <a:pt x="731" y="488"/>
                    </a:lnTo>
                    <a:lnTo>
                      <a:pt x="731" y="488"/>
                    </a:lnTo>
                    <a:lnTo>
                      <a:pt x="731" y="488"/>
                    </a:lnTo>
                    <a:lnTo>
                      <a:pt x="736" y="484"/>
                    </a:lnTo>
                    <a:lnTo>
                      <a:pt x="736" y="484"/>
                    </a:lnTo>
                    <a:lnTo>
                      <a:pt x="736" y="484"/>
                    </a:lnTo>
                    <a:lnTo>
                      <a:pt x="736" y="479"/>
                    </a:lnTo>
                    <a:lnTo>
                      <a:pt x="736" y="484"/>
                    </a:lnTo>
                    <a:lnTo>
                      <a:pt x="731" y="488"/>
                    </a:lnTo>
                    <a:lnTo>
                      <a:pt x="727" y="488"/>
                    </a:lnTo>
                    <a:lnTo>
                      <a:pt x="727" y="488"/>
                    </a:lnTo>
                    <a:lnTo>
                      <a:pt x="727" y="488"/>
                    </a:lnTo>
                    <a:lnTo>
                      <a:pt x="727" y="488"/>
                    </a:lnTo>
                    <a:lnTo>
                      <a:pt x="722" y="488"/>
                    </a:lnTo>
                    <a:lnTo>
                      <a:pt x="731" y="484"/>
                    </a:lnTo>
                    <a:lnTo>
                      <a:pt x="731" y="484"/>
                    </a:lnTo>
                    <a:lnTo>
                      <a:pt x="731" y="484"/>
                    </a:lnTo>
                    <a:lnTo>
                      <a:pt x="731" y="484"/>
                    </a:lnTo>
                    <a:lnTo>
                      <a:pt x="727" y="484"/>
                    </a:lnTo>
                    <a:lnTo>
                      <a:pt x="722" y="488"/>
                    </a:lnTo>
                    <a:lnTo>
                      <a:pt x="722" y="488"/>
                    </a:lnTo>
                    <a:lnTo>
                      <a:pt x="722" y="484"/>
                    </a:lnTo>
                    <a:lnTo>
                      <a:pt x="722" y="484"/>
                    </a:lnTo>
                    <a:lnTo>
                      <a:pt x="727" y="484"/>
                    </a:lnTo>
                    <a:lnTo>
                      <a:pt x="731" y="479"/>
                    </a:lnTo>
                    <a:lnTo>
                      <a:pt x="736" y="479"/>
                    </a:lnTo>
                    <a:lnTo>
                      <a:pt x="736" y="479"/>
                    </a:lnTo>
                    <a:lnTo>
                      <a:pt x="736" y="475"/>
                    </a:lnTo>
                    <a:lnTo>
                      <a:pt x="736" y="475"/>
                    </a:lnTo>
                    <a:lnTo>
                      <a:pt x="736" y="475"/>
                    </a:lnTo>
                    <a:lnTo>
                      <a:pt x="736" y="475"/>
                    </a:lnTo>
                    <a:lnTo>
                      <a:pt x="736" y="475"/>
                    </a:lnTo>
                    <a:lnTo>
                      <a:pt x="736" y="475"/>
                    </a:lnTo>
                    <a:lnTo>
                      <a:pt x="736" y="479"/>
                    </a:lnTo>
                    <a:lnTo>
                      <a:pt x="731" y="479"/>
                    </a:lnTo>
                    <a:lnTo>
                      <a:pt x="731" y="479"/>
                    </a:lnTo>
                    <a:lnTo>
                      <a:pt x="731" y="479"/>
                    </a:lnTo>
                    <a:lnTo>
                      <a:pt x="731" y="479"/>
                    </a:lnTo>
                    <a:lnTo>
                      <a:pt x="736" y="479"/>
                    </a:lnTo>
                    <a:lnTo>
                      <a:pt x="736" y="479"/>
                    </a:lnTo>
                    <a:lnTo>
                      <a:pt x="740" y="475"/>
                    </a:lnTo>
                    <a:lnTo>
                      <a:pt x="740" y="475"/>
                    </a:lnTo>
                    <a:lnTo>
                      <a:pt x="740" y="475"/>
                    </a:lnTo>
                    <a:lnTo>
                      <a:pt x="740" y="475"/>
                    </a:lnTo>
                    <a:lnTo>
                      <a:pt x="740" y="475"/>
                    </a:lnTo>
                    <a:lnTo>
                      <a:pt x="740" y="475"/>
                    </a:lnTo>
                    <a:lnTo>
                      <a:pt x="740" y="475"/>
                    </a:lnTo>
                    <a:lnTo>
                      <a:pt x="740" y="475"/>
                    </a:lnTo>
                    <a:lnTo>
                      <a:pt x="740" y="475"/>
                    </a:lnTo>
                    <a:lnTo>
                      <a:pt x="740" y="479"/>
                    </a:lnTo>
                    <a:lnTo>
                      <a:pt x="740" y="479"/>
                    </a:lnTo>
                    <a:lnTo>
                      <a:pt x="740" y="479"/>
                    </a:lnTo>
                    <a:lnTo>
                      <a:pt x="740" y="479"/>
                    </a:lnTo>
                    <a:lnTo>
                      <a:pt x="740" y="479"/>
                    </a:lnTo>
                    <a:lnTo>
                      <a:pt x="740" y="479"/>
                    </a:lnTo>
                    <a:lnTo>
                      <a:pt x="740" y="479"/>
                    </a:lnTo>
                    <a:moveTo>
                      <a:pt x="817" y="366"/>
                    </a:moveTo>
                    <a:lnTo>
                      <a:pt x="817" y="366"/>
                    </a:lnTo>
                    <a:lnTo>
                      <a:pt x="817" y="366"/>
                    </a:lnTo>
                    <a:lnTo>
                      <a:pt x="817" y="366"/>
                    </a:lnTo>
                    <a:lnTo>
                      <a:pt x="817" y="371"/>
                    </a:lnTo>
                    <a:lnTo>
                      <a:pt x="817" y="371"/>
                    </a:lnTo>
                    <a:lnTo>
                      <a:pt x="817" y="371"/>
                    </a:lnTo>
                    <a:lnTo>
                      <a:pt x="813" y="371"/>
                    </a:lnTo>
                    <a:lnTo>
                      <a:pt x="813" y="375"/>
                    </a:lnTo>
                    <a:lnTo>
                      <a:pt x="813" y="375"/>
                    </a:lnTo>
                    <a:lnTo>
                      <a:pt x="808" y="375"/>
                    </a:lnTo>
                    <a:lnTo>
                      <a:pt x="808" y="380"/>
                    </a:lnTo>
                    <a:lnTo>
                      <a:pt x="804" y="380"/>
                    </a:lnTo>
                    <a:lnTo>
                      <a:pt x="804" y="380"/>
                    </a:lnTo>
                    <a:lnTo>
                      <a:pt x="804" y="380"/>
                    </a:lnTo>
                    <a:lnTo>
                      <a:pt x="804" y="380"/>
                    </a:lnTo>
                    <a:lnTo>
                      <a:pt x="804" y="380"/>
                    </a:lnTo>
                    <a:lnTo>
                      <a:pt x="804" y="380"/>
                    </a:lnTo>
                    <a:lnTo>
                      <a:pt x="799" y="375"/>
                    </a:lnTo>
                    <a:lnTo>
                      <a:pt x="799" y="375"/>
                    </a:lnTo>
                    <a:lnTo>
                      <a:pt x="799" y="375"/>
                    </a:lnTo>
                    <a:lnTo>
                      <a:pt x="799" y="375"/>
                    </a:lnTo>
                    <a:lnTo>
                      <a:pt x="804" y="371"/>
                    </a:lnTo>
                    <a:lnTo>
                      <a:pt x="804" y="371"/>
                    </a:lnTo>
                    <a:lnTo>
                      <a:pt x="804" y="371"/>
                    </a:lnTo>
                    <a:lnTo>
                      <a:pt x="804" y="371"/>
                    </a:lnTo>
                    <a:lnTo>
                      <a:pt x="808" y="371"/>
                    </a:lnTo>
                    <a:lnTo>
                      <a:pt x="813" y="366"/>
                    </a:lnTo>
                    <a:lnTo>
                      <a:pt x="813" y="366"/>
                    </a:lnTo>
                    <a:lnTo>
                      <a:pt x="813" y="366"/>
                    </a:lnTo>
                    <a:lnTo>
                      <a:pt x="817" y="366"/>
                    </a:lnTo>
                    <a:lnTo>
                      <a:pt x="817" y="366"/>
                    </a:lnTo>
                    <a:lnTo>
                      <a:pt x="817" y="366"/>
                    </a:lnTo>
                    <a:lnTo>
                      <a:pt x="817" y="366"/>
                    </a:lnTo>
                    <a:moveTo>
                      <a:pt x="795" y="353"/>
                    </a:moveTo>
                    <a:lnTo>
                      <a:pt x="795" y="353"/>
                    </a:lnTo>
                    <a:lnTo>
                      <a:pt x="795" y="353"/>
                    </a:lnTo>
                    <a:lnTo>
                      <a:pt x="795" y="353"/>
                    </a:lnTo>
                    <a:lnTo>
                      <a:pt x="795" y="357"/>
                    </a:lnTo>
                    <a:lnTo>
                      <a:pt x="795" y="357"/>
                    </a:lnTo>
                    <a:lnTo>
                      <a:pt x="790" y="357"/>
                    </a:lnTo>
                    <a:lnTo>
                      <a:pt x="790" y="357"/>
                    </a:lnTo>
                    <a:lnTo>
                      <a:pt x="786" y="362"/>
                    </a:lnTo>
                    <a:lnTo>
                      <a:pt x="781" y="362"/>
                    </a:lnTo>
                    <a:lnTo>
                      <a:pt x="781" y="362"/>
                    </a:lnTo>
                    <a:lnTo>
                      <a:pt x="772" y="366"/>
                    </a:lnTo>
                    <a:lnTo>
                      <a:pt x="772" y="366"/>
                    </a:lnTo>
                    <a:lnTo>
                      <a:pt x="772" y="366"/>
                    </a:lnTo>
                    <a:lnTo>
                      <a:pt x="772" y="366"/>
                    </a:lnTo>
                    <a:lnTo>
                      <a:pt x="768" y="366"/>
                    </a:lnTo>
                    <a:lnTo>
                      <a:pt x="763" y="366"/>
                    </a:lnTo>
                    <a:lnTo>
                      <a:pt x="763" y="366"/>
                    </a:lnTo>
                    <a:lnTo>
                      <a:pt x="763" y="366"/>
                    </a:lnTo>
                    <a:lnTo>
                      <a:pt x="763" y="362"/>
                    </a:lnTo>
                    <a:lnTo>
                      <a:pt x="763" y="362"/>
                    </a:lnTo>
                    <a:lnTo>
                      <a:pt x="763" y="362"/>
                    </a:lnTo>
                    <a:lnTo>
                      <a:pt x="768" y="362"/>
                    </a:lnTo>
                    <a:lnTo>
                      <a:pt x="768" y="362"/>
                    </a:lnTo>
                    <a:lnTo>
                      <a:pt x="768" y="357"/>
                    </a:lnTo>
                    <a:lnTo>
                      <a:pt x="777" y="353"/>
                    </a:lnTo>
                    <a:lnTo>
                      <a:pt x="781" y="353"/>
                    </a:lnTo>
                    <a:lnTo>
                      <a:pt x="781" y="353"/>
                    </a:lnTo>
                    <a:lnTo>
                      <a:pt x="781" y="353"/>
                    </a:lnTo>
                    <a:lnTo>
                      <a:pt x="781" y="353"/>
                    </a:lnTo>
                    <a:lnTo>
                      <a:pt x="786" y="353"/>
                    </a:lnTo>
                    <a:lnTo>
                      <a:pt x="790" y="353"/>
                    </a:lnTo>
                    <a:lnTo>
                      <a:pt x="795" y="353"/>
                    </a:lnTo>
                    <a:lnTo>
                      <a:pt x="795" y="353"/>
                    </a:lnTo>
                    <a:lnTo>
                      <a:pt x="795" y="353"/>
                    </a:lnTo>
                    <a:lnTo>
                      <a:pt x="795" y="353"/>
                    </a:lnTo>
                    <a:moveTo>
                      <a:pt x="853" y="348"/>
                    </a:moveTo>
                    <a:lnTo>
                      <a:pt x="853" y="348"/>
                    </a:lnTo>
                    <a:lnTo>
                      <a:pt x="853" y="348"/>
                    </a:lnTo>
                    <a:lnTo>
                      <a:pt x="853" y="348"/>
                    </a:lnTo>
                    <a:lnTo>
                      <a:pt x="853" y="348"/>
                    </a:lnTo>
                    <a:lnTo>
                      <a:pt x="853" y="353"/>
                    </a:lnTo>
                    <a:lnTo>
                      <a:pt x="853" y="353"/>
                    </a:lnTo>
                    <a:lnTo>
                      <a:pt x="853" y="353"/>
                    </a:lnTo>
                    <a:lnTo>
                      <a:pt x="853" y="353"/>
                    </a:lnTo>
                    <a:lnTo>
                      <a:pt x="853" y="353"/>
                    </a:lnTo>
                    <a:lnTo>
                      <a:pt x="849" y="353"/>
                    </a:lnTo>
                    <a:lnTo>
                      <a:pt x="849" y="353"/>
                    </a:lnTo>
                    <a:lnTo>
                      <a:pt x="844" y="353"/>
                    </a:lnTo>
                    <a:lnTo>
                      <a:pt x="844" y="353"/>
                    </a:lnTo>
                    <a:lnTo>
                      <a:pt x="844" y="348"/>
                    </a:lnTo>
                    <a:lnTo>
                      <a:pt x="844" y="348"/>
                    </a:lnTo>
                    <a:lnTo>
                      <a:pt x="844" y="348"/>
                    </a:lnTo>
                    <a:lnTo>
                      <a:pt x="844" y="348"/>
                    </a:lnTo>
                    <a:lnTo>
                      <a:pt x="849" y="348"/>
                    </a:lnTo>
                    <a:lnTo>
                      <a:pt x="853" y="348"/>
                    </a:lnTo>
                    <a:lnTo>
                      <a:pt x="853" y="348"/>
                    </a:lnTo>
                    <a:moveTo>
                      <a:pt x="799" y="308"/>
                    </a:moveTo>
                    <a:lnTo>
                      <a:pt x="799" y="308"/>
                    </a:lnTo>
                    <a:lnTo>
                      <a:pt x="799" y="308"/>
                    </a:lnTo>
                    <a:lnTo>
                      <a:pt x="799" y="308"/>
                    </a:lnTo>
                    <a:lnTo>
                      <a:pt x="799" y="308"/>
                    </a:lnTo>
                    <a:lnTo>
                      <a:pt x="804" y="308"/>
                    </a:lnTo>
                    <a:lnTo>
                      <a:pt x="804" y="308"/>
                    </a:lnTo>
                    <a:lnTo>
                      <a:pt x="808" y="308"/>
                    </a:lnTo>
                    <a:lnTo>
                      <a:pt x="808" y="308"/>
                    </a:lnTo>
                    <a:lnTo>
                      <a:pt x="808" y="308"/>
                    </a:lnTo>
                    <a:lnTo>
                      <a:pt x="808" y="308"/>
                    </a:lnTo>
                    <a:lnTo>
                      <a:pt x="808" y="312"/>
                    </a:lnTo>
                    <a:lnTo>
                      <a:pt x="808" y="312"/>
                    </a:lnTo>
                    <a:lnTo>
                      <a:pt x="808" y="312"/>
                    </a:lnTo>
                    <a:lnTo>
                      <a:pt x="813" y="312"/>
                    </a:lnTo>
                    <a:lnTo>
                      <a:pt x="813" y="312"/>
                    </a:lnTo>
                    <a:lnTo>
                      <a:pt x="813" y="317"/>
                    </a:lnTo>
                    <a:lnTo>
                      <a:pt x="813" y="317"/>
                    </a:lnTo>
                    <a:lnTo>
                      <a:pt x="813" y="317"/>
                    </a:lnTo>
                    <a:lnTo>
                      <a:pt x="817" y="321"/>
                    </a:lnTo>
                    <a:lnTo>
                      <a:pt x="817" y="321"/>
                    </a:lnTo>
                    <a:lnTo>
                      <a:pt x="822" y="321"/>
                    </a:lnTo>
                    <a:lnTo>
                      <a:pt x="822" y="321"/>
                    </a:lnTo>
                    <a:lnTo>
                      <a:pt x="822" y="321"/>
                    </a:lnTo>
                    <a:lnTo>
                      <a:pt x="822" y="326"/>
                    </a:lnTo>
                    <a:lnTo>
                      <a:pt x="822" y="326"/>
                    </a:lnTo>
                    <a:lnTo>
                      <a:pt x="817" y="330"/>
                    </a:lnTo>
                    <a:lnTo>
                      <a:pt x="817" y="330"/>
                    </a:lnTo>
                    <a:lnTo>
                      <a:pt x="817" y="330"/>
                    </a:lnTo>
                    <a:lnTo>
                      <a:pt x="817" y="330"/>
                    </a:lnTo>
                    <a:lnTo>
                      <a:pt x="813" y="335"/>
                    </a:lnTo>
                    <a:lnTo>
                      <a:pt x="813" y="335"/>
                    </a:lnTo>
                    <a:lnTo>
                      <a:pt x="817" y="335"/>
                    </a:lnTo>
                    <a:lnTo>
                      <a:pt x="822" y="335"/>
                    </a:lnTo>
                    <a:lnTo>
                      <a:pt x="822" y="335"/>
                    </a:lnTo>
                    <a:lnTo>
                      <a:pt x="826" y="335"/>
                    </a:lnTo>
                    <a:lnTo>
                      <a:pt x="826" y="335"/>
                    </a:lnTo>
                    <a:lnTo>
                      <a:pt x="826" y="335"/>
                    </a:lnTo>
                    <a:lnTo>
                      <a:pt x="826" y="335"/>
                    </a:lnTo>
                    <a:lnTo>
                      <a:pt x="826" y="335"/>
                    </a:lnTo>
                    <a:lnTo>
                      <a:pt x="826" y="335"/>
                    </a:lnTo>
                    <a:lnTo>
                      <a:pt x="826" y="335"/>
                    </a:lnTo>
                    <a:lnTo>
                      <a:pt x="826" y="339"/>
                    </a:lnTo>
                    <a:lnTo>
                      <a:pt x="826" y="339"/>
                    </a:lnTo>
                    <a:lnTo>
                      <a:pt x="826" y="339"/>
                    </a:lnTo>
                    <a:lnTo>
                      <a:pt x="831" y="339"/>
                    </a:lnTo>
                    <a:lnTo>
                      <a:pt x="826" y="339"/>
                    </a:lnTo>
                    <a:lnTo>
                      <a:pt x="826" y="344"/>
                    </a:lnTo>
                    <a:lnTo>
                      <a:pt x="822" y="344"/>
                    </a:lnTo>
                    <a:lnTo>
                      <a:pt x="817" y="344"/>
                    </a:lnTo>
                    <a:lnTo>
                      <a:pt x="817" y="344"/>
                    </a:lnTo>
                    <a:lnTo>
                      <a:pt x="817" y="344"/>
                    </a:lnTo>
                    <a:lnTo>
                      <a:pt x="813" y="344"/>
                    </a:lnTo>
                    <a:lnTo>
                      <a:pt x="813" y="344"/>
                    </a:lnTo>
                    <a:lnTo>
                      <a:pt x="808" y="339"/>
                    </a:lnTo>
                    <a:lnTo>
                      <a:pt x="804" y="339"/>
                    </a:lnTo>
                    <a:lnTo>
                      <a:pt x="804" y="339"/>
                    </a:lnTo>
                    <a:lnTo>
                      <a:pt x="804" y="339"/>
                    </a:lnTo>
                    <a:lnTo>
                      <a:pt x="804" y="335"/>
                    </a:lnTo>
                    <a:lnTo>
                      <a:pt x="804" y="335"/>
                    </a:lnTo>
                    <a:lnTo>
                      <a:pt x="799" y="335"/>
                    </a:lnTo>
                    <a:lnTo>
                      <a:pt x="799" y="335"/>
                    </a:lnTo>
                    <a:lnTo>
                      <a:pt x="799" y="330"/>
                    </a:lnTo>
                    <a:lnTo>
                      <a:pt x="804" y="330"/>
                    </a:lnTo>
                    <a:lnTo>
                      <a:pt x="804" y="330"/>
                    </a:lnTo>
                    <a:lnTo>
                      <a:pt x="799" y="330"/>
                    </a:lnTo>
                    <a:lnTo>
                      <a:pt x="799" y="330"/>
                    </a:lnTo>
                    <a:lnTo>
                      <a:pt x="795" y="330"/>
                    </a:lnTo>
                    <a:lnTo>
                      <a:pt x="795" y="330"/>
                    </a:lnTo>
                    <a:lnTo>
                      <a:pt x="795" y="335"/>
                    </a:lnTo>
                    <a:lnTo>
                      <a:pt x="790" y="335"/>
                    </a:lnTo>
                    <a:lnTo>
                      <a:pt x="790" y="335"/>
                    </a:lnTo>
                    <a:lnTo>
                      <a:pt x="790" y="335"/>
                    </a:lnTo>
                    <a:lnTo>
                      <a:pt x="781" y="339"/>
                    </a:lnTo>
                    <a:lnTo>
                      <a:pt x="781" y="339"/>
                    </a:lnTo>
                    <a:lnTo>
                      <a:pt x="781" y="339"/>
                    </a:lnTo>
                    <a:lnTo>
                      <a:pt x="777" y="339"/>
                    </a:lnTo>
                    <a:lnTo>
                      <a:pt x="777" y="339"/>
                    </a:lnTo>
                    <a:lnTo>
                      <a:pt x="772" y="344"/>
                    </a:lnTo>
                    <a:lnTo>
                      <a:pt x="772" y="344"/>
                    </a:lnTo>
                    <a:lnTo>
                      <a:pt x="772" y="344"/>
                    </a:lnTo>
                    <a:lnTo>
                      <a:pt x="768" y="344"/>
                    </a:lnTo>
                    <a:lnTo>
                      <a:pt x="763" y="348"/>
                    </a:lnTo>
                    <a:lnTo>
                      <a:pt x="759" y="348"/>
                    </a:lnTo>
                    <a:lnTo>
                      <a:pt x="759" y="348"/>
                    </a:lnTo>
                    <a:lnTo>
                      <a:pt x="759" y="348"/>
                    </a:lnTo>
                    <a:lnTo>
                      <a:pt x="759" y="344"/>
                    </a:lnTo>
                    <a:lnTo>
                      <a:pt x="763" y="339"/>
                    </a:lnTo>
                    <a:lnTo>
                      <a:pt x="763" y="335"/>
                    </a:lnTo>
                    <a:lnTo>
                      <a:pt x="763" y="335"/>
                    </a:lnTo>
                    <a:lnTo>
                      <a:pt x="763" y="335"/>
                    </a:lnTo>
                    <a:lnTo>
                      <a:pt x="754" y="335"/>
                    </a:lnTo>
                    <a:lnTo>
                      <a:pt x="754" y="335"/>
                    </a:lnTo>
                    <a:lnTo>
                      <a:pt x="749" y="339"/>
                    </a:lnTo>
                    <a:lnTo>
                      <a:pt x="745" y="339"/>
                    </a:lnTo>
                    <a:lnTo>
                      <a:pt x="745" y="339"/>
                    </a:lnTo>
                    <a:lnTo>
                      <a:pt x="745" y="339"/>
                    </a:lnTo>
                    <a:lnTo>
                      <a:pt x="745" y="339"/>
                    </a:lnTo>
                    <a:lnTo>
                      <a:pt x="745" y="335"/>
                    </a:lnTo>
                    <a:lnTo>
                      <a:pt x="745" y="335"/>
                    </a:lnTo>
                    <a:lnTo>
                      <a:pt x="745" y="335"/>
                    </a:lnTo>
                    <a:lnTo>
                      <a:pt x="749" y="335"/>
                    </a:lnTo>
                    <a:lnTo>
                      <a:pt x="754" y="330"/>
                    </a:lnTo>
                    <a:lnTo>
                      <a:pt x="754" y="330"/>
                    </a:lnTo>
                    <a:lnTo>
                      <a:pt x="763" y="330"/>
                    </a:lnTo>
                    <a:lnTo>
                      <a:pt x="763" y="330"/>
                    </a:lnTo>
                    <a:lnTo>
                      <a:pt x="763" y="330"/>
                    </a:lnTo>
                    <a:lnTo>
                      <a:pt x="763" y="326"/>
                    </a:lnTo>
                    <a:lnTo>
                      <a:pt x="768" y="326"/>
                    </a:lnTo>
                    <a:lnTo>
                      <a:pt x="768" y="326"/>
                    </a:lnTo>
                    <a:lnTo>
                      <a:pt x="768" y="321"/>
                    </a:lnTo>
                    <a:lnTo>
                      <a:pt x="772" y="321"/>
                    </a:lnTo>
                    <a:lnTo>
                      <a:pt x="772" y="317"/>
                    </a:lnTo>
                    <a:lnTo>
                      <a:pt x="777" y="312"/>
                    </a:lnTo>
                    <a:lnTo>
                      <a:pt x="781" y="312"/>
                    </a:lnTo>
                    <a:lnTo>
                      <a:pt x="786" y="303"/>
                    </a:lnTo>
                    <a:lnTo>
                      <a:pt x="790" y="303"/>
                    </a:lnTo>
                    <a:lnTo>
                      <a:pt x="790" y="303"/>
                    </a:lnTo>
                    <a:lnTo>
                      <a:pt x="795" y="298"/>
                    </a:lnTo>
                    <a:lnTo>
                      <a:pt x="799" y="298"/>
                    </a:lnTo>
                    <a:lnTo>
                      <a:pt x="799" y="298"/>
                    </a:lnTo>
                    <a:lnTo>
                      <a:pt x="804" y="294"/>
                    </a:lnTo>
                    <a:lnTo>
                      <a:pt x="804" y="298"/>
                    </a:lnTo>
                    <a:lnTo>
                      <a:pt x="804" y="298"/>
                    </a:lnTo>
                    <a:lnTo>
                      <a:pt x="804" y="298"/>
                    </a:lnTo>
                    <a:lnTo>
                      <a:pt x="804" y="298"/>
                    </a:lnTo>
                    <a:lnTo>
                      <a:pt x="804" y="298"/>
                    </a:lnTo>
                    <a:lnTo>
                      <a:pt x="804" y="298"/>
                    </a:lnTo>
                    <a:lnTo>
                      <a:pt x="804" y="303"/>
                    </a:lnTo>
                    <a:lnTo>
                      <a:pt x="799" y="303"/>
                    </a:lnTo>
                    <a:lnTo>
                      <a:pt x="799" y="303"/>
                    </a:lnTo>
                    <a:lnTo>
                      <a:pt x="799" y="303"/>
                    </a:lnTo>
                    <a:lnTo>
                      <a:pt x="799" y="303"/>
                    </a:lnTo>
                    <a:lnTo>
                      <a:pt x="799" y="308"/>
                    </a:lnTo>
                    <a:lnTo>
                      <a:pt x="799" y="308"/>
                    </a:lnTo>
                    <a:moveTo>
                      <a:pt x="966" y="271"/>
                    </a:moveTo>
                    <a:lnTo>
                      <a:pt x="966" y="271"/>
                    </a:lnTo>
                    <a:lnTo>
                      <a:pt x="962" y="271"/>
                    </a:lnTo>
                    <a:lnTo>
                      <a:pt x="957" y="271"/>
                    </a:lnTo>
                    <a:lnTo>
                      <a:pt x="957" y="271"/>
                    </a:lnTo>
                    <a:lnTo>
                      <a:pt x="957" y="271"/>
                    </a:lnTo>
                    <a:lnTo>
                      <a:pt x="957" y="267"/>
                    </a:lnTo>
                    <a:lnTo>
                      <a:pt x="957" y="267"/>
                    </a:lnTo>
                    <a:lnTo>
                      <a:pt x="957" y="267"/>
                    </a:lnTo>
                    <a:lnTo>
                      <a:pt x="957" y="267"/>
                    </a:lnTo>
                    <a:lnTo>
                      <a:pt x="957" y="267"/>
                    </a:lnTo>
                    <a:lnTo>
                      <a:pt x="962" y="267"/>
                    </a:lnTo>
                    <a:lnTo>
                      <a:pt x="966" y="267"/>
                    </a:lnTo>
                    <a:lnTo>
                      <a:pt x="966" y="267"/>
                    </a:lnTo>
                    <a:lnTo>
                      <a:pt x="971" y="267"/>
                    </a:lnTo>
                    <a:lnTo>
                      <a:pt x="971" y="267"/>
                    </a:lnTo>
                    <a:lnTo>
                      <a:pt x="971" y="267"/>
                    </a:lnTo>
                    <a:lnTo>
                      <a:pt x="971" y="267"/>
                    </a:lnTo>
                    <a:lnTo>
                      <a:pt x="971" y="271"/>
                    </a:lnTo>
                    <a:lnTo>
                      <a:pt x="971" y="271"/>
                    </a:lnTo>
                    <a:lnTo>
                      <a:pt x="971" y="271"/>
                    </a:lnTo>
                    <a:lnTo>
                      <a:pt x="966" y="271"/>
                    </a:lnTo>
                    <a:moveTo>
                      <a:pt x="822" y="262"/>
                    </a:moveTo>
                    <a:lnTo>
                      <a:pt x="822" y="262"/>
                    </a:lnTo>
                    <a:lnTo>
                      <a:pt x="822" y="262"/>
                    </a:lnTo>
                    <a:lnTo>
                      <a:pt x="822" y="262"/>
                    </a:lnTo>
                    <a:lnTo>
                      <a:pt x="817" y="262"/>
                    </a:lnTo>
                    <a:lnTo>
                      <a:pt x="822" y="262"/>
                    </a:lnTo>
                    <a:lnTo>
                      <a:pt x="822" y="258"/>
                    </a:lnTo>
                    <a:lnTo>
                      <a:pt x="822" y="258"/>
                    </a:lnTo>
                    <a:lnTo>
                      <a:pt x="822" y="258"/>
                    </a:lnTo>
                    <a:lnTo>
                      <a:pt x="822" y="258"/>
                    </a:lnTo>
                    <a:lnTo>
                      <a:pt x="822" y="258"/>
                    </a:lnTo>
                    <a:lnTo>
                      <a:pt x="822" y="258"/>
                    </a:lnTo>
                    <a:lnTo>
                      <a:pt x="822" y="253"/>
                    </a:lnTo>
                    <a:lnTo>
                      <a:pt x="826" y="253"/>
                    </a:lnTo>
                    <a:lnTo>
                      <a:pt x="826" y="253"/>
                    </a:lnTo>
                    <a:lnTo>
                      <a:pt x="826" y="253"/>
                    </a:lnTo>
                    <a:lnTo>
                      <a:pt x="831" y="253"/>
                    </a:lnTo>
                    <a:lnTo>
                      <a:pt x="831" y="253"/>
                    </a:lnTo>
                    <a:lnTo>
                      <a:pt x="831" y="253"/>
                    </a:lnTo>
                    <a:lnTo>
                      <a:pt x="831" y="253"/>
                    </a:lnTo>
                    <a:lnTo>
                      <a:pt x="831" y="253"/>
                    </a:lnTo>
                    <a:lnTo>
                      <a:pt x="831" y="258"/>
                    </a:lnTo>
                    <a:lnTo>
                      <a:pt x="826" y="258"/>
                    </a:lnTo>
                    <a:lnTo>
                      <a:pt x="826" y="258"/>
                    </a:lnTo>
                    <a:lnTo>
                      <a:pt x="826" y="258"/>
                    </a:lnTo>
                    <a:lnTo>
                      <a:pt x="826" y="262"/>
                    </a:lnTo>
                    <a:lnTo>
                      <a:pt x="822" y="262"/>
                    </a:lnTo>
                    <a:lnTo>
                      <a:pt x="822" y="262"/>
                    </a:lnTo>
                    <a:lnTo>
                      <a:pt x="822" y="262"/>
                    </a:lnTo>
                    <a:moveTo>
                      <a:pt x="953" y="262"/>
                    </a:moveTo>
                    <a:lnTo>
                      <a:pt x="953" y="262"/>
                    </a:lnTo>
                    <a:lnTo>
                      <a:pt x="957" y="262"/>
                    </a:lnTo>
                    <a:lnTo>
                      <a:pt x="957" y="262"/>
                    </a:lnTo>
                    <a:lnTo>
                      <a:pt x="957" y="262"/>
                    </a:lnTo>
                    <a:lnTo>
                      <a:pt x="957" y="262"/>
                    </a:lnTo>
                    <a:lnTo>
                      <a:pt x="957" y="267"/>
                    </a:lnTo>
                    <a:lnTo>
                      <a:pt x="953" y="267"/>
                    </a:lnTo>
                    <a:lnTo>
                      <a:pt x="953" y="267"/>
                    </a:lnTo>
                    <a:lnTo>
                      <a:pt x="953" y="267"/>
                    </a:lnTo>
                    <a:lnTo>
                      <a:pt x="948" y="271"/>
                    </a:lnTo>
                    <a:lnTo>
                      <a:pt x="948" y="271"/>
                    </a:lnTo>
                    <a:lnTo>
                      <a:pt x="948" y="276"/>
                    </a:lnTo>
                    <a:lnTo>
                      <a:pt x="944" y="276"/>
                    </a:lnTo>
                    <a:lnTo>
                      <a:pt x="944" y="276"/>
                    </a:lnTo>
                    <a:lnTo>
                      <a:pt x="939" y="280"/>
                    </a:lnTo>
                    <a:lnTo>
                      <a:pt x="935" y="280"/>
                    </a:lnTo>
                    <a:lnTo>
                      <a:pt x="930" y="280"/>
                    </a:lnTo>
                    <a:lnTo>
                      <a:pt x="930" y="280"/>
                    </a:lnTo>
                    <a:lnTo>
                      <a:pt x="926" y="280"/>
                    </a:lnTo>
                    <a:lnTo>
                      <a:pt x="921" y="280"/>
                    </a:lnTo>
                    <a:lnTo>
                      <a:pt x="921" y="280"/>
                    </a:lnTo>
                    <a:lnTo>
                      <a:pt x="921" y="280"/>
                    </a:lnTo>
                    <a:lnTo>
                      <a:pt x="921" y="276"/>
                    </a:lnTo>
                    <a:lnTo>
                      <a:pt x="921" y="276"/>
                    </a:lnTo>
                    <a:lnTo>
                      <a:pt x="921" y="276"/>
                    </a:lnTo>
                    <a:lnTo>
                      <a:pt x="926" y="271"/>
                    </a:lnTo>
                    <a:lnTo>
                      <a:pt x="926" y="271"/>
                    </a:lnTo>
                    <a:lnTo>
                      <a:pt x="926" y="267"/>
                    </a:lnTo>
                    <a:lnTo>
                      <a:pt x="930" y="267"/>
                    </a:lnTo>
                    <a:lnTo>
                      <a:pt x="935" y="262"/>
                    </a:lnTo>
                    <a:lnTo>
                      <a:pt x="939" y="262"/>
                    </a:lnTo>
                    <a:lnTo>
                      <a:pt x="939" y="262"/>
                    </a:lnTo>
                    <a:lnTo>
                      <a:pt x="939" y="262"/>
                    </a:lnTo>
                    <a:lnTo>
                      <a:pt x="944" y="262"/>
                    </a:lnTo>
                    <a:lnTo>
                      <a:pt x="948" y="262"/>
                    </a:lnTo>
                    <a:lnTo>
                      <a:pt x="948" y="262"/>
                    </a:lnTo>
                    <a:lnTo>
                      <a:pt x="948" y="262"/>
                    </a:lnTo>
                    <a:lnTo>
                      <a:pt x="948" y="262"/>
                    </a:lnTo>
                    <a:lnTo>
                      <a:pt x="953" y="262"/>
                    </a:lnTo>
                    <a:moveTo>
                      <a:pt x="921" y="249"/>
                    </a:moveTo>
                    <a:lnTo>
                      <a:pt x="921" y="249"/>
                    </a:lnTo>
                    <a:lnTo>
                      <a:pt x="921" y="249"/>
                    </a:lnTo>
                    <a:lnTo>
                      <a:pt x="921" y="249"/>
                    </a:lnTo>
                    <a:lnTo>
                      <a:pt x="921" y="249"/>
                    </a:lnTo>
                    <a:lnTo>
                      <a:pt x="921" y="249"/>
                    </a:lnTo>
                    <a:lnTo>
                      <a:pt x="921" y="249"/>
                    </a:lnTo>
                    <a:lnTo>
                      <a:pt x="921" y="244"/>
                    </a:lnTo>
                    <a:lnTo>
                      <a:pt x="921" y="244"/>
                    </a:lnTo>
                    <a:lnTo>
                      <a:pt x="926" y="244"/>
                    </a:lnTo>
                    <a:lnTo>
                      <a:pt x="926" y="244"/>
                    </a:lnTo>
                    <a:lnTo>
                      <a:pt x="930" y="244"/>
                    </a:lnTo>
                    <a:lnTo>
                      <a:pt x="930" y="244"/>
                    </a:lnTo>
                    <a:lnTo>
                      <a:pt x="930" y="240"/>
                    </a:lnTo>
                    <a:lnTo>
                      <a:pt x="935" y="240"/>
                    </a:lnTo>
                    <a:lnTo>
                      <a:pt x="935" y="240"/>
                    </a:lnTo>
                    <a:lnTo>
                      <a:pt x="935" y="240"/>
                    </a:lnTo>
                    <a:lnTo>
                      <a:pt x="935" y="240"/>
                    </a:lnTo>
                    <a:lnTo>
                      <a:pt x="935" y="240"/>
                    </a:lnTo>
                    <a:lnTo>
                      <a:pt x="935" y="240"/>
                    </a:lnTo>
                    <a:lnTo>
                      <a:pt x="935" y="240"/>
                    </a:lnTo>
                    <a:lnTo>
                      <a:pt x="939" y="240"/>
                    </a:lnTo>
                    <a:lnTo>
                      <a:pt x="939" y="240"/>
                    </a:lnTo>
                    <a:lnTo>
                      <a:pt x="939" y="240"/>
                    </a:lnTo>
                    <a:lnTo>
                      <a:pt x="939" y="240"/>
                    </a:lnTo>
                    <a:lnTo>
                      <a:pt x="939" y="240"/>
                    </a:lnTo>
                    <a:lnTo>
                      <a:pt x="939" y="240"/>
                    </a:lnTo>
                    <a:lnTo>
                      <a:pt x="939" y="240"/>
                    </a:lnTo>
                    <a:lnTo>
                      <a:pt x="935" y="244"/>
                    </a:lnTo>
                    <a:lnTo>
                      <a:pt x="935" y="244"/>
                    </a:lnTo>
                    <a:lnTo>
                      <a:pt x="935" y="244"/>
                    </a:lnTo>
                    <a:lnTo>
                      <a:pt x="935" y="244"/>
                    </a:lnTo>
                    <a:lnTo>
                      <a:pt x="930" y="244"/>
                    </a:lnTo>
                    <a:lnTo>
                      <a:pt x="930" y="244"/>
                    </a:lnTo>
                    <a:lnTo>
                      <a:pt x="926" y="249"/>
                    </a:lnTo>
                    <a:lnTo>
                      <a:pt x="926" y="249"/>
                    </a:lnTo>
                    <a:lnTo>
                      <a:pt x="926" y="249"/>
                    </a:lnTo>
                    <a:lnTo>
                      <a:pt x="921" y="249"/>
                    </a:lnTo>
                    <a:moveTo>
                      <a:pt x="740" y="217"/>
                    </a:moveTo>
                    <a:lnTo>
                      <a:pt x="740" y="217"/>
                    </a:lnTo>
                    <a:lnTo>
                      <a:pt x="740" y="217"/>
                    </a:lnTo>
                    <a:lnTo>
                      <a:pt x="740" y="217"/>
                    </a:lnTo>
                    <a:lnTo>
                      <a:pt x="740" y="217"/>
                    </a:lnTo>
                    <a:lnTo>
                      <a:pt x="740" y="217"/>
                    </a:lnTo>
                    <a:lnTo>
                      <a:pt x="740" y="217"/>
                    </a:lnTo>
                    <a:lnTo>
                      <a:pt x="745" y="222"/>
                    </a:lnTo>
                    <a:lnTo>
                      <a:pt x="745" y="222"/>
                    </a:lnTo>
                    <a:lnTo>
                      <a:pt x="745" y="222"/>
                    </a:lnTo>
                    <a:lnTo>
                      <a:pt x="745" y="222"/>
                    </a:lnTo>
                    <a:lnTo>
                      <a:pt x="745" y="226"/>
                    </a:lnTo>
                    <a:lnTo>
                      <a:pt x="745" y="226"/>
                    </a:lnTo>
                    <a:lnTo>
                      <a:pt x="745" y="231"/>
                    </a:lnTo>
                    <a:lnTo>
                      <a:pt x="745" y="231"/>
                    </a:lnTo>
                    <a:lnTo>
                      <a:pt x="745" y="231"/>
                    </a:lnTo>
                    <a:lnTo>
                      <a:pt x="745" y="235"/>
                    </a:lnTo>
                    <a:lnTo>
                      <a:pt x="745" y="235"/>
                    </a:lnTo>
                    <a:lnTo>
                      <a:pt x="745" y="235"/>
                    </a:lnTo>
                    <a:lnTo>
                      <a:pt x="745" y="235"/>
                    </a:lnTo>
                    <a:lnTo>
                      <a:pt x="745" y="235"/>
                    </a:lnTo>
                    <a:lnTo>
                      <a:pt x="745" y="235"/>
                    </a:lnTo>
                    <a:lnTo>
                      <a:pt x="745" y="235"/>
                    </a:lnTo>
                    <a:lnTo>
                      <a:pt x="745" y="235"/>
                    </a:lnTo>
                    <a:lnTo>
                      <a:pt x="745" y="235"/>
                    </a:lnTo>
                    <a:lnTo>
                      <a:pt x="740" y="235"/>
                    </a:lnTo>
                    <a:lnTo>
                      <a:pt x="740" y="235"/>
                    </a:lnTo>
                    <a:lnTo>
                      <a:pt x="740" y="235"/>
                    </a:lnTo>
                    <a:lnTo>
                      <a:pt x="736" y="240"/>
                    </a:lnTo>
                    <a:lnTo>
                      <a:pt x="736" y="240"/>
                    </a:lnTo>
                    <a:lnTo>
                      <a:pt x="731" y="240"/>
                    </a:lnTo>
                    <a:lnTo>
                      <a:pt x="727" y="240"/>
                    </a:lnTo>
                    <a:lnTo>
                      <a:pt x="727" y="240"/>
                    </a:lnTo>
                    <a:lnTo>
                      <a:pt x="722" y="240"/>
                    </a:lnTo>
                    <a:lnTo>
                      <a:pt x="718" y="240"/>
                    </a:lnTo>
                    <a:lnTo>
                      <a:pt x="718" y="240"/>
                    </a:lnTo>
                    <a:lnTo>
                      <a:pt x="718" y="235"/>
                    </a:lnTo>
                    <a:lnTo>
                      <a:pt x="718" y="235"/>
                    </a:lnTo>
                    <a:lnTo>
                      <a:pt x="713" y="235"/>
                    </a:lnTo>
                    <a:lnTo>
                      <a:pt x="713" y="235"/>
                    </a:lnTo>
                    <a:lnTo>
                      <a:pt x="713" y="235"/>
                    </a:lnTo>
                    <a:lnTo>
                      <a:pt x="713" y="231"/>
                    </a:lnTo>
                    <a:lnTo>
                      <a:pt x="713" y="231"/>
                    </a:lnTo>
                    <a:lnTo>
                      <a:pt x="713" y="231"/>
                    </a:lnTo>
                    <a:lnTo>
                      <a:pt x="713" y="231"/>
                    </a:lnTo>
                    <a:lnTo>
                      <a:pt x="713" y="231"/>
                    </a:lnTo>
                    <a:lnTo>
                      <a:pt x="713" y="231"/>
                    </a:lnTo>
                    <a:lnTo>
                      <a:pt x="709" y="231"/>
                    </a:lnTo>
                    <a:lnTo>
                      <a:pt x="709" y="231"/>
                    </a:lnTo>
                    <a:lnTo>
                      <a:pt x="709" y="231"/>
                    </a:lnTo>
                    <a:lnTo>
                      <a:pt x="709" y="231"/>
                    </a:lnTo>
                    <a:lnTo>
                      <a:pt x="709" y="231"/>
                    </a:lnTo>
                    <a:lnTo>
                      <a:pt x="709" y="231"/>
                    </a:lnTo>
                    <a:lnTo>
                      <a:pt x="709" y="231"/>
                    </a:lnTo>
                    <a:lnTo>
                      <a:pt x="709" y="231"/>
                    </a:lnTo>
                    <a:lnTo>
                      <a:pt x="709" y="231"/>
                    </a:lnTo>
                    <a:lnTo>
                      <a:pt x="709" y="231"/>
                    </a:lnTo>
                    <a:lnTo>
                      <a:pt x="709" y="231"/>
                    </a:lnTo>
                    <a:lnTo>
                      <a:pt x="709" y="231"/>
                    </a:lnTo>
                    <a:lnTo>
                      <a:pt x="704" y="231"/>
                    </a:lnTo>
                    <a:lnTo>
                      <a:pt x="704" y="231"/>
                    </a:lnTo>
                    <a:lnTo>
                      <a:pt x="704" y="231"/>
                    </a:lnTo>
                    <a:lnTo>
                      <a:pt x="704" y="231"/>
                    </a:lnTo>
                    <a:lnTo>
                      <a:pt x="704" y="226"/>
                    </a:lnTo>
                    <a:lnTo>
                      <a:pt x="704" y="226"/>
                    </a:lnTo>
                    <a:lnTo>
                      <a:pt x="709" y="226"/>
                    </a:lnTo>
                    <a:lnTo>
                      <a:pt x="709" y="226"/>
                    </a:lnTo>
                    <a:lnTo>
                      <a:pt x="713" y="226"/>
                    </a:lnTo>
                    <a:lnTo>
                      <a:pt x="713" y="226"/>
                    </a:lnTo>
                    <a:lnTo>
                      <a:pt x="718" y="226"/>
                    </a:lnTo>
                    <a:lnTo>
                      <a:pt x="722" y="222"/>
                    </a:lnTo>
                    <a:lnTo>
                      <a:pt x="722" y="222"/>
                    </a:lnTo>
                    <a:lnTo>
                      <a:pt x="722" y="222"/>
                    </a:lnTo>
                    <a:lnTo>
                      <a:pt x="722" y="222"/>
                    </a:lnTo>
                    <a:lnTo>
                      <a:pt x="722" y="222"/>
                    </a:lnTo>
                    <a:lnTo>
                      <a:pt x="722" y="222"/>
                    </a:lnTo>
                    <a:lnTo>
                      <a:pt x="727" y="222"/>
                    </a:lnTo>
                    <a:lnTo>
                      <a:pt x="727" y="222"/>
                    </a:lnTo>
                    <a:lnTo>
                      <a:pt x="727" y="222"/>
                    </a:lnTo>
                    <a:lnTo>
                      <a:pt x="727" y="222"/>
                    </a:lnTo>
                    <a:lnTo>
                      <a:pt x="727" y="222"/>
                    </a:lnTo>
                    <a:lnTo>
                      <a:pt x="727" y="217"/>
                    </a:lnTo>
                    <a:lnTo>
                      <a:pt x="727" y="217"/>
                    </a:lnTo>
                    <a:lnTo>
                      <a:pt x="727" y="217"/>
                    </a:lnTo>
                    <a:lnTo>
                      <a:pt x="727" y="222"/>
                    </a:lnTo>
                    <a:lnTo>
                      <a:pt x="727" y="222"/>
                    </a:lnTo>
                    <a:lnTo>
                      <a:pt x="731" y="222"/>
                    </a:lnTo>
                    <a:lnTo>
                      <a:pt x="731" y="222"/>
                    </a:lnTo>
                    <a:lnTo>
                      <a:pt x="731" y="217"/>
                    </a:lnTo>
                    <a:lnTo>
                      <a:pt x="731" y="217"/>
                    </a:lnTo>
                    <a:lnTo>
                      <a:pt x="731" y="217"/>
                    </a:lnTo>
                    <a:lnTo>
                      <a:pt x="731" y="217"/>
                    </a:lnTo>
                    <a:lnTo>
                      <a:pt x="736" y="217"/>
                    </a:lnTo>
                    <a:lnTo>
                      <a:pt x="736" y="217"/>
                    </a:lnTo>
                    <a:lnTo>
                      <a:pt x="736" y="217"/>
                    </a:lnTo>
                    <a:lnTo>
                      <a:pt x="740" y="213"/>
                    </a:lnTo>
                    <a:lnTo>
                      <a:pt x="740" y="213"/>
                    </a:lnTo>
                    <a:lnTo>
                      <a:pt x="740" y="217"/>
                    </a:lnTo>
                    <a:lnTo>
                      <a:pt x="740" y="217"/>
                    </a:lnTo>
                    <a:lnTo>
                      <a:pt x="740" y="217"/>
                    </a:lnTo>
                    <a:lnTo>
                      <a:pt x="740" y="217"/>
                    </a:lnTo>
                    <a:lnTo>
                      <a:pt x="740" y="217"/>
                    </a:lnTo>
                    <a:lnTo>
                      <a:pt x="740" y="217"/>
                    </a:lnTo>
                    <a:lnTo>
                      <a:pt x="740" y="217"/>
                    </a:lnTo>
                    <a:lnTo>
                      <a:pt x="740" y="217"/>
                    </a:lnTo>
                    <a:moveTo>
                      <a:pt x="673" y="696"/>
                    </a:moveTo>
                    <a:lnTo>
                      <a:pt x="673" y="696"/>
                    </a:lnTo>
                    <a:lnTo>
                      <a:pt x="673" y="696"/>
                    </a:lnTo>
                    <a:lnTo>
                      <a:pt x="673" y="696"/>
                    </a:lnTo>
                    <a:lnTo>
                      <a:pt x="668" y="696"/>
                    </a:lnTo>
                    <a:lnTo>
                      <a:pt x="668" y="701"/>
                    </a:lnTo>
                    <a:lnTo>
                      <a:pt x="664" y="701"/>
                    </a:lnTo>
                    <a:lnTo>
                      <a:pt x="655" y="705"/>
                    </a:lnTo>
                    <a:lnTo>
                      <a:pt x="655" y="705"/>
                    </a:lnTo>
                    <a:lnTo>
                      <a:pt x="650" y="710"/>
                    </a:lnTo>
                    <a:lnTo>
                      <a:pt x="650" y="710"/>
                    </a:lnTo>
                    <a:lnTo>
                      <a:pt x="646" y="710"/>
                    </a:lnTo>
                    <a:lnTo>
                      <a:pt x="646" y="710"/>
                    </a:lnTo>
                    <a:lnTo>
                      <a:pt x="646" y="710"/>
                    </a:lnTo>
                    <a:lnTo>
                      <a:pt x="641" y="714"/>
                    </a:lnTo>
                    <a:lnTo>
                      <a:pt x="637" y="714"/>
                    </a:lnTo>
                    <a:lnTo>
                      <a:pt x="632" y="719"/>
                    </a:lnTo>
                    <a:lnTo>
                      <a:pt x="632" y="723"/>
                    </a:lnTo>
                    <a:lnTo>
                      <a:pt x="628" y="723"/>
                    </a:lnTo>
                    <a:lnTo>
                      <a:pt x="623" y="723"/>
                    </a:lnTo>
                    <a:lnTo>
                      <a:pt x="618" y="723"/>
                    </a:lnTo>
                    <a:lnTo>
                      <a:pt x="614" y="723"/>
                    </a:lnTo>
                    <a:lnTo>
                      <a:pt x="609" y="719"/>
                    </a:lnTo>
                    <a:lnTo>
                      <a:pt x="605" y="719"/>
                    </a:lnTo>
                    <a:lnTo>
                      <a:pt x="600" y="719"/>
                    </a:lnTo>
                    <a:lnTo>
                      <a:pt x="600" y="723"/>
                    </a:lnTo>
                    <a:lnTo>
                      <a:pt x="596" y="723"/>
                    </a:lnTo>
                    <a:lnTo>
                      <a:pt x="596" y="723"/>
                    </a:lnTo>
                    <a:lnTo>
                      <a:pt x="596" y="728"/>
                    </a:lnTo>
                    <a:lnTo>
                      <a:pt x="596" y="728"/>
                    </a:lnTo>
                    <a:lnTo>
                      <a:pt x="591" y="733"/>
                    </a:lnTo>
                    <a:lnTo>
                      <a:pt x="591" y="733"/>
                    </a:lnTo>
                    <a:lnTo>
                      <a:pt x="591" y="733"/>
                    </a:lnTo>
                    <a:lnTo>
                      <a:pt x="591" y="733"/>
                    </a:lnTo>
                    <a:lnTo>
                      <a:pt x="591" y="733"/>
                    </a:lnTo>
                    <a:lnTo>
                      <a:pt x="591" y="733"/>
                    </a:lnTo>
                    <a:lnTo>
                      <a:pt x="591" y="733"/>
                    </a:lnTo>
                    <a:lnTo>
                      <a:pt x="591" y="733"/>
                    </a:lnTo>
                    <a:lnTo>
                      <a:pt x="591" y="733"/>
                    </a:lnTo>
                    <a:lnTo>
                      <a:pt x="591" y="737"/>
                    </a:lnTo>
                    <a:lnTo>
                      <a:pt x="591" y="737"/>
                    </a:lnTo>
                    <a:lnTo>
                      <a:pt x="587" y="737"/>
                    </a:lnTo>
                    <a:lnTo>
                      <a:pt x="582" y="737"/>
                    </a:lnTo>
                    <a:lnTo>
                      <a:pt x="578" y="742"/>
                    </a:lnTo>
                    <a:lnTo>
                      <a:pt x="573" y="742"/>
                    </a:lnTo>
                    <a:lnTo>
                      <a:pt x="569" y="742"/>
                    </a:lnTo>
                    <a:lnTo>
                      <a:pt x="560" y="746"/>
                    </a:lnTo>
                    <a:lnTo>
                      <a:pt x="555" y="746"/>
                    </a:lnTo>
                    <a:lnTo>
                      <a:pt x="551" y="746"/>
                    </a:lnTo>
                    <a:lnTo>
                      <a:pt x="546" y="746"/>
                    </a:lnTo>
                    <a:lnTo>
                      <a:pt x="542" y="751"/>
                    </a:lnTo>
                    <a:lnTo>
                      <a:pt x="537" y="751"/>
                    </a:lnTo>
                    <a:lnTo>
                      <a:pt x="533" y="755"/>
                    </a:lnTo>
                    <a:lnTo>
                      <a:pt x="528" y="755"/>
                    </a:lnTo>
                    <a:lnTo>
                      <a:pt x="524" y="755"/>
                    </a:lnTo>
                    <a:lnTo>
                      <a:pt x="524" y="755"/>
                    </a:lnTo>
                    <a:lnTo>
                      <a:pt x="519" y="751"/>
                    </a:lnTo>
                    <a:lnTo>
                      <a:pt x="519" y="751"/>
                    </a:lnTo>
                    <a:lnTo>
                      <a:pt x="524" y="746"/>
                    </a:lnTo>
                    <a:lnTo>
                      <a:pt x="524" y="742"/>
                    </a:lnTo>
                    <a:lnTo>
                      <a:pt x="524" y="742"/>
                    </a:lnTo>
                    <a:lnTo>
                      <a:pt x="524" y="742"/>
                    </a:lnTo>
                    <a:lnTo>
                      <a:pt x="528" y="742"/>
                    </a:lnTo>
                    <a:lnTo>
                      <a:pt x="533" y="737"/>
                    </a:lnTo>
                    <a:lnTo>
                      <a:pt x="533" y="737"/>
                    </a:lnTo>
                    <a:lnTo>
                      <a:pt x="537" y="737"/>
                    </a:lnTo>
                    <a:lnTo>
                      <a:pt x="537" y="733"/>
                    </a:lnTo>
                    <a:lnTo>
                      <a:pt x="542" y="728"/>
                    </a:lnTo>
                    <a:lnTo>
                      <a:pt x="542" y="728"/>
                    </a:lnTo>
                    <a:lnTo>
                      <a:pt x="546" y="723"/>
                    </a:lnTo>
                    <a:lnTo>
                      <a:pt x="551" y="719"/>
                    </a:lnTo>
                    <a:lnTo>
                      <a:pt x="551" y="719"/>
                    </a:lnTo>
                    <a:lnTo>
                      <a:pt x="551" y="714"/>
                    </a:lnTo>
                    <a:lnTo>
                      <a:pt x="555" y="710"/>
                    </a:lnTo>
                    <a:lnTo>
                      <a:pt x="555" y="705"/>
                    </a:lnTo>
                    <a:lnTo>
                      <a:pt x="555" y="701"/>
                    </a:lnTo>
                    <a:lnTo>
                      <a:pt x="560" y="701"/>
                    </a:lnTo>
                    <a:lnTo>
                      <a:pt x="560" y="696"/>
                    </a:lnTo>
                    <a:lnTo>
                      <a:pt x="560" y="692"/>
                    </a:lnTo>
                    <a:lnTo>
                      <a:pt x="560" y="687"/>
                    </a:lnTo>
                    <a:lnTo>
                      <a:pt x="564" y="687"/>
                    </a:lnTo>
                    <a:lnTo>
                      <a:pt x="564" y="683"/>
                    </a:lnTo>
                    <a:lnTo>
                      <a:pt x="560" y="683"/>
                    </a:lnTo>
                    <a:lnTo>
                      <a:pt x="560" y="683"/>
                    </a:lnTo>
                    <a:lnTo>
                      <a:pt x="555" y="678"/>
                    </a:lnTo>
                    <a:lnTo>
                      <a:pt x="555" y="678"/>
                    </a:lnTo>
                    <a:lnTo>
                      <a:pt x="551" y="674"/>
                    </a:lnTo>
                    <a:lnTo>
                      <a:pt x="555" y="669"/>
                    </a:lnTo>
                    <a:lnTo>
                      <a:pt x="555" y="669"/>
                    </a:lnTo>
                    <a:lnTo>
                      <a:pt x="555" y="669"/>
                    </a:lnTo>
                    <a:lnTo>
                      <a:pt x="555" y="669"/>
                    </a:lnTo>
                    <a:lnTo>
                      <a:pt x="555" y="669"/>
                    </a:lnTo>
                    <a:lnTo>
                      <a:pt x="555" y="669"/>
                    </a:lnTo>
                    <a:lnTo>
                      <a:pt x="551" y="669"/>
                    </a:lnTo>
                    <a:lnTo>
                      <a:pt x="551" y="669"/>
                    </a:lnTo>
                    <a:lnTo>
                      <a:pt x="551" y="669"/>
                    </a:lnTo>
                    <a:lnTo>
                      <a:pt x="551" y="665"/>
                    </a:lnTo>
                    <a:lnTo>
                      <a:pt x="551" y="665"/>
                    </a:lnTo>
                    <a:lnTo>
                      <a:pt x="551" y="665"/>
                    </a:lnTo>
                    <a:lnTo>
                      <a:pt x="551" y="660"/>
                    </a:lnTo>
                    <a:lnTo>
                      <a:pt x="551" y="660"/>
                    </a:lnTo>
                    <a:lnTo>
                      <a:pt x="551" y="660"/>
                    </a:lnTo>
                    <a:lnTo>
                      <a:pt x="551" y="660"/>
                    </a:lnTo>
                    <a:lnTo>
                      <a:pt x="551" y="660"/>
                    </a:lnTo>
                    <a:lnTo>
                      <a:pt x="551" y="660"/>
                    </a:lnTo>
                    <a:lnTo>
                      <a:pt x="551" y="660"/>
                    </a:lnTo>
                    <a:lnTo>
                      <a:pt x="551" y="660"/>
                    </a:lnTo>
                    <a:lnTo>
                      <a:pt x="546" y="660"/>
                    </a:lnTo>
                    <a:lnTo>
                      <a:pt x="546" y="660"/>
                    </a:lnTo>
                    <a:lnTo>
                      <a:pt x="546" y="660"/>
                    </a:lnTo>
                    <a:lnTo>
                      <a:pt x="546" y="660"/>
                    </a:lnTo>
                    <a:lnTo>
                      <a:pt x="546" y="656"/>
                    </a:lnTo>
                    <a:lnTo>
                      <a:pt x="546" y="656"/>
                    </a:lnTo>
                    <a:lnTo>
                      <a:pt x="546" y="651"/>
                    </a:lnTo>
                    <a:lnTo>
                      <a:pt x="546" y="651"/>
                    </a:lnTo>
                    <a:lnTo>
                      <a:pt x="542" y="647"/>
                    </a:lnTo>
                    <a:lnTo>
                      <a:pt x="542" y="647"/>
                    </a:lnTo>
                    <a:lnTo>
                      <a:pt x="537" y="647"/>
                    </a:lnTo>
                    <a:lnTo>
                      <a:pt x="537" y="642"/>
                    </a:lnTo>
                    <a:lnTo>
                      <a:pt x="537" y="642"/>
                    </a:lnTo>
                    <a:lnTo>
                      <a:pt x="533" y="642"/>
                    </a:lnTo>
                    <a:lnTo>
                      <a:pt x="533" y="638"/>
                    </a:lnTo>
                    <a:lnTo>
                      <a:pt x="533" y="638"/>
                    </a:lnTo>
                    <a:lnTo>
                      <a:pt x="528" y="638"/>
                    </a:lnTo>
                    <a:lnTo>
                      <a:pt x="528" y="633"/>
                    </a:lnTo>
                    <a:lnTo>
                      <a:pt x="524" y="633"/>
                    </a:lnTo>
                    <a:lnTo>
                      <a:pt x="519" y="629"/>
                    </a:lnTo>
                    <a:lnTo>
                      <a:pt x="519" y="629"/>
                    </a:lnTo>
                    <a:lnTo>
                      <a:pt x="519" y="624"/>
                    </a:lnTo>
                    <a:lnTo>
                      <a:pt x="515" y="624"/>
                    </a:lnTo>
                    <a:lnTo>
                      <a:pt x="515" y="624"/>
                    </a:lnTo>
                    <a:lnTo>
                      <a:pt x="515" y="624"/>
                    </a:lnTo>
                    <a:lnTo>
                      <a:pt x="510" y="624"/>
                    </a:lnTo>
                    <a:lnTo>
                      <a:pt x="506" y="624"/>
                    </a:lnTo>
                    <a:lnTo>
                      <a:pt x="501" y="624"/>
                    </a:lnTo>
                    <a:lnTo>
                      <a:pt x="496" y="624"/>
                    </a:lnTo>
                    <a:lnTo>
                      <a:pt x="496" y="629"/>
                    </a:lnTo>
                    <a:lnTo>
                      <a:pt x="492" y="629"/>
                    </a:lnTo>
                    <a:lnTo>
                      <a:pt x="492" y="629"/>
                    </a:lnTo>
                    <a:lnTo>
                      <a:pt x="487" y="624"/>
                    </a:lnTo>
                    <a:lnTo>
                      <a:pt x="487" y="629"/>
                    </a:lnTo>
                    <a:lnTo>
                      <a:pt x="487" y="624"/>
                    </a:lnTo>
                    <a:lnTo>
                      <a:pt x="487" y="624"/>
                    </a:lnTo>
                    <a:lnTo>
                      <a:pt x="487" y="624"/>
                    </a:lnTo>
                    <a:lnTo>
                      <a:pt x="483" y="624"/>
                    </a:lnTo>
                    <a:lnTo>
                      <a:pt x="478" y="624"/>
                    </a:lnTo>
                    <a:lnTo>
                      <a:pt x="478" y="624"/>
                    </a:lnTo>
                    <a:lnTo>
                      <a:pt x="478" y="624"/>
                    </a:lnTo>
                    <a:lnTo>
                      <a:pt x="478" y="619"/>
                    </a:lnTo>
                    <a:lnTo>
                      <a:pt x="474" y="619"/>
                    </a:lnTo>
                    <a:lnTo>
                      <a:pt x="474" y="619"/>
                    </a:lnTo>
                    <a:lnTo>
                      <a:pt x="469" y="624"/>
                    </a:lnTo>
                    <a:lnTo>
                      <a:pt x="469" y="624"/>
                    </a:lnTo>
                    <a:lnTo>
                      <a:pt x="465" y="624"/>
                    </a:lnTo>
                    <a:lnTo>
                      <a:pt x="465" y="624"/>
                    </a:lnTo>
                    <a:lnTo>
                      <a:pt x="460" y="619"/>
                    </a:lnTo>
                    <a:lnTo>
                      <a:pt x="460" y="619"/>
                    </a:lnTo>
                    <a:lnTo>
                      <a:pt x="460" y="619"/>
                    </a:lnTo>
                    <a:lnTo>
                      <a:pt x="456" y="619"/>
                    </a:lnTo>
                    <a:lnTo>
                      <a:pt x="456" y="619"/>
                    </a:lnTo>
                    <a:lnTo>
                      <a:pt x="456" y="619"/>
                    </a:lnTo>
                    <a:lnTo>
                      <a:pt x="456" y="615"/>
                    </a:lnTo>
                    <a:lnTo>
                      <a:pt x="456" y="615"/>
                    </a:lnTo>
                    <a:lnTo>
                      <a:pt x="456" y="615"/>
                    </a:lnTo>
                    <a:lnTo>
                      <a:pt x="456" y="615"/>
                    </a:lnTo>
                    <a:lnTo>
                      <a:pt x="451" y="610"/>
                    </a:lnTo>
                    <a:lnTo>
                      <a:pt x="451" y="610"/>
                    </a:lnTo>
                    <a:lnTo>
                      <a:pt x="451" y="610"/>
                    </a:lnTo>
                    <a:lnTo>
                      <a:pt x="451" y="610"/>
                    </a:lnTo>
                    <a:lnTo>
                      <a:pt x="447" y="610"/>
                    </a:lnTo>
                    <a:lnTo>
                      <a:pt x="447" y="610"/>
                    </a:lnTo>
                    <a:lnTo>
                      <a:pt x="447" y="610"/>
                    </a:lnTo>
                    <a:lnTo>
                      <a:pt x="447" y="610"/>
                    </a:lnTo>
                    <a:lnTo>
                      <a:pt x="447" y="610"/>
                    </a:lnTo>
                    <a:lnTo>
                      <a:pt x="442" y="610"/>
                    </a:lnTo>
                    <a:lnTo>
                      <a:pt x="442" y="610"/>
                    </a:lnTo>
                    <a:lnTo>
                      <a:pt x="442" y="610"/>
                    </a:lnTo>
                    <a:lnTo>
                      <a:pt x="438" y="610"/>
                    </a:lnTo>
                    <a:lnTo>
                      <a:pt x="438" y="610"/>
                    </a:lnTo>
                    <a:lnTo>
                      <a:pt x="438" y="610"/>
                    </a:lnTo>
                    <a:lnTo>
                      <a:pt x="433" y="606"/>
                    </a:lnTo>
                    <a:lnTo>
                      <a:pt x="429" y="606"/>
                    </a:lnTo>
                    <a:lnTo>
                      <a:pt x="429" y="606"/>
                    </a:lnTo>
                    <a:lnTo>
                      <a:pt x="429" y="606"/>
                    </a:lnTo>
                    <a:lnTo>
                      <a:pt x="429" y="606"/>
                    </a:lnTo>
                    <a:lnTo>
                      <a:pt x="429" y="606"/>
                    </a:lnTo>
                    <a:lnTo>
                      <a:pt x="433" y="601"/>
                    </a:lnTo>
                    <a:lnTo>
                      <a:pt x="433" y="601"/>
                    </a:lnTo>
                    <a:lnTo>
                      <a:pt x="433" y="597"/>
                    </a:lnTo>
                    <a:lnTo>
                      <a:pt x="433" y="597"/>
                    </a:lnTo>
                    <a:lnTo>
                      <a:pt x="433" y="597"/>
                    </a:lnTo>
                    <a:lnTo>
                      <a:pt x="433" y="597"/>
                    </a:lnTo>
                    <a:lnTo>
                      <a:pt x="433" y="592"/>
                    </a:lnTo>
                    <a:lnTo>
                      <a:pt x="429" y="597"/>
                    </a:lnTo>
                    <a:lnTo>
                      <a:pt x="424" y="601"/>
                    </a:lnTo>
                    <a:lnTo>
                      <a:pt x="424" y="601"/>
                    </a:lnTo>
                    <a:lnTo>
                      <a:pt x="415" y="601"/>
                    </a:lnTo>
                    <a:lnTo>
                      <a:pt x="411" y="601"/>
                    </a:lnTo>
                    <a:lnTo>
                      <a:pt x="406" y="601"/>
                    </a:lnTo>
                    <a:lnTo>
                      <a:pt x="402" y="601"/>
                    </a:lnTo>
                    <a:lnTo>
                      <a:pt x="393" y="597"/>
                    </a:lnTo>
                    <a:lnTo>
                      <a:pt x="388" y="597"/>
                    </a:lnTo>
                    <a:lnTo>
                      <a:pt x="384" y="597"/>
                    </a:lnTo>
                    <a:lnTo>
                      <a:pt x="375" y="597"/>
                    </a:lnTo>
                    <a:lnTo>
                      <a:pt x="370" y="597"/>
                    </a:lnTo>
                    <a:lnTo>
                      <a:pt x="365" y="597"/>
                    </a:lnTo>
                    <a:lnTo>
                      <a:pt x="356" y="597"/>
                    </a:lnTo>
                    <a:lnTo>
                      <a:pt x="352" y="597"/>
                    </a:lnTo>
                    <a:lnTo>
                      <a:pt x="347" y="597"/>
                    </a:lnTo>
                    <a:lnTo>
                      <a:pt x="338" y="597"/>
                    </a:lnTo>
                    <a:lnTo>
                      <a:pt x="334" y="592"/>
                    </a:lnTo>
                    <a:lnTo>
                      <a:pt x="329" y="592"/>
                    </a:lnTo>
                    <a:lnTo>
                      <a:pt x="325" y="592"/>
                    </a:lnTo>
                    <a:lnTo>
                      <a:pt x="316" y="592"/>
                    </a:lnTo>
                    <a:lnTo>
                      <a:pt x="311" y="592"/>
                    </a:lnTo>
                    <a:lnTo>
                      <a:pt x="307" y="592"/>
                    </a:lnTo>
                    <a:lnTo>
                      <a:pt x="298" y="592"/>
                    </a:lnTo>
                    <a:lnTo>
                      <a:pt x="293" y="592"/>
                    </a:lnTo>
                    <a:lnTo>
                      <a:pt x="289" y="592"/>
                    </a:lnTo>
                    <a:lnTo>
                      <a:pt x="284" y="588"/>
                    </a:lnTo>
                    <a:lnTo>
                      <a:pt x="275" y="588"/>
                    </a:lnTo>
                    <a:lnTo>
                      <a:pt x="271" y="588"/>
                    </a:lnTo>
                    <a:lnTo>
                      <a:pt x="266" y="588"/>
                    </a:lnTo>
                    <a:lnTo>
                      <a:pt x="257" y="588"/>
                    </a:lnTo>
                    <a:lnTo>
                      <a:pt x="253" y="588"/>
                    </a:lnTo>
                    <a:lnTo>
                      <a:pt x="248" y="588"/>
                    </a:lnTo>
                    <a:lnTo>
                      <a:pt x="239" y="588"/>
                    </a:lnTo>
                    <a:lnTo>
                      <a:pt x="234" y="583"/>
                    </a:lnTo>
                    <a:lnTo>
                      <a:pt x="230" y="583"/>
                    </a:lnTo>
                    <a:lnTo>
                      <a:pt x="225" y="583"/>
                    </a:lnTo>
                    <a:lnTo>
                      <a:pt x="216" y="583"/>
                    </a:lnTo>
                    <a:lnTo>
                      <a:pt x="212" y="583"/>
                    </a:lnTo>
                    <a:lnTo>
                      <a:pt x="207" y="583"/>
                    </a:lnTo>
                    <a:lnTo>
                      <a:pt x="203" y="583"/>
                    </a:lnTo>
                    <a:lnTo>
                      <a:pt x="194" y="583"/>
                    </a:lnTo>
                    <a:lnTo>
                      <a:pt x="189" y="579"/>
                    </a:lnTo>
                    <a:lnTo>
                      <a:pt x="185" y="579"/>
                    </a:lnTo>
                    <a:lnTo>
                      <a:pt x="176" y="579"/>
                    </a:lnTo>
                    <a:lnTo>
                      <a:pt x="171" y="579"/>
                    </a:lnTo>
                    <a:lnTo>
                      <a:pt x="167" y="579"/>
                    </a:lnTo>
                    <a:lnTo>
                      <a:pt x="162" y="579"/>
                    </a:lnTo>
                    <a:lnTo>
                      <a:pt x="153" y="579"/>
                    </a:lnTo>
                    <a:lnTo>
                      <a:pt x="149" y="579"/>
                    </a:lnTo>
                    <a:lnTo>
                      <a:pt x="144" y="574"/>
                    </a:lnTo>
                    <a:lnTo>
                      <a:pt x="140" y="574"/>
                    </a:lnTo>
                    <a:lnTo>
                      <a:pt x="131" y="574"/>
                    </a:lnTo>
                    <a:lnTo>
                      <a:pt x="126" y="574"/>
                    </a:lnTo>
                    <a:lnTo>
                      <a:pt x="122" y="574"/>
                    </a:lnTo>
                    <a:lnTo>
                      <a:pt x="113" y="574"/>
                    </a:lnTo>
                    <a:lnTo>
                      <a:pt x="108" y="574"/>
                    </a:lnTo>
                    <a:lnTo>
                      <a:pt x="103" y="574"/>
                    </a:lnTo>
                    <a:lnTo>
                      <a:pt x="99" y="570"/>
                    </a:lnTo>
                    <a:lnTo>
                      <a:pt x="90" y="570"/>
                    </a:lnTo>
                    <a:lnTo>
                      <a:pt x="85" y="570"/>
                    </a:lnTo>
                    <a:lnTo>
                      <a:pt x="81" y="570"/>
                    </a:lnTo>
                    <a:lnTo>
                      <a:pt x="76" y="570"/>
                    </a:lnTo>
                    <a:lnTo>
                      <a:pt x="67" y="570"/>
                    </a:lnTo>
                    <a:lnTo>
                      <a:pt x="63" y="570"/>
                    </a:lnTo>
                    <a:lnTo>
                      <a:pt x="58" y="565"/>
                    </a:lnTo>
                    <a:lnTo>
                      <a:pt x="54" y="565"/>
                    </a:lnTo>
                    <a:lnTo>
                      <a:pt x="49" y="565"/>
                    </a:lnTo>
                    <a:lnTo>
                      <a:pt x="49" y="565"/>
                    </a:lnTo>
                    <a:lnTo>
                      <a:pt x="49" y="565"/>
                    </a:lnTo>
                    <a:lnTo>
                      <a:pt x="49" y="565"/>
                    </a:lnTo>
                    <a:lnTo>
                      <a:pt x="49" y="565"/>
                    </a:lnTo>
                    <a:lnTo>
                      <a:pt x="49" y="565"/>
                    </a:lnTo>
                    <a:lnTo>
                      <a:pt x="49" y="565"/>
                    </a:lnTo>
                    <a:lnTo>
                      <a:pt x="45" y="565"/>
                    </a:lnTo>
                    <a:lnTo>
                      <a:pt x="45" y="565"/>
                    </a:lnTo>
                    <a:lnTo>
                      <a:pt x="45" y="565"/>
                    </a:lnTo>
                    <a:lnTo>
                      <a:pt x="49" y="565"/>
                    </a:lnTo>
                    <a:lnTo>
                      <a:pt x="49" y="565"/>
                    </a:lnTo>
                    <a:lnTo>
                      <a:pt x="49" y="565"/>
                    </a:lnTo>
                    <a:lnTo>
                      <a:pt x="49" y="565"/>
                    </a:lnTo>
                    <a:lnTo>
                      <a:pt x="49" y="565"/>
                    </a:lnTo>
                    <a:lnTo>
                      <a:pt x="49" y="565"/>
                    </a:lnTo>
                    <a:lnTo>
                      <a:pt x="49" y="561"/>
                    </a:lnTo>
                    <a:lnTo>
                      <a:pt x="49" y="561"/>
                    </a:lnTo>
                    <a:lnTo>
                      <a:pt x="49" y="561"/>
                    </a:lnTo>
                    <a:lnTo>
                      <a:pt x="49" y="561"/>
                    </a:lnTo>
                    <a:lnTo>
                      <a:pt x="54" y="561"/>
                    </a:lnTo>
                    <a:lnTo>
                      <a:pt x="54" y="561"/>
                    </a:lnTo>
                    <a:lnTo>
                      <a:pt x="54" y="561"/>
                    </a:lnTo>
                    <a:lnTo>
                      <a:pt x="58" y="561"/>
                    </a:lnTo>
                    <a:lnTo>
                      <a:pt x="54" y="561"/>
                    </a:lnTo>
                    <a:lnTo>
                      <a:pt x="54" y="561"/>
                    </a:lnTo>
                    <a:lnTo>
                      <a:pt x="54" y="561"/>
                    </a:lnTo>
                    <a:lnTo>
                      <a:pt x="49" y="561"/>
                    </a:lnTo>
                    <a:lnTo>
                      <a:pt x="49" y="561"/>
                    </a:lnTo>
                    <a:lnTo>
                      <a:pt x="49" y="556"/>
                    </a:lnTo>
                    <a:lnTo>
                      <a:pt x="49" y="556"/>
                    </a:lnTo>
                    <a:lnTo>
                      <a:pt x="54" y="556"/>
                    </a:lnTo>
                    <a:lnTo>
                      <a:pt x="54" y="556"/>
                    </a:lnTo>
                    <a:lnTo>
                      <a:pt x="58" y="552"/>
                    </a:lnTo>
                    <a:lnTo>
                      <a:pt x="58" y="552"/>
                    </a:lnTo>
                    <a:lnTo>
                      <a:pt x="58" y="552"/>
                    </a:lnTo>
                    <a:lnTo>
                      <a:pt x="54" y="556"/>
                    </a:lnTo>
                    <a:lnTo>
                      <a:pt x="54" y="556"/>
                    </a:lnTo>
                    <a:lnTo>
                      <a:pt x="54" y="556"/>
                    </a:lnTo>
                    <a:lnTo>
                      <a:pt x="49" y="556"/>
                    </a:lnTo>
                    <a:lnTo>
                      <a:pt x="49" y="556"/>
                    </a:lnTo>
                    <a:lnTo>
                      <a:pt x="49" y="556"/>
                    </a:lnTo>
                    <a:lnTo>
                      <a:pt x="49" y="556"/>
                    </a:lnTo>
                    <a:lnTo>
                      <a:pt x="49" y="556"/>
                    </a:lnTo>
                    <a:lnTo>
                      <a:pt x="45" y="556"/>
                    </a:lnTo>
                    <a:lnTo>
                      <a:pt x="45" y="556"/>
                    </a:lnTo>
                    <a:lnTo>
                      <a:pt x="45" y="556"/>
                    </a:lnTo>
                    <a:lnTo>
                      <a:pt x="45" y="552"/>
                    </a:lnTo>
                    <a:lnTo>
                      <a:pt x="45" y="552"/>
                    </a:lnTo>
                    <a:lnTo>
                      <a:pt x="45" y="552"/>
                    </a:lnTo>
                    <a:lnTo>
                      <a:pt x="49" y="552"/>
                    </a:lnTo>
                    <a:lnTo>
                      <a:pt x="49" y="552"/>
                    </a:lnTo>
                    <a:lnTo>
                      <a:pt x="49" y="552"/>
                    </a:lnTo>
                    <a:lnTo>
                      <a:pt x="49" y="552"/>
                    </a:lnTo>
                    <a:lnTo>
                      <a:pt x="49" y="552"/>
                    </a:lnTo>
                    <a:lnTo>
                      <a:pt x="49" y="552"/>
                    </a:lnTo>
                    <a:lnTo>
                      <a:pt x="49" y="552"/>
                    </a:lnTo>
                    <a:lnTo>
                      <a:pt x="54" y="552"/>
                    </a:lnTo>
                    <a:lnTo>
                      <a:pt x="49" y="552"/>
                    </a:lnTo>
                    <a:lnTo>
                      <a:pt x="49" y="552"/>
                    </a:lnTo>
                    <a:lnTo>
                      <a:pt x="49" y="552"/>
                    </a:lnTo>
                    <a:lnTo>
                      <a:pt x="49" y="552"/>
                    </a:lnTo>
                    <a:lnTo>
                      <a:pt x="49" y="552"/>
                    </a:lnTo>
                    <a:lnTo>
                      <a:pt x="54" y="547"/>
                    </a:lnTo>
                    <a:lnTo>
                      <a:pt x="54" y="547"/>
                    </a:lnTo>
                    <a:lnTo>
                      <a:pt x="54" y="543"/>
                    </a:lnTo>
                    <a:lnTo>
                      <a:pt x="58" y="543"/>
                    </a:lnTo>
                    <a:lnTo>
                      <a:pt x="58" y="543"/>
                    </a:lnTo>
                    <a:lnTo>
                      <a:pt x="58" y="543"/>
                    </a:lnTo>
                    <a:lnTo>
                      <a:pt x="58" y="543"/>
                    </a:lnTo>
                    <a:lnTo>
                      <a:pt x="58" y="543"/>
                    </a:lnTo>
                    <a:lnTo>
                      <a:pt x="58" y="543"/>
                    </a:lnTo>
                    <a:lnTo>
                      <a:pt x="54" y="543"/>
                    </a:lnTo>
                    <a:lnTo>
                      <a:pt x="54" y="543"/>
                    </a:lnTo>
                    <a:lnTo>
                      <a:pt x="54" y="547"/>
                    </a:lnTo>
                    <a:lnTo>
                      <a:pt x="54" y="547"/>
                    </a:lnTo>
                    <a:lnTo>
                      <a:pt x="49" y="547"/>
                    </a:lnTo>
                    <a:lnTo>
                      <a:pt x="49" y="547"/>
                    </a:lnTo>
                    <a:lnTo>
                      <a:pt x="49" y="547"/>
                    </a:lnTo>
                    <a:lnTo>
                      <a:pt x="45" y="547"/>
                    </a:lnTo>
                    <a:lnTo>
                      <a:pt x="45" y="547"/>
                    </a:lnTo>
                    <a:lnTo>
                      <a:pt x="45" y="547"/>
                    </a:lnTo>
                    <a:lnTo>
                      <a:pt x="45" y="547"/>
                    </a:lnTo>
                    <a:lnTo>
                      <a:pt x="40" y="547"/>
                    </a:lnTo>
                    <a:lnTo>
                      <a:pt x="40" y="543"/>
                    </a:lnTo>
                    <a:lnTo>
                      <a:pt x="45" y="543"/>
                    </a:lnTo>
                    <a:lnTo>
                      <a:pt x="45" y="538"/>
                    </a:lnTo>
                    <a:lnTo>
                      <a:pt x="45" y="538"/>
                    </a:lnTo>
                    <a:lnTo>
                      <a:pt x="45" y="538"/>
                    </a:lnTo>
                    <a:lnTo>
                      <a:pt x="45" y="538"/>
                    </a:lnTo>
                    <a:lnTo>
                      <a:pt x="45" y="534"/>
                    </a:lnTo>
                    <a:lnTo>
                      <a:pt x="49" y="534"/>
                    </a:lnTo>
                    <a:lnTo>
                      <a:pt x="54" y="534"/>
                    </a:lnTo>
                    <a:lnTo>
                      <a:pt x="54" y="534"/>
                    </a:lnTo>
                    <a:lnTo>
                      <a:pt x="54" y="529"/>
                    </a:lnTo>
                    <a:lnTo>
                      <a:pt x="54" y="529"/>
                    </a:lnTo>
                    <a:lnTo>
                      <a:pt x="58" y="529"/>
                    </a:lnTo>
                    <a:lnTo>
                      <a:pt x="54" y="529"/>
                    </a:lnTo>
                    <a:lnTo>
                      <a:pt x="54" y="529"/>
                    </a:lnTo>
                    <a:lnTo>
                      <a:pt x="54" y="529"/>
                    </a:lnTo>
                    <a:lnTo>
                      <a:pt x="54" y="529"/>
                    </a:lnTo>
                    <a:lnTo>
                      <a:pt x="49" y="534"/>
                    </a:lnTo>
                    <a:lnTo>
                      <a:pt x="49" y="534"/>
                    </a:lnTo>
                    <a:lnTo>
                      <a:pt x="45" y="534"/>
                    </a:lnTo>
                    <a:lnTo>
                      <a:pt x="40" y="534"/>
                    </a:lnTo>
                    <a:lnTo>
                      <a:pt x="40" y="534"/>
                    </a:lnTo>
                    <a:lnTo>
                      <a:pt x="40" y="534"/>
                    </a:lnTo>
                    <a:lnTo>
                      <a:pt x="45" y="529"/>
                    </a:lnTo>
                    <a:lnTo>
                      <a:pt x="45" y="529"/>
                    </a:lnTo>
                    <a:lnTo>
                      <a:pt x="40" y="534"/>
                    </a:lnTo>
                    <a:lnTo>
                      <a:pt x="40" y="534"/>
                    </a:lnTo>
                    <a:lnTo>
                      <a:pt x="40" y="534"/>
                    </a:lnTo>
                    <a:lnTo>
                      <a:pt x="40" y="534"/>
                    </a:lnTo>
                    <a:lnTo>
                      <a:pt x="40" y="534"/>
                    </a:lnTo>
                    <a:lnTo>
                      <a:pt x="40" y="534"/>
                    </a:lnTo>
                    <a:lnTo>
                      <a:pt x="36" y="534"/>
                    </a:lnTo>
                    <a:lnTo>
                      <a:pt x="36" y="534"/>
                    </a:lnTo>
                    <a:lnTo>
                      <a:pt x="36" y="534"/>
                    </a:lnTo>
                    <a:lnTo>
                      <a:pt x="36" y="534"/>
                    </a:lnTo>
                    <a:lnTo>
                      <a:pt x="31" y="534"/>
                    </a:lnTo>
                    <a:lnTo>
                      <a:pt x="31" y="534"/>
                    </a:lnTo>
                    <a:lnTo>
                      <a:pt x="31" y="529"/>
                    </a:lnTo>
                    <a:lnTo>
                      <a:pt x="31" y="529"/>
                    </a:lnTo>
                    <a:lnTo>
                      <a:pt x="31" y="529"/>
                    </a:lnTo>
                    <a:lnTo>
                      <a:pt x="36" y="529"/>
                    </a:lnTo>
                    <a:lnTo>
                      <a:pt x="36" y="529"/>
                    </a:lnTo>
                    <a:lnTo>
                      <a:pt x="40" y="529"/>
                    </a:lnTo>
                    <a:lnTo>
                      <a:pt x="40" y="529"/>
                    </a:lnTo>
                    <a:lnTo>
                      <a:pt x="40" y="529"/>
                    </a:lnTo>
                    <a:lnTo>
                      <a:pt x="36" y="529"/>
                    </a:lnTo>
                    <a:lnTo>
                      <a:pt x="31" y="529"/>
                    </a:lnTo>
                    <a:lnTo>
                      <a:pt x="31" y="529"/>
                    </a:lnTo>
                    <a:lnTo>
                      <a:pt x="31" y="529"/>
                    </a:lnTo>
                    <a:lnTo>
                      <a:pt x="36" y="529"/>
                    </a:lnTo>
                    <a:lnTo>
                      <a:pt x="36" y="525"/>
                    </a:lnTo>
                    <a:lnTo>
                      <a:pt x="36" y="525"/>
                    </a:lnTo>
                    <a:lnTo>
                      <a:pt x="36" y="525"/>
                    </a:lnTo>
                    <a:lnTo>
                      <a:pt x="36" y="525"/>
                    </a:lnTo>
                    <a:lnTo>
                      <a:pt x="36" y="525"/>
                    </a:lnTo>
                    <a:lnTo>
                      <a:pt x="36" y="525"/>
                    </a:lnTo>
                    <a:lnTo>
                      <a:pt x="40" y="520"/>
                    </a:lnTo>
                    <a:lnTo>
                      <a:pt x="36" y="525"/>
                    </a:lnTo>
                    <a:lnTo>
                      <a:pt x="36" y="525"/>
                    </a:lnTo>
                    <a:lnTo>
                      <a:pt x="31" y="525"/>
                    </a:lnTo>
                    <a:lnTo>
                      <a:pt x="31" y="525"/>
                    </a:lnTo>
                    <a:lnTo>
                      <a:pt x="27" y="525"/>
                    </a:lnTo>
                    <a:lnTo>
                      <a:pt x="27" y="525"/>
                    </a:lnTo>
                    <a:lnTo>
                      <a:pt x="27" y="520"/>
                    </a:lnTo>
                    <a:lnTo>
                      <a:pt x="27" y="520"/>
                    </a:lnTo>
                    <a:lnTo>
                      <a:pt x="27" y="520"/>
                    </a:lnTo>
                    <a:lnTo>
                      <a:pt x="27" y="520"/>
                    </a:lnTo>
                    <a:lnTo>
                      <a:pt x="27" y="515"/>
                    </a:lnTo>
                    <a:lnTo>
                      <a:pt x="31" y="515"/>
                    </a:lnTo>
                    <a:lnTo>
                      <a:pt x="31" y="511"/>
                    </a:lnTo>
                    <a:lnTo>
                      <a:pt x="36" y="511"/>
                    </a:lnTo>
                    <a:lnTo>
                      <a:pt x="40" y="511"/>
                    </a:lnTo>
                    <a:lnTo>
                      <a:pt x="40" y="511"/>
                    </a:lnTo>
                    <a:lnTo>
                      <a:pt x="45" y="511"/>
                    </a:lnTo>
                    <a:lnTo>
                      <a:pt x="49" y="511"/>
                    </a:lnTo>
                    <a:lnTo>
                      <a:pt x="49" y="511"/>
                    </a:lnTo>
                    <a:lnTo>
                      <a:pt x="45" y="506"/>
                    </a:lnTo>
                    <a:lnTo>
                      <a:pt x="40" y="506"/>
                    </a:lnTo>
                    <a:lnTo>
                      <a:pt x="40" y="506"/>
                    </a:lnTo>
                    <a:lnTo>
                      <a:pt x="36" y="511"/>
                    </a:lnTo>
                    <a:lnTo>
                      <a:pt x="36" y="511"/>
                    </a:lnTo>
                    <a:lnTo>
                      <a:pt x="31" y="511"/>
                    </a:lnTo>
                    <a:lnTo>
                      <a:pt x="31" y="511"/>
                    </a:lnTo>
                    <a:lnTo>
                      <a:pt x="31" y="511"/>
                    </a:lnTo>
                    <a:lnTo>
                      <a:pt x="31" y="511"/>
                    </a:lnTo>
                    <a:lnTo>
                      <a:pt x="31" y="511"/>
                    </a:lnTo>
                    <a:lnTo>
                      <a:pt x="31" y="511"/>
                    </a:lnTo>
                    <a:lnTo>
                      <a:pt x="36" y="506"/>
                    </a:lnTo>
                    <a:lnTo>
                      <a:pt x="36" y="506"/>
                    </a:lnTo>
                    <a:lnTo>
                      <a:pt x="36" y="506"/>
                    </a:lnTo>
                    <a:lnTo>
                      <a:pt x="36" y="502"/>
                    </a:lnTo>
                    <a:lnTo>
                      <a:pt x="40" y="502"/>
                    </a:lnTo>
                    <a:lnTo>
                      <a:pt x="40" y="502"/>
                    </a:lnTo>
                    <a:lnTo>
                      <a:pt x="40" y="502"/>
                    </a:lnTo>
                    <a:lnTo>
                      <a:pt x="45" y="497"/>
                    </a:lnTo>
                    <a:lnTo>
                      <a:pt x="45" y="497"/>
                    </a:lnTo>
                    <a:lnTo>
                      <a:pt x="49" y="497"/>
                    </a:lnTo>
                    <a:lnTo>
                      <a:pt x="54" y="497"/>
                    </a:lnTo>
                    <a:lnTo>
                      <a:pt x="54" y="493"/>
                    </a:lnTo>
                    <a:lnTo>
                      <a:pt x="54" y="497"/>
                    </a:lnTo>
                    <a:lnTo>
                      <a:pt x="54" y="497"/>
                    </a:lnTo>
                    <a:lnTo>
                      <a:pt x="54" y="497"/>
                    </a:lnTo>
                    <a:lnTo>
                      <a:pt x="54" y="497"/>
                    </a:lnTo>
                    <a:lnTo>
                      <a:pt x="54" y="502"/>
                    </a:lnTo>
                    <a:lnTo>
                      <a:pt x="54" y="502"/>
                    </a:lnTo>
                    <a:lnTo>
                      <a:pt x="54" y="502"/>
                    </a:lnTo>
                    <a:lnTo>
                      <a:pt x="54" y="502"/>
                    </a:lnTo>
                    <a:lnTo>
                      <a:pt x="58" y="497"/>
                    </a:lnTo>
                    <a:lnTo>
                      <a:pt x="58" y="497"/>
                    </a:lnTo>
                    <a:lnTo>
                      <a:pt x="58" y="497"/>
                    </a:lnTo>
                    <a:lnTo>
                      <a:pt x="58" y="497"/>
                    </a:lnTo>
                    <a:lnTo>
                      <a:pt x="58" y="493"/>
                    </a:lnTo>
                    <a:lnTo>
                      <a:pt x="58" y="493"/>
                    </a:lnTo>
                    <a:lnTo>
                      <a:pt x="58" y="493"/>
                    </a:lnTo>
                    <a:lnTo>
                      <a:pt x="58" y="493"/>
                    </a:lnTo>
                    <a:lnTo>
                      <a:pt x="63" y="488"/>
                    </a:lnTo>
                    <a:lnTo>
                      <a:pt x="63" y="488"/>
                    </a:lnTo>
                    <a:lnTo>
                      <a:pt x="67" y="488"/>
                    </a:lnTo>
                    <a:lnTo>
                      <a:pt x="67" y="488"/>
                    </a:lnTo>
                    <a:lnTo>
                      <a:pt x="67" y="488"/>
                    </a:lnTo>
                    <a:lnTo>
                      <a:pt x="67" y="488"/>
                    </a:lnTo>
                    <a:lnTo>
                      <a:pt x="63" y="488"/>
                    </a:lnTo>
                    <a:lnTo>
                      <a:pt x="63" y="488"/>
                    </a:lnTo>
                    <a:lnTo>
                      <a:pt x="63" y="488"/>
                    </a:lnTo>
                    <a:lnTo>
                      <a:pt x="63" y="488"/>
                    </a:lnTo>
                    <a:lnTo>
                      <a:pt x="63" y="493"/>
                    </a:lnTo>
                    <a:lnTo>
                      <a:pt x="49" y="497"/>
                    </a:lnTo>
                    <a:lnTo>
                      <a:pt x="49" y="497"/>
                    </a:lnTo>
                    <a:lnTo>
                      <a:pt x="49" y="497"/>
                    </a:lnTo>
                    <a:lnTo>
                      <a:pt x="45" y="497"/>
                    </a:lnTo>
                    <a:lnTo>
                      <a:pt x="45" y="497"/>
                    </a:lnTo>
                    <a:lnTo>
                      <a:pt x="40" y="497"/>
                    </a:lnTo>
                    <a:lnTo>
                      <a:pt x="36" y="502"/>
                    </a:lnTo>
                    <a:lnTo>
                      <a:pt x="31" y="506"/>
                    </a:lnTo>
                    <a:lnTo>
                      <a:pt x="36" y="502"/>
                    </a:lnTo>
                    <a:lnTo>
                      <a:pt x="36" y="497"/>
                    </a:lnTo>
                    <a:lnTo>
                      <a:pt x="45" y="497"/>
                    </a:lnTo>
                    <a:lnTo>
                      <a:pt x="45" y="493"/>
                    </a:lnTo>
                    <a:lnTo>
                      <a:pt x="45" y="493"/>
                    </a:lnTo>
                    <a:lnTo>
                      <a:pt x="45" y="493"/>
                    </a:lnTo>
                    <a:lnTo>
                      <a:pt x="49" y="493"/>
                    </a:lnTo>
                    <a:lnTo>
                      <a:pt x="49" y="493"/>
                    </a:lnTo>
                    <a:lnTo>
                      <a:pt x="49" y="493"/>
                    </a:lnTo>
                    <a:lnTo>
                      <a:pt x="49" y="493"/>
                    </a:lnTo>
                    <a:lnTo>
                      <a:pt x="45" y="493"/>
                    </a:lnTo>
                    <a:lnTo>
                      <a:pt x="40" y="493"/>
                    </a:lnTo>
                    <a:lnTo>
                      <a:pt x="40" y="493"/>
                    </a:lnTo>
                    <a:lnTo>
                      <a:pt x="45" y="493"/>
                    </a:lnTo>
                    <a:lnTo>
                      <a:pt x="49" y="488"/>
                    </a:lnTo>
                    <a:lnTo>
                      <a:pt x="54" y="484"/>
                    </a:lnTo>
                    <a:lnTo>
                      <a:pt x="54" y="484"/>
                    </a:lnTo>
                    <a:lnTo>
                      <a:pt x="54" y="484"/>
                    </a:lnTo>
                    <a:lnTo>
                      <a:pt x="54" y="484"/>
                    </a:lnTo>
                    <a:lnTo>
                      <a:pt x="49" y="484"/>
                    </a:lnTo>
                    <a:lnTo>
                      <a:pt x="49" y="484"/>
                    </a:lnTo>
                    <a:lnTo>
                      <a:pt x="54" y="479"/>
                    </a:lnTo>
                    <a:lnTo>
                      <a:pt x="54" y="475"/>
                    </a:lnTo>
                    <a:lnTo>
                      <a:pt x="54" y="475"/>
                    </a:lnTo>
                    <a:lnTo>
                      <a:pt x="49" y="475"/>
                    </a:lnTo>
                    <a:lnTo>
                      <a:pt x="54" y="470"/>
                    </a:lnTo>
                    <a:lnTo>
                      <a:pt x="54" y="470"/>
                    </a:lnTo>
                    <a:lnTo>
                      <a:pt x="58" y="470"/>
                    </a:lnTo>
                    <a:lnTo>
                      <a:pt x="58" y="466"/>
                    </a:lnTo>
                    <a:lnTo>
                      <a:pt x="58" y="466"/>
                    </a:lnTo>
                    <a:lnTo>
                      <a:pt x="63" y="466"/>
                    </a:lnTo>
                    <a:lnTo>
                      <a:pt x="58" y="470"/>
                    </a:lnTo>
                    <a:lnTo>
                      <a:pt x="58" y="470"/>
                    </a:lnTo>
                    <a:lnTo>
                      <a:pt x="58" y="470"/>
                    </a:lnTo>
                    <a:lnTo>
                      <a:pt x="58" y="475"/>
                    </a:lnTo>
                    <a:lnTo>
                      <a:pt x="58" y="475"/>
                    </a:lnTo>
                    <a:lnTo>
                      <a:pt x="63" y="475"/>
                    </a:lnTo>
                    <a:lnTo>
                      <a:pt x="63" y="475"/>
                    </a:lnTo>
                    <a:lnTo>
                      <a:pt x="63" y="475"/>
                    </a:lnTo>
                    <a:lnTo>
                      <a:pt x="63" y="475"/>
                    </a:lnTo>
                    <a:lnTo>
                      <a:pt x="63" y="479"/>
                    </a:lnTo>
                    <a:lnTo>
                      <a:pt x="63" y="475"/>
                    </a:lnTo>
                    <a:lnTo>
                      <a:pt x="63" y="475"/>
                    </a:lnTo>
                    <a:lnTo>
                      <a:pt x="63" y="475"/>
                    </a:lnTo>
                    <a:lnTo>
                      <a:pt x="63" y="475"/>
                    </a:lnTo>
                    <a:lnTo>
                      <a:pt x="63" y="475"/>
                    </a:lnTo>
                    <a:lnTo>
                      <a:pt x="58" y="475"/>
                    </a:lnTo>
                    <a:lnTo>
                      <a:pt x="58" y="470"/>
                    </a:lnTo>
                    <a:lnTo>
                      <a:pt x="58" y="470"/>
                    </a:lnTo>
                    <a:lnTo>
                      <a:pt x="63" y="470"/>
                    </a:lnTo>
                    <a:lnTo>
                      <a:pt x="63" y="466"/>
                    </a:lnTo>
                    <a:lnTo>
                      <a:pt x="63" y="466"/>
                    </a:lnTo>
                    <a:lnTo>
                      <a:pt x="63" y="466"/>
                    </a:lnTo>
                    <a:lnTo>
                      <a:pt x="63" y="466"/>
                    </a:lnTo>
                    <a:lnTo>
                      <a:pt x="67" y="466"/>
                    </a:lnTo>
                    <a:lnTo>
                      <a:pt x="67" y="466"/>
                    </a:lnTo>
                    <a:lnTo>
                      <a:pt x="67" y="466"/>
                    </a:lnTo>
                    <a:lnTo>
                      <a:pt x="67" y="466"/>
                    </a:lnTo>
                    <a:lnTo>
                      <a:pt x="67" y="466"/>
                    </a:lnTo>
                    <a:lnTo>
                      <a:pt x="63" y="466"/>
                    </a:lnTo>
                    <a:lnTo>
                      <a:pt x="63" y="466"/>
                    </a:lnTo>
                    <a:lnTo>
                      <a:pt x="63" y="466"/>
                    </a:lnTo>
                    <a:lnTo>
                      <a:pt x="63" y="466"/>
                    </a:lnTo>
                    <a:lnTo>
                      <a:pt x="58" y="466"/>
                    </a:lnTo>
                    <a:lnTo>
                      <a:pt x="58" y="466"/>
                    </a:lnTo>
                    <a:lnTo>
                      <a:pt x="54" y="470"/>
                    </a:lnTo>
                    <a:lnTo>
                      <a:pt x="54" y="470"/>
                    </a:lnTo>
                    <a:lnTo>
                      <a:pt x="49" y="470"/>
                    </a:lnTo>
                    <a:lnTo>
                      <a:pt x="49" y="475"/>
                    </a:lnTo>
                    <a:lnTo>
                      <a:pt x="49" y="475"/>
                    </a:lnTo>
                    <a:lnTo>
                      <a:pt x="45" y="475"/>
                    </a:lnTo>
                    <a:lnTo>
                      <a:pt x="45" y="475"/>
                    </a:lnTo>
                    <a:lnTo>
                      <a:pt x="45" y="475"/>
                    </a:lnTo>
                    <a:lnTo>
                      <a:pt x="45" y="470"/>
                    </a:lnTo>
                    <a:lnTo>
                      <a:pt x="45" y="470"/>
                    </a:lnTo>
                    <a:lnTo>
                      <a:pt x="45" y="470"/>
                    </a:lnTo>
                    <a:lnTo>
                      <a:pt x="40" y="466"/>
                    </a:lnTo>
                    <a:lnTo>
                      <a:pt x="45" y="466"/>
                    </a:lnTo>
                    <a:lnTo>
                      <a:pt x="45" y="461"/>
                    </a:lnTo>
                    <a:lnTo>
                      <a:pt x="49" y="461"/>
                    </a:lnTo>
                    <a:lnTo>
                      <a:pt x="54" y="457"/>
                    </a:lnTo>
                    <a:lnTo>
                      <a:pt x="54" y="457"/>
                    </a:lnTo>
                    <a:lnTo>
                      <a:pt x="58" y="457"/>
                    </a:lnTo>
                    <a:lnTo>
                      <a:pt x="63" y="457"/>
                    </a:lnTo>
                    <a:lnTo>
                      <a:pt x="58" y="457"/>
                    </a:lnTo>
                    <a:lnTo>
                      <a:pt x="58" y="457"/>
                    </a:lnTo>
                    <a:lnTo>
                      <a:pt x="54" y="457"/>
                    </a:lnTo>
                    <a:lnTo>
                      <a:pt x="54" y="457"/>
                    </a:lnTo>
                    <a:lnTo>
                      <a:pt x="54" y="452"/>
                    </a:lnTo>
                    <a:lnTo>
                      <a:pt x="54" y="452"/>
                    </a:lnTo>
                    <a:lnTo>
                      <a:pt x="58" y="452"/>
                    </a:lnTo>
                    <a:lnTo>
                      <a:pt x="58" y="448"/>
                    </a:lnTo>
                    <a:lnTo>
                      <a:pt x="63" y="448"/>
                    </a:lnTo>
                    <a:lnTo>
                      <a:pt x="63" y="448"/>
                    </a:lnTo>
                    <a:lnTo>
                      <a:pt x="63" y="448"/>
                    </a:lnTo>
                    <a:lnTo>
                      <a:pt x="63" y="448"/>
                    </a:lnTo>
                    <a:lnTo>
                      <a:pt x="67" y="443"/>
                    </a:lnTo>
                    <a:lnTo>
                      <a:pt x="67" y="443"/>
                    </a:lnTo>
                    <a:lnTo>
                      <a:pt x="76" y="439"/>
                    </a:lnTo>
                    <a:lnTo>
                      <a:pt x="76" y="439"/>
                    </a:lnTo>
                    <a:lnTo>
                      <a:pt x="81" y="439"/>
                    </a:lnTo>
                    <a:lnTo>
                      <a:pt x="90" y="434"/>
                    </a:lnTo>
                    <a:lnTo>
                      <a:pt x="85" y="434"/>
                    </a:lnTo>
                    <a:lnTo>
                      <a:pt x="85" y="434"/>
                    </a:lnTo>
                    <a:lnTo>
                      <a:pt x="85" y="434"/>
                    </a:lnTo>
                    <a:lnTo>
                      <a:pt x="85" y="434"/>
                    </a:lnTo>
                    <a:lnTo>
                      <a:pt x="85" y="434"/>
                    </a:lnTo>
                    <a:lnTo>
                      <a:pt x="85" y="434"/>
                    </a:lnTo>
                    <a:lnTo>
                      <a:pt x="85" y="434"/>
                    </a:lnTo>
                    <a:lnTo>
                      <a:pt x="85" y="434"/>
                    </a:lnTo>
                    <a:lnTo>
                      <a:pt x="81" y="434"/>
                    </a:lnTo>
                    <a:lnTo>
                      <a:pt x="81" y="439"/>
                    </a:lnTo>
                    <a:lnTo>
                      <a:pt x="76" y="439"/>
                    </a:lnTo>
                    <a:lnTo>
                      <a:pt x="72" y="439"/>
                    </a:lnTo>
                    <a:lnTo>
                      <a:pt x="72" y="439"/>
                    </a:lnTo>
                    <a:lnTo>
                      <a:pt x="76" y="439"/>
                    </a:lnTo>
                    <a:lnTo>
                      <a:pt x="76" y="439"/>
                    </a:lnTo>
                    <a:lnTo>
                      <a:pt x="81" y="434"/>
                    </a:lnTo>
                    <a:lnTo>
                      <a:pt x="81" y="434"/>
                    </a:lnTo>
                    <a:lnTo>
                      <a:pt x="85" y="430"/>
                    </a:lnTo>
                    <a:lnTo>
                      <a:pt x="85" y="430"/>
                    </a:lnTo>
                    <a:lnTo>
                      <a:pt x="85" y="430"/>
                    </a:lnTo>
                    <a:lnTo>
                      <a:pt x="85" y="430"/>
                    </a:lnTo>
                    <a:lnTo>
                      <a:pt x="90" y="425"/>
                    </a:lnTo>
                    <a:lnTo>
                      <a:pt x="90" y="425"/>
                    </a:lnTo>
                    <a:lnTo>
                      <a:pt x="90" y="425"/>
                    </a:lnTo>
                    <a:lnTo>
                      <a:pt x="94" y="425"/>
                    </a:lnTo>
                    <a:lnTo>
                      <a:pt x="94" y="425"/>
                    </a:lnTo>
                    <a:lnTo>
                      <a:pt x="94" y="421"/>
                    </a:lnTo>
                    <a:lnTo>
                      <a:pt x="94" y="421"/>
                    </a:lnTo>
                    <a:lnTo>
                      <a:pt x="94" y="421"/>
                    </a:lnTo>
                    <a:lnTo>
                      <a:pt x="90" y="421"/>
                    </a:lnTo>
                    <a:lnTo>
                      <a:pt x="94" y="421"/>
                    </a:lnTo>
                    <a:lnTo>
                      <a:pt x="90" y="416"/>
                    </a:lnTo>
                    <a:lnTo>
                      <a:pt x="90" y="416"/>
                    </a:lnTo>
                    <a:lnTo>
                      <a:pt x="90" y="416"/>
                    </a:lnTo>
                    <a:lnTo>
                      <a:pt x="90" y="416"/>
                    </a:lnTo>
                    <a:lnTo>
                      <a:pt x="90" y="411"/>
                    </a:lnTo>
                    <a:lnTo>
                      <a:pt x="90" y="411"/>
                    </a:lnTo>
                    <a:lnTo>
                      <a:pt x="90" y="411"/>
                    </a:lnTo>
                    <a:lnTo>
                      <a:pt x="90" y="411"/>
                    </a:lnTo>
                    <a:lnTo>
                      <a:pt x="85" y="411"/>
                    </a:lnTo>
                    <a:lnTo>
                      <a:pt x="85" y="411"/>
                    </a:lnTo>
                    <a:lnTo>
                      <a:pt x="85" y="407"/>
                    </a:lnTo>
                    <a:lnTo>
                      <a:pt x="85" y="407"/>
                    </a:lnTo>
                    <a:lnTo>
                      <a:pt x="90" y="407"/>
                    </a:lnTo>
                    <a:lnTo>
                      <a:pt x="90" y="407"/>
                    </a:lnTo>
                    <a:lnTo>
                      <a:pt x="85" y="402"/>
                    </a:lnTo>
                    <a:lnTo>
                      <a:pt x="90" y="402"/>
                    </a:lnTo>
                    <a:lnTo>
                      <a:pt x="90" y="402"/>
                    </a:lnTo>
                    <a:lnTo>
                      <a:pt x="90" y="402"/>
                    </a:lnTo>
                    <a:lnTo>
                      <a:pt x="90" y="398"/>
                    </a:lnTo>
                    <a:lnTo>
                      <a:pt x="90" y="398"/>
                    </a:lnTo>
                    <a:lnTo>
                      <a:pt x="94" y="398"/>
                    </a:lnTo>
                    <a:lnTo>
                      <a:pt x="94" y="398"/>
                    </a:lnTo>
                    <a:lnTo>
                      <a:pt x="94" y="393"/>
                    </a:lnTo>
                    <a:lnTo>
                      <a:pt x="94" y="393"/>
                    </a:lnTo>
                    <a:lnTo>
                      <a:pt x="99" y="389"/>
                    </a:lnTo>
                    <a:lnTo>
                      <a:pt x="99" y="384"/>
                    </a:lnTo>
                    <a:lnTo>
                      <a:pt x="99" y="384"/>
                    </a:lnTo>
                    <a:lnTo>
                      <a:pt x="99" y="384"/>
                    </a:lnTo>
                    <a:lnTo>
                      <a:pt x="103" y="380"/>
                    </a:lnTo>
                    <a:lnTo>
                      <a:pt x="103" y="380"/>
                    </a:lnTo>
                    <a:lnTo>
                      <a:pt x="103" y="375"/>
                    </a:lnTo>
                    <a:lnTo>
                      <a:pt x="108" y="375"/>
                    </a:lnTo>
                    <a:lnTo>
                      <a:pt x="108" y="371"/>
                    </a:lnTo>
                    <a:lnTo>
                      <a:pt x="108" y="371"/>
                    </a:lnTo>
                    <a:lnTo>
                      <a:pt x="108" y="366"/>
                    </a:lnTo>
                    <a:lnTo>
                      <a:pt x="108" y="366"/>
                    </a:lnTo>
                    <a:lnTo>
                      <a:pt x="108" y="366"/>
                    </a:lnTo>
                    <a:lnTo>
                      <a:pt x="108" y="366"/>
                    </a:lnTo>
                    <a:lnTo>
                      <a:pt x="108" y="362"/>
                    </a:lnTo>
                    <a:lnTo>
                      <a:pt x="108" y="362"/>
                    </a:lnTo>
                    <a:lnTo>
                      <a:pt x="108" y="362"/>
                    </a:lnTo>
                    <a:lnTo>
                      <a:pt x="108" y="362"/>
                    </a:lnTo>
                    <a:lnTo>
                      <a:pt x="108" y="362"/>
                    </a:lnTo>
                    <a:lnTo>
                      <a:pt x="108" y="362"/>
                    </a:lnTo>
                    <a:lnTo>
                      <a:pt x="108" y="357"/>
                    </a:lnTo>
                    <a:lnTo>
                      <a:pt x="108" y="357"/>
                    </a:lnTo>
                    <a:lnTo>
                      <a:pt x="108" y="357"/>
                    </a:lnTo>
                    <a:lnTo>
                      <a:pt x="108" y="357"/>
                    </a:lnTo>
                    <a:lnTo>
                      <a:pt x="108" y="357"/>
                    </a:lnTo>
                    <a:lnTo>
                      <a:pt x="113" y="353"/>
                    </a:lnTo>
                    <a:lnTo>
                      <a:pt x="113" y="353"/>
                    </a:lnTo>
                    <a:lnTo>
                      <a:pt x="113" y="353"/>
                    </a:lnTo>
                    <a:lnTo>
                      <a:pt x="113" y="348"/>
                    </a:lnTo>
                    <a:lnTo>
                      <a:pt x="113" y="348"/>
                    </a:lnTo>
                    <a:lnTo>
                      <a:pt x="113" y="348"/>
                    </a:lnTo>
                    <a:lnTo>
                      <a:pt x="113" y="348"/>
                    </a:lnTo>
                    <a:lnTo>
                      <a:pt x="113" y="348"/>
                    </a:lnTo>
                    <a:lnTo>
                      <a:pt x="108" y="348"/>
                    </a:lnTo>
                    <a:lnTo>
                      <a:pt x="103" y="348"/>
                    </a:lnTo>
                    <a:lnTo>
                      <a:pt x="99" y="348"/>
                    </a:lnTo>
                    <a:lnTo>
                      <a:pt x="99" y="348"/>
                    </a:lnTo>
                    <a:lnTo>
                      <a:pt x="99" y="348"/>
                    </a:lnTo>
                    <a:lnTo>
                      <a:pt x="99" y="353"/>
                    </a:lnTo>
                    <a:lnTo>
                      <a:pt x="94" y="348"/>
                    </a:lnTo>
                    <a:lnTo>
                      <a:pt x="90" y="353"/>
                    </a:lnTo>
                    <a:lnTo>
                      <a:pt x="85" y="357"/>
                    </a:lnTo>
                    <a:lnTo>
                      <a:pt x="85" y="357"/>
                    </a:lnTo>
                    <a:lnTo>
                      <a:pt x="81" y="357"/>
                    </a:lnTo>
                    <a:lnTo>
                      <a:pt x="81" y="357"/>
                    </a:lnTo>
                    <a:lnTo>
                      <a:pt x="76" y="357"/>
                    </a:lnTo>
                    <a:lnTo>
                      <a:pt x="72" y="357"/>
                    </a:lnTo>
                    <a:lnTo>
                      <a:pt x="72" y="357"/>
                    </a:lnTo>
                    <a:lnTo>
                      <a:pt x="72" y="357"/>
                    </a:lnTo>
                    <a:lnTo>
                      <a:pt x="76" y="353"/>
                    </a:lnTo>
                    <a:lnTo>
                      <a:pt x="76" y="353"/>
                    </a:lnTo>
                    <a:lnTo>
                      <a:pt x="76" y="353"/>
                    </a:lnTo>
                    <a:lnTo>
                      <a:pt x="76" y="348"/>
                    </a:lnTo>
                    <a:lnTo>
                      <a:pt x="76" y="348"/>
                    </a:lnTo>
                    <a:lnTo>
                      <a:pt x="81" y="348"/>
                    </a:lnTo>
                    <a:lnTo>
                      <a:pt x="81" y="344"/>
                    </a:lnTo>
                    <a:lnTo>
                      <a:pt x="81" y="344"/>
                    </a:lnTo>
                    <a:lnTo>
                      <a:pt x="81" y="339"/>
                    </a:lnTo>
                    <a:lnTo>
                      <a:pt x="81" y="339"/>
                    </a:lnTo>
                    <a:lnTo>
                      <a:pt x="81" y="339"/>
                    </a:lnTo>
                    <a:lnTo>
                      <a:pt x="81" y="335"/>
                    </a:lnTo>
                    <a:lnTo>
                      <a:pt x="81" y="335"/>
                    </a:lnTo>
                    <a:lnTo>
                      <a:pt x="85" y="335"/>
                    </a:lnTo>
                    <a:lnTo>
                      <a:pt x="85" y="330"/>
                    </a:lnTo>
                    <a:lnTo>
                      <a:pt x="90" y="330"/>
                    </a:lnTo>
                    <a:lnTo>
                      <a:pt x="85" y="330"/>
                    </a:lnTo>
                    <a:lnTo>
                      <a:pt x="85" y="330"/>
                    </a:lnTo>
                    <a:lnTo>
                      <a:pt x="81" y="330"/>
                    </a:lnTo>
                    <a:lnTo>
                      <a:pt x="76" y="330"/>
                    </a:lnTo>
                    <a:lnTo>
                      <a:pt x="76" y="330"/>
                    </a:lnTo>
                    <a:lnTo>
                      <a:pt x="72" y="330"/>
                    </a:lnTo>
                    <a:lnTo>
                      <a:pt x="72" y="330"/>
                    </a:lnTo>
                    <a:lnTo>
                      <a:pt x="67" y="330"/>
                    </a:lnTo>
                    <a:lnTo>
                      <a:pt x="67" y="330"/>
                    </a:lnTo>
                    <a:lnTo>
                      <a:pt x="67" y="330"/>
                    </a:lnTo>
                    <a:lnTo>
                      <a:pt x="72" y="321"/>
                    </a:lnTo>
                    <a:lnTo>
                      <a:pt x="81" y="317"/>
                    </a:lnTo>
                    <a:lnTo>
                      <a:pt x="90" y="312"/>
                    </a:lnTo>
                    <a:lnTo>
                      <a:pt x="94" y="308"/>
                    </a:lnTo>
                    <a:lnTo>
                      <a:pt x="103" y="303"/>
                    </a:lnTo>
                    <a:lnTo>
                      <a:pt x="108" y="298"/>
                    </a:lnTo>
                    <a:lnTo>
                      <a:pt x="117" y="294"/>
                    </a:lnTo>
                    <a:lnTo>
                      <a:pt x="126" y="289"/>
                    </a:lnTo>
                    <a:lnTo>
                      <a:pt x="131" y="280"/>
                    </a:lnTo>
                    <a:lnTo>
                      <a:pt x="140" y="276"/>
                    </a:lnTo>
                    <a:lnTo>
                      <a:pt x="144" y="271"/>
                    </a:lnTo>
                    <a:lnTo>
                      <a:pt x="153" y="267"/>
                    </a:lnTo>
                    <a:lnTo>
                      <a:pt x="162" y="262"/>
                    </a:lnTo>
                    <a:lnTo>
                      <a:pt x="167" y="258"/>
                    </a:lnTo>
                    <a:lnTo>
                      <a:pt x="176" y="253"/>
                    </a:lnTo>
                    <a:lnTo>
                      <a:pt x="185" y="249"/>
                    </a:lnTo>
                    <a:lnTo>
                      <a:pt x="189" y="244"/>
                    </a:lnTo>
                    <a:lnTo>
                      <a:pt x="198" y="240"/>
                    </a:lnTo>
                    <a:lnTo>
                      <a:pt x="207" y="231"/>
                    </a:lnTo>
                    <a:lnTo>
                      <a:pt x="216" y="226"/>
                    </a:lnTo>
                    <a:lnTo>
                      <a:pt x="221" y="222"/>
                    </a:lnTo>
                    <a:lnTo>
                      <a:pt x="230" y="217"/>
                    </a:lnTo>
                    <a:lnTo>
                      <a:pt x="239" y="213"/>
                    </a:lnTo>
                    <a:lnTo>
                      <a:pt x="244" y="208"/>
                    </a:lnTo>
                    <a:lnTo>
                      <a:pt x="253" y="204"/>
                    </a:lnTo>
                    <a:lnTo>
                      <a:pt x="262" y="199"/>
                    </a:lnTo>
                    <a:lnTo>
                      <a:pt x="271" y="194"/>
                    </a:lnTo>
                    <a:lnTo>
                      <a:pt x="275" y="190"/>
                    </a:lnTo>
                    <a:lnTo>
                      <a:pt x="284" y="185"/>
                    </a:lnTo>
                    <a:lnTo>
                      <a:pt x="293" y="181"/>
                    </a:lnTo>
                    <a:lnTo>
                      <a:pt x="302" y="176"/>
                    </a:lnTo>
                    <a:lnTo>
                      <a:pt x="307" y="172"/>
                    </a:lnTo>
                    <a:lnTo>
                      <a:pt x="311" y="172"/>
                    </a:lnTo>
                    <a:lnTo>
                      <a:pt x="311" y="172"/>
                    </a:lnTo>
                    <a:lnTo>
                      <a:pt x="316" y="172"/>
                    </a:lnTo>
                    <a:lnTo>
                      <a:pt x="320" y="176"/>
                    </a:lnTo>
                    <a:lnTo>
                      <a:pt x="320" y="176"/>
                    </a:lnTo>
                    <a:lnTo>
                      <a:pt x="320" y="181"/>
                    </a:lnTo>
                    <a:lnTo>
                      <a:pt x="320" y="181"/>
                    </a:lnTo>
                    <a:lnTo>
                      <a:pt x="320" y="185"/>
                    </a:lnTo>
                    <a:lnTo>
                      <a:pt x="325" y="185"/>
                    </a:lnTo>
                    <a:lnTo>
                      <a:pt x="325" y="185"/>
                    </a:lnTo>
                    <a:lnTo>
                      <a:pt x="329" y="190"/>
                    </a:lnTo>
                    <a:lnTo>
                      <a:pt x="329" y="190"/>
                    </a:lnTo>
                    <a:lnTo>
                      <a:pt x="334" y="190"/>
                    </a:lnTo>
                    <a:lnTo>
                      <a:pt x="334" y="190"/>
                    </a:lnTo>
                    <a:lnTo>
                      <a:pt x="334" y="194"/>
                    </a:lnTo>
                    <a:lnTo>
                      <a:pt x="338" y="194"/>
                    </a:lnTo>
                    <a:lnTo>
                      <a:pt x="338" y="194"/>
                    </a:lnTo>
                    <a:lnTo>
                      <a:pt x="338" y="190"/>
                    </a:lnTo>
                    <a:lnTo>
                      <a:pt x="338" y="190"/>
                    </a:lnTo>
                    <a:lnTo>
                      <a:pt x="338" y="190"/>
                    </a:lnTo>
                    <a:lnTo>
                      <a:pt x="338" y="190"/>
                    </a:lnTo>
                    <a:lnTo>
                      <a:pt x="338" y="190"/>
                    </a:lnTo>
                    <a:lnTo>
                      <a:pt x="338" y="190"/>
                    </a:lnTo>
                    <a:lnTo>
                      <a:pt x="338" y="185"/>
                    </a:lnTo>
                    <a:lnTo>
                      <a:pt x="338" y="185"/>
                    </a:lnTo>
                    <a:lnTo>
                      <a:pt x="343" y="185"/>
                    </a:lnTo>
                    <a:lnTo>
                      <a:pt x="343" y="185"/>
                    </a:lnTo>
                    <a:lnTo>
                      <a:pt x="343" y="185"/>
                    </a:lnTo>
                    <a:lnTo>
                      <a:pt x="343" y="185"/>
                    </a:lnTo>
                    <a:lnTo>
                      <a:pt x="343" y="185"/>
                    </a:lnTo>
                    <a:lnTo>
                      <a:pt x="343" y="185"/>
                    </a:lnTo>
                    <a:lnTo>
                      <a:pt x="343" y="185"/>
                    </a:lnTo>
                    <a:lnTo>
                      <a:pt x="347" y="181"/>
                    </a:lnTo>
                    <a:lnTo>
                      <a:pt x="347" y="181"/>
                    </a:lnTo>
                    <a:lnTo>
                      <a:pt x="352" y="181"/>
                    </a:lnTo>
                    <a:lnTo>
                      <a:pt x="352" y="181"/>
                    </a:lnTo>
                    <a:lnTo>
                      <a:pt x="352" y="181"/>
                    </a:lnTo>
                    <a:lnTo>
                      <a:pt x="356" y="181"/>
                    </a:lnTo>
                    <a:lnTo>
                      <a:pt x="356" y="181"/>
                    </a:lnTo>
                    <a:lnTo>
                      <a:pt x="356" y="181"/>
                    </a:lnTo>
                    <a:lnTo>
                      <a:pt x="361" y="181"/>
                    </a:lnTo>
                    <a:lnTo>
                      <a:pt x="365" y="181"/>
                    </a:lnTo>
                    <a:lnTo>
                      <a:pt x="365" y="181"/>
                    </a:lnTo>
                    <a:lnTo>
                      <a:pt x="365" y="181"/>
                    </a:lnTo>
                    <a:lnTo>
                      <a:pt x="365" y="181"/>
                    </a:lnTo>
                    <a:lnTo>
                      <a:pt x="370" y="181"/>
                    </a:lnTo>
                    <a:lnTo>
                      <a:pt x="370" y="176"/>
                    </a:lnTo>
                    <a:lnTo>
                      <a:pt x="370" y="176"/>
                    </a:lnTo>
                    <a:lnTo>
                      <a:pt x="370" y="176"/>
                    </a:lnTo>
                    <a:lnTo>
                      <a:pt x="370" y="181"/>
                    </a:lnTo>
                    <a:lnTo>
                      <a:pt x="370" y="181"/>
                    </a:lnTo>
                    <a:lnTo>
                      <a:pt x="370" y="181"/>
                    </a:lnTo>
                    <a:lnTo>
                      <a:pt x="370" y="181"/>
                    </a:lnTo>
                    <a:lnTo>
                      <a:pt x="370" y="181"/>
                    </a:lnTo>
                    <a:lnTo>
                      <a:pt x="370" y="181"/>
                    </a:lnTo>
                    <a:lnTo>
                      <a:pt x="365" y="185"/>
                    </a:lnTo>
                    <a:lnTo>
                      <a:pt x="361" y="185"/>
                    </a:lnTo>
                    <a:lnTo>
                      <a:pt x="361" y="185"/>
                    </a:lnTo>
                    <a:lnTo>
                      <a:pt x="365" y="185"/>
                    </a:lnTo>
                    <a:lnTo>
                      <a:pt x="370" y="185"/>
                    </a:lnTo>
                    <a:lnTo>
                      <a:pt x="375" y="185"/>
                    </a:lnTo>
                    <a:lnTo>
                      <a:pt x="375" y="185"/>
                    </a:lnTo>
                    <a:lnTo>
                      <a:pt x="375" y="185"/>
                    </a:lnTo>
                    <a:lnTo>
                      <a:pt x="379" y="185"/>
                    </a:lnTo>
                    <a:lnTo>
                      <a:pt x="379" y="181"/>
                    </a:lnTo>
                    <a:lnTo>
                      <a:pt x="384" y="181"/>
                    </a:lnTo>
                    <a:lnTo>
                      <a:pt x="384" y="181"/>
                    </a:lnTo>
                    <a:lnTo>
                      <a:pt x="388" y="181"/>
                    </a:lnTo>
                    <a:lnTo>
                      <a:pt x="388" y="181"/>
                    </a:lnTo>
                    <a:lnTo>
                      <a:pt x="388" y="181"/>
                    </a:lnTo>
                    <a:lnTo>
                      <a:pt x="388" y="181"/>
                    </a:lnTo>
                    <a:lnTo>
                      <a:pt x="388" y="181"/>
                    </a:lnTo>
                    <a:lnTo>
                      <a:pt x="388" y="181"/>
                    </a:lnTo>
                    <a:lnTo>
                      <a:pt x="388" y="181"/>
                    </a:lnTo>
                    <a:lnTo>
                      <a:pt x="388" y="181"/>
                    </a:lnTo>
                    <a:lnTo>
                      <a:pt x="393" y="181"/>
                    </a:lnTo>
                    <a:lnTo>
                      <a:pt x="393" y="181"/>
                    </a:lnTo>
                    <a:lnTo>
                      <a:pt x="393" y="181"/>
                    </a:lnTo>
                    <a:lnTo>
                      <a:pt x="393" y="181"/>
                    </a:lnTo>
                    <a:lnTo>
                      <a:pt x="397" y="181"/>
                    </a:lnTo>
                    <a:lnTo>
                      <a:pt x="402" y="176"/>
                    </a:lnTo>
                    <a:lnTo>
                      <a:pt x="406" y="176"/>
                    </a:lnTo>
                    <a:lnTo>
                      <a:pt x="406" y="176"/>
                    </a:lnTo>
                    <a:lnTo>
                      <a:pt x="406" y="176"/>
                    </a:lnTo>
                    <a:lnTo>
                      <a:pt x="406" y="176"/>
                    </a:lnTo>
                    <a:lnTo>
                      <a:pt x="411" y="176"/>
                    </a:lnTo>
                    <a:lnTo>
                      <a:pt x="411" y="176"/>
                    </a:lnTo>
                    <a:lnTo>
                      <a:pt x="415" y="176"/>
                    </a:lnTo>
                    <a:lnTo>
                      <a:pt x="420" y="176"/>
                    </a:lnTo>
                    <a:lnTo>
                      <a:pt x="420" y="176"/>
                    </a:lnTo>
                    <a:lnTo>
                      <a:pt x="420" y="176"/>
                    </a:lnTo>
                    <a:lnTo>
                      <a:pt x="420" y="176"/>
                    </a:lnTo>
                    <a:lnTo>
                      <a:pt x="420" y="176"/>
                    </a:lnTo>
                    <a:lnTo>
                      <a:pt x="424" y="176"/>
                    </a:lnTo>
                    <a:lnTo>
                      <a:pt x="424" y="176"/>
                    </a:lnTo>
                    <a:lnTo>
                      <a:pt x="424" y="176"/>
                    </a:lnTo>
                    <a:lnTo>
                      <a:pt x="429" y="176"/>
                    </a:lnTo>
                    <a:lnTo>
                      <a:pt x="429" y="176"/>
                    </a:lnTo>
                    <a:lnTo>
                      <a:pt x="429" y="176"/>
                    </a:lnTo>
                    <a:lnTo>
                      <a:pt x="429" y="176"/>
                    </a:lnTo>
                    <a:lnTo>
                      <a:pt x="429" y="176"/>
                    </a:lnTo>
                    <a:lnTo>
                      <a:pt x="424" y="181"/>
                    </a:lnTo>
                    <a:lnTo>
                      <a:pt x="411" y="181"/>
                    </a:lnTo>
                    <a:lnTo>
                      <a:pt x="406" y="181"/>
                    </a:lnTo>
                    <a:lnTo>
                      <a:pt x="406" y="181"/>
                    </a:lnTo>
                    <a:lnTo>
                      <a:pt x="402" y="185"/>
                    </a:lnTo>
                    <a:lnTo>
                      <a:pt x="402" y="181"/>
                    </a:lnTo>
                    <a:lnTo>
                      <a:pt x="397" y="185"/>
                    </a:lnTo>
                    <a:lnTo>
                      <a:pt x="397" y="185"/>
                    </a:lnTo>
                    <a:lnTo>
                      <a:pt x="393" y="185"/>
                    </a:lnTo>
                    <a:lnTo>
                      <a:pt x="393" y="185"/>
                    </a:lnTo>
                    <a:lnTo>
                      <a:pt x="388" y="185"/>
                    </a:lnTo>
                    <a:lnTo>
                      <a:pt x="384" y="185"/>
                    </a:lnTo>
                    <a:lnTo>
                      <a:pt x="384" y="185"/>
                    </a:lnTo>
                    <a:lnTo>
                      <a:pt x="379" y="185"/>
                    </a:lnTo>
                    <a:lnTo>
                      <a:pt x="379" y="185"/>
                    </a:lnTo>
                    <a:lnTo>
                      <a:pt x="375" y="185"/>
                    </a:lnTo>
                    <a:lnTo>
                      <a:pt x="375" y="190"/>
                    </a:lnTo>
                    <a:lnTo>
                      <a:pt x="370" y="190"/>
                    </a:lnTo>
                    <a:lnTo>
                      <a:pt x="365" y="190"/>
                    </a:lnTo>
                    <a:lnTo>
                      <a:pt x="365" y="190"/>
                    </a:lnTo>
                    <a:lnTo>
                      <a:pt x="361" y="194"/>
                    </a:lnTo>
                    <a:lnTo>
                      <a:pt x="356" y="194"/>
                    </a:lnTo>
                    <a:lnTo>
                      <a:pt x="356" y="194"/>
                    </a:lnTo>
                    <a:lnTo>
                      <a:pt x="356" y="194"/>
                    </a:lnTo>
                    <a:lnTo>
                      <a:pt x="356" y="194"/>
                    </a:lnTo>
                    <a:lnTo>
                      <a:pt x="356" y="194"/>
                    </a:lnTo>
                    <a:lnTo>
                      <a:pt x="361" y="194"/>
                    </a:lnTo>
                    <a:lnTo>
                      <a:pt x="361" y="194"/>
                    </a:lnTo>
                    <a:lnTo>
                      <a:pt x="361" y="194"/>
                    </a:lnTo>
                    <a:lnTo>
                      <a:pt x="361" y="194"/>
                    </a:lnTo>
                    <a:lnTo>
                      <a:pt x="365" y="194"/>
                    </a:lnTo>
                    <a:lnTo>
                      <a:pt x="365" y="194"/>
                    </a:lnTo>
                    <a:lnTo>
                      <a:pt x="370" y="194"/>
                    </a:lnTo>
                    <a:lnTo>
                      <a:pt x="370" y="194"/>
                    </a:lnTo>
                    <a:lnTo>
                      <a:pt x="365" y="194"/>
                    </a:lnTo>
                    <a:lnTo>
                      <a:pt x="365" y="194"/>
                    </a:lnTo>
                    <a:lnTo>
                      <a:pt x="370" y="190"/>
                    </a:lnTo>
                    <a:lnTo>
                      <a:pt x="370" y="190"/>
                    </a:lnTo>
                    <a:lnTo>
                      <a:pt x="370" y="190"/>
                    </a:lnTo>
                    <a:lnTo>
                      <a:pt x="370" y="190"/>
                    </a:lnTo>
                    <a:lnTo>
                      <a:pt x="375" y="190"/>
                    </a:lnTo>
                    <a:lnTo>
                      <a:pt x="379" y="190"/>
                    </a:lnTo>
                    <a:lnTo>
                      <a:pt x="379" y="190"/>
                    </a:lnTo>
                    <a:lnTo>
                      <a:pt x="379" y="190"/>
                    </a:lnTo>
                    <a:lnTo>
                      <a:pt x="384" y="185"/>
                    </a:lnTo>
                    <a:lnTo>
                      <a:pt x="388" y="185"/>
                    </a:lnTo>
                    <a:lnTo>
                      <a:pt x="388" y="185"/>
                    </a:lnTo>
                    <a:lnTo>
                      <a:pt x="388" y="185"/>
                    </a:lnTo>
                    <a:lnTo>
                      <a:pt x="388" y="185"/>
                    </a:lnTo>
                    <a:lnTo>
                      <a:pt x="388" y="185"/>
                    </a:lnTo>
                    <a:lnTo>
                      <a:pt x="393" y="185"/>
                    </a:lnTo>
                    <a:lnTo>
                      <a:pt x="393" y="185"/>
                    </a:lnTo>
                    <a:lnTo>
                      <a:pt x="393" y="185"/>
                    </a:lnTo>
                    <a:lnTo>
                      <a:pt x="393" y="185"/>
                    </a:lnTo>
                    <a:lnTo>
                      <a:pt x="393" y="185"/>
                    </a:lnTo>
                    <a:lnTo>
                      <a:pt x="393" y="185"/>
                    </a:lnTo>
                    <a:lnTo>
                      <a:pt x="393" y="185"/>
                    </a:lnTo>
                    <a:lnTo>
                      <a:pt x="397" y="185"/>
                    </a:lnTo>
                    <a:lnTo>
                      <a:pt x="397" y="185"/>
                    </a:lnTo>
                    <a:lnTo>
                      <a:pt x="397" y="185"/>
                    </a:lnTo>
                    <a:lnTo>
                      <a:pt x="397" y="185"/>
                    </a:lnTo>
                    <a:lnTo>
                      <a:pt x="397" y="185"/>
                    </a:lnTo>
                    <a:lnTo>
                      <a:pt x="393" y="190"/>
                    </a:lnTo>
                    <a:lnTo>
                      <a:pt x="393" y="190"/>
                    </a:lnTo>
                    <a:lnTo>
                      <a:pt x="393" y="190"/>
                    </a:lnTo>
                    <a:lnTo>
                      <a:pt x="397" y="190"/>
                    </a:lnTo>
                    <a:lnTo>
                      <a:pt x="402" y="185"/>
                    </a:lnTo>
                    <a:lnTo>
                      <a:pt x="406" y="185"/>
                    </a:lnTo>
                    <a:lnTo>
                      <a:pt x="411" y="185"/>
                    </a:lnTo>
                    <a:lnTo>
                      <a:pt x="411" y="181"/>
                    </a:lnTo>
                    <a:lnTo>
                      <a:pt x="420" y="181"/>
                    </a:lnTo>
                    <a:lnTo>
                      <a:pt x="424" y="181"/>
                    </a:lnTo>
                    <a:lnTo>
                      <a:pt x="429" y="181"/>
                    </a:lnTo>
                    <a:lnTo>
                      <a:pt x="429" y="181"/>
                    </a:lnTo>
                    <a:lnTo>
                      <a:pt x="429" y="181"/>
                    </a:lnTo>
                    <a:lnTo>
                      <a:pt x="429" y="181"/>
                    </a:lnTo>
                    <a:lnTo>
                      <a:pt x="429" y="181"/>
                    </a:lnTo>
                    <a:lnTo>
                      <a:pt x="429" y="181"/>
                    </a:lnTo>
                    <a:lnTo>
                      <a:pt x="429" y="181"/>
                    </a:lnTo>
                    <a:lnTo>
                      <a:pt x="424" y="181"/>
                    </a:lnTo>
                    <a:lnTo>
                      <a:pt x="424" y="181"/>
                    </a:lnTo>
                    <a:lnTo>
                      <a:pt x="424" y="185"/>
                    </a:lnTo>
                    <a:lnTo>
                      <a:pt x="424" y="185"/>
                    </a:lnTo>
                    <a:lnTo>
                      <a:pt x="424" y="185"/>
                    </a:lnTo>
                    <a:lnTo>
                      <a:pt x="424" y="185"/>
                    </a:lnTo>
                    <a:lnTo>
                      <a:pt x="424" y="185"/>
                    </a:lnTo>
                    <a:lnTo>
                      <a:pt x="429" y="181"/>
                    </a:lnTo>
                    <a:lnTo>
                      <a:pt x="433" y="181"/>
                    </a:lnTo>
                    <a:lnTo>
                      <a:pt x="438" y="181"/>
                    </a:lnTo>
                    <a:lnTo>
                      <a:pt x="442" y="176"/>
                    </a:lnTo>
                    <a:lnTo>
                      <a:pt x="442" y="176"/>
                    </a:lnTo>
                    <a:lnTo>
                      <a:pt x="447" y="176"/>
                    </a:lnTo>
                    <a:lnTo>
                      <a:pt x="451" y="176"/>
                    </a:lnTo>
                    <a:lnTo>
                      <a:pt x="447" y="176"/>
                    </a:lnTo>
                    <a:lnTo>
                      <a:pt x="447" y="176"/>
                    </a:lnTo>
                    <a:lnTo>
                      <a:pt x="447" y="176"/>
                    </a:lnTo>
                    <a:lnTo>
                      <a:pt x="451" y="176"/>
                    </a:lnTo>
                    <a:lnTo>
                      <a:pt x="451" y="172"/>
                    </a:lnTo>
                    <a:lnTo>
                      <a:pt x="451" y="172"/>
                    </a:lnTo>
                    <a:lnTo>
                      <a:pt x="451" y="172"/>
                    </a:lnTo>
                    <a:lnTo>
                      <a:pt x="451" y="172"/>
                    </a:lnTo>
                    <a:lnTo>
                      <a:pt x="456" y="172"/>
                    </a:lnTo>
                    <a:lnTo>
                      <a:pt x="456" y="172"/>
                    </a:lnTo>
                    <a:lnTo>
                      <a:pt x="456" y="172"/>
                    </a:lnTo>
                    <a:lnTo>
                      <a:pt x="456" y="172"/>
                    </a:lnTo>
                    <a:lnTo>
                      <a:pt x="456" y="176"/>
                    </a:lnTo>
                    <a:lnTo>
                      <a:pt x="456" y="176"/>
                    </a:lnTo>
                    <a:lnTo>
                      <a:pt x="456" y="176"/>
                    </a:lnTo>
                    <a:lnTo>
                      <a:pt x="451" y="181"/>
                    </a:lnTo>
                    <a:lnTo>
                      <a:pt x="451" y="181"/>
                    </a:lnTo>
                    <a:lnTo>
                      <a:pt x="447" y="185"/>
                    </a:lnTo>
                    <a:lnTo>
                      <a:pt x="447" y="185"/>
                    </a:lnTo>
                    <a:lnTo>
                      <a:pt x="447" y="185"/>
                    </a:lnTo>
                    <a:lnTo>
                      <a:pt x="447" y="190"/>
                    </a:lnTo>
                    <a:lnTo>
                      <a:pt x="447" y="190"/>
                    </a:lnTo>
                    <a:lnTo>
                      <a:pt x="447" y="194"/>
                    </a:lnTo>
                    <a:lnTo>
                      <a:pt x="447" y="194"/>
                    </a:lnTo>
                    <a:lnTo>
                      <a:pt x="447" y="194"/>
                    </a:lnTo>
                    <a:lnTo>
                      <a:pt x="451" y="194"/>
                    </a:lnTo>
                    <a:lnTo>
                      <a:pt x="451" y="194"/>
                    </a:lnTo>
                    <a:lnTo>
                      <a:pt x="456" y="194"/>
                    </a:lnTo>
                    <a:lnTo>
                      <a:pt x="456" y="190"/>
                    </a:lnTo>
                    <a:lnTo>
                      <a:pt x="456" y="190"/>
                    </a:lnTo>
                    <a:lnTo>
                      <a:pt x="456" y="190"/>
                    </a:lnTo>
                    <a:lnTo>
                      <a:pt x="460" y="190"/>
                    </a:lnTo>
                    <a:lnTo>
                      <a:pt x="460" y="190"/>
                    </a:lnTo>
                    <a:lnTo>
                      <a:pt x="465" y="185"/>
                    </a:lnTo>
                    <a:lnTo>
                      <a:pt x="465" y="185"/>
                    </a:lnTo>
                    <a:lnTo>
                      <a:pt x="465" y="185"/>
                    </a:lnTo>
                    <a:lnTo>
                      <a:pt x="465" y="185"/>
                    </a:lnTo>
                    <a:lnTo>
                      <a:pt x="465" y="185"/>
                    </a:lnTo>
                    <a:lnTo>
                      <a:pt x="469" y="185"/>
                    </a:lnTo>
                    <a:lnTo>
                      <a:pt x="469" y="185"/>
                    </a:lnTo>
                    <a:lnTo>
                      <a:pt x="469" y="185"/>
                    </a:lnTo>
                    <a:lnTo>
                      <a:pt x="469" y="185"/>
                    </a:lnTo>
                    <a:lnTo>
                      <a:pt x="469" y="185"/>
                    </a:lnTo>
                    <a:lnTo>
                      <a:pt x="469" y="185"/>
                    </a:lnTo>
                    <a:lnTo>
                      <a:pt x="469" y="185"/>
                    </a:lnTo>
                    <a:lnTo>
                      <a:pt x="469" y="185"/>
                    </a:lnTo>
                    <a:lnTo>
                      <a:pt x="474" y="181"/>
                    </a:lnTo>
                    <a:lnTo>
                      <a:pt x="474" y="181"/>
                    </a:lnTo>
                    <a:lnTo>
                      <a:pt x="478" y="181"/>
                    </a:lnTo>
                    <a:lnTo>
                      <a:pt x="478" y="181"/>
                    </a:lnTo>
                    <a:lnTo>
                      <a:pt x="478" y="181"/>
                    </a:lnTo>
                    <a:lnTo>
                      <a:pt x="478" y="181"/>
                    </a:lnTo>
                    <a:lnTo>
                      <a:pt x="478" y="185"/>
                    </a:lnTo>
                    <a:lnTo>
                      <a:pt x="474" y="185"/>
                    </a:lnTo>
                    <a:lnTo>
                      <a:pt x="474" y="185"/>
                    </a:lnTo>
                    <a:lnTo>
                      <a:pt x="469" y="190"/>
                    </a:lnTo>
                    <a:lnTo>
                      <a:pt x="469" y="190"/>
                    </a:lnTo>
                    <a:lnTo>
                      <a:pt x="469" y="190"/>
                    </a:lnTo>
                    <a:lnTo>
                      <a:pt x="469" y="190"/>
                    </a:lnTo>
                    <a:lnTo>
                      <a:pt x="460" y="194"/>
                    </a:lnTo>
                    <a:lnTo>
                      <a:pt x="460" y="194"/>
                    </a:lnTo>
                    <a:lnTo>
                      <a:pt x="460" y="194"/>
                    </a:lnTo>
                    <a:lnTo>
                      <a:pt x="460" y="194"/>
                    </a:lnTo>
                    <a:lnTo>
                      <a:pt x="460" y="194"/>
                    </a:lnTo>
                    <a:lnTo>
                      <a:pt x="460" y="194"/>
                    </a:lnTo>
                    <a:lnTo>
                      <a:pt x="460" y="194"/>
                    </a:lnTo>
                    <a:lnTo>
                      <a:pt x="465" y="194"/>
                    </a:lnTo>
                    <a:lnTo>
                      <a:pt x="469" y="194"/>
                    </a:lnTo>
                    <a:lnTo>
                      <a:pt x="469" y="194"/>
                    </a:lnTo>
                    <a:lnTo>
                      <a:pt x="469" y="194"/>
                    </a:lnTo>
                    <a:lnTo>
                      <a:pt x="474" y="194"/>
                    </a:lnTo>
                    <a:lnTo>
                      <a:pt x="474" y="194"/>
                    </a:lnTo>
                    <a:lnTo>
                      <a:pt x="474" y="194"/>
                    </a:lnTo>
                    <a:lnTo>
                      <a:pt x="478" y="194"/>
                    </a:lnTo>
                    <a:lnTo>
                      <a:pt x="483" y="190"/>
                    </a:lnTo>
                    <a:lnTo>
                      <a:pt x="483" y="190"/>
                    </a:lnTo>
                    <a:lnTo>
                      <a:pt x="483" y="190"/>
                    </a:lnTo>
                    <a:lnTo>
                      <a:pt x="483" y="190"/>
                    </a:lnTo>
                    <a:lnTo>
                      <a:pt x="487" y="190"/>
                    </a:lnTo>
                    <a:lnTo>
                      <a:pt x="487" y="190"/>
                    </a:lnTo>
                    <a:lnTo>
                      <a:pt x="492" y="190"/>
                    </a:lnTo>
                    <a:lnTo>
                      <a:pt x="492" y="190"/>
                    </a:lnTo>
                    <a:lnTo>
                      <a:pt x="496" y="190"/>
                    </a:lnTo>
                    <a:lnTo>
                      <a:pt x="496" y="190"/>
                    </a:lnTo>
                    <a:lnTo>
                      <a:pt x="496" y="194"/>
                    </a:lnTo>
                    <a:lnTo>
                      <a:pt x="501" y="194"/>
                    </a:lnTo>
                    <a:lnTo>
                      <a:pt x="501" y="194"/>
                    </a:lnTo>
                    <a:lnTo>
                      <a:pt x="501" y="199"/>
                    </a:lnTo>
                    <a:lnTo>
                      <a:pt x="501" y="199"/>
                    </a:lnTo>
                    <a:lnTo>
                      <a:pt x="506" y="199"/>
                    </a:lnTo>
                    <a:lnTo>
                      <a:pt x="510" y="204"/>
                    </a:lnTo>
                    <a:lnTo>
                      <a:pt x="515" y="204"/>
                    </a:lnTo>
                    <a:lnTo>
                      <a:pt x="515" y="208"/>
                    </a:lnTo>
                    <a:lnTo>
                      <a:pt x="515" y="208"/>
                    </a:lnTo>
                    <a:lnTo>
                      <a:pt x="515" y="208"/>
                    </a:lnTo>
                    <a:lnTo>
                      <a:pt x="515" y="208"/>
                    </a:lnTo>
                    <a:lnTo>
                      <a:pt x="519" y="213"/>
                    </a:lnTo>
                    <a:lnTo>
                      <a:pt x="519" y="213"/>
                    </a:lnTo>
                    <a:lnTo>
                      <a:pt x="519" y="213"/>
                    </a:lnTo>
                    <a:lnTo>
                      <a:pt x="524" y="213"/>
                    </a:lnTo>
                    <a:lnTo>
                      <a:pt x="528" y="213"/>
                    </a:lnTo>
                    <a:lnTo>
                      <a:pt x="528" y="213"/>
                    </a:lnTo>
                    <a:lnTo>
                      <a:pt x="528" y="213"/>
                    </a:lnTo>
                    <a:lnTo>
                      <a:pt x="528" y="213"/>
                    </a:lnTo>
                    <a:lnTo>
                      <a:pt x="528" y="213"/>
                    </a:lnTo>
                    <a:lnTo>
                      <a:pt x="533" y="213"/>
                    </a:lnTo>
                    <a:lnTo>
                      <a:pt x="533" y="213"/>
                    </a:lnTo>
                    <a:lnTo>
                      <a:pt x="533" y="213"/>
                    </a:lnTo>
                    <a:lnTo>
                      <a:pt x="533" y="213"/>
                    </a:lnTo>
                    <a:lnTo>
                      <a:pt x="533" y="213"/>
                    </a:lnTo>
                    <a:lnTo>
                      <a:pt x="537" y="213"/>
                    </a:lnTo>
                    <a:lnTo>
                      <a:pt x="537" y="213"/>
                    </a:lnTo>
                    <a:lnTo>
                      <a:pt x="537" y="213"/>
                    </a:lnTo>
                    <a:lnTo>
                      <a:pt x="537" y="213"/>
                    </a:lnTo>
                    <a:lnTo>
                      <a:pt x="542" y="213"/>
                    </a:lnTo>
                    <a:lnTo>
                      <a:pt x="542" y="217"/>
                    </a:lnTo>
                    <a:lnTo>
                      <a:pt x="542" y="217"/>
                    </a:lnTo>
                    <a:lnTo>
                      <a:pt x="542" y="217"/>
                    </a:lnTo>
                    <a:lnTo>
                      <a:pt x="542" y="222"/>
                    </a:lnTo>
                    <a:lnTo>
                      <a:pt x="542" y="222"/>
                    </a:lnTo>
                    <a:lnTo>
                      <a:pt x="542" y="222"/>
                    </a:lnTo>
                    <a:lnTo>
                      <a:pt x="542" y="222"/>
                    </a:lnTo>
                    <a:lnTo>
                      <a:pt x="542" y="222"/>
                    </a:lnTo>
                    <a:lnTo>
                      <a:pt x="542" y="222"/>
                    </a:lnTo>
                    <a:lnTo>
                      <a:pt x="537" y="226"/>
                    </a:lnTo>
                    <a:lnTo>
                      <a:pt x="537" y="226"/>
                    </a:lnTo>
                    <a:lnTo>
                      <a:pt x="537" y="226"/>
                    </a:lnTo>
                    <a:lnTo>
                      <a:pt x="537" y="226"/>
                    </a:lnTo>
                    <a:lnTo>
                      <a:pt x="533" y="226"/>
                    </a:lnTo>
                    <a:lnTo>
                      <a:pt x="528" y="226"/>
                    </a:lnTo>
                    <a:lnTo>
                      <a:pt x="524" y="226"/>
                    </a:lnTo>
                    <a:lnTo>
                      <a:pt x="524" y="226"/>
                    </a:lnTo>
                    <a:lnTo>
                      <a:pt x="524" y="226"/>
                    </a:lnTo>
                    <a:lnTo>
                      <a:pt x="519" y="231"/>
                    </a:lnTo>
                    <a:lnTo>
                      <a:pt x="519" y="231"/>
                    </a:lnTo>
                    <a:lnTo>
                      <a:pt x="515" y="231"/>
                    </a:lnTo>
                    <a:lnTo>
                      <a:pt x="515" y="231"/>
                    </a:lnTo>
                    <a:lnTo>
                      <a:pt x="515" y="231"/>
                    </a:lnTo>
                    <a:lnTo>
                      <a:pt x="515" y="231"/>
                    </a:lnTo>
                    <a:lnTo>
                      <a:pt x="519" y="231"/>
                    </a:lnTo>
                    <a:lnTo>
                      <a:pt x="519" y="231"/>
                    </a:lnTo>
                    <a:lnTo>
                      <a:pt x="519" y="235"/>
                    </a:lnTo>
                    <a:lnTo>
                      <a:pt x="524" y="235"/>
                    </a:lnTo>
                    <a:lnTo>
                      <a:pt x="524" y="235"/>
                    </a:lnTo>
                    <a:lnTo>
                      <a:pt x="524" y="235"/>
                    </a:lnTo>
                    <a:lnTo>
                      <a:pt x="524" y="235"/>
                    </a:lnTo>
                    <a:lnTo>
                      <a:pt x="528" y="235"/>
                    </a:lnTo>
                    <a:lnTo>
                      <a:pt x="528" y="235"/>
                    </a:lnTo>
                    <a:lnTo>
                      <a:pt x="533" y="235"/>
                    </a:lnTo>
                    <a:lnTo>
                      <a:pt x="537" y="235"/>
                    </a:lnTo>
                    <a:lnTo>
                      <a:pt x="537" y="235"/>
                    </a:lnTo>
                    <a:lnTo>
                      <a:pt x="542" y="240"/>
                    </a:lnTo>
                    <a:lnTo>
                      <a:pt x="542" y="240"/>
                    </a:lnTo>
                    <a:lnTo>
                      <a:pt x="542" y="235"/>
                    </a:lnTo>
                    <a:lnTo>
                      <a:pt x="546" y="235"/>
                    </a:lnTo>
                    <a:lnTo>
                      <a:pt x="546" y="235"/>
                    </a:lnTo>
                    <a:lnTo>
                      <a:pt x="551" y="235"/>
                    </a:lnTo>
                    <a:lnTo>
                      <a:pt x="551" y="240"/>
                    </a:lnTo>
                    <a:lnTo>
                      <a:pt x="555" y="235"/>
                    </a:lnTo>
                    <a:lnTo>
                      <a:pt x="555" y="235"/>
                    </a:lnTo>
                    <a:lnTo>
                      <a:pt x="560" y="235"/>
                    </a:lnTo>
                    <a:lnTo>
                      <a:pt x="560" y="235"/>
                    </a:lnTo>
                    <a:lnTo>
                      <a:pt x="560" y="240"/>
                    </a:lnTo>
                    <a:lnTo>
                      <a:pt x="560" y="240"/>
                    </a:lnTo>
                    <a:lnTo>
                      <a:pt x="560" y="235"/>
                    </a:lnTo>
                    <a:lnTo>
                      <a:pt x="569" y="235"/>
                    </a:lnTo>
                    <a:lnTo>
                      <a:pt x="569" y="235"/>
                    </a:lnTo>
                    <a:lnTo>
                      <a:pt x="573" y="235"/>
                    </a:lnTo>
                    <a:lnTo>
                      <a:pt x="573" y="235"/>
                    </a:lnTo>
                    <a:lnTo>
                      <a:pt x="573" y="235"/>
                    </a:lnTo>
                    <a:lnTo>
                      <a:pt x="573" y="235"/>
                    </a:lnTo>
                    <a:lnTo>
                      <a:pt x="573" y="235"/>
                    </a:lnTo>
                    <a:lnTo>
                      <a:pt x="573" y="240"/>
                    </a:lnTo>
                    <a:lnTo>
                      <a:pt x="573" y="240"/>
                    </a:lnTo>
                    <a:lnTo>
                      <a:pt x="573" y="240"/>
                    </a:lnTo>
                    <a:lnTo>
                      <a:pt x="573" y="240"/>
                    </a:lnTo>
                    <a:lnTo>
                      <a:pt x="578" y="240"/>
                    </a:lnTo>
                    <a:lnTo>
                      <a:pt x="578" y="240"/>
                    </a:lnTo>
                    <a:lnTo>
                      <a:pt x="578" y="240"/>
                    </a:lnTo>
                    <a:lnTo>
                      <a:pt x="578" y="244"/>
                    </a:lnTo>
                    <a:lnTo>
                      <a:pt x="573" y="244"/>
                    </a:lnTo>
                    <a:lnTo>
                      <a:pt x="573" y="244"/>
                    </a:lnTo>
                    <a:lnTo>
                      <a:pt x="573" y="244"/>
                    </a:lnTo>
                    <a:lnTo>
                      <a:pt x="573" y="244"/>
                    </a:lnTo>
                    <a:lnTo>
                      <a:pt x="573" y="244"/>
                    </a:lnTo>
                    <a:lnTo>
                      <a:pt x="578" y="244"/>
                    </a:lnTo>
                    <a:lnTo>
                      <a:pt x="578" y="244"/>
                    </a:lnTo>
                    <a:lnTo>
                      <a:pt x="578" y="244"/>
                    </a:lnTo>
                    <a:lnTo>
                      <a:pt x="578" y="244"/>
                    </a:lnTo>
                    <a:lnTo>
                      <a:pt x="578" y="244"/>
                    </a:lnTo>
                    <a:lnTo>
                      <a:pt x="578" y="249"/>
                    </a:lnTo>
                    <a:lnTo>
                      <a:pt x="578" y="249"/>
                    </a:lnTo>
                    <a:lnTo>
                      <a:pt x="578" y="253"/>
                    </a:lnTo>
                    <a:lnTo>
                      <a:pt x="578" y="253"/>
                    </a:lnTo>
                    <a:lnTo>
                      <a:pt x="578" y="253"/>
                    </a:lnTo>
                    <a:lnTo>
                      <a:pt x="578" y="253"/>
                    </a:lnTo>
                    <a:lnTo>
                      <a:pt x="573" y="253"/>
                    </a:lnTo>
                    <a:lnTo>
                      <a:pt x="573" y="253"/>
                    </a:lnTo>
                    <a:lnTo>
                      <a:pt x="573" y="253"/>
                    </a:lnTo>
                    <a:lnTo>
                      <a:pt x="569" y="253"/>
                    </a:lnTo>
                    <a:lnTo>
                      <a:pt x="569" y="253"/>
                    </a:lnTo>
                    <a:lnTo>
                      <a:pt x="569" y="253"/>
                    </a:lnTo>
                    <a:lnTo>
                      <a:pt x="569" y="253"/>
                    </a:lnTo>
                    <a:lnTo>
                      <a:pt x="569" y="258"/>
                    </a:lnTo>
                    <a:lnTo>
                      <a:pt x="569" y="258"/>
                    </a:lnTo>
                    <a:lnTo>
                      <a:pt x="569" y="258"/>
                    </a:lnTo>
                    <a:lnTo>
                      <a:pt x="569" y="258"/>
                    </a:lnTo>
                    <a:lnTo>
                      <a:pt x="569" y="258"/>
                    </a:lnTo>
                    <a:lnTo>
                      <a:pt x="569" y="262"/>
                    </a:lnTo>
                    <a:lnTo>
                      <a:pt x="569" y="262"/>
                    </a:lnTo>
                    <a:lnTo>
                      <a:pt x="569" y="262"/>
                    </a:lnTo>
                    <a:lnTo>
                      <a:pt x="569" y="267"/>
                    </a:lnTo>
                    <a:lnTo>
                      <a:pt x="569" y="267"/>
                    </a:lnTo>
                    <a:lnTo>
                      <a:pt x="569" y="267"/>
                    </a:lnTo>
                    <a:lnTo>
                      <a:pt x="569" y="267"/>
                    </a:lnTo>
                    <a:lnTo>
                      <a:pt x="569" y="262"/>
                    </a:lnTo>
                    <a:lnTo>
                      <a:pt x="573" y="258"/>
                    </a:lnTo>
                    <a:lnTo>
                      <a:pt x="573" y="258"/>
                    </a:lnTo>
                    <a:lnTo>
                      <a:pt x="573" y="258"/>
                    </a:lnTo>
                    <a:lnTo>
                      <a:pt x="578" y="258"/>
                    </a:lnTo>
                    <a:lnTo>
                      <a:pt x="578" y="253"/>
                    </a:lnTo>
                    <a:lnTo>
                      <a:pt x="578" y="253"/>
                    </a:lnTo>
                    <a:lnTo>
                      <a:pt x="578" y="258"/>
                    </a:lnTo>
                    <a:lnTo>
                      <a:pt x="578" y="258"/>
                    </a:lnTo>
                    <a:lnTo>
                      <a:pt x="578" y="258"/>
                    </a:lnTo>
                    <a:lnTo>
                      <a:pt x="578" y="258"/>
                    </a:lnTo>
                    <a:lnTo>
                      <a:pt x="578" y="258"/>
                    </a:lnTo>
                    <a:lnTo>
                      <a:pt x="578" y="258"/>
                    </a:lnTo>
                    <a:lnTo>
                      <a:pt x="582" y="258"/>
                    </a:lnTo>
                    <a:lnTo>
                      <a:pt x="582" y="258"/>
                    </a:lnTo>
                    <a:lnTo>
                      <a:pt x="582" y="253"/>
                    </a:lnTo>
                    <a:lnTo>
                      <a:pt x="582" y="253"/>
                    </a:lnTo>
                    <a:lnTo>
                      <a:pt x="582" y="253"/>
                    </a:lnTo>
                    <a:lnTo>
                      <a:pt x="582" y="253"/>
                    </a:lnTo>
                    <a:lnTo>
                      <a:pt x="582" y="253"/>
                    </a:lnTo>
                    <a:lnTo>
                      <a:pt x="582" y="249"/>
                    </a:lnTo>
                    <a:lnTo>
                      <a:pt x="587" y="249"/>
                    </a:lnTo>
                    <a:lnTo>
                      <a:pt x="587" y="249"/>
                    </a:lnTo>
                    <a:lnTo>
                      <a:pt x="587" y="249"/>
                    </a:lnTo>
                    <a:lnTo>
                      <a:pt x="587" y="244"/>
                    </a:lnTo>
                    <a:lnTo>
                      <a:pt x="587" y="244"/>
                    </a:lnTo>
                    <a:lnTo>
                      <a:pt x="587" y="244"/>
                    </a:lnTo>
                    <a:lnTo>
                      <a:pt x="587" y="244"/>
                    </a:lnTo>
                    <a:lnTo>
                      <a:pt x="591" y="240"/>
                    </a:lnTo>
                    <a:lnTo>
                      <a:pt x="591" y="240"/>
                    </a:lnTo>
                    <a:lnTo>
                      <a:pt x="591" y="240"/>
                    </a:lnTo>
                    <a:lnTo>
                      <a:pt x="596" y="240"/>
                    </a:lnTo>
                    <a:lnTo>
                      <a:pt x="596" y="240"/>
                    </a:lnTo>
                    <a:lnTo>
                      <a:pt x="596" y="235"/>
                    </a:lnTo>
                    <a:lnTo>
                      <a:pt x="596" y="235"/>
                    </a:lnTo>
                    <a:lnTo>
                      <a:pt x="600" y="235"/>
                    </a:lnTo>
                    <a:lnTo>
                      <a:pt x="600" y="235"/>
                    </a:lnTo>
                    <a:lnTo>
                      <a:pt x="600" y="235"/>
                    </a:lnTo>
                    <a:lnTo>
                      <a:pt x="605" y="235"/>
                    </a:lnTo>
                    <a:lnTo>
                      <a:pt x="605" y="235"/>
                    </a:lnTo>
                    <a:lnTo>
                      <a:pt x="605" y="235"/>
                    </a:lnTo>
                    <a:lnTo>
                      <a:pt x="609" y="235"/>
                    </a:lnTo>
                    <a:lnTo>
                      <a:pt x="609" y="235"/>
                    </a:lnTo>
                    <a:lnTo>
                      <a:pt x="609" y="235"/>
                    </a:lnTo>
                    <a:lnTo>
                      <a:pt x="609" y="235"/>
                    </a:lnTo>
                    <a:lnTo>
                      <a:pt x="614" y="235"/>
                    </a:lnTo>
                    <a:lnTo>
                      <a:pt x="614" y="235"/>
                    </a:lnTo>
                    <a:lnTo>
                      <a:pt x="614" y="235"/>
                    </a:lnTo>
                    <a:lnTo>
                      <a:pt x="614" y="235"/>
                    </a:lnTo>
                    <a:lnTo>
                      <a:pt x="614" y="235"/>
                    </a:lnTo>
                    <a:lnTo>
                      <a:pt x="618" y="235"/>
                    </a:lnTo>
                    <a:lnTo>
                      <a:pt x="618" y="235"/>
                    </a:lnTo>
                    <a:lnTo>
                      <a:pt x="623" y="231"/>
                    </a:lnTo>
                    <a:lnTo>
                      <a:pt x="623" y="231"/>
                    </a:lnTo>
                    <a:lnTo>
                      <a:pt x="623" y="231"/>
                    </a:lnTo>
                    <a:lnTo>
                      <a:pt x="628" y="231"/>
                    </a:lnTo>
                    <a:lnTo>
                      <a:pt x="628" y="231"/>
                    </a:lnTo>
                    <a:lnTo>
                      <a:pt x="628" y="231"/>
                    </a:lnTo>
                    <a:lnTo>
                      <a:pt x="632" y="231"/>
                    </a:lnTo>
                    <a:lnTo>
                      <a:pt x="632" y="231"/>
                    </a:lnTo>
                    <a:lnTo>
                      <a:pt x="632" y="226"/>
                    </a:lnTo>
                    <a:lnTo>
                      <a:pt x="628" y="226"/>
                    </a:lnTo>
                    <a:lnTo>
                      <a:pt x="628" y="231"/>
                    </a:lnTo>
                    <a:lnTo>
                      <a:pt x="623" y="231"/>
                    </a:lnTo>
                    <a:lnTo>
                      <a:pt x="618" y="231"/>
                    </a:lnTo>
                    <a:lnTo>
                      <a:pt x="618" y="231"/>
                    </a:lnTo>
                    <a:lnTo>
                      <a:pt x="618" y="231"/>
                    </a:lnTo>
                    <a:lnTo>
                      <a:pt x="614" y="231"/>
                    </a:lnTo>
                    <a:lnTo>
                      <a:pt x="614" y="231"/>
                    </a:lnTo>
                    <a:lnTo>
                      <a:pt x="614" y="231"/>
                    </a:lnTo>
                    <a:lnTo>
                      <a:pt x="614" y="231"/>
                    </a:lnTo>
                    <a:lnTo>
                      <a:pt x="609" y="231"/>
                    </a:lnTo>
                    <a:lnTo>
                      <a:pt x="609" y="231"/>
                    </a:lnTo>
                    <a:lnTo>
                      <a:pt x="605" y="231"/>
                    </a:lnTo>
                    <a:lnTo>
                      <a:pt x="605" y="231"/>
                    </a:lnTo>
                    <a:lnTo>
                      <a:pt x="605" y="231"/>
                    </a:lnTo>
                    <a:lnTo>
                      <a:pt x="605" y="235"/>
                    </a:lnTo>
                    <a:lnTo>
                      <a:pt x="605" y="235"/>
                    </a:lnTo>
                    <a:lnTo>
                      <a:pt x="600" y="235"/>
                    </a:lnTo>
                    <a:lnTo>
                      <a:pt x="600" y="235"/>
                    </a:lnTo>
                    <a:lnTo>
                      <a:pt x="596" y="235"/>
                    </a:lnTo>
                    <a:lnTo>
                      <a:pt x="596" y="235"/>
                    </a:lnTo>
                    <a:lnTo>
                      <a:pt x="596" y="235"/>
                    </a:lnTo>
                    <a:lnTo>
                      <a:pt x="596" y="235"/>
                    </a:lnTo>
                    <a:lnTo>
                      <a:pt x="596" y="231"/>
                    </a:lnTo>
                    <a:lnTo>
                      <a:pt x="596" y="231"/>
                    </a:lnTo>
                    <a:lnTo>
                      <a:pt x="596" y="231"/>
                    </a:lnTo>
                    <a:lnTo>
                      <a:pt x="605" y="226"/>
                    </a:lnTo>
                    <a:lnTo>
                      <a:pt x="605" y="226"/>
                    </a:lnTo>
                    <a:lnTo>
                      <a:pt x="609" y="226"/>
                    </a:lnTo>
                    <a:lnTo>
                      <a:pt x="614" y="226"/>
                    </a:lnTo>
                    <a:lnTo>
                      <a:pt x="623" y="226"/>
                    </a:lnTo>
                    <a:lnTo>
                      <a:pt x="628" y="226"/>
                    </a:lnTo>
                    <a:lnTo>
                      <a:pt x="632" y="222"/>
                    </a:lnTo>
                    <a:lnTo>
                      <a:pt x="632" y="222"/>
                    </a:lnTo>
                    <a:lnTo>
                      <a:pt x="637" y="222"/>
                    </a:lnTo>
                    <a:lnTo>
                      <a:pt x="637" y="226"/>
                    </a:lnTo>
                    <a:lnTo>
                      <a:pt x="637" y="226"/>
                    </a:lnTo>
                    <a:lnTo>
                      <a:pt x="637" y="226"/>
                    </a:lnTo>
                    <a:lnTo>
                      <a:pt x="637" y="226"/>
                    </a:lnTo>
                    <a:lnTo>
                      <a:pt x="632" y="231"/>
                    </a:lnTo>
                    <a:lnTo>
                      <a:pt x="632" y="231"/>
                    </a:lnTo>
                    <a:lnTo>
                      <a:pt x="632" y="231"/>
                    </a:lnTo>
                    <a:lnTo>
                      <a:pt x="632" y="235"/>
                    </a:lnTo>
                    <a:lnTo>
                      <a:pt x="632" y="235"/>
                    </a:lnTo>
                    <a:lnTo>
                      <a:pt x="632" y="235"/>
                    </a:lnTo>
                    <a:lnTo>
                      <a:pt x="632" y="235"/>
                    </a:lnTo>
                    <a:lnTo>
                      <a:pt x="632" y="235"/>
                    </a:lnTo>
                    <a:lnTo>
                      <a:pt x="632" y="235"/>
                    </a:lnTo>
                    <a:lnTo>
                      <a:pt x="632" y="235"/>
                    </a:lnTo>
                    <a:lnTo>
                      <a:pt x="632" y="235"/>
                    </a:lnTo>
                    <a:lnTo>
                      <a:pt x="637" y="235"/>
                    </a:lnTo>
                    <a:lnTo>
                      <a:pt x="637" y="235"/>
                    </a:lnTo>
                    <a:lnTo>
                      <a:pt x="637" y="235"/>
                    </a:lnTo>
                    <a:lnTo>
                      <a:pt x="632" y="240"/>
                    </a:lnTo>
                    <a:lnTo>
                      <a:pt x="632" y="240"/>
                    </a:lnTo>
                    <a:lnTo>
                      <a:pt x="632" y="240"/>
                    </a:lnTo>
                    <a:lnTo>
                      <a:pt x="637" y="240"/>
                    </a:lnTo>
                    <a:lnTo>
                      <a:pt x="637" y="240"/>
                    </a:lnTo>
                    <a:lnTo>
                      <a:pt x="641" y="240"/>
                    </a:lnTo>
                    <a:lnTo>
                      <a:pt x="641" y="240"/>
                    </a:lnTo>
                    <a:lnTo>
                      <a:pt x="646" y="240"/>
                    </a:lnTo>
                    <a:lnTo>
                      <a:pt x="646" y="240"/>
                    </a:lnTo>
                    <a:lnTo>
                      <a:pt x="646" y="244"/>
                    </a:lnTo>
                    <a:lnTo>
                      <a:pt x="646" y="244"/>
                    </a:lnTo>
                    <a:lnTo>
                      <a:pt x="646" y="244"/>
                    </a:lnTo>
                    <a:lnTo>
                      <a:pt x="650" y="249"/>
                    </a:lnTo>
                    <a:lnTo>
                      <a:pt x="650" y="249"/>
                    </a:lnTo>
                    <a:lnTo>
                      <a:pt x="650" y="249"/>
                    </a:lnTo>
                    <a:lnTo>
                      <a:pt x="655" y="249"/>
                    </a:lnTo>
                    <a:lnTo>
                      <a:pt x="655" y="249"/>
                    </a:lnTo>
                    <a:lnTo>
                      <a:pt x="655" y="249"/>
                    </a:lnTo>
                    <a:lnTo>
                      <a:pt x="659" y="249"/>
                    </a:lnTo>
                    <a:lnTo>
                      <a:pt x="664" y="249"/>
                    </a:lnTo>
                    <a:lnTo>
                      <a:pt x="664" y="249"/>
                    </a:lnTo>
                    <a:lnTo>
                      <a:pt x="668" y="249"/>
                    </a:lnTo>
                    <a:lnTo>
                      <a:pt x="668" y="249"/>
                    </a:lnTo>
                    <a:lnTo>
                      <a:pt x="668" y="249"/>
                    </a:lnTo>
                    <a:lnTo>
                      <a:pt x="673" y="249"/>
                    </a:lnTo>
                    <a:lnTo>
                      <a:pt x="673" y="249"/>
                    </a:lnTo>
                    <a:lnTo>
                      <a:pt x="673" y="249"/>
                    </a:lnTo>
                    <a:lnTo>
                      <a:pt x="677" y="249"/>
                    </a:lnTo>
                    <a:lnTo>
                      <a:pt x="682" y="249"/>
                    </a:lnTo>
                    <a:lnTo>
                      <a:pt x="682" y="249"/>
                    </a:lnTo>
                    <a:lnTo>
                      <a:pt x="682" y="253"/>
                    </a:lnTo>
                    <a:lnTo>
                      <a:pt x="686" y="253"/>
                    </a:lnTo>
                    <a:lnTo>
                      <a:pt x="686" y="253"/>
                    </a:lnTo>
                    <a:lnTo>
                      <a:pt x="686" y="253"/>
                    </a:lnTo>
                    <a:lnTo>
                      <a:pt x="691" y="249"/>
                    </a:lnTo>
                    <a:lnTo>
                      <a:pt x="691" y="249"/>
                    </a:lnTo>
                    <a:lnTo>
                      <a:pt x="695" y="249"/>
                    </a:lnTo>
                    <a:lnTo>
                      <a:pt x="695" y="249"/>
                    </a:lnTo>
                    <a:lnTo>
                      <a:pt x="695" y="249"/>
                    </a:lnTo>
                    <a:lnTo>
                      <a:pt x="695" y="249"/>
                    </a:lnTo>
                    <a:lnTo>
                      <a:pt x="695" y="249"/>
                    </a:lnTo>
                    <a:lnTo>
                      <a:pt x="695" y="249"/>
                    </a:lnTo>
                    <a:lnTo>
                      <a:pt x="695" y="244"/>
                    </a:lnTo>
                    <a:lnTo>
                      <a:pt x="695" y="244"/>
                    </a:lnTo>
                    <a:lnTo>
                      <a:pt x="695" y="244"/>
                    </a:lnTo>
                    <a:lnTo>
                      <a:pt x="695" y="244"/>
                    </a:lnTo>
                    <a:lnTo>
                      <a:pt x="695" y="249"/>
                    </a:lnTo>
                    <a:lnTo>
                      <a:pt x="695" y="253"/>
                    </a:lnTo>
                    <a:lnTo>
                      <a:pt x="695" y="253"/>
                    </a:lnTo>
                    <a:lnTo>
                      <a:pt x="695" y="253"/>
                    </a:lnTo>
                    <a:lnTo>
                      <a:pt x="700" y="253"/>
                    </a:lnTo>
                    <a:lnTo>
                      <a:pt x="700" y="253"/>
                    </a:lnTo>
                    <a:lnTo>
                      <a:pt x="704" y="253"/>
                    </a:lnTo>
                    <a:lnTo>
                      <a:pt x="704" y="253"/>
                    </a:lnTo>
                    <a:lnTo>
                      <a:pt x="704" y="253"/>
                    </a:lnTo>
                    <a:lnTo>
                      <a:pt x="704" y="253"/>
                    </a:lnTo>
                    <a:lnTo>
                      <a:pt x="709" y="253"/>
                    </a:lnTo>
                    <a:lnTo>
                      <a:pt x="709" y="253"/>
                    </a:lnTo>
                    <a:lnTo>
                      <a:pt x="709" y="249"/>
                    </a:lnTo>
                    <a:lnTo>
                      <a:pt x="709" y="249"/>
                    </a:lnTo>
                    <a:lnTo>
                      <a:pt x="704" y="249"/>
                    </a:lnTo>
                    <a:lnTo>
                      <a:pt x="704" y="249"/>
                    </a:lnTo>
                    <a:lnTo>
                      <a:pt x="700" y="249"/>
                    </a:lnTo>
                    <a:lnTo>
                      <a:pt x="700" y="249"/>
                    </a:lnTo>
                    <a:lnTo>
                      <a:pt x="700" y="249"/>
                    </a:lnTo>
                    <a:lnTo>
                      <a:pt x="700" y="244"/>
                    </a:lnTo>
                    <a:lnTo>
                      <a:pt x="700" y="244"/>
                    </a:lnTo>
                    <a:lnTo>
                      <a:pt x="700" y="244"/>
                    </a:lnTo>
                    <a:lnTo>
                      <a:pt x="700" y="244"/>
                    </a:lnTo>
                    <a:lnTo>
                      <a:pt x="700" y="244"/>
                    </a:lnTo>
                    <a:lnTo>
                      <a:pt x="700" y="244"/>
                    </a:lnTo>
                    <a:lnTo>
                      <a:pt x="700" y="244"/>
                    </a:lnTo>
                    <a:lnTo>
                      <a:pt x="700" y="240"/>
                    </a:lnTo>
                    <a:lnTo>
                      <a:pt x="700" y="240"/>
                    </a:lnTo>
                    <a:lnTo>
                      <a:pt x="704" y="240"/>
                    </a:lnTo>
                    <a:lnTo>
                      <a:pt x="704" y="240"/>
                    </a:lnTo>
                    <a:lnTo>
                      <a:pt x="704" y="240"/>
                    </a:lnTo>
                    <a:lnTo>
                      <a:pt x="704" y="240"/>
                    </a:lnTo>
                    <a:lnTo>
                      <a:pt x="709" y="240"/>
                    </a:lnTo>
                    <a:lnTo>
                      <a:pt x="713" y="240"/>
                    </a:lnTo>
                    <a:lnTo>
                      <a:pt x="713" y="240"/>
                    </a:lnTo>
                    <a:lnTo>
                      <a:pt x="713" y="240"/>
                    </a:lnTo>
                    <a:lnTo>
                      <a:pt x="713" y="240"/>
                    </a:lnTo>
                    <a:lnTo>
                      <a:pt x="713" y="240"/>
                    </a:lnTo>
                    <a:lnTo>
                      <a:pt x="713" y="240"/>
                    </a:lnTo>
                    <a:lnTo>
                      <a:pt x="718" y="240"/>
                    </a:lnTo>
                    <a:lnTo>
                      <a:pt x="718" y="240"/>
                    </a:lnTo>
                    <a:lnTo>
                      <a:pt x="718" y="240"/>
                    </a:lnTo>
                    <a:lnTo>
                      <a:pt x="718" y="240"/>
                    </a:lnTo>
                    <a:lnTo>
                      <a:pt x="718" y="240"/>
                    </a:lnTo>
                    <a:lnTo>
                      <a:pt x="718" y="240"/>
                    </a:lnTo>
                    <a:lnTo>
                      <a:pt x="718" y="244"/>
                    </a:lnTo>
                    <a:lnTo>
                      <a:pt x="718" y="244"/>
                    </a:lnTo>
                    <a:lnTo>
                      <a:pt x="718" y="244"/>
                    </a:lnTo>
                    <a:lnTo>
                      <a:pt x="722" y="244"/>
                    </a:lnTo>
                    <a:lnTo>
                      <a:pt x="722" y="244"/>
                    </a:lnTo>
                    <a:lnTo>
                      <a:pt x="722" y="244"/>
                    </a:lnTo>
                    <a:lnTo>
                      <a:pt x="722" y="244"/>
                    </a:lnTo>
                    <a:lnTo>
                      <a:pt x="718" y="249"/>
                    </a:lnTo>
                    <a:lnTo>
                      <a:pt x="718" y="249"/>
                    </a:lnTo>
                    <a:lnTo>
                      <a:pt x="718" y="249"/>
                    </a:lnTo>
                    <a:lnTo>
                      <a:pt x="718" y="249"/>
                    </a:lnTo>
                    <a:lnTo>
                      <a:pt x="718" y="249"/>
                    </a:lnTo>
                    <a:lnTo>
                      <a:pt x="722" y="244"/>
                    </a:lnTo>
                    <a:lnTo>
                      <a:pt x="722" y="244"/>
                    </a:lnTo>
                    <a:lnTo>
                      <a:pt x="727" y="244"/>
                    </a:lnTo>
                    <a:lnTo>
                      <a:pt x="727" y="244"/>
                    </a:lnTo>
                    <a:lnTo>
                      <a:pt x="727" y="244"/>
                    </a:lnTo>
                    <a:lnTo>
                      <a:pt x="718" y="253"/>
                    </a:lnTo>
                    <a:lnTo>
                      <a:pt x="713" y="253"/>
                    </a:lnTo>
                    <a:lnTo>
                      <a:pt x="713" y="253"/>
                    </a:lnTo>
                    <a:lnTo>
                      <a:pt x="709" y="258"/>
                    </a:lnTo>
                    <a:lnTo>
                      <a:pt x="709" y="258"/>
                    </a:lnTo>
                    <a:lnTo>
                      <a:pt x="709" y="258"/>
                    </a:lnTo>
                    <a:lnTo>
                      <a:pt x="709" y="262"/>
                    </a:lnTo>
                    <a:lnTo>
                      <a:pt x="709" y="262"/>
                    </a:lnTo>
                    <a:lnTo>
                      <a:pt x="709" y="262"/>
                    </a:lnTo>
                    <a:lnTo>
                      <a:pt x="709" y="262"/>
                    </a:lnTo>
                    <a:lnTo>
                      <a:pt x="709" y="262"/>
                    </a:lnTo>
                    <a:lnTo>
                      <a:pt x="713" y="262"/>
                    </a:lnTo>
                    <a:lnTo>
                      <a:pt x="713" y="262"/>
                    </a:lnTo>
                    <a:lnTo>
                      <a:pt x="709" y="262"/>
                    </a:lnTo>
                    <a:lnTo>
                      <a:pt x="709" y="262"/>
                    </a:lnTo>
                    <a:lnTo>
                      <a:pt x="713" y="262"/>
                    </a:lnTo>
                    <a:lnTo>
                      <a:pt x="713" y="262"/>
                    </a:lnTo>
                    <a:lnTo>
                      <a:pt x="713" y="262"/>
                    </a:lnTo>
                    <a:lnTo>
                      <a:pt x="713" y="267"/>
                    </a:lnTo>
                    <a:lnTo>
                      <a:pt x="713" y="267"/>
                    </a:lnTo>
                    <a:lnTo>
                      <a:pt x="713" y="267"/>
                    </a:lnTo>
                    <a:lnTo>
                      <a:pt x="709" y="267"/>
                    </a:lnTo>
                    <a:lnTo>
                      <a:pt x="709" y="267"/>
                    </a:lnTo>
                    <a:lnTo>
                      <a:pt x="709" y="267"/>
                    </a:lnTo>
                    <a:lnTo>
                      <a:pt x="709" y="267"/>
                    </a:lnTo>
                    <a:lnTo>
                      <a:pt x="709" y="267"/>
                    </a:lnTo>
                    <a:lnTo>
                      <a:pt x="704" y="267"/>
                    </a:lnTo>
                    <a:lnTo>
                      <a:pt x="704" y="267"/>
                    </a:lnTo>
                    <a:lnTo>
                      <a:pt x="704" y="267"/>
                    </a:lnTo>
                    <a:lnTo>
                      <a:pt x="704" y="267"/>
                    </a:lnTo>
                    <a:lnTo>
                      <a:pt x="704" y="267"/>
                    </a:lnTo>
                    <a:lnTo>
                      <a:pt x="700" y="267"/>
                    </a:lnTo>
                    <a:lnTo>
                      <a:pt x="700" y="267"/>
                    </a:lnTo>
                    <a:lnTo>
                      <a:pt x="700" y="267"/>
                    </a:lnTo>
                    <a:lnTo>
                      <a:pt x="700" y="267"/>
                    </a:lnTo>
                    <a:lnTo>
                      <a:pt x="700" y="267"/>
                    </a:lnTo>
                    <a:lnTo>
                      <a:pt x="700" y="267"/>
                    </a:lnTo>
                    <a:lnTo>
                      <a:pt x="700" y="271"/>
                    </a:lnTo>
                    <a:lnTo>
                      <a:pt x="700" y="271"/>
                    </a:lnTo>
                    <a:lnTo>
                      <a:pt x="700" y="276"/>
                    </a:lnTo>
                    <a:lnTo>
                      <a:pt x="700" y="276"/>
                    </a:lnTo>
                    <a:lnTo>
                      <a:pt x="700" y="271"/>
                    </a:lnTo>
                    <a:lnTo>
                      <a:pt x="700" y="271"/>
                    </a:lnTo>
                    <a:lnTo>
                      <a:pt x="700" y="271"/>
                    </a:lnTo>
                    <a:lnTo>
                      <a:pt x="700" y="267"/>
                    </a:lnTo>
                    <a:lnTo>
                      <a:pt x="704" y="267"/>
                    </a:lnTo>
                    <a:lnTo>
                      <a:pt x="704" y="267"/>
                    </a:lnTo>
                    <a:lnTo>
                      <a:pt x="704" y="267"/>
                    </a:lnTo>
                    <a:lnTo>
                      <a:pt x="709" y="267"/>
                    </a:lnTo>
                    <a:lnTo>
                      <a:pt x="709" y="267"/>
                    </a:lnTo>
                    <a:lnTo>
                      <a:pt x="709" y="267"/>
                    </a:lnTo>
                    <a:lnTo>
                      <a:pt x="713" y="267"/>
                    </a:lnTo>
                    <a:lnTo>
                      <a:pt x="718" y="262"/>
                    </a:lnTo>
                    <a:lnTo>
                      <a:pt x="718" y="262"/>
                    </a:lnTo>
                    <a:lnTo>
                      <a:pt x="722" y="258"/>
                    </a:lnTo>
                    <a:lnTo>
                      <a:pt x="722" y="258"/>
                    </a:lnTo>
                    <a:lnTo>
                      <a:pt x="722" y="253"/>
                    </a:lnTo>
                    <a:lnTo>
                      <a:pt x="722" y="253"/>
                    </a:lnTo>
                    <a:lnTo>
                      <a:pt x="731" y="249"/>
                    </a:lnTo>
                    <a:lnTo>
                      <a:pt x="731" y="249"/>
                    </a:lnTo>
                    <a:lnTo>
                      <a:pt x="731" y="249"/>
                    </a:lnTo>
                    <a:lnTo>
                      <a:pt x="731" y="249"/>
                    </a:lnTo>
                    <a:lnTo>
                      <a:pt x="736" y="249"/>
                    </a:lnTo>
                    <a:lnTo>
                      <a:pt x="736" y="249"/>
                    </a:lnTo>
                    <a:lnTo>
                      <a:pt x="736" y="249"/>
                    </a:lnTo>
                    <a:lnTo>
                      <a:pt x="736" y="249"/>
                    </a:lnTo>
                    <a:lnTo>
                      <a:pt x="745" y="249"/>
                    </a:lnTo>
                    <a:lnTo>
                      <a:pt x="745" y="249"/>
                    </a:lnTo>
                    <a:lnTo>
                      <a:pt x="749" y="244"/>
                    </a:lnTo>
                    <a:lnTo>
                      <a:pt x="749" y="244"/>
                    </a:lnTo>
                    <a:lnTo>
                      <a:pt x="754" y="244"/>
                    </a:lnTo>
                    <a:lnTo>
                      <a:pt x="759" y="240"/>
                    </a:lnTo>
                    <a:lnTo>
                      <a:pt x="763" y="240"/>
                    </a:lnTo>
                    <a:lnTo>
                      <a:pt x="763" y="240"/>
                    </a:lnTo>
                    <a:lnTo>
                      <a:pt x="759" y="240"/>
                    </a:lnTo>
                    <a:lnTo>
                      <a:pt x="759" y="240"/>
                    </a:lnTo>
                    <a:lnTo>
                      <a:pt x="763" y="240"/>
                    </a:lnTo>
                    <a:lnTo>
                      <a:pt x="763" y="235"/>
                    </a:lnTo>
                    <a:lnTo>
                      <a:pt x="763" y="235"/>
                    </a:lnTo>
                    <a:lnTo>
                      <a:pt x="763" y="235"/>
                    </a:lnTo>
                    <a:lnTo>
                      <a:pt x="768" y="235"/>
                    </a:lnTo>
                    <a:lnTo>
                      <a:pt x="768" y="235"/>
                    </a:lnTo>
                    <a:lnTo>
                      <a:pt x="768" y="235"/>
                    </a:lnTo>
                    <a:lnTo>
                      <a:pt x="768" y="235"/>
                    </a:lnTo>
                    <a:lnTo>
                      <a:pt x="763" y="235"/>
                    </a:lnTo>
                    <a:lnTo>
                      <a:pt x="763" y="235"/>
                    </a:lnTo>
                    <a:lnTo>
                      <a:pt x="763" y="235"/>
                    </a:lnTo>
                    <a:lnTo>
                      <a:pt x="759" y="235"/>
                    </a:lnTo>
                    <a:lnTo>
                      <a:pt x="759" y="235"/>
                    </a:lnTo>
                    <a:lnTo>
                      <a:pt x="759" y="235"/>
                    </a:lnTo>
                    <a:lnTo>
                      <a:pt x="754" y="235"/>
                    </a:lnTo>
                    <a:lnTo>
                      <a:pt x="754" y="235"/>
                    </a:lnTo>
                    <a:lnTo>
                      <a:pt x="754" y="235"/>
                    </a:lnTo>
                    <a:lnTo>
                      <a:pt x="754" y="235"/>
                    </a:lnTo>
                    <a:lnTo>
                      <a:pt x="759" y="235"/>
                    </a:lnTo>
                    <a:lnTo>
                      <a:pt x="763" y="231"/>
                    </a:lnTo>
                    <a:lnTo>
                      <a:pt x="763" y="231"/>
                    </a:lnTo>
                    <a:lnTo>
                      <a:pt x="768" y="231"/>
                    </a:lnTo>
                    <a:lnTo>
                      <a:pt x="763" y="231"/>
                    </a:lnTo>
                    <a:lnTo>
                      <a:pt x="763" y="231"/>
                    </a:lnTo>
                    <a:lnTo>
                      <a:pt x="768" y="231"/>
                    </a:lnTo>
                    <a:lnTo>
                      <a:pt x="768" y="226"/>
                    </a:lnTo>
                    <a:lnTo>
                      <a:pt x="768" y="226"/>
                    </a:lnTo>
                    <a:lnTo>
                      <a:pt x="768" y="226"/>
                    </a:lnTo>
                    <a:lnTo>
                      <a:pt x="772" y="226"/>
                    </a:lnTo>
                    <a:lnTo>
                      <a:pt x="777" y="226"/>
                    </a:lnTo>
                    <a:lnTo>
                      <a:pt x="777" y="226"/>
                    </a:lnTo>
                    <a:lnTo>
                      <a:pt x="772" y="231"/>
                    </a:lnTo>
                    <a:lnTo>
                      <a:pt x="772" y="231"/>
                    </a:lnTo>
                    <a:lnTo>
                      <a:pt x="772" y="231"/>
                    </a:lnTo>
                    <a:lnTo>
                      <a:pt x="772" y="231"/>
                    </a:lnTo>
                    <a:lnTo>
                      <a:pt x="777" y="226"/>
                    </a:lnTo>
                    <a:lnTo>
                      <a:pt x="777" y="226"/>
                    </a:lnTo>
                    <a:lnTo>
                      <a:pt x="777" y="226"/>
                    </a:lnTo>
                    <a:lnTo>
                      <a:pt x="777" y="226"/>
                    </a:lnTo>
                    <a:lnTo>
                      <a:pt x="777" y="226"/>
                    </a:lnTo>
                    <a:lnTo>
                      <a:pt x="777" y="226"/>
                    </a:lnTo>
                    <a:lnTo>
                      <a:pt x="777" y="226"/>
                    </a:lnTo>
                    <a:lnTo>
                      <a:pt x="777" y="226"/>
                    </a:lnTo>
                    <a:lnTo>
                      <a:pt x="772" y="226"/>
                    </a:lnTo>
                    <a:lnTo>
                      <a:pt x="772" y="226"/>
                    </a:lnTo>
                    <a:lnTo>
                      <a:pt x="772" y="226"/>
                    </a:lnTo>
                    <a:lnTo>
                      <a:pt x="768" y="226"/>
                    </a:lnTo>
                    <a:lnTo>
                      <a:pt x="768" y="226"/>
                    </a:lnTo>
                    <a:lnTo>
                      <a:pt x="768" y="222"/>
                    </a:lnTo>
                    <a:lnTo>
                      <a:pt x="768" y="222"/>
                    </a:lnTo>
                    <a:lnTo>
                      <a:pt x="768" y="222"/>
                    </a:lnTo>
                    <a:lnTo>
                      <a:pt x="768" y="222"/>
                    </a:lnTo>
                    <a:lnTo>
                      <a:pt x="768" y="222"/>
                    </a:lnTo>
                    <a:lnTo>
                      <a:pt x="768" y="222"/>
                    </a:lnTo>
                    <a:lnTo>
                      <a:pt x="768" y="222"/>
                    </a:lnTo>
                    <a:lnTo>
                      <a:pt x="763" y="222"/>
                    </a:lnTo>
                    <a:lnTo>
                      <a:pt x="763" y="217"/>
                    </a:lnTo>
                    <a:lnTo>
                      <a:pt x="763" y="217"/>
                    </a:lnTo>
                    <a:lnTo>
                      <a:pt x="763" y="217"/>
                    </a:lnTo>
                    <a:lnTo>
                      <a:pt x="759" y="217"/>
                    </a:lnTo>
                    <a:lnTo>
                      <a:pt x="759" y="217"/>
                    </a:lnTo>
                    <a:lnTo>
                      <a:pt x="759" y="217"/>
                    </a:lnTo>
                    <a:lnTo>
                      <a:pt x="759" y="217"/>
                    </a:lnTo>
                    <a:lnTo>
                      <a:pt x="759" y="217"/>
                    </a:lnTo>
                    <a:lnTo>
                      <a:pt x="759" y="213"/>
                    </a:lnTo>
                    <a:lnTo>
                      <a:pt x="759" y="213"/>
                    </a:lnTo>
                    <a:lnTo>
                      <a:pt x="759" y="208"/>
                    </a:lnTo>
                    <a:lnTo>
                      <a:pt x="763" y="208"/>
                    </a:lnTo>
                    <a:lnTo>
                      <a:pt x="763" y="208"/>
                    </a:lnTo>
                    <a:lnTo>
                      <a:pt x="768" y="204"/>
                    </a:lnTo>
                    <a:lnTo>
                      <a:pt x="768" y="204"/>
                    </a:lnTo>
                    <a:lnTo>
                      <a:pt x="772" y="204"/>
                    </a:lnTo>
                    <a:lnTo>
                      <a:pt x="772" y="204"/>
                    </a:lnTo>
                    <a:lnTo>
                      <a:pt x="772" y="204"/>
                    </a:lnTo>
                    <a:lnTo>
                      <a:pt x="777" y="204"/>
                    </a:lnTo>
                    <a:lnTo>
                      <a:pt x="772" y="204"/>
                    </a:lnTo>
                    <a:lnTo>
                      <a:pt x="777" y="204"/>
                    </a:lnTo>
                    <a:lnTo>
                      <a:pt x="777" y="204"/>
                    </a:lnTo>
                    <a:lnTo>
                      <a:pt x="777" y="204"/>
                    </a:lnTo>
                    <a:lnTo>
                      <a:pt x="772" y="204"/>
                    </a:lnTo>
                    <a:lnTo>
                      <a:pt x="772" y="204"/>
                    </a:lnTo>
                    <a:lnTo>
                      <a:pt x="772" y="204"/>
                    </a:lnTo>
                    <a:lnTo>
                      <a:pt x="772" y="199"/>
                    </a:lnTo>
                    <a:lnTo>
                      <a:pt x="772" y="199"/>
                    </a:lnTo>
                    <a:lnTo>
                      <a:pt x="777" y="194"/>
                    </a:lnTo>
                    <a:lnTo>
                      <a:pt x="777" y="194"/>
                    </a:lnTo>
                    <a:lnTo>
                      <a:pt x="781" y="194"/>
                    </a:lnTo>
                    <a:lnTo>
                      <a:pt x="781" y="194"/>
                    </a:lnTo>
                    <a:lnTo>
                      <a:pt x="781" y="194"/>
                    </a:lnTo>
                    <a:lnTo>
                      <a:pt x="781" y="194"/>
                    </a:lnTo>
                    <a:lnTo>
                      <a:pt x="781" y="190"/>
                    </a:lnTo>
                    <a:lnTo>
                      <a:pt x="786" y="190"/>
                    </a:lnTo>
                    <a:lnTo>
                      <a:pt x="786" y="190"/>
                    </a:lnTo>
                    <a:lnTo>
                      <a:pt x="790" y="190"/>
                    </a:lnTo>
                    <a:lnTo>
                      <a:pt x="790" y="190"/>
                    </a:lnTo>
                    <a:lnTo>
                      <a:pt x="790" y="190"/>
                    </a:lnTo>
                    <a:lnTo>
                      <a:pt x="790" y="190"/>
                    </a:lnTo>
                    <a:lnTo>
                      <a:pt x="790" y="190"/>
                    </a:lnTo>
                    <a:lnTo>
                      <a:pt x="790" y="190"/>
                    </a:lnTo>
                    <a:lnTo>
                      <a:pt x="790" y="190"/>
                    </a:lnTo>
                    <a:lnTo>
                      <a:pt x="795" y="190"/>
                    </a:lnTo>
                    <a:lnTo>
                      <a:pt x="799" y="190"/>
                    </a:lnTo>
                    <a:lnTo>
                      <a:pt x="799" y="190"/>
                    </a:lnTo>
                    <a:lnTo>
                      <a:pt x="799" y="190"/>
                    </a:lnTo>
                    <a:lnTo>
                      <a:pt x="795" y="190"/>
                    </a:lnTo>
                    <a:lnTo>
                      <a:pt x="795" y="185"/>
                    </a:lnTo>
                    <a:lnTo>
                      <a:pt x="795" y="185"/>
                    </a:lnTo>
                    <a:lnTo>
                      <a:pt x="795" y="185"/>
                    </a:lnTo>
                    <a:lnTo>
                      <a:pt x="795" y="185"/>
                    </a:lnTo>
                    <a:lnTo>
                      <a:pt x="799" y="185"/>
                    </a:lnTo>
                    <a:lnTo>
                      <a:pt x="804" y="181"/>
                    </a:lnTo>
                    <a:lnTo>
                      <a:pt x="808" y="181"/>
                    </a:lnTo>
                    <a:lnTo>
                      <a:pt x="813" y="181"/>
                    </a:lnTo>
                    <a:lnTo>
                      <a:pt x="817" y="181"/>
                    </a:lnTo>
                    <a:lnTo>
                      <a:pt x="817" y="181"/>
                    </a:lnTo>
                    <a:lnTo>
                      <a:pt x="817" y="181"/>
                    </a:lnTo>
                    <a:lnTo>
                      <a:pt x="817" y="181"/>
                    </a:lnTo>
                    <a:lnTo>
                      <a:pt x="813" y="181"/>
                    </a:lnTo>
                    <a:lnTo>
                      <a:pt x="813" y="185"/>
                    </a:lnTo>
                    <a:lnTo>
                      <a:pt x="817" y="185"/>
                    </a:lnTo>
                    <a:lnTo>
                      <a:pt x="817" y="185"/>
                    </a:lnTo>
                    <a:lnTo>
                      <a:pt x="822" y="185"/>
                    </a:lnTo>
                    <a:lnTo>
                      <a:pt x="822" y="185"/>
                    </a:lnTo>
                    <a:lnTo>
                      <a:pt x="822" y="185"/>
                    </a:lnTo>
                    <a:lnTo>
                      <a:pt x="817" y="185"/>
                    </a:lnTo>
                    <a:lnTo>
                      <a:pt x="817" y="185"/>
                    </a:lnTo>
                    <a:lnTo>
                      <a:pt x="817" y="190"/>
                    </a:lnTo>
                    <a:lnTo>
                      <a:pt x="817" y="190"/>
                    </a:lnTo>
                    <a:lnTo>
                      <a:pt x="822" y="190"/>
                    </a:lnTo>
                    <a:lnTo>
                      <a:pt x="817" y="194"/>
                    </a:lnTo>
                    <a:lnTo>
                      <a:pt x="817" y="194"/>
                    </a:lnTo>
                    <a:lnTo>
                      <a:pt x="817" y="194"/>
                    </a:lnTo>
                    <a:lnTo>
                      <a:pt x="817" y="199"/>
                    </a:lnTo>
                    <a:lnTo>
                      <a:pt x="817" y="199"/>
                    </a:lnTo>
                    <a:lnTo>
                      <a:pt x="813" y="199"/>
                    </a:lnTo>
                    <a:lnTo>
                      <a:pt x="813" y="199"/>
                    </a:lnTo>
                    <a:lnTo>
                      <a:pt x="808" y="204"/>
                    </a:lnTo>
                    <a:lnTo>
                      <a:pt x="808" y="204"/>
                    </a:lnTo>
                    <a:lnTo>
                      <a:pt x="813" y="204"/>
                    </a:lnTo>
                    <a:lnTo>
                      <a:pt x="813" y="204"/>
                    </a:lnTo>
                    <a:lnTo>
                      <a:pt x="813" y="204"/>
                    </a:lnTo>
                    <a:lnTo>
                      <a:pt x="813" y="204"/>
                    </a:lnTo>
                    <a:lnTo>
                      <a:pt x="813" y="208"/>
                    </a:lnTo>
                    <a:lnTo>
                      <a:pt x="813" y="208"/>
                    </a:lnTo>
                    <a:lnTo>
                      <a:pt x="813" y="208"/>
                    </a:lnTo>
                    <a:lnTo>
                      <a:pt x="813" y="213"/>
                    </a:lnTo>
                    <a:lnTo>
                      <a:pt x="813" y="213"/>
                    </a:lnTo>
                    <a:lnTo>
                      <a:pt x="808" y="213"/>
                    </a:lnTo>
                    <a:lnTo>
                      <a:pt x="808" y="213"/>
                    </a:lnTo>
                    <a:lnTo>
                      <a:pt x="808" y="213"/>
                    </a:lnTo>
                    <a:lnTo>
                      <a:pt x="813" y="213"/>
                    </a:lnTo>
                    <a:lnTo>
                      <a:pt x="813" y="213"/>
                    </a:lnTo>
                    <a:lnTo>
                      <a:pt x="813" y="213"/>
                    </a:lnTo>
                    <a:lnTo>
                      <a:pt x="813" y="213"/>
                    </a:lnTo>
                    <a:lnTo>
                      <a:pt x="813" y="213"/>
                    </a:lnTo>
                    <a:lnTo>
                      <a:pt x="813" y="213"/>
                    </a:lnTo>
                    <a:lnTo>
                      <a:pt x="813" y="213"/>
                    </a:lnTo>
                    <a:lnTo>
                      <a:pt x="813" y="217"/>
                    </a:lnTo>
                    <a:lnTo>
                      <a:pt x="813" y="217"/>
                    </a:lnTo>
                    <a:lnTo>
                      <a:pt x="808" y="217"/>
                    </a:lnTo>
                    <a:lnTo>
                      <a:pt x="808" y="213"/>
                    </a:lnTo>
                    <a:lnTo>
                      <a:pt x="808" y="213"/>
                    </a:lnTo>
                    <a:lnTo>
                      <a:pt x="804" y="213"/>
                    </a:lnTo>
                    <a:lnTo>
                      <a:pt x="804" y="213"/>
                    </a:lnTo>
                    <a:lnTo>
                      <a:pt x="804" y="213"/>
                    </a:lnTo>
                    <a:lnTo>
                      <a:pt x="804" y="213"/>
                    </a:lnTo>
                    <a:lnTo>
                      <a:pt x="804" y="213"/>
                    </a:lnTo>
                    <a:lnTo>
                      <a:pt x="799" y="217"/>
                    </a:lnTo>
                    <a:lnTo>
                      <a:pt x="799" y="217"/>
                    </a:lnTo>
                    <a:lnTo>
                      <a:pt x="804" y="217"/>
                    </a:lnTo>
                    <a:lnTo>
                      <a:pt x="804" y="217"/>
                    </a:lnTo>
                    <a:lnTo>
                      <a:pt x="804" y="217"/>
                    </a:lnTo>
                    <a:lnTo>
                      <a:pt x="804" y="217"/>
                    </a:lnTo>
                    <a:lnTo>
                      <a:pt x="799" y="217"/>
                    </a:lnTo>
                    <a:lnTo>
                      <a:pt x="790" y="222"/>
                    </a:lnTo>
                    <a:lnTo>
                      <a:pt x="790" y="222"/>
                    </a:lnTo>
                    <a:lnTo>
                      <a:pt x="790" y="222"/>
                    </a:lnTo>
                    <a:lnTo>
                      <a:pt x="790" y="222"/>
                    </a:lnTo>
                    <a:lnTo>
                      <a:pt x="790" y="222"/>
                    </a:lnTo>
                    <a:lnTo>
                      <a:pt x="795" y="222"/>
                    </a:lnTo>
                    <a:lnTo>
                      <a:pt x="795" y="222"/>
                    </a:lnTo>
                    <a:lnTo>
                      <a:pt x="795" y="222"/>
                    </a:lnTo>
                    <a:lnTo>
                      <a:pt x="795" y="222"/>
                    </a:lnTo>
                    <a:lnTo>
                      <a:pt x="795" y="226"/>
                    </a:lnTo>
                    <a:lnTo>
                      <a:pt x="795" y="226"/>
                    </a:lnTo>
                    <a:lnTo>
                      <a:pt x="799" y="226"/>
                    </a:lnTo>
                    <a:lnTo>
                      <a:pt x="804" y="226"/>
                    </a:lnTo>
                    <a:lnTo>
                      <a:pt x="804" y="226"/>
                    </a:lnTo>
                    <a:lnTo>
                      <a:pt x="804" y="226"/>
                    </a:lnTo>
                    <a:lnTo>
                      <a:pt x="808" y="226"/>
                    </a:lnTo>
                    <a:lnTo>
                      <a:pt x="804" y="226"/>
                    </a:lnTo>
                    <a:lnTo>
                      <a:pt x="804" y="226"/>
                    </a:lnTo>
                    <a:lnTo>
                      <a:pt x="799" y="226"/>
                    </a:lnTo>
                    <a:lnTo>
                      <a:pt x="799" y="226"/>
                    </a:lnTo>
                    <a:lnTo>
                      <a:pt x="804" y="226"/>
                    </a:lnTo>
                    <a:lnTo>
                      <a:pt x="808" y="226"/>
                    </a:lnTo>
                    <a:lnTo>
                      <a:pt x="808" y="226"/>
                    </a:lnTo>
                    <a:lnTo>
                      <a:pt x="808" y="226"/>
                    </a:lnTo>
                    <a:lnTo>
                      <a:pt x="808" y="226"/>
                    </a:lnTo>
                    <a:lnTo>
                      <a:pt x="813" y="226"/>
                    </a:lnTo>
                    <a:lnTo>
                      <a:pt x="813" y="226"/>
                    </a:lnTo>
                    <a:lnTo>
                      <a:pt x="808" y="231"/>
                    </a:lnTo>
                    <a:lnTo>
                      <a:pt x="808" y="226"/>
                    </a:lnTo>
                    <a:lnTo>
                      <a:pt x="808" y="231"/>
                    </a:lnTo>
                    <a:lnTo>
                      <a:pt x="804" y="231"/>
                    </a:lnTo>
                    <a:lnTo>
                      <a:pt x="804" y="231"/>
                    </a:lnTo>
                    <a:lnTo>
                      <a:pt x="804" y="231"/>
                    </a:lnTo>
                    <a:lnTo>
                      <a:pt x="804" y="231"/>
                    </a:lnTo>
                    <a:lnTo>
                      <a:pt x="799" y="231"/>
                    </a:lnTo>
                    <a:lnTo>
                      <a:pt x="799" y="231"/>
                    </a:lnTo>
                    <a:lnTo>
                      <a:pt x="804" y="231"/>
                    </a:lnTo>
                    <a:lnTo>
                      <a:pt x="799" y="231"/>
                    </a:lnTo>
                    <a:lnTo>
                      <a:pt x="799" y="231"/>
                    </a:lnTo>
                    <a:lnTo>
                      <a:pt x="799" y="231"/>
                    </a:lnTo>
                    <a:lnTo>
                      <a:pt x="799" y="231"/>
                    </a:lnTo>
                    <a:lnTo>
                      <a:pt x="799" y="235"/>
                    </a:lnTo>
                    <a:lnTo>
                      <a:pt x="799" y="235"/>
                    </a:lnTo>
                    <a:lnTo>
                      <a:pt x="799" y="240"/>
                    </a:lnTo>
                    <a:lnTo>
                      <a:pt x="799" y="240"/>
                    </a:lnTo>
                    <a:lnTo>
                      <a:pt x="799" y="240"/>
                    </a:lnTo>
                    <a:lnTo>
                      <a:pt x="795" y="240"/>
                    </a:lnTo>
                    <a:lnTo>
                      <a:pt x="795" y="240"/>
                    </a:lnTo>
                    <a:lnTo>
                      <a:pt x="795" y="244"/>
                    </a:lnTo>
                    <a:lnTo>
                      <a:pt x="790" y="244"/>
                    </a:lnTo>
                    <a:lnTo>
                      <a:pt x="790" y="249"/>
                    </a:lnTo>
                    <a:lnTo>
                      <a:pt x="790" y="249"/>
                    </a:lnTo>
                    <a:lnTo>
                      <a:pt x="790" y="249"/>
                    </a:lnTo>
                    <a:lnTo>
                      <a:pt x="790" y="249"/>
                    </a:lnTo>
                    <a:lnTo>
                      <a:pt x="790" y="249"/>
                    </a:lnTo>
                    <a:lnTo>
                      <a:pt x="790" y="249"/>
                    </a:lnTo>
                    <a:lnTo>
                      <a:pt x="790" y="249"/>
                    </a:lnTo>
                    <a:lnTo>
                      <a:pt x="790" y="249"/>
                    </a:lnTo>
                    <a:lnTo>
                      <a:pt x="790" y="249"/>
                    </a:lnTo>
                    <a:lnTo>
                      <a:pt x="795" y="249"/>
                    </a:lnTo>
                    <a:lnTo>
                      <a:pt x="795" y="249"/>
                    </a:lnTo>
                    <a:lnTo>
                      <a:pt x="799" y="244"/>
                    </a:lnTo>
                    <a:lnTo>
                      <a:pt x="799" y="244"/>
                    </a:lnTo>
                    <a:lnTo>
                      <a:pt x="799" y="244"/>
                    </a:lnTo>
                    <a:lnTo>
                      <a:pt x="799" y="244"/>
                    </a:lnTo>
                    <a:lnTo>
                      <a:pt x="804" y="240"/>
                    </a:lnTo>
                    <a:lnTo>
                      <a:pt x="804" y="240"/>
                    </a:lnTo>
                    <a:lnTo>
                      <a:pt x="808" y="240"/>
                    </a:lnTo>
                    <a:lnTo>
                      <a:pt x="813" y="235"/>
                    </a:lnTo>
                    <a:lnTo>
                      <a:pt x="813" y="235"/>
                    </a:lnTo>
                    <a:lnTo>
                      <a:pt x="817" y="235"/>
                    </a:lnTo>
                    <a:lnTo>
                      <a:pt x="817" y="231"/>
                    </a:lnTo>
                    <a:lnTo>
                      <a:pt x="822" y="231"/>
                    </a:lnTo>
                    <a:lnTo>
                      <a:pt x="822" y="231"/>
                    </a:lnTo>
                    <a:lnTo>
                      <a:pt x="822" y="235"/>
                    </a:lnTo>
                    <a:lnTo>
                      <a:pt x="822" y="235"/>
                    </a:lnTo>
                    <a:lnTo>
                      <a:pt x="822" y="235"/>
                    </a:lnTo>
                    <a:lnTo>
                      <a:pt x="822" y="240"/>
                    </a:lnTo>
                    <a:lnTo>
                      <a:pt x="826" y="240"/>
                    </a:lnTo>
                    <a:lnTo>
                      <a:pt x="826" y="240"/>
                    </a:lnTo>
                    <a:lnTo>
                      <a:pt x="822" y="244"/>
                    </a:lnTo>
                    <a:lnTo>
                      <a:pt x="822" y="244"/>
                    </a:lnTo>
                    <a:lnTo>
                      <a:pt x="822" y="249"/>
                    </a:lnTo>
                    <a:lnTo>
                      <a:pt x="822" y="249"/>
                    </a:lnTo>
                    <a:lnTo>
                      <a:pt x="822" y="249"/>
                    </a:lnTo>
                    <a:lnTo>
                      <a:pt x="817" y="249"/>
                    </a:lnTo>
                    <a:lnTo>
                      <a:pt x="817" y="253"/>
                    </a:lnTo>
                    <a:lnTo>
                      <a:pt x="817" y="253"/>
                    </a:lnTo>
                    <a:lnTo>
                      <a:pt x="817" y="253"/>
                    </a:lnTo>
                    <a:lnTo>
                      <a:pt x="813" y="253"/>
                    </a:lnTo>
                    <a:lnTo>
                      <a:pt x="813" y="253"/>
                    </a:lnTo>
                    <a:lnTo>
                      <a:pt x="813" y="253"/>
                    </a:lnTo>
                    <a:lnTo>
                      <a:pt x="813" y="249"/>
                    </a:lnTo>
                    <a:lnTo>
                      <a:pt x="813" y="249"/>
                    </a:lnTo>
                    <a:lnTo>
                      <a:pt x="813" y="249"/>
                    </a:lnTo>
                    <a:lnTo>
                      <a:pt x="813" y="253"/>
                    </a:lnTo>
                    <a:lnTo>
                      <a:pt x="808" y="253"/>
                    </a:lnTo>
                    <a:lnTo>
                      <a:pt x="808" y="258"/>
                    </a:lnTo>
                    <a:lnTo>
                      <a:pt x="804" y="258"/>
                    </a:lnTo>
                    <a:lnTo>
                      <a:pt x="804" y="262"/>
                    </a:lnTo>
                    <a:lnTo>
                      <a:pt x="804" y="262"/>
                    </a:lnTo>
                    <a:lnTo>
                      <a:pt x="804" y="267"/>
                    </a:lnTo>
                    <a:lnTo>
                      <a:pt x="804" y="267"/>
                    </a:lnTo>
                    <a:lnTo>
                      <a:pt x="804" y="271"/>
                    </a:lnTo>
                    <a:lnTo>
                      <a:pt x="804" y="271"/>
                    </a:lnTo>
                    <a:lnTo>
                      <a:pt x="804" y="271"/>
                    </a:lnTo>
                    <a:lnTo>
                      <a:pt x="804" y="271"/>
                    </a:lnTo>
                    <a:lnTo>
                      <a:pt x="804" y="271"/>
                    </a:lnTo>
                    <a:lnTo>
                      <a:pt x="808" y="271"/>
                    </a:lnTo>
                    <a:lnTo>
                      <a:pt x="813" y="267"/>
                    </a:lnTo>
                    <a:lnTo>
                      <a:pt x="813" y="267"/>
                    </a:lnTo>
                    <a:lnTo>
                      <a:pt x="813" y="267"/>
                    </a:lnTo>
                    <a:lnTo>
                      <a:pt x="813" y="267"/>
                    </a:lnTo>
                    <a:lnTo>
                      <a:pt x="817" y="267"/>
                    </a:lnTo>
                    <a:lnTo>
                      <a:pt x="817" y="267"/>
                    </a:lnTo>
                    <a:lnTo>
                      <a:pt x="817" y="267"/>
                    </a:lnTo>
                    <a:lnTo>
                      <a:pt x="822" y="262"/>
                    </a:lnTo>
                    <a:lnTo>
                      <a:pt x="822" y="262"/>
                    </a:lnTo>
                    <a:lnTo>
                      <a:pt x="826" y="262"/>
                    </a:lnTo>
                    <a:lnTo>
                      <a:pt x="826" y="262"/>
                    </a:lnTo>
                    <a:lnTo>
                      <a:pt x="835" y="258"/>
                    </a:lnTo>
                    <a:lnTo>
                      <a:pt x="835" y="258"/>
                    </a:lnTo>
                    <a:lnTo>
                      <a:pt x="840" y="253"/>
                    </a:lnTo>
                    <a:lnTo>
                      <a:pt x="844" y="249"/>
                    </a:lnTo>
                    <a:lnTo>
                      <a:pt x="844" y="249"/>
                    </a:lnTo>
                    <a:lnTo>
                      <a:pt x="844" y="249"/>
                    </a:lnTo>
                    <a:lnTo>
                      <a:pt x="844" y="249"/>
                    </a:lnTo>
                    <a:lnTo>
                      <a:pt x="849" y="244"/>
                    </a:lnTo>
                    <a:lnTo>
                      <a:pt x="849" y="244"/>
                    </a:lnTo>
                    <a:lnTo>
                      <a:pt x="849" y="244"/>
                    </a:lnTo>
                    <a:lnTo>
                      <a:pt x="849" y="244"/>
                    </a:lnTo>
                    <a:lnTo>
                      <a:pt x="853" y="244"/>
                    </a:lnTo>
                    <a:lnTo>
                      <a:pt x="853" y="244"/>
                    </a:lnTo>
                    <a:lnTo>
                      <a:pt x="853" y="244"/>
                    </a:lnTo>
                    <a:lnTo>
                      <a:pt x="853" y="244"/>
                    </a:lnTo>
                    <a:lnTo>
                      <a:pt x="858" y="244"/>
                    </a:lnTo>
                    <a:lnTo>
                      <a:pt x="858" y="244"/>
                    </a:lnTo>
                    <a:lnTo>
                      <a:pt x="858" y="244"/>
                    </a:lnTo>
                    <a:lnTo>
                      <a:pt x="858" y="244"/>
                    </a:lnTo>
                    <a:lnTo>
                      <a:pt x="858" y="244"/>
                    </a:lnTo>
                    <a:lnTo>
                      <a:pt x="858" y="244"/>
                    </a:lnTo>
                    <a:lnTo>
                      <a:pt x="862" y="240"/>
                    </a:lnTo>
                    <a:lnTo>
                      <a:pt x="862" y="240"/>
                    </a:lnTo>
                    <a:lnTo>
                      <a:pt x="862" y="240"/>
                    </a:lnTo>
                    <a:lnTo>
                      <a:pt x="862" y="240"/>
                    </a:lnTo>
                    <a:lnTo>
                      <a:pt x="862" y="240"/>
                    </a:lnTo>
                    <a:lnTo>
                      <a:pt x="862" y="240"/>
                    </a:lnTo>
                    <a:lnTo>
                      <a:pt x="862" y="240"/>
                    </a:lnTo>
                    <a:lnTo>
                      <a:pt x="862" y="240"/>
                    </a:lnTo>
                    <a:lnTo>
                      <a:pt x="862" y="235"/>
                    </a:lnTo>
                    <a:lnTo>
                      <a:pt x="862" y="235"/>
                    </a:lnTo>
                    <a:lnTo>
                      <a:pt x="862" y="235"/>
                    </a:lnTo>
                    <a:lnTo>
                      <a:pt x="862" y="235"/>
                    </a:lnTo>
                    <a:lnTo>
                      <a:pt x="862" y="235"/>
                    </a:lnTo>
                    <a:lnTo>
                      <a:pt x="862" y="231"/>
                    </a:lnTo>
                    <a:lnTo>
                      <a:pt x="862" y="231"/>
                    </a:lnTo>
                    <a:lnTo>
                      <a:pt x="867" y="231"/>
                    </a:lnTo>
                    <a:lnTo>
                      <a:pt x="867" y="231"/>
                    </a:lnTo>
                    <a:lnTo>
                      <a:pt x="867" y="231"/>
                    </a:lnTo>
                    <a:lnTo>
                      <a:pt x="867" y="231"/>
                    </a:lnTo>
                    <a:lnTo>
                      <a:pt x="867" y="231"/>
                    </a:lnTo>
                    <a:lnTo>
                      <a:pt x="867" y="226"/>
                    </a:lnTo>
                    <a:lnTo>
                      <a:pt x="871" y="226"/>
                    </a:lnTo>
                    <a:lnTo>
                      <a:pt x="871" y="226"/>
                    </a:lnTo>
                    <a:lnTo>
                      <a:pt x="871" y="226"/>
                    </a:lnTo>
                    <a:lnTo>
                      <a:pt x="871" y="226"/>
                    </a:lnTo>
                    <a:lnTo>
                      <a:pt x="871" y="226"/>
                    </a:lnTo>
                    <a:lnTo>
                      <a:pt x="871" y="226"/>
                    </a:lnTo>
                    <a:lnTo>
                      <a:pt x="871" y="226"/>
                    </a:lnTo>
                    <a:lnTo>
                      <a:pt x="876" y="226"/>
                    </a:lnTo>
                    <a:lnTo>
                      <a:pt x="876" y="226"/>
                    </a:lnTo>
                    <a:lnTo>
                      <a:pt x="880" y="226"/>
                    </a:lnTo>
                    <a:lnTo>
                      <a:pt x="885" y="226"/>
                    </a:lnTo>
                    <a:lnTo>
                      <a:pt x="885" y="226"/>
                    </a:lnTo>
                    <a:lnTo>
                      <a:pt x="885" y="231"/>
                    </a:lnTo>
                    <a:lnTo>
                      <a:pt x="890" y="231"/>
                    </a:lnTo>
                    <a:lnTo>
                      <a:pt x="890" y="231"/>
                    </a:lnTo>
                    <a:lnTo>
                      <a:pt x="894" y="231"/>
                    </a:lnTo>
                    <a:lnTo>
                      <a:pt x="899" y="231"/>
                    </a:lnTo>
                    <a:lnTo>
                      <a:pt x="899" y="231"/>
                    </a:lnTo>
                    <a:lnTo>
                      <a:pt x="899" y="231"/>
                    </a:lnTo>
                    <a:lnTo>
                      <a:pt x="899" y="231"/>
                    </a:lnTo>
                    <a:lnTo>
                      <a:pt x="899" y="235"/>
                    </a:lnTo>
                    <a:lnTo>
                      <a:pt x="894" y="235"/>
                    </a:lnTo>
                    <a:lnTo>
                      <a:pt x="894" y="235"/>
                    </a:lnTo>
                    <a:lnTo>
                      <a:pt x="894" y="235"/>
                    </a:lnTo>
                    <a:lnTo>
                      <a:pt x="899" y="235"/>
                    </a:lnTo>
                    <a:lnTo>
                      <a:pt x="899" y="235"/>
                    </a:lnTo>
                    <a:lnTo>
                      <a:pt x="894" y="240"/>
                    </a:lnTo>
                    <a:lnTo>
                      <a:pt x="894" y="240"/>
                    </a:lnTo>
                    <a:lnTo>
                      <a:pt x="894" y="240"/>
                    </a:lnTo>
                    <a:lnTo>
                      <a:pt x="894" y="240"/>
                    </a:lnTo>
                    <a:lnTo>
                      <a:pt x="899" y="240"/>
                    </a:lnTo>
                    <a:lnTo>
                      <a:pt x="899" y="240"/>
                    </a:lnTo>
                    <a:lnTo>
                      <a:pt x="903" y="240"/>
                    </a:lnTo>
                    <a:lnTo>
                      <a:pt x="903" y="240"/>
                    </a:lnTo>
                    <a:lnTo>
                      <a:pt x="903" y="240"/>
                    </a:lnTo>
                    <a:lnTo>
                      <a:pt x="903" y="240"/>
                    </a:lnTo>
                    <a:lnTo>
                      <a:pt x="899" y="244"/>
                    </a:lnTo>
                    <a:lnTo>
                      <a:pt x="894" y="244"/>
                    </a:lnTo>
                    <a:lnTo>
                      <a:pt x="894" y="244"/>
                    </a:lnTo>
                    <a:lnTo>
                      <a:pt x="894" y="244"/>
                    </a:lnTo>
                    <a:lnTo>
                      <a:pt x="894" y="244"/>
                    </a:lnTo>
                    <a:lnTo>
                      <a:pt x="899" y="244"/>
                    </a:lnTo>
                    <a:lnTo>
                      <a:pt x="899" y="249"/>
                    </a:lnTo>
                    <a:lnTo>
                      <a:pt x="899" y="249"/>
                    </a:lnTo>
                    <a:lnTo>
                      <a:pt x="899" y="249"/>
                    </a:lnTo>
                    <a:lnTo>
                      <a:pt x="899" y="249"/>
                    </a:lnTo>
                    <a:lnTo>
                      <a:pt x="894" y="249"/>
                    </a:lnTo>
                    <a:lnTo>
                      <a:pt x="894" y="249"/>
                    </a:lnTo>
                    <a:lnTo>
                      <a:pt x="890" y="253"/>
                    </a:lnTo>
                    <a:lnTo>
                      <a:pt x="890" y="253"/>
                    </a:lnTo>
                    <a:lnTo>
                      <a:pt x="885" y="253"/>
                    </a:lnTo>
                    <a:lnTo>
                      <a:pt x="885" y="253"/>
                    </a:lnTo>
                    <a:lnTo>
                      <a:pt x="885" y="253"/>
                    </a:lnTo>
                    <a:lnTo>
                      <a:pt x="885" y="253"/>
                    </a:lnTo>
                    <a:lnTo>
                      <a:pt x="880" y="253"/>
                    </a:lnTo>
                    <a:lnTo>
                      <a:pt x="880" y="253"/>
                    </a:lnTo>
                    <a:lnTo>
                      <a:pt x="880" y="253"/>
                    </a:lnTo>
                    <a:lnTo>
                      <a:pt x="880" y="253"/>
                    </a:lnTo>
                    <a:lnTo>
                      <a:pt x="876" y="253"/>
                    </a:lnTo>
                    <a:lnTo>
                      <a:pt x="876" y="253"/>
                    </a:lnTo>
                    <a:lnTo>
                      <a:pt x="876" y="253"/>
                    </a:lnTo>
                    <a:lnTo>
                      <a:pt x="876" y="253"/>
                    </a:lnTo>
                    <a:lnTo>
                      <a:pt x="876" y="258"/>
                    </a:lnTo>
                    <a:lnTo>
                      <a:pt x="876" y="258"/>
                    </a:lnTo>
                    <a:lnTo>
                      <a:pt x="876" y="258"/>
                    </a:lnTo>
                    <a:lnTo>
                      <a:pt x="876" y="258"/>
                    </a:lnTo>
                    <a:lnTo>
                      <a:pt x="876" y="258"/>
                    </a:lnTo>
                    <a:lnTo>
                      <a:pt x="876" y="258"/>
                    </a:lnTo>
                    <a:lnTo>
                      <a:pt x="880" y="258"/>
                    </a:lnTo>
                    <a:lnTo>
                      <a:pt x="880" y="258"/>
                    </a:lnTo>
                    <a:lnTo>
                      <a:pt x="880" y="258"/>
                    </a:lnTo>
                    <a:lnTo>
                      <a:pt x="880" y="258"/>
                    </a:lnTo>
                    <a:lnTo>
                      <a:pt x="876" y="262"/>
                    </a:lnTo>
                    <a:lnTo>
                      <a:pt x="876" y="262"/>
                    </a:lnTo>
                    <a:lnTo>
                      <a:pt x="876" y="262"/>
                    </a:lnTo>
                    <a:lnTo>
                      <a:pt x="876" y="262"/>
                    </a:lnTo>
                    <a:lnTo>
                      <a:pt x="876" y="262"/>
                    </a:lnTo>
                    <a:lnTo>
                      <a:pt x="876" y="267"/>
                    </a:lnTo>
                    <a:lnTo>
                      <a:pt x="876" y="267"/>
                    </a:lnTo>
                    <a:lnTo>
                      <a:pt x="876" y="267"/>
                    </a:lnTo>
                    <a:lnTo>
                      <a:pt x="876" y="271"/>
                    </a:lnTo>
                    <a:lnTo>
                      <a:pt x="876" y="271"/>
                    </a:lnTo>
                    <a:lnTo>
                      <a:pt x="876" y="271"/>
                    </a:lnTo>
                    <a:lnTo>
                      <a:pt x="871" y="276"/>
                    </a:lnTo>
                    <a:lnTo>
                      <a:pt x="871" y="276"/>
                    </a:lnTo>
                    <a:lnTo>
                      <a:pt x="867" y="280"/>
                    </a:lnTo>
                    <a:lnTo>
                      <a:pt x="867" y="280"/>
                    </a:lnTo>
                    <a:lnTo>
                      <a:pt x="862" y="280"/>
                    </a:lnTo>
                    <a:lnTo>
                      <a:pt x="862" y="280"/>
                    </a:lnTo>
                    <a:lnTo>
                      <a:pt x="862" y="280"/>
                    </a:lnTo>
                    <a:lnTo>
                      <a:pt x="862" y="280"/>
                    </a:lnTo>
                    <a:lnTo>
                      <a:pt x="858" y="280"/>
                    </a:lnTo>
                    <a:lnTo>
                      <a:pt x="858" y="285"/>
                    </a:lnTo>
                    <a:lnTo>
                      <a:pt x="853" y="285"/>
                    </a:lnTo>
                    <a:lnTo>
                      <a:pt x="853" y="285"/>
                    </a:lnTo>
                    <a:lnTo>
                      <a:pt x="849" y="285"/>
                    </a:lnTo>
                    <a:lnTo>
                      <a:pt x="849" y="285"/>
                    </a:lnTo>
                    <a:lnTo>
                      <a:pt x="844" y="285"/>
                    </a:lnTo>
                    <a:lnTo>
                      <a:pt x="840" y="285"/>
                    </a:lnTo>
                    <a:lnTo>
                      <a:pt x="835" y="289"/>
                    </a:lnTo>
                    <a:lnTo>
                      <a:pt x="835" y="289"/>
                    </a:lnTo>
                    <a:lnTo>
                      <a:pt x="835" y="289"/>
                    </a:lnTo>
                    <a:lnTo>
                      <a:pt x="831" y="289"/>
                    </a:lnTo>
                    <a:lnTo>
                      <a:pt x="831" y="289"/>
                    </a:lnTo>
                    <a:lnTo>
                      <a:pt x="831" y="289"/>
                    </a:lnTo>
                    <a:lnTo>
                      <a:pt x="831" y="289"/>
                    </a:lnTo>
                    <a:lnTo>
                      <a:pt x="831" y="285"/>
                    </a:lnTo>
                    <a:lnTo>
                      <a:pt x="831" y="285"/>
                    </a:lnTo>
                    <a:lnTo>
                      <a:pt x="831" y="285"/>
                    </a:lnTo>
                    <a:lnTo>
                      <a:pt x="831" y="280"/>
                    </a:lnTo>
                    <a:lnTo>
                      <a:pt x="831" y="280"/>
                    </a:lnTo>
                    <a:lnTo>
                      <a:pt x="831" y="280"/>
                    </a:lnTo>
                    <a:lnTo>
                      <a:pt x="831" y="280"/>
                    </a:lnTo>
                    <a:lnTo>
                      <a:pt x="831" y="280"/>
                    </a:lnTo>
                    <a:lnTo>
                      <a:pt x="831" y="280"/>
                    </a:lnTo>
                    <a:lnTo>
                      <a:pt x="831" y="280"/>
                    </a:lnTo>
                    <a:lnTo>
                      <a:pt x="831" y="280"/>
                    </a:lnTo>
                    <a:lnTo>
                      <a:pt x="831" y="280"/>
                    </a:lnTo>
                    <a:lnTo>
                      <a:pt x="831" y="280"/>
                    </a:lnTo>
                    <a:lnTo>
                      <a:pt x="831" y="276"/>
                    </a:lnTo>
                    <a:lnTo>
                      <a:pt x="831" y="276"/>
                    </a:lnTo>
                    <a:lnTo>
                      <a:pt x="826" y="276"/>
                    </a:lnTo>
                    <a:lnTo>
                      <a:pt x="826" y="276"/>
                    </a:lnTo>
                    <a:lnTo>
                      <a:pt x="822" y="280"/>
                    </a:lnTo>
                    <a:lnTo>
                      <a:pt x="822" y="280"/>
                    </a:lnTo>
                    <a:lnTo>
                      <a:pt x="822" y="280"/>
                    </a:lnTo>
                    <a:lnTo>
                      <a:pt x="826" y="280"/>
                    </a:lnTo>
                    <a:lnTo>
                      <a:pt x="826" y="280"/>
                    </a:lnTo>
                    <a:lnTo>
                      <a:pt x="826" y="280"/>
                    </a:lnTo>
                    <a:lnTo>
                      <a:pt x="826" y="280"/>
                    </a:lnTo>
                    <a:lnTo>
                      <a:pt x="831" y="280"/>
                    </a:lnTo>
                    <a:lnTo>
                      <a:pt x="826" y="280"/>
                    </a:lnTo>
                    <a:lnTo>
                      <a:pt x="826" y="280"/>
                    </a:lnTo>
                    <a:lnTo>
                      <a:pt x="831" y="285"/>
                    </a:lnTo>
                    <a:lnTo>
                      <a:pt x="831" y="285"/>
                    </a:lnTo>
                    <a:lnTo>
                      <a:pt x="831" y="285"/>
                    </a:lnTo>
                    <a:lnTo>
                      <a:pt x="831" y="285"/>
                    </a:lnTo>
                    <a:lnTo>
                      <a:pt x="826" y="285"/>
                    </a:lnTo>
                    <a:lnTo>
                      <a:pt x="826" y="289"/>
                    </a:lnTo>
                    <a:lnTo>
                      <a:pt x="826" y="289"/>
                    </a:lnTo>
                    <a:lnTo>
                      <a:pt x="826" y="294"/>
                    </a:lnTo>
                    <a:lnTo>
                      <a:pt x="826" y="294"/>
                    </a:lnTo>
                    <a:lnTo>
                      <a:pt x="826" y="294"/>
                    </a:lnTo>
                    <a:lnTo>
                      <a:pt x="826" y="294"/>
                    </a:lnTo>
                    <a:lnTo>
                      <a:pt x="822" y="289"/>
                    </a:lnTo>
                    <a:lnTo>
                      <a:pt x="822" y="289"/>
                    </a:lnTo>
                    <a:lnTo>
                      <a:pt x="822" y="289"/>
                    </a:lnTo>
                    <a:lnTo>
                      <a:pt x="817" y="294"/>
                    </a:lnTo>
                    <a:lnTo>
                      <a:pt x="817" y="294"/>
                    </a:lnTo>
                    <a:lnTo>
                      <a:pt x="817" y="294"/>
                    </a:lnTo>
                    <a:lnTo>
                      <a:pt x="813" y="289"/>
                    </a:lnTo>
                    <a:lnTo>
                      <a:pt x="813" y="289"/>
                    </a:lnTo>
                    <a:lnTo>
                      <a:pt x="813" y="289"/>
                    </a:lnTo>
                    <a:lnTo>
                      <a:pt x="813" y="285"/>
                    </a:lnTo>
                    <a:lnTo>
                      <a:pt x="813" y="285"/>
                    </a:lnTo>
                    <a:lnTo>
                      <a:pt x="813" y="285"/>
                    </a:lnTo>
                    <a:lnTo>
                      <a:pt x="808" y="285"/>
                    </a:lnTo>
                    <a:lnTo>
                      <a:pt x="808" y="285"/>
                    </a:lnTo>
                    <a:lnTo>
                      <a:pt x="799" y="285"/>
                    </a:lnTo>
                    <a:lnTo>
                      <a:pt x="799" y="285"/>
                    </a:lnTo>
                    <a:lnTo>
                      <a:pt x="799" y="285"/>
                    </a:lnTo>
                    <a:lnTo>
                      <a:pt x="799" y="285"/>
                    </a:lnTo>
                    <a:lnTo>
                      <a:pt x="799" y="285"/>
                    </a:lnTo>
                    <a:lnTo>
                      <a:pt x="799" y="285"/>
                    </a:lnTo>
                    <a:lnTo>
                      <a:pt x="795" y="285"/>
                    </a:lnTo>
                    <a:lnTo>
                      <a:pt x="795" y="285"/>
                    </a:lnTo>
                    <a:lnTo>
                      <a:pt x="795" y="289"/>
                    </a:lnTo>
                    <a:lnTo>
                      <a:pt x="799" y="289"/>
                    </a:lnTo>
                    <a:lnTo>
                      <a:pt x="799" y="289"/>
                    </a:lnTo>
                    <a:lnTo>
                      <a:pt x="799" y="289"/>
                    </a:lnTo>
                    <a:lnTo>
                      <a:pt x="799" y="289"/>
                    </a:lnTo>
                    <a:lnTo>
                      <a:pt x="799" y="294"/>
                    </a:lnTo>
                    <a:lnTo>
                      <a:pt x="799" y="294"/>
                    </a:lnTo>
                    <a:lnTo>
                      <a:pt x="799" y="294"/>
                    </a:lnTo>
                    <a:lnTo>
                      <a:pt x="786" y="298"/>
                    </a:lnTo>
                    <a:lnTo>
                      <a:pt x="781" y="303"/>
                    </a:lnTo>
                    <a:lnTo>
                      <a:pt x="777" y="303"/>
                    </a:lnTo>
                    <a:lnTo>
                      <a:pt x="772" y="303"/>
                    </a:lnTo>
                    <a:lnTo>
                      <a:pt x="772" y="303"/>
                    </a:lnTo>
                    <a:lnTo>
                      <a:pt x="772" y="303"/>
                    </a:lnTo>
                    <a:lnTo>
                      <a:pt x="768" y="303"/>
                    </a:lnTo>
                    <a:lnTo>
                      <a:pt x="763" y="303"/>
                    </a:lnTo>
                    <a:lnTo>
                      <a:pt x="763" y="303"/>
                    </a:lnTo>
                    <a:lnTo>
                      <a:pt x="763" y="303"/>
                    </a:lnTo>
                    <a:lnTo>
                      <a:pt x="763" y="298"/>
                    </a:lnTo>
                    <a:lnTo>
                      <a:pt x="763" y="298"/>
                    </a:lnTo>
                    <a:lnTo>
                      <a:pt x="763" y="298"/>
                    </a:lnTo>
                    <a:lnTo>
                      <a:pt x="763" y="298"/>
                    </a:lnTo>
                    <a:lnTo>
                      <a:pt x="759" y="298"/>
                    </a:lnTo>
                    <a:lnTo>
                      <a:pt x="759" y="294"/>
                    </a:lnTo>
                    <a:lnTo>
                      <a:pt x="759" y="294"/>
                    </a:lnTo>
                    <a:lnTo>
                      <a:pt x="754" y="294"/>
                    </a:lnTo>
                    <a:lnTo>
                      <a:pt x="754" y="294"/>
                    </a:lnTo>
                    <a:lnTo>
                      <a:pt x="754" y="294"/>
                    </a:lnTo>
                    <a:lnTo>
                      <a:pt x="754" y="294"/>
                    </a:lnTo>
                    <a:lnTo>
                      <a:pt x="754" y="294"/>
                    </a:lnTo>
                    <a:lnTo>
                      <a:pt x="749" y="294"/>
                    </a:lnTo>
                    <a:lnTo>
                      <a:pt x="749" y="294"/>
                    </a:lnTo>
                    <a:lnTo>
                      <a:pt x="749" y="294"/>
                    </a:lnTo>
                    <a:lnTo>
                      <a:pt x="749" y="289"/>
                    </a:lnTo>
                    <a:lnTo>
                      <a:pt x="745" y="289"/>
                    </a:lnTo>
                    <a:lnTo>
                      <a:pt x="745" y="289"/>
                    </a:lnTo>
                    <a:lnTo>
                      <a:pt x="740" y="289"/>
                    </a:lnTo>
                    <a:lnTo>
                      <a:pt x="740" y="289"/>
                    </a:lnTo>
                    <a:lnTo>
                      <a:pt x="736" y="289"/>
                    </a:lnTo>
                    <a:lnTo>
                      <a:pt x="736" y="289"/>
                    </a:lnTo>
                    <a:lnTo>
                      <a:pt x="736" y="289"/>
                    </a:lnTo>
                    <a:lnTo>
                      <a:pt x="736" y="289"/>
                    </a:lnTo>
                    <a:lnTo>
                      <a:pt x="736" y="294"/>
                    </a:lnTo>
                    <a:lnTo>
                      <a:pt x="740" y="294"/>
                    </a:lnTo>
                    <a:lnTo>
                      <a:pt x="740" y="289"/>
                    </a:lnTo>
                    <a:lnTo>
                      <a:pt x="740" y="289"/>
                    </a:lnTo>
                    <a:lnTo>
                      <a:pt x="745" y="294"/>
                    </a:lnTo>
                    <a:lnTo>
                      <a:pt x="749" y="294"/>
                    </a:lnTo>
                    <a:lnTo>
                      <a:pt x="749" y="294"/>
                    </a:lnTo>
                    <a:lnTo>
                      <a:pt x="749" y="294"/>
                    </a:lnTo>
                    <a:lnTo>
                      <a:pt x="749" y="294"/>
                    </a:lnTo>
                    <a:lnTo>
                      <a:pt x="749" y="298"/>
                    </a:lnTo>
                    <a:lnTo>
                      <a:pt x="749" y="303"/>
                    </a:lnTo>
                    <a:lnTo>
                      <a:pt x="754" y="303"/>
                    </a:lnTo>
                    <a:lnTo>
                      <a:pt x="754" y="303"/>
                    </a:lnTo>
                    <a:lnTo>
                      <a:pt x="759" y="308"/>
                    </a:lnTo>
                    <a:lnTo>
                      <a:pt x="763" y="308"/>
                    </a:lnTo>
                    <a:lnTo>
                      <a:pt x="768" y="308"/>
                    </a:lnTo>
                    <a:lnTo>
                      <a:pt x="772" y="308"/>
                    </a:lnTo>
                    <a:lnTo>
                      <a:pt x="772" y="308"/>
                    </a:lnTo>
                    <a:lnTo>
                      <a:pt x="772" y="308"/>
                    </a:lnTo>
                    <a:lnTo>
                      <a:pt x="772" y="312"/>
                    </a:lnTo>
                    <a:lnTo>
                      <a:pt x="768" y="312"/>
                    </a:lnTo>
                    <a:lnTo>
                      <a:pt x="763" y="317"/>
                    </a:lnTo>
                    <a:lnTo>
                      <a:pt x="749" y="321"/>
                    </a:lnTo>
                    <a:lnTo>
                      <a:pt x="745" y="321"/>
                    </a:lnTo>
                    <a:lnTo>
                      <a:pt x="745" y="326"/>
                    </a:lnTo>
                    <a:lnTo>
                      <a:pt x="745" y="326"/>
                    </a:lnTo>
                    <a:lnTo>
                      <a:pt x="740" y="326"/>
                    </a:lnTo>
                    <a:lnTo>
                      <a:pt x="736" y="330"/>
                    </a:lnTo>
                    <a:lnTo>
                      <a:pt x="731" y="330"/>
                    </a:lnTo>
                    <a:lnTo>
                      <a:pt x="731" y="326"/>
                    </a:lnTo>
                    <a:lnTo>
                      <a:pt x="731" y="326"/>
                    </a:lnTo>
                    <a:lnTo>
                      <a:pt x="731" y="326"/>
                    </a:lnTo>
                    <a:lnTo>
                      <a:pt x="731" y="326"/>
                    </a:lnTo>
                    <a:lnTo>
                      <a:pt x="727" y="330"/>
                    </a:lnTo>
                    <a:lnTo>
                      <a:pt x="727" y="330"/>
                    </a:lnTo>
                    <a:lnTo>
                      <a:pt x="727" y="330"/>
                    </a:lnTo>
                    <a:lnTo>
                      <a:pt x="727" y="326"/>
                    </a:lnTo>
                    <a:lnTo>
                      <a:pt x="727" y="326"/>
                    </a:lnTo>
                    <a:lnTo>
                      <a:pt x="722" y="326"/>
                    </a:lnTo>
                    <a:lnTo>
                      <a:pt x="722" y="326"/>
                    </a:lnTo>
                    <a:lnTo>
                      <a:pt x="722" y="326"/>
                    </a:lnTo>
                    <a:lnTo>
                      <a:pt x="722" y="326"/>
                    </a:lnTo>
                    <a:lnTo>
                      <a:pt x="722" y="326"/>
                    </a:lnTo>
                    <a:lnTo>
                      <a:pt x="722" y="326"/>
                    </a:lnTo>
                    <a:lnTo>
                      <a:pt x="722" y="326"/>
                    </a:lnTo>
                    <a:lnTo>
                      <a:pt x="722" y="326"/>
                    </a:lnTo>
                    <a:lnTo>
                      <a:pt x="718" y="326"/>
                    </a:lnTo>
                    <a:lnTo>
                      <a:pt x="718" y="326"/>
                    </a:lnTo>
                    <a:lnTo>
                      <a:pt x="722" y="326"/>
                    </a:lnTo>
                    <a:lnTo>
                      <a:pt x="718" y="326"/>
                    </a:lnTo>
                    <a:lnTo>
                      <a:pt x="718" y="326"/>
                    </a:lnTo>
                    <a:lnTo>
                      <a:pt x="718" y="330"/>
                    </a:lnTo>
                    <a:lnTo>
                      <a:pt x="718" y="326"/>
                    </a:lnTo>
                    <a:lnTo>
                      <a:pt x="718" y="326"/>
                    </a:lnTo>
                    <a:lnTo>
                      <a:pt x="713" y="330"/>
                    </a:lnTo>
                    <a:lnTo>
                      <a:pt x="713" y="330"/>
                    </a:lnTo>
                    <a:lnTo>
                      <a:pt x="713" y="330"/>
                    </a:lnTo>
                    <a:lnTo>
                      <a:pt x="713" y="335"/>
                    </a:lnTo>
                    <a:lnTo>
                      <a:pt x="709" y="335"/>
                    </a:lnTo>
                    <a:lnTo>
                      <a:pt x="709" y="335"/>
                    </a:lnTo>
                    <a:lnTo>
                      <a:pt x="709" y="335"/>
                    </a:lnTo>
                    <a:lnTo>
                      <a:pt x="704" y="335"/>
                    </a:lnTo>
                    <a:lnTo>
                      <a:pt x="704" y="335"/>
                    </a:lnTo>
                    <a:lnTo>
                      <a:pt x="704" y="335"/>
                    </a:lnTo>
                    <a:lnTo>
                      <a:pt x="704" y="335"/>
                    </a:lnTo>
                    <a:lnTo>
                      <a:pt x="700" y="335"/>
                    </a:lnTo>
                    <a:lnTo>
                      <a:pt x="700" y="335"/>
                    </a:lnTo>
                    <a:lnTo>
                      <a:pt x="700" y="335"/>
                    </a:lnTo>
                    <a:lnTo>
                      <a:pt x="695" y="330"/>
                    </a:lnTo>
                    <a:lnTo>
                      <a:pt x="695" y="330"/>
                    </a:lnTo>
                    <a:lnTo>
                      <a:pt x="691" y="330"/>
                    </a:lnTo>
                    <a:lnTo>
                      <a:pt x="691" y="330"/>
                    </a:lnTo>
                    <a:lnTo>
                      <a:pt x="691" y="330"/>
                    </a:lnTo>
                    <a:lnTo>
                      <a:pt x="691" y="330"/>
                    </a:lnTo>
                    <a:lnTo>
                      <a:pt x="691" y="330"/>
                    </a:lnTo>
                    <a:lnTo>
                      <a:pt x="691" y="330"/>
                    </a:lnTo>
                    <a:lnTo>
                      <a:pt x="691" y="330"/>
                    </a:lnTo>
                    <a:lnTo>
                      <a:pt x="691" y="330"/>
                    </a:lnTo>
                    <a:lnTo>
                      <a:pt x="691" y="330"/>
                    </a:lnTo>
                    <a:lnTo>
                      <a:pt x="686" y="330"/>
                    </a:lnTo>
                    <a:lnTo>
                      <a:pt x="686" y="326"/>
                    </a:lnTo>
                    <a:lnTo>
                      <a:pt x="682" y="326"/>
                    </a:lnTo>
                    <a:lnTo>
                      <a:pt x="677" y="321"/>
                    </a:lnTo>
                    <a:lnTo>
                      <a:pt x="677" y="321"/>
                    </a:lnTo>
                    <a:lnTo>
                      <a:pt x="677" y="321"/>
                    </a:lnTo>
                    <a:lnTo>
                      <a:pt x="677" y="321"/>
                    </a:lnTo>
                    <a:lnTo>
                      <a:pt x="677" y="326"/>
                    </a:lnTo>
                    <a:lnTo>
                      <a:pt x="673" y="326"/>
                    </a:lnTo>
                    <a:lnTo>
                      <a:pt x="673" y="326"/>
                    </a:lnTo>
                    <a:lnTo>
                      <a:pt x="677" y="326"/>
                    </a:lnTo>
                    <a:lnTo>
                      <a:pt x="677" y="326"/>
                    </a:lnTo>
                    <a:lnTo>
                      <a:pt x="677" y="326"/>
                    </a:lnTo>
                    <a:lnTo>
                      <a:pt x="677" y="326"/>
                    </a:lnTo>
                    <a:lnTo>
                      <a:pt x="677" y="326"/>
                    </a:lnTo>
                    <a:lnTo>
                      <a:pt x="677" y="326"/>
                    </a:lnTo>
                    <a:lnTo>
                      <a:pt x="677" y="326"/>
                    </a:lnTo>
                    <a:lnTo>
                      <a:pt x="677" y="326"/>
                    </a:lnTo>
                    <a:lnTo>
                      <a:pt x="682" y="326"/>
                    </a:lnTo>
                    <a:lnTo>
                      <a:pt x="686" y="330"/>
                    </a:lnTo>
                    <a:lnTo>
                      <a:pt x="686" y="330"/>
                    </a:lnTo>
                    <a:lnTo>
                      <a:pt x="686" y="330"/>
                    </a:lnTo>
                    <a:lnTo>
                      <a:pt x="686" y="330"/>
                    </a:lnTo>
                    <a:lnTo>
                      <a:pt x="686" y="330"/>
                    </a:lnTo>
                    <a:lnTo>
                      <a:pt x="682" y="330"/>
                    </a:lnTo>
                    <a:lnTo>
                      <a:pt x="682" y="335"/>
                    </a:lnTo>
                    <a:lnTo>
                      <a:pt x="686" y="335"/>
                    </a:lnTo>
                    <a:lnTo>
                      <a:pt x="686" y="330"/>
                    </a:lnTo>
                    <a:lnTo>
                      <a:pt x="691" y="330"/>
                    </a:lnTo>
                    <a:lnTo>
                      <a:pt x="691" y="330"/>
                    </a:lnTo>
                    <a:lnTo>
                      <a:pt x="691" y="330"/>
                    </a:lnTo>
                    <a:lnTo>
                      <a:pt x="695" y="335"/>
                    </a:lnTo>
                    <a:lnTo>
                      <a:pt x="695" y="335"/>
                    </a:lnTo>
                    <a:lnTo>
                      <a:pt x="695" y="335"/>
                    </a:lnTo>
                    <a:lnTo>
                      <a:pt x="695" y="335"/>
                    </a:lnTo>
                    <a:lnTo>
                      <a:pt x="700" y="339"/>
                    </a:lnTo>
                    <a:lnTo>
                      <a:pt x="700" y="339"/>
                    </a:lnTo>
                    <a:lnTo>
                      <a:pt x="695" y="344"/>
                    </a:lnTo>
                    <a:lnTo>
                      <a:pt x="695" y="344"/>
                    </a:lnTo>
                    <a:lnTo>
                      <a:pt x="695" y="344"/>
                    </a:lnTo>
                    <a:lnTo>
                      <a:pt x="691" y="344"/>
                    </a:lnTo>
                    <a:lnTo>
                      <a:pt x="691" y="344"/>
                    </a:lnTo>
                    <a:lnTo>
                      <a:pt x="691" y="344"/>
                    </a:lnTo>
                    <a:lnTo>
                      <a:pt x="686" y="344"/>
                    </a:lnTo>
                    <a:lnTo>
                      <a:pt x="682" y="348"/>
                    </a:lnTo>
                    <a:lnTo>
                      <a:pt x="682" y="348"/>
                    </a:lnTo>
                    <a:lnTo>
                      <a:pt x="677" y="348"/>
                    </a:lnTo>
                    <a:lnTo>
                      <a:pt x="677" y="344"/>
                    </a:lnTo>
                    <a:lnTo>
                      <a:pt x="673" y="344"/>
                    </a:lnTo>
                    <a:lnTo>
                      <a:pt x="673" y="348"/>
                    </a:lnTo>
                    <a:lnTo>
                      <a:pt x="673" y="348"/>
                    </a:lnTo>
                    <a:lnTo>
                      <a:pt x="673" y="348"/>
                    </a:lnTo>
                    <a:lnTo>
                      <a:pt x="668" y="348"/>
                    </a:lnTo>
                    <a:lnTo>
                      <a:pt x="668" y="348"/>
                    </a:lnTo>
                    <a:lnTo>
                      <a:pt x="668" y="348"/>
                    </a:lnTo>
                    <a:lnTo>
                      <a:pt x="668" y="348"/>
                    </a:lnTo>
                    <a:lnTo>
                      <a:pt x="668" y="348"/>
                    </a:lnTo>
                    <a:lnTo>
                      <a:pt x="673" y="348"/>
                    </a:lnTo>
                    <a:lnTo>
                      <a:pt x="673" y="348"/>
                    </a:lnTo>
                    <a:lnTo>
                      <a:pt x="673" y="353"/>
                    </a:lnTo>
                    <a:lnTo>
                      <a:pt x="673" y="353"/>
                    </a:lnTo>
                    <a:lnTo>
                      <a:pt x="668" y="353"/>
                    </a:lnTo>
                    <a:lnTo>
                      <a:pt x="668" y="353"/>
                    </a:lnTo>
                    <a:lnTo>
                      <a:pt x="668" y="353"/>
                    </a:lnTo>
                    <a:lnTo>
                      <a:pt x="668" y="348"/>
                    </a:lnTo>
                    <a:lnTo>
                      <a:pt x="668" y="353"/>
                    </a:lnTo>
                    <a:lnTo>
                      <a:pt x="664" y="353"/>
                    </a:lnTo>
                    <a:lnTo>
                      <a:pt x="664" y="353"/>
                    </a:lnTo>
                    <a:lnTo>
                      <a:pt x="664" y="353"/>
                    </a:lnTo>
                    <a:lnTo>
                      <a:pt x="664" y="353"/>
                    </a:lnTo>
                    <a:lnTo>
                      <a:pt x="664" y="353"/>
                    </a:lnTo>
                    <a:lnTo>
                      <a:pt x="659" y="353"/>
                    </a:lnTo>
                    <a:lnTo>
                      <a:pt x="659" y="353"/>
                    </a:lnTo>
                    <a:lnTo>
                      <a:pt x="659" y="353"/>
                    </a:lnTo>
                    <a:lnTo>
                      <a:pt x="659" y="353"/>
                    </a:lnTo>
                    <a:lnTo>
                      <a:pt x="659" y="357"/>
                    </a:lnTo>
                    <a:lnTo>
                      <a:pt x="659" y="357"/>
                    </a:lnTo>
                    <a:lnTo>
                      <a:pt x="659" y="357"/>
                    </a:lnTo>
                    <a:lnTo>
                      <a:pt x="659" y="357"/>
                    </a:lnTo>
                    <a:lnTo>
                      <a:pt x="655" y="357"/>
                    </a:lnTo>
                    <a:lnTo>
                      <a:pt x="655" y="357"/>
                    </a:lnTo>
                    <a:lnTo>
                      <a:pt x="655" y="357"/>
                    </a:lnTo>
                    <a:lnTo>
                      <a:pt x="655" y="353"/>
                    </a:lnTo>
                    <a:lnTo>
                      <a:pt x="655" y="353"/>
                    </a:lnTo>
                    <a:lnTo>
                      <a:pt x="655" y="353"/>
                    </a:lnTo>
                    <a:lnTo>
                      <a:pt x="655" y="357"/>
                    </a:lnTo>
                    <a:lnTo>
                      <a:pt x="655" y="357"/>
                    </a:lnTo>
                    <a:lnTo>
                      <a:pt x="655" y="357"/>
                    </a:lnTo>
                    <a:lnTo>
                      <a:pt x="650" y="357"/>
                    </a:lnTo>
                    <a:lnTo>
                      <a:pt x="650" y="357"/>
                    </a:lnTo>
                    <a:lnTo>
                      <a:pt x="650" y="357"/>
                    </a:lnTo>
                    <a:lnTo>
                      <a:pt x="650" y="357"/>
                    </a:lnTo>
                    <a:lnTo>
                      <a:pt x="650" y="357"/>
                    </a:lnTo>
                    <a:lnTo>
                      <a:pt x="646" y="362"/>
                    </a:lnTo>
                    <a:lnTo>
                      <a:pt x="646" y="362"/>
                    </a:lnTo>
                    <a:lnTo>
                      <a:pt x="646" y="362"/>
                    </a:lnTo>
                    <a:lnTo>
                      <a:pt x="646" y="362"/>
                    </a:lnTo>
                    <a:lnTo>
                      <a:pt x="646" y="362"/>
                    </a:lnTo>
                    <a:lnTo>
                      <a:pt x="646" y="362"/>
                    </a:lnTo>
                    <a:lnTo>
                      <a:pt x="646" y="362"/>
                    </a:lnTo>
                    <a:lnTo>
                      <a:pt x="641" y="362"/>
                    </a:lnTo>
                    <a:lnTo>
                      <a:pt x="641" y="362"/>
                    </a:lnTo>
                    <a:lnTo>
                      <a:pt x="641" y="362"/>
                    </a:lnTo>
                    <a:lnTo>
                      <a:pt x="641" y="362"/>
                    </a:lnTo>
                    <a:lnTo>
                      <a:pt x="641" y="366"/>
                    </a:lnTo>
                    <a:lnTo>
                      <a:pt x="641" y="366"/>
                    </a:lnTo>
                    <a:lnTo>
                      <a:pt x="641" y="366"/>
                    </a:lnTo>
                    <a:lnTo>
                      <a:pt x="641" y="366"/>
                    </a:lnTo>
                    <a:lnTo>
                      <a:pt x="632" y="366"/>
                    </a:lnTo>
                    <a:lnTo>
                      <a:pt x="628" y="371"/>
                    </a:lnTo>
                    <a:lnTo>
                      <a:pt x="628" y="371"/>
                    </a:lnTo>
                    <a:lnTo>
                      <a:pt x="628" y="371"/>
                    </a:lnTo>
                    <a:lnTo>
                      <a:pt x="628" y="371"/>
                    </a:lnTo>
                    <a:lnTo>
                      <a:pt x="628" y="371"/>
                    </a:lnTo>
                    <a:lnTo>
                      <a:pt x="623" y="371"/>
                    </a:lnTo>
                    <a:lnTo>
                      <a:pt x="623" y="371"/>
                    </a:lnTo>
                    <a:lnTo>
                      <a:pt x="623" y="371"/>
                    </a:lnTo>
                    <a:lnTo>
                      <a:pt x="623" y="375"/>
                    </a:lnTo>
                    <a:lnTo>
                      <a:pt x="623" y="375"/>
                    </a:lnTo>
                    <a:lnTo>
                      <a:pt x="618" y="375"/>
                    </a:lnTo>
                    <a:lnTo>
                      <a:pt x="614" y="380"/>
                    </a:lnTo>
                    <a:lnTo>
                      <a:pt x="609" y="384"/>
                    </a:lnTo>
                    <a:lnTo>
                      <a:pt x="609" y="384"/>
                    </a:lnTo>
                    <a:lnTo>
                      <a:pt x="605" y="384"/>
                    </a:lnTo>
                    <a:lnTo>
                      <a:pt x="605" y="384"/>
                    </a:lnTo>
                    <a:lnTo>
                      <a:pt x="605" y="384"/>
                    </a:lnTo>
                    <a:lnTo>
                      <a:pt x="605" y="389"/>
                    </a:lnTo>
                    <a:lnTo>
                      <a:pt x="605" y="389"/>
                    </a:lnTo>
                    <a:lnTo>
                      <a:pt x="605" y="389"/>
                    </a:lnTo>
                    <a:lnTo>
                      <a:pt x="600" y="389"/>
                    </a:lnTo>
                    <a:lnTo>
                      <a:pt x="596" y="393"/>
                    </a:lnTo>
                    <a:lnTo>
                      <a:pt x="591" y="398"/>
                    </a:lnTo>
                    <a:lnTo>
                      <a:pt x="587" y="407"/>
                    </a:lnTo>
                    <a:lnTo>
                      <a:pt x="582" y="407"/>
                    </a:lnTo>
                    <a:lnTo>
                      <a:pt x="582" y="411"/>
                    </a:lnTo>
                    <a:lnTo>
                      <a:pt x="578" y="411"/>
                    </a:lnTo>
                    <a:lnTo>
                      <a:pt x="578" y="411"/>
                    </a:lnTo>
                    <a:lnTo>
                      <a:pt x="578" y="411"/>
                    </a:lnTo>
                    <a:lnTo>
                      <a:pt x="578" y="411"/>
                    </a:lnTo>
                    <a:lnTo>
                      <a:pt x="578" y="416"/>
                    </a:lnTo>
                    <a:lnTo>
                      <a:pt x="578" y="416"/>
                    </a:lnTo>
                    <a:lnTo>
                      <a:pt x="578" y="416"/>
                    </a:lnTo>
                    <a:lnTo>
                      <a:pt x="578" y="416"/>
                    </a:lnTo>
                    <a:lnTo>
                      <a:pt x="578" y="416"/>
                    </a:lnTo>
                    <a:lnTo>
                      <a:pt x="578" y="416"/>
                    </a:lnTo>
                    <a:lnTo>
                      <a:pt x="578" y="421"/>
                    </a:lnTo>
                    <a:lnTo>
                      <a:pt x="578" y="421"/>
                    </a:lnTo>
                    <a:lnTo>
                      <a:pt x="578" y="421"/>
                    </a:lnTo>
                    <a:lnTo>
                      <a:pt x="573" y="425"/>
                    </a:lnTo>
                    <a:lnTo>
                      <a:pt x="573" y="430"/>
                    </a:lnTo>
                    <a:lnTo>
                      <a:pt x="573" y="425"/>
                    </a:lnTo>
                    <a:lnTo>
                      <a:pt x="578" y="421"/>
                    </a:lnTo>
                    <a:lnTo>
                      <a:pt x="582" y="421"/>
                    </a:lnTo>
                    <a:lnTo>
                      <a:pt x="582" y="421"/>
                    </a:lnTo>
                    <a:lnTo>
                      <a:pt x="587" y="421"/>
                    </a:lnTo>
                    <a:lnTo>
                      <a:pt x="591" y="421"/>
                    </a:lnTo>
                    <a:lnTo>
                      <a:pt x="591" y="421"/>
                    </a:lnTo>
                    <a:lnTo>
                      <a:pt x="591" y="421"/>
                    </a:lnTo>
                    <a:lnTo>
                      <a:pt x="596" y="421"/>
                    </a:lnTo>
                    <a:lnTo>
                      <a:pt x="591" y="421"/>
                    </a:lnTo>
                    <a:lnTo>
                      <a:pt x="591" y="425"/>
                    </a:lnTo>
                    <a:lnTo>
                      <a:pt x="591" y="425"/>
                    </a:lnTo>
                    <a:lnTo>
                      <a:pt x="587" y="430"/>
                    </a:lnTo>
                    <a:lnTo>
                      <a:pt x="587" y="434"/>
                    </a:lnTo>
                    <a:lnTo>
                      <a:pt x="587" y="439"/>
                    </a:lnTo>
                    <a:lnTo>
                      <a:pt x="587" y="439"/>
                    </a:lnTo>
                    <a:lnTo>
                      <a:pt x="582" y="443"/>
                    </a:lnTo>
                    <a:lnTo>
                      <a:pt x="582" y="448"/>
                    </a:lnTo>
                    <a:lnTo>
                      <a:pt x="582" y="448"/>
                    </a:lnTo>
                    <a:lnTo>
                      <a:pt x="582" y="448"/>
                    </a:lnTo>
                    <a:lnTo>
                      <a:pt x="578" y="448"/>
                    </a:lnTo>
                    <a:lnTo>
                      <a:pt x="578" y="452"/>
                    </a:lnTo>
                    <a:lnTo>
                      <a:pt x="573" y="452"/>
                    </a:lnTo>
                    <a:lnTo>
                      <a:pt x="573" y="452"/>
                    </a:lnTo>
                    <a:lnTo>
                      <a:pt x="573" y="452"/>
                    </a:lnTo>
                    <a:lnTo>
                      <a:pt x="569" y="452"/>
                    </a:lnTo>
                    <a:lnTo>
                      <a:pt x="569" y="457"/>
                    </a:lnTo>
                    <a:lnTo>
                      <a:pt x="573" y="452"/>
                    </a:lnTo>
                    <a:lnTo>
                      <a:pt x="573" y="452"/>
                    </a:lnTo>
                    <a:lnTo>
                      <a:pt x="578" y="452"/>
                    </a:lnTo>
                    <a:lnTo>
                      <a:pt x="578" y="452"/>
                    </a:lnTo>
                    <a:lnTo>
                      <a:pt x="578" y="452"/>
                    </a:lnTo>
                    <a:lnTo>
                      <a:pt x="578" y="452"/>
                    </a:lnTo>
                    <a:lnTo>
                      <a:pt x="578" y="452"/>
                    </a:lnTo>
                    <a:lnTo>
                      <a:pt x="578" y="452"/>
                    </a:lnTo>
                    <a:lnTo>
                      <a:pt x="578" y="452"/>
                    </a:lnTo>
                    <a:lnTo>
                      <a:pt x="582" y="452"/>
                    </a:lnTo>
                    <a:lnTo>
                      <a:pt x="596" y="452"/>
                    </a:lnTo>
                    <a:lnTo>
                      <a:pt x="600" y="452"/>
                    </a:lnTo>
                    <a:lnTo>
                      <a:pt x="605" y="452"/>
                    </a:lnTo>
                    <a:lnTo>
                      <a:pt x="605" y="452"/>
                    </a:lnTo>
                    <a:lnTo>
                      <a:pt x="609" y="457"/>
                    </a:lnTo>
                    <a:lnTo>
                      <a:pt x="609" y="457"/>
                    </a:lnTo>
                    <a:lnTo>
                      <a:pt x="614" y="457"/>
                    </a:lnTo>
                    <a:lnTo>
                      <a:pt x="614" y="461"/>
                    </a:lnTo>
                    <a:lnTo>
                      <a:pt x="618" y="461"/>
                    </a:lnTo>
                    <a:lnTo>
                      <a:pt x="618" y="461"/>
                    </a:lnTo>
                    <a:lnTo>
                      <a:pt x="618" y="461"/>
                    </a:lnTo>
                    <a:lnTo>
                      <a:pt x="623" y="466"/>
                    </a:lnTo>
                    <a:lnTo>
                      <a:pt x="623" y="466"/>
                    </a:lnTo>
                    <a:lnTo>
                      <a:pt x="623" y="466"/>
                    </a:lnTo>
                    <a:lnTo>
                      <a:pt x="623" y="470"/>
                    </a:lnTo>
                    <a:lnTo>
                      <a:pt x="623" y="475"/>
                    </a:lnTo>
                    <a:lnTo>
                      <a:pt x="628" y="475"/>
                    </a:lnTo>
                    <a:lnTo>
                      <a:pt x="628" y="479"/>
                    </a:lnTo>
                    <a:lnTo>
                      <a:pt x="632" y="479"/>
                    </a:lnTo>
                    <a:lnTo>
                      <a:pt x="637" y="484"/>
                    </a:lnTo>
                    <a:lnTo>
                      <a:pt x="641" y="484"/>
                    </a:lnTo>
                    <a:lnTo>
                      <a:pt x="641" y="484"/>
                    </a:lnTo>
                    <a:lnTo>
                      <a:pt x="641" y="484"/>
                    </a:lnTo>
                    <a:lnTo>
                      <a:pt x="646" y="488"/>
                    </a:lnTo>
                    <a:lnTo>
                      <a:pt x="646" y="488"/>
                    </a:lnTo>
                    <a:lnTo>
                      <a:pt x="646" y="488"/>
                    </a:lnTo>
                    <a:lnTo>
                      <a:pt x="646" y="488"/>
                    </a:lnTo>
                    <a:lnTo>
                      <a:pt x="646" y="493"/>
                    </a:lnTo>
                    <a:lnTo>
                      <a:pt x="646" y="493"/>
                    </a:lnTo>
                    <a:lnTo>
                      <a:pt x="646" y="493"/>
                    </a:lnTo>
                    <a:lnTo>
                      <a:pt x="641" y="497"/>
                    </a:lnTo>
                    <a:lnTo>
                      <a:pt x="641" y="497"/>
                    </a:lnTo>
                    <a:lnTo>
                      <a:pt x="646" y="493"/>
                    </a:lnTo>
                    <a:lnTo>
                      <a:pt x="646" y="493"/>
                    </a:lnTo>
                    <a:lnTo>
                      <a:pt x="646" y="493"/>
                    </a:lnTo>
                    <a:lnTo>
                      <a:pt x="650" y="493"/>
                    </a:lnTo>
                    <a:lnTo>
                      <a:pt x="650" y="493"/>
                    </a:lnTo>
                    <a:lnTo>
                      <a:pt x="655" y="493"/>
                    </a:lnTo>
                    <a:lnTo>
                      <a:pt x="655" y="493"/>
                    </a:lnTo>
                    <a:lnTo>
                      <a:pt x="659" y="493"/>
                    </a:lnTo>
                    <a:lnTo>
                      <a:pt x="659" y="493"/>
                    </a:lnTo>
                    <a:lnTo>
                      <a:pt x="659" y="493"/>
                    </a:lnTo>
                    <a:lnTo>
                      <a:pt x="664" y="493"/>
                    </a:lnTo>
                    <a:lnTo>
                      <a:pt x="664" y="493"/>
                    </a:lnTo>
                    <a:lnTo>
                      <a:pt x="664" y="493"/>
                    </a:lnTo>
                    <a:lnTo>
                      <a:pt x="668" y="493"/>
                    </a:lnTo>
                    <a:lnTo>
                      <a:pt x="673" y="497"/>
                    </a:lnTo>
                    <a:lnTo>
                      <a:pt x="673" y="497"/>
                    </a:lnTo>
                    <a:lnTo>
                      <a:pt x="673" y="497"/>
                    </a:lnTo>
                    <a:lnTo>
                      <a:pt x="673" y="497"/>
                    </a:lnTo>
                    <a:lnTo>
                      <a:pt x="677" y="497"/>
                    </a:lnTo>
                    <a:lnTo>
                      <a:pt x="677" y="497"/>
                    </a:lnTo>
                    <a:lnTo>
                      <a:pt x="677" y="497"/>
                    </a:lnTo>
                    <a:lnTo>
                      <a:pt x="682" y="502"/>
                    </a:lnTo>
                    <a:lnTo>
                      <a:pt x="682" y="502"/>
                    </a:lnTo>
                    <a:lnTo>
                      <a:pt x="677" y="502"/>
                    </a:lnTo>
                    <a:lnTo>
                      <a:pt x="677" y="506"/>
                    </a:lnTo>
                    <a:lnTo>
                      <a:pt x="673" y="511"/>
                    </a:lnTo>
                    <a:lnTo>
                      <a:pt x="668" y="511"/>
                    </a:lnTo>
                    <a:lnTo>
                      <a:pt x="668" y="515"/>
                    </a:lnTo>
                    <a:lnTo>
                      <a:pt x="668" y="515"/>
                    </a:lnTo>
                    <a:lnTo>
                      <a:pt x="668" y="520"/>
                    </a:lnTo>
                    <a:lnTo>
                      <a:pt x="668" y="520"/>
                    </a:lnTo>
                    <a:lnTo>
                      <a:pt x="668" y="520"/>
                    </a:lnTo>
                    <a:lnTo>
                      <a:pt x="668" y="525"/>
                    </a:lnTo>
                    <a:lnTo>
                      <a:pt x="664" y="525"/>
                    </a:lnTo>
                    <a:lnTo>
                      <a:pt x="664" y="529"/>
                    </a:lnTo>
                    <a:lnTo>
                      <a:pt x="664" y="529"/>
                    </a:lnTo>
                    <a:lnTo>
                      <a:pt x="659" y="534"/>
                    </a:lnTo>
                    <a:lnTo>
                      <a:pt x="659" y="534"/>
                    </a:lnTo>
                    <a:lnTo>
                      <a:pt x="659" y="534"/>
                    </a:lnTo>
                    <a:lnTo>
                      <a:pt x="659" y="534"/>
                    </a:lnTo>
                    <a:lnTo>
                      <a:pt x="655" y="538"/>
                    </a:lnTo>
                    <a:lnTo>
                      <a:pt x="655" y="538"/>
                    </a:lnTo>
                    <a:lnTo>
                      <a:pt x="655" y="538"/>
                    </a:lnTo>
                    <a:lnTo>
                      <a:pt x="655" y="538"/>
                    </a:lnTo>
                    <a:lnTo>
                      <a:pt x="655" y="543"/>
                    </a:lnTo>
                    <a:lnTo>
                      <a:pt x="655" y="543"/>
                    </a:lnTo>
                    <a:lnTo>
                      <a:pt x="655" y="547"/>
                    </a:lnTo>
                    <a:lnTo>
                      <a:pt x="655" y="547"/>
                    </a:lnTo>
                    <a:lnTo>
                      <a:pt x="659" y="552"/>
                    </a:lnTo>
                    <a:lnTo>
                      <a:pt x="655" y="552"/>
                    </a:lnTo>
                    <a:lnTo>
                      <a:pt x="655" y="552"/>
                    </a:lnTo>
                    <a:lnTo>
                      <a:pt x="655" y="552"/>
                    </a:lnTo>
                    <a:lnTo>
                      <a:pt x="655" y="552"/>
                    </a:lnTo>
                    <a:lnTo>
                      <a:pt x="650" y="552"/>
                    </a:lnTo>
                    <a:lnTo>
                      <a:pt x="650" y="556"/>
                    </a:lnTo>
                    <a:lnTo>
                      <a:pt x="655" y="552"/>
                    </a:lnTo>
                    <a:lnTo>
                      <a:pt x="655" y="552"/>
                    </a:lnTo>
                    <a:lnTo>
                      <a:pt x="655" y="556"/>
                    </a:lnTo>
                    <a:lnTo>
                      <a:pt x="655" y="556"/>
                    </a:lnTo>
                    <a:lnTo>
                      <a:pt x="659" y="556"/>
                    </a:lnTo>
                    <a:lnTo>
                      <a:pt x="659" y="556"/>
                    </a:lnTo>
                    <a:lnTo>
                      <a:pt x="659" y="561"/>
                    </a:lnTo>
                    <a:lnTo>
                      <a:pt x="664" y="561"/>
                    </a:lnTo>
                    <a:lnTo>
                      <a:pt x="664" y="565"/>
                    </a:lnTo>
                    <a:lnTo>
                      <a:pt x="664" y="565"/>
                    </a:lnTo>
                    <a:lnTo>
                      <a:pt x="659" y="570"/>
                    </a:lnTo>
                    <a:lnTo>
                      <a:pt x="659" y="570"/>
                    </a:lnTo>
                    <a:lnTo>
                      <a:pt x="659" y="570"/>
                    </a:lnTo>
                    <a:lnTo>
                      <a:pt x="659" y="570"/>
                    </a:lnTo>
                    <a:lnTo>
                      <a:pt x="655" y="574"/>
                    </a:lnTo>
                    <a:lnTo>
                      <a:pt x="650" y="574"/>
                    </a:lnTo>
                    <a:lnTo>
                      <a:pt x="655" y="574"/>
                    </a:lnTo>
                    <a:lnTo>
                      <a:pt x="655" y="574"/>
                    </a:lnTo>
                    <a:lnTo>
                      <a:pt x="659" y="574"/>
                    </a:lnTo>
                    <a:lnTo>
                      <a:pt x="659" y="574"/>
                    </a:lnTo>
                    <a:lnTo>
                      <a:pt x="664" y="574"/>
                    </a:lnTo>
                    <a:lnTo>
                      <a:pt x="664" y="574"/>
                    </a:lnTo>
                    <a:lnTo>
                      <a:pt x="664" y="574"/>
                    </a:lnTo>
                    <a:lnTo>
                      <a:pt x="668" y="574"/>
                    </a:lnTo>
                    <a:lnTo>
                      <a:pt x="668" y="579"/>
                    </a:lnTo>
                    <a:lnTo>
                      <a:pt x="668" y="583"/>
                    </a:lnTo>
                    <a:lnTo>
                      <a:pt x="668" y="583"/>
                    </a:lnTo>
                    <a:lnTo>
                      <a:pt x="668" y="583"/>
                    </a:lnTo>
                    <a:lnTo>
                      <a:pt x="668" y="579"/>
                    </a:lnTo>
                    <a:lnTo>
                      <a:pt x="668" y="579"/>
                    </a:lnTo>
                    <a:lnTo>
                      <a:pt x="668" y="579"/>
                    </a:lnTo>
                    <a:lnTo>
                      <a:pt x="668" y="574"/>
                    </a:lnTo>
                    <a:lnTo>
                      <a:pt x="668" y="574"/>
                    </a:lnTo>
                    <a:lnTo>
                      <a:pt x="668" y="574"/>
                    </a:lnTo>
                    <a:lnTo>
                      <a:pt x="668" y="574"/>
                    </a:lnTo>
                    <a:lnTo>
                      <a:pt x="673" y="570"/>
                    </a:lnTo>
                    <a:lnTo>
                      <a:pt x="673" y="570"/>
                    </a:lnTo>
                    <a:lnTo>
                      <a:pt x="673" y="570"/>
                    </a:lnTo>
                    <a:lnTo>
                      <a:pt x="673" y="570"/>
                    </a:lnTo>
                    <a:lnTo>
                      <a:pt x="677" y="570"/>
                    </a:lnTo>
                    <a:lnTo>
                      <a:pt x="677" y="565"/>
                    </a:lnTo>
                    <a:lnTo>
                      <a:pt x="677" y="570"/>
                    </a:lnTo>
                    <a:lnTo>
                      <a:pt x="677" y="570"/>
                    </a:lnTo>
                    <a:lnTo>
                      <a:pt x="677" y="570"/>
                    </a:lnTo>
                    <a:lnTo>
                      <a:pt x="682" y="570"/>
                    </a:lnTo>
                    <a:lnTo>
                      <a:pt x="682" y="570"/>
                    </a:lnTo>
                    <a:lnTo>
                      <a:pt x="682" y="570"/>
                    </a:lnTo>
                    <a:lnTo>
                      <a:pt x="682" y="570"/>
                    </a:lnTo>
                    <a:lnTo>
                      <a:pt x="682" y="574"/>
                    </a:lnTo>
                    <a:lnTo>
                      <a:pt x="682" y="574"/>
                    </a:lnTo>
                    <a:lnTo>
                      <a:pt x="677" y="574"/>
                    </a:lnTo>
                    <a:lnTo>
                      <a:pt x="682" y="574"/>
                    </a:lnTo>
                    <a:lnTo>
                      <a:pt x="682" y="574"/>
                    </a:lnTo>
                    <a:lnTo>
                      <a:pt x="682" y="570"/>
                    </a:lnTo>
                    <a:lnTo>
                      <a:pt x="686" y="570"/>
                    </a:lnTo>
                    <a:lnTo>
                      <a:pt x="686" y="570"/>
                    </a:lnTo>
                    <a:lnTo>
                      <a:pt x="686" y="570"/>
                    </a:lnTo>
                    <a:lnTo>
                      <a:pt x="686" y="565"/>
                    </a:lnTo>
                    <a:lnTo>
                      <a:pt x="686" y="565"/>
                    </a:lnTo>
                    <a:lnTo>
                      <a:pt x="686" y="565"/>
                    </a:lnTo>
                    <a:lnTo>
                      <a:pt x="686" y="565"/>
                    </a:lnTo>
                    <a:lnTo>
                      <a:pt x="686" y="561"/>
                    </a:lnTo>
                    <a:lnTo>
                      <a:pt x="691" y="561"/>
                    </a:lnTo>
                    <a:lnTo>
                      <a:pt x="691" y="561"/>
                    </a:lnTo>
                    <a:lnTo>
                      <a:pt x="695" y="556"/>
                    </a:lnTo>
                    <a:lnTo>
                      <a:pt x="695" y="556"/>
                    </a:lnTo>
                    <a:lnTo>
                      <a:pt x="695" y="556"/>
                    </a:lnTo>
                    <a:lnTo>
                      <a:pt x="700" y="556"/>
                    </a:lnTo>
                    <a:lnTo>
                      <a:pt x="695" y="556"/>
                    </a:lnTo>
                    <a:lnTo>
                      <a:pt x="700" y="556"/>
                    </a:lnTo>
                    <a:lnTo>
                      <a:pt x="700" y="552"/>
                    </a:lnTo>
                    <a:lnTo>
                      <a:pt x="700" y="552"/>
                    </a:lnTo>
                    <a:lnTo>
                      <a:pt x="700" y="552"/>
                    </a:lnTo>
                    <a:lnTo>
                      <a:pt x="700" y="547"/>
                    </a:lnTo>
                    <a:lnTo>
                      <a:pt x="700" y="547"/>
                    </a:lnTo>
                    <a:lnTo>
                      <a:pt x="700" y="547"/>
                    </a:lnTo>
                    <a:lnTo>
                      <a:pt x="700" y="547"/>
                    </a:lnTo>
                    <a:lnTo>
                      <a:pt x="700" y="543"/>
                    </a:lnTo>
                    <a:lnTo>
                      <a:pt x="700" y="543"/>
                    </a:lnTo>
                    <a:lnTo>
                      <a:pt x="700" y="543"/>
                    </a:lnTo>
                    <a:lnTo>
                      <a:pt x="700" y="543"/>
                    </a:lnTo>
                    <a:lnTo>
                      <a:pt x="704" y="538"/>
                    </a:lnTo>
                    <a:lnTo>
                      <a:pt x="704" y="534"/>
                    </a:lnTo>
                    <a:lnTo>
                      <a:pt x="704" y="529"/>
                    </a:lnTo>
                    <a:lnTo>
                      <a:pt x="704" y="529"/>
                    </a:lnTo>
                    <a:lnTo>
                      <a:pt x="704" y="529"/>
                    </a:lnTo>
                    <a:lnTo>
                      <a:pt x="709" y="529"/>
                    </a:lnTo>
                    <a:lnTo>
                      <a:pt x="709" y="525"/>
                    </a:lnTo>
                    <a:lnTo>
                      <a:pt x="709" y="525"/>
                    </a:lnTo>
                    <a:lnTo>
                      <a:pt x="709" y="525"/>
                    </a:lnTo>
                    <a:lnTo>
                      <a:pt x="709" y="525"/>
                    </a:lnTo>
                    <a:lnTo>
                      <a:pt x="709" y="525"/>
                    </a:lnTo>
                    <a:lnTo>
                      <a:pt x="709" y="525"/>
                    </a:lnTo>
                    <a:lnTo>
                      <a:pt x="709" y="525"/>
                    </a:lnTo>
                    <a:lnTo>
                      <a:pt x="713" y="525"/>
                    </a:lnTo>
                    <a:lnTo>
                      <a:pt x="713" y="525"/>
                    </a:lnTo>
                    <a:lnTo>
                      <a:pt x="713" y="520"/>
                    </a:lnTo>
                    <a:lnTo>
                      <a:pt x="709" y="520"/>
                    </a:lnTo>
                    <a:lnTo>
                      <a:pt x="709" y="520"/>
                    </a:lnTo>
                    <a:lnTo>
                      <a:pt x="713" y="520"/>
                    </a:lnTo>
                    <a:lnTo>
                      <a:pt x="713" y="520"/>
                    </a:lnTo>
                    <a:lnTo>
                      <a:pt x="709" y="520"/>
                    </a:lnTo>
                    <a:lnTo>
                      <a:pt x="709" y="520"/>
                    </a:lnTo>
                    <a:lnTo>
                      <a:pt x="709" y="515"/>
                    </a:lnTo>
                    <a:lnTo>
                      <a:pt x="709" y="515"/>
                    </a:lnTo>
                    <a:lnTo>
                      <a:pt x="709" y="515"/>
                    </a:lnTo>
                    <a:lnTo>
                      <a:pt x="709" y="511"/>
                    </a:lnTo>
                    <a:lnTo>
                      <a:pt x="709" y="511"/>
                    </a:lnTo>
                    <a:lnTo>
                      <a:pt x="709" y="511"/>
                    </a:lnTo>
                    <a:lnTo>
                      <a:pt x="709" y="511"/>
                    </a:lnTo>
                    <a:lnTo>
                      <a:pt x="709" y="511"/>
                    </a:lnTo>
                    <a:lnTo>
                      <a:pt x="709" y="511"/>
                    </a:lnTo>
                    <a:lnTo>
                      <a:pt x="713" y="511"/>
                    </a:lnTo>
                    <a:lnTo>
                      <a:pt x="722" y="506"/>
                    </a:lnTo>
                    <a:lnTo>
                      <a:pt x="727" y="506"/>
                    </a:lnTo>
                    <a:lnTo>
                      <a:pt x="731" y="506"/>
                    </a:lnTo>
                    <a:lnTo>
                      <a:pt x="736" y="502"/>
                    </a:lnTo>
                    <a:lnTo>
                      <a:pt x="736" y="502"/>
                    </a:lnTo>
                    <a:lnTo>
                      <a:pt x="740" y="502"/>
                    </a:lnTo>
                    <a:lnTo>
                      <a:pt x="745" y="502"/>
                    </a:lnTo>
                    <a:lnTo>
                      <a:pt x="745" y="497"/>
                    </a:lnTo>
                    <a:lnTo>
                      <a:pt x="754" y="493"/>
                    </a:lnTo>
                    <a:lnTo>
                      <a:pt x="759" y="493"/>
                    </a:lnTo>
                    <a:lnTo>
                      <a:pt x="759" y="493"/>
                    </a:lnTo>
                    <a:lnTo>
                      <a:pt x="763" y="488"/>
                    </a:lnTo>
                    <a:lnTo>
                      <a:pt x="768" y="488"/>
                    </a:lnTo>
                    <a:lnTo>
                      <a:pt x="768" y="484"/>
                    </a:lnTo>
                    <a:lnTo>
                      <a:pt x="772" y="484"/>
                    </a:lnTo>
                    <a:lnTo>
                      <a:pt x="772" y="479"/>
                    </a:lnTo>
                    <a:lnTo>
                      <a:pt x="777" y="479"/>
                    </a:lnTo>
                    <a:lnTo>
                      <a:pt x="777" y="475"/>
                    </a:lnTo>
                    <a:lnTo>
                      <a:pt x="781" y="470"/>
                    </a:lnTo>
                    <a:lnTo>
                      <a:pt x="781" y="466"/>
                    </a:lnTo>
                    <a:lnTo>
                      <a:pt x="786" y="466"/>
                    </a:lnTo>
                    <a:lnTo>
                      <a:pt x="786" y="461"/>
                    </a:lnTo>
                    <a:lnTo>
                      <a:pt x="786" y="457"/>
                    </a:lnTo>
                    <a:lnTo>
                      <a:pt x="786" y="457"/>
                    </a:lnTo>
                    <a:lnTo>
                      <a:pt x="786" y="452"/>
                    </a:lnTo>
                    <a:lnTo>
                      <a:pt x="786" y="448"/>
                    </a:lnTo>
                    <a:lnTo>
                      <a:pt x="786" y="448"/>
                    </a:lnTo>
                    <a:lnTo>
                      <a:pt x="786" y="443"/>
                    </a:lnTo>
                    <a:lnTo>
                      <a:pt x="781" y="443"/>
                    </a:lnTo>
                    <a:lnTo>
                      <a:pt x="781" y="443"/>
                    </a:lnTo>
                    <a:lnTo>
                      <a:pt x="781" y="443"/>
                    </a:lnTo>
                    <a:lnTo>
                      <a:pt x="777" y="439"/>
                    </a:lnTo>
                    <a:lnTo>
                      <a:pt x="777" y="439"/>
                    </a:lnTo>
                    <a:lnTo>
                      <a:pt x="777" y="434"/>
                    </a:lnTo>
                    <a:lnTo>
                      <a:pt x="777" y="434"/>
                    </a:lnTo>
                    <a:lnTo>
                      <a:pt x="781" y="434"/>
                    </a:lnTo>
                    <a:lnTo>
                      <a:pt x="781" y="434"/>
                    </a:lnTo>
                    <a:lnTo>
                      <a:pt x="781" y="434"/>
                    </a:lnTo>
                    <a:lnTo>
                      <a:pt x="781" y="430"/>
                    </a:lnTo>
                    <a:lnTo>
                      <a:pt x="786" y="430"/>
                    </a:lnTo>
                    <a:lnTo>
                      <a:pt x="790" y="430"/>
                    </a:lnTo>
                    <a:lnTo>
                      <a:pt x="790" y="425"/>
                    </a:lnTo>
                    <a:lnTo>
                      <a:pt x="790" y="425"/>
                    </a:lnTo>
                    <a:lnTo>
                      <a:pt x="795" y="425"/>
                    </a:lnTo>
                    <a:lnTo>
                      <a:pt x="795" y="425"/>
                    </a:lnTo>
                    <a:lnTo>
                      <a:pt x="799" y="421"/>
                    </a:lnTo>
                    <a:lnTo>
                      <a:pt x="795" y="421"/>
                    </a:lnTo>
                    <a:lnTo>
                      <a:pt x="799" y="421"/>
                    </a:lnTo>
                    <a:lnTo>
                      <a:pt x="799" y="421"/>
                    </a:lnTo>
                    <a:lnTo>
                      <a:pt x="799" y="421"/>
                    </a:lnTo>
                    <a:lnTo>
                      <a:pt x="799" y="416"/>
                    </a:lnTo>
                    <a:lnTo>
                      <a:pt x="799" y="416"/>
                    </a:lnTo>
                    <a:lnTo>
                      <a:pt x="804" y="416"/>
                    </a:lnTo>
                    <a:lnTo>
                      <a:pt x="804" y="421"/>
                    </a:lnTo>
                    <a:lnTo>
                      <a:pt x="804" y="421"/>
                    </a:lnTo>
                    <a:lnTo>
                      <a:pt x="804" y="421"/>
                    </a:lnTo>
                    <a:lnTo>
                      <a:pt x="804" y="416"/>
                    </a:lnTo>
                    <a:lnTo>
                      <a:pt x="804" y="416"/>
                    </a:lnTo>
                    <a:lnTo>
                      <a:pt x="808" y="416"/>
                    </a:lnTo>
                    <a:lnTo>
                      <a:pt x="808" y="416"/>
                    </a:lnTo>
                    <a:lnTo>
                      <a:pt x="808" y="416"/>
                    </a:lnTo>
                    <a:lnTo>
                      <a:pt x="808" y="411"/>
                    </a:lnTo>
                    <a:lnTo>
                      <a:pt x="813" y="411"/>
                    </a:lnTo>
                    <a:lnTo>
                      <a:pt x="813" y="411"/>
                    </a:lnTo>
                    <a:lnTo>
                      <a:pt x="808" y="411"/>
                    </a:lnTo>
                    <a:lnTo>
                      <a:pt x="808" y="411"/>
                    </a:lnTo>
                    <a:lnTo>
                      <a:pt x="808" y="411"/>
                    </a:lnTo>
                    <a:lnTo>
                      <a:pt x="813" y="411"/>
                    </a:lnTo>
                    <a:lnTo>
                      <a:pt x="813" y="411"/>
                    </a:lnTo>
                    <a:lnTo>
                      <a:pt x="813" y="407"/>
                    </a:lnTo>
                    <a:lnTo>
                      <a:pt x="813" y="402"/>
                    </a:lnTo>
                    <a:lnTo>
                      <a:pt x="813" y="402"/>
                    </a:lnTo>
                    <a:lnTo>
                      <a:pt x="817" y="402"/>
                    </a:lnTo>
                    <a:lnTo>
                      <a:pt x="817" y="402"/>
                    </a:lnTo>
                    <a:lnTo>
                      <a:pt x="813" y="402"/>
                    </a:lnTo>
                    <a:lnTo>
                      <a:pt x="813" y="402"/>
                    </a:lnTo>
                    <a:lnTo>
                      <a:pt x="813" y="398"/>
                    </a:lnTo>
                    <a:lnTo>
                      <a:pt x="813" y="398"/>
                    </a:lnTo>
                    <a:lnTo>
                      <a:pt x="817" y="398"/>
                    </a:lnTo>
                    <a:lnTo>
                      <a:pt x="817" y="398"/>
                    </a:lnTo>
                    <a:lnTo>
                      <a:pt x="817" y="398"/>
                    </a:lnTo>
                    <a:lnTo>
                      <a:pt x="817" y="398"/>
                    </a:lnTo>
                    <a:lnTo>
                      <a:pt x="813" y="398"/>
                    </a:lnTo>
                    <a:lnTo>
                      <a:pt x="813" y="398"/>
                    </a:lnTo>
                    <a:lnTo>
                      <a:pt x="813" y="398"/>
                    </a:lnTo>
                    <a:lnTo>
                      <a:pt x="813" y="398"/>
                    </a:lnTo>
                    <a:lnTo>
                      <a:pt x="813" y="393"/>
                    </a:lnTo>
                    <a:lnTo>
                      <a:pt x="817" y="393"/>
                    </a:lnTo>
                    <a:lnTo>
                      <a:pt x="817" y="393"/>
                    </a:lnTo>
                    <a:lnTo>
                      <a:pt x="822" y="389"/>
                    </a:lnTo>
                    <a:lnTo>
                      <a:pt x="822" y="389"/>
                    </a:lnTo>
                    <a:lnTo>
                      <a:pt x="822" y="389"/>
                    </a:lnTo>
                    <a:lnTo>
                      <a:pt x="826" y="384"/>
                    </a:lnTo>
                    <a:lnTo>
                      <a:pt x="826" y="384"/>
                    </a:lnTo>
                    <a:lnTo>
                      <a:pt x="826" y="384"/>
                    </a:lnTo>
                    <a:lnTo>
                      <a:pt x="831" y="384"/>
                    </a:lnTo>
                    <a:lnTo>
                      <a:pt x="831" y="380"/>
                    </a:lnTo>
                    <a:lnTo>
                      <a:pt x="826" y="380"/>
                    </a:lnTo>
                    <a:lnTo>
                      <a:pt x="826" y="380"/>
                    </a:lnTo>
                    <a:lnTo>
                      <a:pt x="826" y="380"/>
                    </a:lnTo>
                    <a:lnTo>
                      <a:pt x="826" y="375"/>
                    </a:lnTo>
                    <a:lnTo>
                      <a:pt x="826" y="375"/>
                    </a:lnTo>
                    <a:lnTo>
                      <a:pt x="831" y="371"/>
                    </a:lnTo>
                    <a:lnTo>
                      <a:pt x="831" y="371"/>
                    </a:lnTo>
                    <a:lnTo>
                      <a:pt x="831" y="371"/>
                    </a:lnTo>
                    <a:lnTo>
                      <a:pt x="835" y="366"/>
                    </a:lnTo>
                    <a:lnTo>
                      <a:pt x="835" y="366"/>
                    </a:lnTo>
                    <a:lnTo>
                      <a:pt x="840" y="366"/>
                    </a:lnTo>
                    <a:lnTo>
                      <a:pt x="844" y="366"/>
                    </a:lnTo>
                    <a:lnTo>
                      <a:pt x="844" y="366"/>
                    </a:lnTo>
                    <a:lnTo>
                      <a:pt x="849" y="366"/>
                    </a:lnTo>
                    <a:lnTo>
                      <a:pt x="853" y="366"/>
                    </a:lnTo>
                    <a:lnTo>
                      <a:pt x="853" y="366"/>
                    </a:lnTo>
                    <a:lnTo>
                      <a:pt x="862" y="371"/>
                    </a:lnTo>
                    <a:lnTo>
                      <a:pt x="862" y="371"/>
                    </a:lnTo>
                    <a:lnTo>
                      <a:pt x="858" y="371"/>
                    </a:lnTo>
                    <a:lnTo>
                      <a:pt x="858" y="371"/>
                    </a:lnTo>
                    <a:lnTo>
                      <a:pt x="867" y="371"/>
                    </a:lnTo>
                    <a:lnTo>
                      <a:pt x="867" y="371"/>
                    </a:lnTo>
                    <a:lnTo>
                      <a:pt x="867" y="371"/>
                    </a:lnTo>
                    <a:lnTo>
                      <a:pt x="871" y="371"/>
                    </a:lnTo>
                    <a:lnTo>
                      <a:pt x="871" y="371"/>
                    </a:lnTo>
                    <a:lnTo>
                      <a:pt x="871" y="371"/>
                    </a:lnTo>
                    <a:lnTo>
                      <a:pt x="871" y="375"/>
                    </a:lnTo>
                    <a:lnTo>
                      <a:pt x="871" y="375"/>
                    </a:lnTo>
                    <a:lnTo>
                      <a:pt x="871" y="375"/>
                    </a:lnTo>
                    <a:lnTo>
                      <a:pt x="876" y="375"/>
                    </a:lnTo>
                    <a:lnTo>
                      <a:pt x="876" y="371"/>
                    </a:lnTo>
                    <a:lnTo>
                      <a:pt x="880" y="371"/>
                    </a:lnTo>
                    <a:lnTo>
                      <a:pt x="885" y="371"/>
                    </a:lnTo>
                    <a:lnTo>
                      <a:pt x="885" y="371"/>
                    </a:lnTo>
                    <a:lnTo>
                      <a:pt x="890" y="371"/>
                    </a:lnTo>
                    <a:lnTo>
                      <a:pt x="890" y="371"/>
                    </a:lnTo>
                    <a:lnTo>
                      <a:pt x="890" y="371"/>
                    </a:lnTo>
                    <a:lnTo>
                      <a:pt x="890" y="371"/>
                    </a:lnTo>
                    <a:lnTo>
                      <a:pt x="894" y="371"/>
                    </a:lnTo>
                    <a:lnTo>
                      <a:pt x="894" y="375"/>
                    </a:lnTo>
                    <a:lnTo>
                      <a:pt x="894" y="375"/>
                    </a:lnTo>
                    <a:lnTo>
                      <a:pt x="894" y="375"/>
                    </a:lnTo>
                    <a:lnTo>
                      <a:pt x="894" y="375"/>
                    </a:lnTo>
                    <a:lnTo>
                      <a:pt x="899" y="375"/>
                    </a:lnTo>
                    <a:lnTo>
                      <a:pt x="899" y="375"/>
                    </a:lnTo>
                    <a:lnTo>
                      <a:pt x="899" y="375"/>
                    </a:lnTo>
                    <a:lnTo>
                      <a:pt x="899" y="375"/>
                    </a:lnTo>
                    <a:lnTo>
                      <a:pt x="899" y="380"/>
                    </a:lnTo>
                    <a:lnTo>
                      <a:pt x="899" y="380"/>
                    </a:lnTo>
                    <a:lnTo>
                      <a:pt x="894" y="380"/>
                    </a:lnTo>
                    <a:lnTo>
                      <a:pt x="894" y="380"/>
                    </a:lnTo>
                    <a:lnTo>
                      <a:pt x="894" y="380"/>
                    </a:lnTo>
                    <a:lnTo>
                      <a:pt x="894" y="380"/>
                    </a:lnTo>
                    <a:lnTo>
                      <a:pt x="894" y="380"/>
                    </a:lnTo>
                    <a:lnTo>
                      <a:pt x="899" y="380"/>
                    </a:lnTo>
                    <a:lnTo>
                      <a:pt x="899" y="380"/>
                    </a:lnTo>
                    <a:lnTo>
                      <a:pt x="899" y="384"/>
                    </a:lnTo>
                    <a:lnTo>
                      <a:pt x="899" y="384"/>
                    </a:lnTo>
                    <a:lnTo>
                      <a:pt x="899" y="384"/>
                    </a:lnTo>
                    <a:lnTo>
                      <a:pt x="899" y="384"/>
                    </a:lnTo>
                    <a:lnTo>
                      <a:pt x="899" y="384"/>
                    </a:lnTo>
                    <a:lnTo>
                      <a:pt x="899" y="384"/>
                    </a:lnTo>
                    <a:lnTo>
                      <a:pt x="899" y="384"/>
                    </a:lnTo>
                    <a:lnTo>
                      <a:pt x="894" y="384"/>
                    </a:lnTo>
                    <a:lnTo>
                      <a:pt x="894" y="389"/>
                    </a:lnTo>
                    <a:lnTo>
                      <a:pt x="899" y="384"/>
                    </a:lnTo>
                    <a:lnTo>
                      <a:pt x="899" y="384"/>
                    </a:lnTo>
                    <a:lnTo>
                      <a:pt x="899" y="384"/>
                    </a:lnTo>
                    <a:lnTo>
                      <a:pt x="903" y="384"/>
                    </a:lnTo>
                    <a:lnTo>
                      <a:pt x="903" y="389"/>
                    </a:lnTo>
                    <a:lnTo>
                      <a:pt x="903" y="389"/>
                    </a:lnTo>
                    <a:lnTo>
                      <a:pt x="903" y="389"/>
                    </a:lnTo>
                    <a:lnTo>
                      <a:pt x="903" y="389"/>
                    </a:lnTo>
                    <a:lnTo>
                      <a:pt x="899" y="389"/>
                    </a:lnTo>
                    <a:lnTo>
                      <a:pt x="899" y="389"/>
                    </a:lnTo>
                    <a:lnTo>
                      <a:pt x="899" y="389"/>
                    </a:lnTo>
                    <a:lnTo>
                      <a:pt x="899" y="389"/>
                    </a:lnTo>
                    <a:lnTo>
                      <a:pt x="899" y="389"/>
                    </a:lnTo>
                    <a:lnTo>
                      <a:pt x="899" y="389"/>
                    </a:lnTo>
                    <a:lnTo>
                      <a:pt x="899" y="393"/>
                    </a:lnTo>
                    <a:lnTo>
                      <a:pt x="899" y="393"/>
                    </a:lnTo>
                    <a:lnTo>
                      <a:pt x="899" y="393"/>
                    </a:lnTo>
                    <a:lnTo>
                      <a:pt x="899" y="393"/>
                    </a:lnTo>
                    <a:lnTo>
                      <a:pt x="899" y="398"/>
                    </a:lnTo>
                    <a:lnTo>
                      <a:pt x="903" y="398"/>
                    </a:lnTo>
                    <a:lnTo>
                      <a:pt x="903" y="398"/>
                    </a:lnTo>
                    <a:lnTo>
                      <a:pt x="908" y="398"/>
                    </a:lnTo>
                    <a:lnTo>
                      <a:pt x="908" y="398"/>
                    </a:lnTo>
                    <a:lnTo>
                      <a:pt x="912" y="398"/>
                    </a:lnTo>
                    <a:lnTo>
                      <a:pt x="912" y="398"/>
                    </a:lnTo>
                    <a:lnTo>
                      <a:pt x="912" y="398"/>
                    </a:lnTo>
                    <a:lnTo>
                      <a:pt x="912" y="398"/>
                    </a:lnTo>
                    <a:lnTo>
                      <a:pt x="912" y="398"/>
                    </a:lnTo>
                    <a:lnTo>
                      <a:pt x="912" y="402"/>
                    </a:lnTo>
                    <a:lnTo>
                      <a:pt x="912" y="402"/>
                    </a:lnTo>
                    <a:lnTo>
                      <a:pt x="912" y="402"/>
                    </a:lnTo>
                    <a:lnTo>
                      <a:pt x="917" y="402"/>
                    </a:lnTo>
                    <a:lnTo>
                      <a:pt x="917" y="402"/>
                    </a:lnTo>
                    <a:lnTo>
                      <a:pt x="917" y="402"/>
                    </a:lnTo>
                    <a:lnTo>
                      <a:pt x="921" y="402"/>
                    </a:lnTo>
                    <a:lnTo>
                      <a:pt x="921" y="398"/>
                    </a:lnTo>
                    <a:lnTo>
                      <a:pt x="921" y="398"/>
                    </a:lnTo>
                    <a:lnTo>
                      <a:pt x="921" y="398"/>
                    </a:lnTo>
                    <a:lnTo>
                      <a:pt x="921" y="398"/>
                    </a:lnTo>
                    <a:lnTo>
                      <a:pt x="921" y="398"/>
                    </a:lnTo>
                    <a:lnTo>
                      <a:pt x="921" y="402"/>
                    </a:lnTo>
                    <a:lnTo>
                      <a:pt x="921" y="402"/>
                    </a:lnTo>
                    <a:lnTo>
                      <a:pt x="921" y="402"/>
                    </a:lnTo>
                    <a:lnTo>
                      <a:pt x="921" y="402"/>
                    </a:lnTo>
                    <a:lnTo>
                      <a:pt x="921" y="402"/>
                    </a:lnTo>
                    <a:lnTo>
                      <a:pt x="917" y="402"/>
                    </a:lnTo>
                    <a:lnTo>
                      <a:pt x="917" y="407"/>
                    </a:lnTo>
                    <a:lnTo>
                      <a:pt x="912" y="407"/>
                    </a:lnTo>
                    <a:lnTo>
                      <a:pt x="912" y="411"/>
                    </a:lnTo>
                    <a:lnTo>
                      <a:pt x="912" y="411"/>
                    </a:lnTo>
                    <a:lnTo>
                      <a:pt x="912" y="411"/>
                    </a:lnTo>
                    <a:lnTo>
                      <a:pt x="912" y="411"/>
                    </a:lnTo>
                    <a:lnTo>
                      <a:pt x="912" y="411"/>
                    </a:lnTo>
                    <a:lnTo>
                      <a:pt x="912" y="416"/>
                    </a:lnTo>
                    <a:lnTo>
                      <a:pt x="912" y="416"/>
                    </a:lnTo>
                    <a:lnTo>
                      <a:pt x="908" y="416"/>
                    </a:lnTo>
                    <a:lnTo>
                      <a:pt x="908" y="416"/>
                    </a:lnTo>
                    <a:lnTo>
                      <a:pt x="908" y="416"/>
                    </a:lnTo>
                    <a:lnTo>
                      <a:pt x="908" y="416"/>
                    </a:lnTo>
                    <a:lnTo>
                      <a:pt x="903" y="416"/>
                    </a:lnTo>
                    <a:lnTo>
                      <a:pt x="899" y="416"/>
                    </a:lnTo>
                    <a:lnTo>
                      <a:pt x="894" y="416"/>
                    </a:lnTo>
                    <a:lnTo>
                      <a:pt x="894" y="416"/>
                    </a:lnTo>
                    <a:lnTo>
                      <a:pt x="899" y="421"/>
                    </a:lnTo>
                    <a:lnTo>
                      <a:pt x="899" y="421"/>
                    </a:lnTo>
                    <a:lnTo>
                      <a:pt x="903" y="421"/>
                    </a:lnTo>
                    <a:lnTo>
                      <a:pt x="908" y="421"/>
                    </a:lnTo>
                    <a:lnTo>
                      <a:pt x="908" y="421"/>
                    </a:lnTo>
                    <a:lnTo>
                      <a:pt x="908" y="421"/>
                    </a:lnTo>
                    <a:lnTo>
                      <a:pt x="903" y="425"/>
                    </a:lnTo>
                    <a:lnTo>
                      <a:pt x="903" y="425"/>
                    </a:lnTo>
                    <a:lnTo>
                      <a:pt x="903" y="425"/>
                    </a:lnTo>
                    <a:lnTo>
                      <a:pt x="903" y="425"/>
                    </a:lnTo>
                    <a:lnTo>
                      <a:pt x="899" y="430"/>
                    </a:lnTo>
                    <a:lnTo>
                      <a:pt x="899" y="430"/>
                    </a:lnTo>
                    <a:lnTo>
                      <a:pt x="899" y="430"/>
                    </a:lnTo>
                    <a:lnTo>
                      <a:pt x="903" y="430"/>
                    </a:lnTo>
                    <a:lnTo>
                      <a:pt x="903" y="430"/>
                    </a:lnTo>
                    <a:lnTo>
                      <a:pt x="903" y="434"/>
                    </a:lnTo>
                    <a:lnTo>
                      <a:pt x="899" y="434"/>
                    </a:lnTo>
                    <a:lnTo>
                      <a:pt x="899" y="434"/>
                    </a:lnTo>
                    <a:lnTo>
                      <a:pt x="899" y="434"/>
                    </a:lnTo>
                    <a:lnTo>
                      <a:pt x="899" y="434"/>
                    </a:lnTo>
                    <a:lnTo>
                      <a:pt x="899" y="434"/>
                    </a:lnTo>
                    <a:lnTo>
                      <a:pt x="899" y="439"/>
                    </a:lnTo>
                    <a:lnTo>
                      <a:pt x="899" y="439"/>
                    </a:lnTo>
                    <a:lnTo>
                      <a:pt x="894" y="439"/>
                    </a:lnTo>
                    <a:lnTo>
                      <a:pt x="894" y="439"/>
                    </a:lnTo>
                    <a:lnTo>
                      <a:pt x="894" y="439"/>
                    </a:lnTo>
                    <a:lnTo>
                      <a:pt x="894" y="439"/>
                    </a:lnTo>
                    <a:lnTo>
                      <a:pt x="894" y="439"/>
                    </a:lnTo>
                    <a:lnTo>
                      <a:pt x="894" y="439"/>
                    </a:lnTo>
                    <a:lnTo>
                      <a:pt x="894" y="439"/>
                    </a:lnTo>
                    <a:lnTo>
                      <a:pt x="894" y="439"/>
                    </a:lnTo>
                    <a:lnTo>
                      <a:pt x="894" y="439"/>
                    </a:lnTo>
                    <a:lnTo>
                      <a:pt x="890" y="439"/>
                    </a:lnTo>
                    <a:lnTo>
                      <a:pt x="890" y="439"/>
                    </a:lnTo>
                    <a:lnTo>
                      <a:pt x="890" y="439"/>
                    </a:lnTo>
                    <a:lnTo>
                      <a:pt x="885" y="439"/>
                    </a:lnTo>
                    <a:lnTo>
                      <a:pt x="885" y="443"/>
                    </a:lnTo>
                    <a:lnTo>
                      <a:pt x="890" y="443"/>
                    </a:lnTo>
                    <a:lnTo>
                      <a:pt x="890" y="443"/>
                    </a:lnTo>
                    <a:lnTo>
                      <a:pt x="890" y="443"/>
                    </a:lnTo>
                    <a:lnTo>
                      <a:pt x="894" y="443"/>
                    </a:lnTo>
                    <a:lnTo>
                      <a:pt x="899" y="439"/>
                    </a:lnTo>
                    <a:lnTo>
                      <a:pt x="899" y="439"/>
                    </a:lnTo>
                    <a:lnTo>
                      <a:pt x="899" y="439"/>
                    </a:lnTo>
                    <a:lnTo>
                      <a:pt x="903" y="439"/>
                    </a:lnTo>
                    <a:lnTo>
                      <a:pt x="903" y="439"/>
                    </a:lnTo>
                    <a:lnTo>
                      <a:pt x="908" y="439"/>
                    </a:lnTo>
                    <a:lnTo>
                      <a:pt x="908" y="439"/>
                    </a:lnTo>
                    <a:lnTo>
                      <a:pt x="908" y="439"/>
                    </a:lnTo>
                    <a:lnTo>
                      <a:pt x="908" y="443"/>
                    </a:lnTo>
                    <a:lnTo>
                      <a:pt x="908" y="443"/>
                    </a:lnTo>
                    <a:lnTo>
                      <a:pt x="908" y="443"/>
                    </a:lnTo>
                    <a:lnTo>
                      <a:pt x="908" y="448"/>
                    </a:lnTo>
                    <a:lnTo>
                      <a:pt x="908" y="448"/>
                    </a:lnTo>
                    <a:lnTo>
                      <a:pt x="908" y="448"/>
                    </a:lnTo>
                    <a:lnTo>
                      <a:pt x="908" y="448"/>
                    </a:lnTo>
                    <a:lnTo>
                      <a:pt x="908" y="448"/>
                    </a:lnTo>
                    <a:lnTo>
                      <a:pt x="903" y="452"/>
                    </a:lnTo>
                    <a:lnTo>
                      <a:pt x="903" y="452"/>
                    </a:lnTo>
                    <a:lnTo>
                      <a:pt x="899" y="457"/>
                    </a:lnTo>
                    <a:lnTo>
                      <a:pt x="899" y="457"/>
                    </a:lnTo>
                    <a:lnTo>
                      <a:pt x="894" y="457"/>
                    </a:lnTo>
                    <a:lnTo>
                      <a:pt x="894" y="457"/>
                    </a:lnTo>
                    <a:lnTo>
                      <a:pt x="890" y="457"/>
                    </a:lnTo>
                    <a:lnTo>
                      <a:pt x="890" y="457"/>
                    </a:lnTo>
                    <a:lnTo>
                      <a:pt x="894" y="457"/>
                    </a:lnTo>
                    <a:lnTo>
                      <a:pt x="899" y="457"/>
                    </a:lnTo>
                    <a:lnTo>
                      <a:pt x="899" y="457"/>
                    </a:lnTo>
                    <a:lnTo>
                      <a:pt x="903" y="457"/>
                    </a:lnTo>
                    <a:lnTo>
                      <a:pt x="903" y="452"/>
                    </a:lnTo>
                    <a:lnTo>
                      <a:pt x="908" y="448"/>
                    </a:lnTo>
                    <a:lnTo>
                      <a:pt x="908" y="448"/>
                    </a:lnTo>
                    <a:lnTo>
                      <a:pt x="912" y="448"/>
                    </a:lnTo>
                    <a:lnTo>
                      <a:pt x="912" y="448"/>
                    </a:lnTo>
                    <a:lnTo>
                      <a:pt x="912" y="452"/>
                    </a:lnTo>
                    <a:lnTo>
                      <a:pt x="908" y="452"/>
                    </a:lnTo>
                    <a:lnTo>
                      <a:pt x="908" y="452"/>
                    </a:lnTo>
                    <a:lnTo>
                      <a:pt x="908" y="452"/>
                    </a:lnTo>
                    <a:lnTo>
                      <a:pt x="908" y="452"/>
                    </a:lnTo>
                    <a:lnTo>
                      <a:pt x="912" y="452"/>
                    </a:lnTo>
                    <a:lnTo>
                      <a:pt x="912" y="452"/>
                    </a:lnTo>
                    <a:lnTo>
                      <a:pt x="912" y="452"/>
                    </a:lnTo>
                    <a:lnTo>
                      <a:pt x="912" y="448"/>
                    </a:lnTo>
                    <a:lnTo>
                      <a:pt x="912" y="452"/>
                    </a:lnTo>
                    <a:lnTo>
                      <a:pt x="912" y="452"/>
                    </a:lnTo>
                    <a:lnTo>
                      <a:pt x="912" y="457"/>
                    </a:lnTo>
                    <a:lnTo>
                      <a:pt x="912" y="457"/>
                    </a:lnTo>
                    <a:lnTo>
                      <a:pt x="908" y="457"/>
                    </a:lnTo>
                    <a:lnTo>
                      <a:pt x="908" y="457"/>
                    </a:lnTo>
                    <a:lnTo>
                      <a:pt x="912" y="457"/>
                    </a:lnTo>
                    <a:lnTo>
                      <a:pt x="912" y="457"/>
                    </a:lnTo>
                    <a:lnTo>
                      <a:pt x="912" y="452"/>
                    </a:lnTo>
                    <a:lnTo>
                      <a:pt x="912" y="452"/>
                    </a:lnTo>
                    <a:lnTo>
                      <a:pt x="917" y="452"/>
                    </a:lnTo>
                    <a:lnTo>
                      <a:pt x="921" y="452"/>
                    </a:lnTo>
                    <a:lnTo>
                      <a:pt x="921" y="448"/>
                    </a:lnTo>
                    <a:lnTo>
                      <a:pt x="926" y="448"/>
                    </a:lnTo>
                    <a:lnTo>
                      <a:pt x="926" y="448"/>
                    </a:lnTo>
                    <a:lnTo>
                      <a:pt x="930" y="448"/>
                    </a:lnTo>
                    <a:lnTo>
                      <a:pt x="930" y="448"/>
                    </a:lnTo>
                    <a:lnTo>
                      <a:pt x="930" y="443"/>
                    </a:lnTo>
                    <a:lnTo>
                      <a:pt x="935" y="443"/>
                    </a:lnTo>
                    <a:lnTo>
                      <a:pt x="935" y="443"/>
                    </a:lnTo>
                    <a:lnTo>
                      <a:pt x="935" y="443"/>
                    </a:lnTo>
                    <a:lnTo>
                      <a:pt x="935" y="443"/>
                    </a:lnTo>
                    <a:lnTo>
                      <a:pt x="939" y="443"/>
                    </a:lnTo>
                    <a:lnTo>
                      <a:pt x="939" y="448"/>
                    </a:lnTo>
                    <a:lnTo>
                      <a:pt x="939" y="448"/>
                    </a:lnTo>
                    <a:lnTo>
                      <a:pt x="939" y="448"/>
                    </a:lnTo>
                    <a:lnTo>
                      <a:pt x="935" y="452"/>
                    </a:lnTo>
                    <a:lnTo>
                      <a:pt x="935" y="452"/>
                    </a:lnTo>
                    <a:lnTo>
                      <a:pt x="939" y="448"/>
                    </a:lnTo>
                    <a:lnTo>
                      <a:pt x="939" y="448"/>
                    </a:lnTo>
                    <a:lnTo>
                      <a:pt x="939" y="448"/>
                    </a:lnTo>
                    <a:lnTo>
                      <a:pt x="939" y="448"/>
                    </a:lnTo>
                    <a:lnTo>
                      <a:pt x="939" y="443"/>
                    </a:lnTo>
                    <a:lnTo>
                      <a:pt x="939" y="443"/>
                    </a:lnTo>
                    <a:lnTo>
                      <a:pt x="939" y="443"/>
                    </a:lnTo>
                    <a:lnTo>
                      <a:pt x="939" y="443"/>
                    </a:lnTo>
                    <a:lnTo>
                      <a:pt x="944" y="443"/>
                    </a:lnTo>
                    <a:lnTo>
                      <a:pt x="944" y="443"/>
                    </a:lnTo>
                    <a:lnTo>
                      <a:pt x="944" y="443"/>
                    </a:lnTo>
                    <a:lnTo>
                      <a:pt x="944" y="443"/>
                    </a:lnTo>
                    <a:lnTo>
                      <a:pt x="944" y="439"/>
                    </a:lnTo>
                    <a:lnTo>
                      <a:pt x="944" y="439"/>
                    </a:lnTo>
                    <a:lnTo>
                      <a:pt x="944" y="439"/>
                    </a:lnTo>
                    <a:lnTo>
                      <a:pt x="944" y="439"/>
                    </a:lnTo>
                    <a:lnTo>
                      <a:pt x="948" y="439"/>
                    </a:lnTo>
                    <a:lnTo>
                      <a:pt x="948" y="439"/>
                    </a:lnTo>
                    <a:lnTo>
                      <a:pt x="948" y="439"/>
                    </a:lnTo>
                    <a:lnTo>
                      <a:pt x="948" y="439"/>
                    </a:lnTo>
                    <a:lnTo>
                      <a:pt x="953" y="439"/>
                    </a:lnTo>
                    <a:lnTo>
                      <a:pt x="953" y="439"/>
                    </a:lnTo>
                    <a:lnTo>
                      <a:pt x="948" y="439"/>
                    </a:lnTo>
                    <a:lnTo>
                      <a:pt x="948" y="439"/>
                    </a:lnTo>
                    <a:lnTo>
                      <a:pt x="948" y="439"/>
                    </a:lnTo>
                    <a:lnTo>
                      <a:pt x="948" y="439"/>
                    </a:lnTo>
                    <a:lnTo>
                      <a:pt x="948" y="434"/>
                    </a:lnTo>
                    <a:lnTo>
                      <a:pt x="948" y="434"/>
                    </a:lnTo>
                    <a:lnTo>
                      <a:pt x="948" y="434"/>
                    </a:lnTo>
                    <a:lnTo>
                      <a:pt x="948" y="434"/>
                    </a:lnTo>
                    <a:lnTo>
                      <a:pt x="953" y="434"/>
                    </a:lnTo>
                    <a:lnTo>
                      <a:pt x="953" y="434"/>
                    </a:lnTo>
                    <a:lnTo>
                      <a:pt x="953" y="434"/>
                    </a:lnTo>
                    <a:lnTo>
                      <a:pt x="953" y="434"/>
                    </a:lnTo>
                    <a:lnTo>
                      <a:pt x="953" y="434"/>
                    </a:lnTo>
                    <a:lnTo>
                      <a:pt x="953" y="434"/>
                    </a:lnTo>
                    <a:lnTo>
                      <a:pt x="953" y="430"/>
                    </a:lnTo>
                    <a:lnTo>
                      <a:pt x="957" y="430"/>
                    </a:lnTo>
                    <a:lnTo>
                      <a:pt x="957" y="430"/>
                    </a:lnTo>
                    <a:lnTo>
                      <a:pt x="957" y="434"/>
                    </a:lnTo>
                    <a:lnTo>
                      <a:pt x="957" y="434"/>
                    </a:lnTo>
                    <a:lnTo>
                      <a:pt x="957" y="434"/>
                    </a:lnTo>
                    <a:lnTo>
                      <a:pt x="957" y="430"/>
                    </a:lnTo>
                    <a:lnTo>
                      <a:pt x="957" y="430"/>
                    </a:lnTo>
                    <a:lnTo>
                      <a:pt x="957" y="430"/>
                    </a:lnTo>
                    <a:lnTo>
                      <a:pt x="957" y="430"/>
                    </a:lnTo>
                    <a:lnTo>
                      <a:pt x="957" y="430"/>
                    </a:lnTo>
                    <a:lnTo>
                      <a:pt x="957" y="430"/>
                    </a:lnTo>
                    <a:lnTo>
                      <a:pt x="957" y="430"/>
                    </a:lnTo>
                    <a:lnTo>
                      <a:pt x="957" y="425"/>
                    </a:lnTo>
                    <a:lnTo>
                      <a:pt x="957" y="425"/>
                    </a:lnTo>
                    <a:lnTo>
                      <a:pt x="962" y="425"/>
                    </a:lnTo>
                    <a:lnTo>
                      <a:pt x="962" y="425"/>
                    </a:lnTo>
                    <a:lnTo>
                      <a:pt x="962" y="425"/>
                    </a:lnTo>
                    <a:lnTo>
                      <a:pt x="962" y="425"/>
                    </a:lnTo>
                    <a:lnTo>
                      <a:pt x="962" y="425"/>
                    </a:lnTo>
                    <a:lnTo>
                      <a:pt x="962" y="425"/>
                    </a:lnTo>
                    <a:lnTo>
                      <a:pt x="962" y="425"/>
                    </a:lnTo>
                    <a:lnTo>
                      <a:pt x="962" y="425"/>
                    </a:lnTo>
                    <a:lnTo>
                      <a:pt x="962" y="425"/>
                    </a:lnTo>
                    <a:lnTo>
                      <a:pt x="966" y="421"/>
                    </a:lnTo>
                    <a:lnTo>
                      <a:pt x="966" y="421"/>
                    </a:lnTo>
                    <a:lnTo>
                      <a:pt x="971" y="416"/>
                    </a:lnTo>
                    <a:lnTo>
                      <a:pt x="971" y="416"/>
                    </a:lnTo>
                    <a:lnTo>
                      <a:pt x="971" y="416"/>
                    </a:lnTo>
                    <a:lnTo>
                      <a:pt x="971" y="416"/>
                    </a:lnTo>
                    <a:lnTo>
                      <a:pt x="975" y="416"/>
                    </a:lnTo>
                    <a:lnTo>
                      <a:pt x="975" y="416"/>
                    </a:lnTo>
                    <a:lnTo>
                      <a:pt x="975" y="416"/>
                    </a:lnTo>
                    <a:lnTo>
                      <a:pt x="975" y="421"/>
                    </a:lnTo>
                    <a:lnTo>
                      <a:pt x="975" y="421"/>
                    </a:lnTo>
                    <a:lnTo>
                      <a:pt x="971" y="421"/>
                    </a:lnTo>
                    <a:lnTo>
                      <a:pt x="971" y="421"/>
                    </a:lnTo>
                    <a:lnTo>
                      <a:pt x="971" y="421"/>
                    </a:lnTo>
                    <a:lnTo>
                      <a:pt x="971" y="421"/>
                    </a:lnTo>
                    <a:lnTo>
                      <a:pt x="975" y="421"/>
                    </a:lnTo>
                    <a:lnTo>
                      <a:pt x="975" y="421"/>
                    </a:lnTo>
                    <a:lnTo>
                      <a:pt x="975" y="425"/>
                    </a:lnTo>
                    <a:lnTo>
                      <a:pt x="975" y="425"/>
                    </a:lnTo>
                    <a:lnTo>
                      <a:pt x="975" y="425"/>
                    </a:lnTo>
                    <a:lnTo>
                      <a:pt x="975" y="425"/>
                    </a:lnTo>
                    <a:lnTo>
                      <a:pt x="975" y="425"/>
                    </a:lnTo>
                    <a:lnTo>
                      <a:pt x="975" y="425"/>
                    </a:lnTo>
                    <a:lnTo>
                      <a:pt x="975" y="430"/>
                    </a:lnTo>
                    <a:lnTo>
                      <a:pt x="975" y="430"/>
                    </a:lnTo>
                    <a:lnTo>
                      <a:pt x="975" y="430"/>
                    </a:lnTo>
                    <a:lnTo>
                      <a:pt x="975" y="434"/>
                    </a:lnTo>
                    <a:lnTo>
                      <a:pt x="975" y="434"/>
                    </a:lnTo>
                    <a:lnTo>
                      <a:pt x="975" y="434"/>
                    </a:lnTo>
                    <a:lnTo>
                      <a:pt x="975" y="434"/>
                    </a:lnTo>
                    <a:lnTo>
                      <a:pt x="975" y="434"/>
                    </a:lnTo>
                    <a:lnTo>
                      <a:pt x="975" y="434"/>
                    </a:lnTo>
                    <a:lnTo>
                      <a:pt x="975" y="434"/>
                    </a:lnTo>
                    <a:lnTo>
                      <a:pt x="975" y="434"/>
                    </a:lnTo>
                    <a:lnTo>
                      <a:pt x="975" y="434"/>
                    </a:lnTo>
                    <a:lnTo>
                      <a:pt x="980" y="434"/>
                    </a:lnTo>
                    <a:lnTo>
                      <a:pt x="980" y="439"/>
                    </a:lnTo>
                    <a:lnTo>
                      <a:pt x="975" y="439"/>
                    </a:lnTo>
                    <a:lnTo>
                      <a:pt x="975" y="439"/>
                    </a:lnTo>
                    <a:lnTo>
                      <a:pt x="971" y="439"/>
                    </a:lnTo>
                    <a:lnTo>
                      <a:pt x="971" y="439"/>
                    </a:lnTo>
                    <a:lnTo>
                      <a:pt x="971" y="439"/>
                    </a:lnTo>
                    <a:lnTo>
                      <a:pt x="971" y="439"/>
                    </a:lnTo>
                    <a:lnTo>
                      <a:pt x="971" y="443"/>
                    </a:lnTo>
                    <a:lnTo>
                      <a:pt x="975" y="439"/>
                    </a:lnTo>
                    <a:lnTo>
                      <a:pt x="975" y="439"/>
                    </a:lnTo>
                    <a:lnTo>
                      <a:pt x="980" y="439"/>
                    </a:lnTo>
                    <a:lnTo>
                      <a:pt x="980" y="439"/>
                    </a:lnTo>
                    <a:lnTo>
                      <a:pt x="980" y="439"/>
                    </a:lnTo>
                    <a:lnTo>
                      <a:pt x="975" y="443"/>
                    </a:lnTo>
                    <a:lnTo>
                      <a:pt x="975" y="443"/>
                    </a:lnTo>
                    <a:lnTo>
                      <a:pt x="975" y="443"/>
                    </a:lnTo>
                    <a:lnTo>
                      <a:pt x="975" y="443"/>
                    </a:lnTo>
                    <a:lnTo>
                      <a:pt x="975" y="443"/>
                    </a:lnTo>
                    <a:lnTo>
                      <a:pt x="975" y="443"/>
                    </a:lnTo>
                    <a:lnTo>
                      <a:pt x="975" y="443"/>
                    </a:lnTo>
                    <a:lnTo>
                      <a:pt x="980" y="443"/>
                    </a:lnTo>
                    <a:lnTo>
                      <a:pt x="980" y="443"/>
                    </a:lnTo>
                    <a:lnTo>
                      <a:pt x="980" y="448"/>
                    </a:lnTo>
                    <a:lnTo>
                      <a:pt x="980" y="448"/>
                    </a:lnTo>
                    <a:lnTo>
                      <a:pt x="975" y="452"/>
                    </a:lnTo>
                    <a:lnTo>
                      <a:pt x="971" y="452"/>
                    </a:lnTo>
                    <a:lnTo>
                      <a:pt x="971" y="452"/>
                    </a:lnTo>
                    <a:lnTo>
                      <a:pt x="971" y="452"/>
                    </a:lnTo>
                    <a:lnTo>
                      <a:pt x="966" y="452"/>
                    </a:lnTo>
                    <a:lnTo>
                      <a:pt x="966" y="452"/>
                    </a:lnTo>
                    <a:lnTo>
                      <a:pt x="971" y="452"/>
                    </a:lnTo>
                    <a:lnTo>
                      <a:pt x="971" y="452"/>
                    </a:lnTo>
                    <a:lnTo>
                      <a:pt x="975" y="452"/>
                    </a:lnTo>
                    <a:lnTo>
                      <a:pt x="975" y="452"/>
                    </a:lnTo>
                    <a:lnTo>
                      <a:pt x="971" y="452"/>
                    </a:lnTo>
                    <a:lnTo>
                      <a:pt x="975" y="452"/>
                    </a:lnTo>
                    <a:lnTo>
                      <a:pt x="975" y="452"/>
                    </a:lnTo>
                    <a:lnTo>
                      <a:pt x="980" y="452"/>
                    </a:lnTo>
                    <a:lnTo>
                      <a:pt x="980" y="452"/>
                    </a:lnTo>
                    <a:lnTo>
                      <a:pt x="980" y="452"/>
                    </a:lnTo>
                    <a:lnTo>
                      <a:pt x="980" y="457"/>
                    </a:lnTo>
                    <a:lnTo>
                      <a:pt x="975" y="457"/>
                    </a:lnTo>
                    <a:lnTo>
                      <a:pt x="971" y="457"/>
                    </a:lnTo>
                    <a:lnTo>
                      <a:pt x="971" y="461"/>
                    </a:lnTo>
                    <a:lnTo>
                      <a:pt x="966" y="461"/>
                    </a:lnTo>
                    <a:lnTo>
                      <a:pt x="966" y="461"/>
                    </a:lnTo>
                    <a:lnTo>
                      <a:pt x="971" y="461"/>
                    </a:lnTo>
                    <a:lnTo>
                      <a:pt x="975" y="457"/>
                    </a:lnTo>
                    <a:lnTo>
                      <a:pt x="975" y="457"/>
                    </a:lnTo>
                    <a:lnTo>
                      <a:pt x="980" y="457"/>
                    </a:lnTo>
                    <a:lnTo>
                      <a:pt x="980" y="461"/>
                    </a:lnTo>
                    <a:lnTo>
                      <a:pt x="980" y="461"/>
                    </a:lnTo>
                    <a:lnTo>
                      <a:pt x="980" y="461"/>
                    </a:lnTo>
                    <a:lnTo>
                      <a:pt x="984" y="461"/>
                    </a:lnTo>
                    <a:lnTo>
                      <a:pt x="984" y="466"/>
                    </a:lnTo>
                    <a:lnTo>
                      <a:pt x="984" y="466"/>
                    </a:lnTo>
                    <a:lnTo>
                      <a:pt x="980" y="466"/>
                    </a:lnTo>
                    <a:lnTo>
                      <a:pt x="980" y="466"/>
                    </a:lnTo>
                    <a:lnTo>
                      <a:pt x="980" y="466"/>
                    </a:lnTo>
                    <a:lnTo>
                      <a:pt x="980" y="470"/>
                    </a:lnTo>
                    <a:lnTo>
                      <a:pt x="975" y="470"/>
                    </a:lnTo>
                    <a:lnTo>
                      <a:pt x="975" y="470"/>
                    </a:lnTo>
                    <a:lnTo>
                      <a:pt x="975" y="470"/>
                    </a:lnTo>
                    <a:lnTo>
                      <a:pt x="975" y="470"/>
                    </a:lnTo>
                    <a:lnTo>
                      <a:pt x="971" y="470"/>
                    </a:lnTo>
                    <a:lnTo>
                      <a:pt x="971" y="470"/>
                    </a:lnTo>
                    <a:lnTo>
                      <a:pt x="971" y="470"/>
                    </a:lnTo>
                    <a:lnTo>
                      <a:pt x="971" y="470"/>
                    </a:lnTo>
                    <a:lnTo>
                      <a:pt x="975" y="470"/>
                    </a:lnTo>
                    <a:lnTo>
                      <a:pt x="975" y="470"/>
                    </a:lnTo>
                    <a:lnTo>
                      <a:pt x="975" y="470"/>
                    </a:lnTo>
                    <a:lnTo>
                      <a:pt x="980" y="470"/>
                    </a:lnTo>
                    <a:lnTo>
                      <a:pt x="980" y="475"/>
                    </a:lnTo>
                    <a:lnTo>
                      <a:pt x="980" y="475"/>
                    </a:lnTo>
                    <a:lnTo>
                      <a:pt x="980" y="475"/>
                    </a:lnTo>
                    <a:lnTo>
                      <a:pt x="975" y="475"/>
                    </a:lnTo>
                    <a:lnTo>
                      <a:pt x="975" y="475"/>
                    </a:lnTo>
                    <a:lnTo>
                      <a:pt x="975" y="475"/>
                    </a:lnTo>
                    <a:lnTo>
                      <a:pt x="975" y="475"/>
                    </a:lnTo>
                    <a:lnTo>
                      <a:pt x="975" y="475"/>
                    </a:lnTo>
                    <a:lnTo>
                      <a:pt x="980" y="475"/>
                    </a:lnTo>
                    <a:lnTo>
                      <a:pt x="980" y="475"/>
                    </a:lnTo>
                    <a:lnTo>
                      <a:pt x="980" y="479"/>
                    </a:lnTo>
                    <a:lnTo>
                      <a:pt x="980" y="484"/>
                    </a:lnTo>
                    <a:lnTo>
                      <a:pt x="980" y="484"/>
                    </a:lnTo>
                    <a:lnTo>
                      <a:pt x="980" y="484"/>
                    </a:lnTo>
                    <a:lnTo>
                      <a:pt x="980" y="488"/>
                    </a:lnTo>
                    <a:lnTo>
                      <a:pt x="975" y="488"/>
                    </a:lnTo>
                    <a:lnTo>
                      <a:pt x="971" y="484"/>
                    </a:lnTo>
                    <a:lnTo>
                      <a:pt x="966" y="484"/>
                    </a:lnTo>
                    <a:lnTo>
                      <a:pt x="966" y="484"/>
                    </a:lnTo>
                    <a:lnTo>
                      <a:pt x="966" y="484"/>
                    </a:lnTo>
                    <a:lnTo>
                      <a:pt x="966" y="484"/>
                    </a:lnTo>
                    <a:lnTo>
                      <a:pt x="966" y="484"/>
                    </a:lnTo>
                    <a:lnTo>
                      <a:pt x="962" y="484"/>
                    </a:lnTo>
                    <a:lnTo>
                      <a:pt x="966" y="484"/>
                    </a:lnTo>
                    <a:lnTo>
                      <a:pt x="966" y="488"/>
                    </a:lnTo>
                    <a:lnTo>
                      <a:pt x="966" y="488"/>
                    </a:lnTo>
                    <a:lnTo>
                      <a:pt x="971" y="488"/>
                    </a:lnTo>
                    <a:lnTo>
                      <a:pt x="971" y="488"/>
                    </a:lnTo>
                    <a:lnTo>
                      <a:pt x="971" y="488"/>
                    </a:lnTo>
                    <a:lnTo>
                      <a:pt x="971" y="488"/>
                    </a:lnTo>
                    <a:lnTo>
                      <a:pt x="971" y="488"/>
                    </a:lnTo>
                    <a:lnTo>
                      <a:pt x="966" y="488"/>
                    </a:lnTo>
                    <a:lnTo>
                      <a:pt x="966" y="493"/>
                    </a:lnTo>
                    <a:lnTo>
                      <a:pt x="971" y="493"/>
                    </a:lnTo>
                    <a:lnTo>
                      <a:pt x="971" y="493"/>
                    </a:lnTo>
                    <a:lnTo>
                      <a:pt x="975" y="493"/>
                    </a:lnTo>
                    <a:lnTo>
                      <a:pt x="971" y="493"/>
                    </a:lnTo>
                    <a:lnTo>
                      <a:pt x="971" y="493"/>
                    </a:lnTo>
                    <a:lnTo>
                      <a:pt x="966" y="493"/>
                    </a:lnTo>
                    <a:lnTo>
                      <a:pt x="971" y="497"/>
                    </a:lnTo>
                    <a:lnTo>
                      <a:pt x="971" y="497"/>
                    </a:lnTo>
                    <a:lnTo>
                      <a:pt x="971" y="497"/>
                    </a:lnTo>
                    <a:lnTo>
                      <a:pt x="971" y="497"/>
                    </a:lnTo>
                    <a:lnTo>
                      <a:pt x="971" y="497"/>
                    </a:lnTo>
                    <a:lnTo>
                      <a:pt x="971" y="497"/>
                    </a:lnTo>
                    <a:lnTo>
                      <a:pt x="971" y="497"/>
                    </a:lnTo>
                    <a:lnTo>
                      <a:pt x="971" y="502"/>
                    </a:lnTo>
                    <a:lnTo>
                      <a:pt x="971" y="502"/>
                    </a:lnTo>
                    <a:lnTo>
                      <a:pt x="975" y="502"/>
                    </a:lnTo>
                    <a:lnTo>
                      <a:pt x="971" y="502"/>
                    </a:lnTo>
                    <a:lnTo>
                      <a:pt x="975" y="502"/>
                    </a:lnTo>
                    <a:lnTo>
                      <a:pt x="975" y="502"/>
                    </a:lnTo>
                    <a:lnTo>
                      <a:pt x="975" y="502"/>
                    </a:lnTo>
                    <a:lnTo>
                      <a:pt x="975" y="502"/>
                    </a:lnTo>
                    <a:lnTo>
                      <a:pt x="980" y="502"/>
                    </a:lnTo>
                    <a:lnTo>
                      <a:pt x="980" y="502"/>
                    </a:lnTo>
                    <a:lnTo>
                      <a:pt x="980" y="502"/>
                    </a:lnTo>
                    <a:lnTo>
                      <a:pt x="980" y="502"/>
                    </a:lnTo>
                    <a:lnTo>
                      <a:pt x="980" y="506"/>
                    </a:lnTo>
                    <a:lnTo>
                      <a:pt x="980" y="502"/>
                    </a:lnTo>
                    <a:lnTo>
                      <a:pt x="980" y="502"/>
                    </a:lnTo>
                    <a:lnTo>
                      <a:pt x="984" y="502"/>
                    </a:lnTo>
                    <a:lnTo>
                      <a:pt x="980" y="506"/>
                    </a:lnTo>
                    <a:lnTo>
                      <a:pt x="980" y="506"/>
                    </a:lnTo>
                    <a:lnTo>
                      <a:pt x="980" y="506"/>
                    </a:lnTo>
                    <a:lnTo>
                      <a:pt x="980" y="506"/>
                    </a:lnTo>
                    <a:lnTo>
                      <a:pt x="980" y="511"/>
                    </a:lnTo>
                    <a:lnTo>
                      <a:pt x="980" y="511"/>
                    </a:lnTo>
                    <a:lnTo>
                      <a:pt x="980" y="511"/>
                    </a:lnTo>
                    <a:lnTo>
                      <a:pt x="975" y="515"/>
                    </a:lnTo>
                    <a:lnTo>
                      <a:pt x="975" y="515"/>
                    </a:lnTo>
                    <a:lnTo>
                      <a:pt x="975" y="515"/>
                    </a:lnTo>
                    <a:lnTo>
                      <a:pt x="971" y="515"/>
                    </a:lnTo>
                    <a:lnTo>
                      <a:pt x="971" y="515"/>
                    </a:lnTo>
                    <a:lnTo>
                      <a:pt x="975" y="515"/>
                    </a:lnTo>
                    <a:lnTo>
                      <a:pt x="980" y="515"/>
                    </a:lnTo>
                    <a:lnTo>
                      <a:pt x="984" y="515"/>
                    </a:lnTo>
                    <a:lnTo>
                      <a:pt x="984" y="515"/>
                    </a:lnTo>
                    <a:lnTo>
                      <a:pt x="984" y="515"/>
                    </a:lnTo>
                    <a:lnTo>
                      <a:pt x="984" y="515"/>
                    </a:lnTo>
                    <a:lnTo>
                      <a:pt x="984" y="515"/>
                    </a:lnTo>
                    <a:lnTo>
                      <a:pt x="984" y="515"/>
                    </a:lnTo>
                    <a:lnTo>
                      <a:pt x="989" y="515"/>
                    </a:lnTo>
                    <a:lnTo>
                      <a:pt x="989" y="515"/>
                    </a:lnTo>
                    <a:lnTo>
                      <a:pt x="989" y="515"/>
                    </a:lnTo>
                    <a:lnTo>
                      <a:pt x="984" y="520"/>
                    </a:lnTo>
                    <a:lnTo>
                      <a:pt x="980" y="520"/>
                    </a:lnTo>
                    <a:lnTo>
                      <a:pt x="980" y="525"/>
                    </a:lnTo>
                    <a:lnTo>
                      <a:pt x="980" y="520"/>
                    </a:lnTo>
                    <a:lnTo>
                      <a:pt x="989" y="520"/>
                    </a:lnTo>
                    <a:lnTo>
                      <a:pt x="989" y="520"/>
                    </a:lnTo>
                    <a:lnTo>
                      <a:pt x="989" y="515"/>
                    </a:lnTo>
                    <a:lnTo>
                      <a:pt x="993" y="515"/>
                    </a:lnTo>
                    <a:lnTo>
                      <a:pt x="993" y="515"/>
                    </a:lnTo>
                    <a:lnTo>
                      <a:pt x="993" y="515"/>
                    </a:lnTo>
                    <a:lnTo>
                      <a:pt x="993" y="520"/>
                    </a:lnTo>
                    <a:lnTo>
                      <a:pt x="993" y="520"/>
                    </a:lnTo>
                    <a:lnTo>
                      <a:pt x="993" y="525"/>
                    </a:lnTo>
                    <a:lnTo>
                      <a:pt x="998" y="525"/>
                    </a:lnTo>
                    <a:lnTo>
                      <a:pt x="998" y="525"/>
                    </a:lnTo>
                    <a:lnTo>
                      <a:pt x="1002" y="525"/>
                    </a:lnTo>
                    <a:lnTo>
                      <a:pt x="1002" y="525"/>
                    </a:lnTo>
                    <a:lnTo>
                      <a:pt x="1002" y="525"/>
                    </a:lnTo>
                    <a:lnTo>
                      <a:pt x="1007" y="525"/>
                    </a:lnTo>
                    <a:lnTo>
                      <a:pt x="1007" y="525"/>
                    </a:lnTo>
                    <a:lnTo>
                      <a:pt x="1007" y="525"/>
                    </a:lnTo>
                    <a:lnTo>
                      <a:pt x="1007" y="529"/>
                    </a:lnTo>
                    <a:lnTo>
                      <a:pt x="1007" y="529"/>
                    </a:lnTo>
                    <a:lnTo>
                      <a:pt x="1012" y="529"/>
                    </a:lnTo>
                    <a:lnTo>
                      <a:pt x="1012" y="529"/>
                    </a:lnTo>
                    <a:lnTo>
                      <a:pt x="1012" y="529"/>
                    </a:lnTo>
                    <a:lnTo>
                      <a:pt x="1007" y="529"/>
                    </a:lnTo>
                    <a:lnTo>
                      <a:pt x="1007" y="529"/>
                    </a:lnTo>
                    <a:lnTo>
                      <a:pt x="1007" y="534"/>
                    </a:lnTo>
                    <a:lnTo>
                      <a:pt x="1002" y="534"/>
                    </a:lnTo>
                    <a:lnTo>
                      <a:pt x="998" y="534"/>
                    </a:lnTo>
                    <a:lnTo>
                      <a:pt x="998" y="534"/>
                    </a:lnTo>
                    <a:lnTo>
                      <a:pt x="998" y="534"/>
                    </a:lnTo>
                    <a:lnTo>
                      <a:pt x="993" y="534"/>
                    </a:lnTo>
                    <a:lnTo>
                      <a:pt x="993" y="534"/>
                    </a:lnTo>
                    <a:lnTo>
                      <a:pt x="989" y="538"/>
                    </a:lnTo>
                    <a:lnTo>
                      <a:pt x="989" y="538"/>
                    </a:lnTo>
                    <a:lnTo>
                      <a:pt x="989" y="538"/>
                    </a:lnTo>
                    <a:lnTo>
                      <a:pt x="984" y="538"/>
                    </a:lnTo>
                    <a:lnTo>
                      <a:pt x="984" y="538"/>
                    </a:lnTo>
                    <a:lnTo>
                      <a:pt x="984" y="538"/>
                    </a:lnTo>
                    <a:lnTo>
                      <a:pt x="984" y="538"/>
                    </a:lnTo>
                    <a:lnTo>
                      <a:pt x="984" y="538"/>
                    </a:lnTo>
                    <a:lnTo>
                      <a:pt x="980" y="538"/>
                    </a:lnTo>
                    <a:lnTo>
                      <a:pt x="975" y="543"/>
                    </a:lnTo>
                    <a:lnTo>
                      <a:pt x="971" y="543"/>
                    </a:lnTo>
                    <a:lnTo>
                      <a:pt x="971" y="543"/>
                    </a:lnTo>
                    <a:lnTo>
                      <a:pt x="971" y="543"/>
                    </a:lnTo>
                    <a:lnTo>
                      <a:pt x="971" y="543"/>
                    </a:lnTo>
                    <a:lnTo>
                      <a:pt x="966" y="543"/>
                    </a:lnTo>
                    <a:lnTo>
                      <a:pt x="966" y="543"/>
                    </a:lnTo>
                    <a:lnTo>
                      <a:pt x="966" y="543"/>
                    </a:lnTo>
                    <a:lnTo>
                      <a:pt x="966" y="543"/>
                    </a:lnTo>
                    <a:lnTo>
                      <a:pt x="966" y="547"/>
                    </a:lnTo>
                    <a:lnTo>
                      <a:pt x="962" y="547"/>
                    </a:lnTo>
                    <a:lnTo>
                      <a:pt x="962" y="547"/>
                    </a:lnTo>
                    <a:lnTo>
                      <a:pt x="962" y="543"/>
                    </a:lnTo>
                    <a:lnTo>
                      <a:pt x="962" y="547"/>
                    </a:lnTo>
                    <a:lnTo>
                      <a:pt x="962" y="547"/>
                    </a:lnTo>
                    <a:lnTo>
                      <a:pt x="962" y="547"/>
                    </a:lnTo>
                    <a:lnTo>
                      <a:pt x="962" y="547"/>
                    </a:lnTo>
                    <a:lnTo>
                      <a:pt x="962" y="547"/>
                    </a:lnTo>
                    <a:lnTo>
                      <a:pt x="957" y="552"/>
                    </a:lnTo>
                    <a:lnTo>
                      <a:pt x="962" y="552"/>
                    </a:lnTo>
                    <a:lnTo>
                      <a:pt x="957" y="552"/>
                    </a:lnTo>
                    <a:lnTo>
                      <a:pt x="957" y="552"/>
                    </a:lnTo>
                    <a:lnTo>
                      <a:pt x="957" y="552"/>
                    </a:lnTo>
                    <a:lnTo>
                      <a:pt x="957" y="552"/>
                    </a:lnTo>
                    <a:lnTo>
                      <a:pt x="962" y="552"/>
                    </a:lnTo>
                    <a:lnTo>
                      <a:pt x="966" y="552"/>
                    </a:lnTo>
                    <a:lnTo>
                      <a:pt x="966" y="547"/>
                    </a:lnTo>
                    <a:lnTo>
                      <a:pt x="966" y="547"/>
                    </a:lnTo>
                    <a:lnTo>
                      <a:pt x="971" y="547"/>
                    </a:lnTo>
                    <a:lnTo>
                      <a:pt x="971" y="547"/>
                    </a:lnTo>
                    <a:lnTo>
                      <a:pt x="975" y="547"/>
                    </a:lnTo>
                    <a:lnTo>
                      <a:pt x="980" y="543"/>
                    </a:lnTo>
                    <a:lnTo>
                      <a:pt x="984" y="543"/>
                    </a:lnTo>
                    <a:lnTo>
                      <a:pt x="989" y="538"/>
                    </a:lnTo>
                    <a:lnTo>
                      <a:pt x="993" y="538"/>
                    </a:lnTo>
                    <a:lnTo>
                      <a:pt x="998" y="538"/>
                    </a:lnTo>
                    <a:lnTo>
                      <a:pt x="998" y="538"/>
                    </a:lnTo>
                    <a:lnTo>
                      <a:pt x="998" y="538"/>
                    </a:lnTo>
                    <a:lnTo>
                      <a:pt x="998" y="538"/>
                    </a:lnTo>
                    <a:lnTo>
                      <a:pt x="998" y="538"/>
                    </a:lnTo>
                    <a:lnTo>
                      <a:pt x="993" y="538"/>
                    </a:lnTo>
                    <a:lnTo>
                      <a:pt x="993" y="538"/>
                    </a:lnTo>
                    <a:lnTo>
                      <a:pt x="993" y="538"/>
                    </a:lnTo>
                    <a:lnTo>
                      <a:pt x="993" y="534"/>
                    </a:lnTo>
                    <a:lnTo>
                      <a:pt x="998" y="534"/>
                    </a:lnTo>
                    <a:lnTo>
                      <a:pt x="1002" y="538"/>
                    </a:lnTo>
                    <a:lnTo>
                      <a:pt x="1007" y="538"/>
                    </a:lnTo>
                    <a:lnTo>
                      <a:pt x="1007" y="543"/>
                    </a:lnTo>
                    <a:lnTo>
                      <a:pt x="1007" y="543"/>
                    </a:lnTo>
                    <a:lnTo>
                      <a:pt x="1007" y="543"/>
                    </a:lnTo>
                    <a:lnTo>
                      <a:pt x="1007" y="543"/>
                    </a:lnTo>
                    <a:lnTo>
                      <a:pt x="1007" y="547"/>
                    </a:lnTo>
                    <a:lnTo>
                      <a:pt x="1002" y="547"/>
                    </a:lnTo>
                    <a:lnTo>
                      <a:pt x="998" y="547"/>
                    </a:lnTo>
                    <a:lnTo>
                      <a:pt x="998" y="547"/>
                    </a:lnTo>
                    <a:lnTo>
                      <a:pt x="1002" y="547"/>
                    </a:lnTo>
                    <a:lnTo>
                      <a:pt x="1002" y="547"/>
                    </a:lnTo>
                    <a:lnTo>
                      <a:pt x="1002" y="552"/>
                    </a:lnTo>
                    <a:lnTo>
                      <a:pt x="1002" y="547"/>
                    </a:lnTo>
                    <a:lnTo>
                      <a:pt x="1007" y="547"/>
                    </a:lnTo>
                    <a:lnTo>
                      <a:pt x="1012" y="547"/>
                    </a:lnTo>
                    <a:lnTo>
                      <a:pt x="1012" y="543"/>
                    </a:lnTo>
                    <a:lnTo>
                      <a:pt x="1016" y="543"/>
                    </a:lnTo>
                    <a:lnTo>
                      <a:pt x="1016" y="543"/>
                    </a:lnTo>
                    <a:lnTo>
                      <a:pt x="1016" y="547"/>
                    </a:lnTo>
                    <a:lnTo>
                      <a:pt x="1016" y="547"/>
                    </a:lnTo>
                    <a:lnTo>
                      <a:pt x="1016" y="547"/>
                    </a:lnTo>
                    <a:lnTo>
                      <a:pt x="1021" y="547"/>
                    </a:lnTo>
                    <a:lnTo>
                      <a:pt x="1021" y="552"/>
                    </a:lnTo>
                    <a:lnTo>
                      <a:pt x="1021" y="552"/>
                    </a:lnTo>
                    <a:lnTo>
                      <a:pt x="1021" y="552"/>
                    </a:lnTo>
                    <a:lnTo>
                      <a:pt x="1021" y="552"/>
                    </a:lnTo>
                    <a:lnTo>
                      <a:pt x="1021" y="556"/>
                    </a:lnTo>
                    <a:lnTo>
                      <a:pt x="1021" y="556"/>
                    </a:lnTo>
                    <a:lnTo>
                      <a:pt x="1021" y="556"/>
                    </a:lnTo>
                    <a:lnTo>
                      <a:pt x="1021" y="556"/>
                    </a:lnTo>
                    <a:lnTo>
                      <a:pt x="1016" y="561"/>
                    </a:lnTo>
                    <a:lnTo>
                      <a:pt x="1016" y="561"/>
                    </a:lnTo>
                    <a:lnTo>
                      <a:pt x="1016" y="561"/>
                    </a:lnTo>
                    <a:lnTo>
                      <a:pt x="1016" y="565"/>
                    </a:lnTo>
                    <a:lnTo>
                      <a:pt x="1016" y="565"/>
                    </a:lnTo>
                    <a:lnTo>
                      <a:pt x="1016" y="565"/>
                    </a:lnTo>
                    <a:lnTo>
                      <a:pt x="1016" y="565"/>
                    </a:lnTo>
                    <a:lnTo>
                      <a:pt x="1012" y="565"/>
                    </a:lnTo>
                    <a:lnTo>
                      <a:pt x="1007" y="565"/>
                    </a:lnTo>
                    <a:lnTo>
                      <a:pt x="1007" y="570"/>
                    </a:lnTo>
                    <a:lnTo>
                      <a:pt x="1007" y="570"/>
                    </a:lnTo>
                    <a:lnTo>
                      <a:pt x="1012" y="570"/>
                    </a:lnTo>
                    <a:lnTo>
                      <a:pt x="1012" y="570"/>
                    </a:lnTo>
                    <a:lnTo>
                      <a:pt x="1016" y="570"/>
                    </a:lnTo>
                    <a:lnTo>
                      <a:pt x="1016" y="570"/>
                    </a:lnTo>
                    <a:lnTo>
                      <a:pt x="1016" y="570"/>
                    </a:lnTo>
                    <a:lnTo>
                      <a:pt x="1012" y="570"/>
                    </a:lnTo>
                    <a:lnTo>
                      <a:pt x="1012" y="570"/>
                    </a:lnTo>
                    <a:lnTo>
                      <a:pt x="1012" y="570"/>
                    </a:lnTo>
                    <a:lnTo>
                      <a:pt x="1012" y="570"/>
                    </a:lnTo>
                    <a:lnTo>
                      <a:pt x="1012" y="574"/>
                    </a:lnTo>
                    <a:lnTo>
                      <a:pt x="1012" y="574"/>
                    </a:lnTo>
                    <a:lnTo>
                      <a:pt x="1012" y="574"/>
                    </a:lnTo>
                    <a:lnTo>
                      <a:pt x="1012" y="574"/>
                    </a:lnTo>
                    <a:lnTo>
                      <a:pt x="1012" y="574"/>
                    </a:lnTo>
                    <a:lnTo>
                      <a:pt x="1007" y="579"/>
                    </a:lnTo>
                    <a:lnTo>
                      <a:pt x="1002" y="583"/>
                    </a:lnTo>
                    <a:lnTo>
                      <a:pt x="998" y="583"/>
                    </a:lnTo>
                    <a:lnTo>
                      <a:pt x="989" y="588"/>
                    </a:lnTo>
                    <a:lnTo>
                      <a:pt x="989" y="588"/>
                    </a:lnTo>
                    <a:lnTo>
                      <a:pt x="989" y="588"/>
                    </a:lnTo>
                    <a:lnTo>
                      <a:pt x="984" y="588"/>
                    </a:lnTo>
                    <a:lnTo>
                      <a:pt x="980" y="588"/>
                    </a:lnTo>
                    <a:lnTo>
                      <a:pt x="975" y="588"/>
                    </a:lnTo>
                    <a:lnTo>
                      <a:pt x="975" y="588"/>
                    </a:lnTo>
                    <a:lnTo>
                      <a:pt x="971" y="588"/>
                    </a:lnTo>
                    <a:lnTo>
                      <a:pt x="971" y="588"/>
                    </a:lnTo>
                    <a:lnTo>
                      <a:pt x="971" y="592"/>
                    </a:lnTo>
                    <a:lnTo>
                      <a:pt x="966" y="588"/>
                    </a:lnTo>
                    <a:lnTo>
                      <a:pt x="966" y="588"/>
                    </a:lnTo>
                    <a:lnTo>
                      <a:pt x="966" y="592"/>
                    </a:lnTo>
                    <a:lnTo>
                      <a:pt x="962" y="592"/>
                    </a:lnTo>
                    <a:lnTo>
                      <a:pt x="962" y="592"/>
                    </a:lnTo>
                    <a:lnTo>
                      <a:pt x="953" y="597"/>
                    </a:lnTo>
                    <a:lnTo>
                      <a:pt x="953" y="601"/>
                    </a:lnTo>
                    <a:lnTo>
                      <a:pt x="948" y="601"/>
                    </a:lnTo>
                    <a:lnTo>
                      <a:pt x="944" y="606"/>
                    </a:lnTo>
                    <a:lnTo>
                      <a:pt x="939" y="606"/>
                    </a:lnTo>
                    <a:lnTo>
                      <a:pt x="939" y="606"/>
                    </a:lnTo>
                    <a:lnTo>
                      <a:pt x="935" y="610"/>
                    </a:lnTo>
                    <a:lnTo>
                      <a:pt x="930" y="610"/>
                    </a:lnTo>
                    <a:lnTo>
                      <a:pt x="926" y="610"/>
                    </a:lnTo>
                    <a:lnTo>
                      <a:pt x="926" y="610"/>
                    </a:lnTo>
                    <a:lnTo>
                      <a:pt x="921" y="610"/>
                    </a:lnTo>
                    <a:lnTo>
                      <a:pt x="917" y="610"/>
                    </a:lnTo>
                    <a:lnTo>
                      <a:pt x="917" y="610"/>
                    </a:lnTo>
                    <a:lnTo>
                      <a:pt x="908" y="610"/>
                    </a:lnTo>
                    <a:lnTo>
                      <a:pt x="908" y="610"/>
                    </a:lnTo>
                    <a:lnTo>
                      <a:pt x="908" y="606"/>
                    </a:lnTo>
                    <a:lnTo>
                      <a:pt x="903" y="606"/>
                    </a:lnTo>
                    <a:lnTo>
                      <a:pt x="903" y="606"/>
                    </a:lnTo>
                    <a:lnTo>
                      <a:pt x="899" y="606"/>
                    </a:lnTo>
                    <a:lnTo>
                      <a:pt x="899" y="606"/>
                    </a:lnTo>
                    <a:lnTo>
                      <a:pt x="894" y="606"/>
                    </a:lnTo>
                    <a:lnTo>
                      <a:pt x="894" y="606"/>
                    </a:lnTo>
                    <a:lnTo>
                      <a:pt x="890" y="606"/>
                    </a:lnTo>
                    <a:lnTo>
                      <a:pt x="890" y="606"/>
                    </a:lnTo>
                    <a:lnTo>
                      <a:pt x="885" y="606"/>
                    </a:lnTo>
                    <a:lnTo>
                      <a:pt x="885" y="606"/>
                    </a:lnTo>
                    <a:lnTo>
                      <a:pt x="880" y="606"/>
                    </a:lnTo>
                    <a:lnTo>
                      <a:pt x="880" y="606"/>
                    </a:lnTo>
                    <a:lnTo>
                      <a:pt x="876" y="606"/>
                    </a:lnTo>
                    <a:lnTo>
                      <a:pt x="871" y="606"/>
                    </a:lnTo>
                    <a:lnTo>
                      <a:pt x="867" y="606"/>
                    </a:lnTo>
                    <a:lnTo>
                      <a:pt x="862" y="606"/>
                    </a:lnTo>
                    <a:lnTo>
                      <a:pt x="862" y="606"/>
                    </a:lnTo>
                    <a:lnTo>
                      <a:pt x="853" y="606"/>
                    </a:lnTo>
                    <a:lnTo>
                      <a:pt x="853" y="606"/>
                    </a:lnTo>
                    <a:lnTo>
                      <a:pt x="849" y="606"/>
                    </a:lnTo>
                    <a:lnTo>
                      <a:pt x="844" y="606"/>
                    </a:lnTo>
                    <a:lnTo>
                      <a:pt x="844" y="606"/>
                    </a:lnTo>
                    <a:lnTo>
                      <a:pt x="844" y="606"/>
                    </a:lnTo>
                    <a:lnTo>
                      <a:pt x="844" y="606"/>
                    </a:lnTo>
                    <a:lnTo>
                      <a:pt x="840" y="606"/>
                    </a:lnTo>
                    <a:lnTo>
                      <a:pt x="840" y="606"/>
                    </a:lnTo>
                    <a:lnTo>
                      <a:pt x="840" y="606"/>
                    </a:lnTo>
                    <a:lnTo>
                      <a:pt x="835" y="610"/>
                    </a:lnTo>
                    <a:lnTo>
                      <a:pt x="826" y="615"/>
                    </a:lnTo>
                    <a:lnTo>
                      <a:pt x="826" y="619"/>
                    </a:lnTo>
                    <a:lnTo>
                      <a:pt x="822" y="619"/>
                    </a:lnTo>
                    <a:lnTo>
                      <a:pt x="822" y="619"/>
                    </a:lnTo>
                    <a:lnTo>
                      <a:pt x="817" y="619"/>
                    </a:lnTo>
                    <a:lnTo>
                      <a:pt x="813" y="619"/>
                    </a:lnTo>
                    <a:lnTo>
                      <a:pt x="808" y="624"/>
                    </a:lnTo>
                    <a:lnTo>
                      <a:pt x="808" y="624"/>
                    </a:lnTo>
                    <a:lnTo>
                      <a:pt x="808" y="624"/>
                    </a:lnTo>
                    <a:lnTo>
                      <a:pt x="804" y="624"/>
                    </a:lnTo>
                    <a:lnTo>
                      <a:pt x="804" y="624"/>
                    </a:lnTo>
                    <a:lnTo>
                      <a:pt x="799" y="624"/>
                    </a:lnTo>
                    <a:lnTo>
                      <a:pt x="799" y="629"/>
                    </a:lnTo>
                    <a:lnTo>
                      <a:pt x="795" y="629"/>
                    </a:lnTo>
                    <a:lnTo>
                      <a:pt x="790" y="633"/>
                    </a:lnTo>
                    <a:lnTo>
                      <a:pt x="786" y="638"/>
                    </a:lnTo>
                    <a:lnTo>
                      <a:pt x="781" y="638"/>
                    </a:lnTo>
                    <a:lnTo>
                      <a:pt x="777" y="642"/>
                    </a:lnTo>
                    <a:lnTo>
                      <a:pt x="777" y="642"/>
                    </a:lnTo>
                    <a:lnTo>
                      <a:pt x="777" y="642"/>
                    </a:lnTo>
                    <a:lnTo>
                      <a:pt x="772" y="638"/>
                    </a:lnTo>
                    <a:lnTo>
                      <a:pt x="772" y="638"/>
                    </a:lnTo>
                    <a:lnTo>
                      <a:pt x="768" y="638"/>
                    </a:lnTo>
                    <a:lnTo>
                      <a:pt x="763" y="633"/>
                    </a:lnTo>
                    <a:lnTo>
                      <a:pt x="763" y="638"/>
                    </a:lnTo>
                    <a:lnTo>
                      <a:pt x="763" y="638"/>
                    </a:lnTo>
                    <a:lnTo>
                      <a:pt x="768" y="638"/>
                    </a:lnTo>
                    <a:lnTo>
                      <a:pt x="768" y="638"/>
                    </a:lnTo>
                    <a:lnTo>
                      <a:pt x="772" y="638"/>
                    </a:lnTo>
                    <a:lnTo>
                      <a:pt x="772" y="642"/>
                    </a:lnTo>
                    <a:lnTo>
                      <a:pt x="777" y="642"/>
                    </a:lnTo>
                    <a:lnTo>
                      <a:pt x="777" y="642"/>
                    </a:lnTo>
                    <a:lnTo>
                      <a:pt x="772" y="647"/>
                    </a:lnTo>
                    <a:lnTo>
                      <a:pt x="772" y="647"/>
                    </a:lnTo>
                    <a:lnTo>
                      <a:pt x="768" y="651"/>
                    </a:lnTo>
                    <a:lnTo>
                      <a:pt x="763" y="651"/>
                    </a:lnTo>
                    <a:lnTo>
                      <a:pt x="759" y="656"/>
                    </a:lnTo>
                    <a:lnTo>
                      <a:pt x="754" y="660"/>
                    </a:lnTo>
                    <a:lnTo>
                      <a:pt x="749" y="660"/>
                    </a:lnTo>
                    <a:lnTo>
                      <a:pt x="745" y="665"/>
                    </a:lnTo>
                    <a:lnTo>
                      <a:pt x="740" y="665"/>
                    </a:lnTo>
                    <a:lnTo>
                      <a:pt x="736" y="669"/>
                    </a:lnTo>
                    <a:lnTo>
                      <a:pt x="731" y="669"/>
                    </a:lnTo>
                    <a:lnTo>
                      <a:pt x="731" y="669"/>
                    </a:lnTo>
                    <a:lnTo>
                      <a:pt x="727" y="669"/>
                    </a:lnTo>
                    <a:lnTo>
                      <a:pt x="727" y="669"/>
                    </a:lnTo>
                    <a:lnTo>
                      <a:pt x="722" y="669"/>
                    </a:lnTo>
                    <a:lnTo>
                      <a:pt x="718" y="674"/>
                    </a:lnTo>
                    <a:lnTo>
                      <a:pt x="713" y="674"/>
                    </a:lnTo>
                    <a:lnTo>
                      <a:pt x="713" y="674"/>
                    </a:lnTo>
                    <a:lnTo>
                      <a:pt x="709" y="678"/>
                    </a:lnTo>
                    <a:lnTo>
                      <a:pt x="709" y="678"/>
                    </a:lnTo>
                    <a:lnTo>
                      <a:pt x="709" y="678"/>
                    </a:lnTo>
                    <a:lnTo>
                      <a:pt x="704" y="683"/>
                    </a:lnTo>
                    <a:lnTo>
                      <a:pt x="700" y="683"/>
                    </a:lnTo>
                    <a:lnTo>
                      <a:pt x="695" y="683"/>
                    </a:lnTo>
                    <a:lnTo>
                      <a:pt x="695" y="687"/>
                    </a:lnTo>
                    <a:lnTo>
                      <a:pt x="691" y="687"/>
                    </a:lnTo>
                    <a:lnTo>
                      <a:pt x="691" y="687"/>
                    </a:lnTo>
                    <a:lnTo>
                      <a:pt x="686" y="687"/>
                    </a:lnTo>
                    <a:lnTo>
                      <a:pt x="686" y="687"/>
                    </a:lnTo>
                    <a:lnTo>
                      <a:pt x="691" y="692"/>
                    </a:lnTo>
                    <a:lnTo>
                      <a:pt x="691" y="692"/>
                    </a:lnTo>
                    <a:lnTo>
                      <a:pt x="686" y="692"/>
                    </a:lnTo>
                    <a:lnTo>
                      <a:pt x="682" y="692"/>
                    </a:lnTo>
                    <a:lnTo>
                      <a:pt x="673" y="696"/>
                    </a:lnTo>
                    <a:moveTo>
                      <a:pt x="632" y="154"/>
                    </a:moveTo>
                    <a:lnTo>
                      <a:pt x="632" y="154"/>
                    </a:lnTo>
                    <a:lnTo>
                      <a:pt x="632" y="154"/>
                    </a:lnTo>
                    <a:lnTo>
                      <a:pt x="637" y="154"/>
                    </a:lnTo>
                    <a:lnTo>
                      <a:pt x="637" y="154"/>
                    </a:lnTo>
                    <a:lnTo>
                      <a:pt x="641" y="149"/>
                    </a:lnTo>
                    <a:lnTo>
                      <a:pt x="646" y="149"/>
                    </a:lnTo>
                    <a:lnTo>
                      <a:pt x="646" y="154"/>
                    </a:lnTo>
                    <a:lnTo>
                      <a:pt x="646" y="154"/>
                    </a:lnTo>
                    <a:lnTo>
                      <a:pt x="646" y="149"/>
                    </a:lnTo>
                    <a:lnTo>
                      <a:pt x="646" y="149"/>
                    </a:lnTo>
                    <a:lnTo>
                      <a:pt x="646" y="149"/>
                    </a:lnTo>
                    <a:lnTo>
                      <a:pt x="650" y="149"/>
                    </a:lnTo>
                    <a:lnTo>
                      <a:pt x="650" y="149"/>
                    </a:lnTo>
                    <a:lnTo>
                      <a:pt x="655" y="149"/>
                    </a:lnTo>
                    <a:lnTo>
                      <a:pt x="655" y="145"/>
                    </a:lnTo>
                    <a:lnTo>
                      <a:pt x="659" y="145"/>
                    </a:lnTo>
                    <a:lnTo>
                      <a:pt x="659" y="149"/>
                    </a:lnTo>
                    <a:lnTo>
                      <a:pt x="664" y="149"/>
                    </a:lnTo>
                    <a:lnTo>
                      <a:pt x="664" y="149"/>
                    </a:lnTo>
                    <a:lnTo>
                      <a:pt x="668" y="154"/>
                    </a:lnTo>
                    <a:lnTo>
                      <a:pt x="668" y="154"/>
                    </a:lnTo>
                    <a:lnTo>
                      <a:pt x="668" y="154"/>
                    </a:lnTo>
                    <a:lnTo>
                      <a:pt x="664" y="154"/>
                    </a:lnTo>
                    <a:lnTo>
                      <a:pt x="659" y="158"/>
                    </a:lnTo>
                    <a:lnTo>
                      <a:pt x="655" y="158"/>
                    </a:lnTo>
                    <a:lnTo>
                      <a:pt x="655" y="158"/>
                    </a:lnTo>
                    <a:lnTo>
                      <a:pt x="655" y="158"/>
                    </a:lnTo>
                    <a:lnTo>
                      <a:pt x="655" y="158"/>
                    </a:lnTo>
                    <a:lnTo>
                      <a:pt x="655" y="158"/>
                    </a:lnTo>
                    <a:lnTo>
                      <a:pt x="659" y="158"/>
                    </a:lnTo>
                    <a:lnTo>
                      <a:pt x="659" y="158"/>
                    </a:lnTo>
                    <a:lnTo>
                      <a:pt x="664" y="158"/>
                    </a:lnTo>
                    <a:lnTo>
                      <a:pt x="664" y="158"/>
                    </a:lnTo>
                    <a:lnTo>
                      <a:pt x="659" y="158"/>
                    </a:lnTo>
                    <a:lnTo>
                      <a:pt x="659" y="158"/>
                    </a:lnTo>
                    <a:lnTo>
                      <a:pt x="659" y="158"/>
                    </a:lnTo>
                    <a:lnTo>
                      <a:pt x="659" y="158"/>
                    </a:lnTo>
                    <a:lnTo>
                      <a:pt x="659" y="158"/>
                    </a:lnTo>
                    <a:lnTo>
                      <a:pt x="659" y="158"/>
                    </a:lnTo>
                    <a:lnTo>
                      <a:pt x="664" y="158"/>
                    </a:lnTo>
                    <a:lnTo>
                      <a:pt x="668" y="158"/>
                    </a:lnTo>
                    <a:lnTo>
                      <a:pt x="673" y="154"/>
                    </a:lnTo>
                    <a:lnTo>
                      <a:pt x="673" y="154"/>
                    </a:lnTo>
                    <a:lnTo>
                      <a:pt x="677" y="154"/>
                    </a:lnTo>
                    <a:lnTo>
                      <a:pt x="677" y="154"/>
                    </a:lnTo>
                    <a:lnTo>
                      <a:pt x="677" y="154"/>
                    </a:lnTo>
                    <a:lnTo>
                      <a:pt x="677" y="154"/>
                    </a:lnTo>
                    <a:lnTo>
                      <a:pt x="677" y="149"/>
                    </a:lnTo>
                    <a:lnTo>
                      <a:pt x="677" y="149"/>
                    </a:lnTo>
                    <a:lnTo>
                      <a:pt x="682" y="149"/>
                    </a:lnTo>
                    <a:lnTo>
                      <a:pt x="682" y="149"/>
                    </a:lnTo>
                    <a:lnTo>
                      <a:pt x="686" y="149"/>
                    </a:lnTo>
                    <a:lnTo>
                      <a:pt x="686" y="149"/>
                    </a:lnTo>
                    <a:lnTo>
                      <a:pt x="686" y="154"/>
                    </a:lnTo>
                    <a:lnTo>
                      <a:pt x="686" y="154"/>
                    </a:lnTo>
                    <a:lnTo>
                      <a:pt x="686" y="154"/>
                    </a:lnTo>
                    <a:lnTo>
                      <a:pt x="691" y="154"/>
                    </a:lnTo>
                    <a:lnTo>
                      <a:pt x="691" y="154"/>
                    </a:lnTo>
                    <a:lnTo>
                      <a:pt x="691" y="154"/>
                    </a:lnTo>
                    <a:lnTo>
                      <a:pt x="691" y="158"/>
                    </a:lnTo>
                    <a:lnTo>
                      <a:pt x="686" y="158"/>
                    </a:lnTo>
                    <a:lnTo>
                      <a:pt x="686" y="158"/>
                    </a:lnTo>
                    <a:lnTo>
                      <a:pt x="686" y="158"/>
                    </a:lnTo>
                    <a:lnTo>
                      <a:pt x="686" y="158"/>
                    </a:lnTo>
                    <a:lnTo>
                      <a:pt x="686" y="158"/>
                    </a:lnTo>
                    <a:lnTo>
                      <a:pt x="686" y="158"/>
                    </a:lnTo>
                    <a:lnTo>
                      <a:pt x="686" y="163"/>
                    </a:lnTo>
                    <a:lnTo>
                      <a:pt x="686" y="163"/>
                    </a:lnTo>
                    <a:lnTo>
                      <a:pt x="682" y="167"/>
                    </a:lnTo>
                    <a:lnTo>
                      <a:pt x="677" y="167"/>
                    </a:lnTo>
                    <a:lnTo>
                      <a:pt x="677" y="172"/>
                    </a:lnTo>
                    <a:lnTo>
                      <a:pt x="673" y="172"/>
                    </a:lnTo>
                    <a:lnTo>
                      <a:pt x="673" y="172"/>
                    </a:lnTo>
                    <a:lnTo>
                      <a:pt x="677" y="172"/>
                    </a:lnTo>
                    <a:lnTo>
                      <a:pt x="677" y="176"/>
                    </a:lnTo>
                    <a:lnTo>
                      <a:pt x="677" y="176"/>
                    </a:lnTo>
                    <a:lnTo>
                      <a:pt x="677" y="176"/>
                    </a:lnTo>
                    <a:lnTo>
                      <a:pt x="677" y="172"/>
                    </a:lnTo>
                    <a:lnTo>
                      <a:pt x="682" y="172"/>
                    </a:lnTo>
                    <a:lnTo>
                      <a:pt x="686" y="172"/>
                    </a:lnTo>
                    <a:lnTo>
                      <a:pt x="686" y="172"/>
                    </a:lnTo>
                    <a:lnTo>
                      <a:pt x="686" y="172"/>
                    </a:lnTo>
                    <a:lnTo>
                      <a:pt x="686" y="172"/>
                    </a:lnTo>
                    <a:lnTo>
                      <a:pt x="686" y="172"/>
                    </a:lnTo>
                    <a:lnTo>
                      <a:pt x="686" y="172"/>
                    </a:lnTo>
                    <a:lnTo>
                      <a:pt x="686" y="167"/>
                    </a:lnTo>
                    <a:lnTo>
                      <a:pt x="691" y="167"/>
                    </a:lnTo>
                    <a:lnTo>
                      <a:pt x="691" y="163"/>
                    </a:lnTo>
                    <a:lnTo>
                      <a:pt x="691" y="163"/>
                    </a:lnTo>
                    <a:lnTo>
                      <a:pt x="695" y="163"/>
                    </a:lnTo>
                    <a:lnTo>
                      <a:pt x="695" y="158"/>
                    </a:lnTo>
                    <a:lnTo>
                      <a:pt x="695" y="158"/>
                    </a:lnTo>
                    <a:lnTo>
                      <a:pt x="695" y="158"/>
                    </a:lnTo>
                    <a:lnTo>
                      <a:pt x="695" y="158"/>
                    </a:lnTo>
                    <a:lnTo>
                      <a:pt x="695" y="158"/>
                    </a:lnTo>
                    <a:lnTo>
                      <a:pt x="700" y="158"/>
                    </a:lnTo>
                    <a:lnTo>
                      <a:pt x="704" y="149"/>
                    </a:lnTo>
                    <a:lnTo>
                      <a:pt x="709" y="149"/>
                    </a:lnTo>
                    <a:lnTo>
                      <a:pt x="709" y="149"/>
                    </a:lnTo>
                    <a:lnTo>
                      <a:pt x="709" y="149"/>
                    </a:lnTo>
                    <a:lnTo>
                      <a:pt x="709" y="149"/>
                    </a:lnTo>
                    <a:lnTo>
                      <a:pt x="713" y="149"/>
                    </a:lnTo>
                    <a:lnTo>
                      <a:pt x="713" y="149"/>
                    </a:lnTo>
                    <a:lnTo>
                      <a:pt x="713" y="145"/>
                    </a:lnTo>
                    <a:lnTo>
                      <a:pt x="713" y="145"/>
                    </a:lnTo>
                    <a:lnTo>
                      <a:pt x="713" y="145"/>
                    </a:lnTo>
                    <a:lnTo>
                      <a:pt x="718" y="145"/>
                    </a:lnTo>
                    <a:lnTo>
                      <a:pt x="718" y="145"/>
                    </a:lnTo>
                    <a:lnTo>
                      <a:pt x="718" y="149"/>
                    </a:lnTo>
                    <a:lnTo>
                      <a:pt x="718" y="149"/>
                    </a:lnTo>
                    <a:lnTo>
                      <a:pt x="722" y="149"/>
                    </a:lnTo>
                    <a:lnTo>
                      <a:pt x="722" y="149"/>
                    </a:lnTo>
                    <a:lnTo>
                      <a:pt x="722" y="149"/>
                    </a:lnTo>
                    <a:lnTo>
                      <a:pt x="727" y="149"/>
                    </a:lnTo>
                    <a:lnTo>
                      <a:pt x="727" y="154"/>
                    </a:lnTo>
                    <a:lnTo>
                      <a:pt x="727" y="154"/>
                    </a:lnTo>
                    <a:lnTo>
                      <a:pt x="727" y="154"/>
                    </a:lnTo>
                    <a:lnTo>
                      <a:pt x="727" y="154"/>
                    </a:lnTo>
                    <a:lnTo>
                      <a:pt x="727" y="158"/>
                    </a:lnTo>
                    <a:lnTo>
                      <a:pt x="727" y="158"/>
                    </a:lnTo>
                    <a:lnTo>
                      <a:pt x="727" y="158"/>
                    </a:lnTo>
                    <a:lnTo>
                      <a:pt x="722" y="158"/>
                    </a:lnTo>
                    <a:lnTo>
                      <a:pt x="722" y="158"/>
                    </a:lnTo>
                    <a:lnTo>
                      <a:pt x="722" y="158"/>
                    </a:lnTo>
                    <a:lnTo>
                      <a:pt x="722" y="163"/>
                    </a:lnTo>
                    <a:lnTo>
                      <a:pt x="722" y="163"/>
                    </a:lnTo>
                    <a:lnTo>
                      <a:pt x="718" y="163"/>
                    </a:lnTo>
                    <a:lnTo>
                      <a:pt x="713" y="172"/>
                    </a:lnTo>
                    <a:lnTo>
                      <a:pt x="713" y="172"/>
                    </a:lnTo>
                    <a:lnTo>
                      <a:pt x="713" y="172"/>
                    </a:lnTo>
                    <a:lnTo>
                      <a:pt x="709" y="176"/>
                    </a:lnTo>
                    <a:lnTo>
                      <a:pt x="709" y="181"/>
                    </a:lnTo>
                    <a:lnTo>
                      <a:pt x="709" y="181"/>
                    </a:lnTo>
                    <a:lnTo>
                      <a:pt x="709" y="181"/>
                    </a:lnTo>
                    <a:lnTo>
                      <a:pt x="709" y="181"/>
                    </a:lnTo>
                    <a:lnTo>
                      <a:pt x="704" y="181"/>
                    </a:lnTo>
                    <a:lnTo>
                      <a:pt x="704" y="181"/>
                    </a:lnTo>
                    <a:lnTo>
                      <a:pt x="704" y="185"/>
                    </a:lnTo>
                    <a:lnTo>
                      <a:pt x="700" y="185"/>
                    </a:lnTo>
                    <a:lnTo>
                      <a:pt x="700" y="185"/>
                    </a:lnTo>
                    <a:lnTo>
                      <a:pt x="695" y="185"/>
                    </a:lnTo>
                    <a:lnTo>
                      <a:pt x="695" y="185"/>
                    </a:lnTo>
                    <a:lnTo>
                      <a:pt x="695" y="190"/>
                    </a:lnTo>
                    <a:lnTo>
                      <a:pt x="695" y="194"/>
                    </a:lnTo>
                    <a:lnTo>
                      <a:pt x="695" y="194"/>
                    </a:lnTo>
                    <a:lnTo>
                      <a:pt x="695" y="194"/>
                    </a:lnTo>
                    <a:lnTo>
                      <a:pt x="700" y="199"/>
                    </a:lnTo>
                    <a:lnTo>
                      <a:pt x="700" y="199"/>
                    </a:lnTo>
                    <a:lnTo>
                      <a:pt x="700" y="199"/>
                    </a:lnTo>
                    <a:lnTo>
                      <a:pt x="700" y="199"/>
                    </a:lnTo>
                    <a:lnTo>
                      <a:pt x="700" y="199"/>
                    </a:lnTo>
                    <a:lnTo>
                      <a:pt x="700" y="199"/>
                    </a:lnTo>
                    <a:lnTo>
                      <a:pt x="700" y="199"/>
                    </a:lnTo>
                    <a:lnTo>
                      <a:pt x="700" y="194"/>
                    </a:lnTo>
                    <a:lnTo>
                      <a:pt x="704" y="194"/>
                    </a:lnTo>
                    <a:lnTo>
                      <a:pt x="704" y="194"/>
                    </a:lnTo>
                    <a:lnTo>
                      <a:pt x="704" y="199"/>
                    </a:lnTo>
                    <a:lnTo>
                      <a:pt x="704" y="199"/>
                    </a:lnTo>
                    <a:lnTo>
                      <a:pt x="704" y="199"/>
                    </a:lnTo>
                    <a:lnTo>
                      <a:pt x="704" y="204"/>
                    </a:lnTo>
                    <a:lnTo>
                      <a:pt x="704" y="204"/>
                    </a:lnTo>
                    <a:lnTo>
                      <a:pt x="709" y="204"/>
                    </a:lnTo>
                    <a:lnTo>
                      <a:pt x="709" y="204"/>
                    </a:lnTo>
                    <a:lnTo>
                      <a:pt x="709" y="204"/>
                    </a:lnTo>
                    <a:lnTo>
                      <a:pt x="709" y="204"/>
                    </a:lnTo>
                    <a:lnTo>
                      <a:pt x="709" y="204"/>
                    </a:lnTo>
                    <a:lnTo>
                      <a:pt x="709" y="208"/>
                    </a:lnTo>
                    <a:lnTo>
                      <a:pt x="709" y="208"/>
                    </a:lnTo>
                    <a:lnTo>
                      <a:pt x="713" y="208"/>
                    </a:lnTo>
                    <a:lnTo>
                      <a:pt x="713" y="208"/>
                    </a:lnTo>
                    <a:lnTo>
                      <a:pt x="713" y="208"/>
                    </a:lnTo>
                    <a:lnTo>
                      <a:pt x="709" y="208"/>
                    </a:lnTo>
                    <a:lnTo>
                      <a:pt x="709" y="213"/>
                    </a:lnTo>
                    <a:lnTo>
                      <a:pt x="709" y="213"/>
                    </a:lnTo>
                    <a:lnTo>
                      <a:pt x="704" y="213"/>
                    </a:lnTo>
                    <a:lnTo>
                      <a:pt x="704" y="217"/>
                    </a:lnTo>
                    <a:lnTo>
                      <a:pt x="704" y="217"/>
                    </a:lnTo>
                    <a:lnTo>
                      <a:pt x="700" y="213"/>
                    </a:lnTo>
                    <a:lnTo>
                      <a:pt x="700" y="213"/>
                    </a:lnTo>
                    <a:lnTo>
                      <a:pt x="700" y="213"/>
                    </a:lnTo>
                    <a:lnTo>
                      <a:pt x="700" y="213"/>
                    </a:lnTo>
                    <a:lnTo>
                      <a:pt x="700" y="213"/>
                    </a:lnTo>
                    <a:lnTo>
                      <a:pt x="700" y="213"/>
                    </a:lnTo>
                    <a:lnTo>
                      <a:pt x="700" y="213"/>
                    </a:lnTo>
                    <a:lnTo>
                      <a:pt x="700" y="213"/>
                    </a:lnTo>
                    <a:lnTo>
                      <a:pt x="695" y="213"/>
                    </a:lnTo>
                    <a:lnTo>
                      <a:pt x="695" y="213"/>
                    </a:lnTo>
                    <a:lnTo>
                      <a:pt x="695" y="213"/>
                    </a:lnTo>
                    <a:lnTo>
                      <a:pt x="695" y="213"/>
                    </a:lnTo>
                    <a:lnTo>
                      <a:pt x="695" y="213"/>
                    </a:lnTo>
                    <a:lnTo>
                      <a:pt x="695" y="213"/>
                    </a:lnTo>
                    <a:lnTo>
                      <a:pt x="691" y="213"/>
                    </a:lnTo>
                    <a:lnTo>
                      <a:pt x="691" y="213"/>
                    </a:lnTo>
                    <a:lnTo>
                      <a:pt x="686" y="213"/>
                    </a:lnTo>
                    <a:lnTo>
                      <a:pt x="686" y="213"/>
                    </a:lnTo>
                    <a:lnTo>
                      <a:pt x="686" y="213"/>
                    </a:lnTo>
                    <a:lnTo>
                      <a:pt x="686" y="213"/>
                    </a:lnTo>
                    <a:lnTo>
                      <a:pt x="686" y="217"/>
                    </a:lnTo>
                    <a:lnTo>
                      <a:pt x="686" y="217"/>
                    </a:lnTo>
                    <a:lnTo>
                      <a:pt x="686" y="217"/>
                    </a:lnTo>
                    <a:lnTo>
                      <a:pt x="682" y="217"/>
                    </a:lnTo>
                    <a:lnTo>
                      <a:pt x="682" y="217"/>
                    </a:lnTo>
                    <a:lnTo>
                      <a:pt x="682" y="213"/>
                    </a:lnTo>
                    <a:lnTo>
                      <a:pt x="682" y="213"/>
                    </a:lnTo>
                    <a:lnTo>
                      <a:pt x="677" y="213"/>
                    </a:lnTo>
                    <a:lnTo>
                      <a:pt x="677" y="213"/>
                    </a:lnTo>
                    <a:lnTo>
                      <a:pt x="677" y="213"/>
                    </a:lnTo>
                    <a:lnTo>
                      <a:pt x="677" y="213"/>
                    </a:lnTo>
                    <a:lnTo>
                      <a:pt x="677" y="213"/>
                    </a:lnTo>
                    <a:lnTo>
                      <a:pt x="677" y="217"/>
                    </a:lnTo>
                    <a:lnTo>
                      <a:pt x="677" y="217"/>
                    </a:lnTo>
                    <a:lnTo>
                      <a:pt x="677" y="217"/>
                    </a:lnTo>
                    <a:lnTo>
                      <a:pt x="677" y="217"/>
                    </a:lnTo>
                    <a:lnTo>
                      <a:pt x="677" y="217"/>
                    </a:lnTo>
                    <a:lnTo>
                      <a:pt x="677" y="217"/>
                    </a:lnTo>
                    <a:lnTo>
                      <a:pt x="673" y="222"/>
                    </a:lnTo>
                    <a:lnTo>
                      <a:pt x="673" y="222"/>
                    </a:lnTo>
                    <a:lnTo>
                      <a:pt x="673" y="222"/>
                    </a:lnTo>
                    <a:lnTo>
                      <a:pt x="677" y="217"/>
                    </a:lnTo>
                    <a:lnTo>
                      <a:pt x="677" y="217"/>
                    </a:lnTo>
                    <a:lnTo>
                      <a:pt x="682" y="217"/>
                    </a:lnTo>
                    <a:lnTo>
                      <a:pt x="686" y="217"/>
                    </a:lnTo>
                    <a:lnTo>
                      <a:pt x="686" y="217"/>
                    </a:lnTo>
                    <a:lnTo>
                      <a:pt x="686" y="217"/>
                    </a:lnTo>
                    <a:lnTo>
                      <a:pt x="686" y="217"/>
                    </a:lnTo>
                    <a:lnTo>
                      <a:pt x="686" y="217"/>
                    </a:lnTo>
                    <a:lnTo>
                      <a:pt x="686" y="222"/>
                    </a:lnTo>
                    <a:lnTo>
                      <a:pt x="686" y="222"/>
                    </a:lnTo>
                    <a:lnTo>
                      <a:pt x="686" y="222"/>
                    </a:lnTo>
                    <a:lnTo>
                      <a:pt x="686" y="222"/>
                    </a:lnTo>
                    <a:lnTo>
                      <a:pt x="682" y="222"/>
                    </a:lnTo>
                    <a:lnTo>
                      <a:pt x="682" y="222"/>
                    </a:lnTo>
                    <a:lnTo>
                      <a:pt x="686" y="222"/>
                    </a:lnTo>
                    <a:lnTo>
                      <a:pt x="686" y="222"/>
                    </a:lnTo>
                    <a:lnTo>
                      <a:pt x="686" y="222"/>
                    </a:lnTo>
                    <a:lnTo>
                      <a:pt x="686" y="222"/>
                    </a:lnTo>
                    <a:lnTo>
                      <a:pt x="682" y="222"/>
                    </a:lnTo>
                    <a:lnTo>
                      <a:pt x="682" y="226"/>
                    </a:lnTo>
                    <a:lnTo>
                      <a:pt x="677" y="226"/>
                    </a:lnTo>
                    <a:lnTo>
                      <a:pt x="673" y="226"/>
                    </a:lnTo>
                    <a:lnTo>
                      <a:pt x="673" y="226"/>
                    </a:lnTo>
                    <a:lnTo>
                      <a:pt x="668" y="226"/>
                    </a:lnTo>
                    <a:lnTo>
                      <a:pt x="668" y="226"/>
                    </a:lnTo>
                    <a:lnTo>
                      <a:pt x="668" y="226"/>
                    </a:lnTo>
                    <a:lnTo>
                      <a:pt x="664" y="226"/>
                    </a:lnTo>
                    <a:lnTo>
                      <a:pt x="659" y="226"/>
                    </a:lnTo>
                    <a:lnTo>
                      <a:pt x="655" y="226"/>
                    </a:lnTo>
                    <a:lnTo>
                      <a:pt x="655" y="226"/>
                    </a:lnTo>
                    <a:lnTo>
                      <a:pt x="655" y="226"/>
                    </a:lnTo>
                    <a:lnTo>
                      <a:pt x="650" y="226"/>
                    </a:lnTo>
                    <a:lnTo>
                      <a:pt x="650" y="226"/>
                    </a:lnTo>
                    <a:lnTo>
                      <a:pt x="646" y="226"/>
                    </a:lnTo>
                    <a:lnTo>
                      <a:pt x="646" y="222"/>
                    </a:lnTo>
                    <a:lnTo>
                      <a:pt x="646" y="222"/>
                    </a:lnTo>
                    <a:lnTo>
                      <a:pt x="650" y="222"/>
                    </a:lnTo>
                    <a:lnTo>
                      <a:pt x="650" y="222"/>
                    </a:lnTo>
                    <a:lnTo>
                      <a:pt x="650" y="222"/>
                    </a:lnTo>
                    <a:lnTo>
                      <a:pt x="646" y="222"/>
                    </a:lnTo>
                    <a:lnTo>
                      <a:pt x="646" y="222"/>
                    </a:lnTo>
                    <a:lnTo>
                      <a:pt x="641" y="217"/>
                    </a:lnTo>
                    <a:lnTo>
                      <a:pt x="641" y="217"/>
                    </a:lnTo>
                    <a:lnTo>
                      <a:pt x="641" y="217"/>
                    </a:lnTo>
                    <a:lnTo>
                      <a:pt x="637" y="217"/>
                    </a:lnTo>
                    <a:lnTo>
                      <a:pt x="637" y="217"/>
                    </a:lnTo>
                    <a:lnTo>
                      <a:pt x="641" y="217"/>
                    </a:lnTo>
                    <a:lnTo>
                      <a:pt x="641" y="217"/>
                    </a:lnTo>
                    <a:lnTo>
                      <a:pt x="641" y="217"/>
                    </a:lnTo>
                    <a:lnTo>
                      <a:pt x="641" y="213"/>
                    </a:lnTo>
                    <a:lnTo>
                      <a:pt x="641" y="213"/>
                    </a:lnTo>
                    <a:lnTo>
                      <a:pt x="641" y="213"/>
                    </a:lnTo>
                    <a:lnTo>
                      <a:pt x="641" y="213"/>
                    </a:lnTo>
                    <a:lnTo>
                      <a:pt x="637" y="213"/>
                    </a:lnTo>
                    <a:lnTo>
                      <a:pt x="637" y="217"/>
                    </a:lnTo>
                    <a:lnTo>
                      <a:pt x="632" y="217"/>
                    </a:lnTo>
                    <a:lnTo>
                      <a:pt x="628" y="217"/>
                    </a:lnTo>
                    <a:lnTo>
                      <a:pt x="623" y="222"/>
                    </a:lnTo>
                    <a:lnTo>
                      <a:pt x="623" y="222"/>
                    </a:lnTo>
                    <a:lnTo>
                      <a:pt x="618" y="222"/>
                    </a:lnTo>
                    <a:lnTo>
                      <a:pt x="609" y="222"/>
                    </a:lnTo>
                    <a:lnTo>
                      <a:pt x="609" y="222"/>
                    </a:lnTo>
                    <a:lnTo>
                      <a:pt x="605" y="222"/>
                    </a:lnTo>
                    <a:lnTo>
                      <a:pt x="600" y="222"/>
                    </a:lnTo>
                    <a:lnTo>
                      <a:pt x="596" y="222"/>
                    </a:lnTo>
                    <a:lnTo>
                      <a:pt x="587" y="226"/>
                    </a:lnTo>
                    <a:lnTo>
                      <a:pt x="582" y="226"/>
                    </a:lnTo>
                    <a:lnTo>
                      <a:pt x="578" y="226"/>
                    </a:lnTo>
                    <a:lnTo>
                      <a:pt x="578" y="222"/>
                    </a:lnTo>
                    <a:lnTo>
                      <a:pt x="573" y="222"/>
                    </a:lnTo>
                    <a:lnTo>
                      <a:pt x="573" y="226"/>
                    </a:lnTo>
                    <a:lnTo>
                      <a:pt x="569" y="226"/>
                    </a:lnTo>
                    <a:lnTo>
                      <a:pt x="560" y="222"/>
                    </a:lnTo>
                    <a:lnTo>
                      <a:pt x="555" y="222"/>
                    </a:lnTo>
                    <a:lnTo>
                      <a:pt x="555" y="222"/>
                    </a:lnTo>
                    <a:lnTo>
                      <a:pt x="555" y="222"/>
                    </a:lnTo>
                    <a:lnTo>
                      <a:pt x="551" y="222"/>
                    </a:lnTo>
                    <a:lnTo>
                      <a:pt x="551" y="222"/>
                    </a:lnTo>
                    <a:lnTo>
                      <a:pt x="551" y="222"/>
                    </a:lnTo>
                    <a:lnTo>
                      <a:pt x="555" y="217"/>
                    </a:lnTo>
                    <a:lnTo>
                      <a:pt x="555" y="217"/>
                    </a:lnTo>
                    <a:lnTo>
                      <a:pt x="560" y="213"/>
                    </a:lnTo>
                    <a:lnTo>
                      <a:pt x="560" y="213"/>
                    </a:lnTo>
                    <a:lnTo>
                      <a:pt x="564" y="213"/>
                    </a:lnTo>
                    <a:lnTo>
                      <a:pt x="564" y="213"/>
                    </a:lnTo>
                    <a:lnTo>
                      <a:pt x="560" y="208"/>
                    </a:lnTo>
                    <a:lnTo>
                      <a:pt x="560" y="208"/>
                    </a:lnTo>
                    <a:lnTo>
                      <a:pt x="555" y="208"/>
                    </a:lnTo>
                    <a:lnTo>
                      <a:pt x="551" y="208"/>
                    </a:lnTo>
                    <a:lnTo>
                      <a:pt x="546" y="208"/>
                    </a:lnTo>
                    <a:lnTo>
                      <a:pt x="542" y="208"/>
                    </a:lnTo>
                    <a:lnTo>
                      <a:pt x="542" y="204"/>
                    </a:lnTo>
                    <a:lnTo>
                      <a:pt x="537" y="204"/>
                    </a:lnTo>
                    <a:lnTo>
                      <a:pt x="537" y="204"/>
                    </a:lnTo>
                    <a:lnTo>
                      <a:pt x="542" y="204"/>
                    </a:lnTo>
                    <a:lnTo>
                      <a:pt x="542" y="204"/>
                    </a:lnTo>
                    <a:lnTo>
                      <a:pt x="542" y="199"/>
                    </a:lnTo>
                    <a:lnTo>
                      <a:pt x="542" y="199"/>
                    </a:lnTo>
                    <a:lnTo>
                      <a:pt x="542" y="194"/>
                    </a:lnTo>
                    <a:lnTo>
                      <a:pt x="542" y="194"/>
                    </a:lnTo>
                    <a:lnTo>
                      <a:pt x="542" y="194"/>
                    </a:lnTo>
                    <a:lnTo>
                      <a:pt x="546" y="194"/>
                    </a:lnTo>
                    <a:lnTo>
                      <a:pt x="546" y="190"/>
                    </a:lnTo>
                    <a:lnTo>
                      <a:pt x="546" y="190"/>
                    </a:lnTo>
                    <a:lnTo>
                      <a:pt x="551" y="190"/>
                    </a:lnTo>
                    <a:lnTo>
                      <a:pt x="555" y="190"/>
                    </a:lnTo>
                    <a:lnTo>
                      <a:pt x="569" y="190"/>
                    </a:lnTo>
                    <a:lnTo>
                      <a:pt x="578" y="190"/>
                    </a:lnTo>
                    <a:lnTo>
                      <a:pt x="582" y="190"/>
                    </a:lnTo>
                    <a:lnTo>
                      <a:pt x="587" y="190"/>
                    </a:lnTo>
                    <a:lnTo>
                      <a:pt x="587" y="190"/>
                    </a:lnTo>
                    <a:lnTo>
                      <a:pt x="591" y="194"/>
                    </a:lnTo>
                    <a:lnTo>
                      <a:pt x="596" y="194"/>
                    </a:lnTo>
                    <a:lnTo>
                      <a:pt x="596" y="194"/>
                    </a:lnTo>
                    <a:lnTo>
                      <a:pt x="600" y="194"/>
                    </a:lnTo>
                    <a:lnTo>
                      <a:pt x="600" y="194"/>
                    </a:lnTo>
                    <a:lnTo>
                      <a:pt x="605" y="194"/>
                    </a:lnTo>
                    <a:lnTo>
                      <a:pt x="609" y="194"/>
                    </a:lnTo>
                    <a:lnTo>
                      <a:pt x="609" y="194"/>
                    </a:lnTo>
                    <a:lnTo>
                      <a:pt x="609" y="194"/>
                    </a:lnTo>
                    <a:lnTo>
                      <a:pt x="605" y="190"/>
                    </a:lnTo>
                    <a:lnTo>
                      <a:pt x="600" y="185"/>
                    </a:lnTo>
                    <a:lnTo>
                      <a:pt x="600" y="185"/>
                    </a:lnTo>
                    <a:lnTo>
                      <a:pt x="596" y="185"/>
                    </a:lnTo>
                    <a:lnTo>
                      <a:pt x="596" y="185"/>
                    </a:lnTo>
                    <a:lnTo>
                      <a:pt x="591" y="185"/>
                    </a:lnTo>
                    <a:lnTo>
                      <a:pt x="591" y="185"/>
                    </a:lnTo>
                    <a:lnTo>
                      <a:pt x="587" y="185"/>
                    </a:lnTo>
                    <a:lnTo>
                      <a:pt x="582" y="185"/>
                    </a:lnTo>
                    <a:lnTo>
                      <a:pt x="578" y="185"/>
                    </a:lnTo>
                    <a:lnTo>
                      <a:pt x="573" y="185"/>
                    </a:lnTo>
                    <a:lnTo>
                      <a:pt x="569" y="185"/>
                    </a:lnTo>
                    <a:lnTo>
                      <a:pt x="569" y="185"/>
                    </a:lnTo>
                    <a:lnTo>
                      <a:pt x="569" y="185"/>
                    </a:lnTo>
                    <a:lnTo>
                      <a:pt x="564" y="181"/>
                    </a:lnTo>
                    <a:lnTo>
                      <a:pt x="555" y="181"/>
                    </a:lnTo>
                    <a:lnTo>
                      <a:pt x="555" y="176"/>
                    </a:lnTo>
                    <a:lnTo>
                      <a:pt x="555" y="176"/>
                    </a:lnTo>
                    <a:lnTo>
                      <a:pt x="560" y="176"/>
                    </a:lnTo>
                    <a:lnTo>
                      <a:pt x="560" y="176"/>
                    </a:lnTo>
                    <a:lnTo>
                      <a:pt x="564" y="172"/>
                    </a:lnTo>
                    <a:lnTo>
                      <a:pt x="569" y="172"/>
                    </a:lnTo>
                    <a:lnTo>
                      <a:pt x="573" y="172"/>
                    </a:lnTo>
                    <a:lnTo>
                      <a:pt x="578" y="172"/>
                    </a:lnTo>
                    <a:lnTo>
                      <a:pt x="587" y="172"/>
                    </a:lnTo>
                    <a:lnTo>
                      <a:pt x="587" y="172"/>
                    </a:lnTo>
                    <a:lnTo>
                      <a:pt x="591" y="172"/>
                    </a:lnTo>
                    <a:lnTo>
                      <a:pt x="591" y="172"/>
                    </a:lnTo>
                    <a:lnTo>
                      <a:pt x="591" y="172"/>
                    </a:lnTo>
                    <a:lnTo>
                      <a:pt x="591" y="172"/>
                    </a:lnTo>
                    <a:lnTo>
                      <a:pt x="591" y="167"/>
                    </a:lnTo>
                    <a:lnTo>
                      <a:pt x="591" y="167"/>
                    </a:lnTo>
                    <a:lnTo>
                      <a:pt x="596" y="167"/>
                    </a:lnTo>
                    <a:lnTo>
                      <a:pt x="596" y="172"/>
                    </a:lnTo>
                    <a:lnTo>
                      <a:pt x="600" y="172"/>
                    </a:lnTo>
                    <a:lnTo>
                      <a:pt x="600" y="167"/>
                    </a:lnTo>
                    <a:lnTo>
                      <a:pt x="600" y="167"/>
                    </a:lnTo>
                    <a:lnTo>
                      <a:pt x="600" y="167"/>
                    </a:lnTo>
                    <a:lnTo>
                      <a:pt x="582" y="167"/>
                    </a:lnTo>
                    <a:lnTo>
                      <a:pt x="578" y="167"/>
                    </a:lnTo>
                    <a:lnTo>
                      <a:pt x="573" y="167"/>
                    </a:lnTo>
                    <a:lnTo>
                      <a:pt x="573" y="167"/>
                    </a:lnTo>
                    <a:lnTo>
                      <a:pt x="569" y="167"/>
                    </a:lnTo>
                    <a:lnTo>
                      <a:pt x="569" y="167"/>
                    </a:lnTo>
                    <a:lnTo>
                      <a:pt x="569" y="167"/>
                    </a:lnTo>
                    <a:lnTo>
                      <a:pt x="573" y="167"/>
                    </a:lnTo>
                    <a:lnTo>
                      <a:pt x="578" y="167"/>
                    </a:lnTo>
                    <a:lnTo>
                      <a:pt x="582" y="163"/>
                    </a:lnTo>
                    <a:lnTo>
                      <a:pt x="578" y="163"/>
                    </a:lnTo>
                    <a:lnTo>
                      <a:pt x="573" y="163"/>
                    </a:lnTo>
                    <a:lnTo>
                      <a:pt x="573" y="163"/>
                    </a:lnTo>
                    <a:lnTo>
                      <a:pt x="569" y="163"/>
                    </a:lnTo>
                    <a:lnTo>
                      <a:pt x="569" y="163"/>
                    </a:lnTo>
                    <a:lnTo>
                      <a:pt x="569" y="163"/>
                    </a:lnTo>
                    <a:lnTo>
                      <a:pt x="573" y="163"/>
                    </a:lnTo>
                    <a:lnTo>
                      <a:pt x="573" y="158"/>
                    </a:lnTo>
                    <a:lnTo>
                      <a:pt x="578" y="158"/>
                    </a:lnTo>
                    <a:lnTo>
                      <a:pt x="578" y="158"/>
                    </a:lnTo>
                    <a:lnTo>
                      <a:pt x="582" y="154"/>
                    </a:lnTo>
                    <a:lnTo>
                      <a:pt x="587" y="154"/>
                    </a:lnTo>
                    <a:lnTo>
                      <a:pt x="591" y="154"/>
                    </a:lnTo>
                    <a:lnTo>
                      <a:pt x="591" y="154"/>
                    </a:lnTo>
                    <a:lnTo>
                      <a:pt x="591" y="154"/>
                    </a:lnTo>
                    <a:lnTo>
                      <a:pt x="591" y="154"/>
                    </a:lnTo>
                    <a:lnTo>
                      <a:pt x="591" y="149"/>
                    </a:lnTo>
                    <a:lnTo>
                      <a:pt x="591" y="149"/>
                    </a:lnTo>
                    <a:lnTo>
                      <a:pt x="591" y="149"/>
                    </a:lnTo>
                    <a:lnTo>
                      <a:pt x="596" y="149"/>
                    </a:lnTo>
                    <a:lnTo>
                      <a:pt x="600" y="149"/>
                    </a:lnTo>
                    <a:lnTo>
                      <a:pt x="609" y="145"/>
                    </a:lnTo>
                    <a:lnTo>
                      <a:pt x="614" y="145"/>
                    </a:lnTo>
                    <a:lnTo>
                      <a:pt x="618" y="145"/>
                    </a:lnTo>
                    <a:lnTo>
                      <a:pt x="628" y="140"/>
                    </a:lnTo>
                    <a:lnTo>
                      <a:pt x="641" y="140"/>
                    </a:lnTo>
                    <a:lnTo>
                      <a:pt x="650" y="140"/>
                    </a:lnTo>
                    <a:lnTo>
                      <a:pt x="655" y="140"/>
                    </a:lnTo>
                    <a:lnTo>
                      <a:pt x="655" y="140"/>
                    </a:lnTo>
                    <a:lnTo>
                      <a:pt x="655" y="140"/>
                    </a:lnTo>
                    <a:lnTo>
                      <a:pt x="655" y="140"/>
                    </a:lnTo>
                    <a:lnTo>
                      <a:pt x="650" y="145"/>
                    </a:lnTo>
                    <a:lnTo>
                      <a:pt x="650" y="145"/>
                    </a:lnTo>
                    <a:lnTo>
                      <a:pt x="650" y="145"/>
                    </a:lnTo>
                    <a:lnTo>
                      <a:pt x="646" y="145"/>
                    </a:lnTo>
                    <a:lnTo>
                      <a:pt x="646" y="149"/>
                    </a:lnTo>
                    <a:lnTo>
                      <a:pt x="646" y="149"/>
                    </a:lnTo>
                    <a:lnTo>
                      <a:pt x="641" y="149"/>
                    </a:lnTo>
                    <a:lnTo>
                      <a:pt x="641" y="149"/>
                    </a:lnTo>
                    <a:lnTo>
                      <a:pt x="637" y="149"/>
                    </a:lnTo>
                    <a:lnTo>
                      <a:pt x="632" y="154"/>
                    </a:lnTo>
                    <a:moveTo>
                      <a:pt x="731" y="154"/>
                    </a:moveTo>
                    <a:lnTo>
                      <a:pt x="731" y="154"/>
                    </a:lnTo>
                    <a:lnTo>
                      <a:pt x="731" y="154"/>
                    </a:lnTo>
                    <a:lnTo>
                      <a:pt x="731" y="154"/>
                    </a:lnTo>
                    <a:lnTo>
                      <a:pt x="727" y="154"/>
                    </a:lnTo>
                    <a:lnTo>
                      <a:pt x="731" y="154"/>
                    </a:lnTo>
                    <a:lnTo>
                      <a:pt x="727" y="149"/>
                    </a:lnTo>
                    <a:lnTo>
                      <a:pt x="731" y="149"/>
                    </a:lnTo>
                    <a:lnTo>
                      <a:pt x="731" y="149"/>
                    </a:lnTo>
                    <a:lnTo>
                      <a:pt x="731" y="145"/>
                    </a:lnTo>
                    <a:lnTo>
                      <a:pt x="727" y="145"/>
                    </a:lnTo>
                    <a:lnTo>
                      <a:pt x="727" y="145"/>
                    </a:lnTo>
                    <a:lnTo>
                      <a:pt x="727" y="145"/>
                    </a:lnTo>
                    <a:lnTo>
                      <a:pt x="731" y="140"/>
                    </a:lnTo>
                    <a:lnTo>
                      <a:pt x="736" y="140"/>
                    </a:lnTo>
                    <a:lnTo>
                      <a:pt x="736" y="140"/>
                    </a:lnTo>
                    <a:lnTo>
                      <a:pt x="736" y="140"/>
                    </a:lnTo>
                    <a:lnTo>
                      <a:pt x="749" y="140"/>
                    </a:lnTo>
                    <a:lnTo>
                      <a:pt x="749" y="140"/>
                    </a:lnTo>
                    <a:lnTo>
                      <a:pt x="749" y="140"/>
                    </a:lnTo>
                    <a:lnTo>
                      <a:pt x="749" y="145"/>
                    </a:lnTo>
                    <a:lnTo>
                      <a:pt x="754" y="145"/>
                    </a:lnTo>
                    <a:lnTo>
                      <a:pt x="754" y="145"/>
                    </a:lnTo>
                    <a:lnTo>
                      <a:pt x="754" y="145"/>
                    </a:lnTo>
                    <a:lnTo>
                      <a:pt x="749" y="145"/>
                    </a:lnTo>
                    <a:lnTo>
                      <a:pt x="749" y="145"/>
                    </a:lnTo>
                    <a:lnTo>
                      <a:pt x="745" y="149"/>
                    </a:lnTo>
                    <a:lnTo>
                      <a:pt x="745" y="149"/>
                    </a:lnTo>
                    <a:lnTo>
                      <a:pt x="740" y="149"/>
                    </a:lnTo>
                    <a:lnTo>
                      <a:pt x="736" y="154"/>
                    </a:lnTo>
                    <a:lnTo>
                      <a:pt x="736" y="154"/>
                    </a:lnTo>
                    <a:lnTo>
                      <a:pt x="736" y="154"/>
                    </a:lnTo>
                    <a:lnTo>
                      <a:pt x="731" y="154"/>
                    </a:lnTo>
                    <a:lnTo>
                      <a:pt x="731" y="154"/>
                    </a:lnTo>
                    <a:moveTo>
                      <a:pt x="1002" y="163"/>
                    </a:moveTo>
                    <a:lnTo>
                      <a:pt x="1002" y="163"/>
                    </a:lnTo>
                    <a:lnTo>
                      <a:pt x="1002" y="163"/>
                    </a:lnTo>
                    <a:lnTo>
                      <a:pt x="1012" y="163"/>
                    </a:lnTo>
                    <a:lnTo>
                      <a:pt x="1016" y="163"/>
                    </a:lnTo>
                    <a:lnTo>
                      <a:pt x="1021" y="167"/>
                    </a:lnTo>
                    <a:lnTo>
                      <a:pt x="1021" y="167"/>
                    </a:lnTo>
                    <a:lnTo>
                      <a:pt x="1021" y="167"/>
                    </a:lnTo>
                    <a:lnTo>
                      <a:pt x="1021" y="167"/>
                    </a:lnTo>
                    <a:lnTo>
                      <a:pt x="1021" y="167"/>
                    </a:lnTo>
                    <a:lnTo>
                      <a:pt x="1025" y="172"/>
                    </a:lnTo>
                    <a:lnTo>
                      <a:pt x="1025" y="172"/>
                    </a:lnTo>
                    <a:lnTo>
                      <a:pt x="1025" y="172"/>
                    </a:lnTo>
                    <a:lnTo>
                      <a:pt x="1021" y="172"/>
                    </a:lnTo>
                    <a:lnTo>
                      <a:pt x="1021" y="172"/>
                    </a:lnTo>
                    <a:lnTo>
                      <a:pt x="1025" y="176"/>
                    </a:lnTo>
                    <a:lnTo>
                      <a:pt x="1025" y="176"/>
                    </a:lnTo>
                    <a:lnTo>
                      <a:pt x="1021" y="176"/>
                    </a:lnTo>
                    <a:lnTo>
                      <a:pt x="1021" y="176"/>
                    </a:lnTo>
                    <a:lnTo>
                      <a:pt x="1021" y="176"/>
                    </a:lnTo>
                    <a:lnTo>
                      <a:pt x="1021" y="176"/>
                    </a:lnTo>
                    <a:lnTo>
                      <a:pt x="1021" y="181"/>
                    </a:lnTo>
                    <a:lnTo>
                      <a:pt x="1016" y="181"/>
                    </a:lnTo>
                    <a:lnTo>
                      <a:pt x="1012" y="176"/>
                    </a:lnTo>
                    <a:lnTo>
                      <a:pt x="1002" y="176"/>
                    </a:lnTo>
                    <a:lnTo>
                      <a:pt x="998" y="176"/>
                    </a:lnTo>
                    <a:lnTo>
                      <a:pt x="998" y="176"/>
                    </a:lnTo>
                    <a:lnTo>
                      <a:pt x="989" y="176"/>
                    </a:lnTo>
                    <a:lnTo>
                      <a:pt x="989" y="176"/>
                    </a:lnTo>
                    <a:lnTo>
                      <a:pt x="984" y="176"/>
                    </a:lnTo>
                    <a:lnTo>
                      <a:pt x="984" y="176"/>
                    </a:lnTo>
                    <a:lnTo>
                      <a:pt x="984" y="176"/>
                    </a:lnTo>
                    <a:lnTo>
                      <a:pt x="984" y="176"/>
                    </a:lnTo>
                    <a:lnTo>
                      <a:pt x="984" y="172"/>
                    </a:lnTo>
                    <a:lnTo>
                      <a:pt x="984" y="172"/>
                    </a:lnTo>
                    <a:lnTo>
                      <a:pt x="984" y="172"/>
                    </a:lnTo>
                    <a:lnTo>
                      <a:pt x="984" y="167"/>
                    </a:lnTo>
                    <a:lnTo>
                      <a:pt x="984" y="167"/>
                    </a:lnTo>
                    <a:lnTo>
                      <a:pt x="984" y="167"/>
                    </a:lnTo>
                    <a:lnTo>
                      <a:pt x="984" y="167"/>
                    </a:lnTo>
                    <a:lnTo>
                      <a:pt x="984" y="167"/>
                    </a:lnTo>
                    <a:lnTo>
                      <a:pt x="984" y="167"/>
                    </a:lnTo>
                    <a:lnTo>
                      <a:pt x="984" y="167"/>
                    </a:lnTo>
                    <a:lnTo>
                      <a:pt x="984" y="163"/>
                    </a:lnTo>
                    <a:lnTo>
                      <a:pt x="984" y="163"/>
                    </a:lnTo>
                    <a:lnTo>
                      <a:pt x="984" y="163"/>
                    </a:lnTo>
                    <a:lnTo>
                      <a:pt x="984" y="163"/>
                    </a:lnTo>
                    <a:lnTo>
                      <a:pt x="984" y="163"/>
                    </a:lnTo>
                    <a:lnTo>
                      <a:pt x="989" y="163"/>
                    </a:lnTo>
                    <a:lnTo>
                      <a:pt x="989" y="158"/>
                    </a:lnTo>
                    <a:lnTo>
                      <a:pt x="989" y="158"/>
                    </a:lnTo>
                    <a:lnTo>
                      <a:pt x="989" y="158"/>
                    </a:lnTo>
                    <a:lnTo>
                      <a:pt x="993" y="158"/>
                    </a:lnTo>
                    <a:lnTo>
                      <a:pt x="993" y="158"/>
                    </a:lnTo>
                    <a:lnTo>
                      <a:pt x="998" y="163"/>
                    </a:lnTo>
                    <a:lnTo>
                      <a:pt x="998" y="163"/>
                    </a:lnTo>
                    <a:lnTo>
                      <a:pt x="1002" y="163"/>
                    </a:lnTo>
                    <a:moveTo>
                      <a:pt x="880" y="204"/>
                    </a:moveTo>
                    <a:lnTo>
                      <a:pt x="880" y="204"/>
                    </a:lnTo>
                    <a:lnTo>
                      <a:pt x="880" y="204"/>
                    </a:lnTo>
                    <a:lnTo>
                      <a:pt x="885" y="204"/>
                    </a:lnTo>
                    <a:lnTo>
                      <a:pt x="885" y="204"/>
                    </a:lnTo>
                    <a:lnTo>
                      <a:pt x="890" y="204"/>
                    </a:lnTo>
                    <a:lnTo>
                      <a:pt x="894" y="204"/>
                    </a:lnTo>
                    <a:lnTo>
                      <a:pt x="899" y="204"/>
                    </a:lnTo>
                    <a:lnTo>
                      <a:pt x="899" y="204"/>
                    </a:lnTo>
                    <a:lnTo>
                      <a:pt x="899" y="204"/>
                    </a:lnTo>
                    <a:lnTo>
                      <a:pt x="899" y="204"/>
                    </a:lnTo>
                    <a:lnTo>
                      <a:pt x="899" y="204"/>
                    </a:lnTo>
                    <a:lnTo>
                      <a:pt x="899" y="204"/>
                    </a:lnTo>
                    <a:lnTo>
                      <a:pt x="899" y="204"/>
                    </a:lnTo>
                    <a:lnTo>
                      <a:pt x="899" y="204"/>
                    </a:lnTo>
                    <a:lnTo>
                      <a:pt x="899" y="204"/>
                    </a:lnTo>
                    <a:lnTo>
                      <a:pt x="908" y="199"/>
                    </a:lnTo>
                    <a:lnTo>
                      <a:pt x="908" y="199"/>
                    </a:lnTo>
                    <a:lnTo>
                      <a:pt x="908" y="194"/>
                    </a:lnTo>
                    <a:lnTo>
                      <a:pt x="912" y="194"/>
                    </a:lnTo>
                    <a:lnTo>
                      <a:pt x="912" y="194"/>
                    </a:lnTo>
                    <a:lnTo>
                      <a:pt x="912" y="194"/>
                    </a:lnTo>
                    <a:lnTo>
                      <a:pt x="908" y="194"/>
                    </a:lnTo>
                    <a:lnTo>
                      <a:pt x="908" y="194"/>
                    </a:lnTo>
                    <a:lnTo>
                      <a:pt x="908" y="194"/>
                    </a:lnTo>
                    <a:lnTo>
                      <a:pt x="908" y="194"/>
                    </a:lnTo>
                    <a:lnTo>
                      <a:pt x="908" y="190"/>
                    </a:lnTo>
                    <a:lnTo>
                      <a:pt x="908" y="190"/>
                    </a:lnTo>
                    <a:lnTo>
                      <a:pt x="908" y="190"/>
                    </a:lnTo>
                    <a:lnTo>
                      <a:pt x="908" y="190"/>
                    </a:lnTo>
                    <a:lnTo>
                      <a:pt x="903" y="185"/>
                    </a:lnTo>
                    <a:lnTo>
                      <a:pt x="908" y="185"/>
                    </a:lnTo>
                    <a:lnTo>
                      <a:pt x="908" y="185"/>
                    </a:lnTo>
                    <a:lnTo>
                      <a:pt x="912" y="185"/>
                    </a:lnTo>
                    <a:lnTo>
                      <a:pt x="917" y="185"/>
                    </a:lnTo>
                    <a:lnTo>
                      <a:pt x="917" y="185"/>
                    </a:lnTo>
                    <a:lnTo>
                      <a:pt x="917" y="185"/>
                    </a:lnTo>
                    <a:lnTo>
                      <a:pt x="921" y="185"/>
                    </a:lnTo>
                    <a:lnTo>
                      <a:pt x="921" y="185"/>
                    </a:lnTo>
                    <a:lnTo>
                      <a:pt x="921" y="185"/>
                    </a:lnTo>
                    <a:lnTo>
                      <a:pt x="921" y="185"/>
                    </a:lnTo>
                    <a:lnTo>
                      <a:pt x="921" y="185"/>
                    </a:lnTo>
                    <a:lnTo>
                      <a:pt x="921" y="185"/>
                    </a:lnTo>
                    <a:lnTo>
                      <a:pt x="921" y="185"/>
                    </a:lnTo>
                    <a:lnTo>
                      <a:pt x="921" y="181"/>
                    </a:lnTo>
                    <a:lnTo>
                      <a:pt x="921" y="181"/>
                    </a:lnTo>
                    <a:lnTo>
                      <a:pt x="926" y="181"/>
                    </a:lnTo>
                    <a:lnTo>
                      <a:pt x="926" y="181"/>
                    </a:lnTo>
                    <a:lnTo>
                      <a:pt x="926" y="181"/>
                    </a:lnTo>
                    <a:lnTo>
                      <a:pt x="921" y="181"/>
                    </a:lnTo>
                    <a:lnTo>
                      <a:pt x="921" y="181"/>
                    </a:lnTo>
                    <a:lnTo>
                      <a:pt x="921" y="181"/>
                    </a:lnTo>
                    <a:lnTo>
                      <a:pt x="921" y="181"/>
                    </a:lnTo>
                    <a:lnTo>
                      <a:pt x="921" y="181"/>
                    </a:lnTo>
                    <a:lnTo>
                      <a:pt x="921" y="176"/>
                    </a:lnTo>
                    <a:lnTo>
                      <a:pt x="921" y="176"/>
                    </a:lnTo>
                    <a:lnTo>
                      <a:pt x="921" y="176"/>
                    </a:lnTo>
                    <a:lnTo>
                      <a:pt x="921" y="176"/>
                    </a:lnTo>
                    <a:lnTo>
                      <a:pt x="921" y="176"/>
                    </a:lnTo>
                    <a:lnTo>
                      <a:pt x="921" y="172"/>
                    </a:lnTo>
                    <a:lnTo>
                      <a:pt x="926" y="172"/>
                    </a:lnTo>
                    <a:lnTo>
                      <a:pt x="926" y="172"/>
                    </a:lnTo>
                    <a:lnTo>
                      <a:pt x="926" y="172"/>
                    </a:lnTo>
                    <a:lnTo>
                      <a:pt x="930" y="172"/>
                    </a:lnTo>
                    <a:lnTo>
                      <a:pt x="930" y="172"/>
                    </a:lnTo>
                    <a:lnTo>
                      <a:pt x="930" y="172"/>
                    </a:lnTo>
                    <a:lnTo>
                      <a:pt x="939" y="172"/>
                    </a:lnTo>
                    <a:lnTo>
                      <a:pt x="939" y="172"/>
                    </a:lnTo>
                    <a:lnTo>
                      <a:pt x="935" y="172"/>
                    </a:lnTo>
                    <a:lnTo>
                      <a:pt x="930" y="167"/>
                    </a:lnTo>
                    <a:lnTo>
                      <a:pt x="930" y="167"/>
                    </a:lnTo>
                    <a:lnTo>
                      <a:pt x="939" y="163"/>
                    </a:lnTo>
                    <a:lnTo>
                      <a:pt x="944" y="163"/>
                    </a:lnTo>
                    <a:lnTo>
                      <a:pt x="948" y="163"/>
                    </a:lnTo>
                    <a:lnTo>
                      <a:pt x="953" y="163"/>
                    </a:lnTo>
                    <a:lnTo>
                      <a:pt x="953" y="163"/>
                    </a:lnTo>
                    <a:lnTo>
                      <a:pt x="953" y="163"/>
                    </a:lnTo>
                    <a:lnTo>
                      <a:pt x="953" y="163"/>
                    </a:lnTo>
                    <a:lnTo>
                      <a:pt x="953" y="163"/>
                    </a:lnTo>
                    <a:lnTo>
                      <a:pt x="957" y="163"/>
                    </a:lnTo>
                    <a:lnTo>
                      <a:pt x="962" y="158"/>
                    </a:lnTo>
                    <a:lnTo>
                      <a:pt x="966" y="158"/>
                    </a:lnTo>
                    <a:lnTo>
                      <a:pt x="966" y="158"/>
                    </a:lnTo>
                    <a:lnTo>
                      <a:pt x="971" y="158"/>
                    </a:lnTo>
                    <a:lnTo>
                      <a:pt x="971" y="158"/>
                    </a:lnTo>
                    <a:lnTo>
                      <a:pt x="975" y="158"/>
                    </a:lnTo>
                    <a:lnTo>
                      <a:pt x="980" y="158"/>
                    </a:lnTo>
                    <a:lnTo>
                      <a:pt x="980" y="158"/>
                    </a:lnTo>
                    <a:lnTo>
                      <a:pt x="980" y="163"/>
                    </a:lnTo>
                    <a:lnTo>
                      <a:pt x="980" y="163"/>
                    </a:lnTo>
                    <a:lnTo>
                      <a:pt x="980" y="163"/>
                    </a:lnTo>
                    <a:lnTo>
                      <a:pt x="980" y="167"/>
                    </a:lnTo>
                    <a:lnTo>
                      <a:pt x="980" y="167"/>
                    </a:lnTo>
                    <a:lnTo>
                      <a:pt x="980" y="167"/>
                    </a:lnTo>
                    <a:lnTo>
                      <a:pt x="980" y="172"/>
                    </a:lnTo>
                    <a:lnTo>
                      <a:pt x="980" y="172"/>
                    </a:lnTo>
                    <a:lnTo>
                      <a:pt x="980" y="172"/>
                    </a:lnTo>
                    <a:lnTo>
                      <a:pt x="980" y="172"/>
                    </a:lnTo>
                    <a:lnTo>
                      <a:pt x="975" y="176"/>
                    </a:lnTo>
                    <a:lnTo>
                      <a:pt x="975" y="176"/>
                    </a:lnTo>
                    <a:lnTo>
                      <a:pt x="975" y="176"/>
                    </a:lnTo>
                    <a:lnTo>
                      <a:pt x="975" y="176"/>
                    </a:lnTo>
                    <a:lnTo>
                      <a:pt x="975" y="176"/>
                    </a:lnTo>
                    <a:lnTo>
                      <a:pt x="975" y="176"/>
                    </a:lnTo>
                    <a:lnTo>
                      <a:pt x="975" y="181"/>
                    </a:lnTo>
                    <a:lnTo>
                      <a:pt x="971" y="181"/>
                    </a:lnTo>
                    <a:lnTo>
                      <a:pt x="962" y="181"/>
                    </a:lnTo>
                    <a:lnTo>
                      <a:pt x="957" y="185"/>
                    </a:lnTo>
                    <a:lnTo>
                      <a:pt x="957" y="185"/>
                    </a:lnTo>
                    <a:lnTo>
                      <a:pt x="966" y="181"/>
                    </a:lnTo>
                    <a:lnTo>
                      <a:pt x="966" y="181"/>
                    </a:lnTo>
                    <a:lnTo>
                      <a:pt x="966" y="185"/>
                    </a:lnTo>
                    <a:lnTo>
                      <a:pt x="966" y="185"/>
                    </a:lnTo>
                    <a:lnTo>
                      <a:pt x="962" y="185"/>
                    </a:lnTo>
                    <a:lnTo>
                      <a:pt x="962" y="185"/>
                    </a:lnTo>
                    <a:lnTo>
                      <a:pt x="962" y="185"/>
                    </a:lnTo>
                    <a:lnTo>
                      <a:pt x="962" y="190"/>
                    </a:lnTo>
                    <a:lnTo>
                      <a:pt x="962" y="190"/>
                    </a:lnTo>
                    <a:lnTo>
                      <a:pt x="957" y="190"/>
                    </a:lnTo>
                    <a:lnTo>
                      <a:pt x="957" y="190"/>
                    </a:lnTo>
                    <a:lnTo>
                      <a:pt x="957" y="190"/>
                    </a:lnTo>
                    <a:lnTo>
                      <a:pt x="957" y="190"/>
                    </a:lnTo>
                    <a:lnTo>
                      <a:pt x="957" y="190"/>
                    </a:lnTo>
                    <a:lnTo>
                      <a:pt x="957" y="190"/>
                    </a:lnTo>
                    <a:lnTo>
                      <a:pt x="957" y="190"/>
                    </a:lnTo>
                    <a:lnTo>
                      <a:pt x="957" y="190"/>
                    </a:lnTo>
                    <a:lnTo>
                      <a:pt x="957" y="194"/>
                    </a:lnTo>
                    <a:lnTo>
                      <a:pt x="957" y="194"/>
                    </a:lnTo>
                    <a:lnTo>
                      <a:pt x="957" y="190"/>
                    </a:lnTo>
                    <a:lnTo>
                      <a:pt x="957" y="190"/>
                    </a:lnTo>
                    <a:lnTo>
                      <a:pt x="966" y="190"/>
                    </a:lnTo>
                    <a:lnTo>
                      <a:pt x="966" y="185"/>
                    </a:lnTo>
                    <a:lnTo>
                      <a:pt x="971" y="185"/>
                    </a:lnTo>
                    <a:lnTo>
                      <a:pt x="971" y="190"/>
                    </a:lnTo>
                    <a:lnTo>
                      <a:pt x="971" y="190"/>
                    </a:lnTo>
                    <a:lnTo>
                      <a:pt x="971" y="185"/>
                    </a:lnTo>
                    <a:lnTo>
                      <a:pt x="971" y="185"/>
                    </a:lnTo>
                    <a:lnTo>
                      <a:pt x="971" y="185"/>
                    </a:lnTo>
                    <a:lnTo>
                      <a:pt x="975" y="185"/>
                    </a:lnTo>
                    <a:lnTo>
                      <a:pt x="975" y="185"/>
                    </a:lnTo>
                    <a:lnTo>
                      <a:pt x="975" y="185"/>
                    </a:lnTo>
                    <a:lnTo>
                      <a:pt x="975" y="185"/>
                    </a:lnTo>
                    <a:lnTo>
                      <a:pt x="975" y="185"/>
                    </a:lnTo>
                    <a:lnTo>
                      <a:pt x="975" y="185"/>
                    </a:lnTo>
                    <a:lnTo>
                      <a:pt x="975" y="185"/>
                    </a:lnTo>
                    <a:lnTo>
                      <a:pt x="980" y="185"/>
                    </a:lnTo>
                    <a:lnTo>
                      <a:pt x="980" y="185"/>
                    </a:lnTo>
                    <a:lnTo>
                      <a:pt x="980" y="185"/>
                    </a:lnTo>
                    <a:lnTo>
                      <a:pt x="980" y="185"/>
                    </a:lnTo>
                    <a:lnTo>
                      <a:pt x="980" y="190"/>
                    </a:lnTo>
                    <a:lnTo>
                      <a:pt x="980" y="190"/>
                    </a:lnTo>
                    <a:lnTo>
                      <a:pt x="980" y="190"/>
                    </a:lnTo>
                    <a:lnTo>
                      <a:pt x="980" y="194"/>
                    </a:lnTo>
                    <a:lnTo>
                      <a:pt x="980" y="194"/>
                    </a:lnTo>
                    <a:lnTo>
                      <a:pt x="980" y="194"/>
                    </a:lnTo>
                    <a:lnTo>
                      <a:pt x="980" y="194"/>
                    </a:lnTo>
                    <a:lnTo>
                      <a:pt x="980" y="194"/>
                    </a:lnTo>
                    <a:lnTo>
                      <a:pt x="980" y="194"/>
                    </a:lnTo>
                    <a:lnTo>
                      <a:pt x="980" y="190"/>
                    </a:lnTo>
                    <a:lnTo>
                      <a:pt x="980" y="190"/>
                    </a:lnTo>
                    <a:lnTo>
                      <a:pt x="984" y="185"/>
                    </a:lnTo>
                    <a:lnTo>
                      <a:pt x="984" y="185"/>
                    </a:lnTo>
                    <a:lnTo>
                      <a:pt x="989" y="185"/>
                    </a:lnTo>
                    <a:lnTo>
                      <a:pt x="989" y="185"/>
                    </a:lnTo>
                    <a:lnTo>
                      <a:pt x="989" y="185"/>
                    </a:lnTo>
                    <a:lnTo>
                      <a:pt x="989" y="185"/>
                    </a:lnTo>
                    <a:lnTo>
                      <a:pt x="993" y="190"/>
                    </a:lnTo>
                    <a:lnTo>
                      <a:pt x="993" y="190"/>
                    </a:lnTo>
                    <a:lnTo>
                      <a:pt x="998" y="190"/>
                    </a:lnTo>
                    <a:lnTo>
                      <a:pt x="993" y="190"/>
                    </a:lnTo>
                    <a:lnTo>
                      <a:pt x="993" y="185"/>
                    </a:lnTo>
                    <a:lnTo>
                      <a:pt x="989" y="185"/>
                    </a:lnTo>
                    <a:lnTo>
                      <a:pt x="989" y="185"/>
                    </a:lnTo>
                    <a:lnTo>
                      <a:pt x="989" y="185"/>
                    </a:lnTo>
                    <a:lnTo>
                      <a:pt x="993" y="185"/>
                    </a:lnTo>
                    <a:lnTo>
                      <a:pt x="993" y="181"/>
                    </a:lnTo>
                    <a:lnTo>
                      <a:pt x="993" y="181"/>
                    </a:lnTo>
                    <a:lnTo>
                      <a:pt x="993" y="181"/>
                    </a:lnTo>
                    <a:lnTo>
                      <a:pt x="998" y="181"/>
                    </a:lnTo>
                    <a:lnTo>
                      <a:pt x="1002" y="181"/>
                    </a:lnTo>
                    <a:lnTo>
                      <a:pt x="1002" y="181"/>
                    </a:lnTo>
                    <a:lnTo>
                      <a:pt x="1007" y="181"/>
                    </a:lnTo>
                    <a:lnTo>
                      <a:pt x="1012" y="181"/>
                    </a:lnTo>
                    <a:lnTo>
                      <a:pt x="1012" y="181"/>
                    </a:lnTo>
                    <a:lnTo>
                      <a:pt x="1016" y="181"/>
                    </a:lnTo>
                    <a:lnTo>
                      <a:pt x="1016" y="185"/>
                    </a:lnTo>
                    <a:lnTo>
                      <a:pt x="1016" y="185"/>
                    </a:lnTo>
                    <a:lnTo>
                      <a:pt x="1016" y="185"/>
                    </a:lnTo>
                    <a:lnTo>
                      <a:pt x="1021" y="185"/>
                    </a:lnTo>
                    <a:lnTo>
                      <a:pt x="1021" y="185"/>
                    </a:lnTo>
                    <a:lnTo>
                      <a:pt x="1025" y="185"/>
                    </a:lnTo>
                    <a:lnTo>
                      <a:pt x="1025" y="185"/>
                    </a:lnTo>
                    <a:lnTo>
                      <a:pt x="1025" y="190"/>
                    </a:lnTo>
                    <a:lnTo>
                      <a:pt x="1025" y="190"/>
                    </a:lnTo>
                    <a:lnTo>
                      <a:pt x="1025" y="190"/>
                    </a:lnTo>
                    <a:lnTo>
                      <a:pt x="1021" y="190"/>
                    </a:lnTo>
                    <a:lnTo>
                      <a:pt x="1016" y="194"/>
                    </a:lnTo>
                    <a:lnTo>
                      <a:pt x="1012" y="194"/>
                    </a:lnTo>
                    <a:lnTo>
                      <a:pt x="1012" y="194"/>
                    </a:lnTo>
                    <a:lnTo>
                      <a:pt x="1007" y="199"/>
                    </a:lnTo>
                    <a:lnTo>
                      <a:pt x="1007" y="199"/>
                    </a:lnTo>
                    <a:lnTo>
                      <a:pt x="1002" y="199"/>
                    </a:lnTo>
                    <a:lnTo>
                      <a:pt x="1002" y="199"/>
                    </a:lnTo>
                    <a:lnTo>
                      <a:pt x="1007" y="199"/>
                    </a:lnTo>
                    <a:lnTo>
                      <a:pt x="1007" y="199"/>
                    </a:lnTo>
                    <a:lnTo>
                      <a:pt x="1012" y="194"/>
                    </a:lnTo>
                    <a:lnTo>
                      <a:pt x="1016" y="194"/>
                    </a:lnTo>
                    <a:lnTo>
                      <a:pt x="1021" y="194"/>
                    </a:lnTo>
                    <a:lnTo>
                      <a:pt x="1021" y="194"/>
                    </a:lnTo>
                    <a:lnTo>
                      <a:pt x="1025" y="194"/>
                    </a:lnTo>
                    <a:lnTo>
                      <a:pt x="1025" y="194"/>
                    </a:lnTo>
                    <a:lnTo>
                      <a:pt x="1025" y="194"/>
                    </a:lnTo>
                    <a:lnTo>
                      <a:pt x="1025" y="194"/>
                    </a:lnTo>
                    <a:lnTo>
                      <a:pt x="1025" y="194"/>
                    </a:lnTo>
                    <a:lnTo>
                      <a:pt x="1025" y="194"/>
                    </a:lnTo>
                    <a:lnTo>
                      <a:pt x="1025" y="194"/>
                    </a:lnTo>
                    <a:lnTo>
                      <a:pt x="1025" y="199"/>
                    </a:lnTo>
                    <a:lnTo>
                      <a:pt x="1025" y="199"/>
                    </a:lnTo>
                    <a:lnTo>
                      <a:pt x="1021" y="199"/>
                    </a:lnTo>
                    <a:lnTo>
                      <a:pt x="1016" y="199"/>
                    </a:lnTo>
                    <a:lnTo>
                      <a:pt x="1016" y="199"/>
                    </a:lnTo>
                    <a:lnTo>
                      <a:pt x="1012" y="199"/>
                    </a:lnTo>
                    <a:lnTo>
                      <a:pt x="1012" y="199"/>
                    </a:lnTo>
                    <a:lnTo>
                      <a:pt x="1012" y="199"/>
                    </a:lnTo>
                    <a:lnTo>
                      <a:pt x="1016" y="199"/>
                    </a:lnTo>
                    <a:lnTo>
                      <a:pt x="1016" y="204"/>
                    </a:lnTo>
                    <a:lnTo>
                      <a:pt x="1012" y="204"/>
                    </a:lnTo>
                    <a:lnTo>
                      <a:pt x="1012" y="204"/>
                    </a:lnTo>
                    <a:lnTo>
                      <a:pt x="1012" y="204"/>
                    </a:lnTo>
                    <a:lnTo>
                      <a:pt x="1012" y="204"/>
                    </a:lnTo>
                    <a:lnTo>
                      <a:pt x="1007" y="208"/>
                    </a:lnTo>
                    <a:lnTo>
                      <a:pt x="1007" y="208"/>
                    </a:lnTo>
                    <a:lnTo>
                      <a:pt x="1007" y="208"/>
                    </a:lnTo>
                    <a:lnTo>
                      <a:pt x="1012" y="208"/>
                    </a:lnTo>
                    <a:lnTo>
                      <a:pt x="1012" y="204"/>
                    </a:lnTo>
                    <a:lnTo>
                      <a:pt x="1016" y="204"/>
                    </a:lnTo>
                    <a:lnTo>
                      <a:pt x="1021" y="204"/>
                    </a:lnTo>
                    <a:lnTo>
                      <a:pt x="1021" y="199"/>
                    </a:lnTo>
                    <a:lnTo>
                      <a:pt x="1021" y="199"/>
                    </a:lnTo>
                    <a:lnTo>
                      <a:pt x="1025" y="199"/>
                    </a:lnTo>
                    <a:lnTo>
                      <a:pt x="1025" y="199"/>
                    </a:lnTo>
                    <a:lnTo>
                      <a:pt x="1030" y="199"/>
                    </a:lnTo>
                    <a:lnTo>
                      <a:pt x="1030" y="199"/>
                    </a:lnTo>
                    <a:lnTo>
                      <a:pt x="1030" y="199"/>
                    </a:lnTo>
                    <a:lnTo>
                      <a:pt x="1025" y="204"/>
                    </a:lnTo>
                    <a:lnTo>
                      <a:pt x="1016" y="208"/>
                    </a:lnTo>
                    <a:lnTo>
                      <a:pt x="1021" y="204"/>
                    </a:lnTo>
                    <a:lnTo>
                      <a:pt x="1021" y="204"/>
                    </a:lnTo>
                    <a:lnTo>
                      <a:pt x="1025" y="204"/>
                    </a:lnTo>
                    <a:lnTo>
                      <a:pt x="1025" y="204"/>
                    </a:lnTo>
                    <a:lnTo>
                      <a:pt x="1025" y="204"/>
                    </a:lnTo>
                    <a:lnTo>
                      <a:pt x="1025" y="204"/>
                    </a:lnTo>
                    <a:lnTo>
                      <a:pt x="1025" y="208"/>
                    </a:lnTo>
                    <a:lnTo>
                      <a:pt x="1025" y="208"/>
                    </a:lnTo>
                    <a:lnTo>
                      <a:pt x="1025" y="208"/>
                    </a:lnTo>
                    <a:lnTo>
                      <a:pt x="1025" y="208"/>
                    </a:lnTo>
                    <a:lnTo>
                      <a:pt x="1030" y="204"/>
                    </a:lnTo>
                    <a:lnTo>
                      <a:pt x="1030" y="204"/>
                    </a:lnTo>
                    <a:lnTo>
                      <a:pt x="1030" y="204"/>
                    </a:lnTo>
                    <a:lnTo>
                      <a:pt x="1034" y="204"/>
                    </a:lnTo>
                    <a:lnTo>
                      <a:pt x="1039" y="204"/>
                    </a:lnTo>
                    <a:lnTo>
                      <a:pt x="1039" y="204"/>
                    </a:lnTo>
                    <a:lnTo>
                      <a:pt x="1039" y="204"/>
                    </a:lnTo>
                    <a:lnTo>
                      <a:pt x="1039" y="204"/>
                    </a:lnTo>
                    <a:lnTo>
                      <a:pt x="1043" y="204"/>
                    </a:lnTo>
                    <a:lnTo>
                      <a:pt x="1043" y="204"/>
                    </a:lnTo>
                    <a:lnTo>
                      <a:pt x="1048" y="204"/>
                    </a:lnTo>
                    <a:lnTo>
                      <a:pt x="1048" y="208"/>
                    </a:lnTo>
                    <a:lnTo>
                      <a:pt x="1048" y="208"/>
                    </a:lnTo>
                    <a:lnTo>
                      <a:pt x="1048" y="208"/>
                    </a:lnTo>
                    <a:lnTo>
                      <a:pt x="1048" y="208"/>
                    </a:lnTo>
                    <a:lnTo>
                      <a:pt x="1048" y="208"/>
                    </a:lnTo>
                    <a:lnTo>
                      <a:pt x="1048" y="213"/>
                    </a:lnTo>
                    <a:lnTo>
                      <a:pt x="1043" y="213"/>
                    </a:lnTo>
                    <a:lnTo>
                      <a:pt x="1043" y="213"/>
                    </a:lnTo>
                    <a:lnTo>
                      <a:pt x="1039" y="213"/>
                    </a:lnTo>
                    <a:lnTo>
                      <a:pt x="1039" y="213"/>
                    </a:lnTo>
                    <a:lnTo>
                      <a:pt x="1039" y="213"/>
                    </a:lnTo>
                    <a:lnTo>
                      <a:pt x="1034" y="213"/>
                    </a:lnTo>
                    <a:lnTo>
                      <a:pt x="1030" y="217"/>
                    </a:lnTo>
                    <a:lnTo>
                      <a:pt x="1030" y="217"/>
                    </a:lnTo>
                    <a:lnTo>
                      <a:pt x="1025" y="217"/>
                    </a:lnTo>
                    <a:lnTo>
                      <a:pt x="1025" y="217"/>
                    </a:lnTo>
                    <a:lnTo>
                      <a:pt x="1030" y="217"/>
                    </a:lnTo>
                    <a:lnTo>
                      <a:pt x="1030" y="217"/>
                    </a:lnTo>
                    <a:lnTo>
                      <a:pt x="1034" y="217"/>
                    </a:lnTo>
                    <a:lnTo>
                      <a:pt x="1034" y="213"/>
                    </a:lnTo>
                    <a:lnTo>
                      <a:pt x="1039" y="213"/>
                    </a:lnTo>
                    <a:lnTo>
                      <a:pt x="1039" y="217"/>
                    </a:lnTo>
                    <a:lnTo>
                      <a:pt x="1043" y="217"/>
                    </a:lnTo>
                    <a:lnTo>
                      <a:pt x="1048" y="213"/>
                    </a:lnTo>
                    <a:lnTo>
                      <a:pt x="1048" y="213"/>
                    </a:lnTo>
                    <a:lnTo>
                      <a:pt x="1048" y="213"/>
                    </a:lnTo>
                    <a:lnTo>
                      <a:pt x="1048" y="213"/>
                    </a:lnTo>
                    <a:lnTo>
                      <a:pt x="1048" y="213"/>
                    </a:lnTo>
                    <a:lnTo>
                      <a:pt x="1048" y="217"/>
                    </a:lnTo>
                    <a:lnTo>
                      <a:pt x="1048" y="217"/>
                    </a:lnTo>
                    <a:lnTo>
                      <a:pt x="1048" y="217"/>
                    </a:lnTo>
                    <a:lnTo>
                      <a:pt x="1043" y="222"/>
                    </a:lnTo>
                    <a:lnTo>
                      <a:pt x="1039" y="222"/>
                    </a:lnTo>
                    <a:lnTo>
                      <a:pt x="1039" y="222"/>
                    </a:lnTo>
                    <a:lnTo>
                      <a:pt x="1034" y="222"/>
                    </a:lnTo>
                    <a:lnTo>
                      <a:pt x="1034" y="222"/>
                    </a:lnTo>
                    <a:lnTo>
                      <a:pt x="1030" y="222"/>
                    </a:lnTo>
                    <a:lnTo>
                      <a:pt x="1030" y="226"/>
                    </a:lnTo>
                    <a:lnTo>
                      <a:pt x="1030" y="226"/>
                    </a:lnTo>
                    <a:lnTo>
                      <a:pt x="1025" y="226"/>
                    </a:lnTo>
                    <a:lnTo>
                      <a:pt x="1030" y="226"/>
                    </a:lnTo>
                    <a:lnTo>
                      <a:pt x="1030" y="226"/>
                    </a:lnTo>
                    <a:lnTo>
                      <a:pt x="1030" y="226"/>
                    </a:lnTo>
                    <a:lnTo>
                      <a:pt x="1030" y="226"/>
                    </a:lnTo>
                    <a:lnTo>
                      <a:pt x="1034" y="222"/>
                    </a:lnTo>
                    <a:lnTo>
                      <a:pt x="1034" y="222"/>
                    </a:lnTo>
                    <a:lnTo>
                      <a:pt x="1034" y="222"/>
                    </a:lnTo>
                    <a:lnTo>
                      <a:pt x="1034" y="222"/>
                    </a:lnTo>
                    <a:lnTo>
                      <a:pt x="1034" y="226"/>
                    </a:lnTo>
                    <a:lnTo>
                      <a:pt x="1034" y="226"/>
                    </a:lnTo>
                    <a:lnTo>
                      <a:pt x="1025" y="231"/>
                    </a:lnTo>
                    <a:lnTo>
                      <a:pt x="1025" y="231"/>
                    </a:lnTo>
                    <a:lnTo>
                      <a:pt x="1030" y="231"/>
                    </a:lnTo>
                    <a:lnTo>
                      <a:pt x="1039" y="226"/>
                    </a:lnTo>
                    <a:lnTo>
                      <a:pt x="1039" y="222"/>
                    </a:lnTo>
                    <a:lnTo>
                      <a:pt x="1043" y="222"/>
                    </a:lnTo>
                    <a:lnTo>
                      <a:pt x="1048" y="222"/>
                    </a:lnTo>
                    <a:lnTo>
                      <a:pt x="1048" y="222"/>
                    </a:lnTo>
                    <a:lnTo>
                      <a:pt x="1052" y="217"/>
                    </a:lnTo>
                    <a:lnTo>
                      <a:pt x="1052" y="217"/>
                    </a:lnTo>
                    <a:lnTo>
                      <a:pt x="1057" y="217"/>
                    </a:lnTo>
                    <a:lnTo>
                      <a:pt x="1057" y="222"/>
                    </a:lnTo>
                    <a:lnTo>
                      <a:pt x="1057" y="222"/>
                    </a:lnTo>
                    <a:lnTo>
                      <a:pt x="1061" y="222"/>
                    </a:lnTo>
                    <a:lnTo>
                      <a:pt x="1061" y="222"/>
                    </a:lnTo>
                    <a:lnTo>
                      <a:pt x="1061" y="222"/>
                    </a:lnTo>
                    <a:lnTo>
                      <a:pt x="1061" y="222"/>
                    </a:lnTo>
                    <a:lnTo>
                      <a:pt x="1061" y="222"/>
                    </a:lnTo>
                    <a:lnTo>
                      <a:pt x="1066" y="226"/>
                    </a:lnTo>
                    <a:lnTo>
                      <a:pt x="1066" y="226"/>
                    </a:lnTo>
                    <a:lnTo>
                      <a:pt x="1066" y="226"/>
                    </a:lnTo>
                    <a:lnTo>
                      <a:pt x="1066" y="226"/>
                    </a:lnTo>
                    <a:lnTo>
                      <a:pt x="1066" y="226"/>
                    </a:lnTo>
                    <a:lnTo>
                      <a:pt x="1066" y="226"/>
                    </a:lnTo>
                    <a:lnTo>
                      <a:pt x="1061" y="226"/>
                    </a:lnTo>
                    <a:lnTo>
                      <a:pt x="1061" y="226"/>
                    </a:lnTo>
                    <a:lnTo>
                      <a:pt x="1061" y="226"/>
                    </a:lnTo>
                    <a:lnTo>
                      <a:pt x="1057" y="231"/>
                    </a:lnTo>
                    <a:lnTo>
                      <a:pt x="1057" y="231"/>
                    </a:lnTo>
                    <a:lnTo>
                      <a:pt x="1057" y="231"/>
                    </a:lnTo>
                    <a:lnTo>
                      <a:pt x="1052" y="231"/>
                    </a:lnTo>
                    <a:lnTo>
                      <a:pt x="1052" y="231"/>
                    </a:lnTo>
                    <a:lnTo>
                      <a:pt x="1048" y="231"/>
                    </a:lnTo>
                    <a:lnTo>
                      <a:pt x="1043" y="231"/>
                    </a:lnTo>
                    <a:lnTo>
                      <a:pt x="1039" y="235"/>
                    </a:lnTo>
                    <a:lnTo>
                      <a:pt x="1043" y="235"/>
                    </a:lnTo>
                    <a:lnTo>
                      <a:pt x="1043" y="235"/>
                    </a:lnTo>
                    <a:lnTo>
                      <a:pt x="1048" y="231"/>
                    </a:lnTo>
                    <a:lnTo>
                      <a:pt x="1048" y="231"/>
                    </a:lnTo>
                    <a:lnTo>
                      <a:pt x="1052" y="231"/>
                    </a:lnTo>
                    <a:lnTo>
                      <a:pt x="1057" y="231"/>
                    </a:lnTo>
                    <a:lnTo>
                      <a:pt x="1057" y="231"/>
                    </a:lnTo>
                    <a:lnTo>
                      <a:pt x="1057" y="231"/>
                    </a:lnTo>
                    <a:lnTo>
                      <a:pt x="1057" y="231"/>
                    </a:lnTo>
                    <a:lnTo>
                      <a:pt x="1057" y="231"/>
                    </a:lnTo>
                    <a:lnTo>
                      <a:pt x="1057" y="235"/>
                    </a:lnTo>
                    <a:lnTo>
                      <a:pt x="1057" y="235"/>
                    </a:lnTo>
                    <a:lnTo>
                      <a:pt x="1052" y="235"/>
                    </a:lnTo>
                    <a:lnTo>
                      <a:pt x="1052" y="235"/>
                    </a:lnTo>
                    <a:lnTo>
                      <a:pt x="1052" y="235"/>
                    </a:lnTo>
                    <a:lnTo>
                      <a:pt x="1057" y="235"/>
                    </a:lnTo>
                    <a:lnTo>
                      <a:pt x="1057" y="235"/>
                    </a:lnTo>
                    <a:lnTo>
                      <a:pt x="1057" y="235"/>
                    </a:lnTo>
                    <a:lnTo>
                      <a:pt x="1061" y="235"/>
                    </a:lnTo>
                    <a:lnTo>
                      <a:pt x="1061" y="235"/>
                    </a:lnTo>
                    <a:lnTo>
                      <a:pt x="1061" y="235"/>
                    </a:lnTo>
                    <a:lnTo>
                      <a:pt x="1061" y="235"/>
                    </a:lnTo>
                    <a:lnTo>
                      <a:pt x="1061" y="231"/>
                    </a:lnTo>
                    <a:lnTo>
                      <a:pt x="1061" y="231"/>
                    </a:lnTo>
                    <a:lnTo>
                      <a:pt x="1061" y="231"/>
                    </a:lnTo>
                    <a:lnTo>
                      <a:pt x="1066" y="231"/>
                    </a:lnTo>
                    <a:lnTo>
                      <a:pt x="1066" y="231"/>
                    </a:lnTo>
                    <a:lnTo>
                      <a:pt x="1066" y="231"/>
                    </a:lnTo>
                    <a:lnTo>
                      <a:pt x="1070" y="231"/>
                    </a:lnTo>
                    <a:lnTo>
                      <a:pt x="1070" y="231"/>
                    </a:lnTo>
                    <a:lnTo>
                      <a:pt x="1070" y="235"/>
                    </a:lnTo>
                    <a:lnTo>
                      <a:pt x="1070" y="235"/>
                    </a:lnTo>
                    <a:lnTo>
                      <a:pt x="1070" y="240"/>
                    </a:lnTo>
                    <a:lnTo>
                      <a:pt x="1070" y="240"/>
                    </a:lnTo>
                    <a:lnTo>
                      <a:pt x="1066" y="240"/>
                    </a:lnTo>
                    <a:lnTo>
                      <a:pt x="1066" y="240"/>
                    </a:lnTo>
                    <a:lnTo>
                      <a:pt x="1066" y="240"/>
                    </a:lnTo>
                    <a:lnTo>
                      <a:pt x="1066" y="240"/>
                    </a:lnTo>
                    <a:lnTo>
                      <a:pt x="1061" y="240"/>
                    </a:lnTo>
                    <a:lnTo>
                      <a:pt x="1061" y="240"/>
                    </a:lnTo>
                    <a:lnTo>
                      <a:pt x="1057" y="240"/>
                    </a:lnTo>
                    <a:lnTo>
                      <a:pt x="1057" y="240"/>
                    </a:lnTo>
                    <a:lnTo>
                      <a:pt x="1057" y="240"/>
                    </a:lnTo>
                    <a:lnTo>
                      <a:pt x="1057" y="240"/>
                    </a:lnTo>
                    <a:lnTo>
                      <a:pt x="1052" y="240"/>
                    </a:lnTo>
                    <a:lnTo>
                      <a:pt x="1052" y="240"/>
                    </a:lnTo>
                    <a:lnTo>
                      <a:pt x="1048" y="240"/>
                    </a:lnTo>
                    <a:lnTo>
                      <a:pt x="1043" y="244"/>
                    </a:lnTo>
                    <a:lnTo>
                      <a:pt x="1043" y="244"/>
                    </a:lnTo>
                    <a:lnTo>
                      <a:pt x="1043" y="244"/>
                    </a:lnTo>
                    <a:lnTo>
                      <a:pt x="1043" y="244"/>
                    </a:lnTo>
                    <a:lnTo>
                      <a:pt x="1048" y="244"/>
                    </a:lnTo>
                    <a:lnTo>
                      <a:pt x="1052" y="244"/>
                    </a:lnTo>
                    <a:lnTo>
                      <a:pt x="1052" y="244"/>
                    </a:lnTo>
                    <a:lnTo>
                      <a:pt x="1057" y="244"/>
                    </a:lnTo>
                    <a:lnTo>
                      <a:pt x="1057" y="244"/>
                    </a:lnTo>
                    <a:lnTo>
                      <a:pt x="1057" y="244"/>
                    </a:lnTo>
                    <a:lnTo>
                      <a:pt x="1061" y="244"/>
                    </a:lnTo>
                    <a:lnTo>
                      <a:pt x="1061" y="244"/>
                    </a:lnTo>
                    <a:lnTo>
                      <a:pt x="1066" y="249"/>
                    </a:lnTo>
                    <a:lnTo>
                      <a:pt x="1066" y="249"/>
                    </a:lnTo>
                    <a:lnTo>
                      <a:pt x="1066" y="249"/>
                    </a:lnTo>
                    <a:lnTo>
                      <a:pt x="1066" y="249"/>
                    </a:lnTo>
                    <a:lnTo>
                      <a:pt x="1066" y="249"/>
                    </a:lnTo>
                    <a:lnTo>
                      <a:pt x="1066" y="253"/>
                    </a:lnTo>
                    <a:lnTo>
                      <a:pt x="1066" y="253"/>
                    </a:lnTo>
                    <a:lnTo>
                      <a:pt x="1066" y="253"/>
                    </a:lnTo>
                    <a:lnTo>
                      <a:pt x="1061" y="253"/>
                    </a:lnTo>
                    <a:lnTo>
                      <a:pt x="1057" y="249"/>
                    </a:lnTo>
                    <a:lnTo>
                      <a:pt x="1057" y="253"/>
                    </a:lnTo>
                    <a:lnTo>
                      <a:pt x="1057" y="249"/>
                    </a:lnTo>
                    <a:lnTo>
                      <a:pt x="1052" y="249"/>
                    </a:lnTo>
                    <a:lnTo>
                      <a:pt x="1052" y="249"/>
                    </a:lnTo>
                    <a:lnTo>
                      <a:pt x="1048" y="249"/>
                    </a:lnTo>
                    <a:lnTo>
                      <a:pt x="1048" y="249"/>
                    </a:lnTo>
                    <a:lnTo>
                      <a:pt x="1043" y="249"/>
                    </a:lnTo>
                    <a:lnTo>
                      <a:pt x="1039" y="253"/>
                    </a:lnTo>
                    <a:lnTo>
                      <a:pt x="1039" y="253"/>
                    </a:lnTo>
                    <a:lnTo>
                      <a:pt x="1048" y="249"/>
                    </a:lnTo>
                    <a:lnTo>
                      <a:pt x="1048" y="249"/>
                    </a:lnTo>
                    <a:lnTo>
                      <a:pt x="1048" y="253"/>
                    </a:lnTo>
                    <a:lnTo>
                      <a:pt x="1052" y="253"/>
                    </a:lnTo>
                    <a:lnTo>
                      <a:pt x="1052" y="253"/>
                    </a:lnTo>
                    <a:lnTo>
                      <a:pt x="1048" y="253"/>
                    </a:lnTo>
                    <a:lnTo>
                      <a:pt x="1048" y="258"/>
                    </a:lnTo>
                    <a:lnTo>
                      <a:pt x="1048" y="258"/>
                    </a:lnTo>
                    <a:lnTo>
                      <a:pt x="1043" y="258"/>
                    </a:lnTo>
                    <a:lnTo>
                      <a:pt x="1043" y="258"/>
                    </a:lnTo>
                    <a:lnTo>
                      <a:pt x="1039" y="258"/>
                    </a:lnTo>
                    <a:lnTo>
                      <a:pt x="1039" y="258"/>
                    </a:lnTo>
                    <a:lnTo>
                      <a:pt x="1039" y="258"/>
                    </a:lnTo>
                    <a:lnTo>
                      <a:pt x="1039" y="258"/>
                    </a:lnTo>
                    <a:lnTo>
                      <a:pt x="1034" y="253"/>
                    </a:lnTo>
                    <a:lnTo>
                      <a:pt x="1030" y="253"/>
                    </a:lnTo>
                    <a:lnTo>
                      <a:pt x="1030" y="253"/>
                    </a:lnTo>
                    <a:lnTo>
                      <a:pt x="1030" y="253"/>
                    </a:lnTo>
                    <a:lnTo>
                      <a:pt x="1034" y="258"/>
                    </a:lnTo>
                    <a:lnTo>
                      <a:pt x="1039" y="258"/>
                    </a:lnTo>
                    <a:lnTo>
                      <a:pt x="1039" y="258"/>
                    </a:lnTo>
                    <a:lnTo>
                      <a:pt x="1043" y="258"/>
                    </a:lnTo>
                    <a:lnTo>
                      <a:pt x="1043" y="258"/>
                    </a:lnTo>
                    <a:lnTo>
                      <a:pt x="1039" y="262"/>
                    </a:lnTo>
                    <a:lnTo>
                      <a:pt x="1043" y="262"/>
                    </a:lnTo>
                    <a:lnTo>
                      <a:pt x="1043" y="262"/>
                    </a:lnTo>
                    <a:lnTo>
                      <a:pt x="1043" y="262"/>
                    </a:lnTo>
                    <a:lnTo>
                      <a:pt x="1043" y="262"/>
                    </a:lnTo>
                    <a:lnTo>
                      <a:pt x="1043" y="262"/>
                    </a:lnTo>
                    <a:lnTo>
                      <a:pt x="1048" y="262"/>
                    </a:lnTo>
                    <a:lnTo>
                      <a:pt x="1048" y="262"/>
                    </a:lnTo>
                    <a:lnTo>
                      <a:pt x="1048" y="262"/>
                    </a:lnTo>
                    <a:lnTo>
                      <a:pt x="1048" y="262"/>
                    </a:lnTo>
                    <a:lnTo>
                      <a:pt x="1052" y="262"/>
                    </a:lnTo>
                    <a:lnTo>
                      <a:pt x="1052" y="262"/>
                    </a:lnTo>
                    <a:lnTo>
                      <a:pt x="1052" y="262"/>
                    </a:lnTo>
                    <a:lnTo>
                      <a:pt x="1057" y="267"/>
                    </a:lnTo>
                    <a:lnTo>
                      <a:pt x="1052" y="267"/>
                    </a:lnTo>
                    <a:lnTo>
                      <a:pt x="1052" y="267"/>
                    </a:lnTo>
                    <a:lnTo>
                      <a:pt x="1048" y="267"/>
                    </a:lnTo>
                    <a:lnTo>
                      <a:pt x="1048" y="267"/>
                    </a:lnTo>
                    <a:lnTo>
                      <a:pt x="1052" y="267"/>
                    </a:lnTo>
                    <a:lnTo>
                      <a:pt x="1048" y="271"/>
                    </a:lnTo>
                    <a:lnTo>
                      <a:pt x="1048" y="271"/>
                    </a:lnTo>
                    <a:lnTo>
                      <a:pt x="1048" y="271"/>
                    </a:lnTo>
                    <a:lnTo>
                      <a:pt x="1048" y="271"/>
                    </a:lnTo>
                    <a:lnTo>
                      <a:pt x="1048" y="271"/>
                    </a:lnTo>
                    <a:lnTo>
                      <a:pt x="1052" y="271"/>
                    </a:lnTo>
                    <a:lnTo>
                      <a:pt x="1048" y="271"/>
                    </a:lnTo>
                    <a:lnTo>
                      <a:pt x="1048" y="271"/>
                    </a:lnTo>
                    <a:lnTo>
                      <a:pt x="1052" y="271"/>
                    </a:lnTo>
                    <a:lnTo>
                      <a:pt x="1052" y="271"/>
                    </a:lnTo>
                    <a:lnTo>
                      <a:pt x="1052" y="267"/>
                    </a:lnTo>
                    <a:lnTo>
                      <a:pt x="1057" y="267"/>
                    </a:lnTo>
                    <a:lnTo>
                      <a:pt x="1057" y="271"/>
                    </a:lnTo>
                    <a:lnTo>
                      <a:pt x="1052" y="271"/>
                    </a:lnTo>
                    <a:lnTo>
                      <a:pt x="1052" y="276"/>
                    </a:lnTo>
                    <a:lnTo>
                      <a:pt x="1048" y="276"/>
                    </a:lnTo>
                    <a:lnTo>
                      <a:pt x="1048" y="276"/>
                    </a:lnTo>
                    <a:lnTo>
                      <a:pt x="1048" y="276"/>
                    </a:lnTo>
                    <a:lnTo>
                      <a:pt x="1048" y="276"/>
                    </a:lnTo>
                    <a:lnTo>
                      <a:pt x="1052" y="276"/>
                    </a:lnTo>
                    <a:lnTo>
                      <a:pt x="1052" y="276"/>
                    </a:lnTo>
                    <a:lnTo>
                      <a:pt x="1057" y="271"/>
                    </a:lnTo>
                    <a:lnTo>
                      <a:pt x="1057" y="271"/>
                    </a:lnTo>
                    <a:lnTo>
                      <a:pt x="1057" y="271"/>
                    </a:lnTo>
                    <a:lnTo>
                      <a:pt x="1057" y="276"/>
                    </a:lnTo>
                    <a:lnTo>
                      <a:pt x="1057" y="276"/>
                    </a:lnTo>
                    <a:lnTo>
                      <a:pt x="1057" y="276"/>
                    </a:lnTo>
                    <a:lnTo>
                      <a:pt x="1061" y="276"/>
                    </a:lnTo>
                    <a:lnTo>
                      <a:pt x="1061" y="276"/>
                    </a:lnTo>
                    <a:lnTo>
                      <a:pt x="1061" y="276"/>
                    </a:lnTo>
                    <a:lnTo>
                      <a:pt x="1061" y="276"/>
                    </a:lnTo>
                    <a:lnTo>
                      <a:pt x="1057" y="276"/>
                    </a:lnTo>
                    <a:lnTo>
                      <a:pt x="1057" y="276"/>
                    </a:lnTo>
                    <a:lnTo>
                      <a:pt x="1057" y="280"/>
                    </a:lnTo>
                    <a:lnTo>
                      <a:pt x="1061" y="280"/>
                    </a:lnTo>
                    <a:lnTo>
                      <a:pt x="1061" y="280"/>
                    </a:lnTo>
                    <a:lnTo>
                      <a:pt x="1061" y="276"/>
                    </a:lnTo>
                    <a:lnTo>
                      <a:pt x="1061" y="276"/>
                    </a:lnTo>
                    <a:lnTo>
                      <a:pt x="1066" y="276"/>
                    </a:lnTo>
                    <a:lnTo>
                      <a:pt x="1066" y="271"/>
                    </a:lnTo>
                    <a:lnTo>
                      <a:pt x="1070" y="271"/>
                    </a:lnTo>
                    <a:lnTo>
                      <a:pt x="1070" y="271"/>
                    </a:lnTo>
                    <a:lnTo>
                      <a:pt x="1070" y="276"/>
                    </a:lnTo>
                    <a:lnTo>
                      <a:pt x="1070" y="276"/>
                    </a:lnTo>
                    <a:lnTo>
                      <a:pt x="1066" y="276"/>
                    </a:lnTo>
                    <a:lnTo>
                      <a:pt x="1066" y="276"/>
                    </a:lnTo>
                    <a:lnTo>
                      <a:pt x="1066" y="276"/>
                    </a:lnTo>
                    <a:lnTo>
                      <a:pt x="1066" y="276"/>
                    </a:lnTo>
                    <a:lnTo>
                      <a:pt x="1066" y="276"/>
                    </a:lnTo>
                    <a:lnTo>
                      <a:pt x="1070" y="276"/>
                    </a:lnTo>
                    <a:lnTo>
                      <a:pt x="1070" y="276"/>
                    </a:lnTo>
                    <a:lnTo>
                      <a:pt x="1070" y="280"/>
                    </a:lnTo>
                    <a:lnTo>
                      <a:pt x="1070" y="280"/>
                    </a:lnTo>
                    <a:lnTo>
                      <a:pt x="1075" y="280"/>
                    </a:lnTo>
                    <a:lnTo>
                      <a:pt x="1075" y="285"/>
                    </a:lnTo>
                    <a:lnTo>
                      <a:pt x="1070" y="285"/>
                    </a:lnTo>
                    <a:lnTo>
                      <a:pt x="1070" y="285"/>
                    </a:lnTo>
                    <a:lnTo>
                      <a:pt x="1066" y="285"/>
                    </a:lnTo>
                    <a:lnTo>
                      <a:pt x="1066" y="285"/>
                    </a:lnTo>
                    <a:lnTo>
                      <a:pt x="1066" y="285"/>
                    </a:lnTo>
                    <a:lnTo>
                      <a:pt x="1061" y="285"/>
                    </a:lnTo>
                    <a:lnTo>
                      <a:pt x="1061" y="285"/>
                    </a:lnTo>
                    <a:lnTo>
                      <a:pt x="1066" y="289"/>
                    </a:lnTo>
                    <a:lnTo>
                      <a:pt x="1066" y="289"/>
                    </a:lnTo>
                    <a:lnTo>
                      <a:pt x="1066" y="289"/>
                    </a:lnTo>
                    <a:lnTo>
                      <a:pt x="1070" y="289"/>
                    </a:lnTo>
                    <a:lnTo>
                      <a:pt x="1070" y="289"/>
                    </a:lnTo>
                    <a:lnTo>
                      <a:pt x="1070" y="289"/>
                    </a:lnTo>
                    <a:lnTo>
                      <a:pt x="1075" y="285"/>
                    </a:lnTo>
                    <a:lnTo>
                      <a:pt x="1075" y="285"/>
                    </a:lnTo>
                    <a:lnTo>
                      <a:pt x="1075" y="285"/>
                    </a:lnTo>
                    <a:lnTo>
                      <a:pt x="1079" y="289"/>
                    </a:lnTo>
                    <a:lnTo>
                      <a:pt x="1079" y="289"/>
                    </a:lnTo>
                    <a:lnTo>
                      <a:pt x="1079" y="289"/>
                    </a:lnTo>
                    <a:lnTo>
                      <a:pt x="1075" y="289"/>
                    </a:lnTo>
                    <a:lnTo>
                      <a:pt x="1075" y="294"/>
                    </a:lnTo>
                    <a:lnTo>
                      <a:pt x="1075" y="294"/>
                    </a:lnTo>
                    <a:lnTo>
                      <a:pt x="1075" y="294"/>
                    </a:lnTo>
                    <a:lnTo>
                      <a:pt x="1066" y="298"/>
                    </a:lnTo>
                    <a:lnTo>
                      <a:pt x="1066" y="298"/>
                    </a:lnTo>
                    <a:lnTo>
                      <a:pt x="1070" y="294"/>
                    </a:lnTo>
                    <a:lnTo>
                      <a:pt x="1075" y="294"/>
                    </a:lnTo>
                    <a:lnTo>
                      <a:pt x="1079" y="294"/>
                    </a:lnTo>
                    <a:lnTo>
                      <a:pt x="1079" y="294"/>
                    </a:lnTo>
                    <a:lnTo>
                      <a:pt x="1079" y="294"/>
                    </a:lnTo>
                    <a:lnTo>
                      <a:pt x="1079" y="294"/>
                    </a:lnTo>
                    <a:lnTo>
                      <a:pt x="1079" y="294"/>
                    </a:lnTo>
                    <a:lnTo>
                      <a:pt x="1084" y="294"/>
                    </a:lnTo>
                    <a:lnTo>
                      <a:pt x="1088" y="294"/>
                    </a:lnTo>
                    <a:lnTo>
                      <a:pt x="1088" y="294"/>
                    </a:lnTo>
                    <a:lnTo>
                      <a:pt x="1088" y="294"/>
                    </a:lnTo>
                    <a:lnTo>
                      <a:pt x="1093" y="298"/>
                    </a:lnTo>
                    <a:lnTo>
                      <a:pt x="1093" y="298"/>
                    </a:lnTo>
                    <a:lnTo>
                      <a:pt x="1093" y="303"/>
                    </a:lnTo>
                    <a:lnTo>
                      <a:pt x="1093" y="303"/>
                    </a:lnTo>
                    <a:lnTo>
                      <a:pt x="1088" y="303"/>
                    </a:lnTo>
                    <a:lnTo>
                      <a:pt x="1088" y="303"/>
                    </a:lnTo>
                    <a:lnTo>
                      <a:pt x="1088" y="303"/>
                    </a:lnTo>
                    <a:lnTo>
                      <a:pt x="1084" y="298"/>
                    </a:lnTo>
                    <a:lnTo>
                      <a:pt x="1084" y="298"/>
                    </a:lnTo>
                    <a:lnTo>
                      <a:pt x="1084" y="303"/>
                    </a:lnTo>
                    <a:lnTo>
                      <a:pt x="1084" y="303"/>
                    </a:lnTo>
                    <a:lnTo>
                      <a:pt x="1088" y="303"/>
                    </a:lnTo>
                    <a:lnTo>
                      <a:pt x="1088" y="308"/>
                    </a:lnTo>
                    <a:lnTo>
                      <a:pt x="1084" y="308"/>
                    </a:lnTo>
                    <a:lnTo>
                      <a:pt x="1084" y="308"/>
                    </a:lnTo>
                    <a:lnTo>
                      <a:pt x="1079" y="308"/>
                    </a:lnTo>
                    <a:lnTo>
                      <a:pt x="1079" y="308"/>
                    </a:lnTo>
                    <a:lnTo>
                      <a:pt x="1079" y="308"/>
                    </a:lnTo>
                    <a:lnTo>
                      <a:pt x="1079" y="303"/>
                    </a:lnTo>
                    <a:lnTo>
                      <a:pt x="1075" y="303"/>
                    </a:lnTo>
                    <a:lnTo>
                      <a:pt x="1075" y="303"/>
                    </a:lnTo>
                    <a:lnTo>
                      <a:pt x="1075" y="308"/>
                    </a:lnTo>
                    <a:lnTo>
                      <a:pt x="1075" y="308"/>
                    </a:lnTo>
                    <a:lnTo>
                      <a:pt x="1075" y="308"/>
                    </a:lnTo>
                    <a:lnTo>
                      <a:pt x="1075" y="308"/>
                    </a:lnTo>
                    <a:lnTo>
                      <a:pt x="1075" y="312"/>
                    </a:lnTo>
                    <a:lnTo>
                      <a:pt x="1075" y="312"/>
                    </a:lnTo>
                    <a:lnTo>
                      <a:pt x="1075" y="312"/>
                    </a:lnTo>
                    <a:lnTo>
                      <a:pt x="1075" y="312"/>
                    </a:lnTo>
                    <a:lnTo>
                      <a:pt x="1075" y="312"/>
                    </a:lnTo>
                    <a:lnTo>
                      <a:pt x="1070" y="312"/>
                    </a:lnTo>
                    <a:lnTo>
                      <a:pt x="1070" y="312"/>
                    </a:lnTo>
                    <a:lnTo>
                      <a:pt x="1070" y="312"/>
                    </a:lnTo>
                    <a:lnTo>
                      <a:pt x="1070" y="312"/>
                    </a:lnTo>
                    <a:lnTo>
                      <a:pt x="1070" y="312"/>
                    </a:lnTo>
                    <a:lnTo>
                      <a:pt x="1070" y="312"/>
                    </a:lnTo>
                    <a:lnTo>
                      <a:pt x="1070" y="317"/>
                    </a:lnTo>
                    <a:lnTo>
                      <a:pt x="1070" y="317"/>
                    </a:lnTo>
                    <a:lnTo>
                      <a:pt x="1070" y="317"/>
                    </a:lnTo>
                    <a:lnTo>
                      <a:pt x="1066" y="317"/>
                    </a:lnTo>
                    <a:lnTo>
                      <a:pt x="1066" y="321"/>
                    </a:lnTo>
                    <a:lnTo>
                      <a:pt x="1061" y="321"/>
                    </a:lnTo>
                    <a:lnTo>
                      <a:pt x="1061" y="317"/>
                    </a:lnTo>
                    <a:lnTo>
                      <a:pt x="1061" y="321"/>
                    </a:lnTo>
                    <a:lnTo>
                      <a:pt x="1057" y="317"/>
                    </a:lnTo>
                    <a:lnTo>
                      <a:pt x="1057" y="317"/>
                    </a:lnTo>
                    <a:lnTo>
                      <a:pt x="1057" y="317"/>
                    </a:lnTo>
                    <a:lnTo>
                      <a:pt x="1057" y="317"/>
                    </a:lnTo>
                    <a:lnTo>
                      <a:pt x="1057" y="317"/>
                    </a:lnTo>
                    <a:lnTo>
                      <a:pt x="1057" y="317"/>
                    </a:lnTo>
                    <a:lnTo>
                      <a:pt x="1052" y="317"/>
                    </a:lnTo>
                    <a:lnTo>
                      <a:pt x="1052" y="317"/>
                    </a:lnTo>
                    <a:lnTo>
                      <a:pt x="1052" y="317"/>
                    </a:lnTo>
                    <a:lnTo>
                      <a:pt x="1057" y="321"/>
                    </a:lnTo>
                    <a:lnTo>
                      <a:pt x="1052" y="321"/>
                    </a:lnTo>
                    <a:lnTo>
                      <a:pt x="1052" y="326"/>
                    </a:lnTo>
                    <a:lnTo>
                      <a:pt x="1048" y="330"/>
                    </a:lnTo>
                    <a:lnTo>
                      <a:pt x="1048" y="330"/>
                    </a:lnTo>
                    <a:lnTo>
                      <a:pt x="1043" y="330"/>
                    </a:lnTo>
                    <a:lnTo>
                      <a:pt x="1043" y="330"/>
                    </a:lnTo>
                    <a:lnTo>
                      <a:pt x="1043" y="330"/>
                    </a:lnTo>
                    <a:lnTo>
                      <a:pt x="1043" y="330"/>
                    </a:lnTo>
                    <a:lnTo>
                      <a:pt x="1043" y="330"/>
                    </a:lnTo>
                    <a:lnTo>
                      <a:pt x="1043" y="326"/>
                    </a:lnTo>
                    <a:lnTo>
                      <a:pt x="1039" y="326"/>
                    </a:lnTo>
                    <a:lnTo>
                      <a:pt x="1039" y="330"/>
                    </a:lnTo>
                    <a:lnTo>
                      <a:pt x="1039" y="326"/>
                    </a:lnTo>
                    <a:lnTo>
                      <a:pt x="1039" y="326"/>
                    </a:lnTo>
                    <a:lnTo>
                      <a:pt x="1039" y="326"/>
                    </a:lnTo>
                    <a:lnTo>
                      <a:pt x="1043" y="321"/>
                    </a:lnTo>
                    <a:lnTo>
                      <a:pt x="1043" y="321"/>
                    </a:lnTo>
                    <a:lnTo>
                      <a:pt x="1039" y="321"/>
                    </a:lnTo>
                    <a:lnTo>
                      <a:pt x="1039" y="326"/>
                    </a:lnTo>
                    <a:lnTo>
                      <a:pt x="1034" y="326"/>
                    </a:lnTo>
                    <a:lnTo>
                      <a:pt x="1034" y="326"/>
                    </a:lnTo>
                    <a:lnTo>
                      <a:pt x="1034" y="326"/>
                    </a:lnTo>
                    <a:lnTo>
                      <a:pt x="1034" y="326"/>
                    </a:lnTo>
                    <a:lnTo>
                      <a:pt x="1034" y="321"/>
                    </a:lnTo>
                    <a:lnTo>
                      <a:pt x="1034" y="321"/>
                    </a:lnTo>
                    <a:lnTo>
                      <a:pt x="1034" y="317"/>
                    </a:lnTo>
                    <a:lnTo>
                      <a:pt x="1034" y="317"/>
                    </a:lnTo>
                    <a:lnTo>
                      <a:pt x="1034" y="317"/>
                    </a:lnTo>
                    <a:lnTo>
                      <a:pt x="1034" y="317"/>
                    </a:lnTo>
                    <a:lnTo>
                      <a:pt x="1034" y="317"/>
                    </a:lnTo>
                    <a:lnTo>
                      <a:pt x="1034" y="317"/>
                    </a:lnTo>
                    <a:lnTo>
                      <a:pt x="1034" y="312"/>
                    </a:lnTo>
                    <a:lnTo>
                      <a:pt x="1034" y="312"/>
                    </a:lnTo>
                    <a:lnTo>
                      <a:pt x="1039" y="312"/>
                    </a:lnTo>
                    <a:lnTo>
                      <a:pt x="1039" y="312"/>
                    </a:lnTo>
                    <a:lnTo>
                      <a:pt x="1043" y="312"/>
                    </a:lnTo>
                    <a:lnTo>
                      <a:pt x="1043" y="308"/>
                    </a:lnTo>
                    <a:lnTo>
                      <a:pt x="1048" y="308"/>
                    </a:lnTo>
                    <a:lnTo>
                      <a:pt x="1048" y="308"/>
                    </a:lnTo>
                    <a:lnTo>
                      <a:pt x="1052" y="308"/>
                    </a:lnTo>
                    <a:lnTo>
                      <a:pt x="1052" y="303"/>
                    </a:lnTo>
                    <a:lnTo>
                      <a:pt x="1048" y="308"/>
                    </a:lnTo>
                    <a:lnTo>
                      <a:pt x="1048" y="308"/>
                    </a:lnTo>
                    <a:lnTo>
                      <a:pt x="1043" y="308"/>
                    </a:lnTo>
                    <a:lnTo>
                      <a:pt x="1043" y="308"/>
                    </a:lnTo>
                    <a:lnTo>
                      <a:pt x="1039" y="312"/>
                    </a:lnTo>
                    <a:lnTo>
                      <a:pt x="1034" y="312"/>
                    </a:lnTo>
                    <a:lnTo>
                      <a:pt x="1034" y="312"/>
                    </a:lnTo>
                    <a:lnTo>
                      <a:pt x="1030" y="312"/>
                    </a:lnTo>
                    <a:lnTo>
                      <a:pt x="1030" y="308"/>
                    </a:lnTo>
                    <a:lnTo>
                      <a:pt x="1034" y="308"/>
                    </a:lnTo>
                    <a:lnTo>
                      <a:pt x="1034" y="308"/>
                    </a:lnTo>
                    <a:lnTo>
                      <a:pt x="1034" y="308"/>
                    </a:lnTo>
                    <a:lnTo>
                      <a:pt x="1034" y="308"/>
                    </a:lnTo>
                    <a:lnTo>
                      <a:pt x="1034" y="308"/>
                    </a:lnTo>
                    <a:lnTo>
                      <a:pt x="1030" y="308"/>
                    </a:lnTo>
                    <a:lnTo>
                      <a:pt x="1030" y="308"/>
                    </a:lnTo>
                    <a:lnTo>
                      <a:pt x="1030" y="308"/>
                    </a:lnTo>
                    <a:lnTo>
                      <a:pt x="1030" y="308"/>
                    </a:lnTo>
                    <a:lnTo>
                      <a:pt x="1030" y="303"/>
                    </a:lnTo>
                    <a:lnTo>
                      <a:pt x="1030" y="303"/>
                    </a:lnTo>
                    <a:lnTo>
                      <a:pt x="1025" y="303"/>
                    </a:lnTo>
                    <a:lnTo>
                      <a:pt x="1025" y="298"/>
                    </a:lnTo>
                    <a:lnTo>
                      <a:pt x="1030" y="298"/>
                    </a:lnTo>
                    <a:lnTo>
                      <a:pt x="1025" y="298"/>
                    </a:lnTo>
                    <a:lnTo>
                      <a:pt x="1025" y="298"/>
                    </a:lnTo>
                    <a:lnTo>
                      <a:pt x="1025" y="298"/>
                    </a:lnTo>
                    <a:lnTo>
                      <a:pt x="1025" y="298"/>
                    </a:lnTo>
                    <a:lnTo>
                      <a:pt x="1025" y="298"/>
                    </a:lnTo>
                    <a:lnTo>
                      <a:pt x="1025" y="298"/>
                    </a:lnTo>
                    <a:lnTo>
                      <a:pt x="1021" y="298"/>
                    </a:lnTo>
                    <a:lnTo>
                      <a:pt x="1021" y="298"/>
                    </a:lnTo>
                    <a:lnTo>
                      <a:pt x="1021" y="298"/>
                    </a:lnTo>
                    <a:lnTo>
                      <a:pt x="1021" y="303"/>
                    </a:lnTo>
                    <a:lnTo>
                      <a:pt x="1021" y="303"/>
                    </a:lnTo>
                    <a:lnTo>
                      <a:pt x="1021" y="303"/>
                    </a:lnTo>
                    <a:lnTo>
                      <a:pt x="1016" y="303"/>
                    </a:lnTo>
                    <a:lnTo>
                      <a:pt x="1016" y="303"/>
                    </a:lnTo>
                    <a:lnTo>
                      <a:pt x="1016" y="303"/>
                    </a:lnTo>
                    <a:lnTo>
                      <a:pt x="1016" y="298"/>
                    </a:lnTo>
                    <a:lnTo>
                      <a:pt x="1016" y="298"/>
                    </a:lnTo>
                    <a:lnTo>
                      <a:pt x="1012" y="298"/>
                    </a:lnTo>
                    <a:lnTo>
                      <a:pt x="1012" y="303"/>
                    </a:lnTo>
                    <a:lnTo>
                      <a:pt x="1012" y="303"/>
                    </a:lnTo>
                    <a:lnTo>
                      <a:pt x="1012" y="308"/>
                    </a:lnTo>
                    <a:lnTo>
                      <a:pt x="1016" y="308"/>
                    </a:lnTo>
                    <a:lnTo>
                      <a:pt x="1016" y="308"/>
                    </a:lnTo>
                    <a:lnTo>
                      <a:pt x="1012" y="312"/>
                    </a:lnTo>
                    <a:lnTo>
                      <a:pt x="1012" y="312"/>
                    </a:lnTo>
                    <a:lnTo>
                      <a:pt x="1012" y="312"/>
                    </a:lnTo>
                    <a:lnTo>
                      <a:pt x="1012" y="312"/>
                    </a:lnTo>
                    <a:lnTo>
                      <a:pt x="1007" y="308"/>
                    </a:lnTo>
                    <a:lnTo>
                      <a:pt x="1007" y="308"/>
                    </a:lnTo>
                    <a:lnTo>
                      <a:pt x="1007" y="308"/>
                    </a:lnTo>
                    <a:lnTo>
                      <a:pt x="1002" y="303"/>
                    </a:lnTo>
                    <a:lnTo>
                      <a:pt x="1002" y="303"/>
                    </a:lnTo>
                    <a:lnTo>
                      <a:pt x="998" y="303"/>
                    </a:lnTo>
                    <a:lnTo>
                      <a:pt x="998" y="303"/>
                    </a:lnTo>
                    <a:lnTo>
                      <a:pt x="1002" y="303"/>
                    </a:lnTo>
                    <a:lnTo>
                      <a:pt x="1002" y="303"/>
                    </a:lnTo>
                    <a:lnTo>
                      <a:pt x="1002" y="308"/>
                    </a:lnTo>
                    <a:lnTo>
                      <a:pt x="1002" y="308"/>
                    </a:lnTo>
                    <a:lnTo>
                      <a:pt x="1002" y="308"/>
                    </a:lnTo>
                    <a:lnTo>
                      <a:pt x="1002" y="308"/>
                    </a:lnTo>
                    <a:lnTo>
                      <a:pt x="1002" y="312"/>
                    </a:lnTo>
                    <a:lnTo>
                      <a:pt x="1002" y="312"/>
                    </a:lnTo>
                    <a:lnTo>
                      <a:pt x="1002" y="312"/>
                    </a:lnTo>
                    <a:lnTo>
                      <a:pt x="1002" y="312"/>
                    </a:lnTo>
                    <a:lnTo>
                      <a:pt x="1002" y="312"/>
                    </a:lnTo>
                    <a:lnTo>
                      <a:pt x="1002" y="317"/>
                    </a:lnTo>
                    <a:lnTo>
                      <a:pt x="1002" y="317"/>
                    </a:lnTo>
                    <a:lnTo>
                      <a:pt x="1002" y="317"/>
                    </a:lnTo>
                    <a:lnTo>
                      <a:pt x="1002" y="317"/>
                    </a:lnTo>
                    <a:lnTo>
                      <a:pt x="1002" y="317"/>
                    </a:lnTo>
                    <a:lnTo>
                      <a:pt x="1007" y="317"/>
                    </a:lnTo>
                    <a:lnTo>
                      <a:pt x="1007" y="317"/>
                    </a:lnTo>
                    <a:lnTo>
                      <a:pt x="1007" y="317"/>
                    </a:lnTo>
                    <a:lnTo>
                      <a:pt x="1007" y="317"/>
                    </a:lnTo>
                    <a:lnTo>
                      <a:pt x="1007" y="317"/>
                    </a:lnTo>
                    <a:lnTo>
                      <a:pt x="1007" y="317"/>
                    </a:lnTo>
                    <a:lnTo>
                      <a:pt x="1007" y="317"/>
                    </a:lnTo>
                    <a:lnTo>
                      <a:pt x="1007" y="321"/>
                    </a:lnTo>
                    <a:lnTo>
                      <a:pt x="1007" y="321"/>
                    </a:lnTo>
                    <a:lnTo>
                      <a:pt x="1007" y="321"/>
                    </a:lnTo>
                    <a:lnTo>
                      <a:pt x="1007" y="321"/>
                    </a:lnTo>
                    <a:lnTo>
                      <a:pt x="1007" y="321"/>
                    </a:lnTo>
                    <a:lnTo>
                      <a:pt x="1007" y="321"/>
                    </a:lnTo>
                    <a:lnTo>
                      <a:pt x="1007" y="321"/>
                    </a:lnTo>
                    <a:lnTo>
                      <a:pt x="1007" y="326"/>
                    </a:lnTo>
                    <a:lnTo>
                      <a:pt x="1007" y="326"/>
                    </a:lnTo>
                    <a:lnTo>
                      <a:pt x="1007" y="326"/>
                    </a:lnTo>
                    <a:lnTo>
                      <a:pt x="1007" y="326"/>
                    </a:lnTo>
                    <a:lnTo>
                      <a:pt x="1007" y="326"/>
                    </a:lnTo>
                    <a:lnTo>
                      <a:pt x="1007" y="326"/>
                    </a:lnTo>
                    <a:lnTo>
                      <a:pt x="1007" y="326"/>
                    </a:lnTo>
                    <a:lnTo>
                      <a:pt x="1007" y="326"/>
                    </a:lnTo>
                    <a:lnTo>
                      <a:pt x="1007" y="326"/>
                    </a:lnTo>
                    <a:lnTo>
                      <a:pt x="1007" y="330"/>
                    </a:lnTo>
                    <a:lnTo>
                      <a:pt x="1007" y="330"/>
                    </a:lnTo>
                    <a:lnTo>
                      <a:pt x="1007" y="330"/>
                    </a:lnTo>
                    <a:lnTo>
                      <a:pt x="1007" y="330"/>
                    </a:lnTo>
                    <a:lnTo>
                      <a:pt x="1007" y="330"/>
                    </a:lnTo>
                    <a:lnTo>
                      <a:pt x="1012" y="330"/>
                    </a:lnTo>
                    <a:lnTo>
                      <a:pt x="1012" y="330"/>
                    </a:lnTo>
                    <a:lnTo>
                      <a:pt x="1012" y="330"/>
                    </a:lnTo>
                    <a:lnTo>
                      <a:pt x="1012" y="330"/>
                    </a:lnTo>
                    <a:lnTo>
                      <a:pt x="1012" y="330"/>
                    </a:lnTo>
                    <a:lnTo>
                      <a:pt x="1012" y="335"/>
                    </a:lnTo>
                    <a:lnTo>
                      <a:pt x="1012" y="335"/>
                    </a:lnTo>
                    <a:lnTo>
                      <a:pt x="1012" y="335"/>
                    </a:lnTo>
                    <a:lnTo>
                      <a:pt x="1012" y="330"/>
                    </a:lnTo>
                    <a:lnTo>
                      <a:pt x="1012" y="330"/>
                    </a:lnTo>
                    <a:lnTo>
                      <a:pt x="1016" y="330"/>
                    </a:lnTo>
                    <a:lnTo>
                      <a:pt x="1016" y="330"/>
                    </a:lnTo>
                    <a:lnTo>
                      <a:pt x="1016" y="335"/>
                    </a:lnTo>
                    <a:lnTo>
                      <a:pt x="1016" y="335"/>
                    </a:lnTo>
                    <a:lnTo>
                      <a:pt x="1016" y="335"/>
                    </a:lnTo>
                    <a:lnTo>
                      <a:pt x="1021" y="335"/>
                    </a:lnTo>
                    <a:lnTo>
                      <a:pt x="1021" y="335"/>
                    </a:lnTo>
                    <a:lnTo>
                      <a:pt x="1021" y="335"/>
                    </a:lnTo>
                    <a:lnTo>
                      <a:pt x="1016" y="339"/>
                    </a:lnTo>
                    <a:lnTo>
                      <a:pt x="1016" y="339"/>
                    </a:lnTo>
                    <a:lnTo>
                      <a:pt x="1016" y="339"/>
                    </a:lnTo>
                    <a:lnTo>
                      <a:pt x="1021" y="339"/>
                    </a:lnTo>
                    <a:lnTo>
                      <a:pt x="1021" y="339"/>
                    </a:lnTo>
                    <a:lnTo>
                      <a:pt x="1021" y="339"/>
                    </a:lnTo>
                    <a:lnTo>
                      <a:pt x="1016" y="344"/>
                    </a:lnTo>
                    <a:lnTo>
                      <a:pt x="1016" y="344"/>
                    </a:lnTo>
                    <a:lnTo>
                      <a:pt x="1012" y="339"/>
                    </a:lnTo>
                    <a:lnTo>
                      <a:pt x="1012" y="344"/>
                    </a:lnTo>
                    <a:lnTo>
                      <a:pt x="1012" y="344"/>
                    </a:lnTo>
                    <a:lnTo>
                      <a:pt x="1016" y="344"/>
                    </a:lnTo>
                    <a:lnTo>
                      <a:pt x="1016" y="344"/>
                    </a:lnTo>
                    <a:lnTo>
                      <a:pt x="1016" y="344"/>
                    </a:lnTo>
                    <a:lnTo>
                      <a:pt x="1016" y="344"/>
                    </a:lnTo>
                    <a:lnTo>
                      <a:pt x="1016" y="348"/>
                    </a:lnTo>
                    <a:lnTo>
                      <a:pt x="1012" y="348"/>
                    </a:lnTo>
                    <a:lnTo>
                      <a:pt x="1012" y="348"/>
                    </a:lnTo>
                    <a:lnTo>
                      <a:pt x="1016" y="348"/>
                    </a:lnTo>
                    <a:lnTo>
                      <a:pt x="1016" y="348"/>
                    </a:lnTo>
                    <a:lnTo>
                      <a:pt x="1016" y="348"/>
                    </a:lnTo>
                    <a:lnTo>
                      <a:pt x="1021" y="348"/>
                    </a:lnTo>
                    <a:lnTo>
                      <a:pt x="1021" y="348"/>
                    </a:lnTo>
                    <a:lnTo>
                      <a:pt x="1021" y="348"/>
                    </a:lnTo>
                    <a:lnTo>
                      <a:pt x="1016" y="348"/>
                    </a:lnTo>
                    <a:lnTo>
                      <a:pt x="1016" y="348"/>
                    </a:lnTo>
                    <a:lnTo>
                      <a:pt x="1021" y="348"/>
                    </a:lnTo>
                    <a:lnTo>
                      <a:pt x="1021" y="348"/>
                    </a:lnTo>
                    <a:lnTo>
                      <a:pt x="1021" y="353"/>
                    </a:lnTo>
                    <a:lnTo>
                      <a:pt x="1021" y="353"/>
                    </a:lnTo>
                    <a:lnTo>
                      <a:pt x="1016" y="353"/>
                    </a:lnTo>
                    <a:lnTo>
                      <a:pt x="1016" y="353"/>
                    </a:lnTo>
                    <a:lnTo>
                      <a:pt x="1016" y="357"/>
                    </a:lnTo>
                    <a:lnTo>
                      <a:pt x="1016" y="357"/>
                    </a:lnTo>
                    <a:lnTo>
                      <a:pt x="1012" y="362"/>
                    </a:lnTo>
                    <a:lnTo>
                      <a:pt x="1012" y="362"/>
                    </a:lnTo>
                    <a:lnTo>
                      <a:pt x="1012" y="362"/>
                    </a:lnTo>
                    <a:lnTo>
                      <a:pt x="1012" y="362"/>
                    </a:lnTo>
                    <a:lnTo>
                      <a:pt x="1012" y="362"/>
                    </a:lnTo>
                    <a:lnTo>
                      <a:pt x="1012" y="357"/>
                    </a:lnTo>
                    <a:lnTo>
                      <a:pt x="1012" y="357"/>
                    </a:lnTo>
                    <a:lnTo>
                      <a:pt x="1012" y="353"/>
                    </a:lnTo>
                    <a:lnTo>
                      <a:pt x="1012" y="353"/>
                    </a:lnTo>
                    <a:lnTo>
                      <a:pt x="1012" y="353"/>
                    </a:lnTo>
                    <a:lnTo>
                      <a:pt x="1012" y="353"/>
                    </a:lnTo>
                    <a:lnTo>
                      <a:pt x="1007" y="353"/>
                    </a:lnTo>
                    <a:lnTo>
                      <a:pt x="1007" y="357"/>
                    </a:lnTo>
                    <a:lnTo>
                      <a:pt x="1007" y="362"/>
                    </a:lnTo>
                    <a:lnTo>
                      <a:pt x="1007" y="362"/>
                    </a:lnTo>
                    <a:lnTo>
                      <a:pt x="1007" y="362"/>
                    </a:lnTo>
                    <a:lnTo>
                      <a:pt x="1007" y="362"/>
                    </a:lnTo>
                    <a:lnTo>
                      <a:pt x="1007" y="362"/>
                    </a:lnTo>
                    <a:lnTo>
                      <a:pt x="1007" y="362"/>
                    </a:lnTo>
                    <a:lnTo>
                      <a:pt x="1007" y="366"/>
                    </a:lnTo>
                    <a:lnTo>
                      <a:pt x="1007" y="366"/>
                    </a:lnTo>
                    <a:lnTo>
                      <a:pt x="1007" y="366"/>
                    </a:lnTo>
                    <a:lnTo>
                      <a:pt x="1007" y="366"/>
                    </a:lnTo>
                    <a:lnTo>
                      <a:pt x="1007" y="366"/>
                    </a:lnTo>
                    <a:lnTo>
                      <a:pt x="1002" y="366"/>
                    </a:lnTo>
                    <a:lnTo>
                      <a:pt x="1002" y="366"/>
                    </a:lnTo>
                    <a:lnTo>
                      <a:pt x="1002" y="366"/>
                    </a:lnTo>
                    <a:lnTo>
                      <a:pt x="1002" y="366"/>
                    </a:lnTo>
                    <a:lnTo>
                      <a:pt x="998" y="366"/>
                    </a:lnTo>
                    <a:lnTo>
                      <a:pt x="998" y="371"/>
                    </a:lnTo>
                    <a:lnTo>
                      <a:pt x="998" y="371"/>
                    </a:lnTo>
                    <a:lnTo>
                      <a:pt x="998" y="371"/>
                    </a:lnTo>
                    <a:lnTo>
                      <a:pt x="998" y="371"/>
                    </a:lnTo>
                    <a:lnTo>
                      <a:pt x="998" y="371"/>
                    </a:lnTo>
                    <a:lnTo>
                      <a:pt x="993" y="371"/>
                    </a:lnTo>
                    <a:lnTo>
                      <a:pt x="993" y="366"/>
                    </a:lnTo>
                    <a:lnTo>
                      <a:pt x="993" y="366"/>
                    </a:lnTo>
                    <a:lnTo>
                      <a:pt x="993" y="366"/>
                    </a:lnTo>
                    <a:lnTo>
                      <a:pt x="993" y="366"/>
                    </a:lnTo>
                    <a:lnTo>
                      <a:pt x="993" y="366"/>
                    </a:lnTo>
                    <a:lnTo>
                      <a:pt x="989" y="366"/>
                    </a:lnTo>
                    <a:lnTo>
                      <a:pt x="989" y="366"/>
                    </a:lnTo>
                    <a:lnTo>
                      <a:pt x="989" y="366"/>
                    </a:lnTo>
                    <a:lnTo>
                      <a:pt x="989" y="362"/>
                    </a:lnTo>
                    <a:lnTo>
                      <a:pt x="989" y="362"/>
                    </a:lnTo>
                    <a:lnTo>
                      <a:pt x="989" y="362"/>
                    </a:lnTo>
                    <a:lnTo>
                      <a:pt x="989" y="366"/>
                    </a:lnTo>
                    <a:lnTo>
                      <a:pt x="989" y="366"/>
                    </a:lnTo>
                    <a:lnTo>
                      <a:pt x="989" y="366"/>
                    </a:lnTo>
                    <a:lnTo>
                      <a:pt x="984" y="366"/>
                    </a:lnTo>
                    <a:lnTo>
                      <a:pt x="984" y="362"/>
                    </a:lnTo>
                    <a:lnTo>
                      <a:pt x="984" y="362"/>
                    </a:lnTo>
                    <a:lnTo>
                      <a:pt x="984" y="362"/>
                    </a:lnTo>
                    <a:lnTo>
                      <a:pt x="984" y="362"/>
                    </a:lnTo>
                    <a:lnTo>
                      <a:pt x="984" y="362"/>
                    </a:lnTo>
                    <a:lnTo>
                      <a:pt x="984" y="362"/>
                    </a:lnTo>
                    <a:lnTo>
                      <a:pt x="984" y="362"/>
                    </a:lnTo>
                    <a:lnTo>
                      <a:pt x="984" y="362"/>
                    </a:lnTo>
                    <a:lnTo>
                      <a:pt x="984" y="362"/>
                    </a:lnTo>
                    <a:lnTo>
                      <a:pt x="984" y="362"/>
                    </a:lnTo>
                    <a:lnTo>
                      <a:pt x="984" y="362"/>
                    </a:lnTo>
                    <a:lnTo>
                      <a:pt x="980" y="362"/>
                    </a:lnTo>
                    <a:lnTo>
                      <a:pt x="980" y="362"/>
                    </a:lnTo>
                    <a:lnTo>
                      <a:pt x="980" y="357"/>
                    </a:lnTo>
                    <a:lnTo>
                      <a:pt x="980" y="357"/>
                    </a:lnTo>
                    <a:lnTo>
                      <a:pt x="980" y="357"/>
                    </a:lnTo>
                    <a:lnTo>
                      <a:pt x="980" y="357"/>
                    </a:lnTo>
                    <a:lnTo>
                      <a:pt x="980" y="357"/>
                    </a:lnTo>
                    <a:lnTo>
                      <a:pt x="980" y="353"/>
                    </a:lnTo>
                    <a:lnTo>
                      <a:pt x="975" y="353"/>
                    </a:lnTo>
                    <a:lnTo>
                      <a:pt x="975" y="353"/>
                    </a:lnTo>
                    <a:lnTo>
                      <a:pt x="975" y="353"/>
                    </a:lnTo>
                    <a:lnTo>
                      <a:pt x="975" y="357"/>
                    </a:lnTo>
                    <a:lnTo>
                      <a:pt x="975" y="357"/>
                    </a:lnTo>
                    <a:lnTo>
                      <a:pt x="975" y="357"/>
                    </a:lnTo>
                    <a:lnTo>
                      <a:pt x="975" y="357"/>
                    </a:lnTo>
                    <a:lnTo>
                      <a:pt x="971" y="353"/>
                    </a:lnTo>
                    <a:lnTo>
                      <a:pt x="971" y="348"/>
                    </a:lnTo>
                    <a:lnTo>
                      <a:pt x="966" y="348"/>
                    </a:lnTo>
                    <a:lnTo>
                      <a:pt x="966" y="348"/>
                    </a:lnTo>
                    <a:lnTo>
                      <a:pt x="966" y="348"/>
                    </a:lnTo>
                    <a:lnTo>
                      <a:pt x="966" y="353"/>
                    </a:lnTo>
                    <a:lnTo>
                      <a:pt x="966" y="353"/>
                    </a:lnTo>
                    <a:lnTo>
                      <a:pt x="966" y="357"/>
                    </a:lnTo>
                    <a:lnTo>
                      <a:pt x="966" y="357"/>
                    </a:lnTo>
                    <a:lnTo>
                      <a:pt x="966" y="362"/>
                    </a:lnTo>
                    <a:lnTo>
                      <a:pt x="966" y="362"/>
                    </a:lnTo>
                    <a:lnTo>
                      <a:pt x="966" y="362"/>
                    </a:lnTo>
                    <a:lnTo>
                      <a:pt x="971" y="362"/>
                    </a:lnTo>
                    <a:lnTo>
                      <a:pt x="971" y="362"/>
                    </a:lnTo>
                    <a:lnTo>
                      <a:pt x="971" y="362"/>
                    </a:lnTo>
                    <a:lnTo>
                      <a:pt x="971" y="362"/>
                    </a:lnTo>
                    <a:lnTo>
                      <a:pt x="971" y="362"/>
                    </a:lnTo>
                    <a:lnTo>
                      <a:pt x="971" y="366"/>
                    </a:lnTo>
                    <a:lnTo>
                      <a:pt x="971" y="366"/>
                    </a:lnTo>
                    <a:lnTo>
                      <a:pt x="975" y="366"/>
                    </a:lnTo>
                    <a:lnTo>
                      <a:pt x="975" y="366"/>
                    </a:lnTo>
                    <a:lnTo>
                      <a:pt x="975" y="371"/>
                    </a:lnTo>
                    <a:lnTo>
                      <a:pt x="975" y="371"/>
                    </a:lnTo>
                    <a:lnTo>
                      <a:pt x="975" y="371"/>
                    </a:lnTo>
                    <a:lnTo>
                      <a:pt x="975" y="371"/>
                    </a:lnTo>
                    <a:lnTo>
                      <a:pt x="980" y="375"/>
                    </a:lnTo>
                    <a:lnTo>
                      <a:pt x="980" y="375"/>
                    </a:lnTo>
                    <a:lnTo>
                      <a:pt x="980" y="375"/>
                    </a:lnTo>
                    <a:lnTo>
                      <a:pt x="980" y="380"/>
                    </a:lnTo>
                    <a:lnTo>
                      <a:pt x="980" y="380"/>
                    </a:lnTo>
                    <a:lnTo>
                      <a:pt x="980" y="380"/>
                    </a:lnTo>
                    <a:lnTo>
                      <a:pt x="980" y="380"/>
                    </a:lnTo>
                    <a:lnTo>
                      <a:pt x="980" y="380"/>
                    </a:lnTo>
                    <a:lnTo>
                      <a:pt x="980" y="380"/>
                    </a:lnTo>
                    <a:lnTo>
                      <a:pt x="980" y="380"/>
                    </a:lnTo>
                    <a:lnTo>
                      <a:pt x="975" y="384"/>
                    </a:lnTo>
                    <a:lnTo>
                      <a:pt x="975" y="384"/>
                    </a:lnTo>
                    <a:lnTo>
                      <a:pt x="975" y="384"/>
                    </a:lnTo>
                    <a:lnTo>
                      <a:pt x="975" y="384"/>
                    </a:lnTo>
                    <a:lnTo>
                      <a:pt x="975" y="384"/>
                    </a:lnTo>
                    <a:lnTo>
                      <a:pt x="971" y="384"/>
                    </a:lnTo>
                    <a:lnTo>
                      <a:pt x="971" y="384"/>
                    </a:lnTo>
                    <a:lnTo>
                      <a:pt x="971" y="384"/>
                    </a:lnTo>
                    <a:lnTo>
                      <a:pt x="966" y="384"/>
                    </a:lnTo>
                    <a:lnTo>
                      <a:pt x="966" y="380"/>
                    </a:lnTo>
                    <a:lnTo>
                      <a:pt x="962" y="380"/>
                    </a:lnTo>
                    <a:lnTo>
                      <a:pt x="962" y="380"/>
                    </a:lnTo>
                    <a:lnTo>
                      <a:pt x="962" y="380"/>
                    </a:lnTo>
                    <a:lnTo>
                      <a:pt x="953" y="380"/>
                    </a:lnTo>
                    <a:lnTo>
                      <a:pt x="948" y="375"/>
                    </a:lnTo>
                    <a:lnTo>
                      <a:pt x="948" y="375"/>
                    </a:lnTo>
                    <a:lnTo>
                      <a:pt x="948" y="375"/>
                    </a:lnTo>
                    <a:lnTo>
                      <a:pt x="944" y="375"/>
                    </a:lnTo>
                    <a:lnTo>
                      <a:pt x="944" y="375"/>
                    </a:lnTo>
                    <a:lnTo>
                      <a:pt x="944" y="371"/>
                    </a:lnTo>
                    <a:lnTo>
                      <a:pt x="944" y="366"/>
                    </a:lnTo>
                    <a:lnTo>
                      <a:pt x="944" y="366"/>
                    </a:lnTo>
                    <a:lnTo>
                      <a:pt x="939" y="366"/>
                    </a:lnTo>
                    <a:lnTo>
                      <a:pt x="939" y="366"/>
                    </a:lnTo>
                    <a:lnTo>
                      <a:pt x="939" y="366"/>
                    </a:lnTo>
                    <a:lnTo>
                      <a:pt x="935" y="366"/>
                    </a:lnTo>
                    <a:lnTo>
                      <a:pt x="935" y="366"/>
                    </a:lnTo>
                    <a:lnTo>
                      <a:pt x="935" y="366"/>
                    </a:lnTo>
                    <a:lnTo>
                      <a:pt x="930" y="362"/>
                    </a:lnTo>
                    <a:lnTo>
                      <a:pt x="930" y="362"/>
                    </a:lnTo>
                    <a:lnTo>
                      <a:pt x="930" y="362"/>
                    </a:lnTo>
                    <a:lnTo>
                      <a:pt x="930" y="362"/>
                    </a:lnTo>
                    <a:lnTo>
                      <a:pt x="930" y="362"/>
                    </a:lnTo>
                    <a:lnTo>
                      <a:pt x="930" y="362"/>
                    </a:lnTo>
                    <a:lnTo>
                      <a:pt x="926" y="362"/>
                    </a:lnTo>
                    <a:lnTo>
                      <a:pt x="926" y="362"/>
                    </a:lnTo>
                    <a:lnTo>
                      <a:pt x="926" y="357"/>
                    </a:lnTo>
                    <a:lnTo>
                      <a:pt x="926" y="357"/>
                    </a:lnTo>
                    <a:lnTo>
                      <a:pt x="926" y="353"/>
                    </a:lnTo>
                    <a:lnTo>
                      <a:pt x="921" y="353"/>
                    </a:lnTo>
                    <a:lnTo>
                      <a:pt x="926" y="353"/>
                    </a:lnTo>
                    <a:lnTo>
                      <a:pt x="926" y="353"/>
                    </a:lnTo>
                    <a:lnTo>
                      <a:pt x="926" y="353"/>
                    </a:lnTo>
                    <a:lnTo>
                      <a:pt x="930" y="353"/>
                    </a:lnTo>
                    <a:lnTo>
                      <a:pt x="930" y="353"/>
                    </a:lnTo>
                    <a:lnTo>
                      <a:pt x="930" y="353"/>
                    </a:lnTo>
                    <a:lnTo>
                      <a:pt x="935" y="353"/>
                    </a:lnTo>
                    <a:lnTo>
                      <a:pt x="930" y="353"/>
                    </a:lnTo>
                    <a:lnTo>
                      <a:pt x="930" y="348"/>
                    </a:lnTo>
                    <a:lnTo>
                      <a:pt x="930" y="348"/>
                    </a:lnTo>
                    <a:lnTo>
                      <a:pt x="930" y="348"/>
                    </a:lnTo>
                    <a:lnTo>
                      <a:pt x="930" y="348"/>
                    </a:lnTo>
                    <a:lnTo>
                      <a:pt x="930" y="348"/>
                    </a:lnTo>
                    <a:lnTo>
                      <a:pt x="926" y="348"/>
                    </a:lnTo>
                    <a:lnTo>
                      <a:pt x="926" y="348"/>
                    </a:lnTo>
                    <a:lnTo>
                      <a:pt x="926" y="348"/>
                    </a:lnTo>
                    <a:lnTo>
                      <a:pt x="926" y="344"/>
                    </a:lnTo>
                    <a:lnTo>
                      <a:pt x="926" y="344"/>
                    </a:lnTo>
                    <a:lnTo>
                      <a:pt x="926" y="344"/>
                    </a:lnTo>
                    <a:lnTo>
                      <a:pt x="926" y="344"/>
                    </a:lnTo>
                    <a:lnTo>
                      <a:pt x="926" y="344"/>
                    </a:lnTo>
                    <a:lnTo>
                      <a:pt x="921" y="344"/>
                    </a:lnTo>
                    <a:lnTo>
                      <a:pt x="921" y="344"/>
                    </a:lnTo>
                    <a:lnTo>
                      <a:pt x="921" y="344"/>
                    </a:lnTo>
                    <a:lnTo>
                      <a:pt x="921" y="344"/>
                    </a:lnTo>
                    <a:lnTo>
                      <a:pt x="921" y="344"/>
                    </a:lnTo>
                    <a:lnTo>
                      <a:pt x="921" y="339"/>
                    </a:lnTo>
                    <a:lnTo>
                      <a:pt x="921" y="339"/>
                    </a:lnTo>
                    <a:lnTo>
                      <a:pt x="921" y="335"/>
                    </a:lnTo>
                    <a:lnTo>
                      <a:pt x="921" y="335"/>
                    </a:lnTo>
                    <a:lnTo>
                      <a:pt x="921" y="335"/>
                    </a:lnTo>
                    <a:lnTo>
                      <a:pt x="921" y="335"/>
                    </a:lnTo>
                    <a:lnTo>
                      <a:pt x="921" y="335"/>
                    </a:lnTo>
                    <a:lnTo>
                      <a:pt x="926" y="330"/>
                    </a:lnTo>
                    <a:lnTo>
                      <a:pt x="926" y="330"/>
                    </a:lnTo>
                    <a:lnTo>
                      <a:pt x="921" y="330"/>
                    </a:lnTo>
                    <a:lnTo>
                      <a:pt x="921" y="330"/>
                    </a:lnTo>
                    <a:lnTo>
                      <a:pt x="917" y="330"/>
                    </a:lnTo>
                    <a:lnTo>
                      <a:pt x="917" y="330"/>
                    </a:lnTo>
                    <a:lnTo>
                      <a:pt x="917" y="330"/>
                    </a:lnTo>
                    <a:lnTo>
                      <a:pt x="917" y="330"/>
                    </a:lnTo>
                    <a:lnTo>
                      <a:pt x="912" y="335"/>
                    </a:lnTo>
                    <a:lnTo>
                      <a:pt x="912" y="335"/>
                    </a:lnTo>
                    <a:lnTo>
                      <a:pt x="912" y="335"/>
                    </a:lnTo>
                    <a:lnTo>
                      <a:pt x="912" y="335"/>
                    </a:lnTo>
                    <a:lnTo>
                      <a:pt x="912" y="335"/>
                    </a:lnTo>
                    <a:lnTo>
                      <a:pt x="912" y="330"/>
                    </a:lnTo>
                    <a:lnTo>
                      <a:pt x="912" y="330"/>
                    </a:lnTo>
                    <a:lnTo>
                      <a:pt x="912" y="330"/>
                    </a:lnTo>
                    <a:lnTo>
                      <a:pt x="912" y="330"/>
                    </a:lnTo>
                    <a:lnTo>
                      <a:pt x="912" y="330"/>
                    </a:lnTo>
                    <a:lnTo>
                      <a:pt x="912" y="330"/>
                    </a:lnTo>
                    <a:lnTo>
                      <a:pt x="912" y="326"/>
                    </a:lnTo>
                    <a:lnTo>
                      <a:pt x="912" y="326"/>
                    </a:lnTo>
                    <a:lnTo>
                      <a:pt x="912" y="326"/>
                    </a:lnTo>
                    <a:lnTo>
                      <a:pt x="912" y="326"/>
                    </a:lnTo>
                    <a:lnTo>
                      <a:pt x="912" y="326"/>
                    </a:lnTo>
                    <a:lnTo>
                      <a:pt x="908" y="326"/>
                    </a:lnTo>
                    <a:lnTo>
                      <a:pt x="908" y="326"/>
                    </a:lnTo>
                    <a:lnTo>
                      <a:pt x="908" y="326"/>
                    </a:lnTo>
                    <a:lnTo>
                      <a:pt x="908" y="326"/>
                    </a:lnTo>
                    <a:lnTo>
                      <a:pt x="908" y="326"/>
                    </a:lnTo>
                    <a:lnTo>
                      <a:pt x="908" y="330"/>
                    </a:lnTo>
                    <a:lnTo>
                      <a:pt x="908" y="330"/>
                    </a:lnTo>
                    <a:lnTo>
                      <a:pt x="908" y="330"/>
                    </a:lnTo>
                    <a:lnTo>
                      <a:pt x="903" y="330"/>
                    </a:lnTo>
                    <a:lnTo>
                      <a:pt x="903" y="330"/>
                    </a:lnTo>
                    <a:lnTo>
                      <a:pt x="899" y="330"/>
                    </a:lnTo>
                    <a:lnTo>
                      <a:pt x="899" y="330"/>
                    </a:lnTo>
                    <a:lnTo>
                      <a:pt x="899" y="330"/>
                    </a:lnTo>
                    <a:lnTo>
                      <a:pt x="894" y="330"/>
                    </a:lnTo>
                    <a:lnTo>
                      <a:pt x="890" y="330"/>
                    </a:lnTo>
                    <a:lnTo>
                      <a:pt x="890" y="335"/>
                    </a:lnTo>
                    <a:lnTo>
                      <a:pt x="890" y="330"/>
                    </a:lnTo>
                    <a:lnTo>
                      <a:pt x="885" y="330"/>
                    </a:lnTo>
                    <a:lnTo>
                      <a:pt x="885" y="335"/>
                    </a:lnTo>
                    <a:lnTo>
                      <a:pt x="880" y="335"/>
                    </a:lnTo>
                    <a:lnTo>
                      <a:pt x="880" y="335"/>
                    </a:lnTo>
                    <a:lnTo>
                      <a:pt x="880" y="335"/>
                    </a:lnTo>
                    <a:lnTo>
                      <a:pt x="876" y="335"/>
                    </a:lnTo>
                    <a:lnTo>
                      <a:pt x="876" y="335"/>
                    </a:lnTo>
                    <a:lnTo>
                      <a:pt x="876" y="335"/>
                    </a:lnTo>
                    <a:lnTo>
                      <a:pt x="871" y="335"/>
                    </a:lnTo>
                    <a:lnTo>
                      <a:pt x="871" y="335"/>
                    </a:lnTo>
                    <a:lnTo>
                      <a:pt x="871" y="335"/>
                    </a:lnTo>
                    <a:lnTo>
                      <a:pt x="871" y="330"/>
                    </a:lnTo>
                    <a:lnTo>
                      <a:pt x="871" y="330"/>
                    </a:lnTo>
                    <a:lnTo>
                      <a:pt x="867" y="330"/>
                    </a:lnTo>
                    <a:lnTo>
                      <a:pt x="867" y="330"/>
                    </a:lnTo>
                    <a:lnTo>
                      <a:pt x="867" y="330"/>
                    </a:lnTo>
                    <a:lnTo>
                      <a:pt x="867" y="330"/>
                    </a:lnTo>
                    <a:lnTo>
                      <a:pt x="867" y="326"/>
                    </a:lnTo>
                    <a:lnTo>
                      <a:pt x="867" y="326"/>
                    </a:lnTo>
                    <a:lnTo>
                      <a:pt x="867" y="326"/>
                    </a:lnTo>
                    <a:lnTo>
                      <a:pt x="867" y="326"/>
                    </a:lnTo>
                    <a:lnTo>
                      <a:pt x="871" y="321"/>
                    </a:lnTo>
                    <a:lnTo>
                      <a:pt x="871" y="321"/>
                    </a:lnTo>
                    <a:lnTo>
                      <a:pt x="871" y="321"/>
                    </a:lnTo>
                    <a:lnTo>
                      <a:pt x="876" y="321"/>
                    </a:lnTo>
                    <a:lnTo>
                      <a:pt x="876" y="317"/>
                    </a:lnTo>
                    <a:lnTo>
                      <a:pt x="885" y="317"/>
                    </a:lnTo>
                    <a:lnTo>
                      <a:pt x="885" y="317"/>
                    </a:lnTo>
                    <a:lnTo>
                      <a:pt x="885" y="317"/>
                    </a:lnTo>
                    <a:lnTo>
                      <a:pt x="885" y="312"/>
                    </a:lnTo>
                    <a:lnTo>
                      <a:pt x="885" y="312"/>
                    </a:lnTo>
                    <a:lnTo>
                      <a:pt x="885" y="312"/>
                    </a:lnTo>
                    <a:lnTo>
                      <a:pt x="890" y="312"/>
                    </a:lnTo>
                    <a:lnTo>
                      <a:pt x="890" y="312"/>
                    </a:lnTo>
                    <a:lnTo>
                      <a:pt x="890" y="312"/>
                    </a:lnTo>
                    <a:lnTo>
                      <a:pt x="890" y="312"/>
                    </a:lnTo>
                    <a:lnTo>
                      <a:pt x="894" y="312"/>
                    </a:lnTo>
                    <a:lnTo>
                      <a:pt x="894" y="312"/>
                    </a:lnTo>
                    <a:lnTo>
                      <a:pt x="899" y="312"/>
                    </a:lnTo>
                    <a:lnTo>
                      <a:pt x="903" y="317"/>
                    </a:lnTo>
                    <a:lnTo>
                      <a:pt x="903" y="317"/>
                    </a:lnTo>
                    <a:lnTo>
                      <a:pt x="903" y="317"/>
                    </a:lnTo>
                    <a:lnTo>
                      <a:pt x="903" y="321"/>
                    </a:lnTo>
                    <a:lnTo>
                      <a:pt x="903" y="321"/>
                    </a:lnTo>
                    <a:lnTo>
                      <a:pt x="903" y="321"/>
                    </a:lnTo>
                    <a:lnTo>
                      <a:pt x="903" y="321"/>
                    </a:lnTo>
                    <a:lnTo>
                      <a:pt x="903" y="321"/>
                    </a:lnTo>
                    <a:lnTo>
                      <a:pt x="903" y="326"/>
                    </a:lnTo>
                    <a:lnTo>
                      <a:pt x="903" y="326"/>
                    </a:lnTo>
                    <a:lnTo>
                      <a:pt x="903" y="326"/>
                    </a:lnTo>
                    <a:lnTo>
                      <a:pt x="903" y="321"/>
                    </a:lnTo>
                    <a:lnTo>
                      <a:pt x="903" y="321"/>
                    </a:lnTo>
                    <a:lnTo>
                      <a:pt x="903" y="321"/>
                    </a:lnTo>
                    <a:lnTo>
                      <a:pt x="908" y="321"/>
                    </a:lnTo>
                    <a:lnTo>
                      <a:pt x="908" y="321"/>
                    </a:lnTo>
                    <a:lnTo>
                      <a:pt x="908" y="321"/>
                    </a:lnTo>
                    <a:lnTo>
                      <a:pt x="908" y="321"/>
                    </a:lnTo>
                    <a:lnTo>
                      <a:pt x="903" y="317"/>
                    </a:lnTo>
                    <a:lnTo>
                      <a:pt x="903" y="317"/>
                    </a:lnTo>
                    <a:lnTo>
                      <a:pt x="908" y="317"/>
                    </a:lnTo>
                    <a:lnTo>
                      <a:pt x="912" y="317"/>
                    </a:lnTo>
                    <a:lnTo>
                      <a:pt x="912" y="317"/>
                    </a:lnTo>
                    <a:lnTo>
                      <a:pt x="912" y="317"/>
                    </a:lnTo>
                    <a:lnTo>
                      <a:pt x="912" y="317"/>
                    </a:lnTo>
                    <a:lnTo>
                      <a:pt x="917" y="317"/>
                    </a:lnTo>
                    <a:lnTo>
                      <a:pt x="917" y="317"/>
                    </a:lnTo>
                    <a:lnTo>
                      <a:pt x="917" y="317"/>
                    </a:lnTo>
                    <a:lnTo>
                      <a:pt x="921" y="317"/>
                    </a:lnTo>
                    <a:lnTo>
                      <a:pt x="921" y="317"/>
                    </a:lnTo>
                    <a:lnTo>
                      <a:pt x="921" y="317"/>
                    </a:lnTo>
                    <a:lnTo>
                      <a:pt x="926" y="312"/>
                    </a:lnTo>
                    <a:lnTo>
                      <a:pt x="926" y="312"/>
                    </a:lnTo>
                    <a:lnTo>
                      <a:pt x="930" y="312"/>
                    </a:lnTo>
                    <a:lnTo>
                      <a:pt x="930" y="312"/>
                    </a:lnTo>
                    <a:lnTo>
                      <a:pt x="930" y="312"/>
                    </a:lnTo>
                    <a:lnTo>
                      <a:pt x="935" y="312"/>
                    </a:lnTo>
                    <a:lnTo>
                      <a:pt x="935" y="312"/>
                    </a:lnTo>
                    <a:lnTo>
                      <a:pt x="935" y="312"/>
                    </a:lnTo>
                    <a:lnTo>
                      <a:pt x="935" y="308"/>
                    </a:lnTo>
                    <a:lnTo>
                      <a:pt x="935" y="308"/>
                    </a:lnTo>
                    <a:lnTo>
                      <a:pt x="935" y="308"/>
                    </a:lnTo>
                    <a:lnTo>
                      <a:pt x="935" y="303"/>
                    </a:lnTo>
                    <a:lnTo>
                      <a:pt x="935" y="303"/>
                    </a:lnTo>
                    <a:lnTo>
                      <a:pt x="935" y="303"/>
                    </a:lnTo>
                    <a:lnTo>
                      <a:pt x="935" y="303"/>
                    </a:lnTo>
                    <a:lnTo>
                      <a:pt x="935" y="298"/>
                    </a:lnTo>
                    <a:lnTo>
                      <a:pt x="944" y="298"/>
                    </a:lnTo>
                    <a:lnTo>
                      <a:pt x="948" y="294"/>
                    </a:lnTo>
                    <a:lnTo>
                      <a:pt x="953" y="294"/>
                    </a:lnTo>
                    <a:lnTo>
                      <a:pt x="953" y="294"/>
                    </a:lnTo>
                    <a:lnTo>
                      <a:pt x="953" y="294"/>
                    </a:lnTo>
                    <a:lnTo>
                      <a:pt x="957" y="294"/>
                    </a:lnTo>
                    <a:lnTo>
                      <a:pt x="957" y="289"/>
                    </a:lnTo>
                    <a:lnTo>
                      <a:pt x="957" y="289"/>
                    </a:lnTo>
                    <a:lnTo>
                      <a:pt x="962" y="289"/>
                    </a:lnTo>
                    <a:lnTo>
                      <a:pt x="962" y="289"/>
                    </a:lnTo>
                    <a:lnTo>
                      <a:pt x="966" y="285"/>
                    </a:lnTo>
                    <a:lnTo>
                      <a:pt x="966" y="285"/>
                    </a:lnTo>
                    <a:lnTo>
                      <a:pt x="971" y="285"/>
                    </a:lnTo>
                    <a:lnTo>
                      <a:pt x="971" y="285"/>
                    </a:lnTo>
                    <a:lnTo>
                      <a:pt x="975" y="280"/>
                    </a:lnTo>
                    <a:lnTo>
                      <a:pt x="975" y="280"/>
                    </a:lnTo>
                    <a:lnTo>
                      <a:pt x="975" y="280"/>
                    </a:lnTo>
                    <a:lnTo>
                      <a:pt x="975" y="280"/>
                    </a:lnTo>
                    <a:lnTo>
                      <a:pt x="975" y="276"/>
                    </a:lnTo>
                    <a:lnTo>
                      <a:pt x="975" y="271"/>
                    </a:lnTo>
                    <a:lnTo>
                      <a:pt x="975" y="271"/>
                    </a:lnTo>
                    <a:lnTo>
                      <a:pt x="980" y="267"/>
                    </a:lnTo>
                    <a:lnTo>
                      <a:pt x="975" y="262"/>
                    </a:lnTo>
                    <a:lnTo>
                      <a:pt x="980" y="262"/>
                    </a:lnTo>
                    <a:lnTo>
                      <a:pt x="980" y="262"/>
                    </a:lnTo>
                    <a:lnTo>
                      <a:pt x="980" y="262"/>
                    </a:lnTo>
                    <a:lnTo>
                      <a:pt x="975" y="262"/>
                    </a:lnTo>
                    <a:lnTo>
                      <a:pt x="975" y="262"/>
                    </a:lnTo>
                    <a:lnTo>
                      <a:pt x="975" y="262"/>
                    </a:lnTo>
                    <a:lnTo>
                      <a:pt x="975" y="262"/>
                    </a:lnTo>
                    <a:lnTo>
                      <a:pt x="975" y="258"/>
                    </a:lnTo>
                    <a:lnTo>
                      <a:pt x="975" y="258"/>
                    </a:lnTo>
                    <a:lnTo>
                      <a:pt x="975" y="258"/>
                    </a:lnTo>
                    <a:lnTo>
                      <a:pt x="975" y="258"/>
                    </a:lnTo>
                    <a:lnTo>
                      <a:pt x="980" y="258"/>
                    </a:lnTo>
                    <a:lnTo>
                      <a:pt x="980" y="258"/>
                    </a:lnTo>
                    <a:lnTo>
                      <a:pt x="980" y="253"/>
                    </a:lnTo>
                    <a:lnTo>
                      <a:pt x="980" y="253"/>
                    </a:lnTo>
                    <a:lnTo>
                      <a:pt x="975" y="253"/>
                    </a:lnTo>
                    <a:lnTo>
                      <a:pt x="975" y="253"/>
                    </a:lnTo>
                    <a:lnTo>
                      <a:pt x="975" y="253"/>
                    </a:lnTo>
                    <a:lnTo>
                      <a:pt x="975" y="258"/>
                    </a:lnTo>
                    <a:lnTo>
                      <a:pt x="975" y="258"/>
                    </a:lnTo>
                    <a:lnTo>
                      <a:pt x="971" y="258"/>
                    </a:lnTo>
                    <a:lnTo>
                      <a:pt x="971" y="258"/>
                    </a:lnTo>
                    <a:lnTo>
                      <a:pt x="971" y="258"/>
                    </a:lnTo>
                    <a:lnTo>
                      <a:pt x="971" y="258"/>
                    </a:lnTo>
                    <a:lnTo>
                      <a:pt x="971" y="253"/>
                    </a:lnTo>
                    <a:lnTo>
                      <a:pt x="971" y="253"/>
                    </a:lnTo>
                    <a:lnTo>
                      <a:pt x="971" y="253"/>
                    </a:lnTo>
                    <a:lnTo>
                      <a:pt x="971" y="253"/>
                    </a:lnTo>
                    <a:lnTo>
                      <a:pt x="971" y="253"/>
                    </a:lnTo>
                    <a:lnTo>
                      <a:pt x="971" y="253"/>
                    </a:lnTo>
                    <a:lnTo>
                      <a:pt x="966" y="253"/>
                    </a:lnTo>
                    <a:lnTo>
                      <a:pt x="966" y="253"/>
                    </a:lnTo>
                    <a:lnTo>
                      <a:pt x="971" y="249"/>
                    </a:lnTo>
                    <a:lnTo>
                      <a:pt x="971" y="249"/>
                    </a:lnTo>
                    <a:lnTo>
                      <a:pt x="971" y="249"/>
                    </a:lnTo>
                    <a:lnTo>
                      <a:pt x="971" y="249"/>
                    </a:lnTo>
                    <a:lnTo>
                      <a:pt x="971" y="249"/>
                    </a:lnTo>
                    <a:lnTo>
                      <a:pt x="971" y="249"/>
                    </a:lnTo>
                    <a:lnTo>
                      <a:pt x="975" y="249"/>
                    </a:lnTo>
                    <a:lnTo>
                      <a:pt x="975" y="249"/>
                    </a:lnTo>
                    <a:lnTo>
                      <a:pt x="975" y="249"/>
                    </a:lnTo>
                    <a:lnTo>
                      <a:pt x="971" y="249"/>
                    </a:lnTo>
                    <a:lnTo>
                      <a:pt x="971" y="249"/>
                    </a:lnTo>
                    <a:lnTo>
                      <a:pt x="966" y="249"/>
                    </a:lnTo>
                    <a:lnTo>
                      <a:pt x="966" y="249"/>
                    </a:lnTo>
                    <a:lnTo>
                      <a:pt x="966" y="249"/>
                    </a:lnTo>
                    <a:lnTo>
                      <a:pt x="966" y="249"/>
                    </a:lnTo>
                    <a:lnTo>
                      <a:pt x="962" y="249"/>
                    </a:lnTo>
                    <a:lnTo>
                      <a:pt x="962" y="249"/>
                    </a:lnTo>
                    <a:lnTo>
                      <a:pt x="957" y="253"/>
                    </a:lnTo>
                    <a:lnTo>
                      <a:pt x="953" y="253"/>
                    </a:lnTo>
                    <a:lnTo>
                      <a:pt x="948" y="253"/>
                    </a:lnTo>
                    <a:lnTo>
                      <a:pt x="948" y="253"/>
                    </a:lnTo>
                    <a:lnTo>
                      <a:pt x="948" y="253"/>
                    </a:lnTo>
                    <a:lnTo>
                      <a:pt x="948" y="253"/>
                    </a:lnTo>
                    <a:lnTo>
                      <a:pt x="948" y="253"/>
                    </a:lnTo>
                    <a:lnTo>
                      <a:pt x="948" y="249"/>
                    </a:lnTo>
                    <a:lnTo>
                      <a:pt x="948" y="249"/>
                    </a:lnTo>
                    <a:lnTo>
                      <a:pt x="953" y="249"/>
                    </a:lnTo>
                    <a:lnTo>
                      <a:pt x="953" y="249"/>
                    </a:lnTo>
                    <a:lnTo>
                      <a:pt x="953" y="249"/>
                    </a:lnTo>
                    <a:lnTo>
                      <a:pt x="957" y="249"/>
                    </a:lnTo>
                    <a:lnTo>
                      <a:pt x="957" y="249"/>
                    </a:lnTo>
                    <a:lnTo>
                      <a:pt x="962" y="249"/>
                    </a:lnTo>
                    <a:lnTo>
                      <a:pt x="962" y="249"/>
                    </a:lnTo>
                    <a:lnTo>
                      <a:pt x="962" y="244"/>
                    </a:lnTo>
                    <a:lnTo>
                      <a:pt x="966" y="244"/>
                    </a:lnTo>
                    <a:lnTo>
                      <a:pt x="966" y="244"/>
                    </a:lnTo>
                    <a:lnTo>
                      <a:pt x="966" y="244"/>
                    </a:lnTo>
                    <a:lnTo>
                      <a:pt x="966" y="244"/>
                    </a:lnTo>
                    <a:lnTo>
                      <a:pt x="966" y="240"/>
                    </a:lnTo>
                    <a:lnTo>
                      <a:pt x="962" y="240"/>
                    </a:lnTo>
                    <a:lnTo>
                      <a:pt x="962" y="240"/>
                    </a:lnTo>
                    <a:lnTo>
                      <a:pt x="962" y="240"/>
                    </a:lnTo>
                    <a:lnTo>
                      <a:pt x="962" y="240"/>
                    </a:lnTo>
                    <a:lnTo>
                      <a:pt x="962" y="240"/>
                    </a:lnTo>
                    <a:lnTo>
                      <a:pt x="962" y="240"/>
                    </a:lnTo>
                    <a:lnTo>
                      <a:pt x="962" y="235"/>
                    </a:lnTo>
                    <a:lnTo>
                      <a:pt x="966" y="235"/>
                    </a:lnTo>
                    <a:lnTo>
                      <a:pt x="966" y="235"/>
                    </a:lnTo>
                    <a:lnTo>
                      <a:pt x="966" y="235"/>
                    </a:lnTo>
                    <a:lnTo>
                      <a:pt x="966" y="235"/>
                    </a:lnTo>
                    <a:lnTo>
                      <a:pt x="966" y="235"/>
                    </a:lnTo>
                    <a:lnTo>
                      <a:pt x="962" y="235"/>
                    </a:lnTo>
                    <a:lnTo>
                      <a:pt x="962" y="235"/>
                    </a:lnTo>
                    <a:lnTo>
                      <a:pt x="962" y="235"/>
                    </a:lnTo>
                    <a:lnTo>
                      <a:pt x="957" y="235"/>
                    </a:lnTo>
                    <a:lnTo>
                      <a:pt x="957" y="235"/>
                    </a:lnTo>
                    <a:lnTo>
                      <a:pt x="957" y="235"/>
                    </a:lnTo>
                    <a:lnTo>
                      <a:pt x="957" y="235"/>
                    </a:lnTo>
                    <a:lnTo>
                      <a:pt x="957" y="235"/>
                    </a:lnTo>
                    <a:lnTo>
                      <a:pt x="957" y="235"/>
                    </a:lnTo>
                    <a:lnTo>
                      <a:pt x="962" y="235"/>
                    </a:lnTo>
                    <a:lnTo>
                      <a:pt x="962" y="235"/>
                    </a:lnTo>
                    <a:lnTo>
                      <a:pt x="962" y="231"/>
                    </a:lnTo>
                    <a:lnTo>
                      <a:pt x="962" y="231"/>
                    </a:lnTo>
                    <a:lnTo>
                      <a:pt x="957" y="231"/>
                    </a:lnTo>
                    <a:lnTo>
                      <a:pt x="957" y="231"/>
                    </a:lnTo>
                    <a:lnTo>
                      <a:pt x="957" y="231"/>
                    </a:lnTo>
                    <a:lnTo>
                      <a:pt x="957" y="231"/>
                    </a:lnTo>
                    <a:lnTo>
                      <a:pt x="957" y="231"/>
                    </a:lnTo>
                    <a:lnTo>
                      <a:pt x="957" y="226"/>
                    </a:lnTo>
                    <a:lnTo>
                      <a:pt x="957" y="226"/>
                    </a:lnTo>
                    <a:lnTo>
                      <a:pt x="962" y="226"/>
                    </a:lnTo>
                    <a:lnTo>
                      <a:pt x="957" y="226"/>
                    </a:lnTo>
                    <a:lnTo>
                      <a:pt x="957" y="226"/>
                    </a:lnTo>
                    <a:lnTo>
                      <a:pt x="953" y="226"/>
                    </a:lnTo>
                    <a:lnTo>
                      <a:pt x="953" y="226"/>
                    </a:lnTo>
                    <a:lnTo>
                      <a:pt x="953" y="222"/>
                    </a:lnTo>
                    <a:lnTo>
                      <a:pt x="953" y="222"/>
                    </a:lnTo>
                    <a:lnTo>
                      <a:pt x="953" y="222"/>
                    </a:lnTo>
                    <a:lnTo>
                      <a:pt x="953" y="222"/>
                    </a:lnTo>
                    <a:lnTo>
                      <a:pt x="953" y="222"/>
                    </a:lnTo>
                    <a:lnTo>
                      <a:pt x="953" y="217"/>
                    </a:lnTo>
                    <a:lnTo>
                      <a:pt x="953" y="217"/>
                    </a:lnTo>
                    <a:lnTo>
                      <a:pt x="953" y="217"/>
                    </a:lnTo>
                    <a:lnTo>
                      <a:pt x="953" y="217"/>
                    </a:lnTo>
                    <a:lnTo>
                      <a:pt x="948" y="217"/>
                    </a:lnTo>
                    <a:lnTo>
                      <a:pt x="948" y="217"/>
                    </a:lnTo>
                    <a:lnTo>
                      <a:pt x="944" y="222"/>
                    </a:lnTo>
                    <a:lnTo>
                      <a:pt x="944" y="222"/>
                    </a:lnTo>
                    <a:lnTo>
                      <a:pt x="944" y="222"/>
                    </a:lnTo>
                    <a:lnTo>
                      <a:pt x="948" y="222"/>
                    </a:lnTo>
                    <a:lnTo>
                      <a:pt x="948" y="222"/>
                    </a:lnTo>
                    <a:lnTo>
                      <a:pt x="948" y="222"/>
                    </a:lnTo>
                    <a:lnTo>
                      <a:pt x="948" y="226"/>
                    </a:lnTo>
                    <a:lnTo>
                      <a:pt x="948" y="226"/>
                    </a:lnTo>
                    <a:lnTo>
                      <a:pt x="948" y="226"/>
                    </a:lnTo>
                    <a:lnTo>
                      <a:pt x="944" y="226"/>
                    </a:lnTo>
                    <a:lnTo>
                      <a:pt x="944" y="226"/>
                    </a:lnTo>
                    <a:lnTo>
                      <a:pt x="939" y="231"/>
                    </a:lnTo>
                    <a:lnTo>
                      <a:pt x="939" y="231"/>
                    </a:lnTo>
                    <a:lnTo>
                      <a:pt x="935" y="231"/>
                    </a:lnTo>
                    <a:lnTo>
                      <a:pt x="935" y="231"/>
                    </a:lnTo>
                    <a:lnTo>
                      <a:pt x="930" y="226"/>
                    </a:lnTo>
                    <a:lnTo>
                      <a:pt x="930" y="226"/>
                    </a:lnTo>
                    <a:lnTo>
                      <a:pt x="930" y="226"/>
                    </a:lnTo>
                    <a:lnTo>
                      <a:pt x="926" y="226"/>
                    </a:lnTo>
                    <a:lnTo>
                      <a:pt x="926" y="226"/>
                    </a:lnTo>
                    <a:lnTo>
                      <a:pt x="921" y="226"/>
                    </a:lnTo>
                    <a:lnTo>
                      <a:pt x="917" y="226"/>
                    </a:lnTo>
                    <a:lnTo>
                      <a:pt x="917" y="226"/>
                    </a:lnTo>
                    <a:lnTo>
                      <a:pt x="917" y="226"/>
                    </a:lnTo>
                    <a:lnTo>
                      <a:pt x="917" y="226"/>
                    </a:lnTo>
                    <a:lnTo>
                      <a:pt x="917" y="226"/>
                    </a:lnTo>
                    <a:lnTo>
                      <a:pt x="917" y="226"/>
                    </a:lnTo>
                    <a:lnTo>
                      <a:pt x="921" y="226"/>
                    </a:lnTo>
                    <a:lnTo>
                      <a:pt x="921" y="231"/>
                    </a:lnTo>
                    <a:lnTo>
                      <a:pt x="921" y="231"/>
                    </a:lnTo>
                    <a:lnTo>
                      <a:pt x="921" y="231"/>
                    </a:lnTo>
                    <a:lnTo>
                      <a:pt x="917" y="231"/>
                    </a:lnTo>
                    <a:lnTo>
                      <a:pt x="912" y="226"/>
                    </a:lnTo>
                    <a:lnTo>
                      <a:pt x="908" y="226"/>
                    </a:lnTo>
                    <a:lnTo>
                      <a:pt x="908" y="226"/>
                    </a:lnTo>
                    <a:lnTo>
                      <a:pt x="903" y="226"/>
                    </a:lnTo>
                    <a:lnTo>
                      <a:pt x="903" y="226"/>
                    </a:lnTo>
                    <a:lnTo>
                      <a:pt x="899" y="226"/>
                    </a:lnTo>
                    <a:lnTo>
                      <a:pt x="899" y="226"/>
                    </a:lnTo>
                    <a:lnTo>
                      <a:pt x="899" y="226"/>
                    </a:lnTo>
                    <a:lnTo>
                      <a:pt x="894" y="226"/>
                    </a:lnTo>
                    <a:lnTo>
                      <a:pt x="890" y="226"/>
                    </a:lnTo>
                    <a:lnTo>
                      <a:pt x="885" y="222"/>
                    </a:lnTo>
                    <a:lnTo>
                      <a:pt x="880" y="222"/>
                    </a:lnTo>
                    <a:lnTo>
                      <a:pt x="880" y="222"/>
                    </a:lnTo>
                    <a:lnTo>
                      <a:pt x="880" y="222"/>
                    </a:lnTo>
                    <a:lnTo>
                      <a:pt x="880" y="222"/>
                    </a:lnTo>
                    <a:lnTo>
                      <a:pt x="876" y="222"/>
                    </a:lnTo>
                    <a:lnTo>
                      <a:pt x="871" y="222"/>
                    </a:lnTo>
                    <a:lnTo>
                      <a:pt x="867" y="222"/>
                    </a:lnTo>
                    <a:lnTo>
                      <a:pt x="867" y="222"/>
                    </a:lnTo>
                    <a:lnTo>
                      <a:pt x="867" y="217"/>
                    </a:lnTo>
                    <a:lnTo>
                      <a:pt x="867" y="217"/>
                    </a:lnTo>
                    <a:lnTo>
                      <a:pt x="867" y="217"/>
                    </a:lnTo>
                    <a:lnTo>
                      <a:pt x="871" y="213"/>
                    </a:lnTo>
                    <a:lnTo>
                      <a:pt x="871" y="213"/>
                    </a:lnTo>
                    <a:lnTo>
                      <a:pt x="871" y="213"/>
                    </a:lnTo>
                    <a:lnTo>
                      <a:pt x="867" y="213"/>
                    </a:lnTo>
                    <a:lnTo>
                      <a:pt x="867" y="217"/>
                    </a:lnTo>
                    <a:lnTo>
                      <a:pt x="867" y="213"/>
                    </a:lnTo>
                    <a:lnTo>
                      <a:pt x="862" y="213"/>
                    </a:lnTo>
                    <a:lnTo>
                      <a:pt x="862" y="213"/>
                    </a:lnTo>
                    <a:lnTo>
                      <a:pt x="862" y="213"/>
                    </a:lnTo>
                    <a:lnTo>
                      <a:pt x="862" y="217"/>
                    </a:lnTo>
                    <a:lnTo>
                      <a:pt x="862" y="217"/>
                    </a:lnTo>
                    <a:lnTo>
                      <a:pt x="862" y="217"/>
                    </a:lnTo>
                    <a:lnTo>
                      <a:pt x="858" y="217"/>
                    </a:lnTo>
                    <a:lnTo>
                      <a:pt x="858" y="217"/>
                    </a:lnTo>
                    <a:lnTo>
                      <a:pt x="858" y="217"/>
                    </a:lnTo>
                    <a:lnTo>
                      <a:pt x="853" y="217"/>
                    </a:lnTo>
                    <a:lnTo>
                      <a:pt x="853" y="217"/>
                    </a:lnTo>
                    <a:lnTo>
                      <a:pt x="853" y="217"/>
                    </a:lnTo>
                    <a:lnTo>
                      <a:pt x="853" y="213"/>
                    </a:lnTo>
                    <a:lnTo>
                      <a:pt x="849" y="213"/>
                    </a:lnTo>
                    <a:lnTo>
                      <a:pt x="849" y="213"/>
                    </a:lnTo>
                    <a:lnTo>
                      <a:pt x="849" y="213"/>
                    </a:lnTo>
                    <a:lnTo>
                      <a:pt x="849" y="213"/>
                    </a:lnTo>
                    <a:lnTo>
                      <a:pt x="849" y="208"/>
                    </a:lnTo>
                    <a:lnTo>
                      <a:pt x="849" y="204"/>
                    </a:lnTo>
                    <a:lnTo>
                      <a:pt x="849" y="204"/>
                    </a:lnTo>
                    <a:lnTo>
                      <a:pt x="849" y="199"/>
                    </a:lnTo>
                    <a:lnTo>
                      <a:pt x="849" y="199"/>
                    </a:lnTo>
                    <a:lnTo>
                      <a:pt x="853" y="199"/>
                    </a:lnTo>
                    <a:lnTo>
                      <a:pt x="853" y="204"/>
                    </a:lnTo>
                    <a:lnTo>
                      <a:pt x="858" y="204"/>
                    </a:lnTo>
                    <a:lnTo>
                      <a:pt x="862" y="204"/>
                    </a:lnTo>
                    <a:lnTo>
                      <a:pt x="862" y="204"/>
                    </a:lnTo>
                    <a:lnTo>
                      <a:pt x="862" y="204"/>
                    </a:lnTo>
                    <a:lnTo>
                      <a:pt x="867" y="204"/>
                    </a:lnTo>
                    <a:lnTo>
                      <a:pt x="867" y="204"/>
                    </a:lnTo>
                    <a:lnTo>
                      <a:pt x="871" y="204"/>
                    </a:lnTo>
                    <a:lnTo>
                      <a:pt x="876" y="204"/>
                    </a:lnTo>
                    <a:lnTo>
                      <a:pt x="871" y="204"/>
                    </a:lnTo>
                    <a:lnTo>
                      <a:pt x="871" y="204"/>
                    </a:lnTo>
                    <a:lnTo>
                      <a:pt x="871" y="199"/>
                    </a:lnTo>
                    <a:lnTo>
                      <a:pt x="871" y="199"/>
                    </a:lnTo>
                    <a:lnTo>
                      <a:pt x="867" y="199"/>
                    </a:lnTo>
                    <a:lnTo>
                      <a:pt x="862" y="199"/>
                    </a:lnTo>
                    <a:lnTo>
                      <a:pt x="858" y="199"/>
                    </a:lnTo>
                    <a:lnTo>
                      <a:pt x="858" y="194"/>
                    </a:lnTo>
                    <a:lnTo>
                      <a:pt x="853" y="194"/>
                    </a:lnTo>
                    <a:lnTo>
                      <a:pt x="853" y="194"/>
                    </a:lnTo>
                    <a:lnTo>
                      <a:pt x="853" y="194"/>
                    </a:lnTo>
                    <a:lnTo>
                      <a:pt x="858" y="190"/>
                    </a:lnTo>
                    <a:lnTo>
                      <a:pt x="858" y="190"/>
                    </a:lnTo>
                    <a:lnTo>
                      <a:pt x="862" y="185"/>
                    </a:lnTo>
                    <a:lnTo>
                      <a:pt x="862" y="185"/>
                    </a:lnTo>
                    <a:lnTo>
                      <a:pt x="862" y="185"/>
                    </a:lnTo>
                    <a:lnTo>
                      <a:pt x="867" y="181"/>
                    </a:lnTo>
                    <a:lnTo>
                      <a:pt x="871" y="181"/>
                    </a:lnTo>
                    <a:lnTo>
                      <a:pt x="871" y="181"/>
                    </a:lnTo>
                    <a:lnTo>
                      <a:pt x="871" y="181"/>
                    </a:lnTo>
                    <a:lnTo>
                      <a:pt x="871" y="181"/>
                    </a:lnTo>
                    <a:lnTo>
                      <a:pt x="871" y="181"/>
                    </a:lnTo>
                    <a:lnTo>
                      <a:pt x="871" y="176"/>
                    </a:lnTo>
                    <a:lnTo>
                      <a:pt x="871" y="176"/>
                    </a:lnTo>
                    <a:lnTo>
                      <a:pt x="871" y="176"/>
                    </a:lnTo>
                    <a:lnTo>
                      <a:pt x="876" y="176"/>
                    </a:lnTo>
                    <a:lnTo>
                      <a:pt x="876" y="172"/>
                    </a:lnTo>
                    <a:lnTo>
                      <a:pt x="880" y="172"/>
                    </a:lnTo>
                    <a:lnTo>
                      <a:pt x="885" y="172"/>
                    </a:lnTo>
                    <a:lnTo>
                      <a:pt x="885" y="167"/>
                    </a:lnTo>
                    <a:lnTo>
                      <a:pt x="890" y="167"/>
                    </a:lnTo>
                    <a:lnTo>
                      <a:pt x="890" y="167"/>
                    </a:lnTo>
                    <a:lnTo>
                      <a:pt x="894" y="167"/>
                    </a:lnTo>
                    <a:lnTo>
                      <a:pt x="894" y="163"/>
                    </a:lnTo>
                    <a:lnTo>
                      <a:pt x="894" y="163"/>
                    </a:lnTo>
                    <a:lnTo>
                      <a:pt x="899" y="163"/>
                    </a:lnTo>
                    <a:lnTo>
                      <a:pt x="903" y="163"/>
                    </a:lnTo>
                    <a:lnTo>
                      <a:pt x="903" y="163"/>
                    </a:lnTo>
                    <a:lnTo>
                      <a:pt x="903" y="163"/>
                    </a:lnTo>
                    <a:lnTo>
                      <a:pt x="903" y="158"/>
                    </a:lnTo>
                    <a:lnTo>
                      <a:pt x="903" y="158"/>
                    </a:lnTo>
                    <a:lnTo>
                      <a:pt x="912" y="158"/>
                    </a:lnTo>
                    <a:lnTo>
                      <a:pt x="917" y="154"/>
                    </a:lnTo>
                    <a:lnTo>
                      <a:pt x="921" y="154"/>
                    </a:lnTo>
                    <a:lnTo>
                      <a:pt x="921" y="154"/>
                    </a:lnTo>
                    <a:lnTo>
                      <a:pt x="930" y="154"/>
                    </a:lnTo>
                    <a:lnTo>
                      <a:pt x="935" y="154"/>
                    </a:lnTo>
                    <a:lnTo>
                      <a:pt x="939" y="154"/>
                    </a:lnTo>
                    <a:lnTo>
                      <a:pt x="948" y="154"/>
                    </a:lnTo>
                    <a:lnTo>
                      <a:pt x="948" y="158"/>
                    </a:lnTo>
                    <a:lnTo>
                      <a:pt x="948" y="158"/>
                    </a:lnTo>
                    <a:lnTo>
                      <a:pt x="948" y="158"/>
                    </a:lnTo>
                    <a:lnTo>
                      <a:pt x="948" y="158"/>
                    </a:lnTo>
                    <a:lnTo>
                      <a:pt x="944" y="158"/>
                    </a:lnTo>
                    <a:lnTo>
                      <a:pt x="939" y="158"/>
                    </a:lnTo>
                    <a:lnTo>
                      <a:pt x="935" y="163"/>
                    </a:lnTo>
                    <a:lnTo>
                      <a:pt x="930" y="163"/>
                    </a:lnTo>
                    <a:lnTo>
                      <a:pt x="926" y="163"/>
                    </a:lnTo>
                    <a:lnTo>
                      <a:pt x="917" y="167"/>
                    </a:lnTo>
                    <a:lnTo>
                      <a:pt x="917" y="172"/>
                    </a:lnTo>
                    <a:lnTo>
                      <a:pt x="917" y="172"/>
                    </a:lnTo>
                    <a:lnTo>
                      <a:pt x="912" y="172"/>
                    </a:lnTo>
                    <a:lnTo>
                      <a:pt x="912" y="172"/>
                    </a:lnTo>
                    <a:lnTo>
                      <a:pt x="912" y="176"/>
                    </a:lnTo>
                    <a:lnTo>
                      <a:pt x="912" y="176"/>
                    </a:lnTo>
                    <a:lnTo>
                      <a:pt x="912" y="176"/>
                    </a:lnTo>
                    <a:lnTo>
                      <a:pt x="908" y="181"/>
                    </a:lnTo>
                    <a:lnTo>
                      <a:pt x="908" y="181"/>
                    </a:lnTo>
                    <a:lnTo>
                      <a:pt x="903" y="185"/>
                    </a:lnTo>
                    <a:lnTo>
                      <a:pt x="903" y="185"/>
                    </a:lnTo>
                    <a:lnTo>
                      <a:pt x="903" y="185"/>
                    </a:lnTo>
                    <a:lnTo>
                      <a:pt x="899" y="190"/>
                    </a:lnTo>
                    <a:lnTo>
                      <a:pt x="899" y="190"/>
                    </a:lnTo>
                    <a:lnTo>
                      <a:pt x="899" y="194"/>
                    </a:lnTo>
                    <a:lnTo>
                      <a:pt x="903" y="194"/>
                    </a:lnTo>
                    <a:lnTo>
                      <a:pt x="903" y="194"/>
                    </a:lnTo>
                    <a:lnTo>
                      <a:pt x="903" y="199"/>
                    </a:lnTo>
                    <a:lnTo>
                      <a:pt x="903" y="199"/>
                    </a:lnTo>
                    <a:lnTo>
                      <a:pt x="899" y="199"/>
                    </a:lnTo>
                    <a:lnTo>
                      <a:pt x="899" y="199"/>
                    </a:lnTo>
                    <a:lnTo>
                      <a:pt x="894" y="204"/>
                    </a:lnTo>
                    <a:lnTo>
                      <a:pt x="890" y="204"/>
                    </a:lnTo>
                    <a:lnTo>
                      <a:pt x="885" y="204"/>
                    </a:lnTo>
                    <a:lnTo>
                      <a:pt x="880" y="204"/>
                    </a:lnTo>
                    <a:lnTo>
                      <a:pt x="880" y="204"/>
                    </a:lnTo>
                    <a:moveTo>
                      <a:pt x="804" y="140"/>
                    </a:moveTo>
                    <a:lnTo>
                      <a:pt x="804" y="140"/>
                    </a:lnTo>
                    <a:lnTo>
                      <a:pt x="808" y="145"/>
                    </a:lnTo>
                    <a:lnTo>
                      <a:pt x="808" y="145"/>
                    </a:lnTo>
                    <a:lnTo>
                      <a:pt x="813" y="145"/>
                    </a:lnTo>
                    <a:lnTo>
                      <a:pt x="817" y="145"/>
                    </a:lnTo>
                    <a:lnTo>
                      <a:pt x="817" y="145"/>
                    </a:lnTo>
                    <a:lnTo>
                      <a:pt x="822" y="145"/>
                    </a:lnTo>
                    <a:lnTo>
                      <a:pt x="822" y="145"/>
                    </a:lnTo>
                    <a:lnTo>
                      <a:pt x="826" y="145"/>
                    </a:lnTo>
                    <a:lnTo>
                      <a:pt x="826" y="145"/>
                    </a:lnTo>
                    <a:lnTo>
                      <a:pt x="826" y="145"/>
                    </a:lnTo>
                    <a:lnTo>
                      <a:pt x="831" y="145"/>
                    </a:lnTo>
                    <a:lnTo>
                      <a:pt x="831" y="145"/>
                    </a:lnTo>
                    <a:lnTo>
                      <a:pt x="831" y="145"/>
                    </a:lnTo>
                    <a:lnTo>
                      <a:pt x="826" y="149"/>
                    </a:lnTo>
                    <a:lnTo>
                      <a:pt x="826" y="149"/>
                    </a:lnTo>
                    <a:lnTo>
                      <a:pt x="826" y="149"/>
                    </a:lnTo>
                    <a:lnTo>
                      <a:pt x="826" y="149"/>
                    </a:lnTo>
                    <a:lnTo>
                      <a:pt x="826" y="149"/>
                    </a:lnTo>
                    <a:lnTo>
                      <a:pt x="822" y="149"/>
                    </a:lnTo>
                    <a:lnTo>
                      <a:pt x="822" y="149"/>
                    </a:lnTo>
                    <a:lnTo>
                      <a:pt x="822" y="149"/>
                    </a:lnTo>
                    <a:lnTo>
                      <a:pt x="817" y="149"/>
                    </a:lnTo>
                    <a:lnTo>
                      <a:pt x="817" y="149"/>
                    </a:lnTo>
                    <a:lnTo>
                      <a:pt x="817" y="154"/>
                    </a:lnTo>
                    <a:lnTo>
                      <a:pt x="817" y="154"/>
                    </a:lnTo>
                    <a:lnTo>
                      <a:pt x="817" y="154"/>
                    </a:lnTo>
                    <a:lnTo>
                      <a:pt x="817" y="154"/>
                    </a:lnTo>
                    <a:lnTo>
                      <a:pt x="822" y="154"/>
                    </a:lnTo>
                    <a:lnTo>
                      <a:pt x="822" y="154"/>
                    </a:lnTo>
                    <a:lnTo>
                      <a:pt x="822" y="154"/>
                    </a:lnTo>
                    <a:lnTo>
                      <a:pt x="817" y="154"/>
                    </a:lnTo>
                    <a:lnTo>
                      <a:pt x="817" y="154"/>
                    </a:lnTo>
                    <a:lnTo>
                      <a:pt x="813" y="154"/>
                    </a:lnTo>
                    <a:lnTo>
                      <a:pt x="804" y="158"/>
                    </a:lnTo>
                    <a:lnTo>
                      <a:pt x="799" y="158"/>
                    </a:lnTo>
                    <a:lnTo>
                      <a:pt x="799" y="158"/>
                    </a:lnTo>
                    <a:lnTo>
                      <a:pt x="799" y="158"/>
                    </a:lnTo>
                    <a:lnTo>
                      <a:pt x="799" y="158"/>
                    </a:lnTo>
                    <a:lnTo>
                      <a:pt x="799" y="158"/>
                    </a:lnTo>
                    <a:lnTo>
                      <a:pt x="799" y="163"/>
                    </a:lnTo>
                    <a:lnTo>
                      <a:pt x="804" y="158"/>
                    </a:lnTo>
                    <a:lnTo>
                      <a:pt x="804" y="158"/>
                    </a:lnTo>
                    <a:lnTo>
                      <a:pt x="804" y="158"/>
                    </a:lnTo>
                    <a:lnTo>
                      <a:pt x="808" y="158"/>
                    </a:lnTo>
                    <a:lnTo>
                      <a:pt x="808" y="158"/>
                    </a:lnTo>
                    <a:lnTo>
                      <a:pt x="808" y="158"/>
                    </a:lnTo>
                    <a:lnTo>
                      <a:pt x="808" y="163"/>
                    </a:lnTo>
                    <a:lnTo>
                      <a:pt x="808" y="163"/>
                    </a:lnTo>
                    <a:lnTo>
                      <a:pt x="808" y="163"/>
                    </a:lnTo>
                    <a:lnTo>
                      <a:pt x="808" y="163"/>
                    </a:lnTo>
                    <a:lnTo>
                      <a:pt x="808" y="163"/>
                    </a:lnTo>
                    <a:lnTo>
                      <a:pt x="808" y="163"/>
                    </a:lnTo>
                    <a:lnTo>
                      <a:pt x="808" y="163"/>
                    </a:lnTo>
                    <a:lnTo>
                      <a:pt x="808" y="167"/>
                    </a:lnTo>
                    <a:lnTo>
                      <a:pt x="804" y="167"/>
                    </a:lnTo>
                    <a:lnTo>
                      <a:pt x="804" y="167"/>
                    </a:lnTo>
                    <a:lnTo>
                      <a:pt x="804" y="167"/>
                    </a:lnTo>
                    <a:lnTo>
                      <a:pt x="804" y="167"/>
                    </a:lnTo>
                    <a:lnTo>
                      <a:pt x="808" y="167"/>
                    </a:lnTo>
                    <a:lnTo>
                      <a:pt x="813" y="167"/>
                    </a:lnTo>
                    <a:lnTo>
                      <a:pt x="813" y="167"/>
                    </a:lnTo>
                    <a:lnTo>
                      <a:pt x="813" y="167"/>
                    </a:lnTo>
                    <a:lnTo>
                      <a:pt x="813" y="167"/>
                    </a:lnTo>
                    <a:lnTo>
                      <a:pt x="808" y="167"/>
                    </a:lnTo>
                    <a:lnTo>
                      <a:pt x="808" y="172"/>
                    </a:lnTo>
                    <a:lnTo>
                      <a:pt x="808" y="172"/>
                    </a:lnTo>
                    <a:lnTo>
                      <a:pt x="804" y="172"/>
                    </a:lnTo>
                    <a:lnTo>
                      <a:pt x="804" y="172"/>
                    </a:lnTo>
                    <a:lnTo>
                      <a:pt x="804" y="172"/>
                    </a:lnTo>
                    <a:lnTo>
                      <a:pt x="799" y="172"/>
                    </a:lnTo>
                    <a:lnTo>
                      <a:pt x="799" y="172"/>
                    </a:lnTo>
                    <a:lnTo>
                      <a:pt x="799" y="172"/>
                    </a:lnTo>
                    <a:lnTo>
                      <a:pt x="799" y="176"/>
                    </a:lnTo>
                    <a:lnTo>
                      <a:pt x="799" y="176"/>
                    </a:lnTo>
                    <a:lnTo>
                      <a:pt x="799" y="176"/>
                    </a:lnTo>
                    <a:lnTo>
                      <a:pt x="799" y="176"/>
                    </a:lnTo>
                    <a:lnTo>
                      <a:pt x="795" y="176"/>
                    </a:lnTo>
                    <a:lnTo>
                      <a:pt x="795" y="176"/>
                    </a:lnTo>
                    <a:lnTo>
                      <a:pt x="795" y="176"/>
                    </a:lnTo>
                    <a:lnTo>
                      <a:pt x="795" y="181"/>
                    </a:lnTo>
                    <a:lnTo>
                      <a:pt x="795" y="181"/>
                    </a:lnTo>
                    <a:lnTo>
                      <a:pt x="790" y="181"/>
                    </a:lnTo>
                    <a:lnTo>
                      <a:pt x="786" y="181"/>
                    </a:lnTo>
                    <a:lnTo>
                      <a:pt x="786" y="181"/>
                    </a:lnTo>
                    <a:lnTo>
                      <a:pt x="786" y="185"/>
                    </a:lnTo>
                    <a:lnTo>
                      <a:pt x="781" y="185"/>
                    </a:lnTo>
                    <a:lnTo>
                      <a:pt x="781" y="185"/>
                    </a:lnTo>
                    <a:lnTo>
                      <a:pt x="772" y="181"/>
                    </a:lnTo>
                    <a:lnTo>
                      <a:pt x="772" y="181"/>
                    </a:lnTo>
                    <a:lnTo>
                      <a:pt x="772" y="181"/>
                    </a:lnTo>
                    <a:lnTo>
                      <a:pt x="777" y="181"/>
                    </a:lnTo>
                    <a:lnTo>
                      <a:pt x="777" y="181"/>
                    </a:lnTo>
                    <a:lnTo>
                      <a:pt x="777" y="181"/>
                    </a:lnTo>
                    <a:lnTo>
                      <a:pt x="777" y="181"/>
                    </a:lnTo>
                    <a:lnTo>
                      <a:pt x="777" y="181"/>
                    </a:lnTo>
                    <a:lnTo>
                      <a:pt x="777" y="181"/>
                    </a:lnTo>
                    <a:lnTo>
                      <a:pt x="772" y="181"/>
                    </a:lnTo>
                    <a:lnTo>
                      <a:pt x="772" y="181"/>
                    </a:lnTo>
                    <a:lnTo>
                      <a:pt x="772" y="185"/>
                    </a:lnTo>
                    <a:lnTo>
                      <a:pt x="772" y="185"/>
                    </a:lnTo>
                    <a:lnTo>
                      <a:pt x="768" y="185"/>
                    </a:lnTo>
                    <a:lnTo>
                      <a:pt x="768" y="185"/>
                    </a:lnTo>
                    <a:lnTo>
                      <a:pt x="763" y="190"/>
                    </a:lnTo>
                    <a:lnTo>
                      <a:pt x="763" y="190"/>
                    </a:lnTo>
                    <a:lnTo>
                      <a:pt x="763" y="190"/>
                    </a:lnTo>
                    <a:lnTo>
                      <a:pt x="759" y="190"/>
                    </a:lnTo>
                    <a:lnTo>
                      <a:pt x="759" y="185"/>
                    </a:lnTo>
                    <a:lnTo>
                      <a:pt x="759" y="185"/>
                    </a:lnTo>
                    <a:lnTo>
                      <a:pt x="759" y="185"/>
                    </a:lnTo>
                    <a:lnTo>
                      <a:pt x="759" y="185"/>
                    </a:lnTo>
                    <a:lnTo>
                      <a:pt x="759" y="185"/>
                    </a:lnTo>
                    <a:lnTo>
                      <a:pt x="759" y="185"/>
                    </a:lnTo>
                    <a:lnTo>
                      <a:pt x="759" y="181"/>
                    </a:lnTo>
                    <a:lnTo>
                      <a:pt x="759" y="181"/>
                    </a:lnTo>
                    <a:lnTo>
                      <a:pt x="759" y="176"/>
                    </a:lnTo>
                    <a:lnTo>
                      <a:pt x="759" y="176"/>
                    </a:lnTo>
                    <a:lnTo>
                      <a:pt x="759" y="172"/>
                    </a:lnTo>
                    <a:lnTo>
                      <a:pt x="759" y="172"/>
                    </a:lnTo>
                    <a:lnTo>
                      <a:pt x="759" y="172"/>
                    </a:lnTo>
                    <a:lnTo>
                      <a:pt x="759" y="172"/>
                    </a:lnTo>
                    <a:lnTo>
                      <a:pt x="759" y="172"/>
                    </a:lnTo>
                    <a:lnTo>
                      <a:pt x="759" y="172"/>
                    </a:lnTo>
                    <a:lnTo>
                      <a:pt x="759" y="167"/>
                    </a:lnTo>
                    <a:lnTo>
                      <a:pt x="759" y="167"/>
                    </a:lnTo>
                    <a:lnTo>
                      <a:pt x="754" y="167"/>
                    </a:lnTo>
                    <a:lnTo>
                      <a:pt x="754" y="167"/>
                    </a:lnTo>
                    <a:lnTo>
                      <a:pt x="754" y="167"/>
                    </a:lnTo>
                    <a:lnTo>
                      <a:pt x="754" y="167"/>
                    </a:lnTo>
                    <a:lnTo>
                      <a:pt x="754" y="167"/>
                    </a:lnTo>
                    <a:lnTo>
                      <a:pt x="754" y="167"/>
                    </a:lnTo>
                    <a:lnTo>
                      <a:pt x="754" y="167"/>
                    </a:lnTo>
                    <a:lnTo>
                      <a:pt x="754" y="167"/>
                    </a:lnTo>
                    <a:lnTo>
                      <a:pt x="749" y="163"/>
                    </a:lnTo>
                    <a:lnTo>
                      <a:pt x="749" y="163"/>
                    </a:lnTo>
                    <a:lnTo>
                      <a:pt x="754" y="158"/>
                    </a:lnTo>
                    <a:lnTo>
                      <a:pt x="754" y="158"/>
                    </a:lnTo>
                    <a:lnTo>
                      <a:pt x="754" y="158"/>
                    </a:lnTo>
                    <a:lnTo>
                      <a:pt x="754" y="158"/>
                    </a:lnTo>
                    <a:lnTo>
                      <a:pt x="759" y="158"/>
                    </a:lnTo>
                    <a:lnTo>
                      <a:pt x="759" y="154"/>
                    </a:lnTo>
                    <a:lnTo>
                      <a:pt x="763" y="154"/>
                    </a:lnTo>
                    <a:lnTo>
                      <a:pt x="763" y="154"/>
                    </a:lnTo>
                    <a:lnTo>
                      <a:pt x="768" y="154"/>
                    </a:lnTo>
                    <a:lnTo>
                      <a:pt x="768" y="154"/>
                    </a:lnTo>
                    <a:lnTo>
                      <a:pt x="768" y="158"/>
                    </a:lnTo>
                    <a:lnTo>
                      <a:pt x="768" y="158"/>
                    </a:lnTo>
                    <a:lnTo>
                      <a:pt x="768" y="158"/>
                    </a:lnTo>
                    <a:lnTo>
                      <a:pt x="768" y="158"/>
                    </a:lnTo>
                    <a:lnTo>
                      <a:pt x="768" y="158"/>
                    </a:lnTo>
                    <a:lnTo>
                      <a:pt x="768" y="158"/>
                    </a:lnTo>
                    <a:lnTo>
                      <a:pt x="763" y="163"/>
                    </a:lnTo>
                    <a:lnTo>
                      <a:pt x="763" y="163"/>
                    </a:lnTo>
                    <a:lnTo>
                      <a:pt x="768" y="163"/>
                    </a:lnTo>
                    <a:lnTo>
                      <a:pt x="768" y="163"/>
                    </a:lnTo>
                    <a:lnTo>
                      <a:pt x="772" y="163"/>
                    </a:lnTo>
                    <a:lnTo>
                      <a:pt x="777" y="163"/>
                    </a:lnTo>
                    <a:lnTo>
                      <a:pt x="777" y="163"/>
                    </a:lnTo>
                    <a:lnTo>
                      <a:pt x="781" y="158"/>
                    </a:lnTo>
                    <a:lnTo>
                      <a:pt x="781" y="158"/>
                    </a:lnTo>
                    <a:lnTo>
                      <a:pt x="781" y="158"/>
                    </a:lnTo>
                    <a:lnTo>
                      <a:pt x="781" y="158"/>
                    </a:lnTo>
                    <a:lnTo>
                      <a:pt x="781" y="158"/>
                    </a:lnTo>
                    <a:lnTo>
                      <a:pt x="781" y="158"/>
                    </a:lnTo>
                    <a:lnTo>
                      <a:pt x="781" y="158"/>
                    </a:lnTo>
                    <a:lnTo>
                      <a:pt x="781" y="158"/>
                    </a:lnTo>
                    <a:lnTo>
                      <a:pt x="786" y="158"/>
                    </a:lnTo>
                    <a:lnTo>
                      <a:pt x="786" y="154"/>
                    </a:lnTo>
                    <a:lnTo>
                      <a:pt x="781" y="154"/>
                    </a:lnTo>
                    <a:lnTo>
                      <a:pt x="781" y="154"/>
                    </a:lnTo>
                    <a:lnTo>
                      <a:pt x="781" y="154"/>
                    </a:lnTo>
                    <a:lnTo>
                      <a:pt x="781" y="154"/>
                    </a:lnTo>
                    <a:lnTo>
                      <a:pt x="781" y="154"/>
                    </a:lnTo>
                    <a:lnTo>
                      <a:pt x="786" y="154"/>
                    </a:lnTo>
                    <a:lnTo>
                      <a:pt x="786" y="154"/>
                    </a:lnTo>
                    <a:lnTo>
                      <a:pt x="786" y="154"/>
                    </a:lnTo>
                    <a:lnTo>
                      <a:pt x="786" y="154"/>
                    </a:lnTo>
                    <a:lnTo>
                      <a:pt x="786" y="154"/>
                    </a:lnTo>
                    <a:lnTo>
                      <a:pt x="790" y="154"/>
                    </a:lnTo>
                    <a:lnTo>
                      <a:pt x="790" y="154"/>
                    </a:lnTo>
                    <a:lnTo>
                      <a:pt x="790" y="154"/>
                    </a:lnTo>
                    <a:lnTo>
                      <a:pt x="790" y="154"/>
                    </a:lnTo>
                    <a:lnTo>
                      <a:pt x="790" y="154"/>
                    </a:lnTo>
                    <a:lnTo>
                      <a:pt x="786" y="154"/>
                    </a:lnTo>
                    <a:lnTo>
                      <a:pt x="786" y="154"/>
                    </a:lnTo>
                    <a:lnTo>
                      <a:pt x="781" y="154"/>
                    </a:lnTo>
                    <a:lnTo>
                      <a:pt x="781" y="154"/>
                    </a:lnTo>
                    <a:lnTo>
                      <a:pt x="781" y="149"/>
                    </a:lnTo>
                    <a:lnTo>
                      <a:pt x="781" y="149"/>
                    </a:lnTo>
                    <a:lnTo>
                      <a:pt x="781" y="149"/>
                    </a:lnTo>
                    <a:lnTo>
                      <a:pt x="781" y="149"/>
                    </a:lnTo>
                    <a:lnTo>
                      <a:pt x="781" y="149"/>
                    </a:lnTo>
                    <a:lnTo>
                      <a:pt x="781" y="149"/>
                    </a:lnTo>
                    <a:lnTo>
                      <a:pt x="786" y="149"/>
                    </a:lnTo>
                    <a:lnTo>
                      <a:pt x="786" y="149"/>
                    </a:lnTo>
                    <a:lnTo>
                      <a:pt x="786" y="149"/>
                    </a:lnTo>
                    <a:lnTo>
                      <a:pt x="790" y="149"/>
                    </a:lnTo>
                    <a:lnTo>
                      <a:pt x="790" y="149"/>
                    </a:lnTo>
                    <a:lnTo>
                      <a:pt x="790" y="149"/>
                    </a:lnTo>
                    <a:lnTo>
                      <a:pt x="790" y="149"/>
                    </a:lnTo>
                    <a:lnTo>
                      <a:pt x="790" y="149"/>
                    </a:lnTo>
                    <a:lnTo>
                      <a:pt x="790" y="149"/>
                    </a:lnTo>
                    <a:lnTo>
                      <a:pt x="790" y="149"/>
                    </a:lnTo>
                    <a:lnTo>
                      <a:pt x="790" y="145"/>
                    </a:lnTo>
                    <a:lnTo>
                      <a:pt x="790" y="145"/>
                    </a:lnTo>
                    <a:lnTo>
                      <a:pt x="790" y="145"/>
                    </a:lnTo>
                    <a:lnTo>
                      <a:pt x="790" y="145"/>
                    </a:lnTo>
                    <a:lnTo>
                      <a:pt x="790" y="145"/>
                    </a:lnTo>
                    <a:lnTo>
                      <a:pt x="795" y="145"/>
                    </a:lnTo>
                    <a:lnTo>
                      <a:pt x="799" y="145"/>
                    </a:lnTo>
                    <a:lnTo>
                      <a:pt x="799" y="145"/>
                    </a:lnTo>
                    <a:lnTo>
                      <a:pt x="799" y="145"/>
                    </a:lnTo>
                    <a:lnTo>
                      <a:pt x="804" y="145"/>
                    </a:lnTo>
                    <a:lnTo>
                      <a:pt x="804" y="145"/>
                    </a:lnTo>
                    <a:lnTo>
                      <a:pt x="804" y="145"/>
                    </a:lnTo>
                    <a:lnTo>
                      <a:pt x="799" y="145"/>
                    </a:lnTo>
                    <a:lnTo>
                      <a:pt x="799" y="145"/>
                    </a:lnTo>
                    <a:lnTo>
                      <a:pt x="799" y="145"/>
                    </a:lnTo>
                    <a:lnTo>
                      <a:pt x="804" y="140"/>
                    </a:lnTo>
                    <a:lnTo>
                      <a:pt x="804" y="140"/>
                    </a:lnTo>
                    <a:moveTo>
                      <a:pt x="876" y="145"/>
                    </a:moveTo>
                    <a:lnTo>
                      <a:pt x="876" y="145"/>
                    </a:lnTo>
                    <a:lnTo>
                      <a:pt x="876" y="145"/>
                    </a:lnTo>
                    <a:lnTo>
                      <a:pt x="880" y="145"/>
                    </a:lnTo>
                    <a:lnTo>
                      <a:pt x="880" y="145"/>
                    </a:lnTo>
                    <a:lnTo>
                      <a:pt x="880" y="149"/>
                    </a:lnTo>
                    <a:lnTo>
                      <a:pt x="880" y="149"/>
                    </a:lnTo>
                    <a:lnTo>
                      <a:pt x="885" y="149"/>
                    </a:lnTo>
                    <a:lnTo>
                      <a:pt x="890" y="149"/>
                    </a:lnTo>
                    <a:lnTo>
                      <a:pt x="894" y="149"/>
                    </a:lnTo>
                    <a:lnTo>
                      <a:pt x="894" y="149"/>
                    </a:lnTo>
                    <a:lnTo>
                      <a:pt x="899" y="149"/>
                    </a:lnTo>
                    <a:lnTo>
                      <a:pt x="899" y="149"/>
                    </a:lnTo>
                    <a:lnTo>
                      <a:pt x="894" y="154"/>
                    </a:lnTo>
                    <a:lnTo>
                      <a:pt x="894" y="154"/>
                    </a:lnTo>
                    <a:lnTo>
                      <a:pt x="890" y="154"/>
                    </a:lnTo>
                    <a:lnTo>
                      <a:pt x="885" y="154"/>
                    </a:lnTo>
                    <a:lnTo>
                      <a:pt x="885" y="158"/>
                    </a:lnTo>
                    <a:lnTo>
                      <a:pt x="885" y="158"/>
                    </a:lnTo>
                    <a:lnTo>
                      <a:pt x="880" y="158"/>
                    </a:lnTo>
                    <a:lnTo>
                      <a:pt x="880" y="158"/>
                    </a:lnTo>
                    <a:lnTo>
                      <a:pt x="876" y="158"/>
                    </a:lnTo>
                    <a:lnTo>
                      <a:pt x="876" y="158"/>
                    </a:lnTo>
                    <a:lnTo>
                      <a:pt x="871" y="163"/>
                    </a:lnTo>
                    <a:lnTo>
                      <a:pt x="871" y="163"/>
                    </a:lnTo>
                    <a:lnTo>
                      <a:pt x="871" y="163"/>
                    </a:lnTo>
                    <a:lnTo>
                      <a:pt x="871" y="163"/>
                    </a:lnTo>
                    <a:lnTo>
                      <a:pt x="867" y="163"/>
                    </a:lnTo>
                    <a:lnTo>
                      <a:pt x="862" y="167"/>
                    </a:lnTo>
                    <a:lnTo>
                      <a:pt x="862" y="167"/>
                    </a:lnTo>
                    <a:lnTo>
                      <a:pt x="858" y="167"/>
                    </a:lnTo>
                    <a:lnTo>
                      <a:pt x="853" y="167"/>
                    </a:lnTo>
                    <a:lnTo>
                      <a:pt x="853" y="167"/>
                    </a:lnTo>
                    <a:lnTo>
                      <a:pt x="844" y="167"/>
                    </a:lnTo>
                    <a:lnTo>
                      <a:pt x="844" y="167"/>
                    </a:lnTo>
                    <a:lnTo>
                      <a:pt x="835" y="167"/>
                    </a:lnTo>
                    <a:lnTo>
                      <a:pt x="835" y="167"/>
                    </a:lnTo>
                    <a:lnTo>
                      <a:pt x="840" y="167"/>
                    </a:lnTo>
                    <a:lnTo>
                      <a:pt x="840" y="167"/>
                    </a:lnTo>
                    <a:lnTo>
                      <a:pt x="840" y="172"/>
                    </a:lnTo>
                    <a:lnTo>
                      <a:pt x="840" y="172"/>
                    </a:lnTo>
                    <a:lnTo>
                      <a:pt x="840" y="172"/>
                    </a:lnTo>
                    <a:lnTo>
                      <a:pt x="835" y="172"/>
                    </a:lnTo>
                    <a:lnTo>
                      <a:pt x="835" y="172"/>
                    </a:lnTo>
                    <a:lnTo>
                      <a:pt x="831" y="176"/>
                    </a:lnTo>
                    <a:lnTo>
                      <a:pt x="826" y="176"/>
                    </a:lnTo>
                    <a:lnTo>
                      <a:pt x="822" y="181"/>
                    </a:lnTo>
                    <a:lnTo>
                      <a:pt x="822" y="181"/>
                    </a:lnTo>
                    <a:lnTo>
                      <a:pt x="817" y="181"/>
                    </a:lnTo>
                    <a:lnTo>
                      <a:pt x="817" y="181"/>
                    </a:lnTo>
                    <a:lnTo>
                      <a:pt x="813" y="181"/>
                    </a:lnTo>
                    <a:lnTo>
                      <a:pt x="813" y="181"/>
                    </a:lnTo>
                    <a:lnTo>
                      <a:pt x="813" y="176"/>
                    </a:lnTo>
                    <a:lnTo>
                      <a:pt x="817" y="172"/>
                    </a:lnTo>
                    <a:lnTo>
                      <a:pt x="822" y="172"/>
                    </a:lnTo>
                    <a:lnTo>
                      <a:pt x="822" y="167"/>
                    </a:lnTo>
                    <a:lnTo>
                      <a:pt x="822" y="163"/>
                    </a:lnTo>
                    <a:lnTo>
                      <a:pt x="826" y="163"/>
                    </a:lnTo>
                    <a:lnTo>
                      <a:pt x="826" y="163"/>
                    </a:lnTo>
                    <a:lnTo>
                      <a:pt x="826" y="163"/>
                    </a:lnTo>
                    <a:lnTo>
                      <a:pt x="831" y="158"/>
                    </a:lnTo>
                    <a:lnTo>
                      <a:pt x="831" y="158"/>
                    </a:lnTo>
                    <a:lnTo>
                      <a:pt x="835" y="158"/>
                    </a:lnTo>
                    <a:lnTo>
                      <a:pt x="840" y="154"/>
                    </a:lnTo>
                    <a:lnTo>
                      <a:pt x="840" y="149"/>
                    </a:lnTo>
                    <a:lnTo>
                      <a:pt x="840" y="149"/>
                    </a:lnTo>
                    <a:lnTo>
                      <a:pt x="840" y="149"/>
                    </a:lnTo>
                    <a:lnTo>
                      <a:pt x="844" y="149"/>
                    </a:lnTo>
                    <a:lnTo>
                      <a:pt x="844" y="149"/>
                    </a:lnTo>
                    <a:lnTo>
                      <a:pt x="844" y="149"/>
                    </a:lnTo>
                    <a:lnTo>
                      <a:pt x="849" y="149"/>
                    </a:lnTo>
                    <a:lnTo>
                      <a:pt x="849" y="149"/>
                    </a:lnTo>
                    <a:lnTo>
                      <a:pt x="849" y="149"/>
                    </a:lnTo>
                    <a:lnTo>
                      <a:pt x="849" y="149"/>
                    </a:lnTo>
                    <a:lnTo>
                      <a:pt x="849" y="149"/>
                    </a:lnTo>
                    <a:lnTo>
                      <a:pt x="849" y="149"/>
                    </a:lnTo>
                    <a:lnTo>
                      <a:pt x="849" y="149"/>
                    </a:lnTo>
                    <a:lnTo>
                      <a:pt x="849" y="145"/>
                    </a:lnTo>
                    <a:lnTo>
                      <a:pt x="849" y="145"/>
                    </a:lnTo>
                    <a:lnTo>
                      <a:pt x="853" y="145"/>
                    </a:lnTo>
                    <a:lnTo>
                      <a:pt x="853" y="145"/>
                    </a:lnTo>
                    <a:lnTo>
                      <a:pt x="853" y="145"/>
                    </a:lnTo>
                    <a:lnTo>
                      <a:pt x="853" y="145"/>
                    </a:lnTo>
                    <a:lnTo>
                      <a:pt x="853" y="145"/>
                    </a:lnTo>
                    <a:lnTo>
                      <a:pt x="858" y="145"/>
                    </a:lnTo>
                    <a:lnTo>
                      <a:pt x="862" y="145"/>
                    </a:lnTo>
                    <a:lnTo>
                      <a:pt x="867" y="145"/>
                    </a:lnTo>
                    <a:lnTo>
                      <a:pt x="867" y="145"/>
                    </a:lnTo>
                    <a:lnTo>
                      <a:pt x="871" y="145"/>
                    </a:lnTo>
                    <a:lnTo>
                      <a:pt x="871" y="145"/>
                    </a:lnTo>
                    <a:lnTo>
                      <a:pt x="876" y="145"/>
                    </a:lnTo>
                    <a:moveTo>
                      <a:pt x="623" y="122"/>
                    </a:moveTo>
                    <a:lnTo>
                      <a:pt x="623" y="122"/>
                    </a:lnTo>
                    <a:lnTo>
                      <a:pt x="623" y="122"/>
                    </a:lnTo>
                    <a:lnTo>
                      <a:pt x="628" y="122"/>
                    </a:lnTo>
                    <a:lnTo>
                      <a:pt x="628" y="122"/>
                    </a:lnTo>
                    <a:lnTo>
                      <a:pt x="628" y="122"/>
                    </a:lnTo>
                    <a:lnTo>
                      <a:pt x="628" y="122"/>
                    </a:lnTo>
                    <a:lnTo>
                      <a:pt x="628" y="122"/>
                    </a:lnTo>
                    <a:lnTo>
                      <a:pt x="628" y="122"/>
                    </a:lnTo>
                    <a:lnTo>
                      <a:pt x="628" y="122"/>
                    </a:lnTo>
                    <a:lnTo>
                      <a:pt x="628" y="122"/>
                    </a:lnTo>
                    <a:lnTo>
                      <a:pt x="628" y="122"/>
                    </a:lnTo>
                    <a:lnTo>
                      <a:pt x="628" y="122"/>
                    </a:lnTo>
                    <a:lnTo>
                      <a:pt x="632" y="122"/>
                    </a:lnTo>
                    <a:lnTo>
                      <a:pt x="637" y="122"/>
                    </a:lnTo>
                    <a:lnTo>
                      <a:pt x="637" y="122"/>
                    </a:lnTo>
                    <a:lnTo>
                      <a:pt x="641" y="122"/>
                    </a:lnTo>
                    <a:lnTo>
                      <a:pt x="641" y="122"/>
                    </a:lnTo>
                    <a:lnTo>
                      <a:pt x="646" y="122"/>
                    </a:lnTo>
                    <a:lnTo>
                      <a:pt x="646" y="122"/>
                    </a:lnTo>
                    <a:lnTo>
                      <a:pt x="646" y="122"/>
                    </a:lnTo>
                    <a:lnTo>
                      <a:pt x="646" y="127"/>
                    </a:lnTo>
                    <a:lnTo>
                      <a:pt x="650" y="127"/>
                    </a:lnTo>
                    <a:lnTo>
                      <a:pt x="650" y="131"/>
                    </a:lnTo>
                    <a:lnTo>
                      <a:pt x="650" y="131"/>
                    </a:lnTo>
                    <a:lnTo>
                      <a:pt x="650" y="136"/>
                    </a:lnTo>
                    <a:lnTo>
                      <a:pt x="650" y="136"/>
                    </a:lnTo>
                    <a:lnTo>
                      <a:pt x="650" y="136"/>
                    </a:lnTo>
                    <a:lnTo>
                      <a:pt x="646" y="136"/>
                    </a:lnTo>
                    <a:lnTo>
                      <a:pt x="646" y="136"/>
                    </a:lnTo>
                    <a:lnTo>
                      <a:pt x="646" y="136"/>
                    </a:lnTo>
                    <a:lnTo>
                      <a:pt x="646" y="136"/>
                    </a:lnTo>
                    <a:lnTo>
                      <a:pt x="637" y="140"/>
                    </a:lnTo>
                    <a:lnTo>
                      <a:pt x="637" y="140"/>
                    </a:lnTo>
                    <a:lnTo>
                      <a:pt x="632" y="140"/>
                    </a:lnTo>
                    <a:lnTo>
                      <a:pt x="623" y="140"/>
                    </a:lnTo>
                    <a:lnTo>
                      <a:pt x="618" y="140"/>
                    </a:lnTo>
                    <a:lnTo>
                      <a:pt x="609" y="145"/>
                    </a:lnTo>
                    <a:lnTo>
                      <a:pt x="596" y="145"/>
                    </a:lnTo>
                    <a:lnTo>
                      <a:pt x="591" y="145"/>
                    </a:lnTo>
                    <a:lnTo>
                      <a:pt x="591" y="149"/>
                    </a:lnTo>
                    <a:lnTo>
                      <a:pt x="582" y="149"/>
                    </a:lnTo>
                    <a:lnTo>
                      <a:pt x="578" y="154"/>
                    </a:lnTo>
                    <a:lnTo>
                      <a:pt x="573" y="154"/>
                    </a:lnTo>
                    <a:lnTo>
                      <a:pt x="573" y="154"/>
                    </a:lnTo>
                    <a:lnTo>
                      <a:pt x="569" y="154"/>
                    </a:lnTo>
                    <a:lnTo>
                      <a:pt x="569" y="154"/>
                    </a:lnTo>
                    <a:lnTo>
                      <a:pt x="564" y="158"/>
                    </a:lnTo>
                    <a:lnTo>
                      <a:pt x="560" y="158"/>
                    </a:lnTo>
                    <a:lnTo>
                      <a:pt x="555" y="163"/>
                    </a:lnTo>
                    <a:lnTo>
                      <a:pt x="551" y="163"/>
                    </a:lnTo>
                    <a:lnTo>
                      <a:pt x="551" y="163"/>
                    </a:lnTo>
                    <a:lnTo>
                      <a:pt x="551" y="163"/>
                    </a:lnTo>
                    <a:lnTo>
                      <a:pt x="546" y="163"/>
                    </a:lnTo>
                    <a:lnTo>
                      <a:pt x="542" y="163"/>
                    </a:lnTo>
                    <a:lnTo>
                      <a:pt x="537" y="163"/>
                    </a:lnTo>
                    <a:lnTo>
                      <a:pt x="537" y="163"/>
                    </a:lnTo>
                    <a:lnTo>
                      <a:pt x="537" y="163"/>
                    </a:lnTo>
                    <a:lnTo>
                      <a:pt x="537" y="163"/>
                    </a:lnTo>
                    <a:lnTo>
                      <a:pt x="537" y="163"/>
                    </a:lnTo>
                    <a:lnTo>
                      <a:pt x="528" y="167"/>
                    </a:lnTo>
                    <a:lnTo>
                      <a:pt x="524" y="167"/>
                    </a:lnTo>
                    <a:lnTo>
                      <a:pt x="519" y="167"/>
                    </a:lnTo>
                    <a:lnTo>
                      <a:pt x="519" y="167"/>
                    </a:lnTo>
                    <a:lnTo>
                      <a:pt x="515" y="167"/>
                    </a:lnTo>
                    <a:lnTo>
                      <a:pt x="515" y="167"/>
                    </a:lnTo>
                    <a:lnTo>
                      <a:pt x="515" y="167"/>
                    </a:lnTo>
                    <a:lnTo>
                      <a:pt x="515" y="167"/>
                    </a:lnTo>
                    <a:lnTo>
                      <a:pt x="515" y="167"/>
                    </a:lnTo>
                    <a:lnTo>
                      <a:pt x="519" y="163"/>
                    </a:lnTo>
                    <a:lnTo>
                      <a:pt x="519" y="163"/>
                    </a:lnTo>
                    <a:lnTo>
                      <a:pt x="519" y="158"/>
                    </a:lnTo>
                    <a:lnTo>
                      <a:pt x="519" y="158"/>
                    </a:lnTo>
                    <a:lnTo>
                      <a:pt x="519" y="158"/>
                    </a:lnTo>
                    <a:lnTo>
                      <a:pt x="519" y="154"/>
                    </a:lnTo>
                    <a:lnTo>
                      <a:pt x="515" y="154"/>
                    </a:lnTo>
                    <a:lnTo>
                      <a:pt x="515" y="154"/>
                    </a:lnTo>
                    <a:lnTo>
                      <a:pt x="515" y="149"/>
                    </a:lnTo>
                    <a:lnTo>
                      <a:pt x="510" y="149"/>
                    </a:lnTo>
                    <a:lnTo>
                      <a:pt x="510" y="149"/>
                    </a:lnTo>
                    <a:lnTo>
                      <a:pt x="510" y="149"/>
                    </a:lnTo>
                    <a:lnTo>
                      <a:pt x="515" y="149"/>
                    </a:lnTo>
                    <a:lnTo>
                      <a:pt x="515" y="149"/>
                    </a:lnTo>
                    <a:lnTo>
                      <a:pt x="515" y="149"/>
                    </a:lnTo>
                    <a:lnTo>
                      <a:pt x="515" y="149"/>
                    </a:lnTo>
                    <a:lnTo>
                      <a:pt x="515" y="149"/>
                    </a:lnTo>
                    <a:lnTo>
                      <a:pt x="519" y="149"/>
                    </a:lnTo>
                    <a:lnTo>
                      <a:pt x="519" y="149"/>
                    </a:lnTo>
                    <a:lnTo>
                      <a:pt x="519" y="145"/>
                    </a:lnTo>
                    <a:lnTo>
                      <a:pt x="519" y="145"/>
                    </a:lnTo>
                    <a:lnTo>
                      <a:pt x="519" y="145"/>
                    </a:lnTo>
                    <a:lnTo>
                      <a:pt x="519" y="145"/>
                    </a:lnTo>
                    <a:lnTo>
                      <a:pt x="524" y="145"/>
                    </a:lnTo>
                    <a:lnTo>
                      <a:pt x="524" y="145"/>
                    </a:lnTo>
                    <a:lnTo>
                      <a:pt x="528" y="145"/>
                    </a:lnTo>
                    <a:lnTo>
                      <a:pt x="528" y="145"/>
                    </a:lnTo>
                    <a:lnTo>
                      <a:pt x="533" y="140"/>
                    </a:lnTo>
                    <a:lnTo>
                      <a:pt x="533" y="140"/>
                    </a:lnTo>
                    <a:lnTo>
                      <a:pt x="537" y="140"/>
                    </a:lnTo>
                    <a:lnTo>
                      <a:pt x="537" y="140"/>
                    </a:lnTo>
                    <a:lnTo>
                      <a:pt x="537" y="140"/>
                    </a:lnTo>
                    <a:lnTo>
                      <a:pt x="537" y="140"/>
                    </a:lnTo>
                    <a:lnTo>
                      <a:pt x="537" y="140"/>
                    </a:lnTo>
                    <a:lnTo>
                      <a:pt x="542" y="140"/>
                    </a:lnTo>
                    <a:lnTo>
                      <a:pt x="542" y="136"/>
                    </a:lnTo>
                    <a:lnTo>
                      <a:pt x="542" y="136"/>
                    </a:lnTo>
                    <a:lnTo>
                      <a:pt x="542" y="136"/>
                    </a:lnTo>
                    <a:lnTo>
                      <a:pt x="546" y="136"/>
                    </a:lnTo>
                    <a:lnTo>
                      <a:pt x="546" y="136"/>
                    </a:lnTo>
                    <a:lnTo>
                      <a:pt x="551" y="136"/>
                    </a:lnTo>
                    <a:lnTo>
                      <a:pt x="551" y="136"/>
                    </a:lnTo>
                    <a:lnTo>
                      <a:pt x="551" y="136"/>
                    </a:lnTo>
                    <a:lnTo>
                      <a:pt x="551" y="136"/>
                    </a:lnTo>
                    <a:lnTo>
                      <a:pt x="551" y="136"/>
                    </a:lnTo>
                    <a:lnTo>
                      <a:pt x="551" y="136"/>
                    </a:lnTo>
                    <a:lnTo>
                      <a:pt x="551" y="136"/>
                    </a:lnTo>
                    <a:lnTo>
                      <a:pt x="551" y="131"/>
                    </a:lnTo>
                    <a:lnTo>
                      <a:pt x="555" y="131"/>
                    </a:lnTo>
                    <a:lnTo>
                      <a:pt x="555" y="131"/>
                    </a:lnTo>
                    <a:lnTo>
                      <a:pt x="560" y="127"/>
                    </a:lnTo>
                    <a:lnTo>
                      <a:pt x="569" y="127"/>
                    </a:lnTo>
                    <a:lnTo>
                      <a:pt x="573" y="127"/>
                    </a:lnTo>
                    <a:lnTo>
                      <a:pt x="578" y="122"/>
                    </a:lnTo>
                    <a:lnTo>
                      <a:pt x="578" y="122"/>
                    </a:lnTo>
                    <a:lnTo>
                      <a:pt x="578" y="122"/>
                    </a:lnTo>
                    <a:lnTo>
                      <a:pt x="578" y="122"/>
                    </a:lnTo>
                    <a:lnTo>
                      <a:pt x="578" y="122"/>
                    </a:lnTo>
                    <a:lnTo>
                      <a:pt x="578" y="122"/>
                    </a:lnTo>
                    <a:lnTo>
                      <a:pt x="582" y="113"/>
                    </a:lnTo>
                    <a:lnTo>
                      <a:pt x="582" y="113"/>
                    </a:lnTo>
                    <a:lnTo>
                      <a:pt x="582" y="113"/>
                    </a:lnTo>
                    <a:lnTo>
                      <a:pt x="582" y="113"/>
                    </a:lnTo>
                    <a:lnTo>
                      <a:pt x="582" y="113"/>
                    </a:lnTo>
                    <a:lnTo>
                      <a:pt x="596" y="113"/>
                    </a:lnTo>
                    <a:lnTo>
                      <a:pt x="605" y="113"/>
                    </a:lnTo>
                    <a:lnTo>
                      <a:pt x="614" y="113"/>
                    </a:lnTo>
                    <a:lnTo>
                      <a:pt x="618" y="113"/>
                    </a:lnTo>
                    <a:lnTo>
                      <a:pt x="618" y="113"/>
                    </a:lnTo>
                    <a:lnTo>
                      <a:pt x="618" y="113"/>
                    </a:lnTo>
                    <a:lnTo>
                      <a:pt x="618" y="118"/>
                    </a:lnTo>
                    <a:lnTo>
                      <a:pt x="623" y="118"/>
                    </a:lnTo>
                    <a:lnTo>
                      <a:pt x="623" y="118"/>
                    </a:lnTo>
                    <a:lnTo>
                      <a:pt x="628" y="122"/>
                    </a:lnTo>
                    <a:lnTo>
                      <a:pt x="623" y="122"/>
                    </a:lnTo>
                    <a:lnTo>
                      <a:pt x="623" y="122"/>
                    </a:lnTo>
                    <a:lnTo>
                      <a:pt x="623" y="122"/>
                    </a:lnTo>
                    <a:moveTo>
                      <a:pt x="790" y="122"/>
                    </a:moveTo>
                    <a:lnTo>
                      <a:pt x="790" y="122"/>
                    </a:lnTo>
                    <a:lnTo>
                      <a:pt x="786" y="122"/>
                    </a:lnTo>
                    <a:lnTo>
                      <a:pt x="786" y="118"/>
                    </a:lnTo>
                    <a:lnTo>
                      <a:pt x="786" y="118"/>
                    </a:lnTo>
                    <a:lnTo>
                      <a:pt x="786" y="118"/>
                    </a:lnTo>
                    <a:lnTo>
                      <a:pt x="786" y="118"/>
                    </a:lnTo>
                    <a:lnTo>
                      <a:pt x="786" y="118"/>
                    </a:lnTo>
                    <a:lnTo>
                      <a:pt x="786" y="118"/>
                    </a:lnTo>
                    <a:lnTo>
                      <a:pt x="790" y="113"/>
                    </a:lnTo>
                    <a:lnTo>
                      <a:pt x="790" y="113"/>
                    </a:lnTo>
                    <a:lnTo>
                      <a:pt x="795" y="113"/>
                    </a:lnTo>
                    <a:lnTo>
                      <a:pt x="795" y="113"/>
                    </a:lnTo>
                    <a:lnTo>
                      <a:pt x="799" y="113"/>
                    </a:lnTo>
                    <a:lnTo>
                      <a:pt x="799" y="113"/>
                    </a:lnTo>
                    <a:lnTo>
                      <a:pt x="799" y="113"/>
                    </a:lnTo>
                    <a:lnTo>
                      <a:pt x="799" y="113"/>
                    </a:lnTo>
                    <a:lnTo>
                      <a:pt x="799" y="118"/>
                    </a:lnTo>
                    <a:lnTo>
                      <a:pt x="799" y="118"/>
                    </a:lnTo>
                    <a:lnTo>
                      <a:pt x="799" y="118"/>
                    </a:lnTo>
                    <a:lnTo>
                      <a:pt x="799" y="118"/>
                    </a:lnTo>
                    <a:lnTo>
                      <a:pt x="799" y="118"/>
                    </a:lnTo>
                    <a:lnTo>
                      <a:pt x="795" y="118"/>
                    </a:lnTo>
                    <a:lnTo>
                      <a:pt x="795" y="118"/>
                    </a:lnTo>
                    <a:lnTo>
                      <a:pt x="795" y="118"/>
                    </a:lnTo>
                    <a:lnTo>
                      <a:pt x="790" y="122"/>
                    </a:lnTo>
                    <a:moveTo>
                      <a:pt x="890" y="127"/>
                    </a:moveTo>
                    <a:lnTo>
                      <a:pt x="890" y="127"/>
                    </a:lnTo>
                    <a:lnTo>
                      <a:pt x="890" y="131"/>
                    </a:lnTo>
                    <a:lnTo>
                      <a:pt x="890" y="131"/>
                    </a:lnTo>
                    <a:lnTo>
                      <a:pt x="885" y="131"/>
                    </a:lnTo>
                    <a:lnTo>
                      <a:pt x="885" y="131"/>
                    </a:lnTo>
                    <a:lnTo>
                      <a:pt x="885" y="131"/>
                    </a:lnTo>
                    <a:lnTo>
                      <a:pt x="885" y="131"/>
                    </a:lnTo>
                    <a:lnTo>
                      <a:pt x="885" y="136"/>
                    </a:lnTo>
                    <a:lnTo>
                      <a:pt x="880" y="136"/>
                    </a:lnTo>
                    <a:lnTo>
                      <a:pt x="880" y="136"/>
                    </a:lnTo>
                    <a:lnTo>
                      <a:pt x="880" y="136"/>
                    </a:lnTo>
                    <a:lnTo>
                      <a:pt x="876" y="136"/>
                    </a:lnTo>
                    <a:lnTo>
                      <a:pt x="876" y="136"/>
                    </a:lnTo>
                    <a:lnTo>
                      <a:pt x="871" y="136"/>
                    </a:lnTo>
                    <a:lnTo>
                      <a:pt x="871" y="136"/>
                    </a:lnTo>
                    <a:lnTo>
                      <a:pt x="871" y="136"/>
                    </a:lnTo>
                    <a:lnTo>
                      <a:pt x="871" y="131"/>
                    </a:lnTo>
                    <a:lnTo>
                      <a:pt x="867" y="131"/>
                    </a:lnTo>
                    <a:lnTo>
                      <a:pt x="867" y="131"/>
                    </a:lnTo>
                    <a:lnTo>
                      <a:pt x="862" y="131"/>
                    </a:lnTo>
                    <a:lnTo>
                      <a:pt x="862" y="127"/>
                    </a:lnTo>
                    <a:lnTo>
                      <a:pt x="862" y="127"/>
                    </a:lnTo>
                    <a:lnTo>
                      <a:pt x="862" y="127"/>
                    </a:lnTo>
                    <a:lnTo>
                      <a:pt x="862" y="127"/>
                    </a:lnTo>
                    <a:lnTo>
                      <a:pt x="862" y="127"/>
                    </a:lnTo>
                    <a:lnTo>
                      <a:pt x="862" y="127"/>
                    </a:lnTo>
                    <a:lnTo>
                      <a:pt x="862" y="127"/>
                    </a:lnTo>
                    <a:lnTo>
                      <a:pt x="858" y="127"/>
                    </a:lnTo>
                    <a:lnTo>
                      <a:pt x="858" y="127"/>
                    </a:lnTo>
                    <a:lnTo>
                      <a:pt x="862" y="127"/>
                    </a:lnTo>
                    <a:lnTo>
                      <a:pt x="862" y="127"/>
                    </a:lnTo>
                    <a:lnTo>
                      <a:pt x="862" y="127"/>
                    </a:lnTo>
                    <a:lnTo>
                      <a:pt x="867" y="122"/>
                    </a:lnTo>
                    <a:lnTo>
                      <a:pt x="867" y="122"/>
                    </a:lnTo>
                    <a:lnTo>
                      <a:pt x="867" y="122"/>
                    </a:lnTo>
                    <a:lnTo>
                      <a:pt x="871" y="122"/>
                    </a:lnTo>
                    <a:lnTo>
                      <a:pt x="871" y="122"/>
                    </a:lnTo>
                    <a:lnTo>
                      <a:pt x="876" y="118"/>
                    </a:lnTo>
                    <a:lnTo>
                      <a:pt x="876" y="118"/>
                    </a:lnTo>
                    <a:lnTo>
                      <a:pt x="880" y="118"/>
                    </a:lnTo>
                    <a:lnTo>
                      <a:pt x="890" y="118"/>
                    </a:lnTo>
                    <a:lnTo>
                      <a:pt x="890" y="118"/>
                    </a:lnTo>
                    <a:lnTo>
                      <a:pt x="894" y="118"/>
                    </a:lnTo>
                    <a:lnTo>
                      <a:pt x="894" y="118"/>
                    </a:lnTo>
                    <a:lnTo>
                      <a:pt x="894" y="118"/>
                    </a:lnTo>
                    <a:lnTo>
                      <a:pt x="894" y="122"/>
                    </a:lnTo>
                    <a:lnTo>
                      <a:pt x="894" y="122"/>
                    </a:lnTo>
                    <a:lnTo>
                      <a:pt x="894" y="122"/>
                    </a:lnTo>
                    <a:lnTo>
                      <a:pt x="894" y="127"/>
                    </a:lnTo>
                    <a:lnTo>
                      <a:pt x="894" y="127"/>
                    </a:lnTo>
                    <a:lnTo>
                      <a:pt x="890" y="127"/>
                    </a:lnTo>
                    <a:lnTo>
                      <a:pt x="890" y="127"/>
                    </a:lnTo>
                    <a:lnTo>
                      <a:pt x="890" y="127"/>
                    </a:lnTo>
                    <a:moveTo>
                      <a:pt x="673" y="100"/>
                    </a:moveTo>
                    <a:lnTo>
                      <a:pt x="673" y="100"/>
                    </a:lnTo>
                    <a:lnTo>
                      <a:pt x="668" y="100"/>
                    </a:lnTo>
                    <a:lnTo>
                      <a:pt x="668" y="100"/>
                    </a:lnTo>
                    <a:lnTo>
                      <a:pt x="664" y="100"/>
                    </a:lnTo>
                    <a:lnTo>
                      <a:pt x="664" y="100"/>
                    </a:lnTo>
                    <a:lnTo>
                      <a:pt x="664" y="100"/>
                    </a:lnTo>
                    <a:lnTo>
                      <a:pt x="664" y="100"/>
                    </a:lnTo>
                    <a:lnTo>
                      <a:pt x="668" y="95"/>
                    </a:lnTo>
                    <a:lnTo>
                      <a:pt x="668" y="95"/>
                    </a:lnTo>
                    <a:lnTo>
                      <a:pt x="673" y="95"/>
                    </a:lnTo>
                    <a:lnTo>
                      <a:pt x="677" y="95"/>
                    </a:lnTo>
                    <a:lnTo>
                      <a:pt x="682" y="95"/>
                    </a:lnTo>
                    <a:lnTo>
                      <a:pt x="686" y="95"/>
                    </a:lnTo>
                    <a:lnTo>
                      <a:pt x="691" y="90"/>
                    </a:lnTo>
                    <a:lnTo>
                      <a:pt x="691" y="90"/>
                    </a:lnTo>
                    <a:lnTo>
                      <a:pt x="691" y="90"/>
                    </a:lnTo>
                    <a:lnTo>
                      <a:pt x="695" y="90"/>
                    </a:lnTo>
                    <a:lnTo>
                      <a:pt x="691" y="90"/>
                    </a:lnTo>
                    <a:lnTo>
                      <a:pt x="691" y="95"/>
                    </a:lnTo>
                    <a:lnTo>
                      <a:pt x="686" y="95"/>
                    </a:lnTo>
                    <a:lnTo>
                      <a:pt x="682" y="95"/>
                    </a:lnTo>
                    <a:lnTo>
                      <a:pt x="673" y="100"/>
                    </a:lnTo>
                    <a:lnTo>
                      <a:pt x="673" y="100"/>
                    </a:lnTo>
                    <a:moveTo>
                      <a:pt x="831" y="104"/>
                    </a:moveTo>
                    <a:lnTo>
                      <a:pt x="831" y="104"/>
                    </a:lnTo>
                    <a:lnTo>
                      <a:pt x="831" y="109"/>
                    </a:lnTo>
                    <a:lnTo>
                      <a:pt x="831" y="109"/>
                    </a:lnTo>
                    <a:lnTo>
                      <a:pt x="831" y="109"/>
                    </a:lnTo>
                    <a:lnTo>
                      <a:pt x="826" y="109"/>
                    </a:lnTo>
                    <a:lnTo>
                      <a:pt x="826" y="109"/>
                    </a:lnTo>
                    <a:lnTo>
                      <a:pt x="822" y="109"/>
                    </a:lnTo>
                    <a:lnTo>
                      <a:pt x="822" y="109"/>
                    </a:lnTo>
                    <a:lnTo>
                      <a:pt x="817" y="109"/>
                    </a:lnTo>
                    <a:lnTo>
                      <a:pt x="813" y="109"/>
                    </a:lnTo>
                    <a:lnTo>
                      <a:pt x="817" y="109"/>
                    </a:lnTo>
                    <a:lnTo>
                      <a:pt x="822" y="104"/>
                    </a:lnTo>
                    <a:lnTo>
                      <a:pt x="822" y="104"/>
                    </a:lnTo>
                    <a:lnTo>
                      <a:pt x="813" y="104"/>
                    </a:lnTo>
                    <a:lnTo>
                      <a:pt x="813" y="104"/>
                    </a:lnTo>
                    <a:lnTo>
                      <a:pt x="817" y="104"/>
                    </a:lnTo>
                    <a:lnTo>
                      <a:pt x="813" y="104"/>
                    </a:lnTo>
                    <a:lnTo>
                      <a:pt x="813" y="104"/>
                    </a:lnTo>
                    <a:lnTo>
                      <a:pt x="813" y="104"/>
                    </a:lnTo>
                    <a:lnTo>
                      <a:pt x="813" y="100"/>
                    </a:lnTo>
                    <a:lnTo>
                      <a:pt x="817" y="100"/>
                    </a:lnTo>
                    <a:lnTo>
                      <a:pt x="822" y="100"/>
                    </a:lnTo>
                    <a:lnTo>
                      <a:pt x="831" y="100"/>
                    </a:lnTo>
                    <a:lnTo>
                      <a:pt x="831" y="100"/>
                    </a:lnTo>
                    <a:lnTo>
                      <a:pt x="831" y="100"/>
                    </a:lnTo>
                    <a:lnTo>
                      <a:pt x="831" y="104"/>
                    </a:lnTo>
                    <a:lnTo>
                      <a:pt x="831" y="104"/>
                    </a:lnTo>
                    <a:lnTo>
                      <a:pt x="831" y="104"/>
                    </a:lnTo>
                    <a:lnTo>
                      <a:pt x="831" y="104"/>
                    </a:lnTo>
                    <a:moveTo>
                      <a:pt x="826" y="95"/>
                    </a:moveTo>
                    <a:lnTo>
                      <a:pt x="826" y="95"/>
                    </a:lnTo>
                    <a:lnTo>
                      <a:pt x="826" y="95"/>
                    </a:lnTo>
                    <a:lnTo>
                      <a:pt x="831" y="95"/>
                    </a:lnTo>
                    <a:lnTo>
                      <a:pt x="831" y="95"/>
                    </a:lnTo>
                    <a:lnTo>
                      <a:pt x="831" y="95"/>
                    </a:lnTo>
                    <a:lnTo>
                      <a:pt x="831" y="95"/>
                    </a:lnTo>
                    <a:lnTo>
                      <a:pt x="831" y="95"/>
                    </a:lnTo>
                    <a:lnTo>
                      <a:pt x="831" y="100"/>
                    </a:lnTo>
                    <a:lnTo>
                      <a:pt x="831" y="100"/>
                    </a:lnTo>
                    <a:lnTo>
                      <a:pt x="831" y="100"/>
                    </a:lnTo>
                    <a:lnTo>
                      <a:pt x="831" y="100"/>
                    </a:lnTo>
                    <a:lnTo>
                      <a:pt x="826" y="100"/>
                    </a:lnTo>
                    <a:lnTo>
                      <a:pt x="826" y="100"/>
                    </a:lnTo>
                    <a:lnTo>
                      <a:pt x="817" y="100"/>
                    </a:lnTo>
                    <a:lnTo>
                      <a:pt x="817" y="100"/>
                    </a:lnTo>
                    <a:lnTo>
                      <a:pt x="817" y="100"/>
                    </a:lnTo>
                    <a:lnTo>
                      <a:pt x="822" y="95"/>
                    </a:lnTo>
                    <a:lnTo>
                      <a:pt x="822" y="95"/>
                    </a:lnTo>
                    <a:lnTo>
                      <a:pt x="822" y="95"/>
                    </a:lnTo>
                    <a:lnTo>
                      <a:pt x="822" y="95"/>
                    </a:lnTo>
                    <a:lnTo>
                      <a:pt x="822" y="95"/>
                    </a:lnTo>
                    <a:lnTo>
                      <a:pt x="826" y="95"/>
                    </a:lnTo>
                    <a:lnTo>
                      <a:pt x="826" y="95"/>
                    </a:lnTo>
                    <a:lnTo>
                      <a:pt x="831" y="95"/>
                    </a:lnTo>
                    <a:lnTo>
                      <a:pt x="826" y="95"/>
                    </a:lnTo>
                    <a:lnTo>
                      <a:pt x="826" y="95"/>
                    </a:lnTo>
                    <a:lnTo>
                      <a:pt x="826" y="95"/>
                    </a:lnTo>
                    <a:moveTo>
                      <a:pt x="880" y="100"/>
                    </a:moveTo>
                    <a:lnTo>
                      <a:pt x="880" y="100"/>
                    </a:lnTo>
                    <a:lnTo>
                      <a:pt x="880" y="100"/>
                    </a:lnTo>
                    <a:lnTo>
                      <a:pt x="880" y="104"/>
                    </a:lnTo>
                    <a:lnTo>
                      <a:pt x="880" y="104"/>
                    </a:lnTo>
                    <a:lnTo>
                      <a:pt x="880" y="104"/>
                    </a:lnTo>
                    <a:lnTo>
                      <a:pt x="876" y="104"/>
                    </a:lnTo>
                    <a:lnTo>
                      <a:pt x="876" y="104"/>
                    </a:lnTo>
                    <a:lnTo>
                      <a:pt x="876" y="104"/>
                    </a:lnTo>
                    <a:lnTo>
                      <a:pt x="876" y="109"/>
                    </a:lnTo>
                    <a:lnTo>
                      <a:pt x="876" y="109"/>
                    </a:lnTo>
                    <a:lnTo>
                      <a:pt x="871" y="109"/>
                    </a:lnTo>
                    <a:lnTo>
                      <a:pt x="871" y="109"/>
                    </a:lnTo>
                    <a:lnTo>
                      <a:pt x="871" y="109"/>
                    </a:lnTo>
                    <a:lnTo>
                      <a:pt x="871" y="113"/>
                    </a:lnTo>
                    <a:lnTo>
                      <a:pt x="867" y="113"/>
                    </a:lnTo>
                    <a:lnTo>
                      <a:pt x="867" y="113"/>
                    </a:lnTo>
                    <a:lnTo>
                      <a:pt x="862" y="113"/>
                    </a:lnTo>
                    <a:lnTo>
                      <a:pt x="862" y="113"/>
                    </a:lnTo>
                    <a:lnTo>
                      <a:pt x="867" y="113"/>
                    </a:lnTo>
                    <a:lnTo>
                      <a:pt x="867" y="113"/>
                    </a:lnTo>
                    <a:lnTo>
                      <a:pt x="862" y="118"/>
                    </a:lnTo>
                    <a:lnTo>
                      <a:pt x="862" y="118"/>
                    </a:lnTo>
                    <a:lnTo>
                      <a:pt x="862" y="118"/>
                    </a:lnTo>
                    <a:lnTo>
                      <a:pt x="862" y="118"/>
                    </a:lnTo>
                    <a:lnTo>
                      <a:pt x="862" y="118"/>
                    </a:lnTo>
                    <a:lnTo>
                      <a:pt x="858" y="118"/>
                    </a:lnTo>
                    <a:lnTo>
                      <a:pt x="853" y="122"/>
                    </a:lnTo>
                    <a:lnTo>
                      <a:pt x="853" y="122"/>
                    </a:lnTo>
                    <a:lnTo>
                      <a:pt x="853" y="122"/>
                    </a:lnTo>
                    <a:lnTo>
                      <a:pt x="853" y="122"/>
                    </a:lnTo>
                    <a:lnTo>
                      <a:pt x="849" y="122"/>
                    </a:lnTo>
                    <a:lnTo>
                      <a:pt x="849" y="122"/>
                    </a:lnTo>
                    <a:lnTo>
                      <a:pt x="849" y="122"/>
                    </a:lnTo>
                    <a:lnTo>
                      <a:pt x="849" y="122"/>
                    </a:lnTo>
                    <a:lnTo>
                      <a:pt x="849" y="122"/>
                    </a:lnTo>
                    <a:lnTo>
                      <a:pt x="849" y="122"/>
                    </a:lnTo>
                    <a:lnTo>
                      <a:pt x="849" y="122"/>
                    </a:lnTo>
                    <a:lnTo>
                      <a:pt x="849" y="122"/>
                    </a:lnTo>
                    <a:lnTo>
                      <a:pt x="849" y="127"/>
                    </a:lnTo>
                    <a:lnTo>
                      <a:pt x="849" y="127"/>
                    </a:lnTo>
                    <a:lnTo>
                      <a:pt x="844" y="127"/>
                    </a:lnTo>
                    <a:lnTo>
                      <a:pt x="844" y="127"/>
                    </a:lnTo>
                    <a:lnTo>
                      <a:pt x="840" y="127"/>
                    </a:lnTo>
                    <a:lnTo>
                      <a:pt x="840" y="127"/>
                    </a:lnTo>
                    <a:lnTo>
                      <a:pt x="840" y="127"/>
                    </a:lnTo>
                    <a:lnTo>
                      <a:pt x="835" y="127"/>
                    </a:lnTo>
                    <a:lnTo>
                      <a:pt x="835" y="127"/>
                    </a:lnTo>
                    <a:lnTo>
                      <a:pt x="835" y="122"/>
                    </a:lnTo>
                    <a:lnTo>
                      <a:pt x="835" y="122"/>
                    </a:lnTo>
                    <a:lnTo>
                      <a:pt x="835" y="122"/>
                    </a:lnTo>
                    <a:lnTo>
                      <a:pt x="831" y="127"/>
                    </a:lnTo>
                    <a:lnTo>
                      <a:pt x="826" y="122"/>
                    </a:lnTo>
                    <a:lnTo>
                      <a:pt x="826" y="122"/>
                    </a:lnTo>
                    <a:lnTo>
                      <a:pt x="826" y="122"/>
                    </a:lnTo>
                    <a:lnTo>
                      <a:pt x="826" y="122"/>
                    </a:lnTo>
                    <a:lnTo>
                      <a:pt x="826" y="122"/>
                    </a:lnTo>
                    <a:lnTo>
                      <a:pt x="826" y="122"/>
                    </a:lnTo>
                    <a:lnTo>
                      <a:pt x="831" y="122"/>
                    </a:lnTo>
                    <a:lnTo>
                      <a:pt x="831" y="118"/>
                    </a:lnTo>
                    <a:lnTo>
                      <a:pt x="831" y="118"/>
                    </a:lnTo>
                    <a:lnTo>
                      <a:pt x="831" y="118"/>
                    </a:lnTo>
                    <a:lnTo>
                      <a:pt x="826" y="118"/>
                    </a:lnTo>
                    <a:lnTo>
                      <a:pt x="831" y="118"/>
                    </a:lnTo>
                    <a:lnTo>
                      <a:pt x="831" y="118"/>
                    </a:lnTo>
                    <a:lnTo>
                      <a:pt x="835" y="118"/>
                    </a:lnTo>
                    <a:lnTo>
                      <a:pt x="840" y="113"/>
                    </a:lnTo>
                    <a:lnTo>
                      <a:pt x="844" y="113"/>
                    </a:lnTo>
                    <a:lnTo>
                      <a:pt x="844" y="113"/>
                    </a:lnTo>
                    <a:lnTo>
                      <a:pt x="844" y="113"/>
                    </a:lnTo>
                    <a:lnTo>
                      <a:pt x="849" y="113"/>
                    </a:lnTo>
                    <a:lnTo>
                      <a:pt x="849" y="113"/>
                    </a:lnTo>
                    <a:lnTo>
                      <a:pt x="844" y="113"/>
                    </a:lnTo>
                    <a:lnTo>
                      <a:pt x="835" y="113"/>
                    </a:lnTo>
                    <a:lnTo>
                      <a:pt x="831" y="113"/>
                    </a:lnTo>
                    <a:lnTo>
                      <a:pt x="826" y="113"/>
                    </a:lnTo>
                    <a:lnTo>
                      <a:pt x="817" y="113"/>
                    </a:lnTo>
                    <a:lnTo>
                      <a:pt x="813" y="113"/>
                    </a:lnTo>
                    <a:lnTo>
                      <a:pt x="813" y="113"/>
                    </a:lnTo>
                    <a:lnTo>
                      <a:pt x="817" y="113"/>
                    </a:lnTo>
                    <a:lnTo>
                      <a:pt x="817" y="113"/>
                    </a:lnTo>
                    <a:lnTo>
                      <a:pt x="822" y="109"/>
                    </a:lnTo>
                    <a:lnTo>
                      <a:pt x="826" y="109"/>
                    </a:lnTo>
                    <a:lnTo>
                      <a:pt x="826" y="109"/>
                    </a:lnTo>
                    <a:lnTo>
                      <a:pt x="826" y="109"/>
                    </a:lnTo>
                    <a:lnTo>
                      <a:pt x="831" y="109"/>
                    </a:lnTo>
                    <a:lnTo>
                      <a:pt x="831" y="109"/>
                    </a:lnTo>
                    <a:lnTo>
                      <a:pt x="831" y="109"/>
                    </a:lnTo>
                    <a:lnTo>
                      <a:pt x="831" y="109"/>
                    </a:lnTo>
                    <a:lnTo>
                      <a:pt x="835" y="109"/>
                    </a:lnTo>
                    <a:lnTo>
                      <a:pt x="835" y="109"/>
                    </a:lnTo>
                    <a:lnTo>
                      <a:pt x="835" y="109"/>
                    </a:lnTo>
                    <a:lnTo>
                      <a:pt x="835" y="109"/>
                    </a:lnTo>
                    <a:lnTo>
                      <a:pt x="835" y="109"/>
                    </a:lnTo>
                    <a:lnTo>
                      <a:pt x="835" y="109"/>
                    </a:lnTo>
                    <a:lnTo>
                      <a:pt x="835" y="109"/>
                    </a:lnTo>
                    <a:lnTo>
                      <a:pt x="835" y="109"/>
                    </a:lnTo>
                    <a:lnTo>
                      <a:pt x="835" y="109"/>
                    </a:lnTo>
                    <a:lnTo>
                      <a:pt x="835" y="104"/>
                    </a:lnTo>
                    <a:lnTo>
                      <a:pt x="835" y="104"/>
                    </a:lnTo>
                    <a:lnTo>
                      <a:pt x="835" y="104"/>
                    </a:lnTo>
                    <a:lnTo>
                      <a:pt x="835" y="104"/>
                    </a:lnTo>
                    <a:lnTo>
                      <a:pt x="835" y="104"/>
                    </a:lnTo>
                    <a:lnTo>
                      <a:pt x="835" y="104"/>
                    </a:lnTo>
                    <a:lnTo>
                      <a:pt x="840" y="104"/>
                    </a:lnTo>
                    <a:lnTo>
                      <a:pt x="840" y="104"/>
                    </a:lnTo>
                    <a:lnTo>
                      <a:pt x="840" y="104"/>
                    </a:lnTo>
                    <a:lnTo>
                      <a:pt x="835" y="100"/>
                    </a:lnTo>
                    <a:lnTo>
                      <a:pt x="835" y="100"/>
                    </a:lnTo>
                    <a:lnTo>
                      <a:pt x="840" y="100"/>
                    </a:lnTo>
                    <a:lnTo>
                      <a:pt x="840" y="100"/>
                    </a:lnTo>
                    <a:lnTo>
                      <a:pt x="844" y="100"/>
                    </a:lnTo>
                    <a:lnTo>
                      <a:pt x="844" y="100"/>
                    </a:lnTo>
                    <a:lnTo>
                      <a:pt x="844" y="100"/>
                    </a:lnTo>
                    <a:lnTo>
                      <a:pt x="849" y="100"/>
                    </a:lnTo>
                    <a:lnTo>
                      <a:pt x="849" y="100"/>
                    </a:lnTo>
                    <a:lnTo>
                      <a:pt x="849" y="100"/>
                    </a:lnTo>
                    <a:lnTo>
                      <a:pt x="849" y="100"/>
                    </a:lnTo>
                    <a:lnTo>
                      <a:pt x="844" y="104"/>
                    </a:lnTo>
                    <a:lnTo>
                      <a:pt x="844" y="104"/>
                    </a:lnTo>
                    <a:lnTo>
                      <a:pt x="844" y="104"/>
                    </a:lnTo>
                    <a:lnTo>
                      <a:pt x="849" y="109"/>
                    </a:lnTo>
                    <a:lnTo>
                      <a:pt x="849" y="109"/>
                    </a:lnTo>
                    <a:lnTo>
                      <a:pt x="849" y="109"/>
                    </a:lnTo>
                    <a:lnTo>
                      <a:pt x="849" y="109"/>
                    </a:lnTo>
                    <a:lnTo>
                      <a:pt x="849" y="109"/>
                    </a:lnTo>
                    <a:lnTo>
                      <a:pt x="853" y="109"/>
                    </a:lnTo>
                    <a:lnTo>
                      <a:pt x="853" y="109"/>
                    </a:lnTo>
                    <a:lnTo>
                      <a:pt x="849" y="109"/>
                    </a:lnTo>
                    <a:lnTo>
                      <a:pt x="853" y="104"/>
                    </a:lnTo>
                    <a:lnTo>
                      <a:pt x="853" y="104"/>
                    </a:lnTo>
                    <a:lnTo>
                      <a:pt x="853" y="104"/>
                    </a:lnTo>
                    <a:lnTo>
                      <a:pt x="853" y="104"/>
                    </a:lnTo>
                    <a:lnTo>
                      <a:pt x="853" y="104"/>
                    </a:lnTo>
                    <a:lnTo>
                      <a:pt x="858" y="104"/>
                    </a:lnTo>
                    <a:lnTo>
                      <a:pt x="853" y="104"/>
                    </a:lnTo>
                    <a:lnTo>
                      <a:pt x="853" y="104"/>
                    </a:lnTo>
                    <a:lnTo>
                      <a:pt x="853" y="104"/>
                    </a:lnTo>
                    <a:lnTo>
                      <a:pt x="853" y="104"/>
                    </a:lnTo>
                    <a:lnTo>
                      <a:pt x="853" y="104"/>
                    </a:lnTo>
                    <a:lnTo>
                      <a:pt x="853" y="104"/>
                    </a:lnTo>
                    <a:lnTo>
                      <a:pt x="858" y="104"/>
                    </a:lnTo>
                    <a:lnTo>
                      <a:pt x="858" y="104"/>
                    </a:lnTo>
                    <a:lnTo>
                      <a:pt x="858" y="104"/>
                    </a:lnTo>
                    <a:lnTo>
                      <a:pt x="858" y="100"/>
                    </a:lnTo>
                    <a:lnTo>
                      <a:pt x="858" y="100"/>
                    </a:lnTo>
                    <a:lnTo>
                      <a:pt x="853" y="100"/>
                    </a:lnTo>
                    <a:lnTo>
                      <a:pt x="853" y="100"/>
                    </a:lnTo>
                    <a:lnTo>
                      <a:pt x="853" y="100"/>
                    </a:lnTo>
                    <a:lnTo>
                      <a:pt x="853" y="100"/>
                    </a:lnTo>
                    <a:lnTo>
                      <a:pt x="853" y="100"/>
                    </a:lnTo>
                    <a:lnTo>
                      <a:pt x="858" y="95"/>
                    </a:lnTo>
                    <a:lnTo>
                      <a:pt x="862" y="95"/>
                    </a:lnTo>
                    <a:lnTo>
                      <a:pt x="862" y="95"/>
                    </a:lnTo>
                    <a:lnTo>
                      <a:pt x="867" y="95"/>
                    </a:lnTo>
                    <a:lnTo>
                      <a:pt x="867" y="95"/>
                    </a:lnTo>
                    <a:lnTo>
                      <a:pt x="867" y="100"/>
                    </a:lnTo>
                    <a:lnTo>
                      <a:pt x="867" y="100"/>
                    </a:lnTo>
                    <a:lnTo>
                      <a:pt x="871" y="100"/>
                    </a:lnTo>
                    <a:lnTo>
                      <a:pt x="871" y="100"/>
                    </a:lnTo>
                    <a:lnTo>
                      <a:pt x="871" y="100"/>
                    </a:lnTo>
                    <a:lnTo>
                      <a:pt x="876" y="95"/>
                    </a:lnTo>
                    <a:lnTo>
                      <a:pt x="876" y="95"/>
                    </a:lnTo>
                    <a:lnTo>
                      <a:pt x="880" y="95"/>
                    </a:lnTo>
                    <a:lnTo>
                      <a:pt x="880" y="100"/>
                    </a:lnTo>
                    <a:lnTo>
                      <a:pt x="880" y="100"/>
                    </a:lnTo>
                    <a:lnTo>
                      <a:pt x="880" y="100"/>
                    </a:lnTo>
                    <a:lnTo>
                      <a:pt x="880" y="100"/>
                    </a:lnTo>
                    <a:lnTo>
                      <a:pt x="880" y="100"/>
                    </a:lnTo>
                    <a:lnTo>
                      <a:pt x="880" y="100"/>
                    </a:lnTo>
                    <a:moveTo>
                      <a:pt x="777" y="100"/>
                    </a:moveTo>
                    <a:lnTo>
                      <a:pt x="777" y="100"/>
                    </a:lnTo>
                    <a:lnTo>
                      <a:pt x="777" y="100"/>
                    </a:lnTo>
                    <a:lnTo>
                      <a:pt x="777" y="100"/>
                    </a:lnTo>
                    <a:lnTo>
                      <a:pt x="781" y="100"/>
                    </a:lnTo>
                    <a:lnTo>
                      <a:pt x="781" y="100"/>
                    </a:lnTo>
                    <a:lnTo>
                      <a:pt x="781" y="100"/>
                    </a:lnTo>
                    <a:lnTo>
                      <a:pt x="777" y="100"/>
                    </a:lnTo>
                    <a:lnTo>
                      <a:pt x="777" y="104"/>
                    </a:lnTo>
                    <a:lnTo>
                      <a:pt x="777" y="104"/>
                    </a:lnTo>
                    <a:lnTo>
                      <a:pt x="772" y="104"/>
                    </a:lnTo>
                    <a:lnTo>
                      <a:pt x="772" y="104"/>
                    </a:lnTo>
                    <a:lnTo>
                      <a:pt x="772" y="104"/>
                    </a:lnTo>
                    <a:lnTo>
                      <a:pt x="772" y="104"/>
                    </a:lnTo>
                    <a:lnTo>
                      <a:pt x="777" y="104"/>
                    </a:lnTo>
                    <a:lnTo>
                      <a:pt x="777" y="104"/>
                    </a:lnTo>
                    <a:lnTo>
                      <a:pt x="781" y="104"/>
                    </a:lnTo>
                    <a:lnTo>
                      <a:pt x="781" y="104"/>
                    </a:lnTo>
                    <a:lnTo>
                      <a:pt x="781" y="104"/>
                    </a:lnTo>
                    <a:lnTo>
                      <a:pt x="781" y="104"/>
                    </a:lnTo>
                    <a:lnTo>
                      <a:pt x="781" y="104"/>
                    </a:lnTo>
                    <a:lnTo>
                      <a:pt x="781" y="104"/>
                    </a:lnTo>
                    <a:lnTo>
                      <a:pt x="777" y="109"/>
                    </a:lnTo>
                    <a:lnTo>
                      <a:pt x="781" y="109"/>
                    </a:lnTo>
                    <a:lnTo>
                      <a:pt x="781" y="104"/>
                    </a:lnTo>
                    <a:lnTo>
                      <a:pt x="781" y="104"/>
                    </a:lnTo>
                    <a:lnTo>
                      <a:pt x="786" y="104"/>
                    </a:lnTo>
                    <a:lnTo>
                      <a:pt x="786" y="104"/>
                    </a:lnTo>
                    <a:lnTo>
                      <a:pt x="786" y="104"/>
                    </a:lnTo>
                    <a:lnTo>
                      <a:pt x="786" y="104"/>
                    </a:lnTo>
                    <a:lnTo>
                      <a:pt x="786" y="104"/>
                    </a:lnTo>
                    <a:lnTo>
                      <a:pt x="786" y="104"/>
                    </a:lnTo>
                    <a:lnTo>
                      <a:pt x="786" y="104"/>
                    </a:lnTo>
                    <a:lnTo>
                      <a:pt x="790" y="100"/>
                    </a:lnTo>
                    <a:lnTo>
                      <a:pt x="790" y="100"/>
                    </a:lnTo>
                    <a:lnTo>
                      <a:pt x="795" y="100"/>
                    </a:lnTo>
                    <a:lnTo>
                      <a:pt x="795" y="104"/>
                    </a:lnTo>
                    <a:lnTo>
                      <a:pt x="795" y="104"/>
                    </a:lnTo>
                    <a:lnTo>
                      <a:pt x="795" y="104"/>
                    </a:lnTo>
                    <a:lnTo>
                      <a:pt x="795" y="104"/>
                    </a:lnTo>
                    <a:lnTo>
                      <a:pt x="795" y="104"/>
                    </a:lnTo>
                    <a:lnTo>
                      <a:pt x="795" y="109"/>
                    </a:lnTo>
                    <a:lnTo>
                      <a:pt x="795" y="109"/>
                    </a:lnTo>
                    <a:lnTo>
                      <a:pt x="790" y="109"/>
                    </a:lnTo>
                    <a:lnTo>
                      <a:pt x="786" y="113"/>
                    </a:lnTo>
                    <a:lnTo>
                      <a:pt x="786" y="113"/>
                    </a:lnTo>
                    <a:lnTo>
                      <a:pt x="777" y="118"/>
                    </a:lnTo>
                    <a:lnTo>
                      <a:pt x="777" y="118"/>
                    </a:lnTo>
                    <a:lnTo>
                      <a:pt x="772" y="118"/>
                    </a:lnTo>
                    <a:lnTo>
                      <a:pt x="768" y="118"/>
                    </a:lnTo>
                    <a:lnTo>
                      <a:pt x="763" y="118"/>
                    </a:lnTo>
                    <a:lnTo>
                      <a:pt x="759" y="118"/>
                    </a:lnTo>
                    <a:lnTo>
                      <a:pt x="759" y="118"/>
                    </a:lnTo>
                    <a:lnTo>
                      <a:pt x="759" y="118"/>
                    </a:lnTo>
                    <a:lnTo>
                      <a:pt x="754" y="118"/>
                    </a:lnTo>
                    <a:lnTo>
                      <a:pt x="754" y="118"/>
                    </a:lnTo>
                    <a:lnTo>
                      <a:pt x="749" y="118"/>
                    </a:lnTo>
                    <a:lnTo>
                      <a:pt x="749" y="118"/>
                    </a:lnTo>
                    <a:lnTo>
                      <a:pt x="745" y="118"/>
                    </a:lnTo>
                    <a:lnTo>
                      <a:pt x="745" y="118"/>
                    </a:lnTo>
                    <a:lnTo>
                      <a:pt x="745" y="118"/>
                    </a:lnTo>
                    <a:lnTo>
                      <a:pt x="745" y="118"/>
                    </a:lnTo>
                    <a:lnTo>
                      <a:pt x="749" y="118"/>
                    </a:lnTo>
                    <a:lnTo>
                      <a:pt x="749" y="118"/>
                    </a:lnTo>
                    <a:lnTo>
                      <a:pt x="745" y="118"/>
                    </a:lnTo>
                    <a:lnTo>
                      <a:pt x="745" y="118"/>
                    </a:lnTo>
                    <a:lnTo>
                      <a:pt x="736" y="118"/>
                    </a:lnTo>
                    <a:lnTo>
                      <a:pt x="727" y="118"/>
                    </a:lnTo>
                    <a:lnTo>
                      <a:pt x="727" y="118"/>
                    </a:lnTo>
                    <a:lnTo>
                      <a:pt x="722" y="118"/>
                    </a:lnTo>
                    <a:lnTo>
                      <a:pt x="722" y="118"/>
                    </a:lnTo>
                    <a:lnTo>
                      <a:pt x="718" y="122"/>
                    </a:lnTo>
                    <a:lnTo>
                      <a:pt x="718" y="122"/>
                    </a:lnTo>
                    <a:lnTo>
                      <a:pt x="713" y="122"/>
                    </a:lnTo>
                    <a:lnTo>
                      <a:pt x="704" y="122"/>
                    </a:lnTo>
                    <a:lnTo>
                      <a:pt x="695" y="122"/>
                    </a:lnTo>
                    <a:lnTo>
                      <a:pt x="691" y="122"/>
                    </a:lnTo>
                    <a:lnTo>
                      <a:pt x="686" y="122"/>
                    </a:lnTo>
                    <a:lnTo>
                      <a:pt x="686" y="122"/>
                    </a:lnTo>
                    <a:lnTo>
                      <a:pt x="686" y="122"/>
                    </a:lnTo>
                    <a:lnTo>
                      <a:pt x="686" y="118"/>
                    </a:lnTo>
                    <a:lnTo>
                      <a:pt x="686" y="118"/>
                    </a:lnTo>
                    <a:lnTo>
                      <a:pt x="686" y="118"/>
                    </a:lnTo>
                    <a:lnTo>
                      <a:pt x="686" y="118"/>
                    </a:lnTo>
                    <a:lnTo>
                      <a:pt x="691" y="118"/>
                    </a:lnTo>
                    <a:lnTo>
                      <a:pt x="695" y="118"/>
                    </a:lnTo>
                    <a:lnTo>
                      <a:pt x="700" y="113"/>
                    </a:lnTo>
                    <a:lnTo>
                      <a:pt x="709" y="113"/>
                    </a:lnTo>
                    <a:lnTo>
                      <a:pt x="709" y="113"/>
                    </a:lnTo>
                    <a:lnTo>
                      <a:pt x="713" y="113"/>
                    </a:lnTo>
                    <a:lnTo>
                      <a:pt x="718" y="113"/>
                    </a:lnTo>
                    <a:lnTo>
                      <a:pt x="718" y="113"/>
                    </a:lnTo>
                    <a:lnTo>
                      <a:pt x="718" y="113"/>
                    </a:lnTo>
                    <a:lnTo>
                      <a:pt x="722" y="113"/>
                    </a:lnTo>
                    <a:lnTo>
                      <a:pt x="727" y="113"/>
                    </a:lnTo>
                    <a:lnTo>
                      <a:pt x="727" y="113"/>
                    </a:lnTo>
                    <a:lnTo>
                      <a:pt x="731" y="113"/>
                    </a:lnTo>
                    <a:lnTo>
                      <a:pt x="731" y="113"/>
                    </a:lnTo>
                    <a:lnTo>
                      <a:pt x="731" y="109"/>
                    </a:lnTo>
                    <a:lnTo>
                      <a:pt x="727" y="113"/>
                    </a:lnTo>
                    <a:lnTo>
                      <a:pt x="722" y="113"/>
                    </a:lnTo>
                    <a:lnTo>
                      <a:pt x="722" y="113"/>
                    </a:lnTo>
                    <a:lnTo>
                      <a:pt x="718" y="113"/>
                    </a:lnTo>
                    <a:lnTo>
                      <a:pt x="718" y="113"/>
                    </a:lnTo>
                    <a:lnTo>
                      <a:pt x="718" y="113"/>
                    </a:lnTo>
                    <a:lnTo>
                      <a:pt x="718" y="109"/>
                    </a:lnTo>
                    <a:lnTo>
                      <a:pt x="713" y="109"/>
                    </a:lnTo>
                    <a:lnTo>
                      <a:pt x="713" y="109"/>
                    </a:lnTo>
                    <a:lnTo>
                      <a:pt x="713" y="109"/>
                    </a:lnTo>
                    <a:lnTo>
                      <a:pt x="713" y="113"/>
                    </a:lnTo>
                    <a:lnTo>
                      <a:pt x="709" y="113"/>
                    </a:lnTo>
                    <a:lnTo>
                      <a:pt x="709" y="113"/>
                    </a:lnTo>
                    <a:lnTo>
                      <a:pt x="704" y="113"/>
                    </a:lnTo>
                    <a:lnTo>
                      <a:pt x="700" y="113"/>
                    </a:lnTo>
                    <a:lnTo>
                      <a:pt x="700" y="113"/>
                    </a:lnTo>
                    <a:lnTo>
                      <a:pt x="700" y="113"/>
                    </a:lnTo>
                    <a:lnTo>
                      <a:pt x="700" y="109"/>
                    </a:lnTo>
                    <a:lnTo>
                      <a:pt x="704" y="109"/>
                    </a:lnTo>
                    <a:lnTo>
                      <a:pt x="704" y="109"/>
                    </a:lnTo>
                    <a:lnTo>
                      <a:pt x="704" y="109"/>
                    </a:lnTo>
                    <a:lnTo>
                      <a:pt x="704" y="109"/>
                    </a:lnTo>
                    <a:lnTo>
                      <a:pt x="709" y="109"/>
                    </a:lnTo>
                    <a:lnTo>
                      <a:pt x="713" y="109"/>
                    </a:lnTo>
                    <a:lnTo>
                      <a:pt x="713" y="104"/>
                    </a:lnTo>
                    <a:lnTo>
                      <a:pt x="713" y="104"/>
                    </a:lnTo>
                    <a:lnTo>
                      <a:pt x="709" y="109"/>
                    </a:lnTo>
                    <a:lnTo>
                      <a:pt x="709" y="109"/>
                    </a:lnTo>
                    <a:lnTo>
                      <a:pt x="709" y="104"/>
                    </a:lnTo>
                    <a:lnTo>
                      <a:pt x="709" y="104"/>
                    </a:lnTo>
                    <a:lnTo>
                      <a:pt x="709" y="104"/>
                    </a:lnTo>
                    <a:lnTo>
                      <a:pt x="704" y="104"/>
                    </a:lnTo>
                    <a:lnTo>
                      <a:pt x="704" y="109"/>
                    </a:lnTo>
                    <a:lnTo>
                      <a:pt x="700" y="109"/>
                    </a:lnTo>
                    <a:lnTo>
                      <a:pt x="700" y="109"/>
                    </a:lnTo>
                    <a:lnTo>
                      <a:pt x="700" y="109"/>
                    </a:lnTo>
                    <a:lnTo>
                      <a:pt x="700" y="109"/>
                    </a:lnTo>
                    <a:lnTo>
                      <a:pt x="700" y="109"/>
                    </a:lnTo>
                    <a:lnTo>
                      <a:pt x="700" y="109"/>
                    </a:lnTo>
                    <a:lnTo>
                      <a:pt x="700" y="109"/>
                    </a:lnTo>
                    <a:lnTo>
                      <a:pt x="695" y="109"/>
                    </a:lnTo>
                    <a:lnTo>
                      <a:pt x="695" y="109"/>
                    </a:lnTo>
                    <a:lnTo>
                      <a:pt x="691" y="113"/>
                    </a:lnTo>
                    <a:lnTo>
                      <a:pt x="686" y="113"/>
                    </a:lnTo>
                    <a:lnTo>
                      <a:pt x="686" y="113"/>
                    </a:lnTo>
                    <a:lnTo>
                      <a:pt x="686" y="113"/>
                    </a:lnTo>
                    <a:lnTo>
                      <a:pt x="686" y="109"/>
                    </a:lnTo>
                    <a:lnTo>
                      <a:pt x="686" y="109"/>
                    </a:lnTo>
                    <a:lnTo>
                      <a:pt x="686" y="109"/>
                    </a:lnTo>
                    <a:lnTo>
                      <a:pt x="686" y="109"/>
                    </a:lnTo>
                    <a:lnTo>
                      <a:pt x="686" y="109"/>
                    </a:lnTo>
                    <a:lnTo>
                      <a:pt x="686" y="109"/>
                    </a:lnTo>
                    <a:lnTo>
                      <a:pt x="686" y="109"/>
                    </a:lnTo>
                    <a:lnTo>
                      <a:pt x="682" y="113"/>
                    </a:lnTo>
                    <a:lnTo>
                      <a:pt x="682" y="113"/>
                    </a:lnTo>
                    <a:lnTo>
                      <a:pt x="682" y="113"/>
                    </a:lnTo>
                    <a:lnTo>
                      <a:pt x="677" y="109"/>
                    </a:lnTo>
                    <a:lnTo>
                      <a:pt x="677" y="109"/>
                    </a:lnTo>
                    <a:lnTo>
                      <a:pt x="677" y="109"/>
                    </a:lnTo>
                    <a:lnTo>
                      <a:pt x="673" y="109"/>
                    </a:lnTo>
                    <a:lnTo>
                      <a:pt x="673" y="104"/>
                    </a:lnTo>
                    <a:lnTo>
                      <a:pt x="673" y="104"/>
                    </a:lnTo>
                    <a:lnTo>
                      <a:pt x="673" y="104"/>
                    </a:lnTo>
                    <a:lnTo>
                      <a:pt x="673" y="104"/>
                    </a:lnTo>
                    <a:lnTo>
                      <a:pt x="673" y="104"/>
                    </a:lnTo>
                    <a:lnTo>
                      <a:pt x="673" y="104"/>
                    </a:lnTo>
                    <a:lnTo>
                      <a:pt x="677" y="104"/>
                    </a:lnTo>
                    <a:lnTo>
                      <a:pt x="677" y="104"/>
                    </a:lnTo>
                    <a:lnTo>
                      <a:pt x="677" y="104"/>
                    </a:lnTo>
                    <a:lnTo>
                      <a:pt x="682" y="104"/>
                    </a:lnTo>
                    <a:lnTo>
                      <a:pt x="682" y="104"/>
                    </a:lnTo>
                    <a:lnTo>
                      <a:pt x="691" y="104"/>
                    </a:lnTo>
                    <a:lnTo>
                      <a:pt x="691" y="104"/>
                    </a:lnTo>
                    <a:lnTo>
                      <a:pt x="700" y="100"/>
                    </a:lnTo>
                    <a:lnTo>
                      <a:pt x="700" y="100"/>
                    </a:lnTo>
                    <a:lnTo>
                      <a:pt x="704" y="100"/>
                    </a:lnTo>
                    <a:lnTo>
                      <a:pt x="704" y="100"/>
                    </a:lnTo>
                    <a:lnTo>
                      <a:pt x="704" y="100"/>
                    </a:lnTo>
                    <a:lnTo>
                      <a:pt x="695" y="100"/>
                    </a:lnTo>
                    <a:lnTo>
                      <a:pt x="691" y="100"/>
                    </a:lnTo>
                    <a:lnTo>
                      <a:pt x="686" y="100"/>
                    </a:lnTo>
                    <a:lnTo>
                      <a:pt x="686" y="100"/>
                    </a:lnTo>
                    <a:lnTo>
                      <a:pt x="686" y="100"/>
                    </a:lnTo>
                    <a:lnTo>
                      <a:pt x="686" y="100"/>
                    </a:lnTo>
                    <a:lnTo>
                      <a:pt x="691" y="100"/>
                    </a:lnTo>
                    <a:lnTo>
                      <a:pt x="691" y="100"/>
                    </a:lnTo>
                    <a:lnTo>
                      <a:pt x="695" y="100"/>
                    </a:lnTo>
                    <a:lnTo>
                      <a:pt x="700" y="100"/>
                    </a:lnTo>
                    <a:lnTo>
                      <a:pt x="704" y="100"/>
                    </a:lnTo>
                    <a:lnTo>
                      <a:pt x="709" y="100"/>
                    </a:lnTo>
                    <a:lnTo>
                      <a:pt x="709" y="95"/>
                    </a:lnTo>
                    <a:lnTo>
                      <a:pt x="704" y="95"/>
                    </a:lnTo>
                    <a:lnTo>
                      <a:pt x="700" y="95"/>
                    </a:lnTo>
                    <a:lnTo>
                      <a:pt x="695" y="95"/>
                    </a:lnTo>
                    <a:lnTo>
                      <a:pt x="695" y="95"/>
                    </a:lnTo>
                    <a:lnTo>
                      <a:pt x="695" y="95"/>
                    </a:lnTo>
                    <a:lnTo>
                      <a:pt x="700" y="95"/>
                    </a:lnTo>
                    <a:lnTo>
                      <a:pt x="700" y="95"/>
                    </a:lnTo>
                    <a:lnTo>
                      <a:pt x="700" y="95"/>
                    </a:lnTo>
                    <a:lnTo>
                      <a:pt x="700" y="90"/>
                    </a:lnTo>
                    <a:lnTo>
                      <a:pt x="704" y="90"/>
                    </a:lnTo>
                    <a:lnTo>
                      <a:pt x="709" y="90"/>
                    </a:lnTo>
                    <a:lnTo>
                      <a:pt x="709" y="90"/>
                    </a:lnTo>
                    <a:lnTo>
                      <a:pt x="709" y="90"/>
                    </a:lnTo>
                    <a:lnTo>
                      <a:pt x="718" y="95"/>
                    </a:lnTo>
                    <a:lnTo>
                      <a:pt x="718" y="95"/>
                    </a:lnTo>
                    <a:lnTo>
                      <a:pt x="718" y="90"/>
                    </a:lnTo>
                    <a:lnTo>
                      <a:pt x="718" y="90"/>
                    </a:lnTo>
                    <a:lnTo>
                      <a:pt x="713" y="90"/>
                    </a:lnTo>
                    <a:lnTo>
                      <a:pt x="713" y="90"/>
                    </a:lnTo>
                    <a:lnTo>
                      <a:pt x="713" y="90"/>
                    </a:lnTo>
                    <a:lnTo>
                      <a:pt x="713" y="90"/>
                    </a:lnTo>
                    <a:lnTo>
                      <a:pt x="713" y="90"/>
                    </a:lnTo>
                    <a:lnTo>
                      <a:pt x="713" y="90"/>
                    </a:lnTo>
                    <a:lnTo>
                      <a:pt x="718" y="86"/>
                    </a:lnTo>
                    <a:lnTo>
                      <a:pt x="727" y="86"/>
                    </a:lnTo>
                    <a:lnTo>
                      <a:pt x="727" y="86"/>
                    </a:lnTo>
                    <a:lnTo>
                      <a:pt x="731" y="86"/>
                    </a:lnTo>
                    <a:lnTo>
                      <a:pt x="731" y="90"/>
                    </a:lnTo>
                    <a:lnTo>
                      <a:pt x="731" y="90"/>
                    </a:lnTo>
                    <a:lnTo>
                      <a:pt x="731" y="90"/>
                    </a:lnTo>
                    <a:lnTo>
                      <a:pt x="731" y="90"/>
                    </a:lnTo>
                    <a:lnTo>
                      <a:pt x="731" y="90"/>
                    </a:lnTo>
                    <a:lnTo>
                      <a:pt x="731" y="90"/>
                    </a:lnTo>
                    <a:lnTo>
                      <a:pt x="731" y="90"/>
                    </a:lnTo>
                    <a:lnTo>
                      <a:pt x="727" y="90"/>
                    </a:lnTo>
                    <a:lnTo>
                      <a:pt x="727" y="95"/>
                    </a:lnTo>
                    <a:lnTo>
                      <a:pt x="736" y="95"/>
                    </a:lnTo>
                    <a:lnTo>
                      <a:pt x="736" y="95"/>
                    </a:lnTo>
                    <a:lnTo>
                      <a:pt x="736" y="95"/>
                    </a:lnTo>
                    <a:lnTo>
                      <a:pt x="740" y="95"/>
                    </a:lnTo>
                    <a:lnTo>
                      <a:pt x="740" y="95"/>
                    </a:lnTo>
                    <a:lnTo>
                      <a:pt x="740" y="100"/>
                    </a:lnTo>
                    <a:lnTo>
                      <a:pt x="740" y="100"/>
                    </a:lnTo>
                    <a:lnTo>
                      <a:pt x="736" y="100"/>
                    </a:lnTo>
                    <a:lnTo>
                      <a:pt x="736" y="100"/>
                    </a:lnTo>
                    <a:lnTo>
                      <a:pt x="736" y="100"/>
                    </a:lnTo>
                    <a:lnTo>
                      <a:pt x="736" y="100"/>
                    </a:lnTo>
                    <a:lnTo>
                      <a:pt x="740" y="100"/>
                    </a:lnTo>
                    <a:lnTo>
                      <a:pt x="740" y="100"/>
                    </a:lnTo>
                    <a:lnTo>
                      <a:pt x="740" y="100"/>
                    </a:lnTo>
                    <a:lnTo>
                      <a:pt x="740" y="104"/>
                    </a:lnTo>
                    <a:lnTo>
                      <a:pt x="736" y="104"/>
                    </a:lnTo>
                    <a:lnTo>
                      <a:pt x="736" y="104"/>
                    </a:lnTo>
                    <a:lnTo>
                      <a:pt x="736" y="104"/>
                    </a:lnTo>
                    <a:lnTo>
                      <a:pt x="736" y="104"/>
                    </a:lnTo>
                    <a:lnTo>
                      <a:pt x="740" y="104"/>
                    </a:lnTo>
                    <a:lnTo>
                      <a:pt x="740" y="104"/>
                    </a:lnTo>
                    <a:lnTo>
                      <a:pt x="745" y="109"/>
                    </a:lnTo>
                    <a:lnTo>
                      <a:pt x="754" y="109"/>
                    </a:lnTo>
                    <a:lnTo>
                      <a:pt x="754" y="109"/>
                    </a:lnTo>
                    <a:lnTo>
                      <a:pt x="759" y="109"/>
                    </a:lnTo>
                    <a:lnTo>
                      <a:pt x="759" y="109"/>
                    </a:lnTo>
                    <a:lnTo>
                      <a:pt x="759" y="109"/>
                    </a:lnTo>
                    <a:lnTo>
                      <a:pt x="759" y="104"/>
                    </a:lnTo>
                    <a:lnTo>
                      <a:pt x="759" y="104"/>
                    </a:lnTo>
                    <a:lnTo>
                      <a:pt x="759" y="104"/>
                    </a:lnTo>
                    <a:lnTo>
                      <a:pt x="759" y="100"/>
                    </a:lnTo>
                    <a:lnTo>
                      <a:pt x="763" y="100"/>
                    </a:lnTo>
                    <a:lnTo>
                      <a:pt x="763" y="100"/>
                    </a:lnTo>
                    <a:lnTo>
                      <a:pt x="768" y="100"/>
                    </a:lnTo>
                    <a:lnTo>
                      <a:pt x="768" y="100"/>
                    </a:lnTo>
                    <a:lnTo>
                      <a:pt x="768" y="100"/>
                    </a:lnTo>
                    <a:lnTo>
                      <a:pt x="768" y="95"/>
                    </a:lnTo>
                    <a:lnTo>
                      <a:pt x="763" y="95"/>
                    </a:lnTo>
                    <a:lnTo>
                      <a:pt x="763" y="95"/>
                    </a:lnTo>
                    <a:lnTo>
                      <a:pt x="763" y="95"/>
                    </a:lnTo>
                    <a:lnTo>
                      <a:pt x="763" y="95"/>
                    </a:lnTo>
                    <a:lnTo>
                      <a:pt x="763" y="95"/>
                    </a:lnTo>
                    <a:lnTo>
                      <a:pt x="763" y="95"/>
                    </a:lnTo>
                    <a:lnTo>
                      <a:pt x="768" y="90"/>
                    </a:lnTo>
                    <a:lnTo>
                      <a:pt x="772" y="90"/>
                    </a:lnTo>
                    <a:lnTo>
                      <a:pt x="772" y="90"/>
                    </a:lnTo>
                    <a:lnTo>
                      <a:pt x="781" y="90"/>
                    </a:lnTo>
                    <a:lnTo>
                      <a:pt x="781" y="86"/>
                    </a:lnTo>
                    <a:lnTo>
                      <a:pt x="786" y="86"/>
                    </a:lnTo>
                    <a:lnTo>
                      <a:pt x="786" y="86"/>
                    </a:lnTo>
                    <a:lnTo>
                      <a:pt x="790" y="86"/>
                    </a:lnTo>
                    <a:lnTo>
                      <a:pt x="790" y="90"/>
                    </a:lnTo>
                    <a:lnTo>
                      <a:pt x="790" y="90"/>
                    </a:lnTo>
                    <a:lnTo>
                      <a:pt x="790" y="90"/>
                    </a:lnTo>
                    <a:lnTo>
                      <a:pt x="790" y="90"/>
                    </a:lnTo>
                    <a:lnTo>
                      <a:pt x="790" y="90"/>
                    </a:lnTo>
                    <a:lnTo>
                      <a:pt x="786" y="90"/>
                    </a:lnTo>
                    <a:lnTo>
                      <a:pt x="786" y="90"/>
                    </a:lnTo>
                    <a:lnTo>
                      <a:pt x="786" y="90"/>
                    </a:lnTo>
                    <a:lnTo>
                      <a:pt x="786" y="90"/>
                    </a:lnTo>
                    <a:lnTo>
                      <a:pt x="786" y="90"/>
                    </a:lnTo>
                    <a:lnTo>
                      <a:pt x="781" y="95"/>
                    </a:lnTo>
                    <a:lnTo>
                      <a:pt x="781" y="95"/>
                    </a:lnTo>
                    <a:lnTo>
                      <a:pt x="781" y="95"/>
                    </a:lnTo>
                    <a:lnTo>
                      <a:pt x="781" y="95"/>
                    </a:lnTo>
                    <a:lnTo>
                      <a:pt x="781" y="95"/>
                    </a:lnTo>
                    <a:lnTo>
                      <a:pt x="781" y="100"/>
                    </a:lnTo>
                    <a:lnTo>
                      <a:pt x="777" y="100"/>
                    </a:lnTo>
                    <a:lnTo>
                      <a:pt x="777" y="100"/>
                    </a:lnTo>
                    <a:lnTo>
                      <a:pt x="777" y="100"/>
                    </a:lnTo>
                    <a:lnTo>
                      <a:pt x="777" y="100"/>
                    </a:lnTo>
                    <a:lnTo>
                      <a:pt x="777" y="100"/>
                    </a:lnTo>
                    <a:moveTo>
                      <a:pt x="921" y="95"/>
                    </a:moveTo>
                    <a:lnTo>
                      <a:pt x="921" y="95"/>
                    </a:lnTo>
                    <a:lnTo>
                      <a:pt x="926" y="95"/>
                    </a:lnTo>
                    <a:lnTo>
                      <a:pt x="926" y="95"/>
                    </a:lnTo>
                    <a:lnTo>
                      <a:pt x="926" y="95"/>
                    </a:lnTo>
                    <a:lnTo>
                      <a:pt x="930" y="95"/>
                    </a:lnTo>
                    <a:lnTo>
                      <a:pt x="930" y="100"/>
                    </a:lnTo>
                    <a:lnTo>
                      <a:pt x="930" y="100"/>
                    </a:lnTo>
                    <a:lnTo>
                      <a:pt x="930" y="100"/>
                    </a:lnTo>
                    <a:lnTo>
                      <a:pt x="930" y="100"/>
                    </a:lnTo>
                    <a:lnTo>
                      <a:pt x="930" y="100"/>
                    </a:lnTo>
                    <a:lnTo>
                      <a:pt x="930" y="100"/>
                    </a:lnTo>
                    <a:lnTo>
                      <a:pt x="930" y="100"/>
                    </a:lnTo>
                    <a:lnTo>
                      <a:pt x="926" y="100"/>
                    </a:lnTo>
                    <a:lnTo>
                      <a:pt x="926" y="104"/>
                    </a:lnTo>
                    <a:lnTo>
                      <a:pt x="921" y="104"/>
                    </a:lnTo>
                    <a:lnTo>
                      <a:pt x="921" y="104"/>
                    </a:lnTo>
                    <a:lnTo>
                      <a:pt x="921" y="104"/>
                    </a:lnTo>
                    <a:lnTo>
                      <a:pt x="921" y="104"/>
                    </a:lnTo>
                    <a:lnTo>
                      <a:pt x="930" y="100"/>
                    </a:lnTo>
                    <a:lnTo>
                      <a:pt x="930" y="104"/>
                    </a:lnTo>
                    <a:lnTo>
                      <a:pt x="935" y="104"/>
                    </a:lnTo>
                    <a:lnTo>
                      <a:pt x="939" y="100"/>
                    </a:lnTo>
                    <a:lnTo>
                      <a:pt x="944" y="100"/>
                    </a:lnTo>
                    <a:lnTo>
                      <a:pt x="944" y="100"/>
                    </a:lnTo>
                    <a:lnTo>
                      <a:pt x="948" y="104"/>
                    </a:lnTo>
                    <a:lnTo>
                      <a:pt x="948" y="104"/>
                    </a:lnTo>
                    <a:lnTo>
                      <a:pt x="948" y="104"/>
                    </a:lnTo>
                    <a:lnTo>
                      <a:pt x="948" y="104"/>
                    </a:lnTo>
                    <a:lnTo>
                      <a:pt x="948" y="104"/>
                    </a:lnTo>
                    <a:lnTo>
                      <a:pt x="948" y="104"/>
                    </a:lnTo>
                    <a:lnTo>
                      <a:pt x="944" y="104"/>
                    </a:lnTo>
                    <a:lnTo>
                      <a:pt x="944" y="104"/>
                    </a:lnTo>
                    <a:lnTo>
                      <a:pt x="944" y="104"/>
                    </a:lnTo>
                    <a:lnTo>
                      <a:pt x="939" y="104"/>
                    </a:lnTo>
                    <a:lnTo>
                      <a:pt x="939" y="104"/>
                    </a:lnTo>
                    <a:lnTo>
                      <a:pt x="939" y="104"/>
                    </a:lnTo>
                    <a:lnTo>
                      <a:pt x="939" y="104"/>
                    </a:lnTo>
                    <a:lnTo>
                      <a:pt x="944" y="104"/>
                    </a:lnTo>
                    <a:lnTo>
                      <a:pt x="957" y="109"/>
                    </a:lnTo>
                    <a:lnTo>
                      <a:pt x="957" y="109"/>
                    </a:lnTo>
                    <a:lnTo>
                      <a:pt x="957" y="109"/>
                    </a:lnTo>
                    <a:lnTo>
                      <a:pt x="957" y="113"/>
                    </a:lnTo>
                    <a:lnTo>
                      <a:pt x="953" y="113"/>
                    </a:lnTo>
                    <a:lnTo>
                      <a:pt x="944" y="113"/>
                    </a:lnTo>
                    <a:lnTo>
                      <a:pt x="939" y="109"/>
                    </a:lnTo>
                    <a:lnTo>
                      <a:pt x="935" y="109"/>
                    </a:lnTo>
                    <a:lnTo>
                      <a:pt x="935" y="109"/>
                    </a:lnTo>
                    <a:lnTo>
                      <a:pt x="935" y="109"/>
                    </a:lnTo>
                    <a:lnTo>
                      <a:pt x="939" y="113"/>
                    </a:lnTo>
                    <a:lnTo>
                      <a:pt x="939" y="113"/>
                    </a:lnTo>
                    <a:lnTo>
                      <a:pt x="939" y="113"/>
                    </a:lnTo>
                    <a:lnTo>
                      <a:pt x="944" y="113"/>
                    </a:lnTo>
                    <a:lnTo>
                      <a:pt x="944" y="113"/>
                    </a:lnTo>
                    <a:lnTo>
                      <a:pt x="944" y="113"/>
                    </a:lnTo>
                    <a:lnTo>
                      <a:pt x="944" y="113"/>
                    </a:lnTo>
                    <a:lnTo>
                      <a:pt x="944" y="118"/>
                    </a:lnTo>
                    <a:lnTo>
                      <a:pt x="944" y="118"/>
                    </a:lnTo>
                    <a:lnTo>
                      <a:pt x="944" y="118"/>
                    </a:lnTo>
                    <a:lnTo>
                      <a:pt x="944" y="118"/>
                    </a:lnTo>
                    <a:lnTo>
                      <a:pt x="948" y="118"/>
                    </a:lnTo>
                    <a:lnTo>
                      <a:pt x="948" y="118"/>
                    </a:lnTo>
                    <a:lnTo>
                      <a:pt x="948" y="118"/>
                    </a:lnTo>
                    <a:lnTo>
                      <a:pt x="944" y="122"/>
                    </a:lnTo>
                    <a:lnTo>
                      <a:pt x="944" y="122"/>
                    </a:lnTo>
                    <a:lnTo>
                      <a:pt x="939" y="122"/>
                    </a:lnTo>
                    <a:lnTo>
                      <a:pt x="939" y="122"/>
                    </a:lnTo>
                    <a:lnTo>
                      <a:pt x="939" y="122"/>
                    </a:lnTo>
                    <a:lnTo>
                      <a:pt x="944" y="122"/>
                    </a:lnTo>
                    <a:lnTo>
                      <a:pt x="944" y="127"/>
                    </a:lnTo>
                    <a:lnTo>
                      <a:pt x="944" y="127"/>
                    </a:lnTo>
                    <a:lnTo>
                      <a:pt x="944" y="122"/>
                    </a:lnTo>
                    <a:lnTo>
                      <a:pt x="944" y="122"/>
                    </a:lnTo>
                    <a:lnTo>
                      <a:pt x="944" y="122"/>
                    </a:lnTo>
                    <a:lnTo>
                      <a:pt x="948" y="122"/>
                    </a:lnTo>
                    <a:lnTo>
                      <a:pt x="948" y="122"/>
                    </a:lnTo>
                    <a:lnTo>
                      <a:pt x="948" y="122"/>
                    </a:lnTo>
                    <a:lnTo>
                      <a:pt x="948" y="122"/>
                    </a:lnTo>
                    <a:lnTo>
                      <a:pt x="948" y="122"/>
                    </a:lnTo>
                    <a:lnTo>
                      <a:pt x="948" y="122"/>
                    </a:lnTo>
                    <a:lnTo>
                      <a:pt x="953" y="122"/>
                    </a:lnTo>
                    <a:lnTo>
                      <a:pt x="957" y="122"/>
                    </a:lnTo>
                    <a:lnTo>
                      <a:pt x="957" y="122"/>
                    </a:lnTo>
                    <a:lnTo>
                      <a:pt x="957" y="127"/>
                    </a:lnTo>
                    <a:lnTo>
                      <a:pt x="957" y="127"/>
                    </a:lnTo>
                    <a:lnTo>
                      <a:pt x="962" y="122"/>
                    </a:lnTo>
                    <a:lnTo>
                      <a:pt x="962" y="122"/>
                    </a:lnTo>
                    <a:lnTo>
                      <a:pt x="962" y="127"/>
                    </a:lnTo>
                    <a:lnTo>
                      <a:pt x="966" y="127"/>
                    </a:lnTo>
                    <a:lnTo>
                      <a:pt x="966" y="127"/>
                    </a:lnTo>
                    <a:lnTo>
                      <a:pt x="966" y="127"/>
                    </a:lnTo>
                    <a:lnTo>
                      <a:pt x="971" y="127"/>
                    </a:lnTo>
                    <a:lnTo>
                      <a:pt x="971" y="127"/>
                    </a:lnTo>
                    <a:lnTo>
                      <a:pt x="971" y="127"/>
                    </a:lnTo>
                    <a:lnTo>
                      <a:pt x="971" y="127"/>
                    </a:lnTo>
                    <a:lnTo>
                      <a:pt x="975" y="127"/>
                    </a:lnTo>
                    <a:lnTo>
                      <a:pt x="980" y="127"/>
                    </a:lnTo>
                    <a:lnTo>
                      <a:pt x="984" y="122"/>
                    </a:lnTo>
                    <a:lnTo>
                      <a:pt x="989" y="122"/>
                    </a:lnTo>
                    <a:lnTo>
                      <a:pt x="989" y="122"/>
                    </a:lnTo>
                    <a:lnTo>
                      <a:pt x="993" y="122"/>
                    </a:lnTo>
                    <a:lnTo>
                      <a:pt x="998" y="122"/>
                    </a:lnTo>
                    <a:lnTo>
                      <a:pt x="998" y="122"/>
                    </a:lnTo>
                    <a:lnTo>
                      <a:pt x="998" y="122"/>
                    </a:lnTo>
                    <a:lnTo>
                      <a:pt x="1002" y="122"/>
                    </a:lnTo>
                    <a:lnTo>
                      <a:pt x="1007" y="122"/>
                    </a:lnTo>
                    <a:lnTo>
                      <a:pt x="1012" y="122"/>
                    </a:lnTo>
                    <a:lnTo>
                      <a:pt x="1012" y="122"/>
                    </a:lnTo>
                    <a:lnTo>
                      <a:pt x="1016" y="122"/>
                    </a:lnTo>
                    <a:lnTo>
                      <a:pt x="1021" y="122"/>
                    </a:lnTo>
                    <a:lnTo>
                      <a:pt x="1021" y="122"/>
                    </a:lnTo>
                    <a:lnTo>
                      <a:pt x="1025" y="127"/>
                    </a:lnTo>
                    <a:lnTo>
                      <a:pt x="1021" y="127"/>
                    </a:lnTo>
                    <a:lnTo>
                      <a:pt x="1021" y="127"/>
                    </a:lnTo>
                    <a:lnTo>
                      <a:pt x="1021" y="127"/>
                    </a:lnTo>
                    <a:lnTo>
                      <a:pt x="1025" y="127"/>
                    </a:lnTo>
                    <a:lnTo>
                      <a:pt x="1030" y="127"/>
                    </a:lnTo>
                    <a:lnTo>
                      <a:pt x="1030" y="127"/>
                    </a:lnTo>
                    <a:lnTo>
                      <a:pt x="1030" y="127"/>
                    </a:lnTo>
                    <a:lnTo>
                      <a:pt x="1030" y="127"/>
                    </a:lnTo>
                    <a:lnTo>
                      <a:pt x="1030" y="127"/>
                    </a:lnTo>
                    <a:lnTo>
                      <a:pt x="1025" y="131"/>
                    </a:lnTo>
                    <a:lnTo>
                      <a:pt x="1025" y="131"/>
                    </a:lnTo>
                    <a:lnTo>
                      <a:pt x="1030" y="131"/>
                    </a:lnTo>
                    <a:lnTo>
                      <a:pt x="1034" y="131"/>
                    </a:lnTo>
                    <a:lnTo>
                      <a:pt x="1034" y="131"/>
                    </a:lnTo>
                    <a:lnTo>
                      <a:pt x="1034" y="131"/>
                    </a:lnTo>
                    <a:lnTo>
                      <a:pt x="1030" y="131"/>
                    </a:lnTo>
                    <a:lnTo>
                      <a:pt x="1030" y="136"/>
                    </a:lnTo>
                    <a:lnTo>
                      <a:pt x="1030" y="136"/>
                    </a:lnTo>
                    <a:lnTo>
                      <a:pt x="1025" y="136"/>
                    </a:lnTo>
                    <a:lnTo>
                      <a:pt x="1016" y="136"/>
                    </a:lnTo>
                    <a:lnTo>
                      <a:pt x="1016" y="136"/>
                    </a:lnTo>
                    <a:lnTo>
                      <a:pt x="1016" y="140"/>
                    </a:lnTo>
                    <a:lnTo>
                      <a:pt x="1021" y="140"/>
                    </a:lnTo>
                    <a:lnTo>
                      <a:pt x="1021" y="140"/>
                    </a:lnTo>
                    <a:lnTo>
                      <a:pt x="1025" y="140"/>
                    </a:lnTo>
                    <a:lnTo>
                      <a:pt x="1025" y="140"/>
                    </a:lnTo>
                    <a:lnTo>
                      <a:pt x="1025" y="140"/>
                    </a:lnTo>
                    <a:lnTo>
                      <a:pt x="1025" y="140"/>
                    </a:lnTo>
                    <a:lnTo>
                      <a:pt x="1025" y="140"/>
                    </a:lnTo>
                    <a:lnTo>
                      <a:pt x="1025" y="140"/>
                    </a:lnTo>
                    <a:lnTo>
                      <a:pt x="1016" y="140"/>
                    </a:lnTo>
                    <a:lnTo>
                      <a:pt x="1016" y="140"/>
                    </a:lnTo>
                    <a:lnTo>
                      <a:pt x="1016" y="140"/>
                    </a:lnTo>
                    <a:lnTo>
                      <a:pt x="1016" y="140"/>
                    </a:lnTo>
                    <a:lnTo>
                      <a:pt x="1016" y="140"/>
                    </a:lnTo>
                    <a:lnTo>
                      <a:pt x="1016" y="140"/>
                    </a:lnTo>
                    <a:lnTo>
                      <a:pt x="1016" y="140"/>
                    </a:lnTo>
                    <a:lnTo>
                      <a:pt x="1016" y="140"/>
                    </a:lnTo>
                    <a:lnTo>
                      <a:pt x="1016" y="140"/>
                    </a:lnTo>
                    <a:lnTo>
                      <a:pt x="1012" y="145"/>
                    </a:lnTo>
                    <a:lnTo>
                      <a:pt x="1012" y="145"/>
                    </a:lnTo>
                    <a:lnTo>
                      <a:pt x="1012" y="145"/>
                    </a:lnTo>
                    <a:lnTo>
                      <a:pt x="1012" y="145"/>
                    </a:lnTo>
                    <a:lnTo>
                      <a:pt x="1002" y="145"/>
                    </a:lnTo>
                    <a:lnTo>
                      <a:pt x="998" y="145"/>
                    </a:lnTo>
                    <a:lnTo>
                      <a:pt x="993" y="145"/>
                    </a:lnTo>
                    <a:lnTo>
                      <a:pt x="993" y="145"/>
                    </a:lnTo>
                    <a:lnTo>
                      <a:pt x="993" y="145"/>
                    </a:lnTo>
                    <a:lnTo>
                      <a:pt x="989" y="145"/>
                    </a:lnTo>
                    <a:lnTo>
                      <a:pt x="989" y="145"/>
                    </a:lnTo>
                    <a:lnTo>
                      <a:pt x="984" y="145"/>
                    </a:lnTo>
                    <a:lnTo>
                      <a:pt x="984" y="145"/>
                    </a:lnTo>
                    <a:lnTo>
                      <a:pt x="984" y="145"/>
                    </a:lnTo>
                    <a:lnTo>
                      <a:pt x="984" y="145"/>
                    </a:lnTo>
                    <a:lnTo>
                      <a:pt x="984" y="145"/>
                    </a:lnTo>
                    <a:lnTo>
                      <a:pt x="984" y="140"/>
                    </a:lnTo>
                    <a:lnTo>
                      <a:pt x="984" y="140"/>
                    </a:lnTo>
                    <a:lnTo>
                      <a:pt x="984" y="140"/>
                    </a:lnTo>
                    <a:lnTo>
                      <a:pt x="989" y="140"/>
                    </a:lnTo>
                    <a:lnTo>
                      <a:pt x="984" y="140"/>
                    </a:lnTo>
                    <a:lnTo>
                      <a:pt x="984" y="140"/>
                    </a:lnTo>
                    <a:lnTo>
                      <a:pt x="984" y="140"/>
                    </a:lnTo>
                    <a:lnTo>
                      <a:pt x="984" y="136"/>
                    </a:lnTo>
                    <a:lnTo>
                      <a:pt x="984" y="136"/>
                    </a:lnTo>
                    <a:lnTo>
                      <a:pt x="984" y="140"/>
                    </a:lnTo>
                    <a:lnTo>
                      <a:pt x="984" y="140"/>
                    </a:lnTo>
                    <a:lnTo>
                      <a:pt x="984" y="140"/>
                    </a:lnTo>
                    <a:lnTo>
                      <a:pt x="984" y="140"/>
                    </a:lnTo>
                    <a:lnTo>
                      <a:pt x="980" y="140"/>
                    </a:lnTo>
                    <a:lnTo>
                      <a:pt x="980" y="140"/>
                    </a:lnTo>
                    <a:lnTo>
                      <a:pt x="980" y="145"/>
                    </a:lnTo>
                    <a:lnTo>
                      <a:pt x="975" y="145"/>
                    </a:lnTo>
                    <a:lnTo>
                      <a:pt x="975" y="145"/>
                    </a:lnTo>
                    <a:lnTo>
                      <a:pt x="971" y="145"/>
                    </a:lnTo>
                    <a:lnTo>
                      <a:pt x="966" y="145"/>
                    </a:lnTo>
                    <a:lnTo>
                      <a:pt x="966" y="145"/>
                    </a:lnTo>
                    <a:lnTo>
                      <a:pt x="966" y="145"/>
                    </a:lnTo>
                    <a:lnTo>
                      <a:pt x="966" y="145"/>
                    </a:lnTo>
                    <a:lnTo>
                      <a:pt x="962" y="140"/>
                    </a:lnTo>
                    <a:lnTo>
                      <a:pt x="962" y="140"/>
                    </a:lnTo>
                    <a:lnTo>
                      <a:pt x="962" y="145"/>
                    </a:lnTo>
                    <a:lnTo>
                      <a:pt x="962" y="145"/>
                    </a:lnTo>
                    <a:lnTo>
                      <a:pt x="962" y="145"/>
                    </a:lnTo>
                    <a:lnTo>
                      <a:pt x="962" y="145"/>
                    </a:lnTo>
                    <a:lnTo>
                      <a:pt x="962" y="140"/>
                    </a:lnTo>
                    <a:lnTo>
                      <a:pt x="957" y="140"/>
                    </a:lnTo>
                    <a:lnTo>
                      <a:pt x="957" y="140"/>
                    </a:lnTo>
                    <a:lnTo>
                      <a:pt x="957" y="145"/>
                    </a:lnTo>
                    <a:lnTo>
                      <a:pt x="957" y="145"/>
                    </a:lnTo>
                    <a:lnTo>
                      <a:pt x="953" y="145"/>
                    </a:lnTo>
                    <a:lnTo>
                      <a:pt x="953" y="145"/>
                    </a:lnTo>
                    <a:lnTo>
                      <a:pt x="953" y="140"/>
                    </a:lnTo>
                    <a:lnTo>
                      <a:pt x="953" y="140"/>
                    </a:lnTo>
                    <a:lnTo>
                      <a:pt x="948" y="145"/>
                    </a:lnTo>
                    <a:lnTo>
                      <a:pt x="948" y="140"/>
                    </a:lnTo>
                    <a:lnTo>
                      <a:pt x="948" y="140"/>
                    </a:lnTo>
                    <a:lnTo>
                      <a:pt x="944" y="145"/>
                    </a:lnTo>
                    <a:lnTo>
                      <a:pt x="944" y="145"/>
                    </a:lnTo>
                    <a:lnTo>
                      <a:pt x="944" y="145"/>
                    </a:lnTo>
                    <a:lnTo>
                      <a:pt x="939" y="140"/>
                    </a:lnTo>
                    <a:lnTo>
                      <a:pt x="935" y="140"/>
                    </a:lnTo>
                    <a:lnTo>
                      <a:pt x="930" y="140"/>
                    </a:lnTo>
                    <a:lnTo>
                      <a:pt x="930" y="140"/>
                    </a:lnTo>
                    <a:lnTo>
                      <a:pt x="930" y="140"/>
                    </a:lnTo>
                    <a:lnTo>
                      <a:pt x="930" y="140"/>
                    </a:lnTo>
                    <a:lnTo>
                      <a:pt x="930" y="140"/>
                    </a:lnTo>
                    <a:lnTo>
                      <a:pt x="930" y="140"/>
                    </a:lnTo>
                    <a:lnTo>
                      <a:pt x="930" y="140"/>
                    </a:lnTo>
                    <a:lnTo>
                      <a:pt x="935" y="136"/>
                    </a:lnTo>
                    <a:lnTo>
                      <a:pt x="935" y="136"/>
                    </a:lnTo>
                    <a:lnTo>
                      <a:pt x="935" y="136"/>
                    </a:lnTo>
                    <a:lnTo>
                      <a:pt x="935" y="136"/>
                    </a:lnTo>
                    <a:lnTo>
                      <a:pt x="935" y="136"/>
                    </a:lnTo>
                    <a:lnTo>
                      <a:pt x="930" y="136"/>
                    </a:lnTo>
                    <a:lnTo>
                      <a:pt x="930" y="136"/>
                    </a:lnTo>
                    <a:lnTo>
                      <a:pt x="930" y="136"/>
                    </a:lnTo>
                    <a:lnTo>
                      <a:pt x="930" y="136"/>
                    </a:lnTo>
                    <a:lnTo>
                      <a:pt x="930" y="136"/>
                    </a:lnTo>
                    <a:lnTo>
                      <a:pt x="930" y="136"/>
                    </a:lnTo>
                    <a:lnTo>
                      <a:pt x="930" y="136"/>
                    </a:lnTo>
                    <a:lnTo>
                      <a:pt x="930" y="136"/>
                    </a:lnTo>
                    <a:lnTo>
                      <a:pt x="926" y="136"/>
                    </a:lnTo>
                    <a:lnTo>
                      <a:pt x="926" y="136"/>
                    </a:lnTo>
                    <a:lnTo>
                      <a:pt x="926" y="136"/>
                    </a:lnTo>
                    <a:lnTo>
                      <a:pt x="926" y="136"/>
                    </a:lnTo>
                    <a:lnTo>
                      <a:pt x="926" y="136"/>
                    </a:lnTo>
                    <a:lnTo>
                      <a:pt x="926" y="136"/>
                    </a:lnTo>
                    <a:lnTo>
                      <a:pt x="926" y="140"/>
                    </a:lnTo>
                    <a:lnTo>
                      <a:pt x="921" y="140"/>
                    </a:lnTo>
                    <a:lnTo>
                      <a:pt x="921" y="140"/>
                    </a:lnTo>
                    <a:lnTo>
                      <a:pt x="917" y="140"/>
                    </a:lnTo>
                    <a:lnTo>
                      <a:pt x="917" y="140"/>
                    </a:lnTo>
                    <a:lnTo>
                      <a:pt x="912" y="140"/>
                    </a:lnTo>
                    <a:lnTo>
                      <a:pt x="912" y="140"/>
                    </a:lnTo>
                    <a:lnTo>
                      <a:pt x="912" y="136"/>
                    </a:lnTo>
                    <a:lnTo>
                      <a:pt x="908" y="136"/>
                    </a:lnTo>
                    <a:lnTo>
                      <a:pt x="908" y="136"/>
                    </a:lnTo>
                    <a:lnTo>
                      <a:pt x="908" y="136"/>
                    </a:lnTo>
                    <a:lnTo>
                      <a:pt x="912" y="136"/>
                    </a:lnTo>
                    <a:lnTo>
                      <a:pt x="912" y="136"/>
                    </a:lnTo>
                    <a:lnTo>
                      <a:pt x="908" y="136"/>
                    </a:lnTo>
                    <a:lnTo>
                      <a:pt x="908" y="136"/>
                    </a:lnTo>
                    <a:lnTo>
                      <a:pt x="903" y="136"/>
                    </a:lnTo>
                    <a:lnTo>
                      <a:pt x="903" y="136"/>
                    </a:lnTo>
                    <a:lnTo>
                      <a:pt x="903" y="136"/>
                    </a:lnTo>
                    <a:lnTo>
                      <a:pt x="903" y="136"/>
                    </a:lnTo>
                    <a:lnTo>
                      <a:pt x="903" y="136"/>
                    </a:lnTo>
                    <a:lnTo>
                      <a:pt x="903" y="136"/>
                    </a:lnTo>
                    <a:lnTo>
                      <a:pt x="899" y="136"/>
                    </a:lnTo>
                    <a:lnTo>
                      <a:pt x="899" y="136"/>
                    </a:lnTo>
                    <a:lnTo>
                      <a:pt x="903" y="131"/>
                    </a:lnTo>
                    <a:lnTo>
                      <a:pt x="903" y="131"/>
                    </a:lnTo>
                    <a:lnTo>
                      <a:pt x="903" y="127"/>
                    </a:lnTo>
                    <a:lnTo>
                      <a:pt x="908" y="127"/>
                    </a:lnTo>
                    <a:lnTo>
                      <a:pt x="908" y="127"/>
                    </a:lnTo>
                    <a:lnTo>
                      <a:pt x="908" y="127"/>
                    </a:lnTo>
                    <a:lnTo>
                      <a:pt x="908" y="127"/>
                    </a:lnTo>
                    <a:lnTo>
                      <a:pt x="908" y="127"/>
                    </a:lnTo>
                    <a:lnTo>
                      <a:pt x="908" y="127"/>
                    </a:lnTo>
                    <a:lnTo>
                      <a:pt x="908" y="122"/>
                    </a:lnTo>
                    <a:lnTo>
                      <a:pt x="908" y="122"/>
                    </a:lnTo>
                    <a:lnTo>
                      <a:pt x="908" y="122"/>
                    </a:lnTo>
                    <a:lnTo>
                      <a:pt x="912" y="122"/>
                    </a:lnTo>
                    <a:lnTo>
                      <a:pt x="917" y="118"/>
                    </a:lnTo>
                    <a:lnTo>
                      <a:pt x="917" y="118"/>
                    </a:lnTo>
                    <a:lnTo>
                      <a:pt x="917" y="118"/>
                    </a:lnTo>
                    <a:lnTo>
                      <a:pt x="917" y="118"/>
                    </a:lnTo>
                    <a:lnTo>
                      <a:pt x="921" y="118"/>
                    </a:lnTo>
                    <a:lnTo>
                      <a:pt x="921" y="118"/>
                    </a:lnTo>
                    <a:lnTo>
                      <a:pt x="921" y="113"/>
                    </a:lnTo>
                    <a:lnTo>
                      <a:pt x="921" y="113"/>
                    </a:lnTo>
                    <a:lnTo>
                      <a:pt x="921" y="109"/>
                    </a:lnTo>
                    <a:lnTo>
                      <a:pt x="921" y="109"/>
                    </a:lnTo>
                    <a:lnTo>
                      <a:pt x="921" y="104"/>
                    </a:lnTo>
                    <a:lnTo>
                      <a:pt x="921" y="104"/>
                    </a:lnTo>
                    <a:lnTo>
                      <a:pt x="921" y="104"/>
                    </a:lnTo>
                    <a:lnTo>
                      <a:pt x="917" y="109"/>
                    </a:lnTo>
                    <a:lnTo>
                      <a:pt x="917" y="109"/>
                    </a:lnTo>
                    <a:lnTo>
                      <a:pt x="917" y="109"/>
                    </a:lnTo>
                    <a:lnTo>
                      <a:pt x="912" y="109"/>
                    </a:lnTo>
                    <a:lnTo>
                      <a:pt x="908" y="109"/>
                    </a:lnTo>
                    <a:lnTo>
                      <a:pt x="908" y="104"/>
                    </a:lnTo>
                    <a:lnTo>
                      <a:pt x="908" y="104"/>
                    </a:lnTo>
                    <a:lnTo>
                      <a:pt x="903" y="109"/>
                    </a:lnTo>
                    <a:lnTo>
                      <a:pt x="899" y="104"/>
                    </a:lnTo>
                    <a:lnTo>
                      <a:pt x="899" y="104"/>
                    </a:lnTo>
                    <a:lnTo>
                      <a:pt x="899" y="104"/>
                    </a:lnTo>
                    <a:lnTo>
                      <a:pt x="899" y="104"/>
                    </a:lnTo>
                    <a:lnTo>
                      <a:pt x="899" y="104"/>
                    </a:lnTo>
                    <a:lnTo>
                      <a:pt x="899" y="100"/>
                    </a:lnTo>
                    <a:lnTo>
                      <a:pt x="903" y="100"/>
                    </a:lnTo>
                    <a:lnTo>
                      <a:pt x="903" y="100"/>
                    </a:lnTo>
                    <a:lnTo>
                      <a:pt x="903" y="100"/>
                    </a:lnTo>
                    <a:lnTo>
                      <a:pt x="903" y="100"/>
                    </a:lnTo>
                    <a:lnTo>
                      <a:pt x="899" y="100"/>
                    </a:lnTo>
                    <a:lnTo>
                      <a:pt x="899" y="100"/>
                    </a:lnTo>
                    <a:lnTo>
                      <a:pt x="894" y="95"/>
                    </a:lnTo>
                    <a:lnTo>
                      <a:pt x="894" y="95"/>
                    </a:lnTo>
                    <a:lnTo>
                      <a:pt x="894" y="95"/>
                    </a:lnTo>
                    <a:lnTo>
                      <a:pt x="894" y="95"/>
                    </a:lnTo>
                    <a:lnTo>
                      <a:pt x="899" y="95"/>
                    </a:lnTo>
                    <a:lnTo>
                      <a:pt x="899" y="95"/>
                    </a:lnTo>
                    <a:lnTo>
                      <a:pt x="899" y="95"/>
                    </a:lnTo>
                    <a:lnTo>
                      <a:pt x="899" y="95"/>
                    </a:lnTo>
                    <a:lnTo>
                      <a:pt x="903" y="95"/>
                    </a:lnTo>
                    <a:lnTo>
                      <a:pt x="903" y="95"/>
                    </a:lnTo>
                    <a:lnTo>
                      <a:pt x="899" y="95"/>
                    </a:lnTo>
                    <a:lnTo>
                      <a:pt x="899" y="95"/>
                    </a:lnTo>
                    <a:lnTo>
                      <a:pt x="899" y="95"/>
                    </a:lnTo>
                    <a:lnTo>
                      <a:pt x="903" y="95"/>
                    </a:lnTo>
                    <a:lnTo>
                      <a:pt x="903" y="95"/>
                    </a:lnTo>
                    <a:lnTo>
                      <a:pt x="903" y="95"/>
                    </a:lnTo>
                    <a:lnTo>
                      <a:pt x="903" y="95"/>
                    </a:lnTo>
                    <a:lnTo>
                      <a:pt x="908" y="95"/>
                    </a:lnTo>
                    <a:lnTo>
                      <a:pt x="912" y="90"/>
                    </a:lnTo>
                    <a:lnTo>
                      <a:pt x="912" y="90"/>
                    </a:lnTo>
                    <a:lnTo>
                      <a:pt x="912" y="90"/>
                    </a:lnTo>
                    <a:lnTo>
                      <a:pt x="917" y="95"/>
                    </a:lnTo>
                    <a:lnTo>
                      <a:pt x="921" y="95"/>
                    </a:lnTo>
                    <a:lnTo>
                      <a:pt x="921" y="95"/>
                    </a:lnTo>
                    <a:moveTo>
                      <a:pt x="745" y="72"/>
                    </a:moveTo>
                    <a:lnTo>
                      <a:pt x="745" y="72"/>
                    </a:lnTo>
                    <a:lnTo>
                      <a:pt x="745" y="72"/>
                    </a:lnTo>
                    <a:lnTo>
                      <a:pt x="740" y="72"/>
                    </a:lnTo>
                    <a:lnTo>
                      <a:pt x="740" y="72"/>
                    </a:lnTo>
                    <a:lnTo>
                      <a:pt x="740" y="72"/>
                    </a:lnTo>
                    <a:lnTo>
                      <a:pt x="731" y="77"/>
                    </a:lnTo>
                    <a:lnTo>
                      <a:pt x="731" y="77"/>
                    </a:lnTo>
                    <a:lnTo>
                      <a:pt x="731" y="77"/>
                    </a:lnTo>
                    <a:lnTo>
                      <a:pt x="731" y="77"/>
                    </a:lnTo>
                    <a:lnTo>
                      <a:pt x="731" y="81"/>
                    </a:lnTo>
                    <a:lnTo>
                      <a:pt x="731" y="81"/>
                    </a:lnTo>
                    <a:lnTo>
                      <a:pt x="727" y="81"/>
                    </a:lnTo>
                    <a:lnTo>
                      <a:pt x="727" y="81"/>
                    </a:lnTo>
                    <a:lnTo>
                      <a:pt x="727" y="81"/>
                    </a:lnTo>
                    <a:lnTo>
                      <a:pt x="727" y="81"/>
                    </a:lnTo>
                    <a:lnTo>
                      <a:pt x="722" y="81"/>
                    </a:lnTo>
                    <a:lnTo>
                      <a:pt x="722" y="81"/>
                    </a:lnTo>
                    <a:lnTo>
                      <a:pt x="722" y="81"/>
                    </a:lnTo>
                    <a:lnTo>
                      <a:pt x="722" y="81"/>
                    </a:lnTo>
                    <a:lnTo>
                      <a:pt x="722" y="81"/>
                    </a:lnTo>
                    <a:lnTo>
                      <a:pt x="722" y="86"/>
                    </a:lnTo>
                    <a:lnTo>
                      <a:pt x="718" y="86"/>
                    </a:lnTo>
                    <a:lnTo>
                      <a:pt x="713" y="86"/>
                    </a:lnTo>
                    <a:lnTo>
                      <a:pt x="709" y="86"/>
                    </a:lnTo>
                    <a:lnTo>
                      <a:pt x="709" y="86"/>
                    </a:lnTo>
                    <a:lnTo>
                      <a:pt x="709" y="86"/>
                    </a:lnTo>
                    <a:lnTo>
                      <a:pt x="704" y="86"/>
                    </a:lnTo>
                    <a:lnTo>
                      <a:pt x="704" y="86"/>
                    </a:lnTo>
                    <a:lnTo>
                      <a:pt x="704" y="90"/>
                    </a:lnTo>
                    <a:lnTo>
                      <a:pt x="700" y="90"/>
                    </a:lnTo>
                    <a:lnTo>
                      <a:pt x="700" y="90"/>
                    </a:lnTo>
                    <a:lnTo>
                      <a:pt x="700" y="90"/>
                    </a:lnTo>
                    <a:lnTo>
                      <a:pt x="700" y="90"/>
                    </a:lnTo>
                    <a:lnTo>
                      <a:pt x="695" y="86"/>
                    </a:lnTo>
                    <a:lnTo>
                      <a:pt x="695" y="86"/>
                    </a:lnTo>
                    <a:lnTo>
                      <a:pt x="695" y="86"/>
                    </a:lnTo>
                    <a:lnTo>
                      <a:pt x="700" y="86"/>
                    </a:lnTo>
                    <a:lnTo>
                      <a:pt x="700" y="86"/>
                    </a:lnTo>
                    <a:lnTo>
                      <a:pt x="700" y="86"/>
                    </a:lnTo>
                    <a:lnTo>
                      <a:pt x="704" y="81"/>
                    </a:lnTo>
                    <a:lnTo>
                      <a:pt x="709" y="81"/>
                    </a:lnTo>
                    <a:lnTo>
                      <a:pt x="709" y="81"/>
                    </a:lnTo>
                    <a:lnTo>
                      <a:pt x="709" y="81"/>
                    </a:lnTo>
                    <a:lnTo>
                      <a:pt x="709" y="81"/>
                    </a:lnTo>
                    <a:lnTo>
                      <a:pt x="704" y="81"/>
                    </a:lnTo>
                    <a:lnTo>
                      <a:pt x="704" y="81"/>
                    </a:lnTo>
                    <a:lnTo>
                      <a:pt x="704" y="81"/>
                    </a:lnTo>
                    <a:lnTo>
                      <a:pt x="700" y="81"/>
                    </a:lnTo>
                    <a:lnTo>
                      <a:pt x="700" y="81"/>
                    </a:lnTo>
                    <a:lnTo>
                      <a:pt x="700" y="81"/>
                    </a:lnTo>
                    <a:lnTo>
                      <a:pt x="695" y="86"/>
                    </a:lnTo>
                    <a:lnTo>
                      <a:pt x="695" y="86"/>
                    </a:lnTo>
                    <a:lnTo>
                      <a:pt x="695" y="86"/>
                    </a:lnTo>
                    <a:lnTo>
                      <a:pt x="691" y="86"/>
                    </a:lnTo>
                    <a:lnTo>
                      <a:pt x="691" y="86"/>
                    </a:lnTo>
                    <a:lnTo>
                      <a:pt x="691" y="86"/>
                    </a:lnTo>
                    <a:lnTo>
                      <a:pt x="691" y="86"/>
                    </a:lnTo>
                    <a:lnTo>
                      <a:pt x="691" y="86"/>
                    </a:lnTo>
                    <a:lnTo>
                      <a:pt x="691" y="86"/>
                    </a:lnTo>
                    <a:lnTo>
                      <a:pt x="686" y="86"/>
                    </a:lnTo>
                    <a:lnTo>
                      <a:pt x="686" y="86"/>
                    </a:lnTo>
                    <a:lnTo>
                      <a:pt x="682" y="90"/>
                    </a:lnTo>
                    <a:lnTo>
                      <a:pt x="682" y="90"/>
                    </a:lnTo>
                    <a:lnTo>
                      <a:pt x="682" y="90"/>
                    </a:lnTo>
                    <a:lnTo>
                      <a:pt x="677" y="90"/>
                    </a:lnTo>
                    <a:lnTo>
                      <a:pt x="677" y="90"/>
                    </a:lnTo>
                    <a:lnTo>
                      <a:pt x="682" y="90"/>
                    </a:lnTo>
                    <a:lnTo>
                      <a:pt x="682" y="86"/>
                    </a:lnTo>
                    <a:lnTo>
                      <a:pt x="682" y="86"/>
                    </a:lnTo>
                    <a:lnTo>
                      <a:pt x="682" y="86"/>
                    </a:lnTo>
                    <a:lnTo>
                      <a:pt x="682" y="86"/>
                    </a:lnTo>
                    <a:lnTo>
                      <a:pt x="677" y="86"/>
                    </a:lnTo>
                    <a:lnTo>
                      <a:pt x="677" y="86"/>
                    </a:lnTo>
                    <a:lnTo>
                      <a:pt x="677" y="90"/>
                    </a:lnTo>
                    <a:lnTo>
                      <a:pt x="677" y="90"/>
                    </a:lnTo>
                    <a:lnTo>
                      <a:pt x="673" y="90"/>
                    </a:lnTo>
                    <a:lnTo>
                      <a:pt x="673" y="90"/>
                    </a:lnTo>
                    <a:lnTo>
                      <a:pt x="673" y="90"/>
                    </a:lnTo>
                    <a:lnTo>
                      <a:pt x="673" y="90"/>
                    </a:lnTo>
                    <a:lnTo>
                      <a:pt x="673" y="90"/>
                    </a:lnTo>
                    <a:lnTo>
                      <a:pt x="673" y="90"/>
                    </a:lnTo>
                    <a:lnTo>
                      <a:pt x="673" y="90"/>
                    </a:lnTo>
                    <a:lnTo>
                      <a:pt x="668" y="90"/>
                    </a:lnTo>
                    <a:lnTo>
                      <a:pt x="668" y="95"/>
                    </a:lnTo>
                    <a:lnTo>
                      <a:pt x="664" y="95"/>
                    </a:lnTo>
                    <a:lnTo>
                      <a:pt x="664" y="95"/>
                    </a:lnTo>
                    <a:lnTo>
                      <a:pt x="659" y="95"/>
                    </a:lnTo>
                    <a:lnTo>
                      <a:pt x="659" y="95"/>
                    </a:lnTo>
                    <a:lnTo>
                      <a:pt x="659" y="95"/>
                    </a:lnTo>
                    <a:lnTo>
                      <a:pt x="664" y="90"/>
                    </a:lnTo>
                    <a:lnTo>
                      <a:pt x="664" y="90"/>
                    </a:lnTo>
                    <a:lnTo>
                      <a:pt x="664" y="90"/>
                    </a:lnTo>
                    <a:lnTo>
                      <a:pt x="664" y="90"/>
                    </a:lnTo>
                    <a:lnTo>
                      <a:pt x="668" y="86"/>
                    </a:lnTo>
                    <a:lnTo>
                      <a:pt x="668" y="86"/>
                    </a:lnTo>
                    <a:lnTo>
                      <a:pt x="668" y="86"/>
                    </a:lnTo>
                    <a:lnTo>
                      <a:pt x="664" y="86"/>
                    </a:lnTo>
                    <a:lnTo>
                      <a:pt x="659" y="90"/>
                    </a:lnTo>
                    <a:lnTo>
                      <a:pt x="659" y="90"/>
                    </a:lnTo>
                    <a:lnTo>
                      <a:pt x="655" y="90"/>
                    </a:lnTo>
                    <a:lnTo>
                      <a:pt x="655" y="90"/>
                    </a:lnTo>
                    <a:lnTo>
                      <a:pt x="655" y="90"/>
                    </a:lnTo>
                    <a:lnTo>
                      <a:pt x="655" y="90"/>
                    </a:lnTo>
                    <a:lnTo>
                      <a:pt x="650" y="90"/>
                    </a:lnTo>
                    <a:lnTo>
                      <a:pt x="646" y="90"/>
                    </a:lnTo>
                    <a:lnTo>
                      <a:pt x="646" y="90"/>
                    </a:lnTo>
                    <a:lnTo>
                      <a:pt x="646" y="90"/>
                    </a:lnTo>
                    <a:lnTo>
                      <a:pt x="646" y="90"/>
                    </a:lnTo>
                    <a:lnTo>
                      <a:pt x="646" y="90"/>
                    </a:lnTo>
                    <a:lnTo>
                      <a:pt x="646" y="90"/>
                    </a:lnTo>
                    <a:lnTo>
                      <a:pt x="646" y="90"/>
                    </a:lnTo>
                    <a:lnTo>
                      <a:pt x="650" y="86"/>
                    </a:lnTo>
                    <a:lnTo>
                      <a:pt x="650" y="86"/>
                    </a:lnTo>
                    <a:lnTo>
                      <a:pt x="650" y="86"/>
                    </a:lnTo>
                    <a:lnTo>
                      <a:pt x="650" y="86"/>
                    </a:lnTo>
                    <a:lnTo>
                      <a:pt x="650" y="86"/>
                    </a:lnTo>
                    <a:lnTo>
                      <a:pt x="650" y="86"/>
                    </a:lnTo>
                    <a:lnTo>
                      <a:pt x="650" y="86"/>
                    </a:lnTo>
                    <a:lnTo>
                      <a:pt x="650" y="86"/>
                    </a:lnTo>
                    <a:lnTo>
                      <a:pt x="646" y="86"/>
                    </a:lnTo>
                    <a:lnTo>
                      <a:pt x="646" y="86"/>
                    </a:lnTo>
                    <a:lnTo>
                      <a:pt x="650" y="86"/>
                    </a:lnTo>
                    <a:lnTo>
                      <a:pt x="655" y="81"/>
                    </a:lnTo>
                    <a:lnTo>
                      <a:pt x="659" y="81"/>
                    </a:lnTo>
                    <a:lnTo>
                      <a:pt x="659" y="81"/>
                    </a:lnTo>
                    <a:lnTo>
                      <a:pt x="668" y="81"/>
                    </a:lnTo>
                    <a:lnTo>
                      <a:pt x="668" y="81"/>
                    </a:lnTo>
                    <a:lnTo>
                      <a:pt x="673" y="81"/>
                    </a:lnTo>
                    <a:lnTo>
                      <a:pt x="677" y="81"/>
                    </a:lnTo>
                    <a:lnTo>
                      <a:pt x="677" y="81"/>
                    </a:lnTo>
                    <a:lnTo>
                      <a:pt x="686" y="77"/>
                    </a:lnTo>
                    <a:lnTo>
                      <a:pt x="686" y="77"/>
                    </a:lnTo>
                    <a:lnTo>
                      <a:pt x="691" y="77"/>
                    </a:lnTo>
                    <a:lnTo>
                      <a:pt x="691" y="77"/>
                    </a:lnTo>
                    <a:lnTo>
                      <a:pt x="691" y="77"/>
                    </a:lnTo>
                    <a:lnTo>
                      <a:pt x="700" y="72"/>
                    </a:lnTo>
                    <a:lnTo>
                      <a:pt x="704" y="72"/>
                    </a:lnTo>
                    <a:lnTo>
                      <a:pt x="709" y="72"/>
                    </a:lnTo>
                    <a:lnTo>
                      <a:pt x="709" y="72"/>
                    </a:lnTo>
                    <a:lnTo>
                      <a:pt x="713" y="72"/>
                    </a:lnTo>
                    <a:lnTo>
                      <a:pt x="722" y="72"/>
                    </a:lnTo>
                    <a:lnTo>
                      <a:pt x="727" y="72"/>
                    </a:lnTo>
                    <a:lnTo>
                      <a:pt x="727" y="72"/>
                    </a:lnTo>
                    <a:lnTo>
                      <a:pt x="727" y="72"/>
                    </a:lnTo>
                    <a:lnTo>
                      <a:pt x="727" y="72"/>
                    </a:lnTo>
                    <a:lnTo>
                      <a:pt x="731" y="72"/>
                    </a:lnTo>
                    <a:lnTo>
                      <a:pt x="731" y="72"/>
                    </a:lnTo>
                    <a:lnTo>
                      <a:pt x="731" y="72"/>
                    </a:lnTo>
                    <a:lnTo>
                      <a:pt x="731" y="72"/>
                    </a:lnTo>
                    <a:lnTo>
                      <a:pt x="731" y="72"/>
                    </a:lnTo>
                    <a:lnTo>
                      <a:pt x="731" y="72"/>
                    </a:lnTo>
                    <a:lnTo>
                      <a:pt x="731" y="72"/>
                    </a:lnTo>
                    <a:lnTo>
                      <a:pt x="731" y="72"/>
                    </a:lnTo>
                    <a:lnTo>
                      <a:pt x="736" y="68"/>
                    </a:lnTo>
                    <a:lnTo>
                      <a:pt x="736" y="68"/>
                    </a:lnTo>
                    <a:lnTo>
                      <a:pt x="740" y="68"/>
                    </a:lnTo>
                    <a:lnTo>
                      <a:pt x="740" y="68"/>
                    </a:lnTo>
                    <a:lnTo>
                      <a:pt x="740" y="72"/>
                    </a:lnTo>
                    <a:lnTo>
                      <a:pt x="740" y="72"/>
                    </a:lnTo>
                    <a:lnTo>
                      <a:pt x="745" y="72"/>
                    </a:lnTo>
                    <a:moveTo>
                      <a:pt x="971" y="90"/>
                    </a:moveTo>
                    <a:lnTo>
                      <a:pt x="971" y="90"/>
                    </a:lnTo>
                    <a:lnTo>
                      <a:pt x="966" y="95"/>
                    </a:lnTo>
                    <a:lnTo>
                      <a:pt x="966" y="95"/>
                    </a:lnTo>
                    <a:lnTo>
                      <a:pt x="962" y="90"/>
                    </a:lnTo>
                    <a:lnTo>
                      <a:pt x="962" y="90"/>
                    </a:lnTo>
                    <a:lnTo>
                      <a:pt x="962" y="90"/>
                    </a:lnTo>
                    <a:lnTo>
                      <a:pt x="966" y="86"/>
                    </a:lnTo>
                    <a:lnTo>
                      <a:pt x="966" y="86"/>
                    </a:lnTo>
                    <a:lnTo>
                      <a:pt x="966" y="86"/>
                    </a:lnTo>
                    <a:lnTo>
                      <a:pt x="966" y="86"/>
                    </a:lnTo>
                    <a:lnTo>
                      <a:pt x="971" y="86"/>
                    </a:lnTo>
                    <a:lnTo>
                      <a:pt x="971" y="86"/>
                    </a:lnTo>
                    <a:lnTo>
                      <a:pt x="971" y="86"/>
                    </a:lnTo>
                    <a:lnTo>
                      <a:pt x="975" y="86"/>
                    </a:lnTo>
                    <a:lnTo>
                      <a:pt x="975" y="86"/>
                    </a:lnTo>
                    <a:lnTo>
                      <a:pt x="975" y="90"/>
                    </a:lnTo>
                    <a:lnTo>
                      <a:pt x="975" y="90"/>
                    </a:lnTo>
                    <a:lnTo>
                      <a:pt x="975" y="90"/>
                    </a:lnTo>
                    <a:lnTo>
                      <a:pt x="975" y="90"/>
                    </a:lnTo>
                    <a:lnTo>
                      <a:pt x="975" y="90"/>
                    </a:lnTo>
                    <a:lnTo>
                      <a:pt x="975" y="90"/>
                    </a:lnTo>
                    <a:lnTo>
                      <a:pt x="971" y="90"/>
                    </a:lnTo>
                    <a:moveTo>
                      <a:pt x="835" y="86"/>
                    </a:moveTo>
                    <a:lnTo>
                      <a:pt x="835" y="86"/>
                    </a:lnTo>
                    <a:lnTo>
                      <a:pt x="835" y="86"/>
                    </a:lnTo>
                    <a:lnTo>
                      <a:pt x="831" y="86"/>
                    </a:lnTo>
                    <a:lnTo>
                      <a:pt x="831" y="86"/>
                    </a:lnTo>
                    <a:lnTo>
                      <a:pt x="831" y="81"/>
                    </a:lnTo>
                    <a:lnTo>
                      <a:pt x="831" y="81"/>
                    </a:lnTo>
                    <a:lnTo>
                      <a:pt x="831" y="77"/>
                    </a:lnTo>
                    <a:lnTo>
                      <a:pt x="835" y="77"/>
                    </a:lnTo>
                    <a:lnTo>
                      <a:pt x="835" y="77"/>
                    </a:lnTo>
                    <a:lnTo>
                      <a:pt x="835" y="77"/>
                    </a:lnTo>
                    <a:lnTo>
                      <a:pt x="835" y="72"/>
                    </a:lnTo>
                    <a:lnTo>
                      <a:pt x="835" y="72"/>
                    </a:lnTo>
                    <a:lnTo>
                      <a:pt x="840" y="72"/>
                    </a:lnTo>
                    <a:lnTo>
                      <a:pt x="840" y="72"/>
                    </a:lnTo>
                    <a:lnTo>
                      <a:pt x="840" y="77"/>
                    </a:lnTo>
                    <a:lnTo>
                      <a:pt x="840" y="77"/>
                    </a:lnTo>
                    <a:lnTo>
                      <a:pt x="840" y="77"/>
                    </a:lnTo>
                    <a:lnTo>
                      <a:pt x="840" y="77"/>
                    </a:lnTo>
                    <a:lnTo>
                      <a:pt x="840" y="81"/>
                    </a:lnTo>
                    <a:lnTo>
                      <a:pt x="840" y="81"/>
                    </a:lnTo>
                    <a:lnTo>
                      <a:pt x="840" y="81"/>
                    </a:lnTo>
                    <a:lnTo>
                      <a:pt x="840" y="81"/>
                    </a:lnTo>
                    <a:lnTo>
                      <a:pt x="840" y="81"/>
                    </a:lnTo>
                    <a:lnTo>
                      <a:pt x="840" y="81"/>
                    </a:lnTo>
                    <a:lnTo>
                      <a:pt x="840" y="81"/>
                    </a:lnTo>
                    <a:lnTo>
                      <a:pt x="835" y="86"/>
                    </a:lnTo>
                    <a:lnTo>
                      <a:pt x="835" y="86"/>
                    </a:lnTo>
                    <a:moveTo>
                      <a:pt x="930" y="81"/>
                    </a:moveTo>
                    <a:lnTo>
                      <a:pt x="930" y="81"/>
                    </a:lnTo>
                    <a:lnTo>
                      <a:pt x="935" y="81"/>
                    </a:lnTo>
                    <a:lnTo>
                      <a:pt x="935" y="81"/>
                    </a:lnTo>
                    <a:lnTo>
                      <a:pt x="939" y="81"/>
                    </a:lnTo>
                    <a:lnTo>
                      <a:pt x="944" y="81"/>
                    </a:lnTo>
                    <a:lnTo>
                      <a:pt x="948" y="81"/>
                    </a:lnTo>
                    <a:lnTo>
                      <a:pt x="948" y="81"/>
                    </a:lnTo>
                    <a:lnTo>
                      <a:pt x="948" y="81"/>
                    </a:lnTo>
                    <a:lnTo>
                      <a:pt x="953" y="81"/>
                    </a:lnTo>
                    <a:lnTo>
                      <a:pt x="948" y="86"/>
                    </a:lnTo>
                    <a:lnTo>
                      <a:pt x="948" y="86"/>
                    </a:lnTo>
                    <a:lnTo>
                      <a:pt x="944" y="86"/>
                    </a:lnTo>
                    <a:lnTo>
                      <a:pt x="944" y="86"/>
                    </a:lnTo>
                    <a:lnTo>
                      <a:pt x="939" y="86"/>
                    </a:lnTo>
                    <a:lnTo>
                      <a:pt x="939" y="86"/>
                    </a:lnTo>
                    <a:lnTo>
                      <a:pt x="935" y="86"/>
                    </a:lnTo>
                    <a:lnTo>
                      <a:pt x="921" y="86"/>
                    </a:lnTo>
                    <a:lnTo>
                      <a:pt x="921" y="86"/>
                    </a:lnTo>
                    <a:lnTo>
                      <a:pt x="921" y="81"/>
                    </a:lnTo>
                    <a:lnTo>
                      <a:pt x="921" y="81"/>
                    </a:lnTo>
                    <a:lnTo>
                      <a:pt x="921" y="81"/>
                    </a:lnTo>
                    <a:lnTo>
                      <a:pt x="921" y="81"/>
                    </a:lnTo>
                    <a:lnTo>
                      <a:pt x="926" y="81"/>
                    </a:lnTo>
                    <a:lnTo>
                      <a:pt x="930" y="81"/>
                    </a:lnTo>
                    <a:lnTo>
                      <a:pt x="930" y="81"/>
                    </a:lnTo>
                    <a:moveTo>
                      <a:pt x="808" y="63"/>
                    </a:moveTo>
                    <a:lnTo>
                      <a:pt x="808" y="63"/>
                    </a:lnTo>
                    <a:lnTo>
                      <a:pt x="813" y="68"/>
                    </a:lnTo>
                    <a:lnTo>
                      <a:pt x="813" y="68"/>
                    </a:lnTo>
                    <a:lnTo>
                      <a:pt x="813" y="68"/>
                    </a:lnTo>
                    <a:lnTo>
                      <a:pt x="813" y="68"/>
                    </a:lnTo>
                    <a:lnTo>
                      <a:pt x="808" y="68"/>
                    </a:lnTo>
                    <a:lnTo>
                      <a:pt x="804" y="68"/>
                    </a:lnTo>
                    <a:lnTo>
                      <a:pt x="799" y="68"/>
                    </a:lnTo>
                    <a:lnTo>
                      <a:pt x="795" y="68"/>
                    </a:lnTo>
                    <a:lnTo>
                      <a:pt x="795" y="68"/>
                    </a:lnTo>
                    <a:lnTo>
                      <a:pt x="795" y="68"/>
                    </a:lnTo>
                    <a:lnTo>
                      <a:pt x="795" y="68"/>
                    </a:lnTo>
                    <a:lnTo>
                      <a:pt x="799" y="72"/>
                    </a:lnTo>
                    <a:lnTo>
                      <a:pt x="799" y="72"/>
                    </a:lnTo>
                    <a:lnTo>
                      <a:pt x="799" y="72"/>
                    </a:lnTo>
                    <a:lnTo>
                      <a:pt x="799" y="72"/>
                    </a:lnTo>
                    <a:lnTo>
                      <a:pt x="799" y="72"/>
                    </a:lnTo>
                    <a:lnTo>
                      <a:pt x="799" y="72"/>
                    </a:lnTo>
                    <a:lnTo>
                      <a:pt x="795" y="72"/>
                    </a:lnTo>
                    <a:lnTo>
                      <a:pt x="795" y="72"/>
                    </a:lnTo>
                    <a:lnTo>
                      <a:pt x="790" y="77"/>
                    </a:lnTo>
                    <a:lnTo>
                      <a:pt x="790" y="77"/>
                    </a:lnTo>
                    <a:lnTo>
                      <a:pt x="786" y="77"/>
                    </a:lnTo>
                    <a:lnTo>
                      <a:pt x="786" y="77"/>
                    </a:lnTo>
                    <a:lnTo>
                      <a:pt x="781" y="77"/>
                    </a:lnTo>
                    <a:lnTo>
                      <a:pt x="772" y="77"/>
                    </a:lnTo>
                    <a:lnTo>
                      <a:pt x="772" y="77"/>
                    </a:lnTo>
                    <a:lnTo>
                      <a:pt x="772" y="77"/>
                    </a:lnTo>
                    <a:lnTo>
                      <a:pt x="772" y="72"/>
                    </a:lnTo>
                    <a:lnTo>
                      <a:pt x="768" y="72"/>
                    </a:lnTo>
                    <a:lnTo>
                      <a:pt x="768" y="72"/>
                    </a:lnTo>
                    <a:lnTo>
                      <a:pt x="768" y="72"/>
                    </a:lnTo>
                    <a:lnTo>
                      <a:pt x="768" y="72"/>
                    </a:lnTo>
                    <a:lnTo>
                      <a:pt x="768" y="72"/>
                    </a:lnTo>
                    <a:lnTo>
                      <a:pt x="768" y="72"/>
                    </a:lnTo>
                    <a:lnTo>
                      <a:pt x="772" y="72"/>
                    </a:lnTo>
                    <a:lnTo>
                      <a:pt x="772" y="72"/>
                    </a:lnTo>
                    <a:lnTo>
                      <a:pt x="772" y="68"/>
                    </a:lnTo>
                    <a:lnTo>
                      <a:pt x="772" y="68"/>
                    </a:lnTo>
                    <a:lnTo>
                      <a:pt x="772" y="68"/>
                    </a:lnTo>
                    <a:lnTo>
                      <a:pt x="777" y="68"/>
                    </a:lnTo>
                    <a:lnTo>
                      <a:pt x="777" y="68"/>
                    </a:lnTo>
                    <a:lnTo>
                      <a:pt x="777" y="68"/>
                    </a:lnTo>
                    <a:lnTo>
                      <a:pt x="777" y="68"/>
                    </a:lnTo>
                    <a:lnTo>
                      <a:pt x="777" y="68"/>
                    </a:lnTo>
                    <a:lnTo>
                      <a:pt x="781" y="68"/>
                    </a:lnTo>
                    <a:lnTo>
                      <a:pt x="781" y="68"/>
                    </a:lnTo>
                    <a:lnTo>
                      <a:pt x="786" y="63"/>
                    </a:lnTo>
                    <a:lnTo>
                      <a:pt x="799" y="63"/>
                    </a:lnTo>
                    <a:lnTo>
                      <a:pt x="804" y="63"/>
                    </a:lnTo>
                    <a:lnTo>
                      <a:pt x="804" y="63"/>
                    </a:lnTo>
                    <a:lnTo>
                      <a:pt x="808" y="63"/>
                    </a:lnTo>
                    <a:moveTo>
                      <a:pt x="826" y="59"/>
                    </a:moveTo>
                    <a:lnTo>
                      <a:pt x="826" y="59"/>
                    </a:lnTo>
                    <a:lnTo>
                      <a:pt x="826" y="59"/>
                    </a:lnTo>
                    <a:lnTo>
                      <a:pt x="826" y="59"/>
                    </a:lnTo>
                    <a:lnTo>
                      <a:pt x="826" y="59"/>
                    </a:lnTo>
                    <a:lnTo>
                      <a:pt x="826" y="59"/>
                    </a:lnTo>
                    <a:lnTo>
                      <a:pt x="826" y="59"/>
                    </a:lnTo>
                    <a:lnTo>
                      <a:pt x="826" y="59"/>
                    </a:lnTo>
                    <a:lnTo>
                      <a:pt x="822" y="59"/>
                    </a:lnTo>
                    <a:lnTo>
                      <a:pt x="822" y="63"/>
                    </a:lnTo>
                    <a:lnTo>
                      <a:pt x="822" y="63"/>
                    </a:lnTo>
                    <a:lnTo>
                      <a:pt x="822" y="63"/>
                    </a:lnTo>
                    <a:lnTo>
                      <a:pt x="817" y="63"/>
                    </a:lnTo>
                    <a:lnTo>
                      <a:pt x="817" y="63"/>
                    </a:lnTo>
                    <a:lnTo>
                      <a:pt x="813" y="63"/>
                    </a:lnTo>
                    <a:lnTo>
                      <a:pt x="813" y="63"/>
                    </a:lnTo>
                    <a:lnTo>
                      <a:pt x="808" y="63"/>
                    </a:lnTo>
                    <a:lnTo>
                      <a:pt x="808" y="63"/>
                    </a:lnTo>
                    <a:lnTo>
                      <a:pt x="808" y="59"/>
                    </a:lnTo>
                    <a:lnTo>
                      <a:pt x="808" y="59"/>
                    </a:lnTo>
                    <a:lnTo>
                      <a:pt x="808" y="59"/>
                    </a:lnTo>
                    <a:lnTo>
                      <a:pt x="804" y="59"/>
                    </a:lnTo>
                    <a:lnTo>
                      <a:pt x="804" y="63"/>
                    </a:lnTo>
                    <a:lnTo>
                      <a:pt x="804" y="63"/>
                    </a:lnTo>
                    <a:lnTo>
                      <a:pt x="799" y="63"/>
                    </a:lnTo>
                    <a:lnTo>
                      <a:pt x="799" y="59"/>
                    </a:lnTo>
                    <a:lnTo>
                      <a:pt x="795" y="59"/>
                    </a:lnTo>
                    <a:lnTo>
                      <a:pt x="790" y="59"/>
                    </a:lnTo>
                    <a:lnTo>
                      <a:pt x="786" y="59"/>
                    </a:lnTo>
                    <a:lnTo>
                      <a:pt x="786" y="59"/>
                    </a:lnTo>
                    <a:lnTo>
                      <a:pt x="786" y="59"/>
                    </a:lnTo>
                    <a:lnTo>
                      <a:pt x="790" y="59"/>
                    </a:lnTo>
                    <a:lnTo>
                      <a:pt x="790" y="59"/>
                    </a:lnTo>
                    <a:lnTo>
                      <a:pt x="795" y="59"/>
                    </a:lnTo>
                    <a:lnTo>
                      <a:pt x="799" y="59"/>
                    </a:lnTo>
                    <a:lnTo>
                      <a:pt x="804" y="59"/>
                    </a:lnTo>
                    <a:lnTo>
                      <a:pt x="808" y="59"/>
                    </a:lnTo>
                    <a:lnTo>
                      <a:pt x="808" y="54"/>
                    </a:lnTo>
                    <a:lnTo>
                      <a:pt x="813" y="54"/>
                    </a:lnTo>
                    <a:lnTo>
                      <a:pt x="817" y="54"/>
                    </a:lnTo>
                    <a:lnTo>
                      <a:pt x="817" y="54"/>
                    </a:lnTo>
                    <a:lnTo>
                      <a:pt x="822" y="54"/>
                    </a:lnTo>
                    <a:lnTo>
                      <a:pt x="822" y="54"/>
                    </a:lnTo>
                    <a:lnTo>
                      <a:pt x="826" y="54"/>
                    </a:lnTo>
                    <a:lnTo>
                      <a:pt x="826" y="54"/>
                    </a:lnTo>
                    <a:lnTo>
                      <a:pt x="826" y="59"/>
                    </a:lnTo>
                    <a:moveTo>
                      <a:pt x="944" y="68"/>
                    </a:moveTo>
                    <a:lnTo>
                      <a:pt x="944" y="68"/>
                    </a:lnTo>
                    <a:lnTo>
                      <a:pt x="944" y="68"/>
                    </a:lnTo>
                    <a:lnTo>
                      <a:pt x="948" y="68"/>
                    </a:lnTo>
                    <a:lnTo>
                      <a:pt x="948" y="68"/>
                    </a:lnTo>
                    <a:lnTo>
                      <a:pt x="948" y="68"/>
                    </a:lnTo>
                    <a:lnTo>
                      <a:pt x="948" y="72"/>
                    </a:lnTo>
                    <a:lnTo>
                      <a:pt x="948" y="72"/>
                    </a:lnTo>
                    <a:lnTo>
                      <a:pt x="948" y="72"/>
                    </a:lnTo>
                    <a:lnTo>
                      <a:pt x="948" y="72"/>
                    </a:lnTo>
                    <a:lnTo>
                      <a:pt x="944" y="72"/>
                    </a:lnTo>
                    <a:lnTo>
                      <a:pt x="944" y="72"/>
                    </a:lnTo>
                    <a:lnTo>
                      <a:pt x="944" y="72"/>
                    </a:lnTo>
                    <a:lnTo>
                      <a:pt x="944" y="77"/>
                    </a:lnTo>
                    <a:lnTo>
                      <a:pt x="944" y="77"/>
                    </a:lnTo>
                    <a:lnTo>
                      <a:pt x="944" y="77"/>
                    </a:lnTo>
                    <a:lnTo>
                      <a:pt x="939" y="77"/>
                    </a:lnTo>
                    <a:lnTo>
                      <a:pt x="939" y="77"/>
                    </a:lnTo>
                    <a:lnTo>
                      <a:pt x="935" y="77"/>
                    </a:lnTo>
                    <a:lnTo>
                      <a:pt x="935" y="77"/>
                    </a:lnTo>
                    <a:lnTo>
                      <a:pt x="935" y="77"/>
                    </a:lnTo>
                    <a:lnTo>
                      <a:pt x="930" y="77"/>
                    </a:lnTo>
                    <a:lnTo>
                      <a:pt x="926" y="77"/>
                    </a:lnTo>
                    <a:lnTo>
                      <a:pt x="921" y="77"/>
                    </a:lnTo>
                    <a:lnTo>
                      <a:pt x="921" y="77"/>
                    </a:lnTo>
                    <a:lnTo>
                      <a:pt x="917" y="77"/>
                    </a:lnTo>
                    <a:lnTo>
                      <a:pt x="917" y="77"/>
                    </a:lnTo>
                    <a:lnTo>
                      <a:pt x="921" y="77"/>
                    </a:lnTo>
                    <a:lnTo>
                      <a:pt x="921" y="77"/>
                    </a:lnTo>
                    <a:lnTo>
                      <a:pt x="921" y="77"/>
                    </a:lnTo>
                    <a:lnTo>
                      <a:pt x="921" y="77"/>
                    </a:lnTo>
                    <a:lnTo>
                      <a:pt x="917" y="77"/>
                    </a:lnTo>
                    <a:lnTo>
                      <a:pt x="917" y="72"/>
                    </a:lnTo>
                    <a:lnTo>
                      <a:pt x="917" y="72"/>
                    </a:lnTo>
                    <a:lnTo>
                      <a:pt x="921" y="72"/>
                    </a:lnTo>
                    <a:lnTo>
                      <a:pt x="921" y="72"/>
                    </a:lnTo>
                    <a:lnTo>
                      <a:pt x="926" y="72"/>
                    </a:lnTo>
                    <a:lnTo>
                      <a:pt x="926" y="72"/>
                    </a:lnTo>
                    <a:lnTo>
                      <a:pt x="926" y="72"/>
                    </a:lnTo>
                    <a:lnTo>
                      <a:pt x="926" y="72"/>
                    </a:lnTo>
                    <a:lnTo>
                      <a:pt x="926" y="72"/>
                    </a:lnTo>
                    <a:lnTo>
                      <a:pt x="921" y="72"/>
                    </a:lnTo>
                    <a:lnTo>
                      <a:pt x="921" y="72"/>
                    </a:lnTo>
                    <a:lnTo>
                      <a:pt x="921" y="68"/>
                    </a:lnTo>
                    <a:lnTo>
                      <a:pt x="921" y="68"/>
                    </a:lnTo>
                    <a:lnTo>
                      <a:pt x="921" y="68"/>
                    </a:lnTo>
                    <a:lnTo>
                      <a:pt x="921" y="68"/>
                    </a:lnTo>
                    <a:lnTo>
                      <a:pt x="921" y="68"/>
                    </a:lnTo>
                    <a:lnTo>
                      <a:pt x="921" y="68"/>
                    </a:lnTo>
                    <a:lnTo>
                      <a:pt x="921" y="68"/>
                    </a:lnTo>
                    <a:lnTo>
                      <a:pt x="921" y="68"/>
                    </a:lnTo>
                    <a:lnTo>
                      <a:pt x="926" y="68"/>
                    </a:lnTo>
                    <a:lnTo>
                      <a:pt x="926" y="63"/>
                    </a:lnTo>
                    <a:lnTo>
                      <a:pt x="926" y="63"/>
                    </a:lnTo>
                    <a:lnTo>
                      <a:pt x="930" y="63"/>
                    </a:lnTo>
                    <a:lnTo>
                      <a:pt x="930" y="63"/>
                    </a:lnTo>
                    <a:lnTo>
                      <a:pt x="930" y="63"/>
                    </a:lnTo>
                    <a:lnTo>
                      <a:pt x="930" y="63"/>
                    </a:lnTo>
                    <a:lnTo>
                      <a:pt x="935" y="63"/>
                    </a:lnTo>
                    <a:lnTo>
                      <a:pt x="939" y="63"/>
                    </a:lnTo>
                    <a:lnTo>
                      <a:pt x="939" y="63"/>
                    </a:lnTo>
                    <a:lnTo>
                      <a:pt x="939" y="63"/>
                    </a:lnTo>
                    <a:lnTo>
                      <a:pt x="944" y="63"/>
                    </a:lnTo>
                    <a:lnTo>
                      <a:pt x="944" y="63"/>
                    </a:lnTo>
                    <a:lnTo>
                      <a:pt x="944" y="68"/>
                    </a:lnTo>
                    <a:lnTo>
                      <a:pt x="944" y="68"/>
                    </a:lnTo>
                    <a:lnTo>
                      <a:pt x="944" y="68"/>
                    </a:lnTo>
                    <a:lnTo>
                      <a:pt x="944" y="68"/>
                    </a:lnTo>
                    <a:moveTo>
                      <a:pt x="899" y="50"/>
                    </a:moveTo>
                    <a:lnTo>
                      <a:pt x="899" y="50"/>
                    </a:lnTo>
                    <a:lnTo>
                      <a:pt x="899" y="50"/>
                    </a:lnTo>
                    <a:lnTo>
                      <a:pt x="899" y="50"/>
                    </a:lnTo>
                    <a:lnTo>
                      <a:pt x="899" y="54"/>
                    </a:lnTo>
                    <a:lnTo>
                      <a:pt x="899" y="54"/>
                    </a:lnTo>
                    <a:lnTo>
                      <a:pt x="899" y="54"/>
                    </a:lnTo>
                    <a:lnTo>
                      <a:pt x="899" y="54"/>
                    </a:lnTo>
                    <a:lnTo>
                      <a:pt x="894" y="54"/>
                    </a:lnTo>
                    <a:lnTo>
                      <a:pt x="894" y="54"/>
                    </a:lnTo>
                    <a:lnTo>
                      <a:pt x="894" y="59"/>
                    </a:lnTo>
                    <a:lnTo>
                      <a:pt x="894" y="59"/>
                    </a:lnTo>
                    <a:lnTo>
                      <a:pt x="894" y="59"/>
                    </a:lnTo>
                    <a:lnTo>
                      <a:pt x="894" y="59"/>
                    </a:lnTo>
                    <a:lnTo>
                      <a:pt x="894" y="59"/>
                    </a:lnTo>
                    <a:lnTo>
                      <a:pt x="899" y="59"/>
                    </a:lnTo>
                    <a:lnTo>
                      <a:pt x="899" y="59"/>
                    </a:lnTo>
                    <a:lnTo>
                      <a:pt x="899" y="54"/>
                    </a:lnTo>
                    <a:lnTo>
                      <a:pt x="903" y="54"/>
                    </a:lnTo>
                    <a:lnTo>
                      <a:pt x="903" y="54"/>
                    </a:lnTo>
                    <a:lnTo>
                      <a:pt x="903" y="54"/>
                    </a:lnTo>
                    <a:lnTo>
                      <a:pt x="908" y="54"/>
                    </a:lnTo>
                    <a:lnTo>
                      <a:pt x="908" y="59"/>
                    </a:lnTo>
                    <a:lnTo>
                      <a:pt x="908" y="59"/>
                    </a:lnTo>
                    <a:lnTo>
                      <a:pt x="908" y="59"/>
                    </a:lnTo>
                    <a:lnTo>
                      <a:pt x="908" y="59"/>
                    </a:lnTo>
                    <a:lnTo>
                      <a:pt x="908" y="59"/>
                    </a:lnTo>
                    <a:lnTo>
                      <a:pt x="908" y="59"/>
                    </a:lnTo>
                    <a:lnTo>
                      <a:pt x="903" y="59"/>
                    </a:lnTo>
                    <a:lnTo>
                      <a:pt x="903" y="59"/>
                    </a:lnTo>
                    <a:lnTo>
                      <a:pt x="908" y="59"/>
                    </a:lnTo>
                    <a:lnTo>
                      <a:pt x="912" y="59"/>
                    </a:lnTo>
                    <a:lnTo>
                      <a:pt x="912" y="63"/>
                    </a:lnTo>
                    <a:lnTo>
                      <a:pt x="912" y="63"/>
                    </a:lnTo>
                    <a:lnTo>
                      <a:pt x="912" y="63"/>
                    </a:lnTo>
                    <a:lnTo>
                      <a:pt x="912" y="63"/>
                    </a:lnTo>
                    <a:lnTo>
                      <a:pt x="912" y="63"/>
                    </a:lnTo>
                    <a:lnTo>
                      <a:pt x="912" y="68"/>
                    </a:lnTo>
                    <a:lnTo>
                      <a:pt x="908" y="68"/>
                    </a:lnTo>
                    <a:lnTo>
                      <a:pt x="908" y="68"/>
                    </a:lnTo>
                    <a:lnTo>
                      <a:pt x="908" y="68"/>
                    </a:lnTo>
                    <a:lnTo>
                      <a:pt x="908" y="68"/>
                    </a:lnTo>
                    <a:lnTo>
                      <a:pt x="908" y="68"/>
                    </a:lnTo>
                    <a:lnTo>
                      <a:pt x="903" y="68"/>
                    </a:lnTo>
                    <a:lnTo>
                      <a:pt x="908" y="68"/>
                    </a:lnTo>
                    <a:lnTo>
                      <a:pt x="908" y="72"/>
                    </a:lnTo>
                    <a:lnTo>
                      <a:pt x="908" y="72"/>
                    </a:lnTo>
                    <a:lnTo>
                      <a:pt x="903" y="72"/>
                    </a:lnTo>
                    <a:lnTo>
                      <a:pt x="903" y="72"/>
                    </a:lnTo>
                    <a:lnTo>
                      <a:pt x="903" y="77"/>
                    </a:lnTo>
                    <a:lnTo>
                      <a:pt x="903" y="77"/>
                    </a:lnTo>
                    <a:lnTo>
                      <a:pt x="899" y="77"/>
                    </a:lnTo>
                    <a:lnTo>
                      <a:pt x="899" y="77"/>
                    </a:lnTo>
                    <a:lnTo>
                      <a:pt x="894" y="77"/>
                    </a:lnTo>
                    <a:lnTo>
                      <a:pt x="890" y="77"/>
                    </a:lnTo>
                    <a:lnTo>
                      <a:pt x="890" y="77"/>
                    </a:lnTo>
                    <a:lnTo>
                      <a:pt x="890" y="77"/>
                    </a:lnTo>
                    <a:lnTo>
                      <a:pt x="890" y="72"/>
                    </a:lnTo>
                    <a:lnTo>
                      <a:pt x="890" y="72"/>
                    </a:lnTo>
                    <a:lnTo>
                      <a:pt x="890" y="72"/>
                    </a:lnTo>
                    <a:lnTo>
                      <a:pt x="890" y="72"/>
                    </a:lnTo>
                    <a:lnTo>
                      <a:pt x="890" y="72"/>
                    </a:lnTo>
                    <a:lnTo>
                      <a:pt x="890" y="72"/>
                    </a:lnTo>
                    <a:lnTo>
                      <a:pt x="890" y="68"/>
                    </a:lnTo>
                    <a:lnTo>
                      <a:pt x="890" y="68"/>
                    </a:lnTo>
                    <a:lnTo>
                      <a:pt x="885" y="68"/>
                    </a:lnTo>
                    <a:lnTo>
                      <a:pt x="885" y="68"/>
                    </a:lnTo>
                    <a:lnTo>
                      <a:pt x="880" y="68"/>
                    </a:lnTo>
                    <a:lnTo>
                      <a:pt x="880" y="68"/>
                    </a:lnTo>
                    <a:lnTo>
                      <a:pt x="880" y="68"/>
                    </a:lnTo>
                    <a:lnTo>
                      <a:pt x="880" y="68"/>
                    </a:lnTo>
                    <a:lnTo>
                      <a:pt x="880" y="68"/>
                    </a:lnTo>
                    <a:lnTo>
                      <a:pt x="880" y="68"/>
                    </a:lnTo>
                    <a:lnTo>
                      <a:pt x="880" y="68"/>
                    </a:lnTo>
                    <a:lnTo>
                      <a:pt x="871" y="68"/>
                    </a:lnTo>
                    <a:lnTo>
                      <a:pt x="867" y="68"/>
                    </a:lnTo>
                    <a:lnTo>
                      <a:pt x="862" y="68"/>
                    </a:lnTo>
                    <a:lnTo>
                      <a:pt x="862" y="68"/>
                    </a:lnTo>
                    <a:lnTo>
                      <a:pt x="862" y="63"/>
                    </a:lnTo>
                    <a:lnTo>
                      <a:pt x="862" y="63"/>
                    </a:lnTo>
                    <a:lnTo>
                      <a:pt x="862" y="63"/>
                    </a:lnTo>
                    <a:lnTo>
                      <a:pt x="862" y="63"/>
                    </a:lnTo>
                    <a:lnTo>
                      <a:pt x="867" y="63"/>
                    </a:lnTo>
                    <a:lnTo>
                      <a:pt x="867" y="63"/>
                    </a:lnTo>
                    <a:lnTo>
                      <a:pt x="867" y="63"/>
                    </a:lnTo>
                    <a:lnTo>
                      <a:pt x="871" y="63"/>
                    </a:lnTo>
                    <a:lnTo>
                      <a:pt x="876" y="63"/>
                    </a:lnTo>
                    <a:lnTo>
                      <a:pt x="876" y="63"/>
                    </a:lnTo>
                    <a:lnTo>
                      <a:pt x="880" y="63"/>
                    </a:lnTo>
                    <a:lnTo>
                      <a:pt x="880" y="63"/>
                    </a:lnTo>
                    <a:lnTo>
                      <a:pt x="876" y="59"/>
                    </a:lnTo>
                    <a:lnTo>
                      <a:pt x="876" y="59"/>
                    </a:lnTo>
                    <a:lnTo>
                      <a:pt x="880" y="59"/>
                    </a:lnTo>
                    <a:lnTo>
                      <a:pt x="885" y="59"/>
                    </a:lnTo>
                    <a:lnTo>
                      <a:pt x="885" y="59"/>
                    </a:lnTo>
                    <a:lnTo>
                      <a:pt x="885" y="59"/>
                    </a:lnTo>
                    <a:lnTo>
                      <a:pt x="880" y="59"/>
                    </a:lnTo>
                    <a:lnTo>
                      <a:pt x="876" y="59"/>
                    </a:lnTo>
                    <a:lnTo>
                      <a:pt x="876" y="59"/>
                    </a:lnTo>
                    <a:lnTo>
                      <a:pt x="880" y="59"/>
                    </a:lnTo>
                    <a:lnTo>
                      <a:pt x="885" y="54"/>
                    </a:lnTo>
                    <a:lnTo>
                      <a:pt x="885" y="54"/>
                    </a:lnTo>
                    <a:lnTo>
                      <a:pt x="885" y="54"/>
                    </a:lnTo>
                    <a:lnTo>
                      <a:pt x="885" y="54"/>
                    </a:lnTo>
                    <a:lnTo>
                      <a:pt x="885" y="54"/>
                    </a:lnTo>
                    <a:lnTo>
                      <a:pt x="880" y="54"/>
                    </a:lnTo>
                    <a:lnTo>
                      <a:pt x="876" y="59"/>
                    </a:lnTo>
                    <a:lnTo>
                      <a:pt x="871" y="59"/>
                    </a:lnTo>
                    <a:lnTo>
                      <a:pt x="871" y="59"/>
                    </a:lnTo>
                    <a:lnTo>
                      <a:pt x="871" y="59"/>
                    </a:lnTo>
                    <a:lnTo>
                      <a:pt x="871" y="54"/>
                    </a:lnTo>
                    <a:lnTo>
                      <a:pt x="876" y="54"/>
                    </a:lnTo>
                    <a:lnTo>
                      <a:pt x="876" y="54"/>
                    </a:lnTo>
                    <a:lnTo>
                      <a:pt x="880" y="54"/>
                    </a:lnTo>
                    <a:lnTo>
                      <a:pt x="876" y="54"/>
                    </a:lnTo>
                    <a:lnTo>
                      <a:pt x="876" y="54"/>
                    </a:lnTo>
                    <a:lnTo>
                      <a:pt x="871" y="54"/>
                    </a:lnTo>
                    <a:lnTo>
                      <a:pt x="871" y="54"/>
                    </a:lnTo>
                    <a:lnTo>
                      <a:pt x="876" y="50"/>
                    </a:lnTo>
                    <a:lnTo>
                      <a:pt x="876" y="50"/>
                    </a:lnTo>
                    <a:lnTo>
                      <a:pt x="876" y="50"/>
                    </a:lnTo>
                    <a:lnTo>
                      <a:pt x="880" y="50"/>
                    </a:lnTo>
                    <a:lnTo>
                      <a:pt x="880" y="50"/>
                    </a:lnTo>
                    <a:lnTo>
                      <a:pt x="885" y="50"/>
                    </a:lnTo>
                    <a:lnTo>
                      <a:pt x="894" y="50"/>
                    </a:lnTo>
                    <a:lnTo>
                      <a:pt x="894" y="50"/>
                    </a:lnTo>
                    <a:lnTo>
                      <a:pt x="899" y="50"/>
                    </a:lnTo>
                    <a:moveTo>
                      <a:pt x="953" y="41"/>
                    </a:moveTo>
                    <a:lnTo>
                      <a:pt x="953" y="41"/>
                    </a:lnTo>
                    <a:lnTo>
                      <a:pt x="948" y="45"/>
                    </a:lnTo>
                    <a:lnTo>
                      <a:pt x="948" y="45"/>
                    </a:lnTo>
                    <a:lnTo>
                      <a:pt x="948" y="45"/>
                    </a:lnTo>
                    <a:lnTo>
                      <a:pt x="948" y="45"/>
                    </a:lnTo>
                    <a:lnTo>
                      <a:pt x="944" y="45"/>
                    </a:lnTo>
                    <a:lnTo>
                      <a:pt x="944" y="45"/>
                    </a:lnTo>
                    <a:lnTo>
                      <a:pt x="944" y="45"/>
                    </a:lnTo>
                    <a:lnTo>
                      <a:pt x="944" y="45"/>
                    </a:lnTo>
                    <a:lnTo>
                      <a:pt x="944" y="45"/>
                    </a:lnTo>
                    <a:lnTo>
                      <a:pt x="944" y="45"/>
                    </a:lnTo>
                    <a:lnTo>
                      <a:pt x="944" y="45"/>
                    </a:lnTo>
                    <a:lnTo>
                      <a:pt x="939" y="41"/>
                    </a:lnTo>
                    <a:lnTo>
                      <a:pt x="939" y="41"/>
                    </a:lnTo>
                    <a:lnTo>
                      <a:pt x="939" y="41"/>
                    </a:lnTo>
                    <a:lnTo>
                      <a:pt x="944" y="41"/>
                    </a:lnTo>
                    <a:lnTo>
                      <a:pt x="944" y="41"/>
                    </a:lnTo>
                    <a:lnTo>
                      <a:pt x="944" y="41"/>
                    </a:lnTo>
                    <a:lnTo>
                      <a:pt x="944" y="41"/>
                    </a:lnTo>
                    <a:lnTo>
                      <a:pt x="948" y="41"/>
                    </a:lnTo>
                    <a:lnTo>
                      <a:pt x="948" y="41"/>
                    </a:lnTo>
                    <a:lnTo>
                      <a:pt x="953" y="41"/>
                    </a:lnTo>
                    <a:lnTo>
                      <a:pt x="953" y="41"/>
                    </a:lnTo>
                    <a:lnTo>
                      <a:pt x="953" y="41"/>
                    </a:lnTo>
                    <a:lnTo>
                      <a:pt x="953" y="41"/>
                    </a:lnTo>
                    <a:lnTo>
                      <a:pt x="953" y="41"/>
                    </a:lnTo>
                    <a:lnTo>
                      <a:pt x="953" y="41"/>
                    </a:lnTo>
                    <a:moveTo>
                      <a:pt x="1039" y="27"/>
                    </a:moveTo>
                    <a:lnTo>
                      <a:pt x="1039" y="27"/>
                    </a:lnTo>
                    <a:lnTo>
                      <a:pt x="1039" y="27"/>
                    </a:lnTo>
                    <a:lnTo>
                      <a:pt x="1039" y="32"/>
                    </a:lnTo>
                    <a:lnTo>
                      <a:pt x="1039" y="32"/>
                    </a:lnTo>
                    <a:lnTo>
                      <a:pt x="1039" y="36"/>
                    </a:lnTo>
                    <a:lnTo>
                      <a:pt x="1039" y="36"/>
                    </a:lnTo>
                    <a:lnTo>
                      <a:pt x="1039" y="36"/>
                    </a:lnTo>
                    <a:lnTo>
                      <a:pt x="1039" y="36"/>
                    </a:lnTo>
                    <a:lnTo>
                      <a:pt x="1039" y="36"/>
                    </a:lnTo>
                    <a:lnTo>
                      <a:pt x="1039" y="36"/>
                    </a:lnTo>
                    <a:lnTo>
                      <a:pt x="1043" y="36"/>
                    </a:lnTo>
                    <a:lnTo>
                      <a:pt x="1043" y="36"/>
                    </a:lnTo>
                    <a:lnTo>
                      <a:pt x="1043" y="36"/>
                    </a:lnTo>
                    <a:lnTo>
                      <a:pt x="1048" y="36"/>
                    </a:lnTo>
                    <a:lnTo>
                      <a:pt x="1048" y="36"/>
                    </a:lnTo>
                    <a:lnTo>
                      <a:pt x="1048" y="36"/>
                    </a:lnTo>
                    <a:lnTo>
                      <a:pt x="1048" y="41"/>
                    </a:lnTo>
                    <a:lnTo>
                      <a:pt x="1048" y="41"/>
                    </a:lnTo>
                    <a:lnTo>
                      <a:pt x="1048" y="41"/>
                    </a:lnTo>
                    <a:lnTo>
                      <a:pt x="1048" y="41"/>
                    </a:lnTo>
                    <a:lnTo>
                      <a:pt x="1043" y="41"/>
                    </a:lnTo>
                    <a:lnTo>
                      <a:pt x="1048" y="41"/>
                    </a:lnTo>
                    <a:lnTo>
                      <a:pt x="1043" y="41"/>
                    </a:lnTo>
                    <a:lnTo>
                      <a:pt x="1043" y="41"/>
                    </a:lnTo>
                    <a:lnTo>
                      <a:pt x="1043" y="41"/>
                    </a:lnTo>
                    <a:lnTo>
                      <a:pt x="1043" y="45"/>
                    </a:lnTo>
                    <a:lnTo>
                      <a:pt x="1043" y="45"/>
                    </a:lnTo>
                    <a:lnTo>
                      <a:pt x="1043" y="45"/>
                    </a:lnTo>
                    <a:lnTo>
                      <a:pt x="1048" y="45"/>
                    </a:lnTo>
                    <a:lnTo>
                      <a:pt x="1048" y="45"/>
                    </a:lnTo>
                    <a:lnTo>
                      <a:pt x="1048" y="45"/>
                    </a:lnTo>
                    <a:lnTo>
                      <a:pt x="1048" y="45"/>
                    </a:lnTo>
                    <a:lnTo>
                      <a:pt x="1048" y="45"/>
                    </a:lnTo>
                    <a:lnTo>
                      <a:pt x="1048" y="41"/>
                    </a:lnTo>
                    <a:lnTo>
                      <a:pt x="1048" y="41"/>
                    </a:lnTo>
                    <a:lnTo>
                      <a:pt x="1048" y="41"/>
                    </a:lnTo>
                    <a:lnTo>
                      <a:pt x="1052" y="41"/>
                    </a:lnTo>
                    <a:lnTo>
                      <a:pt x="1052" y="41"/>
                    </a:lnTo>
                    <a:lnTo>
                      <a:pt x="1052" y="41"/>
                    </a:lnTo>
                    <a:lnTo>
                      <a:pt x="1057" y="41"/>
                    </a:lnTo>
                    <a:lnTo>
                      <a:pt x="1057" y="41"/>
                    </a:lnTo>
                    <a:lnTo>
                      <a:pt x="1057" y="41"/>
                    </a:lnTo>
                    <a:lnTo>
                      <a:pt x="1057" y="41"/>
                    </a:lnTo>
                    <a:lnTo>
                      <a:pt x="1057" y="41"/>
                    </a:lnTo>
                    <a:lnTo>
                      <a:pt x="1057" y="45"/>
                    </a:lnTo>
                    <a:lnTo>
                      <a:pt x="1057" y="45"/>
                    </a:lnTo>
                    <a:lnTo>
                      <a:pt x="1052" y="45"/>
                    </a:lnTo>
                    <a:lnTo>
                      <a:pt x="1052" y="45"/>
                    </a:lnTo>
                    <a:lnTo>
                      <a:pt x="1052" y="45"/>
                    </a:lnTo>
                    <a:lnTo>
                      <a:pt x="1052" y="45"/>
                    </a:lnTo>
                    <a:lnTo>
                      <a:pt x="1052" y="45"/>
                    </a:lnTo>
                    <a:lnTo>
                      <a:pt x="1057" y="45"/>
                    </a:lnTo>
                    <a:lnTo>
                      <a:pt x="1057" y="50"/>
                    </a:lnTo>
                    <a:lnTo>
                      <a:pt x="1052" y="50"/>
                    </a:lnTo>
                    <a:lnTo>
                      <a:pt x="1052" y="50"/>
                    </a:lnTo>
                    <a:lnTo>
                      <a:pt x="1048" y="54"/>
                    </a:lnTo>
                    <a:lnTo>
                      <a:pt x="1048" y="54"/>
                    </a:lnTo>
                    <a:lnTo>
                      <a:pt x="1043" y="54"/>
                    </a:lnTo>
                    <a:lnTo>
                      <a:pt x="1043" y="54"/>
                    </a:lnTo>
                    <a:lnTo>
                      <a:pt x="1048" y="54"/>
                    </a:lnTo>
                    <a:lnTo>
                      <a:pt x="1048" y="54"/>
                    </a:lnTo>
                    <a:lnTo>
                      <a:pt x="1052" y="54"/>
                    </a:lnTo>
                    <a:lnTo>
                      <a:pt x="1052" y="54"/>
                    </a:lnTo>
                    <a:lnTo>
                      <a:pt x="1057" y="54"/>
                    </a:lnTo>
                    <a:lnTo>
                      <a:pt x="1057" y="54"/>
                    </a:lnTo>
                    <a:lnTo>
                      <a:pt x="1052" y="54"/>
                    </a:lnTo>
                    <a:lnTo>
                      <a:pt x="1052" y="59"/>
                    </a:lnTo>
                    <a:lnTo>
                      <a:pt x="1052" y="59"/>
                    </a:lnTo>
                    <a:lnTo>
                      <a:pt x="1057" y="54"/>
                    </a:lnTo>
                    <a:lnTo>
                      <a:pt x="1057" y="54"/>
                    </a:lnTo>
                    <a:lnTo>
                      <a:pt x="1061" y="54"/>
                    </a:lnTo>
                    <a:lnTo>
                      <a:pt x="1061" y="54"/>
                    </a:lnTo>
                    <a:lnTo>
                      <a:pt x="1061" y="59"/>
                    </a:lnTo>
                    <a:lnTo>
                      <a:pt x="1061" y="59"/>
                    </a:lnTo>
                    <a:lnTo>
                      <a:pt x="1057" y="59"/>
                    </a:lnTo>
                    <a:lnTo>
                      <a:pt x="1057" y="59"/>
                    </a:lnTo>
                    <a:lnTo>
                      <a:pt x="1057" y="63"/>
                    </a:lnTo>
                    <a:lnTo>
                      <a:pt x="1052" y="63"/>
                    </a:lnTo>
                    <a:lnTo>
                      <a:pt x="1043" y="63"/>
                    </a:lnTo>
                    <a:lnTo>
                      <a:pt x="1039" y="63"/>
                    </a:lnTo>
                    <a:lnTo>
                      <a:pt x="1039" y="63"/>
                    </a:lnTo>
                    <a:lnTo>
                      <a:pt x="1039" y="63"/>
                    </a:lnTo>
                    <a:lnTo>
                      <a:pt x="1034" y="63"/>
                    </a:lnTo>
                    <a:lnTo>
                      <a:pt x="1034" y="63"/>
                    </a:lnTo>
                    <a:lnTo>
                      <a:pt x="1034" y="68"/>
                    </a:lnTo>
                    <a:lnTo>
                      <a:pt x="1030" y="68"/>
                    </a:lnTo>
                    <a:lnTo>
                      <a:pt x="1030" y="68"/>
                    </a:lnTo>
                    <a:lnTo>
                      <a:pt x="1025" y="68"/>
                    </a:lnTo>
                    <a:lnTo>
                      <a:pt x="1021" y="68"/>
                    </a:lnTo>
                    <a:lnTo>
                      <a:pt x="1021" y="68"/>
                    </a:lnTo>
                    <a:lnTo>
                      <a:pt x="1021" y="68"/>
                    </a:lnTo>
                    <a:lnTo>
                      <a:pt x="1021" y="68"/>
                    </a:lnTo>
                    <a:lnTo>
                      <a:pt x="1025" y="68"/>
                    </a:lnTo>
                    <a:lnTo>
                      <a:pt x="1025" y="68"/>
                    </a:lnTo>
                    <a:lnTo>
                      <a:pt x="1025" y="63"/>
                    </a:lnTo>
                    <a:lnTo>
                      <a:pt x="1030" y="63"/>
                    </a:lnTo>
                    <a:lnTo>
                      <a:pt x="1030" y="63"/>
                    </a:lnTo>
                    <a:lnTo>
                      <a:pt x="1030" y="63"/>
                    </a:lnTo>
                    <a:lnTo>
                      <a:pt x="1025" y="63"/>
                    </a:lnTo>
                    <a:lnTo>
                      <a:pt x="1025" y="63"/>
                    </a:lnTo>
                    <a:lnTo>
                      <a:pt x="1021" y="63"/>
                    </a:lnTo>
                    <a:lnTo>
                      <a:pt x="1021" y="68"/>
                    </a:lnTo>
                    <a:lnTo>
                      <a:pt x="1021" y="68"/>
                    </a:lnTo>
                    <a:lnTo>
                      <a:pt x="1016" y="68"/>
                    </a:lnTo>
                    <a:lnTo>
                      <a:pt x="1016" y="68"/>
                    </a:lnTo>
                    <a:lnTo>
                      <a:pt x="1016" y="68"/>
                    </a:lnTo>
                    <a:lnTo>
                      <a:pt x="1016" y="72"/>
                    </a:lnTo>
                    <a:lnTo>
                      <a:pt x="1016" y="72"/>
                    </a:lnTo>
                    <a:lnTo>
                      <a:pt x="1016" y="72"/>
                    </a:lnTo>
                    <a:lnTo>
                      <a:pt x="1016" y="72"/>
                    </a:lnTo>
                    <a:lnTo>
                      <a:pt x="1016" y="72"/>
                    </a:lnTo>
                    <a:lnTo>
                      <a:pt x="1016" y="72"/>
                    </a:lnTo>
                    <a:lnTo>
                      <a:pt x="1012" y="72"/>
                    </a:lnTo>
                    <a:lnTo>
                      <a:pt x="1012" y="72"/>
                    </a:lnTo>
                    <a:lnTo>
                      <a:pt x="1012" y="72"/>
                    </a:lnTo>
                    <a:lnTo>
                      <a:pt x="1012" y="72"/>
                    </a:lnTo>
                    <a:lnTo>
                      <a:pt x="1012" y="72"/>
                    </a:lnTo>
                    <a:lnTo>
                      <a:pt x="1012" y="72"/>
                    </a:lnTo>
                    <a:lnTo>
                      <a:pt x="1007" y="72"/>
                    </a:lnTo>
                    <a:lnTo>
                      <a:pt x="1007" y="72"/>
                    </a:lnTo>
                    <a:lnTo>
                      <a:pt x="1007" y="77"/>
                    </a:lnTo>
                    <a:lnTo>
                      <a:pt x="1002" y="77"/>
                    </a:lnTo>
                    <a:lnTo>
                      <a:pt x="1002" y="77"/>
                    </a:lnTo>
                    <a:lnTo>
                      <a:pt x="1002" y="77"/>
                    </a:lnTo>
                    <a:lnTo>
                      <a:pt x="998" y="77"/>
                    </a:lnTo>
                    <a:lnTo>
                      <a:pt x="998" y="77"/>
                    </a:lnTo>
                    <a:lnTo>
                      <a:pt x="998" y="72"/>
                    </a:lnTo>
                    <a:lnTo>
                      <a:pt x="998" y="72"/>
                    </a:lnTo>
                    <a:lnTo>
                      <a:pt x="998" y="72"/>
                    </a:lnTo>
                    <a:lnTo>
                      <a:pt x="998" y="68"/>
                    </a:lnTo>
                    <a:lnTo>
                      <a:pt x="998" y="68"/>
                    </a:lnTo>
                    <a:lnTo>
                      <a:pt x="998" y="72"/>
                    </a:lnTo>
                    <a:lnTo>
                      <a:pt x="998" y="72"/>
                    </a:lnTo>
                    <a:lnTo>
                      <a:pt x="998" y="72"/>
                    </a:lnTo>
                    <a:lnTo>
                      <a:pt x="993" y="77"/>
                    </a:lnTo>
                    <a:lnTo>
                      <a:pt x="993" y="77"/>
                    </a:lnTo>
                    <a:lnTo>
                      <a:pt x="993" y="77"/>
                    </a:lnTo>
                    <a:lnTo>
                      <a:pt x="993" y="77"/>
                    </a:lnTo>
                    <a:lnTo>
                      <a:pt x="993" y="77"/>
                    </a:lnTo>
                    <a:lnTo>
                      <a:pt x="993" y="77"/>
                    </a:lnTo>
                    <a:lnTo>
                      <a:pt x="993" y="77"/>
                    </a:lnTo>
                    <a:lnTo>
                      <a:pt x="993" y="77"/>
                    </a:lnTo>
                    <a:lnTo>
                      <a:pt x="993" y="77"/>
                    </a:lnTo>
                    <a:lnTo>
                      <a:pt x="993" y="77"/>
                    </a:lnTo>
                    <a:lnTo>
                      <a:pt x="989" y="72"/>
                    </a:lnTo>
                    <a:lnTo>
                      <a:pt x="989" y="72"/>
                    </a:lnTo>
                    <a:lnTo>
                      <a:pt x="989" y="72"/>
                    </a:lnTo>
                    <a:lnTo>
                      <a:pt x="989" y="72"/>
                    </a:lnTo>
                    <a:lnTo>
                      <a:pt x="989" y="77"/>
                    </a:lnTo>
                    <a:lnTo>
                      <a:pt x="989" y="77"/>
                    </a:lnTo>
                    <a:lnTo>
                      <a:pt x="989" y="77"/>
                    </a:lnTo>
                    <a:lnTo>
                      <a:pt x="989" y="77"/>
                    </a:lnTo>
                    <a:lnTo>
                      <a:pt x="984" y="77"/>
                    </a:lnTo>
                    <a:lnTo>
                      <a:pt x="984" y="77"/>
                    </a:lnTo>
                    <a:lnTo>
                      <a:pt x="980" y="77"/>
                    </a:lnTo>
                    <a:lnTo>
                      <a:pt x="975" y="77"/>
                    </a:lnTo>
                    <a:lnTo>
                      <a:pt x="975" y="77"/>
                    </a:lnTo>
                    <a:lnTo>
                      <a:pt x="971" y="72"/>
                    </a:lnTo>
                    <a:lnTo>
                      <a:pt x="971" y="72"/>
                    </a:lnTo>
                    <a:lnTo>
                      <a:pt x="971" y="72"/>
                    </a:lnTo>
                    <a:lnTo>
                      <a:pt x="971" y="72"/>
                    </a:lnTo>
                    <a:lnTo>
                      <a:pt x="971" y="72"/>
                    </a:lnTo>
                    <a:lnTo>
                      <a:pt x="975" y="68"/>
                    </a:lnTo>
                    <a:lnTo>
                      <a:pt x="980" y="68"/>
                    </a:lnTo>
                    <a:lnTo>
                      <a:pt x="980" y="68"/>
                    </a:lnTo>
                    <a:lnTo>
                      <a:pt x="975" y="68"/>
                    </a:lnTo>
                    <a:lnTo>
                      <a:pt x="971" y="68"/>
                    </a:lnTo>
                    <a:lnTo>
                      <a:pt x="971" y="68"/>
                    </a:lnTo>
                    <a:lnTo>
                      <a:pt x="971" y="68"/>
                    </a:lnTo>
                    <a:lnTo>
                      <a:pt x="971" y="68"/>
                    </a:lnTo>
                    <a:lnTo>
                      <a:pt x="971" y="68"/>
                    </a:lnTo>
                    <a:lnTo>
                      <a:pt x="971" y="63"/>
                    </a:lnTo>
                    <a:lnTo>
                      <a:pt x="971" y="63"/>
                    </a:lnTo>
                    <a:lnTo>
                      <a:pt x="971" y="63"/>
                    </a:lnTo>
                    <a:lnTo>
                      <a:pt x="975" y="63"/>
                    </a:lnTo>
                    <a:lnTo>
                      <a:pt x="975" y="63"/>
                    </a:lnTo>
                    <a:lnTo>
                      <a:pt x="975" y="63"/>
                    </a:lnTo>
                    <a:lnTo>
                      <a:pt x="971" y="63"/>
                    </a:lnTo>
                    <a:lnTo>
                      <a:pt x="971" y="63"/>
                    </a:lnTo>
                    <a:lnTo>
                      <a:pt x="971" y="63"/>
                    </a:lnTo>
                    <a:lnTo>
                      <a:pt x="971" y="63"/>
                    </a:lnTo>
                    <a:lnTo>
                      <a:pt x="971" y="59"/>
                    </a:lnTo>
                    <a:lnTo>
                      <a:pt x="975" y="59"/>
                    </a:lnTo>
                    <a:lnTo>
                      <a:pt x="980" y="59"/>
                    </a:lnTo>
                    <a:lnTo>
                      <a:pt x="984" y="59"/>
                    </a:lnTo>
                    <a:lnTo>
                      <a:pt x="984" y="59"/>
                    </a:lnTo>
                    <a:lnTo>
                      <a:pt x="989" y="59"/>
                    </a:lnTo>
                    <a:lnTo>
                      <a:pt x="993" y="59"/>
                    </a:lnTo>
                    <a:lnTo>
                      <a:pt x="998" y="59"/>
                    </a:lnTo>
                    <a:lnTo>
                      <a:pt x="1002" y="54"/>
                    </a:lnTo>
                    <a:lnTo>
                      <a:pt x="1002" y="54"/>
                    </a:lnTo>
                    <a:lnTo>
                      <a:pt x="1002" y="54"/>
                    </a:lnTo>
                    <a:lnTo>
                      <a:pt x="998" y="54"/>
                    </a:lnTo>
                    <a:lnTo>
                      <a:pt x="993" y="54"/>
                    </a:lnTo>
                    <a:lnTo>
                      <a:pt x="993" y="54"/>
                    </a:lnTo>
                    <a:lnTo>
                      <a:pt x="993" y="54"/>
                    </a:lnTo>
                    <a:lnTo>
                      <a:pt x="989" y="54"/>
                    </a:lnTo>
                    <a:lnTo>
                      <a:pt x="984" y="54"/>
                    </a:lnTo>
                    <a:lnTo>
                      <a:pt x="984" y="54"/>
                    </a:lnTo>
                    <a:lnTo>
                      <a:pt x="980" y="54"/>
                    </a:lnTo>
                    <a:lnTo>
                      <a:pt x="980" y="54"/>
                    </a:lnTo>
                    <a:lnTo>
                      <a:pt x="980" y="54"/>
                    </a:lnTo>
                    <a:lnTo>
                      <a:pt x="980" y="54"/>
                    </a:lnTo>
                    <a:lnTo>
                      <a:pt x="980" y="54"/>
                    </a:lnTo>
                    <a:lnTo>
                      <a:pt x="980" y="54"/>
                    </a:lnTo>
                    <a:lnTo>
                      <a:pt x="980" y="54"/>
                    </a:lnTo>
                    <a:lnTo>
                      <a:pt x="980" y="54"/>
                    </a:lnTo>
                    <a:lnTo>
                      <a:pt x="980" y="54"/>
                    </a:lnTo>
                    <a:lnTo>
                      <a:pt x="975" y="54"/>
                    </a:lnTo>
                    <a:lnTo>
                      <a:pt x="971" y="54"/>
                    </a:lnTo>
                    <a:lnTo>
                      <a:pt x="971" y="54"/>
                    </a:lnTo>
                    <a:lnTo>
                      <a:pt x="971" y="54"/>
                    </a:lnTo>
                    <a:lnTo>
                      <a:pt x="971" y="54"/>
                    </a:lnTo>
                    <a:lnTo>
                      <a:pt x="966" y="54"/>
                    </a:lnTo>
                    <a:lnTo>
                      <a:pt x="966" y="54"/>
                    </a:lnTo>
                    <a:lnTo>
                      <a:pt x="971" y="50"/>
                    </a:lnTo>
                    <a:lnTo>
                      <a:pt x="971" y="50"/>
                    </a:lnTo>
                    <a:lnTo>
                      <a:pt x="975" y="50"/>
                    </a:lnTo>
                    <a:lnTo>
                      <a:pt x="984" y="50"/>
                    </a:lnTo>
                    <a:lnTo>
                      <a:pt x="984" y="50"/>
                    </a:lnTo>
                    <a:lnTo>
                      <a:pt x="984" y="50"/>
                    </a:lnTo>
                    <a:lnTo>
                      <a:pt x="984" y="50"/>
                    </a:lnTo>
                    <a:lnTo>
                      <a:pt x="980" y="50"/>
                    </a:lnTo>
                    <a:lnTo>
                      <a:pt x="975" y="50"/>
                    </a:lnTo>
                    <a:lnTo>
                      <a:pt x="975" y="50"/>
                    </a:lnTo>
                    <a:lnTo>
                      <a:pt x="971" y="50"/>
                    </a:lnTo>
                    <a:lnTo>
                      <a:pt x="971" y="50"/>
                    </a:lnTo>
                    <a:lnTo>
                      <a:pt x="971" y="50"/>
                    </a:lnTo>
                    <a:lnTo>
                      <a:pt x="971" y="45"/>
                    </a:lnTo>
                    <a:lnTo>
                      <a:pt x="971" y="45"/>
                    </a:lnTo>
                    <a:lnTo>
                      <a:pt x="971" y="45"/>
                    </a:lnTo>
                    <a:lnTo>
                      <a:pt x="971" y="41"/>
                    </a:lnTo>
                    <a:lnTo>
                      <a:pt x="975" y="41"/>
                    </a:lnTo>
                    <a:lnTo>
                      <a:pt x="980" y="41"/>
                    </a:lnTo>
                    <a:lnTo>
                      <a:pt x="984" y="41"/>
                    </a:lnTo>
                    <a:lnTo>
                      <a:pt x="989" y="45"/>
                    </a:lnTo>
                    <a:lnTo>
                      <a:pt x="989" y="45"/>
                    </a:lnTo>
                    <a:lnTo>
                      <a:pt x="993" y="41"/>
                    </a:lnTo>
                    <a:lnTo>
                      <a:pt x="993" y="41"/>
                    </a:lnTo>
                    <a:lnTo>
                      <a:pt x="993" y="41"/>
                    </a:lnTo>
                    <a:lnTo>
                      <a:pt x="993" y="41"/>
                    </a:lnTo>
                    <a:lnTo>
                      <a:pt x="998" y="41"/>
                    </a:lnTo>
                    <a:lnTo>
                      <a:pt x="998" y="41"/>
                    </a:lnTo>
                    <a:lnTo>
                      <a:pt x="993" y="41"/>
                    </a:lnTo>
                    <a:lnTo>
                      <a:pt x="989" y="41"/>
                    </a:lnTo>
                    <a:lnTo>
                      <a:pt x="984" y="41"/>
                    </a:lnTo>
                    <a:lnTo>
                      <a:pt x="984" y="41"/>
                    </a:lnTo>
                    <a:lnTo>
                      <a:pt x="984" y="41"/>
                    </a:lnTo>
                    <a:lnTo>
                      <a:pt x="984" y="41"/>
                    </a:lnTo>
                    <a:lnTo>
                      <a:pt x="980" y="41"/>
                    </a:lnTo>
                    <a:lnTo>
                      <a:pt x="980" y="41"/>
                    </a:lnTo>
                    <a:lnTo>
                      <a:pt x="980" y="36"/>
                    </a:lnTo>
                    <a:lnTo>
                      <a:pt x="980" y="36"/>
                    </a:lnTo>
                    <a:lnTo>
                      <a:pt x="984" y="36"/>
                    </a:lnTo>
                    <a:lnTo>
                      <a:pt x="984" y="36"/>
                    </a:lnTo>
                    <a:lnTo>
                      <a:pt x="984" y="36"/>
                    </a:lnTo>
                    <a:lnTo>
                      <a:pt x="984" y="36"/>
                    </a:lnTo>
                    <a:lnTo>
                      <a:pt x="989" y="36"/>
                    </a:lnTo>
                    <a:lnTo>
                      <a:pt x="989" y="36"/>
                    </a:lnTo>
                    <a:lnTo>
                      <a:pt x="989" y="36"/>
                    </a:lnTo>
                    <a:lnTo>
                      <a:pt x="989" y="36"/>
                    </a:lnTo>
                    <a:lnTo>
                      <a:pt x="989" y="36"/>
                    </a:lnTo>
                    <a:lnTo>
                      <a:pt x="993" y="32"/>
                    </a:lnTo>
                    <a:lnTo>
                      <a:pt x="993" y="32"/>
                    </a:lnTo>
                    <a:lnTo>
                      <a:pt x="998" y="32"/>
                    </a:lnTo>
                    <a:lnTo>
                      <a:pt x="998" y="32"/>
                    </a:lnTo>
                    <a:lnTo>
                      <a:pt x="1002" y="32"/>
                    </a:lnTo>
                    <a:lnTo>
                      <a:pt x="1002" y="32"/>
                    </a:lnTo>
                    <a:lnTo>
                      <a:pt x="1002" y="36"/>
                    </a:lnTo>
                    <a:lnTo>
                      <a:pt x="1002" y="36"/>
                    </a:lnTo>
                    <a:lnTo>
                      <a:pt x="1002" y="36"/>
                    </a:lnTo>
                    <a:lnTo>
                      <a:pt x="1007" y="36"/>
                    </a:lnTo>
                    <a:lnTo>
                      <a:pt x="1007" y="36"/>
                    </a:lnTo>
                    <a:lnTo>
                      <a:pt x="1007" y="36"/>
                    </a:lnTo>
                    <a:lnTo>
                      <a:pt x="1002" y="32"/>
                    </a:lnTo>
                    <a:lnTo>
                      <a:pt x="1007" y="32"/>
                    </a:lnTo>
                    <a:lnTo>
                      <a:pt x="1002" y="32"/>
                    </a:lnTo>
                    <a:lnTo>
                      <a:pt x="1002" y="32"/>
                    </a:lnTo>
                    <a:lnTo>
                      <a:pt x="1002" y="27"/>
                    </a:lnTo>
                    <a:lnTo>
                      <a:pt x="1007" y="27"/>
                    </a:lnTo>
                    <a:lnTo>
                      <a:pt x="1012" y="27"/>
                    </a:lnTo>
                    <a:lnTo>
                      <a:pt x="1016" y="27"/>
                    </a:lnTo>
                    <a:lnTo>
                      <a:pt x="1016" y="27"/>
                    </a:lnTo>
                    <a:lnTo>
                      <a:pt x="1021" y="27"/>
                    </a:lnTo>
                    <a:lnTo>
                      <a:pt x="1025" y="27"/>
                    </a:lnTo>
                    <a:lnTo>
                      <a:pt x="1025" y="27"/>
                    </a:lnTo>
                    <a:lnTo>
                      <a:pt x="1025" y="27"/>
                    </a:lnTo>
                    <a:lnTo>
                      <a:pt x="1030" y="27"/>
                    </a:lnTo>
                    <a:lnTo>
                      <a:pt x="1030" y="27"/>
                    </a:lnTo>
                    <a:lnTo>
                      <a:pt x="1030" y="27"/>
                    </a:lnTo>
                    <a:lnTo>
                      <a:pt x="1030" y="23"/>
                    </a:lnTo>
                    <a:lnTo>
                      <a:pt x="1025" y="23"/>
                    </a:lnTo>
                    <a:lnTo>
                      <a:pt x="1021" y="23"/>
                    </a:lnTo>
                    <a:lnTo>
                      <a:pt x="1021" y="23"/>
                    </a:lnTo>
                    <a:lnTo>
                      <a:pt x="1021" y="23"/>
                    </a:lnTo>
                    <a:lnTo>
                      <a:pt x="1025" y="23"/>
                    </a:lnTo>
                    <a:lnTo>
                      <a:pt x="1025" y="23"/>
                    </a:lnTo>
                    <a:lnTo>
                      <a:pt x="1025" y="23"/>
                    </a:lnTo>
                    <a:lnTo>
                      <a:pt x="1025" y="23"/>
                    </a:lnTo>
                    <a:lnTo>
                      <a:pt x="1025" y="23"/>
                    </a:lnTo>
                    <a:lnTo>
                      <a:pt x="1030" y="23"/>
                    </a:lnTo>
                    <a:lnTo>
                      <a:pt x="1034" y="23"/>
                    </a:lnTo>
                    <a:lnTo>
                      <a:pt x="1034" y="23"/>
                    </a:lnTo>
                    <a:lnTo>
                      <a:pt x="1039" y="23"/>
                    </a:lnTo>
                    <a:lnTo>
                      <a:pt x="1039" y="23"/>
                    </a:lnTo>
                    <a:lnTo>
                      <a:pt x="1039" y="27"/>
                    </a:lnTo>
                    <a:lnTo>
                      <a:pt x="1039" y="27"/>
                    </a:lnTo>
                    <a:moveTo>
                      <a:pt x="1269" y="5"/>
                    </a:moveTo>
                    <a:lnTo>
                      <a:pt x="1269" y="5"/>
                    </a:lnTo>
                    <a:lnTo>
                      <a:pt x="1274" y="5"/>
                    </a:lnTo>
                    <a:lnTo>
                      <a:pt x="1278" y="5"/>
                    </a:lnTo>
                    <a:lnTo>
                      <a:pt x="1278" y="5"/>
                    </a:lnTo>
                    <a:lnTo>
                      <a:pt x="1278" y="5"/>
                    </a:lnTo>
                    <a:lnTo>
                      <a:pt x="1283" y="5"/>
                    </a:lnTo>
                    <a:lnTo>
                      <a:pt x="1283" y="5"/>
                    </a:lnTo>
                    <a:lnTo>
                      <a:pt x="1292" y="5"/>
                    </a:lnTo>
                    <a:lnTo>
                      <a:pt x="1292" y="5"/>
                    </a:lnTo>
                    <a:lnTo>
                      <a:pt x="1292" y="5"/>
                    </a:lnTo>
                    <a:lnTo>
                      <a:pt x="1287" y="9"/>
                    </a:lnTo>
                    <a:lnTo>
                      <a:pt x="1287" y="9"/>
                    </a:lnTo>
                    <a:lnTo>
                      <a:pt x="1269" y="9"/>
                    </a:lnTo>
                    <a:lnTo>
                      <a:pt x="1269" y="9"/>
                    </a:lnTo>
                    <a:lnTo>
                      <a:pt x="1269" y="9"/>
                    </a:lnTo>
                    <a:lnTo>
                      <a:pt x="1274" y="9"/>
                    </a:lnTo>
                    <a:lnTo>
                      <a:pt x="1278" y="9"/>
                    </a:lnTo>
                    <a:lnTo>
                      <a:pt x="1283" y="9"/>
                    </a:lnTo>
                    <a:lnTo>
                      <a:pt x="1283" y="9"/>
                    </a:lnTo>
                    <a:lnTo>
                      <a:pt x="1287" y="9"/>
                    </a:lnTo>
                    <a:lnTo>
                      <a:pt x="1292" y="9"/>
                    </a:lnTo>
                    <a:lnTo>
                      <a:pt x="1296" y="9"/>
                    </a:lnTo>
                    <a:lnTo>
                      <a:pt x="1296" y="9"/>
                    </a:lnTo>
                    <a:lnTo>
                      <a:pt x="1296" y="9"/>
                    </a:lnTo>
                    <a:lnTo>
                      <a:pt x="1296" y="9"/>
                    </a:lnTo>
                    <a:lnTo>
                      <a:pt x="1301" y="9"/>
                    </a:lnTo>
                    <a:lnTo>
                      <a:pt x="1301" y="9"/>
                    </a:lnTo>
                    <a:lnTo>
                      <a:pt x="1301" y="9"/>
                    </a:lnTo>
                    <a:lnTo>
                      <a:pt x="1301" y="9"/>
                    </a:lnTo>
                    <a:lnTo>
                      <a:pt x="1305" y="9"/>
                    </a:lnTo>
                    <a:lnTo>
                      <a:pt x="1305" y="9"/>
                    </a:lnTo>
                    <a:lnTo>
                      <a:pt x="1305" y="9"/>
                    </a:lnTo>
                    <a:lnTo>
                      <a:pt x="1305" y="9"/>
                    </a:lnTo>
                    <a:lnTo>
                      <a:pt x="1305" y="9"/>
                    </a:lnTo>
                    <a:lnTo>
                      <a:pt x="1310" y="9"/>
                    </a:lnTo>
                    <a:lnTo>
                      <a:pt x="1310" y="9"/>
                    </a:lnTo>
                    <a:lnTo>
                      <a:pt x="1314" y="9"/>
                    </a:lnTo>
                    <a:lnTo>
                      <a:pt x="1314" y="9"/>
                    </a:lnTo>
                    <a:lnTo>
                      <a:pt x="1314" y="9"/>
                    </a:lnTo>
                    <a:lnTo>
                      <a:pt x="1310" y="9"/>
                    </a:lnTo>
                    <a:lnTo>
                      <a:pt x="1310" y="9"/>
                    </a:lnTo>
                    <a:lnTo>
                      <a:pt x="1310" y="9"/>
                    </a:lnTo>
                    <a:lnTo>
                      <a:pt x="1310" y="9"/>
                    </a:lnTo>
                    <a:lnTo>
                      <a:pt x="1310" y="14"/>
                    </a:lnTo>
                    <a:lnTo>
                      <a:pt x="1314" y="14"/>
                    </a:lnTo>
                    <a:lnTo>
                      <a:pt x="1314" y="14"/>
                    </a:lnTo>
                    <a:lnTo>
                      <a:pt x="1310" y="14"/>
                    </a:lnTo>
                    <a:lnTo>
                      <a:pt x="1310" y="14"/>
                    </a:lnTo>
                    <a:lnTo>
                      <a:pt x="1319" y="14"/>
                    </a:lnTo>
                    <a:lnTo>
                      <a:pt x="1323" y="14"/>
                    </a:lnTo>
                    <a:lnTo>
                      <a:pt x="1323" y="14"/>
                    </a:lnTo>
                    <a:lnTo>
                      <a:pt x="1323" y="18"/>
                    </a:lnTo>
                    <a:lnTo>
                      <a:pt x="1323" y="18"/>
                    </a:lnTo>
                    <a:lnTo>
                      <a:pt x="1323" y="18"/>
                    </a:lnTo>
                    <a:lnTo>
                      <a:pt x="1323" y="18"/>
                    </a:lnTo>
                    <a:lnTo>
                      <a:pt x="1319" y="23"/>
                    </a:lnTo>
                    <a:lnTo>
                      <a:pt x="1314" y="23"/>
                    </a:lnTo>
                    <a:lnTo>
                      <a:pt x="1310" y="23"/>
                    </a:lnTo>
                    <a:lnTo>
                      <a:pt x="1310" y="23"/>
                    </a:lnTo>
                    <a:lnTo>
                      <a:pt x="1296" y="27"/>
                    </a:lnTo>
                    <a:lnTo>
                      <a:pt x="1292" y="27"/>
                    </a:lnTo>
                    <a:lnTo>
                      <a:pt x="1287" y="27"/>
                    </a:lnTo>
                    <a:lnTo>
                      <a:pt x="1287" y="27"/>
                    </a:lnTo>
                    <a:lnTo>
                      <a:pt x="1278" y="27"/>
                    </a:lnTo>
                    <a:lnTo>
                      <a:pt x="1278" y="27"/>
                    </a:lnTo>
                    <a:lnTo>
                      <a:pt x="1278" y="27"/>
                    </a:lnTo>
                    <a:lnTo>
                      <a:pt x="1274" y="27"/>
                    </a:lnTo>
                    <a:lnTo>
                      <a:pt x="1269" y="27"/>
                    </a:lnTo>
                    <a:lnTo>
                      <a:pt x="1264" y="27"/>
                    </a:lnTo>
                    <a:lnTo>
                      <a:pt x="1264" y="32"/>
                    </a:lnTo>
                    <a:lnTo>
                      <a:pt x="1264" y="32"/>
                    </a:lnTo>
                    <a:lnTo>
                      <a:pt x="1260" y="32"/>
                    </a:lnTo>
                    <a:lnTo>
                      <a:pt x="1260" y="32"/>
                    </a:lnTo>
                    <a:lnTo>
                      <a:pt x="1242" y="32"/>
                    </a:lnTo>
                    <a:lnTo>
                      <a:pt x="1242" y="36"/>
                    </a:lnTo>
                    <a:lnTo>
                      <a:pt x="1242" y="36"/>
                    </a:lnTo>
                    <a:lnTo>
                      <a:pt x="1246" y="36"/>
                    </a:lnTo>
                    <a:lnTo>
                      <a:pt x="1269" y="32"/>
                    </a:lnTo>
                    <a:lnTo>
                      <a:pt x="1274" y="32"/>
                    </a:lnTo>
                    <a:lnTo>
                      <a:pt x="1278" y="32"/>
                    </a:lnTo>
                    <a:lnTo>
                      <a:pt x="1278" y="32"/>
                    </a:lnTo>
                    <a:lnTo>
                      <a:pt x="1269" y="36"/>
                    </a:lnTo>
                    <a:lnTo>
                      <a:pt x="1260" y="36"/>
                    </a:lnTo>
                    <a:lnTo>
                      <a:pt x="1255" y="41"/>
                    </a:lnTo>
                    <a:lnTo>
                      <a:pt x="1242" y="41"/>
                    </a:lnTo>
                    <a:lnTo>
                      <a:pt x="1233" y="45"/>
                    </a:lnTo>
                    <a:lnTo>
                      <a:pt x="1228" y="45"/>
                    </a:lnTo>
                    <a:lnTo>
                      <a:pt x="1219" y="50"/>
                    </a:lnTo>
                    <a:lnTo>
                      <a:pt x="1219" y="50"/>
                    </a:lnTo>
                    <a:lnTo>
                      <a:pt x="1215" y="50"/>
                    </a:lnTo>
                    <a:lnTo>
                      <a:pt x="1215" y="50"/>
                    </a:lnTo>
                    <a:lnTo>
                      <a:pt x="1210" y="50"/>
                    </a:lnTo>
                    <a:lnTo>
                      <a:pt x="1210" y="50"/>
                    </a:lnTo>
                    <a:lnTo>
                      <a:pt x="1210" y="45"/>
                    </a:lnTo>
                    <a:lnTo>
                      <a:pt x="1210" y="45"/>
                    </a:lnTo>
                    <a:lnTo>
                      <a:pt x="1210" y="45"/>
                    </a:lnTo>
                    <a:lnTo>
                      <a:pt x="1210" y="50"/>
                    </a:lnTo>
                    <a:lnTo>
                      <a:pt x="1210" y="50"/>
                    </a:lnTo>
                    <a:lnTo>
                      <a:pt x="1201" y="54"/>
                    </a:lnTo>
                    <a:lnTo>
                      <a:pt x="1197" y="54"/>
                    </a:lnTo>
                    <a:lnTo>
                      <a:pt x="1192" y="54"/>
                    </a:lnTo>
                    <a:lnTo>
                      <a:pt x="1192" y="54"/>
                    </a:lnTo>
                    <a:lnTo>
                      <a:pt x="1192" y="54"/>
                    </a:lnTo>
                    <a:lnTo>
                      <a:pt x="1192" y="54"/>
                    </a:lnTo>
                    <a:lnTo>
                      <a:pt x="1192" y="54"/>
                    </a:lnTo>
                    <a:lnTo>
                      <a:pt x="1192" y="54"/>
                    </a:lnTo>
                    <a:lnTo>
                      <a:pt x="1192" y="54"/>
                    </a:lnTo>
                    <a:lnTo>
                      <a:pt x="1201" y="54"/>
                    </a:lnTo>
                    <a:lnTo>
                      <a:pt x="1201" y="54"/>
                    </a:lnTo>
                    <a:lnTo>
                      <a:pt x="1201" y="54"/>
                    </a:lnTo>
                    <a:lnTo>
                      <a:pt x="1201" y="54"/>
                    </a:lnTo>
                    <a:lnTo>
                      <a:pt x="1201" y="54"/>
                    </a:lnTo>
                    <a:lnTo>
                      <a:pt x="1192" y="59"/>
                    </a:lnTo>
                    <a:lnTo>
                      <a:pt x="1192" y="59"/>
                    </a:lnTo>
                    <a:lnTo>
                      <a:pt x="1192" y="59"/>
                    </a:lnTo>
                    <a:lnTo>
                      <a:pt x="1192" y="59"/>
                    </a:lnTo>
                    <a:lnTo>
                      <a:pt x="1192" y="59"/>
                    </a:lnTo>
                    <a:lnTo>
                      <a:pt x="1188" y="59"/>
                    </a:lnTo>
                    <a:lnTo>
                      <a:pt x="1183" y="59"/>
                    </a:lnTo>
                    <a:lnTo>
                      <a:pt x="1179" y="59"/>
                    </a:lnTo>
                    <a:lnTo>
                      <a:pt x="1179" y="59"/>
                    </a:lnTo>
                    <a:lnTo>
                      <a:pt x="1174" y="59"/>
                    </a:lnTo>
                    <a:lnTo>
                      <a:pt x="1170" y="59"/>
                    </a:lnTo>
                    <a:lnTo>
                      <a:pt x="1165" y="54"/>
                    </a:lnTo>
                    <a:lnTo>
                      <a:pt x="1165" y="54"/>
                    </a:lnTo>
                    <a:lnTo>
                      <a:pt x="1161" y="59"/>
                    </a:lnTo>
                    <a:lnTo>
                      <a:pt x="1161" y="59"/>
                    </a:lnTo>
                    <a:lnTo>
                      <a:pt x="1165" y="59"/>
                    </a:lnTo>
                    <a:lnTo>
                      <a:pt x="1170" y="59"/>
                    </a:lnTo>
                    <a:lnTo>
                      <a:pt x="1170" y="59"/>
                    </a:lnTo>
                    <a:lnTo>
                      <a:pt x="1170" y="59"/>
                    </a:lnTo>
                    <a:lnTo>
                      <a:pt x="1170" y="59"/>
                    </a:lnTo>
                    <a:lnTo>
                      <a:pt x="1170" y="63"/>
                    </a:lnTo>
                    <a:lnTo>
                      <a:pt x="1170" y="63"/>
                    </a:lnTo>
                    <a:lnTo>
                      <a:pt x="1170" y="63"/>
                    </a:lnTo>
                    <a:lnTo>
                      <a:pt x="1165" y="63"/>
                    </a:lnTo>
                    <a:lnTo>
                      <a:pt x="1165" y="63"/>
                    </a:lnTo>
                    <a:lnTo>
                      <a:pt x="1161" y="63"/>
                    </a:lnTo>
                    <a:lnTo>
                      <a:pt x="1161" y="63"/>
                    </a:lnTo>
                    <a:lnTo>
                      <a:pt x="1161" y="63"/>
                    </a:lnTo>
                    <a:lnTo>
                      <a:pt x="1156" y="63"/>
                    </a:lnTo>
                    <a:lnTo>
                      <a:pt x="1152" y="63"/>
                    </a:lnTo>
                    <a:lnTo>
                      <a:pt x="1147" y="63"/>
                    </a:lnTo>
                    <a:lnTo>
                      <a:pt x="1147" y="63"/>
                    </a:lnTo>
                    <a:lnTo>
                      <a:pt x="1143" y="63"/>
                    </a:lnTo>
                    <a:lnTo>
                      <a:pt x="1143" y="63"/>
                    </a:lnTo>
                    <a:lnTo>
                      <a:pt x="1138" y="63"/>
                    </a:lnTo>
                    <a:lnTo>
                      <a:pt x="1133" y="63"/>
                    </a:lnTo>
                    <a:lnTo>
                      <a:pt x="1133" y="63"/>
                    </a:lnTo>
                    <a:lnTo>
                      <a:pt x="1138" y="63"/>
                    </a:lnTo>
                    <a:lnTo>
                      <a:pt x="1138" y="63"/>
                    </a:lnTo>
                    <a:lnTo>
                      <a:pt x="1138" y="63"/>
                    </a:lnTo>
                    <a:lnTo>
                      <a:pt x="1138" y="63"/>
                    </a:lnTo>
                    <a:lnTo>
                      <a:pt x="1143" y="68"/>
                    </a:lnTo>
                    <a:lnTo>
                      <a:pt x="1143" y="68"/>
                    </a:lnTo>
                    <a:lnTo>
                      <a:pt x="1147" y="68"/>
                    </a:lnTo>
                    <a:lnTo>
                      <a:pt x="1152" y="68"/>
                    </a:lnTo>
                    <a:lnTo>
                      <a:pt x="1152" y="68"/>
                    </a:lnTo>
                    <a:lnTo>
                      <a:pt x="1147" y="72"/>
                    </a:lnTo>
                    <a:lnTo>
                      <a:pt x="1147" y="72"/>
                    </a:lnTo>
                    <a:lnTo>
                      <a:pt x="1143" y="72"/>
                    </a:lnTo>
                    <a:lnTo>
                      <a:pt x="1138" y="68"/>
                    </a:lnTo>
                    <a:lnTo>
                      <a:pt x="1138" y="68"/>
                    </a:lnTo>
                    <a:lnTo>
                      <a:pt x="1138" y="68"/>
                    </a:lnTo>
                    <a:lnTo>
                      <a:pt x="1133" y="68"/>
                    </a:lnTo>
                    <a:lnTo>
                      <a:pt x="1133" y="68"/>
                    </a:lnTo>
                    <a:lnTo>
                      <a:pt x="1129" y="68"/>
                    </a:lnTo>
                    <a:lnTo>
                      <a:pt x="1129" y="68"/>
                    </a:lnTo>
                    <a:lnTo>
                      <a:pt x="1120" y="68"/>
                    </a:lnTo>
                    <a:lnTo>
                      <a:pt x="1120" y="68"/>
                    </a:lnTo>
                    <a:lnTo>
                      <a:pt x="1115" y="68"/>
                    </a:lnTo>
                    <a:lnTo>
                      <a:pt x="1115" y="68"/>
                    </a:lnTo>
                    <a:lnTo>
                      <a:pt x="1111" y="68"/>
                    </a:lnTo>
                    <a:lnTo>
                      <a:pt x="1111" y="68"/>
                    </a:lnTo>
                    <a:lnTo>
                      <a:pt x="1111" y="68"/>
                    </a:lnTo>
                    <a:lnTo>
                      <a:pt x="1115" y="68"/>
                    </a:lnTo>
                    <a:lnTo>
                      <a:pt x="1115" y="72"/>
                    </a:lnTo>
                    <a:lnTo>
                      <a:pt x="1115" y="72"/>
                    </a:lnTo>
                    <a:lnTo>
                      <a:pt x="1115" y="72"/>
                    </a:lnTo>
                    <a:lnTo>
                      <a:pt x="1120" y="72"/>
                    </a:lnTo>
                    <a:lnTo>
                      <a:pt x="1124" y="68"/>
                    </a:lnTo>
                    <a:lnTo>
                      <a:pt x="1129" y="68"/>
                    </a:lnTo>
                    <a:lnTo>
                      <a:pt x="1133" y="72"/>
                    </a:lnTo>
                    <a:lnTo>
                      <a:pt x="1133" y="72"/>
                    </a:lnTo>
                    <a:lnTo>
                      <a:pt x="1133" y="72"/>
                    </a:lnTo>
                    <a:lnTo>
                      <a:pt x="1133" y="72"/>
                    </a:lnTo>
                    <a:lnTo>
                      <a:pt x="1138" y="72"/>
                    </a:lnTo>
                    <a:lnTo>
                      <a:pt x="1138" y="72"/>
                    </a:lnTo>
                    <a:lnTo>
                      <a:pt x="1143" y="77"/>
                    </a:lnTo>
                    <a:lnTo>
                      <a:pt x="1143" y="77"/>
                    </a:lnTo>
                    <a:lnTo>
                      <a:pt x="1143" y="77"/>
                    </a:lnTo>
                    <a:lnTo>
                      <a:pt x="1143" y="77"/>
                    </a:lnTo>
                    <a:lnTo>
                      <a:pt x="1138" y="77"/>
                    </a:lnTo>
                    <a:lnTo>
                      <a:pt x="1133" y="77"/>
                    </a:lnTo>
                    <a:lnTo>
                      <a:pt x="1129" y="77"/>
                    </a:lnTo>
                    <a:lnTo>
                      <a:pt x="1124" y="77"/>
                    </a:lnTo>
                    <a:lnTo>
                      <a:pt x="1120" y="77"/>
                    </a:lnTo>
                    <a:lnTo>
                      <a:pt x="1120" y="77"/>
                    </a:lnTo>
                    <a:lnTo>
                      <a:pt x="1124" y="81"/>
                    </a:lnTo>
                    <a:lnTo>
                      <a:pt x="1129" y="81"/>
                    </a:lnTo>
                    <a:lnTo>
                      <a:pt x="1129" y="81"/>
                    </a:lnTo>
                    <a:lnTo>
                      <a:pt x="1129" y="81"/>
                    </a:lnTo>
                    <a:lnTo>
                      <a:pt x="1124" y="86"/>
                    </a:lnTo>
                    <a:lnTo>
                      <a:pt x="1115" y="86"/>
                    </a:lnTo>
                    <a:lnTo>
                      <a:pt x="1115" y="86"/>
                    </a:lnTo>
                    <a:lnTo>
                      <a:pt x="1115" y="86"/>
                    </a:lnTo>
                    <a:lnTo>
                      <a:pt x="1111" y="86"/>
                    </a:lnTo>
                    <a:lnTo>
                      <a:pt x="1106" y="90"/>
                    </a:lnTo>
                    <a:lnTo>
                      <a:pt x="1106" y="90"/>
                    </a:lnTo>
                    <a:lnTo>
                      <a:pt x="1102" y="86"/>
                    </a:lnTo>
                    <a:lnTo>
                      <a:pt x="1097" y="86"/>
                    </a:lnTo>
                    <a:lnTo>
                      <a:pt x="1093" y="90"/>
                    </a:lnTo>
                    <a:lnTo>
                      <a:pt x="1093" y="90"/>
                    </a:lnTo>
                    <a:lnTo>
                      <a:pt x="1093" y="90"/>
                    </a:lnTo>
                    <a:lnTo>
                      <a:pt x="1088" y="95"/>
                    </a:lnTo>
                    <a:lnTo>
                      <a:pt x="1088" y="95"/>
                    </a:lnTo>
                    <a:lnTo>
                      <a:pt x="1084" y="95"/>
                    </a:lnTo>
                    <a:lnTo>
                      <a:pt x="1084" y="95"/>
                    </a:lnTo>
                    <a:lnTo>
                      <a:pt x="1079" y="100"/>
                    </a:lnTo>
                    <a:lnTo>
                      <a:pt x="1079" y="100"/>
                    </a:lnTo>
                    <a:lnTo>
                      <a:pt x="1075" y="100"/>
                    </a:lnTo>
                    <a:lnTo>
                      <a:pt x="1075" y="100"/>
                    </a:lnTo>
                    <a:lnTo>
                      <a:pt x="1066" y="100"/>
                    </a:lnTo>
                    <a:lnTo>
                      <a:pt x="1061" y="100"/>
                    </a:lnTo>
                    <a:lnTo>
                      <a:pt x="1061" y="100"/>
                    </a:lnTo>
                    <a:lnTo>
                      <a:pt x="1057" y="95"/>
                    </a:lnTo>
                    <a:lnTo>
                      <a:pt x="1057" y="95"/>
                    </a:lnTo>
                    <a:lnTo>
                      <a:pt x="1052" y="95"/>
                    </a:lnTo>
                    <a:lnTo>
                      <a:pt x="1052" y="95"/>
                    </a:lnTo>
                    <a:lnTo>
                      <a:pt x="1052" y="95"/>
                    </a:lnTo>
                    <a:lnTo>
                      <a:pt x="1052" y="95"/>
                    </a:lnTo>
                    <a:lnTo>
                      <a:pt x="1052" y="95"/>
                    </a:lnTo>
                    <a:lnTo>
                      <a:pt x="1052" y="95"/>
                    </a:lnTo>
                    <a:lnTo>
                      <a:pt x="1052" y="95"/>
                    </a:lnTo>
                    <a:lnTo>
                      <a:pt x="1052" y="95"/>
                    </a:lnTo>
                    <a:lnTo>
                      <a:pt x="1048" y="95"/>
                    </a:lnTo>
                    <a:lnTo>
                      <a:pt x="1043" y="95"/>
                    </a:lnTo>
                    <a:lnTo>
                      <a:pt x="1043" y="95"/>
                    </a:lnTo>
                    <a:lnTo>
                      <a:pt x="1043" y="100"/>
                    </a:lnTo>
                    <a:lnTo>
                      <a:pt x="1043" y="100"/>
                    </a:lnTo>
                    <a:lnTo>
                      <a:pt x="1048" y="100"/>
                    </a:lnTo>
                    <a:lnTo>
                      <a:pt x="1048" y="100"/>
                    </a:lnTo>
                    <a:lnTo>
                      <a:pt x="1052" y="100"/>
                    </a:lnTo>
                    <a:lnTo>
                      <a:pt x="1052" y="100"/>
                    </a:lnTo>
                    <a:lnTo>
                      <a:pt x="1057" y="100"/>
                    </a:lnTo>
                    <a:lnTo>
                      <a:pt x="1057" y="100"/>
                    </a:lnTo>
                    <a:lnTo>
                      <a:pt x="1057" y="100"/>
                    </a:lnTo>
                    <a:lnTo>
                      <a:pt x="1061" y="100"/>
                    </a:lnTo>
                    <a:lnTo>
                      <a:pt x="1061" y="100"/>
                    </a:lnTo>
                    <a:lnTo>
                      <a:pt x="1066" y="100"/>
                    </a:lnTo>
                    <a:lnTo>
                      <a:pt x="1066" y="100"/>
                    </a:lnTo>
                    <a:lnTo>
                      <a:pt x="1066" y="104"/>
                    </a:lnTo>
                    <a:lnTo>
                      <a:pt x="1066" y="104"/>
                    </a:lnTo>
                    <a:lnTo>
                      <a:pt x="1066" y="104"/>
                    </a:lnTo>
                    <a:lnTo>
                      <a:pt x="1066" y="104"/>
                    </a:lnTo>
                    <a:lnTo>
                      <a:pt x="1066" y="104"/>
                    </a:lnTo>
                    <a:lnTo>
                      <a:pt x="1066" y="104"/>
                    </a:lnTo>
                    <a:lnTo>
                      <a:pt x="1070" y="104"/>
                    </a:lnTo>
                    <a:lnTo>
                      <a:pt x="1070" y="104"/>
                    </a:lnTo>
                    <a:lnTo>
                      <a:pt x="1075" y="104"/>
                    </a:lnTo>
                    <a:lnTo>
                      <a:pt x="1075" y="104"/>
                    </a:lnTo>
                    <a:lnTo>
                      <a:pt x="1075" y="104"/>
                    </a:lnTo>
                    <a:lnTo>
                      <a:pt x="1075" y="109"/>
                    </a:lnTo>
                    <a:lnTo>
                      <a:pt x="1075" y="109"/>
                    </a:lnTo>
                    <a:lnTo>
                      <a:pt x="1070" y="109"/>
                    </a:lnTo>
                    <a:lnTo>
                      <a:pt x="1066" y="113"/>
                    </a:lnTo>
                    <a:lnTo>
                      <a:pt x="1057" y="113"/>
                    </a:lnTo>
                    <a:lnTo>
                      <a:pt x="1057" y="113"/>
                    </a:lnTo>
                    <a:lnTo>
                      <a:pt x="1052" y="113"/>
                    </a:lnTo>
                    <a:lnTo>
                      <a:pt x="1052" y="118"/>
                    </a:lnTo>
                    <a:lnTo>
                      <a:pt x="1043" y="118"/>
                    </a:lnTo>
                    <a:lnTo>
                      <a:pt x="1043" y="118"/>
                    </a:lnTo>
                    <a:lnTo>
                      <a:pt x="1034" y="118"/>
                    </a:lnTo>
                    <a:lnTo>
                      <a:pt x="1034" y="118"/>
                    </a:lnTo>
                    <a:lnTo>
                      <a:pt x="1034" y="118"/>
                    </a:lnTo>
                    <a:lnTo>
                      <a:pt x="1034" y="118"/>
                    </a:lnTo>
                    <a:lnTo>
                      <a:pt x="1034" y="118"/>
                    </a:lnTo>
                    <a:lnTo>
                      <a:pt x="1039" y="113"/>
                    </a:lnTo>
                    <a:lnTo>
                      <a:pt x="1039" y="113"/>
                    </a:lnTo>
                    <a:lnTo>
                      <a:pt x="1039" y="113"/>
                    </a:lnTo>
                    <a:lnTo>
                      <a:pt x="1039" y="113"/>
                    </a:lnTo>
                    <a:lnTo>
                      <a:pt x="1039" y="113"/>
                    </a:lnTo>
                    <a:lnTo>
                      <a:pt x="1039" y="113"/>
                    </a:lnTo>
                    <a:lnTo>
                      <a:pt x="1034" y="113"/>
                    </a:lnTo>
                    <a:lnTo>
                      <a:pt x="1034" y="113"/>
                    </a:lnTo>
                    <a:lnTo>
                      <a:pt x="1034" y="113"/>
                    </a:lnTo>
                    <a:lnTo>
                      <a:pt x="1034" y="113"/>
                    </a:lnTo>
                    <a:lnTo>
                      <a:pt x="1034" y="109"/>
                    </a:lnTo>
                    <a:lnTo>
                      <a:pt x="1034" y="109"/>
                    </a:lnTo>
                    <a:lnTo>
                      <a:pt x="1030" y="109"/>
                    </a:lnTo>
                    <a:lnTo>
                      <a:pt x="1030" y="109"/>
                    </a:lnTo>
                    <a:lnTo>
                      <a:pt x="1030" y="109"/>
                    </a:lnTo>
                    <a:lnTo>
                      <a:pt x="1030" y="109"/>
                    </a:lnTo>
                    <a:lnTo>
                      <a:pt x="1030" y="109"/>
                    </a:lnTo>
                    <a:lnTo>
                      <a:pt x="1030" y="109"/>
                    </a:lnTo>
                    <a:lnTo>
                      <a:pt x="1030" y="109"/>
                    </a:lnTo>
                    <a:lnTo>
                      <a:pt x="1030" y="109"/>
                    </a:lnTo>
                    <a:lnTo>
                      <a:pt x="1030" y="109"/>
                    </a:lnTo>
                    <a:lnTo>
                      <a:pt x="1025" y="113"/>
                    </a:lnTo>
                    <a:lnTo>
                      <a:pt x="1016" y="113"/>
                    </a:lnTo>
                    <a:lnTo>
                      <a:pt x="1012" y="109"/>
                    </a:lnTo>
                    <a:lnTo>
                      <a:pt x="1012" y="109"/>
                    </a:lnTo>
                    <a:lnTo>
                      <a:pt x="1012" y="109"/>
                    </a:lnTo>
                    <a:lnTo>
                      <a:pt x="1007" y="113"/>
                    </a:lnTo>
                    <a:lnTo>
                      <a:pt x="998" y="113"/>
                    </a:lnTo>
                    <a:lnTo>
                      <a:pt x="993" y="113"/>
                    </a:lnTo>
                    <a:lnTo>
                      <a:pt x="993" y="113"/>
                    </a:lnTo>
                    <a:lnTo>
                      <a:pt x="989" y="109"/>
                    </a:lnTo>
                    <a:lnTo>
                      <a:pt x="989" y="109"/>
                    </a:lnTo>
                    <a:lnTo>
                      <a:pt x="989" y="109"/>
                    </a:lnTo>
                    <a:lnTo>
                      <a:pt x="989" y="109"/>
                    </a:lnTo>
                    <a:lnTo>
                      <a:pt x="989" y="109"/>
                    </a:lnTo>
                    <a:lnTo>
                      <a:pt x="989" y="109"/>
                    </a:lnTo>
                    <a:lnTo>
                      <a:pt x="984" y="109"/>
                    </a:lnTo>
                    <a:lnTo>
                      <a:pt x="980" y="109"/>
                    </a:lnTo>
                    <a:lnTo>
                      <a:pt x="980" y="109"/>
                    </a:lnTo>
                    <a:lnTo>
                      <a:pt x="980" y="104"/>
                    </a:lnTo>
                    <a:lnTo>
                      <a:pt x="975" y="109"/>
                    </a:lnTo>
                    <a:lnTo>
                      <a:pt x="971" y="109"/>
                    </a:lnTo>
                    <a:lnTo>
                      <a:pt x="966" y="109"/>
                    </a:lnTo>
                    <a:lnTo>
                      <a:pt x="971" y="104"/>
                    </a:lnTo>
                    <a:lnTo>
                      <a:pt x="975" y="104"/>
                    </a:lnTo>
                    <a:lnTo>
                      <a:pt x="971" y="104"/>
                    </a:lnTo>
                    <a:lnTo>
                      <a:pt x="971" y="104"/>
                    </a:lnTo>
                    <a:lnTo>
                      <a:pt x="966" y="109"/>
                    </a:lnTo>
                    <a:lnTo>
                      <a:pt x="966" y="109"/>
                    </a:lnTo>
                    <a:lnTo>
                      <a:pt x="962" y="109"/>
                    </a:lnTo>
                    <a:lnTo>
                      <a:pt x="957" y="104"/>
                    </a:lnTo>
                    <a:lnTo>
                      <a:pt x="962" y="104"/>
                    </a:lnTo>
                    <a:lnTo>
                      <a:pt x="966" y="100"/>
                    </a:lnTo>
                    <a:lnTo>
                      <a:pt x="975" y="100"/>
                    </a:lnTo>
                    <a:lnTo>
                      <a:pt x="980" y="95"/>
                    </a:lnTo>
                    <a:lnTo>
                      <a:pt x="980" y="95"/>
                    </a:lnTo>
                    <a:lnTo>
                      <a:pt x="984" y="95"/>
                    </a:lnTo>
                    <a:lnTo>
                      <a:pt x="989" y="95"/>
                    </a:lnTo>
                    <a:lnTo>
                      <a:pt x="989" y="95"/>
                    </a:lnTo>
                    <a:lnTo>
                      <a:pt x="993" y="95"/>
                    </a:lnTo>
                    <a:lnTo>
                      <a:pt x="993" y="95"/>
                    </a:lnTo>
                    <a:lnTo>
                      <a:pt x="998" y="95"/>
                    </a:lnTo>
                    <a:lnTo>
                      <a:pt x="998" y="95"/>
                    </a:lnTo>
                    <a:lnTo>
                      <a:pt x="998" y="95"/>
                    </a:lnTo>
                    <a:lnTo>
                      <a:pt x="998" y="95"/>
                    </a:lnTo>
                    <a:lnTo>
                      <a:pt x="998" y="95"/>
                    </a:lnTo>
                    <a:lnTo>
                      <a:pt x="998" y="95"/>
                    </a:lnTo>
                    <a:lnTo>
                      <a:pt x="998" y="95"/>
                    </a:lnTo>
                    <a:lnTo>
                      <a:pt x="993" y="90"/>
                    </a:lnTo>
                    <a:lnTo>
                      <a:pt x="993" y="90"/>
                    </a:lnTo>
                    <a:lnTo>
                      <a:pt x="998" y="90"/>
                    </a:lnTo>
                    <a:lnTo>
                      <a:pt x="998" y="86"/>
                    </a:lnTo>
                    <a:lnTo>
                      <a:pt x="998" y="86"/>
                    </a:lnTo>
                    <a:lnTo>
                      <a:pt x="998" y="86"/>
                    </a:lnTo>
                    <a:lnTo>
                      <a:pt x="1002" y="86"/>
                    </a:lnTo>
                    <a:lnTo>
                      <a:pt x="1007" y="86"/>
                    </a:lnTo>
                    <a:lnTo>
                      <a:pt x="1007" y="81"/>
                    </a:lnTo>
                    <a:lnTo>
                      <a:pt x="1012" y="86"/>
                    </a:lnTo>
                    <a:lnTo>
                      <a:pt x="1012" y="86"/>
                    </a:lnTo>
                    <a:lnTo>
                      <a:pt x="1016" y="86"/>
                    </a:lnTo>
                    <a:lnTo>
                      <a:pt x="1016" y="86"/>
                    </a:lnTo>
                    <a:lnTo>
                      <a:pt x="1016" y="90"/>
                    </a:lnTo>
                    <a:lnTo>
                      <a:pt x="1016" y="90"/>
                    </a:lnTo>
                    <a:lnTo>
                      <a:pt x="1016" y="90"/>
                    </a:lnTo>
                    <a:lnTo>
                      <a:pt x="1021" y="95"/>
                    </a:lnTo>
                    <a:lnTo>
                      <a:pt x="1021" y="95"/>
                    </a:lnTo>
                    <a:lnTo>
                      <a:pt x="1025" y="95"/>
                    </a:lnTo>
                    <a:lnTo>
                      <a:pt x="1030" y="95"/>
                    </a:lnTo>
                    <a:lnTo>
                      <a:pt x="1030" y="95"/>
                    </a:lnTo>
                    <a:lnTo>
                      <a:pt x="1034" y="95"/>
                    </a:lnTo>
                    <a:lnTo>
                      <a:pt x="1034" y="95"/>
                    </a:lnTo>
                    <a:lnTo>
                      <a:pt x="1034" y="90"/>
                    </a:lnTo>
                    <a:lnTo>
                      <a:pt x="1039" y="90"/>
                    </a:lnTo>
                    <a:lnTo>
                      <a:pt x="1048" y="90"/>
                    </a:lnTo>
                    <a:lnTo>
                      <a:pt x="1048" y="86"/>
                    </a:lnTo>
                    <a:lnTo>
                      <a:pt x="1052" y="86"/>
                    </a:lnTo>
                    <a:lnTo>
                      <a:pt x="1052" y="86"/>
                    </a:lnTo>
                    <a:lnTo>
                      <a:pt x="1052" y="86"/>
                    </a:lnTo>
                    <a:lnTo>
                      <a:pt x="1052" y="86"/>
                    </a:lnTo>
                    <a:lnTo>
                      <a:pt x="1039" y="90"/>
                    </a:lnTo>
                    <a:lnTo>
                      <a:pt x="1039" y="90"/>
                    </a:lnTo>
                    <a:lnTo>
                      <a:pt x="1034" y="90"/>
                    </a:lnTo>
                    <a:lnTo>
                      <a:pt x="1034" y="90"/>
                    </a:lnTo>
                    <a:lnTo>
                      <a:pt x="1030" y="90"/>
                    </a:lnTo>
                    <a:lnTo>
                      <a:pt x="1030" y="90"/>
                    </a:lnTo>
                    <a:lnTo>
                      <a:pt x="1025" y="90"/>
                    </a:lnTo>
                    <a:lnTo>
                      <a:pt x="1021" y="90"/>
                    </a:lnTo>
                    <a:lnTo>
                      <a:pt x="1021" y="90"/>
                    </a:lnTo>
                    <a:lnTo>
                      <a:pt x="1025" y="86"/>
                    </a:lnTo>
                    <a:lnTo>
                      <a:pt x="1025" y="86"/>
                    </a:lnTo>
                    <a:lnTo>
                      <a:pt x="1030" y="81"/>
                    </a:lnTo>
                    <a:lnTo>
                      <a:pt x="1034" y="81"/>
                    </a:lnTo>
                    <a:lnTo>
                      <a:pt x="1039" y="81"/>
                    </a:lnTo>
                    <a:lnTo>
                      <a:pt x="1039" y="81"/>
                    </a:lnTo>
                    <a:lnTo>
                      <a:pt x="1043" y="81"/>
                    </a:lnTo>
                    <a:lnTo>
                      <a:pt x="1043" y="81"/>
                    </a:lnTo>
                    <a:lnTo>
                      <a:pt x="1043" y="77"/>
                    </a:lnTo>
                    <a:lnTo>
                      <a:pt x="1039" y="77"/>
                    </a:lnTo>
                    <a:lnTo>
                      <a:pt x="1043" y="72"/>
                    </a:lnTo>
                    <a:lnTo>
                      <a:pt x="1039" y="77"/>
                    </a:lnTo>
                    <a:lnTo>
                      <a:pt x="1034" y="81"/>
                    </a:lnTo>
                    <a:lnTo>
                      <a:pt x="1030" y="81"/>
                    </a:lnTo>
                    <a:lnTo>
                      <a:pt x="1030" y="81"/>
                    </a:lnTo>
                    <a:lnTo>
                      <a:pt x="1021" y="81"/>
                    </a:lnTo>
                    <a:lnTo>
                      <a:pt x="1025" y="81"/>
                    </a:lnTo>
                    <a:lnTo>
                      <a:pt x="1030" y="77"/>
                    </a:lnTo>
                    <a:lnTo>
                      <a:pt x="1030" y="77"/>
                    </a:lnTo>
                    <a:lnTo>
                      <a:pt x="1021" y="77"/>
                    </a:lnTo>
                    <a:lnTo>
                      <a:pt x="1021" y="81"/>
                    </a:lnTo>
                    <a:lnTo>
                      <a:pt x="1016" y="81"/>
                    </a:lnTo>
                    <a:lnTo>
                      <a:pt x="1012" y="81"/>
                    </a:lnTo>
                    <a:lnTo>
                      <a:pt x="1012" y="77"/>
                    </a:lnTo>
                    <a:lnTo>
                      <a:pt x="1016" y="77"/>
                    </a:lnTo>
                    <a:lnTo>
                      <a:pt x="1016" y="72"/>
                    </a:lnTo>
                    <a:lnTo>
                      <a:pt x="1021" y="72"/>
                    </a:lnTo>
                    <a:lnTo>
                      <a:pt x="1025" y="72"/>
                    </a:lnTo>
                    <a:lnTo>
                      <a:pt x="1030" y="72"/>
                    </a:lnTo>
                    <a:lnTo>
                      <a:pt x="1030" y="68"/>
                    </a:lnTo>
                    <a:lnTo>
                      <a:pt x="1039" y="68"/>
                    </a:lnTo>
                    <a:lnTo>
                      <a:pt x="1043" y="68"/>
                    </a:lnTo>
                    <a:lnTo>
                      <a:pt x="1048" y="68"/>
                    </a:lnTo>
                    <a:lnTo>
                      <a:pt x="1052" y="68"/>
                    </a:lnTo>
                    <a:lnTo>
                      <a:pt x="1052" y="68"/>
                    </a:lnTo>
                    <a:lnTo>
                      <a:pt x="1057" y="68"/>
                    </a:lnTo>
                    <a:lnTo>
                      <a:pt x="1061" y="68"/>
                    </a:lnTo>
                    <a:lnTo>
                      <a:pt x="1061" y="72"/>
                    </a:lnTo>
                    <a:lnTo>
                      <a:pt x="1061" y="72"/>
                    </a:lnTo>
                    <a:lnTo>
                      <a:pt x="1066" y="72"/>
                    </a:lnTo>
                    <a:lnTo>
                      <a:pt x="1066" y="68"/>
                    </a:lnTo>
                    <a:lnTo>
                      <a:pt x="1070" y="68"/>
                    </a:lnTo>
                    <a:lnTo>
                      <a:pt x="1075" y="68"/>
                    </a:lnTo>
                    <a:lnTo>
                      <a:pt x="1075" y="68"/>
                    </a:lnTo>
                    <a:lnTo>
                      <a:pt x="1079" y="68"/>
                    </a:lnTo>
                    <a:lnTo>
                      <a:pt x="1079" y="68"/>
                    </a:lnTo>
                    <a:lnTo>
                      <a:pt x="1079" y="68"/>
                    </a:lnTo>
                    <a:lnTo>
                      <a:pt x="1079" y="68"/>
                    </a:lnTo>
                    <a:lnTo>
                      <a:pt x="1079" y="68"/>
                    </a:lnTo>
                    <a:lnTo>
                      <a:pt x="1075" y="68"/>
                    </a:lnTo>
                    <a:lnTo>
                      <a:pt x="1075" y="68"/>
                    </a:lnTo>
                    <a:lnTo>
                      <a:pt x="1070" y="68"/>
                    </a:lnTo>
                    <a:lnTo>
                      <a:pt x="1070" y="68"/>
                    </a:lnTo>
                    <a:lnTo>
                      <a:pt x="1061" y="68"/>
                    </a:lnTo>
                    <a:lnTo>
                      <a:pt x="1061" y="68"/>
                    </a:lnTo>
                    <a:lnTo>
                      <a:pt x="1057" y="68"/>
                    </a:lnTo>
                    <a:lnTo>
                      <a:pt x="1057" y="68"/>
                    </a:lnTo>
                    <a:lnTo>
                      <a:pt x="1057" y="68"/>
                    </a:lnTo>
                    <a:lnTo>
                      <a:pt x="1057" y="63"/>
                    </a:lnTo>
                    <a:lnTo>
                      <a:pt x="1057" y="63"/>
                    </a:lnTo>
                    <a:lnTo>
                      <a:pt x="1061" y="63"/>
                    </a:lnTo>
                    <a:lnTo>
                      <a:pt x="1061" y="63"/>
                    </a:lnTo>
                    <a:lnTo>
                      <a:pt x="1061" y="63"/>
                    </a:lnTo>
                    <a:lnTo>
                      <a:pt x="1066" y="63"/>
                    </a:lnTo>
                    <a:lnTo>
                      <a:pt x="1066" y="68"/>
                    </a:lnTo>
                    <a:lnTo>
                      <a:pt x="1066" y="63"/>
                    </a:lnTo>
                    <a:lnTo>
                      <a:pt x="1066" y="63"/>
                    </a:lnTo>
                    <a:lnTo>
                      <a:pt x="1066" y="63"/>
                    </a:lnTo>
                    <a:lnTo>
                      <a:pt x="1066" y="63"/>
                    </a:lnTo>
                    <a:lnTo>
                      <a:pt x="1066" y="59"/>
                    </a:lnTo>
                    <a:lnTo>
                      <a:pt x="1066" y="59"/>
                    </a:lnTo>
                    <a:lnTo>
                      <a:pt x="1066" y="54"/>
                    </a:lnTo>
                    <a:lnTo>
                      <a:pt x="1066" y="54"/>
                    </a:lnTo>
                    <a:lnTo>
                      <a:pt x="1061" y="54"/>
                    </a:lnTo>
                    <a:lnTo>
                      <a:pt x="1057" y="54"/>
                    </a:lnTo>
                    <a:lnTo>
                      <a:pt x="1057" y="54"/>
                    </a:lnTo>
                    <a:lnTo>
                      <a:pt x="1057" y="50"/>
                    </a:lnTo>
                    <a:lnTo>
                      <a:pt x="1061" y="50"/>
                    </a:lnTo>
                    <a:lnTo>
                      <a:pt x="1061" y="45"/>
                    </a:lnTo>
                    <a:lnTo>
                      <a:pt x="1066" y="45"/>
                    </a:lnTo>
                    <a:lnTo>
                      <a:pt x="1070" y="41"/>
                    </a:lnTo>
                    <a:lnTo>
                      <a:pt x="1079" y="45"/>
                    </a:lnTo>
                    <a:lnTo>
                      <a:pt x="1084" y="45"/>
                    </a:lnTo>
                    <a:lnTo>
                      <a:pt x="1088" y="45"/>
                    </a:lnTo>
                    <a:lnTo>
                      <a:pt x="1088" y="45"/>
                    </a:lnTo>
                    <a:lnTo>
                      <a:pt x="1093" y="45"/>
                    </a:lnTo>
                    <a:lnTo>
                      <a:pt x="1093" y="50"/>
                    </a:lnTo>
                    <a:lnTo>
                      <a:pt x="1093" y="50"/>
                    </a:lnTo>
                    <a:lnTo>
                      <a:pt x="1093" y="50"/>
                    </a:lnTo>
                    <a:lnTo>
                      <a:pt x="1093" y="54"/>
                    </a:lnTo>
                    <a:lnTo>
                      <a:pt x="1097" y="54"/>
                    </a:lnTo>
                    <a:lnTo>
                      <a:pt x="1097" y="54"/>
                    </a:lnTo>
                    <a:lnTo>
                      <a:pt x="1097" y="59"/>
                    </a:lnTo>
                    <a:lnTo>
                      <a:pt x="1102" y="59"/>
                    </a:lnTo>
                    <a:lnTo>
                      <a:pt x="1102" y="59"/>
                    </a:lnTo>
                    <a:lnTo>
                      <a:pt x="1106" y="59"/>
                    </a:lnTo>
                    <a:lnTo>
                      <a:pt x="1106" y="59"/>
                    </a:lnTo>
                    <a:lnTo>
                      <a:pt x="1111" y="59"/>
                    </a:lnTo>
                    <a:lnTo>
                      <a:pt x="1106" y="59"/>
                    </a:lnTo>
                    <a:lnTo>
                      <a:pt x="1106" y="59"/>
                    </a:lnTo>
                    <a:lnTo>
                      <a:pt x="1102" y="54"/>
                    </a:lnTo>
                    <a:lnTo>
                      <a:pt x="1102" y="54"/>
                    </a:lnTo>
                    <a:lnTo>
                      <a:pt x="1102" y="54"/>
                    </a:lnTo>
                    <a:lnTo>
                      <a:pt x="1102" y="54"/>
                    </a:lnTo>
                    <a:lnTo>
                      <a:pt x="1102" y="50"/>
                    </a:lnTo>
                    <a:lnTo>
                      <a:pt x="1097" y="50"/>
                    </a:lnTo>
                    <a:lnTo>
                      <a:pt x="1097" y="45"/>
                    </a:lnTo>
                    <a:lnTo>
                      <a:pt x="1097" y="45"/>
                    </a:lnTo>
                    <a:lnTo>
                      <a:pt x="1097" y="45"/>
                    </a:lnTo>
                    <a:lnTo>
                      <a:pt x="1102" y="45"/>
                    </a:lnTo>
                    <a:lnTo>
                      <a:pt x="1102" y="45"/>
                    </a:lnTo>
                    <a:lnTo>
                      <a:pt x="1120" y="45"/>
                    </a:lnTo>
                    <a:lnTo>
                      <a:pt x="1129" y="41"/>
                    </a:lnTo>
                    <a:lnTo>
                      <a:pt x="1133" y="41"/>
                    </a:lnTo>
                    <a:lnTo>
                      <a:pt x="1133" y="41"/>
                    </a:lnTo>
                    <a:lnTo>
                      <a:pt x="1147" y="41"/>
                    </a:lnTo>
                    <a:lnTo>
                      <a:pt x="1156" y="36"/>
                    </a:lnTo>
                    <a:lnTo>
                      <a:pt x="1161" y="36"/>
                    </a:lnTo>
                    <a:lnTo>
                      <a:pt x="1161" y="36"/>
                    </a:lnTo>
                    <a:lnTo>
                      <a:pt x="1161" y="36"/>
                    </a:lnTo>
                    <a:lnTo>
                      <a:pt x="1161" y="36"/>
                    </a:lnTo>
                    <a:lnTo>
                      <a:pt x="1161" y="36"/>
                    </a:lnTo>
                    <a:lnTo>
                      <a:pt x="1152" y="36"/>
                    </a:lnTo>
                    <a:lnTo>
                      <a:pt x="1147" y="36"/>
                    </a:lnTo>
                    <a:lnTo>
                      <a:pt x="1147" y="36"/>
                    </a:lnTo>
                    <a:lnTo>
                      <a:pt x="1147" y="36"/>
                    </a:lnTo>
                    <a:lnTo>
                      <a:pt x="1152" y="36"/>
                    </a:lnTo>
                    <a:lnTo>
                      <a:pt x="1152" y="32"/>
                    </a:lnTo>
                    <a:lnTo>
                      <a:pt x="1156" y="32"/>
                    </a:lnTo>
                    <a:lnTo>
                      <a:pt x="1165" y="32"/>
                    </a:lnTo>
                    <a:lnTo>
                      <a:pt x="1170" y="27"/>
                    </a:lnTo>
                    <a:lnTo>
                      <a:pt x="1174" y="27"/>
                    </a:lnTo>
                    <a:lnTo>
                      <a:pt x="1161" y="32"/>
                    </a:lnTo>
                    <a:lnTo>
                      <a:pt x="1156" y="32"/>
                    </a:lnTo>
                    <a:lnTo>
                      <a:pt x="1152" y="32"/>
                    </a:lnTo>
                    <a:lnTo>
                      <a:pt x="1152" y="32"/>
                    </a:lnTo>
                    <a:lnTo>
                      <a:pt x="1147" y="32"/>
                    </a:lnTo>
                    <a:lnTo>
                      <a:pt x="1147" y="32"/>
                    </a:lnTo>
                    <a:lnTo>
                      <a:pt x="1147" y="32"/>
                    </a:lnTo>
                    <a:lnTo>
                      <a:pt x="1143" y="32"/>
                    </a:lnTo>
                    <a:lnTo>
                      <a:pt x="1143" y="36"/>
                    </a:lnTo>
                    <a:lnTo>
                      <a:pt x="1138" y="36"/>
                    </a:lnTo>
                    <a:lnTo>
                      <a:pt x="1138" y="36"/>
                    </a:lnTo>
                    <a:lnTo>
                      <a:pt x="1138" y="36"/>
                    </a:lnTo>
                    <a:lnTo>
                      <a:pt x="1133" y="36"/>
                    </a:lnTo>
                    <a:lnTo>
                      <a:pt x="1120" y="41"/>
                    </a:lnTo>
                    <a:lnTo>
                      <a:pt x="1120" y="41"/>
                    </a:lnTo>
                    <a:lnTo>
                      <a:pt x="1115" y="41"/>
                    </a:lnTo>
                    <a:lnTo>
                      <a:pt x="1106" y="41"/>
                    </a:lnTo>
                    <a:lnTo>
                      <a:pt x="1106" y="41"/>
                    </a:lnTo>
                    <a:lnTo>
                      <a:pt x="1102" y="41"/>
                    </a:lnTo>
                    <a:lnTo>
                      <a:pt x="1106" y="41"/>
                    </a:lnTo>
                    <a:lnTo>
                      <a:pt x="1111" y="36"/>
                    </a:lnTo>
                    <a:lnTo>
                      <a:pt x="1115" y="36"/>
                    </a:lnTo>
                    <a:lnTo>
                      <a:pt x="1111" y="36"/>
                    </a:lnTo>
                    <a:lnTo>
                      <a:pt x="1106" y="36"/>
                    </a:lnTo>
                    <a:lnTo>
                      <a:pt x="1102" y="36"/>
                    </a:lnTo>
                    <a:lnTo>
                      <a:pt x="1097" y="36"/>
                    </a:lnTo>
                    <a:lnTo>
                      <a:pt x="1097" y="41"/>
                    </a:lnTo>
                    <a:lnTo>
                      <a:pt x="1093" y="41"/>
                    </a:lnTo>
                    <a:lnTo>
                      <a:pt x="1093" y="41"/>
                    </a:lnTo>
                    <a:lnTo>
                      <a:pt x="1088" y="41"/>
                    </a:lnTo>
                    <a:lnTo>
                      <a:pt x="1084" y="41"/>
                    </a:lnTo>
                    <a:lnTo>
                      <a:pt x="1084" y="41"/>
                    </a:lnTo>
                    <a:lnTo>
                      <a:pt x="1079" y="41"/>
                    </a:lnTo>
                    <a:lnTo>
                      <a:pt x="1075" y="41"/>
                    </a:lnTo>
                    <a:lnTo>
                      <a:pt x="1075" y="41"/>
                    </a:lnTo>
                    <a:lnTo>
                      <a:pt x="1075" y="36"/>
                    </a:lnTo>
                    <a:lnTo>
                      <a:pt x="1075" y="36"/>
                    </a:lnTo>
                    <a:lnTo>
                      <a:pt x="1075" y="36"/>
                    </a:lnTo>
                    <a:lnTo>
                      <a:pt x="1075" y="36"/>
                    </a:lnTo>
                    <a:lnTo>
                      <a:pt x="1079" y="36"/>
                    </a:lnTo>
                    <a:lnTo>
                      <a:pt x="1088" y="32"/>
                    </a:lnTo>
                    <a:lnTo>
                      <a:pt x="1093" y="32"/>
                    </a:lnTo>
                    <a:lnTo>
                      <a:pt x="1097" y="32"/>
                    </a:lnTo>
                    <a:lnTo>
                      <a:pt x="1111" y="32"/>
                    </a:lnTo>
                    <a:lnTo>
                      <a:pt x="1111" y="32"/>
                    </a:lnTo>
                    <a:lnTo>
                      <a:pt x="1102" y="32"/>
                    </a:lnTo>
                    <a:lnTo>
                      <a:pt x="1088" y="32"/>
                    </a:lnTo>
                    <a:lnTo>
                      <a:pt x="1088" y="32"/>
                    </a:lnTo>
                    <a:lnTo>
                      <a:pt x="1084" y="32"/>
                    </a:lnTo>
                    <a:lnTo>
                      <a:pt x="1070" y="36"/>
                    </a:lnTo>
                    <a:lnTo>
                      <a:pt x="1066" y="36"/>
                    </a:lnTo>
                    <a:lnTo>
                      <a:pt x="1066" y="36"/>
                    </a:lnTo>
                    <a:lnTo>
                      <a:pt x="1061" y="36"/>
                    </a:lnTo>
                    <a:lnTo>
                      <a:pt x="1061" y="36"/>
                    </a:lnTo>
                    <a:lnTo>
                      <a:pt x="1057" y="36"/>
                    </a:lnTo>
                    <a:lnTo>
                      <a:pt x="1057" y="32"/>
                    </a:lnTo>
                    <a:lnTo>
                      <a:pt x="1057" y="32"/>
                    </a:lnTo>
                    <a:lnTo>
                      <a:pt x="1057" y="32"/>
                    </a:lnTo>
                    <a:lnTo>
                      <a:pt x="1057" y="32"/>
                    </a:lnTo>
                    <a:lnTo>
                      <a:pt x="1057" y="32"/>
                    </a:lnTo>
                    <a:lnTo>
                      <a:pt x="1057" y="32"/>
                    </a:lnTo>
                    <a:lnTo>
                      <a:pt x="1066" y="32"/>
                    </a:lnTo>
                    <a:lnTo>
                      <a:pt x="1075" y="32"/>
                    </a:lnTo>
                    <a:lnTo>
                      <a:pt x="1079" y="32"/>
                    </a:lnTo>
                    <a:lnTo>
                      <a:pt x="1084" y="32"/>
                    </a:lnTo>
                    <a:lnTo>
                      <a:pt x="1088" y="32"/>
                    </a:lnTo>
                    <a:lnTo>
                      <a:pt x="1097" y="27"/>
                    </a:lnTo>
                    <a:lnTo>
                      <a:pt x="1102" y="27"/>
                    </a:lnTo>
                    <a:lnTo>
                      <a:pt x="1097" y="27"/>
                    </a:lnTo>
                    <a:lnTo>
                      <a:pt x="1097" y="27"/>
                    </a:lnTo>
                    <a:lnTo>
                      <a:pt x="1093" y="27"/>
                    </a:lnTo>
                    <a:lnTo>
                      <a:pt x="1084" y="27"/>
                    </a:lnTo>
                    <a:lnTo>
                      <a:pt x="1079" y="32"/>
                    </a:lnTo>
                    <a:lnTo>
                      <a:pt x="1061" y="27"/>
                    </a:lnTo>
                    <a:lnTo>
                      <a:pt x="1057" y="32"/>
                    </a:lnTo>
                    <a:lnTo>
                      <a:pt x="1057" y="27"/>
                    </a:lnTo>
                    <a:lnTo>
                      <a:pt x="1057" y="27"/>
                    </a:lnTo>
                    <a:lnTo>
                      <a:pt x="1057" y="27"/>
                    </a:lnTo>
                    <a:lnTo>
                      <a:pt x="1057" y="27"/>
                    </a:lnTo>
                    <a:lnTo>
                      <a:pt x="1061" y="27"/>
                    </a:lnTo>
                    <a:lnTo>
                      <a:pt x="1066" y="27"/>
                    </a:lnTo>
                    <a:lnTo>
                      <a:pt x="1066" y="27"/>
                    </a:lnTo>
                    <a:lnTo>
                      <a:pt x="1061" y="23"/>
                    </a:lnTo>
                    <a:lnTo>
                      <a:pt x="1061" y="23"/>
                    </a:lnTo>
                    <a:lnTo>
                      <a:pt x="1066" y="23"/>
                    </a:lnTo>
                    <a:lnTo>
                      <a:pt x="1070" y="23"/>
                    </a:lnTo>
                    <a:lnTo>
                      <a:pt x="1075" y="23"/>
                    </a:lnTo>
                    <a:lnTo>
                      <a:pt x="1079" y="23"/>
                    </a:lnTo>
                    <a:lnTo>
                      <a:pt x="1084" y="23"/>
                    </a:lnTo>
                    <a:lnTo>
                      <a:pt x="1084" y="23"/>
                    </a:lnTo>
                    <a:lnTo>
                      <a:pt x="1079" y="23"/>
                    </a:lnTo>
                    <a:lnTo>
                      <a:pt x="1079" y="23"/>
                    </a:lnTo>
                    <a:lnTo>
                      <a:pt x="1075" y="23"/>
                    </a:lnTo>
                    <a:lnTo>
                      <a:pt x="1057" y="23"/>
                    </a:lnTo>
                    <a:lnTo>
                      <a:pt x="1057" y="23"/>
                    </a:lnTo>
                    <a:lnTo>
                      <a:pt x="1057" y="23"/>
                    </a:lnTo>
                    <a:lnTo>
                      <a:pt x="1057" y="23"/>
                    </a:lnTo>
                    <a:lnTo>
                      <a:pt x="1066" y="18"/>
                    </a:lnTo>
                    <a:lnTo>
                      <a:pt x="1066" y="18"/>
                    </a:lnTo>
                    <a:lnTo>
                      <a:pt x="1066" y="18"/>
                    </a:lnTo>
                    <a:lnTo>
                      <a:pt x="1061" y="18"/>
                    </a:lnTo>
                    <a:lnTo>
                      <a:pt x="1061" y="18"/>
                    </a:lnTo>
                    <a:lnTo>
                      <a:pt x="1061" y="18"/>
                    </a:lnTo>
                    <a:lnTo>
                      <a:pt x="1057" y="18"/>
                    </a:lnTo>
                    <a:lnTo>
                      <a:pt x="1052" y="18"/>
                    </a:lnTo>
                    <a:lnTo>
                      <a:pt x="1052" y="18"/>
                    </a:lnTo>
                    <a:lnTo>
                      <a:pt x="1052" y="18"/>
                    </a:lnTo>
                    <a:lnTo>
                      <a:pt x="1052" y="18"/>
                    </a:lnTo>
                    <a:lnTo>
                      <a:pt x="1057" y="18"/>
                    </a:lnTo>
                    <a:lnTo>
                      <a:pt x="1061" y="18"/>
                    </a:lnTo>
                    <a:lnTo>
                      <a:pt x="1061" y="14"/>
                    </a:lnTo>
                    <a:lnTo>
                      <a:pt x="1066" y="14"/>
                    </a:lnTo>
                    <a:lnTo>
                      <a:pt x="1070" y="14"/>
                    </a:lnTo>
                    <a:lnTo>
                      <a:pt x="1075" y="14"/>
                    </a:lnTo>
                    <a:lnTo>
                      <a:pt x="1079" y="14"/>
                    </a:lnTo>
                    <a:lnTo>
                      <a:pt x="1079" y="14"/>
                    </a:lnTo>
                    <a:lnTo>
                      <a:pt x="1084" y="14"/>
                    </a:lnTo>
                    <a:lnTo>
                      <a:pt x="1088" y="14"/>
                    </a:lnTo>
                    <a:lnTo>
                      <a:pt x="1093" y="14"/>
                    </a:lnTo>
                    <a:lnTo>
                      <a:pt x="1097" y="14"/>
                    </a:lnTo>
                    <a:lnTo>
                      <a:pt x="1097" y="14"/>
                    </a:lnTo>
                    <a:lnTo>
                      <a:pt x="1097" y="14"/>
                    </a:lnTo>
                    <a:lnTo>
                      <a:pt x="1097" y="14"/>
                    </a:lnTo>
                    <a:lnTo>
                      <a:pt x="1097" y="14"/>
                    </a:lnTo>
                    <a:lnTo>
                      <a:pt x="1102" y="14"/>
                    </a:lnTo>
                    <a:lnTo>
                      <a:pt x="1102" y="14"/>
                    </a:lnTo>
                    <a:lnTo>
                      <a:pt x="1106" y="14"/>
                    </a:lnTo>
                    <a:lnTo>
                      <a:pt x="1106" y="14"/>
                    </a:lnTo>
                    <a:lnTo>
                      <a:pt x="1106" y="14"/>
                    </a:lnTo>
                    <a:lnTo>
                      <a:pt x="1111" y="14"/>
                    </a:lnTo>
                    <a:lnTo>
                      <a:pt x="1111" y="14"/>
                    </a:lnTo>
                    <a:lnTo>
                      <a:pt x="1111" y="14"/>
                    </a:lnTo>
                    <a:lnTo>
                      <a:pt x="1115" y="14"/>
                    </a:lnTo>
                    <a:lnTo>
                      <a:pt x="1115" y="14"/>
                    </a:lnTo>
                    <a:lnTo>
                      <a:pt x="1115" y="14"/>
                    </a:lnTo>
                    <a:lnTo>
                      <a:pt x="1115" y="14"/>
                    </a:lnTo>
                    <a:lnTo>
                      <a:pt x="1106" y="14"/>
                    </a:lnTo>
                    <a:lnTo>
                      <a:pt x="1106" y="9"/>
                    </a:lnTo>
                    <a:lnTo>
                      <a:pt x="1111" y="9"/>
                    </a:lnTo>
                    <a:lnTo>
                      <a:pt x="1115" y="9"/>
                    </a:lnTo>
                    <a:lnTo>
                      <a:pt x="1115" y="9"/>
                    </a:lnTo>
                    <a:lnTo>
                      <a:pt x="1120" y="9"/>
                    </a:lnTo>
                    <a:lnTo>
                      <a:pt x="1124" y="9"/>
                    </a:lnTo>
                    <a:lnTo>
                      <a:pt x="1129" y="9"/>
                    </a:lnTo>
                    <a:lnTo>
                      <a:pt x="1129" y="9"/>
                    </a:lnTo>
                    <a:lnTo>
                      <a:pt x="1129" y="9"/>
                    </a:lnTo>
                    <a:lnTo>
                      <a:pt x="1129" y="9"/>
                    </a:lnTo>
                    <a:lnTo>
                      <a:pt x="1133" y="9"/>
                    </a:lnTo>
                    <a:lnTo>
                      <a:pt x="1133" y="9"/>
                    </a:lnTo>
                    <a:lnTo>
                      <a:pt x="1138" y="14"/>
                    </a:lnTo>
                    <a:lnTo>
                      <a:pt x="1138" y="14"/>
                    </a:lnTo>
                    <a:lnTo>
                      <a:pt x="1138" y="14"/>
                    </a:lnTo>
                    <a:lnTo>
                      <a:pt x="1138" y="14"/>
                    </a:lnTo>
                    <a:lnTo>
                      <a:pt x="1138" y="14"/>
                    </a:lnTo>
                    <a:lnTo>
                      <a:pt x="1143" y="14"/>
                    </a:lnTo>
                    <a:lnTo>
                      <a:pt x="1138" y="14"/>
                    </a:lnTo>
                    <a:lnTo>
                      <a:pt x="1138" y="14"/>
                    </a:lnTo>
                    <a:lnTo>
                      <a:pt x="1143" y="14"/>
                    </a:lnTo>
                    <a:lnTo>
                      <a:pt x="1143" y="14"/>
                    </a:lnTo>
                    <a:lnTo>
                      <a:pt x="1143" y="14"/>
                    </a:lnTo>
                    <a:lnTo>
                      <a:pt x="1143" y="14"/>
                    </a:lnTo>
                    <a:lnTo>
                      <a:pt x="1147" y="14"/>
                    </a:lnTo>
                    <a:lnTo>
                      <a:pt x="1156" y="18"/>
                    </a:lnTo>
                    <a:lnTo>
                      <a:pt x="1156" y="18"/>
                    </a:lnTo>
                    <a:lnTo>
                      <a:pt x="1156" y="18"/>
                    </a:lnTo>
                    <a:lnTo>
                      <a:pt x="1161" y="18"/>
                    </a:lnTo>
                    <a:lnTo>
                      <a:pt x="1161" y="18"/>
                    </a:lnTo>
                    <a:lnTo>
                      <a:pt x="1161" y="18"/>
                    </a:lnTo>
                    <a:lnTo>
                      <a:pt x="1161" y="18"/>
                    </a:lnTo>
                    <a:lnTo>
                      <a:pt x="1156" y="18"/>
                    </a:lnTo>
                    <a:lnTo>
                      <a:pt x="1152" y="14"/>
                    </a:lnTo>
                    <a:lnTo>
                      <a:pt x="1147" y="14"/>
                    </a:lnTo>
                    <a:lnTo>
                      <a:pt x="1147" y="9"/>
                    </a:lnTo>
                    <a:lnTo>
                      <a:pt x="1147" y="9"/>
                    </a:lnTo>
                    <a:lnTo>
                      <a:pt x="1147" y="9"/>
                    </a:lnTo>
                    <a:lnTo>
                      <a:pt x="1152" y="9"/>
                    </a:lnTo>
                    <a:lnTo>
                      <a:pt x="1152" y="9"/>
                    </a:lnTo>
                    <a:lnTo>
                      <a:pt x="1156" y="9"/>
                    </a:lnTo>
                    <a:lnTo>
                      <a:pt x="1156" y="9"/>
                    </a:lnTo>
                    <a:lnTo>
                      <a:pt x="1156" y="9"/>
                    </a:lnTo>
                    <a:lnTo>
                      <a:pt x="1152" y="5"/>
                    </a:lnTo>
                    <a:lnTo>
                      <a:pt x="1156" y="5"/>
                    </a:lnTo>
                    <a:lnTo>
                      <a:pt x="1156" y="5"/>
                    </a:lnTo>
                    <a:lnTo>
                      <a:pt x="1161" y="5"/>
                    </a:lnTo>
                    <a:lnTo>
                      <a:pt x="1161" y="5"/>
                    </a:lnTo>
                    <a:lnTo>
                      <a:pt x="1165" y="9"/>
                    </a:lnTo>
                    <a:lnTo>
                      <a:pt x="1165" y="9"/>
                    </a:lnTo>
                    <a:lnTo>
                      <a:pt x="1165" y="5"/>
                    </a:lnTo>
                    <a:lnTo>
                      <a:pt x="1165" y="5"/>
                    </a:lnTo>
                    <a:lnTo>
                      <a:pt x="1165" y="5"/>
                    </a:lnTo>
                    <a:lnTo>
                      <a:pt x="1165" y="5"/>
                    </a:lnTo>
                    <a:lnTo>
                      <a:pt x="1170" y="5"/>
                    </a:lnTo>
                    <a:lnTo>
                      <a:pt x="1174" y="5"/>
                    </a:lnTo>
                    <a:lnTo>
                      <a:pt x="1179" y="5"/>
                    </a:lnTo>
                    <a:lnTo>
                      <a:pt x="1183" y="5"/>
                    </a:lnTo>
                    <a:lnTo>
                      <a:pt x="1183" y="5"/>
                    </a:lnTo>
                    <a:lnTo>
                      <a:pt x="1179" y="5"/>
                    </a:lnTo>
                    <a:lnTo>
                      <a:pt x="1179" y="5"/>
                    </a:lnTo>
                    <a:lnTo>
                      <a:pt x="1179" y="5"/>
                    </a:lnTo>
                    <a:lnTo>
                      <a:pt x="1179" y="5"/>
                    </a:lnTo>
                    <a:lnTo>
                      <a:pt x="1174" y="0"/>
                    </a:lnTo>
                    <a:lnTo>
                      <a:pt x="1174" y="0"/>
                    </a:lnTo>
                    <a:lnTo>
                      <a:pt x="1179" y="0"/>
                    </a:lnTo>
                    <a:lnTo>
                      <a:pt x="1183" y="0"/>
                    </a:lnTo>
                    <a:lnTo>
                      <a:pt x="1188" y="5"/>
                    </a:lnTo>
                    <a:lnTo>
                      <a:pt x="1192" y="5"/>
                    </a:lnTo>
                    <a:lnTo>
                      <a:pt x="1197" y="5"/>
                    </a:lnTo>
                    <a:lnTo>
                      <a:pt x="1197" y="5"/>
                    </a:lnTo>
                    <a:lnTo>
                      <a:pt x="1201" y="5"/>
                    </a:lnTo>
                    <a:lnTo>
                      <a:pt x="1201" y="9"/>
                    </a:lnTo>
                    <a:lnTo>
                      <a:pt x="1201" y="9"/>
                    </a:lnTo>
                    <a:lnTo>
                      <a:pt x="1201" y="9"/>
                    </a:lnTo>
                    <a:lnTo>
                      <a:pt x="1201" y="9"/>
                    </a:lnTo>
                    <a:lnTo>
                      <a:pt x="1201" y="9"/>
                    </a:lnTo>
                    <a:lnTo>
                      <a:pt x="1206" y="9"/>
                    </a:lnTo>
                    <a:lnTo>
                      <a:pt x="1210" y="9"/>
                    </a:lnTo>
                    <a:lnTo>
                      <a:pt x="1210" y="9"/>
                    </a:lnTo>
                    <a:lnTo>
                      <a:pt x="1206" y="5"/>
                    </a:lnTo>
                    <a:lnTo>
                      <a:pt x="1206" y="5"/>
                    </a:lnTo>
                    <a:lnTo>
                      <a:pt x="1206" y="5"/>
                    </a:lnTo>
                    <a:lnTo>
                      <a:pt x="1201" y="5"/>
                    </a:lnTo>
                    <a:lnTo>
                      <a:pt x="1201" y="0"/>
                    </a:lnTo>
                    <a:lnTo>
                      <a:pt x="1201" y="0"/>
                    </a:lnTo>
                    <a:lnTo>
                      <a:pt x="1215" y="0"/>
                    </a:lnTo>
                    <a:lnTo>
                      <a:pt x="1224" y="0"/>
                    </a:lnTo>
                    <a:lnTo>
                      <a:pt x="1228" y="5"/>
                    </a:lnTo>
                    <a:lnTo>
                      <a:pt x="1228" y="5"/>
                    </a:lnTo>
                    <a:lnTo>
                      <a:pt x="1228" y="5"/>
                    </a:lnTo>
                    <a:lnTo>
                      <a:pt x="1228" y="5"/>
                    </a:lnTo>
                    <a:lnTo>
                      <a:pt x="1233" y="5"/>
                    </a:lnTo>
                    <a:lnTo>
                      <a:pt x="1233" y="9"/>
                    </a:lnTo>
                    <a:lnTo>
                      <a:pt x="1233" y="9"/>
                    </a:lnTo>
                    <a:lnTo>
                      <a:pt x="1233" y="5"/>
                    </a:lnTo>
                    <a:lnTo>
                      <a:pt x="1233" y="5"/>
                    </a:lnTo>
                    <a:lnTo>
                      <a:pt x="1233" y="5"/>
                    </a:lnTo>
                    <a:lnTo>
                      <a:pt x="1233" y="5"/>
                    </a:lnTo>
                    <a:lnTo>
                      <a:pt x="1233" y="5"/>
                    </a:lnTo>
                    <a:lnTo>
                      <a:pt x="1242" y="0"/>
                    </a:lnTo>
                    <a:lnTo>
                      <a:pt x="1246" y="0"/>
                    </a:lnTo>
                    <a:lnTo>
                      <a:pt x="1246" y="0"/>
                    </a:lnTo>
                    <a:lnTo>
                      <a:pt x="1251" y="5"/>
                    </a:lnTo>
                    <a:lnTo>
                      <a:pt x="1251" y="5"/>
                    </a:lnTo>
                    <a:lnTo>
                      <a:pt x="1251" y="5"/>
                    </a:lnTo>
                    <a:lnTo>
                      <a:pt x="1251" y="5"/>
                    </a:lnTo>
                    <a:lnTo>
                      <a:pt x="1251" y="5"/>
                    </a:lnTo>
                    <a:lnTo>
                      <a:pt x="1251" y="5"/>
                    </a:lnTo>
                    <a:lnTo>
                      <a:pt x="1251" y="5"/>
                    </a:lnTo>
                    <a:lnTo>
                      <a:pt x="1255" y="0"/>
                    </a:lnTo>
                    <a:lnTo>
                      <a:pt x="1255" y="0"/>
                    </a:lnTo>
                    <a:lnTo>
                      <a:pt x="1264" y="0"/>
                    </a:lnTo>
                    <a:lnTo>
                      <a:pt x="1264" y="0"/>
                    </a:lnTo>
                    <a:lnTo>
                      <a:pt x="1264" y="0"/>
                    </a:lnTo>
                    <a:lnTo>
                      <a:pt x="1264" y="5"/>
                    </a:lnTo>
                    <a:lnTo>
                      <a:pt x="1269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10" name="Freeform 31"/>
              <p:cNvSpPr>
                <a:spLocks/>
              </p:cNvSpPr>
              <p:nvPr/>
            </p:nvSpPr>
            <p:spPr bwMode="auto">
              <a:xfrm>
                <a:off x="4449763" y="1524001"/>
                <a:ext cx="107950" cy="57150"/>
              </a:xfrm>
              <a:custGeom>
                <a:avLst/>
                <a:gdLst>
                  <a:gd name="T0" fmla="*/ 41 w 68"/>
                  <a:gd name="T1" fmla="*/ 0 h 36"/>
                  <a:gd name="T2" fmla="*/ 45 w 68"/>
                  <a:gd name="T3" fmla="*/ 0 h 36"/>
                  <a:gd name="T4" fmla="*/ 50 w 68"/>
                  <a:gd name="T5" fmla="*/ 0 h 36"/>
                  <a:gd name="T6" fmla="*/ 54 w 68"/>
                  <a:gd name="T7" fmla="*/ 5 h 36"/>
                  <a:gd name="T8" fmla="*/ 54 w 68"/>
                  <a:gd name="T9" fmla="*/ 9 h 36"/>
                  <a:gd name="T10" fmla="*/ 54 w 68"/>
                  <a:gd name="T11" fmla="*/ 14 h 36"/>
                  <a:gd name="T12" fmla="*/ 54 w 68"/>
                  <a:gd name="T13" fmla="*/ 14 h 36"/>
                  <a:gd name="T14" fmla="*/ 59 w 68"/>
                  <a:gd name="T15" fmla="*/ 14 h 36"/>
                  <a:gd name="T16" fmla="*/ 59 w 68"/>
                  <a:gd name="T17" fmla="*/ 18 h 36"/>
                  <a:gd name="T18" fmla="*/ 68 w 68"/>
                  <a:gd name="T19" fmla="*/ 14 h 36"/>
                  <a:gd name="T20" fmla="*/ 68 w 68"/>
                  <a:gd name="T21" fmla="*/ 18 h 36"/>
                  <a:gd name="T22" fmla="*/ 68 w 68"/>
                  <a:gd name="T23" fmla="*/ 23 h 36"/>
                  <a:gd name="T24" fmla="*/ 68 w 68"/>
                  <a:gd name="T25" fmla="*/ 23 h 36"/>
                  <a:gd name="T26" fmla="*/ 63 w 68"/>
                  <a:gd name="T27" fmla="*/ 23 h 36"/>
                  <a:gd name="T28" fmla="*/ 63 w 68"/>
                  <a:gd name="T29" fmla="*/ 23 h 36"/>
                  <a:gd name="T30" fmla="*/ 63 w 68"/>
                  <a:gd name="T31" fmla="*/ 27 h 36"/>
                  <a:gd name="T32" fmla="*/ 63 w 68"/>
                  <a:gd name="T33" fmla="*/ 27 h 36"/>
                  <a:gd name="T34" fmla="*/ 59 w 68"/>
                  <a:gd name="T35" fmla="*/ 27 h 36"/>
                  <a:gd name="T36" fmla="*/ 59 w 68"/>
                  <a:gd name="T37" fmla="*/ 27 h 36"/>
                  <a:gd name="T38" fmla="*/ 54 w 68"/>
                  <a:gd name="T39" fmla="*/ 27 h 36"/>
                  <a:gd name="T40" fmla="*/ 54 w 68"/>
                  <a:gd name="T41" fmla="*/ 23 h 36"/>
                  <a:gd name="T42" fmla="*/ 50 w 68"/>
                  <a:gd name="T43" fmla="*/ 23 h 36"/>
                  <a:gd name="T44" fmla="*/ 50 w 68"/>
                  <a:gd name="T45" fmla="*/ 32 h 36"/>
                  <a:gd name="T46" fmla="*/ 45 w 68"/>
                  <a:gd name="T47" fmla="*/ 32 h 36"/>
                  <a:gd name="T48" fmla="*/ 45 w 68"/>
                  <a:gd name="T49" fmla="*/ 36 h 36"/>
                  <a:gd name="T50" fmla="*/ 45 w 68"/>
                  <a:gd name="T51" fmla="*/ 36 h 36"/>
                  <a:gd name="T52" fmla="*/ 45 w 68"/>
                  <a:gd name="T53" fmla="*/ 32 h 36"/>
                  <a:gd name="T54" fmla="*/ 41 w 68"/>
                  <a:gd name="T55" fmla="*/ 32 h 36"/>
                  <a:gd name="T56" fmla="*/ 36 w 68"/>
                  <a:gd name="T57" fmla="*/ 27 h 36"/>
                  <a:gd name="T58" fmla="*/ 36 w 68"/>
                  <a:gd name="T59" fmla="*/ 27 h 36"/>
                  <a:gd name="T60" fmla="*/ 32 w 68"/>
                  <a:gd name="T61" fmla="*/ 27 h 36"/>
                  <a:gd name="T62" fmla="*/ 32 w 68"/>
                  <a:gd name="T63" fmla="*/ 32 h 36"/>
                  <a:gd name="T64" fmla="*/ 27 w 68"/>
                  <a:gd name="T65" fmla="*/ 36 h 36"/>
                  <a:gd name="T66" fmla="*/ 23 w 68"/>
                  <a:gd name="T67" fmla="*/ 36 h 36"/>
                  <a:gd name="T68" fmla="*/ 18 w 68"/>
                  <a:gd name="T69" fmla="*/ 36 h 36"/>
                  <a:gd name="T70" fmla="*/ 13 w 68"/>
                  <a:gd name="T71" fmla="*/ 36 h 36"/>
                  <a:gd name="T72" fmla="*/ 13 w 68"/>
                  <a:gd name="T73" fmla="*/ 32 h 36"/>
                  <a:gd name="T74" fmla="*/ 13 w 68"/>
                  <a:gd name="T75" fmla="*/ 27 h 36"/>
                  <a:gd name="T76" fmla="*/ 13 w 68"/>
                  <a:gd name="T77" fmla="*/ 27 h 36"/>
                  <a:gd name="T78" fmla="*/ 9 w 68"/>
                  <a:gd name="T79" fmla="*/ 27 h 36"/>
                  <a:gd name="T80" fmla="*/ 4 w 68"/>
                  <a:gd name="T81" fmla="*/ 27 h 36"/>
                  <a:gd name="T82" fmla="*/ 4 w 68"/>
                  <a:gd name="T83" fmla="*/ 32 h 36"/>
                  <a:gd name="T84" fmla="*/ 0 w 68"/>
                  <a:gd name="T85" fmla="*/ 32 h 36"/>
                  <a:gd name="T86" fmla="*/ 0 w 68"/>
                  <a:gd name="T87" fmla="*/ 27 h 36"/>
                  <a:gd name="T88" fmla="*/ 0 w 68"/>
                  <a:gd name="T89" fmla="*/ 27 h 36"/>
                  <a:gd name="T90" fmla="*/ 4 w 68"/>
                  <a:gd name="T91" fmla="*/ 23 h 36"/>
                  <a:gd name="T92" fmla="*/ 9 w 68"/>
                  <a:gd name="T93" fmla="*/ 18 h 36"/>
                  <a:gd name="T94" fmla="*/ 9 w 68"/>
                  <a:gd name="T95" fmla="*/ 14 h 36"/>
                  <a:gd name="T96" fmla="*/ 9 w 68"/>
                  <a:gd name="T97" fmla="*/ 14 h 36"/>
                  <a:gd name="T98" fmla="*/ 13 w 68"/>
                  <a:gd name="T99" fmla="*/ 9 h 36"/>
                  <a:gd name="T100" fmla="*/ 13 w 68"/>
                  <a:gd name="T101" fmla="*/ 9 h 36"/>
                  <a:gd name="T102" fmla="*/ 13 w 68"/>
                  <a:gd name="T103" fmla="*/ 5 h 36"/>
                  <a:gd name="T104" fmla="*/ 18 w 68"/>
                  <a:gd name="T105" fmla="*/ 5 h 36"/>
                  <a:gd name="T106" fmla="*/ 18 w 68"/>
                  <a:gd name="T107" fmla="*/ 5 h 36"/>
                  <a:gd name="T108" fmla="*/ 23 w 68"/>
                  <a:gd name="T109" fmla="*/ 5 h 36"/>
                  <a:gd name="T110" fmla="*/ 27 w 68"/>
                  <a:gd name="T111" fmla="*/ 5 h 36"/>
                  <a:gd name="T112" fmla="*/ 32 w 68"/>
                  <a:gd name="T113" fmla="*/ 5 h 36"/>
                  <a:gd name="T114" fmla="*/ 36 w 68"/>
                  <a:gd name="T115" fmla="*/ 5 h 36"/>
                  <a:gd name="T116" fmla="*/ 41 w 68"/>
                  <a:gd name="T117" fmla="*/ 5 h 36"/>
                  <a:gd name="T118" fmla="*/ 41 w 68"/>
                  <a:gd name="T119" fmla="*/ 5 h 36"/>
                  <a:gd name="T120" fmla="*/ 36 w 68"/>
                  <a:gd name="T121" fmla="*/ 0 h 36"/>
                  <a:gd name="T122" fmla="*/ 41 w 68"/>
                  <a:gd name="T123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8" h="36">
                    <a:moveTo>
                      <a:pt x="41" y="0"/>
                    </a:moveTo>
                    <a:lnTo>
                      <a:pt x="41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5" y="0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5"/>
                    </a:lnTo>
                    <a:lnTo>
                      <a:pt x="54" y="5"/>
                    </a:lnTo>
                    <a:lnTo>
                      <a:pt x="54" y="5"/>
                    </a:lnTo>
                    <a:lnTo>
                      <a:pt x="54" y="5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63" y="18"/>
                    </a:lnTo>
                    <a:lnTo>
                      <a:pt x="63" y="18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3"/>
                    </a:lnTo>
                    <a:lnTo>
                      <a:pt x="50" y="23"/>
                    </a:lnTo>
                    <a:lnTo>
                      <a:pt x="50" y="23"/>
                    </a:lnTo>
                    <a:lnTo>
                      <a:pt x="50" y="23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1" y="32"/>
                    </a:lnTo>
                    <a:lnTo>
                      <a:pt x="45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27"/>
                    </a:lnTo>
                    <a:lnTo>
                      <a:pt x="0" y="27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13" y="14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11" name="Freeform 32"/>
              <p:cNvSpPr>
                <a:spLocks noEditPoints="1"/>
              </p:cNvSpPr>
              <p:nvPr/>
            </p:nvSpPr>
            <p:spPr bwMode="auto">
              <a:xfrm>
                <a:off x="2362201" y="3490914"/>
                <a:ext cx="495300" cy="1163638"/>
              </a:xfrm>
              <a:custGeom>
                <a:avLst/>
                <a:gdLst>
                  <a:gd name="T0" fmla="*/ 312 w 312"/>
                  <a:gd name="T1" fmla="*/ 723 h 733"/>
                  <a:gd name="T2" fmla="*/ 298 w 312"/>
                  <a:gd name="T3" fmla="*/ 733 h 733"/>
                  <a:gd name="T4" fmla="*/ 280 w 312"/>
                  <a:gd name="T5" fmla="*/ 728 h 733"/>
                  <a:gd name="T6" fmla="*/ 240 w 312"/>
                  <a:gd name="T7" fmla="*/ 710 h 733"/>
                  <a:gd name="T8" fmla="*/ 226 w 312"/>
                  <a:gd name="T9" fmla="*/ 710 h 733"/>
                  <a:gd name="T10" fmla="*/ 213 w 312"/>
                  <a:gd name="T11" fmla="*/ 701 h 733"/>
                  <a:gd name="T12" fmla="*/ 276 w 312"/>
                  <a:gd name="T13" fmla="*/ 701 h 733"/>
                  <a:gd name="T14" fmla="*/ 240 w 312"/>
                  <a:gd name="T15" fmla="*/ 714 h 733"/>
                  <a:gd name="T16" fmla="*/ 249 w 312"/>
                  <a:gd name="T17" fmla="*/ 705 h 733"/>
                  <a:gd name="T18" fmla="*/ 276 w 312"/>
                  <a:gd name="T19" fmla="*/ 714 h 733"/>
                  <a:gd name="T20" fmla="*/ 244 w 312"/>
                  <a:gd name="T21" fmla="*/ 687 h 733"/>
                  <a:gd name="T22" fmla="*/ 172 w 312"/>
                  <a:gd name="T23" fmla="*/ 669 h 733"/>
                  <a:gd name="T24" fmla="*/ 154 w 312"/>
                  <a:gd name="T25" fmla="*/ 633 h 733"/>
                  <a:gd name="T26" fmla="*/ 140 w 312"/>
                  <a:gd name="T27" fmla="*/ 624 h 733"/>
                  <a:gd name="T28" fmla="*/ 127 w 312"/>
                  <a:gd name="T29" fmla="*/ 610 h 733"/>
                  <a:gd name="T30" fmla="*/ 122 w 312"/>
                  <a:gd name="T31" fmla="*/ 597 h 733"/>
                  <a:gd name="T32" fmla="*/ 118 w 312"/>
                  <a:gd name="T33" fmla="*/ 525 h 733"/>
                  <a:gd name="T34" fmla="*/ 118 w 312"/>
                  <a:gd name="T35" fmla="*/ 543 h 733"/>
                  <a:gd name="T36" fmla="*/ 109 w 312"/>
                  <a:gd name="T37" fmla="*/ 525 h 733"/>
                  <a:gd name="T38" fmla="*/ 82 w 312"/>
                  <a:gd name="T39" fmla="*/ 475 h 733"/>
                  <a:gd name="T40" fmla="*/ 100 w 312"/>
                  <a:gd name="T41" fmla="*/ 506 h 733"/>
                  <a:gd name="T42" fmla="*/ 64 w 312"/>
                  <a:gd name="T43" fmla="*/ 149 h 733"/>
                  <a:gd name="T44" fmla="*/ 64 w 312"/>
                  <a:gd name="T45" fmla="*/ 190 h 733"/>
                  <a:gd name="T46" fmla="*/ 64 w 312"/>
                  <a:gd name="T47" fmla="*/ 244 h 733"/>
                  <a:gd name="T48" fmla="*/ 64 w 312"/>
                  <a:gd name="T49" fmla="*/ 276 h 733"/>
                  <a:gd name="T50" fmla="*/ 86 w 312"/>
                  <a:gd name="T51" fmla="*/ 312 h 733"/>
                  <a:gd name="T52" fmla="*/ 91 w 312"/>
                  <a:gd name="T53" fmla="*/ 348 h 733"/>
                  <a:gd name="T54" fmla="*/ 91 w 312"/>
                  <a:gd name="T55" fmla="*/ 384 h 733"/>
                  <a:gd name="T56" fmla="*/ 104 w 312"/>
                  <a:gd name="T57" fmla="*/ 430 h 733"/>
                  <a:gd name="T58" fmla="*/ 109 w 312"/>
                  <a:gd name="T59" fmla="*/ 457 h 733"/>
                  <a:gd name="T60" fmla="*/ 127 w 312"/>
                  <a:gd name="T61" fmla="*/ 502 h 733"/>
                  <a:gd name="T62" fmla="*/ 149 w 312"/>
                  <a:gd name="T63" fmla="*/ 529 h 733"/>
                  <a:gd name="T64" fmla="*/ 158 w 312"/>
                  <a:gd name="T65" fmla="*/ 561 h 733"/>
                  <a:gd name="T66" fmla="*/ 167 w 312"/>
                  <a:gd name="T67" fmla="*/ 601 h 733"/>
                  <a:gd name="T68" fmla="*/ 181 w 312"/>
                  <a:gd name="T69" fmla="*/ 642 h 733"/>
                  <a:gd name="T70" fmla="*/ 213 w 312"/>
                  <a:gd name="T71" fmla="*/ 669 h 733"/>
                  <a:gd name="T72" fmla="*/ 240 w 312"/>
                  <a:gd name="T73" fmla="*/ 687 h 733"/>
                  <a:gd name="T74" fmla="*/ 231 w 312"/>
                  <a:gd name="T75" fmla="*/ 687 h 733"/>
                  <a:gd name="T76" fmla="*/ 217 w 312"/>
                  <a:gd name="T77" fmla="*/ 683 h 733"/>
                  <a:gd name="T78" fmla="*/ 199 w 312"/>
                  <a:gd name="T79" fmla="*/ 687 h 733"/>
                  <a:gd name="T80" fmla="*/ 190 w 312"/>
                  <a:gd name="T81" fmla="*/ 674 h 733"/>
                  <a:gd name="T82" fmla="*/ 208 w 312"/>
                  <a:gd name="T83" fmla="*/ 674 h 733"/>
                  <a:gd name="T84" fmla="*/ 186 w 312"/>
                  <a:gd name="T85" fmla="*/ 665 h 733"/>
                  <a:gd name="T86" fmla="*/ 154 w 312"/>
                  <a:gd name="T87" fmla="*/ 642 h 733"/>
                  <a:gd name="T88" fmla="*/ 163 w 312"/>
                  <a:gd name="T89" fmla="*/ 638 h 733"/>
                  <a:gd name="T90" fmla="*/ 154 w 312"/>
                  <a:gd name="T91" fmla="*/ 615 h 733"/>
                  <a:gd name="T92" fmla="*/ 136 w 312"/>
                  <a:gd name="T93" fmla="*/ 601 h 733"/>
                  <a:gd name="T94" fmla="*/ 131 w 312"/>
                  <a:gd name="T95" fmla="*/ 588 h 733"/>
                  <a:gd name="T96" fmla="*/ 118 w 312"/>
                  <a:gd name="T97" fmla="*/ 574 h 733"/>
                  <a:gd name="T98" fmla="*/ 109 w 312"/>
                  <a:gd name="T99" fmla="*/ 561 h 733"/>
                  <a:gd name="T100" fmla="*/ 118 w 312"/>
                  <a:gd name="T101" fmla="*/ 561 h 733"/>
                  <a:gd name="T102" fmla="*/ 122 w 312"/>
                  <a:gd name="T103" fmla="*/ 547 h 733"/>
                  <a:gd name="T104" fmla="*/ 113 w 312"/>
                  <a:gd name="T105" fmla="*/ 511 h 733"/>
                  <a:gd name="T106" fmla="*/ 100 w 312"/>
                  <a:gd name="T107" fmla="*/ 475 h 733"/>
                  <a:gd name="T108" fmla="*/ 82 w 312"/>
                  <a:gd name="T109" fmla="*/ 470 h 733"/>
                  <a:gd name="T110" fmla="*/ 59 w 312"/>
                  <a:gd name="T111" fmla="*/ 384 h 733"/>
                  <a:gd name="T112" fmla="*/ 55 w 312"/>
                  <a:gd name="T113" fmla="*/ 312 h 733"/>
                  <a:gd name="T114" fmla="*/ 32 w 312"/>
                  <a:gd name="T115" fmla="*/ 213 h 733"/>
                  <a:gd name="T116" fmla="*/ 23 w 312"/>
                  <a:gd name="T117" fmla="*/ 127 h 733"/>
                  <a:gd name="T118" fmla="*/ 9 w 312"/>
                  <a:gd name="T119" fmla="*/ 41 h 733"/>
                  <a:gd name="T120" fmla="*/ 23 w 312"/>
                  <a:gd name="T121" fmla="*/ 14 h 733"/>
                  <a:gd name="T122" fmla="*/ 36 w 312"/>
                  <a:gd name="T123" fmla="*/ 50 h 733"/>
                  <a:gd name="T124" fmla="*/ 55 w 312"/>
                  <a:gd name="T125" fmla="*/ 86 h 7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2" h="733">
                    <a:moveTo>
                      <a:pt x="312" y="723"/>
                    </a:moveTo>
                    <a:lnTo>
                      <a:pt x="312" y="723"/>
                    </a:lnTo>
                    <a:lnTo>
                      <a:pt x="312" y="723"/>
                    </a:lnTo>
                    <a:lnTo>
                      <a:pt x="312" y="723"/>
                    </a:lnTo>
                    <a:lnTo>
                      <a:pt x="312" y="728"/>
                    </a:lnTo>
                    <a:lnTo>
                      <a:pt x="312" y="728"/>
                    </a:lnTo>
                    <a:lnTo>
                      <a:pt x="307" y="728"/>
                    </a:lnTo>
                    <a:lnTo>
                      <a:pt x="307" y="723"/>
                    </a:lnTo>
                    <a:lnTo>
                      <a:pt x="307" y="723"/>
                    </a:lnTo>
                    <a:lnTo>
                      <a:pt x="307" y="723"/>
                    </a:lnTo>
                    <a:lnTo>
                      <a:pt x="307" y="723"/>
                    </a:lnTo>
                    <a:lnTo>
                      <a:pt x="307" y="723"/>
                    </a:lnTo>
                    <a:lnTo>
                      <a:pt x="307" y="723"/>
                    </a:lnTo>
                    <a:lnTo>
                      <a:pt x="303" y="728"/>
                    </a:lnTo>
                    <a:lnTo>
                      <a:pt x="303" y="728"/>
                    </a:lnTo>
                    <a:lnTo>
                      <a:pt x="303" y="728"/>
                    </a:lnTo>
                    <a:lnTo>
                      <a:pt x="298" y="728"/>
                    </a:lnTo>
                    <a:lnTo>
                      <a:pt x="298" y="723"/>
                    </a:lnTo>
                    <a:lnTo>
                      <a:pt x="298" y="723"/>
                    </a:lnTo>
                    <a:lnTo>
                      <a:pt x="298" y="723"/>
                    </a:lnTo>
                    <a:lnTo>
                      <a:pt x="294" y="723"/>
                    </a:lnTo>
                    <a:lnTo>
                      <a:pt x="294" y="719"/>
                    </a:lnTo>
                    <a:lnTo>
                      <a:pt x="298" y="719"/>
                    </a:lnTo>
                    <a:lnTo>
                      <a:pt x="307" y="719"/>
                    </a:lnTo>
                    <a:lnTo>
                      <a:pt x="307" y="719"/>
                    </a:lnTo>
                    <a:lnTo>
                      <a:pt x="312" y="723"/>
                    </a:lnTo>
                    <a:lnTo>
                      <a:pt x="312" y="723"/>
                    </a:lnTo>
                    <a:lnTo>
                      <a:pt x="312" y="723"/>
                    </a:lnTo>
                    <a:moveTo>
                      <a:pt x="276" y="723"/>
                    </a:moveTo>
                    <a:lnTo>
                      <a:pt x="276" y="723"/>
                    </a:lnTo>
                    <a:lnTo>
                      <a:pt x="285" y="723"/>
                    </a:lnTo>
                    <a:lnTo>
                      <a:pt x="289" y="723"/>
                    </a:lnTo>
                    <a:lnTo>
                      <a:pt x="289" y="719"/>
                    </a:lnTo>
                    <a:lnTo>
                      <a:pt x="294" y="723"/>
                    </a:lnTo>
                    <a:lnTo>
                      <a:pt x="289" y="723"/>
                    </a:lnTo>
                    <a:lnTo>
                      <a:pt x="289" y="723"/>
                    </a:lnTo>
                    <a:lnTo>
                      <a:pt x="294" y="723"/>
                    </a:lnTo>
                    <a:lnTo>
                      <a:pt x="294" y="723"/>
                    </a:lnTo>
                    <a:lnTo>
                      <a:pt x="294" y="728"/>
                    </a:lnTo>
                    <a:lnTo>
                      <a:pt x="298" y="728"/>
                    </a:lnTo>
                    <a:lnTo>
                      <a:pt x="298" y="728"/>
                    </a:lnTo>
                    <a:lnTo>
                      <a:pt x="298" y="728"/>
                    </a:lnTo>
                    <a:lnTo>
                      <a:pt x="298" y="728"/>
                    </a:lnTo>
                    <a:lnTo>
                      <a:pt x="303" y="728"/>
                    </a:lnTo>
                    <a:lnTo>
                      <a:pt x="303" y="733"/>
                    </a:lnTo>
                    <a:lnTo>
                      <a:pt x="303" y="733"/>
                    </a:lnTo>
                    <a:lnTo>
                      <a:pt x="303" y="733"/>
                    </a:lnTo>
                    <a:lnTo>
                      <a:pt x="303" y="733"/>
                    </a:lnTo>
                    <a:lnTo>
                      <a:pt x="303" y="733"/>
                    </a:lnTo>
                    <a:lnTo>
                      <a:pt x="303" y="733"/>
                    </a:lnTo>
                    <a:lnTo>
                      <a:pt x="303" y="733"/>
                    </a:lnTo>
                    <a:lnTo>
                      <a:pt x="298" y="733"/>
                    </a:lnTo>
                    <a:lnTo>
                      <a:pt x="298" y="733"/>
                    </a:lnTo>
                    <a:lnTo>
                      <a:pt x="298" y="733"/>
                    </a:lnTo>
                    <a:lnTo>
                      <a:pt x="294" y="733"/>
                    </a:lnTo>
                    <a:lnTo>
                      <a:pt x="294" y="733"/>
                    </a:lnTo>
                    <a:lnTo>
                      <a:pt x="294" y="733"/>
                    </a:lnTo>
                    <a:lnTo>
                      <a:pt x="289" y="733"/>
                    </a:lnTo>
                    <a:lnTo>
                      <a:pt x="289" y="728"/>
                    </a:lnTo>
                    <a:lnTo>
                      <a:pt x="289" y="728"/>
                    </a:lnTo>
                    <a:lnTo>
                      <a:pt x="289" y="728"/>
                    </a:lnTo>
                    <a:lnTo>
                      <a:pt x="289" y="728"/>
                    </a:lnTo>
                    <a:lnTo>
                      <a:pt x="289" y="728"/>
                    </a:lnTo>
                    <a:lnTo>
                      <a:pt x="289" y="728"/>
                    </a:lnTo>
                    <a:lnTo>
                      <a:pt x="289" y="728"/>
                    </a:lnTo>
                    <a:lnTo>
                      <a:pt x="285" y="728"/>
                    </a:lnTo>
                    <a:lnTo>
                      <a:pt x="285" y="728"/>
                    </a:lnTo>
                    <a:lnTo>
                      <a:pt x="285" y="723"/>
                    </a:lnTo>
                    <a:lnTo>
                      <a:pt x="280" y="723"/>
                    </a:lnTo>
                    <a:lnTo>
                      <a:pt x="285" y="728"/>
                    </a:lnTo>
                    <a:lnTo>
                      <a:pt x="285" y="728"/>
                    </a:lnTo>
                    <a:lnTo>
                      <a:pt x="285" y="728"/>
                    </a:lnTo>
                    <a:lnTo>
                      <a:pt x="289" y="733"/>
                    </a:lnTo>
                    <a:lnTo>
                      <a:pt x="285" y="733"/>
                    </a:lnTo>
                    <a:lnTo>
                      <a:pt x="285" y="733"/>
                    </a:lnTo>
                    <a:lnTo>
                      <a:pt x="285" y="733"/>
                    </a:lnTo>
                    <a:lnTo>
                      <a:pt x="280" y="728"/>
                    </a:lnTo>
                    <a:lnTo>
                      <a:pt x="280" y="728"/>
                    </a:lnTo>
                    <a:lnTo>
                      <a:pt x="280" y="728"/>
                    </a:lnTo>
                    <a:lnTo>
                      <a:pt x="280" y="728"/>
                    </a:lnTo>
                    <a:lnTo>
                      <a:pt x="280" y="728"/>
                    </a:lnTo>
                    <a:lnTo>
                      <a:pt x="276" y="728"/>
                    </a:lnTo>
                    <a:lnTo>
                      <a:pt x="276" y="728"/>
                    </a:lnTo>
                    <a:lnTo>
                      <a:pt x="276" y="728"/>
                    </a:lnTo>
                    <a:lnTo>
                      <a:pt x="276" y="728"/>
                    </a:lnTo>
                    <a:lnTo>
                      <a:pt x="276" y="728"/>
                    </a:lnTo>
                    <a:lnTo>
                      <a:pt x="271" y="728"/>
                    </a:lnTo>
                    <a:lnTo>
                      <a:pt x="271" y="723"/>
                    </a:lnTo>
                    <a:lnTo>
                      <a:pt x="271" y="723"/>
                    </a:lnTo>
                    <a:lnTo>
                      <a:pt x="271" y="723"/>
                    </a:lnTo>
                    <a:lnTo>
                      <a:pt x="271" y="719"/>
                    </a:lnTo>
                    <a:lnTo>
                      <a:pt x="276" y="723"/>
                    </a:lnTo>
                    <a:moveTo>
                      <a:pt x="240" y="705"/>
                    </a:moveTo>
                    <a:lnTo>
                      <a:pt x="240" y="705"/>
                    </a:lnTo>
                    <a:lnTo>
                      <a:pt x="244" y="705"/>
                    </a:lnTo>
                    <a:lnTo>
                      <a:pt x="249" y="705"/>
                    </a:lnTo>
                    <a:lnTo>
                      <a:pt x="249" y="710"/>
                    </a:lnTo>
                    <a:lnTo>
                      <a:pt x="249" y="710"/>
                    </a:lnTo>
                    <a:lnTo>
                      <a:pt x="249" y="710"/>
                    </a:lnTo>
                    <a:lnTo>
                      <a:pt x="249" y="710"/>
                    </a:lnTo>
                    <a:lnTo>
                      <a:pt x="249" y="710"/>
                    </a:lnTo>
                    <a:lnTo>
                      <a:pt x="249" y="714"/>
                    </a:lnTo>
                    <a:lnTo>
                      <a:pt x="244" y="710"/>
                    </a:lnTo>
                    <a:lnTo>
                      <a:pt x="244" y="710"/>
                    </a:lnTo>
                    <a:lnTo>
                      <a:pt x="240" y="710"/>
                    </a:lnTo>
                    <a:lnTo>
                      <a:pt x="240" y="710"/>
                    </a:lnTo>
                    <a:lnTo>
                      <a:pt x="240" y="710"/>
                    </a:lnTo>
                    <a:lnTo>
                      <a:pt x="240" y="710"/>
                    </a:lnTo>
                    <a:lnTo>
                      <a:pt x="235" y="710"/>
                    </a:lnTo>
                    <a:lnTo>
                      <a:pt x="235" y="710"/>
                    </a:lnTo>
                    <a:lnTo>
                      <a:pt x="235" y="710"/>
                    </a:lnTo>
                    <a:lnTo>
                      <a:pt x="231" y="705"/>
                    </a:lnTo>
                    <a:lnTo>
                      <a:pt x="231" y="705"/>
                    </a:lnTo>
                    <a:lnTo>
                      <a:pt x="231" y="705"/>
                    </a:lnTo>
                    <a:lnTo>
                      <a:pt x="231" y="705"/>
                    </a:lnTo>
                    <a:lnTo>
                      <a:pt x="235" y="705"/>
                    </a:lnTo>
                    <a:lnTo>
                      <a:pt x="240" y="705"/>
                    </a:lnTo>
                    <a:lnTo>
                      <a:pt x="240" y="705"/>
                    </a:lnTo>
                    <a:moveTo>
                      <a:pt x="213" y="696"/>
                    </a:moveTo>
                    <a:lnTo>
                      <a:pt x="213" y="696"/>
                    </a:lnTo>
                    <a:lnTo>
                      <a:pt x="217" y="696"/>
                    </a:lnTo>
                    <a:lnTo>
                      <a:pt x="217" y="701"/>
                    </a:lnTo>
                    <a:lnTo>
                      <a:pt x="217" y="696"/>
                    </a:lnTo>
                    <a:lnTo>
                      <a:pt x="217" y="696"/>
                    </a:lnTo>
                    <a:lnTo>
                      <a:pt x="222" y="696"/>
                    </a:lnTo>
                    <a:lnTo>
                      <a:pt x="222" y="701"/>
                    </a:lnTo>
                    <a:lnTo>
                      <a:pt x="226" y="701"/>
                    </a:lnTo>
                    <a:lnTo>
                      <a:pt x="226" y="701"/>
                    </a:lnTo>
                    <a:lnTo>
                      <a:pt x="226" y="701"/>
                    </a:lnTo>
                    <a:lnTo>
                      <a:pt x="226" y="705"/>
                    </a:lnTo>
                    <a:lnTo>
                      <a:pt x="226" y="705"/>
                    </a:lnTo>
                    <a:lnTo>
                      <a:pt x="226" y="705"/>
                    </a:lnTo>
                    <a:lnTo>
                      <a:pt x="226" y="705"/>
                    </a:lnTo>
                    <a:lnTo>
                      <a:pt x="226" y="705"/>
                    </a:lnTo>
                    <a:lnTo>
                      <a:pt x="226" y="710"/>
                    </a:lnTo>
                    <a:lnTo>
                      <a:pt x="226" y="710"/>
                    </a:lnTo>
                    <a:lnTo>
                      <a:pt x="222" y="710"/>
                    </a:lnTo>
                    <a:lnTo>
                      <a:pt x="222" y="710"/>
                    </a:lnTo>
                    <a:lnTo>
                      <a:pt x="222" y="710"/>
                    </a:lnTo>
                    <a:lnTo>
                      <a:pt x="222" y="710"/>
                    </a:lnTo>
                    <a:lnTo>
                      <a:pt x="222" y="710"/>
                    </a:lnTo>
                    <a:lnTo>
                      <a:pt x="222" y="710"/>
                    </a:lnTo>
                    <a:lnTo>
                      <a:pt x="222" y="705"/>
                    </a:lnTo>
                    <a:lnTo>
                      <a:pt x="222" y="705"/>
                    </a:lnTo>
                    <a:lnTo>
                      <a:pt x="222" y="705"/>
                    </a:lnTo>
                    <a:lnTo>
                      <a:pt x="222" y="705"/>
                    </a:lnTo>
                    <a:lnTo>
                      <a:pt x="217" y="705"/>
                    </a:lnTo>
                    <a:lnTo>
                      <a:pt x="217" y="705"/>
                    </a:lnTo>
                    <a:lnTo>
                      <a:pt x="217" y="705"/>
                    </a:lnTo>
                    <a:lnTo>
                      <a:pt x="217" y="705"/>
                    </a:lnTo>
                    <a:lnTo>
                      <a:pt x="217" y="705"/>
                    </a:lnTo>
                    <a:lnTo>
                      <a:pt x="217" y="705"/>
                    </a:lnTo>
                    <a:lnTo>
                      <a:pt x="217" y="705"/>
                    </a:lnTo>
                    <a:lnTo>
                      <a:pt x="217" y="705"/>
                    </a:lnTo>
                    <a:lnTo>
                      <a:pt x="217" y="705"/>
                    </a:lnTo>
                    <a:lnTo>
                      <a:pt x="213" y="705"/>
                    </a:lnTo>
                    <a:lnTo>
                      <a:pt x="213" y="705"/>
                    </a:lnTo>
                    <a:lnTo>
                      <a:pt x="213" y="705"/>
                    </a:lnTo>
                    <a:lnTo>
                      <a:pt x="213" y="701"/>
                    </a:lnTo>
                    <a:lnTo>
                      <a:pt x="213" y="701"/>
                    </a:lnTo>
                    <a:lnTo>
                      <a:pt x="213" y="701"/>
                    </a:lnTo>
                    <a:lnTo>
                      <a:pt x="213" y="701"/>
                    </a:lnTo>
                    <a:lnTo>
                      <a:pt x="208" y="701"/>
                    </a:lnTo>
                    <a:lnTo>
                      <a:pt x="208" y="701"/>
                    </a:lnTo>
                    <a:lnTo>
                      <a:pt x="204" y="701"/>
                    </a:lnTo>
                    <a:lnTo>
                      <a:pt x="204" y="701"/>
                    </a:lnTo>
                    <a:lnTo>
                      <a:pt x="204" y="696"/>
                    </a:lnTo>
                    <a:lnTo>
                      <a:pt x="208" y="696"/>
                    </a:lnTo>
                    <a:lnTo>
                      <a:pt x="208" y="696"/>
                    </a:lnTo>
                    <a:lnTo>
                      <a:pt x="213" y="696"/>
                    </a:lnTo>
                    <a:lnTo>
                      <a:pt x="213" y="696"/>
                    </a:lnTo>
                    <a:lnTo>
                      <a:pt x="213" y="696"/>
                    </a:lnTo>
                    <a:lnTo>
                      <a:pt x="213" y="696"/>
                    </a:lnTo>
                    <a:lnTo>
                      <a:pt x="213" y="696"/>
                    </a:lnTo>
                    <a:lnTo>
                      <a:pt x="213" y="696"/>
                    </a:lnTo>
                    <a:lnTo>
                      <a:pt x="213" y="696"/>
                    </a:lnTo>
                    <a:lnTo>
                      <a:pt x="213" y="696"/>
                    </a:lnTo>
                    <a:lnTo>
                      <a:pt x="213" y="696"/>
                    </a:lnTo>
                    <a:moveTo>
                      <a:pt x="258" y="678"/>
                    </a:moveTo>
                    <a:lnTo>
                      <a:pt x="258" y="678"/>
                    </a:lnTo>
                    <a:lnTo>
                      <a:pt x="258" y="678"/>
                    </a:lnTo>
                    <a:lnTo>
                      <a:pt x="262" y="678"/>
                    </a:lnTo>
                    <a:lnTo>
                      <a:pt x="262" y="678"/>
                    </a:lnTo>
                    <a:lnTo>
                      <a:pt x="262" y="678"/>
                    </a:lnTo>
                    <a:lnTo>
                      <a:pt x="262" y="678"/>
                    </a:lnTo>
                    <a:lnTo>
                      <a:pt x="267" y="683"/>
                    </a:lnTo>
                    <a:lnTo>
                      <a:pt x="271" y="687"/>
                    </a:lnTo>
                    <a:lnTo>
                      <a:pt x="271" y="696"/>
                    </a:lnTo>
                    <a:lnTo>
                      <a:pt x="276" y="701"/>
                    </a:lnTo>
                    <a:lnTo>
                      <a:pt x="280" y="705"/>
                    </a:lnTo>
                    <a:lnTo>
                      <a:pt x="280" y="710"/>
                    </a:lnTo>
                    <a:lnTo>
                      <a:pt x="285" y="714"/>
                    </a:lnTo>
                    <a:lnTo>
                      <a:pt x="289" y="719"/>
                    </a:lnTo>
                    <a:lnTo>
                      <a:pt x="285" y="719"/>
                    </a:lnTo>
                    <a:lnTo>
                      <a:pt x="285" y="719"/>
                    </a:lnTo>
                    <a:lnTo>
                      <a:pt x="280" y="719"/>
                    </a:lnTo>
                    <a:lnTo>
                      <a:pt x="276" y="719"/>
                    </a:lnTo>
                    <a:lnTo>
                      <a:pt x="276" y="719"/>
                    </a:lnTo>
                    <a:lnTo>
                      <a:pt x="271" y="719"/>
                    </a:lnTo>
                    <a:lnTo>
                      <a:pt x="271" y="719"/>
                    </a:lnTo>
                    <a:lnTo>
                      <a:pt x="271" y="719"/>
                    </a:lnTo>
                    <a:lnTo>
                      <a:pt x="267" y="719"/>
                    </a:lnTo>
                    <a:lnTo>
                      <a:pt x="267" y="719"/>
                    </a:lnTo>
                    <a:lnTo>
                      <a:pt x="267" y="719"/>
                    </a:lnTo>
                    <a:lnTo>
                      <a:pt x="267" y="719"/>
                    </a:lnTo>
                    <a:lnTo>
                      <a:pt x="267" y="719"/>
                    </a:lnTo>
                    <a:lnTo>
                      <a:pt x="262" y="719"/>
                    </a:lnTo>
                    <a:lnTo>
                      <a:pt x="258" y="719"/>
                    </a:lnTo>
                    <a:lnTo>
                      <a:pt x="253" y="719"/>
                    </a:lnTo>
                    <a:lnTo>
                      <a:pt x="253" y="719"/>
                    </a:lnTo>
                    <a:lnTo>
                      <a:pt x="249" y="719"/>
                    </a:lnTo>
                    <a:lnTo>
                      <a:pt x="244" y="719"/>
                    </a:lnTo>
                    <a:lnTo>
                      <a:pt x="240" y="719"/>
                    </a:lnTo>
                    <a:lnTo>
                      <a:pt x="240" y="714"/>
                    </a:lnTo>
                    <a:lnTo>
                      <a:pt x="240" y="714"/>
                    </a:lnTo>
                    <a:lnTo>
                      <a:pt x="240" y="714"/>
                    </a:lnTo>
                    <a:lnTo>
                      <a:pt x="240" y="714"/>
                    </a:lnTo>
                    <a:lnTo>
                      <a:pt x="240" y="714"/>
                    </a:lnTo>
                    <a:lnTo>
                      <a:pt x="244" y="714"/>
                    </a:lnTo>
                    <a:lnTo>
                      <a:pt x="244" y="714"/>
                    </a:lnTo>
                    <a:lnTo>
                      <a:pt x="244" y="714"/>
                    </a:lnTo>
                    <a:lnTo>
                      <a:pt x="244" y="714"/>
                    </a:lnTo>
                    <a:lnTo>
                      <a:pt x="244" y="714"/>
                    </a:lnTo>
                    <a:lnTo>
                      <a:pt x="249" y="714"/>
                    </a:lnTo>
                    <a:lnTo>
                      <a:pt x="249" y="714"/>
                    </a:lnTo>
                    <a:lnTo>
                      <a:pt x="253" y="714"/>
                    </a:lnTo>
                    <a:lnTo>
                      <a:pt x="253" y="714"/>
                    </a:lnTo>
                    <a:lnTo>
                      <a:pt x="253" y="710"/>
                    </a:lnTo>
                    <a:lnTo>
                      <a:pt x="253" y="710"/>
                    </a:lnTo>
                    <a:lnTo>
                      <a:pt x="253" y="710"/>
                    </a:lnTo>
                    <a:lnTo>
                      <a:pt x="253" y="710"/>
                    </a:lnTo>
                    <a:lnTo>
                      <a:pt x="253" y="714"/>
                    </a:lnTo>
                    <a:lnTo>
                      <a:pt x="258" y="714"/>
                    </a:lnTo>
                    <a:lnTo>
                      <a:pt x="258" y="714"/>
                    </a:lnTo>
                    <a:lnTo>
                      <a:pt x="258" y="714"/>
                    </a:lnTo>
                    <a:lnTo>
                      <a:pt x="262" y="714"/>
                    </a:lnTo>
                    <a:lnTo>
                      <a:pt x="262" y="714"/>
                    </a:lnTo>
                    <a:lnTo>
                      <a:pt x="258" y="710"/>
                    </a:lnTo>
                    <a:lnTo>
                      <a:pt x="258" y="710"/>
                    </a:lnTo>
                    <a:lnTo>
                      <a:pt x="253" y="710"/>
                    </a:lnTo>
                    <a:lnTo>
                      <a:pt x="253" y="710"/>
                    </a:lnTo>
                    <a:lnTo>
                      <a:pt x="249" y="705"/>
                    </a:lnTo>
                    <a:lnTo>
                      <a:pt x="249" y="705"/>
                    </a:lnTo>
                    <a:lnTo>
                      <a:pt x="249" y="701"/>
                    </a:lnTo>
                    <a:lnTo>
                      <a:pt x="249" y="701"/>
                    </a:lnTo>
                    <a:lnTo>
                      <a:pt x="249" y="701"/>
                    </a:lnTo>
                    <a:lnTo>
                      <a:pt x="249" y="696"/>
                    </a:lnTo>
                    <a:lnTo>
                      <a:pt x="249" y="696"/>
                    </a:lnTo>
                    <a:lnTo>
                      <a:pt x="253" y="701"/>
                    </a:lnTo>
                    <a:lnTo>
                      <a:pt x="253" y="705"/>
                    </a:lnTo>
                    <a:lnTo>
                      <a:pt x="253" y="705"/>
                    </a:lnTo>
                    <a:lnTo>
                      <a:pt x="253" y="705"/>
                    </a:lnTo>
                    <a:lnTo>
                      <a:pt x="253" y="705"/>
                    </a:lnTo>
                    <a:lnTo>
                      <a:pt x="258" y="710"/>
                    </a:lnTo>
                    <a:lnTo>
                      <a:pt x="258" y="710"/>
                    </a:lnTo>
                    <a:lnTo>
                      <a:pt x="262" y="710"/>
                    </a:lnTo>
                    <a:lnTo>
                      <a:pt x="262" y="710"/>
                    </a:lnTo>
                    <a:lnTo>
                      <a:pt x="262" y="710"/>
                    </a:lnTo>
                    <a:lnTo>
                      <a:pt x="267" y="710"/>
                    </a:lnTo>
                    <a:lnTo>
                      <a:pt x="267" y="710"/>
                    </a:lnTo>
                    <a:lnTo>
                      <a:pt x="267" y="710"/>
                    </a:lnTo>
                    <a:lnTo>
                      <a:pt x="271" y="710"/>
                    </a:lnTo>
                    <a:lnTo>
                      <a:pt x="271" y="710"/>
                    </a:lnTo>
                    <a:lnTo>
                      <a:pt x="271" y="710"/>
                    </a:lnTo>
                    <a:lnTo>
                      <a:pt x="276" y="714"/>
                    </a:lnTo>
                    <a:lnTo>
                      <a:pt x="276" y="714"/>
                    </a:lnTo>
                    <a:lnTo>
                      <a:pt x="276" y="714"/>
                    </a:lnTo>
                    <a:lnTo>
                      <a:pt x="276" y="714"/>
                    </a:lnTo>
                    <a:lnTo>
                      <a:pt x="276" y="714"/>
                    </a:lnTo>
                    <a:lnTo>
                      <a:pt x="276" y="714"/>
                    </a:lnTo>
                    <a:lnTo>
                      <a:pt x="276" y="710"/>
                    </a:lnTo>
                    <a:lnTo>
                      <a:pt x="276" y="710"/>
                    </a:lnTo>
                    <a:lnTo>
                      <a:pt x="276" y="710"/>
                    </a:lnTo>
                    <a:lnTo>
                      <a:pt x="276" y="710"/>
                    </a:lnTo>
                    <a:lnTo>
                      <a:pt x="262" y="705"/>
                    </a:lnTo>
                    <a:lnTo>
                      <a:pt x="258" y="705"/>
                    </a:lnTo>
                    <a:lnTo>
                      <a:pt x="258" y="701"/>
                    </a:lnTo>
                    <a:lnTo>
                      <a:pt x="253" y="701"/>
                    </a:lnTo>
                    <a:lnTo>
                      <a:pt x="258" y="701"/>
                    </a:lnTo>
                    <a:lnTo>
                      <a:pt x="258" y="696"/>
                    </a:lnTo>
                    <a:lnTo>
                      <a:pt x="258" y="696"/>
                    </a:lnTo>
                    <a:lnTo>
                      <a:pt x="262" y="696"/>
                    </a:lnTo>
                    <a:lnTo>
                      <a:pt x="262" y="692"/>
                    </a:lnTo>
                    <a:lnTo>
                      <a:pt x="262" y="692"/>
                    </a:lnTo>
                    <a:lnTo>
                      <a:pt x="262" y="692"/>
                    </a:lnTo>
                    <a:lnTo>
                      <a:pt x="258" y="692"/>
                    </a:lnTo>
                    <a:lnTo>
                      <a:pt x="258" y="692"/>
                    </a:lnTo>
                    <a:lnTo>
                      <a:pt x="258" y="692"/>
                    </a:lnTo>
                    <a:lnTo>
                      <a:pt x="253" y="692"/>
                    </a:lnTo>
                    <a:lnTo>
                      <a:pt x="253" y="692"/>
                    </a:lnTo>
                    <a:lnTo>
                      <a:pt x="249" y="692"/>
                    </a:lnTo>
                    <a:lnTo>
                      <a:pt x="249" y="692"/>
                    </a:lnTo>
                    <a:lnTo>
                      <a:pt x="249" y="692"/>
                    </a:lnTo>
                    <a:lnTo>
                      <a:pt x="244" y="692"/>
                    </a:lnTo>
                    <a:lnTo>
                      <a:pt x="244" y="687"/>
                    </a:lnTo>
                    <a:lnTo>
                      <a:pt x="244" y="687"/>
                    </a:lnTo>
                    <a:lnTo>
                      <a:pt x="244" y="687"/>
                    </a:lnTo>
                    <a:lnTo>
                      <a:pt x="244" y="687"/>
                    </a:lnTo>
                    <a:lnTo>
                      <a:pt x="244" y="687"/>
                    </a:lnTo>
                    <a:lnTo>
                      <a:pt x="244" y="687"/>
                    </a:lnTo>
                    <a:lnTo>
                      <a:pt x="249" y="683"/>
                    </a:lnTo>
                    <a:lnTo>
                      <a:pt x="249" y="683"/>
                    </a:lnTo>
                    <a:lnTo>
                      <a:pt x="244" y="683"/>
                    </a:lnTo>
                    <a:lnTo>
                      <a:pt x="244" y="683"/>
                    </a:lnTo>
                    <a:lnTo>
                      <a:pt x="244" y="683"/>
                    </a:lnTo>
                    <a:lnTo>
                      <a:pt x="244" y="683"/>
                    </a:lnTo>
                    <a:lnTo>
                      <a:pt x="240" y="683"/>
                    </a:lnTo>
                    <a:lnTo>
                      <a:pt x="240" y="683"/>
                    </a:lnTo>
                    <a:lnTo>
                      <a:pt x="244" y="678"/>
                    </a:lnTo>
                    <a:lnTo>
                      <a:pt x="244" y="683"/>
                    </a:lnTo>
                    <a:lnTo>
                      <a:pt x="249" y="683"/>
                    </a:lnTo>
                    <a:lnTo>
                      <a:pt x="249" y="683"/>
                    </a:lnTo>
                    <a:lnTo>
                      <a:pt x="249" y="683"/>
                    </a:lnTo>
                    <a:lnTo>
                      <a:pt x="249" y="678"/>
                    </a:lnTo>
                    <a:lnTo>
                      <a:pt x="249" y="678"/>
                    </a:lnTo>
                    <a:lnTo>
                      <a:pt x="249" y="678"/>
                    </a:lnTo>
                    <a:lnTo>
                      <a:pt x="249" y="674"/>
                    </a:lnTo>
                    <a:lnTo>
                      <a:pt x="253" y="674"/>
                    </a:lnTo>
                    <a:lnTo>
                      <a:pt x="258" y="678"/>
                    </a:lnTo>
                    <a:moveTo>
                      <a:pt x="167" y="665"/>
                    </a:moveTo>
                    <a:lnTo>
                      <a:pt x="167" y="665"/>
                    </a:lnTo>
                    <a:lnTo>
                      <a:pt x="172" y="669"/>
                    </a:lnTo>
                    <a:lnTo>
                      <a:pt x="172" y="669"/>
                    </a:lnTo>
                    <a:lnTo>
                      <a:pt x="172" y="669"/>
                    </a:lnTo>
                    <a:lnTo>
                      <a:pt x="176" y="669"/>
                    </a:lnTo>
                    <a:lnTo>
                      <a:pt x="176" y="669"/>
                    </a:lnTo>
                    <a:lnTo>
                      <a:pt x="176" y="674"/>
                    </a:lnTo>
                    <a:lnTo>
                      <a:pt x="176" y="674"/>
                    </a:lnTo>
                    <a:lnTo>
                      <a:pt x="176" y="674"/>
                    </a:lnTo>
                    <a:lnTo>
                      <a:pt x="172" y="674"/>
                    </a:lnTo>
                    <a:lnTo>
                      <a:pt x="167" y="669"/>
                    </a:lnTo>
                    <a:lnTo>
                      <a:pt x="167" y="669"/>
                    </a:lnTo>
                    <a:lnTo>
                      <a:pt x="167" y="665"/>
                    </a:lnTo>
                    <a:lnTo>
                      <a:pt x="167" y="665"/>
                    </a:lnTo>
                    <a:lnTo>
                      <a:pt x="167" y="665"/>
                    </a:lnTo>
                    <a:lnTo>
                      <a:pt x="167" y="665"/>
                    </a:lnTo>
                    <a:lnTo>
                      <a:pt x="167" y="665"/>
                    </a:lnTo>
                    <a:moveTo>
                      <a:pt x="145" y="615"/>
                    </a:moveTo>
                    <a:lnTo>
                      <a:pt x="145" y="615"/>
                    </a:lnTo>
                    <a:lnTo>
                      <a:pt x="149" y="619"/>
                    </a:lnTo>
                    <a:lnTo>
                      <a:pt x="149" y="624"/>
                    </a:lnTo>
                    <a:lnTo>
                      <a:pt x="149" y="624"/>
                    </a:lnTo>
                    <a:lnTo>
                      <a:pt x="149" y="624"/>
                    </a:lnTo>
                    <a:lnTo>
                      <a:pt x="149" y="624"/>
                    </a:lnTo>
                    <a:lnTo>
                      <a:pt x="154" y="629"/>
                    </a:lnTo>
                    <a:lnTo>
                      <a:pt x="154" y="629"/>
                    </a:lnTo>
                    <a:lnTo>
                      <a:pt x="154" y="629"/>
                    </a:lnTo>
                    <a:lnTo>
                      <a:pt x="154" y="633"/>
                    </a:lnTo>
                    <a:lnTo>
                      <a:pt x="154" y="633"/>
                    </a:lnTo>
                    <a:lnTo>
                      <a:pt x="154" y="633"/>
                    </a:lnTo>
                    <a:lnTo>
                      <a:pt x="154" y="633"/>
                    </a:lnTo>
                    <a:lnTo>
                      <a:pt x="149" y="633"/>
                    </a:lnTo>
                    <a:lnTo>
                      <a:pt x="149" y="633"/>
                    </a:lnTo>
                    <a:lnTo>
                      <a:pt x="149" y="629"/>
                    </a:lnTo>
                    <a:lnTo>
                      <a:pt x="149" y="629"/>
                    </a:lnTo>
                    <a:lnTo>
                      <a:pt x="145" y="629"/>
                    </a:lnTo>
                    <a:lnTo>
                      <a:pt x="145" y="629"/>
                    </a:lnTo>
                    <a:lnTo>
                      <a:pt x="145" y="624"/>
                    </a:lnTo>
                    <a:lnTo>
                      <a:pt x="145" y="624"/>
                    </a:lnTo>
                    <a:lnTo>
                      <a:pt x="145" y="624"/>
                    </a:lnTo>
                    <a:lnTo>
                      <a:pt x="145" y="624"/>
                    </a:lnTo>
                    <a:lnTo>
                      <a:pt x="145" y="624"/>
                    </a:lnTo>
                    <a:lnTo>
                      <a:pt x="145" y="624"/>
                    </a:lnTo>
                    <a:lnTo>
                      <a:pt x="145" y="619"/>
                    </a:lnTo>
                    <a:lnTo>
                      <a:pt x="145" y="619"/>
                    </a:lnTo>
                    <a:lnTo>
                      <a:pt x="145" y="624"/>
                    </a:lnTo>
                    <a:lnTo>
                      <a:pt x="145" y="624"/>
                    </a:lnTo>
                    <a:lnTo>
                      <a:pt x="145" y="624"/>
                    </a:lnTo>
                    <a:lnTo>
                      <a:pt x="145" y="629"/>
                    </a:lnTo>
                    <a:lnTo>
                      <a:pt x="145" y="629"/>
                    </a:lnTo>
                    <a:lnTo>
                      <a:pt x="145" y="629"/>
                    </a:lnTo>
                    <a:lnTo>
                      <a:pt x="145" y="629"/>
                    </a:lnTo>
                    <a:lnTo>
                      <a:pt x="140" y="629"/>
                    </a:lnTo>
                    <a:lnTo>
                      <a:pt x="140" y="629"/>
                    </a:lnTo>
                    <a:lnTo>
                      <a:pt x="136" y="629"/>
                    </a:lnTo>
                    <a:lnTo>
                      <a:pt x="136" y="629"/>
                    </a:lnTo>
                    <a:lnTo>
                      <a:pt x="136" y="624"/>
                    </a:lnTo>
                    <a:lnTo>
                      <a:pt x="140" y="624"/>
                    </a:lnTo>
                    <a:lnTo>
                      <a:pt x="136" y="624"/>
                    </a:lnTo>
                    <a:lnTo>
                      <a:pt x="136" y="624"/>
                    </a:lnTo>
                    <a:lnTo>
                      <a:pt x="136" y="624"/>
                    </a:lnTo>
                    <a:lnTo>
                      <a:pt x="136" y="619"/>
                    </a:lnTo>
                    <a:lnTo>
                      <a:pt x="136" y="619"/>
                    </a:lnTo>
                    <a:lnTo>
                      <a:pt x="136" y="619"/>
                    </a:lnTo>
                    <a:lnTo>
                      <a:pt x="136" y="619"/>
                    </a:lnTo>
                    <a:lnTo>
                      <a:pt x="136" y="619"/>
                    </a:lnTo>
                    <a:lnTo>
                      <a:pt x="140" y="619"/>
                    </a:lnTo>
                    <a:lnTo>
                      <a:pt x="136" y="619"/>
                    </a:lnTo>
                    <a:lnTo>
                      <a:pt x="136" y="615"/>
                    </a:lnTo>
                    <a:lnTo>
                      <a:pt x="136" y="615"/>
                    </a:lnTo>
                    <a:lnTo>
                      <a:pt x="136" y="615"/>
                    </a:lnTo>
                    <a:lnTo>
                      <a:pt x="136" y="615"/>
                    </a:lnTo>
                    <a:lnTo>
                      <a:pt x="136" y="610"/>
                    </a:lnTo>
                    <a:lnTo>
                      <a:pt x="136" y="610"/>
                    </a:lnTo>
                    <a:lnTo>
                      <a:pt x="136" y="610"/>
                    </a:lnTo>
                    <a:lnTo>
                      <a:pt x="136" y="610"/>
                    </a:lnTo>
                    <a:lnTo>
                      <a:pt x="136" y="606"/>
                    </a:lnTo>
                    <a:lnTo>
                      <a:pt x="136" y="606"/>
                    </a:lnTo>
                    <a:lnTo>
                      <a:pt x="140" y="610"/>
                    </a:lnTo>
                    <a:lnTo>
                      <a:pt x="140" y="610"/>
                    </a:lnTo>
                    <a:lnTo>
                      <a:pt x="140" y="610"/>
                    </a:lnTo>
                    <a:lnTo>
                      <a:pt x="140" y="610"/>
                    </a:lnTo>
                    <a:lnTo>
                      <a:pt x="145" y="615"/>
                    </a:lnTo>
                    <a:moveTo>
                      <a:pt x="127" y="610"/>
                    </a:moveTo>
                    <a:lnTo>
                      <a:pt x="127" y="610"/>
                    </a:lnTo>
                    <a:lnTo>
                      <a:pt x="127" y="610"/>
                    </a:lnTo>
                    <a:lnTo>
                      <a:pt x="122" y="606"/>
                    </a:lnTo>
                    <a:lnTo>
                      <a:pt x="122" y="601"/>
                    </a:lnTo>
                    <a:lnTo>
                      <a:pt x="122" y="601"/>
                    </a:lnTo>
                    <a:lnTo>
                      <a:pt x="122" y="597"/>
                    </a:lnTo>
                    <a:lnTo>
                      <a:pt x="118" y="597"/>
                    </a:lnTo>
                    <a:lnTo>
                      <a:pt x="118" y="597"/>
                    </a:lnTo>
                    <a:lnTo>
                      <a:pt x="122" y="597"/>
                    </a:lnTo>
                    <a:lnTo>
                      <a:pt x="122" y="597"/>
                    </a:lnTo>
                    <a:lnTo>
                      <a:pt x="127" y="601"/>
                    </a:lnTo>
                    <a:lnTo>
                      <a:pt x="127" y="601"/>
                    </a:lnTo>
                    <a:lnTo>
                      <a:pt x="131" y="606"/>
                    </a:lnTo>
                    <a:lnTo>
                      <a:pt x="131" y="606"/>
                    </a:lnTo>
                    <a:lnTo>
                      <a:pt x="127" y="610"/>
                    </a:lnTo>
                    <a:lnTo>
                      <a:pt x="127" y="610"/>
                    </a:lnTo>
                    <a:moveTo>
                      <a:pt x="140" y="606"/>
                    </a:moveTo>
                    <a:lnTo>
                      <a:pt x="140" y="606"/>
                    </a:lnTo>
                    <a:lnTo>
                      <a:pt x="140" y="606"/>
                    </a:lnTo>
                    <a:lnTo>
                      <a:pt x="136" y="606"/>
                    </a:lnTo>
                    <a:lnTo>
                      <a:pt x="136" y="606"/>
                    </a:lnTo>
                    <a:lnTo>
                      <a:pt x="131" y="606"/>
                    </a:lnTo>
                    <a:lnTo>
                      <a:pt x="131" y="601"/>
                    </a:lnTo>
                    <a:lnTo>
                      <a:pt x="131" y="601"/>
                    </a:lnTo>
                    <a:lnTo>
                      <a:pt x="127" y="601"/>
                    </a:lnTo>
                    <a:lnTo>
                      <a:pt x="127" y="601"/>
                    </a:lnTo>
                    <a:lnTo>
                      <a:pt x="127" y="597"/>
                    </a:lnTo>
                    <a:lnTo>
                      <a:pt x="122" y="597"/>
                    </a:lnTo>
                    <a:lnTo>
                      <a:pt x="122" y="597"/>
                    </a:lnTo>
                    <a:lnTo>
                      <a:pt x="122" y="592"/>
                    </a:lnTo>
                    <a:lnTo>
                      <a:pt x="127" y="592"/>
                    </a:lnTo>
                    <a:lnTo>
                      <a:pt x="127" y="592"/>
                    </a:lnTo>
                    <a:lnTo>
                      <a:pt x="127" y="592"/>
                    </a:lnTo>
                    <a:lnTo>
                      <a:pt x="131" y="597"/>
                    </a:lnTo>
                    <a:lnTo>
                      <a:pt x="131" y="597"/>
                    </a:lnTo>
                    <a:lnTo>
                      <a:pt x="131" y="597"/>
                    </a:lnTo>
                    <a:lnTo>
                      <a:pt x="131" y="597"/>
                    </a:lnTo>
                    <a:lnTo>
                      <a:pt x="131" y="597"/>
                    </a:lnTo>
                    <a:lnTo>
                      <a:pt x="136" y="601"/>
                    </a:lnTo>
                    <a:lnTo>
                      <a:pt x="136" y="601"/>
                    </a:lnTo>
                    <a:lnTo>
                      <a:pt x="136" y="601"/>
                    </a:lnTo>
                    <a:lnTo>
                      <a:pt x="136" y="601"/>
                    </a:lnTo>
                    <a:lnTo>
                      <a:pt x="136" y="601"/>
                    </a:lnTo>
                    <a:lnTo>
                      <a:pt x="140" y="606"/>
                    </a:lnTo>
                    <a:moveTo>
                      <a:pt x="127" y="534"/>
                    </a:moveTo>
                    <a:lnTo>
                      <a:pt x="127" y="534"/>
                    </a:lnTo>
                    <a:lnTo>
                      <a:pt x="122" y="534"/>
                    </a:lnTo>
                    <a:lnTo>
                      <a:pt x="118" y="534"/>
                    </a:lnTo>
                    <a:lnTo>
                      <a:pt x="118" y="534"/>
                    </a:lnTo>
                    <a:lnTo>
                      <a:pt x="118" y="529"/>
                    </a:lnTo>
                    <a:lnTo>
                      <a:pt x="118" y="529"/>
                    </a:lnTo>
                    <a:lnTo>
                      <a:pt x="118" y="529"/>
                    </a:lnTo>
                    <a:lnTo>
                      <a:pt x="118" y="529"/>
                    </a:lnTo>
                    <a:lnTo>
                      <a:pt x="118" y="525"/>
                    </a:lnTo>
                    <a:lnTo>
                      <a:pt x="118" y="525"/>
                    </a:lnTo>
                    <a:lnTo>
                      <a:pt x="118" y="525"/>
                    </a:lnTo>
                    <a:lnTo>
                      <a:pt x="118" y="525"/>
                    </a:lnTo>
                    <a:lnTo>
                      <a:pt x="118" y="525"/>
                    </a:lnTo>
                    <a:lnTo>
                      <a:pt x="122" y="525"/>
                    </a:lnTo>
                    <a:lnTo>
                      <a:pt x="122" y="525"/>
                    </a:lnTo>
                    <a:lnTo>
                      <a:pt x="127" y="525"/>
                    </a:lnTo>
                    <a:lnTo>
                      <a:pt x="127" y="529"/>
                    </a:lnTo>
                    <a:lnTo>
                      <a:pt x="127" y="529"/>
                    </a:lnTo>
                    <a:lnTo>
                      <a:pt x="127" y="529"/>
                    </a:lnTo>
                    <a:lnTo>
                      <a:pt x="127" y="534"/>
                    </a:lnTo>
                    <a:moveTo>
                      <a:pt x="109" y="525"/>
                    </a:moveTo>
                    <a:lnTo>
                      <a:pt x="109" y="525"/>
                    </a:lnTo>
                    <a:lnTo>
                      <a:pt x="109" y="525"/>
                    </a:lnTo>
                    <a:lnTo>
                      <a:pt x="109" y="525"/>
                    </a:lnTo>
                    <a:lnTo>
                      <a:pt x="109" y="529"/>
                    </a:lnTo>
                    <a:lnTo>
                      <a:pt x="109" y="529"/>
                    </a:lnTo>
                    <a:lnTo>
                      <a:pt x="109" y="529"/>
                    </a:lnTo>
                    <a:lnTo>
                      <a:pt x="109" y="529"/>
                    </a:lnTo>
                    <a:lnTo>
                      <a:pt x="113" y="534"/>
                    </a:lnTo>
                    <a:lnTo>
                      <a:pt x="113" y="534"/>
                    </a:lnTo>
                    <a:lnTo>
                      <a:pt x="113" y="534"/>
                    </a:lnTo>
                    <a:lnTo>
                      <a:pt x="113" y="538"/>
                    </a:lnTo>
                    <a:lnTo>
                      <a:pt x="113" y="538"/>
                    </a:lnTo>
                    <a:lnTo>
                      <a:pt x="118" y="538"/>
                    </a:lnTo>
                    <a:lnTo>
                      <a:pt x="118" y="538"/>
                    </a:lnTo>
                    <a:lnTo>
                      <a:pt x="118" y="538"/>
                    </a:lnTo>
                    <a:lnTo>
                      <a:pt x="118" y="543"/>
                    </a:lnTo>
                    <a:lnTo>
                      <a:pt x="118" y="543"/>
                    </a:lnTo>
                    <a:lnTo>
                      <a:pt x="118" y="543"/>
                    </a:lnTo>
                    <a:lnTo>
                      <a:pt x="118" y="543"/>
                    </a:lnTo>
                    <a:lnTo>
                      <a:pt x="118" y="543"/>
                    </a:lnTo>
                    <a:lnTo>
                      <a:pt x="113" y="543"/>
                    </a:lnTo>
                    <a:lnTo>
                      <a:pt x="113" y="543"/>
                    </a:lnTo>
                    <a:lnTo>
                      <a:pt x="113" y="543"/>
                    </a:lnTo>
                    <a:lnTo>
                      <a:pt x="109" y="538"/>
                    </a:lnTo>
                    <a:lnTo>
                      <a:pt x="109" y="538"/>
                    </a:lnTo>
                    <a:lnTo>
                      <a:pt x="104" y="534"/>
                    </a:lnTo>
                    <a:lnTo>
                      <a:pt x="104" y="534"/>
                    </a:lnTo>
                    <a:lnTo>
                      <a:pt x="104" y="534"/>
                    </a:lnTo>
                    <a:lnTo>
                      <a:pt x="100" y="529"/>
                    </a:lnTo>
                    <a:lnTo>
                      <a:pt x="100" y="529"/>
                    </a:lnTo>
                    <a:lnTo>
                      <a:pt x="100" y="529"/>
                    </a:lnTo>
                    <a:lnTo>
                      <a:pt x="100" y="525"/>
                    </a:lnTo>
                    <a:lnTo>
                      <a:pt x="100" y="525"/>
                    </a:lnTo>
                    <a:lnTo>
                      <a:pt x="104" y="525"/>
                    </a:lnTo>
                    <a:lnTo>
                      <a:pt x="104" y="525"/>
                    </a:lnTo>
                    <a:lnTo>
                      <a:pt x="104" y="525"/>
                    </a:lnTo>
                    <a:lnTo>
                      <a:pt x="104" y="525"/>
                    </a:lnTo>
                    <a:lnTo>
                      <a:pt x="104" y="520"/>
                    </a:lnTo>
                    <a:lnTo>
                      <a:pt x="104" y="520"/>
                    </a:lnTo>
                    <a:lnTo>
                      <a:pt x="104" y="520"/>
                    </a:lnTo>
                    <a:lnTo>
                      <a:pt x="104" y="520"/>
                    </a:lnTo>
                    <a:lnTo>
                      <a:pt x="109" y="520"/>
                    </a:lnTo>
                    <a:lnTo>
                      <a:pt x="109" y="525"/>
                    </a:lnTo>
                    <a:lnTo>
                      <a:pt x="109" y="525"/>
                    </a:lnTo>
                    <a:lnTo>
                      <a:pt x="109" y="525"/>
                    </a:lnTo>
                    <a:moveTo>
                      <a:pt x="100" y="506"/>
                    </a:moveTo>
                    <a:lnTo>
                      <a:pt x="100" y="506"/>
                    </a:lnTo>
                    <a:lnTo>
                      <a:pt x="100" y="506"/>
                    </a:lnTo>
                    <a:lnTo>
                      <a:pt x="100" y="506"/>
                    </a:lnTo>
                    <a:lnTo>
                      <a:pt x="95" y="506"/>
                    </a:lnTo>
                    <a:lnTo>
                      <a:pt x="95" y="506"/>
                    </a:lnTo>
                    <a:lnTo>
                      <a:pt x="95" y="506"/>
                    </a:lnTo>
                    <a:lnTo>
                      <a:pt x="91" y="502"/>
                    </a:lnTo>
                    <a:lnTo>
                      <a:pt x="91" y="502"/>
                    </a:lnTo>
                    <a:lnTo>
                      <a:pt x="91" y="502"/>
                    </a:lnTo>
                    <a:lnTo>
                      <a:pt x="91" y="502"/>
                    </a:lnTo>
                    <a:lnTo>
                      <a:pt x="91" y="497"/>
                    </a:lnTo>
                    <a:lnTo>
                      <a:pt x="86" y="493"/>
                    </a:lnTo>
                    <a:lnTo>
                      <a:pt x="86" y="488"/>
                    </a:lnTo>
                    <a:lnTo>
                      <a:pt x="86" y="488"/>
                    </a:lnTo>
                    <a:lnTo>
                      <a:pt x="86" y="488"/>
                    </a:lnTo>
                    <a:lnTo>
                      <a:pt x="86" y="484"/>
                    </a:lnTo>
                    <a:lnTo>
                      <a:pt x="86" y="484"/>
                    </a:lnTo>
                    <a:lnTo>
                      <a:pt x="86" y="484"/>
                    </a:lnTo>
                    <a:lnTo>
                      <a:pt x="86" y="479"/>
                    </a:lnTo>
                    <a:lnTo>
                      <a:pt x="86" y="479"/>
                    </a:lnTo>
                    <a:lnTo>
                      <a:pt x="86" y="479"/>
                    </a:lnTo>
                    <a:lnTo>
                      <a:pt x="82" y="479"/>
                    </a:lnTo>
                    <a:lnTo>
                      <a:pt x="82" y="475"/>
                    </a:lnTo>
                    <a:lnTo>
                      <a:pt x="82" y="475"/>
                    </a:lnTo>
                    <a:lnTo>
                      <a:pt x="82" y="475"/>
                    </a:lnTo>
                    <a:lnTo>
                      <a:pt x="86" y="475"/>
                    </a:lnTo>
                    <a:lnTo>
                      <a:pt x="91" y="475"/>
                    </a:lnTo>
                    <a:lnTo>
                      <a:pt x="91" y="479"/>
                    </a:lnTo>
                    <a:lnTo>
                      <a:pt x="95" y="479"/>
                    </a:lnTo>
                    <a:lnTo>
                      <a:pt x="95" y="484"/>
                    </a:lnTo>
                    <a:lnTo>
                      <a:pt x="95" y="484"/>
                    </a:lnTo>
                    <a:lnTo>
                      <a:pt x="95" y="484"/>
                    </a:lnTo>
                    <a:lnTo>
                      <a:pt x="95" y="484"/>
                    </a:lnTo>
                    <a:lnTo>
                      <a:pt x="95" y="488"/>
                    </a:lnTo>
                    <a:lnTo>
                      <a:pt x="95" y="488"/>
                    </a:lnTo>
                    <a:lnTo>
                      <a:pt x="95" y="488"/>
                    </a:lnTo>
                    <a:lnTo>
                      <a:pt x="95" y="488"/>
                    </a:lnTo>
                    <a:lnTo>
                      <a:pt x="95" y="488"/>
                    </a:lnTo>
                    <a:lnTo>
                      <a:pt x="95" y="488"/>
                    </a:lnTo>
                    <a:lnTo>
                      <a:pt x="95" y="488"/>
                    </a:lnTo>
                    <a:lnTo>
                      <a:pt x="95" y="493"/>
                    </a:lnTo>
                    <a:lnTo>
                      <a:pt x="95" y="493"/>
                    </a:lnTo>
                    <a:lnTo>
                      <a:pt x="100" y="493"/>
                    </a:lnTo>
                    <a:lnTo>
                      <a:pt x="100" y="493"/>
                    </a:lnTo>
                    <a:lnTo>
                      <a:pt x="100" y="497"/>
                    </a:lnTo>
                    <a:lnTo>
                      <a:pt x="100" y="497"/>
                    </a:lnTo>
                    <a:lnTo>
                      <a:pt x="100" y="497"/>
                    </a:lnTo>
                    <a:lnTo>
                      <a:pt x="100" y="502"/>
                    </a:lnTo>
                    <a:lnTo>
                      <a:pt x="100" y="502"/>
                    </a:lnTo>
                    <a:lnTo>
                      <a:pt x="100" y="502"/>
                    </a:lnTo>
                    <a:lnTo>
                      <a:pt x="100" y="506"/>
                    </a:lnTo>
                    <a:moveTo>
                      <a:pt x="64" y="104"/>
                    </a:moveTo>
                    <a:lnTo>
                      <a:pt x="64" y="104"/>
                    </a:lnTo>
                    <a:lnTo>
                      <a:pt x="68" y="104"/>
                    </a:lnTo>
                    <a:lnTo>
                      <a:pt x="73" y="104"/>
                    </a:lnTo>
                    <a:lnTo>
                      <a:pt x="73" y="104"/>
                    </a:lnTo>
                    <a:lnTo>
                      <a:pt x="77" y="109"/>
                    </a:lnTo>
                    <a:lnTo>
                      <a:pt x="77" y="113"/>
                    </a:lnTo>
                    <a:lnTo>
                      <a:pt x="77" y="118"/>
                    </a:lnTo>
                    <a:lnTo>
                      <a:pt x="77" y="127"/>
                    </a:lnTo>
                    <a:lnTo>
                      <a:pt x="77" y="127"/>
                    </a:lnTo>
                    <a:lnTo>
                      <a:pt x="77" y="127"/>
                    </a:lnTo>
                    <a:lnTo>
                      <a:pt x="73" y="131"/>
                    </a:lnTo>
                    <a:lnTo>
                      <a:pt x="68" y="131"/>
                    </a:lnTo>
                    <a:lnTo>
                      <a:pt x="64" y="131"/>
                    </a:lnTo>
                    <a:lnTo>
                      <a:pt x="64" y="136"/>
                    </a:lnTo>
                    <a:lnTo>
                      <a:pt x="64" y="136"/>
                    </a:lnTo>
                    <a:lnTo>
                      <a:pt x="59" y="136"/>
                    </a:lnTo>
                    <a:lnTo>
                      <a:pt x="59" y="140"/>
                    </a:lnTo>
                    <a:lnTo>
                      <a:pt x="59" y="140"/>
                    </a:lnTo>
                    <a:lnTo>
                      <a:pt x="59" y="140"/>
                    </a:lnTo>
                    <a:lnTo>
                      <a:pt x="59" y="140"/>
                    </a:lnTo>
                    <a:lnTo>
                      <a:pt x="59" y="145"/>
                    </a:lnTo>
                    <a:lnTo>
                      <a:pt x="59" y="145"/>
                    </a:lnTo>
                    <a:lnTo>
                      <a:pt x="59" y="145"/>
                    </a:lnTo>
                    <a:lnTo>
                      <a:pt x="64" y="145"/>
                    </a:lnTo>
                    <a:lnTo>
                      <a:pt x="64" y="149"/>
                    </a:lnTo>
                    <a:lnTo>
                      <a:pt x="64" y="149"/>
                    </a:lnTo>
                    <a:lnTo>
                      <a:pt x="64" y="149"/>
                    </a:lnTo>
                    <a:lnTo>
                      <a:pt x="64" y="149"/>
                    </a:lnTo>
                    <a:lnTo>
                      <a:pt x="64" y="149"/>
                    </a:lnTo>
                    <a:lnTo>
                      <a:pt x="59" y="149"/>
                    </a:lnTo>
                    <a:lnTo>
                      <a:pt x="59" y="154"/>
                    </a:lnTo>
                    <a:lnTo>
                      <a:pt x="64" y="158"/>
                    </a:lnTo>
                    <a:lnTo>
                      <a:pt x="64" y="158"/>
                    </a:lnTo>
                    <a:lnTo>
                      <a:pt x="64" y="163"/>
                    </a:lnTo>
                    <a:lnTo>
                      <a:pt x="68" y="167"/>
                    </a:lnTo>
                    <a:lnTo>
                      <a:pt x="68" y="167"/>
                    </a:lnTo>
                    <a:lnTo>
                      <a:pt x="68" y="172"/>
                    </a:lnTo>
                    <a:lnTo>
                      <a:pt x="68" y="172"/>
                    </a:lnTo>
                    <a:lnTo>
                      <a:pt x="68" y="176"/>
                    </a:lnTo>
                    <a:lnTo>
                      <a:pt x="68" y="176"/>
                    </a:lnTo>
                    <a:lnTo>
                      <a:pt x="68" y="176"/>
                    </a:lnTo>
                    <a:lnTo>
                      <a:pt x="68" y="181"/>
                    </a:lnTo>
                    <a:lnTo>
                      <a:pt x="73" y="181"/>
                    </a:lnTo>
                    <a:lnTo>
                      <a:pt x="73" y="185"/>
                    </a:lnTo>
                    <a:lnTo>
                      <a:pt x="73" y="185"/>
                    </a:lnTo>
                    <a:lnTo>
                      <a:pt x="73" y="185"/>
                    </a:lnTo>
                    <a:lnTo>
                      <a:pt x="73" y="185"/>
                    </a:lnTo>
                    <a:lnTo>
                      <a:pt x="68" y="185"/>
                    </a:lnTo>
                    <a:lnTo>
                      <a:pt x="68" y="190"/>
                    </a:lnTo>
                    <a:lnTo>
                      <a:pt x="68" y="190"/>
                    </a:lnTo>
                    <a:lnTo>
                      <a:pt x="68" y="190"/>
                    </a:lnTo>
                    <a:lnTo>
                      <a:pt x="68" y="190"/>
                    </a:lnTo>
                    <a:lnTo>
                      <a:pt x="64" y="190"/>
                    </a:lnTo>
                    <a:lnTo>
                      <a:pt x="64" y="190"/>
                    </a:lnTo>
                    <a:lnTo>
                      <a:pt x="64" y="194"/>
                    </a:lnTo>
                    <a:lnTo>
                      <a:pt x="64" y="194"/>
                    </a:lnTo>
                    <a:lnTo>
                      <a:pt x="64" y="199"/>
                    </a:lnTo>
                    <a:lnTo>
                      <a:pt x="64" y="199"/>
                    </a:lnTo>
                    <a:lnTo>
                      <a:pt x="64" y="204"/>
                    </a:lnTo>
                    <a:lnTo>
                      <a:pt x="64" y="204"/>
                    </a:lnTo>
                    <a:lnTo>
                      <a:pt x="64" y="204"/>
                    </a:lnTo>
                    <a:lnTo>
                      <a:pt x="64" y="208"/>
                    </a:lnTo>
                    <a:lnTo>
                      <a:pt x="64" y="208"/>
                    </a:lnTo>
                    <a:lnTo>
                      <a:pt x="59" y="208"/>
                    </a:lnTo>
                    <a:lnTo>
                      <a:pt x="59" y="208"/>
                    </a:lnTo>
                    <a:lnTo>
                      <a:pt x="59" y="213"/>
                    </a:lnTo>
                    <a:lnTo>
                      <a:pt x="59" y="213"/>
                    </a:lnTo>
                    <a:lnTo>
                      <a:pt x="59" y="217"/>
                    </a:lnTo>
                    <a:lnTo>
                      <a:pt x="59" y="217"/>
                    </a:lnTo>
                    <a:lnTo>
                      <a:pt x="59" y="222"/>
                    </a:lnTo>
                    <a:lnTo>
                      <a:pt x="59" y="226"/>
                    </a:lnTo>
                    <a:lnTo>
                      <a:pt x="59" y="226"/>
                    </a:lnTo>
                    <a:lnTo>
                      <a:pt x="59" y="226"/>
                    </a:lnTo>
                    <a:lnTo>
                      <a:pt x="59" y="231"/>
                    </a:lnTo>
                    <a:lnTo>
                      <a:pt x="59" y="231"/>
                    </a:lnTo>
                    <a:lnTo>
                      <a:pt x="59" y="235"/>
                    </a:lnTo>
                    <a:lnTo>
                      <a:pt x="64" y="240"/>
                    </a:lnTo>
                    <a:lnTo>
                      <a:pt x="64" y="244"/>
                    </a:lnTo>
                    <a:lnTo>
                      <a:pt x="64" y="244"/>
                    </a:lnTo>
                    <a:lnTo>
                      <a:pt x="64" y="244"/>
                    </a:lnTo>
                    <a:lnTo>
                      <a:pt x="64" y="249"/>
                    </a:lnTo>
                    <a:lnTo>
                      <a:pt x="64" y="249"/>
                    </a:lnTo>
                    <a:lnTo>
                      <a:pt x="64" y="249"/>
                    </a:lnTo>
                    <a:lnTo>
                      <a:pt x="64" y="249"/>
                    </a:lnTo>
                    <a:lnTo>
                      <a:pt x="64" y="249"/>
                    </a:lnTo>
                    <a:lnTo>
                      <a:pt x="64" y="253"/>
                    </a:lnTo>
                    <a:lnTo>
                      <a:pt x="64" y="253"/>
                    </a:lnTo>
                    <a:lnTo>
                      <a:pt x="64" y="253"/>
                    </a:lnTo>
                    <a:lnTo>
                      <a:pt x="64" y="253"/>
                    </a:lnTo>
                    <a:lnTo>
                      <a:pt x="64" y="253"/>
                    </a:lnTo>
                    <a:lnTo>
                      <a:pt x="64" y="253"/>
                    </a:lnTo>
                    <a:lnTo>
                      <a:pt x="64" y="258"/>
                    </a:lnTo>
                    <a:lnTo>
                      <a:pt x="64" y="262"/>
                    </a:lnTo>
                    <a:lnTo>
                      <a:pt x="64" y="262"/>
                    </a:lnTo>
                    <a:lnTo>
                      <a:pt x="64" y="262"/>
                    </a:lnTo>
                    <a:lnTo>
                      <a:pt x="64" y="262"/>
                    </a:lnTo>
                    <a:lnTo>
                      <a:pt x="64" y="267"/>
                    </a:lnTo>
                    <a:lnTo>
                      <a:pt x="64" y="267"/>
                    </a:lnTo>
                    <a:lnTo>
                      <a:pt x="64" y="267"/>
                    </a:lnTo>
                    <a:lnTo>
                      <a:pt x="64" y="267"/>
                    </a:lnTo>
                    <a:lnTo>
                      <a:pt x="59" y="267"/>
                    </a:lnTo>
                    <a:lnTo>
                      <a:pt x="59" y="267"/>
                    </a:lnTo>
                    <a:lnTo>
                      <a:pt x="59" y="267"/>
                    </a:lnTo>
                    <a:lnTo>
                      <a:pt x="59" y="271"/>
                    </a:lnTo>
                    <a:lnTo>
                      <a:pt x="59" y="271"/>
                    </a:lnTo>
                    <a:lnTo>
                      <a:pt x="64" y="276"/>
                    </a:lnTo>
                    <a:lnTo>
                      <a:pt x="64" y="276"/>
                    </a:lnTo>
                    <a:lnTo>
                      <a:pt x="64" y="280"/>
                    </a:lnTo>
                    <a:lnTo>
                      <a:pt x="68" y="280"/>
                    </a:lnTo>
                    <a:lnTo>
                      <a:pt x="68" y="280"/>
                    </a:lnTo>
                    <a:lnTo>
                      <a:pt x="68" y="280"/>
                    </a:lnTo>
                    <a:lnTo>
                      <a:pt x="68" y="285"/>
                    </a:lnTo>
                    <a:lnTo>
                      <a:pt x="68" y="285"/>
                    </a:lnTo>
                    <a:lnTo>
                      <a:pt x="68" y="285"/>
                    </a:lnTo>
                    <a:lnTo>
                      <a:pt x="68" y="285"/>
                    </a:lnTo>
                    <a:lnTo>
                      <a:pt x="68" y="285"/>
                    </a:lnTo>
                    <a:lnTo>
                      <a:pt x="68" y="289"/>
                    </a:lnTo>
                    <a:lnTo>
                      <a:pt x="73" y="289"/>
                    </a:lnTo>
                    <a:lnTo>
                      <a:pt x="73" y="294"/>
                    </a:lnTo>
                    <a:lnTo>
                      <a:pt x="73" y="294"/>
                    </a:lnTo>
                    <a:lnTo>
                      <a:pt x="73" y="294"/>
                    </a:lnTo>
                    <a:lnTo>
                      <a:pt x="77" y="298"/>
                    </a:lnTo>
                    <a:lnTo>
                      <a:pt x="77" y="298"/>
                    </a:lnTo>
                    <a:lnTo>
                      <a:pt x="77" y="298"/>
                    </a:lnTo>
                    <a:lnTo>
                      <a:pt x="77" y="303"/>
                    </a:lnTo>
                    <a:lnTo>
                      <a:pt x="77" y="303"/>
                    </a:lnTo>
                    <a:lnTo>
                      <a:pt x="77" y="308"/>
                    </a:lnTo>
                    <a:lnTo>
                      <a:pt x="82" y="308"/>
                    </a:lnTo>
                    <a:lnTo>
                      <a:pt x="82" y="308"/>
                    </a:lnTo>
                    <a:lnTo>
                      <a:pt x="82" y="308"/>
                    </a:lnTo>
                    <a:lnTo>
                      <a:pt x="82" y="308"/>
                    </a:lnTo>
                    <a:lnTo>
                      <a:pt x="86" y="308"/>
                    </a:lnTo>
                    <a:lnTo>
                      <a:pt x="86" y="308"/>
                    </a:lnTo>
                    <a:lnTo>
                      <a:pt x="86" y="312"/>
                    </a:lnTo>
                    <a:lnTo>
                      <a:pt x="86" y="312"/>
                    </a:lnTo>
                    <a:lnTo>
                      <a:pt x="86" y="317"/>
                    </a:lnTo>
                    <a:lnTo>
                      <a:pt x="86" y="317"/>
                    </a:lnTo>
                    <a:lnTo>
                      <a:pt x="86" y="321"/>
                    </a:lnTo>
                    <a:lnTo>
                      <a:pt x="91" y="326"/>
                    </a:lnTo>
                    <a:lnTo>
                      <a:pt x="91" y="326"/>
                    </a:lnTo>
                    <a:lnTo>
                      <a:pt x="91" y="326"/>
                    </a:lnTo>
                    <a:lnTo>
                      <a:pt x="91" y="326"/>
                    </a:lnTo>
                    <a:lnTo>
                      <a:pt x="91" y="326"/>
                    </a:lnTo>
                    <a:lnTo>
                      <a:pt x="86" y="326"/>
                    </a:lnTo>
                    <a:lnTo>
                      <a:pt x="86" y="330"/>
                    </a:lnTo>
                    <a:lnTo>
                      <a:pt x="86" y="330"/>
                    </a:lnTo>
                    <a:lnTo>
                      <a:pt x="86" y="330"/>
                    </a:lnTo>
                    <a:lnTo>
                      <a:pt x="86" y="330"/>
                    </a:lnTo>
                    <a:lnTo>
                      <a:pt x="86" y="335"/>
                    </a:lnTo>
                    <a:lnTo>
                      <a:pt x="86" y="335"/>
                    </a:lnTo>
                    <a:lnTo>
                      <a:pt x="86" y="335"/>
                    </a:lnTo>
                    <a:lnTo>
                      <a:pt x="86" y="339"/>
                    </a:lnTo>
                    <a:lnTo>
                      <a:pt x="86" y="339"/>
                    </a:lnTo>
                    <a:lnTo>
                      <a:pt x="86" y="339"/>
                    </a:lnTo>
                    <a:lnTo>
                      <a:pt x="86" y="344"/>
                    </a:lnTo>
                    <a:lnTo>
                      <a:pt x="86" y="344"/>
                    </a:lnTo>
                    <a:lnTo>
                      <a:pt x="86" y="348"/>
                    </a:lnTo>
                    <a:lnTo>
                      <a:pt x="86" y="348"/>
                    </a:lnTo>
                    <a:lnTo>
                      <a:pt x="86" y="348"/>
                    </a:lnTo>
                    <a:lnTo>
                      <a:pt x="86" y="348"/>
                    </a:lnTo>
                    <a:lnTo>
                      <a:pt x="91" y="348"/>
                    </a:lnTo>
                    <a:lnTo>
                      <a:pt x="91" y="353"/>
                    </a:lnTo>
                    <a:lnTo>
                      <a:pt x="91" y="353"/>
                    </a:lnTo>
                    <a:lnTo>
                      <a:pt x="91" y="353"/>
                    </a:lnTo>
                    <a:lnTo>
                      <a:pt x="91" y="357"/>
                    </a:lnTo>
                    <a:lnTo>
                      <a:pt x="91" y="357"/>
                    </a:lnTo>
                    <a:lnTo>
                      <a:pt x="95" y="362"/>
                    </a:lnTo>
                    <a:lnTo>
                      <a:pt x="95" y="362"/>
                    </a:lnTo>
                    <a:lnTo>
                      <a:pt x="95" y="362"/>
                    </a:lnTo>
                    <a:lnTo>
                      <a:pt x="91" y="362"/>
                    </a:lnTo>
                    <a:lnTo>
                      <a:pt x="91" y="366"/>
                    </a:lnTo>
                    <a:lnTo>
                      <a:pt x="91" y="366"/>
                    </a:lnTo>
                    <a:lnTo>
                      <a:pt x="91" y="366"/>
                    </a:lnTo>
                    <a:lnTo>
                      <a:pt x="91" y="371"/>
                    </a:lnTo>
                    <a:lnTo>
                      <a:pt x="91" y="371"/>
                    </a:lnTo>
                    <a:lnTo>
                      <a:pt x="91" y="371"/>
                    </a:lnTo>
                    <a:lnTo>
                      <a:pt x="91" y="371"/>
                    </a:lnTo>
                    <a:lnTo>
                      <a:pt x="86" y="371"/>
                    </a:lnTo>
                    <a:lnTo>
                      <a:pt x="86" y="371"/>
                    </a:lnTo>
                    <a:lnTo>
                      <a:pt x="86" y="371"/>
                    </a:lnTo>
                    <a:lnTo>
                      <a:pt x="86" y="375"/>
                    </a:lnTo>
                    <a:lnTo>
                      <a:pt x="86" y="375"/>
                    </a:lnTo>
                    <a:lnTo>
                      <a:pt x="86" y="375"/>
                    </a:lnTo>
                    <a:lnTo>
                      <a:pt x="86" y="380"/>
                    </a:lnTo>
                    <a:lnTo>
                      <a:pt x="86" y="380"/>
                    </a:lnTo>
                    <a:lnTo>
                      <a:pt x="91" y="380"/>
                    </a:lnTo>
                    <a:lnTo>
                      <a:pt x="91" y="384"/>
                    </a:lnTo>
                    <a:lnTo>
                      <a:pt x="91" y="384"/>
                    </a:lnTo>
                    <a:lnTo>
                      <a:pt x="91" y="389"/>
                    </a:lnTo>
                    <a:lnTo>
                      <a:pt x="91" y="389"/>
                    </a:lnTo>
                    <a:lnTo>
                      <a:pt x="91" y="389"/>
                    </a:lnTo>
                    <a:lnTo>
                      <a:pt x="91" y="393"/>
                    </a:lnTo>
                    <a:lnTo>
                      <a:pt x="95" y="393"/>
                    </a:lnTo>
                    <a:lnTo>
                      <a:pt x="95" y="393"/>
                    </a:lnTo>
                    <a:lnTo>
                      <a:pt x="95" y="398"/>
                    </a:lnTo>
                    <a:lnTo>
                      <a:pt x="100" y="402"/>
                    </a:lnTo>
                    <a:lnTo>
                      <a:pt x="100" y="402"/>
                    </a:lnTo>
                    <a:lnTo>
                      <a:pt x="100" y="407"/>
                    </a:lnTo>
                    <a:lnTo>
                      <a:pt x="104" y="407"/>
                    </a:lnTo>
                    <a:lnTo>
                      <a:pt x="104" y="412"/>
                    </a:lnTo>
                    <a:lnTo>
                      <a:pt x="104" y="412"/>
                    </a:lnTo>
                    <a:lnTo>
                      <a:pt x="104" y="412"/>
                    </a:lnTo>
                    <a:lnTo>
                      <a:pt x="104" y="412"/>
                    </a:lnTo>
                    <a:lnTo>
                      <a:pt x="104" y="416"/>
                    </a:lnTo>
                    <a:lnTo>
                      <a:pt x="104" y="416"/>
                    </a:lnTo>
                    <a:lnTo>
                      <a:pt x="100" y="416"/>
                    </a:lnTo>
                    <a:lnTo>
                      <a:pt x="100" y="416"/>
                    </a:lnTo>
                    <a:lnTo>
                      <a:pt x="100" y="416"/>
                    </a:lnTo>
                    <a:lnTo>
                      <a:pt x="100" y="421"/>
                    </a:lnTo>
                    <a:lnTo>
                      <a:pt x="100" y="421"/>
                    </a:lnTo>
                    <a:lnTo>
                      <a:pt x="100" y="425"/>
                    </a:lnTo>
                    <a:lnTo>
                      <a:pt x="104" y="425"/>
                    </a:lnTo>
                    <a:lnTo>
                      <a:pt x="104" y="430"/>
                    </a:lnTo>
                    <a:lnTo>
                      <a:pt x="104" y="430"/>
                    </a:lnTo>
                    <a:lnTo>
                      <a:pt x="104" y="430"/>
                    </a:lnTo>
                    <a:lnTo>
                      <a:pt x="104" y="430"/>
                    </a:lnTo>
                    <a:lnTo>
                      <a:pt x="104" y="430"/>
                    </a:lnTo>
                    <a:lnTo>
                      <a:pt x="100" y="430"/>
                    </a:lnTo>
                    <a:lnTo>
                      <a:pt x="100" y="430"/>
                    </a:lnTo>
                    <a:lnTo>
                      <a:pt x="100" y="430"/>
                    </a:lnTo>
                    <a:lnTo>
                      <a:pt x="100" y="434"/>
                    </a:lnTo>
                    <a:lnTo>
                      <a:pt x="100" y="434"/>
                    </a:lnTo>
                    <a:lnTo>
                      <a:pt x="104" y="434"/>
                    </a:lnTo>
                    <a:lnTo>
                      <a:pt x="104" y="439"/>
                    </a:lnTo>
                    <a:lnTo>
                      <a:pt x="104" y="439"/>
                    </a:lnTo>
                    <a:lnTo>
                      <a:pt x="104" y="439"/>
                    </a:lnTo>
                    <a:lnTo>
                      <a:pt x="104" y="439"/>
                    </a:lnTo>
                    <a:lnTo>
                      <a:pt x="104" y="439"/>
                    </a:lnTo>
                    <a:lnTo>
                      <a:pt x="104" y="443"/>
                    </a:lnTo>
                    <a:lnTo>
                      <a:pt x="104" y="443"/>
                    </a:lnTo>
                    <a:lnTo>
                      <a:pt x="104" y="443"/>
                    </a:lnTo>
                    <a:lnTo>
                      <a:pt x="104" y="443"/>
                    </a:lnTo>
                    <a:lnTo>
                      <a:pt x="104" y="448"/>
                    </a:lnTo>
                    <a:lnTo>
                      <a:pt x="104" y="448"/>
                    </a:lnTo>
                    <a:lnTo>
                      <a:pt x="104" y="448"/>
                    </a:lnTo>
                    <a:lnTo>
                      <a:pt x="104" y="448"/>
                    </a:lnTo>
                    <a:lnTo>
                      <a:pt x="104" y="448"/>
                    </a:lnTo>
                    <a:lnTo>
                      <a:pt x="104" y="452"/>
                    </a:lnTo>
                    <a:lnTo>
                      <a:pt x="104" y="452"/>
                    </a:lnTo>
                    <a:lnTo>
                      <a:pt x="104" y="452"/>
                    </a:lnTo>
                    <a:lnTo>
                      <a:pt x="109" y="457"/>
                    </a:lnTo>
                    <a:lnTo>
                      <a:pt x="109" y="457"/>
                    </a:lnTo>
                    <a:lnTo>
                      <a:pt x="109" y="466"/>
                    </a:lnTo>
                    <a:lnTo>
                      <a:pt x="113" y="466"/>
                    </a:lnTo>
                    <a:lnTo>
                      <a:pt x="113" y="470"/>
                    </a:lnTo>
                    <a:lnTo>
                      <a:pt x="113" y="470"/>
                    </a:lnTo>
                    <a:lnTo>
                      <a:pt x="113" y="470"/>
                    </a:lnTo>
                    <a:lnTo>
                      <a:pt x="118" y="475"/>
                    </a:lnTo>
                    <a:lnTo>
                      <a:pt x="118" y="475"/>
                    </a:lnTo>
                    <a:lnTo>
                      <a:pt x="118" y="479"/>
                    </a:lnTo>
                    <a:lnTo>
                      <a:pt x="118" y="479"/>
                    </a:lnTo>
                    <a:lnTo>
                      <a:pt x="118" y="479"/>
                    </a:lnTo>
                    <a:lnTo>
                      <a:pt x="118" y="479"/>
                    </a:lnTo>
                    <a:lnTo>
                      <a:pt x="118" y="479"/>
                    </a:lnTo>
                    <a:lnTo>
                      <a:pt x="118" y="479"/>
                    </a:lnTo>
                    <a:lnTo>
                      <a:pt x="118" y="484"/>
                    </a:lnTo>
                    <a:lnTo>
                      <a:pt x="118" y="484"/>
                    </a:lnTo>
                    <a:lnTo>
                      <a:pt x="118" y="484"/>
                    </a:lnTo>
                    <a:lnTo>
                      <a:pt x="118" y="484"/>
                    </a:lnTo>
                    <a:lnTo>
                      <a:pt x="118" y="488"/>
                    </a:lnTo>
                    <a:lnTo>
                      <a:pt x="118" y="488"/>
                    </a:lnTo>
                    <a:lnTo>
                      <a:pt x="118" y="488"/>
                    </a:lnTo>
                    <a:lnTo>
                      <a:pt x="118" y="488"/>
                    </a:lnTo>
                    <a:lnTo>
                      <a:pt x="122" y="493"/>
                    </a:lnTo>
                    <a:lnTo>
                      <a:pt x="122" y="497"/>
                    </a:lnTo>
                    <a:lnTo>
                      <a:pt x="122" y="497"/>
                    </a:lnTo>
                    <a:lnTo>
                      <a:pt x="122" y="497"/>
                    </a:lnTo>
                    <a:lnTo>
                      <a:pt x="127" y="497"/>
                    </a:lnTo>
                    <a:lnTo>
                      <a:pt x="127" y="502"/>
                    </a:lnTo>
                    <a:lnTo>
                      <a:pt x="131" y="502"/>
                    </a:lnTo>
                    <a:lnTo>
                      <a:pt x="131" y="502"/>
                    </a:lnTo>
                    <a:lnTo>
                      <a:pt x="131" y="502"/>
                    </a:lnTo>
                    <a:lnTo>
                      <a:pt x="127" y="502"/>
                    </a:lnTo>
                    <a:lnTo>
                      <a:pt x="127" y="506"/>
                    </a:lnTo>
                    <a:lnTo>
                      <a:pt x="131" y="506"/>
                    </a:lnTo>
                    <a:lnTo>
                      <a:pt x="131" y="506"/>
                    </a:lnTo>
                    <a:lnTo>
                      <a:pt x="131" y="511"/>
                    </a:lnTo>
                    <a:lnTo>
                      <a:pt x="136" y="511"/>
                    </a:lnTo>
                    <a:lnTo>
                      <a:pt x="131" y="511"/>
                    </a:lnTo>
                    <a:lnTo>
                      <a:pt x="136" y="511"/>
                    </a:lnTo>
                    <a:lnTo>
                      <a:pt x="136" y="515"/>
                    </a:lnTo>
                    <a:lnTo>
                      <a:pt x="136" y="515"/>
                    </a:lnTo>
                    <a:lnTo>
                      <a:pt x="136" y="515"/>
                    </a:lnTo>
                    <a:lnTo>
                      <a:pt x="136" y="520"/>
                    </a:lnTo>
                    <a:lnTo>
                      <a:pt x="136" y="520"/>
                    </a:lnTo>
                    <a:lnTo>
                      <a:pt x="136" y="520"/>
                    </a:lnTo>
                    <a:lnTo>
                      <a:pt x="136" y="520"/>
                    </a:lnTo>
                    <a:lnTo>
                      <a:pt x="140" y="525"/>
                    </a:lnTo>
                    <a:lnTo>
                      <a:pt x="145" y="525"/>
                    </a:lnTo>
                    <a:lnTo>
                      <a:pt x="149" y="525"/>
                    </a:lnTo>
                    <a:lnTo>
                      <a:pt x="149" y="525"/>
                    </a:lnTo>
                    <a:lnTo>
                      <a:pt x="149" y="525"/>
                    </a:lnTo>
                    <a:lnTo>
                      <a:pt x="149" y="529"/>
                    </a:lnTo>
                    <a:lnTo>
                      <a:pt x="149" y="529"/>
                    </a:lnTo>
                    <a:lnTo>
                      <a:pt x="149" y="529"/>
                    </a:lnTo>
                    <a:lnTo>
                      <a:pt x="149" y="529"/>
                    </a:lnTo>
                    <a:lnTo>
                      <a:pt x="145" y="529"/>
                    </a:lnTo>
                    <a:lnTo>
                      <a:pt x="145" y="529"/>
                    </a:lnTo>
                    <a:lnTo>
                      <a:pt x="145" y="529"/>
                    </a:lnTo>
                    <a:lnTo>
                      <a:pt x="140" y="529"/>
                    </a:lnTo>
                    <a:lnTo>
                      <a:pt x="140" y="529"/>
                    </a:lnTo>
                    <a:lnTo>
                      <a:pt x="140" y="534"/>
                    </a:lnTo>
                    <a:lnTo>
                      <a:pt x="140" y="534"/>
                    </a:lnTo>
                    <a:lnTo>
                      <a:pt x="145" y="534"/>
                    </a:lnTo>
                    <a:lnTo>
                      <a:pt x="149" y="534"/>
                    </a:lnTo>
                    <a:lnTo>
                      <a:pt x="149" y="538"/>
                    </a:lnTo>
                    <a:lnTo>
                      <a:pt x="149" y="538"/>
                    </a:lnTo>
                    <a:lnTo>
                      <a:pt x="154" y="538"/>
                    </a:lnTo>
                    <a:lnTo>
                      <a:pt x="154" y="543"/>
                    </a:lnTo>
                    <a:lnTo>
                      <a:pt x="154" y="543"/>
                    </a:lnTo>
                    <a:lnTo>
                      <a:pt x="154" y="543"/>
                    </a:lnTo>
                    <a:lnTo>
                      <a:pt x="149" y="547"/>
                    </a:lnTo>
                    <a:lnTo>
                      <a:pt x="149" y="547"/>
                    </a:lnTo>
                    <a:lnTo>
                      <a:pt x="149" y="547"/>
                    </a:lnTo>
                    <a:lnTo>
                      <a:pt x="154" y="552"/>
                    </a:lnTo>
                    <a:lnTo>
                      <a:pt x="154" y="552"/>
                    </a:lnTo>
                    <a:lnTo>
                      <a:pt x="154" y="552"/>
                    </a:lnTo>
                    <a:lnTo>
                      <a:pt x="154" y="556"/>
                    </a:lnTo>
                    <a:lnTo>
                      <a:pt x="154" y="556"/>
                    </a:lnTo>
                    <a:lnTo>
                      <a:pt x="154" y="556"/>
                    </a:lnTo>
                    <a:lnTo>
                      <a:pt x="154" y="556"/>
                    </a:lnTo>
                    <a:lnTo>
                      <a:pt x="158" y="561"/>
                    </a:lnTo>
                    <a:lnTo>
                      <a:pt x="158" y="561"/>
                    </a:lnTo>
                    <a:lnTo>
                      <a:pt x="158" y="561"/>
                    </a:lnTo>
                    <a:lnTo>
                      <a:pt x="158" y="565"/>
                    </a:lnTo>
                    <a:lnTo>
                      <a:pt x="163" y="565"/>
                    </a:lnTo>
                    <a:lnTo>
                      <a:pt x="163" y="565"/>
                    </a:lnTo>
                    <a:lnTo>
                      <a:pt x="158" y="570"/>
                    </a:lnTo>
                    <a:lnTo>
                      <a:pt x="158" y="570"/>
                    </a:lnTo>
                    <a:lnTo>
                      <a:pt x="158" y="574"/>
                    </a:lnTo>
                    <a:lnTo>
                      <a:pt x="163" y="574"/>
                    </a:lnTo>
                    <a:lnTo>
                      <a:pt x="163" y="574"/>
                    </a:lnTo>
                    <a:lnTo>
                      <a:pt x="163" y="574"/>
                    </a:lnTo>
                    <a:lnTo>
                      <a:pt x="163" y="579"/>
                    </a:lnTo>
                    <a:lnTo>
                      <a:pt x="163" y="579"/>
                    </a:lnTo>
                    <a:lnTo>
                      <a:pt x="163" y="579"/>
                    </a:lnTo>
                    <a:lnTo>
                      <a:pt x="163" y="579"/>
                    </a:lnTo>
                    <a:lnTo>
                      <a:pt x="158" y="583"/>
                    </a:lnTo>
                    <a:lnTo>
                      <a:pt x="158" y="583"/>
                    </a:lnTo>
                    <a:lnTo>
                      <a:pt x="163" y="583"/>
                    </a:lnTo>
                    <a:lnTo>
                      <a:pt x="163" y="588"/>
                    </a:lnTo>
                    <a:lnTo>
                      <a:pt x="163" y="588"/>
                    </a:lnTo>
                    <a:lnTo>
                      <a:pt x="163" y="592"/>
                    </a:lnTo>
                    <a:lnTo>
                      <a:pt x="163" y="592"/>
                    </a:lnTo>
                    <a:lnTo>
                      <a:pt x="163" y="592"/>
                    </a:lnTo>
                    <a:lnTo>
                      <a:pt x="167" y="597"/>
                    </a:lnTo>
                    <a:lnTo>
                      <a:pt x="167" y="597"/>
                    </a:lnTo>
                    <a:lnTo>
                      <a:pt x="167" y="601"/>
                    </a:lnTo>
                    <a:lnTo>
                      <a:pt x="167" y="601"/>
                    </a:lnTo>
                    <a:lnTo>
                      <a:pt x="167" y="601"/>
                    </a:lnTo>
                    <a:lnTo>
                      <a:pt x="167" y="601"/>
                    </a:lnTo>
                    <a:lnTo>
                      <a:pt x="167" y="606"/>
                    </a:lnTo>
                    <a:lnTo>
                      <a:pt x="167" y="606"/>
                    </a:lnTo>
                    <a:lnTo>
                      <a:pt x="167" y="606"/>
                    </a:lnTo>
                    <a:lnTo>
                      <a:pt x="167" y="610"/>
                    </a:lnTo>
                    <a:lnTo>
                      <a:pt x="167" y="610"/>
                    </a:lnTo>
                    <a:lnTo>
                      <a:pt x="167" y="610"/>
                    </a:lnTo>
                    <a:lnTo>
                      <a:pt x="167" y="610"/>
                    </a:lnTo>
                    <a:lnTo>
                      <a:pt x="167" y="610"/>
                    </a:lnTo>
                    <a:lnTo>
                      <a:pt x="163" y="615"/>
                    </a:lnTo>
                    <a:lnTo>
                      <a:pt x="167" y="615"/>
                    </a:lnTo>
                    <a:lnTo>
                      <a:pt x="167" y="619"/>
                    </a:lnTo>
                    <a:lnTo>
                      <a:pt x="163" y="619"/>
                    </a:lnTo>
                    <a:lnTo>
                      <a:pt x="163" y="619"/>
                    </a:lnTo>
                    <a:lnTo>
                      <a:pt x="163" y="619"/>
                    </a:lnTo>
                    <a:lnTo>
                      <a:pt x="163" y="624"/>
                    </a:lnTo>
                    <a:lnTo>
                      <a:pt x="167" y="624"/>
                    </a:lnTo>
                    <a:lnTo>
                      <a:pt x="167" y="629"/>
                    </a:lnTo>
                    <a:lnTo>
                      <a:pt x="167" y="629"/>
                    </a:lnTo>
                    <a:lnTo>
                      <a:pt x="167" y="633"/>
                    </a:lnTo>
                    <a:lnTo>
                      <a:pt x="172" y="633"/>
                    </a:lnTo>
                    <a:lnTo>
                      <a:pt x="172" y="638"/>
                    </a:lnTo>
                    <a:lnTo>
                      <a:pt x="176" y="638"/>
                    </a:lnTo>
                    <a:lnTo>
                      <a:pt x="176" y="642"/>
                    </a:lnTo>
                    <a:lnTo>
                      <a:pt x="176" y="642"/>
                    </a:lnTo>
                    <a:lnTo>
                      <a:pt x="181" y="642"/>
                    </a:lnTo>
                    <a:lnTo>
                      <a:pt x="181" y="642"/>
                    </a:lnTo>
                    <a:lnTo>
                      <a:pt x="181" y="647"/>
                    </a:lnTo>
                    <a:lnTo>
                      <a:pt x="181" y="647"/>
                    </a:lnTo>
                    <a:lnTo>
                      <a:pt x="186" y="642"/>
                    </a:lnTo>
                    <a:lnTo>
                      <a:pt x="186" y="642"/>
                    </a:lnTo>
                    <a:lnTo>
                      <a:pt x="186" y="642"/>
                    </a:lnTo>
                    <a:lnTo>
                      <a:pt x="190" y="642"/>
                    </a:lnTo>
                    <a:lnTo>
                      <a:pt x="190" y="642"/>
                    </a:lnTo>
                    <a:lnTo>
                      <a:pt x="190" y="642"/>
                    </a:lnTo>
                    <a:lnTo>
                      <a:pt x="190" y="642"/>
                    </a:lnTo>
                    <a:lnTo>
                      <a:pt x="190" y="642"/>
                    </a:lnTo>
                    <a:lnTo>
                      <a:pt x="195" y="647"/>
                    </a:lnTo>
                    <a:lnTo>
                      <a:pt x="195" y="647"/>
                    </a:lnTo>
                    <a:lnTo>
                      <a:pt x="195" y="651"/>
                    </a:lnTo>
                    <a:lnTo>
                      <a:pt x="195" y="651"/>
                    </a:lnTo>
                    <a:lnTo>
                      <a:pt x="195" y="651"/>
                    </a:lnTo>
                    <a:lnTo>
                      <a:pt x="199" y="651"/>
                    </a:lnTo>
                    <a:lnTo>
                      <a:pt x="199" y="656"/>
                    </a:lnTo>
                    <a:lnTo>
                      <a:pt x="199" y="656"/>
                    </a:lnTo>
                    <a:lnTo>
                      <a:pt x="199" y="660"/>
                    </a:lnTo>
                    <a:lnTo>
                      <a:pt x="199" y="660"/>
                    </a:lnTo>
                    <a:lnTo>
                      <a:pt x="204" y="660"/>
                    </a:lnTo>
                    <a:lnTo>
                      <a:pt x="204" y="665"/>
                    </a:lnTo>
                    <a:lnTo>
                      <a:pt x="208" y="665"/>
                    </a:lnTo>
                    <a:lnTo>
                      <a:pt x="208" y="665"/>
                    </a:lnTo>
                    <a:lnTo>
                      <a:pt x="208" y="665"/>
                    </a:lnTo>
                    <a:lnTo>
                      <a:pt x="213" y="669"/>
                    </a:lnTo>
                    <a:lnTo>
                      <a:pt x="213" y="669"/>
                    </a:lnTo>
                    <a:lnTo>
                      <a:pt x="213" y="669"/>
                    </a:lnTo>
                    <a:lnTo>
                      <a:pt x="217" y="669"/>
                    </a:lnTo>
                    <a:lnTo>
                      <a:pt x="226" y="669"/>
                    </a:lnTo>
                    <a:lnTo>
                      <a:pt x="231" y="669"/>
                    </a:lnTo>
                    <a:lnTo>
                      <a:pt x="240" y="665"/>
                    </a:lnTo>
                    <a:lnTo>
                      <a:pt x="244" y="669"/>
                    </a:lnTo>
                    <a:lnTo>
                      <a:pt x="249" y="669"/>
                    </a:lnTo>
                    <a:lnTo>
                      <a:pt x="253" y="669"/>
                    </a:lnTo>
                    <a:lnTo>
                      <a:pt x="258" y="669"/>
                    </a:lnTo>
                    <a:lnTo>
                      <a:pt x="258" y="669"/>
                    </a:lnTo>
                    <a:lnTo>
                      <a:pt x="262" y="669"/>
                    </a:lnTo>
                    <a:lnTo>
                      <a:pt x="262" y="669"/>
                    </a:lnTo>
                    <a:lnTo>
                      <a:pt x="262" y="674"/>
                    </a:lnTo>
                    <a:lnTo>
                      <a:pt x="253" y="669"/>
                    </a:lnTo>
                    <a:lnTo>
                      <a:pt x="253" y="669"/>
                    </a:lnTo>
                    <a:lnTo>
                      <a:pt x="253" y="669"/>
                    </a:lnTo>
                    <a:lnTo>
                      <a:pt x="249" y="669"/>
                    </a:lnTo>
                    <a:lnTo>
                      <a:pt x="249" y="674"/>
                    </a:lnTo>
                    <a:lnTo>
                      <a:pt x="249" y="674"/>
                    </a:lnTo>
                    <a:lnTo>
                      <a:pt x="249" y="674"/>
                    </a:lnTo>
                    <a:lnTo>
                      <a:pt x="244" y="678"/>
                    </a:lnTo>
                    <a:lnTo>
                      <a:pt x="240" y="678"/>
                    </a:lnTo>
                    <a:lnTo>
                      <a:pt x="240" y="678"/>
                    </a:lnTo>
                    <a:lnTo>
                      <a:pt x="235" y="683"/>
                    </a:lnTo>
                    <a:lnTo>
                      <a:pt x="235" y="683"/>
                    </a:lnTo>
                    <a:lnTo>
                      <a:pt x="235" y="683"/>
                    </a:lnTo>
                    <a:lnTo>
                      <a:pt x="240" y="687"/>
                    </a:lnTo>
                    <a:lnTo>
                      <a:pt x="240" y="692"/>
                    </a:lnTo>
                    <a:lnTo>
                      <a:pt x="240" y="692"/>
                    </a:lnTo>
                    <a:lnTo>
                      <a:pt x="240" y="696"/>
                    </a:lnTo>
                    <a:lnTo>
                      <a:pt x="244" y="696"/>
                    </a:lnTo>
                    <a:lnTo>
                      <a:pt x="244" y="701"/>
                    </a:lnTo>
                    <a:lnTo>
                      <a:pt x="244" y="701"/>
                    </a:lnTo>
                    <a:lnTo>
                      <a:pt x="240" y="705"/>
                    </a:lnTo>
                    <a:lnTo>
                      <a:pt x="240" y="701"/>
                    </a:lnTo>
                    <a:lnTo>
                      <a:pt x="235" y="701"/>
                    </a:lnTo>
                    <a:lnTo>
                      <a:pt x="231" y="701"/>
                    </a:lnTo>
                    <a:lnTo>
                      <a:pt x="226" y="701"/>
                    </a:lnTo>
                    <a:lnTo>
                      <a:pt x="226" y="701"/>
                    </a:lnTo>
                    <a:lnTo>
                      <a:pt x="222" y="696"/>
                    </a:lnTo>
                    <a:lnTo>
                      <a:pt x="222" y="696"/>
                    </a:lnTo>
                    <a:lnTo>
                      <a:pt x="222" y="692"/>
                    </a:lnTo>
                    <a:lnTo>
                      <a:pt x="222" y="692"/>
                    </a:lnTo>
                    <a:lnTo>
                      <a:pt x="222" y="692"/>
                    </a:lnTo>
                    <a:lnTo>
                      <a:pt x="222" y="692"/>
                    </a:lnTo>
                    <a:lnTo>
                      <a:pt x="226" y="692"/>
                    </a:lnTo>
                    <a:lnTo>
                      <a:pt x="226" y="692"/>
                    </a:lnTo>
                    <a:lnTo>
                      <a:pt x="231" y="696"/>
                    </a:lnTo>
                    <a:lnTo>
                      <a:pt x="231" y="696"/>
                    </a:lnTo>
                    <a:lnTo>
                      <a:pt x="231" y="696"/>
                    </a:lnTo>
                    <a:lnTo>
                      <a:pt x="231" y="696"/>
                    </a:lnTo>
                    <a:lnTo>
                      <a:pt x="231" y="696"/>
                    </a:lnTo>
                    <a:lnTo>
                      <a:pt x="226" y="692"/>
                    </a:lnTo>
                    <a:lnTo>
                      <a:pt x="231" y="687"/>
                    </a:lnTo>
                    <a:lnTo>
                      <a:pt x="231" y="687"/>
                    </a:lnTo>
                    <a:lnTo>
                      <a:pt x="231" y="683"/>
                    </a:lnTo>
                    <a:lnTo>
                      <a:pt x="231" y="683"/>
                    </a:lnTo>
                    <a:lnTo>
                      <a:pt x="231" y="683"/>
                    </a:lnTo>
                    <a:lnTo>
                      <a:pt x="231" y="683"/>
                    </a:lnTo>
                    <a:lnTo>
                      <a:pt x="226" y="683"/>
                    </a:lnTo>
                    <a:lnTo>
                      <a:pt x="222" y="687"/>
                    </a:lnTo>
                    <a:lnTo>
                      <a:pt x="222" y="687"/>
                    </a:lnTo>
                    <a:lnTo>
                      <a:pt x="222" y="692"/>
                    </a:lnTo>
                    <a:lnTo>
                      <a:pt x="217" y="692"/>
                    </a:lnTo>
                    <a:lnTo>
                      <a:pt x="217" y="692"/>
                    </a:lnTo>
                    <a:lnTo>
                      <a:pt x="217" y="696"/>
                    </a:lnTo>
                    <a:lnTo>
                      <a:pt x="222" y="696"/>
                    </a:lnTo>
                    <a:lnTo>
                      <a:pt x="217" y="696"/>
                    </a:lnTo>
                    <a:lnTo>
                      <a:pt x="213" y="692"/>
                    </a:lnTo>
                    <a:lnTo>
                      <a:pt x="208" y="692"/>
                    </a:lnTo>
                    <a:lnTo>
                      <a:pt x="208" y="692"/>
                    </a:lnTo>
                    <a:lnTo>
                      <a:pt x="213" y="692"/>
                    </a:lnTo>
                    <a:lnTo>
                      <a:pt x="208" y="687"/>
                    </a:lnTo>
                    <a:lnTo>
                      <a:pt x="208" y="687"/>
                    </a:lnTo>
                    <a:lnTo>
                      <a:pt x="208" y="683"/>
                    </a:lnTo>
                    <a:lnTo>
                      <a:pt x="208" y="683"/>
                    </a:lnTo>
                    <a:lnTo>
                      <a:pt x="208" y="683"/>
                    </a:lnTo>
                    <a:lnTo>
                      <a:pt x="213" y="683"/>
                    </a:lnTo>
                    <a:lnTo>
                      <a:pt x="213" y="683"/>
                    </a:lnTo>
                    <a:lnTo>
                      <a:pt x="213" y="683"/>
                    </a:lnTo>
                    <a:lnTo>
                      <a:pt x="217" y="683"/>
                    </a:lnTo>
                    <a:lnTo>
                      <a:pt x="217" y="678"/>
                    </a:lnTo>
                    <a:lnTo>
                      <a:pt x="222" y="683"/>
                    </a:lnTo>
                    <a:lnTo>
                      <a:pt x="222" y="678"/>
                    </a:lnTo>
                    <a:lnTo>
                      <a:pt x="226" y="678"/>
                    </a:lnTo>
                    <a:lnTo>
                      <a:pt x="226" y="678"/>
                    </a:lnTo>
                    <a:lnTo>
                      <a:pt x="222" y="678"/>
                    </a:lnTo>
                    <a:lnTo>
                      <a:pt x="217" y="678"/>
                    </a:lnTo>
                    <a:lnTo>
                      <a:pt x="213" y="678"/>
                    </a:lnTo>
                    <a:lnTo>
                      <a:pt x="213" y="678"/>
                    </a:lnTo>
                    <a:lnTo>
                      <a:pt x="213" y="678"/>
                    </a:lnTo>
                    <a:lnTo>
                      <a:pt x="213" y="678"/>
                    </a:lnTo>
                    <a:lnTo>
                      <a:pt x="208" y="678"/>
                    </a:lnTo>
                    <a:lnTo>
                      <a:pt x="208" y="678"/>
                    </a:lnTo>
                    <a:lnTo>
                      <a:pt x="208" y="678"/>
                    </a:lnTo>
                    <a:lnTo>
                      <a:pt x="208" y="678"/>
                    </a:lnTo>
                    <a:lnTo>
                      <a:pt x="208" y="683"/>
                    </a:lnTo>
                    <a:lnTo>
                      <a:pt x="208" y="683"/>
                    </a:lnTo>
                    <a:lnTo>
                      <a:pt x="208" y="683"/>
                    </a:lnTo>
                    <a:lnTo>
                      <a:pt x="208" y="687"/>
                    </a:lnTo>
                    <a:lnTo>
                      <a:pt x="208" y="687"/>
                    </a:lnTo>
                    <a:lnTo>
                      <a:pt x="208" y="687"/>
                    </a:lnTo>
                    <a:lnTo>
                      <a:pt x="208" y="687"/>
                    </a:lnTo>
                    <a:lnTo>
                      <a:pt x="208" y="687"/>
                    </a:lnTo>
                    <a:lnTo>
                      <a:pt x="204" y="687"/>
                    </a:lnTo>
                    <a:lnTo>
                      <a:pt x="204" y="687"/>
                    </a:lnTo>
                    <a:lnTo>
                      <a:pt x="199" y="687"/>
                    </a:lnTo>
                    <a:lnTo>
                      <a:pt x="199" y="687"/>
                    </a:lnTo>
                    <a:lnTo>
                      <a:pt x="199" y="683"/>
                    </a:lnTo>
                    <a:lnTo>
                      <a:pt x="204" y="683"/>
                    </a:lnTo>
                    <a:lnTo>
                      <a:pt x="204" y="678"/>
                    </a:lnTo>
                    <a:lnTo>
                      <a:pt x="204" y="678"/>
                    </a:lnTo>
                    <a:lnTo>
                      <a:pt x="199" y="678"/>
                    </a:lnTo>
                    <a:lnTo>
                      <a:pt x="199" y="678"/>
                    </a:lnTo>
                    <a:lnTo>
                      <a:pt x="199" y="678"/>
                    </a:lnTo>
                    <a:lnTo>
                      <a:pt x="199" y="683"/>
                    </a:lnTo>
                    <a:lnTo>
                      <a:pt x="199" y="683"/>
                    </a:lnTo>
                    <a:lnTo>
                      <a:pt x="195" y="683"/>
                    </a:lnTo>
                    <a:lnTo>
                      <a:pt x="195" y="683"/>
                    </a:lnTo>
                    <a:lnTo>
                      <a:pt x="190" y="683"/>
                    </a:lnTo>
                    <a:lnTo>
                      <a:pt x="190" y="683"/>
                    </a:lnTo>
                    <a:lnTo>
                      <a:pt x="190" y="683"/>
                    </a:lnTo>
                    <a:lnTo>
                      <a:pt x="190" y="678"/>
                    </a:lnTo>
                    <a:lnTo>
                      <a:pt x="186" y="678"/>
                    </a:lnTo>
                    <a:lnTo>
                      <a:pt x="186" y="678"/>
                    </a:lnTo>
                    <a:lnTo>
                      <a:pt x="186" y="678"/>
                    </a:lnTo>
                    <a:lnTo>
                      <a:pt x="186" y="674"/>
                    </a:lnTo>
                    <a:lnTo>
                      <a:pt x="181" y="674"/>
                    </a:lnTo>
                    <a:lnTo>
                      <a:pt x="181" y="674"/>
                    </a:lnTo>
                    <a:lnTo>
                      <a:pt x="181" y="674"/>
                    </a:lnTo>
                    <a:lnTo>
                      <a:pt x="181" y="674"/>
                    </a:lnTo>
                    <a:lnTo>
                      <a:pt x="181" y="674"/>
                    </a:lnTo>
                    <a:lnTo>
                      <a:pt x="181" y="674"/>
                    </a:lnTo>
                    <a:lnTo>
                      <a:pt x="186" y="674"/>
                    </a:lnTo>
                    <a:lnTo>
                      <a:pt x="190" y="674"/>
                    </a:lnTo>
                    <a:lnTo>
                      <a:pt x="190" y="674"/>
                    </a:lnTo>
                    <a:lnTo>
                      <a:pt x="190" y="674"/>
                    </a:lnTo>
                    <a:lnTo>
                      <a:pt x="190" y="674"/>
                    </a:lnTo>
                    <a:lnTo>
                      <a:pt x="190" y="669"/>
                    </a:lnTo>
                    <a:lnTo>
                      <a:pt x="190" y="669"/>
                    </a:lnTo>
                    <a:lnTo>
                      <a:pt x="190" y="674"/>
                    </a:lnTo>
                    <a:lnTo>
                      <a:pt x="195" y="674"/>
                    </a:lnTo>
                    <a:lnTo>
                      <a:pt x="195" y="674"/>
                    </a:lnTo>
                    <a:lnTo>
                      <a:pt x="195" y="674"/>
                    </a:lnTo>
                    <a:lnTo>
                      <a:pt x="195" y="674"/>
                    </a:lnTo>
                    <a:lnTo>
                      <a:pt x="199" y="669"/>
                    </a:lnTo>
                    <a:lnTo>
                      <a:pt x="199" y="669"/>
                    </a:lnTo>
                    <a:lnTo>
                      <a:pt x="199" y="669"/>
                    </a:lnTo>
                    <a:lnTo>
                      <a:pt x="199" y="669"/>
                    </a:lnTo>
                    <a:lnTo>
                      <a:pt x="199" y="669"/>
                    </a:lnTo>
                    <a:lnTo>
                      <a:pt x="204" y="669"/>
                    </a:lnTo>
                    <a:lnTo>
                      <a:pt x="204" y="669"/>
                    </a:lnTo>
                    <a:lnTo>
                      <a:pt x="204" y="669"/>
                    </a:lnTo>
                    <a:lnTo>
                      <a:pt x="204" y="674"/>
                    </a:lnTo>
                    <a:lnTo>
                      <a:pt x="204" y="674"/>
                    </a:lnTo>
                    <a:lnTo>
                      <a:pt x="204" y="674"/>
                    </a:lnTo>
                    <a:lnTo>
                      <a:pt x="204" y="674"/>
                    </a:lnTo>
                    <a:lnTo>
                      <a:pt x="204" y="678"/>
                    </a:lnTo>
                    <a:lnTo>
                      <a:pt x="208" y="674"/>
                    </a:lnTo>
                    <a:lnTo>
                      <a:pt x="208" y="674"/>
                    </a:lnTo>
                    <a:lnTo>
                      <a:pt x="208" y="674"/>
                    </a:lnTo>
                    <a:lnTo>
                      <a:pt x="208" y="674"/>
                    </a:lnTo>
                    <a:lnTo>
                      <a:pt x="208" y="674"/>
                    </a:lnTo>
                    <a:lnTo>
                      <a:pt x="204" y="674"/>
                    </a:lnTo>
                    <a:lnTo>
                      <a:pt x="204" y="669"/>
                    </a:lnTo>
                    <a:lnTo>
                      <a:pt x="204" y="669"/>
                    </a:lnTo>
                    <a:lnTo>
                      <a:pt x="204" y="669"/>
                    </a:lnTo>
                    <a:lnTo>
                      <a:pt x="204" y="665"/>
                    </a:lnTo>
                    <a:lnTo>
                      <a:pt x="204" y="665"/>
                    </a:lnTo>
                    <a:lnTo>
                      <a:pt x="204" y="665"/>
                    </a:lnTo>
                    <a:lnTo>
                      <a:pt x="199" y="665"/>
                    </a:lnTo>
                    <a:lnTo>
                      <a:pt x="195" y="660"/>
                    </a:lnTo>
                    <a:lnTo>
                      <a:pt x="190" y="660"/>
                    </a:lnTo>
                    <a:lnTo>
                      <a:pt x="190" y="660"/>
                    </a:lnTo>
                    <a:lnTo>
                      <a:pt x="190" y="660"/>
                    </a:lnTo>
                    <a:lnTo>
                      <a:pt x="190" y="660"/>
                    </a:lnTo>
                    <a:lnTo>
                      <a:pt x="190" y="660"/>
                    </a:lnTo>
                    <a:lnTo>
                      <a:pt x="195" y="660"/>
                    </a:lnTo>
                    <a:lnTo>
                      <a:pt x="199" y="665"/>
                    </a:lnTo>
                    <a:lnTo>
                      <a:pt x="199" y="665"/>
                    </a:lnTo>
                    <a:lnTo>
                      <a:pt x="199" y="665"/>
                    </a:lnTo>
                    <a:lnTo>
                      <a:pt x="199" y="665"/>
                    </a:lnTo>
                    <a:lnTo>
                      <a:pt x="195" y="665"/>
                    </a:lnTo>
                    <a:lnTo>
                      <a:pt x="195" y="669"/>
                    </a:lnTo>
                    <a:lnTo>
                      <a:pt x="195" y="669"/>
                    </a:lnTo>
                    <a:lnTo>
                      <a:pt x="190" y="669"/>
                    </a:lnTo>
                    <a:lnTo>
                      <a:pt x="190" y="669"/>
                    </a:lnTo>
                    <a:lnTo>
                      <a:pt x="186" y="665"/>
                    </a:lnTo>
                    <a:lnTo>
                      <a:pt x="186" y="665"/>
                    </a:lnTo>
                    <a:lnTo>
                      <a:pt x="186" y="665"/>
                    </a:lnTo>
                    <a:lnTo>
                      <a:pt x="181" y="665"/>
                    </a:lnTo>
                    <a:lnTo>
                      <a:pt x="181" y="665"/>
                    </a:lnTo>
                    <a:lnTo>
                      <a:pt x="181" y="665"/>
                    </a:lnTo>
                    <a:lnTo>
                      <a:pt x="176" y="665"/>
                    </a:lnTo>
                    <a:lnTo>
                      <a:pt x="176" y="665"/>
                    </a:lnTo>
                    <a:lnTo>
                      <a:pt x="176" y="660"/>
                    </a:lnTo>
                    <a:lnTo>
                      <a:pt x="181" y="665"/>
                    </a:lnTo>
                    <a:lnTo>
                      <a:pt x="176" y="656"/>
                    </a:lnTo>
                    <a:lnTo>
                      <a:pt x="176" y="656"/>
                    </a:lnTo>
                    <a:lnTo>
                      <a:pt x="172" y="656"/>
                    </a:lnTo>
                    <a:lnTo>
                      <a:pt x="172" y="656"/>
                    </a:lnTo>
                    <a:lnTo>
                      <a:pt x="172" y="656"/>
                    </a:lnTo>
                    <a:lnTo>
                      <a:pt x="167" y="656"/>
                    </a:lnTo>
                    <a:lnTo>
                      <a:pt x="167" y="656"/>
                    </a:lnTo>
                    <a:lnTo>
                      <a:pt x="167" y="656"/>
                    </a:lnTo>
                    <a:lnTo>
                      <a:pt x="163" y="651"/>
                    </a:lnTo>
                    <a:lnTo>
                      <a:pt x="163" y="651"/>
                    </a:lnTo>
                    <a:lnTo>
                      <a:pt x="158" y="651"/>
                    </a:lnTo>
                    <a:lnTo>
                      <a:pt x="154" y="647"/>
                    </a:lnTo>
                    <a:lnTo>
                      <a:pt x="154" y="647"/>
                    </a:lnTo>
                    <a:lnTo>
                      <a:pt x="158" y="647"/>
                    </a:lnTo>
                    <a:lnTo>
                      <a:pt x="158" y="647"/>
                    </a:lnTo>
                    <a:lnTo>
                      <a:pt x="158" y="642"/>
                    </a:lnTo>
                    <a:lnTo>
                      <a:pt x="158" y="642"/>
                    </a:lnTo>
                    <a:lnTo>
                      <a:pt x="154" y="642"/>
                    </a:lnTo>
                    <a:lnTo>
                      <a:pt x="154" y="642"/>
                    </a:lnTo>
                    <a:lnTo>
                      <a:pt x="158" y="638"/>
                    </a:lnTo>
                    <a:lnTo>
                      <a:pt x="158" y="638"/>
                    </a:lnTo>
                    <a:lnTo>
                      <a:pt x="163" y="642"/>
                    </a:lnTo>
                    <a:lnTo>
                      <a:pt x="163" y="642"/>
                    </a:lnTo>
                    <a:lnTo>
                      <a:pt x="167" y="647"/>
                    </a:lnTo>
                    <a:lnTo>
                      <a:pt x="167" y="647"/>
                    </a:lnTo>
                    <a:lnTo>
                      <a:pt x="167" y="647"/>
                    </a:lnTo>
                    <a:lnTo>
                      <a:pt x="172" y="651"/>
                    </a:lnTo>
                    <a:lnTo>
                      <a:pt x="176" y="651"/>
                    </a:lnTo>
                    <a:lnTo>
                      <a:pt x="172" y="647"/>
                    </a:lnTo>
                    <a:lnTo>
                      <a:pt x="172" y="647"/>
                    </a:lnTo>
                    <a:lnTo>
                      <a:pt x="172" y="642"/>
                    </a:lnTo>
                    <a:lnTo>
                      <a:pt x="172" y="642"/>
                    </a:lnTo>
                    <a:lnTo>
                      <a:pt x="172" y="642"/>
                    </a:lnTo>
                    <a:lnTo>
                      <a:pt x="172" y="642"/>
                    </a:lnTo>
                    <a:lnTo>
                      <a:pt x="172" y="642"/>
                    </a:lnTo>
                    <a:lnTo>
                      <a:pt x="172" y="642"/>
                    </a:lnTo>
                    <a:lnTo>
                      <a:pt x="172" y="642"/>
                    </a:lnTo>
                    <a:lnTo>
                      <a:pt x="172" y="647"/>
                    </a:lnTo>
                    <a:lnTo>
                      <a:pt x="172" y="647"/>
                    </a:lnTo>
                    <a:lnTo>
                      <a:pt x="167" y="647"/>
                    </a:lnTo>
                    <a:lnTo>
                      <a:pt x="167" y="642"/>
                    </a:lnTo>
                    <a:lnTo>
                      <a:pt x="167" y="642"/>
                    </a:lnTo>
                    <a:lnTo>
                      <a:pt x="163" y="642"/>
                    </a:lnTo>
                    <a:lnTo>
                      <a:pt x="167" y="642"/>
                    </a:lnTo>
                    <a:lnTo>
                      <a:pt x="167" y="642"/>
                    </a:lnTo>
                    <a:lnTo>
                      <a:pt x="163" y="638"/>
                    </a:lnTo>
                    <a:lnTo>
                      <a:pt x="158" y="638"/>
                    </a:lnTo>
                    <a:lnTo>
                      <a:pt x="158" y="638"/>
                    </a:lnTo>
                    <a:lnTo>
                      <a:pt x="158" y="638"/>
                    </a:lnTo>
                    <a:lnTo>
                      <a:pt x="154" y="638"/>
                    </a:lnTo>
                    <a:lnTo>
                      <a:pt x="158" y="633"/>
                    </a:lnTo>
                    <a:lnTo>
                      <a:pt x="158" y="633"/>
                    </a:lnTo>
                    <a:lnTo>
                      <a:pt x="163" y="633"/>
                    </a:lnTo>
                    <a:lnTo>
                      <a:pt x="163" y="633"/>
                    </a:lnTo>
                    <a:lnTo>
                      <a:pt x="163" y="629"/>
                    </a:lnTo>
                    <a:lnTo>
                      <a:pt x="158" y="633"/>
                    </a:lnTo>
                    <a:lnTo>
                      <a:pt x="158" y="629"/>
                    </a:lnTo>
                    <a:lnTo>
                      <a:pt x="154" y="629"/>
                    </a:lnTo>
                    <a:lnTo>
                      <a:pt x="154" y="629"/>
                    </a:lnTo>
                    <a:lnTo>
                      <a:pt x="154" y="624"/>
                    </a:lnTo>
                    <a:lnTo>
                      <a:pt x="154" y="624"/>
                    </a:lnTo>
                    <a:lnTo>
                      <a:pt x="154" y="624"/>
                    </a:lnTo>
                    <a:lnTo>
                      <a:pt x="158" y="624"/>
                    </a:lnTo>
                    <a:lnTo>
                      <a:pt x="158" y="624"/>
                    </a:lnTo>
                    <a:lnTo>
                      <a:pt x="158" y="624"/>
                    </a:lnTo>
                    <a:lnTo>
                      <a:pt x="158" y="624"/>
                    </a:lnTo>
                    <a:lnTo>
                      <a:pt x="158" y="624"/>
                    </a:lnTo>
                    <a:lnTo>
                      <a:pt x="154" y="619"/>
                    </a:lnTo>
                    <a:lnTo>
                      <a:pt x="154" y="619"/>
                    </a:lnTo>
                    <a:lnTo>
                      <a:pt x="154" y="619"/>
                    </a:lnTo>
                    <a:lnTo>
                      <a:pt x="154" y="619"/>
                    </a:lnTo>
                    <a:lnTo>
                      <a:pt x="154" y="615"/>
                    </a:lnTo>
                    <a:lnTo>
                      <a:pt x="154" y="615"/>
                    </a:lnTo>
                    <a:lnTo>
                      <a:pt x="154" y="615"/>
                    </a:lnTo>
                    <a:lnTo>
                      <a:pt x="154" y="615"/>
                    </a:lnTo>
                    <a:lnTo>
                      <a:pt x="154" y="615"/>
                    </a:lnTo>
                    <a:lnTo>
                      <a:pt x="149" y="615"/>
                    </a:lnTo>
                    <a:lnTo>
                      <a:pt x="149" y="615"/>
                    </a:lnTo>
                    <a:lnTo>
                      <a:pt x="154" y="615"/>
                    </a:lnTo>
                    <a:lnTo>
                      <a:pt x="154" y="619"/>
                    </a:lnTo>
                    <a:lnTo>
                      <a:pt x="154" y="619"/>
                    </a:lnTo>
                    <a:lnTo>
                      <a:pt x="154" y="619"/>
                    </a:lnTo>
                    <a:lnTo>
                      <a:pt x="154" y="624"/>
                    </a:lnTo>
                    <a:lnTo>
                      <a:pt x="154" y="624"/>
                    </a:lnTo>
                    <a:lnTo>
                      <a:pt x="149" y="619"/>
                    </a:lnTo>
                    <a:lnTo>
                      <a:pt x="149" y="619"/>
                    </a:lnTo>
                    <a:lnTo>
                      <a:pt x="149" y="619"/>
                    </a:lnTo>
                    <a:lnTo>
                      <a:pt x="145" y="615"/>
                    </a:lnTo>
                    <a:lnTo>
                      <a:pt x="145" y="610"/>
                    </a:lnTo>
                    <a:lnTo>
                      <a:pt x="140" y="606"/>
                    </a:lnTo>
                    <a:lnTo>
                      <a:pt x="145" y="606"/>
                    </a:lnTo>
                    <a:lnTo>
                      <a:pt x="145" y="601"/>
                    </a:lnTo>
                    <a:lnTo>
                      <a:pt x="145" y="601"/>
                    </a:lnTo>
                    <a:lnTo>
                      <a:pt x="145" y="601"/>
                    </a:lnTo>
                    <a:lnTo>
                      <a:pt x="145" y="601"/>
                    </a:lnTo>
                    <a:lnTo>
                      <a:pt x="145" y="601"/>
                    </a:lnTo>
                    <a:lnTo>
                      <a:pt x="140" y="601"/>
                    </a:lnTo>
                    <a:lnTo>
                      <a:pt x="140" y="601"/>
                    </a:lnTo>
                    <a:lnTo>
                      <a:pt x="140" y="601"/>
                    </a:lnTo>
                    <a:lnTo>
                      <a:pt x="136" y="601"/>
                    </a:lnTo>
                    <a:lnTo>
                      <a:pt x="136" y="601"/>
                    </a:lnTo>
                    <a:lnTo>
                      <a:pt x="136" y="597"/>
                    </a:lnTo>
                    <a:lnTo>
                      <a:pt x="131" y="592"/>
                    </a:lnTo>
                    <a:lnTo>
                      <a:pt x="136" y="592"/>
                    </a:lnTo>
                    <a:lnTo>
                      <a:pt x="136" y="597"/>
                    </a:lnTo>
                    <a:lnTo>
                      <a:pt x="145" y="597"/>
                    </a:lnTo>
                    <a:lnTo>
                      <a:pt x="149" y="597"/>
                    </a:lnTo>
                    <a:lnTo>
                      <a:pt x="154" y="597"/>
                    </a:lnTo>
                    <a:lnTo>
                      <a:pt x="149" y="597"/>
                    </a:lnTo>
                    <a:lnTo>
                      <a:pt x="149" y="597"/>
                    </a:lnTo>
                    <a:lnTo>
                      <a:pt x="149" y="592"/>
                    </a:lnTo>
                    <a:lnTo>
                      <a:pt x="145" y="592"/>
                    </a:lnTo>
                    <a:lnTo>
                      <a:pt x="145" y="592"/>
                    </a:lnTo>
                    <a:lnTo>
                      <a:pt x="145" y="592"/>
                    </a:lnTo>
                    <a:lnTo>
                      <a:pt x="140" y="588"/>
                    </a:lnTo>
                    <a:lnTo>
                      <a:pt x="140" y="588"/>
                    </a:lnTo>
                    <a:lnTo>
                      <a:pt x="140" y="588"/>
                    </a:lnTo>
                    <a:lnTo>
                      <a:pt x="140" y="592"/>
                    </a:lnTo>
                    <a:lnTo>
                      <a:pt x="140" y="592"/>
                    </a:lnTo>
                    <a:lnTo>
                      <a:pt x="140" y="592"/>
                    </a:lnTo>
                    <a:lnTo>
                      <a:pt x="136" y="592"/>
                    </a:lnTo>
                    <a:lnTo>
                      <a:pt x="136" y="592"/>
                    </a:lnTo>
                    <a:lnTo>
                      <a:pt x="136" y="592"/>
                    </a:lnTo>
                    <a:lnTo>
                      <a:pt x="136" y="592"/>
                    </a:lnTo>
                    <a:lnTo>
                      <a:pt x="131" y="592"/>
                    </a:lnTo>
                    <a:lnTo>
                      <a:pt x="131" y="588"/>
                    </a:lnTo>
                    <a:lnTo>
                      <a:pt x="131" y="588"/>
                    </a:lnTo>
                    <a:lnTo>
                      <a:pt x="127" y="588"/>
                    </a:lnTo>
                    <a:lnTo>
                      <a:pt x="127" y="588"/>
                    </a:lnTo>
                    <a:lnTo>
                      <a:pt x="131" y="588"/>
                    </a:lnTo>
                    <a:lnTo>
                      <a:pt x="131" y="588"/>
                    </a:lnTo>
                    <a:lnTo>
                      <a:pt x="131" y="588"/>
                    </a:lnTo>
                    <a:lnTo>
                      <a:pt x="131" y="588"/>
                    </a:lnTo>
                    <a:lnTo>
                      <a:pt x="136" y="588"/>
                    </a:lnTo>
                    <a:lnTo>
                      <a:pt x="136" y="588"/>
                    </a:lnTo>
                    <a:lnTo>
                      <a:pt x="136" y="588"/>
                    </a:lnTo>
                    <a:lnTo>
                      <a:pt x="136" y="588"/>
                    </a:lnTo>
                    <a:lnTo>
                      <a:pt x="131" y="588"/>
                    </a:lnTo>
                    <a:lnTo>
                      <a:pt x="131" y="583"/>
                    </a:lnTo>
                    <a:lnTo>
                      <a:pt x="127" y="583"/>
                    </a:lnTo>
                    <a:lnTo>
                      <a:pt x="127" y="583"/>
                    </a:lnTo>
                    <a:lnTo>
                      <a:pt x="131" y="579"/>
                    </a:lnTo>
                    <a:lnTo>
                      <a:pt x="131" y="579"/>
                    </a:lnTo>
                    <a:lnTo>
                      <a:pt x="127" y="579"/>
                    </a:lnTo>
                    <a:lnTo>
                      <a:pt x="127" y="574"/>
                    </a:lnTo>
                    <a:lnTo>
                      <a:pt x="127" y="574"/>
                    </a:lnTo>
                    <a:lnTo>
                      <a:pt x="127" y="570"/>
                    </a:lnTo>
                    <a:lnTo>
                      <a:pt x="122" y="570"/>
                    </a:lnTo>
                    <a:lnTo>
                      <a:pt x="122" y="570"/>
                    </a:lnTo>
                    <a:lnTo>
                      <a:pt x="122" y="574"/>
                    </a:lnTo>
                    <a:lnTo>
                      <a:pt x="122" y="574"/>
                    </a:lnTo>
                    <a:lnTo>
                      <a:pt x="122" y="574"/>
                    </a:lnTo>
                    <a:lnTo>
                      <a:pt x="122" y="574"/>
                    </a:lnTo>
                    <a:lnTo>
                      <a:pt x="118" y="574"/>
                    </a:lnTo>
                    <a:lnTo>
                      <a:pt x="118" y="570"/>
                    </a:lnTo>
                    <a:lnTo>
                      <a:pt x="113" y="570"/>
                    </a:lnTo>
                    <a:lnTo>
                      <a:pt x="113" y="570"/>
                    </a:lnTo>
                    <a:lnTo>
                      <a:pt x="113" y="570"/>
                    </a:lnTo>
                    <a:lnTo>
                      <a:pt x="113" y="565"/>
                    </a:lnTo>
                    <a:lnTo>
                      <a:pt x="113" y="565"/>
                    </a:lnTo>
                    <a:lnTo>
                      <a:pt x="109" y="570"/>
                    </a:lnTo>
                    <a:lnTo>
                      <a:pt x="109" y="570"/>
                    </a:lnTo>
                    <a:lnTo>
                      <a:pt x="104" y="570"/>
                    </a:lnTo>
                    <a:lnTo>
                      <a:pt x="104" y="570"/>
                    </a:lnTo>
                    <a:lnTo>
                      <a:pt x="104" y="570"/>
                    </a:lnTo>
                    <a:lnTo>
                      <a:pt x="109" y="570"/>
                    </a:lnTo>
                    <a:lnTo>
                      <a:pt x="109" y="570"/>
                    </a:lnTo>
                    <a:lnTo>
                      <a:pt x="109" y="574"/>
                    </a:lnTo>
                    <a:lnTo>
                      <a:pt x="109" y="574"/>
                    </a:lnTo>
                    <a:lnTo>
                      <a:pt x="109" y="574"/>
                    </a:lnTo>
                    <a:lnTo>
                      <a:pt x="109" y="574"/>
                    </a:lnTo>
                    <a:lnTo>
                      <a:pt x="104" y="574"/>
                    </a:lnTo>
                    <a:lnTo>
                      <a:pt x="104" y="574"/>
                    </a:lnTo>
                    <a:lnTo>
                      <a:pt x="104" y="570"/>
                    </a:lnTo>
                    <a:lnTo>
                      <a:pt x="104" y="570"/>
                    </a:lnTo>
                    <a:lnTo>
                      <a:pt x="104" y="565"/>
                    </a:lnTo>
                    <a:lnTo>
                      <a:pt x="104" y="565"/>
                    </a:lnTo>
                    <a:lnTo>
                      <a:pt x="109" y="565"/>
                    </a:lnTo>
                    <a:lnTo>
                      <a:pt x="109" y="561"/>
                    </a:lnTo>
                    <a:lnTo>
                      <a:pt x="109" y="561"/>
                    </a:lnTo>
                    <a:lnTo>
                      <a:pt x="109" y="561"/>
                    </a:lnTo>
                    <a:lnTo>
                      <a:pt x="104" y="556"/>
                    </a:lnTo>
                    <a:lnTo>
                      <a:pt x="104" y="556"/>
                    </a:lnTo>
                    <a:lnTo>
                      <a:pt x="109" y="552"/>
                    </a:lnTo>
                    <a:lnTo>
                      <a:pt x="109" y="552"/>
                    </a:lnTo>
                    <a:lnTo>
                      <a:pt x="113" y="552"/>
                    </a:lnTo>
                    <a:lnTo>
                      <a:pt x="113" y="552"/>
                    </a:lnTo>
                    <a:lnTo>
                      <a:pt x="113" y="552"/>
                    </a:lnTo>
                    <a:lnTo>
                      <a:pt x="118" y="552"/>
                    </a:lnTo>
                    <a:lnTo>
                      <a:pt x="118" y="552"/>
                    </a:lnTo>
                    <a:lnTo>
                      <a:pt x="118" y="552"/>
                    </a:lnTo>
                    <a:lnTo>
                      <a:pt x="118" y="547"/>
                    </a:lnTo>
                    <a:lnTo>
                      <a:pt x="118" y="547"/>
                    </a:lnTo>
                    <a:lnTo>
                      <a:pt x="113" y="547"/>
                    </a:lnTo>
                    <a:lnTo>
                      <a:pt x="113" y="547"/>
                    </a:lnTo>
                    <a:lnTo>
                      <a:pt x="113" y="543"/>
                    </a:lnTo>
                    <a:lnTo>
                      <a:pt x="118" y="543"/>
                    </a:lnTo>
                    <a:lnTo>
                      <a:pt x="118" y="543"/>
                    </a:lnTo>
                    <a:lnTo>
                      <a:pt x="118" y="547"/>
                    </a:lnTo>
                    <a:lnTo>
                      <a:pt x="118" y="547"/>
                    </a:lnTo>
                    <a:lnTo>
                      <a:pt x="118" y="547"/>
                    </a:lnTo>
                    <a:lnTo>
                      <a:pt x="122" y="552"/>
                    </a:lnTo>
                    <a:lnTo>
                      <a:pt x="122" y="552"/>
                    </a:lnTo>
                    <a:lnTo>
                      <a:pt x="122" y="556"/>
                    </a:lnTo>
                    <a:lnTo>
                      <a:pt x="122" y="556"/>
                    </a:lnTo>
                    <a:lnTo>
                      <a:pt x="122" y="556"/>
                    </a:lnTo>
                    <a:lnTo>
                      <a:pt x="118" y="561"/>
                    </a:lnTo>
                    <a:lnTo>
                      <a:pt x="118" y="561"/>
                    </a:lnTo>
                    <a:lnTo>
                      <a:pt x="118" y="561"/>
                    </a:lnTo>
                    <a:lnTo>
                      <a:pt x="122" y="561"/>
                    </a:lnTo>
                    <a:lnTo>
                      <a:pt x="122" y="561"/>
                    </a:lnTo>
                    <a:lnTo>
                      <a:pt x="122" y="561"/>
                    </a:lnTo>
                    <a:lnTo>
                      <a:pt x="122" y="556"/>
                    </a:lnTo>
                    <a:lnTo>
                      <a:pt x="122" y="552"/>
                    </a:lnTo>
                    <a:lnTo>
                      <a:pt x="122" y="552"/>
                    </a:lnTo>
                    <a:lnTo>
                      <a:pt x="122" y="552"/>
                    </a:lnTo>
                    <a:lnTo>
                      <a:pt x="127" y="552"/>
                    </a:lnTo>
                    <a:lnTo>
                      <a:pt x="127" y="556"/>
                    </a:lnTo>
                    <a:lnTo>
                      <a:pt x="127" y="556"/>
                    </a:lnTo>
                    <a:lnTo>
                      <a:pt x="127" y="561"/>
                    </a:lnTo>
                    <a:lnTo>
                      <a:pt x="127" y="565"/>
                    </a:lnTo>
                    <a:lnTo>
                      <a:pt x="127" y="565"/>
                    </a:lnTo>
                    <a:lnTo>
                      <a:pt x="127" y="565"/>
                    </a:lnTo>
                    <a:lnTo>
                      <a:pt x="131" y="565"/>
                    </a:lnTo>
                    <a:lnTo>
                      <a:pt x="131" y="565"/>
                    </a:lnTo>
                    <a:lnTo>
                      <a:pt x="131" y="565"/>
                    </a:lnTo>
                    <a:lnTo>
                      <a:pt x="131" y="561"/>
                    </a:lnTo>
                    <a:lnTo>
                      <a:pt x="127" y="561"/>
                    </a:lnTo>
                    <a:lnTo>
                      <a:pt x="127" y="561"/>
                    </a:lnTo>
                    <a:lnTo>
                      <a:pt x="127" y="556"/>
                    </a:lnTo>
                    <a:lnTo>
                      <a:pt x="127" y="552"/>
                    </a:lnTo>
                    <a:lnTo>
                      <a:pt x="127" y="552"/>
                    </a:lnTo>
                    <a:lnTo>
                      <a:pt x="122" y="552"/>
                    </a:lnTo>
                    <a:lnTo>
                      <a:pt x="122" y="552"/>
                    </a:lnTo>
                    <a:lnTo>
                      <a:pt x="122" y="547"/>
                    </a:lnTo>
                    <a:lnTo>
                      <a:pt x="122" y="547"/>
                    </a:lnTo>
                    <a:lnTo>
                      <a:pt x="122" y="547"/>
                    </a:lnTo>
                    <a:lnTo>
                      <a:pt x="127" y="543"/>
                    </a:lnTo>
                    <a:lnTo>
                      <a:pt x="127" y="543"/>
                    </a:lnTo>
                    <a:lnTo>
                      <a:pt x="127" y="543"/>
                    </a:lnTo>
                    <a:lnTo>
                      <a:pt x="131" y="543"/>
                    </a:lnTo>
                    <a:lnTo>
                      <a:pt x="131" y="543"/>
                    </a:lnTo>
                    <a:lnTo>
                      <a:pt x="131" y="543"/>
                    </a:lnTo>
                    <a:lnTo>
                      <a:pt x="131" y="543"/>
                    </a:lnTo>
                    <a:lnTo>
                      <a:pt x="131" y="543"/>
                    </a:lnTo>
                    <a:lnTo>
                      <a:pt x="127" y="543"/>
                    </a:lnTo>
                    <a:lnTo>
                      <a:pt x="122" y="543"/>
                    </a:lnTo>
                    <a:lnTo>
                      <a:pt x="122" y="538"/>
                    </a:lnTo>
                    <a:lnTo>
                      <a:pt x="122" y="534"/>
                    </a:lnTo>
                    <a:lnTo>
                      <a:pt x="122" y="534"/>
                    </a:lnTo>
                    <a:lnTo>
                      <a:pt x="127" y="534"/>
                    </a:lnTo>
                    <a:lnTo>
                      <a:pt x="127" y="529"/>
                    </a:lnTo>
                    <a:lnTo>
                      <a:pt x="127" y="529"/>
                    </a:lnTo>
                    <a:lnTo>
                      <a:pt x="127" y="525"/>
                    </a:lnTo>
                    <a:lnTo>
                      <a:pt x="122" y="525"/>
                    </a:lnTo>
                    <a:lnTo>
                      <a:pt x="122" y="525"/>
                    </a:lnTo>
                    <a:lnTo>
                      <a:pt x="118" y="520"/>
                    </a:lnTo>
                    <a:lnTo>
                      <a:pt x="113" y="520"/>
                    </a:lnTo>
                    <a:lnTo>
                      <a:pt x="113" y="520"/>
                    </a:lnTo>
                    <a:lnTo>
                      <a:pt x="113" y="515"/>
                    </a:lnTo>
                    <a:lnTo>
                      <a:pt x="113" y="515"/>
                    </a:lnTo>
                    <a:lnTo>
                      <a:pt x="113" y="511"/>
                    </a:lnTo>
                    <a:lnTo>
                      <a:pt x="113" y="506"/>
                    </a:lnTo>
                    <a:lnTo>
                      <a:pt x="109" y="502"/>
                    </a:lnTo>
                    <a:lnTo>
                      <a:pt x="113" y="502"/>
                    </a:lnTo>
                    <a:lnTo>
                      <a:pt x="113" y="502"/>
                    </a:lnTo>
                    <a:lnTo>
                      <a:pt x="109" y="497"/>
                    </a:lnTo>
                    <a:lnTo>
                      <a:pt x="113" y="497"/>
                    </a:lnTo>
                    <a:lnTo>
                      <a:pt x="113" y="497"/>
                    </a:lnTo>
                    <a:lnTo>
                      <a:pt x="113" y="497"/>
                    </a:lnTo>
                    <a:lnTo>
                      <a:pt x="109" y="493"/>
                    </a:lnTo>
                    <a:lnTo>
                      <a:pt x="109" y="493"/>
                    </a:lnTo>
                    <a:lnTo>
                      <a:pt x="109" y="488"/>
                    </a:lnTo>
                    <a:lnTo>
                      <a:pt x="109" y="488"/>
                    </a:lnTo>
                    <a:lnTo>
                      <a:pt x="109" y="488"/>
                    </a:lnTo>
                    <a:lnTo>
                      <a:pt x="109" y="484"/>
                    </a:lnTo>
                    <a:lnTo>
                      <a:pt x="104" y="484"/>
                    </a:lnTo>
                    <a:lnTo>
                      <a:pt x="104" y="484"/>
                    </a:lnTo>
                    <a:lnTo>
                      <a:pt x="104" y="484"/>
                    </a:lnTo>
                    <a:lnTo>
                      <a:pt x="109" y="484"/>
                    </a:lnTo>
                    <a:lnTo>
                      <a:pt x="109" y="484"/>
                    </a:lnTo>
                    <a:lnTo>
                      <a:pt x="113" y="488"/>
                    </a:lnTo>
                    <a:lnTo>
                      <a:pt x="113" y="484"/>
                    </a:lnTo>
                    <a:lnTo>
                      <a:pt x="109" y="484"/>
                    </a:lnTo>
                    <a:lnTo>
                      <a:pt x="109" y="479"/>
                    </a:lnTo>
                    <a:lnTo>
                      <a:pt x="104" y="479"/>
                    </a:lnTo>
                    <a:lnTo>
                      <a:pt x="104" y="479"/>
                    </a:lnTo>
                    <a:lnTo>
                      <a:pt x="104" y="479"/>
                    </a:lnTo>
                    <a:lnTo>
                      <a:pt x="100" y="475"/>
                    </a:lnTo>
                    <a:lnTo>
                      <a:pt x="104" y="475"/>
                    </a:lnTo>
                    <a:lnTo>
                      <a:pt x="104" y="475"/>
                    </a:lnTo>
                    <a:lnTo>
                      <a:pt x="104" y="475"/>
                    </a:lnTo>
                    <a:lnTo>
                      <a:pt x="104" y="475"/>
                    </a:lnTo>
                    <a:lnTo>
                      <a:pt x="109" y="470"/>
                    </a:lnTo>
                    <a:lnTo>
                      <a:pt x="104" y="470"/>
                    </a:lnTo>
                    <a:lnTo>
                      <a:pt x="104" y="470"/>
                    </a:lnTo>
                    <a:lnTo>
                      <a:pt x="104" y="470"/>
                    </a:lnTo>
                    <a:lnTo>
                      <a:pt x="104" y="470"/>
                    </a:lnTo>
                    <a:lnTo>
                      <a:pt x="104" y="470"/>
                    </a:lnTo>
                    <a:lnTo>
                      <a:pt x="104" y="470"/>
                    </a:lnTo>
                    <a:lnTo>
                      <a:pt x="100" y="470"/>
                    </a:lnTo>
                    <a:lnTo>
                      <a:pt x="100" y="470"/>
                    </a:lnTo>
                    <a:lnTo>
                      <a:pt x="95" y="470"/>
                    </a:lnTo>
                    <a:lnTo>
                      <a:pt x="95" y="470"/>
                    </a:lnTo>
                    <a:lnTo>
                      <a:pt x="95" y="475"/>
                    </a:lnTo>
                    <a:lnTo>
                      <a:pt x="95" y="475"/>
                    </a:lnTo>
                    <a:lnTo>
                      <a:pt x="91" y="475"/>
                    </a:lnTo>
                    <a:lnTo>
                      <a:pt x="91" y="475"/>
                    </a:lnTo>
                    <a:lnTo>
                      <a:pt x="86" y="475"/>
                    </a:lnTo>
                    <a:lnTo>
                      <a:pt x="86" y="475"/>
                    </a:lnTo>
                    <a:lnTo>
                      <a:pt x="86" y="470"/>
                    </a:lnTo>
                    <a:lnTo>
                      <a:pt x="86" y="470"/>
                    </a:lnTo>
                    <a:lnTo>
                      <a:pt x="86" y="470"/>
                    </a:lnTo>
                    <a:lnTo>
                      <a:pt x="86" y="470"/>
                    </a:lnTo>
                    <a:lnTo>
                      <a:pt x="82" y="470"/>
                    </a:lnTo>
                    <a:lnTo>
                      <a:pt x="82" y="470"/>
                    </a:lnTo>
                    <a:lnTo>
                      <a:pt x="82" y="466"/>
                    </a:lnTo>
                    <a:lnTo>
                      <a:pt x="77" y="461"/>
                    </a:lnTo>
                    <a:lnTo>
                      <a:pt x="77" y="461"/>
                    </a:lnTo>
                    <a:lnTo>
                      <a:pt x="77" y="457"/>
                    </a:lnTo>
                    <a:lnTo>
                      <a:pt x="77" y="448"/>
                    </a:lnTo>
                    <a:lnTo>
                      <a:pt x="73" y="448"/>
                    </a:lnTo>
                    <a:lnTo>
                      <a:pt x="73" y="443"/>
                    </a:lnTo>
                    <a:lnTo>
                      <a:pt x="73" y="439"/>
                    </a:lnTo>
                    <a:lnTo>
                      <a:pt x="73" y="439"/>
                    </a:lnTo>
                    <a:lnTo>
                      <a:pt x="77" y="434"/>
                    </a:lnTo>
                    <a:lnTo>
                      <a:pt x="77" y="430"/>
                    </a:lnTo>
                    <a:lnTo>
                      <a:pt x="73" y="425"/>
                    </a:lnTo>
                    <a:lnTo>
                      <a:pt x="64" y="416"/>
                    </a:lnTo>
                    <a:lnTo>
                      <a:pt x="64" y="412"/>
                    </a:lnTo>
                    <a:lnTo>
                      <a:pt x="64" y="407"/>
                    </a:lnTo>
                    <a:lnTo>
                      <a:pt x="59" y="402"/>
                    </a:lnTo>
                    <a:lnTo>
                      <a:pt x="59" y="402"/>
                    </a:lnTo>
                    <a:lnTo>
                      <a:pt x="59" y="398"/>
                    </a:lnTo>
                    <a:lnTo>
                      <a:pt x="55" y="398"/>
                    </a:lnTo>
                    <a:lnTo>
                      <a:pt x="55" y="393"/>
                    </a:lnTo>
                    <a:lnTo>
                      <a:pt x="55" y="393"/>
                    </a:lnTo>
                    <a:lnTo>
                      <a:pt x="50" y="389"/>
                    </a:lnTo>
                    <a:lnTo>
                      <a:pt x="50" y="389"/>
                    </a:lnTo>
                    <a:lnTo>
                      <a:pt x="50" y="384"/>
                    </a:lnTo>
                    <a:lnTo>
                      <a:pt x="55" y="389"/>
                    </a:lnTo>
                    <a:lnTo>
                      <a:pt x="59" y="384"/>
                    </a:lnTo>
                    <a:lnTo>
                      <a:pt x="59" y="384"/>
                    </a:lnTo>
                    <a:lnTo>
                      <a:pt x="59" y="384"/>
                    </a:lnTo>
                    <a:lnTo>
                      <a:pt x="55" y="380"/>
                    </a:lnTo>
                    <a:lnTo>
                      <a:pt x="55" y="380"/>
                    </a:lnTo>
                    <a:lnTo>
                      <a:pt x="55" y="375"/>
                    </a:lnTo>
                    <a:lnTo>
                      <a:pt x="59" y="375"/>
                    </a:lnTo>
                    <a:lnTo>
                      <a:pt x="59" y="375"/>
                    </a:lnTo>
                    <a:lnTo>
                      <a:pt x="59" y="371"/>
                    </a:lnTo>
                    <a:lnTo>
                      <a:pt x="55" y="362"/>
                    </a:lnTo>
                    <a:lnTo>
                      <a:pt x="59" y="362"/>
                    </a:lnTo>
                    <a:lnTo>
                      <a:pt x="59" y="357"/>
                    </a:lnTo>
                    <a:lnTo>
                      <a:pt x="55" y="353"/>
                    </a:lnTo>
                    <a:lnTo>
                      <a:pt x="55" y="353"/>
                    </a:lnTo>
                    <a:lnTo>
                      <a:pt x="55" y="353"/>
                    </a:lnTo>
                    <a:lnTo>
                      <a:pt x="55" y="348"/>
                    </a:lnTo>
                    <a:lnTo>
                      <a:pt x="59" y="348"/>
                    </a:lnTo>
                    <a:lnTo>
                      <a:pt x="59" y="344"/>
                    </a:lnTo>
                    <a:lnTo>
                      <a:pt x="59" y="339"/>
                    </a:lnTo>
                    <a:lnTo>
                      <a:pt x="59" y="335"/>
                    </a:lnTo>
                    <a:lnTo>
                      <a:pt x="59" y="330"/>
                    </a:lnTo>
                    <a:lnTo>
                      <a:pt x="55" y="330"/>
                    </a:lnTo>
                    <a:lnTo>
                      <a:pt x="55" y="326"/>
                    </a:lnTo>
                    <a:lnTo>
                      <a:pt x="55" y="326"/>
                    </a:lnTo>
                    <a:lnTo>
                      <a:pt x="55" y="321"/>
                    </a:lnTo>
                    <a:lnTo>
                      <a:pt x="55" y="321"/>
                    </a:lnTo>
                    <a:lnTo>
                      <a:pt x="59" y="317"/>
                    </a:lnTo>
                    <a:lnTo>
                      <a:pt x="59" y="312"/>
                    </a:lnTo>
                    <a:lnTo>
                      <a:pt x="55" y="312"/>
                    </a:lnTo>
                    <a:lnTo>
                      <a:pt x="55" y="308"/>
                    </a:lnTo>
                    <a:lnTo>
                      <a:pt x="55" y="308"/>
                    </a:lnTo>
                    <a:lnTo>
                      <a:pt x="55" y="303"/>
                    </a:lnTo>
                    <a:lnTo>
                      <a:pt x="55" y="303"/>
                    </a:lnTo>
                    <a:lnTo>
                      <a:pt x="55" y="298"/>
                    </a:lnTo>
                    <a:lnTo>
                      <a:pt x="55" y="294"/>
                    </a:lnTo>
                    <a:lnTo>
                      <a:pt x="55" y="294"/>
                    </a:lnTo>
                    <a:lnTo>
                      <a:pt x="50" y="289"/>
                    </a:lnTo>
                    <a:lnTo>
                      <a:pt x="50" y="280"/>
                    </a:lnTo>
                    <a:lnTo>
                      <a:pt x="45" y="276"/>
                    </a:lnTo>
                    <a:lnTo>
                      <a:pt x="41" y="267"/>
                    </a:lnTo>
                    <a:lnTo>
                      <a:pt x="41" y="267"/>
                    </a:lnTo>
                    <a:lnTo>
                      <a:pt x="36" y="262"/>
                    </a:lnTo>
                    <a:lnTo>
                      <a:pt x="36" y="258"/>
                    </a:lnTo>
                    <a:lnTo>
                      <a:pt x="36" y="253"/>
                    </a:lnTo>
                    <a:lnTo>
                      <a:pt x="41" y="249"/>
                    </a:lnTo>
                    <a:lnTo>
                      <a:pt x="41" y="244"/>
                    </a:lnTo>
                    <a:lnTo>
                      <a:pt x="36" y="240"/>
                    </a:lnTo>
                    <a:lnTo>
                      <a:pt x="36" y="235"/>
                    </a:lnTo>
                    <a:lnTo>
                      <a:pt x="36" y="231"/>
                    </a:lnTo>
                    <a:lnTo>
                      <a:pt x="32" y="231"/>
                    </a:lnTo>
                    <a:lnTo>
                      <a:pt x="32" y="226"/>
                    </a:lnTo>
                    <a:lnTo>
                      <a:pt x="32" y="222"/>
                    </a:lnTo>
                    <a:lnTo>
                      <a:pt x="32" y="222"/>
                    </a:lnTo>
                    <a:lnTo>
                      <a:pt x="32" y="222"/>
                    </a:lnTo>
                    <a:lnTo>
                      <a:pt x="32" y="217"/>
                    </a:lnTo>
                    <a:lnTo>
                      <a:pt x="32" y="213"/>
                    </a:lnTo>
                    <a:lnTo>
                      <a:pt x="32" y="208"/>
                    </a:lnTo>
                    <a:lnTo>
                      <a:pt x="32" y="204"/>
                    </a:lnTo>
                    <a:lnTo>
                      <a:pt x="32" y="199"/>
                    </a:lnTo>
                    <a:lnTo>
                      <a:pt x="32" y="199"/>
                    </a:lnTo>
                    <a:lnTo>
                      <a:pt x="32" y="199"/>
                    </a:lnTo>
                    <a:lnTo>
                      <a:pt x="32" y="199"/>
                    </a:lnTo>
                    <a:lnTo>
                      <a:pt x="32" y="194"/>
                    </a:lnTo>
                    <a:lnTo>
                      <a:pt x="32" y="190"/>
                    </a:lnTo>
                    <a:lnTo>
                      <a:pt x="32" y="185"/>
                    </a:lnTo>
                    <a:lnTo>
                      <a:pt x="32" y="185"/>
                    </a:lnTo>
                    <a:lnTo>
                      <a:pt x="32" y="181"/>
                    </a:lnTo>
                    <a:lnTo>
                      <a:pt x="32" y="176"/>
                    </a:lnTo>
                    <a:lnTo>
                      <a:pt x="32" y="172"/>
                    </a:lnTo>
                    <a:lnTo>
                      <a:pt x="32" y="172"/>
                    </a:lnTo>
                    <a:lnTo>
                      <a:pt x="32" y="167"/>
                    </a:lnTo>
                    <a:lnTo>
                      <a:pt x="27" y="163"/>
                    </a:lnTo>
                    <a:lnTo>
                      <a:pt x="27" y="163"/>
                    </a:lnTo>
                    <a:lnTo>
                      <a:pt x="27" y="158"/>
                    </a:lnTo>
                    <a:lnTo>
                      <a:pt x="27" y="158"/>
                    </a:lnTo>
                    <a:lnTo>
                      <a:pt x="27" y="154"/>
                    </a:lnTo>
                    <a:lnTo>
                      <a:pt x="27" y="154"/>
                    </a:lnTo>
                    <a:lnTo>
                      <a:pt x="27" y="149"/>
                    </a:lnTo>
                    <a:lnTo>
                      <a:pt x="27" y="145"/>
                    </a:lnTo>
                    <a:lnTo>
                      <a:pt x="23" y="140"/>
                    </a:lnTo>
                    <a:lnTo>
                      <a:pt x="23" y="136"/>
                    </a:lnTo>
                    <a:lnTo>
                      <a:pt x="23" y="131"/>
                    </a:lnTo>
                    <a:lnTo>
                      <a:pt x="23" y="127"/>
                    </a:lnTo>
                    <a:lnTo>
                      <a:pt x="23" y="127"/>
                    </a:lnTo>
                    <a:lnTo>
                      <a:pt x="23" y="122"/>
                    </a:lnTo>
                    <a:lnTo>
                      <a:pt x="23" y="122"/>
                    </a:lnTo>
                    <a:lnTo>
                      <a:pt x="23" y="122"/>
                    </a:lnTo>
                    <a:lnTo>
                      <a:pt x="23" y="118"/>
                    </a:lnTo>
                    <a:lnTo>
                      <a:pt x="18" y="118"/>
                    </a:lnTo>
                    <a:lnTo>
                      <a:pt x="18" y="118"/>
                    </a:lnTo>
                    <a:lnTo>
                      <a:pt x="18" y="113"/>
                    </a:lnTo>
                    <a:lnTo>
                      <a:pt x="18" y="113"/>
                    </a:lnTo>
                    <a:lnTo>
                      <a:pt x="18" y="109"/>
                    </a:lnTo>
                    <a:lnTo>
                      <a:pt x="18" y="109"/>
                    </a:lnTo>
                    <a:lnTo>
                      <a:pt x="18" y="109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8" y="95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14" y="63"/>
                    </a:lnTo>
                    <a:lnTo>
                      <a:pt x="14" y="59"/>
                    </a:lnTo>
                    <a:lnTo>
                      <a:pt x="14" y="54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36"/>
                    </a:lnTo>
                    <a:lnTo>
                      <a:pt x="5" y="27"/>
                    </a:lnTo>
                    <a:lnTo>
                      <a:pt x="5" y="23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0"/>
                    </a:lnTo>
                    <a:lnTo>
                      <a:pt x="14" y="5"/>
                    </a:lnTo>
                    <a:lnTo>
                      <a:pt x="18" y="5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50"/>
                    </a:lnTo>
                    <a:lnTo>
                      <a:pt x="41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41" y="63"/>
                    </a:lnTo>
                    <a:lnTo>
                      <a:pt x="41" y="63"/>
                    </a:lnTo>
                    <a:lnTo>
                      <a:pt x="41" y="63"/>
                    </a:lnTo>
                    <a:lnTo>
                      <a:pt x="41" y="63"/>
                    </a:lnTo>
                    <a:lnTo>
                      <a:pt x="41" y="63"/>
                    </a:lnTo>
                    <a:lnTo>
                      <a:pt x="41" y="68"/>
                    </a:lnTo>
                    <a:lnTo>
                      <a:pt x="41" y="68"/>
                    </a:lnTo>
                    <a:lnTo>
                      <a:pt x="41" y="68"/>
                    </a:lnTo>
                    <a:lnTo>
                      <a:pt x="45" y="68"/>
                    </a:lnTo>
                    <a:lnTo>
                      <a:pt x="45" y="72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81"/>
                    </a:lnTo>
                    <a:lnTo>
                      <a:pt x="55" y="81"/>
                    </a:lnTo>
                    <a:lnTo>
                      <a:pt x="55" y="86"/>
                    </a:lnTo>
                    <a:lnTo>
                      <a:pt x="55" y="86"/>
                    </a:lnTo>
                    <a:lnTo>
                      <a:pt x="55" y="90"/>
                    </a:lnTo>
                    <a:lnTo>
                      <a:pt x="59" y="90"/>
                    </a:lnTo>
                    <a:lnTo>
                      <a:pt x="59" y="95"/>
                    </a:lnTo>
                    <a:lnTo>
                      <a:pt x="59" y="95"/>
                    </a:lnTo>
                    <a:lnTo>
                      <a:pt x="59" y="100"/>
                    </a:lnTo>
                    <a:lnTo>
                      <a:pt x="59" y="100"/>
                    </a:lnTo>
                    <a:lnTo>
                      <a:pt x="59" y="104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12" name="Freeform 33"/>
              <p:cNvSpPr>
                <a:spLocks noEditPoints="1"/>
              </p:cNvSpPr>
              <p:nvPr/>
            </p:nvSpPr>
            <p:spPr bwMode="auto">
              <a:xfrm>
                <a:off x="6127751" y="1250951"/>
                <a:ext cx="1341438" cy="1120775"/>
              </a:xfrm>
              <a:custGeom>
                <a:avLst/>
                <a:gdLst>
                  <a:gd name="T0" fmla="*/ 687 w 845"/>
                  <a:gd name="T1" fmla="*/ 692 h 706"/>
                  <a:gd name="T2" fmla="*/ 574 w 845"/>
                  <a:gd name="T3" fmla="*/ 0 h 706"/>
                  <a:gd name="T4" fmla="*/ 628 w 845"/>
                  <a:gd name="T5" fmla="*/ 19 h 706"/>
                  <a:gd name="T6" fmla="*/ 687 w 845"/>
                  <a:gd name="T7" fmla="*/ 68 h 706"/>
                  <a:gd name="T8" fmla="*/ 759 w 845"/>
                  <a:gd name="T9" fmla="*/ 95 h 706"/>
                  <a:gd name="T10" fmla="*/ 813 w 845"/>
                  <a:gd name="T11" fmla="*/ 95 h 706"/>
                  <a:gd name="T12" fmla="*/ 827 w 845"/>
                  <a:gd name="T13" fmla="*/ 141 h 706"/>
                  <a:gd name="T14" fmla="*/ 822 w 845"/>
                  <a:gd name="T15" fmla="*/ 177 h 706"/>
                  <a:gd name="T16" fmla="*/ 818 w 845"/>
                  <a:gd name="T17" fmla="*/ 195 h 706"/>
                  <a:gd name="T18" fmla="*/ 804 w 845"/>
                  <a:gd name="T19" fmla="*/ 222 h 706"/>
                  <a:gd name="T20" fmla="*/ 786 w 845"/>
                  <a:gd name="T21" fmla="*/ 240 h 706"/>
                  <a:gd name="T22" fmla="*/ 745 w 845"/>
                  <a:gd name="T23" fmla="*/ 281 h 706"/>
                  <a:gd name="T24" fmla="*/ 732 w 845"/>
                  <a:gd name="T25" fmla="*/ 258 h 706"/>
                  <a:gd name="T26" fmla="*/ 682 w 845"/>
                  <a:gd name="T27" fmla="*/ 290 h 706"/>
                  <a:gd name="T28" fmla="*/ 764 w 845"/>
                  <a:gd name="T29" fmla="*/ 312 h 706"/>
                  <a:gd name="T30" fmla="*/ 754 w 845"/>
                  <a:gd name="T31" fmla="*/ 340 h 706"/>
                  <a:gd name="T32" fmla="*/ 777 w 845"/>
                  <a:gd name="T33" fmla="*/ 389 h 706"/>
                  <a:gd name="T34" fmla="*/ 809 w 845"/>
                  <a:gd name="T35" fmla="*/ 430 h 706"/>
                  <a:gd name="T36" fmla="*/ 836 w 845"/>
                  <a:gd name="T37" fmla="*/ 466 h 706"/>
                  <a:gd name="T38" fmla="*/ 831 w 845"/>
                  <a:gd name="T39" fmla="*/ 507 h 706"/>
                  <a:gd name="T40" fmla="*/ 818 w 845"/>
                  <a:gd name="T41" fmla="*/ 538 h 706"/>
                  <a:gd name="T42" fmla="*/ 809 w 845"/>
                  <a:gd name="T43" fmla="*/ 575 h 706"/>
                  <a:gd name="T44" fmla="*/ 795 w 845"/>
                  <a:gd name="T45" fmla="*/ 606 h 706"/>
                  <a:gd name="T46" fmla="*/ 754 w 845"/>
                  <a:gd name="T47" fmla="*/ 615 h 706"/>
                  <a:gd name="T48" fmla="*/ 741 w 845"/>
                  <a:gd name="T49" fmla="*/ 629 h 706"/>
                  <a:gd name="T50" fmla="*/ 705 w 845"/>
                  <a:gd name="T51" fmla="*/ 642 h 706"/>
                  <a:gd name="T52" fmla="*/ 691 w 845"/>
                  <a:gd name="T53" fmla="*/ 638 h 706"/>
                  <a:gd name="T54" fmla="*/ 655 w 845"/>
                  <a:gd name="T55" fmla="*/ 638 h 706"/>
                  <a:gd name="T56" fmla="*/ 619 w 845"/>
                  <a:gd name="T57" fmla="*/ 611 h 706"/>
                  <a:gd name="T58" fmla="*/ 578 w 845"/>
                  <a:gd name="T59" fmla="*/ 620 h 706"/>
                  <a:gd name="T60" fmla="*/ 551 w 845"/>
                  <a:gd name="T61" fmla="*/ 633 h 706"/>
                  <a:gd name="T62" fmla="*/ 533 w 845"/>
                  <a:gd name="T63" fmla="*/ 642 h 706"/>
                  <a:gd name="T64" fmla="*/ 497 w 845"/>
                  <a:gd name="T65" fmla="*/ 606 h 706"/>
                  <a:gd name="T66" fmla="*/ 474 w 845"/>
                  <a:gd name="T67" fmla="*/ 570 h 706"/>
                  <a:gd name="T68" fmla="*/ 461 w 845"/>
                  <a:gd name="T69" fmla="*/ 520 h 706"/>
                  <a:gd name="T70" fmla="*/ 429 w 845"/>
                  <a:gd name="T71" fmla="*/ 502 h 706"/>
                  <a:gd name="T72" fmla="*/ 389 w 845"/>
                  <a:gd name="T73" fmla="*/ 502 h 706"/>
                  <a:gd name="T74" fmla="*/ 348 w 845"/>
                  <a:gd name="T75" fmla="*/ 520 h 706"/>
                  <a:gd name="T76" fmla="*/ 307 w 845"/>
                  <a:gd name="T77" fmla="*/ 520 h 706"/>
                  <a:gd name="T78" fmla="*/ 258 w 845"/>
                  <a:gd name="T79" fmla="*/ 520 h 706"/>
                  <a:gd name="T80" fmla="*/ 190 w 845"/>
                  <a:gd name="T81" fmla="*/ 484 h 706"/>
                  <a:gd name="T82" fmla="*/ 131 w 845"/>
                  <a:gd name="T83" fmla="*/ 466 h 706"/>
                  <a:gd name="T84" fmla="*/ 127 w 845"/>
                  <a:gd name="T85" fmla="*/ 439 h 706"/>
                  <a:gd name="T86" fmla="*/ 95 w 845"/>
                  <a:gd name="T87" fmla="*/ 385 h 706"/>
                  <a:gd name="T88" fmla="*/ 45 w 845"/>
                  <a:gd name="T89" fmla="*/ 362 h 706"/>
                  <a:gd name="T90" fmla="*/ 27 w 845"/>
                  <a:gd name="T91" fmla="*/ 335 h 706"/>
                  <a:gd name="T92" fmla="*/ 5 w 845"/>
                  <a:gd name="T93" fmla="*/ 299 h 706"/>
                  <a:gd name="T94" fmla="*/ 45 w 845"/>
                  <a:gd name="T95" fmla="*/ 281 h 706"/>
                  <a:gd name="T96" fmla="*/ 81 w 845"/>
                  <a:gd name="T97" fmla="*/ 240 h 706"/>
                  <a:gd name="T98" fmla="*/ 68 w 845"/>
                  <a:gd name="T99" fmla="*/ 199 h 706"/>
                  <a:gd name="T100" fmla="*/ 90 w 845"/>
                  <a:gd name="T101" fmla="*/ 159 h 706"/>
                  <a:gd name="T102" fmla="*/ 127 w 845"/>
                  <a:gd name="T103" fmla="*/ 132 h 706"/>
                  <a:gd name="T104" fmla="*/ 154 w 845"/>
                  <a:gd name="T105" fmla="*/ 132 h 706"/>
                  <a:gd name="T106" fmla="*/ 208 w 845"/>
                  <a:gd name="T107" fmla="*/ 163 h 706"/>
                  <a:gd name="T108" fmla="*/ 258 w 845"/>
                  <a:gd name="T109" fmla="*/ 195 h 706"/>
                  <a:gd name="T110" fmla="*/ 375 w 845"/>
                  <a:gd name="T111" fmla="*/ 231 h 706"/>
                  <a:gd name="T112" fmla="*/ 488 w 845"/>
                  <a:gd name="T113" fmla="*/ 231 h 706"/>
                  <a:gd name="T114" fmla="*/ 542 w 845"/>
                  <a:gd name="T115" fmla="*/ 199 h 706"/>
                  <a:gd name="T116" fmla="*/ 565 w 845"/>
                  <a:gd name="T117" fmla="*/ 168 h 706"/>
                  <a:gd name="T118" fmla="*/ 596 w 845"/>
                  <a:gd name="T119" fmla="*/ 141 h 706"/>
                  <a:gd name="T120" fmla="*/ 596 w 845"/>
                  <a:gd name="T121" fmla="*/ 118 h 706"/>
                  <a:gd name="T122" fmla="*/ 542 w 845"/>
                  <a:gd name="T123" fmla="*/ 104 h 706"/>
                  <a:gd name="T124" fmla="*/ 556 w 845"/>
                  <a:gd name="T125" fmla="*/ 46 h 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45" h="706">
                    <a:moveTo>
                      <a:pt x="718" y="670"/>
                    </a:moveTo>
                    <a:lnTo>
                      <a:pt x="718" y="670"/>
                    </a:lnTo>
                    <a:lnTo>
                      <a:pt x="718" y="670"/>
                    </a:lnTo>
                    <a:lnTo>
                      <a:pt x="718" y="670"/>
                    </a:lnTo>
                    <a:lnTo>
                      <a:pt x="723" y="674"/>
                    </a:lnTo>
                    <a:lnTo>
                      <a:pt x="723" y="674"/>
                    </a:lnTo>
                    <a:lnTo>
                      <a:pt x="718" y="679"/>
                    </a:lnTo>
                    <a:lnTo>
                      <a:pt x="718" y="679"/>
                    </a:lnTo>
                    <a:lnTo>
                      <a:pt x="718" y="683"/>
                    </a:lnTo>
                    <a:lnTo>
                      <a:pt x="718" y="683"/>
                    </a:lnTo>
                    <a:lnTo>
                      <a:pt x="718" y="683"/>
                    </a:lnTo>
                    <a:lnTo>
                      <a:pt x="718" y="688"/>
                    </a:lnTo>
                    <a:lnTo>
                      <a:pt x="718" y="688"/>
                    </a:lnTo>
                    <a:lnTo>
                      <a:pt x="718" y="688"/>
                    </a:lnTo>
                    <a:lnTo>
                      <a:pt x="718" y="692"/>
                    </a:lnTo>
                    <a:lnTo>
                      <a:pt x="718" y="692"/>
                    </a:lnTo>
                    <a:lnTo>
                      <a:pt x="714" y="697"/>
                    </a:lnTo>
                    <a:lnTo>
                      <a:pt x="714" y="697"/>
                    </a:lnTo>
                    <a:lnTo>
                      <a:pt x="714" y="697"/>
                    </a:lnTo>
                    <a:lnTo>
                      <a:pt x="714" y="697"/>
                    </a:lnTo>
                    <a:lnTo>
                      <a:pt x="714" y="697"/>
                    </a:lnTo>
                    <a:lnTo>
                      <a:pt x="709" y="697"/>
                    </a:lnTo>
                    <a:lnTo>
                      <a:pt x="709" y="701"/>
                    </a:lnTo>
                    <a:lnTo>
                      <a:pt x="709" y="701"/>
                    </a:lnTo>
                    <a:lnTo>
                      <a:pt x="709" y="701"/>
                    </a:lnTo>
                    <a:lnTo>
                      <a:pt x="709" y="701"/>
                    </a:lnTo>
                    <a:lnTo>
                      <a:pt x="709" y="701"/>
                    </a:lnTo>
                    <a:lnTo>
                      <a:pt x="705" y="701"/>
                    </a:lnTo>
                    <a:lnTo>
                      <a:pt x="705" y="706"/>
                    </a:lnTo>
                    <a:lnTo>
                      <a:pt x="705" y="706"/>
                    </a:lnTo>
                    <a:lnTo>
                      <a:pt x="705" y="706"/>
                    </a:lnTo>
                    <a:lnTo>
                      <a:pt x="705" y="706"/>
                    </a:lnTo>
                    <a:lnTo>
                      <a:pt x="700" y="706"/>
                    </a:lnTo>
                    <a:lnTo>
                      <a:pt x="700" y="701"/>
                    </a:lnTo>
                    <a:lnTo>
                      <a:pt x="696" y="701"/>
                    </a:lnTo>
                    <a:lnTo>
                      <a:pt x="696" y="701"/>
                    </a:lnTo>
                    <a:lnTo>
                      <a:pt x="691" y="701"/>
                    </a:lnTo>
                    <a:lnTo>
                      <a:pt x="687" y="697"/>
                    </a:lnTo>
                    <a:lnTo>
                      <a:pt x="687" y="697"/>
                    </a:lnTo>
                    <a:lnTo>
                      <a:pt x="687" y="692"/>
                    </a:lnTo>
                    <a:lnTo>
                      <a:pt x="687" y="692"/>
                    </a:lnTo>
                    <a:lnTo>
                      <a:pt x="682" y="683"/>
                    </a:lnTo>
                    <a:lnTo>
                      <a:pt x="682" y="683"/>
                    </a:lnTo>
                    <a:lnTo>
                      <a:pt x="682" y="683"/>
                    </a:lnTo>
                    <a:lnTo>
                      <a:pt x="687" y="683"/>
                    </a:lnTo>
                    <a:lnTo>
                      <a:pt x="687" y="679"/>
                    </a:lnTo>
                    <a:lnTo>
                      <a:pt x="687" y="679"/>
                    </a:lnTo>
                    <a:lnTo>
                      <a:pt x="691" y="674"/>
                    </a:lnTo>
                    <a:lnTo>
                      <a:pt x="691" y="674"/>
                    </a:lnTo>
                    <a:lnTo>
                      <a:pt x="691" y="674"/>
                    </a:lnTo>
                    <a:lnTo>
                      <a:pt x="691" y="674"/>
                    </a:lnTo>
                    <a:lnTo>
                      <a:pt x="691" y="674"/>
                    </a:lnTo>
                    <a:lnTo>
                      <a:pt x="691" y="670"/>
                    </a:lnTo>
                    <a:lnTo>
                      <a:pt x="691" y="670"/>
                    </a:lnTo>
                    <a:lnTo>
                      <a:pt x="696" y="670"/>
                    </a:lnTo>
                    <a:lnTo>
                      <a:pt x="696" y="670"/>
                    </a:lnTo>
                    <a:lnTo>
                      <a:pt x="696" y="670"/>
                    </a:lnTo>
                    <a:lnTo>
                      <a:pt x="696" y="670"/>
                    </a:lnTo>
                    <a:lnTo>
                      <a:pt x="700" y="670"/>
                    </a:lnTo>
                    <a:lnTo>
                      <a:pt x="705" y="670"/>
                    </a:lnTo>
                    <a:lnTo>
                      <a:pt x="705" y="670"/>
                    </a:lnTo>
                    <a:lnTo>
                      <a:pt x="705" y="670"/>
                    </a:lnTo>
                    <a:lnTo>
                      <a:pt x="709" y="670"/>
                    </a:lnTo>
                    <a:lnTo>
                      <a:pt x="709" y="670"/>
                    </a:lnTo>
                    <a:lnTo>
                      <a:pt x="709" y="670"/>
                    </a:lnTo>
                    <a:lnTo>
                      <a:pt x="709" y="670"/>
                    </a:lnTo>
                    <a:lnTo>
                      <a:pt x="709" y="670"/>
                    </a:lnTo>
                    <a:lnTo>
                      <a:pt x="714" y="670"/>
                    </a:lnTo>
                    <a:lnTo>
                      <a:pt x="714" y="665"/>
                    </a:lnTo>
                    <a:lnTo>
                      <a:pt x="714" y="665"/>
                    </a:lnTo>
                    <a:lnTo>
                      <a:pt x="714" y="665"/>
                    </a:lnTo>
                    <a:lnTo>
                      <a:pt x="714" y="665"/>
                    </a:lnTo>
                    <a:lnTo>
                      <a:pt x="714" y="670"/>
                    </a:lnTo>
                    <a:lnTo>
                      <a:pt x="718" y="670"/>
                    </a:lnTo>
                    <a:lnTo>
                      <a:pt x="718" y="670"/>
                    </a:lnTo>
                    <a:moveTo>
                      <a:pt x="574" y="0"/>
                    </a:moveTo>
                    <a:lnTo>
                      <a:pt x="574" y="0"/>
                    </a:lnTo>
                    <a:lnTo>
                      <a:pt x="574" y="0"/>
                    </a:lnTo>
                    <a:lnTo>
                      <a:pt x="574" y="0"/>
                    </a:lnTo>
                    <a:lnTo>
                      <a:pt x="574" y="0"/>
                    </a:lnTo>
                    <a:lnTo>
                      <a:pt x="574" y="0"/>
                    </a:lnTo>
                    <a:lnTo>
                      <a:pt x="583" y="0"/>
                    </a:lnTo>
                    <a:lnTo>
                      <a:pt x="583" y="0"/>
                    </a:lnTo>
                    <a:lnTo>
                      <a:pt x="583" y="0"/>
                    </a:lnTo>
                    <a:lnTo>
                      <a:pt x="587" y="0"/>
                    </a:lnTo>
                    <a:lnTo>
                      <a:pt x="587" y="5"/>
                    </a:lnTo>
                    <a:lnTo>
                      <a:pt x="592" y="5"/>
                    </a:lnTo>
                    <a:lnTo>
                      <a:pt x="592" y="5"/>
                    </a:lnTo>
                    <a:lnTo>
                      <a:pt x="596" y="5"/>
                    </a:lnTo>
                    <a:lnTo>
                      <a:pt x="596" y="5"/>
                    </a:lnTo>
                    <a:lnTo>
                      <a:pt x="596" y="5"/>
                    </a:lnTo>
                    <a:lnTo>
                      <a:pt x="596" y="5"/>
                    </a:lnTo>
                    <a:lnTo>
                      <a:pt x="596" y="5"/>
                    </a:lnTo>
                    <a:lnTo>
                      <a:pt x="601" y="5"/>
                    </a:lnTo>
                    <a:lnTo>
                      <a:pt x="605" y="5"/>
                    </a:lnTo>
                    <a:lnTo>
                      <a:pt x="605" y="5"/>
                    </a:lnTo>
                    <a:lnTo>
                      <a:pt x="605" y="5"/>
                    </a:lnTo>
                    <a:lnTo>
                      <a:pt x="610" y="5"/>
                    </a:lnTo>
                    <a:lnTo>
                      <a:pt x="610" y="9"/>
                    </a:lnTo>
                    <a:lnTo>
                      <a:pt x="610" y="9"/>
                    </a:lnTo>
                    <a:lnTo>
                      <a:pt x="610" y="9"/>
                    </a:lnTo>
                    <a:lnTo>
                      <a:pt x="610" y="9"/>
                    </a:lnTo>
                    <a:lnTo>
                      <a:pt x="614" y="9"/>
                    </a:lnTo>
                    <a:lnTo>
                      <a:pt x="614" y="9"/>
                    </a:lnTo>
                    <a:lnTo>
                      <a:pt x="614" y="9"/>
                    </a:lnTo>
                    <a:lnTo>
                      <a:pt x="619" y="9"/>
                    </a:lnTo>
                    <a:lnTo>
                      <a:pt x="619" y="14"/>
                    </a:lnTo>
                    <a:lnTo>
                      <a:pt x="619" y="14"/>
                    </a:lnTo>
                    <a:lnTo>
                      <a:pt x="619" y="14"/>
                    </a:lnTo>
                    <a:lnTo>
                      <a:pt x="619" y="14"/>
                    </a:lnTo>
                    <a:lnTo>
                      <a:pt x="619" y="14"/>
                    </a:lnTo>
                    <a:lnTo>
                      <a:pt x="619" y="14"/>
                    </a:lnTo>
                    <a:lnTo>
                      <a:pt x="619" y="14"/>
                    </a:lnTo>
                    <a:lnTo>
                      <a:pt x="623" y="14"/>
                    </a:lnTo>
                    <a:lnTo>
                      <a:pt x="623" y="14"/>
                    </a:lnTo>
                    <a:lnTo>
                      <a:pt x="623" y="19"/>
                    </a:lnTo>
                    <a:lnTo>
                      <a:pt x="623" y="19"/>
                    </a:lnTo>
                    <a:lnTo>
                      <a:pt x="628" y="19"/>
                    </a:lnTo>
                    <a:lnTo>
                      <a:pt x="628" y="19"/>
                    </a:lnTo>
                    <a:lnTo>
                      <a:pt x="628" y="19"/>
                    </a:lnTo>
                    <a:lnTo>
                      <a:pt x="628" y="19"/>
                    </a:lnTo>
                    <a:lnTo>
                      <a:pt x="628" y="19"/>
                    </a:lnTo>
                    <a:lnTo>
                      <a:pt x="633" y="23"/>
                    </a:lnTo>
                    <a:lnTo>
                      <a:pt x="633" y="23"/>
                    </a:lnTo>
                    <a:lnTo>
                      <a:pt x="633" y="23"/>
                    </a:lnTo>
                    <a:lnTo>
                      <a:pt x="637" y="23"/>
                    </a:lnTo>
                    <a:lnTo>
                      <a:pt x="637" y="28"/>
                    </a:lnTo>
                    <a:lnTo>
                      <a:pt x="642" y="28"/>
                    </a:lnTo>
                    <a:lnTo>
                      <a:pt x="642" y="32"/>
                    </a:lnTo>
                    <a:lnTo>
                      <a:pt x="646" y="32"/>
                    </a:lnTo>
                    <a:lnTo>
                      <a:pt x="646" y="32"/>
                    </a:lnTo>
                    <a:lnTo>
                      <a:pt x="646" y="32"/>
                    </a:lnTo>
                    <a:lnTo>
                      <a:pt x="646" y="32"/>
                    </a:lnTo>
                    <a:lnTo>
                      <a:pt x="651" y="37"/>
                    </a:lnTo>
                    <a:lnTo>
                      <a:pt x="651" y="37"/>
                    </a:lnTo>
                    <a:lnTo>
                      <a:pt x="651" y="37"/>
                    </a:lnTo>
                    <a:lnTo>
                      <a:pt x="651" y="37"/>
                    </a:lnTo>
                    <a:lnTo>
                      <a:pt x="651" y="37"/>
                    </a:lnTo>
                    <a:lnTo>
                      <a:pt x="655" y="41"/>
                    </a:lnTo>
                    <a:lnTo>
                      <a:pt x="655" y="41"/>
                    </a:lnTo>
                    <a:lnTo>
                      <a:pt x="655" y="41"/>
                    </a:lnTo>
                    <a:lnTo>
                      <a:pt x="660" y="46"/>
                    </a:lnTo>
                    <a:lnTo>
                      <a:pt x="664" y="46"/>
                    </a:lnTo>
                    <a:lnTo>
                      <a:pt x="669" y="50"/>
                    </a:lnTo>
                    <a:lnTo>
                      <a:pt x="669" y="50"/>
                    </a:lnTo>
                    <a:lnTo>
                      <a:pt x="669" y="50"/>
                    </a:lnTo>
                    <a:lnTo>
                      <a:pt x="669" y="55"/>
                    </a:lnTo>
                    <a:lnTo>
                      <a:pt x="669" y="55"/>
                    </a:lnTo>
                    <a:lnTo>
                      <a:pt x="673" y="55"/>
                    </a:lnTo>
                    <a:lnTo>
                      <a:pt x="673" y="55"/>
                    </a:lnTo>
                    <a:lnTo>
                      <a:pt x="673" y="55"/>
                    </a:lnTo>
                    <a:lnTo>
                      <a:pt x="673" y="55"/>
                    </a:lnTo>
                    <a:lnTo>
                      <a:pt x="678" y="59"/>
                    </a:lnTo>
                    <a:lnTo>
                      <a:pt x="678" y="59"/>
                    </a:lnTo>
                    <a:lnTo>
                      <a:pt x="682" y="64"/>
                    </a:lnTo>
                    <a:lnTo>
                      <a:pt x="682" y="64"/>
                    </a:lnTo>
                    <a:lnTo>
                      <a:pt x="682" y="64"/>
                    </a:lnTo>
                    <a:lnTo>
                      <a:pt x="687" y="68"/>
                    </a:lnTo>
                    <a:lnTo>
                      <a:pt x="687" y="68"/>
                    </a:lnTo>
                    <a:lnTo>
                      <a:pt x="687" y="68"/>
                    </a:lnTo>
                    <a:lnTo>
                      <a:pt x="691" y="68"/>
                    </a:lnTo>
                    <a:lnTo>
                      <a:pt x="696" y="68"/>
                    </a:lnTo>
                    <a:lnTo>
                      <a:pt x="696" y="68"/>
                    </a:lnTo>
                    <a:lnTo>
                      <a:pt x="700" y="68"/>
                    </a:lnTo>
                    <a:lnTo>
                      <a:pt x="705" y="68"/>
                    </a:lnTo>
                    <a:lnTo>
                      <a:pt x="705" y="68"/>
                    </a:lnTo>
                    <a:lnTo>
                      <a:pt x="705" y="68"/>
                    </a:lnTo>
                    <a:lnTo>
                      <a:pt x="705" y="68"/>
                    </a:lnTo>
                    <a:lnTo>
                      <a:pt x="705" y="73"/>
                    </a:lnTo>
                    <a:lnTo>
                      <a:pt x="709" y="73"/>
                    </a:lnTo>
                    <a:lnTo>
                      <a:pt x="709" y="73"/>
                    </a:lnTo>
                    <a:lnTo>
                      <a:pt x="709" y="73"/>
                    </a:lnTo>
                    <a:lnTo>
                      <a:pt x="714" y="73"/>
                    </a:lnTo>
                    <a:lnTo>
                      <a:pt x="714" y="73"/>
                    </a:lnTo>
                    <a:lnTo>
                      <a:pt x="714" y="73"/>
                    </a:lnTo>
                    <a:lnTo>
                      <a:pt x="714" y="73"/>
                    </a:lnTo>
                    <a:lnTo>
                      <a:pt x="714" y="73"/>
                    </a:lnTo>
                    <a:lnTo>
                      <a:pt x="714" y="73"/>
                    </a:lnTo>
                    <a:lnTo>
                      <a:pt x="718" y="73"/>
                    </a:lnTo>
                    <a:lnTo>
                      <a:pt x="718" y="73"/>
                    </a:lnTo>
                    <a:lnTo>
                      <a:pt x="718" y="73"/>
                    </a:lnTo>
                    <a:lnTo>
                      <a:pt x="718" y="73"/>
                    </a:lnTo>
                    <a:lnTo>
                      <a:pt x="723" y="73"/>
                    </a:lnTo>
                    <a:lnTo>
                      <a:pt x="723" y="73"/>
                    </a:lnTo>
                    <a:lnTo>
                      <a:pt x="732" y="77"/>
                    </a:lnTo>
                    <a:lnTo>
                      <a:pt x="732" y="82"/>
                    </a:lnTo>
                    <a:lnTo>
                      <a:pt x="736" y="82"/>
                    </a:lnTo>
                    <a:lnTo>
                      <a:pt x="741" y="82"/>
                    </a:lnTo>
                    <a:lnTo>
                      <a:pt x="741" y="82"/>
                    </a:lnTo>
                    <a:lnTo>
                      <a:pt x="741" y="82"/>
                    </a:lnTo>
                    <a:lnTo>
                      <a:pt x="745" y="86"/>
                    </a:lnTo>
                    <a:lnTo>
                      <a:pt x="745" y="86"/>
                    </a:lnTo>
                    <a:lnTo>
                      <a:pt x="745" y="86"/>
                    </a:lnTo>
                    <a:lnTo>
                      <a:pt x="750" y="86"/>
                    </a:lnTo>
                    <a:lnTo>
                      <a:pt x="750" y="91"/>
                    </a:lnTo>
                    <a:lnTo>
                      <a:pt x="750" y="91"/>
                    </a:lnTo>
                    <a:lnTo>
                      <a:pt x="750" y="91"/>
                    </a:lnTo>
                    <a:lnTo>
                      <a:pt x="754" y="95"/>
                    </a:lnTo>
                    <a:lnTo>
                      <a:pt x="754" y="95"/>
                    </a:lnTo>
                    <a:lnTo>
                      <a:pt x="759" y="95"/>
                    </a:lnTo>
                    <a:lnTo>
                      <a:pt x="759" y="100"/>
                    </a:lnTo>
                    <a:lnTo>
                      <a:pt x="764" y="100"/>
                    </a:lnTo>
                    <a:lnTo>
                      <a:pt x="764" y="100"/>
                    </a:lnTo>
                    <a:lnTo>
                      <a:pt x="764" y="100"/>
                    </a:lnTo>
                    <a:lnTo>
                      <a:pt x="764" y="100"/>
                    </a:lnTo>
                    <a:lnTo>
                      <a:pt x="768" y="100"/>
                    </a:lnTo>
                    <a:lnTo>
                      <a:pt x="768" y="100"/>
                    </a:lnTo>
                    <a:lnTo>
                      <a:pt x="773" y="100"/>
                    </a:lnTo>
                    <a:lnTo>
                      <a:pt x="773" y="100"/>
                    </a:lnTo>
                    <a:lnTo>
                      <a:pt x="777" y="100"/>
                    </a:lnTo>
                    <a:lnTo>
                      <a:pt x="782" y="100"/>
                    </a:lnTo>
                    <a:lnTo>
                      <a:pt x="782" y="100"/>
                    </a:lnTo>
                    <a:lnTo>
                      <a:pt x="782" y="100"/>
                    </a:lnTo>
                    <a:lnTo>
                      <a:pt x="782" y="95"/>
                    </a:lnTo>
                    <a:lnTo>
                      <a:pt x="782" y="95"/>
                    </a:lnTo>
                    <a:lnTo>
                      <a:pt x="782" y="95"/>
                    </a:lnTo>
                    <a:lnTo>
                      <a:pt x="786" y="95"/>
                    </a:lnTo>
                    <a:lnTo>
                      <a:pt x="786" y="91"/>
                    </a:lnTo>
                    <a:lnTo>
                      <a:pt x="786" y="91"/>
                    </a:lnTo>
                    <a:lnTo>
                      <a:pt x="791" y="91"/>
                    </a:lnTo>
                    <a:lnTo>
                      <a:pt x="791" y="91"/>
                    </a:lnTo>
                    <a:lnTo>
                      <a:pt x="791" y="91"/>
                    </a:lnTo>
                    <a:lnTo>
                      <a:pt x="791" y="86"/>
                    </a:lnTo>
                    <a:lnTo>
                      <a:pt x="795" y="86"/>
                    </a:lnTo>
                    <a:lnTo>
                      <a:pt x="795" y="86"/>
                    </a:lnTo>
                    <a:lnTo>
                      <a:pt x="800" y="86"/>
                    </a:lnTo>
                    <a:lnTo>
                      <a:pt x="800" y="86"/>
                    </a:lnTo>
                    <a:lnTo>
                      <a:pt x="800" y="86"/>
                    </a:lnTo>
                    <a:lnTo>
                      <a:pt x="804" y="86"/>
                    </a:lnTo>
                    <a:lnTo>
                      <a:pt x="804" y="86"/>
                    </a:lnTo>
                    <a:lnTo>
                      <a:pt x="804" y="86"/>
                    </a:lnTo>
                    <a:lnTo>
                      <a:pt x="804" y="86"/>
                    </a:lnTo>
                    <a:lnTo>
                      <a:pt x="809" y="91"/>
                    </a:lnTo>
                    <a:lnTo>
                      <a:pt x="809" y="91"/>
                    </a:lnTo>
                    <a:lnTo>
                      <a:pt x="809" y="91"/>
                    </a:lnTo>
                    <a:lnTo>
                      <a:pt x="809" y="91"/>
                    </a:lnTo>
                    <a:lnTo>
                      <a:pt x="809" y="95"/>
                    </a:lnTo>
                    <a:lnTo>
                      <a:pt x="813" y="95"/>
                    </a:lnTo>
                    <a:lnTo>
                      <a:pt x="813" y="95"/>
                    </a:lnTo>
                    <a:lnTo>
                      <a:pt x="813" y="95"/>
                    </a:lnTo>
                    <a:lnTo>
                      <a:pt x="813" y="100"/>
                    </a:lnTo>
                    <a:lnTo>
                      <a:pt x="813" y="100"/>
                    </a:lnTo>
                    <a:lnTo>
                      <a:pt x="813" y="100"/>
                    </a:lnTo>
                    <a:lnTo>
                      <a:pt x="813" y="100"/>
                    </a:lnTo>
                    <a:lnTo>
                      <a:pt x="813" y="104"/>
                    </a:lnTo>
                    <a:lnTo>
                      <a:pt x="813" y="104"/>
                    </a:lnTo>
                    <a:lnTo>
                      <a:pt x="813" y="104"/>
                    </a:lnTo>
                    <a:lnTo>
                      <a:pt x="813" y="104"/>
                    </a:lnTo>
                    <a:lnTo>
                      <a:pt x="813" y="104"/>
                    </a:lnTo>
                    <a:lnTo>
                      <a:pt x="813" y="104"/>
                    </a:lnTo>
                    <a:lnTo>
                      <a:pt x="813" y="104"/>
                    </a:lnTo>
                    <a:lnTo>
                      <a:pt x="813" y="109"/>
                    </a:lnTo>
                    <a:lnTo>
                      <a:pt x="818" y="109"/>
                    </a:lnTo>
                    <a:lnTo>
                      <a:pt x="818" y="109"/>
                    </a:lnTo>
                    <a:lnTo>
                      <a:pt x="818" y="113"/>
                    </a:lnTo>
                    <a:lnTo>
                      <a:pt x="818" y="113"/>
                    </a:lnTo>
                    <a:lnTo>
                      <a:pt x="818" y="113"/>
                    </a:lnTo>
                    <a:lnTo>
                      <a:pt x="818" y="113"/>
                    </a:lnTo>
                    <a:lnTo>
                      <a:pt x="818" y="118"/>
                    </a:lnTo>
                    <a:lnTo>
                      <a:pt x="822" y="118"/>
                    </a:lnTo>
                    <a:lnTo>
                      <a:pt x="822" y="123"/>
                    </a:lnTo>
                    <a:lnTo>
                      <a:pt x="822" y="123"/>
                    </a:lnTo>
                    <a:lnTo>
                      <a:pt x="822" y="123"/>
                    </a:lnTo>
                    <a:lnTo>
                      <a:pt x="822" y="123"/>
                    </a:lnTo>
                    <a:lnTo>
                      <a:pt x="822" y="127"/>
                    </a:lnTo>
                    <a:lnTo>
                      <a:pt x="827" y="127"/>
                    </a:lnTo>
                    <a:lnTo>
                      <a:pt x="822" y="127"/>
                    </a:lnTo>
                    <a:lnTo>
                      <a:pt x="822" y="127"/>
                    </a:lnTo>
                    <a:lnTo>
                      <a:pt x="822" y="127"/>
                    </a:lnTo>
                    <a:lnTo>
                      <a:pt x="827" y="132"/>
                    </a:lnTo>
                    <a:lnTo>
                      <a:pt x="827" y="132"/>
                    </a:lnTo>
                    <a:lnTo>
                      <a:pt x="827" y="132"/>
                    </a:lnTo>
                    <a:lnTo>
                      <a:pt x="827" y="132"/>
                    </a:lnTo>
                    <a:lnTo>
                      <a:pt x="827" y="132"/>
                    </a:lnTo>
                    <a:lnTo>
                      <a:pt x="827" y="132"/>
                    </a:lnTo>
                    <a:lnTo>
                      <a:pt x="827" y="136"/>
                    </a:lnTo>
                    <a:lnTo>
                      <a:pt x="827" y="136"/>
                    </a:lnTo>
                    <a:lnTo>
                      <a:pt x="827" y="136"/>
                    </a:lnTo>
                    <a:lnTo>
                      <a:pt x="827" y="136"/>
                    </a:lnTo>
                    <a:lnTo>
                      <a:pt x="827" y="141"/>
                    </a:lnTo>
                    <a:lnTo>
                      <a:pt x="827" y="141"/>
                    </a:lnTo>
                    <a:lnTo>
                      <a:pt x="827" y="141"/>
                    </a:lnTo>
                    <a:lnTo>
                      <a:pt x="827" y="141"/>
                    </a:lnTo>
                    <a:lnTo>
                      <a:pt x="827" y="141"/>
                    </a:lnTo>
                    <a:lnTo>
                      <a:pt x="827" y="145"/>
                    </a:lnTo>
                    <a:lnTo>
                      <a:pt x="827" y="145"/>
                    </a:lnTo>
                    <a:lnTo>
                      <a:pt x="831" y="150"/>
                    </a:lnTo>
                    <a:lnTo>
                      <a:pt x="831" y="150"/>
                    </a:lnTo>
                    <a:lnTo>
                      <a:pt x="831" y="150"/>
                    </a:lnTo>
                    <a:lnTo>
                      <a:pt x="827" y="150"/>
                    </a:lnTo>
                    <a:lnTo>
                      <a:pt x="827" y="150"/>
                    </a:lnTo>
                    <a:lnTo>
                      <a:pt x="827" y="150"/>
                    </a:lnTo>
                    <a:lnTo>
                      <a:pt x="827" y="150"/>
                    </a:lnTo>
                    <a:lnTo>
                      <a:pt x="822" y="150"/>
                    </a:lnTo>
                    <a:lnTo>
                      <a:pt x="818" y="150"/>
                    </a:lnTo>
                    <a:lnTo>
                      <a:pt x="818" y="150"/>
                    </a:lnTo>
                    <a:lnTo>
                      <a:pt x="813" y="150"/>
                    </a:lnTo>
                    <a:lnTo>
                      <a:pt x="813" y="150"/>
                    </a:lnTo>
                    <a:lnTo>
                      <a:pt x="813" y="150"/>
                    </a:lnTo>
                    <a:lnTo>
                      <a:pt x="809" y="145"/>
                    </a:lnTo>
                    <a:lnTo>
                      <a:pt x="809" y="145"/>
                    </a:lnTo>
                    <a:lnTo>
                      <a:pt x="809" y="150"/>
                    </a:lnTo>
                    <a:lnTo>
                      <a:pt x="809" y="150"/>
                    </a:lnTo>
                    <a:lnTo>
                      <a:pt x="809" y="150"/>
                    </a:lnTo>
                    <a:lnTo>
                      <a:pt x="809" y="150"/>
                    </a:lnTo>
                    <a:lnTo>
                      <a:pt x="809" y="154"/>
                    </a:lnTo>
                    <a:lnTo>
                      <a:pt x="809" y="154"/>
                    </a:lnTo>
                    <a:lnTo>
                      <a:pt x="809" y="154"/>
                    </a:lnTo>
                    <a:lnTo>
                      <a:pt x="809" y="154"/>
                    </a:lnTo>
                    <a:lnTo>
                      <a:pt x="804" y="154"/>
                    </a:lnTo>
                    <a:lnTo>
                      <a:pt x="804" y="154"/>
                    </a:lnTo>
                    <a:lnTo>
                      <a:pt x="804" y="159"/>
                    </a:lnTo>
                    <a:lnTo>
                      <a:pt x="804" y="159"/>
                    </a:lnTo>
                    <a:lnTo>
                      <a:pt x="804" y="159"/>
                    </a:lnTo>
                    <a:lnTo>
                      <a:pt x="809" y="159"/>
                    </a:lnTo>
                    <a:lnTo>
                      <a:pt x="809" y="163"/>
                    </a:lnTo>
                    <a:lnTo>
                      <a:pt x="813" y="163"/>
                    </a:lnTo>
                    <a:lnTo>
                      <a:pt x="818" y="172"/>
                    </a:lnTo>
                    <a:lnTo>
                      <a:pt x="818" y="172"/>
                    </a:lnTo>
                    <a:lnTo>
                      <a:pt x="822" y="177"/>
                    </a:lnTo>
                    <a:lnTo>
                      <a:pt x="822" y="181"/>
                    </a:lnTo>
                    <a:lnTo>
                      <a:pt x="827" y="181"/>
                    </a:lnTo>
                    <a:lnTo>
                      <a:pt x="827" y="181"/>
                    </a:lnTo>
                    <a:lnTo>
                      <a:pt x="827" y="181"/>
                    </a:lnTo>
                    <a:lnTo>
                      <a:pt x="827" y="181"/>
                    </a:lnTo>
                    <a:lnTo>
                      <a:pt x="827" y="186"/>
                    </a:lnTo>
                    <a:lnTo>
                      <a:pt x="827" y="186"/>
                    </a:lnTo>
                    <a:lnTo>
                      <a:pt x="831" y="186"/>
                    </a:lnTo>
                    <a:lnTo>
                      <a:pt x="831" y="186"/>
                    </a:lnTo>
                    <a:lnTo>
                      <a:pt x="831" y="190"/>
                    </a:lnTo>
                    <a:lnTo>
                      <a:pt x="831" y="190"/>
                    </a:lnTo>
                    <a:lnTo>
                      <a:pt x="831" y="190"/>
                    </a:lnTo>
                    <a:lnTo>
                      <a:pt x="831" y="190"/>
                    </a:lnTo>
                    <a:lnTo>
                      <a:pt x="831" y="195"/>
                    </a:lnTo>
                    <a:lnTo>
                      <a:pt x="831" y="195"/>
                    </a:lnTo>
                    <a:lnTo>
                      <a:pt x="831" y="195"/>
                    </a:lnTo>
                    <a:lnTo>
                      <a:pt x="831" y="195"/>
                    </a:lnTo>
                    <a:lnTo>
                      <a:pt x="831" y="195"/>
                    </a:lnTo>
                    <a:lnTo>
                      <a:pt x="831" y="195"/>
                    </a:lnTo>
                    <a:lnTo>
                      <a:pt x="827" y="195"/>
                    </a:lnTo>
                    <a:lnTo>
                      <a:pt x="827" y="199"/>
                    </a:lnTo>
                    <a:lnTo>
                      <a:pt x="827" y="199"/>
                    </a:lnTo>
                    <a:lnTo>
                      <a:pt x="827" y="199"/>
                    </a:lnTo>
                    <a:lnTo>
                      <a:pt x="827" y="199"/>
                    </a:lnTo>
                    <a:lnTo>
                      <a:pt x="827" y="199"/>
                    </a:lnTo>
                    <a:lnTo>
                      <a:pt x="827" y="199"/>
                    </a:lnTo>
                    <a:lnTo>
                      <a:pt x="827" y="199"/>
                    </a:lnTo>
                    <a:lnTo>
                      <a:pt x="831" y="199"/>
                    </a:lnTo>
                    <a:lnTo>
                      <a:pt x="831" y="204"/>
                    </a:lnTo>
                    <a:lnTo>
                      <a:pt x="831" y="204"/>
                    </a:lnTo>
                    <a:lnTo>
                      <a:pt x="827" y="204"/>
                    </a:lnTo>
                    <a:lnTo>
                      <a:pt x="827" y="204"/>
                    </a:lnTo>
                    <a:lnTo>
                      <a:pt x="827" y="199"/>
                    </a:lnTo>
                    <a:lnTo>
                      <a:pt x="822" y="199"/>
                    </a:lnTo>
                    <a:lnTo>
                      <a:pt x="822" y="199"/>
                    </a:lnTo>
                    <a:lnTo>
                      <a:pt x="822" y="195"/>
                    </a:lnTo>
                    <a:lnTo>
                      <a:pt x="822" y="195"/>
                    </a:lnTo>
                    <a:lnTo>
                      <a:pt x="818" y="195"/>
                    </a:lnTo>
                    <a:lnTo>
                      <a:pt x="818" y="195"/>
                    </a:lnTo>
                    <a:lnTo>
                      <a:pt x="818" y="195"/>
                    </a:lnTo>
                    <a:lnTo>
                      <a:pt x="818" y="195"/>
                    </a:lnTo>
                    <a:lnTo>
                      <a:pt x="818" y="195"/>
                    </a:lnTo>
                    <a:lnTo>
                      <a:pt x="813" y="195"/>
                    </a:lnTo>
                    <a:lnTo>
                      <a:pt x="813" y="195"/>
                    </a:lnTo>
                    <a:lnTo>
                      <a:pt x="813" y="195"/>
                    </a:lnTo>
                    <a:lnTo>
                      <a:pt x="813" y="195"/>
                    </a:lnTo>
                    <a:lnTo>
                      <a:pt x="818" y="199"/>
                    </a:lnTo>
                    <a:lnTo>
                      <a:pt x="818" y="199"/>
                    </a:lnTo>
                    <a:lnTo>
                      <a:pt x="818" y="204"/>
                    </a:lnTo>
                    <a:lnTo>
                      <a:pt x="818" y="204"/>
                    </a:lnTo>
                    <a:lnTo>
                      <a:pt x="818" y="204"/>
                    </a:lnTo>
                    <a:lnTo>
                      <a:pt x="818" y="204"/>
                    </a:lnTo>
                    <a:lnTo>
                      <a:pt x="818" y="204"/>
                    </a:lnTo>
                    <a:lnTo>
                      <a:pt x="818" y="208"/>
                    </a:lnTo>
                    <a:lnTo>
                      <a:pt x="818" y="208"/>
                    </a:lnTo>
                    <a:lnTo>
                      <a:pt x="818" y="208"/>
                    </a:lnTo>
                    <a:lnTo>
                      <a:pt x="813" y="204"/>
                    </a:lnTo>
                    <a:lnTo>
                      <a:pt x="813" y="204"/>
                    </a:lnTo>
                    <a:lnTo>
                      <a:pt x="813" y="208"/>
                    </a:lnTo>
                    <a:lnTo>
                      <a:pt x="813" y="208"/>
                    </a:lnTo>
                    <a:lnTo>
                      <a:pt x="813" y="208"/>
                    </a:lnTo>
                    <a:lnTo>
                      <a:pt x="813" y="208"/>
                    </a:lnTo>
                    <a:lnTo>
                      <a:pt x="813" y="208"/>
                    </a:lnTo>
                    <a:lnTo>
                      <a:pt x="813" y="213"/>
                    </a:lnTo>
                    <a:lnTo>
                      <a:pt x="813" y="213"/>
                    </a:lnTo>
                    <a:lnTo>
                      <a:pt x="813" y="213"/>
                    </a:lnTo>
                    <a:lnTo>
                      <a:pt x="813" y="213"/>
                    </a:lnTo>
                    <a:lnTo>
                      <a:pt x="813" y="213"/>
                    </a:lnTo>
                    <a:lnTo>
                      <a:pt x="809" y="213"/>
                    </a:lnTo>
                    <a:lnTo>
                      <a:pt x="809" y="213"/>
                    </a:lnTo>
                    <a:lnTo>
                      <a:pt x="804" y="217"/>
                    </a:lnTo>
                    <a:lnTo>
                      <a:pt x="804" y="217"/>
                    </a:lnTo>
                    <a:lnTo>
                      <a:pt x="804" y="217"/>
                    </a:lnTo>
                    <a:lnTo>
                      <a:pt x="800" y="217"/>
                    </a:lnTo>
                    <a:lnTo>
                      <a:pt x="800" y="217"/>
                    </a:lnTo>
                    <a:lnTo>
                      <a:pt x="800" y="217"/>
                    </a:lnTo>
                    <a:lnTo>
                      <a:pt x="804" y="217"/>
                    </a:lnTo>
                    <a:lnTo>
                      <a:pt x="804" y="217"/>
                    </a:lnTo>
                    <a:lnTo>
                      <a:pt x="804" y="222"/>
                    </a:lnTo>
                    <a:lnTo>
                      <a:pt x="804" y="222"/>
                    </a:lnTo>
                    <a:lnTo>
                      <a:pt x="809" y="222"/>
                    </a:lnTo>
                    <a:lnTo>
                      <a:pt x="809" y="222"/>
                    </a:lnTo>
                    <a:lnTo>
                      <a:pt x="809" y="227"/>
                    </a:lnTo>
                    <a:lnTo>
                      <a:pt x="809" y="227"/>
                    </a:lnTo>
                    <a:lnTo>
                      <a:pt x="809" y="227"/>
                    </a:lnTo>
                    <a:lnTo>
                      <a:pt x="809" y="227"/>
                    </a:lnTo>
                    <a:lnTo>
                      <a:pt x="809" y="227"/>
                    </a:lnTo>
                    <a:lnTo>
                      <a:pt x="809" y="227"/>
                    </a:lnTo>
                    <a:lnTo>
                      <a:pt x="809" y="227"/>
                    </a:lnTo>
                    <a:lnTo>
                      <a:pt x="804" y="227"/>
                    </a:lnTo>
                    <a:lnTo>
                      <a:pt x="804" y="227"/>
                    </a:lnTo>
                    <a:lnTo>
                      <a:pt x="800" y="227"/>
                    </a:lnTo>
                    <a:lnTo>
                      <a:pt x="800" y="227"/>
                    </a:lnTo>
                    <a:lnTo>
                      <a:pt x="800" y="227"/>
                    </a:lnTo>
                    <a:lnTo>
                      <a:pt x="795" y="227"/>
                    </a:lnTo>
                    <a:lnTo>
                      <a:pt x="795" y="227"/>
                    </a:lnTo>
                    <a:lnTo>
                      <a:pt x="795" y="227"/>
                    </a:lnTo>
                    <a:lnTo>
                      <a:pt x="791" y="227"/>
                    </a:lnTo>
                    <a:lnTo>
                      <a:pt x="791" y="227"/>
                    </a:lnTo>
                    <a:lnTo>
                      <a:pt x="791" y="222"/>
                    </a:lnTo>
                    <a:lnTo>
                      <a:pt x="791" y="222"/>
                    </a:lnTo>
                    <a:lnTo>
                      <a:pt x="786" y="222"/>
                    </a:lnTo>
                    <a:lnTo>
                      <a:pt x="786" y="222"/>
                    </a:lnTo>
                    <a:lnTo>
                      <a:pt x="786" y="222"/>
                    </a:lnTo>
                    <a:lnTo>
                      <a:pt x="786" y="222"/>
                    </a:lnTo>
                    <a:lnTo>
                      <a:pt x="786" y="222"/>
                    </a:lnTo>
                    <a:lnTo>
                      <a:pt x="786" y="222"/>
                    </a:lnTo>
                    <a:lnTo>
                      <a:pt x="786" y="222"/>
                    </a:lnTo>
                    <a:lnTo>
                      <a:pt x="786" y="227"/>
                    </a:lnTo>
                    <a:lnTo>
                      <a:pt x="786" y="227"/>
                    </a:lnTo>
                    <a:lnTo>
                      <a:pt x="786" y="227"/>
                    </a:lnTo>
                    <a:lnTo>
                      <a:pt x="786" y="231"/>
                    </a:lnTo>
                    <a:lnTo>
                      <a:pt x="786" y="231"/>
                    </a:lnTo>
                    <a:lnTo>
                      <a:pt x="786" y="231"/>
                    </a:lnTo>
                    <a:lnTo>
                      <a:pt x="786" y="231"/>
                    </a:lnTo>
                    <a:lnTo>
                      <a:pt x="786" y="236"/>
                    </a:lnTo>
                    <a:lnTo>
                      <a:pt x="786" y="236"/>
                    </a:lnTo>
                    <a:lnTo>
                      <a:pt x="786" y="236"/>
                    </a:lnTo>
                    <a:lnTo>
                      <a:pt x="786" y="236"/>
                    </a:lnTo>
                    <a:lnTo>
                      <a:pt x="786" y="240"/>
                    </a:lnTo>
                    <a:lnTo>
                      <a:pt x="786" y="240"/>
                    </a:lnTo>
                    <a:lnTo>
                      <a:pt x="782" y="240"/>
                    </a:lnTo>
                    <a:lnTo>
                      <a:pt x="782" y="240"/>
                    </a:lnTo>
                    <a:lnTo>
                      <a:pt x="782" y="240"/>
                    </a:lnTo>
                    <a:lnTo>
                      <a:pt x="782" y="240"/>
                    </a:lnTo>
                    <a:lnTo>
                      <a:pt x="782" y="245"/>
                    </a:lnTo>
                    <a:lnTo>
                      <a:pt x="782" y="245"/>
                    </a:lnTo>
                    <a:lnTo>
                      <a:pt x="782" y="245"/>
                    </a:lnTo>
                    <a:lnTo>
                      <a:pt x="782" y="245"/>
                    </a:lnTo>
                    <a:lnTo>
                      <a:pt x="777" y="245"/>
                    </a:lnTo>
                    <a:lnTo>
                      <a:pt x="777" y="245"/>
                    </a:lnTo>
                    <a:lnTo>
                      <a:pt x="777" y="249"/>
                    </a:lnTo>
                    <a:lnTo>
                      <a:pt x="777" y="249"/>
                    </a:lnTo>
                    <a:lnTo>
                      <a:pt x="773" y="249"/>
                    </a:lnTo>
                    <a:lnTo>
                      <a:pt x="773" y="249"/>
                    </a:lnTo>
                    <a:lnTo>
                      <a:pt x="773" y="249"/>
                    </a:lnTo>
                    <a:lnTo>
                      <a:pt x="773" y="249"/>
                    </a:lnTo>
                    <a:lnTo>
                      <a:pt x="773" y="249"/>
                    </a:lnTo>
                    <a:lnTo>
                      <a:pt x="773" y="254"/>
                    </a:lnTo>
                    <a:lnTo>
                      <a:pt x="773" y="254"/>
                    </a:lnTo>
                    <a:lnTo>
                      <a:pt x="773" y="258"/>
                    </a:lnTo>
                    <a:lnTo>
                      <a:pt x="768" y="258"/>
                    </a:lnTo>
                    <a:lnTo>
                      <a:pt x="773" y="258"/>
                    </a:lnTo>
                    <a:lnTo>
                      <a:pt x="773" y="258"/>
                    </a:lnTo>
                    <a:lnTo>
                      <a:pt x="768" y="263"/>
                    </a:lnTo>
                    <a:lnTo>
                      <a:pt x="768" y="263"/>
                    </a:lnTo>
                    <a:lnTo>
                      <a:pt x="764" y="263"/>
                    </a:lnTo>
                    <a:lnTo>
                      <a:pt x="764" y="263"/>
                    </a:lnTo>
                    <a:lnTo>
                      <a:pt x="764" y="263"/>
                    </a:lnTo>
                    <a:lnTo>
                      <a:pt x="764" y="263"/>
                    </a:lnTo>
                    <a:lnTo>
                      <a:pt x="759" y="267"/>
                    </a:lnTo>
                    <a:lnTo>
                      <a:pt x="759" y="267"/>
                    </a:lnTo>
                    <a:lnTo>
                      <a:pt x="759" y="267"/>
                    </a:lnTo>
                    <a:lnTo>
                      <a:pt x="759" y="267"/>
                    </a:lnTo>
                    <a:lnTo>
                      <a:pt x="754" y="267"/>
                    </a:lnTo>
                    <a:lnTo>
                      <a:pt x="754" y="267"/>
                    </a:lnTo>
                    <a:lnTo>
                      <a:pt x="754" y="267"/>
                    </a:lnTo>
                    <a:lnTo>
                      <a:pt x="745" y="276"/>
                    </a:lnTo>
                    <a:lnTo>
                      <a:pt x="745" y="276"/>
                    </a:lnTo>
                    <a:lnTo>
                      <a:pt x="745" y="281"/>
                    </a:lnTo>
                    <a:lnTo>
                      <a:pt x="745" y="281"/>
                    </a:lnTo>
                    <a:lnTo>
                      <a:pt x="745" y="281"/>
                    </a:lnTo>
                    <a:lnTo>
                      <a:pt x="745" y="281"/>
                    </a:lnTo>
                    <a:lnTo>
                      <a:pt x="745" y="281"/>
                    </a:lnTo>
                    <a:lnTo>
                      <a:pt x="745" y="281"/>
                    </a:lnTo>
                    <a:lnTo>
                      <a:pt x="741" y="281"/>
                    </a:lnTo>
                    <a:lnTo>
                      <a:pt x="741" y="281"/>
                    </a:lnTo>
                    <a:lnTo>
                      <a:pt x="741" y="285"/>
                    </a:lnTo>
                    <a:lnTo>
                      <a:pt x="741" y="285"/>
                    </a:lnTo>
                    <a:lnTo>
                      <a:pt x="741" y="285"/>
                    </a:lnTo>
                    <a:lnTo>
                      <a:pt x="741" y="285"/>
                    </a:lnTo>
                    <a:lnTo>
                      <a:pt x="736" y="285"/>
                    </a:lnTo>
                    <a:lnTo>
                      <a:pt x="736" y="285"/>
                    </a:lnTo>
                    <a:lnTo>
                      <a:pt x="736" y="290"/>
                    </a:lnTo>
                    <a:lnTo>
                      <a:pt x="736" y="290"/>
                    </a:lnTo>
                    <a:lnTo>
                      <a:pt x="736" y="285"/>
                    </a:lnTo>
                    <a:lnTo>
                      <a:pt x="732" y="285"/>
                    </a:lnTo>
                    <a:lnTo>
                      <a:pt x="736" y="285"/>
                    </a:lnTo>
                    <a:lnTo>
                      <a:pt x="736" y="285"/>
                    </a:lnTo>
                    <a:lnTo>
                      <a:pt x="741" y="281"/>
                    </a:lnTo>
                    <a:lnTo>
                      <a:pt x="736" y="276"/>
                    </a:lnTo>
                    <a:lnTo>
                      <a:pt x="736" y="276"/>
                    </a:lnTo>
                    <a:lnTo>
                      <a:pt x="741" y="276"/>
                    </a:lnTo>
                    <a:lnTo>
                      <a:pt x="741" y="276"/>
                    </a:lnTo>
                    <a:lnTo>
                      <a:pt x="741" y="276"/>
                    </a:lnTo>
                    <a:lnTo>
                      <a:pt x="736" y="276"/>
                    </a:lnTo>
                    <a:lnTo>
                      <a:pt x="732" y="276"/>
                    </a:lnTo>
                    <a:lnTo>
                      <a:pt x="732" y="276"/>
                    </a:lnTo>
                    <a:lnTo>
                      <a:pt x="732" y="272"/>
                    </a:lnTo>
                    <a:lnTo>
                      <a:pt x="732" y="272"/>
                    </a:lnTo>
                    <a:lnTo>
                      <a:pt x="727" y="272"/>
                    </a:lnTo>
                    <a:lnTo>
                      <a:pt x="732" y="272"/>
                    </a:lnTo>
                    <a:lnTo>
                      <a:pt x="732" y="272"/>
                    </a:lnTo>
                    <a:lnTo>
                      <a:pt x="732" y="272"/>
                    </a:lnTo>
                    <a:lnTo>
                      <a:pt x="732" y="267"/>
                    </a:lnTo>
                    <a:lnTo>
                      <a:pt x="732" y="267"/>
                    </a:lnTo>
                    <a:lnTo>
                      <a:pt x="732" y="267"/>
                    </a:lnTo>
                    <a:lnTo>
                      <a:pt x="732" y="263"/>
                    </a:lnTo>
                    <a:lnTo>
                      <a:pt x="732" y="263"/>
                    </a:lnTo>
                    <a:lnTo>
                      <a:pt x="732" y="258"/>
                    </a:lnTo>
                    <a:lnTo>
                      <a:pt x="732" y="254"/>
                    </a:lnTo>
                    <a:lnTo>
                      <a:pt x="732" y="254"/>
                    </a:lnTo>
                    <a:lnTo>
                      <a:pt x="732" y="254"/>
                    </a:lnTo>
                    <a:lnTo>
                      <a:pt x="732" y="254"/>
                    </a:lnTo>
                    <a:lnTo>
                      <a:pt x="732" y="249"/>
                    </a:lnTo>
                    <a:lnTo>
                      <a:pt x="727" y="249"/>
                    </a:lnTo>
                    <a:lnTo>
                      <a:pt x="723" y="245"/>
                    </a:lnTo>
                    <a:lnTo>
                      <a:pt x="723" y="245"/>
                    </a:lnTo>
                    <a:lnTo>
                      <a:pt x="723" y="245"/>
                    </a:lnTo>
                    <a:lnTo>
                      <a:pt x="723" y="245"/>
                    </a:lnTo>
                    <a:lnTo>
                      <a:pt x="723" y="245"/>
                    </a:lnTo>
                    <a:lnTo>
                      <a:pt x="718" y="245"/>
                    </a:lnTo>
                    <a:lnTo>
                      <a:pt x="718" y="245"/>
                    </a:lnTo>
                    <a:lnTo>
                      <a:pt x="714" y="245"/>
                    </a:lnTo>
                    <a:lnTo>
                      <a:pt x="714" y="245"/>
                    </a:lnTo>
                    <a:lnTo>
                      <a:pt x="714" y="249"/>
                    </a:lnTo>
                    <a:lnTo>
                      <a:pt x="709" y="249"/>
                    </a:lnTo>
                    <a:lnTo>
                      <a:pt x="709" y="249"/>
                    </a:lnTo>
                    <a:lnTo>
                      <a:pt x="709" y="254"/>
                    </a:lnTo>
                    <a:lnTo>
                      <a:pt x="709" y="258"/>
                    </a:lnTo>
                    <a:lnTo>
                      <a:pt x="709" y="258"/>
                    </a:lnTo>
                    <a:lnTo>
                      <a:pt x="705" y="263"/>
                    </a:lnTo>
                    <a:lnTo>
                      <a:pt x="700" y="267"/>
                    </a:lnTo>
                    <a:lnTo>
                      <a:pt x="700" y="272"/>
                    </a:lnTo>
                    <a:lnTo>
                      <a:pt x="700" y="272"/>
                    </a:lnTo>
                    <a:lnTo>
                      <a:pt x="700" y="272"/>
                    </a:lnTo>
                    <a:lnTo>
                      <a:pt x="700" y="276"/>
                    </a:lnTo>
                    <a:lnTo>
                      <a:pt x="700" y="281"/>
                    </a:lnTo>
                    <a:lnTo>
                      <a:pt x="700" y="281"/>
                    </a:lnTo>
                    <a:lnTo>
                      <a:pt x="700" y="281"/>
                    </a:lnTo>
                    <a:lnTo>
                      <a:pt x="696" y="281"/>
                    </a:lnTo>
                    <a:lnTo>
                      <a:pt x="696" y="281"/>
                    </a:lnTo>
                    <a:lnTo>
                      <a:pt x="696" y="281"/>
                    </a:lnTo>
                    <a:lnTo>
                      <a:pt x="691" y="285"/>
                    </a:lnTo>
                    <a:lnTo>
                      <a:pt x="691" y="285"/>
                    </a:lnTo>
                    <a:lnTo>
                      <a:pt x="687" y="281"/>
                    </a:lnTo>
                    <a:lnTo>
                      <a:pt x="682" y="281"/>
                    </a:lnTo>
                    <a:lnTo>
                      <a:pt x="682" y="281"/>
                    </a:lnTo>
                    <a:lnTo>
                      <a:pt x="682" y="285"/>
                    </a:lnTo>
                    <a:lnTo>
                      <a:pt x="682" y="290"/>
                    </a:lnTo>
                    <a:lnTo>
                      <a:pt x="682" y="294"/>
                    </a:lnTo>
                    <a:lnTo>
                      <a:pt x="682" y="294"/>
                    </a:lnTo>
                    <a:lnTo>
                      <a:pt x="687" y="299"/>
                    </a:lnTo>
                    <a:lnTo>
                      <a:pt x="691" y="299"/>
                    </a:lnTo>
                    <a:lnTo>
                      <a:pt x="696" y="303"/>
                    </a:lnTo>
                    <a:lnTo>
                      <a:pt x="705" y="303"/>
                    </a:lnTo>
                    <a:lnTo>
                      <a:pt x="705" y="303"/>
                    </a:lnTo>
                    <a:lnTo>
                      <a:pt x="709" y="303"/>
                    </a:lnTo>
                    <a:lnTo>
                      <a:pt x="709" y="303"/>
                    </a:lnTo>
                    <a:lnTo>
                      <a:pt x="714" y="308"/>
                    </a:lnTo>
                    <a:lnTo>
                      <a:pt x="714" y="308"/>
                    </a:lnTo>
                    <a:lnTo>
                      <a:pt x="714" y="308"/>
                    </a:lnTo>
                    <a:lnTo>
                      <a:pt x="714" y="308"/>
                    </a:lnTo>
                    <a:lnTo>
                      <a:pt x="718" y="312"/>
                    </a:lnTo>
                    <a:lnTo>
                      <a:pt x="714" y="312"/>
                    </a:lnTo>
                    <a:lnTo>
                      <a:pt x="714" y="312"/>
                    </a:lnTo>
                    <a:lnTo>
                      <a:pt x="718" y="317"/>
                    </a:lnTo>
                    <a:lnTo>
                      <a:pt x="718" y="317"/>
                    </a:lnTo>
                    <a:lnTo>
                      <a:pt x="718" y="317"/>
                    </a:lnTo>
                    <a:lnTo>
                      <a:pt x="723" y="321"/>
                    </a:lnTo>
                    <a:lnTo>
                      <a:pt x="727" y="321"/>
                    </a:lnTo>
                    <a:lnTo>
                      <a:pt x="727" y="321"/>
                    </a:lnTo>
                    <a:lnTo>
                      <a:pt x="732" y="321"/>
                    </a:lnTo>
                    <a:lnTo>
                      <a:pt x="732" y="317"/>
                    </a:lnTo>
                    <a:lnTo>
                      <a:pt x="732" y="317"/>
                    </a:lnTo>
                    <a:lnTo>
                      <a:pt x="732" y="317"/>
                    </a:lnTo>
                    <a:lnTo>
                      <a:pt x="736" y="312"/>
                    </a:lnTo>
                    <a:lnTo>
                      <a:pt x="736" y="312"/>
                    </a:lnTo>
                    <a:lnTo>
                      <a:pt x="736" y="312"/>
                    </a:lnTo>
                    <a:lnTo>
                      <a:pt x="736" y="308"/>
                    </a:lnTo>
                    <a:lnTo>
                      <a:pt x="736" y="308"/>
                    </a:lnTo>
                    <a:lnTo>
                      <a:pt x="736" y="308"/>
                    </a:lnTo>
                    <a:lnTo>
                      <a:pt x="741" y="308"/>
                    </a:lnTo>
                    <a:lnTo>
                      <a:pt x="745" y="308"/>
                    </a:lnTo>
                    <a:lnTo>
                      <a:pt x="750" y="312"/>
                    </a:lnTo>
                    <a:lnTo>
                      <a:pt x="754" y="312"/>
                    </a:lnTo>
                    <a:lnTo>
                      <a:pt x="754" y="312"/>
                    </a:lnTo>
                    <a:lnTo>
                      <a:pt x="759" y="312"/>
                    </a:lnTo>
                    <a:lnTo>
                      <a:pt x="759" y="312"/>
                    </a:lnTo>
                    <a:lnTo>
                      <a:pt x="764" y="312"/>
                    </a:lnTo>
                    <a:lnTo>
                      <a:pt x="764" y="312"/>
                    </a:lnTo>
                    <a:lnTo>
                      <a:pt x="764" y="312"/>
                    </a:lnTo>
                    <a:lnTo>
                      <a:pt x="764" y="312"/>
                    </a:lnTo>
                    <a:lnTo>
                      <a:pt x="768" y="312"/>
                    </a:lnTo>
                    <a:lnTo>
                      <a:pt x="768" y="312"/>
                    </a:lnTo>
                    <a:lnTo>
                      <a:pt x="773" y="312"/>
                    </a:lnTo>
                    <a:lnTo>
                      <a:pt x="773" y="312"/>
                    </a:lnTo>
                    <a:lnTo>
                      <a:pt x="773" y="312"/>
                    </a:lnTo>
                    <a:lnTo>
                      <a:pt x="773" y="312"/>
                    </a:lnTo>
                    <a:lnTo>
                      <a:pt x="777" y="317"/>
                    </a:lnTo>
                    <a:lnTo>
                      <a:pt x="773" y="317"/>
                    </a:lnTo>
                    <a:lnTo>
                      <a:pt x="773" y="321"/>
                    </a:lnTo>
                    <a:lnTo>
                      <a:pt x="777" y="321"/>
                    </a:lnTo>
                    <a:lnTo>
                      <a:pt x="777" y="321"/>
                    </a:lnTo>
                    <a:lnTo>
                      <a:pt x="777" y="321"/>
                    </a:lnTo>
                    <a:lnTo>
                      <a:pt x="777" y="321"/>
                    </a:lnTo>
                    <a:lnTo>
                      <a:pt x="777" y="326"/>
                    </a:lnTo>
                    <a:lnTo>
                      <a:pt x="773" y="326"/>
                    </a:lnTo>
                    <a:lnTo>
                      <a:pt x="773" y="326"/>
                    </a:lnTo>
                    <a:lnTo>
                      <a:pt x="773" y="321"/>
                    </a:lnTo>
                    <a:lnTo>
                      <a:pt x="773" y="321"/>
                    </a:lnTo>
                    <a:lnTo>
                      <a:pt x="773" y="321"/>
                    </a:lnTo>
                    <a:lnTo>
                      <a:pt x="768" y="321"/>
                    </a:lnTo>
                    <a:lnTo>
                      <a:pt x="768" y="321"/>
                    </a:lnTo>
                    <a:lnTo>
                      <a:pt x="764" y="326"/>
                    </a:lnTo>
                    <a:lnTo>
                      <a:pt x="764" y="326"/>
                    </a:lnTo>
                    <a:lnTo>
                      <a:pt x="759" y="330"/>
                    </a:lnTo>
                    <a:lnTo>
                      <a:pt x="759" y="330"/>
                    </a:lnTo>
                    <a:lnTo>
                      <a:pt x="759" y="330"/>
                    </a:lnTo>
                    <a:lnTo>
                      <a:pt x="754" y="330"/>
                    </a:lnTo>
                    <a:lnTo>
                      <a:pt x="754" y="330"/>
                    </a:lnTo>
                    <a:lnTo>
                      <a:pt x="754" y="330"/>
                    </a:lnTo>
                    <a:lnTo>
                      <a:pt x="754" y="330"/>
                    </a:lnTo>
                    <a:lnTo>
                      <a:pt x="759" y="330"/>
                    </a:lnTo>
                    <a:lnTo>
                      <a:pt x="759" y="335"/>
                    </a:lnTo>
                    <a:lnTo>
                      <a:pt x="754" y="335"/>
                    </a:lnTo>
                    <a:lnTo>
                      <a:pt x="754" y="335"/>
                    </a:lnTo>
                    <a:lnTo>
                      <a:pt x="754" y="335"/>
                    </a:lnTo>
                    <a:lnTo>
                      <a:pt x="754" y="335"/>
                    </a:lnTo>
                    <a:lnTo>
                      <a:pt x="754" y="340"/>
                    </a:lnTo>
                    <a:lnTo>
                      <a:pt x="754" y="340"/>
                    </a:lnTo>
                    <a:lnTo>
                      <a:pt x="754" y="340"/>
                    </a:lnTo>
                    <a:lnTo>
                      <a:pt x="754" y="340"/>
                    </a:lnTo>
                    <a:lnTo>
                      <a:pt x="754" y="340"/>
                    </a:lnTo>
                    <a:lnTo>
                      <a:pt x="750" y="340"/>
                    </a:lnTo>
                    <a:lnTo>
                      <a:pt x="750" y="340"/>
                    </a:lnTo>
                    <a:lnTo>
                      <a:pt x="750" y="340"/>
                    </a:lnTo>
                    <a:lnTo>
                      <a:pt x="750" y="340"/>
                    </a:lnTo>
                    <a:lnTo>
                      <a:pt x="750" y="340"/>
                    </a:lnTo>
                    <a:lnTo>
                      <a:pt x="750" y="340"/>
                    </a:lnTo>
                    <a:lnTo>
                      <a:pt x="750" y="340"/>
                    </a:lnTo>
                    <a:lnTo>
                      <a:pt x="750" y="344"/>
                    </a:lnTo>
                    <a:lnTo>
                      <a:pt x="750" y="344"/>
                    </a:lnTo>
                    <a:lnTo>
                      <a:pt x="754" y="344"/>
                    </a:lnTo>
                    <a:lnTo>
                      <a:pt x="750" y="344"/>
                    </a:lnTo>
                    <a:lnTo>
                      <a:pt x="750" y="344"/>
                    </a:lnTo>
                    <a:lnTo>
                      <a:pt x="750" y="349"/>
                    </a:lnTo>
                    <a:lnTo>
                      <a:pt x="750" y="349"/>
                    </a:lnTo>
                    <a:lnTo>
                      <a:pt x="750" y="349"/>
                    </a:lnTo>
                    <a:lnTo>
                      <a:pt x="750" y="349"/>
                    </a:lnTo>
                    <a:lnTo>
                      <a:pt x="750" y="353"/>
                    </a:lnTo>
                    <a:lnTo>
                      <a:pt x="745" y="353"/>
                    </a:lnTo>
                    <a:lnTo>
                      <a:pt x="745" y="353"/>
                    </a:lnTo>
                    <a:lnTo>
                      <a:pt x="745" y="358"/>
                    </a:lnTo>
                    <a:lnTo>
                      <a:pt x="745" y="358"/>
                    </a:lnTo>
                    <a:lnTo>
                      <a:pt x="745" y="362"/>
                    </a:lnTo>
                    <a:lnTo>
                      <a:pt x="745" y="362"/>
                    </a:lnTo>
                    <a:lnTo>
                      <a:pt x="745" y="367"/>
                    </a:lnTo>
                    <a:lnTo>
                      <a:pt x="750" y="367"/>
                    </a:lnTo>
                    <a:lnTo>
                      <a:pt x="750" y="367"/>
                    </a:lnTo>
                    <a:lnTo>
                      <a:pt x="750" y="371"/>
                    </a:lnTo>
                    <a:lnTo>
                      <a:pt x="754" y="371"/>
                    </a:lnTo>
                    <a:lnTo>
                      <a:pt x="759" y="371"/>
                    </a:lnTo>
                    <a:lnTo>
                      <a:pt x="764" y="376"/>
                    </a:lnTo>
                    <a:lnTo>
                      <a:pt x="768" y="376"/>
                    </a:lnTo>
                    <a:lnTo>
                      <a:pt x="768" y="376"/>
                    </a:lnTo>
                    <a:lnTo>
                      <a:pt x="773" y="380"/>
                    </a:lnTo>
                    <a:lnTo>
                      <a:pt x="777" y="385"/>
                    </a:lnTo>
                    <a:lnTo>
                      <a:pt x="777" y="389"/>
                    </a:lnTo>
                    <a:lnTo>
                      <a:pt x="777" y="389"/>
                    </a:lnTo>
                    <a:lnTo>
                      <a:pt x="782" y="394"/>
                    </a:lnTo>
                    <a:lnTo>
                      <a:pt x="786" y="398"/>
                    </a:lnTo>
                    <a:lnTo>
                      <a:pt x="791" y="403"/>
                    </a:lnTo>
                    <a:lnTo>
                      <a:pt x="791" y="403"/>
                    </a:lnTo>
                    <a:lnTo>
                      <a:pt x="791" y="407"/>
                    </a:lnTo>
                    <a:lnTo>
                      <a:pt x="795" y="407"/>
                    </a:lnTo>
                    <a:lnTo>
                      <a:pt x="795" y="412"/>
                    </a:lnTo>
                    <a:lnTo>
                      <a:pt x="804" y="412"/>
                    </a:lnTo>
                    <a:lnTo>
                      <a:pt x="804" y="412"/>
                    </a:lnTo>
                    <a:lnTo>
                      <a:pt x="804" y="412"/>
                    </a:lnTo>
                    <a:lnTo>
                      <a:pt x="804" y="416"/>
                    </a:lnTo>
                    <a:lnTo>
                      <a:pt x="809" y="416"/>
                    </a:lnTo>
                    <a:lnTo>
                      <a:pt x="809" y="416"/>
                    </a:lnTo>
                    <a:lnTo>
                      <a:pt x="813" y="421"/>
                    </a:lnTo>
                    <a:lnTo>
                      <a:pt x="813" y="421"/>
                    </a:lnTo>
                    <a:lnTo>
                      <a:pt x="818" y="421"/>
                    </a:lnTo>
                    <a:lnTo>
                      <a:pt x="818" y="425"/>
                    </a:lnTo>
                    <a:lnTo>
                      <a:pt x="818" y="425"/>
                    </a:lnTo>
                    <a:lnTo>
                      <a:pt x="818" y="425"/>
                    </a:lnTo>
                    <a:lnTo>
                      <a:pt x="813" y="425"/>
                    </a:lnTo>
                    <a:lnTo>
                      <a:pt x="809" y="425"/>
                    </a:lnTo>
                    <a:lnTo>
                      <a:pt x="809" y="425"/>
                    </a:lnTo>
                    <a:lnTo>
                      <a:pt x="804" y="425"/>
                    </a:lnTo>
                    <a:lnTo>
                      <a:pt x="804" y="425"/>
                    </a:lnTo>
                    <a:lnTo>
                      <a:pt x="800" y="421"/>
                    </a:lnTo>
                    <a:lnTo>
                      <a:pt x="795" y="421"/>
                    </a:lnTo>
                    <a:lnTo>
                      <a:pt x="795" y="421"/>
                    </a:lnTo>
                    <a:lnTo>
                      <a:pt x="791" y="421"/>
                    </a:lnTo>
                    <a:lnTo>
                      <a:pt x="786" y="421"/>
                    </a:lnTo>
                    <a:lnTo>
                      <a:pt x="786" y="421"/>
                    </a:lnTo>
                    <a:lnTo>
                      <a:pt x="786" y="425"/>
                    </a:lnTo>
                    <a:lnTo>
                      <a:pt x="791" y="425"/>
                    </a:lnTo>
                    <a:lnTo>
                      <a:pt x="791" y="421"/>
                    </a:lnTo>
                    <a:lnTo>
                      <a:pt x="795" y="421"/>
                    </a:lnTo>
                    <a:lnTo>
                      <a:pt x="795" y="421"/>
                    </a:lnTo>
                    <a:lnTo>
                      <a:pt x="800" y="425"/>
                    </a:lnTo>
                    <a:lnTo>
                      <a:pt x="800" y="425"/>
                    </a:lnTo>
                    <a:lnTo>
                      <a:pt x="804" y="425"/>
                    </a:lnTo>
                    <a:lnTo>
                      <a:pt x="804" y="425"/>
                    </a:lnTo>
                    <a:lnTo>
                      <a:pt x="809" y="430"/>
                    </a:lnTo>
                    <a:lnTo>
                      <a:pt x="813" y="430"/>
                    </a:lnTo>
                    <a:lnTo>
                      <a:pt x="818" y="434"/>
                    </a:lnTo>
                    <a:lnTo>
                      <a:pt x="822" y="439"/>
                    </a:lnTo>
                    <a:lnTo>
                      <a:pt x="822" y="439"/>
                    </a:lnTo>
                    <a:lnTo>
                      <a:pt x="827" y="444"/>
                    </a:lnTo>
                    <a:lnTo>
                      <a:pt x="822" y="444"/>
                    </a:lnTo>
                    <a:lnTo>
                      <a:pt x="822" y="444"/>
                    </a:lnTo>
                    <a:lnTo>
                      <a:pt x="822" y="444"/>
                    </a:lnTo>
                    <a:lnTo>
                      <a:pt x="818" y="444"/>
                    </a:lnTo>
                    <a:lnTo>
                      <a:pt x="818" y="448"/>
                    </a:lnTo>
                    <a:lnTo>
                      <a:pt x="813" y="448"/>
                    </a:lnTo>
                    <a:lnTo>
                      <a:pt x="813" y="453"/>
                    </a:lnTo>
                    <a:lnTo>
                      <a:pt x="813" y="453"/>
                    </a:lnTo>
                    <a:lnTo>
                      <a:pt x="813" y="453"/>
                    </a:lnTo>
                    <a:lnTo>
                      <a:pt x="809" y="453"/>
                    </a:lnTo>
                    <a:lnTo>
                      <a:pt x="809" y="453"/>
                    </a:lnTo>
                    <a:lnTo>
                      <a:pt x="804" y="457"/>
                    </a:lnTo>
                    <a:lnTo>
                      <a:pt x="804" y="457"/>
                    </a:lnTo>
                    <a:lnTo>
                      <a:pt x="804" y="457"/>
                    </a:lnTo>
                    <a:lnTo>
                      <a:pt x="804" y="457"/>
                    </a:lnTo>
                    <a:lnTo>
                      <a:pt x="804" y="457"/>
                    </a:lnTo>
                    <a:lnTo>
                      <a:pt x="809" y="457"/>
                    </a:lnTo>
                    <a:lnTo>
                      <a:pt x="813" y="457"/>
                    </a:lnTo>
                    <a:lnTo>
                      <a:pt x="818" y="457"/>
                    </a:lnTo>
                    <a:lnTo>
                      <a:pt x="818" y="457"/>
                    </a:lnTo>
                    <a:lnTo>
                      <a:pt x="822" y="457"/>
                    </a:lnTo>
                    <a:lnTo>
                      <a:pt x="822" y="457"/>
                    </a:lnTo>
                    <a:lnTo>
                      <a:pt x="822" y="457"/>
                    </a:lnTo>
                    <a:lnTo>
                      <a:pt x="831" y="462"/>
                    </a:lnTo>
                    <a:lnTo>
                      <a:pt x="831" y="462"/>
                    </a:lnTo>
                    <a:lnTo>
                      <a:pt x="836" y="462"/>
                    </a:lnTo>
                    <a:lnTo>
                      <a:pt x="836" y="462"/>
                    </a:lnTo>
                    <a:lnTo>
                      <a:pt x="836" y="462"/>
                    </a:lnTo>
                    <a:lnTo>
                      <a:pt x="836" y="466"/>
                    </a:lnTo>
                    <a:lnTo>
                      <a:pt x="831" y="471"/>
                    </a:lnTo>
                    <a:lnTo>
                      <a:pt x="831" y="471"/>
                    </a:lnTo>
                    <a:lnTo>
                      <a:pt x="831" y="471"/>
                    </a:lnTo>
                    <a:lnTo>
                      <a:pt x="836" y="471"/>
                    </a:lnTo>
                    <a:lnTo>
                      <a:pt x="836" y="471"/>
                    </a:lnTo>
                    <a:lnTo>
                      <a:pt x="836" y="466"/>
                    </a:lnTo>
                    <a:lnTo>
                      <a:pt x="836" y="471"/>
                    </a:lnTo>
                    <a:lnTo>
                      <a:pt x="840" y="471"/>
                    </a:lnTo>
                    <a:lnTo>
                      <a:pt x="840" y="480"/>
                    </a:lnTo>
                    <a:lnTo>
                      <a:pt x="840" y="480"/>
                    </a:lnTo>
                    <a:lnTo>
                      <a:pt x="836" y="475"/>
                    </a:lnTo>
                    <a:lnTo>
                      <a:pt x="836" y="475"/>
                    </a:lnTo>
                    <a:lnTo>
                      <a:pt x="836" y="475"/>
                    </a:lnTo>
                    <a:lnTo>
                      <a:pt x="836" y="475"/>
                    </a:lnTo>
                    <a:lnTo>
                      <a:pt x="831" y="475"/>
                    </a:lnTo>
                    <a:lnTo>
                      <a:pt x="831" y="480"/>
                    </a:lnTo>
                    <a:lnTo>
                      <a:pt x="836" y="480"/>
                    </a:lnTo>
                    <a:lnTo>
                      <a:pt x="836" y="480"/>
                    </a:lnTo>
                    <a:lnTo>
                      <a:pt x="840" y="480"/>
                    </a:lnTo>
                    <a:lnTo>
                      <a:pt x="840" y="484"/>
                    </a:lnTo>
                    <a:lnTo>
                      <a:pt x="836" y="484"/>
                    </a:lnTo>
                    <a:lnTo>
                      <a:pt x="840" y="484"/>
                    </a:lnTo>
                    <a:lnTo>
                      <a:pt x="840" y="484"/>
                    </a:lnTo>
                    <a:lnTo>
                      <a:pt x="840" y="484"/>
                    </a:lnTo>
                    <a:lnTo>
                      <a:pt x="836" y="489"/>
                    </a:lnTo>
                    <a:lnTo>
                      <a:pt x="836" y="489"/>
                    </a:lnTo>
                    <a:lnTo>
                      <a:pt x="840" y="489"/>
                    </a:lnTo>
                    <a:lnTo>
                      <a:pt x="840" y="493"/>
                    </a:lnTo>
                    <a:lnTo>
                      <a:pt x="845" y="493"/>
                    </a:lnTo>
                    <a:lnTo>
                      <a:pt x="840" y="493"/>
                    </a:lnTo>
                    <a:lnTo>
                      <a:pt x="840" y="498"/>
                    </a:lnTo>
                    <a:lnTo>
                      <a:pt x="836" y="498"/>
                    </a:lnTo>
                    <a:lnTo>
                      <a:pt x="836" y="493"/>
                    </a:lnTo>
                    <a:lnTo>
                      <a:pt x="836" y="493"/>
                    </a:lnTo>
                    <a:lnTo>
                      <a:pt x="836" y="498"/>
                    </a:lnTo>
                    <a:lnTo>
                      <a:pt x="836" y="498"/>
                    </a:lnTo>
                    <a:lnTo>
                      <a:pt x="836" y="502"/>
                    </a:lnTo>
                    <a:lnTo>
                      <a:pt x="831" y="502"/>
                    </a:lnTo>
                    <a:lnTo>
                      <a:pt x="831" y="502"/>
                    </a:lnTo>
                    <a:lnTo>
                      <a:pt x="831" y="502"/>
                    </a:lnTo>
                    <a:lnTo>
                      <a:pt x="831" y="502"/>
                    </a:lnTo>
                    <a:lnTo>
                      <a:pt x="831" y="502"/>
                    </a:lnTo>
                    <a:lnTo>
                      <a:pt x="831" y="502"/>
                    </a:lnTo>
                    <a:lnTo>
                      <a:pt x="831" y="507"/>
                    </a:lnTo>
                    <a:lnTo>
                      <a:pt x="831" y="507"/>
                    </a:lnTo>
                    <a:lnTo>
                      <a:pt x="831" y="507"/>
                    </a:lnTo>
                    <a:lnTo>
                      <a:pt x="831" y="511"/>
                    </a:lnTo>
                    <a:lnTo>
                      <a:pt x="831" y="511"/>
                    </a:lnTo>
                    <a:lnTo>
                      <a:pt x="831" y="511"/>
                    </a:lnTo>
                    <a:lnTo>
                      <a:pt x="831" y="516"/>
                    </a:lnTo>
                    <a:lnTo>
                      <a:pt x="831" y="516"/>
                    </a:lnTo>
                    <a:lnTo>
                      <a:pt x="831" y="520"/>
                    </a:lnTo>
                    <a:lnTo>
                      <a:pt x="831" y="520"/>
                    </a:lnTo>
                    <a:lnTo>
                      <a:pt x="831" y="525"/>
                    </a:lnTo>
                    <a:lnTo>
                      <a:pt x="831" y="525"/>
                    </a:lnTo>
                    <a:lnTo>
                      <a:pt x="831" y="529"/>
                    </a:lnTo>
                    <a:lnTo>
                      <a:pt x="831" y="529"/>
                    </a:lnTo>
                    <a:lnTo>
                      <a:pt x="827" y="529"/>
                    </a:lnTo>
                    <a:lnTo>
                      <a:pt x="827" y="529"/>
                    </a:lnTo>
                    <a:lnTo>
                      <a:pt x="827" y="529"/>
                    </a:lnTo>
                    <a:lnTo>
                      <a:pt x="827" y="529"/>
                    </a:lnTo>
                    <a:lnTo>
                      <a:pt x="827" y="529"/>
                    </a:lnTo>
                    <a:lnTo>
                      <a:pt x="827" y="525"/>
                    </a:lnTo>
                    <a:lnTo>
                      <a:pt x="827" y="525"/>
                    </a:lnTo>
                    <a:lnTo>
                      <a:pt x="822" y="525"/>
                    </a:lnTo>
                    <a:lnTo>
                      <a:pt x="822" y="525"/>
                    </a:lnTo>
                    <a:lnTo>
                      <a:pt x="822" y="529"/>
                    </a:lnTo>
                    <a:lnTo>
                      <a:pt x="822" y="529"/>
                    </a:lnTo>
                    <a:lnTo>
                      <a:pt x="822" y="525"/>
                    </a:lnTo>
                    <a:lnTo>
                      <a:pt x="822" y="529"/>
                    </a:lnTo>
                    <a:lnTo>
                      <a:pt x="822" y="529"/>
                    </a:lnTo>
                    <a:lnTo>
                      <a:pt x="822" y="529"/>
                    </a:lnTo>
                    <a:lnTo>
                      <a:pt x="827" y="529"/>
                    </a:lnTo>
                    <a:lnTo>
                      <a:pt x="827" y="529"/>
                    </a:lnTo>
                    <a:lnTo>
                      <a:pt x="827" y="534"/>
                    </a:lnTo>
                    <a:lnTo>
                      <a:pt x="827" y="534"/>
                    </a:lnTo>
                    <a:lnTo>
                      <a:pt x="827" y="534"/>
                    </a:lnTo>
                    <a:lnTo>
                      <a:pt x="831" y="534"/>
                    </a:lnTo>
                    <a:lnTo>
                      <a:pt x="827" y="538"/>
                    </a:lnTo>
                    <a:lnTo>
                      <a:pt x="827" y="538"/>
                    </a:lnTo>
                    <a:lnTo>
                      <a:pt x="827" y="538"/>
                    </a:lnTo>
                    <a:lnTo>
                      <a:pt x="822" y="543"/>
                    </a:lnTo>
                    <a:lnTo>
                      <a:pt x="822" y="543"/>
                    </a:lnTo>
                    <a:lnTo>
                      <a:pt x="822" y="543"/>
                    </a:lnTo>
                    <a:lnTo>
                      <a:pt x="822" y="543"/>
                    </a:lnTo>
                    <a:lnTo>
                      <a:pt x="818" y="538"/>
                    </a:lnTo>
                    <a:lnTo>
                      <a:pt x="822" y="543"/>
                    </a:lnTo>
                    <a:lnTo>
                      <a:pt x="822" y="543"/>
                    </a:lnTo>
                    <a:lnTo>
                      <a:pt x="822" y="543"/>
                    </a:lnTo>
                    <a:lnTo>
                      <a:pt x="827" y="543"/>
                    </a:lnTo>
                    <a:lnTo>
                      <a:pt x="827" y="543"/>
                    </a:lnTo>
                    <a:lnTo>
                      <a:pt x="827" y="543"/>
                    </a:lnTo>
                    <a:lnTo>
                      <a:pt x="827" y="548"/>
                    </a:lnTo>
                    <a:lnTo>
                      <a:pt x="827" y="548"/>
                    </a:lnTo>
                    <a:lnTo>
                      <a:pt x="827" y="552"/>
                    </a:lnTo>
                    <a:lnTo>
                      <a:pt x="831" y="552"/>
                    </a:lnTo>
                    <a:lnTo>
                      <a:pt x="831" y="557"/>
                    </a:lnTo>
                    <a:lnTo>
                      <a:pt x="831" y="557"/>
                    </a:lnTo>
                    <a:lnTo>
                      <a:pt x="831" y="557"/>
                    </a:lnTo>
                    <a:lnTo>
                      <a:pt x="827" y="552"/>
                    </a:lnTo>
                    <a:lnTo>
                      <a:pt x="827" y="552"/>
                    </a:lnTo>
                    <a:lnTo>
                      <a:pt x="827" y="552"/>
                    </a:lnTo>
                    <a:lnTo>
                      <a:pt x="822" y="552"/>
                    </a:lnTo>
                    <a:lnTo>
                      <a:pt x="822" y="557"/>
                    </a:lnTo>
                    <a:lnTo>
                      <a:pt x="827" y="557"/>
                    </a:lnTo>
                    <a:lnTo>
                      <a:pt x="827" y="557"/>
                    </a:lnTo>
                    <a:lnTo>
                      <a:pt x="827" y="557"/>
                    </a:lnTo>
                    <a:lnTo>
                      <a:pt x="827" y="561"/>
                    </a:lnTo>
                    <a:lnTo>
                      <a:pt x="822" y="557"/>
                    </a:lnTo>
                    <a:lnTo>
                      <a:pt x="822" y="561"/>
                    </a:lnTo>
                    <a:lnTo>
                      <a:pt x="822" y="561"/>
                    </a:lnTo>
                    <a:lnTo>
                      <a:pt x="822" y="561"/>
                    </a:lnTo>
                    <a:lnTo>
                      <a:pt x="822" y="566"/>
                    </a:lnTo>
                    <a:lnTo>
                      <a:pt x="822" y="566"/>
                    </a:lnTo>
                    <a:lnTo>
                      <a:pt x="822" y="566"/>
                    </a:lnTo>
                    <a:lnTo>
                      <a:pt x="818" y="566"/>
                    </a:lnTo>
                    <a:lnTo>
                      <a:pt x="818" y="566"/>
                    </a:lnTo>
                    <a:lnTo>
                      <a:pt x="822" y="566"/>
                    </a:lnTo>
                    <a:lnTo>
                      <a:pt x="822" y="570"/>
                    </a:lnTo>
                    <a:lnTo>
                      <a:pt x="822" y="570"/>
                    </a:lnTo>
                    <a:lnTo>
                      <a:pt x="818" y="570"/>
                    </a:lnTo>
                    <a:lnTo>
                      <a:pt x="818" y="570"/>
                    </a:lnTo>
                    <a:lnTo>
                      <a:pt x="813" y="570"/>
                    </a:lnTo>
                    <a:lnTo>
                      <a:pt x="813" y="570"/>
                    </a:lnTo>
                    <a:lnTo>
                      <a:pt x="813" y="570"/>
                    </a:lnTo>
                    <a:lnTo>
                      <a:pt x="809" y="575"/>
                    </a:lnTo>
                    <a:lnTo>
                      <a:pt x="813" y="575"/>
                    </a:lnTo>
                    <a:lnTo>
                      <a:pt x="809" y="575"/>
                    </a:lnTo>
                    <a:lnTo>
                      <a:pt x="809" y="575"/>
                    </a:lnTo>
                    <a:lnTo>
                      <a:pt x="809" y="575"/>
                    </a:lnTo>
                    <a:lnTo>
                      <a:pt x="809" y="575"/>
                    </a:lnTo>
                    <a:lnTo>
                      <a:pt x="809" y="575"/>
                    </a:lnTo>
                    <a:lnTo>
                      <a:pt x="813" y="575"/>
                    </a:lnTo>
                    <a:lnTo>
                      <a:pt x="813" y="579"/>
                    </a:lnTo>
                    <a:lnTo>
                      <a:pt x="813" y="579"/>
                    </a:lnTo>
                    <a:lnTo>
                      <a:pt x="813" y="584"/>
                    </a:lnTo>
                    <a:lnTo>
                      <a:pt x="813" y="584"/>
                    </a:lnTo>
                    <a:lnTo>
                      <a:pt x="809" y="584"/>
                    </a:lnTo>
                    <a:lnTo>
                      <a:pt x="809" y="584"/>
                    </a:lnTo>
                    <a:lnTo>
                      <a:pt x="809" y="588"/>
                    </a:lnTo>
                    <a:lnTo>
                      <a:pt x="809" y="588"/>
                    </a:lnTo>
                    <a:lnTo>
                      <a:pt x="809" y="588"/>
                    </a:lnTo>
                    <a:lnTo>
                      <a:pt x="804" y="588"/>
                    </a:lnTo>
                    <a:lnTo>
                      <a:pt x="809" y="588"/>
                    </a:lnTo>
                    <a:lnTo>
                      <a:pt x="809" y="588"/>
                    </a:lnTo>
                    <a:lnTo>
                      <a:pt x="809" y="593"/>
                    </a:lnTo>
                    <a:lnTo>
                      <a:pt x="804" y="593"/>
                    </a:lnTo>
                    <a:lnTo>
                      <a:pt x="804" y="593"/>
                    </a:lnTo>
                    <a:lnTo>
                      <a:pt x="804" y="588"/>
                    </a:lnTo>
                    <a:lnTo>
                      <a:pt x="804" y="588"/>
                    </a:lnTo>
                    <a:lnTo>
                      <a:pt x="804" y="593"/>
                    </a:lnTo>
                    <a:lnTo>
                      <a:pt x="804" y="593"/>
                    </a:lnTo>
                    <a:lnTo>
                      <a:pt x="800" y="593"/>
                    </a:lnTo>
                    <a:lnTo>
                      <a:pt x="800" y="593"/>
                    </a:lnTo>
                    <a:lnTo>
                      <a:pt x="800" y="593"/>
                    </a:lnTo>
                    <a:lnTo>
                      <a:pt x="800" y="597"/>
                    </a:lnTo>
                    <a:lnTo>
                      <a:pt x="800" y="597"/>
                    </a:lnTo>
                    <a:lnTo>
                      <a:pt x="795" y="597"/>
                    </a:lnTo>
                    <a:lnTo>
                      <a:pt x="795" y="597"/>
                    </a:lnTo>
                    <a:lnTo>
                      <a:pt x="795" y="597"/>
                    </a:lnTo>
                    <a:lnTo>
                      <a:pt x="795" y="597"/>
                    </a:lnTo>
                    <a:lnTo>
                      <a:pt x="795" y="602"/>
                    </a:lnTo>
                    <a:lnTo>
                      <a:pt x="795" y="602"/>
                    </a:lnTo>
                    <a:lnTo>
                      <a:pt x="795" y="602"/>
                    </a:lnTo>
                    <a:lnTo>
                      <a:pt x="795" y="606"/>
                    </a:lnTo>
                    <a:lnTo>
                      <a:pt x="795" y="606"/>
                    </a:lnTo>
                    <a:lnTo>
                      <a:pt x="795" y="606"/>
                    </a:lnTo>
                    <a:lnTo>
                      <a:pt x="791" y="606"/>
                    </a:lnTo>
                    <a:lnTo>
                      <a:pt x="791" y="606"/>
                    </a:lnTo>
                    <a:lnTo>
                      <a:pt x="791" y="606"/>
                    </a:lnTo>
                    <a:lnTo>
                      <a:pt x="791" y="606"/>
                    </a:lnTo>
                    <a:lnTo>
                      <a:pt x="791" y="606"/>
                    </a:lnTo>
                    <a:lnTo>
                      <a:pt x="786" y="611"/>
                    </a:lnTo>
                    <a:lnTo>
                      <a:pt x="786" y="611"/>
                    </a:lnTo>
                    <a:lnTo>
                      <a:pt x="782" y="611"/>
                    </a:lnTo>
                    <a:lnTo>
                      <a:pt x="782" y="611"/>
                    </a:lnTo>
                    <a:lnTo>
                      <a:pt x="782" y="611"/>
                    </a:lnTo>
                    <a:lnTo>
                      <a:pt x="782" y="611"/>
                    </a:lnTo>
                    <a:lnTo>
                      <a:pt x="777" y="611"/>
                    </a:lnTo>
                    <a:lnTo>
                      <a:pt x="777" y="611"/>
                    </a:lnTo>
                    <a:lnTo>
                      <a:pt x="777" y="611"/>
                    </a:lnTo>
                    <a:lnTo>
                      <a:pt x="773" y="611"/>
                    </a:lnTo>
                    <a:lnTo>
                      <a:pt x="773" y="611"/>
                    </a:lnTo>
                    <a:lnTo>
                      <a:pt x="773" y="611"/>
                    </a:lnTo>
                    <a:lnTo>
                      <a:pt x="773" y="615"/>
                    </a:lnTo>
                    <a:lnTo>
                      <a:pt x="773" y="615"/>
                    </a:lnTo>
                    <a:lnTo>
                      <a:pt x="768" y="615"/>
                    </a:lnTo>
                    <a:lnTo>
                      <a:pt x="768" y="611"/>
                    </a:lnTo>
                    <a:lnTo>
                      <a:pt x="768" y="611"/>
                    </a:lnTo>
                    <a:lnTo>
                      <a:pt x="764" y="611"/>
                    </a:lnTo>
                    <a:lnTo>
                      <a:pt x="764" y="615"/>
                    </a:lnTo>
                    <a:lnTo>
                      <a:pt x="764" y="615"/>
                    </a:lnTo>
                    <a:lnTo>
                      <a:pt x="768" y="615"/>
                    </a:lnTo>
                    <a:lnTo>
                      <a:pt x="764" y="615"/>
                    </a:lnTo>
                    <a:lnTo>
                      <a:pt x="764" y="615"/>
                    </a:lnTo>
                    <a:lnTo>
                      <a:pt x="764" y="615"/>
                    </a:lnTo>
                    <a:lnTo>
                      <a:pt x="759" y="615"/>
                    </a:lnTo>
                    <a:lnTo>
                      <a:pt x="759" y="615"/>
                    </a:lnTo>
                    <a:lnTo>
                      <a:pt x="759" y="615"/>
                    </a:lnTo>
                    <a:lnTo>
                      <a:pt x="759" y="615"/>
                    </a:lnTo>
                    <a:lnTo>
                      <a:pt x="759" y="615"/>
                    </a:lnTo>
                    <a:lnTo>
                      <a:pt x="759" y="615"/>
                    </a:lnTo>
                    <a:lnTo>
                      <a:pt x="759" y="615"/>
                    </a:lnTo>
                    <a:lnTo>
                      <a:pt x="759" y="615"/>
                    </a:lnTo>
                    <a:lnTo>
                      <a:pt x="754" y="615"/>
                    </a:lnTo>
                    <a:lnTo>
                      <a:pt x="754" y="615"/>
                    </a:lnTo>
                    <a:lnTo>
                      <a:pt x="750" y="611"/>
                    </a:lnTo>
                    <a:lnTo>
                      <a:pt x="750" y="611"/>
                    </a:lnTo>
                    <a:lnTo>
                      <a:pt x="750" y="611"/>
                    </a:lnTo>
                    <a:lnTo>
                      <a:pt x="745" y="606"/>
                    </a:lnTo>
                    <a:lnTo>
                      <a:pt x="745" y="606"/>
                    </a:lnTo>
                    <a:lnTo>
                      <a:pt x="745" y="606"/>
                    </a:lnTo>
                    <a:lnTo>
                      <a:pt x="745" y="606"/>
                    </a:lnTo>
                    <a:lnTo>
                      <a:pt x="745" y="606"/>
                    </a:lnTo>
                    <a:lnTo>
                      <a:pt x="745" y="606"/>
                    </a:lnTo>
                    <a:lnTo>
                      <a:pt x="745" y="606"/>
                    </a:lnTo>
                    <a:lnTo>
                      <a:pt x="745" y="606"/>
                    </a:lnTo>
                    <a:lnTo>
                      <a:pt x="745" y="611"/>
                    </a:lnTo>
                    <a:lnTo>
                      <a:pt x="745" y="611"/>
                    </a:lnTo>
                    <a:lnTo>
                      <a:pt x="745" y="611"/>
                    </a:lnTo>
                    <a:lnTo>
                      <a:pt x="745" y="611"/>
                    </a:lnTo>
                    <a:lnTo>
                      <a:pt x="745" y="611"/>
                    </a:lnTo>
                    <a:lnTo>
                      <a:pt x="745" y="615"/>
                    </a:lnTo>
                    <a:lnTo>
                      <a:pt x="750" y="615"/>
                    </a:lnTo>
                    <a:lnTo>
                      <a:pt x="750" y="620"/>
                    </a:lnTo>
                    <a:lnTo>
                      <a:pt x="750" y="620"/>
                    </a:lnTo>
                    <a:lnTo>
                      <a:pt x="750" y="620"/>
                    </a:lnTo>
                    <a:lnTo>
                      <a:pt x="750" y="624"/>
                    </a:lnTo>
                    <a:lnTo>
                      <a:pt x="750" y="624"/>
                    </a:lnTo>
                    <a:lnTo>
                      <a:pt x="750" y="624"/>
                    </a:lnTo>
                    <a:lnTo>
                      <a:pt x="750" y="624"/>
                    </a:lnTo>
                    <a:lnTo>
                      <a:pt x="750" y="624"/>
                    </a:lnTo>
                    <a:lnTo>
                      <a:pt x="750" y="624"/>
                    </a:lnTo>
                    <a:lnTo>
                      <a:pt x="750" y="624"/>
                    </a:lnTo>
                    <a:lnTo>
                      <a:pt x="750" y="624"/>
                    </a:lnTo>
                    <a:lnTo>
                      <a:pt x="750" y="624"/>
                    </a:lnTo>
                    <a:lnTo>
                      <a:pt x="745" y="624"/>
                    </a:lnTo>
                    <a:lnTo>
                      <a:pt x="745" y="624"/>
                    </a:lnTo>
                    <a:lnTo>
                      <a:pt x="745" y="624"/>
                    </a:lnTo>
                    <a:lnTo>
                      <a:pt x="745" y="624"/>
                    </a:lnTo>
                    <a:lnTo>
                      <a:pt x="741" y="624"/>
                    </a:lnTo>
                    <a:lnTo>
                      <a:pt x="741" y="629"/>
                    </a:lnTo>
                    <a:lnTo>
                      <a:pt x="741" y="629"/>
                    </a:lnTo>
                    <a:lnTo>
                      <a:pt x="741" y="629"/>
                    </a:lnTo>
                    <a:lnTo>
                      <a:pt x="741" y="629"/>
                    </a:lnTo>
                    <a:lnTo>
                      <a:pt x="741" y="629"/>
                    </a:lnTo>
                    <a:lnTo>
                      <a:pt x="736" y="629"/>
                    </a:lnTo>
                    <a:lnTo>
                      <a:pt x="736" y="633"/>
                    </a:lnTo>
                    <a:lnTo>
                      <a:pt x="736" y="633"/>
                    </a:lnTo>
                    <a:lnTo>
                      <a:pt x="736" y="633"/>
                    </a:lnTo>
                    <a:lnTo>
                      <a:pt x="732" y="629"/>
                    </a:lnTo>
                    <a:lnTo>
                      <a:pt x="732" y="629"/>
                    </a:lnTo>
                    <a:lnTo>
                      <a:pt x="732" y="629"/>
                    </a:lnTo>
                    <a:lnTo>
                      <a:pt x="732" y="629"/>
                    </a:lnTo>
                    <a:lnTo>
                      <a:pt x="732" y="629"/>
                    </a:lnTo>
                    <a:lnTo>
                      <a:pt x="732" y="629"/>
                    </a:lnTo>
                    <a:lnTo>
                      <a:pt x="732" y="633"/>
                    </a:lnTo>
                    <a:lnTo>
                      <a:pt x="732" y="633"/>
                    </a:lnTo>
                    <a:lnTo>
                      <a:pt x="732" y="633"/>
                    </a:lnTo>
                    <a:lnTo>
                      <a:pt x="732" y="633"/>
                    </a:lnTo>
                    <a:lnTo>
                      <a:pt x="727" y="633"/>
                    </a:lnTo>
                    <a:lnTo>
                      <a:pt x="727" y="629"/>
                    </a:lnTo>
                    <a:lnTo>
                      <a:pt x="727" y="629"/>
                    </a:lnTo>
                    <a:lnTo>
                      <a:pt x="727" y="633"/>
                    </a:lnTo>
                    <a:lnTo>
                      <a:pt x="727" y="633"/>
                    </a:lnTo>
                    <a:lnTo>
                      <a:pt x="723" y="633"/>
                    </a:lnTo>
                    <a:lnTo>
                      <a:pt x="723" y="633"/>
                    </a:lnTo>
                    <a:lnTo>
                      <a:pt x="723" y="633"/>
                    </a:lnTo>
                    <a:lnTo>
                      <a:pt x="723" y="638"/>
                    </a:lnTo>
                    <a:lnTo>
                      <a:pt x="723" y="638"/>
                    </a:lnTo>
                    <a:lnTo>
                      <a:pt x="718" y="638"/>
                    </a:lnTo>
                    <a:lnTo>
                      <a:pt x="718" y="638"/>
                    </a:lnTo>
                    <a:lnTo>
                      <a:pt x="714" y="638"/>
                    </a:lnTo>
                    <a:lnTo>
                      <a:pt x="714" y="638"/>
                    </a:lnTo>
                    <a:lnTo>
                      <a:pt x="714" y="638"/>
                    </a:lnTo>
                    <a:lnTo>
                      <a:pt x="714" y="638"/>
                    </a:lnTo>
                    <a:lnTo>
                      <a:pt x="714" y="638"/>
                    </a:lnTo>
                    <a:lnTo>
                      <a:pt x="714" y="638"/>
                    </a:lnTo>
                    <a:lnTo>
                      <a:pt x="709" y="642"/>
                    </a:lnTo>
                    <a:lnTo>
                      <a:pt x="709" y="642"/>
                    </a:lnTo>
                    <a:lnTo>
                      <a:pt x="709" y="642"/>
                    </a:lnTo>
                    <a:lnTo>
                      <a:pt x="705" y="642"/>
                    </a:lnTo>
                    <a:lnTo>
                      <a:pt x="705" y="642"/>
                    </a:lnTo>
                    <a:lnTo>
                      <a:pt x="705" y="642"/>
                    </a:lnTo>
                    <a:lnTo>
                      <a:pt x="705" y="642"/>
                    </a:lnTo>
                    <a:lnTo>
                      <a:pt x="705" y="642"/>
                    </a:lnTo>
                    <a:lnTo>
                      <a:pt x="705" y="642"/>
                    </a:lnTo>
                    <a:lnTo>
                      <a:pt x="705" y="647"/>
                    </a:lnTo>
                    <a:lnTo>
                      <a:pt x="705" y="647"/>
                    </a:lnTo>
                    <a:lnTo>
                      <a:pt x="700" y="647"/>
                    </a:lnTo>
                    <a:lnTo>
                      <a:pt x="700" y="652"/>
                    </a:lnTo>
                    <a:lnTo>
                      <a:pt x="700" y="652"/>
                    </a:lnTo>
                    <a:lnTo>
                      <a:pt x="705" y="652"/>
                    </a:lnTo>
                    <a:lnTo>
                      <a:pt x="705" y="652"/>
                    </a:lnTo>
                    <a:lnTo>
                      <a:pt x="705" y="656"/>
                    </a:lnTo>
                    <a:lnTo>
                      <a:pt x="705" y="656"/>
                    </a:lnTo>
                    <a:lnTo>
                      <a:pt x="705" y="656"/>
                    </a:lnTo>
                    <a:lnTo>
                      <a:pt x="709" y="661"/>
                    </a:lnTo>
                    <a:lnTo>
                      <a:pt x="709" y="661"/>
                    </a:lnTo>
                    <a:lnTo>
                      <a:pt x="709" y="661"/>
                    </a:lnTo>
                    <a:lnTo>
                      <a:pt x="709" y="661"/>
                    </a:lnTo>
                    <a:lnTo>
                      <a:pt x="709" y="665"/>
                    </a:lnTo>
                    <a:lnTo>
                      <a:pt x="705" y="665"/>
                    </a:lnTo>
                    <a:lnTo>
                      <a:pt x="700" y="665"/>
                    </a:lnTo>
                    <a:lnTo>
                      <a:pt x="700" y="661"/>
                    </a:lnTo>
                    <a:lnTo>
                      <a:pt x="700" y="661"/>
                    </a:lnTo>
                    <a:lnTo>
                      <a:pt x="700" y="661"/>
                    </a:lnTo>
                    <a:lnTo>
                      <a:pt x="700" y="661"/>
                    </a:lnTo>
                    <a:lnTo>
                      <a:pt x="700" y="661"/>
                    </a:lnTo>
                    <a:lnTo>
                      <a:pt x="700" y="661"/>
                    </a:lnTo>
                    <a:lnTo>
                      <a:pt x="700" y="661"/>
                    </a:lnTo>
                    <a:lnTo>
                      <a:pt x="696" y="656"/>
                    </a:lnTo>
                    <a:lnTo>
                      <a:pt x="696" y="656"/>
                    </a:lnTo>
                    <a:lnTo>
                      <a:pt x="696" y="652"/>
                    </a:lnTo>
                    <a:lnTo>
                      <a:pt x="696" y="652"/>
                    </a:lnTo>
                    <a:lnTo>
                      <a:pt x="691" y="652"/>
                    </a:lnTo>
                    <a:lnTo>
                      <a:pt x="691" y="652"/>
                    </a:lnTo>
                    <a:lnTo>
                      <a:pt x="691" y="647"/>
                    </a:lnTo>
                    <a:lnTo>
                      <a:pt x="691" y="647"/>
                    </a:lnTo>
                    <a:lnTo>
                      <a:pt x="691" y="642"/>
                    </a:lnTo>
                    <a:lnTo>
                      <a:pt x="691" y="642"/>
                    </a:lnTo>
                    <a:lnTo>
                      <a:pt x="696" y="642"/>
                    </a:lnTo>
                    <a:lnTo>
                      <a:pt x="696" y="638"/>
                    </a:lnTo>
                    <a:lnTo>
                      <a:pt x="691" y="638"/>
                    </a:lnTo>
                    <a:lnTo>
                      <a:pt x="691" y="638"/>
                    </a:lnTo>
                    <a:lnTo>
                      <a:pt x="691" y="638"/>
                    </a:lnTo>
                    <a:lnTo>
                      <a:pt x="691" y="638"/>
                    </a:lnTo>
                    <a:lnTo>
                      <a:pt x="687" y="638"/>
                    </a:lnTo>
                    <a:lnTo>
                      <a:pt x="687" y="633"/>
                    </a:lnTo>
                    <a:lnTo>
                      <a:pt x="687" y="633"/>
                    </a:lnTo>
                    <a:lnTo>
                      <a:pt x="687" y="638"/>
                    </a:lnTo>
                    <a:lnTo>
                      <a:pt x="687" y="638"/>
                    </a:lnTo>
                    <a:lnTo>
                      <a:pt x="687" y="642"/>
                    </a:lnTo>
                    <a:lnTo>
                      <a:pt x="682" y="642"/>
                    </a:lnTo>
                    <a:lnTo>
                      <a:pt x="682" y="642"/>
                    </a:lnTo>
                    <a:lnTo>
                      <a:pt x="682" y="642"/>
                    </a:lnTo>
                    <a:lnTo>
                      <a:pt x="682" y="638"/>
                    </a:lnTo>
                    <a:lnTo>
                      <a:pt x="682" y="638"/>
                    </a:lnTo>
                    <a:lnTo>
                      <a:pt x="678" y="638"/>
                    </a:lnTo>
                    <a:lnTo>
                      <a:pt x="678" y="638"/>
                    </a:lnTo>
                    <a:lnTo>
                      <a:pt x="678" y="638"/>
                    </a:lnTo>
                    <a:lnTo>
                      <a:pt x="673" y="638"/>
                    </a:lnTo>
                    <a:lnTo>
                      <a:pt x="673" y="638"/>
                    </a:lnTo>
                    <a:lnTo>
                      <a:pt x="673" y="638"/>
                    </a:lnTo>
                    <a:lnTo>
                      <a:pt x="673" y="633"/>
                    </a:lnTo>
                    <a:lnTo>
                      <a:pt x="669" y="633"/>
                    </a:lnTo>
                    <a:lnTo>
                      <a:pt x="669" y="633"/>
                    </a:lnTo>
                    <a:lnTo>
                      <a:pt x="669" y="633"/>
                    </a:lnTo>
                    <a:lnTo>
                      <a:pt x="669" y="633"/>
                    </a:lnTo>
                    <a:lnTo>
                      <a:pt x="669" y="633"/>
                    </a:lnTo>
                    <a:lnTo>
                      <a:pt x="669" y="633"/>
                    </a:lnTo>
                    <a:lnTo>
                      <a:pt x="669" y="633"/>
                    </a:lnTo>
                    <a:lnTo>
                      <a:pt x="669" y="638"/>
                    </a:lnTo>
                    <a:lnTo>
                      <a:pt x="669" y="638"/>
                    </a:lnTo>
                    <a:lnTo>
                      <a:pt x="669" y="638"/>
                    </a:lnTo>
                    <a:lnTo>
                      <a:pt x="669" y="638"/>
                    </a:lnTo>
                    <a:lnTo>
                      <a:pt x="669" y="638"/>
                    </a:lnTo>
                    <a:lnTo>
                      <a:pt x="664" y="638"/>
                    </a:lnTo>
                    <a:lnTo>
                      <a:pt x="664" y="638"/>
                    </a:lnTo>
                    <a:lnTo>
                      <a:pt x="664" y="638"/>
                    </a:lnTo>
                    <a:lnTo>
                      <a:pt x="664" y="638"/>
                    </a:lnTo>
                    <a:lnTo>
                      <a:pt x="664" y="638"/>
                    </a:lnTo>
                    <a:lnTo>
                      <a:pt x="660" y="638"/>
                    </a:lnTo>
                    <a:lnTo>
                      <a:pt x="660" y="638"/>
                    </a:lnTo>
                    <a:lnTo>
                      <a:pt x="660" y="638"/>
                    </a:lnTo>
                    <a:lnTo>
                      <a:pt x="655" y="638"/>
                    </a:lnTo>
                    <a:lnTo>
                      <a:pt x="655" y="638"/>
                    </a:lnTo>
                    <a:lnTo>
                      <a:pt x="651" y="638"/>
                    </a:lnTo>
                    <a:lnTo>
                      <a:pt x="651" y="638"/>
                    </a:lnTo>
                    <a:lnTo>
                      <a:pt x="651" y="638"/>
                    </a:lnTo>
                    <a:lnTo>
                      <a:pt x="651" y="638"/>
                    </a:lnTo>
                    <a:lnTo>
                      <a:pt x="646" y="638"/>
                    </a:lnTo>
                    <a:lnTo>
                      <a:pt x="646" y="633"/>
                    </a:lnTo>
                    <a:lnTo>
                      <a:pt x="642" y="633"/>
                    </a:lnTo>
                    <a:lnTo>
                      <a:pt x="642" y="633"/>
                    </a:lnTo>
                    <a:lnTo>
                      <a:pt x="642" y="633"/>
                    </a:lnTo>
                    <a:lnTo>
                      <a:pt x="642" y="633"/>
                    </a:lnTo>
                    <a:lnTo>
                      <a:pt x="642" y="633"/>
                    </a:lnTo>
                    <a:lnTo>
                      <a:pt x="637" y="633"/>
                    </a:lnTo>
                    <a:lnTo>
                      <a:pt x="637" y="629"/>
                    </a:lnTo>
                    <a:lnTo>
                      <a:pt x="637" y="633"/>
                    </a:lnTo>
                    <a:lnTo>
                      <a:pt x="637" y="633"/>
                    </a:lnTo>
                    <a:lnTo>
                      <a:pt x="637" y="629"/>
                    </a:lnTo>
                    <a:lnTo>
                      <a:pt x="637" y="629"/>
                    </a:lnTo>
                    <a:lnTo>
                      <a:pt x="637" y="624"/>
                    </a:lnTo>
                    <a:lnTo>
                      <a:pt x="637" y="624"/>
                    </a:lnTo>
                    <a:lnTo>
                      <a:pt x="633" y="624"/>
                    </a:lnTo>
                    <a:lnTo>
                      <a:pt x="633" y="624"/>
                    </a:lnTo>
                    <a:lnTo>
                      <a:pt x="633" y="624"/>
                    </a:lnTo>
                    <a:lnTo>
                      <a:pt x="633" y="620"/>
                    </a:lnTo>
                    <a:lnTo>
                      <a:pt x="633" y="620"/>
                    </a:lnTo>
                    <a:lnTo>
                      <a:pt x="633" y="620"/>
                    </a:lnTo>
                    <a:lnTo>
                      <a:pt x="633" y="620"/>
                    </a:lnTo>
                    <a:lnTo>
                      <a:pt x="633" y="615"/>
                    </a:lnTo>
                    <a:lnTo>
                      <a:pt x="633" y="615"/>
                    </a:lnTo>
                    <a:lnTo>
                      <a:pt x="633" y="615"/>
                    </a:lnTo>
                    <a:lnTo>
                      <a:pt x="628" y="615"/>
                    </a:lnTo>
                    <a:lnTo>
                      <a:pt x="628" y="615"/>
                    </a:lnTo>
                    <a:lnTo>
                      <a:pt x="628" y="615"/>
                    </a:lnTo>
                    <a:lnTo>
                      <a:pt x="628" y="615"/>
                    </a:lnTo>
                    <a:lnTo>
                      <a:pt x="623" y="615"/>
                    </a:lnTo>
                    <a:lnTo>
                      <a:pt x="623" y="611"/>
                    </a:lnTo>
                    <a:lnTo>
                      <a:pt x="623" y="611"/>
                    </a:lnTo>
                    <a:lnTo>
                      <a:pt x="623" y="611"/>
                    </a:lnTo>
                    <a:lnTo>
                      <a:pt x="619" y="611"/>
                    </a:lnTo>
                    <a:lnTo>
                      <a:pt x="619" y="611"/>
                    </a:lnTo>
                    <a:lnTo>
                      <a:pt x="619" y="615"/>
                    </a:lnTo>
                    <a:lnTo>
                      <a:pt x="619" y="615"/>
                    </a:lnTo>
                    <a:lnTo>
                      <a:pt x="619" y="611"/>
                    </a:lnTo>
                    <a:lnTo>
                      <a:pt x="614" y="611"/>
                    </a:lnTo>
                    <a:lnTo>
                      <a:pt x="614" y="611"/>
                    </a:lnTo>
                    <a:lnTo>
                      <a:pt x="610" y="611"/>
                    </a:lnTo>
                    <a:lnTo>
                      <a:pt x="610" y="606"/>
                    </a:lnTo>
                    <a:lnTo>
                      <a:pt x="610" y="606"/>
                    </a:lnTo>
                    <a:lnTo>
                      <a:pt x="610" y="606"/>
                    </a:lnTo>
                    <a:lnTo>
                      <a:pt x="605" y="606"/>
                    </a:lnTo>
                    <a:lnTo>
                      <a:pt x="605" y="606"/>
                    </a:lnTo>
                    <a:lnTo>
                      <a:pt x="605" y="606"/>
                    </a:lnTo>
                    <a:lnTo>
                      <a:pt x="601" y="606"/>
                    </a:lnTo>
                    <a:lnTo>
                      <a:pt x="601" y="611"/>
                    </a:lnTo>
                    <a:lnTo>
                      <a:pt x="601" y="611"/>
                    </a:lnTo>
                    <a:lnTo>
                      <a:pt x="601" y="611"/>
                    </a:lnTo>
                    <a:lnTo>
                      <a:pt x="601" y="611"/>
                    </a:lnTo>
                    <a:lnTo>
                      <a:pt x="601" y="615"/>
                    </a:lnTo>
                    <a:lnTo>
                      <a:pt x="601" y="615"/>
                    </a:lnTo>
                    <a:lnTo>
                      <a:pt x="601" y="615"/>
                    </a:lnTo>
                    <a:lnTo>
                      <a:pt x="596" y="615"/>
                    </a:lnTo>
                    <a:lnTo>
                      <a:pt x="596" y="615"/>
                    </a:lnTo>
                    <a:lnTo>
                      <a:pt x="596" y="615"/>
                    </a:lnTo>
                    <a:lnTo>
                      <a:pt x="596" y="620"/>
                    </a:lnTo>
                    <a:lnTo>
                      <a:pt x="592" y="620"/>
                    </a:lnTo>
                    <a:lnTo>
                      <a:pt x="592" y="615"/>
                    </a:lnTo>
                    <a:lnTo>
                      <a:pt x="592" y="615"/>
                    </a:lnTo>
                    <a:lnTo>
                      <a:pt x="592" y="615"/>
                    </a:lnTo>
                    <a:lnTo>
                      <a:pt x="587" y="620"/>
                    </a:lnTo>
                    <a:lnTo>
                      <a:pt x="587" y="620"/>
                    </a:lnTo>
                    <a:lnTo>
                      <a:pt x="587" y="620"/>
                    </a:lnTo>
                    <a:lnTo>
                      <a:pt x="587" y="620"/>
                    </a:lnTo>
                    <a:lnTo>
                      <a:pt x="587" y="620"/>
                    </a:lnTo>
                    <a:lnTo>
                      <a:pt x="587" y="620"/>
                    </a:lnTo>
                    <a:lnTo>
                      <a:pt x="583" y="620"/>
                    </a:lnTo>
                    <a:lnTo>
                      <a:pt x="583" y="615"/>
                    </a:lnTo>
                    <a:lnTo>
                      <a:pt x="583" y="620"/>
                    </a:lnTo>
                    <a:lnTo>
                      <a:pt x="583" y="620"/>
                    </a:lnTo>
                    <a:lnTo>
                      <a:pt x="583" y="620"/>
                    </a:lnTo>
                    <a:lnTo>
                      <a:pt x="578" y="620"/>
                    </a:lnTo>
                    <a:lnTo>
                      <a:pt x="578" y="620"/>
                    </a:lnTo>
                    <a:lnTo>
                      <a:pt x="578" y="620"/>
                    </a:lnTo>
                    <a:lnTo>
                      <a:pt x="578" y="620"/>
                    </a:lnTo>
                    <a:lnTo>
                      <a:pt x="578" y="620"/>
                    </a:lnTo>
                    <a:lnTo>
                      <a:pt x="574" y="620"/>
                    </a:lnTo>
                    <a:lnTo>
                      <a:pt x="574" y="620"/>
                    </a:lnTo>
                    <a:lnTo>
                      <a:pt x="574" y="624"/>
                    </a:lnTo>
                    <a:lnTo>
                      <a:pt x="574" y="624"/>
                    </a:lnTo>
                    <a:lnTo>
                      <a:pt x="574" y="624"/>
                    </a:lnTo>
                    <a:lnTo>
                      <a:pt x="574" y="624"/>
                    </a:lnTo>
                    <a:lnTo>
                      <a:pt x="574" y="624"/>
                    </a:lnTo>
                    <a:lnTo>
                      <a:pt x="569" y="624"/>
                    </a:lnTo>
                    <a:lnTo>
                      <a:pt x="569" y="620"/>
                    </a:lnTo>
                    <a:lnTo>
                      <a:pt x="569" y="620"/>
                    </a:lnTo>
                    <a:lnTo>
                      <a:pt x="565" y="620"/>
                    </a:lnTo>
                    <a:lnTo>
                      <a:pt x="565" y="620"/>
                    </a:lnTo>
                    <a:lnTo>
                      <a:pt x="565" y="620"/>
                    </a:lnTo>
                    <a:lnTo>
                      <a:pt x="560" y="620"/>
                    </a:lnTo>
                    <a:lnTo>
                      <a:pt x="560" y="620"/>
                    </a:lnTo>
                    <a:lnTo>
                      <a:pt x="560" y="620"/>
                    </a:lnTo>
                    <a:lnTo>
                      <a:pt x="560" y="624"/>
                    </a:lnTo>
                    <a:lnTo>
                      <a:pt x="560" y="624"/>
                    </a:lnTo>
                    <a:lnTo>
                      <a:pt x="560" y="624"/>
                    </a:lnTo>
                    <a:lnTo>
                      <a:pt x="560" y="624"/>
                    </a:lnTo>
                    <a:lnTo>
                      <a:pt x="560" y="624"/>
                    </a:lnTo>
                    <a:lnTo>
                      <a:pt x="556" y="624"/>
                    </a:lnTo>
                    <a:lnTo>
                      <a:pt x="556" y="624"/>
                    </a:lnTo>
                    <a:lnTo>
                      <a:pt x="556" y="624"/>
                    </a:lnTo>
                    <a:lnTo>
                      <a:pt x="551" y="624"/>
                    </a:lnTo>
                    <a:lnTo>
                      <a:pt x="551" y="624"/>
                    </a:lnTo>
                    <a:lnTo>
                      <a:pt x="551" y="624"/>
                    </a:lnTo>
                    <a:lnTo>
                      <a:pt x="551" y="624"/>
                    </a:lnTo>
                    <a:lnTo>
                      <a:pt x="551" y="624"/>
                    </a:lnTo>
                    <a:lnTo>
                      <a:pt x="551" y="629"/>
                    </a:lnTo>
                    <a:lnTo>
                      <a:pt x="551" y="629"/>
                    </a:lnTo>
                    <a:lnTo>
                      <a:pt x="551" y="629"/>
                    </a:lnTo>
                    <a:lnTo>
                      <a:pt x="551" y="629"/>
                    </a:lnTo>
                    <a:lnTo>
                      <a:pt x="551" y="629"/>
                    </a:lnTo>
                    <a:lnTo>
                      <a:pt x="551" y="633"/>
                    </a:lnTo>
                    <a:lnTo>
                      <a:pt x="551" y="633"/>
                    </a:lnTo>
                    <a:lnTo>
                      <a:pt x="551" y="633"/>
                    </a:lnTo>
                    <a:lnTo>
                      <a:pt x="556" y="638"/>
                    </a:lnTo>
                    <a:lnTo>
                      <a:pt x="556" y="638"/>
                    </a:lnTo>
                    <a:lnTo>
                      <a:pt x="556" y="638"/>
                    </a:lnTo>
                    <a:lnTo>
                      <a:pt x="556" y="642"/>
                    </a:lnTo>
                    <a:lnTo>
                      <a:pt x="556" y="642"/>
                    </a:lnTo>
                    <a:lnTo>
                      <a:pt x="556" y="647"/>
                    </a:lnTo>
                    <a:lnTo>
                      <a:pt x="556" y="647"/>
                    </a:lnTo>
                    <a:lnTo>
                      <a:pt x="556" y="647"/>
                    </a:lnTo>
                    <a:lnTo>
                      <a:pt x="560" y="647"/>
                    </a:lnTo>
                    <a:lnTo>
                      <a:pt x="560" y="652"/>
                    </a:lnTo>
                    <a:lnTo>
                      <a:pt x="560" y="652"/>
                    </a:lnTo>
                    <a:lnTo>
                      <a:pt x="556" y="652"/>
                    </a:lnTo>
                    <a:lnTo>
                      <a:pt x="556" y="652"/>
                    </a:lnTo>
                    <a:lnTo>
                      <a:pt x="556" y="652"/>
                    </a:lnTo>
                    <a:lnTo>
                      <a:pt x="556" y="652"/>
                    </a:lnTo>
                    <a:lnTo>
                      <a:pt x="556" y="652"/>
                    </a:lnTo>
                    <a:lnTo>
                      <a:pt x="556" y="647"/>
                    </a:lnTo>
                    <a:lnTo>
                      <a:pt x="551" y="647"/>
                    </a:lnTo>
                    <a:lnTo>
                      <a:pt x="551" y="652"/>
                    </a:lnTo>
                    <a:lnTo>
                      <a:pt x="551" y="652"/>
                    </a:lnTo>
                    <a:lnTo>
                      <a:pt x="551" y="652"/>
                    </a:lnTo>
                    <a:lnTo>
                      <a:pt x="547" y="647"/>
                    </a:lnTo>
                    <a:lnTo>
                      <a:pt x="547" y="647"/>
                    </a:lnTo>
                    <a:lnTo>
                      <a:pt x="547" y="647"/>
                    </a:lnTo>
                    <a:lnTo>
                      <a:pt x="547" y="647"/>
                    </a:lnTo>
                    <a:lnTo>
                      <a:pt x="547" y="642"/>
                    </a:lnTo>
                    <a:lnTo>
                      <a:pt x="547" y="642"/>
                    </a:lnTo>
                    <a:lnTo>
                      <a:pt x="547" y="642"/>
                    </a:lnTo>
                    <a:lnTo>
                      <a:pt x="547" y="638"/>
                    </a:lnTo>
                    <a:lnTo>
                      <a:pt x="547" y="638"/>
                    </a:lnTo>
                    <a:lnTo>
                      <a:pt x="547" y="638"/>
                    </a:lnTo>
                    <a:lnTo>
                      <a:pt x="542" y="638"/>
                    </a:lnTo>
                    <a:lnTo>
                      <a:pt x="542" y="638"/>
                    </a:lnTo>
                    <a:lnTo>
                      <a:pt x="542" y="642"/>
                    </a:lnTo>
                    <a:lnTo>
                      <a:pt x="538" y="642"/>
                    </a:lnTo>
                    <a:lnTo>
                      <a:pt x="538" y="647"/>
                    </a:lnTo>
                    <a:lnTo>
                      <a:pt x="538" y="647"/>
                    </a:lnTo>
                    <a:lnTo>
                      <a:pt x="533" y="642"/>
                    </a:lnTo>
                    <a:lnTo>
                      <a:pt x="533" y="642"/>
                    </a:lnTo>
                    <a:lnTo>
                      <a:pt x="533" y="647"/>
                    </a:lnTo>
                    <a:lnTo>
                      <a:pt x="529" y="647"/>
                    </a:lnTo>
                    <a:lnTo>
                      <a:pt x="529" y="642"/>
                    </a:lnTo>
                    <a:lnTo>
                      <a:pt x="529" y="642"/>
                    </a:lnTo>
                    <a:lnTo>
                      <a:pt x="529" y="642"/>
                    </a:lnTo>
                    <a:lnTo>
                      <a:pt x="529" y="642"/>
                    </a:lnTo>
                    <a:lnTo>
                      <a:pt x="529" y="642"/>
                    </a:lnTo>
                    <a:lnTo>
                      <a:pt x="524" y="642"/>
                    </a:lnTo>
                    <a:lnTo>
                      <a:pt x="524" y="638"/>
                    </a:lnTo>
                    <a:lnTo>
                      <a:pt x="524" y="638"/>
                    </a:lnTo>
                    <a:lnTo>
                      <a:pt x="524" y="638"/>
                    </a:lnTo>
                    <a:lnTo>
                      <a:pt x="524" y="633"/>
                    </a:lnTo>
                    <a:lnTo>
                      <a:pt x="524" y="633"/>
                    </a:lnTo>
                    <a:lnTo>
                      <a:pt x="520" y="633"/>
                    </a:lnTo>
                    <a:lnTo>
                      <a:pt x="520" y="633"/>
                    </a:lnTo>
                    <a:lnTo>
                      <a:pt x="515" y="633"/>
                    </a:lnTo>
                    <a:lnTo>
                      <a:pt x="511" y="633"/>
                    </a:lnTo>
                    <a:lnTo>
                      <a:pt x="511" y="633"/>
                    </a:lnTo>
                    <a:lnTo>
                      <a:pt x="511" y="633"/>
                    </a:lnTo>
                    <a:lnTo>
                      <a:pt x="511" y="633"/>
                    </a:lnTo>
                    <a:lnTo>
                      <a:pt x="511" y="633"/>
                    </a:lnTo>
                    <a:lnTo>
                      <a:pt x="511" y="629"/>
                    </a:lnTo>
                    <a:lnTo>
                      <a:pt x="511" y="629"/>
                    </a:lnTo>
                    <a:lnTo>
                      <a:pt x="511" y="624"/>
                    </a:lnTo>
                    <a:lnTo>
                      <a:pt x="511" y="624"/>
                    </a:lnTo>
                    <a:lnTo>
                      <a:pt x="511" y="620"/>
                    </a:lnTo>
                    <a:lnTo>
                      <a:pt x="511" y="620"/>
                    </a:lnTo>
                    <a:lnTo>
                      <a:pt x="511" y="615"/>
                    </a:lnTo>
                    <a:lnTo>
                      <a:pt x="511" y="615"/>
                    </a:lnTo>
                    <a:lnTo>
                      <a:pt x="511" y="615"/>
                    </a:lnTo>
                    <a:lnTo>
                      <a:pt x="511" y="615"/>
                    </a:lnTo>
                    <a:lnTo>
                      <a:pt x="511" y="615"/>
                    </a:lnTo>
                    <a:lnTo>
                      <a:pt x="511" y="615"/>
                    </a:lnTo>
                    <a:lnTo>
                      <a:pt x="506" y="615"/>
                    </a:lnTo>
                    <a:lnTo>
                      <a:pt x="502" y="611"/>
                    </a:lnTo>
                    <a:lnTo>
                      <a:pt x="502" y="611"/>
                    </a:lnTo>
                    <a:lnTo>
                      <a:pt x="502" y="611"/>
                    </a:lnTo>
                    <a:lnTo>
                      <a:pt x="502" y="606"/>
                    </a:lnTo>
                    <a:lnTo>
                      <a:pt x="497" y="606"/>
                    </a:lnTo>
                    <a:lnTo>
                      <a:pt x="497" y="606"/>
                    </a:lnTo>
                    <a:lnTo>
                      <a:pt x="497" y="606"/>
                    </a:lnTo>
                    <a:lnTo>
                      <a:pt x="497" y="602"/>
                    </a:lnTo>
                    <a:lnTo>
                      <a:pt x="497" y="602"/>
                    </a:lnTo>
                    <a:lnTo>
                      <a:pt x="497" y="602"/>
                    </a:lnTo>
                    <a:lnTo>
                      <a:pt x="492" y="597"/>
                    </a:lnTo>
                    <a:lnTo>
                      <a:pt x="492" y="597"/>
                    </a:lnTo>
                    <a:lnTo>
                      <a:pt x="492" y="597"/>
                    </a:lnTo>
                    <a:lnTo>
                      <a:pt x="497" y="593"/>
                    </a:lnTo>
                    <a:lnTo>
                      <a:pt x="497" y="593"/>
                    </a:lnTo>
                    <a:lnTo>
                      <a:pt x="492" y="593"/>
                    </a:lnTo>
                    <a:lnTo>
                      <a:pt x="492" y="593"/>
                    </a:lnTo>
                    <a:lnTo>
                      <a:pt x="492" y="593"/>
                    </a:lnTo>
                    <a:lnTo>
                      <a:pt x="492" y="593"/>
                    </a:lnTo>
                    <a:lnTo>
                      <a:pt x="488" y="593"/>
                    </a:lnTo>
                    <a:lnTo>
                      <a:pt x="488" y="593"/>
                    </a:lnTo>
                    <a:lnTo>
                      <a:pt x="483" y="593"/>
                    </a:lnTo>
                    <a:lnTo>
                      <a:pt x="483" y="597"/>
                    </a:lnTo>
                    <a:lnTo>
                      <a:pt x="479" y="597"/>
                    </a:lnTo>
                    <a:lnTo>
                      <a:pt x="479" y="597"/>
                    </a:lnTo>
                    <a:lnTo>
                      <a:pt x="479" y="597"/>
                    </a:lnTo>
                    <a:lnTo>
                      <a:pt x="474" y="597"/>
                    </a:lnTo>
                    <a:lnTo>
                      <a:pt x="474" y="597"/>
                    </a:lnTo>
                    <a:lnTo>
                      <a:pt x="474" y="597"/>
                    </a:lnTo>
                    <a:lnTo>
                      <a:pt x="474" y="593"/>
                    </a:lnTo>
                    <a:lnTo>
                      <a:pt x="474" y="593"/>
                    </a:lnTo>
                    <a:lnTo>
                      <a:pt x="474" y="593"/>
                    </a:lnTo>
                    <a:lnTo>
                      <a:pt x="474" y="588"/>
                    </a:lnTo>
                    <a:lnTo>
                      <a:pt x="474" y="588"/>
                    </a:lnTo>
                    <a:lnTo>
                      <a:pt x="470" y="588"/>
                    </a:lnTo>
                    <a:lnTo>
                      <a:pt x="470" y="588"/>
                    </a:lnTo>
                    <a:lnTo>
                      <a:pt x="470" y="584"/>
                    </a:lnTo>
                    <a:lnTo>
                      <a:pt x="470" y="584"/>
                    </a:lnTo>
                    <a:lnTo>
                      <a:pt x="470" y="579"/>
                    </a:lnTo>
                    <a:lnTo>
                      <a:pt x="474" y="579"/>
                    </a:lnTo>
                    <a:lnTo>
                      <a:pt x="474" y="579"/>
                    </a:lnTo>
                    <a:lnTo>
                      <a:pt x="470" y="579"/>
                    </a:lnTo>
                    <a:lnTo>
                      <a:pt x="470" y="575"/>
                    </a:lnTo>
                    <a:lnTo>
                      <a:pt x="470" y="575"/>
                    </a:lnTo>
                    <a:lnTo>
                      <a:pt x="470" y="570"/>
                    </a:lnTo>
                    <a:lnTo>
                      <a:pt x="474" y="570"/>
                    </a:lnTo>
                    <a:lnTo>
                      <a:pt x="474" y="570"/>
                    </a:lnTo>
                    <a:lnTo>
                      <a:pt x="474" y="570"/>
                    </a:lnTo>
                    <a:lnTo>
                      <a:pt x="474" y="570"/>
                    </a:lnTo>
                    <a:lnTo>
                      <a:pt x="474" y="570"/>
                    </a:lnTo>
                    <a:lnTo>
                      <a:pt x="474" y="566"/>
                    </a:lnTo>
                    <a:lnTo>
                      <a:pt x="474" y="566"/>
                    </a:lnTo>
                    <a:lnTo>
                      <a:pt x="479" y="566"/>
                    </a:lnTo>
                    <a:lnTo>
                      <a:pt x="479" y="566"/>
                    </a:lnTo>
                    <a:lnTo>
                      <a:pt x="479" y="566"/>
                    </a:lnTo>
                    <a:lnTo>
                      <a:pt x="479" y="561"/>
                    </a:lnTo>
                    <a:lnTo>
                      <a:pt x="483" y="561"/>
                    </a:lnTo>
                    <a:lnTo>
                      <a:pt x="483" y="561"/>
                    </a:lnTo>
                    <a:lnTo>
                      <a:pt x="483" y="561"/>
                    </a:lnTo>
                    <a:lnTo>
                      <a:pt x="483" y="557"/>
                    </a:lnTo>
                    <a:lnTo>
                      <a:pt x="479" y="557"/>
                    </a:lnTo>
                    <a:lnTo>
                      <a:pt x="479" y="557"/>
                    </a:lnTo>
                    <a:lnTo>
                      <a:pt x="479" y="557"/>
                    </a:lnTo>
                    <a:lnTo>
                      <a:pt x="483" y="552"/>
                    </a:lnTo>
                    <a:lnTo>
                      <a:pt x="483" y="552"/>
                    </a:lnTo>
                    <a:lnTo>
                      <a:pt x="479" y="552"/>
                    </a:lnTo>
                    <a:lnTo>
                      <a:pt x="479" y="548"/>
                    </a:lnTo>
                    <a:lnTo>
                      <a:pt x="479" y="548"/>
                    </a:lnTo>
                    <a:lnTo>
                      <a:pt x="479" y="543"/>
                    </a:lnTo>
                    <a:lnTo>
                      <a:pt x="479" y="543"/>
                    </a:lnTo>
                    <a:lnTo>
                      <a:pt x="479" y="538"/>
                    </a:lnTo>
                    <a:lnTo>
                      <a:pt x="479" y="538"/>
                    </a:lnTo>
                    <a:lnTo>
                      <a:pt x="474" y="534"/>
                    </a:lnTo>
                    <a:lnTo>
                      <a:pt x="474" y="534"/>
                    </a:lnTo>
                    <a:lnTo>
                      <a:pt x="474" y="529"/>
                    </a:lnTo>
                    <a:lnTo>
                      <a:pt x="474" y="525"/>
                    </a:lnTo>
                    <a:lnTo>
                      <a:pt x="470" y="525"/>
                    </a:lnTo>
                    <a:lnTo>
                      <a:pt x="470" y="525"/>
                    </a:lnTo>
                    <a:lnTo>
                      <a:pt x="470" y="525"/>
                    </a:lnTo>
                    <a:lnTo>
                      <a:pt x="470" y="525"/>
                    </a:lnTo>
                    <a:lnTo>
                      <a:pt x="470" y="525"/>
                    </a:lnTo>
                    <a:lnTo>
                      <a:pt x="470" y="525"/>
                    </a:lnTo>
                    <a:lnTo>
                      <a:pt x="465" y="525"/>
                    </a:lnTo>
                    <a:lnTo>
                      <a:pt x="465" y="525"/>
                    </a:lnTo>
                    <a:lnTo>
                      <a:pt x="465" y="525"/>
                    </a:lnTo>
                    <a:lnTo>
                      <a:pt x="461" y="520"/>
                    </a:lnTo>
                    <a:lnTo>
                      <a:pt x="461" y="516"/>
                    </a:lnTo>
                    <a:lnTo>
                      <a:pt x="461" y="516"/>
                    </a:lnTo>
                    <a:lnTo>
                      <a:pt x="461" y="516"/>
                    </a:lnTo>
                    <a:lnTo>
                      <a:pt x="461" y="516"/>
                    </a:lnTo>
                    <a:lnTo>
                      <a:pt x="456" y="511"/>
                    </a:lnTo>
                    <a:lnTo>
                      <a:pt x="456" y="511"/>
                    </a:lnTo>
                    <a:lnTo>
                      <a:pt x="456" y="511"/>
                    </a:lnTo>
                    <a:lnTo>
                      <a:pt x="456" y="511"/>
                    </a:lnTo>
                    <a:lnTo>
                      <a:pt x="452" y="511"/>
                    </a:lnTo>
                    <a:lnTo>
                      <a:pt x="452" y="511"/>
                    </a:lnTo>
                    <a:lnTo>
                      <a:pt x="452" y="511"/>
                    </a:lnTo>
                    <a:lnTo>
                      <a:pt x="452" y="507"/>
                    </a:lnTo>
                    <a:lnTo>
                      <a:pt x="452" y="507"/>
                    </a:lnTo>
                    <a:lnTo>
                      <a:pt x="447" y="507"/>
                    </a:lnTo>
                    <a:lnTo>
                      <a:pt x="447" y="511"/>
                    </a:lnTo>
                    <a:lnTo>
                      <a:pt x="447" y="511"/>
                    </a:lnTo>
                    <a:lnTo>
                      <a:pt x="447" y="511"/>
                    </a:lnTo>
                    <a:lnTo>
                      <a:pt x="447" y="516"/>
                    </a:lnTo>
                    <a:lnTo>
                      <a:pt x="447" y="516"/>
                    </a:lnTo>
                    <a:lnTo>
                      <a:pt x="447" y="516"/>
                    </a:lnTo>
                    <a:lnTo>
                      <a:pt x="443" y="511"/>
                    </a:lnTo>
                    <a:lnTo>
                      <a:pt x="443" y="511"/>
                    </a:lnTo>
                    <a:lnTo>
                      <a:pt x="443" y="511"/>
                    </a:lnTo>
                    <a:lnTo>
                      <a:pt x="438" y="511"/>
                    </a:lnTo>
                    <a:lnTo>
                      <a:pt x="438" y="511"/>
                    </a:lnTo>
                    <a:lnTo>
                      <a:pt x="434" y="511"/>
                    </a:lnTo>
                    <a:lnTo>
                      <a:pt x="434" y="511"/>
                    </a:lnTo>
                    <a:lnTo>
                      <a:pt x="429" y="511"/>
                    </a:lnTo>
                    <a:lnTo>
                      <a:pt x="429" y="511"/>
                    </a:lnTo>
                    <a:lnTo>
                      <a:pt x="429" y="511"/>
                    </a:lnTo>
                    <a:lnTo>
                      <a:pt x="429" y="511"/>
                    </a:lnTo>
                    <a:lnTo>
                      <a:pt x="429" y="511"/>
                    </a:lnTo>
                    <a:lnTo>
                      <a:pt x="429" y="511"/>
                    </a:lnTo>
                    <a:lnTo>
                      <a:pt x="429" y="511"/>
                    </a:lnTo>
                    <a:lnTo>
                      <a:pt x="429" y="511"/>
                    </a:lnTo>
                    <a:lnTo>
                      <a:pt x="429" y="507"/>
                    </a:lnTo>
                    <a:lnTo>
                      <a:pt x="429" y="507"/>
                    </a:lnTo>
                    <a:lnTo>
                      <a:pt x="434" y="502"/>
                    </a:lnTo>
                    <a:lnTo>
                      <a:pt x="429" y="502"/>
                    </a:lnTo>
                    <a:lnTo>
                      <a:pt x="429" y="502"/>
                    </a:lnTo>
                    <a:lnTo>
                      <a:pt x="429" y="498"/>
                    </a:lnTo>
                    <a:lnTo>
                      <a:pt x="429" y="498"/>
                    </a:lnTo>
                    <a:lnTo>
                      <a:pt x="425" y="498"/>
                    </a:lnTo>
                    <a:lnTo>
                      <a:pt x="425" y="502"/>
                    </a:lnTo>
                    <a:lnTo>
                      <a:pt x="425" y="502"/>
                    </a:lnTo>
                    <a:lnTo>
                      <a:pt x="425" y="502"/>
                    </a:lnTo>
                    <a:lnTo>
                      <a:pt x="425" y="498"/>
                    </a:lnTo>
                    <a:lnTo>
                      <a:pt x="425" y="498"/>
                    </a:lnTo>
                    <a:lnTo>
                      <a:pt x="425" y="498"/>
                    </a:lnTo>
                    <a:lnTo>
                      <a:pt x="425" y="498"/>
                    </a:lnTo>
                    <a:lnTo>
                      <a:pt x="425" y="493"/>
                    </a:lnTo>
                    <a:lnTo>
                      <a:pt x="425" y="493"/>
                    </a:lnTo>
                    <a:lnTo>
                      <a:pt x="425" y="493"/>
                    </a:lnTo>
                    <a:lnTo>
                      <a:pt x="425" y="493"/>
                    </a:lnTo>
                    <a:lnTo>
                      <a:pt x="420" y="493"/>
                    </a:lnTo>
                    <a:lnTo>
                      <a:pt x="420" y="493"/>
                    </a:lnTo>
                    <a:lnTo>
                      <a:pt x="420" y="493"/>
                    </a:lnTo>
                    <a:lnTo>
                      <a:pt x="416" y="493"/>
                    </a:lnTo>
                    <a:lnTo>
                      <a:pt x="416" y="493"/>
                    </a:lnTo>
                    <a:lnTo>
                      <a:pt x="411" y="498"/>
                    </a:lnTo>
                    <a:lnTo>
                      <a:pt x="411" y="498"/>
                    </a:lnTo>
                    <a:lnTo>
                      <a:pt x="411" y="498"/>
                    </a:lnTo>
                    <a:lnTo>
                      <a:pt x="411" y="498"/>
                    </a:lnTo>
                    <a:lnTo>
                      <a:pt x="411" y="498"/>
                    </a:lnTo>
                    <a:lnTo>
                      <a:pt x="411" y="498"/>
                    </a:lnTo>
                    <a:lnTo>
                      <a:pt x="411" y="498"/>
                    </a:lnTo>
                    <a:lnTo>
                      <a:pt x="407" y="498"/>
                    </a:lnTo>
                    <a:lnTo>
                      <a:pt x="407" y="498"/>
                    </a:lnTo>
                    <a:lnTo>
                      <a:pt x="402" y="498"/>
                    </a:lnTo>
                    <a:lnTo>
                      <a:pt x="402" y="498"/>
                    </a:lnTo>
                    <a:lnTo>
                      <a:pt x="398" y="498"/>
                    </a:lnTo>
                    <a:lnTo>
                      <a:pt x="398" y="498"/>
                    </a:lnTo>
                    <a:lnTo>
                      <a:pt x="398" y="498"/>
                    </a:lnTo>
                    <a:lnTo>
                      <a:pt x="398" y="493"/>
                    </a:lnTo>
                    <a:lnTo>
                      <a:pt x="398" y="493"/>
                    </a:lnTo>
                    <a:lnTo>
                      <a:pt x="393" y="498"/>
                    </a:lnTo>
                    <a:lnTo>
                      <a:pt x="393" y="498"/>
                    </a:lnTo>
                    <a:lnTo>
                      <a:pt x="393" y="498"/>
                    </a:lnTo>
                    <a:lnTo>
                      <a:pt x="389" y="502"/>
                    </a:lnTo>
                    <a:lnTo>
                      <a:pt x="389" y="502"/>
                    </a:lnTo>
                    <a:lnTo>
                      <a:pt x="389" y="502"/>
                    </a:lnTo>
                    <a:lnTo>
                      <a:pt x="389" y="502"/>
                    </a:lnTo>
                    <a:lnTo>
                      <a:pt x="389" y="507"/>
                    </a:lnTo>
                    <a:lnTo>
                      <a:pt x="384" y="507"/>
                    </a:lnTo>
                    <a:lnTo>
                      <a:pt x="384" y="507"/>
                    </a:lnTo>
                    <a:lnTo>
                      <a:pt x="380" y="507"/>
                    </a:lnTo>
                    <a:lnTo>
                      <a:pt x="380" y="507"/>
                    </a:lnTo>
                    <a:lnTo>
                      <a:pt x="380" y="511"/>
                    </a:lnTo>
                    <a:lnTo>
                      <a:pt x="380" y="511"/>
                    </a:lnTo>
                    <a:lnTo>
                      <a:pt x="380" y="511"/>
                    </a:lnTo>
                    <a:lnTo>
                      <a:pt x="375" y="516"/>
                    </a:lnTo>
                    <a:lnTo>
                      <a:pt x="375" y="516"/>
                    </a:lnTo>
                    <a:lnTo>
                      <a:pt x="370" y="520"/>
                    </a:lnTo>
                    <a:lnTo>
                      <a:pt x="370" y="520"/>
                    </a:lnTo>
                    <a:lnTo>
                      <a:pt x="370" y="520"/>
                    </a:lnTo>
                    <a:lnTo>
                      <a:pt x="370" y="520"/>
                    </a:lnTo>
                    <a:lnTo>
                      <a:pt x="370" y="520"/>
                    </a:lnTo>
                    <a:lnTo>
                      <a:pt x="370" y="520"/>
                    </a:lnTo>
                    <a:lnTo>
                      <a:pt x="370" y="520"/>
                    </a:lnTo>
                    <a:lnTo>
                      <a:pt x="370" y="525"/>
                    </a:lnTo>
                    <a:lnTo>
                      <a:pt x="370" y="525"/>
                    </a:lnTo>
                    <a:lnTo>
                      <a:pt x="370" y="525"/>
                    </a:lnTo>
                    <a:lnTo>
                      <a:pt x="366" y="525"/>
                    </a:lnTo>
                    <a:lnTo>
                      <a:pt x="366" y="525"/>
                    </a:lnTo>
                    <a:lnTo>
                      <a:pt x="366" y="525"/>
                    </a:lnTo>
                    <a:lnTo>
                      <a:pt x="366" y="525"/>
                    </a:lnTo>
                    <a:lnTo>
                      <a:pt x="366" y="525"/>
                    </a:lnTo>
                    <a:lnTo>
                      <a:pt x="366" y="525"/>
                    </a:lnTo>
                    <a:lnTo>
                      <a:pt x="361" y="525"/>
                    </a:lnTo>
                    <a:lnTo>
                      <a:pt x="361" y="525"/>
                    </a:lnTo>
                    <a:lnTo>
                      <a:pt x="361" y="525"/>
                    </a:lnTo>
                    <a:lnTo>
                      <a:pt x="357" y="525"/>
                    </a:lnTo>
                    <a:lnTo>
                      <a:pt x="357" y="525"/>
                    </a:lnTo>
                    <a:lnTo>
                      <a:pt x="357" y="525"/>
                    </a:lnTo>
                    <a:lnTo>
                      <a:pt x="357" y="525"/>
                    </a:lnTo>
                    <a:lnTo>
                      <a:pt x="357" y="525"/>
                    </a:lnTo>
                    <a:lnTo>
                      <a:pt x="352" y="520"/>
                    </a:lnTo>
                    <a:lnTo>
                      <a:pt x="352" y="520"/>
                    </a:lnTo>
                    <a:lnTo>
                      <a:pt x="348" y="520"/>
                    </a:lnTo>
                    <a:lnTo>
                      <a:pt x="348" y="520"/>
                    </a:lnTo>
                    <a:lnTo>
                      <a:pt x="348" y="520"/>
                    </a:lnTo>
                    <a:lnTo>
                      <a:pt x="348" y="520"/>
                    </a:lnTo>
                    <a:lnTo>
                      <a:pt x="348" y="525"/>
                    </a:lnTo>
                    <a:lnTo>
                      <a:pt x="343" y="525"/>
                    </a:lnTo>
                    <a:lnTo>
                      <a:pt x="343" y="520"/>
                    </a:lnTo>
                    <a:lnTo>
                      <a:pt x="343" y="520"/>
                    </a:lnTo>
                    <a:lnTo>
                      <a:pt x="339" y="520"/>
                    </a:lnTo>
                    <a:lnTo>
                      <a:pt x="339" y="520"/>
                    </a:lnTo>
                    <a:lnTo>
                      <a:pt x="334" y="520"/>
                    </a:lnTo>
                    <a:lnTo>
                      <a:pt x="334" y="520"/>
                    </a:lnTo>
                    <a:lnTo>
                      <a:pt x="334" y="520"/>
                    </a:lnTo>
                    <a:lnTo>
                      <a:pt x="334" y="520"/>
                    </a:lnTo>
                    <a:lnTo>
                      <a:pt x="334" y="520"/>
                    </a:lnTo>
                    <a:lnTo>
                      <a:pt x="334" y="520"/>
                    </a:lnTo>
                    <a:lnTo>
                      <a:pt x="334" y="516"/>
                    </a:lnTo>
                    <a:lnTo>
                      <a:pt x="330" y="516"/>
                    </a:lnTo>
                    <a:lnTo>
                      <a:pt x="330" y="516"/>
                    </a:lnTo>
                    <a:lnTo>
                      <a:pt x="325" y="516"/>
                    </a:lnTo>
                    <a:lnTo>
                      <a:pt x="325" y="516"/>
                    </a:lnTo>
                    <a:lnTo>
                      <a:pt x="325" y="516"/>
                    </a:lnTo>
                    <a:lnTo>
                      <a:pt x="325" y="520"/>
                    </a:lnTo>
                    <a:lnTo>
                      <a:pt x="321" y="520"/>
                    </a:lnTo>
                    <a:lnTo>
                      <a:pt x="321" y="520"/>
                    </a:lnTo>
                    <a:lnTo>
                      <a:pt x="321" y="520"/>
                    </a:lnTo>
                    <a:lnTo>
                      <a:pt x="321" y="525"/>
                    </a:lnTo>
                    <a:lnTo>
                      <a:pt x="316" y="525"/>
                    </a:lnTo>
                    <a:lnTo>
                      <a:pt x="316" y="529"/>
                    </a:lnTo>
                    <a:lnTo>
                      <a:pt x="316" y="529"/>
                    </a:lnTo>
                    <a:lnTo>
                      <a:pt x="316" y="534"/>
                    </a:lnTo>
                    <a:lnTo>
                      <a:pt x="312" y="534"/>
                    </a:lnTo>
                    <a:lnTo>
                      <a:pt x="312" y="538"/>
                    </a:lnTo>
                    <a:lnTo>
                      <a:pt x="312" y="534"/>
                    </a:lnTo>
                    <a:lnTo>
                      <a:pt x="312" y="534"/>
                    </a:lnTo>
                    <a:lnTo>
                      <a:pt x="312" y="534"/>
                    </a:lnTo>
                    <a:lnTo>
                      <a:pt x="312" y="529"/>
                    </a:lnTo>
                    <a:lnTo>
                      <a:pt x="312" y="525"/>
                    </a:lnTo>
                    <a:lnTo>
                      <a:pt x="312" y="525"/>
                    </a:lnTo>
                    <a:lnTo>
                      <a:pt x="307" y="525"/>
                    </a:lnTo>
                    <a:lnTo>
                      <a:pt x="307" y="525"/>
                    </a:lnTo>
                    <a:lnTo>
                      <a:pt x="307" y="520"/>
                    </a:lnTo>
                    <a:lnTo>
                      <a:pt x="303" y="520"/>
                    </a:lnTo>
                    <a:lnTo>
                      <a:pt x="303" y="520"/>
                    </a:lnTo>
                    <a:lnTo>
                      <a:pt x="303" y="525"/>
                    </a:lnTo>
                    <a:lnTo>
                      <a:pt x="303" y="525"/>
                    </a:lnTo>
                    <a:lnTo>
                      <a:pt x="298" y="525"/>
                    </a:lnTo>
                    <a:lnTo>
                      <a:pt x="298" y="525"/>
                    </a:lnTo>
                    <a:lnTo>
                      <a:pt x="298" y="525"/>
                    </a:lnTo>
                    <a:lnTo>
                      <a:pt x="298" y="525"/>
                    </a:lnTo>
                    <a:lnTo>
                      <a:pt x="298" y="525"/>
                    </a:lnTo>
                    <a:lnTo>
                      <a:pt x="298" y="525"/>
                    </a:lnTo>
                    <a:lnTo>
                      <a:pt x="294" y="525"/>
                    </a:lnTo>
                    <a:lnTo>
                      <a:pt x="294" y="525"/>
                    </a:lnTo>
                    <a:lnTo>
                      <a:pt x="289" y="529"/>
                    </a:lnTo>
                    <a:lnTo>
                      <a:pt x="289" y="529"/>
                    </a:lnTo>
                    <a:lnTo>
                      <a:pt x="289" y="529"/>
                    </a:lnTo>
                    <a:lnTo>
                      <a:pt x="289" y="529"/>
                    </a:lnTo>
                    <a:lnTo>
                      <a:pt x="285" y="529"/>
                    </a:lnTo>
                    <a:lnTo>
                      <a:pt x="280" y="529"/>
                    </a:lnTo>
                    <a:lnTo>
                      <a:pt x="280" y="525"/>
                    </a:lnTo>
                    <a:lnTo>
                      <a:pt x="280" y="525"/>
                    </a:lnTo>
                    <a:lnTo>
                      <a:pt x="276" y="525"/>
                    </a:lnTo>
                    <a:lnTo>
                      <a:pt x="276" y="525"/>
                    </a:lnTo>
                    <a:lnTo>
                      <a:pt x="276" y="525"/>
                    </a:lnTo>
                    <a:lnTo>
                      <a:pt x="276" y="525"/>
                    </a:lnTo>
                    <a:lnTo>
                      <a:pt x="271" y="525"/>
                    </a:lnTo>
                    <a:lnTo>
                      <a:pt x="271" y="525"/>
                    </a:lnTo>
                    <a:lnTo>
                      <a:pt x="271" y="525"/>
                    </a:lnTo>
                    <a:lnTo>
                      <a:pt x="271" y="525"/>
                    </a:lnTo>
                    <a:lnTo>
                      <a:pt x="271" y="525"/>
                    </a:lnTo>
                    <a:lnTo>
                      <a:pt x="267" y="525"/>
                    </a:lnTo>
                    <a:lnTo>
                      <a:pt x="267" y="525"/>
                    </a:lnTo>
                    <a:lnTo>
                      <a:pt x="267" y="525"/>
                    </a:lnTo>
                    <a:lnTo>
                      <a:pt x="262" y="525"/>
                    </a:lnTo>
                    <a:lnTo>
                      <a:pt x="262" y="525"/>
                    </a:lnTo>
                    <a:lnTo>
                      <a:pt x="262" y="525"/>
                    </a:lnTo>
                    <a:lnTo>
                      <a:pt x="262" y="525"/>
                    </a:lnTo>
                    <a:lnTo>
                      <a:pt x="262" y="525"/>
                    </a:lnTo>
                    <a:lnTo>
                      <a:pt x="262" y="525"/>
                    </a:lnTo>
                    <a:lnTo>
                      <a:pt x="262" y="525"/>
                    </a:lnTo>
                    <a:lnTo>
                      <a:pt x="258" y="520"/>
                    </a:lnTo>
                    <a:lnTo>
                      <a:pt x="258" y="520"/>
                    </a:lnTo>
                    <a:lnTo>
                      <a:pt x="258" y="520"/>
                    </a:lnTo>
                    <a:lnTo>
                      <a:pt x="253" y="520"/>
                    </a:lnTo>
                    <a:lnTo>
                      <a:pt x="249" y="520"/>
                    </a:lnTo>
                    <a:lnTo>
                      <a:pt x="249" y="520"/>
                    </a:lnTo>
                    <a:lnTo>
                      <a:pt x="244" y="520"/>
                    </a:lnTo>
                    <a:lnTo>
                      <a:pt x="244" y="516"/>
                    </a:lnTo>
                    <a:lnTo>
                      <a:pt x="244" y="516"/>
                    </a:lnTo>
                    <a:lnTo>
                      <a:pt x="244" y="516"/>
                    </a:lnTo>
                    <a:lnTo>
                      <a:pt x="244" y="516"/>
                    </a:lnTo>
                    <a:lnTo>
                      <a:pt x="244" y="516"/>
                    </a:lnTo>
                    <a:lnTo>
                      <a:pt x="239" y="516"/>
                    </a:lnTo>
                    <a:lnTo>
                      <a:pt x="239" y="516"/>
                    </a:lnTo>
                    <a:lnTo>
                      <a:pt x="239" y="516"/>
                    </a:lnTo>
                    <a:lnTo>
                      <a:pt x="239" y="516"/>
                    </a:lnTo>
                    <a:lnTo>
                      <a:pt x="239" y="516"/>
                    </a:lnTo>
                    <a:lnTo>
                      <a:pt x="235" y="511"/>
                    </a:lnTo>
                    <a:lnTo>
                      <a:pt x="235" y="511"/>
                    </a:lnTo>
                    <a:lnTo>
                      <a:pt x="230" y="511"/>
                    </a:lnTo>
                    <a:lnTo>
                      <a:pt x="230" y="511"/>
                    </a:lnTo>
                    <a:lnTo>
                      <a:pt x="230" y="507"/>
                    </a:lnTo>
                    <a:lnTo>
                      <a:pt x="226" y="507"/>
                    </a:lnTo>
                    <a:lnTo>
                      <a:pt x="226" y="502"/>
                    </a:lnTo>
                    <a:lnTo>
                      <a:pt x="226" y="502"/>
                    </a:lnTo>
                    <a:lnTo>
                      <a:pt x="226" y="502"/>
                    </a:lnTo>
                    <a:lnTo>
                      <a:pt x="221" y="502"/>
                    </a:lnTo>
                    <a:lnTo>
                      <a:pt x="221" y="502"/>
                    </a:lnTo>
                    <a:lnTo>
                      <a:pt x="217" y="502"/>
                    </a:lnTo>
                    <a:lnTo>
                      <a:pt x="217" y="502"/>
                    </a:lnTo>
                    <a:lnTo>
                      <a:pt x="212" y="502"/>
                    </a:lnTo>
                    <a:lnTo>
                      <a:pt x="212" y="498"/>
                    </a:lnTo>
                    <a:lnTo>
                      <a:pt x="208" y="498"/>
                    </a:lnTo>
                    <a:lnTo>
                      <a:pt x="208" y="493"/>
                    </a:lnTo>
                    <a:lnTo>
                      <a:pt x="203" y="493"/>
                    </a:lnTo>
                    <a:lnTo>
                      <a:pt x="203" y="493"/>
                    </a:lnTo>
                    <a:lnTo>
                      <a:pt x="199" y="493"/>
                    </a:lnTo>
                    <a:lnTo>
                      <a:pt x="194" y="489"/>
                    </a:lnTo>
                    <a:lnTo>
                      <a:pt x="190" y="489"/>
                    </a:lnTo>
                    <a:lnTo>
                      <a:pt x="190" y="484"/>
                    </a:lnTo>
                    <a:lnTo>
                      <a:pt x="190" y="484"/>
                    </a:lnTo>
                    <a:lnTo>
                      <a:pt x="185" y="484"/>
                    </a:lnTo>
                    <a:lnTo>
                      <a:pt x="185" y="484"/>
                    </a:lnTo>
                    <a:lnTo>
                      <a:pt x="181" y="480"/>
                    </a:lnTo>
                    <a:lnTo>
                      <a:pt x="181" y="480"/>
                    </a:lnTo>
                    <a:lnTo>
                      <a:pt x="176" y="484"/>
                    </a:lnTo>
                    <a:lnTo>
                      <a:pt x="176" y="489"/>
                    </a:lnTo>
                    <a:lnTo>
                      <a:pt x="172" y="489"/>
                    </a:lnTo>
                    <a:lnTo>
                      <a:pt x="172" y="489"/>
                    </a:lnTo>
                    <a:lnTo>
                      <a:pt x="172" y="489"/>
                    </a:lnTo>
                    <a:lnTo>
                      <a:pt x="172" y="484"/>
                    </a:lnTo>
                    <a:lnTo>
                      <a:pt x="167" y="484"/>
                    </a:lnTo>
                    <a:lnTo>
                      <a:pt x="167" y="484"/>
                    </a:lnTo>
                    <a:lnTo>
                      <a:pt x="163" y="484"/>
                    </a:lnTo>
                    <a:lnTo>
                      <a:pt x="163" y="480"/>
                    </a:lnTo>
                    <a:lnTo>
                      <a:pt x="163" y="480"/>
                    </a:lnTo>
                    <a:lnTo>
                      <a:pt x="163" y="480"/>
                    </a:lnTo>
                    <a:lnTo>
                      <a:pt x="158" y="480"/>
                    </a:lnTo>
                    <a:lnTo>
                      <a:pt x="154" y="480"/>
                    </a:lnTo>
                    <a:lnTo>
                      <a:pt x="154" y="480"/>
                    </a:lnTo>
                    <a:lnTo>
                      <a:pt x="154" y="480"/>
                    </a:lnTo>
                    <a:lnTo>
                      <a:pt x="154" y="475"/>
                    </a:lnTo>
                    <a:lnTo>
                      <a:pt x="154" y="475"/>
                    </a:lnTo>
                    <a:lnTo>
                      <a:pt x="154" y="475"/>
                    </a:lnTo>
                    <a:lnTo>
                      <a:pt x="154" y="475"/>
                    </a:lnTo>
                    <a:lnTo>
                      <a:pt x="149" y="471"/>
                    </a:lnTo>
                    <a:lnTo>
                      <a:pt x="149" y="471"/>
                    </a:lnTo>
                    <a:lnTo>
                      <a:pt x="145" y="471"/>
                    </a:lnTo>
                    <a:lnTo>
                      <a:pt x="145" y="471"/>
                    </a:lnTo>
                    <a:lnTo>
                      <a:pt x="140" y="471"/>
                    </a:lnTo>
                    <a:lnTo>
                      <a:pt x="140" y="471"/>
                    </a:lnTo>
                    <a:lnTo>
                      <a:pt x="140" y="471"/>
                    </a:lnTo>
                    <a:lnTo>
                      <a:pt x="140" y="471"/>
                    </a:lnTo>
                    <a:lnTo>
                      <a:pt x="140" y="471"/>
                    </a:lnTo>
                    <a:lnTo>
                      <a:pt x="136" y="466"/>
                    </a:lnTo>
                    <a:lnTo>
                      <a:pt x="131" y="462"/>
                    </a:lnTo>
                    <a:lnTo>
                      <a:pt x="131" y="462"/>
                    </a:lnTo>
                    <a:lnTo>
                      <a:pt x="131" y="462"/>
                    </a:lnTo>
                    <a:lnTo>
                      <a:pt x="131" y="466"/>
                    </a:lnTo>
                    <a:lnTo>
                      <a:pt x="131" y="466"/>
                    </a:lnTo>
                    <a:lnTo>
                      <a:pt x="131" y="466"/>
                    </a:lnTo>
                    <a:lnTo>
                      <a:pt x="131" y="466"/>
                    </a:lnTo>
                    <a:lnTo>
                      <a:pt x="127" y="466"/>
                    </a:lnTo>
                    <a:lnTo>
                      <a:pt x="127" y="466"/>
                    </a:lnTo>
                    <a:lnTo>
                      <a:pt x="127" y="466"/>
                    </a:lnTo>
                    <a:lnTo>
                      <a:pt x="127" y="462"/>
                    </a:lnTo>
                    <a:lnTo>
                      <a:pt x="127" y="462"/>
                    </a:lnTo>
                    <a:lnTo>
                      <a:pt x="127" y="462"/>
                    </a:lnTo>
                    <a:lnTo>
                      <a:pt x="127" y="457"/>
                    </a:lnTo>
                    <a:lnTo>
                      <a:pt x="127" y="457"/>
                    </a:lnTo>
                    <a:lnTo>
                      <a:pt x="122" y="457"/>
                    </a:lnTo>
                    <a:lnTo>
                      <a:pt x="122" y="457"/>
                    </a:lnTo>
                    <a:lnTo>
                      <a:pt x="122" y="453"/>
                    </a:lnTo>
                    <a:lnTo>
                      <a:pt x="122" y="453"/>
                    </a:lnTo>
                    <a:lnTo>
                      <a:pt x="122" y="453"/>
                    </a:lnTo>
                    <a:lnTo>
                      <a:pt x="122" y="453"/>
                    </a:lnTo>
                    <a:lnTo>
                      <a:pt x="118" y="448"/>
                    </a:lnTo>
                    <a:lnTo>
                      <a:pt x="118" y="448"/>
                    </a:lnTo>
                    <a:lnTo>
                      <a:pt x="118" y="448"/>
                    </a:lnTo>
                    <a:lnTo>
                      <a:pt x="118" y="444"/>
                    </a:lnTo>
                    <a:lnTo>
                      <a:pt x="118" y="444"/>
                    </a:lnTo>
                    <a:lnTo>
                      <a:pt x="113" y="444"/>
                    </a:lnTo>
                    <a:lnTo>
                      <a:pt x="113" y="444"/>
                    </a:lnTo>
                    <a:lnTo>
                      <a:pt x="118" y="439"/>
                    </a:lnTo>
                    <a:lnTo>
                      <a:pt x="118" y="439"/>
                    </a:lnTo>
                    <a:lnTo>
                      <a:pt x="118" y="439"/>
                    </a:lnTo>
                    <a:lnTo>
                      <a:pt x="122" y="439"/>
                    </a:lnTo>
                    <a:lnTo>
                      <a:pt x="122" y="439"/>
                    </a:lnTo>
                    <a:lnTo>
                      <a:pt x="122" y="444"/>
                    </a:lnTo>
                    <a:lnTo>
                      <a:pt x="122" y="444"/>
                    </a:lnTo>
                    <a:lnTo>
                      <a:pt x="122" y="444"/>
                    </a:lnTo>
                    <a:lnTo>
                      <a:pt x="127" y="444"/>
                    </a:lnTo>
                    <a:lnTo>
                      <a:pt x="127" y="444"/>
                    </a:lnTo>
                    <a:lnTo>
                      <a:pt x="127" y="444"/>
                    </a:lnTo>
                    <a:lnTo>
                      <a:pt x="127" y="444"/>
                    </a:lnTo>
                    <a:lnTo>
                      <a:pt x="127" y="444"/>
                    </a:lnTo>
                    <a:lnTo>
                      <a:pt x="127" y="444"/>
                    </a:lnTo>
                    <a:lnTo>
                      <a:pt x="127" y="444"/>
                    </a:lnTo>
                    <a:lnTo>
                      <a:pt x="127" y="439"/>
                    </a:lnTo>
                    <a:lnTo>
                      <a:pt x="127" y="439"/>
                    </a:lnTo>
                    <a:lnTo>
                      <a:pt x="127" y="439"/>
                    </a:lnTo>
                    <a:lnTo>
                      <a:pt x="127" y="434"/>
                    </a:lnTo>
                    <a:lnTo>
                      <a:pt x="127" y="434"/>
                    </a:lnTo>
                    <a:lnTo>
                      <a:pt x="127" y="434"/>
                    </a:lnTo>
                    <a:lnTo>
                      <a:pt x="127" y="434"/>
                    </a:lnTo>
                    <a:lnTo>
                      <a:pt x="122" y="430"/>
                    </a:lnTo>
                    <a:lnTo>
                      <a:pt x="122" y="430"/>
                    </a:lnTo>
                    <a:lnTo>
                      <a:pt x="122" y="430"/>
                    </a:lnTo>
                    <a:lnTo>
                      <a:pt x="122" y="430"/>
                    </a:lnTo>
                    <a:lnTo>
                      <a:pt x="122" y="430"/>
                    </a:lnTo>
                    <a:lnTo>
                      <a:pt x="122" y="430"/>
                    </a:lnTo>
                    <a:lnTo>
                      <a:pt x="122" y="425"/>
                    </a:lnTo>
                    <a:lnTo>
                      <a:pt x="122" y="425"/>
                    </a:lnTo>
                    <a:lnTo>
                      <a:pt x="118" y="425"/>
                    </a:lnTo>
                    <a:lnTo>
                      <a:pt x="118" y="425"/>
                    </a:lnTo>
                    <a:lnTo>
                      <a:pt x="118" y="425"/>
                    </a:lnTo>
                    <a:lnTo>
                      <a:pt x="118" y="421"/>
                    </a:lnTo>
                    <a:lnTo>
                      <a:pt x="118" y="421"/>
                    </a:lnTo>
                    <a:lnTo>
                      <a:pt x="113" y="416"/>
                    </a:lnTo>
                    <a:lnTo>
                      <a:pt x="113" y="416"/>
                    </a:lnTo>
                    <a:lnTo>
                      <a:pt x="113" y="412"/>
                    </a:lnTo>
                    <a:lnTo>
                      <a:pt x="113" y="412"/>
                    </a:lnTo>
                    <a:lnTo>
                      <a:pt x="113" y="412"/>
                    </a:lnTo>
                    <a:lnTo>
                      <a:pt x="113" y="407"/>
                    </a:lnTo>
                    <a:lnTo>
                      <a:pt x="113" y="407"/>
                    </a:lnTo>
                    <a:lnTo>
                      <a:pt x="113" y="407"/>
                    </a:lnTo>
                    <a:lnTo>
                      <a:pt x="113" y="407"/>
                    </a:lnTo>
                    <a:lnTo>
                      <a:pt x="113" y="407"/>
                    </a:lnTo>
                    <a:lnTo>
                      <a:pt x="113" y="407"/>
                    </a:lnTo>
                    <a:lnTo>
                      <a:pt x="108" y="403"/>
                    </a:lnTo>
                    <a:lnTo>
                      <a:pt x="108" y="403"/>
                    </a:lnTo>
                    <a:lnTo>
                      <a:pt x="104" y="403"/>
                    </a:lnTo>
                    <a:lnTo>
                      <a:pt x="104" y="403"/>
                    </a:lnTo>
                    <a:lnTo>
                      <a:pt x="104" y="403"/>
                    </a:lnTo>
                    <a:lnTo>
                      <a:pt x="99" y="398"/>
                    </a:lnTo>
                    <a:lnTo>
                      <a:pt x="99" y="394"/>
                    </a:lnTo>
                    <a:lnTo>
                      <a:pt x="95" y="394"/>
                    </a:lnTo>
                    <a:lnTo>
                      <a:pt x="95" y="389"/>
                    </a:lnTo>
                    <a:lnTo>
                      <a:pt x="95" y="389"/>
                    </a:lnTo>
                    <a:lnTo>
                      <a:pt x="95" y="385"/>
                    </a:lnTo>
                    <a:lnTo>
                      <a:pt x="95" y="385"/>
                    </a:lnTo>
                    <a:lnTo>
                      <a:pt x="95" y="385"/>
                    </a:lnTo>
                    <a:lnTo>
                      <a:pt x="90" y="385"/>
                    </a:lnTo>
                    <a:lnTo>
                      <a:pt x="90" y="385"/>
                    </a:lnTo>
                    <a:lnTo>
                      <a:pt x="90" y="385"/>
                    </a:lnTo>
                    <a:lnTo>
                      <a:pt x="90" y="385"/>
                    </a:lnTo>
                    <a:lnTo>
                      <a:pt x="90" y="385"/>
                    </a:lnTo>
                    <a:lnTo>
                      <a:pt x="90" y="385"/>
                    </a:lnTo>
                    <a:lnTo>
                      <a:pt x="90" y="385"/>
                    </a:lnTo>
                    <a:lnTo>
                      <a:pt x="86" y="385"/>
                    </a:lnTo>
                    <a:lnTo>
                      <a:pt x="86" y="385"/>
                    </a:lnTo>
                    <a:lnTo>
                      <a:pt x="86" y="385"/>
                    </a:lnTo>
                    <a:lnTo>
                      <a:pt x="81" y="385"/>
                    </a:lnTo>
                    <a:lnTo>
                      <a:pt x="77" y="385"/>
                    </a:lnTo>
                    <a:lnTo>
                      <a:pt x="72" y="385"/>
                    </a:lnTo>
                    <a:lnTo>
                      <a:pt x="72" y="385"/>
                    </a:lnTo>
                    <a:lnTo>
                      <a:pt x="72" y="380"/>
                    </a:lnTo>
                    <a:lnTo>
                      <a:pt x="68" y="380"/>
                    </a:lnTo>
                    <a:lnTo>
                      <a:pt x="68" y="380"/>
                    </a:lnTo>
                    <a:lnTo>
                      <a:pt x="68" y="380"/>
                    </a:lnTo>
                    <a:lnTo>
                      <a:pt x="68" y="380"/>
                    </a:lnTo>
                    <a:lnTo>
                      <a:pt x="63" y="380"/>
                    </a:lnTo>
                    <a:lnTo>
                      <a:pt x="63" y="380"/>
                    </a:lnTo>
                    <a:lnTo>
                      <a:pt x="63" y="380"/>
                    </a:lnTo>
                    <a:lnTo>
                      <a:pt x="63" y="380"/>
                    </a:lnTo>
                    <a:lnTo>
                      <a:pt x="59" y="376"/>
                    </a:lnTo>
                    <a:lnTo>
                      <a:pt x="59" y="376"/>
                    </a:lnTo>
                    <a:lnTo>
                      <a:pt x="59" y="376"/>
                    </a:lnTo>
                    <a:lnTo>
                      <a:pt x="59" y="376"/>
                    </a:lnTo>
                    <a:lnTo>
                      <a:pt x="54" y="376"/>
                    </a:lnTo>
                    <a:lnTo>
                      <a:pt x="54" y="376"/>
                    </a:lnTo>
                    <a:lnTo>
                      <a:pt x="54" y="376"/>
                    </a:lnTo>
                    <a:lnTo>
                      <a:pt x="59" y="371"/>
                    </a:lnTo>
                    <a:lnTo>
                      <a:pt x="54" y="371"/>
                    </a:lnTo>
                    <a:lnTo>
                      <a:pt x="54" y="367"/>
                    </a:lnTo>
                    <a:lnTo>
                      <a:pt x="54" y="367"/>
                    </a:lnTo>
                    <a:lnTo>
                      <a:pt x="54" y="367"/>
                    </a:lnTo>
                    <a:lnTo>
                      <a:pt x="50" y="362"/>
                    </a:lnTo>
                    <a:lnTo>
                      <a:pt x="50" y="362"/>
                    </a:lnTo>
                    <a:lnTo>
                      <a:pt x="50" y="362"/>
                    </a:lnTo>
                    <a:lnTo>
                      <a:pt x="45" y="362"/>
                    </a:lnTo>
                    <a:lnTo>
                      <a:pt x="45" y="362"/>
                    </a:lnTo>
                    <a:lnTo>
                      <a:pt x="45" y="362"/>
                    </a:lnTo>
                    <a:lnTo>
                      <a:pt x="45" y="362"/>
                    </a:lnTo>
                    <a:lnTo>
                      <a:pt x="41" y="358"/>
                    </a:lnTo>
                    <a:lnTo>
                      <a:pt x="41" y="358"/>
                    </a:lnTo>
                    <a:lnTo>
                      <a:pt x="36" y="358"/>
                    </a:lnTo>
                    <a:lnTo>
                      <a:pt x="36" y="358"/>
                    </a:lnTo>
                    <a:lnTo>
                      <a:pt x="36" y="358"/>
                    </a:lnTo>
                    <a:lnTo>
                      <a:pt x="36" y="358"/>
                    </a:lnTo>
                    <a:lnTo>
                      <a:pt x="32" y="358"/>
                    </a:lnTo>
                    <a:lnTo>
                      <a:pt x="32" y="358"/>
                    </a:lnTo>
                    <a:lnTo>
                      <a:pt x="32" y="358"/>
                    </a:lnTo>
                    <a:lnTo>
                      <a:pt x="27" y="358"/>
                    </a:lnTo>
                    <a:lnTo>
                      <a:pt x="27" y="358"/>
                    </a:lnTo>
                    <a:lnTo>
                      <a:pt x="27" y="358"/>
                    </a:lnTo>
                    <a:lnTo>
                      <a:pt x="27" y="358"/>
                    </a:lnTo>
                    <a:lnTo>
                      <a:pt x="27" y="353"/>
                    </a:lnTo>
                    <a:lnTo>
                      <a:pt x="27" y="353"/>
                    </a:lnTo>
                    <a:lnTo>
                      <a:pt x="32" y="353"/>
                    </a:lnTo>
                    <a:lnTo>
                      <a:pt x="32" y="353"/>
                    </a:lnTo>
                    <a:lnTo>
                      <a:pt x="32" y="353"/>
                    </a:lnTo>
                    <a:lnTo>
                      <a:pt x="32" y="353"/>
                    </a:lnTo>
                    <a:lnTo>
                      <a:pt x="32" y="353"/>
                    </a:lnTo>
                    <a:lnTo>
                      <a:pt x="32" y="353"/>
                    </a:lnTo>
                    <a:lnTo>
                      <a:pt x="32" y="353"/>
                    </a:lnTo>
                    <a:lnTo>
                      <a:pt x="36" y="353"/>
                    </a:lnTo>
                    <a:lnTo>
                      <a:pt x="36" y="353"/>
                    </a:lnTo>
                    <a:lnTo>
                      <a:pt x="36" y="349"/>
                    </a:lnTo>
                    <a:lnTo>
                      <a:pt x="36" y="349"/>
                    </a:lnTo>
                    <a:lnTo>
                      <a:pt x="32" y="349"/>
                    </a:lnTo>
                    <a:lnTo>
                      <a:pt x="32" y="349"/>
                    </a:lnTo>
                    <a:lnTo>
                      <a:pt x="32" y="349"/>
                    </a:lnTo>
                    <a:lnTo>
                      <a:pt x="32" y="344"/>
                    </a:lnTo>
                    <a:lnTo>
                      <a:pt x="32" y="344"/>
                    </a:lnTo>
                    <a:lnTo>
                      <a:pt x="32" y="344"/>
                    </a:lnTo>
                    <a:lnTo>
                      <a:pt x="32" y="344"/>
                    </a:lnTo>
                    <a:lnTo>
                      <a:pt x="32" y="340"/>
                    </a:lnTo>
                    <a:lnTo>
                      <a:pt x="27" y="340"/>
                    </a:lnTo>
                    <a:lnTo>
                      <a:pt x="27" y="335"/>
                    </a:lnTo>
                    <a:lnTo>
                      <a:pt x="27" y="335"/>
                    </a:lnTo>
                    <a:lnTo>
                      <a:pt x="27" y="335"/>
                    </a:lnTo>
                    <a:lnTo>
                      <a:pt x="27" y="330"/>
                    </a:lnTo>
                    <a:lnTo>
                      <a:pt x="27" y="330"/>
                    </a:lnTo>
                    <a:lnTo>
                      <a:pt x="23" y="330"/>
                    </a:lnTo>
                    <a:lnTo>
                      <a:pt x="18" y="326"/>
                    </a:lnTo>
                    <a:lnTo>
                      <a:pt x="14" y="326"/>
                    </a:lnTo>
                    <a:lnTo>
                      <a:pt x="14" y="326"/>
                    </a:lnTo>
                    <a:lnTo>
                      <a:pt x="14" y="326"/>
                    </a:lnTo>
                    <a:lnTo>
                      <a:pt x="14" y="326"/>
                    </a:lnTo>
                    <a:lnTo>
                      <a:pt x="14" y="330"/>
                    </a:lnTo>
                    <a:lnTo>
                      <a:pt x="14" y="330"/>
                    </a:lnTo>
                    <a:lnTo>
                      <a:pt x="9" y="330"/>
                    </a:lnTo>
                    <a:lnTo>
                      <a:pt x="9" y="326"/>
                    </a:lnTo>
                    <a:lnTo>
                      <a:pt x="9" y="326"/>
                    </a:lnTo>
                    <a:lnTo>
                      <a:pt x="5" y="326"/>
                    </a:lnTo>
                    <a:lnTo>
                      <a:pt x="5" y="321"/>
                    </a:lnTo>
                    <a:lnTo>
                      <a:pt x="5" y="321"/>
                    </a:lnTo>
                    <a:lnTo>
                      <a:pt x="5" y="321"/>
                    </a:lnTo>
                    <a:lnTo>
                      <a:pt x="5" y="321"/>
                    </a:lnTo>
                    <a:lnTo>
                      <a:pt x="5" y="321"/>
                    </a:lnTo>
                    <a:lnTo>
                      <a:pt x="5" y="321"/>
                    </a:lnTo>
                    <a:lnTo>
                      <a:pt x="5" y="321"/>
                    </a:lnTo>
                    <a:lnTo>
                      <a:pt x="5" y="317"/>
                    </a:lnTo>
                    <a:lnTo>
                      <a:pt x="0" y="317"/>
                    </a:lnTo>
                    <a:lnTo>
                      <a:pt x="0" y="317"/>
                    </a:lnTo>
                    <a:lnTo>
                      <a:pt x="0" y="312"/>
                    </a:lnTo>
                    <a:lnTo>
                      <a:pt x="0" y="312"/>
                    </a:lnTo>
                    <a:lnTo>
                      <a:pt x="0" y="312"/>
                    </a:lnTo>
                    <a:lnTo>
                      <a:pt x="5" y="312"/>
                    </a:lnTo>
                    <a:lnTo>
                      <a:pt x="5" y="312"/>
                    </a:lnTo>
                    <a:lnTo>
                      <a:pt x="5" y="308"/>
                    </a:lnTo>
                    <a:lnTo>
                      <a:pt x="5" y="308"/>
                    </a:lnTo>
                    <a:lnTo>
                      <a:pt x="5" y="308"/>
                    </a:lnTo>
                    <a:lnTo>
                      <a:pt x="0" y="308"/>
                    </a:lnTo>
                    <a:lnTo>
                      <a:pt x="0" y="303"/>
                    </a:lnTo>
                    <a:lnTo>
                      <a:pt x="0" y="303"/>
                    </a:lnTo>
                    <a:lnTo>
                      <a:pt x="0" y="303"/>
                    </a:lnTo>
                    <a:lnTo>
                      <a:pt x="5" y="303"/>
                    </a:lnTo>
                    <a:lnTo>
                      <a:pt x="5" y="299"/>
                    </a:lnTo>
                    <a:lnTo>
                      <a:pt x="5" y="299"/>
                    </a:lnTo>
                    <a:lnTo>
                      <a:pt x="5" y="299"/>
                    </a:lnTo>
                    <a:lnTo>
                      <a:pt x="5" y="299"/>
                    </a:lnTo>
                    <a:lnTo>
                      <a:pt x="9" y="299"/>
                    </a:lnTo>
                    <a:lnTo>
                      <a:pt x="9" y="294"/>
                    </a:lnTo>
                    <a:lnTo>
                      <a:pt x="14" y="294"/>
                    </a:lnTo>
                    <a:lnTo>
                      <a:pt x="14" y="294"/>
                    </a:lnTo>
                    <a:lnTo>
                      <a:pt x="14" y="294"/>
                    </a:lnTo>
                    <a:lnTo>
                      <a:pt x="14" y="294"/>
                    </a:lnTo>
                    <a:lnTo>
                      <a:pt x="14" y="294"/>
                    </a:lnTo>
                    <a:lnTo>
                      <a:pt x="14" y="290"/>
                    </a:lnTo>
                    <a:lnTo>
                      <a:pt x="14" y="290"/>
                    </a:lnTo>
                    <a:lnTo>
                      <a:pt x="14" y="290"/>
                    </a:lnTo>
                    <a:lnTo>
                      <a:pt x="18" y="294"/>
                    </a:lnTo>
                    <a:lnTo>
                      <a:pt x="18" y="290"/>
                    </a:lnTo>
                    <a:lnTo>
                      <a:pt x="18" y="290"/>
                    </a:lnTo>
                    <a:lnTo>
                      <a:pt x="23" y="290"/>
                    </a:lnTo>
                    <a:lnTo>
                      <a:pt x="23" y="290"/>
                    </a:lnTo>
                    <a:lnTo>
                      <a:pt x="23" y="290"/>
                    </a:lnTo>
                    <a:lnTo>
                      <a:pt x="23" y="290"/>
                    </a:lnTo>
                    <a:lnTo>
                      <a:pt x="27" y="294"/>
                    </a:lnTo>
                    <a:lnTo>
                      <a:pt x="27" y="294"/>
                    </a:lnTo>
                    <a:lnTo>
                      <a:pt x="32" y="294"/>
                    </a:lnTo>
                    <a:lnTo>
                      <a:pt x="32" y="294"/>
                    </a:lnTo>
                    <a:lnTo>
                      <a:pt x="32" y="294"/>
                    </a:lnTo>
                    <a:lnTo>
                      <a:pt x="36" y="294"/>
                    </a:lnTo>
                    <a:lnTo>
                      <a:pt x="36" y="294"/>
                    </a:lnTo>
                    <a:lnTo>
                      <a:pt x="36" y="290"/>
                    </a:lnTo>
                    <a:lnTo>
                      <a:pt x="36" y="294"/>
                    </a:lnTo>
                    <a:lnTo>
                      <a:pt x="36" y="294"/>
                    </a:lnTo>
                    <a:lnTo>
                      <a:pt x="41" y="290"/>
                    </a:lnTo>
                    <a:lnTo>
                      <a:pt x="41" y="290"/>
                    </a:lnTo>
                    <a:lnTo>
                      <a:pt x="41" y="290"/>
                    </a:lnTo>
                    <a:lnTo>
                      <a:pt x="41" y="285"/>
                    </a:lnTo>
                    <a:lnTo>
                      <a:pt x="41" y="285"/>
                    </a:lnTo>
                    <a:lnTo>
                      <a:pt x="41" y="285"/>
                    </a:lnTo>
                    <a:lnTo>
                      <a:pt x="41" y="285"/>
                    </a:lnTo>
                    <a:lnTo>
                      <a:pt x="41" y="281"/>
                    </a:lnTo>
                    <a:lnTo>
                      <a:pt x="41" y="281"/>
                    </a:lnTo>
                    <a:lnTo>
                      <a:pt x="41" y="281"/>
                    </a:lnTo>
                    <a:lnTo>
                      <a:pt x="45" y="281"/>
                    </a:lnTo>
                    <a:lnTo>
                      <a:pt x="45" y="281"/>
                    </a:lnTo>
                    <a:lnTo>
                      <a:pt x="50" y="281"/>
                    </a:lnTo>
                    <a:lnTo>
                      <a:pt x="54" y="281"/>
                    </a:lnTo>
                    <a:lnTo>
                      <a:pt x="54" y="281"/>
                    </a:lnTo>
                    <a:lnTo>
                      <a:pt x="59" y="281"/>
                    </a:lnTo>
                    <a:lnTo>
                      <a:pt x="59" y="276"/>
                    </a:lnTo>
                    <a:lnTo>
                      <a:pt x="63" y="276"/>
                    </a:lnTo>
                    <a:lnTo>
                      <a:pt x="63" y="272"/>
                    </a:lnTo>
                    <a:lnTo>
                      <a:pt x="63" y="272"/>
                    </a:lnTo>
                    <a:lnTo>
                      <a:pt x="63" y="272"/>
                    </a:lnTo>
                    <a:lnTo>
                      <a:pt x="63" y="272"/>
                    </a:lnTo>
                    <a:lnTo>
                      <a:pt x="68" y="267"/>
                    </a:lnTo>
                    <a:lnTo>
                      <a:pt x="72" y="267"/>
                    </a:lnTo>
                    <a:lnTo>
                      <a:pt x="72" y="263"/>
                    </a:lnTo>
                    <a:lnTo>
                      <a:pt x="72" y="263"/>
                    </a:lnTo>
                    <a:lnTo>
                      <a:pt x="77" y="263"/>
                    </a:lnTo>
                    <a:lnTo>
                      <a:pt x="81" y="263"/>
                    </a:lnTo>
                    <a:lnTo>
                      <a:pt x="81" y="258"/>
                    </a:lnTo>
                    <a:lnTo>
                      <a:pt x="81" y="258"/>
                    </a:lnTo>
                    <a:lnTo>
                      <a:pt x="86" y="258"/>
                    </a:lnTo>
                    <a:lnTo>
                      <a:pt x="86" y="258"/>
                    </a:lnTo>
                    <a:lnTo>
                      <a:pt x="86" y="258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6" y="254"/>
                    </a:lnTo>
                    <a:lnTo>
                      <a:pt x="86" y="254"/>
                    </a:lnTo>
                    <a:lnTo>
                      <a:pt x="86" y="254"/>
                    </a:lnTo>
                    <a:lnTo>
                      <a:pt x="81" y="254"/>
                    </a:lnTo>
                    <a:lnTo>
                      <a:pt x="81" y="249"/>
                    </a:lnTo>
                    <a:lnTo>
                      <a:pt x="81" y="249"/>
                    </a:lnTo>
                    <a:lnTo>
                      <a:pt x="81" y="245"/>
                    </a:lnTo>
                    <a:lnTo>
                      <a:pt x="81" y="245"/>
                    </a:lnTo>
                    <a:lnTo>
                      <a:pt x="81" y="245"/>
                    </a:lnTo>
                    <a:lnTo>
                      <a:pt x="81" y="245"/>
                    </a:lnTo>
                    <a:lnTo>
                      <a:pt x="86" y="245"/>
                    </a:lnTo>
                    <a:lnTo>
                      <a:pt x="86" y="240"/>
                    </a:lnTo>
                    <a:lnTo>
                      <a:pt x="81" y="240"/>
                    </a:lnTo>
                    <a:lnTo>
                      <a:pt x="81" y="240"/>
                    </a:lnTo>
                    <a:lnTo>
                      <a:pt x="81" y="240"/>
                    </a:lnTo>
                    <a:lnTo>
                      <a:pt x="81" y="240"/>
                    </a:lnTo>
                    <a:lnTo>
                      <a:pt x="81" y="240"/>
                    </a:lnTo>
                    <a:lnTo>
                      <a:pt x="81" y="240"/>
                    </a:lnTo>
                    <a:lnTo>
                      <a:pt x="81" y="236"/>
                    </a:lnTo>
                    <a:lnTo>
                      <a:pt x="86" y="240"/>
                    </a:lnTo>
                    <a:lnTo>
                      <a:pt x="86" y="236"/>
                    </a:lnTo>
                    <a:lnTo>
                      <a:pt x="86" y="236"/>
                    </a:lnTo>
                    <a:lnTo>
                      <a:pt x="86" y="236"/>
                    </a:lnTo>
                    <a:lnTo>
                      <a:pt x="86" y="236"/>
                    </a:lnTo>
                    <a:lnTo>
                      <a:pt x="81" y="236"/>
                    </a:lnTo>
                    <a:lnTo>
                      <a:pt x="81" y="231"/>
                    </a:lnTo>
                    <a:lnTo>
                      <a:pt x="81" y="231"/>
                    </a:lnTo>
                    <a:lnTo>
                      <a:pt x="81" y="231"/>
                    </a:lnTo>
                    <a:lnTo>
                      <a:pt x="77" y="227"/>
                    </a:lnTo>
                    <a:lnTo>
                      <a:pt x="77" y="222"/>
                    </a:lnTo>
                    <a:lnTo>
                      <a:pt x="72" y="222"/>
                    </a:lnTo>
                    <a:lnTo>
                      <a:pt x="72" y="222"/>
                    </a:lnTo>
                    <a:lnTo>
                      <a:pt x="72" y="217"/>
                    </a:lnTo>
                    <a:lnTo>
                      <a:pt x="72" y="217"/>
                    </a:lnTo>
                    <a:lnTo>
                      <a:pt x="72" y="217"/>
                    </a:lnTo>
                    <a:lnTo>
                      <a:pt x="72" y="213"/>
                    </a:lnTo>
                    <a:lnTo>
                      <a:pt x="68" y="213"/>
                    </a:lnTo>
                    <a:lnTo>
                      <a:pt x="68" y="208"/>
                    </a:lnTo>
                    <a:lnTo>
                      <a:pt x="68" y="208"/>
                    </a:lnTo>
                    <a:lnTo>
                      <a:pt x="68" y="208"/>
                    </a:lnTo>
                    <a:lnTo>
                      <a:pt x="68" y="208"/>
                    </a:lnTo>
                    <a:lnTo>
                      <a:pt x="68" y="208"/>
                    </a:lnTo>
                    <a:lnTo>
                      <a:pt x="68" y="208"/>
                    </a:lnTo>
                    <a:lnTo>
                      <a:pt x="68" y="208"/>
                    </a:lnTo>
                    <a:lnTo>
                      <a:pt x="68" y="208"/>
                    </a:lnTo>
                    <a:lnTo>
                      <a:pt x="63" y="204"/>
                    </a:lnTo>
                    <a:lnTo>
                      <a:pt x="63" y="204"/>
                    </a:lnTo>
                    <a:lnTo>
                      <a:pt x="63" y="208"/>
                    </a:lnTo>
                    <a:lnTo>
                      <a:pt x="59" y="204"/>
                    </a:lnTo>
                    <a:lnTo>
                      <a:pt x="59" y="204"/>
                    </a:lnTo>
                    <a:lnTo>
                      <a:pt x="59" y="204"/>
                    </a:lnTo>
                    <a:lnTo>
                      <a:pt x="59" y="204"/>
                    </a:lnTo>
                    <a:lnTo>
                      <a:pt x="59" y="204"/>
                    </a:lnTo>
                    <a:lnTo>
                      <a:pt x="63" y="199"/>
                    </a:lnTo>
                    <a:lnTo>
                      <a:pt x="63" y="199"/>
                    </a:lnTo>
                    <a:lnTo>
                      <a:pt x="68" y="199"/>
                    </a:lnTo>
                    <a:lnTo>
                      <a:pt x="68" y="199"/>
                    </a:lnTo>
                    <a:lnTo>
                      <a:pt x="72" y="199"/>
                    </a:lnTo>
                    <a:lnTo>
                      <a:pt x="72" y="199"/>
                    </a:lnTo>
                    <a:lnTo>
                      <a:pt x="72" y="199"/>
                    </a:lnTo>
                    <a:lnTo>
                      <a:pt x="77" y="195"/>
                    </a:lnTo>
                    <a:lnTo>
                      <a:pt x="81" y="195"/>
                    </a:lnTo>
                    <a:lnTo>
                      <a:pt x="81" y="195"/>
                    </a:lnTo>
                    <a:lnTo>
                      <a:pt x="81" y="195"/>
                    </a:lnTo>
                    <a:lnTo>
                      <a:pt x="86" y="195"/>
                    </a:lnTo>
                    <a:lnTo>
                      <a:pt x="86" y="199"/>
                    </a:lnTo>
                    <a:lnTo>
                      <a:pt x="86" y="199"/>
                    </a:lnTo>
                    <a:lnTo>
                      <a:pt x="86" y="199"/>
                    </a:lnTo>
                    <a:lnTo>
                      <a:pt x="90" y="199"/>
                    </a:lnTo>
                    <a:lnTo>
                      <a:pt x="90" y="195"/>
                    </a:lnTo>
                    <a:lnTo>
                      <a:pt x="95" y="195"/>
                    </a:lnTo>
                    <a:lnTo>
                      <a:pt x="95" y="199"/>
                    </a:lnTo>
                    <a:lnTo>
                      <a:pt x="95" y="199"/>
                    </a:lnTo>
                    <a:lnTo>
                      <a:pt x="95" y="199"/>
                    </a:lnTo>
                    <a:lnTo>
                      <a:pt x="95" y="199"/>
                    </a:lnTo>
                    <a:lnTo>
                      <a:pt x="95" y="195"/>
                    </a:lnTo>
                    <a:lnTo>
                      <a:pt x="95" y="195"/>
                    </a:lnTo>
                    <a:lnTo>
                      <a:pt x="95" y="195"/>
                    </a:lnTo>
                    <a:lnTo>
                      <a:pt x="95" y="190"/>
                    </a:lnTo>
                    <a:lnTo>
                      <a:pt x="95" y="190"/>
                    </a:lnTo>
                    <a:lnTo>
                      <a:pt x="90" y="190"/>
                    </a:lnTo>
                    <a:lnTo>
                      <a:pt x="90" y="190"/>
                    </a:lnTo>
                    <a:lnTo>
                      <a:pt x="90" y="190"/>
                    </a:lnTo>
                    <a:lnTo>
                      <a:pt x="90" y="190"/>
                    </a:lnTo>
                    <a:lnTo>
                      <a:pt x="90" y="186"/>
                    </a:lnTo>
                    <a:lnTo>
                      <a:pt x="90" y="186"/>
                    </a:lnTo>
                    <a:lnTo>
                      <a:pt x="90" y="181"/>
                    </a:lnTo>
                    <a:lnTo>
                      <a:pt x="90" y="177"/>
                    </a:lnTo>
                    <a:lnTo>
                      <a:pt x="90" y="172"/>
                    </a:lnTo>
                    <a:lnTo>
                      <a:pt x="90" y="168"/>
                    </a:lnTo>
                    <a:lnTo>
                      <a:pt x="86" y="163"/>
                    </a:lnTo>
                    <a:lnTo>
                      <a:pt x="86" y="163"/>
                    </a:lnTo>
                    <a:lnTo>
                      <a:pt x="86" y="159"/>
                    </a:lnTo>
                    <a:lnTo>
                      <a:pt x="86" y="159"/>
                    </a:lnTo>
                    <a:lnTo>
                      <a:pt x="86" y="159"/>
                    </a:lnTo>
                    <a:lnTo>
                      <a:pt x="90" y="159"/>
                    </a:lnTo>
                    <a:lnTo>
                      <a:pt x="95" y="159"/>
                    </a:lnTo>
                    <a:lnTo>
                      <a:pt x="95" y="163"/>
                    </a:lnTo>
                    <a:lnTo>
                      <a:pt x="99" y="163"/>
                    </a:lnTo>
                    <a:lnTo>
                      <a:pt x="99" y="163"/>
                    </a:lnTo>
                    <a:lnTo>
                      <a:pt x="104" y="163"/>
                    </a:lnTo>
                    <a:lnTo>
                      <a:pt x="104" y="163"/>
                    </a:lnTo>
                    <a:lnTo>
                      <a:pt x="104" y="163"/>
                    </a:lnTo>
                    <a:lnTo>
                      <a:pt x="108" y="163"/>
                    </a:lnTo>
                    <a:lnTo>
                      <a:pt x="108" y="163"/>
                    </a:lnTo>
                    <a:lnTo>
                      <a:pt x="113" y="163"/>
                    </a:lnTo>
                    <a:lnTo>
                      <a:pt x="113" y="163"/>
                    </a:lnTo>
                    <a:lnTo>
                      <a:pt x="113" y="163"/>
                    </a:lnTo>
                    <a:lnTo>
                      <a:pt x="113" y="163"/>
                    </a:lnTo>
                    <a:lnTo>
                      <a:pt x="118" y="163"/>
                    </a:lnTo>
                    <a:lnTo>
                      <a:pt x="118" y="163"/>
                    </a:lnTo>
                    <a:lnTo>
                      <a:pt x="118" y="163"/>
                    </a:lnTo>
                    <a:lnTo>
                      <a:pt x="118" y="163"/>
                    </a:lnTo>
                    <a:lnTo>
                      <a:pt x="122" y="159"/>
                    </a:lnTo>
                    <a:lnTo>
                      <a:pt x="122" y="159"/>
                    </a:lnTo>
                    <a:lnTo>
                      <a:pt x="122" y="159"/>
                    </a:lnTo>
                    <a:lnTo>
                      <a:pt x="122" y="159"/>
                    </a:lnTo>
                    <a:lnTo>
                      <a:pt x="122" y="159"/>
                    </a:lnTo>
                    <a:lnTo>
                      <a:pt x="127" y="154"/>
                    </a:lnTo>
                    <a:lnTo>
                      <a:pt x="122" y="154"/>
                    </a:lnTo>
                    <a:lnTo>
                      <a:pt x="122" y="154"/>
                    </a:lnTo>
                    <a:lnTo>
                      <a:pt x="122" y="150"/>
                    </a:lnTo>
                    <a:lnTo>
                      <a:pt x="122" y="150"/>
                    </a:lnTo>
                    <a:lnTo>
                      <a:pt x="118" y="145"/>
                    </a:lnTo>
                    <a:lnTo>
                      <a:pt x="118" y="145"/>
                    </a:lnTo>
                    <a:lnTo>
                      <a:pt x="118" y="141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2"/>
                    </a:lnTo>
                    <a:lnTo>
                      <a:pt x="122" y="132"/>
                    </a:lnTo>
                    <a:lnTo>
                      <a:pt x="122" y="132"/>
                    </a:lnTo>
                    <a:lnTo>
                      <a:pt x="122" y="132"/>
                    </a:lnTo>
                    <a:lnTo>
                      <a:pt x="127" y="132"/>
                    </a:lnTo>
                    <a:lnTo>
                      <a:pt x="127" y="132"/>
                    </a:lnTo>
                    <a:lnTo>
                      <a:pt x="127" y="127"/>
                    </a:lnTo>
                    <a:lnTo>
                      <a:pt x="127" y="127"/>
                    </a:lnTo>
                    <a:lnTo>
                      <a:pt x="127" y="123"/>
                    </a:lnTo>
                    <a:lnTo>
                      <a:pt x="127" y="123"/>
                    </a:lnTo>
                    <a:lnTo>
                      <a:pt x="127" y="123"/>
                    </a:lnTo>
                    <a:lnTo>
                      <a:pt x="127" y="123"/>
                    </a:lnTo>
                    <a:lnTo>
                      <a:pt x="127" y="118"/>
                    </a:lnTo>
                    <a:lnTo>
                      <a:pt x="127" y="118"/>
                    </a:lnTo>
                    <a:lnTo>
                      <a:pt x="127" y="118"/>
                    </a:lnTo>
                    <a:lnTo>
                      <a:pt x="131" y="118"/>
                    </a:lnTo>
                    <a:lnTo>
                      <a:pt x="131" y="118"/>
                    </a:lnTo>
                    <a:lnTo>
                      <a:pt x="131" y="118"/>
                    </a:ln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23"/>
                    </a:lnTo>
                    <a:lnTo>
                      <a:pt x="140" y="123"/>
                    </a:lnTo>
                    <a:lnTo>
                      <a:pt x="140" y="123"/>
                    </a:lnTo>
                    <a:lnTo>
                      <a:pt x="140" y="123"/>
                    </a:lnTo>
                    <a:lnTo>
                      <a:pt x="140" y="123"/>
                    </a:lnTo>
                    <a:lnTo>
                      <a:pt x="140" y="123"/>
                    </a:lnTo>
                    <a:lnTo>
                      <a:pt x="140" y="123"/>
                    </a:lnTo>
                    <a:lnTo>
                      <a:pt x="145" y="127"/>
                    </a:lnTo>
                    <a:lnTo>
                      <a:pt x="145" y="127"/>
                    </a:lnTo>
                    <a:lnTo>
                      <a:pt x="145" y="127"/>
                    </a:lnTo>
                    <a:lnTo>
                      <a:pt x="145" y="127"/>
                    </a:lnTo>
                    <a:lnTo>
                      <a:pt x="145" y="127"/>
                    </a:lnTo>
                    <a:lnTo>
                      <a:pt x="145" y="127"/>
                    </a:lnTo>
                    <a:lnTo>
                      <a:pt x="145" y="127"/>
                    </a:lnTo>
                    <a:lnTo>
                      <a:pt x="145" y="127"/>
                    </a:lnTo>
                    <a:lnTo>
                      <a:pt x="149" y="132"/>
                    </a:lnTo>
                    <a:lnTo>
                      <a:pt x="149" y="132"/>
                    </a:lnTo>
                    <a:lnTo>
                      <a:pt x="154" y="132"/>
                    </a:lnTo>
                    <a:lnTo>
                      <a:pt x="154" y="132"/>
                    </a:lnTo>
                    <a:lnTo>
                      <a:pt x="154" y="132"/>
                    </a:lnTo>
                    <a:lnTo>
                      <a:pt x="158" y="132"/>
                    </a:lnTo>
                    <a:lnTo>
                      <a:pt x="158" y="136"/>
                    </a:lnTo>
                    <a:lnTo>
                      <a:pt x="158" y="136"/>
                    </a:lnTo>
                    <a:lnTo>
                      <a:pt x="163" y="136"/>
                    </a:lnTo>
                    <a:lnTo>
                      <a:pt x="163" y="136"/>
                    </a:lnTo>
                    <a:lnTo>
                      <a:pt x="167" y="136"/>
                    </a:lnTo>
                    <a:lnTo>
                      <a:pt x="167" y="141"/>
                    </a:lnTo>
                    <a:lnTo>
                      <a:pt x="167" y="141"/>
                    </a:lnTo>
                    <a:lnTo>
                      <a:pt x="167" y="141"/>
                    </a:lnTo>
                    <a:lnTo>
                      <a:pt x="172" y="136"/>
                    </a:lnTo>
                    <a:lnTo>
                      <a:pt x="172" y="136"/>
                    </a:lnTo>
                    <a:lnTo>
                      <a:pt x="176" y="141"/>
                    </a:lnTo>
                    <a:lnTo>
                      <a:pt x="176" y="141"/>
                    </a:lnTo>
                    <a:lnTo>
                      <a:pt x="176" y="141"/>
                    </a:lnTo>
                    <a:lnTo>
                      <a:pt x="176" y="141"/>
                    </a:lnTo>
                    <a:lnTo>
                      <a:pt x="181" y="141"/>
                    </a:lnTo>
                    <a:lnTo>
                      <a:pt x="181" y="141"/>
                    </a:lnTo>
                    <a:lnTo>
                      <a:pt x="181" y="141"/>
                    </a:lnTo>
                    <a:lnTo>
                      <a:pt x="181" y="141"/>
                    </a:lnTo>
                    <a:lnTo>
                      <a:pt x="181" y="141"/>
                    </a:lnTo>
                    <a:lnTo>
                      <a:pt x="181" y="141"/>
                    </a:lnTo>
                    <a:lnTo>
                      <a:pt x="185" y="141"/>
                    </a:lnTo>
                    <a:lnTo>
                      <a:pt x="185" y="145"/>
                    </a:lnTo>
                    <a:lnTo>
                      <a:pt x="185" y="145"/>
                    </a:lnTo>
                    <a:lnTo>
                      <a:pt x="190" y="145"/>
                    </a:lnTo>
                    <a:lnTo>
                      <a:pt x="190" y="145"/>
                    </a:lnTo>
                    <a:lnTo>
                      <a:pt x="190" y="145"/>
                    </a:lnTo>
                    <a:lnTo>
                      <a:pt x="190" y="145"/>
                    </a:lnTo>
                    <a:lnTo>
                      <a:pt x="190" y="145"/>
                    </a:lnTo>
                    <a:lnTo>
                      <a:pt x="194" y="150"/>
                    </a:lnTo>
                    <a:lnTo>
                      <a:pt x="194" y="150"/>
                    </a:lnTo>
                    <a:lnTo>
                      <a:pt x="194" y="150"/>
                    </a:lnTo>
                    <a:lnTo>
                      <a:pt x="194" y="154"/>
                    </a:lnTo>
                    <a:lnTo>
                      <a:pt x="199" y="154"/>
                    </a:lnTo>
                    <a:lnTo>
                      <a:pt x="199" y="159"/>
                    </a:lnTo>
                    <a:lnTo>
                      <a:pt x="203" y="159"/>
                    </a:lnTo>
                    <a:lnTo>
                      <a:pt x="203" y="159"/>
                    </a:lnTo>
                    <a:lnTo>
                      <a:pt x="203" y="159"/>
                    </a:lnTo>
                    <a:lnTo>
                      <a:pt x="208" y="163"/>
                    </a:lnTo>
                    <a:lnTo>
                      <a:pt x="208" y="163"/>
                    </a:lnTo>
                    <a:lnTo>
                      <a:pt x="208" y="163"/>
                    </a:lnTo>
                    <a:lnTo>
                      <a:pt x="208" y="163"/>
                    </a:lnTo>
                    <a:lnTo>
                      <a:pt x="208" y="163"/>
                    </a:lnTo>
                    <a:lnTo>
                      <a:pt x="208" y="168"/>
                    </a:lnTo>
                    <a:lnTo>
                      <a:pt x="208" y="168"/>
                    </a:lnTo>
                    <a:lnTo>
                      <a:pt x="208" y="172"/>
                    </a:lnTo>
                    <a:lnTo>
                      <a:pt x="212" y="172"/>
                    </a:lnTo>
                    <a:lnTo>
                      <a:pt x="212" y="172"/>
                    </a:lnTo>
                    <a:lnTo>
                      <a:pt x="212" y="177"/>
                    </a:lnTo>
                    <a:lnTo>
                      <a:pt x="212" y="177"/>
                    </a:lnTo>
                    <a:lnTo>
                      <a:pt x="212" y="177"/>
                    </a:lnTo>
                    <a:lnTo>
                      <a:pt x="212" y="177"/>
                    </a:lnTo>
                    <a:lnTo>
                      <a:pt x="212" y="177"/>
                    </a:lnTo>
                    <a:lnTo>
                      <a:pt x="212" y="181"/>
                    </a:lnTo>
                    <a:lnTo>
                      <a:pt x="212" y="181"/>
                    </a:lnTo>
                    <a:lnTo>
                      <a:pt x="212" y="186"/>
                    </a:lnTo>
                    <a:lnTo>
                      <a:pt x="212" y="186"/>
                    </a:lnTo>
                    <a:lnTo>
                      <a:pt x="217" y="186"/>
                    </a:lnTo>
                    <a:lnTo>
                      <a:pt x="217" y="186"/>
                    </a:lnTo>
                    <a:lnTo>
                      <a:pt x="217" y="190"/>
                    </a:lnTo>
                    <a:lnTo>
                      <a:pt x="221" y="190"/>
                    </a:lnTo>
                    <a:lnTo>
                      <a:pt x="221" y="190"/>
                    </a:lnTo>
                    <a:lnTo>
                      <a:pt x="221" y="190"/>
                    </a:lnTo>
                    <a:lnTo>
                      <a:pt x="221" y="190"/>
                    </a:lnTo>
                    <a:lnTo>
                      <a:pt x="221" y="190"/>
                    </a:lnTo>
                    <a:lnTo>
                      <a:pt x="226" y="190"/>
                    </a:lnTo>
                    <a:lnTo>
                      <a:pt x="226" y="190"/>
                    </a:lnTo>
                    <a:lnTo>
                      <a:pt x="230" y="190"/>
                    </a:lnTo>
                    <a:lnTo>
                      <a:pt x="230" y="190"/>
                    </a:lnTo>
                    <a:lnTo>
                      <a:pt x="230" y="190"/>
                    </a:lnTo>
                    <a:lnTo>
                      <a:pt x="235" y="195"/>
                    </a:lnTo>
                    <a:lnTo>
                      <a:pt x="235" y="190"/>
                    </a:lnTo>
                    <a:lnTo>
                      <a:pt x="239" y="190"/>
                    </a:lnTo>
                    <a:lnTo>
                      <a:pt x="239" y="195"/>
                    </a:lnTo>
                    <a:lnTo>
                      <a:pt x="244" y="195"/>
                    </a:lnTo>
                    <a:lnTo>
                      <a:pt x="244" y="195"/>
                    </a:lnTo>
                    <a:lnTo>
                      <a:pt x="249" y="190"/>
                    </a:lnTo>
                    <a:lnTo>
                      <a:pt x="253" y="195"/>
                    </a:lnTo>
                    <a:lnTo>
                      <a:pt x="258" y="195"/>
                    </a:lnTo>
                    <a:lnTo>
                      <a:pt x="262" y="195"/>
                    </a:lnTo>
                    <a:lnTo>
                      <a:pt x="262" y="195"/>
                    </a:lnTo>
                    <a:lnTo>
                      <a:pt x="267" y="195"/>
                    </a:lnTo>
                    <a:lnTo>
                      <a:pt x="267" y="199"/>
                    </a:lnTo>
                    <a:lnTo>
                      <a:pt x="271" y="199"/>
                    </a:lnTo>
                    <a:lnTo>
                      <a:pt x="276" y="199"/>
                    </a:lnTo>
                    <a:lnTo>
                      <a:pt x="276" y="199"/>
                    </a:lnTo>
                    <a:lnTo>
                      <a:pt x="280" y="204"/>
                    </a:lnTo>
                    <a:lnTo>
                      <a:pt x="285" y="204"/>
                    </a:lnTo>
                    <a:lnTo>
                      <a:pt x="285" y="204"/>
                    </a:lnTo>
                    <a:lnTo>
                      <a:pt x="289" y="204"/>
                    </a:lnTo>
                    <a:lnTo>
                      <a:pt x="294" y="204"/>
                    </a:lnTo>
                    <a:lnTo>
                      <a:pt x="294" y="204"/>
                    </a:lnTo>
                    <a:lnTo>
                      <a:pt x="294" y="208"/>
                    </a:lnTo>
                    <a:lnTo>
                      <a:pt x="294" y="208"/>
                    </a:lnTo>
                    <a:lnTo>
                      <a:pt x="294" y="208"/>
                    </a:lnTo>
                    <a:lnTo>
                      <a:pt x="298" y="208"/>
                    </a:lnTo>
                    <a:lnTo>
                      <a:pt x="298" y="208"/>
                    </a:lnTo>
                    <a:lnTo>
                      <a:pt x="298" y="213"/>
                    </a:lnTo>
                    <a:lnTo>
                      <a:pt x="303" y="213"/>
                    </a:lnTo>
                    <a:lnTo>
                      <a:pt x="303" y="213"/>
                    </a:lnTo>
                    <a:lnTo>
                      <a:pt x="303" y="217"/>
                    </a:lnTo>
                    <a:lnTo>
                      <a:pt x="312" y="222"/>
                    </a:lnTo>
                    <a:lnTo>
                      <a:pt x="312" y="222"/>
                    </a:lnTo>
                    <a:lnTo>
                      <a:pt x="312" y="227"/>
                    </a:lnTo>
                    <a:lnTo>
                      <a:pt x="316" y="227"/>
                    </a:lnTo>
                    <a:lnTo>
                      <a:pt x="316" y="227"/>
                    </a:lnTo>
                    <a:lnTo>
                      <a:pt x="321" y="231"/>
                    </a:lnTo>
                    <a:lnTo>
                      <a:pt x="321" y="231"/>
                    </a:lnTo>
                    <a:lnTo>
                      <a:pt x="321" y="236"/>
                    </a:lnTo>
                    <a:lnTo>
                      <a:pt x="325" y="236"/>
                    </a:lnTo>
                    <a:lnTo>
                      <a:pt x="325" y="231"/>
                    </a:lnTo>
                    <a:lnTo>
                      <a:pt x="330" y="231"/>
                    </a:lnTo>
                    <a:lnTo>
                      <a:pt x="334" y="231"/>
                    </a:lnTo>
                    <a:lnTo>
                      <a:pt x="343" y="231"/>
                    </a:lnTo>
                    <a:lnTo>
                      <a:pt x="352" y="231"/>
                    </a:lnTo>
                    <a:lnTo>
                      <a:pt x="361" y="236"/>
                    </a:lnTo>
                    <a:lnTo>
                      <a:pt x="361" y="236"/>
                    </a:lnTo>
                    <a:lnTo>
                      <a:pt x="370" y="236"/>
                    </a:lnTo>
                    <a:lnTo>
                      <a:pt x="375" y="231"/>
                    </a:lnTo>
                    <a:lnTo>
                      <a:pt x="380" y="231"/>
                    </a:lnTo>
                    <a:lnTo>
                      <a:pt x="380" y="231"/>
                    </a:lnTo>
                    <a:lnTo>
                      <a:pt x="389" y="231"/>
                    </a:lnTo>
                    <a:lnTo>
                      <a:pt x="389" y="231"/>
                    </a:lnTo>
                    <a:lnTo>
                      <a:pt x="398" y="231"/>
                    </a:lnTo>
                    <a:lnTo>
                      <a:pt x="398" y="231"/>
                    </a:lnTo>
                    <a:lnTo>
                      <a:pt x="402" y="231"/>
                    </a:lnTo>
                    <a:lnTo>
                      <a:pt x="402" y="236"/>
                    </a:lnTo>
                    <a:lnTo>
                      <a:pt x="407" y="236"/>
                    </a:lnTo>
                    <a:lnTo>
                      <a:pt x="407" y="236"/>
                    </a:lnTo>
                    <a:lnTo>
                      <a:pt x="411" y="236"/>
                    </a:lnTo>
                    <a:lnTo>
                      <a:pt x="411" y="240"/>
                    </a:lnTo>
                    <a:lnTo>
                      <a:pt x="416" y="240"/>
                    </a:lnTo>
                    <a:lnTo>
                      <a:pt x="420" y="240"/>
                    </a:lnTo>
                    <a:lnTo>
                      <a:pt x="425" y="240"/>
                    </a:lnTo>
                    <a:lnTo>
                      <a:pt x="429" y="240"/>
                    </a:lnTo>
                    <a:lnTo>
                      <a:pt x="434" y="245"/>
                    </a:lnTo>
                    <a:lnTo>
                      <a:pt x="438" y="245"/>
                    </a:lnTo>
                    <a:lnTo>
                      <a:pt x="443" y="245"/>
                    </a:lnTo>
                    <a:lnTo>
                      <a:pt x="447" y="245"/>
                    </a:lnTo>
                    <a:lnTo>
                      <a:pt x="452" y="245"/>
                    </a:lnTo>
                    <a:lnTo>
                      <a:pt x="452" y="245"/>
                    </a:lnTo>
                    <a:lnTo>
                      <a:pt x="456" y="249"/>
                    </a:lnTo>
                    <a:lnTo>
                      <a:pt x="461" y="249"/>
                    </a:lnTo>
                    <a:lnTo>
                      <a:pt x="461" y="249"/>
                    </a:lnTo>
                    <a:lnTo>
                      <a:pt x="465" y="249"/>
                    </a:lnTo>
                    <a:lnTo>
                      <a:pt x="465" y="249"/>
                    </a:lnTo>
                    <a:lnTo>
                      <a:pt x="465" y="245"/>
                    </a:lnTo>
                    <a:lnTo>
                      <a:pt x="465" y="245"/>
                    </a:lnTo>
                    <a:lnTo>
                      <a:pt x="465" y="245"/>
                    </a:lnTo>
                    <a:lnTo>
                      <a:pt x="470" y="245"/>
                    </a:lnTo>
                    <a:lnTo>
                      <a:pt x="470" y="240"/>
                    </a:lnTo>
                    <a:lnTo>
                      <a:pt x="474" y="240"/>
                    </a:lnTo>
                    <a:lnTo>
                      <a:pt x="479" y="236"/>
                    </a:lnTo>
                    <a:lnTo>
                      <a:pt x="479" y="236"/>
                    </a:lnTo>
                    <a:lnTo>
                      <a:pt x="479" y="236"/>
                    </a:lnTo>
                    <a:lnTo>
                      <a:pt x="483" y="236"/>
                    </a:lnTo>
                    <a:lnTo>
                      <a:pt x="483" y="231"/>
                    </a:lnTo>
                    <a:lnTo>
                      <a:pt x="483" y="231"/>
                    </a:lnTo>
                    <a:lnTo>
                      <a:pt x="488" y="231"/>
                    </a:lnTo>
                    <a:lnTo>
                      <a:pt x="492" y="231"/>
                    </a:lnTo>
                    <a:lnTo>
                      <a:pt x="497" y="231"/>
                    </a:lnTo>
                    <a:lnTo>
                      <a:pt x="497" y="231"/>
                    </a:lnTo>
                    <a:lnTo>
                      <a:pt x="502" y="231"/>
                    </a:lnTo>
                    <a:lnTo>
                      <a:pt x="502" y="231"/>
                    </a:lnTo>
                    <a:lnTo>
                      <a:pt x="506" y="231"/>
                    </a:lnTo>
                    <a:lnTo>
                      <a:pt x="506" y="231"/>
                    </a:lnTo>
                    <a:lnTo>
                      <a:pt x="511" y="231"/>
                    </a:lnTo>
                    <a:lnTo>
                      <a:pt x="515" y="227"/>
                    </a:lnTo>
                    <a:lnTo>
                      <a:pt x="515" y="227"/>
                    </a:lnTo>
                    <a:lnTo>
                      <a:pt x="520" y="227"/>
                    </a:lnTo>
                    <a:lnTo>
                      <a:pt x="520" y="227"/>
                    </a:lnTo>
                    <a:lnTo>
                      <a:pt x="524" y="227"/>
                    </a:lnTo>
                    <a:lnTo>
                      <a:pt x="524" y="227"/>
                    </a:lnTo>
                    <a:lnTo>
                      <a:pt x="524" y="222"/>
                    </a:lnTo>
                    <a:lnTo>
                      <a:pt x="529" y="222"/>
                    </a:lnTo>
                    <a:lnTo>
                      <a:pt x="529" y="222"/>
                    </a:lnTo>
                    <a:lnTo>
                      <a:pt x="529" y="222"/>
                    </a:lnTo>
                    <a:lnTo>
                      <a:pt x="533" y="222"/>
                    </a:lnTo>
                    <a:lnTo>
                      <a:pt x="533" y="217"/>
                    </a:lnTo>
                    <a:lnTo>
                      <a:pt x="533" y="217"/>
                    </a:lnTo>
                    <a:lnTo>
                      <a:pt x="533" y="217"/>
                    </a:lnTo>
                    <a:lnTo>
                      <a:pt x="533" y="217"/>
                    </a:lnTo>
                    <a:lnTo>
                      <a:pt x="533" y="213"/>
                    </a:lnTo>
                    <a:lnTo>
                      <a:pt x="533" y="213"/>
                    </a:lnTo>
                    <a:lnTo>
                      <a:pt x="533" y="213"/>
                    </a:lnTo>
                    <a:lnTo>
                      <a:pt x="533" y="208"/>
                    </a:lnTo>
                    <a:lnTo>
                      <a:pt x="533" y="208"/>
                    </a:lnTo>
                    <a:lnTo>
                      <a:pt x="538" y="208"/>
                    </a:lnTo>
                    <a:lnTo>
                      <a:pt x="538" y="208"/>
                    </a:lnTo>
                    <a:lnTo>
                      <a:pt x="538" y="204"/>
                    </a:lnTo>
                    <a:lnTo>
                      <a:pt x="542" y="204"/>
                    </a:lnTo>
                    <a:lnTo>
                      <a:pt x="542" y="204"/>
                    </a:lnTo>
                    <a:lnTo>
                      <a:pt x="542" y="204"/>
                    </a:lnTo>
                    <a:lnTo>
                      <a:pt x="542" y="204"/>
                    </a:lnTo>
                    <a:lnTo>
                      <a:pt x="542" y="204"/>
                    </a:lnTo>
                    <a:lnTo>
                      <a:pt x="542" y="199"/>
                    </a:lnTo>
                    <a:lnTo>
                      <a:pt x="542" y="199"/>
                    </a:lnTo>
                    <a:lnTo>
                      <a:pt x="542" y="199"/>
                    </a:lnTo>
                    <a:lnTo>
                      <a:pt x="542" y="199"/>
                    </a:lnTo>
                    <a:lnTo>
                      <a:pt x="542" y="199"/>
                    </a:lnTo>
                    <a:lnTo>
                      <a:pt x="542" y="195"/>
                    </a:lnTo>
                    <a:lnTo>
                      <a:pt x="538" y="195"/>
                    </a:lnTo>
                    <a:lnTo>
                      <a:pt x="533" y="195"/>
                    </a:lnTo>
                    <a:lnTo>
                      <a:pt x="533" y="190"/>
                    </a:lnTo>
                    <a:lnTo>
                      <a:pt x="533" y="190"/>
                    </a:lnTo>
                    <a:lnTo>
                      <a:pt x="529" y="190"/>
                    </a:lnTo>
                    <a:lnTo>
                      <a:pt x="529" y="190"/>
                    </a:lnTo>
                    <a:lnTo>
                      <a:pt x="529" y="186"/>
                    </a:lnTo>
                    <a:lnTo>
                      <a:pt x="529" y="186"/>
                    </a:lnTo>
                    <a:lnTo>
                      <a:pt x="529" y="186"/>
                    </a:lnTo>
                    <a:lnTo>
                      <a:pt x="529" y="181"/>
                    </a:lnTo>
                    <a:lnTo>
                      <a:pt x="529" y="181"/>
                    </a:lnTo>
                    <a:lnTo>
                      <a:pt x="529" y="177"/>
                    </a:lnTo>
                    <a:lnTo>
                      <a:pt x="529" y="177"/>
                    </a:lnTo>
                    <a:lnTo>
                      <a:pt x="529" y="177"/>
                    </a:lnTo>
                    <a:lnTo>
                      <a:pt x="529" y="172"/>
                    </a:lnTo>
                    <a:lnTo>
                      <a:pt x="533" y="172"/>
                    </a:lnTo>
                    <a:lnTo>
                      <a:pt x="533" y="172"/>
                    </a:lnTo>
                    <a:lnTo>
                      <a:pt x="538" y="172"/>
                    </a:lnTo>
                    <a:lnTo>
                      <a:pt x="538" y="177"/>
                    </a:lnTo>
                    <a:lnTo>
                      <a:pt x="542" y="177"/>
                    </a:lnTo>
                    <a:lnTo>
                      <a:pt x="542" y="177"/>
                    </a:lnTo>
                    <a:lnTo>
                      <a:pt x="547" y="177"/>
                    </a:lnTo>
                    <a:lnTo>
                      <a:pt x="551" y="177"/>
                    </a:lnTo>
                    <a:lnTo>
                      <a:pt x="551" y="177"/>
                    </a:lnTo>
                    <a:lnTo>
                      <a:pt x="556" y="177"/>
                    </a:lnTo>
                    <a:lnTo>
                      <a:pt x="556" y="177"/>
                    </a:lnTo>
                    <a:lnTo>
                      <a:pt x="556" y="177"/>
                    </a:lnTo>
                    <a:lnTo>
                      <a:pt x="556" y="177"/>
                    </a:lnTo>
                    <a:lnTo>
                      <a:pt x="556" y="177"/>
                    </a:lnTo>
                    <a:lnTo>
                      <a:pt x="560" y="177"/>
                    </a:lnTo>
                    <a:lnTo>
                      <a:pt x="560" y="177"/>
                    </a:lnTo>
                    <a:lnTo>
                      <a:pt x="560" y="177"/>
                    </a:lnTo>
                    <a:lnTo>
                      <a:pt x="560" y="172"/>
                    </a:lnTo>
                    <a:lnTo>
                      <a:pt x="560" y="172"/>
                    </a:lnTo>
                    <a:lnTo>
                      <a:pt x="560" y="172"/>
                    </a:lnTo>
                    <a:lnTo>
                      <a:pt x="565" y="168"/>
                    </a:lnTo>
                    <a:lnTo>
                      <a:pt x="565" y="168"/>
                    </a:lnTo>
                    <a:lnTo>
                      <a:pt x="565" y="168"/>
                    </a:lnTo>
                    <a:lnTo>
                      <a:pt x="560" y="168"/>
                    </a:lnTo>
                    <a:lnTo>
                      <a:pt x="565" y="168"/>
                    </a:lnTo>
                    <a:lnTo>
                      <a:pt x="565" y="163"/>
                    </a:lnTo>
                    <a:lnTo>
                      <a:pt x="565" y="163"/>
                    </a:lnTo>
                    <a:lnTo>
                      <a:pt x="569" y="163"/>
                    </a:lnTo>
                    <a:lnTo>
                      <a:pt x="569" y="163"/>
                    </a:lnTo>
                    <a:lnTo>
                      <a:pt x="574" y="163"/>
                    </a:lnTo>
                    <a:lnTo>
                      <a:pt x="574" y="163"/>
                    </a:lnTo>
                    <a:lnTo>
                      <a:pt x="578" y="163"/>
                    </a:lnTo>
                    <a:lnTo>
                      <a:pt x="578" y="163"/>
                    </a:lnTo>
                    <a:lnTo>
                      <a:pt x="578" y="163"/>
                    </a:lnTo>
                    <a:lnTo>
                      <a:pt x="578" y="159"/>
                    </a:lnTo>
                    <a:lnTo>
                      <a:pt x="578" y="159"/>
                    </a:lnTo>
                    <a:lnTo>
                      <a:pt x="583" y="159"/>
                    </a:lnTo>
                    <a:lnTo>
                      <a:pt x="583" y="159"/>
                    </a:lnTo>
                    <a:lnTo>
                      <a:pt x="583" y="154"/>
                    </a:lnTo>
                    <a:lnTo>
                      <a:pt x="583" y="154"/>
                    </a:lnTo>
                    <a:lnTo>
                      <a:pt x="578" y="154"/>
                    </a:lnTo>
                    <a:lnTo>
                      <a:pt x="578" y="154"/>
                    </a:lnTo>
                    <a:lnTo>
                      <a:pt x="578" y="150"/>
                    </a:lnTo>
                    <a:lnTo>
                      <a:pt x="578" y="150"/>
                    </a:lnTo>
                    <a:lnTo>
                      <a:pt x="583" y="150"/>
                    </a:lnTo>
                    <a:lnTo>
                      <a:pt x="578" y="145"/>
                    </a:lnTo>
                    <a:lnTo>
                      <a:pt x="583" y="145"/>
                    </a:lnTo>
                    <a:lnTo>
                      <a:pt x="583" y="145"/>
                    </a:lnTo>
                    <a:lnTo>
                      <a:pt x="583" y="145"/>
                    </a:lnTo>
                    <a:lnTo>
                      <a:pt x="583" y="145"/>
                    </a:lnTo>
                    <a:lnTo>
                      <a:pt x="587" y="145"/>
                    </a:lnTo>
                    <a:lnTo>
                      <a:pt x="587" y="145"/>
                    </a:lnTo>
                    <a:lnTo>
                      <a:pt x="592" y="145"/>
                    </a:lnTo>
                    <a:lnTo>
                      <a:pt x="592" y="145"/>
                    </a:lnTo>
                    <a:lnTo>
                      <a:pt x="592" y="145"/>
                    </a:lnTo>
                    <a:lnTo>
                      <a:pt x="592" y="141"/>
                    </a:lnTo>
                    <a:lnTo>
                      <a:pt x="587" y="141"/>
                    </a:lnTo>
                    <a:lnTo>
                      <a:pt x="587" y="141"/>
                    </a:lnTo>
                    <a:lnTo>
                      <a:pt x="587" y="141"/>
                    </a:lnTo>
                    <a:lnTo>
                      <a:pt x="592" y="141"/>
                    </a:lnTo>
                    <a:lnTo>
                      <a:pt x="592" y="141"/>
                    </a:lnTo>
                    <a:lnTo>
                      <a:pt x="592" y="141"/>
                    </a:lnTo>
                    <a:lnTo>
                      <a:pt x="596" y="141"/>
                    </a:lnTo>
                    <a:lnTo>
                      <a:pt x="596" y="141"/>
                    </a:lnTo>
                    <a:lnTo>
                      <a:pt x="596" y="136"/>
                    </a:lnTo>
                    <a:lnTo>
                      <a:pt x="596" y="136"/>
                    </a:lnTo>
                    <a:lnTo>
                      <a:pt x="596" y="136"/>
                    </a:lnTo>
                    <a:lnTo>
                      <a:pt x="601" y="136"/>
                    </a:lnTo>
                    <a:lnTo>
                      <a:pt x="601" y="136"/>
                    </a:lnTo>
                    <a:lnTo>
                      <a:pt x="605" y="136"/>
                    </a:lnTo>
                    <a:lnTo>
                      <a:pt x="605" y="136"/>
                    </a:lnTo>
                    <a:lnTo>
                      <a:pt x="605" y="136"/>
                    </a:lnTo>
                    <a:lnTo>
                      <a:pt x="605" y="136"/>
                    </a:lnTo>
                    <a:lnTo>
                      <a:pt x="605" y="136"/>
                    </a:lnTo>
                    <a:lnTo>
                      <a:pt x="610" y="136"/>
                    </a:lnTo>
                    <a:lnTo>
                      <a:pt x="610" y="136"/>
                    </a:lnTo>
                    <a:lnTo>
                      <a:pt x="614" y="136"/>
                    </a:lnTo>
                    <a:lnTo>
                      <a:pt x="614" y="136"/>
                    </a:lnTo>
                    <a:lnTo>
                      <a:pt x="619" y="136"/>
                    </a:lnTo>
                    <a:lnTo>
                      <a:pt x="619" y="136"/>
                    </a:lnTo>
                    <a:lnTo>
                      <a:pt x="619" y="136"/>
                    </a:lnTo>
                    <a:lnTo>
                      <a:pt x="619" y="136"/>
                    </a:lnTo>
                    <a:lnTo>
                      <a:pt x="623" y="136"/>
                    </a:lnTo>
                    <a:lnTo>
                      <a:pt x="623" y="136"/>
                    </a:lnTo>
                    <a:lnTo>
                      <a:pt x="619" y="132"/>
                    </a:lnTo>
                    <a:lnTo>
                      <a:pt x="619" y="132"/>
                    </a:lnTo>
                    <a:lnTo>
                      <a:pt x="619" y="132"/>
                    </a:lnTo>
                    <a:lnTo>
                      <a:pt x="619" y="127"/>
                    </a:lnTo>
                    <a:lnTo>
                      <a:pt x="614" y="127"/>
                    </a:lnTo>
                    <a:lnTo>
                      <a:pt x="614" y="127"/>
                    </a:lnTo>
                    <a:lnTo>
                      <a:pt x="614" y="127"/>
                    </a:lnTo>
                    <a:lnTo>
                      <a:pt x="610" y="123"/>
                    </a:lnTo>
                    <a:lnTo>
                      <a:pt x="610" y="123"/>
                    </a:lnTo>
                    <a:lnTo>
                      <a:pt x="605" y="123"/>
                    </a:lnTo>
                    <a:lnTo>
                      <a:pt x="605" y="123"/>
                    </a:lnTo>
                    <a:lnTo>
                      <a:pt x="605" y="123"/>
                    </a:lnTo>
                    <a:lnTo>
                      <a:pt x="605" y="123"/>
                    </a:lnTo>
                    <a:lnTo>
                      <a:pt x="601" y="118"/>
                    </a:lnTo>
                    <a:lnTo>
                      <a:pt x="601" y="118"/>
                    </a:lnTo>
                    <a:lnTo>
                      <a:pt x="601" y="118"/>
                    </a:lnTo>
                    <a:lnTo>
                      <a:pt x="601" y="118"/>
                    </a:lnTo>
                    <a:lnTo>
                      <a:pt x="596" y="118"/>
                    </a:lnTo>
                    <a:lnTo>
                      <a:pt x="596" y="118"/>
                    </a:lnTo>
                    <a:lnTo>
                      <a:pt x="596" y="118"/>
                    </a:lnTo>
                    <a:lnTo>
                      <a:pt x="596" y="118"/>
                    </a:lnTo>
                    <a:lnTo>
                      <a:pt x="592" y="113"/>
                    </a:lnTo>
                    <a:lnTo>
                      <a:pt x="592" y="113"/>
                    </a:lnTo>
                    <a:lnTo>
                      <a:pt x="587" y="113"/>
                    </a:lnTo>
                    <a:lnTo>
                      <a:pt x="587" y="113"/>
                    </a:lnTo>
                    <a:lnTo>
                      <a:pt x="583" y="113"/>
                    </a:lnTo>
                    <a:lnTo>
                      <a:pt x="578" y="109"/>
                    </a:lnTo>
                    <a:lnTo>
                      <a:pt x="578" y="109"/>
                    </a:lnTo>
                    <a:lnTo>
                      <a:pt x="578" y="113"/>
                    </a:lnTo>
                    <a:lnTo>
                      <a:pt x="578" y="113"/>
                    </a:lnTo>
                    <a:lnTo>
                      <a:pt x="574" y="113"/>
                    </a:lnTo>
                    <a:lnTo>
                      <a:pt x="574" y="113"/>
                    </a:lnTo>
                    <a:lnTo>
                      <a:pt x="574" y="118"/>
                    </a:lnTo>
                    <a:lnTo>
                      <a:pt x="574" y="118"/>
                    </a:lnTo>
                    <a:lnTo>
                      <a:pt x="574" y="118"/>
                    </a:lnTo>
                    <a:lnTo>
                      <a:pt x="574" y="118"/>
                    </a:lnTo>
                    <a:lnTo>
                      <a:pt x="574" y="118"/>
                    </a:lnTo>
                    <a:lnTo>
                      <a:pt x="569" y="118"/>
                    </a:lnTo>
                    <a:lnTo>
                      <a:pt x="569" y="118"/>
                    </a:lnTo>
                    <a:lnTo>
                      <a:pt x="565" y="118"/>
                    </a:lnTo>
                    <a:lnTo>
                      <a:pt x="565" y="113"/>
                    </a:lnTo>
                    <a:lnTo>
                      <a:pt x="565" y="113"/>
                    </a:lnTo>
                    <a:lnTo>
                      <a:pt x="560" y="113"/>
                    </a:lnTo>
                    <a:lnTo>
                      <a:pt x="560" y="118"/>
                    </a:lnTo>
                    <a:lnTo>
                      <a:pt x="556" y="118"/>
                    </a:lnTo>
                    <a:lnTo>
                      <a:pt x="556" y="118"/>
                    </a:lnTo>
                    <a:lnTo>
                      <a:pt x="556" y="118"/>
                    </a:lnTo>
                    <a:lnTo>
                      <a:pt x="556" y="118"/>
                    </a:lnTo>
                    <a:lnTo>
                      <a:pt x="556" y="118"/>
                    </a:lnTo>
                    <a:lnTo>
                      <a:pt x="551" y="118"/>
                    </a:lnTo>
                    <a:lnTo>
                      <a:pt x="551" y="118"/>
                    </a:lnTo>
                    <a:lnTo>
                      <a:pt x="551" y="118"/>
                    </a:lnTo>
                    <a:lnTo>
                      <a:pt x="547" y="118"/>
                    </a:lnTo>
                    <a:lnTo>
                      <a:pt x="547" y="113"/>
                    </a:lnTo>
                    <a:lnTo>
                      <a:pt x="542" y="113"/>
                    </a:lnTo>
                    <a:lnTo>
                      <a:pt x="542" y="109"/>
                    </a:lnTo>
                    <a:lnTo>
                      <a:pt x="542" y="109"/>
                    </a:lnTo>
                    <a:lnTo>
                      <a:pt x="542" y="109"/>
                    </a:lnTo>
                    <a:lnTo>
                      <a:pt x="542" y="104"/>
                    </a:lnTo>
                    <a:lnTo>
                      <a:pt x="542" y="104"/>
                    </a:lnTo>
                    <a:lnTo>
                      <a:pt x="542" y="100"/>
                    </a:lnTo>
                    <a:lnTo>
                      <a:pt x="542" y="100"/>
                    </a:lnTo>
                    <a:lnTo>
                      <a:pt x="542" y="100"/>
                    </a:lnTo>
                    <a:lnTo>
                      <a:pt x="538" y="95"/>
                    </a:lnTo>
                    <a:lnTo>
                      <a:pt x="538" y="95"/>
                    </a:lnTo>
                    <a:lnTo>
                      <a:pt x="538" y="91"/>
                    </a:lnTo>
                    <a:lnTo>
                      <a:pt x="538" y="86"/>
                    </a:lnTo>
                    <a:lnTo>
                      <a:pt x="538" y="82"/>
                    </a:lnTo>
                    <a:lnTo>
                      <a:pt x="538" y="77"/>
                    </a:lnTo>
                    <a:lnTo>
                      <a:pt x="538" y="82"/>
                    </a:lnTo>
                    <a:lnTo>
                      <a:pt x="542" y="82"/>
                    </a:lnTo>
                    <a:lnTo>
                      <a:pt x="547" y="82"/>
                    </a:lnTo>
                    <a:lnTo>
                      <a:pt x="551" y="82"/>
                    </a:lnTo>
                    <a:lnTo>
                      <a:pt x="556" y="82"/>
                    </a:lnTo>
                    <a:lnTo>
                      <a:pt x="556" y="82"/>
                    </a:lnTo>
                    <a:lnTo>
                      <a:pt x="556" y="82"/>
                    </a:lnTo>
                    <a:lnTo>
                      <a:pt x="560" y="77"/>
                    </a:lnTo>
                    <a:lnTo>
                      <a:pt x="560" y="77"/>
                    </a:lnTo>
                    <a:lnTo>
                      <a:pt x="560" y="73"/>
                    </a:lnTo>
                    <a:lnTo>
                      <a:pt x="565" y="73"/>
                    </a:lnTo>
                    <a:lnTo>
                      <a:pt x="565" y="73"/>
                    </a:lnTo>
                    <a:lnTo>
                      <a:pt x="569" y="73"/>
                    </a:lnTo>
                    <a:lnTo>
                      <a:pt x="569" y="68"/>
                    </a:lnTo>
                    <a:lnTo>
                      <a:pt x="565" y="68"/>
                    </a:lnTo>
                    <a:lnTo>
                      <a:pt x="565" y="64"/>
                    </a:lnTo>
                    <a:lnTo>
                      <a:pt x="560" y="64"/>
                    </a:lnTo>
                    <a:lnTo>
                      <a:pt x="560" y="64"/>
                    </a:lnTo>
                    <a:lnTo>
                      <a:pt x="560" y="64"/>
                    </a:lnTo>
                    <a:lnTo>
                      <a:pt x="560" y="64"/>
                    </a:lnTo>
                    <a:lnTo>
                      <a:pt x="560" y="59"/>
                    </a:lnTo>
                    <a:lnTo>
                      <a:pt x="560" y="59"/>
                    </a:lnTo>
                    <a:lnTo>
                      <a:pt x="560" y="59"/>
                    </a:lnTo>
                    <a:lnTo>
                      <a:pt x="560" y="55"/>
                    </a:lnTo>
                    <a:lnTo>
                      <a:pt x="560" y="55"/>
                    </a:lnTo>
                    <a:lnTo>
                      <a:pt x="560" y="55"/>
                    </a:lnTo>
                    <a:lnTo>
                      <a:pt x="560" y="50"/>
                    </a:lnTo>
                    <a:lnTo>
                      <a:pt x="560" y="50"/>
                    </a:lnTo>
                    <a:lnTo>
                      <a:pt x="560" y="50"/>
                    </a:lnTo>
                    <a:lnTo>
                      <a:pt x="556" y="46"/>
                    </a:lnTo>
                    <a:lnTo>
                      <a:pt x="556" y="46"/>
                    </a:lnTo>
                    <a:lnTo>
                      <a:pt x="556" y="41"/>
                    </a:lnTo>
                    <a:lnTo>
                      <a:pt x="556" y="37"/>
                    </a:lnTo>
                    <a:lnTo>
                      <a:pt x="560" y="37"/>
                    </a:lnTo>
                    <a:lnTo>
                      <a:pt x="560" y="32"/>
                    </a:lnTo>
                    <a:lnTo>
                      <a:pt x="560" y="32"/>
                    </a:lnTo>
                    <a:lnTo>
                      <a:pt x="556" y="28"/>
                    </a:lnTo>
                    <a:lnTo>
                      <a:pt x="556" y="28"/>
                    </a:lnTo>
                    <a:lnTo>
                      <a:pt x="551" y="23"/>
                    </a:lnTo>
                    <a:lnTo>
                      <a:pt x="551" y="23"/>
                    </a:lnTo>
                    <a:lnTo>
                      <a:pt x="551" y="23"/>
                    </a:lnTo>
                    <a:lnTo>
                      <a:pt x="547" y="23"/>
                    </a:lnTo>
                    <a:lnTo>
                      <a:pt x="547" y="23"/>
                    </a:lnTo>
                    <a:lnTo>
                      <a:pt x="542" y="23"/>
                    </a:lnTo>
                    <a:lnTo>
                      <a:pt x="542" y="23"/>
                    </a:lnTo>
                    <a:lnTo>
                      <a:pt x="538" y="19"/>
                    </a:lnTo>
                    <a:lnTo>
                      <a:pt x="538" y="19"/>
                    </a:lnTo>
                    <a:lnTo>
                      <a:pt x="542" y="19"/>
                    </a:lnTo>
                    <a:lnTo>
                      <a:pt x="542" y="14"/>
                    </a:lnTo>
                    <a:lnTo>
                      <a:pt x="542" y="9"/>
                    </a:lnTo>
                    <a:lnTo>
                      <a:pt x="542" y="9"/>
                    </a:lnTo>
                    <a:lnTo>
                      <a:pt x="547" y="5"/>
                    </a:lnTo>
                    <a:lnTo>
                      <a:pt x="551" y="5"/>
                    </a:lnTo>
                    <a:lnTo>
                      <a:pt x="556" y="5"/>
                    </a:lnTo>
                    <a:lnTo>
                      <a:pt x="556" y="0"/>
                    </a:lnTo>
                    <a:lnTo>
                      <a:pt x="560" y="0"/>
                    </a:lnTo>
                    <a:lnTo>
                      <a:pt x="560" y="0"/>
                    </a:lnTo>
                    <a:lnTo>
                      <a:pt x="565" y="0"/>
                    </a:lnTo>
                    <a:lnTo>
                      <a:pt x="565" y="0"/>
                    </a:lnTo>
                    <a:lnTo>
                      <a:pt x="569" y="0"/>
                    </a:lnTo>
                    <a:lnTo>
                      <a:pt x="569" y="0"/>
                    </a:lnTo>
                    <a:lnTo>
                      <a:pt x="569" y="0"/>
                    </a:lnTo>
                    <a:lnTo>
                      <a:pt x="57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13" name="Freeform 34"/>
              <p:cNvSpPr>
                <a:spLocks/>
              </p:cNvSpPr>
              <p:nvPr/>
            </p:nvSpPr>
            <p:spPr bwMode="auto">
              <a:xfrm>
                <a:off x="4033838" y="2630489"/>
                <a:ext cx="165100" cy="185738"/>
              </a:xfrm>
              <a:custGeom>
                <a:avLst/>
                <a:gdLst>
                  <a:gd name="T0" fmla="*/ 41 w 104"/>
                  <a:gd name="T1" fmla="*/ 4 h 117"/>
                  <a:gd name="T2" fmla="*/ 41 w 104"/>
                  <a:gd name="T3" fmla="*/ 9 h 117"/>
                  <a:gd name="T4" fmla="*/ 45 w 104"/>
                  <a:gd name="T5" fmla="*/ 9 h 117"/>
                  <a:gd name="T6" fmla="*/ 54 w 104"/>
                  <a:gd name="T7" fmla="*/ 4 h 117"/>
                  <a:gd name="T8" fmla="*/ 59 w 104"/>
                  <a:gd name="T9" fmla="*/ 9 h 117"/>
                  <a:gd name="T10" fmla="*/ 63 w 104"/>
                  <a:gd name="T11" fmla="*/ 18 h 117"/>
                  <a:gd name="T12" fmla="*/ 72 w 104"/>
                  <a:gd name="T13" fmla="*/ 18 h 117"/>
                  <a:gd name="T14" fmla="*/ 81 w 104"/>
                  <a:gd name="T15" fmla="*/ 13 h 117"/>
                  <a:gd name="T16" fmla="*/ 95 w 104"/>
                  <a:gd name="T17" fmla="*/ 13 h 117"/>
                  <a:gd name="T18" fmla="*/ 99 w 104"/>
                  <a:gd name="T19" fmla="*/ 22 h 117"/>
                  <a:gd name="T20" fmla="*/ 104 w 104"/>
                  <a:gd name="T21" fmla="*/ 22 h 117"/>
                  <a:gd name="T22" fmla="*/ 104 w 104"/>
                  <a:gd name="T23" fmla="*/ 27 h 117"/>
                  <a:gd name="T24" fmla="*/ 104 w 104"/>
                  <a:gd name="T25" fmla="*/ 31 h 117"/>
                  <a:gd name="T26" fmla="*/ 104 w 104"/>
                  <a:gd name="T27" fmla="*/ 45 h 117"/>
                  <a:gd name="T28" fmla="*/ 104 w 104"/>
                  <a:gd name="T29" fmla="*/ 49 h 117"/>
                  <a:gd name="T30" fmla="*/ 99 w 104"/>
                  <a:gd name="T31" fmla="*/ 54 h 117"/>
                  <a:gd name="T32" fmla="*/ 95 w 104"/>
                  <a:gd name="T33" fmla="*/ 67 h 117"/>
                  <a:gd name="T34" fmla="*/ 90 w 104"/>
                  <a:gd name="T35" fmla="*/ 72 h 117"/>
                  <a:gd name="T36" fmla="*/ 90 w 104"/>
                  <a:gd name="T37" fmla="*/ 81 h 117"/>
                  <a:gd name="T38" fmla="*/ 95 w 104"/>
                  <a:gd name="T39" fmla="*/ 94 h 117"/>
                  <a:gd name="T40" fmla="*/ 99 w 104"/>
                  <a:gd name="T41" fmla="*/ 99 h 117"/>
                  <a:gd name="T42" fmla="*/ 99 w 104"/>
                  <a:gd name="T43" fmla="*/ 104 h 117"/>
                  <a:gd name="T44" fmla="*/ 95 w 104"/>
                  <a:gd name="T45" fmla="*/ 104 h 117"/>
                  <a:gd name="T46" fmla="*/ 90 w 104"/>
                  <a:gd name="T47" fmla="*/ 104 h 117"/>
                  <a:gd name="T48" fmla="*/ 68 w 104"/>
                  <a:gd name="T49" fmla="*/ 104 h 117"/>
                  <a:gd name="T50" fmla="*/ 68 w 104"/>
                  <a:gd name="T51" fmla="*/ 104 h 117"/>
                  <a:gd name="T52" fmla="*/ 54 w 104"/>
                  <a:gd name="T53" fmla="*/ 104 h 117"/>
                  <a:gd name="T54" fmla="*/ 50 w 104"/>
                  <a:gd name="T55" fmla="*/ 104 h 117"/>
                  <a:gd name="T56" fmla="*/ 27 w 104"/>
                  <a:gd name="T57" fmla="*/ 113 h 117"/>
                  <a:gd name="T58" fmla="*/ 18 w 104"/>
                  <a:gd name="T59" fmla="*/ 117 h 117"/>
                  <a:gd name="T60" fmla="*/ 18 w 104"/>
                  <a:gd name="T61" fmla="*/ 104 h 117"/>
                  <a:gd name="T62" fmla="*/ 18 w 104"/>
                  <a:gd name="T63" fmla="*/ 99 h 117"/>
                  <a:gd name="T64" fmla="*/ 18 w 104"/>
                  <a:gd name="T65" fmla="*/ 90 h 117"/>
                  <a:gd name="T66" fmla="*/ 13 w 104"/>
                  <a:gd name="T67" fmla="*/ 90 h 117"/>
                  <a:gd name="T68" fmla="*/ 9 w 104"/>
                  <a:gd name="T69" fmla="*/ 81 h 117"/>
                  <a:gd name="T70" fmla="*/ 4 w 104"/>
                  <a:gd name="T71" fmla="*/ 81 h 117"/>
                  <a:gd name="T72" fmla="*/ 0 w 104"/>
                  <a:gd name="T73" fmla="*/ 81 h 117"/>
                  <a:gd name="T74" fmla="*/ 4 w 104"/>
                  <a:gd name="T75" fmla="*/ 72 h 117"/>
                  <a:gd name="T76" fmla="*/ 0 w 104"/>
                  <a:gd name="T77" fmla="*/ 58 h 117"/>
                  <a:gd name="T78" fmla="*/ 4 w 104"/>
                  <a:gd name="T79" fmla="*/ 58 h 117"/>
                  <a:gd name="T80" fmla="*/ 9 w 104"/>
                  <a:gd name="T81" fmla="*/ 49 h 117"/>
                  <a:gd name="T82" fmla="*/ 9 w 104"/>
                  <a:gd name="T83" fmla="*/ 45 h 117"/>
                  <a:gd name="T84" fmla="*/ 4 w 104"/>
                  <a:gd name="T85" fmla="*/ 40 h 117"/>
                  <a:gd name="T86" fmla="*/ 13 w 104"/>
                  <a:gd name="T87" fmla="*/ 40 h 117"/>
                  <a:gd name="T88" fmla="*/ 13 w 104"/>
                  <a:gd name="T89" fmla="*/ 40 h 117"/>
                  <a:gd name="T90" fmla="*/ 9 w 104"/>
                  <a:gd name="T91" fmla="*/ 31 h 117"/>
                  <a:gd name="T92" fmla="*/ 9 w 104"/>
                  <a:gd name="T93" fmla="*/ 27 h 117"/>
                  <a:gd name="T94" fmla="*/ 9 w 104"/>
                  <a:gd name="T95" fmla="*/ 22 h 117"/>
                  <a:gd name="T96" fmla="*/ 9 w 104"/>
                  <a:gd name="T97" fmla="*/ 13 h 117"/>
                  <a:gd name="T98" fmla="*/ 13 w 104"/>
                  <a:gd name="T99" fmla="*/ 9 h 117"/>
                  <a:gd name="T100" fmla="*/ 18 w 104"/>
                  <a:gd name="T101" fmla="*/ 4 h 117"/>
                  <a:gd name="T102" fmla="*/ 22 w 104"/>
                  <a:gd name="T103" fmla="*/ 9 h 117"/>
                  <a:gd name="T104" fmla="*/ 27 w 104"/>
                  <a:gd name="T105" fmla="*/ 9 h 117"/>
                  <a:gd name="T106" fmla="*/ 27 w 104"/>
                  <a:gd name="T107" fmla="*/ 4 h 117"/>
                  <a:gd name="T108" fmla="*/ 32 w 104"/>
                  <a:gd name="T109" fmla="*/ 4 h 117"/>
                  <a:gd name="T110" fmla="*/ 36 w 104"/>
                  <a:gd name="T111" fmla="*/ 0 h 117"/>
                  <a:gd name="T112" fmla="*/ 36 w 104"/>
                  <a:gd name="T113" fmla="*/ 0 h 117"/>
                  <a:gd name="T114" fmla="*/ 41 w 104"/>
                  <a:gd name="T11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7">
                    <a:moveTo>
                      <a:pt x="41" y="0"/>
                    </a:moveTo>
                    <a:lnTo>
                      <a:pt x="41" y="0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63" y="9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3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7" y="18"/>
                    </a:lnTo>
                    <a:lnTo>
                      <a:pt x="77" y="18"/>
                    </a:lnTo>
                    <a:lnTo>
                      <a:pt x="81" y="18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6" y="13"/>
                    </a:lnTo>
                    <a:lnTo>
                      <a:pt x="90" y="13"/>
                    </a:lnTo>
                    <a:lnTo>
                      <a:pt x="90" y="13"/>
                    </a:lnTo>
                    <a:lnTo>
                      <a:pt x="95" y="13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9" y="22"/>
                    </a:lnTo>
                    <a:lnTo>
                      <a:pt x="99" y="22"/>
                    </a:lnTo>
                    <a:lnTo>
                      <a:pt x="99" y="22"/>
                    </a:lnTo>
                    <a:lnTo>
                      <a:pt x="99" y="22"/>
                    </a:lnTo>
                    <a:lnTo>
                      <a:pt x="99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99" y="31"/>
                    </a:lnTo>
                    <a:lnTo>
                      <a:pt x="99" y="31"/>
                    </a:lnTo>
                    <a:lnTo>
                      <a:pt x="104" y="31"/>
                    </a:lnTo>
                    <a:lnTo>
                      <a:pt x="104" y="31"/>
                    </a:lnTo>
                    <a:lnTo>
                      <a:pt x="104" y="36"/>
                    </a:lnTo>
                    <a:lnTo>
                      <a:pt x="104" y="36"/>
                    </a:lnTo>
                    <a:lnTo>
                      <a:pt x="104" y="36"/>
                    </a:lnTo>
                    <a:lnTo>
                      <a:pt x="104" y="40"/>
                    </a:lnTo>
                    <a:lnTo>
                      <a:pt x="104" y="45"/>
                    </a:lnTo>
                    <a:lnTo>
                      <a:pt x="104" y="49"/>
                    </a:lnTo>
                    <a:lnTo>
                      <a:pt x="104" y="49"/>
                    </a:lnTo>
                    <a:lnTo>
                      <a:pt x="104" y="49"/>
                    </a:lnTo>
                    <a:lnTo>
                      <a:pt x="104" y="49"/>
                    </a:lnTo>
                    <a:lnTo>
                      <a:pt x="104" y="49"/>
                    </a:lnTo>
                    <a:lnTo>
                      <a:pt x="104" y="49"/>
                    </a:lnTo>
                    <a:lnTo>
                      <a:pt x="104" y="49"/>
                    </a:lnTo>
                    <a:lnTo>
                      <a:pt x="99" y="54"/>
                    </a:lnTo>
                    <a:lnTo>
                      <a:pt x="99" y="54"/>
                    </a:lnTo>
                    <a:lnTo>
                      <a:pt x="99" y="54"/>
                    </a:lnTo>
                    <a:lnTo>
                      <a:pt x="99" y="54"/>
                    </a:lnTo>
                    <a:lnTo>
                      <a:pt x="99" y="58"/>
                    </a:lnTo>
                    <a:lnTo>
                      <a:pt x="95" y="63"/>
                    </a:lnTo>
                    <a:lnTo>
                      <a:pt x="95" y="63"/>
                    </a:lnTo>
                    <a:lnTo>
                      <a:pt x="95" y="67"/>
                    </a:lnTo>
                    <a:lnTo>
                      <a:pt x="95" y="67"/>
                    </a:lnTo>
                    <a:lnTo>
                      <a:pt x="95" y="67"/>
                    </a:lnTo>
                    <a:lnTo>
                      <a:pt x="95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6"/>
                    </a:lnTo>
                    <a:lnTo>
                      <a:pt x="90" y="76"/>
                    </a:lnTo>
                    <a:lnTo>
                      <a:pt x="90" y="76"/>
                    </a:lnTo>
                    <a:lnTo>
                      <a:pt x="90" y="81"/>
                    </a:lnTo>
                    <a:lnTo>
                      <a:pt x="90" y="81"/>
                    </a:lnTo>
                    <a:lnTo>
                      <a:pt x="95" y="85"/>
                    </a:lnTo>
                    <a:lnTo>
                      <a:pt x="95" y="90"/>
                    </a:lnTo>
                    <a:lnTo>
                      <a:pt x="95" y="90"/>
                    </a:lnTo>
                    <a:lnTo>
                      <a:pt x="95" y="94"/>
                    </a:lnTo>
                    <a:lnTo>
                      <a:pt x="95" y="94"/>
                    </a:lnTo>
                    <a:lnTo>
                      <a:pt x="95" y="94"/>
                    </a:lnTo>
                    <a:lnTo>
                      <a:pt x="99" y="94"/>
                    </a:lnTo>
                    <a:lnTo>
                      <a:pt x="99" y="94"/>
                    </a:lnTo>
                    <a:lnTo>
                      <a:pt x="99" y="99"/>
                    </a:lnTo>
                    <a:lnTo>
                      <a:pt x="99" y="99"/>
                    </a:lnTo>
                    <a:lnTo>
                      <a:pt x="99" y="99"/>
                    </a:lnTo>
                    <a:lnTo>
                      <a:pt x="99" y="104"/>
                    </a:lnTo>
                    <a:lnTo>
                      <a:pt x="99" y="104"/>
                    </a:lnTo>
                    <a:lnTo>
                      <a:pt x="99" y="104"/>
                    </a:lnTo>
                    <a:lnTo>
                      <a:pt x="99" y="104"/>
                    </a:lnTo>
                    <a:lnTo>
                      <a:pt x="95" y="104"/>
                    </a:lnTo>
                    <a:lnTo>
                      <a:pt x="95" y="104"/>
                    </a:lnTo>
                    <a:lnTo>
                      <a:pt x="95" y="104"/>
                    </a:lnTo>
                    <a:lnTo>
                      <a:pt x="95" y="104"/>
                    </a:lnTo>
                    <a:lnTo>
                      <a:pt x="95" y="104"/>
                    </a:lnTo>
                    <a:lnTo>
                      <a:pt x="95" y="99"/>
                    </a:lnTo>
                    <a:lnTo>
                      <a:pt x="90" y="99"/>
                    </a:lnTo>
                    <a:lnTo>
                      <a:pt x="90" y="99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1" y="104"/>
                    </a:lnTo>
                    <a:lnTo>
                      <a:pt x="77" y="104"/>
                    </a:lnTo>
                    <a:lnTo>
                      <a:pt x="77" y="99"/>
                    </a:lnTo>
                    <a:lnTo>
                      <a:pt x="72" y="99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77" y="104"/>
                    </a:lnTo>
                    <a:lnTo>
                      <a:pt x="77" y="104"/>
                    </a:lnTo>
                    <a:lnTo>
                      <a:pt x="77" y="104"/>
                    </a:lnTo>
                    <a:lnTo>
                      <a:pt x="68" y="104"/>
                    </a:lnTo>
                    <a:lnTo>
                      <a:pt x="63" y="104"/>
                    </a:lnTo>
                    <a:lnTo>
                      <a:pt x="63" y="104"/>
                    </a:lnTo>
                    <a:lnTo>
                      <a:pt x="59" y="104"/>
                    </a:lnTo>
                    <a:lnTo>
                      <a:pt x="54" y="104"/>
                    </a:lnTo>
                    <a:lnTo>
                      <a:pt x="54" y="104"/>
                    </a:lnTo>
                    <a:lnTo>
                      <a:pt x="54" y="104"/>
                    </a:lnTo>
                    <a:lnTo>
                      <a:pt x="54" y="104"/>
                    </a:lnTo>
                    <a:lnTo>
                      <a:pt x="59" y="104"/>
                    </a:lnTo>
                    <a:lnTo>
                      <a:pt x="59" y="104"/>
                    </a:lnTo>
                    <a:lnTo>
                      <a:pt x="50" y="104"/>
                    </a:lnTo>
                    <a:lnTo>
                      <a:pt x="45" y="108"/>
                    </a:lnTo>
                    <a:lnTo>
                      <a:pt x="41" y="108"/>
                    </a:lnTo>
                    <a:lnTo>
                      <a:pt x="32" y="113"/>
                    </a:lnTo>
                    <a:lnTo>
                      <a:pt x="27" y="113"/>
                    </a:lnTo>
                    <a:lnTo>
                      <a:pt x="27" y="113"/>
                    </a:lnTo>
                    <a:lnTo>
                      <a:pt x="27" y="117"/>
                    </a:lnTo>
                    <a:lnTo>
                      <a:pt x="22" y="117"/>
                    </a:lnTo>
                    <a:lnTo>
                      <a:pt x="18" y="117"/>
                    </a:lnTo>
                    <a:lnTo>
                      <a:pt x="18" y="117"/>
                    </a:lnTo>
                    <a:lnTo>
                      <a:pt x="18" y="117"/>
                    </a:lnTo>
                    <a:lnTo>
                      <a:pt x="18" y="117"/>
                    </a:lnTo>
                    <a:lnTo>
                      <a:pt x="13" y="108"/>
                    </a:lnTo>
                    <a:lnTo>
                      <a:pt x="13" y="108"/>
                    </a:lnTo>
                    <a:lnTo>
                      <a:pt x="18" y="108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18" y="99"/>
                    </a:lnTo>
                    <a:lnTo>
                      <a:pt x="18" y="99"/>
                    </a:lnTo>
                    <a:lnTo>
                      <a:pt x="18" y="99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8" y="90"/>
                    </a:lnTo>
                    <a:lnTo>
                      <a:pt x="18" y="90"/>
                    </a:lnTo>
                    <a:lnTo>
                      <a:pt x="18" y="90"/>
                    </a:lnTo>
                    <a:lnTo>
                      <a:pt x="13" y="90"/>
                    </a:lnTo>
                    <a:lnTo>
                      <a:pt x="13" y="90"/>
                    </a:lnTo>
                    <a:lnTo>
                      <a:pt x="13" y="90"/>
                    </a:lnTo>
                    <a:lnTo>
                      <a:pt x="13" y="85"/>
                    </a:lnTo>
                    <a:lnTo>
                      <a:pt x="13" y="85"/>
                    </a:lnTo>
                    <a:lnTo>
                      <a:pt x="13" y="85"/>
                    </a:lnTo>
                    <a:lnTo>
                      <a:pt x="9" y="85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4" y="81"/>
                    </a:lnTo>
                    <a:lnTo>
                      <a:pt x="4" y="81"/>
                    </a:lnTo>
                    <a:lnTo>
                      <a:pt x="4" y="81"/>
                    </a:lnTo>
                    <a:lnTo>
                      <a:pt x="4" y="81"/>
                    </a:lnTo>
                    <a:lnTo>
                      <a:pt x="0" y="81"/>
                    </a:lnTo>
                    <a:lnTo>
                      <a:pt x="0" y="81"/>
                    </a:lnTo>
                    <a:lnTo>
                      <a:pt x="0" y="81"/>
                    </a:lnTo>
                    <a:lnTo>
                      <a:pt x="0" y="81"/>
                    </a:lnTo>
                    <a:lnTo>
                      <a:pt x="0" y="81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0" y="63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49"/>
                    </a:lnTo>
                    <a:lnTo>
                      <a:pt x="9" y="49"/>
                    </a:lnTo>
                    <a:lnTo>
                      <a:pt x="9" y="49"/>
                    </a:lnTo>
                    <a:lnTo>
                      <a:pt x="9" y="49"/>
                    </a:lnTo>
                    <a:lnTo>
                      <a:pt x="9" y="49"/>
                    </a:lnTo>
                    <a:lnTo>
                      <a:pt x="9" y="49"/>
                    </a:lnTo>
                    <a:lnTo>
                      <a:pt x="9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9" y="40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13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1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3" y="27"/>
                    </a:lnTo>
                    <a:lnTo>
                      <a:pt x="9" y="27"/>
                    </a:lnTo>
                    <a:lnTo>
                      <a:pt x="13" y="27"/>
                    </a:lnTo>
                    <a:lnTo>
                      <a:pt x="13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18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14" name="Freeform 35"/>
              <p:cNvSpPr>
                <a:spLocks/>
              </p:cNvSpPr>
              <p:nvPr/>
            </p:nvSpPr>
            <p:spPr bwMode="auto">
              <a:xfrm>
                <a:off x="4506913" y="2557464"/>
                <a:ext cx="207963" cy="344488"/>
              </a:xfrm>
              <a:custGeom>
                <a:avLst/>
                <a:gdLst>
                  <a:gd name="T0" fmla="*/ 113 w 131"/>
                  <a:gd name="T1" fmla="*/ 59 h 217"/>
                  <a:gd name="T2" fmla="*/ 95 w 131"/>
                  <a:gd name="T3" fmla="*/ 59 h 217"/>
                  <a:gd name="T4" fmla="*/ 99 w 131"/>
                  <a:gd name="T5" fmla="*/ 73 h 217"/>
                  <a:gd name="T6" fmla="*/ 108 w 131"/>
                  <a:gd name="T7" fmla="*/ 82 h 217"/>
                  <a:gd name="T8" fmla="*/ 122 w 131"/>
                  <a:gd name="T9" fmla="*/ 100 h 217"/>
                  <a:gd name="T10" fmla="*/ 118 w 131"/>
                  <a:gd name="T11" fmla="*/ 109 h 217"/>
                  <a:gd name="T12" fmla="*/ 113 w 131"/>
                  <a:gd name="T13" fmla="*/ 118 h 217"/>
                  <a:gd name="T14" fmla="*/ 108 w 131"/>
                  <a:gd name="T15" fmla="*/ 131 h 217"/>
                  <a:gd name="T16" fmla="*/ 104 w 131"/>
                  <a:gd name="T17" fmla="*/ 136 h 217"/>
                  <a:gd name="T18" fmla="*/ 104 w 131"/>
                  <a:gd name="T19" fmla="*/ 145 h 217"/>
                  <a:gd name="T20" fmla="*/ 104 w 131"/>
                  <a:gd name="T21" fmla="*/ 150 h 217"/>
                  <a:gd name="T22" fmla="*/ 108 w 131"/>
                  <a:gd name="T23" fmla="*/ 163 h 217"/>
                  <a:gd name="T24" fmla="*/ 113 w 131"/>
                  <a:gd name="T25" fmla="*/ 172 h 217"/>
                  <a:gd name="T26" fmla="*/ 118 w 131"/>
                  <a:gd name="T27" fmla="*/ 181 h 217"/>
                  <a:gd name="T28" fmla="*/ 127 w 131"/>
                  <a:gd name="T29" fmla="*/ 190 h 217"/>
                  <a:gd name="T30" fmla="*/ 131 w 131"/>
                  <a:gd name="T31" fmla="*/ 195 h 217"/>
                  <a:gd name="T32" fmla="*/ 131 w 131"/>
                  <a:gd name="T33" fmla="*/ 204 h 217"/>
                  <a:gd name="T34" fmla="*/ 131 w 131"/>
                  <a:gd name="T35" fmla="*/ 208 h 217"/>
                  <a:gd name="T36" fmla="*/ 131 w 131"/>
                  <a:gd name="T37" fmla="*/ 217 h 217"/>
                  <a:gd name="T38" fmla="*/ 118 w 131"/>
                  <a:gd name="T39" fmla="*/ 208 h 217"/>
                  <a:gd name="T40" fmla="*/ 113 w 131"/>
                  <a:gd name="T41" fmla="*/ 208 h 217"/>
                  <a:gd name="T42" fmla="*/ 108 w 131"/>
                  <a:gd name="T43" fmla="*/ 208 h 217"/>
                  <a:gd name="T44" fmla="*/ 90 w 131"/>
                  <a:gd name="T45" fmla="*/ 208 h 217"/>
                  <a:gd name="T46" fmla="*/ 77 w 131"/>
                  <a:gd name="T47" fmla="*/ 204 h 217"/>
                  <a:gd name="T48" fmla="*/ 63 w 131"/>
                  <a:gd name="T49" fmla="*/ 204 h 217"/>
                  <a:gd name="T50" fmla="*/ 50 w 131"/>
                  <a:gd name="T51" fmla="*/ 208 h 217"/>
                  <a:gd name="T52" fmla="*/ 23 w 131"/>
                  <a:gd name="T53" fmla="*/ 204 h 217"/>
                  <a:gd name="T54" fmla="*/ 23 w 131"/>
                  <a:gd name="T55" fmla="*/ 195 h 217"/>
                  <a:gd name="T56" fmla="*/ 23 w 131"/>
                  <a:gd name="T57" fmla="*/ 177 h 217"/>
                  <a:gd name="T58" fmla="*/ 18 w 131"/>
                  <a:gd name="T59" fmla="*/ 177 h 217"/>
                  <a:gd name="T60" fmla="*/ 18 w 131"/>
                  <a:gd name="T61" fmla="*/ 172 h 217"/>
                  <a:gd name="T62" fmla="*/ 14 w 131"/>
                  <a:gd name="T63" fmla="*/ 172 h 217"/>
                  <a:gd name="T64" fmla="*/ 9 w 131"/>
                  <a:gd name="T65" fmla="*/ 172 h 217"/>
                  <a:gd name="T66" fmla="*/ 5 w 131"/>
                  <a:gd name="T67" fmla="*/ 163 h 217"/>
                  <a:gd name="T68" fmla="*/ 0 w 131"/>
                  <a:gd name="T69" fmla="*/ 163 h 217"/>
                  <a:gd name="T70" fmla="*/ 0 w 131"/>
                  <a:gd name="T71" fmla="*/ 159 h 217"/>
                  <a:gd name="T72" fmla="*/ 5 w 131"/>
                  <a:gd name="T73" fmla="*/ 140 h 217"/>
                  <a:gd name="T74" fmla="*/ 14 w 131"/>
                  <a:gd name="T75" fmla="*/ 127 h 217"/>
                  <a:gd name="T76" fmla="*/ 23 w 131"/>
                  <a:gd name="T77" fmla="*/ 118 h 217"/>
                  <a:gd name="T78" fmla="*/ 27 w 131"/>
                  <a:gd name="T79" fmla="*/ 118 h 217"/>
                  <a:gd name="T80" fmla="*/ 36 w 131"/>
                  <a:gd name="T81" fmla="*/ 113 h 217"/>
                  <a:gd name="T82" fmla="*/ 41 w 131"/>
                  <a:gd name="T83" fmla="*/ 122 h 217"/>
                  <a:gd name="T84" fmla="*/ 50 w 131"/>
                  <a:gd name="T85" fmla="*/ 122 h 217"/>
                  <a:gd name="T86" fmla="*/ 54 w 131"/>
                  <a:gd name="T87" fmla="*/ 118 h 217"/>
                  <a:gd name="T88" fmla="*/ 54 w 131"/>
                  <a:gd name="T89" fmla="*/ 109 h 217"/>
                  <a:gd name="T90" fmla="*/ 63 w 131"/>
                  <a:gd name="T91" fmla="*/ 91 h 217"/>
                  <a:gd name="T92" fmla="*/ 72 w 131"/>
                  <a:gd name="T93" fmla="*/ 82 h 217"/>
                  <a:gd name="T94" fmla="*/ 77 w 131"/>
                  <a:gd name="T95" fmla="*/ 68 h 217"/>
                  <a:gd name="T96" fmla="*/ 81 w 131"/>
                  <a:gd name="T97" fmla="*/ 59 h 217"/>
                  <a:gd name="T98" fmla="*/ 90 w 131"/>
                  <a:gd name="T99" fmla="*/ 41 h 217"/>
                  <a:gd name="T100" fmla="*/ 99 w 131"/>
                  <a:gd name="T101" fmla="*/ 32 h 217"/>
                  <a:gd name="T102" fmla="*/ 104 w 131"/>
                  <a:gd name="T103" fmla="*/ 23 h 217"/>
                  <a:gd name="T104" fmla="*/ 104 w 131"/>
                  <a:gd name="T105" fmla="*/ 14 h 217"/>
                  <a:gd name="T106" fmla="*/ 95 w 131"/>
                  <a:gd name="T107" fmla="*/ 14 h 217"/>
                  <a:gd name="T108" fmla="*/ 104 w 131"/>
                  <a:gd name="T109" fmla="*/ 5 h 217"/>
                  <a:gd name="T110" fmla="*/ 108 w 131"/>
                  <a:gd name="T111" fmla="*/ 18 h 217"/>
                  <a:gd name="T112" fmla="*/ 113 w 131"/>
                  <a:gd name="T113" fmla="*/ 32 h 217"/>
                  <a:gd name="T114" fmla="*/ 118 w 131"/>
                  <a:gd name="T115" fmla="*/ 55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1" h="217">
                    <a:moveTo>
                      <a:pt x="122" y="59"/>
                    </a:moveTo>
                    <a:lnTo>
                      <a:pt x="122" y="59"/>
                    </a:lnTo>
                    <a:lnTo>
                      <a:pt x="122" y="59"/>
                    </a:lnTo>
                    <a:lnTo>
                      <a:pt x="118" y="59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08" y="59"/>
                    </a:lnTo>
                    <a:lnTo>
                      <a:pt x="104" y="59"/>
                    </a:lnTo>
                    <a:lnTo>
                      <a:pt x="99" y="59"/>
                    </a:lnTo>
                    <a:lnTo>
                      <a:pt x="99" y="59"/>
                    </a:lnTo>
                    <a:lnTo>
                      <a:pt x="95" y="59"/>
                    </a:lnTo>
                    <a:lnTo>
                      <a:pt x="95" y="64"/>
                    </a:lnTo>
                    <a:lnTo>
                      <a:pt x="95" y="64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99" y="68"/>
                    </a:lnTo>
                    <a:lnTo>
                      <a:pt x="99" y="73"/>
                    </a:lnTo>
                    <a:lnTo>
                      <a:pt x="99" y="73"/>
                    </a:lnTo>
                    <a:lnTo>
                      <a:pt x="104" y="77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13" y="82"/>
                    </a:lnTo>
                    <a:lnTo>
                      <a:pt x="113" y="86"/>
                    </a:lnTo>
                    <a:lnTo>
                      <a:pt x="118" y="91"/>
                    </a:lnTo>
                    <a:lnTo>
                      <a:pt x="118" y="95"/>
                    </a:lnTo>
                    <a:lnTo>
                      <a:pt x="118" y="100"/>
                    </a:lnTo>
                    <a:lnTo>
                      <a:pt x="122" y="100"/>
                    </a:lnTo>
                    <a:lnTo>
                      <a:pt x="122" y="100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18" y="109"/>
                    </a:lnTo>
                    <a:lnTo>
                      <a:pt x="118" y="109"/>
                    </a:lnTo>
                    <a:lnTo>
                      <a:pt x="118" y="113"/>
                    </a:lnTo>
                    <a:lnTo>
                      <a:pt x="113" y="113"/>
                    </a:lnTo>
                    <a:lnTo>
                      <a:pt x="113" y="113"/>
                    </a:lnTo>
                    <a:lnTo>
                      <a:pt x="113" y="118"/>
                    </a:lnTo>
                    <a:lnTo>
                      <a:pt x="113" y="118"/>
                    </a:lnTo>
                    <a:lnTo>
                      <a:pt x="113" y="122"/>
                    </a:lnTo>
                    <a:lnTo>
                      <a:pt x="108" y="122"/>
                    </a:lnTo>
                    <a:lnTo>
                      <a:pt x="108" y="127"/>
                    </a:lnTo>
                    <a:lnTo>
                      <a:pt x="108" y="127"/>
                    </a:lnTo>
                    <a:lnTo>
                      <a:pt x="108" y="127"/>
                    </a:lnTo>
                    <a:lnTo>
                      <a:pt x="108" y="131"/>
                    </a:lnTo>
                    <a:lnTo>
                      <a:pt x="104" y="131"/>
                    </a:lnTo>
                    <a:lnTo>
                      <a:pt x="104" y="131"/>
                    </a:lnTo>
                    <a:lnTo>
                      <a:pt x="104" y="131"/>
                    </a:lnTo>
                    <a:lnTo>
                      <a:pt x="104" y="131"/>
                    </a:lnTo>
                    <a:lnTo>
                      <a:pt x="104" y="131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45"/>
                    </a:lnTo>
                    <a:lnTo>
                      <a:pt x="104" y="145"/>
                    </a:lnTo>
                    <a:lnTo>
                      <a:pt x="104" y="145"/>
                    </a:lnTo>
                    <a:lnTo>
                      <a:pt x="104" y="145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8" y="159"/>
                    </a:lnTo>
                    <a:lnTo>
                      <a:pt x="108" y="159"/>
                    </a:lnTo>
                    <a:lnTo>
                      <a:pt x="108" y="163"/>
                    </a:lnTo>
                    <a:lnTo>
                      <a:pt x="108" y="163"/>
                    </a:lnTo>
                    <a:lnTo>
                      <a:pt x="113" y="163"/>
                    </a:lnTo>
                    <a:lnTo>
                      <a:pt x="113" y="168"/>
                    </a:lnTo>
                    <a:lnTo>
                      <a:pt x="113" y="168"/>
                    </a:lnTo>
                    <a:lnTo>
                      <a:pt x="113" y="172"/>
                    </a:lnTo>
                    <a:lnTo>
                      <a:pt x="113" y="172"/>
                    </a:lnTo>
                    <a:lnTo>
                      <a:pt x="113" y="172"/>
                    </a:lnTo>
                    <a:lnTo>
                      <a:pt x="113" y="172"/>
                    </a:lnTo>
                    <a:lnTo>
                      <a:pt x="113" y="172"/>
                    </a:lnTo>
                    <a:lnTo>
                      <a:pt x="113" y="172"/>
                    </a:lnTo>
                    <a:lnTo>
                      <a:pt x="113" y="177"/>
                    </a:lnTo>
                    <a:lnTo>
                      <a:pt x="118" y="177"/>
                    </a:lnTo>
                    <a:lnTo>
                      <a:pt x="118" y="181"/>
                    </a:lnTo>
                    <a:lnTo>
                      <a:pt x="122" y="181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7" y="190"/>
                    </a:lnTo>
                    <a:lnTo>
                      <a:pt x="127" y="190"/>
                    </a:lnTo>
                    <a:lnTo>
                      <a:pt x="127" y="190"/>
                    </a:lnTo>
                    <a:lnTo>
                      <a:pt x="127" y="190"/>
                    </a:lnTo>
                    <a:lnTo>
                      <a:pt x="127" y="190"/>
                    </a:lnTo>
                    <a:lnTo>
                      <a:pt x="131" y="190"/>
                    </a:lnTo>
                    <a:lnTo>
                      <a:pt x="131" y="190"/>
                    </a:lnTo>
                    <a:lnTo>
                      <a:pt x="131" y="195"/>
                    </a:lnTo>
                    <a:lnTo>
                      <a:pt x="131" y="195"/>
                    </a:lnTo>
                    <a:lnTo>
                      <a:pt x="131" y="195"/>
                    </a:lnTo>
                    <a:lnTo>
                      <a:pt x="131" y="195"/>
                    </a:lnTo>
                    <a:lnTo>
                      <a:pt x="131" y="199"/>
                    </a:lnTo>
                    <a:lnTo>
                      <a:pt x="131" y="199"/>
                    </a:lnTo>
                    <a:lnTo>
                      <a:pt x="131" y="199"/>
                    </a:lnTo>
                    <a:lnTo>
                      <a:pt x="131" y="204"/>
                    </a:lnTo>
                    <a:lnTo>
                      <a:pt x="131" y="204"/>
                    </a:lnTo>
                    <a:lnTo>
                      <a:pt x="131" y="204"/>
                    </a:lnTo>
                    <a:lnTo>
                      <a:pt x="131" y="204"/>
                    </a:lnTo>
                    <a:lnTo>
                      <a:pt x="131" y="208"/>
                    </a:lnTo>
                    <a:lnTo>
                      <a:pt x="131" y="208"/>
                    </a:lnTo>
                    <a:lnTo>
                      <a:pt x="131" y="208"/>
                    </a:lnTo>
                    <a:lnTo>
                      <a:pt x="131" y="213"/>
                    </a:lnTo>
                    <a:lnTo>
                      <a:pt x="131" y="213"/>
                    </a:lnTo>
                    <a:lnTo>
                      <a:pt x="131" y="213"/>
                    </a:lnTo>
                    <a:lnTo>
                      <a:pt x="131" y="213"/>
                    </a:lnTo>
                    <a:lnTo>
                      <a:pt x="131" y="217"/>
                    </a:lnTo>
                    <a:lnTo>
                      <a:pt x="131" y="217"/>
                    </a:lnTo>
                    <a:lnTo>
                      <a:pt x="131" y="213"/>
                    </a:lnTo>
                    <a:lnTo>
                      <a:pt x="127" y="213"/>
                    </a:lnTo>
                    <a:lnTo>
                      <a:pt x="127" y="213"/>
                    </a:lnTo>
                    <a:lnTo>
                      <a:pt x="122" y="208"/>
                    </a:lnTo>
                    <a:lnTo>
                      <a:pt x="118" y="208"/>
                    </a:lnTo>
                    <a:lnTo>
                      <a:pt x="118" y="208"/>
                    </a:lnTo>
                    <a:lnTo>
                      <a:pt x="118" y="208"/>
                    </a:lnTo>
                    <a:lnTo>
                      <a:pt x="118" y="208"/>
                    </a:lnTo>
                    <a:lnTo>
                      <a:pt x="113" y="208"/>
                    </a:lnTo>
                    <a:lnTo>
                      <a:pt x="113" y="208"/>
                    </a:lnTo>
                    <a:lnTo>
                      <a:pt x="113" y="208"/>
                    </a:lnTo>
                    <a:lnTo>
                      <a:pt x="113" y="208"/>
                    </a:lnTo>
                    <a:lnTo>
                      <a:pt x="108" y="208"/>
                    </a:lnTo>
                    <a:lnTo>
                      <a:pt x="108" y="208"/>
                    </a:lnTo>
                    <a:lnTo>
                      <a:pt x="108" y="208"/>
                    </a:lnTo>
                    <a:lnTo>
                      <a:pt x="108" y="208"/>
                    </a:lnTo>
                    <a:lnTo>
                      <a:pt x="108" y="208"/>
                    </a:lnTo>
                    <a:lnTo>
                      <a:pt x="108" y="208"/>
                    </a:lnTo>
                    <a:lnTo>
                      <a:pt x="104" y="208"/>
                    </a:lnTo>
                    <a:lnTo>
                      <a:pt x="104" y="204"/>
                    </a:lnTo>
                    <a:lnTo>
                      <a:pt x="104" y="208"/>
                    </a:lnTo>
                    <a:lnTo>
                      <a:pt x="99" y="208"/>
                    </a:lnTo>
                    <a:lnTo>
                      <a:pt x="95" y="208"/>
                    </a:lnTo>
                    <a:lnTo>
                      <a:pt x="90" y="208"/>
                    </a:lnTo>
                    <a:lnTo>
                      <a:pt x="86" y="208"/>
                    </a:lnTo>
                    <a:lnTo>
                      <a:pt x="81" y="208"/>
                    </a:lnTo>
                    <a:lnTo>
                      <a:pt x="81" y="204"/>
                    </a:lnTo>
                    <a:lnTo>
                      <a:pt x="81" y="204"/>
                    </a:lnTo>
                    <a:lnTo>
                      <a:pt x="81" y="204"/>
                    </a:lnTo>
                    <a:lnTo>
                      <a:pt x="77" y="204"/>
                    </a:lnTo>
                    <a:lnTo>
                      <a:pt x="72" y="204"/>
                    </a:lnTo>
                    <a:lnTo>
                      <a:pt x="68" y="204"/>
                    </a:lnTo>
                    <a:lnTo>
                      <a:pt x="68" y="204"/>
                    </a:lnTo>
                    <a:lnTo>
                      <a:pt x="68" y="204"/>
                    </a:lnTo>
                    <a:lnTo>
                      <a:pt x="63" y="204"/>
                    </a:lnTo>
                    <a:lnTo>
                      <a:pt x="63" y="204"/>
                    </a:lnTo>
                    <a:lnTo>
                      <a:pt x="59" y="204"/>
                    </a:lnTo>
                    <a:lnTo>
                      <a:pt x="50" y="204"/>
                    </a:lnTo>
                    <a:lnTo>
                      <a:pt x="50" y="204"/>
                    </a:lnTo>
                    <a:lnTo>
                      <a:pt x="50" y="204"/>
                    </a:lnTo>
                    <a:lnTo>
                      <a:pt x="50" y="204"/>
                    </a:lnTo>
                    <a:lnTo>
                      <a:pt x="50" y="208"/>
                    </a:lnTo>
                    <a:lnTo>
                      <a:pt x="45" y="208"/>
                    </a:lnTo>
                    <a:lnTo>
                      <a:pt x="36" y="208"/>
                    </a:lnTo>
                    <a:lnTo>
                      <a:pt x="32" y="208"/>
                    </a:lnTo>
                    <a:lnTo>
                      <a:pt x="32" y="208"/>
                    </a:lnTo>
                    <a:lnTo>
                      <a:pt x="23" y="208"/>
                    </a:lnTo>
                    <a:lnTo>
                      <a:pt x="23" y="204"/>
                    </a:lnTo>
                    <a:lnTo>
                      <a:pt x="23" y="204"/>
                    </a:lnTo>
                    <a:lnTo>
                      <a:pt x="23" y="204"/>
                    </a:lnTo>
                    <a:lnTo>
                      <a:pt x="23" y="204"/>
                    </a:lnTo>
                    <a:lnTo>
                      <a:pt x="23" y="204"/>
                    </a:lnTo>
                    <a:lnTo>
                      <a:pt x="23" y="199"/>
                    </a:lnTo>
                    <a:lnTo>
                      <a:pt x="23" y="195"/>
                    </a:lnTo>
                    <a:lnTo>
                      <a:pt x="23" y="190"/>
                    </a:lnTo>
                    <a:lnTo>
                      <a:pt x="23" y="190"/>
                    </a:lnTo>
                    <a:lnTo>
                      <a:pt x="23" y="186"/>
                    </a:lnTo>
                    <a:lnTo>
                      <a:pt x="23" y="186"/>
                    </a:lnTo>
                    <a:lnTo>
                      <a:pt x="18" y="181"/>
                    </a:lnTo>
                    <a:lnTo>
                      <a:pt x="23" y="177"/>
                    </a:lnTo>
                    <a:lnTo>
                      <a:pt x="18" y="181"/>
                    </a:lnTo>
                    <a:lnTo>
                      <a:pt x="18" y="177"/>
                    </a:lnTo>
                    <a:lnTo>
                      <a:pt x="18" y="177"/>
                    </a:lnTo>
                    <a:lnTo>
                      <a:pt x="18" y="177"/>
                    </a:lnTo>
                    <a:lnTo>
                      <a:pt x="18" y="172"/>
                    </a:lnTo>
                    <a:lnTo>
                      <a:pt x="18" y="177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9" y="172"/>
                    </a:lnTo>
                    <a:lnTo>
                      <a:pt x="9" y="172"/>
                    </a:lnTo>
                    <a:lnTo>
                      <a:pt x="5" y="168"/>
                    </a:lnTo>
                    <a:lnTo>
                      <a:pt x="5" y="168"/>
                    </a:lnTo>
                    <a:lnTo>
                      <a:pt x="5" y="163"/>
                    </a:lnTo>
                    <a:lnTo>
                      <a:pt x="5" y="163"/>
                    </a:lnTo>
                    <a:lnTo>
                      <a:pt x="5" y="163"/>
                    </a:lnTo>
                    <a:lnTo>
                      <a:pt x="5" y="163"/>
                    </a:lnTo>
                    <a:lnTo>
                      <a:pt x="5" y="163"/>
                    </a:lnTo>
                    <a:lnTo>
                      <a:pt x="5" y="163"/>
                    </a:lnTo>
                    <a:lnTo>
                      <a:pt x="5" y="163"/>
                    </a:lnTo>
                    <a:lnTo>
                      <a:pt x="0" y="159"/>
                    </a:lnTo>
                    <a:lnTo>
                      <a:pt x="0" y="159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59"/>
                    </a:lnTo>
                    <a:lnTo>
                      <a:pt x="0" y="159"/>
                    </a:lnTo>
                    <a:lnTo>
                      <a:pt x="0" y="159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5" y="150"/>
                    </a:lnTo>
                    <a:lnTo>
                      <a:pt x="5" y="145"/>
                    </a:lnTo>
                    <a:lnTo>
                      <a:pt x="5" y="140"/>
                    </a:lnTo>
                    <a:lnTo>
                      <a:pt x="5" y="140"/>
                    </a:lnTo>
                    <a:lnTo>
                      <a:pt x="9" y="136"/>
                    </a:lnTo>
                    <a:lnTo>
                      <a:pt x="9" y="136"/>
                    </a:lnTo>
                    <a:lnTo>
                      <a:pt x="9" y="131"/>
                    </a:lnTo>
                    <a:lnTo>
                      <a:pt x="14" y="127"/>
                    </a:lnTo>
                    <a:lnTo>
                      <a:pt x="14" y="127"/>
                    </a:lnTo>
                    <a:lnTo>
                      <a:pt x="14" y="127"/>
                    </a:lnTo>
                    <a:lnTo>
                      <a:pt x="18" y="127"/>
                    </a:lnTo>
                    <a:lnTo>
                      <a:pt x="18" y="122"/>
                    </a:lnTo>
                    <a:lnTo>
                      <a:pt x="18" y="122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27" y="118"/>
                    </a:lnTo>
                    <a:lnTo>
                      <a:pt x="27" y="113"/>
                    </a:lnTo>
                    <a:lnTo>
                      <a:pt x="27" y="118"/>
                    </a:lnTo>
                    <a:lnTo>
                      <a:pt x="27" y="118"/>
                    </a:lnTo>
                    <a:lnTo>
                      <a:pt x="27" y="118"/>
                    </a:lnTo>
                    <a:lnTo>
                      <a:pt x="32" y="118"/>
                    </a:lnTo>
                    <a:lnTo>
                      <a:pt x="32" y="118"/>
                    </a:lnTo>
                    <a:lnTo>
                      <a:pt x="32" y="118"/>
                    </a:lnTo>
                    <a:lnTo>
                      <a:pt x="32" y="118"/>
                    </a:lnTo>
                    <a:lnTo>
                      <a:pt x="36" y="113"/>
                    </a:lnTo>
                    <a:lnTo>
                      <a:pt x="36" y="113"/>
                    </a:lnTo>
                    <a:lnTo>
                      <a:pt x="36" y="113"/>
                    </a:lnTo>
                    <a:lnTo>
                      <a:pt x="36" y="118"/>
                    </a:lnTo>
                    <a:lnTo>
                      <a:pt x="41" y="118"/>
                    </a:lnTo>
                    <a:lnTo>
                      <a:pt x="41" y="118"/>
                    </a:lnTo>
                    <a:lnTo>
                      <a:pt x="41" y="122"/>
                    </a:lnTo>
                    <a:lnTo>
                      <a:pt x="41" y="122"/>
                    </a:lnTo>
                    <a:lnTo>
                      <a:pt x="45" y="127"/>
                    </a:lnTo>
                    <a:lnTo>
                      <a:pt x="45" y="127"/>
                    </a:lnTo>
                    <a:lnTo>
                      <a:pt x="45" y="127"/>
                    </a:lnTo>
                    <a:lnTo>
                      <a:pt x="45" y="127"/>
                    </a:lnTo>
                    <a:lnTo>
                      <a:pt x="50" y="127"/>
                    </a:lnTo>
                    <a:lnTo>
                      <a:pt x="50" y="122"/>
                    </a:lnTo>
                    <a:lnTo>
                      <a:pt x="50" y="122"/>
                    </a:lnTo>
                    <a:lnTo>
                      <a:pt x="50" y="122"/>
                    </a:lnTo>
                    <a:lnTo>
                      <a:pt x="50" y="122"/>
                    </a:lnTo>
                    <a:lnTo>
                      <a:pt x="50" y="118"/>
                    </a:lnTo>
                    <a:lnTo>
                      <a:pt x="54" y="118"/>
                    </a:lnTo>
                    <a:lnTo>
                      <a:pt x="54" y="118"/>
                    </a:lnTo>
                    <a:lnTo>
                      <a:pt x="54" y="113"/>
                    </a:lnTo>
                    <a:lnTo>
                      <a:pt x="59" y="113"/>
                    </a:lnTo>
                    <a:lnTo>
                      <a:pt x="59" y="113"/>
                    </a:lnTo>
                    <a:lnTo>
                      <a:pt x="54" y="113"/>
                    </a:lnTo>
                    <a:lnTo>
                      <a:pt x="54" y="109"/>
                    </a:lnTo>
                    <a:lnTo>
                      <a:pt x="54" y="109"/>
                    </a:lnTo>
                    <a:lnTo>
                      <a:pt x="59" y="109"/>
                    </a:lnTo>
                    <a:lnTo>
                      <a:pt x="59" y="104"/>
                    </a:lnTo>
                    <a:lnTo>
                      <a:pt x="59" y="104"/>
                    </a:lnTo>
                    <a:lnTo>
                      <a:pt x="59" y="100"/>
                    </a:lnTo>
                    <a:lnTo>
                      <a:pt x="63" y="100"/>
                    </a:lnTo>
                    <a:lnTo>
                      <a:pt x="63" y="91"/>
                    </a:lnTo>
                    <a:lnTo>
                      <a:pt x="63" y="91"/>
                    </a:lnTo>
                    <a:lnTo>
                      <a:pt x="63" y="91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72" y="86"/>
                    </a:lnTo>
                    <a:lnTo>
                      <a:pt x="72" y="82"/>
                    </a:lnTo>
                    <a:lnTo>
                      <a:pt x="72" y="82"/>
                    </a:lnTo>
                    <a:lnTo>
                      <a:pt x="72" y="82"/>
                    </a:lnTo>
                    <a:lnTo>
                      <a:pt x="72" y="77"/>
                    </a:lnTo>
                    <a:lnTo>
                      <a:pt x="72" y="73"/>
                    </a:lnTo>
                    <a:lnTo>
                      <a:pt x="72" y="73"/>
                    </a:lnTo>
                    <a:lnTo>
                      <a:pt x="77" y="68"/>
                    </a:lnTo>
                    <a:lnTo>
                      <a:pt x="77" y="68"/>
                    </a:lnTo>
                    <a:lnTo>
                      <a:pt x="81" y="68"/>
                    </a:lnTo>
                    <a:lnTo>
                      <a:pt x="81" y="68"/>
                    </a:lnTo>
                    <a:lnTo>
                      <a:pt x="81" y="64"/>
                    </a:lnTo>
                    <a:lnTo>
                      <a:pt x="81" y="64"/>
                    </a:lnTo>
                    <a:lnTo>
                      <a:pt x="81" y="59"/>
                    </a:lnTo>
                    <a:lnTo>
                      <a:pt x="81" y="59"/>
                    </a:lnTo>
                    <a:lnTo>
                      <a:pt x="81" y="59"/>
                    </a:lnTo>
                    <a:lnTo>
                      <a:pt x="86" y="55"/>
                    </a:lnTo>
                    <a:lnTo>
                      <a:pt x="86" y="50"/>
                    </a:lnTo>
                    <a:lnTo>
                      <a:pt x="86" y="46"/>
                    </a:lnTo>
                    <a:lnTo>
                      <a:pt x="90" y="41"/>
                    </a:lnTo>
                    <a:lnTo>
                      <a:pt x="90" y="36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9" y="36"/>
                    </a:lnTo>
                    <a:lnTo>
                      <a:pt x="99" y="32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14"/>
                    </a:lnTo>
                    <a:lnTo>
                      <a:pt x="99" y="14"/>
                    </a:lnTo>
                    <a:lnTo>
                      <a:pt x="99" y="14"/>
                    </a:lnTo>
                    <a:lnTo>
                      <a:pt x="99" y="14"/>
                    </a:lnTo>
                    <a:lnTo>
                      <a:pt x="95" y="14"/>
                    </a:lnTo>
                    <a:lnTo>
                      <a:pt x="95" y="14"/>
                    </a:lnTo>
                    <a:lnTo>
                      <a:pt x="95" y="14"/>
                    </a:lnTo>
                    <a:lnTo>
                      <a:pt x="95" y="9"/>
                    </a:lnTo>
                    <a:lnTo>
                      <a:pt x="95" y="0"/>
                    </a:lnTo>
                    <a:lnTo>
                      <a:pt x="99" y="0"/>
                    </a:lnTo>
                    <a:lnTo>
                      <a:pt x="104" y="0"/>
                    </a:lnTo>
                    <a:lnTo>
                      <a:pt x="104" y="5"/>
                    </a:lnTo>
                    <a:lnTo>
                      <a:pt x="104" y="5"/>
                    </a:lnTo>
                    <a:lnTo>
                      <a:pt x="104" y="9"/>
                    </a:lnTo>
                    <a:lnTo>
                      <a:pt x="108" y="9"/>
                    </a:lnTo>
                    <a:lnTo>
                      <a:pt x="108" y="14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13" y="23"/>
                    </a:lnTo>
                    <a:lnTo>
                      <a:pt x="113" y="23"/>
                    </a:lnTo>
                    <a:lnTo>
                      <a:pt x="113" y="27"/>
                    </a:lnTo>
                    <a:lnTo>
                      <a:pt x="113" y="27"/>
                    </a:lnTo>
                    <a:lnTo>
                      <a:pt x="113" y="32"/>
                    </a:lnTo>
                    <a:lnTo>
                      <a:pt x="113" y="32"/>
                    </a:lnTo>
                    <a:lnTo>
                      <a:pt x="113" y="36"/>
                    </a:lnTo>
                    <a:lnTo>
                      <a:pt x="113" y="36"/>
                    </a:lnTo>
                    <a:lnTo>
                      <a:pt x="113" y="41"/>
                    </a:lnTo>
                    <a:lnTo>
                      <a:pt x="113" y="46"/>
                    </a:lnTo>
                    <a:lnTo>
                      <a:pt x="113" y="50"/>
                    </a:lnTo>
                    <a:lnTo>
                      <a:pt x="118" y="55"/>
                    </a:lnTo>
                    <a:lnTo>
                      <a:pt x="118" y="55"/>
                    </a:lnTo>
                    <a:lnTo>
                      <a:pt x="122" y="59"/>
                    </a:lnTo>
                    <a:lnTo>
                      <a:pt x="122" y="5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15" name="Freeform 36"/>
              <p:cNvSpPr>
                <a:spLocks/>
              </p:cNvSpPr>
              <p:nvPr/>
            </p:nvSpPr>
            <p:spPr bwMode="auto">
              <a:xfrm>
                <a:off x="4606926" y="2787651"/>
                <a:ext cx="531813" cy="566738"/>
              </a:xfrm>
              <a:custGeom>
                <a:avLst/>
                <a:gdLst>
                  <a:gd name="T0" fmla="*/ 267 w 335"/>
                  <a:gd name="T1" fmla="*/ 9 h 357"/>
                  <a:gd name="T2" fmla="*/ 280 w 335"/>
                  <a:gd name="T3" fmla="*/ 18 h 357"/>
                  <a:gd name="T4" fmla="*/ 294 w 335"/>
                  <a:gd name="T5" fmla="*/ 18 h 357"/>
                  <a:gd name="T6" fmla="*/ 312 w 335"/>
                  <a:gd name="T7" fmla="*/ 27 h 357"/>
                  <a:gd name="T8" fmla="*/ 326 w 335"/>
                  <a:gd name="T9" fmla="*/ 36 h 357"/>
                  <a:gd name="T10" fmla="*/ 326 w 335"/>
                  <a:gd name="T11" fmla="*/ 45 h 357"/>
                  <a:gd name="T12" fmla="*/ 330 w 335"/>
                  <a:gd name="T13" fmla="*/ 59 h 357"/>
                  <a:gd name="T14" fmla="*/ 326 w 335"/>
                  <a:gd name="T15" fmla="*/ 72 h 357"/>
                  <a:gd name="T16" fmla="*/ 312 w 335"/>
                  <a:gd name="T17" fmla="*/ 90 h 357"/>
                  <a:gd name="T18" fmla="*/ 303 w 335"/>
                  <a:gd name="T19" fmla="*/ 113 h 357"/>
                  <a:gd name="T20" fmla="*/ 298 w 335"/>
                  <a:gd name="T21" fmla="*/ 131 h 357"/>
                  <a:gd name="T22" fmla="*/ 294 w 335"/>
                  <a:gd name="T23" fmla="*/ 145 h 357"/>
                  <a:gd name="T24" fmla="*/ 294 w 335"/>
                  <a:gd name="T25" fmla="*/ 158 h 357"/>
                  <a:gd name="T26" fmla="*/ 298 w 335"/>
                  <a:gd name="T27" fmla="*/ 181 h 357"/>
                  <a:gd name="T28" fmla="*/ 303 w 335"/>
                  <a:gd name="T29" fmla="*/ 203 h 357"/>
                  <a:gd name="T30" fmla="*/ 308 w 335"/>
                  <a:gd name="T31" fmla="*/ 226 h 357"/>
                  <a:gd name="T32" fmla="*/ 321 w 335"/>
                  <a:gd name="T33" fmla="*/ 253 h 357"/>
                  <a:gd name="T34" fmla="*/ 289 w 335"/>
                  <a:gd name="T35" fmla="*/ 262 h 357"/>
                  <a:gd name="T36" fmla="*/ 280 w 335"/>
                  <a:gd name="T37" fmla="*/ 276 h 357"/>
                  <a:gd name="T38" fmla="*/ 285 w 335"/>
                  <a:gd name="T39" fmla="*/ 307 h 357"/>
                  <a:gd name="T40" fmla="*/ 285 w 335"/>
                  <a:gd name="T41" fmla="*/ 326 h 357"/>
                  <a:gd name="T42" fmla="*/ 298 w 335"/>
                  <a:gd name="T43" fmla="*/ 335 h 357"/>
                  <a:gd name="T44" fmla="*/ 303 w 335"/>
                  <a:gd name="T45" fmla="*/ 344 h 357"/>
                  <a:gd name="T46" fmla="*/ 298 w 335"/>
                  <a:gd name="T47" fmla="*/ 353 h 357"/>
                  <a:gd name="T48" fmla="*/ 289 w 335"/>
                  <a:gd name="T49" fmla="*/ 348 h 357"/>
                  <a:gd name="T50" fmla="*/ 280 w 335"/>
                  <a:gd name="T51" fmla="*/ 339 h 357"/>
                  <a:gd name="T52" fmla="*/ 262 w 335"/>
                  <a:gd name="T53" fmla="*/ 326 h 357"/>
                  <a:gd name="T54" fmla="*/ 253 w 335"/>
                  <a:gd name="T55" fmla="*/ 326 h 357"/>
                  <a:gd name="T56" fmla="*/ 231 w 335"/>
                  <a:gd name="T57" fmla="*/ 321 h 357"/>
                  <a:gd name="T58" fmla="*/ 226 w 335"/>
                  <a:gd name="T59" fmla="*/ 312 h 357"/>
                  <a:gd name="T60" fmla="*/ 213 w 335"/>
                  <a:gd name="T61" fmla="*/ 316 h 357"/>
                  <a:gd name="T62" fmla="*/ 204 w 335"/>
                  <a:gd name="T63" fmla="*/ 307 h 357"/>
                  <a:gd name="T64" fmla="*/ 186 w 335"/>
                  <a:gd name="T65" fmla="*/ 312 h 357"/>
                  <a:gd name="T66" fmla="*/ 172 w 335"/>
                  <a:gd name="T67" fmla="*/ 307 h 357"/>
                  <a:gd name="T68" fmla="*/ 167 w 335"/>
                  <a:gd name="T69" fmla="*/ 285 h 357"/>
                  <a:gd name="T70" fmla="*/ 167 w 335"/>
                  <a:gd name="T71" fmla="*/ 240 h 357"/>
                  <a:gd name="T72" fmla="*/ 145 w 335"/>
                  <a:gd name="T73" fmla="*/ 235 h 357"/>
                  <a:gd name="T74" fmla="*/ 127 w 335"/>
                  <a:gd name="T75" fmla="*/ 240 h 357"/>
                  <a:gd name="T76" fmla="*/ 109 w 335"/>
                  <a:gd name="T77" fmla="*/ 253 h 357"/>
                  <a:gd name="T78" fmla="*/ 91 w 335"/>
                  <a:gd name="T79" fmla="*/ 253 h 357"/>
                  <a:gd name="T80" fmla="*/ 82 w 335"/>
                  <a:gd name="T81" fmla="*/ 231 h 357"/>
                  <a:gd name="T82" fmla="*/ 73 w 335"/>
                  <a:gd name="T83" fmla="*/ 212 h 357"/>
                  <a:gd name="T84" fmla="*/ 32 w 335"/>
                  <a:gd name="T85" fmla="*/ 212 h 357"/>
                  <a:gd name="T86" fmla="*/ 9 w 335"/>
                  <a:gd name="T87" fmla="*/ 212 h 357"/>
                  <a:gd name="T88" fmla="*/ 5 w 335"/>
                  <a:gd name="T89" fmla="*/ 208 h 357"/>
                  <a:gd name="T90" fmla="*/ 5 w 335"/>
                  <a:gd name="T91" fmla="*/ 194 h 357"/>
                  <a:gd name="T92" fmla="*/ 18 w 335"/>
                  <a:gd name="T93" fmla="*/ 190 h 357"/>
                  <a:gd name="T94" fmla="*/ 27 w 335"/>
                  <a:gd name="T95" fmla="*/ 185 h 357"/>
                  <a:gd name="T96" fmla="*/ 36 w 335"/>
                  <a:gd name="T97" fmla="*/ 181 h 357"/>
                  <a:gd name="T98" fmla="*/ 41 w 335"/>
                  <a:gd name="T99" fmla="*/ 194 h 357"/>
                  <a:gd name="T100" fmla="*/ 55 w 335"/>
                  <a:gd name="T101" fmla="*/ 181 h 357"/>
                  <a:gd name="T102" fmla="*/ 68 w 335"/>
                  <a:gd name="T103" fmla="*/ 149 h 357"/>
                  <a:gd name="T104" fmla="*/ 82 w 335"/>
                  <a:gd name="T105" fmla="*/ 122 h 357"/>
                  <a:gd name="T106" fmla="*/ 100 w 335"/>
                  <a:gd name="T107" fmla="*/ 81 h 357"/>
                  <a:gd name="T108" fmla="*/ 113 w 335"/>
                  <a:gd name="T109" fmla="*/ 36 h 357"/>
                  <a:gd name="T110" fmla="*/ 127 w 335"/>
                  <a:gd name="T111" fmla="*/ 5 h 357"/>
                  <a:gd name="T112" fmla="*/ 149 w 335"/>
                  <a:gd name="T113" fmla="*/ 18 h 357"/>
                  <a:gd name="T114" fmla="*/ 181 w 335"/>
                  <a:gd name="T115" fmla="*/ 23 h 357"/>
                  <a:gd name="T116" fmla="*/ 195 w 335"/>
                  <a:gd name="T117" fmla="*/ 14 h 357"/>
                  <a:gd name="T118" fmla="*/ 222 w 335"/>
                  <a:gd name="T119" fmla="*/ 9 h 357"/>
                  <a:gd name="T120" fmla="*/ 253 w 335"/>
                  <a:gd name="T121" fmla="*/ 5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35" h="357">
                    <a:moveTo>
                      <a:pt x="253" y="5"/>
                    </a:moveTo>
                    <a:lnTo>
                      <a:pt x="253" y="5"/>
                    </a:lnTo>
                    <a:lnTo>
                      <a:pt x="253" y="5"/>
                    </a:lnTo>
                    <a:lnTo>
                      <a:pt x="258" y="5"/>
                    </a:lnTo>
                    <a:lnTo>
                      <a:pt x="258" y="5"/>
                    </a:lnTo>
                    <a:lnTo>
                      <a:pt x="258" y="5"/>
                    </a:lnTo>
                    <a:lnTo>
                      <a:pt x="262" y="5"/>
                    </a:lnTo>
                    <a:lnTo>
                      <a:pt x="267" y="5"/>
                    </a:lnTo>
                    <a:lnTo>
                      <a:pt x="267" y="9"/>
                    </a:lnTo>
                    <a:lnTo>
                      <a:pt x="267" y="9"/>
                    </a:lnTo>
                    <a:lnTo>
                      <a:pt x="271" y="9"/>
                    </a:lnTo>
                    <a:lnTo>
                      <a:pt x="271" y="14"/>
                    </a:lnTo>
                    <a:lnTo>
                      <a:pt x="271" y="14"/>
                    </a:lnTo>
                    <a:lnTo>
                      <a:pt x="271" y="14"/>
                    </a:lnTo>
                    <a:lnTo>
                      <a:pt x="271" y="14"/>
                    </a:lnTo>
                    <a:lnTo>
                      <a:pt x="276" y="18"/>
                    </a:lnTo>
                    <a:lnTo>
                      <a:pt x="276" y="18"/>
                    </a:lnTo>
                    <a:lnTo>
                      <a:pt x="276" y="18"/>
                    </a:lnTo>
                    <a:lnTo>
                      <a:pt x="276" y="18"/>
                    </a:lnTo>
                    <a:lnTo>
                      <a:pt x="280" y="18"/>
                    </a:lnTo>
                    <a:lnTo>
                      <a:pt x="280" y="18"/>
                    </a:lnTo>
                    <a:lnTo>
                      <a:pt x="280" y="18"/>
                    </a:lnTo>
                    <a:lnTo>
                      <a:pt x="280" y="23"/>
                    </a:lnTo>
                    <a:lnTo>
                      <a:pt x="285" y="23"/>
                    </a:lnTo>
                    <a:lnTo>
                      <a:pt x="285" y="18"/>
                    </a:lnTo>
                    <a:lnTo>
                      <a:pt x="285" y="18"/>
                    </a:lnTo>
                    <a:lnTo>
                      <a:pt x="289" y="18"/>
                    </a:lnTo>
                    <a:lnTo>
                      <a:pt x="294" y="18"/>
                    </a:lnTo>
                    <a:lnTo>
                      <a:pt x="294" y="18"/>
                    </a:lnTo>
                    <a:lnTo>
                      <a:pt x="294" y="18"/>
                    </a:lnTo>
                    <a:lnTo>
                      <a:pt x="298" y="18"/>
                    </a:lnTo>
                    <a:lnTo>
                      <a:pt x="298" y="18"/>
                    </a:lnTo>
                    <a:lnTo>
                      <a:pt x="303" y="14"/>
                    </a:lnTo>
                    <a:lnTo>
                      <a:pt x="303" y="14"/>
                    </a:lnTo>
                    <a:lnTo>
                      <a:pt x="303" y="14"/>
                    </a:lnTo>
                    <a:lnTo>
                      <a:pt x="308" y="18"/>
                    </a:lnTo>
                    <a:lnTo>
                      <a:pt x="308" y="23"/>
                    </a:lnTo>
                    <a:lnTo>
                      <a:pt x="308" y="23"/>
                    </a:lnTo>
                    <a:lnTo>
                      <a:pt x="312" y="23"/>
                    </a:lnTo>
                    <a:lnTo>
                      <a:pt x="312" y="27"/>
                    </a:lnTo>
                    <a:lnTo>
                      <a:pt x="317" y="27"/>
                    </a:lnTo>
                    <a:lnTo>
                      <a:pt x="321" y="32"/>
                    </a:lnTo>
                    <a:lnTo>
                      <a:pt x="321" y="32"/>
                    </a:lnTo>
                    <a:lnTo>
                      <a:pt x="321" y="32"/>
                    </a:lnTo>
                    <a:lnTo>
                      <a:pt x="321" y="32"/>
                    </a:lnTo>
                    <a:lnTo>
                      <a:pt x="321" y="32"/>
                    </a:lnTo>
                    <a:lnTo>
                      <a:pt x="321" y="32"/>
                    </a:lnTo>
                    <a:lnTo>
                      <a:pt x="321" y="32"/>
                    </a:lnTo>
                    <a:lnTo>
                      <a:pt x="326" y="32"/>
                    </a:lnTo>
                    <a:lnTo>
                      <a:pt x="326" y="36"/>
                    </a:lnTo>
                    <a:lnTo>
                      <a:pt x="326" y="36"/>
                    </a:lnTo>
                    <a:lnTo>
                      <a:pt x="326" y="36"/>
                    </a:lnTo>
                    <a:lnTo>
                      <a:pt x="326" y="36"/>
                    </a:lnTo>
                    <a:lnTo>
                      <a:pt x="326" y="36"/>
                    </a:lnTo>
                    <a:lnTo>
                      <a:pt x="326" y="41"/>
                    </a:lnTo>
                    <a:lnTo>
                      <a:pt x="326" y="41"/>
                    </a:lnTo>
                    <a:lnTo>
                      <a:pt x="326" y="41"/>
                    </a:lnTo>
                    <a:lnTo>
                      <a:pt x="326" y="45"/>
                    </a:lnTo>
                    <a:lnTo>
                      <a:pt x="326" y="45"/>
                    </a:lnTo>
                    <a:lnTo>
                      <a:pt x="326" y="45"/>
                    </a:lnTo>
                    <a:lnTo>
                      <a:pt x="326" y="45"/>
                    </a:lnTo>
                    <a:lnTo>
                      <a:pt x="326" y="45"/>
                    </a:lnTo>
                    <a:lnTo>
                      <a:pt x="326" y="50"/>
                    </a:lnTo>
                    <a:lnTo>
                      <a:pt x="326" y="50"/>
                    </a:lnTo>
                    <a:lnTo>
                      <a:pt x="326" y="54"/>
                    </a:lnTo>
                    <a:lnTo>
                      <a:pt x="326" y="54"/>
                    </a:lnTo>
                    <a:lnTo>
                      <a:pt x="326" y="59"/>
                    </a:lnTo>
                    <a:lnTo>
                      <a:pt x="330" y="59"/>
                    </a:lnTo>
                    <a:lnTo>
                      <a:pt x="330" y="59"/>
                    </a:lnTo>
                    <a:lnTo>
                      <a:pt x="330" y="59"/>
                    </a:lnTo>
                    <a:lnTo>
                      <a:pt x="330" y="59"/>
                    </a:lnTo>
                    <a:lnTo>
                      <a:pt x="330" y="59"/>
                    </a:lnTo>
                    <a:lnTo>
                      <a:pt x="330" y="59"/>
                    </a:lnTo>
                    <a:lnTo>
                      <a:pt x="330" y="59"/>
                    </a:lnTo>
                    <a:lnTo>
                      <a:pt x="335" y="59"/>
                    </a:lnTo>
                    <a:lnTo>
                      <a:pt x="335" y="63"/>
                    </a:lnTo>
                    <a:lnTo>
                      <a:pt x="335" y="63"/>
                    </a:lnTo>
                    <a:lnTo>
                      <a:pt x="335" y="63"/>
                    </a:lnTo>
                    <a:lnTo>
                      <a:pt x="330" y="68"/>
                    </a:lnTo>
                    <a:lnTo>
                      <a:pt x="326" y="72"/>
                    </a:lnTo>
                    <a:lnTo>
                      <a:pt x="321" y="77"/>
                    </a:lnTo>
                    <a:lnTo>
                      <a:pt x="321" y="77"/>
                    </a:lnTo>
                    <a:lnTo>
                      <a:pt x="317" y="81"/>
                    </a:lnTo>
                    <a:lnTo>
                      <a:pt x="317" y="81"/>
                    </a:lnTo>
                    <a:lnTo>
                      <a:pt x="317" y="81"/>
                    </a:lnTo>
                    <a:lnTo>
                      <a:pt x="312" y="86"/>
                    </a:lnTo>
                    <a:lnTo>
                      <a:pt x="312" y="86"/>
                    </a:lnTo>
                    <a:lnTo>
                      <a:pt x="312" y="86"/>
                    </a:lnTo>
                    <a:lnTo>
                      <a:pt x="312" y="90"/>
                    </a:lnTo>
                    <a:lnTo>
                      <a:pt x="312" y="90"/>
                    </a:lnTo>
                    <a:lnTo>
                      <a:pt x="308" y="95"/>
                    </a:lnTo>
                    <a:lnTo>
                      <a:pt x="308" y="95"/>
                    </a:lnTo>
                    <a:lnTo>
                      <a:pt x="308" y="99"/>
                    </a:lnTo>
                    <a:lnTo>
                      <a:pt x="308" y="99"/>
                    </a:lnTo>
                    <a:lnTo>
                      <a:pt x="308" y="99"/>
                    </a:lnTo>
                    <a:lnTo>
                      <a:pt x="308" y="104"/>
                    </a:lnTo>
                    <a:lnTo>
                      <a:pt x="308" y="104"/>
                    </a:lnTo>
                    <a:lnTo>
                      <a:pt x="303" y="108"/>
                    </a:lnTo>
                    <a:lnTo>
                      <a:pt x="303" y="113"/>
                    </a:lnTo>
                    <a:lnTo>
                      <a:pt x="303" y="113"/>
                    </a:lnTo>
                    <a:lnTo>
                      <a:pt x="303" y="118"/>
                    </a:lnTo>
                    <a:lnTo>
                      <a:pt x="303" y="118"/>
                    </a:lnTo>
                    <a:lnTo>
                      <a:pt x="303" y="122"/>
                    </a:lnTo>
                    <a:lnTo>
                      <a:pt x="303" y="122"/>
                    </a:lnTo>
                    <a:lnTo>
                      <a:pt x="303" y="127"/>
                    </a:lnTo>
                    <a:lnTo>
                      <a:pt x="303" y="127"/>
                    </a:lnTo>
                    <a:lnTo>
                      <a:pt x="303" y="127"/>
                    </a:lnTo>
                    <a:lnTo>
                      <a:pt x="303" y="131"/>
                    </a:lnTo>
                    <a:lnTo>
                      <a:pt x="298" y="131"/>
                    </a:lnTo>
                    <a:lnTo>
                      <a:pt x="298" y="131"/>
                    </a:lnTo>
                    <a:lnTo>
                      <a:pt x="298" y="131"/>
                    </a:lnTo>
                    <a:lnTo>
                      <a:pt x="298" y="136"/>
                    </a:lnTo>
                    <a:lnTo>
                      <a:pt x="294" y="136"/>
                    </a:lnTo>
                    <a:lnTo>
                      <a:pt x="294" y="136"/>
                    </a:lnTo>
                    <a:lnTo>
                      <a:pt x="294" y="140"/>
                    </a:lnTo>
                    <a:lnTo>
                      <a:pt x="294" y="140"/>
                    </a:lnTo>
                    <a:lnTo>
                      <a:pt x="294" y="145"/>
                    </a:lnTo>
                    <a:lnTo>
                      <a:pt x="294" y="145"/>
                    </a:lnTo>
                    <a:lnTo>
                      <a:pt x="294" y="145"/>
                    </a:lnTo>
                    <a:lnTo>
                      <a:pt x="294" y="145"/>
                    </a:lnTo>
                    <a:lnTo>
                      <a:pt x="289" y="149"/>
                    </a:lnTo>
                    <a:lnTo>
                      <a:pt x="289" y="149"/>
                    </a:lnTo>
                    <a:lnTo>
                      <a:pt x="289" y="149"/>
                    </a:lnTo>
                    <a:lnTo>
                      <a:pt x="289" y="154"/>
                    </a:lnTo>
                    <a:lnTo>
                      <a:pt x="294" y="154"/>
                    </a:lnTo>
                    <a:lnTo>
                      <a:pt x="294" y="154"/>
                    </a:lnTo>
                    <a:lnTo>
                      <a:pt x="294" y="154"/>
                    </a:lnTo>
                    <a:lnTo>
                      <a:pt x="294" y="154"/>
                    </a:lnTo>
                    <a:lnTo>
                      <a:pt x="294" y="154"/>
                    </a:lnTo>
                    <a:lnTo>
                      <a:pt x="294" y="158"/>
                    </a:lnTo>
                    <a:lnTo>
                      <a:pt x="298" y="158"/>
                    </a:lnTo>
                    <a:lnTo>
                      <a:pt x="298" y="163"/>
                    </a:lnTo>
                    <a:lnTo>
                      <a:pt x="298" y="163"/>
                    </a:lnTo>
                    <a:lnTo>
                      <a:pt x="298" y="167"/>
                    </a:lnTo>
                    <a:lnTo>
                      <a:pt x="298" y="167"/>
                    </a:lnTo>
                    <a:lnTo>
                      <a:pt x="298" y="172"/>
                    </a:lnTo>
                    <a:lnTo>
                      <a:pt x="298" y="176"/>
                    </a:lnTo>
                    <a:lnTo>
                      <a:pt x="298" y="176"/>
                    </a:lnTo>
                    <a:lnTo>
                      <a:pt x="298" y="181"/>
                    </a:lnTo>
                    <a:lnTo>
                      <a:pt x="298" y="181"/>
                    </a:lnTo>
                    <a:lnTo>
                      <a:pt x="298" y="185"/>
                    </a:lnTo>
                    <a:lnTo>
                      <a:pt x="298" y="185"/>
                    </a:lnTo>
                    <a:lnTo>
                      <a:pt x="298" y="190"/>
                    </a:lnTo>
                    <a:lnTo>
                      <a:pt x="298" y="194"/>
                    </a:lnTo>
                    <a:lnTo>
                      <a:pt x="298" y="194"/>
                    </a:lnTo>
                    <a:lnTo>
                      <a:pt x="298" y="194"/>
                    </a:lnTo>
                    <a:lnTo>
                      <a:pt x="298" y="199"/>
                    </a:lnTo>
                    <a:lnTo>
                      <a:pt x="303" y="203"/>
                    </a:lnTo>
                    <a:lnTo>
                      <a:pt x="303" y="203"/>
                    </a:lnTo>
                    <a:lnTo>
                      <a:pt x="303" y="203"/>
                    </a:lnTo>
                    <a:lnTo>
                      <a:pt x="303" y="208"/>
                    </a:lnTo>
                    <a:lnTo>
                      <a:pt x="303" y="208"/>
                    </a:lnTo>
                    <a:lnTo>
                      <a:pt x="303" y="212"/>
                    </a:lnTo>
                    <a:lnTo>
                      <a:pt x="303" y="212"/>
                    </a:lnTo>
                    <a:lnTo>
                      <a:pt x="303" y="217"/>
                    </a:lnTo>
                    <a:lnTo>
                      <a:pt x="303" y="217"/>
                    </a:lnTo>
                    <a:lnTo>
                      <a:pt x="303" y="222"/>
                    </a:lnTo>
                    <a:lnTo>
                      <a:pt x="303" y="222"/>
                    </a:lnTo>
                    <a:lnTo>
                      <a:pt x="303" y="226"/>
                    </a:lnTo>
                    <a:lnTo>
                      <a:pt x="308" y="226"/>
                    </a:lnTo>
                    <a:lnTo>
                      <a:pt x="308" y="231"/>
                    </a:lnTo>
                    <a:lnTo>
                      <a:pt x="312" y="231"/>
                    </a:lnTo>
                    <a:lnTo>
                      <a:pt x="312" y="235"/>
                    </a:lnTo>
                    <a:lnTo>
                      <a:pt x="312" y="235"/>
                    </a:lnTo>
                    <a:lnTo>
                      <a:pt x="317" y="240"/>
                    </a:lnTo>
                    <a:lnTo>
                      <a:pt x="317" y="240"/>
                    </a:lnTo>
                    <a:lnTo>
                      <a:pt x="317" y="244"/>
                    </a:lnTo>
                    <a:lnTo>
                      <a:pt x="317" y="244"/>
                    </a:lnTo>
                    <a:lnTo>
                      <a:pt x="321" y="249"/>
                    </a:lnTo>
                    <a:lnTo>
                      <a:pt x="321" y="253"/>
                    </a:lnTo>
                    <a:lnTo>
                      <a:pt x="321" y="253"/>
                    </a:lnTo>
                    <a:lnTo>
                      <a:pt x="321" y="258"/>
                    </a:lnTo>
                    <a:lnTo>
                      <a:pt x="321" y="258"/>
                    </a:lnTo>
                    <a:lnTo>
                      <a:pt x="317" y="258"/>
                    </a:lnTo>
                    <a:lnTo>
                      <a:pt x="312" y="258"/>
                    </a:lnTo>
                    <a:lnTo>
                      <a:pt x="308" y="258"/>
                    </a:lnTo>
                    <a:lnTo>
                      <a:pt x="298" y="258"/>
                    </a:lnTo>
                    <a:lnTo>
                      <a:pt x="294" y="262"/>
                    </a:lnTo>
                    <a:lnTo>
                      <a:pt x="294" y="262"/>
                    </a:lnTo>
                    <a:lnTo>
                      <a:pt x="289" y="262"/>
                    </a:lnTo>
                    <a:lnTo>
                      <a:pt x="289" y="262"/>
                    </a:lnTo>
                    <a:lnTo>
                      <a:pt x="289" y="267"/>
                    </a:lnTo>
                    <a:lnTo>
                      <a:pt x="289" y="267"/>
                    </a:lnTo>
                    <a:lnTo>
                      <a:pt x="289" y="271"/>
                    </a:lnTo>
                    <a:lnTo>
                      <a:pt x="289" y="271"/>
                    </a:lnTo>
                    <a:lnTo>
                      <a:pt x="285" y="271"/>
                    </a:lnTo>
                    <a:lnTo>
                      <a:pt x="285" y="271"/>
                    </a:lnTo>
                    <a:lnTo>
                      <a:pt x="285" y="276"/>
                    </a:lnTo>
                    <a:lnTo>
                      <a:pt x="280" y="276"/>
                    </a:lnTo>
                    <a:lnTo>
                      <a:pt x="280" y="276"/>
                    </a:lnTo>
                    <a:lnTo>
                      <a:pt x="285" y="280"/>
                    </a:lnTo>
                    <a:lnTo>
                      <a:pt x="285" y="285"/>
                    </a:lnTo>
                    <a:lnTo>
                      <a:pt x="285" y="285"/>
                    </a:lnTo>
                    <a:lnTo>
                      <a:pt x="285" y="289"/>
                    </a:lnTo>
                    <a:lnTo>
                      <a:pt x="285" y="294"/>
                    </a:lnTo>
                    <a:lnTo>
                      <a:pt x="285" y="294"/>
                    </a:lnTo>
                    <a:lnTo>
                      <a:pt x="285" y="298"/>
                    </a:lnTo>
                    <a:lnTo>
                      <a:pt x="285" y="298"/>
                    </a:lnTo>
                    <a:lnTo>
                      <a:pt x="285" y="303"/>
                    </a:lnTo>
                    <a:lnTo>
                      <a:pt x="285" y="307"/>
                    </a:lnTo>
                    <a:lnTo>
                      <a:pt x="285" y="307"/>
                    </a:lnTo>
                    <a:lnTo>
                      <a:pt x="280" y="312"/>
                    </a:lnTo>
                    <a:lnTo>
                      <a:pt x="280" y="316"/>
                    </a:lnTo>
                    <a:lnTo>
                      <a:pt x="280" y="316"/>
                    </a:lnTo>
                    <a:lnTo>
                      <a:pt x="280" y="321"/>
                    </a:lnTo>
                    <a:lnTo>
                      <a:pt x="280" y="321"/>
                    </a:lnTo>
                    <a:lnTo>
                      <a:pt x="280" y="321"/>
                    </a:lnTo>
                    <a:lnTo>
                      <a:pt x="280" y="326"/>
                    </a:lnTo>
                    <a:lnTo>
                      <a:pt x="285" y="326"/>
                    </a:lnTo>
                    <a:lnTo>
                      <a:pt x="285" y="326"/>
                    </a:lnTo>
                    <a:lnTo>
                      <a:pt x="285" y="330"/>
                    </a:lnTo>
                    <a:lnTo>
                      <a:pt x="289" y="330"/>
                    </a:lnTo>
                    <a:lnTo>
                      <a:pt x="289" y="335"/>
                    </a:lnTo>
                    <a:lnTo>
                      <a:pt x="289" y="335"/>
                    </a:lnTo>
                    <a:lnTo>
                      <a:pt x="294" y="335"/>
                    </a:lnTo>
                    <a:lnTo>
                      <a:pt x="298" y="335"/>
                    </a:lnTo>
                    <a:lnTo>
                      <a:pt x="298" y="335"/>
                    </a:lnTo>
                    <a:lnTo>
                      <a:pt x="298" y="335"/>
                    </a:lnTo>
                    <a:lnTo>
                      <a:pt x="298" y="335"/>
                    </a:lnTo>
                    <a:lnTo>
                      <a:pt x="298" y="335"/>
                    </a:lnTo>
                    <a:lnTo>
                      <a:pt x="298" y="335"/>
                    </a:lnTo>
                    <a:lnTo>
                      <a:pt x="298" y="330"/>
                    </a:lnTo>
                    <a:lnTo>
                      <a:pt x="298" y="330"/>
                    </a:lnTo>
                    <a:lnTo>
                      <a:pt x="303" y="330"/>
                    </a:lnTo>
                    <a:lnTo>
                      <a:pt x="303" y="330"/>
                    </a:lnTo>
                    <a:lnTo>
                      <a:pt x="303" y="330"/>
                    </a:lnTo>
                    <a:lnTo>
                      <a:pt x="303" y="335"/>
                    </a:lnTo>
                    <a:lnTo>
                      <a:pt x="303" y="335"/>
                    </a:lnTo>
                    <a:lnTo>
                      <a:pt x="303" y="339"/>
                    </a:lnTo>
                    <a:lnTo>
                      <a:pt x="303" y="344"/>
                    </a:lnTo>
                    <a:lnTo>
                      <a:pt x="303" y="348"/>
                    </a:lnTo>
                    <a:lnTo>
                      <a:pt x="303" y="348"/>
                    </a:lnTo>
                    <a:lnTo>
                      <a:pt x="303" y="353"/>
                    </a:lnTo>
                    <a:lnTo>
                      <a:pt x="303" y="353"/>
                    </a:lnTo>
                    <a:lnTo>
                      <a:pt x="303" y="357"/>
                    </a:lnTo>
                    <a:lnTo>
                      <a:pt x="303" y="357"/>
                    </a:lnTo>
                    <a:lnTo>
                      <a:pt x="303" y="353"/>
                    </a:lnTo>
                    <a:lnTo>
                      <a:pt x="303" y="353"/>
                    </a:lnTo>
                    <a:lnTo>
                      <a:pt x="303" y="353"/>
                    </a:lnTo>
                    <a:lnTo>
                      <a:pt x="298" y="353"/>
                    </a:lnTo>
                    <a:lnTo>
                      <a:pt x="298" y="353"/>
                    </a:lnTo>
                    <a:lnTo>
                      <a:pt x="298" y="353"/>
                    </a:lnTo>
                    <a:lnTo>
                      <a:pt x="298" y="353"/>
                    </a:lnTo>
                    <a:lnTo>
                      <a:pt x="294" y="353"/>
                    </a:lnTo>
                    <a:lnTo>
                      <a:pt x="294" y="353"/>
                    </a:lnTo>
                    <a:lnTo>
                      <a:pt x="294" y="353"/>
                    </a:lnTo>
                    <a:lnTo>
                      <a:pt x="289" y="353"/>
                    </a:lnTo>
                    <a:lnTo>
                      <a:pt x="289" y="353"/>
                    </a:lnTo>
                    <a:lnTo>
                      <a:pt x="289" y="353"/>
                    </a:lnTo>
                    <a:lnTo>
                      <a:pt x="289" y="348"/>
                    </a:lnTo>
                    <a:lnTo>
                      <a:pt x="285" y="348"/>
                    </a:lnTo>
                    <a:lnTo>
                      <a:pt x="285" y="344"/>
                    </a:lnTo>
                    <a:lnTo>
                      <a:pt x="285" y="344"/>
                    </a:lnTo>
                    <a:lnTo>
                      <a:pt x="285" y="344"/>
                    </a:lnTo>
                    <a:lnTo>
                      <a:pt x="280" y="344"/>
                    </a:lnTo>
                    <a:lnTo>
                      <a:pt x="280" y="344"/>
                    </a:lnTo>
                    <a:lnTo>
                      <a:pt x="280" y="339"/>
                    </a:lnTo>
                    <a:lnTo>
                      <a:pt x="280" y="339"/>
                    </a:lnTo>
                    <a:lnTo>
                      <a:pt x="280" y="339"/>
                    </a:lnTo>
                    <a:lnTo>
                      <a:pt x="280" y="339"/>
                    </a:lnTo>
                    <a:lnTo>
                      <a:pt x="276" y="335"/>
                    </a:lnTo>
                    <a:lnTo>
                      <a:pt x="276" y="335"/>
                    </a:lnTo>
                    <a:lnTo>
                      <a:pt x="271" y="335"/>
                    </a:lnTo>
                    <a:lnTo>
                      <a:pt x="267" y="335"/>
                    </a:lnTo>
                    <a:lnTo>
                      <a:pt x="267" y="335"/>
                    </a:lnTo>
                    <a:lnTo>
                      <a:pt x="267" y="330"/>
                    </a:lnTo>
                    <a:lnTo>
                      <a:pt x="267" y="330"/>
                    </a:lnTo>
                    <a:lnTo>
                      <a:pt x="262" y="330"/>
                    </a:lnTo>
                    <a:lnTo>
                      <a:pt x="262" y="326"/>
                    </a:lnTo>
                    <a:lnTo>
                      <a:pt x="262" y="326"/>
                    </a:lnTo>
                    <a:lnTo>
                      <a:pt x="258" y="321"/>
                    </a:lnTo>
                    <a:lnTo>
                      <a:pt x="258" y="321"/>
                    </a:lnTo>
                    <a:lnTo>
                      <a:pt x="258" y="321"/>
                    </a:lnTo>
                    <a:lnTo>
                      <a:pt x="258" y="321"/>
                    </a:lnTo>
                    <a:lnTo>
                      <a:pt x="258" y="321"/>
                    </a:lnTo>
                    <a:lnTo>
                      <a:pt x="258" y="326"/>
                    </a:lnTo>
                    <a:lnTo>
                      <a:pt x="253" y="326"/>
                    </a:lnTo>
                    <a:lnTo>
                      <a:pt x="253" y="326"/>
                    </a:lnTo>
                    <a:lnTo>
                      <a:pt x="253" y="326"/>
                    </a:lnTo>
                    <a:lnTo>
                      <a:pt x="253" y="326"/>
                    </a:lnTo>
                    <a:lnTo>
                      <a:pt x="253" y="326"/>
                    </a:lnTo>
                    <a:lnTo>
                      <a:pt x="249" y="326"/>
                    </a:lnTo>
                    <a:lnTo>
                      <a:pt x="244" y="326"/>
                    </a:lnTo>
                    <a:lnTo>
                      <a:pt x="244" y="326"/>
                    </a:lnTo>
                    <a:lnTo>
                      <a:pt x="240" y="326"/>
                    </a:lnTo>
                    <a:lnTo>
                      <a:pt x="240" y="326"/>
                    </a:lnTo>
                    <a:lnTo>
                      <a:pt x="240" y="326"/>
                    </a:lnTo>
                    <a:lnTo>
                      <a:pt x="235" y="326"/>
                    </a:lnTo>
                    <a:lnTo>
                      <a:pt x="231" y="321"/>
                    </a:lnTo>
                    <a:lnTo>
                      <a:pt x="231" y="321"/>
                    </a:lnTo>
                    <a:lnTo>
                      <a:pt x="231" y="321"/>
                    </a:lnTo>
                    <a:lnTo>
                      <a:pt x="231" y="321"/>
                    </a:lnTo>
                    <a:lnTo>
                      <a:pt x="226" y="321"/>
                    </a:lnTo>
                    <a:lnTo>
                      <a:pt x="226" y="321"/>
                    </a:lnTo>
                    <a:lnTo>
                      <a:pt x="226" y="316"/>
                    </a:lnTo>
                    <a:lnTo>
                      <a:pt x="226" y="316"/>
                    </a:lnTo>
                    <a:lnTo>
                      <a:pt x="226" y="312"/>
                    </a:lnTo>
                    <a:lnTo>
                      <a:pt x="226" y="312"/>
                    </a:lnTo>
                    <a:lnTo>
                      <a:pt x="226" y="312"/>
                    </a:lnTo>
                    <a:lnTo>
                      <a:pt x="226" y="312"/>
                    </a:lnTo>
                    <a:lnTo>
                      <a:pt x="222" y="312"/>
                    </a:lnTo>
                    <a:lnTo>
                      <a:pt x="222" y="316"/>
                    </a:lnTo>
                    <a:lnTo>
                      <a:pt x="217" y="316"/>
                    </a:lnTo>
                    <a:lnTo>
                      <a:pt x="217" y="316"/>
                    </a:lnTo>
                    <a:lnTo>
                      <a:pt x="217" y="316"/>
                    </a:lnTo>
                    <a:lnTo>
                      <a:pt x="213" y="316"/>
                    </a:lnTo>
                    <a:lnTo>
                      <a:pt x="213" y="316"/>
                    </a:lnTo>
                    <a:lnTo>
                      <a:pt x="213" y="316"/>
                    </a:lnTo>
                    <a:lnTo>
                      <a:pt x="208" y="316"/>
                    </a:lnTo>
                    <a:lnTo>
                      <a:pt x="213" y="316"/>
                    </a:lnTo>
                    <a:lnTo>
                      <a:pt x="213" y="312"/>
                    </a:lnTo>
                    <a:lnTo>
                      <a:pt x="213" y="312"/>
                    </a:lnTo>
                    <a:lnTo>
                      <a:pt x="208" y="312"/>
                    </a:lnTo>
                    <a:lnTo>
                      <a:pt x="208" y="307"/>
                    </a:lnTo>
                    <a:lnTo>
                      <a:pt x="208" y="307"/>
                    </a:lnTo>
                    <a:lnTo>
                      <a:pt x="208" y="307"/>
                    </a:lnTo>
                    <a:lnTo>
                      <a:pt x="204" y="307"/>
                    </a:lnTo>
                    <a:lnTo>
                      <a:pt x="204" y="307"/>
                    </a:lnTo>
                    <a:lnTo>
                      <a:pt x="204" y="307"/>
                    </a:lnTo>
                    <a:lnTo>
                      <a:pt x="204" y="307"/>
                    </a:lnTo>
                    <a:lnTo>
                      <a:pt x="204" y="307"/>
                    </a:lnTo>
                    <a:lnTo>
                      <a:pt x="204" y="307"/>
                    </a:lnTo>
                    <a:lnTo>
                      <a:pt x="204" y="307"/>
                    </a:lnTo>
                    <a:lnTo>
                      <a:pt x="199" y="307"/>
                    </a:lnTo>
                    <a:lnTo>
                      <a:pt x="199" y="307"/>
                    </a:lnTo>
                    <a:lnTo>
                      <a:pt x="195" y="307"/>
                    </a:lnTo>
                    <a:lnTo>
                      <a:pt x="195" y="307"/>
                    </a:lnTo>
                    <a:lnTo>
                      <a:pt x="190" y="312"/>
                    </a:lnTo>
                    <a:lnTo>
                      <a:pt x="190" y="312"/>
                    </a:lnTo>
                    <a:lnTo>
                      <a:pt x="186" y="312"/>
                    </a:lnTo>
                    <a:lnTo>
                      <a:pt x="181" y="312"/>
                    </a:lnTo>
                    <a:lnTo>
                      <a:pt x="181" y="312"/>
                    </a:lnTo>
                    <a:lnTo>
                      <a:pt x="177" y="312"/>
                    </a:lnTo>
                    <a:lnTo>
                      <a:pt x="177" y="312"/>
                    </a:lnTo>
                    <a:lnTo>
                      <a:pt x="177" y="312"/>
                    </a:lnTo>
                    <a:lnTo>
                      <a:pt x="177" y="312"/>
                    </a:lnTo>
                    <a:lnTo>
                      <a:pt x="172" y="312"/>
                    </a:lnTo>
                    <a:lnTo>
                      <a:pt x="172" y="312"/>
                    </a:lnTo>
                    <a:lnTo>
                      <a:pt x="172" y="307"/>
                    </a:lnTo>
                    <a:lnTo>
                      <a:pt x="172" y="307"/>
                    </a:lnTo>
                    <a:lnTo>
                      <a:pt x="172" y="307"/>
                    </a:lnTo>
                    <a:lnTo>
                      <a:pt x="177" y="303"/>
                    </a:lnTo>
                    <a:lnTo>
                      <a:pt x="177" y="303"/>
                    </a:lnTo>
                    <a:lnTo>
                      <a:pt x="177" y="298"/>
                    </a:lnTo>
                    <a:lnTo>
                      <a:pt x="177" y="298"/>
                    </a:lnTo>
                    <a:lnTo>
                      <a:pt x="177" y="298"/>
                    </a:lnTo>
                    <a:lnTo>
                      <a:pt x="177" y="294"/>
                    </a:lnTo>
                    <a:lnTo>
                      <a:pt x="172" y="289"/>
                    </a:lnTo>
                    <a:lnTo>
                      <a:pt x="172" y="289"/>
                    </a:lnTo>
                    <a:lnTo>
                      <a:pt x="167" y="285"/>
                    </a:lnTo>
                    <a:lnTo>
                      <a:pt x="167" y="280"/>
                    </a:lnTo>
                    <a:lnTo>
                      <a:pt x="167" y="280"/>
                    </a:lnTo>
                    <a:lnTo>
                      <a:pt x="167" y="276"/>
                    </a:lnTo>
                    <a:lnTo>
                      <a:pt x="167" y="271"/>
                    </a:lnTo>
                    <a:lnTo>
                      <a:pt x="167" y="267"/>
                    </a:lnTo>
                    <a:lnTo>
                      <a:pt x="167" y="258"/>
                    </a:lnTo>
                    <a:lnTo>
                      <a:pt x="167" y="253"/>
                    </a:lnTo>
                    <a:lnTo>
                      <a:pt x="167" y="249"/>
                    </a:lnTo>
                    <a:lnTo>
                      <a:pt x="167" y="244"/>
                    </a:lnTo>
                    <a:lnTo>
                      <a:pt x="167" y="240"/>
                    </a:lnTo>
                    <a:lnTo>
                      <a:pt x="167" y="240"/>
                    </a:lnTo>
                    <a:lnTo>
                      <a:pt x="167" y="240"/>
                    </a:lnTo>
                    <a:lnTo>
                      <a:pt x="167" y="240"/>
                    </a:lnTo>
                    <a:lnTo>
                      <a:pt x="163" y="240"/>
                    </a:lnTo>
                    <a:lnTo>
                      <a:pt x="158" y="240"/>
                    </a:lnTo>
                    <a:lnTo>
                      <a:pt x="154" y="240"/>
                    </a:lnTo>
                    <a:lnTo>
                      <a:pt x="145" y="240"/>
                    </a:lnTo>
                    <a:lnTo>
                      <a:pt x="145" y="240"/>
                    </a:lnTo>
                    <a:lnTo>
                      <a:pt x="145" y="235"/>
                    </a:lnTo>
                    <a:lnTo>
                      <a:pt x="145" y="235"/>
                    </a:lnTo>
                    <a:lnTo>
                      <a:pt x="145" y="231"/>
                    </a:lnTo>
                    <a:lnTo>
                      <a:pt x="145" y="231"/>
                    </a:lnTo>
                    <a:lnTo>
                      <a:pt x="145" y="231"/>
                    </a:lnTo>
                    <a:lnTo>
                      <a:pt x="140" y="231"/>
                    </a:lnTo>
                    <a:lnTo>
                      <a:pt x="136" y="235"/>
                    </a:lnTo>
                    <a:lnTo>
                      <a:pt x="136" y="235"/>
                    </a:lnTo>
                    <a:lnTo>
                      <a:pt x="131" y="235"/>
                    </a:lnTo>
                    <a:lnTo>
                      <a:pt x="127" y="235"/>
                    </a:lnTo>
                    <a:lnTo>
                      <a:pt x="127" y="240"/>
                    </a:lnTo>
                    <a:lnTo>
                      <a:pt x="127" y="240"/>
                    </a:lnTo>
                    <a:lnTo>
                      <a:pt x="127" y="244"/>
                    </a:lnTo>
                    <a:lnTo>
                      <a:pt x="127" y="244"/>
                    </a:lnTo>
                    <a:lnTo>
                      <a:pt x="127" y="244"/>
                    </a:lnTo>
                    <a:lnTo>
                      <a:pt x="127" y="249"/>
                    </a:lnTo>
                    <a:lnTo>
                      <a:pt x="122" y="253"/>
                    </a:lnTo>
                    <a:lnTo>
                      <a:pt x="122" y="253"/>
                    </a:lnTo>
                    <a:lnTo>
                      <a:pt x="118" y="253"/>
                    </a:lnTo>
                    <a:lnTo>
                      <a:pt x="118" y="253"/>
                    </a:lnTo>
                    <a:lnTo>
                      <a:pt x="113" y="253"/>
                    </a:lnTo>
                    <a:lnTo>
                      <a:pt x="109" y="253"/>
                    </a:lnTo>
                    <a:lnTo>
                      <a:pt x="109" y="253"/>
                    </a:lnTo>
                    <a:lnTo>
                      <a:pt x="109" y="253"/>
                    </a:lnTo>
                    <a:lnTo>
                      <a:pt x="104" y="253"/>
                    </a:lnTo>
                    <a:lnTo>
                      <a:pt x="100" y="253"/>
                    </a:lnTo>
                    <a:lnTo>
                      <a:pt x="100" y="253"/>
                    </a:lnTo>
                    <a:lnTo>
                      <a:pt x="100" y="253"/>
                    </a:lnTo>
                    <a:lnTo>
                      <a:pt x="95" y="253"/>
                    </a:lnTo>
                    <a:lnTo>
                      <a:pt x="95" y="253"/>
                    </a:lnTo>
                    <a:lnTo>
                      <a:pt x="95" y="253"/>
                    </a:lnTo>
                    <a:lnTo>
                      <a:pt x="91" y="253"/>
                    </a:lnTo>
                    <a:lnTo>
                      <a:pt x="91" y="249"/>
                    </a:lnTo>
                    <a:lnTo>
                      <a:pt x="86" y="244"/>
                    </a:lnTo>
                    <a:lnTo>
                      <a:pt x="86" y="244"/>
                    </a:lnTo>
                    <a:lnTo>
                      <a:pt x="86" y="240"/>
                    </a:lnTo>
                    <a:lnTo>
                      <a:pt x="86" y="240"/>
                    </a:lnTo>
                    <a:lnTo>
                      <a:pt x="82" y="240"/>
                    </a:lnTo>
                    <a:lnTo>
                      <a:pt x="82" y="235"/>
                    </a:lnTo>
                    <a:lnTo>
                      <a:pt x="82" y="235"/>
                    </a:lnTo>
                    <a:lnTo>
                      <a:pt x="82" y="231"/>
                    </a:lnTo>
                    <a:lnTo>
                      <a:pt x="82" y="231"/>
                    </a:lnTo>
                    <a:lnTo>
                      <a:pt x="77" y="226"/>
                    </a:lnTo>
                    <a:lnTo>
                      <a:pt x="77" y="222"/>
                    </a:lnTo>
                    <a:lnTo>
                      <a:pt x="77" y="222"/>
                    </a:lnTo>
                    <a:lnTo>
                      <a:pt x="77" y="217"/>
                    </a:lnTo>
                    <a:lnTo>
                      <a:pt x="77" y="217"/>
                    </a:lnTo>
                    <a:lnTo>
                      <a:pt x="77" y="217"/>
                    </a:lnTo>
                    <a:lnTo>
                      <a:pt x="77" y="217"/>
                    </a:lnTo>
                    <a:lnTo>
                      <a:pt x="77" y="217"/>
                    </a:lnTo>
                    <a:lnTo>
                      <a:pt x="77" y="212"/>
                    </a:lnTo>
                    <a:lnTo>
                      <a:pt x="73" y="212"/>
                    </a:lnTo>
                    <a:lnTo>
                      <a:pt x="73" y="212"/>
                    </a:lnTo>
                    <a:lnTo>
                      <a:pt x="68" y="212"/>
                    </a:lnTo>
                    <a:lnTo>
                      <a:pt x="64" y="212"/>
                    </a:lnTo>
                    <a:lnTo>
                      <a:pt x="55" y="212"/>
                    </a:lnTo>
                    <a:lnTo>
                      <a:pt x="50" y="212"/>
                    </a:lnTo>
                    <a:lnTo>
                      <a:pt x="45" y="212"/>
                    </a:lnTo>
                    <a:lnTo>
                      <a:pt x="41" y="212"/>
                    </a:lnTo>
                    <a:lnTo>
                      <a:pt x="36" y="212"/>
                    </a:lnTo>
                    <a:lnTo>
                      <a:pt x="36" y="212"/>
                    </a:lnTo>
                    <a:lnTo>
                      <a:pt x="32" y="212"/>
                    </a:lnTo>
                    <a:lnTo>
                      <a:pt x="32" y="212"/>
                    </a:lnTo>
                    <a:lnTo>
                      <a:pt x="27" y="212"/>
                    </a:lnTo>
                    <a:lnTo>
                      <a:pt x="27" y="212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9" y="212"/>
                    </a:lnTo>
                    <a:lnTo>
                      <a:pt x="9" y="212"/>
                    </a:lnTo>
                    <a:lnTo>
                      <a:pt x="9" y="212"/>
                    </a:lnTo>
                    <a:lnTo>
                      <a:pt x="5" y="212"/>
                    </a:lnTo>
                    <a:lnTo>
                      <a:pt x="5" y="212"/>
                    </a:lnTo>
                    <a:lnTo>
                      <a:pt x="5" y="212"/>
                    </a:lnTo>
                    <a:lnTo>
                      <a:pt x="0" y="212"/>
                    </a:lnTo>
                    <a:lnTo>
                      <a:pt x="0" y="212"/>
                    </a:lnTo>
                    <a:lnTo>
                      <a:pt x="0" y="208"/>
                    </a:lnTo>
                    <a:lnTo>
                      <a:pt x="0" y="208"/>
                    </a:lnTo>
                    <a:lnTo>
                      <a:pt x="5" y="208"/>
                    </a:lnTo>
                    <a:lnTo>
                      <a:pt x="5" y="208"/>
                    </a:lnTo>
                    <a:lnTo>
                      <a:pt x="5" y="208"/>
                    </a:lnTo>
                    <a:lnTo>
                      <a:pt x="5" y="203"/>
                    </a:lnTo>
                    <a:lnTo>
                      <a:pt x="5" y="199"/>
                    </a:lnTo>
                    <a:lnTo>
                      <a:pt x="5" y="199"/>
                    </a:lnTo>
                    <a:lnTo>
                      <a:pt x="5" y="199"/>
                    </a:lnTo>
                    <a:lnTo>
                      <a:pt x="5" y="199"/>
                    </a:lnTo>
                    <a:lnTo>
                      <a:pt x="5" y="194"/>
                    </a:lnTo>
                    <a:lnTo>
                      <a:pt x="5" y="194"/>
                    </a:lnTo>
                    <a:lnTo>
                      <a:pt x="5" y="194"/>
                    </a:lnTo>
                    <a:lnTo>
                      <a:pt x="9" y="194"/>
                    </a:lnTo>
                    <a:lnTo>
                      <a:pt x="9" y="190"/>
                    </a:lnTo>
                    <a:lnTo>
                      <a:pt x="14" y="190"/>
                    </a:lnTo>
                    <a:lnTo>
                      <a:pt x="14" y="190"/>
                    </a:lnTo>
                    <a:lnTo>
                      <a:pt x="14" y="190"/>
                    </a:lnTo>
                    <a:lnTo>
                      <a:pt x="14" y="190"/>
                    </a:lnTo>
                    <a:lnTo>
                      <a:pt x="18" y="190"/>
                    </a:lnTo>
                    <a:lnTo>
                      <a:pt x="18" y="190"/>
                    </a:lnTo>
                    <a:lnTo>
                      <a:pt x="18" y="190"/>
                    </a:lnTo>
                    <a:lnTo>
                      <a:pt x="18" y="190"/>
                    </a:lnTo>
                    <a:lnTo>
                      <a:pt x="18" y="190"/>
                    </a:lnTo>
                    <a:lnTo>
                      <a:pt x="18" y="194"/>
                    </a:lnTo>
                    <a:lnTo>
                      <a:pt x="23" y="194"/>
                    </a:lnTo>
                    <a:lnTo>
                      <a:pt x="23" y="194"/>
                    </a:lnTo>
                    <a:lnTo>
                      <a:pt x="23" y="190"/>
                    </a:lnTo>
                    <a:lnTo>
                      <a:pt x="27" y="190"/>
                    </a:lnTo>
                    <a:lnTo>
                      <a:pt x="27" y="190"/>
                    </a:lnTo>
                    <a:lnTo>
                      <a:pt x="27" y="190"/>
                    </a:lnTo>
                    <a:lnTo>
                      <a:pt x="27" y="185"/>
                    </a:lnTo>
                    <a:lnTo>
                      <a:pt x="27" y="185"/>
                    </a:lnTo>
                    <a:lnTo>
                      <a:pt x="27" y="185"/>
                    </a:lnTo>
                    <a:lnTo>
                      <a:pt x="27" y="185"/>
                    </a:lnTo>
                    <a:lnTo>
                      <a:pt x="27" y="185"/>
                    </a:lnTo>
                    <a:lnTo>
                      <a:pt x="27" y="185"/>
                    </a:lnTo>
                    <a:lnTo>
                      <a:pt x="32" y="185"/>
                    </a:lnTo>
                    <a:lnTo>
                      <a:pt x="32" y="185"/>
                    </a:lnTo>
                    <a:lnTo>
                      <a:pt x="32" y="185"/>
                    </a:lnTo>
                    <a:lnTo>
                      <a:pt x="32" y="185"/>
                    </a:lnTo>
                    <a:lnTo>
                      <a:pt x="36" y="185"/>
                    </a:lnTo>
                    <a:lnTo>
                      <a:pt x="36" y="181"/>
                    </a:lnTo>
                    <a:lnTo>
                      <a:pt x="36" y="181"/>
                    </a:lnTo>
                    <a:lnTo>
                      <a:pt x="36" y="185"/>
                    </a:lnTo>
                    <a:lnTo>
                      <a:pt x="41" y="185"/>
                    </a:lnTo>
                    <a:lnTo>
                      <a:pt x="41" y="185"/>
                    </a:lnTo>
                    <a:lnTo>
                      <a:pt x="36" y="185"/>
                    </a:lnTo>
                    <a:lnTo>
                      <a:pt x="36" y="190"/>
                    </a:lnTo>
                    <a:lnTo>
                      <a:pt x="36" y="190"/>
                    </a:lnTo>
                    <a:lnTo>
                      <a:pt x="36" y="190"/>
                    </a:lnTo>
                    <a:lnTo>
                      <a:pt x="36" y="194"/>
                    </a:lnTo>
                    <a:lnTo>
                      <a:pt x="41" y="194"/>
                    </a:lnTo>
                    <a:lnTo>
                      <a:pt x="41" y="194"/>
                    </a:lnTo>
                    <a:lnTo>
                      <a:pt x="41" y="194"/>
                    </a:lnTo>
                    <a:lnTo>
                      <a:pt x="41" y="194"/>
                    </a:lnTo>
                    <a:lnTo>
                      <a:pt x="41" y="194"/>
                    </a:lnTo>
                    <a:lnTo>
                      <a:pt x="45" y="194"/>
                    </a:lnTo>
                    <a:lnTo>
                      <a:pt x="45" y="194"/>
                    </a:lnTo>
                    <a:lnTo>
                      <a:pt x="45" y="190"/>
                    </a:lnTo>
                    <a:lnTo>
                      <a:pt x="50" y="185"/>
                    </a:lnTo>
                    <a:lnTo>
                      <a:pt x="55" y="181"/>
                    </a:lnTo>
                    <a:lnTo>
                      <a:pt x="55" y="181"/>
                    </a:lnTo>
                    <a:lnTo>
                      <a:pt x="59" y="181"/>
                    </a:lnTo>
                    <a:lnTo>
                      <a:pt x="59" y="181"/>
                    </a:lnTo>
                    <a:lnTo>
                      <a:pt x="59" y="176"/>
                    </a:lnTo>
                    <a:lnTo>
                      <a:pt x="64" y="176"/>
                    </a:lnTo>
                    <a:lnTo>
                      <a:pt x="64" y="176"/>
                    </a:lnTo>
                    <a:lnTo>
                      <a:pt x="68" y="172"/>
                    </a:lnTo>
                    <a:lnTo>
                      <a:pt x="68" y="167"/>
                    </a:lnTo>
                    <a:lnTo>
                      <a:pt x="68" y="163"/>
                    </a:lnTo>
                    <a:lnTo>
                      <a:pt x="68" y="158"/>
                    </a:lnTo>
                    <a:lnTo>
                      <a:pt x="68" y="149"/>
                    </a:lnTo>
                    <a:lnTo>
                      <a:pt x="68" y="145"/>
                    </a:lnTo>
                    <a:lnTo>
                      <a:pt x="68" y="145"/>
                    </a:lnTo>
                    <a:lnTo>
                      <a:pt x="73" y="140"/>
                    </a:lnTo>
                    <a:lnTo>
                      <a:pt x="73" y="140"/>
                    </a:lnTo>
                    <a:lnTo>
                      <a:pt x="77" y="136"/>
                    </a:lnTo>
                    <a:lnTo>
                      <a:pt x="77" y="136"/>
                    </a:lnTo>
                    <a:lnTo>
                      <a:pt x="82" y="127"/>
                    </a:lnTo>
                    <a:lnTo>
                      <a:pt x="82" y="127"/>
                    </a:lnTo>
                    <a:lnTo>
                      <a:pt x="82" y="127"/>
                    </a:lnTo>
                    <a:lnTo>
                      <a:pt x="82" y="122"/>
                    </a:lnTo>
                    <a:lnTo>
                      <a:pt x="86" y="122"/>
                    </a:lnTo>
                    <a:lnTo>
                      <a:pt x="91" y="122"/>
                    </a:lnTo>
                    <a:lnTo>
                      <a:pt x="95" y="118"/>
                    </a:lnTo>
                    <a:lnTo>
                      <a:pt x="95" y="113"/>
                    </a:lnTo>
                    <a:lnTo>
                      <a:pt x="95" y="108"/>
                    </a:lnTo>
                    <a:lnTo>
                      <a:pt x="100" y="104"/>
                    </a:lnTo>
                    <a:lnTo>
                      <a:pt x="100" y="99"/>
                    </a:lnTo>
                    <a:lnTo>
                      <a:pt x="100" y="90"/>
                    </a:lnTo>
                    <a:lnTo>
                      <a:pt x="100" y="86"/>
                    </a:lnTo>
                    <a:lnTo>
                      <a:pt x="100" y="81"/>
                    </a:lnTo>
                    <a:lnTo>
                      <a:pt x="100" y="77"/>
                    </a:lnTo>
                    <a:lnTo>
                      <a:pt x="104" y="72"/>
                    </a:lnTo>
                    <a:lnTo>
                      <a:pt x="104" y="68"/>
                    </a:lnTo>
                    <a:lnTo>
                      <a:pt x="104" y="63"/>
                    </a:lnTo>
                    <a:lnTo>
                      <a:pt x="104" y="59"/>
                    </a:lnTo>
                    <a:lnTo>
                      <a:pt x="109" y="54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13" y="41"/>
                    </a:lnTo>
                    <a:lnTo>
                      <a:pt x="113" y="36"/>
                    </a:lnTo>
                    <a:lnTo>
                      <a:pt x="113" y="32"/>
                    </a:lnTo>
                    <a:lnTo>
                      <a:pt x="113" y="27"/>
                    </a:lnTo>
                    <a:lnTo>
                      <a:pt x="113" y="23"/>
                    </a:lnTo>
                    <a:lnTo>
                      <a:pt x="113" y="23"/>
                    </a:lnTo>
                    <a:lnTo>
                      <a:pt x="113" y="18"/>
                    </a:lnTo>
                    <a:lnTo>
                      <a:pt x="113" y="18"/>
                    </a:lnTo>
                    <a:lnTo>
                      <a:pt x="118" y="18"/>
                    </a:lnTo>
                    <a:lnTo>
                      <a:pt x="118" y="9"/>
                    </a:lnTo>
                    <a:lnTo>
                      <a:pt x="122" y="5"/>
                    </a:lnTo>
                    <a:lnTo>
                      <a:pt x="127" y="5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6" y="9"/>
                    </a:lnTo>
                    <a:lnTo>
                      <a:pt x="136" y="9"/>
                    </a:lnTo>
                    <a:lnTo>
                      <a:pt x="140" y="9"/>
                    </a:lnTo>
                    <a:lnTo>
                      <a:pt x="145" y="14"/>
                    </a:lnTo>
                    <a:lnTo>
                      <a:pt x="145" y="18"/>
                    </a:lnTo>
                    <a:lnTo>
                      <a:pt x="145" y="18"/>
                    </a:lnTo>
                    <a:lnTo>
                      <a:pt x="149" y="18"/>
                    </a:lnTo>
                    <a:lnTo>
                      <a:pt x="149" y="18"/>
                    </a:lnTo>
                    <a:lnTo>
                      <a:pt x="154" y="18"/>
                    </a:lnTo>
                    <a:lnTo>
                      <a:pt x="154" y="23"/>
                    </a:lnTo>
                    <a:lnTo>
                      <a:pt x="158" y="23"/>
                    </a:lnTo>
                    <a:lnTo>
                      <a:pt x="158" y="23"/>
                    </a:lnTo>
                    <a:lnTo>
                      <a:pt x="158" y="23"/>
                    </a:lnTo>
                    <a:lnTo>
                      <a:pt x="163" y="23"/>
                    </a:lnTo>
                    <a:lnTo>
                      <a:pt x="167" y="23"/>
                    </a:lnTo>
                    <a:lnTo>
                      <a:pt x="167" y="23"/>
                    </a:lnTo>
                    <a:lnTo>
                      <a:pt x="177" y="23"/>
                    </a:lnTo>
                    <a:lnTo>
                      <a:pt x="181" y="23"/>
                    </a:lnTo>
                    <a:lnTo>
                      <a:pt x="181" y="23"/>
                    </a:lnTo>
                    <a:lnTo>
                      <a:pt x="181" y="23"/>
                    </a:lnTo>
                    <a:lnTo>
                      <a:pt x="181" y="18"/>
                    </a:lnTo>
                    <a:lnTo>
                      <a:pt x="186" y="14"/>
                    </a:lnTo>
                    <a:lnTo>
                      <a:pt x="186" y="14"/>
                    </a:lnTo>
                    <a:lnTo>
                      <a:pt x="186" y="14"/>
                    </a:lnTo>
                    <a:lnTo>
                      <a:pt x="190" y="14"/>
                    </a:lnTo>
                    <a:lnTo>
                      <a:pt x="190" y="14"/>
                    </a:lnTo>
                    <a:lnTo>
                      <a:pt x="195" y="14"/>
                    </a:lnTo>
                    <a:lnTo>
                      <a:pt x="195" y="14"/>
                    </a:lnTo>
                    <a:lnTo>
                      <a:pt x="195" y="14"/>
                    </a:lnTo>
                    <a:lnTo>
                      <a:pt x="199" y="14"/>
                    </a:lnTo>
                    <a:lnTo>
                      <a:pt x="199" y="14"/>
                    </a:lnTo>
                    <a:lnTo>
                      <a:pt x="204" y="14"/>
                    </a:lnTo>
                    <a:lnTo>
                      <a:pt x="204" y="9"/>
                    </a:lnTo>
                    <a:lnTo>
                      <a:pt x="208" y="9"/>
                    </a:lnTo>
                    <a:lnTo>
                      <a:pt x="213" y="9"/>
                    </a:lnTo>
                    <a:lnTo>
                      <a:pt x="213" y="9"/>
                    </a:lnTo>
                    <a:lnTo>
                      <a:pt x="217" y="9"/>
                    </a:lnTo>
                    <a:lnTo>
                      <a:pt x="222" y="9"/>
                    </a:lnTo>
                    <a:lnTo>
                      <a:pt x="226" y="9"/>
                    </a:lnTo>
                    <a:lnTo>
                      <a:pt x="226" y="9"/>
                    </a:lnTo>
                    <a:lnTo>
                      <a:pt x="226" y="5"/>
                    </a:lnTo>
                    <a:lnTo>
                      <a:pt x="231" y="5"/>
                    </a:lnTo>
                    <a:lnTo>
                      <a:pt x="231" y="0"/>
                    </a:lnTo>
                    <a:lnTo>
                      <a:pt x="235" y="5"/>
                    </a:lnTo>
                    <a:lnTo>
                      <a:pt x="240" y="5"/>
                    </a:lnTo>
                    <a:lnTo>
                      <a:pt x="244" y="5"/>
                    </a:lnTo>
                    <a:lnTo>
                      <a:pt x="253" y="5"/>
                    </a:lnTo>
                    <a:lnTo>
                      <a:pt x="253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16" name="Freeform 37"/>
              <p:cNvSpPr>
                <a:spLocks/>
              </p:cNvSpPr>
              <p:nvPr/>
            </p:nvSpPr>
            <p:spPr bwMode="auto">
              <a:xfrm>
                <a:off x="4578351" y="2838451"/>
                <a:ext cx="207963" cy="257175"/>
              </a:xfrm>
              <a:custGeom>
                <a:avLst/>
                <a:gdLst>
                  <a:gd name="T0" fmla="*/ 118 w 131"/>
                  <a:gd name="T1" fmla="*/ 4 h 162"/>
                  <a:gd name="T2" fmla="*/ 127 w 131"/>
                  <a:gd name="T3" fmla="*/ 4 h 162"/>
                  <a:gd name="T4" fmla="*/ 127 w 131"/>
                  <a:gd name="T5" fmla="*/ 13 h 162"/>
                  <a:gd name="T6" fmla="*/ 122 w 131"/>
                  <a:gd name="T7" fmla="*/ 40 h 162"/>
                  <a:gd name="T8" fmla="*/ 118 w 131"/>
                  <a:gd name="T9" fmla="*/ 72 h 162"/>
                  <a:gd name="T10" fmla="*/ 100 w 131"/>
                  <a:gd name="T11" fmla="*/ 90 h 162"/>
                  <a:gd name="T12" fmla="*/ 91 w 131"/>
                  <a:gd name="T13" fmla="*/ 108 h 162"/>
                  <a:gd name="T14" fmla="*/ 86 w 131"/>
                  <a:gd name="T15" fmla="*/ 131 h 162"/>
                  <a:gd name="T16" fmla="*/ 77 w 131"/>
                  <a:gd name="T17" fmla="*/ 149 h 162"/>
                  <a:gd name="T18" fmla="*/ 63 w 131"/>
                  <a:gd name="T19" fmla="*/ 162 h 162"/>
                  <a:gd name="T20" fmla="*/ 59 w 131"/>
                  <a:gd name="T21" fmla="*/ 162 h 162"/>
                  <a:gd name="T22" fmla="*/ 59 w 131"/>
                  <a:gd name="T23" fmla="*/ 153 h 162"/>
                  <a:gd name="T24" fmla="*/ 50 w 131"/>
                  <a:gd name="T25" fmla="*/ 153 h 162"/>
                  <a:gd name="T26" fmla="*/ 45 w 131"/>
                  <a:gd name="T27" fmla="*/ 153 h 162"/>
                  <a:gd name="T28" fmla="*/ 45 w 131"/>
                  <a:gd name="T29" fmla="*/ 158 h 162"/>
                  <a:gd name="T30" fmla="*/ 36 w 131"/>
                  <a:gd name="T31" fmla="*/ 158 h 162"/>
                  <a:gd name="T32" fmla="*/ 32 w 131"/>
                  <a:gd name="T33" fmla="*/ 158 h 162"/>
                  <a:gd name="T34" fmla="*/ 27 w 131"/>
                  <a:gd name="T35" fmla="*/ 153 h 162"/>
                  <a:gd name="T36" fmla="*/ 18 w 131"/>
                  <a:gd name="T37" fmla="*/ 158 h 162"/>
                  <a:gd name="T38" fmla="*/ 14 w 131"/>
                  <a:gd name="T39" fmla="*/ 162 h 162"/>
                  <a:gd name="T40" fmla="*/ 5 w 131"/>
                  <a:gd name="T41" fmla="*/ 149 h 162"/>
                  <a:gd name="T42" fmla="*/ 5 w 131"/>
                  <a:gd name="T43" fmla="*/ 135 h 162"/>
                  <a:gd name="T44" fmla="*/ 14 w 131"/>
                  <a:gd name="T45" fmla="*/ 140 h 162"/>
                  <a:gd name="T46" fmla="*/ 14 w 131"/>
                  <a:gd name="T47" fmla="*/ 131 h 162"/>
                  <a:gd name="T48" fmla="*/ 9 w 131"/>
                  <a:gd name="T49" fmla="*/ 126 h 162"/>
                  <a:gd name="T50" fmla="*/ 5 w 131"/>
                  <a:gd name="T51" fmla="*/ 122 h 162"/>
                  <a:gd name="T52" fmla="*/ 9 w 131"/>
                  <a:gd name="T53" fmla="*/ 113 h 162"/>
                  <a:gd name="T54" fmla="*/ 14 w 131"/>
                  <a:gd name="T55" fmla="*/ 117 h 162"/>
                  <a:gd name="T56" fmla="*/ 23 w 131"/>
                  <a:gd name="T57" fmla="*/ 108 h 162"/>
                  <a:gd name="T58" fmla="*/ 27 w 131"/>
                  <a:gd name="T59" fmla="*/ 104 h 162"/>
                  <a:gd name="T60" fmla="*/ 36 w 131"/>
                  <a:gd name="T61" fmla="*/ 117 h 162"/>
                  <a:gd name="T62" fmla="*/ 45 w 131"/>
                  <a:gd name="T63" fmla="*/ 113 h 162"/>
                  <a:gd name="T64" fmla="*/ 50 w 131"/>
                  <a:gd name="T65" fmla="*/ 117 h 162"/>
                  <a:gd name="T66" fmla="*/ 54 w 131"/>
                  <a:gd name="T67" fmla="*/ 113 h 162"/>
                  <a:gd name="T68" fmla="*/ 59 w 131"/>
                  <a:gd name="T69" fmla="*/ 104 h 162"/>
                  <a:gd name="T70" fmla="*/ 59 w 131"/>
                  <a:gd name="T71" fmla="*/ 90 h 162"/>
                  <a:gd name="T72" fmla="*/ 54 w 131"/>
                  <a:gd name="T73" fmla="*/ 76 h 162"/>
                  <a:gd name="T74" fmla="*/ 45 w 131"/>
                  <a:gd name="T75" fmla="*/ 72 h 162"/>
                  <a:gd name="T76" fmla="*/ 50 w 131"/>
                  <a:gd name="T77" fmla="*/ 63 h 162"/>
                  <a:gd name="T78" fmla="*/ 54 w 131"/>
                  <a:gd name="T79" fmla="*/ 58 h 162"/>
                  <a:gd name="T80" fmla="*/ 54 w 131"/>
                  <a:gd name="T81" fmla="*/ 49 h 162"/>
                  <a:gd name="T82" fmla="*/ 45 w 131"/>
                  <a:gd name="T83" fmla="*/ 45 h 162"/>
                  <a:gd name="T84" fmla="*/ 36 w 131"/>
                  <a:gd name="T85" fmla="*/ 45 h 162"/>
                  <a:gd name="T86" fmla="*/ 36 w 131"/>
                  <a:gd name="T87" fmla="*/ 36 h 162"/>
                  <a:gd name="T88" fmla="*/ 54 w 131"/>
                  <a:gd name="T89" fmla="*/ 31 h 162"/>
                  <a:gd name="T90" fmla="*/ 63 w 131"/>
                  <a:gd name="T91" fmla="*/ 31 h 162"/>
                  <a:gd name="T92" fmla="*/ 68 w 131"/>
                  <a:gd name="T93" fmla="*/ 31 h 162"/>
                  <a:gd name="T94" fmla="*/ 77 w 131"/>
                  <a:gd name="T95" fmla="*/ 31 h 162"/>
                  <a:gd name="T96" fmla="*/ 86 w 131"/>
                  <a:gd name="T97" fmla="*/ 36 h 162"/>
                  <a:gd name="T98" fmla="*/ 86 w 131"/>
                  <a:gd name="T99" fmla="*/ 31 h 162"/>
                  <a:gd name="T100" fmla="*/ 91 w 131"/>
                  <a:gd name="T101" fmla="*/ 18 h 162"/>
                  <a:gd name="T102" fmla="*/ 95 w 131"/>
                  <a:gd name="T103" fmla="*/ 9 h 162"/>
                  <a:gd name="T104" fmla="*/ 104 w 131"/>
                  <a:gd name="T105" fmla="*/ 4 h 162"/>
                  <a:gd name="T106" fmla="*/ 118 w 131"/>
                  <a:gd name="T107" fmla="*/ 4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1" h="162">
                    <a:moveTo>
                      <a:pt x="118" y="4"/>
                    </a:moveTo>
                    <a:lnTo>
                      <a:pt x="118" y="4"/>
                    </a:lnTo>
                    <a:lnTo>
                      <a:pt x="118" y="4"/>
                    </a:lnTo>
                    <a:lnTo>
                      <a:pt x="118" y="4"/>
                    </a:lnTo>
                    <a:lnTo>
                      <a:pt x="118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7" y="4"/>
                    </a:lnTo>
                    <a:lnTo>
                      <a:pt x="127" y="0"/>
                    </a:lnTo>
                    <a:lnTo>
                      <a:pt x="127" y="4"/>
                    </a:lnTo>
                    <a:lnTo>
                      <a:pt x="127" y="4"/>
                    </a:lnTo>
                    <a:lnTo>
                      <a:pt x="131" y="4"/>
                    </a:lnTo>
                    <a:lnTo>
                      <a:pt x="131" y="9"/>
                    </a:lnTo>
                    <a:lnTo>
                      <a:pt x="127" y="13"/>
                    </a:lnTo>
                    <a:lnTo>
                      <a:pt x="127" y="13"/>
                    </a:lnTo>
                    <a:lnTo>
                      <a:pt x="127" y="22"/>
                    </a:lnTo>
                    <a:lnTo>
                      <a:pt x="122" y="27"/>
                    </a:lnTo>
                    <a:lnTo>
                      <a:pt x="122" y="31"/>
                    </a:lnTo>
                    <a:lnTo>
                      <a:pt x="122" y="36"/>
                    </a:lnTo>
                    <a:lnTo>
                      <a:pt x="122" y="40"/>
                    </a:lnTo>
                    <a:lnTo>
                      <a:pt x="118" y="45"/>
                    </a:lnTo>
                    <a:lnTo>
                      <a:pt x="118" y="49"/>
                    </a:lnTo>
                    <a:lnTo>
                      <a:pt x="118" y="54"/>
                    </a:lnTo>
                    <a:lnTo>
                      <a:pt x="118" y="58"/>
                    </a:lnTo>
                    <a:lnTo>
                      <a:pt x="118" y="67"/>
                    </a:lnTo>
                    <a:lnTo>
                      <a:pt x="118" y="72"/>
                    </a:lnTo>
                    <a:lnTo>
                      <a:pt x="113" y="76"/>
                    </a:lnTo>
                    <a:lnTo>
                      <a:pt x="113" y="81"/>
                    </a:lnTo>
                    <a:lnTo>
                      <a:pt x="113" y="86"/>
                    </a:lnTo>
                    <a:lnTo>
                      <a:pt x="109" y="90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95"/>
                    </a:lnTo>
                    <a:lnTo>
                      <a:pt x="100" y="95"/>
                    </a:lnTo>
                    <a:lnTo>
                      <a:pt x="100" y="95"/>
                    </a:lnTo>
                    <a:lnTo>
                      <a:pt x="95" y="104"/>
                    </a:lnTo>
                    <a:lnTo>
                      <a:pt x="95" y="104"/>
                    </a:lnTo>
                    <a:lnTo>
                      <a:pt x="91" y="108"/>
                    </a:lnTo>
                    <a:lnTo>
                      <a:pt x="91" y="108"/>
                    </a:lnTo>
                    <a:lnTo>
                      <a:pt x="86" y="113"/>
                    </a:lnTo>
                    <a:lnTo>
                      <a:pt x="86" y="113"/>
                    </a:lnTo>
                    <a:lnTo>
                      <a:pt x="86" y="117"/>
                    </a:lnTo>
                    <a:lnTo>
                      <a:pt x="86" y="126"/>
                    </a:lnTo>
                    <a:lnTo>
                      <a:pt x="86" y="131"/>
                    </a:lnTo>
                    <a:lnTo>
                      <a:pt x="86" y="135"/>
                    </a:lnTo>
                    <a:lnTo>
                      <a:pt x="86" y="140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77" y="144"/>
                    </a:lnTo>
                    <a:lnTo>
                      <a:pt x="77" y="149"/>
                    </a:lnTo>
                    <a:lnTo>
                      <a:pt x="77" y="149"/>
                    </a:lnTo>
                    <a:lnTo>
                      <a:pt x="73" y="149"/>
                    </a:lnTo>
                    <a:lnTo>
                      <a:pt x="73" y="149"/>
                    </a:lnTo>
                    <a:lnTo>
                      <a:pt x="68" y="153"/>
                    </a:lnTo>
                    <a:lnTo>
                      <a:pt x="63" y="158"/>
                    </a:lnTo>
                    <a:lnTo>
                      <a:pt x="63" y="162"/>
                    </a:lnTo>
                    <a:lnTo>
                      <a:pt x="63" y="162"/>
                    </a:lnTo>
                    <a:lnTo>
                      <a:pt x="59" y="162"/>
                    </a:lnTo>
                    <a:lnTo>
                      <a:pt x="59" y="162"/>
                    </a:lnTo>
                    <a:lnTo>
                      <a:pt x="59" y="162"/>
                    </a:lnTo>
                    <a:lnTo>
                      <a:pt x="59" y="162"/>
                    </a:lnTo>
                    <a:lnTo>
                      <a:pt x="59" y="162"/>
                    </a:lnTo>
                    <a:lnTo>
                      <a:pt x="54" y="162"/>
                    </a:lnTo>
                    <a:lnTo>
                      <a:pt x="54" y="158"/>
                    </a:lnTo>
                    <a:lnTo>
                      <a:pt x="54" y="158"/>
                    </a:lnTo>
                    <a:lnTo>
                      <a:pt x="54" y="158"/>
                    </a:lnTo>
                    <a:lnTo>
                      <a:pt x="54" y="153"/>
                    </a:lnTo>
                    <a:lnTo>
                      <a:pt x="59" y="153"/>
                    </a:lnTo>
                    <a:lnTo>
                      <a:pt x="59" y="153"/>
                    </a:lnTo>
                    <a:lnTo>
                      <a:pt x="54" y="153"/>
                    </a:lnTo>
                    <a:lnTo>
                      <a:pt x="54" y="149"/>
                    </a:lnTo>
                    <a:lnTo>
                      <a:pt x="54" y="149"/>
                    </a:lnTo>
                    <a:lnTo>
                      <a:pt x="54" y="153"/>
                    </a:lnTo>
                    <a:lnTo>
                      <a:pt x="50" y="153"/>
                    </a:lnTo>
                    <a:lnTo>
                      <a:pt x="50" y="153"/>
                    </a:lnTo>
                    <a:lnTo>
                      <a:pt x="50" y="153"/>
                    </a:lnTo>
                    <a:lnTo>
                      <a:pt x="50" y="153"/>
                    </a:lnTo>
                    <a:lnTo>
                      <a:pt x="45" y="153"/>
                    </a:lnTo>
                    <a:lnTo>
                      <a:pt x="45" y="153"/>
                    </a:lnTo>
                    <a:lnTo>
                      <a:pt x="45" y="153"/>
                    </a:lnTo>
                    <a:lnTo>
                      <a:pt x="45" y="153"/>
                    </a:lnTo>
                    <a:lnTo>
                      <a:pt x="45" y="153"/>
                    </a:lnTo>
                    <a:lnTo>
                      <a:pt x="45" y="153"/>
                    </a:lnTo>
                    <a:lnTo>
                      <a:pt x="45" y="158"/>
                    </a:lnTo>
                    <a:lnTo>
                      <a:pt x="45" y="158"/>
                    </a:lnTo>
                    <a:lnTo>
                      <a:pt x="45" y="158"/>
                    </a:lnTo>
                    <a:lnTo>
                      <a:pt x="41" y="158"/>
                    </a:lnTo>
                    <a:lnTo>
                      <a:pt x="41" y="162"/>
                    </a:lnTo>
                    <a:lnTo>
                      <a:pt x="41" y="162"/>
                    </a:lnTo>
                    <a:lnTo>
                      <a:pt x="36" y="162"/>
                    </a:lnTo>
                    <a:lnTo>
                      <a:pt x="36" y="158"/>
                    </a:lnTo>
                    <a:lnTo>
                      <a:pt x="36" y="158"/>
                    </a:lnTo>
                    <a:lnTo>
                      <a:pt x="36" y="158"/>
                    </a:lnTo>
                    <a:lnTo>
                      <a:pt x="36" y="158"/>
                    </a:lnTo>
                    <a:lnTo>
                      <a:pt x="36" y="158"/>
                    </a:lnTo>
                    <a:lnTo>
                      <a:pt x="32" y="158"/>
                    </a:lnTo>
                    <a:lnTo>
                      <a:pt x="32" y="158"/>
                    </a:lnTo>
                    <a:lnTo>
                      <a:pt x="32" y="158"/>
                    </a:lnTo>
                    <a:lnTo>
                      <a:pt x="32" y="153"/>
                    </a:lnTo>
                    <a:lnTo>
                      <a:pt x="32" y="153"/>
                    </a:lnTo>
                    <a:lnTo>
                      <a:pt x="27" y="153"/>
                    </a:lnTo>
                    <a:lnTo>
                      <a:pt x="27" y="153"/>
                    </a:lnTo>
                    <a:lnTo>
                      <a:pt x="27" y="153"/>
                    </a:lnTo>
                    <a:lnTo>
                      <a:pt x="27" y="153"/>
                    </a:lnTo>
                    <a:lnTo>
                      <a:pt x="23" y="158"/>
                    </a:lnTo>
                    <a:lnTo>
                      <a:pt x="23" y="158"/>
                    </a:lnTo>
                    <a:lnTo>
                      <a:pt x="23" y="158"/>
                    </a:lnTo>
                    <a:lnTo>
                      <a:pt x="18" y="158"/>
                    </a:lnTo>
                    <a:lnTo>
                      <a:pt x="18" y="158"/>
                    </a:lnTo>
                    <a:lnTo>
                      <a:pt x="18" y="158"/>
                    </a:lnTo>
                    <a:lnTo>
                      <a:pt x="18" y="162"/>
                    </a:lnTo>
                    <a:lnTo>
                      <a:pt x="14" y="162"/>
                    </a:lnTo>
                    <a:lnTo>
                      <a:pt x="14" y="162"/>
                    </a:lnTo>
                    <a:lnTo>
                      <a:pt x="14" y="162"/>
                    </a:lnTo>
                    <a:lnTo>
                      <a:pt x="14" y="162"/>
                    </a:lnTo>
                    <a:lnTo>
                      <a:pt x="14" y="162"/>
                    </a:lnTo>
                    <a:lnTo>
                      <a:pt x="9" y="158"/>
                    </a:lnTo>
                    <a:lnTo>
                      <a:pt x="9" y="158"/>
                    </a:lnTo>
                    <a:lnTo>
                      <a:pt x="9" y="158"/>
                    </a:lnTo>
                    <a:lnTo>
                      <a:pt x="9" y="158"/>
                    </a:lnTo>
                    <a:lnTo>
                      <a:pt x="9" y="153"/>
                    </a:lnTo>
                    <a:lnTo>
                      <a:pt x="5" y="149"/>
                    </a:lnTo>
                    <a:lnTo>
                      <a:pt x="5" y="149"/>
                    </a:lnTo>
                    <a:lnTo>
                      <a:pt x="0" y="144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5" y="135"/>
                    </a:lnTo>
                    <a:lnTo>
                      <a:pt x="5" y="135"/>
                    </a:lnTo>
                    <a:lnTo>
                      <a:pt x="9" y="140"/>
                    </a:lnTo>
                    <a:lnTo>
                      <a:pt x="9" y="140"/>
                    </a:lnTo>
                    <a:lnTo>
                      <a:pt x="9" y="140"/>
                    </a:lnTo>
                    <a:lnTo>
                      <a:pt x="14" y="140"/>
                    </a:lnTo>
                    <a:lnTo>
                      <a:pt x="14" y="140"/>
                    </a:lnTo>
                    <a:lnTo>
                      <a:pt x="14" y="140"/>
                    </a:lnTo>
                    <a:lnTo>
                      <a:pt x="14" y="135"/>
                    </a:lnTo>
                    <a:lnTo>
                      <a:pt x="14" y="135"/>
                    </a:lnTo>
                    <a:lnTo>
                      <a:pt x="14" y="135"/>
                    </a:lnTo>
                    <a:lnTo>
                      <a:pt x="14" y="135"/>
                    </a:lnTo>
                    <a:lnTo>
                      <a:pt x="14" y="131"/>
                    </a:lnTo>
                    <a:lnTo>
                      <a:pt x="14" y="131"/>
                    </a:lnTo>
                    <a:lnTo>
                      <a:pt x="14" y="131"/>
                    </a:lnTo>
                    <a:lnTo>
                      <a:pt x="9" y="131"/>
                    </a:lnTo>
                    <a:lnTo>
                      <a:pt x="9" y="131"/>
                    </a:lnTo>
                    <a:lnTo>
                      <a:pt x="9" y="131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2"/>
                    </a:lnTo>
                    <a:lnTo>
                      <a:pt x="5" y="122"/>
                    </a:lnTo>
                    <a:lnTo>
                      <a:pt x="5" y="122"/>
                    </a:lnTo>
                    <a:lnTo>
                      <a:pt x="9" y="122"/>
                    </a:lnTo>
                    <a:lnTo>
                      <a:pt x="9" y="117"/>
                    </a:lnTo>
                    <a:lnTo>
                      <a:pt x="9" y="117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14" y="113"/>
                    </a:lnTo>
                    <a:lnTo>
                      <a:pt x="14" y="113"/>
                    </a:lnTo>
                    <a:lnTo>
                      <a:pt x="14" y="113"/>
                    </a:lnTo>
                    <a:lnTo>
                      <a:pt x="14" y="117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08"/>
                    </a:lnTo>
                    <a:lnTo>
                      <a:pt x="23" y="108"/>
                    </a:lnTo>
                    <a:lnTo>
                      <a:pt x="23" y="108"/>
                    </a:lnTo>
                    <a:lnTo>
                      <a:pt x="23" y="108"/>
                    </a:lnTo>
                    <a:lnTo>
                      <a:pt x="23" y="108"/>
                    </a:lnTo>
                    <a:lnTo>
                      <a:pt x="23" y="104"/>
                    </a:lnTo>
                    <a:lnTo>
                      <a:pt x="23" y="104"/>
                    </a:lnTo>
                    <a:lnTo>
                      <a:pt x="27" y="104"/>
                    </a:lnTo>
                    <a:lnTo>
                      <a:pt x="27" y="104"/>
                    </a:lnTo>
                    <a:lnTo>
                      <a:pt x="27" y="108"/>
                    </a:lnTo>
                    <a:lnTo>
                      <a:pt x="32" y="108"/>
                    </a:lnTo>
                    <a:lnTo>
                      <a:pt x="32" y="113"/>
                    </a:lnTo>
                    <a:lnTo>
                      <a:pt x="32" y="113"/>
                    </a:lnTo>
                    <a:lnTo>
                      <a:pt x="36" y="113"/>
                    </a:lnTo>
                    <a:lnTo>
                      <a:pt x="36" y="117"/>
                    </a:lnTo>
                    <a:lnTo>
                      <a:pt x="41" y="113"/>
                    </a:lnTo>
                    <a:lnTo>
                      <a:pt x="41" y="113"/>
                    </a:lnTo>
                    <a:lnTo>
                      <a:pt x="45" y="113"/>
                    </a:lnTo>
                    <a:lnTo>
                      <a:pt x="45" y="108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7"/>
                    </a:lnTo>
                    <a:lnTo>
                      <a:pt x="45" y="117"/>
                    </a:lnTo>
                    <a:lnTo>
                      <a:pt x="50" y="117"/>
                    </a:lnTo>
                    <a:lnTo>
                      <a:pt x="50" y="117"/>
                    </a:lnTo>
                    <a:lnTo>
                      <a:pt x="50" y="117"/>
                    </a:lnTo>
                    <a:lnTo>
                      <a:pt x="54" y="113"/>
                    </a:lnTo>
                    <a:lnTo>
                      <a:pt x="54" y="113"/>
                    </a:lnTo>
                    <a:lnTo>
                      <a:pt x="54" y="113"/>
                    </a:lnTo>
                    <a:lnTo>
                      <a:pt x="54" y="113"/>
                    </a:lnTo>
                    <a:lnTo>
                      <a:pt x="54" y="113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54" y="104"/>
                    </a:lnTo>
                    <a:lnTo>
                      <a:pt x="59" y="104"/>
                    </a:lnTo>
                    <a:lnTo>
                      <a:pt x="54" y="99"/>
                    </a:lnTo>
                    <a:lnTo>
                      <a:pt x="54" y="99"/>
                    </a:lnTo>
                    <a:lnTo>
                      <a:pt x="59" y="99"/>
                    </a:lnTo>
                    <a:lnTo>
                      <a:pt x="59" y="95"/>
                    </a:lnTo>
                    <a:lnTo>
                      <a:pt x="59" y="95"/>
                    </a:lnTo>
                    <a:lnTo>
                      <a:pt x="59" y="90"/>
                    </a:lnTo>
                    <a:lnTo>
                      <a:pt x="54" y="90"/>
                    </a:lnTo>
                    <a:lnTo>
                      <a:pt x="59" y="86"/>
                    </a:lnTo>
                    <a:lnTo>
                      <a:pt x="59" y="81"/>
                    </a:lnTo>
                    <a:lnTo>
                      <a:pt x="59" y="81"/>
                    </a:lnTo>
                    <a:lnTo>
                      <a:pt x="59" y="81"/>
                    </a:lnTo>
                    <a:lnTo>
                      <a:pt x="54" y="76"/>
                    </a:lnTo>
                    <a:lnTo>
                      <a:pt x="54" y="76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45" y="72"/>
                    </a:lnTo>
                    <a:lnTo>
                      <a:pt x="45" y="72"/>
                    </a:lnTo>
                    <a:lnTo>
                      <a:pt x="45" y="67"/>
                    </a:lnTo>
                    <a:lnTo>
                      <a:pt x="45" y="67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50" y="58"/>
                    </a:lnTo>
                    <a:lnTo>
                      <a:pt x="50" y="58"/>
                    </a:lnTo>
                    <a:lnTo>
                      <a:pt x="54" y="58"/>
                    </a:lnTo>
                    <a:lnTo>
                      <a:pt x="54" y="58"/>
                    </a:lnTo>
                    <a:lnTo>
                      <a:pt x="54" y="58"/>
                    </a:lnTo>
                    <a:lnTo>
                      <a:pt x="54" y="58"/>
                    </a:lnTo>
                    <a:lnTo>
                      <a:pt x="54" y="54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4" y="49"/>
                    </a:lnTo>
                    <a:lnTo>
                      <a:pt x="54" y="49"/>
                    </a:lnTo>
                    <a:lnTo>
                      <a:pt x="54" y="49"/>
                    </a:lnTo>
                    <a:lnTo>
                      <a:pt x="54" y="45"/>
                    </a:lnTo>
                    <a:lnTo>
                      <a:pt x="54" y="45"/>
                    </a:lnTo>
                    <a:lnTo>
                      <a:pt x="50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1" y="45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1" y="31"/>
                    </a:lnTo>
                    <a:lnTo>
                      <a:pt x="45" y="31"/>
                    </a:lnTo>
                    <a:lnTo>
                      <a:pt x="50" y="31"/>
                    </a:lnTo>
                    <a:lnTo>
                      <a:pt x="54" y="31"/>
                    </a:lnTo>
                    <a:lnTo>
                      <a:pt x="59" y="31"/>
                    </a:lnTo>
                    <a:lnTo>
                      <a:pt x="59" y="27"/>
                    </a:lnTo>
                    <a:lnTo>
                      <a:pt x="59" y="31"/>
                    </a:lnTo>
                    <a:lnTo>
                      <a:pt x="63" y="31"/>
                    </a:lnTo>
                    <a:lnTo>
                      <a:pt x="63" y="31"/>
                    </a:lnTo>
                    <a:lnTo>
                      <a:pt x="63" y="31"/>
                    </a:lnTo>
                    <a:lnTo>
                      <a:pt x="63" y="31"/>
                    </a:lnTo>
                    <a:lnTo>
                      <a:pt x="63" y="31"/>
                    </a:lnTo>
                    <a:lnTo>
                      <a:pt x="63" y="31"/>
                    </a:lnTo>
                    <a:lnTo>
                      <a:pt x="68" y="31"/>
                    </a:lnTo>
                    <a:lnTo>
                      <a:pt x="68" y="31"/>
                    </a:lnTo>
                    <a:lnTo>
                      <a:pt x="68" y="31"/>
                    </a:lnTo>
                    <a:lnTo>
                      <a:pt x="68" y="31"/>
                    </a:lnTo>
                    <a:lnTo>
                      <a:pt x="73" y="31"/>
                    </a:lnTo>
                    <a:lnTo>
                      <a:pt x="73" y="31"/>
                    </a:lnTo>
                    <a:lnTo>
                      <a:pt x="73" y="31"/>
                    </a:lnTo>
                    <a:lnTo>
                      <a:pt x="73" y="31"/>
                    </a:lnTo>
                    <a:lnTo>
                      <a:pt x="77" y="31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86" y="36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1"/>
                    </a:lnTo>
                    <a:lnTo>
                      <a:pt x="86" y="31"/>
                    </a:lnTo>
                    <a:lnTo>
                      <a:pt x="86" y="31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91" y="27"/>
                    </a:lnTo>
                    <a:lnTo>
                      <a:pt x="91" y="22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1" y="13"/>
                    </a:lnTo>
                    <a:lnTo>
                      <a:pt x="91" y="13"/>
                    </a:lnTo>
                    <a:lnTo>
                      <a:pt x="91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5" y="4"/>
                    </a:lnTo>
                    <a:lnTo>
                      <a:pt x="95" y="4"/>
                    </a:lnTo>
                    <a:lnTo>
                      <a:pt x="95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9" y="4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13" y="0"/>
                    </a:lnTo>
                    <a:lnTo>
                      <a:pt x="118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17" name="Freeform 38"/>
              <p:cNvSpPr>
                <a:spLocks/>
              </p:cNvSpPr>
              <p:nvPr/>
            </p:nvSpPr>
            <p:spPr bwMode="auto">
              <a:xfrm>
                <a:off x="2076451" y="2565401"/>
                <a:ext cx="336550" cy="515938"/>
              </a:xfrm>
              <a:custGeom>
                <a:avLst/>
                <a:gdLst>
                  <a:gd name="T0" fmla="*/ 140 w 212"/>
                  <a:gd name="T1" fmla="*/ 13 h 325"/>
                  <a:gd name="T2" fmla="*/ 117 w 212"/>
                  <a:gd name="T3" fmla="*/ 41 h 325"/>
                  <a:gd name="T4" fmla="*/ 108 w 212"/>
                  <a:gd name="T5" fmla="*/ 63 h 325"/>
                  <a:gd name="T6" fmla="*/ 122 w 212"/>
                  <a:gd name="T7" fmla="*/ 77 h 325"/>
                  <a:gd name="T8" fmla="*/ 122 w 212"/>
                  <a:gd name="T9" fmla="*/ 95 h 325"/>
                  <a:gd name="T10" fmla="*/ 135 w 212"/>
                  <a:gd name="T11" fmla="*/ 104 h 325"/>
                  <a:gd name="T12" fmla="*/ 153 w 212"/>
                  <a:gd name="T13" fmla="*/ 104 h 325"/>
                  <a:gd name="T14" fmla="*/ 171 w 212"/>
                  <a:gd name="T15" fmla="*/ 122 h 325"/>
                  <a:gd name="T16" fmla="*/ 198 w 212"/>
                  <a:gd name="T17" fmla="*/ 117 h 325"/>
                  <a:gd name="T18" fmla="*/ 198 w 212"/>
                  <a:gd name="T19" fmla="*/ 135 h 325"/>
                  <a:gd name="T20" fmla="*/ 198 w 212"/>
                  <a:gd name="T21" fmla="*/ 158 h 325"/>
                  <a:gd name="T22" fmla="*/ 203 w 212"/>
                  <a:gd name="T23" fmla="*/ 176 h 325"/>
                  <a:gd name="T24" fmla="*/ 203 w 212"/>
                  <a:gd name="T25" fmla="*/ 190 h 325"/>
                  <a:gd name="T26" fmla="*/ 207 w 212"/>
                  <a:gd name="T27" fmla="*/ 203 h 325"/>
                  <a:gd name="T28" fmla="*/ 212 w 212"/>
                  <a:gd name="T29" fmla="*/ 217 h 325"/>
                  <a:gd name="T30" fmla="*/ 203 w 212"/>
                  <a:gd name="T31" fmla="*/ 199 h 325"/>
                  <a:gd name="T32" fmla="*/ 194 w 212"/>
                  <a:gd name="T33" fmla="*/ 208 h 325"/>
                  <a:gd name="T34" fmla="*/ 185 w 212"/>
                  <a:gd name="T35" fmla="*/ 208 h 325"/>
                  <a:gd name="T36" fmla="*/ 162 w 212"/>
                  <a:gd name="T37" fmla="*/ 208 h 325"/>
                  <a:gd name="T38" fmla="*/ 167 w 212"/>
                  <a:gd name="T39" fmla="*/ 221 h 325"/>
                  <a:gd name="T40" fmla="*/ 171 w 212"/>
                  <a:gd name="T41" fmla="*/ 226 h 325"/>
                  <a:gd name="T42" fmla="*/ 171 w 212"/>
                  <a:gd name="T43" fmla="*/ 230 h 325"/>
                  <a:gd name="T44" fmla="*/ 162 w 212"/>
                  <a:gd name="T45" fmla="*/ 230 h 325"/>
                  <a:gd name="T46" fmla="*/ 158 w 212"/>
                  <a:gd name="T47" fmla="*/ 239 h 325"/>
                  <a:gd name="T48" fmla="*/ 162 w 212"/>
                  <a:gd name="T49" fmla="*/ 253 h 325"/>
                  <a:gd name="T50" fmla="*/ 167 w 212"/>
                  <a:gd name="T51" fmla="*/ 262 h 325"/>
                  <a:gd name="T52" fmla="*/ 167 w 212"/>
                  <a:gd name="T53" fmla="*/ 276 h 325"/>
                  <a:gd name="T54" fmla="*/ 158 w 212"/>
                  <a:gd name="T55" fmla="*/ 325 h 325"/>
                  <a:gd name="T56" fmla="*/ 149 w 212"/>
                  <a:gd name="T57" fmla="*/ 316 h 325"/>
                  <a:gd name="T58" fmla="*/ 158 w 212"/>
                  <a:gd name="T59" fmla="*/ 294 h 325"/>
                  <a:gd name="T60" fmla="*/ 140 w 212"/>
                  <a:gd name="T61" fmla="*/ 285 h 325"/>
                  <a:gd name="T62" fmla="*/ 131 w 212"/>
                  <a:gd name="T63" fmla="*/ 285 h 325"/>
                  <a:gd name="T64" fmla="*/ 117 w 212"/>
                  <a:gd name="T65" fmla="*/ 289 h 325"/>
                  <a:gd name="T66" fmla="*/ 103 w 212"/>
                  <a:gd name="T67" fmla="*/ 289 h 325"/>
                  <a:gd name="T68" fmla="*/ 99 w 212"/>
                  <a:gd name="T69" fmla="*/ 276 h 325"/>
                  <a:gd name="T70" fmla="*/ 90 w 212"/>
                  <a:gd name="T71" fmla="*/ 267 h 325"/>
                  <a:gd name="T72" fmla="*/ 81 w 212"/>
                  <a:gd name="T73" fmla="*/ 258 h 325"/>
                  <a:gd name="T74" fmla="*/ 72 w 212"/>
                  <a:gd name="T75" fmla="*/ 244 h 325"/>
                  <a:gd name="T76" fmla="*/ 63 w 212"/>
                  <a:gd name="T77" fmla="*/ 244 h 325"/>
                  <a:gd name="T78" fmla="*/ 45 w 212"/>
                  <a:gd name="T79" fmla="*/ 235 h 325"/>
                  <a:gd name="T80" fmla="*/ 36 w 212"/>
                  <a:gd name="T81" fmla="*/ 235 h 325"/>
                  <a:gd name="T82" fmla="*/ 27 w 212"/>
                  <a:gd name="T83" fmla="*/ 230 h 325"/>
                  <a:gd name="T84" fmla="*/ 4 w 212"/>
                  <a:gd name="T85" fmla="*/ 217 h 325"/>
                  <a:gd name="T86" fmla="*/ 9 w 212"/>
                  <a:gd name="T87" fmla="*/ 203 h 325"/>
                  <a:gd name="T88" fmla="*/ 18 w 212"/>
                  <a:gd name="T89" fmla="*/ 190 h 325"/>
                  <a:gd name="T90" fmla="*/ 22 w 212"/>
                  <a:gd name="T91" fmla="*/ 181 h 325"/>
                  <a:gd name="T92" fmla="*/ 36 w 212"/>
                  <a:gd name="T93" fmla="*/ 163 h 325"/>
                  <a:gd name="T94" fmla="*/ 31 w 212"/>
                  <a:gd name="T95" fmla="*/ 158 h 325"/>
                  <a:gd name="T96" fmla="*/ 31 w 212"/>
                  <a:gd name="T97" fmla="*/ 149 h 325"/>
                  <a:gd name="T98" fmla="*/ 31 w 212"/>
                  <a:gd name="T99" fmla="*/ 122 h 325"/>
                  <a:gd name="T100" fmla="*/ 27 w 212"/>
                  <a:gd name="T101" fmla="*/ 104 h 325"/>
                  <a:gd name="T102" fmla="*/ 27 w 212"/>
                  <a:gd name="T103" fmla="*/ 90 h 325"/>
                  <a:gd name="T104" fmla="*/ 40 w 212"/>
                  <a:gd name="T105" fmla="*/ 86 h 325"/>
                  <a:gd name="T106" fmla="*/ 36 w 212"/>
                  <a:gd name="T107" fmla="*/ 72 h 325"/>
                  <a:gd name="T108" fmla="*/ 45 w 212"/>
                  <a:gd name="T109" fmla="*/ 86 h 325"/>
                  <a:gd name="T110" fmla="*/ 49 w 212"/>
                  <a:gd name="T111" fmla="*/ 72 h 325"/>
                  <a:gd name="T112" fmla="*/ 67 w 212"/>
                  <a:gd name="T113" fmla="*/ 50 h 325"/>
                  <a:gd name="T114" fmla="*/ 72 w 212"/>
                  <a:gd name="T115" fmla="*/ 31 h 325"/>
                  <a:gd name="T116" fmla="*/ 90 w 212"/>
                  <a:gd name="T117" fmla="*/ 27 h 325"/>
                  <a:gd name="T118" fmla="*/ 103 w 212"/>
                  <a:gd name="T119" fmla="*/ 18 h 325"/>
                  <a:gd name="T120" fmla="*/ 135 w 212"/>
                  <a:gd name="T121" fmla="*/ 0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12" h="325">
                    <a:moveTo>
                      <a:pt x="149" y="0"/>
                    </a:moveTo>
                    <a:lnTo>
                      <a:pt x="149" y="0"/>
                    </a:lnTo>
                    <a:lnTo>
                      <a:pt x="153" y="4"/>
                    </a:lnTo>
                    <a:lnTo>
                      <a:pt x="153" y="4"/>
                    </a:lnTo>
                    <a:lnTo>
                      <a:pt x="149" y="9"/>
                    </a:lnTo>
                    <a:lnTo>
                      <a:pt x="149" y="9"/>
                    </a:lnTo>
                    <a:lnTo>
                      <a:pt x="149" y="9"/>
                    </a:lnTo>
                    <a:lnTo>
                      <a:pt x="144" y="9"/>
                    </a:lnTo>
                    <a:lnTo>
                      <a:pt x="144" y="9"/>
                    </a:lnTo>
                    <a:lnTo>
                      <a:pt x="140" y="13"/>
                    </a:lnTo>
                    <a:lnTo>
                      <a:pt x="135" y="13"/>
                    </a:lnTo>
                    <a:lnTo>
                      <a:pt x="135" y="13"/>
                    </a:lnTo>
                    <a:lnTo>
                      <a:pt x="131" y="22"/>
                    </a:lnTo>
                    <a:lnTo>
                      <a:pt x="126" y="22"/>
                    </a:lnTo>
                    <a:lnTo>
                      <a:pt x="126" y="27"/>
                    </a:lnTo>
                    <a:lnTo>
                      <a:pt x="126" y="27"/>
                    </a:lnTo>
                    <a:lnTo>
                      <a:pt x="122" y="27"/>
                    </a:lnTo>
                    <a:lnTo>
                      <a:pt x="122" y="31"/>
                    </a:lnTo>
                    <a:lnTo>
                      <a:pt x="117" y="36"/>
                    </a:lnTo>
                    <a:lnTo>
                      <a:pt x="117" y="41"/>
                    </a:lnTo>
                    <a:lnTo>
                      <a:pt x="117" y="45"/>
                    </a:lnTo>
                    <a:lnTo>
                      <a:pt x="113" y="50"/>
                    </a:lnTo>
                    <a:lnTo>
                      <a:pt x="113" y="54"/>
                    </a:lnTo>
                    <a:lnTo>
                      <a:pt x="113" y="54"/>
                    </a:lnTo>
                    <a:lnTo>
                      <a:pt x="108" y="54"/>
                    </a:lnTo>
                    <a:lnTo>
                      <a:pt x="108" y="59"/>
                    </a:lnTo>
                    <a:lnTo>
                      <a:pt x="108" y="59"/>
                    </a:lnTo>
                    <a:lnTo>
                      <a:pt x="108" y="63"/>
                    </a:lnTo>
                    <a:lnTo>
                      <a:pt x="108" y="63"/>
                    </a:lnTo>
                    <a:lnTo>
                      <a:pt x="108" y="63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13" y="63"/>
                    </a:lnTo>
                    <a:lnTo>
                      <a:pt x="113" y="63"/>
                    </a:lnTo>
                    <a:lnTo>
                      <a:pt x="117" y="63"/>
                    </a:lnTo>
                    <a:lnTo>
                      <a:pt x="117" y="63"/>
                    </a:lnTo>
                    <a:lnTo>
                      <a:pt x="117" y="68"/>
                    </a:lnTo>
                    <a:lnTo>
                      <a:pt x="117" y="72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22" y="81"/>
                    </a:lnTo>
                    <a:lnTo>
                      <a:pt x="122" y="81"/>
                    </a:lnTo>
                    <a:lnTo>
                      <a:pt x="122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22" y="95"/>
                    </a:lnTo>
                    <a:lnTo>
                      <a:pt x="122" y="95"/>
                    </a:lnTo>
                    <a:lnTo>
                      <a:pt x="122" y="95"/>
                    </a:lnTo>
                    <a:lnTo>
                      <a:pt x="122" y="95"/>
                    </a:lnTo>
                    <a:lnTo>
                      <a:pt x="126" y="99"/>
                    </a:lnTo>
                    <a:lnTo>
                      <a:pt x="126" y="99"/>
                    </a:lnTo>
                    <a:lnTo>
                      <a:pt x="126" y="104"/>
                    </a:lnTo>
                    <a:lnTo>
                      <a:pt x="126" y="104"/>
                    </a:lnTo>
                    <a:lnTo>
                      <a:pt x="131" y="104"/>
                    </a:lnTo>
                    <a:lnTo>
                      <a:pt x="131" y="104"/>
                    </a:lnTo>
                    <a:lnTo>
                      <a:pt x="135" y="104"/>
                    </a:lnTo>
                    <a:lnTo>
                      <a:pt x="135" y="104"/>
                    </a:lnTo>
                    <a:lnTo>
                      <a:pt x="140" y="104"/>
                    </a:lnTo>
                    <a:lnTo>
                      <a:pt x="144" y="104"/>
                    </a:lnTo>
                    <a:lnTo>
                      <a:pt x="144" y="104"/>
                    </a:lnTo>
                    <a:lnTo>
                      <a:pt x="149" y="104"/>
                    </a:lnTo>
                    <a:lnTo>
                      <a:pt x="149" y="104"/>
                    </a:lnTo>
                    <a:lnTo>
                      <a:pt x="149" y="104"/>
                    </a:lnTo>
                    <a:lnTo>
                      <a:pt x="153" y="104"/>
                    </a:lnTo>
                    <a:lnTo>
                      <a:pt x="153" y="104"/>
                    </a:lnTo>
                    <a:lnTo>
                      <a:pt x="153" y="104"/>
                    </a:lnTo>
                    <a:lnTo>
                      <a:pt x="158" y="104"/>
                    </a:lnTo>
                    <a:lnTo>
                      <a:pt x="158" y="104"/>
                    </a:lnTo>
                    <a:lnTo>
                      <a:pt x="158" y="104"/>
                    </a:lnTo>
                    <a:lnTo>
                      <a:pt x="162" y="104"/>
                    </a:lnTo>
                    <a:lnTo>
                      <a:pt x="162" y="113"/>
                    </a:lnTo>
                    <a:lnTo>
                      <a:pt x="167" y="113"/>
                    </a:lnTo>
                    <a:lnTo>
                      <a:pt x="167" y="117"/>
                    </a:lnTo>
                    <a:lnTo>
                      <a:pt x="171" y="122"/>
                    </a:lnTo>
                    <a:lnTo>
                      <a:pt x="171" y="122"/>
                    </a:lnTo>
                    <a:lnTo>
                      <a:pt x="171" y="122"/>
                    </a:lnTo>
                    <a:lnTo>
                      <a:pt x="171" y="122"/>
                    </a:lnTo>
                    <a:lnTo>
                      <a:pt x="171" y="122"/>
                    </a:lnTo>
                    <a:lnTo>
                      <a:pt x="176" y="122"/>
                    </a:lnTo>
                    <a:lnTo>
                      <a:pt x="176" y="122"/>
                    </a:lnTo>
                    <a:lnTo>
                      <a:pt x="180" y="122"/>
                    </a:lnTo>
                    <a:lnTo>
                      <a:pt x="185" y="122"/>
                    </a:lnTo>
                    <a:lnTo>
                      <a:pt x="189" y="122"/>
                    </a:lnTo>
                    <a:lnTo>
                      <a:pt x="194" y="122"/>
                    </a:lnTo>
                    <a:lnTo>
                      <a:pt x="198" y="122"/>
                    </a:lnTo>
                    <a:lnTo>
                      <a:pt x="198" y="117"/>
                    </a:lnTo>
                    <a:lnTo>
                      <a:pt x="198" y="117"/>
                    </a:lnTo>
                    <a:lnTo>
                      <a:pt x="203" y="122"/>
                    </a:lnTo>
                    <a:lnTo>
                      <a:pt x="203" y="122"/>
                    </a:lnTo>
                    <a:lnTo>
                      <a:pt x="203" y="122"/>
                    </a:lnTo>
                    <a:lnTo>
                      <a:pt x="207" y="126"/>
                    </a:lnTo>
                    <a:lnTo>
                      <a:pt x="203" y="126"/>
                    </a:lnTo>
                    <a:lnTo>
                      <a:pt x="203" y="126"/>
                    </a:lnTo>
                    <a:lnTo>
                      <a:pt x="203" y="131"/>
                    </a:lnTo>
                    <a:lnTo>
                      <a:pt x="203" y="135"/>
                    </a:lnTo>
                    <a:lnTo>
                      <a:pt x="198" y="135"/>
                    </a:lnTo>
                    <a:lnTo>
                      <a:pt x="198" y="135"/>
                    </a:lnTo>
                    <a:lnTo>
                      <a:pt x="198" y="140"/>
                    </a:lnTo>
                    <a:lnTo>
                      <a:pt x="198" y="140"/>
                    </a:lnTo>
                    <a:lnTo>
                      <a:pt x="198" y="145"/>
                    </a:lnTo>
                    <a:lnTo>
                      <a:pt x="198" y="149"/>
                    </a:lnTo>
                    <a:lnTo>
                      <a:pt x="198" y="154"/>
                    </a:lnTo>
                    <a:lnTo>
                      <a:pt x="198" y="154"/>
                    </a:lnTo>
                    <a:lnTo>
                      <a:pt x="198" y="158"/>
                    </a:lnTo>
                    <a:lnTo>
                      <a:pt x="198" y="158"/>
                    </a:lnTo>
                    <a:lnTo>
                      <a:pt x="198" y="158"/>
                    </a:lnTo>
                    <a:lnTo>
                      <a:pt x="198" y="163"/>
                    </a:lnTo>
                    <a:lnTo>
                      <a:pt x="198" y="167"/>
                    </a:lnTo>
                    <a:lnTo>
                      <a:pt x="198" y="167"/>
                    </a:lnTo>
                    <a:lnTo>
                      <a:pt x="203" y="167"/>
                    </a:lnTo>
                    <a:lnTo>
                      <a:pt x="203" y="172"/>
                    </a:lnTo>
                    <a:lnTo>
                      <a:pt x="203" y="176"/>
                    </a:lnTo>
                    <a:lnTo>
                      <a:pt x="207" y="176"/>
                    </a:lnTo>
                    <a:lnTo>
                      <a:pt x="203" y="176"/>
                    </a:lnTo>
                    <a:lnTo>
                      <a:pt x="203" y="176"/>
                    </a:lnTo>
                    <a:lnTo>
                      <a:pt x="203" y="176"/>
                    </a:lnTo>
                    <a:lnTo>
                      <a:pt x="203" y="181"/>
                    </a:lnTo>
                    <a:lnTo>
                      <a:pt x="194" y="185"/>
                    </a:lnTo>
                    <a:lnTo>
                      <a:pt x="194" y="185"/>
                    </a:lnTo>
                    <a:lnTo>
                      <a:pt x="194" y="185"/>
                    </a:lnTo>
                    <a:lnTo>
                      <a:pt x="198" y="185"/>
                    </a:lnTo>
                    <a:lnTo>
                      <a:pt x="198" y="185"/>
                    </a:lnTo>
                    <a:lnTo>
                      <a:pt x="198" y="185"/>
                    </a:lnTo>
                    <a:lnTo>
                      <a:pt x="198" y="190"/>
                    </a:lnTo>
                    <a:lnTo>
                      <a:pt x="198" y="190"/>
                    </a:lnTo>
                    <a:lnTo>
                      <a:pt x="203" y="190"/>
                    </a:lnTo>
                    <a:lnTo>
                      <a:pt x="203" y="190"/>
                    </a:lnTo>
                    <a:lnTo>
                      <a:pt x="203" y="190"/>
                    </a:lnTo>
                    <a:lnTo>
                      <a:pt x="203" y="194"/>
                    </a:lnTo>
                    <a:lnTo>
                      <a:pt x="207" y="194"/>
                    </a:lnTo>
                    <a:lnTo>
                      <a:pt x="207" y="194"/>
                    </a:lnTo>
                    <a:lnTo>
                      <a:pt x="207" y="194"/>
                    </a:lnTo>
                    <a:lnTo>
                      <a:pt x="207" y="199"/>
                    </a:lnTo>
                    <a:lnTo>
                      <a:pt x="207" y="199"/>
                    </a:lnTo>
                    <a:lnTo>
                      <a:pt x="207" y="199"/>
                    </a:lnTo>
                    <a:lnTo>
                      <a:pt x="207" y="203"/>
                    </a:lnTo>
                    <a:lnTo>
                      <a:pt x="207" y="203"/>
                    </a:lnTo>
                    <a:lnTo>
                      <a:pt x="207" y="203"/>
                    </a:lnTo>
                    <a:lnTo>
                      <a:pt x="207" y="208"/>
                    </a:lnTo>
                    <a:lnTo>
                      <a:pt x="212" y="208"/>
                    </a:lnTo>
                    <a:lnTo>
                      <a:pt x="212" y="212"/>
                    </a:lnTo>
                    <a:lnTo>
                      <a:pt x="212" y="212"/>
                    </a:lnTo>
                    <a:lnTo>
                      <a:pt x="212" y="212"/>
                    </a:lnTo>
                    <a:lnTo>
                      <a:pt x="212" y="217"/>
                    </a:lnTo>
                    <a:lnTo>
                      <a:pt x="212" y="217"/>
                    </a:lnTo>
                    <a:lnTo>
                      <a:pt x="212" y="217"/>
                    </a:lnTo>
                    <a:lnTo>
                      <a:pt x="207" y="217"/>
                    </a:lnTo>
                    <a:lnTo>
                      <a:pt x="207" y="217"/>
                    </a:lnTo>
                    <a:lnTo>
                      <a:pt x="207" y="217"/>
                    </a:lnTo>
                    <a:lnTo>
                      <a:pt x="207" y="212"/>
                    </a:lnTo>
                    <a:lnTo>
                      <a:pt x="207" y="212"/>
                    </a:lnTo>
                    <a:lnTo>
                      <a:pt x="207" y="208"/>
                    </a:lnTo>
                    <a:lnTo>
                      <a:pt x="207" y="208"/>
                    </a:lnTo>
                    <a:lnTo>
                      <a:pt x="203" y="203"/>
                    </a:lnTo>
                    <a:lnTo>
                      <a:pt x="203" y="203"/>
                    </a:lnTo>
                    <a:lnTo>
                      <a:pt x="203" y="199"/>
                    </a:lnTo>
                    <a:lnTo>
                      <a:pt x="203" y="199"/>
                    </a:lnTo>
                    <a:lnTo>
                      <a:pt x="203" y="199"/>
                    </a:lnTo>
                    <a:lnTo>
                      <a:pt x="198" y="203"/>
                    </a:lnTo>
                    <a:lnTo>
                      <a:pt x="198" y="203"/>
                    </a:lnTo>
                    <a:lnTo>
                      <a:pt x="198" y="203"/>
                    </a:lnTo>
                    <a:lnTo>
                      <a:pt x="194" y="208"/>
                    </a:lnTo>
                    <a:lnTo>
                      <a:pt x="194" y="208"/>
                    </a:lnTo>
                    <a:lnTo>
                      <a:pt x="194" y="208"/>
                    </a:lnTo>
                    <a:lnTo>
                      <a:pt x="194" y="208"/>
                    </a:lnTo>
                    <a:lnTo>
                      <a:pt x="194" y="208"/>
                    </a:lnTo>
                    <a:lnTo>
                      <a:pt x="189" y="203"/>
                    </a:lnTo>
                    <a:lnTo>
                      <a:pt x="189" y="203"/>
                    </a:lnTo>
                    <a:lnTo>
                      <a:pt x="189" y="203"/>
                    </a:lnTo>
                    <a:lnTo>
                      <a:pt x="189" y="203"/>
                    </a:lnTo>
                    <a:lnTo>
                      <a:pt x="189" y="203"/>
                    </a:lnTo>
                    <a:lnTo>
                      <a:pt x="189" y="208"/>
                    </a:lnTo>
                    <a:lnTo>
                      <a:pt x="189" y="208"/>
                    </a:lnTo>
                    <a:lnTo>
                      <a:pt x="189" y="208"/>
                    </a:lnTo>
                    <a:lnTo>
                      <a:pt x="189" y="208"/>
                    </a:lnTo>
                    <a:lnTo>
                      <a:pt x="185" y="208"/>
                    </a:lnTo>
                    <a:lnTo>
                      <a:pt x="180" y="208"/>
                    </a:lnTo>
                    <a:lnTo>
                      <a:pt x="176" y="208"/>
                    </a:lnTo>
                    <a:lnTo>
                      <a:pt x="171" y="208"/>
                    </a:lnTo>
                    <a:lnTo>
                      <a:pt x="171" y="208"/>
                    </a:lnTo>
                    <a:lnTo>
                      <a:pt x="167" y="208"/>
                    </a:lnTo>
                    <a:lnTo>
                      <a:pt x="167" y="208"/>
                    </a:lnTo>
                    <a:lnTo>
                      <a:pt x="167" y="208"/>
                    </a:lnTo>
                    <a:lnTo>
                      <a:pt x="167" y="208"/>
                    </a:lnTo>
                    <a:lnTo>
                      <a:pt x="162" y="208"/>
                    </a:lnTo>
                    <a:lnTo>
                      <a:pt x="162" y="208"/>
                    </a:lnTo>
                    <a:lnTo>
                      <a:pt x="162" y="208"/>
                    </a:lnTo>
                    <a:lnTo>
                      <a:pt x="162" y="208"/>
                    </a:lnTo>
                    <a:lnTo>
                      <a:pt x="162" y="212"/>
                    </a:lnTo>
                    <a:lnTo>
                      <a:pt x="162" y="217"/>
                    </a:lnTo>
                    <a:lnTo>
                      <a:pt x="162" y="221"/>
                    </a:lnTo>
                    <a:lnTo>
                      <a:pt x="162" y="221"/>
                    </a:lnTo>
                    <a:lnTo>
                      <a:pt x="162" y="221"/>
                    </a:lnTo>
                    <a:lnTo>
                      <a:pt x="162" y="221"/>
                    </a:lnTo>
                    <a:lnTo>
                      <a:pt x="162" y="221"/>
                    </a:lnTo>
                    <a:lnTo>
                      <a:pt x="167" y="221"/>
                    </a:lnTo>
                    <a:lnTo>
                      <a:pt x="167" y="221"/>
                    </a:lnTo>
                    <a:lnTo>
                      <a:pt x="167" y="221"/>
                    </a:lnTo>
                    <a:lnTo>
                      <a:pt x="167" y="221"/>
                    </a:lnTo>
                    <a:lnTo>
                      <a:pt x="167" y="221"/>
                    </a:lnTo>
                    <a:lnTo>
                      <a:pt x="167" y="221"/>
                    </a:lnTo>
                    <a:lnTo>
                      <a:pt x="171" y="221"/>
                    </a:lnTo>
                    <a:lnTo>
                      <a:pt x="171" y="221"/>
                    </a:lnTo>
                    <a:lnTo>
                      <a:pt x="171" y="221"/>
                    </a:lnTo>
                    <a:lnTo>
                      <a:pt x="171" y="226"/>
                    </a:lnTo>
                    <a:lnTo>
                      <a:pt x="171" y="226"/>
                    </a:lnTo>
                    <a:lnTo>
                      <a:pt x="171" y="226"/>
                    </a:lnTo>
                    <a:lnTo>
                      <a:pt x="171" y="226"/>
                    </a:lnTo>
                    <a:lnTo>
                      <a:pt x="171" y="226"/>
                    </a:lnTo>
                    <a:lnTo>
                      <a:pt x="171" y="230"/>
                    </a:lnTo>
                    <a:lnTo>
                      <a:pt x="171" y="230"/>
                    </a:lnTo>
                    <a:lnTo>
                      <a:pt x="171" y="230"/>
                    </a:lnTo>
                    <a:lnTo>
                      <a:pt x="171" y="230"/>
                    </a:lnTo>
                    <a:lnTo>
                      <a:pt x="171" y="230"/>
                    </a:lnTo>
                    <a:lnTo>
                      <a:pt x="171" y="230"/>
                    </a:lnTo>
                    <a:lnTo>
                      <a:pt x="171" y="230"/>
                    </a:lnTo>
                    <a:lnTo>
                      <a:pt x="171" y="230"/>
                    </a:lnTo>
                    <a:lnTo>
                      <a:pt x="171" y="230"/>
                    </a:lnTo>
                    <a:lnTo>
                      <a:pt x="167" y="230"/>
                    </a:lnTo>
                    <a:lnTo>
                      <a:pt x="167" y="230"/>
                    </a:lnTo>
                    <a:lnTo>
                      <a:pt x="167" y="230"/>
                    </a:lnTo>
                    <a:lnTo>
                      <a:pt x="167" y="226"/>
                    </a:lnTo>
                    <a:lnTo>
                      <a:pt x="167" y="226"/>
                    </a:lnTo>
                    <a:lnTo>
                      <a:pt x="167" y="230"/>
                    </a:lnTo>
                    <a:lnTo>
                      <a:pt x="162" y="230"/>
                    </a:lnTo>
                    <a:lnTo>
                      <a:pt x="162" y="230"/>
                    </a:lnTo>
                    <a:lnTo>
                      <a:pt x="162" y="230"/>
                    </a:lnTo>
                    <a:lnTo>
                      <a:pt x="162" y="230"/>
                    </a:lnTo>
                    <a:lnTo>
                      <a:pt x="162" y="230"/>
                    </a:lnTo>
                    <a:lnTo>
                      <a:pt x="162" y="230"/>
                    </a:lnTo>
                    <a:lnTo>
                      <a:pt x="158" y="230"/>
                    </a:lnTo>
                    <a:lnTo>
                      <a:pt x="158" y="230"/>
                    </a:lnTo>
                    <a:lnTo>
                      <a:pt x="158" y="230"/>
                    </a:lnTo>
                    <a:lnTo>
                      <a:pt x="158" y="230"/>
                    </a:lnTo>
                    <a:lnTo>
                      <a:pt x="158" y="235"/>
                    </a:lnTo>
                    <a:lnTo>
                      <a:pt x="158" y="239"/>
                    </a:lnTo>
                    <a:lnTo>
                      <a:pt x="158" y="239"/>
                    </a:lnTo>
                    <a:lnTo>
                      <a:pt x="158" y="244"/>
                    </a:lnTo>
                    <a:lnTo>
                      <a:pt x="158" y="244"/>
                    </a:lnTo>
                    <a:lnTo>
                      <a:pt x="158" y="248"/>
                    </a:lnTo>
                    <a:lnTo>
                      <a:pt x="162" y="248"/>
                    </a:lnTo>
                    <a:lnTo>
                      <a:pt x="162" y="253"/>
                    </a:lnTo>
                    <a:lnTo>
                      <a:pt x="162" y="253"/>
                    </a:lnTo>
                    <a:lnTo>
                      <a:pt x="162" y="253"/>
                    </a:lnTo>
                    <a:lnTo>
                      <a:pt x="162" y="253"/>
                    </a:lnTo>
                    <a:lnTo>
                      <a:pt x="162" y="253"/>
                    </a:lnTo>
                    <a:lnTo>
                      <a:pt x="162" y="253"/>
                    </a:lnTo>
                    <a:lnTo>
                      <a:pt x="162" y="253"/>
                    </a:lnTo>
                    <a:lnTo>
                      <a:pt x="162" y="258"/>
                    </a:lnTo>
                    <a:lnTo>
                      <a:pt x="162" y="258"/>
                    </a:lnTo>
                    <a:lnTo>
                      <a:pt x="167" y="258"/>
                    </a:lnTo>
                    <a:lnTo>
                      <a:pt x="167" y="258"/>
                    </a:lnTo>
                    <a:lnTo>
                      <a:pt x="167" y="258"/>
                    </a:lnTo>
                    <a:lnTo>
                      <a:pt x="167" y="262"/>
                    </a:lnTo>
                    <a:lnTo>
                      <a:pt x="167" y="262"/>
                    </a:lnTo>
                    <a:lnTo>
                      <a:pt x="167" y="262"/>
                    </a:lnTo>
                    <a:lnTo>
                      <a:pt x="167" y="262"/>
                    </a:lnTo>
                    <a:lnTo>
                      <a:pt x="167" y="262"/>
                    </a:lnTo>
                    <a:lnTo>
                      <a:pt x="167" y="262"/>
                    </a:lnTo>
                    <a:lnTo>
                      <a:pt x="167" y="262"/>
                    </a:lnTo>
                    <a:lnTo>
                      <a:pt x="167" y="267"/>
                    </a:lnTo>
                    <a:lnTo>
                      <a:pt x="167" y="267"/>
                    </a:lnTo>
                    <a:lnTo>
                      <a:pt x="167" y="267"/>
                    </a:lnTo>
                    <a:lnTo>
                      <a:pt x="167" y="271"/>
                    </a:lnTo>
                    <a:lnTo>
                      <a:pt x="167" y="276"/>
                    </a:lnTo>
                    <a:lnTo>
                      <a:pt x="167" y="276"/>
                    </a:lnTo>
                    <a:lnTo>
                      <a:pt x="167" y="280"/>
                    </a:lnTo>
                    <a:lnTo>
                      <a:pt x="167" y="289"/>
                    </a:lnTo>
                    <a:lnTo>
                      <a:pt x="162" y="294"/>
                    </a:lnTo>
                    <a:lnTo>
                      <a:pt x="162" y="303"/>
                    </a:lnTo>
                    <a:lnTo>
                      <a:pt x="162" y="307"/>
                    </a:lnTo>
                    <a:lnTo>
                      <a:pt x="162" y="312"/>
                    </a:lnTo>
                    <a:lnTo>
                      <a:pt x="162" y="321"/>
                    </a:lnTo>
                    <a:lnTo>
                      <a:pt x="158" y="325"/>
                    </a:lnTo>
                    <a:lnTo>
                      <a:pt x="158" y="325"/>
                    </a:lnTo>
                    <a:lnTo>
                      <a:pt x="158" y="325"/>
                    </a:lnTo>
                    <a:lnTo>
                      <a:pt x="158" y="321"/>
                    </a:lnTo>
                    <a:lnTo>
                      <a:pt x="158" y="321"/>
                    </a:lnTo>
                    <a:lnTo>
                      <a:pt x="153" y="321"/>
                    </a:lnTo>
                    <a:lnTo>
                      <a:pt x="153" y="316"/>
                    </a:lnTo>
                    <a:lnTo>
                      <a:pt x="153" y="316"/>
                    </a:lnTo>
                    <a:lnTo>
                      <a:pt x="153" y="316"/>
                    </a:lnTo>
                    <a:lnTo>
                      <a:pt x="153" y="316"/>
                    </a:lnTo>
                    <a:lnTo>
                      <a:pt x="153" y="316"/>
                    </a:lnTo>
                    <a:lnTo>
                      <a:pt x="149" y="316"/>
                    </a:lnTo>
                    <a:lnTo>
                      <a:pt x="149" y="316"/>
                    </a:lnTo>
                    <a:lnTo>
                      <a:pt x="144" y="316"/>
                    </a:lnTo>
                    <a:lnTo>
                      <a:pt x="144" y="316"/>
                    </a:lnTo>
                    <a:lnTo>
                      <a:pt x="149" y="312"/>
                    </a:lnTo>
                    <a:lnTo>
                      <a:pt x="153" y="307"/>
                    </a:lnTo>
                    <a:lnTo>
                      <a:pt x="153" y="303"/>
                    </a:lnTo>
                    <a:lnTo>
                      <a:pt x="158" y="298"/>
                    </a:lnTo>
                    <a:lnTo>
                      <a:pt x="158" y="294"/>
                    </a:lnTo>
                    <a:lnTo>
                      <a:pt x="158" y="294"/>
                    </a:lnTo>
                    <a:lnTo>
                      <a:pt x="158" y="294"/>
                    </a:lnTo>
                    <a:lnTo>
                      <a:pt x="158" y="294"/>
                    </a:lnTo>
                    <a:lnTo>
                      <a:pt x="153" y="294"/>
                    </a:lnTo>
                    <a:lnTo>
                      <a:pt x="153" y="294"/>
                    </a:lnTo>
                    <a:lnTo>
                      <a:pt x="153" y="294"/>
                    </a:lnTo>
                    <a:lnTo>
                      <a:pt x="153" y="294"/>
                    </a:lnTo>
                    <a:lnTo>
                      <a:pt x="149" y="289"/>
                    </a:lnTo>
                    <a:lnTo>
                      <a:pt x="149" y="289"/>
                    </a:lnTo>
                    <a:lnTo>
                      <a:pt x="149" y="289"/>
                    </a:lnTo>
                    <a:lnTo>
                      <a:pt x="149" y="289"/>
                    </a:lnTo>
                    <a:lnTo>
                      <a:pt x="144" y="289"/>
                    </a:lnTo>
                    <a:lnTo>
                      <a:pt x="140" y="285"/>
                    </a:lnTo>
                    <a:lnTo>
                      <a:pt x="140" y="285"/>
                    </a:lnTo>
                    <a:lnTo>
                      <a:pt x="140" y="285"/>
                    </a:lnTo>
                    <a:lnTo>
                      <a:pt x="140" y="285"/>
                    </a:lnTo>
                    <a:lnTo>
                      <a:pt x="135" y="289"/>
                    </a:lnTo>
                    <a:lnTo>
                      <a:pt x="135" y="289"/>
                    </a:lnTo>
                    <a:lnTo>
                      <a:pt x="135" y="289"/>
                    </a:lnTo>
                    <a:lnTo>
                      <a:pt x="131" y="289"/>
                    </a:lnTo>
                    <a:lnTo>
                      <a:pt x="131" y="285"/>
                    </a:lnTo>
                    <a:lnTo>
                      <a:pt x="131" y="285"/>
                    </a:lnTo>
                    <a:lnTo>
                      <a:pt x="131" y="285"/>
                    </a:lnTo>
                    <a:lnTo>
                      <a:pt x="126" y="285"/>
                    </a:lnTo>
                    <a:lnTo>
                      <a:pt x="126" y="285"/>
                    </a:lnTo>
                    <a:lnTo>
                      <a:pt x="126" y="285"/>
                    </a:lnTo>
                    <a:lnTo>
                      <a:pt x="126" y="285"/>
                    </a:lnTo>
                    <a:lnTo>
                      <a:pt x="122" y="289"/>
                    </a:lnTo>
                    <a:lnTo>
                      <a:pt x="122" y="289"/>
                    </a:lnTo>
                    <a:lnTo>
                      <a:pt x="122" y="289"/>
                    </a:lnTo>
                    <a:lnTo>
                      <a:pt x="117" y="289"/>
                    </a:lnTo>
                    <a:lnTo>
                      <a:pt x="117" y="289"/>
                    </a:lnTo>
                    <a:lnTo>
                      <a:pt x="117" y="289"/>
                    </a:lnTo>
                    <a:lnTo>
                      <a:pt x="113" y="289"/>
                    </a:lnTo>
                    <a:lnTo>
                      <a:pt x="113" y="289"/>
                    </a:lnTo>
                    <a:lnTo>
                      <a:pt x="113" y="289"/>
                    </a:lnTo>
                    <a:lnTo>
                      <a:pt x="113" y="289"/>
                    </a:lnTo>
                    <a:lnTo>
                      <a:pt x="113" y="289"/>
                    </a:lnTo>
                    <a:lnTo>
                      <a:pt x="108" y="289"/>
                    </a:lnTo>
                    <a:lnTo>
                      <a:pt x="108" y="289"/>
                    </a:lnTo>
                    <a:lnTo>
                      <a:pt x="108" y="289"/>
                    </a:lnTo>
                    <a:lnTo>
                      <a:pt x="103" y="289"/>
                    </a:lnTo>
                    <a:lnTo>
                      <a:pt x="103" y="289"/>
                    </a:lnTo>
                    <a:lnTo>
                      <a:pt x="103" y="285"/>
                    </a:lnTo>
                    <a:lnTo>
                      <a:pt x="103" y="285"/>
                    </a:lnTo>
                    <a:lnTo>
                      <a:pt x="103" y="285"/>
                    </a:lnTo>
                    <a:lnTo>
                      <a:pt x="103" y="285"/>
                    </a:lnTo>
                    <a:lnTo>
                      <a:pt x="103" y="280"/>
                    </a:lnTo>
                    <a:lnTo>
                      <a:pt x="103" y="280"/>
                    </a:lnTo>
                    <a:lnTo>
                      <a:pt x="103" y="280"/>
                    </a:lnTo>
                    <a:lnTo>
                      <a:pt x="103" y="276"/>
                    </a:lnTo>
                    <a:lnTo>
                      <a:pt x="99" y="276"/>
                    </a:lnTo>
                    <a:lnTo>
                      <a:pt x="99" y="276"/>
                    </a:lnTo>
                    <a:lnTo>
                      <a:pt x="99" y="276"/>
                    </a:lnTo>
                    <a:lnTo>
                      <a:pt x="94" y="276"/>
                    </a:lnTo>
                    <a:lnTo>
                      <a:pt x="94" y="276"/>
                    </a:lnTo>
                    <a:lnTo>
                      <a:pt x="94" y="271"/>
                    </a:lnTo>
                    <a:lnTo>
                      <a:pt x="94" y="271"/>
                    </a:lnTo>
                    <a:lnTo>
                      <a:pt x="94" y="271"/>
                    </a:lnTo>
                    <a:lnTo>
                      <a:pt x="94" y="267"/>
                    </a:lnTo>
                    <a:lnTo>
                      <a:pt x="94" y="267"/>
                    </a:lnTo>
                    <a:lnTo>
                      <a:pt x="90" y="267"/>
                    </a:lnTo>
                    <a:lnTo>
                      <a:pt x="90" y="267"/>
                    </a:lnTo>
                    <a:lnTo>
                      <a:pt x="90" y="267"/>
                    </a:lnTo>
                    <a:lnTo>
                      <a:pt x="90" y="262"/>
                    </a:lnTo>
                    <a:lnTo>
                      <a:pt x="90" y="262"/>
                    </a:lnTo>
                    <a:lnTo>
                      <a:pt x="85" y="262"/>
                    </a:lnTo>
                    <a:lnTo>
                      <a:pt x="85" y="262"/>
                    </a:lnTo>
                    <a:lnTo>
                      <a:pt x="81" y="262"/>
                    </a:lnTo>
                    <a:lnTo>
                      <a:pt x="81" y="262"/>
                    </a:lnTo>
                    <a:lnTo>
                      <a:pt x="81" y="258"/>
                    </a:lnTo>
                    <a:lnTo>
                      <a:pt x="81" y="258"/>
                    </a:lnTo>
                    <a:lnTo>
                      <a:pt x="81" y="258"/>
                    </a:lnTo>
                    <a:lnTo>
                      <a:pt x="81" y="258"/>
                    </a:lnTo>
                    <a:lnTo>
                      <a:pt x="81" y="253"/>
                    </a:lnTo>
                    <a:lnTo>
                      <a:pt x="81" y="253"/>
                    </a:lnTo>
                    <a:lnTo>
                      <a:pt x="76" y="253"/>
                    </a:lnTo>
                    <a:lnTo>
                      <a:pt x="76" y="248"/>
                    </a:lnTo>
                    <a:lnTo>
                      <a:pt x="76" y="248"/>
                    </a:lnTo>
                    <a:lnTo>
                      <a:pt x="76" y="248"/>
                    </a:lnTo>
                    <a:lnTo>
                      <a:pt x="76" y="248"/>
                    </a:lnTo>
                    <a:lnTo>
                      <a:pt x="72" y="248"/>
                    </a:lnTo>
                    <a:lnTo>
                      <a:pt x="72" y="244"/>
                    </a:lnTo>
                    <a:lnTo>
                      <a:pt x="72" y="244"/>
                    </a:lnTo>
                    <a:lnTo>
                      <a:pt x="72" y="244"/>
                    </a:lnTo>
                    <a:lnTo>
                      <a:pt x="72" y="244"/>
                    </a:lnTo>
                    <a:lnTo>
                      <a:pt x="72" y="244"/>
                    </a:lnTo>
                    <a:lnTo>
                      <a:pt x="67" y="244"/>
                    </a:lnTo>
                    <a:lnTo>
                      <a:pt x="67" y="244"/>
                    </a:lnTo>
                    <a:lnTo>
                      <a:pt x="67" y="244"/>
                    </a:lnTo>
                    <a:lnTo>
                      <a:pt x="67" y="244"/>
                    </a:lnTo>
                    <a:lnTo>
                      <a:pt x="63" y="244"/>
                    </a:lnTo>
                    <a:lnTo>
                      <a:pt x="63" y="244"/>
                    </a:lnTo>
                    <a:lnTo>
                      <a:pt x="58" y="239"/>
                    </a:lnTo>
                    <a:lnTo>
                      <a:pt x="58" y="239"/>
                    </a:lnTo>
                    <a:lnTo>
                      <a:pt x="54" y="239"/>
                    </a:lnTo>
                    <a:lnTo>
                      <a:pt x="54" y="235"/>
                    </a:lnTo>
                    <a:lnTo>
                      <a:pt x="54" y="235"/>
                    </a:lnTo>
                    <a:lnTo>
                      <a:pt x="49" y="235"/>
                    </a:lnTo>
                    <a:lnTo>
                      <a:pt x="49" y="235"/>
                    </a:lnTo>
                    <a:lnTo>
                      <a:pt x="45" y="235"/>
                    </a:lnTo>
                    <a:lnTo>
                      <a:pt x="45" y="235"/>
                    </a:lnTo>
                    <a:lnTo>
                      <a:pt x="45" y="235"/>
                    </a:lnTo>
                    <a:lnTo>
                      <a:pt x="45" y="235"/>
                    </a:lnTo>
                    <a:lnTo>
                      <a:pt x="45" y="235"/>
                    </a:lnTo>
                    <a:lnTo>
                      <a:pt x="45" y="239"/>
                    </a:lnTo>
                    <a:lnTo>
                      <a:pt x="40" y="235"/>
                    </a:lnTo>
                    <a:lnTo>
                      <a:pt x="40" y="235"/>
                    </a:lnTo>
                    <a:lnTo>
                      <a:pt x="40" y="235"/>
                    </a:lnTo>
                    <a:lnTo>
                      <a:pt x="40" y="235"/>
                    </a:lnTo>
                    <a:lnTo>
                      <a:pt x="40" y="235"/>
                    </a:lnTo>
                    <a:lnTo>
                      <a:pt x="36" y="235"/>
                    </a:lnTo>
                    <a:lnTo>
                      <a:pt x="36" y="235"/>
                    </a:lnTo>
                    <a:lnTo>
                      <a:pt x="36" y="235"/>
                    </a:lnTo>
                    <a:lnTo>
                      <a:pt x="31" y="235"/>
                    </a:lnTo>
                    <a:lnTo>
                      <a:pt x="31" y="235"/>
                    </a:lnTo>
                    <a:lnTo>
                      <a:pt x="31" y="235"/>
                    </a:lnTo>
                    <a:lnTo>
                      <a:pt x="27" y="235"/>
                    </a:lnTo>
                    <a:lnTo>
                      <a:pt x="27" y="235"/>
                    </a:lnTo>
                    <a:lnTo>
                      <a:pt x="27" y="230"/>
                    </a:lnTo>
                    <a:lnTo>
                      <a:pt x="27" y="230"/>
                    </a:lnTo>
                    <a:lnTo>
                      <a:pt x="27" y="230"/>
                    </a:lnTo>
                    <a:lnTo>
                      <a:pt x="27" y="230"/>
                    </a:lnTo>
                    <a:lnTo>
                      <a:pt x="22" y="226"/>
                    </a:lnTo>
                    <a:lnTo>
                      <a:pt x="22" y="226"/>
                    </a:lnTo>
                    <a:lnTo>
                      <a:pt x="22" y="226"/>
                    </a:lnTo>
                    <a:lnTo>
                      <a:pt x="22" y="226"/>
                    </a:lnTo>
                    <a:lnTo>
                      <a:pt x="18" y="226"/>
                    </a:lnTo>
                    <a:lnTo>
                      <a:pt x="13" y="221"/>
                    </a:lnTo>
                    <a:lnTo>
                      <a:pt x="13" y="221"/>
                    </a:lnTo>
                    <a:lnTo>
                      <a:pt x="9" y="217"/>
                    </a:lnTo>
                    <a:lnTo>
                      <a:pt x="9" y="217"/>
                    </a:lnTo>
                    <a:lnTo>
                      <a:pt x="4" y="217"/>
                    </a:lnTo>
                    <a:lnTo>
                      <a:pt x="4" y="217"/>
                    </a:lnTo>
                    <a:lnTo>
                      <a:pt x="4" y="212"/>
                    </a:lnTo>
                    <a:lnTo>
                      <a:pt x="4" y="212"/>
                    </a:lnTo>
                    <a:lnTo>
                      <a:pt x="4" y="212"/>
                    </a:lnTo>
                    <a:lnTo>
                      <a:pt x="0" y="208"/>
                    </a:lnTo>
                    <a:lnTo>
                      <a:pt x="0" y="208"/>
                    </a:lnTo>
                    <a:lnTo>
                      <a:pt x="4" y="203"/>
                    </a:lnTo>
                    <a:lnTo>
                      <a:pt x="9" y="208"/>
                    </a:lnTo>
                    <a:lnTo>
                      <a:pt x="9" y="203"/>
                    </a:lnTo>
                    <a:lnTo>
                      <a:pt x="9" y="203"/>
                    </a:lnTo>
                    <a:lnTo>
                      <a:pt x="9" y="194"/>
                    </a:lnTo>
                    <a:lnTo>
                      <a:pt x="9" y="194"/>
                    </a:lnTo>
                    <a:lnTo>
                      <a:pt x="9" y="194"/>
                    </a:lnTo>
                    <a:lnTo>
                      <a:pt x="9" y="194"/>
                    </a:lnTo>
                    <a:lnTo>
                      <a:pt x="9" y="194"/>
                    </a:lnTo>
                    <a:lnTo>
                      <a:pt x="13" y="194"/>
                    </a:lnTo>
                    <a:lnTo>
                      <a:pt x="13" y="194"/>
                    </a:lnTo>
                    <a:lnTo>
                      <a:pt x="18" y="194"/>
                    </a:lnTo>
                    <a:lnTo>
                      <a:pt x="18" y="194"/>
                    </a:lnTo>
                    <a:lnTo>
                      <a:pt x="18" y="190"/>
                    </a:lnTo>
                    <a:lnTo>
                      <a:pt x="18" y="190"/>
                    </a:lnTo>
                    <a:lnTo>
                      <a:pt x="18" y="190"/>
                    </a:lnTo>
                    <a:lnTo>
                      <a:pt x="22" y="190"/>
                    </a:lnTo>
                    <a:lnTo>
                      <a:pt x="22" y="190"/>
                    </a:lnTo>
                    <a:lnTo>
                      <a:pt x="22" y="190"/>
                    </a:lnTo>
                    <a:lnTo>
                      <a:pt x="22" y="190"/>
                    </a:lnTo>
                    <a:lnTo>
                      <a:pt x="22" y="185"/>
                    </a:lnTo>
                    <a:lnTo>
                      <a:pt x="22" y="185"/>
                    </a:lnTo>
                    <a:lnTo>
                      <a:pt x="22" y="185"/>
                    </a:lnTo>
                    <a:lnTo>
                      <a:pt x="22" y="181"/>
                    </a:lnTo>
                    <a:lnTo>
                      <a:pt x="22" y="181"/>
                    </a:lnTo>
                    <a:lnTo>
                      <a:pt x="27" y="181"/>
                    </a:lnTo>
                    <a:lnTo>
                      <a:pt x="27" y="181"/>
                    </a:lnTo>
                    <a:lnTo>
                      <a:pt x="27" y="181"/>
                    </a:lnTo>
                    <a:lnTo>
                      <a:pt x="27" y="176"/>
                    </a:lnTo>
                    <a:lnTo>
                      <a:pt x="27" y="176"/>
                    </a:lnTo>
                    <a:lnTo>
                      <a:pt x="31" y="176"/>
                    </a:lnTo>
                    <a:lnTo>
                      <a:pt x="31" y="172"/>
                    </a:lnTo>
                    <a:lnTo>
                      <a:pt x="31" y="172"/>
                    </a:lnTo>
                    <a:lnTo>
                      <a:pt x="36" y="163"/>
                    </a:lnTo>
                    <a:lnTo>
                      <a:pt x="36" y="163"/>
                    </a:lnTo>
                    <a:lnTo>
                      <a:pt x="36" y="167"/>
                    </a:lnTo>
                    <a:lnTo>
                      <a:pt x="31" y="167"/>
                    </a:lnTo>
                    <a:lnTo>
                      <a:pt x="31" y="167"/>
                    </a:lnTo>
                    <a:lnTo>
                      <a:pt x="31" y="163"/>
                    </a:lnTo>
                    <a:lnTo>
                      <a:pt x="31" y="163"/>
                    </a:lnTo>
                    <a:lnTo>
                      <a:pt x="31" y="163"/>
                    </a:lnTo>
                    <a:lnTo>
                      <a:pt x="31" y="163"/>
                    </a:lnTo>
                    <a:lnTo>
                      <a:pt x="31" y="158"/>
                    </a:lnTo>
                    <a:lnTo>
                      <a:pt x="31" y="158"/>
                    </a:lnTo>
                    <a:lnTo>
                      <a:pt x="31" y="158"/>
                    </a:lnTo>
                    <a:lnTo>
                      <a:pt x="27" y="158"/>
                    </a:lnTo>
                    <a:lnTo>
                      <a:pt x="27" y="158"/>
                    </a:lnTo>
                    <a:lnTo>
                      <a:pt x="31" y="158"/>
                    </a:lnTo>
                    <a:lnTo>
                      <a:pt x="31" y="158"/>
                    </a:lnTo>
                    <a:lnTo>
                      <a:pt x="31" y="154"/>
                    </a:lnTo>
                    <a:lnTo>
                      <a:pt x="31" y="154"/>
                    </a:lnTo>
                    <a:lnTo>
                      <a:pt x="31" y="149"/>
                    </a:lnTo>
                    <a:lnTo>
                      <a:pt x="31" y="149"/>
                    </a:lnTo>
                    <a:lnTo>
                      <a:pt x="31" y="149"/>
                    </a:lnTo>
                    <a:lnTo>
                      <a:pt x="31" y="145"/>
                    </a:lnTo>
                    <a:lnTo>
                      <a:pt x="31" y="140"/>
                    </a:lnTo>
                    <a:lnTo>
                      <a:pt x="31" y="140"/>
                    </a:lnTo>
                    <a:lnTo>
                      <a:pt x="31" y="135"/>
                    </a:lnTo>
                    <a:lnTo>
                      <a:pt x="31" y="135"/>
                    </a:lnTo>
                    <a:lnTo>
                      <a:pt x="27" y="131"/>
                    </a:lnTo>
                    <a:lnTo>
                      <a:pt x="31" y="131"/>
                    </a:lnTo>
                    <a:lnTo>
                      <a:pt x="36" y="126"/>
                    </a:lnTo>
                    <a:lnTo>
                      <a:pt x="31" y="122"/>
                    </a:lnTo>
                    <a:lnTo>
                      <a:pt x="31" y="122"/>
                    </a:lnTo>
                    <a:lnTo>
                      <a:pt x="31" y="117"/>
                    </a:lnTo>
                    <a:lnTo>
                      <a:pt x="31" y="117"/>
                    </a:lnTo>
                    <a:lnTo>
                      <a:pt x="31" y="117"/>
                    </a:lnTo>
                    <a:lnTo>
                      <a:pt x="31" y="113"/>
                    </a:lnTo>
                    <a:lnTo>
                      <a:pt x="31" y="113"/>
                    </a:lnTo>
                    <a:lnTo>
                      <a:pt x="31" y="108"/>
                    </a:lnTo>
                    <a:lnTo>
                      <a:pt x="31" y="108"/>
                    </a:lnTo>
                    <a:lnTo>
                      <a:pt x="31" y="108"/>
                    </a:lnTo>
                    <a:lnTo>
                      <a:pt x="27" y="108"/>
                    </a:lnTo>
                    <a:lnTo>
                      <a:pt x="27" y="104"/>
                    </a:lnTo>
                    <a:lnTo>
                      <a:pt x="27" y="99"/>
                    </a:lnTo>
                    <a:lnTo>
                      <a:pt x="27" y="99"/>
                    </a:lnTo>
                    <a:lnTo>
                      <a:pt x="27" y="95"/>
                    </a:lnTo>
                    <a:lnTo>
                      <a:pt x="27" y="95"/>
                    </a:lnTo>
                    <a:lnTo>
                      <a:pt x="27" y="95"/>
                    </a:lnTo>
                    <a:lnTo>
                      <a:pt x="27" y="90"/>
                    </a:lnTo>
                    <a:lnTo>
                      <a:pt x="27" y="90"/>
                    </a:lnTo>
                    <a:lnTo>
                      <a:pt x="27" y="90"/>
                    </a:lnTo>
                    <a:lnTo>
                      <a:pt x="27" y="90"/>
                    </a:lnTo>
                    <a:lnTo>
                      <a:pt x="27" y="90"/>
                    </a:lnTo>
                    <a:lnTo>
                      <a:pt x="31" y="90"/>
                    </a:lnTo>
                    <a:lnTo>
                      <a:pt x="31" y="90"/>
                    </a:lnTo>
                    <a:lnTo>
                      <a:pt x="31" y="95"/>
                    </a:lnTo>
                    <a:lnTo>
                      <a:pt x="31" y="90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40" y="86"/>
                    </a:lnTo>
                    <a:lnTo>
                      <a:pt x="36" y="81"/>
                    </a:lnTo>
                    <a:lnTo>
                      <a:pt x="36" y="81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0" y="77"/>
                    </a:lnTo>
                    <a:lnTo>
                      <a:pt x="40" y="81"/>
                    </a:lnTo>
                    <a:lnTo>
                      <a:pt x="45" y="81"/>
                    </a:lnTo>
                    <a:lnTo>
                      <a:pt x="45" y="81"/>
                    </a:lnTo>
                    <a:lnTo>
                      <a:pt x="45" y="81"/>
                    </a:lnTo>
                    <a:lnTo>
                      <a:pt x="45" y="81"/>
                    </a:lnTo>
                    <a:lnTo>
                      <a:pt x="45" y="81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2"/>
                    </a:lnTo>
                    <a:lnTo>
                      <a:pt x="45" y="72"/>
                    </a:lnTo>
                    <a:lnTo>
                      <a:pt x="45" y="72"/>
                    </a:lnTo>
                    <a:lnTo>
                      <a:pt x="45" y="72"/>
                    </a:lnTo>
                    <a:lnTo>
                      <a:pt x="49" y="72"/>
                    </a:lnTo>
                    <a:lnTo>
                      <a:pt x="54" y="63"/>
                    </a:lnTo>
                    <a:lnTo>
                      <a:pt x="58" y="59"/>
                    </a:lnTo>
                    <a:lnTo>
                      <a:pt x="63" y="59"/>
                    </a:lnTo>
                    <a:lnTo>
                      <a:pt x="63" y="54"/>
                    </a:lnTo>
                    <a:lnTo>
                      <a:pt x="67" y="54"/>
                    </a:lnTo>
                    <a:lnTo>
                      <a:pt x="67" y="54"/>
                    </a:lnTo>
                    <a:lnTo>
                      <a:pt x="67" y="54"/>
                    </a:lnTo>
                    <a:lnTo>
                      <a:pt x="67" y="50"/>
                    </a:lnTo>
                    <a:lnTo>
                      <a:pt x="67" y="50"/>
                    </a:lnTo>
                    <a:lnTo>
                      <a:pt x="67" y="50"/>
                    </a:lnTo>
                    <a:lnTo>
                      <a:pt x="67" y="45"/>
                    </a:lnTo>
                    <a:lnTo>
                      <a:pt x="72" y="41"/>
                    </a:lnTo>
                    <a:lnTo>
                      <a:pt x="72" y="41"/>
                    </a:lnTo>
                    <a:lnTo>
                      <a:pt x="72" y="41"/>
                    </a:lnTo>
                    <a:lnTo>
                      <a:pt x="67" y="41"/>
                    </a:lnTo>
                    <a:lnTo>
                      <a:pt x="67" y="41"/>
                    </a:lnTo>
                    <a:lnTo>
                      <a:pt x="67" y="41"/>
                    </a:lnTo>
                    <a:lnTo>
                      <a:pt x="72" y="41"/>
                    </a:lnTo>
                    <a:lnTo>
                      <a:pt x="72" y="36"/>
                    </a:lnTo>
                    <a:lnTo>
                      <a:pt x="72" y="31"/>
                    </a:lnTo>
                    <a:lnTo>
                      <a:pt x="76" y="31"/>
                    </a:lnTo>
                    <a:lnTo>
                      <a:pt x="76" y="31"/>
                    </a:lnTo>
                    <a:lnTo>
                      <a:pt x="81" y="27"/>
                    </a:lnTo>
                    <a:lnTo>
                      <a:pt x="85" y="22"/>
                    </a:lnTo>
                    <a:lnTo>
                      <a:pt x="85" y="22"/>
                    </a:lnTo>
                    <a:lnTo>
                      <a:pt x="90" y="27"/>
                    </a:lnTo>
                    <a:lnTo>
                      <a:pt x="94" y="27"/>
                    </a:lnTo>
                    <a:lnTo>
                      <a:pt x="94" y="27"/>
                    </a:lnTo>
                    <a:lnTo>
                      <a:pt x="90" y="27"/>
                    </a:lnTo>
                    <a:lnTo>
                      <a:pt x="90" y="27"/>
                    </a:lnTo>
                    <a:lnTo>
                      <a:pt x="90" y="27"/>
                    </a:lnTo>
                    <a:lnTo>
                      <a:pt x="90" y="31"/>
                    </a:lnTo>
                    <a:lnTo>
                      <a:pt x="90" y="31"/>
                    </a:lnTo>
                    <a:lnTo>
                      <a:pt x="94" y="27"/>
                    </a:lnTo>
                    <a:lnTo>
                      <a:pt x="94" y="27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9" y="18"/>
                    </a:lnTo>
                    <a:lnTo>
                      <a:pt x="99" y="18"/>
                    </a:lnTo>
                    <a:lnTo>
                      <a:pt x="103" y="18"/>
                    </a:lnTo>
                    <a:lnTo>
                      <a:pt x="103" y="18"/>
                    </a:lnTo>
                    <a:lnTo>
                      <a:pt x="103" y="22"/>
                    </a:lnTo>
                    <a:lnTo>
                      <a:pt x="113" y="18"/>
                    </a:lnTo>
                    <a:lnTo>
                      <a:pt x="122" y="13"/>
                    </a:lnTo>
                    <a:lnTo>
                      <a:pt x="126" y="9"/>
                    </a:lnTo>
                    <a:lnTo>
                      <a:pt x="131" y="9"/>
                    </a:lnTo>
                    <a:lnTo>
                      <a:pt x="135" y="4"/>
                    </a:lnTo>
                    <a:lnTo>
                      <a:pt x="135" y="4"/>
                    </a:lnTo>
                    <a:lnTo>
                      <a:pt x="135" y="0"/>
                    </a:lnTo>
                    <a:lnTo>
                      <a:pt x="135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49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18" name="Freeform 39"/>
              <p:cNvSpPr>
                <a:spLocks/>
              </p:cNvSpPr>
              <p:nvPr/>
            </p:nvSpPr>
            <p:spPr bwMode="auto">
              <a:xfrm>
                <a:off x="1903413" y="2593976"/>
                <a:ext cx="93663" cy="100013"/>
              </a:xfrm>
              <a:custGeom>
                <a:avLst/>
                <a:gdLst>
                  <a:gd name="T0" fmla="*/ 18 w 59"/>
                  <a:gd name="T1" fmla="*/ 4 h 63"/>
                  <a:gd name="T2" fmla="*/ 23 w 59"/>
                  <a:gd name="T3" fmla="*/ 4 h 63"/>
                  <a:gd name="T4" fmla="*/ 27 w 59"/>
                  <a:gd name="T5" fmla="*/ 4 h 63"/>
                  <a:gd name="T6" fmla="*/ 32 w 59"/>
                  <a:gd name="T7" fmla="*/ 9 h 63"/>
                  <a:gd name="T8" fmla="*/ 36 w 59"/>
                  <a:gd name="T9" fmla="*/ 9 h 63"/>
                  <a:gd name="T10" fmla="*/ 41 w 59"/>
                  <a:gd name="T11" fmla="*/ 9 h 63"/>
                  <a:gd name="T12" fmla="*/ 41 w 59"/>
                  <a:gd name="T13" fmla="*/ 9 h 63"/>
                  <a:gd name="T14" fmla="*/ 45 w 59"/>
                  <a:gd name="T15" fmla="*/ 18 h 63"/>
                  <a:gd name="T16" fmla="*/ 50 w 59"/>
                  <a:gd name="T17" fmla="*/ 32 h 63"/>
                  <a:gd name="T18" fmla="*/ 54 w 59"/>
                  <a:gd name="T19" fmla="*/ 32 h 63"/>
                  <a:gd name="T20" fmla="*/ 54 w 59"/>
                  <a:gd name="T21" fmla="*/ 36 h 63"/>
                  <a:gd name="T22" fmla="*/ 54 w 59"/>
                  <a:gd name="T23" fmla="*/ 36 h 63"/>
                  <a:gd name="T24" fmla="*/ 50 w 59"/>
                  <a:gd name="T25" fmla="*/ 36 h 63"/>
                  <a:gd name="T26" fmla="*/ 50 w 59"/>
                  <a:gd name="T27" fmla="*/ 36 h 63"/>
                  <a:gd name="T28" fmla="*/ 50 w 59"/>
                  <a:gd name="T29" fmla="*/ 45 h 63"/>
                  <a:gd name="T30" fmla="*/ 54 w 59"/>
                  <a:gd name="T31" fmla="*/ 45 h 63"/>
                  <a:gd name="T32" fmla="*/ 50 w 59"/>
                  <a:gd name="T33" fmla="*/ 50 h 63"/>
                  <a:gd name="T34" fmla="*/ 50 w 59"/>
                  <a:gd name="T35" fmla="*/ 54 h 63"/>
                  <a:gd name="T36" fmla="*/ 45 w 59"/>
                  <a:gd name="T37" fmla="*/ 59 h 63"/>
                  <a:gd name="T38" fmla="*/ 45 w 59"/>
                  <a:gd name="T39" fmla="*/ 59 h 63"/>
                  <a:gd name="T40" fmla="*/ 50 w 59"/>
                  <a:gd name="T41" fmla="*/ 63 h 63"/>
                  <a:gd name="T42" fmla="*/ 45 w 59"/>
                  <a:gd name="T43" fmla="*/ 59 h 63"/>
                  <a:gd name="T44" fmla="*/ 41 w 59"/>
                  <a:gd name="T45" fmla="*/ 50 h 63"/>
                  <a:gd name="T46" fmla="*/ 41 w 59"/>
                  <a:gd name="T47" fmla="*/ 54 h 63"/>
                  <a:gd name="T48" fmla="*/ 41 w 59"/>
                  <a:gd name="T49" fmla="*/ 59 h 63"/>
                  <a:gd name="T50" fmla="*/ 36 w 59"/>
                  <a:gd name="T51" fmla="*/ 54 h 63"/>
                  <a:gd name="T52" fmla="*/ 36 w 59"/>
                  <a:gd name="T53" fmla="*/ 50 h 63"/>
                  <a:gd name="T54" fmla="*/ 36 w 59"/>
                  <a:gd name="T55" fmla="*/ 45 h 63"/>
                  <a:gd name="T56" fmla="*/ 27 w 59"/>
                  <a:gd name="T57" fmla="*/ 36 h 63"/>
                  <a:gd name="T58" fmla="*/ 23 w 59"/>
                  <a:gd name="T59" fmla="*/ 32 h 63"/>
                  <a:gd name="T60" fmla="*/ 23 w 59"/>
                  <a:gd name="T61" fmla="*/ 27 h 63"/>
                  <a:gd name="T62" fmla="*/ 14 w 59"/>
                  <a:gd name="T63" fmla="*/ 23 h 63"/>
                  <a:gd name="T64" fmla="*/ 14 w 59"/>
                  <a:gd name="T65" fmla="*/ 23 h 63"/>
                  <a:gd name="T66" fmla="*/ 18 w 59"/>
                  <a:gd name="T67" fmla="*/ 27 h 63"/>
                  <a:gd name="T68" fmla="*/ 14 w 59"/>
                  <a:gd name="T69" fmla="*/ 32 h 63"/>
                  <a:gd name="T70" fmla="*/ 14 w 59"/>
                  <a:gd name="T71" fmla="*/ 32 h 63"/>
                  <a:gd name="T72" fmla="*/ 5 w 59"/>
                  <a:gd name="T73" fmla="*/ 27 h 63"/>
                  <a:gd name="T74" fmla="*/ 0 w 59"/>
                  <a:gd name="T75" fmla="*/ 18 h 63"/>
                  <a:gd name="T76" fmla="*/ 5 w 59"/>
                  <a:gd name="T77" fmla="*/ 9 h 63"/>
                  <a:gd name="T78" fmla="*/ 5 w 59"/>
                  <a:gd name="T79" fmla="*/ 9 h 63"/>
                  <a:gd name="T80" fmla="*/ 5 w 59"/>
                  <a:gd name="T81" fmla="*/ 4 h 63"/>
                  <a:gd name="T82" fmla="*/ 5 w 59"/>
                  <a:gd name="T83" fmla="*/ 4 h 63"/>
                  <a:gd name="T84" fmla="*/ 5 w 59"/>
                  <a:gd name="T85" fmla="*/ 0 h 63"/>
                  <a:gd name="T86" fmla="*/ 9 w 59"/>
                  <a:gd name="T87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9" h="63">
                    <a:moveTo>
                      <a:pt x="14" y="4"/>
                    </a:moveTo>
                    <a:lnTo>
                      <a:pt x="14" y="4"/>
                    </a:lnTo>
                    <a:lnTo>
                      <a:pt x="18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4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5" y="13"/>
                    </a:lnTo>
                    <a:lnTo>
                      <a:pt x="45" y="18"/>
                    </a:lnTo>
                    <a:lnTo>
                      <a:pt x="50" y="23"/>
                    </a:lnTo>
                    <a:lnTo>
                      <a:pt x="50" y="27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9" y="32"/>
                    </a:lnTo>
                    <a:lnTo>
                      <a:pt x="59" y="36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4" y="32"/>
                    </a:lnTo>
                    <a:lnTo>
                      <a:pt x="50" y="32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41"/>
                    </a:lnTo>
                    <a:lnTo>
                      <a:pt x="50" y="45"/>
                    </a:lnTo>
                    <a:lnTo>
                      <a:pt x="50" y="45"/>
                    </a:lnTo>
                    <a:lnTo>
                      <a:pt x="50" y="45"/>
                    </a:lnTo>
                    <a:lnTo>
                      <a:pt x="54" y="45"/>
                    </a:lnTo>
                    <a:lnTo>
                      <a:pt x="54" y="45"/>
                    </a:lnTo>
                    <a:lnTo>
                      <a:pt x="54" y="45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54"/>
                    </a:lnTo>
                    <a:lnTo>
                      <a:pt x="50" y="54"/>
                    </a:lnTo>
                    <a:lnTo>
                      <a:pt x="50" y="54"/>
                    </a:lnTo>
                    <a:lnTo>
                      <a:pt x="50" y="54"/>
                    </a:lnTo>
                    <a:lnTo>
                      <a:pt x="45" y="59"/>
                    </a:lnTo>
                    <a:lnTo>
                      <a:pt x="45" y="59"/>
                    </a:lnTo>
                    <a:lnTo>
                      <a:pt x="45" y="59"/>
                    </a:lnTo>
                    <a:lnTo>
                      <a:pt x="45" y="59"/>
                    </a:lnTo>
                    <a:lnTo>
                      <a:pt x="50" y="59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45" y="63"/>
                    </a:lnTo>
                    <a:lnTo>
                      <a:pt x="45" y="59"/>
                    </a:lnTo>
                    <a:lnTo>
                      <a:pt x="45" y="59"/>
                    </a:lnTo>
                    <a:lnTo>
                      <a:pt x="45" y="54"/>
                    </a:lnTo>
                    <a:lnTo>
                      <a:pt x="45" y="54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9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1"/>
                    </a:lnTo>
                    <a:lnTo>
                      <a:pt x="32" y="41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3" y="36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3" y="27"/>
                    </a:lnTo>
                    <a:lnTo>
                      <a:pt x="18" y="27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9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4" y="4"/>
                    </a:lnTo>
                    <a:lnTo>
                      <a:pt x="14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19" name="Freeform 40"/>
              <p:cNvSpPr>
                <a:spLocks noEditPoints="1"/>
              </p:cNvSpPr>
              <p:nvPr/>
            </p:nvSpPr>
            <p:spPr bwMode="auto">
              <a:xfrm>
                <a:off x="1997076" y="2220914"/>
                <a:ext cx="279400" cy="107950"/>
              </a:xfrm>
              <a:custGeom>
                <a:avLst/>
                <a:gdLst>
                  <a:gd name="T0" fmla="*/ 32 w 176"/>
                  <a:gd name="T1" fmla="*/ 31 h 68"/>
                  <a:gd name="T2" fmla="*/ 27 w 176"/>
                  <a:gd name="T3" fmla="*/ 31 h 68"/>
                  <a:gd name="T4" fmla="*/ 32 w 176"/>
                  <a:gd name="T5" fmla="*/ 31 h 68"/>
                  <a:gd name="T6" fmla="*/ 36 w 176"/>
                  <a:gd name="T7" fmla="*/ 22 h 68"/>
                  <a:gd name="T8" fmla="*/ 41 w 176"/>
                  <a:gd name="T9" fmla="*/ 27 h 68"/>
                  <a:gd name="T10" fmla="*/ 59 w 176"/>
                  <a:gd name="T11" fmla="*/ 0 h 68"/>
                  <a:gd name="T12" fmla="*/ 68 w 176"/>
                  <a:gd name="T13" fmla="*/ 0 h 68"/>
                  <a:gd name="T14" fmla="*/ 77 w 176"/>
                  <a:gd name="T15" fmla="*/ 0 h 68"/>
                  <a:gd name="T16" fmla="*/ 81 w 176"/>
                  <a:gd name="T17" fmla="*/ 4 h 68"/>
                  <a:gd name="T18" fmla="*/ 90 w 176"/>
                  <a:gd name="T19" fmla="*/ 4 h 68"/>
                  <a:gd name="T20" fmla="*/ 95 w 176"/>
                  <a:gd name="T21" fmla="*/ 9 h 68"/>
                  <a:gd name="T22" fmla="*/ 99 w 176"/>
                  <a:gd name="T23" fmla="*/ 18 h 68"/>
                  <a:gd name="T24" fmla="*/ 108 w 176"/>
                  <a:gd name="T25" fmla="*/ 18 h 68"/>
                  <a:gd name="T26" fmla="*/ 117 w 176"/>
                  <a:gd name="T27" fmla="*/ 27 h 68"/>
                  <a:gd name="T28" fmla="*/ 126 w 176"/>
                  <a:gd name="T29" fmla="*/ 31 h 68"/>
                  <a:gd name="T30" fmla="*/ 126 w 176"/>
                  <a:gd name="T31" fmla="*/ 27 h 68"/>
                  <a:gd name="T32" fmla="*/ 131 w 176"/>
                  <a:gd name="T33" fmla="*/ 31 h 68"/>
                  <a:gd name="T34" fmla="*/ 126 w 176"/>
                  <a:gd name="T35" fmla="*/ 36 h 68"/>
                  <a:gd name="T36" fmla="*/ 131 w 176"/>
                  <a:gd name="T37" fmla="*/ 31 h 68"/>
                  <a:gd name="T38" fmla="*/ 135 w 176"/>
                  <a:gd name="T39" fmla="*/ 41 h 68"/>
                  <a:gd name="T40" fmla="*/ 135 w 176"/>
                  <a:gd name="T41" fmla="*/ 41 h 68"/>
                  <a:gd name="T42" fmla="*/ 144 w 176"/>
                  <a:gd name="T43" fmla="*/ 45 h 68"/>
                  <a:gd name="T44" fmla="*/ 153 w 176"/>
                  <a:gd name="T45" fmla="*/ 45 h 68"/>
                  <a:gd name="T46" fmla="*/ 149 w 176"/>
                  <a:gd name="T47" fmla="*/ 50 h 68"/>
                  <a:gd name="T48" fmla="*/ 153 w 176"/>
                  <a:gd name="T49" fmla="*/ 50 h 68"/>
                  <a:gd name="T50" fmla="*/ 163 w 176"/>
                  <a:gd name="T51" fmla="*/ 54 h 68"/>
                  <a:gd name="T52" fmla="*/ 172 w 176"/>
                  <a:gd name="T53" fmla="*/ 59 h 68"/>
                  <a:gd name="T54" fmla="*/ 176 w 176"/>
                  <a:gd name="T55" fmla="*/ 59 h 68"/>
                  <a:gd name="T56" fmla="*/ 172 w 176"/>
                  <a:gd name="T57" fmla="*/ 63 h 68"/>
                  <a:gd name="T58" fmla="*/ 163 w 176"/>
                  <a:gd name="T59" fmla="*/ 68 h 68"/>
                  <a:gd name="T60" fmla="*/ 158 w 176"/>
                  <a:gd name="T61" fmla="*/ 68 h 68"/>
                  <a:gd name="T62" fmla="*/ 158 w 176"/>
                  <a:gd name="T63" fmla="*/ 68 h 68"/>
                  <a:gd name="T64" fmla="*/ 149 w 176"/>
                  <a:gd name="T65" fmla="*/ 68 h 68"/>
                  <a:gd name="T66" fmla="*/ 131 w 176"/>
                  <a:gd name="T67" fmla="*/ 68 h 68"/>
                  <a:gd name="T68" fmla="*/ 117 w 176"/>
                  <a:gd name="T69" fmla="*/ 68 h 68"/>
                  <a:gd name="T70" fmla="*/ 126 w 176"/>
                  <a:gd name="T71" fmla="*/ 59 h 68"/>
                  <a:gd name="T72" fmla="*/ 126 w 176"/>
                  <a:gd name="T73" fmla="*/ 54 h 68"/>
                  <a:gd name="T74" fmla="*/ 122 w 176"/>
                  <a:gd name="T75" fmla="*/ 50 h 68"/>
                  <a:gd name="T76" fmla="*/ 108 w 176"/>
                  <a:gd name="T77" fmla="*/ 50 h 68"/>
                  <a:gd name="T78" fmla="*/ 104 w 176"/>
                  <a:gd name="T79" fmla="*/ 45 h 68"/>
                  <a:gd name="T80" fmla="*/ 104 w 176"/>
                  <a:gd name="T81" fmla="*/ 31 h 68"/>
                  <a:gd name="T82" fmla="*/ 95 w 176"/>
                  <a:gd name="T83" fmla="*/ 31 h 68"/>
                  <a:gd name="T84" fmla="*/ 77 w 176"/>
                  <a:gd name="T85" fmla="*/ 27 h 68"/>
                  <a:gd name="T86" fmla="*/ 77 w 176"/>
                  <a:gd name="T87" fmla="*/ 22 h 68"/>
                  <a:gd name="T88" fmla="*/ 68 w 176"/>
                  <a:gd name="T89" fmla="*/ 22 h 68"/>
                  <a:gd name="T90" fmla="*/ 63 w 176"/>
                  <a:gd name="T91" fmla="*/ 22 h 68"/>
                  <a:gd name="T92" fmla="*/ 54 w 176"/>
                  <a:gd name="T93" fmla="*/ 18 h 68"/>
                  <a:gd name="T94" fmla="*/ 54 w 176"/>
                  <a:gd name="T95" fmla="*/ 13 h 68"/>
                  <a:gd name="T96" fmla="*/ 59 w 176"/>
                  <a:gd name="T97" fmla="*/ 13 h 68"/>
                  <a:gd name="T98" fmla="*/ 54 w 176"/>
                  <a:gd name="T99" fmla="*/ 9 h 68"/>
                  <a:gd name="T100" fmla="*/ 36 w 176"/>
                  <a:gd name="T101" fmla="*/ 13 h 68"/>
                  <a:gd name="T102" fmla="*/ 32 w 176"/>
                  <a:gd name="T103" fmla="*/ 18 h 68"/>
                  <a:gd name="T104" fmla="*/ 27 w 176"/>
                  <a:gd name="T105" fmla="*/ 18 h 68"/>
                  <a:gd name="T106" fmla="*/ 18 w 176"/>
                  <a:gd name="T107" fmla="*/ 18 h 68"/>
                  <a:gd name="T108" fmla="*/ 13 w 176"/>
                  <a:gd name="T109" fmla="*/ 22 h 68"/>
                  <a:gd name="T110" fmla="*/ 9 w 176"/>
                  <a:gd name="T111" fmla="*/ 22 h 68"/>
                  <a:gd name="T112" fmla="*/ 4 w 176"/>
                  <a:gd name="T113" fmla="*/ 22 h 68"/>
                  <a:gd name="T114" fmla="*/ 0 w 176"/>
                  <a:gd name="T115" fmla="*/ 22 h 68"/>
                  <a:gd name="T116" fmla="*/ 9 w 176"/>
                  <a:gd name="T117" fmla="*/ 22 h 68"/>
                  <a:gd name="T118" fmla="*/ 13 w 176"/>
                  <a:gd name="T119" fmla="*/ 13 h 68"/>
                  <a:gd name="T120" fmla="*/ 36 w 176"/>
                  <a:gd name="T121" fmla="*/ 4 h 68"/>
                  <a:gd name="T122" fmla="*/ 54 w 176"/>
                  <a:gd name="T123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6" h="68">
                    <a:moveTo>
                      <a:pt x="41" y="31"/>
                    </a:moveTo>
                    <a:lnTo>
                      <a:pt x="41" y="31"/>
                    </a:lnTo>
                    <a:lnTo>
                      <a:pt x="36" y="31"/>
                    </a:lnTo>
                    <a:lnTo>
                      <a:pt x="32" y="31"/>
                    </a:lnTo>
                    <a:lnTo>
                      <a:pt x="32" y="31"/>
                    </a:lnTo>
                    <a:lnTo>
                      <a:pt x="32" y="31"/>
                    </a:lnTo>
                    <a:lnTo>
                      <a:pt x="32" y="31"/>
                    </a:lnTo>
                    <a:lnTo>
                      <a:pt x="27" y="31"/>
                    </a:lnTo>
                    <a:lnTo>
                      <a:pt x="27" y="31"/>
                    </a:lnTo>
                    <a:lnTo>
                      <a:pt x="32" y="31"/>
                    </a:lnTo>
                    <a:lnTo>
                      <a:pt x="32" y="31"/>
                    </a:lnTo>
                    <a:lnTo>
                      <a:pt x="32" y="31"/>
                    </a:lnTo>
                    <a:lnTo>
                      <a:pt x="32" y="31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1" y="31"/>
                    </a:lnTo>
                    <a:lnTo>
                      <a:pt x="41" y="31"/>
                    </a:lnTo>
                    <a:moveTo>
                      <a:pt x="59" y="0"/>
                    </a:moveTo>
                    <a:lnTo>
                      <a:pt x="59" y="0"/>
                    </a:lnTo>
                    <a:lnTo>
                      <a:pt x="63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0"/>
                    </a:lnTo>
                    <a:lnTo>
                      <a:pt x="77" y="0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9"/>
                    </a:lnTo>
                    <a:lnTo>
                      <a:pt x="90" y="4"/>
                    </a:lnTo>
                    <a:lnTo>
                      <a:pt x="90" y="9"/>
                    </a:lnTo>
                    <a:lnTo>
                      <a:pt x="95" y="9"/>
                    </a:lnTo>
                    <a:lnTo>
                      <a:pt x="95" y="13"/>
                    </a:lnTo>
                    <a:lnTo>
                      <a:pt x="95" y="13"/>
                    </a:lnTo>
                    <a:lnTo>
                      <a:pt x="99" y="13"/>
                    </a:lnTo>
                    <a:lnTo>
                      <a:pt x="99" y="18"/>
                    </a:lnTo>
                    <a:lnTo>
                      <a:pt x="99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17" y="22"/>
                    </a:lnTo>
                    <a:lnTo>
                      <a:pt x="117" y="27"/>
                    </a:lnTo>
                    <a:lnTo>
                      <a:pt x="122" y="27"/>
                    </a:lnTo>
                    <a:lnTo>
                      <a:pt x="122" y="27"/>
                    </a:lnTo>
                    <a:lnTo>
                      <a:pt x="126" y="31"/>
                    </a:lnTo>
                    <a:lnTo>
                      <a:pt x="126" y="31"/>
                    </a:lnTo>
                    <a:lnTo>
                      <a:pt x="126" y="27"/>
                    </a:lnTo>
                    <a:lnTo>
                      <a:pt x="126" y="27"/>
                    </a:lnTo>
                    <a:lnTo>
                      <a:pt x="126" y="27"/>
                    </a:lnTo>
                    <a:lnTo>
                      <a:pt x="126" y="27"/>
                    </a:lnTo>
                    <a:lnTo>
                      <a:pt x="126" y="31"/>
                    </a:lnTo>
                    <a:lnTo>
                      <a:pt x="126" y="31"/>
                    </a:lnTo>
                    <a:lnTo>
                      <a:pt x="131" y="31"/>
                    </a:lnTo>
                    <a:lnTo>
                      <a:pt x="131" y="31"/>
                    </a:lnTo>
                    <a:lnTo>
                      <a:pt x="131" y="31"/>
                    </a:lnTo>
                    <a:lnTo>
                      <a:pt x="131" y="31"/>
                    </a:lnTo>
                    <a:lnTo>
                      <a:pt x="126" y="31"/>
                    </a:lnTo>
                    <a:lnTo>
                      <a:pt x="126" y="36"/>
                    </a:lnTo>
                    <a:lnTo>
                      <a:pt x="126" y="36"/>
                    </a:lnTo>
                    <a:lnTo>
                      <a:pt x="131" y="36"/>
                    </a:lnTo>
                    <a:lnTo>
                      <a:pt x="131" y="36"/>
                    </a:lnTo>
                    <a:lnTo>
                      <a:pt x="131" y="31"/>
                    </a:lnTo>
                    <a:lnTo>
                      <a:pt x="135" y="36"/>
                    </a:lnTo>
                    <a:lnTo>
                      <a:pt x="135" y="36"/>
                    </a:lnTo>
                    <a:lnTo>
                      <a:pt x="135" y="36"/>
                    </a:lnTo>
                    <a:lnTo>
                      <a:pt x="135" y="41"/>
                    </a:lnTo>
                    <a:lnTo>
                      <a:pt x="135" y="36"/>
                    </a:lnTo>
                    <a:lnTo>
                      <a:pt x="135" y="36"/>
                    </a:lnTo>
                    <a:lnTo>
                      <a:pt x="135" y="41"/>
                    </a:lnTo>
                    <a:lnTo>
                      <a:pt x="135" y="41"/>
                    </a:lnTo>
                    <a:lnTo>
                      <a:pt x="140" y="41"/>
                    </a:lnTo>
                    <a:lnTo>
                      <a:pt x="140" y="41"/>
                    </a:lnTo>
                    <a:lnTo>
                      <a:pt x="144" y="41"/>
                    </a:lnTo>
                    <a:lnTo>
                      <a:pt x="144" y="45"/>
                    </a:lnTo>
                    <a:lnTo>
                      <a:pt x="149" y="45"/>
                    </a:lnTo>
                    <a:lnTo>
                      <a:pt x="153" y="45"/>
                    </a:lnTo>
                    <a:lnTo>
                      <a:pt x="153" y="45"/>
                    </a:lnTo>
                    <a:lnTo>
                      <a:pt x="153" y="45"/>
                    </a:lnTo>
                    <a:lnTo>
                      <a:pt x="153" y="45"/>
                    </a:lnTo>
                    <a:lnTo>
                      <a:pt x="153" y="50"/>
                    </a:lnTo>
                    <a:lnTo>
                      <a:pt x="153" y="50"/>
                    </a:lnTo>
                    <a:lnTo>
                      <a:pt x="149" y="50"/>
                    </a:lnTo>
                    <a:lnTo>
                      <a:pt x="149" y="50"/>
                    </a:lnTo>
                    <a:lnTo>
                      <a:pt x="149" y="50"/>
                    </a:lnTo>
                    <a:lnTo>
                      <a:pt x="149" y="50"/>
                    </a:lnTo>
                    <a:lnTo>
                      <a:pt x="153" y="50"/>
                    </a:lnTo>
                    <a:lnTo>
                      <a:pt x="153" y="50"/>
                    </a:lnTo>
                    <a:lnTo>
                      <a:pt x="158" y="50"/>
                    </a:lnTo>
                    <a:lnTo>
                      <a:pt x="158" y="50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7" y="54"/>
                    </a:lnTo>
                    <a:lnTo>
                      <a:pt x="167" y="54"/>
                    </a:lnTo>
                    <a:lnTo>
                      <a:pt x="172" y="59"/>
                    </a:lnTo>
                    <a:lnTo>
                      <a:pt x="172" y="59"/>
                    </a:lnTo>
                    <a:lnTo>
                      <a:pt x="172" y="59"/>
                    </a:lnTo>
                    <a:lnTo>
                      <a:pt x="176" y="59"/>
                    </a:lnTo>
                    <a:lnTo>
                      <a:pt x="176" y="59"/>
                    </a:lnTo>
                    <a:lnTo>
                      <a:pt x="176" y="59"/>
                    </a:lnTo>
                    <a:lnTo>
                      <a:pt x="176" y="63"/>
                    </a:lnTo>
                    <a:lnTo>
                      <a:pt x="176" y="63"/>
                    </a:lnTo>
                    <a:lnTo>
                      <a:pt x="172" y="63"/>
                    </a:lnTo>
                    <a:lnTo>
                      <a:pt x="172" y="63"/>
                    </a:lnTo>
                    <a:lnTo>
                      <a:pt x="172" y="63"/>
                    </a:lnTo>
                    <a:lnTo>
                      <a:pt x="167" y="63"/>
                    </a:lnTo>
                    <a:lnTo>
                      <a:pt x="163" y="68"/>
                    </a:lnTo>
                    <a:lnTo>
                      <a:pt x="163" y="68"/>
                    </a:lnTo>
                    <a:lnTo>
                      <a:pt x="158" y="68"/>
                    </a:lnTo>
                    <a:lnTo>
                      <a:pt x="158" y="68"/>
                    </a:lnTo>
                    <a:lnTo>
                      <a:pt x="158" y="68"/>
                    </a:lnTo>
                    <a:lnTo>
                      <a:pt x="158" y="68"/>
                    </a:lnTo>
                    <a:lnTo>
                      <a:pt x="158" y="63"/>
                    </a:lnTo>
                    <a:lnTo>
                      <a:pt x="158" y="68"/>
                    </a:lnTo>
                    <a:lnTo>
                      <a:pt x="158" y="68"/>
                    </a:lnTo>
                    <a:lnTo>
                      <a:pt x="153" y="68"/>
                    </a:lnTo>
                    <a:lnTo>
                      <a:pt x="149" y="68"/>
                    </a:lnTo>
                    <a:lnTo>
                      <a:pt x="149" y="68"/>
                    </a:lnTo>
                    <a:lnTo>
                      <a:pt x="149" y="68"/>
                    </a:lnTo>
                    <a:lnTo>
                      <a:pt x="140" y="63"/>
                    </a:lnTo>
                    <a:lnTo>
                      <a:pt x="140" y="63"/>
                    </a:lnTo>
                    <a:lnTo>
                      <a:pt x="135" y="68"/>
                    </a:lnTo>
                    <a:lnTo>
                      <a:pt x="131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17" y="68"/>
                    </a:lnTo>
                    <a:lnTo>
                      <a:pt x="113" y="68"/>
                    </a:lnTo>
                    <a:lnTo>
                      <a:pt x="117" y="63"/>
                    </a:lnTo>
                    <a:lnTo>
                      <a:pt x="122" y="59"/>
                    </a:lnTo>
                    <a:lnTo>
                      <a:pt x="126" y="59"/>
                    </a:lnTo>
                    <a:lnTo>
                      <a:pt x="126" y="59"/>
                    </a:lnTo>
                    <a:lnTo>
                      <a:pt x="126" y="54"/>
                    </a:lnTo>
                    <a:lnTo>
                      <a:pt x="126" y="54"/>
                    </a:lnTo>
                    <a:lnTo>
                      <a:pt x="126" y="54"/>
                    </a:lnTo>
                    <a:lnTo>
                      <a:pt x="126" y="54"/>
                    </a:lnTo>
                    <a:lnTo>
                      <a:pt x="126" y="54"/>
                    </a:lnTo>
                    <a:lnTo>
                      <a:pt x="122" y="50"/>
                    </a:lnTo>
                    <a:lnTo>
                      <a:pt x="122" y="50"/>
                    </a:lnTo>
                    <a:lnTo>
                      <a:pt x="117" y="50"/>
                    </a:lnTo>
                    <a:lnTo>
                      <a:pt x="113" y="50"/>
                    </a:lnTo>
                    <a:lnTo>
                      <a:pt x="113" y="50"/>
                    </a:lnTo>
                    <a:lnTo>
                      <a:pt x="108" y="50"/>
                    </a:lnTo>
                    <a:lnTo>
                      <a:pt x="108" y="45"/>
                    </a:lnTo>
                    <a:lnTo>
                      <a:pt x="108" y="45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4" y="41"/>
                    </a:lnTo>
                    <a:lnTo>
                      <a:pt x="104" y="36"/>
                    </a:lnTo>
                    <a:lnTo>
                      <a:pt x="104" y="36"/>
                    </a:lnTo>
                    <a:lnTo>
                      <a:pt x="104" y="31"/>
                    </a:lnTo>
                    <a:lnTo>
                      <a:pt x="104" y="31"/>
                    </a:lnTo>
                    <a:lnTo>
                      <a:pt x="95" y="31"/>
                    </a:lnTo>
                    <a:lnTo>
                      <a:pt x="95" y="31"/>
                    </a:lnTo>
                    <a:lnTo>
                      <a:pt x="95" y="31"/>
                    </a:lnTo>
                    <a:lnTo>
                      <a:pt x="86" y="27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77" y="27"/>
                    </a:lnTo>
                    <a:lnTo>
                      <a:pt x="77" y="22"/>
                    </a:lnTo>
                    <a:lnTo>
                      <a:pt x="77" y="22"/>
                    </a:lnTo>
                    <a:lnTo>
                      <a:pt x="77" y="22"/>
                    </a:lnTo>
                    <a:lnTo>
                      <a:pt x="77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3" y="18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3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0" y="13"/>
                    </a:lnTo>
                    <a:lnTo>
                      <a:pt x="54" y="13"/>
                    </a:lnTo>
                    <a:lnTo>
                      <a:pt x="59" y="13"/>
                    </a:lnTo>
                    <a:lnTo>
                      <a:pt x="59" y="13"/>
                    </a:lnTo>
                    <a:lnTo>
                      <a:pt x="59" y="13"/>
                    </a:lnTo>
                    <a:lnTo>
                      <a:pt x="59" y="13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4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2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9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20" name="Freeform 41"/>
              <p:cNvSpPr>
                <a:spLocks/>
              </p:cNvSpPr>
              <p:nvPr/>
            </p:nvSpPr>
            <p:spPr bwMode="auto">
              <a:xfrm>
                <a:off x="5124451" y="1882776"/>
                <a:ext cx="49213" cy="22225"/>
              </a:xfrm>
              <a:custGeom>
                <a:avLst/>
                <a:gdLst>
                  <a:gd name="T0" fmla="*/ 27 w 31"/>
                  <a:gd name="T1" fmla="*/ 0 h 14"/>
                  <a:gd name="T2" fmla="*/ 27 w 31"/>
                  <a:gd name="T3" fmla="*/ 0 h 14"/>
                  <a:gd name="T4" fmla="*/ 22 w 31"/>
                  <a:gd name="T5" fmla="*/ 5 h 14"/>
                  <a:gd name="T6" fmla="*/ 22 w 31"/>
                  <a:gd name="T7" fmla="*/ 9 h 14"/>
                  <a:gd name="T8" fmla="*/ 22 w 31"/>
                  <a:gd name="T9" fmla="*/ 9 h 14"/>
                  <a:gd name="T10" fmla="*/ 22 w 31"/>
                  <a:gd name="T11" fmla="*/ 9 h 14"/>
                  <a:gd name="T12" fmla="*/ 22 w 31"/>
                  <a:gd name="T13" fmla="*/ 9 h 14"/>
                  <a:gd name="T14" fmla="*/ 22 w 31"/>
                  <a:gd name="T15" fmla="*/ 9 h 14"/>
                  <a:gd name="T16" fmla="*/ 18 w 31"/>
                  <a:gd name="T17" fmla="*/ 9 h 14"/>
                  <a:gd name="T18" fmla="*/ 18 w 31"/>
                  <a:gd name="T19" fmla="*/ 9 h 14"/>
                  <a:gd name="T20" fmla="*/ 18 w 31"/>
                  <a:gd name="T21" fmla="*/ 9 h 14"/>
                  <a:gd name="T22" fmla="*/ 18 w 31"/>
                  <a:gd name="T23" fmla="*/ 9 h 14"/>
                  <a:gd name="T24" fmla="*/ 18 w 31"/>
                  <a:gd name="T25" fmla="*/ 9 h 14"/>
                  <a:gd name="T26" fmla="*/ 18 w 31"/>
                  <a:gd name="T27" fmla="*/ 14 h 14"/>
                  <a:gd name="T28" fmla="*/ 18 w 31"/>
                  <a:gd name="T29" fmla="*/ 14 h 14"/>
                  <a:gd name="T30" fmla="*/ 13 w 31"/>
                  <a:gd name="T31" fmla="*/ 14 h 14"/>
                  <a:gd name="T32" fmla="*/ 13 w 31"/>
                  <a:gd name="T33" fmla="*/ 14 h 14"/>
                  <a:gd name="T34" fmla="*/ 13 w 31"/>
                  <a:gd name="T35" fmla="*/ 14 h 14"/>
                  <a:gd name="T36" fmla="*/ 13 w 31"/>
                  <a:gd name="T37" fmla="*/ 9 h 14"/>
                  <a:gd name="T38" fmla="*/ 13 w 31"/>
                  <a:gd name="T39" fmla="*/ 9 h 14"/>
                  <a:gd name="T40" fmla="*/ 13 w 31"/>
                  <a:gd name="T41" fmla="*/ 9 h 14"/>
                  <a:gd name="T42" fmla="*/ 13 w 31"/>
                  <a:gd name="T43" fmla="*/ 9 h 14"/>
                  <a:gd name="T44" fmla="*/ 9 w 31"/>
                  <a:gd name="T45" fmla="*/ 9 h 14"/>
                  <a:gd name="T46" fmla="*/ 9 w 31"/>
                  <a:gd name="T47" fmla="*/ 9 h 14"/>
                  <a:gd name="T48" fmla="*/ 9 w 31"/>
                  <a:gd name="T49" fmla="*/ 9 h 14"/>
                  <a:gd name="T50" fmla="*/ 4 w 31"/>
                  <a:gd name="T51" fmla="*/ 9 h 14"/>
                  <a:gd name="T52" fmla="*/ 4 w 31"/>
                  <a:gd name="T53" fmla="*/ 9 h 14"/>
                  <a:gd name="T54" fmla="*/ 4 w 31"/>
                  <a:gd name="T55" fmla="*/ 9 h 14"/>
                  <a:gd name="T56" fmla="*/ 4 w 31"/>
                  <a:gd name="T57" fmla="*/ 9 h 14"/>
                  <a:gd name="T58" fmla="*/ 0 w 31"/>
                  <a:gd name="T59" fmla="*/ 9 h 14"/>
                  <a:gd name="T60" fmla="*/ 0 w 31"/>
                  <a:gd name="T61" fmla="*/ 9 h 14"/>
                  <a:gd name="T62" fmla="*/ 4 w 31"/>
                  <a:gd name="T63" fmla="*/ 9 h 14"/>
                  <a:gd name="T64" fmla="*/ 4 w 31"/>
                  <a:gd name="T65" fmla="*/ 9 h 14"/>
                  <a:gd name="T66" fmla="*/ 4 w 31"/>
                  <a:gd name="T67" fmla="*/ 9 h 14"/>
                  <a:gd name="T68" fmla="*/ 4 w 31"/>
                  <a:gd name="T69" fmla="*/ 5 h 14"/>
                  <a:gd name="T70" fmla="*/ 9 w 31"/>
                  <a:gd name="T71" fmla="*/ 5 h 14"/>
                  <a:gd name="T72" fmla="*/ 9 w 31"/>
                  <a:gd name="T73" fmla="*/ 5 h 14"/>
                  <a:gd name="T74" fmla="*/ 13 w 31"/>
                  <a:gd name="T75" fmla="*/ 5 h 14"/>
                  <a:gd name="T76" fmla="*/ 13 w 31"/>
                  <a:gd name="T77" fmla="*/ 5 h 14"/>
                  <a:gd name="T78" fmla="*/ 22 w 31"/>
                  <a:gd name="T79" fmla="*/ 5 h 14"/>
                  <a:gd name="T80" fmla="*/ 22 w 31"/>
                  <a:gd name="T81" fmla="*/ 0 h 14"/>
                  <a:gd name="T82" fmla="*/ 27 w 31"/>
                  <a:gd name="T83" fmla="*/ 0 h 14"/>
                  <a:gd name="T84" fmla="*/ 27 w 31"/>
                  <a:gd name="T85" fmla="*/ 0 h 14"/>
                  <a:gd name="T86" fmla="*/ 31 w 31"/>
                  <a:gd name="T87" fmla="*/ 0 h 14"/>
                  <a:gd name="T88" fmla="*/ 27 w 31"/>
                  <a:gd name="T8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1" h="14">
                    <a:moveTo>
                      <a:pt x="27" y="0"/>
                    </a:moveTo>
                    <a:lnTo>
                      <a:pt x="27" y="0"/>
                    </a:lnTo>
                    <a:lnTo>
                      <a:pt x="22" y="5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22" y="5"/>
                    </a:lnTo>
                    <a:lnTo>
                      <a:pt x="22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1" y="0"/>
                    </a:lnTo>
                    <a:lnTo>
                      <a:pt x="27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21" name="Freeform 42"/>
              <p:cNvSpPr>
                <a:spLocks/>
              </p:cNvSpPr>
              <p:nvPr/>
            </p:nvSpPr>
            <p:spPr bwMode="auto">
              <a:xfrm>
                <a:off x="5116513" y="1897064"/>
                <a:ext cx="42863" cy="14288"/>
              </a:xfrm>
              <a:custGeom>
                <a:avLst/>
                <a:gdLst>
                  <a:gd name="T0" fmla="*/ 9 w 27"/>
                  <a:gd name="T1" fmla="*/ 0 h 9"/>
                  <a:gd name="T2" fmla="*/ 9 w 27"/>
                  <a:gd name="T3" fmla="*/ 0 h 9"/>
                  <a:gd name="T4" fmla="*/ 9 w 27"/>
                  <a:gd name="T5" fmla="*/ 0 h 9"/>
                  <a:gd name="T6" fmla="*/ 9 w 27"/>
                  <a:gd name="T7" fmla="*/ 0 h 9"/>
                  <a:gd name="T8" fmla="*/ 14 w 27"/>
                  <a:gd name="T9" fmla="*/ 0 h 9"/>
                  <a:gd name="T10" fmla="*/ 14 w 27"/>
                  <a:gd name="T11" fmla="*/ 0 h 9"/>
                  <a:gd name="T12" fmla="*/ 14 w 27"/>
                  <a:gd name="T13" fmla="*/ 0 h 9"/>
                  <a:gd name="T14" fmla="*/ 18 w 27"/>
                  <a:gd name="T15" fmla="*/ 0 h 9"/>
                  <a:gd name="T16" fmla="*/ 18 w 27"/>
                  <a:gd name="T17" fmla="*/ 0 h 9"/>
                  <a:gd name="T18" fmla="*/ 18 w 27"/>
                  <a:gd name="T19" fmla="*/ 0 h 9"/>
                  <a:gd name="T20" fmla="*/ 18 w 27"/>
                  <a:gd name="T21" fmla="*/ 0 h 9"/>
                  <a:gd name="T22" fmla="*/ 18 w 27"/>
                  <a:gd name="T23" fmla="*/ 5 h 9"/>
                  <a:gd name="T24" fmla="*/ 18 w 27"/>
                  <a:gd name="T25" fmla="*/ 5 h 9"/>
                  <a:gd name="T26" fmla="*/ 18 w 27"/>
                  <a:gd name="T27" fmla="*/ 5 h 9"/>
                  <a:gd name="T28" fmla="*/ 23 w 27"/>
                  <a:gd name="T29" fmla="*/ 5 h 9"/>
                  <a:gd name="T30" fmla="*/ 23 w 27"/>
                  <a:gd name="T31" fmla="*/ 5 h 9"/>
                  <a:gd name="T32" fmla="*/ 23 w 27"/>
                  <a:gd name="T33" fmla="*/ 0 h 9"/>
                  <a:gd name="T34" fmla="*/ 23 w 27"/>
                  <a:gd name="T35" fmla="*/ 0 h 9"/>
                  <a:gd name="T36" fmla="*/ 23 w 27"/>
                  <a:gd name="T37" fmla="*/ 0 h 9"/>
                  <a:gd name="T38" fmla="*/ 23 w 27"/>
                  <a:gd name="T39" fmla="*/ 0 h 9"/>
                  <a:gd name="T40" fmla="*/ 23 w 27"/>
                  <a:gd name="T41" fmla="*/ 0 h 9"/>
                  <a:gd name="T42" fmla="*/ 27 w 27"/>
                  <a:gd name="T43" fmla="*/ 0 h 9"/>
                  <a:gd name="T44" fmla="*/ 27 w 27"/>
                  <a:gd name="T45" fmla="*/ 0 h 9"/>
                  <a:gd name="T46" fmla="*/ 27 w 27"/>
                  <a:gd name="T47" fmla="*/ 0 h 9"/>
                  <a:gd name="T48" fmla="*/ 27 w 27"/>
                  <a:gd name="T49" fmla="*/ 0 h 9"/>
                  <a:gd name="T50" fmla="*/ 27 w 27"/>
                  <a:gd name="T51" fmla="*/ 5 h 9"/>
                  <a:gd name="T52" fmla="*/ 27 w 27"/>
                  <a:gd name="T53" fmla="*/ 5 h 9"/>
                  <a:gd name="T54" fmla="*/ 23 w 27"/>
                  <a:gd name="T55" fmla="*/ 5 h 9"/>
                  <a:gd name="T56" fmla="*/ 23 w 27"/>
                  <a:gd name="T57" fmla="*/ 5 h 9"/>
                  <a:gd name="T58" fmla="*/ 23 w 27"/>
                  <a:gd name="T59" fmla="*/ 5 h 9"/>
                  <a:gd name="T60" fmla="*/ 18 w 27"/>
                  <a:gd name="T61" fmla="*/ 5 h 9"/>
                  <a:gd name="T62" fmla="*/ 18 w 27"/>
                  <a:gd name="T63" fmla="*/ 9 h 9"/>
                  <a:gd name="T64" fmla="*/ 18 w 27"/>
                  <a:gd name="T65" fmla="*/ 9 h 9"/>
                  <a:gd name="T66" fmla="*/ 14 w 27"/>
                  <a:gd name="T67" fmla="*/ 9 h 9"/>
                  <a:gd name="T68" fmla="*/ 14 w 27"/>
                  <a:gd name="T69" fmla="*/ 9 h 9"/>
                  <a:gd name="T70" fmla="*/ 14 w 27"/>
                  <a:gd name="T71" fmla="*/ 9 h 9"/>
                  <a:gd name="T72" fmla="*/ 14 w 27"/>
                  <a:gd name="T73" fmla="*/ 9 h 9"/>
                  <a:gd name="T74" fmla="*/ 14 w 27"/>
                  <a:gd name="T75" fmla="*/ 9 h 9"/>
                  <a:gd name="T76" fmla="*/ 14 w 27"/>
                  <a:gd name="T77" fmla="*/ 9 h 9"/>
                  <a:gd name="T78" fmla="*/ 9 w 27"/>
                  <a:gd name="T79" fmla="*/ 9 h 9"/>
                  <a:gd name="T80" fmla="*/ 9 w 27"/>
                  <a:gd name="T81" fmla="*/ 9 h 9"/>
                  <a:gd name="T82" fmla="*/ 9 w 27"/>
                  <a:gd name="T83" fmla="*/ 9 h 9"/>
                  <a:gd name="T84" fmla="*/ 9 w 27"/>
                  <a:gd name="T85" fmla="*/ 9 h 9"/>
                  <a:gd name="T86" fmla="*/ 5 w 27"/>
                  <a:gd name="T87" fmla="*/ 9 h 9"/>
                  <a:gd name="T88" fmla="*/ 5 w 27"/>
                  <a:gd name="T89" fmla="*/ 9 h 9"/>
                  <a:gd name="T90" fmla="*/ 5 w 27"/>
                  <a:gd name="T91" fmla="*/ 9 h 9"/>
                  <a:gd name="T92" fmla="*/ 0 w 27"/>
                  <a:gd name="T93" fmla="*/ 9 h 9"/>
                  <a:gd name="T94" fmla="*/ 0 w 27"/>
                  <a:gd name="T95" fmla="*/ 5 h 9"/>
                  <a:gd name="T96" fmla="*/ 0 w 27"/>
                  <a:gd name="T97" fmla="*/ 0 h 9"/>
                  <a:gd name="T98" fmla="*/ 0 w 27"/>
                  <a:gd name="T99" fmla="*/ 0 h 9"/>
                  <a:gd name="T100" fmla="*/ 5 w 27"/>
                  <a:gd name="T101" fmla="*/ 0 h 9"/>
                  <a:gd name="T102" fmla="*/ 5 w 27"/>
                  <a:gd name="T103" fmla="*/ 0 h 9"/>
                  <a:gd name="T104" fmla="*/ 5 w 27"/>
                  <a:gd name="T105" fmla="*/ 0 h 9"/>
                  <a:gd name="T106" fmla="*/ 5 w 27"/>
                  <a:gd name="T107" fmla="*/ 0 h 9"/>
                  <a:gd name="T108" fmla="*/ 5 w 27"/>
                  <a:gd name="T109" fmla="*/ 0 h 9"/>
                  <a:gd name="T110" fmla="*/ 9 w 27"/>
                  <a:gd name="T111" fmla="*/ 0 h 9"/>
                  <a:gd name="T112" fmla="*/ 9 w 27"/>
                  <a:gd name="T11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7" h="9">
                    <a:moveTo>
                      <a:pt x="9" y="0"/>
                    </a:move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18" y="5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9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22" name="Freeform 43"/>
              <p:cNvSpPr>
                <a:spLocks/>
              </p:cNvSpPr>
              <p:nvPr/>
            </p:nvSpPr>
            <p:spPr bwMode="auto">
              <a:xfrm>
                <a:off x="4592638" y="1423989"/>
                <a:ext cx="158750" cy="79375"/>
              </a:xfrm>
              <a:custGeom>
                <a:avLst/>
                <a:gdLst>
                  <a:gd name="T0" fmla="*/ 41 w 100"/>
                  <a:gd name="T1" fmla="*/ 4 h 50"/>
                  <a:gd name="T2" fmla="*/ 41 w 100"/>
                  <a:gd name="T3" fmla="*/ 4 h 50"/>
                  <a:gd name="T4" fmla="*/ 45 w 100"/>
                  <a:gd name="T5" fmla="*/ 4 h 50"/>
                  <a:gd name="T6" fmla="*/ 50 w 100"/>
                  <a:gd name="T7" fmla="*/ 4 h 50"/>
                  <a:gd name="T8" fmla="*/ 54 w 100"/>
                  <a:gd name="T9" fmla="*/ 9 h 50"/>
                  <a:gd name="T10" fmla="*/ 59 w 100"/>
                  <a:gd name="T11" fmla="*/ 9 h 50"/>
                  <a:gd name="T12" fmla="*/ 64 w 100"/>
                  <a:gd name="T13" fmla="*/ 9 h 50"/>
                  <a:gd name="T14" fmla="*/ 64 w 100"/>
                  <a:gd name="T15" fmla="*/ 14 h 50"/>
                  <a:gd name="T16" fmla="*/ 59 w 100"/>
                  <a:gd name="T17" fmla="*/ 14 h 50"/>
                  <a:gd name="T18" fmla="*/ 64 w 100"/>
                  <a:gd name="T19" fmla="*/ 14 h 50"/>
                  <a:gd name="T20" fmla="*/ 68 w 100"/>
                  <a:gd name="T21" fmla="*/ 18 h 50"/>
                  <a:gd name="T22" fmla="*/ 73 w 100"/>
                  <a:gd name="T23" fmla="*/ 18 h 50"/>
                  <a:gd name="T24" fmla="*/ 73 w 100"/>
                  <a:gd name="T25" fmla="*/ 14 h 50"/>
                  <a:gd name="T26" fmla="*/ 77 w 100"/>
                  <a:gd name="T27" fmla="*/ 18 h 50"/>
                  <a:gd name="T28" fmla="*/ 82 w 100"/>
                  <a:gd name="T29" fmla="*/ 14 h 50"/>
                  <a:gd name="T30" fmla="*/ 82 w 100"/>
                  <a:gd name="T31" fmla="*/ 18 h 50"/>
                  <a:gd name="T32" fmla="*/ 82 w 100"/>
                  <a:gd name="T33" fmla="*/ 23 h 50"/>
                  <a:gd name="T34" fmla="*/ 86 w 100"/>
                  <a:gd name="T35" fmla="*/ 23 h 50"/>
                  <a:gd name="T36" fmla="*/ 91 w 100"/>
                  <a:gd name="T37" fmla="*/ 23 h 50"/>
                  <a:gd name="T38" fmla="*/ 91 w 100"/>
                  <a:gd name="T39" fmla="*/ 23 h 50"/>
                  <a:gd name="T40" fmla="*/ 95 w 100"/>
                  <a:gd name="T41" fmla="*/ 23 h 50"/>
                  <a:gd name="T42" fmla="*/ 100 w 100"/>
                  <a:gd name="T43" fmla="*/ 32 h 50"/>
                  <a:gd name="T44" fmla="*/ 100 w 100"/>
                  <a:gd name="T45" fmla="*/ 32 h 50"/>
                  <a:gd name="T46" fmla="*/ 95 w 100"/>
                  <a:gd name="T47" fmla="*/ 32 h 50"/>
                  <a:gd name="T48" fmla="*/ 91 w 100"/>
                  <a:gd name="T49" fmla="*/ 36 h 50"/>
                  <a:gd name="T50" fmla="*/ 91 w 100"/>
                  <a:gd name="T51" fmla="*/ 41 h 50"/>
                  <a:gd name="T52" fmla="*/ 86 w 100"/>
                  <a:gd name="T53" fmla="*/ 41 h 50"/>
                  <a:gd name="T54" fmla="*/ 77 w 100"/>
                  <a:gd name="T55" fmla="*/ 45 h 50"/>
                  <a:gd name="T56" fmla="*/ 73 w 100"/>
                  <a:gd name="T57" fmla="*/ 45 h 50"/>
                  <a:gd name="T58" fmla="*/ 73 w 100"/>
                  <a:gd name="T59" fmla="*/ 45 h 50"/>
                  <a:gd name="T60" fmla="*/ 68 w 100"/>
                  <a:gd name="T61" fmla="*/ 45 h 50"/>
                  <a:gd name="T62" fmla="*/ 64 w 100"/>
                  <a:gd name="T63" fmla="*/ 45 h 50"/>
                  <a:gd name="T64" fmla="*/ 54 w 100"/>
                  <a:gd name="T65" fmla="*/ 41 h 50"/>
                  <a:gd name="T66" fmla="*/ 50 w 100"/>
                  <a:gd name="T67" fmla="*/ 41 h 50"/>
                  <a:gd name="T68" fmla="*/ 45 w 100"/>
                  <a:gd name="T69" fmla="*/ 41 h 50"/>
                  <a:gd name="T70" fmla="*/ 45 w 100"/>
                  <a:gd name="T71" fmla="*/ 45 h 50"/>
                  <a:gd name="T72" fmla="*/ 41 w 100"/>
                  <a:gd name="T73" fmla="*/ 50 h 50"/>
                  <a:gd name="T74" fmla="*/ 36 w 100"/>
                  <a:gd name="T75" fmla="*/ 50 h 50"/>
                  <a:gd name="T76" fmla="*/ 27 w 100"/>
                  <a:gd name="T77" fmla="*/ 45 h 50"/>
                  <a:gd name="T78" fmla="*/ 23 w 100"/>
                  <a:gd name="T79" fmla="*/ 41 h 50"/>
                  <a:gd name="T80" fmla="*/ 18 w 100"/>
                  <a:gd name="T81" fmla="*/ 41 h 50"/>
                  <a:gd name="T82" fmla="*/ 18 w 100"/>
                  <a:gd name="T83" fmla="*/ 36 h 50"/>
                  <a:gd name="T84" fmla="*/ 9 w 100"/>
                  <a:gd name="T85" fmla="*/ 32 h 50"/>
                  <a:gd name="T86" fmla="*/ 9 w 100"/>
                  <a:gd name="T87" fmla="*/ 27 h 50"/>
                  <a:gd name="T88" fmla="*/ 5 w 100"/>
                  <a:gd name="T89" fmla="*/ 27 h 50"/>
                  <a:gd name="T90" fmla="*/ 9 w 100"/>
                  <a:gd name="T91" fmla="*/ 23 h 50"/>
                  <a:gd name="T92" fmla="*/ 5 w 100"/>
                  <a:gd name="T93" fmla="*/ 18 h 50"/>
                  <a:gd name="T94" fmla="*/ 0 w 100"/>
                  <a:gd name="T95" fmla="*/ 18 h 50"/>
                  <a:gd name="T96" fmla="*/ 0 w 100"/>
                  <a:gd name="T97" fmla="*/ 18 h 50"/>
                  <a:gd name="T98" fmla="*/ 5 w 100"/>
                  <a:gd name="T99" fmla="*/ 18 h 50"/>
                  <a:gd name="T100" fmla="*/ 9 w 100"/>
                  <a:gd name="T101" fmla="*/ 14 h 50"/>
                  <a:gd name="T102" fmla="*/ 14 w 100"/>
                  <a:gd name="T103" fmla="*/ 14 h 50"/>
                  <a:gd name="T104" fmla="*/ 18 w 100"/>
                  <a:gd name="T105" fmla="*/ 9 h 50"/>
                  <a:gd name="T106" fmla="*/ 18 w 100"/>
                  <a:gd name="T107" fmla="*/ 9 h 50"/>
                  <a:gd name="T108" fmla="*/ 23 w 100"/>
                  <a:gd name="T109" fmla="*/ 9 h 50"/>
                  <a:gd name="T110" fmla="*/ 27 w 100"/>
                  <a:gd name="T111" fmla="*/ 4 h 50"/>
                  <a:gd name="T112" fmla="*/ 32 w 100"/>
                  <a:gd name="T113" fmla="*/ 4 h 50"/>
                  <a:gd name="T114" fmla="*/ 32 w 100"/>
                  <a:gd name="T115" fmla="*/ 4 h 50"/>
                  <a:gd name="T116" fmla="*/ 36 w 100"/>
                  <a:gd name="T117" fmla="*/ 4 h 50"/>
                  <a:gd name="T118" fmla="*/ 36 w 100"/>
                  <a:gd name="T119" fmla="*/ 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0" h="50">
                    <a:moveTo>
                      <a:pt x="36" y="4"/>
                    </a:moveTo>
                    <a:lnTo>
                      <a:pt x="36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59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4"/>
                    </a:lnTo>
                    <a:lnTo>
                      <a:pt x="73" y="14"/>
                    </a:lnTo>
                    <a:lnTo>
                      <a:pt x="73" y="14"/>
                    </a:lnTo>
                    <a:lnTo>
                      <a:pt x="73" y="14"/>
                    </a:lnTo>
                    <a:lnTo>
                      <a:pt x="73" y="14"/>
                    </a:lnTo>
                    <a:lnTo>
                      <a:pt x="77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3"/>
                    </a:lnTo>
                    <a:lnTo>
                      <a:pt x="86" y="23"/>
                    </a:lnTo>
                    <a:lnTo>
                      <a:pt x="86" y="23"/>
                    </a:lnTo>
                    <a:lnTo>
                      <a:pt x="86" y="23"/>
                    </a:lnTo>
                    <a:lnTo>
                      <a:pt x="86" y="23"/>
                    </a:lnTo>
                    <a:lnTo>
                      <a:pt x="86" y="23"/>
                    </a:lnTo>
                    <a:lnTo>
                      <a:pt x="86" y="23"/>
                    </a:lnTo>
                    <a:lnTo>
                      <a:pt x="86" y="23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95" y="27"/>
                    </a:lnTo>
                    <a:lnTo>
                      <a:pt x="100" y="27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91" y="36"/>
                    </a:lnTo>
                    <a:lnTo>
                      <a:pt x="91" y="36"/>
                    </a:lnTo>
                    <a:lnTo>
                      <a:pt x="91" y="36"/>
                    </a:lnTo>
                    <a:lnTo>
                      <a:pt x="91" y="36"/>
                    </a:lnTo>
                    <a:lnTo>
                      <a:pt x="91" y="41"/>
                    </a:lnTo>
                    <a:lnTo>
                      <a:pt x="91" y="41"/>
                    </a:lnTo>
                    <a:lnTo>
                      <a:pt x="86" y="41"/>
                    </a:lnTo>
                    <a:lnTo>
                      <a:pt x="86" y="41"/>
                    </a:lnTo>
                    <a:lnTo>
                      <a:pt x="86" y="41"/>
                    </a:lnTo>
                    <a:lnTo>
                      <a:pt x="86" y="41"/>
                    </a:lnTo>
                    <a:lnTo>
                      <a:pt x="86" y="41"/>
                    </a:lnTo>
                    <a:lnTo>
                      <a:pt x="82" y="45"/>
                    </a:lnTo>
                    <a:lnTo>
                      <a:pt x="82" y="45"/>
                    </a:lnTo>
                    <a:lnTo>
                      <a:pt x="77" y="45"/>
                    </a:lnTo>
                    <a:lnTo>
                      <a:pt x="77" y="41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3" y="45"/>
                    </a:lnTo>
                    <a:lnTo>
                      <a:pt x="73" y="50"/>
                    </a:lnTo>
                    <a:lnTo>
                      <a:pt x="73" y="45"/>
                    </a:lnTo>
                    <a:lnTo>
                      <a:pt x="73" y="45"/>
                    </a:lnTo>
                    <a:lnTo>
                      <a:pt x="73" y="45"/>
                    </a:lnTo>
                    <a:lnTo>
                      <a:pt x="73" y="45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59" y="45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0" y="41"/>
                    </a:lnTo>
                    <a:lnTo>
                      <a:pt x="50" y="41"/>
                    </a:lnTo>
                    <a:lnTo>
                      <a:pt x="50" y="41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1" y="45"/>
                    </a:lnTo>
                    <a:lnTo>
                      <a:pt x="41" y="45"/>
                    </a:lnTo>
                    <a:lnTo>
                      <a:pt x="41" y="45"/>
                    </a:lnTo>
                    <a:lnTo>
                      <a:pt x="41" y="50"/>
                    </a:lnTo>
                    <a:lnTo>
                      <a:pt x="36" y="50"/>
                    </a:lnTo>
                    <a:lnTo>
                      <a:pt x="36" y="45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27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23" name="Freeform 44"/>
              <p:cNvSpPr>
                <a:spLocks/>
              </p:cNvSpPr>
              <p:nvPr/>
            </p:nvSpPr>
            <p:spPr bwMode="auto">
              <a:xfrm>
                <a:off x="4449763" y="1309689"/>
                <a:ext cx="207963" cy="228600"/>
              </a:xfrm>
              <a:custGeom>
                <a:avLst/>
                <a:gdLst>
                  <a:gd name="T0" fmla="*/ 59 w 131"/>
                  <a:gd name="T1" fmla="*/ 4 h 144"/>
                  <a:gd name="T2" fmla="*/ 63 w 131"/>
                  <a:gd name="T3" fmla="*/ 9 h 144"/>
                  <a:gd name="T4" fmla="*/ 77 w 131"/>
                  <a:gd name="T5" fmla="*/ 13 h 144"/>
                  <a:gd name="T6" fmla="*/ 86 w 131"/>
                  <a:gd name="T7" fmla="*/ 18 h 144"/>
                  <a:gd name="T8" fmla="*/ 104 w 131"/>
                  <a:gd name="T9" fmla="*/ 9 h 144"/>
                  <a:gd name="T10" fmla="*/ 122 w 131"/>
                  <a:gd name="T11" fmla="*/ 22 h 144"/>
                  <a:gd name="T12" fmla="*/ 122 w 131"/>
                  <a:gd name="T13" fmla="*/ 36 h 144"/>
                  <a:gd name="T14" fmla="*/ 126 w 131"/>
                  <a:gd name="T15" fmla="*/ 49 h 144"/>
                  <a:gd name="T16" fmla="*/ 131 w 131"/>
                  <a:gd name="T17" fmla="*/ 54 h 144"/>
                  <a:gd name="T18" fmla="*/ 131 w 131"/>
                  <a:gd name="T19" fmla="*/ 63 h 144"/>
                  <a:gd name="T20" fmla="*/ 131 w 131"/>
                  <a:gd name="T21" fmla="*/ 72 h 144"/>
                  <a:gd name="T22" fmla="*/ 126 w 131"/>
                  <a:gd name="T23" fmla="*/ 76 h 144"/>
                  <a:gd name="T24" fmla="*/ 122 w 131"/>
                  <a:gd name="T25" fmla="*/ 76 h 144"/>
                  <a:gd name="T26" fmla="*/ 117 w 131"/>
                  <a:gd name="T27" fmla="*/ 76 h 144"/>
                  <a:gd name="T28" fmla="*/ 108 w 131"/>
                  <a:gd name="T29" fmla="*/ 81 h 144"/>
                  <a:gd name="T30" fmla="*/ 104 w 131"/>
                  <a:gd name="T31" fmla="*/ 86 h 144"/>
                  <a:gd name="T32" fmla="*/ 95 w 131"/>
                  <a:gd name="T33" fmla="*/ 90 h 144"/>
                  <a:gd name="T34" fmla="*/ 90 w 131"/>
                  <a:gd name="T35" fmla="*/ 90 h 144"/>
                  <a:gd name="T36" fmla="*/ 99 w 131"/>
                  <a:gd name="T37" fmla="*/ 95 h 144"/>
                  <a:gd name="T38" fmla="*/ 99 w 131"/>
                  <a:gd name="T39" fmla="*/ 99 h 144"/>
                  <a:gd name="T40" fmla="*/ 108 w 131"/>
                  <a:gd name="T41" fmla="*/ 108 h 144"/>
                  <a:gd name="T42" fmla="*/ 113 w 131"/>
                  <a:gd name="T43" fmla="*/ 113 h 144"/>
                  <a:gd name="T44" fmla="*/ 117 w 131"/>
                  <a:gd name="T45" fmla="*/ 122 h 144"/>
                  <a:gd name="T46" fmla="*/ 108 w 131"/>
                  <a:gd name="T47" fmla="*/ 126 h 144"/>
                  <a:gd name="T48" fmla="*/ 104 w 131"/>
                  <a:gd name="T49" fmla="*/ 135 h 144"/>
                  <a:gd name="T50" fmla="*/ 104 w 131"/>
                  <a:gd name="T51" fmla="*/ 140 h 144"/>
                  <a:gd name="T52" fmla="*/ 104 w 131"/>
                  <a:gd name="T53" fmla="*/ 140 h 144"/>
                  <a:gd name="T54" fmla="*/ 95 w 131"/>
                  <a:gd name="T55" fmla="*/ 135 h 144"/>
                  <a:gd name="T56" fmla="*/ 81 w 131"/>
                  <a:gd name="T57" fmla="*/ 140 h 144"/>
                  <a:gd name="T58" fmla="*/ 77 w 131"/>
                  <a:gd name="T59" fmla="*/ 140 h 144"/>
                  <a:gd name="T60" fmla="*/ 68 w 131"/>
                  <a:gd name="T61" fmla="*/ 140 h 144"/>
                  <a:gd name="T62" fmla="*/ 63 w 131"/>
                  <a:gd name="T63" fmla="*/ 144 h 144"/>
                  <a:gd name="T64" fmla="*/ 59 w 131"/>
                  <a:gd name="T65" fmla="*/ 140 h 144"/>
                  <a:gd name="T66" fmla="*/ 45 w 131"/>
                  <a:gd name="T67" fmla="*/ 140 h 144"/>
                  <a:gd name="T68" fmla="*/ 41 w 131"/>
                  <a:gd name="T69" fmla="*/ 135 h 144"/>
                  <a:gd name="T70" fmla="*/ 41 w 131"/>
                  <a:gd name="T71" fmla="*/ 140 h 144"/>
                  <a:gd name="T72" fmla="*/ 32 w 131"/>
                  <a:gd name="T73" fmla="*/ 140 h 144"/>
                  <a:gd name="T74" fmla="*/ 27 w 131"/>
                  <a:gd name="T75" fmla="*/ 131 h 144"/>
                  <a:gd name="T76" fmla="*/ 32 w 131"/>
                  <a:gd name="T77" fmla="*/ 113 h 144"/>
                  <a:gd name="T78" fmla="*/ 23 w 131"/>
                  <a:gd name="T79" fmla="*/ 108 h 144"/>
                  <a:gd name="T80" fmla="*/ 18 w 131"/>
                  <a:gd name="T81" fmla="*/ 108 h 144"/>
                  <a:gd name="T82" fmla="*/ 9 w 131"/>
                  <a:gd name="T83" fmla="*/ 108 h 144"/>
                  <a:gd name="T84" fmla="*/ 9 w 131"/>
                  <a:gd name="T85" fmla="*/ 99 h 144"/>
                  <a:gd name="T86" fmla="*/ 4 w 131"/>
                  <a:gd name="T87" fmla="*/ 95 h 144"/>
                  <a:gd name="T88" fmla="*/ 9 w 131"/>
                  <a:gd name="T89" fmla="*/ 86 h 144"/>
                  <a:gd name="T90" fmla="*/ 4 w 131"/>
                  <a:gd name="T91" fmla="*/ 81 h 144"/>
                  <a:gd name="T92" fmla="*/ 0 w 131"/>
                  <a:gd name="T93" fmla="*/ 72 h 144"/>
                  <a:gd name="T94" fmla="*/ 4 w 131"/>
                  <a:gd name="T95" fmla="*/ 72 h 144"/>
                  <a:gd name="T96" fmla="*/ 4 w 131"/>
                  <a:gd name="T97" fmla="*/ 63 h 144"/>
                  <a:gd name="T98" fmla="*/ 9 w 131"/>
                  <a:gd name="T99" fmla="*/ 58 h 144"/>
                  <a:gd name="T100" fmla="*/ 13 w 131"/>
                  <a:gd name="T101" fmla="*/ 58 h 144"/>
                  <a:gd name="T102" fmla="*/ 18 w 131"/>
                  <a:gd name="T103" fmla="*/ 49 h 144"/>
                  <a:gd name="T104" fmla="*/ 13 w 131"/>
                  <a:gd name="T105" fmla="*/ 45 h 144"/>
                  <a:gd name="T106" fmla="*/ 18 w 131"/>
                  <a:gd name="T107" fmla="*/ 45 h 144"/>
                  <a:gd name="T108" fmla="*/ 18 w 131"/>
                  <a:gd name="T109" fmla="*/ 31 h 144"/>
                  <a:gd name="T110" fmla="*/ 32 w 131"/>
                  <a:gd name="T111" fmla="*/ 27 h 144"/>
                  <a:gd name="T112" fmla="*/ 41 w 131"/>
                  <a:gd name="T113" fmla="*/ 31 h 144"/>
                  <a:gd name="T114" fmla="*/ 50 w 131"/>
                  <a:gd name="T115" fmla="*/ 22 h 144"/>
                  <a:gd name="T116" fmla="*/ 45 w 131"/>
                  <a:gd name="T117" fmla="*/ 18 h 144"/>
                  <a:gd name="T118" fmla="*/ 41 w 131"/>
                  <a:gd name="T119" fmla="*/ 13 h 144"/>
                  <a:gd name="T120" fmla="*/ 41 w 131"/>
                  <a:gd name="T121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1" h="144">
                    <a:moveTo>
                      <a:pt x="50" y="4"/>
                    </a:moveTo>
                    <a:lnTo>
                      <a:pt x="50" y="4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63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8" y="9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77" y="13"/>
                    </a:lnTo>
                    <a:lnTo>
                      <a:pt x="77" y="13"/>
                    </a:lnTo>
                    <a:lnTo>
                      <a:pt x="77" y="13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7" y="18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90" y="13"/>
                    </a:lnTo>
                    <a:lnTo>
                      <a:pt x="90" y="13"/>
                    </a:lnTo>
                    <a:lnTo>
                      <a:pt x="95" y="13"/>
                    </a:lnTo>
                    <a:lnTo>
                      <a:pt x="95" y="13"/>
                    </a:lnTo>
                    <a:lnTo>
                      <a:pt x="95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104" y="9"/>
                    </a:lnTo>
                    <a:lnTo>
                      <a:pt x="104" y="13"/>
                    </a:lnTo>
                    <a:lnTo>
                      <a:pt x="108" y="18"/>
                    </a:lnTo>
                    <a:lnTo>
                      <a:pt x="113" y="18"/>
                    </a:lnTo>
                    <a:lnTo>
                      <a:pt x="113" y="18"/>
                    </a:lnTo>
                    <a:lnTo>
                      <a:pt x="117" y="22"/>
                    </a:lnTo>
                    <a:lnTo>
                      <a:pt x="117" y="22"/>
                    </a:lnTo>
                    <a:lnTo>
                      <a:pt x="117" y="22"/>
                    </a:lnTo>
                    <a:lnTo>
                      <a:pt x="122" y="22"/>
                    </a:lnTo>
                    <a:lnTo>
                      <a:pt x="122" y="22"/>
                    </a:lnTo>
                    <a:lnTo>
                      <a:pt x="122" y="22"/>
                    </a:lnTo>
                    <a:lnTo>
                      <a:pt x="122" y="27"/>
                    </a:lnTo>
                    <a:lnTo>
                      <a:pt x="122" y="27"/>
                    </a:lnTo>
                    <a:lnTo>
                      <a:pt x="122" y="31"/>
                    </a:lnTo>
                    <a:lnTo>
                      <a:pt x="122" y="31"/>
                    </a:lnTo>
                    <a:lnTo>
                      <a:pt x="122" y="31"/>
                    </a:lnTo>
                    <a:lnTo>
                      <a:pt x="122" y="36"/>
                    </a:lnTo>
                    <a:lnTo>
                      <a:pt x="122" y="36"/>
                    </a:lnTo>
                    <a:lnTo>
                      <a:pt x="122" y="36"/>
                    </a:lnTo>
                    <a:lnTo>
                      <a:pt x="117" y="40"/>
                    </a:lnTo>
                    <a:lnTo>
                      <a:pt x="117" y="40"/>
                    </a:lnTo>
                    <a:lnTo>
                      <a:pt x="122" y="40"/>
                    </a:lnTo>
                    <a:lnTo>
                      <a:pt x="126" y="45"/>
                    </a:lnTo>
                    <a:lnTo>
                      <a:pt x="126" y="45"/>
                    </a:lnTo>
                    <a:lnTo>
                      <a:pt x="126" y="49"/>
                    </a:lnTo>
                    <a:lnTo>
                      <a:pt x="126" y="49"/>
                    </a:lnTo>
                    <a:lnTo>
                      <a:pt x="126" y="49"/>
                    </a:lnTo>
                    <a:lnTo>
                      <a:pt x="126" y="49"/>
                    </a:lnTo>
                    <a:lnTo>
                      <a:pt x="126" y="49"/>
                    </a:lnTo>
                    <a:lnTo>
                      <a:pt x="126" y="54"/>
                    </a:lnTo>
                    <a:lnTo>
                      <a:pt x="126" y="54"/>
                    </a:lnTo>
                    <a:lnTo>
                      <a:pt x="126" y="54"/>
                    </a:lnTo>
                    <a:lnTo>
                      <a:pt x="131" y="54"/>
                    </a:lnTo>
                    <a:lnTo>
                      <a:pt x="131" y="54"/>
                    </a:lnTo>
                    <a:lnTo>
                      <a:pt x="126" y="54"/>
                    </a:lnTo>
                    <a:lnTo>
                      <a:pt x="126" y="58"/>
                    </a:lnTo>
                    <a:lnTo>
                      <a:pt x="126" y="58"/>
                    </a:lnTo>
                    <a:lnTo>
                      <a:pt x="126" y="58"/>
                    </a:lnTo>
                    <a:lnTo>
                      <a:pt x="126" y="58"/>
                    </a:lnTo>
                    <a:lnTo>
                      <a:pt x="126" y="63"/>
                    </a:lnTo>
                    <a:lnTo>
                      <a:pt x="131" y="63"/>
                    </a:lnTo>
                    <a:lnTo>
                      <a:pt x="131" y="63"/>
                    </a:lnTo>
                    <a:lnTo>
                      <a:pt x="126" y="63"/>
                    </a:lnTo>
                    <a:lnTo>
                      <a:pt x="131" y="63"/>
                    </a:lnTo>
                    <a:lnTo>
                      <a:pt x="131" y="67"/>
                    </a:lnTo>
                    <a:lnTo>
                      <a:pt x="131" y="67"/>
                    </a:lnTo>
                    <a:lnTo>
                      <a:pt x="131" y="67"/>
                    </a:lnTo>
                    <a:lnTo>
                      <a:pt x="131" y="72"/>
                    </a:lnTo>
                    <a:lnTo>
                      <a:pt x="131" y="72"/>
                    </a:lnTo>
                    <a:lnTo>
                      <a:pt x="131" y="76"/>
                    </a:lnTo>
                    <a:lnTo>
                      <a:pt x="131" y="76"/>
                    </a:lnTo>
                    <a:lnTo>
                      <a:pt x="131" y="76"/>
                    </a:lnTo>
                    <a:lnTo>
                      <a:pt x="131" y="76"/>
                    </a:lnTo>
                    <a:lnTo>
                      <a:pt x="131" y="76"/>
                    </a:lnTo>
                    <a:lnTo>
                      <a:pt x="131" y="76"/>
                    </a:lnTo>
                    <a:lnTo>
                      <a:pt x="126" y="76"/>
                    </a:lnTo>
                    <a:lnTo>
                      <a:pt x="126" y="76"/>
                    </a:lnTo>
                    <a:lnTo>
                      <a:pt x="126" y="76"/>
                    </a:lnTo>
                    <a:lnTo>
                      <a:pt x="126" y="76"/>
                    </a:lnTo>
                    <a:lnTo>
                      <a:pt x="126" y="76"/>
                    </a:lnTo>
                    <a:lnTo>
                      <a:pt x="126" y="76"/>
                    </a:lnTo>
                    <a:lnTo>
                      <a:pt x="126" y="76"/>
                    </a:lnTo>
                    <a:lnTo>
                      <a:pt x="122" y="76"/>
                    </a:lnTo>
                    <a:lnTo>
                      <a:pt x="122" y="72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17" y="76"/>
                    </a:lnTo>
                    <a:lnTo>
                      <a:pt x="117" y="81"/>
                    </a:lnTo>
                    <a:lnTo>
                      <a:pt x="113" y="81"/>
                    </a:lnTo>
                    <a:lnTo>
                      <a:pt x="113" y="81"/>
                    </a:lnTo>
                    <a:lnTo>
                      <a:pt x="113" y="81"/>
                    </a:lnTo>
                    <a:lnTo>
                      <a:pt x="113" y="81"/>
                    </a:lnTo>
                    <a:lnTo>
                      <a:pt x="108" y="81"/>
                    </a:lnTo>
                    <a:lnTo>
                      <a:pt x="108" y="81"/>
                    </a:lnTo>
                    <a:lnTo>
                      <a:pt x="108" y="81"/>
                    </a:lnTo>
                    <a:lnTo>
                      <a:pt x="108" y="81"/>
                    </a:lnTo>
                    <a:lnTo>
                      <a:pt x="108" y="81"/>
                    </a:lnTo>
                    <a:lnTo>
                      <a:pt x="108" y="81"/>
                    </a:lnTo>
                    <a:lnTo>
                      <a:pt x="108" y="81"/>
                    </a:lnTo>
                    <a:lnTo>
                      <a:pt x="108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99" y="86"/>
                    </a:lnTo>
                    <a:lnTo>
                      <a:pt x="99" y="86"/>
                    </a:lnTo>
                    <a:lnTo>
                      <a:pt x="99" y="86"/>
                    </a:lnTo>
                    <a:lnTo>
                      <a:pt x="99" y="86"/>
                    </a:lnTo>
                    <a:lnTo>
                      <a:pt x="95" y="86"/>
                    </a:lnTo>
                    <a:lnTo>
                      <a:pt x="95" y="90"/>
                    </a:lnTo>
                    <a:lnTo>
                      <a:pt x="95" y="90"/>
                    </a:lnTo>
                    <a:lnTo>
                      <a:pt x="95" y="90"/>
                    </a:lnTo>
                    <a:lnTo>
                      <a:pt x="95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5" y="90"/>
                    </a:lnTo>
                    <a:lnTo>
                      <a:pt x="95" y="95"/>
                    </a:lnTo>
                    <a:lnTo>
                      <a:pt x="95" y="95"/>
                    </a:lnTo>
                    <a:lnTo>
                      <a:pt x="95" y="95"/>
                    </a:lnTo>
                    <a:lnTo>
                      <a:pt x="99" y="95"/>
                    </a:lnTo>
                    <a:lnTo>
                      <a:pt x="99" y="95"/>
                    </a:lnTo>
                    <a:lnTo>
                      <a:pt x="99" y="95"/>
                    </a:lnTo>
                    <a:lnTo>
                      <a:pt x="95" y="95"/>
                    </a:lnTo>
                    <a:lnTo>
                      <a:pt x="95" y="99"/>
                    </a:lnTo>
                    <a:lnTo>
                      <a:pt x="95" y="99"/>
                    </a:lnTo>
                    <a:lnTo>
                      <a:pt x="95" y="99"/>
                    </a:lnTo>
                    <a:lnTo>
                      <a:pt x="95" y="99"/>
                    </a:lnTo>
                    <a:lnTo>
                      <a:pt x="99" y="99"/>
                    </a:lnTo>
                    <a:lnTo>
                      <a:pt x="99" y="104"/>
                    </a:lnTo>
                    <a:lnTo>
                      <a:pt x="99" y="104"/>
                    </a:lnTo>
                    <a:lnTo>
                      <a:pt x="99" y="104"/>
                    </a:lnTo>
                    <a:lnTo>
                      <a:pt x="99" y="104"/>
                    </a:lnTo>
                    <a:lnTo>
                      <a:pt x="104" y="108"/>
                    </a:lnTo>
                    <a:lnTo>
                      <a:pt x="104" y="108"/>
                    </a:lnTo>
                    <a:lnTo>
                      <a:pt x="104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13"/>
                    </a:lnTo>
                    <a:lnTo>
                      <a:pt x="108" y="113"/>
                    </a:lnTo>
                    <a:lnTo>
                      <a:pt x="108" y="113"/>
                    </a:lnTo>
                    <a:lnTo>
                      <a:pt x="113" y="113"/>
                    </a:lnTo>
                    <a:lnTo>
                      <a:pt x="113" y="113"/>
                    </a:lnTo>
                    <a:lnTo>
                      <a:pt x="113" y="113"/>
                    </a:lnTo>
                    <a:lnTo>
                      <a:pt x="113" y="113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117" y="122"/>
                    </a:lnTo>
                    <a:lnTo>
                      <a:pt x="117" y="122"/>
                    </a:lnTo>
                    <a:lnTo>
                      <a:pt x="117" y="122"/>
                    </a:lnTo>
                    <a:lnTo>
                      <a:pt x="117" y="122"/>
                    </a:lnTo>
                    <a:lnTo>
                      <a:pt x="113" y="122"/>
                    </a:lnTo>
                    <a:lnTo>
                      <a:pt x="113" y="122"/>
                    </a:lnTo>
                    <a:lnTo>
                      <a:pt x="113" y="122"/>
                    </a:lnTo>
                    <a:lnTo>
                      <a:pt x="113" y="122"/>
                    </a:lnTo>
                    <a:lnTo>
                      <a:pt x="113" y="122"/>
                    </a:lnTo>
                    <a:lnTo>
                      <a:pt x="108" y="126"/>
                    </a:lnTo>
                    <a:lnTo>
                      <a:pt x="108" y="126"/>
                    </a:lnTo>
                    <a:lnTo>
                      <a:pt x="108" y="126"/>
                    </a:lnTo>
                    <a:lnTo>
                      <a:pt x="108" y="126"/>
                    </a:lnTo>
                    <a:lnTo>
                      <a:pt x="108" y="126"/>
                    </a:lnTo>
                    <a:lnTo>
                      <a:pt x="104" y="126"/>
                    </a:lnTo>
                    <a:lnTo>
                      <a:pt x="104" y="126"/>
                    </a:lnTo>
                    <a:lnTo>
                      <a:pt x="99" y="131"/>
                    </a:lnTo>
                    <a:lnTo>
                      <a:pt x="104" y="131"/>
                    </a:lnTo>
                    <a:lnTo>
                      <a:pt x="104" y="131"/>
                    </a:lnTo>
                    <a:lnTo>
                      <a:pt x="104" y="135"/>
                    </a:lnTo>
                    <a:lnTo>
                      <a:pt x="104" y="135"/>
                    </a:lnTo>
                    <a:lnTo>
                      <a:pt x="104" y="135"/>
                    </a:lnTo>
                    <a:lnTo>
                      <a:pt x="104" y="135"/>
                    </a:lnTo>
                    <a:lnTo>
                      <a:pt x="104" y="135"/>
                    </a:lnTo>
                    <a:lnTo>
                      <a:pt x="104" y="135"/>
                    </a:lnTo>
                    <a:lnTo>
                      <a:pt x="104" y="135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99" y="135"/>
                    </a:lnTo>
                    <a:lnTo>
                      <a:pt x="99" y="140"/>
                    </a:lnTo>
                    <a:lnTo>
                      <a:pt x="99" y="140"/>
                    </a:lnTo>
                    <a:lnTo>
                      <a:pt x="99" y="140"/>
                    </a:lnTo>
                    <a:lnTo>
                      <a:pt x="95" y="135"/>
                    </a:lnTo>
                    <a:lnTo>
                      <a:pt x="95" y="135"/>
                    </a:lnTo>
                    <a:lnTo>
                      <a:pt x="95" y="135"/>
                    </a:lnTo>
                    <a:lnTo>
                      <a:pt x="95" y="135"/>
                    </a:lnTo>
                    <a:lnTo>
                      <a:pt x="95" y="135"/>
                    </a:lnTo>
                    <a:lnTo>
                      <a:pt x="95" y="140"/>
                    </a:lnTo>
                    <a:lnTo>
                      <a:pt x="95" y="140"/>
                    </a:lnTo>
                    <a:lnTo>
                      <a:pt x="86" y="140"/>
                    </a:lnTo>
                    <a:lnTo>
                      <a:pt x="86" y="140"/>
                    </a:lnTo>
                    <a:lnTo>
                      <a:pt x="81" y="140"/>
                    </a:lnTo>
                    <a:lnTo>
                      <a:pt x="81" y="140"/>
                    </a:lnTo>
                    <a:lnTo>
                      <a:pt x="81" y="140"/>
                    </a:lnTo>
                    <a:lnTo>
                      <a:pt x="81" y="140"/>
                    </a:lnTo>
                    <a:lnTo>
                      <a:pt x="77" y="144"/>
                    </a:lnTo>
                    <a:lnTo>
                      <a:pt x="77" y="140"/>
                    </a:lnTo>
                    <a:lnTo>
                      <a:pt x="77" y="144"/>
                    </a:lnTo>
                    <a:lnTo>
                      <a:pt x="77" y="144"/>
                    </a:lnTo>
                    <a:lnTo>
                      <a:pt x="77" y="144"/>
                    </a:lnTo>
                    <a:lnTo>
                      <a:pt x="77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68" y="140"/>
                    </a:lnTo>
                    <a:lnTo>
                      <a:pt x="68" y="140"/>
                    </a:lnTo>
                    <a:lnTo>
                      <a:pt x="68" y="140"/>
                    </a:lnTo>
                    <a:lnTo>
                      <a:pt x="68" y="144"/>
                    </a:lnTo>
                    <a:lnTo>
                      <a:pt x="68" y="144"/>
                    </a:lnTo>
                    <a:lnTo>
                      <a:pt x="63" y="144"/>
                    </a:lnTo>
                    <a:lnTo>
                      <a:pt x="63" y="144"/>
                    </a:lnTo>
                    <a:lnTo>
                      <a:pt x="63" y="144"/>
                    </a:lnTo>
                    <a:lnTo>
                      <a:pt x="63" y="144"/>
                    </a:lnTo>
                    <a:lnTo>
                      <a:pt x="63" y="144"/>
                    </a:lnTo>
                    <a:lnTo>
                      <a:pt x="63" y="144"/>
                    </a:lnTo>
                    <a:lnTo>
                      <a:pt x="63" y="144"/>
                    </a:lnTo>
                    <a:lnTo>
                      <a:pt x="63" y="144"/>
                    </a:lnTo>
                    <a:lnTo>
                      <a:pt x="63" y="140"/>
                    </a:lnTo>
                    <a:lnTo>
                      <a:pt x="63" y="140"/>
                    </a:lnTo>
                    <a:lnTo>
                      <a:pt x="63" y="140"/>
                    </a:lnTo>
                    <a:lnTo>
                      <a:pt x="59" y="140"/>
                    </a:lnTo>
                    <a:lnTo>
                      <a:pt x="59" y="140"/>
                    </a:lnTo>
                    <a:lnTo>
                      <a:pt x="59" y="140"/>
                    </a:lnTo>
                    <a:lnTo>
                      <a:pt x="54" y="140"/>
                    </a:lnTo>
                    <a:lnTo>
                      <a:pt x="54" y="140"/>
                    </a:lnTo>
                    <a:lnTo>
                      <a:pt x="54" y="140"/>
                    </a:lnTo>
                    <a:lnTo>
                      <a:pt x="54" y="140"/>
                    </a:lnTo>
                    <a:lnTo>
                      <a:pt x="50" y="140"/>
                    </a:lnTo>
                    <a:lnTo>
                      <a:pt x="50" y="135"/>
                    </a:lnTo>
                    <a:lnTo>
                      <a:pt x="50" y="135"/>
                    </a:lnTo>
                    <a:lnTo>
                      <a:pt x="45" y="140"/>
                    </a:lnTo>
                    <a:lnTo>
                      <a:pt x="45" y="140"/>
                    </a:lnTo>
                    <a:lnTo>
                      <a:pt x="45" y="135"/>
                    </a:lnTo>
                    <a:lnTo>
                      <a:pt x="41" y="135"/>
                    </a:lnTo>
                    <a:lnTo>
                      <a:pt x="41" y="135"/>
                    </a:lnTo>
                    <a:lnTo>
                      <a:pt x="41" y="135"/>
                    </a:lnTo>
                    <a:lnTo>
                      <a:pt x="41" y="135"/>
                    </a:lnTo>
                    <a:lnTo>
                      <a:pt x="41" y="135"/>
                    </a:lnTo>
                    <a:lnTo>
                      <a:pt x="41" y="135"/>
                    </a:lnTo>
                    <a:lnTo>
                      <a:pt x="41" y="135"/>
                    </a:lnTo>
                    <a:lnTo>
                      <a:pt x="36" y="135"/>
                    </a:lnTo>
                    <a:lnTo>
                      <a:pt x="36" y="135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41" y="140"/>
                    </a:lnTo>
                    <a:lnTo>
                      <a:pt x="41" y="140"/>
                    </a:lnTo>
                    <a:lnTo>
                      <a:pt x="41" y="140"/>
                    </a:lnTo>
                    <a:lnTo>
                      <a:pt x="41" y="140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32" y="140"/>
                    </a:lnTo>
                    <a:lnTo>
                      <a:pt x="32" y="140"/>
                    </a:lnTo>
                    <a:lnTo>
                      <a:pt x="32" y="140"/>
                    </a:lnTo>
                    <a:lnTo>
                      <a:pt x="27" y="140"/>
                    </a:lnTo>
                    <a:lnTo>
                      <a:pt x="27" y="140"/>
                    </a:lnTo>
                    <a:lnTo>
                      <a:pt x="23" y="140"/>
                    </a:lnTo>
                    <a:lnTo>
                      <a:pt x="23" y="135"/>
                    </a:lnTo>
                    <a:lnTo>
                      <a:pt x="23" y="135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3" y="131"/>
                    </a:lnTo>
                    <a:lnTo>
                      <a:pt x="27" y="126"/>
                    </a:lnTo>
                    <a:lnTo>
                      <a:pt x="27" y="126"/>
                    </a:lnTo>
                    <a:lnTo>
                      <a:pt x="27" y="122"/>
                    </a:lnTo>
                    <a:lnTo>
                      <a:pt x="27" y="122"/>
                    </a:lnTo>
                    <a:lnTo>
                      <a:pt x="27" y="117"/>
                    </a:lnTo>
                    <a:lnTo>
                      <a:pt x="32" y="117"/>
                    </a:lnTo>
                    <a:lnTo>
                      <a:pt x="32" y="113"/>
                    </a:lnTo>
                    <a:lnTo>
                      <a:pt x="32" y="113"/>
                    </a:lnTo>
                    <a:lnTo>
                      <a:pt x="32" y="113"/>
                    </a:lnTo>
                    <a:lnTo>
                      <a:pt x="32" y="113"/>
                    </a:lnTo>
                    <a:lnTo>
                      <a:pt x="32" y="113"/>
                    </a:lnTo>
                    <a:lnTo>
                      <a:pt x="27" y="113"/>
                    </a:lnTo>
                    <a:lnTo>
                      <a:pt x="27" y="113"/>
                    </a:lnTo>
                    <a:lnTo>
                      <a:pt x="23" y="113"/>
                    </a:lnTo>
                    <a:lnTo>
                      <a:pt x="23" y="108"/>
                    </a:lnTo>
                    <a:lnTo>
                      <a:pt x="23" y="108"/>
                    </a:lnTo>
                    <a:lnTo>
                      <a:pt x="23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3" y="108"/>
                    </a:lnTo>
                    <a:lnTo>
                      <a:pt x="13" y="108"/>
                    </a:lnTo>
                    <a:lnTo>
                      <a:pt x="13" y="108"/>
                    </a:lnTo>
                    <a:lnTo>
                      <a:pt x="13" y="108"/>
                    </a:lnTo>
                    <a:lnTo>
                      <a:pt x="13" y="108"/>
                    </a:lnTo>
                    <a:lnTo>
                      <a:pt x="9" y="108"/>
                    </a:lnTo>
                    <a:lnTo>
                      <a:pt x="9" y="108"/>
                    </a:lnTo>
                    <a:lnTo>
                      <a:pt x="9" y="108"/>
                    </a:lnTo>
                    <a:lnTo>
                      <a:pt x="9" y="104"/>
                    </a:lnTo>
                    <a:lnTo>
                      <a:pt x="9" y="104"/>
                    </a:lnTo>
                    <a:lnTo>
                      <a:pt x="9" y="104"/>
                    </a:lnTo>
                    <a:lnTo>
                      <a:pt x="9" y="104"/>
                    </a:lnTo>
                    <a:lnTo>
                      <a:pt x="9" y="104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5"/>
                    </a:lnTo>
                    <a:lnTo>
                      <a:pt x="4" y="95"/>
                    </a:lnTo>
                    <a:lnTo>
                      <a:pt x="4" y="95"/>
                    </a:lnTo>
                    <a:lnTo>
                      <a:pt x="4" y="95"/>
                    </a:lnTo>
                    <a:lnTo>
                      <a:pt x="4" y="95"/>
                    </a:lnTo>
                    <a:lnTo>
                      <a:pt x="4" y="90"/>
                    </a:lnTo>
                    <a:lnTo>
                      <a:pt x="4" y="90"/>
                    </a:lnTo>
                    <a:lnTo>
                      <a:pt x="4" y="90"/>
                    </a:lnTo>
                    <a:lnTo>
                      <a:pt x="4" y="90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1"/>
                    </a:lnTo>
                    <a:lnTo>
                      <a:pt x="4" y="81"/>
                    </a:lnTo>
                    <a:lnTo>
                      <a:pt x="4" y="81"/>
                    </a:lnTo>
                    <a:lnTo>
                      <a:pt x="4" y="81"/>
                    </a:lnTo>
                    <a:lnTo>
                      <a:pt x="4" y="81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4" y="63"/>
                    </a:lnTo>
                    <a:lnTo>
                      <a:pt x="4" y="63"/>
                    </a:lnTo>
                    <a:lnTo>
                      <a:pt x="4" y="63"/>
                    </a:lnTo>
                    <a:lnTo>
                      <a:pt x="4" y="63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9" y="58"/>
                    </a:lnTo>
                    <a:lnTo>
                      <a:pt x="9" y="58"/>
                    </a:lnTo>
                    <a:lnTo>
                      <a:pt x="9" y="58"/>
                    </a:lnTo>
                    <a:lnTo>
                      <a:pt x="9" y="58"/>
                    </a:lnTo>
                    <a:lnTo>
                      <a:pt x="9" y="58"/>
                    </a:lnTo>
                    <a:lnTo>
                      <a:pt x="13" y="58"/>
                    </a:lnTo>
                    <a:lnTo>
                      <a:pt x="13" y="58"/>
                    </a:lnTo>
                    <a:lnTo>
                      <a:pt x="13" y="58"/>
                    </a:lnTo>
                    <a:lnTo>
                      <a:pt x="13" y="58"/>
                    </a:lnTo>
                    <a:lnTo>
                      <a:pt x="13" y="54"/>
                    </a:lnTo>
                    <a:lnTo>
                      <a:pt x="13" y="54"/>
                    </a:lnTo>
                    <a:lnTo>
                      <a:pt x="13" y="54"/>
                    </a:lnTo>
                    <a:lnTo>
                      <a:pt x="13" y="54"/>
                    </a:lnTo>
                    <a:lnTo>
                      <a:pt x="13" y="54"/>
                    </a:lnTo>
                    <a:lnTo>
                      <a:pt x="13" y="54"/>
                    </a:lnTo>
                    <a:lnTo>
                      <a:pt x="18" y="54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1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23" y="27"/>
                    </a:lnTo>
                    <a:lnTo>
                      <a:pt x="23" y="22"/>
                    </a:lnTo>
                    <a:lnTo>
                      <a:pt x="27" y="22"/>
                    </a:lnTo>
                    <a:lnTo>
                      <a:pt x="32" y="22"/>
                    </a:lnTo>
                    <a:lnTo>
                      <a:pt x="36" y="27"/>
                    </a:lnTo>
                    <a:lnTo>
                      <a:pt x="32" y="27"/>
                    </a:lnTo>
                    <a:lnTo>
                      <a:pt x="36" y="31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1" y="31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5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9" y="27"/>
                    </a:lnTo>
                    <a:lnTo>
                      <a:pt x="54" y="27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4"/>
                    </a:lnTo>
                    <a:lnTo>
                      <a:pt x="41" y="4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50" y="4"/>
                    </a:lnTo>
                    <a:lnTo>
                      <a:pt x="50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24" name="Freeform 45"/>
              <p:cNvSpPr>
                <a:spLocks/>
              </p:cNvSpPr>
              <p:nvPr/>
            </p:nvSpPr>
            <p:spPr bwMode="auto">
              <a:xfrm>
                <a:off x="5418138" y="2565401"/>
                <a:ext cx="42863" cy="57150"/>
              </a:xfrm>
              <a:custGeom>
                <a:avLst/>
                <a:gdLst>
                  <a:gd name="T0" fmla="*/ 22 w 27"/>
                  <a:gd name="T1" fmla="*/ 4 h 36"/>
                  <a:gd name="T2" fmla="*/ 22 w 27"/>
                  <a:gd name="T3" fmla="*/ 4 h 36"/>
                  <a:gd name="T4" fmla="*/ 27 w 27"/>
                  <a:gd name="T5" fmla="*/ 4 h 36"/>
                  <a:gd name="T6" fmla="*/ 27 w 27"/>
                  <a:gd name="T7" fmla="*/ 9 h 36"/>
                  <a:gd name="T8" fmla="*/ 27 w 27"/>
                  <a:gd name="T9" fmla="*/ 13 h 36"/>
                  <a:gd name="T10" fmla="*/ 27 w 27"/>
                  <a:gd name="T11" fmla="*/ 13 h 36"/>
                  <a:gd name="T12" fmla="*/ 27 w 27"/>
                  <a:gd name="T13" fmla="*/ 13 h 36"/>
                  <a:gd name="T14" fmla="*/ 27 w 27"/>
                  <a:gd name="T15" fmla="*/ 13 h 36"/>
                  <a:gd name="T16" fmla="*/ 22 w 27"/>
                  <a:gd name="T17" fmla="*/ 18 h 36"/>
                  <a:gd name="T18" fmla="*/ 18 w 27"/>
                  <a:gd name="T19" fmla="*/ 18 h 36"/>
                  <a:gd name="T20" fmla="*/ 18 w 27"/>
                  <a:gd name="T21" fmla="*/ 22 h 36"/>
                  <a:gd name="T22" fmla="*/ 13 w 27"/>
                  <a:gd name="T23" fmla="*/ 22 h 36"/>
                  <a:gd name="T24" fmla="*/ 13 w 27"/>
                  <a:gd name="T25" fmla="*/ 22 h 36"/>
                  <a:gd name="T26" fmla="*/ 13 w 27"/>
                  <a:gd name="T27" fmla="*/ 22 h 36"/>
                  <a:gd name="T28" fmla="*/ 18 w 27"/>
                  <a:gd name="T29" fmla="*/ 22 h 36"/>
                  <a:gd name="T30" fmla="*/ 18 w 27"/>
                  <a:gd name="T31" fmla="*/ 22 h 36"/>
                  <a:gd name="T32" fmla="*/ 22 w 27"/>
                  <a:gd name="T33" fmla="*/ 22 h 36"/>
                  <a:gd name="T34" fmla="*/ 22 w 27"/>
                  <a:gd name="T35" fmla="*/ 22 h 36"/>
                  <a:gd name="T36" fmla="*/ 27 w 27"/>
                  <a:gd name="T37" fmla="*/ 22 h 36"/>
                  <a:gd name="T38" fmla="*/ 27 w 27"/>
                  <a:gd name="T39" fmla="*/ 22 h 36"/>
                  <a:gd name="T40" fmla="*/ 27 w 27"/>
                  <a:gd name="T41" fmla="*/ 27 h 36"/>
                  <a:gd name="T42" fmla="*/ 22 w 27"/>
                  <a:gd name="T43" fmla="*/ 31 h 36"/>
                  <a:gd name="T44" fmla="*/ 22 w 27"/>
                  <a:gd name="T45" fmla="*/ 36 h 36"/>
                  <a:gd name="T46" fmla="*/ 22 w 27"/>
                  <a:gd name="T47" fmla="*/ 36 h 36"/>
                  <a:gd name="T48" fmla="*/ 18 w 27"/>
                  <a:gd name="T49" fmla="*/ 31 h 36"/>
                  <a:gd name="T50" fmla="*/ 18 w 27"/>
                  <a:gd name="T51" fmla="*/ 31 h 36"/>
                  <a:gd name="T52" fmla="*/ 18 w 27"/>
                  <a:gd name="T53" fmla="*/ 31 h 36"/>
                  <a:gd name="T54" fmla="*/ 13 w 27"/>
                  <a:gd name="T55" fmla="*/ 31 h 36"/>
                  <a:gd name="T56" fmla="*/ 13 w 27"/>
                  <a:gd name="T57" fmla="*/ 31 h 36"/>
                  <a:gd name="T58" fmla="*/ 9 w 27"/>
                  <a:gd name="T59" fmla="*/ 36 h 36"/>
                  <a:gd name="T60" fmla="*/ 9 w 27"/>
                  <a:gd name="T61" fmla="*/ 36 h 36"/>
                  <a:gd name="T62" fmla="*/ 9 w 27"/>
                  <a:gd name="T63" fmla="*/ 36 h 36"/>
                  <a:gd name="T64" fmla="*/ 4 w 27"/>
                  <a:gd name="T65" fmla="*/ 36 h 36"/>
                  <a:gd name="T66" fmla="*/ 4 w 27"/>
                  <a:gd name="T67" fmla="*/ 36 h 36"/>
                  <a:gd name="T68" fmla="*/ 4 w 27"/>
                  <a:gd name="T69" fmla="*/ 36 h 36"/>
                  <a:gd name="T70" fmla="*/ 0 w 27"/>
                  <a:gd name="T71" fmla="*/ 31 h 36"/>
                  <a:gd name="T72" fmla="*/ 0 w 27"/>
                  <a:gd name="T73" fmla="*/ 27 h 36"/>
                  <a:gd name="T74" fmla="*/ 0 w 27"/>
                  <a:gd name="T75" fmla="*/ 22 h 36"/>
                  <a:gd name="T76" fmla="*/ 0 w 27"/>
                  <a:gd name="T77" fmla="*/ 22 h 36"/>
                  <a:gd name="T78" fmla="*/ 0 w 27"/>
                  <a:gd name="T79" fmla="*/ 22 h 36"/>
                  <a:gd name="T80" fmla="*/ 4 w 27"/>
                  <a:gd name="T81" fmla="*/ 18 h 36"/>
                  <a:gd name="T82" fmla="*/ 4 w 27"/>
                  <a:gd name="T83" fmla="*/ 18 h 36"/>
                  <a:gd name="T84" fmla="*/ 9 w 27"/>
                  <a:gd name="T85" fmla="*/ 13 h 36"/>
                  <a:gd name="T86" fmla="*/ 9 w 27"/>
                  <a:gd name="T87" fmla="*/ 9 h 36"/>
                  <a:gd name="T88" fmla="*/ 9 w 27"/>
                  <a:gd name="T89" fmla="*/ 4 h 36"/>
                  <a:gd name="T90" fmla="*/ 13 w 27"/>
                  <a:gd name="T91" fmla="*/ 4 h 36"/>
                  <a:gd name="T92" fmla="*/ 13 w 27"/>
                  <a:gd name="T93" fmla="*/ 4 h 36"/>
                  <a:gd name="T94" fmla="*/ 13 w 27"/>
                  <a:gd name="T95" fmla="*/ 4 h 36"/>
                  <a:gd name="T96" fmla="*/ 18 w 27"/>
                  <a:gd name="T97" fmla="*/ 9 h 36"/>
                  <a:gd name="T98" fmla="*/ 18 w 27"/>
                  <a:gd name="T99" fmla="*/ 9 h 36"/>
                  <a:gd name="T100" fmla="*/ 18 w 27"/>
                  <a:gd name="T101" fmla="*/ 9 h 36"/>
                  <a:gd name="T102" fmla="*/ 18 w 27"/>
                  <a:gd name="T103" fmla="*/ 4 h 36"/>
                  <a:gd name="T104" fmla="*/ 18 w 27"/>
                  <a:gd name="T105" fmla="*/ 4 h 36"/>
                  <a:gd name="T106" fmla="*/ 18 w 27"/>
                  <a:gd name="T107" fmla="*/ 4 h 36"/>
                  <a:gd name="T108" fmla="*/ 22 w 27"/>
                  <a:gd name="T109" fmla="*/ 4 h 36"/>
                  <a:gd name="T110" fmla="*/ 22 w 27"/>
                  <a:gd name="T111" fmla="*/ 0 h 36"/>
                  <a:gd name="T112" fmla="*/ 22 w 27"/>
                  <a:gd name="T113" fmla="*/ 4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7" h="36">
                    <a:moveTo>
                      <a:pt x="22" y="4"/>
                    </a:moveTo>
                    <a:lnTo>
                      <a:pt x="22" y="4"/>
                    </a:lnTo>
                    <a:lnTo>
                      <a:pt x="27" y="4"/>
                    </a:lnTo>
                    <a:lnTo>
                      <a:pt x="27" y="9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7" y="27"/>
                    </a:lnTo>
                    <a:lnTo>
                      <a:pt x="22" y="31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1"/>
                    </a:lnTo>
                    <a:lnTo>
                      <a:pt x="0" y="27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9" y="13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2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25" name="Freeform 46"/>
              <p:cNvSpPr>
                <a:spLocks noEditPoints="1"/>
              </p:cNvSpPr>
              <p:nvPr/>
            </p:nvSpPr>
            <p:spPr bwMode="auto">
              <a:xfrm>
                <a:off x="4506913" y="1230314"/>
                <a:ext cx="93663" cy="85725"/>
              </a:xfrm>
              <a:custGeom>
                <a:avLst/>
                <a:gdLst>
                  <a:gd name="T0" fmla="*/ 36 w 59"/>
                  <a:gd name="T1" fmla="*/ 41 h 54"/>
                  <a:gd name="T2" fmla="*/ 36 w 59"/>
                  <a:gd name="T3" fmla="*/ 45 h 54"/>
                  <a:gd name="T4" fmla="*/ 23 w 59"/>
                  <a:gd name="T5" fmla="*/ 45 h 54"/>
                  <a:gd name="T6" fmla="*/ 23 w 59"/>
                  <a:gd name="T7" fmla="*/ 41 h 54"/>
                  <a:gd name="T8" fmla="*/ 32 w 59"/>
                  <a:gd name="T9" fmla="*/ 41 h 54"/>
                  <a:gd name="T10" fmla="*/ 59 w 59"/>
                  <a:gd name="T11" fmla="*/ 36 h 54"/>
                  <a:gd name="T12" fmla="*/ 59 w 59"/>
                  <a:gd name="T13" fmla="*/ 36 h 54"/>
                  <a:gd name="T14" fmla="*/ 54 w 59"/>
                  <a:gd name="T15" fmla="*/ 41 h 54"/>
                  <a:gd name="T16" fmla="*/ 59 w 59"/>
                  <a:gd name="T17" fmla="*/ 45 h 54"/>
                  <a:gd name="T18" fmla="*/ 54 w 59"/>
                  <a:gd name="T19" fmla="*/ 50 h 54"/>
                  <a:gd name="T20" fmla="*/ 50 w 59"/>
                  <a:gd name="T21" fmla="*/ 50 h 54"/>
                  <a:gd name="T22" fmla="*/ 45 w 59"/>
                  <a:gd name="T23" fmla="*/ 45 h 54"/>
                  <a:gd name="T24" fmla="*/ 41 w 59"/>
                  <a:gd name="T25" fmla="*/ 45 h 54"/>
                  <a:gd name="T26" fmla="*/ 41 w 59"/>
                  <a:gd name="T27" fmla="*/ 41 h 54"/>
                  <a:gd name="T28" fmla="*/ 41 w 59"/>
                  <a:gd name="T29" fmla="*/ 36 h 54"/>
                  <a:gd name="T30" fmla="*/ 45 w 59"/>
                  <a:gd name="T31" fmla="*/ 32 h 54"/>
                  <a:gd name="T32" fmla="*/ 50 w 59"/>
                  <a:gd name="T33" fmla="*/ 32 h 54"/>
                  <a:gd name="T34" fmla="*/ 50 w 59"/>
                  <a:gd name="T35" fmla="*/ 36 h 54"/>
                  <a:gd name="T36" fmla="*/ 50 w 59"/>
                  <a:gd name="T37" fmla="*/ 32 h 54"/>
                  <a:gd name="T38" fmla="*/ 54 w 59"/>
                  <a:gd name="T39" fmla="*/ 27 h 54"/>
                  <a:gd name="T40" fmla="*/ 59 w 59"/>
                  <a:gd name="T41" fmla="*/ 32 h 54"/>
                  <a:gd name="T42" fmla="*/ 59 w 59"/>
                  <a:gd name="T43" fmla="*/ 36 h 54"/>
                  <a:gd name="T44" fmla="*/ 27 w 59"/>
                  <a:gd name="T45" fmla="*/ 13 h 54"/>
                  <a:gd name="T46" fmla="*/ 32 w 59"/>
                  <a:gd name="T47" fmla="*/ 22 h 54"/>
                  <a:gd name="T48" fmla="*/ 36 w 59"/>
                  <a:gd name="T49" fmla="*/ 22 h 54"/>
                  <a:gd name="T50" fmla="*/ 32 w 59"/>
                  <a:gd name="T51" fmla="*/ 27 h 54"/>
                  <a:gd name="T52" fmla="*/ 27 w 59"/>
                  <a:gd name="T53" fmla="*/ 27 h 54"/>
                  <a:gd name="T54" fmla="*/ 27 w 59"/>
                  <a:gd name="T55" fmla="*/ 32 h 54"/>
                  <a:gd name="T56" fmla="*/ 27 w 59"/>
                  <a:gd name="T57" fmla="*/ 36 h 54"/>
                  <a:gd name="T58" fmla="*/ 23 w 59"/>
                  <a:gd name="T59" fmla="*/ 36 h 54"/>
                  <a:gd name="T60" fmla="*/ 18 w 59"/>
                  <a:gd name="T61" fmla="*/ 45 h 54"/>
                  <a:gd name="T62" fmla="*/ 18 w 59"/>
                  <a:gd name="T63" fmla="*/ 50 h 54"/>
                  <a:gd name="T64" fmla="*/ 23 w 59"/>
                  <a:gd name="T65" fmla="*/ 50 h 54"/>
                  <a:gd name="T66" fmla="*/ 18 w 59"/>
                  <a:gd name="T67" fmla="*/ 54 h 54"/>
                  <a:gd name="T68" fmla="*/ 14 w 59"/>
                  <a:gd name="T69" fmla="*/ 54 h 54"/>
                  <a:gd name="T70" fmla="*/ 5 w 59"/>
                  <a:gd name="T71" fmla="*/ 50 h 54"/>
                  <a:gd name="T72" fmla="*/ 5 w 59"/>
                  <a:gd name="T73" fmla="*/ 45 h 54"/>
                  <a:gd name="T74" fmla="*/ 0 w 59"/>
                  <a:gd name="T75" fmla="*/ 41 h 54"/>
                  <a:gd name="T76" fmla="*/ 0 w 59"/>
                  <a:gd name="T77" fmla="*/ 27 h 54"/>
                  <a:gd name="T78" fmla="*/ 0 w 59"/>
                  <a:gd name="T79" fmla="*/ 18 h 54"/>
                  <a:gd name="T80" fmla="*/ 5 w 59"/>
                  <a:gd name="T81" fmla="*/ 22 h 54"/>
                  <a:gd name="T82" fmla="*/ 9 w 59"/>
                  <a:gd name="T83" fmla="*/ 18 h 54"/>
                  <a:gd name="T84" fmla="*/ 14 w 59"/>
                  <a:gd name="T85" fmla="*/ 18 h 54"/>
                  <a:gd name="T86" fmla="*/ 9 w 59"/>
                  <a:gd name="T87" fmla="*/ 13 h 54"/>
                  <a:gd name="T88" fmla="*/ 0 w 59"/>
                  <a:gd name="T89" fmla="*/ 18 h 54"/>
                  <a:gd name="T90" fmla="*/ 5 w 59"/>
                  <a:gd name="T91" fmla="*/ 13 h 54"/>
                  <a:gd name="T92" fmla="*/ 14 w 59"/>
                  <a:gd name="T93" fmla="*/ 9 h 54"/>
                  <a:gd name="T94" fmla="*/ 23 w 59"/>
                  <a:gd name="T95" fmla="*/ 4 h 54"/>
                  <a:gd name="T96" fmla="*/ 32 w 59"/>
                  <a:gd name="T97" fmla="*/ 0 h 54"/>
                  <a:gd name="T98" fmla="*/ 32 w 59"/>
                  <a:gd name="T99" fmla="*/ 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9" h="54">
                    <a:moveTo>
                      <a:pt x="32" y="36"/>
                    </a:moveTo>
                    <a:lnTo>
                      <a:pt x="32" y="36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27" y="50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7" y="36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32" y="36"/>
                    </a:lnTo>
                    <a:lnTo>
                      <a:pt x="32" y="36"/>
                    </a:lnTo>
                    <a:moveTo>
                      <a:pt x="59" y="36"/>
                    </a:moveTo>
                    <a:lnTo>
                      <a:pt x="59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59" y="41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9" y="41"/>
                    </a:lnTo>
                    <a:lnTo>
                      <a:pt x="59" y="45"/>
                    </a:lnTo>
                    <a:lnTo>
                      <a:pt x="59" y="45"/>
                    </a:lnTo>
                    <a:lnTo>
                      <a:pt x="54" y="45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4" y="54"/>
                    </a:lnTo>
                    <a:lnTo>
                      <a:pt x="50" y="54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1" y="45"/>
                    </a:lnTo>
                    <a:lnTo>
                      <a:pt x="41" y="45"/>
                    </a:lnTo>
                    <a:lnTo>
                      <a:pt x="41" y="45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36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50" y="32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4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6"/>
                    </a:lnTo>
                    <a:moveTo>
                      <a:pt x="32" y="9"/>
                    </a:moveTo>
                    <a:lnTo>
                      <a:pt x="32" y="9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27" y="27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3" y="32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1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9" y="22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3" y="4"/>
                    </a:lnTo>
                    <a:lnTo>
                      <a:pt x="23" y="0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9"/>
                    </a:lnTo>
                    <a:lnTo>
                      <a:pt x="32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26" name="Freeform 47"/>
              <p:cNvSpPr>
                <a:spLocks/>
              </p:cNvSpPr>
              <p:nvPr/>
            </p:nvSpPr>
            <p:spPr bwMode="auto">
              <a:xfrm>
                <a:off x="2327276" y="2328864"/>
                <a:ext cx="92075" cy="71438"/>
              </a:xfrm>
              <a:custGeom>
                <a:avLst/>
                <a:gdLst>
                  <a:gd name="T0" fmla="*/ 22 w 58"/>
                  <a:gd name="T1" fmla="*/ 4 h 45"/>
                  <a:gd name="T2" fmla="*/ 27 w 58"/>
                  <a:gd name="T3" fmla="*/ 4 h 45"/>
                  <a:gd name="T4" fmla="*/ 27 w 58"/>
                  <a:gd name="T5" fmla="*/ 4 h 45"/>
                  <a:gd name="T6" fmla="*/ 31 w 58"/>
                  <a:gd name="T7" fmla="*/ 9 h 45"/>
                  <a:gd name="T8" fmla="*/ 36 w 58"/>
                  <a:gd name="T9" fmla="*/ 4 h 45"/>
                  <a:gd name="T10" fmla="*/ 36 w 58"/>
                  <a:gd name="T11" fmla="*/ 9 h 45"/>
                  <a:gd name="T12" fmla="*/ 36 w 58"/>
                  <a:gd name="T13" fmla="*/ 13 h 45"/>
                  <a:gd name="T14" fmla="*/ 45 w 58"/>
                  <a:gd name="T15" fmla="*/ 13 h 45"/>
                  <a:gd name="T16" fmla="*/ 45 w 58"/>
                  <a:gd name="T17" fmla="*/ 13 h 45"/>
                  <a:gd name="T18" fmla="*/ 40 w 58"/>
                  <a:gd name="T19" fmla="*/ 13 h 45"/>
                  <a:gd name="T20" fmla="*/ 40 w 58"/>
                  <a:gd name="T21" fmla="*/ 18 h 45"/>
                  <a:gd name="T22" fmla="*/ 40 w 58"/>
                  <a:gd name="T23" fmla="*/ 18 h 45"/>
                  <a:gd name="T24" fmla="*/ 45 w 58"/>
                  <a:gd name="T25" fmla="*/ 18 h 45"/>
                  <a:gd name="T26" fmla="*/ 49 w 58"/>
                  <a:gd name="T27" fmla="*/ 18 h 45"/>
                  <a:gd name="T28" fmla="*/ 54 w 58"/>
                  <a:gd name="T29" fmla="*/ 22 h 45"/>
                  <a:gd name="T30" fmla="*/ 58 w 58"/>
                  <a:gd name="T31" fmla="*/ 27 h 45"/>
                  <a:gd name="T32" fmla="*/ 58 w 58"/>
                  <a:gd name="T33" fmla="*/ 27 h 45"/>
                  <a:gd name="T34" fmla="*/ 58 w 58"/>
                  <a:gd name="T35" fmla="*/ 31 h 45"/>
                  <a:gd name="T36" fmla="*/ 54 w 58"/>
                  <a:gd name="T37" fmla="*/ 31 h 45"/>
                  <a:gd name="T38" fmla="*/ 54 w 58"/>
                  <a:gd name="T39" fmla="*/ 36 h 45"/>
                  <a:gd name="T40" fmla="*/ 49 w 58"/>
                  <a:gd name="T41" fmla="*/ 36 h 45"/>
                  <a:gd name="T42" fmla="*/ 49 w 58"/>
                  <a:gd name="T43" fmla="*/ 31 h 45"/>
                  <a:gd name="T44" fmla="*/ 45 w 58"/>
                  <a:gd name="T45" fmla="*/ 31 h 45"/>
                  <a:gd name="T46" fmla="*/ 40 w 58"/>
                  <a:gd name="T47" fmla="*/ 31 h 45"/>
                  <a:gd name="T48" fmla="*/ 36 w 58"/>
                  <a:gd name="T49" fmla="*/ 31 h 45"/>
                  <a:gd name="T50" fmla="*/ 31 w 58"/>
                  <a:gd name="T51" fmla="*/ 31 h 45"/>
                  <a:gd name="T52" fmla="*/ 27 w 58"/>
                  <a:gd name="T53" fmla="*/ 31 h 45"/>
                  <a:gd name="T54" fmla="*/ 22 w 58"/>
                  <a:gd name="T55" fmla="*/ 36 h 45"/>
                  <a:gd name="T56" fmla="*/ 18 w 58"/>
                  <a:gd name="T57" fmla="*/ 31 h 45"/>
                  <a:gd name="T58" fmla="*/ 13 w 58"/>
                  <a:gd name="T59" fmla="*/ 31 h 45"/>
                  <a:gd name="T60" fmla="*/ 13 w 58"/>
                  <a:gd name="T61" fmla="*/ 31 h 45"/>
                  <a:gd name="T62" fmla="*/ 13 w 58"/>
                  <a:gd name="T63" fmla="*/ 36 h 45"/>
                  <a:gd name="T64" fmla="*/ 9 w 58"/>
                  <a:gd name="T65" fmla="*/ 40 h 45"/>
                  <a:gd name="T66" fmla="*/ 4 w 58"/>
                  <a:gd name="T67" fmla="*/ 45 h 45"/>
                  <a:gd name="T68" fmla="*/ 4 w 58"/>
                  <a:gd name="T69" fmla="*/ 45 h 45"/>
                  <a:gd name="T70" fmla="*/ 0 w 58"/>
                  <a:gd name="T71" fmla="*/ 40 h 45"/>
                  <a:gd name="T72" fmla="*/ 0 w 58"/>
                  <a:gd name="T73" fmla="*/ 40 h 45"/>
                  <a:gd name="T74" fmla="*/ 0 w 58"/>
                  <a:gd name="T75" fmla="*/ 36 h 45"/>
                  <a:gd name="T76" fmla="*/ 0 w 58"/>
                  <a:gd name="T77" fmla="*/ 36 h 45"/>
                  <a:gd name="T78" fmla="*/ 0 w 58"/>
                  <a:gd name="T79" fmla="*/ 31 h 45"/>
                  <a:gd name="T80" fmla="*/ 0 w 58"/>
                  <a:gd name="T81" fmla="*/ 27 h 45"/>
                  <a:gd name="T82" fmla="*/ 0 w 58"/>
                  <a:gd name="T83" fmla="*/ 27 h 45"/>
                  <a:gd name="T84" fmla="*/ 0 w 58"/>
                  <a:gd name="T85" fmla="*/ 27 h 45"/>
                  <a:gd name="T86" fmla="*/ 4 w 58"/>
                  <a:gd name="T87" fmla="*/ 22 h 45"/>
                  <a:gd name="T88" fmla="*/ 4 w 58"/>
                  <a:gd name="T89" fmla="*/ 22 h 45"/>
                  <a:gd name="T90" fmla="*/ 4 w 58"/>
                  <a:gd name="T91" fmla="*/ 18 h 45"/>
                  <a:gd name="T92" fmla="*/ 4 w 58"/>
                  <a:gd name="T93" fmla="*/ 13 h 45"/>
                  <a:gd name="T94" fmla="*/ 4 w 58"/>
                  <a:gd name="T95" fmla="*/ 13 h 45"/>
                  <a:gd name="T96" fmla="*/ 4 w 58"/>
                  <a:gd name="T97" fmla="*/ 9 h 45"/>
                  <a:gd name="T98" fmla="*/ 4 w 58"/>
                  <a:gd name="T99" fmla="*/ 4 h 45"/>
                  <a:gd name="T100" fmla="*/ 4 w 58"/>
                  <a:gd name="T101" fmla="*/ 4 h 45"/>
                  <a:gd name="T102" fmla="*/ 9 w 58"/>
                  <a:gd name="T103" fmla="*/ 0 h 45"/>
                  <a:gd name="T104" fmla="*/ 9 w 58"/>
                  <a:gd name="T105" fmla="*/ 0 h 45"/>
                  <a:gd name="T106" fmla="*/ 13 w 58"/>
                  <a:gd name="T107" fmla="*/ 4 h 45"/>
                  <a:gd name="T108" fmla="*/ 18 w 58"/>
                  <a:gd name="T109" fmla="*/ 0 h 45"/>
                  <a:gd name="T110" fmla="*/ 22 w 58"/>
                  <a:gd name="T11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8" h="45">
                    <a:moveTo>
                      <a:pt x="22" y="4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31" y="4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13"/>
                    </a:lnTo>
                    <a:lnTo>
                      <a:pt x="40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8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9" y="18"/>
                    </a:lnTo>
                    <a:lnTo>
                      <a:pt x="49" y="18"/>
                    </a:lnTo>
                    <a:lnTo>
                      <a:pt x="49" y="18"/>
                    </a:lnTo>
                    <a:lnTo>
                      <a:pt x="54" y="22"/>
                    </a:lnTo>
                    <a:lnTo>
                      <a:pt x="58" y="27"/>
                    </a:lnTo>
                    <a:lnTo>
                      <a:pt x="58" y="27"/>
                    </a:lnTo>
                    <a:lnTo>
                      <a:pt x="58" y="27"/>
                    </a:lnTo>
                    <a:lnTo>
                      <a:pt x="58" y="27"/>
                    </a:lnTo>
                    <a:lnTo>
                      <a:pt x="58" y="31"/>
                    </a:lnTo>
                    <a:lnTo>
                      <a:pt x="58" y="31"/>
                    </a:lnTo>
                    <a:lnTo>
                      <a:pt x="54" y="31"/>
                    </a:lnTo>
                    <a:lnTo>
                      <a:pt x="54" y="31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49" y="36"/>
                    </a:lnTo>
                    <a:lnTo>
                      <a:pt x="49" y="31"/>
                    </a:lnTo>
                    <a:lnTo>
                      <a:pt x="49" y="31"/>
                    </a:lnTo>
                    <a:lnTo>
                      <a:pt x="45" y="31"/>
                    </a:lnTo>
                    <a:lnTo>
                      <a:pt x="45" y="31"/>
                    </a:lnTo>
                    <a:lnTo>
                      <a:pt x="40" y="31"/>
                    </a:lnTo>
                    <a:lnTo>
                      <a:pt x="40" y="31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31" y="31"/>
                    </a:lnTo>
                    <a:lnTo>
                      <a:pt x="31" y="31"/>
                    </a:lnTo>
                    <a:lnTo>
                      <a:pt x="31" y="31"/>
                    </a:lnTo>
                    <a:lnTo>
                      <a:pt x="27" y="31"/>
                    </a:lnTo>
                    <a:lnTo>
                      <a:pt x="27" y="36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9" y="36"/>
                    </a:lnTo>
                    <a:lnTo>
                      <a:pt x="9" y="40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0" y="45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9" y="4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0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27" name="Freeform 48"/>
              <p:cNvSpPr>
                <a:spLocks/>
              </p:cNvSpPr>
              <p:nvPr/>
            </p:nvSpPr>
            <p:spPr bwMode="auto">
              <a:xfrm>
                <a:off x="4054476" y="1839914"/>
                <a:ext cx="546100" cy="546100"/>
              </a:xfrm>
              <a:custGeom>
                <a:avLst/>
                <a:gdLst>
                  <a:gd name="T0" fmla="*/ 285 w 344"/>
                  <a:gd name="T1" fmla="*/ 5 h 344"/>
                  <a:gd name="T2" fmla="*/ 281 w 344"/>
                  <a:gd name="T3" fmla="*/ 14 h 344"/>
                  <a:gd name="T4" fmla="*/ 281 w 344"/>
                  <a:gd name="T5" fmla="*/ 18 h 344"/>
                  <a:gd name="T6" fmla="*/ 281 w 344"/>
                  <a:gd name="T7" fmla="*/ 32 h 344"/>
                  <a:gd name="T8" fmla="*/ 281 w 344"/>
                  <a:gd name="T9" fmla="*/ 45 h 344"/>
                  <a:gd name="T10" fmla="*/ 276 w 344"/>
                  <a:gd name="T11" fmla="*/ 54 h 344"/>
                  <a:gd name="T12" fmla="*/ 272 w 344"/>
                  <a:gd name="T13" fmla="*/ 63 h 344"/>
                  <a:gd name="T14" fmla="*/ 281 w 344"/>
                  <a:gd name="T15" fmla="*/ 77 h 344"/>
                  <a:gd name="T16" fmla="*/ 290 w 344"/>
                  <a:gd name="T17" fmla="*/ 91 h 344"/>
                  <a:gd name="T18" fmla="*/ 299 w 344"/>
                  <a:gd name="T19" fmla="*/ 109 h 344"/>
                  <a:gd name="T20" fmla="*/ 299 w 344"/>
                  <a:gd name="T21" fmla="*/ 131 h 344"/>
                  <a:gd name="T22" fmla="*/ 303 w 344"/>
                  <a:gd name="T23" fmla="*/ 149 h 344"/>
                  <a:gd name="T24" fmla="*/ 308 w 344"/>
                  <a:gd name="T25" fmla="*/ 177 h 344"/>
                  <a:gd name="T26" fmla="*/ 308 w 344"/>
                  <a:gd name="T27" fmla="*/ 195 h 344"/>
                  <a:gd name="T28" fmla="*/ 299 w 344"/>
                  <a:gd name="T29" fmla="*/ 208 h 344"/>
                  <a:gd name="T30" fmla="*/ 312 w 344"/>
                  <a:gd name="T31" fmla="*/ 226 h 344"/>
                  <a:gd name="T32" fmla="*/ 317 w 344"/>
                  <a:gd name="T33" fmla="*/ 240 h 344"/>
                  <a:gd name="T34" fmla="*/ 339 w 344"/>
                  <a:gd name="T35" fmla="*/ 249 h 344"/>
                  <a:gd name="T36" fmla="*/ 308 w 344"/>
                  <a:gd name="T37" fmla="*/ 281 h 344"/>
                  <a:gd name="T38" fmla="*/ 262 w 344"/>
                  <a:gd name="T39" fmla="*/ 312 h 344"/>
                  <a:gd name="T40" fmla="*/ 240 w 344"/>
                  <a:gd name="T41" fmla="*/ 335 h 344"/>
                  <a:gd name="T42" fmla="*/ 213 w 344"/>
                  <a:gd name="T43" fmla="*/ 339 h 344"/>
                  <a:gd name="T44" fmla="*/ 195 w 344"/>
                  <a:gd name="T45" fmla="*/ 344 h 344"/>
                  <a:gd name="T46" fmla="*/ 195 w 344"/>
                  <a:gd name="T47" fmla="*/ 335 h 344"/>
                  <a:gd name="T48" fmla="*/ 195 w 344"/>
                  <a:gd name="T49" fmla="*/ 330 h 344"/>
                  <a:gd name="T50" fmla="*/ 190 w 344"/>
                  <a:gd name="T51" fmla="*/ 326 h 344"/>
                  <a:gd name="T52" fmla="*/ 177 w 344"/>
                  <a:gd name="T53" fmla="*/ 317 h 344"/>
                  <a:gd name="T54" fmla="*/ 168 w 344"/>
                  <a:gd name="T55" fmla="*/ 312 h 344"/>
                  <a:gd name="T56" fmla="*/ 159 w 344"/>
                  <a:gd name="T57" fmla="*/ 303 h 344"/>
                  <a:gd name="T58" fmla="*/ 141 w 344"/>
                  <a:gd name="T59" fmla="*/ 290 h 344"/>
                  <a:gd name="T60" fmla="*/ 109 w 344"/>
                  <a:gd name="T61" fmla="*/ 262 h 344"/>
                  <a:gd name="T62" fmla="*/ 77 w 344"/>
                  <a:gd name="T63" fmla="*/ 240 h 344"/>
                  <a:gd name="T64" fmla="*/ 50 w 344"/>
                  <a:gd name="T65" fmla="*/ 222 h 344"/>
                  <a:gd name="T66" fmla="*/ 32 w 344"/>
                  <a:gd name="T67" fmla="*/ 208 h 344"/>
                  <a:gd name="T68" fmla="*/ 14 w 344"/>
                  <a:gd name="T69" fmla="*/ 195 h 344"/>
                  <a:gd name="T70" fmla="*/ 0 w 344"/>
                  <a:gd name="T71" fmla="*/ 181 h 344"/>
                  <a:gd name="T72" fmla="*/ 0 w 344"/>
                  <a:gd name="T73" fmla="*/ 158 h 344"/>
                  <a:gd name="T74" fmla="*/ 9 w 344"/>
                  <a:gd name="T75" fmla="*/ 154 h 344"/>
                  <a:gd name="T76" fmla="*/ 23 w 344"/>
                  <a:gd name="T77" fmla="*/ 145 h 344"/>
                  <a:gd name="T78" fmla="*/ 32 w 344"/>
                  <a:gd name="T79" fmla="*/ 140 h 344"/>
                  <a:gd name="T80" fmla="*/ 37 w 344"/>
                  <a:gd name="T81" fmla="*/ 140 h 344"/>
                  <a:gd name="T82" fmla="*/ 41 w 344"/>
                  <a:gd name="T83" fmla="*/ 136 h 344"/>
                  <a:gd name="T84" fmla="*/ 59 w 344"/>
                  <a:gd name="T85" fmla="*/ 131 h 344"/>
                  <a:gd name="T86" fmla="*/ 73 w 344"/>
                  <a:gd name="T87" fmla="*/ 122 h 344"/>
                  <a:gd name="T88" fmla="*/ 86 w 344"/>
                  <a:gd name="T89" fmla="*/ 118 h 344"/>
                  <a:gd name="T90" fmla="*/ 82 w 344"/>
                  <a:gd name="T91" fmla="*/ 113 h 344"/>
                  <a:gd name="T92" fmla="*/ 82 w 344"/>
                  <a:gd name="T93" fmla="*/ 104 h 344"/>
                  <a:gd name="T94" fmla="*/ 86 w 344"/>
                  <a:gd name="T95" fmla="*/ 104 h 344"/>
                  <a:gd name="T96" fmla="*/ 100 w 344"/>
                  <a:gd name="T97" fmla="*/ 95 h 344"/>
                  <a:gd name="T98" fmla="*/ 113 w 344"/>
                  <a:gd name="T99" fmla="*/ 95 h 344"/>
                  <a:gd name="T100" fmla="*/ 127 w 344"/>
                  <a:gd name="T101" fmla="*/ 95 h 344"/>
                  <a:gd name="T102" fmla="*/ 127 w 344"/>
                  <a:gd name="T103" fmla="*/ 86 h 344"/>
                  <a:gd name="T104" fmla="*/ 122 w 344"/>
                  <a:gd name="T105" fmla="*/ 77 h 344"/>
                  <a:gd name="T106" fmla="*/ 122 w 344"/>
                  <a:gd name="T107" fmla="*/ 59 h 344"/>
                  <a:gd name="T108" fmla="*/ 118 w 344"/>
                  <a:gd name="T109" fmla="*/ 50 h 344"/>
                  <a:gd name="T110" fmla="*/ 113 w 344"/>
                  <a:gd name="T111" fmla="*/ 41 h 344"/>
                  <a:gd name="T112" fmla="*/ 127 w 344"/>
                  <a:gd name="T113" fmla="*/ 36 h 344"/>
                  <a:gd name="T114" fmla="*/ 145 w 344"/>
                  <a:gd name="T115" fmla="*/ 23 h 344"/>
                  <a:gd name="T116" fmla="*/ 159 w 344"/>
                  <a:gd name="T117" fmla="*/ 18 h 344"/>
                  <a:gd name="T118" fmla="*/ 190 w 344"/>
                  <a:gd name="T119" fmla="*/ 9 h 344"/>
                  <a:gd name="T120" fmla="*/ 226 w 344"/>
                  <a:gd name="T121" fmla="*/ 5 h 344"/>
                  <a:gd name="T122" fmla="*/ 249 w 344"/>
                  <a:gd name="T123" fmla="*/ 5 h 344"/>
                  <a:gd name="T124" fmla="*/ 262 w 344"/>
                  <a:gd name="T125" fmla="*/ 5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44" h="344">
                    <a:moveTo>
                      <a:pt x="272" y="5"/>
                    </a:moveTo>
                    <a:lnTo>
                      <a:pt x="272" y="5"/>
                    </a:lnTo>
                    <a:lnTo>
                      <a:pt x="276" y="5"/>
                    </a:lnTo>
                    <a:lnTo>
                      <a:pt x="276" y="5"/>
                    </a:lnTo>
                    <a:lnTo>
                      <a:pt x="281" y="5"/>
                    </a:lnTo>
                    <a:lnTo>
                      <a:pt x="285" y="5"/>
                    </a:lnTo>
                    <a:lnTo>
                      <a:pt x="285" y="5"/>
                    </a:lnTo>
                    <a:lnTo>
                      <a:pt x="285" y="5"/>
                    </a:lnTo>
                    <a:lnTo>
                      <a:pt x="285" y="9"/>
                    </a:lnTo>
                    <a:lnTo>
                      <a:pt x="285" y="9"/>
                    </a:lnTo>
                    <a:lnTo>
                      <a:pt x="285" y="9"/>
                    </a:lnTo>
                    <a:lnTo>
                      <a:pt x="281" y="14"/>
                    </a:lnTo>
                    <a:lnTo>
                      <a:pt x="281" y="14"/>
                    </a:lnTo>
                    <a:lnTo>
                      <a:pt x="281" y="14"/>
                    </a:lnTo>
                    <a:lnTo>
                      <a:pt x="281" y="14"/>
                    </a:lnTo>
                    <a:lnTo>
                      <a:pt x="285" y="14"/>
                    </a:lnTo>
                    <a:lnTo>
                      <a:pt x="285" y="14"/>
                    </a:lnTo>
                    <a:lnTo>
                      <a:pt x="281" y="18"/>
                    </a:lnTo>
                    <a:lnTo>
                      <a:pt x="281" y="23"/>
                    </a:lnTo>
                    <a:lnTo>
                      <a:pt x="281" y="27"/>
                    </a:lnTo>
                    <a:lnTo>
                      <a:pt x="281" y="27"/>
                    </a:lnTo>
                    <a:lnTo>
                      <a:pt x="281" y="27"/>
                    </a:lnTo>
                    <a:lnTo>
                      <a:pt x="281" y="27"/>
                    </a:lnTo>
                    <a:lnTo>
                      <a:pt x="281" y="32"/>
                    </a:lnTo>
                    <a:lnTo>
                      <a:pt x="281" y="32"/>
                    </a:lnTo>
                    <a:lnTo>
                      <a:pt x="285" y="36"/>
                    </a:lnTo>
                    <a:lnTo>
                      <a:pt x="285" y="36"/>
                    </a:lnTo>
                    <a:lnTo>
                      <a:pt x="281" y="41"/>
                    </a:lnTo>
                    <a:lnTo>
                      <a:pt x="281" y="41"/>
                    </a:lnTo>
                    <a:lnTo>
                      <a:pt x="281" y="45"/>
                    </a:lnTo>
                    <a:lnTo>
                      <a:pt x="281" y="45"/>
                    </a:lnTo>
                    <a:lnTo>
                      <a:pt x="281" y="50"/>
                    </a:lnTo>
                    <a:lnTo>
                      <a:pt x="281" y="50"/>
                    </a:lnTo>
                    <a:lnTo>
                      <a:pt x="276" y="50"/>
                    </a:lnTo>
                    <a:lnTo>
                      <a:pt x="276" y="50"/>
                    </a:lnTo>
                    <a:lnTo>
                      <a:pt x="276" y="54"/>
                    </a:lnTo>
                    <a:lnTo>
                      <a:pt x="272" y="54"/>
                    </a:lnTo>
                    <a:lnTo>
                      <a:pt x="272" y="59"/>
                    </a:lnTo>
                    <a:lnTo>
                      <a:pt x="272" y="59"/>
                    </a:lnTo>
                    <a:lnTo>
                      <a:pt x="267" y="59"/>
                    </a:lnTo>
                    <a:lnTo>
                      <a:pt x="267" y="63"/>
                    </a:lnTo>
                    <a:lnTo>
                      <a:pt x="272" y="63"/>
                    </a:lnTo>
                    <a:lnTo>
                      <a:pt x="272" y="68"/>
                    </a:lnTo>
                    <a:lnTo>
                      <a:pt x="272" y="73"/>
                    </a:lnTo>
                    <a:lnTo>
                      <a:pt x="272" y="73"/>
                    </a:lnTo>
                    <a:lnTo>
                      <a:pt x="272" y="73"/>
                    </a:lnTo>
                    <a:lnTo>
                      <a:pt x="276" y="77"/>
                    </a:lnTo>
                    <a:lnTo>
                      <a:pt x="281" y="77"/>
                    </a:lnTo>
                    <a:lnTo>
                      <a:pt x="281" y="77"/>
                    </a:lnTo>
                    <a:lnTo>
                      <a:pt x="281" y="82"/>
                    </a:lnTo>
                    <a:lnTo>
                      <a:pt x="281" y="86"/>
                    </a:lnTo>
                    <a:lnTo>
                      <a:pt x="281" y="86"/>
                    </a:lnTo>
                    <a:lnTo>
                      <a:pt x="285" y="91"/>
                    </a:lnTo>
                    <a:lnTo>
                      <a:pt x="290" y="91"/>
                    </a:lnTo>
                    <a:lnTo>
                      <a:pt x="290" y="95"/>
                    </a:lnTo>
                    <a:lnTo>
                      <a:pt x="294" y="95"/>
                    </a:lnTo>
                    <a:lnTo>
                      <a:pt x="294" y="95"/>
                    </a:lnTo>
                    <a:lnTo>
                      <a:pt x="294" y="100"/>
                    </a:lnTo>
                    <a:lnTo>
                      <a:pt x="294" y="104"/>
                    </a:lnTo>
                    <a:lnTo>
                      <a:pt x="299" y="109"/>
                    </a:lnTo>
                    <a:lnTo>
                      <a:pt x="299" y="113"/>
                    </a:lnTo>
                    <a:lnTo>
                      <a:pt x="299" y="118"/>
                    </a:lnTo>
                    <a:lnTo>
                      <a:pt x="299" y="122"/>
                    </a:lnTo>
                    <a:lnTo>
                      <a:pt x="299" y="127"/>
                    </a:lnTo>
                    <a:lnTo>
                      <a:pt x="303" y="131"/>
                    </a:lnTo>
                    <a:lnTo>
                      <a:pt x="299" y="131"/>
                    </a:lnTo>
                    <a:lnTo>
                      <a:pt x="299" y="131"/>
                    </a:lnTo>
                    <a:lnTo>
                      <a:pt x="299" y="136"/>
                    </a:lnTo>
                    <a:lnTo>
                      <a:pt x="303" y="140"/>
                    </a:lnTo>
                    <a:lnTo>
                      <a:pt x="303" y="140"/>
                    </a:lnTo>
                    <a:lnTo>
                      <a:pt x="303" y="145"/>
                    </a:lnTo>
                    <a:lnTo>
                      <a:pt x="303" y="149"/>
                    </a:lnTo>
                    <a:lnTo>
                      <a:pt x="308" y="149"/>
                    </a:lnTo>
                    <a:lnTo>
                      <a:pt x="308" y="154"/>
                    </a:lnTo>
                    <a:lnTo>
                      <a:pt x="308" y="154"/>
                    </a:lnTo>
                    <a:lnTo>
                      <a:pt x="308" y="163"/>
                    </a:lnTo>
                    <a:lnTo>
                      <a:pt x="308" y="172"/>
                    </a:lnTo>
                    <a:lnTo>
                      <a:pt x="308" y="177"/>
                    </a:lnTo>
                    <a:lnTo>
                      <a:pt x="308" y="181"/>
                    </a:lnTo>
                    <a:lnTo>
                      <a:pt x="303" y="186"/>
                    </a:lnTo>
                    <a:lnTo>
                      <a:pt x="308" y="186"/>
                    </a:lnTo>
                    <a:lnTo>
                      <a:pt x="308" y="190"/>
                    </a:lnTo>
                    <a:lnTo>
                      <a:pt x="308" y="195"/>
                    </a:lnTo>
                    <a:lnTo>
                      <a:pt x="308" y="195"/>
                    </a:lnTo>
                    <a:lnTo>
                      <a:pt x="308" y="199"/>
                    </a:lnTo>
                    <a:lnTo>
                      <a:pt x="308" y="199"/>
                    </a:lnTo>
                    <a:lnTo>
                      <a:pt x="303" y="204"/>
                    </a:lnTo>
                    <a:lnTo>
                      <a:pt x="303" y="204"/>
                    </a:lnTo>
                    <a:lnTo>
                      <a:pt x="299" y="204"/>
                    </a:lnTo>
                    <a:lnTo>
                      <a:pt x="299" y="208"/>
                    </a:lnTo>
                    <a:lnTo>
                      <a:pt x="299" y="208"/>
                    </a:lnTo>
                    <a:lnTo>
                      <a:pt x="303" y="213"/>
                    </a:lnTo>
                    <a:lnTo>
                      <a:pt x="308" y="217"/>
                    </a:lnTo>
                    <a:lnTo>
                      <a:pt x="308" y="222"/>
                    </a:lnTo>
                    <a:lnTo>
                      <a:pt x="312" y="226"/>
                    </a:lnTo>
                    <a:lnTo>
                      <a:pt x="312" y="226"/>
                    </a:lnTo>
                    <a:lnTo>
                      <a:pt x="312" y="235"/>
                    </a:lnTo>
                    <a:lnTo>
                      <a:pt x="312" y="235"/>
                    </a:lnTo>
                    <a:lnTo>
                      <a:pt x="312" y="235"/>
                    </a:lnTo>
                    <a:lnTo>
                      <a:pt x="317" y="240"/>
                    </a:lnTo>
                    <a:lnTo>
                      <a:pt x="317" y="240"/>
                    </a:lnTo>
                    <a:lnTo>
                      <a:pt x="317" y="240"/>
                    </a:lnTo>
                    <a:lnTo>
                      <a:pt x="321" y="240"/>
                    </a:lnTo>
                    <a:lnTo>
                      <a:pt x="330" y="240"/>
                    </a:lnTo>
                    <a:lnTo>
                      <a:pt x="335" y="244"/>
                    </a:lnTo>
                    <a:lnTo>
                      <a:pt x="335" y="244"/>
                    </a:lnTo>
                    <a:lnTo>
                      <a:pt x="335" y="244"/>
                    </a:lnTo>
                    <a:lnTo>
                      <a:pt x="339" y="249"/>
                    </a:lnTo>
                    <a:lnTo>
                      <a:pt x="339" y="253"/>
                    </a:lnTo>
                    <a:lnTo>
                      <a:pt x="344" y="258"/>
                    </a:lnTo>
                    <a:lnTo>
                      <a:pt x="335" y="262"/>
                    </a:lnTo>
                    <a:lnTo>
                      <a:pt x="326" y="267"/>
                    </a:lnTo>
                    <a:lnTo>
                      <a:pt x="317" y="276"/>
                    </a:lnTo>
                    <a:lnTo>
                      <a:pt x="308" y="281"/>
                    </a:lnTo>
                    <a:lnTo>
                      <a:pt x="299" y="285"/>
                    </a:lnTo>
                    <a:lnTo>
                      <a:pt x="290" y="290"/>
                    </a:lnTo>
                    <a:lnTo>
                      <a:pt x="281" y="299"/>
                    </a:lnTo>
                    <a:lnTo>
                      <a:pt x="272" y="303"/>
                    </a:lnTo>
                    <a:lnTo>
                      <a:pt x="267" y="308"/>
                    </a:lnTo>
                    <a:lnTo>
                      <a:pt x="262" y="312"/>
                    </a:lnTo>
                    <a:lnTo>
                      <a:pt x="258" y="312"/>
                    </a:lnTo>
                    <a:lnTo>
                      <a:pt x="253" y="317"/>
                    </a:lnTo>
                    <a:lnTo>
                      <a:pt x="249" y="321"/>
                    </a:lnTo>
                    <a:lnTo>
                      <a:pt x="244" y="326"/>
                    </a:lnTo>
                    <a:lnTo>
                      <a:pt x="244" y="330"/>
                    </a:lnTo>
                    <a:lnTo>
                      <a:pt x="240" y="335"/>
                    </a:lnTo>
                    <a:lnTo>
                      <a:pt x="235" y="335"/>
                    </a:lnTo>
                    <a:lnTo>
                      <a:pt x="231" y="335"/>
                    </a:lnTo>
                    <a:lnTo>
                      <a:pt x="226" y="335"/>
                    </a:lnTo>
                    <a:lnTo>
                      <a:pt x="217" y="339"/>
                    </a:lnTo>
                    <a:lnTo>
                      <a:pt x="213" y="339"/>
                    </a:lnTo>
                    <a:lnTo>
                      <a:pt x="213" y="339"/>
                    </a:lnTo>
                    <a:lnTo>
                      <a:pt x="204" y="339"/>
                    </a:lnTo>
                    <a:lnTo>
                      <a:pt x="204" y="339"/>
                    </a:lnTo>
                    <a:lnTo>
                      <a:pt x="199" y="344"/>
                    </a:lnTo>
                    <a:lnTo>
                      <a:pt x="195" y="344"/>
                    </a:lnTo>
                    <a:lnTo>
                      <a:pt x="195" y="344"/>
                    </a:lnTo>
                    <a:lnTo>
                      <a:pt x="195" y="344"/>
                    </a:lnTo>
                    <a:lnTo>
                      <a:pt x="195" y="344"/>
                    </a:lnTo>
                    <a:lnTo>
                      <a:pt x="195" y="339"/>
                    </a:lnTo>
                    <a:lnTo>
                      <a:pt x="190" y="339"/>
                    </a:lnTo>
                    <a:lnTo>
                      <a:pt x="190" y="339"/>
                    </a:lnTo>
                    <a:lnTo>
                      <a:pt x="190" y="339"/>
                    </a:lnTo>
                    <a:lnTo>
                      <a:pt x="195" y="335"/>
                    </a:lnTo>
                    <a:lnTo>
                      <a:pt x="195" y="335"/>
                    </a:lnTo>
                    <a:lnTo>
                      <a:pt x="195" y="335"/>
                    </a:lnTo>
                    <a:lnTo>
                      <a:pt x="195" y="335"/>
                    </a:lnTo>
                    <a:lnTo>
                      <a:pt x="195" y="335"/>
                    </a:lnTo>
                    <a:lnTo>
                      <a:pt x="195" y="335"/>
                    </a:lnTo>
                    <a:lnTo>
                      <a:pt x="195" y="330"/>
                    </a:lnTo>
                    <a:lnTo>
                      <a:pt x="195" y="330"/>
                    </a:lnTo>
                    <a:lnTo>
                      <a:pt x="195" y="326"/>
                    </a:lnTo>
                    <a:lnTo>
                      <a:pt x="195" y="326"/>
                    </a:lnTo>
                    <a:lnTo>
                      <a:pt x="195" y="326"/>
                    </a:lnTo>
                    <a:lnTo>
                      <a:pt x="190" y="326"/>
                    </a:lnTo>
                    <a:lnTo>
                      <a:pt x="190" y="326"/>
                    </a:lnTo>
                    <a:lnTo>
                      <a:pt x="186" y="326"/>
                    </a:lnTo>
                    <a:lnTo>
                      <a:pt x="186" y="321"/>
                    </a:lnTo>
                    <a:lnTo>
                      <a:pt x="181" y="321"/>
                    </a:lnTo>
                    <a:lnTo>
                      <a:pt x="181" y="321"/>
                    </a:lnTo>
                    <a:lnTo>
                      <a:pt x="177" y="321"/>
                    </a:lnTo>
                    <a:lnTo>
                      <a:pt x="177" y="317"/>
                    </a:lnTo>
                    <a:lnTo>
                      <a:pt x="172" y="317"/>
                    </a:lnTo>
                    <a:lnTo>
                      <a:pt x="172" y="317"/>
                    </a:lnTo>
                    <a:lnTo>
                      <a:pt x="168" y="317"/>
                    </a:lnTo>
                    <a:lnTo>
                      <a:pt x="168" y="317"/>
                    </a:lnTo>
                    <a:lnTo>
                      <a:pt x="168" y="317"/>
                    </a:lnTo>
                    <a:lnTo>
                      <a:pt x="168" y="312"/>
                    </a:lnTo>
                    <a:lnTo>
                      <a:pt x="168" y="312"/>
                    </a:lnTo>
                    <a:lnTo>
                      <a:pt x="163" y="308"/>
                    </a:lnTo>
                    <a:lnTo>
                      <a:pt x="159" y="308"/>
                    </a:lnTo>
                    <a:lnTo>
                      <a:pt x="159" y="308"/>
                    </a:lnTo>
                    <a:lnTo>
                      <a:pt x="159" y="308"/>
                    </a:lnTo>
                    <a:lnTo>
                      <a:pt x="159" y="303"/>
                    </a:lnTo>
                    <a:lnTo>
                      <a:pt x="159" y="303"/>
                    </a:lnTo>
                    <a:lnTo>
                      <a:pt x="159" y="303"/>
                    </a:lnTo>
                    <a:lnTo>
                      <a:pt x="159" y="299"/>
                    </a:lnTo>
                    <a:lnTo>
                      <a:pt x="150" y="299"/>
                    </a:lnTo>
                    <a:lnTo>
                      <a:pt x="145" y="294"/>
                    </a:lnTo>
                    <a:lnTo>
                      <a:pt x="141" y="290"/>
                    </a:lnTo>
                    <a:lnTo>
                      <a:pt x="136" y="285"/>
                    </a:lnTo>
                    <a:lnTo>
                      <a:pt x="131" y="281"/>
                    </a:lnTo>
                    <a:lnTo>
                      <a:pt x="122" y="276"/>
                    </a:lnTo>
                    <a:lnTo>
                      <a:pt x="118" y="271"/>
                    </a:lnTo>
                    <a:lnTo>
                      <a:pt x="113" y="267"/>
                    </a:lnTo>
                    <a:lnTo>
                      <a:pt x="109" y="262"/>
                    </a:lnTo>
                    <a:lnTo>
                      <a:pt x="104" y="258"/>
                    </a:lnTo>
                    <a:lnTo>
                      <a:pt x="95" y="258"/>
                    </a:lnTo>
                    <a:lnTo>
                      <a:pt x="91" y="253"/>
                    </a:lnTo>
                    <a:lnTo>
                      <a:pt x="86" y="249"/>
                    </a:lnTo>
                    <a:lnTo>
                      <a:pt x="82" y="244"/>
                    </a:lnTo>
                    <a:lnTo>
                      <a:pt x="77" y="240"/>
                    </a:lnTo>
                    <a:lnTo>
                      <a:pt x="68" y="235"/>
                    </a:lnTo>
                    <a:lnTo>
                      <a:pt x="64" y="231"/>
                    </a:lnTo>
                    <a:lnTo>
                      <a:pt x="59" y="231"/>
                    </a:lnTo>
                    <a:lnTo>
                      <a:pt x="59" y="226"/>
                    </a:lnTo>
                    <a:lnTo>
                      <a:pt x="55" y="222"/>
                    </a:lnTo>
                    <a:lnTo>
                      <a:pt x="50" y="222"/>
                    </a:lnTo>
                    <a:lnTo>
                      <a:pt x="46" y="217"/>
                    </a:lnTo>
                    <a:lnTo>
                      <a:pt x="46" y="217"/>
                    </a:lnTo>
                    <a:lnTo>
                      <a:pt x="41" y="213"/>
                    </a:lnTo>
                    <a:lnTo>
                      <a:pt x="37" y="213"/>
                    </a:lnTo>
                    <a:lnTo>
                      <a:pt x="37" y="213"/>
                    </a:lnTo>
                    <a:lnTo>
                      <a:pt x="32" y="208"/>
                    </a:lnTo>
                    <a:lnTo>
                      <a:pt x="28" y="208"/>
                    </a:lnTo>
                    <a:lnTo>
                      <a:pt x="28" y="204"/>
                    </a:lnTo>
                    <a:lnTo>
                      <a:pt x="23" y="204"/>
                    </a:lnTo>
                    <a:lnTo>
                      <a:pt x="19" y="199"/>
                    </a:lnTo>
                    <a:lnTo>
                      <a:pt x="19" y="199"/>
                    </a:lnTo>
                    <a:lnTo>
                      <a:pt x="14" y="195"/>
                    </a:lnTo>
                    <a:lnTo>
                      <a:pt x="9" y="195"/>
                    </a:lnTo>
                    <a:lnTo>
                      <a:pt x="9" y="190"/>
                    </a:lnTo>
                    <a:lnTo>
                      <a:pt x="5" y="190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0" y="181"/>
                    </a:lnTo>
                    <a:lnTo>
                      <a:pt x="0" y="177"/>
                    </a:lnTo>
                    <a:lnTo>
                      <a:pt x="0" y="172"/>
                    </a:lnTo>
                    <a:lnTo>
                      <a:pt x="0" y="167"/>
                    </a:lnTo>
                    <a:lnTo>
                      <a:pt x="0" y="167"/>
                    </a:lnTo>
                    <a:lnTo>
                      <a:pt x="0" y="163"/>
                    </a:lnTo>
                    <a:lnTo>
                      <a:pt x="0" y="158"/>
                    </a:lnTo>
                    <a:lnTo>
                      <a:pt x="0" y="158"/>
                    </a:lnTo>
                    <a:lnTo>
                      <a:pt x="0" y="158"/>
                    </a:lnTo>
                    <a:lnTo>
                      <a:pt x="0" y="158"/>
                    </a:lnTo>
                    <a:lnTo>
                      <a:pt x="5" y="154"/>
                    </a:lnTo>
                    <a:lnTo>
                      <a:pt x="5" y="154"/>
                    </a:lnTo>
                    <a:lnTo>
                      <a:pt x="9" y="154"/>
                    </a:lnTo>
                    <a:lnTo>
                      <a:pt x="14" y="149"/>
                    </a:lnTo>
                    <a:lnTo>
                      <a:pt x="14" y="149"/>
                    </a:lnTo>
                    <a:lnTo>
                      <a:pt x="19" y="145"/>
                    </a:lnTo>
                    <a:lnTo>
                      <a:pt x="19" y="145"/>
                    </a:lnTo>
                    <a:lnTo>
                      <a:pt x="19" y="145"/>
                    </a:lnTo>
                    <a:lnTo>
                      <a:pt x="23" y="145"/>
                    </a:lnTo>
                    <a:lnTo>
                      <a:pt x="23" y="145"/>
                    </a:lnTo>
                    <a:lnTo>
                      <a:pt x="23" y="140"/>
                    </a:lnTo>
                    <a:lnTo>
                      <a:pt x="28" y="140"/>
                    </a:lnTo>
                    <a:lnTo>
                      <a:pt x="28" y="140"/>
                    </a:lnTo>
                    <a:lnTo>
                      <a:pt x="28" y="140"/>
                    </a:lnTo>
                    <a:lnTo>
                      <a:pt x="32" y="140"/>
                    </a:lnTo>
                    <a:lnTo>
                      <a:pt x="32" y="140"/>
                    </a:lnTo>
                    <a:lnTo>
                      <a:pt x="37" y="140"/>
                    </a:lnTo>
                    <a:lnTo>
                      <a:pt x="37" y="140"/>
                    </a:lnTo>
                    <a:lnTo>
                      <a:pt x="37" y="140"/>
                    </a:lnTo>
                    <a:lnTo>
                      <a:pt x="37" y="140"/>
                    </a:lnTo>
                    <a:lnTo>
                      <a:pt x="37" y="140"/>
                    </a:lnTo>
                    <a:lnTo>
                      <a:pt x="37" y="140"/>
                    </a:lnTo>
                    <a:lnTo>
                      <a:pt x="37" y="136"/>
                    </a:lnTo>
                    <a:lnTo>
                      <a:pt x="37" y="136"/>
                    </a:lnTo>
                    <a:lnTo>
                      <a:pt x="37" y="136"/>
                    </a:lnTo>
                    <a:lnTo>
                      <a:pt x="41" y="136"/>
                    </a:lnTo>
                    <a:lnTo>
                      <a:pt x="41" y="136"/>
                    </a:lnTo>
                    <a:lnTo>
                      <a:pt x="41" y="136"/>
                    </a:lnTo>
                    <a:lnTo>
                      <a:pt x="46" y="136"/>
                    </a:lnTo>
                    <a:lnTo>
                      <a:pt x="50" y="136"/>
                    </a:lnTo>
                    <a:lnTo>
                      <a:pt x="55" y="136"/>
                    </a:lnTo>
                    <a:lnTo>
                      <a:pt x="55" y="136"/>
                    </a:lnTo>
                    <a:lnTo>
                      <a:pt x="59" y="131"/>
                    </a:lnTo>
                    <a:lnTo>
                      <a:pt x="59" y="131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68" y="122"/>
                    </a:lnTo>
                    <a:lnTo>
                      <a:pt x="68" y="122"/>
                    </a:lnTo>
                    <a:lnTo>
                      <a:pt x="73" y="122"/>
                    </a:lnTo>
                    <a:lnTo>
                      <a:pt x="73" y="122"/>
                    </a:lnTo>
                    <a:lnTo>
                      <a:pt x="77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6" y="118"/>
                    </a:lnTo>
                    <a:lnTo>
                      <a:pt x="86" y="118"/>
                    </a:lnTo>
                    <a:lnTo>
                      <a:pt x="86" y="118"/>
                    </a:lnTo>
                    <a:lnTo>
                      <a:pt x="86" y="113"/>
                    </a:lnTo>
                    <a:lnTo>
                      <a:pt x="86" y="113"/>
                    </a:lnTo>
                    <a:lnTo>
                      <a:pt x="86" y="113"/>
                    </a:lnTo>
                    <a:lnTo>
                      <a:pt x="82" y="113"/>
                    </a:lnTo>
                    <a:lnTo>
                      <a:pt x="82" y="113"/>
                    </a:lnTo>
                    <a:lnTo>
                      <a:pt x="82" y="113"/>
                    </a:lnTo>
                    <a:lnTo>
                      <a:pt x="82" y="113"/>
                    </a:lnTo>
                    <a:lnTo>
                      <a:pt x="82" y="109"/>
                    </a:lnTo>
                    <a:lnTo>
                      <a:pt x="82" y="109"/>
                    </a:lnTo>
                    <a:lnTo>
                      <a:pt x="82" y="109"/>
                    </a:lnTo>
                    <a:lnTo>
                      <a:pt x="82" y="104"/>
                    </a:lnTo>
                    <a:lnTo>
                      <a:pt x="82" y="104"/>
                    </a:lnTo>
                    <a:lnTo>
                      <a:pt x="82" y="104"/>
                    </a:lnTo>
                    <a:lnTo>
                      <a:pt x="82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91" y="104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100" y="100"/>
                    </a:lnTo>
                    <a:lnTo>
                      <a:pt x="100" y="95"/>
                    </a:lnTo>
                    <a:lnTo>
                      <a:pt x="100" y="95"/>
                    </a:lnTo>
                    <a:lnTo>
                      <a:pt x="100" y="95"/>
                    </a:lnTo>
                    <a:lnTo>
                      <a:pt x="100" y="95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9" y="95"/>
                    </a:lnTo>
                    <a:lnTo>
                      <a:pt x="113" y="95"/>
                    </a:lnTo>
                    <a:lnTo>
                      <a:pt x="118" y="95"/>
                    </a:lnTo>
                    <a:lnTo>
                      <a:pt x="118" y="95"/>
                    </a:lnTo>
                    <a:lnTo>
                      <a:pt x="122" y="95"/>
                    </a:lnTo>
                    <a:lnTo>
                      <a:pt x="127" y="95"/>
                    </a:lnTo>
                    <a:lnTo>
                      <a:pt x="127" y="95"/>
                    </a:lnTo>
                    <a:lnTo>
                      <a:pt x="127" y="95"/>
                    </a:lnTo>
                    <a:lnTo>
                      <a:pt x="127" y="91"/>
                    </a:lnTo>
                    <a:lnTo>
                      <a:pt x="127" y="91"/>
                    </a:lnTo>
                    <a:lnTo>
                      <a:pt x="127" y="91"/>
                    </a:lnTo>
                    <a:lnTo>
                      <a:pt x="127" y="91"/>
                    </a:lnTo>
                    <a:lnTo>
                      <a:pt x="127" y="86"/>
                    </a:lnTo>
                    <a:lnTo>
                      <a:pt x="127" y="86"/>
                    </a:lnTo>
                    <a:lnTo>
                      <a:pt x="127" y="86"/>
                    </a:lnTo>
                    <a:lnTo>
                      <a:pt x="122" y="86"/>
                    </a:lnTo>
                    <a:lnTo>
                      <a:pt x="122" y="82"/>
                    </a:lnTo>
                    <a:lnTo>
                      <a:pt x="122" y="82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18" y="73"/>
                    </a:lnTo>
                    <a:lnTo>
                      <a:pt x="122" y="68"/>
                    </a:lnTo>
                    <a:lnTo>
                      <a:pt x="118" y="63"/>
                    </a:lnTo>
                    <a:lnTo>
                      <a:pt x="118" y="63"/>
                    </a:lnTo>
                    <a:lnTo>
                      <a:pt x="118" y="63"/>
                    </a:lnTo>
                    <a:lnTo>
                      <a:pt x="122" y="59"/>
                    </a:lnTo>
                    <a:lnTo>
                      <a:pt x="122" y="54"/>
                    </a:lnTo>
                    <a:lnTo>
                      <a:pt x="118" y="54"/>
                    </a:lnTo>
                    <a:lnTo>
                      <a:pt x="118" y="50"/>
                    </a:lnTo>
                    <a:lnTo>
                      <a:pt x="118" y="50"/>
                    </a:lnTo>
                    <a:lnTo>
                      <a:pt x="118" y="50"/>
                    </a:lnTo>
                    <a:lnTo>
                      <a:pt x="118" y="50"/>
                    </a:lnTo>
                    <a:lnTo>
                      <a:pt x="118" y="50"/>
                    </a:lnTo>
                    <a:lnTo>
                      <a:pt x="118" y="45"/>
                    </a:lnTo>
                    <a:lnTo>
                      <a:pt x="118" y="45"/>
                    </a:lnTo>
                    <a:lnTo>
                      <a:pt x="118" y="45"/>
                    </a:lnTo>
                    <a:lnTo>
                      <a:pt x="118" y="45"/>
                    </a:lnTo>
                    <a:lnTo>
                      <a:pt x="113" y="41"/>
                    </a:lnTo>
                    <a:lnTo>
                      <a:pt x="113" y="41"/>
                    </a:lnTo>
                    <a:lnTo>
                      <a:pt x="113" y="41"/>
                    </a:lnTo>
                    <a:lnTo>
                      <a:pt x="118" y="41"/>
                    </a:lnTo>
                    <a:lnTo>
                      <a:pt x="118" y="41"/>
                    </a:lnTo>
                    <a:lnTo>
                      <a:pt x="122" y="36"/>
                    </a:lnTo>
                    <a:lnTo>
                      <a:pt x="127" y="36"/>
                    </a:lnTo>
                    <a:lnTo>
                      <a:pt x="127" y="36"/>
                    </a:lnTo>
                    <a:lnTo>
                      <a:pt x="131" y="32"/>
                    </a:lnTo>
                    <a:lnTo>
                      <a:pt x="131" y="32"/>
                    </a:lnTo>
                    <a:lnTo>
                      <a:pt x="136" y="27"/>
                    </a:lnTo>
                    <a:lnTo>
                      <a:pt x="141" y="23"/>
                    </a:lnTo>
                    <a:lnTo>
                      <a:pt x="145" y="23"/>
                    </a:lnTo>
                    <a:lnTo>
                      <a:pt x="145" y="27"/>
                    </a:lnTo>
                    <a:lnTo>
                      <a:pt x="150" y="27"/>
                    </a:lnTo>
                    <a:lnTo>
                      <a:pt x="150" y="23"/>
                    </a:lnTo>
                    <a:lnTo>
                      <a:pt x="150" y="23"/>
                    </a:lnTo>
                    <a:lnTo>
                      <a:pt x="154" y="18"/>
                    </a:lnTo>
                    <a:lnTo>
                      <a:pt x="159" y="18"/>
                    </a:lnTo>
                    <a:lnTo>
                      <a:pt x="163" y="14"/>
                    </a:lnTo>
                    <a:lnTo>
                      <a:pt x="163" y="14"/>
                    </a:lnTo>
                    <a:lnTo>
                      <a:pt x="168" y="14"/>
                    </a:lnTo>
                    <a:lnTo>
                      <a:pt x="181" y="14"/>
                    </a:lnTo>
                    <a:lnTo>
                      <a:pt x="186" y="9"/>
                    </a:lnTo>
                    <a:lnTo>
                      <a:pt x="190" y="9"/>
                    </a:lnTo>
                    <a:lnTo>
                      <a:pt x="195" y="9"/>
                    </a:lnTo>
                    <a:lnTo>
                      <a:pt x="199" y="9"/>
                    </a:lnTo>
                    <a:lnTo>
                      <a:pt x="208" y="9"/>
                    </a:lnTo>
                    <a:lnTo>
                      <a:pt x="208" y="5"/>
                    </a:lnTo>
                    <a:lnTo>
                      <a:pt x="226" y="5"/>
                    </a:lnTo>
                    <a:lnTo>
                      <a:pt x="226" y="5"/>
                    </a:lnTo>
                    <a:lnTo>
                      <a:pt x="231" y="9"/>
                    </a:lnTo>
                    <a:lnTo>
                      <a:pt x="231" y="9"/>
                    </a:lnTo>
                    <a:lnTo>
                      <a:pt x="235" y="9"/>
                    </a:lnTo>
                    <a:lnTo>
                      <a:pt x="235" y="9"/>
                    </a:lnTo>
                    <a:lnTo>
                      <a:pt x="240" y="9"/>
                    </a:lnTo>
                    <a:lnTo>
                      <a:pt x="249" y="5"/>
                    </a:lnTo>
                    <a:lnTo>
                      <a:pt x="249" y="5"/>
                    </a:lnTo>
                    <a:lnTo>
                      <a:pt x="249" y="5"/>
                    </a:lnTo>
                    <a:lnTo>
                      <a:pt x="253" y="0"/>
                    </a:lnTo>
                    <a:lnTo>
                      <a:pt x="253" y="5"/>
                    </a:lnTo>
                    <a:lnTo>
                      <a:pt x="262" y="5"/>
                    </a:lnTo>
                    <a:lnTo>
                      <a:pt x="262" y="5"/>
                    </a:lnTo>
                    <a:lnTo>
                      <a:pt x="267" y="5"/>
                    </a:lnTo>
                    <a:lnTo>
                      <a:pt x="267" y="0"/>
                    </a:lnTo>
                    <a:lnTo>
                      <a:pt x="267" y="5"/>
                    </a:lnTo>
                    <a:lnTo>
                      <a:pt x="272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28" name="Freeform 49"/>
              <p:cNvSpPr>
                <a:spLocks/>
              </p:cNvSpPr>
              <p:nvPr/>
            </p:nvSpPr>
            <p:spPr bwMode="auto">
              <a:xfrm>
                <a:off x="2025651" y="2901951"/>
                <a:ext cx="157163" cy="201613"/>
              </a:xfrm>
              <a:custGeom>
                <a:avLst/>
                <a:gdLst>
                  <a:gd name="T0" fmla="*/ 50 w 99"/>
                  <a:gd name="T1" fmla="*/ 14 h 127"/>
                  <a:gd name="T2" fmla="*/ 54 w 99"/>
                  <a:gd name="T3" fmla="*/ 14 h 127"/>
                  <a:gd name="T4" fmla="*/ 59 w 99"/>
                  <a:gd name="T5" fmla="*/ 18 h 127"/>
                  <a:gd name="T6" fmla="*/ 63 w 99"/>
                  <a:gd name="T7" fmla="*/ 23 h 127"/>
                  <a:gd name="T8" fmla="*/ 68 w 99"/>
                  <a:gd name="T9" fmla="*/ 23 h 127"/>
                  <a:gd name="T10" fmla="*/ 72 w 99"/>
                  <a:gd name="T11" fmla="*/ 23 h 127"/>
                  <a:gd name="T12" fmla="*/ 77 w 99"/>
                  <a:gd name="T13" fmla="*/ 23 h 127"/>
                  <a:gd name="T14" fmla="*/ 81 w 99"/>
                  <a:gd name="T15" fmla="*/ 23 h 127"/>
                  <a:gd name="T16" fmla="*/ 86 w 99"/>
                  <a:gd name="T17" fmla="*/ 27 h 127"/>
                  <a:gd name="T18" fmla="*/ 95 w 99"/>
                  <a:gd name="T19" fmla="*/ 32 h 127"/>
                  <a:gd name="T20" fmla="*/ 90 w 99"/>
                  <a:gd name="T21" fmla="*/ 32 h 127"/>
                  <a:gd name="T22" fmla="*/ 95 w 99"/>
                  <a:gd name="T23" fmla="*/ 36 h 127"/>
                  <a:gd name="T24" fmla="*/ 99 w 99"/>
                  <a:gd name="T25" fmla="*/ 41 h 127"/>
                  <a:gd name="T26" fmla="*/ 99 w 99"/>
                  <a:gd name="T27" fmla="*/ 50 h 127"/>
                  <a:gd name="T28" fmla="*/ 95 w 99"/>
                  <a:gd name="T29" fmla="*/ 50 h 127"/>
                  <a:gd name="T30" fmla="*/ 95 w 99"/>
                  <a:gd name="T31" fmla="*/ 55 h 127"/>
                  <a:gd name="T32" fmla="*/ 86 w 99"/>
                  <a:gd name="T33" fmla="*/ 68 h 127"/>
                  <a:gd name="T34" fmla="*/ 77 w 99"/>
                  <a:gd name="T35" fmla="*/ 77 h 127"/>
                  <a:gd name="T36" fmla="*/ 63 w 99"/>
                  <a:gd name="T37" fmla="*/ 86 h 127"/>
                  <a:gd name="T38" fmla="*/ 50 w 99"/>
                  <a:gd name="T39" fmla="*/ 91 h 127"/>
                  <a:gd name="T40" fmla="*/ 45 w 99"/>
                  <a:gd name="T41" fmla="*/ 95 h 127"/>
                  <a:gd name="T42" fmla="*/ 45 w 99"/>
                  <a:gd name="T43" fmla="*/ 100 h 127"/>
                  <a:gd name="T44" fmla="*/ 45 w 99"/>
                  <a:gd name="T45" fmla="*/ 95 h 127"/>
                  <a:gd name="T46" fmla="*/ 45 w 99"/>
                  <a:gd name="T47" fmla="*/ 100 h 127"/>
                  <a:gd name="T48" fmla="*/ 41 w 99"/>
                  <a:gd name="T49" fmla="*/ 104 h 127"/>
                  <a:gd name="T50" fmla="*/ 41 w 99"/>
                  <a:gd name="T51" fmla="*/ 109 h 127"/>
                  <a:gd name="T52" fmla="*/ 41 w 99"/>
                  <a:gd name="T53" fmla="*/ 118 h 127"/>
                  <a:gd name="T54" fmla="*/ 41 w 99"/>
                  <a:gd name="T55" fmla="*/ 122 h 127"/>
                  <a:gd name="T56" fmla="*/ 36 w 99"/>
                  <a:gd name="T57" fmla="*/ 122 h 127"/>
                  <a:gd name="T58" fmla="*/ 36 w 99"/>
                  <a:gd name="T59" fmla="*/ 127 h 127"/>
                  <a:gd name="T60" fmla="*/ 32 w 99"/>
                  <a:gd name="T61" fmla="*/ 127 h 127"/>
                  <a:gd name="T62" fmla="*/ 27 w 99"/>
                  <a:gd name="T63" fmla="*/ 122 h 127"/>
                  <a:gd name="T64" fmla="*/ 23 w 99"/>
                  <a:gd name="T65" fmla="*/ 118 h 127"/>
                  <a:gd name="T66" fmla="*/ 14 w 99"/>
                  <a:gd name="T67" fmla="*/ 118 h 127"/>
                  <a:gd name="T68" fmla="*/ 14 w 99"/>
                  <a:gd name="T69" fmla="*/ 118 h 127"/>
                  <a:gd name="T70" fmla="*/ 9 w 99"/>
                  <a:gd name="T71" fmla="*/ 118 h 127"/>
                  <a:gd name="T72" fmla="*/ 9 w 99"/>
                  <a:gd name="T73" fmla="*/ 113 h 127"/>
                  <a:gd name="T74" fmla="*/ 9 w 99"/>
                  <a:gd name="T75" fmla="*/ 109 h 127"/>
                  <a:gd name="T76" fmla="*/ 14 w 99"/>
                  <a:gd name="T77" fmla="*/ 109 h 127"/>
                  <a:gd name="T78" fmla="*/ 14 w 99"/>
                  <a:gd name="T79" fmla="*/ 104 h 127"/>
                  <a:gd name="T80" fmla="*/ 14 w 99"/>
                  <a:gd name="T81" fmla="*/ 100 h 127"/>
                  <a:gd name="T82" fmla="*/ 9 w 99"/>
                  <a:gd name="T83" fmla="*/ 100 h 127"/>
                  <a:gd name="T84" fmla="*/ 14 w 99"/>
                  <a:gd name="T85" fmla="*/ 95 h 127"/>
                  <a:gd name="T86" fmla="*/ 18 w 99"/>
                  <a:gd name="T87" fmla="*/ 91 h 127"/>
                  <a:gd name="T88" fmla="*/ 18 w 99"/>
                  <a:gd name="T89" fmla="*/ 77 h 127"/>
                  <a:gd name="T90" fmla="*/ 18 w 99"/>
                  <a:gd name="T91" fmla="*/ 73 h 127"/>
                  <a:gd name="T92" fmla="*/ 14 w 99"/>
                  <a:gd name="T93" fmla="*/ 82 h 127"/>
                  <a:gd name="T94" fmla="*/ 9 w 99"/>
                  <a:gd name="T95" fmla="*/ 82 h 127"/>
                  <a:gd name="T96" fmla="*/ 9 w 99"/>
                  <a:gd name="T97" fmla="*/ 82 h 127"/>
                  <a:gd name="T98" fmla="*/ 0 w 99"/>
                  <a:gd name="T99" fmla="*/ 73 h 127"/>
                  <a:gd name="T100" fmla="*/ 0 w 99"/>
                  <a:gd name="T101" fmla="*/ 68 h 127"/>
                  <a:gd name="T102" fmla="*/ 0 w 99"/>
                  <a:gd name="T103" fmla="*/ 55 h 127"/>
                  <a:gd name="T104" fmla="*/ 4 w 99"/>
                  <a:gd name="T105" fmla="*/ 46 h 127"/>
                  <a:gd name="T106" fmla="*/ 9 w 99"/>
                  <a:gd name="T107" fmla="*/ 41 h 127"/>
                  <a:gd name="T108" fmla="*/ 9 w 99"/>
                  <a:gd name="T109" fmla="*/ 32 h 127"/>
                  <a:gd name="T110" fmla="*/ 14 w 99"/>
                  <a:gd name="T111" fmla="*/ 23 h 127"/>
                  <a:gd name="T112" fmla="*/ 18 w 99"/>
                  <a:gd name="T113" fmla="*/ 14 h 127"/>
                  <a:gd name="T114" fmla="*/ 23 w 99"/>
                  <a:gd name="T115" fmla="*/ 9 h 127"/>
                  <a:gd name="T116" fmla="*/ 36 w 99"/>
                  <a:gd name="T117" fmla="*/ 0 h 127"/>
                  <a:gd name="T118" fmla="*/ 41 w 99"/>
                  <a:gd name="T119" fmla="*/ 5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9" h="127">
                    <a:moveTo>
                      <a:pt x="45" y="9"/>
                    </a:moveTo>
                    <a:lnTo>
                      <a:pt x="45" y="9"/>
                    </a:lnTo>
                    <a:lnTo>
                      <a:pt x="45" y="9"/>
                    </a:lnTo>
                    <a:lnTo>
                      <a:pt x="50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59" y="23"/>
                    </a:lnTo>
                    <a:lnTo>
                      <a:pt x="59" y="23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72" y="23"/>
                    </a:lnTo>
                    <a:lnTo>
                      <a:pt x="72" y="23"/>
                    </a:lnTo>
                    <a:lnTo>
                      <a:pt x="72" y="23"/>
                    </a:lnTo>
                    <a:lnTo>
                      <a:pt x="72" y="23"/>
                    </a:lnTo>
                    <a:lnTo>
                      <a:pt x="72" y="23"/>
                    </a:lnTo>
                    <a:lnTo>
                      <a:pt x="77" y="27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81" y="23"/>
                    </a:lnTo>
                    <a:lnTo>
                      <a:pt x="81" y="23"/>
                    </a:lnTo>
                    <a:lnTo>
                      <a:pt x="86" y="23"/>
                    </a:lnTo>
                    <a:lnTo>
                      <a:pt x="86" y="23"/>
                    </a:lnTo>
                    <a:lnTo>
                      <a:pt x="86" y="27"/>
                    </a:lnTo>
                    <a:lnTo>
                      <a:pt x="90" y="27"/>
                    </a:lnTo>
                    <a:lnTo>
                      <a:pt x="90" y="27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5" y="41"/>
                    </a:lnTo>
                    <a:lnTo>
                      <a:pt x="99" y="41"/>
                    </a:lnTo>
                    <a:lnTo>
                      <a:pt x="99" y="41"/>
                    </a:lnTo>
                    <a:lnTo>
                      <a:pt x="95" y="41"/>
                    </a:lnTo>
                    <a:lnTo>
                      <a:pt x="95" y="46"/>
                    </a:lnTo>
                    <a:lnTo>
                      <a:pt x="99" y="50"/>
                    </a:lnTo>
                    <a:lnTo>
                      <a:pt x="99" y="50"/>
                    </a:lnTo>
                    <a:lnTo>
                      <a:pt x="95" y="50"/>
                    </a:lnTo>
                    <a:lnTo>
                      <a:pt x="95" y="50"/>
                    </a:lnTo>
                    <a:lnTo>
                      <a:pt x="95" y="50"/>
                    </a:lnTo>
                    <a:lnTo>
                      <a:pt x="95" y="50"/>
                    </a:lnTo>
                    <a:lnTo>
                      <a:pt x="95" y="50"/>
                    </a:lnTo>
                    <a:lnTo>
                      <a:pt x="95" y="50"/>
                    </a:lnTo>
                    <a:lnTo>
                      <a:pt x="95" y="55"/>
                    </a:lnTo>
                    <a:lnTo>
                      <a:pt x="90" y="59"/>
                    </a:lnTo>
                    <a:lnTo>
                      <a:pt x="90" y="64"/>
                    </a:lnTo>
                    <a:lnTo>
                      <a:pt x="90" y="64"/>
                    </a:lnTo>
                    <a:lnTo>
                      <a:pt x="86" y="68"/>
                    </a:lnTo>
                    <a:lnTo>
                      <a:pt x="81" y="73"/>
                    </a:lnTo>
                    <a:lnTo>
                      <a:pt x="81" y="73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2" y="82"/>
                    </a:lnTo>
                    <a:lnTo>
                      <a:pt x="68" y="82"/>
                    </a:lnTo>
                    <a:lnTo>
                      <a:pt x="63" y="86"/>
                    </a:lnTo>
                    <a:lnTo>
                      <a:pt x="63" y="86"/>
                    </a:lnTo>
                    <a:lnTo>
                      <a:pt x="59" y="86"/>
                    </a:lnTo>
                    <a:lnTo>
                      <a:pt x="54" y="86"/>
                    </a:lnTo>
                    <a:lnTo>
                      <a:pt x="54" y="91"/>
                    </a:lnTo>
                    <a:lnTo>
                      <a:pt x="50" y="91"/>
                    </a:lnTo>
                    <a:lnTo>
                      <a:pt x="50" y="95"/>
                    </a:lnTo>
                    <a:lnTo>
                      <a:pt x="50" y="95"/>
                    </a:lnTo>
                    <a:lnTo>
                      <a:pt x="50" y="95"/>
                    </a:lnTo>
                    <a:lnTo>
                      <a:pt x="45" y="95"/>
                    </a:lnTo>
                    <a:lnTo>
                      <a:pt x="45" y="95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45" y="100"/>
                    </a:lnTo>
                    <a:lnTo>
                      <a:pt x="45" y="100"/>
                    </a:lnTo>
                    <a:lnTo>
                      <a:pt x="45" y="100"/>
                    </a:lnTo>
                    <a:lnTo>
                      <a:pt x="45" y="100"/>
                    </a:lnTo>
                    <a:lnTo>
                      <a:pt x="45" y="95"/>
                    </a:lnTo>
                    <a:lnTo>
                      <a:pt x="45" y="95"/>
                    </a:lnTo>
                    <a:lnTo>
                      <a:pt x="45" y="95"/>
                    </a:lnTo>
                    <a:lnTo>
                      <a:pt x="45" y="100"/>
                    </a:lnTo>
                    <a:lnTo>
                      <a:pt x="45" y="100"/>
                    </a:lnTo>
                    <a:lnTo>
                      <a:pt x="45" y="104"/>
                    </a:lnTo>
                    <a:lnTo>
                      <a:pt x="45" y="104"/>
                    </a:lnTo>
                    <a:lnTo>
                      <a:pt x="45" y="104"/>
                    </a:lnTo>
                    <a:lnTo>
                      <a:pt x="41" y="104"/>
                    </a:lnTo>
                    <a:lnTo>
                      <a:pt x="41" y="109"/>
                    </a:lnTo>
                    <a:lnTo>
                      <a:pt x="41" y="109"/>
                    </a:lnTo>
                    <a:lnTo>
                      <a:pt x="41" y="109"/>
                    </a:lnTo>
                    <a:lnTo>
                      <a:pt x="41" y="109"/>
                    </a:lnTo>
                    <a:lnTo>
                      <a:pt x="41" y="113"/>
                    </a:lnTo>
                    <a:lnTo>
                      <a:pt x="41" y="113"/>
                    </a:lnTo>
                    <a:lnTo>
                      <a:pt x="41" y="113"/>
                    </a:lnTo>
                    <a:lnTo>
                      <a:pt x="41" y="118"/>
                    </a:lnTo>
                    <a:lnTo>
                      <a:pt x="41" y="118"/>
                    </a:lnTo>
                    <a:lnTo>
                      <a:pt x="41" y="118"/>
                    </a:lnTo>
                    <a:lnTo>
                      <a:pt x="41" y="118"/>
                    </a:lnTo>
                    <a:lnTo>
                      <a:pt x="41" y="122"/>
                    </a:lnTo>
                    <a:lnTo>
                      <a:pt x="41" y="122"/>
                    </a:lnTo>
                    <a:lnTo>
                      <a:pt x="36" y="122"/>
                    </a:lnTo>
                    <a:lnTo>
                      <a:pt x="36" y="122"/>
                    </a:lnTo>
                    <a:lnTo>
                      <a:pt x="36" y="122"/>
                    </a:lnTo>
                    <a:lnTo>
                      <a:pt x="36" y="127"/>
                    </a:lnTo>
                    <a:lnTo>
                      <a:pt x="36" y="127"/>
                    </a:lnTo>
                    <a:lnTo>
                      <a:pt x="36" y="127"/>
                    </a:lnTo>
                    <a:lnTo>
                      <a:pt x="36" y="127"/>
                    </a:lnTo>
                    <a:lnTo>
                      <a:pt x="36" y="127"/>
                    </a:lnTo>
                    <a:lnTo>
                      <a:pt x="32" y="127"/>
                    </a:lnTo>
                    <a:lnTo>
                      <a:pt x="32" y="127"/>
                    </a:lnTo>
                    <a:lnTo>
                      <a:pt x="32" y="127"/>
                    </a:lnTo>
                    <a:lnTo>
                      <a:pt x="27" y="127"/>
                    </a:lnTo>
                    <a:lnTo>
                      <a:pt x="27" y="127"/>
                    </a:lnTo>
                    <a:lnTo>
                      <a:pt x="27" y="122"/>
                    </a:lnTo>
                    <a:lnTo>
                      <a:pt x="27" y="122"/>
                    </a:lnTo>
                    <a:lnTo>
                      <a:pt x="27" y="118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8" y="118"/>
                    </a:lnTo>
                    <a:lnTo>
                      <a:pt x="18" y="118"/>
                    </a:lnTo>
                    <a:lnTo>
                      <a:pt x="18" y="118"/>
                    </a:lnTo>
                    <a:lnTo>
                      <a:pt x="14" y="118"/>
                    </a:lnTo>
                    <a:lnTo>
                      <a:pt x="14" y="113"/>
                    </a:lnTo>
                    <a:lnTo>
                      <a:pt x="14" y="113"/>
                    </a:lnTo>
                    <a:lnTo>
                      <a:pt x="14" y="118"/>
                    </a:lnTo>
                    <a:lnTo>
                      <a:pt x="14" y="118"/>
                    </a:lnTo>
                    <a:lnTo>
                      <a:pt x="9" y="118"/>
                    </a:lnTo>
                    <a:lnTo>
                      <a:pt x="9" y="118"/>
                    </a:lnTo>
                    <a:lnTo>
                      <a:pt x="9" y="118"/>
                    </a:lnTo>
                    <a:lnTo>
                      <a:pt x="9" y="118"/>
                    </a:lnTo>
                    <a:lnTo>
                      <a:pt x="9" y="118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9" y="109"/>
                    </a:lnTo>
                    <a:lnTo>
                      <a:pt x="9" y="109"/>
                    </a:lnTo>
                    <a:lnTo>
                      <a:pt x="9" y="109"/>
                    </a:lnTo>
                    <a:lnTo>
                      <a:pt x="9" y="109"/>
                    </a:lnTo>
                    <a:lnTo>
                      <a:pt x="9" y="109"/>
                    </a:lnTo>
                    <a:lnTo>
                      <a:pt x="14" y="109"/>
                    </a:lnTo>
                    <a:lnTo>
                      <a:pt x="14" y="109"/>
                    </a:lnTo>
                    <a:lnTo>
                      <a:pt x="14" y="109"/>
                    </a:lnTo>
                    <a:lnTo>
                      <a:pt x="14" y="109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4" y="100"/>
                    </a:lnTo>
                    <a:lnTo>
                      <a:pt x="14" y="100"/>
                    </a:lnTo>
                    <a:lnTo>
                      <a:pt x="14" y="100"/>
                    </a:lnTo>
                    <a:lnTo>
                      <a:pt x="9" y="100"/>
                    </a:lnTo>
                    <a:lnTo>
                      <a:pt x="9" y="100"/>
                    </a:lnTo>
                    <a:lnTo>
                      <a:pt x="9" y="100"/>
                    </a:lnTo>
                    <a:lnTo>
                      <a:pt x="9" y="95"/>
                    </a:lnTo>
                    <a:lnTo>
                      <a:pt x="9" y="95"/>
                    </a:lnTo>
                    <a:lnTo>
                      <a:pt x="9" y="95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8" y="91"/>
                    </a:lnTo>
                    <a:lnTo>
                      <a:pt x="18" y="91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18" y="77"/>
                    </a:lnTo>
                    <a:lnTo>
                      <a:pt x="18" y="82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82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4" y="77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0" y="73"/>
                    </a:lnTo>
                    <a:lnTo>
                      <a:pt x="0" y="73"/>
                    </a:lnTo>
                    <a:lnTo>
                      <a:pt x="0" y="73"/>
                    </a:lnTo>
                    <a:lnTo>
                      <a:pt x="0" y="73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59"/>
                    </a:lnTo>
                    <a:lnTo>
                      <a:pt x="0" y="55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14" y="32"/>
                    </a:lnTo>
                    <a:lnTo>
                      <a:pt x="14" y="27"/>
                    </a:lnTo>
                    <a:lnTo>
                      <a:pt x="14" y="23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5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29" name="Freeform 50"/>
              <p:cNvSpPr>
                <a:spLocks/>
              </p:cNvSpPr>
              <p:nvPr/>
            </p:nvSpPr>
            <p:spPr bwMode="auto">
              <a:xfrm>
                <a:off x="4930776" y="2005014"/>
                <a:ext cx="336550" cy="287338"/>
              </a:xfrm>
              <a:custGeom>
                <a:avLst/>
                <a:gdLst>
                  <a:gd name="T0" fmla="*/ 18 w 212"/>
                  <a:gd name="T1" fmla="*/ 0 h 181"/>
                  <a:gd name="T2" fmla="*/ 45 w 212"/>
                  <a:gd name="T3" fmla="*/ 9 h 181"/>
                  <a:gd name="T4" fmla="*/ 63 w 212"/>
                  <a:gd name="T5" fmla="*/ 9 h 181"/>
                  <a:gd name="T6" fmla="*/ 72 w 212"/>
                  <a:gd name="T7" fmla="*/ 14 h 181"/>
                  <a:gd name="T8" fmla="*/ 85 w 212"/>
                  <a:gd name="T9" fmla="*/ 5 h 181"/>
                  <a:gd name="T10" fmla="*/ 90 w 212"/>
                  <a:gd name="T11" fmla="*/ 5 h 181"/>
                  <a:gd name="T12" fmla="*/ 94 w 212"/>
                  <a:gd name="T13" fmla="*/ 0 h 181"/>
                  <a:gd name="T14" fmla="*/ 99 w 212"/>
                  <a:gd name="T15" fmla="*/ 5 h 181"/>
                  <a:gd name="T16" fmla="*/ 104 w 212"/>
                  <a:gd name="T17" fmla="*/ 0 h 181"/>
                  <a:gd name="T18" fmla="*/ 113 w 212"/>
                  <a:gd name="T19" fmla="*/ 0 h 181"/>
                  <a:gd name="T20" fmla="*/ 122 w 212"/>
                  <a:gd name="T21" fmla="*/ 5 h 181"/>
                  <a:gd name="T22" fmla="*/ 113 w 212"/>
                  <a:gd name="T23" fmla="*/ 5 h 181"/>
                  <a:gd name="T24" fmla="*/ 122 w 212"/>
                  <a:gd name="T25" fmla="*/ 9 h 181"/>
                  <a:gd name="T26" fmla="*/ 122 w 212"/>
                  <a:gd name="T27" fmla="*/ 5 h 181"/>
                  <a:gd name="T28" fmla="*/ 131 w 212"/>
                  <a:gd name="T29" fmla="*/ 9 h 181"/>
                  <a:gd name="T30" fmla="*/ 135 w 212"/>
                  <a:gd name="T31" fmla="*/ 9 h 181"/>
                  <a:gd name="T32" fmla="*/ 144 w 212"/>
                  <a:gd name="T33" fmla="*/ 9 h 181"/>
                  <a:gd name="T34" fmla="*/ 153 w 212"/>
                  <a:gd name="T35" fmla="*/ 5 h 181"/>
                  <a:gd name="T36" fmla="*/ 162 w 212"/>
                  <a:gd name="T37" fmla="*/ 18 h 181"/>
                  <a:gd name="T38" fmla="*/ 167 w 212"/>
                  <a:gd name="T39" fmla="*/ 32 h 181"/>
                  <a:gd name="T40" fmla="*/ 167 w 212"/>
                  <a:gd name="T41" fmla="*/ 41 h 181"/>
                  <a:gd name="T42" fmla="*/ 162 w 212"/>
                  <a:gd name="T43" fmla="*/ 63 h 181"/>
                  <a:gd name="T44" fmla="*/ 158 w 212"/>
                  <a:gd name="T45" fmla="*/ 73 h 181"/>
                  <a:gd name="T46" fmla="*/ 144 w 212"/>
                  <a:gd name="T47" fmla="*/ 54 h 181"/>
                  <a:gd name="T48" fmla="*/ 140 w 212"/>
                  <a:gd name="T49" fmla="*/ 45 h 181"/>
                  <a:gd name="T50" fmla="*/ 131 w 212"/>
                  <a:gd name="T51" fmla="*/ 41 h 181"/>
                  <a:gd name="T52" fmla="*/ 131 w 212"/>
                  <a:gd name="T53" fmla="*/ 32 h 181"/>
                  <a:gd name="T54" fmla="*/ 131 w 212"/>
                  <a:gd name="T55" fmla="*/ 41 h 181"/>
                  <a:gd name="T56" fmla="*/ 131 w 212"/>
                  <a:gd name="T57" fmla="*/ 50 h 181"/>
                  <a:gd name="T58" fmla="*/ 135 w 212"/>
                  <a:gd name="T59" fmla="*/ 54 h 181"/>
                  <a:gd name="T60" fmla="*/ 149 w 212"/>
                  <a:gd name="T61" fmla="*/ 68 h 181"/>
                  <a:gd name="T62" fmla="*/ 153 w 212"/>
                  <a:gd name="T63" fmla="*/ 77 h 181"/>
                  <a:gd name="T64" fmla="*/ 158 w 212"/>
                  <a:gd name="T65" fmla="*/ 86 h 181"/>
                  <a:gd name="T66" fmla="*/ 171 w 212"/>
                  <a:gd name="T67" fmla="*/ 109 h 181"/>
                  <a:gd name="T68" fmla="*/ 185 w 212"/>
                  <a:gd name="T69" fmla="*/ 136 h 181"/>
                  <a:gd name="T70" fmla="*/ 189 w 212"/>
                  <a:gd name="T71" fmla="*/ 145 h 181"/>
                  <a:gd name="T72" fmla="*/ 189 w 212"/>
                  <a:gd name="T73" fmla="*/ 145 h 181"/>
                  <a:gd name="T74" fmla="*/ 194 w 212"/>
                  <a:gd name="T75" fmla="*/ 163 h 181"/>
                  <a:gd name="T76" fmla="*/ 203 w 212"/>
                  <a:gd name="T77" fmla="*/ 172 h 181"/>
                  <a:gd name="T78" fmla="*/ 207 w 212"/>
                  <a:gd name="T79" fmla="*/ 181 h 181"/>
                  <a:gd name="T80" fmla="*/ 185 w 212"/>
                  <a:gd name="T81" fmla="*/ 181 h 181"/>
                  <a:gd name="T82" fmla="*/ 162 w 212"/>
                  <a:gd name="T83" fmla="*/ 181 h 181"/>
                  <a:gd name="T84" fmla="*/ 140 w 212"/>
                  <a:gd name="T85" fmla="*/ 181 h 181"/>
                  <a:gd name="T86" fmla="*/ 122 w 212"/>
                  <a:gd name="T87" fmla="*/ 181 h 181"/>
                  <a:gd name="T88" fmla="*/ 122 w 212"/>
                  <a:gd name="T89" fmla="*/ 177 h 181"/>
                  <a:gd name="T90" fmla="*/ 117 w 212"/>
                  <a:gd name="T91" fmla="*/ 181 h 181"/>
                  <a:gd name="T92" fmla="*/ 90 w 212"/>
                  <a:gd name="T93" fmla="*/ 181 h 181"/>
                  <a:gd name="T94" fmla="*/ 63 w 212"/>
                  <a:gd name="T95" fmla="*/ 181 h 181"/>
                  <a:gd name="T96" fmla="*/ 36 w 212"/>
                  <a:gd name="T97" fmla="*/ 181 h 181"/>
                  <a:gd name="T98" fmla="*/ 13 w 212"/>
                  <a:gd name="T99" fmla="*/ 181 h 181"/>
                  <a:gd name="T100" fmla="*/ 9 w 212"/>
                  <a:gd name="T101" fmla="*/ 163 h 181"/>
                  <a:gd name="T102" fmla="*/ 9 w 212"/>
                  <a:gd name="T103" fmla="*/ 149 h 181"/>
                  <a:gd name="T104" fmla="*/ 9 w 212"/>
                  <a:gd name="T105" fmla="*/ 131 h 181"/>
                  <a:gd name="T106" fmla="*/ 9 w 212"/>
                  <a:gd name="T107" fmla="*/ 113 h 181"/>
                  <a:gd name="T108" fmla="*/ 9 w 212"/>
                  <a:gd name="T109" fmla="*/ 95 h 181"/>
                  <a:gd name="T110" fmla="*/ 9 w 212"/>
                  <a:gd name="T111" fmla="*/ 82 h 181"/>
                  <a:gd name="T112" fmla="*/ 4 w 212"/>
                  <a:gd name="T113" fmla="*/ 63 h 181"/>
                  <a:gd name="T114" fmla="*/ 4 w 212"/>
                  <a:gd name="T115" fmla="*/ 45 h 181"/>
                  <a:gd name="T116" fmla="*/ 4 w 212"/>
                  <a:gd name="T117" fmla="*/ 36 h 181"/>
                  <a:gd name="T118" fmla="*/ 0 w 212"/>
                  <a:gd name="T119" fmla="*/ 27 h 181"/>
                  <a:gd name="T120" fmla="*/ 4 w 212"/>
                  <a:gd name="T121" fmla="*/ 18 h 181"/>
                  <a:gd name="T122" fmla="*/ 0 w 212"/>
                  <a:gd name="T123" fmla="*/ 5 h 181"/>
                  <a:gd name="T124" fmla="*/ 4 w 212"/>
                  <a:gd name="T125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2" h="181">
                    <a:moveTo>
                      <a:pt x="9" y="0"/>
                    </a:moveTo>
                    <a:lnTo>
                      <a:pt x="9" y="0"/>
                    </a:lnTo>
                    <a:lnTo>
                      <a:pt x="9" y="0"/>
                    </a:lnTo>
                    <a:lnTo>
                      <a:pt x="18" y="0"/>
                    </a:lnTo>
                    <a:lnTo>
                      <a:pt x="27" y="0"/>
                    </a:lnTo>
                    <a:lnTo>
                      <a:pt x="31" y="5"/>
                    </a:lnTo>
                    <a:lnTo>
                      <a:pt x="40" y="5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9" y="9"/>
                    </a:lnTo>
                    <a:lnTo>
                      <a:pt x="54" y="9"/>
                    </a:lnTo>
                    <a:lnTo>
                      <a:pt x="63" y="9"/>
                    </a:lnTo>
                    <a:lnTo>
                      <a:pt x="67" y="14"/>
                    </a:lnTo>
                    <a:lnTo>
                      <a:pt x="67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81" y="9"/>
                    </a:lnTo>
                    <a:lnTo>
                      <a:pt x="85" y="5"/>
                    </a:lnTo>
                    <a:lnTo>
                      <a:pt x="85" y="5"/>
                    </a:lnTo>
                    <a:lnTo>
                      <a:pt x="85" y="5"/>
                    </a:lnTo>
                    <a:lnTo>
                      <a:pt x="90" y="5"/>
                    </a:lnTo>
                    <a:lnTo>
                      <a:pt x="90" y="5"/>
                    </a:lnTo>
                    <a:lnTo>
                      <a:pt x="90" y="5"/>
                    </a:lnTo>
                    <a:lnTo>
                      <a:pt x="90" y="5"/>
                    </a:lnTo>
                    <a:lnTo>
                      <a:pt x="90" y="5"/>
                    </a:lnTo>
                    <a:lnTo>
                      <a:pt x="94" y="0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4" y="5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13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22" y="5"/>
                    </a:lnTo>
                    <a:lnTo>
                      <a:pt x="122" y="5"/>
                    </a:lnTo>
                    <a:lnTo>
                      <a:pt x="117" y="0"/>
                    </a:lnTo>
                    <a:lnTo>
                      <a:pt x="117" y="5"/>
                    </a:lnTo>
                    <a:lnTo>
                      <a:pt x="113" y="5"/>
                    </a:lnTo>
                    <a:lnTo>
                      <a:pt x="117" y="5"/>
                    </a:lnTo>
                    <a:lnTo>
                      <a:pt x="117" y="5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5"/>
                    </a:lnTo>
                    <a:lnTo>
                      <a:pt x="122" y="5"/>
                    </a:lnTo>
                    <a:lnTo>
                      <a:pt x="122" y="5"/>
                    </a:lnTo>
                    <a:lnTo>
                      <a:pt x="122" y="5"/>
                    </a:lnTo>
                    <a:lnTo>
                      <a:pt x="126" y="9"/>
                    </a:lnTo>
                    <a:lnTo>
                      <a:pt x="131" y="9"/>
                    </a:lnTo>
                    <a:lnTo>
                      <a:pt x="131" y="9"/>
                    </a:lnTo>
                    <a:lnTo>
                      <a:pt x="131" y="9"/>
                    </a:lnTo>
                    <a:lnTo>
                      <a:pt x="135" y="9"/>
                    </a:lnTo>
                    <a:lnTo>
                      <a:pt x="135" y="9"/>
                    </a:lnTo>
                    <a:lnTo>
                      <a:pt x="140" y="9"/>
                    </a:lnTo>
                    <a:lnTo>
                      <a:pt x="140" y="9"/>
                    </a:lnTo>
                    <a:lnTo>
                      <a:pt x="140" y="9"/>
                    </a:lnTo>
                    <a:lnTo>
                      <a:pt x="144" y="9"/>
                    </a:lnTo>
                    <a:lnTo>
                      <a:pt x="149" y="9"/>
                    </a:lnTo>
                    <a:lnTo>
                      <a:pt x="153" y="5"/>
                    </a:lnTo>
                    <a:lnTo>
                      <a:pt x="153" y="5"/>
                    </a:lnTo>
                    <a:lnTo>
                      <a:pt x="153" y="5"/>
                    </a:lnTo>
                    <a:lnTo>
                      <a:pt x="153" y="5"/>
                    </a:lnTo>
                    <a:lnTo>
                      <a:pt x="158" y="9"/>
                    </a:lnTo>
                    <a:lnTo>
                      <a:pt x="158" y="14"/>
                    </a:lnTo>
                    <a:lnTo>
                      <a:pt x="162" y="18"/>
                    </a:lnTo>
                    <a:lnTo>
                      <a:pt x="162" y="18"/>
                    </a:lnTo>
                    <a:lnTo>
                      <a:pt x="162" y="23"/>
                    </a:lnTo>
                    <a:lnTo>
                      <a:pt x="162" y="27"/>
                    </a:lnTo>
                    <a:lnTo>
                      <a:pt x="167" y="32"/>
                    </a:lnTo>
                    <a:lnTo>
                      <a:pt x="167" y="32"/>
                    </a:lnTo>
                    <a:lnTo>
                      <a:pt x="167" y="36"/>
                    </a:lnTo>
                    <a:lnTo>
                      <a:pt x="167" y="41"/>
                    </a:lnTo>
                    <a:lnTo>
                      <a:pt x="167" y="41"/>
                    </a:lnTo>
                    <a:lnTo>
                      <a:pt x="167" y="41"/>
                    </a:lnTo>
                    <a:lnTo>
                      <a:pt x="167" y="54"/>
                    </a:lnTo>
                    <a:lnTo>
                      <a:pt x="162" y="59"/>
                    </a:lnTo>
                    <a:lnTo>
                      <a:pt x="162" y="63"/>
                    </a:lnTo>
                    <a:lnTo>
                      <a:pt x="162" y="68"/>
                    </a:lnTo>
                    <a:lnTo>
                      <a:pt x="162" y="68"/>
                    </a:lnTo>
                    <a:lnTo>
                      <a:pt x="162" y="73"/>
                    </a:lnTo>
                    <a:lnTo>
                      <a:pt x="158" y="73"/>
                    </a:lnTo>
                    <a:lnTo>
                      <a:pt x="153" y="68"/>
                    </a:lnTo>
                    <a:lnTo>
                      <a:pt x="149" y="63"/>
                    </a:lnTo>
                    <a:lnTo>
                      <a:pt x="144" y="59"/>
                    </a:lnTo>
                    <a:lnTo>
                      <a:pt x="144" y="54"/>
                    </a:lnTo>
                    <a:lnTo>
                      <a:pt x="144" y="54"/>
                    </a:lnTo>
                    <a:lnTo>
                      <a:pt x="140" y="54"/>
                    </a:lnTo>
                    <a:lnTo>
                      <a:pt x="140" y="50"/>
                    </a:lnTo>
                    <a:lnTo>
                      <a:pt x="140" y="45"/>
                    </a:lnTo>
                    <a:lnTo>
                      <a:pt x="135" y="41"/>
                    </a:lnTo>
                    <a:lnTo>
                      <a:pt x="135" y="41"/>
                    </a:lnTo>
                    <a:lnTo>
                      <a:pt x="135" y="41"/>
                    </a:lnTo>
                    <a:lnTo>
                      <a:pt x="131" y="41"/>
                    </a:lnTo>
                    <a:lnTo>
                      <a:pt x="131" y="32"/>
                    </a:lnTo>
                    <a:lnTo>
                      <a:pt x="131" y="32"/>
                    </a:lnTo>
                    <a:lnTo>
                      <a:pt x="126" y="32"/>
                    </a:lnTo>
                    <a:lnTo>
                      <a:pt x="131" y="32"/>
                    </a:lnTo>
                    <a:lnTo>
                      <a:pt x="126" y="36"/>
                    </a:lnTo>
                    <a:lnTo>
                      <a:pt x="126" y="36"/>
                    </a:lnTo>
                    <a:lnTo>
                      <a:pt x="126" y="36"/>
                    </a:lnTo>
                    <a:lnTo>
                      <a:pt x="131" y="41"/>
                    </a:lnTo>
                    <a:lnTo>
                      <a:pt x="131" y="41"/>
                    </a:lnTo>
                    <a:lnTo>
                      <a:pt x="131" y="45"/>
                    </a:lnTo>
                    <a:lnTo>
                      <a:pt x="131" y="50"/>
                    </a:lnTo>
                    <a:lnTo>
                      <a:pt x="131" y="50"/>
                    </a:lnTo>
                    <a:lnTo>
                      <a:pt x="135" y="54"/>
                    </a:lnTo>
                    <a:lnTo>
                      <a:pt x="135" y="54"/>
                    </a:lnTo>
                    <a:lnTo>
                      <a:pt x="135" y="54"/>
                    </a:lnTo>
                    <a:lnTo>
                      <a:pt x="135" y="54"/>
                    </a:lnTo>
                    <a:lnTo>
                      <a:pt x="140" y="59"/>
                    </a:lnTo>
                    <a:lnTo>
                      <a:pt x="144" y="63"/>
                    </a:lnTo>
                    <a:lnTo>
                      <a:pt x="144" y="68"/>
                    </a:lnTo>
                    <a:lnTo>
                      <a:pt x="149" y="68"/>
                    </a:lnTo>
                    <a:lnTo>
                      <a:pt x="149" y="68"/>
                    </a:lnTo>
                    <a:lnTo>
                      <a:pt x="149" y="73"/>
                    </a:lnTo>
                    <a:lnTo>
                      <a:pt x="149" y="73"/>
                    </a:lnTo>
                    <a:lnTo>
                      <a:pt x="153" y="77"/>
                    </a:lnTo>
                    <a:lnTo>
                      <a:pt x="153" y="82"/>
                    </a:lnTo>
                    <a:lnTo>
                      <a:pt x="153" y="82"/>
                    </a:lnTo>
                    <a:lnTo>
                      <a:pt x="153" y="82"/>
                    </a:lnTo>
                    <a:lnTo>
                      <a:pt x="158" y="86"/>
                    </a:lnTo>
                    <a:lnTo>
                      <a:pt x="158" y="91"/>
                    </a:lnTo>
                    <a:lnTo>
                      <a:pt x="158" y="95"/>
                    </a:lnTo>
                    <a:lnTo>
                      <a:pt x="167" y="104"/>
                    </a:lnTo>
                    <a:lnTo>
                      <a:pt x="171" y="109"/>
                    </a:lnTo>
                    <a:lnTo>
                      <a:pt x="171" y="113"/>
                    </a:lnTo>
                    <a:lnTo>
                      <a:pt x="176" y="122"/>
                    </a:lnTo>
                    <a:lnTo>
                      <a:pt x="180" y="131"/>
                    </a:lnTo>
                    <a:lnTo>
                      <a:pt x="185" y="136"/>
                    </a:lnTo>
                    <a:lnTo>
                      <a:pt x="185" y="140"/>
                    </a:lnTo>
                    <a:lnTo>
                      <a:pt x="189" y="140"/>
                    </a:lnTo>
                    <a:lnTo>
                      <a:pt x="194" y="145"/>
                    </a:lnTo>
                    <a:lnTo>
                      <a:pt x="189" y="145"/>
                    </a:lnTo>
                    <a:lnTo>
                      <a:pt x="189" y="145"/>
                    </a:lnTo>
                    <a:lnTo>
                      <a:pt x="189" y="145"/>
                    </a:lnTo>
                    <a:lnTo>
                      <a:pt x="189" y="145"/>
                    </a:lnTo>
                    <a:lnTo>
                      <a:pt x="189" y="145"/>
                    </a:lnTo>
                    <a:lnTo>
                      <a:pt x="189" y="154"/>
                    </a:lnTo>
                    <a:lnTo>
                      <a:pt x="189" y="154"/>
                    </a:lnTo>
                    <a:lnTo>
                      <a:pt x="194" y="163"/>
                    </a:lnTo>
                    <a:lnTo>
                      <a:pt x="194" y="163"/>
                    </a:lnTo>
                    <a:lnTo>
                      <a:pt x="194" y="163"/>
                    </a:lnTo>
                    <a:lnTo>
                      <a:pt x="194" y="167"/>
                    </a:lnTo>
                    <a:lnTo>
                      <a:pt x="203" y="167"/>
                    </a:lnTo>
                    <a:lnTo>
                      <a:pt x="203" y="172"/>
                    </a:lnTo>
                    <a:lnTo>
                      <a:pt x="212" y="177"/>
                    </a:lnTo>
                    <a:lnTo>
                      <a:pt x="212" y="181"/>
                    </a:lnTo>
                    <a:lnTo>
                      <a:pt x="212" y="181"/>
                    </a:lnTo>
                    <a:lnTo>
                      <a:pt x="207" y="181"/>
                    </a:lnTo>
                    <a:lnTo>
                      <a:pt x="203" y="181"/>
                    </a:lnTo>
                    <a:lnTo>
                      <a:pt x="198" y="181"/>
                    </a:lnTo>
                    <a:lnTo>
                      <a:pt x="189" y="181"/>
                    </a:lnTo>
                    <a:lnTo>
                      <a:pt x="185" y="181"/>
                    </a:lnTo>
                    <a:lnTo>
                      <a:pt x="180" y="181"/>
                    </a:lnTo>
                    <a:lnTo>
                      <a:pt x="176" y="181"/>
                    </a:lnTo>
                    <a:lnTo>
                      <a:pt x="167" y="181"/>
                    </a:lnTo>
                    <a:lnTo>
                      <a:pt x="162" y="181"/>
                    </a:lnTo>
                    <a:lnTo>
                      <a:pt x="158" y="181"/>
                    </a:lnTo>
                    <a:lnTo>
                      <a:pt x="153" y="181"/>
                    </a:lnTo>
                    <a:lnTo>
                      <a:pt x="144" y="181"/>
                    </a:lnTo>
                    <a:lnTo>
                      <a:pt x="140" y="181"/>
                    </a:lnTo>
                    <a:lnTo>
                      <a:pt x="135" y="181"/>
                    </a:lnTo>
                    <a:lnTo>
                      <a:pt x="131" y="181"/>
                    </a:lnTo>
                    <a:lnTo>
                      <a:pt x="126" y="181"/>
                    </a:lnTo>
                    <a:lnTo>
                      <a:pt x="122" y="181"/>
                    </a:lnTo>
                    <a:lnTo>
                      <a:pt x="122" y="181"/>
                    </a:lnTo>
                    <a:lnTo>
                      <a:pt x="122" y="177"/>
                    </a:lnTo>
                    <a:lnTo>
                      <a:pt x="122" y="177"/>
                    </a:lnTo>
                    <a:lnTo>
                      <a:pt x="122" y="177"/>
                    </a:lnTo>
                    <a:lnTo>
                      <a:pt x="122" y="177"/>
                    </a:lnTo>
                    <a:lnTo>
                      <a:pt x="117" y="181"/>
                    </a:lnTo>
                    <a:lnTo>
                      <a:pt x="117" y="181"/>
                    </a:lnTo>
                    <a:lnTo>
                      <a:pt x="117" y="181"/>
                    </a:lnTo>
                    <a:lnTo>
                      <a:pt x="108" y="181"/>
                    </a:lnTo>
                    <a:lnTo>
                      <a:pt x="104" y="181"/>
                    </a:lnTo>
                    <a:lnTo>
                      <a:pt x="94" y="181"/>
                    </a:lnTo>
                    <a:lnTo>
                      <a:pt x="90" y="181"/>
                    </a:lnTo>
                    <a:lnTo>
                      <a:pt x="81" y="181"/>
                    </a:lnTo>
                    <a:lnTo>
                      <a:pt x="76" y="181"/>
                    </a:lnTo>
                    <a:lnTo>
                      <a:pt x="72" y="181"/>
                    </a:lnTo>
                    <a:lnTo>
                      <a:pt x="63" y="181"/>
                    </a:lnTo>
                    <a:lnTo>
                      <a:pt x="58" y="181"/>
                    </a:lnTo>
                    <a:lnTo>
                      <a:pt x="49" y="181"/>
                    </a:lnTo>
                    <a:lnTo>
                      <a:pt x="45" y="181"/>
                    </a:lnTo>
                    <a:lnTo>
                      <a:pt x="36" y="181"/>
                    </a:lnTo>
                    <a:lnTo>
                      <a:pt x="31" y="181"/>
                    </a:lnTo>
                    <a:lnTo>
                      <a:pt x="22" y="181"/>
                    </a:lnTo>
                    <a:lnTo>
                      <a:pt x="18" y="181"/>
                    </a:lnTo>
                    <a:lnTo>
                      <a:pt x="13" y="181"/>
                    </a:lnTo>
                    <a:lnTo>
                      <a:pt x="13" y="177"/>
                    </a:lnTo>
                    <a:lnTo>
                      <a:pt x="13" y="172"/>
                    </a:lnTo>
                    <a:lnTo>
                      <a:pt x="13" y="167"/>
                    </a:lnTo>
                    <a:lnTo>
                      <a:pt x="9" y="163"/>
                    </a:lnTo>
                    <a:lnTo>
                      <a:pt x="9" y="158"/>
                    </a:lnTo>
                    <a:lnTo>
                      <a:pt x="9" y="154"/>
                    </a:lnTo>
                    <a:lnTo>
                      <a:pt x="9" y="149"/>
                    </a:lnTo>
                    <a:lnTo>
                      <a:pt x="9" y="149"/>
                    </a:lnTo>
                    <a:lnTo>
                      <a:pt x="9" y="145"/>
                    </a:lnTo>
                    <a:lnTo>
                      <a:pt x="9" y="140"/>
                    </a:lnTo>
                    <a:lnTo>
                      <a:pt x="9" y="136"/>
                    </a:lnTo>
                    <a:lnTo>
                      <a:pt x="9" y="131"/>
                    </a:lnTo>
                    <a:lnTo>
                      <a:pt x="9" y="127"/>
                    </a:lnTo>
                    <a:lnTo>
                      <a:pt x="9" y="122"/>
                    </a:lnTo>
                    <a:lnTo>
                      <a:pt x="9" y="118"/>
                    </a:lnTo>
                    <a:lnTo>
                      <a:pt x="9" y="113"/>
                    </a:lnTo>
                    <a:lnTo>
                      <a:pt x="9" y="109"/>
                    </a:lnTo>
                    <a:lnTo>
                      <a:pt x="9" y="104"/>
                    </a:lnTo>
                    <a:lnTo>
                      <a:pt x="9" y="100"/>
                    </a:lnTo>
                    <a:lnTo>
                      <a:pt x="9" y="95"/>
                    </a:lnTo>
                    <a:lnTo>
                      <a:pt x="9" y="91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2"/>
                    </a:lnTo>
                    <a:lnTo>
                      <a:pt x="9" y="77"/>
                    </a:lnTo>
                    <a:lnTo>
                      <a:pt x="9" y="73"/>
                    </a:lnTo>
                    <a:lnTo>
                      <a:pt x="9" y="68"/>
                    </a:lnTo>
                    <a:lnTo>
                      <a:pt x="4" y="63"/>
                    </a:lnTo>
                    <a:lnTo>
                      <a:pt x="4" y="59"/>
                    </a:lnTo>
                    <a:lnTo>
                      <a:pt x="4" y="54"/>
                    </a:lnTo>
                    <a:lnTo>
                      <a:pt x="4" y="50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4" y="36"/>
                    </a:lnTo>
                    <a:lnTo>
                      <a:pt x="0" y="32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23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4" y="5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9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30" name="Freeform 51"/>
              <p:cNvSpPr>
                <a:spLocks/>
              </p:cNvSpPr>
              <p:nvPr/>
            </p:nvSpPr>
            <p:spPr bwMode="auto">
              <a:xfrm>
                <a:off x="5267326" y="2406651"/>
                <a:ext cx="185738" cy="173038"/>
              </a:xfrm>
              <a:custGeom>
                <a:avLst/>
                <a:gdLst>
                  <a:gd name="T0" fmla="*/ 41 w 117"/>
                  <a:gd name="T1" fmla="*/ 14 h 109"/>
                  <a:gd name="T2" fmla="*/ 50 w 117"/>
                  <a:gd name="T3" fmla="*/ 37 h 109"/>
                  <a:gd name="T4" fmla="*/ 54 w 117"/>
                  <a:gd name="T5" fmla="*/ 50 h 109"/>
                  <a:gd name="T6" fmla="*/ 59 w 117"/>
                  <a:gd name="T7" fmla="*/ 55 h 109"/>
                  <a:gd name="T8" fmla="*/ 59 w 117"/>
                  <a:gd name="T9" fmla="*/ 55 h 109"/>
                  <a:gd name="T10" fmla="*/ 59 w 117"/>
                  <a:gd name="T11" fmla="*/ 50 h 109"/>
                  <a:gd name="T12" fmla="*/ 63 w 117"/>
                  <a:gd name="T13" fmla="*/ 55 h 109"/>
                  <a:gd name="T14" fmla="*/ 68 w 117"/>
                  <a:gd name="T15" fmla="*/ 59 h 109"/>
                  <a:gd name="T16" fmla="*/ 72 w 117"/>
                  <a:gd name="T17" fmla="*/ 59 h 109"/>
                  <a:gd name="T18" fmla="*/ 90 w 117"/>
                  <a:gd name="T19" fmla="*/ 73 h 109"/>
                  <a:gd name="T20" fmla="*/ 104 w 117"/>
                  <a:gd name="T21" fmla="*/ 91 h 109"/>
                  <a:gd name="T22" fmla="*/ 113 w 117"/>
                  <a:gd name="T23" fmla="*/ 95 h 109"/>
                  <a:gd name="T24" fmla="*/ 117 w 117"/>
                  <a:gd name="T25" fmla="*/ 100 h 109"/>
                  <a:gd name="T26" fmla="*/ 117 w 117"/>
                  <a:gd name="T27" fmla="*/ 104 h 109"/>
                  <a:gd name="T28" fmla="*/ 113 w 117"/>
                  <a:gd name="T29" fmla="*/ 104 h 109"/>
                  <a:gd name="T30" fmla="*/ 113 w 117"/>
                  <a:gd name="T31" fmla="*/ 109 h 109"/>
                  <a:gd name="T32" fmla="*/ 108 w 117"/>
                  <a:gd name="T33" fmla="*/ 104 h 109"/>
                  <a:gd name="T34" fmla="*/ 104 w 117"/>
                  <a:gd name="T35" fmla="*/ 104 h 109"/>
                  <a:gd name="T36" fmla="*/ 99 w 117"/>
                  <a:gd name="T37" fmla="*/ 100 h 109"/>
                  <a:gd name="T38" fmla="*/ 90 w 117"/>
                  <a:gd name="T39" fmla="*/ 91 h 109"/>
                  <a:gd name="T40" fmla="*/ 81 w 117"/>
                  <a:gd name="T41" fmla="*/ 77 h 109"/>
                  <a:gd name="T42" fmla="*/ 72 w 117"/>
                  <a:gd name="T43" fmla="*/ 73 h 109"/>
                  <a:gd name="T44" fmla="*/ 68 w 117"/>
                  <a:gd name="T45" fmla="*/ 68 h 109"/>
                  <a:gd name="T46" fmla="*/ 59 w 117"/>
                  <a:gd name="T47" fmla="*/ 68 h 109"/>
                  <a:gd name="T48" fmla="*/ 54 w 117"/>
                  <a:gd name="T49" fmla="*/ 68 h 109"/>
                  <a:gd name="T50" fmla="*/ 50 w 117"/>
                  <a:gd name="T51" fmla="*/ 68 h 109"/>
                  <a:gd name="T52" fmla="*/ 45 w 117"/>
                  <a:gd name="T53" fmla="*/ 64 h 109"/>
                  <a:gd name="T54" fmla="*/ 41 w 117"/>
                  <a:gd name="T55" fmla="*/ 68 h 109"/>
                  <a:gd name="T56" fmla="*/ 36 w 117"/>
                  <a:gd name="T57" fmla="*/ 68 h 109"/>
                  <a:gd name="T58" fmla="*/ 32 w 117"/>
                  <a:gd name="T59" fmla="*/ 64 h 109"/>
                  <a:gd name="T60" fmla="*/ 27 w 117"/>
                  <a:gd name="T61" fmla="*/ 64 h 109"/>
                  <a:gd name="T62" fmla="*/ 23 w 117"/>
                  <a:gd name="T63" fmla="*/ 68 h 109"/>
                  <a:gd name="T64" fmla="*/ 23 w 117"/>
                  <a:gd name="T65" fmla="*/ 73 h 109"/>
                  <a:gd name="T66" fmla="*/ 18 w 117"/>
                  <a:gd name="T67" fmla="*/ 68 h 109"/>
                  <a:gd name="T68" fmla="*/ 13 w 117"/>
                  <a:gd name="T69" fmla="*/ 73 h 109"/>
                  <a:gd name="T70" fmla="*/ 9 w 117"/>
                  <a:gd name="T71" fmla="*/ 73 h 109"/>
                  <a:gd name="T72" fmla="*/ 4 w 117"/>
                  <a:gd name="T73" fmla="*/ 73 h 109"/>
                  <a:gd name="T74" fmla="*/ 0 w 117"/>
                  <a:gd name="T75" fmla="*/ 64 h 109"/>
                  <a:gd name="T76" fmla="*/ 4 w 117"/>
                  <a:gd name="T77" fmla="*/ 55 h 109"/>
                  <a:gd name="T78" fmla="*/ 4 w 117"/>
                  <a:gd name="T79" fmla="*/ 46 h 109"/>
                  <a:gd name="T80" fmla="*/ 9 w 117"/>
                  <a:gd name="T81" fmla="*/ 37 h 109"/>
                  <a:gd name="T82" fmla="*/ 9 w 117"/>
                  <a:gd name="T83" fmla="*/ 27 h 109"/>
                  <a:gd name="T84" fmla="*/ 9 w 117"/>
                  <a:gd name="T85" fmla="*/ 23 h 109"/>
                  <a:gd name="T86" fmla="*/ 13 w 117"/>
                  <a:gd name="T87" fmla="*/ 18 h 109"/>
                  <a:gd name="T88" fmla="*/ 18 w 117"/>
                  <a:gd name="T89" fmla="*/ 18 h 109"/>
                  <a:gd name="T90" fmla="*/ 18 w 117"/>
                  <a:gd name="T91" fmla="*/ 14 h 109"/>
                  <a:gd name="T92" fmla="*/ 23 w 117"/>
                  <a:gd name="T93" fmla="*/ 14 h 109"/>
                  <a:gd name="T94" fmla="*/ 23 w 117"/>
                  <a:gd name="T95" fmla="*/ 14 h 109"/>
                  <a:gd name="T96" fmla="*/ 27 w 117"/>
                  <a:gd name="T97" fmla="*/ 9 h 109"/>
                  <a:gd name="T98" fmla="*/ 27 w 117"/>
                  <a:gd name="T99" fmla="*/ 9 h 109"/>
                  <a:gd name="T100" fmla="*/ 32 w 117"/>
                  <a:gd name="T101" fmla="*/ 9 h 109"/>
                  <a:gd name="T102" fmla="*/ 32 w 117"/>
                  <a:gd name="T103" fmla="*/ 9 h 109"/>
                  <a:gd name="T104" fmla="*/ 32 w 117"/>
                  <a:gd name="T105" fmla="*/ 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7" h="109">
                    <a:moveTo>
                      <a:pt x="36" y="0"/>
                    </a:moveTo>
                    <a:lnTo>
                      <a:pt x="36" y="0"/>
                    </a:lnTo>
                    <a:lnTo>
                      <a:pt x="41" y="14"/>
                    </a:lnTo>
                    <a:lnTo>
                      <a:pt x="45" y="18"/>
                    </a:lnTo>
                    <a:lnTo>
                      <a:pt x="45" y="27"/>
                    </a:lnTo>
                    <a:lnTo>
                      <a:pt x="50" y="37"/>
                    </a:lnTo>
                    <a:lnTo>
                      <a:pt x="50" y="41"/>
                    </a:lnTo>
                    <a:lnTo>
                      <a:pt x="50" y="46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9" y="55"/>
                    </a:lnTo>
                    <a:lnTo>
                      <a:pt x="59" y="55"/>
                    </a:lnTo>
                    <a:lnTo>
                      <a:pt x="59" y="55"/>
                    </a:lnTo>
                    <a:lnTo>
                      <a:pt x="59" y="55"/>
                    </a:lnTo>
                    <a:lnTo>
                      <a:pt x="59" y="55"/>
                    </a:lnTo>
                    <a:lnTo>
                      <a:pt x="59" y="50"/>
                    </a:lnTo>
                    <a:lnTo>
                      <a:pt x="59" y="50"/>
                    </a:lnTo>
                    <a:lnTo>
                      <a:pt x="63" y="50"/>
                    </a:lnTo>
                    <a:lnTo>
                      <a:pt x="63" y="50"/>
                    </a:lnTo>
                    <a:lnTo>
                      <a:pt x="63" y="55"/>
                    </a:lnTo>
                    <a:lnTo>
                      <a:pt x="63" y="55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72" y="59"/>
                    </a:lnTo>
                    <a:lnTo>
                      <a:pt x="72" y="59"/>
                    </a:lnTo>
                    <a:lnTo>
                      <a:pt x="72" y="59"/>
                    </a:lnTo>
                    <a:lnTo>
                      <a:pt x="77" y="64"/>
                    </a:lnTo>
                    <a:lnTo>
                      <a:pt x="81" y="64"/>
                    </a:lnTo>
                    <a:lnTo>
                      <a:pt x="90" y="73"/>
                    </a:lnTo>
                    <a:lnTo>
                      <a:pt x="90" y="77"/>
                    </a:lnTo>
                    <a:lnTo>
                      <a:pt x="104" y="86"/>
                    </a:lnTo>
                    <a:lnTo>
                      <a:pt x="104" y="91"/>
                    </a:lnTo>
                    <a:lnTo>
                      <a:pt x="104" y="91"/>
                    </a:lnTo>
                    <a:lnTo>
                      <a:pt x="108" y="91"/>
                    </a:lnTo>
                    <a:lnTo>
                      <a:pt x="113" y="95"/>
                    </a:lnTo>
                    <a:lnTo>
                      <a:pt x="113" y="100"/>
                    </a:lnTo>
                    <a:lnTo>
                      <a:pt x="117" y="100"/>
                    </a:lnTo>
                    <a:lnTo>
                      <a:pt x="117" y="100"/>
                    </a:lnTo>
                    <a:lnTo>
                      <a:pt x="117" y="100"/>
                    </a:lnTo>
                    <a:lnTo>
                      <a:pt x="117" y="100"/>
                    </a:lnTo>
                    <a:lnTo>
                      <a:pt x="117" y="104"/>
                    </a:lnTo>
                    <a:lnTo>
                      <a:pt x="113" y="104"/>
                    </a:lnTo>
                    <a:lnTo>
                      <a:pt x="113" y="104"/>
                    </a:lnTo>
                    <a:lnTo>
                      <a:pt x="113" y="104"/>
                    </a:lnTo>
                    <a:lnTo>
                      <a:pt x="113" y="109"/>
                    </a:lnTo>
                    <a:lnTo>
                      <a:pt x="113" y="109"/>
                    </a:lnTo>
                    <a:lnTo>
                      <a:pt x="113" y="109"/>
                    </a:lnTo>
                    <a:lnTo>
                      <a:pt x="108" y="104"/>
                    </a:lnTo>
                    <a:lnTo>
                      <a:pt x="108" y="104"/>
                    </a:lnTo>
                    <a:lnTo>
                      <a:pt x="108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99" y="100"/>
                    </a:lnTo>
                    <a:lnTo>
                      <a:pt x="99" y="100"/>
                    </a:lnTo>
                    <a:lnTo>
                      <a:pt x="99" y="100"/>
                    </a:lnTo>
                    <a:lnTo>
                      <a:pt x="95" y="95"/>
                    </a:lnTo>
                    <a:lnTo>
                      <a:pt x="95" y="91"/>
                    </a:lnTo>
                    <a:lnTo>
                      <a:pt x="90" y="91"/>
                    </a:lnTo>
                    <a:lnTo>
                      <a:pt x="86" y="86"/>
                    </a:lnTo>
                    <a:lnTo>
                      <a:pt x="81" y="82"/>
                    </a:lnTo>
                    <a:lnTo>
                      <a:pt x="81" y="77"/>
                    </a:lnTo>
                    <a:lnTo>
                      <a:pt x="77" y="77"/>
                    </a:lnTo>
                    <a:lnTo>
                      <a:pt x="77" y="73"/>
                    </a:lnTo>
                    <a:lnTo>
                      <a:pt x="72" y="73"/>
                    </a:lnTo>
                    <a:lnTo>
                      <a:pt x="68" y="73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3" y="68"/>
                    </a:lnTo>
                    <a:lnTo>
                      <a:pt x="63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45" y="64"/>
                    </a:lnTo>
                    <a:lnTo>
                      <a:pt x="45" y="64"/>
                    </a:lnTo>
                    <a:lnTo>
                      <a:pt x="45" y="68"/>
                    </a:lnTo>
                    <a:lnTo>
                      <a:pt x="41" y="68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7" y="64"/>
                    </a:lnTo>
                    <a:lnTo>
                      <a:pt x="27" y="64"/>
                    </a:lnTo>
                    <a:lnTo>
                      <a:pt x="27" y="64"/>
                    </a:lnTo>
                    <a:lnTo>
                      <a:pt x="27" y="64"/>
                    </a:lnTo>
                    <a:lnTo>
                      <a:pt x="23" y="68"/>
                    </a:lnTo>
                    <a:lnTo>
                      <a:pt x="23" y="73"/>
                    </a:lnTo>
                    <a:lnTo>
                      <a:pt x="23" y="73"/>
                    </a:lnTo>
                    <a:lnTo>
                      <a:pt x="23" y="73"/>
                    </a:lnTo>
                    <a:lnTo>
                      <a:pt x="23" y="73"/>
                    </a:lnTo>
                    <a:lnTo>
                      <a:pt x="18" y="73"/>
                    </a:lnTo>
                    <a:lnTo>
                      <a:pt x="18" y="68"/>
                    </a:lnTo>
                    <a:lnTo>
                      <a:pt x="13" y="68"/>
                    </a:lnTo>
                    <a:lnTo>
                      <a:pt x="13" y="68"/>
                    </a:lnTo>
                    <a:lnTo>
                      <a:pt x="13" y="73"/>
                    </a:lnTo>
                    <a:lnTo>
                      <a:pt x="13" y="73"/>
                    </a:lnTo>
                    <a:lnTo>
                      <a:pt x="13" y="73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4" y="73"/>
                    </a:lnTo>
                    <a:lnTo>
                      <a:pt x="4" y="73"/>
                    </a:lnTo>
                    <a:lnTo>
                      <a:pt x="4" y="73"/>
                    </a:lnTo>
                    <a:lnTo>
                      <a:pt x="4" y="68"/>
                    </a:lnTo>
                    <a:lnTo>
                      <a:pt x="0" y="64"/>
                    </a:lnTo>
                    <a:lnTo>
                      <a:pt x="0" y="59"/>
                    </a:lnTo>
                    <a:lnTo>
                      <a:pt x="0" y="55"/>
                    </a:lnTo>
                    <a:lnTo>
                      <a:pt x="4" y="55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37"/>
                    </a:lnTo>
                    <a:lnTo>
                      <a:pt x="9" y="32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6" y="5"/>
                    </a:lnTo>
                    <a:lnTo>
                      <a:pt x="36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31" name="Freeform 52"/>
              <p:cNvSpPr>
                <a:spLocks noEditPoints="1"/>
              </p:cNvSpPr>
              <p:nvPr/>
            </p:nvSpPr>
            <p:spPr bwMode="auto">
              <a:xfrm>
                <a:off x="4076701" y="1639889"/>
                <a:ext cx="307975" cy="236538"/>
              </a:xfrm>
              <a:custGeom>
                <a:avLst/>
                <a:gdLst>
                  <a:gd name="T0" fmla="*/ 194 w 194"/>
                  <a:gd name="T1" fmla="*/ 81 h 149"/>
                  <a:gd name="T2" fmla="*/ 185 w 194"/>
                  <a:gd name="T3" fmla="*/ 85 h 149"/>
                  <a:gd name="T4" fmla="*/ 176 w 194"/>
                  <a:gd name="T5" fmla="*/ 81 h 149"/>
                  <a:gd name="T6" fmla="*/ 190 w 194"/>
                  <a:gd name="T7" fmla="*/ 72 h 149"/>
                  <a:gd name="T8" fmla="*/ 190 w 194"/>
                  <a:gd name="T9" fmla="*/ 76 h 149"/>
                  <a:gd name="T10" fmla="*/ 36 w 194"/>
                  <a:gd name="T11" fmla="*/ 4 h 149"/>
                  <a:gd name="T12" fmla="*/ 54 w 194"/>
                  <a:gd name="T13" fmla="*/ 4 h 149"/>
                  <a:gd name="T14" fmla="*/ 86 w 194"/>
                  <a:gd name="T15" fmla="*/ 9 h 149"/>
                  <a:gd name="T16" fmla="*/ 104 w 194"/>
                  <a:gd name="T17" fmla="*/ 9 h 149"/>
                  <a:gd name="T18" fmla="*/ 113 w 194"/>
                  <a:gd name="T19" fmla="*/ 9 h 149"/>
                  <a:gd name="T20" fmla="*/ 122 w 194"/>
                  <a:gd name="T21" fmla="*/ 13 h 149"/>
                  <a:gd name="T22" fmla="*/ 122 w 194"/>
                  <a:gd name="T23" fmla="*/ 13 h 149"/>
                  <a:gd name="T24" fmla="*/ 127 w 194"/>
                  <a:gd name="T25" fmla="*/ 18 h 149"/>
                  <a:gd name="T26" fmla="*/ 136 w 194"/>
                  <a:gd name="T27" fmla="*/ 18 h 149"/>
                  <a:gd name="T28" fmla="*/ 145 w 194"/>
                  <a:gd name="T29" fmla="*/ 22 h 149"/>
                  <a:gd name="T30" fmla="*/ 154 w 194"/>
                  <a:gd name="T31" fmla="*/ 22 h 149"/>
                  <a:gd name="T32" fmla="*/ 163 w 194"/>
                  <a:gd name="T33" fmla="*/ 22 h 149"/>
                  <a:gd name="T34" fmla="*/ 163 w 194"/>
                  <a:gd name="T35" fmla="*/ 27 h 149"/>
                  <a:gd name="T36" fmla="*/ 172 w 194"/>
                  <a:gd name="T37" fmla="*/ 27 h 149"/>
                  <a:gd name="T38" fmla="*/ 181 w 194"/>
                  <a:gd name="T39" fmla="*/ 31 h 149"/>
                  <a:gd name="T40" fmla="*/ 185 w 194"/>
                  <a:gd name="T41" fmla="*/ 27 h 149"/>
                  <a:gd name="T42" fmla="*/ 194 w 194"/>
                  <a:gd name="T43" fmla="*/ 31 h 149"/>
                  <a:gd name="T44" fmla="*/ 190 w 194"/>
                  <a:gd name="T45" fmla="*/ 36 h 149"/>
                  <a:gd name="T46" fmla="*/ 158 w 194"/>
                  <a:gd name="T47" fmla="*/ 54 h 149"/>
                  <a:gd name="T48" fmla="*/ 149 w 194"/>
                  <a:gd name="T49" fmla="*/ 63 h 149"/>
                  <a:gd name="T50" fmla="*/ 136 w 194"/>
                  <a:gd name="T51" fmla="*/ 76 h 149"/>
                  <a:gd name="T52" fmla="*/ 140 w 194"/>
                  <a:gd name="T53" fmla="*/ 95 h 149"/>
                  <a:gd name="T54" fmla="*/ 127 w 194"/>
                  <a:gd name="T55" fmla="*/ 113 h 149"/>
                  <a:gd name="T56" fmla="*/ 122 w 194"/>
                  <a:gd name="T57" fmla="*/ 117 h 149"/>
                  <a:gd name="T58" fmla="*/ 99 w 194"/>
                  <a:gd name="T59" fmla="*/ 135 h 149"/>
                  <a:gd name="T60" fmla="*/ 86 w 194"/>
                  <a:gd name="T61" fmla="*/ 135 h 149"/>
                  <a:gd name="T62" fmla="*/ 63 w 194"/>
                  <a:gd name="T63" fmla="*/ 135 h 149"/>
                  <a:gd name="T64" fmla="*/ 50 w 194"/>
                  <a:gd name="T65" fmla="*/ 144 h 149"/>
                  <a:gd name="T66" fmla="*/ 41 w 194"/>
                  <a:gd name="T67" fmla="*/ 144 h 149"/>
                  <a:gd name="T68" fmla="*/ 32 w 194"/>
                  <a:gd name="T69" fmla="*/ 135 h 149"/>
                  <a:gd name="T70" fmla="*/ 32 w 194"/>
                  <a:gd name="T71" fmla="*/ 131 h 149"/>
                  <a:gd name="T72" fmla="*/ 18 w 194"/>
                  <a:gd name="T73" fmla="*/ 126 h 149"/>
                  <a:gd name="T74" fmla="*/ 23 w 194"/>
                  <a:gd name="T75" fmla="*/ 108 h 149"/>
                  <a:gd name="T76" fmla="*/ 23 w 194"/>
                  <a:gd name="T77" fmla="*/ 99 h 149"/>
                  <a:gd name="T78" fmla="*/ 27 w 194"/>
                  <a:gd name="T79" fmla="*/ 95 h 149"/>
                  <a:gd name="T80" fmla="*/ 23 w 194"/>
                  <a:gd name="T81" fmla="*/ 81 h 149"/>
                  <a:gd name="T82" fmla="*/ 27 w 194"/>
                  <a:gd name="T83" fmla="*/ 76 h 149"/>
                  <a:gd name="T84" fmla="*/ 27 w 194"/>
                  <a:gd name="T85" fmla="*/ 67 h 149"/>
                  <a:gd name="T86" fmla="*/ 32 w 194"/>
                  <a:gd name="T87" fmla="*/ 63 h 149"/>
                  <a:gd name="T88" fmla="*/ 32 w 194"/>
                  <a:gd name="T89" fmla="*/ 54 h 149"/>
                  <a:gd name="T90" fmla="*/ 45 w 194"/>
                  <a:gd name="T91" fmla="*/ 45 h 149"/>
                  <a:gd name="T92" fmla="*/ 41 w 194"/>
                  <a:gd name="T93" fmla="*/ 40 h 149"/>
                  <a:gd name="T94" fmla="*/ 36 w 194"/>
                  <a:gd name="T95" fmla="*/ 36 h 149"/>
                  <a:gd name="T96" fmla="*/ 27 w 194"/>
                  <a:gd name="T97" fmla="*/ 36 h 149"/>
                  <a:gd name="T98" fmla="*/ 23 w 194"/>
                  <a:gd name="T99" fmla="*/ 36 h 149"/>
                  <a:gd name="T100" fmla="*/ 14 w 194"/>
                  <a:gd name="T101" fmla="*/ 36 h 149"/>
                  <a:gd name="T102" fmla="*/ 14 w 194"/>
                  <a:gd name="T103" fmla="*/ 31 h 149"/>
                  <a:gd name="T104" fmla="*/ 5 w 194"/>
                  <a:gd name="T105" fmla="*/ 36 h 149"/>
                  <a:gd name="T106" fmla="*/ 5 w 194"/>
                  <a:gd name="T107" fmla="*/ 27 h 149"/>
                  <a:gd name="T108" fmla="*/ 5 w 194"/>
                  <a:gd name="T109" fmla="*/ 22 h 149"/>
                  <a:gd name="T110" fmla="*/ 0 w 194"/>
                  <a:gd name="T111" fmla="*/ 18 h 149"/>
                  <a:gd name="T112" fmla="*/ 5 w 194"/>
                  <a:gd name="T113" fmla="*/ 9 h 149"/>
                  <a:gd name="T114" fmla="*/ 14 w 194"/>
                  <a:gd name="T115" fmla="*/ 4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94" h="149">
                    <a:moveTo>
                      <a:pt x="190" y="76"/>
                    </a:moveTo>
                    <a:lnTo>
                      <a:pt x="190" y="76"/>
                    </a:lnTo>
                    <a:lnTo>
                      <a:pt x="190" y="76"/>
                    </a:lnTo>
                    <a:lnTo>
                      <a:pt x="190" y="76"/>
                    </a:lnTo>
                    <a:lnTo>
                      <a:pt x="190" y="76"/>
                    </a:lnTo>
                    <a:lnTo>
                      <a:pt x="194" y="76"/>
                    </a:lnTo>
                    <a:lnTo>
                      <a:pt x="194" y="81"/>
                    </a:lnTo>
                    <a:lnTo>
                      <a:pt x="194" y="81"/>
                    </a:lnTo>
                    <a:lnTo>
                      <a:pt x="190" y="81"/>
                    </a:lnTo>
                    <a:lnTo>
                      <a:pt x="190" y="81"/>
                    </a:lnTo>
                    <a:lnTo>
                      <a:pt x="190" y="85"/>
                    </a:lnTo>
                    <a:lnTo>
                      <a:pt x="190" y="85"/>
                    </a:lnTo>
                    <a:lnTo>
                      <a:pt x="185" y="85"/>
                    </a:lnTo>
                    <a:lnTo>
                      <a:pt x="185" y="85"/>
                    </a:lnTo>
                    <a:lnTo>
                      <a:pt x="181" y="85"/>
                    </a:lnTo>
                    <a:lnTo>
                      <a:pt x="181" y="85"/>
                    </a:lnTo>
                    <a:lnTo>
                      <a:pt x="181" y="81"/>
                    </a:lnTo>
                    <a:lnTo>
                      <a:pt x="181" y="81"/>
                    </a:lnTo>
                    <a:lnTo>
                      <a:pt x="181" y="81"/>
                    </a:lnTo>
                    <a:lnTo>
                      <a:pt x="181" y="81"/>
                    </a:lnTo>
                    <a:lnTo>
                      <a:pt x="176" y="81"/>
                    </a:lnTo>
                    <a:lnTo>
                      <a:pt x="176" y="81"/>
                    </a:lnTo>
                    <a:lnTo>
                      <a:pt x="176" y="81"/>
                    </a:lnTo>
                    <a:lnTo>
                      <a:pt x="176" y="81"/>
                    </a:lnTo>
                    <a:lnTo>
                      <a:pt x="176" y="81"/>
                    </a:lnTo>
                    <a:lnTo>
                      <a:pt x="181" y="76"/>
                    </a:lnTo>
                    <a:lnTo>
                      <a:pt x="185" y="76"/>
                    </a:lnTo>
                    <a:lnTo>
                      <a:pt x="190" y="72"/>
                    </a:lnTo>
                    <a:lnTo>
                      <a:pt x="190" y="72"/>
                    </a:lnTo>
                    <a:lnTo>
                      <a:pt x="190" y="76"/>
                    </a:lnTo>
                    <a:lnTo>
                      <a:pt x="190" y="76"/>
                    </a:lnTo>
                    <a:lnTo>
                      <a:pt x="190" y="76"/>
                    </a:lnTo>
                    <a:lnTo>
                      <a:pt x="190" y="76"/>
                    </a:lnTo>
                    <a:lnTo>
                      <a:pt x="190" y="76"/>
                    </a:lnTo>
                    <a:lnTo>
                      <a:pt x="190" y="76"/>
                    </a:lnTo>
                    <a:moveTo>
                      <a:pt x="23" y="0"/>
                    </a:moveTo>
                    <a:lnTo>
                      <a:pt x="23" y="0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41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9" y="4"/>
                    </a:lnTo>
                    <a:lnTo>
                      <a:pt x="63" y="9"/>
                    </a:lnTo>
                    <a:lnTo>
                      <a:pt x="72" y="9"/>
                    </a:lnTo>
                    <a:lnTo>
                      <a:pt x="77" y="9"/>
                    </a:lnTo>
                    <a:lnTo>
                      <a:pt x="81" y="9"/>
                    </a:lnTo>
                    <a:lnTo>
                      <a:pt x="81" y="9"/>
                    </a:lnTo>
                    <a:lnTo>
                      <a:pt x="86" y="9"/>
                    </a:lnTo>
                    <a:lnTo>
                      <a:pt x="86" y="9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9" y="9"/>
                    </a:lnTo>
                    <a:lnTo>
                      <a:pt x="104" y="9"/>
                    </a:lnTo>
                    <a:lnTo>
                      <a:pt x="104" y="9"/>
                    </a:lnTo>
                    <a:lnTo>
                      <a:pt x="108" y="9"/>
                    </a:lnTo>
                    <a:lnTo>
                      <a:pt x="113" y="9"/>
                    </a:lnTo>
                    <a:lnTo>
                      <a:pt x="113" y="9"/>
                    </a:lnTo>
                    <a:lnTo>
                      <a:pt x="113" y="9"/>
                    </a:lnTo>
                    <a:lnTo>
                      <a:pt x="113" y="9"/>
                    </a:lnTo>
                    <a:lnTo>
                      <a:pt x="113" y="9"/>
                    </a:lnTo>
                    <a:lnTo>
                      <a:pt x="117" y="9"/>
                    </a:lnTo>
                    <a:lnTo>
                      <a:pt x="117" y="13"/>
                    </a:lnTo>
                    <a:lnTo>
                      <a:pt x="117" y="13"/>
                    </a:lnTo>
                    <a:lnTo>
                      <a:pt x="117" y="13"/>
                    </a:lnTo>
                    <a:lnTo>
                      <a:pt x="122" y="13"/>
                    </a:lnTo>
                    <a:lnTo>
                      <a:pt x="122" y="13"/>
                    </a:lnTo>
                    <a:lnTo>
                      <a:pt x="122" y="13"/>
                    </a:lnTo>
                    <a:lnTo>
                      <a:pt x="117" y="13"/>
                    </a:lnTo>
                    <a:lnTo>
                      <a:pt x="117" y="13"/>
                    </a:lnTo>
                    <a:lnTo>
                      <a:pt x="117" y="18"/>
                    </a:lnTo>
                    <a:lnTo>
                      <a:pt x="117" y="18"/>
                    </a:lnTo>
                    <a:lnTo>
                      <a:pt x="122" y="18"/>
                    </a:lnTo>
                    <a:lnTo>
                      <a:pt x="122" y="18"/>
                    </a:lnTo>
                    <a:lnTo>
                      <a:pt x="122" y="13"/>
                    </a:lnTo>
                    <a:lnTo>
                      <a:pt x="122" y="13"/>
                    </a:lnTo>
                    <a:lnTo>
                      <a:pt x="122" y="13"/>
                    </a:lnTo>
                    <a:lnTo>
                      <a:pt x="122" y="13"/>
                    </a:lnTo>
                    <a:lnTo>
                      <a:pt x="122" y="18"/>
                    </a:lnTo>
                    <a:lnTo>
                      <a:pt x="122" y="18"/>
                    </a:lnTo>
                    <a:lnTo>
                      <a:pt x="127" y="18"/>
                    </a:lnTo>
                    <a:lnTo>
                      <a:pt x="127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22"/>
                    </a:lnTo>
                    <a:lnTo>
                      <a:pt x="131" y="22"/>
                    </a:lnTo>
                    <a:lnTo>
                      <a:pt x="136" y="22"/>
                    </a:lnTo>
                    <a:lnTo>
                      <a:pt x="136" y="22"/>
                    </a:lnTo>
                    <a:lnTo>
                      <a:pt x="136" y="18"/>
                    </a:lnTo>
                    <a:lnTo>
                      <a:pt x="136" y="22"/>
                    </a:lnTo>
                    <a:lnTo>
                      <a:pt x="136" y="22"/>
                    </a:lnTo>
                    <a:lnTo>
                      <a:pt x="140" y="22"/>
                    </a:lnTo>
                    <a:lnTo>
                      <a:pt x="140" y="22"/>
                    </a:lnTo>
                    <a:lnTo>
                      <a:pt x="140" y="22"/>
                    </a:lnTo>
                    <a:lnTo>
                      <a:pt x="140" y="22"/>
                    </a:lnTo>
                    <a:lnTo>
                      <a:pt x="145" y="22"/>
                    </a:lnTo>
                    <a:lnTo>
                      <a:pt x="145" y="22"/>
                    </a:lnTo>
                    <a:lnTo>
                      <a:pt x="145" y="22"/>
                    </a:lnTo>
                    <a:lnTo>
                      <a:pt x="149" y="22"/>
                    </a:lnTo>
                    <a:lnTo>
                      <a:pt x="149" y="22"/>
                    </a:lnTo>
                    <a:lnTo>
                      <a:pt x="149" y="22"/>
                    </a:lnTo>
                    <a:lnTo>
                      <a:pt x="149" y="22"/>
                    </a:lnTo>
                    <a:lnTo>
                      <a:pt x="154" y="22"/>
                    </a:lnTo>
                    <a:lnTo>
                      <a:pt x="154" y="18"/>
                    </a:lnTo>
                    <a:lnTo>
                      <a:pt x="154" y="18"/>
                    </a:lnTo>
                    <a:lnTo>
                      <a:pt x="154" y="18"/>
                    </a:lnTo>
                    <a:lnTo>
                      <a:pt x="158" y="22"/>
                    </a:lnTo>
                    <a:lnTo>
                      <a:pt x="158" y="22"/>
                    </a:lnTo>
                    <a:lnTo>
                      <a:pt x="158" y="22"/>
                    </a:lnTo>
                    <a:lnTo>
                      <a:pt x="163" y="22"/>
                    </a:lnTo>
                    <a:lnTo>
                      <a:pt x="163" y="22"/>
                    </a:lnTo>
                    <a:lnTo>
                      <a:pt x="163" y="22"/>
                    </a:lnTo>
                    <a:lnTo>
                      <a:pt x="163" y="27"/>
                    </a:lnTo>
                    <a:lnTo>
                      <a:pt x="163" y="27"/>
                    </a:lnTo>
                    <a:lnTo>
                      <a:pt x="163" y="27"/>
                    </a:lnTo>
                    <a:lnTo>
                      <a:pt x="163" y="27"/>
                    </a:lnTo>
                    <a:lnTo>
                      <a:pt x="163" y="27"/>
                    </a:lnTo>
                    <a:lnTo>
                      <a:pt x="163" y="27"/>
                    </a:lnTo>
                    <a:lnTo>
                      <a:pt x="163" y="27"/>
                    </a:lnTo>
                    <a:lnTo>
                      <a:pt x="167" y="27"/>
                    </a:lnTo>
                    <a:lnTo>
                      <a:pt x="167" y="27"/>
                    </a:lnTo>
                    <a:lnTo>
                      <a:pt x="167" y="27"/>
                    </a:lnTo>
                    <a:lnTo>
                      <a:pt x="172" y="27"/>
                    </a:lnTo>
                    <a:lnTo>
                      <a:pt x="172" y="27"/>
                    </a:lnTo>
                    <a:lnTo>
                      <a:pt x="172" y="27"/>
                    </a:lnTo>
                    <a:lnTo>
                      <a:pt x="172" y="27"/>
                    </a:lnTo>
                    <a:lnTo>
                      <a:pt x="172" y="31"/>
                    </a:lnTo>
                    <a:lnTo>
                      <a:pt x="172" y="27"/>
                    </a:lnTo>
                    <a:lnTo>
                      <a:pt x="176" y="27"/>
                    </a:lnTo>
                    <a:lnTo>
                      <a:pt x="176" y="27"/>
                    </a:lnTo>
                    <a:lnTo>
                      <a:pt x="181" y="31"/>
                    </a:lnTo>
                    <a:lnTo>
                      <a:pt x="181" y="31"/>
                    </a:lnTo>
                    <a:lnTo>
                      <a:pt x="181" y="27"/>
                    </a:lnTo>
                    <a:lnTo>
                      <a:pt x="181" y="27"/>
                    </a:lnTo>
                    <a:lnTo>
                      <a:pt x="181" y="27"/>
                    </a:lnTo>
                    <a:lnTo>
                      <a:pt x="185" y="27"/>
                    </a:lnTo>
                    <a:lnTo>
                      <a:pt x="185" y="27"/>
                    </a:lnTo>
                    <a:lnTo>
                      <a:pt x="185" y="27"/>
                    </a:lnTo>
                    <a:lnTo>
                      <a:pt x="185" y="27"/>
                    </a:lnTo>
                    <a:lnTo>
                      <a:pt x="190" y="27"/>
                    </a:lnTo>
                    <a:lnTo>
                      <a:pt x="190" y="27"/>
                    </a:lnTo>
                    <a:lnTo>
                      <a:pt x="190" y="27"/>
                    </a:lnTo>
                    <a:lnTo>
                      <a:pt x="190" y="27"/>
                    </a:lnTo>
                    <a:lnTo>
                      <a:pt x="190" y="31"/>
                    </a:lnTo>
                    <a:lnTo>
                      <a:pt x="194" y="31"/>
                    </a:lnTo>
                    <a:lnTo>
                      <a:pt x="190" y="31"/>
                    </a:lnTo>
                    <a:lnTo>
                      <a:pt x="190" y="31"/>
                    </a:lnTo>
                    <a:lnTo>
                      <a:pt x="190" y="31"/>
                    </a:lnTo>
                    <a:lnTo>
                      <a:pt x="190" y="31"/>
                    </a:lnTo>
                    <a:lnTo>
                      <a:pt x="190" y="36"/>
                    </a:lnTo>
                    <a:lnTo>
                      <a:pt x="190" y="36"/>
                    </a:lnTo>
                    <a:lnTo>
                      <a:pt x="190" y="36"/>
                    </a:lnTo>
                    <a:lnTo>
                      <a:pt x="190" y="40"/>
                    </a:lnTo>
                    <a:lnTo>
                      <a:pt x="185" y="40"/>
                    </a:lnTo>
                    <a:lnTo>
                      <a:pt x="176" y="45"/>
                    </a:lnTo>
                    <a:lnTo>
                      <a:pt x="172" y="49"/>
                    </a:lnTo>
                    <a:lnTo>
                      <a:pt x="172" y="49"/>
                    </a:lnTo>
                    <a:lnTo>
                      <a:pt x="163" y="49"/>
                    </a:lnTo>
                    <a:lnTo>
                      <a:pt x="158" y="54"/>
                    </a:lnTo>
                    <a:lnTo>
                      <a:pt x="154" y="54"/>
                    </a:lnTo>
                    <a:lnTo>
                      <a:pt x="154" y="58"/>
                    </a:lnTo>
                    <a:lnTo>
                      <a:pt x="149" y="58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49" y="63"/>
                    </a:lnTo>
                    <a:lnTo>
                      <a:pt x="149" y="63"/>
                    </a:lnTo>
                    <a:lnTo>
                      <a:pt x="149" y="63"/>
                    </a:lnTo>
                    <a:lnTo>
                      <a:pt x="149" y="63"/>
                    </a:lnTo>
                    <a:lnTo>
                      <a:pt x="145" y="67"/>
                    </a:lnTo>
                    <a:lnTo>
                      <a:pt x="140" y="72"/>
                    </a:lnTo>
                    <a:lnTo>
                      <a:pt x="140" y="72"/>
                    </a:lnTo>
                    <a:lnTo>
                      <a:pt x="136" y="76"/>
                    </a:lnTo>
                    <a:lnTo>
                      <a:pt x="131" y="81"/>
                    </a:lnTo>
                    <a:lnTo>
                      <a:pt x="131" y="85"/>
                    </a:lnTo>
                    <a:lnTo>
                      <a:pt x="136" y="90"/>
                    </a:lnTo>
                    <a:lnTo>
                      <a:pt x="136" y="95"/>
                    </a:lnTo>
                    <a:lnTo>
                      <a:pt x="136" y="95"/>
                    </a:lnTo>
                    <a:lnTo>
                      <a:pt x="140" y="95"/>
                    </a:lnTo>
                    <a:lnTo>
                      <a:pt x="140" y="95"/>
                    </a:lnTo>
                    <a:lnTo>
                      <a:pt x="140" y="99"/>
                    </a:lnTo>
                    <a:lnTo>
                      <a:pt x="136" y="99"/>
                    </a:lnTo>
                    <a:lnTo>
                      <a:pt x="131" y="104"/>
                    </a:lnTo>
                    <a:lnTo>
                      <a:pt x="131" y="104"/>
                    </a:lnTo>
                    <a:lnTo>
                      <a:pt x="127" y="108"/>
                    </a:lnTo>
                    <a:lnTo>
                      <a:pt x="127" y="108"/>
                    </a:lnTo>
                    <a:lnTo>
                      <a:pt x="127" y="113"/>
                    </a:lnTo>
                    <a:lnTo>
                      <a:pt x="127" y="113"/>
                    </a:lnTo>
                    <a:lnTo>
                      <a:pt x="127" y="113"/>
                    </a:lnTo>
                    <a:lnTo>
                      <a:pt x="122" y="117"/>
                    </a:lnTo>
                    <a:lnTo>
                      <a:pt x="122" y="117"/>
                    </a:lnTo>
                    <a:lnTo>
                      <a:pt x="127" y="117"/>
                    </a:lnTo>
                    <a:lnTo>
                      <a:pt x="127" y="117"/>
                    </a:lnTo>
                    <a:lnTo>
                      <a:pt x="122" y="117"/>
                    </a:lnTo>
                    <a:lnTo>
                      <a:pt x="122" y="117"/>
                    </a:lnTo>
                    <a:lnTo>
                      <a:pt x="117" y="117"/>
                    </a:lnTo>
                    <a:lnTo>
                      <a:pt x="108" y="122"/>
                    </a:lnTo>
                    <a:lnTo>
                      <a:pt x="108" y="126"/>
                    </a:lnTo>
                    <a:lnTo>
                      <a:pt x="104" y="131"/>
                    </a:lnTo>
                    <a:lnTo>
                      <a:pt x="104" y="135"/>
                    </a:lnTo>
                    <a:lnTo>
                      <a:pt x="99" y="135"/>
                    </a:lnTo>
                    <a:lnTo>
                      <a:pt x="99" y="131"/>
                    </a:lnTo>
                    <a:lnTo>
                      <a:pt x="95" y="131"/>
                    </a:lnTo>
                    <a:lnTo>
                      <a:pt x="95" y="131"/>
                    </a:lnTo>
                    <a:lnTo>
                      <a:pt x="95" y="135"/>
                    </a:lnTo>
                    <a:lnTo>
                      <a:pt x="90" y="135"/>
                    </a:lnTo>
                    <a:lnTo>
                      <a:pt x="90" y="135"/>
                    </a:lnTo>
                    <a:lnTo>
                      <a:pt x="86" y="135"/>
                    </a:lnTo>
                    <a:lnTo>
                      <a:pt x="86" y="135"/>
                    </a:lnTo>
                    <a:lnTo>
                      <a:pt x="81" y="135"/>
                    </a:lnTo>
                    <a:lnTo>
                      <a:pt x="77" y="135"/>
                    </a:lnTo>
                    <a:lnTo>
                      <a:pt x="77" y="135"/>
                    </a:lnTo>
                    <a:lnTo>
                      <a:pt x="68" y="135"/>
                    </a:lnTo>
                    <a:lnTo>
                      <a:pt x="63" y="135"/>
                    </a:lnTo>
                    <a:lnTo>
                      <a:pt x="63" y="135"/>
                    </a:lnTo>
                    <a:lnTo>
                      <a:pt x="59" y="140"/>
                    </a:lnTo>
                    <a:lnTo>
                      <a:pt x="59" y="140"/>
                    </a:lnTo>
                    <a:lnTo>
                      <a:pt x="54" y="140"/>
                    </a:lnTo>
                    <a:lnTo>
                      <a:pt x="50" y="140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45" y="149"/>
                    </a:lnTo>
                    <a:lnTo>
                      <a:pt x="45" y="149"/>
                    </a:lnTo>
                    <a:lnTo>
                      <a:pt x="41" y="144"/>
                    </a:lnTo>
                    <a:lnTo>
                      <a:pt x="41" y="144"/>
                    </a:lnTo>
                    <a:lnTo>
                      <a:pt x="41" y="144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36" y="135"/>
                    </a:lnTo>
                    <a:lnTo>
                      <a:pt x="36" y="135"/>
                    </a:lnTo>
                    <a:lnTo>
                      <a:pt x="32" y="135"/>
                    </a:lnTo>
                    <a:lnTo>
                      <a:pt x="32" y="135"/>
                    </a:lnTo>
                    <a:lnTo>
                      <a:pt x="36" y="131"/>
                    </a:lnTo>
                    <a:lnTo>
                      <a:pt x="36" y="131"/>
                    </a:lnTo>
                    <a:lnTo>
                      <a:pt x="36" y="131"/>
                    </a:lnTo>
                    <a:lnTo>
                      <a:pt x="36" y="131"/>
                    </a:lnTo>
                    <a:lnTo>
                      <a:pt x="32" y="131"/>
                    </a:lnTo>
                    <a:lnTo>
                      <a:pt x="32" y="131"/>
                    </a:lnTo>
                    <a:lnTo>
                      <a:pt x="27" y="126"/>
                    </a:lnTo>
                    <a:lnTo>
                      <a:pt x="27" y="126"/>
                    </a:lnTo>
                    <a:lnTo>
                      <a:pt x="27" y="122"/>
                    </a:lnTo>
                    <a:lnTo>
                      <a:pt x="27" y="126"/>
                    </a:lnTo>
                    <a:lnTo>
                      <a:pt x="27" y="126"/>
                    </a:lnTo>
                    <a:lnTo>
                      <a:pt x="23" y="126"/>
                    </a:lnTo>
                    <a:lnTo>
                      <a:pt x="18" y="126"/>
                    </a:lnTo>
                    <a:lnTo>
                      <a:pt x="18" y="122"/>
                    </a:lnTo>
                    <a:lnTo>
                      <a:pt x="18" y="117"/>
                    </a:lnTo>
                    <a:lnTo>
                      <a:pt x="18" y="117"/>
                    </a:lnTo>
                    <a:lnTo>
                      <a:pt x="18" y="117"/>
                    </a:lnTo>
                    <a:lnTo>
                      <a:pt x="18" y="113"/>
                    </a:lnTo>
                    <a:lnTo>
                      <a:pt x="23" y="113"/>
                    </a:lnTo>
                    <a:lnTo>
                      <a:pt x="23" y="108"/>
                    </a:lnTo>
                    <a:lnTo>
                      <a:pt x="23" y="108"/>
                    </a:lnTo>
                    <a:lnTo>
                      <a:pt x="27" y="108"/>
                    </a:lnTo>
                    <a:lnTo>
                      <a:pt x="27" y="108"/>
                    </a:lnTo>
                    <a:lnTo>
                      <a:pt x="27" y="108"/>
                    </a:lnTo>
                    <a:lnTo>
                      <a:pt x="27" y="108"/>
                    </a:lnTo>
                    <a:lnTo>
                      <a:pt x="23" y="108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3" y="95"/>
                    </a:lnTo>
                    <a:lnTo>
                      <a:pt x="23" y="95"/>
                    </a:lnTo>
                    <a:lnTo>
                      <a:pt x="27" y="95"/>
                    </a:lnTo>
                    <a:lnTo>
                      <a:pt x="27" y="95"/>
                    </a:lnTo>
                    <a:lnTo>
                      <a:pt x="27" y="90"/>
                    </a:lnTo>
                    <a:lnTo>
                      <a:pt x="27" y="90"/>
                    </a:lnTo>
                    <a:lnTo>
                      <a:pt x="27" y="90"/>
                    </a:lnTo>
                    <a:lnTo>
                      <a:pt x="27" y="90"/>
                    </a:lnTo>
                    <a:lnTo>
                      <a:pt x="23" y="85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18" y="81"/>
                    </a:lnTo>
                    <a:lnTo>
                      <a:pt x="18" y="76"/>
                    </a:lnTo>
                    <a:lnTo>
                      <a:pt x="23" y="76"/>
                    </a:lnTo>
                    <a:lnTo>
                      <a:pt x="27" y="76"/>
                    </a:lnTo>
                    <a:lnTo>
                      <a:pt x="27" y="76"/>
                    </a:lnTo>
                    <a:lnTo>
                      <a:pt x="27" y="76"/>
                    </a:lnTo>
                    <a:lnTo>
                      <a:pt x="27" y="76"/>
                    </a:lnTo>
                    <a:lnTo>
                      <a:pt x="32" y="72"/>
                    </a:lnTo>
                    <a:lnTo>
                      <a:pt x="32" y="72"/>
                    </a:lnTo>
                    <a:lnTo>
                      <a:pt x="32" y="72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32" y="67"/>
                    </a:lnTo>
                    <a:lnTo>
                      <a:pt x="32" y="67"/>
                    </a:lnTo>
                    <a:lnTo>
                      <a:pt x="32" y="67"/>
                    </a:lnTo>
                    <a:lnTo>
                      <a:pt x="32" y="67"/>
                    </a:lnTo>
                    <a:lnTo>
                      <a:pt x="32" y="63"/>
                    </a:lnTo>
                    <a:lnTo>
                      <a:pt x="32" y="63"/>
                    </a:lnTo>
                    <a:lnTo>
                      <a:pt x="32" y="63"/>
                    </a:lnTo>
                    <a:lnTo>
                      <a:pt x="32" y="63"/>
                    </a:lnTo>
                    <a:lnTo>
                      <a:pt x="32" y="58"/>
                    </a:lnTo>
                    <a:lnTo>
                      <a:pt x="32" y="58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6" y="49"/>
                    </a:lnTo>
                    <a:lnTo>
                      <a:pt x="36" y="49"/>
                    </a:lnTo>
                    <a:lnTo>
                      <a:pt x="36" y="49"/>
                    </a:lnTo>
                    <a:lnTo>
                      <a:pt x="41" y="45"/>
                    </a:lnTo>
                    <a:lnTo>
                      <a:pt x="41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0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1"/>
                    </a:lnTo>
                    <a:lnTo>
                      <a:pt x="14" y="31"/>
                    </a:lnTo>
                    <a:lnTo>
                      <a:pt x="14" y="31"/>
                    </a:lnTo>
                    <a:lnTo>
                      <a:pt x="14" y="31"/>
                    </a:lnTo>
                    <a:lnTo>
                      <a:pt x="14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5" y="22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3" y="4"/>
                    </a:lnTo>
                    <a:lnTo>
                      <a:pt x="23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32" name="Freeform 53"/>
              <p:cNvSpPr>
                <a:spLocks noEditPoints="1"/>
              </p:cNvSpPr>
              <p:nvPr/>
            </p:nvSpPr>
            <p:spPr bwMode="auto">
              <a:xfrm>
                <a:off x="4800601" y="1165226"/>
                <a:ext cx="130175" cy="65088"/>
              </a:xfrm>
              <a:custGeom>
                <a:avLst/>
                <a:gdLst>
                  <a:gd name="T0" fmla="*/ 9 w 82"/>
                  <a:gd name="T1" fmla="*/ 23 h 41"/>
                  <a:gd name="T2" fmla="*/ 14 w 82"/>
                  <a:gd name="T3" fmla="*/ 23 h 41"/>
                  <a:gd name="T4" fmla="*/ 18 w 82"/>
                  <a:gd name="T5" fmla="*/ 27 h 41"/>
                  <a:gd name="T6" fmla="*/ 14 w 82"/>
                  <a:gd name="T7" fmla="*/ 27 h 41"/>
                  <a:gd name="T8" fmla="*/ 14 w 82"/>
                  <a:gd name="T9" fmla="*/ 27 h 41"/>
                  <a:gd name="T10" fmla="*/ 5 w 82"/>
                  <a:gd name="T11" fmla="*/ 32 h 41"/>
                  <a:gd name="T12" fmla="*/ 5 w 82"/>
                  <a:gd name="T13" fmla="*/ 36 h 41"/>
                  <a:gd name="T14" fmla="*/ 0 w 82"/>
                  <a:gd name="T15" fmla="*/ 32 h 41"/>
                  <a:gd name="T16" fmla="*/ 5 w 82"/>
                  <a:gd name="T17" fmla="*/ 32 h 41"/>
                  <a:gd name="T18" fmla="*/ 0 w 82"/>
                  <a:gd name="T19" fmla="*/ 27 h 41"/>
                  <a:gd name="T20" fmla="*/ 0 w 82"/>
                  <a:gd name="T21" fmla="*/ 27 h 41"/>
                  <a:gd name="T22" fmla="*/ 0 w 82"/>
                  <a:gd name="T23" fmla="*/ 23 h 41"/>
                  <a:gd name="T24" fmla="*/ 5 w 82"/>
                  <a:gd name="T25" fmla="*/ 23 h 41"/>
                  <a:gd name="T26" fmla="*/ 5 w 82"/>
                  <a:gd name="T27" fmla="*/ 23 h 41"/>
                  <a:gd name="T28" fmla="*/ 9 w 82"/>
                  <a:gd name="T29" fmla="*/ 23 h 41"/>
                  <a:gd name="T30" fmla="*/ 45 w 82"/>
                  <a:gd name="T31" fmla="*/ 5 h 41"/>
                  <a:gd name="T32" fmla="*/ 59 w 82"/>
                  <a:gd name="T33" fmla="*/ 5 h 41"/>
                  <a:gd name="T34" fmla="*/ 73 w 82"/>
                  <a:gd name="T35" fmla="*/ 5 h 41"/>
                  <a:gd name="T36" fmla="*/ 82 w 82"/>
                  <a:gd name="T37" fmla="*/ 5 h 41"/>
                  <a:gd name="T38" fmla="*/ 82 w 82"/>
                  <a:gd name="T39" fmla="*/ 9 h 41"/>
                  <a:gd name="T40" fmla="*/ 82 w 82"/>
                  <a:gd name="T41" fmla="*/ 9 h 41"/>
                  <a:gd name="T42" fmla="*/ 77 w 82"/>
                  <a:gd name="T43" fmla="*/ 9 h 41"/>
                  <a:gd name="T44" fmla="*/ 77 w 82"/>
                  <a:gd name="T45" fmla="*/ 14 h 41"/>
                  <a:gd name="T46" fmla="*/ 73 w 82"/>
                  <a:gd name="T47" fmla="*/ 18 h 41"/>
                  <a:gd name="T48" fmla="*/ 77 w 82"/>
                  <a:gd name="T49" fmla="*/ 27 h 41"/>
                  <a:gd name="T50" fmla="*/ 77 w 82"/>
                  <a:gd name="T51" fmla="*/ 27 h 41"/>
                  <a:gd name="T52" fmla="*/ 77 w 82"/>
                  <a:gd name="T53" fmla="*/ 36 h 41"/>
                  <a:gd name="T54" fmla="*/ 82 w 82"/>
                  <a:gd name="T55" fmla="*/ 36 h 41"/>
                  <a:gd name="T56" fmla="*/ 77 w 82"/>
                  <a:gd name="T57" fmla="*/ 36 h 41"/>
                  <a:gd name="T58" fmla="*/ 77 w 82"/>
                  <a:gd name="T59" fmla="*/ 41 h 41"/>
                  <a:gd name="T60" fmla="*/ 77 w 82"/>
                  <a:gd name="T61" fmla="*/ 41 h 41"/>
                  <a:gd name="T62" fmla="*/ 73 w 82"/>
                  <a:gd name="T63" fmla="*/ 41 h 41"/>
                  <a:gd name="T64" fmla="*/ 68 w 82"/>
                  <a:gd name="T65" fmla="*/ 41 h 41"/>
                  <a:gd name="T66" fmla="*/ 64 w 82"/>
                  <a:gd name="T67" fmla="*/ 41 h 41"/>
                  <a:gd name="T68" fmla="*/ 59 w 82"/>
                  <a:gd name="T69" fmla="*/ 36 h 41"/>
                  <a:gd name="T70" fmla="*/ 55 w 82"/>
                  <a:gd name="T71" fmla="*/ 36 h 41"/>
                  <a:gd name="T72" fmla="*/ 45 w 82"/>
                  <a:gd name="T73" fmla="*/ 32 h 41"/>
                  <a:gd name="T74" fmla="*/ 45 w 82"/>
                  <a:gd name="T75" fmla="*/ 32 h 41"/>
                  <a:gd name="T76" fmla="*/ 45 w 82"/>
                  <a:gd name="T77" fmla="*/ 32 h 41"/>
                  <a:gd name="T78" fmla="*/ 41 w 82"/>
                  <a:gd name="T79" fmla="*/ 32 h 41"/>
                  <a:gd name="T80" fmla="*/ 36 w 82"/>
                  <a:gd name="T81" fmla="*/ 36 h 41"/>
                  <a:gd name="T82" fmla="*/ 36 w 82"/>
                  <a:gd name="T83" fmla="*/ 32 h 41"/>
                  <a:gd name="T84" fmla="*/ 36 w 82"/>
                  <a:gd name="T85" fmla="*/ 27 h 41"/>
                  <a:gd name="T86" fmla="*/ 32 w 82"/>
                  <a:gd name="T87" fmla="*/ 27 h 41"/>
                  <a:gd name="T88" fmla="*/ 32 w 82"/>
                  <a:gd name="T89" fmla="*/ 27 h 41"/>
                  <a:gd name="T90" fmla="*/ 23 w 82"/>
                  <a:gd name="T91" fmla="*/ 27 h 41"/>
                  <a:gd name="T92" fmla="*/ 23 w 82"/>
                  <a:gd name="T93" fmla="*/ 23 h 41"/>
                  <a:gd name="T94" fmla="*/ 23 w 82"/>
                  <a:gd name="T95" fmla="*/ 18 h 41"/>
                  <a:gd name="T96" fmla="*/ 23 w 82"/>
                  <a:gd name="T97" fmla="*/ 18 h 41"/>
                  <a:gd name="T98" fmla="*/ 23 w 82"/>
                  <a:gd name="T99" fmla="*/ 14 h 41"/>
                  <a:gd name="T100" fmla="*/ 18 w 82"/>
                  <a:gd name="T101" fmla="*/ 14 h 41"/>
                  <a:gd name="T102" fmla="*/ 23 w 82"/>
                  <a:gd name="T103" fmla="*/ 9 h 41"/>
                  <a:gd name="T104" fmla="*/ 27 w 82"/>
                  <a:gd name="T105" fmla="*/ 9 h 41"/>
                  <a:gd name="T106" fmla="*/ 36 w 82"/>
                  <a:gd name="T107" fmla="*/ 5 h 41"/>
                  <a:gd name="T108" fmla="*/ 45 w 82"/>
                  <a:gd name="T109" fmla="*/ 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2" h="41">
                    <a:moveTo>
                      <a:pt x="9" y="23"/>
                    </a:move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8" y="23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9" y="27"/>
                    </a:lnTo>
                    <a:lnTo>
                      <a:pt x="5" y="27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0" y="32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moveTo>
                      <a:pt x="45" y="0"/>
                    </a:moveTo>
                    <a:lnTo>
                      <a:pt x="45" y="0"/>
                    </a:lnTo>
                    <a:lnTo>
                      <a:pt x="45" y="5"/>
                    </a:lnTo>
                    <a:lnTo>
                      <a:pt x="50" y="5"/>
                    </a:lnTo>
                    <a:lnTo>
                      <a:pt x="59" y="5"/>
                    </a:lnTo>
                    <a:lnTo>
                      <a:pt x="59" y="5"/>
                    </a:lnTo>
                    <a:lnTo>
                      <a:pt x="64" y="5"/>
                    </a:lnTo>
                    <a:lnTo>
                      <a:pt x="68" y="5"/>
                    </a:lnTo>
                    <a:lnTo>
                      <a:pt x="73" y="5"/>
                    </a:lnTo>
                    <a:lnTo>
                      <a:pt x="77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9"/>
                    </a:lnTo>
                    <a:lnTo>
                      <a:pt x="82" y="9"/>
                    </a:lnTo>
                    <a:lnTo>
                      <a:pt x="82" y="9"/>
                    </a:lnTo>
                    <a:lnTo>
                      <a:pt x="82" y="9"/>
                    </a:lnTo>
                    <a:lnTo>
                      <a:pt x="82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7" y="23"/>
                    </a:lnTo>
                    <a:lnTo>
                      <a:pt x="77" y="27"/>
                    </a:lnTo>
                    <a:lnTo>
                      <a:pt x="77" y="27"/>
                    </a:lnTo>
                    <a:lnTo>
                      <a:pt x="77" y="27"/>
                    </a:lnTo>
                    <a:lnTo>
                      <a:pt x="77" y="27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77" y="36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77" y="36"/>
                    </a:lnTo>
                    <a:lnTo>
                      <a:pt x="77" y="36"/>
                    </a:lnTo>
                    <a:lnTo>
                      <a:pt x="77" y="36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59" y="41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55" y="36"/>
                    </a:lnTo>
                    <a:lnTo>
                      <a:pt x="55" y="36"/>
                    </a:lnTo>
                    <a:lnTo>
                      <a:pt x="55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3" y="27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3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6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33" name="Freeform 54"/>
              <p:cNvSpPr>
                <a:spLocks/>
              </p:cNvSpPr>
              <p:nvPr/>
            </p:nvSpPr>
            <p:spPr bwMode="auto">
              <a:xfrm>
                <a:off x="5181601" y="2508251"/>
                <a:ext cx="415925" cy="336550"/>
              </a:xfrm>
              <a:custGeom>
                <a:avLst/>
                <a:gdLst>
                  <a:gd name="T0" fmla="*/ 99 w 262"/>
                  <a:gd name="T1" fmla="*/ 4 h 212"/>
                  <a:gd name="T2" fmla="*/ 104 w 262"/>
                  <a:gd name="T3" fmla="*/ 4 h 212"/>
                  <a:gd name="T4" fmla="*/ 113 w 262"/>
                  <a:gd name="T5" fmla="*/ 4 h 212"/>
                  <a:gd name="T6" fmla="*/ 122 w 262"/>
                  <a:gd name="T7" fmla="*/ 4 h 212"/>
                  <a:gd name="T8" fmla="*/ 135 w 262"/>
                  <a:gd name="T9" fmla="*/ 13 h 212"/>
                  <a:gd name="T10" fmla="*/ 149 w 262"/>
                  <a:gd name="T11" fmla="*/ 31 h 212"/>
                  <a:gd name="T12" fmla="*/ 158 w 262"/>
                  <a:gd name="T13" fmla="*/ 40 h 212"/>
                  <a:gd name="T14" fmla="*/ 153 w 262"/>
                  <a:gd name="T15" fmla="*/ 54 h 212"/>
                  <a:gd name="T16" fmla="*/ 149 w 262"/>
                  <a:gd name="T17" fmla="*/ 67 h 212"/>
                  <a:gd name="T18" fmla="*/ 158 w 262"/>
                  <a:gd name="T19" fmla="*/ 72 h 212"/>
                  <a:gd name="T20" fmla="*/ 167 w 262"/>
                  <a:gd name="T21" fmla="*/ 67 h 212"/>
                  <a:gd name="T22" fmla="*/ 171 w 262"/>
                  <a:gd name="T23" fmla="*/ 72 h 212"/>
                  <a:gd name="T24" fmla="*/ 167 w 262"/>
                  <a:gd name="T25" fmla="*/ 77 h 212"/>
                  <a:gd name="T26" fmla="*/ 171 w 262"/>
                  <a:gd name="T27" fmla="*/ 86 h 212"/>
                  <a:gd name="T28" fmla="*/ 180 w 262"/>
                  <a:gd name="T29" fmla="*/ 95 h 212"/>
                  <a:gd name="T30" fmla="*/ 189 w 262"/>
                  <a:gd name="T31" fmla="*/ 104 h 212"/>
                  <a:gd name="T32" fmla="*/ 208 w 262"/>
                  <a:gd name="T33" fmla="*/ 113 h 212"/>
                  <a:gd name="T34" fmla="*/ 239 w 262"/>
                  <a:gd name="T35" fmla="*/ 126 h 212"/>
                  <a:gd name="T36" fmla="*/ 262 w 262"/>
                  <a:gd name="T37" fmla="*/ 126 h 212"/>
                  <a:gd name="T38" fmla="*/ 239 w 262"/>
                  <a:gd name="T39" fmla="*/ 149 h 212"/>
                  <a:gd name="T40" fmla="*/ 217 w 262"/>
                  <a:gd name="T41" fmla="*/ 176 h 212"/>
                  <a:gd name="T42" fmla="*/ 198 w 262"/>
                  <a:gd name="T43" fmla="*/ 185 h 212"/>
                  <a:gd name="T44" fmla="*/ 185 w 262"/>
                  <a:gd name="T45" fmla="*/ 185 h 212"/>
                  <a:gd name="T46" fmla="*/ 176 w 262"/>
                  <a:gd name="T47" fmla="*/ 194 h 212"/>
                  <a:gd name="T48" fmla="*/ 162 w 262"/>
                  <a:gd name="T49" fmla="*/ 199 h 212"/>
                  <a:gd name="T50" fmla="*/ 149 w 262"/>
                  <a:gd name="T51" fmla="*/ 203 h 212"/>
                  <a:gd name="T52" fmla="*/ 144 w 262"/>
                  <a:gd name="T53" fmla="*/ 203 h 212"/>
                  <a:gd name="T54" fmla="*/ 131 w 262"/>
                  <a:gd name="T55" fmla="*/ 199 h 212"/>
                  <a:gd name="T56" fmla="*/ 117 w 262"/>
                  <a:gd name="T57" fmla="*/ 212 h 212"/>
                  <a:gd name="T58" fmla="*/ 104 w 262"/>
                  <a:gd name="T59" fmla="*/ 212 h 212"/>
                  <a:gd name="T60" fmla="*/ 86 w 262"/>
                  <a:gd name="T61" fmla="*/ 208 h 212"/>
                  <a:gd name="T62" fmla="*/ 67 w 262"/>
                  <a:gd name="T63" fmla="*/ 194 h 212"/>
                  <a:gd name="T64" fmla="*/ 54 w 262"/>
                  <a:gd name="T65" fmla="*/ 194 h 212"/>
                  <a:gd name="T66" fmla="*/ 49 w 262"/>
                  <a:gd name="T67" fmla="*/ 185 h 212"/>
                  <a:gd name="T68" fmla="*/ 49 w 262"/>
                  <a:gd name="T69" fmla="*/ 181 h 212"/>
                  <a:gd name="T70" fmla="*/ 40 w 262"/>
                  <a:gd name="T71" fmla="*/ 176 h 212"/>
                  <a:gd name="T72" fmla="*/ 40 w 262"/>
                  <a:gd name="T73" fmla="*/ 176 h 212"/>
                  <a:gd name="T74" fmla="*/ 36 w 262"/>
                  <a:gd name="T75" fmla="*/ 162 h 212"/>
                  <a:gd name="T76" fmla="*/ 27 w 262"/>
                  <a:gd name="T77" fmla="*/ 153 h 212"/>
                  <a:gd name="T78" fmla="*/ 18 w 262"/>
                  <a:gd name="T79" fmla="*/ 140 h 212"/>
                  <a:gd name="T80" fmla="*/ 13 w 262"/>
                  <a:gd name="T81" fmla="*/ 135 h 212"/>
                  <a:gd name="T82" fmla="*/ 0 w 262"/>
                  <a:gd name="T83" fmla="*/ 131 h 212"/>
                  <a:gd name="T84" fmla="*/ 4 w 262"/>
                  <a:gd name="T85" fmla="*/ 122 h 212"/>
                  <a:gd name="T86" fmla="*/ 13 w 262"/>
                  <a:gd name="T87" fmla="*/ 117 h 212"/>
                  <a:gd name="T88" fmla="*/ 18 w 262"/>
                  <a:gd name="T89" fmla="*/ 117 h 212"/>
                  <a:gd name="T90" fmla="*/ 18 w 262"/>
                  <a:gd name="T91" fmla="*/ 99 h 212"/>
                  <a:gd name="T92" fmla="*/ 22 w 262"/>
                  <a:gd name="T93" fmla="*/ 86 h 212"/>
                  <a:gd name="T94" fmla="*/ 22 w 262"/>
                  <a:gd name="T95" fmla="*/ 77 h 212"/>
                  <a:gd name="T96" fmla="*/ 31 w 262"/>
                  <a:gd name="T97" fmla="*/ 77 h 212"/>
                  <a:gd name="T98" fmla="*/ 31 w 262"/>
                  <a:gd name="T99" fmla="*/ 67 h 212"/>
                  <a:gd name="T100" fmla="*/ 36 w 262"/>
                  <a:gd name="T101" fmla="*/ 54 h 212"/>
                  <a:gd name="T102" fmla="*/ 45 w 262"/>
                  <a:gd name="T103" fmla="*/ 40 h 212"/>
                  <a:gd name="T104" fmla="*/ 49 w 262"/>
                  <a:gd name="T105" fmla="*/ 36 h 212"/>
                  <a:gd name="T106" fmla="*/ 54 w 262"/>
                  <a:gd name="T107" fmla="*/ 27 h 212"/>
                  <a:gd name="T108" fmla="*/ 54 w 262"/>
                  <a:gd name="T109" fmla="*/ 13 h 212"/>
                  <a:gd name="T110" fmla="*/ 63 w 262"/>
                  <a:gd name="T111" fmla="*/ 9 h 212"/>
                  <a:gd name="T112" fmla="*/ 67 w 262"/>
                  <a:gd name="T113" fmla="*/ 4 h 212"/>
                  <a:gd name="T114" fmla="*/ 77 w 262"/>
                  <a:gd name="T115" fmla="*/ 9 h 212"/>
                  <a:gd name="T116" fmla="*/ 81 w 262"/>
                  <a:gd name="T117" fmla="*/ 0 h 212"/>
                  <a:gd name="T118" fmla="*/ 86 w 262"/>
                  <a:gd name="T119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62" h="212">
                    <a:moveTo>
                      <a:pt x="90" y="4"/>
                    </a:moveTo>
                    <a:lnTo>
                      <a:pt x="90" y="4"/>
                    </a:lnTo>
                    <a:lnTo>
                      <a:pt x="90" y="4"/>
                    </a:lnTo>
                    <a:lnTo>
                      <a:pt x="95" y="4"/>
                    </a:lnTo>
                    <a:lnTo>
                      <a:pt x="99" y="4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13" y="4"/>
                    </a:lnTo>
                    <a:lnTo>
                      <a:pt x="113" y="4"/>
                    </a:lnTo>
                    <a:lnTo>
                      <a:pt x="117" y="4"/>
                    </a:lnTo>
                    <a:lnTo>
                      <a:pt x="117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9"/>
                    </a:lnTo>
                    <a:lnTo>
                      <a:pt x="126" y="9"/>
                    </a:lnTo>
                    <a:lnTo>
                      <a:pt x="131" y="9"/>
                    </a:lnTo>
                    <a:lnTo>
                      <a:pt x="131" y="13"/>
                    </a:lnTo>
                    <a:lnTo>
                      <a:pt x="135" y="13"/>
                    </a:lnTo>
                    <a:lnTo>
                      <a:pt x="135" y="18"/>
                    </a:lnTo>
                    <a:lnTo>
                      <a:pt x="140" y="22"/>
                    </a:lnTo>
                    <a:lnTo>
                      <a:pt x="144" y="27"/>
                    </a:lnTo>
                    <a:lnTo>
                      <a:pt x="149" y="27"/>
                    </a:lnTo>
                    <a:lnTo>
                      <a:pt x="149" y="31"/>
                    </a:lnTo>
                    <a:lnTo>
                      <a:pt x="153" y="36"/>
                    </a:lnTo>
                    <a:lnTo>
                      <a:pt x="153" y="36"/>
                    </a:lnTo>
                    <a:lnTo>
                      <a:pt x="153" y="36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8" y="45"/>
                    </a:lnTo>
                    <a:lnTo>
                      <a:pt x="158" y="49"/>
                    </a:lnTo>
                    <a:lnTo>
                      <a:pt x="153" y="54"/>
                    </a:lnTo>
                    <a:lnTo>
                      <a:pt x="153" y="54"/>
                    </a:lnTo>
                    <a:lnTo>
                      <a:pt x="149" y="58"/>
                    </a:lnTo>
                    <a:lnTo>
                      <a:pt x="149" y="58"/>
                    </a:lnTo>
                    <a:lnTo>
                      <a:pt x="149" y="58"/>
                    </a:lnTo>
                    <a:lnTo>
                      <a:pt x="149" y="63"/>
                    </a:lnTo>
                    <a:lnTo>
                      <a:pt x="149" y="67"/>
                    </a:lnTo>
                    <a:lnTo>
                      <a:pt x="153" y="72"/>
                    </a:lnTo>
                    <a:lnTo>
                      <a:pt x="153" y="72"/>
                    </a:lnTo>
                    <a:lnTo>
                      <a:pt x="153" y="72"/>
                    </a:lnTo>
                    <a:lnTo>
                      <a:pt x="158" y="72"/>
                    </a:lnTo>
                    <a:lnTo>
                      <a:pt x="158" y="72"/>
                    </a:lnTo>
                    <a:lnTo>
                      <a:pt x="158" y="72"/>
                    </a:lnTo>
                    <a:lnTo>
                      <a:pt x="162" y="67"/>
                    </a:lnTo>
                    <a:lnTo>
                      <a:pt x="162" y="67"/>
                    </a:lnTo>
                    <a:lnTo>
                      <a:pt x="167" y="67"/>
                    </a:lnTo>
                    <a:lnTo>
                      <a:pt x="167" y="67"/>
                    </a:lnTo>
                    <a:lnTo>
                      <a:pt x="167" y="67"/>
                    </a:lnTo>
                    <a:lnTo>
                      <a:pt x="171" y="72"/>
                    </a:lnTo>
                    <a:lnTo>
                      <a:pt x="171" y="72"/>
                    </a:lnTo>
                    <a:lnTo>
                      <a:pt x="171" y="72"/>
                    </a:lnTo>
                    <a:lnTo>
                      <a:pt x="171" y="72"/>
                    </a:lnTo>
                    <a:lnTo>
                      <a:pt x="167" y="72"/>
                    </a:lnTo>
                    <a:lnTo>
                      <a:pt x="167" y="72"/>
                    </a:lnTo>
                    <a:lnTo>
                      <a:pt x="167" y="77"/>
                    </a:lnTo>
                    <a:lnTo>
                      <a:pt x="167" y="77"/>
                    </a:lnTo>
                    <a:lnTo>
                      <a:pt x="167" y="77"/>
                    </a:lnTo>
                    <a:lnTo>
                      <a:pt x="167" y="81"/>
                    </a:lnTo>
                    <a:lnTo>
                      <a:pt x="167" y="81"/>
                    </a:lnTo>
                    <a:lnTo>
                      <a:pt x="171" y="86"/>
                    </a:lnTo>
                    <a:lnTo>
                      <a:pt x="171" y="86"/>
                    </a:lnTo>
                    <a:lnTo>
                      <a:pt x="171" y="86"/>
                    </a:lnTo>
                    <a:lnTo>
                      <a:pt x="171" y="90"/>
                    </a:lnTo>
                    <a:lnTo>
                      <a:pt x="176" y="90"/>
                    </a:lnTo>
                    <a:lnTo>
                      <a:pt x="176" y="90"/>
                    </a:lnTo>
                    <a:lnTo>
                      <a:pt x="176" y="95"/>
                    </a:lnTo>
                    <a:lnTo>
                      <a:pt x="180" y="95"/>
                    </a:lnTo>
                    <a:lnTo>
                      <a:pt x="180" y="99"/>
                    </a:lnTo>
                    <a:lnTo>
                      <a:pt x="180" y="99"/>
                    </a:lnTo>
                    <a:lnTo>
                      <a:pt x="185" y="99"/>
                    </a:lnTo>
                    <a:lnTo>
                      <a:pt x="185" y="99"/>
                    </a:lnTo>
                    <a:lnTo>
                      <a:pt x="189" y="104"/>
                    </a:lnTo>
                    <a:lnTo>
                      <a:pt x="189" y="108"/>
                    </a:lnTo>
                    <a:lnTo>
                      <a:pt x="189" y="108"/>
                    </a:lnTo>
                    <a:lnTo>
                      <a:pt x="198" y="108"/>
                    </a:lnTo>
                    <a:lnTo>
                      <a:pt x="203" y="113"/>
                    </a:lnTo>
                    <a:lnTo>
                      <a:pt x="208" y="113"/>
                    </a:lnTo>
                    <a:lnTo>
                      <a:pt x="212" y="117"/>
                    </a:lnTo>
                    <a:lnTo>
                      <a:pt x="217" y="117"/>
                    </a:lnTo>
                    <a:lnTo>
                      <a:pt x="226" y="117"/>
                    </a:lnTo>
                    <a:lnTo>
                      <a:pt x="230" y="122"/>
                    </a:lnTo>
                    <a:lnTo>
                      <a:pt x="239" y="126"/>
                    </a:lnTo>
                    <a:lnTo>
                      <a:pt x="244" y="126"/>
                    </a:lnTo>
                    <a:lnTo>
                      <a:pt x="244" y="126"/>
                    </a:lnTo>
                    <a:lnTo>
                      <a:pt x="248" y="126"/>
                    </a:lnTo>
                    <a:lnTo>
                      <a:pt x="253" y="126"/>
                    </a:lnTo>
                    <a:lnTo>
                      <a:pt x="262" y="126"/>
                    </a:lnTo>
                    <a:lnTo>
                      <a:pt x="257" y="131"/>
                    </a:lnTo>
                    <a:lnTo>
                      <a:pt x="253" y="135"/>
                    </a:lnTo>
                    <a:lnTo>
                      <a:pt x="248" y="140"/>
                    </a:lnTo>
                    <a:lnTo>
                      <a:pt x="244" y="144"/>
                    </a:lnTo>
                    <a:lnTo>
                      <a:pt x="239" y="149"/>
                    </a:lnTo>
                    <a:lnTo>
                      <a:pt x="235" y="153"/>
                    </a:lnTo>
                    <a:lnTo>
                      <a:pt x="230" y="158"/>
                    </a:lnTo>
                    <a:lnTo>
                      <a:pt x="226" y="162"/>
                    </a:lnTo>
                    <a:lnTo>
                      <a:pt x="221" y="171"/>
                    </a:lnTo>
                    <a:lnTo>
                      <a:pt x="217" y="176"/>
                    </a:lnTo>
                    <a:lnTo>
                      <a:pt x="212" y="181"/>
                    </a:lnTo>
                    <a:lnTo>
                      <a:pt x="208" y="185"/>
                    </a:lnTo>
                    <a:lnTo>
                      <a:pt x="208" y="185"/>
                    </a:lnTo>
                    <a:lnTo>
                      <a:pt x="203" y="185"/>
                    </a:lnTo>
                    <a:lnTo>
                      <a:pt x="198" y="185"/>
                    </a:lnTo>
                    <a:lnTo>
                      <a:pt x="194" y="185"/>
                    </a:lnTo>
                    <a:lnTo>
                      <a:pt x="194" y="185"/>
                    </a:lnTo>
                    <a:lnTo>
                      <a:pt x="189" y="185"/>
                    </a:lnTo>
                    <a:lnTo>
                      <a:pt x="189" y="185"/>
                    </a:lnTo>
                    <a:lnTo>
                      <a:pt x="185" y="185"/>
                    </a:lnTo>
                    <a:lnTo>
                      <a:pt x="185" y="185"/>
                    </a:lnTo>
                    <a:lnTo>
                      <a:pt x="180" y="190"/>
                    </a:lnTo>
                    <a:lnTo>
                      <a:pt x="176" y="190"/>
                    </a:lnTo>
                    <a:lnTo>
                      <a:pt x="176" y="190"/>
                    </a:lnTo>
                    <a:lnTo>
                      <a:pt x="176" y="194"/>
                    </a:lnTo>
                    <a:lnTo>
                      <a:pt x="176" y="194"/>
                    </a:lnTo>
                    <a:lnTo>
                      <a:pt x="171" y="194"/>
                    </a:lnTo>
                    <a:lnTo>
                      <a:pt x="171" y="199"/>
                    </a:lnTo>
                    <a:lnTo>
                      <a:pt x="162" y="199"/>
                    </a:lnTo>
                    <a:lnTo>
                      <a:pt x="162" y="199"/>
                    </a:lnTo>
                    <a:lnTo>
                      <a:pt x="158" y="199"/>
                    </a:lnTo>
                    <a:lnTo>
                      <a:pt x="158" y="203"/>
                    </a:lnTo>
                    <a:lnTo>
                      <a:pt x="158" y="203"/>
                    </a:lnTo>
                    <a:lnTo>
                      <a:pt x="153" y="203"/>
                    </a:lnTo>
                    <a:lnTo>
                      <a:pt x="149" y="203"/>
                    </a:lnTo>
                    <a:lnTo>
                      <a:pt x="149" y="203"/>
                    </a:lnTo>
                    <a:lnTo>
                      <a:pt x="144" y="203"/>
                    </a:lnTo>
                    <a:lnTo>
                      <a:pt x="144" y="203"/>
                    </a:lnTo>
                    <a:lnTo>
                      <a:pt x="144" y="203"/>
                    </a:lnTo>
                    <a:lnTo>
                      <a:pt x="144" y="203"/>
                    </a:lnTo>
                    <a:lnTo>
                      <a:pt x="140" y="203"/>
                    </a:lnTo>
                    <a:lnTo>
                      <a:pt x="140" y="199"/>
                    </a:lnTo>
                    <a:lnTo>
                      <a:pt x="135" y="199"/>
                    </a:lnTo>
                    <a:lnTo>
                      <a:pt x="131" y="199"/>
                    </a:lnTo>
                    <a:lnTo>
                      <a:pt x="131" y="199"/>
                    </a:lnTo>
                    <a:lnTo>
                      <a:pt x="122" y="203"/>
                    </a:lnTo>
                    <a:lnTo>
                      <a:pt x="122" y="203"/>
                    </a:lnTo>
                    <a:lnTo>
                      <a:pt x="122" y="208"/>
                    </a:lnTo>
                    <a:lnTo>
                      <a:pt x="117" y="212"/>
                    </a:lnTo>
                    <a:lnTo>
                      <a:pt x="117" y="212"/>
                    </a:lnTo>
                    <a:lnTo>
                      <a:pt x="113" y="212"/>
                    </a:lnTo>
                    <a:lnTo>
                      <a:pt x="108" y="212"/>
                    </a:lnTo>
                    <a:lnTo>
                      <a:pt x="108" y="212"/>
                    </a:lnTo>
                    <a:lnTo>
                      <a:pt x="104" y="212"/>
                    </a:lnTo>
                    <a:lnTo>
                      <a:pt x="104" y="212"/>
                    </a:lnTo>
                    <a:lnTo>
                      <a:pt x="99" y="212"/>
                    </a:lnTo>
                    <a:lnTo>
                      <a:pt x="95" y="208"/>
                    </a:lnTo>
                    <a:lnTo>
                      <a:pt x="95" y="208"/>
                    </a:lnTo>
                    <a:lnTo>
                      <a:pt x="90" y="208"/>
                    </a:lnTo>
                    <a:lnTo>
                      <a:pt x="86" y="208"/>
                    </a:lnTo>
                    <a:lnTo>
                      <a:pt x="86" y="203"/>
                    </a:lnTo>
                    <a:lnTo>
                      <a:pt x="81" y="203"/>
                    </a:lnTo>
                    <a:lnTo>
                      <a:pt x="77" y="199"/>
                    </a:lnTo>
                    <a:lnTo>
                      <a:pt x="72" y="199"/>
                    </a:lnTo>
                    <a:lnTo>
                      <a:pt x="67" y="194"/>
                    </a:lnTo>
                    <a:lnTo>
                      <a:pt x="67" y="194"/>
                    </a:lnTo>
                    <a:lnTo>
                      <a:pt x="67" y="194"/>
                    </a:lnTo>
                    <a:lnTo>
                      <a:pt x="63" y="194"/>
                    </a:lnTo>
                    <a:lnTo>
                      <a:pt x="58" y="194"/>
                    </a:lnTo>
                    <a:lnTo>
                      <a:pt x="54" y="194"/>
                    </a:lnTo>
                    <a:lnTo>
                      <a:pt x="54" y="194"/>
                    </a:lnTo>
                    <a:lnTo>
                      <a:pt x="54" y="194"/>
                    </a:lnTo>
                    <a:lnTo>
                      <a:pt x="54" y="190"/>
                    </a:lnTo>
                    <a:lnTo>
                      <a:pt x="49" y="190"/>
                    </a:lnTo>
                    <a:lnTo>
                      <a:pt x="49" y="185"/>
                    </a:lnTo>
                    <a:lnTo>
                      <a:pt x="49" y="185"/>
                    </a:lnTo>
                    <a:lnTo>
                      <a:pt x="49" y="181"/>
                    </a:lnTo>
                    <a:lnTo>
                      <a:pt x="49" y="181"/>
                    </a:lnTo>
                    <a:lnTo>
                      <a:pt x="49" y="181"/>
                    </a:lnTo>
                    <a:lnTo>
                      <a:pt x="49" y="181"/>
                    </a:lnTo>
                    <a:lnTo>
                      <a:pt x="49" y="176"/>
                    </a:lnTo>
                    <a:lnTo>
                      <a:pt x="45" y="176"/>
                    </a:lnTo>
                    <a:lnTo>
                      <a:pt x="45" y="176"/>
                    </a:lnTo>
                    <a:lnTo>
                      <a:pt x="40" y="176"/>
                    </a:lnTo>
                    <a:lnTo>
                      <a:pt x="40" y="176"/>
                    </a:lnTo>
                    <a:lnTo>
                      <a:pt x="40" y="176"/>
                    </a:lnTo>
                    <a:lnTo>
                      <a:pt x="40" y="176"/>
                    </a:lnTo>
                    <a:lnTo>
                      <a:pt x="40" y="176"/>
                    </a:lnTo>
                    <a:lnTo>
                      <a:pt x="40" y="176"/>
                    </a:lnTo>
                    <a:lnTo>
                      <a:pt x="40" y="176"/>
                    </a:lnTo>
                    <a:lnTo>
                      <a:pt x="40" y="171"/>
                    </a:lnTo>
                    <a:lnTo>
                      <a:pt x="36" y="171"/>
                    </a:lnTo>
                    <a:lnTo>
                      <a:pt x="36" y="167"/>
                    </a:lnTo>
                    <a:lnTo>
                      <a:pt x="36" y="167"/>
                    </a:lnTo>
                    <a:lnTo>
                      <a:pt x="36" y="162"/>
                    </a:lnTo>
                    <a:lnTo>
                      <a:pt x="36" y="162"/>
                    </a:lnTo>
                    <a:lnTo>
                      <a:pt x="31" y="158"/>
                    </a:lnTo>
                    <a:lnTo>
                      <a:pt x="31" y="153"/>
                    </a:lnTo>
                    <a:lnTo>
                      <a:pt x="31" y="153"/>
                    </a:lnTo>
                    <a:lnTo>
                      <a:pt x="27" y="153"/>
                    </a:lnTo>
                    <a:lnTo>
                      <a:pt x="27" y="149"/>
                    </a:lnTo>
                    <a:lnTo>
                      <a:pt x="27" y="149"/>
                    </a:lnTo>
                    <a:lnTo>
                      <a:pt x="22" y="144"/>
                    </a:lnTo>
                    <a:lnTo>
                      <a:pt x="22" y="144"/>
                    </a:lnTo>
                    <a:lnTo>
                      <a:pt x="18" y="140"/>
                    </a:lnTo>
                    <a:lnTo>
                      <a:pt x="18" y="140"/>
                    </a:lnTo>
                    <a:lnTo>
                      <a:pt x="18" y="140"/>
                    </a:lnTo>
                    <a:lnTo>
                      <a:pt x="18" y="140"/>
                    </a:lnTo>
                    <a:lnTo>
                      <a:pt x="18" y="135"/>
                    </a:lnTo>
                    <a:lnTo>
                      <a:pt x="13" y="135"/>
                    </a:lnTo>
                    <a:lnTo>
                      <a:pt x="9" y="131"/>
                    </a:lnTo>
                    <a:lnTo>
                      <a:pt x="9" y="131"/>
                    </a:lnTo>
                    <a:lnTo>
                      <a:pt x="9" y="131"/>
                    </a:lnTo>
                    <a:lnTo>
                      <a:pt x="4" y="131"/>
                    </a:lnTo>
                    <a:lnTo>
                      <a:pt x="0" y="131"/>
                    </a:lnTo>
                    <a:lnTo>
                      <a:pt x="0" y="131"/>
                    </a:lnTo>
                    <a:lnTo>
                      <a:pt x="0" y="131"/>
                    </a:lnTo>
                    <a:lnTo>
                      <a:pt x="0" y="126"/>
                    </a:lnTo>
                    <a:lnTo>
                      <a:pt x="0" y="126"/>
                    </a:lnTo>
                    <a:lnTo>
                      <a:pt x="4" y="122"/>
                    </a:lnTo>
                    <a:lnTo>
                      <a:pt x="4" y="122"/>
                    </a:lnTo>
                    <a:lnTo>
                      <a:pt x="4" y="117"/>
                    </a:lnTo>
                    <a:lnTo>
                      <a:pt x="9" y="117"/>
                    </a:lnTo>
                    <a:lnTo>
                      <a:pt x="9" y="117"/>
                    </a:lnTo>
                    <a:lnTo>
                      <a:pt x="13" y="117"/>
                    </a:lnTo>
                    <a:lnTo>
                      <a:pt x="13" y="117"/>
                    </a:lnTo>
                    <a:lnTo>
                      <a:pt x="18" y="117"/>
                    </a:lnTo>
                    <a:lnTo>
                      <a:pt x="18" y="117"/>
                    </a:lnTo>
                    <a:lnTo>
                      <a:pt x="18" y="117"/>
                    </a:lnTo>
                    <a:lnTo>
                      <a:pt x="18" y="117"/>
                    </a:lnTo>
                    <a:lnTo>
                      <a:pt x="18" y="113"/>
                    </a:lnTo>
                    <a:lnTo>
                      <a:pt x="18" y="113"/>
                    </a:lnTo>
                    <a:lnTo>
                      <a:pt x="18" y="108"/>
                    </a:lnTo>
                    <a:lnTo>
                      <a:pt x="18" y="104"/>
                    </a:lnTo>
                    <a:lnTo>
                      <a:pt x="18" y="99"/>
                    </a:lnTo>
                    <a:lnTo>
                      <a:pt x="18" y="99"/>
                    </a:lnTo>
                    <a:lnTo>
                      <a:pt x="18" y="95"/>
                    </a:lnTo>
                    <a:lnTo>
                      <a:pt x="18" y="90"/>
                    </a:lnTo>
                    <a:lnTo>
                      <a:pt x="18" y="90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1"/>
                    </a:lnTo>
                    <a:lnTo>
                      <a:pt x="22" y="77"/>
                    </a:lnTo>
                    <a:lnTo>
                      <a:pt x="22" y="77"/>
                    </a:lnTo>
                    <a:lnTo>
                      <a:pt x="27" y="72"/>
                    </a:lnTo>
                    <a:lnTo>
                      <a:pt x="27" y="72"/>
                    </a:lnTo>
                    <a:lnTo>
                      <a:pt x="27" y="72"/>
                    </a:lnTo>
                    <a:lnTo>
                      <a:pt x="27" y="72"/>
                    </a:lnTo>
                    <a:lnTo>
                      <a:pt x="31" y="77"/>
                    </a:lnTo>
                    <a:lnTo>
                      <a:pt x="31" y="77"/>
                    </a:lnTo>
                    <a:lnTo>
                      <a:pt x="31" y="72"/>
                    </a:lnTo>
                    <a:lnTo>
                      <a:pt x="31" y="72"/>
                    </a:lnTo>
                    <a:lnTo>
                      <a:pt x="31" y="72"/>
                    </a:lnTo>
                    <a:lnTo>
                      <a:pt x="31" y="67"/>
                    </a:lnTo>
                    <a:lnTo>
                      <a:pt x="31" y="67"/>
                    </a:lnTo>
                    <a:lnTo>
                      <a:pt x="31" y="63"/>
                    </a:lnTo>
                    <a:lnTo>
                      <a:pt x="36" y="58"/>
                    </a:lnTo>
                    <a:lnTo>
                      <a:pt x="36" y="58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40" y="49"/>
                    </a:lnTo>
                    <a:lnTo>
                      <a:pt x="40" y="45"/>
                    </a:lnTo>
                    <a:lnTo>
                      <a:pt x="40" y="40"/>
                    </a:lnTo>
                    <a:lnTo>
                      <a:pt x="45" y="40"/>
                    </a:lnTo>
                    <a:lnTo>
                      <a:pt x="45" y="40"/>
                    </a:lnTo>
                    <a:lnTo>
                      <a:pt x="45" y="40"/>
                    </a:lnTo>
                    <a:lnTo>
                      <a:pt x="49" y="40"/>
                    </a:lnTo>
                    <a:lnTo>
                      <a:pt x="49" y="36"/>
                    </a:lnTo>
                    <a:lnTo>
                      <a:pt x="49" y="36"/>
                    </a:lnTo>
                    <a:lnTo>
                      <a:pt x="54" y="36"/>
                    </a:lnTo>
                    <a:lnTo>
                      <a:pt x="49" y="36"/>
                    </a:lnTo>
                    <a:lnTo>
                      <a:pt x="54" y="31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8" y="18"/>
                    </a:lnTo>
                    <a:lnTo>
                      <a:pt x="54" y="13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7" y="9"/>
                    </a:lnTo>
                    <a:lnTo>
                      <a:pt x="67" y="9"/>
                    </a:lnTo>
                    <a:lnTo>
                      <a:pt x="67" y="9"/>
                    </a:lnTo>
                    <a:lnTo>
                      <a:pt x="67" y="4"/>
                    </a:lnTo>
                    <a:lnTo>
                      <a:pt x="67" y="4"/>
                    </a:lnTo>
                    <a:lnTo>
                      <a:pt x="72" y="4"/>
                    </a:lnTo>
                    <a:lnTo>
                      <a:pt x="72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77" y="4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90" y="4"/>
                    </a:lnTo>
                    <a:lnTo>
                      <a:pt x="90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34" name="Freeform 55"/>
              <p:cNvSpPr>
                <a:spLocks/>
              </p:cNvSpPr>
              <p:nvPr/>
            </p:nvSpPr>
            <p:spPr bwMode="auto">
              <a:xfrm>
                <a:off x="4743451" y="857251"/>
                <a:ext cx="236538" cy="307975"/>
              </a:xfrm>
              <a:custGeom>
                <a:avLst/>
                <a:gdLst>
                  <a:gd name="T0" fmla="*/ 100 w 149"/>
                  <a:gd name="T1" fmla="*/ 13 h 194"/>
                  <a:gd name="T2" fmla="*/ 100 w 149"/>
                  <a:gd name="T3" fmla="*/ 18 h 194"/>
                  <a:gd name="T4" fmla="*/ 95 w 149"/>
                  <a:gd name="T5" fmla="*/ 22 h 194"/>
                  <a:gd name="T6" fmla="*/ 100 w 149"/>
                  <a:gd name="T7" fmla="*/ 36 h 194"/>
                  <a:gd name="T8" fmla="*/ 113 w 149"/>
                  <a:gd name="T9" fmla="*/ 50 h 194"/>
                  <a:gd name="T10" fmla="*/ 109 w 149"/>
                  <a:gd name="T11" fmla="*/ 59 h 194"/>
                  <a:gd name="T12" fmla="*/ 118 w 149"/>
                  <a:gd name="T13" fmla="*/ 72 h 194"/>
                  <a:gd name="T14" fmla="*/ 122 w 149"/>
                  <a:gd name="T15" fmla="*/ 81 h 194"/>
                  <a:gd name="T16" fmla="*/ 118 w 149"/>
                  <a:gd name="T17" fmla="*/ 90 h 194"/>
                  <a:gd name="T18" fmla="*/ 122 w 149"/>
                  <a:gd name="T19" fmla="*/ 90 h 194"/>
                  <a:gd name="T20" fmla="*/ 122 w 149"/>
                  <a:gd name="T21" fmla="*/ 99 h 194"/>
                  <a:gd name="T22" fmla="*/ 127 w 149"/>
                  <a:gd name="T23" fmla="*/ 104 h 194"/>
                  <a:gd name="T24" fmla="*/ 136 w 149"/>
                  <a:gd name="T25" fmla="*/ 113 h 194"/>
                  <a:gd name="T26" fmla="*/ 136 w 149"/>
                  <a:gd name="T27" fmla="*/ 122 h 194"/>
                  <a:gd name="T28" fmla="*/ 149 w 149"/>
                  <a:gd name="T29" fmla="*/ 131 h 194"/>
                  <a:gd name="T30" fmla="*/ 145 w 149"/>
                  <a:gd name="T31" fmla="*/ 144 h 194"/>
                  <a:gd name="T32" fmla="*/ 131 w 149"/>
                  <a:gd name="T33" fmla="*/ 163 h 194"/>
                  <a:gd name="T34" fmla="*/ 118 w 149"/>
                  <a:gd name="T35" fmla="*/ 172 h 194"/>
                  <a:gd name="T36" fmla="*/ 104 w 149"/>
                  <a:gd name="T37" fmla="*/ 181 h 194"/>
                  <a:gd name="T38" fmla="*/ 95 w 149"/>
                  <a:gd name="T39" fmla="*/ 181 h 194"/>
                  <a:gd name="T40" fmla="*/ 91 w 149"/>
                  <a:gd name="T41" fmla="*/ 181 h 194"/>
                  <a:gd name="T42" fmla="*/ 86 w 149"/>
                  <a:gd name="T43" fmla="*/ 185 h 194"/>
                  <a:gd name="T44" fmla="*/ 81 w 149"/>
                  <a:gd name="T45" fmla="*/ 185 h 194"/>
                  <a:gd name="T46" fmla="*/ 68 w 149"/>
                  <a:gd name="T47" fmla="*/ 190 h 194"/>
                  <a:gd name="T48" fmla="*/ 50 w 149"/>
                  <a:gd name="T49" fmla="*/ 194 h 194"/>
                  <a:gd name="T50" fmla="*/ 50 w 149"/>
                  <a:gd name="T51" fmla="*/ 190 h 194"/>
                  <a:gd name="T52" fmla="*/ 45 w 149"/>
                  <a:gd name="T53" fmla="*/ 190 h 194"/>
                  <a:gd name="T54" fmla="*/ 41 w 149"/>
                  <a:gd name="T55" fmla="*/ 185 h 194"/>
                  <a:gd name="T56" fmla="*/ 41 w 149"/>
                  <a:gd name="T57" fmla="*/ 185 h 194"/>
                  <a:gd name="T58" fmla="*/ 32 w 149"/>
                  <a:gd name="T59" fmla="*/ 181 h 194"/>
                  <a:gd name="T60" fmla="*/ 27 w 149"/>
                  <a:gd name="T61" fmla="*/ 176 h 194"/>
                  <a:gd name="T62" fmla="*/ 27 w 149"/>
                  <a:gd name="T63" fmla="*/ 167 h 194"/>
                  <a:gd name="T64" fmla="*/ 27 w 149"/>
                  <a:gd name="T65" fmla="*/ 163 h 194"/>
                  <a:gd name="T66" fmla="*/ 27 w 149"/>
                  <a:gd name="T67" fmla="*/ 158 h 194"/>
                  <a:gd name="T68" fmla="*/ 23 w 149"/>
                  <a:gd name="T69" fmla="*/ 144 h 194"/>
                  <a:gd name="T70" fmla="*/ 23 w 149"/>
                  <a:gd name="T71" fmla="*/ 135 h 194"/>
                  <a:gd name="T72" fmla="*/ 27 w 149"/>
                  <a:gd name="T73" fmla="*/ 131 h 194"/>
                  <a:gd name="T74" fmla="*/ 32 w 149"/>
                  <a:gd name="T75" fmla="*/ 126 h 194"/>
                  <a:gd name="T76" fmla="*/ 41 w 149"/>
                  <a:gd name="T77" fmla="*/ 117 h 194"/>
                  <a:gd name="T78" fmla="*/ 50 w 149"/>
                  <a:gd name="T79" fmla="*/ 108 h 194"/>
                  <a:gd name="T80" fmla="*/ 59 w 149"/>
                  <a:gd name="T81" fmla="*/ 99 h 194"/>
                  <a:gd name="T82" fmla="*/ 63 w 149"/>
                  <a:gd name="T83" fmla="*/ 95 h 194"/>
                  <a:gd name="T84" fmla="*/ 63 w 149"/>
                  <a:gd name="T85" fmla="*/ 86 h 194"/>
                  <a:gd name="T86" fmla="*/ 54 w 149"/>
                  <a:gd name="T87" fmla="*/ 81 h 194"/>
                  <a:gd name="T88" fmla="*/ 45 w 149"/>
                  <a:gd name="T89" fmla="*/ 77 h 194"/>
                  <a:gd name="T90" fmla="*/ 41 w 149"/>
                  <a:gd name="T91" fmla="*/ 68 h 194"/>
                  <a:gd name="T92" fmla="*/ 45 w 149"/>
                  <a:gd name="T93" fmla="*/ 63 h 194"/>
                  <a:gd name="T94" fmla="*/ 41 w 149"/>
                  <a:gd name="T95" fmla="*/ 54 h 194"/>
                  <a:gd name="T96" fmla="*/ 36 w 149"/>
                  <a:gd name="T97" fmla="*/ 50 h 194"/>
                  <a:gd name="T98" fmla="*/ 36 w 149"/>
                  <a:gd name="T99" fmla="*/ 45 h 194"/>
                  <a:gd name="T100" fmla="*/ 36 w 149"/>
                  <a:gd name="T101" fmla="*/ 36 h 194"/>
                  <a:gd name="T102" fmla="*/ 23 w 149"/>
                  <a:gd name="T103" fmla="*/ 31 h 194"/>
                  <a:gd name="T104" fmla="*/ 9 w 149"/>
                  <a:gd name="T105" fmla="*/ 27 h 194"/>
                  <a:gd name="T106" fmla="*/ 0 w 149"/>
                  <a:gd name="T107" fmla="*/ 22 h 194"/>
                  <a:gd name="T108" fmla="*/ 5 w 149"/>
                  <a:gd name="T109" fmla="*/ 18 h 194"/>
                  <a:gd name="T110" fmla="*/ 18 w 149"/>
                  <a:gd name="T111" fmla="*/ 22 h 194"/>
                  <a:gd name="T112" fmla="*/ 32 w 149"/>
                  <a:gd name="T113" fmla="*/ 27 h 194"/>
                  <a:gd name="T114" fmla="*/ 41 w 149"/>
                  <a:gd name="T115" fmla="*/ 27 h 194"/>
                  <a:gd name="T116" fmla="*/ 54 w 149"/>
                  <a:gd name="T117" fmla="*/ 27 h 194"/>
                  <a:gd name="T118" fmla="*/ 59 w 149"/>
                  <a:gd name="T119" fmla="*/ 22 h 194"/>
                  <a:gd name="T120" fmla="*/ 63 w 149"/>
                  <a:gd name="T121" fmla="*/ 9 h 194"/>
                  <a:gd name="T122" fmla="*/ 72 w 149"/>
                  <a:gd name="T123" fmla="*/ 4 h 194"/>
                  <a:gd name="T124" fmla="*/ 86 w 149"/>
                  <a:gd name="T125" fmla="*/ 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9" h="194">
                    <a:moveTo>
                      <a:pt x="86" y="4"/>
                    </a:moveTo>
                    <a:lnTo>
                      <a:pt x="86" y="4"/>
                    </a:lnTo>
                    <a:lnTo>
                      <a:pt x="86" y="4"/>
                    </a:lnTo>
                    <a:lnTo>
                      <a:pt x="91" y="4"/>
                    </a:lnTo>
                    <a:lnTo>
                      <a:pt x="95" y="4"/>
                    </a:lnTo>
                    <a:lnTo>
                      <a:pt x="100" y="9"/>
                    </a:lnTo>
                    <a:lnTo>
                      <a:pt x="100" y="13"/>
                    </a:lnTo>
                    <a:lnTo>
                      <a:pt x="100" y="13"/>
                    </a:lnTo>
                    <a:lnTo>
                      <a:pt x="100" y="13"/>
                    </a:lnTo>
                    <a:lnTo>
                      <a:pt x="100" y="13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100" y="18"/>
                    </a:lnTo>
                    <a:lnTo>
                      <a:pt x="95" y="18"/>
                    </a:lnTo>
                    <a:lnTo>
                      <a:pt x="95" y="22"/>
                    </a:lnTo>
                    <a:lnTo>
                      <a:pt x="95" y="22"/>
                    </a:lnTo>
                    <a:lnTo>
                      <a:pt x="91" y="22"/>
                    </a:lnTo>
                    <a:lnTo>
                      <a:pt x="91" y="22"/>
                    </a:lnTo>
                    <a:lnTo>
                      <a:pt x="95" y="22"/>
                    </a:lnTo>
                    <a:lnTo>
                      <a:pt x="95" y="22"/>
                    </a:lnTo>
                    <a:lnTo>
                      <a:pt x="95" y="22"/>
                    </a:lnTo>
                    <a:lnTo>
                      <a:pt x="95" y="22"/>
                    </a:lnTo>
                    <a:lnTo>
                      <a:pt x="95" y="22"/>
                    </a:lnTo>
                    <a:lnTo>
                      <a:pt x="95" y="27"/>
                    </a:lnTo>
                    <a:lnTo>
                      <a:pt x="95" y="31"/>
                    </a:lnTo>
                    <a:lnTo>
                      <a:pt x="95" y="31"/>
                    </a:lnTo>
                    <a:lnTo>
                      <a:pt x="100" y="36"/>
                    </a:lnTo>
                    <a:lnTo>
                      <a:pt x="104" y="36"/>
                    </a:lnTo>
                    <a:lnTo>
                      <a:pt x="104" y="36"/>
                    </a:lnTo>
                    <a:lnTo>
                      <a:pt x="109" y="40"/>
                    </a:lnTo>
                    <a:lnTo>
                      <a:pt x="113" y="45"/>
                    </a:lnTo>
                    <a:lnTo>
                      <a:pt x="113" y="45"/>
                    </a:lnTo>
                    <a:lnTo>
                      <a:pt x="113" y="45"/>
                    </a:lnTo>
                    <a:lnTo>
                      <a:pt x="113" y="50"/>
                    </a:lnTo>
                    <a:lnTo>
                      <a:pt x="113" y="50"/>
                    </a:lnTo>
                    <a:lnTo>
                      <a:pt x="113" y="50"/>
                    </a:lnTo>
                    <a:lnTo>
                      <a:pt x="109" y="54"/>
                    </a:lnTo>
                    <a:lnTo>
                      <a:pt x="109" y="54"/>
                    </a:lnTo>
                    <a:lnTo>
                      <a:pt x="109" y="59"/>
                    </a:lnTo>
                    <a:lnTo>
                      <a:pt x="109" y="59"/>
                    </a:lnTo>
                    <a:lnTo>
                      <a:pt x="109" y="59"/>
                    </a:lnTo>
                    <a:lnTo>
                      <a:pt x="109" y="59"/>
                    </a:lnTo>
                    <a:lnTo>
                      <a:pt x="109" y="63"/>
                    </a:lnTo>
                    <a:lnTo>
                      <a:pt x="113" y="63"/>
                    </a:lnTo>
                    <a:lnTo>
                      <a:pt x="113" y="68"/>
                    </a:lnTo>
                    <a:lnTo>
                      <a:pt x="113" y="68"/>
                    </a:lnTo>
                    <a:lnTo>
                      <a:pt x="113" y="68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8" y="77"/>
                    </a:lnTo>
                    <a:lnTo>
                      <a:pt x="122" y="77"/>
                    </a:lnTo>
                    <a:lnTo>
                      <a:pt x="122" y="81"/>
                    </a:lnTo>
                    <a:lnTo>
                      <a:pt x="122" y="81"/>
                    </a:lnTo>
                    <a:lnTo>
                      <a:pt x="122" y="81"/>
                    </a:lnTo>
                    <a:lnTo>
                      <a:pt x="122" y="81"/>
                    </a:lnTo>
                    <a:lnTo>
                      <a:pt x="122" y="81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22" y="86"/>
                    </a:lnTo>
                    <a:lnTo>
                      <a:pt x="118" y="86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22" y="95"/>
                    </a:lnTo>
                    <a:lnTo>
                      <a:pt x="122" y="95"/>
                    </a:lnTo>
                    <a:lnTo>
                      <a:pt x="118" y="95"/>
                    </a:lnTo>
                    <a:lnTo>
                      <a:pt x="118" y="95"/>
                    </a:lnTo>
                    <a:lnTo>
                      <a:pt x="118" y="95"/>
                    </a:lnTo>
                    <a:lnTo>
                      <a:pt x="122" y="95"/>
                    </a:lnTo>
                    <a:lnTo>
                      <a:pt x="122" y="99"/>
                    </a:lnTo>
                    <a:lnTo>
                      <a:pt x="122" y="99"/>
                    </a:lnTo>
                    <a:lnTo>
                      <a:pt x="127" y="99"/>
                    </a:lnTo>
                    <a:lnTo>
                      <a:pt x="127" y="99"/>
                    </a:lnTo>
                    <a:lnTo>
                      <a:pt x="127" y="99"/>
                    </a:lnTo>
                    <a:lnTo>
                      <a:pt x="127" y="104"/>
                    </a:lnTo>
                    <a:lnTo>
                      <a:pt x="127" y="104"/>
                    </a:lnTo>
                    <a:lnTo>
                      <a:pt x="127" y="104"/>
                    </a:lnTo>
                    <a:lnTo>
                      <a:pt x="127" y="104"/>
                    </a:lnTo>
                    <a:lnTo>
                      <a:pt x="127" y="108"/>
                    </a:lnTo>
                    <a:lnTo>
                      <a:pt x="131" y="108"/>
                    </a:lnTo>
                    <a:lnTo>
                      <a:pt x="131" y="108"/>
                    </a:lnTo>
                    <a:lnTo>
                      <a:pt x="136" y="108"/>
                    </a:lnTo>
                    <a:lnTo>
                      <a:pt x="136" y="113"/>
                    </a:lnTo>
                    <a:lnTo>
                      <a:pt x="136" y="113"/>
                    </a:lnTo>
                    <a:lnTo>
                      <a:pt x="136" y="113"/>
                    </a:lnTo>
                    <a:lnTo>
                      <a:pt x="131" y="113"/>
                    </a:lnTo>
                    <a:lnTo>
                      <a:pt x="131" y="117"/>
                    </a:lnTo>
                    <a:lnTo>
                      <a:pt x="127" y="117"/>
                    </a:lnTo>
                    <a:lnTo>
                      <a:pt x="127" y="117"/>
                    </a:lnTo>
                    <a:lnTo>
                      <a:pt x="131" y="122"/>
                    </a:lnTo>
                    <a:lnTo>
                      <a:pt x="136" y="122"/>
                    </a:lnTo>
                    <a:lnTo>
                      <a:pt x="140" y="126"/>
                    </a:lnTo>
                    <a:lnTo>
                      <a:pt x="140" y="126"/>
                    </a:lnTo>
                    <a:lnTo>
                      <a:pt x="145" y="126"/>
                    </a:lnTo>
                    <a:lnTo>
                      <a:pt x="145" y="131"/>
                    </a:lnTo>
                    <a:lnTo>
                      <a:pt x="149" y="131"/>
                    </a:lnTo>
                    <a:lnTo>
                      <a:pt x="149" y="131"/>
                    </a:lnTo>
                    <a:lnTo>
                      <a:pt x="149" y="131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40"/>
                    </a:lnTo>
                    <a:lnTo>
                      <a:pt x="149" y="140"/>
                    </a:lnTo>
                    <a:lnTo>
                      <a:pt x="149" y="140"/>
                    </a:lnTo>
                    <a:lnTo>
                      <a:pt x="145" y="144"/>
                    </a:lnTo>
                    <a:lnTo>
                      <a:pt x="140" y="149"/>
                    </a:lnTo>
                    <a:lnTo>
                      <a:pt x="140" y="149"/>
                    </a:lnTo>
                    <a:lnTo>
                      <a:pt x="140" y="153"/>
                    </a:lnTo>
                    <a:lnTo>
                      <a:pt x="136" y="158"/>
                    </a:lnTo>
                    <a:lnTo>
                      <a:pt x="136" y="158"/>
                    </a:lnTo>
                    <a:lnTo>
                      <a:pt x="131" y="158"/>
                    </a:lnTo>
                    <a:lnTo>
                      <a:pt x="131" y="163"/>
                    </a:lnTo>
                    <a:lnTo>
                      <a:pt x="131" y="163"/>
                    </a:lnTo>
                    <a:lnTo>
                      <a:pt x="127" y="167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22" y="172"/>
                    </a:lnTo>
                    <a:lnTo>
                      <a:pt x="118" y="172"/>
                    </a:lnTo>
                    <a:lnTo>
                      <a:pt x="118" y="172"/>
                    </a:lnTo>
                    <a:lnTo>
                      <a:pt x="118" y="172"/>
                    </a:lnTo>
                    <a:lnTo>
                      <a:pt x="113" y="176"/>
                    </a:lnTo>
                    <a:lnTo>
                      <a:pt x="109" y="181"/>
                    </a:lnTo>
                    <a:lnTo>
                      <a:pt x="109" y="181"/>
                    </a:lnTo>
                    <a:lnTo>
                      <a:pt x="109" y="181"/>
                    </a:lnTo>
                    <a:lnTo>
                      <a:pt x="109" y="181"/>
                    </a:lnTo>
                    <a:lnTo>
                      <a:pt x="104" y="181"/>
                    </a:lnTo>
                    <a:lnTo>
                      <a:pt x="104" y="181"/>
                    </a:lnTo>
                    <a:lnTo>
                      <a:pt x="104" y="181"/>
                    </a:lnTo>
                    <a:lnTo>
                      <a:pt x="100" y="181"/>
                    </a:lnTo>
                    <a:lnTo>
                      <a:pt x="100" y="181"/>
                    </a:lnTo>
                    <a:lnTo>
                      <a:pt x="95" y="181"/>
                    </a:lnTo>
                    <a:lnTo>
                      <a:pt x="95" y="181"/>
                    </a:lnTo>
                    <a:lnTo>
                      <a:pt x="95" y="181"/>
                    </a:lnTo>
                    <a:lnTo>
                      <a:pt x="95" y="181"/>
                    </a:lnTo>
                    <a:lnTo>
                      <a:pt x="95" y="181"/>
                    </a:lnTo>
                    <a:lnTo>
                      <a:pt x="95" y="176"/>
                    </a:lnTo>
                    <a:lnTo>
                      <a:pt x="95" y="176"/>
                    </a:lnTo>
                    <a:lnTo>
                      <a:pt x="95" y="176"/>
                    </a:lnTo>
                    <a:lnTo>
                      <a:pt x="91" y="181"/>
                    </a:lnTo>
                    <a:lnTo>
                      <a:pt x="91" y="181"/>
                    </a:lnTo>
                    <a:lnTo>
                      <a:pt x="91" y="181"/>
                    </a:lnTo>
                    <a:lnTo>
                      <a:pt x="91" y="181"/>
                    </a:lnTo>
                    <a:lnTo>
                      <a:pt x="86" y="181"/>
                    </a:lnTo>
                    <a:lnTo>
                      <a:pt x="86" y="181"/>
                    </a:lnTo>
                    <a:lnTo>
                      <a:pt x="86" y="181"/>
                    </a:lnTo>
                    <a:lnTo>
                      <a:pt x="86" y="181"/>
                    </a:lnTo>
                    <a:lnTo>
                      <a:pt x="86" y="185"/>
                    </a:lnTo>
                    <a:lnTo>
                      <a:pt x="86" y="185"/>
                    </a:lnTo>
                    <a:lnTo>
                      <a:pt x="86" y="185"/>
                    </a:lnTo>
                    <a:lnTo>
                      <a:pt x="86" y="185"/>
                    </a:lnTo>
                    <a:lnTo>
                      <a:pt x="81" y="185"/>
                    </a:lnTo>
                    <a:lnTo>
                      <a:pt x="81" y="185"/>
                    </a:lnTo>
                    <a:lnTo>
                      <a:pt x="81" y="185"/>
                    </a:lnTo>
                    <a:lnTo>
                      <a:pt x="81" y="185"/>
                    </a:lnTo>
                    <a:lnTo>
                      <a:pt x="77" y="185"/>
                    </a:lnTo>
                    <a:lnTo>
                      <a:pt x="77" y="185"/>
                    </a:lnTo>
                    <a:lnTo>
                      <a:pt x="72" y="185"/>
                    </a:lnTo>
                    <a:lnTo>
                      <a:pt x="72" y="185"/>
                    </a:lnTo>
                    <a:lnTo>
                      <a:pt x="68" y="190"/>
                    </a:lnTo>
                    <a:lnTo>
                      <a:pt x="68" y="190"/>
                    </a:lnTo>
                    <a:lnTo>
                      <a:pt x="68" y="190"/>
                    </a:lnTo>
                    <a:lnTo>
                      <a:pt x="63" y="190"/>
                    </a:lnTo>
                    <a:lnTo>
                      <a:pt x="63" y="190"/>
                    </a:lnTo>
                    <a:lnTo>
                      <a:pt x="59" y="190"/>
                    </a:lnTo>
                    <a:lnTo>
                      <a:pt x="54" y="190"/>
                    </a:lnTo>
                    <a:lnTo>
                      <a:pt x="54" y="190"/>
                    </a:lnTo>
                    <a:lnTo>
                      <a:pt x="54" y="190"/>
                    </a:lnTo>
                    <a:lnTo>
                      <a:pt x="50" y="194"/>
                    </a:lnTo>
                    <a:lnTo>
                      <a:pt x="50" y="194"/>
                    </a:lnTo>
                    <a:lnTo>
                      <a:pt x="50" y="194"/>
                    </a:lnTo>
                    <a:lnTo>
                      <a:pt x="50" y="194"/>
                    </a:lnTo>
                    <a:lnTo>
                      <a:pt x="50" y="190"/>
                    </a:lnTo>
                    <a:lnTo>
                      <a:pt x="50" y="190"/>
                    </a:lnTo>
                    <a:lnTo>
                      <a:pt x="50" y="190"/>
                    </a:lnTo>
                    <a:lnTo>
                      <a:pt x="50" y="190"/>
                    </a:lnTo>
                    <a:lnTo>
                      <a:pt x="50" y="190"/>
                    </a:lnTo>
                    <a:lnTo>
                      <a:pt x="50" y="190"/>
                    </a:lnTo>
                    <a:lnTo>
                      <a:pt x="45" y="185"/>
                    </a:lnTo>
                    <a:lnTo>
                      <a:pt x="45" y="185"/>
                    </a:lnTo>
                    <a:lnTo>
                      <a:pt x="45" y="185"/>
                    </a:lnTo>
                    <a:lnTo>
                      <a:pt x="45" y="190"/>
                    </a:lnTo>
                    <a:lnTo>
                      <a:pt x="45" y="190"/>
                    </a:lnTo>
                    <a:lnTo>
                      <a:pt x="45" y="190"/>
                    </a:lnTo>
                    <a:lnTo>
                      <a:pt x="45" y="190"/>
                    </a:lnTo>
                    <a:lnTo>
                      <a:pt x="45" y="190"/>
                    </a:lnTo>
                    <a:lnTo>
                      <a:pt x="41" y="190"/>
                    </a:lnTo>
                    <a:lnTo>
                      <a:pt x="41" y="190"/>
                    </a:lnTo>
                    <a:lnTo>
                      <a:pt x="41" y="190"/>
                    </a:lnTo>
                    <a:lnTo>
                      <a:pt x="41" y="185"/>
                    </a:lnTo>
                    <a:lnTo>
                      <a:pt x="41" y="185"/>
                    </a:lnTo>
                    <a:lnTo>
                      <a:pt x="41" y="185"/>
                    </a:lnTo>
                    <a:lnTo>
                      <a:pt x="41" y="185"/>
                    </a:lnTo>
                    <a:lnTo>
                      <a:pt x="41" y="185"/>
                    </a:lnTo>
                    <a:lnTo>
                      <a:pt x="41" y="185"/>
                    </a:lnTo>
                    <a:lnTo>
                      <a:pt x="41" y="185"/>
                    </a:lnTo>
                    <a:lnTo>
                      <a:pt x="41" y="185"/>
                    </a:lnTo>
                    <a:lnTo>
                      <a:pt x="41" y="185"/>
                    </a:lnTo>
                    <a:lnTo>
                      <a:pt x="41" y="185"/>
                    </a:lnTo>
                    <a:lnTo>
                      <a:pt x="41" y="185"/>
                    </a:lnTo>
                    <a:lnTo>
                      <a:pt x="41" y="181"/>
                    </a:lnTo>
                    <a:lnTo>
                      <a:pt x="41" y="185"/>
                    </a:lnTo>
                    <a:lnTo>
                      <a:pt x="36" y="181"/>
                    </a:lnTo>
                    <a:lnTo>
                      <a:pt x="32" y="181"/>
                    </a:lnTo>
                    <a:lnTo>
                      <a:pt x="32" y="181"/>
                    </a:lnTo>
                    <a:lnTo>
                      <a:pt x="32" y="181"/>
                    </a:lnTo>
                    <a:lnTo>
                      <a:pt x="32" y="181"/>
                    </a:lnTo>
                    <a:lnTo>
                      <a:pt x="27" y="181"/>
                    </a:lnTo>
                    <a:lnTo>
                      <a:pt x="27" y="181"/>
                    </a:lnTo>
                    <a:lnTo>
                      <a:pt x="27" y="181"/>
                    </a:lnTo>
                    <a:lnTo>
                      <a:pt x="27" y="176"/>
                    </a:lnTo>
                    <a:lnTo>
                      <a:pt x="27" y="176"/>
                    </a:lnTo>
                    <a:lnTo>
                      <a:pt x="27" y="176"/>
                    </a:lnTo>
                    <a:lnTo>
                      <a:pt x="23" y="176"/>
                    </a:lnTo>
                    <a:lnTo>
                      <a:pt x="23" y="172"/>
                    </a:lnTo>
                    <a:lnTo>
                      <a:pt x="23" y="172"/>
                    </a:lnTo>
                    <a:lnTo>
                      <a:pt x="27" y="167"/>
                    </a:lnTo>
                    <a:lnTo>
                      <a:pt x="27" y="167"/>
                    </a:lnTo>
                    <a:lnTo>
                      <a:pt x="27" y="167"/>
                    </a:lnTo>
                    <a:lnTo>
                      <a:pt x="27" y="163"/>
                    </a:lnTo>
                    <a:lnTo>
                      <a:pt x="27" y="163"/>
                    </a:lnTo>
                    <a:lnTo>
                      <a:pt x="27" y="163"/>
                    </a:lnTo>
                    <a:lnTo>
                      <a:pt x="27" y="163"/>
                    </a:lnTo>
                    <a:lnTo>
                      <a:pt x="27" y="163"/>
                    </a:lnTo>
                    <a:lnTo>
                      <a:pt x="27" y="163"/>
                    </a:lnTo>
                    <a:lnTo>
                      <a:pt x="27" y="163"/>
                    </a:lnTo>
                    <a:lnTo>
                      <a:pt x="27" y="163"/>
                    </a:lnTo>
                    <a:lnTo>
                      <a:pt x="27" y="163"/>
                    </a:lnTo>
                    <a:lnTo>
                      <a:pt x="27" y="163"/>
                    </a:lnTo>
                    <a:lnTo>
                      <a:pt x="27" y="158"/>
                    </a:lnTo>
                    <a:lnTo>
                      <a:pt x="27" y="158"/>
                    </a:lnTo>
                    <a:lnTo>
                      <a:pt x="27" y="158"/>
                    </a:lnTo>
                    <a:lnTo>
                      <a:pt x="23" y="158"/>
                    </a:lnTo>
                    <a:lnTo>
                      <a:pt x="23" y="153"/>
                    </a:lnTo>
                    <a:lnTo>
                      <a:pt x="23" y="153"/>
                    </a:lnTo>
                    <a:lnTo>
                      <a:pt x="23" y="149"/>
                    </a:lnTo>
                    <a:lnTo>
                      <a:pt x="23" y="149"/>
                    </a:lnTo>
                    <a:lnTo>
                      <a:pt x="23" y="149"/>
                    </a:lnTo>
                    <a:lnTo>
                      <a:pt x="23" y="144"/>
                    </a:lnTo>
                    <a:lnTo>
                      <a:pt x="18" y="144"/>
                    </a:lnTo>
                    <a:lnTo>
                      <a:pt x="18" y="144"/>
                    </a:lnTo>
                    <a:lnTo>
                      <a:pt x="18" y="140"/>
                    </a:lnTo>
                    <a:lnTo>
                      <a:pt x="18" y="140"/>
                    </a:lnTo>
                    <a:lnTo>
                      <a:pt x="18" y="140"/>
                    </a:lnTo>
                    <a:lnTo>
                      <a:pt x="18" y="140"/>
                    </a:lnTo>
                    <a:lnTo>
                      <a:pt x="23" y="135"/>
                    </a:lnTo>
                    <a:lnTo>
                      <a:pt x="23" y="135"/>
                    </a:lnTo>
                    <a:lnTo>
                      <a:pt x="23" y="131"/>
                    </a:lnTo>
                    <a:lnTo>
                      <a:pt x="23" y="131"/>
                    </a:lnTo>
                    <a:lnTo>
                      <a:pt x="23" y="131"/>
                    </a:lnTo>
                    <a:lnTo>
                      <a:pt x="23" y="131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32" y="131"/>
                    </a:lnTo>
                    <a:lnTo>
                      <a:pt x="32" y="126"/>
                    </a:lnTo>
                    <a:lnTo>
                      <a:pt x="32" y="126"/>
                    </a:lnTo>
                    <a:lnTo>
                      <a:pt x="32" y="126"/>
                    </a:lnTo>
                    <a:lnTo>
                      <a:pt x="32" y="126"/>
                    </a:lnTo>
                    <a:lnTo>
                      <a:pt x="32" y="126"/>
                    </a:lnTo>
                    <a:lnTo>
                      <a:pt x="32" y="126"/>
                    </a:lnTo>
                    <a:lnTo>
                      <a:pt x="32" y="126"/>
                    </a:lnTo>
                    <a:lnTo>
                      <a:pt x="32" y="126"/>
                    </a:lnTo>
                    <a:lnTo>
                      <a:pt x="32" y="126"/>
                    </a:lnTo>
                    <a:lnTo>
                      <a:pt x="36" y="122"/>
                    </a:lnTo>
                    <a:lnTo>
                      <a:pt x="36" y="122"/>
                    </a:lnTo>
                    <a:lnTo>
                      <a:pt x="36" y="122"/>
                    </a:lnTo>
                    <a:lnTo>
                      <a:pt x="41" y="117"/>
                    </a:lnTo>
                    <a:lnTo>
                      <a:pt x="41" y="117"/>
                    </a:lnTo>
                    <a:lnTo>
                      <a:pt x="41" y="117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54" y="104"/>
                    </a:lnTo>
                    <a:lnTo>
                      <a:pt x="54" y="104"/>
                    </a:lnTo>
                    <a:lnTo>
                      <a:pt x="59" y="99"/>
                    </a:lnTo>
                    <a:lnTo>
                      <a:pt x="59" y="99"/>
                    </a:lnTo>
                    <a:lnTo>
                      <a:pt x="59" y="99"/>
                    </a:lnTo>
                    <a:lnTo>
                      <a:pt x="59" y="99"/>
                    </a:lnTo>
                    <a:lnTo>
                      <a:pt x="63" y="99"/>
                    </a:lnTo>
                    <a:lnTo>
                      <a:pt x="63" y="99"/>
                    </a:lnTo>
                    <a:lnTo>
                      <a:pt x="63" y="99"/>
                    </a:lnTo>
                    <a:lnTo>
                      <a:pt x="68" y="99"/>
                    </a:lnTo>
                    <a:lnTo>
                      <a:pt x="68" y="99"/>
                    </a:lnTo>
                    <a:lnTo>
                      <a:pt x="63" y="95"/>
                    </a:lnTo>
                    <a:lnTo>
                      <a:pt x="63" y="95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3" y="95"/>
                    </a:lnTo>
                    <a:lnTo>
                      <a:pt x="63" y="90"/>
                    </a:lnTo>
                    <a:lnTo>
                      <a:pt x="63" y="90"/>
                    </a:lnTo>
                    <a:lnTo>
                      <a:pt x="63" y="86"/>
                    </a:lnTo>
                    <a:lnTo>
                      <a:pt x="63" y="86"/>
                    </a:lnTo>
                    <a:lnTo>
                      <a:pt x="59" y="86"/>
                    </a:lnTo>
                    <a:lnTo>
                      <a:pt x="59" y="86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0" y="81"/>
                    </a:lnTo>
                    <a:lnTo>
                      <a:pt x="50" y="81"/>
                    </a:lnTo>
                    <a:lnTo>
                      <a:pt x="50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2"/>
                    </a:lnTo>
                    <a:lnTo>
                      <a:pt x="45" y="72"/>
                    </a:lnTo>
                    <a:lnTo>
                      <a:pt x="45" y="72"/>
                    </a:lnTo>
                    <a:lnTo>
                      <a:pt x="41" y="72"/>
                    </a:lnTo>
                    <a:lnTo>
                      <a:pt x="41" y="72"/>
                    </a:lnTo>
                    <a:lnTo>
                      <a:pt x="41" y="68"/>
                    </a:lnTo>
                    <a:lnTo>
                      <a:pt x="41" y="68"/>
                    </a:lnTo>
                    <a:lnTo>
                      <a:pt x="45" y="68"/>
                    </a:lnTo>
                    <a:lnTo>
                      <a:pt x="45" y="68"/>
                    </a:lnTo>
                    <a:lnTo>
                      <a:pt x="45" y="68"/>
                    </a:lnTo>
                    <a:lnTo>
                      <a:pt x="45" y="63"/>
                    </a:lnTo>
                    <a:lnTo>
                      <a:pt x="45" y="63"/>
                    </a:lnTo>
                    <a:lnTo>
                      <a:pt x="45" y="63"/>
                    </a:lnTo>
                    <a:lnTo>
                      <a:pt x="45" y="63"/>
                    </a:lnTo>
                    <a:lnTo>
                      <a:pt x="45" y="59"/>
                    </a:lnTo>
                    <a:lnTo>
                      <a:pt x="45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27" y="36"/>
                    </a:lnTo>
                    <a:lnTo>
                      <a:pt x="27" y="31"/>
                    </a:lnTo>
                    <a:lnTo>
                      <a:pt x="27" y="31"/>
                    </a:lnTo>
                    <a:lnTo>
                      <a:pt x="23" y="31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5" y="18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7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41" y="22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9" y="22"/>
                    </a:lnTo>
                    <a:lnTo>
                      <a:pt x="59" y="22"/>
                    </a:lnTo>
                    <a:lnTo>
                      <a:pt x="59" y="22"/>
                    </a:lnTo>
                    <a:lnTo>
                      <a:pt x="59" y="22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59" y="13"/>
                    </a:lnTo>
                    <a:lnTo>
                      <a:pt x="59" y="13"/>
                    </a:lnTo>
                    <a:lnTo>
                      <a:pt x="59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7" y="4"/>
                    </a:lnTo>
                    <a:lnTo>
                      <a:pt x="77" y="0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86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35" name="Freeform 56"/>
              <p:cNvSpPr>
                <a:spLocks noEditPoints="1"/>
              </p:cNvSpPr>
              <p:nvPr/>
            </p:nvSpPr>
            <p:spPr bwMode="auto">
              <a:xfrm>
                <a:off x="9053513" y="3548064"/>
                <a:ext cx="100013" cy="71438"/>
              </a:xfrm>
              <a:custGeom>
                <a:avLst/>
                <a:gdLst>
                  <a:gd name="T0" fmla="*/ 23 w 63"/>
                  <a:gd name="T1" fmla="*/ 23 h 45"/>
                  <a:gd name="T2" fmla="*/ 23 w 63"/>
                  <a:gd name="T3" fmla="*/ 27 h 45"/>
                  <a:gd name="T4" fmla="*/ 27 w 63"/>
                  <a:gd name="T5" fmla="*/ 27 h 45"/>
                  <a:gd name="T6" fmla="*/ 27 w 63"/>
                  <a:gd name="T7" fmla="*/ 32 h 45"/>
                  <a:gd name="T8" fmla="*/ 27 w 63"/>
                  <a:gd name="T9" fmla="*/ 32 h 45"/>
                  <a:gd name="T10" fmla="*/ 27 w 63"/>
                  <a:gd name="T11" fmla="*/ 36 h 45"/>
                  <a:gd name="T12" fmla="*/ 23 w 63"/>
                  <a:gd name="T13" fmla="*/ 41 h 45"/>
                  <a:gd name="T14" fmla="*/ 23 w 63"/>
                  <a:gd name="T15" fmla="*/ 41 h 45"/>
                  <a:gd name="T16" fmla="*/ 18 w 63"/>
                  <a:gd name="T17" fmla="*/ 41 h 45"/>
                  <a:gd name="T18" fmla="*/ 14 w 63"/>
                  <a:gd name="T19" fmla="*/ 45 h 45"/>
                  <a:gd name="T20" fmla="*/ 9 w 63"/>
                  <a:gd name="T21" fmla="*/ 45 h 45"/>
                  <a:gd name="T22" fmla="*/ 9 w 63"/>
                  <a:gd name="T23" fmla="*/ 41 h 45"/>
                  <a:gd name="T24" fmla="*/ 5 w 63"/>
                  <a:gd name="T25" fmla="*/ 41 h 45"/>
                  <a:gd name="T26" fmla="*/ 0 w 63"/>
                  <a:gd name="T27" fmla="*/ 41 h 45"/>
                  <a:gd name="T28" fmla="*/ 5 w 63"/>
                  <a:gd name="T29" fmla="*/ 36 h 45"/>
                  <a:gd name="T30" fmla="*/ 5 w 63"/>
                  <a:gd name="T31" fmla="*/ 32 h 45"/>
                  <a:gd name="T32" fmla="*/ 5 w 63"/>
                  <a:gd name="T33" fmla="*/ 32 h 45"/>
                  <a:gd name="T34" fmla="*/ 5 w 63"/>
                  <a:gd name="T35" fmla="*/ 32 h 45"/>
                  <a:gd name="T36" fmla="*/ 9 w 63"/>
                  <a:gd name="T37" fmla="*/ 32 h 45"/>
                  <a:gd name="T38" fmla="*/ 9 w 63"/>
                  <a:gd name="T39" fmla="*/ 27 h 45"/>
                  <a:gd name="T40" fmla="*/ 18 w 63"/>
                  <a:gd name="T41" fmla="*/ 23 h 45"/>
                  <a:gd name="T42" fmla="*/ 23 w 63"/>
                  <a:gd name="T43" fmla="*/ 23 h 45"/>
                  <a:gd name="T44" fmla="*/ 23 w 63"/>
                  <a:gd name="T45" fmla="*/ 23 h 45"/>
                  <a:gd name="T46" fmla="*/ 63 w 63"/>
                  <a:gd name="T47" fmla="*/ 0 h 45"/>
                  <a:gd name="T48" fmla="*/ 59 w 63"/>
                  <a:gd name="T49" fmla="*/ 0 h 45"/>
                  <a:gd name="T50" fmla="*/ 59 w 63"/>
                  <a:gd name="T51" fmla="*/ 5 h 45"/>
                  <a:gd name="T52" fmla="*/ 54 w 63"/>
                  <a:gd name="T53" fmla="*/ 9 h 45"/>
                  <a:gd name="T54" fmla="*/ 54 w 63"/>
                  <a:gd name="T55" fmla="*/ 9 h 45"/>
                  <a:gd name="T56" fmla="*/ 59 w 63"/>
                  <a:gd name="T57" fmla="*/ 5 h 45"/>
                  <a:gd name="T58" fmla="*/ 59 w 63"/>
                  <a:gd name="T59" fmla="*/ 9 h 45"/>
                  <a:gd name="T60" fmla="*/ 59 w 63"/>
                  <a:gd name="T61" fmla="*/ 9 h 45"/>
                  <a:gd name="T62" fmla="*/ 54 w 63"/>
                  <a:gd name="T63" fmla="*/ 9 h 45"/>
                  <a:gd name="T64" fmla="*/ 50 w 63"/>
                  <a:gd name="T65" fmla="*/ 14 h 45"/>
                  <a:gd name="T66" fmla="*/ 50 w 63"/>
                  <a:gd name="T67" fmla="*/ 14 h 45"/>
                  <a:gd name="T68" fmla="*/ 50 w 63"/>
                  <a:gd name="T69" fmla="*/ 9 h 45"/>
                  <a:gd name="T70" fmla="*/ 45 w 63"/>
                  <a:gd name="T71" fmla="*/ 9 h 45"/>
                  <a:gd name="T72" fmla="*/ 41 w 63"/>
                  <a:gd name="T73" fmla="*/ 14 h 45"/>
                  <a:gd name="T74" fmla="*/ 41 w 63"/>
                  <a:gd name="T75" fmla="*/ 14 h 45"/>
                  <a:gd name="T76" fmla="*/ 36 w 63"/>
                  <a:gd name="T77" fmla="*/ 14 h 45"/>
                  <a:gd name="T78" fmla="*/ 36 w 63"/>
                  <a:gd name="T79" fmla="*/ 14 h 45"/>
                  <a:gd name="T80" fmla="*/ 36 w 63"/>
                  <a:gd name="T81" fmla="*/ 9 h 45"/>
                  <a:gd name="T82" fmla="*/ 36 w 63"/>
                  <a:gd name="T83" fmla="*/ 9 h 45"/>
                  <a:gd name="T84" fmla="*/ 36 w 63"/>
                  <a:gd name="T85" fmla="*/ 9 h 45"/>
                  <a:gd name="T86" fmla="*/ 36 w 63"/>
                  <a:gd name="T87" fmla="*/ 9 h 45"/>
                  <a:gd name="T88" fmla="*/ 41 w 63"/>
                  <a:gd name="T89" fmla="*/ 9 h 45"/>
                  <a:gd name="T90" fmla="*/ 41 w 63"/>
                  <a:gd name="T91" fmla="*/ 5 h 45"/>
                  <a:gd name="T92" fmla="*/ 45 w 63"/>
                  <a:gd name="T93" fmla="*/ 5 h 45"/>
                  <a:gd name="T94" fmla="*/ 50 w 63"/>
                  <a:gd name="T95" fmla="*/ 5 h 45"/>
                  <a:gd name="T96" fmla="*/ 54 w 63"/>
                  <a:gd name="T97" fmla="*/ 0 h 45"/>
                  <a:gd name="T98" fmla="*/ 59 w 63"/>
                  <a:gd name="T99" fmla="*/ 0 h 45"/>
                  <a:gd name="T100" fmla="*/ 59 w 63"/>
                  <a:gd name="T101" fmla="*/ 0 h 45"/>
                  <a:gd name="T102" fmla="*/ 63 w 63"/>
                  <a:gd name="T10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3" h="45">
                    <a:moveTo>
                      <a:pt x="23" y="23"/>
                    </a:moveTo>
                    <a:lnTo>
                      <a:pt x="23" y="23"/>
                    </a:lnTo>
                    <a:lnTo>
                      <a:pt x="23" y="23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9" y="41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0" y="41"/>
                    </a:lnTo>
                    <a:lnTo>
                      <a:pt x="0" y="36"/>
                    </a:lnTo>
                    <a:lnTo>
                      <a:pt x="5" y="36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14" y="27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3"/>
                    </a:lnTo>
                    <a:moveTo>
                      <a:pt x="63" y="0"/>
                    </a:moveTo>
                    <a:lnTo>
                      <a:pt x="63" y="0"/>
                    </a:lnTo>
                    <a:lnTo>
                      <a:pt x="59" y="0"/>
                    </a:lnTo>
                    <a:lnTo>
                      <a:pt x="59" y="5"/>
                    </a:lnTo>
                    <a:lnTo>
                      <a:pt x="59" y="5"/>
                    </a:lnTo>
                    <a:lnTo>
                      <a:pt x="54" y="5"/>
                    </a:lnTo>
                    <a:lnTo>
                      <a:pt x="54" y="9"/>
                    </a:lnTo>
                    <a:lnTo>
                      <a:pt x="50" y="9"/>
                    </a:lnTo>
                    <a:lnTo>
                      <a:pt x="54" y="9"/>
                    </a:lnTo>
                    <a:lnTo>
                      <a:pt x="59" y="5"/>
                    </a:lnTo>
                    <a:lnTo>
                      <a:pt x="59" y="5"/>
                    </a:lnTo>
                    <a:lnTo>
                      <a:pt x="59" y="5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63" y="0"/>
                    </a:lnTo>
                    <a:lnTo>
                      <a:pt x="63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36" name="Freeform 57"/>
              <p:cNvSpPr>
                <a:spLocks noEditPoints="1"/>
              </p:cNvSpPr>
              <p:nvPr/>
            </p:nvSpPr>
            <p:spPr bwMode="auto">
              <a:xfrm>
                <a:off x="2943226" y="4518026"/>
                <a:ext cx="65088" cy="28575"/>
              </a:xfrm>
              <a:custGeom>
                <a:avLst/>
                <a:gdLst>
                  <a:gd name="T0" fmla="*/ 5 w 41"/>
                  <a:gd name="T1" fmla="*/ 4 h 18"/>
                  <a:gd name="T2" fmla="*/ 5 w 41"/>
                  <a:gd name="T3" fmla="*/ 0 h 18"/>
                  <a:gd name="T4" fmla="*/ 9 w 41"/>
                  <a:gd name="T5" fmla="*/ 0 h 18"/>
                  <a:gd name="T6" fmla="*/ 9 w 41"/>
                  <a:gd name="T7" fmla="*/ 0 h 18"/>
                  <a:gd name="T8" fmla="*/ 14 w 41"/>
                  <a:gd name="T9" fmla="*/ 0 h 18"/>
                  <a:gd name="T10" fmla="*/ 18 w 41"/>
                  <a:gd name="T11" fmla="*/ 0 h 18"/>
                  <a:gd name="T12" fmla="*/ 18 w 41"/>
                  <a:gd name="T13" fmla="*/ 0 h 18"/>
                  <a:gd name="T14" fmla="*/ 18 w 41"/>
                  <a:gd name="T15" fmla="*/ 4 h 18"/>
                  <a:gd name="T16" fmla="*/ 14 w 41"/>
                  <a:gd name="T17" fmla="*/ 4 h 18"/>
                  <a:gd name="T18" fmla="*/ 14 w 41"/>
                  <a:gd name="T19" fmla="*/ 9 h 18"/>
                  <a:gd name="T20" fmla="*/ 14 w 41"/>
                  <a:gd name="T21" fmla="*/ 13 h 18"/>
                  <a:gd name="T22" fmla="*/ 9 w 41"/>
                  <a:gd name="T23" fmla="*/ 13 h 18"/>
                  <a:gd name="T24" fmla="*/ 9 w 41"/>
                  <a:gd name="T25" fmla="*/ 13 h 18"/>
                  <a:gd name="T26" fmla="*/ 9 w 41"/>
                  <a:gd name="T27" fmla="*/ 13 h 18"/>
                  <a:gd name="T28" fmla="*/ 5 w 41"/>
                  <a:gd name="T29" fmla="*/ 18 h 18"/>
                  <a:gd name="T30" fmla="*/ 5 w 41"/>
                  <a:gd name="T31" fmla="*/ 18 h 18"/>
                  <a:gd name="T32" fmla="*/ 0 w 41"/>
                  <a:gd name="T33" fmla="*/ 13 h 18"/>
                  <a:gd name="T34" fmla="*/ 5 w 41"/>
                  <a:gd name="T35" fmla="*/ 13 h 18"/>
                  <a:gd name="T36" fmla="*/ 5 w 41"/>
                  <a:gd name="T37" fmla="*/ 9 h 18"/>
                  <a:gd name="T38" fmla="*/ 5 w 41"/>
                  <a:gd name="T39" fmla="*/ 9 h 18"/>
                  <a:gd name="T40" fmla="*/ 5 w 41"/>
                  <a:gd name="T41" fmla="*/ 9 h 18"/>
                  <a:gd name="T42" fmla="*/ 5 w 41"/>
                  <a:gd name="T43" fmla="*/ 9 h 18"/>
                  <a:gd name="T44" fmla="*/ 0 w 41"/>
                  <a:gd name="T45" fmla="*/ 9 h 18"/>
                  <a:gd name="T46" fmla="*/ 5 w 41"/>
                  <a:gd name="T47" fmla="*/ 9 h 18"/>
                  <a:gd name="T48" fmla="*/ 5 w 41"/>
                  <a:gd name="T49" fmla="*/ 4 h 18"/>
                  <a:gd name="T50" fmla="*/ 0 w 41"/>
                  <a:gd name="T51" fmla="*/ 4 h 18"/>
                  <a:gd name="T52" fmla="*/ 0 w 41"/>
                  <a:gd name="T53" fmla="*/ 4 h 18"/>
                  <a:gd name="T54" fmla="*/ 0 w 41"/>
                  <a:gd name="T55" fmla="*/ 0 h 18"/>
                  <a:gd name="T56" fmla="*/ 0 w 41"/>
                  <a:gd name="T57" fmla="*/ 0 h 18"/>
                  <a:gd name="T58" fmla="*/ 23 w 41"/>
                  <a:gd name="T59" fmla="*/ 0 h 18"/>
                  <a:gd name="T60" fmla="*/ 23 w 41"/>
                  <a:gd name="T61" fmla="*/ 0 h 18"/>
                  <a:gd name="T62" fmla="*/ 27 w 41"/>
                  <a:gd name="T63" fmla="*/ 0 h 18"/>
                  <a:gd name="T64" fmla="*/ 27 w 41"/>
                  <a:gd name="T65" fmla="*/ 0 h 18"/>
                  <a:gd name="T66" fmla="*/ 27 w 41"/>
                  <a:gd name="T67" fmla="*/ 0 h 18"/>
                  <a:gd name="T68" fmla="*/ 27 w 41"/>
                  <a:gd name="T69" fmla="*/ 0 h 18"/>
                  <a:gd name="T70" fmla="*/ 32 w 41"/>
                  <a:gd name="T71" fmla="*/ 4 h 18"/>
                  <a:gd name="T72" fmla="*/ 32 w 41"/>
                  <a:gd name="T73" fmla="*/ 0 h 18"/>
                  <a:gd name="T74" fmla="*/ 32 w 41"/>
                  <a:gd name="T75" fmla="*/ 0 h 18"/>
                  <a:gd name="T76" fmla="*/ 36 w 41"/>
                  <a:gd name="T77" fmla="*/ 0 h 18"/>
                  <a:gd name="T78" fmla="*/ 36 w 41"/>
                  <a:gd name="T79" fmla="*/ 0 h 18"/>
                  <a:gd name="T80" fmla="*/ 36 w 41"/>
                  <a:gd name="T81" fmla="*/ 4 h 18"/>
                  <a:gd name="T82" fmla="*/ 41 w 41"/>
                  <a:gd name="T83" fmla="*/ 4 h 18"/>
                  <a:gd name="T84" fmla="*/ 41 w 41"/>
                  <a:gd name="T85" fmla="*/ 4 h 18"/>
                  <a:gd name="T86" fmla="*/ 36 w 41"/>
                  <a:gd name="T87" fmla="*/ 9 h 18"/>
                  <a:gd name="T88" fmla="*/ 36 w 41"/>
                  <a:gd name="T89" fmla="*/ 9 h 18"/>
                  <a:gd name="T90" fmla="*/ 32 w 41"/>
                  <a:gd name="T91" fmla="*/ 13 h 18"/>
                  <a:gd name="T92" fmla="*/ 32 w 41"/>
                  <a:gd name="T93" fmla="*/ 13 h 18"/>
                  <a:gd name="T94" fmla="*/ 23 w 41"/>
                  <a:gd name="T95" fmla="*/ 13 h 18"/>
                  <a:gd name="T96" fmla="*/ 27 w 41"/>
                  <a:gd name="T97" fmla="*/ 13 h 18"/>
                  <a:gd name="T98" fmla="*/ 23 w 41"/>
                  <a:gd name="T99" fmla="*/ 13 h 18"/>
                  <a:gd name="T100" fmla="*/ 23 w 41"/>
                  <a:gd name="T101" fmla="*/ 18 h 18"/>
                  <a:gd name="T102" fmla="*/ 18 w 41"/>
                  <a:gd name="T103" fmla="*/ 13 h 18"/>
                  <a:gd name="T104" fmla="*/ 18 w 41"/>
                  <a:gd name="T105" fmla="*/ 9 h 18"/>
                  <a:gd name="T106" fmla="*/ 18 w 41"/>
                  <a:gd name="T107" fmla="*/ 9 h 18"/>
                  <a:gd name="T108" fmla="*/ 23 w 41"/>
                  <a:gd name="T109" fmla="*/ 4 h 18"/>
                  <a:gd name="T110" fmla="*/ 23 w 41"/>
                  <a:gd name="T111" fmla="*/ 4 h 18"/>
                  <a:gd name="T112" fmla="*/ 18 w 41"/>
                  <a:gd name="T113" fmla="*/ 4 h 18"/>
                  <a:gd name="T114" fmla="*/ 23 w 41"/>
                  <a:gd name="T1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1" h="18">
                    <a:moveTo>
                      <a:pt x="5" y="4"/>
                    </a:moveTo>
                    <a:lnTo>
                      <a:pt x="5" y="4"/>
                    </a:lnTo>
                    <a:lnTo>
                      <a:pt x="5" y="4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9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4"/>
                    </a:lnTo>
                    <a:moveTo>
                      <a:pt x="23" y="0"/>
                    </a:moveTo>
                    <a:lnTo>
                      <a:pt x="23" y="0"/>
                    </a:lnTo>
                    <a:lnTo>
                      <a:pt x="23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36" y="4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37" name="Freeform 58"/>
              <p:cNvSpPr>
                <a:spLocks noEditPoints="1"/>
              </p:cNvSpPr>
              <p:nvPr/>
            </p:nvSpPr>
            <p:spPr bwMode="auto">
              <a:xfrm>
                <a:off x="2757488" y="1423989"/>
                <a:ext cx="1778000" cy="1457325"/>
              </a:xfrm>
              <a:custGeom>
                <a:avLst/>
                <a:gdLst>
                  <a:gd name="T0" fmla="*/ 45 w 1120"/>
                  <a:gd name="T1" fmla="*/ 877 h 918"/>
                  <a:gd name="T2" fmla="*/ 49 w 1120"/>
                  <a:gd name="T3" fmla="*/ 886 h 918"/>
                  <a:gd name="T4" fmla="*/ 36 w 1120"/>
                  <a:gd name="T5" fmla="*/ 900 h 918"/>
                  <a:gd name="T6" fmla="*/ 27 w 1120"/>
                  <a:gd name="T7" fmla="*/ 918 h 918"/>
                  <a:gd name="T8" fmla="*/ 18 w 1120"/>
                  <a:gd name="T9" fmla="*/ 918 h 918"/>
                  <a:gd name="T10" fmla="*/ 4 w 1120"/>
                  <a:gd name="T11" fmla="*/ 918 h 918"/>
                  <a:gd name="T12" fmla="*/ 4 w 1120"/>
                  <a:gd name="T13" fmla="*/ 909 h 918"/>
                  <a:gd name="T14" fmla="*/ 9 w 1120"/>
                  <a:gd name="T15" fmla="*/ 891 h 918"/>
                  <a:gd name="T16" fmla="*/ 4 w 1120"/>
                  <a:gd name="T17" fmla="*/ 873 h 918"/>
                  <a:gd name="T18" fmla="*/ 13 w 1120"/>
                  <a:gd name="T19" fmla="*/ 850 h 918"/>
                  <a:gd name="T20" fmla="*/ 1120 w 1120"/>
                  <a:gd name="T21" fmla="*/ 158 h 918"/>
                  <a:gd name="T22" fmla="*/ 1111 w 1120"/>
                  <a:gd name="T23" fmla="*/ 181 h 918"/>
                  <a:gd name="T24" fmla="*/ 1107 w 1120"/>
                  <a:gd name="T25" fmla="*/ 172 h 918"/>
                  <a:gd name="T26" fmla="*/ 1107 w 1120"/>
                  <a:gd name="T27" fmla="*/ 167 h 918"/>
                  <a:gd name="T28" fmla="*/ 1116 w 1120"/>
                  <a:gd name="T29" fmla="*/ 158 h 918"/>
                  <a:gd name="T30" fmla="*/ 1021 w 1120"/>
                  <a:gd name="T31" fmla="*/ 9 h 918"/>
                  <a:gd name="T32" fmla="*/ 1030 w 1120"/>
                  <a:gd name="T33" fmla="*/ 14 h 918"/>
                  <a:gd name="T34" fmla="*/ 1043 w 1120"/>
                  <a:gd name="T35" fmla="*/ 18 h 918"/>
                  <a:gd name="T36" fmla="*/ 1048 w 1120"/>
                  <a:gd name="T37" fmla="*/ 23 h 918"/>
                  <a:gd name="T38" fmla="*/ 1052 w 1120"/>
                  <a:gd name="T39" fmla="*/ 27 h 918"/>
                  <a:gd name="T40" fmla="*/ 1066 w 1120"/>
                  <a:gd name="T41" fmla="*/ 32 h 918"/>
                  <a:gd name="T42" fmla="*/ 1075 w 1120"/>
                  <a:gd name="T43" fmla="*/ 32 h 918"/>
                  <a:gd name="T44" fmla="*/ 1084 w 1120"/>
                  <a:gd name="T45" fmla="*/ 36 h 918"/>
                  <a:gd name="T46" fmla="*/ 1098 w 1120"/>
                  <a:gd name="T47" fmla="*/ 41 h 918"/>
                  <a:gd name="T48" fmla="*/ 1093 w 1120"/>
                  <a:gd name="T49" fmla="*/ 59 h 918"/>
                  <a:gd name="T50" fmla="*/ 1084 w 1120"/>
                  <a:gd name="T51" fmla="*/ 68 h 918"/>
                  <a:gd name="T52" fmla="*/ 1079 w 1120"/>
                  <a:gd name="T53" fmla="*/ 77 h 918"/>
                  <a:gd name="T54" fmla="*/ 1066 w 1120"/>
                  <a:gd name="T55" fmla="*/ 86 h 918"/>
                  <a:gd name="T56" fmla="*/ 1070 w 1120"/>
                  <a:gd name="T57" fmla="*/ 90 h 918"/>
                  <a:gd name="T58" fmla="*/ 1079 w 1120"/>
                  <a:gd name="T59" fmla="*/ 95 h 918"/>
                  <a:gd name="T60" fmla="*/ 1079 w 1120"/>
                  <a:gd name="T61" fmla="*/ 104 h 918"/>
                  <a:gd name="T62" fmla="*/ 1075 w 1120"/>
                  <a:gd name="T63" fmla="*/ 113 h 918"/>
                  <a:gd name="T64" fmla="*/ 1079 w 1120"/>
                  <a:gd name="T65" fmla="*/ 122 h 918"/>
                  <a:gd name="T66" fmla="*/ 1089 w 1120"/>
                  <a:gd name="T67" fmla="*/ 131 h 918"/>
                  <a:gd name="T68" fmla="*/ 1089 w 1120"/>
                  <a:gd name="T69" fmla="*/ 140 h 918"/>
                  <a:gd name="T70" fmla="*/ 1070 w 1120"/>
                  <a:gd name="T71" fmla="*/ 149 h 918"/>
                  <a:gd name="T72" fmla="*/ 1048 w 1120"/>
                  <a:gd name="T73" fmla="*/ 145 h 918"/>
                  <a:gd name="T74" fmla="*/ 1039 w 1120"/>
                  <a:gd name="T75" fmla="*/ 145 h 918"/>
                  <a:gd name="T76" fmla="*/ 1021 w 1120"/>
                  <a:gd name="T77" fmla="*/ 163 h 918"/>
                  <a:gd name="T78" fmla="*/ 1012 w 1120"/>
                  <a:gd name="T79" fmla="*/ 167 h 918"/>
                  <a:gd name="T80" fmla="*/ 998 w 1120"/>
                  <a:gd name="T81" fmla="*/ 163 h 918"/>
                  <a:gd name="T82" fmla="*/ 985 w 1120"/>
                  <a:gd name="T83" fmla="*/ 154 h 918"/>
                  <a:gd name="T84" fmla="*/ 971 w 1120"/>
                  <a:gd name="T85" fmla="*/ 158 h 918"/>
                  <a:gd name="T86" fmla="*/ 958 w 1120"/>
                  <a:gd name="T87" fmla="*/ 154 h 918"/>
                  <a:gd name="T88" fmla="*/ 948 w 1120"/>
                  <a:gd name="T89" fmla="*/ 149 h 918"/>
                  <a:gd name="T90" fmla="*/ 948 w 1120"/>
                  <a:gd name="T91" fmla="*/ 140 h 918"/>
                  <a:gd name="T92" fmla="*/ 962 w 1120"/>
                  <a:gd name="T93" fmla="*/ 108 h 918"/>
                  <a:gd name="T94" fmla="*/ 958 w 1120"/>
                  <a:gd name="T95" fmla="*/ 99 h 918"/>
                  <a:gd name="T96" fmla="*/ 958 w 1120"/>
                  <a:gd name="T97" fmla="*/ 90 h 918"/>
                  <a:gd name="T98" fmla="*/ 948 w 1120"/>
                  <a:gd name="T99" fmla="*/ 72 h 918"/>
                  <a:gd name="T100" fmla="*/ 939 w 1120"/>
                  <a:gd name="T101" fmla="*/ 68 h 918"/>
                  <a:gd name="T102" fmla="*/ 930 w 1120"/>
                  <a:gd name="T103" fmla="*/ 63 h 918"/>
                  <a:gd name="T104" fmla="*/ 912 w 1120"/>
                  <a:gd name="T105" fmla="*/ 54 h 918"/>
                  <a:gd name="T106" fmla="*/ 912 w 1120"/>
                  <a:gd name="T107" fmla="*/ 50 h 918"/>
                  <a:gd name="T108" fmla="*/ 926 w 1120"/>
                  <a:gd name="T109" fmla="*/ 45 h 918"/>
                  <a:gd name="T110" fmla="*/ 953 w 1120"/>
                  <a:gd name="T111" fmla="*/ 45 h 918"/>
                  <a:gd name="T112" fmla="*/ 958 w 1120"/>
                  <a:gd name="T113" fmla="*/ 27 h 918"/>
                  <a:gd name="T114" fmla="*/ 980 w 1120"/>
                  <a:gd name="T115" fmla="*/ 32 h 918"/>
                  <a:gd name="T116" fmla="*/ 1003 w 1120"/>
                  <a:gd name="T117" fmla="*/ 18 h 918"/>
                  <a:gd name="T118" fmla="*/ 1021 w 1120"/>
                  <a:gd name="T119" fmla="*/ 4 h 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20" h="918">
                    <a:moveTo>
                      <a:pt x="40" y="868"/>
                    </a:moveTo>
                    <a:lnTo>
                      <a:pt x="40" y="868"/>
                    </a:lnTo>
                    <a:lnTo>
                      <a:pt x="40" y="868"/>
                    </a:lnTo>
                    <a:lnTo>
                      <a:pt x="40" y="868"/>
                    </a:lnTo>
                    <a:lnTo>
                      <a:pt x="45" y="868"/>
                    </a:lnTo>
                    <a:lnTo>
                      <a:pt x="45" y="873"/>
                    </a:lnTo>
                    <a:lnTo>
                      <a:pt x="45" y="873"/>
                    </a:lnTo>
                    <a:lnTo>
                      <a:pt x="45" y="877"/>
                    </a:lnTo>
                    <a:lnTo>
                      <a:pt x="45" y="877"/>
                    </a:lnTo>
                    <a:lnTo>
                      <a:pt x="45" y="877"/>
                    </a:lnTo>
                    <a:lnTo>
                      <a:pt x="45" y="877"/>
                    </a:lnTo>
                    <a:lnTo>
                      <a:pt x="45" y="877"/>
                    </a:lnTo>
                    <a:lnTo>
                      <a:pt x="45" y="873"/>
                    </a:lnTo>
                    <a:lnTo>
                      <a:pt x="45" y="873"/>
                    </a:lnTo>
                    <a:lnTo>
                      <a:pt x="49" y="873"/>
                    </a:lnTo>
                    <a:lnTo>
                      <a:pt x="49" y="873"/>
                    </a:lnTo>
                    <a:lnTo>
                      <a:pt x="49" y="877"/>
                    </a:lnTo>
                    <a:lnTo>
                      <a:pt x="49" y="882"/>
                    </a:lnTo>
                    <a:lnTo>
                      <a:pt x="49" y="882"/>
                    </a:lnTo>
                    <a:lnTo>
                      <a:pt x="49" y="882"/>
                    </a:lnTo>
                    <a:lnTo>
                      <a:pt x="49" y="882"/>
                    </a:lnTo>
                    <a:lnTo>
                      <a:pt x="49" y="882"/>
                    </a:lnTo>
                    <a:lnTo>
                      <a:pt x="49" y="886"/>
                    </a:lnTo>
                    <a:lnTo>
                      <a:pt x="49" y="886"/>
                    </a:lnTo>
                    <a:lnTo>
                      <a:pt x="45" y="886"/>
                    </a:lnTo>
                    <a:lnTo>
                      <a:pt x="45" y="886"/>
                    </a:lnTo>
                    <a:lnTo>
                      <a:pt x="45" y="886"/>
                    </a:lnTo>
                    <a:lnTo>
                      <a:pt x="45" y="891"/>
                    </a:lnTo>
                    <a:lnTo>
                      <a:pt x="45" y="891"/>
                    </a:lnTo>
                    <a:lnTo>
                      <a:pt x="45" y="891"/>
                    </a:lnTo>
                    <a:lnTo>
                      <a:pt x="40" y="895"/>
                    </a:lnTo>
                    <a:lnTo>
                      <a:pt x="40" y="895"/>
                    </a:lnTo>
                    <a:lnTo>
                      <a:pt x="40" y="900"/>
                    </a:lnTo>
                    <a:lnTo>
                      <a:pt x="40" y="900"/>
                    </a:lnTo>
                    <a:lnTo>
                      <a:pt x="36" y="900"/>
                    </a:lnTo>
                    <a:lnTo>
                      <a:pt x="36" y="900"/>
                    </a:lnTo>
                    <a:lnTo>
                      <a:pt x="36" y="904"/>
                    </a:lnTo>
                    <a:lnTo>
                      <a:pt x="36" y="904"/>
                    </a:lnTo>
                    <a:lnTo>
                      <a:pt x="36" y="904"/>
                    </a:lnTo>
                    <a:lnTo>
                      <a:pt x="36" y="904"/>
                    </a:lnTo>
                    <a:lnTo>
                      <a:pt x="36" y="909"/>
                    </a:lnTo>
                    <a:lnTo>
                      <a:pt x="31" y="913"/>
                    </a:lnTo>
                    <a:lnTo>
                      <a:pt x="31" y="913"/>
                    </a:lnTo>
                    <a:lnTo>
                      <a:pt x="31" y="913"/>
                    </a:lnTo>
                    <a:lnTo>
                      <a:pt x="31" y="913"/>
                    </a:lnTo>
                    <a:lnTo>
                      <a:pt x="31" y="918"/>
                    </a:lnTo>
                    <a:lnTo>
                      <a:pt x="27" y="918"/>
                    </a:lnTo>
                    <a:lnTo>
                      <a:pt x="27" y="918"/>
                    </a:lnTo>
                    <a:lnTo>
                      <a:pt x="27" y="918"/>
                    </a:lnTo>
                    <a:lnTo>
                      <a:pt x="27" y="918"/>
                    </a:lnTo>
                    <a:lnTo>
                      <a:pt x="22" y="918"/>
                    </a:lnTo>
                    <a:lnTo>
                      <a:pt x="22" y="918"/>
                    </a:lnTo>
                    <a:lnTo>
                      <a:pt x="22" y="918"/>
                    </a:lnTo>
                    <a:lnTo>
                      <a:pt x="22" y="918"/>
                    </a:lnTo>
                    <a:lnTo>
                      <a:pt x="22" y="918"/>
                    </a:lnTo>
                    <a:lnTo>
                      <a:pt x="18" y="918"/>
                    </a:lnTo>
                    <a:lnTo>
                      <a:pt x="18" y="918"/>
                    </a:lnTo>
                    <a:lnTo>
                      <a:pt x="18" y="918"/>
                    </a:lnTo>
                    <a:lnTo>
                      <a:pt x="18" y="918"/>
                    </a:lnTo>
                    <a:lnTo>
                      <a:pt x="18" y="918"/>
                    </a:lnTo>
                    <a:lnTo>
                      <a:pt x="13" y="918"/>
                    </a:lnTo>
                    <a:lnTo>
                      <a:pt x="13" y="918"/>
                    </a:lnTo>
                    <a:lnTo>
                      <a:pt x="13" y="918"/>
                    </a:lnTo>
                    <a:lnTo>
                      <a:pt x="13" y="913"/>
                    </a:lnTo>
                    <a:lnTo>
                      <a:pt x="13" y="918"/>
                    </a:lnTo>
                    <a:lnTo>
                      <a:pt x="13" y="918"/>
                    </a:lnTo>
                    <a:lnTo>
                      <a:pt x="9" y="918"/>
                    </a:lnTo>
                    <a:lnTo>
                      <a:pt x="9" y="918"/>
                    </a:lnTo>
                    <a:lnTo>
                      <a:pt x="9" y="918"/>
                    </a:lnTo>
                    <a:lnTo>
                      <a:pt x="4" y="918"/>
                    </a:lnTo>
                    <a:lnTo>
                      <a:pt x="4" y="918"/>
                    </a:lnTo>
                    <a:lnTo>
                      <a:pt x="4" y="918"/>
                    </a:lnTo>
                    <a:lnTo>
                      <a:pt x="4" y="918"/>
                    </a:lnTo>
                    <a:lnTo>
                      <a:pt x="0" y="918"/>
                    </a:lnTo>
                    <a:lnTo>
                      <a:pt x="0" y="918"/>
                    </a:lnTo>
                    <a:lnTo>
                      <a:pt x="0" y="918"/>
                    </a:lnTo>
                    <a:lnTo>
                      <a:pt x="0" y="918"/>
                    </a:lnTo>
                    <a:lnTo>
                      <a:pt x="0" y="918"/>
                    </a:lnTo>
                    <a:lnTo>
                      <a:pt x="0" y="918"/>
                    </a:lnTo>
                    <a:lnTo>
                      <a:pt x="0" y="918"/>
                    </a:lnTo>
                    <a:lnTo>
                      <a:pt x="0" y="918"/>
                    </a:lnTo>
                    <a:lnTo>
                      <a:pt x="0" y="913"/>
                    </a:lnTo>
                    <a:lnTo>
                      <a:pt x="0" y="913"/>
                    </a:lnTo>
                    <a:lnTo>
                      <a:pt x="4" y="909"/>
                    </a:lnTo>
                    <a:lnTo>
                      <a:pt x="4" y="909"/>
                    </a:lnTo>
                    <a:lnTo>
                      <a:pt x="4" y="904"/>
                    </a:lnTo>
                    <a:lnTo>
                      <a:pt x="4" y="904"/>
                    </a:lnTo>
                    <a:lnTo>
                      <a:pt x="4" y="900"/>
                    </a:lnTo>
                    <a:lnTo>
                      <a:pt x="4" y="900"/>
                    </a:lnTo>
                    <a:lnTo>
                      <a:pt x="9" y="895"/>
                    </a:lnTo>
                    <a:lnTo>
                      <a:pt x="9" y="895"/>
                    </a:lnTo>
                    <a:lnTo>
                      <a:pt x="9" y="891"/>
                    </a:lnTo>
                    <a:lnTo>
                      <a:pt x="9" y="891"/>
                    </a:lnTo>
                    <a:lnTo>
                      <a:pt x="9" y="891"/>
                    </a:lnTo>
                    <a:lnTo>
                      <a:pt x="9" y="891"/>
                    </a:lnTo>
                    <a:lnTo>
                      <a:pt x="9" y="891"/>
                    </a:lnTo>
                    <a:lnTo>
                      <a:pt x="9" y="886"/>
                    </a:lnTo>
                    <a:lnTo>
                      <a:pt x="4" y="886"/>
                    </a:lnTo>
                    <a:lnTo>
                      <a:pt x="4" y="886"/>
                    </a:lnTo>
                    <a:lnTo>
                      <a:pt x="4" y="882"/>
                    </a:lnTo>
                    <a:lnTo>
                      <a:pt x="4" y="882"/>
                    </a:lnTo>
                    <a:lnTo>
                      <a:pt x="4" y="882"/>
                    </a:lnTo>
                    <a:lnTo>
                      <a:pt x="4" y="882"/>
                    </a:lnTo>
                    <a:lnTo>
                      <a:pt x="4" y="877"/>
                    </a:lnTo>
                    <a:lnTo>
                      <a:pt x="4" y="877"/>
                    </a:lnTo>
                    <a:lnTo>
                      <a:pt x="0" y="877"/>
                    </a:lnTo>
                    <a:lnTo>
                      <a:pt x="0" y="873"/>
                    </a:lnTo>
                    <a:lnTo>
                      <a:pt x="4" y="873"/>
                    </a:lnTo>
                    <a:lnTo>
                      <a:pt x="0" y="873"/>
                    </a:lnTo>
                    <a:lnTo>
                      <a:pt x="0" y="868"/>
                    </a:lnTo>
                    <a:lnTo>
                      <a:pt x="0" y="868"/>
                    </a:lnTo>
                    <a:lnTo>
                      <a:pt x="0" y="868"/>
                    </a:lnTo>
                    <a:lnTo>
                      <a:pt x="0" y="864"/>
                    </a:lnTo>
                    <a:lnTo>
                      <a:pt x="0" y="864"/>
                    </a:lnTo>
                    <a:lnTo>
                      <a:pt x="4" y="859"/>
                    </a:lnTo>
                    <a:lnTo>
                      <a:pt x="4" y="859"/>
                    </a:lnTo>
                    <a:lnTo>
                      <a:pt x="9" y="859"/>
                    </a:lnTo>
                    <a:lnTo>
                      <a:pt x="9" y="854"/>
                    </a:lnTo>
                    <a:lnTo>
                      <a:pt x="9" y="850"/>
                    </a:lnTo>
                    <a:lnTo>
                      <a:pt x="13" y="850"/>
                    </a:lnTo>
                    <a:lnTo>
                      <a:pt x="13" y="850"/>
                    </a:lnTo>
                    <a:lnTo>
                      <a:pt x="18" y="854"/>
                    </a:lnTo>
                    <a:lnTo>
                      <a:pt x="22" y="854"/>
                    </a:lnTo>
                    <a:lnTo>
                      <a:pt x="31" y="854"/>
                    </a:lnTo>
                    <a:lnTo>
                      <a:pt x="31" y="859"/>
                    </a:lnTo>
                    <a:lnTo>
                      <a:pt x="36" y="864"/>
                    </a:lnTo>
                    <a:lnTo>
                      <a:pt x="40" y="864"/>
                    </a:lnTo>
                    <a:lnTo>
                      <a:pt x="40" y="868"/>
                    </a:lnTo>
                    <a:moveTo>
                      <a:pt x="1120" y="158"/>
                    </a:moveTo>
                    <a:lnTo>
                      <a:pt x="1120" y="158"/>
                    </a:lnTo>
                    <a:lnTo>
                      <a:pt x="1120" y="158"/>
                    </a:lnTo>
                    <a:lnTo>
                      <a:pt x="1120" y="158"/>
                    </a:lnTo>
                    <a:lnTo>
                      <a:pt x="1120" y="163"/>
                    </a:lnTo>
                    <a:lnTo>
                      <a:pt x="1120" y="163"/>
                    </a:lnTo>
                    <a:lnTo>
                      <a:pt x="1120" y="167"/>
                    </a:lnTo>
                    <a:lnTo>
                      <a:pt x="1120" y="167"/>
                    </a:lnTo>
                    <a:lnTo>
                      <a:pt x="1116" y="172"/>
                    </a:lnTo>
                    <a:lnTo>
                      <a:pt x="1116" y="172"/>
                    </a:lnTo>
                    <a:lnTo>
                      <a:pt x="1116" y="176"/>
                    </a:lnTo>
                    <a:lnTo>
                      <a:pt x="1116" y="176"/>
                    </a:lnTo>
                    <a:lnTo>
                      <a:pt x="1116" y="181"/>
                    </a:lnTo>
                    <a:lnTo>
                      <a:pt x="1116" y="181"/>
                    </a:lnTo>
                    <a:lnTo>
                      <a:pt x="1116" y="185"/>
                    </a:lnTo>
                    <a:lnTo>
                      <a:pt x="1111" y="181"/>
                    </a:lnTo>
                    <a:lnTo>
                      <a:pt x="1111" y="181"/>
                    </a:lnTo>
                    <a:lnTo>
                      <a:pt x="1107" y="181"/>
                    </a:lnTo>
                    <a:lnTo>
                      <a:pt x="1107" y="181"/>
                    </a:lnTo>
                    <a:lnTo>
                      <a:pt x="1107" y="181"/>
                    </a:lnTo>
                    <a:lnTo>
                      <a:pt x="1111" y="176"/>
                    </a:lnTo>
                    <a:lnTo>
                      <a:pt x="1111" y="176"/>
                    </a:lnTo>
                    <a:lnTo>
                      <a:pt x="1107" y="176"/>
                    </a:lnTo>
                    <a:lnTo>
                      <a:pt x="1107" y="176"/>
                    </a:lnTo>
                    <a:lnTo>
                      <a:pt x="1107" y="176"/>
                    </a:lnTo>
                    <a:lnTo>
                      <a:pt x="1107" y="176"/>
                    </a:lnTo>
                    <a:lnTo>
                      <a:pt x="1107" y="172"/>
                    </a:lnTo>
                    <a:lnTo>
                      <a:pt x="1107" y="172"/>
                    </a:lnTo>
                    <a:lnTo>
                      <a:pt x="1107" y="172"/>
                    </a:lnTo>
                    <a:lnTo>
                      <a:pt x="1107" y="172"/>
                    </a:lnTo>
                    <a:lnTo>
                      <a:pt x="1107" y="172"/>
                    </a:lnTo>
                    <a:lnTo>
                      <a:pt x="1107" y="172"/>
                    </a:lnTo>
                    <a:lnTo>
                      <a:pt x="1107" y="172"/>
                    </a:lnTo>
                    <a:lnTo>
                      <a:pt x="1107" y="172"/>
                    </a:lnTo>
                    <a:lnTo>
                      <a:pt x="1107" y="167"/>
                    </a:lnTo>
                    <a:lnTo>
                      <a:pt x="1107" y="167"/>
                    </a:lnTo>
                    <a:lnTo>
                      <a:pt x="1107" y="167"/>
                    </a:lnTo>
                    <a:lnTo>
                      <a:pt x="1107" y="167"/>
                    </a:lnTo>
                    <a:lnTo>
                      <a:pt x="1107" y="167"/>
                    </a:lnTo>
                    <a:lnTo>
                      <a:pt x="1107" y="167"/>
                    </a:lnTo>
                    <a:lnTo>
                      <a:pt x="1107" y="167"/>
                    </a:lnTo>
                    <a:lnTo>
                      <a:pt x="1107" y="163"/>
                    </a:lnTo>
                    <a:lnTo>
                      <a:pt x="1107" y="163"/>
                    </a:lnTo>
                    <a:lnTo>
                      <a:pt x="1107" y="163"/>
                    </a:lnTo>
                    <a:lnTo>
                      <a:pt x="1107" y="163"/>
                    </a:lnTo>
                    <a:lnTo>
                      <a:pt x="1111" y="158"/>
                    </a:lnTo>
                    <a:lnTo>
                      <a:pt x="1111" y="158"/>
                    </a:lnTo>
                    <a:lnTo>
                      <a:pt x="1111" y="158"/>
                    </a:lnTo>
                    <a:lnTo>
                      <a:pt x="1111" y="158"/>
                    </a:lnTo>
                    <a:lnTo>
                      <a:pt x="1116" y="158"/>
                    </a:lnTo>
                    <a:lnTo>
                      <a:pt x="1116" y="158"/>
                    </a:lnTo>
                    <a:lnTo>
                      <a:pt x="1116" y="158"/>
                    </a:lnTo>
                    <a:lnTo>
                      <a:pt x="1116" y="158"/>
                    </a:lnTo>
                    <a:lnTo>
                      <a:pt x="1116" y="158"/>
                    </a:lnTo>
                    <a:lnTo>
                      <a:pt x="1116" y="158"/>
                    </a:lnTo>
                    <a:lnTo>
                      <a:pt x="1116" y="154"/>
                    </a:lnTo>
                    <a:lnTo>
                      <a:pt x="1116" y="154"/>
                    </a:lnTo>
                    <a:lnTo>
                      <a:pt x="1116" y="154"/>
                    </a:lnTo>
                    <a:lnTo>
                      <a:pt x="1120" y="154"/>
                    </a:lnTo>
                    <a:lnTo>
                      <a:pt x="1120" y="154"/>
                    </a:lnTo>
                    <a:lnTo>
                      <a:pt x="1120" y="154"/>
                    </a:lnTo>
                    <a:lnTo>
                      <a:pt x="1120" y="158"/>
                    </a:lnTo>
                    <a:moveTo>
                      <a:pt x="1021" y="9"/>
                    </a:moveTo>
                    <a:lnTo>
                      <a:pt x="1021" y="9"/>
                    </a:lnTo>
                    <a:lnTo>
                      <a:pt x="1021" y="9"/>
                    </a:lnTo>
                    <a:lnTo>
                      <a:pt x="1021" y="9"/>
                    </a:lnTo>
                    <a:lnTo>
                      <a:pt x="1025" y="9"/>
                    </a:lnTo>
                    <a:lnTo>
                      <a:pt x="1025" y="9"/>
                    </a:lnTo>
                    <a:lnTo>
                      <a:pt x="1025" y="9"/>
                    </a:lnTo>
                    <a:lnTo>
                      <a:pt x="1025" y="9"/>
                    </a:lnTo>
                    <a:lnTo>
                      <a:pt x="1030" y="9"/>
                    </a:lnTo>
                    <a:lnTo>
                      <a:pt x="1030" y="9"/>
                    </a:lnTo>
                    <a:lnTo>
                      <a:pt x="1030" y="9"/>
                    </a:lnTo>
                    <a:lnTo>
                      <a:pt x="1030" y="14"/>
                    </a:lnTo>
                    <a:lnTo>
                      <a:pt x="1030" y="14"/>
                    </a:lnTo>
                    <a:lnTo>
                      <a:pt x="1030" y="14"/>
                    </a:lnTo>
                    <a:lnTo>
                      <a:pt x="1034" y="14"/>
                    </a:lnTo>
                    <a:lnTo>
                      <a:pt x="1034" y="14"/>
                    </a:lnTo>
                    <a:lnTo>
                      <a:pt x="1034" y="14"/>
                    </a:lnTo>
                    <a:lnTo>
                      <a:pt x="1034" y="14"/>
                    </a:lnTo>
                    <a:lnTo>
                      <a:pt x="1034" y="14"/>
                    </a:lnTo>
                    <a:lnTo>
                      <a:pt x="1034" y="14"/>
                    </a:lnTo>
                    <a:lnTo>
                      <a:pt x="1034" y="14"/>
                    </a:lnTo>
                    <a:lnTo>
                      <a:pt x="1039" y="14"/>
                    </a:lnTo>
                    <a:lnTo>
                      <a:pt x="1039" y="14"/>
                    </a:lnTo>
                    <a:lnTo>
                      <a:pt x="1039" y="14"/>
                    </a:lnTo>
                    <a:lnTo>
                      <a:pt x="1043" y="18"/>
                    </a:lnTo>
                    <a:lnTo>
                      <a:pt x="1043" y="18"/>
                    </a:lnTo>
                    <a:lnTo>
                      <a:pt x="1043" y="18"/>
                    </a:lnTo>
                    <a:lnTo>
                      <a:pt x="1039" y="18"/>
                    </a:lnTo>
                    <a:lnTo>
                      <a:pt x="1043" y="18"/>
                    </a:lnTo>
                    <a:lnTo>
                      <a:pt x="1043" y="18"/>
                    </a:lnTo>
                    <a:lnTo>
                      <a:pt x="1043" y="23"/>
                    </a:lnTo>
                    <a:lnTo>
                      <a:pt x="1043" y="23"/>
                    </a:lnTo>
                    <a:lnTo>
                      <a:pt x="1039" y="23"/>
                    </a:lnTo>
                    <a:lnTo>
                      <a:pt x="1039" y="23"/>
                    </a:lnTo>
                    <a:lnTo>
                      <a:pt x="1039" y="23"/>
                    </a:lnTo>
                    <a:lnTo>
                      <a:pt x="1043" y="23"/>
                    </a:lnTo>
                    <a:lnTo>
                      <a:pt x="1043" y="23"/>
                    </a:lnTo>
                    <a:lnTo>
                      <a:pt x="1048" y="23"/>
                    </a:lnTo>
                    <a:lnTo>
                      <a:pt x="1048" y="23"/>
                    </a:lnTo>
                    <a:lnTo>
                      <a:pt x="1048" y="23"/>
                    </a:lnTo>
                    <a:lnTo>
                      <a:pt x="1048" y="18"/>
                    </a:lnTo>
                    <a:lnTo>
                      <a:pt x="1052" y="18"/>
                    </a:lnTo>
                    <a:lnTo>
                      <a:pt x="1052" y="18"/>
                    </a:lnTo>
                    <a:lnTo>
                      <a:pt x="1052" y="18"/>
                    </a:lnTo>
                    <a:lnTo>
                      <a:pt x="1052" y="23"/>
                    </a:lnTo>
                    <a:lnTo>
                      <a:pt x="1052" y="23"/>
                    </a:lnTo>
                    <a:lnTo>
                      <a:pt x="1052" y="23"/>
                    </a:lnTo>
                    <a:lnTo>
                      <a:pt x="1052" y="27"/>
                    </a:lnTo>
                    <a:lnTo>
                      <a:pt x="1052" y="27"/>
                    </a:lnTo>
                    <a:lnTo>
                      <a:pt x="1052" y="27"/>
                    </a:lnTo>
                    <a:lnTo>
                      <a:pt x="1052" y="27"/>
                    </a:lnTo>
                    <a:lnTo>
                      <a:pt x="1057" y="27"/>
                    </a:lnTo>
                    <a:lnTo>
                      <a:pt x="1057" y="27"/>
                    </a:lnTo>
                    <a:lnTo>
                      <a:pt x="1057" y="27"/>
                    </a:lnTo>
                    <a:lnTo>
                      <a:pt x="1057" y="27"/>
                    </a:lnTo>
                    <a:lnTo>
                      <a:pt x="1057" y="27"/>
                    </a:lnTo>
                    <a:lnTo>
                      <a:pt x="1061" y="32"/>
                    </a:lnTo>
                    <a:lnTo>
                      <a:pt x="1061" y="32"/>
                    </a:lnTo>
                    <a:lnTo>
                      <a:pt x="1061" y="32"/>
                    </a:lnTo>
                    <a:lnTo>
                      <a:pt x="1061" y="32"/>
                    </a:lnTo>
                    <a:lnTo>
                      <a:pt x="1061" y="32"/>
                    </a:lnTo>
                    <a:lnTo>
                      <a:pt x="1066" y="32"/>
                    </a:lnTo>
                    <a:lnTo>
                      <a:pt x="1066" y="32"/>
                    </a:lnTo>
                    <a:lnTo>
                      <a:pt x="1066" y="32"/>
                    </a:lnTo>
                    <a:lnTo>
                      <a:pt x="1066" y="32"/>
                    </a:lnTo>
                    <a:lnTo>
                      <a:pt x="1066" y="32"/>
                    </a:lnTo>
                    <a:lnTo>
                      <a:pt x="1066" y="32"/>
                    </a:lnTo>
                    <a:lnTo>
                      <a:pt x="1070" y="32"/>
                    </a:lnTo>
                    <a:lnTo>
                      <a:pt x="1070" y="32"/>
                    </a:lnTo>
                    <a:lnTo>
                      <a:pt x="1070" y="32"/>
                    </a:lnTo>
                    <a:lnTo>
                      <a:pt x="1070" y="32"/>
                    </a:lnTo>
                    <a:lnTo>
                      <a:pt x="1070" y="32"/>
                    </a:lnTo>
                    <a:lnTo>
                      <a:pt x="1075" y="32"/>
                    </a:lnTo>
                    <a:lnTo>
                      <a:pt x="1075" y="32"/>
                    </a:lnTo>
                    <a:lnTo>
                      <a:pt x="1075" y="32"/>
                    </a:lnTo>
                    <a:lnTo>
                      <a:pt x="1075" y="32"/>
                    </a:lnTo>
                    <a:lnTo>
                      <a:pt x="1075" y="36"/>
                    </a:lnTo>
                    <a:lnTo>
                      <a:pt x="1075" y="36"/>
                    </a:lnTo>
                    <a:lnTo>
                      <a:pt x="1075" y="36"/>
                    </a:lnTo>
                    <a:lnTo>
                      <a:pt x="1079" y="36"/>
                    </a:lnTo>
                    <a:lnTo>
                      <a:pt x="1079" y="36"/>
                    </a:lnTo>
                    <a:lnTo>
                      <a:pt x="1079" y="36"/>
                    </a:lnTo>
                    <a:lnTo>
                      <a:pt x="1079" y="36"/>
                    </a:lnTo>
                    <a:lnTo>
                      <a:pt x="1079" y="36"/>
                    </a:lnTo>
                    <a:lnTo>
                      <a:pt x="1084" y="36"/>
                    </a:lnTo>
                    <a:lnTo>
                      <a:pt x="1084" y="36"/>
                    </a:lnTo>
                    <a:lnTo>
                      <a:pt x="1084" y="36"/>
                    </a:lnTo>
                    <a:lnTo>
                      <a:pt x="1084" y="36"/>
                    </a:lnTo>
                    <a:lnTo>
                      <a:pt x="1084" y="36"/>
                    </a:lnTo>
                    <a:lnTo>
                      <a:pt x="1084" y="36"/>
                    </a:lnTo>
                    <a:lnTo>
                      <a:pt x="1084" y="36"/>
                    </a:lnTo>
                    <a:lnTo>
                      <a:pt x="1089" y="36"/>
                    </a:lnTo>
                    <a:lnTo>
                      <a:pt x="1089" y="36"/>
                    </a:lnTo>
                    <a:lnTo>
                      <a:pt x="1089" y="36"/>
                    </a:lnTo>
                    <a:lnTo>
                      <a:pt x="1089" y="41"/>
                    </a:lnTo>
                    <a:lnTo>
                      <a:pt x="1093" y="41"/>
                    </a:lnTo>
                    <a:lnTo>
                      <a:pt x="1093" y="41"/>
                    </a:lnTo>
                    <a:lnTo>
                      <a:pt x="1098" y="41"/>
                    </a:lnTo>
                    <a:lnTo>
                      <a:pt x="1098" y="41"/>
                    </a:lnTo>
                    <a:lnTo>
                      <a:pt x="1098" y="41"/>
                    </a:lnTo>
                    <a:lnTo>
                      <a:pt x="1098" y="41"/>
                    </a:lnTo>
                    <a:lnTo>
                      <a:pt x="1098" y="41"/>
                    </a:lnTo>
                    <a:lnTo>
                      <a:pt x="1098" y="45"/>
                    </a:lnTo>
                    <a:lnTo>
                      <a:pt x="1093" y="45"/>
                    </a:lnTo>
                    <a:lnTo>
                      <a:pt x="1093" y="50"/>
                    </a:lnTo>
                    <a:lnTo>
                      <a:pt x="1093" y="50"/>
                    </a:lnTo>
                    <a:lnTo>
                      <a:pt x="1093" y="54"/>
                    </a:lnTo>
                    <a:lnTo>
                      <a:pt x="1093" y="54"/>
                    </a:lnTo>
                    <a:lnTo>
                      <a:pt x="1089" y="59"/>
                    </a:lnTo>
                    <a:lnTo>
                      <a:pt x="1093" y="59"/>
                    </a:lnTo>
                    <a:lnTo>
                      <a:pt x="1093" y="59"/>
                    </a:lnTo>
                    <a:lnTo>
                      <a:pt x="1089" y="63"/>
                    </a:lnTo>
                    <a:lnTo>
                      <a:pt x="1089" y="63"/>
                    </a:lnTo>
                    <a:lnTo>
                      <a:pt x="1089" y="68"/>
                    </a:lnTo>
                    <a:lnTo>
                      <a:pt x="1093" y="68"/>
                    </a:lnTo>
                    <a:lnTo>
                      <a:pt x="1089" y="68"/>
                    </a:lnTo>
                    <a:lnTo>
                      <a:pt x="1089" y="68"/>
                    </a:lnTo>
                    <a:lnTo>
                      <a:pt x="1089" y="68"/>
                    </a:lnTo>
                    <a:lnTo>
                      <a:pt x="1089" y="68"/>
                    </a:lnTo>
                    <a:lnTo>
                      <a:pt x="1084" y="68"/>
                    </a:lnTo>
                    <a:lnTo>
                      <a:pt x="1084" y="68"/>
                    </a:lnTo>
                    <a:lnTo>
                      <a:pt x="1084" y="68"/>
                    </a:lnTo>
                    <a:lnTo>
                      <a:pt x="1084" y="68"/>
                    </a:lnTo>
                    <a:lnTo>
                      <a:pt x="1084" y="68"/>
                    </a:lnTo>
                    <a:lnTo>
                      <a:pt x="1084" y="68"/>
                    </a:lnTo>
                    <a:lnTo>
                      <a:pt x="1079" y="68"/>
                    </a:lnTo>
                    <a:lnTo>
                      <a:pt x="1079" y="72"/>
                    </a:lnTo>
                    <a:lnTo>
                      <a:pt x="1079" y="72"/>
                    </a:lnTo>
                    <a:lnTo>
                      <a:pt x="1079" y="72"/>
                    </a:lnTo>
                    <a:lnTo>
                      <a:pt x="1084" y="72"/>
                    </a:lnTo>
                    <a:lnTo>
                      <a:pt x="1084" y="72"/>
                    </a:lnTo>
                    <a:lnTo>
                      <a:pt x="1079" y="72"/>
                    </a:lnTo>
                    <a:lnTo>
                      <a:pt x="1079" y="72"/>
                    </a:lnTo>
                    <a:lnTo>
                      <a:pt x="1079" y="77"/>
                    </a:lnTo>
                    <a:lnTo>
                      <a:pt x="1075" y="77"/>
                    </a:lnTo>
                    <a:lnTo>
                      <a:pt x="1075" y="77"/>
                    </a:lnTo>
                    <a:lnTo>
                      <a:pt x="1075" y="77"/>
                    </a:lnTo>
                    <a:lnTo>
                      <a:pt x="1075" y="77"/>
                    </a:lnTo>
                    <a:lnTo>
                      <a:pt x="1075" y="81"/>
                    </a:lnTo>
                    <a:lnTo>
                      <a:pt x="1075" y="81"/>
                    </a:lnTo>
                    <a:lnTo>
                      <a:pt x="1075" y="81"/>
                    </a:lnTo>
                    <a:lnTo>
                      <a:pt x="1070" y="86"/>
                    </a:lnTo>
                    <a:lnTo>
                      <a:pt x="1070" y="86"/>
                    </a:lnTo>
                    <a:lnTo>
                      <a:pt x="1070" y="86"/>
                    </a:lnTo>
                    <a:lnTo>
                      <a:pt x="1066" y="86"/>
                    </a:lnTo>
                    <a:lnTo>
                      <a:pt x="1066" y="86"/>
                    </a:lnTo>
                    <a:lnTo>
                      <a:pt x="1066" y="90"/>
                    </a:lnTo>
                    <a:lnTo>
                      <a:pt x="1070" y="90"/>
                    </a:lnTo>
                    <a:lnTo>
                      <a:pt x="1066" y="90"/>
                    </a:lnTo>
                    <a:lnTo>
                      <a:pt x="1066" y="90"/>
                    </a:lnTo>
                    <a:lnTo>
                      <a:pt x="1066" y="90"/>
                    </a:lnTo>
                    <a:lnTo>
                      <a:pt x="1066" y="95"/>
                    </a:lnTo>
                    <a:lnTo>
                      <a:pt x="1066" y="95"/>
                    </a:lnTo>
                    <a:lnTo>
                      <a:pt x="1066" y="95"/>
                    </a:lnTo>
                    <a:lnTo>
                      <a:pt x="1066" y="95"/>
                    </a:lnTo>
                    <a:lnTo>
                      <a:pt x="1070" y="95"/>
                    </a:lnTo>
                    <a:lnTo>
                      <a:pt x="1070" y="90"/>
                    </a:lnTo>
                    <a:lnTo>
                      <a:pt x="1070" y="90"/>
                    </a:lnTo>
                    <a:lnTo>
                      <a:pt x="1070" y="90"/>
                    </a:lnTo>
                    <a:lnTo>
                      <a:pt x="1070" y="90"/>
                    </a:lnTo>
                    <a:lnTo>
                      <a:pt x="1070" y="90"/>
                    </a:lnTo>
                    <a:lnTo>
                      <a:pt x="1075" y="90"/>
                    </a:lnTo>
                    <a:lnTo>
                      <a:pt x="1075" y="90"/>
                    </a:lnTo>
                    <a:lnTo>
                      <a:pt x="1079" y="90"/>
                    </a:lnTo>
                    <a:lnTo>
                      <a:pt x="1079" y="90"/>
                    </a:lnTo>
                    <a:lnTo>
                      <a:pt x="1079" y="90"/>
                    </a:lnTo>
                    <a:lnTo>
                      <a:pt x="1079" y="90"/>
                    </a:lnTo>
                    <a:lnTo>
                      <a:pt x="1079" y="90"/>
                    </a:lnTo>
                    <a:lnTo>
                      <a:pt x="1079" y="95"/>
                    </a:lnTo>
                    <a:lnTo>
                      <a:pt x="1079" y="95"/>
                    </a:lnTo>
                    <a:lnTo>
                      <a:pt x="1079" y="95"/>
                    </a:lnTo>
                    <a:lnTo>
                      <a:pt x="1079" y="95"/>
                    </a:lnTo>
                    <a:lnTo>
                      <a:pt x="1079" y="95"/>
                    </a:lnTo>
                    <a:lnTo>
                      <a:pt x="1079" y="99"/>
                    </a:lnTo>
                    <a:lnTo>
                      <a:pt x="1079" y="99"/>
                    </a:lnTo>
                    <a:lnTo>
                      <a:pt x="1079" y="99"/>
                    </a:lnTo>
                    <a:lnTo>
                      <a:pt x="1079" y="99"/>
                    </a:lnTo>
                    <a:lnTo>
                      <a:pt x="1079" y="99"/>
                    </a:lnTo>
                    <a:lnTo>
                      <a:pt x="1079" y="99"/>
                    </a:lnTo>
                    <a:lnTo>
                      <a:pt x="1079" y="104"/>
                    </a:lnTo>
                    <a:lnTo>
                      <a:pt x="1079" y="104"/>
                    </a:lnTo>
                    <a:lnTo>
                      <a:pt x="1079" y="104"/>
                    </a:lnTo>
                    <a:lnTo>
                      <a:pt x="1079" y="104"/>
                    </a:lnTo>
                    <a:lnTo>
                      <a:pt x="1084" y="108"/>
                    </a:lnTo>
                    <a:lnTo>
                      <a:pt x="1084" y="108"/>
                    </a:lnTo>
                    <a:lnTo>
                      <a:pt x="1084" y="108"/>
                    </a:lnTo>
                    <a:lnTo>
                      <a:pt x="1084" y="108"/>
                    </a:lnTo>
                    <a:lnTo>
                      <a:pt x="1084" y="113"/>
                    </a:lnTo>
                    <a:lnTo>
                      <a:pt x="1079" y="113"/>
                    </a:lnTo>
                    <a:lnTo>
                      <a:pt x="1079" y="113"/>
                    </a:lnTo>
                    <a:lnTo>
                      <a:pt x="1079" y="113"/>
                    </a:lnTo>
                    <a:lnTo>
                      <a:pt x="1079" y="113"/>
                    </a:lnTo>
                    <a:lnTo>
                      <a:pt x="1075" y="113"/>
                    </a:lnTo>
                    <a:lnTo>
                      <a:pt x="1075" y="113"/>
                    </a:lnTo>
                    <a:lnTo>
                      <a:pt x="1075" y="113"/>
                    </a:lnTo>
                    <a:lnTo>
                      <a:pt x="1075" y="113"/>
                    </a:lnTo>
                    <a:lnTo>
                      <a:pt x="1075" y="118"/>
                    </a:lnTo>
                    <a:lnTo>
                      <a:pt x="1075" y="118"/>
                    </a:lnTo>
                    <a:lnTo>
                      <a:pt x="1079" y="118"/>
                    </a:lnTo>
                    <a:lnTo>
                      <a:pt x="1079" y="118"/>
                    </a:lnTo>
                    <a:lnTo>
                      <a:pt x="1079" y="118"/>
                    </a:lnTo>
                    <a:lnTo>
                      <a:pt x="1079" y="118"/>
                    </a:lnTo>
                    <a:lnTo>
                      <a:pt x="1079" y="118"/>
                    </a:lnTo>
                    <a:lnTo>
                      <a:pt x="1079" y="122"/>
                    </a:lnTo>
                    <a:lnTo>
                      <a:pt x="1079" y="122"/>
                    </a:lnTo>
                    <a:lnTo>
                      <a:pt x="1079" y="122"/>
                    </a:lnTo>
                    <a:lnTo>
                      <a:pt x="1079" y="122"/>
                    </a:lnTo>
                    <a:lnTo>
                      <a:pt x="1079" y="122"/>
                    </a:lnTo>
                    <a:lnTo>
                      <a:pt x="1079" y="127"/>
                    </a:lnTo>
                    <a:lnTo>
                      <a:pt x="1079" y="127"/>
                    </a:lnTo>
                    <a:lnTo>
                      <a:pt x="1079" y="127"/>
                    </a:lnTo>
                    <a:lnTo>
                      <a:pt x="1079" y="127"/>
                    </a:lnTo>
                    <a:lnTo>
                      <a:pt x="1079" y="127"/>
                    </a:lnTo>
                    <a:lnTo>
                      <a:pt x="1079" y="131"/>
                    </a:lnTo>
                    <a:lnTo>
                      <a:pt x="1084" y="131"/>
                    </a:lnTo>
                    <a:lnTo>
                      <a:pt x="1084" y="131"/>
                    </a:lnTo>
                    <a:lnTo>
                      <a:pt x="1089" y="131"/>
                    </a:lnTo>
                    <a:lnTo>
                      <a:pt x="1089" y="131"/>
                    </a:lnTo>
                    <a:lnTo>
                      <a:pt x="1089" y="131"/>
                    </a:lnTo>
                    <a:lnTo>
                      <a:pt x="1093" y="131"/>
                    </a:lnTo>
                    <a:lnTo>
                      <a:pt x="1093" y="131"/>
                    </a:lnTo>
                    <a:lnTo>
                      <a:pt x="1089" y="136"/>
                    </a:lnTo>
                    <a:lnTo>
                      <a:pt x="1089" y="136"/>
                    </a:lnTo>
                    <a:lnTo>
                      <a:pt x="1089" y="136"/>
                    </a:lnTo>
                    <a:lnTo>
                      <a:pt x="1089" y="136"/>
                    </a:lnTo>
                    <a:lnTo>
                      <a:pt x="1089" y="136"/>
                    </a:lnTo>
                    <a:lnTo>
                      <a:pt x="1089" y="140"/>
                    </a:lnTo>
                    <a:lnTo>
                      <a:pt x="1089" y="140"/>
                    </a:lnTo>
                    <a:lnTo>
                      <a:pt x="1089" y="140"/>
                    </a:lnTo>
                    <a:lnTo>
                      <a:pt x="1089" y="140"/>
                    </a:lnTo>
                    <a:lnTo>
                      <a:pt x="1089" y="140"/>
                    </a:lnTo>
                    <a:lnTo>
                      <a:pt x="1089" y="140"/>
                    </a:lnTo>
                    <a:lnTo>
                      <a:pt x="1089" y="140"/>
                    </a:lnTo>
                    <a:lnTo>
                      <a:pt x="1084" y="140"/>
                    </a:lnTo>
                    <a:lnTo>
                      <a:pt x="1084" y="140"/>
                    </a:lnTo>
                    <a:lnTo>
                      <a:pt x="1079" y="145"/>
                    </a:lnTo>
                    <a:lnTo>
                      <a:pt x="1075" y="145"/>
                    </a:lnTo>
                    <a:lnTo>
                      <a:pt x="1075" y="145"/>
                    </a:lnTo>
                    <a:lnTo>
                      <a:pt x="1075" y="149"/>
                    </a:lnTo>
                    <a:lnTo>
                      <a:pt x="1075" y="149"/>
                    </a:lnTo>
                    <a:lnTo>
                      <a:pt x="1070" y="149"/>
                    </a:lnTo>
                    <a:lnTo>
                      <a:pt x="1070" y="149"/>
                    </a:lnTo>
                    <a:lnTo>
                      <a:pt x="1066" y="154"/>
                    </a:lnTo>
                    <a:lnTo>
                      <a:pt x="1066" y="149"/>
                    </a:lnTo>
                    <a:lnTo>
                      <a:pt x="1061" y="149"/>
                    </a:lnTo>
                    <a:lnTo>
                      <a:pt x="1061" y="149"/>
                    </a:lnTo>
                    <a:lnTo>
                      <a:pt x="1057" y="149"/>
                    </a:lnTo>
                    <a:lnTo>
                      <a:pt x="1057" y="145"/>
                    </a:lnTo>
                    <a:lnTo>
                      <a:pt x="1052" y="145"/>
                    </a:lnTo>
                    <a:lnTo>
                      <a:pt x="1052" y="145"/>
                    </a:lnTo>
                    <a:lnTo>
                      <a:pt x="1052" y="145"/>
                    </a:lnTo>
                    <a:lnTo>
                      <a:pt x="1052" y="145"/>
                    </a:lnTo>
                    <a:lnTo>
                      <a:pt x="1052" y="145"/>
                    </a:lnTo>
                    <a:lnTo>
                      <a:pt x="1048" y="145"/>
                    </a:lnTo>
                    <a:lnTo>
                      <a:pt x="1048" y="145"/>
                    </a:lnTo>
                    <a:lnTo>
                      <a:pt x="1048" y="145"/>
                    </a:lnTo>
                    <a:lnTo>
                      <a:pt x="1048" y="145"/>
                    </a:lnTo>
                    <a:lnTo>
                      <a:pt x="1048" y="145"/>
                    </a:lnTo>
                    <a:lnTo>
                      <a:pt x="1048" y="145"/>
                    </a:lnTo>
                    <a:lnTo>
                      <a:pt x="1048" y="145"/>
                    </a:lnTo>
                    <a:lnTo>
                      <a:pt x="1043" y="145"/>
                    </a:lnTo>
                    <a:lnTo>
                      <a:pt x="1043" y="145"/>
                    </a:lnTo>
                    <a:lnTo>
                      <a:pt x="1039" y="145"/>
                    </a:lnTo>
                    <a:lnTo>
                      <a:pt x="1039" y="145"/>
                    </a:lnTo>
                    <a:lnTo>
                      <a:pt x="1039" y="145"/>
                    </a:lnTo>
                    <a:lnTo>
                      <a:pt x="1039" y="145"/>
                    </a:lnTo>
                    <a:lnTo>
                      <a:pt x="1034" y="145"/>
                    </a:lnTo>
                    <a:lnTo>
                      <a:pt x="1034" y="140"/>
                    </a:lnTo>
                    <a:lnTo>
                      <a:pt x="1034" y="140"/>
                    </a:lnTo>
                    <a:lnTo>
                      <a:pt x="1034" y="145"/>
                    </a:lnTo>
                    <a:lnTo>
                      <a:pt x="1034" y="145"/>
                    </a:lnTo>
                    <a:lnTo>
                      <a:pt x="1030" y="145"/>
                    </a:lnTo>
                    <a:lnTo>
                      <a:pt x="1021" y="149"/>
                    </a:lnTo>
                    <a:lnTo>
                      <a:pt x="1021" y="154"/>
                    </a:lnTo>
                    <a:lnTo>
                      <a:pt x="1021" y="154"/>
                    </a:lnTo>
                    <a:lnTo>
                      <a:pt x="1021" y="158"/>
                    </a:lnTo>
                    <a:lnTo>
                      <a:pt x="1021" y="163"/>
                    </a:lnTo>
                    <a:lnTo>
                      <a:pt x="1021" y="163"/>
                    </a:lnTo>
                    <a:lnTo>
                      <a:pt x="1021" y="163"/>
                    </a:lnTo>
                    <a:lnTo>
                      <a:pt x="1021" y="163"/>
                    </a:lnTo>
                    <a:lnTo>
                      <a:pt x="1021" y="163"/>
                    </a:lnTo>
                    <a:lnTo>
                      <a:pt x="1016" y="163"/>
                    </a:lnTo>
                    <a:lnTo>
                      <a:pt x="1016" y="163"/>
                    </a:lnTo>
                    <a:lnTo>
                      <a:pt x="1016" y="163"/>
                    </a:lnTo>
                    <a:lnTo>
                      <a:pt x="1016" y="163"/>
                    </a:lnTo>
                    <a:lnTo>
                      <a:pt x="1012" y="163"/>
                    </a:lnTo>
                    <a:lnTo>
                      <a:pt x="1012" y="163"/>
                    </a:lnTo>
                    <a:lnTo>
                      <a:pt x="1012" y="163"/>
                    </a:lnTo>
                    <a:lnTo>
                      <a:pt x="1012" y="167"/>
                    </a:lnTo>
                    <a:lnTo>
                      <a:pt x="1012" y="167"/>
                    </a:lnTo>
                    <a:lnTo>
                      <a:pt x="1007" y="163"/>
                    </a:lnTo>
                    <a:lnTo>
                      <a:pt x="1007" y="163"/>
                    </a:lnTo>
                    <a:lnTo>
                      <a:pt x="1003" y="163"/>
                    </a:lnTo>
                    <a:lnTo>
                      <a:pt x="1003" y="167"/>
                    </a:lnTo>
                    <a:lnTo>
                      <a:pt x="1003" y="163"/>
                    </a:lnTo>
                    <a:lnTo>
                      <a:pt x="1003" y="163"/>
                    </a:lnTo>
                    <a:lnTo>
                      <a:pt x="1003" y="163"/>
                    </a:lnTo>
                    <a:lnTo>
                      <a:pt x="1003" y="163"/>
                    </a:lnTo>
                    <a:lnTo>
                      <a:pt x="998" y="163"/>
                    </a:lnTo>
                    <a:lnTo>
                      <a:pt x="998" y="163"/>
                    </a:lnTo>
                    <a:lnTo>
                      <a:pt x="998" y="163"/>
                    </a:lnTo>
                    <a:lnTo>
                      <a:pt x="998" y="163"/>
                    </a:lnTo>
                    <a:lnTo>
                      <a:pt x="998" y="158"/>
                    </a:lnTo>
                    <a:lnTo>
                      <a:pt x="998" y="158"/>
                    </a:lnTo>
                    <a:lnTo>
                      <a:pt x="994" y="158"/>
                    </a:lnTo>
                    <a:lnTo>
                      <a:pt x="994" y="158"/>
                    </a:lnTo>
                    <a:lnTo>
                      <a:pt x="994" y="158"/>
                    </a:lnTo>
                    <a:lnTo>
                      <a:pt x="994" y="158"/>
                    </a:lnTo>
                    <a:lnTo>
                      <a:pt x="994" y="158"/>
                    </a:lnTo>
                    <a:lnTo>
                      <a:pt x="989" y="158"/>
                    </a:lnTo>
                    <a:lnTo>
                      <a:pt x="989" y="158"/>
                    </a:lnTo>
                    <a:lnTo>
                      <a:pt x="989" y="158"/>
                    </a:lnTo>
                    <a:lnTo>
                      <a:pt x="985" y="154"/>
                    </a:lnTo>
                    <a:lnTo>
                      <a:pt x="985" y="154"/>
                    </a:lnTo>
                    <a:lnTo>
                      <a:pt x="985" y="154"/>
                    </a:lnTo>
                    <a:lnTo>
                      <a:pt x="985" y="158"/>
                    </a:lnTo>
                    <a:lnTo>
                      <a:pt x="980" y="158"/>
                    </a:lnTo>
                    <a:lnTo>
                      <a:pt x="980" y="158"/>
                    </a:lnTo>
                    <a:lnTo>
                      <a:pt x="980" y="158"/>
                    </a:lnTo>
                    <a:lnTo>
                      <a:pt x="980" y="158"/>
                    </a:lnTo>
                    <a:lnTo>
                      <a:pt x="976" y="158"/>
                    </a:lnTo>
                    <a:lnTo>
                      <a:pt x="976" y="158"/>
                    </a:lnTo>
                    <a:lnTo>
                      <a:pt x="976" y="158"/>
                    </a:lnTo>
                    <a:lnTo>
                      <a:pt x="971" y="158"/>
                    </a:lnTo>
                    <a:lnTo>
                      <a:pt x="971" y="158"/>
                    </a:lnTo>
                    <a:lnTo>
                      <a:pt x="971" y="158"/>
                    </a:lnTo>
                    <a:lnTo>
                      <a:pt x="971" y="158"/>
                    </a:lnTo>
                    <a:lnTo>
                      <a:pt x="967" y="158"/>
                    </a:lnTo>
                    <a:lnTo>
                      <a:pt x="967" y="158"/>
                    </a:lnTo>
                    <a:lnTo>
                      <a:pt x="967" y="154"/>
                    </a:lnTo>
                    <a:lnTo>
                      <a:pt x="967" y="158"/>
                    </a:lnTo>
                    <a:lnTo>
                      <a:pt x="967" y="158"/>
                    </a:lnTo>
                    <a:lnTo>
                      <a:pt x="962" y="158"/>
                    </a:lnTo>
                    <a:lnTo>
                      <a:pt x="962" y="158"/>
                    </a:lnTo>
                    <a:lnTo>
                      <a:pt x="962" y="154"/>
                    </a:lnTo>
                    <a:lnTo>
                      <a:pt x="962" y="154"/>
                    </a:lnTo>
                    <a:lnTo>
                      <a:pt x="958" y="154"/>
                    </a:lnTo>
                    <a:lnTo>
                      <a:pt x="958" y="154"/>
                    </a:lnTo>
                    <a:lnTo>
                      <a:pt x="953" y="154"/>
                    </a:lnTo>
                    <a:lnTo>
                      <a:pt x="953" y="154"/>
                    </a:lnTo>
                    <a:lnTo>
                      <a:pt x="953" y="149"/>
                    </a:lnTo>
                    <a:lnTo>
                      <a:pt x="953" y="149"/>
                    </a:lnTo>
                    <a:lnTo>
                      <a:pt x="953" y="149"/>
                    </a:lnTo>
                    <a:lnTo>
                      <a:pt x="953" y="149"/>
                    </a:lnTo>
                    <a:lnTo>
                      <a:pt x="953" y="154"/>
                    </a:lnTo>
                    <a:lnTo>
                      <a:pt x="953" y="154"/>
                    </a:lnTo>
                    <a:lnTo>
                      <a:pt x="948" y="154"/>
                    </a:lnTo>
                    <a:lnTo>
                      <a:pt x="948" y="154"/>
                    </a:lnTo>
                    <a:lnTo>
                      <a:pt x="948" y="149"/>
                    </a:lnTo>
                    <a:lnTo>
                      <a:pt x="948" y="149"/>
                    </a:lnTo>
                    <a:lnTo>
                      <a:pt x="953" y="149"/>
                    </a:lnTo>
                    <a:lnTo>
                      <a:pt x="953" y="149"/>
                    </a:lnTo>
                    <a:lnTo>
                      <a:pt x="953" y="149"/>
                    </a:lnTo>
                    <a:lnTo>
                      <a:pt x="948" y="149"/>
                    </a:lnTo>
                    <a:lnTo>
                      <a:pt x="948" y="149"/>
                    </a:lnTo>
                    <a:lnTo>
                      <a:pt x="948" y="149"/>
                    </a:lnTo>
                    <a:lnTo>
                      <a:pt x="948" y="145"/>
                    </a:lnTo>
                    <a:lnTo>
                      <a:pt x="944" y="145"/>
                    </a:lnTo>
                    <a:lnTo>
                      <a:pt x="944" y="145"/>
                    </a:lnTo>
                    <a:lnTo>
                      <a:pt x="944" y="145"/>
                    </a:lnTo>
                    <a:lnTo>
                      <a:pt x="948" y="145"/>
                    </a:lnTo>
                    <a:lnTo>
                      <a:pt x="948" y="140"/>
                    </a:lnTo>
                    <a:lnTo>
                      <a:pt x="953" y="136"/>
                    </a:lnTo>
                    <a:lnTo>
                      <a:pt x="958" y="122"/>
                    </a:lnTo>
                    <a:lnTo>
                      <a:pt x="958" y="122"/>
                    </a:lnTo>
                    <a:lnTo>
                      <a:pt x="958" y="122"/>
                    </a:lnTo>
                    <a:lnTo>
                      <a:pt x="958" y="118"/>
                    </a:lnTo>
                    <a:lnTo>
                      <a:pt x="958" y="122"/>
                    </a:lnTo>
                    <a:lnTo>
                      <a:pt x="958" y="122"/>
                    </a:lnTo>
                    <a:lnTo>
                      <a:pt x="958" y="122"/>
                    </a:lnTo>
                    <a:lnTo>
                      <a:pt x="958" y="113"/>
                    </a:lnTo>
                    <a:lnTo>
                      <a:pt x="958" y="108"/>
                    </a:lnTo>
                    <a:lnTo>
                      <a:pt x="958" y="104"/>
                    </a:lnTo>
                    <a:lnTo>
                      <a:pt x="962" y="108"/>
                    </a:lnTo>
                    <a:lnTo>
                      <a:pt x="962" y="108"/>
                    </a:lnTo>
                    <a:lnTo>
                      <a:pt x="962" y="108"/>
                    </a:lnTo>
                    <a:lnTo>
                      <a:pt x="967" y="113"/>
                    </a:lnTo>
                    <a:lnTo>
                      <a:pt x="967" y="113"/>
                    </a:lnTo>
                    <a:lnTo>
                      <a:pt x="967" y="113"/>
                    </a:lnTo>
                    <a:lnTo>
                      <a:pt x="967" y="113"/>
                    </a:lnTo>
                    <a:lnTo>
                      <a:pt x="967" y="113"/>
                    </a:lnTo>
                    <a:lnTo>
                      <a:pt x="962" y="108"/>
                    </a:lnTo>
                    <a:lnTo>
                      <a:pt x="962" y="108"/>
                    </a:lnTo>
                    <a:lnTo>
                      <a:pt x="962" y="104"/>
                    </a:lnTo>
                    <a:lnTo>
                      <a:pt x="958" y="104"/>
                    </a:lnTo>
                    <a:lnTo>
                      <a:pt x="958" y="99"/>
                    </a:lnTo>
                    <a:lnTo>
                      <a:pt x="958" y="99"/>
                    </a:lnTo>
                    <a:lnTo>
                      <a:pt x="958" y="99"/>
                    </a:lnTo>
                    <a:lnTo>
                      <a:pt x="962" y="99"/>
                    </a:lnTo>
                    <a:lnTo>
                      <a:pt x="962" y="99"/>
                    </a:lnTo>
                    <a:lnTo>
                      <a:pt x="958" y="99"/>
                    </a:lnTo>
                    <a:lnTo>
                      <a:pt x="958" y="99"/>
                    </a:lnTo>
                    <a:lnTo>
                      <a:pt x="958" y="90"/>
                    </a:lnTo>
                    <a:lnTo>
                      <a:pt x="958" y="90"/>
                    </a:lnTo>
                    <a:lnTo>
                      <a:pt x="958" y="90"/>
                    </a:lnTo>
                    <a:lnTo>
                      <a:pt x="958" y="90"/>
                    </a:lnTo>
                    <a:lnTo>
                      <a:pt x="958" y="90"/>
                    </a:lnTo>
                    <a:lnTo>
                      <a:pt x="958" y="90"/>
                    </a:lnTo>
                    <a:lnTo>
                      <a:pt x="948" y="86"/>
                    </a:lnTo>
                    <a:lnTo>
                      <a:pt x="948" y="81"/>
                    </a:lnTo>
                    <a:lnTo>
                      <a:pt x="944" y="81"/>
                    </a:lnTo>
                    <a:lnTo>
                      <a:pt x="944" y="81"/>
                    </a:lnTo>
                    <a:lnTo>
                      <a:pt x="944" y="77"/>
                    </a:lnTo>
                    <a:lnTo>
                      <a:pt x="948" y="77"/>
                    </a:lnTo>
                    <a:lnTo>
                      <a:pt x="944" y="77"/>
                    </a:lnTo>
                    <a:lnTo>
                      <a:pt x="944" y="77"/>
                    </a:lnTo>
                    <a:lnTo>
                      <a:pt x="944" y="72"/>
                    </a:lnTo>
                    <a:lnTo>
                      <a:pt x="944" y="72"/>
                    </a:lnTo>
                    <a:lnTo>
                      <a:pt x="944" y="72"/>
                    </a:lnTo>
                    <a:lnTo>
                      <a:pt x="948" y="72"/>
                    </a:lnTo>
                    <a:lnTo>
                      <a:pt x="948" y="72"/>
                    </a:lnTo>
                    <a:lnTo>
                      <a:pt x="948" y="72"/>
                    </a:lnTo>
                    <a:lnTo>
                      <a:pt x="953" y="72"/>
                    </a:lnTo>
                    <a:lnTo>
                      <a:pt x="948" y="72"/>
                    </a:lnTo>
                    <a:lnTo>
                      <a:pt x="944" y="72"/>
                    </a:lnTo>
                    <a:lnTo>
                      <a:pt x="939" y="72"/>
                    </a:lnTo>
                    <a:lnTo>
                      <a:pt x="939" y="72"/>
                    </a:lnTo>
                    <a:lnTo>
                      <a:pt x="939" y="72"/>
                    </a:lnTo>
                    <a:lnTo>
                      <a:pt x="939" y="68"/>
                    </a:lnTo>
                    <a:lnTo>
                      <a:pt x="939" y="68"/>
                    </a:lnTo>
                    <a:lnTo>
                      <a:pt x="939" y="68"/>
                    </a:lnTo>
                    <a:lnTo>
                      <a:pt x="939" y="68"/>
                    </a:lnTo>
                    <a:lnTo>
                      <a:pt x="939" y="68"/>
                    </a:lnTo>
                    <a:lnTo>
                      <a:pt x="935" y="68"/>
                    </a:lnTo>
                    <a:lnTo>
                      <a:pt x="935" y="68"/>
                    </a:lnTo>
                    <a:lnTo>
                      <a:pt x="935" y="68"/>
                    </a:lnTo>
                    <a:lnTo>
                      <a:pt x="935" y="63"/>
                    </a:lnTo>
                    <a:lnTo>
                      <a:pt x="935" y="68"/>
                    </a:lnTo>
                    <a:lnTo>
                      <a:pt x="935" y="68"/>
                    </a:lnTo>
                    <a:lnTo>
                      <a:pt x="930" y="68"/>
                    </a:lnTo>
                    <a:lnTo>
                      <a:pt x="930" y="63"/>
                    </a:lnTo>
                    <a:lnTo>
                      <a:pt x="930" y="63"/>
                    </a:lnTo>
                    <a:lnTo>
                      <a:pt x="930" y="63"/>
                    </a:lnTo>
                    <a:lnTo>
                      <a:pt x="930" y="63"/>
                    </a:lnTo>
                    <a:lnTo>
                      <a:pt x="926" y="63"/>
                    </a:lnTo>
                    <a:lnTo>
                      <a:pt x="926" y="63"/>
                    </a:lnTo>
                    <a:lnTo>
                      <a:pt x="926" y="63"/>
                    </a:lnTo>
                    <a:lnTo>
                      <a:pt x="921" y="63"/>
                    </a:lnTo>
                    <a:lnTo>
                      <a:pt x="917" y="63"/>
                    </a:lnTo>
                    <a:lnTo>
                      <a:pt x="917" y="63"/>
                    </a:lnTo>
                    <a:lnTo>
                      <a:pt x="912" y="63"/>
                    </a:lnTo>
                    <a:lnTo>
                      <a:pt x="912" y="59"/>
                    </a:lnTo>
                    <a:lnTo>
                      <a:pt x="912" y="59"/>
                    </a:lnTo>
                    <a:lnTo>
                      <a:pt x="908" y="59"/>
                    </a:lnTo>
                    <a:lnTo>
                      <a:pt x="908" y="59"/>
                    </a:lnTo>
                    <a:lnTo>
                      <a:pt x="912" y="54"/>
                    </a:lnTo>
                    <a:lnTo>
                      <a:pt x="912" y="54"/>
                    </a:lnTo>
                    <a:lnTo>
                      <a:pt x="912" y="54"/>
                    </a:lnTo>
                    <a:lnTo>
                      <a:pt x="912" y="54"/>
                    </a:lnTo>
                    <a:lnTo>
                      <a:pt x="912" y="54"/>
                    </a:lnTo>
                    <a:lnTo>
                      <a:pt x="912" y="54"/>
                    </a:lnTo>
                    <a:lnTo>
                      <a:pt x="912" y="54"/>
                    </a:lnTo>
                    <a:lnTo>
                      <a:pt x="912" y="54"/>
                    </a:lnTo>
                    <a:lnTo>
                      <a:pt x="912" y="54"/>
                    </a:lnTo>
                    <a:lnTo>
                      <a:pt x="912" y="54"/>
                    </a:lnTo>
                    <a:lnTo>
                      <a:pt x="917" y="54"/>
                    </a:lnTo>
                    <a:lnTo>
                      <a:pt x="917" y="50"/>
                    </a:lnTo>
                    <a:lnTo>
                      <a:pt x="912" y="50"/>
                    </a:lnTo>
                    <a:lnTo>
                      <a:pt x="912" y="50"/>
                    </a:lnTo>
                    <a:lnTo>
                      <a:pt x="912" y="50"/>
                    </a:lnTo>
                    <a:lnTo>
                      <a:pt x="912" y="50"/>
                    </a:lnTo>
                    <a:lnTo>
                      <a:pt x="908" y="50"/>
                    </a:lnTo>
                    <a:lnTo>
                      <a:pt x="908" y="50"/>
                    </a:lnTo>
                    <a:lnTo>
                      <a:pt x="908" y="50"/>
                    </a:lnTo>
                    <a:lnTo>
                      <a:pt x="908" y="50"/>
                    </a:lnTo>
                    <a:lnTo>
                      <a:pt x="912" y="45"/>
                    </a:lnTo>
                    <a:lnTo>
                      <a:pt x="917" y="45"/>
                    </a:lnTo>
                    <a:lnTo>
                      <a:pt x="921" y="45"/>
                    </a:lnTo>
                    <a:lnTo>
                      <a:pt x="926" y="45"/>
                    </a:lnTo>
                    <a:lnTo>
                      <a:pt x="926" y="45"/>
                    </a:lnTo>
                    <a:lnTo>
                      <a:pt x="926" y="45"/>
                    </a:lnTo>
                    <a:lnTo>
                      <a:pt x="930" y="41"/>
                    </a:lnTo>
                    <a:lnTo>
                      <a:pt x="935" y="45"/>
                    </a:lnTo>
                    <a:lnTo>
                      <a:pt x="939" y="45"/>
                    </a:lnTo>
                    <a:lnTo>
                      <a:pt x="939" y="50"/>
                    </a:lnTo>
                    <a:lnTo>
                      <a:pt x="944" y="45"/>
                    </a:lnTo>
                    <a:lnTo>
                      <a:pt x="948" y="45"/>
                    </a:lnTo>
                    <a:lnTo>
                      <a:pt x="948" y="50"/>
                    </a:lnTo>
                    <a:lnTo>
                      <a:pt x="948" y="45"/>
                    </a:lnTo>
                    <a:lnTo>
                      <a:pt x="953" y="45"/>
                    </a:lnTo>
                    <a:lnTo>
                      <a:pt x="953" y="45"/>
                    </a:lnTo>
                    <a:lnTo>
                      <a:pt x="953" y="45"/>
                    </a:lnTo>
                    <a:lnTo>
                      <a:pt x="958" y="45"/>
                    </a:lnTo>
                    <a:lnTo>
                      <a:pt x="958" y="45"/>
                    </a:lnTo>
                    <a:lnTo>
                      <a:pt x="958" y="45"/>
                    </a:lnTo>
                    <a:lnTo>
                      <a:pt x="958" y="45"/>
                    </a:lnTo>
                    <a:lnTo>
                      <a:pt x="958" y="36"/>
                    </a:lnTo>
                    <a:lnTo>
                      <a:pt x="953" y="36"/>
                    </a:lnTo>
                    <a:lnTo>
                      <a:pt x="953" y="32"/>
                    </a:lnTo>
                    <a:lnTo>
                      <a:pt x="953" y="27"/>
                    </a:lnTo>
                    <a:lnTo>
                      <a:pt x="953" y="27"/>
                    </a:lnTo>
                    <a:lnTo>
                      <a:pt x="953" y="27"/>
                    </a:lnTo>
                    <a:lnTo>
                      <a:pt x="953" y="27"/>
                    </a:lnTo>
                    <a:lnTo>
                      <a:pt x="958" y="27"/>
                    </a:lnTo>
                    <a:lnTo>
                      <a:pt x="962" y="27"/>
                    </a:lnTo>
                    <a:lnTo>
                      <a:pt x="962" y="27"/>
                    </a:lnTo>
                    <a:lnTo>
                      <a:pt x="962" y="27"/>
                    </a:lnTo>
                    <a:lnTo>
                      <a:pt x="962" y="32"/>
                    </a:lnTo>
                    <a:lnTo>
                      <a:pt x="962" y="32"/>
                    </a:lnTo>
                    <a:lnTo>
                      <a:pt x="962" y="32"/>
                    </a:lnTo>
                    <a:lnTo>
                      <a:pt x="967" y="32"/>
                    </a:lnTo>
                    <a:lnTo>
                      <a:pt x="967" y="32"/>
                    </a:lnTo>
                    <a:lnTo>
                      <a:pt x="971" y="32"/>
                    </a:lnTo>
                    <a:lnTo>
                      <a:pt x="976" y="36"/>
                    </a:lnTo>
                    <a:lnTo>
                      <a:pt x="980" y="32"/>
                    </a:lnTo>
                    <a:lnTo>
                      <a:pt x="980" y="32"/>
                    </a:lnTo>
                    <a:lnTo>
                      <a:pt x="985" y="32"/>
                    </a:lnTo>
                    <a:lnTo>
                      <a:pt x="985" y="32"/>
                    </a:lnTo>
                    <a:lnTo>
                      <a:pt x="985" y="32"/>
                    </a:lnTo>
                    <a:lnTo>
                      <a:pt x="980" y="32"/>
                    </a:lnTo>
                    <a:lnTo>
                      <a:pt x="980" y="32"/>
                    </a:lnTo>
                    <a:lnTo>
                      <a:pt x="980" y="27"/>
                    </a:lnTo>
                    <a:lnTo>
                      <a:pt x="985" y="27"/>
                    </a:lnTo>
                    <a:lnTo>
                      <a:pt x="989" y="23"/>
                    </a:lnTo>
                    <a:lnTo>
                      <a:pt x="994" y="23"/>
                    </a:lnTo>
                    <a:lnTo>
                      <a:pt x="998" y="23"/>
                    </a:lnTo>
                    <a:lnTo>
                      <a:pt x="1003" y="18"/>
                    </a:lnTo>
                    <a:lnTo>
                      <a:pt x="1003" y="18"/>
                    </a:lnTo>
                    <a:lnTo>
                      <a:pt x="1003" y="18"/>
                    </a:lnTo>
                    <a:lnTo>
                      <a:pt x="1003" y="18"/>
                    </a:lnTo>
                    <a:lnTo>
                      <a:pt x="1003" y="18"/>
                    </a:lnTo>
                    <a:lnTo>
                      <a:pt x="1003" y="9"/>
                    </a:lnTo>
                    <a:lnTo>
                      <a:pt x="1003" y="4"/>
                    </a:lnTo>
                    <a:lnTo>
                      <a:pt x="1007" y="4"/>
                    </a:lnTo>
                    <a:lnTo>
                      <a:pt x="1007" y="4"/>
                    </a:lnTo>
                    <a:lnTo>
                      <a:pt x="1007" y="4"/>
                    </a:lnTo>
                    <a:lnTo>
                      <a:pt x="1016" y="0"/>
                    </a:lnTo>
                    <a:lnTo>
                      <a:pt x="1016" y="0"/>
                    </a:lnTo>
                    <a:lnTo>
                      <a:pt x="1016" y="0"/>
                    </a:lnTo>
                    <a:lnTo>
                      <a:pt x="1021" y="4"/>
                    </a:lnTo>
                    <a:lnTo>
                      <a:pt x="1021" y="4"/>
                    </a:lnTo>
                    <a:lnTo>
                      <a:pt x="1021" y="4"/>
                    </a:lnTo>
                    <a:lnTo>
                      <a:pt x="1021" y="4"/>
                    </a:lnTo>
                    <a:lnTo>
                      <a:pt x="1021" y="4"/>
                    </a:lnTo>
                    <a:lnTo>
                      <a:pt x="1021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38" name="Freeform 59"/>
              <p:cNvSpPr>
                <a:spLocks/>
              </p:cNvSpPr>
              <p:nvPr/>
            </p:nvSpPr>
            <p:spPr bwMode="auto">
              <a:xfrm>
                <a:off x="4506913" y="2881314"/>
                <a:ext cx="165100" cy="185738"/>
              </a:xfrm>
              <a:custGeom>
                <a:avLst/>
                <a:gdLst>
                  <a:gd name="T0" fmla="*/ 63 w 104"/>
                  <a:gd name="T1" fmla="*/ 0 h 117"/>
                  <a:gd name="T2" fmla="*/ 77 w 104"/>
                  <a:gd name="T3" fmla="*/ 0 h 117"/>
                  <a:gd name="T4" fmla="*/ 81 w 104"/>
                  <a:gd name="T5" fmla="*/ 4 h 117"/>
                  <a:gd name="T6" fmla="*/ 81 w 104"/>
                  <a:gd name="T7" fmla="*/ 13 h 117"/>
                  <a:gd name="T8" fmla="*/ 81 w 104"/>
                  <a:gd name="T9" fmla="*/ 18 h 117"/>
                  <a:gd name="T10" fmla="*/ 95 w 104"/>
                  <a:gd name="T11" fmla="*/ 18 h 117"/>
                  <a:gd name="T12" fmla="*/ 99 w 104"/>
                  <a:gd name="T13" fmla="*/ 22 h 117"/>
                  <a:gd name="T14" fmla="*/ 99 w 104"/>
                  <a:gd name="T15" fmla="*/ 31 h 117"/>
                  <a:gd name="T16" fmla="*/ 95 w 104"/>
                  <a:gd name="T17" fmla="*/ 31 h 117"/>
                  <a:gd name="T18" fmla="*/ 90 w 104"/>
                  <a:gd name="T19" fmla="*/ 40 h 117"/>
                  <a:gd name="T20" fmla="*/ 95 w 104"/>
                  <a:gd name="T21" fmla="*/ 49 h 117"/>
                  <a:gd name="T22" fmla="*/ 104 w 104"/>
                  <a:gd name="T23" fmla="*/ 54 h 117"/>
                  <a:gd name="T24" fmla="*/ 104 w 104"/>
                  <a:gd name="T25" fmla="*/ 68 h 117"/>
                  <a:gd name="T26" fmla="*/ 104 w 104"/>
                  <a:gd name="T27" fmla="*/ 77 h 117"/>
                  <a:gd name="T28" fmla="*/ 99 w 104"/>
                  <a:gd name="T29" fmla="*/ 81 h 117"/>
                  <a:gd name="T30" fmla="*/ 99 w 104"/>
                  <a:gd name="T31" fmla="*/ 86 h 117"/>
                  <a:gd name="T32" fmla="*/ 90 w 104"/>
                  <a:gd name="T33" fmla="*/ 90 h 117"/>
                  <a:gd name="T34" fmla="*/ 90 w 104"/>
                  <a:gd name="T35" fmla="*/ 81 h 117"/>
                  <a:gd name="T36" fmla="*/ 81 w 104"/>
                  <a:gd name="T37" fmla="*/ 86 h 117"/>
                  <a:gd name="T38" fmla="*/ 72 w 104"/>
                  <a:gd name="T39" fmla="*/ 77 h 117"/>
                  <a:gd name="T40" fmla="*/ 68 w 104"/>
                  <a:gd name="T41" fmla="*/ 81 h 117"/>
                  <a:gd name="T42" fmla="*/ 68 w 104"/>
                  <a:gd name="T43" fmla="*/ 86 h 117"/>
                  <a:gd name="T44" fmla="*/ 59 w 104"/>
                  <a:gd name="T45" fmla="*/ 86 h 117"/>
                  <a:gd name="T46" fmla="*/ 54 w 104"/>
                  <a:gd name="T47" fmla="*/ 90 h 117"/>
                  <a:gd name="T48" fmla="*/ 54 w 104"/>
                  <a:gd name="T49" fmla="*/ 95 h 117"/>
                  <a:gd name="T50" fmla="*/ 54 w 104"/>
                  <a:gd name="T51" fmla="*/ 99 h 117"/>
                  <a:gd name="T52" fmla="*/ 59 w 104"/>
                  <a:gd name="T53" fmla="*/ 104 h 117"/>
                  <a:gd name="T54" fmla="*/ 59 w 104"/>
                  <a:gd name="T55" fmla="*/ 108 h 117"/>
                  <a:gd name="T56" fmla="*/ 54 w 104"/>
                  <a:gd name="T57" fmla="*/ 113 h 117"/>
                  <a:gd name="T58" fmla="*/ 45 w 104"/>
                  <a:gd name="T59" fmla="*/ 113 h 117"/>
                  <a:gd name="T60" fmla="*/ 41 w 104"/>
                  <a:gd name="T61" fmla="*/ 108 h 117"/>
                  <a:gd name="T62" fmla="*/ 18 w 104"/>
                  <a:gd name="T63" fmla="*/ 90 h 117"/>
                  <a:gd name="T64" fmla="*/ 27 w 104"/>
                  <a:gd name="T65" fmla="*/ 90 h 117"/>
                  <a:gd name="T66" fmla="*/ 18 w 104"/>
                  <a:gd name="T67" fmla="*/ 86 h 117"/>
                  <a:gd name="T68" fmla="*/ 14 w 104"/>
                  <a:gd name="T69" fmla="*/ 81 h 117"/>
                  <a:gd name="T70" fmla="*/ 14 w 104"/>
                  <a:gd name="T71" fmla="*/ 77 h 117"/>
                  <a:gd name="T72" fmla="*/ 9 w 104"/>
                  <a:gd name="T73" fmla="*/ 72 h 117"/>
                  <a:gd name="T74" fmla="*/ 14 w 104"/>
                  <a:gd name="T75" fmla="*/ 72 h 117"/>
                  <a:gd name="T76" fmla="*/ 14 w 104"/>
                  <a:gd name="T77" fmla="*/ 72 h 117"/>
                  <a:gd name="T78" fmla="*/ 14 w 104"/>
                  <a:gd name="T79" fmla="*/ 68 h 117"/>
                  <a:gd name="T80" fmla="*/ 5 w 104"/>
                  <a:gd name="T81" fmla="*/ 63 h 117"/>
                  <a:gd name="T82" fmla="*/ 5 w 104"/>
                  <a:gd name="T83" fmla="*/ 54 h 117"/>
                  <a:gd name="T84" fmla="*/ 9 w 104"/>
                  <a:gd name="T85" fmla="*/ 54 h 117"/>
                  <a:gd name="T86" fmla="*/ 14 w 104"/>
                  <a:gd name="T87" fmla="*/ 36 h 117"/>
                  <a:gd name="T88" fmla="*/ 18 w 104"/>
                  <a:gd name="T89" fmla="*/ 40 h 117"/>
                  <a:gd name="T90" fmla="*/ 23 w 104"/>
                  <a:gd name="T91" fmla="*/ 40 h 117"/>
                  <a:gd name="T92" fmla="*/ 14 w 104"/>
                  <a:gd name="T93" fmla="*/ 31 h 117"/>
                  <a:gd name="T94" fmla="*/ 18 w 104"/>
                  <a:gd name="T95" fmla="*/ 31 h 117"/>
                  <a:gd name="T96" fmla="*/ 18 w 104"/>
                  <a:gd name="T97" fmla="*/ 22 h 117"/>
                  <a:gd name="T98" fmla="*/ 23 w 104"/>
                  <a:gd name="T99" fmla="*/ 22 h 117"/>
                  <a:gd name="T100" fmla="*/ 23 w 104"/>
                  <a:gd name="T101" fmla="*/ 22 h 117"/>
                  <a:gd name="T102" fmla="*/ 41 w 104"/>
                  <a:gd name="T103" fmla="*/ 22 h 117"/>
                  <a:gd name="T104" fmla="*/ 50 w 104"/>
                  <a:gd name="T105" fmla="*/ 13 h 117"/>
                  <a:gd name="T106" fmla="*/ 50 w 104"/>
                  <a:gd name="T10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4" h="117">
                    <a:moveTo>
                      <a:pt x="50" y="0"/>
                    </a:moveTo>
                    <a:lnTo>
                      <a:pt x="50" y="0"/>
                    </a:lnTo>
                    <a:lnTo>
                      <a:pt x="59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7" y="0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81" y="9"/>
                    </a:lnTo>
                    <a:lnTo>
                      <a:pt x="81" y="9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5" y="18"/>
                    </a:lnTo>
                    <a:lnTo>
                      <a:pt x="99" y="18"/>
                    </a:lnTo>
                    <a:lnTo>
                      <a:pt x="99" y="18"/>
                    </a:lnTo>
                    <a:lnTo>
                      <a:pt x="99" y="22"/>
                    </a:lnTo>
                    <a:lnTo>
                      <a:pt x="99" y="22"/>
                    </a:lnTo>
                    <a:lnTo>
                      <a:pt x="99" y="22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99" y="27"/>
                    </a:lnTo>
                    <a:lnTo>
                      <a:pt x="99" y="31"/>
                    </a:lnTo>
                    <a:lnTo>
                      <a:pt x="99" y="31"/>
                    </a:lnTo>
                    <a:lnTo>
                      <a:pt x="99" y="31"/>
                    </a:lnTo>
                    <a:lnTo>
                      <a:pt x="99" y="31"/>
                    </a:lnTo>
                    <a:lnTo>
                      <a:pt x="95" y="31"/>
                    </a:lnTo>
                    <a:lnTo>
                      <a:pt x="95" y="31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0" y="45"/>
                    </a:lnTo>
                    <a:lnTo>
                      <a:pt x="90" y="45"/>
                    </a:lnTo>
                    <a:lnTo>
                      <a:pt x="95" y="49"/>
                    </a:lnTo>
                    <a:lnTo>
                      <a:pt x="95" y="49"/>
                    </a:lnTo>
                    <a:lnTo>
                      <a:pt x="95" y="49"/>
                    </a:lnTo>
                    <a:lnTo>
                      <a:pt x="95" y="49"/>
                    </a:lnTo>
                    <a:lnTo>
                      <a:pt x="99" y="49"/>
                    </a:lnTo>
                    <a:lnTo>
                      <a:pt x="99" y="49"/>
                    </a:lnTo>
                    <a:lnTo>
                      <a:pt x="104" y="54"/>
                    </a:lnTo>
                    <a:lnTo>
                      <a:pt x="104" y="54"/>
                    </a:lnTo>
                    <a:lnTo>
                      <a:pt x="104" y="54"/>
                    </a:lnTo>
                    <a:lnTo>
                      <a:pt x="104" y="59"/>
                    </a:lnTo>
                    <a:lnTo>
                      <a:pt x="99" y="63"/>
                    </a:lnTo>
                    <a:lnTo>
                      <a:pt x="104" y="63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99" y="72"/>
                    </a:lnTo>
                    <a:lnTo>
                      <a:pt x="99" y="72"/>
                    </a:lnTo>
                    <a:lnTo>
                      <a:pt x="104" y="77"/>
                    </a:lnTo>
                    <a:lnTo>
                      <a:pt x="99" y="77"/>
                    </a:lnTo>
                    <a:lnTo>
                      <a:pt x="99" y="81"/>
                    </a:lnTo>
                    <a:lnTo>
                      <a:pt x="99" y="81"/>
                    </a:lnTo>
                    <a:lnTo>
                      <a:pt x="99" y="81"/>
                    </a:lnTo>
                    <a:lnTo>
                      <a:pt x="99" y="81"/>
                    </a:lnTo>
                    <a:lnTo>
                      <a:pt x="99" y="86"/>
                    </a:lnTo>
                    <a:lnTo>
                      <a:pt x="99" y="86"/>
                    </a:lnTo>
                    <a:lnTo>
                      <a:pt x="99" y="86"/>
                    </a:lnTo>
                    <a:lnTo>
                      <a:pt x="99" y="86"/>
                    </a:lnTo>
                    <a:lnTo>
                      <a:pt x="99" y="86"/>
                    </a:lnTo>
                    <a:lnTo>
                      <a:pt x="95" y="90"/>
                    </a:lnTo>
                    <a:lnTo>
                      <a:pt x="95" y="90"/>
                    </a:lnTo>
                    <a:lnTo>
                      <a:pt x="95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1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1" y="90"/>
                    </a:lnTo>
                    <a:lnTo>
                      <a:pt x="81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81"/>
                    </a:lnTo>
                    <a:lnTo>
                      <a:pt x="72" y="81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68" y="81"/>
                    </a:lnTo>
                    <a:lnTo>
                      <a:pt x="68" y="81"/>
                    </a:lnTo>
                    <a:lnTo>
                      <a:pt x="68" y="81"/>
                    </a:lnTo>
                    <a:lnTo>
                      <a:pt x="68" y="81"/>
                    </a:lnTo>
                    <a:lnTo>
                      <a:pt x="68" y="81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59" y="90"/>
                    </a:lnTo>
                    <a:lnTo>
                      <a:pt x="59" y="86"/>
                    </a:lnTo>
                    <a:lnTo>
                      <a:pt x="59" y="86"/>
                    </a:lnTo>
                    <a:lnTo>
                      <a:pt x="59" y="86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54" y="90"/>
                    </a:lnTo>
                    <a:lnTo>
                      <a:pt x="54" y="90"/>
                    </a:lnTo>
                    <a:lnTo>
                      <a:pt x="54" y="95"/>
                    </a:lnTo>
                    <a:lnTo>
                      <a:pt x="50" y="95"/>
                    </a:lnTo>
                    <a:lnTo>
                      <a:pt x="50" y="95"/>
                    </a:lnTo>
                    <a:lnTo>
                      <a:pt x="54" y="95"/>
                    </a:lnTo>
                    <a:lnTo>
                      <a:pt x="54" y="99"/>
                    </a:lnTo>
                    <a:lnTo>
                      <a:pt x="54" y="99"/>
                    </a:lnTo>
                    <a:lnTo>
                      <a:pt x="54" y="99"/>
                    </a:lnTo>
                    <a:lnTo>
                      <a:pt x="54" y="99"/>
                    </a:lnTo>
                    <a:lnTo>
                      <a:pt x="54" y="99"/>
                    </a:lnTo>
                    <a:lnTo>
                      <a:pt x="54" y="104"/>
                    </a:lnTo>
                    <a:lnTo>
                      <a:pt x="54" y="104"/>
                    </a:lnTo>
                    <a:lnTo>
                      <a:pt x="54" y="104"/>
                    </a:lnTo>
                    <a:lnTo>
                      <a:pt x="59" y="104"/>
                    </a:lnTo>
                    <a:lnTo>
                      <a:pt x="59" y="104"/>
                    </a:lnTo>
                    <a:lnTo>
                      <a:pt x="59" y="104"/>
                    </a:lnTo>
                    <a:lnTo>
                      <a:pt x="59" y="108"/>
                    </a:lnTo>
                    <a:lnTo>
                      <a:pt x="59" y="108"/>
                    </a:lnTo>
                    <a:lnTo>
                      <a:pt x="59" y="108"/>
                    </a:lnTo>
                    <a:lnTo>
                      <a:pt x="59" y="108"/>
                    </a:lnTo>
                    <a:lnTo>
                      <a:pt x="59" y="113"/>
                    </a:lnTo>
                    <a:lnTo>
                      <a:pt x="59" y="113"/>
                    </a:lnTo>
                    <a:lnTo>
                      <a:pt x="59" y="113"/>
                    </a:lnTo>
                    <a:lnTo>
                      <a:pt x="54" y="113"/>
                    </a:lnTo>
                    <a:lnTo>
                      <a:pt x="54" y="113"/>
                    </a:lnTo>
                    <a:lnTo>
                      <a:pt x="54" y="113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7"/>
                    </a:lnTo>
                    <a:lnTo>
                      <a:pt x="41" y="113"/>
                    </a:lnTo>
                    <a:lnTo>
                      <a:pt x="41" y="113"/>
                    </a:lnTo>
                    <a:lnTo>
                      <a:pt x="41" y="108"/>
                    </a:lnTo>
                    <a:lnTo>
                      <a:pt x="36" y="108"/>
                    </a:lnTo>
                    <a:lnTo>
                      <a:pt x="36" y="104"/>
                    </a:lnTo>
                    <a:lnTo>
                      <a:pt x="32" y="99"/>
                    </a:lnTo>
                    <a:lnTo>
                      <a:pt x="23" y="95"/>
                    </a:lnTo>
                    <a:lnTo>
                      <a:pt x="18" y="90"/>
                    </a:lnTo>
                    <a:lnTo>
                      <a:pt x="18" y="90"/>
                    </a:lnTo>
                    <a:lnTo>
                      <a:pt x="23" y="90"/>
                    </a:lnTo>
                    <a:lnTo>
                      <a:pt x="23" y="90"/>
                    </a:lnTo>
                    <a:lnTo>
                      <a:pt x="27" y="90"/>
                    </a:lnTo>
                    <a:lnTo>
                      <a:pt x="27" y="90"/>
                    </a:lnTo>
                    <a:lnTo>
                      <a:pt x="23" y="90"/>
                    </a:lnTo>
                    <a:lnTo>
                      <a:pt x="23" y="90"/>
                    </a:lnTo>
                    <a:lnTo>
                      <a:pt x="23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6"/>
                    </a:lnTo>
                    <a:lnTo>
                      <a:pt x="18" y="86"/>
                    </a:lnTo>
                    <a:lnTo>
                      <a:pt x="18" y="86"/>
                    </a:lnTo>
                    <a:lnTo>
                      <a:pt x="14" y="81"/>
                    </a:lnTo>
                    <a:lnTo>
                      <a:pt x="14" y="81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81"/>
                    </a:lnTo>
                    <a:lnTo>
                      <a:pt x="14" y="81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9" y="72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8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5" y="59"/>
                    </a:lnTo>
                    <a:lnTo>
                      <a:pt x="5" y="59"/>
                    </a:lnTo>
                    <a:lnTo>
                      <a:pt x="0" y="54"/>
                    </a:lnTo>
                    <a:lnTo>
                      <a:pt x="5" y="54"/>
                    </a:lnTo>
                    <a:lnTo>
                      <a:pt x="5" y="54"/>
                    </a:lnTo>
                    <a:lnTo>
                      <a:pt x="5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14" y="49"/>
                    </a:lnTo>
                    <a:lnTo>
                      <a:pt x="14" y="45"/>
                    </a:lnTo>
                    <a:lnTo>
                      <a:pt x="14" y="40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3" y="40"/>
                    </a:lnTo>
                    <a:lnTo>
                      <a:pt x="23" y="40"/>
                    </a:lnTo>
                    <a:lnTo>
                      <a:pt x="23" y="40"/>
                    </a:lnTo>
                    <a:lnTo>
                      <a:pt x="23" y="40"/>
                    </a:lnTo>
                    <a:lnTo>
                      <a:pt x="23" y="40"/>
                    </a:lnTo>
                    <a:lnTo>
                      <a:pt x="18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1"/>
                    </a:lnTo>
                    <a:lnTo>
                      <a:pt x="14" y="31"/>
                    </a:lnTo>
                    <a:lnTo>
                      <a:pt x="14" y="31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8" y="27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3" y="22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32" y="22"/>
                    </a:lnTo>
                    <a:lnTo>
                      <a:pt x="36" y="22"/>
                    </a:lnTo>
                    <a:lnTo>
                      <a:pt x="41" y="22"/>
                    </a:lnTo>
                    <a:lnTo>
                      <a:pt x="45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18"/>
                    </a:lnTo>
                    <a:lnTo>
                      <a:pt x="50" y="13"/>
                    </a:lnTo>
                    <a:lnTo>
                      <a:pt x="50" y="9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39" name="Freeform 60"/>
              <p:cNvSpPr>
                <a:spLocks noEditPoints="1"/>
              </p:cNvSpPr>
              <p:nvPr/>
            </p:nvSpPr>
            <p:spPr bwMode="auto">
              <a:xfrm>
                <a:off x="4141788" y="1201739"/>
                <a:ext cx="214313" cy="250825"/>
              </a:xfrm>
              <a:custGeom>
                <a:avLst/>
                <a:gdLst>
                  <a:gd name="T0" fmla="*/ 31 w 135"/>
                  <a:gd name="T1" fmla="*/ 72 h 158"/>
                  <a:gd name="T2" fmla="*/ 36 w 135"/>
                  <a:gd name="T3" fmla="*/ 77 h 158"/>
                  <a:gd name="T4" fmla="*/ 31 w 135"/>
                  <a:gd name="T5" fmla="*/ 86 h 158"/>
                  <a:gd name="T6" fmla="*/ 22 w 135"/>
                  <a:gd name="T7" fmla="*/ 81 h 158"/>
                  <a:gd name="T8" fmla="*/ 13 w 135"/>
                  <a:gd name="T9" fmla="*/ 81 h 158"/>
                  <a:gd name="T10" fmla="*/ 4 w 135"/>
                  <a:gd name="T11" fmla="*/ 81 h 158"/>
                  <a:gd name="T12" fmla="*/ 4 w 135"/>
                  <a:gd name="T13" fmla="*/ 72 h 158"/>
                  <a:gd name="T14" fmla="*/ 9 w 135"/>
                  <a:gd name="T15" fmla="*/ 68 h 158"/>
                  <a:gd name="T16" fmla="*/ 27 w 135"/>
                  <a:gd name="T17" fmla="*/ 63 h 158"/>
                  <a:gd name="T18" fmla="*/ 40 w 135"/>
                  <a:gd name="T19" fmla="*/ 22 h 158"/>
                  <a:gd name="T20" fmla="*/ 31 w 135"/>
                  <a:gd name="T21" fmla="*/ 27 h 158"/>
                  <a:gd name="T22" fmla="*/ 27 w 135"/>
                  <a:gd name="T23" fmla="*/ 18 h 158"/>
                  <a:gd name="T24" fmla="*/ 36 w 135"/>
                  <a:gd name="T25" fmla="*/ 4 h 158"/>
                  <a:gd name="T26" fmla="*/ 27 w 135"/>
                  <a:gd name="T27" fmla="*/ 13 h 158"/>
                  <a:gd name="T28" fmla="*/ 22 w 135"/>
                  <a:gd name="T29" fmla="*/ 9 h 158"/>
                  <a:gd name="T30" fmla="*/ 22 w 135"/>
                  <a:gd name="T31" fmla="*/ 4 h 158"/>
                  <a:gd name="T32" fmla="*/ 36 w 135"/>
                  <a:gd name="T33" fmla="*/ 0 h 158"/>
                  <a:gd name="T34" fmla="*/ 72 w 135"/>
                  <a:gd name="T35" fmla="*/ 4 h 158"/>
                  <a:gd name="T36" fmla="*/ 67 w 135"/>
                  <a:gd name="T37" fmla="*/ 18 h 158"/>
                  <a:gd name="T38" fmla="*/ 95 w 135"/>
                  <a:gd name="T39" fmla="*/ 18 h 158"/>
                  <a:gd name="T40" fmla="*/ 81 w 135"/>
                  <a:gd name="T41" fmla="*/ 36 h 158"/>
                  <a:gd name="T42" fmla="*/ 81 w 135"/>
                  <a:gd name="T43" fmla="*/ 40 h 158"/>
                  <a:gd name="T44" fmla="*/ 67 w 135"/>
                  <a:gd name="T45" fmla="*/ 50 h 158"/>
                  <a:gd name="T46" fmla="*/ 95 w 135"/>
                  <a:gd name="T47" fmla="*/ 63 h 158"/>
                  <a:gd name="T48" fmla="*/ 113 w 135"/>
                  <a:gd name="T49" fmla="*/ 86 h 158"/>
                  <a:gd name="T50" fmla="*/ 108 w 135"/>
                  <a:gd name="T51" fmla="*/ 90 h 158"/>
                  <a:gd name="T52" fmla="*/ 113 w 135"/>
                  <a:gd name="T53" fmla="*/ 104 h 158"/>
                  <a:gd name="T54" fmla="*/ 126 w 135"/>
                  <a:gd name="T55" fmla="*/ 104 h 158"/>
                  <a:gd name="T56" fmla="*/ 135 w 135"/>
                  <a:gd name="T57" fmla="*/ 122 h 158"/>
                  <a:gd name="T58" fmla="*/ 122 w 135"/>
                  <a:gd name="T59" fmla="*/ 131 h 158"/>
                  <a:gd name="T60" fmla="*/ 122 w 135"/>
                  <a:gd name="T61" fmla="*/ 135 h 158"/>
                  <a:gd name="T62" fmla="*/ 122 w 135"/>
                  <a:gd name="T63" fmla="*/ 144 h 158"/>
                  <a:gd name="T64" fmla="*/ 95 w 135"/>
                  <a:gd name="T65" fmla="*/ 144 h 158"/>
                  <a:gd name="T66" fmla="*/ 81 w 135"/>
                  <a:gd name="T67" fmla="*/ 149 h 158"/>
                  <a:gd name="T68" fmla="*/ 67 w 135"/>
                  <a:gd name="T69" fmla="*/ 149 h 158"/>
                  <a:gd name="T70" fmla="*/ 49 w 135"/>
                  <a:gd name="T71" fmla="*/ 154 h 158"/>
                  <a:gd name="T72" fmla="*/ 31 w 135"/>
                  <a:gd name="T73" fmla="*/ 158 h 158"/>
                  <a:gd name="T74" fmla="*/ 36 w 135"/>
                  <a:gd name="T75" fmla="*/ 149 h 158"/>
                  <a:gd name="T76" fmla="*/ 63 w 135"/>
                  <a:gd name="T77" fmla="*/ 140 h 158"/>
                  <a:gd name="T78" fmla="*/ 72 w 135"/>
                  <a:gd name="T79" fmla="*/ 131 h 158"/>
                  <a:gd name="T80" fmla="*/ 49 w 135"/>
                  <a:gd name="T81" fmla="*/ 131 h 158"/>
                  <a:gd name="T82" fmla="*/ 36 w 135"/>
                  <a:gd name="T83" fmla="*/ 126 h 158"/>
                  <a:gd name="T84" fmla="*/ 54 w 135"/>
                  <a:gd name="T85" fmla="*/ 117 h 158"/>
                  <a:gd name="T86" fmla="*/ 54 w 135"/>
                  <a:gd name="T87" fmla="*/ 104 h 158"/>
                  <a:gd name="T88" fmla="*/ 54 w 135"/>
                  <a:gd name="T89" fmla="*/ 104 h 158"/>
                  <a:gd name="T90" fmla="*/ 72 w 135"/>
                  <a:gd name="T91" fmla="*/ 99 h 158"/>
                  <a:gd name="T92" fmla="*/ 72 w 135"/>
                  <a:gd name="T93" fmla="*/ 90 h 158"/>
                  <a:gd name="T94" fmla="*/ 67 w 135"/>
                  <a:gd name="T95" fmla="*/ 81 h 158"/>
                  <a:gd name="T96" fmla="*/ 63 w 135"/>
                  <a:gd name="T97" fmla="*/ 68 h 158"/>
                  <a:gd name="T98" fmla="*/ 54 w 135"/>
                  <a:gd name="T99" fmla="*/ 68 h 158"/>
                  <a:gd name="T100" fmla="*/ 40 w 135"/>
                  <a:gd name="T101" fmla="*/ 68 h 158"/>
                  <a:gd name="T102" fmla="*/ 49 w 135"/>
                  <a:gd name="T103" fmla="*/ 50 h 158"/>
                  <a:gd name="T104" fmla="*/ 49 w 135"/>
                  <a:gd name="T105" fmla="*/ 50 h 158"/>
                  <a:gd name="T106" fmla="*/ 49 w 135"/>
                  <a:gd name="T107" fmla="*/ 45 h 158"/>
                  <a:gd name="T108" fmla="*/ 36 w 135"/>
                  <a:gd name="T109" fmla="*/ 59 h 158"/>
                  <a:gd name="T110" fmla="*/ 40 w 135"/>
                  <a:gd name="T111" fmla="*/ 50 h 158"/>
                  <a:gd name="T112" fmla="*/ 45 w 135"/>
                  <a:gd name="T113" fmla="*/ 36 h 158"/>
                  <a:gd name="T114" fmla="*/ 31 w 135"/>
                  <a:gd name="T115" fmla="*/ 36 h 158"/>
                  <a:gd name="T116" fmla="*/ 40 w 135"/>
                  <a:gd name="T117" fmla="*/ 22 h 158"/>
                  <a:gd name="T118" fmla="*/ 40 w 135"/>
                  <a:gd name="T119" fmla="*/ 13 h 158"/>
                  <a:gd name="T120" fmla="*/ 45 w 135"/>
                  <a:gd name="T121" fmla="*/ 4 h 158"/>
                  <a:gd name="T122" fmla="*/ 54 w 135"/>
                  <a:gd name="T123" fmla="*/ 0 h 158"/>
                  <a:gd name="T124" fmla="*/ 67 w 135"/>
                  <a:gd name="T12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35" h="158">
                    <a:moveTo>
                      <a:pt x="27" y="63"/>
                    </a:moveTo>
                    <a:lnTo>
                      <a:pt x="27" y="63"/>
                    </a:lnTo>
                    <a:lnTo>
                      <a:pt x="27" y="63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31" y="68"/>
                    </a:lnTo>
                    <a:lnTo>
                      <a:pt x="31" y="68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1" y="72"/>
                    </a:lnTo>
                    <a:lnTo>
                      <a:pt x="31" y="72"/>
                    </a:lnTo>
                    <a:lnTo>
                      <a:pt x="31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81"/>
                    </a:lnTo>
                    <a:lnTo>
                      <a:pt x="31" y="81"/>
                    </a:lnTo>
                    <a:lnTo>
                      <a:pt x="31" y="81"/>
                    </a:lnTo>
                    <a:lnTo>
                      <a:pt x="31" y="81"/>
                    </a:lnTo>
                    <a:lnTo>
                      <a:pt x="31" y="81"/>
                    </a:lnTo>
                    <a:lnTo>
                      <a:pt x="31" y="86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18" y="86"/>
                    </a:lnTo>
                    <a:lnTo>
                      <a:pt x="18" y="86"/>
                    </a:lnTo>
                    <a:lnTo>
                      <a:pt x="22" y="81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13" y="77"/>
                    </a:lnTo>
                    <a:lnTo>
                      <a:pt x="13" y="77"/>
                    </a:lnTo>
                    <a:lnTo>
                      <a:pt x="13" y="81"/>
                    </a:lnTo>
                    <a:lnTo>
                      <a:pt x="13" y="81"/>
                    </a:lnTo>
                    <a:lnTo>
                      <a:pt x="13" y="81"/>
                    </a:lnTo>
                    <a:lnTo>
                      <a:pt x="13" y="81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4" y="81"/>
                    </a:lnTo>
                    <a:lnTo>
                      <a:pt x="4" y="81"/>
                    </a:lnTo>
                    <a:lnTo>
                      <a:pt x="4" y="81"/>
                    </a:lnTo>
                    <a:lnTo>
                      <a:pt x="4" y="81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9" y="72"/>
                    </a:lnTo>
                    <a:lnTo>
                      <a:pt x="9" y="72"/>
                    </a:lnTo>
                    <a:lnTo>
                      <a:pt x="9" y="72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13" y="68"/>
                    </a:lnTo>
                    <a:lnTo>
                      <a:pt x="13" y="68"/>
                    </a:lnTo>
                    <a:lnTo>
                      <a:pt x="13" y="63"/>
                    </a:lnTo>
                    <a:lnTo>
                      <a:pt x="13" y="63"/>
                    </a:lnTo>
                    <a:lnTo>
                      <a:pt x="18" y="68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22" y="63"/>
                    </a:lnTo>
                    <a:lnTo>
                      <a:pt x="27" y="63"/>
                    </a:lnTo>
                    <a:lnTo>
                      <a:pt x="27" y="63"/>
                    </a:lnTo>
                    <a:moveTo>
                      <a:pt x="36" y="18"/>
                    </a:moveTo>
                    <a:lnTo>
                      <a:pt x="36" y="18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7"/>
                    </a:lnTo>
                    <a:lnTo>
                      <a:pt x="40" y="27"/>
                    </a:lnTo>
                    <a:lnTo>
                      <a:pt x="40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1" y="22"/>
                    </a:lnTo>
                    <a:lnTo>
                      <a:pt x="31" y="22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moveTo>
                      <a:pt x="36" y="4"/>
                    </a:moveTo>
                    <a:lnTo>
                      <a:pt x="36" y="4"/>
                    </a:lnTo>
                    <a:lnTo>
                      <a:pt x="36" y="4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2" y="13"/>
                    </a:lnTo>
                    <a:lnTo>
                      <a:pt x="22" y="13"/>
                    </a:lnTo>
                    <a:lnTo>
                      <a:pt x="22" y="13"/>
                    </a:lnTo>
                    <a:lnTo>
                      <a:pt x="22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7" y="9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9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31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4"/>
                    </a:lnTo>
                    <a:moveTo>
                      <a:pt x="76" y="0"/>
                    </a:moveTo>
                    <a:lnTo>
                      <a:pt x="76" y="0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2" y="4"/>
                    </a:lnTo>
                    <a:lnTo>
                      <a:pt x="67" y="9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7" y="13"/>
                    </a:lnTo>
                    <a:lnTo>
                      <a:pt x="67" y="13"/>
                    </a:lnTo>
                    <a:lnTo>
                      <a:pt x="67" y="13"/>
                    </a:lnTo>
                    <a:lnTo>
                      <a:pt x="63" y="18"/>
                    </a:lnTo>
                    <a:lnTo>
                      <a:pt x="63" y="18"/>
                    </a:lnTo>
                    <a:lnTo>
                      <a:pt x="63" y="18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81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5" y="18"/>
                    </a:lnTo>
                    <a:lnTo>
                      <a:pt x="95" y="22"/>
                    </a:lnTo>
                    <a:lnTo>
                      <a:pt x="95" y="22"/>
                    </a:lnTo>
                    <a:lnTo>
                      <a:pt x="95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7"/>
                    </a:lnTo>
                    <a:lnTo>
                      <a:pt x="90" y="27"/>
                    </a:lnTo>
                    <a:lnTo>
                      <a:pt x="90" y="27"/>
                    </a:lnTo>
                    <a:lnTo>
                      <a:pt x="86" y="31"/>
                    </a:lnTo>
                    <a:lnTo>
                      <a:pt x="86" y="36"/>
                    </a:lnTo>
                    <a:lnTo>
                      <a:pt x="81" y="36"/>
                    </a:lnTo>
                    <a:lnTo>
                      <a:pt x="81" y="36"/>
                    </a:lnTo>
                    <a:lnTo>
                      <a:pt x="81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1" y="40"/>
                    </a:lnTo>
                    <a:lnTo>
                      <a:pt x="81" y="45"/>
                    </a:lnTo>
                    <a:lnTo>
                      <a:pt x="76" y="45"/>
                    </a:lnTo>
                    <a:lnTo>
                      <a:pt x="76" y="45"/>
                    </a:lnTo>
                    <a:lnTo>
                      <a:pt x="72" y="45"/>
                    </a:lnTo>
                    <a:lnTo>
                      <a:pt x="72" y="45"/>
                    </a:lnTo>
                    <a:lnTo>
                      <a:pt x="72" y="50"/>
                    </a:lnTo>
                    <a:lnTo>
                      <a:pt x="67" y="50"/>
                    </a:lnTo>
                    <a:lnTo>
                      <a:pt x="67" y="45"/>
                    </a:lnTo>
                    <a:lnTo>
                      <a:pt x="63" y="45"/>
                    </a:lnTo>
                    <a:lnTo>
                      <a:pt x="63" y="45"/>
                    </a:lnTo>
                    <a:lnTo>
                      <a:pt x="67" y="50"/>
                    </a:lnTo>
                    <a:lnTo>
                      <a:pt x="72" y="50"/>
                    </a:lnTo>
                    <a:lnTo>
                      <a:pt x="76" y="50"/>
                    </a:lnTo>
                    <a:lnTo>
                      <a:pt x="76" y="50"/>
                    </a:lnTo>
                    <a:lnTo>
                      <a:pt x="81" y="50"/>
                    </a:lnTo>
                    <a:lnTo>
                      <a:pt x="86" y="50"/>
                    </a:lnTo>
                    <a:lnTo>
                      <a:pt x="90" y="54"/>
                    </a:lnTo>
                    <a:lnTo>
                      <a:pt x="90" y="54"/>
                    </a:lnTo>
                    <a:lnTo>
                      <a:pt x="90" y="54"/>
                    </a:lnTo>
                    <a:lnTo>
                      <a:pt x="95" y="59"/>
                    </a:lnTo>
                    <a:lnTo>
                      <a:pt x="95" y="59"/>
                    </a:lnTo>
                    <a:lnTo>
                      <a:pt x="95" y="63"/>
                    </a:lnTo>
                    <a:lnTo>
                      <a:pt x="95" y="68"/>
                    </a:lnTo>
                    <a:lnTo>
                      <a:pt x="95" y="72"/>
                    </a:lnTo>
                    <a:lnTo>
                      <a:pt x="99" y="72"/>
                    </a:lnTo>
                    <a:lnTo>
                      <a:pt x="99" y="72"/>
                    </a:lnTo>
                    <a:lnTo>
                      <a:pt x="104" y="77"/>
                    </a:lnTo>
                    <a:lnTo>
                      <a:pt x="104" y="77"/>
                    </a:lnTo>
                    <a:lnTo>
                      <a:pt x="108" y="77"/>
                    </a:lnTo>
                    <a:lnTo>
                      <a:pt x="108" y="81"/>
                    </a:lnTo>
                    <a:lnTo>
                      <a:pt x="113" y="81"/>
                    </a:lnTo>
                    <a:lnTo>
                      <a:pt x="113" y="86"/>
                    </a:lnTo>
                    <a:lnTo>
                      <a:pt x="113" y="86"/>
                    </a:lnTo>
                    <a:lnTo>
                      <a:pt x="113" y="86"/>
                    </a:lnTo>
                    <a:lnTo>
                      <a:pt x="113" y="86"/>
                    </a:lnTo>
                    <a:lnTo>
                      <a:pt x="113" y="90"/>
                    </a:lnTo>
                    <a:lnTo>
                      <a:pt x="113" y="90"/>
                    </a:lnTo>
                    <a:lnTo>
                      <a:pt x="113" y="95"/>
                    </a:lnTo>
                    <a:lnTo>
                      <a:pt x="113" y="95"/>
                    </a:lnTo>
                    <a:lnTo>
                      <a:pt x="113" y="95"/>
                    </a:lnTo>
                    <a:lnTo>
                      <a:pt x="113" y="95"/>
                    </a:lnTo>
                    <a:lnTo>
                      <a:pt x="113" y="95"/>
                    </a:lnTo>
                    <a:lnTo>
                      <a:pt x="113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4" y="90"/>
                    </a:lnTo>
                    <a:lnTo>
                      <a:pt x="104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13" y="95"/>
                    </a:lnTo>
                    <a:lnTo>
                      <a:pt x="117" y="99"/>
                    </a:lnTo>
                    <a:lnTo>
                      <a:pt x="117" y="104"/>
                    </a:lnTo>
                    <a:lnTo>
                      <a:pt x="117" y="104"/>
                    </a:lnTo>
                    <a:lnTo>
                      <a:pt x="117" y="104"/>
                    </a:lnTo>
                    <a:lnTo>
                      <a:pt x="113" y="104"/>
                    </a:lnTo>
                    <a:lnTo>
                      <a:pt x="113" y="108"/>
                    </a:lnTo>
                    <a:lnTo>
                      <a:pt x="117" y="108"/>
                    </a:lnTo>
                    <a:lnTo>
                      <a:pt x="117" y="108"/>
                    </a:lnTo>
                    <a:lnTo>
                      <a:pt x="117" y="108"/>
                    </a:lnTo>
                    <a:lnTo>
                      <a:pt x="117" y="108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26" y="104"/>
                    </a:lnTo>
                    <a:lnTo>
                      <a:pt x="126" y="104"/>
                    </a:lnTo>
                    <a:lnTo>
                      <a:pt x="126" y="104"/>
                    </a:lnTo>
                    <a:lnTo>
                      <a:pt x="131" y="108"/>
                    </a:lnTo>
                    <a:lnTo>
                      <a:pt x="131" y="108"/>
                    </a:lnTo>
                    <a:lnTo>
                      <a:pt x="135" y="108"/>
                    </a:lnTo>
                    <a:lnTo>
                      <a:pt x="135" y="113"/>
                    </a:lnTo>
                    <a:lnTo>
                      <a:pt x="135" y="113"/>
                    </a:lnTo>
                    <a:lnTo>
                      <a:pt x="135" y="113"/>
                    </a:lnTo>
                    <a:lnTo>
                      <a:pt x="135" y="117"/>
                    </a:lnTo>
                    <a:lnTo>
                      <a:pt x="135" y="117"/>
                    </a:lnTo>
                    <a:lnTo>
                      <a:pt x="135" y="122"/>
                    </a:lnTo>
                    <a:lnTo>
                      <a:pt x="135" y="122"/>
                    </a:lnTo>
                    <a:lnTo>
                      <a:pt x="135" y="122"/>
                    </a:lnTo>
                    <a:lnTo>
                      <a:pt x="131" y="122"/>
                    </a:lnTo>
                    <a:lnTo>
                      <a:pt x="131" y="126"/>
                    </a:lnTo>
                    <a:lnTo>
                      <a:pt x="131" y="126"/>
                    </a:lnTo>
                    <a:lnTo>
                      <a:pt x="131" y="126"/>
                    </a:lnTo>
                    <a:lnTo>
                      <a:pt x="131" y="126"/>
                    </a:lnTo>
                    <a:lnTo>
                      <a:pt x="131" y="126"/>
                    </a:lnTo>
                    <a:lnTo>
                      <a:pt x="131" y="126"/>
                    </a:lnTo>
                    <a:lnTo>
                      <a:pt x="126" y="126"/>
                    </a:lnTo>
                    <a:lnTo>
                      <a:pt x="126" y="126"/>
                    </a:lnTo>
                    <a:lnTo>
                      <a:pt x="126" y="126"/>
                    </a:lnTo>
                    <a:lnTo>
                      <a:pt x="122" y="131"/>
                    </a:lnTo>
                    <a:lnTo>
                      <a:pt x="122" y="131"/>
                    </a:lnTo>
                    <a:lnTo>
                      <a:pt x="122" y="131"/>
                    </a:lnTo>
                    <a:lnTo>
                      <a:pt x="122" y="131"/>
                    </a:lnTo>
                    <a:lnTo>
                      <a:pt x="122" y="131"/>
                    </a:lnTo>
                    <a:lnTo>
                      <a:pt x="122" y="131"/>
                    </a:lnTo>
                    <a:lnTo>
                      <a:pt x="117" y="131"/>
                    </a:lnTo>
                    <a:lnTo>
                      <a:pt x="117" y="131"/>
                    </a:lnTo>
                    <a:lnTo>
                      <a:pt x="117" y="135"/>
                    </a:lnTo>
                    <a:lnTo>
                      <a:pt x="117" y="135"/>
                    </a:lnTo>
                    <a:lnTo>
                      <a:pt x="117" y="135"/>
                    </a:lnTo>
                    <a:lnTo>
                      <a:pt x="122" y="135"/>
                    </a:lnTo>
                    <a:lnTo>
                      <a:pt x="122" y="135"/>
                    </a:lnTo>
                    <a:lnTo>
                      <a:pt x="122" y="135"/>
                    </a:lnTo>
                    <a:lnTo>
                      <a:pt x="126" y="135"/>
                    </a:lnTo>
                    <a:lnTo>
                      <a:pt x="126" y="135"/>
                    </a:lnTo>
                    <a:lnTo>
                      <a:pt x="131" y="135"/>
                    </a:lnTo>
                    <a:lnTo>
                      <a:pt x="131" y="135"/>
                    </a:lnTo>
                    <a:lnTo>
                      <a:pt x="131" y="135"/>
                    </a:lnTo>
                    <a:lnTo>
                      <a:pt x="131" y="140"/>
                    </a:lnTo>
                    <a:lnTo>
                      <a:pt x="131" y="140"/>
                    </a:lnTo>
                    <a:lnTo>
                      <a:pt x="126" y="140"/>
                    </a:lnTo>
                    <a:lnTo>
                      <a:pt x="122" y="144"/>
                    </a:lnTo>
                    <a:lnTo>
                      <a:pt x="122" y="144"/>
                    </a:lnTo>
                    <a:lnTo>
                      <a:pt x="122" y="144"/>
                    </a:lnTo>
                    <a:lnTo>
                      <a:pt x="122" y="144"/>
                    </a:lnTo>
                    <a:lnTo>
                      <a:pt x="117" y="144"/>
                    </a:lnTo>
                    <a:lnTo>
                      <a:pt x="117" y="144"/>
                    </a:lnTo>
                    <a:lnTo>
                      <a:pt x="113" y="144"/>
                    </a:lnTo>
                    <a:lnTo>
                      <a:pt x="113" y="149"/>
                    </a:lnTo>
                    <a:lnTo>
                      <a:pt x="108" y="144"/>
                    </a:lnTo>
                    <a:lnTo>
                      <a:pt x="104" y="144"/>
                    </a:lnTo>
                    <a:lnTo>
                      <a:pt x="99" y="144"/>
                    </a:lnTo>
                    <a:lnTo>
                      <a:pt x="95" y="144"/>
                    </a:lnTo>
                    <a:lnTo>
                      <a:pt x="95" y="144"/>
                    </a:lnTo>
                    <a:lnTo>
                      <a:pt x="95" y="144"/>
                    </a:lnTo>
                    <a:lnTo>
                      <a:pt x="90" y="144"/>
                    </a:lnTo>
                    <a:lnTo>
                      <a:pt x="90" y="144"/>
                    </a:lnTo>
                    <a:lnTo>
                      <a:pt x="90" y="144"/>
                    </a:lnTo>
                    <a:lnTo>
                      <a:pt x="86" y="149"/>
                    </a:lnTo>
                    <a:lnTo>
                      <a:pt x="86" y="149"/>
                    </a:lnTo>
                    <a:lnTo>
                      <a:pt x="86" y="149"/>
                    </a:lnTo>
                    <a:lnTo>
                      <a:pt x="81" y="149"/>
                    </a:lnTo>
                    <a:lnTo>
                      <a:pt x="81" y="149"/>
                    </a:lnTo>
                    <a:lnTo>
                      <a:pt x="81" y="149"/>
                    </a:lnTo>
                    <a:lnTo>
                      <a:pt x="81" y="149"/>
                    </a:lnTo>
                    <a:lnTo>
                      <a:pt x="81" y="149"/>
                    </a:lnTo>
                    <a:lnTo>
                      <a:pt x="81" y="149"/>
                    </a:lnTo>
                    <a:lnTo>
                      <a:pt x="76" y="149"/>
                    </a:lnTo>
                    <a:lnTo>
                      <a:pt x="76" y="149"/>
                    </a:lnTo>
                    <a:lnTo>
                      <a:pt x="72" y="149"/>
                    </a:lnTo>
                    <a:lnTo>
                      <a:pt x="72" y="149"/>
                    </a:lnTo>
                    <a:lnTo>
                      <a:pt x="72" y="149"/>
                    </a:lnTo>
                    <a:lnTo>
                      <a:pt x="67" y="149"/>
                    </a:lnTo>
                    <a:lnTo>
                      <a:pt x="67" y="149"/>
                    </a:lnTo>
                    <a:lnTo>
                      <a:pt x="67" y="149"/>
                    </a:lnTo>
                    <a:lnTo>
                      <a:pt x="58" y="149"/>
                    </a:lnTo>
                    <a:lnTo>
                      <a:pt x="58" y="149"/>
                    </a:lnTo>
                    <a:lnTo>
                      <a:pt x="58" y="154"/>
                    </a:lnTo>
                    <a:lnTo>
                      <a:pt x="58" y="154"/>
                    </a:lnTo>
                    <a:lnTo>
                      <a:pt x="54" y="158"/>
                    </a:lnTo>
                    <a:lnTo>
                      <a:pt x="54" y="158"/>
                    </a:lnTo>
                    <a:lnTo>
                      <a:pt x="54" y="154"/>
                    </a:lnTo>
                    <a:lnTo>
                      <a:pt x="49" y="154"/>
                    </a:lnTo>
                    <a:lnTo>
                      <a:pt x="49" y="154"/>
                    </a:lnTo>
                    <a:lnTo>
                      <a:pt x="49" y="154"/>
                    </a:lnTo>
                    <a:lnTo>
                      <a:pt x="49" y="154"/>
                    </a:lnTo>
                    <a:lnTo>
                      <a:pt x="45" y="154"/>
                    </a:lnTo>
                    <a:lnTo>
                      <a:pt x="45" y="154"/>
                    </a:lnTo>
                    <a:lnTo>
                      <a:pt x="45" y="154"/>
                    </a:lnTo>
                    <a:lnTo>
                      <a:pt x="40" y="154"/>
                    </a:lnTo>
                    <a:lnTo>
                      <a:pt x="40" y="158"/>
                    </a:lnTo>
                    <a:lnTo>
                      <a:pt x="36" y="158"/>
                    </a:lnTo>
                    <a:lnTo>
                      <a:pt x="36" y="158"/>
                    </a:lnTo>
                    <a:lnTo>
                      <a:pt x="36" y="158"/>
                    </a:lnTo>
                    <a:lnTo>
                      <a:pt x="31" y="158"/>
                    </a:lnTo>
                    <a:lnTo>
                      <a:pt x="31" y="158"/>
                    </a:lnTo>
                    <a:lnTo>
                      <a:pt x="31" y="158"/>
                    </a:lnTo>
                    <a:lnTo>
                      <a:pt x="27" y="158"/>
                    </a:lnTo>
                    <a:lnTo>
                      <a:pt x="27" y="158"/>
                    </a:lnTo>
                    <a:lnTo>
                      <a:pt x="27" y="158"/>
                    </a:lnTo>
                    <a:lnTo>
                      <a:pt x="27" y="158"/>
                    </a:lnTo>
                    <a:lnTo>
                      <a:pt x="27" y="158"/>
                    </a:lnTo>
                    <a:lnTo>
                      <a:pt x="31" y="158"/>
                    </a:lnTo>
                    <a:lnTo>
                      <a:pt x="36" y="154"/>
                    </a:lnTo>
                    <a:lnTo>
                      <a:pt x="36" y="154"/>
                    </a:lnTo>
                    <a:lnTo>
                      <a:pt x="36" y="154"/>
                    </a:lnTo>
                    <a:lnTo>
                      <a:pt x="36" y="149"/>
                    </a:lnTo>
                    <a:lnTo>
                      <a:pt x="36" y="149"/>
                    </a:lnTo>
                    <a:lnTo>
                      <a:pt x="40" y="149"/>
                    </a:lnTo>
                    <a:lnTo>
                      <a:pt x="45" y="144"/>
                    </a:lnTo>
                    <a:lnTo>
                      <a:pt x="45" y="144"/>
                    </a:lnTo>
                    <a:lnTo>
                      <a:pt x="45" y="144"/>
                    </a:lnTo>
                    <a:lnTo>
                      <a:pt x="45" y="144"/>
                    </a:lnTo>
                    <a:lnTo>
                      <a:pt x="49" y="140"/>
                    </a:lnTo>
                    <a:lnTo>
                      <a:pt x="49" y="140"/>
                    </a:lnTo>
                    <a:lnTo>
                      <a:pt x="49" y="140"/>
                    </a:lnTo>
                    <a:lnTo>
                      <a:pt x="54" y="135"/>
                    </a:lnTo>
                    <a:lnTo>
                      <a:pt x="58" y="140"/>
                    </a:lnTo>
                    <a:lnTo>
                      <a:pt x="63" y="140"/>
                    </a:lnTo>
                    <a:lnTo>
                      <a:pt x="63" y="140"/>
                    </a:lnTo>
                    <a:lnTo>
                      <a:pt x="63" y="140"/>
                    </a:lnTo>
                    <a:lnTo>
                      <a:pt x="67" y="135"/>
                    </a:lnTo>
                    <a:lnTo>
                      <a:pt x="67" y="135"/>
                    </a:lnTo>
                    <a:lnTo>
                      <a:pt x="72" y="135"/>
                    </a:lnTo>
                    <a:lnTo>
                      <a:pt x="72" y="131"/>
                    </a:lnTo>
                    <a:lnTo>
                      <a:pt x="72" y="131"/>
                    </a:lnTo>
                    <a:lnTo>
                      <a:pt x="76" y="126"/>
                    </a:lnTo>
                    <a:lnTo>
                      <a:pt x="72" y="131"/>
                    </a:lnTo>
                    <a:lnTo>
                      <a:pt x="72" y="131"/>
                    </a:lnTo>
                    <a:lnTo>
                      <a:pt x="72" y="131"/>
                    </a:lnTo>
                    <a:lnTo>
                      <a:pt x="67" y="131"/>
                    </a:lnTo>
                    <a:lnTo>
                      <a:pt x="67" y="131"/>
                    </a:lnTo>
                    <a:lnTo>
                      <a:pt x="63" y="135"/>
                    </a:lnTo>
                    <a:lnTo>
                      <a:pt x="63" y="135"/>
                    </a:lnTo>
                    <a:lnTo>
                      <a:pt x="58" y="135"/>
                    </a:lnTo>
                    <a:lnTo>
                      <a:pt x="54" y="131"/>
                    </a:lnTo>
                    <a:lnTo>
                      <a:pt x="54" y="131"/>
                    </a:lnTo>
                    <a:lnTo>
                      <a:pt x="54" y="131"/>
                    </a:lnTo>
                    <a:lnTo>
                      <a:pt x="54" y="131"/>
                    </a:lnTo>
                    <a:lnTo>
                      <a:pt x="49" y="131"/>
                    </a:lnTo>
                    <a:lnTo>
                      <a:pt x="49" y="131"/>
                    </a:lnTo>
                    <a:lnTo>
                      <a:pt x="49" y="131"/>
                    </a:lnTo>
                    <a:lnTo>
                      <a:pt x="49" y="131"/>
                    </a:lnTo>
                    <a:lnTo>
                      <a:pt x="49" y="131"/>
                    </a:lnTo>
                    <a:lnTo>
                      <a:pt x="49" y="131"/>
                    </a:lnTo>
                    <a:lnTo>
                      <a:pt x="49" y="126"/>
                    </a:lnTo>
                    <a:lnTo>
                      <a:pt x="45" y="126"/>
                    </a:lnTo>
                    <a:lnTo>
                      <a:pt x="45" y="126"/>
                    </a:lnTo>
                    <a:lnTo>
                      <a:pt x="40" y="131"/>
                    </a:lnTo>
                    <a:lnTo>
                      <a:pt x="40" y="131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6" y="122"/>
                    </a:lnTo>
                    <a:lnTo>
                      <a:pt x="36" y="122"/>
                    </a:lnTo>
                    <a:lnTo>
                      <a:pt x="40" y="122"/>
                    </a:lnTo>
                    <a:lnTo>
                      <a:pt x="45" y="122"/>
                    </a:lnTo>
                    <a:lnTo>
                      <a:pt x="49" y="117"/>
                    </a:lnTo>
                    <a:lnTo>
                      <a:pt x="49" y="117"/>
                    </a:lnTo>
                    <a:lnTo>
                      <a:pt x="54" y="117"/>
                    </a:lnTo>
                    <a:lnTo>
                      <a:pt x="54" y="117"/>
                    </a:lnTo>
                    <a:lnTo>
                      <a:pt x="54" y="113"/>
                    </a:lnTo>
                    <a:lnTo>
                      <a:pt x="54" y="113"/>
                    </a:lnTo>
                    <a:lnTo>
                      <a:pt x="54" y="113"/>
                    </a:lnTo>
                    <a:lnTo>
                      <a:pt x="54" y="113"/>
                    </a:lnTo>
                    <a:lnTo>
                      <a:pt x="54" y="113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54" y="104"/>
                    </a:lnTo>
                    <a:lnTo>
                      <a:pt x="54" y="104"/>
                    </a:lnTo>
                    <a:lnTo>
                      <a:pt x="49" y="108"/>
                    </a:lnTo>
                    <a:lnTo>
                      <a:pt x="49" y="108"/>
                    </a:lnTo>
                    <a:lnTo>
                      <a:pt x="45" y="108"/>
                    </a:lnTo>
                    <a:lnTo>
                      <a:pt x="45" y="108"/>
                    </a:lnTo>
                    <a:lnTo>
                      <a:pt x="45" y="108"/>
                    </a:lnTo>
                    <a:lnTo>
                      <a:pt x="45" y="108"/>
                    </a:lnTo>
                    <a:lnTo>
                      <a:pt x="49" y="104"/>
                    </a:lnTo>
                    <a:lnTo>
                      <a:pt x="49" y="104"/>
                    </a:lnTo>
                    <a:lnTo>
                      <a:pt x="49" y="104"/>
                    </a:lnTo>
                    <a:lnTo>
                      <a:pt x="49" y="104"/>
                    </a:lnTo>
                    <a:lnTo>
                      <a:pt x="54" y="104"/>
                    </a:lnTo>
                    <a:lnTo>
                      <a:pt x="54" y="99"/>
                    </a:lnTo>
                    <a:lnTo>
                      <a:pt x="58" y="99"/>
                    </a:lnTo>
                    <a:lnTo>
                      <a:pt x="58" y="99"/>
                    </a:lnTo>
                    <a:lnTo>
                      <a:pt x="63" y="99"/>
                    </a:lnTo>
                    <a:lnTo>
                      <a:pt x="63" y="99"/>
                    </a:lnTo>
                    <a:lnTo>
                      <a:pt x="63" y="99"/>
                    </a:lnTo>
                    <a:lnTo>
                      <a:pt x="67" y="99"/>
                    </a:lnTo>
                    <a:lnTo>
                      <a:pt x="67" y="99"/>
                    </a:lnTo>
                    <a:lnTo>
                      <a:pt x="67" y="99"/>
                    </a:lnTo>
                    <a:lnTo>
                      <a:pt x="67" y="95"/>
                    </a:lnTo>
                    <a:lnTo>
                      <a:pt x="72" y="99"/>
                    </a:lnTo>
                    <a:lnTo>
                      <a:pt x="72" y="99"/>
                    </a:lnTo>
                    <a:lnTo>
                      <a:pt x="72" y="99"/>
                    </a:lnTo>
                    <a:lnTo>
                      <a:pt x="72" y="99"/>
                    </a:lnTo>
                    <a:lnTo>
                      <a:pt x="72" y="99"/>
                    </a:lnTo>
                    <a:lnTo>
                      <a:pt x="72" y="99"/>
                    </a:lnTo>
                    <a:lnTo>
                      <a:pt x="72" y="99"/>
                    </a:lnTo>
                    <a:lnTo>
                      <a:pt x="67" y="95"/>
                    </a:lnTo>
                    <a:lnTo>
                      <a:pt x="67" y="95"/>
                    </a:lnTo>
                    <a:lnTo>
                      <a:pt x="72" y="90"/>
                    </a:lnTo>
                    <a:lnTo>
                      <a:pt x="72" y="90"/>
                    </a:lnTo>
                    <a:lnTo>
                      <a:pt x="72" y="90"/>
                    </a:lnTo>
                    <a:lnTo>
                      <a:pt x="72" y="90"/>
                    </a:lnTo>
                    <a:lnTo>
                      <a:pt x="72" y="90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72" y="81"/>
                    </a:lnTo>
                    <a:lnTo>
                      <a:pt x="72" y="81"/>
                    </a:lnTo>
                    <a:lnTo>
                      <a:pt x="72" y="81"/>
                    </a:lnTo>
                    <a:lnTo>
                      <a:pt x="72" y="81"/>
                    </a:lnTo>
                    <a:lnTo>
                      <a:pt x="72" y="81"/>
                    </a:lnTo>
                    <a:lnTo>
                      <a:pt x="67" y="81"/>
                    </a:lnTo>
                    <a:lnTo>
                      <a:pt x="67" y="81"/>
                    </a:lnTo>
                    <a:lnTo>
                      <a:pt x="67" y="81"/>
                    </a:lnTo>
                    <a:lnTo>
                      <a:pt x="63" y="77"/>
                    </a:lnTo>
                    <a:lnTo>
                      <a:pt x="63" y="77"/>
                    </a:lnTo>
                    <a:lnTo>
                      <a:pt x="67" y="72"/>
                    </a:lnTo>
                    <a:lnTo>
                      <a:pt x="67" y="68"/>
                    </a:lnTo>
                    <a:lnTo>
                      <a:pt x="72" y="68"/>
                    </a:lnTo>
                    <a:lnTo>
                      <a:pt x="72" y="68"/>
                    </a:lnTo>
                    <a:lnTo>
                      <a:pt x="67" y="68"/>
                    </a:lnTo>
                    <a:lnTo>
                      <a:pt x="63" y="68"/>
                    </a:lnTo>
                    <a:lnTo>
                      <a:pt x="63" y="68"/>
                    </a:lnTo>
                    <a:lnTo>
                      <a:pt x="63" y="68"/>
                    </a:lnTo>
                    <a:lnTo>
                      <a:pt x="63" y="68"/>
                    </a:lnTo>
                    <a:lnTo>
                      <a:pt x="63" y="68"/>
                    </a:lnTo>
                    <a:lnTo>
                      <a:pt x="58" y="72"/>
                    </a:lnTo>
                    <a:lnTo>
                      <a:pt x="58" y="72"/>
                    </a:lnTo>
                    <a:lnTo>
                      <a:pt x="58" y="72"/>
                    </a:lnTo>
                    <a:lnTo>
                      <a:pt x="58" y="72"/>
                    </a:lnTo>
                    <a:lnTo>
                      <a:pt x="58" y="72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49" y="72"/>
                    </a:lnTo>
                    <a:lnTo>
                      <a:pt x="49" y="72"/>
                    </a:lnTo>
                    <a:lnTo>
                      <a:pt x="49" y="68"/>
                    </a:lnTo>
                    <a:lnTo>
                      <a:pt x="45" y="72"/>
                    </a:lnTo>
                    <a:lnTo>
                      <a:pt x="45" y="72"/>
                    </a:lnTo>
                    <a:lnTo>
                      <a:pt x="45" y="72"/>
                    </a:lnTo>
                    <a:lnTo>
                      <a:pt x="45" y="72"/>
                    </a:lnTo>
                    <a:lnTo>
                      <a:pt x="45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5" y="68"/>
                    </a:lnTo>
                    <a:lnTo>
                      <a:pt x="45" y="68"/>
                    </a:lnTo>
                    <a:lnTo>
                      <a:pt x="45" y="63"/>
                    </a:lnTo>
                    <a:lnTo>
                      <a:pt x="49" y="59"/>
                    </a:lnTo>
                    <a:lnTo>
                      <a:pt x="49" y="59"/>
                    </a:lnTo>
                    <a:lnTo>
                      <a:pt x="49" y="59"/>
                    </a:lnTo>
                    <a:lnTo>
                      <a:pt x="49" y="54"/>
                    </a:lnTo>
                    <a:lnTo>
                      <a:pt x="49" y="54"/>
                    </a:lnTo>
                    <a:lnTo>
                      <a:pt x="49" y="54"/>
                    </a:lnTo>
                    <a:lnTo>
                      <a:pt x="49" y="54"/>
                    </a:lnTo>
                    <a:lnTo>
                      <a:pt x="49" y="50"/>
                    </a:lnTo>
                    <a:lnTo>
                      <a:pt x="49" y="50"/>
                    </a:lnTo>
                    <a:lnTo>
                      <a:pt x="49" y="50"/>
                    </a:lnTo>
                    <a:lnTo>
                      <a:pt x="54" y="50"/>
                    </a:lnTo>
                    <a:lnTo>
                      <a:pt x="49" y="50"/>
                    </a:lnTo>
                    <a:lnTo>
                      <a:pt x="49" y="45"/>
                    </a:lnTo>
                    <a:lnTo>
                      <a:pt x="49" y="45"/>
                    </a:lnTo>
                    <a:lnTo>
                      <a:pt x="49" y="45"/>
                    </a:lnTo>
                    <a:lnTo>
                      <a:pt x="49" y="45"/>
                    </a:lnTo>
                    <a:lnTo>
                      <a:pt x="49" y="45"/>
                    </a:lnTo>
                    <a:lnTo>
                      <a:pt x="49" y="50"/>
                    </a:lnTo>
                    <a:lnTo>
                      <a:pt x="49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9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40" y="54"/>
                    </a:lnTo>
                    <a:lnTo>
                      <a:pt x="40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40" y="45"/>
                    </a:lnTo>
                    <a:lnTo>
                      <a:pt x="40" y="45"/>
                    </a:lnTo>
                    <a:lnTo>
                      <a:pt x="40" y="45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1"/>
                    </a:lnTo>
                    <a:lnTo>
                      <a:pt x="45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0" y="31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0" y="31"/>
                    </a:lnTo>
                    <a:lnTo>
                      <a:pt x="40" y="27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9" y="13"/>
                    </a:lnTo>
                    <a:lnTo>
                      <a:pt x="49" y="13"/>
                    </a:lnTo>
                    <a:lnTo>
                      <a:pt x="49" y="13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54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3" y="0"/>
                    </a:lnTo>
                    <a:lnTo>
                      <a:pt x="67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76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40" name="Freeform 61"/>
              <p:cNvSpPr>
                <a:spLocks/>
              </p:cNvSpPr>
              <p:nvPr/>
            </p:nvSpPr>
            <p:spPr bwMode="auto">
              <a:xfrm>
                <a:off x="5273676" y="1646239"/>
                <a:ext cx="179388" cy="71438"/>
              </a:xfrm>
              <a:custGeom>
                <a:avLst/>
                <a:gdLst>
                  <a:gd name="T0" fmla="*/ 9 w 113"/>
                  <a:gd name="T1" fmla="*/ 0 h 45"/>
                  <a:gd name="T2" fmla="*/ 14 w 113"/>
                  <a:gd name="T3" fmla="*/ 0 h 45"/>
                  <a:gd name="T4" fmla="*/ 23 w 113"/>
                  <a:gd name="T5" fmla="*/ 5 h 45"/>
                  <a:gd name="T6" fmla="*/ 32 w 113"/>
                  <a:gd name="T7" fmla="*/ 5 h 45"/>
                  <a:gd name="T8" fmla="*/ 41 w 113"/>
                  <a:gd name="T9" fmla="*/ 5 h 45"/>
                  <a:gd name="T10" fmla="*/ 46 w 113"/>
                  <a:gd name="T11" fmla="*/ 5 h 45"/>
                  <a:gd name="T12" fmla="*/ 50 w 113"/>
                  <a:gd name="T13" fmla="*/ 9 h 45"/>
                  <a:gd name="T14" fmla="*/ 59 w 113"/>
                  <a:gd name="T15" fmla="*/ 9 h 45"/>
                  <a:gd name="T16" fmla="*/ 64 w 113"/>
                  <a:gd name="T17" fmla="*/ 14 h 45"/>
                  <a:gd name="T18" fmla="*/ 64 w 113"/>
                  <a:gd name="T19" fmla="*/ 14 h 45"/>
                  <a:gd name="T20" fmla="*/ 64 w 113"/>
                  <a:gd name="T21" fmla="*/ 18 h 45"/>
                  <a:gd name="T22" fmla="*/ 68 w 113"/>
                  <a:gd name="T23" fmla="*/ 14 h 45"/>
                  <a:gd name="T24" fmla="*/ 73 w 113"/>
                  <a:gd name="T25" fmla="*/ 14 h 45"/>
                  <a:gd name="T26" fmla="*/ 77 w 113"/>
                  <a:gd name="T27" fmla="*/ 14 h 45"/>
                  <a:gd name="T28" fmla="*/ 82 w 113"/>
                  <a:gd name="T29" fmla="*/ 14 h 45"/>
                  <a:gd name="T30" fmla="*/ 86 w 113"/>
                  <a:gd name="T31" fmla="*/ 14 h 45"/>
                  <a:gd name="T32" fmla="*/ 91 w 113"/>
                  <a:gd name="T33" fmla="*/ 18 h 45"/>
                  <a:gd name="T34" fmla="*/ 91 w 113"/>
                  <a:gd name="T35" fmla="*/ 18 h 45"/>
                  <a:gd name="T36" fmla="*/ 95 w 113"/>
                  <a:gd name="T37" fmla="*/ 23 h 45"/>
                  <a:gd name="T38" fmla="*/ 100 w 113"/>
                  <a:gd name="T39" fmla="*/ 27 h 45"/>
                  <a:gd name="T40" fmla="*/ 100 w 113"/>
                  <a:gd name="T41" fmla="*/ 27 h 45"/>
                  <a:gd name="T42" fmla="*/ 104 w 113"/>
                  <a:gd name="T43" fmla="*/ 27 h 45"/>
                  <a:gd name="T44" fmla="*/ 104 w 113"/>
                  <a:gd name="T45" fmla="*/ 32 h 45"/>
                  <a:gd name="T46" fmla="*/ 104 w 113"/>
                  <a:gd name="T47" fmla="*/ 32 h 45"/>
                  <a:gd name="T48" fmla="*/ 104 w 113"/>
                  <a:gd name="T49" fmla="*/ 32 h 45"/>
                  <a:gd name="T50" fmla="*/ 104 w 113"/>
                  <a:gd name="T51" fmla="*/ 36 h 45"/>
                  <a:gd name="T52" fmla="*/ 113 w 113"/>
                  <a:gd name="T53" fmla="*/ 41 h 45"/>
                  <a:gd name="T54" fmla="*/ 109 w 113"/>
                  <a:gd name="T55" fmla="*/ 45 h 45"/>
                  <a:gd name="T56" fmla="*/ 109 w 113"/>
                  <a:gd name="T57" fmla="*/ 45 h 45"/>
                  <a:gd name="T58" fmla="*/ 104 w 113"/>
                  <a:gd name="T59" fmla="*/ 41 h 45"/>
                  <a:gd name="T60" fmla="*/ 100 w 113"/>
                  <a:gd name="T61" fmla="*/ 41 h 45"/>
                  <a:gd name="T62" fmla="*/ 95 w 113"/>
                  <a:gd name="T63" fmla="*/ 41 h 45"/>
                  <a:gd name="T64" fmla="*/ 86 w 113"/>
                  <a:gd name="T65" fmla="*/ 36 h 45"/>
                  <a:gd name="T66" fmla="*/ 82 w 113"/>
                  <a:gd name="T67" fmla="*/ 41 h 45"/>
                  <a:gd name="T68" fmla="*/ 82 w 113"/>
                  <a:gd name="T69" fmla="*/ 41 h 45"/>
                  <a:gd name="T70" fmla="*/ 73 w 113"/>
                  <a:gd name="T71" fmla="*/ 41 h 45"/>
                  <a:gd name="T72" fmla="*/ 68 w 113"/>
                  <a:gd name="T73" fmla="*/ 41 h 45"/>
                  <a:gd name="T74" fmla="*/ 64 w 113"/>
                  <a:gd name="T75" fmla="*/ 45 h 45"/>
                  <a:gd name="T76" fmla="*/ 64 w 113"/>
                  <a:gd name="T77" fmla="*/ 45 h 45"/>
                  <a:gd name="T78" fmla="*/ 59 w 113"/>
                  <a:gd name="T79" fmla="*/ 41 h 45"/>
                  <a:gd name="T80" fmla="*/ 55 w 113"/>
                  <a:gd name="T81" fmla="*/ 41 h 45"/>
                  <a:gd name="T82" fmla="*/ 55 w 113"/>
                  <a:gd name="T83" fmla="*/ 41 h 45"/>
                  <a:gd name="T84" fmla="*/ 50 w 113"/>
                  <a:gd name="T85" fmla="*/ 36 h 45"/>
                  <a:gd name="T86" fmla="*/ 46 w 113"/>
                  <a:gd name="T87" fmla="*/ 36 h 45"/>
                  <a:gd name="T88" fmla="*/ 46 w 113"/>
                  <a:gd name="T89" fmla="*/ 36 h 45"/>
                  <a:gd name="T90" fmla="*/ 41 w 113"/>
                  <a:gd name="T91" fmla="*/ 36 h 45"/>
                  <a:gd name="T92" fmla="*/ 37 w 113"/>
                  <a:gd name="T93" fmla="*/ 36 h 45"/>
                  <a:gd name="T94" fmla="*/ 32 w 113"/>
                  <a:gd name="T95" fmla="*/ 36 h 45"/>
                  <a:gd name="T96" fmla="*/ 32 w 113"/>
                  <a:gd name="T97" fmla="*/ 32 h 45"/>
                  <a:gd name="T98" fmla="*/ 32 w 113"/>
                  <a:gd name="T99" fmla="*/ 27 h 45"/>
                  <a:gd name="T100" fmla="*/ 28 w 113"/>
                  <a:gd name="T101" fmla="*/ 14 h 45"/>
                  <a:gd name="T102" fmla="*/ 19 w 113"/>
                  <a:gd name="T103" fmla="*/ 9 h 45"/>
                  <a:gd name="T104" fmla="*/ 9 w 113"/>
                  <a:gd name="T105" fmla="*/ 5 h 45"/>
                  <a:gd name="T106" fmla="*/ 0 w 113"/>
                  <a:gd name="T107" fmla="*/ 0 h 45"/>
                  <a:gd name="T108" fmla="*/ 5 w 113"/>
                  <a:gd name="T10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3" h="45">
                    <a:moveTo>
                      <a:pt x="5" y="0"/>
                    </a:moveTo>
                    <a:lnTo>
                      <a:pt x="5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8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7" y="5"/>
                    </a:lnTo>
                    <a:lnTo>
                      <a:pt x="37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6" y="5"/>
                    </a:lnTo>
                    <a:lnTo>
                      <a:pt x="46" y="5"/>
                    </a:lnTo>
                    <a:lnTo>
                      <a:pt x="50" y="5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5" y="9"/>
                    </a:lnTo>
                    <a:lnTo>
                      <a:pt x="59" y="9"/>
                    </a:lnTo>
                    <a:lnTo>
                      <a:pt x="59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3" y="14"/>
                    </a:lnTo>
                    <a:lnTo>
                      <a:pt x="73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86" y="14"/>
                    </a:lnTo>
                    <a:lnTo>
                      <a:pt x="86" y="18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95" y="27"/>
                    </a:lnTo>
                    <a:lnTo>
                      <a:pt x="100" y="27"/>
                    </a:lnTo>
                    <a:lnTo>
                      <a:pt x="100" y="27"/>
                    </a:lnTo>
                    <a:lnTo>
                      <a:pt x="100" y="27"/>
                    </a:lnTo>
                    <a:lnTo>
                      <a:pt x="100" y="27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36"/>
                    </a:lnTo>
                    <a:lnTo>
                      <a:pt x="104" y="36"/>
                    </a:lnTo>
                    <a:lnTo>
                      <a:pt x="109" y="36"/>
                    </a:lnTo>
                    <a:lnTo>
                      <a:pt x="109" y="41"/>
                    </a:lnTo>
                    <a:lnTo>
                      <a:pt x="113" y="41"/>
                    </a:lnTo>
                    <a:lnTo>
                      <a:pt x="113" y="41"/>
                    </a:lnTo>
                    <a:lnTo>
                      <a:pt x="113" y="41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04" y="41"/>
                    </a:lnTo>
                    <a:lnTo>
                      <a:pt x="104" y="41"/>
                    </a:lnTo>
                    <a:lnTo>
                      <a:pt x="104" y="41"/>
                    </a:lnTo>
                    <a:lnTo>
                      <a:pt x="100" y="41"/>
                    </a:lnTo>
                    <a:lnTo>
                      <a:pt x="100" y="41"/>
                    </a:lnTo>
                    <a:lnTo>
                      <a:pt x="100" y="41"/>
                    </a:lnTo>
                    <a:lnTo>
                      <a:pt x="95" y="41"/>
                    </a:lnTo>
                    <a:lnTo>
                      <a:pt x="95" y="41"/>
                    </a:lnTo>
                    <a:lnTo>
                      <a:pt x="95" y="41"/>
                    </a:lnTo>
                    <a:lnTo>
                      <a:pt x="91" y="36"/>
                    </a:lnTo>
                    <a:lnTo>
                      <a:pt x="91" y="36"/>
                    </a:lnTo>
                    <a:lnTo>
                      <a:pt x="86" y="36"/>
                    </a:lnTo>
                    <a:lnTo>
                      <a:pt x="86" y="41"/>
                    </a:lnTo>
                    <a:lnTo>
                      <a:pt x="86" y="41"/>
                    </a:lnTo>
                    <a:lnTo>
                      <a:pt x="82" y="41"/>
                    </a:lnTo>
                    <a:lnTo>
                      <a:pt x="82" y="41"/>
                    </a:lnTo>
                    <a:lnTo>
                      <a:pt x="82" y="41"/>
                    </a:lnTo>
                    <a:lnTo>
                      <a:pt x="82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68" y="41"/>
                    </a:lnTo>
                    <a:lnTo>
                      <a:pt x="68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5" y="41"/>
                    </a:lnTo>
                    <a:lnTo>
                      <a:pt x="59" y="41"/>
                    </a:lnTo>
                    <a:lnTo>
                      <a:pt x="55" y="41"/>
                    </a:lnTo>
                    <a:lnTo>
                      <a:pt x="55" y="41"/>
                    </a:lnTo>
                    <a:lnTo>
                      <a:pt x="55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37" y="36"/>
                    </a:lnTo>
                    <a:lnTo>
                      <a:pt x="37" y="36"/>
                    </a:lnTo>
                    <a:lnTo>
                      <a:pt x="37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27"/>
                    </a:lnTo>
                    <a:lnTo>
                      <a:pt x="32" y="23"/>
                    </a:lnTo>
                    <a:lnTo>
                      <a:pt x="28" y="18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3" y="14"/>
                    </a:lnTo>
                    <a:lnTo>
                      <a:pt x="19" y="9"/>
                    </a:lnTo>
                    <a:lnTo>
                      <a:pt x="14" y="9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5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41" name="Freeform 62"/>
              <p:cNvSpPr>
                <a:spLocks/>
              </p:cNvSpPr>
              <p:nvPr/>
            </p:nvSpPr>
            <p:spPr bwMode="auto">
              <a:xfrm>
                <a:off x="4176713" y="2614614"/>
                <a:ext cx="122238" cy="195263"/>
              </a:xfrm>
              <a:custGeom>
                <a:avLst/>
                <a:gdLst>
                  <a:gd name="T0" fmla="*/ 59 w 77"/>
                  <a:gd name="T1" fmla="*/ 5 h 123"/>
                  <a:gd name="T2" fmla="*/ 59 w 77"/>
                  <a:gd name="T3" fmla="*/ 10 h 123"/>
                  <a:gd name="T4" fmla="*/ 64 w 77"/>
                  <a:gd name="T5" fmla="*/ 14 h 123"/>
                  <a:gd name="T6" fmla="*/ 64 w 77"/>
                  <a:gd name="T7" fmla="*/ 19 h 123"/>
                  <a:gd name="T8" fmla="*/ 64 w 77"/>
                  <a:gd name="T9" fmla="*/ 28 h 123"/>
                  <a:gd name="T10" fmla="*/ 64 w 77"/>
                  <a:gd name="T11" fmla="*/ 28 h 123"/>
                  <a:gd name="T12" fmla="*/ 64 w 77"/>
                  <a:gd name="T13" fmla="*/ 32 h 123"/>
                  <a:gd name="T14" fmla="*/ 64 w 77"/>
                  <a:gd name="T15" fmla="*/ 32 h 123"/>
                  <a:gd name="T16" fmla="*/ 64 w 77"/>
                  <a:gd name="T17" fmla="*/ 32 h 123"/>
                  <a:gd name="T18" fmla="*/ 68 w 77"/>
                  <a:gd name="T19" fmla="*/ 37 h 123"/>
                  <a:gd name="T20" fmla="*/ 68 w 77"/>
                  <a:gd name="T21" fmla="*/ 46 h 123"/>
                  <a:gd name="T22" fmla="*/ 64 w 77"/>
                  <a:gd name="T23" fmla="*/ 46 h 123"/>
                  <a:gd name="T24" fmla="*/ 73 w 77"/>
                  <a:gd name="T25" fmla="*/ 55 h 123"/>
                  <a:gd name="T26" fmla="*/ 68 w 77"/>
                  <a:gd name="T27" fmla="*/ 59 h 123"/>
                  <a:gd name="T28" fmla="*/ 68 w 77"/>
                  <a:gd name="T29" fmla="*/ 73 h 123"/>
                  <a:gd name="T30" fmla="*/ 68 w 77"/>
                  <a:gd name="T31" fmla="*/ 77 h 123"/>
                  <a:gd name="T32" fmla="*/ 68 w 77"/>
                  <a:gd name="T33" fmla="*/ 82 h 123"/>
                  <a:gd name="T34" fmla="*/ 68 w 77"/>
                  <a:gd name="T35" fmla="*/ 82 h 123"/>
                  <a:gd name="T36" fmla="*/ 73 w 77"/>
                  <a:gd name="T37" fmla="*/ 86 h 123"/>
                  <a:gd name="T38" fmla="*/ 73 w 77"/>
                  <a:gd name="T39" fmla="*/ 91 h 123"/>
                  <a:gd name="T40" fmla="*/ 77 w 77"/>
                  <a:gd name="T41" fmla="*/ 95 h 123"/>
                  <a:gd name="T42" fmla="*/ 77 w 77"/>
                  <a:gd name="T43" fmla="*/ 95 h 123"/>
                  <a:gd name="T44" fmla="*/ 73 w 77"/>
                  <a:gd name="T45" fmla="*/ 104 h 123"/>
                  <a:gd name="T46" fmla="*/ 50 w 77"/>
                  <a:gd name="T47" fmla="*/ 109 h 123"/>
                  <a:gd name="T48" fmla="*/ 41 w 77"/>
                  <a:gd name="T49" fmla="*/ 114 h 123"/>
                  <a:gd name="T50" fmla="*/ 23 w 77"/>
                  <a:gd name="T51" fmla="*/ 123 h 123"/>
                  <a:gd name="T52" fmla="*/ 9 w 77"/>
                  <a:gd name="T53" fmla="*/ 118 h 123"/>
                  <a:gd name="T54" fmla="*/ 5 w 77"/>
                  <a:gd name="T55" fmla="*/ 114 h 123"/>
                  <a:gd name="T56" fmla="*/ 9 w 77"/>
                  <a:gd name="T57" fmla="*/ 114 h 123"/>
                  <a:gd name="T58" fmla="*/ 9 w 77"/>
                  <a:gd name="T59" fmla="*/ 109 h 123"/>
                  <a:gd name="T60" fmla="*/ 5 w 77"/>
                  <a:gd name="T61" fmla="*/ 104 h 123"/>
                  <a:gd name="T62" fmla="*/ 5 w 77"/>
                  <a:gd name="T63" fmla="*/ 100 h 123"/>
                  <a:gd name="T64" fmla="*/ 0 w 77"/>
                  <a:gd name="T65" fmla="*/ 86 h 123"/>
                  <a:gd name="T66" fmla="*/ 0 w 77"/>
                  <a:gd name="T67" fmla="*/ 82 h 123"/>
                  <a:gd name="T68" fmla="*/ 5 w 77"/>
                  <a:gd name="T69" fmla="*/ 77 h 123"/>
                  <a:gd name="T70" fmla="*/ 9 w 77"/>
                  <a:gd name="T71" fmla="*/ 64 h 123"/>
                  <a:gd name="T72" fmla="*/ 14 w 77"/>
                  <a:gd name="T73" fmla="*/ 59 h 123"/>
                  <a:gd name="T74" fmla="*/ 14 w 77"/>
                  <a:gd name="T75" fmla="*/ 59 h 123"/>
                  <a:gd name="T76" fmla="*/ 14 w 77"/>
                  <a:gd name="T77" fmla="*/ 50 h 123"/>
                  <a:gd name="T78" fmla="*/ 14 w 77"/>
                  <a:gd name="T79" fmla="*/ 41 h 123"/>
                  <a:gd name="T80" fmla="*/ 14 w 77"/>
                  <a:gd name="T81" fmla="*/ 37 h 123"/>
                  <a:gd name="T82" fmla="*/ 14 w 77"/>
                  <a:gd name="T83" fmla="*/ 32 h 123"/>
                  <a:gd name="T84" fmla="*/ 9 w 77"/>
                  <a:gd name="T85" fmla="*/ 28 h 123"/>
                  <a:gd name="T86" fmla="*/ 9 w 77"/>
                  <a:gd name="T87" fmla="*/ 19 h 123"/>
                  <a:gd name="T88" fmla="*/ 9 w 77"/>
                  <a:gd name="T89" fmla="*/ 14 h 123"/>
                  <a:gd name="T90" fmla="*/ 9 w 77"/>
                  <a:gd name="T91" fmla="*/ 14 h 123"/>
                  <a:gd name="T92" fmla="*/ 9 w 77"/>
                  <a:gd name="T93" fmla="*/ 5 h 123"/>
                  <a:gd name="T94" fmla="*/ 18 w 77"/>
                  <a:gd name="T95" fmla="*/ 5 h 123"/>
                  <a:gd name="T96" fmla="*/ 32 w 77"/>
                  <a:gd name="T97" fmla="*/ 5 h 123"/>
                  <a:gd name="T98" fmla="*/ 45 w 77"/>
                  <a:gd name="T99" fmla="*/ 5 h 123"/>
                  <a:gd name="T100" fmla="*/ 50 w 77"/>
                  <a:gd name="T101" fmla="*/ 5 h 123"/>
                  <a:gd name="T102" fmla="*/ 50 w 77"/>
                  <a:gd name="T103" fmla="*/ 5 h 123"/>
                  <a:gd name="T104" fmla="*/ 54 w 77"/>
                  <a:gd name="T105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7" h="123">
                    <a:moveTo>
                      <a:pt x="59" y="0"/>
                    </a:moveTo>
                    <a:lnTo>
                      <a:pt x="59" y="0"/>
                    </a:lnTo>
                    <a:lnTo>
                      <a:pt x="59" y="5"/>
                    </a:lnTo>
                    <a:lnTo>
                      <a:pt x="59" y="5"/>
                    </a:lnTo>
                    <a:lnTo>
                      <a:pt x="59" y="5"/>
                    </a:lnTo>
                    <a:lnTo>
                      <a:pt x="59" y="10"/>
                    </a:lnTo>
                    <a:lnTo>
                      <a:pt x="59" y="10"/>
                    </a:lnTo>
                    <a:lnTo>
                      <a:pt x="59" y="10"/>
                    </a:lnTo>
                    <a:lnTo>
                      <a:pt x="59" y="10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9"/>
                    </a:lnTo>
                    <a:lnTo>
                      <a:pt x="64" y="19"/>
                    </a:lnTo>
                    <a:lnTo>
                      <a:pt x="64" y="19"/>
                    </a:lnTo>
                    <a:lnTo>
                      <a:pt x="64" y="19"/>
                    </a:lnTo>
                    <a:lnTo>
                      <a:pt x="64" y="23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7"/>
                    </a:lnTo>
                    <a:lnTo>
                      <a:pt x="68" y="37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73" y="55"/>
                    </a:lnTo>
                    <a:lnTo>
                      <a:pt x="73" y="55"/>
                    </a:lnTo>
                    <a:lnTo>
                      <a:pt x="68" y="55"/>
                    </a:lnTo>
                    <a:lnTo>
                      <a:pt x="68" y="55"/>
                    </a:lnTo>
                    <a:lnTo>
                      <a:pt x="68" y="59"/>
                    </a:lnTo>
                    <a:lnTo>
                      <a:pt x="68" y="64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8" y="73"/>
                    </a:lnTo>
                    <a:lnTo>
                      <a:pt x="68" y="73"/>
                    </a:lnTo>
                    <a:lnTo>
                      <a:pt x="68" y="73"/>
                    </a:lnTo>
                    <a:lnTo>
                      <a:pt x="68" y="73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73" y="86"/>
                    </a:lnTo>
                    <a:lnTo>
                      <a:pt x="73" y="86"/>
                    </a:lnTo>
                    <a:lnTo>
                      <a:pt x="73" y="86"/>
                    </a:lnTo>
                    <a:lnTo>
                      <a:pt x="73" y="91"/>
                    </a:lnTo>
                    <a:lnTo>
                      <a:pt x="73" y="91"/>
                    </a:lnTo>
                    <a:lnTo>
                      <a:pt x="73" y="91"/>
                    </a:lnTo>
                    <a:lnTo>
                      <a:pt x="77" y="91"/>
                    </a:lnTo>
                    <a:lnTo>
                      <a:pt x="77" y="91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7" y="100"/>
                    </a:lnTo>
                    <a:lnTo>
                      <a:pt x="77" y="100"/>
                    </a:lnTo>
                    <a:lnTo>
                      <a:pt x="73" y="100"/>
                    </a:lnTo>
                    <a:lnTo>
                      <a:pt x="73" y="104"/>
                    </a:lnTo>
                    <a:lnTo>
                      <a:pt x="68" y="104"/>
                    </a:lnTo>
                    <a:lnTo>
                      <a:pt x="64" y="104"/>
                    </a:lnTo>
                    <a:lnTo>
                      <a:pt x="54" y="104"/>
                    </a:lnTo>
                    <a:lnTo>
                      <a:pt x="50" y="109"/>
                    </a:lnTo>
                    <a:lnTo>
                      <a:pt x="50" y="109"/>
                    </a:lnTo>
                    <a:lnTo>
                      <a:pt x="45" y="109"/>
                    </a:lnTo>
                    <a:lnTo>
                      <a:pt x="45" y="114"/>
                    </a:lnTo>
                    <a:lnTo>
                      <a:pt x="41" y="114"/>
                    </a:lnTo>
                    <a:lnTo>
                      <a:pt x="32" y="118"/>
                    </a:lnTo>
                    <a:lnTo>
                      <a:pt x="27" y="118"/>
                    </a:lnTo>
                    <a:lnTo>
                      <a:pt x="27" y="118"/>
                    </a:lnTo>
                    <a:lnTo>
                      <a:pt x="23" y="123"/>
                    </a:lnTo>
                    <a:lnTo>
                      <a:pt x="23" y="123"/>
                    </a:lnTo>
                    <a:lnTo>
                      <a:pt x="18" y="118"/>
                    </a:lnTo>
                    <a:lnTo>
                      <a:pt x="18" y="118"/>
                    </a:lnTo>
                    <a:lnTo>
                      <a:pt x="9" y="118"/>
                    </a:lnTo>
                    <a:lnTo>
                      <a:pt x="5" y="118"/>
                    </a:lnTo>
                    <a:lnTo>
                      <a:pt x="5" y="114"/>
                    </a:lnTo>
                    <a:lnTo>
                      <a:pt x="5" y="114"/>
                    </a:lnTo>
                    <a:lnTo>
                      <a:pt x="5" y="114"/>
                    </a:lnTo>
                    <a:lnTo>
                      <a:pt x="5" y="114"/>
                    </a:lnTo>
                    <a:lnTo>
                      <a:pt x="5" y="114"/>
                    </a:lnTo>
                    <a:lnTo>
                      <a:pt x="9" y="114"/>
                    </a:lnTo>
                    <a:lnTo>
                      <a:pt x="9" y="114"/>
                    </a:lnTo>
                    <a:lnTo>
                      <a:pt x="9" y="114"/>
                    </a:lnTo>
                    <a:lnTo>
                      <a:pt x="9" y="114"/>
                    </a:lnTo>
                    <a:lnTo>
                      <a:pt x="9" y="109"/>
                    </a:lnTo>
                    <a:lnTo>
                      <a:pt x="9" y="109"/>
                    </a:lnTo>
                    <a:lnTo>
                      <a:pt x="9" y="109"/>
                    </a:lnTo>
                    <a:lnTo>
                      <a:pt x="9" y="104"/>
                    </a:lnTo>
                    <a:lnTo>
                      <a:pt x="9" y="104"/>
                    </a:lnTo>
                    <a:lnTo>
                      <a:pt x="5" y="104"/>
                    </a:lnTo>
                    <a:lnTo>
                      <a:pt x="5" y="104"/>
                    </a:lnTo>
                    <a:lnTo>
                      <a:pt x="5" y="104"/>
                    </a:lnTo>
                    <a:lnTo>
                      <a:pt x="5" y="100"/>
                    </a:lnTo>
                    <a:lnTo>
                      <a:pt x="5" y="100"/>
                    </a:lnTo>
                    <a:lnTo>
                      <a:pt x="5" y="95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5" y="82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3"/>
                    </a:lnTo>
                    <a:lnTo>
                      <a:pt x="5" y="73"/>
                    </a:lnTo>
                    <a:lnTo>
                      <a:pt x="9" y="68"/>
                    </a:lnTo>
                    <a:lnTo>
                      <a:pt x="9" y="64"/>
                    </a:lnTo>
                    <a:lnTo>
                      <a:pt x="9" y="64"/>
                    </a:lnTo>
                    <a:lnTo>
                      <a:pt x="9" y="64"/>
                    </a:lnTo>
                    <a:lnTo>
                      <a:pt x="9" y="64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4" y="55"/>
                    </a:lnTo>
                    <a:lnTo>
                      <a:pt x="14" y="50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14" y="37"/>
                    </a:lnTo>
                    <a:lnTo>
                      <a:pt x="14" y="37"/>
                    </a:lnTo>
                    <a:lnTo>
                      <a:pt x="14" y="37"/>
                    </a:lnTo>
                    <a:lnTo>
                      <a:pt x="14" y="37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9" y="28"/>
                    </a:lnTo>
                    <a:lnTo>
                      <a:pt x="9" y="28"/>
                    </a:lnTo>
                    <a:lnTo>
                      <a:pt x="9" y="28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4" y="5"/>
                    </a:lnTo>
                    <a:lnTo>
                      <a:pt x="18" y="5"/>
                    </a:lnTo>
                    <a:lnTo>
                      <a:pt x="27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6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9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42" name="Freeform 63"/>
              <p:cNvSpPr>
                <a:spLocks/>
              </p:cNvSpPr>
              <p:nvPr/>
            </p:nvSpPr>
            <p:spPr bwMode="auto">
              <a:xfrm>
                <a:off x="3854451" y="2571751"/>
                <a:ext cx="200025" cy="158750"/>
              </a:xfrm>
              <a:custGeom>
                <a:avLst/>
                <a:gdLst>
                  <a:gd name="T0" fmla="*/ 36 w 126"/>
                  <a:gd name="T1" fmla="*/ 0 h 100"/>
                  <a:gd name="T2" fmla="*/ 36 w 126"/>
                  <a:gd name="T3" fmla="*/ 0 h 100"/>
                  <a:gd name="T4" fmla="*/ 45 w 126"/>
                  <a:gd name="T5" fmla="*/ 5 h 100"/>
                  <a:gd name="T6" fmla="*/ 59 w 126"/>
                  <a:gd name="T7" fmla="*/ 5 h 100"/>
                  <a:gd name="T8" fmla="*/ 63 w 126"/>
                  <a:gd name="T9" fmla="*/ 5 h 100"/>
                  <a:gd name="T10" fmla="*/ 68 w 126"/>
                  <a:gd name="T11" fmla="*/ 14 h 100"/>
                  <a:gd name="T12" fmla="*/ 72 w 126"/>
                  <a:gd name="T13" fmla="*/ 9 h 100"/>
                  <a:gd name="T14" fmla="*/ 77 w 126"/>
                  <a:gd name="T15" fmla="*/ 14 h 100"/>
                  <a:gd name="T16" fmla="*/ 86 w 126"/>
                  <a:gd name="T17" fmla="*/ 9 h 100"/>
                  <a:gd name="T18" fmla="*/ 95 w 126"/>
                  <a:gd name="T19" fmla="*/ 9 h 100"/>
                  <a:gd name="T20" fmla="*/ 99 w 126"/>
                  <a:gd name="T21" fmla="*/ 5 h 100"/>
                  <a:gd name="T22" fmla="*/ 104 w 126"/>
                  <a:gd name="T23" fmla="*/ 5 h 100"/>
                  <a:gd name="T24" fmla="*/ 108 w 126"/>
                  <a:gd name="T25" fmla="*/ 14 h 100"/>
                  <a:gd name="T26" fmla="*/ 113 w 126"/>
                  <a:gd name="T27" fmla="*/ 23 h 100"/>
                  <a:gd name="T28" fmla="*/ 117 w 126"/>
                  <a:gd name="T29" fmla="*/ 23 h 100"/>
                  <a:gd name="T30" fmla="*/ 113 w 126"/>
                  <a:gd name="T31" fmla="*/ 32 h 100"/>
                  <a:gd name="T32" fmla="*/ 117 w 126"/>
                  <a:gd name="T33" fmla="*/ 32 h 100"/>
                  <a:gd name="T34" fmla="*/ 117 w 126"/>
                  <a:gd name="T35" fmla="*/ 41 h 100"/>
                  <a:gd name="T36" fmla="*/ 122 w 126"/>
                  <a:gd name="T37" fmla="*/ 46 h 100"/>
                  <a:gd name="T38" fmla="*/ 122 w 126"/>
                  <a:gd name="T39" fmla="*/ 59 h 100"/>
                  <a:gd name="T40" fmla="*/ 122 w 126"/>
                  <a:gd name="T41" fmla="*/ 64 h 100"/>
                  <a:gd name="T42" fmla="*/ 122 w 126"/>
                  <a:gd name="T43" fmla="*/ 73 h 100"/>
                  <a:gd name="T44" fmla="*/ 126 w 126"/>
                  <a:gd name="T45" fmla="*/ 82 h 100"/>
                  <a:gd name="T46" fmla="*/ 122 w 126"/>
                  <a:gd name="T47" fmla="*/ 77 h 100"/>
                  <a:gd name="T48" fmla="*/ 117 w 126"/>
                  <a:gd name="T49" fmla="*/ 82 h 100"/>
                  <a:gd name="T50" fmla="*/ 122 w 126"/>
                  <a:gd name="T51" fmla="*/ 86 h 100"/>
                  <a:gd name="T52" fmla="*/ 117 w 126"/>
                  <a:gd name="T53" fmla="*/ 95 h 100"/>
                  <a:gd name="T54" fmla="*/ 113 w 126"/>
                  <a:gd name="T55" fmla="*/ 95 h 100"/>
                  <a:gd name="T56" fmla="*/ 108 w 126"/>
                  <a:gd name="T57" fmla="*/ 95 h 100"/>
                  <a:gd name="T58" fmla="*/ 104 w 126"/>
                  <a:gd name="T59" fmla="*/ 100 h 100"/>
                  <a:gd name="T60" fmla="*/ 99 w 126"/>
                  <a:gd name="T61" fmla="*/ 100 h 100"/>
                  <a:gd name="T62" fmla="*/ 95 w 126"/>
                  <a:gd name="T63" fmla="*/ 100 h 100"/>
                  <a:gd name="T64" fmla="*/ 99 w 126"/>
                  <a:gd name="T65" fmla="*/ 91 h 100"/>
                  <a:gd name="T66" fmla="*/ 95 w 126"/>
                  <a:gd name="T67" fmla="*/ 86 h 100"/>
                  <a:gd name="T68" fmla="*/ 95 w 126"/>
                  <a:gd name="T69" fmla="*/ 77 h 100"/>
                  <a:gd name="T70" fmla="*/ 90 w 126"/>
                  <a:gd name="T71" fmla="*/ 77 h 100"/>
                  <a:gd name="T72" fmla="*/ 86 w 126"/>
                  <a:gd name="T73" fmla="*/ 77 h 100"/>
                  <a:gd name="T74" fmla="*/ 77 w 126"/>
                  <a:gd name="T75" fmla="*/ 82 h 100"/>
                  <a:gd name="T76" fmla="*/ 77 w 126"/>
                  <a:gd name="T77" fmla="*/ 82 h 100"/>
                  <a:gd name="T78" fmla="*/ 77 w 126"/>
                  <a:gd name="T79" fmla="*/ 68 h 100"/>
                  <a:gd name="T80" fmla="*/ 77 w 126"/>
                  <a:gd name="T81" fmla="*/ 64 h 100"/>
                  <a:gd name="T82" fmla="*/ 68 w 126"/>
                  <a:gd name="T83" fmla="*/ 55 h 100"/>
                  <a:gd name="T84" fmla="*/ 59 w 126"/>
                  <a:gd name="T85" fmla="*/ 50 h 100"/>
                  <a:gd name="T86" fmla="*/ 45 w 126"/>
                  <a:gd name="T87" fmla="*/ 50 h 100"/>
                  <a:gd name="T88" fmla="*/ 41 w 126"/>
                  <a:gd name="T89" fmla="*/ 59 h 100"/>
                  <a:gd name="T90" fmla="*/ 36 w 126"/>
                  <a:gd name="T91" fmla="*/ 68 h 100"/>
                  <a:gd name="T92" fmla="*/ 32 w 126"/>
                  <a:gd name="T93" fmla="*/ 68 h 100"/>
                  <a:gd name="T94" fmla="*/ 27 w 126"/>
                  <a:gd name="T95" fmla="*/ 59 h 100"/>
                  <a:gd name="T96" fmla="*/ 23 w 126"/>
                  <a:gd name="T97" fmla="*/ 50 h 100"/>
                  <a:gd name="T98" fmla="*/ 18 w 126"/>
                  <a:gd name="T99" fmla="*/ 46 h 100"/>
                  <a:gd name="T100" fmla="*/ 9 w 126"/>
                  <a:gd name="T101" fmla="*/ 37 h 100"/>
                  <a:gd name="T102" fmla="*/ 4 w 126"/>
                  <a:gd name="T103" fmla="*/ 32 h 100"/>
                  <a:gd name="T104" fmla="*/ 0 w 126"/>
                  <a:gd name="T105" fmla="*/ 32 h 100"/>
                  <a:gd name="T106" fmla="*/ 9 w 126"/>
                  <a:gd name="T107" fmla="*/ 23 h 100"/>
                  <a:gd name="T108" fmla="*/ 23 w 126"/>
                  <a:gd name="T109" fmla="*/ 18 h 100"/>
                  <a:gd name="T110" fmla="*/ 23 w 126"/>
                  <a:gd name="T111" fmla="*/ 9 h 100"/>
                  <a:gd name="T112" fmla="*/ 23 w 126"/>
                  <a:gd name="T113" fmla="*/ 5 h 100"/>
                  <a:gd name="T114" fmla="*/ 32 w 126"/>
                  <a:gd name="T115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6" h="100">
                    <a:moveTo>
                      <a:pt x="32" y="0"/>
                    </a:move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5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4" y="5"/>
                    </a:lnTo>
                    <a:lnTo>
                      <a:pt x="54" y="5"/>
                    </a:lnTo>
                    <a:lnTo>
                      <a:pt x="59" y="5"/>
                    </a:lnTo>
                    <a:lnTo>
                      <a:pt x="59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8" y="9"/>
                    </a:lnTo>
                    <a:lnTo>
                      <a:pt x="68" y="14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72" y="9"/>
                    </a:lnTo>
                    <a:lnTo>
                      <a:pt x="72" y="9"/>
                    </a:lnTo>
                    <a:lnTo>
                      <a:pt x="72" y="9"/>
                    </a:lnTo>
                    <a:lnTo>
                      <a:pt x="72" y="9"/>
                    </a:lnTo>
                    <a:lnTo>
                      <a:pt x="77" y="9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81" y="9"/>
                    </a:lnTo>
                    <a:lnTo>
                      <a:pt x="81" y="9"/>
                    </a:lnTo>
                    <a:lnTo>
                      <a:pt x="81" y="9"/>
                    </a:lnTo>
                    <a:lnTo>
                      <a:pt x="86" y="9"/>
                    </a:lnTo>
                    <a:lnTo>
                      <a:pt x="86" y="9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104" y="5"/>
                    </a:lnTo>
                    <a:lnTo>
                      <a:pt x="104" y="5"/>
                    </a:lnTo>
                    <a:lnTo>
                      <a:pt x="104" y="5"/>
                    </a:lnTo>
                    <a:lnTo>
                      <a:pt x="108" y="5"/>
                    </a:lnTo>
                    <a:lnTo>
                      <a:pt x="108" y="9"/>
                    </a:lnTo>
                    <a:lnTo>
                      <a:pt x="108" y="9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13" y="18"/>
                    </a:lnTo>
                    <a:lnTo>
                      <a:pt x="113" y="18"/>
                    </a:lnTo>
                    <a:lnTo>
                      <a:pt x="113" y="23"/>
                    </a:lnTo>
                    <a:lnTo>
                      <a:pt x="113" y="23"/>
                    </a:lnTo>
                    <a:lnTo>
                      <a:pt x="113" y="23"/>
                    </a:lnTo>
                    <a:lnTo>
                      <a:pt x="117" y="23"/>
                    </a:lnTo>
                    <a:lnTo>
                      <a:pt x="117" y="23"/>
                    </a:lnTo>
                    <a:lnTo>
                      <a:pt x="117" y="23"/>
                    </a:lnTo>
                    <a:lnTo>
                      <a:pt x="117" y="23"/>
                    </a:lnTo>
                    <a:lnTo>
                      <a:pt x="117" y="23"/>
                    </a:lnTo>
                    <a:lnTo>
                      <a:pt x="117" y="27"/>
                    </a:lnTo>
                    <a:lnTo>
                      <a:pt x="113" y="27"/>
                    </a:lnTo>
                    <a:lnTo>
                      <a:pt x="113" y="27"/>
                    </a:lnTo>
                    <a:lnTo>
                      <a:pt x="113" y="32"/>
                    </a:lnTo>
                    <a:lnTo>
                      <a:pt x="113" y="32"/>
                    </a:lnTo>
                    <a:lnTo>
                      <a:pt x="113" y="32"/>
                    </a:lnTo>
                    <a:lnTo>
                      <a:pt x="113" y="32"/>
                    </a:lnTo>
                    <a:lnTo>
                      <a:pt x="113" y="32"/>
                    </a:lnTo>
                    <a:lnTo>
                      <a:pt x="113" y="32"/>
                    </a:lnTo>
                    <a:lnTo>
                      <a:pt x="117" y="32"/>
                    </a:lnTo>
                    <a:lnTo>
                      <a:pt x="117" y="32"/>
                    </a:lnTo>
                    <a:lnTo>
                      <a:pt x="117" y="32"/>
                    </a:lnTo>
                    <a:lnTo>
                      <a:pt x="117" y="32"/>
                    </a:lnTo>
                    <a:lnTo>
                      <a:pt x="117" y="32"/>
                    </a:lnTo>
                    <a:lnTo>
                      <a:pt x="117" y="37"/>
                    </a:lnTo>
                    <a:lnTo>
                      <a:pt x="117" y="37"/>
                    </a:lnTo>
                    <a:lnTo>
                      <a:pt x="117" y="41"/>
                    </a:lnTo>
                    <a:lnTo>
                      <a:pt x="117" y="41"/>
                    </a:lnTo>
                    <a:lnTo>
                      <a:pt x="122" y="46"/>
                    </a:lnTo>
                    <a:lnTo>
                      <a:pt x="122" y="46"/>
                    </a:lnTo>
                    <a:lnTo>
                      <a:pt x="122" y="46"/>
                    </a:lnTo>
                    <a:lnTo>
                      <a:pt x="122" y="46"/>
                    </a:lnTo>
                    <a:lnTo>
                      <a:pt x="122" y="46"/>
                    </a:lnTo>
                    <a:lnTo>
                      <a:pt x="122" y="50"/>
                    </a:lnTo>
                    <a:lnTo>
                      <a:pt x="122" y="50"/>
                    </a:lnTo>
                    <a:lnTo>
                      <a:pt x="122" y="50"/>
                    </a:lnTo>
                    <a:lnTo>
                      <a:pt x="122" y="50"/>
                    </a:lnTo>
                    <a:lnTo>
                      <a:pt x="122" y="55"/>
                    </a:lnTo>
                    <a:lnTo>
                      <a:pt x="122" y="59"/>
                    </a:lnTo>
                    <a:lnTo>
                      <a:pt x="122" y="59"/>
                    </a:lnTo>
                    <a:lnTo>
                      <a:pt x="122" y="59"/>
                    </a:lnTo>
                    <a:lnTo>
                      <a:pt x="122" y="59"/>
                    </a:lnTo>
                    <a:lnTo>
                      <a:pt x="126" y="59"/>
                    </a:lnTo>
                    <a:lnTo>
                      <a:pt x="126" y="64"/>
                    </a:lnTo>
                    <a:lnTo>
                      <a:pt x="122" y="64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2" y="73"/>
                    </a:lnTo>
                    <a:lnTo>
                      <a:pt x="122" y="73"/>
                    </a:lnTo>
                    <a:lnTo>
                      <a:pt x="126" y="73"/>
                    </a:lnTo>
                    <a:lnTo>
                      <a:pt x="126" y="77"/>
                    </a:lnTo>
                    <a:lnTo>
                      <a:pt x="126" y="77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6" y="77"/>
                    </a:lnTo>
                    <a:lnTo>
                      <a:pt x="126" y="77"/>
                    </a:lnTo>
                    <a:lnTo>
                      <a:pt x="126" y="77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17" y="77"/>
                    </a:lnTo>
                    <a:lnTo>
                      <a:pt x="117" y="77"/>
                    </a:lnTo>
                    <a:lnTo>
                      <a:pt x="117" y="77"/>
                    </a:lnTo>
                    <a:lnTo>
                      <a:pt x="117" y="82"/>
                    </a:lnTo>
                    <a:lnTo>
                      <a:pt x="117" y="82"/>
                    </a:lnTo>
                    <a:lnTo>
                      <a:pt x="117" y="82"/>
                    </a:lnTo>
                    <a:lnTo>
                      <a:pt x="122" y="82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2" y="91"/>
                    </a:lnTo>
                    <a:lnTo>
                      <a:pt x="122" y="91"/>
                    </a:lnTo>
                    <a:lnTo>
                      <a:pt x="122" y="91"/>
                    </a:lnTo>
                    <a:lnTo>
                      <a:pt x="117" y="95"/>
                    </a:lnTo>
                    <a:lnTo>
                      <a:pt x="117" y="95"/>
                    </a:lnTo>
                    <a:lnTo>
                      <a:pt x="117" y="95"/>
                    </a:lnTo>
                    <a:lnTo>
                      <a:pt x="113" y="95"/>
                    </a:lnTo>
                    <a:lnTo>
                      <a:pt x="113" y="95"/>
                    </a:lnTo>
                    <a:lnTo>
                      <a:pt x="113" y="95"/>
                    </a:lnTo>
                    <a:lnTo>
                      <a:pt x="113" y="95"/>
                    </a:lnTo>
                    <a:lnTo>
                      <a:pt x="113" y="95"/>
                    </a:lnTo>
                    <a:lnTo>
                      <a:pt x="113" y="95"/>
                    </a:lnTo>
                    <a:lnTo>
                      <a:pt x="108" y="95"/>
                    </a:lnTo>
                    <a:lnTo>
                      <a:pt x="108" y="95"/>
                    </a:lnTo>
                    <a:lnTo>
                      <a:pt x="108" y="95"/>
                    </a:lnTo>
                    <a:lnTo>
                      <a:pt x="108" y="95"/>
                    </a:lnTo>
                    <a:lnTo>
                      <a:pt x="108" y="95"/>
                    </a:lnTo>
                    <a:lnTo>
                      <a:pt x="108" y="95"/>
                    </a:lnTo>
                    <a:lnTo>
                      <a:pt x="108" y="100"/>
                    </a:lnTo>
                    <a:lnTo>
                      <a:pt x="108" y="100"/>
                    </a:lnTo>
                    <a:lnTo>
                      <a:pt x="108" y="100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99" y="100"/>
                    </a:lnTo>
                    <a:lnTo>
                      <a:pt x="99" y="100"/>
                    </a:lnTo>
                    <a:lnTo>
                      <a:pt x="99" y="100"/>
                    </a:lnTo>
                    <a:lnTo>
                      <a:pt x="99" y="100"/>
                    </a:lnTo>
                    <a:lnTo>
                      <a:pt x="99" y="100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9" y="95"/>
                    </a:lnTo>
                    <a:lnTo>
                      <a:pt x="99" y="95"/>
                    </a:lnTo>
                    <a:lnTo>
                      <a:pt x="99" y="95"/>
                    </a:lnTo>
                    <a:lnTo>
                      <a:pt x="99" y="91"/>
                    </a:lnTo>
                    <a:lnTo>
                      <a:pt x="99" y="91"/>
                    </a:lnTo>
                    <a:lnTo>
                      <a:pt x="99" y="91"/>
                    </a:lnTo>
                    <a:lnTo>
                      <a:pt x="95" y="91"/>
                    </a:lnTo>
                    <a:lnTo>
                      <a:pt x="99" y="86"/>
                    </a:lnTo>
                    <a:lnTo>
                      <a:pt x="95" y="86"/>
                    </a:lnTo>
                    <a:lnTo>
                      <a:pt x="95" y="86"/>
                    </a:lnTo>
                    <a:lnTo>
                      <a:pt x="95" y="86"/>
                    </a:lnTo>
                    <a:lnTo>
                      <a:pt x="95" y="86"/>
                    </a:lnTo>
                    <a:lnTo>
                      <a:pt x="95" y="82"/>
                    </a:lnTo>
                    <a:lnTo>
                      <a:pt x="95" y="82"/>
                    </a:lnTo>
                    <a:lnTo>
                      <a:pt x="95" y="82"/>
                    </a:lnTo>
                    <a:lnTo>
                      <a:pt x="95" y="82"/>
                    </a:lnTo>
                    <a:lnTo>
                      <a:pt x="95" y="82"/>
                    </a:lnTo>
                    <a:lnTo>
                      <a:pt x="95" y="77"/>
                    </a:lnTo>
                    <a:lnTo>
                      <a:pt x="95" y="77"/>
                    </a:lnTo>
                    <a:lnTo>
                      <a:pt x="95" y="77"/>
                    </a:lnTo>
                    <a:lnTo>
                      <a:pt x="95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1" y="77"/>
                    </a:lnTo>
                    <a:lnTo>
                      <a:pt x="81" y="77"/>
                    </a:lnTo>
                    <a:lnTo>
                      <a:pt x="81" y="77"/>
                    </a:lnTo>
                    <a:lnTo>
                      <a:pt x="81" y="77"/>
                    </a:lnTo>
                    <a:lnTo>
                      <a:pt x="77" y="82"/>
                    </a:lnTo>
                    <a:lnTo>
                      <a:pt x="77" y="82"/>
                    </a:lnTo>
                    <a:lnTo>
                      <a:pt x="77" y="82"/>
                    </a:lnTo>
                    <a:lnTo>
                      <a:pt x="77" y="82"/>
                    </a:lnTo>
                    <a:lnTo>
                      <a:pt x="77" y="82"/>
                    </a:lnTo>
                    <a:lnTo>
                      <a:pt x="77" y="82"/>
                    </a:lnTo>
                    <a:lnTo>
                      <a:pt x="77" y="82"/>
                    </a:lnTo>
                    <a:lnTo>
                      <a:pt x="77" y="82"/>
                    </a:lnTo>
                    <a:lnTo>
                      <a:pt x="77" y="77"/>
                    </a:lnTo>
                    <a:lnTo>
                      <a:pt x="77" y="73"/>
                    </a:lnTo>
                    <a:lnTo>
                      <a:pt x="77" y="73"/>
                    </a:lnTo>
                    <a:lnTo>
                      <a:pt x="77" y="73"/>
                    </a:lnTo>
                    <a:lnTo>
                      <a:pt x="77" y="73"/>
                    </a:lnTo>
                    <a:lnTo>
                      <a:pt x="77" y="68"/>
                    </a:lnTo>
                    <a:lnTo>
                      <a:pt x="77" y="68"/>
                    </a:lnTo>
                    <a:lnTo>
                      <a:pt x="77" y="68"/>
                    </a:lnTo>
                    <a:lnTo>
                      <a:pt x="77" y="68"/>
                    </a:lnTo>
                    <a:lnTo>
                      <a:pt x="77" y="68"/>
                    </a:lnTo>
                    <a:lnTo>
                      <a:pt x="77" y="64"/>
                    </a:lnTo>
                    <a:lnTo>
                      <a:pt x="77" y="64"/>
                    </a:lnTo>
                    <a:lnTo>
                      <a:pt x="77" y="64"/>
                    </a:lnTo>
                    <a:lnTo>
                      <a:pt x="77" y="64"/>
                    </a:lnTo>
                    <a:lnTo>
                      <a:pt x="77" y="59"/>
                    </a:lnTo>
                    <a:lnTo>
                      <a:pt x="72" y="59"/>
                    </a:lnTo>
                    <a:lnTo>
                      <a:pt x="72" y="55"/>
                    </a:lnTo>
                    <a:lnTo>
                      <a:pt x="68" y="55"/>
                    </a:lnTo>
                    <a:lnTo>
                      <a:pt x="68" y="55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3" y="50"/>
                    </a:lnTo>
                    <a:lnTo>
                      <a:pt x="59" y="50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5"/>
                    </a:lnTo>
                    <a:lnTo>
                      <a:pt x="45" y="55"/>
                    </a:lnTo>
                    <a:lnTo>
                      <a:pt x="45" y="55"/>
                    </a:lnTo>
                    <a:lnTo>
                      <a:pt x="41" y="55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64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7" y="64"/>
                    </a:lnTo>
                    <a:lnTo>
                      <a:pt x="27" y="64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3" y="59"/>
                    </a:lnTo>
                    <a:lnTo>
                      <a:pt x="23" y="55"/>
                    </a:lnTo>
                    <a:lnTo>
                      <a:pt x="23" y="55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14" y="46"/>
                    </a:lnTo>
                    <a:lnTo>
                      <a:pt x="9" y="41"/>
                    </a:lnTo>
                    <a:lnTo>
                      <a:pt x="9" y="37"/>
                    </a:lnTo>
                    <a:lnTo>
                      <a:pt x="9" y="37"/>
                    </a:lnTo>
                    <a:lnTo>
                      <a:pt x="9" y="37"/>
                    </a:lnTo>
                    <a:lnTo>
                      <a:pt x="9" y="37"/>
                    </a:lnTo>
                    <a:lnTo>
                      <a:pt x="9" y="37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4" y="27"/>
                    </a:lnTo>
                    <a:lnTo>
                      <a:pt x="4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32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43" name="Freeform 64"/>
              <p:cNvSpPr>
                <a:spLocks/>
              </p:cNvSpPr>
              <p:nvPr/>
            </p:nvSpPr>
            <p:spPr bwMode="auto">
              <a:xfrm>
                <a:off x="3811588" y="2536826"/>
                <a:ext cx="79375" cy="20638"/>
              </a:xfrm>
              <a:custGeom>
                <a:avLst/>
                <a:gdLst>
                  <a:gd name="T0" fmla="*/ 36 w 50"/>
                  <a:gd name="T1" fmla="*/ 4 h 13"/>
                  <a:gd name="T2" fmla="*/ 41 w 50"/>
                  <a:gd name="T3" fmla="*/ 4 h 13"/>
                  <a:gd name="T4" fmla="*/ 45 w 50"/>
                  <a:gd name="T5" fmla="*/ 4 h 13"/>
                  <a:gd name="T6" fmla="*/ 45 w 50"/>
                  <a:gd name="T7" fmla="*/ 4 h 13"/>
                  <a:gd name="T8" fmla="*/ 50 w 50"/>
                  <a:gd name="T9" fmla="*/ 4 h 13"/>
                  <a:gd name="T10" fmla="*/ 50 w 50"/>
                  <a:gd name="T11" fmla="*/ 9 h 13"/>
                  <a:gd name="T12" fmla="*/ 45 w 50"/>
                  <a:gd name="T13" fmla="*/ 9 h 13"/>
                  <a:gd name="T14" fmla="*/ 36 w 50"/>
                  <a:gd name="T15" fmla="*/ 9 h 13"/>
                  <a:gd name="T16" fmla="*/ 31 w 50"/>
                  <a:gd name="T17" fmla="*/ 9 h 13"/>
                  <a:gd name="T18" fmla="*/ 31 w 50"/>
                  <a:gd name="T19" fmla="*/ 4 h 13"/>
                  <a:gd name="T20" fmla="*/ 27 w 50"/>
                  <a:gd name="T21" fmla="*/ 4 h 13"/>
                  <a:gd name="T22" fmla="*/ 27 w 50"/>
                  <a:gd name="T23" fmla="*/ 4 h 13"/>
                  <a:gd name="T24" fmla="*/ 27 w 50"/>
                  <a:gd name="T25" fmla="*/ 9 h 13"/>
                  <a:gd name="T26" fmla="*/ 18 w 50"/>
                  <a:gd name="T27" fmla="*/ 9 h 13"/>
                  <a:gd name="T28" fmla="*/ 18 w 50"/>
                  <a:gd name="T29" fmla="*/ 9 h 13"/>
                  <a:gd name="T30" fmla="*/ 13 w 50"/>
                  <a:gd name="T31" fmla="*/ 13 h 13"/>
                  <a:gd name="T32" fmla="*/ 4 w 50"/>
                  <a:gd name="T33" fmla="*/ 13 h 13"/>
                  <a:gd name="T34" fmla="*/ 0 w 50"/>
                  <a:gd name="T35" fmla="*/ 13 h 13"/>
                  <a:gd name="T36" fmla="*/ 0 w 50"/>
                  <a:gd name="T37" fmla="*/ 13 h 13"/>
                  <a:gd name="T38" fmla="*/ 0 w 50"/>
                  <a:gd name="T39" fmla="*/ 9 h 13"/>
                  <a:gd name="T40" fmla="*/ 4 w 50"/>
                  <a:gd name="T41" fmla="*/ 4 h 13"/>
                  <a:gd name="T42" fmla="*/ 4 w 50"/>
                  <a:gd name="T43" fmla="*/ 9 h 13"/>
                  <a:gd name="T44" fmla="*/ 9 w 50"/>
                  <a:gd name="T45" fmla="*/ 9 h 13"/>
                  <a:gd name="T46" fmla="*/ 9 w 50"/>
                  <a:gd name="T47" fmla="*/ 9 h 13"/>
                  <a:gd name="T48" fmla="*/ 13 w 50"/>
                  <a:gd name="T49" fmla="*/ 9 h 13"/>
                  <a:gd name="T50" fmla="*/ 18 w 50"/>
                  <a:gd name="T51" fmla="*/ 4 h 13"/>
                  <a:gd name="T52" fmla="*/ 22 w 50"/>
                  <a:gd name="T53" fmla="*/ 4 h 13"/>
                  <a:gd name="T54" fmla="*/ 22 w 50"/>
                  <a:gd name="T55" fmla="*/ 4 h 13"/>
                  <a:gd name="T56" fmla="*/ 9 w 50"/>
                  <a:gd name="T57" fmla="*/ 4 h 13"/>
                  <a:gd name="T58" fmla="*/ 4 w 50"/>
                  <a:gd name="T59" fmla="*/ 9 h 13"/>
                  <a:gd name="T60" fmla="*/ 4 w 50"/>
                  <a:gd name="T61" fmla="*/ 4 h 13"/>
                  <a:gd name="T62" fmla="*/ 13 w 50"/>
                  <a:gd name="T63" fmla="*/ 4 h 13"/>
                  <a:gd name="T64" fmla="*/ 22 w 50"/>
                  <a:gd name="T65" fmla="*/ 4 h 13"/>
                  <a:gd name="T66" fmla="*/ 27 w 50"/>
                  <a:gd name="T67" fmla="*/ 0 h 13"/>
                  <a:gd name="T68" fmla="*/ 31 w 50"/>
                  <a:gd name="T69" fmla="*/ 0 h 13"/>
                  <a:gd name="T70" fmla="*/ 36 w 50"/>
                  <a:gd name="T71" fmla="*/ 4 h 13"/>
                  <a:gd name="T72" fmla="*/ 36 w 50"/>
                  <a:gd name="T73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0" h="13">
                    <a:moveTo>
                      <a:pt x="36" y="4"/>
                    </a:moveTo>
                    <a:lnTo>
                      <a:pt x="36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45" y="9"/>
                    </a:lnTo>
                    <a:lnTo>
                      <a:pt x="41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1" y="9"/>
                    </a:lnTo>
                    <a:lnTo>
                      <a:pt x="31" y="4"/>
                    </a:lnTo>
                    <a:lnTo>
                      <a:pt x="31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2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13"/>
                    </a:lnTo>
                    <a:lnTo>
                      <a:pt x="13" y="13"/>
                    </a:lnTo>
                    <a:lnTo>
                      <a:pt x="9" y="13"/>
                    </a:lnTo>
                    <a:lnTo>
                      <a:pt x="4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13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9" y="4"/>
                    </a:lnTo>
                    <a:lnTo>
                      <a:pt x="9" y="9"/>
                    </a:lnTo>
                    <a:lnTo>
                      <a:pt x="4" y="9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9" y="4"/>
                    </a:lnTo>
                    <a:lnTo>
                      <a:pt x="13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44" name="Freeform 65"/>
              <p:cNvSpPr>
                <a:spLocks/>
              </p:cNvSpPr>
              <p:nvPr/>
            </p:nvSpPr>
            <p:spPr bwMode="auto">
              <a:xfrm>
                <a:off x="3811588" y="2571751"/>
                <a:ext cx="85725" cy="50800"/>
              </a:xfrm>
              <a:custGeom>
                <a:avLst/>
                <a:gdLst>
                  <a:gd name="T0" fmla="*/ 54 w 54"/>
                  <a:gd name="T1" fmla="*/ 5 h 32"/>
                  <a:gd name="T2" fmla="*/ 54 w 54"/>
                  <a:gd name="T3" fmla="*/ 5 h 32"/>
                  <a:gd name="T4" fmla="*/ 50 w 54"/>
                  <a:gd name="T5" fmla="*/ 5 h 32"/>
                  <a:gd name="T6" fmla="*/ 50 w 54"/>
                  <a:gd name="T7" fmla="*/ 5 h 32"/>
                  <a:gd name="T8" fmla="*/ 50 w 54"/>
                  <a:gd name="T9" fmla="*/ 9 h 32"/>
                  <a:gd name="T10" fmla="*/ 50 w 54"/>
                  <a:gd name="T11" fmla="*/ 9 h 32"/>
                  <a:gd name="T12" fmla="*/ 50 w 54"/>
                  <a:gd name="T13" fmla="*/ 9 h 32"/>
                  <a:gd name="T14" fmla="*/ 50 w 54"/>
                  <a:gd name="T15" fmla="*/ 14 h 32"/>
                  <a:gd name="T16" fmla="*/ 50 w 54"/>
                  <a:gd name="T17" fmla="*/ 18 h 32"/>
                  <a:gd name="T18" fmla="*/ 41 w 54"/>
                  <a:gd name="T19" fmla="*/ 18 h 32"/>
                  <a:gd name="T20" fmla="*/ 41 w 54"/>
                  <a:gd name="T21" fmla="*/ 18 h 32"/>
                  <a:gd name="T22" fmla="*/ 36 w 54"/>
                  <a:gd name="T23" fmla="*/ 23 h 32"/>
                  <a:gd name="T24" fmla="*/ 31 w 54"/>
                  <a:gd name="T25" fmla="*/ 23 h 32"/>
                  <a:gd name="T26" fmla="*/ 27 w 54"/>
                  <a:gd name="T27" fmla="*/ 32 h 32"/>
                  <a:gd name="T28" fmla="*/ 27 w 54"/>
                  <a:gd name="T29" fmla="*/ 32 h 32"/>
                  <a:gd name="T30" fmla="*/ 27 w 54"/>
                  <a:gd name="T31" fmla="*/ 27 h 32"/>
                  <a:gd name="T32" fmla="*/ 27 w 54"/>
                  <a:gd name="T33" fmla="*/ 32 h 32"/>
                  <a:gd name="T34" fmla="*/ 22 w 54"/>
                  <a:gd name="T35" fmla="*/ 27 h 32"/>
                  <a:gd name="T36" fmla="*/ 22 w 54"/>
                  <a:gd name="T37" fmla="*/ 27 h 32"/>
                  <a:gd name="T38" fmla="*/ 22 w 54"/>
                  <a:gd name="T39" fmla="*/ 23 h 32"/>
                  <a:gd name="T40" fmla="*/ 22 w 54"/>
                  <a:gd name="T41" fmla="*/ 23 h 32"/>
                  <a:gd name="T42" fmla="*/ 22 w 54"/>
                  <a:gd name="T43" fmla="*/ 23 h 32"/>
                  <a:gd name="T44" fmla="*/ 22 w 54"/>
                  <a:gd name="T45" fmla="*/ 23 h 32"/>
                  <a:gd name="T46" fmla="*/ 27 w 54"/>
                  <a:gd name="T47" fmla="*/ 18 h 32"/>
                  <a:gd name="T48" fmla="*/ 27 w 54"/>
                  <a:gd name="T49" fmla="*/ 18 h 32"/>
                  <a:gd name="T50" fmla="*/ 22 w 54"/>
                  <a:gd name="T51" fmla="*/ 18 h 32"/>
                  <a:gd name="T52" fmla="*/ 22 w 54"/>
                  <a:gd name="T53" fmla="*/ 18 h 32"/>
                  <a:gd name="T54" fmla="*/ 22 w 54"/>
                  <a:gd name="T55" fmla="*/ 14 h 32"/>
                  <a:gd name="T56" fmla="*/ 22 w 54"/>
                  <a:gd name="T57" fmla="*/ 14 h 32"/>
                  <a:gd name="T58" fmla="*/ 27 w 54"/>
                  <a:gd name="T59" fmla="*/ 14 h 32"/>
                  <a:gd name="T60" fmla="*/ 27 w 54"/>
                  <a:gd name="T61" fmla="*/ 14 h 32"/>
                  <a:gd name="T62" fmla="*/ 27 w 54"/>
                  <a:gd name="T63" fmla="*/ 14 h 32"/>
                  <a:gd name="T64" fmla="*/ 22 w 54"/>
                  <a:gd name="T65" fmla="*/ 14 h 32"/>
                  <a:gd name="T66" fmla="*/ 18 w 54"/>
                  <a:gd name="T67" fmla="*/ 14 h 32"/>
                  <a:gd name="T68" fmla="*/ 13 w 54"/>
                  <a:gd name="T69" fmla="*/ 14 h 32"/>
                  <a:gd name="T70" fmla="*/ 13 w 54"/>
                  <a:gd name="T71" fmla="*/ 14 h 32"/>
                  <a:gd name="T72" fmla="*/ 9 w 54"/>
                  <a:gd name="T73" fmla="*/ 14 h 32"/>
                  <a:gd name="T74" fmla="*/ 4 w 54"/>
                  <a:gd name="T75" fmla="*/ 9 h 32"/>
                  <a:gd name="T76" fmla="*/ 9 w 54"/>
                  <a:gd name="T77" fmla="*/ 9 h 32"/>
                  <a:gd name="T78" fmla="*/ 9 w 54"/>
                  <a:gd name="T79" fmla="*/ 5 h 32"/>
                  <a:gd name="T80" fmla="*/ 0 w 54"/>
                  <a:gd name="T81" fmla="*/ 5 h 32"/>
                  <a:gd name="T82" fmla="*/ 4 w 54"/>
                  <a:gd name="T83" fmla="*/ 5 h 32"/>
                  <a:gd name="T84" fmla="*/ 4 w 54"/>
                  <a:gd name="T85" fmla="*/ 5 h 32"/>
                  <a:gd name="T86" fmla="*/ 9 w 54"/>
                  <a:gd name="T87" fmla="*/ 5 h 32"/>
                  <a:gd name="T88" fmla="*/ 18 w 54"/>
                  <a:gd name="T89" fmla="*/ 0 h 32"/>
                  <a:gd name="T90" fmla="*/ 27 w 54"/>
                  <a:gd name="T91" fmla="*/ 0 h 32"/>
                  <a:gd name="T92" fmla="*/ 36 w 54"/>
                  <a:gd name="T93" fmla="*/ 0 h 32"/>
                  <a:gd name="T94" fmla="*/ 45 w 54"/>
                  <a:gd name="T95" fmla="*/ 0 h 32"/>
                  <a:gd name="T96" fmla="*/ 54 w 54"/>
                  <a:gd name="T9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4" h="32">
                    <a:moveTo>
                      <a:pt x="54" y="5"/>
                    </a:moveTo>
                    <a:lnTo>
                      <a:pt x="54" y="5"/>
                    </a:lnTo>
                    <a:lnTo>
                      <a:pt x="54" y="5"/>
                    </a:lnTo>
                    <a:lnTo>
                      <a:pt x="54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5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1" y="23"/>
                    </a:lnTo>
                    <a:lnTo>
                      <a:pt x="31" y="27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2" y="23"/>
                    </a:lnTo>
                    <a:lnTo>
                      <a:pt x="22" y="23"/>
                    </a:lnTo>
                    <a:lnTo>
                      <a:pt x="22" y="23"/>
                    </a:lnTo>
                    <a:lnTo>
                      <a:pt x="22" y="23"/>
                    </a:lnTo>
                    <a:lnTo>
                      <a:pt x="22" y="23"/>
                    </a:lnTo>
                    <a:lnTo>
                      <a:pt x="22" y="23"/>
                    </a:lnTo>
                    <a:lnTo>
                      <a:pt x="22" y="23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18" y="14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4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4" y="9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3" y="5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7" y="0"/>
                    </a:lnTo>
                    <a:lnTo>
                      <a:pt x="31" y="0"/>
                    </a:lnTo>
                    <a:lnTo>
                      <a:pt x="36" y="0"/>
                    </a:lnTo>
                    <a:lnTo>
                      <a:pt x="41" y="0"/>
                    </a:lnTo>
                    <a:lnTo>
                      <a:pt x="45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45" name="Freeform 66"/>
              <p:cNvSpPr>
                <a:spLocks noEditPoints="1"/>
              </p:cNvSpPr>
              <p:nvPr/>
            </p:nvSpPr>
            <p:spPr bwMode="auto">
              <a:xfrm>
                <a:off x="4500563" y="2838451"/>
                <a:ext cx="85725" cy="85725"/>
              </a:xfrm>
              <a:custGeom>
                <a:avLst/>
                <a:gdLst>
                  <a:gd name="T0" fmla="*/ 54 w 54"/>
                  <a:gd name="T1" fmla="*/ 49 h 54"/>
                  <a:gd name="T2" fmla="*/ 49 w 54"/>
                  <a:gd name="T3" fmla="*/ 49 h 54"/>
                  <a:gd name="T4" fmla="*/ 40 w 54"/>
                  <a:gd name="T5" fmla="*/ 49 h 54"/>
                  <a:gd name="T6" fmla="*/ 31 w 54"/>
                  <a:gd name="T7" fmla="*/ 49 h 54"/>
                  <a:gd name="T8" fmla="*/ 27 w 54"/>
                  <a:gd name="T9" fmla="*/ 49 h 54"/>
                  <a:gd name="T10" fmla="*/ 27 w 54"/>
                  <a:gd name="T11" fmla="*/ 54 h 54"/>
                  <a:gd name="T12" fmla="*/ 27 w 54"/>
                  <a:gd name="T13" fmla="*/ 49 h 54"/>
                  <a:gd name="T14" fmla="*/ 27 w 54"/>
                  <a:gd name="T15" fmla="*/ 49 h 54"/>
                  <a:gd name="T16" fmla="*/ 22 w 54"/>
                  <a:gd name="T17" fmla="*/ 49 h 54"/>
                  <a:gd name="T18" fmla="*/ 22 w 54"/>
                  <a:gd name="T19" fmla="*/ 49 h 54"/>
                  <a:gd name="T20" fmla="*/ 22 w 54"/>
                  <a:gd name="T21" fmla="*/ 49 h 54"/>
                  <a:gd name="T22" fmla="*/ 18 w 54"/>
                  <a:gd name="T23" fmla="*/ 49 h 54"/>
                  <a:gd name="T24" fmla="*/ 18 w 54"/>
                  <a:gd name="T25" fmla="*/ 45 h 54"/>
                  <a:gd name="T26" fmla="*/ 22 w 54"/>
                  <a:gd name="T27" fmla="*/ 40 h 54"/>
                  <a:gd name="T28" fmla="*/ 22 w 54"/>
                  <a:gd name="T29" fmla="*/ 36 h 54"/>
                  <a:gd name="T30" fmla="*/ 27 w 54"/>
                  <a:gd name="T31" fmla="*/ 31 h 54"/>
                  <a:gd name="T32" fmla="*/ 27 w 54"/>
                  <a:gd name="T33" fmla="*/ 27 h 54"/>
                  <a:gd name="T34" fmla="*/ 27 w 54"/>
                  <a:gd name="T35" fmla="*/ 27 h 54"/>
                  <a:gd name="T36" fmla="*/ 27 w 54"/>
                  <a:gd name="T37" fmla="*/ 31 h 54"/>
                  <a:gd name="T38" fmla="*/ 36 w 54"/>
                  <a:gd name="T39" fmla="*/ 31 h 54"/>
                  <a:gd name="T40" fmla="*/ 49 w 54"/>
                  <a:gd name="T41" fmla="*/ 31 h 54"/>
                  <a:gd name="T42" fmla="*/ 54 w 54"/>
                  <a:gd name="T43" fmla="*/ 31 h 54"/>
                  <a:gd name="T44" fmla="*/ 54 w 54"/>
                  <a:gd name="T45" fmla="*/ 40 h 54"/>
                  <a:gd name="T46" fmla="*/ 54 w 54"/>
                  <a:gd name="T47" fmla="*/ 49 h 54"/>
                  <a:gd name="T48" fmla="*/ 9 w 54"/>
                  <a:gd name="T49" fmla="*/ 0 h 54"/>
                  <a:gd name="T50" fmla="*/ 9 w 54"/>
                  <a:gd name="T51" fmla="*/ 0 h 54"/>
                  <a:gd name="T52" fmla="*/ 9 w 54"/>
                  <a:gd name="T53" fmla="*/ 0 h 54"/>
                  <a:gd name="T54" fmla="*/ 9 w 54"/>
                  <a:gd name="T55" fmla="*/ 9 h 54"/>
                  <a:gd name="T56" fmla="*/ 4 w 54"/>
                  <a:gd name="T57" fmla="*/ 9 h 54"/>
                  <a:gd name="T58" fmla="*/ 0 w 54"/>
                  <a:gd name="T59" fmla="*/ 9 h 54"/>
                  <a:gd name="T60" fmla="*/ 0 w 54"/>
                  <a:gd name="T61" fmla="*/ 4 h 54"/>
                  <a:gd name="T62" fmla="*/ 4 w 54"/>
                  <a:gd name="T63" fmla="*/ 4 h 54"/>
                  <a:gd name="T64" fmla="*/ 4 w 54"/>
                  <a:gd name="T65" fmla="*/ 4 h 54"/>
                  <a:gd name="T66" fmla="*/ 4 w 54"/>
                  <a:gd name="T6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4" h="54">
                    <a:moveTo>
                      <a:pt x="54" y="49"/>
                    </a:moveTo>
                    <a:lnTo>
                      <a:pt x="54" y="49"/>
                    </a:lnTo>
                    <a:lnTo>
                      <a:pt x="54" y="49"/>
                    </a:lnTo>
                    <a:lnTo>
                      <a:pt x="49" y="49"/>
                    </a:lnTo>
                    <a:lnTo>
                      <a:pt x="45" y="49"/>
                    </a:lnTo>
                    <a:lnTo>
                      <a:pt x="40" y="49"/>
                    </a:lnTo>
                    <a:lnTo>
                      <a:pt x="36" y="49"/>
                    </a:lnTo>
                    <a:lnTo>
                      <a:pt x="31" y="49"/>
                    </a:lnTo>
                    <a:lnTo>
                      <a:pt x="31" y="49"/>
                    </a:lnTo>
                    <a:lnTo>
                      <a:pt x="27" y="49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49"/>
                    </a:lnTo>
                    <a:lnTo>
                      <a:pt x="27" y="49"/>
                    </a:lnTo>
                    <a:lnTo>
                      <a:pt x="27" y="49"/>
                    </a:lnTo>
                    <a:lnTo>
                      <a:pt x="27" y="49"/>
                    </a:lnTo>
                    <a:lnTo>
                      <a:pt x="22" y="49"/>
                    </a:lnTo>
                    <a:lnTo>
                      <a:pt x="22" y="49"/>
                    </a:lnTo>
                    <a:lnTo>
                      <a:pt x="22" y="49"/>
                    </a:lnTo>
                    <a:lnTo>
                      <a:pt x="22" y="49"/>
                    </a:lnTo>
                    <a:lnTo>
                      <a:pt x="22" y="49"/>
                    </a:lnTo>
                    <a:lnTo>
                      <a:pt x="22" y="49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7" y="36"/>
                    </a:lnTo>
                    <a:lnTo>
                      <a:pt x="27" y="31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31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0" y="31"/>
                    </a:lnTo>
                    <a:lnTo>
                      <a:pt x="49" y="31"/>
                    </a:lnTo>
                    <a:lnTo>
                      <a:pt x="54" y="31"/>
                    </a:lnTo>
                    <a:lnTo>
                      <a:pt x="54" y="31"/>
                    </a:lnTo>
                    <a:lnTo>
                      <a:pt x="54" y="36"/>
                    </a:lnTo>
                    <a:lnTo>
                      <a:pt x="54" y="40"/>
                    </a:lnTo>
                    <a:lnTo>
                      <a:pt x="54" y="45"/>
                    </a:lnTo>
                    <a:lnTo>
                      <a:pt x="54" y="49"/>
                    </a:lnTo>
                    <a:moveTo>
                      <a:pt x="9" y="0"/>
                    </a:move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4"/>
                    </a:lnTo>
                    <a:lnTo>
                      <a:pt x="9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9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46" name="Freeform 67"/>
              <p:cNvSpPr>
                <a:spLocks noEditPoints="1"/>
              </p:cNvSpPr>
              <p:nvPr/>
            </p:nvSpPr>
            <p:spPr bwMode="auto">
              <a:xfrm>
                <a:off x="4794251" y="1703389"/>
                <a:ext cx="171450" cy="201613"/>
              </a:xfrm>
              <a:custGeom>
                <a:avLst/>
                <a:gdLst>
                  <a:gd name="T0" fmla="*/ 72 w 108"/>
                  <a:gd name="T1" fmla="*/ 118 h 127"/>
                  <a:gd name="T2" fmla="*/ 72 w 108"/>
                  <a:gd name="T3" fmla="*/ 118 h 127"/>
                  <a:gd name="T4" fmla="*/ 90 w 108"/>
                  <a:gd name="T5" fmla="*/ 122 h 127"/>
                  <a:gd name="T6" fmla="*/ 99 w 108"/>
                  <a:gd name="T7" fmla="*/ 122 h 127"/>
                  <a:gd name="T8" fmla="*/ 104 w 108"/>
                  <a:gd name="T9" fmla="*/ 127 h 127"/>
                  <a:gd name="T10" fmla="*/ 81 w 108"/>
                  <a:gd name="T11" fmla="*/ 127 h 127"/>
                  <a:gd name="T12" fmla="*/ 63 w 108"/>
                  <a:gd name="T13" fmla="*/ 122 h 127"/>
                  <a:gd name="T14" fmla="*/ 63 w 108"/>
                  <a:gd name="T15" fmla="*/ 118 h 127"/>
                  <a:gd name="T16" fmla="*/ 54 w 108"/>
                  <a:gd name="T17" fmla="*/ 55 h 127"/>
                  <a:gd name="T18" fmla="*/ 68 w 108"/>
                  <a:gd name="T19" fmla="*/ 59 h 127"/>
                  <a:gd name="T20" fmla="*/ 77 w 108"/>
                  <a:gd name="T21" fmla="*/ 68 h 127"/>
                  <a:gd name="T22" fmla="*/ 72 w 108"/>
                  <a:gd name="T23" fmla="*/ 68 h 127"/>
                  <a:gd name="T24" fmla="*/ 68 w 108"/>
                  <a:gd name="T25" fmla="*/ 64 h 127"/>
                  <a:gd name="T26" fmla="*/ 59 w 108"/>
                  <a:gd name="T27" fmla="*/ 59 h 127"/>
                  <a:gd name="T28" fmla="*/ 49 w 108"/>
                  <a:gd name="T29" fmla="*/ 55 h 127"/>
                  <a:gd name="T30" fmla="*/ 99 w 108"/>
                  <a:gd name="T31" fmla="*/ 9 h 127"/>
                  <a:gd name="T32" fmla="*/ 95 w 108"/>
                  <a:gd name="T33" fmla="*/ 18 h 127"/>
                  <a:gd name="T34" fmla="*/ 81 w 108"/>
                  <a:gd name="T35" fmla="*/ 14 h 127"/>
                  <a:gd name="T36" fmla="*/ 63 w 108"/>
                  <a:gd name="T37" fmla="*/ 18 h 127"/>
                  <a:gd name="T38" fmla="*/ 63 w 108"/>
                  <a:gd name="T39" fmla="*/ 23 h 127"/>
                  <a:gd name="T40" fmla="*/ 63 w 108"/>
                  <a:gd name="T41" fmla="*/ 27 h 127"/>
                  <a:gd name="T42" fmla="*/ 63 w 108"/>
                  <a:gd name="T43" fmla="*/ 32 h 127"/>
                  <a:gd name="T44" fmla="*/ 59 w 108"/>
                  <a:gd name="T45" fmla="*/ 32 h 127"/>
                  <a:gd name="T46" fmla="*/ 45 w 108"/>
                  <a:gd name="T47" fmla="*/ 23 h 127"/>
                  <a:gd name="T48" fmla="*/ 40 w 108"/>
                  <a:gd name="T49" fmla="*/ 27 h 127"/>
                  <a:gd name="T50" fmla="*/ 54 w 108"/>
                  <a:gd name="T51" fmla="*/ 45 h 127"/>
                  <a:gd name="T52" fmla="*/ 45 w 108"/>
                  <a:gd name="T53" fmla="*/ 45 h 127"/>
                  <a:gd name="T54" fmla="*/ 45 w 108"/>
                  <a:gd name="T55" fmla="*/ 55 h 127"/>
                  <a:gd name="T56" fmla="*/ 54 w 108"/>
                  <a:gd name="T57" fmla="*/ 59 h 127"/>
                  <a:gd name="T58" fmla="*/ 68 w 108"/>
                  <a:gd name="T59" fmla="*/ 73 h 127"/>
                  <a:gd name="T60" fmla="*/ 59 w 108"/>
                  <a:gd name="T61" fmla="*/ 68 h 127"/>
                  <a:gd name="T62" fmla="*/ 49 w 108"/>
                  <a:gd name="T63" fmla="*/ 73 h 127"/>
                  <a:gd name="T64" fmla="*/ 59 w 108"/>
                  <a:gd name="T65" fmla="*/ 82 h 127"/>
                  <a:gd name="T66" fmla="*/ 49 w 108"/>
                  <a:gd name="T67" fmla="*/ 82 h 127"/>
                  <a:gd name="T68" fmla="*/ 54 w 108"/>
                  <a:gd name="T69" fmla="*/ 91 h 127"/>
                  <a:gd name="T70" fmla="*/ 49 w 108"/>
                  <a:gd name="T71" fmla="*/ 95 h 127"/>
                  <a:gd name="T72" fmla="*/ 40 w 108"/>
                  <a:gd name="T73" fmla="*/ 95 h 127"/>
                  <a:gd name="T74" fmla="*/ 36 w 108"/>
                  <a:gd name="T75" fmla="*/ 91 h 127"/>
                  <a:gd name="T76" fmla="*/ 27 w 108"/>
                  <a:gd name="T77" fmla="*/ 77 h 127"/>
                  <a:gd name="T78" fmla="*/ 22 w 108"/>
                  <a:gd name="T79" fmla="*/ 68 h 127"/>
                  <a:gd name="T80" fmla="*/ 36 w 108"/>
                  <a:gd name="T81" fmla="*/ 68 h 127"/>
                  <a:gd name="T82" fmla="*/ 49 w 108"/>
                  <a:gd name="T83" fmla="*/ 68 h 127"/>
                  <a:gd name="T84" fmla="*/ 49 w 108"/>
                  <a:gd name="T85" fmla="*/ 68 h 127"/>
                  <a:gd name="T86" fmla="*/ 36 w 108"/>
                  <a:gd name="T87" fmla="*/ 64 h 127"/>
                  <a:gd name="T88" fmla="*/ 22 w 108"/>
                  <a:gd name="T89" fmla="*/ 64 h 127"/>
                  <a:gd name="T90" fmla="*/ 13 w 108"/>
                  <a:gd name="T91" fmla="*/ 55 h 127"/>
                  <a:gd name="T92" fmla="*/ 18 w 108"/>
                  <a:gd name="T93" fmla="*/ 50 h 127"/>
                  <a:gd name="T94" fmla="*/ 9 w 108"/>
                  <a:gd name="T95" fmla="*/ 50 h 127"/>
                  <a:gd name="T96" fmla="*/ 4 w 108"/>
                  <a:gd name="T97" fmla="*/ 41 h 127"/>
                  <a:gd name="T98" fmla="*/ 9 w 108"/>
                  <a:gd name="T99" fmla="*/ 36 h 127"/>
                  <a:gd name="T100" fmla="*/ 9 w 108"/>
                  <a:gd name="T101" fmla="*/ 32 h 127"/>
                  <a:gd name="T102" fmla="*/ 13 w 108"/>
                  <a:gd name="T103" fmla="*/ 27 h 127"/>
                  <a:gd name="T104" fmla="*/ 13 w 108"/>
                  <a:gd name="T105" fmla="*/ 18 h 127"/>
                  <a:gd name="T106" fmla="*/ 27 w 108"/>
                  <a:gd name="T107" fmla="*/ 14 h 127"/>
                  <a:gd name="T108" fmla="*/ 40 w 108"/>
                  <a:gd name="T109" fmla="*/ 14 h 127"/>
                  <a:gd name="T110" fmla="*/ 49 w 108"/>
                  <a:gd name="T111" fmla="*/ 9 h 127"/>
                  <a:gd name="T112" fmla="*/ 63 w 108"/>
                  <a:gd name="T113" fmla="*/ 5 h 127"/>
                  <a:gd name="T114" fmla="*/ 68 w 108"/>
                  <a:gd name="T115" fmla="*/ 5 h 127"/>
                  <a:gd name="T116" fmla="*/ 81 w 108"/>
                  <a:gd name="T117" fmla="*/ 9 h 127"/>
                  <a:gd name="T118" fmla="*/ 95 w 108"/>
                  <a:gd name="T119" fmla="*/ 5 h 127"/>
                  <a:gd name="T120" fmla="*/ 95 w 108"/>
                  <a:gd name="T121" fmla="*/ 0 h 127"/>
                  <a:gd name="T122" fmla="*/ 104 w 108"/>
                  <a:gd name="T123" fmla="*/ 5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8" h="127">
                    <a:moveTo>
                      <a:pt x="68" y="118"/>
                    </a:moveTo>
                    <a:lnTo>
                      <a:pt x="68" y="118"/>
                    </a:lnTo>
                    <a:lnTo>
                      <a:pt x="68" y="118"/>
                    </a:lnTo>
                    <a:lnTo>
                      <a:pt x="68" y="118"/>
                    </a:lnTo>
                    <a:lnTo>
                      <a:pt x="68" y="118"/>
                    </a:lnTo>
                    <a:lnTo>
                      <a:pt x="72" y="113"/>
                    </a:lnTo>
                    <a:lnTo>
                      <a:pt x="72" y="113"/>
                    </a:lnTo>
                    <a:lnTo>
                      <a:pt x="72" y="118"/>
                    </a:lnTo>
                    <a:lnTo>
                      <a:pt x="72" y="118"/>
                    </a:lnTo>
                    <a:lnTo>
                      <a:pt x="72" y="118"/>
                    </a:lnTo>
                    <a:lnTo>
                      <a:pt x="72" y="118"/>
                    </a:lnTo>
                    <a:lnTo>
                      <a:pt x="72" y="118"/>
                    </a:lnTo>
                    <a:lnTo>
                      <a:pt x="72" y="118"/>
                    </a:lnTo>
                    <a:lnTo>
                      <a:pt x="72" y="118"/>
                    </a:lnTo>
                    <a:lnTo>
                      <a:pt x="72" y="118"/>
                    </a:lnTo>
                    <a:lnTo>
                      <a:pt x="72" y="118"/>
                    </a:lnTo>
                    <a:lnTo>
                      <a:pt x="77" y="118"/>
                    </a:lnTo>
                    <a:lnTo>
                      <a:pt x="77" y="118"/>
                    </a:lnTo>
                    <a:lnTo>
                      <a:pt x="77" y="118"/>
                    </a:lnTo>
                    <a:lnTo>
                      <a:pt x="77" y="118"/>
                    </a:lnTo>
                    <a:lnTo>
                      <a:pt x="81" y="118"/>
                    </a:lnTo>
                    <a:lnTo>
                      <a:pt x="86" y="118"/>
                    </a:lnTo>
                    <a:lnTo>
                      <a:pt x="86" y="118"/>
                    </a:lnTo>
                    <a:lnTo>
                      <a:pt x="90" y="122"/>
                    </a:lnTo>
                    <a:lnTo>
                      <a:pt x="95" y="122"/>
                    </a:lnTo>
                    <a:lnTo>
                      <a:pt x="95" y="122"/>
                    </a:lnTo>
                    <a:lnTo>
                      <a:pt x="95" y="118"/>
                    </a:lnTo>
                    <a:lnTo>
                      <a:pt x="99" y="122"/>
                    </a:lnTo>
                    <a:lnTo>
                      <a:pt x="99" y="122"/>
                    </a:lnTo>
                    <a:lnTo>
                      <a:pt x="99" y="122"/>
                    </a:lnTo>
                    <a:lnTo>
                      <a:pt x="99" y="122"/>
                    </a:lnTo>
                    <a:lnTo>
                      <a:pt x="99" y="122"/>
                    </a:lnTo>
                    <a:lnTo>
                      <a:pt x="99" y="122"/>
                    </a:lnTo>
                    <a:lnTo>
                      <a:pt x="104" y="122"/>
                    </a:lnTo>
                    <a:lnTo>
                      <a:pt x="104" y="122"/>
                    </a:lnTo>
                    <a:lnTo>
                      <a:pt x="104" y="122"/>
                    </a:lnTo>
                    <a:lnTo>
                      <a:pt x="108" y="122"/>
                    </a:lnTo>
                    <a:lnTo>
                      <a:pt x="104" y="122"/>
                    </a:lnTo>
                    <a:lnTo>
                      <a:pt x="104" y="122"/>
                    </a:lnTo>
                    <a:lnTo>
                      <a:pt x="104" y="127"/>
                    </a:lnTo>
                    <a:lnTo>
                      <a:pt x="104" y="127"/>
                    </a:lnTo>
                    <a:lnTo>
                      <a:pt x="104" y="127"/>
                    </a:lnTo>
                    <a:lnTo>
                      <a:pt x="104" y="127"/>
                    </a:lnTo>
                    <a:lnTo>
                      <a:pt x="99" y="127"/>
                    </a:lnTo>
                    <a:lnTo>
                      <a:pt x="95" y="127"/>
                    </a:lnTo>
                    <a:lnTo>
                      <a:pt x="90" y="127"/>
                    </a:lnTo>
                    <a:lnTo>
                      <a:pt x="81" y="127"/>
                    </a:lnTo>
                    <a:lnTo>
                      <a:pt x="81" y="127"/>
                    </a:lnTo>
                    <a:lnTo>
                      <a:pt x="81" y="127"/>
                    </a:lnTo>
                    <a:lnTo>
                      <a:pt x="81" y="127"/>
                    </a:lnTo>
                    <a:lnTo>
                      <a:pt x="81" y="127"/>
                    </a:lnTo>
                    <a:lnTo>
                      <a:pt x="77" y="122"/>
                    </a:lnTo>
                    <a:lnTo>
                      <a:pt x="77" y="122"/>
                    </a:lnTo>
                    <a:lnTo>
                      <a:pt x="68" y="122"/>
                    </a:lnTo>
                    <a:lnTo>
                      <a:pt x="68" y="122"/>
                    </a:lnTo>
                    <a:lnTo>
                      <a:pt x="63" y="122"/>
                    </a:lnTo>
                    <a:lnTo>
                      <a:pt x="63" y="122"/>
                    </a:lnTo>
                    <a:lnTo>
                      <a:pt x="63" y="122"/>
                    </a:lnTo>
                    <a:lnTo>
                      <a:pt x="63" y="122"/>
                    </a:lnTo>
                    <a:lnTo>
                      <a:pt x="63" y="118"/>
                    </a:lnTo>
                    <a:lnTo>
                      <a:pt x="63" y="118"/>
                    </a:lnTo>
                    <a:lnTo>
                      <a:pt x="63" y="118"/>
                    </a:lnTo>
                    <a:lnTo>
                      <a:pt x="63" y="118"/>
                    </a:lnTo>
                    <a:lnTo>
                      <a:pt x="63" y="118"/>
                    </a:lnTo>
                    <a:lnTo>
                      <a:pt x="63" y="118"/>
                    </a:lnTo>
                    <a:lnTo>
                      <a:pt x="63" y="113"/>
                    </a:lnTo>
                    <a:lnTo>
                      <a:pt x="63" y="113"/>
                    </a:lnTo>
                    <a:lnTo>
                      <a:pt x="63" y="113"/>
                    </a:lnTo>
                    <a:lnTo>
                      <a:pt x="63" y="118"/>
                    </a:lnTo>
                    <a:lnTo>
                      <a:pt x="68" y="118"/>
                    </a:lnTo>
                    <a:moveTo>
                      <a:pt x="54" y="55"/>
                    </a:moveTo>
                    <a:lnTo>
                      <a:pt x="54" y="55"/>
                    </a:lnTo>
                    <a:lnTo>
                      <a:pt x="59" y="55"/>
                    </a:lnTo>
                    <a:lnTo>
                      <a:pt x="59" y="55"/>
                    </a:lnTo>
                    <a:lnTo>
                      <a:pt x="59" y="55"/>
                    </a:lnTo>
                    <a:lnTo>
                      <a:pt x="59" y="55"/>
                    </a:lnTo>
                    <a:lnTo>
                      <a:pt x="63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8"/>
                    </a:lnTo>
                    <a:lnTo>
                      <a:pt x="72" y="68"/>
                    </a:lnTo>
                    <a:lnTo>
                      <a:pt x="72" y="68"/>
                    </a:lnTo>
                    <a:lnTo>
                      <a:pt x="77" y="68"/>
                    </a:lnTo>
                    <a:lnTo>
                      <a:pt x="77" y="68"/>
                    </a:lnTo>
                    <a:lnTo>
                      <a:pt x="77" y="68"/>
                    </a:lnTo>
                    <a:lnTo>
                      <a:pt x="72" y="73"/>
                    </a:lnTo>
                    <a:lnTo>
                      <a:pt x="72" y="73"/>
                    </a:lnTo>
                    <a:lnTo>
                      <a:pt x="72" y="73"/>
                    </a:lnTo>
                    <a:lnTo>
                      <a:pt x="72" y="68"/>
                    </a:lnTo>
                    <a:lnTo>
                      <a:pt x="72" y="68"/>
                    </a:lnTo>
                    <a:lnTo>
                      <a:pt x="72" y="68"/>
                    </a:lnTo>
                    <a:lnTo>
                      <a:pt x="72" y="68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3" y="64"/>
                    </a:lnTo>
                    <a:lnTo>
                      <a:pt x="63" y="64"/>
                    </a:lnTo>
                    <a:lnTo>
                      <a:pt x="59" y="64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4" y="55"/>
                    </a:lnTo>
                    <a:lnTo>
                      <a:pt x="54" y="55"/>
                    </a:lnTo>
                    <a:lnTo>
                      <a:pt x="49" y="55"/>
                    </a:lnTo>
                    <a:lnTo>
                      <a:pt x="49" y="55"/>
                    </a:lnTo>
                    <a:lnTo>
                      <a:pt x="49" y="55"/>
                    </a:lnTo>
                    <a:lnTo>
                      <a:pt x="45" y="55"/>
                    </a:lnTo>
                    <a:lnTo>
                      <a:pt x="45" y="55"/>
                    </a:lnTo>
                    <a:lnTo>
                      <a:pt x="49" y="55"/>
                    </a:lnTo>
                    <a:lnTo>
                      <a:pt x="49" y="50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4" y="55"/>
                    </a:lnTo>
                    <a:moveTo>
                      <a:pt x="99" y="9"/>
                    </a:move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14"/>
                    </a:lnTo>
                    <a:lnTo>
                      <a:pt x="99" y="14"/>
                    </a:lnTo>
                    <a:lnTo>
                      <a:pt x="99" y="14"/>
                    </a:lnTo>
                    <a:lnTo>
                      <a:pt x="99" y="14"/>
                    </a:lnTo>
                    <a:lnTo>
                      <a:pt x="99" y="14"/>
                    </a:lnTo>
                    <a:lnTo>
                      <a:pt x="99" y="14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0" y="18"/>
                    </a:lnTo>
                    <a:lnTo>
                      <a:pt x="86" y="14"/>
                    </a:lnTo>
                    <a:lnTo>
                      <a:pt x="81" y="14"/>
                    </a:lnTo>
                    <a:lnTo>
                      <a:pt x="81" y="14"/>
                    </a:lnTo>
                    <a:lnTo>
                      <a:pt x="81" y="14"/>
                    </a:lnTo>
                    <a:lnTo>
                      <a:pt x="77" y="14"/>
                    </a:lnTo>
                    <a:lnTo>
                      <a:pt x="77" y="18"/>
                    </a:lnTo>
                    <a:lnTo>
                      <a:pt x="72" y="18"/>
                    </a:lnTo>
                    <a:lnTo>
                      <a:pt x="72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8"/>
                    </a:lnTo>
                    <a:lnTo>
                      <a:pt x="63" y="18"/>
                    </a:lnTo>
                    <a:lnTo>
                      <a:pt x="63" y="18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59" y="23"/>
                    </a:lnTo>
                    <a:lnTo>
                      <a:pt x="59" y="23"/>
                    </a:lnTo>
                    <a:lnTo>
                      <a:pt x="59" y="23"/>
                    </a:lnTo>
                    <a:lnTo>
                      <a:pt x="59" y="23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68" y="27"/>
                    </a:lnTo>
                    <a:lnTo>
                      <a:pt x="68" y="27"/>
                    </a:lnTo>
                    <a:lnTo>
                      <a:pt x="68" y="32"/>
                    </a:lnTo>
                    <a:lnTo>
                      <a:pt x="68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63" y="32"/>
                    </a:lnTo>
                    <a:lnTo>
                      <a:pt x="63" y="32"/>
                    </a:lnTo>
                    <a:lnTo>
                      <a:pt x="63" y="32"/>
                    </a:lnTo>
                    <a:lnTo>
                      <a:pt x="63" y="32"/>
                    </a:lnTo>
                    <a:lnTo>
                      <a:pt x="63" y="32"/>
                    </a:lnTo>
                    <a:lnTo>
                      <a:pt x="59" y="32"/>
                    </a:lnTo>
                    <a:lnTo>
                      <a:pt x="59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4" y="27"/>
                    </a:lnTo>
                    <a:lnTo>
                      <a:pt x="49" y="27"/>
                    </a:lnTo>
                    <a:lnTo>
                      <a:pt x="45" y="27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0" y="23"/>
                    </a:lnTo>
                    <a:lnTo>
                      <a:pt x="40" y="23"/>
                    </a:lnTo>
                    <a:lnTo>
                      <a:pt x="40" y="27"/>
                    </a:lnTo>
                    <a:lnTo>
                      <a:pt x="40" y="27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5" y="36"/>
                    </a:lnTo>
                    <a:lnTo>
                      <a:pt x="45" y="41"/>
                    </a:lnTo>
                    <a:lnTo>
                      <a:pt x="49" y="41"/>
                    </a:lnTo>
                    <a:lnTo>
                      <a:pt x="49" y="41"/>
                    </a:lnTo>
                    <a:lnTo>
                      <a:pt x="54" y="45"/>
                    </a:lnTo>
                    <a:lnTo>
                      <a:pt x="54" y="45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49" y="50"/>
                    </a:lnTo>
                    <a:lnTo>
                      <a:pt x="49" y="50"/>
                    </a:lnTo>
                    <a:lnTo>
                      <a:pt x="49" y="45"/>
                    </a:lnTo>
                    <a:lnTo>
                      <a:pt x="49" y="45"/>
                    </a:lnTo>
                    <a:lnTo>
                      <a:pt x="49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50"/>
                    </a:lnTo>
                    <a:lnTo>
                      <a:pt x="49" y="50"/>
                    </a:lnTo>
                    <a:lnTo>
                      <a:pt x="49" y="50"/>
                    </a:lnTo>
                    <a:lnTo>
                      <a:pt x="49" y="50"/>
                    </a:lnTo>
                    <a:lnTo>
                      <a:pt x="49" y="55"/>
                    </a:lnTo>
                    <a:lnTo>
                      <a:pt x="45" y="55"/>
                    </a:lnTo>
                    <a:lnTo>
                      <a:pt x="45" y="55"/>
                    </a:lnTo>
                    <a:lnTo>
                      <a:pt x="40" y="55"/>
                    </a:lnTo>
                    <a:lnTo>
                      <a:pt x="40" y="55"/>
                    </a:lnTo>
                    <a:lnTo>
                      <a:pt x="45" y="55"/>
                    </a:lnTo>
                    <a:lnTo>
                      <a:pt x="45" y="55"/>
                    </a:lnTo>
                    <a:lnTo>
                      <a:pt x="45" y="55"/>
                    </a:lnTo>
                    <a:lnTo>
                      <a:pt x="49" y="55"/>
                    </a:lnTo>
                    <a:lnTo>
                      <a:pt x="49" y="59"/>
                    </a:lnTo>
                    <a:lnTo>
                      <a:pt x="54" y="59"/>
                    </a:lnTo>
                    <a:lnTo>
                      <a:pt x="54" y="59"/>
                    </a:lnTo>
                    <a:lnTo>
                      <a:pt x="59" y="59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3" y="64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8" y="73"/>
                    </a:lnTo>
                    <a:lnTo>
                      <a:pt x="68" y="73"/>
                    </a:lnTo>
                    <a:lnTo>
                      <a:pt x="68" y="73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63" y="73"/>
                    </a:lnTo>
                    <a:lnTo>
                      <a:pt x="63" y="73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9" y="73"/>
                    </a:lnTo>
                    <a:lnTo>
                      <a:pt x="54" y="73"/>
                    </a:lnTo>
                    <a:lnTo>
                      <a:pt x="49" y="73"/>
                    </a:lnTo>
                    <a:lnTo>
                      <a:pt x="49" y="73"/>
                    </a:lnTo>
                    <a:lnTo>
                      <a:pt x="49" y="73"/>
                    </a:lnTo>
                    <a:lnTo>
                      <a:pt x="49" y="73"/>
                    </a:lnTo>
                    <a:lnTo>
                      <a:pt x="54" y="73"/>
                    </a:lnTo>
                    <a:lnTo>
                      <a:pt x="54" y="77"/>
                    </a:lnTo>
                    <a:lnTo>
                      <a:pt x="54" y="77"/>
                    </a:lnTo>
                    <a:lnTo>
                      <a:pt x="54" y="77"/>
                    </a:lnTo>
                    <a:lnTo>
                      <a:pt x="54" y="77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54" y="82"/>
                    </a:lnTo>
                    <a:lnTo>
                      <a:pt x="54" y="82"/>
                    </a:lnTo>
                    <a:lnTo>
                      <a:pt x="54" y="82"/>
                    </a:lnTo>
                    <a:lnTo>
                      <a:pt x="54" y="82"/>
                    </a:lnTo>
                    <a:lnTo>
                      <a:pt x="54" y="82"/>
                    </a:lnTo>
                    <a:lnTo>
                      <a:pt x="49" y="82"/>
                    </a:lnTo>
                    <a:lnTo>
                      <a:pt x="49" y="82"/>
                    </a:lnTo>
                    <a:lnTo>
                      <a:pt x="49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82"/>
                    </a:lnTo>
                    <a:lnTo>
                      <a:pt x="49" y="82"/>
                    </a:lnTo>
                    <a:lnTo>
                      <a:pt x="49" y="91"/>
                    </a:lnTo>
                    <a:lnTo>
                      <a:pt x="54" y="91"/>
                    </a:lnTo>
                    <a:lnTo>
                      <a:pt x="54" y="95"/>
                    </a:lnTo>
                    <a:lnTo>
                      <a:pt x="54" y="95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49" y="100"/>
                    </a:lnTo>
                    <a:lnTo>
                      <a:pt x="49" y="95"/>
                    </a:lnTo>
                    <a:lnTo>
                      <a:pt x="49" y="95"/>
                    </a:lnTo>
                    <a:lnTo>
                      <a:pt x="45" y="95"/>
                    </a:lnTo>
                    <a:lnTo>
                      <a:pt x="45" y="95"/>
                    </a:lnTo>
                    <a:lnTo>
                      <a:pt x="45" y="95"/>
                    </a:lnTo>
                    <a:lnTo>
                      <a:pt x="45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95"/>
                    </a:lnTo>
                    <a:lnTo>
                      <a:pt x="40" y="95"/>
                    </a:lnTo>
                    <a:lnTo>
                      <a:pt x="40" y="91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5"/>
                    </a:lnTo>
                    <a:lnTo>
                      <a:pt x="31" y="95"/>
                    </a:lnTo>
                    <a:lnTo>
                      <a:pt x="31" y="91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31" y="82"/>
                    </a:lnTo>
                    <a:lnTo>
                      <a:pt x="31" y="82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2" y="77"/>
                    </a:lnTo>
                    <a:lnTo>
                      <a:pt x="22" y="73"/>
                    </a:lnTo>
                    <a:lnTo>
                      <a:pt x="22" y="73"/>
                    </a:lnTo>
                    <a:lnTo>
                      <a:pt x="22" y="73"/>
                    </a:lnTo>
                    <a:lnTo>
                      <a:pt x="22" y="73"/>
                    </a:lnTo>
                    <a:lnTo>
                      <a:pt x="22" y="73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31" y="64"/>
                    </a:lnTo>
                    <a:lnTo>
                      <a:pt x="31" y="64"/>
                    </a:lnTo>
                    <a:lnTo>
                      <a:pt x="31" y="64"/>
                    </a:lnTo>
                    <a:lnTo>
                      <a:pt x="36" y="68"/>
                    </a:lnTo>
                    <a:lnTo>
                      <a:pt x="40" y="68"/>
                    </a:lnTo>
                    <a:lnTo>
                      <a:pt x="45" y="68"/>
                    </a:lnTo>
                    <a:lnTo>
                      <a:pt x="45" y="73"/>
                    </a:lnTo>
                    <a:lnTo>
                      <a:pt x="49" y="73"/>
                    </a:lnTo>
                    <a:lnTo>
                      <a:pt x="49" y="73"/>
                    </a:lnTo>
                    <a:lnTo>
                      <a:pt x="49" y="68"/>
                    </a:lnTo>
                    <a:lnTo>
                      <a:pt x="49" y="68"/>
                    </a:lnTo>
                    <a:lnTo>
                      <a:pt x="49" y="68"/>
                    </a:lnTo>
                    <a:lnTo>
                      <a:pt x="49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49" y="68"/>
                    </a:lnTo>
                    <a:lnTo>
                      <a:pt x="49" y="68"/>
                    </a:lnTo>
                    <a:lnTo>
                      <a:pt x="49" y="68"/>
                    </a:lnTo>
                    <a:lnTo>
                      <a:pt x="49" y="68"/>
                    </a:lnTo>
                    <a:lnTo>
                      <a:pt x="45" y="68"/>
                    </a:lnTo>
                    <a:lnTo>
                      <a:pt x="45" y="64"/>
                    </a:lnTo>
                    <a:lnTo>
                      <a:pt x="45" y="64"/>
                    </a:lnTo>
                    <a:lnTo>
                      <a:pt x="45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1" y="64"/>
                    </a:lnTo>
                    <a:lnTo>
                      <a:pt x="31" y="64"/>
                    </a:lnTo>
                    <a:lnTo>
                      <a:pt x="27" y="64"/>
                    </a:lnTo>
                    <a:lnTo>
                      <a:pt x="27" y="64"/>
                    </a:lnTo>
                    <a:lnTo>
                      <a:pt x="27" y="64"/>
                    </a:lnTo>
                    <a:lnTo>
                      <a:pt x="27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3" y="55"/>
                    </a:lnTo>
                    <a:lnTo>
                      <a:pt x="13" y="55"/>
                    </a:lnTo>
                    <a:lnTo>
                      <a:pt x="13" y="55"/>
                    </a:lnTo>
                    <a:lnTo>
                      <a:pt x="13" y="55"/>
                    </a:lnTo>
                    <a:lnTo>
                      <a:pt x="13" y="55"/>
                    </a:lnTo>
                    <a:lnTo>
                      <a:pt x="18" y="55"/>
                    </a:lnTo>
                    <a:lnTo>
                      <a:pt x="18" y="55"/>
                    </a:lnTo>
                    <a:lnTo>
                      <a:pt x="18" y="55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3" y="50"/>
                    </a:lnTo>
                    <a:lnTo>
                      <a:pt x="13" y="50"/>
                    </a:lnTo>
                    <a:lnTo>
                      <a:pt x="13" y="50"/>
                    </a:lnTo>
                    <a:lnTo>
                      <a:pt x="9" y="50"/>
                    </a:lnTo>
                    <a:lnTo>
                      <a:pt x="9" y="45"/>
                    </a:lnTo>
                    <a:lnTo>
                      <a:pt x="4" y="45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1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8" y="23"/>
                    </a:lnTo>
                    <a:lnTo>
                      <a:pt x="18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8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6" y="9"/>
                    </a:lnTo>
                    <a:lnTo>
                      <a:pt x="36" y="14"/>
                    </a:lnTo>
                    <a:lnTo>
                      <a:pt x="40" y="14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9" y="9"/>
                    </a:lnTo>
                    <a:lnTo>
                      <a:pt x="49" y="5"/>
                    </a:lnTo>
                    <a:lnTo>
                      <a:pt x="49" y="5"/>
                    </a:lnTo>
                    <a:lnTo>
                      <a:pt x="54" y="5"/>
                    </a:lnTo>
                    <a:lnTo>
                      <a:pt x="54" y="5"/>
                    </a:lnTo>
                    <a:lnTo>
                      <a:pt x="54" y="5"/>
                    </a:lnTo>
                    <a:lnTo>
                      <a:pt x="59" y="5"/>
                    </a:lnTo>
                    <a:lnTo>
                      <a:pt x="59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8" y="5"/>
                    </a:lnTo>
                    <a:lnTo>
                      <a:pt x="68" y="5"/>
                    </a:lnTo>
                    <a:lnTo>
                      <a:pt x="68" y="5"/>
                    </a:lnTo>
                    <a:lnTo>
                      <a:pt x="68" y="5"/>
                    </a:lnTo>
                    <a:lnTo>
                      <a:pt x="72" y="5"/>
                    </a:lnTo>
                    <a:lnTo>
                      <a:pt x="72" y="5"/>
                    </a:lnTo>
                    <a:lnTo>
                      <a:pt x="72" y="5"/>
                    </a:lnTo>
                    <a:lnTo>
                      <a:pt x="72" y="9"/>
                    </a:lnTo>
                    <a:lnTo>
                      <a:pt x="72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81" y="9"/>
                    </a:lnTo>
                    <a:lnTo>
                      <a:pt x="81" y="9"/>
                    </a:lnTo>
                    <a:lnTo>
                      <a:pt x="81" y="9"/>
                    </a:lnTo>
                    <a:lnTo>
                      <a:pt x="86" y="9"/>
                    </a:lnTo>
                    <a:lnTo>
                      <a:pt x="86" y="9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95" y="5"/>
                    </a:lnTo>
                    <a:lnTo>
                      <a:pt x="95" y="5"/>
                    </a:lnTo>
                    <a:lnTo>
                      <a:pt x="95" y="5"/>
                    </a:lnTo>
                    <a:lnTo>
                      <a:pt x="95" y="5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104" y="5"/>
                    </a:lnTo>
                    <a:lnTo>
                      <a:pt x="104" y="5"/>
                    </a:lnTo>
                    <a:lnTo>
                      <a:pt x="104" y="5"/>
                    </a:lnTo>
                    <a:lnTo>
                      <a:pt x="99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47" name="Freeform 68"/>
              <p:cNvSpPr>
                <a:spLocks noEditPoints="1"/>
              </p:cNvSpPr>
              <p:nvPr/>
            </p:nvSpPr>
            <p:spPr bwMode="auto">
              <a:xfrm>
                <a:off x="3267076" y="447676"/>
                <a:ext cx="966788" cy="696913"/>
              </a:xfrm>
              <a:custGeom>
                <a:avLst/>
                <a:gdLst>
                  <a:gd name="T0" fmla="*/ 67 w 609"/>
                  <a:gd name="T1" fmla="*/ 253 h 439"/>
                  <a:gd name="T2" fmla="*/ 402 w 609"/>
                  <a:gd name="T3" fmla="*/ 244 h 439"/>
                  <a:gd name="T4" fmla="*/ 406 w 609"/>
                  <a:gd name="T5" fmla="*/ 240 h 439"/>
                  <a:gd name="T6" fmla="*/ 316 w 609"/>
                  <a:gd name="T7" fmla="*/ 27 h 439"/>
                  <a:gd name="T8" fmla="*/ 465 w 609"/>
                  <a:gd name="T9" fmla="*/ 14 h 439"/>
                  <a:gd name="T10" fmla="*/ 496 w 609"/>
                  <a:gd name="T11" fmla="*/ 36 h 439"/>
                  <a:gd name="T12" fmla="*/ 524 w 609"/>
                  <a:gd name="T13" fmla="*/ 50 h 439"/>
                  <a:gd name="T14" fmla="*/ 609 w 609"/>
                  <a:gd name="T15" fmla="*/ 45 h 439"/>
                  <a:gd name="T16" fmla="*/ 533 w 609"/>
                  <a:gd name="T17" fmla="*/ 68 h 439"/>
                  <a:gd name="T18" fmla="*/ 519 w 609"/>
                  <a:gd name="T19" fmla="*/ 90 h 439"/>
                  <a:gd name="T20" fmla="*/ 510 w 609"/>
                  <a:gd name="T21" fmla="*/ 113 h 439"/>
                  <a:gd name="T22" fmla="*/ 483 w 609"/>
                  <a:gd name="T23" fmla="*/ 131 h 439"/>
                  <a:gd name="T24" fmla="*/ 496 w 609"/>
                  <a:gd name="T25" fmla="*/ 158 h 439"/>
                  <a:gd name="T26" fmla="*/ 478 w 609"/>
                  <a:gd name="T27" fmla="*/ 172 h 439"/>
                  <a:gd name="T28" fmla="*/ 460 w 609"/>
                  <a:gd name="T29" fmla="*/ 176 h 439"/>
                  <a:gd name="T30" fmla="*/ 424 w 609"/>
                  <a:gd name="T31" fmla="*/ 185 h 439"/>
                  <a:gd name="T32" fmla="*/ 402 w 609"/>
                  <a:gd name="T33" fmla="*/ 199 h 439"/>
                  <a:gd name="T34" fmla="*/ 429 w 609"/>
                  <a:gd name="T35" fmla="*/ 204 h 439"/>
                  <a:gd name="T36" fmla="*/ 433 w 609"/>
                  <a:gd name="T37" fmla="*/ 217 h 439"/>
                  <a:gd name="T38" fmla="*/ 438 w 609"/>
                  <a:gd name="T39" fmla="*/ 249 h 439"/>
                  <a:gd name="T40" fmla="*/ 393 w 609"/>
                  <a:gd name="T41" fmla="*/ 226 h 439"/>
                  <a:gd name="T42" fmla="*/ 374 w 609"/>
                  <a:gd name="T43" fmla="*/ 249 h 439"/>
                  <a:gd name="T44" fmla="*/ 429 w 609"/>
                  <a:gd name="T45" fmla="*/ 258 h 439"/>
                  <a:gd name="T46" fmla="*/ 388 w 609"/>
                  <a:gd name="T47" fmla="*/ 276 h 439"/>
                  <a:gd name="T48" fmla="*/ 307 w 609"/>
                  <a:gd name="T49" fmla="*/ 280 h 439"/>
                  <a:gd name="T50" fmla="*/ 266 w 609"/>
                  <a:gd name="T51" fmla="*/ 317 h 439"/>
                  <a:gd name="T52" fmla="*/ 225 w 609"/>
                  <a:gd name="T53" fmla="*/ 330 h 439"/>
                  <a:gd name="T54" fmla="*/ 203 w 609"/>
                  <a:gd name="T55" fmla="*/ 335 h 439"/>
                  <a:gd name="T56" fmla="*/ 162 w 609"/>
                  <a:gd name="T57" fmla="*/ 357 h 439"/>
                  <a:gd name="T58" fmla="*/ 144 w 609"/>
                  <a:gd name="T59" fmla="*/ 384 h 439"/>
                  <a:gd name="T60" fmla="*/ 108 w 609"/>
                  <a:gd name="T61" fmla="*/ 425 h 439"/>
                  <a:gd name="T62" fmla="*/ 90 w 609"/>
                  <a:gd name="T63" fmla="*/ 434 h 439"/>
                  <a:gd name="T64" fmla="*/ 81 w 609"/>
                  <a:gd name="T65" fmla="*/ 411 h 439"/>
                  <a:gd name="T66" fmla="*/ 49 w 609"/>
                  <a:gd name="T67" fmla="*/ 411 h 439"/>
                  <a:gd name="T68" fmla="*/ 45 w 609"/>
                  <a:gd name="T69" fmla="*/ 389 h 439"/>
                  <a:gd name="T70" fmla="*/ 49 w 609"/>
                  <a:gd name="T71" fmla="*/ 353 h 439"/>
                  <a:gd name="T72" fmla="*/ 58 w 609"/>
                  <a:gd name="T73" fmla="*/ 348 h 439"/>
                  <a:gd name="T74" fmla="*/ 36 w 609"/>
                  <a:gd name="T75" fmla="*/ 348 h 439"/>
                  <a:gd name="T76" fmla="*/ 36 w 609"/>
                  <a:gd name="T77" fmla="*/ 317 h 439"/>
                  <a:gd name="T78" fmla="*/ 40 w 609"/>
                  <a:gd name="T79" fmla="*/ 308 h 439"/>
                  <a:gd name="T80" fmla="*/ 85 w 609"/>
                  <a:gd name="T81" fmla="*/ 289 h 439"/>
                  <a:gd name="T82" fmla="*/ 81 w 609"/>
                  <a:gd name="T83" fmla="*/ 280 h 439"/>
                  <a:gd name="T84" fmla="*/ 90 w 609"/>
                  <a:gd name="T85" fmla="*/ 271 h 439"/>
                  <a:gd name="T86" fmla="*/ 117 w 609"/>
                  <a:gd name="T87" fmla="*/ 244 h 439"/>
                  <a:gd name="T88" fmla="*/ 103 w 609"/>
                  <a:gd name="T89" fmla="*/ 235 h 439"/>
                  <a:gd name="T90" fmla="*/ 99 w 609"/>
                  <a:gd name="T91" fmla="*/ 222 h 439"/>
                  <a:gd name="T92" fmla="*/ 103 w 609"/>
                  <a:gd name="T93" fmla="*/ 204 h 439"/>
                  <a:gd name="T94" fmla="*/ 76 w 609"/>
                  <a:gd name="T95" fmla="*/ 217 h 439"/>
                  <a:gd name="T96" fmla="*/ 103 w 609"/>
                  <a:gd name="T97" fmla="*/ 190 h 439"/>
                  <a:gd name="T98" fmla="*/ 103 w 609"/>
                  <a:gd name="T99" fmla="*/ 172 h 439"/>
                  <a:gd name="T100" fmla="*/ 103 w 609"/>
                  <a:gd name="T101" fmla="*/ 154 h 439"/>
                  <a:gd name="T102" fmla="*/ 54 w 609"/>
                  <a:gd name="T103" fmla="*/ 127 h 439"/>
                  <a:gd name="T104" fmla="*/ 4 w 609"/>
                  <a:gd name="T105" fmla="*/ 122 h 439"/>
                  <a:gd name="T106" fmla="*/ 4 w 609"/>
                  <a:gd name="T107" fmla="*/ 104 h 439"/>
                  <a:gd name="T108" fmla="*/ 27 w 609"/>
                  <a:gd name="T109" fmla="*/ 100 h 439"/>
                  <a:gd name="T110" fmla="*/ 22 w 609"/>
                  <a:gd name="T111" fmla="*/ 81 h 439"/>
                  <a:gd name="T112" fmla="*/ 112 w 609"/>
                  <a:gd name="T113" fmla="*/ 59 h 439"/>
                  <a:gd name="T114" fmla="*/ 131 w 609"/>
                  <a:gd name="T115" fmla="*/ 41 h 439"/>
                  <a:gd name="T116" fmla="*/ 194 w 609"/>
                  <a:gd name="T117" fmla="*/ 27 h 439"/>
                  <a:gd name="T118" fmla="*/ 239 w 609"/>
                  <a:gd name="T119" fmla="*/ 32 h 439"/>
                  <a:gd name="T120" fmla="*/ 320 w 609"/>
                  <a:gd name="T121" fmla="*/ 32 h 439"/>
                  <a:gd name="T122" fmla="*/ 334 w 609"/>
                  <a:gd name="T123" fmla="*/ 9 h 439"/>
                  <a:gd name="T124" fmla="*/ 397 w 609"/>
                  <a:gd name="T125" fmla="*/ 5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09" h="439">
                    <a:moveTo>
                      <a:pt x="90" y="244"/>
                    </a:moveTo>
                    <a:lnTo>
                      <a:pt x="90" y="244"/>
                    </a:lnTo>
                    <a:lnTo>
                      <a:pt x="90" y="249"/>
                    </a:lnTo>
                    <a:lnTo>
                      <a:pt x="94" y="249"/>
                    </a:lnTo>
                    <a:lnTo>
                      <a:pt x="94" y="249"/>
                    </a:lnTo>
                    <a:lnTo>
                      <a:pt x="94" y="249"/>
                    </a:lnTo>
                    <a:lnTo>
                      <a:pt x="94" y="249"/>
                    </a:lnTo>
                    <a:lnTo>
                      <a:pt x="94" y="249"/>
                    </a:lnTo>
                    <a:lnTo>
                      <a:pt x="94" y="249"/>
                    </a:lnTo>
                    <a:lnTo>
                      <a:pt x="94" y="253"/>
                    </a:lnTo>
                    <a:lnTo>
                      <a:pt x="94" y="253"/>
                    </a:lnTo>
                    <a:lnTo>
                      <a:pt x="94" y="253"/>
                    </a:lnTo>
                    <a:lnTo>
                      <a:pt x="90" y="253"/>
                    </a:lnTo>
                    <a:lnTo>
                      <a:pt x="90" y="253"/>
                    </a:lnTo>
                    <a:lnTo>
                      <a:pt x="81" y="258"/>
                    </a:lnTo>
                    <a:lnTo>
                      <a:pt x="76" y="258"/>
                    </a:lnTo>
                    <a:lnTo>
                      <a:pt x="72" y="258"/>
                    </a:lnTo>
                    <a:lnTo>
                      <a:pt x="67" y="258"/>
                    </a:lnTo>
                    <a:lnTo>
                      <a:pt x="67" y="258"/>
                    </a:lnTo>
                    <a:lnTo>
                      <a:pt x="67" y="258"/>
                    </a:lnTo>
                    <a:lnTo>
                      <a:pt x="67" y="258"/>
                    </a:lnTo>
                    <a:lnTo>
                      <a:pt x="67" y="253"/>
                    </a:lnTo>
                    <a:lnTo>
                      <a:pt x="67" y="253"/>
                    </a:lnTo>
                    <a:lnTo>
                      <a:pt x="67" y="253"/>
                    </a:lnTo>
                    <a:lnTo>
                      <a:pt x="67" y="253"/>
                    </a:lnTo>
                    <a:lnTo>
                      <a:pt x="67" y="253"/>
                    </a:lnTo>
                    <a:lnTo>
                      <a:pt x="72" y="253"/>
                    </a:lnTo>
                    <a:lnTo>
                      <a:pt x="72" y="253"/>
                    </a:lnTo>
                    <a:lnTo>
                      <a:pt x="72" y="253"/>
                    </a:lnTo>
                    <a:lnTo>
                      <a:pt x="72" y="253"/>
                    </a:lnTo>
                    <a:lnTo>
                      <a:pt x="72" y="253"/>
                    </a:lnTo>
                    <a:lnTo>
                      <a:pt x="67" y="253"/>
                    </a:lnTo>
                    <a:lnTo>
                      <a:pt x="67" y="253"/>
                    </a:lnTo>
                    <a:lnTo>
                      <a:pt x="63" y="253"/>
                    </a:lnTo>
                    <a:lnTo>
                      <a:pt x="63" y="249"/>
                    </a:lnTo>
                    <a:lnTo>
                      <a:pt x="63" y="249"/>
                    </a:lnTo>
                    <a:lnTo>
                      <a:pt x="63" y="249"/>
                    </a:lnTo>
                    <a:lnTo>
                      <a:pt x="63" y="249"/>
                    </a:lnTo>
                    <a:lnTo>
                      <a:pt x="63" y="244"/>
                    </a:lnTo>
                    <a:lnTo>
                      <a:pt x="67" y="244"/>
                    </a:lnTo>
                    <a:lnTo>
                      <a:pt x="67" y="244"/>
                    </a:lnTo>
                    <a:lnTo>
                      <a:pt x="72" y="244"/>
                    </a:lnTo>
                    <a:lnTo>
                      <a:pt x="72" y="244"/>
                    </a:lnTo>
                    <a:lnTo>
                      <a:pt x="67" y="244"/>
                    </a:lnTo>
                    <a:lnTo>
                      <a:pt x="67" y="244"/>
                    </a:lnTo>
                    <a:lnTo>
                      <a:pt x="67" y="240"/>
                    </a:lnTo>
                    <a:lnTo>
                      <a:pt x="67" y="240"/>
                    </a:lnTo>
                    <a:lnTo>
                      <a:pt x="67" y="240"/>
                    </a:lnTo>
                    <a:lnTo>
                      <a:pt x="67" y="240"/>
                    </a:lnTo>
                    <a:lnTo>
                      <a:pt x="67" y="240"/>
                    </a:lnTo>
                    <a:lnTo>
                      <a:pt x="72" y="240"/>
                    </a:lnTo>
                    <a:lnTo>
                      <a:pt x="76" y="240"/>
                    </a:lnTo>
                    <a:lnTo>
                      <a:pt x="76" y="240"/>
                    </a:lnTo>
                    <a:lnTo>
                      <a:pt x="85" y="240"/>
                    </a:lnTo>
                    <a:lnTo>
                      <a:pt x="85" y="240"/>
                    </a:lnTo>
                    <a:lnTo>
                      <a:pt x="85" y="240"/>
                    </a:lnTo>
                    <a:lnTo>
                      <a:pt x="90" y="244"/>
                    </a:lnTo>
                    <a:moveTo>
                      <a:pt x="406" y="240"/>
                    </a:moveTo>
                    <a:lnTo>
                      <a:pt x="406" y="240"/>
                    </a:lnTo>
                    <a:lnTo>
                      <a:pt x="406" y="240"/>
                    </a:lnTo>
                    <a:lnTo>
                      <a:pt x="406" y="240"/>
                    </a:lnTo>
                    <a:lnTo>
                      <a:pt x="402" y="240"/>
                    </a:lnTo>
                    <a:lnTo>
                      <a:pt x="402" y="240"/>
                    </a:lnTo>
                    <a:lnTo>
                      <a:pt x="402" y="240"/>
                    </a:lnTo>
                    <a:lnTo>
                      <a:pt x="402" y="240"/>
                    </a:lnTo>
                    <a:lnTo>
                      <a:pt x="402" y="244"/>
                    </a:lnTo>
                    <a:lnTo>
                      <a:pt x="402" y="244"/>
                    </a:lnTo>
                    <a:lnTo>
                      <a:pt x="402" y="244"/>
                    </a:lnTo>
                    <a:lnTo>
                      <a:pt x="397" y="244"/>
                    </a:lnTo>
                    <a:lnTo>
                      <a:pt x="397" y="244"/>
                    </a:lnTo>
                    <a:lnTo>
                      <a:pt x="393" y="244"/>
                    </a:lnTo>
                    <a:lnTo>
                      <a:pt x="393" y="249"/>
                    </a:lnTo>
                    <a:lnTo>
                      <a:pt x="393" y="249"/>
                    </a:lnTo>
                    <a:lnTo>
                      <a:pt x="393" y="244"/>
                    </a:lnTo>
                    <a:lnTo>
                      <a:pt x="388" y="244"/>
                    </a:lnTo>
                    <a:lnTo>
                      <a:pt x="384" y="244"/>
                    </a:lnTo>
                    <a:lnTo>
                      <a:pt x="374" y="244"/>
                    </a:lnTo>
                    <a:lnTo>
                      <a:pt x="374" y="249"/>
                    </a:lnTo>
                    <a:lnTo>
                      <a:pt x="370" y="244"/>
                    </a:lnTo>
                    <a:lnTo>
                      <a:pt x="370" y="244"/>
                    </a:lnTo>
                    <a:lnTo>
                      <a:pt x="370" y="244"/>
                    </a:lnTo>
                    <a:lnTo>
                      <a:pt x="374" y="244"/>
                    </a:lnTo>
                    <a:lnTo>
                      <a:pt x="374" y="244"/>
                    </a:lnTo>
                    <a:lnTo>
                      <a:pt x="374" y="244"/>
                    </a:lnTo>
                    <a:lnTo>
                      <a:pt x="379" y="240"/>
                    </a:lnTo>
                    <a:lnTo>
                      <a:pt x="379" y="240"/>
                    </a:lnTo>
                    <a:lnTo>
                      <a:pt x="379" y="240"/>
                    </a:lnTo>
                    <a:lnTo>
                      <a:pt x="379" y="240"/>
                    </a:lnTo>
                    <a:lnTo>
                      <a:pt x="384" y="240"/>
                    </a:lnTo>
                    <a:lnTo>
                      <a:pt x="384" y="240"/>
                    </a:lnTo>
                    <a:lnTo>
                      <a:pt x="388" y="240"/>
                    </a:lnTo>
                    <a:lnTo>
                      <a:pt x="393" y="240"/>
                    </a:lnTo>
                    <a:lnTo>
                      <a:pt x="393" y="240"/>
                    </a:lnTo>
                    <a:lnTo>
                      <a:pt x="402" y="235"/>
                    </a:lnTo>
                    <a:lnTo>
                      <a:pt x="402" y="235"/>
                    </a:lnTo>
                    <a:lnTo>
                      <a:pt x="402" y="235"/>
                    </a:lnTo>
                    <a:lnTo>
                      <a:pt x="402" y="240"/>
                    </a:lnTo>
                    <a:lnTo>
                      <a:pt x="406" y="240"/>
                    </a:lnTo>
                    <a:lnTo>
                      <a:pt x="406" y="240"/>
                    </a:lnTo>
                    <a:moveTo>
                      <a:pt x="515" y="158"/>
                    </a:moveTo>
                    <a:lnTo>
                      <a:pt x="515" y="158"/>
                    </a:lnTo>
                    <a:lnTo>
                      <a:pt x="515" y="158"/>
                    </a:lnTo>
                    <a:lnTo>
                      <a:pt x="515" y="158"/>
                    </a:lnTo>
                    <a:lnTo>
                      <a:pt x="515" y="163"/>
                    </a:lnTo>
                    <a:lnTo>
                      <a:pt x="519" y="163"/>
                    </a:lnTo>
                    <a:lnTo>
                      <a:pt x="519" y="163"/>
                    </a:lnTo>
                    <a:lnTo>
                      <a:pt x="515" y="163"/>
                    </a:lnTo>
                    <a:lnTo>
                      <a:pt x="505" y="163"/>
                    </a:lnTo>
                    <a:lnTo>
                      <a:pt x="505" y="163"/>
                    </a:lnTo>
                    <a:lnTo>
                      <a:pt x="501" y="163"/>
                    </a:lnTo>
                    <a:lnTo>
                      <a:pt x="501" y="158"/>
                    </a:lnTo>
                    <a:lnTo>
                      <a:pt x="505" y="158"/>
                    </a:lnTo>
                    <a:lnTo>
                      <a:pt x="505" y="158"/>
                    </a:lnTo>
                    <a:lnTo>
                      <a:pt x="510" y="158"/>
                    </a:lnTo>
                    <a:lnTo>
                      <a:pt x="510" y="158"/>
                    </a:lnTo>
                    <a:lnTo>
                      <a:pt x="515" y="158"/>
                    </a:lnTo>
                    <a:moveTo>
                      <a:pt x="546" y="72"/>
                    </a:moveTo>
                    <a:lnTo>
                      <a:pt x="546" y="72"/>
                    </a:lnTo>
                    <a:lnTo>
                      <a:pt x="542" y="77"/>
                    </a:lnTo>
                    <a:lnTo>
                      <a:pt x="533" y="77"/>
                    </a:lnTo>
                    <a:lnTo>
                      <a:pt x="533" y="77"/>
                    </a:lnTo>
                    <a:lnTo>
                      <a:pt x="533" y="72"/>
                    </a:lnTo>
                    <a:lnTo>
                      <a:pt x="533" y="72"/>
                    </a:lnTo>
                    <a:lnTo>
                      <a:pt x="537" y="72"/>
                    </a:lnTo>
                    <a:lnTo>
                      <a:pt x="542" y="68"/>
                    </a:lnTo>
                    <a:lnTo>
                      <a:pt x="546" y="72"/>
                    </a:lnTo>
                    <a:lnTo>
                      <a:pt x="546" y="72"/>
                    </a:lnTo>
                    <a:lnTo>
                      <a:pt x="546" y="72"/>
                    </a:lnTo>
                    <a:moveTo>
                      <a:pt x="320" y="27"/>
                    </a:moveTo>
                    <a:lnTo>
                      <a:pt x="320" y="27"/>
                    </a:lnTo>
                    <a:lnTo>
                      <a:pt x="316" y="27"/>
                    </a:lnTo>
                    <a:lnTo>
                      <a:pt x="316" y="27"/>
                    </a:lnTo>
                    <a:lnTo>
                      <a:pt x="311" y="23"/>
                    </a:lnTo>
                    <a:lnTo>
                      <a:pt x="307" y="23"/>
                    </a:lnTo>
                    <a:lnTo>
                      <a:pt x="302" y="18"/>
                    </a:lnTo>
                    <a:lnTo>
                      <a:pt x="307" y="18"/>
                    </a:lnTo>
                    <a:lnTo>
                      <a:pt x="307" y="18"/>
                    </a:lnTo>
                    <a:lnTo>
                      <a:pt x="311" y="18"/>
                    </a:lnTo>
                    <a:lnTo>
                      <a:pt x="316" y="14"/>
                    </a:lnTo>
                    <a:lnTo>
                      <a:pt x="320" y="18"/>
                    </a:lnTo>
                    <a:lnTo>
                      <a:pt x="325" y="18"/>
                    </a:lnTo>
                    <a:lnTo>
                      <a:pt x="325" y="23"/>
                    </a:lnTo>
                    <a:lnTo>
                      <a:pt x="320" y="23"/>
                    </a:lnTo>
                    <a:lnTo>
                      <a:pt x="320" y="27"/>
                    </a:lnTo>
                    <a:moveTo>
                      <a:pt x="465" y="5"/>
                    </a:moveTo>
                    <a:lnTo>
                      <a:pt x="465" y="5"/>
                    </a:lnTo>
                    <a:lnTo>
                      <a:pt x="474" y="5"/>
                    </a:lnTo>
                    <a:lnTo>
                      <a:pt x="474" y="5"/>
                    </a:lnTo>
                    <a:lnTo>
                      <a:pt x="478" y="5"/>
                    </a:lnTo>
                    <a:lnTo>
                      <a:pt x="483" y="5"/>
                    </a:lnTo>
                    <a:lnTo>
                      <a:pt x="487" y="9"/>
                    </a:lnTo>
                    <a:lnTo>
                      <a:pt x="496" y="9"/>
                    </a:lnTo>
                    <a:lnTo>
                      <a:pt x="496" y="9"/>
                    </a:lnTo>
                    <a:lnTo>
                      <a:pt x="496" y="9"/>
                    </a:lnTo>
                    <a:lnTo>
                      <a:pt x="492" y="9"/>
                    </a:lnTo>
                    <a:lnTo>
                      <a:pt x="483" y="9"/>
                    </a:lnTo>
                    <a:lnTo>
                      <a:pt x="460" y="9"/>
                    </a:lnTo>
                    <a:lnTo>
                      <a:pt x="447" y="14"/>
                    </a:lnTo>
                    <a:lnTo>
                      <a:pt x="442" y="14"/>
                    </a:lnTo>
                    <a:lnTo>
                      <a:pt x="442" y="14"/>
                    </a:lnTo>
                    <a:lnTo>
                      <a:pt x="442" y="14"/>
                    </a:lnTo>
                    <a:lnTo>
                      <a:pt x="447" y="14"/>
                    </a:lnTo>
                    <a:lnTo>
                      <a:pt x="456" y="14"/>
                    </a:lnTo>
                    <a:lnTo>
                      <a:pt x="460" y="14"/>
                    </a:lnTo>
                    <a:lnTo>
                      <a:pt x="465" y="14"/>
                    </a:lnTo>
                    <a:lnTo>
                      <a:pt x="474" y="14"/>
                    </a:lnTo>
                    <a:lnTo>
                      <a:pt x="478" y="14"/>
                    </a:lnTo>
                    <a:lnTo>
                      <a:pt x="487" y="14"/>
                    </a:lnTo>
                    <a:lnTo>
                      <a:pt x="492" y="14"/>
                    </a:lnTo>
                    <a:lnTo>
                      <a:pt x="501" y="9"/>
                    </a:lnTo>
                    <a:lnTo>
                      <a:pt x="505" y="14"/>
                    </a:lnTo>
                    <a:lnTo>
                      <a:pt x="505" y="18"/>
                    </a:lnTo>
                    <a:lnTo>
                      <a:pt x="510" y="18"/>
                    </a:lnTo>
                    <a:lnTo>
                      <a:pt x="510" y="18"/>
                    </a:lnTo>
                    <a:lnTo>
                      <a:pt x="510" y="18"/>
                    </a:lnTo>
                    <a:lnTo>
                      <a:pt x="510" y="18"/>
                    </a:lnTo>
                    <a:lnTo>
                      <a:pt x="515" y="18"/>
                    </a:lnTo>
                    <a:lnTo>
                      <a:pt x="524" y="18"/>
                    </a:lnTo>
                    <a:lnTo>
                      <a:pt x="528" y="18"/>
                    </a:lnTo>
                    <a:lnTo>
                      <a:pt x="528" y="23"/>
                    </a:lnTo>
                    <a:lnTo>
                      <a:pt x="528" y="23"/>
                    </a:lnTo>
                    <a:lnTo>
                      <a:pt x="528" y="23"/>
                    </a:lnTo>
                    <a:lnTo>
                      <a:pt x="528" y="23"/>
                    </a:lnTo>
                    <a:lnTo>
                      <a:pt x="524" y="23"/>
                    </a:lnTo>
                    <a:lnTo>
                      <a:pt x="519" y="27"/>
                    </a:lnTo>
                    <a:lnTo>
                      <a:pt x="515" y="27"/>
                    </a:lnTo>
                    <a:lnTo>
                      <a:pt x="505" y="27"/>
                    </a:lnTo>
                    <a:lnTo>
                      <a:pt x="456" y="27"/>
                    </a:lnTo>
                    <a:lnTo>
                      <a:pt x="451" y="32"/>
                    </a:lnTo>
                    <a:lnTo>
                      <a:pt x="451" y="32"/>
                    </a:lnTo>
                    <a:lnTo>
                      <a:pt x="451" y="32"/>
                    </a:lnTo>
                    <a:lnTo>
                      <a:pt x="451" y="32"/>
                    </a:lnTo>
                    <a:lnTo>
                      <a:pt x="460" y="32"/>
                    </a:lnTo>
                    <a:lnTo>
                      <a:pt x="469" y="32"/>
                    </a:lnTo>
                    <a:lnTo>
                      <a:pt x="474" y="32"/>
                    </a:lnTo>
                    <a:lnTo>
                      <a:pt x="492" y="32"/>
                    </a:lnTo>
                    <a:lnTo>
                      <a:pt x="496" y="36"/>
                    </a:lnTo>
                    <a:lnTo>
                      <a:pt x="496" y="36"/>
                    </a:lnTo>
                    <a:lnTo>
                      <a:pt x="505" y="36"/>
                    </a:lnTo>
                    <a:lnTo>
                      <a:pt x="505" y="36"/>
                    </a:lnTo>
                    <a:lnTo>
                      <a:pt x="505" y="36"/>
                    </a:lnTo>
                    <a:lnTo>
                      <a:pt x="505" y="36"/>
                    </a:lnTo>
                    <a:lnTo>
                      <a:pt x="510" y="32"/>
                    </a:lnTo>
                    <a:lnTo>
                      <a:pt x="510" y="32"/>
                    </a:lnTo>
                    <a:lnTo>
                      <a:pt x="510" y="32"/>
                    </a:lnTo>
                    <a:lnTo>
                      <a:pt x="510" y="32"/>
                    </a:lnTo>
                    <a:lnTo>
                      <a:pt x="515" y="32"/>
                    </a:lnTo>
                    <a:lnTo>
                      <a:pt x="524" y="32"/>
                    </a:lnTo>
                    <a:lnTo>
                      <a:pt x="528" y="32"/>
                    </a:lnTo>
                    <a:lnTo>
                      <a:pt x="528" y="32"/>
                    </a:lnTo>
                    <a:lnTo>
                      <a:pt x="528" y="36"/>
                    </a:lnTo>
                    <a:lnTo>
                      <a:pt x="528" y="36"/>
                    </a:lnTo>
                    <a:lnTo>
                      <a:pt x="528" y="36"/>
                    </a:lnTo>
                    <a:lnTo>
                      <a:pt x="524" y="41"/>
                    </a:lnTo>
                    <a:lnTo>
                      <a:pt x="524" y="41"/>
                    </a:lnTo>
                    <a:lnTo>
                      <a:pt x="519" y="45"/>
                    </a:lnTo>
                    <a:lnTo>
                      <a:pt x="519" y="45"/>
                    </a:lnTo>
                    <a:lnTo>
                      <a:pt x="515" y="45"/>
                    </a:lnTo>
                    <a:lnTo>
                      <a:pt x="510" y="50"/>
                    </a:lnTo>
                    <a:lnTo>
                      <a:pt x="510" y="50"/>
                    </a:lnTo>
                    <a:lnTo>
                      <a:pt x="501" y="54"/>
                    </a:lnTo>
                    <a:lnTo>
                      <a:pt x="501" y="54"/>
                    </a:lnTo>
                    <a:lnTo>
                      <a:pt x="501" y="54"/>
                    </a:lnTo>
                    <a:lnTo>
                      <a:pt x="501" y="54"/>
                    </a:lnTo>
                    <a:lnTo>
                      <a:pt x="501" y="54"/>
                    </a:lnTo>
                    <a:lnTo>
                      <a:pt x="501" y="54"/>
                    </a:lnTo>
                    <a:lnTo>
                      <a:pt x="505" y="54"/>
                    </a:lnTo>
                    <a:lnTo>
                      <a:pt x="510" y="50"/>
                    </a:lnTo>
                    <a:lnTo>
                      <a:pt x="515" y="50"/>
                    </a:lnTo>
                    <a:lnTo>
                      <a:pt x="519" y="50"/>
                    </a:lnTo>
                    <a:lnTo>
                      <a:pt x="524" y="50"/>
                    </a:lnTo>
                    <a:lnTo>
                      <a:pt x="524" y="45"/>
                    </a:lnTo>
                    <a:lnTo>
                      <a:pt x="528" y="45"/>
                    </a:lnTo>
                    <a:lnTo>
                      <a:pt x="533" y="41"/>
                    </a:lnTo>
                    <a:lnTo>
                      <a:pt x="537" y="41"/>
                    </a:lnTo>
                    <a:lnTo>
                      <a:pt x="542" y="41"/>
                    </a:lnTo>
                    <a:lnTo>
                      <a:pt x="542" y="41"/>
                    </a:lnTo>
                    <a:lnTo>
                      <a:pt x="546" y="45"/>
                    </a:lnTo>
                    <a:lnTo>
                      <a:pt x="546" y="41"/>
                    </a:lnTo>
                    <a:lnTo>
                      <a:pt x="551" y="45"/>
                    </a:lnTo>
                    <a:lnTo>
                      <a:pt x="551" y="45"/>
                    </a:lnTo>
                    <a:lnTo>
                      <a:pt x="555" y="45"/>
                    </a:lnTo>
                    <a:lnTo>
                      <a:pt x="555" y="45"/>
                    </a:lnTo>
                    <a:lnTo>
                      <a:pt x="560" y="45"/>
                    </a:lnTo>
                    <a:lnTo>
                      <a:pt x="560" y="45"/>
                    </a:lnTo>
                    <a:lnTo>
                      <a:pt x="564" y="41"/>
                    </a:lnTo>
                    <a:lnTo>
                      <a:pt x="564" y="41"/>
                    </a:lnTo>
                    <a:lnTo>
                      <a:pt x="569" y="41"/>
                    </a:lnTo>
                    <a:lnTo>
                      <a:pt x="569" y="41"/>
                    </a:lnTo>
                    <a:lnTo>
                      <a:pt x="569" y="36"/>
                    </a:lnTo>
                    <a:lnTo>
                      <a:pt x="573" y="36"/>
                    </a:lnTo>
                    <a:lnTo>
                      <a:pt x="578" y="36"/>
                    </a:lnTo>
                    <a:lnTo>
                      <a:pt x="578" y="36"/>
                    </a:lnTo>
                    <a:lnTo>
                      <a:pt x="578" y="36"/>
                    </a:lnTo>
                    <a:lnTo>
                      <a:pt x="587" y="36"/>
                    </a:lnTo>
                    <a:lnTo>
                      <a:pt x="591" y="36"/>
                    </a:lnTo>
                    <a:lnTo>
                      <a:pt x="600" y="41"/>
                    </a:lnTo>
                    <a:lnTo>
                      <a:pt x="605" y="41"/>
                    </a:lnTo>
                    <a:lnTo>
                      <a:pt x="605" y="41"/>
                    </a:lnTo>
                    <a:lnTo>
                      <a:pt x="609" y="41"/>
                    </a:lnTo>
                    <a:lnTo>
                      <a:pt x="609" y="45"/>
                    </a:lnTo>
                    <a:lnTo>
                      <a:pt x="609" y="45"/>
                    </a:lnTo>
                    <a:lnTo>
                      <a:pt x="609" y="45"/>
                    </a:lnTo>
                    <a:lnTo>
                      <a:pt x="609" y="45"/>
                    </a:lnTo>
                    <a:lnTo>
                      <a:pt x="605" y="45"/>
                    </a:lnTo>
                    <a:lnTo>
                      <a:pt x="600" y="50"/>
                    </a:lnTo>
                    <a:lnTo>
                      <a:pt x="596" y="50"/>
                    </a:lnTo>
                    <a:lnTo>
                      <a:pt x="591" y="54"/>
                    </a:lnTo>
                    <a:lnTo>
                      <a:pt x="587" y="54"/>
                    </a:lnTo>
                    <a:lnTo>
                      <a:pt x="582" y="54"/>
                    </a:lnTo>
                    <a:lnTo>
                      <a:pt x="582" y="54"/>
                    </a:lnTo>
                    <a:lnTo>
                      <a:pt x="582" y="54"/>
                    </a:lnTo>
                    <a:lnTo>
                      <a:pt x="582" y="54"/>
                    </a:lnTo>
                    <a:lnTo>
                      <a:pt x="582" y="54"/>
                    </a:lnTo>
                    <a:lnTo>
                      <a:pt x="582" y="54"/>
                    </a:lnTo>
                    <a:lnTo>
                      <a:pt x="582" y="59"/>
                    </a:lnTo>
                    <a:lnTo>
                      <a:pt x="578" y="59"/>
                    </a:lnTo>
                    <a:lnTo>
                      <a:pt x="573" y="59"/>
                    </a:lnTo>
                    <a:lnTo>
                      <a:pt x="569" y="59"/>
                    </a:lnTo>
                    <a:lnTo>
                      <a:pt x="564" y="59"/>
                    </a:lnTo>
                    <a:lnTo>
                      <a:pt x="560" y="59"/>
                    </a:lnTo>
                    <a:lnTo>
                      <a:pt x="555" y="59"/>
                    </a:lnTo>
                    <a:lnTo>
                      <a:pt x="560" y="63"/>
                    </a:lnTo>
                    <a:lnTo>
                      <a:pt x="560" y="63"/>
                    </a:lnTo>
                    <a:lnTo>
                      <a:pt x="564" y="63"/>
                    </a:lnTo>
                    <a:lnTo>
                      <a:pt x="564" y="63"/>
                    </a:lnTo>
                    <a:lnTo>
                      <a:pt x="560" y="63"/>
                    </a:lnTo>
                    <a:lnTo>
                      <a:pt x="560" y="68"/>
                    </a:lnTo>
                    <a:lnTo>
                      <a:pt x="555" y="68"/>
                    </a:lnTo>
                    <a:lnTo>
                      <a:pt x="551" y="68"/>
                    </a:lnTo>
                    <a:lnTo>
                      <a:pt x="551" y="68"/>
                    </a:lnTo>
                    <a:lnTo>
                      <a:pt x="551" y="68"/>
                    </a:lnTo>
                    <a:lnTo>
                      <a:pt x="546" y="68"/>
                    </a:lnTo>
                    <a:lnTo>
                      <a:pt x="542" y="68"/>
                    </a:lnTo>
                    <a:lnTo>
                      <a:pt x="537" y="68"/>
                    </a:lnTo>
                    <a:lnTo>
                      <a:pt x="533" y="68"/>
                    </a:lnTo>
                    <a:lnTo>
                      <a:pt x="533" y="68"/>
                    </a:lnTo>
                    <a:lnTo>
                      <a:pt x="533" y="68"/>
                    </a:lnTo>
                    <a:lnTo>
                      <a:pt x="528" y="68"/>
                    </a:lnTo>
                    <a:lnTo>
                      <a:pt x="524" y="68"/>
                    </a:lnTo>
                    <a:lnTo>
                      <a:pt x="524" y="68"/>
                    </a:lnTo>
                    <a:lnTo>
                      <a:pt x="524" y="72"/>
                    </a:lnTo>
                    <a:lnTo>
                      <a:pt x="519" y="72"/>
                    </a:lnTo>
                    <a:lnTo>
                      <a:pt x="519" y="72"/>
                    </a:lnTo>
                    <a:lnTo>
                      <a:pt x="519" y="72"/>
                    </a:lnTo>
                    <a:lnTo>
                      <a:pt x="519" y="77"/>
                    </a:lnTo>
                    <a:lnTo>
                      <a:pt x="524" y="77"/>
                    </a:lnTo>
                    <a:lnTo>
                      <a:pt x="524" y="77"/>
                    </a:lnTo>
                    <a:lnTo>
                      <a:pt x="528" y="77"/>
                    </a:lnTo>
                    <a:lnTo>
                      <a:pt x="528" y="77"/>
                    </a:lnTo>
                    <a:lnTo>
                      <a:pt x="528" y="77"/>
                    </a:lnTo>
                    <a:lnTo>
                      <a:pt x="528" y="77"/>
                    </a:lnTo>
                    <a:lnTo>
                      <a:pt x="528" y="77"/>
                    </a:lnTo>
                    <a:lnTo>
                      <a:pt x="528" y="77"/>
                    </a:lnTo>
                    <a:lnTo>
                      <a:pt x="524" y="81"/>
                    </a:lnTo>
                    <a:lnTo>
                      <a:pt x="524" y="81"/>
                    </a:lnTo>
                    <a:lnTo>
                      <a:pt x="524" y="81"/>
                    </a:lnTo>
                    <a:lnTo>
                      <a:pt x="524" y="81"/>
                    </a:lnTo>
                    <a:lnTo>
                      <a:pt x="528" y="81"/>
                    </a:lnTo>
                    <a:lnTo>
                      <a:pt x="528" y="81"/>
                    </a:lnTo>
                    <a:lnTo>
                      <a:pt x="528" y="86"/>
                    </a:lnTo>
                    <a:lnTo>
                      <a:pt x="528" y="86"/>
                    </a:lnTo>
                    <a:lnTo>
                      <a:pt x="528" y="86"/>
                    </a:lnTo>
                    <a:lnTo>
                      <a:pt x="528" y="86"/>
                    </a:lnTo>
                    <a:lnTo>
                      <a:pt x="528" y="86"/>
                    </a:lnTo>
                    <a:lnTo>
                      <a:pt x="524" y="86"/>
                    </a:lnTo>
                    <a:lnTo>
                      <a:pt x="519" y="86"/>
                    </a:lnTo>
                    <a:lnTo>
                      <a:pt x="519" y="90"/>
                    </a:lnTo>
                    <a:lnTo>
                      <a:pt x="519" y="90"/>
                    </a:lnTo>
                    <a:lnTo>
                      <a:pt x="519" y="90"/>
                    </a:lnTo>
                    <a:lnTo>
                      <a:pt x="519" y="90"/>
                    </a:lnTo>
                    <a:lnTo>
                      <a:pt x="515" y="90"/>
                    </a:lnTo>
                    <a:lnTo>
                      <a:pt x="515" y="90"/>
                    </a:lnTo>
                    <a:lnTo>
                      <a:pt x="515" y="90"/>
                    </a:lnTo>
                    <a:lnTo>
                      <a:pt x="510" y="90"/>
                    </a:lnTo>
                    <a:lnTo>
                      <a:pt x="510" y="95"/>
                    </a:lnTo>
                    <a:lnTo>
                      <a:pt x="501" y="95"/>
                    </a:lnTo>
                    <a:lnTo>
                      <a:pt x="501" y="95"/>
                    </a:lnTo>
                    <a:lnTo>
                      <a:pt x="505" y="95"/>
                    </a:lnTo>
                    <a:lnTo>
                      <a:pt x="505" y="100"/>
                    </a:lnTo>
                    <a:lnTo>
                      <a:pt x="501" y="100"/>
                    </a:lnTo>
                    <a:lnTo>
                      <a:pt x="501" y="104"/>
                    </a:lnTo>
                    <a:lnTo>
                      <a:pt x="496" y="104"/>
                    </a:lnTo>
                    <a:lnTo>
                      <a:pt x="496" y="104"/>
                    </a:lnTo>
                    <a:lnTo>
                      <a:pt x="496" y="109"/>
                    </a:lnTo>
                    <a:lnTo>
                      <a:pt x="492" y="109"/>
                    </a:lnTo>
                    <a:lnTo>
                      <a:pt x="492" y="113"/>
                    </a:lnTo>
                    <a:lnTo>
                      <a:pt x="492" y="113"/>
                    </a:lnTo>
                    <a:lnTo>
                      <a:pt x="492" y="113"/>
                    </a:lnTo>
                    <a:lnTo>
                      <a:pt x="492" y="113"/>
                    </a:lnTo>
                    <a:lnTo>
                      <a:pt x="496" y="109"/>
                    </a:lnTo>
                    <a:lnTo>
                      <a:pt x="501" y="109"/>
                    </a:lnTo>
                    <a:lnTo>
                      <a:pt x="505" y="109"/>
                    </a:lnTo>
                    <a:lnTo>
                      <a:pt x="505" y="109"/>
                    </a:lnTo>
                    <a:lnTo>
                      <a:pt x="510" y="113"/>
                    </a:lnTo>
                    <a:lnTo>
                      <a:pt x="510" y="113"/>
                    </a:lnTo>
                    <a:lnTo>
                      <a:pt x="515" y="113"/>
                    </a:lnTo>
                    <a:lnTo>
                      <a:pt x="515" y="113"/>
                    </a:lnTo>
                    <a:lnTo>
                      <a:pt x="515" y="113"/>
                    </a:lnTo>
                    <a:lnTo>
                      <a:pt x="515" y="118"/>
                    </a:lnTo>
                    <a:lnTo>
                      <a:pt x="510" y="118"/>
                    </a:lnTo>
                    <a:lnTo>
                      <a:pt x="510" y="118"/>
                    </a:lnTo>
                    <a:lnTo>
                      <a:pt x="510" y="113"/>
                    </a:lnTo>
                    <a:lnTo>
                      <a:pt x="505" y="113"/>
                    </a:lnTo>
                    <a:lnTo>
                      <a:pt x="501" y="113"/>
                    </a:lnTo>
                    <a:lnTo>
                      <a:pt x="501" y="113"/>
                    </a:lnTo>
                    <a:lnTo>
                      <a:pt x="501" y="118"/>
                    </a:lnTo>
                    <a:lnTo>
                      <a:pt x="501" y="118"/>
                    </a:lnTo>
                    <a:lnTo>
                      <a:pt x="505" y="122"/>
                    </a:lnTo>
                    <a:lnTo>
                      <a:pt x="510" y="122"/>
                    </a:lnTo>
                    <a:lnTo>
                      <a:pt x="510" y="122"/>
                    </a:lnTo>
                    <a:lnTo>
                      <a:pt x="510" y="122"/>
                    </a:lnTo>
                    <a:lnTo>
                      <a:pt x="515" y="122"/>
                    </a:lnTo>
                    <a:lnTo>
                      <a:pt x="515" y="122"/>
                    </a:lnTo>
                    <a:lnTo>
                      <a:pt x="519" y="122"/>
                    </a:lnTo>
                    <a:lnTo>
                      <a:pt x="519" y="122"/>
                    </a:lnTo>
                    <a:lnTo>
                      <a:pt x="519" y="122"/>
                    </a:lnTo>
                    <a:lnTo>
                      <a:pt x="519" y="122"/>
                    </a:lnTo>
                    <a:lnTo>
                      <a:pt x="519" y="127"/>
                    </a:lnTo>
                    <a:lnTo>
                      <a:pt x="519" y="127"/>
                    </a:lnTo>
                    <a:lnTo>
                      <a:pt x="519" y="131"/>
                    </a:lnTo>
                    <a:lnTo>
                      <a:pt x="515" y="131"/>
                    </a:lnTo>
                    <a:lnTo>
                      <a:pt x="515" y="131"/>
                    </a:lnTo>
                    <a:lnTo>
                      <a:pt x="515" y="131"/>
                    </a:lnTo>
                    <a:lnTo>
                      <a:pt x="515" y="131"/>
                    </a:lnTo>
                    <a:lnTo>
                      <a:pt x="510" y="131"/>
                    </a:lnTo>
                    <a:lnTo>
                      <a:pt x="510" y="131"/>
                    </a:lnTo>
                    <a:lnTo>
                      <a:pt x="505" y="131"/>
                    </a:lnTo>
                    <a:lnTo>
                      <a:pt x="505" y="127"/>
                    </a:lnTo>
                    <a:lnTo>
                      <a:pt x="501" y="127"/>
                    </a:lnTo>
                    <a:lnTo>
                      <a:pt x="496" y="127"/>
                    </a:lnTo>
                    <a:lnTo>
                      <a:pt x="492" y="127"/>
                    </a:lnTo>
                    <a:lnTo>
                      <a:pt x="492" y="131"/>
                    </a:lnTo>
                    <a:lnTo>
                      <a:pt x="483" y="131"/>
                    </a:lnTo>
                    <a:lnTo>
                      <a:pt x="483" y="131"/>
                    </a:lnTo>
                    <a:lnTo>
                      <a:pt x="483" y="131"/>
                    </a:lnTo>
                    <a:lnTo>
                      <a:pt x="478" y="131"/>
                    </a:lnTo>
                    <a:lnTo>
                      <a:pt x="478" y="131"/>
                    </a:lnTo>
                    <a:lnTo>
                      <a:pt x="474" y="131"/>
                    </a:lnTo>
                    <a:lnTo>
                      <a:pt x="474" y="131"/>
                    </a:lnTo>
                    <a:lnTo>
                      <a:pt x="474" y="131"/>
                    </a:lnTo>
                    <a:lnTo>
                      <a:pt x="474" y="131"/>
                    </a:lnTo>
                    <a:lnTo>
                      <a:pt x="478" y="131"/>
                    </a:lnTo>
                    <a:lnTo>
                      <a:pt x="478" y="136"/>
                    </a:lnTo>
                    <a:lnTo>
                      <a:pt x="478" y="136"/>
                    </a:lnTo>
                    <a:lnTo>
                      <a:pt x="483" y="136"/>
                    </a:lnTo>
                    <a:lnTo>
                      <a:pt x="483" y="136"/>
                    </a:lnTo>
                    <a:lnTo>
                      <a:pt x="483" y="140"/>
                    </a:lnTo>
                    <a:lnTo>
                      <a:pt x="483" y="140"/>
                    </a:lnTo>
                    <a:lnTo>
                      <a:pt x="483" y="140"/>
                    </a:lnTo>
                    <a:lnTo>
                      <a:pt x="487" y="140"/>
                    </a:lnTo>
                    <a:lnTo>
                      <a:pt x="487" y="140"/>
                    </a:lnTo>
                    <a:lnTo>
                      <a:pt x="492" y="140"/>
                    </a:lnTo>
                    <a:lnTo>
                      <a:pt x="492" y="140"/>
                    </a:lnTo>
                    <a:lnTo>
                      <a:pt x="492" y="140"/>
                    </a:lnTo>
                    <a:lnTo>
                      <a:pt x="496" y="140"/>
                    </a:lnTo>
                    <a:lnTo>
                      <a:pt x="496" y="140"/>
                    </a:lnTo>
                    <a:lnTo>
                      <a:pt x="496" y="145"/>
                    </a:lnTo>
                    <a:lnTo>
                      <a:pt x="496" y="145"/>
                    </a:lnTo>
                    <a:lnTo>
                      <a:pt x="496" y="149"/>
                    </a:lnTo>
                    <a:lnTo>
                      <a:pt x="501" y="149"/>
                    </a:lnTo>
                    <a:lnTo>
                      <a:pt x="501" y="149"/>
                    </a:lnTo>
                    <a:lnTo>
                      <a:pt x="501" y="149"/>
                    </a:lnTo>
                    <a:lnTo>
                      <a:pt x="501" y="154"/>
                    </a:lnTo>
                    <a:lnTo>
                      <a:pt x="501" y="154"/>
                    </a:lnTo>
                    <a:lnTo>
                      <a:pt x="501" y="154"/>
                    </a:lnTo>
                    <a:lnTo>
                      <a:pt x="501" y="154"/>
                    </a:lnTo>
                    <a:lnTo>
                      <a:pt x="501" y="158"/>
                    </a:lnTo>
                    <a:lnTo>
                      <a:pt x="496" y="158"/>
                    </a:lnTo>
                    <a:lnTo>
                      <a:pt x="496" y="158"/>
                    </a:lnTo>
                    <a:lnTo>
                      <a:pt x="496" y="158"/>
                    </a:lnTo>
                    <a:lnTo>
                      <a:pt x="496" y="163"/>
                    </a:lnTo>
                    <a:lnTo>
                      <a:pt x="492" y="163"/>
                    </a:lnTo>
                    <a:lnTo>
                      <a:pt x="492" y="158"/>
                    </a:lnTo>
                    <a:lnTo>
                      <a:pt x="492" y="158"/>
                    </a:lnTo>
                    <a:lnTo>
                      <a:pt x="492" y="158"/>
                    </a:lnTo>
                    <a:lnTo>
                      <a:pt x="487" y="158"/>
                    </a:lnTo>
                    <a:lnTo>
                      <a:pt x="483" y="163"/>
                    </a:lnTo>
                    <a:lnTo>
                      <a:pt x="478" y="163"/>
                    </a:lnTo>
                    <a:lnTo>
                      <a:pt x="478" y="163"/>
                    </a:lnTo>
                    <a:lnTo>
                      <a:pt x="474" y="163"/>
                    </a:lnTo>
                    <a:lnTo>
                      <a:pt x="474" y="163"/>
                    </a:lnTo>
                    <a:lnTo>
                      <a:pt x="469" y="163"/>
                    </a:lnTo>
                    <a:lnTo>
                      <a:pt x="469" y="163"/>
                    </a:lnTo>
                    <a:lnTo>
                      <a:pt x="469" y="163"/>
                    </a:lnTo>
                    <a:lnTo>
                      <a:pt x="469" y="163"/>
                    </a:lnTo>
                    <a:lnTo>
                      <a:pt x="469" y="163"/>
                    </a:lnTo>
                    <a:lnTo>
                      <a:pt x="474" y="163"/>
                    </a:lnTo>
                    <a:lnTo>
                      <a:pt x="474" y="163"/>
                    </a:lnTo>
                    <a:lnTo>
                      <a:pt x="474" y="163"/>
                    </a:lnTo>
                    <a:lnTo>
                      <a:pt x="478" y="163"/>
                    </a:lnTo>
                    <a:lnTo>
                      <a:pt x="478" y="163"/>
                    </a:lnTo>
                    <a:lnTo>
                      <a:pt x="478" y="163"/>
                    </a:lnTo>
                    <a:lnTo>
                      <a:pt x="483" y="163"/>
                    </a:lnTo>
                    <a:lnTo>
                      <a:pt x="483" y="163"/>
                    </a:lnTo>
                    <a:lnTo>
                      <a:pt x="483" y="167"/>
                    </a:lnTo>
                    <a:lnTo>
                      <a:pt x="478" y="167"/>
                    </a:lnTo>
                    <a:lnTo>
                      <a:pt x="478" y="167"/>
                    </a:lnTo>
                    <a:lnTo>
                      <a:pt x="478" y="167"/>
                    </a:lnTo>
                    <a:lnTo>
                      <a:pt x="478" y="172"/>
                    </a:lnTo>
                    <a:lnTo>
                      <a:pt x="478" y="172"/>
                    </a:lnTo>
                    <a:lnTo>
                      <a:pt x="478" y="172"/>
                    </a:lnTo>
                    <a:lnTo>
                      <a:pt x="483" y="167"/>
                    </a:lnTo>
                    <a:lnTo>
                      <a:pt x="483" y="167"/>
                    </a:lnTo>
                    <a:lnTo>
                      <a:pt x="487" y="163"/>
                    </a:lnTo>
                    <a:lnTo>
                      <a:pt x="487" y="163"/>
                    </a:lnTo>
                    <a:lnTo>
                      <a:pt x="492" y="163"/>
                    </a:lnTo>
                    <a:lnTo>
                      <a:pt x="492" y="167"/>
                    </a:lnTo>
                    <a:lnTo>
                      <a:pt x="492" y="172"/>
                    </a:lnTo>
                    <a:lnTo>
                      <a:pt x="492" y="172"/>
                    </a:lnTo>
                    <a:lnTo>
                      <a:pt x="496" y="172"/>
                    </a:lnTo>
                    <a:lnTo>
                      <a:pt x="496" y="172"/>
                    </a:lnTo>
                    <a:lnTo>
                      <a:pt x="496" y="176"/>
                    </a:lnTo>
                    <a:lnTo>
                      <a:pt x="492" y="176"/>
                    </a:lnTo>
                    <a:lnTo>
                      <a:pt x="492" y="176"/>
                    </a:lnTo>
                    <a:lnTo>
                      <a:pt x="492" y="176"/>
                    </a:lnTo>
                    <a:lnTo>
                      <a:pt x="492" y="176"/>
                    </a:lnTo>
                    <a:lnTo>
                      <a:pt x="487" y="176"/>
                    </a:lnTo>
                    <a:lnTo>
                      <a:pt x="483" y="176"/>
                    </a:lnTo>
                    <a:lnTo>
                      <a:pt x="483" y="176"/>
                    </a:lnTo>
                    <a:lnTo>
                      <a:pt x="483" y="176"/>
                    </a:lnTo>
                    <a:lnTo>
                      <a:pt x="478" y="181"/>
                    </a:lnTo>
                    <a:lnTo>
                      <a:pt x="474" y="181"/>
                    </a:lnTo>
                    <a:lnTo>
                      <a:pt x="469" y="181"/>
                    </a:lnTo>
                    <a:lnTo>
                      <a:pt x="465" y="176"/>
                    </a:lnTo>
                    <a:lnTo>
                      <a:pt x="465" y="176"/>
                    </a:lnTo>
                    <a:lnTo>
                      <a:pt x="469" y="172"/>
                    </a:lnTo>
                    <a:lnTo>
                      <a:pt x="465" y="172"/>
                    </a:lnTo>
                    <a:lnTo>
                      <a:pt x="465" y="172"/>
                    </a:lnTo>
                    <a:lnTo>
                      <a:pt x="465" y="172"/>
                    </a:lnTo>
                    <a:lnTo>
                      <a:pt x="465" y="176"/>
                    </a:lnTo>
                    <a:lnTo>
                      <a:pt x="465" y="176"/>
                    </a:lnTo>
                    <a:lnTo>
                      <a:pt x="460" y="176"/>
                    </a:lnTo>
                    <a:lnTo>
                      <a:pt x="460" y="176"/>
                    </a:lnTo>
                    <a:lnTo>
                      <a:pt x="460" y="176"/>
                    </a:lnTo>
                    <a:lnTo>
                      <a:pt x="460" y="176"/>
                    </a:lnTo>
                    <a:lnTo>
                      <a:pt x="460" y="176"/>
                    </a:lnTo>
                    <a:lnTo>
                      <a:pt x="460" y="181"/>
                    </a:lnTo>
                    <a:lnTo>
                      <a:pt x="460" y="181"/>
                    </a:lnTo>
                    <a:lnTo>
                      <a:pt x="460" y="181"/>
                    </a:lnTo>
                    <a:lnTo>
                      <a:pt x="460" y="181"/>
                    </a:lnTo>
                    <a:lnTo>
                      <a:pt x="460" y="181"/>
                    </a:lnTo>
                    <a:lnTo>
                      <a:pt x="460" y="181"/>
                    </a:lnTo>
                    <a:lnTo>
                      <a:pt x="460" y="181"/>
                    </a:lnTo>
                    <a:lnTo>
                      <a:pt x="469" y="181"/>
                    </a:lnTo>
                    <a:lnTo>
                      <a:pt x="474" y="185"/>
                    </a:lnTo>
                    <a:lnTo>
                      <a:pt x="478" y="185"/>
                    </a:lnTo>
                    <a:lnTo>
                      <a:pt x="478" y="185"/>
                    </a:lnTo>
                    <a:lnTo>
                      <a:pt x="478" y="190"/>
                    </a:lnTo>
                    <a:lnTo>
                      <a:pt x="474" y="190"/>
                    </a:lnTo>
                    <a:lnTo>
                      <a:pt x="474" y="194"/>
                    </a:lnTo>
                    <a:lnTo>
                      <a:pt x="465" y="194"/>
                    </a:lnTo>
                    <a:lnTo>
                      <a:pt x="465" y="194"/>
                    </a:lnTo>
                    <a:lnTo>
                      <a:pt x="460" y="194"/>
                    </a:lnTo>
                    <a:lnTo>
                      <a:pt x="456" y="194"/>
                    </a:lnTo>
                    <a:lnTo>
                      <a:pt x="456" y="194"/>
                    </a:lnTo>
                    <a:lnTo>
                      <a:pt x="447" y="194"/>
                    </a:lnTo>
                    <a:lnTo>
                      <a:pt x="447" y="194"/>
                    </a:lnTo>
                    <a:lnTo>
                      <a:pt x="442" y="190"/>
                    </a:lnTo>
                    <a:lnTo>
                      <a:pt x="438" y="185"/>
                    </a:lnTo>
                    <a:lnTo>
                      <a:pt x="433" y="185"/>
                    </a:lnTo>
                    <a:lnTo>
                      <a:pt x="433" y="190"/>
                    </a:lnTo>
                    <a:lnTo>
                      <a:pt x="433" y="190"/>
                    </a:lnTo>
                    <a:lnTo>
                      <a:pt x="433" y="190"/>
                    </a:lnTo>
                    <a:lnTo>
                      <a:pt x="429" y="190"/>
                    </a:lnTo>
                    <a:lnTo>
                      <a:pt x="429" y="190"/>
                    </a:lnTo>
                    <a:lnTo>
                      <a:pt x="429" y="185"/>
                    </a:lnTo>
                    <a:lnTo>
                      <a:pt x="424" y="185"/>
                    </a:lnTo>
                    <a:lnTo>
                      <a:pt x="424" y="185"/>
                    </a:lnTo>
                    <a:lnTo>
                      <a:pt x="424" y="185"/>
                    </a:lnTo>
                    <a:lnTo>
                      <a:pt x="424" y="185"/>
                    </a:lnTo>
                    <a:lnTo>
                      <a:pt x="424" y="185"/>
                    </a:lnTo>
                    <a:lnTo>
                      <a:pt x="429" y="190"/>
                    </a:lnTo>
                    <a:lnTo>
                      <a:pt x="429" y="190"/>
                    </a:lnTo>
                    <a:lnTo>
                      <a:pt x="429" y="190"/>
                    </a:lnTo>
                    <a:lnTo>
                      <a:pt x="429" y="190"/>
                    </a:lnTo>
                    <a:lnTo>
                      <a:pt x="424" y="190"/>
                    </a:lnTo>
                    <a:lnTo>
                      <a:pt x="420" y="194"/>
                    </a:lnTo>
                    <a:lnTo>
                      <a:pt x="420" y="194"/>
                    </a:lnTo>
                    <a:lnTo>
                      <a:pt x="415" y="194"/>
                    </a:lnTo>
                    <a:lnTo>
                      <a:pt x="415" y="194"/>
                    </a:lnTo>
                    <a:lnTo>
                      <a:pt x="411" y="194"/>
                    </a:lnTo>
                    <a:lnTo>
                      <a:pt x="411" y="194"/>
                    </a:lnTo>
                    <a:lnTo>
                      <a:pt x="406" y="194"/>
                    </a:lnTo>
                    <a:lnTo>
                      <a:pt x="406" y="194"/>
                    </a:lnTo>
                    <a:lnTo>
                      <a:pt x="402" y="190"/>
                    </a:lnTo>
                    <a:lnTo>
                      <a:pt x="402" y="194"/>
                    </a:lnTo>
                    <a:lnTo>
                      <a:pt x="406" y="194"/>
                    </a:lnTo>
                    <a:lnTo>
                      <a:pt x="411" y="194"/>
                    </a:lnTo>
                    <a:lnTo>
                      <a:pt x="406" y="194"/>
                    </a:lnTo>
                    <a:lnTo>
                      <a:pt x="406" y="194"/>
                    </a:lnTo>
                    <a:lnTo>
                      <a:pt x="406" y="194"/>
                    </a:lnTo>
                    <a:lnTo>
                      <a:pt x="402" y="194"/>
                    </a:lnTo>
                    <a:lnTo>
                      <a:pt x="402" y="194"/>
                    </a:lnTo>
                    <a:lnTo>
                      <a:pt x="397" y="194"/>
                    </a:lnTo>
                    <a:lnTo>
                      <a:pt x="397" y="194"/>
                    </a:lnTo>
                    <a:lnTo>
                      <a:pt x="397" y="199"/>
                    </a:lnTo>
                    <a:lnTo>
                      <a:pt x="397" y="199"/>
                    </a:lnTo>
                    <a:lnTo>
                      <a:pt x="397" y="199"/>
                    </a:lnTo>
                    <a:lnTo>
                      <a:pt x="397" y="199"/>
                    </a:lnTo>
                    <a:lnTo>
                      <a:pt x="402" y="199"/>
                    </a:lnTo>
                    <a:lnTo>
                      <a:pt x="402" y="199"/>
                    </a:lnTo>
                    <a:lnTo>
                      <a:pt x="406" y="199"/>
                    </a:lnTo>
                    <a:lnTo>
                      <a:pt x="411" y="194"/>
                    </a:lnTo>
                    <a:lnTo>
                      <a:pt x="411" y="194"/>
                    </a:lnTo>
                    <a:lnTo>
                      <a:pt x="415" y="194"/>
                    </a:lnTo>
                    <a:lnTo>
                      <a:pt x="420" y="194"/>
                    </a:lnTo>
                    <a:lnTo>
                      <a:pt x="424" y="194"/>
                    </a:lnTo>
                    <a:lnTo>
                      <a:pt x="424" y="194"/>
                    </a:lnTo>
                    <a:lnTo>
                      <a:pt x="429" y="190"/>
                    </a:lnTo>
                    <a:lnTo>
                      <a:pt x="438" y="194"/>
                    </a:lnTo>
                    <a:lnTo>
                      <a:pt x="438" y="194"/>
                    </a:lnTo>
                    <a:lnTo>
                      <a:pt x="438" y="194"/>
                    </a:lnTo>
                    <a:lnTo>
                      <a:pt x="442" y="194"/>
                    </a:lnTo>
                    <a:lnTo>
                      <a:pt x="442" y="199"/>
                    </a:lnTo>
                    <a:lnTo>
                      <a:pt x="447" y="199"/>
                    </a:lnTo>
                    <a:lnTo>
                      <a:pt x="447" y="199"/>
                    </a:lnTo>
                    <a:lnTo>
                      <a:pt x="451" y="199"/>
                    </a:lnTo>
                    <a:lnTo>
                      <a:pt x="451" y="204"/>
                    </a:lnTo>
                    <a:lnTo>
                      <a:pt x="456" y="204"/>
                    </a:lnTo>
                    <a:lnTo>
                      <a:pt x="456" y="208"/>
                    </a:lnTo>
                    <a:lnTo>
                      <a:pt x="451" y="208"/>
                    </a:lnTo>
                    <a:lnTo>
                      <a:pt x="451" y="213"/>
                    </a:lnTo>
                    <a:lnTo>
                      <a:pt x="447" y="213"/>
                    </a:lnTo>
                    <a:lnTo>
                      <a:pt x="447" y="217"/>
                    </a:lnTo>
                    <a:lnTo>
                      <a:pt x="447" y="217"/>
                    </a:lnTo>
                    <a:lnTo>
                      <a:pt x="447" y="217"/>
                    </a:lnTo>
                    <a:lnTo>
                      <a:pt x="442" y="217"/>
                    </a:lnTo>
                    <a:lnTo>
                      <a:pt x="438" y="213"/>
                    </a:lnTo>
                    <a:lnTo>
                      <a:pt x="433" y="213"/>
                    </a:lnTo>
                    <a:lnTo>
                      <a:pt x="433" y="213"/>
                    </a:lnTo>
                    <a:lnTo>
                      <a:pt x="429" y="208"/>
                    </a:lnTo>
                    <a:lnTo>
                      <a:pt x="429" y="208"/>
                    </a:lnTo>
                    <a:lnTo>
                      <a:pt x="429" y="204"/>
                    </a:lnTo>
                    <a:lnTo>
                      <a:pt x="429" y="199"/>
                    </a:lnTo>
                    <a:lnTo>
                      <a:pt x="424" y="199"/>
                    </a:lnTo>
                    <a:lnTo>
                      <a:pt x="424" y="199"/>
                    </a:lnTo>
                    <a:lnTo>
                      <a:pt x="420" y="199"/>
                    </a:lnTo>
                    <a:lnTo>
                      <a:pt x="420" y="199"/>
                    </a:lnTo>
                    <a:lnTo>
                      <a:pt x="411" y="204"/>
                    </a:lnTo>
                    <a:lnTo>
                      <a:pt x="411" y="204"/>
                    </a:lnTo>
                    <a:lnTo>
                      <a:pt x="411" y="204"/>
                    </a:lnTo>
                    <a:lnTo>
                      <a:pt x="402" y="204"/>
                    </a:lnTo>
                    <a:lnTo>
                      <a:pt x="406" y="204"/>
                    </a:lnTo>
                    <a:lnTo>
                      <a:pt x="406" y="204"/>
                    </a:lnTo>
                    <a:lnTo>
                      <a:pt x="406" y="204"/>
                    </a:lnTo>
                    <a:lnTo>
                      <a:pt x="411" y="204"/>
                    </a:lnTo>
                    <a:lnTo>
                      <a:pt x="415" y="204"/>
                    </a:lnTo>
                    <a:lnTo>
                      <a:pt x="420" y="204"/>
                    </a:lnTo>
                    <a:lnTo>
                      <a:pt x="420" y="204"/>
                    </a:lnTo>
                    <a:lnTo>
                      <a:pt x="424" y="204"/>
                    </a:lnTo>
                    <a:lnTo>
                      <a:pt x="424" y="204"/>
                    </a:lnTo>
                    <a:lnTo>
                      <a:pt x="424" y="204"/>
                    </a:lnTo>
                    <a:lnTo>
                      <a:pt x="424" y="204"/>
                    </a:lnTo>
                    <a:lnTo>
                      <a:pt x="424" y="208"/>
                    </a:lnTo>
                    <a:lnTo>
                      <a:pt x="424" y="208"/>
                    </a:lnTo>
                    <a:lnTo>
                      <a:pt x="420" y="208"/>
                    </a:lnTo>
                    <a:lnTo>
                      <a:pt x="420" y="213"/>
                    </a:lnTo>
                    <a:lnTo>
                      <a:pt x="415" y="213"/>
                    </a:lnTo>
                    <a:lnTo>
                      <a:pt x="420" y="213"/>
                    </a:lnTo>
                    <a:lnTo>
                      <a:pt x="420" y="213"/>
                    </a:lnTo>
                    <a:lnTo>
                      <a:pt x="424" y="213"/>
                    </a:lnTo>
                    <a:lnTo>
                      <a:pt x="424" y="213"/>
                    </a:lnTo>
                    <a:lnTo>
                      <a:pt x="424" y="213"/>
                    </a:lnTo>
                    <a:lnTo>
                      <a:pt x="429" y="213"/>
                    </a:lnTo>
                    <a:lnTo>
                      <a:pt x="429" y="217"/>
                    </a:lnTo>
                    <a:lnTo>
                      <a:pt x="433" y="217"/>
                    </a:lnTo>
                    <a:lnTo>
                      <a:pt x="438" y="217"/>
                    </a:lnTo>
                    <a:lnTo>
                      <a:pt x="438" y="217"/>
                    </a:lnTo>
                    <a:lnTo>
                      <a:pt x="438" y="222"/>
                    </a:lnTo>
                    <a:lnTo>
                      <a:pt x="442" y="222"/>
                    </a:lnTo>
                    <a:lnTo>
                      <a:pt x="442" y="222"/>
                    </a:lnTo>
                    <a:lnTo>
                      <a:pt x="442" y="222"/>
                    </a:lnTo>
                    <a:lnTo>
                      <a:pt x="447" y="222"/>
                    </a:lnTo>
                    <a:lnTo>
                      <a:pt x="447" y="226"/>
                    </a:lnTo>
                    <a:lnTo>
                      <a:pt x="447" y="226"/>
                    </a:lnTo>
                    <a:lnTo>
                      <a:pt x="442" y="226"/>
                    </a:lnTo>
                    <a:lnTo>
                      <a:pt x="442" y="226"/>
                    </a:lnTo>
                    <a:lnTo>
                      <a:pt x="442" y="231"/>
                    </a:lnTo>
                    <a:lnTo>
                      <a:pt x="442" y="231"/>
                    </a:lnTo>
                    <a:lnTo>
                      <a:pt x="442" y="231"/>
                    </a:lnTo>
                    <a:lnTo>
                      <a:pt x="442" y="235"/>
                    </a:lnTo>
                    <a:lnTo>
                      <a:pt x="442" y="231"/>
                    </a:lnTo>
                    <a:lnTo>
                      <a:pt x="442" y="231"/>
                    </a:lnTo>
                    <a:lnTo>
                      <a:pt x="442" y="231"/>
                    </a:lnTo>
                    <a:lnTo>
                      <a:pt x="442" y="231"/>
                    </a:lnTo>
                    <a:lnTo>
                      <a:pt x="447" y="231"/>
                    </a:lnTo>
                    <a:lnTo>
                      <a:pt x="447" y="231"/>
                    </a:lnTo>
                    <a:lnTo>
                      <a:pt x="447" y="231"/>
                    </a:lnTo>
                    <a:lnTo>
                      <a:pt x="447" y="235"/>
                    </a:lnTo>
                    <a:lnTo>
                      <a:pt x="447" y="235"/>
                    </a:lnTo>
                    <a:lnTo>
                      <a:pt x="447" y="240"/>
                    </a:lnTo>
                    <a:lnTo>
                      <a:pt x="447" y="240"/>
                    </a:lnTo>
                    <a:lnTo>
                      <a:pt x="447" y="240"/>
                    </a:lnTo>
                    <a:lnTo>
                      <a:pt x="447" y="244"/>
                    </a:lnTo>
                    <a:lnTo>
                      <a:pt x="447" y="249"/>
                    </a:lnTo>
                    <a:lnTo>
                      <a:pt x="442" y="249"/>
                    </a:lnTo>
                    <a:lnTo>
                      <a:pt x="442" y="249"/>
                    </a:lnTo>
                    <a:lnTo>
                      <a:pt x="438" y="249"/>
                    </a:lnTo>
                    <a:lnTo>
                      <a:pt x="438" y="249"/>
                    </a:lnTo>
                    <a:lnTo>
                      <a:pt x="438" y="249"/>
                    </a:lnTo>
                    <a:lnTo>
                      <a:pt x="438" y="244"/>
                    </a:lnTo>
                    <a:lnTo>
                      <a:pt x="438" y="244"/>
                    </a:lnTo>
                    <a:lnTo>
                      <a:pt x="438" y="244"/>
                    </a:lnTo>
                    <a:lnTo>
                      <a:pt x="438" y="240"/>
                    </a:lnTo>
                    <a:lnTo>
                      <a:pt x="438" y="240"/>
                    </a:lnTo>
                    <a:lnTo>
                      <a:pt x="438" y="244"/>
                    </a:lnTo>
                    <a:lnTo>
                      <a:pt x="433" y="244"/>
                    </a:lnTo>
                    <a:lnTo>
                      <a:pt x="433" y="249"/>
                    </a:lnTo>
                    <a:lnTo>
                      <a:pt x="433" y="249"/>
                    </a:lnTo>
                    <a:lnTo>
                      <a:pt x="429" y="249"/>
                    </a:lnTo>
                    <a:lnTo>
                      <a:pt x="424" y="249"/>
                    </a:lnTo>
                    <a:lnTo>
                      <a:pt x="424" y="249"/>
                    </a:lnTo>
                    <a:lnTo>
                      <a:pt x="420" y="244"/>
                    </a:lnTo>
                    <a:lnTo>
                      <a:pt x="420" y="244"/>
                    </a:lnTo>
                    <a:lnTo>
                      <a:pt x="420" y="240"/>
                    </a:lnTo>
                    <a:lnTo>
                      <a:pt x="420" y="240"/>
                    </a:lnTo>
                    <a:lnTo>
                      <a:pt x="420" y="235"/>
                    </a:lnTo>
                    <a:lnTo>
                      <a:pt x="420" y="235"/>
                    </a:lnTo>
                    <a:lnTo>
                      <a:pt x="415" y="235"/>
                    </a:lnTo>
                    <a:lnTo>
                      <a:pt x="415" y="231"/>
                    </a:lnTo>
                    <a:lnTo>
                      <a:pt x="411" y="231"/>
                    </a:lnTo>
                    <a:lnTo>
                      <a:pt x="411" y="231"/>
                    </a:lnTo>
                    <a:lnTo>
                      <a:pt x="406" y="226"/>
                    </a:lnTo>
                    <a:lnTo>
                      <a:pt x="406" y="226"/>
                    </a:lnTo>
                    <a:lnTo>
                      <a:pt x="402" y="226"/>
                    </a:lnTo>
                    <a:lnTo>
                      <a:pt x="402" y="226"/>
                    </a:lnTo>
                    <a:lnTo>
                      <a:pt x="393" y="226"/>
                    </a:lnTo>
                    <a:lnTo>
                      <a:pt x="393" y="226"/>
                    </a:lnTo>
                    <a:lnTo>
                      <a:pt x="393" y="226"/>
                    </a:lnTo>
                    <a:lnTo>
                      <a:pt x="388" y="226"/>
                    </a:lnTo>
                    <a:lnTo>
                      <a:pt x="388" y="226"/>
                    </a:lnTo>
                    <a:lnTo>
                      <a:pt x="393" y="226"/>
                    </a:lnTo>
                    <a:lnTo>
                      <a:pt x="397" y="226"/>
                    </a:lnTo>
                    <a:lnTo>
                      <a:pt x="402" y="226"/>
                    </a:lnTo>
                    <a:lnTo>
                      <a:pt x="402" y="226"/>
                    </a:lnTo>
                    <a:lnTo>
                      <a:pt x="406" y="231"/>
                    </a:lnTo>
                    <a:lnTo>
                      <a:pt x="406" y="231"/>
                    </a:lnTo>
                    <a:lnTo>
                      <a:pt x="402" y="231"/>
                    </a:lnTo>
                    <a:lnTo>
                      <a:pt x="402" y="235"/>
                    </a:lnTo>
                    <a:lnTo>
                      <a:pt x="397" y="235"/>
                    </a:lnTo>
                    <a:lnTo>
                      <a:pt x="397" y="235"/>
                    </a:lnTo>
                    <a:lnTo>
                      <a:pt x="393" y="235"/>
                    </a:lnTo>
                    <a:lnTo>
                      <a:pt x="388" y="240"/>
                    </a:lnTo>
                    <a:lnTo>
                      <a:pt x="388" y="240"/>
                    </a:lnTo>
                    <a:lnTo>
                      <a:pt x="384" y="235"/>
                    </a:lnTo>
                    <a:lnTo>
                      <a:pt x="379" y="235"/>
                    </a:lnTo>
                    <a:lnTo>
                      <a:pt x="379" y="235"/>
                    </a:lnTo>
                    <a:lnTo>
                      <a:pt x="374" y="235"/>
                    </a:lnTo>
                    <a:lnTo>
                      <a:pt x="370" y="235"/>
                    </a:lnTo>
                    <a:lnTo>
                      <a:pt x="370" y="235"/>
                    </a:lnTo>
                    <a:lnTo>
                      <a:pt x="374" y="240"/>
                    </a:lnTo>
                    <a:lnTo>
                      <a:pt x="374" y="240"/>
                    </a:lnTo>
                    <a:lnTo>
                      <a:pt x="374" y="240"/>
                    </a:lnTo>
                    <a:lnTo>
                      <a:pt x="374" y="240"/>
                    </a:lnTo>
                    <a:lnTo>
                      <a:pt x="374" y="240"/>
                    </a:lnTo>
                    <a:lnTo>
                      <a:pt x="370" y="244"/>
                    </a:lnTo>
                    <a:lnTo>
                      <a:pt x="370" y="244"/>
                    </a:lnTo>
                    <a:lnTo>
                      <a:pt x="365" y="244"/>
                    </a:lnTo>
                    <a:lnTo>
                      <a:pt x="361" y="244"/>
                    </a:lnTo>
                    <a:lnTo>
                      <a:pt x="361" y="244"/>
                    </a:lnTo>
                    <a:lnTo>
                      <a:pt x="361" y="244"/>
                    </a:lnTo>
                    <a:lnTo>
                      <a:pt x="365" y="244"/>
                    </a:lnTo>
                    <a:lnTo>
                      <a:pt x="365" y="244"/>
                    </a:lnTo>
                    <a:lnTo>
                      <a:pt x="370" y="249"/>
                    </a:lnTo>
                    <a:lnTo>
                      <a:pt x="374" y="249"/>
                    </a:lnTo>
                    <a:lnTo>
                      <a:pt x="388" y="244"/>
                    </a:lnTo>
                    <a:lnTo>
                      <a:pt x="388" y="249"/>
                    </a:lnTo>
                    <a:lnTo>
                      <a:pt x="388" y="249"/>
                    </a:lnTo>
                    <a:lnTo>
                      <a:pt x="388" y="249"/>
                    </a:lnTo>
                    <a:lnTo>
                      <a:pt x="388" y="249"/>
                    </a:lnTo>
                    <a:lnTo>
                      <a:pt x="388" y="249"/>
                    </a:lnTo>
                    <a:lnTo>
                      <a:pt x="384" y="249"/>
                    </a:lnTo>
                    <a:lnTo>
                      <a:pt x="379" y="249"/>
                    </a:lnTo>
                    <a:lnTo>
                      <a:pt x="379" y="249"/>
                    </a:lnTo>
                    <a:lnTo>
                      <a:pt x="379" y="253"/>
                    </a:lnTo>
                    <a:lnTo>
                      <a:pt x="374" y="253"/>
                    </a:lnTo>
                    <a:lnTo>
                      <a:pt x="374" y="253"/>
                    </a:lnTo>
                    <a:lnTo>
                      <a:pt x="374" y="253"/>
                    </a:lnTo>
                    <a:lnTo>
                      <a:pt x="379" y="253"/>
                    </a:lnTo>
                    <a:lnTo>
                      <a:pt x="379" y="253"/>
                    </a:lnTo>
                    <a:lnTo>
                      <a:pt x="379" y="253"/>
                    </a:lnTo>
                    <a:lnTo>
                      <a:pt x="384" y="249"/>
                    </a:lnTo>
                    <a:lnTo>
                      <a:pt x="388" y="253"/>
                    </a:lnTo>
                    <a:lnTo>
                      <a:pt x="393" y="249"/>
                    </a:lnTo>
                    <a:lnTo>
                      <a:pt x="397" y="249"/>
                    </a:lnTo>
                    <a:lnTo>
                      <a:pt x="397" y="249"/>
                    </a:lnTo>
                    <a:lnTo>
                      <a:pt x="406" y="249"/>
                    </a:lnTo>
                    <a:lnTo>
                      <a:pt x="415" y="253"/>
                    </a:lnTo>
                    <a:lnTo>
                      <a:pt x="420" y="253"/>
                    </a:lnTo>
                    <a:lnTo>
                      <a:pt x="424" y="253"/>
                    </a:lnTo>
                    <a:lnTo>
                      <a:pt x="433" y="253"/>
                    </a:lnTo>
                    <a:lnTo>
                      <a:pt x="433" y="253"/>
                    </a:lnTo>
                    <a:lnTo>
                      <a:pt x="433" y="253"/>
                    </a:lnTo>
                    <a:lnTo>
                      <a:pt x="433" y="258"/>
                    </a:lnTo>
                    <a:lnTo>
                      <a:pt x="433" y="258"/>
                    </a:lnTo>
                    <a:lnTo>
                      <a:pt x="429" y="258"/>
                    </a:lnTo>
                    <a:lnTo>
                      <a:pt x="429" y="258"/>
                    </a:lnTo>
                    <a:lnTo>
                      <a:pt x="429" y="258"/>
                    </a:lnTo>
                    <a:lnTo>
                      <a:pt x="424" y="258"/>
                    </a:lnTo>
                    <a:lnTo>
                      <a:pt x="424" y="258"/>
                    </a:lnTo>
                    <a:lnTo>
                      <a:pt x="424" y="262"/>
                    </a:lnTo>
                    <a:lnTo>
                      <a:pt x="424" y="262"/>
                    </a:lnTo>
                    <a:lnTo>
                      <a:pt x="420" y="262"/>
                    </a:lnTo>
                    <a:lnTo>
                      <a:pt x="420" y="262"/>
                    </a:lnTo>
                    <a:lnTo>
                      <a:pt x="415" y="262"/>
                    </a:lnTo>
                    <a:lnTo>
                      <a:pt x="415" y="262"/>
                    </a:lnTo>
                    <a:lnTo>
                      <a:pt x="415" y="262"/>
                    </a:lnTo>
                    <a:lnTo>
                      <a:pt x="415" y="262"/>
                    </a:lnTo>
                    <a:lnTo>
                      <a:pt x="415" y="262"/>
                    </a:lnTo>
                    <a:lnTo>
                      <a:pt x="415" y="262"/>
                    </a:lnTo>
                    <a:lnTo>
                      <a:pt x="415" y="262"/>
                    </a:lnTo>
                    <a:lnTo>
                      <a:pt x="411" y="262"/>
                    </a:lnTo>
                    <a:lnTo>
                      <a:pt x="411" y="262"/>
                    </a:lnTo>
                    <a:lnTo>
                      <a:pt x="406" y="262"/>
                    </a:lnTo>
                    <a:lnTo>
                      <a:pt x="411" y="262"/>
                    </a:lnTo>
                    <a:lnTo>
                      <a:pt x="411" y="267"/>
                    </a:lnTo>
                    <a:lnTo>
                      <a:pt x="406" y="267"/>
                    </a:lnTo>
                    <a:lnTo>
                      <a:pt x="406" y="267"/>
                    </a:lnTo>
                    <a:lnTo>
                      <a:pt x="406" y="267"/>
                    </a:lnTo>
                    <a:lnTo>
                      <a:pt x="402" y="267"/>
                    </a:lnTo>
                    <a:lnTo>
                      <a:pt x="402" y="271"/>
                    </a:lnTo>
                    <a:lnTo>
                      <a:pt x="397" y="271"/>
                    </a:lnTo>
                    <a:lnTo>
                      <a:pt x="397" y="271"/>
                    </a:lnTo>
                    <a:lnTo>
                      <a:pt x="397" y="271"/>
                    </a:lnTo>
                    <a:lnTo>
                      <a:pt x="397" y="271"/>
                    </a:lnTo>
                    <a:lnTo>
                      <a:pt x="393" y="271"/>
                    </a:lnTo>
                    <a:lnTo>
                      <a:pt x="388" y="271"/>
                    </a:lnTo>
                    <a:lnTo>
                      <a:pt x="388" y="276"/>
                    </a:lnTo>
                    <a:lnTo>
                      <a:pt x="388" y="276"/>
                    </a:lnTo>
                    <a:lnTo>
                      <a:pt x="388" y="276"/>
                    </a:lnTo>
                    <a:lnTo>
                      <a:pt x="388" y="276"/>
                    </a:lnTo>
                    <a:lnTo>
                      <a:pt x="384" y="276"/>
                    </a:lnTo>
                    <a:lnTo>
                      <a:pt x="384" y="280"/>
                    </a:lnTo>
                    <a:lnTo>
                      <a:pt x="379" y="280"/>
                    </a:lnTo>
                    <a:lnTo>
                      <a:pt x="379" y="280"/>
                    </a:lnTo>
                    <a:lnTo>
                      <a:pt x="374" y="280"/>
                    </a:lnTo>
                    <a:lnTo>
                      <a:pt x="374" y="280"/>
                    </a:lnTo>
                    <a:lnTo>
                      <a:pt x="374" y="280"/>
                    </a:lnTo>
                    <a:lnTo>
                      <a:pt x="370" y="280"/>
                    </a:lnTo>
                    <a:lnTo>
                      <a:pt x="365" y="280"/>
                    </a:lnTo>
                    <a:lnTo>
                      <a:pt x="361" y="285"/>
                    </a:lnTo>
                    <a:lnTo>
                      <a:pt x="356" y="285"/>
                    </a:lnTo>
                    <a:lnTo>
                      <a:pt x="352" y="285"/>
                    </a:lnTo>
                    <a:lnTo>
                      <a:pt x="347" y="285"/>
                    </a:lnTo>
                    <a:lnTo>
                      <a:pt x="343" y="285"/>
                    </a:lnTo>
                    <a:lnTo>
                      <a:pt x="343" y="285"/>
                    </a:lnTo>
                    <a:lnTo>
                      <a:pt x="338" y="285"/>
                    </a:lnTo>
                    <a:lnTo>
                      <a:pt x="338" y="285"/>
                    </a:lnTo>
                    <a:lnTo>
                      <a:pt x="334" y="285"/>
                    </a:lnTo>
                    <a:lnTo>
                      <a:pt x="334" y="285"/>
                    </a:lnTo>
                    <a:lnTo>
                      <a:pt x="334" y="285"/>
                    </a:lnTo>
                    <a:lnTo>
                      <a:pt x="329" y="289"/>
                    </a:lnTo>
                    <a:lnTo>
                      <a:pt x="329" y="289"/>
                    </a:lnTo>
                    <a:lnTo>
                      <a:pt x="325" y="285"/>
                    </a:lnTo>
                    <a:lnTo>
                      <a:pt x="325" y="285"/>
                    </a:lnTo>
                    <a:lnTo>
                      <a:pt x="325" y="289"/>
                    </a:lnTo>
                    <a:lnTo>
                      <a:pt x="325" y="289"/>
                    </a:lnTo>
                    <a:lnTo>
                      <a:pt x="320" y="289"/>
                    </a:lnTo>
                    <a:lnTo>
                      <a:pt x="320" y="289"/>
                    </a:lnTo>
                    <a:lnTo>
                      <a:pt x="316" y="289"/>
                    </a:lnTo>
                    <a:lnTo>
                      <a:pt x="316" y="289"/>
                    </a:lnTo>
                    <a:lnTo>
                      <a:pt x="311" y="285"/>
                    </a:lnTo>
                    <a:lnTo>
                      <a:pt x="307" y="285"/>
                    </a:lnTo>
                    <a:lnTo>
                      <a:pt x="307" y="280"/>
                    </a:lnTo>
                    <a:lnTo>
                      <a:pt x="307" y="285"/>
                    </a:lnTo>
                    <a:lnTo>
                      <a:pt x="307" y="285"/>
                    </a:lnTo>
                    <a:lnTo>
                      <a:pt x="307" y="285"/>
                    </a:lnTo>
                    <a:lnTo>
                      <a:pt x="307" y="285"/>
                    </a:lnTo>
                    <a:lnTo>
                      <a:pt x="307" y="285"/>
                    </a:lnTo>
                    <a:lnTo>
                      <a:pt x="307" y="285"/>
                    </a:lnTo>
                    <a:lnTo>
                      <a:pt x="307" y="285"/>
                    </a:lnTo>
                    <a:lnTo>
                      <a:pt x="307" y="285"/>
                    </a:lnTo>
                    <a:lnTo>
                      <a:pt x="307" y="289"/>
                    </a:lnTo>
                    <a:lnTo>
                      <a:pt x="307" y="289"/>
                    </a:lnTo>
                    <a:lnTo>
                      <a:pt x="307" y="289"/>
                    </a:lnTo>
                    <a:lnTo>
                      <a:pt x="302" y="294"/>
                    </a:lnTo>
                    <a:lnTo>
                      <a:pt x="302" y="294"/>
                    </a:lnTo>
                    <a:lnTo>
                      <a:pt x="302" y="294"/>
                    </a:lnTo>
                    <a:lnTo>
                      <a:pt x="293" y="294"/>
                    </a:lnTo>
                    <a:lnTo>
                      <a:pt x="293" y="298"/>
                    </a:lnTo>
                    <a:lnTo>
                      <a:pt x="293" y="298"/>
                    </a:lnTo>
                    <a:lnTo>
                      <a:pt x="289" y="298"/>
                    </a:lnTo>
                    <a:lnTo>
                      <a:pt x="289" y="298"/>
                    </a:lnTo>
                    <a:lnTo>
                      <a:pt x="289" y="303"/>
                    </a:lnTo>
                    <a:lnTo>
                      <a:pt x="284" y="303"/>
                    </a:lnTo>
                    <a:lnTo>
                      <a:pt x="284" y="303"/>
                    </a:lnTo>
                    <a:lnTo>
                      <a:pt x="284" y="303"/>
                    </a:lnTo>
                    <a:lnTo>
                      <a:pt x="284" y="303"/>
                    </a:lnTo>
                    <a:lnTo>
                      <a:pt x="284" y="303"/>
                    </a:lnTo>
                    <a:lnTo>
                      <a:pt x="280" y="308"/>
                    </a:lnTo>
                    <a:lnTo>
                      <a:pt x="275" y="312"/>
                    </a:lnTo>
                    <a:lnTo>
                      <a:pt x="271" y="312"/>
                    </a:lnTo>
                    <a:lnTo>
                      <a:pt x="271" y="317"/>
                    </a:lnTo>
                    <a:lnTo>
                      <a:pt x="271" y="317"/>
                    </a:lnTo>
                    <a:lnTo>
                      <a:pt x="271" y="317"/>
                    </a:lnTo>
                    <a:lnTo>
                      <a:pt x="266" y="317"/>
                    </a:lnTo>
                    <a:lnTo>
                      <a:pt x="266" y="317"/>
                    </a:lnTo>
                    <a:lnTo>
                      <a:pt x="266" y="317"/>
                    </a:lnTo>
                    <a:lnTo>
                      <a:pt x="266" y="317"/>
                    </a:lnTo>
                    <a:lnTo>
                      <a:pt x="262" y="321"/>
                    </a:lnTo>
                    <a:lnTo>
                      <a:pt x="257" y="321"/>
                    </a:lnTo>
                    <a:lnTo>
                      <a:pt x="257" y="321"/>
                    </a:lnTo>
                    <a:lnTo>
                      <a:pt x="253" y="321"/>
                    </a:lnTo>
                    <a:lnTo>
                      <a:pt x="253" y="321"/>
                    </a:lnTo>
                    <a:lnTo>
                      <a:pt x="253" y="321"/>
                    </a:lnTo>
                    <a:lnTo>
                      <a:pt x="253" y="321"/>
                    </a:lnTo>
                    <a:lnTo>
                      <a:pt x="248" y="317"/>
                    </a:lnTo>
                    <a:lnTo>
                      <a:pt x="248" y="321"/>
                    </a:lnTo>
                    <a:lnTo>
                      <a:pt x="248" y="321"/>
                    </a:lnTo>
                    <a:lnTo>
                      <a:pt x="248" y="321"/>
                    </a:lnTo>
                    <a:lnTo>
                      <a:pt x="248" y="321"/>
                    </a:lnTo>
                    <a:lnTo>
                      <a:pt x="248" y="326"/>
                    </a:lnTo>
                    <a:lnTo>
                      <a:pt x="248" y="326"/>
                    </a:lnTo>
                    <a:lnTo>
                      <a:pt x="248" y="326"/>
                    </a:lnTo>
                    <a:lnTo>
                      <a:pt x="243" y="326"/>
                    </a:lnTo>
                    <a:lnTo>
                      <a:pt x="239" y="330"/>
                    </a:lnTo>
                    <a:lnTo>
                      <a:pt x="239" y="330"/>
                    </a:lnTo>
                    <a:lnTo>
                      <a:pt x="239" y="326"/>
                    </a:lnTo>
                    <a:lnTo>
                      <a:pt x="239" y="326"/>
                    </a:lnTo>
                    <a:lnTo>
                      <a:pt x="239" y="326"/>
                    </a:lnTo>
                    <a:lnTo>
                      <a:pt x="239" y="326"/>
                    </a:lnTo>
                    <a:lnTo>
                      <a:pt x="239" y="326"/>
                    </a:lnTo>
                    <a:lnTo>
                      <a:pt x="234" y="330"/>
                    </a:lnTo>
                    <a:lnTo>
                      <a:pt x="234" y="330"/>
                    </a:lnTo>
                    <a:lnTo>
                      <a:pt x="234" y="330"/>
                    </a:lnTo>
                    <a:lnTo>
                      <a:pt x="230" y="330"/>
                    </a:lnTo>
                    <a:lnTo>
                      <a:pt x="230" y="330"/>
                    </a:lnTo>
                    <a:lnTo>
                      <a:pt x="230" y="330"/>
                    </a:lnTo>
                    <a:lnTo>
                      <a:pt x="230" y="330"/>
                    </a:lnTo>
                    <a:lnTo>
                      <a:pt x="225" y="330"/>
                    </a:lnTo>
                    <a:lnTo>
                      <a:pt x="225" y="330"/>
                    </a:lnTo>
                    <a:lnTo>
                      <a:pt x="225" y="330"/>
                    </a:lnTo>
                    <a:lnTo>
                      <a:pt x="225" y="335"/>
                    </a:lnTo>
                    <a:lnTo>
                      <a:pt x="221" y="335"/>
                    </a:lnTo>
                    <a:lnTo>
                      <a:pt x="221" y="335"/>
                    </a:lnTo>
                    <a:lnTo>
                      <a:pt x="221" y="335"/>
                    </a:lnTo>
                    <a:lnTo>
                      <a:pt x="216" y="335"/>
                    </a:lnTo>
                    <a:lnTo>
                      <a:pt x="216" y="330"/>
                    </a:lnTo>
                    <a:lnTo>
                      <a:pt x="221" y="330"/>
                    </a:lnTo>
                    <a:lnTo>
                      <a:pt x="221" y="330"/>
                    </a:lnTo>
                    <a:lnTo>
                      <a:pt x="221" y="326"/>
                    </a:lnTo>
                    <a:lnTo>
                      <a:pt x="221" y="326"/>
                    </a:lnTo>
                    <a:lnTo>
                      <a:pt x="225" y="321"/>
                    </a:lnTo>
                    <a:lnTo>
                      <a:pt x="230" y="321"/>
                    </a:lnTo>
                    <a:lnTo>
                      <a:pt x="230" y="321"/>
                    </a:lnTo>
                    <a:lnTo>
                      <a:pt x="230" y="321"/>
                    </a:lnTo>
                    <a:lnTo>
                      <a:pt x="225" y="317"/>
                    </a:lnTo>
                    <a:lnTo>
                      <a:pt x="221" y="317"/>
                    </a:lnTo>
                    <a:lnTo>
                      <a:pt x="221" y="317"/>
                    </a:lnTo>
                    <a:lnTo>
                      <a:pt x="221" y="321"/>
                    </a:lnTo>
                    <a:lnTo>
                      <a:pt x="225" y="321"/>
                    </a:lnTo>
                    <a:lnTo>
                      <a:pt x="221" y="321"/>
                    </a:lnTo>
                    <a:lnTo>
                      <a:pt x="221" y="321"/>
                    </a:lnTo>
                    <a:lnTo>
                      <a:pt x="216" y="326"/>
                    </a:lnTo>
                    <a:lnTo>
                      <a:pt x="216" y="326"/>
                    </a:lnTo>
                    <a:lnTo>
                      <a:pt x="216" y="326"/>
                    </a:lnTo>
                    <a:lnTo>
                      <a:pt x="212" y="326"/>
                    </a:lnTo>
                    <a:lnTo>
                      <a:pt x="212" y="326"/>
                    </a:lnTo>
                    <a:lnTo>
                      <a:pt x="216" y="330"/>
                    </a:lnTo>
                    <a:lnTo>
                      <a:pt x="216" y="330"/>
                    </a:lnTo>
                    <a:lnTo>
                      <a:pt x="216" y="330"/>
                    </a:lnTo>
                    <a:lnTo>
                      <a:pt x="207" y="335"/>
                    </a:lnTo>
                    <a:lnTo>
                      <a:pt x="203" y="335"/>
                    </a:lnTo>
                    <a:lnTo>
                      <a:pt x="198" y="335"/>
                    </a:lnTo>
                    <a:lnTo>
                      <a:pt x="194" y="335"/>
                    </a:lnTo>
                    <a:lnTo>
                      <a:pt x="189" y="335"/>
                    </a:lnTo>
                    <a:lnTo>
                      <a:pt x="189" y="335"/>
                    </a:lnTo>
                    <a:lnTo>
                      <a:pt x="194" y="335"/>
                    </a:lnTo>
                    <a:lnTo>
                      <a:pt x="194" y="339"/>
                    </a:lnTo>
                    <a:lnTo>
                      <a:pt x="194" y="339"/>
                    </a:lnTo>
                    <a:lnTo>
                      <a:pt x="194" y="339"/>
                    </a:lnTo>
                    <a:lnTo>
                      <a:pt x="189" y="339"/>
                    </a:lnTo>
                    <a:lnTo>
                      <a:pt x="189" y="344"/>
                    </a:lnTo>
                    <a:lnTo>
                      <a:pt x="185" y="344"/>
                    </a:lnTo>
                    <a:lnTo>
                      <a:pt x="180" y="339"/>
                    </a:lnTo>
                    <a:lnTo>
                      <a:pt x="176" y="344"/>
                    </a:lnTo>
                    <a:lnTo>
                      <a:pt x="176" y="339"/>
                    </a:lnTo>
                    <a:lnTo>
                      <a:pt x="176" y="344"/>
                    </a:lnTo>
                    <a:lnTo>
                      <a:pt x="176" y="344"/>
                    </a:lnTo>
                    <a:lnTo>
                      <a:pt x="176" y="344"/>
                    </a:lnTo>
                    <a:lnTo>
                      <a:pt x="176" y="344"/>
                    </a:lnTo>
                    <a:lnTo>
                      <a:pt x="180" y="344"/>
                    </a:lnTo>
                    <a:lnTo>
                      <a:pt x="180" y="348"/>
                    </a:lnTo>
                    <a:lnTo>
                      <a:pt x="180" y="348"/>
                    </a:lnTo>
                    <a:lnTo>
                      <a:pt x="180" y="353"/>
                    </a:lnTo>
                    <a:lnTo>
                      <a:pt x="180" y="353"/>
                    </a:lnTo>
                    <a:lnTo>
                      <a:pt x="180" y="353"/>
                    </a:lnTo>
                    <a:lnTo>
                      <a:pt x="180" y="353"/>
                    </a:lnTo>
                    <a:lnTo>
                      <a:pt x="176" y="357"/>
                    </a:lnTo>
                    <a:lnTo>
                      <a:pt x="171" y="357"/>
                    </a:lnTo>
                    <a:lnTo>
                      <a:pt x="171" y="357"/>
                    </a:lnTo>
                    <a:lnTo>
                      <a:pt x="171" y="357"/>
                    </a:lnTo>
                    <a:lnTo>
                      <a:pt x="167" y="357"/>
                    </a:lnTo>
                    <a:lnTo>
                      <a:pt x="167" y="357"/>
                    </a:lnTo>
                    <a:lnTo>
                      <a:pt x="167" y="357"/>
                    </a:lnTo>
                    <a:lnTo>
                      <a:pt x="162" y="357"/>
                    </a:lnTo>
                    <a:lnTo>
                      <a:pt x="167" y="357"/>
                    </a:lnTo>
                    <a:lnTo>
                      <a:pt x="167" y="357"/>
                    </a:lnTo>
                    <a:lnTo>
                      <a:pt x="167" y="357"/>
                    </a:lnTo>
                    <a:lnTo>
                      <a:pt x="171" y="357"/>
                    </a:lnTo>
                    <a:lnTo>
                      <a:pt x="171" y="357"/>
                    </a:lnTo>
                    <a:lnTo>
                      <a:pt x="171" y="362"/>
                    </a:lnTo>
                    <a:lnTo>
                      <a:pt x="171" y="366"/>
                    </a:lnTo>
                    <a:lnTo>
                      <a:pt x="171" y="366"/>
                    </a:lnTo>
                    <a:lnTo>
                      <a:pt x="167" y="371"/>
                    </a:lnTo>
                    <a:lnTo>
                      <a:pt x="167" y="371"/>
                    </a:lnTo>
                    <a:lnTo>
                      <a:pt x="162" y="371"/>
                    </a:lnTo>
                    <a:lnTo>
                      <a:pt x="162" y="371"/>
                    </a:lnTo>
                    <a:lnTo>
                      <a:pt x="162" y="371"/>
                    </a:lnTo>
                    <a:lnTo>
                      <a:pt x="158" y="375"/>
                    </a:lnTo>
                    <a:lnTo>
                      <a:pt x="158" y="375"/>
                    </a:lnTo>
                    <a:lnTo>
                      <a:pt x="158" y="375"/>
                    </a:lnTo>
                    <a:lnTo>
                      <a:pt x="158" y="375"/>
                    </a:lnTo>
                    <a:lnTo>
                      <a:pt x="153" y="380"/>
                    </a:lnTo>
                    <a:lnTo>
                      <a:pt x="153" y="380"/>
                    </a:lnTo>
                    <a:lnTo>
                      <a:pt x="153" y="380"/>
                    </a:lnTo>
                    <a:lnTo>
                      <a:pt x="149" y="380"/>
                    </a:lnTo>
                    <a:lnTo>
                      <a:pt x="149" y="380"/>
                    </a:lnTo>
                    <a:lnTo>
                      <a:pt x="144" y="375"/>
                    </a:lnTo>
                    <a:lnTo>
                      <a:pt x="144" y="375"/>
                    </a:lnTo>
                    <a:lnTo>
                      <a:pt x="144" y="375"/>
                    </a:lnTo>
                    <a:lnTo>
                      <a:pt x="144" y="375"/>
                    </a:lnTo>
                    <a:lnTo>
                      <a:pt x="144" y="380"/>
                    </a:lnTo>
                    <a:lnTo>
                      <a:pt x="149" y="380"/>
                    </a:lnTo>
                    <a:lnTo>
                      <a:pt x="149" y="380"/>
                    </a:lnTo>
                    <a:lnTo>
                      <a:pt x="149" y="380"/>
                    </a:lnTo>
                    <a:lnTo>
                      <a:pt x="149" y="380"/>
                    </a:lnTo>
                    <a:lnTo>
                      <a:pt x="144" y="384"/>
                    </a:lnTo>
                    <a:lnTo>
                      <a:pt x="144" y="384"/>
                    </a:lnTo>
                    <a:lnTo>
                      <a:pt x="140" y="384"/>
                    </a:lnTo>
                    <a:lnTo>
                      <a:pt x="140" y="384"/>
                    </a:lnTo>
                    <a:lnTo>
                      <a:pt x="140" y="384"/>
                    </a:lnTo>
                    <a:lnTo>
                      <a:pt x="135" y="384"/>
                    </a:lnTo>
                    <a:lnTo>
                      <a:pt x="131" y="384"/>
                    </a:lnTo>
                    <a:lnTo>
                      <a:pt x="131" y="384"/>
                    </a:lnTo>
                    <a:lnTo>
                      <a:pt x="131" y="384"/>
                    </a:lnTo>
                    <a:lnTo>
                      <a:pt x="135" y="384"/>
                    </a:lnTo>
                    <a:lnTo>
                      <a:pt x="135" y="389"/>
                    </a:lnTo>
                    <a:lnTo>
                      <a:pt x="140" y="389"/>
                    </a:lnTo>
                    <a:lnTo>
                      <a:pt x="140" y="389"/>
                    </a:lnTo>
                    <a:lnTo>
                      <a:pt x="140" y="389"/>
                    </a:lnTo>
                    <a:lnTo>
                      <a:pt x="140" y="389"/>
                    </a:lnTo>
                    <a:lnTo>
                      <a:pt x="135" y="393"/>
                    </a:lnTo>
                    <a:lnTo>
                      <a:pt x="135" y="393"/>
                    </a:lnTo>
                    <a:lnTo>
                      <a:pt x="135" y="393"/>
                    </a:lnTo>
                    <a:lnTo>
                      <a:pt x="135" y="398"/>
                    </a:lnTo>
                    <a:lnTo>
                      <a:pt x="135" y="398"/>
                    </a:lnTo>
                    <a:lnTo>
                      <a:pt x="135" y="398"/>
                    </a:lnTo>
                    <a:lnTo>
                      <a:pt x="135" y="402"/>
                    </a:lnTo>
                    <a:lnTo>
                      <a:pt x="131" y="402"/>
                    </a:lnTo>
                    <a:lnTo>
                      <a:pt x="131" y="402"/>
                    </a:lnTo>
                    <a:lnTo>
                      <a:pt x="126" y="402"/>
                    </a:lnTo>
                    <a:lnTo>
                      <a:pt x="126" y="402"/>
                    </a:lnTo>
                    <a:lnTo>
                      <a:pt x="131" y="402"/>
                    </a:lnTo>
                    <a:lnTo>
                      <a:pt x="131" y="407"/>
                    </a:lnTo>
                    <a:lnTo>
                      <a:pt x="126" y="407"/>
                    </a:lnTo>
                    <a:lnTo>
                      <a:pt x="126" y="411"/>
                    </a:lnTo>
                    <a:lnTo>
                      <a:pt x="121" y="416"/>
                    </a:lnTo>
                    <a:lnTo>
                      <a:pt x="117" y="421"/>
                    </a:lnTo>
                    <a:lnTo>
                      <a:pt x="112" y="425"/>
                    </a:lnTo>
                    <a:lnTo>
                      <a:pt x="108" y="425"/>
                    </a:lnTo>
                    <a:lnTo>
                      <a:pt x="108" y="425"/>
                    </a:lnTo>
                    <a:lnTo>
                      <a:pt x="108" y="425"/>
                    </a:lnTo>
                    <a:lnTo>
                      <a:pt x="103" y="425"/>
                    </a:lnTo>
                    <a:lnTo>
                      <a:pt x="103" y="425"/>
                    </a:lnTo>
                    <a:lnTo>
                      <a:pt x="99" y="425"/>
                    </a:lnTo>
                    <a:lnTo>
                      <a:pt x="99" y="425"/>
                    </a:lnTo>
                    <a:lnTo>
                      <a:pt x="99" y="425"/>
                    </a:lnTo>
                    <a:lnTo>
                      <a:pt x="103" y="425"/>
                    </a:lnTo>
                    <a:lnTo>
                      <a:pt x="103" y="425"/>
                    </a:lnTo>
                    <a:lnTo>
                      <a:pt x="108" y="425"/>
                    </a:lnTo>
                    <a:lnTo>
                      <a:pt x="108" y="430"/>
                    </a:lnTo>
                    <a:lnTo>
                      <a:pt x="108" y="430"/>
                    </a:lnTo>
                    <a:lnTo>
                      <a:pt x="108" y="430"/>
                    </a:lnTo>
                    <a:lnTo>
                      <a:pt x="108" y="430"/>
                    </a:lnTo>
                    <a:lnTo>
                      <a:pt x="108" y="434"/>
                    </a:lnTo>
                    <a:lnTo>
                      <a:pt x="103" y="434"/>
                    </a:lnTo>
                    <a:lnTo>
                      <a:pt x="103" y="439"/>
                    </a:lnTo>
                    <a:lnTo>
                      <a:pt x="99" y="439"/>
                    </a:lnTo>
                    <a:lnTo>
                      <a:pt x="99" y="434"/>
                    </a:lnTo>
                    <a:lnTo>
                      <a:pt x="94" y="434"/>
                    </a:lnTo>
                    <a:lnTo>
                      <a:pt x="94" y="434"/>
                    </a:lnTo>
                    <a:lnTo>
                      <a:pt x="99" y="439"/>
                    </a:lnTo>
                    <a:lnTo>
                      <a:pt x="99" y="439"/>
                    </a:lnTo>
                    <a:lnTo>
                      <a:pt x="99" y="439"/>
                    </a:lnTo>
                    <a:lnTo>
                      <a:pt x="94" y="439"/>
                    </a:lnTo>
                    <a:lnTo>
                      <a:pt x="94" y="439"/>
                    </a:lnTo>
                    <a:lnTo>
                      <a:pt x="90" y="439"/>
                    </a:lnTo>
                    <a:lnTo>
                      <a:pt x="90" y="439"/>
                    </a:lnTo>
                    <a:lnTo>
                      <a:pt x="94" y="439"/>
                    </a:lnTo>
                    <a:lnTo>
                      <a:pt x="90" y="439"/>
                    </a:lnTo>
                    <a:lnTo>
                      <a:pt x="90" y="439"/>
                    </a:lnTo>
                    <a:lnTo>
                      <a:pt x="90" y="439"/>
                    </a:lnTo>
                    <a:lnTo>
                      <a:pt x="90" y="439"/>
                    </a:lnTo>
                    <a:lnTo>
                      <a:pt x="90" y="434"/>
                    </a:lnTo>
                    <a:lnTo>
                      <a:pt x="90" y="434"/>
                    </a:lnTo>
                    <a:lnTo>
                      <a:pt x="90" y="434"/>
                    </a:lnTo>
                    <a:lnTo>
                      <a:pt x="94" y="430"/>
                    </a:lnTo>
                    <a:lnTo>
                      <a:pt x="94" y="430"/>
                    </a:lnTo>
                    <a:lnTo>
                      <a:pt x="94" y="430"/>
                    </a:lnTo>
                    <a:lnTo>
                      <a:pt x="90" y="430"/>
                    </a:lnTo>
                    <a:lnTo>
                      <a:pt x="90" y="434"/>
                    </a:lnTo>
                    <a:lnTo>
                      <a:pt x="90" y="434"/>
                    </a:lnTo>
                    <a:lnTo>
                      <a:pt x="85" y="434"/>
                    </a:lnTo>
                    <a:lnTo>
                      <a:pt x="85" y="434"/>
                    </a:lnTo>
                    <a:lnTo>
                      <a:pt x="76" y="430"/>
                    </a:lnTo>
                    <a:lnTo>
                      <a:pt x="81" y="430"/>
                    </a:lnTo>
                    <a:lnTo>
                      <a:pt x="81" y="425"/>
                    </a:lnTo>
                    <a:lnTo>
                      <a:pt x="81" y="425"/>
                    </a:lnTo>
                    <a:lnTo>
                      <a:pt x="85" y="425"/>
                    </a:lnTo>
                    <a:lnTo>
                      <a:pt x="85" y="425"/>
                    </a:lnTo>
                    <a:lnTo>
                      <a:pt x="90" y="425"/>
                    </a:lnTo>
                    <a:lnTo>
                      <a:pt x="90" y="421"/>
                    </a:lnTo>
                    <a:lnTo>
                      <a:pt x="90" y="421"/>
                    </a:lnTo>
                    <a:lnTo>
                      <a:pt x="85" y="425"/>
                    </a:lnTo>
                    <a:lnTo>
                      <a:pt x="81" y="425"/>
                    </a:lnTo>
                    <a:lnTo>
                      <a:pt x="81" y="425"/>
                    </a:lnTo>
                    <a:lnTo>
                      <a:pt x="81" y="425"/>
                    </a:lnTo>
                    <a:lnTo>
                      <a:pt x="76" y="425"/>
                    </a:lnTo>
                    <a:lnTo>
                      <a:pt x="76" y="425"/>
                    </a:lnTo>
                    <a:lnTo>
                      <a:pt x="76" y="425"/>
                    </a:lnTo>
                    <a:lnTo>
                      <a:pt x="72" y="421"/>
                    </a:lnTo>
                    <a:lnTo>
                      <a:pt x="72" y="421"/>
                    </a:lnTo>
                    <a:lnTo>
                      <a:pt x="72" y="421"/>
                    </a:lnTo>
                    <a:lnTo>
                      <a:pt x="76" y="416"/>
                    </a:lnTo>
                    <a:lnTo>
                      <a:pt x="76" y="416"/>
                    </a:lnTo>
                    <a:lnTo>
                      <a:pt x="81" y="411"/>
                    </a:lnTo>
                    <a:lnTo>
                      <a:pt x="81" y="411"/>
                    </a:lnTo>
                    <a:lnTo>
                      <a:pt x="81" y="411"/>
                    </a:lnTo>
                    <a:lnTo>
                      <a:pt x="81" y="411"/>
                    </a:lnTo>
                    <a:lnTo>
                      <a:pt x="81" y="411"/>
                    </a:lnTo>
                    <a:lnTo>
                      <a:pt x="76" y="411"/>
                    </a:lnTo>
                    <a:lnTo>
                      <a:pt x="76" y="411"/>
                    </a:lnTo>
                    <a:lnTo>
                      <a:pt x="72" y="416"/>
                    </a:lnTo>
                    <a:lnTo>
                      <a:pt x="67" y="416"/>
                    </a:lnTo>
                    <a:lnTo>
                      <a:pt x="67" y="416"/>
                    </a:lnTo>
                    <a:lnTo>
                      <a:pt x="67" y="416"/>
                    </a:lnTo>
                    <a:lnTo>
                      <a:pt x="63" y="416"/>
                    </a:lnTo>
                    <a:lnTo>
                      <a:pt x="63" y="416"/>
                    </a:lnTo>
                    <a:lnTo>
                      <a:pt x="63" y="416"/>
                    </a:lnTo>
                    <a:lnTo>
                      <a:pt x="58" y="421"/>
                    </a:lnTo>
                    <a:lnTo>
                      <a:pt x="58" y="416"/>
                    </a:lnTo>
                    <a:lnTo>
                      <a:pt x="58" y="416"/>
                    </a:lnTo>
                    <a:lnTo>
                      <a:pt x="54" y="416"/>
                    </a:lnTo>
                    <a:lnTo>
                      <a:pt x="54" y="416"/>
                    </a:lnTo>
                    <a:lnTo>
                      <a:pt x="54" y="416"/>
                    </a:lnTo>
                    <a:lnTo>
                      <a:pt x="54" y="416"/>
                    </a:lnTo>
                    <a:lnTo>
                      <a:pt x="54" y="421"/>
                    </a:lnTo>
                    <a:lnTo>
                      <a:pt x="49" y="421"/>
                    </a:lnTo>
                    <a:lnTo>
                      <a:pt x="49" y="421"/>
                    </a:lnTo>
                    <a:lnTo>
                      <a:pt x="49" y="421"/>
                    </a:lnTo>
                    <a:lnTo>
                      <a:pt x="49" y="421"/>
                    </a:lnTo>
                    <a:lnTo>
                      <a:pt x="45" y="416"/>
                    </a:lnTo>
                    <a:lnTo>
                      <a:pt x="49" y="416"/>
                    </a:lnTo>
                    <a:lnTo>
                      <a:pt x="54" y="416"/>
                    </a:lnTo>
                    <a:lnTo>
                      <a:pt x="54" y="416"/>
                    </a:lnTo>
                    <a:lnTo>
                      <a:pt x="54" y="416"/>
                    </a:lnTo>
                    <a:lnTo>
                      <a:pt x="49" y="416"/>
                    </a:lnTo>
                    <a:lnTo>
                      <a:pt x="49" y="416"/>
                    </a:lnTo>
                    <a:lnTo>
                      <a:pt x="45" y="416"/>
                    </a:lnTo>
                    <a:lnTo>
                      <a:pt x="49" y="411"/>
                    </a:lnTo>
                    <a:lnTo>
                      <a:pt x="49" y="411"/>
                    </a:lnTo>
                    <a:lnTo>
                      <a:pt x="49" y="411"/>
                    </a:lnTo>
                    <a:lnTo>
                      <a:pt x="49" y="411"/>
                    </a:lnTo>
                    <a:lnTo>
                      <a:pt x="45" y="411"/>
                    </a:lnTo>
                    <a:lnTo>
                      <a:pt x="45" y="407"/>
                    </a:lnTo>
                    <a:lnTo>
                      <a:pt x="40" y="407"/>
                    </a:lnTo>
                    <a:lnTo>
                      <a:pt x="40" y="407"/>
                    </a:lnTo>
                    <a:lnTo>
                      <a:pt x="45" y="407"/>
                    </a:lnTo>
                    <a:lnTo>
                      <a:pt x="45" y="402"/>
                    </a:lnTo>
                    <a:lnTo>
                      <a:pt x="40" y="402"/>
                    </a:lnTo>
                    <a:lnTo>
                      <a:pt x="40" y="402"/>
                    </a:lnTo>
                    <a:lnTo>
                      <a:pt x="40" y="402"/>
                    </a:lnTo>
                    <a:lnTo>
                      <a:pt x="45" y="402"/>
                    </a:lnTo>
                    <a:lnTo>
                      <a:pt x="40" y="398"/>
                    </a:lnTo>
                    <a:lnTo>
                      <a:pt x="40" y="398"/>
                    </a:lnTo>
                    <a:lnTo>
                      <a:pt x="40" y="398"/>
                    </a:lnTo>
                    <a:lnTo>
                      <a:pt x="40" y="398"/>
                    </a:lnTo>
                    <a:lnTo>
                      <a:pt x="40" y="398"/>
                    </a:lnTo>
                    <a:lnTo>
                      <a:pt x="45" y="398"/>
                    </a:lnTo>
                    <a:lnTo>
                      <a:pt x="45" y="393"/>
                    </a:lnTo>
                    <a:lnTo>
                      <a:pt x="49" y="393"/>
                    </a:lnTo>
                    <a:lnTo>
                      <a:pt x="49" y="393"/>
                    </a:lnTo>
                    <a:lnTo>
                      <a:pt x="49" y="393"/>
                    </a:lnTo>
                    <a:lnTo>
                      <a:pt x="49" y="393"/>
                    </a:lnTo>
                    <a:lnTo>
                      <a:pt x="49" y="393"/>
                    </a:lnTo>
                    <a:lnTo>
                      <a:pt x="45" y="393"/>
                    </a:lnTo>
                    <a:lnTo>
                      <a:pt x="45" y="393"/>
                    </a:lnTo>
                    <a:lnTo>
                      <a:pt x="45" y="393"/>
                    </a:lnTo>
                    <a:lnTo>
                      <a:pt x="40" y="393"/>
                    </a:lnTo>
                    <a:lnTo>
                      <a:pt x="40" y="393"/>
                    </a:lnTo>
                    <a:lnTo>
                      <a:pt x="40" y="393"/>
                    </a:lnTo>
                    <a:lnTo>
                      <a:pt x="40" y="393"/>
                    </a:lnTo>
                    <a:lnTo>
                      <a:pt x="45" y="389"/>
                    </a:lnTo>
                    <a:lnTo>
                      <a:pt x="40" y="389"/>
                    </a:lnTo>
                    <a:lnTo>
                      <a:pt x="40" y="389"/>
                    </a:lnTo>
                    <a:lnTo>
                      <a:pt x="40" y="389"/>
                    </a:lnTo>
                    <a:lnTo>
                      <a:pt x="40" y="389"/>
                    </a:lnTo>
                    <a:lnTo>
                      <a:pt x="36" y="384"/>
                    </a:lnTo>
                    <a:lnTo>
                      <a:pt x="36" y="384"/>
                    </a:lnTo>
                    <a:lnTo>
                      <a:pt x="36" y="384"/>
                    </a:lnTo>
                    <a:lnTo>
                      <a:pt x="36" y="384"/>
                    </a:lnTo>
                    <a:lnTo>
                      <a:pt x="36" y="384"/>
                    </a:lnTo>
                    <a:lnTo>
                      <a:pt x="40" y="380"/>
                    </a:lnTo>
                    <a:lnTo>
                      <a:pt x="40" y="380"/>
                    </a:lnTo>
                    <a:lnTo>
                      <a:pt x="40" y="380"/>
                    </a:lnTo>
                    <a:lnTo>
                      <a:pt x="45" y="375"/>
                    </a:lnTo>
                    <a:lnTo>
                      <a:pt x="49" y="375"/>
                    </a:lnTo>
                    <a:lnTo>
                      <a:pt x="45" y="375"/>
                    </a:lnTo>
                    <a:lnTo>
                      <a:pt x="40" y="380"/>
                    </a:lnTo>
                    <a:lnTo>
                      <a:pt x="40" y="380"/>
                    </a:lnTo>
                    <a:lnTo>
                      <a:pt x="40" y="380"/>
                    </a:lnTo>
                    <a:lnTo>
                      <a:pt x="40" y="375"/>
                    </a:lnTo>
                    <a:lnTo>
                      <a:pt x="36" y="375"/>
                    </a:lnTo>
                    <a:lnTo>
                      <a:pt x="36" y="375"/>
                    </a:lnTo>
                    <a:lnTo>
                      <a:pt x="36" y="375"/>
                    </a:lnTo>
                    <a:lnTo>
                      <a:pt x="36" y="375"/>
                    </a:lnTo>
                    <a:lnTo>
                      <a:pt x="36" y="371"/>
                    </a:lnTo>
                    <a:lnTo>
                      <a:pt x="36" y="371"/>
                    </a:lnTo>
                    <a:lnTo>
                      <a:pt x="36" y="366"/>
                    </a:lnTo>
                    <a:lnTo>
                      <a:pt x="31" y="362"/>
                    </a:lnTo>
                    <a:lnTo>
                      <a:pt x="36" y="362"/>
                    </a:lnTo>
                    <a:lnTo>
                      <a:pt x="36" y="357"/>
                    </a:lnTo>
                    <a:lnTo>
                      <a:pt x="36" y="357"/>
                    </a:lnTo>
                    <a:lnTo>
                      <a:pt x="40" y="357"/>
                    </a:lnTo>
                    <a:lnTo>
                      <a:pt x="45" y="353"/>
                    </a:lnTo>
                    <a:lnTo>
                      <a:pt x="49" y="353"/>
                    </a:lnTo>
                    <a:lnTo>
                      <a:pt x="49" y="353"/>
                    </a:lnTo>
                    <a:lnTo>
                      <a:pt x="54" y="353"/>
                    </a:lnTo>
                    <a:lnTo>
                      <a:pt x="54" y="353"/>
                    </a:lnTo>
                    <a:lnTo>
                      <a:pt x="54" y="353"/>
                    </a:lnTo>
                    <a:lnTo>
                      <a:pt x="49" y="353"/>
                    </a:lnTo>
                    <a:lnTo>
                      <a:pt x="49" y="353"/>
                    </a:lnTo>
                    <a:lnTo>
                      <a:pt x="54" y="353"/>
                    </a:lnTo>
                    <a:lnTo>
                      <a:pt x="54" y="353"/>
                    </a:lnTo>
                    <a:lnTo>
                      <a:pt x="54" y="353"/>
                    </a:lnTo>
                    <a:lnTo>
                      <a:pt x="49" y="353"/>
                    </a:lnTo>
                    <a:lnTo>
                      <a:pt x="45" y="353"/>
                    </a:lnTo>
                    <a:lnTo>
                      <a:pt x="40" y="353"/>
                    </a:lnTo>
                    <a:lnTo>
                      <a:pt x="40" y="353"/>
                    </a:lnTo>
                    <a:lnTo>
                      <a:pt x="36" y="353"/>
                    </a:lnTo>
                    <a:lnTo>
                      <a:pt x="36" y="353"/>
                    </a:lnTo>
                    <a:lnTo>
                      <a:pt x="36" y="353"/>
                    </a:lnTo>
                    <a:lnTo>
                      <a:pt x="36" y="353"/>
                    </a:lnTo>
                    <a:lnTo>
                      <a:pt x="36" y="353"/>
                    </a:lnTo>
                    <a:lnTo>
                      <a:pt x="40" y="348"/>
                    </a:lnTo>
                    <a:lnTo>
                      <a:pt x="45" y="348"/>
                    </a:lnTo>
                    <a:lnTo>
                      <a:pt x="45" y="348"/>
                    </a:lnTo>
                    <a:lnTo>
                      <a:pt x="49" y="344"/>
                    </a:lnTo>
                    <a:lnTo>
                      <a:pt x="49" y="348"/>
                    </a:lnTo>
                    <a:lnTo>
                      <a:pt x="49" y="348"/>
                    </a:lnTo>
                    <a:lnTo>
                      <a:pt x="49" y="344"/>
                    </a:lnTo>
                    <a:lnTo>
                      <a:pt x="49" y="344"/>
                    </a:lnTo>
                    <a:lnTo>
                      <a:pt x="54" y="344"/>
                    </a:lnTo>
                    <a:lnTo>
                      <a:pt x="58" y="344"/>
                    </a:lnTo>
                    <a:lnTo>
                      <a:pt x="58" y="344"/>
                    </a:lnTo>
                    <a:lnTo>
                      <a:pt x="58" y="344"/>
                    </a:lnTo>
                    <a:lnTo>
                      <a:pt x="58" y="348"/>
                    </a:lnTo>
                    <a:lnTo>
                      <a:pt x="58" y="348"/>
                    </a:lnTo>
                    <a:lnTo>
                      <a:pt x="58" y="348"/>
                    </a:lnTo>
                    <a:lnTo>
                      <a:pt x="58" y="348"/>
                    </a:lnTo>
                    <a:lnTo>
                      <a:pt x="63" y="344"/>
                    </a:lnTo>
                    <a:lnTo>
                      <a:pt x="58" y="344"/>
                    </a:lnTo>
                    <a:lnTo>
                      <a:pt x="58" y="344"/>
                    </a:lnTo>
                    <a:lnTo>
                      <a:pt x="58" y="344"/>
                    </a:lnTo>
                    <a:lnTo>
                      <a:pt x="54" y="339"/>
                    </a:lnTo>
                    <a:lnTo>
                      <a:pt x="54" y="339"/>
                    </a:lnTo>
                    <a:lnTo>
                      <a:pt x="58" y="339"/>
                    </a:lnTo>
                    <a:lnTo>
                      <a:pt x="54" y="339"/>
                    </a:lnTo>
                    <a:lnTo>
                      <a:pt x="58" y="335"/>
                    </a:lnTo>
                    <a:lnTo>
                      <a:pt x="58" y="335"/>
                    </a:lnTo>
                    <a:lnTo>
                      <a:pt x="54" y="335"/>
                    </a:lnTo>
                    <a:lnTo>
                      <a:pt x="54" y="335"/>
                    </a:lnTo>
                    <a:lnTo>
                      <a:pt x="54" y="339"/>
                    </a:lnTo>
                    <a:lnTo>
                      <a:pt x="54" y="339"/>
                    </a:lnTo>
                    <a:lnTo>
                      <a:pt x="54" y="344"/>
                    </a:lnTo>
                    <a:lnTo>
                      <a:pt x="54" y="344"/>
                    </a:lnTo>
                    <a:lnTo>
                      <a:pt x="49" y="344"/>
                    </a:lnTo>
                    <a:lnTo>
                      <a:pt x="49" y="344"/>
                    </a:lnTo>
                    <a:lnTo>
                      <a:pt x="45" y="344"/>
                    </a:lnTo>
                    <a:lnTo>
                      <a:pt x="49" y="344"/>
                    </a:lnTo>
                    <a:lnTo>
                      <a:pt x="49" y="344"/>
                    </a:lnTo>
                    <a:lnTo>
                      <a:pt x="49" y="344"/>
                    </a:lnTo>
                    <a:lnTo>
                      <a:pt x="45" y="344"/>
                    </a:lnTo>
                    <a:lnTo>
                      <a:pt x="45" y="344"/>
                    </a:lnTo>
                    <a:lnTo>
                      <a:pt x="45" y="348"/>
                    </a:lnTo>
                    <a:lnTo>
                      <a:pt x="40" y="348"/>
                    </a:lnTo>
                    <a:lnTo>
                      <a:pt x="36" y="353"/>
                    </a:lnTo>
                    <a:lnTo>
                      <a:pt x="36" y="353"/>
                    </a:lnTo>
                    <a:lnTo>
                      <a:pt x="36" y="353"/>
                    </a:lnTo>
                    <a:lnTo>
                      <a:pt x="31" y="353"/>
                    </a:lnTo>
                    <a:lnTo>
                      <a:pt x="36" y="348"/>
                    </a:lnTo>
                    <a:lnTo>
                      <a:pt x="36" y="348"/>
                    </a:lnTo>
                    <a:lnTo>
                      <a:pt x="36" y="344"/>
                    </a:lnTo>
                    <a:lnTo>
                      <a:pt x="36" y="344"/>
                    </a:lnTo>
                    <a:lnTo>
                      <a:pt x="36" y="339"/>
                    </a:lnTo>
                    <a:lnTo>
                      <a:pt x="40" y="335"/>
                    </a:lnTo>
                    <a:lnTo>
                      <a:pt x="40" y="335"/>
                    </a:lnTo>
                    <a:lnTo>
                      <a:pt x="36" y="335"/>
                    </a:lnTo>
                    <a:lnTo>
                      <a:pt x="40" y="335"/>
                    </a:lnTo>
                    <a:lnTo>
                      <a:pt x="40" y="330"/>
                    </a:lnTo>
                    <a:lnTo>
                      <a:pt x="40" y="330"/>
                    </a:lnTo>
                    <a:lnTo>
                      <a:pt x="40" y="330"/>
                    </a:lnTo>
                    <a:lnTo>
                      <a:pt x="40" y="330"/>
                    </a:lnTo>
                    <a:lnTo>
                      <a:pt x="45" y="330"/>
                    </a:lnTo>
                    <a:lnTo>
                      <a:pt x="49" y="326"/>
                    </a:lnTo>
                    <a:lnTo>
                      <a:pt x="54" y="326"/>
                    </a:lnTo>
                    <a:lnTo>
                      <a:pt x="54" y="326"/>
                    </a:lnTo>
                    <a:lnTo>
                      <a:pt x="58" y="326"/>
                    </a:lnTo>
                    <a:lnTo>
                      <a:pt x="58" y="326"/>
                    </a:lnTo>
                    <a:lnTo>
                      <a:pt x="58" y="326"/>
                    </a:lnTo>
                    <a:lnTo>
                      <a:pt x="58" y="321"/>
                    </a:lnTo>
                    <a:lnTo>
                      <a:pt x="58" y="321"/>
                    </a:lnTo>
                    <a:lnTo>
                      <a:pt x="54" y="326"/>
                    </a:lnTo>
                    <a:lnTo>
                      <a:pt x="49" y="326"/>
                    </a:lnTo>
                    <a:lnTo>
                      <a:pt x="49" y="326"/>
                    </a:lnTo>
                    <a:lnTo>
                      <a:pt x="45" y="326"/>
                    </a:lnTo>
                    <a:lnTo>
                      <a:pt x="40" y="330"/>
                    </a:lnTo>
                    <a:lnTo>
                      <a:pt x="40" y="330"/>
                    </a:lnTo>
                    <a:lnTo>
                      <a:pt x="40" y="326"/>
                    </a:lnTo>
                    <a:lnTo>
                      <a:pt x="36" y="326"/>
                    </a:lnTo>
                    <a:lnTo>
                      <a:pt x="31" y="326"/>
                    </a:lnTo>
                    <a:lnTo>
                      <a:pt x="31" y="326"/>
                    </a:lnTo>
                    <a:lnTo>
                      <a:pt x="36" y="321"/>
                    </a:lnTo>
                    <a:lnTo>
                      <a:pt x="40" y="317"/>
                    </a:lnTo>
                    <a:lnTo>
                      <a:pt x="36" y="317"/>
                    </a:lnTo>
                    <a:lnTo>
                      <a:pt x="36" y="317"/>
                    </a:lnTo>
                    <a:lnTo>
                      <a:pt x="36" y="317"/>
                    </a:lnTo>
                    <a:lnTo>
                      <a:pt x="36" y="317"/>
                    </a:lnTo>
                    <a:lnTo>
                      <a:pt x="36" y="317"/>
                    </a:lnTo>
                    <a:lnTo>
                      <a:pt x="40" y="317"/>
                    </a:lnTo>
                    <a:lnTo>
                      <a:pt x="49" y="312"/>
                    </a:lnTo>
                    <a:lnTo>
                      <a:pt x="54" y="312"/>
                    </a:lnTo>
                    <a:lnTo>
                      <a:pt x="54" y="312"/>
                    </a:lnTo>
                    <a:lnTo>
                      <a:pt x="58" y="308"/>
                    </a:lnTo>
                    <a:lnTo>
                      <a:pt x="58" y="308"/>
                    </a:lnTo>
                    <a:lnTo>
                      <a:pt x="58" y="308"/>
                    </a:lnTo>
                    <a:lnTo>
                      <a:pt x="63" y="308"/>
                    </a:lnTo>
                    <a:lnTo>
                      <a:pt x="63" y="308"/>
                    </a:lnTo>
                    <a:lnTo>
                      <a:pt x="67" y="308"/>
                    </a:lnTo>
                    <a:lnTo>
                      <a:pt x="72" y="303"/>
                    </a:lnTo>
                    <a:lnTo>
                      <a:pt x="72" y="303"/>
                    </a:lnTo>
                    <a:lnTo>
                      <a:pt x="72" y="303"/>
                    </a:lnTo>
                    <a:lnTo>
                      <a:pt x="67" y="303"/>
                    </a:lnTo>
                    <a:lnTo>
                      <a:pt x="63" y="303"/>
                    </a:lnTo>
                    <a:lnTo>
                      <a:pt x="63" y="308"/>
                    </a:lnTo>
                    <a:lnTo>
                      <a:pt x="54" y="312"/>
                    </a:lnTo>
                    <a:lnTo>
                      <a:pt x="49" y="312"/>
                    </a:lnTo>
                    <a:lnTo>
                      <a:pt x="45" y="312"/>
                    </a:lnTo>
                    <a:lnTo>
                      <a:pt x="45" y="312"/>
                    </a:lnTo>
                    <a:lnTo>
                      <a:pt x="40" y="317"/>
                    </a:lnTo>
                    <a:lnTo>
                      <a:pt x="40" y="317"/>
                    </a:lnTo>
                    <a:lnTo>
                      <a:pt x="36" y="317"/>
                    </a:lnTo>
                    <a:lnTo>
                      <a:pt x="36" y="317"/>
                    </a:lnTo>
                    <a:lnTo>
                      <a:pt x="36" y="317"/>
                    </a:lnTo>
                    <a:lnTo>
                      <a:pt x="36" y="312"/>
                    </a:lnTo>
                    <a:lnTo>
                      <a:pt x="36" y="312"/>
                    </a:lnTo>
                    <a:lnTo>
                      <a:pt x="36" y="312"/>
                    </a:lnTo>
                    <a:lnTo>
                      <a:pt x="40" y="308"/>
                    </a:lnTo>
                    <a:lnTo>
                      <a:pt x="40" y="308"/>
                    </a:lnTo>
                    <a:lnTo>
                      <a:pt x="40" y="308"/>
                    </a:lnTo>
                    <a:lnTo>
                      <a:pt x="40" y="308"/>
                    </a:lnTo>
                    <a:lnTo>
                      <a:pt x="45" y="303"/>
                    </a:lnTo>
                    <a:lnTo>
                      <a:pt x="45" y="303"/>
                    </a:lnTo>
                    <a:lnTo>
                      <a:pt x="49" y="303"/>
                    </a:lnTo>
                    <a:lnTo>
                      <a:pt x="54" y="303"/>
                    </a:lnTo>
                    <a:lnTo>
                      <a:pt x="54" y="303"/>
                    </a:lnTo>
                    <a:lnTo>
                      <a:pt x="58" y="303"/>
                    </a:lnTo>
                    <a:lnTo>
                      <a:pt x="58" y="303"/>
                    </a:lnTo>
                    <a:lnTo>
                      <a:pt x="58" y="303"/>
                    </a:lnTo>
                    <a:lnTo>
                      <a:pt x="54" y="303"/>
                    </a:lnTo>
                    <a:lnTo>
                      <a:pt x="49" y="303"/>
                    </a:lnTo>
                    <a:lnTo>
                      <a:pt x="49" y="303"/>
                    </a:lnTo>
                    <a:lnTo>
                      <a:pt x="45" y="303"/>
                    </a:lnTo>
                    <a:lnTo>
                      <a:pt x="45" y="303"/>
                    </a:lnTo>
                    <a:lnTo>
                      <a:pt x="45" y="298"/>
                    </a:lnTo>
                    <a:lnTo>
                      <a:pt x="45" y="298"/>
                    </a:lnTo>
                    <a:lnTo>
                      <a:pt x="40" y="298"/>
                    </a:lnTo>
                    <a:lnTo>
                      <a:pt x="45" y="294"/>
                    </a:lnTo>
                    <a:lnTo>
                      <a:pt x="45" y="289"/>
                    </a:lnTo>
                    <a:lnTo>
                      <a:pt x="49" y="289"/>
                    </a:lnTo>
                    <a:lnTo>
                      <a:pt x="54" y="289"/>
                    </a:lnTo>
                    <a:lnTo>
                      <a:pt x="54" y="289"/>
                    </a:lnTo>
                    <a:lnTo>
                      <a:pt x="58" y="285"/>
                    </a:lnTo>
                    <a:lnTo>
                      <a:pt x="63" y="285"/>
                    </a:lnTo>
                    <a:lnTo>
                      <a:pt x="67" y="285"/>
                    </a:lnTo>
                    <a:lnTo>
                      <a:pt x="67" y="285"/>
                    </a:lnTo>
                    <a:lnTo>
                      <a:pt x="72" y="289"/>
                    </a:lnTo>
                    <a:lnTo>
                      <a:pt x="72" y="289"/>
                    </a:lnTo>
                    <a:lnTo>
                      <a:pt x="76" y="289"/>
                    </a:lnTo>
                    <a:lnTo>
                      <a:pt x="81" y="289"/>
                    </a:lnTo>
                    <a:lnTo>
                      <a:pt x="85" y="289"/>
                    </a:lnTo>
                    <a:lnTo>
                      <a:pt x="85" y="289"/>
                    </a:lnTo>
                    <a:lnTo>
                      <a:pt x="85" y="289"/>
                    </a:lnTo>
                    <a:lnTo>
                      <a:pt x="81" y="289"/>
                    </a:lnTo>
                    <a:lnTo>
                      <a:pt x="81" y="289"/>
                    </a:lnTo>
                    <a:lnTo>
                      <a:pt x="81" y="285"/>
                    </a:lnTo>
                    <a:lnTo>
                      <a:pt x="85" y="285"/>
                    </a:lnTo>
                    <a:lnTo>
                      <a:pt x="85" y="285"/>
                    </a:lnTo>
                    <a:lnTo>
                      <a:pt x="81" y="285"/>
                    </a:lnTo>
                    <a:lnTo>
                      <a:pt x="76" y="285"/>
                    </a:lnTo>
                    <a:lnTo>
                      <a:pt x="72" y="285"/>
                    </a:lnTo>
                    <a:lnTo>
                      <a:pt x="72" y="285"/>
                    </a:lnTo>
                    <a:lnTo>
                      <a:pt x="72" y="285"/>
                    </a:lnTo>
                    <a:lnTo>
                      <a:pt x="67" y="285"/>
                    </a:lnTo>
                    <a:lnTo>
                      <a:pt x="67" y="285"/>
                    </a:lnTo>
                    <a:lnTo>
                      <a:pt x="63" y="285"/>
                    </a:lnTo>
                    <a:lnTo>
                      <a:pt x="63" y="285"/>
                    </a:lnTo>
                    <a:lnTo>
                      <a:pt x="58" y="285"/>
                    </a:lnTo>
                    <a:lnTo>
                      <a:pt x="54" y="289"/>
                    </a:lnTo>
                    <a:lnTo>
                      <a:pt x="49" y="289"/>
                    </a:lnTo>
                    <a:lnTo>
                      <a:pt x="49" y="289"/>
                    </a:lnTo>
                    <a:lnTo>
                      <a:pt x="49" y="285"/>
                    </a:lnTo>
                    <a:lnTo>
                      <a:pt x="54" y="285"/>
                    </a:lnTo>
                    <a:lnTo>
                      <a:pt x="54" y="285"/>
                    </a:lnTo>
                    <a:lnTo>
                      <a:pt x="54" y="285"/>
                    </a:lnTo>
                    <a:lnTo>
                      <a:pt x="58" y="280"/>
                    </a:lnTo>
                    <a:lnTo>
                      <a:pt x="63" y="280"/>
                    </a:lnTo>
                    <a:lnTo>
                      <a:pt x="63" y="276"/>
                    </a:lnTo>
                    <a:lnTo>
                      <a:pt x="63" y="276"/>
                    </a:lnTo>
                    <a:lnTo>
                      <a:pt x="67" y="276"/>
                    </a:lnTo>
                    <a:lnTo>
                      <a:pt x="72" y="280"/>
                    </a:lnTo>
                    <a:lnTo>
                      <a:pt x="76" y="280"/>
                    </a:lnTo>
                    <a:lnTo>
                      <a:pt x="76" y="280"/>
                    </a:lnTo>
                    <a:lnTo>
                      <a:pt x="81" y="280"/>
                    </a:lnTo>
                    <a:lnTo>
                      <a:pt x="81" y="280"/>
                    </a:lnTo>
                    <a:lnTo>
                      <a:pt x="81" y="280"/>
                    </a:lnTo>
                    <a:lnTo>
                      <a:pt x="81" y="280"/>
                    </a:lnTo>
                    <a:lnTo>
                      <a:pt x="81" y="280"/>
                    </a:lnTo>
                    <a:lnTo>
                      <a:pt x="85" y="280"/>
                    </a:lnTo>
                    <a:lnTo>
                      <a:pt x="85" y="276"/>
                    </a:lnTo>
                    <a:lnTo>
                      <a:pt x="85" y="276"/>
                    </a:lnTo>
                    <a:lnTo>
                      <a:pt x="90" y="276"/>
                    </a:lnTo>
                    <a:lnTo>
                      <a:pt x="90" y="276"/>
                    </a:lnTo>
                    <a:lnTo>
                      <a:pt x="85" y="276"/>
                    </a:lnTo>
                    <a:lnTo>
                      <a:pt x="85" y="276"/>
                    </a:lnTo>
                    <a:lnTo>
                      <a:pt x="85" y="276"/>
                    </a:lnTo>
                    <a:lnTo>
                      <a:pt x="85" y="276"/>
                    </a:lnTo>
                    <a:lnTo>
                      <a:pt x="81" y="276"/>
                    </a:lnTo>
                    <a:lnTo>
                      <a:pt x="81" y="276"/>
                    </a:lnTo>
                    <a:lnTo>
                      <a:pt x="76" y="276"/>
                    </a:lnTo>
                    <a:lnTo>
                      <a:pt x="72" y="276"/>
                    </a:lnTo>
                    <a:lnTo>
                      <a:pt x="67" y="276"/>
                    </a:lnTo>
                    <a:lnTo>
                      <a:pt x="67" y="276"/>
                    </a:lnTo>
                    <a:lnTo>
                      <a:pt x="67" y="276"/>
                    </a:lnTo>
                    <a:lnTo>
                      <a:pt x="63" y="276"/>
                    </a:lnTo>
                    <a:lnTo>
                      <a:pt x="63" y="276"/>
                    </a:lnTo>
                    <a:lnTo>
                      <a:pt x="63" y="276"/>
                    </a:lnTo>
                    <a:lnTo>
                      <a:pt x="63" y="276"/>
                    </a:lnTo>
                    <a:lnTo>
                      <a:pt x="63" y="271"/>
                    </a:lnTo>
                    <a:lnTo>
                      <a:pt x="67" y="271"/>
                    </a:lnTo>
                    <a:lnTo>
                      <a:pt x="72" y="271"/>
                    </a:lnTo>
                    <a:lnTo>
                      <a:pt x="76" y="267"/>
                    </a:lnTo>
                    <a:lnTo>
                      <a:pt x="76" y="267"/>
                    </a:lnTo>
                    <a:lnTo>
                      <a:pt x="81" y="271"/>
                    </a:lnTo>
                    <a:lnTo>
                      <a:pt x="85" y="271"/>
                    </a:lnTo>
                    <a:lnTo>
                      <a:pt x="85" y="271"/>
                    </a:lnTo>
                    <a:lnTo>
                      <a:pt x="90" y="271"/>
                    </a:lnTo>
                    <a:lnTo>
                      <a:pt x="90" y="271"/>
                    </a:lnTo>
                    <a:lnTo>
                      <a:pt x="94" y="271"/>
                    </a:lnTo>
                    <a:lnTo>
                      <a:pt x="94" y="267"/>
                    </a:lnTo>
                    <a:lnTo>
                      <a:pt x="99" y="267"/>
                    </a:lnTo>
                    <a:lnTo>
                      <a:pt x="94" y="267"/>
                    </a:lnTo>
                    <a:lnTo>
                      <a:pt x="90" y="267"/>
                    </a:lnTo>
                    <a:lnTo>
                      <a:pt x="90" y="267"/>
                    </a:lnTo>
                    <a:lnTo>
                      <a:pt x="94" y="267"/>
                    </a:lnTo>
                    <a:lnTo>
                      <a:pt x="94" y="262"/>
                    </a:lnTo>
                    <a:lnTo>
                      <a:pt x="99" y="262"/>
                    </a:lnTo>
                    <a:lnTo>
                      <a:pt x="99" y="262"/>
                    </a:lnTo>
                    <a:lnTo>
                      <a:pt x="103" y="262"/>
                    </a:lnTo>
                    <a:lnTo>
                      <a:pt x="108" y="262"/>
                    </a:lnTo>
                    <a:lnTo>
                      <a:pt x="108" y="262"/>
                    </a:lnTo>
                    <a:lnTo>
                      <a:pt x="103" y="262"/>
                    </a:lnTo>
                    <a:lnTo>
                      <a:pt x="103" y="258"/>
                    </a:lnTo>
                    <a:lnTo>
                      <a:pt x="103" y="258"/>
                    </a:lnTo>
                    <a:lnTo>
                      <a:pt x="99" y="262"/>
                    </a:lnTo>
                    <a:lnTo>
                      <a:pt x="99" y="258"/>
                    </a:lnTo>
                    <a:lnTo>
                      <a:pt x="99" y="258"/>
                    </a:lnTo>
                    <a:lnTo>
                      <a:pt x="103" y="258"/>
                    </a:lnTo>
                    <a:lnTo>
                      <a:pt x="103" y="253"/>
                    </a:lnTo>
                    <a:lnTo>
                      <a:pt x="103" y="253"/>
                    </a:lnTo>
                    <a:lnTo>
                      <a:pt x="108" y="253"/>
                    </a:lnTo>
                    <a:lnTo>
                      <a:pt x="108" y="249"/>
                    </a:lnTo>
                    <a:lnTo>
                      <a:pt x="112" y="249"/>
                    </a:lnTo>
                    <a:lnTo>
                      <a:pt x="112" y="249"/>
                    </a:lnTo>
                    <a:lnTo>
                      <a:pt x="112" y="249"/>
                    </a:lnTo>
                    <a:lnTo>
                      <a:pt x="112" y="249"/>
                    </a:lnTo>
                    <a:lnTo>
                      <a:pt x="112" y="244"/>
                    </a:lnTo>
                    <a:lnTo>
                      <a:pt x="117" y="244"/>
                    </a:lnTo>
                    <a:lnTo>
                      <a:pt x="117" y="244"/>
                    </a:lnTo>
                    <a:lnTo>
                      <a:pt x="117" y="244"/>
                    </a:lnTo>
                    <a:lnTo>
                      <a:pt x="117" y="244"/>
                    </a:lnTo>
                    <a:lnTo>
                      <a:pt x="112" y="244"/>
                    </a:lnTo>
                    <a:lnTo>
                      <a:pt x="112" y="244"/>
                    </a:lnTo>
                    <a:lnTo>
                      <a:pt x="108" y="244"/>
                    </a:lnTo>
                    <a:lnTo>
                      <a:pt x="108" y="244"/>
                    </a:lnTo>
                    <a:lnTo>
                      <a:pt x="108" y="244"/>
                    </a:lnTo>
                    <a:lnTo>
                      <a:pt x="103" y="244"/>
                    </a:lnTo>
                    <a:lnTo>
                      <a:pt x="103" y="244"/>
                    </a:lnTo>
                    <a:lnTo>
                      <a:pt x="103" y="244"/>
                    </a:lnTo>
                    <a:lnTo>
                      <a:pt x="94" y="244"/>
                    </a:lnTo>
                    <a:lnTo>
                      <a:pt x="94" y="244"/>
                    </a:lnTo>
                    <a:lnTo>
                      <a:pt x="94" y="240"/>
                    </a:lnTo>
                    <a:lnTo>
                      <a:pt x="90" y="240"/>
                    </a:lnTo>
                    <a:lnTo>
                      <a:pt x="90" y="240"/>
                    </a:lnTo>
                    <a:lnTo>
                      <a:pt x="85" y="240"/>
                    </a:lnTo>
                    <a:lnTo>
                      <a:pt x="81" y="235"/>
                    </a:lnTo>
                    <a:lnTo>
                      <a:pt x="81" y="235"/>
                    </a:lnTo>
                    <a:lnTo>
                      <a:pt x="81" y="235"/>
                    </a:lnTo>
                    <a:lnTo>
                      <a:pt x="76" y="235"/>
                    </a:lnTo>
                    <a:lnTo>
                      <a:pt x="76" y="231"/>
                    </a:lnTo>
                    <a:lnTo>
                      <a:pt x="76" y="231"/>
                    </a:lnTo>
                    <a:lnTo>
                      <a:pt x="81" y="231"/>
                    </a:lnTo>
                    <a:lnTo>
                      <a:pt x="81" y="231"/>
                    </a:lnTo>
                    <a:lnTo>
                      <a:pt x="81" y="231"/>
                    </a:lnTo>
                    <a:lnTo>
                      <a:pt x="85" y="231"/>
                    </a:lnTo>
                    <a:lnTo>
                      <a:pt x="90" y="231"/>
                    </a:lnTo>
                    <a:lnTo>
                      <a:pt x="90" y="231"/>
                    </a:lnTo>
                    <a:lnTo>
                      <a:pt x="90" y="231"/>
                    </a:lnTo>
                    <a:lnTo>
                      <a:pt x="94" y="231"/>
                    </a:lnTo>
                    <a:lnTo>
                      <a:pt x="99" y="231"/>
                    </a:lnTo>
                    <a:lnTo>
                      <a:pt x="99" y="231"/>
                    </a:lnTo>
                    <a:lnTo>
                      <a:pt x="99" y="231"/>
                    </a:lnTo>
                    <a:lnTo>
                      <a:pt x="103" y="235"/>
                    </a:lnTo>
                    <a:lnTo>
                      <a:pt x="108" y="235"/>
                    </a:lnTo>
                    <a:lnTo>
                      <a:pt x="108" y="235"/>
                    </a:lnTo>
                    <a:lnTo>
                      <a:pt x="112" y="240"/>
                    </a:lnTo>
                    <a:lnTo>
                      <a:pt x="112" y="240"/>
                    </a:lnTo>
                    <a:lnTo>
                      <a:pt x="117" y="240"/>
                    </a:lnTo>
                    <a:lnTo>
                      <a:pt x="117" y="240"/>
                    </a:lnTo>
                    <a:lnTo>
                      <a:pt x="117" y="240"/>
                    </a:lnTo>
                    <a:lnTo>
                      <a:pt x="112" y="235"/>
                    </a:lnTo>
                    <a:lnTo>
                      <a:pt x="112" y="235"/>
                    </a:lnTo>
                    <a:lnTo>
                      <a:pt x="112" y="235"/>
                    </a:lnTo>
                    <a:lnTo>
                      <a:pt x="112" y="231"/>
                    </a:lnTo>
                    <a:lnTo>
                      <a:pt x="112" y="231"/>
                    </a:lnTo>
                    <a:lnTo>
                      <a:pt x="112" y="231"/>
                    </a:lnTo>
                    <a:lnTo>
                      <a:pt x="117" y="231"/>
                    </a:lnTo>
                    <a:lnTo>
                      <a:pt x="112" y="231"/>
                    </a:lnTo>
                    <a:lnTo>
                      <a:pt x="112" y="226"/>
                    </a:lnTo>
                    <a:lnTo>
                      <a:pt x="112" y="226"/>
                    </a:lnTo>
                    <a:lnTo>
                      <a:pt x="112" y="226"/>
                    </a:lnTo>
                    <a:lnTo>
                      <a:pt x="112" y="226"/>
                    </a:lnTo>
                    <a:lnTo>
                      <a:pt x="112" y="226"/>
                    </a:lnTo>
                    <a:lnTo>
                      <a:pt x="117" y="226"/>
                    </a:lnTo>
                    <a:lnTo>
                      <a:pt x="117" y="226"/>
                    </a:lnTo>
                    <a:lnTo>
                      <a:pt x="121" y="226"/>
                    </a:lnTo>
                    <a:lnTo>
                      <a:pt x="121" y="226"/>
                    </a:lnTo>
                    <a:lnTo>
                      <a:pt x="117" y="226"/>
                    </a:lnTo>
                    <a:lnTo>
                      <a:pt x="117" y="226"/>
                    </a:lnTo>
                    <a:lnTo>
                      <a:pt x="112" y="226"/>
                    </a:lnTo>
                    <a:lnTo>
                      <a:pt x="108" y="226"/>
                    </a:lnTo>
                    <a:lnTo>
                      <a:pt x="108" y="222"/>
                    </a:lnTo>
                    <a:lnTo>
                      <a:pt x="108" y="222"/>
                    </a:lnTo>
                    <a:lnTo>
                      <a:pt x="103" y="222"/>
                    </a:lnTo>
                    <a:lnTo>
                      <a:pt x="103" y="222"/>
                    </a:lnTo>
                    <a:lnTo>
                      <a:pt x="99" y="222"/>
                    </a:lnTo>
                    <a:lnTo>
                      <a:pt x="99" y="222"/>
                    </a:lnTo>
                    <a:lnTo>
                      <a:pt x="99" y="222"/>
                    </a:lnTo>
                    <a:lnTo>
                      <a:pt x="103" y="222"/>
                    </a:lnTo>
                    <a:lnTo>
                      <a:pt x="103" y="217"/>
                    </a:lnTo>
                    <a:lnTo>
                      <a:pt x="103" y="217"/>
                    </a:lnTo>
                    <a:lnTo>
                      <a:pt x="103" y="217"/>
                    </a:lnTo>
                    <a:lnTo>
                      <a:pt x="108" y="217"/>
                    </a:lnTo>
                    <a:lnTo>
                      <a:pt x="117" y="217"/>
                    </a:lnTo>
                    <a:lnTo>
                      <a:pt x="121" y="213"/>
                    </a:lnTo>
                    <a:lnTo>
                      <a:pt x="121" y="213"/>
                    </a:lnTo>
                    <a:lnTo>
                      <a:pt x="117" y="213"/>
                    </a:lnTo>
                    <a:lnTo>
                      <a:pt x="117" y="213"/>
                    </a:lnTo>
                    <a:lnTo>
                      <a:pt x="112" y="217"/>
                    </a:lnTo>
                    <a:lnTo>
                      <a:pt x="108" y="213"/>
                    </a:lnTo>
                    <a:lnTo>
                      <a:pt x="108" y="213"/>
                    </a:lnTo>
                    <a:lnTo>
                      <a:pt x="108" y="217"/>
                    </a:lnTo>
                    <a:lnTo>
                      <a:pt x="103" y="217"/>
                    </a:lnTo>
                    <a:lnTo>
                      <a:pt x="103" y="217"/>
                    </a:lnTo>
                    <a:lnTo>
                      <a:pt x="99" y="217"/>
                    </a:lnTo>
                    <a:lnTo>
                      <a:pt x="99" y="213"/>
                    </a:lnTo>
                    <a:lnTo>
                      <a:pt x="99" y="213"/>
                    </a:lnTo>
                    <a:lnTo>
                      <a:pt x="103" y="213"/>
                    </a:lnTo>
                    <a:lnTo>
                      <a:pt x="103" y="213"/>
                    </a:lnTo>
                    <a:lnTo>
                      <a:pt x="108" y="213"/>
                    </a:lnTo>
                    <a:lnTo>
                      <a:pt x="108" y="213"/>
                    </a:lnTo>
                    <a:lnTo>
                      <a:pt x="103" y="213"/>
                    </a:lnTo>
                    <a:lnTo>
                      <a:pt x="103" y="213"/>
                    </a:lnTo>
                    <a:lnTo>
                      <a:pt x="103" y="208"/>
                    </a:lnTo>
                    <a:lnTo>
                      <a:pt x="103" y="208"/>
                    </a:lnTo>
                    <a:lnTo>
                      <a:pt x="103" y="208"/>
                    </a:lnTo>
                    <a:lnTo>
                      <a:pt x="103" y="204"/>
                    </a:lnTo>
                    <a:lnTo>
                      <a:pt x="103" y="204"/>
                    </a:lnTo>
                    <a:lnTo>
                      <a:pt x="103" y="204"/>
                    </a:lnTo>
                    <a:lnTo>
                      <a:pt x="103" y="204"/>
                    </a:lnTo>
                    <a:lnTo>
                      <a:pt x="108" y="204"/>
                    </a:lnTo>
                    <a:lnTo>
                      <a:pt x="108" y="199"/>
                    </a:lnTo>
                    <a:lnTo>
                      <a:pt x="108" y="199"/>
                    </a:lnTo>
                    <a:lnTo>
                      <a:pt x="103" y="199"/>
                    </a:lnTo>
                    <a:lnTo>
                      <a:pt x="103" y="204"/>
                    </a:lnTo>
                    <a:lnTo>
                      <a:pt x="103" y="204"/>
                    </a:lnTo>
                    <a:lnTo>
                      <a:pt x="103" y="204"/>
                    </a:lnTo>
                    <a:lnTo>
                      <a:pt x="103" y="204"/>
                    </a:lnTo>
                    <a:lnTo>
                      <a:pt x="103" y="204"/>
                    </a:lnTo>
                    <a:lnTo>
                      <a:pt x="103" y="208"/>
                    </a:lnTo>
                    <a:lnTo>
                      <a:pt x="103" y="208"/>
                    </a:lnTo>
                    <a:lnTo>
                      <a:pt x="103" y="208"/>
                    </a:lnTo>
                    <a:lnTo>
                      <a:pt x="103" y="208"/>
                    </a:lnTo>
                    <a:lnTo>
                      <a:pt x="103" y="208"/>
                    </a:lnTo>
                    <a:lnTo>
                      <a:pt x="103" y="213"/>
                    </a:lnTo>
                    <a:lnTo>
                      <a:pt x="99" y="213"/>
                    </a:lnTo>
                    <a:lnTo>
                      <a:pt x="99" y="213"/>
                    </a:lnTo>
                    <a:lnTo>
                      <a:pt x="99" y="213"/>
                    </a:lnTo>
                    <a:lnTo>
                      <a:pt x="94" y="213"/>
                    </a:lnTo>
                    <a:lnTo>
                      <a:pt x="94" y="213"/>
                    </a:lnTo>
                    <a:lnTo>
                      <a:pt x="94" y="213"/>
                    </a:lnTo>
                    <a:lnTo>
                      <a:pt x="94" y="213"/>
                    </a:lnTo>
                    <a:lnTo>
                      <a:pt x="94" y="217"/>
                    </a:lnTo>
                    <a:lnTo>
                      <a:pt x="94" y="217"/>
                    </a:lnTo>
                    <a:lnTo>
                      <a:pt x="90" y="217"/>
                    </a:lnTo>
                    <a:lnTo>
                      <a:pt x="90" y="217"/>
                    </a:lnTo>
                    <a:lnTo>
                      <a:pt x="90" y="217"/>
                    </a:lnTo>
                    <a:lnTo>
                      <a:pt x="85" y="217"/>
                    </a:lnTo>
                    <a:lnTo>
                      <a:pt x="81" y="217"/>
                    </a:lnTo>
                    <a:lnTo>
                      <a:pt x="81" y="217"/>
                    </a:lnTo>
                    <a:lnTo>
                      <a:pt x="76" y="217"/>
                    </a:lnTo>
                    <a:lnTo>
                      <a:pt x="76" y="217"/>
                    </a:lnTo>
                    <a:lnTo>
                      <a:pt x="76" y="213"/>
                    </a:lnTo>
                    <a:lnTo>
                      <a:pt x="76" y="213"/>
                    </a:lnTo>
                    <a:lnTo>
                      <a:pt x="76" y="213"/>
                    </a:lnTo>
                    <a:lnTo>
                      <a:pt x="76" y="213"/>
                    </a:lnTo>
                    <a:lnTo>
                      <a:pt x="81" y="213"/>
                    </a:lnTo>
                    <a:lnTo>
                      <a:pt x="85" y="208"/>
                    </a:lnTo>
                    <a:lnTo>
                      <a:pt x="85" y="204"/>
                    </a:lnTo>
                    <a:lnTo>
                      <a:pt x="94" y="204"/>
                    </a:lnTo>
                    <a:lnTo>
                      <a:pt x="94" y="199"/>
                    </a:lnTo>
                    <a:lnTo>
                      <a:pt x="94" y="199"/>
                    </a:lnTo>
                    <a:lnTo>
                      <a:pt x="94" y="199"/>
                    </a:lnTo>
                    <a:lnTo>
                      <a:pt x="94" y="199"/>
                    </a:lnTo>
                    <a:lnTo>
                      <a:pt x="90" y="204"/>
                    </a:lnTo>
                    <a:lnTo>
                      <a:pt x="85" y="204"/>
                    </a:lnTo>
                    <a:lnTo>
                      <a:pt x="85" y="204"/>
                    </a:lnTo>
                    <a:lnTo>
                      <a:pt x="85" y="199"/>
                    </a:lnTo>
                    <a:lnTo>
                      <a:pt x="85" y="199"/>
                    </a:lnTo>
                    <a:lnTo>
                      <a:pt x="90" y="199"/>
                    </a:lnTo>
                    <a:lnTo>
                      <a:pt x="90" y="199"/>
                    </a:lnTo>
                    <a:lnTo>
                      <a:pt x="90" y="199"/>
                    </a:lnTo>
                    <a:lnTo>
                      <a:pt x="90" y="199"/>
                    </a:lnTo>
                    <a:lnTo>
                      <a:pt x="90" y="199"/>
                    </a:lnTo>
                    <a:lnTo>
                      <a:pt x="90" y="199"/>
                    </a:lnTo>
                    <a:lnTo>
                      <a:pt x="94" y="199"/>
                    </a:lnTo>
                    <a:lnTo>
                      <a:pt x="94" y="199"/>
                    </a:lnTo>
                    <a:lnTo>
                      <a:pt x="99" y="194"/>
                    </a:lnTo>
                    <a:lnTo>
                      <a:pt x="99" y="194"/>
                    </a:lnTo>
                    <a:lnTo>
                      <a:pt x="99" y="194"/>
                    </a:lnTo>
                    <a:lnTo>
                      <a:pt x="99" y="194"/>
                    </a:lnTo>
                    <a:lnTo>
                      <a:pt x="103" y="194"/>
                    </a:lnTo>
                    <a:lnTo>
                      <a:pt x="103" y="190"/>
                    </a:lnTo>
                    <a:lnTo>
                      <a:pt x="103" y="190"/>
                    </a:lnTo>
                    <a:lnTo>
                      <a:pt x="103" y="190"/>
                    </a:lnTo>
                    <a:lnTo>
                      <a:pt x="103" y="190"/>
                    </a:lnTo>
                    <a:lnTo>
                      <a:pt x="99" y="190"/>
                    </a:lnTo>
                    <a:lnTo>
                      <a:pt x="99" y="190"/>
                    </a:lnTo>
                    <a:lnTo>
                      <a:pt x="99" y="190"/>
                    </a:lnTo>
                    <a:lnTo>
                      <a:pt x="99" y="190"/>
                    </a:lnTo>
                    <a:lnTo>
                      <a:pt x="99" y="190"/>
                    </a:lnTo>
                    <a:lnTo>
                      <a:pt x="94" y="190"/>
                    </a:lnTo>
                    <a:lnTo>
                      <a:pt x="94" y="190"/>
                    </a:lnTo>
                    <a:lnTo>
                      <a:pt x="94" y="190"/>
                    </a:lnTo>
                    <a:lnTo>
                      <a:pt x="94" y="190"/>
                    </a:lnTo>
                    <a:lnTo>
                      <a:pt x="94" y="185"/>
                    </a:lnTo>
                    <a:lnTo>
                      <a:pt x="94" y="185"/>
                    </a:lnTo>
                    <a:lnTo>
                      <a:pt x="99" y="185"/>
                    </a:lnTo>
                    <a:lnTo>
                      <a:pt x="99" y="185"/>
                    </a:lnTo>
                    <a:lnTo>
                      <a:pt x="99" y="185"/>
                    </a:lnTo>
                    <a:lnTo>
                      <a:pt x="103" y="185"/>
                    </a:lnTo>
                    <a:lnTo>
                      <a:pt x="103" y="181"/>
                    </a:lnTo>
                    <a:lnTo>
                      <a:pt x="103" y="181"/>
                    </a:lnTo>
                    <a:lnTo>
                      <a:pt x="103" y="181"/>
                    </a:lnTo>
                    <a:lnTo>
                      <a:pt x="99" y="181"/>
                    </a:lnTo>
                    <a:lnTo>
                      <a:pt x="99" y="181"/>
                    </a:lnTo>
                    <a:lnTo>
                      <a:pt x="99" y="181"/>
                    </a:lnTo>
                    <a:lnTo>
                      <a:pt x="99" y="181"/>
                    </a:lnTo>
                    <a:lnTo>
                      <a:pt x="99" y="181"/>
                    </a:lnTo>
                    <a:lnTo>
                      <a:pt x="99" y="176"/>
                    </a:lnTo>
                    <a:lnTo>
                      <a:pt x="99" y="176"/>
                    </a:lnTo>
                    <a:lnTo>
                      <a:pt x="99" y="176"/>
                    </a:lnTo>
                    <a:lnTo>
                      <a:pt x="99" y="176"/>
                    </a:lnTo>
                    <a:lnTo>
                      <a:pt x="99" y="176"/>
                    </a:lnTo>
                    <a:lnTo>
                      <a:pt x="103" y="172"/>
                    </a:lnTo>
                    <a:lnTo>
                      <a:pt x="103" y="176"/>
                    </a:lnTo>
                    <a:lnTo>
                      <a:pt x="103" y="172"/>
                    </a:lnTo>
                    <a:lnTo>
                      <a:pt x="103" y="172"/>
                    </a:lnTo>
                    <a:lnTo>
                      <a:pt x="103" y="172"/>
                    </a:lnTo>
                    <a:lnTo>
                      <a:pt x="103" y="172"/>
                    </a:lnTo>
                    <a:lnTo>
                      <a:pt x="103" y="172"/>
                    </a:lnTo>
                    <a:lnTo>
                      <a:pt x="103" y="172"/>
                    </a:lnTo>
                    <a:lnTo>
                      <a:pt x="103" y="167"/>
                    </a:lnTo>
                    <a:lnTo>
                      <a:pt x="103" y="167"/>
                    </a:lnTo>
                    <a:lnTo>
                      <a:pt x="103" y="167"/>
                    </a:lnTo>
                    <a:lnTo>
                      <a:pt x="103" y="167"/>
                    </a:lnTo>
                    <a:lnTo>
                      <a:pt x="103" y="167"/>
                    </a:lnTo>
                    <a:lnTo>
                      <a:pt x="103" y="167"/>
                    </a:lnTo>
                    <a:lnTo>
                      <a:pt x="99" y="167"/>
                    </a:lnTo>
                    <a:lnTo>
                      <a:pt x="94" y="167"/>
                    </a:lnTo>
                    <a:lnTo>
                      <a:pt x="94" y="167"/>
                    </a:lnTo>
                    <a:lnTo>
                      <a:pt x="94" y="167"/>
                    </a:lnTo>
                    <a:lnTo>
                      <a:pt x="94" y="167"/>
                    </a:lnTo>
                    <a:lnTo>
                      <a:pt x="99" y="167"/>
                    </a:lnTo>
                    <a:lnTo>
                      <a:pt x="99" y="167"/>
                    </a:lnTo>
                    <a:lnTo>
                      <a:pt x="103" y="163"/>
                    </a:lnTo>
                    <a:lnTo>
                      <a:pt x="103" y="163"/>
                    </a:lnTo>
                    <a:lnTo>
                      <a:pt x="103" y="163"/>
                    </a:lnTo>
                    <a:lnTo>
                      <a:pt x="103" y="163"/>
                    </a:lnTo>
                    <a:lnTo>
                      <a:pt x="103" y="163"/>
                    </a:lnTo>
                    <a:lnTo>
                      <a:pt x="108" y="163"/>
                    </a:lnTo>
                    <a:lnTo>
                      <a:pt x="108" y="163"/>
                    </a:lnTo>
                    <a:lnTo>
                      <a:pt x="108" y="158"/>
                    </a:lnTo>
                    <a:lnTo>
                      <a:pt x="108" y="158"/>
                    </a:lnTo>
                    <a:lnTo>
                      <a:pt x="103" y="158"/>
                    </a:lnTo>
                    <a:lnTo>
                      <a:pt x="103" y="158"/>
                    </a:lnTo>
                    <a:lnTo>
                      <a:pt x="103" y="154"/>
                    </a:lnTo>
                    <a:lnTo>
                      <a:pt x="103" y="154"/>
                    </a:lnTo>
                    <a:lnTo>
                      <a:pt x="103" y="154"/>
                    </a:lnTo>
                    <a:lnTo>
                      <a:pt x="103" y="154"/>
                    </a:lnTo>
                    <a:lnTo>
                      <a:pt x="103" y="154"/>
                    </a:lnTo>
                    <a:lnTo>
                      <a:pt x="99" y="149"/>
                    </a:lnTo>
                    <a:lnTo>
                      <a:pt x="99" y="149"/>
                    </a:lnTo>
                    <a:lnTo>
                      <a:pt x="99" y="145"/>
                    </a:lnTo>
                    <a:lnTo>
                      <a:pt x="99" y="145"/>
                    </a:lnTo>
                    <a:lnTo>
                      <a:pt x="99" y="145"/>
                    </a:lnTo>
                    <a:lnTo>
                      <a:pt x="99" y="145"/>
                    </a:lnTo>
                    <a:lnTo>
                      <a:pt x="99" y="145"/>
                    </a:lnTo>
                    <a:lnTo>
                      <a:pt x="103" y="140"/>
                    </a:lnTo>
                    <a:lnTo>
                      <a:pt x="103" y="140"/>
                    </a:lnTo>
                    <a:lnTo>
                      <a:pt x="103" y="140"/>
                    </a:lnTo>
                    <a:lnTo>
                      <a:pt x="103" y="136"/>
                    </a:lnTo>
                    <a:lnTo>
                      <a:pt x="103" y="136"/>
                    </a:lnTo>
                    <a:lnTo>
                      <a:pt x="99" y="136"/>
                    </a:lnTo>
                    <a:lnTo>
                      <a:pt x="99" y="136"/>
                    </a:lnTo>
                    <a:lnTo>
                      <a:pt x="99" y="136"/>
                    </a:lnTo>
                    <a:lnTo>
                      <a:pt x="94" y="136"/>
                    </a:lnTo>
                    <a:lnTo>
                      <a:pt x="94" y="136"/>
                    </a:lnTo>
                    <a:lnTo>
                      <a:pt x="90" y="131"/>
                    </a:lnTo>
                    <a:lnTo>
                      <a:pt x="85" y="131"/>
                    </a:lnTo>
                    <a:lnTo>
                      <a:pt x="81" y="127"/>
                    </a:lnTo>
                    <a:lnTo>
                      <a:pt x="81" y="127"/>
                    </a:lnTo>
                    <a:lnTo>
                      <a:pt x="81" y="127"/>
                    </a:lnTo>
                    <a:lnTo>
                      <a:pt x="76" y="127"/>
                    </a:lnTo>
                    <a:lnTo>
                      <a:pt x="72" y="127"/>
                    </a:lnTo>
                    <a:lnTo>
                      <a:pt x="67" y="127"/>
                    </a:lnTo>
                    <a:lnTo>
                      <a:pt x="67" y="127"/>
                    </a:lnTo>
                    <a:lnTo>
                      <a:pt x="67" y="122"/>
                    </a:lnTo>
                    <a:lnTo>
                      <a:pt x="63" y="122"/>
                    </a:lnTo>
                    <a:lnTo>
                      <a:pt x="63" y="122"/>
                    </a:lnTo>
                    <a:lnTo>
                      <a:pt x="63" y="127"/>
                    </a:lnTo>
                    <a:lnTo>
                      <a:pt x="58" y="127"/>
                    </a:lnTo>
                    <a:lnTo>
                      <a:pt x="58" y="127"/>
                    </a:lnTo>
                    <a:lnTo>
                      <a:pt x="54" y="127"/>
                    </a:lnTo>
                    <a:lnTo>
                      <a:pt x="54" y="122"/>
                    </a:lnTo>
                    <a:lnTo>
                      <a:pt x="54" y="122"/>
                    </a:lnTo>
                    <a:lnTo>
                      <a:pt x="54" y="122"/>
                    </a:lnTo>
                    <a:lnTo>
                      <a:pt x="49" y="127"/>
                    </a:lnTo>
                    <a:lnTo>
                      <a:pt x="49" y="127"/>
                    </a:lnTo>
                    <a:lnTo>
                      <a:pt x="45" y="127"/>
                    </a:lnTo>
                    <a:lnTo>
                      <a:pt x="45" y="127"/>
                    </a:lnTo>
                    <a:lnTo>
                      <a:pt x="40" y="127"/>
                    </a:lnTo>
                    <a:lnTo>
                      <a:pt x="40" y="127"/>
                    </a:lnTo>
                    <a:lnTo>
                      <a:pt x="40" y="127"/>
                    </a:lnTo>
                    <a:lnTo>
                      <a:pt x="40" y="127"/>
                    </a:lnTo>
                    <a:lnTo>
                      <a:pt x="40" y="127"/>
                    </a:lnTo>
                    <a:lnTo>
                      <a:pt x="40" y="127"/>
                    </a:lnTo>
                    <a:lnTo>
                      <a:pt x="36" y="122"/>
                    </a:lnTo>
                    <a:lnTo>
                      <a:pt x="36" y="122"/>
                    </a:lnTo>
                    <a:lnTo>
                      <a:pt x="36" y="127"/>
                    </a:lnTo>
                    <a:lnTo>
                      <a:pt x="31" y="127"/>
                    </a:lnTo>
                    <a:lnTo>
                      <a:pt x="31" y="127"/>
                    </a:lnTo>
                    <a:lnTo>
                      <a:pt x="31" y="127"/>
                    </a:lnTo>
                    <a:lnTo>
                      <a:pt x="31" y="127"/>
                    </a:lnTo>
                    <a:lnTo>
                      <a:pt x="27" y="122"/>
                    </a:lnTo>
                    <a:lnTo>
                      <a:pt x="27" y="122"/>
                    </a:lnTo>
                    <a:lnTo>
                      <a:pt x="27" y="127"/>
                    </a:lnTo>
                    <a:lnTo>
                      <a:pt x="27" y="127"/>
                    </a:lnTo>
                    <a:lnTo>
                      <a:pt x="27" y="127"/>
                    </a:lnTo>
                    <a:lnTo>
                      <a:pt x="27" y="127"/>
                    </a:lnTo>
                    <a:lnTo>
                      <a:pt x="22" y="127"/>
                    </a:lnTo>
                    <a:lnTo>
                      <a:pt x="13" y="127"/>
                    </a:lnTo>
                    <a:lnTo>
                      <a:pt x="13" y="127"/>
                    </a:lnTo>
                    <a:lnTo>
                      <a:pt x="9" y="127"/>
                    </a:lnTo>
                    <a:lnTo>
                      <a:pt x="9" y="122"/>
                    </a:lnTo>
                    <a:lnTo>
                      <a:pt x="9" y="122"/>
                    </a:lnTo>
                    <a:lnTo>
                      <a:pt x="4" y="122"/>
                    </a:lnTo>
                    <a:lnTo>
                      <a:pt x="4" y="122"/>
                    </a:lnTo>
                    <a:lnTo>
                      <a:pt x="4" y="118"/>
                    </a:lnTo>
                    <a:lnTo>
                      <a:pt x="9" y="118"/>
                    </a:lnTo>
                    <a:lnTo>
                      <a:pt x="13" y="118"/>
                    </a:lnTo>
                    <a:lnTo>
                      <a:pt x="18" y="118"/>
                    </a:lnTo>
                    <a:lnTo>
                      <a:pt x="22" y="118"/>
                    </a:lnTo>
                    <a:lnTo>
                      <a:pt x="22" y="118"/>
                    </a:lnTo>
                    <a:lnTo>
                      <a:pt x="22" y="118"/>
                    </a:lnTo>
                    <a:lnTo>
                      <a:pt x="22" y="113"/>
                    </a:lnTo>
                    <a:lnTo>
                      <a:pt x="18" y="113"/>
                    </a:lnTo>
                    <a:lnTo>
                      <a:pt x="13" y="113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13" y="109"/>
                    </a:lnTo>
                    <a:lnTo>
                      <a:pt x="13" y="109"/>
                    </a:lnTo>
                    <a:lnTo>
                      <a:pt x="13" y="109"/>
                    </a:lnTo>
                    <a:lnTo>
                      <a:pt x="4" y="113"/>
                    </a:lnTo>
                    <a:lnTo>
                      <a:pt x="4" y="113"/>
                    </a:lnTo>
                    <a:lnTo>
                      <a:pt x="0" y="113"/>
                    </a:lnTo>
                    <a:lnTo>
                      <a:pt x="0" y="113"/>
                    </a:lnTo>
                    <a:lnTo>
                      <a:pt x="0" y="109"/>
                    </a:lnTo>
                    <a:lnTo>
                      <a:pt x="0" y="109"/>
                    </a:lnTo>
                    <a:lnTo>
                      <a:pt x="0" y="109"/>
                    </a:lnTo>
                    <a:lnTo>
                      <a:pt x="4" y="109"/>
                    </a:lnTo>
                    <a:lnTo>
                      <a:pt x="0" y="109"/>
                    </a:lnTo>
                    <a:lnTo>
                      <a:pt x="0" y="109"/>
                    </a:lnTo>
                    <a:lnTo>
                      <a:pt x="0" y="109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9" y="104"/>
                    </a:lnTo>
                    <a:lnTo>
                      <a:pt x="18" y="104"/>
                    </a:lnTo>
                    <a:lnTo>
                      <a:pt x="22" y="104"/>
                    </a:lnTo>
                    <a:lnTo>
                      <a:pt x="27" y="104"/>
                    </a:lnTo>
                    <a:lnTo>
                      <a:pt x="31" y="104"/>
                    </a:lnTo>
                    <a:lnTo>
                      <a:pt x="36" y="104"/>
                    </a:lnTo>
                    <a:lnTo>
                      <a:pt x="40" y="104"/>
                    </a:lnTo>
                    <a:lnTo>
                      <a:pt x="45" y="104"/>
                    </a:lnTo>
                    <a:lnTo>
                      <a:pt x="49" y="104"/>
                    </a:lnTo>
                    <a:lnTo>
                      <a:pt x="49" y="104"/>
                    </a:lnTo>
                    <a:lnTo>
                      <a:pt x="49" y="104"/>
                    </a:lnTo>
                    <a:lnTo>
                      <a:pt x="49" y="104"/>
                    </a:lnTo>
                    <a:lnTo>
                      <a:pt x="49" y="104"/>
                    </a:lnTo>
                    <a:lnTo>
                      <a:pt x="54" y="104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49" y="100"/>
                    </a:lnTo>
                    <a:lnTo>
                      <a:pt x="49" y="100"/>
                    </a:lnTo>
                    <a:lnTo>
                      <a:pt x="45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36" y="100"/>
                    </a:lnTo>
                    <a:lnTo>
                      <a:pt x="36" y="100"/>
                    </a:lnTo>
                    <a:lnTo>
                      <a:pt x="36" y="100"/>
                    </a:lnTo>
                    <a:lnTo>
                      <a:pt x="36" y="100"/>
                    </a:lnTo>
                    <a:lnTo>
                      <a:pt x="31" y="100"/>
                    </a:lnTo>
                    <a:lnTo>
                      <a:pt x="31" y="100"/>
                    </a:lnTo>
                    <a:lnTo>
                      <a:pt x="27" y="100"/>
                    </a:lnTo>
                    <a:lnTo>
                      <a:pt x="27" y="100"/>
                    </a:lnTo>
                    <a:lnTo>
                      <a:pt x="27" y="100"/>
                    </a:lnTo>
                    <a:lnTo>
                      <a:pt x="27" y="100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22" y="100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22" y="95"/>
                    </a:lnTo>
                    <a:lnTo>
                      <a:pt x="22" y="95"/>
                    </a:lnTo>
                    <a:lnTo>
                      <a:pt x="22" y="95"/>
                    </a:lnTo>
                    <a:lnTo>
                      <a:pt x="22" y="95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3" y="95"/>
                    </a:lnTo>
                    <a:lnTo>
                      <a:pt x="13" y="95"/>
                    </a:lnTo>
                    <a:lnTo>
                      <a:pt x="13" y="95"/>
                    </a:lnTo>
                    <a:lnTo>
                      <a:pt x="13" y="90"/>
                    </a:lnTo>
                    <a:lnTo>
                      <a:pt x="9" y="90"/>
                    </a:lnTo>
                    <a:lnTo>
                      <a:pt x="9" y="90"/>
                    </a:lnTo>
                    <a:lnTo>
                      <a:pt x="9" y="90"/>
                    </a:lnTo>
                    <a:lnTo>
                      <a:pt x="9" y="90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13" y="81"/>
                    </a:lnTo>
                    <a:lnTo>
                      <a:pt x="13" y="81"/>
                    </a:lnTo>
                    <a:lnTo>
                      <a:pt x="18" y="81"/>
                    </a:lnTo>
                    <a:lnTo>
                      <a:pt x="22" y="81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31" y="81"/>
                    </a:lnTo>
                    <a:lnTo>
                      <a:pt x="31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0" y="77"/>
                    </a:lnTo>
                    <a:lnTo>
                      <a:pt x="54" y="77"/>
                    </a:lnTo>
                    <a:lnTo>
                      <a:pt x="54" y="77"/>
                    </a:lnTo>
                    <a:lnTo>
                      <a:pt x="54" y="77"/>
                    </a:lnTo>
                    <a:lnTo>
                      <a:pt x="54" y="77"/>
                    </a:lnTo>
                    <a:lnTo>
                      <a:pt x="54" y="77"/>
                    </a:lnTo>
                    <a:lnTo>
                      <a:pt x="54" y="72"/>
                    </a:lnTo>
                    <a:lnTo>
                      <a:pt x="63" y="72"/>
                    </a:lnTo>
                    <a:lnTo>
                      <a:pt x="63" y="72"/>
                    </a:lnTo>
                    <a:lnTo>
                      <a:pt x="67" y="72"/>
                    </a:lnTo>
                    <a:lnTo>
                      <a:pt x="67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81" y="72"/>
                    </a:lnTo>
                    <a:lnTo>
                      <a:pt x="81" y="72"/>
                    </a:lnTo>
                    <a:lnTo>
                      <a:pt x="85" y="72"/>
                    </a:lnTo>
                    <a:lnTo>
                      <a:pt x="85" y="72"/>
                    </a:lnTo>
                    <a:lnTo>
                      <a:pt x="85" y="72"/>
                    </a:lnTo>
                    <a:lnTo>
                      <a:pt x="90" y="72"/>
                    </a:lnTo>
                    <a:lnTo>
                      <a:pt x="94" y="68"/>
                    </a:lnTo>
                    <a:lnTo>
                      <a:pt x="94" y="68"/>
                    </a:lnTo>
                    <a:lnTo>
                      <a:pt x="99" y="63"/>
                    </a:lnTo>
                    <a:lnTo>
                      <a:pt x="103" y="63"/>
                    </a:lnTo>
                    <a:lnTo>
                      <a:pt x="108" y="59"/>
                    </a:lnTo>
                    <a:lnTo>
                      <a:pt x="108" y="59"/>
                    </a:lnTo>
                    <a:lnTo>
                      <a:pt x="112" y="59"/>
                    </a:lnTo>
                    <a:lnTo>
                      <a:pt x="112" y="59"/>
                    </a:lnTo>
                    <a:lnTo>
                      <a:pt x="112" y="59"/>
                    </a:lnTo>
                    <a:lnTo>
                      <a:pt x="117" y="54"/>
                    </a:lnTo>
                    <a:lnTo>
                      <a:pt x="117" y="54"/>
                    </a:lnTo>
                    <a:lnTo>
                      <a:pt x="117" y="54"/>
                    </a:lnTo>
                    <a:lnTo>
                      <a:pt x="117" y="54"/>
                    </a:lnTo>
                    <a:lnTo>
                      <a:pt x="117" y="54"/>
                    </a:lnTo>
                    <a:lnTo>
                      <a:pt x="112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3" y="59"/>
                    </a:lnTo>
                    <a:lnTo>
                      <a:pt x="103" y="59"/>
                    </a:lnTo>
                    <a:lnTo>
                      <a:pt x="99" y="59"/>
                    </a:lnTo>
                    <a:lnTo>
                      <a:pt x="99" y="54"/>
                    </a:lnTo>
                    <a:lnTo>
                      <a:pt x="99" y="54"/>
                    </a:lnTo>
                    <a:lnTo>
                      <a:pt x="94" y="54"/>
                    </a:lnTo>
                    <a:lnTo>
                      <a:pt x="94" y="54"/>
                    </a:lnTo>
                    <a:lnTo>
                      <a:pt x="94" y="54"/>
                    </a:lnTo>
                    <a:lnTo>
                      <a:pt x="94" y="54"/>
                    </a:lnTo>
                    <a:lnTo>
                      <a:pt x="94" y="54"/>
                    </a:lnTo>
                    <a:lnTo>
                      <a:pt x="94" y="54"/>
                    </a:lnTo>
                    <a:lnTo>
                      <a:pt x="99" y="50"/>
                    </a:lnTo>
                    <a:lnTo>
                      <a:pt x="99" y="50"/>
                    </a:lnTo>
                    <a:lnTo>
                      <a:pt x="103" y="50"/>
                    </a:lnTo>
                    <a:lnTo>
                      <a:pt x="108" y="45"/>
                    </a:lnTo>
                    <a:lnTo>
                      <a:pt x="108" y="45"/>
                    </a:lnTo>
                    <a:lnTo>
                      <a:pt x="112" y="45"/>
                    </a:lnTo>
                    <a:lnTo>
                      <a:pt x="112" y="45"/>
                    </a:lnTo>
                    <a:lnTo>
                      <a:pt x="112" y="45"/>
                    </a:lnTo>
                    <a:lnTo>
                      <a:pt x="117" y="45"/>
                    </a:lnTo>
                    <a:lnTo>
                      <a:pt x="121" y="45"/>
                    </a:lnTo>
                    <a:lnTo>
                      <a:pt x="126" y="41"/>
                    </a:lnTo>
                    <a:lnTo>
                      <a:pt x="131" y="41"/>
                    </a:lnTo>
                    <a:lnTo>
                      <a:pt x="135" y="41"/>
                    </a:lnTo>
                    <a:lnTo>
                      <a:pt x="140" y="41"/>
                    </a:lnTo>
                    <a:lnTo>
                      <a:pt x="140" y="41"/>
                    </a:lnTo>
                    <a:lnTo>
                      <a:pt x="140" y="41"/>
                    </a:lnTo>
                    <a:lnTo>
                      <a:pt x="140" y="45"/>
                    </a:lnTo>
                    <a:lnTo>
                      <a:pt x="140" y="41"/>
                    </a:lnTo>
                    <a:lnTo>
                      <a:pt x="140" y="41"/>
                    </a:lnTo>
                    <a:lnTo>
                      <a:pt x="144" y="41"/>
                    </a:lnTo>
                    <a:lnTo>
                      <a:pt x="144" y="36"/>
                    </a:lnTo>
                    <a:lnTo>
                      <a:pt x="149" y="36"/>
                    </a:lnTo>
                    <a:lnTo>
                      <a:pt x="149" y="36"/>
                    </a:lnTo>
                    <a:lnTo>
                      <a:pt x="149" y="36"/>
                    </a:lnTo>
                    <a:lnTo>
                      <a:pt x="153" y="36"/>
                    </a:lnTo>
                    <a:lnTo>
                      <a:pt x="153" y="36"/>
                    </a:lnTo>
                    <a:lnTo>
                      <a:pt x="158" y="41"/>
                    </a:lnTo>
                    <a:lnTo>
                      <a:pt x="158" y="41"/>
                    </a:lnTo>
                    <a:lnTo>
                      <a:pt x="158" y="41"/>
                    </a:lnTo>
                    <a:lnTo>
                      <a:pt x="158" y="41"/>
                    </a:lnTo>
                    <a:lnTo>
                      <a:pt x="162" y="36"/>
                    </a:lnTo>
                    <a:lnTo>
                      <a:pt x="162" y="36"/>
                    </a:lnTo>
                    <a:lnTo>
                      <a:pt x="167" y="36"/>
                    </a:lnTo>
                    <a:lnTo>
                      <a:pt x="167" y="32"/>
                    </a:lnTo>
                    <a:lnTo>
                      <a:pt x="171" y="32"/>
                    </a:lnTo>
                    <a:lnTo>
                      <a:pt x="171" y="27"/>
                    </a:lnTo>
                    <a:lnTo>
                      <a:pt x="171" y="27"/>
                    </a:lnTo>
                    <a:lnTo>
                      <a:pt x="176" y="27"/>
                    </a:lnTo>
                    <a:lnTo>
                      <a:pt x="176" y="27"/>
                    </a:lnTo>
                    <a:lnTo>
                      <a:pt x="180" y="27"/>
                    </a:lnTo>
                    <a:lnTo>
                      <a:pt x="185" y="27"/>
                    </a:lnTo>
                    <a:lnTo>
                      <a:pt x="185" y="27"/>
                    </a:lnTo>
                    <a:lnTo>
                      <a:pt x="189" y="27"/>
                    </a:lnTo>
                    <a:lnTo>
                      <a:pt x="189" y="27"/>
                    </a:lnTo>
                    <a:lnTo>
                      <a:pt x="194" y="27"/>
                    </a:lnTo>
                    <a:lnTo>
                      <a:pt x="194" y="32"/>
                    </a:lnTo>
                    <a:lnTo>
                      <a:pt x="198" y="32"/>
                    </a:lnTo>
                    <a:lnTo>
                      <a:pt x="198" y="32"/>
                    </a:lnTo>
                    <a:lnTo>
                      <a:pt x="203" y="32"/>
                    </a:lnTo>
                    <a:lnTo>
                      <a:pt x="203" y="36"/>
                    </a:lnTo>
                    <a:lnTo>
                      <a:pt x="203" y="36"/>
                    </a:lnTo>
                    <a:lnTo>
                      <a:pt x="203" y="36"/>
                    </a:lnTo>
                    <a:lnTo>
                      <a:pt x="207" y="36"/>
                    </a:lnTo>
                    <a:lnTo>
                      <a:pt x="207" y="36"/>
                    </a:lnTo>
                    <a:lnTo>
                      <a:pt x="203" y="36"/>
                    </a:lnTo>
                    <a:lnTo>
                      <a:pt x="203" y="32"/>
                    </a:lnTo>
                    <a:lnTo>
                      <a:pt x="198" y="32"/>
                    </a:lnTo>
                    <a:lnTo>
                      <a:pt x="198" y="27"/>
                    </a:lnTo>
                    <a:lnTo>
                      <a:pt x="198" y="27"/>
                    </a:lnTo>
                    <a:lnTo>
                      <a:pt x="194" y="27"/>
                    </a:lnTo>
                    <a:lnTo>
                      <a:pt x="194" y="27"/>
                    </a:lnTo>
                    <a:lnTo>
                      <a:pt x="194" y="23"/>
                    </a:lnTo>
                    <a:lnTo>
                      <a:pt x="198" y="23"/>
                    </a:lnTo>
                    <a:lnTo>
                      <a:pt x="207" y="23"/>
                    </a:lnTo>
                    <a:lnTo>
                      <a:pt x="221" y="23"/>
                    </a:lnTo>
                    <a:lnTo>
                      <a:pt x="221" y="23"/>
                    </a:lnTo>
                    <a:lnTo>
                      <a:pt x="230" y="23"/>
                    </a:lnTo>
                    <a:lnTo>
                      <a:pt x="230" y="23"/>
                    </a:lnTo>
                    <a:lnTo>
                      <a:pt x="230" y="23"/>
                    </a:lnTo>
                    <a:lnTo>
                      <a:pt x="239" y="18"/>
                    </a:lnTo>
                    <a:lnTo>
                      <a:pt x="239" y="18"/>
                    </a:lnTo>
                    <a:lnTo>
                      <a:pt x="239" y="18"/>
                    </a:lnTo>
                    <a:lnTo>
                      <a:pt x="243" y="23"/>
                    </a:lnTo>
                    <a:lnTo>
                      <a:pt x="243" y="23"/>
                    </a:lnTo>
                    <a:lnTo>
                      <a:pt x="243" y="23"/>
                    </a:lnTo>
                    <a:lnTo>
                      <a:pt x="243" y="27"/>
                    </a:lnTo>
                    <a:lnTo>
                      <a:pt x="239" y="32"/>
                    </a:lnTo>
                    <a:lnTo>
                      <a:pt x="239" y="32"/>
                    </a:lnTo>
                    <a:lnTo>
                      <a:pt x="239" y="32"/>
                    </a:lnTo>
                    <a:lnTo>
                      <a:pt x="239" y="32"/>
                    </a:lnTo>
                    <a:lnTo>
                      <a:pt x="239" y="32"/>
                    </a:lnTo>
                    <a:lnTo>
                      <a:pt x="243" y="32"/>
                    </a:lnTo>
                    <a:lnTo>
                      <a:pt x="243" y="27"/>
                    </a:lnTo>
                    <a:lnTo>
                      <a:pt x="248" y="27"/>
                    </a:lnTo>
                    <a:lnTo>
                      <a:pt x="248" y="27"/>
                    </a:lnTo>
                    <a:lnTo>
                      <a:pt x="248" y="23"/>
                    </a:lnTo>
                    <a:lnTo>
                      <a:pt x="248" y="23"/>
                    </a:lnTo>
                    <a:lnTo>
                      <a:pt x="253" y="23"/>
                    </a:lnTo>
                    <a:lnTo>
                      <a:pt x="253" y="23"/>
                    </a:lnTo>
                    <a:lnTo>
                      <a:pt x="257" y="27"/>
                    </a:lnTo>
                    <a:lnTo>
                      <a:pt x="262" y="27"/>
                    </a:lnTo>
                    <a:lnTo>
                      <a:pt x="266" y="27"/>
                    </a:lnTo>
                    <a:lnTo>
                      <a:pt x="271" y="27"/>
                    </a:lnTo>
                    <a:lnTo>
                      <a:pt x="275" y="27"/>
                    </a:lnTo>
                    <a:lnTo>
                      <a:pt x="275" y="27"/>
                    </a:lnTo>
                    <a:lnTo>
                      <a:pt x="275" y="27"/>
                    </a:lnTo>
                    <a:lnTo>
                      <a:pt x="275" y="27"/>
                    </a:lnTo>
                    <a:lnTo>
                      <a:pt x="271" y="27"/>
                    </a:lnTo>
                    <a:lnTo>
                      <a:pt x="271" y="23"/>
                    </a:lnTo>
                    <a:lnTo>
                      <a:pt x="271" y="18"/>
                    </a:lnTo>
                    <a:lnTo>
                      <a:pt x="271" y="18"/>
                    </a:lnTo>
                    <a:lnTo>
                      <a:pt x="275" y="18"/>
                    </a:lnTo>
                    <a:lnTo>
                      <a:pt x="280" y="18"/>
                    </a:lnTo>
                    <a:lnTo>
                      <a:pt x="289" y="18"/>
                    </a:lnTo>
                    <a:lnTo>
                      <a:pt x="298" y="23"/>
                    </a:lnTo>
                    <a:lnTo>
                      <a:pt x="302" y="27"/>
                    </a:lnTo>
                    <a:lnTo>
                      <a:pt x="311" y="32"/>
                    </a:lnTo>
                    <a:lnTo>
                      <a:pt x="316" y="32"/>
                    </a:lnTo>
                    <a:lnTo>
                      <a:pt x="316" y="32"/>
                    </a:lnTo>
                    <a:lnTo>
                      <a:pt x="316" y="32"/>
                    </a:lnTo>
                    <a:lnTo>
                      <a:pt x="320" y="32"/>
                    </a:lnTo>
                    <a:lnTo>
                      <a:pt x="320" y="32"/>
                    </a:lnTo>
                    <a:lnTo>
                      <a:pt x="320" y="32"/>
                    </a:lnTo>
                    <a:lnTo>
                      <a:pt x="320" y="27"/>
                    </a:lnTo>
                    <a:lnTo>
                      <a:pt x="320" y="27"/>
                    </a:lnTo>
                    <a:lnTo>
                      <a:pt x="325" y="23"/>
                    </a:lnTo>
                    <a:lnTo>
                      <a:pt x="325" y="23"/>
                    </a:lnTo>
                    <a:lnTo>
                      <a:pt x="329" y="23"/>
                    </a:lnTo>
                    <a:lnTo>
                      <a:pt x="329" y="18"/>
                    </a:lnTo>
                    <a:lnTo>
                      <a:pt x="329" y="18"/>
                    </a:lnTo>
                    <a:lnTo>
                      <a:pt x="320" y="14"/>
                    </a:lnTo>
                    <a:lnTo>
                      <a:pt x="320" y="14"/>
                    </a:lnTo>
                    <a:lnTo>
                      <a:pt x="325" y="14"/>
                    </a:lnTo>
                    <a:lnTo>
                      <a:pt x="325" y="14"/>
                    </a:lnTo>
                    <a:lnTo>
                      <a:pt x="347" y="14"/>
                    </a:lnTo>
                    <a:lnTo>
                      <a:pt x="352" y="18"/>
                    </a:lnTo>
                    <a:lnTo>
                      <a:pt x="352" y="18"/>
                    </a:lnTo>
                    <a:lnTo>
                      <a:pt x="352" y="18"/>
                    </a:lnTo>
                    <a:lnTo>
                      <a:pt x="352" y="18"/>
                    </a:lnTo>
                    <a:lnTo>
                      <a:pt x="356" y="18"/>
                    </a:lnTo>
                    <a:lnTo>
                      <a:pt x="356" y="14"/>
                    </a:lnTo>
                    <a:lnTo>
                      <a:pt x="356" y="14"/>
                    </a:lnTo>
                    <a:lnTo>
                      <a:pt x="334" y="14"/>
                    </a:lnTo>
                    <a:lnTo>
                      <a:pt x="329" y="14"/>
                    </a:lnTo>
                    <a:lnTo>
                      <a:pt x="329" y="14"/>
                    </a:lnTo>
                    <a:lnTo>
                      <a:pt x="325" y="14"/>
                    </a:lnTo>
                    <a:lnTo>
                      <a:pt x="320" y="14"/>
                    </a:lnTo>
                    <a:lnTo>
                      <a:pt x="320" y="14"/>
                    </a:lnTo>
                    <a:lnTo>
                      <a:pt x="316" y="9"/>
                    </a:lnTo>
                    <a:lnTo>
                      <a:pt x="320" y="9"/>
                    </a:lnTo>
                    <a:lnTo>
                      <a:pt x="325" y="9"/>
                    </a:lnTo>
                    <a:lnTo>
                      <a:pt x="325" y="9"/>
                    </a:lnTo>
                    <a:lnTo>
                      <a:pt x="329" y="9"/>
                    </a:lnTo>
                    <a:lnTo>
                      <a:pt x="334" y="9"/>
                    </a:lnTo>
                    <a:lnTo>
                      <a:pt x="338" y="9"/>
                    </a:lnTo>
                    <a:lnTo>
                      <a:pt x="347" y="5"/>
                    </a:lnTo>
                    <a:lnTo>
                      <a:pt x="352" y="5"/>
                    </a:lnTo>
                    <a:lnTo>
                      <a:pt x="352" y="5"/>
                    </a:lnTo>
                    <a:lnTo>
                      <a:pt x="356" y="9"/>
                    </a:lnTo>
                    <a:lnTo>
                      <a:pt x="356" y="9"/>
                    </a:lnTo>
                    <a:lnTo>
                      <a:pt x="361" y="9"/>
                    </a:lnTo>
                    <a:lnTo>
                      <a:pt x="361" y="9"/>
                    </a:lnTo>
                    <a:lnTo>
                      <a:pt x="361" y="9"/>
                    </a:lnTo>
                    <a:lnTo>
                      <a:pt x="365" y="9"/>
                    </a:lnTo>
                    <a:lnTo>
                      <a:pt x="365" y="9"/>
                    </a:lnTo>
                    <a:lnTo>
                      <a:pt x="370" y="5"/>
                    </a:lnTo>
                    <a:lnTo>
                      <a:pt x="374" y="5"/>
                    </a:lnTo>
                    <a:lnTo>
                      <a:pt x="379" y="5"/>
                    </a:lnTo>
                    <a:lnTo>
                      <a:pt x="379" y="9"/>
                    </a:lnTo>
                    <a:lnTo>
                      <a:pt x="384" y="9"/>
                    </a:lnTo>
                    <a:lnTo>
                      <a:pt x="384" y="9"/>
                    </a:lnTo>
                    <a:lnTo>
                      <a:pt x="388" y="14"/>
                    </a:lnTo>
                    <a:lnTo>
                      <a:pt x="388" y="14"/>
                    </a:lnTo>
                    <a:lnTo>
                      <a:pt x="388" y="14"/>
                    </a:lnTo>
                    <a:lnTo>
                      <a:pt x="393" y="9"/>
                    </a:lnTo>
                    <a:lnTo>
                      <a:pt x="393" y="9"/>
                    </a:lnTo>
                    <a:lnTo>
                      <a:pt x="393" y="9"/>
                    </a:lnTo>
                    <a:lnTo>
                      <a:pt x="393" y="9"/>
                    </a:lnTo>
                    <a:lnTo>
                      <a:pt x="388" y="9"/>
                    </a:lnTo>
                    <a:lnTo>
                      <a:pt x="388" y="5"/>
                    </a:lnTo>
                    <a:lnTo>
                      <a:pt x="388" y="5"/>
                    </a:lnTo>
                    <a:lnTo>
                      <a:pt x="388" y="5"/>
                    </a:lnTo>
                    <a:lnTo>
                      <a:pt x="388" y="5"/>
                    </a:lnTo>
                    <a:lnTo>
                      <a:pt x="393" y="5"/>
                    </a:lnTo>
                    <a:lnTo>
                      <a:pt x="393" y="5"/>
                    </a:lnTo>
                    <a:lnTo>
                      <a:pt x="393" y="5"/>
                    </a:lnTo>
                    <a:lnTo>
                      <a:pt x="397" y="5"/>
                    </a:lnTo>
                    <a:lnTo>
                      <a:pt x="397" y="5"/>
                    </a:lnTo>
                    <a:lnTo>
                      <a:pt x="397" y="5"/>
                    </a:lnTo>
                    <a:lnTo>
                      <a:pt x="402" y="5"/>
                    </a:lnTo>
                    <a:lnTo>
                      <a:pt x="402" y="5"/>
                    </a:lnTo>
                    <a:lnTo>
                      <a:pt x="406" y="5"/>
                    </a:lnTo>
                    <a:lnTo>
                      <a:pt x="406" y="5"/>
                    </a:lnTo>
                    <a:lnTo>
                      <a:pt x="406" y="5"/>
                    </a:lnTo>
                    <a:lnTo>
                      <a:pt x="406" y="5"/>
                    </a:lnTo>
                    <a:lnTo>
                      <a:pt x="406" y="5"/>
                    </a:lnTo>
                    <a:lnTo>
                      <a:pt x="420" y="5"/>
                    </a:lnTo>
                    <a:lnTo>
                      <a:pt x="420" y="5"/>
                    </a:lnTo>
                    <a:lnTo>
                      <a:pt x="424" y="0"/>
                    </a:lnTo>
                    <a:lnTo>
                      <a:pt x="424" y="0"/>
                    </a:lnTo>
                    <a:lnTo>
                      <a:pt x="429" y="5"/>
                    </a:lnTo>
                    <a:lnTo>
                      <a:pt x="429" y="5"/>
                    </a:lnTo>
                    <a:lnTo>
                      <a:pt x="433" y="5"/>
                    </a:lnTo>
                    <a:lnTo>
                      <a:pt x="438" y="0"/>
                    </a:lnTo>
                    <a:lnTo>
                      <a:pt x="438" y="0"/>
                    </a:lnTo>
                    <a:lnTo>
                      <a:pt x="460" y="5"/>
                    </a:lnTo>
                    <a:lnTo>
                      <a:pt x="465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48" name="Freeform 69"/>
              <p:cNvSpPr>
                <a:spLocks/>
              </p:cNvSpPr>
              <p:nvPr/>
            </p:nvSpPr>
            <p:spPr bwMode="auto">
              <a:xfrm>
                <a:off x="1752601" y="2378076"/>
                <a:ext cx="115888" cy="136525"/>
              </a:xfrm>
              <a:custGeom>
                <a:avLst/>
                <a:gdLst>
                  <a:gd name="T0" fmla="*/ 64 w 73"/>
                  <a:gd name="T1" fmla="*/ 14 h 86"/>
                  <a:gd name="T2" fmla="*/ 59 w 73"/>
                  <a:gd name="T3" fmla="*/ 23 h 86"/>
                  <a:gd name="T4" fmla="*/ 55 w 73"/>
                  <a:gd name="T5" fmla="*/ 36 h 86"/>
                  <a:gd name="T6" fmla="*/ 55 w 73"/>
                  <a:gd name="T7" fmla="*/ 41 h 86"/>
                  <a:gd name="T8" fmla="*/ 59 w 73"/>
                  <a:gd name="T9" fmla="*/ 41 h 86"/>
                  <a:gd name="T10" fmla="*/ 64 w 73"/>
                  <a:gd name="T11" fmla="*/ 41 h 86"/>
                  <a:gd name="T12" fmla="*/ 64 w 73"/>
                  <a:gd name="T13" fmla="*/ 45 h 86"/>
                  <a:gd name="T14" fmla="*/ 68 w 73"/>
                  <a:gd name="T15" fmla="*/ 41 h 86"/>
                  <a:gd name="T16" fmla="*/ 68 w 73"/>
                  <a:gd name="T17" fmla="*/ 41 h 86"/>
                  <a:gd name="T18" fmla="*/ 73 w 73"/>
                  <a:gd name="T19" fmla="*/ 45 h 86"/>
                  <a:gd name="T20" fmla="*/ 68 w 73"/>
                  <a:gd name="T21" fmla="*/ 45 h 86"/>
                  <a:gd name="T22" fmla="*/ 64 w 73"/>
                  <a:gd name="T23" fmla="*/ 55 h 86"/>
                  <a:gd name="T24" fmla="*/ 59 w 73"/>
                  <a:gd name="T25" fmla="*/ 55 h 86"/>
                  <a:gd name="T26" fmla="*/ 55 w 73"/>
                  <a:gd name="T27" fmla="*/ 59 h 86"/>
                  <a:gd name="T28" fmla="*/ 50 w 73"/>
                  <a:gd name="T29" fmla="*/ 59 h 86"/>
                  <a:gd name="T30" fmla="*/ 50 w 73"/>
                  <a:gd name="T31" fmla="*/ 64 h 86"/>
                  <a:gd name="T32" fmla="*/ 50 w 73"/>
                  <a:gd name="T33" fmla="*/ 68 h 86"/>
                  <a:gd name="T34" fmla="*/ 50 w 73"/>
                  <a:gd name="T35" fmla="*/ 68 h 86"/>
                  <a:gd name="T36" fmla="*/ 45 w 73"/>
                  <a:gd name="T37" fmla="*/ 73 h 86"/>
                  <a:gd name="T38" fmla="*/ 45 w 73"/>
                  <a:gd name="T39" fmla="*/ 73 h 86"/>
                  <a:gd name="T40" fmla="*/ 45 w 73"/>
                  <a:gd name="T41" fmla="*/ 73 h 86"/>
                  <a:gd name="T42" fmla="*/ 45 w 73"/>
                  <a:gd name="T43" fmla="*/ 73 h 86"/>
                  <a:gd name="T44" fmla="*/ 45 w 73"/>
                  <a:gd name="T45" fmla="*/ 73 h 86"/>
                  <a:gd name="T46" fmla="*/ 41 w 73"/>
                  <a:gd name="T47" fmla="*/ 77 h 86"/>
                  <a:gd name="T48" fmla="*/ 41 w 73"/>
                  <a:gd name="T49" fmla="*/ 77 h 86"/>
                  <a:gd name="T50" fmla="*/ 36 w 73"/>
                  <a:gd name="T51" fmla="*/ 77 h 86"/>
                  <a:gd name="T52" fmla="*/ 36 w 73"/>
                  <a:gd name="T53" fmla="*/ 82 h 86"/>
                  <a:gd name="T54" fmla="*/ 32 w 73"/>
                  <a:gd name="T55" fmla="*/ 82 h 86"/>
                  <a:gd name="T56" fmla="*/ 27 w 73"/>
                  <a:gd name="T57" fmla="*/ 82 h 86"/>
                  <a:gd name="T58" fmla="*/ 14 w 73"/>
                  <a:gd name="T59" fmla="*/ 82 h 86"/>
                  <a:gd name="T60" fmla="*/ 9 w 73"/>
                  <a:gd name="T61" fmla="*/ 77 h 86"/>
                  <a:gd name="T62" fmla="*/ 0 w 73"/>
                  <a:gd name="T63" fmla="*/ 68 h 86"/>
                  <a:gd name="T64" fmla="*/ 0 w 73"/>
                  <a:gd name="T65" fmla="*/ 64 h 86"/>
                  <a:gd name="T66" fmla="*/ 0 w 73"/>
                  <a:gd name="T67" fmla="*/ 64 h 86"/>
                  <a:gd name="T68" fmla="*/ 0 w 73"/>
                  <a:gd name="T69" fmla="*/ 59 h 86"/>
                  <a:gd name="T70" fmla="*/ 0 w 73"/>
                  <a:gd name="T71" fmla="*/ 59 h 86"/>
                  <a:gd name="T72" fmla="*/ 5 w 73"/>
                  <a:gd name="T73" fmla="*/ 55 h 86"/>
                  <a:gd name="T74" fmla="*/ 0 w 73"/>
                  <a:gd name="T75" fmla="*/ 55 h 86"/>
                  <a:gd name="T76" fmla="*/ 5 w 73"/>
                  <a:gd name="T77" fmla="*/ 50 h 86"/>
                  <a:gd name="T78" fmla="*/ 9 w 73"/>
                  <a:gd name="T79" fmla="*/ 41 h 86"/>
                  <a:gd name="T80" fmla="*/ 18 w 73"/>
                  <a:gd name="T81" fmla="*/ 36 h 86"/>
                  <a:gd name="T82" fmla="*/ 27 w 73"/>
                  <a:gd name="T83" fmla="*/ 36 h 86"/>
                  <a:gd name="T84" fmla="*/ 32 w 73"/>
                  <a:gd name="T85" fmla="*/ 36 h 86"/>
                  <a:gd name="T86" fmla="*/ 36 w 73"/>
                  <a:gd name="T87" fmla="*/ 36 h 86"/>
                  <a:gd name="T88" fmla="*/ 36 w 73"/>
                  <a:gd name="T89" fmla="*/ 32 h 86"/>
                  <a:gd name="T90" fmla="*/ 36 w 73"/>
                  <a:gd name="T91" fmla="*/ 32 h 86"/>
                  <a:gd name="T92" fmla="*/ 32 w 73"/>
                  <a:gd name="T93" fmla="*/ 27 h 86"/>
                  <a:gd name="T94" fmla="*/ 32 w 73"/>
                  <a:gd name="T95" fmla="*/ 27 h 86"/>
                  <a:gd name="T96" fmla="*/ 32 w 73"/>
                  <a:gd name="T97" fmla="*/ 23 h 86"/>
                  <a:gd name="T98" fmla="*/ 27 w 73"/>
                  <a:gd name="T99" fmla="*/ 18 h 86"/>
                  <a:gd name="T100" fmla="*/ 23 w 73"/>
                  <a:gd name="T101" fmla="*/ 14 h 86"/>
                  <a:gd name="T102" fmla="*/ 23 w 73"/>
                  <a:gd name="T103" fmla="*/ 14 h 86"/>
                  <a:gd name="T104" fmla="*/ 32 w 73"/>
                  <a:gd name="T105" fmla="*/ 14 h 86"/>
                  <a:gd name="T106" fmla="*/ 32 w 73"/>
                  <a:gd name="T107" fmla="*/ 5 h 86"/>
                  <a:gd name="T108" fmla="*/ 41 w 73"/>
                  <a:gd name="T109" fmla="*/ 0 h 86"/>
                  <a:gd name="T110" fmla="*/ 55 w 73"/>
                  <a:gd name="T111" fmla="*/ 5 h 86"/>
                  <a:gd name="T112" fmla="*/ 64 w 73"/>
                  <a:gd name="T113" fmla="*/ 5 h 86"/>
                  <a:gd name="T114" fmla="*/ 64 w 73"/>
                  <a:gd name="T115" fmla="*/ 14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3" h="86">
                    <a:moveTo>
                      <a:pt x="64" y="14"/>
                    </a:moveTo>
                    <a:lnTo>
                      <a:pt x="64" y="14"/>
                    </a:lnTo>
                    <a:lnTo>
                      <a:pt x="59" y="18"/>
                    </a:lnTo>
                    <a:lnTo>
                      <a:pt x="59" y="23"/>
                    </a:lnTo>
                    <a:lnTo>
                      <a:pt x="59" y="27"/>
                    </a:lnTo>
                    <a:lnTo>
                      <a:pt x="55" y="36"/>
                    </a:lnTo>
                    <a:lnTo>
                      <a:pt x="55" y="41"/>
                    </a:lnTo>
                    <a:lnTo>
                      <a:pt x="55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73" y="45"/>
                    </a:lnTo>
                    <a:lnTo>
                      <a:pt x="73" y="45"/>
                    </a:lnTo>
                    <a:lnTo>
                      <a:pt x="68" y="45"/>
                    </a:lnTo>
                    <a:lnTo>
                      <a:pt x="68" y="50"/>
                    </a:lnTo>
                    <a:lnTo>
                      <a:pt x="64" y="55"/>
                    </a:lnTo>
                    <a:lnTo>
                      <a:pt x="59" y="55"/>
                    </a:lnTo>
                    <a:lnTo>
                      <a:pt x="59" y="55"/>
                    </a:lnTo>
                    <a:lnTo>
                      <a:pt x="59" y="55"/>
                    </a:lnTo>
                    <a:lnTo>
                      <a:pt x="55" y="59"/>
                    </a:lnTo>
                    <a:lnTo>
                      <a:pt x="55" y="59"/>
                    </a:lnTo>
                    <a:lnTo>
                      <a:pt x="50" y="59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73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1" y="77"/>
                    </a:lnTo>
                    <a:lnTo>
                      <a:pt x="41" y="77"/>
                    </a:lnTo>
                    <a:lnTo>
                      <a:pt x="41" y="77"/>
                    </a:lnTo>
                    <a:lnTo>
                      <a:pt x="41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82"/>
                    </a:lnTo>
                    <a:lnTo>
                      <a:pt x="32" y="82"/>
                    </a:lnTo>
                    <a:lnTo>
                      <a:pt x="32" y="82"/>
                    </a:lnTo>
                    <a:lnTo>
                      <a:pt x="32" y="86"/>
                    </a:lnTo>
                    <a:lnTo>
                      <a:pt x="27" y="82"/>
                    </a:lnTo>
                    <a:lnTo>
                      <a:pt x="23" y="82"/>
                    </a:lnTo>
                    <a:lnTo>
                      <a:pt x="14" y="82"/>
                    </a:lnTo>
                    <a:lnTo>
                      <a:pt x="14" y="77"/>
                    </a:lnTo>
                    <a:lnTo>
                      <a:pt x="9" y="77"/>
                    </a:lnTo>
                    <a:lnTo>
                      <a:pt x="5" y="73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5" y="59"/>
                    </a:lnTo>
                    <a:lnTo>
                      <a:pt x="5" y="55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9" y="45"/>
                    </a:lnTo>
                    <a:lnTo>
                      <a:pt x="9" y="41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27" y="23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7" y="14"/>
                    </a:lnTo>
                    <a:lnTo>
                      <a:pt x="32" y="14"/>
                    </a:lnTo>
                    <a:lnTo>
                      <a:pt x="32" y="9"/>
                    </a:lnTo>
                    <a:lnTo>
                      <a:pt x="32" y="5"/>
                    </a:lnTo>
                    <a:lnTo>
                      <a:pt x="32" y="0"/>
                    </a:lnTo>
                    <a:lnTo>
                      <a:pt x="41" y="0"/>
                    </a:lnTo>
                    <a:lnTo>
                      <a:pt x="45" y="5"/>
                    </a:lnTo>
                    <a:lnTo>
                      <a:pt x="55" y="5"/>
                    </a:lnTo>
                    <a:lnTo>
                      <a:pt x="59" y="5"/>
                    </a:lnTo>
                    <a:lnTo>
                      <a:pt x="64" y="5"/>
                    </a:lnTo>
                    <a:lnTo>
                      <a:pt x="64" y="9"/>
                    </a:lnTo>
                    <a:lnTo>
                      <a:pt x="64" y="1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49" name="Freeform 70"/>
              <p:cNvSpPr>
                <a:spLocks/>
              </p:cNvSpPr>
              <p:nvPr/>
            </p:nvSpPr>
            <p:spPr bwMode="auto">
              <a:xfrm>
                <a:off x="2570163" y="2687639"/>
                <a:ext cx="130175" cy="222250"/>
              </a:xfrm>
              <a:custGeom>
                <a:avLst/>
                <a:gdLst>
                  <a:gd name="T0" fmla="*/ 32 w 82"/>
                  <a:gd name="T1" fmla="*/ 4 h 140"/>
                  <a:gd name="T2" fmla="*/ 50 w 82"/>
                  <a:gd name="T3" fmla="*/ 18 h 140"/>
                  <a:gd name="T4" fmla="*/ 50 w 82"/>
                  <a:gd name="T5" fmla="*/ 36 h 140"/>
                  <a:gd name="T6" fmla="*/ 50 w 82"/>
                  <a:gd name="T7" fmla="*/ 36 h 140"/>
                  <a:gd name="T8" fmla="*/ 59 w 82"/>
                  <a:gd name="T9" fmla="*/ 31 h 140"/>
                  <a:gd name="T10" fmla="*/ 73 w 82"/>
                  <a:gd name="T11" fmla="*/ 45 h 140"/>
                  <a:gd name="T12" fmla="*/ 73 w 82"/>
                  <a:gd name="T13" fmla="*/ 58 h 140"/>
                  <a:gd name="T14" fmla="*/ 73 w 82"/>
                  <a:gd name="T15" fmla="*/ 63 h 140"/>
                  <a:gd name="T16" fmla="*/ 73 w 82"/>
                  <a:gd name="T17" fmla="*/ 63 h 140"/>
                  <a:gd name="T18" fmla="*/ 64 w 82"/>
                  <a:gd name="T19" fmla="*/ 68 h 140"/>
                  <a:gd name="T20" fmla="*/ 59 w 82"/>
                  <a:gd name="T21" fmla="*/ 68 h 140"/>
                  <a:gd name="T22" fmla="*/ 59 w 82"/>
                  <a:gd name="T23" fmla="*/ 77 h 140"/>
                  <a:gd name="T24" fmla="*/ 59 w 82"/>
                  <a:gd name="T25" fmla="*/ 81 h 140"/>
                  <a:gd name="T26" fmla="*/ 59 w 82"/>
                  <a:gd name="T27" fmla="*/ 90 h 140"/>
                  <a:gd name="T28" fmla="*/ 64 w 82"/>
                  <a:gd name="T29" fmla="*/ 99 h 140"/>
                  <a:gd name="T30" fmla="*/ 68 w 82"/>
                  <a:gd name="T31" fmla="*/ 99 h 140"/>
                  <a:gd name="T32" fmla="*/ 68 w 82"/>
                  <a:gd name="T33" fmla="*/ 104 h 140"/>
                  <a:gd name="T34" fmla="*/ 73 w 82"/>
                  <a:gd name="T35" fmla="*/ 108 h 140"/>
                  <a:gd name="T36" fmla="*/ 73 w 82"/>
                  <a:gd name="T37" fmla="*/ 113 h 140"/>
                  <a:gd name="T38" fmla="*/ 73 w 82"/>
                  <a:gd name="T39" fmla="*/ 117 h 140"/>
                  <a:gd name="T40" fmla="*/ 77 w 82"/>
                  <a:gd name="T41" fmla="*/ 122 h 140"/>
                  <a:gd name="T42" fmla="*/ 82 w 82"/>
                  <a:gd name="T43" fmla="*/ 126 h 140"/>
                  <a:gd name="T44" fmla="*/ 82 w 82"/>
                  <a:gd name="T45" fmla="*/ 126 h 140"/>
                  <a:gd name="T46" fmla="*/ 73 w 82"/>
                  <a:gd name="T47" fmla="*/ 126 h 140"/>
                  <a:gd name="T48" fmla="*/ 68 w 82"/>
                  <a:gd name="T49" fmla="*/ 126 h 140"/>
                  <a:gd name="T50" fmla="*/ 64 w 82"/>
                  <a:gd name="T51" fmla="*/ 131 h 140"/>
                  <a:gd name="T52" fmla="*/ 59 w 82"/>
                  <a:gd name="T53" fmla="*/ 131 h 140"/>
                  <a:gd name="T54" fmla="*/ 55 w 82"/>
                  <a:gd name="T55" fmla="*/ 135 h 140"/>
                  <a:gd name="T56" fmla="*/ 50 w 82"/>
                  <a:gd name="T57" fmla="*/ 135 h 140"/>
                  <a:gd name="T58" fmla="*/ 50 w 82"/>
                  <a:gd name="T59" fmla="*/ 135 h 140"/>
                  <a:gd name="T60" fmla="*/ 45 w 82"/>
                  <a:gd name="T61" fmla="*/ 140 h 140"/>
                  <a:gd name="T62" fmla="*/ 41 w 82"/>
                  <a:gd name="T63" fmla="*/ 140 h 140"/>
                  <a:gd name="T64" fmla="*/ 32 w 82"/>
                  <a:gd name="T65" fmla="*/ 135 h 140"/>
                  <a:gd name="T66" fmla="*/ 27 w 82"/>
                  <a:gd name="T67" fmla="*/ 131 h 140"/>
                  <a:gd name="T68" fmla="*/ 27 w 82"/>
                  <a:gd name="T69" fmla="*/ 131 h 140"/>
                  <a:gd name="T70" fmla="*/ 23 w 82"/>
                  <a:gd name="T71" fmla="*/ 122 h 140"/>
                  <a:gd name="T72" fmla="*/ 23 w 82"/>
                  <a:gd name="T73" fmla="*/ 108 h 140"/>
                  <a:gd name="T74" fmla="*/ 23 w 82"/>
                  <a:gd name="T75" fmla="*/ 99 h 140"/>
                  <a:gd name="T76" fmla="*/ 27 w 82"/>
                  <a:gd name="T77" fmla="*/ 90 h 140"/>
                  <a:gd name="T78" fmla="*/ 27 w 82"/>
                  <a:gd name="T79" fmla="*/ 86 h 140"/>
                  <a:gd name="T80" fmla="*/ 27 w 82"/>
                  <a:gd name="T81" fmla="*/ 81 h 140"/>
                  <a:gd name="T82" fmla="*/ 23 w 82"/>
                  <a:gd name="T83" fmla="*/ 77 h 140"/>
                  <a:gd name="T84" fmla="*/ 18 w 82"/>
                  <a:gd name="T85" fmla="*/ 77 h 140"/>
                  <a:gd name="T86" fmla="*/ 23 w 82"/>
                  <a:gd name="T87" fmla="*/ 68 h 140"/>
                  <a:gd name="T88" fmla="*/ 18 w 82"/>
                  <a:gd name="T89" fmla="*/ 63 h 140"/>
                  <a:gd name="T90" fmla="*/ 14 w 82"/>
                  <a:gd name="T91" fmla="*/ 63 h 140"/>
                  <a:gd name="T92" fmla="*/ 0 w 82"/>
                  <a:gd name="T93" fmla="*/ 49 h 140"/>
                  <a:gd name="T94" fmla="*/ 5 w 82"/>
                  <a:gd name="T95" fmla="*/ 45 h 140"/>
                  <a:gd name="T96" fmla="*/ 5 w 82"/>
                  <a:gd name="T97" fmla="*/ 36 h 140"/>
                  <a:gd name="T98" fmla="*/ 9 w 82"/>
                  <a:gd name="T99" fmla="*/ 36 h 140"/>
                  <a:gd name="T100" fmla="*/ 14 w 82"/>
                  <a:gd name="T101" fmla="*/ 31 h 140"/>
                  <a:gd name="T102" fmla="*/ 18 w 82"/>
                  <a:gd name="T103" fmla="*/ 27 h 140"/>
                  <a:gd name="T104" fmla="*/ 14 w 82"/>
                  <a:gd name="T105" fmla="*/ 27 h 140"/>
                  <a:gd name="T106" fmla="*/ 14 w 82"/>
                  <a:gd name="T107" fmla="*/ 18 h 140"/>
                  <a:gd name="T108" fmla="*/ 18 w 82"/>
                  <a:gd name="T109" fmla="*/ 13 h 140"/>
                  <a:gd name="T110" fmla="*/ 27 w 82"/>
                  <a:gd name="T111" fmla="*/ 9 h 140"/>
                  <a:gd name="T112" fmla="*/ 27 w 82"/>
                  <a:gd name="T113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82" h="140">
                    <a:moveTo>
                      <a:pt x="32" y="4"/>
                    </a:move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1" y="9"/>
                    </a:lnTo>
                    <a:lnTo>
                      <a:pt x="45" y="13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7"/>
                    </a:lnTo>
                    <a:lnTo>
                      <a:pt x="50" y="31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45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5" y="31"/>
                    </a:lnTo>
                    <a:lnTo>
                      <a:pt x="55" y="31"/>
                    </a:lnTo>
                    <a:lnTo>
                      <a:pt x="55" y="31"/>
                    </a:lnTo>
                    <a:lnTo>
                      <a:pt x="59" y="31"/>
                    </a:lnTo>
                    <a:lnTo>
                      <a:pt x="59" y="31"/>
                    </a:lnTo>
                    <a:lnTo>
                      <a:pt x="64" y="36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73" y="45"/>
                    </a:lnTo>
                    <a:lnTo>
                      <a:pt x="73" y="45"/>
                    </a:lnTo>
                    <a:lnTo>
                      <a:pt x="73" y="45"/>
                    </a:lnTo>
                    <a:lnTo>
                      <a:pt x="73" y="49"/>
                    </a:lnTo>
                    <a:lnTo>
                      <a:pt x="73" y="58"/>
                    </a:lnTo>
                    <a:lnTo>
                      <a:pt x="73" y="58"/>
                    </a:lnTo>
                    <a:lnTo>
                      <a:pt x="73" y="58"/>
                    </a:lnTo>
                    <a:lnTo>
                      <a:pt x="73" y="58"/>
                    </a:lnTo>
                    <a:lnTo>
                      <a:pt x="73" y="63"/>
                    </a:lnTo>
                    <a:lnTo>
                      <a:pt x="68" y="63"/>
                    </a:lnTo>
                    <a:lnTo>
                      <a:pt x="73" y="63"/>
                    </a:lnTo>
                    <a:lnTo>
                      <a:pt x="73" y="63"/>
                    </a:lnTo>
                    <a:lnTo>
                      <a:pt x="73" y="63"/>
                    </a:lnTo>
                    <a:lnTo>
                      <a:pt x="73" y="63"/>
                    </a:lnTo>
                    <a:lnTo>
                      <a:pt x="73" y="63"/>
                    </a:lnTo>
                    <a:lnTo>
                      <a:pt x="73" y="63"/>
                    </a:lnTo>
                    <a:lnTo>
                      <a:pt x="73" y="63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59" y="68"/>
                    </a:lnTo>
                    <a:lnTo>
                      <a:pt x="59" y="72"/>
                    </a:lnTo>
                    <a:lnTo>
                      <a:pt x="59" y="72"/>
                    </a:lnTo>
                    <a:lnTo>
                      <a:pt x="59" y="72"/>
                    </a:lnTo>
                    <a:lnTo>
                      <a:pt x="59" y="72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9" y="81"/>
                    </a:lnTo>
                    <a:lnTo>
                      <a:pt x="59" y="81"/>
                    </a:lnTo>
                    <a:lnTo>
                      <a:pt x="55" y="86"/>
                    </a:lnTo>
                    <a:lnTo>
                      <a:pt x="55" y="86"/>
                    </a:lnTo>
                    <a:lnTo>
                      <a:pt x="55" y="86"/>
                    </a:lnTo>
                    <a:lnTo>
                      <a:pt x="59" y="90"/>
                    </a:lnTo>
                    <a:lnTo>
                      <a:pt x="59" y="90"/>
                    </a:lnTo>
                    <a:lnTo>
                      <a:pt x="59" y="95"/>
                    </a:lnTo>
                    <a:lnTo>
                      <a:pt x="64" y="95"/>
                    </a:lnTo>
                    <a:lnTo>
                      <a:pt x="64" y="95"/>
                    </a:lnTo>
                    <a:lnTo>
                      <a:pt x="64" y="99"/>
                    </a:lnTo>
                    <a:lnTo>
                      <a:pt x="64" y="99"/>
                    </a:lnTo>
                    <a:lnTo>
                      <a:pt x="64" y="99"/>
                    </a:lnTo>
                    <a:lnTo>
                      <a:pt x="64" y="99"/>
                    </a:lnTo>
                    <a:lnTo>
                      <a:pt x="64" y="99"/>
                    </a:lnTo>
                    <a:lnTo>
                      <a:pt x="68" y="99"/>
                    </a:lnTo>
                    <a:lnTo>
                      <a:pt x="68" y="99"/>
                    </a:lnTo>
                    <a:lnTo>
                      <a:pt x="68" y="99"/>
                    </a:lnTo>
                    <a:lnTo>
                      <a:pt x="68" y="99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3" y="108"/>
                    </a:lnTo>
                    <a:lnTo>
                      <a:pt x="73" y="108"/>
                    </a:lnTo>
                    <a:lnTo>
                      <a:pt x="73" y="108"/>
                    </a:lnTo>
                    <a:lnTo>
                      <a:pt x="73" y="108"/>
                    </a:lnTo>
                    <a:lnTo>
                      <a:pt x="73" y="113"/>
                    </a:lnTo>
                    <a:lnTo>
                      <a:pt x="73" y="113"/>
                    </a:lnTo>
                    <a:lnTo>
                      <a:pt x="73" y="113"/>
                    </a:lnTo>
                    <a:lnTo>
                      <a:pt x="73" y="113"/>
                    </a:lnTo>
                    <a:lnTo>
                      <a:pt x="73" y="113"/>
                    </a:lnTo>
                    <a:lnTo>
                      <a:pt x="73" y="113"/>
                    </a:lnTo>
                    <a:lnTo>
                      <a:pt x="73" y="113"/>
                    </a:lnTo>
                    <a:lnTo>
                      <a:pt x="73" y="117"/>
                    </a:lnTo>
                    <a:lnTo>
                      <a:pt x="73" y="117"/>
                    </a:lnTo>
                    <a:lnTo>
                      <a:pt x="77" y="117"/>
                    </a:lnTo>
                    <a:lnTo>
                      <a:pt x="77" y="117"/>
                    </a:lnTo>
                    <a:lnTo>
                      <a:pt x="77" y="122"/>
                    </a:lnTo>
                    <a:lnTo>
                      <a:pt x="77" y="122"/>
                    </a:lnTo>
                    <a:lnTo>
                      <a:pt x="77" y="122"/>
                    </a:lnTo>
                    <a:lnTo>
                      <a:pt x="77" y="122"/>
                    </a:lnTo>
                    <a:lnTo>
                      <a:pt x="77" y="126"/>
                    </a:lnTo>
                    <a:lnTo>
                      <a:pt x="82" y="126"/>
                    </a:lnTo>
                    <a:lnTo>
                      <a:pt x="82" y="126"/>
                    </a:lnTo>
                    <a:lnTo>
                      <a:pt x="82" y="126"/>
                    </a:lnTo>
                    <a:lnTo>
                      <a:pt x="82" y="126"/>
                    </a:lnTo>
                    <a:lnTo>
                      <a:pt x="82" y="126"/>
                    </a:lnTo>
                    <a:lnTo>
                      <a:pt x="82" y="126"/>
                    </a:lnTo>
                    <a:lnTo>
                      <a:pt x="82" y="126"/>
                    </a:lnTo>
                    <a:lnTo>
                      <a:pt x="77" y="126"/>
                    </a:lnTo>
                    <a:lnTo>
                      <a:pt x="77" y="126"/>
                    </a:lnTo>
                    <a:lnTo>
                      <a:pt x="77" y="126"/>
                    </a:lnTo>
                    <a:lnTo>
                      <a:pt x="73" y="126"/>
                    </a:lnTo>
                    <a:lnTo>
                      <a:pt x="73" y="126"/>
                    </a:lnTo>
                    <a:lnTo>
                      <a:pt x="73" y="126"/>
                    </a:lnTo>
                    <a:lnTo>
                      <a:pt x="73" y="126"/>
                    </a:lnTo>
                    <a:lnTo>
                      <a:pt x="73" y="126"/>
                    </a:lnTo>
                    <a:lnTo>
                      <a:pt x="73" y="126"/>
                    </a:lnTo>
                    <a:lnTo>
                      <a:pt x="68" y="126"/>
                    </a:lnTo>
                    <a:lnTo>
                      <a:pt x="68" y="126"/>
                    </a:lnTo>
                    <a:lnTo>
                      <a:pt x="68" y="126"/>
                    </a:lnTo>
                    <a:lnTo>
                      <a:pt x="68" y="126"/>
                    </a:lnTo>
                    <a:lnTo>
                      <a:pt x="64" y="131"/>
                    </a:lnTo>
                    <a:lnTo>
                      <a:pt x="64" y="131"/>
                    </a:lnTo>
                    <a:lnTo>
                      <a:pt x="64" y="131"/>
                    </a:lnTo>
                    <a:lnTo>
                      <a:pt x="64" y="131"/>
                    </a:lnTo>
                    <a:lnTo>
                      <a:pt x="59" y="131"/>
                    </a:lnTo>
                    <a:lnTo>
                      <a:pt x="59" y="131"/>
                    </a:lnTo>
                    <a:lnTo>
                      <a:pt x="59" y="131"/>
                    </a:lnTo>
                    <a:lnTo>
                      <a:pt x="55" y="131"/>
                    </a:lnTo>
                    <a:lnTo>
                      <a:pt x="55" y="135"/>
                    </a:lnTo>
                    <a:lnTo>
                      <a:pt x="55" y="135"/>
                    </a:lnTo>
                    <a:lnTo>
                      <a:pt x="55" y="135"/>
                    </a:lnTo>
                    <a:lnTo>
                      <a:pt x="55" y="135"/>
                    </a:lnTo>
                    <a:lnTo>
                      <a:pt x="55" y="135"/>
                    </a:lnTo>
                    <a:lnTo>
                      <a:pt x="55" y="135"/>
                    </a:lnTo>
                    <a:lnTo>
                      <a:pt x="50" y="135"/>
                    </a:lnTo>
                    <a:lnTo>
                      <a:pt x="50" y="135"/>
                    </a:lnTo>
                    <a:lnTo>
                      <a:pt x="50" y="135"/>
                    </a:lnTo>
                    <a:lnTo>
                      <a:pt x="50" y="135"/>
                    </a:lnTo>
                    <a:lnTo>
                      <a:pt x="50" y="135"/>
                    </a:lnTo>
                    <a:lnTo>
                      <a:pt x="50" y="135"/>
                    </a:lnTo>
                    <a:lnTo>
                      <a:pt x="50" y="135"/>
                    </a:lnTo>
                    <a:lnTo>
                      <a:pt x="50" y="135"/>
                    </a:lnTo>
                    <a:lnTo>
                      <a:pt x="45" y="135"/>
                    </a:lnTo>
                    <a:lnTo>
                      <a:pt x="45" y="140"/>
                    </a:lnTo>
                    <a:lnTo>
                      <a:pt x="45" y="140"/>
                    </a:lnTo>
                    <a:lnTo>
                      <a:pt x="45" y="140"/>
                    </a:lnTo>
                    <a:lnTo>
                      <a:pt x="45" y="140"/>
                    </a:lnTo>
                    <a:lnTo>
                      <a:pt x="45" y="140"/>
                    </a:lnTo>
                    <a:lnTo>
                      <a:pt x="45" y="140"/>
                    </a:lnTo>
                    <a:lnTo>
                      <a:pt x="41" y="140"/>
                    </a:lnTo>
                    <a:lnTo>
                      <a:pt x="41" y="140"/>
                    </a:lnTo>
                    <a:lnTo>
                      <a:pt x="41" y="140"/>
                    </a:lnTo>
                    <a:lnTo>
                      <a:pt x="41" y="140"/>
                    </a:lnTo>
                    <a:lnTo>
                      <a:pt x="41" y="140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32" y="135"/>
                    </a:lnTo>
                    <a:lnTo>
                      <a:pt x="32" y="135"/>
                    </a:lnTo>
                    <a:lnTo>
                      <a:pt x="32" y="135"/>
                    </a:lnTo>
                    <a:lnTo>
                      <a:pt x="32" y="135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7" y="126"/>
                    </a:lnTo>
                    <a:lnTo>
                      <a:pt x="27" y="126"/>
                    </a:lnTo>
                    <a:lnTo>
                      <a:pt x="27" y="122"/>
                    </a:lnTo>
                    <a:lnTo>
                      <a:pt x="27" y="122"/>
                    </a:lnTo>
                    <a:lnTo>
                      <a:pt x="23" y="122"/>
                    </a:lnTo>
                    <a:lnTo>
                      <a:pt x="23" y="117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08"/>
                    </a:lnTo>
                    <a:lnTo>
                      <a:pt x="23" y="104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3" y="95"/>
                    </a:lnTo>
                    <a:lnTo>
                      <a:pt x="27" y="95"/>
                    </a:lnTo>
                    <a:lnTo>
                      <a:pt x="27" y="95"/>
                    </a:lnTo>
                    <a:lnTo>
                      <a:pt x="27" y="90"/>
                    </a:lnTo>
                    <a:lnTo>
                      <a:pt x="27" y="90"/>
                    </a:lnTo>
                    <a:lnTo>
                      <a:pt x="32" y="90"/>
                    </a:lnTo>
                    <a:lnTo>
                      <a:pt x="32" y="90"/>
                    </a:lnTo>
                    <a:lnTo>
                      <a:pt x="32" y="90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7" y="81"/>
                    </a:lnTo>
                    <a:lnTo>
                      <a:pt x="27" y="81"/>
                    </a:lnTo>
                    <a:lnTo>
                      <a:pt x="27" y="81"/>
                    </a:lnTo>
                    <a:lnTo>
                      <a:pt x="27" y="81"/>
                    </a:lnTo>
                    <a:lnTo>
                      <a:pt x="27" y="81"/>
                    </a:lnTo>
                    <a:lnTo>
                      <a:pt x="27" y="77"/>
                    </a:lnTo>
                    <a:lnTo>
                      <a:pt x="23" y="77"/>
                    </a:lnTo>
                    <a:lnTo>
                      <a:pt x="23" y="77"/>
                    </a:lnTo>
                    <a:lnTo>
                      <a:pt x="23" y="77"/>
                    </a:lnTo>
                    <a:lnTo>
                      <a:pt x="23" y="77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23" y="77"/>
                    </a:lnTo>
                    <a:lnTo>
                      <a:pt x="23" y="72"/>
                    </a:lnTo>
                    <a:lnTo>
                      <a:pt x="23" y="72"/>
                    </a:lnTo>
                    <a:lnTo>
                      <a:pt x="23" y="68"/>
                    </a:lnTo>
                    <a:lnTo>
                      <a:pt x="23" y="68"/>
                    </a:lnTo>
                    <a:lnTo>
                      <a:pt x="23" y="68"/>
                    </a:lnTo>
                    <a:lnTo>
                      <a:pt x="23" y="63"/>
                    </a:lnTo>
                    <a:lnTo>
                      <a:pt x="23" y="63"/>
                    </a:lnTo>
                    <a:lnTo>
                      <a:pt x="23" y="63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9" y="63"/>
                    </a:lnTo>
                    <a:lnTo>
                      <a:pt x="5" y="58"/>
                    </a:lnTo>
                    <a:lnTo>
                      <a:pt x="5" y="54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0"/>
                    </a:lnTo>
                    <a:lnTo>
                      <a:pt x="5" y="40"/>
                    </a:lnTo>
                    <a:lnTo>
                      <a:pt x="5" y="40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14" y="31"/>
                    </a:lnTo>
                    <a:lnTo>
                      <a:pt x="14" y="31"/>
                    </a:lnTo>
                    <a:lnTo>
                      <a:pt x="14" y="31"/>
                    </a:lnTo>
                    <a:lnTo>
                      <a:pt x="18" y="31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23" y="13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4"/>
                    </a:lnTo>
                    <a:lnTo>
                      <a:pt x="32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50" name="Freeform 71"/>
              <p:cNvSpPr>
                <a:spLocks/>
              </p:cNvSpPr>
              <p:nvPr/>
            </p:nvSpPr>
            <p:spPr bwMode="auto">
              <a:xfrm>
                <a:off x="1831976" y="2443164"/>
                <a:ext cx="171450" cy="93663"/>
              </a:xfrm>
              <a:custGeom>
                <a:avLst/>
                <a:gdLst>
                  <a:gd name="T0" fmla="*/ 77 w 108"/>
                  <a:gd name="T1" fmla="*/ 0 h 59"/>
                  <a:gd name="T2" fmla="*/ 86 w 108"/>
                  <a:gd name="T3" fmla="*/ 4 h 59"/>
                  <a:gd name="T4" fmla="*/ 86 w 108"/>
                  <a:gd name="T5" fmla="*/ 4 h 59"/>
                  <a:gd name="T6" fmla="*/ 99 w 108"/>
                  <a:gd name="T7" fmla="*/ 14 h 59"/>
                  <a:gd name="T8" fmla="*/ 90 w 108"/>
                  <a:gd name="T9" fmla="*/ 14 h 59"/>
                  <a:gd name="T10" fmla="*/ 95 w 108"/>
                  <a:gd name="T11" fmla="*/ 14 h 59"/>
                  <a:gd name="T12" fmla="*/ 99 w 108"/>
                  <a:gd name="T13" fmla="*/ 18 h 59"/>
                  <a:gd name="T14" fmla="*/ 99 w 108"/>
                  <a:gd name="T15" fmla="*/ 18 h 59"/>
                  <a:gd name="T16" fmla="*/ 104 w 108"/>
                  <a:gd name="T17" fmla="*/ 18 h 59"/>
                  <a:gd name="T18" fmla="*/ 104 w 108"/>
                  <a:gd name="T19" fmla="*/ 23 h 59"/>
                  <a:gd name="T20" fmla="*/ 95 w 108"/>
                  <a:gd name="T21" fmla="*/ 23 h 59"/>
                  <a:gd name="T22" fmla="*/ 90 w 108"/>
                  <a:gd name="T23" fmla="*/ 23 h 59"/>
                  <a:gd name="T24" fmla="*/ 90 w 108"/>
                  <a:gd name="T25" fmla="*/ 27 h 59"/>
                  <a:gd name="T26" fmla="*/ 86 w 108"/>
                  <a:gd name="T27" fmla="*/ 27 h 59"/>
                  <a:gd name="T28" fmla="*/ 81 w 108"/>
                  <a:gd name="T29" fmla="*/ 27 h 59"/>
                  <a:gd name="T30" fmla="*/ 77 w 108"/>
                  <a:gd name="T31" fmla="*/ 23 h 59"/>
                  <a:gd name="T32" fmla="*/ 72 w 108"/>
                  <a:gd name="T33" fmla="*/ 27 h 59"/>
                  <a:gd name="T34" fmla="*/ 72 w 108"/>
                  <a:gd name="T35" fmla="*/ 27 h 59"/>
                  <a:gd name="T36" fmla="*/ 68 w 108"/>
                  <a:gd name="T37" fmla="*/ 32 h 59"/>
                  <a:gd name="T38" fmla="*/ 63 w 108"/>
                  <a:gd name="T39" fmla="*/ 41 h 59"/>
                  <a:gd name="T40" fmla="*/ 59 w 108"/>
                  <a:gd name="T41" fmla="*/ 41 h 59"/>
                  <a:gd name="T42" fmla="*/ 54 w 108"/>
                  <a:gd name="T43" fmla="*/ 41 h 59"/>
                  <a:gd name="T44" fmla="*/ 50 w 108"/>
                  <a:gd name="T45" fmla="*/ 45 h 59"/>
                  <a:gd name="T46" fmla="*/ 41 w 108"/>
                  <a:gd name="T47" fmla="*/ 45 h 59"/>
                  <a:gd name="T48" fmla="*/ 41 w 108"/>
                  <a:gd name="T49" fmla="*/ 54 h 59"/>
                  <a:gd name="T50" fmla="*/ 36 w 108"/>
                  <a:gd name="T51" fmla="*/ 54 h 59"/>
                  <a:gd name="T52" fmla="*/ 32 w 108"/>
                  <a:gd name="T53" fmla="*/ 59 h 59"/>
                  <a:gd name="T54" fmla="*/ 27 w 108"/>
                  <a:gd name="T55" fmla="*/ 54 h 59"/>
                  <a:gd name="T56" fmla="*/ 27 w 108"/>
                  <a:gd name="T57" fmla="*/ 50 h 59"/>
                  <a:gd name="T58" fmla="*/ 23 w 108"/>
                  <a:gd name="T59" fmla="*/ 50 h 59"/>
                  <a:gd name="T60" fmla="*/ 23 w 108"/>
                  <a:gd name="T61" fmla="*/ 50 h 59"/>
                  <a:gd name="T62" fmla="*/ 23 w 108"/>
                  <a:gd name="T63" fmla="*/ 41 h 59"/>
                  <a:gd name="T64" fmla="*/ 18 w 108"/>
                  <a:gd name="T65" fmla="*/ 41 h 59"/>
                  <a:gd name="T66" fmla="*/ 14 w 108"/>
                  <a:gd name="T67" fmla="*/ 41 h 59"/>
                  <a:gd name="T68" fmla="*/ 9 w 108"/>
                  <a:gd name="T69" fmla="*/ 41 h 59"/>
                  <a:gd name="T70" fmla="*/ 9 w 108"/>
                  <a:gd name="T71" fmla="*/ 36 h 59"/>
                  <a:gd name="T72" fmla="*/ 5 w 108"/>
                  <a:gd name="T73" fmla="*/ 32 h 59"/>
                  <a:gd name="T74" fmla="*/ 0 w 108"/>
                  <a:gd name="T75" fmla="*/ 32 h 59"/>
                  <a:gd name="T76" fmla="*/ 0 w 108"/>
                  <a:gd name="T77" fmla="*/ 27 h 59"/>
                  <a:gd name="T78" fmla="*/ 0 w 108"/>
                  <a:gd name="T79" fmla="*/ 23 h 59"/>
                  <a:gd name="T80" fmla="*/ 9 w 108"/>
                  <a:gd name="T81" fmla="*/ 14 h 59"/>
                  <a:gd name="T82" fmla="*/ 18 w 108"/>
                  <a:gd name="T83" fmla="*/ 9 h 59"/>
                  <a:gd name="T84" fmla="*/ 23 w 108"/>
                  <a:gd name="T85" fmla="*/ 4 h 59"/>
                  <a:gd name="T86" fmla="*/ 27 w 108"/>
                  <a:gd name="T87" fmla="*/ 0 h 59"/>
                  <a:gd name="T88" fmla="*/ 36 w 108"/>
                  <a:gd name="T89" fmla="*/ 4 h 59"/>
                  <a:gd name="T90" fmla="*/ 45 w 108"/>
                  <a:gd name="T91" fmla="*/ 4 h 59"/>
                  <a:gd name="T92" fmla="*/ 59 w 108"/>
                  <a:gd name="T93" fmla="*/ 0 h 59"/>
                  <a:gd name="T94" fmla="*/ 63 w 108"/>
                  <a:gd name="T9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8" h="59">
                    <a:moveTo>
                      <a:pt x="63" y="0"/>
                    </a:moveTo>
                    <a:lnTo>
                      <a:pt x="63" y="0"/>
                    </a:lnTo>
                    <a:lnTo>
                      <a:pt x="68" y="0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9" y="14"/>
                    </a:lnTo>
                    <a:lnTo>
                      <a:pt x="99" y="14"/>
                    </a:lnTo>
                    <a:lnTo>
                      <a:pt x="95" y="9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5" y="14"/>
                    </a:lnTo>
                    <a:lnTo>
                      <a:pt x="95" y="14"/>
                    </a:lnTo>
                    <a:lnTo>
                      <a:pt x="95" y="14"/>
                    </a:lnTo>
                    <a:lnTo>
                      <a:pt x="95" y="14"/>
                    </a:lnTo>
                    <a:lnTo>
                      <a:pt x="95" y="18"/>
                    </a:lnTo>
                    <a:lnTo>
                      <a:pt x="99" y="18"/>
                    </a:lnTo>
                    <a:lnTo>
                      <a:pt x="99" y="14"/>
                    </a:lnTo>
                    <a:lnTo>
                      <a:pt x="99" y="14"/>
                    </a:lnTo>
                    <a:lnTo>
                      <a:pt x="99" y="18"/>
                    </a:lnTo>
                    <a:lnTo>
                      <a:pt x="99" y="18"/>
                    </a:lnTo>
                    <a:lnTo>
                      <a:pt x="99" y="14"/>
                    </a:lnTo>
                    <a:lnTo>
                      <a:pt x="99" y="14"/>
                    </a:lnTo>
                    <a:lnTo>
                      <a:pt x="99" y="14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8" y="23"/>
                    </a:lnTo>
                    <a:lnTo>
                      <a:pt x="104" y="23"/>
                    </a:lnTo>
                    <a:lnTo>
                      <a:pt x="99" y="23"/>
                    </a:lnTo>
                    <a:lnTo>
                      <a:pt x="99" y="23"/>
                    </a:lnTo>
                    <a:lnTo>
                      <a:pt x="99" y="23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90" y="27"/>
                    </a:lnTo>
                    <a:lnTo>
                      <a:pt x="90" y="23"/>
                    </a:lnTo>
                    <a:lnTo>
                      <a:pt x="90" y="27"/>
                    </a:lnTo>
                    <a:lnTo>
                      <a:pt x="90" y="27"/>
                    </a:lnTo>
                    <a:lnTo>
                      <a:pt x="90" y="27"/>
                    </a:lnTo>
                    <a:lnTo>
                      <a:pt x="90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77" y="27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3" y="36"/>
                    </a:lnTo>
                    <a:lnTo>
                      <a:pt x="63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0" y="41"/>
                    </a:lnTo>
                    <a:lnTo>
                      <a:pt x="50" y="41"/>
                    </a:lnTo>
                    <a:lnTo>
                      <a:pt x="50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1" y="45"/>
                    </a:lnTo>
                    <a:lnTo>
                      <a:pt x="41" y="45"/>
                    </a:lnTo>
                    <a:lnTo>
                      <a:pt x="41" y="45"/>
                    </a:lnTo>
                    <a:lnTo>
                      <a:pt x="41" y="45"/>
                    </a:lnTo>
                    <a:lnTo>
                      <a:pt x="41" y="50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2" y="59"/>
                    </a:lnTo>
                    <a:lnTo>
                      <a:pt x="32" y="59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14" y="14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41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51" name="Freeform 72"/>
              <p:cNvSpPr>
                <a:spLocks/>
              </p:cNvSpPr>
              <p:nvPr/>
            </p:nvSpPr>
            <p:spPr bwMode="auto">
              <a:xfrm>
                <a:off x="4629151" y="1560514"/>
                <a:ext cx="142875" cy="107950"/>
              </a:xfrm>
              <a:custGeom>
                <a:avLst/>
                <a:gdLst>
                  <a:gd name="T0" fmla="*/ 54 w 90"/>
                  <a:gd name="T1" fmla="*/ 4 h 68"/>
                  <a:gd name="T2" fmla="*/ 59 w 90"/>
                  <a:gd name="T3" fmla="*/ 9 h 68"/>
                  <a:gd name="T4" fmla="*/ 63 w 90"/>
                  <a:gd name="T5" fmla="*/ 13 h 68"/>
                  <a:gd name="T6" fmla="*/ 72 w 90"/>
                  <a:gd name="T7" fmla="*/ 13 h 68"/>
                  <a:gd name="T8" fmla="*/ 77 w 90"/>
                  <a:gd name="T9" fmla="*/ 13 h 68"/>
                  <a:gd name="T10" fmla="*/ 81 w 90"/>
                  <a:gd name="T11" fmla="*/ 13 h 68"/>
                  <a:gd name="T12" fmla="*/ 81 w 90"/>
                  <a:gd name="T13" fmla="*/ 13 h 68"/>
                  <a:gd name="T14" fmla="*/ 81 w 90"/>
                  <a:gd name="T15" fmla="*/ 18 h 68"/>
                  <a:gd name="T16" fmla="*/ 86 w 90"/>
                  <a:gd name="T17" fmla="*/ 18 h 68"/>
                  <a:gd name="T18" fmla="*/ 90 w 90"/>
                  <a:gd name="T19" fmla="*/ 22 h 68"/>
                  <a:gd name="T20" fmla="*/ 90 w 90"/>
                  <a:gd name="T21" fmla="*/ 27 h 68"/>
                  <a:gd name="T22" fmla="*/ 86 w 90"/>
                  <a:gd name="T23" fmla="*/ 27 h 68"/>
                  <a:gd name="T24" fmla="*/ 86 w 90"/>
                  <a:gd name="T25" fmla="*/ 27 h 68"/>
                  <a:gd name="T26" fmla="*/ 86 w 90"/>
                  <a:gd name="T27" fmla="*/ 32 h 68"/>
                  <a:gd name="T28" fmla="*/ 86 w 90"/>
                  <a:gd name="T29" fmla="*/ 32 h 68"/>
                  <a:gd name="T30" fmla="*/ 81 w 90"/>
                  <a:gd name="T31" fmla="*/ 32 h 68"/>
                  <a:gd name="T32" fmla="*/ 77 w 90"/>
                  <a:gd name="T33" fmla="*/ 27 h 68"/>
                  <a:gd name="T34" fmla="*/ 72 w 90"/>
                  <a:gd name="T35" fmla="*/ 27 h 68"/>
                  <a:gd name="T36" fmla="*/ 68 w 90"/>
                  <a:gd name="T37" fmla="*/ 27 h 68"/>
                  <a:gd name="T38" fmla="*/ 63 w 90"/>
                  <a:gd name="T39" fmla="*/ 27 h 68"/>
                  <a:gd name="T40" fmla="*/ 59 w 90"/>
                  <a:gd name="T41" fmla="*/ 27 h 68"/>
                  <a:gd name="T42" fmla="*/ 45 w 90"/>
                  <a:gd name="T43" fmla="*/ 27 h 68"/>
                  <a:gd name="T44" fmla="*/ 41 w 90"/>
                  <a:gd name="T45" fmla="*/ 27 h 68"/>
                  <a:gd name="T46" fmla="*/ 36 w 90"/>
                  <a:gd name="T47" fmla="*/ 27 h 68"/>
                  <a:gd name="T48" fmla="*/ 36 w 90"/>
                  <a:gd name="T49" fmla="*/ 32 h 68"/>
                  <a:gd name="T50" fmla="*/ 41 w 90"/>
                  <a:gd name="T51" fmla="*/ 41 h 68"/>
                  <a:gd name="T52" fmla="*/ 45 w 90"/>
                  <a:gd name="T53" fmla="*/ 45 h 68"/>
                  <a:gd name="T54" fmla="*/ 50 w 90"/>
                  <a:gd name="T55" fmla="*/ 50 h 68"/>
                  <a:gd name="T56" fmla="*/ 59 w 90"/>
                  <a:gd name="T57" fmla="*/ 59 h 68"/>
                  <a:gd name="T58" fmla="*/ 63 w 90"/>
                  <a:gd name="T59" fmla="*/ 63 h 68"/>
                  <a:gd name="T60" fmla="*/ 63 w 90"/>
                  <a:gd name="T61" fmla="*/ 68 h 68"/>
                  <a:gd name="T62" fmla="*/ 59 w 90"/>
                  <a:gd name="T63" fmla="*/ 63 h 68"/>
                  <a:gd name="T64" fmla="*/ 45 w 90"/>
                  <a:gd name="T65" fmla="*/ 59 h 68"/>
                  <a:gd name="T66" fmla="*/ 41 w 90"/>
                  <a:gd name="T67" fmla="*/ 54 h 68"/>
                  <a:gd name="T68" fmla="*/ 36 w 90"/>
                  <a:gd name="T69" fmla="*/ 50 h 68"/>
                  <a:gd name="T70" fmla="*/ 27 w 90"/>
                  <a:gd name="T71" fmla="*/ 45 h 68"/>
                  <a:gd name="T72" fmla="*/ 31 w 90"/>
                  <a:gd name="T73" fmla="*/ 45 h 68"/>
                  <a:gd name="T74" fmla="*/ 22 w 90"/>
                  <a:gd name="T75" fmla="*/ 36 h 68"/>
                  <a:gd name="T76" fmla="*/ 18 w 90"/>
                  <a:gd name="T77" fmla="*/ 27 h 68"/>
                  <a:gd name="T78" fmla="*/ 13 w 90"/>
                  <a:gd name="T79" fmla="*/ 22 h 68"/>
                  <a:gd name="T80" fmla="*/ 9 w 90"/>
                  <a:gd name="T81" fmla="*/ 32 h 68"/>
                  <a:gd name="T82" fmla="*/ 4 w 90"/>
                  <a:gd name="T83" fmla="*/ 27 h 68"/>
                  <a:gd name="T84" fmla="*/ 0 w 90"/>
                  <a:gd name="T85" fmla="*/ 18 h 68"/>
                  <a:gd name="T86" fmla="*/ 9 w 90"/>
                  <a:gd name="T87" fmla="*/ 22 h 68"/>
                  <a:gd name="T88" fmla="*/ 9 w 90"/>
                  <a:gd name="T89" fmla="*/ 22 h 68"/>
                  <a:gd name="T90" fmla="*/ 18 w 90"/>
                  <a:gd name="T91" fmla="*/ 18 h 68"/>
                  <a:gd name="T92" fmla="*/ 18 w 90"/>
                  <a:gd name="T93" fmla="*/ 18 h 68"/>
                  <a:gd name="T94" fmla="*/ 22 w 90"/>
                  <a:gd name="T95" fmla="*/ 22 h 68"/>
                  <a:gd name="T96" fmla="*/ 27 w 90"/>
                  <a:gd name="T97" fmla="*/ 22 h 68"/>
                  <a:gd name="T98" fmla="*/ 27 w 90"/>
                  <a:gd name="T99" fmla="*/ 18 h 68"/>
                  <a:gd name="T100" fmla="*/ 27 w 90"/>
                  <a:gd name="T101" fmla="*/ 18 h 68"/>
                  <a:gd name="T102" fmla="*/ 31 w 90"/>
                  <a:gd name="T103" fmla="*/ 13 h 68"/>
                  <a:gd name="T104" fmla="*/ 31 w 90"/>
                  <a:gd name="T105" fmla="*/ 9 h 68"/>
                  <a:gd name="T106" fmla="*/ 31 w 90"/>
                  <a:gd name="T107" fmla="*/ 4 h 68"/>
                  <a:gd name="T108" fmla="*/ 36 w 90"/>
                  <a:gd name="T109" fmla="*/ 4 h 68"/>
                  <a:gd name="T110" fmla="*/ 41 w 90"/>
                  <a:gd name="T111" fmla="*/ 4 h 68"/>
                  <a:gd name="T112" fmla="*/ 41 w 90"/>
                  <a:gd name="T113" fmla="*/ 0 h 68"/>
                  <a:gd name="T114" fmla="*/ 50 w 90"/>
                  <a:gd name="T115" fmla="*/ 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90" h="68">
                    <a:moveTo>
                      <a:pt x="50" y="4"/>
                    </a:moveTo>
                    <a:lnTo>
                      <a:pt x="50" y="4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13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8" y="13"/>
                    </a:lnTo>
                    <a:lnTo>
                      <a:pt x="68" y="13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77" y="13"/>
                    </a:lnTo>
                    <a:lnTo>
                      <a:pt x="77" y="13"/>
                    </a:lnTo>
                    <a:lnTo>
                      <a:pt x="77" y="13"/>
                    </a:lnTo>
                    <a:lnTo>
                      <a:pt x="77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7"/>
                    </a:lnTo>
                    <a:lnTo>
                      <a:pt x="90" y="27"/>
                    </a:lnTo>
                    <a:lnTo>
                      <a:pt x="90" y="27"/>
                    </a:lnTo>
                    <a:lnTo>
                      <a:pt x="90" y="27"/>
                    </a:lnTo>
                    <a:lnTo>
                      <a:pt x="90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1" y="32"/>
                    </a:lnTo>
                    <a:lnTo>
                      <a:pt x="81" y="32"/>
                    </a:lnTo>
                    <a:lnTo>
                      <a:pt x="81" y="32"/>
                    </a:lnTo>
                    <a:lnTo>
                      <a:pt x="81" y="32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77" y="27"/>
                    </a:lnTo>
                    <a:lnTo>
                      <a:pt x="77" y="27"/>
                    </a:lnTo>
                    <a:lnTo>
                      <a:pt x="77" y="27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68" y="27"/>
                    </a:lnTo>
                    <a:lnTo>
                      <a:pt x="68" y="27"/>
                    </a:lnTo>
                    <a:lnTo>
                      <a:pt x="68" y="27"/>
                    </a:lnTo>
                    <a:lnTo>
                      <a:pt x="68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4" y="27"/>
                    </a:lnTo>
                    <a:lnTo>
                      <a:pt x="54" y="22"/>
                    </a:lnTo>
                    <a:lnTo>
                      <a:pt x="50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1" y="36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41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54"/>
                    </a:lnTo>
                    <a:lnTo>
                      <a:pt x="54" y="54"/>
                    </a:lnTo>
                    <a:lnTo>
                      <a:pt x="54" y="59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9" y="63"/>
                    </a:lnTo>
                    <a:lnTo>
                      <a:pt x="63" y="63"/>
                    </a:lnTo>
                    <a:lnTo>
                      <a:pt x="63" y="68"/>
                    </a:lnTo>
                    <a:lnTo>
                      <a:pt x="63" y="68"/>
                    </a:lnTo>
                    <a:lnTo>
                      <a:pt x="68" y="68"/>
                    </a:lnTo>
                    <a:lnTo>
                      <a:pt x="63" y="68"/>
                    </a:lnTo>
                    <a:lnTo>
                      <a:pt x="63" y="68"/>
                    </a:lnTo>
                    <a:lnTo>
                      <a:pt x="63" y="68"/>
                    </a:lnTo>
                    <a:lnTo>
                      <a:pt x="59" y="63"/>
                    </a:lnTo>
                    <a:lnTo>
                      <a:pt x="59" y="63"/>
                    </a:lnTo>
                    <a:lnTo>
                      <a:pt x="54" y="59"/>
                    </a:lnTo>
                    <a:lnTo>
                      <a:pt x="50" y="59"/>
                    </a:lnTo>
                    <a:lnTo>
                      <a:pt x="45" y="59"/>
                    </a:lnTo>
                    <a:lnTo>
                      <a:pt x="45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36" y="54"/>
                    </a:lnTo>
                    <a:lnTo>
                      <a:pt x="36" y="50"/>
                    </a:lnTo>
                    <a:lnTo>
                      <a:pt x="31" y="50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31" y="41"/>
                    </a:lnTo>
                    <a:lnTo>
                      <a:pt x="31" y="45"/>
                    </a:lnTo>
                    <a:lnTo>
                      <a:pt x="31" y="41"/>
                    </a:lnTo>
                    <a:lnTo>
                      <a:pt x="27" y="41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18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3" y="27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50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52" name="Freeform 73"/>
              <p:cNvSpPr>
                <a:spLocks/>
              </p:cNvSpPr>
              <p:nvPr/>
            </p:nvSpPr>
            <p:spPr bwMode="auto">
              <a:xfrm>
                <a:off x="2255838" y="2328864"/>
                <a:ext cx="77788" cy="57150"/>
              </a:xfrm>
              <a:custGeom>
                <a:avLst/>
                <a:gdLst>
                  <a:gd name="T0" fmla="*/ 49 w 49"/>
                  <a:gd name="T1" fmla="*/ 4 h 36"/>
                  <a:gd name="T2" fmla="*/ 49 w 49"/>
                  <a:gd name="T3" fmla="*/ 4 h 36"/>
                  <a:gd name="T4" fmla="*/ 49 w 49"/>
                  <a:gd name="T5" fmla="*/ 9 h 36"/>
                  <a:gd name="T6" fmla="*/ 49 w 49"/>
                  <a:gd name="T7" fmla="*/ 13 h 36"/>
                  <a:gd name="T8" fmla="*/ 49 w 49"/>
                  <a:gd name="T9" fmla="*/ 13 h 36"/>
                  <a:gd name="T10" fmla="*/ 49 w 49"/>
                  <a:gd name="T11" fmla="*/ 18 h 36"/>
                  <a:gd name="T12" fmla="*/ 49 w 49"/>
                  <a:gd name="T13" fmla="*/ 18 h 36"/>
                  <a:gd name="T14" fmla="*/ 49 w 49"/>
                  <a:gd name="T15" fmla="*/ 22 h 36"/>
                  <a:gd name="T16" fmla="*/ 49 w 49"/>
                  <a:gd name="T17" fmla="*/ 22 h 36"/>
                  <a:gd name="T18" fmla="*/ 45 w 49"/>
                  <a:gd name="T19" fmla="*/ 27 h 36"/>
                  <a:gd name="T20" fmla="*/ 45 w 49"/>
                  <a:gd name="T21" fmla="*/ 27 h 36"/>
                  <a:gd name="T22" fmla="*/ 45 w 49"/>
                  <a:gd name="T23" fmla="*/ 31 h 36"/>
                  <a:gd name="T24" fmla="*/ 45 w 49"/>
                  <a:gd name="T25" fmla="*/ 31 h 36"/>
                  <a:gd name="T26" fmla="*/ 45 w 49"/>
                  <a:gd name="T27" fmla="*/ 36 h 36"/>
                  <a:gd name="T28" fmla="*/ 40 w 49"/>
                  <a:gd name="T29" fmla="*/ 36 h 36"/>
                  <a:gd name="T30" fmla="*/ 40 w 49"/>
                  <a:gd name="T31" fmla="*/ 31 h 36"/>
                  <a:gd name="T32" fmla="*/ 31 w 49"/>
                  <a:gd name="T33" fmla="*/ 36 h 36"/>
                  <a:gd name="T34" fmla="*/ 31 w 49"/>
                  <a:gd name="T35" fmla="*/ 36 h 36"/>
                  <a:gd name="T36" fmla="*/ 27 w 49"/>
                  <a:gd name="T37" fmla="*/ 36 h 36"/>
                  <a:gd name="T38" fmla="*/ 18 w 49"/>
                  <a:gd name="T39" fmla="*/ 31 h 36"/>
                  <a:gd name="T40" fmla="*/ 18 w 49"/>
                  <a:gd name="T41" fmla="*/ 31 h 36"/>
                  <a:gd name="T42" fmla="*/ 13 w 49"/>
                  <a:gd name="T43" fmla="*/ 31 h 36"/>
                  <a:gd name="T44" fmla="*/ 9 w 49"/>
                  <a:gd name="T45" fmla="*/ 36 h 36"/>
                  <a:gd name="T46" fmla="*/ 9 w 49"/>
                  <a:gd name="T47" fmla="*/ 36 h 36"/>
                  <a:gd name="T48" fmla="*/ 4 w 49"/>
                  <a:gd name="T49" fmla="*/ 31 h 36"/>
                  <a:gd name="T50" fmla="*/ 0 w 49"/>
                  <a:gd name="T51" fmla="*/ 31 h 36"/>
                  <a:gd name="T52" fmla="*/ 4 w 49"/>
                  <a:gd name="T53" fmla="*/ 27 h 36"/>
                  <a:gd name="T54" fmla="*/ 4 w 49"/>
                  <a:gd name="T55" fmla="*/ 22 h 36"/>
                  <a:gd name="T56" fmla="*/ 9 w 49"/>
                  <a:gd name="T57" fmla="*/ 27 h 36"/>
                  <a:gd name="T58" fmla="*/ 13 w 49"/>
                  <a:gd name="T59" fmla="*/ 27 h 36"/>
                  <a:gd name="T60" fmla="*/ 27 w 49"/>
                  <a:gd name="T61" fmla="*/ 27 h 36"/>
                  <a:gd name="T62" fmla="*/ 31 w 49"/>
                  <a:gd name="T63" fmla="*/ 27 h 36"/>
                  <a:gd name="T64" fmla="*/ 31 w 49"/>
                  <a:gd name="T65" fmla="*/ 27 h 36"/>
                  <a:gd name="T66" fmla="*/ 36 w 49"/>
                  <a:gd name="T67" fmla="*/ 27 h 36"/>
                  <a:gd name="T68" fmla="*/ 36 w 49"/>
                  <a:gd name="T69" fmla="*/ 27 h 36"/>
                  <a:gd name="T70" fmla="*/ 36 w 49"/>
                  <a:gd name="T71" fmla="*/ 22 h 36"/>
                  <a:gd name="T72" fmla="*/ 31 w 49"/>
                  <a:gd name="T73" fmla="*/ 18 h 36"/>
                  <a:gd name="T74" fmla="*/ 31 w 49"/>
                  <a:gd name="T75" fmla="*/ 13 h 36"/>
                  <a:gd name="T76" fmla="*/ 36 w 49"/>
                  <a:gd name="T77" fmla="*/ 9 h 36"/>
                  <a:gd name="T78" fmla="*/ 27 w 49"/>
                  <a:gd name="T79" fmla="*/ 4 h 36"/>
                  <a:gd name="T80" fmla="*/ 22 w 49"/>
                  <a:gd name="T81" fmla="*/ 4 h 36"/>
                  <a:gd name="T82" fmla="*/ 22 w 49"/>
                  <a:gd name="T83" fmla="*/ 4 h 36"/>
                  <a:gd name="T84" fmla="*/ 27 w 49"/>
                  <a:gd name="T85" fmla="*/ 0 h 36"/>
                  <a:gd name="T86" fmla="*/ 31 w 49"/>
                  <a:gd name="T87" fmla="*/ 0 h 36"/>
                  <a:gd name="T88" fmla="*/ 40 w 49"/>
                  <a:gd name="T89" fmla="*/ 4 h 36"/>
                  <a:gd name="T90" fmla="*/ 49 w 49"/>
                  <a:gd name="T91" fmla="*/ 4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9" h="36">
                    <a:moveTo>
                      <a:pt x="49" y="4"/>
                    </a:moveTo>
                    <a:lnTo>
                      <a:pt x="49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9"/>
                    </a:lnTo>
                    <a:lnTo>
                      <a:pt x="49" y="9"/>
                    </a:lnTo>
                    <a:lnTo>
                      <a:pt x="49" y="13"/>
                    </a:lnTo>
                    <a:lnTo>
                      <a:pt x="49" y="13"/>
                    </a:lnTo>
                    <a:lnTo>
                      <a:pt x="49" y="13"/>
                    </a:lnTo>
                    <a:lnTo>
                      <a:pt x="49" y="13"/>
                    </a:lnTo>
                    <a:lnTo>
                      <a:pt x="49" y="18"/>
                    </a:lnTo>
                    <a:lnTo>
                      <a:pt x="49" y="18"/>
                    </a:lnTo>
                    <a:lnTo>
                      <a:pt x="49" y="18"/>
                    </a:lnTo>
                    <a:lnTo>
                      <a:pt x="49" y="22"/>
                    </a:lnTo>
                    <a:lnTo>
                      <a:pt x="49" y="22"/>
                    </a:lnTo>
                    <a:lnTo>
                      <a:pt x="49" y="22"/>
                    </a:lnTo>
                    <a:lnTo>
                      <a:pt x="49" y="22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31"/>
                    </a:lnTo>
                    <a:lnTo>
                      <a:pt x="45" y="31"/>
                    </a:lnTo>
                    <a:lnTo>
                      <a:pt x="45" y="31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1"/>
                    </a:lnTo>
                    <a:lnTo>
                      <a:pt x="31" y="31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2" y="31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27"/>
                    </a:lnTo>
                    <a:lnTo>
                      <a:pt x="4" y="27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27" y="27"/>
                    </a:lnTo>
                    <a:lnTo>
                      <a:pt x="27" y="31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2"/>
                    </a:lnTo>
                    <a:lnTo>
                      <a:pt x="31" y="22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36" y="9"/>
                    </a:lnTo>
                    <a:lnTo>
                      <a:pt x="31" y="9"/>
                    </a:lnTo>
                    <a:lnTo>
                      <a:pt x="27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1" y="0"/>
                    </a:lnTo>
                    <a:lnTo>
                      <a:pt x="36" y="0"/>
                    </a:lnTo>
                    <a:lnTo>
                      <a:pt x="40" y="4"/>
                    </a:lnTo>
                    <a:lnTo>
                      <a:pt x="45" y="4"/>
                    </a:lnTo>
                    <a:lnTo>
                      <a:pt x="49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53" name="Freeform 74"/>
              <p:cNvSpPr>
                <a:spLocks/>
              </p:cNvSpPr>
              <p:nvPr/>
            </p:nvSpPr>
            <p:spPr bwMode="auto">
              <a:xfrm>
                <a:off x="4694238" y="1503364"/>
                <a:ext cx="157163" cy="77788"/>
              </a:xfrm>
              <a:custGeom>
                <a:avLst/>
                <a:gdLst>
                  <a:gd name="T0" fmla="*/ 76 w 99"/>
                  <a:gd name="T1" fmla="*/ 0 h 49"/>
                  <a:gd name="T2" fmla="*/ 81 w 99"/>
                  <a:gd name="T3" fmla="*/ 4 h 49"/>
                  <a:gd name="T4" fmla="*/ 85 w 99"/>
                  <a:gd name="T5" fmla="*/ 0 h 49"/>
                  <a:gd name="T6" fmla="*/ 90 w 99"/>
                  <a:gd name="T7" fmla="*/ 0 h 49"/>
                  <a:gd name="T8" fmla="*/ 90 w 99"/>
                  <a:gd name="T9" fmla="*/ 4 h 49"/>
                  <a:gd name="T10" fmla="*/ 94 w 99"/>
                  <a:gd name="T11" fmla="*/ 9 h 49"/>
                  <a:gd name="T12" fmla="*/ 99 w 99"/>
                  <a:gd name="T13" fmla="*/ 9 h 49"/>
                  <a:gd name="T14" fmla="*/ 99 w 99"/>
                  <a:gd name="T15" fmla="*/ 9 h 49"/>
                  <a:gd name="T16" fmla="*/ 94 w 99"/>
                  <a:gd name="T17" fmla="*/ 13 h 49"/>
                  <a:gd name="T18" fmla="*/ 90 w 99"/>
                  <a:gd name="T19" fmla="*/ 13 h 49"/>
                  <a:gd name="T20" fmla="*/ 85 w 99"/>
                  <a:gd name="T21" fmla="*/ 18 h 49"/>
                  <a:gd name="T22" fmla="*/ 85 w 99"/>
                  <a:gd name="T23" fmla="*/ 22 h 49"/>
                  <a:gd name="T24" fmla="*/ 81 w 99"/>
                  <a:gd name="T25" fmla="*/ 27 h 49"/>
                  <a:gd name="T26" fmla="*/ 81 w 99"/>
                  <a:gd name="T27" fmla="*/ 31 h 49"/>
                  <a:gd name="T28" fmla="*/ 76 w 99"/>
                  <a:gd name="T29" fmla="*/ 36 h 49"/>
                  <a:gd name="T30" fmla="*/ 76 w 99"/>
                  <a:gd name="T31" fmla="*/ 36 h 49"/>
                  <a:gd name="T32" fmla="*/ 76 w 99"/>
                  <a:gd name="T33" fmla="*/ 40 h 49"/>
                  <a:gd name="T34" fmla="*/ 67 w 99"/>
                  <a:gd name="T35" fmla="*/ 40 h 49"/>
                  <a:gd name="T36" fmla="*/ 67 w 99"/>
                  <a:gd name="T37" fmla="*/ 45 h 49"/>
                  <a:gd name="T38" fmla="*/ 63 w 99"/>
                  <a:gd name="T39" fmla="*/ 45 h 49"/>
                  <a:gd name="T40" fmla="*/ 54 w 99"/>
                  <a:gd name="T41" fmla="*/ 45 h 49"/>
                  <a:gd name="T42" fmla="*/ 49 w 99"/>
                  <a:gd name="T43" fmla="*/ 45 h 49"/>
                  <a:gd name="T44" fmla="*/ 45 w 99"/>
                  <a:gd name="T45" fmla="*/ 45 h 49"/>
                  <a:gd name="T46" fmla="*/ 45 w 99"/>
                  <a:gd name="T47" fmla="*/ 45 h 49"/>
                  <a:gd name="T48" fmla="*/ 40 w 99"/>
                  <a:gd name="T49" fmla="*/ 49 h 49"/>
                  <a:gd name="T50" fmla="*/ 36 w 99"/>
                  <a:gd name="T51" fmla="*/ 49 h 49"/>
                  <a:gd name="T52" fmla="*/ 31 w 99"/>
                  <a:gd name="T53" fmla="*/ 49 h 49"/>
                  <a:gd name="T54" fmla="*/ 27 w 99"/>
                  <a:gd name="T55" fmla="*/ 49 h 49"/>
                  <a:gd name="T56" fmla="*/ 22 w 99"/>
                  <a:gd name="T57" fmla="*/ 49 h 49"/>
                  <a:gd name="T58" fmla="*/ 13 w 99"/>
                  <a:gd name="T59" fmla="*/ 45 h 49"/>
                  <a:gd name="T60" fmla="*/ 9 w 99"/>
                  <a:gd name="T61" fmla="*/ 40 h 49"/>
                  <a:gd name="T62" fmla="*/ 4 w 99"/>
                  <a:gd name="T63" fmla="*/ 36 h 49"/>
                  <a:gd name="T64" fmla="*/ 0 w 99"/>
                  <a:gd name="T65" fmla="*/ 31 h 49"/>
                  <a:gd name="T66" fmla="*/ 0 w 99"/>
                  <a:gd name="T67" fmla="*/ 31 h 49"/>
                  <a:gd name="T68" fmla="*/ 4 w 99"/>
                  <a:gd name="T69" fmla="*/ 27 h 49"/>
                  <a:gd name="T70" fmla="*/ 4 w 99"/>
                  <a:gd name="T71" fmla="*/ 27 h 49"/>
                  <a:gd name="T72" fmla="*/ 4 w 99"/>
                  <a:gd name="T73" fmla="*/ 22 h 49"/>
                  <a:gd name="T74" fmla="*/ 4 w 99"/>
                  <a:gd name="T75" fmla="*/ 22 h 49"/>
                  <a:gd name="T76" fmla="*/ 4 w 99"/>
                  <a:gd name="T77" fmla="*/ 18 h 49"/>
                  <a:gd name="T78" fmla="*/ 4 w 99"/>
                  <a:gd name="T79" fmla="*/ 13 h 49"/>
                  <a:gd name="T80" fmla="*/ 4 w 99"/>
                  <a:gd name="T81" fmla="*/ 13 h 49"/>
                  <a:gd name="T82" fmla="*/ 9 w 99"/>
                  <a:gd name="T83" fmla="*/ 13 h 49"/>
                  <a:gd name="T84" fmla="*/ 13 w 99"/>
                  <a:gd name="T85" fmla="*/ 13 h 49"/>
                  <a:gd name="T86" fmla="*/ 13 w 99"/>
                  <a:gd name="T87" fmla="*/ 9 h 49"/>
                  <a:gd name="T88" fmla="*/ 13 w 99"/>
                  <a:gd name="T89" fmla="*/ 9 h 49"/>
                  <a:gd name="T90" fmla="*/ 22 w 99"/>
                  <a:gd name="T91" fmla="*/ 13 h 49"/>
                  <a:gd name="T92" fmla="*/ 36 w 99"/>
                  <a:gd name="T93" fmla="*/ 13 h 49"/>
                  <a:gd name="T94" fmla="*/ 36 w 99"/>
                  <a:gd name="T95" fmla="*/ 9 h 49"/>
                  <a:gd name="T96" fmla="*/ 49 w 99"/>
                  <a:gd name="T97" fmla="*/ 9 h 49"/>
                  <a:gd name="T98" fmla="*/ 49 w 99"/>
                  <a:gd name="T99" fmla="*/ 4 h 49"/>
                  <a:gd name="T100" fmla="*/ 58 w 99"/>
                  <a:gd name="T101" fmla="*/ 4 h 49"/>
                  <a:gd name="T102" fmla="*/ 63 w 99"/>
                  <a:gd name="T103" fmla="*/ 0 h 49"/>
                  <a:gd name="T104" fmla="*/ 72 w 99"/>
                  <a:gd name="T10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9" h="49">
                    <a:moveTo>
                      <a:pt x="76" y="0"/>
                    </a:move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9"/>
                    </a:lnTo>
                    <a:lnTo>
                      <a:pt x="94" y="9"/>
                    </a:lnTo>
                    <a:lnTo>
                      <a:pt x="94" y="9"/>
                    </a:lnTo>
                    <a:lnTo>
                      <a:pt x="94" y="4"/>
                    </a:lnTo>
                    <a:lnTo>
                      <a:pt x="94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4" y="13"/>
                    </a:lnTo>
                    <a:lnTo>
                      <a:pt x="94" y="13"/>
                    </a:lnTo>
                    <a:lnTo>
                      <a:pt x="94" y="13"/>
                    </a:lnTo>
                    <a:lnTo>
                      <a:pt x="94" y="13"/>
                    </a:lnTo>
                    <a:lnTo>
                      <a:pt x="90" y="13"/>
                    </a:lnTo>
                    <a:lnTo>
                      <a:pt x="90" y="13"/>
                    </a:lnTo>
                    <a:lnTo>
                      <a:pt x="90" y="13"/>
                    </a:lnTo>
                    <a:lnTo>
                      <a:pt x="90" y="13"/>
                    </a:lnTo>
                    <a:lnTo>
                      <a:pt x="90" y="18"/>
                    </a:lnTo>
                    <a:lnTo>
                      <a:pt x="85" y="18"/>
                    </a:lnTo>
                    <a:lnTo>
                      <a:pt x="85" y="18"/>
                    </a:lnTo>
                    <a:lnTo>
                      <a:pt x="85" y="18"/>
                    </a:lnTo>
                    <a:lnTo>
                      <a:pt x="85" y="18"/>
                    </a:lnTo>
                    <a:lnTo>
                      <a:pt x="85" y="22"/>
                    </a:lnTo>
                    <a:lnTo>
                      <a:pt x="85" y="22"/>
                    </a:lnTo>
                    <a:lnTo>
                      <a:pt x="85" y="22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1" y="31"/>
                    </a:lnTo>
                    <a:lnTo>
                      <a:pt x="81" y="31"/>
                    </a:lnTo>
                    <a:lnTo>
                      <a:pt x="81" y="31"/>
                    </a:lnTo>
                    <a:lnTo>
                      <a:pt x="81" y="31"/>
                    </a:lnTo>
                    <a:lnTo>
                      <a:pt x="76" y="36"/>
                    </a:lnTo>
                    <a:lnTo>
                      <a:pt x="76" y="36"/>
                    </a:lnTo>
                    <a:lnTo>
                      <a:pt x="76" y="36"/>
                    </a:lnTo>
                    <a:lnTo>
                      <a:pt x="76" y="36"/>
                    </a:lnTo>
                    <a:lnTo>
                      <a:pt x="76" y="36"/>
                    </a:lnTo>
                    <a:lnTo>
                      <a:pt x="76" y="36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67" y="40"/>
                    </a:lnTo>
                    <a:lnTo>
                      <a:pt x="67" y="40"/>
                    </a:lnTo>
                    <a:lnTo>
                      <a:pt x="67" y="40"/>
                    </a:lnTo>
                    <a:lnTo>
                      <a:pt x="67" y="45"/>
                    </a:lnTo>
                    <a:lnTo>
                      <a:pt x="67" y="45"/>
                    </a:lnTo>
                    <a:lnTo>
                      <a:pt x="67" y="45"/>
                    </a:lnTo>
                    <a:lnTo>
                      <a:pt x="63" y="45"/>
                    </a:lnTo>
                    <a:lnTo>
                      <a:pt x="63" y="45"/>
                    </a:lnTo>
                    <a:lnTo>
                      <a:pt x="63" y="45"/>
                    </a:lnTo>
                    <a:lnTo>
                      <a:pt x="58" y="45"/>
                    </a:lnTo>
                    <a:lnTo>
                      <a:pt x="58" y="45"/>
                    </a:lnTo>
                    <a:lnTo>
                      <a:pt x="58" y="45"/>
                    </a:lnTo>
                    <a:lnTo>
                      <a:pt x="54" y="45"/>
                    </a:lnTo>
                    <a:lnTo>
                      <a:pt x="54" y="45"/>
                    </a:lnTo>
                    <a:lnTo>
                      <a:pt x="49" y="45"/>
                    </a:lnTo>
                    <a:lnTo>
                      <a:pt x="49" y="45"/>
                    </a:lnTo>
                    <a:lnTo>
                      <a:pt x="49" y="45"/>
                    </a:lnTo>
                    <a:lnTo>
                      <a:pt x="49" y="45"/>
                    </a:lnTo>
                    <a:lnTo>
                      <a:pt x="49" y="45"/>
                    </a:lnTo>
                    <a:lnTo>
                      <a:pt x="49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9"/>
                    </a:lnTo>
                    <a:lnTo>
                      <a:pt x="40" y="49"/>
                    </a:lnTo>
                    <a:lnTo>
                      <a:pt x="40" y="49"/>
                    </a:lnTo>
                    <a:lnTo>
                      <a:pt x="40" y="49"/>
                    </a:lnTo>
                    <a:lnTo>
                      <a:pt x="40" y="49"/>
                    </a:lnTo>
                    <a:lnTo>
                      <a:pt x="40" y="49"/>
                    </a:lnTo>
                    <a:lnTo>
                      <a:pt x="36" y="49"/>
                    </a:lnTo>
                    <a:lnTo>
                      <a:pt x="36" y="49"/>
                    </a:lnTo>
                    <a:lnTo>
                      <a:pt x="36" y="49"/>
                    </a:lnTo>
                    <a:lnTo>
                      <a:pt x="36" y="49"/>
                    </a:lnTo>
                    <a:lnTo>
                      <a:pt x="31" y="49"/>
                    </a:lnTo>
                    <a:lnTo>
                      <a:pt x="31" y="49"/>
                    </a:lnTo>
                    <a:lnTo>
                      <a:pt x="31" y="49"/>
                    </a:lnTo>
                    <a:lnTo>
                      <a:pt x="27" y="49"/>
                    </a:lnTo>
                    <a:lnTo>
                      <a:pt x="27" y="49"/>
                    </a:lnTo>
                    <a:lnTo>
                      <a:pt x="22" y="49"/>
                    </a:lnTo>
                    <a:lnTo>
                      <a:pt x="22" y="49"/>
                    </a:lnTo>
                    <a:lnTo>
                      <a:pt x="22" y="49"/>
                    </a:lnTo>
                    <a:lnTo>
                      <a:pt x="22" y="49"/>
                    </a:lnTo>
                    <a:lnTo>
                      <a:pt x="18" y="49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0"/>
                    </a:lnTo>
                    <a:lnTo>
                      <a:pt x="9" y="40"/>
                    </a:lnTo>
                    <a:lnTo>
                      <a:pt x="9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1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8" y="13"/>
                    </a:lnTo>
                    <a:lnTo>
                      <a:pt x="22" y="13"/>
                    </a:lnTo>
                    <a:lnTo>
                      <a:pt x="22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31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40" y="9"/>
                    </a:lnTo>
                    <a:lnTo>
                      <a:pt x="45" y="9"/>
                    </a:lnTo>
                    <a:lnTo>
                      <a:pt x="49" y="9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54" name="Freeform 75"/>
              <p:cNvSpPr>
                <a:spLocks noEditPoints="1"/>
              </p:cNvSpPr>
              <p:nvPr/>
            </p:nvSpPr>
            <p:spPr bwMode="auto">
              <a:xfrm>
                <a:off x="6902451" y="2773364"/>
                <a:ext cx="1276350" cy="509588"/>
              </a:xfrm>
              <a:custGeom>
                <a:avLst/>
                <a:gdLst>
                  <a:gd name="T0" fmla="*/ 425 w 804"/>
                  <a:gd name="T1" fmla="*/ 303 h 321"/>
                  <a:gd name="T2" fmla="*/ 492 w 804"/>
                  <a:gd name="T3" fmla="*/ 303 h 321"/>
                  <a:gd name="T4" fmla="*/ 370 w 804"/>
                  <a:gd name="T5" fmla="*/ 280 h 321"/>
                  <a:gd name="T6" fmla="*/ 438 w 804"/>
                  <a:gd name="T7" fmla="*/ 289 h 321"/>
                  <a:gd name="T8" fmla="*/ 470 w 804"/>
                  <a:gd name="T9" fmla="*/ 285 h 321"/>
                  <a:gd name="T10" fmla="*/ 411 w 804"/>
                  <a:gd name="T11" fmla="*/ 289 h 321"/>
                  <a:gd name="T12" fmla="*/ 375 w 804"/>
                  <a:gd name="T13" fmla="*/ 285 h 321"/>
                  <a:gd name="T14" fmla="*/ 343 w 804"/>
                  <a:gd name="T15" fmla="*/ 289 h 321"/>
                  <a:gd name="T16" fmla="*/ 533 w 804"/>
                  <a:gd name="T17" fmla="*/ 267 h 321"/>
                  <a:gd name="T18" fmla="*/ 628 w 804"/>
                  <a:gd name="T19" fmla="*/ 267 h 321"/>
                  <a:gd name="T20" fmla="*/ 687 w 804"/>
                  <a:gd name="T21" fmla="*/ 244 h 321"/>
                  <a:gd name="T22" fmla="*/ 248 w 804"/>
                  <a:gd name="T23" fmla="*/ 249 h 321"/>
                  <a:gd name="T24" fmla="*/ 307 w 804"/>
                  <a:gd name="T25" fmla="*/ 267 h 321"/>
                  <a:gd name="T26" fmla="*/ 244 w 804"/>
                  <a:gd name="T27" fmla="*/ 267 h 321"/>
                  <a:gd name="T28" fmla="*/ 181 w 804"/>
                  <a:gd name="T29" fmla="*/ 244 h 321"/>
                  <a:gd name="T30" fmla="*/ 682 w 804"/>
                  <a:gd name="T31" fmla="*/ 235 h 321"/>
                  <a:gd name="T32" fmla="*/ 492 w 804"/>
                  <a:gd name="T33" fmla="*/ 208 h 321"/>
                  <a:gd name="T34" fmla="*/ 488 w 804"/>
                  <a:gd name="T35" fmla="*/ 199 h 321"/>
                  <a:gd name="T36" fmla="*/ 542 w 804"/>
                  <a:gd name="T37" fmla="*/ 185 h 321"/>
                  <a:gd name="T38" fmla="*/ 592 w 804"/>
                  <a:gd name="T39" fmla="*/ 181 h 321"/>
                  <a:gd name="T40" fmla="*/ 605 w 804"/>
                  <a:gd name="T41" fmla="*/ 172 h 321"/>
                  <a:gd name="T42" fmla="*/ 614 w 804"/>
                  <a:gd name="T43" fmla="*/ 154 h 321"/>
                  <a:gd name="T44" fmla="*/ 727 w 804"/>
                  <a:gd name="T45" fmla="*/ 149 h 321"/>
                  <a:gd name="T46" fmla="*/ 185 w 804"/>
                  <a:gd name="T47" fmla="*/ 154 h 321"/>
                  <a:gd name="T48" fmla="*/ 492 w 804"/>
                  <a:gd name="T49" fmla="*/ 136 h 321"/>
                  <a:gd name="T50" fmla="*/ 72 w 804"/>
                  <a:gd name="T51" fmla="*/ 131 h 321"/>
                  <a:gd name="T52" fmla="*/ 682 w 804"/>
                  <a:gd name="T53" fmla="*/ 131 h 321"/>
                  <a:gd name="T54" fmla="*/ 723 w 804"/>
                  <a:gd name="T55" fmla="*/ 163 h 321"/>
                  <a:gd name="T56" fmla="*/ 804 w 804"/>
                  <a:gd name="T57" fmla="*/ 194 h 321"/>
                  <a:gd name="T58" fmla="*/ 772 w 804"/>
                  <a:gd name="T59" fmla="*/ 280 h 321"/>
                  <a:gd name="T60" fmla="*/ 759 w 804"/>
                  <a:gd name="T61" fmla="*/ 253 h 321"/>
                  <a:gd name="T62" fmla="*/ 705 w 804"/>
                  <a:gd name="T63" fmla="*/ 203 h 321"/>
                  <a:gd name="T64" fmla="*/ 669 w 804"/>
                  <a:gd name="T65" fmla="*/ 190 h 321"/>
                  <a:gd name="T66" fmla="*/ 678 w 804"/>
                  <a:gd name="T67" fmla="*/ 158 h 321"/>
                  <a:gd name="T68" fmla="*/ 646 w 804"/>
                  <a:gd name="T69" fmla="*/ 122 h 321"/>
                  <a:gd name="T70" fmla="*/ 637 w 804"/>
                  <a:gd name="T71" fmla="*/ 113 h 321"/>
                  <a:gd name="T72" fmla="*/ 54 w 804"/>
                  <a:gd name="T73" fmla="*/ 90 h 321"/>
                  <a:gd name="T74" fmla="*/ 465 w 804"/>
                  <a:gd name="T75" fmla="*/ 99 h 321"/>
                  <a:gd name="T76" fmla="*/ 483 w 804"/>
                  <a:gd name="T77" fmla="*/ 127 h 321"/>
                  <a:gd name="T78" fmla="*/ 470 w 804"/>
                  <a:gd name="T79" fmla="*/ 158 h 321"/>
                  <a:gd name="T80" fmla="*/ 470 w 804"/>
                  <a:gd name="T81" fmla="*/ 203 h 321"/>
                  <a:gd name="T82" fmla="*/ 443 w 804"/>
                  <a:gd name="T83" fmla="*/ 203 h 321"/>
                  <a:gd name="T84" fmla="*/ 416 w 804"/>
                  <a:gd name="T85" fmla="*/ 176 h 321"/>
                  <a:gd name="T86" fmla="*/ 443 w 804"/>
                  <a:gd name="T87" fmla="*/ 95 h 321"/>
                  <a:gd name="T88" fmla="*/ 519 w 804"/>
                  <a:gd name="T89" fmla="*/ 86 h 321"/>
                  <a:gd name="T90" fmla="*/ 583 w 804"/>
                  <a:gd name="T91" fmla="*/ 95 h 321"/>
                  <a:gd name="T92" fmla="*/ 569 w 804"/>
                  <a:gd name="T93" fmla="*/ 99 h 321"/>
                  <a:gd name="T94" fmla="*/ 587 w 804"/>
                  <a:gd name="T95" fmla="*/ 59 h 321"/>
                  <a:gd name="T96" fmla="*/ 398 w 804"/>
                  <a:gd name="T97" fmla="*/ 50 h 321"/>
                  <a:gd name="T98" fmla="*/ 402 w 804"/>
                  <a:gd name="T99" fmla="*/ 95 h 321"/>
                  <a:gd name="T100" fmla="*/ 375 w 804"/>
                  <a:gd name="T101" fmla="*/ 154 h 321"/>
                  <a:gd name="T102" fmla="*/ 334 w 804"/>
                  <a:gd name="T103" fmla="*/ 176 h 321"/>
                  <a:gd name="T104" fmla="*/ 276 w 804"/>
                  <a:gd name="T105" fmla="*/ 172 h 321"/>
                  <a:gd name="T106" fmla="*/ 248 w 804"/>
                  <a:gd name="T107" fmla="*/ 108 h 321"/>
                  <a:gd name="T108" fmla="*/ 289 w 804"/>
                  <a:gd name="T109" fmla="*/ 90 h 321"/>
                  <a:gd name="T110" fmla="*/ 348 w 804"/>
                  <a:gd name="T111" fmla="*/ 72 h 321"/>
                  <a:gd name="T112" fmla="*/ 370 w 804"/>
                  <a:gd name="T113" fmla="*/ 23 h 321"/>
                  <a:gd name="T114" fmla="*/ 99 w 804"/>
                  <a:gd name="T115" fmla="*/ 68 h 321"/>
                  <a:gd name="T116" fmla="*/ 149 w 804"/>
                  <a:gd name="T117" fmla="*/ 99 h 321"/>
                  <a:gd name="T118" fmla="*/ 176 w 804"/>
                  <a:gd name="T119" fmla="*/ 158 h 321"/>
                  <a:gd name="T120" fmla="*/ 167 w 804"/>
                  <a:gd name="T121" fmla="*/ 231 h 321"/>
                  <a:gd name="T122" fmla="*/ 77 w 804"/>
                  <a:gd name="T123" fmla="*/ 104 h 321"/>
                  <a:gd name="T124" fmla="*/ 9 w 804"/>
                  <a:gd name="T125" fmla="*/ 0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04" h="321">
                    <a:moveTo>
                      <a:pt x="425" y="303"/>
                    </a:moveTo>
                    <a:lnTo>
                      <a:pt x="425" y="303"/>
                    </a:lnTo>
                    <a:lnTo>
                      <a:pt x="429" y="303"/>
                    </a:lnTo>
                    <a:lnTo>
                      <a:pt x="429" y="303"/>
                    </a:lnTo>
                    <a:lnTo>
                      <a:pt x="429" y="307"/>
                    </a:lnTo>
                    <a:lnTo>
                      <a:pt x="429" y="307"/>
                    </a:lnTo>
                    <a:lnTo>
                      <a:pt x="429" y="307"/>
                    </a:lnTo>
                    <a:lnTo>
                      <a:pt x="434" y="307"/>
                    </a:lnTo>
                    <a:lnTo>
                      <a:pt x="434" y="307"/>
                    </a:lnTo>
                    <a:lnTo>
                      <a:pt x="434" y="307"/>
                    </a:lnTo>
                    <a:lnTo>
                      <a:pt x="434" y="307"/>
                    </a:lnTo>
                    <a:lnTo>
                      <a:pt x="438" y="312"/>
                    </a:lnTo>
                    <a:lnTo>
                      <a:pt x="438" y="312"/>
                    </a:lnTo>
                    <a:lnTo>
                      <a:pt x="438" y="312"/>
                    </a:lnTo>
                    <a:lnTo>
                      <a:pt x="438" y="316"/>
                    </a:lnTo>
                    <a:lnTo>
                      <a:pt x="438" y="316"/>
                    </a:lnTo>
                    <a:lnTo>
                      <a:pt x="438" y="321"/>
                    </a:lnTo>
                    <a:lnTo>
                      <a:pt x="434" y="321"/>
                    </a:lnTo>
                    <a:lnTo>
                      <a:pt x="434" y="321"/>
                    </a:lnTo>
                    <a:lnTo>
                      <a:pt x="434" y="321"/>
                    </a:lnTo>
                    <a:lnTo>
                      <a:pt x="429" y="321"/>
                    </a:lnTo>
                    <a:lnTo>
                      <a:pt x="429" y="321"/>
                    </a:lnTo>
                    <a:lnTo>
                      <a:pt x="425" y="321"/>
                    </a:lnTo>
                    <a:lnTo>
                      <a:pt x="425" y="316"/>
                    </a:lnTo>
                    <a:lnTo>
                      <a:pt x="425" y="316"/>
                    </a:lnTo>
                    <a:lnTo>
                      <a:pt x="425" y="312"/>
                    </a:lnTo>
                    <a:lnTo>
                      <a:pt x="420" y="312"/>
                    </a:lnTo>
                    <a:lnTo>
                      <a:pt x="420" y="312"/>
                    </a:lnTo>
                    <a:lnTo>
                      <a:pt x="416" y="312"/>
                    </a:lnTo>
                    <a:lnTo>
                      <a:pt x="416" y="312"/>
                    </a:lnTo>
                    <a:lnTo>
                      <a:pt x="416" y="312"/>
                    </a:lnTo>
                    <a:lnTo>
                      <a:pt x="411" y="307"/>
                    </a:lnTo>
                    <a:lnTo>
                      <a:pt x="411" y="307"/>
                    </a:lnTo>
                    <a:lnTo>
                      <a:pt x="407" y="307"/>
                    </a:lnTo>
                    <a:lnTo>
                      <a:pt x="407" y="307"/>
                    </a:lnTo>
                    <a:lnTo>
                      <a:pt x="407" y="303"/>
                    </a:lnTo>
                    <a:lnTo>
                      <a:pt x="407" y="303"/>
                    </a:lnTo>
                    <a:lnTo>
                      <a:pt x="411" y="303"/>
                    </a:lnTo>
                    <a:lnTo>
                      <a:pt x="411" y="303"/>
                    </a:lnTo>
                    <a:lnTo>
                      <a:pt x="416" y="303"/>
                    </a:lnTo>
                    <a:lnTo>
                      <a:pt x="416" y="303"/>
                    </a:lnTo>
                    <a:lnTo>
                      <a:pt x="420" y="303"/>
                    </a:lnTo>
                    <a:lnTo>
                      <a:pt x="425" y="303"/>
                    </a:lnTo>
                    <a:lnTo>
                      <a:pt x="425" y="303"/>
                    </a:lnTo>
                    <a:lnTo>
                      <a:pt x="425" y="298"/>
                    </a:lnTo>
                    <a:lnTo>
                      <a:pt x="425" y="303"/>
                    </a:lnTo>
                    <a:lnTo>
                      <a:pt x="425" y="303"/>
                    </a:lnTo>
                    <a:moveTo>
                      <a:pt x="515" y="298"/>
                    </a:moveTo>
                    <a:lnTo>
                      <a:pt x="515" y="298"/>
                    </a:lnTo>
                    <a:lnTo>
                      <a:pt x="515" y="298"/>
                    </a:lnTo>
                    <a:lnTo>
                      <a:pt x="515" y="294"/>
                    </a:lnTo>
                    <a:lnTo>
                      <a:pt x="515" y="298"/>
                    </a:lnTo>
                    <a:lnTo>
                      <a:pt x="515" y="298"/>
                    </a:lnTo>
                    <a:lnTo>
                      <a:pt x="515" y="298"/>
                    </a:lnTo>
                    <a:lnTo>
                      <a:pt x="515" y="298"/>
                    </a:lnTo>
                    <a:lnTo>
                      <a:pt x="515" y="298"/>
                    </a:lnTo>
                    <a:lnTo>
                      <a:pt x="515" y="298"/>
                    </a:lnTo>
                    <a:lnTo>
                      <a:pt x="510" y="303"/>
                    </a:lnTo>
                    <a:lnTo>
                      <a:pt x="510" y="303"/>
                    </a:lnTo>
                    <a:lnTo>
                      <a:pt x="515" y="303"/>
                    </a:lnTo>
                    <a:lnTo>
                      <a:pt x="515" y="303"/>
                    </a:lnTo>
                    <a:lnTo>
                      <a:pt x="515" y="307"/>
                    </a:lnTo>
                    <a:lnTo>
                      <a:pt x="510" y="307"/>
                    </a:lnTo>
                    <a:lnTo>
                      <a:pt x="510" y="307"/>
                    </a:lnTo>
                    <a:lnTo>
                      <a:pt x="510" y="312"/>
                    </a:lnTo>
                    <a:lnTo>
                      <a:pt x="506" y="316"/>
                    </a:lnTo>
                    <a:lnTo>
                      <a:pt x="506" y="316"/>
                    </a:lnTo>
                    <a:lnTo>
                      <a:pt x="501" y="316"/>
                    </a:lnTo>
                    <a:lnTo>
                      <a:pt x="501" y="321"/>
                    </a:lnTo>
                    <a:lnTo>
                      <a:pt x="497" y="321"/>
                    </a:lnTo>
                    <a:lnTo>
                      <a:pt x="497" y="321"/>
                    </a:lnTo>
                    <a:lnTo>
                      <a:pt x="492" y="321"/>
                    </a:lnTo>
                    <a:lnTo>
                      <a:pt x="492" y="321"/>
                    </a:lnTo>
                    <a:lnTo>
                      <a:pt x="488" y="321"/>
                    </a:lnTo>
                    <a:lnTo>
                      <a:pt x="488" y="321"/>
                    </a:lnTo>
                    <a:lnTo>
                      <a:pt x="488" y="321"/>
                    </a:lnTo>
                    <a:lnTo>
                      <a:pt x="488" y="321"/>
                    </a:lnTo>
                    <a:lnTo>
                      <a:pt x="488" y="321"/>
                    </a:lnTo>
                    <a:lnTo>
                      <a:pt x="488" y="316"/>
                    </a:lnTo>
                    <a:lnTo>
                      <a:pt x="488" y="316"/>
                    </a:lnTo>
                    <a:lnTo>
                      <a:pt x="488" y="316"/>
                    </a:lnTo>
                    <a:lnTo>
                      <a:pt x="488" y="316"/>
                    </a:lnTo>
                    <a:lnTo>
                      <a:pt x="488" y="312"/>
                    </a:lnTo>
                    <a:lnTo>
                      <a:pt x="488" y="312"/>
                    </a:lnTo>
                    <a:lnTo>
                      <a:pt x="488" y="307"/>
                    </a:lnTo>
                    <a:lnTo>
                      <a:pt x="492" y="303"/>
                    </a:lnTo>
                    <a:lnTo>
                      <a:pt x="497" y="303"/>
                    </a:lnTo>
                    <a:lnTo>
                      <a:pt x="497" y="303"/>
                    </a:lnTo>
                    <a:lnTo>
                      <a:pt x="497" y="303"/>
                    </a:lnTo>
                    <a:lnTo>
                      <a:pt x="497" y="303"/>
                    </a:lnTo>
                    <a:lnTo>
                      <a:pt x="497" y="303"/>
                    </a:lnTo>
                    <a:lnTo>
                      <a:pt x="497" y="303"/>
                    </a:lnTo>
                    <a:lnTo>
                      <a:pt x="501" y="303"/>
                    </a:lnTo>
                    <a:lnTo>
                      <a:pt x="501" y="303"/>
                    </a:lnTo>
                    <a:lnTo>
                      <a:pt x="501" y="303"/>
                    </a:lnTo>
                    <a:lnTo>
                      <a:pt x="501" y="303"/>
                    </a:lnTo>
                    <a:lnTo>
                      <a:pt x="501" y="303"/>
                    </a:lnTo>
                    <a:lnTo>
                      <a:pt x="506" y="298"/>
                    </a:lnTo>
                    <a:lnTo>
                      <a:pt x="506" y="298"/>
                    </a:lnTo>
                    <a:lnTo>
                      <a:pt x="506" y="298"/>
                    </a:lnTo>
                    <a:lnTo>
                      <a:pt x="510" y="298"/>
                    </a:lnTo>
                    <a:lnTo>
                      <a:pt x="510" y="294"/>
                    </a:lnTo>
                    <a:lnTo>
                      <a:pt x="515" y="294"/>
                    </a:lnTo>
                    <a:lnTo>
                      <a:pt x="510" y="298"/>
                    </a:lnTo>
                    <a:lnTo>
                      <a:pt x="515" y="298"/>
                    </a:lnTo>
                    <a:moveTo>
                      <a:pt x="370" y="285"/>
                    </a:moveTo>
                    <a:lnTo>
                      <a:pt x="370" y="285"/>
                    </a:lnTo>
                    <a:lnTo>
                      <a:pt x="366" y="289"/>
                    </a:lnTo>
                    <a:lnTo>
                      <a:pt x="366" y="289"/>
                    </a:lnTo>
                    <a:lnTo>
                      <a:pt x="370" y="289"/>
                    </a:lnTo>
                    <a:lnTo>
                      <a:pt x="366" y="294"/>
                    </a:lnTo>
                    <a:lnTo>
                      <a:pt x="361" y="289"/>
                    </a:lnTo>
                    <a:lnTo>
                      <a:pt x="361" y="289"/>
                    </a:lnTo>
                    <a:lnTo>
                      <a:pt x="357" y="289"/>
                    </a:lnTo>
                    <a:lnTo>
                      <a:pt x="357" y="289"/>
                    </a:lnTo>
                    <a:lnTo>
                      <a:pt x="357" y="289"/>
                    </a:lnTo>
                    <a:lnTo>
                      <a:pt x="357" y="289"/>
                    </a:lnTo>
                    <a:lnTo>
                      <a:pt x="357" y="289"/>
                    </a:lnTo>
                    <a:lnTo>
                      <a:pt x="357" y="289"/>
                    </a:lnTo>
                    <a:lnTo>
                      <a:pt x="361" y="289"/>
                    </a:lnTo>
                    <a:lnTo>
                      <a:pt x="361" y="285"/>
                    </a:lnTo>
                    <a:lnTo>
                      <a:pt x="361" y="280"/>
                    </a:lnTo>
                    <a:lnTo>
                      <a:pt x="361" y="280"/>
                    </a:lnTo>
                    <a:lnTo>
                      <a:pt x="366" y="276"/>
                    </a:lnTo>
                    <a:lnTo>
                      <a:pt x="366" y="276"/>
                    </a:lnTo>
                    <a:lnTo>
                      <a:pt x="370" y="280"/>
                    </a:lnTo>
                    <a:lnTo>
                      <a:pt x="370" y="280"/>
                    </a:lnTo>
                    <a:lnTo>
                      <a:pt x="370" y="280"/>
                    </a:lnTo>
                    <a:lnTo>
                      <a:pt x="370" y="280"/>
                    </a:lnTo>
                    <a:lnTo>
                      <a:pt x="370" y="285"/>
                    </a:lnTo>
                    <a:moveTo>
                      <a:pt x="510" y="280"/>
                    </a:moveTo>
                    <a:lnTo>
                      <a:pt x="510" y="280"/>
                    </a:lnTo>
                    <a:lnTo>
                      <a:pt x="510" y="280"/>
                    </a:lnTo>
                    <a:lnTo>
                      <a:pt x="510" y="280"/>
                    </a:lnTo>
                    <a:lnTo>
                      <a:pt x="510" y="280"/>
                    </a:lnTo>
                    <a:lnTo>
                      <a:pt x="515" y="280"/>
                    </a:lnTo>
                    <a:lnTo>
                      <a:pt x="515" y="280"/>
                    </a:lnTo>
                    <a:lnTo>
                      <a:pt x="519" y="280"/>
                    </a:lnTo>
                    <a:lnTo>
                      <a:pt x="519" y="280"/>
                    </a:lnTo>
                    <a:lnTo>
                      <a:pt x="519" y="285"/>
                    </a:lnTo>
                    <a:lnTo>
                      <a:pt x="506" y="285"/>
                    </a:lnTo>
                    <a:lnTo>
                      <a:pt x="506" y="285"/>
                    </a:lnTo>
                    <a:lnTo>
                      <a:pt x="506" y="285"/>
                    </a:lnTo>
                    <a:lnTo>
                      <a:pt x="506" y="280"/>
                    </a:lnTo>
                    <a:lnTo>
                      <a:pt x="506" y="280"/>
                    </a:lnTo>
                    <a:lnTo>
                      <a:pt x="506" y="280"/>
                    </a:lnTo>
                    <a:lnTo>
                      <a:pt x="506" y="280"/>
                    </a:lnTo>
                    <a:lnTo>
                      <a:pt x="510" y="280"/>
                    </a:lnTo>
                    <a:moveTo>
                      <a:pt x="474" y="289"/>
                    </a:moveTo>
                    <a:lnTo>
                      <a:pt x="474" y="289"/>
                    </a:lnTo>
                    <a:lnTo>
                      <a:pt x="474" y="289"/>
                    </a:lnTo>
                    <a:lnTo>
                      <a:pt x="474" y="289"/>
                    </a:lnTo>
                    <a:lnTo>
                      <a:pt x="470" y="289"/>
                    </a:lnTo>
                    <a:lnTo>
                      <a:pt x="470" y="289"/>
                    </a:lnTo>
                    <a:lnTo>
                      <a:pt x="470" y="289"/>
                    </a:lnTo>
                    <a:lnTo>
                      <a:pt x="465" y="289"/>
                    </a:lnTo>
                    <a:lnTo>
                      <a:pt x="465" y="289"/>
                    </a:lnTo>
                    <a:lnTo>
                      <a:pt x="461" y="294"/>
                    </a:lnTo>
                    <a:lnTo>
                      <a:pt x="456" y="294"/>
                    </a:lnTo>
                    <a:lnTo>
                      <a:pt x="456" y="294"/>
                    </a:lnTo>
                    <a:lnTo>
                      <a:pt x="456" y="294"/>
                    </a:lnTo>
                    <a:lnTo>
                      <a:pt x="456" y="289"/>
                    </a:lnTo>
                    <a:lnTo>
                      <a:pt x="452" y="289"/>
                    </a:lnTo>
                    <a:lnTo>
                      <a:pt x="452" y="289"/>
                    </a:lnTo>
                    <a:lnTo>
                      <a:pt x="452" y="294"/>
                    </a:lnTo>
                    <a:lnTo>
                      <a:pt x="447" y="294"/>
                    </a:lnTo>
                    <a:lnTo>
                      <a:pt x="447" y="294"/>
                    </a:lnTo>
                    <a:lnTo>
                      <a:pt x="447" y="294"/>
                    </a:lnTo>
                    <a:lnTo>
                      <a:pt x="447" y="294"/>
                    </a:lnTo>
                    <a:lnTo>
                      <a:pt x="443" y="294"/>
                    </a:lnTo>
                    <a:lnTo>
                      <a:pt x="443" y="289"/>
                    </a:lnTo>
                    <a:lnTo>
                      <a:pt x="438" y="289"/>
                    </a:lnTo>
                    <a:lnTo>
                      <a:pt x="434" y="289"/>
                    </a:lnTo>
                    <a:lnTo>
                      <a:pt x="429" y="289"/>
                    </a:lnTo>
                    <a:lnTo>
                      <a:pt x="429" y="289"/>
                    </a:lnTo>
                    <a:lnTo>
                      <a:pt x="425" y="289"/>
                    </a:lnTo>
                    <a:lnTo>
                      <a:pt x="425" y="289"/>
                    </a:lnTo>
                    <a:lnTo>
                      <a:pt x="425" y="289"/>
                    </a:lnTo>
                    <a:lnTo>
                      <a:pt x="425" y="289"/>
                    </a:lnTo>
                    <a:lnTo>
                      <a:pt x="425" y="285"/>
                    </a:lnTo>
                    <a:lnTo>
                      <a:pt x="425" y="285"/>
                    </a:lnTo>
                    <a:lnTo>
                      <a:pt x="425" y="285"/>
                    </a:lnTo>
                    <a:lnTo>
                      <a:pt x="425" y="285"/>
                    </a:lnTo>
                    <a:lnTo>
                      <a:pt x="425" y="285"/>
                    </a:lnTo>
                    <a:lnTo>
                      <a:pt x="429" y="285"/>
                    </a:lnTo>
                    <a:lnTo>
                      <a:pt x="429" y="285"/>
                    </a:lnTo>
                    <a:lnTo>
                      <a:pt x="429" y="280"/>
                    </a:lnTo>
                    <a:lnTo>
                      <a:pt x="434" y="280"/>
                    </a:lnTo>
                    <a:lnTo>
                      <a:pt x="434" y="280"/>
                    </a:lnTo>
                    <a:lnTo>
                      <a:pt x="438" y="280"/>
                    </a:lnTo>
                    <a:lnTo>
                      <a:pt x="438" y="280"/>
                    </a:lnTo>
                    <a:lnTo>
                      <a:pt x="438" y="280"/>
                    </a:lnTo>
                    <a:lnTo>
                      <a:pt x="438" y="280"/>
                    </a:lnTo>
                    <a:lnTo>
                      <a:pt x="443" y="280"/>
                    </a:lnTo>
                    <a:lnTo>
                      <a:pt x="443" y="280"/>
                    </a:lnTo>
                    <a:lnTo>
                      <a:pt x="443" y="280"/>
                    </a:lnTo>
                    <a:lnTo>
                      <a:pt x="447" y="280"/>
                    </a:lnTo>
                    <a:lnTo>
                      <a:pt x="447" y="285"/>
                    </a:lnTo>
                    <a:lnTo>
                      <a:pt x="452" y="285"/>
                    </a:lnTo>
                    <a:lnTo>
                      <a:pt x="452" y="285"/>
                    </a:lnTo>
                    <a:lnTo>
                      <a:pt x="452" y="285"/>
                    </a:lnTo>
                    <a:lnTo>
                      <a:pt x="456" y="285"/>
                    </a:lnTo>
                    <a:lnTo>
                      <a:pt x="456" y="285"/>
                    </a:lnTo>
                    <a:lnTo>
                      <a:pt x="456" y="285"/>
                    </a:lnTo>
                    <a:lnTo>
                      <a:pt x="456" y="285"/>
                    </a:lnTo>
                    <a:lnTo>
                      <a:pt x="461" y="285"/>
                    </a:lnTo>
                    <a:lnTo>
                      <a:pt x="461" y="285"/>
                    </a:lnTo>
                    <a:lnTo>
                      <a:pt x="461" y="285"/>
                    </a:lnTo>
                    <a:lnTo>
                      <a:pt x="461" y="285"/>
                    </a:lnTo>
                    <a:lnTo>
                      <a:pt x="465" y="285"/>
                    </a:lnTo>
                    <a:lnTo>
                      <a:pt x="465" y="285"/>
                    </a:lnTo>
                    <a:lnTo>
                      <a:pt x="465" y="289"/>
                    </a:lnTo>
                    <a:lnTo>
                      <a:pt x="470" y="289"/>
                    </a:lnTo>
                    <a:lnTo>
                      <a:pt x="470" y="285"/>
                    </a:lnTo>
                    <a:lnTo>
                      <a:pt x="470" y="285"/>
                    </a:lnTo>
                    <a:lnTo>
                      <a:pt x="470" y="285"/>
                    </a:lnTo>
                    <a:lnTo>
                      <a:pt x="474" y="285"/>
                    </a:lnTo>
                    <a:lnTo>
                      <a:pt x="474" y="285"/>
                    </a:lnTo>
                    <a:lnTo>
                      <a:pt x="474" y="285"/>
                    </a:lnTo>
                    <a:lnTo>
                      <a:pt x="474" y="280"/>
                    </a:lnTo>
                    <a:lnTo>
                      <a:pt x="479" y="280"/>
                    </a:lnTo>
                    <a:lnTo>
                      <a:pt x="479" y="280"/>
                    </a:lnTo>
                    <a:lnTo>
                      <a:pt x="479" y="280"/>
                    </a:lnTo>
                    <a:lnTo>
                      <a:pt x="479" y="276"/>
                    </a:lnTo>
                    <a:lnTo>
                      <a:pt x="479" y="276"/>
                    </a:lnTo>
                    <a:lnTo>
                      <a:pt x="479" y="276"/>
                    </a:lnTo>
                    <a:lnTo>
                      <a:pt x="479" y="276"/>
                    </a:lnTo>
                    <a:lnTo>
                      <a:pt x="479" y="280"/>
                    </a:lnTo>
                    <a:lnTo>
                      <a:pt x="479" y="280"/>
                    </a:lnTo>
                    <a:lnTo>
                      <a:pt x="479" y="285"/>
                    </a:lnTo>
                    <a:lnTo>
                      <a:pt x="479" y="285"/>
                    </a:lnTo>
                    <a:lnTo>
                      <a:pt x="479" y="285"/>
                    </a:lnTo>
                    <a:lnTo>
                      <a:pt x="479" y="285"/>
                    </a:lnTo>
                    <a:lnTo>
                      <a:pt x="479" y="285"/>
                    </a:lnTo>
                    <a:lnTo>
                      <a:pt x="474" y="289"/>
                    </a:lnTo>
                    <a:moveTo>
                      <a:pt x="398" y="280"/>
                    </a:moveTo>
                    <a:lnTo>
                      <a:pt x="398" y="280"/>
                    </a:lnTo>
                    <a:lnTo>
                      <a:pt x="398" y="280"/>
                    </a:lnTo>
                    <a:lnTo>
                      <a:pt x="402" y="280"/>
                    </a:lnTo>
                    <a:lnTo>
                      <a:pt x="402" y="280"/>
                    </a:lnTo>
                    <a:lnTo>
                      <a:pt x="402" y="280"/>
                    </a:lnTo>
                    <a:lnTo>
                      <a:pt x="402" y="280"/>
                    </a:lnTo>
                    <a:lnTo>
                      <a:pt x="407" y="280"/>
                    </a:lnTo>
                    <a:lnTo>
                      <a:pt x="407" y="280"/>
                    </a:lnTo>
                    <a:lnTo>
                      <a:pt x="407" y="280"/>
                    </a:lnTo>
                    <a:lnTo>
                      <a:pt x="407" y="280"/>
                    </a:lnTo>
                    <a:lnTo>
                      <a:pt x="407" y="280"/>
                    </a:lnTo>
                    <a:lnTo>
                      <a:pt x="407" y="280"/>
                    </a:lnTo>
                    <a:lnTo>
                      <a:pt x="411" y="280"/>
                    </a:lnTo>
                    <a:lnTo>
                      <a:pt x="411" y="280"/>
                    </a:lnTo>
                    <a:lnTo>
                      <a:pt x="411" y="280"/>
                    </a:lnTo>
                    <a:lnTo>
                      <a:pt x="411" y="285"/>
                    </a:lnTo>
                    <a:lnTo>
                      <a:pt x="411" y="285"/>
                    </a:lnTo>
                    <a:lnTo>
                      <a:pt x="411" y="285"/>
                    </a:lnTo>
                    <a:lnTo>
                      <a:pt x="411" y="285"/>
                    </a:lnTo>
                    <a:lnTo>
                      <a:pt x="411" y="289"/>
                    </a:lnTo>
                    <a:lnTo>
                      <a:pt x="411" y="289"/>
                    </a:lnTo>
                    <a:lnTo>
                      <a:pt x="411" y="289"/>
                    </a:lnTo>
                    <a:lnTo>
                      <a:pt x="411" y="289"/>
                    </a:lnTo>
                    <a:lnTo>
                      <a:pt x="411" y="289"/>
                    </a:lnTo>
                    <a:lnTo>
                      <a:pt x="411" y="289"/>
                    </a:lnTo>
                    <a:lnTo>
                      <a:pt x="411" y="289"/>
                    </a:lnTo>
                    <a:lnTo>
                      <a:pt x="407" y="289"/>
                    </a:lnTo>
                    <a:lnTo>
                      <a:pt x="407" y="289"/>
                    </a:lnTo>
                    <a:lnTo>
                      <a:pt x="407" y="289"/>
                    </a:lnTo>
                    <a:lnTo>
                      <a:pt x="407" y="289"/>
                    </a:lnTo>
                    <a:lnTo>
                      <a:pt x="407" y="289"/>
                    </a:lnTo>
                    <a:lnTo>
                      <a:pt x="407" y="289"/>
                    </a:lnTo>
                    <a:lnTo>
                      <a:pt x="407" y="289"/>
                    </a:lnTo>
                    <a:lnTo>
                      <a:pt x="407" y="289"/>
                    </a:lnTo>
                    <a:lnTo>
                      <a:pt x="407" y="289"/>
                    </a:lnTo>
                    <a:lnTo>
                      <a:pt x="402" y="289"/>
                    </a:lnTo>
                    <a:lnTo>
                      <a:pt x="402" y="289"/>
                    </a:lnTo>
                    <a:lnTo>
                      <a:pt x="402" y="289"/>
                    </a:lnTo>
                    <a:lnTo>
                      <a:pt x="402" y="289"/>
                    </a:lnTo>
                    <a:lnTo>
                      <a:pt x="402" y="289"/>
                    </a:lnTo>
                    <a:lnTo>
                      <a:pt x="398" y="289"/>
                    </a:lnTo>
                    <a:lnTo>
                      <a:pt x="398" y="289"/>
                    </a:lnTo>
                    <a:lnTo>
                      <a:pt x="393" y="289"/>
                    </a:lnTo>
                    <a:lnTo>
                      <a:pt x="393" y="289"/>
                    </a:lnTo>
                    <a:lnTo>
                      <a:pt x="388" y="294"/>
                    </a:lnTo>
                    <a:lnTo>
                      <a:pt x="388" y="294"/>
                    </a:lnTo>
                    <a:lnTo>
                      <a:pt x="388" y="294"/>
                    </a:lnTo>
                    <a:lnTo>
                      <a:pt x="384" y="294"/>
                    </a:lnTo>
                    <a:lnTo>
                      <a:pt x="384" y="294"/>
                    </a:lnTo>
                    <a:lnTo>
                      <a:pt x="379" y="294"/>
                    </a:lnTo>
                    <a:lnTo>
                      <a:pt x="379" y="294"/>
                    </a:lnTo>
                    <a:lnTo>
                      <a:pt x="379" y="294"/>
                    </a:lnTo>
                    <a:lnTo>
                      <a:pt x="379" y="294"/>
                    </a:lnTo>
                    <a:lnTo>
                      <a:pt x="375" y="294"/>
                    </a:lnTo>
                    <a:lnTo>
                      <a:pt x="375" y="294"/>
                    </a:lnTo>
                    <a:lnTo>
                      <a:pt x="375" y="294"/>
                    </a:lnTo>
                    <a:lnTo>
                      <a:pt x="370" y="294"/>
                    </a:lnTo>
                    <a:lnTo>
                      <a:pt x="370" y="294"/>
                    </a:lnTo>
                    <a:lnTo>
                      <a:pt x="370" y="289"/>
                    </a:lnTo>
                    <a:lnTo>
                      <a:pt x="370" y="289"/>
                    </a:lnTo>
                    <a:lnTo>
                      <a:pt x="370" y="285"/>
                    </a:lnTo>
                    <a:lnTo>
                      <a:pt x="375" y="285"/>
                    </a:lnTo>
                    <a:lnTo>
                      <a:pt x="375" y="285"/>
                    </a:lnTo>
                    <a:lnTo>
                      <a:pt x="375" y="285"/>
                    </a:lnTo>
                    <a:lnTo>
                      <a:pt x="375" y="285"/>
                    </a:lnTo>
                    <a:lnTo>
                      <a:pt x="379" y="280"/>
                    </a:lnTo>
                    <a:lnTo>
                      <a:pt x="379" y="280"/>
                    </a:lnTo>
                    <a:lnTo>
                      <a:pt x="379" y="280"/>
                    </a:lnTo>
                    <a:lnTo>
                      <a:pt x="384" y="280"/>
                    </a:lnTo>
                    <a:lnTo>
                      <a:pt x="384" y="280"/>
                    </a:lnTo>
                    <a:lnTo>
                      <a:pt x="388" y="280"/>
                    </a:lnTo>
                    <a:lnTo>
                      <a:pt x="388" y="285"/>
                    </a:lnTo>
                    <a:lnTo>
                      <a:pt x="388" y="285"/>
                    </a:lnTo>
                    <a:lnTo>
                      <a:pt x="388" y="285"/>
                    </a:lnTo>
                    <a:lnTo>
                      <a:pt x="388" y="285"/>
                    </a:lnTo>
                    <a:lnTo>
                      <a:pt x="388" y="289"/>
                    </a:lnTo>
                    <a:lnTo>
                      <a:pt x="393" y="289"/>
                    </a:lnTo>
                    <a:lnTo>
                      <a:pt x="393" y="289"/>
                    </a:lnTo>
                    <a:lnTo>
                      <a:pt x="393" y="285"/>
                    </a:lnTo>
                    <a:lnTo>
                      <a:pt x="398" y="285"/>
                    </a:lnTo>
                    <a:lnTo>
                      <a:pt x="398" y="285"/>
                    </a:lnTo>
                    <a:lnTo>
                      <a:pt x="398" y="285"/>
                    </a:lnTo>
                    <a:lnTo>
                      <a:pt x="398" y="285"/>
                    </a:lnTo>
                    <a:lnTo>
                      <a:pt x="393" y="285"/>
                    </a:lnTo>
                    <a:lnTo>
                      <a:pt x="393" y="285"/>
                    </a:lnTo>
                    <a:lnTo>
                      <a:pt x="393" y="285"/>
                    </a:lnTo>
                    <a:lnTo>
                      <a:pt x="393" y="280"/>
                    </a:lnTo>
                    <a:lnTo>
                      <a:pt x="388" y="280"/>
                    </a:lnTo>
                    <a:lnTo>
                      <a:pt x="388" y="276"/>
                    </a:lnTo>
                    <a:lnTo>
                      <a:pt x="388" y="276"/>
                    </a:lnTo>
                    <a:lnTo>
                      <a:pt x="393" y="276"/>
                    </a:lnTo>
                    <a:lnTo>
                      <a:pt x="393" y="276"/>
                    </a:lnTo>
                    <a:lnTo>
                      <a:pt x="398" y="276"/>
                    </a:lnTo>
                    <a:lnTo>
                      <a:pt x="398" y="276"/>
                    </a:lnTo>
                    <a:lnTo>
                      <a:pt x="398" y="280"/>
                    </a:lnTo>
                    <a:lnTo>
                      <a:pt x="398" y="280"/>
                    </a:lnTo>
                    <a:moveTo>
                      <a:pt x="352" y="276"/>
                    </a:moveTo>
                    <a:lnTo>
                      <a:pt x="352" y="276"/>
                    </a:lnTo>
                    <a:lnTo>
                      <a:pt x="352" y="276"/>
                    </a:lnTo>
                    <a:lnTo>
                      <a:pt x="352" y="280"/>
                    </a:lnTo>
                    <a:lnTo>
                      <a:pt x="352" y="280"/>
                    </a:lnTo>
                    <a:lnTo>
                      <a:pt x="352" y="280"/>
                    </a:lnTo>
                    <a:lnTo>
                      <a:pt x="352" y="285"/>
                    </a:lnTo>
                    <a:lnTo>
                      <a:pt x="348" y="285"/>
                    </a:lnTo>
                    <a:lnTo>
                      <a:pt x="348" y="285"/>
                    </a:lnTo>
                    <a:lnTo>
                      <a:pt x="343" y="289"/>
                    </a:lnTo>
                    <a:lnTo>
                      <a:pt x="343" y="289"/>
                    </a:lnTo>
                    <a:lnTo>
                      <a:pt x="343" y="289"/>
                    </a:lnTo>
                    <a:lnTo>
                      <a:pt x="343" y="289"/>
                    </a:lnTo>
                    <a:lnTo>
                      <a:pt x="343" y="289"/>
                    </a:lnTo>
                    <a:lnTo>
                      <a:pt x="343" y="289"/>
                    </a:lnTo>
                    <a:lnTo>
                      <a:pt x="343" y="289"/>
                    </a:lnTo>
                    <a:lnTo>
                      <a:pt x="343" y="285"/>
                    </a:lnTo>
                    <a:lnTo>
                      <a:pt x="343" y="285"/>
                    </a:lnTo>
                    <a:lnTo>
                      <a:pt x="343" y="285"/>
                    </a:lnTo>
                    <a:lnTo>
                      <a:pt x="339" y="285"/>
                    </a:lnTo>
                    <a:lnTo>
                      <a:pt x="339" y="280"/>
                    </a:lnTo>
                    <a:lnTo>
                      <a:pt x="339" y="280"/>
                    </a:lnTo>
                    <a:lnTo>
                      <a:pt x="334" y="280"/>
                    </a:lnTo>
                    <a:lnTo>
                      <a:pt x="334" y="280"/>
                    </a:lnTo>
                    <a:lnTo>
                      <a:pt x="334" y="276"/>
                    </a:lnTo>
                    <a:lnTo>
                      <a:pt x="334" y="276"/>
                    </a:lnTo>
                    <a:lnTo>
                      <a:pt x="334" y="276"/>
                    </a:lnTo>
                    <a:lnTo>
                      <a:pt x="334" y="276"/>
                    </a:lnTo>
                    <a:lnTo>
                      <a:pt x="334" y="276"/>
                    </a:lnTo>
                    <a:lnTo>
                      <a:pt x="334" y="276"/>
                    </a:lnTo>
                    <a:lnTo>
                      <a:pt x="339" y="276"/>
                    </a:lnTo>
                    <a:lnTo>
                      <a:pt x="343" y="276"/>
                    </a:lnTo>
                    <a:lnTo>
                      <a:pt x="343" y="276"/>
                    </a:lnTo>
                    <a:lnTo>
                      <a:pt x="343" y="276"/>
                    </a:lnTo>
                    <a:lnTo>
                      <a:pt x="348" y="276"/>
                    </a:lnTo>
                    <a:lnTo>
                      <a:pt x="348" y="276"/>
                    </a:lnTo>
                    <a:lnTo>
                      <a:pt x="352" y="276"/>
                    </a:lnTo>
                    <a:moveTo>
                      <a:pt x="547" y="271"/>
                    </a:moveTo>
                    <a:lnTo>
                      <a:pt x="547" y="271"/>
                    </a:lnTo>
                    <a:lnTo>
                      <a:pt x="547" y="271"/>
                    </a:lnTo>
                    <a:lnTo>
                      <a:pt x="547" y="271"/>
                    </a:lnTo>
                    <a:lnTo>
                      <a:pt x="547" y="271"/>
                    </a:lnTo>
                    <a:lnTo>
                      <a:pt x="542" y="271"/>
                    </a:lnTo>
                    <a:lnTo>
                      <a:pt x="542" y="271"/>
                    </a:lnTo>
                    <a:lnTo>
                      <a:pt x="542" y="276"/>
                    </a:lnTo>
                    <a:lnTo>
                      <a:pt x="538" y="276"/>
                    </a:lnTo>
                    <a:lnTo>
                      <a:pt x="538" y="276"/>
                    </a:lnTo>
                    <a:lnTo>
                      <a:pt x="538" y="271"/>
                    </a:lnTo>
                    <a:lnTo>
                      <a:pt x="533" y="271"/>
                    </a:lnTo>
                    <a:lnTo>
                      <a:pt x="533" y="276"/>
                    </a:lnTo>
                    <a:lnTo>
                      <a:pt x="533" y="276"/>
                    </a:lnTo>
                    <a:lnTo>
                      <a:pt x="529" y="276"/>
                    </a:lnTo>
                    <a:lnTo>
                      <a:pt x="529" y="271"/>
                    </a:lnTo>
                    <a:lnTo>
                      <a:pt x="533" y="271"/>
                    </a:lnTo>
                    <a:lnTo>
                      <a:pt x="533" y="267"/>
                    </a:lnTo>
                    <a:lnTo>
                      <a:pt x="538" y="271"/>
                    </a:lnTo>
                    <a:lnTo>
                      <a:pt x="538" y="271"/>
                    </a:lnTo>
                    <a:lnTo>
                      <a:pt x="542" y="271"/>
                    </a:lnTo>
                    <a:lnTo>
                      <a:pt x="542" y="267"/>
                    </a:lnTo>
                    <a:lnTo>
                      <a:pt x="547" y="267"/>
                    </a:lnTo>
                    <a:lnTo>
                      <a:pt x="547" y="267"/>
                    </a:lnTo>
                    <a:lnTo>
                      <a:pt x="547" y="271"/>
                    </a:lnTo>
                    <a:moveTo>
                      <a:pt x="750" y="285"/>
                    </a:moveTo>
                    <a:lnTo>
                      <a:pt x="750" y="285"/>
                    </a:lnTo>
                    <a:lnTo>
                      <a:pt x="745" y="289"/>
                    </a:lnTo>
                    <a:lnTo>
                      <a:pt x="741" y="289"/>
                    </a:lnTo>
                    <a:lnTo>
                      <a:pt x="741" y="289"/>
                    </a:lnTo>
                    <a:lnTo>
                      <a:pt x="736" y="289"/>
                    </a:lnTo>
                    <a:lnTo>
                      <a:pt x="736" y="289"/>
                    </a:lnTo>
                    <a:lnTo>
                      <a:pt x="736" y="285"/>
                    </a:lnTo>
                    <a:lnTo>
                      <a:pt x="741" y="276"/>
                    </a:lnTo>
                    <a:lnTo>
                      <a:pt x="745" y="271"/>
                    </a:lnTo>
                    <a:lnTo>
                      <a:pt x="745" y="271"/>
                    </a:lnTo>
                    <a:lnTo>
                      <a:pt x="745" y="267"/>
                    </a:lnTo>
                    <a:lnTo>
                      <a:pt x="750" y="267"/>
                    </a:lnTo>
                    <a:lnTo>
                      <a:pt x="754" y="267"/>
                    </a:lnTo>
                    <a:lnTo>
                      <a:pt x="759" y="267"/>
                    </a:lnTo>
                    <a:lnTo>
                      <a:pt x="759" y="267"/>
                    </a:lnTo>
                    <a:lnTo>
                      <a:pt x="759" y="271"/>
                    </a:lnTo>
                    <a:lnTo>
                      <a:pt x="759" y="271"/>
                    </a:lnTo>
                    <a:lnTo>
                      <a:pt x="759" y="271"/>
                    </a:lnTo>
                    <a:lnTo>
                      <a:pt x="759" y="276"/>
                    </a:lnTo>
                    <a:lnTo>
                      <a:pt x="754" y="280"/>
                    </a:lnTo>
                    <a:lnTo>
                      <a:pt x="754" y="285"/>
                    </a:lnTo>
                    <a:lnTo>
                      <a:pt x="750" y="285"/>
                    </a:lnTo>
                    <a:moveTo>
                      <a:pt x="628" y="276"/>
                    </a:moveTo>
                    <a:lnTo>
                      <a:pt x="628" y="276"/>
                    </a:lnTo>
                    <a:lnTo>
                      <a:pt x="628" y="276"/>
                    </a:lnTo>
                    <a:lnTo>
                      <a:pt x="623" y="276"/>
                    </a:lnTo>
                    <a:lnTo>
                      <a:pt x="623" y="276"/>
                    </a:lnTo>
                    <a:lnTo>
                      <a:pt x="623" y="276"/>
                    </a:lnTo>
                    <a:lnTo>
                      <a:pt x="623" y="276"/>
                    </a:lnTo>
                    <a:lnTo>
                      <a:pt x="623" y="271"/>
                    </a:lnTo>
                    <a:lnTo>
                      <a:pt x="623" y="271"/>
                    </a:lnTo>
                    <a:lnTo>
                      <a:pt x="623" y="271"/>
                    </a:lnTo>
                    <a:lnTo>
                      <a:pt x="623" y="271"/>
                    </a:lnTo>
                    <a:lnTo>
                      <a:pt x="628" y="267"/>
                    </a:lnTo>
                    <a:lnTo>
                      <a:pt x="628" y="267"/>
                    </a:lnTo>
                    <a:lnTo>
                      <a:pt x="628" y="267"/>
                    </a:lnTo>
                    <a:lnTo>
                      <a:pt x="628" y="262"/>
                    </a:lnTo>
                    <a:lnTo>
                      <a:pt x="628" y="262"/>
                    </a:lnTo>
                    <a:lnTo>
                      <a:pt x="632" y="262"/>
                    </a:lnTo>
                    <a:lnTo>
                      <a:pt x="632" y="262"/>
                    </a:lnTo>
                    <a:lnTo>
                      <a:pt x="632" y="262"/>
                    </a:lnTo>
                    <a:lnTo>
                      <a:pt x="632" y="258"/>
                    </a:lnTo>
                    <a:lnTo>
                      <a:pt x="632" y="258"/>
                    </a:lnTo>
                    <a:lnTo>
                      <a:pt x="637" y="258"/>
                    </a:lnTo>
                    <a:lnTo>
                      <a:pt x="637" y="262"/>
                    </a:lnTo>
                    <a:lnTo>
                      <a:pt x="632" y="262"/>
                    </a:lnTo>
                    <a:lnTo>
                      <a:pt x="632" y="267"/>
                    </a:lnTo>
                    <a:lnTo>
                      <a:pt x="632" y="271"/>
                    </a:lnTo>
                    <a:lnTo>
                      <a:pt x="632" y="271"/>
                    </a:lnTo>
                    <a:lnTo>
                      <a:pt x="628" y="271"/>
                    </a:lnTo>
                    <a:lnTo>
                      <a:pt x="628" y="271"/>
                    </a:lnTo>
                    <a:lnTo>
                      <a:pt x="628" y="276"/>
                    </a:lnTo>
                    <a:lnTo>
                      <a:pt x="628" y="276"/>
                    </a:lnTo>
                    <a:lnTo>
                      <a:pt x="628" y="276"/>
                    </a:lnTo>
                    <a:lnTo>
                      <a:pt x="628" y="276"/>
                    </a:lnTo>
                    <a:moveTo>
                      <a:pt x="325" y="253"/>
                    </a:moveTo>
                    <a:lnTo>
                      <a:pt x="325" y="253"/>
                    </a:lnTo>
                    <a:lnTo>
                      <a:pt x="325" y="253"/>
                    </a:lnTo>
                    <a:lnTo>
                      <a:pt x="321" y="253"/>
                    </a:lnTo>
                    <a:lnTo>
                      <a:pt x="321" y="258"/>
                    </a:lnTo>
                    <a:lnTo>
                      <a:pt x="316" y="258"/>
                    </a:lnTo>
                    <a:lnTo>
                      <a:pt x="312" y="258"/>
                    </a:lnTo>
                    <a:lnTo>
                      <a:pt x="312" y="258"/>
                    </a:lnTo>
                    <a:lnTo>
                      <a:pt x="312" y="258"/>
                    </a:lnTo>
                    <a:lnTo>
                      <a:pt x="312" y="258"/>
                    </a:lnTo>
                    <a:lnTo>
                      <a:pt x="312" y="258"/>
                    </a:lnTo>
                    <a:lnTo>
                      <a:pt x="307" y="253"/>
                    </a:lnTo>
                    <a:lnTo>
                      <a:pt x="303" y="253"/>
                    </a:lnTo>
                    <a:lnTo>
                      <a:pt x="307" y="253"/>
                    </a:lnTo>
                    <a:lnTo>
                      <a:pt x="307" y="249"/>
                    </a:lnTo>
                    <a:lnTo>
                      <a:pt x="312" y="249"/>
                    </a:lnTo>
                    <a:lnTo>
                      <a:pt x="325" y="249"/>
                    </a:lnTo>
                    <a:lnTo>
                      <a:pt x="330" y="253"/>
                    </a:lnTo>
                    <a:lnTo>
                      <a:pt x="330" y="253"/>
                    </a:lnTo>
                    <a:lnTo>
                      <a:pt x="325" y="253"/>
                    </a:lnTo>
                    <a:lnTo>
                      <a:pt x="325" y="253"/>
                    </a:lnTo>
                    <a:moveTo>
                      <a:pt x="687" y="244"/>
                    </a:moveTo>
                    <a:lnTo>
                      <a:pt x="687" y="244"/>
                    </a:lnTo>
                    <a:lnTo>
                      <a:pt x="687" y="249"/>
                    </a:lnTo>
                    <a:lnTo>
                      <a:pt x="687" y="249"/>
                    </a:lnTo>
                    <a:lnTo>
                      <a:pt x="682" y="249"/>
                    </a:lnTo>
                    <a:lnTo>
                      <a:pt x="682" y="253"/>
                    </a:lnTo>
                    <a:lnTo>
                      <a:pt x="682" y="253"/>
                    </a:lnTo>
                    <a:lnTo>
                      <a:pt x="678" y="253"/>
                    </a:lnTo>
                    <a:lnTo>
                      <a:pt x="678" y="253"/>
                    </a:lnTo>
                    <a:lnTo>
                      <a:pt x="678" y="253"/>
                    </a:lnTo>
                    <a:lnTo>
                      <a:pt x="678" y="244"/>
                    </a:lnTo>
                    <a:lnTo>
                      <a:pt x="678" y="249"/>
                    </a:lnTo>
                    <a:lnTo>
                      <a:pt x="678" y="244"/>
                    </a:lnTo>
                    <a:lnTo>
                      <a:pt x="678" y="244"/>
                    </a:lnTo>
                    <a:lnTo>
                      <a:pt x="678" y="244"/>
                    </a:lnTo>
                    <a:lnTo>
                      <a:pt x="678" y="240"/>
                    </a:lnTo>
                    <a:lnTo>
                      <a:pt x="678" y="240"/>
                    </a:lnTo>
                    <a:lnTo>
                      <a:pt x="678" y="240"/>
                    </a:lnTo>
                    <a:lnTo>
                      <a:pt x="682" y="240"/>
                    </a:lnTo>
                    <a:lnTo>
                      <a:pt x="682" y="244"/>
                    </a:lnTo>
                    <a:lnTo>
                      <a:pt x="682" y="244"/>
                    </a:lnTo>
                    <a:lnTo>
                      <a:pt x="687" y="244"/>
                    </a:lnTo>
                    <a:moveTo>
                      <a:pt x="212" y="231"/>
                    </a:moveTo>
                    <a:lnTo>
                      <a:pt x="212" y="231"/>
                    </a:lnTo>
                    <a:lnTo>
                      <a:pt x="217" y="235"/>
                    </a:lnTo>
                    <a:lnTo>
                      <a:pt x="217" y="235"/>
                    </a:lnTo>
                    <a:lnTo>
                      <a:pt x="217" y="235"/>
                    </a:lnTo>
                    <a:lnTo>
                      <a:pt x="221" y="235"/>
                    </a:lnTo>
                    <a:lnTo>
                      <a:pt x="221" y="235"/>
                    </a:lnTo>
                    <a:lnTo>
                      <a:pt x="226" y="235"/>
                    </a:lnTo>
                    <a:lnTo>
                      <a:pt x="226" y="235"/>
                    </a:lnTo>
                    <a:lnTo>
                      <a:pt x="226" y="235"/>
                    </a:lnTo>
                    <a:lnTo>
                      <a:pt x="230" y="235"/>
                    </a:lnTo>
                    <a:lnTo>
                      <a:pt x="230" y="235"/>
                    </a:lnTo>
                    <a:lnTo>
                      <a:pt x="230" y="235"/>
                    </a:lnTo>
                    <a:lnTo>
                      <a:pt x="230" y="240"/>
                    </a:lnTo>
                    <a:lnTo>
                      <a:pt x="230" y="240"/>
                    </a:lnTo>
                    <a:lnTo>
                      <a:pt x="235" y="240"/>
                    </a:lnTo>
                    <a:lnTo>
                      <a:pt x="235" y="244"/>
                    </a:lnTo>
                    <a:lnTo>
                      <a:pt x="235" y="249"/>
                    </a:lnTo>
                    <a:lnTo>
                      <a:pt x="235" y="249"/>
                    </a:lnTo>
                    <a:lnTo>
                      <a:pt x="239" y="249"/>
                    </a:lnTo>
                    <a:lnTo>
                      <a:pt x="239" y="249"/>
                    </a:lnTo>
                    <a:lnTo>
                      <a:pt x="244" y="249"/>
                    </a:lnTo>
                    <a:lnTo>
                      <a:pt x="248" y="249"/>
                    </a:lnTo>
                    <a:lnTo>
                      <a:pt x="248" y="249"/>
                    </a:lnTo>
                    <a:lnTo>
                      <a:pt x="248" y="249"/>
                    </a:lnTo>
                    <a:lnTo>
                      <a:pt x="253" y="249"/>
                    </a:lnTo>
                    <a:lnTo>
                      <a:pt x="257" y="249"/>
                    </a:lnTo>
                    <a:lnTo>
                      <a:pt x="257" y="249"/>
                    </a:lnTo>
                    <a:lnTo>
                      <a:pt x="262" y="249"/>
                    </a:lnTo>
                    <a:lnTo>
                      <a:pt x="262" y="249"/>
                    </a:lnTo>
                    <a:lnTo>
                      <a:pt x="262" y="249"/>
                    </a:lnTo>
                    <a:lnTo>
                      <a:pt x="262" y="249"/>
                    </a:lnTo>
                    <a:lnTo>
                      <a:pt x="266" y="249"/>
                    </a:lnTo>
                    <a:lnTo>
                      <a:pt x="266" y="249"/>
                    </a:lnTo>
                    <a:lnTo>
                      <a:pt x="266" y="249"/>
                    </a:lnTo>
                    <a:lnTo>
                      <a:pt x="271" y="244"/>
                    </a:lnTo>
                    <a:lnTo>
                      <a:pt x="271" y="244"/>
                    </a:lnTo>
                    <a:lnTo>
                      <a:pt x="271" y="244"/>
                    </a:lnTo>
                    <a:lnTo>
                      <a:pt x="271" y="240"/>
                    </a:lnTo>
                    <a:lnTo>
                      <a:pt x="271" y="240"/>
                    </a:lnTo>
                    <a:lnTo>
                      <a:pt x="271" y="240"/>
                    </a:lnTo>
                    <a:lnTo>
                      <a:pt x="276" y="240"/>
                    </a:lnTo>
                    <a:lnTo>
                      <a:pt x="276" y="240"/>
                    </a:lnTo>
                    <a:lnTo>
                      <a:pt x="280" y="244"/>
                    </a:lnTo>
                    <a:lnTo>
                      <a:pt x="280" y="244"/>
                    </a:lnTo>
                    <a:lnTo>
                      <a:pt x="280" y="244"/>
                    </a:lnTo>
                    <a:lnTo>
                      <a:pt x="280" y="244"/>
                    </a:lnTo>
                    <a:lnTo>
                      <a:pt x="285" y="244"/>
                    </a:lnTo>
                    <a:lnTo>
                      <a:pt x="285" y="244"/>
                    </a:lnTo>
                    <a:lnTo>
                      <a:pt x="285" y="244"/>
                    </a:lnTo>
                    <a:lnTo>
                      <a:pt x="289" y="249"/>
                    </a:lnTo>
                    <a:lnTo>
                      <a:pt x="289" y="249"/>
                    </a:lnTo>
                    <a:lnTo>
                      <a:pt x="294" y="249"/>
                    </a:lnTo>
                    <a:lnTo>
                      <a:pt x="294" y="249"/>
                    </a:lnTo>
                    <a:lnTo>
                      <a:pt x="294" y="249"/>
                    </a:lnTo>
                    <a:lnTo>
                      <a:pt x="298" y="249"/>
                    </a:lnTo>
                    <a:lnTo>
                      <a:pt x="298" y="249"/>
                    </a:lnTo>
                    <a:lnTo>
                      <a:pt x="303" y="249"/>
                    </a:lnTo>
                    <a:lnTo>
                      <a:pt x="303" y="253"/>
                    </a:lnTo>
                    <a:lnTo>
                      <a:pt x="303" y="258"/>
                    </a:lnTo>
                    <a:lnTo>
                      <a:pt x="303" y="258"/>
                    </a:lnTo>
                    <a:lnTo>
                      <a:pt x="307" y="258"/>
                    </a:lnTo>
                    <a:lnTo>
                      <a:pt x="307" y="258"/>
                    </a:lnTo>
                    <a:lnTo>
                      <a:pt x="307" y="262"/>
                    </a:lnTo>
                    <a:lnTo>
                      <a:pt x="307" y="262"/>
                    </a:lnTo>
                    <a:lnTo>
                      <a:pt x="307" y="267"/>
                    </a:lnTo>
                    <a:lnTo>
                      <a:pt x="312" y="267"/>
                    </a:lnTo>
                    <a:lnTo>
                      <a:pt x="316" y="267"/>
                    </a:lnTo>
                    <a:lnTo>
                      <a:pt x="321" y="267"/>
                    </a:lnTo>
                    <a:lnTo>
                      <a:pt x="325" y="267"/>
                    </a:lnTo>
                    <a:lnTo>
                      <a:pt x="325" y="267"/>
                    </a:lnTo>
                    <a:lnTo>
                      <a:pt x="325" y="267"/>
                    </a:lnTo>
                    <a:lnTo>
                      <a:pt x="334" y="267"/>
                    </a:lnTo>
                    <a:lnTo>
                      <a:pt x="334" y="267"/>
                    </a:lnTo>
                    <a:lnTo>
                      <a:pt x="334" y="271"/>
                    </a:lnTo>
                    <a:lnTo>
                      <a:pt x="334" y="271"/>
                    </a:lnTo>
                    <a:lnTo>
                      <a:pt x="330" y="276"/>
                    </a:lnTo>
                    <a:lnTo>
                      <a:pt x="330" y="280"/>
                    </a:lnTo>
                    <a:lnTo>
                      <a:pt x="330" y="280"/>
                    </a:lnTo>
                    <a:lnTo>
                      <a:pt x="330" y="285"/>
                    </a:lnTo>
                    <a:lnTo>
                      <a:pt x="334" y="285"/>
                    </a:lnTo>
                    <a:lnTo>
                      <a:pt x="334" y="285"/>
                    </a:lnTo>
                    <a:lnTo>
                      <a:pt x="334" y="289"/>
                    </a:lnTo>
                    <a:lnTo>
                      <a:pt x="334" y="289"/>
                    </a:lnTo>
                    <a:lnTo>
                      <a:pt x="330" y="289"/>
                    </a:lnTo>
                    <a:lnTo>
                      <a:pt x="330" y="285"/>
                    </a:lnTo>
                    <a:lnTo>
                      <a:pt x="330" y="285"/>
                    </a:lnTo>
                    <a:lnTo>
                      <a:pt x="330" y="285"/>
                    </a:lnTo>
                    <a:lnTo>
                      <a:pt x="325" y="285"/>
                    </a:lnTo>
                    <a:lnTo>
                      <a:pt x="325" y="285"/>
                    </a:lnTo>
                    <a:lnTo>
                      <a:pt x="321" y="280"/>
                    </a:lnTo>
                    <a:lnTo>
                      <a:pt x="312" y="280"/>
                    </a:lnTo>
                    <a:lnTo>
                      <a:pt x="312" y="280"/>
                    </a:lnTo>
                    <a:lnTo>
                      <a:pt x="307" y="280"/>
                    </a:lnTo>
                    <a:lnTo>
                      <a:pt x="307" y="280"/>
                    </a:lnTo>
                    <a:lnTo>
                      <a:pt x="303" y="280"/>
                    </a:lnTo>
                    <a:lnTo>
                      <a:pt x="303" y="280"/>
                    </a:lnTo>
                    <a:lnTo>
                      <a:pt x="298" y="280"/>
                    </a:lnTo>
                    <a:lnTo>
                      <a:pt x="298" y="280"/>
                    </a:lnTo>
                    <a:lnTo>
                      <a:pt x="294" y="280"/>
                    </a:lnTo>
                    <a:lnTo>
                      <a:pt x="280" y="280"/>
                    </a:lnTo>
                    <a:lnTo>
                      <a:pt x="280" y="276"/>
                    </a:lnTo>
                    <a:lnTo>
                      <a:pt x="276" y="276"/>
                    </a:lnTo>
                    <a:lnTo>
                      <a:pt x="271" y="276"/>
                    </a:lnTo>
                    <a:lnTo>
                      <a:pt x="266" y="276"/>
                    </a:lnTo>
                    <a:lnTo>
                      <a:pt x="257" y="271"/>
                    </a:lnTo>
                    <a:lnTo>
                      <a:pt x="253" y="267"/>
                    </a:lnTo>
                    <a:lnTo>
                      <a:pt x="244" y="267"/>
                    </a:lnTo>
                    <a:lnTo>
                      <a:pt x="244" y="267"/>
                    </a:lnTo>
                    <a:lnTo>
                      <a:pt x="239" y="267"/>
                    </a:lnTo>
                    <a:lnTo>
                      <a:pt x="235" y="267"/>
                    </a:lnTo>
                    <a:lnTo>
                      <a:pt x="235" y="267"/>
                    </a:lnTo>
                    <a:lnTo>
                      <a:pt x="230" y="267"/>
                    </a:lnTo>
                    <a:lnTo>
                      <a:pt x="230" y="267"/>
                    </a:lnTo>
                    <a:lnTo>
                      <a:pt x="230" y="267"/>
                    </a:lnTo>
                    <a:lnTo>
                      <a:pt x="226" y="267"/>
                    </a:lnTo>
                    <a:lnTo>
                      <a:pt x="226" y="267"/>
                    </a:lnTo>
                    <a:lnTo>
                      <a:pt x="221" y="267"/>
                    </a:lnTo>
                    <a:lnTo>
                      <a:pt x="217" y="267"/>
                    </a:lnTo>
                    <a:lnTo>
                      <a:pt x="217" y="262"/>
                    </a:lnTo>
                    <a:lnTo>
                      <a:pt x="217" y="262"/>
                    </a:lnTo>
                    <a:lnTo>
                      <a:pt x="212" y="262"/>
                    </a:lnTo>
                    <a:lnTo>
                      <a:pt x="208" y="262"/>
                    </a:lnTo>
                    <a:lnTo>
                      <a:pt x="208" y="258"/>
                    </a:lnTo>
                    <a:lnTo>
                      <a:pt x="199" y="258"/>
                    </a:lnTo>
                    <a:lnTo>
                      <a:pt x="199" y="258"/>
                    </a:lnTo>
                    <a:lnTo>
                      <a:pt x="194" y="258"/>
                    </a:lnTo>
                    <a:lnTo>
                      <a:pt x="194" y="258"/>
                    </a:lnTo>
                    <a:lnTo>
                      <a:pt x="194" y="258"/>
                    </a:lnTo>
                    <a:lnTo>
                      <a:pt x="194" y="253"/>
                    </a:lnTo>
                    <a:lnTo>
                      <a:pt x="194" y="253"/>
                    </a:lnTo>
                    <a:lnTo>
                      <a:pt x="199" y="253"/>
                    </a:lnTo>
                    <a:lnTo>
                      <a:pt x="190" y="249"/>
                    </a:lnTo>
                    <a:lnTo>
                      <a:pt x="185" y="249"/>
                    </a:lnTo>
                    <a:lnTo>
                      <a:pt x="185" y="249"/>
                    </a:lnTo>
                    <a:lnTo>
                      <a:pt x="185" y="249"/>
                    </a:lnTo>
                    <a:lnTo>
                      <a:pt x="181" y="249"/>
                    </a:lnTo>
                    <a:lnTo>
                      <a:pt x="181" y="249"/>
                    </a:lnTo>
                    <a:lnTo>
                      <a:pt x="176" y="249"/>
                    </a:lnTo>
                    <a:lnTo>
                      <a:pt x="176" y="249"/>
                    </a:lnTo>
                    <a:lnTo>
                      <a:pt x="176" y="249"/>
                    </a:lnTo>
                    <a:lnTo>
                      <a:pt x="176" y="249"/>
                    </a:lnTo>
                    <a:lnTo>
                      <a:pt x="176" y="244"/>
                    </a:lnTo>
                    <a:lnTo>
                      <a:pt x="176" y="244"/>
                    </a:lnTo>
                    <a:lnTo>
                      <a:pt x="176" y="244"/>
                    </a:lnTo>
                    <a:lnTo>
                      <a:pt x="176" y="244"/>
                    </a:lnTo>
                    <a:lnTo>
                      <a:pt x="176" y="244"/>
                    </a:lnTo>
                    <a:lnTo>
                      <a:pt x="176" y="244"/>
                    </a:lnTo>
                    <a:lnTo>
                      <a:pt x="181" y="249"/>
                    </a:lnTo>
                    <a:lnTo>
                      <a:pt x="181" y="244"/>
                    </a:lnTo>
                    <a:lnTo>
                      <a:pt x="181" y="244"/>
                    </a:lnTo>
                    <a:lnTo>
                      <a:pt x="181" y="244"/>
                    </a:lnTo>
                    <a:lnTo>
                      <a:pt x="181" y="240"/>
                    </a:lnTo>
                    <a:lnTo>
                      <a:pt x="185" y="240"/>
                    </a:lnTo>
                    <a:lnTo>
                      <a:pt x="185" y="240"/>
                    </a:lnTo>
                    <a:lnTo>
                      <a:pt x="185" y="240"/>
                    </a:lnTo>
                    <a:lnTo>
                      <a:pt x="185" y="235"/>
                    </a:lnTo>
                    <a:lnTo>
                      <a:pt x="190" y="231"/>
                    </a:lnTo>
                    <a:lnTo>
                      <a:pt x="190" y="231"/>
                    </a:lnTo>
                    <a:lnTo>
                      <a:pt x="190" y="231"/>
                    </a:lnTo>
                    <a:lnTo>
                      <a:pt x="194" y="231"/>
                    </a:lnTo>
                    <a:lnTo>
                      <a:pt x="194" y="231"/>
                    </a:lnTo>
                    <a:lnTo>
                      <a:pt x="199" y="231"/>
                    </a:lnTo>
                    <a:lnTo>
                      <a:pt x="199" y="231"/>
                    </a:lnTo>
                    <a:lnTo>
                      <a:pt x="203" y="231"/>
                    </a:lnTo>
                    <a:lnTo>
                      <a:pt x="203" y="235"/>
                    </a:lnTo>
                    <a:lnTo>
                      <a:pt x="203" y="231"/>
                    </a:lnTo>
                    <a:lnTo>
                      <a:pt x="208" y="231"/>
                    </a:lnTo>
                    <a:lnTo>
                      <a:pt x="208" y="231"/>
                    </a:lnTo>
                    <a:lnTo>
                      <a:pt x="208" y="231"/>
                    </a:lnTo>
                    <a:lnTo>
                      <a:pt x="208" y="231"/>
                    </a:lnTo>
                    <a:lnTo>
                      <a:pt x="212" y="231"/>
                    </a:lnTo>
                    <a:lnTo>
                      <a:pt x="212" y="231"/>
                    </a:lnTo>
                    <a:moveTo>
                      <a:pt x="691" y="231"/>
                    </a:moveTo>
                    <a:lnTo>
                      <a:pt x="691" y="231"/>
                    </a:lnTo>
                    <a:lnTo>
                      <a:pt x="691" y="231"/>
                    </a:lnTo>
                    <a:lnTo>
                      <a:pt x="691" y="231"/>
                    </a:lnTo>
                    <a:lnTo>
                      <a:pt x="691" y="235"/>
                    </a:lnTo>
                    <a:lnTo>
                      <a:pt x="691" y="235"/>
                    </a:lnTo>
                    <a:lnTo>
                      <a:pt x="691" y="240"/>
                    </a:lnTo>
                    <a:lnTo>
                      <a:pt x="691" y="240"/>
                    </a:lnTo>
                    <a:lnTo>
                      <a:pt x="691" y="240"/>
                    </a:lnTo>
                    <a:lnTo>
                      <a:pt x="691" y="240"/>
                    </a:lnTo>
                    <a:lnTo>
                      <a:pt x="691" y="244"/>
                    </a:lnTo>
                    <a:lnTo>
                      <a:pt x="687" y="244"/>
                    </a:lnTo>
                    <a:lnTo>
                      <a:pt x="687" y="244"/>
                    </a:lnTo>
                    <a:lnTo>
                      <a:pt x="687" y="244"/>
                    </a:lnTo>
                    <a:lnTo>
                      <a:pt x="682" y="244"/>
                    </a:lnTo>
                    <a:lnTo>
                      <a:pt x="682" y="244"/>
                    </a:lnTo>
                    <a:lnTo>
                      <a:pt x="682" y="240"/>
                    </a:lnTo>
                    <a:lnTo>
                      <a:pt x="682" y="240"/>
                    </a:lnTo>
                    <a:lnTo>
                      <a:pt x="682" y="240"/>
                    </a:lnTo>
                    <a:lnTo>
                      <a:pt x="678" y="240"/>
                    </a:lnTo>
                    <a:lnTo>
                      <a:pt x="682" y="235"/>
                    </a:lnTo>
                    <a:lnTo>
                      <a:pt x="682" y="235"/>
                    </a:lnTo>
                    <a:lnTo>
                      <a:pt x="682" y="235"/>
                    </a:lnTo>
                    <a:lnTo>
                      <a:pt x="682" y="235"/>
                    </a:lnTo>
                    <a:lnTo>
                      <a:pt x="682" y="235"/>
                    </a:lnTo>
                    <a:lnTo>
                      <a:pt x="682" y="231"/>
                    </a:lnTo>
                    <a:lnTo>
                      <a:pt x="682" y="231"/>
                    </a:lnTo>
                    <a:lnTo>
                      <a:pt x="682" y="231"/>
                    </a:lnTo>
                    <a:lnTo>
                      <a:pt x="682" y="231"/>
                    </a:lnTo>
                    <a:lnTo>
                      <a:pt x="687" y="226"/>
                    </a:lnTo>
                    <a:lnTo>
                      <a:pt x="687" y="226"/>
                    </a:lnTo>
                    <a:lnTo>
                      <a:pt x="687" y="226"/>
                    </a:lnTo>
                    <a:lnTo>
                      <a:pt x="687" y="226"/>
                    </a:lnTo>
                    <a:lnTo>
                      <a:pt x="691" y="226"/>
                    </a:lnTo>
                    <a:lnTo>
                      <a:pt x="691" y="226"/>
                    </a:lnTo>
                    <a:lnTo>
                      <a:pt x="691" y="226"/>
                    </a:lnTo>
                    <a:lnTo>
                      <a:pt x="691" y="226"/>
                    </a:lnTo>
                    <a:lnTo>
                      <a:pt x="691" y="226"/>
                    </a:lnTo>
                    <a:lnTo>
                      <a:pt x="691" y="231"/>
                    </a:lnTo>
                    <a:moveTo>
                      <a:pt x="479" y="217"/>
                    </a:moveTo>
                    <a:lnTo>
                      <a:pt x="479" y="217"/>
                    </a:lnTo>
                    <a:lnTo>
                      <a:pt x="479" y="221"/>
                    </a:lnTo>
                    <a:lnTo>
                      <a:pt x="479" y="221"/>
                    </a:lnTo>
                    <a:lnTo>
                      <a:pt x="479" y="221"/>
                    </a:lnTo>
                    <a:lnTo>
                      <a:pt x="479" y="221"/>
                    </a:lnTo>
                    <a:lnTo>
                      <a:pt x="474" y="221"/>
                    </a:lnTo>
                    <a:lnTo>
                      <a:pt x="474" y="221"/>
                    </a:lnTo>
                    <a:lnTo>
                      <a:pt x="474" y="221"/>
                    </a:lnTo>
                    <a:lnTo>
                      <a:pt x="474" y="221"/>
                    </a:lnTo>
                    <a:lnTo>
                      <a:pt x="474" y="217"/>
                    </a:lnTo>
                    <a:lnTo>
                      <a:pt x="474" y="217"/>
                    </a:lnTo>
                    <a:lnTo>
                      <a:pt x="474" y="212"/>
                    </a:lnTo>
                    <a:lnTo>
                      <a:pt x="474" y="208"/>
                    </a:lnTo>
                    <a:lnTo>
                      <a:pt x="474" y="208"/>
                    </a:lnTo>
                    <a:lnTo>
                      <a:pt x="479" y="208"/>
                    </a:lnTo>
                    <a:lnTo>
                      <a:pt x="483" y="208"/>
                    </a:lnTo>
                    <a:lnTo>
                      <a:pt x="483" y="203"/>
                    </a:lnTo>
                    <a:lnTo>
                      <a:pt x="483" y="208"/>
                    </a:lnTo>
                    <a:lnTo>
                      <a:pt x="483" y="212"/>
                    </a:lnTo>
                    <a:lnTo>
                      <a:pt x="479" y="217"/>
                    </a:lnTo>
                    <a:lnTo>
                      <a:pt x="479" y="217"/>
                    </a:lnTo>
                    <a:moveTo>
                      <a:pt x="492" y="203"/>
                    </a:moveTo>
                    <a:lnTo>
                      <a:pt x="492" y="203"/>
                    </a:lnTo>
                    <a:lnTo>
                      <a:pt x="492" y="208"/>
                    </a:lnTo>
                    <a:lnTo>
                      <a:pt x="492" y="208"/>
                    </a:lnTo>
                    <a:lnTo>
                      <a:pt x="488" y="208"/>
                    </a:lnTo>
                    <a:lnTo>
                      <a:pt x="488" y="208"/>
                    </a:lnTo>
                    <a:lnTo>
                      <a:pt x="488" y="208"/>
                    </a:lnTo>
                    <a:lnTo>
                      <a:pt x="488" y="208"/>
                    </a:lnTo>
                    <a:lnTo>
                      <a:pt x="488" y="208"/>
                    </a:lnTo>
                    <a:lnTo>
                      <a:pt x="488" y="208"/>
                    </a:lnTo>
                    <a:lnTo>
                      <a:pt x="488" y="212"/>
                    </a:lnTo>
                    <a:lnTo>
                      <a:pt x="488" y="212"/>
                    </a:lnTo>
                    <a:lnTo>
                      <a:pt x="488" y="217"/>
                    </a:lnTo>
                    <a:lnTo>
                      <a:pt x="488" y="217"/>
                    </a:lnTo>
                    <a:lnTo>
                      <a:pt x="488" y="217"/>
                    </a:lnTo>
                    <a:lnTo>
                      <a:pt x="488" y="217"/>
                    </a:lnTo>
                    <a:lnTo>
                      <a:pt x="488" y="217"/>
                    </a:lnTo>
                    <a:lnTo>
                      <a:pt x="492" y="217"/>
                    </a:lnTo>
                    <a:lnTo>
                      <a:pt x="488" y="221"/>
                    </a:lnTo>
                    <a:lnTo>
                      <a:pt x="488" y="221"/>
                    </a:lnTo>
                    <a:lnTo>
                      <a:pt x="488" y="221"/>
                    </a:lnTo>
                    <a:lnTo>
                      <a:pt x="488" y="221"/>
                    </a:lnTo>
                    <a:lnTo>
                      <a:pt x="488" y="221"/>
                    </a:lnTo>
                    <a:lnTo>
                      <a:pt x="483" y="221"/>
                    </a:lnTo>
                    <a:lnTo>
                      <a:pt x="483" y="221"/>
                    </a:lnTo>
                    <a:lnTo>
                      <a:pt x="483" y="226"/>
                    </a:lnTo>
                    <a:lnTo>
                      <a:pt x="483" y="226"/>
                    </a:lnTo>
                    <a:lnTo>
                      <a:pt x="483" y="226"/>
                    </a:lnTo>
                    <a:lnTo>
                      <a:pt x="483" y="226"/>
                    </a:lnTo>
                    <a:lnTo>
                      <a:pt x="479" y="226"/>
                    </a:lnTo>
                    <a:lnTo>
                      <a:pt x="479" y="226"/>
                    </a:lnTo>
                    <a:lnTo>
                      <a:pt x="479" y="226"/>
                    </a:lnTo>
                    <a:lnTo>
                      <a:pt x="479" y="221"/>
                    </a:lnTo>
                    <a:lnTo>
                      <a:pt x="479" y="221"/>
                    </a:lnTo>
                    <a:lnTo>
                      <a:pt x="479" y="221"/>
                    </a:lnTo>
                    <a:lnTo>
                      <a:pt x="479" y="221"/>
                    </a:lnTo>
                    <a:lnTo>
                      <a:pt x="483" y="217"/>
                    </a:lnTo>
                    <a:lnTo>
                      <a:pt x="483" y="217"/>
                    </a:lnTo>
                    <a:lnTo>
                      <a:pt x="483" y="217"/>
                    </a:lnTo>
                    <a:lnTo>
                      <a:pt x="483" y="212"/>
                    </a:lnTo>
                    <a:lnTo>
                      <a:pt x="483" y="212"/>
                    </a:lnTo>
                    <a:lnTo>
                      <a:pt x="483" y="212"/>
                    </a:lnTo>
                    <a:lnTo>
                      <a:pt x="483" y="208"/>
                    </a:lnTo>
                    <a:lnTo>
                      <a:pt x="483" y="203"/>
                    </a:lnTo>
                    <a:lnTo>
                      <a:pt x="488" y="203"/>
                    </a:lnTo>
                    <a:lnTo>
                      <a:pt x="488" y="199"/>
                    </a:lnTo>
                    <a:lnTo>
                      <a:pt x="488" y="199"/>
                    </a:lnTo>
                    <a:lnTo>
                      <a:pt x="488" y="203"/>
                    </a:lnTo>
                    <a:lnTo>
                      <a:pt x="492" y="203"/>
                    </a:lnTo>
                    <a:moveTo>
                      <a:pt x="370" y="190"/>
                    </a:moveTo>
                    <a:lnTo>
                      <a:pt x="370" y="190"/>
                    </a:lnTo>
                    <a:lnTo>
                      <a:pt x="366" y="194"/>
                    </a:lnTo>
                    <a:lnTo>
                      <a:pt x="366" y="194"/>
                    </a:lnTo>
                    <a:lnTo>
                      <a:pt x="366" y="190"/>
                    </a:lnTo>
                    <a:lnTo>
                      <a:pt x="366" y="185"/>
                    </a:lnTo>
                    <a:lnTo>
                      <a:pt x="366" y="185"/>
                    </a:lnTo>
                    <a:lnTo>
                      <a:pt x="366" y="181"/>
                    </a:lnTo>
                    <a:lnTo>
                      <a:pt x="370" y="181"/>
                    </a:lnTo>
                    <a:lnTo>
                      <a:pt x="370" y="176"/>
                    </a:lnTo>
                    <a:lnTo>
                      <a:pt x="370" y="176"/>
                    </a:lnTo>
                    <a:lnTo>
                      <a:pt x="370" y="181"/>
                    </a:lnTo>
                    <a:lnTo>
                      <a:pt x="370" y="181"/>
                    </a:lnTo>
                    <a:lnTo>
                      <a:pt x="370" y="181"/>
                    </a:lnTo>
                    <a:lnTo>
                      <a:pt x="370" y="181"/>
                    </a:lnTo>
                    <a:lnTo>
                      <a:pt x="370" y="185"/>
                    </a:lnTo>
                    <a:lnTo>
                      <a:pt x="370" y="185"/>
                    </a:lnTo>
                    <a:lnTo>
                      <a:pt x="370" y="190"/>
                    </a:lnTo>
                    <a:lnTo>
                      <a:pt x="370" y="190"/>
                    </a:lnTo>
                    <a:moveTo>
                      <a:pt x="556" y="176"/>
                    </a:moveTo>
                    <a:lnTo>
                      <a:pt x="556" y="176"/>
                    </a:lnTo>
                    <a:lnTo>
                      <a:pt x="560" y="176"/>
                    </a:lnTo>
                    <a:lnTo>
                      <a:pt x="560" y="176"/>
                    </a:lnTo>
                    <a:lnTo>
                      <a:pt x="560" y="181"/>
                    </a:lnTo>
                    <a:lnTo>
                      <a:pt x="560" y="181"/>
                    </a:lnTo>
                    <a:lnTo>
                      <a:pt x="560" y="181"/>
                    </a:lnTo>
                    <a:lnTo>
                      <a:pt x="565" y="181"/>
                    </a:lnTo>
                    <a:lnTo>
                      <a:pt x="565" y="181"/>
                    </a:lnTo>
                    <a:lnTo>
                      <a:pt x="565" y="185"/>
                    </a:lnTo>
                    <a:lnTo>
                      <a:pt x="560" y="185"/>
                    </a:lnTo>
                    <a:lnTo>
                      <a:pt x="560" y="185"/>
                    </a:lnTo>
                    <a:lnTo>
                      <a:pt x="556" y="190"/>
                    </a:lnTo>
                    <a:lnTo>
                      <a:pt x="556" y="190"/>
                    </a:lnTo>
                    <a:lnTo>
                      <a:pt x="556" y="190"/>
                    </a:lnTo>
                    <a:lnTo>
                      <a:pt x="556" y="190"/>
                    </a:lnTo>
                    <a:lnTo>
                      <a:pt x="551" y="190"/>
                    </a:lnTo>
                    <a:lnTo>
                      <a:pt x="551" y="190"/>
                    </a:lnTo>
                    <a:lnTo>
                      <a:pt x="547" y="185"/>
                    </a:lnTo>
                    <a:lnTo>
                      <a:pt x="547" y="185"/>
                    </a:lnTo>
                    <a:lnTo>
                      <a:pt x="547" y="185"/>
                    </a:lnTo>
                    <a:lnTo>
                      <a:pt x="542" y="185"/>
                    </a:lnTo>
                    <a:lnTo>
                      <a:pt x="542" y="181"/>
                    </a:lnTo>
                    <a:lnTo>
                      <a:pt x="542" y="181"/>
                    </a:lnTo>
                    <a:lnTo>
                      <a:pt x="542" y="176"/>
                    </a:lnTo>
                    <a:lnTo>
                      <a:pt x="542" y="176"/>
                    </a:lnTo>
                    <a:lnTo>
                      <a:pt x="542" y="176"/>
                    </a:lnTo>
                    <a:lnTo>
                      <a:pt x="547" y="176"/>
                    </a:lnTo>
                    <a:lnTo>
                      <a:pt x="547" y="176"/>
                    </a:lnTo>
                    <a:lnTo>
                      <a:pt x="551" y="176"/>
                    </a:lnTo>
                    <a:lnTo>
                      <a:pt x="556" y="176"/>
                    </a:lnTo>
                    <a:lnTo>
                      <a:pt x="556" y="176"/>
                    </a:lnTo>
                    <a:moveTo>
                      <a:pt x="605" y="172"/>
                    </a:moveTo>
                    <a:lnTo>
                      <a:pt x="605" y="172"/>
                    </a:lnTo>
                    <a:lnTo>
                      <a:pt x="610" y="172"/>
                    </a:lnTo>
                    <a:lnTo>
                      <a:pt x="614" y="172"/>
                    </a:lnTo>
                    <a:lnTo>
                      <a:pt x="619" y="172"/>
                    </a:lnTo>
                    <a:lnTo>
                      <a:pt x="619" y="172"/>
                    </a:lnTo>
                    <a:lnTo>
                      <a:pt x="623" y="176"/>
                    </a:lnTo>
                    <a:lnTo>
                      <a:pt x="623" y="176"/>
                    </a:lnTo>
                    <a:lnTo>
                      <a:pt x="623" y="181"/>
                    </a:lnTo>
                    <a:lnTo>
                      <a:pt x="623" y="181"/>
                    </a:lnTo>
                    <a:lnTo>
                      <a:pt x="623" y="181"/>
                    </a:lnTo>
                    <a:lnTo>
                      <a:pt x="623" y="181"/>
                    </a:lnTo>
                    <a:lnTo>
                      <a:pt x="628" y="185"/>
                    </a:lnTo>
                    <a:lnTo>
                      <a:pt x="628" y="185"/>
                    </a:lnTo>
                    <a:lnTo>
                      <a:pt x="623" y="190"/>
                    </a:lnTo>
                    <a:lnTo>
                      <a:pt x="619" y="190"/>
                    </a:lnTo>
                    <a:lnTo>
                      <a:pt x="619" y="185"/>
                    </a:lnTo>
                    <a:lnTo>
                      <a:pt x="614" y="185"/>
                    </a:lnTo>
                    <a:lnTo>
                      <a:pt x="610" y="181"/>
                    </a:lnTo>
                    <a:lnTo>
                      <a:pt x="610" y="181"/>
                    </a:lnTo>
                    <a:lnTo>
                      <a:pt x="610" y="181"/>
                    </a:lnTo>
                    <a:lnTo>
                      <a:pt x="610" y="181"/>
                    </a:lnTo>
                    <a:lnTo>
                      <a:pt x="605" y="181"/>
                    </a:lnTo>
                    <a:lnTo>
                      <a:pt x="605" y="181"/>
                    </a:lnTo>
                    <a:lnTo>
                      <a:pt x="601" y="181"/>
                    </a:lnTo>
                    <a:lnTo>
                      <a:pt x="601" y="181"/>
                    </a:lnTo>
                    <a:lnTo>
                      <a:pt x="601" y="181"/>
                    </a:lnTo>
                    <a:lnTo>
                      <a:pt x="601" y="181"/>
                    </a:lnTo>
                    <a:lnTo>
                      <a:pt x="601" y="181"/>
                    </a:lnTo>
                    <a:lnTo>
                      <a:pt x="596" y="181"/>
                    </a:lnTo>
                    <a:lnTo>
                      <a:pt x="596" y="181"/>
                    </a:lnTo>
                    <a:lnTo>
                      <a:pt x="592" y="181"/>
                    </a:lnTo>
                    <a:lnTo>
                      <a:pt x="592" y="181"/>
                    </a:lnTo>
                    <a:lnTo>
                      <a:pt x="592" y="181"/>
                    </a:lnTo>
                    <a:lnTo>
                      <a:pt x="592" y="176"/>
                    </a:lnTo>
                    <a:lnTo>
                      <a:pt x="592" y="176"/>
                    </a:lnTo>
                    <a:lnTo>
                      <a:pt x="592" y="176"/>
                    </a:lnTo>
                    <a:lnTo>
                      <a:pt x="592" y="176"/>
                    </a:lnTo>
                    <a:lnTo>
                      <a:pt x="592" y="181"/>
                    </a:lnTo>
                    <a:lnTo>
                      <a:pt x="587" y="181"/>
                    </a:lnTo>
                    <a:lnTo>
                      <a:pt x="587" y="181"/>
                    </a:lnTo>
                    <a:lnTo>
                      <a:pt x="587" y="181"/>
                    </a:lnTo>
                    <a:lnTo>
                      <a:pt x="583" y="181"/>
                    </a:lnTo>
                    <a:lnTo>
                      <a:pt x="583" y="181"/>
                    </a:lnTo>
                    <a:lnTo>
                      <a:pt x="583" y="176"/>
                    </a:lnTo>
                    <a:lnTo>
                      <a:pt x="583" y="176"/>
                    </a:lnTo>
                    <a:lnTo>
                      <a:pt x="578" y="176"/>
                    </a:lnTo>
                    <a:lnTo>
                      <a:pt x="578" y="176"/>
                    </a:lnTo>
                    <a:lnTo>
                      <a:pt x="578" y="176"/>
                    </a:lnTo>
                    <a:lnTo>
                      <a:pt x="578" y="176"/>
                    </a:lnTo>
                    <a:lnTo>
                      <a:pt x="578" y="181"/>
                    </a:lnTo>
                    <a:lnTo>
                      <a:pt x="578" y="181"/>
                    </a:lnTo>
                    <a:lnTo>
                      <a:pt x="574" y="181"/>
                    </a:lnTo>
                    <a:lnTo>
                      <a:pt x="574" y="185"/>
                    </a:lnTo>
                    <a:lnTo>
                      <a:pt x="574" y="185"/>
                    </a:lnTo>
                    <a:lnTo>
                      <a:pt x="574" y="181"/>
                    </a:lnTo>
                    <a:lnTo>
                      <a:pt x="574" y="181"/>
                    </a:lnTo>
                    <a:lnTo>
                      <a:pt x="574" y="181"/>
                    </a:lnTo>
                    <a:lnTo>
                      <a:pt x="574" y="176"/>
                    </a:lnTo>
                    <a:lnTo>
                      <a:pt x="578" y="172"/>
                    </a:lnTo>
                    <a:lnTo>
                      <a:pt x="578" y="172"/>
                    </a:lnTo>
                    <a:lnTo>
                      <a:pt x="587" y="172"/>
                    </a:lnTo>
                    <a:lnTo>
                      <a:pt x="592" y="172"/>
                    </a:lnTo>
                    <a:lnTo>
                      <a:pt x="592" y="172"/>
                    </a:lnTo>
                    <a:lnTo>
                      <a:pt x="596" y="172"/>
                    </a:lnTo>
                    <a:lnTo>
                      <a:pt x="596" y="172"/>
                    </a:lnTo>
                    <a:lnTo>
                      <a:pt x="596" y="172"/>
                    </a:lnTo>
                    <a:lnTo>
                      <a:pt x="596" y="172"/>
                    </a:lnTo>
                    <a:lnTo>
                      <a:pt x="596" y="172"/>
                    </a:lnTo>
                    <a:lnTo>
                      <a:pt x="601" y="172"/>
                    </a:lnTo>
                    <a:lnTo>
                      <a:pt x="601" y="167"/>
                    </a:lnTo>
                    <a:lnTo>
                      <a:pt x="601" y="167"/>
                    </a:lnTo>
                    <a:lnTo>
                      <a:pt x="601" y="167"/>
                    </a:lnTo>
                    <a:lnTo>
                      <a:pt x="605" y="167"/>
                    </a:lnTo>
                    <a:lnTo>
                      <a:pt x="605" y="167"/>
                    </a:lnTo>
                    <a:lnTo>
                      <a:pt x="605" y="172"/>
                    </a:lnTo>
                    <a:moveTo>
                      <a:pt x="230" y="172"/>
                    </a:moveTo>
                    <a:lnTo>
                      <a:pt x="230" y="172"/>
                    </a:lnTo>
                    <a:lnTo>
                      <a:pt x="230" y="172"/>
                    </a:lnTo>
                    <a:lnTo>
                      <a:pt x="230" y="172"/>
                    </a:lnTo>
                    <a:lnTo>
                      <a:pt x="230" y="176"/>
                    </a:lnTo>
                    <a:lnTo>
                      <a:pt x="230" y="176"/>
                    </a:lnTo>
                    <a:lnTo>
                      <a:pt x="226" y="176"/>
                    </a:lnTo>
                    <a:lnTo>
                      <a:pt x="226" y="176"/>
                    </a:lnTo>
                    <a:lnTo>
                      <a:pt x="226" y="172"/>
                    </a:lnTo>
                    <a:lnTo>
                      <a:pt x="226" y="172"/>
                    </a:lnTo>
                    <a:lnTo>
                      <a:pt x="226" y="172"/>
                    </a:lnTo>
                    <a:lnTo>
                      <a:pt x="226" y="176"/>
                    </a:lnTo>
                    <a:lnTo>
                      <a:pt x="221" y="176"/>
                    </a:lnTo>
                    <a:lnTo>
                      <a:pt x="221" y="176"/>
                    </a:lnTo>
                    <a:lnTo>
                      <a:pt x="221" y="172"/>
                    </a:lnTo>
                    <a:lnTo>
                      <a:pt x="221" y="172"/>
                    </a:lnTo>
                    <a:lnTo>
                      <a:pt x="221" y="172"/>
                    </a:lnTo>
                    <a:lnTo>
                      <a:pt x="221" y="172"/>
                    </a:lnTo>
                    <a:lnTo>
                      <a:pt x="221" y="167"/>
                    </a:lnTo>
                    <a:lnTo>
                      <a:pt x="221" y="167"/>
                    </a:lnTo>
                    <a:lnTo>
                      <a:pt x="221" y="167"/>
                    </a:lnTo>
                    <a:lnTo>
                      <a:pt x="221" y="167"/>
                    </a:lnTo>
                    <a:lnTo>
                      <a:pt x="221" y="163"/>
                    </a:lnTo>
                    <a:lnTo>
                      <a:pt x="226" y="163"/>
                    </a:lnTo>
                    <a:lnTo>
                      <a:pt x="226" y="163"/>
                    </a:lnTo>
                    <a:lnTo>
                      <a:pt x="230" y="163"/>
                    </a:lnTo>
                    <a:lnTo>
                      <a:pt x="230" y="163"/>
                    </a:lnTo>
                    <a:lnTo>
                      <a:pt x="235" y="167"/>
                    </a:lnTo>
                    <a:lnTo>
                      <a:pt x="230" y="172"/>
                    </a:lnTo>
                    <a:moveTo>
                      <a:pt x="619" y="145"/>
                    </a:moveTo>
                    <a:lnTo>
                      <a:pt x="619" y="145"/>
                    </a:lnTo>
                    <a:lnTo>
                      <a:pt x="619" y="149"/>
                    </a:lnTo>
                    <a:lnTo>
                      <a:pt x="619" y="149"/>
                    </a:lnTo>
                    <a:lnTo>
                      <a:pt x="619" y="149"/>
                    </a:lnTo>
                    <a:lnTo>
                      <a:pt x="619" y="149"/>
                    </a:lnTo>
                    <a:lnTo>
                      <a:pt x="619" y="149"/>
                    </a:lnTo>
                    <a:lnTo>
                      <a:pt x="619" y="154"/>
                    </a:lnTo>
                    <a:lnTo>
                      <a:pt x="619" y="154"/>
                    </a:lnTo>
                    <a:lnTo>
                      <a:pt x="619" y="154"/>
                    </a:lnTo>
                    <a:lnTo>
                      <a:pt x="619" y="154"/>
                    </a:lnTo>
                    <a:lnTo>
                      <a:pt x="619" y="154"/>
                    </a:lnTo>
                    <a:lnTo>
                      <a:pt x="614" y="154"/>
                    </a:lnTo>
                    <a:lnTo>
                      <a:pt x="614" y="154"/>
                    </a:lnTo>
                    <a:lnTo>
                      <a:pt x="610" y="154"/>
                    </a:lnTo>
                    <a:lnTo>
                      <a:pt x="610" y="149"/>
                    </a:lnTo>
                    <a:lnTo>
                      <a:pt x="610" y="149"/>
                    </a:lnTo>
                    <a:lnTo>
                      <a:pt x="614" y="149"/>
                    </a:lnTo>
                    <a:lnTo>
                      <a:pt x="614" y="145"/>
                    </a:lnTo>
                    <a:lnTo>
                      <a:pt x="614" y="145"/>
                    </a:lnTo>
                    <a:lnTo>
                      <a:pt x="619" y="145"/>
                    </a:lnTo>
                    <a:lnTo>
                      <a:pt x="619" y="145"/>
                    </a:lnTo>
                    <a:moveTo>
                      <a:pt x="524" y="145"/>
                    </a:moveTo>
                    <a:lnTo>
                      <a:pt x="524" y="145"/>
                    </a:lnTo>
                    <a:lnTo>
                      <a:pt x="529" y="145"/>
                    </a:lnTo>
                    <a:lnTo>
                      <a:pt x="529" y="145"/>
                    </a:lnTo>
                    <a:lnTo>
                      <a:pt x="529" y="145"/>
                    </a:lnTo>
                    <a:lnTo>
                      <a:pt x="529" y="145"/>
                    </a:lnTo>
                    <a:lnTo>
                      <a:pt x="529" y="145"/>
                    </a:lnTo>
                    <a:lnTo>
                      <a:pt x="529" y="149"/>
                    </a:lnTo>
                    <a:lnTo>
                      <a:pt x="529" y="149"/>
                    </a:lnTo>
                    <a:lnTo>
                      <a:pt x="529" y="149"/>
                    </a:lnTo>
                    <a:lnTo>
                      <a:pt x="533" y="149"/>
                    </a:lnTo>
                    <a:lnTo>
                      <a:pt x="529" y="149"/>
                    </a:lnTo>
                    <a:lnTo>
                      <a:pt x="529" y="149"/>
                    </a:lnTo>
                    <a:lnTo>
                      <a:pt x="524" y="149"/>
                    </a:lnTo>
                    <a:lnTo>
                      <a:pt x="524" y="149"/>
                    </a:lnTo>
                    <a:lnTo>
                      <a:pt x="519" y="154"/>
                    </a:lnTo>
                    <a:lnTo>
                      <a:pt x="515" y="154"/>
                    </a:lnTo>
                    <a:lnTo>
                      <a:pt x="515" y="154"/>
                    </a:lnTo>
                    <a:lnTo>
                      <a:pt x="515" y="149"/>
                    </a:lnTo>
                    <a:lnTo>
                      <a:pt x="515" y="145"/>
                    </a:lnTo>
                    <a:lnTo>
                      <a:pt x="515" y="145"/>
                    </a:lnTo>
                    <a:lnTo>
                      <a:pt x="515" y="145"/>
                    </a:lnTo>
                    <a:lnTo>
                      <a:pt x="519" y="145"/>
                    </a:lnTo>
                    <a:lnTo>
                      <a:pt x="524" y="145"/>
                    </a:lnTo>
                    <a:moveTo>
                      <a:pt x="709" y="145"/>
                    </a:moveTo>
                    <a:lnTo>
                      <a:pt x="709" y="145"/>
                    </a:lnTo>
                    <a:lnTo>
                      <a:pt x="714" y="145"/>
                    </a:lnTo>
                    <a:lnTo>
                      <a:pt x="718" y="145"/>
                    </a:lnTo>
                    <a:lnTo>
                      <a:pt x="723" y="145"/>
                    </a:lnTo>
                    <a:lnTo>
                      <a:pt x="723" y="149"/>
                    </a:lnTo>
                    <a:lnTo>
                      <a:pt x="732" y="149"/>
                    </a:lnTo>
                    <a:lnTo>
                      <a:pt x="732" y="149"/>
                    </a:lnTo>
                    <a:lnTo>
                      <a:pt x="732" y="149"/>
                    </a:lnTo>
                    <a:lnTo>
                      <a:pt x="732" y="149"/>
                    </a:lnTo>
                    <a:lnTo>
                      <a:pt x="727" y="149"/>
                    </a:lnTo>
                    <a:lnTo>
                      <a:pt x="727" y="149"/>
                    </a:lnTo>
                    <a:lnTo>
                      <a:pt x="723" y="149"/>
                    </a:lnTo>
                    <a:lnTo>
                      <a:pt x="723" y="149"/>
                    </a:lnTo>
                    <a:lnTo>
                      <a:pt x="723" y="149"/>
                    </a:lnTo>
                    <a:lnTo>
                      <a:pt x="718" y="149"/>
                    </a:lnTo>
                    <a:lnTo>
                      <a:pt x="714" y="149"/>
                    </a:lnTo>
                    <a:lnTo>
                      <a:pt x="709" y="145"/>
                    </a:lnTo>
                    <a:lnTo>
                      <a:pt x="709" y="145"/>
                    </a:lnTo>
                    <a:lnTo>
                      <a:pt x="709" y="145"/>
                    </a:lnTo>
                    <a:moveTo>
                      <a:pt x="194" y="145"/>
                    </a:moveTo>
                    <a:lnTo>
                      <a:pt x="194" y="145"/>
                    </a:lnTo>
                    <a:lnTo>
                      <a:pt x="194" y="145"/>
                    </a:lnTo>
                    <a:lnTo>
                      <a:pt x="194" y="149"/>
                    </a:lnTo>
                    <a:lnTo>
                      <a:pt x="194" y="149"/>
                    </a:lnTo>
                    <a:lnTo>
                      <a:pt x="199" y="154"/>
                    </a:lnTo>
                    <a:lnTo>
                      <a:pt x="199" y="158"/>
                    </a:lnTo>
                    <a:lnTo>
                      <a:pt x="208" y="163"/>
                    </a:lnTo>
                    <a:lnTo>
                      <a:pt x="208" y="163"/>
                    </a:lnTo>
                    <a:lnTo>
                      <a:pt x="203" y="163"/>
                    </a:lnTo>
                    <a:lnTo>
                      <a:pt x="203" y="167"/>
                    </a:lnTo>
                    <a:lnTo>
                      <a:pt x="203" y="167"/>
                    </a:lnTo>
                    <a:lnTo>
                      <a:pt x="203" y="172"/>
                    </a:lnTo>
                    <a:lnTo>
                      <a:pt x="203" y="172"/>
                    </a:lnTo>
                    <a:lnTo>
                      <a:pt x="203" y="172"/>
                    </a:lnTo>
                    <a:lnTo>
                      <a:pt x="203" y="172"/>
                    </a:lnTo>
                    <a:lnTo>
                      <a:pt x="203" y="172"/>
                    </a:lnTo>
                    <a:lnTo>
                      <a:pt x="203" y="172"/>
                    </a:lnTo>
                    <a:lnTo>
                      <a:pt x="199" y="172"/>
                    </a:lnTo>
                    <a:lnTo>
                      <a:pt x="199" y="172"/>
                    </a:lnTo>
                    <a:lnTo>
                      <a:pt x="199" y="172"/>
                    </a:lnTo>
                    <a:lnTo>
                      <a:pt x="199" y="167"/>
                    </a:lnTo>
                    <a:lnTo>
                      <a:pt x="194" y="167"/>
                    </a:lnTo>
                    <a:lnTo>
                      <a:pt x="194" y="167"/>
                    </a:lnTo>
                    <a:lnTo>
                      <a:pt x="190" y="167"/>
                    </a:lnTo>
                    <a:lnTo>
                      <a:pt x="190" y="163"/>
                    </a:lnTo>
                    <a:lnTo>
                      <a:pt x="190" y="163"/>
                    </a:lnTo>
                    <a:lnTo>
                      <a:pt x="190" y="158"/>
                    </a:lnTo>
                    <a:lnTo>
                      <a:pt x="190" y="158"/>
                    </a:lnTo>
                    <a:lnTo>
                      <a:pt x="190" y="158"/>
                    </a:lnTo>
                    <a:lnTo>
                      <a:pt x="190" y="154"/>
                    </a:lnTo>
                    <a:lnTo>
                      <a:pt x="190" y="154"/>
                    </a:lnTo>
                    <a:lnTo>
                      <a:pt x="185" y="154"/>
                    </a:lnTo>
                    <a:lnTo>
                      <a:pt x="185" y="154"/>
                    </a:lnTo>
                    <a:lnTo>
                      <a:pt x="181" y="154"/>
                    </a:lnTo>
                    <a:lnTo>
                      <a:pt x="181" y="154"/>
                    </a:lnTo>
                    <a:lnTo>
                      <a:pt x="181" y="154"/>
                    </a:lnTo>
                    <a:lnTo>
                      <a:pt x="176" y="154"/>
                    </a:lnTo>
                    <a:lnTo>
                      <a:pt x="176" y="149"/>
                    </a:lnTo>
                    <a:lnTo>
                      <a:pt x="181" y="149"/>
                    </a:lnTo>
                    <a:lnTo>
                      <a:pt x="181" y="149"/>
                    </a:lnTo>
                    <a:lnTo>
                      <a:pt x="181" y="149"/>
                    </a:lnTo>
                    <a:lnTo>
                      <a:pt x="181" y="145"/>
                    </a:lnTo>
                    <a:lnTo>
                      <a:pt x="181" y="145"/>
                    </a:lnTo>
                    <a:lnTo>
                      <a:pt x="181" y="145"/>
                    </a:lnTo>
                    <a:lnTo>
                      <a:pt x="185" y="145"/>
                    </a:lnTo>
                    <a:lnTo>
                      <a:pt x="185" y="140"/>
                    </a:lnTo>
                    <a:lnTo>
                      <a:pt x="185" y="140"/>
                    </a:lnTo>
                    <a:lnTo>
                      <a:pt x="185" y="145"/>
                    </a:lnTo>
                    <a:lnTo>
                      <a:pt x="185" y="145"/>
                    </a:lnTo>
                    <a:lnTo>
                      <a:pt x="190" y="145"/>
                    </a:lnTo>
                    <a:lnTo>
                      <a:pt x="190" y="145"/>
                    </a:lnTo>
                    <a:lnTo>
                      <a:pt x="190" y="140"/>
                    </a:lnTo>
                    <a:lnTo>
                      <a:pt x="190" y="140"/>
                    </a:lnTo>
                    <a:lnTo>
                      <a:pt x="190" y="140"/>
                    </a:lnTo>
                    <a:lnTo>
                      <a:pt x="194" y="140"/>
                    </a:lnTo>
                    <a:lnTo>
                      <a:pt x="194" y="145"/>
                    </a:lnTo>
                    <a:lnTo>
                      <a:pt x="194" y="145"/>
                    </a:lnTo>
                    <a:moveTo>
                      <a:pt x="578" y="145"/>
                    </a:moveTo>
                    <a:lnTo>
                      <a:pt x="578" y="145"/>
                    </a:lnTo>
                    <a:lnTo>
                      <a:pt x="578" y="145"/>
                    </a:lnTo>
                    <a:lnTo>
                      <a:pt x="578" y="145"/>
                    </a:lnTo>
                    <a:lnTo>
                      <a:pt x="578" y="145"/>
                    </a:lnTo>
                    <a:lnTo>
                      <a:pt x="574" y="145"/>
                    </a:lnTo>
                    <a:lnTo>
                      <a:pt x="569" y="145"/>
                    </a:lnTo>
                    <a:lnTo>
                      <a:pt x="569" y="145"/>
                    </a:lnTo>
                    <a:lnTo>
                      <a:pt x="569" y="145"/>
                    </a:lnTo>
                    <a:lnTo>
                      <a:pt x="569" y="145"/>
                    </a:lnTo>
                    <a:lnTo>
                      <a:pt x="569" y="140"/>
                    </a:lnTo>
                    <a:lnTo>
                      <a:pt x="569" y="140"/>
                    </a:lnTo>
                    <a:lnTo>
                      <a:pt x="574" y="140"/>
                    </a:lnTo>
                    <a:lnTo>
                      <a:pt x="574" y="140"/>
                    </a:lnTo>
                    <a:lnTo>
                      <a:pt x="578" y="140"/>
                    </a:lnTo>
                    <a:lnTo>
                      <a:pt x="578" y="145"/>
                    </a:lnTo>
                    <a:lnTo>
                      <a:pt x="578" y="145"/>
                    </a:lnTo>
                    <a:lnTo>
                      <a:pt x="578" y="145"/>
                    </a:lnTo>
                    <a:moveTo>
                      <a:pt x="492" y="136"/>
                    </a:moveTo>
                    <a:lnTo>
                      <a:pt x="492" y="136"/>
                    </a:lnTo>
                    <a:lnTo>
                      <a:pt x="492" y="136"/>
                    </a:lnTo>
                    <a:lnTo>
                      <a:pt x="492" y="136"/>
                    </a:lnTo>
                    <a:lnTo>
                      <a:pt x="492" y="140"/>
                    </a:lnTo>
                    <a:lnTo>
                      <a:pt x="497" y="136"/>
                    </a:lnTo>
                    <a:lnTo>
                      <a:pt x="497" y="136"/>
                    </a:lnTo>
                    <a:lnTo>
                      <a:pt x="497" y="136"/>
                    </a:lnTo>
                    <a:lnTo>
                      <a:pt x="501" y="136"/>
                    </a:lnTo>
                    <a:lnTo>
                      <a:pt x="501" y="140"/>
                    </a:lnTo>
                    <a:lnTo>
                      <a:pt x="501" y="140"/>
                    </a:lnTo>
                    <a:lnTo>
                      <a:pt x="497" y="140"/>
                    </a:lnTo>
                    <a:lnTo>
                      <a:pt x="497" y="140"/>
                    </a:lnTo>
                    <a:lnTo>
                      <a:pt x="497" y="140"/>
                    </a:lnTo>
                    <a:lnTo>
                      <a:pt x="497" y="140"/>
                    </a:lnTo>
                    <a:lnTo>
                      <a:pt x="492" y="145"/>
                    </a:lnTo>
                    <a:lnTo>
                      <a:pt x="492" y="145"/>
                    </a:lnTo>
                    <a:lnTo>
                      <a:pt x="492" y="145"/>
                    </a:lnTo>
                    <a:lnTo>
                      <a:pt x="492" y="145"/>
                    </a:lnTo>
                    <a:lnTo>
                      <a:pt x="492" y="145"/>
                    </a:lnTo>
                    <a:lnTo>
                      <a:pt x="492" y="140"/>
                    </a:lnTo>
                    <a:lnTo>
                      <a:pt x="492" y="136"/>
                    </a:lnTo>
                    <a:lnTo>
                      <a:pt x="492" y="140"/>
                    </a:lnTo>
                    <a:lnTo>
                      <a:pt x="492" y="140"/>
                    </a:lnTo>
                    <a:lnTo>
                      <a:pt x="488" y="145"/>
                    </a:lnTo>
                    <a:lnTo>
                      <a:pt x="488" y="145"/>
                    </a:lnTo>
                    <a:lnTo>
                      <a:pt x="488" y="140"/>
                    </a:lnTo>
                    <a:lnTo>
                      <a:pt x="488" y="136"/>
                    </a:lnTo>
                    <a:lnTo>
                      <a:pt x="488" y="136"/>
                    </a:lnTo>
                    <a:lnTo>
                      <a:pt x="488" y="136"/>
                    </a:lnTo>
                    <a:lnTo>
                      <a:pt x="492" y="136"/>
                    </a:lnTo>
                    <a:lnTo>
                      <a:pt x="492" y="136"/>
                    </a:lnTo>
                    <a:moveTo>
                      <a:pt x="72" y="145"/>
                    </a:moveTo>
                    <a:lnTo>
                      <a:pt x="72" y="145"/>
                    </a:lnTo>
                    <a:lnTo>
                      <a:pt x="72" y="145"/>
                    </a:lnTo>
                    <a:lnTo>
                      <a:pt x="68" y="145"/>
                    </a:lnTo>
                    <a:lnTo>
                      <a:pt x="68" y="145"/>
                    </a:lnTo>
                    <a:lnTo>
                      <a:pt x="68" y="140"/>
                    </a:lnTo>
                    <a:lnTo>
                      <a:pt x="63" y="136"/>
                    </a:lnTo>
                    <a:lnTo>
                      <a:pt x="63" y="136"/>
                    </a:lnTo>
                    <a:lnTo>
                      <a:pt x="63" y="131"/>
                    </a:lnTo>
                    <a:lnTo>
                      <a:pt x="68" y="131"/>
                    </a:lnTo>
                    <a:lnTo>
                      <a:pt x="68" y="131"/>
                    </a:lnTo>
                    <a:lnTo>
                      <a:pt x="72" y="131"/>
                    </a:lnTo>
                    <a:lnTo>
                      <a:pt x="72" y="136"/>
                    </a:lnTo>
                    <a:lnTo>
                      <a:pt x="72" y="136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7" y="140"/>
                    </a:lnTo>
                    <a:lnTo>
                      <a:pt x="77" y="145"/>
                    </a:lnTo>
                    <a:lnTo>
                      <a:pt x="77" y="145"/>
                    </a:lnTo>
                    <a:lnTo>
                      <a:pt x="72" y="145"/>
                    </a:lnTo>
                    <a:moveTo>
                      <a:pt x="709" y="127"/>
                    </a:moveTo>
                    <a:lnTo>
                      <a:pt x="709" y="127"/>
                    </a:lnTo>
                    <a:lnTo>
                      <a:pt x="709" y="127"/>
                    </a:lnTo>
                    <a:lnTo>
                      <a:pt x="714" y="127"/>
                    </a:lnTo>
                    <a:lnTo>
                      <a:pt x="714" y="127"/>
                    </a:lnTo>
                    <a:lnTo>
                      <a:pt x="714" y="127"/>
                    </a:lnTo>
                    <a:lnTo>
                      <a:pt x="714" y="127"/>
                    </a:lnTo>
                    <a:lnTo>
                      <a:pt x="718" y="131"/>
                    </a:lnTo>
                    <a:lnTo>
                      <a:pt x="718" y="131"/>
                    </a:lnTo>
                    <a:lnTo>
                      <a:pt x="723" y="131"/>
                    </a:lnTo>
                    <a:lnTo>
                      <a:pt x="723" y="136"/>
                    </a:lnTo>
                    <a:lnTo>
                      <a:pt x="723" y="136"/>
                    </a:lnTo>
                    <a:lnTo>
                      <a:pt x="723" y="136"/>
                    </a:lnTo>
                    <a:lnTo>
                      <a:pt x="718" y="136"/>
                    </a:lnTo>
                    <a:lnTo>
                      <a:pt x="718" y="136"/>
                    </a:lnTo>
                    <a:lnTo>
                      <a:pt x="718" y="136"/>
                    </a:lnTo>
                    <a:lnTo>
                      <a:pt x="714" y="136"/>
                    </a:lnTo>
                    <a:lnTo>
                      <a:pt x="714" y="131"/>
                    </a:lnTo>
                    <a:lnTo>
                      <a:pt x="714" y="127"/>
                    </a:lnTo>
                    <a:lnTo>
                      <a:pt x="714" y="131"/>
                    </a:lnTo>
                    <a:lnTo>
                      <a:pt x="709" y="127"/>
                    </a:lnTo>
                    <a:lnTo>
                      <a:pt x="709" y="127"/>
                    </a:lnTo>
                    <a:lnTo>
                      <a:pt x="709" y="127"/>
                    </a:lnTo>
                    <a:lnTo>
                      <a:pt x="709" y="127"/>
                    </a:lnTo>
                    <a:lnTo>
                      <a:pt x="709" y="127"/>
                    </a:lnTo>
                    <a:lnTo>
                      <a:pt x="709" y="127"/>
                    </a:lnTo>
                    <a:moveTo>
                      <a:pt x="673" y="127"/>
                    </a:moveTo>
                    <a:lnTo>
                      <a:pt x="673" y="127"/>
                    </a:lnTo>
                    <a:lnTo>
                      <a:pt x="678" y="127"/>
                    </a:lnTo>
                    <a:lnTo>
                      <a:pt x="682" y="127"/>
                    </a:lnTo>
                    <a:lnTo>
                      <a:pt x="682" y="127"/>
                    </a:lnTo>
                    <a:lnTo>
                      <a:pt x="682" y="127"/>
                    </a:lnTo>
                    <a:lnTo>
                      <a:pt x="687" y="127"/>
                    </a:lnTo>
                    <a:lnTo>
                      <a:pt x="682" y="131"/>
                    </a:lnTo>
                    <a:lnTo>
                      <a:pt x="682" y="131"/>
                    </a:lnTo>
                    <a:lnTo>
                      <a:pt x="687" y="136"/>
                    </a:lnTo>
                    <a:lnTo>
                      <a:pt x="687" y="136"/>
                    </a:lnTo>
                    <a:lnTo>
                      <a:pt x="687" y="140"/>
                    </a:lnTo>
                    <a:lnTo>
                      <a:pt x="687" y="140"/>
                    </a:lnTo>
                    <a:lnTo>
                      <a:pt x="687" y="140"/>
                    </a:lnTo>
                    <a:lnTo>
                      <a:pt x="687" y="145"/>
                    </a:lnTo>
                    <a:lnTo>
                      <a:pt x="687" y="145"/>
                    </a:lnTo>
                    <a:lnTo>
                      <a:pt x="682" y="149"/>
                    </a:lnTo>
                    <a:lnTo>
                      <a:pt x="687" y="149"/>
                    </a:lnTo>
                    <a:lnTo>
                      <a:pt x="687" y="154"/>
                    </a:lnTo>
                    <a:lnTo>
                      <a:pt x="687" y="154"/>
                    </a:lnTo>
                    <a:lnTo>
                      <a:pt x="687" y="158"/>
                    </a:lnTo>
                    <a:lnTo>
                      <a:pt x="687" y="158"/>
                    </a:lnTo>
                    <a:lnTo>
                      <a:pt x="687" y="167"/>
                    </a:lnTo>
                    <a:lnTo>
                      <a:pt x="691" y="172"/>
                    </a:lnTo>
                    <a:lnTo>
                      <a:pt x="691" y="167"/>
                    </a:lnTo>
                    <a:lnTo>
                      <a:pt x="691" y="163"/>
                    </a:lnTo>
                    <a:lnTo>
                      <a:pt x="691" y="163"/>
                    </a:lnTo>
                    <a:lnTo>
                      <a:pt x="691" y="163"/>
                    </a:lnTo>
                    <a:lnTo>
                      <a:pt x="691" y="163"/>
                    </a:lnTo>
                    <a:lnTo>
                      <a:pt x="691" y="167"/>
                    </a:lnTo>
                    <a:lnTo>
                      <a:pt x="691" y="167"/>
                    </a:lnTo>
                    <a:lnTo>
                      <a:pt x="696" y="172"/>
                    </a:lnTo>
                    <a:lnTo>
                      <a:pt x="696" y="172"/>
                    </a:lnTo>
                    <a:lnTo>
                      <a:pt x="696" y="172"/>
                    </a:lnTo>
                    <a:lnTo>
                      <a:pt x="696" y="172"/>
                    </a:lnTo>
                    <a:lnTo>
                      <a:pt x="696" y="176"/>
                    </a:lnTo>
                    <a:lnTo>
                      <a:pt x="696" y="176"/>
                    </a:lnTo>
                    <a:lnTo>
                      <a:pt x="696" y="181"/>
                    </a:lnTo>
                    <a:lnTo>
                      <a:pt x="700" y="181"/>
                    </a:lnTo>
                    <a:lnTo>
                      <a:pt x="700" y="181"/>
                    </a:lnTo>
                    <a:lnTo>
                      <a:pt x="705" y="181"/>
                    </a:lnTo>
                    <a:lnTo>
                      <a:pt x="705" y="181"/>
                    </a:lnTo>
                    <a:lnTo>
                      <a:pt x="709" y="181"/>
                    </a:lnTo>
                    <a:lnTo>
                      <a:pt x="709" y="181"/>
                    </a:lnTo>
                    <a:lnTo>
                      <a:pt x="709" y="176"/>
                    </a:lnTo>
                    <a:lnTo>
                      <a:pt x="714" y="172"/>
                    </a:lnTo>
                    <a:lnTo>
                      <a:pt x="714" y="172"/>
                    </a:lnTo>
                    <a:lnTo>
                      <a:pt x="718" y="167"/>
                    </a:lnTo>
                    <a:lnTo>
                      <a:pt x="718" y="167"/>
                    </a:lnTo>
                    <a:lnTo>
                      <a:pt x="723" y="167"/>
                    </a:lnTo>
                    <a:lnTo>
                      <a:pt x="723" y="163"/>
                    </a:lnTo>
                    <a:lnTo>
                      <a:pt x="723" y="163"/>
                    </a:lnTo>
                    <a:lnTo>
                      <a:pt x="723" y="158"/>
                    </a:lnTo>
                    <a:lnTo>
                      <a:pt x="723" y="158"/>
                    </a:lnTo>
                    <a:lnTo>
                      <a:pt x="727" y="158"/>
                    </a:lnTo>
                    <a:lnTo>
                      <a:pt x="732" y="158"/>
                    </a:lnTo>
                    <a:lnTo>
                      <a:pt x="736" y="154"/>
                    </a:lnTo>
                    <a:lnTo>
                      <a:pt x="736" y="154"/>
                    </a:lnTo>
                    <a:lnTo>
                      <a:pt x="736" y="154"/>
                    </a:lnTo>
                    <a:lnTo>
                      <a:pt x="736" y="149"/>
                    </a:lnTo>
                    <a:lnTo>
                      <a:pt x="736" y="149"/>
                    </a:lnTo>
                    <a:lnTo>
                      <a:pt x="736" y="149"/>
                    </a:lnTo>
                    <a:lnTo>
                      <a:pt x="741" y="145"/>
                    </a:lnTo>
                    <a:lnTo>
                      <a:pt x="745" y="145"/>
                    </a:lnTo>
                    <a:lnTo>
                      <a:pt x="750" y="140"/>
                    </a:lnTo>
                    <a:lnTo>
                      <a:pt x="750" y="140"/>
                    </a:lnTo>
                    <a:lnTo>
                      <a:pt x="754" y="145"/>
                    </a:lnTo>
                    <a:lnTo>
                      <a:pt x="754" y="145"/>
                    </a:lnTo>
                    <a:lnTo>
                      <a:pt x="763" y="149"/>
                    </a:lnTo>
                    <a:lnTo>
                      <a:pt x="763" y="149"/>
                    </a:lnTo>
                    <a:lnTo>
                      <a:pt x="768" y="149"/>
                    </a:lnTo>
                    <a:lnTo>
                      <a:pt x="768" y="154"/>
                    </a:lnTo>
                    <a:lnTo>
                      <a:pt x="772" y="154"/>
                    </a:lnTo>
                    <a:lnTo>
                      <a:pt x="772" y="154"/>
                    </a:lnTo>
                    <a:lnTo>
                      <a:pt x="772" y="154"/>
                    </a:lnTo>
                    <a:lnTo>
                      <a:pt x="777" y="158"/>
                    </a:lnTo>
                    <a:lnTo>
                      <a:pt x="782" y="163"/>
                    </a:lnTo>
                    <a:lnTo>
                      <a:pt x="786" y="163"/>
                    </a:lnTo>
                    <a:lnTo>
                      <a:pt x="791" y="163"/>
                    </a:lnTo>
                    <a:lnTo>
                      <a:pt x="791" y="163"/>
                    </a:lnTo>
                    <a:lnTo>
                      <a:pt x="791" y="163"/>
                    </a:lnTo>
                    <a:lnTo>
                      <a:pt x="791" y="163"/>
                    </a:lnTo>
                    <a:lnTo>
                      <a:pt x="800" y="163"/>
                    </a:lnTo>
                    <a:lnTo>
                      <a:pt x="800" y="163"/>
                    </a:lnTo>
                    <a:lnTo>
                      <a:pt x="800" y="163"/>
                    </a:lnTo>
                    <a:lnTo>
                      <a:pt x="800" y="167"/>
                    </a:lnTo>
                    <a:lnTo>
                      <a:pt x="804" y="167"/>
                    </a:lnTo>
                    <a:lnTo>
                      <a:pt x="804" y="172"/>
                    </a:lnTo>
                    <a:lnTo>
                      <a:pt x="804" y="176"/>
                    </a:lnTo>
                    <a:lnTo>
                      <a:pt x="804" y="181"/>
                    </a:lnTo>
                    <a:lnTo>
                      <a:pt x="804" y="185"/>
                    </a:lnTo>
                    <a:lnTo>
                      <a:pt x="804" y="185"/>
                    </a:lnTo>
                    <a:lnTo>
                      <a:pt x="804" y="190"/>
                    </a:lnTo>
                    <a:lnTo>
                      <a:pt x="804" y="194"/>
                    </a:lnTo>
                    <a:lnTo>
                      <a:pt x="800" y="199"/>
                    </a:lnTo>
                    <a:lnTo>
                      <a:pt x="800" y="203"/>
                    </a:lnTo>
                    <a:lnTo>
                      <a:pt x="800" y="208"/>
                    </a:lnTo>
                    <a:lnTo>
                      <a:pt x="800" y="212"/>
                    </a:lnTo>
                    <a:lnTo>
                      <a:pt x="800" y="217"/>
                    </a:lnTo>
                    <a:lnTo>
                      <a:pt x="800" y="221"/>
                    </a:lnTo>
                    <a:lnTo>
                      <a:pt x="800" y="226"/>
                    </a:lnTo>
                    <a:lnTo>
                      <a:pt x="800" y="231"/>
                    </a:lnTo>
                    <a:lnTo>
                      <a:pt x="800" y="235"/>
                    </a:lnTo>
                    <a:lnTo>
                      <a:pt x="800" y="240"/>
                    </a:lnTo>
                    <a:lnTo>
                      <a:pt x="800" y="244"/>
                    </a:lnTo>
                    <a:lnTo>
                      <a:pt x="800" y="244"/>
                    </a:lnTo>
                    <a:lnTo>
                      <a:pt x="795" y="249"/>
                    </a:lnTo>
                    <a:lnTo>
                      <a:pt x="795" y="253"/>
                    </a:lnTo>
                    <a:lnTo>
                      <a:pt x="795" y="253"/>
                    </a:lnTo>
                    <a:lnTo>
                      <a:pt x="795" y="258"/>
                    </a:lnTo>
                    <a:lnTo>
                      <a:pt x="795" y="258"/>
                    </a:lnTo>
                    <a:lnTo>
                      <a:pt x="795" y="262"/>
                    </a:lnTo>
                    <a:lnTo>
                      <a:pt x="795" y="267"/>
                    </a:lnTo>
                    <a:lnTo>
                      <a:pt x="795" y="271"/>
                    </a:lnTo>
                    <a:lnTo>
                      <a:pt x="795" y="276"/>
                    </a:lnTo>
                    <a:lnTo>
                      <a:pt x="795" y="276"/>
                    </a:lnTo>
                    <a:lnTo>
                      <a:pt x="795" y="280"/>
                    </a:lnTo>
                    <a:lnTo>
                      <a:pt x="795" y="285"/>
                    </a:lnTo>
                    <a:lnTo>
                      <a:pt x="791" y="289"/>
                    </a:lnTo>
                    <a:lnTo>
                      <a:pt x="791" y="294"/>
                    </a:lnTo>
                    <a:lnTo>
                      <a:pt x="791" y="298"/>
                    </a:lnTo>
                    <a:lnTo>
                      <a:pt x="791" y="303"/>
                    </a:lnTo>
                    <a:lnTo>
                      <a:pt x="791" y="303"/>
                    </a:lnTo>
                    <a:lnTo>
                      <a:pt x="791" y="303"/>
                    </a:lnTo>
                    <a:lnTo>
                      <a:pt x="786" y="303"/>
                    </a:lnTo>
                    <a:lnTo>
                      <a:pt x="786" y="298"/>
                    </a:lnTo>
                    <a:lnTo>
                      <a:pt x="786" y="294"/>
                    </a:lnTo>
                    <a:lnTo>
                      <a:pt x="782" y="294"/>
                    </a:lnTo>
                    <a:lnTo>
                      <a:pt x="777" y="285"/>
                    </a:lnTo>
                    <a:lnTo>
                      <a:pt x="777" y="285"/>
                    </a:lnTo>
                    <a:lnTo>
                      <a:pt x="777" y="285"/>
                    </a:lnTo>
                    <a:lnTo>
                      <a:pt x="777" y="285"/>
                    </a:lnTo>
                    <a:lnTo>
                      <a:pt x="777" y="280"/>
                    </a:lnTo>
                    <a:lnTo>
                      <a:pt x="777" y="280"/>
                    </a:lnTo>
                    <a:lnTo>
                      <a:pt x="777" y="280"/>
                    </a:lnTo>
                    <a:lnTo>
                      <a:pt x="777" y="280"/>
                    </a:lnTo>
                    <a:lnTo>
                      <a:pt x="772" y="280"/>
                    </a:lnTo>
                    <a:lnTo>
                      <a:pt x="772" y="280"/>
                    </a:lnTo>
                    <a:lnTo>
                      <a:pt x="768" y="285"/>
                    </a:lnTo>
                    <a:lnTo>
                      <a:pt x="768" y="285"/>
                    </a:lnTo>
                    <a:lnTo>
                      <a:pt x="763" y="285"/>
                    </a:lnTo>
                    <a:lnTo>
                      <a:pt x="763" y="280"/>
                    </a:lnTo>
                    <a:lnTo>
                      <a:pt x="763" y="280"/>
                    </a:lnTo>
                    <a:lnTo>
                      <a:pt x="763" y="280"/>
                    </a:lnTo>
                    <a:lnTo>
                      <a:pt x="763" y="280"/>
                    </a:lnTo>
                    <a:lnTo>
                      <a:pt x="759" y="285"/>
                    </a:lnTo>
                    <a:lnTo>
                      <a:pt x="759" y="285"/>
                    </a:lnTo>
                    <a:lnTo>
                      <a:pt x="759" y="285"/>
                    </a:lnTo>
                    <a:lnTo>
                      <a:pt x="759" y="285"/>
                    </a:lnTo>
                    <a:lnTo>
                      <a:pt x="759" y="285"/>
                    </a:lnTo>
                    <a:lnTo>
                      <a:pt x="759" y="280"/>
                    </a:lnTo>
                    <a:lnTo>
                      <a:pt x="759" y="280"/>
                    </a:lnTo>
                    <a:lnTo>
                      <a:pt x="759" y="276"/>
                    </a:lnTo>
                    <a:lnTo>
                      <a:pt x="759" y="276"/>
                    </a:lnTo>
                    <a:lnTo>
                      <a:pt x="763" y="271"/>
                    </a:lnTo>
                    <a:lnTo>
                      <a:pt x="763" y="271"/>
                    </a:lnTo>
                    <a:lnTo>
                      <a:pt x="763" y="271"/>
                    </a:lnTo>
                    <a:lnTo>
                      <a:pt x="763" y="271"/>
                    </a:lnTo>
                    <a:lnTo>
                      <a:pt x="759" y="271"/>
                    </a:lnTo>
                    <a:lnTo>
                      <a:pt x="759" y="267"/>
                    </a:lnTo>
                    <a:lnTo>
                      <a:pt x="759" y="267"/>
                    </a:lnTo>
                    <a:lnTo>
                      <a:pt x="759" y="267"/>
                    </a:lnTo>
                    <a:lnTo>
                      <a:pt x="759" y="267"/>
                    </a:lnTo>
                    <a:lnTo>
                      <a:pt x="759" y="262"/>
                    </a:lnTo>
                    <a:lnTo>
                      <a:pt x="759" y="262"/>
                    </a:lnTo>
                    <a:lnTo>
                      <a:pt x="759" y="262"/>
                    </a:lnTo>
                    <a:lnTo>
                      <a:pt x="759" y="262"/>
                    </a:lnTo>
                    <a:lnTo>
                      <a:pt x="763" y="262"/>
                    </a:lnTo>
                    <a:lnTo>
                      <a:pt x="763" y="262"/>
                    </a:lnTo>
                    <a:lnTo>
                      <a:pt x="763" y="262"/>
                    </a:lnTo>
                    <a:lnTo>
                      <a:pt x="763" y="262"/>
                    </a:lnTo>
                    <a:lnTo>
                      <a:pt x="763" y="262"/>
                    </a:lnTo>
                    <a:lnTo>
                      <a:pt x="759" y="262"/>
                    </a:lnTo>
                    <a:lnTo>
                      <a:pt x="759" y="262"/>
                    </a:lnTo>
                    <a:lnTo>
                      <a:pt x="754" y="258"/>
                    </a:lnTo>
                    <a:lnTo>
                      <a:pt x="754" y="258"/>
                    </a:lnTo>
                    <a:lnTo>
                      <a:pt x="759" y="258"/>
                    </a:lnTo>
                    <a:lnTo>
                      <a:pt x="759" y="258"/>
                    </a:lnTo>
                    <a:lnTo>
                      <a:pt x="759" y="253"/>
                    </a:lnTo>
                    <a:lnTo>
                      <a:pt x="759" y="253"/>
                    </a:lnTo>
                    <a:lnTo>
                      <a:pt x="759" y="249"/>
                    </a:lnTo>
                    <a:lnTo>
                      <a:pt x="759" y="249"/>
                    </a:lnTo>
                    <a:lnTo>
                      <a:pt x="754" y="249"/>
                    </a:lnTo>
                    <a:lnTo>
                      <a:pt x="754" y="244"/>
                    </a:lnTo>
                    <a:lnTo>
                      <a:pt x="754" y="240"/>
                    </a:lnTo>
                    <a:lnTo>
                      <a:pt x="754" y="235"/>
                    </a:lnTo>
                    <a:lnTo>
                      <a:pt x="754" y="235"/>
                    </a:lnTo>
                    <a:lnTo>
                      <a:pt x="754" y="235"/>
                    </a:lnTo>
                    <a:lnTo>
                      <a:pt x="750" y="235"/>
                    </a:lnTo>
                    <a:lnTo>
                      <a:pt x="750" y="235"/>
                    </a:lnTo>
                    <a:lnTo>
                      <a:pt x="750" y="231"/>
                    </a:lnTo>
                    <a:lnTo>
                      <a:pt x="754" y="231"/>
                    </a:lnTo>
                    <a:lnTo>
                      <a:pt x="750" y="231"/>
                    </a:lnTo>
                    <a:lnTo>
                      <a:pt x="750" y="231"/>
                    </a:lnTo>
                    <a:lnTo>
                      <a:pt x="750" y="231"/>
                    </a:lnTo>
                    <a:lnTo>
                      <a:pt x="750" y="231"/>
                    </a:lnTo>
                    <a:lnTo>
                      <a:pt x="750" y="231"/>
                    </a:lnTo>
                    <a:lnTo>
                      <a:pt x="750" y="231"/>
                    </a:lnTo>
                    <a:lnTo>
                      <a:pt x="750" y="226"/>
                    </a:lnTo>
                    <a:lnTo>
                      <a:pt x="750" y="226"/>
                    </a:lnTo>
                    <a:lnTo>
                      <a:pt x="750" y="226"/>
                    </a:lnTo>
                    <a:lnTo>
                      <a:pt x="745" y="226"/>
                    </a:lnTo>
                    <a:lnTo>
                      <a:pt x="745" y="221"/>
                    </a:lnTo>
                    <a:lnTo>
                      <a:pt x="745" y="221"/>
                    </a:lnTo>
                    <a:lnTo>
                      <a:pt x="745" y="221"/>
                    </a:lnTo>
                    <a:lnTo>
                      <a:pt x="745" y="221"/>
                    </a:lnTo>
                    <a:lnTo>
                      <a:pt x="736" y="217"/>
                    </a:lnTo>
                    <a:lnTo>
                      <a:pt x="736" y="217"/>
                    </a:lnTo>
                    <a:lnTo>
                      <a:pt x="736" y="217"/>
                    </a:lnTo>
                    <a:lnTo>
                      <a:pt x="736" y="217"/>
                    </a:lnTo>
                    <a:lnTo>
                      <a:pt x="732" y="217"/>
                    </a:lnTo>
                    <a:lnTo>
                      <a:pt x="732" y="212"/>
                    </a:lnTo>
                    <a:lnTo>
                      <a:pt x="732" y="212"/>
                    </a:lnTo>
                    <a:lnTo>
                      <a:pt x="732" y="212"/>
                    </a:lnTo>
                    <a:lnTo>
                      <a:pt x="732" y="212"/>
                    </a:lnTo>
                    <a:lnTo>
                      <a:pt x="727" y="212"/>
                    </a:lnTo>
                    <a:lnTo>
                      <a:pt x="723" y="212"/>
                    </a:lnTo>
                    <a:lnTo>
                      <a:pt x="723" y="208"/>
                    </a:lnTo>
                    <a:lnTo>
                      <a:pt x="718" y="208"/>
                    </a:lnTo>
                    <a:lnTo>
                      <a:pt x="718" y="208"/>
                    </a:lnTo>
                    <a:lnTo>
                      <a:pt x="714" y="208"/>
                    </a:lnTo>
                    <a:lnTo>
                      <a:pt x="709" y="203"/>
                    </a:lnTo>
                    <a:lnTo>
                      <a:pt x="705" y="203"/>
                    </a:lnTo>
                    <a:lnTo>
                      <a:pt x="705" y="203"/>
                    </a:lnTo>
                    <a:lnTo>
                      <a:pt x="700" y="203"/>
                    </a:lnTo>
                    <a:lnTo>
                      <a:pt x="700" y="203"/>
                    </a:lnTo>
                    <a:lnTo>
                      <a:pt x="691" y="199"/>
                    </a:lnTo>
                    <a:lnTo>
                      <a:pt x="691" y="194"/>
                    </a:lnTo>
                    <a:lnTo>
                      <a:pt x="691" y="194"/>
                    </a:lnTo>
                    <a:lnTo>
                      <a:pt x="691" y="194"/>
                    </a:lnTo>
                    <a:lnTo>
                      <a:pt x="696" y="194"/>
                    </a:lnTo>
                    <a:lnTo>
                      <a:pt x="696" y="194"/>
                    </a:lnTo>
                    <a:lnTo>
                      <a:pt x="691" y="194"/>
                    </a:lnTo>
                    <a:lnTo>
                      <a:pt x="691" y="194"/>
                    </a:lnTo>
                    <a:lnTo>
                      <a:pt x="691" y="194"/>
                    </a:lnTo>
                    <a:lnTo>
                      <a:pt x="687" y="194"/>
                    </a:lnTo>
                    <a:lnTo>
                      <a:pt x="687" y="194"/>
                    </a:lnTo>
                    <a:lnTo>
                      <a:pt x="687" y="194"/>
                    </a:lnTo>
                    <a:lnTo>
                      <a:pt x="682" y="194"/>
                    </a:lnTo>
                    <a:lnTo>
                      <a:pt x="682" y="190"/>
                    </a:lnTo>
                    <a:lnTo>
                      <a:pt x="682" y="190"/>
                    </a:lnTo>
                    <a:lnTo>
                      <a:pt x="682" y="190"/>
                    </a:lnTo>
                    <a:lnTo>
                      <a:pt x="682" y="190"/>
                    </a:lnTo>
                    <a:lnTo>
                      <a:pt x="682" y="190"/>
                    </a:lnTo>
                    <a:lnTo>
                      <a:pt x="678" y="190"/>
                    </a:lnTo>
                    <a:lnTo>
                      <a:pt x="678" y="190"/>
                    </a:lnTo>
                    <a:lnTo>
                      <a:pt x="678" y="190"/>
                    </a:lnTo>
                    <a:lnTo>
                      <a:pt x="678" y="185"/>
                    </a:lnTo>
                    <a:lnTo>
                      <a:pt x="678" y="185"/>
                    </a:lnTo>
                    <a:lnTo>
                      <a:pt x="678" y="185"/>
                    </a:lnTo>
                    <a:lnTo>
                      <a:pt x="678" y="181"/>
                    </a:lnTo>
                    <a:lnTo>
                      <a:pt x="678" y="181"/>
                    </a:lnTo>
                    <a:lnTo>
                      <a:pt x="678" y="176"/>
                    </a:lnTo>
                    <a:lnTo>
                      <a:pt x="678" y="176"/>
                    </a:lnTo>
                    <a:lnTo>
                      <a:pt x="678" y="176"/>
                    </a:lnTo>
                    <a:lnTo>
                      <a:pt x="678" y="176"/>
                    </a:lnTo>
                    <a:lnTo>
                      <a:pt x="678" y="176"/>
                    </a:lnTo>
                    <a:lnTo>
                      <a:pt x="678" y="176"/>
                    </a:lnTo>
                    <a:lnTo>
                      <a:pt x="673" y="181"/>
                    </a:lnTo>
                    <a:lnTo>
                      <a:pt x="673" y="181"/>
                    </a:lnTo>
                    <a:lnTo>
                      <a:pt x="673" y="181"/>
                    </a:lnTo>
                    <a:lnTo>
                      <a:pt x="673" y="185"/>
                    </a:lnTo>
                    <a:lnTo>
                      <a:pt x="673" y="185"/>
                    </a:lnTo>
                    <a:lnTo>
                      <a:pt x="669" y="190"/>
                    </a:lnTo>
                    <a:lnTo>
                      <a:pt x="669" y="190"/>
                    </a:lnTo>
                    <a:lnTo>
                      <a:pt x="669" y="190"/>
                    </a:lnTo>
                    <a:lnTo>
                      <a:pt x="669" y="194"/>
                    </a:lnTo>
                    <a:lnTo>
                      <a:pt x="669" y="194"/>
                    </a:lnTo>
                    <a:lnTo>
                      <a:pt x="669" y="194"/>
                    </a:lnTo>
                    <a:lnTo>
                      <a:pt x="664" y="194"/>
                    </a:lnTo>
                    <a:lnTo>
                      <a:pt x="664" y="194"/>
                    </a:lnTo>
                    <a:lnTo>
                      <a:pt x="660" y="194"/>
                    </a:lnTo>
                    <a:lnTo>
                      <a:pt x="660" y="194"/>
                    </a:lnTo>
                    <a:lnTo>
                      <a:pt x="660" y="194"/>
                    </a:lnTo>
                    <a:lnTo>
                      <a:pt x="660" y="190"/>
                    </a:lnTo>
                    <a:lnTo>
                      <a:pt x="660" y="190"/>
                    </a:lnTo>
                    <a:lnTo>
                      <a:pt x="660" y="185"/>
                    </a:lnTo>
                    <a:lnTo>
                      <a:pt x="660" y="181"/>
                    </a:lnTo>
                    <a:lnTo>
                      <a:pt x="660" y="181"/>
                    </a:lnTo>
                    <a:lnTo>
                      <a:pt x="655" y="176"/>
                    </a:lnTo>
                    <a:lnTo>
                      <a:pt x="650" y="172"/>
                    </a:lnTo>
                    <a:lnTo>
                      <a:pt x="650" y="172"/>
                    </a:lnTo>
                    <a:lnTo>
                      <a:pt x="650" y="172"/>
                    </a:lnTo>
                    <a:lnTo>
                      <a:pt x="646" y="172"/>
                    </a:lnTo>
                    <a:lnTo>
                      <a:pt x="646" y="172"/>
                    </a:lnTo>
                    <a:lnTo>
                      <a:pt x="646" y="167"/>
                    </a:lnTo>
                    <a:lnTo>
                      <a:pt x="646" y="167"/>
                    </a:lnTo>
                    <a:lnTo>
                      <a:pt x="650" y="167"/>
                    </a:lnTo>
                    <a:lnTo>
                      <a:pt x="650" y="167"/>
                    </a:lnTo>
                    <a:lnTo>
                      <a:pt x="655" y="167"/>
                    </a:lnTo>
                    <a:lnTo>
                      <a:pt x="660" y="167"/>
                    </a:lnTo>
                    <a:lnTo>
                      <a:pt x="660" y="167"/>
                    </a:lnTo>
                    <a:lnTo>
                      <a:pt x="664" y="167"/>
                    </a:lnTo>
                    <a:lnTo>
                      <a:pt x="664" y="163"/>
                    </a:lnTo>
                    <a:lnTo>
                      <a:pt x="669" y="163"/>
                    </a:lnTo>
                    <a:lnTo>
                      <a:pt x="669" y="163"/>
                    </a:lnTo>
                    <a:lnTo>
                      <a:pt x="669" y="163"/>
                    </a:lnTo>
                    <a:lnTo>
                      <a:pt x="673" y="163"/>
                    </a:lnTo>
                    <a:lnTo>
                      <a:pt x="673" y="163"/>
                    </a:lnTo>
                    <a:lnTo>
                      <a:pt x="673" y="163"/>
                    </a:lnTo>
                    <a:lnTo>
                      <a:pt x="678" y="167"/>
                    </a:lnTo>
                    <a:lnTo>
                      <a:pt x="678" y="167"/>
                    </a:lnTo>
                    <a:lnTo>
                      <a:pt x="678" y="163"/>
                    </a:lnTo>
                    <a:lnTo>
                      <a:pt x="678" y="163"/>
                    </a:lnTo>
                    <a:lnTo>
                      <a:pt x="678" y="163"/>
                    </a:lnTo>
                    <a:lnTo>
                      <a:pt x="682" y="163"/>
                    </a:lnTo>
                    <a:lnTo>
                      <a:pt x="682" y="163"/>
                    </a:lnTo>
                    <a:lnTo>
                      <a:pt x="682" y="158"/>
                    </a:lnTo>
                    <a:lnTo>
                      <a:pt x="678" y="158"/>
                    </a:lnTo>
                    <a:lnTo>
                      <a:pt x="678" y="158"/>
                    </a:lnTo>
                    <a:lnTo>
                      <a:pt x="682" y="158"/>
                    </a:lnTo>
                    <a:lnTo>
                      <a:pt x="682" y="154"/>
                    </a:lnTo>
                    <a:lnTo>
                      <a:pt x="682" y="154"/>
                    </a:lnTo>
                    <a:lnTo>
                      <a:pt x="678" y="158"/>
                    </a:lnTo>
                    <a:lnTo>
                      <a:pt x="673" y="158"/>
                    </a:lnTo>
                    <a:lnTo>
                      <a:pt x="673" y="158"/>
                    </a:lnTo>
                    <a:lnTo>
                      <a:pt x="669" y="158"/>
                    </a:lnTo>
                    <a:lnTo>
                      <a:pt x="664" y="158"/>
                    </a:lnTo>
                    <a:lnTo>
                      <a:pt x="664" y="158"/>
                    </a:lnTo>
                    <a:lnTo>
                      <a:pt x="660" y="158"/>
                    </a:lnTo>
                    <a:lnTo>
                      <a:pt x="655" y="158"/>
                    </a:lnTo>
                    <a:lnTo>
                      <a:pt x="655" y="158"/>
                    </a:lnTo>
                    <a:lnTo>
                      <a:pt x="650" y="158"/>
                    </a:lnTo>
                    <a:lnTo>
                      <a:pt x="650" y="158"/>
                    </a:lnTo>
                    <a:lnTo>
                      <a:pt x="650" y="154"/>
                    </a:lnTo>
                    <a:lnTo>
                      <a:pt x="650" y="154"/>
                    </a:lnTo>
                    <a:lnTo>
                      <a:pt x="646" y="154"/>
                    </a:lnTo>
                    <a:lnTo>
                      <a:pt x="646" y="149"/>
                    </a:lnTo>
                    <a:lnTo>
                      <a:pt x="646" y="145"/>
                    </a:lnTo>
                    <a:lnTo>
                      <a:pt x="646" y="145"/>
                    </a:lnTo>
                    <a:lnTo>
                      <a:pt x="646" y="145"/>
                    </a:lnTo>
                    <a:lnTo>
                      <a:pt x="641" y="145"/>
                    </a:lnTo>
                    <a:lnTo>
                      <a:pt x="637" y="140"/>
                    </a:lnTo>
                    <a:lnTo>
                      <a:pt x="632" y="140"/>
                    </a:lnTo>
                    <a:lnTo>
                      <a:pt x="632" y="140"/>
                    </a:lnTo>
                    <a:lnTo>
                      <a:pt x="632" y="140"/>
                    </a:lnTo>
                    <a:lnTo>
                      <a:pt x="632" y="140"/>
                    </a:lnTo>
                    <a:lnTo>
                      <a:pt x="628" y="140"/>
                    </a:lnTo>
                    <a:lnTo>
                      <a:pt x="632" y="140"/>
                    </a:lnTo>
                    <a:lnTo>
                      <a:pt x="632" y="136"/>
                    </a:lnTo>
                    <a:lnTo>
                      <a:pt x="632" y="136"/>
                    </a:lnTo>
                    <a:lnTo>
                      <a:pt x="632" y="136"/>
                    </a:lnTo>
                    <a:lnTo>
                      <a:pt x="632" y="136"/>
                    </a:lnTo>
                    <a:lnTo>
                      <a:pt x="637" y="131"/>
                    </a:lnTo>
                    <a:lnTo>
                      <a:pt x="637" y="131"/>
                    </a:lnTo>
                    <a:lnTo>
                      <a:pt x="637" y="131"/>
                    </a:lnTo>
                    <a:lnTo>
                      <a:pt x="637" y="127"/>
                    </a:lnTo>
                    <a:lnTo>
                      <a:pt x="637" y="127"/>
                    </a:lnTo>
                    <a:lnTo>
                      <a:pt x="637" y="127"/>
                    </a:lnTo>
                    <a:lnTo>
                      <a:pt x="646" y="127"/>
                    </a:lnTo>
                    <a:lnTo>
                      <a:pt x="646" y="127"/>
                    </a:lnTo>
                    <a:lnTo>
                      <a:pt x="646" y="122"/>
                    </a:lnTo>
                    <a:lnTo>
                      <a:pt x="650" y="122"/>
                    </a:lnTo>
                    <a:lnTo>
                      <a:pt x="650" y="122"/>
                    </a:lnTo>
                    <a:lnTo>
                      <a:pt x="650" y="122"/>
                    </a:lnTo>
                    <a:lnTo>
                      <a:pt x="655" y="117"/>
                    </a:lnTo>
                    <a:lnTo>
                      <a:pt x="655" y="117"/>
                    </a:lnTo>
                    <a:lnTo>
                      <a:pt x="660" y="117"/>
                    </a:lnTo>
                    <a:lnTo>
                      <a:pt x="664" y="117"/>
                    </a:lnTo>
                    <a:lnTo>
                      <a:pt x="669" y="122"/>
                    </a:lnTo>
                    <a:lnTo>
                      <a:pt x="669" y="122"/>
                    </a:lnTo>
                    <a:lnTo>
                      <a:pt x="673" y="127"/>
                    </a:lnTo>
                    <a:moveTo>
                      <a:pt x="569" y="117"/>
                    </a:moveTo>
                    <a:lnTo>
                      <a:pt x="569" y="117"/>
                    </a:lnTo>
                    <a:lnTo>
                      <a:pt x="574" y="122"/>
                    </a:lnTo>
                    <a:lnTo>
                      <a:pt x="569" y="122"/>
                    </a:lnTo>
                    <a:lnTo>
                      <a:pt x="574" y="127"/>
                    </a:lnTo>
                    <a:lnTo>
                      <a:pt x="574" y="127"/>
                    </a:lnTo>
                    <a:lnTo>
                      <a:pt x="574" y="127"/>
                    </a:lnTo>
                    <a:lnTo>
                      <a:pt x="574" y="127"/>
                    </a:lnTo>
                    <a:lnTo>
                      <a:pt x="574" y="127"/>
                    </a:lnTo>
                    <a:lnTo>
                      <a:pt x="574" y="127"/>
                    </a:lnTo>
                    <a:lnTo>
                      <a:pt x="574" y="131"/>
                    </a:lnTo>
                    <a:lnTo>
                      <a:pt x="574" y="127"/>
                    </a:lnTo>
                    <a:lnTo>
                      <a:pt x="574" y="127"/>
                    </a:lnTo>
                    <a:lnTo>
                      <a:pt x="574" y="127"/>
                    </a:lnTo>
                    <a:lnTo>
                      <a:pt x="569" y="127"/>
                    </a:lnTo>
                    <a:lnTo>
                      <a:pt x="569" y="127"/>
                    </a:lnTo>
                    <a:lnTo>
                      <a:pt x="569" y="127"/>
                    </a:lnTo>
                    <a:lnTo>
                      <a:pt x="569" y="122"/>
                    </a:lnTo>
                    <a:lnTo>
                      <a:pt x="569" y="122"/>
                    </a:lnTo>
                    <a:lnTo>
                      <a:pt x="565" y="122"/>
                    </a:lnTo>
                    <a:lnTo>
                      <a:pt x="565" y="122"/>
                    </a:lnTo>
                    <a:lnTo>
                      <a:pt x="565" y="117"/>
                    </a:lnTo>
                    <a:lnTo>
                      <a:pt x="565" y="117"/>
                    </a:lnTo>
                    <a:lnTo>
                      <a:pt x="569" y="117"/>
                    </a:lnTo>
                    <a:lnTo>
                      <a:pt x="569" y="117"/>
                    </a:lnTo>
                    <a:lnTo>
                      <a:pt x="569" y="117"/>
                    </a:lnTo>
                    <a:lnTo>
                      <a:pt x="569" y="117"/>
                    </a:lnTo>
                    <a:lnTo>
                      <a:pt x="569" y="117"/>
                    </a:lnTo>
                    <a:moveTo>
                      <a:pt x="628" y="113"/>
                    </a:moveTo>
                    <a:lnTo>
                      <a:pt x="628" y="113"/>
                    </a:lnTo>
                    <a:lnTo>
                      <a:pt x="632" y="113"/>
                    </a:lnTo>
                    <a:lnTo>
                      <a:pt x="632" y="113"/>
                    </a:lnTo>
                    <a:lnTo>
                      <a:pt x="637" y="113"/>
                    </a:lnTo>
                    <a:lnTo>
                      <a:pt x="637" y="113"/>
                    </a:lnTo>
                    <a:lnTo>
                      <a:pt x="637" y="117"/>
                    </a:lnTo>
                    <a:lnTo>
                      <a:pt x="637" y="117"/>
                    </a:lnTo>
                    <a:lnTo>
                      <a:pt x="637" y="117"/>
                    </a:lnTo>
                    <a:lnTo>
                      <a:pt x="632" y="117"/>
                    </a:lnTo>
                    <a:lnTo>
                      <a:pt x="632" y="117"/>
                    </a:lnTo>
                    <a:lnTo>
                      <a:pt x="632" y="117"/>
                    </a:lnTo>
                    <a:lnTo>
                      <a:pt x="632" y="117"/>
                    </a:lnTo>
                    <a:lnTo>
                      <a:pt x="628" y="117"/>
                    </a:lnTo>
                    <a:lnTo>
                      <a:pt x="628" y="117"/>
                    </a:lnTo>
                    <a:lnTo>
                      <a:pt x="628" y="117"/>
                    </a:lnTo>
                    <a:lnTo>
                      <a:pt x="623" y="113"/>
                    </a:lnTo>
                    <a:lnTo>
                      <a:pt x="623" y="113"/>
                    </a:lnTo>
                    <a:lnTo>
                      <a:pt x="623" y="113"/>
                    </a:lnTo>
                    <a:lnTo>
                      <a:pt x="623" y="113"/>
                    </a:lnTo>
                    <a:lnTo>
                      <a:pt x="628" y="117"/>
                    </a:lnTo>
                    <a:lnTo>
                      <a:pt x="628" y="117"/>
                    </a:lnTo>
                    <a:lnTo>
                      <a:pt x="628" y="117"/>
                    </a:lnTo>
                    <a:lnTo>
                      <a:pt x="628" y="117"/>
                    </a:lnTo>
                    <a:lnTo>
                      <a:pt x="628" y="117"/>
                    </a:lnTo>
                    <a:lnTo>
                      <a:pt x="628" y="122"/>
                    </a:lnTo>
                    <a:lnTo>
                      <a:pt x="623" y="117"/>
                    </a:lnTo>
                    <a:lnTo>
                      <a:pt x="623" y="117"/>
                    </a:lnTo>
                    <a:lnTo>
                      <a:pt x="623" y="117"/>
                    </a:lnTo>
                    <a:lnTo>
                      <a:pt x="623" y="117"/>
                    </a:lnTo>
                    <a:lnTo>
                      <a:pt x="623" y="117"/>
                    </a:lnTo>
                    <a:lnTo>
                      <a:pt x="623" y="117"/>
                    </a:lnTo>
                    <a:lnTo>
                      <a:pt x="619" y="117"/>
                    </a:lnTo>
                    <a:lnTo>
                      <a:pt x="619" y="117"/>
                    </a:lnTo>
                    <a:lnTo>
                      <a:pt x="619" y="113"/>
                    </a:lnTo>
                    <a:lnTo>
                      <a:pt x="619" y="113"/>
                    </a:lnTo>
                    <a:lnTo>
                      <a:pt x="619" y="113"/>
                    </a:lnTo>
                    <a:lnTo>
                      <a:pt x="619" y="113"/>
                    </a:lnTo>
                    <a:lnTo>
                      <a:pt x="623" y="113"/>
                    </a:lnTo>
                    <a:lnTo>
                      <a:pt x="623" y="113"/>
                    </a:lnTo>
                    <a:lnTo>
                      <a:pt x="623" y="113"/>
                    </a:lnTo>
                    <a:lnTo>
                      <a:pt x="628" y="113"/>
                    </a:lnTo>
                    <a:lnTo>
                      <a:pt x="628" y="113"/>
                    </a:lnTo>
                    <a:moveTo>
                      <a:pt x="45" y="81"/>
                    </a:moveTo>
                    <a:lnTo>
                      <a:pt x="45" y="81"/>
                    </a:lnTo>
                    <a:lnTo>
                      <a:pt x="50" y="86"/>
                    </a:lnTo>
                    <a:lnTo>
                      <a:pt x="50" y="90"/>
                    </a:lnTo>
                    <a:lnTo>
                      <a:pt x="54" y="90"/>
                    </a:lnTo>
                    <a:lnTo>
                      <a:pt x="54" y="90"/>
                    </a:lnTo>
                    <a:lnTo>
                      <a:pt x="54" y="95"/>
                    </a:lnTo>
                    <a:lnTo>
                      <a:pt x="50" y="99"/>
                    </a:lnTo>
                    <a:lnTo>
                      <a:pt x="50" y="99"/>
                    </a:lnTo>
                    <a:lnTo>
                      <a:pt x="50" y="99"/>
                    </a:lnTo>
                    <a:lnTo>
                      <a:pt x="50" y="99"/>
                    </a:lnTo>
                    <a:lnTo>
                      <a:pt x="45" y="95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41" y="90"/>
                    </a:lnTo>
                    <a:lnTo>
                      <a:pt x="41" y="86"/>
                    </a:lnTo>
                    <a:lnTo>
                      <a:pt x="36" y="81"/>
                    </a:lnTo>
                    <a:lnTo>
                      <a:pt x="41" y="81"/>
                    </a:lnTo>
                    <a:lnTo>
                      <a:pt x="41" y="81"/>
                    </a:lnTo>
                    <a:lnTo>
                      <a:pt x="41" y="81"/>
                    </a:lnTo>
                    <a:lnTo>
                      <a:pt x="41" y="81"/>
                    </a:lnTo>
                    <a:lnTo>
                      <a:pt x="45" y="81"/>
                    </a:lnTo>
                    <a:moveTo>
                      <a:pt x="524" y="90"/>
                    </a:moveTo>
                    <a:lnTo>
                      <a:pt x="524" y="90"/>
                    </a:lnTo>
                    <a:lnTo>
                      <a:pt x="519" y="95"/>
                    </a:lnTo>
                    <a:lnTo>
                      <a:pt x="519" y="95"/>
                    </a:lnTo>
                    <a:lnTo>
                      <a:pt x="519" y="99"/>
                    </a:lnTo>
                    <a:lnTo>
                      <a:pt x="515" y="99"/>
                    </a:lnTo>
                    <a:lnTo>
                      <a:pt x="515" y="99"/>
                    </a:lnTo>
                    <a:lnTo>
                      <a:pt x="515" y="104"/>
                    </a:lnTo>
                    <a:lnTo>
                      <a:pt x="515" y="104"/>
                    </a:lnTo>
                    <a:lnTo>
                      <a:pt x="510" y="104"/>
                    </a:lnTo>
                    <a:lnTo>
                      <a:pt x="510" y="104"/>
                    </a:lnTo>
                    <a:lnTo>
                      <a:pt x="506" y="104"/>
                    </a:lnTo>
                    <a:lnTo>
                      <a:pt x="501" y="104"/>
                    </a:lnTo>
                    <a:lnTo>
                      <a:pt x="501" y="104"/>
                    </a:lnTo>
                    <a:lnTo>
                      <a:pt x="497" y="104"/>
                    </a:lnTo>
                    <a:lnTo>
                      <a:pt x="497" y="104"/>
                    </a:lnTo>
                    <a:lnTo>
                      <a:pt x="492" y="104"/>
                    </a:lnTo>
                    <a:lnTo>
                      <a:pt x="492" y="99"/>
                    </a:lnTo>
                    <a:lnTo>
                      <a:pt x="492" y="99"/>
                    </a:lnTo>
                    <a:lnTo>
                      <a:pt x="488" y="99"/>
                    </a:lnTo>
                    <a:lnTo>
                      <a:pt x="479" y="99"/>
                    </a:lnTo>
                    <a:lnTo>
                      <a:pt x="474" y="99"/>
                    </a:lnTo>
                    <a:lnTo>
                      <a:pt x="470" y="104"/>
                    </a:lnTo>
                    <a:lnTo>
                      <a:pt x="470" y="104"/>
                    </a:lnTo>
                    <a:lnTo>
                      <a:pt x="465" y="99"/>
                    </a:lnTo>
                    <a:lnTo>
                      <a:pt x="465" y="99"/>
                    </a:lnTo>
                    <a:lnTo>
                      <a:pt x="465" y="99"/>
                    </a:lnTo>
                    <a:lnTo>
                      <a:pt x="456" y="104"/>
                    </a:lnTo>
                    <a:lnTo>
                      <a:pt x="456" y="104"/>
                    </a:lnTo>
                    <a:lnTo>
                      <a:pt x="452" y="99"/>
                    </a:lnTo>
                    <a:lnTo>
                      <a:pt x="447" y="99"/>
                    </a:lnTo>
                    <a:lnTo>
                      <a:pt x="447" y="99"/>
                    </a:lnTo>
                    <a:lnTo>
                      <a:pt x="443" y="104"/>
                    </a:lnTo>
                    <a:lnTo>
                      <a:pt x="443" y="104"/>
                    </a:lnTo>
                    <a:lnTo>
                      <a:pt x="443" y="104"/>
                    </a:lnTo>
                    <a:lnTo>
                      <a:pt x="443" y="108"/>
                    </a:lnTo>
                    <a:lnTo>
                      <a:pt x="438" y="108"/>
                    </a:lnTo>
                    <a:lnTo>
                      <a:pt x="438" y="113"/>
                    </a:lnTo>
                    <a:lnTo>
                      <a:pt x="438" y="113"/>
                    </a:lnTo>
                    <a:lnTo>
                      <a:pt x="438" y="117"/>
                    </a:lnTo>
                    <a:lnTo>
                      <a:pt x="438" y="117"/>
                    </a:lnTo>
                    <a:lnTo>
                      <a:pt x="438" y="122"/>
                    </a:lnTo>
                    <a:lnTo>
                      <a:pt x="438" y="122"/>
                    </a:lnTo>
                    <a:lnTo>
                      <a:pt x="443" y="127"/>
                    </a:lnTo>
                    <a:lnTo>
                      <a:pt x="443" y="131"/>
                    </a:lnTo>
                    <a:lnTo>
                      <a:pt x="447" y="131"/>
                    </a:lnTo>
                    <a:lnTo>
                      <a:pt x="447" y="131"/>
                    </a:lnTo>
                    <a:lnTo>
                      <a:pt x="447" y="136"/>
                    </a:lnTo>
                    <a:lnTo>
                      <a:pt x="452" y="140"/>
                    </a:lnTo>
                    <a:lnTo>
                      <a:pt x="452" y="140"/>
                    </a:lnTo>
                    <a:lnTo>
                      <a:pt x="452" y="140"/>
                    </a:lnTo>
                    <a:lnTo>
                      <a:pt x="456" y="140"/>
                    </a:lnTo>
                    <a:lnTo>
                      <a:pt x="456" y="140"/>
                    </a:lnTo>
                    <a:lnTo>
                      <a:pt x="456" y="140"/>
                    </a:lnTo>
                    <a:lnTo>
                      <a:pt x="461" y="136"/>
                    </a:lnTo>
                    <a:lnTo>
                      <a:pt x="461" y="136"/>
                    </a:lnTo>
                    <a:lnTo>
                      <a:pt x="465" y="131"/>
                    </a:lnTo>
                    <a:lnTo>
                      <a:pt x="465" y="127"/>
                    </a:lnTo>
                    <a:lnTo>
                      <a:pt x="465" y="127"/>
                    </a:lnTo>
                    <a:lnTo>
                      <a:pt x="465" y="127"/>
                    </a:lnTo>
                    <a:lnTo>
                      <a:pt x="470" y="131"/>
                    </a:lnTo>
                    <a:lnTo>
                      <a:pt x="470" y="131"/>
                    </a:lnTo>
                    <a:lnTo>
                      <a:pt x="470" y="131"/>
                    </a:lnTo>
                    <a:lnTo>
                      <a:pt x="474" y="131"/>
                    </a:lnTo>
                    <a:lnTo>
                      <a:pt x="474" y="131"/>
                    </a:lnTo>
                    <a:lnTo>
                      <a:pt x="474" y="127"/>
                    </a:lnTo>
                    <a:lnTo>
                      <a:pt x="474" y="127"/>
                    </a:lnTo>
                    <a:lnTo>
                      <a:pt x="479" y="127"/>
                    </a:lnTo>
                    <a:lnTo>
                      <a:pt x="483" y="127"/>
                    </a:lnTo>
                    <a:lnTo>
                      <a:pt x="483" y="127"/>
                    </a:lnTo>
                    <a:lnTo>
                      <a:pt x="488" y="127"/>
                    </a:lnTo>
                    <a:lnTo>
                      <a:pt x="488" y="127"/>
                    </a:lnTo>
                    <a:lnTo>
                      <a:pt x="488" y="127"/>
                    </a:lnTo>
                    <a:lnTo>
                      <a:pt x="488" y="127"/>
                    </a:lnTo>
                    <a:lnTo>
                      <a:pt x="488" y="122"/>
                    </a:lnTo>
                    <a:lnTo>
                      <a:pt x="492" y="122"/>
                    </a:lnTo>
                    <a:lnTo>
                      <a:pt x="492" y="122"/>
                    </a:lnTo>
                    <a:lnTo>
                      <a:pt x="497" y="122"/>
                    </a:lnTo>
                    <a:lnTo>
                      <a:pt x="497" y="122"/>
                    </a:lnTo>
                    <a:lnTo>
                      <a:pt x="497" y="127"/>
                    </a:lnTo>
                    <a:lnTo>
                      <a:pt x="497" y="127"/>
                    </a:lnTo>
                    <a:lnTo>
                      <a:pt x="497" y="131"/>
                    </a:lnTo>
                    <a:lnTo>
                      <a:pt x="497" y="131"/>
                    </a:lnTo>
                    <a:lnTo>
                      <a:pt x="497" y="131"/>
                    </a:lnTo>
                    <a:lnTo>
                      <a:pt x="492" y="131"/>
                    </a:lnTo>
                    <a:lnTo>
                      <a:pt x="492" y="131"/>
                    </a:lnTo>
                    <a:lnTo>
                      <a:pt x="492" y="127"/>
                    </a:lnTo>
                    <a:lnTo>
                      <a:pt x="488" y="131"/>
                    </a:lnTo>
                    <a:lnTo>
                      <a:pt x="488" y="131"/>
                    </a:lnTo>
                    <a:lnTo>
                      <a:pt x="488" y="131"/>
                    </a:lnTo>
                    <a:lnTo>
                      <a:pt x="488" y="131"/>
                    </a:lnTo>
                    <a:lnTo>
                      <a:pt x="483" y="136"/>
                    </a:lnTo>
                    <a:lnTo>
                      <a:pt x="483" y="140"/>
                    </a:lnTo>
                    <a:lnTo>
                      <a:pt x="479" y="140"/>
                    </a:lnTo>
                    <a:lnTo>
                      <a:pt x="479" y="145"/>
                    </a:lnTo>
                    <a:lnTo>
                      <a:pt x="474" y="145"/>
                    </a:lnTo>
                    <a:lnTo>
                      <a:pt x="470" y="145"/>
                    </a:lnTo>
                    <a:lnTo>
                      <a:pt x="470" y="149"/>
                    </a:lnTo>
                    <a:lnTo>
                      <a:pt x="470" y="149"/>
                    </a:lnTo>
                    <a:lnTo>
                      <a:pt x="465" y="149"/>
                    </a:lnTo>
                    <a:lnTo>
                      <a:pt x="465" y="149"/>
                    </a:lnTo>
                    <a:lnTo>
                      <a:pt x="465" y="149"/>
                    </a:lnTo>
                    <a:lnTo>
                      <a:pt x="461" y="149"/>
                    </a:lnTo>
                    <a:lnTo>
                      <a:pt x="461" y="149"/>
                    </a:lnTo>
                    <a:lnTo>
                      <a:pt x="461" y="149"/>
                    </a:lnTo>
                    <a:lnTo>
                      <a:pt x="461" y="149"/>
                    </a:lnTo>
                    <a:lnTo>
                      <a:pt x="465" y="154"/>
                    </a:lnTo>
                    <a:lnTo>
                      <a:pt x="465" y="154"/>
                    </a:lnTo>
                    <a:lnTo>
                      <a:pt x="465" y="154"/>
                    </a:lnTo>
                    <a:lnTo>
                      <a:pt x="470" y="158"/>
                    </a:lnTo>
                    <a:lnTo>
                      <a:pt x="470" y="158"/>
                    </a:lnTo>
                    <a:lnTo>
                      <a:pt x="470" y="158"/>
                    </a:lnTo>
                    <a:lnTo>
                      <a:pt x="470" y="163"/>
                    </a:lnTo>
                    <a:lnTo>
                      <a:pt x="474" y="167"/>
                    </a:lnTo>
                    <a:lnTo>
                      <a:pt x="474" y="167"/>
                    </a:lnTo>
                    <a:lnTo>
                      <a:pt x="479" y="172"/>
                    </a:lnTo>
                    <a:lnTo>
                      <a:pt x="479" y="172"/>
                    </a:lnTo>
                    <a:lnTo>
                      <a:pt x="479" y="172"/>
                    </a:lnTo>
                    <a:lnTo>
                      <a:pt x="479" y="172"/>
                    </a:lnTo>
                    <a:lnTo>
                      <a:pt x="479" y="176"/>
                    </a:lnTo>
                    <a:lnTo>
                      <a:pt x="479" y="176"/>
                    </a:lnTo>
                    <a:lnTo>
                      <a:pt x="479" y="176"/>
                    </a:lnTo>
                    <a:lnTo>
                      <a:pt x="479" y="181"/>
                    </a:lnTo>
                    <a:lnTo>
                      <a:pt x="474" y="185"/>
                    </a:lnTo>
                    <a:lnTo>
                      <a:pt x="474" y="185"/>
                    </a:lnTo>
                    <a:lnTo>
                      <a:pt x="474" y="185"/>
                    </a:lnTo>
                    <a:lnTo>
                      <a:pt x="474" y="185"/>
                    </a:lnTo>
                    <a:lnTo>
                      <a:pt x="479" y="185"/>
                    </a:lnTo>
                    <a:lnTo>
                      <a:pt x="479" y="185"/>
                    </a:lnTo>
                    <a:lnTo>
                      <a:pt x="479" y="185"/>
                    </a:lnTo>
                    <a:lnTo>
                      <a:pt x="479" y="190"/>
                    </a:lnTo>
                    <a:lnTo>
                      <a:pt x="483" y="190"/>
                    </a:lnTo>
                    <a:lnTo>
                      <a:pt x="483" y="190"/>
                    </a:lnTo>
                    <a:lnTo>
                      <a:pt x="483" y="194"/>
                    </a:lnTo>
                    <a:lnTo>
                      <a:pt x="483" y="194"/>
                    </a:lnTo>
                    <a:lnTo>
                      <a:pt x="483" y="194"/>
                    </a:lnTo>
                    <a:lnTo>
                      <a:pt x="483" y="194"/>
                    </a:lnTo>
                    <a:lnTo>
                      <a:pt x="483" y="194"/>
                    </a:lnTo>
                    <a:lnTo>
                      <a:pt x="483" y="194"/>
                    </a:lnTo>
                    <a:lnTo>
                      <a:pt x="488" y="194"/>
                    </a:lnTo>
                    <a:lnTo>
                      <a:pt x="488" y="194"/>
                    </a:lnTo>
                    <a:lnTo>
                      <a:pt x="488" y="194"/>
                    </a:lnTo>
                    <a:lnTo>
                      <a:pt x="488" y="199"/>
                    </a:lnTo>
                    <a:lnTo>
                      <a:pt x="488" y="199"/>
                    </a:lnTo>
                    <a:lnTo>
                      <a:pt x="488" y="199"/>
                    </a:lnTo>
                    <a:lnTo>
                      <a:pt x="483" y="199"/>
                    </a:lnTo>
                    <a:lnTo>
                      <a:pt x="483" y="199"/>
                    </a:lnTo>
                    <a:lnTo>
                      <a:pt x="483" y="199"/>
                    </a:lnTo>
                    <a:lnTo>
                      <a:pt x="483" y="203"/>
                    </a:lnTo>
                    <a:lnTo>
                      <a:pt x="483" y="203"/>
                    </a:lnTo>
                    <a:lnTo>
                      <a:pt x="483" y="203"/>
                    </a:lnTo>
                    <a:lnTo>
                      <a:pt x="479" y="203"/>
                    </a:lnTo>
                    <a:lnTo>
                      <a:pt x="474" y="203"/>
                    </a:lnTo>
                    <a:lnTo>
                      <a:pt x="474" y="203"/>
                    </a:lnTo>
                    <a:lnTo>
                      <a:pt x="470" y="203"/>
                    </a:lnTo>
                    <a:lnTo>
                      <a:pt x="470" y="208"/>
                    </a:lnTo>
                    <a:lnTo>
                      <a:pt x="470" y="208"/>
                    </a:lnTo>
                    <a:lnTo>
                      <a:pt x="470" y="208"/>
                    </a:lnTo>
                    <a:lnTo>
                      <a:pt x="470" y="208"/>
                    </a:lnTo>
                    <a:lnTo>
                      <a:pt x="465" y="208"/>
                    </a:lnTo>
                    <a:lnTo>
                      <a:pt x="465" y="208"/>
                    </a:lnTo>
                    <a:lnTo>
                      <a:pt x="461" y="208"/>
                    </a:lnTo>
                    <a:lnTo>
                      <a:pt x="461" y="208"/>
                    </a:lnTo>
                    <a:lnTo>
                      <a:pt x="461" y="203"/>
                    </a:lnTo>
                    <a:lnTo>
                      <a:pt x="461" y="199"/>
                    </a:lnTo>
                    <a:lnTo>
                      <a:pt x="461" y="199"/>
                    </a:lnTo>
                    <a:lnTo>
                      <a:pt x="465" y="199"/>
                    </a:lnTo>
                    <a:lnTo>
                      <a:pt x="465" y="194"/>
                    </a:lnTo>
                    <a:lnTo>
                      <a:pt x="465" y="194"/>
                    </a:lnTo>
                    <a:lnTo>
                      <a:pt x="461" y="194"/>
                    </a:lnTo>
                    <a:lnTo>
                      <a:pt x="461" y="194"/>
                    </a:lnTo>
                    <a:lnTo>
                      <a:pt x="461" y="190"/>
                    </a:lnTo>
                    <a:lnTo>
                      <a:pt x="452" y="185"/>
                    </a:lnTo>
                    <a:lnTo>
                      <a:pt x="452" y="181"/>
                    </a:lnTo>
                    <a:lnTo>
                      <a:pt x="452" y="181"/>
                    </a:lnTo>
                    <a:lnTo>
                      <a:pt x="452" y="181"/>
                    </a:lnTo>
                    <a:lnTo>
                      <a:pt x="456" y="176"/>
                    </a:lnTo>
                    <a:lnTo>
                      <a:pt x="456" y="176"/>
                    </a:lnTo>
                    <a:lnTo>
                      <a:pt x="456" y="172"/>
                    </a:lnTo>
                    <a:lnTo>
                      <a:pt x="456" y="172"/>
                    </a:lnTo>
                    <a:lnTo>
                      <a:pt x="456" y="167"/>
                    </a:lnTo>
                    <a:lnTo>
                      <a:pt x="456" y="167"/>
                    </a:lnTo>
                    <a:lnTo>
                      <a:pt x="452" y="163"/>
                    </a:lnTo>
                    <a:lnTo>
                      <a:pt x="452" y="163"/>
                    </a:lnTo>
                    <a:lnTo>
                      <a:pt x="447" y="167"/>
                    </a:lnTo>
                    <a:lnTo>
                      <a:pt x="447" y="167"/>
                    </a:lnTo>
                    <a:lnTo>
                      <a:pt x="443" y="167"/>
                    </a:lnTo>
                    <a:lnTo>
                      <a:pt x="443" y="172"/>
                    </a:lnTo>
                    <a:lnTo>
                      <a:pt x="443" y="172"/>
                    </a:lnTo>
                    <a:lnTo>
                      <a:pt x="443" y="176"/>
                    </a:lnTo>
                    <a:lnTo>
                      <a:pt x="443" y="176"/>
                    </a:lnTo>
                    <a:lnTo>
                      <a:pt x="443" y="181"/>
                    </a:lnTo>
                    <a:lnTo>
                      <a:pt x="443" y="185"/>
                    </a:lnTo>
                    <a:lnTo>
                      <a:pt x="443" y="185"/>
                    </a:lnTo>
                    <a:lnTo>
                      <a:pt x="443" y="190"/>
                    </a:lnTo>
                    <a:lnTo>
                      <a:pt x="443" y="194"/>
                    </a:lnTo>
                    <a:lnTo>
                      <a:pt x="443" y="199"/>
                    </a:lnTo>
                    <a:lnTo>
                      <a:pt x="443" y="203"/>
                    </a:lnTo>
                    <a:lnTo>
                      <a:pt x="443" y="208"/>
                    </a:lnTo>
                    <a:lnTo>
                      <a:pt x="438" y="212"/>
                    </a:lnTo>
                    <a:lnTo>
                      <a:pt x="438" y="217"/>
                    </a:lnTo>
                    <a:lnTo>
                      <a:pt x="438" y="217"/>
                    </a:lnTo>
                    <a:lnTo>
                      <a:pt x="443" y="221"/>
                    </a:lnTo>
                    <a:lnTo>
                      <a:pt x="443" y="221"/>
                    </a:lnTo>
                    <a:lnTo>
                      <a:pt x="443" y="226"/>
                    </a:lnTo>
                    <a:lnTo>
                      <a:pt x="438" y="226"/>
                    </a:lnTo>
                    <a:lnTo>
                      <a:pt x="438" y="226"/>
                    </a:lnTo>
                    <a:lnTo>
                      <a:pt x="438" y="226"/>
                    </a:lnTo>
                    <a:lnTo>
                      <a:pt x="434" y="226"/>
                    </a:lnTo>
                    <a:lnTo>
                      <a:pt x="434" y="226"/>
                    </a:lnTo>
                    <a:lnTo>
                      <a:pt x="434" y="226"/>
                    </a:lnTo>
                    <a:lnTo>
                      <a:pt x="429" y="226"/>
                    </a:lnTo>
                    <a:lnTo>
                      <a:pt x="429" y="226"/>
                    </a:lnTo>
                    <a:lnTo>
                      <a:pt x="429" y="226"/>
                    </a:lnTo>
                    <a:lnTo>
                      <a:pt x="425" y="226"/>
                    </a:lnTo>
                    <a:lnTo>
                      <a:pt x="425" y="221"/>
                    </a:lnTo>
                    <a:lnTo>
                      <a:pt x="425" y="221"/>
                    </a:lnTo>
                    <a:lnTo>
                      <a:pt x="425" y="217"/>
                    </a:lnTo>
                    <a:lnTo>
                      <a:pt x="425" y="217"/>
                    </a:lnTo>
                    <a:lnTo>
                      <a:pt x="425" y="212"/>
                    </a:lnTo>
                    <a:lnTo>
                      <a:pt x="425" y="212"/>
                    </a:lnTo>
                    <a:lnTo>
                      <a:pt x="425" y="208"/>
                    </a:lnTo>
                    <a:lnTo>
                      <a:pt x="429" y="203"/>
                    </a:lnTo>
                    <a:lnTo>
                      <a:pt x="429" y="203"/>
                    </a:lnTo>
                    <a:lnTo>
                      <a:pt x="429" y="199"/>
                    </a:lnTo>
                    <a:lnTo>
                      <a:pt x="429" y="194"/>
                    </a:lnTo>
                    <a:lnTo>
                      <a:pt x="429" y="194"/>
                    </a:lnTo>
                    <a:lnTo>
                      <a:pt x="429" y="190"/>
                    </a:lnTo>
                    <a:lnTo>
                      <a:pt x="429" y="185"/>
                    </a:lnTo>
                    <a:lnTo>
                      <a:pt x="429" y="185"/>
                    </a:lnTo>
                    <a:lnTo>
                      <a:pt x="429" y="185"/>
                    </a:lnTo>
                    <a:lnTo>
                      <a:pt x="429" y="185"/>
                    </a:lnTo>
                    <a:lnTo>
                      <a:pt x="429" y="181"/>
                    </a:lnTo>
                    <a:lnTo>
                      <a:pt x="425" y="181"/>
                    </a:lnTo>
                    <a:lnTo>
                      <a:pt x="425" y="181"/>
                    </a:lnTo>
                    <a:lnTo>
                      <a:pt x="425" y="181"/>
                    </a:lnTo>
                    <a:lnTo>
                      <a:pt x="420" y="181"/>
                    </a:lnTo>
                    <a:lnTo>
                      <a:pt x="416" y="181"/>
                    </a:lnTo>
                    <a:lnTo>
                      <a:pt x="416" y="181"/>
                    </a:lnTo>
                    <a:lnTo>
                      <a:pt x="416" y="176"/>
                    </a:lnTo>
                    <a:lnTo>
                      <a:pt x="416" y="176"/>
                    </a:lnTo>
                    <a:lnTo>
                      <a:pt x="416" y="172"/>
                    </a:lnTo>
                    <a:lnTo>
                      <a:pt x="416" y="172"/>
                    </a:lnTo>
                    <a:lnTo>
                      <a:pt x="416" y="167"/>
                    </a:lnTo>
                    <a:lnTo>
                      <a:pt x="416" y="167"/>
                    </a:lnTo>
                    <a:lnTo>
                      <a:pt x="416" y="167"/>
                    </a:lnTo>
                    <a:lnTo>
                      <a:pt x="416" y="167"/>
                    </a:lnTo>
                    <a:lnTo>
                      <a:pt x="416" y="163"/>
                    </a:lnTo>
                    <a:lnTo>
                      <a:pt x="420" y="163"/>
                    </a:lnTo>
                    <a:lnTo>
                      <a:pt x="420" y="163"/>
                    </a:lnTo>
                    <a:lnTo>
                      <a:pt x="420" y="163"/>
                    </a:lnTo>
                    <a:lnTo>
                      <a:pt x="425" y="158"/>
                    </a:lnTo>
                    <a:lnTo>
                      <a:pt x="425" y="158"/>
                    </a:lnTo>
                    <a:lnTo>
                      <a:pt x="425" y="154"/>
                    </a:lnTo>
                    <a:lnTo>
                      <a:pt x="425" y="154"/>
                    </a:lnTo>
                    <a:lnTo>
                      <a:pt x="425" y="149"/>
                    </a:lnTo>
                    <a:lnTo>
                      <a:pt x="425" y="149"/>
                    </a:lnTo>
                    <a:lnTo>
                      <a:pt x="425" y="145"/>
                    </a:lnTo>
                    <a:lnTo>
                      <a:pt x="425" y="145"/>
                    </a:lnTo>
                    <a:lnTo>
                      <a:pt x="425" y="140"/>
                    </a:lnTo>
                    <a:lnTo>
                      <a:pt x="425" y="140"/>
                    </a:lnTo>
                    <a:lnTo>
                      <a:pt x="425" y="136"/>
                    </a:lnTo>
                    <a:lnTo>
                      <a:pt x="429" y="131"/>
                    </a:lnTo>
                    <a:lnTo>
                      <a:pt x="434" y="127"/>
                    </a:lnTo>
                    <a:lnTo>
                      <a:pt x="434" y="127"/>
                    </a:lnTo>
                    <a:lnTo>
                      <a:pt x="434" y="127"/>
                    </a:lnTo>
                    <a:lnTo>
                      <a:pt x="434" y="127"/>
                    </a:lnTo>
                    <a:lnTo>
                      <a:pt x="434" y="127"/>
                    </a:lnTo>
                    <a:lnTo>
                      <a:pt x="434" y="127"/>
                    </a:lnTo>
                    <a:lnTo>
                      <a:pt x="434" y="122"/>
                    </a:lnTo>
                    <a:lnTo>
                      <a:pt x="434" y="113"/>
                    </a:lnTo>
                    <a:lnTo>
                      <a:pt x="434" y="113"/>
                    </a:lnTo>
                    <a:lnTo>
                      <a:pt x="434" y="113"/>
                    </a:lnTo>
                    <a:lnTo>
                      <a:pt x="434" y="113"/>
                    </a:lnTo>
                    <a:lnTo>
                      <a:pt x="438" y="108"/>
                    </a:lnTo>
                    <a:lnTo>
                      <a:pt x="434" y="108"/>
                    </a:lnTo>
                    <a:lnTo>
                      <a:pt x="434" y="104"/>
                    </a:lnTo>
                    <a:lnTo>
                      <a:pt x="438" y="104"/>
                    </a:lnTo>
                    <a:lnTo>
                      <a:pt x="438" y="99"/>
                    </a:lnTo>
                    <a:lnTo>
                      <a:pt x="438" y="99"/>
                    </a:lnTo>
                    <a:lnTo>
                      <a:pt x="438" y="95"/>
                    </a:lnTo>
                    <a:lnTo>
                      <a:pt x="438" y="95"/>
                    </a:lnTo>
                    <a:lnTo>
                      <a:pt x="443" y="95"/>
                    </a:lnTo>
                    <a:lnTo>
                      <a:pt x="443" y="95"/>
                    </a:lnTo>
                    <a:lnTo>
                      <a:pt x="443" y="90"/>
                    </a:lnTo>
                    <a:lnTo>
                      <a:pt x="443" y="90"/>
                    </a:lnTo>
                    <a:lnTo>
                      <a:pt x="443" y="90"/>
                    </a:lnTo>
                    <a:lnTo>
                      <a:pt x="443" y="95"/>
                    </a:lnTo>
                    <a:lnTo>
                      <a:pt x="447" y="95"/>
                    </a:lnTo>
                    <a:lnTo>
                      <a:pt x="447" y="95"/>
                    </a:lnTo>
                    <a:lnTo>
                      <a:pt x="447" y="95"/>
                    </a:lnTo>
                    <a:lnTo>
                      <a:pt x="447" y="90"/>
                    </a:lnTo>
                    <a:lnTo>
                      <a:pt x="452" y="90"/>
                    </a:lnTo>
                    <a:lnTo>
                      <a:pt x="452" y="90"/>
                    </a:lnTo>
                    <a:lnTo>
                      <a:pt x="452" y="90"/>
                    </a:lnTo>
                    <a:lnTo>
                      <a:pt x="452" y="86"/>
                    </a:lnTo>
                    <a:lnTo>
                      <a:pt x="452" y="86"/>
                    </a:lnTo>
                    <a:lnTo>
                      <a:pt x="456" y="86"/>
                    </a:lnTo>
                    <a:lnTo>
                      <a:pt x="456" y="86"/>
                    </a:lnTo>
                    <a:lnTo>
                      <a:pt x="456" y="86"/>
                    </a:lnTo>
                    <a:lnTo>
                      <a:pt x="456" y="86"/>
                    </a:lnTo>
                    <a:lnTo>
                      <a:pt x="461" y="86"/>
                    </a:lnTo>
                    <a:lnTo>
                      <a:pt x="461" y="86"/>
                    </a:lnTo>
                    <a:lnTo>
                      <a:pt x="461" y="86"/>
                    </a:lnTo>
                    <a:lnTo>
                      <a:pt x="461" y="86"/>
                    </a:lnTo>
                    <a:lnTo>
                      <a:pt x="465" y="86"/>
                    </a:lnTo>
                    <a:lnTo>
                      <a:pt x="465" y="86"/>
                    </a:lnTo>
                    <a:lnTo>
                      <a:pt x="465" y="90"/>
                    </a:lnTo>
                    <a:lnTo>
                      <a:pt x="465" y="90"/>
                    </a:lnTo>
                    <a:lnTo>
                      <a:pt x="465" y="90"/>
                    </a:lnTo>
                    <a:lnTo>
                      <a:pt x="470" y="90"/>
                    </a:lnTo>
                    <a:lnTo>
                      <a:pt x="474" y="90"/>
                    </a:lnTo>
                    <a:lnTo>
                      <a:pt x="479" y="90"/>
                    </a:lnTo>
                    <a:lnTo>
                      <a:pt x="483" y="90"/>
                    </a:lnTo>
                    <a:lnTo>
                      <a:pt x="483" y="90"/>
                    </a:lnTo>
                    <a:lnTo>
                      <a:pt x="488" y="95"/>
                    </a:lnTo>
                    <a:lnTo>
                      <a:pt x="488" y="95"/>
                    </a:lnTo>
                    <a:lnTo>
                      <a:pt x="488" y="95"/>
                    </a:lnTo>
                    <a:lnTo>
                      <a:pt x="488" y="90"/>
                    </a:lnTo>
                    <a:lnTo>
                      <a:pt x="492" y="90"/>
                    </a:lnTo>
                    <a:lnTo>
                      <a:pt x="492" y="90"/>
                    </a:lnTo>
                    <a:lnTo>
                      <a:pt x="497" y="90"/>
                    </a:lnTo>
                    <a:lnTo>
                      <a:pt x="506" y="95"/>
                    </a:lnTo>
                    <a:lnTo>
                      <a:pt x="506" y="95"/>
                    </a:lnTo>
                    <a:lnTo>
                      <a:pt x="515" y="90"/>
                    </a:lnTo>
                    <a:lnTo>
                      <a:pt x="515" y="86"/>
                    </a:lnTo>
                    <a:lnTo>
                      <a:pt x="519" y="86"/>
                    </a:lnTo>
                    <a:lnTo>
                      <a:pt x="519" y="86"/>
                    </a:lnTo>
                    <a:lnTo>
                      <a:pt x="519" y="81"/>
                    </a:lnTo>
                    <a:lnTo>
                      <a:pt x="519" y="81"/>
                    </a:lnTo>
                    <a:lnTo>
                      <a:pt x="519" y="81"/>
                    </a:lnTo>
                    <a:lnTo>
                      <a:pt x="519" y="81"/>
                    </a:lnTo>
                    <a:lnTo>
                      <a:pt x="524" y="77"/>
                    </a:lnTo>
                    <a:lnTo>
                      <a:pt x="524" y="77"/>
                    </a:lnTo>
                    <a:lnTo>
                      <a:pt x="524" y="77"/>
                    </a:lnTo>
                    <a:lnTo>
                      <a:pt x="529" y="77"/>
                    </a:lnTo>
                    <a:lnTo>
                      <a:pt x="529" y="77"/>
                    </a:lnTo>
                    <a:lnTo>
                      <a:pt x="529" y="81"/>
                    </a:lnTo>
                    <a:lnTo>
                      <a:pt x="529" y="81"/>
                    </a:lnTo>
                    <a:lnTo>
                      <a:pt x="529" y="81"/>
                    </a:lnTo>
                    <a:lnTo>
                      <a:pt x="529" y="81"/>
                    </a:lnTo>
                    <a:lnTo>
                      <a:pt x="524" y="86"/>
                    </a:lnTo>
                    <a:lnTo>
                      <a:pt x="524" y="90"/>
                    </a:lnTo>
                    <a:lnTo>
                      <a:pt x="524" y="90"/>
                    </a:lnTo>
                    <a:moveTo>
                      <a:pt x="574" y="95"/>
                    </a:moveTo>
                    <a:lnTo>
                      <a:pt x="574" y="95"/>
                    </a:lnTo>
                    <a:lnTo>
                      <a:pt x="574" y="95"/>
                    </a:lnTo>
                    <a:lnTo>
                      <a:pt x="574" y="95"/>
                    </a:lnTo>
                    <a:lnTo>
                      <a:pt x="578" y="95"/>
                    </a:lnTo>
                    <a:lnTo>
                      <a:pt x="578" y="90"/>
                    </a:lnTo>
                    <a:lnTo>
                      <a:pt x="578" y="90"/>
                    </a:lnTo>
                    <a:lnTo>
                      <a:pt x="578" y="86"/>
                    </a:lnTo>
                    <a:lnTo>
                      <a:pt x="578" y="86"/>
                    </a:lnTo>
                    <a:lnTo>
                      <a:pt x="583" y="86"/>
                    </a:lnTo>
                    <a:lnTo>
                      <a:pt x="583" y="86"/>
                    </a:lnTo>
                    <a:lnTo>
                      <a:pt x="583" y="86"/>
                    </a:lnTo>
                    <a:lnTo>
                      <a:pt x="583" y="81"/>
                    </a:lnTo>
                    <a:lnTo>
                      <a:pt x="587" y="81"/>
                    </a:lnTo>
                    <a:lnTo>
                      <a:pt x="587" y="77"/>
                    </a:lnTo>
                    <a:lnTo>
                      <a:pt x="592" y="77"/>
                    </a:lnTo>
                    <a:lnTo>
                      <a:pt x="592" y="81"/>
                    </a:lnTo>
                    <a:lnTo>
                      <a:pt x="592" y="81"/>
                    </a:lnTo>
                    <a:lnTo>
                      <a:pt x="592" y="81"/>
                    </a:lnTo>
                    <a:lnTo>
                      <a:pt x="592" y="86"/>
                    </a:lnTo>
                    <a:lnTo>
                      <a:pt x="592" y="90"/>
                    </a:lnTo>
                    <a:lnTo>
                      <a:pt x="587" y="90"/>
                    </a:lnTo>
                    <a:lnTo>
                      <a:pt x="583" y="90"/>
                    </a:lnTo>
                    <a:lnTo>
                      <a:pt x="583" y="95"/>
                    </a:lnTo>
                    <a:lnTo>
                      <a:pt x="583" y="95"/>
                    </a:lnTo>
                    <a:lnTo>
                      <a:pt x="583" y="95"/>
                    </a:lnTo>
                    <a:lnTo>
                      <a:pt x="587" y="99"/>
                    </a:lnTo>
                    <a:lnTo>
                      <a:pt x="587" y="99"/>
                    </a:lnTo>
                    <a:lnTo>
                      <a:pt x="592" y="99"/>
                    </a:lnTo>
                    <a:lnTo>
                      <a:pt x="592" y="104"/>
                    </a:lnTo>
                    <a:lnTo>
                      <a:pt x="592" y="104"/>
                    </a:lnTo>
                    <a:lnTo>
                      <a:pt x="592" y="104"/>
                    </a:lnTo>
                    <a:lnTo>
                      <a:pt x="592" y="104"/>
                    </a:lnTo>
                    <a:lnTo>
                      <a:pt x="592" y="104"/>
                    </a:lnTo>
                    <a:lnTo>
                      <a:pt x="592" y="108"/>
                    </a:lnTo>
                    <a:lnTo>
                      <a:pt x="587" y="104"/>
                    </a:lnTo>
                    <a:lnTo>
                      <a:pt x="587" y="104"/>
                    </a:lnTo>
                    <a:lnTo>
                      <a:pt x="583" y="104"/>
                    </a:lnTo>
                    <a:lnTo>
                      <a:pt x="583" y="104"/>
                    </a:lnTo>
                    <a:lnTo>
                      <a:pt x="578" y="99"/>
                    </a:lnTo>
                    <a:lnTo>
                      <a:pt x="578" y="99"/>
                    </a:lnTo>
                    <a:lnTo>
                      <a:pt x="578" y="104"/>
                    </a:lnTo>
                    <a:lnTo>
                      <a:pt x="578" y="104"/>
                    </a:lnTo>
                    <a:lnTo>
                      <a:pt x="578" y="104"/>
                    </a:lnTo>
                    <a:lnTo>
                      <a:pt x="578" y="108"/>
                    </a:lnTo>
                    <a:lnTo>
                      <a:pt x="578" y="108"/>
                    </a:lnTo>
                    <a:lnTo>
                      <a:pt x="578" y="108"/>
                    </a:lnTo>
                    <a:lnTo>
                      <a:pt x="578" y="117"/>
                    </a:lnTo>
                    <a:lnTo>
                      <a:pt x="578" y="122"/>
                    </a:lnTo>
                    <a:lnTo>
                      <a:pt x="583" y="127"/>
                    </a:lnTo>
                    <a:lnTo>
                      <a:pt x="583" y="127"/>
                    </a:lnTo>
                    <a:lnTo>
                      <a:pt x="587" y="131"/>
                    </a:lnTo>
                    <a:lnTo>
                      <a:pt x="583" y="131"/>
                    </a:lnTo>
                    <a:lnTo>
                      <a:pt x="583" y="127"/>
                    </a:lnTo>
                    <a:lnTo>
                      <a:pt x="578" y="127"/>
                    </a:lnTo>
                    <a:lnTo>
                      <a:pt x="578" y="127"/>
                    </a:lnTo>
                    <a:lnTo>
                      <a:pt x="578" y="117"/>
                    </a:lnTo>
                    <a:lnTo>
                      <a:pt x="574" y="117"/>
                    </a:lnTo>
                    <a:lnTo>
                      <a:pt x="574" y="117"/>
                    </a:lnTo>
                    <a:lnTo>
                      <a:pt x="574" y="117"/>
                    </a:lnTo>
                    <a:lnTo>
                      <a:pt x="574" y="113"/>
                    </a:lnTo>
                    <a:lnTo>
                      <a:pt x="574" y="113"/>
                    </a:lnTo>
                    <a:lnTo>
                      <a:pt x="574" y="108"/>
                    </a:lnTo>
                    <a:lnTo>
                      <a:pt x="574" y="108"/>
                    </a:lnTo>
                    <a:lnTo>
                      <a:pt x="574" y="104"/>
                    </a:lnTo>
                    <a:lnTo>
                      <a:pt x="574" y="104"/>
                    </a:lnTo>
                    <a:lnTo>
                      <a:pt x="569" y="104"/>
                    </a:lnTo>
                    <a:lnTo>
                      <a:pt x="569" y="99"/>
                    </a:lnTo>
                    <a:lnTo>
                      <a:pt x="569" y="99"/>
                    </a:lnTo>
                    <a:lnTo>
                      <a:pt x="569" y="95"/>
                    </a:lnTo>
                    <a:lnTo>
                      <a:pt x="569" y="95"/>
                    </a:lnTo>
                    <a:lnTo>
                      <a:pt x="569" y="95"/>
                    </a:lnTo>
                    <a:lnTo>
                      <a:pt x="569" y="95"/>
                    </a:lnTo>
                    <a:lnTo>
                      <a:pt x="569" y="90"/>
                    </a:lnTo>
                    <a:lnTo>
                      <a:pt x="569" y="86"/>
                    </a:lnTo>
                    <a:lnTo>
                      <a:pt x="569" y="86"/>
                    </a:lnTo>
                    <a:lnTo>
                      <a:pt x="569" y="81"/>
                    </a:lnTo>
                    <a:lnTo>
                      <a:pt x="569" y="77"/>
                    </a:lnTo>
                    <a:lnTo>
                      <a:pt x="569" y="77"/>
                    </a:lnTo>
                    <a:lnTo>
                      <a:pt x="569" y="77"/>
                    </a:lnTo>
                    <a:lnTo>
                      <a:pt x="569" y="72"/>
                    </a:lnTo>
                    <a:lnTo>
                      <a:pt x="574" y="72"/>
                    </a:lnTo>
                    <a:lnTo>
                      <a:pt x="574" y="68"/>
                    </a:lnTo>
                    <a:lnTo>
                      <a:pt x="578" y="68"/>
                    </a:lnTo>
                    <a:lnTo>
                      <a:pt x="578" y="63"/>
                    </a:lnTo>
                    <a:lnTo>
                      <a:pt x="578" y="68"/>
                    </a:lnTo>
                    <a:lnTo>
                      <a:pt x="578" y="68"/>
                    </a:lnTo>
                    <a:lnTo>
                      <a:pt x="574" y="72"/>
                    </a:lnTo>
                    <a:lnTo>
                      <a:pt x="574" y="72"/>
                    </a:lnTo>
                    <a:lnTo>
                      <a:pt x="574" y="72"/>
                    </a:lnTo>
                    <a:lnTo>
                      <a:pt x="578" y="72"/>
                    </a:lnTo>
                    <a:lnTo>
                      <a:pt x="578" y="77"/>
                    </a:lnTo>
                    <a:lnTo>
                      <a:pt x="578" y="77"/>
                    </a:lnTo>
                    <a:lnTo>
                      <a:pt x="578" y="81"/>
                    </a:lnTo>
                    <a:lnTo>
                      <a:pt x="578" y="81"/>
                    </a:lnTo>
                    <a:lnTo>
                      <a:pt x="578" y="86"/>
                    </a:lnTo>
                    <a:lnTo>
                      <a:pt x="574" y="86"/>
                    </a:lnTo>
                    <a:lnTo>
                      <a:pt x="574" y="90"/>
                    </a:lnTo>
                    <a:lnTo>
                      <a:pt x="574" y="90"/>
                    </a:lnTo>
                    <a:lnTo>
                      <a:pt x="574" y="90"/>
                    </a:lnTo>
                    <a:lnTo>
                      <a:pt x="574" y="90"/>
                    </a:lnTo>
                    <a:lnTo>
                      <a:pt x="574" y="95"/>
                    </a:lnTo>
                    <a:moveTo>
                      <a:pt x="587" y="68"/>
                    </a:moveTo>
                    <a:lnTo>
                      <a:pt x="587" y="68"/>
                    </a:lnTo>
                    <a:lnTo>
                      <a:pt x="583" y="68"/>
                    </a:lnTo>
                    <a:lnTo>
                      <a:pt x="583" y="68"/>
                    </a:lnTo>
                    <a:lnTo>
                      <a:pt x="583" y="63"/>
                    </a:lnTo>
                    <a:lnTo>
                      <a:pt x="583" y="59"/>
                    </a:lnTo>
                    <a:lnTo>
                      <a:pt x="587" y="59"/>
                    </a:lnTo>
                    <a:lnTo>
                      <a:pt x="587" y="59"/>
                    </a:lnTo>
                    <a:lnTo>
                      <a:pt x="587" y="59"/>
                    </a:lnTo>
                    <a:lnTo>
                      <a:pt x="587" y="59"/>
                    </a:lnTo>
                    <a:lnTo>
                      <a:pt x="587" y="63"/>
                    </a:lnTo>
                    <a:lnTo>
                      <a:pt x="587" y="68"/>
                    </a:lnTo>
                    <a:lnTo>
                      <a:pt x="587" y="68"/>
                    </a:lnTo>
                    <a:moveTo>
                      <a:pt x="375" y="23"/>
                    </a:moveTo>
                    <a:lnTo>
                      <a:pt x="375" y="23"/>
                    </a:lnTo>
                    <a:lnTo>
                      <a:pt x="375" y="23"/>
                    </a:lnTo>
                    <a:lnTo>
                      <a:pt x="375" y="23"/>
                    </a:lnTo>
                    <a:lnTo>
                      <a:pt x="379" y="23"/>
                    </a:lnTo>
                    <a:lnTo>
                      <a:pt x="379" y="23"/>
                    </a:lnTo>
                    <a:lnTo>
                      <a:pt x="384" y="23"/>
                    </a:lnTo>
                    <a:lnTo>
                      <a:pt x="388" y="23"/>
                    </a:lnTo>
                    <a:lnTo>
                      <a:pt x="393" y="27"/>
                    </a:lnTo>
                    <a:lnTo>
                      <a:pt x="393" y="27"/>
                    </a:lnTo>
                    <a:lnTo>
                      <a:pt x="393" y="27"/>
                    </a:lnTo>
                    <a:lnTo>
                      <a:pt x="393" y="27"/>
                    </a:lnTo>
                    <a:lnTo>
                      <a:pt x="393" y="27"/>
                    </a:lnTo>
                    <a:lnTo>
                      <a:pt x="393" y="27"/>
                    </a:lnTo>
                    <a:lnTo>
                      <a:pt x="393" y="32"/>
                    </a:lnTo>
                    <a:lnTo>
                      <a:pt x="393" y="32"/>
                    </a:lnTo>
                    <a:lnTo>
                      <a:pt x="393" y="32"/>
                    </a:lnTo>
                    <a:lnTo>
                      <a:pt x="398" y="32"/>
                    </a:lnTo>
                    <a:lnTo>
                      <a:pt x="398" y="36"/>
                    </a:lnTo>
                    <a:lnTo>
                      <a:pt x="398" y="36"/>
                    </a:lnTo>
                    <a:lnTo>
                      <a:pt x="398" y="36"/>
                    </a:lnTo>
                    <a:lnTo>
                      <a:pt x="398" y="36"/>
                    </a:lnTo>
                    <a:lnTo>
                      <a:pt x="393" y="36"/>
                    </a:lnTo>
                    <a:lnTo>
                      <a:pt x="393" y="36"/>
                    </a:lnTo>
                    <a:lnTo>
                      <a:pt x="393" y="36"/>
                    </a:lnTo>
                    <a:lnTo>
                      <a:pt x="393" y="36"/>
                    </a:lnTo>
                    <a:lnTo>
                      <a:pt x="393" y="36"/>
                    </a:lnTo>
                    <a:lnTo>
                      <a:pt x="388" y="36"/>
                    </a:lnTo>
                    <a:lnTo>
                      <a:pt x="388" y="36"/>
                    </a:lnTo>
                    <a:lnTo>
                      <a:pt x="384" y="36"/>
                    </a:lnTo>
                    <a:lnTo>
                      <a:pt x="384" y="36"/>
                    </a:lnTo>
                    <a:lnTo>
                      <a:pt x="388" y="36"/>
                    </a:lnTo>
                    <a:lnTo>
                      <a:pt x="388" y="41"/>
                    </a:lnTo>
                    <a:lnTo>
                      <a:pt x="393" y="41"/>
                    </a:lnTo>
                    <a:lnTo>
                      <a:pt x="388" y="45"/>
                    </a:lnTo>
                    <a:lnTo>
                      <a:pt x="388" y="45"/>
                    </a:lnTo>
                    <a:lnTo>
                      <a:pt x="393" y="45"/>
                    </a:lnTo>
                    <a:lnTo>
                      <a:pt x="393" y="50"/>
                    </a:lnTo>
                    <a:lnTo>
                      <a:pt x="393" y="50"/>
                    </a:lnTo>
                    <a:lnTo>
                      <a:pt x="398" y="50"/>
                    </a:lnTo>
                    <a:lnTo>
                      <a:pt x="398" y="50"/>
                    </a:lnTo>
                    <a:lnTo>
                      <a:pt x="398" y="50"/>
                    </a:lnTo>
                    <a:lnTo>
                      <a:pt x="393" y="50"/>
                    </a:lnTo>
                    <a:lnTo>
                      <a:pt x="398" y="50"/>
                    </a:lnTo>
                    <a:lnTo>
                      <a:pt x="398" y="54"/>
                    </a:lnTo>
                    <a:lnTo>
                      <a:pt x="398" y="54"/>
                    </a:lnTo>
                    <a:lnTo>
                      <a:pt x="398" y="54"/>
                    </a:lnTo>
                    <a:lnTo>
                      <a:pt x="398" y="54"/>
                    </a:lnTo>
                    <a:lnTo>
                      <a:pt x="398" y="54"/>
                    </a:lnTo>
                    <a:lnTo>
                      <a:pt x="398" y="54"/>
                    </a:lnTo>
                    <a:lnTo>
                      <a:pt x="398" y="59"/>
                    </a:lnTo>
                    <a:lnTo>
                      <a:pt x="402" y="59"/>
                    </a:lnTo>
                    <a:lnTo>
                      <a:pt x="402" y="63"/>
                    </a:lnTo>
                    <a:lnTo>
                      <a:pt x="402" y="63"/>
                    </a:lnTo>
                    <a:lnTo>
                      <a:pt x="402" y="63"/>
                    </a:lnTo>
                    <a:lnTo>
                      <a:pt x="402" y="68"/>
                    </a:lnTo>
                    <a:lnTo>
                      <a:pt x="402" y="68"/>
                    </a:lnTo>
                    <a:lnTo>
                      <a:pt x="402" y="68"/>
                    </a:lnTo>
                    <a:lnTo>
                      <a:pt x="402" y="68"/>
                    </a:lnTo>
                    <a:lnTo>
                      <a:pt x="398" y="68"/>
                    </a:lnTo>
                    <a:lnTo>
                      <a:pt x="402" y="72"/>
                    </a:lnTo>
                    <a:lnTo>
                      <a:pt x="402" y="72"/>
                    </a:lnTo>
                    <a:lnTo>
                      <a:pt x="402" y="72"/>
                    </a:lnTo>
                    <a:lnTo>
                      <a:pt x="407" y="77"/>
                    </a:lnTo>
                    <a:lnTo>
                      <a:pt x="407" y="77"/>
                    </a:lnTo>
                    <a:lnTo>
                      <a:pt x="411" y="81"/>
                    </a:lnTo>
                    <a:lnTo>
                      <a:pt x="416" y="86"/>
                    </a:lnTo>
                    <a:lnTo>
                      <a:pt x="420" y="90"/>
                    </a:lnTo>
                    <a:lnTo>
                      <a:pt x="420" y="90"/>
                    </a:lnTo>
                    <a:lnTo>
                      <a:pt x="420" y="90"/>
                    </a:lnTo>
                    <a:lnTo>
                      <a:pt x="420" y="95"/>
                    </a:lnTo>
                    <a:lnTo>
                      <a:pt x="416" y="95"/>
                    </a:lnTo>
                    <a:lnTo>
                      <a:pt x="411" y="95"/>
                    </a:lnTo>
                    <a:lnTo>
                      <a:pt x="407" y="95"/>
                    </a:lnTo>
                    <a:lnTo>
                      <a:pt x="407" y="95"/>
                    </a:lnTo>
                    <a:lnTo>
                      <a:pt x="407" y="90"/>
                    </a:lnTo>
                    <a:lnTo>
                      <a:pt x="402" y="90"/>
                    </a:lnTo>
                    <a:lnTo>
                      <a:pt x="402" y="90"/>
                    </a:lnTo>
                    <a:lnTo>
                      <a:pt x="402" y="90"/>
                    </a:lnTo>
                    <a:lnTo>
                      <a:pt x="402" y="90"/>
                    </a:lnTo>
                    <a:lnTo>
                      <a:pt x="402" y="95"/>
                    </a:lnTo>
                    <a:lnTo>
                      <a:pt x="402" y="95"/>
                    </a:lnTo>
                    <a:lnTo>
                      <a:pt x="402" y="95"/>
                    </a:lnTo>
                    <a:lnTo>
                      <a:pt x="398" y="95"/>
                    </a:lnTo>
                    <a:lnTo>
                      <a:pt x="398" y="95"/>
                    </a:lnTo>
                    <a:lnTo>
                      <a:pt x="398" y="104"/>
                    </a:lnTo>
                    <a:lnTo>
                      <a:pt x="393" y="104"/>
                    </a:lnTo>
                    <a:lnTo>
                      <a:pt x="393" y="113"/>
                    </a:lnTo>
                    <a:lnTo>
                      <a:pt x="393" y="117"/>
                    </a:lnTo>
                    <a:lnTo>
                      <a:pt x="398" y="122"/>
                    </a:lnTo>
                    <a:lnTo>
                      <a:pt x="398" y="127"/>
                    </a:lnTo>
                    <a:lnTo>
                      <a:pt x="398" y="127"/>
                    </a:lnTo>
                    <a:lnTo>
                      <a:pt x="398" y="127"/>
                    </a:lnTo>
                    <a:lnTo>
                      <a:pt x="393" y="127"/>
                    </a:lnTo>
                    <a:lnTo>
                      <a:pt x="393" y="127"/>
                    </a:lnTo>
                    <a:lnTo>
                      <a:pt x="388" y="131"/>
                    </a:lnTo>
                    <a:lnTo>
                      <a:pt x="388" y="131"/>
                    </a:lnTo>
                    <a:lnTo>
                      <a:pt x="388" y="136"/>
                    </a:lnTo>
                    <a:lnTo>
                      <a:pt x="384" y="136"/>
                    </a:lnTo>
                    <a:lnTo>
                      <a:pt x="384" y="136"/>
                    </a:lnTo>
                    <a:lnTo>
                      <a:pt x="384" y="136"/>
                    </a:lnTo>
                    <a:lnTo>
                      <a:pt x="384" y="136"/>
                    </a:lnTo>
                    <a:lnTo>
                      <a:pt x="379" y="136"/>
                    </a:lnTo>
                    <a:lnTo>
                      <a:pt x="379" y="131"/>
                    </a:lnTo>
                    <a:lnTo>
                      <a:pt x="379" y="131"/>
                    </a:lnTo>
                    <a:lnTo>
                      <a:pt x="379" y="136"/>
                    </a:lnTo>
                    <a:lnTo>
                      <a:pt x="379" y="136"/>
                    </a:lnTo>
                    <a:lnTo>
                      <a:pt x="379" y="136"/>
                    </a:lnTo>
                    <a:lnTo>
                      <a:pt x="379" y="140"/>
                    </a:lnTo>
                    <a:lnTo>
                      <a:pt x="379" y="140"/>
                    </a:lnTo>
                    <a:lnTo>
                      <a:pt x="379" y="140"/>
                    </a:lnTo>
                    <a:lnTo>
                      <a:pt x="379" y="140"/>
                    </a:lnTo>
                    <a:lnTo>
                      <a:pt x="379" y="145"/>
                    </a:lnTo>
                    <a:lnTo>
                      <a:pt x="375" y="145"/>
                    </a:lnTo>
                    <a:lnTo>
                      <a:pt x="375" y="145"/>
                    </a:lnTo>
                    <a:lnTo>
                      <a:pt x="375" y="145"/>
                    </a:lnTo>
                    <a:lnTo>
                      <a:pt x="375" y="145"/>
                    </a:lnTo>
                    <a:lnTo>
                      <a:pt x="375" y="149"/>
                    </a:lnTo>
                    <a:lnTo>
                      <a:pt x="375" y="149"/>
                    </a:lnTo>
                    <a:lnTo>
                      <a:pt x="375" y="149"/>
                    </a:lnTo>
                    <a:lnTo>
                      <a:pt x="375" y="149"/>
                    </a:lnTo>
                    <a:lnTo>
                      <a:pt x="375" y="149"/>
                    </a:lnTo>
                    <a:lnTo>
                      <a:pt x="375" y="154"/>
                    </a:lnTo>
                    <a:lnTo>
                      <a:pt x="375" y="154"/>
                    </a:lnTo>
                    <a:lnTo>
                      <a:pt x="375" y="154"/>
                    </a:lnTo>
                    <a:lnTo>
                      <a:pt x="375" y="154"/>
                    </a:lnTo>
                    <a:lnTo>
                      <a:pt x="375" y="154"/>
                    </a:lnTo>
                    <a:lnTo>
                      <a:pt x="379" y="158"/>
                    </a:lnTo>
                    <a:lnTo>
                      <a:pt x="379" y="158"/>
                    </a:lnTo>
                    <a:lnTo>
                      <a:pt x="375" y="163"/>
                    </a:lnTo>
                    <a:lnTo>
                      <a:pt x="375" y="163"/>
                    </a:lnTo>
                    <a:lnTo>
                      <a:pt x="375" y="163"/>
                    </a:lnTo>
                    <a:lnTo>
                      <a:pt x="375" y="163"/>
                    </a:lnTo>
                    <a:lnTo>
                      <a:pt x="375" y="163"/>
                    </a:lnTo>
                    <a:lnTo>
                      <a:pt x="375" y="163"/>
                    </a:lnTo>
                    <a:lnTo>
                      <a:pt x="375" y="163"/>
                    </a:lnTo>
                    <a:lnTo>
                      <a:pt x="375" y="167"/>
                    </a:lnTo>
                    <a:lnTo>
                      <a:pt x="375" y="167"/>
                    </a:lnTo>
                    <a:lnTo>
                      <a:pt x="375" y="172"/>
                    </a:lnTo>
                    <a:lnTo>
                      <a:pt x="370" y="172"/>
                    </a:lnTo>
                    <a:lnTo>
                      <a:pt x="370" y="172"/>
                    </a:lnTo>
                    <a:lnTo>
                      <a:pt x="370" y="172"/>
                    </a:lnTo>
                    <a:lnTo>
                      <a:pt x="370" y="172"/>
                    </a:lnTo>
                    <a:lnTo>
                      <a:pt x="370" y="172"/>
                    </a:lnTo>
                    <a:lnTo>
                      <a:pt x="370" y="176"/>
                    </a:lnTo>
                    <a:lnTo>
                      <a:pt x="370" y="176"/>
                    </a:lnTo>
                    <a:lnTo>
                      <a:pt x="370" y="176"/>
                    </a:lnTo>
                    <a:lnTo>
                      <a:pt x="370" y="176"/>
                    </a:lnTo>
                    <a:lnTo>
                      <a:pt x="366" y="181"/>
                    </a:lnTo>
                    <a:lnTo>
                      <a:pt x="366" y="181"/>
                    </a:lnTo>
                    <a:lnTo>
                      <a:pt x="366" y="181"/>
                    </a:lnTo>
                    <a:lnTo>
                      <a:pt x="366" y="185"/>
                    </a:lnTo>
                    <a:lnTo>
                      <a:pt x="352" y="190"/>
                    </a:lnTo>
                    <a:lnTo>
                      <a:pt x="343" y="194"/>
                    </a:lnTo>
                    <a:lnTo>
                      <a:pt x="343" y="194"/>
                    </a:lnTo>
                    <a:lnTo>
                      <a:pt x="343" y="194"/>
                    </a:lnTo>
                    <a:lnTo>
                      <a:pt x="343" y="185"/>
                    </a:lnTo>
                    <a:lnTo>
                      <a:pt x="343" y="181"/>
                    </a:lnTo>
                    <a:lnTo>
                      <a:pt x="343" y="181"/>
                    </a:lnTo>
                    <a:lnTo>
                      <a:pt x="339" y="181"/>
                    </a:lnTo>
                    <a:lnTo>
                      <a:pt x="339" y="181"/>
                    </a:lnTo>
                    <a:lnTo>
                      <a:pt x="339" y="181"/>
                    </a:lnTo>
                    <a:lnTo>
                      <a:pt x="339" y="181"/>
                    </a:lnTo>
                    <a:lnTo>
                      <a:pt x="339" y="181"/>
                    </a:lnTo>
                    <a:lnTo>
                      <a:pt x="339" y="176"/>
                    </a:lnTo>
                    <a:lnTo>
                      <a:pt x="339" y="176"/>
                    </a:lnTo>
                    <a:lnTo>
                      <a:pt x="334" y="181"/>
                    </a:lnTo>
                    <a:lnTo>
                      <a:pt x="334" y="181"/>
                    </a:lnTo>
                    <a:lnTo>
                      <a:pt x="334" y="176"/>
                    </a:lnTo>
                    <a:lnTo>
                      <a:pt x="334" y="176"/>
                    </a:lnTo>
                    <a:lnTo>
                      <a:pt x="334" y="176"/>
                    </a:lnTo>
                    <a:lnTo>
                      <a:pt x="330" y="181"/>
                    </a:lnTo>
                    <a:lnTo>
                      <a:pt x="330" y="181"/>
                    </a:lnTo>
                    <a:lnTo>
                      <a:pt x="325" y="181"/>
                    </a:lnTo>
                    <a:lnTo>
                      <a:pt x="325" y="181"/>
                    </a:lnTo>
                    <a:lnTo>
                      <a:pt x="325" y="176"/>
                    </a:lnTo>
                    <a:lnTo>
                      <a:pt x="325" y="176"/>
                    </a:lnTo>
                    <a:lnTo>
                      <a:pt x="325" y="176"/>
                    </a:lnTo>
                    <a:lnTo>
                      <a:pt x="325" y="176"/>
                    </a:lnTo>
                    <a:lnTo>
                      <a:pt x="325" y="176"/>
                    </a:lnTo>
                    <a:lnTo>
                      <a:pt x="321" y="176"/>
                    </a:lnTo>
                    <a:lnTo>
                      <a:pt x="321" y="176"/>
                    </a:lnTo>
                    <a:lnTo>
                      <a:pt x="321" y="176"/>
                    </a:lnTo>
                    <a:lnTo>
                      <a:pt x="316" y="172"/>
                    </a:lnTo>
                    <a:lnTo>
                      <a:pt x="316" y="176"/>
                    </a:lnTo>
                    <a:lnTo>
                      <a:pt x="312" y="176"/>
                    </a:lnTo>
                    <a:lnTo>
                      <a:pt x="307" y="181"/>
                    </a:lnTo>
                    <a:lnTo>
                      <a:pt x="303" y="181"/>
                    </a:lnTo>
                    <a:lnTo>
                      <a:pt x="303" y="176"/>
                    </a:lnTo>
                    <a:lnTo>
                      <a:pt x="298" y="181"/>
                    </a:lnTo>
                    <a:lnTo>
                      <a:pt x="298" y="181"/>
                    </a:lnTo>
                    <a:lnTo>
                      <a:pt x="294" y="181"/>
                    </a:lnTo>
                    <a:lnTo>
                      <a:pt x="294" y="181"/>
                    </a:lnTo>
                    <a:lnTo>
                      <a:pt x="294" y="181"/>
                    </a:lnTo>
                    <a:lnTo>
                      <a:pt x="294" y="181"/>
                    </a:lnTo>
                    <a:lnTo>
                      <a:pt x="294" y="176"/>
                    </a:lnTo>
                    <a:lnTo>
                      <a:pt x="294" y="172"/>
                    </a:lnTo>
                    <a:lnTo>
                      <a:pt x="294" y="172"/>
                    </a:lnTo>
                    <a:lnTo>
                      <a:pt x="294" y="172"/>
                    </a:lnTo>
                    <a:lnTo>
                      <a:pt x="294" y="167"/>
                    </a:lnTo>
                    <a:lnTo>
                      <a:pt x="294" y="172"/>
                    </a:lnTo>
                    <a:lnTo>
                      <a:pt x="289" y="172"/>
                    </a:lnTo>
                    <a:lnTo>
                      <a:pt x="289" y="172"/>
                    </a:lnTo>
                    <a:lnTo>
                      <a:pt x="285" y="172"/>
                    </a:lnTo>
                    <a:lnTo>
                      <a:pt x="285" y="172"/>
                    </a:lnTo>
                    <a:lnTo>
                      <a:pt x="280" y="172"/>
                    </a:lnTo>
                    <a:lnTo>
                      <a:pt x="280" y="172"/>
                    </a:lnTo>
                    <a:lnTo>
                      <a:pt x="276" y="172"/>
                    </a:lnTo>
                    <a:lnTo>
                      <a:pt x="276" y="172"/>
                    </a:lnTo>
                    <a:lnTo>
                      <a:pt x="276" y="172"/>
                    </a:lnTo>
                    <a:lnTo>
                      <a:pt x="280" y="167"/>
                    </a:lnTo>
                    <a:lnTo>
                      <a:pt x="276" y="172"/>
                    </a:lnTo>
                    <a:lnTo>
                      <a:pt x="276" y="172"/>
                    </a:lnTo>
                    <a:lnTo>
                      <a:pt x="276" y="172"/>
                    </a:lnTo>
                    <a:lnTo>
                      <a:pt x="276" y="172"/>
                    </a:lnTo>
                    <a:lnTo>
                      <a:pt x="271" y="167"/>
                    </a:lnTo>
                    <a:lnTo>
                      <a:pt x="271" y="172"/>
                    </a:lnTo>
                    <a:lnTo>
                      <a:pt x="266" y="172"/>
                    </a:lnTo>
                    <a:lnTo>
                      <a:pt x="266" y="172"/>
                    </a:lnTo>
                    <a:lnTo>
                      <a:pt x="266" y="172"/>
                    </a:lnTo>
                    <a:lnTo>
                      <a:pt x="266" y="172"/>
                    </a:lnTo>
                    <a:lnTo>
                      <a:pt x="266" y="163"/>
                    </a:lnTo>
                    <a:lnTo>
                      <a:pt x="266" y="154"/>
                    </a:lnTo>
                    <a:lnTo>
                      <a:pt x="266" y="149"/>
                    </a:lnTo>
                    <a:lnTo>
                      <a:pt x="266" y="149"/>
                    </a:lnTo>
                    <a:lnTo>
                      <a:pt x="262" y="149"/>
                    </a:lnTo>
                    <a:lnTo>
                      <a:pt x="262" y="145"/>
                    </a:lnTo>
                    <a:lnTo>
                      <a:pt x="262" y="145"/>
                    </a:lnTo>
                    <a:lnTo>
                      <a:pt x="262" y="140"/>
                    </a:lnTo>
                    <a:lnTo>
                      <a:pt x="262" y="140"/>
                    </a:lnTo>
                    <a:lnTo>
                      <a:pt x="262" y="136"/>
                    </a:lnTo>
                    <a:lnTo>
                      <a:pt x="262" y="136"/>
                    </a:lnTo>
                    <a:lnTo>
                      <a:pt x="262" y="131"/>
                    </a:lnTo>
                    <a:lnTo>
                      <a:pt x="257" y="131"/>
                    </a:lnTo>
                    <a:lnTo>
                      <a:pt x="257" y="131"/>
                    </a:lnTo>
                    <a:lnTo>
                      <a:pt x="253" y="127"/>
                    </a:lnTo>
                    <a:lnTo>
                      <a:pt x="253" y="127"/>
                    </a:lnTo>
                    <a:lnTo>
                      <a:pt x="253" y="127"/>
                    </a:lnTo>
                    <a:lnTo>
                      <a:pt x="248" y="127"/>
                    </a:lnTo>
                    <a:lnTo>
                      <a:pt x="253" y="127"/>
                    </a:lnTo>
                    <a:lnTo>
                      <a:pt x="253" y="127"/>
                    </a:lnTo>
                    <a:lnTo>
                      <a:pt x="253" y="127"/>
                    </a:lnTo>
                    <a:lnTo>
                      <a:pt x="253" y="122"/>
                    </a:lnTo>
                    <a:lnTo>
                      <a:pt x="248" y="122"/>
                    </a:lnTo>
                    <a:lnTo>
                      <a:pt x="248" y="122"/>
                    </a:lnTo>
                    <a:lnTo>
                      <a:pt x="248" y="122"/>
                    </a:lnTo>
                    <a:lnTo>
                      <a:pt x="248" y="117"/>
                    </a:lnTo>
                    <a:lnTo>
                      <a:pt x="248" y="117"/>
                    </a:lnTo>
                    <a:lnTo>
                      <a:pt x="248" y="113"/>
                    </a:lnTo>
                    <a:lnTo>
                      <a:pt x="248" y="113"/>
                    </a:lnTo>
                    <a:lnTo>
                      <a:pt x="248" y="113"/>
                    </a:lnTo>
                    <a:lnTo>
                      <a:pt x="248" y="108"/>
                    </a:lnTo>
                    <a:lnTo>
                      <a:pt x="248" y="108"/>
                    </a:lnTo>
                    <a:lnTo>
                      <a:pt x="248" y="108"/>
                    </a:lnTo>
                    <a:lnTo>
                      <a:pt x="248" y="108"/>
                    </a:lnTo>
                    <a:lnTo>
                      <a:pt x="248" y="108"/>
                    </a:lnTo>
                    <a:lnTo>
                      <a:pt x="248" y="104"/>
                    </a:lnTo>
                    <a:lnTo>
                      <a:pt x="244" y="104"/>
                    </a:lnTo>
                    <a:lnTo>
                      <a:pt x="244" y="99"/>
                    </a:lnTo>
                    <a:lnTo>
                      <a:pt x="244" y="95"/>
                    </a:lnTo>
                    <a:lnTo>
                      <a:pt x="244" y="90"/>
                    </a:lnTo>
                    <a:lnTo>
                      <a:pt x="244" y="90"/>
                    </a:lnTo>
                    <a:lnTo>
                      <a:pt x="248" y="86"/>
                    </a:lnTo>
                    <a:lnTo>
                      <a:pt x="248" y="86"/>
                    </a:lnTo>
                    <a:lnTo>
                      <a:pt x="248" y="86"/>
                    </a:lnTo>
                    <a:lnTo>
                      <a:pt x="248" y="86"/>
                    </a:lnTo>
                    <a:lnTo>
                      <a:pt x="248" y="86"/>
                    </a:lnTo>
                    <a:lnTo>
                      <a:pt x="244" y="86"/>
                    </a:lnTo>
                    <a:lnTo>
                      <a:pt x="248" y="81"/>
                    </a:lnTo>
                    <a:lnTo>
                      <a:pt x="248" y="81"/>
                    </a:lnTo>
                    <a:lnTo>
                      <a:pt x="248" y="77"/>
                    </a:lnTo>
                    <a:lnTo>
                      <a:pt x="248" y="77"/>
                    </a:lnTo>
                    <a:lnTo>
                      <a:pt x="253" y="72"/>
                    </a:lnTo>
                    <a:lnTo>
                      <a:pt x="253" y="72"/>
                    </a:lnTo>
                    <a:lnTo>
                      <a:pt x="257" y="72"/>
                    </a:lnTo>
                    <a:lnTo>
                      <a:pt x="253" y="72"/>
                    </a:lnTo>
                    <a:lnTo>
                      <a:pt x="253" y="72"/>
                    </a:lnTo>
                    <a:lnTo>
                      <a:pt x="257" y="77"/>
                    </a:lnTo>
                    <a:lnTo>
                      <a:pt x="257" y="77"/>
                    </a:lnTo>
                    <a:lnTo>
                      <a:pt x="257" y="77"/>
                    </a:lnTo>
                    <a:lnTo>
                      <a:pt x="257" y="81"/>
                    </a:lnTo>
                    <a:lnTo>
                      <a:pt x="262" y="81"/>
                    </a:lnTo>
                    <a:lnTo>
                      <a:pt x="262" y="81"/>
                    </a:lnTo>
                    <a:lnTo>
                      <a:pt x="262" y="86"/>
                    </a:lnTo>
                    <a:lnTo>
                      <a:pt x="262" y="86"/>
                    </a:lnTo>
                    <a:lnTo>
                      <a:pt x="262" y="86"/>
                    </a:lnTo>
                    <a:lnTo>
                      <a:pt x="266" y="86"/>
                    </a:lnTo>
                    <a:lnTo>
                      <a:pt x="271" y="90"/>
                    </a:lnTo>
                    <a:lnTo>
                      <a:pt x="271" y="90"/>
                    </a:lnTo>
                    <a:lnTo>
                      <a:pt x="271" y="95"/>
                    </a:lnTo>
                    <a:lnTo>
                      <a:pt x="271" y="95"/>
                    </a:lnTo>
                    <a:lnTo>
                      <a:pt x="276" y="95"/>
                    </a:lnTo>
                    <a:lnTo>
                      <a:pt x="280" y="90"/>
                    </a:lnTo>
                    <a:lnTo>
                      <a:pt x="280" y="90"/>
                    </a:lnTo>
                    <a:lnTo>
                      <a:pt x="285" y="90"/>
                    </a:lnTo>
                    <a:lnTo>
                      <a:pt x="285" y="90"/>
                    </a:lnTo>
                    <a:lnTo>
                      <a:pt x="289" y="90"/>
                    </a:lnTo>
                    <a:lnTo>
                      <a:pt x="289" y="90"/>
                    </a:lnTo>
                    <a:lnTo>
                      <a:pt x="294" y="90"/>
                    </a:lnTo>
                    <a:lnTo>
                      <a:pt x="294" y="90"/>
                    </a:lnTo>
                    <a:lnTo>
                      <a:pt x="294" y="90"/>
                    </a:lnTo>
                    <a:lnTo>
                      <a:pt x="294" y="90"/>
                    </a:lnTo>
                    <a:lnTo>
                      <a:pt x="298" y="90"/>
                    </a:lnTo>
                    <a:lnTo>
                      <a:pt x="298" y="86"/>
                    </a:lnTo>
                    <a:lnTo>
                      <a:pt x="303" y="86"/>
                    </a:lnTo>
                    <a:lnTo>
                      <a:pt x="303" y="86"/>
                    </a:lnTo>
                    <a:lnTo>
                      <a:pt x="303" y="81"/>
                    </a:lnTo>
                    <a:lnTo>
                      <a:pt x="303" y="81"/>
                    </a:lnTo>
                    <a:lnTo>
                      <a:pt x="303" y="81"/>
                    </a:lnTo>
                    <a:lnTo>
                      <a:pt x="307" y="81"/>
                    </a:lnTo>
                    <a:lnTo>
                      <a:pt x="316" y="81"/>
                    </a:lnTo>
                    <a:lnTo>
                      <a:pt x="316" y="81"/>
                    </a:lnTo>
                    <a:lnTo>
                      <a:pt x="316" y="81"/>
                    </a:lnTo>
                    <a:lnTo>
                      <a:pt x="316" y="81"/>
                    </a:lnTo>
                    <a:lnTo>
                      <a:pt x="316" y="81"/>
                    </a:lnTo>
                    <a:lnTo>
                      <a:pt x="316" y="81"/>
                    </a:lnTo>
                    <a:lnTo>
                      <a:pt x="316" y="81"/>
                    </a:lnTo>
                    <a:lnTo>
                      <a:pt x="321" y="86"/>
                    </a:lnTo>
                    <a:lnTo>
                      <a:pt x="325" y="86"/>
                    </a:lnTo>
                    <a:lnTo>
                      <a:pt x="325" y="86"/>
                    </a:lnTo>
                    <a:lnTo>
                      <a:pt x="325" y="86"/>
                    </a:lnTo>
                    <a:lnTo>
                      <a:pt x="330" y="86"/>
                    </a:lnTo>
                    <a:lnTo>
                      <a:pt x="330" y="86"/>
                    </a:lnTo>
                    <a:lnTo>
                      <a:pt x="330" y="81"/>
                    </a:lnTo>
                    <a:lnTo>
                      <a:pt x="330" y="81"/>
                    </a:lnTo>
                    <a:lnTo>
                      <a:pt x="334" y="81"/>
                    </a:lnTo>
                    <a:lnTo>
                      <a:pt x="334" y="81"/>
                    </a:lnTo>
                    <a:lnTo>
                      <a:pt x="339" y="81"/>
                    </a:lnTo>
                    <a:lnTo>
                      <a:pt x="339" y="81"/>
                    </a:lnTo>
                    <a:lnTo>
                      <a:pt x="343" y="81"/>
                    </a:lnTo>
                    <a:lnTo>
                      <a:pt x="343" y="81"/>
                    </a:lnTo>
                    <a:lnTo>
                      <a:pt x="343" y="81"/>
                    </a:lnTo>
                    <a:lnTo>
                      <a:pt x="343" y="77"/>
                    </a:lnTo>
                    <a:lnTo>
                      <a:pt x="343" y="77"/>
                    </a:lnTo>
                    <a:lnTo>
                      <a:pt x="343" y="72"/>
                    </a:lnTo>
                    <a:lnTo>
                      <a:pt x="343" y="72"/>
                    </a:lnTo>
                    <a:lnTo>
                      <a:pt x="348" y="72"/>
                    </a:lnTo>
                    <a:lnTo>
                      <a:pt x="348" y="72"/>
                    </a:lnTo>
                    <a:lnTo>
                      <a:pt x="348" y="72"/>
                    </a:lnTo>
                    <a:lnTo>
                      <a:pt x="348" y="72"/>
                    </a:lnTo>
                    <a:lnTo>
                      <a:pt x="348" y="72"/>
                    </a:lnTo>
                    <a:lnTo>
                      <a:pt x="348" y="68"/>
                    </a:lnTo>
                    <a:lnTo>
                      <a:pt x="348" y="68"/>
                    </a:lnTo>
                    <a:lnTo>
                      <a:pt x="348" y="68"/>
                    </a:lnTo>
                    <a:lnTo>
                      <a:pt x="348" y="63"/>
                    </a:lnTo>
                    <a:lnTo>
                      <a:pt x="348" y="63"/>
                    </a:lnTo>
                    <a:lnTo>
                      <a:pt x="348" y="63"/>
                    </a:lnTo>
                    <a:lnTo>
                      <a:pt x="352" y="63"/>
                    </a:lnTo>
                    <a:lnTo>
                      <a:pt x="352" y="59"/>
                    </a:lnTo>
                    <a:lnTo>
                      <a:pt x="352" y="59"/>
                    </a:lnTo>
                    <a:lnTo>
                      <a:pt x="352" y="59"/>
                    </a:lnTo>
                    <a:lnTo>
                      <a:pt x="352" y="59"/>
                    </a:lnTo>
                    <a:lnTo>
                      <a:pt x="352" y="59"/>
                    </a:lnTo>
                    <a:lnTo>
                      <a:pt x="352" y="59"/>
                    </a:lnTo>
                    <a:lnTo>
                      <a:pt x="352" y="54"/>
                    </a:lnTo>
                    <a:lnTo>
                      <a:pt x="352" y="54"/>
                    </a:lnTo>
                    <a:lnTo>
                      <a:pt x="352" y="54"/>
                    </a:lnTo>
                    <a:lnTo>
                      <a:pt x="352" y="54"/>
                    </a:lnTo>
                    <a:lnTo>
                      <a:pt x="352" y="54"/>
                    </a:lnTo>
                    <a:lnTo>
                      <a:pt x="352" y="50"/>
                    </a:lnTo>
                    <a:lnTo>
                      <a:pt x="352" y="50"/>
                    </a:lnTo>
                    <a:lnTo>
                      <a:pt x="357" y="50"/>
                    </a:lnTo>
                    <a:lnTo>
                      <a:pt x="357" y="50"/>
                    </a:lnTo>
                    <a:lnTo>
                      <a:pt x="357" y="50"/>
                    </a:lnTo>
                    <a:lnTo>
                      <a:pt x="357" y="50"/>
                    </a:lnTo>
                    <a:lnTo>
                      <a:pt x="357" y="45"/>
                    </a:lnTo>
                    <a:lnTo>
                      <a:pt x="357" y="45"/>
                    </a:lnTo>
                    <a:lnTo>
                      <a:pt x="357" y="45"/>
                    </a:lnTo>
                    <a:lnTo>
                      <a:pt x="357" y="41"/>
                    </a:lnTo>
                    <a:lnTo>
                      <a:pt x="361" y="41"/>
                    </a:lnTo>
                    <a:lnTo>
                      <a:pt x="361" y="41"/>
                    </a:lnTo>
                    <a:lnTo>
                      <a:pt x="357" y="36"/>
                    </a:lnTo>
                    <a:lnTo>
                      <a:pt x="357" y="36"/>
                    </a:lnTo>
                    <a:lnTo>
                      <a:pt x="357" y="32"/>
                    </a:lnTo>
                    <a:lnTo>
                      <a:pt x="361" y="32"/>
                    </a:lnTo>
                    <a:lnTo>
                      <a:pt x="361" y="27"/>
                    </a:lnTo>
                    <a:lnTo>
                      <a:pt x="361" y="27"/>
                    </a:lnTo>
                    <a:lnTo>
                      <a:pt x="361" y="23"/>
                    </a:lnTo>
                    <a:lnTo>
                      <a:pt x="361" y="23"/>
                    </a:lnTo>
                    <a:lnTo>
                      <a:pt x="361" y="23"/>
                    </a:lnTo>
                    <a:lnTo>
                      <a:pt x="366" y="23"/>
                    </a:lnTo>
                    <a:lnTo>
                      <a:pt x="366" y="23"/>
                    </a:lnTo>
                    <a:lnTo>
                      <a:pt x="370" y="23"/>
                    </a:lnTo>
                    <a:lnTo>
                      <a:pt x="370" y="23"/>
                    </a:lnTo>
                    <a:lnTo>
                      <a:pt x="370" y="23"/>
                    </a:lnTo>
                    <a:lnTo>
                      <a:pt x="370" y="23"/>
                    </a:lnTo>
                    <a:lnTo>
                      <a:pt x="375" y="23"/>
                    </a:lnTo>
                    <a:lnTo>
                      <a:pt x="375" y="23"/>
                    </a:lnTo>
                    <a:lnTo>
                      <a:pt x="375" y="23"/>
                    </a:lnTo>
                    <a:moveTo>
                      <a:pt x="23" y="9"/>
                    </a:moveTo>
                    <a:lnTo>
                      <a:pt x="23" y="9"/>
                    </a:lnTo>
                    <a:lnTo>
                      <a:pt x="27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14"/>
                    </a:lnTo>
                    <a:lnTo>
                      <a:pt x="50" y="14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4" y="23"/>
                    </a:lnTo>
                    <a:lnTo>
                      <a:pt x="59" y="27"/>
                    </a:lnTo>
                    <a:lnTo>
                      <a:pt x="54" y="27"/>
                    </a:lnTo>
                    <a:lnTo>
                      <a:pt x="59" y="32"/>
                    </a:lnTo>
                    <a:lnTo>
                      <a:pt x="63" y="32"/>
                    </a:lnTo>
                    <a:lnTo>
                      <a:pt x="63" y="32"/>
                    </a:lnTo>
                    <a:lnTo>
                      <a:pt x="63" y="36"/>
                    </a:lnTo>
                    <a:lnTo>
                      <a:pt x="63" y="36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72" y="41"/>
                    </a:lnTo>
                    <a:lnTo>
                      <a:pt x="81" y="45"/>
                    </a:lnTo>
                    <a:lnTo>
                      <a:pt x="81" y="50"/>
                    </a:lnTo>
                    <a:lnTo>
                      <a:pt x="86" y="50"/>
                    </a:lnTo>
                    <a:lnTo>
                      <a:pt x="86" y="54"/>
                    </a:lnTo>
                    <a:lnTo>
                      <a:pt x="90" y="54"/>
                    </a:lnTo>
                    <a:lnTo>
                      <a:pt x="90" y="59"/>
                    </a:lnTo>
                    <a:lnTo>
                      <a:pt x="95" y="63"/>
                    </a:lnTo>
                    <a:lnTo>
                      <a:pt x="95" y="63"/>
                    </a:lnTo>
                    <a:lnTo>
                      <a:pt x="95" y="63"/>
                    </a:lnTo>
                    <a:lnTo>
                      <a:pt x="95" y="68"/>
                    </a:lnTo>
                    <a:lnTo>
                      <a:pt x="99" y="68"/>
                    </a:lnTo>
                    <a:lnTo>
                      <a:pt x="99" y="68"/>
                    </a:lnTo>
                    <a:lnTo>
                      <a:pt x="99" y="68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4" y="63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13" y="77"/>
                    </a:lnTo>
                    <a:lnTo>
                      <a:pt x="113" y="77"/>
                    </a:lnTo>
                    <a:lnTo>
                      <a:pt x="117" y="77"/>
                    </a:lnTo>
                    <a:lnTo>
                      <a:pt x="117" y="77"/>
                    </a:lnTo>
                    <a:lnTo>
                      <a:pt x="117" y="77"/>
                    </a:lnTo>
                    <a:lnTo>
                      <a:pt x="122" y="81"/>
                    </a:lnTo>
                    <a:lnTo>
                      <a:pt x="126" y="86"/>
                    </a:lnTo>
                    <a:lnTo>
                      <a:pt x="126" y="86"/>
                    </a:lnTo>
                    <a:lnTo>
                      <a:pt x="126" y="90"/>
                    </a:lnTo>
                    <a:lnTo>
                      <a:pt x="126" y="90"/>
                    </a:lnTo>
                    <a:lnTo>
                      <a:pt x="126" y="90"/>
                    </a:lnTo>
                    <a:lnTo>
                      <a:pt x="131" y="95"/>
                    </a:lnTo>
                    <a:lnTo>
                      <a:pt x="131" y="95"/>
                    </a:lnTo>
                    <a:lnTo>
                      <a:pt x="135" y="95"/>
                    </a:lnTo>
                    <a:lnTo>
                      <a:pt x="140" y="95"/>
                    </a:lnTo>
                    <a:lnTo>
                      <a:pt x="140" y="99"/>
                    </a:lnTo>
                    <a:lnTo>
                      <a:pt x="140" y="99"/>
                    </a:lnTo>
                    <a:lnTo>
                      <a:pt x="145" y="99"/>
                    </a:lnTo>
                    <a:lnTo>
                      <a:pt x="140" y="104"/>
                    </a:lnTo>
                    <a:lnTo>
                      <a:pt x="135" y="104"/>
                    </a:lnTo>
                    <a:lnTo>
                      <a:pt x="135" y="108"/>
                    </a:lnTo>
                    <a:lnTo>
                      <a:pt x="135" y="104"/>
                    </a:lnTo>
                    <a:lnTo>
                      <a:pt x="140" y="104"/>
                    </a:lnTo>
                    <a:lnTo>
                      <a:pt x="140" y="104"/>
                    </a:lnTo>
                    <a:lnTo>
                      <a:pt x="145" y="104"/>
                    </a:lnTo>
                    <a:lnTo>
                      <a:pt x="145" y="99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104"/>
                    </a:lnTo>
                    <a:lnTo>
                      <a:pt x="154" y="104"/>
                    </a:lnTo>
                    <a:lnTo>
                      <a:pt x="154" y="108"/>
                    </a:lnTo>
                    <a:lnTo>
                      <a:pt x="154" y="108"/>
                    </a:lnTo>
                    <a:lnTo>
                      <a:pt x="154" y="113"/>
                    </a:lnTo>
                    <a:lnTo>
                      <a:pt x="154" y="113"/>
                    </a:lnTo>
                    <a:lnTo>
                      <a:pt x="149" y="113"/>
                    </a:lnTo>
                    <a:lnTo>
                      <a:pt x="149" y="117"/>
                    </a:lnTo>
                    <a:lnTo>
                      <a:pt x="149" y="117"/>
                    </a:lnTo>
                    <a:lnTo>
                      <a:pt x="149" y="117"/>
                    </a:lnTo>
                    <a:lnTo>
                      <a:pt x="149" y="117"/>
                    </a:lnTo>
                    <a:lnTo>
                      <a:pt x="149" y="122"/>
                    </a:lnTo>
                    <a:lnTo>
                      <a:pt x="149" y="122"/>
                    </a:lnTo>
                    <a:lnTo>
                      <a:pt x="149" y="122"/>
                    </a:lnTo>
                    <a:lnTo>
                      <a:pt x="149" y="127"/>
                    </a:lnTo>
                    <a:lnTo>
                      <a:pt x="149" y="127"/>
                    </a:lnTo>
                    <a:lnTo>
                      <a:pt x="154" y="127"/>
                    </a:lnTo>
                    <a:lnTo>
                      <a:pt x="158" y="131"/>
                    </a:lnTo>
                    <a:lnTo>
                      <a:pt x="158" y="131"/>
                    </a:lnTo>
                    <a:lnTo>
                      <a:pt x="163" y="131"/>
                    </a:lnTo>
                    <a:lnTo>
                      <a:pt x="163" y="131"/>
                    </a:lnTo>
                    <a:lnTo>
                      <a:pt x="163" y="131"/>
                    </a:lnTo>
                    <a:lnTo>
                      <a:pt x="167" y="131"/>
                    </a:lnTo>
                    <a:lnTo>
                      <a:pt x="167" y="136"/>
                    </a:lnTo>
                    <a:lnTo>
                      <a:pt x="167" y="140"/>
                    </a:lnTo>
                    <a:lnTo>
                      <a:pt x="167" y="145"/>
                    </a:lnTo>
                    <a:lnTo>
                      <a:pt x="167" y="145"/>
                    </a:lnTo>
                    <a:lnTo>
                      <a:pt x="167" y="149"/>
                    </a:lnTo>
                    <a:lnTo>
                      <a:pt x="167" y="149"/>
                    </a:lnTo>
                    <a:lnTo>
                      <a:pt x="172" y="149"/>
                    </a:lnTo>
                    <a:lnTo>
                      <a:pt x="172" y="154"/>
                    </a:lnTo>
                    <a:lnTo>
                      <a:pt x="172" y="154"/>
                    </a:lnTo>
                    <a:lnTo>
                      <a:pt x="172" y="154"/>
                    </a:lnTo>
                    <a:lnTo>
                      <a:pt x="172" y="154"/>
                    </a:lnTo>
                    <a:lnTo>
                      <a:pt x="172" y="158"/>
                    </a:lnTo>
                    <a:lnTo>
                      <a:pt x="172" y="158"/>
                    </a:lnTo>
                    <a:lnTo>
                      <a:pt x="167" y="158"/>
                    </a:lnTo>
                    <a:lnTo>
                      <a:pt x="167" y="163"/>
                    </a:lnTo>
                    <a:lnTo>
                      <a:pt x="167" y="163"/>
                    </a:lnTo>
                    <a:lnTo>
                      <a:pt x="172" y="163"/>
                    </a:lnTo>
                    <a:lnTo>
                      <a:pt x="172" y="163"/>
                    </a:lnTo>
                    <a:lnTo>
                      <a:pt x="172" y="158"/>
                    </a:lnTo>
                    <a:lnTo>
                      <a:pt x="176" y="158"/>
                    </a:lnTo>
                    <a:lnTo>
                      <a:pt x="176" y="158"/>
                    </a:lnTo>
                    <a:lnTo>
                      <a:pt x="176" y="158"/>
                    </a:lnTo>
                    <a:lnTo>
                      <a:pt x="181" y="158"/>
                    </a:lnTo>
                    <a:lnTo>
                      <a:pt x="181" y="158"/>
                    </a:lnTo>
                    <a:lnTo>
                      <a:pt x="185" y="158"/>
                    </a:lnTo>
                    <a:lnTo>
                      <a:pt x="185" y="163"/>
                    </a:lnTo>
                    <a:lnTo>
                      <a:pt x="190" y="167"/>
                    </a:lnTo>
                    <a:lnTo>
                      <a:pt x="194" y="172"/>
                    </a:lnTo>
                    <a:lnTo>
                      <a:pt x="194" y="176"/>
                    </a:lnTo>
                    <a:lnTo>
                      <a:pt x="194" y="176"/>
                    </a:lnTo>
                    <a:lnTo>
                      <a:pt x="194" y="176"/>
                    </a:lnTo>
                    <a:lnTo>
                      <a:pt x="190" y="181"/>
                    </a:lnTo>
                    <a:lnTo>
                      <a:pt x="190" y="181"/>
                    </a:lnTo>
                    <a:lnTo>
                      <a:pt x="190" y="185"/>
                    </a:lnTo>
                    <a:lnTo>
                      <a:pt x="190" y="185"/>
                    </a:lnTo>
                    <a:lnTo>
                      <a:pt x="190" y="185"/>
                    </a:lnTo>
                    <a:lnTo>
                      <a:pt x="190" y="185"/>
                    </a:lnTo>
                    <a:lnTo>
                      <a:pt x="190" y="190"/>
                    </a:lnTo>
                    <a:lnTo>
                      <a:pt x="190" y="194"/>
                    </a:lnTo>
                    <a:lnTo>
                      <a:pt x="190" y="194"/>
                    </a:lnTo>
                    <a:lnTo>
                      <a:pt x="190" y="203"/>
                    </a:lnTo>
                    <a:lnTo>
                      <a:pt x="190" y="203"/>
                    </a:lnTo>
                    <a:lnTo>
                      <a:pt x="190" y="208"/>
                    </a:lnTo>
                    <a:lnTo>
                      <a:pt x="190" y="212"/>
                    </a:lnTo>
                    <a:lnTo>
                      <a:pt x="185" y="226"/>
                    </a:lnTo>
                    <a:lnTo>
                      <a:pt x="185" y="226"/>
                    </a:lnTo>
                    <a:lnTo>
                      <a:pt x="185" y="226"/>
                    </a:lnTo>
                    <a:lnTo>
                      <a:pt x="185" y="226"/>
                    </a:lnTo>
                    <a:lnTo>
                      <a:pt x="185" y="226"/>
                    </a:lnTo>
                    <a:lnTo>
                      <a:pt x="181" y="226"/>
                    </a:lnTo>
                    <a:lnTo>
                      <a:pt x="181" y="226"/>
                    </a:lnTo>
                    <a:lnTo>
                      <a:pt x="181" y="226"/>
                    </a:lnTo>
                    <a:lnTo>
                      <a:pt x="181" y="221"/>
                    </a:lnTo>
                    <a:lnTo>
                      <a:pt x="176" y="221"/>
                    </a:lnTo>
                    <a:lnTo>
                      <a:pt x="176" y="226"/>
                    </a:lnTo>
                    <a:lnTo>
                      <a:pt x="172" y="226"/>
                    </a:lnTo>
                    <a:lnTo>
                      <a:pt x="172" y="226"/>
                    </a:lnTo>
                    <a:lnTo>
                      <a:pt x="172" y="226"/>
                    </a:lnTo>
                    <a:lnTo>
                      <a:pt x="167" y="221"/>
                    </a:lnTo>
                    <a:lnTo>
                      <a:pt x="167" y="221"/>
                    </a:lnTo>
                    <a:lnTo>
                      <a:pt x="167" y="221"/>
                    </a:lnTo>
                    <a:lnTo>
                      <a:pt x="167" y="226"/>
                    </a:lnTo>
                    <a:lnTo>
                      <a:pt x="167" y="231"/>
                    </a:lnTo>
                    <a:lnTo>
                      <a:pt x="167" y="231"/>
                    </a:lnTo>
                    <a:lnTo>
                      <a:pt x="167" y="231"/>
                    </a:lnTo>
                    <a:lnTo>
                      <a:pt x="163" y="226"/>
                    </a:lnTo>
                    <a:lnTo>
                      <a:pt x="163" y="226"/>
                    </a:lnTo>
                    <a:lnTo>
                      <a:pt x="158" y="221"/>
                    </a:lnTo>
                    <a:lnTo>
                      <a:pt x="158" y="221"/>
                    </a:lnTo>
                    <a:lnTo>
                      <a:pt x="158" y="217"/>
                    </a:lnTo>
                    <a:lnTo>
                      <a:pt x="154" y="212"/>
                    </a:lnTo>
                    <a:lnTo>
                      <a:pt x="154" y="212"/>
                    </a:lnTo>
                    <a:lnTo>
                      <a:pt x="145" y="208"/>
                    </a:lnTo>
                    <a:lnTo>
                      <a:pt x="145" y="208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5" y="199"/>
                    </a:lnTo>
                    <a:lnTo>
                      <a:pt x="131" y="194"/>
                    </a:lnTo>
                    <a:lnTo>
                      <a:pt x="126" y="190"/>
                    </a:lnTo>
                    <a:lnTo>
                      <a:pt x="126" y="185"/>
                    </a:lnTo>
                    <a:lnTo>
                      <a:pt x="126" y="181"/>
                    </a:lnTo>
                    <a:lnTo>
                      <a:pt x="117" y="176"/>
                    </a:lnTo>
                    <a:lnTo>
                      <a:pt x="117" y="176"/>
                    </a:lnTo>
                    <a:lnTo>
                      <a:pt x="117" y="172"/>
                    </a:lnTo>
                    <a:lnTo>
                      <a:pt x="113" y="167"/>
                    </a:lnTo>
                    <a:lnTo>
                      <a:pt x="113" y="167"/>
                    </a:lnTo>
                    <a:lnTo>
                      <a:pt x="113" y="167"/>
                    </a:lnTo>
                    <a:lnTo>
                      <a:pt x="108" y="163"/>
                    </a:lnTo>
                    <a:lnTo>
                      <a:pt x="108" y="163"/>
                    </a:lnTo>
                    <a:lnTo>
                      <a:pt x="104" y="158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4" y="149"/>
                    </a:lnTo>
                    <a:lnTo>
                      <a:pt x="95" y="136"/>
                    </a:lnTo>
                    <a:lnTo>
                      <a:pt x="95" y="131"/>
                    </a:lnTo>
                    <a:lnTo>
                      <a:pt x="95" y="127"/>
                    </a:lnTo>
                    <a:lnTo>
                      <a:pt x="95" y="127"/>
                    </a:lnTo>
                    <a:lnTo>
                      <a:pt x="90" y="122"/>
                    </a:lnTo>
                    <a:lnTo>
                      <a:pt x="90" y="122"/>
                    </a:lnTo>
                    <a:lnTo>
                      <a:pt x="86" y="117"/>
                    </a:lnTo>
                    <a:lnTo>
                      <a:pt x="86" y="117"/>
                    </a:lnTo>
                    <a:lnTo>
                      <a:pt x="86" y="113"/>
                    </a:lnTo>
                    <a:lnTo>
                      <a:pt x="81" y="108"/>
                    </a:lnTo>
                    <a:lnTo>
                      <a:pt x="81" y="108"/>
                    </a:lnTo>
                    <a:lnTo>
                      <a:pt x="77" y="108"/>
                    </a:lnTo>
                    <a:lnTo>
                      <a:pt x="77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99"/>
                    </a:lnTo>
                    <a:lnTo>
                      <a:pt x="72" y="90"/>
                    </a:lnTo>
                    <a:lnTo>
                      <a:pt x="68" y="81"/>
                    </a:lnTo>
                    <a:lnTo>
                      <a:pt x="68" y="77"/>
                    </a:lnTo>
                    <a:lnTo>
                      <a:pt x="63" y="72"/>
                    </a:lnTo>
                    <a:lnTo>
                      <a:pt x="63" y="72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63"/>
                    </a:lnTo>
                    <a:lnTo>
                      <a:pt x="45" y="63"/>
                    </a:lnTo>
                    <a:lnTo>
                      <a:pt x="45" y="59"/>
                    </a:lnTo>
                    <a:lnTo>
                      <a:pt x="45" y="54"/>
                    </a:lnTo>
                    <a:lnTo>
                      <a:pt x="45" y="54"/>
                    </a:lnTo>
                    <a:lnTo>
                      <a:pt x="41" y="54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41" y="45"/>
                    </a:lnTo>
                    <a:lnTo>
                      <a:pt x="36" y="41"/>
                    </a:lnTo>
                    <a:lnTo>
                      <a:pt x="32" y="41"/>
                    </a:lnTo>
                    <a:lnTo>
                      <a:pt x="32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18" y="2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9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3" y="9"/>
                    </a:lnTo>
                    <a:lnTo>
                      <a:pt x="23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55" name="Freeform 76"/>
              <p:cNvSpPr>
                <a:spLocks noEditPoints="1"/>
              </p:cNvSpPr>
              <p:nvPr/>
            </p:nvSpPr>
            <p:spPr bwMode="auto">
              <a:xfrm>
                <a:off x="6099176" y="1862139"/>
                <a:ext cx="746125" cy="839788"/>
              </a:xfrm>
              <a:custGeom>
                <a:avLst/>
                <a:gdLst>
                  <a:gd name="T0" fmla="*/ 452 w 470"/>
                  <a:gd name="T1" fmla="*/ 434 h 529"/>
                  <a:gd name="T2" fmla="*/ 456 w 470"/>
                  <a:gd name="T3" fmla="*/ 443 h 529"/>
                  <a:gd name="T4" fmla="*/ 145 w 470"/>
                  <a:gd name="T5" fmla="*/ 81 h 529"/>
                  <a:gd name="T6" fmla="*/ 167 w 470"/>
                  <a:gd name="T7" fmla="*/ 86 h 529"/>
                  <a:gd name="T8" fmla="*/ 181 w 470"/>
                  <a:gd name="T9" fmla="*/ 104 h 529"/>
                  <a:gd name="T10" fmla="*/ 194 w 470"/>
                  <a:gd name="T11" fmla="*/ 135 h 529"/>
                  <a:gd name="T12" fmla="*/ 239 w 470"/>
                  <a:gd name="T13" fmla="*/ 153 h 529"/>
                  <a:gd name="T14" fmla="*/ 271 w 470"/>
                  <a:gd name="T15" fmla="*/ 163 h 529"/>
                  <a:gd name="T16" fmla="*/ 307 w 470"/>
                  <a:gd name="T17" fmla="*/ 172 h 529"/>
                  <a:gd name="T18" fmla="*/ 316 w 470"/>
                  <a:gd name="T19" fmla="*/ 140 h 529"/>
                  <a:gd name="T20" fmla="*/ 330 w 470"/>
                  <a:gd name="T21" fmla="*/ 158 h 529"/>
                  <a:gd name="T22" fmla="*/ 366 w 470"/>
                  <a:gd name="T23" fmla="*/ 163 h 529"/>
                  <a:gd name="T24" fmla="*/ 384 w 470"/>
                  <a:gd name="T25" fmla="*/ 149 h 529"/>
                  <a:gd name="T26" fmla="*/ 388 w 470"/>
                  <a:gd name="T27" fmla="*/ 135 h 529"/>
                  <a:gd name="T28" fmla="*/ 411 w 470"/>
                  <a:gd name="T29" fmla="*/ 113 h 529"/>
                  <a:gd name="T30" fmla="*/ 443 w 470"/>
                  <a:gd name="T31" fmla="*/ 108 h 529"/>
                  <a:gd name="T32" fmla="*/ 447 w 470"/>
                  <a:gd name="T33" fmla="*/ 126 h 529"/>
                  <a:gd name="T34" fmla="*/ 461 w 470"/>
                  <a:gd name="T35" fmla="*/ 140 h 529"/>
                  <a:gd name="T36" fmla="*/ 438 w 470"/>
                  <a:gd name="T37" fmla="*/ 167 h 529"/>
                  <a:gd name="T38" fmla="*/ 438 w 470"/>
                  <a:gd name="T39" fmla="*/ 194 h 529"/>
                  <a:gd name="T40" fmla="*/ 425 w 470"/>
                  <a:gd name="T41" fmla="*/ 221 h 529"/>
                  <a:gd name="T42" fmla="*/ 425 w 470"/>
                  <a:gd name="T43" fmla="*/ 253 h 529"/>
                  <a:gd name="T44" fmla="*/ 402 w 470"/>
                  <a:gd name="T45" fmla="*/ 221 h 529"/>
                  <a:gd name="T46" fmla="*/ 393 w 470"/>
                  <a:gd name="T47" fmla="*/ 235 h 529"/>
                  <a:gd name="T48" fmla="*/ 398 w 470"/>
                  <a:gd name="T49" fmla="*/ 208 h 529"/>
                  <a:gd name="T50" fmla="*/ 370 w 470"/>
                  <a:gd name="T51" fmla="*/ 194 h 529"/>
                  <a:gd name="T52" fmla="*/ 343 w 470"/>
                  <a:gd name="T53" fmla="*/ 176 h 529"/>
                  <a:gd name="T54" fmla="*/ 325 w 470"/>
                  <a:gd name="T55" fmla="*/ 167 h 529"/>
                  <a:gd name="T56" fmla="*/ 339 w 470"/>
                  <a:gd name="T57" fmla="*/ 190 h 529"/>
                  <a:gd name="T58" fmla="*/ 339 w 470"/>
                  <a:gd name="T59" fmla="*/ 208 h 529"/>
                  <a:gd name="T60" fmla="*/ 352 w 470"/>
                  <a:gd name="T61" fmla="*/ 244 h 529"/>
                  <a:gd name="T62" fmla="*/ 352 w 470"/>
                  <a:gd name="T63" fmla="*/ 253 h 529"/>
                  <a:gd name="T64" fmla="*/ 343 w 470"/>
                  <a:gd name="T65" fmla="*/ 257 h 529"/>
                  <a:gd name="T66" fmla="*/ 321 w 470"/>
                  <a:gd name="T67" fmla="*/ 298 h 529"/>
                  <a:gd name="T68" fmla="*/ 294 w 470"/>
                  <a:gd name="T69" fmla="*/ 321 h 529"/>
                  <a:gd name="T70" fmla="*/ 244 w 470"/>
                  <a:gd name="T71" fmla="*/ 370 h 529"/>
                  <a:gd name="T72" fmla="*/ 235 w 470"/>
                  <a:gd name="T73" fmla="*/ 416 h 529"/>
                  <a:gd name="T74" fmla="*/ 235 w 470"/>
                  <a:gd name="T75" fmla="*/ 474 h 529"/>
                  <a:gd name="T76" fmla="*/ 208 w 470"/>
                  <a:gd name="T77" fmla="*/ 511 h 529"/>
                  <a:gd name="T78" fmla="*/ 176 w 470"/>
                  <a:gd name="T79" fmla="*/ 502 h 529"/>
                  <a:gd name="T80" fmla="*/ 140 w 470"/>
                  <a:gd name="T81" fmla="*/ 434 h 529"/>
                  <a:gd name="T82" fmla="*/ 117 w 470"/>
                  <a:gd name="T83" fmla="*/ 384 h 529"/>
                  <a:gd name="T84" fmla="*/ 95 w 470"/>
                  <a:gd name="T85" fmla="*/ 316 h 529"/>
                  <a:gd name="T86" fmla="*/ 86 w 470"/>
                  <a:gd name="T87" fmla="*/ 271 h 529"/>
                  <a:gd name="T88" fmla="*/ 72 w 470"/>
                  <a:gd name="T89" fmla="*/ 257 h 529"/>
                  <a:gd name="T90" fmla="*/ 41 w 470"/>
                  <a:gd name="T91" fmla="*/ 280 h 529"/>
                  <a:gd name="T92" fmla="*/ 41 w 470"/>
                  <a:gd name="T93" fmla="*/ 244 h 529"/>
                  <a:gd name="T94" fmla="*/ 4 w 470"/>
                  <a:gd name="T95" fmla="*/ 230 h 529"/>
                  <a:gd name="T96" fmla="*/ 23 w 470"/>
                  <a:gd name="T97" fmla="*/ 217 h 529"/>
                  <a:gd name="T98" fmla="*/ 45 w 470"/>
                  <a:gd name="T99" fmla="*/ 217 h 529"/>
                  <a:gd name="T100" fmla="*/ 27 w 470"/>
                  <a:gd name="T101" fmla="*/ 185 h 529"/>
                  <a:gd name="T102" fmla="*/ 23 w 470"/>
                  <a:gd name="T103" fmla="*/ 149 h 529"/>
                  <a:gd name="T104" fmla="*/ 54 w 470"/>
                  <a:gd name="T105" fmla="*/ 131 h 529"/>
                  <a:gd name="T106" fmla="*/ 81 w 470"/>
                  <a:gd name="T107" fmla="*/ 86 h 529"/>
                  <a:gd name="T108" fmla="*/ 72 w 470"/>
                  <a:gd name="T109" fmla="*/ 59 h 529"/>
                  <a:gd name="T110" fmla="*/ 59 w 470"/>
                  <a:gd name="T111" fmla="*/ 40 h 529"/>
                  <a:gd name="T112" fmla="*/ 50 w 470"/>
                  <a:gd name="T113" fmla="*/ 22 h 529"/>
                  <a:gd name="T114" fmla="*/ 95 w 470"/>
                  <a:gd name="T115" fmla="*/ 13 h 529"/>
                  <a:gd name="T116" fmla="*/ 117 w 470"/>
                  <a:gd name="T117" fmla="*/ 9 h 529"/>
                  <a:gd name="T118" fmla="*/ 140 w 470"/>
                  <a:gd name="T119" fmla="*/ 40 h 529"/>
                  <a:gd name="T120" fmla="*/ 140 w 470"/>
                  <a:gd name="T121" fmla="*/ 54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0" h="529">
                    <a:moveTo>
                      <a:pt x="456" y="456"/>
                    </a:moveTo>
                    <a:lnTo>
                      <a:pt x="456" y="456"/>
                    </a:lnTo>
                    <a:lnTo>
                      <a:pt x="456" y="461"/>
                    </a:lnTo>
                    <a:lnTo>
                      <a:pt x="452" y="456"/>
                    </a:lnTo>
                    <a:lnTo>
                      <a:pt x="452" y="456"/>
                    </a:lnTo>
                    <a:lnTo>
                      <a:pt x="452" y="452"/>
                    </a:lnTo>
                    <a:lnTo>
                      <a:pt x="452" y="452"/>
                    </a:lnTo>
                    <a:lnTo>
                      <a:pt x="452" y="452"/>
                    </a:lnTo>
                    <a:lnTo>
                      <a:pt x="452" y="452"/>
                    </a:lnTo>
                    <a:lnTo>
                      <a:pt x="452" y="447"/>
                    </a:lnTo>
                    <a:lnTo>
                      <a:pt x="452" y="447"/>
                    </a:lnTo>
                    <a:lnTo>
                      <a:pt x="452" y="447"/>
                    </a:lnTo>
                    <a:lnTo>
                      <a:pt x="452" y="443"/>
                    </a:lnTo>
                    <a:lnTo>
                      <a:pt x="452" y="443"/>
                    </a:lnTo>
                    <a:lnTo>
                      <a:pt x="456" y="443"/>
                    </a:lnTo>
                    <a:lnTo>
                      <a:pt x="452" y="443"/>
                    </a:lnTo>
                    <a:lnTo>
                      <a:pt x="452" y="443"/>
                    </a:lnTo>
                    <a:lnTo>
                      <a:pt x="452" y="443"/>
                    </a:lnTo>
                    <a:lnTo>
                      <a:pt x="452" y="438"/>
                    </a:lnTo>
                    <a:lnTo>
                      <a:pt x="452" y="438"/>
                    </a:lnTo>
                    <a:lnTo>
                      <a:pt x="452" y="438"/>
                    </a:lnTo>
                    <a:lnTo>
                      <a:pt x="452" y="434"/>
                    </a:lnTo>
                    <a:lnTo>
                      <a:pt x="452" y="434"/>
                    </a:lnTo>
                    <a:lnTo>
                      <a:pt x="452" y="434"/>
                    </a:lnTo>
                    <a:lnTo>
                      <a:pt x="452" y="429"/>
                    </a:lnTo>
                    <a:lnTo>
                      <a:pt x="452" y="429"/>
                    </a:lnTo>
                    <a:lnTo>
                      <a:pt x="452" y="425"/>
                    </a:lnTo>
                    <a:lnTo>
                      <a:pt x="452" y="425"/>
                    </a:lnTo>
                    <a:lnTo>
                      <a:pt x="452" y="420"/>
                    </a:lnTo>
                    <a:lnTo>
                      <a:pt x="456" y="420"/>
                    </a:lnTo>
                    <a:lnTo>
                      <a:pt x="456" y="420"/>
                    </a:lnTo>
                    <a:lnTo>
                      <a:pt x="456" y="420"/>
                    </a:lnTo>
                    <a:lnTo>
                      <a:pt x="456" y="420"/>
                    </a:lnTo>
                    <a:lnTo>
                      <a:pt x="456" y="425"/>
                    </a:lnTo>
                    <a:lnTo>
                      <a:pt x="456" y="425"/>
                    </a:lnTo>
                    <a:lnTo>
                      <a:pt x="456" y="425"/>
                    </a:lnTo>
                    <a:lnTo>
                      <a:pt x="456" y="425"/>
                    </a:lnTo>
                    <a:lnTo>
                      <a:pt x="456" y="429"/>
                    </a:lnTo>
                    <a:lnTo>
                      <a:pt x="456" y="429"/>
                    </a:lnTo>
                    <a:lnTo>
                      <a:pt x="456" y="429"/>
                    </a:lnTo>
                    <a:lnTo>
                      <a:pt x="456" y="429"/>
                    </a:lnTo>
                    <a:lnTo>
                      <a:pt x="456" y="434"/>
                    </a:lnTo>
                    <a:lnTo>
                      <a:pt x="456" y="438"/>
                    </a:lnTo>
                    <a:lnTo>
                      <a:pt x="456" y="438"/>
                    </a:lnTo>
                    <a:lnTo>
                      <a:pt x="456" y="443"/>
                    </a:lnTo>
                    <a:lnTo>
                      <a:pt x="456" y="443"/>
                    </a:lnTo>
                    <a:lnTo>
                      <a:pt x="456" y="447"/>
                    </a:lnTo>
                    <a:lnTo>
                      <a:pt x="456" y="447"/>
                    </a:lnTo>
                    <a:lnTo>
                      <a:pt x="456" y="447"/>
                    </a:lnTo>
                    <a:lnTo>
                      <a:pt x="456" y="447"/>
                    </a:lnTo>
                    <a:lnTo>
                      <a:pt x="456" y="452"/>
                    </a:lnTo>
                    <a:lnTo>
                      <a:pt x="456" y="452"/>
                    </a:lnTo>
                    <a:lnTo>
                      <a:pt x="456" y="452"/>
                    </a:lnTo>
                    <a:lnTo>
                      <a:pt x="456" y="452"/>
                    </a:lnTo>
                    <a:lnTo>
                      <a:pt x="456" y="456"/>
                    </a:lnTo>
                    <a:lnTo>
                      <a:pt x="456" y="456"/>
                    </a:lnTo>
                    <a:moveTo>
                      <a:pt x="140" y="68"/>
                    </a:moveTo>
                    <a:lnTo>
                      <a:pt x="140" y="68"/>
                    </a:lnTo>
                    <a:lnTo>
                      <a:pt x="140" y="68"/>
                    </a:lnTo>
                    <a:lnTo>
                      <a:pt x="140" y="68"/>
                    </a:lnTo>
                    <a:lnTo>
                      <a:pt x="140" y="68"/>
                    </a:lnTo>
                    <a:lnTo>
                      <a:pt x="140" y="72"/>
                    </a:lnTo>
                    <a:lnTo>
                      <a:pt x="140" y="72"/>
                    </a:lnTo>
                    <a:lnTo>
                      <a:pt x="145" y="72"/>
                    </a:lnTo>
                    <a:lnTo>
                      <a:pt x="145" y="72"/>
                    </a:lnTo>
                    <a:lnTo>
                      <a:pt x="145" y="77"/>
                    </a:lnTo>
                    <a:lnTo>
                      <a:pt x="145" y="77"/>
                    </a:lnTo>
                    <a:lnTo>
                      <a:pt x="145" y="77"/>
                    </a:lnTo>
                    <a:lnTo>
                      <a:pt x="145" y="81"/>
                    </a:lnTo>
                    <a:lnTo>
                      <a:pt x="145" y="81"/>
                    </a:lnTo>
                    <a:lnTo>
                      <a:pt x="145" y="81"/>
                    </a:lnTo>
                    <a:lnTo>
                      <a:pt x="149" y="81"/>
                    </a:lnTo>
                    <a:lnTo>
                      <a:pt x="149" y="81"/>
                    </a:lnTo>
                    <a:lnTo>
                      <a:pt x="149" y="81"/>
                    </a:lnTo>
                    <a:lnTo>
                      <a:pt x="149" y="81"/>
                    </a:lnTo>
                    <a:lnTo>
                      <a:pt x="149" y="81"/>
                    </a:lnTo>
                    <a:lnTo>
                      <a:pt x="149" y="81"/>
                    </a:lnTo>
                    <a:lnTo>
                      <a:pt x="149" y="81"/>
                    </a:lnTo>
                    <a:lnTo>
                      <a:pt x="149" y="77"/>
                    </a:lnTo>
                    <a:lnTo>
                      <a:pt x="149" y="77"/>
                    </a:lnTo>
                    <a:lnTo>
                      <a:pt x="149" y="77"/>
                    </a:lnTo>
                    <a:lnTo>
                      <a:pt x="154" y="81"/>
                    </a:lnTo>
                    <a:lnTo>
                      <a:pt x="158" y="86"/>
                    </a:lnTo>
                    <a:lnTo>
                      <a:pt x="158" y="86"/>
                    </a:lnTo>
                    <a:lnTo>
                      <a:pt x="158" y="86"/>
                    </a:lnTo>
                    <a:lnTo>
                      <a:pt x="158" y="86"/>
                    </a:lnTo>
                    <a:lnTo>
                      <a:pt x="158" y="86"/>
                    </a:lnTo>
                    <a:lnTo>
                      <a:pt x="158" y="86"/>
                    </a:lnTo>
                    <a:lnTo>
                      <a:pt x="163" y="86"/>
                    </a:lnTo>
                    <a:lnTo>
                      <a:pt x="163" y="86"/>
                    </a:lnTo>
                    <a:lnTo>
                      <a:pt x="167" y="86"/>
                    </a:lnTo>
                    <a:lnTo>
                      <a:pt x="167" y="86"/>
                    </a:lnTo>
                    <a:lnTo>
                      <a:pt x="167" y="86"/>
                    </a:lnTo>
                    <a:lnTo>
                      <a:pt x="167" y="86"/>
                    </a:lnTo>
                    <a:lnTo>
                      <a:pt x="172" y="90"/>
                    </a:lnTo>
                    <a:lnTo>
                      <a:pt x="172" y="90"/>
                    </a:lnTo>
                    <a:lnTo>
                      <a:pt x="172" y="90"/>
                    </a:lnTo>
                    <a:lnTo>
                      <a:pt x="172" y="90"/>
                    </a:lnTo>
                    <a:lnTo>
                      <a:pt x="172" y="95"/>
                    </a:lnTo>
                    <a:lnTo>
                      <a:pt x="172" y="95"/>
                    </a:lnTo>
                    <a:lnTo>
                      <a:pt x="172" y="95"/>
                    </a:lnTo>
                    <a:lnTo>
                      <a:pt x="176" y="95"/>
                    </a:lnTo>
                    <a:lnTo>
                      <a:pt x="181" y="95"/>
                    </a:lnTo>
                    <a:lnTo>
                      <a:pt x="181" y="95"/>
                    </a:lnTo>
                    <a:lnTo>
                      <a:pt x="181" y="95"/>
                    </a:lnTo>
                    <a:lnTo>
                      <a:pt x="181" y="99"/>
                    </a:lnTo>
                    <a:lnTo>
                      <a:pt x="185" y="99"/>
                    </a:lnTo>
                    <a:lnTo>
                      <a:pt x="185" y="99"/>
                    </a:lnTo>
                    <a:lnTo>
                      <a:pt x="190" y="99"/>
                    </a:lnTo>
                    <a:lnTo>
                      <a:pt x="185" y="99"/>
                    </a:lnTo>
                    <a:lnTo>
                      <a:pt x="185" y="99"/>
                    </a:lnTo>
                    <a:lnTo>
                      <a:pt x="185" y="99"/>
                    </a:lnTo>
                    <a:lnTo>
                      <a:pt x="185" y="104"/>
                    </a:lnTo>
                    <a:lnTo>
                      <a:pt x="185" y="104"/>
                    </a:lnTo>
                    <a:lnTo>
                      <a:pt x="181" y="104"/>
                    </a:lnTo>
                    <a:lnTo>
                      <a:pt x="181" y="108"/>
                    </a:lnTo>
                    <a:lnTo>
                      <a:pt x="181" y="108"/>
                    </a:lnTo>
                    <a:lnTo>
                      <a:pt x="181" y="113"/>
                    </a:lnTo>
                    <a:lnTo>
                      <a:pt x="181" y="117"/>
                    </a:lnTo>
                    <a:lnTo>
                      <a:pt x="181" y="117"/>
                    </a:lnTo>
                    <a:lnTo>
                      <a:pt x="181" y="122"/>
                    </a:lnTo>
                    <a:lnTo>
                      <a:pt x="181" y="122"/>
                    </a:lnTo>
                    <a:lnTo>
                      <a:pt x="181" y="122"/>
                    </a:lnTo>
                    <a:lnTo>
                      <a:pt x="176" y="122"/>
                    </a:lnTo>
                    <a:lnTo>
                      <a:pt x="181" y="126"/>
                    </a:lnTo>
                    <a:lnTo>
                      <a:pt x="181" y="126"/>
                    </a:lnTo>
                    <a:lnTo>
                      <a:pt x="181" y="126"/>
                    </a:lnTo>
                    <a:lnTo>
                      <a:pt x="181" y="131"/>
                    </a:lnTo>
                    <a:lnTo>
                      <a:pt x="185" y="131"/>
                    </a:lnTo>
                    <a:lnTo>
                      <a:pt x="185" y="131"/>
                    </a:lnTo>
                    <a:lnTo>
                      <a:pt x="185" y="131"/>
                    </a:lnTo>
                    <a:lnTo>
                      <a:pt x="185" y="131"/>
                    </a:lnTo>
                    <a:lnTo>
                      <a:pt x="185" y="131"/>
                    </a:lnTo>
                    <a:lnTo>
                      <a:pt x="190" y="131"/>
                    </a:lnTo>
                    <a:lnTo>
                      <a:pt x="190" y="131"/>
                    </a:lnTo>
                    <a:lnTo>
                      <a:pt x="190" y="131"/>
                    </a:lnTo>
                    <a:lnTo>
                      <a:pt x="190" y="131"/>
                    </a:lnTo>
                    <a:lnTo>
                      <a:pt x="194" y="135"/>
                    </a:lnTo>
                    <a:lnTo>
                      <a:pt x="199" y="135"/>
                    </a:lnTo>
                    <a:lnTo>
                      <a:pt x="199" y="135"/>
                    </a:lnTo>
                    <a:lnTo>
                      <a:pt x="199" y="135"/>
                    </a:lnTo>
                    <a:lnTo>
                      <a:pt x="199" y="140"/>
                    </a:lnTo>
                    <a:lnTo>
                      <a:pt x="203" y="140"/>
                    </a:lnTo>
                    <a:lnTo>
                      <a:pt x="208" y="140"/>
                    </a:lnTo>
                    <a:lnTo>
                      <a:pt x="208" y="144"/>
                    </a:lnTo>
                    <a:lnTo>
                      <a:pt x="212" y="144"/>
                    </a:lnTo>
                    <a:lnTo>
                      <a:pt x="212" y="144"/>
                    </a:lnTo>
                    <a:lnTo>
                      <a:pt x="212" y="144"/>
                    </a:lnTo>
                    <a:lnTo>
                      <a:pt x="212" y="144"/>
                    </a:lnTo>
                    <a:lnTo>
                      <a:pt x="217" y="144"/>
                    </a:lnTo>
                    <a:lnTo>
                      <a:pt x="217" y="144"/>
                    </a:lnTo>
                    <a:lnTo>
                      <a:pt x="217" y="144"/>
                    </a:lnTo>
                    <a:lnTo>
                      <a:pt x="221" y="144"/>
                    </a:lnTo>
                    <a:lnTo>
                      <a:pt x="226" y="149"/>
                    </a:lnTo>
                    <a:lnTo>
                      <a:pt x="226" y="149"/>
                    </a:lnTo>
                    <a:lnTo>
                      <a:pt x="226" y="149"/>
                    </a:lnTo>
                    <a:lnTo>
                      <a:pt x="230" y="149"/>
                    </a:lnTo>
                    <a:lnTo>
                      <a:pt x="230" y="149"/>
                    </a:lnTo>
                    <a:lnTo>
                      <a:pt x="230" y="153"/>
                    </a:lnTo>
                    <a:lnTo>
                      <a:pt x="235" y="153"/>
                    </a:lnTo>
                    <a:lnTo>
                      <a:pt x="239" y="153"/>
                    </a:lnTo>
                    <a:lnTo>
                      <a:pt x="239" y="153"/>
                    </a:lnTo>
                    <a:lnTo>
                      <a:pt x="239" y="153"/>
                    </a:lnTo>
                    <a:lnTo>
                      <a:pt x="239" y="153"/>
                    </a:lnTo>
                    <a:lnTo>
                      <a:pt x="239" y="153"/>
                    </a:lnTo>
                    <a:lnTo>
                      <a:pt x="244" y="153"/>
                    </a:lnTo>
                    <a:lnTo>
                      <a:pt x="248" y="153"/>
                    </a:lnTo>
                    <a:lnTo>
                      <a:pt x="248" y="153"/>
                    </a:lnTo>
                    <a:lnTo>
                      <a:pt x="248" y="153"/>
                    </a:lnTo>
                    <a:lnTo>
                      <a:pt x="248" y="153"/>
                    </a:lnTo>
                    <a:lnTo>
                      <a:pt x="253" y="149"/>
                    </a:lnTo>
                    <a:lnTo>
                      <a:pt x="253" y="153"/>
                    </a:lnTo>
                    <a:lnTo>
                      <a:pt x="257" y="153"/>
                    </a:lnTo>
                    <a:lnTo>
                      <a:pt x="262" y="153"/>
                    </a:lnTo>
                    <a:lnTo>
                      <a:pt x="262" y="153"/>
                    </a:lnTo>
                    <a:lnTo>
                      <a:pt x="262" y="158"/>
                    </a:lnTo>
                    <a:lnTo>
                      <a:pt x="262" y="158"/>
                    </a:lnTo>
                    <a:lnTo>
                      <a:pt x="262" y="158"/>
                    </a:lnTo>
                    <a:lnTo>
                      <a:pt x="267" y="163"/>
                    </a:lnTo>
                    <a:lnTo>
                      <a:pt x="271" y="163"/>
                    </a:lnTo>
                    <a:lnTo>
                      <a:pt x="271" y="163"/>
                    </a:lnTo>
                    <a:lnTo>
                      <a:pt x="271" y="163"/>
                    </a:lnTo>
                    <a:lnTo>
                      <a:pt x="271" y="163"/>
                    </a:lnTo>
                    <a:lnTo>
                      <a:pt x="271" y="163"/>
                    </a:lnTo>
                    <a:lnTo>
                      <a:pt x="271" y="163"/>
                    </a:lnTo>
                    <a:lnTo>
                      <a:pt x="276" y="163"/>
                    </a:lnTo>
                    <a:lnTo>
                      <a:pt x="276" y="167"/>
                    </a:lnTo>
                    <a:lnTo>
                      <a:pt x="276" y="163"/>
                    </a:lnTo>
                    <a:lnTo>
                      <a:pt x="280" y="163"/>
                    </a:lnTo>
                    <a:lnTo>
                      <a:pt x="280" y="163"/>
                    </a:lnTo>
                    <a:lnTo>
                      <a:pt x="280" y="163"/>
                    </a:lnTo>
                    <a:lnTo>
                      <a:pt x="280" y="167"/>
                    </a:lnTo>
                    <a:lnTo>
                      <a:pt x="285" y="167"/>
                    </a:lnTo>
                    <a:lnTo>
                      <a:pt x="285" y="167"/>
                    </a:lnTo>
                    <a:lnTo>
                      <a:pt x="285" y="167"/>
                    </a:lnTo>
                    <a:lnTo>
                      <a:pt x="289" y="167"/>
                    </a:lnTo>
                    <a:lnTo>
                      <a:pt x="289" y="167"/>
                    </a:lnTo>
                    <a:lnTo>
                      <a:pt x="289" y="167"/>
                    </a:lnTo>
                    <a:lnTo>
                      <a:pt x="294" y="167"/>
                    </a:lnTo>
                    <a:lnTo>
                      <a:pt x="294" y="167"/>
                    </a:lnTo>
                    <a:lnTo>
                      <a:pt x="298" y="167"/>
                    </a:lnTo>
                    <a:lnTo>
                      <a:pt x="298" y="172"/>
                    </a:lnTo>
                    <a:lnTo>
                      <a:pt x="303" y="172"/>
                    </a:lnTo>
                    <a:lnTo>
                      <a:pt x="303" y="167"/>
                    </a:lnTo>
                    <a:lnTo>
                      <a:pt x="303" y="167"/>
                    </a:lnTo>
                    <a:lnTo>
                      <a:pt x="307" y="172"/>
                    </a:lnTo>
                    <a:lnTo>
                      <a:pt x="307" y="172"/>
                    </a:lnTo>
                    <a:lnTo>
                      <a:pt x="312" y="172"/>
                    </a:lnTo>
                    <a:lnTo>
                      <a:pt x="312" y="172"/>
                    </a:lnTo>
                    <a:lnTo>
                      <a:pt x="312" y="172"/>
                    </a:lnTo>
                    <a:lnTo>
                      <a:pt x="316" y="172"/>
                    </a:lnTo>
                    <a:lnTo>
                      <a:pt x="316" y="172"/>
                    </a:lnTo>
                    <a:lnTo>
                      <a:pt x="321" y="172"/>
                    </a:lnTo>
                    <a:lnTo>
                      <a:pt x="321" y="172"/>
                    </a:lnTo>
                    <a:lnTo>
                      <a:pt x="321" y="172"/>
                    </a:lnTo>
                    <a:lnTo>
                      <a:pt x="321" y="172"/>
                    </a:lnTo>
                    <a:lnTo>
                      <a:pt x="321" y="167"/>
                    </a:lnTo>
                    <a:lnTo>
                      <a:pt x="321" y="163"/>
                    </a:lnTo>
                    <a:lnTo>
                      <a:pt x="321" y="163"/>
                    </a:lnTo>
                    <a:lnTo>
                      <a:pt x="321" y="158"/>
                    </a:lnTo>
                    <a:lnTo>
                      <a:pt x="316" y="158"/>
                    </a:lnTo>
                    <a:lnTo>
                      <a:pt x="316" y="158"/>
                    </a:lnTo>
                    <a:lnTo>
                      <a:pt x="316" y="149"/>
                    </a:lnTo>
                    <a:lnTo>
                      <a:pt x="316" y="149"/>
                    </a:lnTo>
                    <a:lnTo>
                      <a:pt x="316" y="144"/>
                    </a:lnTo>
                    <a:lnTo>
                      <a:pt x="316" y="144"/>
                    </a:lnTo>
                    <a:lnTo>
                      <a:pt x="316" y="144"/>
                    </a:lnTo>
                    <a:lnTo>
                      <a:pt x="316" y="140"/>
                    </a:lnTo>
                    <a:lnTo>
                      <a:pt x="316" y="140"/>
                    </a:lnTo>
                    <a:lnTo>
                      <a:pt x="316" y="140"/>
                    </a:lnTo>
                    <a:lnTo>
                      <a:pt x="316" y="140"/>
                    </a:lnTo>
                    <a:lnTo>
                      <a:pt x="316" y="140"/>
                    </a:lnTo>
                    <a:lnTo>
                      <a:pt x="316" y="140"/>
                    </a:lnTo>
                    <a:lnTo>
                      <a:pt x="321" y="140"/>
                    </a:lnTo>
                    <a:lnTo>
                      <a:pt x="321" y="140"/>
                    </a:lnTo>
                    <a:lnTo>
                      <a:pt x="321" y="135"/>
                    </a:lnTo>
                    <a:lnTo>
                      <a:pt x="321" y="135"/>
                    </a:lnTo>
                    <a:lnTo>
                      <a:pt x="325" y="135"/>
                    </a:lnTo>
                    <a:lnTo>
                      <a:pt x="325" y="140"/>
                    </a:lnTo>
                    <a:lnTo>
                      <a:pt x="325" y="140"/>
                    </a:lnTo>
                    <a:lnTo>
                      <a:pt x="330" y="140"/>
                    </a:lnTo>
                    <a:lnTo>
                      <a:pt x="330" y="140"/>
                    </a:lnTo>
                    <a:lnTo>
                      <a:pt x="330" y="144"/>
                    </a:lnTo>
                    <a:lnTo>
                      <a:pt x="330" y="149"/>
                    </a:lnTo>
                    <a:lnTo>
                      <a:pt x="330" y="149"/>
                    </a:lnTo>
                    <a:lnTo>
                      <a:pt x="330" y="149"/>
                    </a:lnTo>
                    <a:lnTo>
                      <a:pt x="330" y="153"/>
                    </a:lnTo>
                    <a:lnTo>
                      <a:pt x="330" y="153"/>
                    </a:lnTo>
                    <a:lnTo>
                      <a:pt x="330" y="153"/>
                    </a:lnTo>
                    <a:lnTo>
                      <a:pt x="330" y="153"/>
                    </a:lnTo>
                    <a:lnTo>
                      <a:pt x="330" y="153"/>
                    </a:lnTo>
                    <a:lnTo>
                      <a:pt x="330" y="158"/>
                    </a:lnTo>
                    <a:lnTo>
                      <a:pt x="330" y="158"/>
                    </a:lnTo>
                    <a:lnTo>
                      <a:pt x="334" y="158"/>
                    </a:lnTo>
                    <a:lnTo>
                      <a:pt x="334" y="158"/>
                    </a:lnTo>
                    <a:lnTo>
                      <a:pt x="334" y="163"/>
                    </a:lnTo>
                    <a:lnTo>
                      <a:pt x="339" y="163"/>
                    </a:lnTo>
                    <a:lnTo>
                      <a:pt x="343" y="163"/>
                    </a:lnTo>
                    <a:lnTo>
                      <a:pt x="343" y="163"/>
                    </a:lnTo>
                    <a:lnTo>
                      <a:pt x="343" y="163"/>
                    </a:lnTo>
                    <a:lnTo>
                      <a:pt x="343" y="163"/>
                    </a:lnTo>
                    <a:lnTo>
                      <a:pt x="348" y="163"/>
                    </a:lnTo>
                    <a:lnTo>
                      <a:pt x="348" y="163"/>
                    </a:lnTo>
                    <a:lnTo>
                      <a:pt x="348" y="163"/>
                    </a:lnTo>
                    <a:lnTo>
                      <a:pt x="348" y="163"/>
                    </a:lnTo>
                    <a:lnTo>
                      <a:pt x="348" y="163"/>
                    </a:lnTo>
                    <a:lnTo>
                      <a:pt x="348" y="163"/>
                    </a:lnTo>
                    <a:lnTo>
                      <a:pt x="352" y="163"/>
                    </a:lnTo>
                    <a:lnTo>
                      <a:pt x="357" y="163"/>
                    </a:lnTo>
                    <a:lnTo>
                      <a:pt x="357" y="158"/>
                    </a:lnTo>
                    <a:lnTo>
                      <a:pt x="357" y="158"/>
                    </a:lnTo>
                    <a:lnTo>
                      <a:pt x="357" y="158"/>
                    </a:lnTo>
                    <a:lnTo>
                      <a:pt x="361" y="158"/>
                    </a:lnTo>
                    <a:lnTo>
                      <a:pt x="361" y="163"/>
                    </a:lnTo>
                    <a:lnTo>
                      <a:pt x="361" y="163"/>
                    </a:lnTo>
                    <a:lnTo>
                      <a:pt x="366" y="163"/>
                    </a:lnTo>
                    <a:lnTo>
                      <a:pt x="366" y="163"/>
                    </a:lnTo>
                    <a:lnTo>
                      <a:pt x="370" y="163"/>
                    </a:lnTo>
                    <a:lnTo>
                      <a:pt x="375" y="163"/>
                    </a:lnTo>
                    <a:lnTo>
                      <a:pt x="375" y="158"/>
                    </a:lnTo>
                    <a:lnTo>
                      <a:pt x="375" y="158"/>
                    </a:lnTo>
                    <a:lnTo>
                      <a:pt x="379" y="163"/>
                    </a:lnTo>
                    <a:lnTo>
                      <a:pt x="379" y="163"/>
                    </a:lnTo>
                    <a:lnTo>
                      <a:pt x="379" y="158"/>
                    </a:lnTo>
                    <a:lnTo>
                      <a:pt x="384" y="158"/>
                    </a:lnTo>
                    <a:lnTo>
                      <a:pt x="384" y="158"/>
                    </a:lnTo>
                    <a:lnTo>
                      <a:pt x="384" y="158"/>
                    </a:lnTo>
                    <a:lnTo>
                      <a:pt x="384" y="158"/>
                    </a:lnTo>
                    <a:lnTo>
                      <a:pt x="384" y="158"/>
                    </a:lnTo>
                    <a:lnTo>
                      <a:pt x="384" y="158"/>
                    </a:lnTo>
                    <a:lnTo>
                      <a:pt x="384" y="158"/>
                    </a:lnTo>
                    <a:lnTo>
                      <a:pt x="384" y="153"/>
                    </a:lnTo>
                    <a:lnTo>
                      <a:pt x="384" y="153"/>
                    </a:lnTo>
                    <a:lnTo>
                      <a:pt x="384" y="153"/>
                    </a:lnTo>
                    <a:lnTo>
                      <a:pt x="384" y="153"/>
                    </a:lnTo>
                    <a:lnTo>
                      <a:pt x="384" y="153"/>
                    </a:lnTo>
                    <a:lnTo>
                      <a:pt x="384" y="149"/>
                    </a:lnTo>
                    <a:lnTo>
                      <a:pt x="384" y="149"/>
                    </a:lnTo>
                    <a:lnTo>
                      <a:pt x="384" y="149"/>
                    </a:lnTo>
                    <a:lnTo>
                      <a:pt x="379" y="149"/>
                    </a:lnTo>
                    <a:lnTo>
                      <a:pt x="379" y="149"/>
                    </a:lnTo>
                    <a:lnTo>
                      <a:pt x="379" y="149"/>
                    </a:lnTo>
                    <a:lnTo>
                      <a:pt x="375" y="149"/>
                    </a:lnTo>
                    <a:lnTo>
                      <a:pt x="375" y="144"/>
                    </a:lnTo>
                    <a:lnTo>
                      <a:pt x="375" y="144"/>
                    </a:lnTo>
                    <a:lnTo>
                      <a:pt x="375" y="144"/>
                    </a:lnTo>
                    <a:lnTo>
                      <a:pt x="375" y="140"/>
                    </a:lnTo>
                    <a:lnTo>
                      <a:pt x="375" y="140"/>
                    </a:lnTo>
                    <a:lnTo>
                      <a:pt x="375" y="140"/>
                    </a:lnTo>
                    <a:lnTo>
                      <a:pt x="379" y="140"/>
                    </a:lnTo>
                    <a:lnTo>
                      <a:pt x="379" y="140"/>
                    </a:lnTo>
                    <a:lnTo>
                      <a:pt x="379" y="140"/>
                    </a:lnTo>
                    <a:lnTo>
                      <a:pt x="384" y="140"/>
                    </a:lnTo>
                    <a:lnTo>
                      <a:pt x="384" y="140"/>
                    </a:lnTo>
                    <a:lnTo>
                      <a:pt x="384" y="140"/>
                    </a:lnTo>
                    <a:lnTo>
                      <a:pt x="384" y="140"/>
                    </a:lnTo>
                    <a:lnTo>
                      <a:pt x="384" y="140"/>
                    </a:lnTo>
                    <a:lnTo>
                      <a:pt x="384" y="140"/>
                    </a:lnTo>
                    <a:lnTo>
                      <a:pt x="388" y="140"/>
                    </a:lnTo>
                    <a:lnTo>
                      <a:pt x="388" y="140"/>
                    </a:lnTo>
                    <a:lnTo>
                      <a:pt x="388" y="140"/>
                    </a:lnTo>
                    <a:lnTo>
                      <a:pt x="388" y="135"/>
                    </a:lnTo>
                    <a:lnTo>
                      <a:pt x="388" y="135"/>
                    </a:lnTo>
                    <a:lnTo>
                      <a:pt x="388" y="135"/>
                    </a:lnTo>
                    <a:lnTo>
                      <a:pt x="388" y="135"/>
                    </a:lnTo>
                    <a:lnTo>
                      <a:pt x="388" y="135"/>
                    </a:lnTo>
                    <a:lnTo>
                      <a:pt x="388" y="135"/>
                    </a:lnTo>
                    <a:lnTo>
                      <a:pt x="388" y="135"/>
                    </a:lnTo>
                    <a:lnTo>
                      <a:pt x="393" y="131"/>
                    </a:lnTo>
                    <a:lnTo>
                      <a:pt x="393" y="131"/>
                    </a:lnTo>
                    <a:lnTo>
                      <a:pt x="398" y="126"/>
                    </a:lnTo>
                    <a:lnTo>
                      <a:pt x="398" y="126"/>
                    </a:lnTo>
                    <a:lnTo>
                      <a:pt x="398" y="126"/>
                    </a:lnTo>
                    <a:lnTo>
                      <a:pt x="398" y="122"/>
                    </a:lnTo>
                    <a:lnTo>
                      <a:pt x="398" y="122"/>
                    </a:lnTo>
                    <a:lnTo>
                      <a:pt x="402" y="122"/>
                    </a:lnTo>
                    <a:lnTo>
                      <a:pt x="402" y="122"/>
                    </a:lnTo>
                    <a:lnTo>
                      <a:pt x="407" y="122"/>
                    </a:lnTo>
                    <a:lnTo>
                      <a:pt x="407" y="117"/>
                    </a:lnTo>
                    <a:lnTo>
                      <a:pt x="407" y="117"/>
                    </a:lnTo>
                    <a:lnTo>
                      <a:pt x="407" y="117"/>
                    </a:lnTo>
                    <a:lnTo>
                      <a:pt x="407" y="117"/>
                    </a:lnTo>
                    <a:lnTo>
                      <a:pt x="411" y="113"/>
                    </a:lnTo>
                    <a:lnTo>
                      <a:pt x="411" y="113"/>
                    </a:lnTo>
                    <a:lnTo>
                      <a:pt x="411" y="113"/>
                    </a:lnTo>
                    <a:lnTo>
                      <a:pt x="416" y="108"/>
                    </a:lnTo>
                    <a:lnTo>
                      <a:pt x="416" y="108"/>
                    </a:lnTo>
                    <a:lnTo>
                      <a:pt x="416" y="113"/>
                    </a:lnTo>
                    <a:lnTo>
                      <a:pt x="416" y="113"/>
                    </a:lnTo>
                    <a:lnTo>
                      <a:pt x="416" y="113"/>
                    </a:lnTo>
                    <a:lnTo>
                      <a:pt x="420" y="113"/>
                    </a:lnTo>
                    <a:lnTo>
                      <a:pt x="420" y="113"/>
                    </a:lnTo>
                    <a:lnTo>
                      <a:pt x="425" y="113"/>
                    </a:lnTo>
                    <a:lnTo>
                      <a:pt x="425" y="113"/>
                    </a:lnTo>
                    <a:lnTo>
                      <a:pt x="429" y="113"/>
                    </a:lnTo>
                    <a:lnTo>
                      <a:pt x="429" y="113"/>
                    </a:lnTo>
                    <a:lnTo>
                      <a:pt x="429" y="113"/>
                    </a:lnTo>
                    <a:lnTo>
                      <a:pt x="429" y="113"/>
                    </a:lnTo>
                    <a:lnTo>
                      <a:pt x="429" y="113"/>
                    </a:lnTo>
                    <a:lnTo>
                      <a:pt x="429" y="113"/>
                    </a:lnTo>
                    <a:lnTo>
                      <a:pt x="429" y="113"/>
                    </a:lnTo>
                    <a:lnTo>
                      <a:pt x="434" y="108"/>
                    </a:lnTo>
                    <a:lnTo>
                      <a:pt x="434" y="108"/>
                    </a:lnTo>
                    <a:lnTo>
                      <a:pt x="438" y="108"/>
                    </a:lnTo>
                    <a:lnTo>
                      <a:pt x="438" y="108"/>
                    </a:lnTo>
                    <a:lnTo>
                      <a:pt x="438" y="108"/>
                    </a:lnTo>
                    <a:lnTo>
                      <a:pt x="443" y="108"/>
                    </a:lnTo>
                    <a:lnTo>
                      <a:pt x="443" y="108"/>
                    </a:lnTo>
                    <a:lnTo>
                      <a:pt x="443" y="108"/>
                    </a:lnTo>
                    <a:lnTo>
                      <a:pt x="443" y="108"/>
                    </a:lnTo>
                    <a:lnTo>
                      <a:pt x="443" y="113"/>
                    </a:lnTo>
                    <a:lnTo>
                      <a:pt x="443" y="113"/>
                    </a:lnTo>
                    <a:lnTo>
                      <a:pt x="443" y="113"/>
                    </a:lnTo>
                    <a:lnTo>
                      <a:pt x="443" y="113"/>
                    </a:lnTo>
                    <a:lnTo>
                      <a:pt x="443" y="117"/>
                    </a:lnTo>
                    <a:lnTo>
                      <a:pt x="443" y="117"/>
                    </a:lnTo>
                    <a:lnTo>
                      <a:pt x="443" y="117"/>
                    </a:lnTo>
                    <a:lnTo>
                      <a:pt x="443" y="113"/>
                    </a:lnTo>
                    <a:lnTo>
                      <a:pt x="447" y="113"/>
                    </a:lnTo>
                    <a:lnTo>
                      <a:pt x="447" y="113"/>
                    </a:lnTo>
                    <a:lnTo>
                      <a:pt x="447" y="117"/>
                    </a:lnTo>
                    <a:lnTo>
                      <a:pt x="447" y="117"/>
                    </a:lnTo>
                    <a:lnTo>
                      <a:pt x="452" y="117"/>
                    </a:lnTo>
                    <a:lnTo>
                      <a:pt x="447" y="122"/>
                    </a:lnTo>
                    <a:lnTo>
                      <a:pt x="447" y="122"/>
                    </a:lnTo>
                    <a:lnTo>
                      <a:pt x="447" y="126"/>
                    </a:lnTo>
                    <a:lnTo>
                      <a:pt x="447" y="126"/>
                    </a:lnTo>
                    <a:lnTo>
                      <a:pt x="447" y="126"/>
                    </a:lnTo>
                    <a:lnTo>
                      <a:pt x="447" y="126"/>
                    </a:lnTo>
                    <a:lnTo>
                      <a:pt x="447" y="126"/>
                    </a:lnTo>
                    <a:lnTo>
                      <a:pt x="447" y="126"/>
                    </a:lnTo>
                    <a:lnTo>
                      <a:pt x="447" y="126"/>
                    </a:lnTo>
                    <a:lnTo>
                      <a:pt x="447" y="126"/>
                    </a:lnTo>
                    <a:lnTo>
                      <a:pt x="452" y="126"/>
                    </a:lnTo>
                    <a:lnTo>
                      <a:pt x="452" y="126"/>
                    </a:lnTo>
                    <a:lnTo>
                      <a:pt x="456" y="126"/>
                    </a:lnTo>
                    <a:lnTo>
                      <a:pt x="456" y="126"/>
                    </a:lnTo>
                    <a:lnTo>
                      <a:pt x="461" y="126"/>
                    </a:lnTo>
                    <a:lnTo>
                      <a:pt x="461" y="126"/>
                    </a:lnTo>
                    <a:lnTo>
                      <a:pt x="461" y="126"/>
                    </a:lnTo>
                    <a:lnTo>
                      <a:pt x="465" y="131"/>
                    </a:lnTo>
                    <a:lnTo>
                      <a:pt x="465" y="131"/>
                    </a:lnTo>
                    <a:lnTo>
                      <a:pt x="465" y="131"/>
                    </a:lnTo>
                    <a:lnTo>
                      <a:pt x="465" y="131"/>
                    </a:lnTo>
                    <a:lnTo>
                      <a:pt x="465" y="131"/>
                    </a:lnTo>
                    <a:lnTo>
                      <a:pt x="465" y="135"/>
                    </a:lnTo>
                    <a:lnTo>
                      <a:pt x="465" y="135"/>
                    </a:lnTo>
                    <a:lnTo>
                      <a:pt x="465" y="135"/>
                    </a:lnTo>
                    <a:lnTo>
                      <a:pt x="465" y="135"/>
                    </a:lnTo>
                    <a:lnTo>
                      <a:pt x="465" y="135"/>
                    </a:lnTo>
                    <a:lnTo>
                      <a:pt x="465" y="140"/>
                    </a:lnTo>
                    <a:lnTo>
                      <a:pt x="461" y="140"/>
                    </a:lnTo>
                    <a:lnTo>
                      <a:pt x="461" y="140"/>
                    </a:lnTo>
                    <a:lnTo>
                      <a:pt x="461" y="140"/>
                    </a:lnTo>
                    <a:lnTo>
                      <a:pt x="461" y="144"/>
                    </a:lnTo>
                    <a:lnTo>
                      <a:pt x="461" y="144"/>
                    </a:lnTo>
                    <a:lnTo>
                      <a:pt x="470" y="149"/>
                    </a:lnTo>
                    <a:lnTo>
                      <a:pt x="470" y="149"/>
                    </a:lnTo>
                    <a:lnTo>
                      <a:pt x="465" y="153"/>
                    </a:lnTo>
                    <a:lnTo>
                      <a:pt x="465" y="149"/>
                    </a:lnTo>
                    <a:lnTo>
                      <a:pt x="465" y="149"/>
                    </a:lnTo>
                    <a:lnTo>
                      <a:pt x="461" y="149"/>
                    </a:lnTo>
                    <a:lnTo>
                      <a:pt x="461" y="149"/>
                    </a:lnTo>
                    <a:lnTo>
                      <a:pt x="461" y="149"/>
                    </a:lnTo>
                    <a:lnTo>
                      <a:pt x="452" y="149"/>
                    </a:lnTo>
                    <a:lnTo>
                      <a:pt x="452" y="149"/>
                    </a:lnTo>
                    <a:lnTo>
                      <a:pt x="452" y="149"/>
                    </a:lnTo>
                    <a:lnTo>
                      <a:pt x="447" y="153"/>
                    </a:lnTo>
                    <a:lnTo>
                      <a:pt x="447" y="153"/>
                    </a:lnTo>
                    <a:lnTo>
                      <a:pt x="447" y="153"/>
                    </a:lnTo>
                    <a:lnTo>
                      <a:pt x="447" y="153"/>
                    </a:lnTo>
                    <a:lnTo>
                      <a:pt x="443" y="158"/>
                    </a:lnTo>
                    <a:lnTo>
                      <a:pt x="443" y="163"/>
                    </a:lnTo>
                    <a:lnTo>
                      <a:pt x="438" y="163"/>
                    </a:lnTo>
                    <a:lnTo>
                      <a:pt x="438" y="163"/>
                    </a:lnTo>
                    <a:lnTo>
                      <a:pt x="438" y="163"/>
                    </a:lnTo>
                    <a:lnTo>
                      <a:pt x="438" y="167"/>
                    </a:lnTo>
                    <a:lnTo>
                      <a:pt x="438" y="167"/>
                    </a:lnTo>
                    <a:lnTo>
                      <a:pt x="438" y="172"/>
                    </a:lnTo>
                    <a:lnTo>
                      <a:pt x="443" y="172"/>
                    </a:lnTo>
                    <a:lnTo>
                      <a:pt x="443" y="172"/>
                    </a:lnTo>
                    <a:lnTo>
                      <a:pt x="443" y="172"/>
                    </a:lnTo>
                    <a:lnTo>
                      <a:pt x="443" y="176"/>
                    </a:lnTo>
                    <a:lnTo>
                      <a:pt x="438" y="176"/>
                    </a:lnTo>
                    <a:lnTo>
                      <a:pt x="438" y="176"/>
                    </a:lnTo>
                    <a:lnTo>
                      <a:pt x="443" y="181"/>
                    </a:lnTo>
                    <a:lnTo>
                      <a:pt x="438" y="181"/>
                    </a:lnTo>
                    <a:lnTo>
                      <a:pt x="438" y="181"/>
                    </a:lnTo>
                    <a:lnTo>
                      <a:pt x="438" y="185"/>
                    </a:lnTo>
                    <a:lnTo>
                      <a:pt x="438" y="185"/>
                    </a:lnTo>
                    <a:lnTo>
                      <a:pt x="438" y="185"/>
                    </a:lnTo>
                    <a:lnTo>
                      <a:pt x="438" y="190"/>
                    </a:lnTo>
                    <a:lnTo>
                      <a:pt x="434" y="190"/>
                    </a:lnTo>
                    <a:lnTo>
                      <a:pt x="438" y="190"/>
                    </a:lnTo>
                    <a:lnTo>
                      <a:pt x="438" y="190"/>
                    </a:lnTo>
                    <a:lnTo>
                      <a:pt x="438" y="190"/>
                    </a:lnTo>
                    <a:lnTo>
                      <a:pt x="438" y="190"/>
                    </a:lnTo>
                    <a:lnTo>
                      <a:pt x="438" y="190"/>
                    </a:lnTo>
                    <a:lnTo>
                      <a:pt x="438" y="194"/>
                    </a:lnTo>
                    <a:lnTo>
                      <a:pt x="438" y="194"/>
                    </a:lnTo>
                    <a:lnTo>
                      <a:pt x="438" y="199"/>
                    </a:lnTo>
                    <a:lnTo>
                      <a:pt x="438" y="203"/>
                    </a:lnTo>
                    <a:lnTo>
                      <a:pt x="438" y="203"/>
                    </a:lnTo>
                    <a:lnTo>
                      <a:pt x="438" y="203"/>
                    </a:lnTo>
                    <a:lnTo>
                      <a:pt x="438" y="208"/>
                    </a:lnTo>
                    <a:lnTo>
                      <a:pt x="438" y="212"/>
                    </a:lnTo>
                    <a:lnTo>
                      <a:pt x="434" y="212"/>
                    </a:lnTo>
                    <a:lnTo>
                      <a:pt x="434" y="217"/>
                    </a:lnTo>
                    <a:lnTo>
                      <a:pt x="434" y="217"/>
                    </a:lnTo>
                    <a:lnTo>
                      <a:pt x="434" y="217"/>
                    </a:lnTo>
                    <a:lnTo>
                      <a:pt x="429" y="217"/>
                    </a:lnTo>
                    <a:lnTo>
                      <a:pt x="429" y="212"/>
                    </a:lnTo>
                    <a:lnTo>
                      <a:pt x="429" y="212"/>
                    </a:lnTo>
                    <a:lnTo>
                      <a:pt x="425" y="212"/>
                    </a:lnTo>
                    <a:lnTo>
                      <a:pt x="425" y="212"/>
                    </a:lnTo>
                    <a:lnTo>
                      <a:pt x="425" y="212"/>
                    </a:lnTo>
                    <a:lnTo>
                      <a:pt x="425" y="212"/>
                    </a:lnTo>
                    <a:lnTo>
                      <a:pt x="420" y="212"/>
                    </a:lnTo>
                    <a:lnTo>
                      <a:pt x="420" y="212"/>
                    </a:lnTo>
                    <a:lnTo>
                      <a:pt x="420" y="212"/>
                    </a:lnTo>
                    <a:lnTo>
                      <a:pt x="425" y="217"/>
                    </a:lnTo>
                    <a:lnTo>
                      <a:pt x="425" y="221"/>
                    </a:lnTo>
                    <a:lnTo>
                      <a:pt x="425" y="221"/>
                    </a:lnTo>
                    <a:lnTo>
                      <a:pt x="425" y="226"/>
                    </a:lnTo>
                    <a:lnTo>
                      <a:pt x="425" y="230"/>
                    </a:lnTo>
                    <a:lnTo>
                      <a:pt x="425" y="230"/>
                    </a:lnTo>
                    <a:lnTo>
                      <a:pt x="425" y="235"/>
                    </a:lnTo>
                    <a:lnTo>
                      <a:pt x="425" y="235"/>
                    </a:lnTo>
                    <a:lnTo>
                      <a:pt x="425" y="235"/>
                    </a:lnTo>
                    <a:lnTo>
                      <a:pt x="425" y="235"/>
                    </a:lnTo>
                    <a:lnTo>
                      <a:pt x="425" y="235"/>
                    </a:lnTo>
                    <a:lnTo>
                      <a:pt x="425" y="235"/>
                    </a:lnTo>
                    <a:lnTo>
                      <a:pt x="425" y="239"/>
                    </a:lnTo>
                    <a:lnTo>
                      <a:pt x="425" y="239"/>
                    </a:lnTo>
                    <a:lnTo>
                      <a:pt x="425" y="239"/>
                    </a:lnTo>
                    <a:lnTo>
                      <a:pt x="425" y="244"/>
                    </a:lnTo>
                    <a:lnTo>
                      <a:pt x="425" y="244"/>
                    </a:lnTo>
                    <a:lnTo>
                      <a:pt x="425" y="248"/>
                    </a:lnTo>
                    <a:lnTo>
                      <a:pt x="425" y="248"/>
                    </a:lnTo>
                    <a:lnTo>
                      <a:pt x="425" y="248"/>
                    </a:lnTo>
                    <a:lnTo>
                      <a:pt x="425" y="248"/>
                    </a:lnTo>
                    <a:lnTo>
                      <a:pt x="425" y="248"/>
                    </a:lnTo>
                    <a:lnTo>
                      <a:pt x="425" y="248"/>
                    </a:lnTo>
                    <a:lnTo>
                      <a:pt x="425" y="253"/>
                    </a:lnTo>
                    <a:lnTo>
                      <a:pt x="425" y="253"/>
                    </a:lnTo>
                    <a:lnTo>
                      <a:pt x="425" y="253"/>
                    </a:lnTo>
                    <a:lnTo>
                      <a:pt x="420" y="253"/>
                    </a:lnTo>
                    <a:lnTo>
                      <a:pt x="420" y="253"/>
                    </a:lnTo>
                    <a:lnTo>
                      <a:pt x="420" y="253"/>
                    </a:lnTo>
                    <a:lnTo>
                      <a:pt x="420" y="253"/>
                    </a:lnTo>
                    <a:lnTo>
                      <a:pt x="420" y="253"/>
                    </a:lnTo>
                    <a:lnTo>
                      <a:pt x="420" y="253"/>
                    </a:lnTo>
                    <a:lnTo>
                      <a:pt x="420" y="253"/>
                    </a:lnTo>
                    <a:lnTo>
                      <a:pt x="416" y="253"/>
                    </a:lnTo>
                    <a:lnTo>
                      <a:pt x="416" y="244"/>
                    </a:lnTo>
                    <a:lnTo>
                      <a:pt x="416" y="244"/>
                    </a:lnTo>
                    <a:lnTo>
                      <a:pt x="416" y="239"/>
                    </a:lnTo>
                    <a:lnTo>
                      <a:pt x="411" y="239"/>
                    </a:lnTo>
                    <a:lnTo>
                      <a:pt x="411" y="239"/>
                    </a:lnTo>
                    <a:lnTo>
                      <a:pt x="411" y="235"/>
                    </a:lnTo>
                    <a:lnTo>
                      <a:pt x="411" y="235"/>
                    </a:lnTo>
                    <a:lnTo>
                      <a:pt x="411" y="235"/>
                    </a:lnTo>
                    <a:lnTo>
                      <a:pt x="407" y="230"/>
                    </a:lnTo>
                    <a:lnTo>
                      <a:pt x="407" y="226"/>
                    </a:lnTo>
                    <a:lnTo>
                      <a:pt x="407" y="226"/>
                    </a:lnTo>
                    <a:lnTo>
                      <a:pt x="407" y="221"/>
                    </a:lnTo>
                    <a:lnTo>
                      <a:pt x="402" y="221"/>
                    </a:lnTo>
                    <a:lnTo>
                      <a:pt x="402" y="221"/>
                    </a:lnTo>
                    <a:lnTo>
                      <a:pt x="402" y="221"/>
                    </a:lnTo>
                    <a:lnTo>
                      <a:pt x="402" y="221"/>
                    </a:lnTo>
                    <a:lnTo>
                      <a:pt x="402" y="221"/>
                    </a:lnTo>
                    <a:lnTo>
                      <a:pt x="398" y="221"/>
                    </a:lnTo>
                    <a:lnTo>
                      <a:pt x="402" y="221"/>
                    </a:lnTo>
                    <a:lnTo>
                      <a:pt x="402" y="226"/>
                    </a:lnTo>
                    <a:lnTo>
                      <a:pt x="402" y="226"/>
                    </a:lnTo>
                    <a:lnTo>
                      <a:pt x="398" y="226"/>
                    </a:lnTo>
                    <a:lnTo>
                      <a:pt x="398" y="230"/>
                    </a:lnTo>
                    <a:lnTo>
                      <a:pt x="398" y="230"/>
                    </a:lnTo>
                    <a:lnTo>
                      <a:pt x="398" y="230"/>
                    </a:lnTo>
                    <a:lnTo>
                      <a:pt x="398" y="235"/>
                    </a:lnTo>
                    <a:lnTo>
                      <a:pt x="398" y="235"/>
                    </a:lnTo>
                    <a:lnTo>
                      <a:pt x="398" y="235"/>
                    </a:lnTo>
                    <a:lnTo>
                      <a:pt x="398" y="235"/>
                    </a:lnTo>
                    <a:lnTo>
                      <a:pt x="398" y="235"/>
                    </a:lnTo>
                    <a:lnTo>
                      <a:pt x="393" y="230"/>
                    </a:lnTo>
                    <a:lnTo>
                      <a:pt x="393" y="230"/>
                    </a:lnTo>
                    <a:lnTo>
                      <a:pt x="393" y="230"/>
                    </a:lnTo>
                    <a:lnTo>
                      <a:pt x="393" y="230"/>
                    </a:lnTo>
                    <a:lnTo>
                      <a:pt x="393" y="230"/>
                    </a:lnTo>
                    <a:lnTo>
                      <a:pt x="393" y="235"/>
                    </a:lnTo>
                    <a:lnTo>
                      <a:pt x="393" y="235"/>
                    </a:lnTo>
                    <a:lnTo>
                      <a:pt x="393" y="235"/>
                    </a:lnTo>
                    <a:lnTo>
                      <a:pt x="393" y="230"/>
                    </a:lnTo>
                    <a:lnTo>
                      <a:pt x="388" y="226"/>
                    </a:lnTo>
                    <a:lnTo>
                      <a:pt x="388" y="221"/>
                    </a:lnTo>
                    <a:lnTo>
                      <a:pt x="388" y="221"/>
                    </a:lnTo>
                    <a:lnTo>
                      <a:pt x="388" y="221"/>
                    </a:lnTo>
                    <a:lnTo>
                      <a:pt x="388" y="217"/>
                    </a:lnTo>
                    <a:lnTo>
                      <a:pt x="388" y="217"/>
                    </a:lnTo>
                    <a:lnTo>
                      <a:pt x="388" y="212"/>
                    </a:lnTo>
                    <a:lnTo>
                      <a:pt x="388" y="212"/>
                    </a:lnTo>
                    <a:lnTo>
                      <a:pt x="388" y="212"/>
                    </a:lnTo>
                    <a:lnTo>
                      <a:pt x="393" y="212"/>
                    </a:lnTo>
                    <a:lnTo>
                      <a:pt x="393" y="212"/>
                    </a:lnTo>
                    <a:lnTo>
                      <a:pt x="393" y="212"/>
                    </a:lnTo>
                    <a:lnTo>
                      <a:pt x="393" y="212"/>
                    </a:lnTo>
                    <a:lnTo>
                      <a:pt x="393" y="212"/>
                    </a:lnTo>
                    <a:lnTo>
                      <a:pt x="393" y="212"/>
                    </a:lnTo>
                    <a:lnTo>
                      <a:pt x="398" y="212"/>
                    </a:lnTo>
                    <a:lnTo>
                      <a:pt x="398" y="212"/>
                    </a:lnTo>
                    <a:lnTo>
                      <a:pt x="398" y="208"/>
                    </a:lnTo>
                    <a:lnTo>
                      <a:pt x="398" y="208"/>
                    </a:lnTo>
                    <a:lnTo>
                      <a:pt x="398" y="208"/>
                    </a:lnTo>
                    <a:lnTo>
                      <a:pt x="398" y="208"/>
                    </a:lnTo>
                    <a:lnTo>
                      <a:pt x="398" y="208"/>
                    </a:lnTo>
                    <a:lnTo>
                      <a:pt x="398" y="208"/>
                    </a:lnTo>
                    <a:lnTo>
                      <a:pt x="398" y="208"/>
                    </a:lnTo>
                    <a:lnTo>
                      <a:pt x="398" y="203"/>
                    </a:lnTo>
                    <a:lnTo>
                      <a:pt x="398" y="203"/>
                    </a:lnTo>
                    <a:lnTo>
                      <a:pt x="398" y="199"/>
                    </a:lnTo>
                    <a:lnTo>
                      <a:pt x="398" y="199"/>
                    </a:lnTo>
                    <a:lnTo>
                      <a:pt x="398" y="199"/>
                    </a:lnTo>
                    <a:lnTo>
                      <a:pt x="398" y="199"/>
                    </a:lnTo>
                    <a:lnTo>
                      <a:pt x="402" y="199"/>
                    </a:lnTo>
                    <a:lnTo>
                      <a:pt x="402" y="199"/>
                    </a:lnTo>
                    <a:lnTo>
                      <a:pt x="402" y="199"/>
                    </a:lnTo>
                    <a:lnTo>
                      <a:pt x="402" y="199"/>
                    </a:lnTo>
                    <a:lnTo>
                      <a:pt x="402" y="194"/>
                    </a:lnTo>
                    <a:lnTo>
                      <a:pt x="402" y="194"/>
                    </a:lnTo>
                    <a:lnTo>
                      <a:pt x="398" y="194"/>
                    </a:lnTo>
                    <a:lnTo>
                      <a:pt x="393" y="190"/>
                    </a:lnTo>
                    <a:lnTo>
                      <a:pt x="388" y="194"/>
                    </a:lnTo>
                    <a:lnTo>
                      <a:pt x="384" y="194"/>
                    </a:lnTo>
                    <a:lnTo>
                      <a:pt x="384" y="194"/>
                    </a:lnTo>
                    <a:lnTo>
                      <a:pt x="384" y="194"/>
                    </a:lnTo>
                    <a:lnTo>
                      <a:pt x="379" y="194"/>
                    </a:lnTo>
                    <a:lnTo>
                      <a:pt x="375" y="194"/>
                    </a:lnTo>
                    <a:lnTo>
                      <a:pt x="370" y="194"/>
                    </a:lnTo>
                    <a:lnTo>
                      <a:pt x="370" y="194"/>
                    </a:lnTo>
                    <a:lnTo>
                      <a:pt x="366" y="194"/>
                    </a:lnTo>
                    <a:lnTo>
                      <a:pt x="366" y="194"/>
                    </a:lnTo>
                    <a:lnTo>
                      <a:pt x="361" y="190"/>
                    </a:lnTo>
                    <a:lnTo>
                      <a:pt x="361" y="190"/>
                    </a:lnTo>
                    <a:lnTo>
                      <a:pt x="357" y="190"/>
                    </a:lnTo>
                    <a:lnTo>
                      <a:pt x="357" y="190"/>
                    </a:lnTo>
                    <a:lnTo>
                      <a:pt x="357" y="190"/>
                    </a:lnTo>
                    <a:lnTo>
                      <a:pt x="357" y="190"/>
                    </a:lnTo>
                    <a:lnTo>
                      <a:pt x="357" y="190"/>
                    </a:lnTo>
                    <a:lnTo>
                      <a:pt x="357" y="185"/>
                    </a:lnTo>
                    <a:lnTo>
                      <a:pt x="352" y="181"/>
                    </a:lnTo>
                    <a:lnTo>
                      <a:pt x="352" y="176"/>
                    </a:lnTo>
                    <a:lnTo>
                      <a:pt x="352" y="172"/>
                    </a:lnTo>
                    <a:lnTo>
                      <a:pt x="348" y="172"/>
                    </a:lnTo>
                    <a:lnTo>
                      <a:pt x="348" y="172"/>
                    </a:lnTo>
                    <a:lnTo>
                      <a:pt x="348" y="172"/>
                    </a:lnTo>
                    <a:lnTo>
                      <a:pt x="348" y="176"/>
                    </a:lnTo>
                    <a:lnTo>
                      <a:pt x="348" y="176"/>
                    </a:lnTo>
                    <a:lnTo>
                      <a:pt x="348" y="176"/>
                    </a:lnTo>
                    <a:lnTo>
                      <a:pt x="348" y="176"/>
                    </a:lnTo>
                    <a:lnTo>
                      <a:pt x="348" y="176"/>
                    </a:lnTo>
                    <a:lnTo>
                      <a:pt x="343" y="176"/>
                    </a:lnTo>
                    <a:lnTo>
                      <a:pt x="343" y="176"/>
                    </a:lnTo>
                    <a:lnTo>
                      <a:pt x="339" y="172"/>
                    </a:lnTo>
                    <a:lnTo>
                      <a:pt x="339" y="172"/>
                    </a:lnTo>
                    <a:lnTo>
                      <a:pt x="339" y="172"/>
                    </a:lnTo>
                    <a:lnTo>
                      <a:pt x="339" y="172"/>
                    </a:lnTo>
                    <a:lnTo>
                      <a:pt x="339" y="167"/>
                    </a:lnTo>
                    <a:lnTo>
                      <a:pt x="339" y="172"/>
                    </a:lnTo>
                    <a:lnTo>
                      <a:pt x="339" y="172"/>
                    </a:lnTo>
                    <a:lnTo>
                      <a:pt x="339" y="172"/>
                    </a:lnTo>
                    <a:lnTo>
                      <a:pt x="339" y="172"/>
                    </a:lnTo>
                    <a:lnTo>
                      <a:pt x="339" y="172"/>
                    </a:lnTo>
                    <a:lnTo>
                      <a:pt x="339" y="172"/>
                    </a:lnTo>
                    <a:lnTo>
                      <a:pt x="339" y="172"/>
                    </a:lnTo>
                    <a:lnTo>
                      <a:pt x="334" y="172"/>
                    </a:lnTo>
                    <a:lnTo>
                      <a:pt x="334" y="172"/>
                    </a:lnTo>
                    <a:lnTo>
                      <a:pt x="334" y="172"/>
                    </a:lnTo>
                    <a:lnTo>
                      <a:pt x="334" y="172"/>
                    </a:lnTo>
                    <a:lnTo>
                      <a:pt x="334" y="172"/>
                    </a:lnTo>
                    <a:lnTo>
                      <a:pt x="330" y="167"/>
                    </a:lnTo>
                    <a:lnTo>
                      <a:pt x="330" y="167"/>
                    </a:lnTo>
                    <a:lnTo>
                      <a:pt x="330" y="167"/>
                    </a:lnTo>
                    <a:lnTo>
                      <a:pt x="325" y="167"/>
                    </a:lnTo>
                    <a:lnTo>
                      <a:pt x="325" y="167"/>
                    </a:lnTo>
                    <a:lnTo>
                      <a:pt x="325" y="167"/>
                    </a:lnTo>
                    <a:lnTo>
                      <a:pt x="325" y="167"/>
                    </a:lnTo>
                    <a:lnTo>
                      <a:pt x="330" y="167"/>
                    </a:lnTo>
                    <a:lnTo>
                      <a:pt x="330" y="172"/>
                    </a:lnTo>
                    <a:lnTo>
                      <a:pt x="330" y="172"/>
                    </a:lnTo>
                    <a:lnTo>
                      <a:pt x="330" y="172"/>
                    </a:lnTo>
                    <a:lnTo>
                      <a:pt x="330" y="172"/>
                    </a:lnTo>
                    <a:lnTo>
                      <a:pt x="325" y="176"/>
                    </a:lnTo>
                    <a:lnTo>
                      <a:pt x="325" y="176"/>
                    </a:lnTo>
                    <a:lnTo>
                      <a:pt x="325" y="176"/>
                    </a:lnTo>
                    <a:lnTo>
                      <a:pt x="325" y="181"/>
                    </a:lnTo>
                    <a:lnTo>
                      <a:pt x="325" y="181"/>
                    </a:lnTo>
                    <a:lnTo>
                      <a:pt x="325" y="181"/>
                    </a:lnTo>
                    <a:lnTo>
                      <a:pt x="325" y="181"/>
                    </a:lnTo>
                    <a:lnTo>
                      <a:pt x="330" y="181"/>
                    </a:lnTo>
                    <a:lnTo>
                      <a:pt x="330" y="185"/>
                    </a:lnTo>
                    <a:lnTo>
                      <a:pt x="334" y="185"/>
                    </a:lnTo>
                    <a:lnTo>
                      <a:pt x="334" y="185"/>
                    </a:lnTo>
                    <a:lnTo>
                      <a:pt x="334" y="185"/>
                    </a:lnTo>
                    <a:lnTo>
                      <a:pt x="339" y="185"/>
                    </a:lnTo>
                    <a:lnTo>
                      <a:pt x="339" y="190"/>
                    </a:lnTo>
                    <a:lnTo>
                      <a:pt x="339" y="190"/>
                    </a:lnTo>
                    <a:lnTo>
                      <a:pt x="339" y="190"/>
                    </a:lnTo>
                    <a:lnTo>
                      <a:pt x="343" y="190"/>
                    </a:lnTo>
                    <a:lnTo>
                      <a:pt x="343" y="190"/>
                    </a:lnTo>
                    <a:lnTo>
                      <a:pt x="343" y="194"/>
                    </a:lnTo>
                    <a:lnTo>
                      <a:pt x="343" y="194"/>
                    </a:lnTo>
                    <a:lnTo>
                      <a:pt x="339" y="194"/>
                    </a:lnTo>
                    <a:lnTo>
                      <a:pt x="339" y="194"/>
                    </a:lnTo>
                    <a:lnTo>
                      <a:pt x="339" y="194"/>
                    </a:lnTo>
                    <a:lnTo>
                      <a:pt x="339" y="194"/>
                    </a:lnTo>
                    <a:lnTo>
                      <a:pt x="334" y="194"/>
                    </a:lnTo>
                    <a:lnTo>
                      <a:pt x="334" y="199"/>
                    </a:lnTo>
                    <a:lnTo>
                      <a:pt x="334" y="199"/>
                    </a:lnTo>
                    <a:lnTo>
                      <a:pt x="334" y="199"/>
                    </a:lnTo>
                    <a:lnTo>
                      <a:pt x="330" y="199"/>
                    </a:lnTo>
                    <a:lnTo>
                      <a:pt x="330" y="199"/>
                    </a:lnTo>
                    <a:lnTo>
                      <a:pt x="330" y="203"/>
                    </a:lnTo>
                    <a:lnTo>
                      <a:pt x="330" y="203"/>
                    </a:lnTo>
                    <a:lnTo>
                      <a:pt x="330" y="203"/>
                    </a:lnTo>
                    <a:lnTo>
                      <a:pt x="330" y="208"/>
                    </a:lnTo>
                    <a:lnTo>
                      <a:pt x="334" y="208"/>
                    </a:lnTo>
                    <a:lnTo>
                      <a:pt x="334" y="208"/>
                    </a:lnTo>
                    <a:lnTo>
                      <a:pt x="334" y="208"/>
                    </a:lnTo>
                    <a:lnTo>
                      <a:pt x="334" y="208"/>
                    </a:lnTo>
                    <a:lnTo>
                      <a:pt x="339" y="208"/>
                    </a:lnTo>
                    <a:lnTo>
                      <a:pt x="339" y="208"/>
                    </a:lnTo>
                    <a:lnTo>
                      <a:pt x="343" y="212"/>
                    </a:lnTo>
                    <a:lnTo>
                      <a:pt x="343" y="212"/>
                    </a:lnTo>
                    <a:lnTo>
                      <a:pt x="343" y="212"/>
                    </a:lnTo>
                    <a:lnTo>
                      <a:pt x="343" y="212"/>
                    </a:lnTo>
                    <a:lnTo>
                      <a:pt x="343" y="217"/>
                    </a:lnTo>
                    <a:lnTo>
                      <a:pt x="343" y="217"/>
                    </a:lnTo>
                    <a:lnTo>
                      <a:pt x="343" y="221"/>
                    </a:lnTo>
                    <a:lnTo>
                      <a:pt x="343" y="221"/>
                    </a:lnTo>
                    <a:lnTo>
                      <a:pt x="343" y="226"/>
                    </a:lnTo>
                    <a:lnTo>
                      <a:pt x="343" y="226"/>
                    </a:lnTo>
                    <a:lnTo>
                      <a:pt x="343" y="226"/>
                    </a:lnTo>
                    <a:lnTo>
                      <a:pt x="348" y="226"/>
                    </a:lnTo>
                    <a:lnTo>
                      <a:pt x="348" y="226"/>
                    </a:lnTo>
                    <a:lnTo>
                      <a:pt x="348" y="230"/>
                    </a:lnTo>
                    <a:lnTo>
                      <a:pt x="348" y="230"/>
                    </a:lnTo>
                    <a:lnTo>
                      <a:pt x="348" y="230"/>
                    </a:lnTo>
                    <a:lnTo>
                      <a:pt x="352" y="230"/>
                    </a:lnTo>
                    <a:lnTo>
                      <a:pt x="352" y="230"/>
                    </a:lnTo>
                    <a:lnTo>
                      <a:pt x="352" y="235"/>
                    </a:lnTo>
                    <a:lnTo>
                      <a:pt x="352" y="235"/>
                    </a:lnTo>
                    <a:lnTo>
                      <a:pt x="352" y="239"/>
                    </a:lnTo>
                    <a:lnTo>
                      <a:pt x="352" y="244"/>
                    </a:lnTo>
                    <a:lnTo>
                      <a:pt x="352" y="244"/>
                    </a:lnTo>
                    <a:lnTo>
                      <a:pt x="352" y="244"/>
                    </a:lnTo>
                    <a:lnTo>
                      <a:pt x="357" y="244"/>
                    </a:lnTo>
                    <a:lnTo>
                      <a:pt x="357" y="248"/>
                    </a:lnTo>
                    <a:lnTo>
                      <a:pt x="357" y="253"/>
                    </a:lnTo>
                    <a:lnTo>
                      <a:pt x="357" y="253"/>
                    </a:lnTo>
                    <a:lnTo>
                      <a:pt x="357" y="257"/>
                    </a:lnTo>
                    <a:lnTo>
                      <a:pt x="357" y="257"/>
                    </a:lnTo>
                    <a:lnTo>
                      <a:pt x="357" y="257"/>
                    </a:lnTo>
                    <a:lnTo>
                      <a:pt x="361" y="262"/>
                    </a:lnTo>
                    <a:lnTo>
                      <a:pt x="361" y="262"/>
                    </a:lnTo>
                    <a:lnTo>
                      <a:pt x="357" y="262"/>
                    </a:lnTo>
                    <a:lnTo>
                      <a:pt x="357" y="262"/>
                    </a:lnTo>
                    <a:lnTo>
                      <a:pt x="357" y="262"/>
                    </a:lnTo>
                    <a:lnTo>
                      <a:pt x="357" y="262"/>
                    </a:lnTo>
                    <a:lnTo>
                      <a:pt x="357" y="262"/>
                    </a:lnTo>
                    <a:lnTo>
                      <a:pt x="352" y="262"/>
                    </a:lnTo>
                    <a:lnTo>
                      <a:pt x="352" y="262"/>
                    </a:lnTo>
                    <a:lnTo>
                      <a:pt x="352" y="262"/>
                    </a:lnTo>
                    <a:lnTo>
                      <a:pt x="352" y="253"/>
                    </a:lnTo>
                    <a:lnTo>
                      <a:pt x="352" y="253"/>
                    </a:lnTo>
                    <a:lnTo>
                      <a:pt x="352" y="253"/>
                    </a:lnTo>
                    <a:lnTo>
                      <a:pt x="352" y="253"/>
                    </a:lnTo>
                    <a:lnTo>
                      <a:pt x="352" y="253"/>
                    </a:lnTo>
                    <a:lnTo>
                      <a:pt x="352" y="257"/>
                    </a:lnTo>
                    <a:lnTo>
                      <a:pt x="352" y="262"/>
                    </a:lnTo>
                    <a:lnTo>
                      <a:pt x="352" y="262"/>
                    </a:lnTo>
                    <a:lnTo>
                      <a:pt x="348" y="262"/>
                    </a:lnTo>
                    <a:lnTo>
                      <a:pt x="348" y="262"/>
                    </a:lnTo>
                    <a:lnTo>
                      <a:pt x="348" y="262"/>
                    </a:lnTo>
                    <a:lnTo>
                      <a:pt x="348" y="262"/>
                    </a:lnTo>
                    <a:lnTo>
                      <a:pt x="348" y="262"/>
                    </a:lnTo>
                    <a:lnTo>
                      <a:pt x="343" y="262"/>
                    </a:lnTo>
                    <a:lnTo>
                      <a:pt x="343" y="262"/>
                    </a:lnTo>
                    <a:lnTo>
                      <a:pt x="343" y="257"/>
                    </a:lnTo>
                    <a:lnTo>
                      <a:pt x="343" y="253"/>
                    </a:lnTo>
                    <a:lnTo>
                      <a:pt x="343" y="253"/>
                    </a:lnTo>
                    <a:lnTo>
                      <a:pt x="343" y="253"/>
                    </a:lnTo>
                    <a:lnTo>
                      <a:pt x="339" y="248"/>
                    </a:lnTo>
                    <a:lnTo>
                      <a:pt x="339" y="248"/>
                    </a:lnTo>
                    <a:lnTo>
                      <a:pt x="339" y="248"/>
                    </a:lnTo>
                    <a:lnTo>
                      <a:pt x="339" y="253"/>
                    </a:lnTo>
                    <a:lnTo>
                      <a:pt x="343" y="253"/>
                    </a:lnTo>
                    <a:lnTo>
                      <a:pt x="343" y="253"/>
                    </a:lnTo>
                    <a:lnTo>
                      <a:pt x="343" y="253"/>
                    </a:lnTo>
                    <a:lnTo>
                      <a:pt x="343" y="257"/>
                    </a:lnTo>
                    <a:lnTo>
                      <a:pt x="339" y="257"/>
                    </a:lnTo>
                    <a:lnTo>
                      <a:pt x="339" y="262"/>
                    </a:lnTo>
                    <a:lnTo>
                      <a:pt x="339" y="262"/>
                    </a:lnTo>
                    <a:lnTo>
                      <a:pt x="330" y="267"/>
                    </a:lnTo>
                    <a:lnTo>
                      <a:pt x="330" y="267"/>
                    </a:lnTo>
                    <a:lnTo>
                      <a:pt x="325" y="267"/>
                    </a:lnTo>
                    <a:lnTo>
                      <a:pt x="325" y="271"/>
                    </a:lnTo>
                    <a:lnTo>
                      <a:pt x="325" y="276"/>
                    </a:lnTo>
                    <a:lnTo>
                      <a:pt x="325" y="276"/>
                    </a:lnTo>
                    <a:lnTo>
                      <a:pt x="330" y="280"/>
                    </a:lnTo>
                    <a:lnTo>
                      <a:pt x="330" y="280"/>
                    </a:lnTo>
                    <a:lnTo>
                      <a:pt x="330" y="285"/>
                    </a:lnTo>
                    <a:lnTo>
                      <a:pt x="325" y="285"/>
                    </a:lnTo>
                    <a:lnTo>
                      <a:pt x="325" y="285"/>
                    </a:lnTo>
                    <a:lnTo>
                      <a:pt x="325" y="289"/>
                    </a:lnTo>
                    <a:lnTo>
                      <a:pt x="325" y="289"/>
                    </a:lnTo>
                    <a:lnTo>
                      <a:pt x="321" y="294"/>
                    </a:lnTo>
                    <a:lnTo>
                      <a:pt x="321" y="294"/>
                    </a:lnTo>
                    <a:lnTo>
                      <a:pt x="321" y="294"/>
                    </a:lnTo>
                    <a:lnTo>
                      <a:pt x="321" y="294"/>
                    </a:lnTo>
                    <a:lnTo>
                      <a:pt x="321" y="294"/>
                    </a:lnTo>
                    <a:lnTo>
                      <a:pt x="321" y="294"/>
                    </a:lnTo>
                    <a:lnTo>
                      <a:pt x="321" y="298"/>
                    </a:lnTo>
                    <a:lnTo>
                      <a:pt x="321" y="298"/>
                    </a:lnTo>
                    <a:lnTo>
                      <a:pt x="321" y="298"/>
                    </a:lnTo>
                    <a:lnTo>
                      <a:pt x="312" y="298"/>
                    </a:lnTo>
                    <a:lnTo>
                      <a:pt x="307" y="303"/>
                    </a:lnTo>
                    <a:lnTo>
                      <a:pt x="307" y="303"/>
                    </a:lnTo>
                    <a:lnTo>
                      <a:pt x="307" y="303"/>
                    </a:lnTo>
                    <a:lnTo>
                      <a:pt x="307" y="298"/>
                    </a:lnTo>
                    <a:lnTo>
                      <a:pt x="307" y="298"/>
                    </a:lnTo>
                    <a:lnTo>
                      <a:pt x="307" y="298"/>
                    </a:lnTo>
                    <a:lnTo>
                      <a:pt x="307" y="298"/>
                    </a:lnTo>
                    <a:lnTo>
                      <a:pt x="303" y="298"/>
                    </a:lnTo>
                    <a:lnTo>
                      <a:pt x="303" y="303"/>
                    </a:lnTo>
                    <a:lnTo>
                      <a:pt x="303" y="303"/>
                    </a:lnTo>
                    <a:lnTo>
                      <a:pt x="303" y="303"/>
                    </a:lnTo>
                    <a:lnTo>
                      <a:pt x="307" y="303"/>
                    </a:lnTo>
                    <a:lnTo>
                      <a:pt x="307" y="303"/>
                    </a:lnTo>
                    <a:lnTo>
                      <a:pt x="307" y="303"/>
                    </a:lnTo>
                    <a:lnTo>
                      <a:pt x="303" y="307"/>
                    </a:lnTo>
                    <a:lnTo>
                      <a:pt x="298" y="312"/>
                    </a:lnTo>
                    <a:lnTo>
                      <a:pt x="298" y="316"/>
                    </a:lnTo>
                    <a:lnTo>
                      <a:pt x="298" y="316"/>
                    </a:lnTo>
                    <a:lnTo>
                      <a:pt x="294" y="316"/>
                    </a:lnTo>
                    <a:lnTo>
                      <a:pt x="294" y="321"/>
                    </a:lnTo>
                    <a:lnTo>
                      <a:pt x="289" y="325"/>
                    </a:lnTo>
                    <a:lnTo>
                      <a:pt x="289" y="330"/>
                    </a:lnTo>
                    <a:lnTo>
                      <a:pt x="280" y="334"/>
                    </a:lnTo>
                    <a:lnTo>
                      <a:pt x="280" y="334"/>
                    </a:lnTo>
                    <a:lnTo>
                      <a:pt x="276" y="339"/>
                    </a:lnTo>
                    <a:lnTo>
                      <a:pt x="276" y="343"/>
                    </a:lnTo>
                    <a:lnTo>
                      <a:pt x="271" y="343"/>
                    </a:lnTo>
                    <a:lnTo>
                      <a:pt x="267" y="348"/>
                    </a:lnTo>
                    <a:lnTo>
                      <a:pt x="262" y="352"/>
                    </a:lnTo>
                    <a:lnTo>
                      <a:pt x="262" y="357"/>
                    </a:lnTo>
                    <a:lnTo>
                      <a:pt x="262" y="357"/>
                    </a:lnTo>
                    <a:lnTo>
                      <a:pt x="262" y="357"/>
                    </a:lnTo>
                    <a:lnTo>
                      <a:pt x="262" y="357"/>
                    </a:lnTo>
                    <a:lnTo>
                      <a:pt x="262" y="357"/>
                    </a:lnTo>
                    <a:lnTo>
                      <a:pt x="262" y="361"/>
                    </a:lnTo>
                    <a:lnTo>
                      <a:pt x="262" y="361"/>
                    </a:lnTo>
                    <a:lnTo>
                      <a:pt x="262" y="361"/>
                    </a:lnTo>
                    <a:lnTo>
                      <a:pt x="262" y="366"/>
                    </a:lnTo>
                    <a:lnTo>
                      <a:pt x="253" y="366"/>
                    </a:lnTo>
                    <a:lnTo>
                      <a:pt x="253" y="366"/>
                    </a:lnTo>
                    <a:lnTo>
                      <a:pt x="248" y="366"/>
                    </a:lnTo>
                    <a:lnTo>
                      <a:pt x="244" y="366"/>
                    </a:lnTo>
                    <a:lnTo>
                      <a:pt x="244" y="370"/>
                    </a:lnTo>
                    <a:lnTo>
                      <a:pt x="244" y="375"/>
                    </a:lnTo>
                    <a:lnTo>
                      <a:pt x="244" y="375"/>
                    </a:lnTo>
                    <a:lnTo>
                      <a:pt x="244" y="380"/>
                    </a:lnTo>
                    <a:lnTo>
                      <a:pt x="244" y="380"/>
                    </a:lnTo>
                    <a:lnTo>
                      <a:pt x="239" y="380"/>
                    </a:lnTo>
                    <a:lnTo>
                      <a:pt x="239" y="380"/>
                    </a:lnTo>
                    <a:lnTo>
                      <a:pt x="239" y="380"/>
                    </a:lnTo>
                    <a:lnTo>
                      <a:pt x="239" y="375"/>
                    </a:lnTo>
                    <a:lnTo>
                      <a:pt x="235" y="375"/>
                    </a:lnTo>
                    <a:lnTo>
                      <a:pt x="235" y="375"/>
                    </a:lnTo>
                    <a:lnTo>
                      <a:pt x="230" y="380"/>
                    </a:lnTo>
                    <a:lnTo>
                      <a:pt x="230" y="380"/>
                    </a:lnTo>
                    <a:lnTo>
                      <a:pt x="226" y="389"/>
                    </a:lnTo>
                    <a:lnTo>
                      <a:pt x="226" y="393"/>
                    </a:lnTo>
                    <a:lnTo>
                      <a:pt x="230" y="398"/>
                    </a:lnTo>
                    <a:lnTo>
                      <a:pt x="230" y="402"/>
                    </a:lnTo>
                    <a:lnTo>
                      <a:pt x="230" y="402"/>
                    </a:lnTo>
                    <a:lnTo>
                      <a:pt x="230" y="407"/>
                    </a:lnTo>
                    <a:lnTo>
                      <a:pt x="230" y="407"/>
                    </a:lnTo>
                    <a:lnTo>
                      <a:pt x="230" y="411"/>
                    </a:lnTo>
                    <a:lnTo>
                      <a:pt x="230" y="411"/>
                    </a:lnTo>
                    <a:lnTo>
                      <a:pt x="235" y="416"/>
                    </a:lnTo>
                    <a:lnTo>
                      <a:pt x="235" y="416"/>
                    </a:lnTo>
                    <a:lnTo>
                      <a:pt x="235" y="420"/>
                    </a:lnTo>
                    <a:lnTo>
                      <a:pt x="235" y="425"/>
                    </a:lnTo>
                    <a:lnTo>
                      <a:pt x="235" y="425"/>
                    </a:lnTo>
                    <a:lnTo>
                      <a:pt x="235" y="420"/>
                    </a:lnTo>
                    <a:lnTo>
                      <a:pt x="235" y="420"/>
                    </a:lnTo>
                    <a:lnTo>
                      <a:pt x="230" y="420"/>
                    </a:lnTo>
                    <a:lnTo>
                      <a:pt x="230" y="425"/>
                    </a:lnTo>
                    <a:lnTo>
                      <a:pt x="235" y="425"/>
                    </a:lnTo>
                    <a:lnTo>
                      <a:pt x="235" y="425"/>
                    </a:lnTo>
                    <a:lnTo>
                      <a:pt x="235" y="438"/>
                    </a:lnTo>
                    <a:lnTo>
                      <a:pt x="235" y="443"/>
                    </a:lnTo>
                    <a:lnTo>
                      <a:pt x="235" y="447"/>
                    </a:lnTo>
                    <a:lnTo>
                      <a:pt x="235" y="447"/>
                    </a:lnTo>
                    <a:lnTo>
                      <a:pt x="230" y="452"/>
                    </a:lnTo>
                    <a:lnTo>
                      <a:pt x="230" y="456"/>
                    </a:lnTo>
                    <a:lnTo>
                      <a:pt x="230" y="461"/>
                    </a:lnTo>
                    <a:lnTo>
                      <a:pt x="230" y="461"/>
                    </a:lnTo>
                    <a:lnTo>
                      <a:pt x="230" y="465"/>
                    </a:lnTo>
                    <a:lnTo>
                      <a:pt x="230" y="465"/>
                    </a:lnTo>
                    <a:lnTo>
                      <a:pt x="230" y="465"/>
                    </a:lnTo>
                    <a:lnTo>
                      <a:pt x="230" y="465"/>
                    </a:lnTo>
                    <a:lnTo>
                      <a:pt x="230" y="470"/>
                    </a:lnTo>
                    <a:lnTo>
                      <a:pt x="235" y="474"/>
                    </a:lnTo>
                    <a:lnTo>
                      <a:pt x="235" y="484"/>
                    </a:lnTo>
                    <a:lnTo>
                      <a:pt x="230" y="484"/>
                    </a:lnTo>
                    <a:lnTo>
                      <a:pt x="230" y="484"/>
                    </a:lnTo>
                    <a:lnTo>
                      <a:pt x="230" y="484"/>
                    </a:lnTo>
                    <a:lnTo>
                      <a:pt x="230" y="484"/>
                    </a:lnTo>
                    <a:lnTo>
                      <a:pt x="226" y="484"/>
                    </a:lnTo>
                    <a:lnTo>
                      <a:pt x="226" y="488"/>
                    </a:lnTo>
                    <a:lnTo>
                      <a:pt x="226" y="488"/>
                    </a:lnTo>
                    <a:lnTo>
                      <a:pt x="226" y="493"/>
                    </a:lnTo>
                    <a:lnTo>
                      <a:pt x="221" y="497"/>
                    </a:lnTo>
                    <a:lnTo>
                      <a:pt x="221" y="502"/>
                    </a:lnTo>
                    <a:lnTo>
                      <a:pt x="221" y="502"/>
                    </a:lnTo>
                    <a:lnTo>
                      <a:pt x="221" y="502"/>
                    </a:lnTo>
                    <a:lnTo>
                      <a:pt x="221" y="506"/>
                    </a:lnTo>
                    <a:lnTo>
                      <a:pt x="221" y="506"/>
                    </a:lnTo>
                    <a:lnTo>
                      <a:pt x="226" y="506"/>
                    </a:lnTo>
                    <a:lnTo>
                      <a:pt x="226" y="506"/>
                    </a:lnTo>
                    <a:lnTo>
                      <a:pt x="230" y="506"/>
                    </a:lnTo>
                    <a:lnTo>
                      <a:pt x="226" y="506"/>
                    </a:lnTo>
                    <a:lnTo>
                      <a:pt x="221" y="506"/>
                    </a:lnTo>
                    <a:lnTo>
                      <a:pt x="212" y="511"/>
                    </a:lnTo>
                    <a:lnTo>
                      <a:pt x="208" y="511"/>
                    </a:lnTo>
                    <a:lnTo>
                      <a:pt x="208" y="511"/>
                    </a:lnTo>
                    <a:lnTo>
                      <a:pt x="208" y="515"/>
                    </a:lnTo>
                    <a:lnTo>
                      <a:pt x="208" y="520"/>
                    </a:lnTo>
                    <a:lnTo>
                      <a:pt x="208" y="524"/>
                    </a:lnTo>
                    <a:lnTo>
                      <a:pt x="199" y="524"/>
                    </a:lnTo>
                    <a:lnTo>
                      <a:pt x="199" y="529"/>
                    </a:lnTo>
                    <a:lnTo>
                      <a:pt x="199" y="529"/>
                    </a:lnTo>
                    <a:lnTo>
                      <a:pt x="194" y="529"/>
                    </a:lnTo>
                    <a:lnTo>
                      <a:pt x="190" y="524"/>
                    </a:lnTo>
                    <a:lnTo>
                      <a:pt x="185" y="524"/>
                    </a:lnTo>
                    <a:lnTo>
                      <a:pt x="181" y="515"/>
                    </a:lnTo>
                    <a:lnTo>
                      <a:pt x="181" y="511"/>
                    </a:lnTo>
                    <a:lnTo>
                      <a:pt x="176" y="511"/>
                    </a:lnTo>
                    <a:lnTo>
                      <a:pt x="176" y="506"/>
                    </a:lnTo>
                    <a:lnTo>
                      <a:pt x="176" y="506"/>
                    </a:lnTo>
                    <a:lnTo>
                      <a:pt x="176" y="506"/>
                    </a:lnTo>
                    <a:lnTo>
                      <a:pt x="176" y="506"/>
                    </a:lnTo>
                    <a:lnTo>
                      <a:pt x="176" y="502"/>
                    </a:lnTo>
                    <a:lnTo>
                      <a:pt x="172" y="497"/>
                    </a:lnTo>
                    <a:lnTo>
                      <a:pt x="172" y="493"/>
                    </a:lnTo>
                    <a:lnTo>
                      <a:pt x="172" y="493"/>
                    </a:lnTo>
                    <a:lnTo>
                      <a:pt x="176" y="497"/>
                    </a:lnTo>
                    <a:lnTo>
                      <a:pt x="176" y="497"/>
                    </a:lnTo>
                    <a:lnTo>
                      <a:pt x="176" y="502"/>
                    </a:lnTo>
                    <a:lnTo>
                      <a:pt x="176" y="502"/>
                    </a:lnTo>
                    <a:lnTo>
                      <a:pt x="176" y="502"/>
                    </a:lnTo>
                    <a:lnTo>
                      <a:pt x="172" y="493"/>
                    </a:lnTo>
                    <a:lnTo>
                      <a:pt x="172" y="493"/>
                    </a:lnTo>
                    <a:lnTo>
                      <a:pt x="172" y="493"/>
                    </a:lnTo>
                    <a:lnTo>
                      <a:pt x="172" y="488"/>
                    </a:lnTo>
                    <a:lnTo>
                      <a:pt x="172" y="488"/>
                    </a:lnTo>
                    <a:lnTo>
                      <a:pt x="172" y="488"/>
                    </a:lnTo>
                    <a:lnTo>
                      <a:pt x="167" y="484"/>
                    </a:lnTo>
                    <a:lnTo>
                      <a:pt x="167" y="484"/>
                    </a:lnTo>
                    <a:lnTo>
                      <a:pt x="167" y="474"/>
                    </a:lnTo>
                    <a:lnTo>
                      <a:pt x="163" y="470"/>
                    </a:lnTo>
                    <a:lnTo>
                      <a:pt x="163" y="465"/>
                    </a:lnTo>
                    <a:lnTo>
                      <a:pt x="158" y="465"/>
                    </a:lnTo>
                    <a:lnTo>
                      <a:pt x="158" y="461"/>
                    </a:lnTo>
                    <a:lnTo>
                      <a:pt x="154" y="456"/>
                    </a:lnTo>
                    <a:lnTo>
                      <a:pt x="154" y="452"/>
                    </a:lnTo>
                    <a:lnTo>
                      <a:pt x="149" y="452"/>
                    </a:lnTo>
                    <a:lnTo>
                      <a:pt x="149" y="452"/>
                    </a:lnTo>
                    <a:lnTo>
                      <a:pt x="145" y="443"/>
                    </a:lnTo>
                    <a:lnTo>
                      <a:pt x="145" y="438"/>
                    </a:lnTo>
                    <a:lnTo>
                      <a:pt x="140" y="434"/>
                    </a:lnTo>
                    <a:lnTo>
                      <a:pt x="140" y="434"/>
                    </a:lnTo>
                    <a:lnTo>
                      <a:pt x="140" y="425"/>
                    </a:lnTo>
                    <a:lnTo>
                      <a:pt x="140" y="425"/>
                    </a:lnTo>
                    <a:lnTo>
                      <a:pt x="140" y="420"/>
                    </a:lnTo>
                    <a:lnTo>
                      <a:pt x="136" y="416"/>
                    </a:lnTo>
                    <a:lnTo>
                      <a:pt x="136" y="416"/>
                    </a:lnTo>
                    <a:lnTo>
                      <a:pt x="136" y="411"/>
                    </a:lnTo>
                    <a:lnTo>
                      <a:pt x="136" y="411"/>
                    </a:lnTo>
                    <a:lnTo>
                      <a:pt x="131" y="407"/>
                    </a:lnTo>
                    <a:lnTo>
                      <a:pt x="131" y="407"/>
                    </a:lnTo>
                    <a:lnTo>
                      <a:pt x="131" y="402"/>
                    </a:lnTo>
                    <a:lnTo>
                      <a:pt x="131" y="402"/>
                    </a:lnTo>
                    <a:lnTo>
                      <a:pt x="126" y="402"/>
                    </a:lnTo>
                    <a:lnTo>
                      <a:pt x="126" y="398"/>
                    </a:lnTo>
                    <a:lnTo>
                      <a:pt x="126" y="398"/>
                    </a:lnTo>
                    <a:lnTo>
                      <a:pt x="122" y="393"/>
                    </a:lnTo>
                    <a:lnTo>
                      <a:pt x="122" y="389"/>
                    </a:lnTo>
                    <a:lnTo>
                      <a:pt x="117" y="389"/>
                    </a:lnTo>
                    <a:lnTo>
                      <a:pt x="122" y="389"/>
                    </a:lnTo>
                    <a:lnTo>
                      <a:pt x="122" y="389"/>
                    </a:lnTo>
                    <a:lnTo>
                      <a:pt x="117" y="384"/>
                    </a:lnTo>
                    <a:lnTo>
                      <a:pt x="117" y="384"/>
                    </a:lnTo>
                    <a:lnTo>
                      <a:pt x="117" y="384"/>
                    </a:lnTo>
                    <a:lnTo>
                      <a:pt x="117" y="384"/>
                    </a:lnTo>
                    <a:lnTo>
                      <a:pt x="117" y="384"/>
                    </a:lnTo>
                    <a:lnTo>
                      <a:pt x="117" y="380"/>
                    </a:lnTo>
                    <a:lnTo>
                      <a:pt x="113" y="375"/>
                    </a:lnTo>
                    <a:lnTo>
                      <a:pt x="113" y="375"/>
                    </a:lnTo>
                    <a:lnTo>
                      <a:pt x="108" y="366"/>
                    </a:lnTo>
                    <a:lnTo>
                      <a:pt x="104" y="352"/>
                    </a:lnTo>
                    <a:lnTo>
                      <a:pt x="104" y="348"/>
                    </a:lnTo>
                    <a:lnTo>
                      <a:pt x="104" y="343"/>
                    </a:lnTo>
                    <a:lnTo>
                      <a:pt x="99" y="339"/>
                    </a:lnTo>
                    <a:lnTo>
                      <a:pt x="99" y="334"/>
                    </a:lnTo>
                    <a:lnTo>
                      <a:pt x="99" y="334"/>
                    </a:lnTo>
                    <a:lnTo>
                      <a:pt x="99" y="330"/>
                    </a:lnTo>
                    <a:lnTo>
                      <a:pt x="95" y="325"/>
                    </a:lnTo>
                    <a:lnTo>
                      <a:pt x="95" y="325"/>
                    </a:lnTo>
                    <a:lnTo>
                      <a:pt x="95" y="325"/>
                    </a:lnTo>
                    <a:lnTo>
                      <a:pt x="95" y="325"/>
                    </a:lnTo>
                    <a:lnTo>
                      <a:pt x="95" y="321"/>
                    </a:lnTo>
                    <a:lnTo>
                      <a:pt x="95" y="321"/>
                    </a:lnTo>
                    <a:lnTo>
                      <a:pt x="95" y="316"/>
                    </a:lnTo>
                    <a:lnTo>
                      <a:pt x="95" y="321"/>
                    </a:lnTo>
                    <a:lnTo>
                      <a:pt x="95" y="321"/>
                    </a:lnTo>
                    <a:lnTo>
                      <a:pt x="95" y="316"/>
                    </a:lnTo>
                    <a:lnTo>
                      <a:pt x="95" y="316"/>
                    </a:lnTo>
                    <a:lnTo>
                      <a:pt x="95" y="316"/>
                    </a:lnTo>
                    <a:lnTo>
                      <a:pt x="95" y="312"/>
                    </a:lnTo>
                    <a:lnTo>
                      <a:pt x="95" y="312"/>
                    </a:lnTo>
                    <a:lnTo>
                      <a:pt x="90" y="312"/>
                    </a:lnTo>
                    <a:lnTo>
                      <a:pt x="90" y="312"/>
                    </a:lnTo>
                    <a:lnTo>
                      <a:pt x="90" y="312"/>
                    </a:lnTo>
                    <a:lnTo>
                      <a:pt x="90" y="307"/>
                    </a:lnTo>
                    <a:lnTo>
                      <a:pt x="90" y="307"/>
                    </a:lnTo>
                    <a:lnTo>
                      <a:pt x="90" y="303"/>
                    </a:lnTo>
                    <a:lnTo>
                      <a:pt x="90" y="303"/>
                    </a:lnTo>
                    <a:lnTo>
                      <a:pt x="90" y="303"/>
                    </a:lnTo>
                    <a:lnTo>
                      <a:pt x="90" y="298"/>
                    </a:lnTo>
                    <a:lnTo>
                      <a:pt x="90" y="289"/>
                    </a:lnTo>
                    <a:lnTo>
                      <a:pt x="90" y="285"/>
                    </a:lnTo>
                    <a:lnTo>
                      <a:pt x="90" y="285"/>
                    </a:lnTo>
                    <a:lnTo>
                      <a:pt x="90" y="280"/>
                    </a:lnTo>
                    <a:lnTo>
                      <a:pt x="86" y="280"/>
                    </a:lnTo>
                    <a:lnTo>
                      <a:pt x="86" y="280"/>
                    </a:lnTo>
                    <a:lnTo>
                      <a:pt x="86" y="280"/>
                    </a:lnTo>
                    <a:lnTo>
                      <a:pt x="86" y="276"/>
                    </a:lnTo>
                    <a:lnTo>
                      <a:pt x="86" y="276"/>
                    </a:lnTo>
                    <a:lnTo>
                      <a:pt x="86" y="271"/>
                    </a:lnTo>
                    <a:lnTo>
                      <a:pt x="86" y="271"/>
                    </a:lnTo>
                    <a:lnTo>
                      <a:pt x="86" y="271"/>
                    </a:lnTo>
                    <a:lnTo>
                      <a:pt x="81" y="271"/>
                    </a:lnTo>
                    <a:lnTo>
                      <a:pt x="86" y="271"/>
                    </a:lnTo>
                    <a:lnTo>
                      <a:pt x="86" y="267"/>
                    </a:lnTo>
                    <a:lnTo>
                      <a:pt x="90" y="267"/>
                    </a:lnTo>
                    <a:lnTo>
                      <a:pt x="90" y="267"/>
                    </a:lnTo>
                    <a:lnTo>
                      <a:pt x="90" y="267"/>
                    </a:lnTo>
                    <a:lnTo>
                      <a:pt x="86" y="267"/>
                    </a:lnTo>
                    <a:lnTo>
                      <a:pt x="81" y="267"/>
                    </a:lnTo>
                    <a:lnTo>
                      <a:pt x="81" y="262"/>
                    </a:lnTo>
                    <a:lnTo>
                      <a:pt x="81" y="262"/>
                    </a:lnTo>
                    <a:lnTo>
                      <a:pt x="81" y="262"/>
                    </a:lnTo>
                    <a:lnTo>
                      <a:pt x="81" y="262"/>
                    </a:lnTo>
                    <a:lnTo>
                      <a:pt x="81" y="262"/>
                    </a:lnTo>
                    <a:lnTo>
                      <a:pt x="81" y="257"/>
                    </a:lnTo>
                    <a:lnTo>
                      <a:pt x="81" y="257"/>
                    </a:lnTo>
                    <a:lnTo>
                      <a:pt x="81" y="257"/>
                    </a:lnTo>
                    <a:lnTo>
                      <a:pt x="86" y="257"/>
                    </a:lnTo>
                    <a:lnTo>
                      <a:pt x="81" y="257"/>
                    </a:lnTo>
                    <a:lnTo>
                      <a:pt x="81" y="257"/>
                    </a:lnTo>
                    <a:lnTo>
                      <a:pt x="77" y="257"/>
                    </a:lnTo>
                    <a:lnTo>
                      <a:pt x="77" y="257"/>
                    </a:lnTo>
                    <a:lnTo>
                      <a:pt x="72" y="257"/>
                    </a:lnTo>
                    <a:lnTo>
                      <a:pt x="72" y="257"/>
                    </a:lnTo>
                    <a:lnTo>
                      <a:pt x="77" y="257"/>
                    </a:lnTo>
                    <a:lnTo>
                      <a:pt x="77" y="262"/>
                    </a:lnTo>
                    <a:lnTo>
                      <a:pt x="77" y="262"/>
                    </a:lnTo>
                    <a:lnTo>
                      <a:pt x="72" y="262"/>
                    </a:lnTo>
                    <a:lnTo>
                      <a:pt x="72" y="262"/>
                    </a:lnTo>
                    <a:lnTo>
                      <a:pt x="72" y="267"/>
                    </a:lnTo>
                    <a:lnTo>
                      <a:pt x="72" y="267"/>
                    </a:lnTo>
                    <a:lnTo>
                      <a:pt x="72" y="267"/>
                    </a:lnTo>
                    <a:lnTo>
                      <a:pt x="77" y="267"/>
                    </a:lnTo>
                    <a:lnTo>
                      <a:pt x="77" y="267"/>
                    </a:lnTo>
                    <a:lnTo>
                      <a:pt x="77" y="267"/>
                    </a:lnTo>
                    <a:lnTo>
                      <a:pt x="77" y="271"/>
                    </a:lnTo>
                    <a:lnTo>
                      <a:pt x="77" y="276"/>
                    </a:lnTo>
                    <a:lnTo>
                      <a:pt x="72" y="280"/>
                    </a:lnTo>
                    <a:lnTo>
                      <a:pt x="68" y="280"/>
                    </a:lnTo>
                    <a:lnTo>
                      <a:pt x="63" y="285"/>
                    </a:lnTo>
                    <a:lnTo>
                      <a:pt x="59" y="285"/>
                    </a:lnTo>
                    <a:lnTo>
                      <a:pt x="54" y="285"/>
                    </a:lnTo>
                    <a:lnTo>
                      <a:pt x="54" y="285"/>
                    </a:lnTo>
                    <a:lnTo>
                      <a:pt x="50" y="285"/>
                    </a:lnTo>
                    <a:lnTo>
                      <a:pt x="41" y="280"/>
                    </a:lnTo>
                    <a:lnTo>
                      <a:pt x="41" y="280"/>
                    </a:lnTo>
                    <a:lnTo>
                      <a:pt x="36" y="271"/>
                    </a:lnTo>
                    <a:lnTo>
                      <a:pt x="32" y="267"/>
                    </a:lnTo>
                    <a:lnTo>
                      <a:pt x="27" y="267"/>
                    </a:lnTo>
                    <a:lnTo>
                      <a:pt x="23" y="262"/>
                    </a:lnTo>
                    <a:lnTo>
                      <a:pt x="18" y="257"/>
                    </a:lnTo>
                    <a:lnTo>
                      <a:pt x="18" y="257"/>
                    </a:lnTo>
                    <a:lnTo>
                      <a:pt x="18" y="257"/>
                    </a:lnTo>
                    <a:lnTo>
                      <a:pt x="18" y="253"/>
                    </a:lnTo>
                    <a:lnTo>
                      <a:pt x="23" y="253"/>
                    </a:lnTo>
                    <a:lnTo>
                      <a:pt x="23" y="257"/>
                    </a:lnTo>
                    <a:lnTo>
                      <a:pt x="23" y="257"/>
                    </a:lnTo>
                    <a:lnTo>
                      <a:pt x="23" y="257"/>
                    </a:lnTo>
                    <a:lnTo>
                      <a:pt x="27" y="253"/>
                    </a:lnTo>
                    <a:lnTo>
                      <a:pt x="32" y="253"/>
                    </a:lnTo>
                    <a:lnTo>
                      <a:pt x="32" y="253"/>
                    </a:lnTo>
                    <a:lnTo>
                      <a:pt x="32" y="253"/>
                    </a:lnTo>
                    <a:lnTo>
                      <a:pt x="36" y="253"/>
                    </a:lnTo>
                    <a:lnTo>
                      <a:pt x="36" y="253"/>
                    </a:lnTo>
                    <a:lnTo>
                      <a:pt x="41" y="253"/>
                    </a:lnTo>
                    <a:lnTo>
                      <a:pt x="41" y="248"/>
                    </a:lnTo>
                    <a:lnTo>
                      <a:pt x="41" y="244"/>
                    </a:lnTo>
                    <a:lnTo>
                      <a:pt x="45" y="244"/>
                    </a:lnTo>
                    <a:lnTo>
                      <a:pt x="41" y="244"/>
                    </a:lnTo>
                    <a:lnTo>
                      <a:pt x="41" y="239"/>
                    </a:lnTo>
                    <a:lnTo>
                      <a:pt x="41" y="239"/>
                    </a:lnTo>
                    <a:lnTo>
                      <a:pt x="41" y="244"/>
                    </a:lnTo>
                    <a:lnTo>
                      <a:pt x="41" y="244"/>
                    </a:lnTo>
                    <a:lnTo>
                      <a:pt x="41" y="244"/>
                    </a:lnTo>
                    <a:lnTo>
                      <a:pt x="41" y="244"/>
                    </a:lnTo>
                    <a:lnTo>
                      <a:pt x="36" y="244"/>
                    </a:lnTo>
                    <a:lnTo>
                      <a:pt x="36" y="244"/>
                    </a:lnTo>
                    <a:lnTo>
                      <a:pt x="32" y="244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23" y="248"/>
                    </a:lnTo>
                    <a:lnTo>
                      <a:pt x="14" y="244"/>
                    </a:lnTo>
                    <a:lnTo>
                      <a:pt x="9" y="239"/>
                    </a:lnTo>
                    <a:lnTo>
                      <a:pt x="9" y="235"/>
                    </a:lnTo>
                    <a:lnTo>
                      <a:pt x="4" y="235"/>
                    </a:lnTo>
                    <a:lnTo>
                      <a:pt x="4" y="230"/>
                    </a:lnTo>
                    <a:lnTo>
                      <a:pt x="9" y="230"/>
                    </a:lnTo>
                    <a:lnTo>
                      <a:pt x="9" y="226"/>
                    </a:lnTo>
                    <a:lnTo>
                      <a:pt x="9" y="230"/>
                    </a:lnTo>
                    <a:lnTo>
                      <a:pt x="4" y="230"/>
                    </a:lnTo>
                    <a:lnTo>
                      <a:pt x="4" y="230"/>
                    </a:lnTo>
                    <a:lnTo>
                      <a:pt x="4" y="230"/>
                    </a:lnTo>
                    <a:lnTo>
                      <a:pt x="4" y="230"/>
                    </a:lnTo>
                    <a:lnTo>
                      <a:pt x="0" y="230"/>
                    </a:lnTo>
                    <a:lnTo>
                      <a:pt x="0" y="226"/>
                    </a:lnTo>
                    <a:lnTo>
                      <a:pt x="0" y="226"/>
                    </a:lnTo>
                    <a:lnTo>
                      <a:pt x="4" y="226"/>
                    </a:lnTo>
                    <a:lnTo>
                      <a:pt x="4" y="226"/>
                    </a:lnTo>
                    <a:lnTo>
                      <a:pt x="4" y="226"/>
                    </a:lnTo>
                    <a:lnTo>
                      <a:pt x="9" y="226"/>
                    </a:lnTo>
                    <a:lnTo>
                      <a:pt x="9" y="226"/>
                    </a:lnTo>
                    <a:lnTo>
                      <a:pt x="9" y="221"/>
                    </a:lnTo>
                    <a:lnTo>
                      <a:pt x="9" y="217"/>
                    </a:lnTo>
                    <a:lnTo>
                      <a:pt x="9" y="217"/>
                    </a:lnTo>
                    <a:lnTo>
                      <a:pt x="9" y="217"/>
                    </a:lnTo>
                    <a:lnTo>
                      <a:pt x="9" y="217"/>
                    </a:lnTo>
                    <a:lnTo>
                      <a:pt x="9" y="221"/>
                    </a:lnTo>
                    <a:lnTo>
                      <a:pt x="9" y="221"/>
                    </a:lnTo>
                    <a:lnTo>
                      <a:pt x="14" y="217"/>
                    </a:lnTo>
                    <a:lnTo>
                      <a:pt x="14" y="221"/>
                    </a:lnTo>
                    <a:lnTo>
                      <a:pt x="14" y="217"/>
                    </a:lnTo>
                    <a:lnTo>
                      <a:pt x="14" y="221"/>
                    </a:lnTo>
                    <a:lnTo>
                      <a:pt x="18" y="221"/>
                    </a:lnTo>
                    <a:lnTo>
                      <a:pt x="23" y="217"/>
                    </a:lnTo>
                    <a:lnTo>
                      <a:pt x="23" y="217"/>
                    </a:lnTo>
                    <a:lnTo>
                      <a:pt x="23" y="221"/>
                    </a:lnTo>
                    <a:lnTo>
                      <a:pt x="27" y="221"/>
                    </a:lnTo>
                    <a:lnTo>
                      <a:pt x="27" y="221"/>
                    </a:lnTo>
                    <a:lnTo>
                      <a:pt x="32" y="221"/>
                    </a:lnTo>
                    <a:lnTo>
                      <a:pt x="32" y="221"/>
                    </a:lnTo>
                    <a:lnTo>
                      <a:pt x="32" y="221"/>
                    </a:lnTo>
                    <a:lnTo>
                      <a:pt x="32" y="217"/>
                    </a:lnTo>
                    <a:lnTo>
                      <a:pt x="36" y="217"/>
                    </a:lnTo>
                    <a:lnTo>
                      <a:pt x="36" y="217"/>
                    </a:lnTo>
                    <a:lnTo>
                      <a:pt x="41" y="217"/>
                    </a:lnTo>
                    <a:lnTo>
                      <a:pt x="41" y="217"/>
                    </a:lnTo>
                    <a:lnTo>
                      <a:pt x="41" y="217"/>
                    </a:lnTo>
                    <a:lnTo>
                      <a:pt x="41" y="217"/>
                    </a:lnTo>
                    <a:lnTo>
                      <a:pt x="41" y="217"/>
                    </a:lnTo>
                    <a:lnTo>
                      <a:pt x="41" y="221"/>
                    </a:lnTo>
                    <a:lnTo>
                      <a:pt x="45" y="217"/>
                    </a:lnTo>
                    <a:lnTo>
                      <a:pt x="45" y="217"/>
                    </a:lnTo>
                    <a:lnTo>
                      <a:pt x="45" y="217"/>
                    </a:lnTo>
                    <a:lnTo>
                      <a:pt x="45" y="217"/>
                    </a:lnTo>
                    <a:lnTo>
                      <a:pt x="45" y="217"/>
                    </a:lnTo>
                    <a:lnTo>
                      <a:pt x="45" y="217"/>
                    </a:lnTo>
                    <a:lnTo>
                      <a:pt x="45" y="217"/>
                    </a:lnTo>
                    <a:lnTo>
                      <a:pt x="45" y="217"/>
                    </a:lnTo>
                    <a:lnTo>
                      <a:pt x="45" y="212"/>
                    </a:lnTo>
                    <a:lnTo>
                      <a:pt x="45" y="212"/>
                    </a:lnTo>
                    <a:lnTo>
                      <a:pt x="45" y="212"/>
                    </a:lnTo>
                    <a:lnTo>
                      <a:pt x="45" y="212"/>
                    </a:lnTo>
                    <a:lnTo>
                      <a:pt x="45" y="212"/>
                    </a:lnTo>
                    <a:lnTo>
                      <a:pt x="45" y="212"/>
                    </a:lnTo>
                    <a:lnTo>
                      <a:pt x="45" y="208"/>
                    </a:lnTo>
                    <a:lnTo>
                      <a:pt x="45" y="208"/>
                    </a:lnTo>
                    <a:lnTo>
                      <a:pt x="41" y="203"/>
                    </a:lnTo>
                    <a:lnTo>
                      <a:pt x="41" y="199"/>
                    </a:lnTo>
                    <a:lnTo>
                      <a:pt x="36" y="199"/>
                    </a:lnTo>
                    <a:lnTo>
                      <a:pt x="36" y="199"/>
                    </a:lnTo>
                    <a:lnTo>
                      <a:pt x="36" y="194"/>
                    </a:lnTo>
                    <a:lnTo>
                      <a:pt x="36" y="190"/>
                    </a:lnTo>
                    <a:lnTo>
                      <a:pt x="36" y="190"/>
                    </a:lnTo>
                    <a:lnTo>
                      <a:pt x="36" y="190"/>
                    </a:lnTo>
                    <a:lnTo>
                      <a:pt x="32" y="190"/>
                    </a:lnTo>
                    <a:lnTo>
                      <a:pt x="32" y="190"/>
                    </a:lnTo>
                    <a:lnTo>
                      <a:pt x="32" y="190"/>
                    </a:lnTo>
                    <a:lnTo>
                      <a:pt x="32" y="190"/>
                    </a:lnTo>
                    <a:lnTo>
                      <a:pt x="27" y="185"/>
                    </a:lnTo>
                    <a:lnTo>
                      <a:pt x="27" y="185"/>
                    </a:lnTo>
                    <a:lnTo>
                      <a:pt x="27" y="185"/>
                    </a:lnTo>
                    <a:lnTo>
                      <a:pt x="27" y="181"/>
                    </a:lnTo>
                    <a:lnTo>
                      <a:pt x="27" y="181"/>
                    </a:lnTo>
                    <a:lnTo>
                      <a:pt x="27" y="176"/>
                    </a:lnTo>
                    <a:lnTo>
                      <a:pt x="23" y="176"/>
                    </a:lnTo>
                    <a:lnTo>
                      <a:pt x="23" y="176"/>
                    </a:lnTo>
                    <a:lnTo>
                      <a:pt x="23" y="176"/>
                    </a:lnTo>
                    <a:lnTo>
                      <a:pt x="23" y="176"/>
                    </a:lnTo>
                    <a:lnTo>
                      <a:pt x="18" y="172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14" y="167"/>
                    </a:lnTo>
                    <a:lnTo>
                      <a:pt x="14" y="163"/>
                    </a:lnTo>
                    <a:lnTo>
                      <a:pt x="14" y="163"/>
                    </a:lnTo>
                    <a:lnTo>
                      <a:pt x="14" y="163"/>
                    </a:lnTo>
                    <a:lnTo>
                      <a:pt x="14" y="163"/>
                    </a:lnTo>
                    <a:lnTo>
                      <a:pt x="14" y="163"/>
                    </a:lnTo>
                    <a:lnTo>
                      <a:pt x="18" y="158"/>
                    </a:lnTo>
                    <a:lnTo>
                      <a:pt x="18" y="153"/>
                    </a:lnTo>
                    <a:lnTo>
                      <a:pt x="18" y="149"/>
                    </a:lnTo>
                    <a:lnTo>
                      <a:pt x="18" y="149"/>
                    </a:lnTo>
                    <a:lnTo>
                      <a:pt x="23" y="149"/>
                    </a:lnTo>
                    <a:lnTo>
                      <a:pt x="23" y="149"/>
                    </a:lnTo>
                    <a:lnTo>
                      <a:pt x="23" y="149"/>
                    </a:lnTo>
                    <a:lnTo>
                      <a:pt x="23" y="149"/>
                    </a:lnTo>
                    <a:lnTo>
                      <a:pt x="27" y="149"/>
                    </a:lnTo>
                    <a:lnTo>
                      <a:pt x="27" y="149"/>
                    </a:lnTo>
                    <a:lnTo>
                      <a:pt x="27" y="149"/>
                    </a:lnTo>
                    <a:lnTo>
                      <a:pt x="27" y="153"/>
                    </a:lnTo>
                    <a:lnTo>
                      <a:pt x="32" y="153"/>
                    </a:lnTo>
                    <a:lnTo>
                      <a:pt x="32" y="153"/>
                    </a:lnTo>
                    <a:lnTo>
                      <a:pt x="32" y="153"/>
                    </a:lnTo>
                    <a:lnTo>
                      <a:pt x="36" y="149"/>
                    </a:lnTo>
                    <a:lnTo>
                      <a:pt x="41" y="149"/>
                    </a:lnTo>
                    <a:lnTo>
                      <a:pt x="41" y="149"/>
                    </a:lnTo>
                    <a:lnTo>
                      <a:pt x="45" y="149"/>
                    </a:lnTo>
                    <a:lnTo>
                      <a:pt x="50" y="149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0"/>
                    </a:lnTo>
                    <a:lnTo>
                      <a:pt x="50" y="140"/>
                    </a:lnTo>
                    <a:lnTo>
                      <a:pt x="50" y="135"/>
                    </a:lnTo>
                    <a:lnTo>
                      <a:pt x="50" y="131"/>
                    </a:lnTo>
                    <a:lnTo>
                      <a:pt x="54" y="131"/>
                    </a:lnTo>
                    <a:lnTo>
                      <a:pt x="54" y="131"/>
                    </a:lnTo>
                    <a:lnTo>
                      <a:pt x="59" y="126"/>
                    </a:lnTo>
                    <a:lnTo>
                      <a:pt x="59" y="126"/>
                    </a:lnTo>
                    <a:lnTo>
                      <a:pt x="63" y="122"/>
                    </a:lnTo>
                    <a:lnTo>
                      <a:pt x="63" y="117"/>
                    </a:lnTo>
                    <a:lnTo>
                      <a:pt x="63" y="117"/>
                    </a:lnTo>
                    <a:lnTo>
                      <a:pt x="63" y="113"/>
                    </a:lnTo>
                    <a:lnTo>
                      <a:pt x="63" y="108"/>
                    </a:lnTo>
                    <a:lnTo>
                      <a:pt x="63" y="108"/>
                    </a:lnTo>
                    <a:lnTo>
                      <a:pt x="68" y="108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99"/>
                    </a:lnTo>
                    <a:lnTo>
                      <a:pt x="72" y="99"/>
                    </a:lnTo>
                    <a:lnTo>
                      <a:pt x="72" y="99"/>
                    </a:lnTo>
                    <a:lnTo>
                      <a:pt x="72" y="99"/>
                    </a:lnTo>
                    <a:lnTo>
                      <a:pt x="72" y="95"/>
                    </a:lnTo>
                    <a:lnTo>
                      <a:pt x="77" y="90"/>
                    </a:lnTo>
                    <a:lnTo>
                      <a:pt x="77" y="90"/>
                    </a:lnTo>
                    <a:lnTo>
                      <a:pt x="77" y="90"/>
                    </a:lnTo>
                    <a:lnTo>
                      <a:pt x="81" y="86"/>
                    </a:lnTo>
                    <a:lnTo>
                      <a:pt x="81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81"/>
                    </a:lnTo>
                    <a:lnTo>
                      <a:pt x="77" y="81"/>
                    </a:lnTo>
                    <a:lnTo>
                      <a:pt x="77" y="77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7" y="72"/>
                    </a:lnTo>
                    <a:lnTo>
                      <a:pt x="77" y="72"/>
                    </a:lnTo>
                    <a:lnTo>
                      <a:pt x="77" y="68"/>
                    </a:lnTo>
                    <a:lnTo>
                      <a:pt x="81" y="68"/>
                    </a:lnTo>
                    <a:lnTo>
                      <a:pt x="81" y="68"/>
                    </a:lnTo>
                    <a:lnTo>
                      <a:pt x="86" y="68"/>
                    </a:lnTo>
                    <a:lnTo>
                      <a:pt x="86" y="63"/>
                    </a:lnTo>
                    <a:lnTo>
                      <a:pt x="86" y="63"/>
                    </a:lnTo>
                    <a:lnTo>
                      <a:pt x="86" y="63"/>
                    </a:lnTo>
                    <a:lnTo>
                      <a:pt x="81" y="63"/>
                    </a:lnTo>
                    <a:lnTo>
                      <a:pt x="81" y="59"/>
                    </a:lnTo>
                    <a:lnTo>
                      <a:pt x="77" y="59"/>
                    </a:lnTo>
                    <a:lnTo>
                      <a:pt x="77" y="59"/>
                    </a:lnTo>
                    <a:lnTo>
                      <a:pt x="72" y="59"/>
                    </a:lnTo>
                    <a:lnTo>
                      <a:pt x="72" y="59"/>
                    </a:lnTo>
                    <a:lnTo>
                      <a:pt x="72" y="59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68" y="54"/>
                    </a:lnTo>
                    <a:lnTo>
                      <a:pt x="68" y="54"/>
                    </a:lnTo>
                    <a:lnTo>
                      <a:pt x="68" y="54"/>
                    </a:lnTo>
                    <a:lnTo>
                      <a:pt x="68" y="54"/>
                    </a:lnTo>
                    <a:lnTo>
                      <a:pt x="63" y="49"/>
                    </a:lnTo>
                    <a:lnTo>
                      <a:pt x="63" y="49"/>
                    </a:lnTo>
                    <a:lnTo>
                      <a:pt x="63" y="49"/>
                    </a:lnTo>
                    <a:lnTo>
                      <a:pt x="63" y="49"/>
                    </a:lnTo>
                    <a:lnTo>
                      <a:pt x="63" y="49"/>
                    </a:lnTo>
                    <a:lnTo>
                      <a:pt x="59" y="45"/>
                    </a:lnTo>
                    <a:lnTo>
                      <a:pt x="59" y="45"/>
                    </a:lnTo>
                    <a:lnTo>
                      <a:pt x="59" y="45"/>
                    </a:lnTo>
                    <a:lnTo>
                      <a:pt x="59" y="45"/>
                    </a:lnTo>
                    <a:lnTo>
                      <a:pt x="59" y="45"/>
                    </a:lnTo>
                    <a:lnTo>
                      <a:pt x="59" y="40"/>
                    </a:lnTo>
                    <a:lnTo>
                      <a:pt x="59" y="40"/>
                    </a:lnTo>
                    <a:lnTo>
                      <a:pt x="59" y="40"/>
                    </a:lnTo>
                    <a:lnTo>
                      <a:pt x="59" y="40"/>
                    </a:lnTo>
                    <a:lnTo>
                      <a:pt x="59" y="40"/>
                    </a:lnTo>
                    <a:lnTo>
                      <a:pt x="59" y="36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9" y="36"/>
                    </a:lnTo>
                    <a:lnTo>
                      <a:pt x="59" y="31"/>
                    </a:lnTo>
                    <a:lnTo>
                      <a:pt x="59" y="31"/>
                    </a:lnTo>
                    <a:lnTo>
                      <a:pt x="59" y="31"/>
                    </a:lnTo>
                    <a:lnTo>
                      <a:pt x="59" y="31"/>
                    </a:lnTo>
                    <a:lnTo>
                      <a:pt x="59" y="31"/>
                    </a:lnTo>
                    <a:lnTo>
                      <a:pt x="54" y="31"/>
                    </a:lnTo>
                    <a:lnTo>
                      <a:pt x="54" y="31"/>
                    </a:lnTo>
                    <a:lnTo>
                      <a:pt x="54" y="31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0" y="27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63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7" y="18"/>
                    </a:lnTo>
                    <a:lnTo>
                      <a:pt x="77" y="22"/>
                    </a:lnTo>
                    <a:lnTo>
                      <a:pt x="81" y="22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90" y="13"/>
                    </a:lnTo>
                    <a:lnTo>
                      <a:pt x="90" y="13"/>
                    </a:lnTo>
                    <a:lnTo>
                      <a:pt x="90" y="13"/>
                    </a:lnTo>
                    <a:lnTo>
                      <a:pt x="95" y="13"/>
                    </a:lnTo>
                    <a:lnTo>
                      <a:pt x="95" y="13"/>
                    </a:lnTo>
                    <a:lnTo>
                      <a:pt x="95" y="13"/>
                    </a:lnTo>
                    <a:lnTo>
                      <a:pt x="95" y="13"/>
                    </a:lnTo>
                    <a:lnTo>
                      <a:pt x="95" y="13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13" y="4"/>
                    </a:lnTo>
                    <a:lnTo>
                      <a:pt x="113" y="4"/>
                    </a:lnTo>
                    <a:lnTo>
                      <a:pt x="113" y="9"/>
                    </a:lnTo>
                    <a:lnTo>
                      <a:pt x="117" y="9"/>
                    </a:lnTo>
                    <a:lnTo>
                      <a:pt x="117" y="13"/>
                    </a:lnTo>
                    <a:lnTo>
                      <a:pt x="122" y="18"/>
                    </a:lnTo>
                    <a:lnTo>
                      <a:pt x="122" y="18"/>
                    </a:lnTo>
                    <a:lnTo>
                      <a:pt x="122" y="18"/>
                    </a:lnTo>
                    <a:lnTo>
                      <a:pt x="126" y="18"/>
                    </a:lnTo>
                    <a:lnTo>
                      <a:pt x="126" y="18"/>
                    </a:lnTo>
                    <a:lnTo>
                      <a:pt x="131" y="22"/>
                    </a:lnTo>
                    <a:lnTo>
                      <a:pt x="131" y="22"/>
                    </a:lnTo>
                    <a:lnTo>
                      <a:pt x="131" y="22"/>
                    </a:lnTo>
                    <a:lnTo>
                      <a:pt x="131" y="22"/>
                    </a:lnTo>
                    <a:lnTo>
                      <a:pt x="131" y="22"/>
                    </a:lnTo>
                    <a:lnTo>
                      <a:pt x="131" y="22"/>
                    </a:lnTo>
                    <a:lnTo>
                      <a:pt x="131" y="27"/>
                    </a:lnTo>
                    <a:lnTo>
                      <a:pt x="131" y="27"/>
                    </a:lnTo>
                    <a:lnTo>
                      <a:pt x="131" y="27"/>
                    </a:lnTo>
                    <a:lnTo>
                      <a:pt x="131" y="31"/>
                    </a:lnTo>
                    <a:lnTo>
                      <a:pt x="131" y="31"/>
                    </a:lnTo>
                    <a:lnTo>
                      <a:pt x="136" y="36"/>
                    </a:lnTo>
                    <a:lnTo>
                      <a:pt x="136" y="36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40" y="45"/>
                    </a:lnTo>
                    <a:lnTo>
                      <a:pt x="140" y="45"/>
                    </a:lnTo>
                    <a:lnTo>
                      <a:pt x="140" y="45"/>
                    </a:lnTo>
                    <a:lnTo>
                      <a:pt x="140" y="45"/>
                    </a:lnTo>
                    <a:lnTo>
                      <a:pt x="140" y="45"/>
                    </a:lnTo>
                    <a:lnTo>
                      <a:pt x="145" y="49"/>
                    </a:lnTo>
                    <a:lnTo>
                      <a:pt x="145" y="49"/>
                    </a:lnTo>
                    <a:lnTo>
                      <a:pt x="145" y="49"/>
                    </a:lnTo>
                    <a:lnTo>
                      <a:pt x="145" y="49"/>
                    </a:lnTo>
                    <a:lnTo>
                      <a:pt x="145" y="54"/>
                    </a:lnTo>
                    <a:lnTo>
                      <a:pt x="145" y="54"/>
                    </a:lnTo>
                    <a:lnTo>
                      <a:pt x="145" y="54"/>
                    </a:lnTo>
                    <a:lnTo>
                      <a:pt x="145" y="59"/>
                    </a:lnTo>
                    <a:lnTo>
                      <a:pt x="145" y="59"/>
                    </a:lnTo>
                    <a:lnTo>
                      <a:pt x="145" y="59"/>
                    </a:lnTo>
                    <a:lnTo>
                      <a:pt x="145" y="59"/>
                    </a:lnTo>
                    <a:lnTo>
                      <a:pt x="145" y="59"/>
                    </a:lnTo>
                    <a:lnTo>
                      <a:pt x="145" y="59"/>
                    </a:lnTo>
                    <a:lnTo>
                      <a:pt x="140" y="59"/>
                    </a:lnTo>
                    <a:lnTo>
                      <a:pt x="140" y="59"/>
                    </a:lnTo>
                    <a:lnTo>
                      <a:pt x="140" y="59"/>
                    </a:lnTo>
                    <a:lnTo>
                      <a:pt x="140" y="54"/>
                    </a:lnTo>
                    <a:lnTo>
                      <a:pt x="140" y="54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1" y="59"/>
                    </a:lnTo>
                    <a:lnTo>
                      <a:pt x="131" y="59"/>
                    </a:lnTo>
                    <a:lnTo>
                      <a:pt x="136" y="59"/>
                    </a:lnTo>
                    <a:lnTo>
                      <a:pt x="136" y="59"/>
                    </a:lnTo>
                    <a:lnTo>
                      <a:pt x="136" y="63"/>
                    </a:lnTo>
                    <a:lnTo>
                      <a:pt x="136" y="63"/>
                    </a:lnTo>
                    <a:lnTo>
                      <a:pt x="136" y="63"/>
                    </a:lnTo>
                    <a:lnTo>
                      <a:pt x="140" y="68"/>
                    </a:lnTo>
                    <a:lnTo>
                      <a:pt x="140" y="68"/>
                    </a:lnTo>
                    <a:lnTo>
                      <a:pt x="140" y="68"/>
                    </a:lnTo>
                    <a:lnTo>
                      <a:pt x="140" y="68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56" name="Freeform 77"/>
              <p:cNvSpPr>
                <a:spLocks/>
              </p:cNvSpPr>
              <p:nvPr/>
            </p:nvSpPr>
            <p:spPr bwMode="auto">
              <a:xfrm>
                <a:off x="4084638" y="1295401"/>
                <a:ext cx="100013" cy="114300"/>
              </a:xfrm>
              <a:custGeom>
                <a:avLst/>
                <a:gdLst>
                  <a:gd name="T0" fmla="*/ 45 w 63"/>
                  <a:gd name="T1" fmla="*/ 9 h 72"/>
                  <a:gd name="T2" fmla="*/ 40 w 63"/>
                  <a:gd name="T3" fmla="*/ 13 h 72"/>
                  <a:gd name="T4" fmla="*/ 40 w 63"/>
                  <a:gd name="T5" fmla="*/ 13 h 72"/>
                  <a:gd name="T6" fmla="*/ 36 w 63"/>
                  <a:gd name="T7" fmla="*/ 18 h 72"/>
                  <a:gd name="T8" fmla="*/ 40 w 63"/>
                  <a:gd name="T9" fmla="*/ 22 h 72"/>
                  <a:gd name="T10" fmla="*/ 45 w 63"/>
                  <a:gd name="T11" fmla="*/ 22 h 72"/>
                  <a:gd name="T12" fmla="*/ 49 w 63"/>
                  <a:gd name="T13" fmla="*/ 22 h 72"/>
                  <a:gd name="T14" fmla="*/ 54 w 63"/>
                  <a:gd name="T15" fmla="*/ 18 h 72"/>
                  <a:gd name="T16" fmla="*/ 54 w 63"/>
                  <a:gd name="T17" fmla="*/ 22 h 72"/>
                  <a:gd name="T18" fmla="*/ 58 w 63"/>
                  <a:gd name="T19" fmla="*/ 27 h 72"/>
                  <a:gd name="T20" fmla="*/ 63 w 63"/>
                  <a:gd name="T21" fmla="*/ 27 h 72"/>
                  <a:gd name="T22" fmla="*/ 58 w 63"/>
                  <a:gd name="T23" fmla="*/ 27 h 72"/>
                  <a:gd name="T24" fmla="*/ 63 w 63"/>
                  <a:gd name="T25" fmla="*/ 31 h 72"/>
                  <a:gd name="T26" fmla="*/ 63 w 63"/>
                  <a:gd name="T27" fmla="*/ 40 h 72"/>
                  <a:gd name="T28" fmla="*/ 63 w 63"/>
                  <a:gd name="T29" fmla="*/ 49 h 72"/>
                  <a:gd name="T30" fmla="*/ 58 w 63"/>
                  <a:gd name="T31" fmla="*/ 58 h 72"/>
                  <a:gd name="T32" fmla="*/ 54 w 63"/>
                  <a:gd name="T33" fmla="*/ 58 h 72"/>
                  <a:gd name="T34" fmla="*/ 49 w 63"/>
                  <a:gd name="T35" fmla="*/ 58 h 72"/>
                  <a:gd name="T36" fmla="*/ 40 w 63"/>
                  <a:gd name="T37" fmla="*/ 63 h 72"/>
                  <a:gd name="T38" fmla="*/ 36 w 63"/>
                  <a:gd name="T39" fmla="*/ 63 h 72"/>
                  <a:gd name="T40" fmla="*/ 31 w 63"/>
                  <a:gd name="T41" fmla="*/ 67 h 72"/>
                  <a:gd name="T42" fmla="*/ 27 w 63"/>
                  <a:gd name="T43" fmla="*/ 67 h 72"/>
                  <a:gd name="T44" fmla="*/ 27 w 63"/>
                  <a:gd name="T45" fmla="*/ 67 h 72"/>
                  <a:gd name="T46" fmla="*/ 13 w 63"/>
                  <a:gd name="T47" fmla="*/ 72 h 72"/>
                  <a:gd name="T48" fmla="*/ 4 w 63"/>
                  <a:gd name="T49" fmla="*/ 72 h 72"/>
                  <a:gd name="T50" fmla="*/ 4 w 63"/>
                  <a:gd name="T51" fmla="*/ 72 h 72"/>
                  <a:gd name="T52" fmla="*/ 4 w 63"/>
                  <a:gd name="T53" fmla="*/ 67 h 72"/>
                  <a:gd name="T54" fmla="*/ 0 w 63"/>
                  <a:gd name="T55" fmla="*/ 67 h 72"/>
                  <a:gd name="T56" fmla="*/ 0 w 63"/>
                  <a:gd name="T57" fmla="*/ 63 h 72"/>
                  <a:gd name="T58" fmla="*/ 0 w 63"/>
                  <a:gd name="T59" fmla="*/ 63 h 72"/>
                  <a:gd name="T60" fmla="*/ 4 w 63"/>
                  <a:gd name="T61" fmla="*/ 58 h 72"/>
                  <a:gd name="T62" fmla="*/ 9 w 63"/>
                  <a:gd name="T63" fmla="*/ 58 h 72"/>
                  <a:gd name="T64" fmla="*/ 9 w 63"/>
                  <a:gd name="T65" fmla="*/ 54 h 72"/>
                  <a:gd name="T66" fmla="*/ 22 w 63"/>
                  <a:gd name="T67" fmla="*/ 49 h 72"/>
                  <a:gd name="T68" fmla="*/ 13 w 63"/>
                  <a:gd name="T69" fmla="*/ 49 h 72"/>
                  <a:gd name="T70" fmla="*/ 4 w 63"/>
                  <a:gd name="T71" fmla="*/ 54 h 72"/>
                  <a:gd name="T72" fmla="*/ 13 w 63"/>
                  <a:gd name="T73" fmla="*/ 45 h 72"/>
                  <a:gd name="T74" fmla="*/ 18 w 63"/>
                  <a:gd name="T75" fmla="*/ 40 h 72"/>
                  <a:gd name="T76" fmla="*/ 18 w 63"/>
                  <a:gd name="T77" fmla="*/ 40 h 72"/>
                  <a:gd name="T78" fmla="*/ 13 w 63"/>
                  <a:gd name="T79" fmla="*/ 40 h 72"/>
                  <a:gd name="T80" fmla="*/ 9 w 63"/>
                  <a:gd name="T81" fmla="*/ 36 h 72"/>
                  <a:gd name="T82" fmla="*/ 4 w 63"/>
                  <a:gd name="T83" fmla="*/ 36 h 72"/>
                  <a:gd name="T84" fmla="*/ 9 w 63"/>
                  <a:gd name="T85" fmla="*/ 36 h 72"/>
                  <a:gd name="T86" fmla="*/ 9 w 63"/>
                  <a:gd name="T87" fmla="*/ 31 h 72"/>
                  <a:gd name="T88" fmla="*/ 13 w 63"/>
                  <a:gd name="T89" fmla="*/ 27 h 72"/>
                  <a:gd name="T90" fmla="*/ 9 w 63"/>
                  <a:gd name="T91" fmla="*/ 27 h 72"/>
                  <a:gd name="T92" fmla="*/ 9 w 63"/>
                  <a:gd name="T93" fmla="*/ 22 h 72"/>
                  <a:gd name="T94" fmla="*/ 13 w 63"/>
                  <a:gd name="T95" fmla="*/ 22 h 72"/>
                  <a:gd name="T96" fmla="*/ 22 w 63"/>
                  <a:gd name="T97" fmla="*/ 22 h 72"/>
                  <a:gd name="T98" fmla="*/ 31 w 63"/>
                  <a:gd name="T99" fmla="*/ 22 h 72"/>
                  <a:gd name="T100" fmla="*/ 31 w 63"/>
                  <a:gd name="T101" fmla="*/ 18 h 72"/>
                  <a:gd name="T102" fmla="*/ 31 w 63"/>
                  <a:gd name="T103" fmla="*/ 13 h 72"/>
                  <a:gd name="T104" fmla="*/ 31 w 63"/>
                  <a:gd name="T105" fmla="*/ 9 h 72"/>
                  <a:gd name="T106" fmla="*/ 36 w 63"/>
                  <a:gd name="T107" fmla="*/ 4 h 72"/>
                  <a:gd name="T108" fmla="*/ 40 w 63"/>
                  <a:gd name="T109" fmla="*/ 4 h 72"/>
                  <a:gd name="T110" fmla="*/ 45 w 63"/>
                  <a:gd name="T111" fmla="*/ 4 h 72"/>
                  <a:gd name="T112" fmla="*/ 45 w 63"/>
                  <a:gd name="T113" fmla="*/ 4 h 72"/>
                  <a:gd name="T114" fmla="*/ 45 w 63"/>
                  <a:gd name="T115" fmla="*/ 4 h 72"/>
                  <a:gd name="T116" fmla="*/ 49 w 63"/>
                  <a:gd name="T117" fmla="*/ 0 h 72"/>
                  <a:gd name="T118" fmla="*/ 54 w 63"/>
                  <a:gd name="T119" fmla="*/ 4 h 72"/>
                  <a:gd name="T120" fmla="*/ 49 w 63"/>
                  <a:gd name="T121" fmla="*/ 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" h="72">
                    <a:moveTo>
                      <a:pt x="49" y="9"/>
                    </a:moveTo>
                    <a:lnTo>
                      <a:pt x="49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5" y="22"/>
                    </a:lnTo>
                    <a:lnTo>
                      <a:pt x="45" y="22"/>
                    </a:lnTo>
                    <a:lnTo>
                      <a:pt x="45" y="22"/>
                    </a:lnTo>
                    <a:lnTo>
                      <a:pt x="45" y="22"/>
                    </a:lnTo>
                    <a:lnTo>
                      <a:pt x="45" y="22"/>
                    </a:lnTo>
                    <a:lnTo>
                      <a:pt x="45" y="22"/>
                    </a:lnTo>
                    <a:lnTo>
                      <a:pt x="49" y="22"/>
                    </a:lnTo>
                    <a:lnTo>
                      <a:pt x="49" y="22"/>
                    </a:lnTo>
                    <a:lnTo>
                      <a:pt x="49" y="22"/>
                    </a:lnTo>
                    <a:lnTo>
                      <a:pt x="49" y="22"/>
                    </a:lnTo>
                    <a:lnTo>
                      <a:pt x="49" y="18"/>
                    </a:lnTo>
                    <a:lnTo>
                      <a:pt x="49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8" y="27"/>
                    </a:lnTo>
                    <a:lnTo>
                      <a:pt x="58" y="27"/>
                    </a:lnTo>
                    <a:lnTo>
                      <a:pt x="58" y="27"/>
                    </a:lnTo>
                    <a:lnTo>
                      <a:pt x="58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58" y="27"/>
                    </a:lnTo>
                    <a:lnTo>
                      <a:pt x="58" y="27"/>
                    </a:lnTo>
                    <a:lnTo>
                      <a:pt x="58" y="27"/>
                    </a:lnTo>
                    <a:lnTo>
                      <a:pt x="63" y="31"/>
                    </a:lnTo>
                    <a:lnTo>
                      <a:pt x="63" y="31"/>
                    </a:lnTo>
                    <a:lnTo>
                      <a:pt x="63" y="31"/>
                    </a:lnTo>
                    <a:lnTo>
                      <a:pt x="63" y="36"/>
                    </a:lnTo>
                    <a:lnTo>
                      <a:pt x="63" y="36"/>
                    </a:lnTo>
                    <a:lnTo>
                      <a:pt x="63" y="36"/>
                    </a:lnTo>
                    <a:lnTo>
                      <a:pt x="63" y="36"/>
                    </a:lnTo>
                    <a:lnTo>
                      <a:pt x="63" y="40"/>
                    </a:lnTo>
                    <a:lnTo>
                      <a:pt x="63" y="40"/>
                    </a:lnTo>
                    <a:lnTo>
                      <a:pt x="63" y="40"/>
                    </a:lnTo>
                    <a:lnTo>
                      <a:pt x="63" y="45"/>
                    </a:lnTo>
                    <a:lnTo>
                      <a:pt x="63" y="45"/>
                    </a:lnTo>
                    <a:lnTo>
                      <a:pt x="63" y="49"/>
                    </a:lnTo>
                    <a:lnTo>
                      <a:pt x="63" y="49"/>
                    </a:lnTo>
                    <a:lnTo>
                      <a:pt x="58" y="49"/>
                    </a:lnTo>
                    <a:lnTo>
                      <a:pt x="58" y="49"/>
                    </a:lnTo>
                    <a:lnTo>
                      <a:pt x="58" y="54"/>
                    </a:lnTo>
                    <a:lnTo>
                      <a:pt x="58" y="58"/>
                    </a:lnTo>
                    <a:lnTo>
                      <a:pt x="54" y="58"/>
                    </a:lnTo>
                    <a:lnTo>
                      <a:pt x="54" y="58"/>
                    </a:lnTo>
                    <a:lnTo>
                      <a:pt x="58" y="58"/>
                    </a:lnTo>
                    <a:lnTo>
                      <a:pt x="54" y="58"/>
                    </a:lnTo>
                    <a:lnTo>
                      <a:pt x="54" y="58"/>
                    </a:lnTo>
                    <a:lnTo>
                      <a:pt x="49" y="58"/>
                    </a:lnTo>
                    <a:lnTo>
                      <a:pt x="49" y="58"/>
                    </a:lnTo>
                    <a:lnTo>
                      <a:pt x="49" y="58"/>
                    </a:lnTo>
                    <a:lnTo>
                      <a:pt x="49" y="63"/>
                    </a:lnTo>
                    <a:lnTo>
                      <a:pt x="49" y="58"/>
                    </a:lnTo>
                    <a:lnTo>
                      <a:pt x="49" y="58"/>
                    </a:lnTo>
                    <a:lnTo>
                      <a:pt x="45" y="58"/>
                    </a:lnTo>
                    <a:lnTo>
                      <a:pt x="45" y="63"/>
                    </a:lnTo>
                    <a:lnTo>
                      <a:pt x="45" y="63"/>
                    </a:lnTo>
                    <a:lnTo>
                      <a:pt x="40" y="63"/>
                    </a:lnTo>
                    <a:lnTo>
                      <a:pt x="40" y="63"/>
                    </a:lnTo>
                    <a:lnTo>
                      <a:pt x="40" y="63"/>
                    </a:lnTo>
                    <a:lnTo>
                      <a:pt x="40" y="63"/>
                    </a:lnTo>
                    <a:lnTo>
                      <a:pt x="36" y="63"/>
                    </a:lnTo>
                    <a:lnTo>
                      <a:pt x="36" y="63"/>
                    </a:lnTo>
                    <a:lnTo>
                      <a:pt x="36" y="63"/>
                    </a:lnTo>
                    <a:lnTo>
                      <a:pt x="36" y="63"/>
                    </a:lnTo>
                    <a:lnTo>
                      <a:pt x="31" y="67"/>
                    </a:lnTo>
                    <a:lnTo>
                      <a:pt x="31" y="67"/>
                    </a:lnTo>
                    <a:lnTo>
                      <a:pt x="31" y="67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22" y="72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9" y="72"/>
                    </a:lnTo>
                    <a:lnTo>
                      <a:pt x="9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9" y="72"/>
                    </a:lnTo>
                    <a:lnTo>
                      <a:pt x="9" y="67"/>
                    </a:lnTo>
                    <a:lnTo>
                      <a:pt x="9" y="67"/>
                    </a:lnTo>
                    <a:lnTo>
                      <a:pt x="9" y="67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9" y="67"/>
                    </a:lnTo>
                    <a:lnTo>
                      <a:pt x="9" y="67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4" y="63"/>
                    </a:lnTo>
                    <a:lnTo>
                      <a:pt x="4" y="63"/>
                    </a:lnTo>
                    <a:lnTo>
                      <a:pt x="4" y="63"/>
                    </a:lnTo>
                    <a:lnTo>
                      <a:pt x="4" y="63"/>
                    </a:lnTo>
                    <a:lnTo>
                      <a:pt x="0" y="63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9" y="58"/>
                    </a:lnTo>
                    <a:lnTo>
                      <a:pt x="9" y="58"/>
                    </a:lnTo>
                    <a:lnTo>
                      <a:pt x="9" y="58"/>
                    </a:lnTo>
                    <a:lnTo>
                      <a:pt x="4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13" y="54"/>
                    </a:lnTo>
                    <a:lnTo>
                      <a:pt x="18" y="54"/>
                    </a:lnTo>
                    <a:lnTo>
                      <a:pt x="22" y="49"/>
                    </a:lnTo>
                    <a:lnTo>
                      <a:pt x="22" y="49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3" y="54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4" y="54"/>
                    </a:lnTo>
                    <a:lnTo>
                      <a:pt x="9" y="49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8" y="45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18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9" y="40"/>
                    </a:lnTo>
                    <a:lnTo>
                      <a:pt x="9" y="40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9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1"/>
                    </a:lnTo>
                    <a:lnTo>
                      <a:pt x="13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13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7" y="22"/>
                    </a:lnTo>
                    <a:lnTo>
                      <a:pt x="31" y="22"/>
                    </a:lnTo>
                    <a:lnTo>
                      <a:pt x="31" y="22"/>
                    </a:lnTo>
                    <a:lnTo>
                      <a:pt x="31" y="22"/>
                    </a:lnTo>
                    <a:lnTo>
                      <a:pt x="27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1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6" y="9"/>
                    </a:lnTo>
                    <a:lnTo>
                      <a:pt x="31" y="9"/>
                    </a:lnTo>
                    <a:lnTo>
                      <a:pt x="36" y="9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9" y="4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54" y="0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9"/>
                    </a:lnTo>
                    <a:lnTo>
                      <a:pt x="49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57" name="Freeform 78"/>
              <p:cNvSpPr>
                <a:spLocks/>
              </p:cNvSpPr>
              <p:nvPr/>
            </p:nvSpPr>
            <p:spPr bwMode="auto">
              <a:xfrm>
                <a:off x="5395913" y="1754189"/>
                <a:ext cx="560388" cy="438150"/>
              </a:xfrm>
              <a:custGeom>
                <a:avLst/>
                <a:gdLst>
                  <a:gd name="T0" fmla="*/ 23 w 353"/>
                  <a:gd name="T1" fmla="*/ 13 h 276"/>
                  <a:gd name="T2" fmla="*/ 45 w 353"/>
                  <a:gd name="T3" fmla="*/ 13 h 276"/>
                  <a:gd name="T4" fmla="*/ 68 w 353"/>
                  <a:gd name="T5" fmla="*/ 4 h 276"/>
                  <a:gd name="T6" fmla="*/ 68 w 353"/>
                  <a:gd name="T7" fmla="*/ 13 h 276"/>
                  <a:gd name="T8" fmla="*/ 68 w 353"/>
                  <a:gd name="T9" fmla="*/ 18 h 276"/>
                  <a:gd name="T10" fmla="*/ 82 w 353"/>
                  <a:gd name="T11" fmla="*/ 32 h 276"/>
                  <a:gd name="T12" fmla="*/ 104 w 353"/>
                  <a:gd name="T13" fmla="*/ 45 h 276"/>
                  <a:gd name="T14" fmla="*/ 163 w 353"/>
                  <a:gd name="T15" fmla="*/ 50 h 276"/>
                  <a:gd name="T16" fmla="*/ 163 w 353"/>
                  <a:gd name="T17" fmla="*/ 45 h 276"/>
                  <a:gd name="T18" fmla="*/ 176 w 353"/>
                  <a:gd name="T19" fmla="*/ 36 h 276"/>
                  <a:gd name="T20" fmla="*/ 199 w 353"/>
                  <a:gd name="T21" fmla="*/ 27 h 276"/>
                  <a:gd name="T22" fmla="*/ 213 w 353"/>
                  <a:gd name="T23" fmla="*/ 27 h 276"/>
                  <a:gd name="T24" fmla="*/ 226 w 353"/>
                  <a:gd name="T25" fmla="*/ 32 h 276"/>
                  <a:gd name="T26" fmla="*/ 240 w 353"/>
                  <a:gd name="T27" fmla="*/ 36 h 276"/>
                  <a:gd name="T28" fmla="*/ 258 w 353"/>
                  <a:gd name="T29" fmla="*/ 45 h 276"/>
                  <a:gd name="T30" fmla="*/ 285 w 353"/>
                  <a:gd name="T31" fmla="*/ 63 h 276"/>
                  <a:gd name="T32" fmla="*/ 285 w 353"/>
                  <a:gd name="T33" fmla="*/ 72 h 276"/>
                  <a:gd name="T34" fmla="*/ 285 w 353"/>
                  <a:gd name="T35" fmla="*/ 81 h 276"/>
                  <a:gd name="T36" fmla="*/ 285 w 353"/>
                  <a:gd name="T37" fmla="*/ 90 h 276"/>
                  <a:gd name="T38" fmla="*/ 280 w 353"/>
                  <a:gd name="T39" fmla="*/ 99 h 276"/>
                  <a:gd name="T40" fmla="*/ 289 w 353"/>
                  <a:gd name="T41" fmla="*/ 113 h 276"/>
                  <a:gd name="T42" fmla="*/ 294 w 353"/>
                  <a:gd name="T43" fmla="*/ 145 h 276"/>
                  <a:gd name="T44" fmla="*/ 312 w 353"/>
                  <a:gd name="T45" fmla="*/ 158 h 276"/>
                  <a:gd name="T46" fmla="*/ 312 w 353"/>
                  <a:gd name="T47" fmla="*/ 194 h 276"/>
                  <a:gd name="T48" fmla="*/ 330 w 353"/>
                  <a:gd name="T49" fmla="*/ 212 h 276"/>
                  <a:gd name="T50" fmla="*/ 344 w 353"/>
                  <a:gd name="T51" fmla="*/ 231 h 276"/>
                  <a:gd name="T52" fmla="*/ 353 w 353"/>
                  <a:gd name="T53" fmla="*/ 235 h 276"/>
                  <a:gd name="T54" fmla="*/ 344 w 353"/>
                  <a:gd name="T55" fmla="*/ 244 h 276"/>
                  <a:gd name="T56" fmla="*/ 335 w 353"/>
                  <a:gd name="T57" fmla="*/ 249 h 276"/>
                  <a:gd name="T58" fmla="*/ 330 w 353"/>
                  <a:gd name="T59" fmla="*/ 267 h 276"/>
                  <a:gd name="T60" fmla="*/ 312 w 353"/>
                  <a:gd name="T61" fmla="*/ 267 h 276"/>
                  <a:gd name="T62" fmla="*/ 280 w 353"/>
                  <a:gd name="T63" fmla="*/ 267 h 276"/>
                  <a:gd name="T64" fmla="*/ 253 w 353"/>
                  <a:gd name="T65" fmla="*/ 258 h 276"/>
                  <a:gd name="T66" fmla="*/ 235 w 353"/>
                  <a:gd name="T67" fmla="*/ 235 h 276"/>
                  <a:gd name="T68" fmla="*/ 213 w 353"/>
                  <a:gd name="T69" fmla="*/ 249 h 276"/>
                  <a:gd name="T70" fmla="*/ 181 w 353"/>
                  <a:gd name="T71" fmla="*/ 240 h 276"/>
                  <a:gd name="T72" fmla="*/ 154 w 353"/>
                  <a:gd name="T73" fmla="*/ 221 h 276"/>
                  <a:gd name="T74" fmla="*/ 140 w 353"/>
                  <a:gd name="T75" fmla="*/ 203 h 276"/>
                  <a:gd name="T76" fmla="*/ 127 w 353"/>
                  <a:gd name="T77" fmla="*/ 185 h 276"/>
                  <a:gd name="T78" fmla="*/ 109 w 353"/>
                  <a:gd name="T79" fmla="*/ 176 h 276"/>
                  <a:gd name="T80" fmla="*/ 104 w 353"/>
                  <a:gd name="T81" fmla="*/ 185 h 276"/>
                  <a:gd name="T82" fmla="*/ 95 w 353"/>
                  <a:gd name="T83" fmla="*/ 181 h 276"/>
                  <a:gd name="T84" fmla="*/ 86 w 353"/>
                  <a:gd name="T85" fmla="*/ 167 h 276"/>
                  <a:gd name="T86" fmla="*/ 73 w 353"/>
                  <a:gd name="T87" fmla="*/ 140 h 276"/>
                  <a:gd name="T88" fmla="*/ 50 w 353"/>
                  <a:gd name="T89" fmla="*/ 131 h 276"/>
                  <a:gd name="T90" fmla="*/ 45 w 353"/>
                  <a:gd name="T91" fmla="*/ 117 h 276"/>
                  <a:gd name="T92" fmla="*/ 41 w 353"/>
                  <a:gd name="T93" fmla="*/ 108 h 276"/>
                  <a:gd name="T94" fmla="*/ 41 w 353"/>
                  <a:gd name="T95" fmla="*/ 95 h 276"/>
                  <a:gd name="T96" fmla="*/ 41 w 353"/>
                  <a:gd name="T97" fmla="*/ 81 h 276"/>
                  <a:gd name="T98" fmla="*/ 36 w 353"/>
                  <a:gd name="T99" fmla="*/ 77 h 276"/>
                  <a:gd name="T100" fmla="*/ 27 w 353"/>
                  <a:gd name="T101" fmla="*/ 63 h 276"/>
                  <a:gd name="T102" fmla="*/ 18 w 353"/>
                  <a:gd name="T103" fmla="*/ 50 h 276"/>
                  <a:gd name="T104" fmla="*/ 14 w 353"/>
                  <a:gd name="T105" fmla="*/ 45 h 276"/>
                  <a:gd name="T106" fmla="*/ 9 w 353"/>
                  <a:gd name="T107" fmla="*/ 36 h 276"/>
                  <a:gd name="T108" fmla="*/ 9 w 353"/>
                  <a:gd name="T109" fmla="*/ 27 h 276"/>
                  <a:gd name="T110" fmla="*/ 5 w 353"/>
                  <a:gd name="T111" fmla="*/ 13 h 276"/>
                  <a:gd name="T112" fmla="*/ 0 w 353"/>
                  <a:gd name="T113" fmla="*/ 9 h 276"/>
                  <a:gd name="T114" fmla="*/ 9 w 353"/>
                  <a:gd name="T115" fmla="*/ 4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53" h="276">
                    <a:moveTo>
                      <a:pt x="14" y="9"/>
                    </a:moveTo>
                    <a:lnTo>
                      <a:pt x="14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7" y="13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9" y="4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63" y="4"/>
                    </a:lnTo>
                    <a:lnTo>
                      <a:pt x="68" y="4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8" y="13"/>
                    </a:lnTo>
                    <a:lnTo>
                      <a:pt x="68" y="13"/>
                    </a:lnTo>
                    <a:lnTo>
                      <a:pt x="68" y="13"/>
                    </a:lnTo>
                    <a:lnTo>
                      <a:pt x="68" y="13"/>
                    </a:lnTo>
                    <a:lnTo>
                      <a:pt x="68" y="13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3" y="18"/>
                    </a:lnTo>
                    <a:lnTo>
                      <a:pt x="63" y="18"/>
                    </a:lnTo>
                    <a:lnTo>
                      <a:pt x="63" y="18"/>
                    </a:lnTo>
                    <a:lnTo>
                      <a:pt x="63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3" y="27"/>
                    </a:lnTo>
                    <a:lnTo>
                      <a:pt x="77" y="27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77" y="27"/>
                    </a:lnTo>
                    <a:lnTo>
                      <a:pt x="82" y="32"/>
                    </a:lnTo>
                    <a:lnTo>
                      <a:pt x="82" y="32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86" y="41"/>
                    </a:lnTo>
                    <a:lnTo>
                      <a:pt x="86" y="41"/>
                    </a:lnTo>
                    <a:lnTo>
                      <a:pt x="91" y="41"/>
                    </a:lnTo>
                    <a:lnTo>
                      <a:pt x="91" y="41"/>
                    </a:lnTo>
                    <a:lnTo>
                      <a:pt x="95" y="41"/>
                    </a:lnTo>
                    <a:lnTo>
                      <a:pt x="100" y="45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9" y="50"/>
                    </a:lnTo>
                    <a:lnTo>
                      <a:pt x="109" y="50"/>
                    </a:lnTo>
                    <a:lnTo>
                      <a:pt x="118" y="54"/>
                    </a:lnTo>
                    <a:lnTo>
                      <a:pt x="122" y="54"/>
                    </a:lnTo>
                    <a:lnTo>
                      <a:pt x="131" y="59"/>
                    </a:lnTo>
                    <a:lnTo>
                      <a:pt x="136" y="59"/>
                    </a:lnTo>
                    <a:lnTo>
                      <a:pt x="154" y="54"/>
                    </a:lnTo>
                    <a:lnTo>
                      <a:pt x="163" y="50"/>
                    </a:lnTo>
                    <a:lnTo>
                      <a:pt x="163" y="50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7" y="54"/>
                    </a:lnTo>
                    <a:lnTo>
                      <a:pt x="167" y="54"/>
                    </a:lnTo>
                    <a:lnTo>
                      <a:pt x="167" y="54"/>
                    </a:lnTo>
                    <a:lnTo>
                      <a:pt x="167" y="50"/>
                    </a:lnTo>
                    <a:lnTo>
                      <a:pt x="163" y="45"/>
                    </a:lnTo>
                    <a:lnTo>
                      <a:pt x="163" y="45"/>
                    </a:lnTo>
                    <a:lnTo>
                      <a:pt x="167" y="45"/>
                    </a:lnTo>
                    <a:lnTo>
                      <a:pt x="167" y="45"/>
                    </a:lnTo>
                    <a:lnTo>
                      <a:pt x="172" y="41"/>
                    </a:lnTo>
                    <a:lnTo>
                      <a:pt x="172" y="41"/>
                    </a:lnTo>
                    <a:lnTo>
                      <a:pt x="172" y="41"/>
                    </a:lnTo>
                    <a:lnTo>
                      <a:pt x="176" y="41"/>
                    </a:lnTo>
                    <a:lnTo>
                      <a:pt x="176" y="41"/>
                    </a:lnTo>
                    <a:lnTo>
                      <a:pt x="176" y="36"/>
                    </a:lnTo>
                    <a:lnTo>
                      <a:pt x="176" y="36"/>
                    </a:lnTo>
                    <a:lnTo>
                      <a:pt x="181" y="32"/>
                    </a:lnTo>
                    <a:lnTo>
                      <a:pt x="181" y="32"/>
                    </a:lnTo>
                    <a:lnTo>
                      <a:pt x="181" y="32"/>
                    </a:lnTo>
                    <a:lnTo>
                      <a:pt x="185" y="27"/>
                    </a:lnTo>
                    <a:lnTo>
                      <a:pt x="190" y="27"/>
                    </a:lnTo>
                    <a:lnTo>
                      <a:pt x="195" y="27"/>
                    </a:lnTo>
                    <a:lnTo>
                      <a:pt x="195" y="27"/>
                    </a:lnTo>
                    <a:lnTo>
                      <a:pt x="195" y="27"/>
                    </a:lnTo>
                    <a:lnTo>
                      <a:pt x="199" y="27"/>
                    </a:lnTo>
                    <a:lnTo>
                      <a:pt x="199" y="27"/>
                    </a:lnTo>
                    <a:lnTo>
                      <a:pt x="199" y="27"/>
                    </a:lnTo>
                    <a:lnTo>
                      <a:pt x="199" y="27"/>
                    </a:lnTo>
                    <a:lnTo>
                      <a:pt x="199" y="27"/>
                    </a:lnTo>
                    <a:lnTo>
                      <a:pt x="199" y="27"/>
                    </a:lnTo>
                    <a:lnTo>
                      <a:pt x="204" y="27"/>
                    </a:lnTo>
                    <a:lnTo>
                      <a:pt x="204" y="27"/>
                    </a:lnTo>
                    <a:lnTo>
                      <a:pt x="208" y="27"/>
                    </a:lnTo>
                    <a:lnTo>
                      <a:pt x="208" y="27"/>
                    </a:lnTo>
                    <a:lnTo>
                      <a:pt x="213" y="27"/>
                    </a:lnTo>
                    <a:lnTo>
                      <a:pt x="213" y="27"/>
                    </a:lnTo>
                    <a:lnTo>
                      <a:pt x="213" y="27"/>
                    </a:lnTo>
                    <a:lnTo>
                      <a:pt x="213" y="27"/>
                    </a:lnTo>
                    <a:lnTo>
                      <a:pt x="213" y="32"/>
                    </a:lnTo>
                    <a:lnTo>
                      <a:pt x="213" y="32"/>
                    </a:lnTo>
                    <a:lnTo>
                      <a:pt x="213" y="32"/>
                    </a:lnTo>
                    <a:lnTo>
                      <a:pt x="217" y="32"/>
                    </a:lnTo>
                    <a:lnTo>
                      <a:pt x="217" y="32"/>
                    </a:lnTo>
                    <a:lnTo>
                      <a:pt x="222" y="32"/>
                    </a:lnTo>
                    <a:lnTo>
                      <a:pt x="222" y="32"/>
                    </a:lnTo>
                    <a:lnTo>
                      <a:pt x="226" y="32"/>
                    </a:lnTo>
                    <a:lnTo>
                      <a:pt x="226" y="36"/>
                    </a:lnTo>
                    <a:lnTo>
                      <a:pt x="231" y="36"/>
                    </a:lnTo>
                    <a:lnTo>
                      <a:pt x="231" y="36"/>
                    </a:lnTo>
                    <a:lnTo>
                      <a:pt x="231" y="36"/>
                    </a:lnTo>
                    <a:lnTo>
                      <a:pt x="235" y="36"/>
                    </a:lnTo>
                    <a:lnTo>
                      <a:pt x="235" y="36"/>
                    </a:lnTo>
                    <a:lnTo>
                      <a:pt x="235" y="36"/>
                    </a:lnTo>
                    <a:lnTo>
                      <a:pt x="235" y="36"/>
                    </a:lnTo>
                    <a:lnTo>
                      <a:pt x="240" y="36"/>
                    </a:lnTo>
                    <a:lnTo>
                      <a:pt x="240" y="36"/>
                    </a:lnTo>
                    <a:lnTo>
                      <a:pt x="244" y="41"/>
                    </a:lnTo>
                    <a:lnTo>
                      <a:pt x="249" y="36"/>
                    </a:lnTo>
                    <a:lnTo>
                      <a:pt x="249" y="41"/>
                    </a:lnTo>
                    <a:lnTo>
                      <a:pt x="249" y="41"/>
                    </a:lnTo>
                    <a:lnTo>
                      <a:pt x="249" y="41"/>
                    </a:lnTo>
                    <a:lnTo>
                      <a:pt x="249" y="41"/>
                    </a:lnTo>
                    <a:lnTo>
                      <a:pt x="249" y="45"/>
                    </a:lnTo>
                    <a:lnTo>
                      <a:pt x="253" y="45"/>
                    </a:lnTo>
                    <a:lnTo>
                      <a:pt x="253" y="45"/>
                    </a:lnTo>
                    <a:lnTo>
                      <a:pt x="258" y="45"/>
                    </a:lnTo>
                    <a:lnTo>
                      <a:pt x="262" y="50"/>
                    </a:lnTo>
                    <a:lnTo>
                      <a:pt x="262" y="50"/>
                    </a:lnTo>
                    <a:lnTo>
                      <a:pt x="267" y="54"/>
                    </a:lnTo>
                    <a:lnTo>
                      <a:pt x="267" y="54"/>
                    </a:lnTo>
                    <a:lnTo>
                      <a:pt x="271" y="54"/>
                    </a:lnTo>
                    <a:lnTo>
                      <a:pt x="280" y="54"/>
                    </a:lnTo>
                    <a:lnTo>
                      <a:pt x="280" y="54"/>
                    </a:lnTo>
                    <a:lnTo>
                      <a:pt x="280" y="59"/>
                    </a:lnTo>
                    <a:lnTo>
                      <a:pt x="280" y="59"/>
                    </a:lnTo>
                    <a:lnTo>
                      <a:pt x="285" y="63"/>
                    </a:lnTo>
                    <a:lnTo>
                      <a:pt x="285" y="63"/>
                    </a:lnTo>
                    <a:lnTo>
                      <a:pt x="285" y="63"/>
                    </a:lnTo>
                    <a:lnTo>
                      <a:pt x="285" y="68"/>
                    </a:lnTo>
                    <a:lnTo>
                      <a:pt x="285" y="68"/>
                    </a:lnTo>
                    <a:lnTo>
                      <a:pt x="285" y="68"/>
                    </a:lnTo>
                    <a:lnTo>
                      <a:pt x="285" y="68"/>
                    </a:lnTo>
                    <a:lnTo>
                      <a:pt x="285" y="72"/>
                    </a:lnTo>
                    <a:lnTo>
                      <a:pt x="285" y="72"/>
                    </a:lnTo>
                    <a:lnTo>
                      <a:pt x="285" y="72"/>
                    </a:lnTo>
                    <a:lnTo>
                      <a:pt x="285" y="72"/>
                    </a:lnTo>
                    <a:lnTo>
                      <a:pt x="285" y="77"/>
                    </a:lnTo>
                    <a:lnTo>
                      <a:pt x="289" y="77"/>
                    </a:lnTo>
                    <a:lnTo>
                      <a:pt x="285" y="77"/>
                    </a:lnTo>
                    <a:lnTo>
                      <a:pt x="285" y="77"/>
                    </a:lnTo>
                    <a:lnTo>
                      <a:pt x="285" y="77"/>
                    </a:lnTo>
                    <a:lnTo>
                      <a:pt x="285" y="81"/>
                    </a:lnTo>
                    <a:lnTo>
                      <a:pt x="285" y="81"/>
                    </a:lnTo>
                    <a:lnTo>
                      <a:pt x="285" y="81"/>
                    </a:lnTo>
                    <a:lnTo>
                      <a:pt x="285" y="81"/>
                    </a:lnTo>
                    <a:lnTo>
                      <a:pt x="285" y="81"/>
                    </a:lnTo>
                    <a:lnTo>
                      <a:pt x="285" y="86"/>
                    </a:lnTo>
                    <a:lnTo>
                      <a:pt x="285" y="86"/>
                    </a:lnTo>
                    <a:lnTo>
                      <a:pt x="285" y="86"/>
                    </a:lnTo>
                    <a:lnTo>
                      <a:pt x="285" y="86"/>
                    </a:lnTo>
                    <a:lnTo>
                      <a:pt x="285" y="90"/>
                    </a:lnTo>
                    <a:lnTo>
                      <a:pt x="285" y="90"/>
                    </a:lnTo>
                    <a:lnTo>
                      <a:pt x="285" y="90"/>
                    </a:lnTo>
                    <a:lnTo>
                      <a:pt x="285" y="90"/>
                    </a:lnTo>
                    <a:lnTo>
                      <a:pt x="285" y="90"/>
                    </a:lnTo>
                    <a:lnTo>
                      <a:pt x="285" y="90"/>
                    </a:lnTo>
                    <a:lnTo>
                      <a:pt x="285" y="95"/>
                    </a:lnTo>
                    <a:lnTo>
                      <a:pt x="285" y="95"/>
                    </a:lnTo>
                    <a:lnTo>
                      <a:pt x="280" y="95"/>
                    </a:lnTo>
                    <a:lnTo>
                      <a:pt x="280" y="95"/>
                    </a:lnTo>
                    <a:lnTo>
                      <a:pt x="285" y="95"/>
                    </a:lnTo>
                    <a:lnTo>
                      <a:pt x="285" y="95"/>
                    </a:lnTo>
                    <a:lnTo>
                      <a:pt x="285" y="95"/>
                    </a:lnTo>
                    <a:lnTo>
                      <a:pt x="285" y="99"/>
                    </a:lnTo>
                    <a:lnTo>
                      <a:pt x="280" y="99"/>
                    </a:lnTo>
                    <a:lnTo>
                      <a:pt x="280" y="99"/>
                    </a:lnTo>
                    <a:lnTo>
                      <a:pt x="280" y="104"/>
                    </a:lnTo>
                    <a:lnTo>
                      <a:pt x="280" y="108"/>
                    </a:lnTo>
                    <a:lnTo>
                      <a:pt x="280" y="108"/>
                    </a:lnTo>
                    <a:lnTo>
                      <a:pt x="280" y="113"/>
                    </a:lnTo>
                    <a:lnTo>
                      <a:pt x="285" y="113"/>
                    </a:lnTo>
                    <a:lnTo>
                      <a:pt x="285" y="113"/>
                    </a:lnTo>
                    <a:lnTo>
                      <a:pt x="289" y="113"/>
                    </a:lnTo>
                    <a:lnTo>
                      <a:pt x="289" y="113"/>
                    </a:lnTo>
                    <a:lnTo>
                      <a:pt x="289" y="113"/>
                    </a:lnTo>
                    <a:lnTo>
                      <a:pt x="289" y="113"/>
                    </a:lnTo>
                    <a:lnTo>
                      <a:pt x="289" y="117"/>
                    </a:lnTo>
                    <a:lnTo>
                      <a:pt x="285" y="117"/>
                    </a:lnTo>
                    <a:lnTo>
                      <a:pt x="285" y="122"/>
                    </a:lnTo>
                    <a:lnTo>
                      <a:pt x="285" y="122"/>
                    </a:lnTo>
                    <a:lnTo>
                      <a:pt x="285" y="122"/>
                    </a:lnTo>
                    <a:lnTo>
                      <a:pt x="289" y="127"/>
                    </a:lnTo>
                    <a:lnTo>
                      <a:pt x="289" y="131"/>
                    </a:lnTo>
                    <a:lnTo>
                      <a:pt x="294" y="140"/>
                    </a:lnTo>
                    <a:lnTo>
                      <a:pt x="294" y="140"/>
                    </a:lnTo>
                    <a:lnTo>
                      <a:pt x="294" y="145"/>
                    </a:lnTo>
                    <a:lnTo>
                      <a:pt x="294" y="145"/>
                    </a:lnTo>
                    <a:lnTo>
                      <a:pt x="294" y="149"/>
                    </a:lnTo>
                    <a:lnTo>
                      <a:pt x="294" y="149"/>
                    </a:lnTo>
                    <a:lnTo>
                      <a:pt x="294" y="154"/>
                    </a:lnTo>
                    <a:lnTo>
                      <a:pt x="298" y="154"/>
                    </a:lnTo>
                    <a:lnTo>
                      <a:pt x="298" y="154"/>
                    </a:lnTo>
                    <a:lnTo>
                      <a:pt x="303" y="154"/>
                    </a:lnTo>
                    <a:lnTo>
                      <a:pt x="312" y="154"/>
                    </a:lnTo>
                    <a:lnTo>
                      <a:pt x="312" y="154"/>
                    </a:lnTo>
                    <a:lnTo>
                      <a:pt x="312" y="158"/>
                    </a:lnTo>
                    <a:lnTo>
                      <a:pt x="312" y="163"/>
                    </a:lnTo>
                    <a:lnTo>
                      <a:pt x="312" y="163"/>
                    </a:lnTo>
                    <a:lnTo>
                      <a:pt x="312" y="167"/>
                    </a:lnTo>
                    <a:lnTo>
                      <a:pt x="307" y="172"/>
                    </a:lnTo>
                    <a:lnTo>
                      <a:pt x="307" y="176"/>
                    </a:lnTo>
                    <a:lnTo>
                      <a:pt x="303" y="181"/>
                    </a:lnTo>
                    <a:lnTo>
                      <a:pt x="303" y="185"/>
                    </a:lnTo>
                    <a:lnTo>
                      <a:pt x="307" y="185"/>
                    </a:lnTo>
                    <a:lnTo>
                      <a:pt x="307" y="190"/>
                    </a:lnTo>
                    <a:lnTo>
                      <a:pt x="312" y="194"/>
                    </a:lnTo>
                    <a:lnTo>
                      <a:pt x="312" y="194"/>
                    </a:lnTo>
                    <a:lnTo>
                      <a:pt x="312" y="194"/>
                    </a:lnTo>
                    <a:lnTo>
                      <a:pt x="316" y="199"/>
                    </a:lnTo>
                    <a:lnTo>
                      <a:pt x="316" y="203"/>
                    </a:lnTo>
                    <a:lnTo>
                      <a:pt x="316" y="203"/>
                    </a:lnTo>
                    <a:lnTo>
                      <a:pt x="321" y="208"/>
                    </a:lnTo>
                    <a:lnTo>
                      <a:pt x="326" y="208"/>
                    </a:lnTo>
                    <a:lnTo>
                      <a:pt x="326" y="208"/>
                    </a:lnTo>
                    <a:lnTo>
                      <a:pt x="330" y="208"/>
                    </a:lnTo>
                    <a:lnTo>
                      <a:pt x="330" y="212"/>
                    </a:lnTo>
                    <a:lnTo>
                      <a:pt x="335" y="212"/>
                    </a:lnTo>
                    <a:lnTo>
                      <a:pt x="335" y="212"/>
                    </a:lnTo>
                    <a:lnTo>
                      <a:pt x="339" y="212"/>
                    </a:lnTo>
                    <a:lnTo>
                      <a:pt x="339" y="212"/>
                    </a:lnTo>
                    <a:lnTo>
                      <a:pt x="339" y="212"/>
                    </a:lnTo>
                    <a:lnTo>
                      <a:pt x="339" y="212"/>
                    </a:lnTo>
                    <a:lnTo>
                      <a:pt x="339" y="217"/>
                    </a:lnTo>
                    <a:lnTo>
                      <a:pt x="339" y="221"/>
                    </a:lnTo>
                    <a:lnTo>
                      <a:pt x="344" y="226"/>
                    </a:lnTo>
                    <a:lnTo>
                      <a:pt x="344" y="231"/>
                    </a:lnTo>
                    <a:lnTo>
                      <a:pt x="344" y="231"/>
                    </a:lnTo>
                    <a:lnTo>
                      <a:pt x="344" y="231"/>
                    </a:lnTo>
                    <a:lnTo>
                      <a:pt x="344" y="231"/>
                    </a:lnTo>
                    <a:lnTo>
                      <a:pt x="344" y="231"/>
                    </a:lnTo>
                    <a:lnTo>
                      <a:pt x="344" y="231"/>
                    </a:lnTo>
                    <a:lnTo>
                      <a:pt x="344" y="235"/>
                    </a:lnTo>
                    <a:lnTo>
                      <a:pt x="348" y="231"/>
                    </a:lnTo>
                    <a:lnTo>
                      <a:pt x="348" y="231"/>
                    </a:lnTo>
                    <a:lnTo>
                      <a:pt x="353" y="235"/>
                    </a:lnTo>
                    <a:lnTo>
                      <a:pt x="353" y="235"/>
                    </a:lnTo>
                    <a:lnTo>
                      <a:pt x="353" y="235"/>
                    </a:lnTo>
                    <a:lnTo>
                      <a:pt x="353" y="235"/>
                    </a:lnTo>
                    <a:lnTo>
                      <a:pt x="353" y="235"/>
                    </a:lnTo>
                    <a:lnTo>
                      <a:pt x="353" y="240"/>
                    </a:lnTo>
                    <a:lnTo>
                      <a:pt x="353" y="240"/>
                    </a:lnTo>
                    <a:lnTo>
                      <a:pt x="353" y="240"/>
                    </a:lnTo>
                    <a:lnTo>
                      <a:pt x="353" y="244"/>
                    </a:lnTo>
                    <a:lnTo>
                      <a:pt x="353" y="244"/>
                    </a:lnTo>
                    <a:lnTo>
                      <a:pt x="348" y="244"/>
                    </a:lnTo>
                    <a:lnTo>
                      <a:pt x="344" y="244"/>
                    </a:lnTo>
                    <a:lnTo>
                      <a:pt x="344" y="244"/>
                    </a:lnTo>
                    <a:lnTo>
                      <a:pt x="344" y="244"/>
                    </a:lnTo>
                    <a:lnTo>
                      <a:pt x="339" y="244"/>
                    </a:lnTo>
                    <a:lnTo>
                      <a:pt x="339" y="244"/>
                    </a:lnTo>
                    <a:lnTo>
                      <a:pt x="339" y="249"/>
                    </a:lnTo>
                    <a:lnTo>
                      <a:pt x="335" y="249"/>
                    </a:lnTo>
                    <a:lnTo>
                      <a:pt x="339" y="249"/>
                    </a:lnTo>
                    <a:lnTo>
                      <a:pt x="335" y="249"/>
                    </a:lnTo>
                    <a:lnTo>
                      <a:pt x="335" y="249"/>
                    </a:lnTo>
                    <a:lnTo>
                      <a:pt x="335" y="249"/>
                    </a:lnTo>
                    <a:lnTo>
                      <a:pt x="330" y="253"/>
                    </a:lnTo>
                    <a:lnTo>
                      <a:pt x="330" y="253"/>
                    </a:lnTo>
                    <a:lnTo>
                      <a:pt x="330" y="253"/>
                    </a:lnTo>
                    <a:lnTo>
                      <a:pt x="330" y="258"/>
                    </a:lnTo>
                    <a:lnTo>
                      <a:pt x="330" y="258"/>
                    </a:lnTo>
                    <a:lnTo>
                      <a:pt x="330" y="262"/>
                    </a:lnTo>
                    <a:lnTo>
                      <a:pt x="330" y="262"/>
                    </a:lnTo>
                    <a:lnTo>
                      <a:pt x="330" y="262"/>
                    </a:lnTo>
                    <a:lnTo>
                      <a:pt x="330" y="262"/>
                    </a:lnTo>
                    <a:lnTo>
                      <a:pt x="330" y="267"/>
                    </a:lnTo>
                    <a:lnTo>
                      <a:pt x="330" y="271"/>
                    </a:lnTo>
                    <a:lnTo>
                      <a:pt x="330" y="271"/>
                    </a:lnTo>
                    <a:lnTo>
                      <a:pt x="330" y="271"/>
                    </a:lnTo>
                    <a:lnTo>
                      <a:pt x="330" y="271"/>
                    </a:lnTo>
                    <a:lnTo>
                      <a:pt x="326" y="276"/>
                    </a:lnTo>
                    <a:lnTo>
                      <a:pt x="326" y="271"/>
                    </a:lnTo>
                    <a:lnTo>
                      <a:pt x="321" y="271"/>
                    </a:lnTo>
                    <a:lnTo>
                      <a:pt x="312" y="271"/>
                    </a:lnTo>
                    <a:lnTo>
                      <a:pt x="312" y="271"/>
                    </a:lnTo>
                    <a:lnTo>
                      <a:pt x="312" y="267"/>
                    </a:lnTo>
                    <a:lnTo>
                      <a:pt x="312" y="267"/>
                    </a:lnTo>
                    <a:lnTo>
                      <a:pt x="307" y="271"/>
                    </a:lnTo>
                    <a:lnTo>
                      <a:pt x="303" y="267"/>
                    </a:lnTo>
                    <a:lnTo>
                      <a:pt x="298" y="271"/>
                    </a:lnTo>
                    <a:lnTo>
                      <a:pt x="298" y="267"/>
                    </a:lnTo>
                    <a:lnTo>
                      <a:pt x="294" y="267"/>
                    </a:lnTo>
                    <a:lnTo>
                      <a:pt x="294" y="267"/>
                    </a:lnTo>
                    <a:lnTo>
                      <a:pt x="289" y="267"/>
                    </a:lnTo>
                    <a:lnTo>
                      <a:pt x="285" y="267"/>
                    </a:lnTo>
                    <a:lnTo>
                      <a:pt x="280" y="267"/>
                    </a:lnTo>
                    <a:lnTo>
                      <a:pt x="276" y="267"/>
                    </a:lnTo>
                    <a:lnTo>
                      <a:pt x="271" y="267"/>
                    </a:lnTo>
                    <a:lnTo>
                      <a:pt x="271" y="267"/>
                    </a:lnTo>
                    <a:lnTo>
                      <a:pt x="267" y="267"/>
                    </a:lnTo>
                    <a:lnTo>
                      <a:pt x="267" y="262"/>
                    </a:lnTo>
                    <a:lnTo>
                      <a:pt x="267" y="262"/>
                    </a:lnTo>
                    <a:lnTo>
                      <a:pt x="262" y="262"/>
                    </a:lnTo>
                    <a:lnTo>
                      <a:pt x="258" y="262"/>
                    </a:lnTo>
                    <a:lnTo>
                      <a:pt x="253" y="258"/>
                    </a:lnTo>
                    <a:lnTo>
                      <a:pt x="253" y="258"/>
                    </a:lnTo>
                    <a:lnTo>
                      <a:pt x="253" y="253"/>
                    </a:lnTo>
                    <a:lnTo>
                      <a:pt x="253" y="249"/>
                    </a:lnTo>
                    <a:lnTo>
                      <a:pt x="249" y="244"/>
                    </a:lnTo>
                    <a:lnTo>
                      <a:pt x="249" y="244"/>
                    </a:lnTo>
                    <a:lnTo>
                      <a:pt x="249" y="240"/>
                    </a:lnTo>
                    <a:lnTo>
                      <a:pt x="244" y="240"/>
                    </a:lnTo>
                    <a:lnTo>
                      <a:pt x="244" y="235"/>
                    </a:lnTo>
                    <a:lnTo>
                      <a:pt x="244" y="235"/>
                    </a:lnTo>
                    <a:lnTo>
                      <a:pt x="235" y="235"/>
                    </a:lnTo>
                    <a:lnTo>
                      <a:pt x="235" y="235"/>
                    </a:lnTo>
                    <a:lnTo>
                      <a:pt x="231" y="235"/>
                    </a:lnTo>
                    <a:lnTo>
                      <a:pt x="231" y="240"/>
                    </a:lnTo>
                    <a:lnTo>
                      <a:pt x="226" y="240"/>
                    </a:lnTo>
                    <a:lnTo>
                      <a:pt x="226" y="240"/>
                    </a:lnTo>
                    <a:lnTo>
                      <a:pt x="222" y="244"/>
                    </a:lnTo>
                    <a:lnTo>
                      <a:pt x="222" y="244"/>
                    </a:lnTo>
                    <a:lnTo>
                      <a:pt x="222" y="244"/>
                    </a:lnTo>
                    <a:lnTo>
                      <a:pt x="217" y="244"/>
                    </a:lnTo>
                    <a:lnTo>
                      <a:pt x="213" y="249"/>
                    </a:lnTo>
                    <a:lnTo>
                      <a:pt x="213" y="249"/>
                    </a:lnTo>
                    <a:lnTo>
                      <a:pt x="208" y="249"/>
                    </a:lnTo>
                    <a:lnTo>
                      <a:pt x="208" y="249"/>
                    </a:lnTo>
                    <a:lnTo>
                      <a:pt x="204" y="244"/>
                    </a:lnTo>
                    <a:lnTo>
                      <a:pt x="199" y="244"/>
                    </a:lnTo>
                    <a:lnTo>
                      <a:pt x="195" y="244"/>
                    </a:lnTo>
                    <a:lnTo>
                      <a:pt x="195" y="244"/>
                    </a:lnTo>
                    <a:lnTo>
                      <a:pt x="190" y="244"/>
                    </a:lnTo>
                    <a:lnTo>
                      <a:pt x="190" y="240"/>
                    </a:lnTo>
                    <a:lnTo>
                      <a:pt x="185" y="240"/>
                    </a:lnTo>
                    <a:lnTo>
                      <a:pt x="181" y="240"/>
                    </a:lnTo>
                    <a:lnTo>
                      <a:pt x="176" y="235"/>
                    </a:lnTo>
                    <a:lnTo>
                      <a:pt x="172" y="231"/>
                    </a:lnTo>
                    <a:lnTo>
                      <a:pt x="172" y="231"/>
                    </a:lnTo>
                    <a:lnTo>
                      <a:pt x="172" y="231"/>
                    </a:lnTo>
                    <a:lnTo>
                      <a:pt x="167" y="226"/>
                    </a:lnTo>
                    <a:lnTo>
                      <a:pt x="163" y="226"/>
                    </a:lnTo>
                    <a:lnTo>
                      <a:pt x="158" y="226"/>
                    </a:lnTo>
                    <a:lnTo>
                      <a:pt x="158" y="226"/>
                    </a:lnTo>
                    <a:lnTo>
                      <a:pt x="154" y="226"/>
                    </a:lnTo>
                    <a:lnTo>
                      <a:pt x="154" y="221"/>
                    </a:lnTo>
                    <a:lnTo>
                      <a:pt x="149" y="217"/>
                    </a:lnTo>
                    <a:lnTo>
                      <a:pt x="149" y="217"/>
                    </a:lnTo>
                    <a:lnTo>
                      <a:pt x="145" y="212"/>
                    </a:lnTo>
                    <a:lnTo>
                      <a:pt x="145" y="212"/>
                    </a:lnTo>
                    <a:lnTo>
                      <a:pt x="145" y="208"/>
                    </a:lnTo>
                    <a:lnTo>
                      <a:pt x="145" y="208"/>
                    </a:lnTo>
                    <a:lnTo>
                      <a:pt x="140" y="203"/>
                    </a:lnTo>
                    <a:lnTo>
                      <a:pt x="140" y="203"/>
                    </a:lnTo>
                    <a:lnTo>
                      <a:pt x="140" y="203"/>
                    </a:lnTo>
                    <a:lnTo>
                      <a:pt x="140" y="203"/>
                    </a:lnTo>
                    <a:lnTo>
                      <a:pt x="140" y="199"/>
                    </a:lnTo>
                    <a:lnTo>
                      <a:pt x="136" y="199"/>
                    </a:lnTo>
                    <a:lnTo>
                      <a:pt x="136" y="199"/>
                    </a:lnTo>
                    <a:lnTo>
                      <a:pt x="136" y="194"/>
                    </a:lnTo>
                    <a:lnTo>
                      <a:pt x="136" y="194"/>
                    </a:lnTo>
                    <a:lnTo>
                      <a:pt x="136" y="194"/>
                    </a:lnTo>
                    <a:lnTo>
                      <a:pt x="131" y="190"/>
                    </a:lnTo>
                    <a:lnTo>
                      <a:pt x="127" y="185"/>
                    </a:lnTo>
                    <a:lnTo>
                      <a:pt x="127" y="185"/>
                    </a:lnTo>
                    <a:lnTo>
                      <a:pt x="127" y="185"/>
                    </a:lnTo>
                    <a:lnTo>
                      <a:pt x="122" y="181"/>
                    </a:lnTo>
                    <a:lnTo>
                      <a:pt x="122" y="181"/>
                    </a:lnTo>
                    <a:lnTo>
                      <a:pt x="118" y="185"/>
                    </a:lnTo>
                    <a:lnTo>
                      <a:pt x="113" y="181"/>
                    </a:lnTo>
                    <a:lnTo>
                      <a:pt x="109" y="176"/>
                    </a:lnTo>
                    <a:lnTo>
                      <a:pt x="109" y="176"/>
                    </a:lnTo>
                    <a:lnTo>
                      <a:pt x="104" y="176"/>
                    </a:lnTo>
                    <a:lnTo>
                      <a:pt x="109" y="176"/>
                    </a:lnTo>
                    <a:lnTo>
                      <a:pt x="109" y="176"/>
                    </a:lnTo>
                    <a:lnTo>
                      <a:pt x="109" y="176"/>
                    </a:lnTo>
                    <a:lnTo>
                      <a:pt x="109" y="176"/>
                    </a:lnTo>
                    <a:lnTo>
                      <a:pt x="109" y="176"/>
                    </a:lnTo>
                    <a:lnTo>
                      <a:pt x="109" y="176"/>
                    </a:lnTo>
                    <a:lnTo>
                      <a:pt x="104" y="176"/>
                    </a:lnTo>
                    <a:lnTo>
                      <a:pt x="104" y="176"/>
                    </a:lnTo>
                    <a:lnTo>
                      <a:pt x="104" y="176"/>
                    </a:lnTo>
                    <a:lnTo>
                      <a:pt x="104" y="176"/>
                    </a:lnTo>
                    <a:lnTo>
                      <a:pt x="104" y="181"/>
                    </a:lnTo>
                    <a:lnTo>
                      <a:pt x="104" y="181"/>
                    </a:lnTo>
                    <a:lnTo>
                      <a:pt x="104" y="185"/>
                    </a:lnTo>
                    <a:lnTo>
                      <a:pt x="104" y="185"/>
                    </a:lnTo>
                    <a:lnTo>
                      <a:pt x="100" y="185"/>
                    </a:lnTo>
                    <a:lnTo>
                      <a:pt x="100" y="185"/>
                    </a:lnTo>
                    <a:lnTo>
                      <a:pt x="100" y="185"/>
                    </a:lnTo>
                    <a:lnTo>
                      <a:pt x="100" y="185"/>
                    </a:lnTo>
                    <a:lnTo>
                      <a:pt x="100" y="185"/>
                    </a:lnTo>
                    <a:lnTo>
                      <a:pt x="95" y="181"/>
                    </a:lnTo>
                    <a:lnTo>
                      <a:pt x="95" y="181"/>
                    </a:lnTo>
                    <a:lnTo>
                      <a:pt x="95" y="181"/>
                    </a:lnTo>
                    <a:lnTo>
                      <a:pt x="95" y="181"/>
                    </a:lnTo>
                    <a:lnTo>
                      <a:pt x="95" y="181"/>
                    </a:lnTo>
                    <a:lnTo>
                      <a:pt x="95" y="176"/>
                    </a:lnTo>
                    <a:lnTo>
                      <a:pt x="95" y="176"/>
                    </a:lnTo>
                    <a:lnTo>
                      <a:pt x="91" y="176"/>
                    </a:lnTo>
                    <a:lnTo>
                      <a:pt x="91" y="176"/>
                    </a:lnTo>
                    <a:lnTo>
                      <a:pt x="91" y="176"/>
                    </a:lnTo>
                    <a:lnTo>
                      <a:pt x="91" y="176"/>
                    </a:lnTo>
                    <a:lnTo>
                      <a:pt x="91" y="172"/>
                    </a:lnTo>
                    <a:lnTo>
                      <a:pt x="91" y="167"/>
                    </a:lnTo>
                    <a:lnTo>
                      <a:pt x="86" y="167"/>
                    </a:lnTo>
                    <a:lnTo>
                      <a:pt x="86" y="167"/>
                    </a:lnTo>
                    <a:lnTo>
                      <a:pt x="82" y="167"/>
                    </a:lnTo>
                    <a:lnTo>
                      <a:pt x="82" y="163"/>
                    </a:lnTo>
                    <a:lnTo>
                      <a:pt x="82" y="158"/>
                    </a:lnTo>
                    <a:lnTo>
                      <a:pt x="82" y="154"/>
                    </a:lnTo>
                    <a:lnTo>
                      <a:pt x="82" y="149"/>
                    </a:lnTo>
                    <a:lnTo>
                      <a:pt x="82" y="149"/>
                    </a:lnTo>
                    <a:lnTo>
                      <a:pt x="77" y="145"/>
                    </a:lnTo>
                    <a:lnTo>
                      <a:pt x="77" y="145"/>
                    </a:lnTo>
                    <a:lnTo>
                      <a:pt x="73" y="140"/>
                    </a:lnTo>
                    <a:lnTo>
                      <a:pt x="73" y="140"/>
                    </a:lnTo>
                    <a:lnTo>
                      <a:pt x="73" y="140"/>
                    </a:lnTo>
                    <a:lnTo>
                      <a:pt x="73" y="140"/>
                    </a:lnTo>
                    <a:lnTo>
                      <a:pt x="68" y="140"/>
                    </a:lnTo>
                    <a:lnTo>
                      <a:pt x="68" y="136"/>
                    </a:lnTo>
                    <a:lnTo>
                      <a:pt x="63" y="136"/>
                    </a:lnTo>
                    <a:lnTo>
                      <a:pt x="59" y="131"/>
                    </a:lnTo>
                    <a:lnTo>
                      <a:pt x="54" y="131"/>
                    </a:lnTo>
                    <a:lnTo>
                      <a:pt x="54" y="131"/>
                    </a:lnTo>
                    <a:lnTo>
                      <a:pt x="50" y="131"/>
                    </a:lnTo>
                    <a:lnTo>
                      <a:pt x="50" y="127"/>
                    </a:lnTo>
                    <a:lnTo>
                      <a:pt x="50" y="127"/>
                    </a:lnTo>
                    <a:lnTo>
                      <a:pt x="50" y="127"/>
                    </a:lnTo>
                    <a:lnTo>
                      <a:pt x="50" y="127"/>
                    </a:lnTo>
                    <a:lnTo>
                      <a:pt x="50" y="122"/>
                    </a:lnTo>
                    <a:lnTo>
                      <a:pt x="50" y="122"/>
                    </a:lnTo>
                    <a:lnTo>
                      <a:pt x="50" y="117"/>
                    </a:lnTo>
                    <a:lnTo>
                      <a:pt x="45" y="117"/>
                    </a:lnTo>
                    <a:lnTo>
                      <a:pt x="45" y="117"/>
                    </a:lnTo>
                    <a:lnTo>
                      <a:pt x="45" y="117"/>
                    </a:lnTo>
                    <a:lnTo>
                      <a:pt x="45" y="117"/>
                    </a:lnTo>
                    <a:lnTo>
                      <a:pt x="45" y="117"/>
                    </a:lnTo>
                    <a:lnTo>
                      <a:pt x="45" y="117"/>
                    </a:lnTo>
                    <a:lnTo>
                      <a:pt x="45" y="117"/>
                    </a:lnTo>
                    <a:lnTo>
                      <a:pt x="41" y="117"/>
                    </a:lnTo>
                    <a:lnTo>
                      <a:pt x="41" y="113"/>
                    </a:lnTo>
                    <a:lnTo>
                      <a:pt x="36" y="108"/>
                    </a:lnTo>
                    <a:lnTo>
                      <a:pt x="36" y="108"/>
                    </a:lnTo>
                    <a:lnTo>
                      <a:pt x="36" y="108"/>
                    </a:lnTo>
                    <a:lnTo>
                      <a:pt x="41" y="108"/>
                    </a:lnTo>
                    <a:lnTo>
                      <a:pt x="41" y="104"/>
                    </a:lnTo>
                    <a:lnTo>
                      <a:pt x="36" y="104"/>
                    </a:lnTo>
                    <a:lnTo>
                      <a:pt x="36" y="104"/>
                    </a:lnTo>
                    <a:lnTo>
                      <a:pt x="36" y="99"/>
                    </a:lnTo>
                    <a:lnTo>
                      <a:pt x="36" y="99"/>
                    </a:lnTo>
                    <a:lnTo>
                      <a:pt x="36" y="99"/>
                    </a:lnTo>
                    <a:lnTo>
                      <a:pt x="36" y="99"/>
                    </a:lnTo>
                    <a:lnTo>
                      <a:pt x="41" y="99"/>
                    </a:lnTo>
                    <a:lnTo>
                      <a:pt x="41" y="99"/>
                    </a:lnTo>
                    <a:lnTo>
                      <a:pt x="41" y="95"/>
                    </a:lnTo>
                    <a:lnTo>
                      <a:pt x="41" y="95"/>
                    </a:lnTo>
                    <a:lnTo>
                      <a:pt x="41" y="90"/>
                    </a:lnTo>
                    <a:lnTo>
                      <a:pt x="45" y="90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1" y="81"/>
                    </a:lnTo>
                    <a:lnTo>
                      <a:pt x="41" y="81"/>
                    </a:lnTo>
                    <a:lnTo>
                      <a:pt x="41" y="81"/>
                    </a:lnTo>
                    <a:lnTo>
                      <a:pt x="41" y="81"/>
                    </a:lnTo>
                    <a:lnTo>
                      <a:pt x="41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1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32" y="72"/>
                    </a:lnTo>
                    <a:lnTo>
                      <a:pt x="32" y="72"/>
                    </a:lnTo>
                    <a:lnTo>
                      <a:pt x="32" y="72"/>
                    </a:lnTo>
                    <a:lnTo>
                      <a:pt x="27" y="63"/>
                    </a:lnTo>
                    <a:lnTo>
                      <a:pt x="27" y="63"/>
                    </a:lnTo>
                    <a:lnTo>
                      <a:pt x="27" y="63"/>
                    </a:lnTo>
                    <a:lnTo>
                      <a:pt x="27" y="63"/>
                    </a:lnTo>
                    <a:lnTo>
                      <a:pt x="27" y="63"/>
                    </a:lnTo>
                    <a:lnTo>
                      <a:pt x="23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45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14" y="4"/>
                    </a:lnTo>
                    <a:lnTo>
                      <a:pt x="14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58" name="Freeform 79"/>
              <p:cNvSpPr>
                <a:spLocks/>
              </p:cNvSpPr>
              <p:nvPr/>
            </p:nvSpPr>
            <p:spPr bwMode="auto">
              <a:xfrm>
                <a:off x="5287963" y="1825626"/>
                <a:ext cx="266700" cy="250825"/>
              </a:xfrm>
              <a:custGeom>
                <a:avLst/>
                <a:gdLst>
                  <a:gd name="T0" fmla="*/ 59 w 168"/>
                  <a:gd name="T1" fmla="*/ 0 h 158"/>
                  <a:gd name="T2" fmla="*/ 68 w 168"/>
                  <a:gd name="T3" fmla="*/ 5 h 158"/>
                  <a:gd name="T4" fmla="*/ 73 w 168"/>
                  <a:gd name="T5" fmla="*/ 5 h 158"/>
                  <a:gd name="T6" fmla="*/ 77 w 168"/>
                  <a:gd name="T7" fmla="*/ 5 h 158"/>
                  <a:gd name="T8" fmla="*/ 77 w 168"/>
                  <a:gd name="T9" fmla="*/ 9 h 158"/>
                  <a:gd name="T10" fmla="*/ 82 w 168"/>
                  <a:gd name="T11" fmla="*/ 9 h 158"/>
                  <a:gd name="T12" fmla="*/ 86 w 168"/>
                  <a:gd name="T13" fmla="*/ 5 h 158"/>
                  <a:gd name="T14" fmla="*/ 86 w 168"/>
                  <a:gd name="T15" fmla="*/ 5 h 158"/>
                  <a:gd name="T16" fmla="*/ 91 w 168"/>
                  <a:gd name="T17" fmla="*/ 14 h 158"/>
                  <a:gd name="T18" fmla="*/ 91 w 168"/>
                  <a:gd name="T19" fmla="*/ 18 h 158"/>
                  <a:gd name="T20" fmla="*/ 95 w 168"/>
                  <a:gd name="T21" fmla="*/ 18 h 158"/>
                  <a:gd name="T22" fmla="*/ 100 w 168"/>
                  <a:gd name="T23" fmla="*/ 27 h 158"/>
                  <a:gd name="T24" fmla="*/ 104 w 168"/>
                  <a:gd name="T25" fmla="*/ 32 h 158"/>
                  <a:gd name="T26" fmla="*/ 113 w 168"/>
                  <a:gd name="T27" fmla="*/ 32 h 158"/>
                  <a:gd name="T28" fmla="*/ 109 w 168"/>
                  <a:gd name="T29" fmla="*/ 36 h 158"/>
                  <a:gd name="T30" fmla="*/ 113 w 168"/>
                  <a:gd name="T31" fmla="*/ 41 h 158"/>
                  <a:gd name="T32" fmla="*/ 113 w 168"/>
                  <a:gd name="T33" fmla="*/ 41 h 158"/>
                  <a:gd name="T34" fmla="*/ 109 w 168"/>
                  <a:gd name="T35" fmla="*/ 50 h 158"/>
                  <a:gd name="T36" fmla="*/ 104 w 168"/>
                  <a:gd name="T37" fmla="*/ 54 h 158"/>
                  <a:gd name="T38" fmla="*/ 104 w 168"/>
                  <a:gd name="T39" fmla="*/ 59 h 158"/>
                  <a:gd name="T40" fmla="*/ 104 w 168"/>
                  <a:gd name="T41" fmla="*/ 63 h 158"/>
                  <a:gd name="T42" fmla="*/ 113 w 168"/>
                  <a:gd name="T43" fmla="*/ 72 h 158"/>
                  <a:gd name="T44" fmla="*/ 113 w 168"/>
                  <a:gd name="T45" fmla="*/ 72 h 158"/>
                  <a:gd name="T46" fmla="*/ 118 w 168"/>
                  <a:gd name="T47" fmla="*/ 77 h 158"/>
                  <a:gd name="T48" fmla="*/ 118 w 168"/>
                  <a:gd name="T49" fmla="*/ 82 h 158"/>
                  <a:gd name="T50" fmla="*/ 122 w 168"/>
                  <a:gd name="T51" fmla="*/ 86 h 158"/>
                  <a:gd name="T52" fmla="*/ 136 w 168"/>
                  <a:gd name="T53" fmla="*/ 95 h 158"/>
                  <a:gd name="T54" fmla="*/ 141 w 168"/>
                  <a:gd name="T55" fmla="*/ 95 h 158"/>
                  <a:gd name="T56" fmla="*/ 150 w 168"/>
                  <a:gd name="T57" fmla="*/ 104 h 158"/>
                  <a:gd name="T58" fmla="*/ 150 w 168"/>
                  <a:gd name="T59" fmla="*/ 122 h 158"/>
                  <a:gd name="T60" fmla="*/ 159 w 168"/>
                  <a:gd name="T61" fmla="*/ 127 h 158"/>
                  <a:gd name="T62" fmla="*/ 159 w 168"/>
                  <a:gd name="T63" fmla="*/ 131 h 158"/>
                  <a:gd name="T64" fmla="*/ 163 w 168"/>
                  <a:gd name="T65" fmla="*/ 136 h 158"/>
                  <a:gd name="T66" fmla="*/ 168 w 168"/>
                  <a:gd name="T67" fmla="*/ 140 h 158"/>
                  <a:gd name="T68" fmla="*/ 163 w 168"/>
                  <a:gd name="T69" fmla="*/ 140 h 158"/>
                  <a:gd name="T70" fmla="*/ 159 w 168"/>
                  <a:gd name="T71" fmla="*/ 140 h 158"/>
                  <a:gd name="T72" fmla="*/ 150 w 168"/>
                  <a:gd name="T73" fmla="*/ 136 h 158"/>
                  <a:gd name="T74" fmla="*/ 145 w 168"/>
                  <a:gd name="T75" fmla="*/ 140 h 158"/>
                  <a:gd name="T76" fmla="*/ 141 w 168"/>
                  <a:gd name="T77" fmla="*/ 149 h 158"/>
                  <a:gd name="T78" fmla="*/ 131 w 168"/>
                  <a:gd name="T79" fmla="*/ 158 h 158"/>
                  <a:gd name="T80" fmla="*/ 104 w 168"/>
                  <a:gd name="T81" fmla="*/ 154 h 158"/>
                  <a:gd name="T82" fmla="*/ 91 w 168"/>
                  <a:gd name="T83" fmla="*/ 145 h 158"/>
                  <a:gd name="T84" fmla="*/ 68 w 168"/>
                  <a:gd name="T85" fmla="*/ 127 h 158"/>
                  <a:gd name="T86" fmla="*/ 50 w 168"/>
                  <a:gd name="T87" fmla="*/ 118 h 158"/>
                  <a:gd name="T88" fmla="*/ 32 w 168"/>
                  <a:gd name="T89" fmla="*/ 104 h 158"/>
                  <a:gd name="T90" fmla="*/ 14 w 168"/>
                  <a:gd name="T91" fmla="*/ 104 h 158"/>
                  <a:gd name="T92" fmla="*/ 10 w 168"/>
                  <a:gd name="T93" fmla="*/ 100 h 158"/>
                  <a:gd name="T94" fmla="*/ 5 w 168"/>
                  <a:gd name="T95" fmla="*/ 91 h 158"/>
                  <a:gd name="T96" fmla="*/ 5 w 168"/>
                  <a:gd name="T97" fmla="*/ 77 h 158"/>
                  <a:gd name="T98" fmla="*/ 19 w 168"/>
                  <a:gd name="T99" fmla="*/ 63 h 158"/>
                  <a:gd name="T100" fmla="*/ 32 w 168"/>
                  <a:gd name="T101" fmla="*/ 59 h 158"/>
                  <a:gd name="T102" fmla="*/ 37 w 168"/>
                  <a:gd name="T103" fmla="*/ 45 h 158"/>
                  <a:gd name="T104" fmla="*/ 37 w 168"/>
                  <a:gd name="T105" fmla="*/ 36 h 158"/>
                  <a:gd name="T106" fmla="*/ 32 w 168"/>
                  <a:gd name="T107" fmla="*/ 27 h 158"/>
                  <a:gd name="T108" fmla="*/ 32 w 168"/>
                  <a:gd name="T109" fmla="*/ 18 h 158"/>
                  <a:gd name="T110" fmla="*/ 41 w 168"/>
                  <a:gd name="T111" fmla="*/ 14 h 158"/>
                  <a:gd name="T112" fmla="*/ 50 w 168"/>
                  <a:gd name="T113" fmla="*/ 9 h 158"/>
                  <a:gd name="T114" fmla="*/ 55 w 168"/>
                  <a:gd name="T11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68" h="158">
                    <a:moveTo>
                      <a:pt x="55" y="0"/>
                    </a:moveTo>
                    <a:lnTo>
                      <a:pt x="55" y="0"/>
                    </a:lnTo>
                    <a:lnTo>
                      <a:pt x="55" y="5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64" y="5"/>
                    </a:lnTo>
                    <a:lnTo>
                      <a:pt x="64" y="5"/>
                    </a:lnTo>
                    <a:lnTo>
                      <a:pt x="68" y="5"/>
                    </a:lnTo>
                    <a:lnTo>
                      <a:pt x="68" y="5"/>
                    </a:lnTo>
                    <a:lnTo>
                      <a:pt x="68" y="5"/>
                    </a:lnTo>
                    <a:lnTo>
                      <a:pt x="73" y="5"/>
                    </a:lnTo>
                    <a:lnTo>
                      <a:pt x="73" y="5"/>
                    </a:lnTo>
                    <a:lnTo>
                      <a:pt x="73" y="0"/>
                    </a:lnTo>
                    <a:lnTo>
                      <a:pt x="73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82" y="9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91" y="14"/>
                    </a:lnTo>
                    <a:lnTo>
                      <a:pt x="91" y="14"/>
                    </a:lnTo>
                    <a:lnTo>
                      <a:pt x="91" y="14"/>
                    </a:lnTo>
                    <a:lnTo>
                      <a:pt x="91" y="14"/>
                    </a:lnTo>
                    <a:lnTo>
                      <a:pt x="91" y="14"/>
                    </a:lnTo>
                    <a:lnTo>
                      <a:pt x="91" y="14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100" y="27"/>
                    </a:lnTo>
                    <a:lnTo>
                      <a:pt x="100" y="27"/>
                    </a:lnTo>
                    <a:lnTo>
                      <a:pt x="100" y="27"/>
                    </a:lnTo>
                    <a:lnTo>
                      <a:pt x="100" y="27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9" y="32"/>
                    </a:lnTo>
                    <a:lnTo>
                      <a:pt x="113" y="32"/>
                    </a:lnTo>
                    <a:lnTo>
                      <a:pt x="113" y="32"/>
                    </a:lnTo>
                    <a:lnTo>
                      <a:pt x="113" y="32"/>
                    </a:lnTo>
                    <a:lnTo>
                      <a:pt x="113" y="32"/>
                    </a:lnTo>
                    <a:lnTo>
                      <a:pt x="109" y="32"/>
                    </a:lnTo>
                    <a:lnTo>
                      <a:pt x="109" y="36"/>
                    </a:lnTo>
                    <a:lnTo>
                      <a:pt x="109" y="36"/>
                    </a:lnTo>
                    <a:lnTo>
                      <a:pt x="109" y="36"/>
                    </a:lnTo>
                    <a:lnTo>
                      <a:pt x="109" y="36"/>
                    </a:lnTo>
                    <a:lnTo>
                      <a:pt x="113" y="41"/>
                    </a:lnTo>
                    <a:lnTo>
                      <a:pt x="113" y="41"/>
                    </a:lnTo>
                    <a:lnTo>
                      <a:pt x="113" y="41"/>
                    </a:lnTo>
                    <a:lnTo>
                      <a:pt x="113" y="41"/>
                    </a:lnTo>
                    <a:lnTo>
                      <a:pt x="113" y="41"/>
                    </a:lnTo>
                    <a:lnTo>
                      <a:pt x="113" y="45"/>
                    </a:lnTo>
                    <a:lnTo>
                      <a:pt x="109" y="45"/>
                    </a:lnTo>
                    <a:lnTo>
                      <a:pt x="109" y="50"/>
                    </a:lnTo>
                    <a:lnTo>
                      <a:pt x="109" y="50"/>
                    </a:lnTo>
                    <a:lnTo>
                      <a:pt x="109" y="54"/>
                    </a:lnTo>
                    <a:lnTo>
                      <a:pt x="109" y="54"/>
                    </a:lnTo>
                    <a:lnTo>
                      <a:pt x="104" y="54"/>
                    </a:lnTo>
                    <a:lnTo>
                      <a:pt x="104" y="54"/>
                    </a:lnTo>
                    <a:lnTo>
                      <a:pt x="104" y="54"/>
                    </a:lnTo>
                    <a:lnTo>
                      <a:pt x="104" y="54"/>
                    </a:lnTo>
                    <a:lnTo>
                      <a:pt x="104" y="59"/>
                    </a:lnTo>
                    <a:lnTo>
                      <a:pt x="104" y="59"/>
                    </a:lnTo>
                    <a:lnTo>
                      <a:pt x="109" y="59"/>
                    </a:lnTo>
                    <a:lnTo>
                      <a:pt x="109" y="63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9" y="68"/>
                    </a:lnTo>
                    <a:lnTo>
                      <a:pt x="109" y="72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18" y="72"/>
                    </a:lnTo>
                    <a:lnTo>
                      <a:pt x="118" y="77"/>
                    </a:lnTo>
                    <a:lnTo>
                      <a:pt x="118" y="77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7" y="86"/>
                    </a:lnTo>
                    <a:lnTo>
                      <a:pt x="131" y="91"/>
                    </a:lnTo>
                    <a:lnTo>
                      <a:pt x="136" y="91"/>
                    </a:lnTo>
                    <a:lnTo>
                      <a:pt x="136" y="95"/>
                    </a:lnTo>
                    <a:lnTo>
                      <a:pt x="141" y="95"/>
                    </a:lnTo>
                    <a:lnTo>
                      <a:pt x="141" y="95"/>
                    </a:lnTo>
                    <a:lnTo>
                      <a:pt x="141" y="95"/>
                    </a:lnTo>
                    <a:lnTo>
                      <a:pt x="141" y="95"/>
                    </a:lnTo>
                    <a:lnTo>
                      <a:pt x="145" y="100"/>
                    </a:lnTo>
                    <a:lnTo>
                      <a:pt x="145" y="100"/>
                    </a:lnTo>
                    <a:lnTo>
                      <a:pt x="150" y="104"/>
                    </a:lnTo>
                    <a:lnTo>
                      <a:pt x="150" y="104"/>
                    </a:lnTo>
                    <a:lnTo>
                      <a:pt x="150" y="109"/>
                    </a:lnTo>
                    <a:lnTo>
                      <a:pt x="150" y="113"/>
                    </a:lnTo>
                    <a:lnTo>
                      <a:pt x="150" y="118"/>
                    </a:lnTo>
                    <a:lnTo>
                      <a:pt x="150" y="122"/>
                    </a:lnTo>
                    <a:lnTo>
                      <a:pt x="154" y="122"/>
                    </a:lnTo>
                    <a:lnTo>
                      <a:pt x="154" y="122"/>
                    </a:lnTo>
                    <a:lnTo>
                      <a:pt x="159" y="122"/>
                    </a:lnTo>
                    <a:lnTo>
                      <a:pt x="159" y="127"/>
                    </a:lnTo>
                    <a:lnTo>
                      <a:pt x="159" y="131"/>
                    </a:lnTo>
                    <a:lnTo>
                      <a:pt x="159" y="131"/>
                    </a:lnTo>
                    <a:lnTo>
                      <a:pt x="159" y="131"/>
                    </a:lnTo>
                    <a:lnTo>
                      <a:pt x="159" y="131"/>
                    </a:lnTo>
                    <a:lnTo>
                      <a:pt x="163" y="131"/>
                    </a:lnTo>
                    <a:lnTo>
                      <a:pt x="163" y="131"/>
                    </a:lnTo>
                    <a:lnTo>
                      <a:pt x="163" y="136"/>
                    </a:lnTo>
                    <a:lnTo>
                      <a:pt x="163" y="136"/>
                    </a:lnTo>
                    <a:lnTo>
                      <a:pt x="163" y="136"/>
                    </a:lnTo>
                    <a:lnTo>
                      <a:pt x="163" y="136"/>
                    </a:lnTo>
                    <a:lnTo>
                      <a:pt x="163" y="136"/>
                    </a:lnTo>
                    <a:lnTo>
                      <a:pt x="168" y="140"/>
                    </a:lnTo>
                    <a:lnTo>
                      <a:pt x="168" y="140"/>
                    </a:lnTo>
                    <a:lnTo>
                      <a:pt x="168" y="140"/>
                    </a:lnTo>
                    <a:lnTo>
                      <a:pt x="168" y="140"/>
                    </a:lnTo>
                    <a:lnTo>
                      <a:pt x="163" y="140"/>
                    </a:lnTo>
                    <a:lnTo>
                      <a:pt x="159" y="140"/>
                    </a:lnTo>
                    <a:lnTo>
                      <a:pt x="159" y="140"/>
                    </a:lnTo>
                    <a:lnTo>
                      <a:pt x="159" y="140"/>
                    </a:lnTo>
                    <a:lnTo>
                      <a:pt x="159" y="140"/>
                    </a:lnTo>
                    <a:lnTo>
                      <a:pt x="154" y="140"/>
                    </a:lnTo>
                    <a:lnTo>
                      <a:pt x="154" y="136"/>
                    </a:lnTo>
                    <a:lnTo>
                      <a:pt x="154" y="136"/>
                    </a:lnTo>
                    <a:lnTo>
                      <a:pt x="150" y="136"/>
                    </a:lnTo>
                    <a:lnTo>
                      <a:pt x="145" y="140"/>
                    </a:lnTo>
                    <a:lnTo>
                      <a:pt x="145" y="140"/>
                    </a:lnTo>
                    <a:lnTo>
                      <a:pt x="145" y="140"/>
                    </a:lnTo>
                    <a:lnTo>
                      <a:pt x="145" y="140"/>
                    </a:lnTo>
                    <a:lnTo>
                      <a:pt x="145" y="140"/>
                    </a:lnTo>
                    <a:lnTo>
                      <a:pt x="145" y="145"/>
                    </a:lnTo>
                    <a:lnTo>
                      <a:pt x="141" y="145"/>
                    </a:lnTo>
                    <a:lnTo>
                      <a:pt x="141" y="149"/>
                    </a:lnTo>
                    <a:lnTo>
                      <a:pt x="141" y="154"/>
                    </a:lnTo>
                    <a:lnTo>
                      <a:pt x="141" y="154"/>
                    </a:lnTo>
                    <a:lnTo>
                      <a:pt x="136" y="158"/>
                    </a:lnTo>
                    <a:lnTo>
                      <a:pt x="131" y="158"/>
                    </a:lnTo>
                    <a:lnTo>
                      <a:pt x="127" y="158"/>
                    </a:lnTo>
                    <a:lnTo>
                      <a:pt x="118" y="158"/>
                    </a:lnTo>
                    <a:lnTo>
                      <a:pt x="113" y="15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0" y="149"/>
                    </a:lnTo>
                    <a:lnTo>
                      <a:pt x="95" y="149"/>
                    </a:lnTo>
                    <a:lnTo>
                      <a:pt x="91" y="145"/>
                    </a:lnTo>
                    <a:lnTo>
                      <a:pt x="82" y="140"/>
                    </a:lnTo>
                    <a:lnTo>
                      <a:pt x="77" y="136"/>
                    </a:lnTo>
                    <a:lnTo>
                      <a:pt x="73" y="131"/>
                    </a:lnTo>
                    <a:lnTo>
                      <a:pt x="68" y="127"/>
                    </a:lnTo>
                    <a:lnTo>
                      <a:pt x="64" y="122"/>
                    </a:lnTo>
                    <a:lnTo>
                      <a:pt x="59" y="122"/>
                    </a:lnTo>
                    <a:lnTo>
                      <a:pt x="55" y="118"/>
                    </a:lnTo>
                    <a:lnTo>
                      <a:pt x="50" y="118"/>
                    </a:lnTo>
                    <a:lnTo>
                      <a:pt x="46" y="113"/>
                    </a:lnTo>
                    <a:lnTo>
                      <a:pt x="41" y="109"/>
                    </a:lnTo>
                    <a:lnTo>
                      <a:pt x="37" y="109"/>
                    </a:lnTo>
                    <a:lnTo>
                      <a:pt x="32" y="104"/>
                    </a:lnTo>
                    <a:lnTo>
                      <a:pt x="28" y="104"/>
                    </a:lnTo>
                    <a:lnTo>
                      <a:pt x="23" y="104"/>
                    </a:lnTo>
                    <a:lnTo>
                      <a:pt x="19" y="104"/>
                    </a:lnTo>
                    <a:lnTo>
                      <a:pt x="14" y="104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5"/>
                    </a:lnTo>
                    <a:lnTo>
                      <a:pt x="10" y="100"/>
                    </a:lnTo>
                    <a:lnTo>
                      <a:pt x="5" y="100"/>
                    </a:lnTo>
                    <a:lnTo>
                      <a:pt x="5" y="95"/>
                    </a:lnTo>
                    <a:lnTo>
                      <a:pt x="5" y="95"/>
                    </a:lnTo>
                    <a:lnTo>
                      <a:pt x="5" y="91"/>
                    </a:lnTo>
                    <a:lnTo>
                      <a:pt x="5" y="86"/>
                    </a:lnTo>
                    <a:lnTo>
                      <a:pt x="0" y="82"/>
                    </a:lnTo>
                    <a:lnTo>
                      <a:pt x="0" y="77"/>
                    </a:lnTo>
                    <a:lnTo>
                      <a:pt x="5" y="77"/>
                    </a:lnTo>
                    <a:lnTo>
                      <a:pt x="5" y="72"/>
                    </a:lnTo>
                    <a:lnTo>
                      <a:pt x="10" y="72"/>
                    </a:lnTo>
                    <a:lnTo>
                      <a:pt x="14" y="68"/>
                    </a:lnTo>
                    <a:lnTo>
                      <a:pt x="19" y="63"/>
                    </a:lnTo>
                    <a:lnTo>
                      <a:pt x="23" y="63"/>
                    </a:lnTo>
                    <a:lnTo>
                      <a:pt x="28" y="59"/>
                    </a:lnTo>
                    <a:lnTo>
                      <a:pt x="32" y="59"/>
                    </a:lnTo>
                    <a:lnTo>
                      <a:pt x="32" y="59"/>
                    </a:lnTo>
                    <a:lnTo>
                      <a:pt x="37" y="54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45"/>
                    </a:lnTo>
                    <a:lnTo>
                      <a:pt x="37" y="41"/>
                    </a:lnTo>
                    <a:lnTo>
                      <a:pt x="37" y="41"/>
                    </a:lnTo>
                    <a:lnTo>
                      <a:pt x="37" y="36"/>
                    </a:lnTo>
                    <a:lnTo>
                      <a:pt x="37" y="36"/>
                    </a:lnTo>
                    <a:lnTo>
                      <a:pt x="37" y="32"/>
                    </a:lnTo>
                    <a:lnTo>
                      <a:pt x="37" y="32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32" y="18"/>
                    </a:lnTo>
                    <a:lnTo>
                      <a:pt x="37" y="18"/>
                    </a:lnTo>
                    <a:lnTo>
                      <a:pt x="37" y="18"/>
                    </a:lnTo>
                    <a:lnTo>
                      <a:pt x="41" y="18"/>
                    </a:lnTo>
                    <a:lnTo>
                      <a:pt x="41" y="14"/>
                    </a:lnTo>
                    <a:lnTo>
                      <a:pt x="46" y="14"/>
                    </a:lnTo>
                    <a:lnTo>
                      <a:pt x="46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59" name="Freeform 80"/>
              <p:cNvSpPr>
                <a:spLocks/>
              </p:cNvSpPr>
              <p:nvPr/>
            </p:nvSpPr>
            <p:spPr bwMode="auto">
              <a:xfrm>
                <a:off x="3868738" y="957264"/>
                <a:ext cx="215900" cy="93663"/>
              </a:xfrm>
              <a:custGeom>
                <a:avLst/>
                <a:gdLst>
                  <a:gd name="T0" fmla="*/ 126 w 136"/>
                  <a:gd name="T1" fmla="*/ 5 h 59"/>
                  <a:gd name="T2" fmla="*/ 117 w 136"/>
                  <a:gd name="T3" fmla="*/ 9 h 59"/>
                  <a:gd name="T4" fmla="*/ 122 w 136"/>
                  <a:gd name="T5" fmla="*/ 14 h 59"/>
                  <a:gd name="T6" fmla="*/ 126 w 136"/>
                  <a:gd name="T7" fmla="*/ 18 h 59"/>
                  <a:gd name="T8" fmla="*/ 131 w 136"/>
                  <a:gd name="T9" fmla="*/ 18 h 59"/>
                  <a:gd name="T10" fmla="*/ 136 w 136"/>
                  <a:gd name="T11" fmla="*/ 23 h 59"/>
                  <a:gd name="T12" fmla="*/ 136 w 136"/>
                  <a:gd name="T13" fmla="*/ 27 h 59"/>
                  <a:gd name="T14" fmla="*/ 136 w 136"/>
                  <a:gd name="T15" fmla="*/ 32 h 59"/>
                  <a:gd name="T16" fmla="*/ 126 w 136"/>
                  <a:gd name="T17" fmla="*/ 36 h 59"/>
                  <a:gd name="T18" fmla="*/ 122 w 136"/>
                  <a:gd name="T19" fmla="*/ 41 h 59"/>
                  <a:gd name="T20" fmla="*/ 108 w 136"/>
                  <a:gd name="T21" fmla="*/ 45 h 59"/>
                  <a:gd name="T22" fmla="*/ 86 w 136"/>
                  <a:gd name="T23" fmla="*/ 54 h 59"/>
                  <a:gd name="T24" fmla="*/ 72 w 136"/>
                  <a:gd name="T25" fmla="*/ 59 h 59"/>
                  <a:gd name="T26" fmla="*/ 68 w 136"/>
                  <a:gd name="T27" fmla="*/ 59 h 59"/>
                  <a:gd name="T28" fmla="*/ 41 w 136"/>
                  <a:gd name="T29" fmla="*/ 54 h 59"/>
                  <a:gd name="T30" fmla="*/ 41 w 136"/>
                  <a:gd name="T31" fmla="*/ 54 h 59"/>
                  <a:gd name="T32" fmla="*/ 36 w 136"/>
                  <a:gd name="T33" fmla="*/ 50 h 59"/>
                  <a:gd name="T34" fmla="*/ 14 w 136"/>
                  <a:gd name="T35" fmla="*/ 50 h 59"/>
                  <a:gd name="T36" fmla="*/ 18 w 136"/>
                  <a:gd name="T37" fmla="*/ 45 h 59"/>
                  <a:gd name="T38" fmla="*/ 27 w 136"/>
                  <a:gd name="T39" fmla="*/ 45 h 59"/>
                  <a:gd name="T40" fmla="*/ 27 w 136"/>
                  <a:gd name="T41" fmla="*/ 41 h 59"/>
                  <a:gd name="T42" fmla="*/ 27 w 136"/>
                  <a:gd name="T43" fmla="*/ 36 h 59"/>
                  <a:gd name="T44" fmla="*/ 23 w 136"/>
                  <a:gd name="T45" fmla="*/ 36 h 59"/>
                  <a:gd name="T46" fmla="*/ 23 w 136"/>
                  <a:gd name="T47" fmla="*/ 32 h 59"/>
                  <a:gd name="T48" fmla="*/ 5 w 136"/>
                  <a:gd name="T49" fmla="*/ 32 h 59"/>
                  <a:gd name="T50" fmla="*/ 14 w 136"/>
                  <a:gd name="T51" fmla="*/ 32 h 59"/>
                  <a:gd name="T52" fmla="*/ 18 w 136"/>
                  <a:gd name="T53" fmla="*/ 27 h 59"/>
                  <a:gd name="T54" fmla="*/ 32 w 136"/>
                  <a:gd name="T55" fmla="*/ 27 h 59"/>
                  <a:gd name="T56" fmla="*/ 27 w 136"/>
                  <a:gd name="T57" fmla="*/ 23 h 59"/>
                  <a:gd name="T58" fmla="*/ 23 w 136"/>
                  <a:gd name="T59" fmla="*/ 18 h 59"/>
                  <a:gd name="T60" fmla="*/ 0 w 136"/>
                  <a:gd name="T61" fmla="*/ 18 h 59"/>
                  <a:gd name="T62" fmla="*/ 9 w 136"/>
                  <a:gd name="T63" fmla="*/ 18 h 59"/>
                  <a:gd name="T64" fmla="*/ 14 w 136"/>
                  <a:gd name="T65" fmla="*/ 14 h 59"/>
                  <a:gd name="T66" fmla="*/ 14 w 136"/>
                  <a:gd name="T67" fmla="*/ 14 h 59"/>
                  <a:gd name="T68" fmla="*/ 14 w 136"/>
                  <a:gd name="T69" fmla="*/ 9 h 59"/>
                  <a:gd name="T70" fmla="*/ 18 w 136"/>
                  <a:gd name="T71" fmla="*/ 9 h 59"/>
                  <a:gd name="T72" fmla="*/ 23 w 136"/>
                  <a:gd name="T73" fmla="*/ 9 h 59"/>
                  <a:gd name="T74" fmla="*/ 27 w 136"/>
                  <a:gd name="T75" fmla="*/ 14 h 59"/>
                  <a:gd name="T76" fmla="*/ 32 w 136"/>
                  <a:gd name="T77" fmla="*/ 9 h 59"/>
                  <a:gd name="T78" fmla="*/ 32 w 136"/>
                  <a:gd name="T79" fmla="*/ 5 h 59"/>
                  <a:gd name="T80" fmla="*/ 23 w 136"/>
                  <a:gd name="T81" fmla="*/ 5 h 59"/>
                  <a:gd name="T82" fmla="*/ 36 w 136"/>
                  <a:gd name="T83" fmla="*/ 5 h 59"/>
                  <a:gd name="T84" fmla="*/ 41 w 136"/>
                  <a:gd name="T85" fmla="*/ 9 h 59"/>
                  <a:gd name="T86" fmla="*/ 36 w 136"/>
                  <a:gd name="T87" fmla="*/ 14 h 59"/>
                  <a:gd name="T88" fmla="*/ 41 w 136"/>
                  <a:gd name="T89" fmla="*/ 18 h 59"/>
                  <a:gd name="T90" fmla="*/ 41 w 136"/>
                  <a:gd name="T91" fmla="*/ 23 h 59"/>
                  <a:gd name="T92" fmla="*/ 45 w 136"/>
                  <a:gd name="T93" fmla="*/ 18 h 59"/>
                  <a:gd name="T94" fmla="*/ 54 w 136"/>
                  <a:gd name="T95" fmla="*/ 18 h 59"/>
                  <a:gd name="T96" fmla="*/ 59 w 136"/>
                  <a:gd name="T97" fmla="*/ 14 h 59"/>
                  <a:gd name="T98" fmla="*/ 68 w 136"/>
                  <a:gd name="T99" fmla="*/ 14 h 59"/>
                  <a:gd name="T100" fmla="*/ 77 w 136"/>
                  <a:gd name="T101" fmla="*/ 9 h 59"/>
                  <a:gd name="T102" fmla="*/ 81 w 136"/>
                  <a:gd name="T103" fmla="*/ 18 h 59"/>
                  <a:gd name="T104" fmla="*/ 86 w 136"/>
                  <a:gd name="T105" fmla="*/ 9 h 59"/>
                  <a:gd name="T106" fmla="*/ 90 w 136"/>
                  <a:gd name="T107" fmla="*/ 9 h 59"/>
                  <a:gd name="T108" fmla="*/ 99 w 136"/>
                  <a:gd name="T109" fmla="*/ 9 h 59"/>
                  <a:gd name="T110" fmla="*/ 108 w 136"/>
                  <a:gd name="T111" fmla="*/ 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6" h="59">
                    <a:moveTo>
                      <a:pt x="113" y="9"/>
                    </a:moveTo>
                    <a:lnTo>
                      <a:pt x="113" y="9"/>
                    </a:lnTo>
                    <a:lnTo>
                      <a:pt x="117" y="9"/>
                    </a:lnTo>
                    <a:lnTo>
                      <a:pt x="117" y="9"/>
                    </a:lnTo>
                    <a:lnTo>
                      <a:pt x="117" y="9"/>
                    </a:lnTo>
                    <a:lnTo>
                      <a:pt x="122" y="5"/>
                    </a:lnTo>
                    <a:lnTo>
                      <a:pt x="122" y="5"/>
                    </a:lnTo>
                    <a:lnTo>
                      <a:pt x="126" y="5"/>
                    </a:lnTo>
                    <a:lnTo>
                      <a:pt x="126" y="5"/>
                    </a:lnTo>
                    <a:lnTo>
                      <a:pt x="126" y="5"/>
                    </a:lnTo>
                    <a:lnTo>
                      <a:pt x="126" y="5"/>
                    </a:lnTo>
                    <a:lnTo>
                      <a:pt x="122" y="5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17" y="9"/>
                    </a:lnTo>
                    <a:lnTo>
                      <a:pt x="117" y="9"/>
                    </a:lnTo>
                    <a:lnTo>
                      <a:pt x="122" y="9"/>
                    </a:lnTo>
                    <a:lnTo>
                      <a:pt x="122" y="14"/>
                    </a:lnTo>
                    <a:lnTo>
                      <a:pt x="122" y="9"/>
                    </a:lnTo>
                    <a:lnTo>
                      <a:pt x="122" y="14"/>
                    </a:lnTo>
                    <a:lnTo>
                      <a:pt x="122" y="14"/>
                    </a:lnTo>
                    <a:lnTo>
                      <a:pt x="122" y="14"/>
                    </a:lnTo>
                    <a:lnTo>
                      <a:pt x="122" y="14"/>
                    </a:lnTo>
                    <a:lnTo>
                      <a:pt x="122" y="14"/>
                    </a:lnTo>
                    <a:lnTo>
                      <a:pt x="122" y="14"/>
                    </a:lnTo>
                    <a:lnTo>
                      <a:pt x="122" y="18"/>
                    </a:lnTo>
                    <a:lnTo>
                      <a:pt x="122" y="18"/>
                    </a:lnTo>
                    <a:lnTo>
                      <a:pt x="122" y="18"/>
                    </a:lnTo>
                    <a:lnTo>
                      <a:pt x="126" y="18"/>
                    </a:lnTo>
                    <a:lnTo>
                      <a:pt x="126" y="18"/>
                    </a:lnTo>
                    <a:lnTo>
                      <a:pt x="126" y="18"/>
                    </a:lnTo>
                    <a:lnTo>
                      <a:pt x="126" y="18"/>
                    </a:lnTo>
                    <a:lnTo>
                      <a:pt x="126" y="18"/>
                    </a:lnTo>
                    <a:lnTo>
                      <a:pt x="126" y="18"/>
                    </a:lnTo>
                    <a:lnTo>
                      <a:pt x="126" y="18"/>
                    </a:lnTo>
                    <a:lnTo>
                      <a:pt x="126" y="18"/>
                    </a:lnTo>
                    <a:lnTo>
                      <a:pt x="126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23"/>
                    </a:lnTo>
                    <a:lnTo>
                      <a:pt x="136" y="23"/>
                    </a:lnTo>
                    <a:lnTo>
                      <a:pt x="136" y="23"/>
                    </a:lnTo>
                    <a:lnTo>
                      <a:pt x="136" y="23"/>
                    </a:lnTo>
                    <a:lnTo>
                      <a:pt x="136" y="23"/>
                    </a:lnTo>
                    <a:lnTo>
                      <a:pt x="136" y="23"/>
                    </a:lnTo>
                    <a:lnTo>
                      <a:pt x="136" y="23"/>
                    </a:lnTo>
                    <a:lnTo>
                      <a:pt x="136" y="23"/>
                    </a:lnTo>
                    <a:lnTo>
                      <a:pt x="131" y="23"/>
                    </a:lnTo>
                    <a:lnTo>
                      <a:pt x="131" y="23"/>
                    </a:lnTo>
                    <a:lnTo>
                      <a:pt x="131" y="27"/>
                    </a:lnTo>
                    <a:lnTo>
                      <a:pt x="131" y="27"/>
                    </a:lnTo>
                    <a:lnTo>
                      <a:pt x="136" y="27"/>
                    </a:lnTo>
                    <a:lnTo>
                      <a:pt x="136" y="27"/>
                    </a:lnTo>
                    <a:lnTo>
                      <a:pt x="136" y="27"/>
                    </a:lnTo>
                    <a:lnTo>
                      <a:pt x="136" y="27"/>
                    </a:lnTo>
                    <a:lnTo>
                      <a:pt x="131" y="27"/>
                    </a:lnTo>
                    <a:lnTo>
                      <a:pt x="131" y="27"/>
                    </a:lnTo>
                    <a:lnTo>
                      <a:pt x="131" y="27"/>
                    </a:lnTo>
                    <a:lnTo>
                      <a:pt x="136" y="27"/>
                    </a:lnTo>
                    <a:lnTo>
                      <a:pt x="136" y="27"/>
                    </a:lnTo>
                    <a:lnTo>
                      <a:pt x="136" y="32"/>
                    </a:lnTo>
                    <a:lnTo>
                      <a:pt x="136" y="32"/>
                    </a:lnTo>
                    <a:lnTo>
                      <a:pt x="136" y="32"/>
                    </a:lnTo>
                    <a:lnTo>
                      <a:pt x="131" y="32"/>
                    </a:lnTo>
                    <a:lnTo>
                      <a:pt x="131" y="32"/>
                    </a:lnTo>
                    <a:lnTo>
                      <a:pt x="131" y="32"/>
                    </a:lnTo>
                    <a:lnTo>
                      <a:pt x="131" y="32"/>
                    </a:lnTo>
                    <a:lnTo>
                      <a:pt x="131" y="32"/>
                    </a:lnTo>
                    <a:lnTo>
                      <a:pt x="131" y="32"/>
                    </a:lnTo>
                    <a:lnTo>
                      <a:pt x="126" y="36"/>
                    </a:lnTo>
                    <a:lnTo>
                      <a:pt x="126" y="36"/>
                    </a:lnTo>
                    <a:lnTo>
                      <a:pt x="126" y="36"/>
                    </a:lnTo>
                    <a:lnTo>
                      <a:pt x="122" y="36"/>
                    </a:lnTo>
                    <a:lnTo>
                      <a:pt x="122" y="36"/>
                    </a:lnTo>
                    <a:lnTo>
                      <a:pt x="122" y="36"/>
                    </a:lnTo>
                    <a:lnTo>
                      <a:pt x="122" y="36"/>
                    </a:lnTo>
                    <a:lnTo>
                      <a:pt x="122" y="41"/>
                    </a:lnTo>
                    <a:lnTo>
                      <a:pt x="122" y="41"/>
                    </a:lnTo>
                    <a:lnTo>
                      <a:pt x="122" y="41"/>
                    </a:lnTo>
                    <a:lnTo>
                      <a:pt x="122" y="41"/>
                    </a:lnTo>
                    <a:lnTo>
                      <a:pt x="117" y="41"/>
                    </a:lnTo>
                    <a:lnTo>
                      <a:pt x="117" y="41"/>
                    </a:lnTo>
                    <a:lnTo>
                      <a:pt x="117" y="41"/>
                    </a:lnTo>
                    <a:lnTo>
                      <a:pt x="113" y="45"/>
                    </a:lnTo>
                    <a:lnTo>
                      <a:pt x="113" y="45"/>
                    </a:lnTo>
                    <a:lnTo>
                      <a:pt x="108" y="45"/>
                    </a:lnTo>
                    <a:lnTo>
                      <a:pt x="108" y="45"/>
                    </a:lnTo>
                    <a:lnTo>
                      <a:pt x="104" y="45"/>
                    </a:lnTo>
                    <a:lnTo>
                      <a:pt x="99" y="45"/>
                    </a:lnTo>
                    <a:lnTo>
                      <a:pt x="95" y="50"/>
                    </a:lnTo>
                    <a:lnTo>
                      <a:pt x="95" y="50"/>
                    </a:lnTo>
                    <a:lnTo>
                      <a:pt x="90" y="50"/>
                    </a:lnTo>
                    <a:lnTo>
                      <a:pt x="90" y="54"/>
                    </a:lnTo>
                    <a:lnTo>
                      <a:pt x="86" y="54"/>
                    </a:lnTo>
                    <a:lnTo>
                      <a:pt x="86" y="54"/>
                    </a:lnTo>
                    <a:lnTo>
                      <a:pt x="77" y="54"/>
                    </a:lnTo>
                    <a:lnTo>
                      <a:pt x="77" y="54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59"/>
                    </a:lnTo>
                    <a:lnTo>
                      <a:pt x="72" y="59"/>
                    </a:lnTo>
                    <a:lnTo>
                      <a:pt x="72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3" y="59"/>
                    </a:lnTo>
                    <a:lnTo>
                      <a:pt x="54" y="59"/>
                    </a:lnTo>
                    <a:lnTo>
                      <a:pt x="54" y="59"/>
                    </a:lnTo>
                    <a:lnTo>
                      <a:pt x="50" y="59"/>
                    </a:lnTo>
                    <a:lnTo>
                      <a:pt x="45" y="59"/>
                    </a:lnTo>
                    <a:lnTo>
                      <a:pt x="45" y="59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5" y="54"/>
                    </a:lnTo>
                    <a:lnTo>
                      <a:pt x="45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18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27" y="41"/>
                    </a:lnTo>
                    <a:lnTo>
                      <a:pt x="23" y="41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27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2"/>
                    </a:lnTo>
                    <a:lnTo>
                      <a:pt x="18" y="32"/>
                    </a:lnTo>
                    <a:lnTo>
                      <a:pt x="14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32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7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3" y="27"/>
                    </a:lnTo>
                    <a:lnTo>
                      <a:pt x="23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32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14"/>
                    </a:lnTo>
                    <a:lnTo>
                      <a:pt x="63" y="14"/>
                    </a:lnTo>
                    <a:lnTo>
                      <a:pt x="63" y="14"/>
                    </a:lnTo>
                    <a:lnTo>
                      <a:pt x="63" y="14"/>
                    </a:lnTo>
                    <a:lnTo>
                      <a:pt x="63" y="14"/>
                    </a:lnTo>
                    <a:lnTo>
                      <a:pt x="63" y="14"/>
                    </a:lnTo>
                    <a:lnTo>
                      <a:pt x="63" y="14"/>
                    </a:lnTo>
                    <a:lnTo>
                      <a:pt x="63" y="14"/>
                    </a:lnTo>
                    <a:lnTo>
                      <a:pt x="68" y="14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72" y="9"/>
                    </a:lnTo>
                    <a:lnTo>
                      <a:pt x="72" y="9"/>
                    </a:lnTo>
                    <a:lnTo>
                      <a:pt x="72" y="9"/>
                    </a:lnTo>
                    <a:lnTo>
                      <a:pt x="72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77" y="14"/>
                    </a:lnTo>
                    <a:lnTo>
                      <a:pt x="81" y="14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4"/>
                    </a:lnTo>
                    <a:lnTo>
                      <a:pt x="81" y="14"/>
                    </a:lnTo>
                    <a:lnTo>
                      <a:pt x="81" y="14"/>
                    </a:lnTo>
                    <a:lnTo>
                      <a:pt x="81" y="9"/>
                    </a:lnTo>
                    <a:lnTo>
                      <a:pt x="81" y="9"/>
                    </a:lnTo>
                    <a:lnTo>
                      <a:pt x="81" y="9"/>
                    </a:lnTo>
                    <a:lnTo>
                      <a:pt x="81" y="9"/>
                    </a:lnTo>
                    <a:lnTo>
                      <a:pt x="86" y="9"/>
                    </a:lnTo>
                    <a:lnTo>
                      <a:pt x="86" y="9"/>
                    </a:lnTo>
                    <a:lnTo>
                      <a:pt x="86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104" y="9"/>
                    </a:lnTo>
                    <a:lnTo>
                      <a:pt x="104" y="9"/>
                    </a:lnTo>
                    <a:lnTo>
                      <a:pt x="104" y="5"/>
                    </a:lnTo>
                    <a:lnTo>
                      <a:pt x="104" y="5"/>
                    </a:lnTo>
                    <a:lnTo>
                      <a:pt x="104" y="5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5"/>
                    </a:lnTo>
                    <a:lnTo>
                      <a:pt x="113" y="5"/>
                    </a:lnTo>
                    <a:lnTo>
                      <a:pt x="113" y="5"/>
                    </a:lnTo>
                    <a:lnTo>
                      <a:pt x="113" y="5"/>
                    </a:lnTo>
                    <a:lnTo>
                      <a:pt x="113" y="5"/>
                    </a:lnTo>
                    <a:lnTo>
                      <a:pt x="113" y="9"/>
                    </a:lnTo>
                    <a:lnTo>
                      <a:pt x="113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60" name="Freeform 81"/>
              <p:cNvSpPr>
                <a:spLocks/>
              </p:cNvSpPr>
              <p:nvPr/>
            </p:nvSpPr>
            <p:spPr bwMode="auto">
              <a:xfrm>
                <a:off x="5173663" y="1947864"/>
                <a:ext cx="42863" cy="122238"/>
              </a:xfrm>
              <a:custGeom>
                <a:avLst/>
                <a:gdLst>
                  <a:gd name="T0" fmla="*/ 23 w 27"/>
                  <a:gd name="T1" fmla="*/ 5 h 77"/>
                  <a:gd name="T2" fmla="*/ 27 w 27"/>
                  <a:gd name="T3" fmla="*/ 5 h 77"/>
                  <a:gd name="T4" fmla="*/ 27 w 27"/>
                  <a:gd name="T5" fmla="*/ 9 h 77"/>
                  <a:gd name="T6" fmla="*/ 27 w 27"/>
                  <a:gd name="T7" fmla="*/ 9 h 77"/>
                  <a:gd name="T8" fmla="*/ 23 w 27"/>
                  <a:gd name="T9" fmla="*/ 14 h 77"/>
                  <a:gd name="T10" fmla="*/ 23 w 27"/>
                  <a:gd name="T11" fmla="*/ 14 h 77"/>
                  <a:gd name="T12" fmla="*/ 23 w 27"/>
                  <a:gd name="T13" fmla="*/ 14 h 77"/>
                  <a:gd name="T14" fmla="*/ 23 w 27"/>
                  <a:gd name="T15" fmla="*/ 14 h 77"/>
                  <a:gd name="T16" fmla="*/ 18 w 27"/>
                  <a:gd name="T17" fmla="*/ 18 h 77"/>
                  <a:gd name="T18" fmla="*/ 18 w 27"/>
                  <a:gd name="T19" fmla="*/ 18 h 77"/>
                  <a:gd name="T20" fmla="*/ 18 w 27"/>
                  <a:gd name="T21" fmla="*/ 18 h 77"/>
                  <a:gd name="T22" fmla="*/ 14 w 27"/>
                  <a:gd name="T23" fmla="*/ 18 h 77"/>
                  <a:gd name="T24" fmla="*/ 14 w 27"/>
                  <a:gd name="T25" fmla="*/ 23 h 77"/>
                  <a:gd name="T26" fmla="*/ 14 w 27"/>
                  <a:gd name="T27" fmla="*/ 27 h 77"/>
                  <a:gd name="T28" fmla="*/ 14 w 27"/>
                  <a:gd name="T29" fmla="*/ 27 h 77"/>
                  <a:gd name="T30" fmla="*/ 14 w 27"/>
                  <a:gd name="T31" fmla="*/ 32 h 77"/>
                  <a:gd name="T32" fmla="*/ 14 w 27"/>
                  <a:gd name="T33" fmla="*/ 32 h 77"/>
                  <a:gd name="T34" fmla="*/ 14 w 27"/>
                  <a:gd name="T35" fmla="*/ 32 h 77"/>
                  <a:gd name="T36" fmla="*/ 18 w 27"/>
                  <a:gd name="T37" fmla="*/ 32 h 77"/>
                  <a:gd name="T38" fmla="*/ 14 w 27"/>
                  <a:gd name="T39" fmla="*/ 32 h 77"/>
                  <a:gd name="T40" fmla="*/ 14 w 27"/>
                  <a:gd name="T41" fmla="*/ 36 h 77"/>
                  <a:gd name="T42" fmla="*/ 14 w 27"/>
                  <a:gd name="T43" fmla="*/ 41 h 77"/>
                  <a:gd name="T44" fmla="*/ 14 w 27"/>
                  <a:gd name="T45" fmla="*/ 41 h 77"/>
                  <a:gd name="T46" fmla="*/ 23 w 27"/>
                  <a:gd name="T47" fmla="*/ 36 h 77"/>
                  <a:gd name="T48" fmla="*/ 23 w 27"/>
                  <a:gd name="T49" fmla="*/ 41 h 77"/>
                  <a:gd name="T50" fmla="*/ 23 w 27"/>
                  <a:gd name="T51" fmla="*/ 41 h 77"/>
                  <a:gd name="T52" fmla="*/ 23 w 27"/>
                  <a:gd name="T53" fmla="*/ 45 h 77"/>
                  <a:gd name="T54" fmla="*/ 18 w 27"/>
                  <a:gd name="T55" fmla="*/ 50 h 77"/>
                  <a:gd name="T56" fmla="*/ 18 w 27"/>
                  <a:gd name="T57" fmla="*/ 54 h 77"/>
                  <a:gd name="T58" fmla="*/ 18 w 27"/>
                  <a:gd name="T59" fmla="*/ 59 h 77"/>
                  <a:gd name="T60" fmla="*/ 18 w 27"/>
                  <a:gd name="T61" fmla="*/ 63 h 77"/>
                  <a:gd name="T62" fmla="*/ 18 w 27"/>
                  <a:gd name="T63" fmla="*/ 68 h 77"/>
                  <a:gd name="T64" fmla="*/ 18 w 27"/>
                  <a:gd name="T65" fmla="*/ 68 h 77"/>
                  <a:gd name="T66" fmla="*/ 14 w 27"/>
                  <a:gd name="T67" fmla="*/ 77 h 77"/>
                  <a:gd name="T68" fmla="*/ 14 w 27"/>
                  <a:gd name="T69" fmla="*/ 68 h 77"/>
                  <a:gd name="T70" fmla="*/ 9 w 27"/>
                  <a:gd name="T71" fmla="*/ 63 h 77"/>
                  <a:gd name="T72" fmla="*/ 9 w 27"/>
                  <a:gd name="T73" fmla="*/ 54 h 77"/>
                  <a:gd name="T74" fmla="*/ 5 w 27"/>
                  <a:gd name="T75" fmla="*/ 50 h 77"/>
                  <a:gd name="T76" fmla="*/ 0 w 27"/>
                  <a:gd name="T77" fmla="*/ 41 h 77"/>
                  <a:gd name="T78" fmla="*/ 5 w 27"/>
                  <a:gd name="T79" fmla="*/ 41 h 77"/>
                  <a:gd name="T80" fmla="*/ 5 w 27"/>
                  <a:gd name="T81" fmla="*/ 36 h 77"/>
                  <a:gd name="T82" fmla="*/ 5 w 27"/>
                  <a:gd name="T83" fmla="*/ 36 h 77"/>
                  <a:gd name="T84" fmla="*/ 9 w 27"/>
                  <a:gd name="T85" fmla="*/ 23 h 77"/>
                  <a:gd name="T86" fmla="*/ 14 w 27"/>
                  <a:gd name="T87" fmla="*/ 14 h 77"/>
                  <a:gd name="T88" fmla="*/ 14 w 27"/>
                  <a:gd name="T89" fmla="*/ 9 h 77"/>
                  <a:gd name="T90" fmla="*/ 18 w 27"/>
                  <a:gd name="T91" fmla="*/ 9 h 77"/>
                  <a:gd name="T92" fmla="*/ 18 w 27"/>
                  <a:gd name="T93" fmla="*/ 5 h 77"/>
                  <a:gd name="T94" fmla="*/ 18 w 27"/>
                  <a:gd name="T95" fmla="*/ 5 h 77"/>
                  <a:gd name="T96" fmla="*/ 23 w 27"/>
                  <a:gd name="T97" fmla="*/ 5 h 77"/>
                  <a:gd name="T98" fmla="*/ 23 w 27"/>
                  <a:gd name="T99" fmla="*/ 0 h 77"/>
                  <a:gd name="T100" fmla="*/ 23 w 27"/>
                  <a:gd name="T101" fmla="*/ 0 h 77"/>
                  <a:gd name="T102" fmla="*/ 23 w 27"/>
                  <a:gd name="T103" fmla="*/ 5 h 77"/>
                  <a:gd name="T104" fmla="*/ 23 w 27"/>
                  <a:gd name="T105" fmla="*/ 5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7" h="77">
                    <a:moveTo>
                      <a:pt x="23" y="5"/>
                    </a:moveTo>
                    <a:lnTo>
                      <a:pt x="23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4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72"/>
                    </a:lnTo>
                    <a:lnTo>
                      <a:pt x="14" y="77"/>
                    </a:lnTo>
                    <a:lnTo>
                      <a:pt x="14" y="72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9" y="63"/>
                    </a:lnTo>
                    <a:lnTo>
                      <a:pt x="9" y="59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5" y="50"/>
                    </a:lnTo>
                    <a:lnTo>
                      <a:pt x="5" y="45"/>
                    </a:lnTo>
                    <a:lnTo>
                      <a:pt x="0" y="41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9" y="32"/>
                    </a:lnTo>
                    <a:lnTo>
                      <a:pt x="9" y="23"/>
                    </a:lnTo>
                    <a:lnTo>
                      <a:pt x="9" y="18"/>
                    </a:lnTo>
                    <a:lnTo>
                      <a:pt x="14" y="14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61" name="Freeform 82"/>
              <p:cNvSpPr>
                <a:spLocks noEditPoints="1"/>
              </p:cNvSpPr>
              <p:nvPr/>
            </p:nvSpPr>
            <p:spPr bwMode="auto">
              <a:xfrm>
                <a:off x="4464051" y="1546226"/>
                <a:ext cx="293688" cy="307975"/>
              </a:xfrm>
              <a:custGeom>
                <a:avLst/>
                <a:gdLst>
                  <a:gd name="T0" fmla="*/ 131 w 185"/>
                  <a:gd name="T1" fmla="*/ 181 h 194"/>
                  <a:gd name="T2" fmla="*/ 135 w 185"/>
                  <a:gd name="T3" fmla="*/ 185 h 194"/>
                  <a:gd name="T4" fmla="*/ 131 w 185"/>
                  <a:gd name="T5" fmla="*/ 194 h 194"/>
                  <a:gd name="T6" fmla="*/ 117 w 185"/>
                  <a:gd name="T7" fmla="*/ 185 h 194"/>
                  <a:gd name="T8" fmla="*/ 99 w 185"/>
                  <a:gd name="T9" fmla="*/ 176 h 194"/>
                  <a:gd name="T10" fmla="*/ 90 w 185"/>
                  <a:gd name="T11" fmla="*/ 167 h 194"/>
                  <a:gd name="T12" fmla="*/ 99 w 185"/>
                  <a:gd name="T13" fmla="*/ 167 h 194"/>
                  <a:gd name="T14" fmla="*/ 113 w 185"/>
                  <a:gd name="T15" fmla="*/ 172 h 194"/>
                  <a:gd name="T16" fmla="*/ 126 w 185"/>
                  <a:gd name="T17" fmla="*/ 167 h 194"/>
                  <a:gd name="T18" fmla="*/ 140 w 185"/>
                  <a:gd name="T19" fmla="*/ 167 h 194"/>
                  <a:gd name="T20" fmla="*/ 45 w 185"/>
                  <a:gd name="T21" fmla="*/ 126 h 194"/>
                  <a:gd name="T22" fmla="*/ 41 w 185"/>
                  <a:gd name="T23" fmla="*/ 149 h 194"/>
                  <a:gd name="T24" fmla="*/ 32 w 185"/>
                  <a:gd name="T25" fmla="*/ 154 h 194"/>
                  <a:gd name="T26" fmla="*/ 27 w 185"/>
                  <a:gd name="T27" fmla="*/ 140 h 194"/>
                  <a:gd name="T28" fmla="*/ 27 w 185"/>
                  <a:gd name="T29" fmla="*/ 135 h 194"/>
                  <a:gd name="T30" fmla="*/ 27 w 185"/>
                  <a:gd name="T31" fmla="*/ 122 h 194"/>
                  <a:gd name="T32" fmla="*/ 27 w 185"/>
                  <a:gd name="T33" fmla="*/ 117 h 194"/>
                  <a:gd name="T34" fmla="*/ 41 w 185"/>
                  <a:gd name="T35" fmla="*/ 108 h 194"/>
                  <a:gd name="T36" fmla="*/ 45 w 185"/>
                  <a:gd name="T37" fmla="*/ 113 h 194"/>
                  <a:gd name="T38" fmla="*/ 86 w 185"/>
                  <a:gd name="T39" fmla="*/ 4 h 194"/>
                  <a:gd name="T40" fmla="*/ 108 w 185"/>
                  <a:gd name="T41" fmla="*/ 9 h 194"/>
                  <a:gd name="T42" fmla="*/ 104 w 185"/>
                  <a:gd name="T43" fmla="*/ 18 h 194"/>
                  <a:gd name="T44" fmla="*/ 104 w 185"/>
                  <a:gd name="T45" fmla="*/ 22 h 194"/>
                  <a:gd name="T46" fmla="*/ 108 w 185"/>
                  <a:gd name="T47" fmla="*/ 27 h 194"/>
                  <a:gd name="T48" fmla="*/ 99 w 185"/>
                  <a:gd name="T49" fmla="*/ 27 h 194"/>
                  <a:gd name="T50" fmla="*/ 86 w 185"/>
                  <a:gd name="T51" fmla="*/ 31 h 194"/>
                  <a:gd name="T52" fmla="*/ 86 w 185"/>
                  <a:gd name="T53" fmla="*/ 41 h 194"/>
                  <a:gd name="T54" fmla="*/ 104 w 185"/>
                  <a:gd name="T55" fmla="*/ 63 h 194"/>
                  <a:gd name="T56" fmla="*/ 126 w 185"/>
                  <a:gd name="T57" fmla="*/ 95 h 194"/>
                  <a:gd name="T58" fmla="*/ 145 w 185"/>
                  <a:gd name="T59" fmla="*/ 104 h 194"/>
                  <a:gd name="T60" fmla="*/ 181 w 185"/>
                  <a:gd name="T61" fmla="*/ 126 h 194"/>
                  <a:gd name="T62" fmla="*/ 167 w 185"/>
                  <a:gd name="T63" fmla="*/ 126 h 194"/>
                  <a:gd name="T64" fmla="*/ 158 w 185"/>
                  <a:gd name="T65" fmla="*/ 131 h 194"/>
                  <a:gd name="T66" fmla="*/ 163 w 185"/>
                  <a:gd name="T67" fmla="*/ 154 h 194"/>
                  <a:gd name="T68" fmla="*/ 149 w 185"/>
                  <a:gd name="T69" fmla="*/ 172 h 194"/>
                  <a:gd name="T70" fmla="*/ 145 w 185"/>
                  <a:gd name="T71" fmla="*/ 158 h 194"/>
                  <a:gd name="T72" fmla="*/ 140 w 185"/>
                  <a:gd name="T73" fmla="*/ 135 h 194"/>
                  <a:gd name="T74" fmla="*/ 131 w 185"/>
                  <a:gd name="T75" fmla="*/ 122 h 194"/>
                  <a:gd name="T76" fmla="*/ 122 w 185"/>
                  <a:gd name="T77" fmla="*/ 117 h 194"/>
                  <a:gd name="T78" fmla="*/ 108 w 185"/>
                  <a:gd name="T79" fmla="*/ 108 h 194"/>
                  <a:gd name="T80" fmla="*/ 95 w 185"/>
                  <a:gd name="T81" fmla="*/ 104 h 194"/>
                  <a:gd name="T82" fmla="*/ 68 w 185"/>
                  <a:gd name="T83" fmla="*/ 86 h 194"/>
                  <a:gd name="T84" fmla="*/ 63 w 185"/>
                  <a:gd name="T85" fmla="*/ 77 h 194"/>
                  <a:gd name="T86" fmla="*/ 59 w 185"/>
                  <a:gd name="T87" fmla="*/ 68 h 194"/>
                  <a:gd name="T88" fmla="*/ 32 w 185"/>
                  <a:gd name="T89" fmla="*/ 50 h 194"/>
                  <a:gd name="T90" fmla="*/ 14 w 185"/>
                  <a:gd name="T91" fmla="*/ 59 h 194"/>
                  <a:gd name="T92" fmla="*/ 4 w 185"/>
                  <a:gd name="T93" fmla="*/ 54 h 194"/>
                  <a:gd name="T94" fmla="*/ 4 w 185"/>
                  <a:gd name="T95" fmla="*/ 45 h 194"/>
                  <a:gd name="T96" fmla="*/ 0 w 185"/>
                  <a:gd name="T97" fmla="*/ 36 h 194"/>
                  <a:gd name="T98" fmla="*/ 9 w 185"/>
                  <a:gd name="T99" fmla="*/ 31 h 194"/>
                  <a:gd name="T100" fmla="*/ 4 w 185"/>
                  <a:gd name="T101" fmla="*/ 22 h 194"/>
                  <a:gd name="T102" fmla="*/ 14 w 185"/>
                  <a:gd name="T103" fmla="*/ 22 h 194"/>
                  <a:gd name="T104" fmla="*/ 27 w 185"/>
                  <a:gd name="T105" fmla="*/ 13 h 194"/>
                  <a:gd name="T106" fmla="*/ 32 w 185"/>
                  <a:gd name="T107" fmla="*/ 18 h 194"/>
                  <a:gd name="T108" fmla="*/ 36 w 185"/>
                  <a:gd name="T109" fmla="*/ 22 h 194"/>
                  <a:gd name="T110" fmla="*/ 41 w 185"/>
                  <a:gd name="T111" fmla="*/ 9 h 194"/>
                  <a:gd name="T112" fmla="*/ 50 w 185"/>
                  <a:gd name="T113" fmla="*/ 13 h 194"/>
                  <a:gd name="T114" fmla="*/ 54 w 185"/>
                  <a:gd name="T115" fmla="*/ 13 h 194"/>
                  <a:gd name="T116" fmla="*/ 59 w 185"/>
                  <a:gd name="T117" fmla="*/ 9 h 194"/>
                  <a:gd name="T118" fmla="*/ 63 w 185"/>
                  <a:gd name="T119" fmla="*/ 4 h 194"/>
                  <a:gd name="T120" fmla="*/ 72 w 185"/>
                  <a:gd name="T121" fmla="*/ 0 h 194"/>
                  <a:gd name="T122" fmla="*/ 81 w 185"/>
                  <a:gd name="T123" fmla="*/ 0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85" h="194">
                    <a:moveTo>
                      <a:pt x="140" y="167"/>
                    </a:moveTo>
                    <a:lnTo>
                      <a:pt x="140" y="167"/>
                    </a:lnTo>
                    <a:lnTo>
                      <a:pt x="140" y="167"/>
                    </a:lnTo>
                    <a:lnTo>
                      <a:pt x="140" y="167"/>
                    </a:lnTo>
                    <a:lnTo>
                      <a:pt x="135" y="176"/>
                    </a:lnTo>
                    <a:lnTo>
                      <a:pt x="135" y="176"/>
                    </a:lnTo>
                    <a:lnTo>
                      <a:pt x="135" y="176"/>
                    </a:lnTo>
                    <a:lnTo>
                      <a:pt x="135" y="176"/>
                    </a:lnTo>
                    <a:lnTo>
                      <a:pt x="131" y="181"/>
                    </a:lnTo>
                    <a:lnTo>
                      <a:pt x="131" y="181"/>
                    </a:lnTo>
                    <a:lnTo>
                      <a:pt x="131" y="181"/>
                    </a:lnTo>
                    <a:lnTo>
                      <a:pt x="131" y="181"/>
                    </a:lnTo>
                    <a:lnTo>
                      <a:pt x="135" y="185"/>
                    </a:lnTo>
                    <a:lnTo>
                      <a:pt x="135" y="185"/>
                    </a:lnTo>
                    <a:lnTo>
                      <a:pt x="135" y="185"/>
                    </a:lnTo>
                    <a:lnTo>
                      <a:pt x="135" y="185"/>
                    </a:lnTo>
                    <a:lnTo>
                      <a:pt x="135" y="185"/>
                    </a:lnTo>
                    <a:lnTo>
                      <a:pt x="135" y="185"/>
                    </a:lnTo>
                    <a:lnTo>
                      <a:pt x="135" y="190"/>
                    </a:lnTo>
                    <a:lnTo>
                      <a:pt x="135" y="190"/>
                    </a:lnTo>
                    <a:lnTo>
                      <a:pt x="135" y="190"/>
                    </a:lnTo>
                    <a:lnTo>
                      <a:pt x="135" y="190"/>
                    </a:lnTo>
                    <a:lnTo>
                      <a:pt x="135" y="190"/>
                    </a:lnTo>
                    <a:lnTo>
                      <a:pt x="131" y="194"/>
                    </a:lnTo>
                    <a:lnTo>
                      <a:pt x="135" y="194"/>
                    </a:lnTo>
                    <a:lnTo>
                      <a:pt x="135" y="194"/>
                    </a:lnTo>
                    <a:lnTo>
                      <a:pt x="131" y="194"/>
                    </a:lnTo>
                    <a:lnTo>
                      <a:pt x="131" y="194"/>
                    </a:lnTo>
                    <a:lnTo>
                      <a:pt x="126" y="194"/>
                    </a:lnTo>
                    <a:lnTo>
                      <a:pt x="126" y="194"/>
                    </a:lnTo>
                    <a:lnTo>
                      <a:pt x="126" y="194"/>
                    </a:lnTo>
                    <a:lnTo>
                      <a:pt x="122" y="194"/>
                    </a:lnTo>
                    <a:lnTo>
                      <a:pt x="122" y="190"/>
                    </a:lnTo>
                    <a:lnTo>
                      <a:pt x="117" y="190"/>
                    </a:lnTo>
                    <a:lnTo>
                      <a:pt x="117" y="185"/>
                    </a:lnTo>
                    <a:lnTo>
                      <a:pt x="117" y="185"/>
                    </a:lnTo>
                    <a:lnTo>
                      <a:pt x="113" y="185"/>
                    </a:lnTo>
                    <a:lnTo>
                      <a:pt x="113" y="185"/>
                    </a:lnTo>
                    <a:lnTo>
                      <a:pt x="108" y="185"/>
                    </a:lnTo>
                    <a:lnTo>
                      <a:pt x="104" y="181"/>
                    </a:lnTo>
                    <a:lnTo>
                      <a:pt x="104" y="181"/>
                    </a:lnTo>
                    <a:lnTo>
                      <a:pt x="104" y="181"/>
                    </a:lnTo>
                    <a:lnTo>
                      <a:pt x="104" y="181"/>
                    </a:lnTo>
                    <a:lnTo>
                      <a:pt x="99" y="181"/>
                    </a:lnTo>
                    <a:lnTo>
                      <a:pt x="99" y="176"/>
                    </a:lnTo>
                    <a:lnTo>
                      <a:pt x="99" y="176"/>
                    </a:lnTo>
                    <a:lnTo>
                      <a:pt x="95" y="176"/>
                    </a:lnTo>
                    <a:lnTo>
                      <a:pt x="95" y="176"/>
                    </a:lnTo>
                    <a:lnTo>
                      <a:pt x="95" y="176"/>
                    </a:lnTo>
                    <a:lnTo>
                      <a:pt x="90" y="176"/>
                    </a:lnTo>
                    <a:lnTo>
                      <a:pt x="90" y="176"/>
                    </a:lnTo>
                    <a:lnTo>
                      <a:pt x="90" y="172"/>
                    </a:lnTo>
                    <a:lnTo>
                      <a:pt x="90" y="172"/>
                    </a:lnTo>
                    <a:lnTo>
                      <a:pt x="90" y="167"/>
                    </a:lnTo>
                    <a:lnTo>
                      <a:pt x="95" y="167"/>
                    </a:lnTo>
                    <a:lnTo>
                      <a:pt x="95" y="167"/>
                    </a:lnTo>
                    <a:lnTo>
                      <a:pt x="95" y="167"/>
                    </a:lnTo>
                    <a:lnTo>
                      <a:pt x="95" y="167"/>
                    </a:lnTo>
                    <a:lnTo>
                      <a:pt x="95" y="167"/>
                    </a:lnTo>
                    <a:lnTo>
                      <a:pt x="99" y="172"/>
                    </a:lnTo>
                    <a:lnTo>
                      <a:pt x="99" y="167"/>
                    </a:lnTo>
                    <a:lnTo>
                      <a:pt x="99" y="167"/>
                    </a:lnTo>
                    <a:lnTo>
                      <a:pt x="99" y="167"/>
                    </a:lnTo>
                    <a:lnTo>
                      <a:pt x="104" y="167"/>
                    </a:lnTo>
                    <a:lnTo>
                      <a:pt x="104" y="167"/>
                    </a:lnTo>
                    <a:lnTo>
                      <a:pt x="104" y="167"/>
                    </a:lnTo>
                    <a:lnTo>
                      <a:pt x="104" y="167"/>
                    </a:lnTo>
                    <a:lnTo>
                      <a:pt x="104" y="167"/>
                    </a:lnTo>
                    <a:lnTo>
                      <a:pt x="108" y="167"/>
                    </a:lnTo>
                    <a:lnTo>
                      <a:pt x="108" y="172"/>
                    </a:lnTo>
                    <a:lnTo>
                      <a:pt x="113" y="172"/>
                    </a:lnTo>
                    <a:lnTo>
                      <a:pt x="113" y="172"/>
                    </a:lnTo>
                    <a:lnTo>
                      <a:pt x="113" y="172"/>
                    </a:lnTo>
                    <a:lnTo>
                      <a:pt x="117" y="167"/>
                    </a:lnTo>
                    <a:lnTo>
                      <a:pt x="117" y="172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26" y="167"/>
                    </a:lnTo>
                    <a:lnTo>
                      <a:pt x="126" y="167"/>
                    </a:lnTo>
                    <a:lnTo>
                      <a:pt x="126" y="167"/>
                    </a:lnTo>
                    <a:lnTo>
                      <a:pt x="126" y="167"/>
                    </a:lnTo>
                    <a:lnTo>
                      <a:pt x="131" y="167"/>
                    </a:lnTo>
                    <a:lnTo>
                      <a:pt x="131" y="167"/>
                    </a:lnTo>
                    <a:lnTo>
                      <a:pt x="135" y="167"/>
                    </a:lnTo>
                    <a:lnTo>
                      <a:pt x="135" y="167"/>
                    </a:lnTo>
                    <a:lnTo>
                      <a:pt x="135" y="167"/>
                    </a:lnTo>
                    <a:lnTo>
                      <a:pt x="135" y="167"/>
                    </a:lnTo>
                    <a:lnTo>
                      <a:pt x="140" y="163"/>
                    </a:lnTo>
                    <a:lnTo>
                      <a:pt x="140" y="163"/>
                    </a:lnTo>
                    <a:lnTo>
                      <a:pt x="140" y="167"/>
                    </a:lnTo>
                    <a:lnTo>
                      <a:pt x="140" y="167"/>
                    </a:lnTo>
                    <a:moveTo>
                      <a:pt x="45" y="117"/>
                    </a:moveTo>
                    <a:lnTo>
                      <a:pt x="45" y="117"/>
                    </a:lnTo>
                    <a:lnTo>
                      <a:pt x="45" y="117"/>
                    </a:lnTo>
                    <a:lnTo>
                      <a:pt x="50" y="122"/>
                    </a:lnTo>
                    <a:lnTo>
                      <a:pt x="50" y="122"/>
                    </a:lnTo>
                    <a:lnTo>
                      <a:pt x="50" y="126"/>
                    </a:lnTo>
                    <a:lnTo>
                      <a:pt x="50" y="126"/>
                    </a:lnTo>
                    <a:lnTo>
                      <a:pt x="45" y="126"/>
                    </a:lnTo>
                    <a:lnTo>
                      <a:pt x="45" y="131"/>
                    </a:lnTo>
                    <a:lnTo>
                      <a:pt x="45" y="131"/>
                    </a:lnTo>
                    <a:lnTo>
                      <a:pt x="45" y="131"/>
                    </a:lnTo>
                    <a:lnTo>
                      <a:pt x="45" y="135"/>
                    </a:lnTo>
                    <a:lnTo>
                      <a:pt x="45" y="144"/>
                    </a:lnTo>
                    <a:lnTo>
                      <a:pt x="45" y="144"/>
                    </a:lnTo>
                    <a:lnTo>
                      <a:pt x="45" y="149"/>
                    </a:lnTo>
                    <a:lnTo>
                      <a:pt x="45" y="149"/>
                    </a:lnTo>
                    <a:lnTo>
                      <a:pt x="41" y="149"/>
                    </a:lnTo>
                    <a:lnTo>
                      <a:pt x="41" y="149"/>
                    </a:lnTo>
                    <a:lnTo>
                      <a:pt x="41" y="149"/>
                    </a:lnTo>
                    <a:lnTo>
                      <a:pt x="36" y="149"/>
                    </a:lnTo>
                    <a:lnTo>
                      <a:pt x="36" y="149"/>
                    </a:lnTo>
                    <a:lnTo>
                      <a:pt x="36" y="149"/>
                    </a:lnTo>
                    <a:lnTo>
                      <a:pt x="36" y="149"/>
                    </a:lnTo>
                    <a:lnTo>
                      <a:pt x="36" y="154"/>
                    </a:lnTo>
                    <a:lnTo>
                      <a:pt x="36" y="154"/>
                    </a:lnTo>
                    <a:lnTo>
                      <a:pt x="32" y="154"/>
                    </a:lnTo>
                    <a:lnTo>
                      <a:pt x="32" y="154"/>
                    </a:lnTo>
                    <a:lnTo>
                      <a:pt x="32" y="154"/>
                    </a:lnTo>
                    <a:lnTo>
                      <a:pt x="32" y="154"/>
                    </a:lnTo>
                    <a:lnTo>
                      <a:pt x="27" y="149"/>
                    </a:lnTo>
                    <a:lnTo>
                      <a:pt x="27" y="149"/>
                    </a:lnTo>
                    <a:lnTo>
                      <a:pt x="27" y="149"/>
                    </a:lnTo>
                    <a:lnTo>
                      <a:pt x="27" y="144"/>
                    </a:lnTo>
                    <a:lnTo>
                      <a:pt x="27" y="140"/>
                    </a:lnTo>
                    <a:lnTo>
                      <a:pt x="27" y="140"/>
                    </a:lnTo>
                    <a:lnTo>
                      <a:pt x="27" y="140"/>
                    </a:lnTo>
                    <a:lnTo>
                      <a:pt x="27" y="140"/>
                    </a:lnTo>
                    <a:lnTo>
                      <a:pt x="27" y="140"/>
                    </a:lnTo>
                    <a:lnTo>
                      <a:pt x="27" y="135"/>
                    </a:lnTo>
                    <a:lnTo>
                      <a:pt x="27" y="140"/>
                    </a:lnTo>
                    <a:lnTo>
                      <a:pt x="27" y="135"/>
                    </a:lnTo>
                    <a:lnTo>
                      <a:pt x="27" y="135"/>
                    </a:lnTo>
                    <a:lnTo>
                      <a:pt x="27" y="135"/>
                    </a:lnTo>
                    <a:lnTo>
                      <a:pt x="27" y="135"/>
                    </a:lnTo>
                    <a:lnTo>
                      <a:pt x="27" y="135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7" y="126"/>
                    </a:lnTo>
                    <a:lnTo>
                      <a:pt x="27" y="126"/>
                    </a:lnTo>
                    <a:lnTo>
                      <a:pt x="27" y="126"/>
                    </a:lnTo>
                    <a:lnTo>
                      <a:pt x="27" y="122"/>
                    </a:lnTo>
                    <a:lnTo>
                      <a:pt x="27" y="122"/>
                    </a:lnTo>
                    <a:lnTo>
                      <a:pt x="23" y="122"/>
                    </a:lnTo>
                    <a:lnTo>
                      <a:pt x="23" y="122"/>
                    </a:lnTo>
                    <a:lnTo>
                      <a:pt x="23" y="117"/>
                    </a:lnTo>
                    <a:lnTo>
                      <a:pt x="23" y="117"/>
                    </a:lnTo>
                    <a:lnTo>
                      <a:pt x="23" y="117"/>
                    </a:lnTo>
                    <a:lnTo>
                      <a:pt x="23" y="117"/>
                    </a:lnTo>
                    <a:lnTo>
                      <a:pt x="27" y="117"/>
                    </a:lnTo>
                    <a:lnTo>
                      <a:pt x="27" y="117"/>
                    </a:lnTo>
                    <a:lnTo>
                      <a:pt x="27" y="117"/>
                    </a:lnTo>
                    <a:lnTo>
                      <a:pt x="27" y="117"/>
                    </a:lnTo>
                    <a:lnTo>
                      <a:pt x="32" y="117"/>
                    </a:lnTo>
                    <a:lnTo>
                      <a:pt x="32" y="113"/>
                    </a:lnTo>
                    <a:lnTo>
                      <a:pt x="36" y="113"/>
                    </a:lnTo>
                    <a:lnTo>
                      <a:pt x="36" y="113"/>
                    </a:lnTo>
                    <a:lnTo>
                      <a:pt x="41" y="108"/>
                    </a:lnTo>
                    <a:lnTo>
                      <a:pt x="41" y="108"/>
                    </a:lnTo>
                    <a:lnTo>
                      <a:pt x="41" y="108"/>
                    </a:lnTo>
                    <a:lnTo>
                      <a:pt x="41" y="108"/>
                    </a:lnTo>
                    <a:lnTo>
                      <a:pt x="41" y="108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7"/>
                    </a:lnTo>
                    <a:lnTo>
                      <a:pt x="45" y="117"/>
                    </a:lnTo>
                    <a:moveTo>
                      <a:pt x="81" y="0"/>
                    </a:moveTo>
                    <a:lnTo>
                      <a:pt x="81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95" y="9"/>
                    </a:lnTo>
                    <a:lnTo>
                      <a:pt x="99" y="9"/>
                    </a:lnTo>
                    <a:lnTo>
                      <a:pt x="104" y="9"/>
                    </a:lnTo>
                    <a:lnTo>
                      <a:pt x="104" y="9"/>
                    </a:lnTo>
                    <a:lnTo>
                      <a:pt x="108" y="9"/>
                    </a:lnTo>
                    <a:lnTo>
                      <a:pt x="108" y="9"/>
                    </a:lnTo>
                    <a:lnTo>
                      <a:pt x="108" y="13"/>
                    </a:lnTo>
                    <a:lnTo>
                      <a:pt x="104" y="13"/>
                    </a:lnTo>
                    <a:lnTo>
                      <a:pt x="104" y="13"/>
                    </a:lnTo>
                    <a:lnTo>
                      <a:pt x="104" y="13"/>
                    </a:lnTo>
                    <a:lnTo>
                      <a:pt x="104" y="13"/>
                    </a:lnTo>
                    <a:lnTo>
                      <a:pt x="104" y="13"/>
                    </a:lnTo>
                    <a:lnTo>
                      <a:pt x="104" y="18"/>
                    </a:lnTo>
                    <a:lnTo>
                      <a:pt x="104" y="13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7"/>
                    </a:lnTo>
                    <a:lnTo>
                      <a:pt x="108" y="27"/>
                    </a:lnTo>
                    <a:lnTo>
                      <a:pt x="108" y="27"/>
                    </a:lnTo>
                    <a:lnTo>
                      <a:pt x="108" y="27"/>
                    </a:lnTo>
                    <a:lnTo>
                      <a:pt x="108" y="27"/>
                    </a:lnTo>
                    <a:lnTo>
                      <a:pt x="108" y="27"/>
                    </a:lnTo>
                    <a:lnTo>
                      <a:pt x="108" y="22"/>
                    </a:lnTo>
                    <a:lnTo>
                      <a:pt x="104" y="22"/>
                    </a:lnTo>
                    <a:lnTo>
                      <a:pt x="104" y="27"/>
                    </a:lnTo>
                    <a:lnTo>
                      <a:pt x="99" y="22"/>
                    </a:lnTo>
                    <a:lnTo>
                      <a:pt x="99" y="22"/>
                    </a:lnTo>
                    <a:lnTo>
                      <a:pt x="99" y="27"/>
                    </a:lnTo>
                    <a:lnTo>
                      <a:pt x="99" y="27"/>
                    </a:lnTo>
                    <a:lnTo>
                      <a:pt x="95" y="27"/>
                    </a:lnTo>
                    <a:lnTo>
                      <a:pt x="95" y="27"/>
                    </a:lnTo>
                    <a:lnTo>
                      <a:pt x="90" y="27"/>
                    </a:lnTo>
                    <a:lnTo>
                      <a:pt x="90" y="31"/>
                    </a:lnTo>
                    <a:lnTo>
                      <a:pt x="90" y="31"/>
                    </a:lnTo>
                    <a:lnTo>
                      <a:pt x="90" y="27"/>
                    </a:lnTo>
                    <a:lnTo>
                      <a:pt x="90" y="27"/>
                    </a:lnTo>
                    <a:lnTo>
                      <a:pt x="86" y="31"/>
                    </a:lnTo>
                    <a:lnTo>
                      <a:pt x="86" y="31"/>
                    </a:lnTo>
                    <a:lnTo>
                      <a:pt x="86" y="31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1"/>
                    </a:lnTo>
                    <a:lnTo>
                      <a:pt x="90" y="41"/>
                    </a:lnTo>
                    <a:lnTo>
                      <a:pt x="90" y="41"/>
                    </a:lnTo>
                    <a:lnTo>
                      <a:pt x="86" y="41"/>
                    </a:lnTo>
                    <a:lnTo>
                      <a:pt x="86" y="41"/>
                    </a:lnTo>
                    <a:lnTo>
                      <a:pt x="86" y="41"/>
                    </a:lnTo>
                    <a:lnTo>
                      <a:pt x="86" y="45"/>
                    </a:lnTo>
                    <a:lnTo>
                      <a:pt x="86" y="50"/>
                    </a:lnTo>
                    <a:lnTo>
                      <a:pt x="90" y="54"/>
                    </a:lnTo>
                    <a:lnTo>
                      <a:pt x="90" y="54"/>
                    </a:lnTo>
                    <a:lnTo>
                      <a:pt x="95" y="59"/>
                    </a:lnTo>
                    <a:lnTo>
                      <a:pt x="95" y="59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8" y="63"/>
                    </a:lnTo>
                    <a:lnTo>
                      <a:pt x="108" y="68"/>
                    </a:lnTo>
                    <a:lnTo>
                      <a:pt x="108" y="72"/>
                    </a:lnTo>
                    <a:lnTo>
                      <a:pt x="113" y="77"/>
                    </a:lnTo>
                    <a:lnTo>
                      <a:pt x="113" y="81"/>
                    </a:lnTo>
                    <a:lnTo>
                      <a:pt x="117" y="86"/>
                    </a:lnTo>
                    <a:lnTo>
                      <a:pt x="122" y="90"/>
                    </a:lnTo>
                    <a:lnTo>
                      <a:pt x="126" y="95"/>
                    </a:lnTo>
                    <a:lnTo>
                      <a:pt x="131" y="95"/>
                    </a:lnTo>
                    <a:lnTo>
                      <a:pt x="135" y="95"/>
                    </a:lnTo>
                    <a:lnTo>
                      <a:pt x="145" y="95"/>
                    </a:lnTo>
                    <a:lnTo>
                      <a:pt x="145" y="95"/>
                    </a:lnTo>
                    <a:lnTo>
                      <a:pt x="149" y="95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5" y="99"/>
                    </a:lnTo>
                    <a:lnTo>
                      <a:pt x="145" y="104"/>
                    </a:lnTo>
                    <a:lnTo>
                      <a:pt x="145" y="104"/>
                    </a:lnTo>
                    <a:lnTo>
                      <a:pt x="145" y="104"/>
                    </a:lnTo>
                    <a:lnTo>
                      <a:pt x="154" y="108"/>
                    </a:lnTo>
                    <a:lnTo>
                      <a:pt x="163" y="113"/>
                    </a:lnTo>
                    <a:lnTo>
                      <a:pt x="167" y="113"/>
                    </a:lnTo>
                    <a:lnTo>
                      <a:pt x="167" y="117"/>
                    </a:lnTo>
                    <a:lnTo>
                      <a:pt x="176" y="122"/>
                    </a:lnTo>
                    <a:lnTo>
                      <a:pt x="176" y="122"/>
                    </a:lnTo>
                    <a:lnTo>
                      <a:pt x="181" y="126"/>
                    </a:lnTo>
                    <a:lnTo>
                      <a:pt x="185" y="126"/>
                    </a:lnTo>
                    <a:lnTo>
                      <a:pt x="185" y="131"/>
                    </a:lnTo>
                    <a:lnTo>
                      <a:pt x="185" y="131"/>
                    </a:lnTo>
                    <a:lnTo>
                      <a:pt x="185" y="135"/>
                    </a:lnTo>
                    <a:lnTo>
                      <a:pt x="181" y="135"/>
                    </a:lnTo>
                    <a:lnTo>
                      <a:pt x="181" y="135"/>
                    </a:lnTo>
                    <a:lnTo>
                      <a:pt x="176" y="135"/>
                    </a:lnTo>
                    <a:lnTo>
                      <a:pt x="176" y="126"/>
                    </a:lnTo>
                    <a:lnTo>
                      <a:pt x="167" y="126"/>
                    </a:lnTo>
                    <a:lnTo>
                      <a:pt x="167" y="126"/>
                    </a:lnTo>
                    <a:lnTo>
                      <a:pt x="167" y="126"/>
                    </a:lnTo>
                    <a:lnTo>
                      <a:pt x="167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58" y="122"/>
                    </a:lnTo>
                    <a:lnTo>
                      <a:pt x="158" y="126"/>
                    </a:lnTo>
                    <a:lnTo>
                      <a:pt x="158" y="131"/>
                    </a:lnTo>
                    <a:lnTo>
                      <a:pt x="154" y="135"/>
                    </a:lnTo>
                    <a:lnTo>
                      <a:pt x="154" y="135"/>
                    </a:lnTo>
                    <a:lnTo>
                      <a:pt x="154" y="140"/>
                    </a:lnTo>
                    <a:lnTo>
                      <a:pt x="158" y="140"/>
                    </a:lnTo>
                    <a:lnTo>
                      <a:pt x="163" y="140"/>
                    </a:lnTo>
                    <a:lnTo>
                      <a:pt x="163" y="144"/>
                    </a:lnTo>
                    <a:lnTo>
                      <a:pt x="163" y="149"/>
                    </a:lnTo>
                    <a:lnTo>
                      <a:pt x="163" y="149"/>
                    </a:lnTo>
                    <a:lnTo>
                      <a:pt x="163" y="154"/>
                    </a:lnTo>
                    <a:lnTo>
                      <a:pt x="163" y="154"/>
                    </a:lnTo>
                    <a:lnTo>
                      <a:pt x="158" y="154"/>
                    </a:lnTo>
                    <a:lnTo>
                      <a:pt x="158" y="154"/>
                    </a:lnTo>
                    <a:lnTo>
                      <a:pt x="154" y="158"/>
                    </a:lnTo>
                    <a:lnTo>
                      <a:pt x="154" y="163"/>
                    </a:lnTo>
                    <a:lnTo>
                      <a:pt x="154" y="163"/>
                    </a:lnTo>
                    <a:lnTo>
                      <a:pt x="149" y="167"/>
                    </a:lnTo>
                    <a:lnTo>
                      <a:pt x="149" y="167"/>
                    </a:lnTo>
                    <a:lnTo>
                      <a:pt x="149" y="172"/>
                    </a:lnTo>
                    <a:lnTo>
                      <a:pt x="149" y="172"/>
                    </a:lnTo>
                    <a:lnTo>
                      <a:pt x="145" y="172"/>
                    </a:lnTo>
                    <a:lnTo>
                      <a:pt x="140" y="167"/>
                    </a:lnTo>
                    <a:lnTo>
                      <a:pt x="140" y="167"/>
                    </a:lnTo>
                    <a:lnTo>
                      <a:pt x="140" y="167"/>
                    </a:lnTo>
                    <a:lnTo>
                      <a:pt x="145" y="163"/>
                    </a:lnTo>
                    <a:lnTo>
                      <a:pt x="145" y="163"/>
                    </a:lnTo>
                    <a:lnTo>
                      <a:pt x="145" y="158"/>
                    </a:lnTo>
                    <a:lnTo>
                      <a:pt x="145" y="158"/>
                    </a:lnTo>
                    <a:lnTo>
                      <a:pt x="145" y="158"/>
                    </a:lnTo>
                    <a:lnTo>
                      <a:pt x="149" y="158"/>
                    </a:lnTo>
                    <a:lnTo>
                      <a:pt x="149" y="154"/>
                    </a:lnTo>
                    <a:lnTo>
                      <a:pt x="149" y="154"/>
                    </a:lnTo>
                    <a:lnTo>
                      <a:pt x="149" y="149"/>
                    </a:lnTo>
                    <a:lnTo>
                      <a:pt x="149" y="149"/>
                    </a:lnTo>
                    <a:lnTo>
                      <a:pt x="145" y="144"/>
                    </a:lnTo>
                    <a:lnTo>
                      <a:pt x="145" y="140"/>
                    </a:lnTo>
                    <a:lnTo>
                      <a:pt x="140" y="135"/>
                    </a:lnTo>
                    <a:lnTo>
                      <a:pt x="140" y="131"/>
                    </a:lnTo>
                    <a:lnTo>
                      <a:pt x="140" y="131"/>
                    </a:lnTo>
                    <a:lnTo>
                      <a:pt x="135" y="131"/>
                    </a:lnTo>
                    <a:lnTo>
                      <a:pt x="135" y="131"/>
                    </a:lnTo>
                    <a:lnTo>
                      <a:pt x="131" y="126"/>
                    </a:lnTo>
                    <a:lnTo>
                      <a:pt x="131" y="126"/>
                    </a:lnTo>
                    <a:lnTo>
                      <a:pt x="131" y="126"/>
                    </a:lnTo>
                    <a:lnTo>
                      <a:pt x="131" y="126"/>
                    </a:lnTo>
                    <a:lnTo>
                      <a:pt x="131" y="122"/>
                    </a:lnTo>
                    <a:lnTo>
                      <a:pt x="126" y="122"/>
                    </a:lnTo>
                    <a:lnTo>
                      <a:pt x="126" y="122"/>
                    </a:lnTo>
                    <a:lnTo>
                      <a:pt x="126" y="122"/>
                    </a:lnTo>
                    <a:lnTo>
                      <a:pt x="122" y="122"/>
                    </a:lnTo>
                    <a:lnTo>
                      <a:pt x="122" y="122"/>
                    </a:lnTo>
                    <a:lnTo>
                      <a:pt x="122" y="122"/>
                    </a:lnTo>
                    <a:lnTo>
                      <a:pt x="122" y="122"/>
                    </a:lnTo>
                    <a:lnTo>
                      <a:pt x="117" y="122"/>
                    </a:lnTo>
                    <a:lnTo>
                      <a:pt x="122" y="117"/>
                    </a:lnTo>
                    <a:lnTo>
                      <a:pt x="122" y="117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117" y="117"/>
                    </a:lnTo>
                    <a:lnTo>
                      <a:pt x="113" y="117"/>
                    </a:lnTo>
                    <a:lnTo>
                      <a:pt x="113" y="117"/>
                    </a:lnTo>
                    <a:lnTo>
                      <a:pt x="113" y="113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4" y="108"/>
                    </a:lnTo>
                    <a:lnTo>
                      <a:pt x="104" y="108"/>
                    </a:lnTo>
                    <a:lnTo>
                      <a:pt x="99" y="108"/>
                    </a:lnTo>
                    <a:lnTo>
                      <a:pt x="99" y="108"/>
                    </a:lnTo>
                    <a:lnTo>
                      <a:pt x="99" y="108"/>
                    </a:lnTo>
                    <a:lnTo>
                      <a:pt x="99" y="108"/>
                    </a:lnTo>
                    <a:lnTo>
                      <a:pt x="95" y="104"/>
                    </a:lnTo>
                    <a:lnTo>
                      <a:pt x="90" y="104"/>
                    </a:lnTo>
                    <a:lnTo>
                      <a:pt x="86" y="99"/>
                    </a:lnTo>
                    <a:lnTo>
                      <a:pt x="86" y="95"/>
                    </a:lnTo>
                    <a:lnTo>
                      <a:pt x="81" y="95"/>
                    </a:lnTo>
                    <a:lnTo>
                      <a:pt x="77" y="90"/>
                    </a:lnTo>
                    <a:lnTo>
                      <a:pt x="77" y="90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1"/>
                    </a:lnTo>
                    <a:lnTo>
                      <a:pt x="63" y="81"/>
                    </a:lnTo>
                    <a:lnTo>
                      <a:pt x="63" y="81"/>
                    </a:lnTo>
                    <a:lnTo>
                      <a:pt x="63" y="77"/>
                    </a:lnTo>
                    <a:lnTo>
                      <a:pt x="63" y="77"/>
                    </a:lnTo>
                    <a:lnTo>
                      <a:pt x="63" y="77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9" y="72"/>
                    </a:lnTo>
                    <a:lnTo>
                      <a:pt x="59" y="72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4" y="59"/>
                    </a:lnTo>
                    <a:lnTo>
                      <a:pt x="54" y="59"/>
                    </a:lnTo>
                    <a:lnTo>
                      <a:pt x="54" y="59"/>
                    </a:lnTo>
                    <a:lnTo>
                      <a:pt x="50" y="54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27" y="54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18" y="63"/>
                    </a:lnTo>
                    <a:lnTo>
                      <a:pt x="14" y="63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4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9" y="36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2" y="18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41" y="18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5" y="9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50" y="13"/>
                    </a:lnTo>
                    <a:lnTo>
                      <a:pt x="50" y="13"/>
                    </a:lnTo>
                    <a:lnTo>
                      <a:pt x="50" y="13"/>
                    </a:lnTo>
                    <a:lnTo>
                      <a:pt x="50" y="13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81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1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62" name="Freeform 83"/>
              <p:cNvSpPr>
                <a:spLocks/>
              </p:cNvSpPr>
              <p:nvPr/>
            </p:nvSpPr>
            <p:spPr bwMode="auto">
              <a:xfrm>
                <a:off x="2147888" y="2371726"/>
                <a:ext cx="57150" cy="20638"/>
              </a:xfrm>
              <a:custGeom>
                <a:avLst/>
                <a:gdLst>
                  <a:gd name="T0" fmla="*/ 22 w 36"/>
                  <a:gd name="T1" fmla="*/ 0 h 13"/>
                  <a:gd name="T2" fmla="*/ 22 w 36"/>
                  <a:gd name="T3" fmla="*/ 0 h 13"/>
                  <a:gd name="T4" fmla="*/ 22 w 36"/>
                  <a:gd name="T5" fmla="*/ 0 h 13"/>
                  <a:gd name="T6" fmla="*/ 22 w 36"/>
                  <a:gd name="T7" fmla="*/ 0 h 13"/>
                  <a:gd name="T8" fmla="*/ 27 w 36"/>
                  <a:gd name="T9" fmla="*/ 0 h 13"/>
                  <a:gd name="T10" fmla="*/ 27 w 36"/>
                  <a:gd name="T11" fmla="*/ 0 h 13"/>
                  <a:gd name="T12" fmla="*/ 27 w 36"/>
                  <a:gd name="T13" fmla="*/ 4 h 13"/>
                  <a:gd name="T14" fmla="*/ 31 w 36"/>
                  <a:gd name="T15" fmla="*/ 4 h 13"/>
                  <a:gd name="T16" fmla="*/ 36 w 36"/>
                  <a:gd name="T17" fmla="*/ 4 h 13"/>
                  <a:gd name="T18" fmla="*/ 36 w 36"/>
                  <a:gd name="T19" fmla="*/ 9 h 13"/>
                  <a:gd name="T20" fmla="*/ 36 w 36"/>
                  <a:gd name="T21" fmla="*/ 9 h 13"/>
                  <a:gd name="T22" fmla="*/ 36 w 36"/>
                  <a:gd name="T23" fmla="*/ 13 h 13"/>
                  <a:gd name="T24" fmla="*/ 31 w 36"/>
                  <a:gd name="T25" fmla="*/ 13 h 13"/>
                  <a:gd name="T26" fmla="*/ 31 w 36"/>
                  <a:gd name="T27" fmla="*/ 13 h 13"/>
                  <a:gd name="T28" fmla="*/ 31 w 36"/>
                  <a:gd name="T29" fmla="*/ 9 h 13"/>
                  <a:gd name="T30" fmla="*/ 27 w 36"/>
                  <a:gd name="T31" fmla="*/ 9 h 13"/>
                  <a:gd name="T32" fmla="*/ 27 w 36"/>
                  <a:gd name="T33" fmla="*/ 9 h 13"/>
                  <a:gd name="T34" fmla="*/ 27 w 36"/>
                  <a:gd name="T35" fmla="*/ 9 h 13"/>
                  <a:gd name="T36" fmla="*/ 27 w 36"/>
                  <a:gd name="T37" fmla="*/ 9 h 13"/>
                  <a:gd name="T38" fmla="*/ 27 w 36"/>
                  <a:gd name="T39" fmla="*/ 9 h 13"/>
                  <a:gd name="T40" fmla="*/ 27 w 36"/>
                  <a:gd name="T41" fmla="*/ 9 h 13"/>
                  <a:gd name="T42" fmla="*/ 22 w 36"/>
                  <a:gd name="T43" fmla="*/ 13 h 13"/>
                  <a:gd name="T44" fmla="*/ 22 w 36"/>
                  <a:gd name="T45" fmla="*/ 13 h 13"/>
                  <a:gd name="T46" fmla="*/ 22 w 36"/>
                  <a:gd name="T47" fmla="*/ 9 h 13"/>
                  <a:gd name="T48" fmla="*/ 22 w 36"/>
                  <a:gd name="T49" fmla="*/ 13 h 13"/>
                  <a:gd name="T50" fmla="*/ 18 w 36"/>
                  <a:gd name="T51" fmla="*/ 13 h 13"/>
                  <a:gd name="T52" fmla="*/ 18 w 36"/>
                  <a:gd name="T53" fmla="*/ 13 h 13"/>
                  <a:gd name="T54" fmla="*/ 18 w 36"/>
                  <a:gd name="T55" fmla="*/ 13 h 13"/>
                  <a:gd name="T56" fmla="*/ 18 w 36"/>
                  <a:gd name="T57" fmla="*/ 13 h 13"/>
                  <a:gd name="T58" fmla="*/ 13 w 36"/>
                  <a:gd name="T59" fmla="*/ 13 h 13"/>
                  <a:gd name="T60" fmla="*/ 13 w 36"/>
                  <a:gd name="T61" fmla="*/ 13 h 13"/>
                  <a:gd name="T62" fmla="*/ 9 w 36"/>
                  <a:gd name="T63" fmla="*/ 9 h 13"/>
                  <a:gd name="T64" fmla="*/ 9 w 36"/>
                  <a:gd name="T65" fmla="*/ 9 h 13"/>
                  <a:gd name="T66" fmla="*/ 9 w 36"/>
                  <a:gd name="T67" fmla="*/ 9 h 13"/>
                  <a:gd name="T68" fmla="*/ 9 w 36"/>
                  <a:gd name="T69" fmla="*/ 9 h 13"/>
                  <a:gd name="T70" fmla="*/ 4 w 36"/>
                  <a:gd name="T71" fmla="*/ 4 h 13"/>
                  <a:gd name="T72" fmla="*/ 4 w 36"/>
                  <a:gd name="T73" fmla="*/ 4 h 13"/>
                  <a:gd name="T74" fmla="*/ 0 w 36"/>
                  <a:gd name="T75" fmla="*/ 4 h 13"/>
                  <a:gd name="T76" fmla="*/ 0 w 36"/>
                  <a:gd name="T77" fmla="*/ 4 h 13"/>
                  <a:gd name="T78" fmla="*/ 0 w 36"/>
                  <a:gd name="T79" fmla="*/ 0 h 13"/>
                  <a:gd name="T80" fmla="*/ 4 w 36"/>
                  <a:gd name="T81" fmla="*/ 0 h 13"/>
                  <a:gd name="T82" fmla="*/ 4 w 36"/>
                  <a:gd name="T83" fmla="*/ 0 h 13"/>
                  <a:gd name="T84" fmla="*/ 4 w 36"/>
                  <a:gd name="T85" fmla="*/ 0 h 13"/>
                  <a:gd name="T86" fmla="*/ 9 w 36"/>
                  <a:gd name="T87" fmla="*/ 0 h 13"/>
                  <a:gd name="T88" fmla="*/ 9 w 36"/>
                  <a:gd name="T89" fmla="*/ 0 h 13"/>
                  <a:gd name="T90" fmla="*/ 9 w 36"/>
                  <a:gd name="T91" fmla="*/ 0 h 13"/>
                  <a:gd name="T92" fmla="*/ 18 w 36"/>
                  <a:gd name="T93" fmla="*/ 0 h 13"/>
                  <a:gd name="T94" fmla="*/ 18 w 36"/>
                  <a:gd name="T95" fmla="*/ 0 h 13"/>
                  <a:gd name="T96" fmla="*/ 22 w 36"/>
                  <a:gd name="T9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6" h="13">
                    <a:moveTo>
                      <a:pt x="22" y="0"/>
                    </a:move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4"/>
                    </a:lnTo>
                    <a:lnTo>
                      <a:pt x="31" y="4"/>
                    </a:lnTo>
                    <a:lnTo>
                      <a:pt x="36" y="4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13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31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2" y="13"/>
                    </a:lnTo>
                    <a:lnTo>
                      <a:pt x="22" y="13"/>
                    </a:lnTo>
                    <a:lnTo>
                      <a:pt x="22" y="9"/>
                    </a:lnTo>
                    <a:lnTo>
                      <a:pt x="22" y="13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63" name="Freeform 84"/>
              <p:cNvSpPr>
                <a:spLocks/>
              </p:cNvSpPr>
              <p:nvPr/>
            </p:nvSpPr>
            <p:spPr bwMode="auto">
              <a:xfrm>
                <a:off x="5202238" y="1947864"/>
                <a:ext cx="101600" cy="128588"/>
              </a:xfrm>
              <a:custGeom>
                <a:avLst/>
                <a:gdLst>
                  <a:gd name="T0" fmla="*/ 59 w 64"/>
                  <a:gd name="T1" fmla="*/ 18 h 81"/>
                  <a:gd name="T2" fmla="*/ 64 w 64"/>
                  <a:gd name="T3" fmla="*/ 23 h 81"/>
                  <a:gd name="T4" fmla="*/ 64 w 64"/>
                  <a:gd name="T5" fmla="*/ 23 h 81"/>
                  <a:gd name="T6" fmla="*/ 59 w 64"/>
                  <a:gd name="T7" fmla="*/ 27 h 81"/>
                  <a:gd name="T8" fmla="*/ 54 w 64"/>
                  <a:gd name="T9" fmla="*/ 27 h 81"/>
                  <a:gd name="T10" fmla="*/ 45 w 64"/>
                  <a:gd name="T11" fmla="*/ 32 h 81"/>
                  <a:gd name="T12" fmla="*/ 36 w 64"/>
                  <a:gd name="T13" fmla="*/ 36 h 81"/>
                  <a:gd name="T14" fmla="*/ 27 w 64"/>
                  <a:gd name="T15" fmla="*/ 36 h 81"/>
                  <a:gd name="T16" fmla="*/ 36 w 64"/>
                  <a:gd name="T17" fmla="*/ 45 h 81"/>
                  <a:gd name="T18" fmla="*/ 41 w 64"/>
                  <a:gd name="T19" fmla="*/ 50 h 81"/>
                  <a:gd name="T20" fmla="*/ 45 w 64"/>
                  <a:gd name="T21" fmla="*/ 54 h 81"/>
                  <a:gd name="T22" fmla="*/ 41 w 64"/>
                  <a:gd name="T23" fmla="*/ 59 h 81"/>
                  <a:gd name="T24" fmla="*/ 41 w 64"/>
                  <a:gd name="T25" fmla="*/ 59 h 81"/>
                  <a:gd name="T26" fmla="*/ 41 w 64"/>
                  <a:gd name="T27" fmla="*/ 63 h 81"/>
                  <a:gd name="T28" fmla="*/ 36 w 64"/>
                  <a:gd name="T29" fmla="*/ 68 h 81"/>
                  <a:gd name="T30" fmla="*/ 27 w 64"/>
                  <a:gd name="T31" fmla="*/ 68 h 81"/>
                  <a:gd name="T32" fmla="*/ 27 w 64"/>
                  <a:gd name="T33" fmla="*/ 72 h 81"/>
                  <a:gd name="T34" fmla="*/ 23 w 64"/>
                  <a:gd name="T35" fmla="*/ 77 h 81"/>
                  <a:gd name="T36" fmla="*/ 18 w 64"/>
                  <a:gd name="T37" fmla="*/ 81 h 81"/>
                  <a:gd name="T38" fmla="*/ 9 w 64"/>
                  <a:gd name="T39" fmla="*/ 81 h 81"/>
                  <a:gd name="T40" fmla="*/ 0 w 64"/>
                  <a:gd name="T41" fmla="*/ 77 h 81"/>
                  <a:gd name="T42" fmla="*/ 0 w 64"/>
                  <a:gd name="T43" fmla="*/ 77 h 81"/>
                  <a:gd name="T44" fmla="*/ 0 w 64"/>
                  <a:gd name="T45" fmla="*/ 68 h 81"/>
                  <a:gd name="T46" fmla="*/ 0 w 64"/>
                  <a:gd name="T47" fmla="*/ 68 h 81"/>
                  <a:gd name="T48" fmla="*/ 0 w 64"/>
                  <a:gd name="T49" fmla="*/ 63 h 81"/>
                  <a:gd name="T50" fmla="*/ 0 w 64"/>
                  <a:gd name="T51" fmla="*/ 59 h 81"/>
                  <a:gd name="T52" fmla="*/ 0 w 64"/>
                  <a:gd name="T53" fmla="*/ 54 h 81"/>
                  <a:gd name="T54" fmla="*/ 0 w 64"/>
                  <a:gd name="T55" fmla="*/ 50 h 81"/>
                  <a:gd name="T56" fmla="*/ 5 w 64"/>
                  <a:gd name="T57" fmla="*/ 45 h 81"/>
                  <a:gd name="T58" fmla="*/ 5 w 64"/>
                  <a:gd name="T59" fmla="*/ 41 h 81"/>
                  <a:gd name="T60" fmla="*/ 5 w 64"/>
                  <a:gd name="T61" fmla="*/ 41 h 81"/>
                  <a:gd name="T62" fmla="*/ 5 w 64"/>
                  <a:gd name="T63" fmla="*/ 36 h 81"/>
                  <a:gd name="T64" fmla="*/ 5 w 64"/>
                  <a:gd name="T65" fmla="*/ 32 h 81"/>
                  <a:gd name="T66" fmla="*/ 5 w 64"/>
                  <a:gd name="T67" fmla="*/ 27 h 81"/>
                  <a:gd name="T68" fmla="*/ 5 w 64"/>
                  <a:gd name="T69" fmla="*/ 18 h 81"/>
                  <a:gd name="T70" fmla="*/ 5 w 64"/>
                  <a:gd name="T71" fmla="*/ 14 h 81"/>
                  <a:gd name="T72" fmla="*/ 5 w 64"/>
                  <a:gd name="T73" fmla="*/ 14 h 81"/>
                  <a:gd name="T74" fmla="*/ 5 w 64"/>
                  <a:gd name="T75" fmla="*/ 14 h 81"/>
                  <a:gd name="T76" fmla="*/ 9 w 64"/>
                  <a:gd name="T77" fmla="*/ 14 h 81"/>
                  <a:gd name="T78" fmla="*/ 14 w 64"/>
                  <a:gd name="T79" fmla="*/ 18 h 81"/>
                  <a:gd name="T80" fmla="*/ 18 w 64"/>
                  <a:gd name="T81" fmla="*/ 18 h 81"/>
                  <a:gd name="T82" fmla="*/ 23 w 64"/>
                  <a:gd name="T83" fmla="*/ 23 h 81"/>
                  <a:gd name="T84" fmla="*/ 32 w 64"/>
                  <a:gd name="T85" fmla="*/ 18 h 81"/>
                  <a:gd name="T86" fmla="*/ 36 w 64"/>
                  <a:gd name="T87" fmla="*/ 14 h 81"/>
                  <a:gd name="T88" fmla="*/ 45 w 64"/>
                  <a:gd name="T89" fmla="*/ 5 h 81"/>
                  <a:gd name="T90" fmla="*/ 54 w 64"/>
                  <a:gd name="T91" fmla="*/ 0 h 81"/>
                  <a:gd name="T92" fmla="*/ 59 w 64"/>
                  <a:gd name="T93" fmla="*/ 9 h 81"/>
                  <a:gd name="T94" fmla="*/ 59 w 64"/>
                  <a:gd name="T95" fmla="*/ 18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4" h="81">
                    <a:moveTo>
                      <a:pt x="59" y="18"/>
                    </a:moveTo>
                    <a:lnTo>
                      <a:pt x="59" y="18"/>
                    </a:lnTo>
                    <a:lnTo>
                      <a:pt x="59" y="23"/>
                    </a:lnTo>
                    <a:lnTo>
                      <a:pt x="64" y="23"/>
                    </a:lnTo>
                    <a:lnTo>
                      <a:pt x="64" y="18"/>
                    </a:lnTo>
                    <a:lnTo>
                      <a:pt x="64" y="23"/>
                    </a:lnTo>
                    <a:lnTo>
                      <a:pt x="64" y="23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4" y="27"/>
                    </a:lnTo>
                    <a:lnTo>
                      <a:pt x="50" y="32"/>
                    </a:lnTo>
                    <a:lnTo>
                      <a:pt x="45" y="32"/>
                    </a:lnTo>
                    <a:lnTo>
                      <a:pt x="41" y="32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27" y="36"/>
                    </a:lnTo>
                    <a:lnTo>
                      <a:pt x="32" y="41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41" y="50"/>
                    </a:lnTo>
                    <a:lnTo>
                      <a:pt x="45" y="54"/>
                    </a:lnTo>
                    <a:lnTo>
                      <a:pt x="45" y="54"/>
                    </a:lnTo>
                    <a:lnTo>
                      <a:pt x="45" y="54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63"/>
                    </a:lnTo>
                    <a:lnTo>
                      <a:pt x="41" y="63"/>
                    </a:lnTo>
                    <a:lnTo>
                      <a:pt x="41" y="63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7" y="72"/>
                    </a:lnTo>
                    <a:lnTo>
                      <a:pt x="23" y="72"/>
                    </a:lnTo>
                    <a:lnTo>
                      <a:pt x="23" y="77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4" y="81"/>
                    </a:lnTo>
                    <a:lnTo>
                      <a:pt x="9" y="81"/>
                    </a:lnTo>
                    <a:lnTo>
                      <a:pt x="5" y="77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3"/>
                    </a:lnTo>
                    <a:lnTo>
                      <a:pt x="5" y="18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23"/>
                    </a:lnTo>
                    <a:lnTo>
                      <a:pt x="23" y="23"/>
                    </a:lnTo>
                    <a:lnTo>
                      <a:pt x="27" y="18"/>
                    </a:lnTo>
                    <a:lnTo>
                      <a:pt x="32" y="18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41" y="9"/>
                    </a:lnTo>
                    <a:lnTo>
                      <a:pt x="45" y="5"/>
                    </a:lnTo>
                    <a:lnTo>
                      <a:pt x="50" y="5"/>
                    </a:lnTo>
                    <a:lnTo>
                      <a:pt x="54" y="0"/>
                    </a:lnTo>
                    <a:lnTo>
                      <a:pt x="54" y="5"/>
                    </a:lnTo>
                    <a:lnTo>
                      <a:pt x="59" y="9"/>
                    </a:lnTo>
                    <a:lnTo>
                      <a:pt x="59" y="14"/>
                    </a:lnTo>
                    <a:lnTo>
                      <a:pt x="59" y="18"/>
                    </a:lnTo>
                    <a:lnTo>
                      <a:pt x="59" y="18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64" name="Freeform 85"/>
              <p:cNvSpPr>
                <a:spLocks noEditPoints="1"/>
              </p:cNvSpPr>
              <p:nvPr/>
            </p:nvSpPr>
            <p:spPr bwMode="auto">
              <a:xfrm>
                <a:off x="7597776" y="1452564"/>
                <a:ext cx="230188" cy="481013"/>
              </a:xfrm>
              <a:custGeom>
                <a:avLst/>
                <a:gdLst>
                  <a:gd name="T0" fmla="*/ 27 w 145"/>
                  <a:gd name="T1" fmla="*/ 258 h 303"/>
                  <a:gd name="T2" fmla="*/ 41 w 145"/>
                  <a:gd name="T3" fmla="*/ 276 h 303"/>
                  <a:gd name="T4" fmla="*/ 41 w 145"/>
                  <a:gd name="T5" fmla="*/ 298 h 303"/>
                  <a:gd name="T6" fmla="*/ 36 w 145"/>
                  <a:gd name="T7" fmla="*/ 294 h 303"/>
                  <a:gd name="T8" fmla="*/ 32 w 145"/>
                  <a:gd name="T9" fmla="*/ 298 h 303"/>
                  <a:gd name="T10" fmla="*/ 18 w 145"/>
                  <a:gd name="T11" fmla="*/ 285 h 303"/>
                  <a:gd name="T12" fmla="*/ 9 w 145"/>
                  <a:gd name="T13" fmla="*/ 262 h 303"/>
                  <a:gd name="T14" fmla="*/ 14 w 145"/>
                  <a:gd name="T15" fmla="*/ 271 h 303"/>
                  <a:gd name="T16" fmla="*/ 5 w 145"/>
                  <a:gd name="T17" fmla="*/ 267 h 303"/>
                  <a:gd name="T18" fmla="*/ 0 w 145"/>
                  <a:gd name="T19" fmla="*/ 258 h 303"/>
                  <a:gd name="T20" fmla="*/ 5 w 145"/>
                  <a:gd name="T21" fmla="*/ 249 h 303"/>
                  <a:gd name="T22" fmla="*/ 68 w 145"/>
                  <a:gd name="T23" fmla="*/ 240 h 303"/>
                  <a:gd name="T24" fmla="*/ 63 w 145"/>
                  <a:gd name="T25" fmla="*/ 253 h 303"/>
                  <a:gd name="T26" fmla="*/ 50 w 145"/>
                  <a:gd name="T27" fmla="*/ 267 h 303"/>
                  <a:gd name="T28" fmla="*/ 41 w 145"/>
                  <a:gd name="T29" fmla="*/ 253 h 303"/>
                  <a:gd name="T30" fmla="*/ 41 w 145"/>
                  <a:gd name="T31" fmla="*/ 244 h 303"/>
                  <a:gd name="T32" fmla="*/ 50 w 145"/>
                  <a:gd name="T33" fmla="*/ 235 h 303"/>
                  <a:gd name="T34" fmla="*/ 81 w 145"/>
                  <a:gd name="T35" fmla="*/ 90 h 303"/>
                  <a:gd name="T36" fmla="*/ 109 w 145"/>
                  <a:gd name="T37" fmla="*/ 118 h 303"/>
                  <a:gd name="T38" fmla="*/ 118 w 145"/>
                  <a:gd name="T39" fmla="*/ 136 h 303"/>
                  <a:gd name="T40" fmla="*/ 127 w 145"/>
                  <a:gd name="T41" fmla="*/ 163 h 303"/>
                  <a:gd name="T42" fmla="*/ 136 w 145"/>
                  <a:gd name="T43" fmla="*/ 190 h 303"/>
                  <a:gd name="T44" fmla="*/ 140 w 145"/>
                  <a:gd name="T45" fmla="*/ 213 h 303"/>
                  <a:gd name="T46" fmla="*/ 136 w 145"/>
                  <a:gd name="T47" fmla="*/ 203 h 303"/>
                  <a:gd name="T48" fmla="*/ 136 w 145"/>
                  <a:gd name="T49" fmla="*/ 208 h 303"/>
                  <a:gd name="T50" fmla="*/ 127 w 145"/>
                  <a:gd name="T51" fmla="*/ 222 h 303"/>
                  <a:gd name="T52" fmla="*/ 118 w 145"/>
                  <a:gd name="T53" fmla="*/ 217 h 303"/>
                  <a:gd name="T54" fmla="*/ 100 w 145"/>
                  <a:gd name="T55" fmla="*/ 222 h 303"/>
                  <a:gd name="T56" fmla="*/ 91 w 145"/>
                  <a:gd name="T57" fmla="*/ 217 h 303"/>
                  <a:gd name="T58" fmla="*/ 95 w 145"/>
                  <a:gd name="T59" fmla="*/ 231 h 303"/>
                  <a:gd name="T60" fmla="*/ 72 w 145"/>
                  <a:gd name="T61" fmla="*/ 235 h 303"/>
                  <a:gd name="T62" fmla="*/ 59 w 145"/>
                  <a:gd name="T63" fmla="*/ 226 h 303"/>
                  <a:gd name="T64" fmla="*/ 45 w 145"/>
                  <a:gd name="T65" fmla="*/ 235 h 303"/>
                  <a:gd name="T66" fmla="*/ 23 w 145"/>
                  <a:gd name="T67" fmla="*/ 244 h 303"/>
                  <a:gd name="T68" fmla="*/ 9 w 145"/>
                  <a:gd name="T69" fmla="*/ 235 h 303"/>
                  <a:gd name="T70" fmla="*/ 23 w 145"/>
                  <a:gd name="T71" fmla="*/ 222 h 303"/>
                  <a:gd name="T72" fmla="*/ 41 w 145"/>
                  <a:gd name="T73" fmla="*/ 213 h 303"/>
                  <a:gd name="T74" fmla="*/ 68 w 145"/>
                  <a:gd name="T75" fmla="*/ 208 h 303"/>
                  <a:gd name="T76" fmla="*/ 68 w 145"/>
                  <a:gd name="T77" fmla="*/ 176 h 303"/>
                  <a:gd name="T78" fmla="*/ 68 w 145"/>
                  <a:gd name="T79" fmla="*/ 176 h 303"/>
                  <a:gd name="T80" fmla="*/ 86 w 145"/>
                  <a:gd name="T81" fmla="*/ 172 h 303"/>
                  <a:gd name="T82" fmla="*/ 91 w 145"/>
                  <a:gd name="T83" fmla="*/ 140 h 303"/>
                  <a:gd name="T84" fmla="*/ 77 w 145"/>
                  <a:gd name="T85" fmla="*/ 118 h 303"/>
                  <a:gd name="T86" fmla="*/ 68 w 145"/>
                  <a:gd name="T87" fmla="*/ 104 h 303"/>
                  <a:gd name="T88" fmla="*/ 63 w 145"/>
                  <a:gd name="T89" fmla="*/ 90 h 303"/>
                  <a:gd name="T90" fmla="*/ 81 w 145"/>
                  <a:gd name="T91" fmla="*/ 95 h 303"/>
                  <a:gd name="T92" fmla="*/ 68 w 145"/>
                  <a:gd name="T93" fmla="*/ 81 h 303"/>
                  <a:gd name="T94" fmla="*/ 86 w 145"/>
                  <a:gd name="T95" fmla="*/ 27 h 303"/>
                  <a:gd name="T96" fmla="*/ 104 w 145"/>
                  <a:gd name="T97" fmla="*/ 41 h 303"/>
                  <a:gd name="T98" fmla="*/ 104 w 145"/>
                  <a:gd name="T99" fmla="*/ 45 h 303"/>
                  <a:gd name="T100" fmla="*/ 91 w 145"/>
                  <a:gd name="T101" fmla="*/ 63 h 303"/>
                  <a:gd name="T102" fmla="*/ 50 w 145"/>
                  <a:gd name="T103" fmla="*/ 63 h 303"/>
                  <a:gd name="T104" fmla="*/ 54 w 145"/>
                  <a:gd name="T105" fmla="*/ 72 h 303"/>
                  <a:gd name="T106" fmla="*/ 59 w 145"/>
                  <a:gd name="T107" fmla="*/ 81 h 303"/>
                  <a:gd name="T108" fmla="*/ 41 w 145"/>
                  <a:gd name="T109" fmla="*/ 68 h 303"/>
                  <a:gd name="T110" fmla="*/ 36 w 145"/>
                  <a:gd name="T111" fmla="*/ 50 h 303"/>
                  <a:gd name="T112" fmla="*/ 45 w 145"/>
                  <a:gd name="T113" fmla="*/ 41 h 303"/>
                  <a:gd name="T114" fmla="*/ 18 w 145"/>
                  <a:gd name="T115" fmla="*/ 5 h 303"/>
                  <a:gd name="T116" fmla="*/ 59 w 145"/>
                  <a:gd name="T117" fmla="*/ 2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45" h="303">
                    <a:moveTo>
                      <a:pt x="18" y="253"/>
                    </a:moveTo>
                    <a:lnTo>
                      <a:pt x="18" y="253"/>
                    </a:lnTo>
                    <a:lnTo>
                      <a:pt x="23" y="253"/>
                    </a:lnTo>
                    <a:lnTo>
                      <a:pt x="23" y="253"/>
                    </a:lnTo>
                    <a:lnTo>
                      <a:pt x="23" y="253"/>
                    </a:lnTo>
                    <a:lnTo>
                      <a:pt x="23" y="253"/>
                    </a:lnTo>
                    <a:lnTo>
                      <a:pt x="27" y="249"/>
                    </a:lnTo>
                    <a:lnTo>
                      <a:pt x="27" y="249"/>
                    </a:lnTo>
                    <a:lnTo>
                      <a:pt x="27" y="253"/>
                    </a:lnTo>
                    <a:lnTo>
                      <a:pt x="27" y="253"/>
                    </a:lnTo>
                    <a:lnTo>
                      <a:pt x="27" y="253"/>
                    </a:lnTo>
                    <a:lnTo>
                      <a:pt x="27" y="258"/>
                    </a:lnTo>
                    <a:lnTo>
                      <a:pt x="27" y="258"/>
                    </a:lnTo>
                    <a:lnTo>
                      <a:pt x="32" y="258"/>
                    </a:lnTo>
                    <a:lnTo>
                      <a:pt x="36" y="258"/>
                    </a:lnTo>
                    <a:lnTo>
                      <a:pt x="36" y="258"/>
                    </a:lnTo>
                    <a:lnTo>
                      <a:pt x="36" y="262"/>
                    </a:lnTo>
                    <a:lnTo>
                      <a:pt x="36" y="262"/>
                    </a:lnTo>
                    <a:lnTo>
                      <a:pt x="36" y="262"/>
                    </a:lnTo>
                    <a:lnTo>
                      <a:pt x="36" y="262"/>
                    </a:lnTo>
                    <a:lnTo>
                      <a:pt x="36" y="262"/>
                    </a:lnTo>
                    <a:lnTo>
                      <a:pt x="41" y="267"/>
                    </a:lnTo>
                    <a:lnTo>
                      <a:pt x="41" y="267"/>
                    </a:lnTo>
                    <a:lnTo>
                      <a:pt x="41" y="267"/>
                    </a:lnTo>
                    <a:lnTo>
                      <a:pt x="41" y="271"/>
                    </a:lnTo>
                    <a:lnTo>
                      <a:pt x="41" y="276"/>
                    </a:lnTo>
                    <a:lnTo>
                      <a:pt x="41" y="276"/>
                    </a:lnTo>
                    <a:lnTo>
                      <a:pt x="41" y="280"/>
                    </a:lnTo>
                    <a:lnTo>
                      <a:pt x="41" y="280"/>
                    </a:lnTo>
                    <a:lnTo>
                      <a:pt x="41" y="285"/>
                    </a:lnTo>
                    <a:lnTo>
                      <a:pt x="41" y="285"/>
                    </a:lnTo>
                    <a:lnTo>
                      <a:pt x="45" y="289"/>
                    </a:lnTo>
                    <a:lnTo>
                      <a:pt x="45" y="289"/>
                    </a:lnTo>
                    <a:lnTo>
                      <a:pt x="45" y="298"/>
                    </a:lnTo>
                    <a:lnTo>
                      <a:pt x="45" y="298"/>
                    </a:lnTo>
                    <a:lnTo>
                      <a:pt x="41" y="294"/>
                    </a:lnTo>
                    <a:lnTo>
                      <a:pt x="41" y="294"/>
                    </a:lnTo>
                    <a:lnTo>
                      <a:pt x="41" y="298"/>
                    </a:lnTo>
                    <a:lnTo>
                      <a:pt x="41" y="298"/>
                    </a:lnTo>
                    <a:lnTo>
                      <a:pt x="41" y="303"/>
                    </a:lnTo>
                    <a:lnTo>
                      <a:pt x="36" y="303"/>
                    </a:lnTo>
                    <a:lnTo>
                      <a:pt x="36" y="303"/>
                    </a:lnTo>
                    <a:lnTo>
                      <a:pt x="36" y="303"/>
                    </a:lnTo>
                    <a:lnTo>
                      <a:pt x="36" y="303"/>
                    </a:lnTo>
                    <a:lnTo>
                      <a:pt x="36" y="303"/>
                    </a:lnTo>
                    <a:lnTo>
                      <a:pt x="36" y="298"/>
                    </a:lnTo>
                    <a:lnTo>
                      <a:pt x="36" y="298"/>
                    </a:lnTo>
                    <a:lnTo>
                      <a:pt x="32" y="294"/>
                    </a:lnTo>
                    <a:lnTo>
                      <a:pt x="32" y="294"/>
                    </a:lnTo>
                    <a:lnTo>
                      <a:pt x="32" y="294"/>
                    </a:lnTo>
                    <a:lnTo>
                      <a:pt x="36" y="294"/>
                    </a:lnTo>
                    <a:lnTo>
                      <a:pt x="36" y="294"/>
                    </a:lnTo>
                    <a:lnTo>
                      <a:pt x="32" y="289"/>
                    </a:lnTo>
                    <a:lnTo>
                      <a:pt x="32" y="289"/>
                    </a:lnTo>
                    <a:lnTo>
                      <a:pt x="32" y="289"/>
                    </a:lnTo>
                    <a:lnTo>
                      <a:pt x="32" y="289"/>
                    </a:lnTo>
                    <a:lnTo>
                      <a:pt x="32" y="294"/>
                    </a:lnTo>
                    <a:lnTo>
                      <a:pt x="32" y="294"/>
                    </a:lnTo>
                    <a:lnTo>
                      <a:pt x="32" y="294"/>
                    </a:lnTo>
                    <a:lnTo>
                      <a:pt x="32" y="298"/>
                    </a:lnTo>
                    <a:lnTo>
                      <a:pt x="32" y="298"/>
                    </a:lnTo>
                    <a:lnTo>
                      <a:pt x="36" y="298"/>
                    </a:lnTo>
                    <a:lnTo>
                      <a:pt x="36" y="303"/>
                    </a:lnTo>
                    <a:lnTo>
                      <a:pt x="36" y="303"/>
                    </a:lnTo>
                    <a:lnTo>
                      <a:pt x="32" y="298"/>
                    </a:lnTo>
                    <a:lnTo>
                      <a:pt x="27" y="298"/>
                    </a:lnTo>
                    <a:lnTo>
                      <a:pt x="27" y="298"/>
                    </a:lnTo>
                    <a:lnTo>
                      <a:pt x="27" y="298"/>
                    </a:lnTo>
                    <a:lnTo>
                      <a:pt x="27" y="298"/>
                    </a:lnTo>
                    <a:lnTo>
                      <a:pt x="27" y="298"/>
                    </a:lnTo>
                    <a:lnTo>
                      <a:pt x="27" y="294"/>
                    </a:lnTo>
                    <a:lnTo>
                      <a:pt x="27" y="294"/>
                    </a:lnTo>
                    <a:lnTo>
                      <a:pt x="27" y="289"/>
                    </a:lnTo>
                    <a:lnTo>
                      <a:pt x="23" y="289"/>
                    </a:lnTo>
                    <a:lnTo>
                      <a:pt x="23" y="289"/>
                    </a:lnTo>
                    <a:lnTo>
                      <a:pt x="23" y="289"/>
                    </a:lnTo>
                    <a:lnTo>
                      <a:pt x="23" y="285"/>
                    </a:lnTo>
                    <a:lnTo>
                      <a:pt x="18" y="285"/>
                    </a:lnTo>
                    <a:lnTo>
                      <a:pt x="18" y="285"/>
                    </a:lnTo>
                    <a:lnTo>
                      <a:pt x="23" y="280"/>
                    </a:lnTo>
                    <a:lnTo>
                      <a:pt x="23" y="280"/>
                    </a:lnTo>
                    <a:lnTo>
                      <a:pt x="23" y="280"/>
                    </a:lnTo>
                    <a:lnTo>
                      <a:pt x="23" y="276"/>
                    </a:lnTo>
                    <a:lnTo>
                      <a:pt x="23" y="271"/>
                    </a:lnTo>
                    <a:lnTo>
                      <a:pt x="18" y="271"/>
                    </a:lnTo>
                    <a:lnTo>
                      <a:pt x="18" y="271"/>
                    </a:lnTo>
                    <a:lnTo>
                      <a:pt x="18" y="271"/>
                    </a:lnTo>
                    <a:lnTo>
                      <a:pt x="18" y="267"/>
                    </a:lnTo>
                    <a:lnTo>
                      <a:pt x="14" y="267"/>
                    </a:lnTo>
                    <a:lnTo>
                      <a:pt x="14" y="262"/>
                    </a:lnTo>
                    <a:lnTo>
                      <a:pt x="9" y="262"/>
                    </a:lnTo>
                    <a:lnTo>
                      <a:pt x="9" y="262"/>
                    </a:lnTo>
                    <a:lnTo>
                      <a:pt x="9" y="262"/>
                    </a:lnTo>
                    <a:lnTo>
                      <a:pt x="9" y="262"/>
                    </a:lnTo>
                    <a:lnTo>
                      <a:pt x="9" y="267"/>
                    </a:lnTo>
                    <a:lnTo>
                      <a:pt x="9" y="267"/>
                    </a:lnTo>
                    <a:lnTo>
                      <a:pt x="14" y="267"/>
                    </a:lnTo>
                    <a:lnTo>
                      <a:pt x="14" y="267"/>
                    </a:lnTo>
                    <a:lnTo>
                      <a:pt x="14" y="267"/>
                    </a:lnTo>
                    <a:lnTo>
                      <a:pt x="14" y="267"/>
                    </a:lnTo>
                    <a:lnTo>
                      <a:pt x="14" y="267"/>
                    </a:lnTo>
                    <a:lnTo>
                      <a:pt x="14" y="271"/>
                    </a:lnTo>
                    <a:lnTo>
                      <a:pt x="18" y="271"/>
                    </a:lnTo>
                    <a:lnTo>
                      <a:pt x="14" y="271"/>
                    </a:lnTo>
                    <a:lnTo>
                      <a:pt x="14" y="271"/>
                    </a:lnTo>
                    <a:lnTo>
                      <a:pt x="14" y="271"/>
                    </a:lnTo>
                    <a:lnTo>
                      <a:pt x="14" y="271"/>
                    </a:lnTo>
                    <a:lnTo>
                      <a:pt x="9" y="271"/>
                    </a:lnTo>
                    <a:lnTo>
                      <a:pt x="9" y="271"/>
                    </a:lnTo>
                    <a:lnTo>
                      <a:pt x="9" y="271"/>
                    </a:lnTo>
                    <a:lnTo>
                      <a:pt x="9" y="276"/>
                    </a:lnTo>
                    <a:lnTo>
                      <a:pt x="9" y="271"/>
                    </a:lnTo>
                    <a:lnTo>
                      <a:pt x="9" y="271"/>
                    </a:lnTo>
                    <a:lnTo>
                      <a:pt x="5" y="271"/>
                    </a:lnTo>
                    <a:lnTo>
                      <a:pt x="5" y="267"/>
                    </a:lnTo>
                    <a:lnTo>
                      <a:pt x="5" y="267"/>
                    </a:lnTo>
                    <a:lnTo>
                      <a:pt x="5" y="267"/>
                    </a:lnTo>
                    <a:lnTo>
                      <a:pt x="0" y="267"/>
                    </a:lnTo>
                    <a:lnTo>
                      <a:pt x="5" y="267"/>
                    </a:lnTo>
                    <a:lnTo>
                      <a:pt x="5" y="267"/>
                    </a:lnTo>
                    <a:lnTo>
                      <a:pt x="9" y="267"/>
                    </a:lnTo>
                    <a:lnTo>
                      <a:pt x="9" y="267"/>
                    </a:lnTo>
                    <a:lnTo>
                      <a:pt x="5" y="267"/>
                    </a:lnTo>
                    <a:lnTo>
                      <a:pt x="5" y="267"/>
                    </a:lnTo>
                    <a:lnTo>
                      <a:pt x="5" y="262"/>
                    </a:lnTo>
                    <a:lnTo>
                      <a:pt x="0" y="262"/>
                    </a:lnTo>
                    <a:lnTo>
                      <a:pt x="0" y="262"/>
                    </a:lnTo>
                    <a:lnTo>
                      <a:pt x="0" y="258"/>
                    </a:lnTo>
                    <a:lnTo>
                      <a:pt x="0" y="258"/>
                    </a:lnTo>
                    <a:lnTo>
                      <a:pt x="0" y="258"/>
                    </a:lnTo>
                    <a:lnTo>
                      <a:pt x="0" y="258"/>
                    </a:lnTo>
                    <a:lnTo>
                      <a:pt x="0" y="258"/>
                    </a:lnTo>
                    <a:lnTo>
                      <a:pt x="0" y="258"/>
                    </a:lnTo>
                    <a:lnTo>
                      <a:pt x="0" y="258"/>
                    </a:lnTo>
                    <a:lnTo>
                      <a:pt x="0" y="258"/>
                    </a:lnTo>
                    <a:lnTo>
                      <a:pt x="5" y="253"/>
                    </a:lnTo>
                    <a:lnTo>
                      <a:pt x="5" y="253"/>
                    </a:lnTo>
                    <a:lnTo>
                      <a:pt x="5" y="253"/>
                    </a:lnTo>
                    <a:lnTo>
                      <a:pt x="5" y="253"/>
                    </a:lnTo>
                    <a:lnTo>
                      <a:pt x="5" y="253"/>
                    </a:lnTo>
                    <a:lnTo>
                      <a:pt x="9" y="253"/>
                    </a:lnTo>
                    <a:lnTo>
                      <a:pt x="9" y="249"/>
                    </a:lnTo>
                    <a:lnTo>
                      <a:pt x="5" y="249"/>
                    </a:lnTo>
                    <a:lnTo>
                      <a:pt x="5" y="249"/>
                    </a:lnTo>
                    <a:lnTo>
                      <a:pt x="9" y="244"/>
                    </a:lnTo>
                    <a:lnTo>
                      <a:pt x="9" y="244"/>
                    </a:lnTo>
                    <a:lnTo>
                      <a:pt x="9" y="244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18" y="249"/>
                    </a:lnTo>
                    <a:lnTo>
                      <a:pt x="18" y="253"/>
                    </a:lnTo>
                    <a:moveTo>
                      <a:pt x="63" y="235"/>
                    </a:moveTo>
                    <a:lnTo>
                      <a:pt x="63" y="235"/>
                    </a:lnTo>
                    <a:lnTo>
                      <a:pt x="63" y="235"/>
                    </a:lnTo>
                    <a:lnTo>
                      <a:pt x="68" y="235"/>
                    </a:lnTo>
                    <a:lnTo>
                      <a:pt x="68" y="240"/>
                    </a:lnTo>
                    <a:lnTo>
                      <a:pt x="68" y="240"/>
                    </a:lnTo>
                    <a:lnTo>
                      <a:pt x="72" y="240"/>
                    </a:lnTo>
                    <a:lnTo>
                      <a:pt x="72" y="244"/>
                    </a:lnTo>
                    <a:lnTo>
                      <a:pt x="72" y="244"/>
                    </a:lnTo>
                    <a:lnTo>
                      <a:pt x="72" y="244"/>
                    </a:lnTo>
                    <a:lnTo>
                      <a:pt x="68" y="249"/>
                    </a:lnTo>
                    <a:lnTo>
                      <a:pt x="68" y="249"/>
                    </a:lnTo>
                    <a:lnTo>
                      <a:pt x="68" y="253"/>
                    </a:lnTo>
                    <a:lnTo>
                      <a:pt x="68" y="253"/>
                    </a:lnTo>
                    <a:lnTo>
                      <a:pt x="72" y="258"/>
                    </a:lnTo>
                    <a:lnTo>
                      <a:pt x="68" y="253"/>
                    </a:lnTo>
                    <a:lnTo>
                      <a:pt x="63" y="253"/>
                    </a:lnTo>
                    <a:lnTo>
                      <a:pt x="63" y="253"/>
                    </a:lnTo>
                    <a:lnTo>
                      <a:pt x="59" y="253"/>
                    </a:lnTo>
                    <a:lnTo>
                      <a:pt x="59" y="253"/>
                    </a:lnTo>
                    <a:lnTo>
                      <a:pt x="54" y="253"/>
                    </a:lnTo>
                    <a:lnTo>
                      <a:pt x="54" y="258"/>
                    </a:lnTo>
                    <a:lnTo>
                      <a:pt x="54" y="262"/>
                    </a:lnTo>
                    <a:lnTo>
                      <a:pt x="54" y="262"/>
                    </a:lnTo>
                    <a:lnTo>
                      <a:pt x="54" y="262"/>
                    </a:lnTo>
                    <a:lnTo>
                      <a:pt x="54" y="262"/>
                    </a:lnTo>
                    <a:lnTo>
                      <a:pt x="54" y="267"/>
                    </a:lnTo>
                    <a:lnTo>
                      <a:pt x="54" y="267"/>
                    </a:lnTo>
                    <a:lnTo>
                      <a:pt x="54" y="267"/>
                    </a:lnTo>
                    <a:lnTo>
                      <a:pt x="54" y="267"/>
                    </a:lnTo>
                    <a:lnTo>
                      <a:pt x="50" y="267"/>
                    </a:lnTo>
                    <a:lnTo>
                      <a:pt x="50" y="262"/>
                    </a:lnTo>
                    <a:lnTo>
                      <a:pt x="50" y="262"/>
                    </a:lnTo>
                    <a:lnTo>
                      <a:pt x="50" y="262"/>
                    </a:lnTo>
                    <a:lnTo>
                      <a:pt x="45" y="262"/>
                    </a:lnTo>
                    <a:lnTo>
                      <a:pt x="45" y="262"/>
                    </a:lnTo>
                    <a:lnTo>
                      <a:pt x="45" y="262"/>
                    </a:lnTo>
                    <a:lnTo>
                      <a:pt x="45" y="258"/>
                    </a:lnTo>
                    <a:lnTo>
                      <a:pt x="45" y="258"/>
                    </a:lnTo>
                    <a:lnTo>
                      <a:pt x="45" y="258"/>
                    </a:lnTo>
                    <a:lnTo>
                      <a:pt x="45" y="258"/>
                    </a:lnTo>
                    <a:lnTo>
                      <a:pt x="41" y="258"/>
                    </a:lnTo>
                    <a:lnTo>
                      <a:pt x="41" y="258"/>
                    </a:lnTo>
                    <a:lnTo>
                      <a:pt x="41" y="253"/>
                    </a:lnTo>
                    <a:lnTo>
                      <a:pt x="41" y="253"/>
                    </a:lnTo>
                    <a:lnTo>
                      <a:pt x="41" y="253"/>
                    </a:lnTo>
                    <a:lnTo>
                      <a:pt x="36" y="258"/>
                    </a:lnTo>
                    <a:lnTo>
                      <a:pt x="36" y="258"/>
                    </a:lnTo>
                    <a:lnTo>
                      <a:pt x="36" y="253"/>
                    </a:lnTo>
                    <a:lnTo>
                      <a:pt x="41" y="253"/>
                    </a:lnTo>
                    <a:lnTo>
                      <a:pt x="41" y="253"/>
                    </a:lnTo>
                    <a:lnTo>
                      <a:pt x="41" y="249"/>
                    </a:lnTo>
                    <a:lnTo>
                      <a:pt x="41" y="249"/>
                    </a:lnTo>
                    <a:lnTo>
                      <a:pt x="41" y="249"/>
                    </a:lnTo>
                    <a:lnTo>
                      <a:pt x="41" y="244"/>
                    </a:lnTo>
                    <a:lnTo>
                      <a:pt x="41" y="244"/>
                    </a:lnTo>
                    <a:lnTo>
                      <a:pt x="41" y="244"/>
                    </a:lnTo>
                    <a:lnTo>
                      <a:pt x="41" y="240"/>
                    </a:lnTo>
                    <a:lnTo>
                      <a:pt x="41" y="240"/>
                    </a:lnTo>
                    <a:lnTo>
                      <a:pt x="41" y="240"/>
                    </a:lnTo>
                    <a:lnTo>
                      <a:pt x="45" y="244"/>
                    </a:lnTo>
                    <a:lnTo>
                      <a:pt x="45" y="244"/>
                    </a:lnTo>
                    <a:lnTo>
                      <a:pt x="50" y="244"/>
                    </a:lnTo>
                    <a:lnTo>
                      <a:pt x="50" y="244"/>
                    </a:lnTo>
                    <a:lnTo>
                      <a:pt x="50" y="244"/>
                    </a:lnTo>
                    <a:lnTo>
                      <a:pt x="50" y="244"/>
                    </a:lnTo>
                    <a:lnTo>
                      <a:pt x="54" y="240"/>
                    </a:lnTo>
                    <a:lnTo>
                      <a:pt x="54" y="240"/>
                    </a:lnTo>
                    <a:lnTo>
                      <a:pt x="54" y="240"/>
                    </a:lnTo>
                    <a:lnTo>
                      <a:pt x="50" y="235"/>
                    </a:lnTo>
                    <a:lnTo>
                      <a:pt x="50" y="235"/>
                    </a:lnTo>
                    <a:lnTo>
                      <a:pt x="54" y="235"/>
                    </a:lnTo>
                    <a:lnTo>
                      <a:pt x="54" y="235"/>
                    </a:lnTo>
                    <a:lnTo>
                      <a:pt x="54" y="235"/>
                    </a:lnTo>
                    <a:lnTo>
                      <a:pt x="59" y="235"/>
                    </a:lnTo>
                    <a:lnTo>
                      <a:pt x="59" y="235"/>
                    </a:lnTo>
                    <a:lnTo>
                      <a:pt x="63" y="235"/>
                    </a:lnTo>
                    <a:moveTo>
                      <a:pt x="72" y="86"/>
                    </a:moveTo>
                    <a:lnTo>
                      <a:pt x="72" y="86"/>
                    </a:lnTo>
                    <a:lnTo>
                      <a:pt x="77" y="86"/>
                    </a:lnTo>
                    <a:lnTo>
                      <a:pt x="77" y="81"/>
                    </a:lnTo>
                    <a:lnTo>
                      <a:pt x="77" y="86"/>
                    </a:lnTo>
                    <a:lnTo>
                      <a:pt x="81" y="90"/>
                    </a:lnTo>
                    <a:lnTo>
                      <a:pt x="86" y="95"/>
                    </a:lnTo>
                    <a:lnTo>
                      <a:pt x="86" y="95"/>
                    </a:lnTo>
                    <a:lnTo>
                      <a:pt x="91" y="100"/>
                    </a:lnTo>
                    <a:lnTo>
                      <a:pt x="91" y="100"/>
                    </a:lnTo>
                    <a:lnTo>
                      <a:pt x="95" y="104"/>
                    </a:lnTo>
                    <a:lnTo>
                      <a:pt x="100" y="104"/>
                    </a:lnTo>
                    <a:lnTo>
                      <a:pt x="104" y="109"/>
                    </a:lnTo>
                    <a:lnTo>
                      <a:pt x="104" y="113"/>
                    </a:lnTo>
                    <a:lnTo>
                      <a:pt x="109" y="113"/>
                    </a:lnTo>
                    <a:lnTo>
                      <a:pt x="109" y="113"/>
                    </a:lnTo>
                    <a:lnTo>
                      <a:pt x="109" y="118"/>
                    </a:lnTo>
                    <a:lnTo>
                      <a:pt x="109" y="118"/>
                    </a:lnTo>
                    <a:lnTo>
                      <a:pt x="109" y="118"/>
                    </a:lnTo>
                    <a:lnTo>
                      <a:pt x="113" y="122"/>
                    </a:lnTo>
                    <a:lnTo>
                      <a:pt x="113" y="127"/>
                    </a:lnTo>
                    <a:lnTo>
                      <a:pt x="118" y="127"/>
                    </a:lnTo>
                    <a:lnTo>
                      <a:pt x="118" y="131"/>
                    </a:lnTo>
                    <a:lnTo>
                      <a:pt x="118" y="131"/>
                    </a:lnTo>
                    <a:lnTo>
                      <a:pt x="118" y="131"/>
                    </a:lnTo>
                    <a:lnTo>
                      <a:pt x="113" y="131"/>
                    </a:lnTo>
                    <a:lnTo>
                      <a:pt x="113" y="131"/>
                    </a:lnTo>
                    <a:lnTo>
                      <a:pt x="113" y="131"/>
                    </a:lnTo>
                    <a:lnTo>
                      <a:pt x="113" y="131"/>
                    </a:lnTo>
                    <a:lnTo>
                      <a:pt x="113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40"/>
                    </a:lnTo>
                    <a:lnTo>
                      <a:pt x="118" y="140"/>
                    </a:lnTo>
                    <a:lnTo>
                      <a:pt x="118" y="145"/>
                    </a:lnTo>
                    <a:lnTo>
                      <a:pt x="118" y="145"/>
                    </a:lnTo>
                    <a:lnTo>
                      <a:pt x="118" y="145"/>
                    </a:lnTo>
                    <a:lnTo>
                      <a:pt x="113" y="145"/>
                    </a:lnTo>
                    <a:lnTo>
                      <a:pt x="113" y="145"/>
                    </a:lnTo>
                    <a:lnTo>
                      <a:pt x="113" y="149"/>
                    </a:lnTo>
                    <a:lnTo>
                      <a:pt x="118" y="149"/>
                    </a:lnTo>
                    <a:lnTo>
                      <a:pt x="118" y="154"/>
                    </a:lnTo>
                    <a:lnTo>
                      <a:pt x="118" y="154"/>
                    </a:lnTo>
                    <a:lnTo>
                      <a:pt x="122" y="158"/>
                    </a:lnTo>
                    <a:lnTo>
                      <a:pt x="127" y="163"/>
                    </a:lnTo>
                    <a:lnTo>
                      <a:pt x="131" y="172"/>
                    </a:lnTo>
                    <a:lnTo>
                      <a:pt x="131" y="172"/>
                    </a:lnTo>
                    <a:lnTo>
                      <a:pt x="131" y="172"/>
                    </a:lnTo>
                    <a:lnTo>
                      <a:pt x="131" y="176"/>
                    </a:lnTo>
                    <a:lnTo>
                      <a:pt x="131" y="176"/>
                    </a:lnTo>
                    <a:lnTo>
                      <a:pt x="131" y="176"/>
                    </a:lnTo>
                    <a:lnTo>
                      <a:pt x="131" y="181"/>
                    </a:lnTo>
                    <a:lnTo>
                      <a:pt x="131" y="185"/>
                    </a:lnTo>
                    <a:lnTo>
                      <a:pt x="131" y="185"/>
                    </a:lnTo>
                    <a:lnTo>
                      <a:pt x="131" y="185"/>
                    </a:lnTo>
                    <a:lnTo>
                      <a:pt x="136" y="190"/>
                    </a:lnTo>
                    <a:lnTo>
                      <a:pt x="136" y="190"/>
                    </a:lnTo>
                    <a:lnTo>
                      <a:pt x="136" y="190"/>
                    </a:lnTo>
                    <a:lnTo>
                      <a:pt x="140" y="194"/>
                    </a:lnTo>
                    <a:lnTo>
                      <a:pt x="145" y="199"/>
                    </a:lnTo>
                    <a:lnTo>
                      <a:pt x="145" y="199"/>
                    </a:lnTo>
                    <a:lnTo>
                      <a:pt x="140" y="199"/>
                    </a:lnTo>
                    <a:lnTo>
                      <a:pt x="140" y="199"/>
                    </a:lnTo>
                    <a:lnTo>
                      <a:pt x="140" y="203"/>
                    </a:lnTo>
                    <a:lnTo>
                      <a:pt x="140" y="203"/>
                    </a:lnTo>
                    <a:lnTo>
                      <a:pt x="145" y="208"/>
                    </a:lnTo>
                    <a:lnTo>
                      <a:pt x="145" y="208"/>
                    </a:lnTo>
                    <a:lnTo>
                      <a:pt x="145" y="208"/>
                    </a:lnTo>
                    <a:lnTo>
                      <a:pt x="145" y="208"/>
                    </a:lnTo>
                    <a:lnTo>
                      <a:pt x="140" y="213"/>
                    </a:lnTo>
                    <a:lnTo>
                      <a:pt x="140" y="213"/>
                    </a:lnTo>
                    <a:lnTo>
                      <a:pt x="140" y="213"/>
                    </a:lnTo>
                    <a:lnTo>
                      <a:pt x="140" y="217"/>
                    </a:lnTo>
                    <a:lnTo>
                      <a:pt x="140" y="217"/>
                    </a:lnTo>
                    <a:lnTo>
                      <a:pt x="136" y="213"/>
                    </a:lnTo>
                    <a:lnTo>
                      <a:pt x="136" y="213"/>
                    </a:lnTo>
                    <a:lnTo>
                      <a:pt x="136" y="213"/>
                    </a:lnTo>
                    <a:lnTo>
                      <a:pt x="136" y="208"/>
                    </a:lnTo>
                    <a:lnTo>
                      <a:pt x="136" y="208"/>
                    </a:lnTo>
                    <a:lnTo>
                      <a:pt x="136" y="208"/>
                    </a:lnTo>
                    <a:lnTo>
                      <a:pt x="136" y="203"/>
                    </a:lnTo>
                    <a:lnTo>
                      <a:pt x="136" y="203"/>
                    </a:lnTo>
                    <a:lnTo>
                      <a:pt x="136" y="203"/>
                    </a:lnTo>
                    <a:lnTo>
                      <a:pt x="136" y="203"/>
                    </a:lnTo>
                    <a:lnTo>
                      <a:pt x="131" y="199"/>
                    </a:lnTo>
                    <a:lnTo>
                      <a:pt x="131" y="199"/>
                    </a:lnTo>
                    <a:lnTo>
                      <a:pt x="131" y="199"/>
                    </a:lnTo>
                    <a:lnTo>
                      <a:pt x="131" y="199"/>
                    </a:lnTo>
                    <a:lnTo>
                      <a:pt x="131" y="203"/>
                    </a:lnTo>
                    <a:lnTo>
                      <a:pt x="131" y="203"/>
                    </a:lnTo>
                    <a:lnTo>
                      <a:pt x="131" y="203"/>
                    </a:lnTo>
                    <a:lnTo>
                      <a:pt x="131" y="203"/>
                    </a:lnTo>
                    <a:lnTo>
                      <a:pt x="131" y="208"/>
                    </a:lnTo>
                    <a:lnTo>
                      <a:pt x="131" y="208"/>
                    </a:lnTo>
                    <a:lnTo>
                      <a:pt x="131" y="208"/>
                    </a:lnTo>
                    <a:lnTo>
                      <a:pt x="131" y="208"/>
                    </a:lnTo>
                    <a:lnTo>
                      <a:pt x="136" y="208"/>
                    </a:lnTo>
                    <a:lnTo>
                      <a:pt x="136" y="213"/>
                    </a:lnTo>
                    <a:lnTo>
                      <a:pt x="131" y="213"/>
                    </a:lnTo>
                    <a:lnTo>
                      <a:pt x="131" y="208"/>
                    </a:lnTo>
                    <a:lnTo>
                      <a:pt x="127" y="208"/>
                    </a:lnTo>
                    <a:lnTo>
                      <a:pt x="127" y="208"/>
                    </a:lnTo>
                    <a:lnTo>
                      <a:pt x="127" y="208"/>
                    </a:lnTo>
                    <a:lnTo>
                      <a:pt x="127" y="213"/>
                    </a:lnTo>
                    <a:lnTo>
                      <a:pt x="127" y="213"/>
                    </a:lnTo>
                    <a:lnTo>
                      <a:pt x="127" y="213"/>
                    </a:lnTo>
                    <a:lnTo>
                      <a:pt x="127" y="217"/>
                    </a:lnTo>
                    <a:lnTo>
                      <a:pt x="127" y="217"/>
                    </a:lnTo>
                    <a:lnTo>
                      <a:pt x="127" y="222"/>
                    </a:lnTo>
                    <a:lnTo>
                      <a:pt x="127" y="222"/>
                    </a:lnTo>
                    <a:lnTo>
                      <a:pt x="127" y="222"/>
                    </a:lnTo>
                    <a:lnTo>
                      <a:pt x="127" y="222"/>
                    </a:lnTo>
                    <a:lnTo>
                      <a:pt x="127" y="222"/>
                    </a:lnTo>
                    <a:lnTo>
                      <a:pt x="127" y="222"/>
                    </a:lnTo>
                    <a:lnTo>
                      <a:pt x="122" y="217"/>
                    </a:lnTo>
                    <a:lnTo>
                      <a:pt x="122" y="217"/>
                    </a:lnTo>
                    <a:lnTo>
                      <a:pt x="122" y="213"/>
                    </a:lnTo>
                    <a:lnTo>
                      <a:pt x="122" y="213"/>
                    </a:lnTo>
                    <a:lnTo>
                      <a:pt x="118" y="213"/>
                    </a:lnTo>
                    <a:lnTo>
                      <a:pt x="118" y="213"/>
                    </a:lnTo>
                    <a:lnTo>
                      <a:pt x="118" y="213"/>
                    </a:lnTo>
                    <a:lnTo>
                      <a:pt x="118" y="217"/>
                    </a:lnTo>
                    <a:lnTo>
                      <a:pt x="118" y="217"/>
                    </a:lnTo>
                    <a:lnTo>
                      <a:pt x="118" y="217"/>
                    </a:lnTo>
                    <a:lnTo>
                      <a:pt x="118" y="222"/>
                    </a:lnTo>
                    <a:lnTo>
                      <a:pt x="118" y="226"/>
                    </a:lnTo>
                    <a:lnTo>
                      <a:pt x="113" y="222"/>
                    </a:lnTo>
                    <a:lnTo>
                      <a:pt x="113" y="222"/>
                    </a:lnTo>
                    <a:lnTo>
                      <a:pt x="109" y="222"/>
                    </a:lnTo>
                    <a:lnTo>
                      <a:pt x="109" y="222"/>
                    </a:lnTo>
                    <a:lnTo>
                      <a:pt x="104" y="226"/>
                    </a:lnTo>
                    <a:lnTo>
                      <a:pt x="100" y="226"/>
                    </a:lnTo>
                    <a:lnTo>
                      <a:pt x="100" y="226"/>
                    </a:lnTo>
                    <a:lnTo>
                      <a:pt x="104" y="222"/>
                    </a:lnTo>
                    <a:lnTo>
                      <a:pt x="104" y="222"/>
                    </a:lnTo>
                    <a:lnTo>
                      <a:pt x="100" y="222"/>
                    </a:lnTo>
                    <a:lnTo>
                      <a:pt x="100" y="222"/>
                    </a:lnTo>
                    <a:lnTo>
                      <a:pt x="100" y="222"/>
                    </a:lnTo>
                    <a:lnTo>
                      <a:pt x="100" y="222"/>
                    </a:lnTo>
                    <a:lnTo>
                      <a:pt x="95" y="222"/>
                    </a:lnTo>
                    <a:lnTo>
                      <a:pt x="95" y="222"/>
                    </a:lnTo>
                    <a:lnTo>
                      <a:pt x="95" y="222"/>
                    </a:lnTo>
                    <a:lnTo>
                      <a:pt x="95" y="222"/>
                    </a:lnTo>
                    <a:lnTo>
                      <a:pt x="95" y="222"/>
                    </a:lnTo>
                    <a:lnTo>
                      <a:pt x="95" y="222"/>
                    </a:lnTo>
                    <a:lnTo>
                      <a:pt x="95" y="222"/>
                    </a:lnTo>
                    <a:lnTo>
                      <a:pt x="95" y="217"/>
                    </a:lnTo>
                    <a:lnTo>
                      <a:pt x="91" y="217"/>
                    </a:lnTo>
                    <a:lnTo>
                      <a:pt x="91" y="217"/>
                    </a:lnTo>
                    <a:lnTo>
                      <a:pt x="91" y="217"/>
                    </a:lnTo>
                    <a:lnTo>
                      <a:pt x="91" y="217"/>
                    </a:lnTo>
                    <a:lnTo>
                      <a:pt x="91" y="217"/>
                    </a:lnTo>
                    <a:lnTo>
                      <a:pt x="91" y="217"/>
                    </a:lnTo>
                    <a:lnTo>
                      <a:pt x="91" y="222"/>
                    </a:lnTo>
                    <a:lnTo>
                      <a:pt x="91" y="226"/>
                    </a:lnTo>
                    <a:lnTo>
                      <a:pt x="95" y="226"/>
                    </a:lnTo>
                    <a:lnTo>
                      <a:pt x="100" y="226"/>
                    </a:lnTo>
                    <a:lnTo>
                      <a:pt x="100" y="231"/>
                    </a:lnTo>
                    <a:lnTo>
                      <a:pt x="100" y="231"/>
                    </a:lnTo>
                    <a:lnTo>
                      <a:pt x="100" y="231"/>
                    </a:lnTo>
                    <a:lnTo>
                      <a:pt x="100" y="231"/>
                    </a:lnTo>
                    <a:lnTo>
                      <a:pt x="95" y="231"/>
                    </a:lnTo>
                    <a:lnTo>
                      <a:pt x="95" y="235"/>
                    </a:lnTo>
                    <a:lnTo>
                      <a:pt x="95" y="235"/>
                    </a:lnTo>
                    <a:lnTo>
                      <a:pt x="95" y="244"/>
                    </a:lnTo>
                    <a:lnTo>
                      <a:pt x="95" y="249"/>
                    </a:lnTo>
                    <a:lnTo>
                      <a:pt x="91" y="249"/>
                    </a:lnTo>
                    <a:lnTo>
                      <a:pt x="86" y="249"/>
                    </a:lnTo>
                    <a:lnTo>
                      <a:pt x="86" y="249"/>
                    </a:lnTo>
                    <a:lnTo>
                      <a:pt x="81" y="244"/>
                    </a:lnTo>
                    <a:lnTo>
                      <a:pt x="81" y="244"/>
                    </a:lnTo>
                    <a:lnTo>
                      <a:pt x="77" y="240"/>
                    </a:lnTo>
                    <a:lnTo>
                      <a:pt x="77" y="240"/>
                    </a:lnTo>
                    <a:lnTo>
                      <a:pt x="77" y="235"/>
                    </a:lnTo>
                    <a:lnTo>
                      <a:pt x="72" y="235"/>
                    </a:lnTo>
                    <a:lnTo>
                      <a:pt x="72" y="235"/>
                    </a:lnTo>
                    <a:lnTo>
                      <a:pt x="77" y="231"/>
                    </a:lnTo>
                    <a:lnTo>
                      <a:pt x="77" y="231"/>
                    </a:lnTo>
                    <a:lnTo>
                      <a:pt x="77" y="231"/>
                    </a:lnTo>
                    <a:lnTo>
                      <a:pt x="77" y="226"/>
                    </a:lnTo>
                    <a:lnTo>
                      <a:pt x="72" y="226"/>
                    </a:lnTo>
                    <a:lnTo>
                      <a:pt x="72" y="226"/>
                    </a:lnTo>
                    <a:lnTo>
                      <a:pt x="72" y="226"/>
                    </a:lnTo>
                    <a:lnTo>
                      <a:pt x="68" y="226"/>
                    </a:lnTo>
                    <a:lnTo>
                      <a:pt x="68" y="226"/>
                    </a:lnTo>
                    <a:lnTo>
                      <a:pt x="63" y="226"/>
                    </a:lnTo>
                    <a:lnTo>
                      <a:pt x="63" y="226"/>
                    </a:lnTo>
                    <a:lnTo>
                      <a:pt x="59" y="226"/>
                    </a:lnTo>
                    <a:lnTo>
                      <a:pt x="59" y="226"/>
                    </a:lnTo>
                    <a:lnTo>
                      <a:pt x="59" y="226"/>
                    </a:lnTo>
                    <a:lnTo>
                      <a:pt x="54" y="226"/>
                    </a:lnTo>
                    <a:lnTo>
                      <a:pt x="54" y="226"/>
                    </a:lnTo>
                    <a:lnTo>
                      <a:pt x="54" y="231"/>
                    </a:lnTo>
                    <a:lnTo>
                      <a:pt x="54" y="231"/>
                    </a:lnTo>
                    <a:lnTo>
                      <a:pt x="54" y="231"/>
                    </a:lnTo>
                    <a:lnTo>
                      <a:pt x="50" y="231"/>
                    </a:lnTo>
                    <a:lnTo>
                      <a:pt x="50" y="231"/>
                    </a:lnTo>
                    <a:lnTo>
                      <a:pt x="45" y="235"/>
                    </a:lnTo>
                    <a:lnTo>
                      <a:pt x="45" y="235"/>
                    </a:lnTo>
                    <a:lnTo>
                      <a:pt x="45" y="235"/>
                    </a:lnTo>
                    <a:lnTo>
                      <a:pt x="45" y="235"/>
                    </a:lnTo>
                    <a:lnTo>
                      <a:pt x="41" y="235"/>
                    </a:lnTo>
                    <a:lnTo>
                      <a:pt x="41" y="235"/>
                    </a:lnTo>
                    <a:lnTo>
                      <a:pt x="36" y="235"/>
                    </a:lnTo>
                    <a:lnTo>
                      <a:pt x="36" y="240"/>
                    </a:lnTo>
                    <a:lnTo>
                      <a:pt x="32" y="235"/>
                    </a:lnTo>
                    <a:lnTo>
                      <a:pt x="32" y="235"/>
                    </a:lnTo>
                    <a:lnTo>
                      <a:pt x="32" y="235"/>
                    </a:lnTo>
                    <a:lnTo>
                      <a:pt x="32" y="240"/>
                    </a:lnTo>
                    <a:lnTo>
                      <a:pt x="32" y="244"/>
                    </a:lnTo>
                    <a:lnTo>
                      <a:pt x="32" y="244"/>
                    </a:lnTo>
                    <a:lnTo>
                      <a:pt x="32" y="244"/>
                    </a:lnTo>
                    <a:lnTo>
                      <a:pt x="32" y="244"/>
                    </a:lnTo>
                    <a:lnTo>
                      <a:pt x="23" y="244"/>
                    </a:lnTo>
                    <a:lnTo>
                      <a:pt x="23" y="244"/>
                    </a:lnTo>
                    <a:lnTo>
                      <a:pt x="18" y="244"/>
                    </a:lnTo>
                    <a:lnTo>
                      <a:pt x="18" y="244"/>
                    </a:lnTo>
                    <a:lnTo>
                      <a:pt x="18" y="244"/>
                    </a:lnTo>
                    <a:lnTo>
                      <a:pt x="18" y="244"/>
                    </a:lnTo>
                    <a:lnTo>
                      <a:pt x="14" y="244"/>
                    </a:lnTo>
                    <a:lnTo>
                      <a:pt x="14" y="244"/>
                    </a:lnTo>
                    <a:lnTo>
                      <a:pt x="14" y="244"/>
                    </a:lnTo>
                    <a:lnTo>
                      <a:pt x="14" y="244"/>
                    </a:lnTo>
                    <a:lnTo>
                      <a:pt x="9" y="240"/>
                    </a:lnTo>
                    <a:lnTo>
                      <a:pt x="9" y="240"/>
                    </a:lnTo>
                    <a:lnTo>
                      <a:pt x="9" y="240"/>
                    </a:lnTo>
                    <a:lnTo>
                      <a:pt x="9" y="235"/>
                    </a:lnTo>
                    <a:lnTo>
                      <a:pt x="9" y="235"/>
                    </a:lnTo>
                    <a:lnTo>
                      <a:pt x="14" y="235"/>
                    </a:lnTo>
                    <a:lnTo>
                      <a:pt x="14" y="235"/>
                    </a:lnTo>
                    <a:lnTo>
                      <a:pt x="14" y="235"/>
                    </a:lnTo>
                    <a:lnTo>
                      <a:pt x="14" y="231"/>
                    </a:lnTo>
                    <a:lnTo>
                      <a:pt x="14" y="231"/>
                    </a:lnTo>
                    <a:lnTo>
                      <a:pt x="18" y="231"/>
                    </a:lnTo>
                    <a:lnTo>
                      <a:pt x="18" y="231"/>
                    </a:lnTo>
                    <a:lnTo>
                      <a:pt x="18" y="226"/>
                    </a:lnTo>
                    <a:lnTo>
                      <a:pt x="18" y="226"/>
                    </a:lnTo>
                    <a:lnTo>
                      <a:pt x="18" y="222"/>
                    </a:lnTo>
                    <a:lnTo>
                      <a:pt x="23" y="222"/>
                    </a:lnTo>
                    <a:lnTo>
                      <a:pt x="23" y="222"/>
                    </a:lnTo>
                    <a:lnTo>
                      <a:pt x="23" y="217"/>
                    </a:lnTo>
                    <a:lnTo>
                      <a:pt x="23" y="213"/>
                    </a:lnTo>
                    <a:lnTo>
                      <a:pt x="23" y="213"/>
                    </a:lnTo>
                    <a:lnTo>
                      <a:pt x="27" y="213"/>
                    </a:lnTo>
                    <a:lnTo>
                      <a:pt x="27" y="213"/>
                    </a:lnTo>
                    <a:lnTo>
                      <a:pt x="32" y="213"/>
                    </a:lnTo>
                    <a:lnTo>
                      <a:pt x="32" y="213"/>
                    </a:lnTo>
                    <a:lnTo>
                      <a:pt x="36" y="213"/>
                    </a:lnTo>
                    <a:lnTo>
                      <a:pt x="36" y="213"/>
                    </a:lnTo>
                    <a:lnTo>
                      <a:pt x="36" y="213"/>
                    </a:lnTo>
                    <a:lnTo>
                      <a:pt x="41" y="213"/>
                    </a:lnTo>
                    <a:lnTo>
                      <a:pt x="41" y="213"/>
                    </a:lnTo>
                    <a:lnTo>
                      <a:pt x="41" y="213"/>
                    </a:lnTo>
                    <a:lnTo>
                      <a:pt x="45" y="208"/>
                    </a:lnTo>
                    <a:lnTo>
                      <a:pt x="45" y="208"/>
                    </a:lnTo>
                    <a:lnTo>
                      <a:pt x="50" y="208"/>
                    </a:lnTo>
                    <a:lnTo>
                      <a:pt x="54" y="208"/>
                    </a:lnTo>
                    <a:lnTo>
                      <a:pt x="59" y="203"/>
                    </a:lnTo>
                    <a:lnTo>
                      <a:pt x="59" y="203"/>
                    </a:lnTo>
                    <a:lnTo>
                      <a:pt x="59" y="203"/>
                    </a:lnTo>
                    <a:lnTo>
                      <a:pt x="59" y="208"/>
                    </a:lnTo>
                    <a:lnTo>
                      <a:pt x="59" y="208"/>
                    </a:lnTo>
                    <a:lnTo>
                      <a:pt x="63" y="208"/>
                    </a:lnTo>
                    <a:lnTo>
                      <a:pt x="63" y="208"/>
                    </a:lnTo>
                    <a:lnTo>
                      <a:pt x="68" y="208"/>
                    </a:lnTo>
                    <a:lnTo>
                      <a:pt x="68" y="208"/>
                    </a:lnTo>
                    <a:lnTo>
                      <a:pt x="68" y="208"/>
                    </a:lnTo>
                    <a:lnTo>
                      <a:pt x="72" y="208"/>
                    </a:lnTo>
                    <a:lnTo>
                      <a:pt x="72" y="203"/>
                    </a:lnTo>
                    <a:lnTo>
                      <a:pt x="72" y="203"/>
                    </a:lnTo>
                    <a:lnTo>
                      <a:pt x="68" y="199"/>
                    </a:lnTo>
                    <a:lnTo>
                      <a:pt x="68" y="199"/>
                    </a:lnTo>
                    <a:lnTo>
                      <a:pt x="68" y="194"/>
                    </a:lnTo>
                    <a:lnTo>
                      <a:pt x="68" y="194"/>
                    </a:lnTo>
                    <a:lnTo>
                      <a:pt x="68" y="194"/>
                    </a:lnTo>
                    <a:lnTo>
                      <a:pt x="68" y="190"/>
                    </a:lnTo>
                    <a:lnTo>
                      <a:pt x="68" y="185"/>
                    </a:lnTo>
                    <a:lnTo>
                      <a:pt x="68" y="181"/>
                    </a:lnTo>
                    <a:lnTo>
                      <a:pt x="68" y="176"/>
                    </a:lnTo>
                    <a:lnTo>
                      <a:pt x="63" y="172"/>
                    </a:lnTo>
                    <a:lnTo>
                      <a:pt x="63" y="172"/>
                    </a:lnTo>
                    <a:lnTo>
                      <a:pt x="63" y="167"/>
                    </a:lnTo>
                    <a:lnTo>
                      <a:pt x="68" y="167"/>
                    </a:lnTo>
                    <a:lnTo>
                      <a:pt x="68" y="167"/>
                    </a:lnTo>
                    <a:lnTo>
                      <a:pt x="68" y="167"/>
                    </a:lnTo>
                    <a:lnTo>
                      <a:pt x="68" y="167"/>
                    </a:lnTo>
                    <a:lnTo>
                      <a:pt x="68" y="172"/>
                    </a:lnTo>
                    <a:lnTo>
                      <a:pt x="68" y="172"/>
                    </a:lnTo>
                    <a:lnTo>
                      <a:pt x="68" y="172"/>
                    </a:lnTo>
                    <a:lnTo>
                      <a:pt x="68" y="172"/>
                    </a:lnTo>
                    <a:lnTo>
                      <a:pt x="68" y="176"/>
                    </a:lnTo>
                    <a:lnTo>
                      <a:pt x="68" y="176"/>
                    </a:lnTo>
                    <a:lnTo>
                      <a:pt x="72" y="176"/>
                    </a:lnTo>
                    <a:lnTo>
                      <a:pt x="72" y="181"/>
                    </a:lnTo>
                    <a:lnTo>
                      <a:pt x="72" y="181"/>
                    </a:lnTo>
                    <a:lnTo>
                      <a:pt x="77" y="181"/>
                    </a:lnTo>
                    <a:lnTo>
                      <a:pt x="77" y="181"/>
                    </a:lnTo>
                    <a:lnTo>
                      <a:pt x="77" y="181"/>
                    </a:lnTo>
                    <a:lnTo>
                      <a:pt x="77" y="181"/>
                    </a:lnTo>
                    <a:lnTo>
                      <a:pt x="77" y="176"/>
                    </a:lnTo>
                    <a:lnTo>
                      <a:pt x="77" y="176"/>
                    </a:lnTo>
                    <a:lnTo>
                      <a:pt x="81" y="176"/>
                    </a:lnTo>
                    <a:lnTo>
                      <a:pt x="86" y="172"/>
                    </a:lnTo>
                    <a:lnTo>
                      <a:pt x="86" y="172"/>
                    </a:lnTo>
                    <a:lnTo>
                      <a:pt x="86" y="172"/>
                    </a:lnTo>
                    <a:lnTo>
                      <a:pt x="91" y="167"/>
                    </a:lnTo>
                    <a:lnTo>
                      <a:pt x="91" y="167"/>
                    </a:lnTo>
                    <a:lnTo>
                      <a:pt x="91" y="163"/>
                    </a:lnTo>
                    <a:lnTo>
                      <a:pt x="91" y="163"/>
                    </a:lnTo>
                    <a:lnTo>
                      <a:pt x="86" y="158"/>
                    </a:lnTo>
                    <a:lnTo>
                      <a:pt x="86" y="158"/>
                    </a:lnTo>
                    <a:lnTo>
                      <a:pt x="91" y="154"/>
                    </a:lnTo>
                    <a:lnTo>
                      <a:pt x="91" y="154"/>
                    </a:lnTo>
                    <a:lnTo>
                      <a:pt x="91" y="149"/>
                    </a:lnTo>
                    <a:lnTo>
                      <a:pt x="91" y="149"/>
                    </a:lnTo>
                    <a:lnTo>
                      <a:pt x="91" y="145"/>
                    </a:lnTo>
                    <a:lnTo>
                      <a:pt x="91" y="145"/>
                    </a:lnTo>
                    <a:lnTo>
                      <a:pt x="91" y="140"/>
                    </a:lnTo>
                    <a:lnTo>
                      <a:pt x="91" y="140"/>
                    </a:lnTo>
                    <a:lnTo>
                      <a:pt x="91" y="136"/>
                    </a:lnTo>
                    <a:lnTo>
                      <a:pt x="86" y="136"/>
                    </a:lnTo>
                    <a:lnTo>
                      <a:pt x="86" y="131"/>
                    </a:lnTo>
                    <a:lnTo>
                      <a:pt x="86" y="131"/>
                    </a:lnTo>
                    <a:lnTo>
                      <a:pt x="86" y="127"/>
                    </a:lnTo>
                    <a:lnTo>
                      <a:pt x="86" y="127"/>
                    </a:lnTo>
                    <a:lnTo>
                      <a:pt x="86" y="127"/>
                    </a:lnTo>
                    <a:lnTo>
                      <a:pt x="86" y="127"/>
                    </a:lnTo>
                    <a:lnTo>
                      <a:pt x="86" y="122"/>
                    </a:lnTo>
                    <a:lnTo>
                      <a:pt x="81" y="122"/>
                    </a:lnTo>
                    <a:lnTo>
                      <a:pt x="81" y="118"/>
                    </a:lnTo>
                    <a:lnTo>
                      <a:pt x="77" y="118"/>
                    </a:lnTo>
                    <a:lnTo>
                      <a:pt x="77" y="118"/>
                    </a:lnTo>
                    <a:lnTo>
                      <a:pt x="77" y="118"/>
                    </a:lnTo>
                    <a:lnTo>
                      <a:pt x="77" y="118"/>
                    </a:lnTo>
                    <a:lnTo>
                      <a:pt x="72" y="118"/>
                    </a:lnTo>
                    <a:lnTo>
                      <a:pt x="72" y="113"/>
                    </a:lnTo>
                    <a:lnTo>
                      <a:pt x="72" y="113"/>
                    </a:lnTo>
                    <a:lnTo>
                      <a:pt x="72" y="113"/>
                    </a:lnTo>
                    <a:lnTo>
                      <a:pt x="72" y="113"/>
                    </a:lnTo>
                    <a:lnTo>
                      <a:pt x="72" y="109"/>
                    </a:lnTo>
                    <a:lnTo>
                      <a:pt x="72" y="109"/>
                    </a:lnTo>
                    <a:lnTo>
                      <a:pt x="72" y="109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3" y="90"/>
                    </a:lnTo>
                    <a:lnTo>
                      <a:pt x="63" y="90"/>
                    </a:lnTo>
                    <a:lnTo>
                      <a:pt x="63" y="90"/>
                    </a:lnTo>
                    <a:lnTo>
                      <a:pt x="63" y="90"/>
                    </a:lnTo>
                    <a:lnTo>
                      <a:pt x="68" y="90"/>
                    </a:lnTo>
                    <a:lnTo>
                      <a:pt x="68" y="90"/>
                    </a:lnTo>
                    <a:lnTo>
                      <a:pt x="68" y="90"/>
                    </a:lnTo>
                    <a:lnTo>
                      <a:pt x="68" y="90"/>
                    </a:lnTo>
                    <a:lnTo>
                      <a:pt x="72" y="95"/>
                    </a:lnTo>
                    <a:lnTo>
                      <a:pt x="72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81" y="95"/>
                    </a:lnTo>
                    <a:lnTo>
                      <a:pt x="81" y="95"/>
                    </a:lnTo>
                    <a:lnTo>
                      <a:pt x="81" y="90"/>
                    </a:lnTo>
                    <a:lnTo>
                      <a:pt x="77" y="90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90"/>
                    </a:lnTo>
                    <a:lnTo>
                      <a:pt x="72" y="90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1"/>
                    </a:lnTo>
                    <a:lnTo>
                      <a:pt x="68" y="81"/>
                    </a:lnTo>
                    <a:lnTo>
                      <a:pt x="72" y="81"/>
                    </a:lnTo>
                    <a:lnTo>
                      <a:pt x="72" y="81"/>
                    </a:lnTo>
                    <a:lnTo>
                      <a:pt x="72" y="86"/>
                    </a:lnTo>
                    <a:moveTo>
                      <a:pt x="68" y="27"/>
                    </a:moveTo>
                    <a:lnTo>
                      <a:pt x="68" y="27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81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3"/>
                    </a:lnTo>
                    <a:lnTo>
                      <a:pt x="86" y="18"/>
                    </a:lnTo>
                    <a:lnTo>
                      <a:pt x="91" y="18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91" y="27"/>
                    </a:lnTo>
                    <a:lnTo>
                      <a:pt x="91" y="32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4" y="41"/>
                    </a:lnTo>
                    <a:lnTo>
                      <a:pt x="104" y="41"/>
                    </a:lnTo>
                    <a:lnTo>
                      <a:pt x="109" y="41"/>
                    </a:lnTo>
                    <a:lnTo>
                      <a:pt x="109" y="41"/>
                    </a:lnTo>
                    <a:lnTo>
                      <a:pt x="109" y="36"/>
                    </a:lnTo>
                    <a:lnTo>
                      <a:pt x="109" y="36"/>
                    </a:lnTo>
                    <a:lnTo>
                      <a:pt x="109" y="36"/>
                    </a:lnTo>
                    <a:lnTo>
                      <a:pt x="109" y="41"/>
                    </a:lnTo>
                    <a:lnTo>
                      <a:pt x="109" y="41"/>
                    </a:lnTo>
                    <a:lnTo>
                      <a:pt x="109" y="41"/>
                    </a:lnTo>
                    <a:lnTo>
                      <a:pt x="109" y="41"/>
                    </a:lnTo>
                    <a:lnTo>
                      <a:pt x="109" y="41"/>
                    </a:lnTo>
                    <a:lnTo>
                      <a:pt x="104" y="41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0" y="45"/>
                    </a:lnTo>
                    <a:lnTo>
                      <a:pt x="100" y="50"/>
                    </a:lnTo>
                    <a:lnTo>
                      <a:pt x="100" y="50"/>
                    </a:lnTo>
                    <a:lnTo>
                      <a:pt x="95" y="50"/>
                    </a:lnTo>
                    <a:lnTo>
                      <a:pt x="95" y="50"/>
                    </a:lnTo>
                    <a:lnTo>
                      <a:pt x="91" y="50"/>
                    </a:lnTo>
                    <a:lnTo>
                      <a:pt x="91" y="54"/>
                    </a:lnTo>
                    <a:lnTo>
                      <a:pt x="91" y="59"/>
                    </a:lnTo>
                    <a:lnTo>
                      <a:pt x="91" y="59"/>
                    </a:lnTo>
                    <a:lnTo>
                      <a:pt x="91" y="63"/>
                    </a:lnTo>
                    <a:lnTo>
                      <a:pt x="91" y="63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91" y="68"/>
                    </a:lnTo>
                    <a:lnTo>
                      <a:pt x="86" y="68"/>
                    </a:lnTo>
                    <a:lnTo>
                      <a:pt x="81" y="63"/>
                    </a:lnTo>
                    <a:lnTo>
                      <a:pt x="72" y="63"/>
                    </a:lnTo>
                    <a:lnTo>
                      <a:pt x="68" y="59"/>
                    </a:lnTo>
                    <a:lnTo>
                      <a:pt x="59" y="59"/>
                    </a:lnTo>
                    <a:lnTo>
                      <a:pt x="59" y="68"/>
                    </a:lnTo>
                    <a:lnTo>
                      <a:pt x="54" y="63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45" y="63"/>
                    </a:lnTo>
                    <a:lnTo>
                      <a:pt x="45" y="63"/>
                    </a:lnTo>
                    <a:lnTo>
                      <a:pt x="45" y="63"/>
                    </a:lnTo>
                    <a:lnTo>
                      <a:pt x="45" y="63"/>
                    </a:lnTo>
                    <a:lnTo>
                      <a:pt x="45" y="68"/>
                    </a:lnTo>
                    <a:lnTo>
                      <a:pt x="45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9" y="72"/>
                    </a:lnTo>
                    <a:lnTo>
                      <a:pt x="63" y="72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63" y="77"/>
                    </a:lnTo>
                    <a:lnTo>
                      <a:pt x="63" y="77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9" y="81"/>
                    </a:lnTo>
                    <a:lnTo>
                      <a:pt x="59" y="81"/>
                    </a:lnTo>
                    <a:lnTo>
                      <a:pt x="59" y="81"/>
                    </a:lnTo>
                    <a:lnTo>
                      <a:pt x="59" y="86"/>
                    </a:lnTo>
                    <a:lnTo>
                      <a:pt x="59" y="86"/>
                    </a:lnTo>
                    <a:lnTo>
                      <a:pt x="59" y="86"/>
                    </a:lnTo>
                    <a:lnTo>
                      <a:pt x="54" y="86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2"/>
                    </a:lnTo>
                    <a:lnTo>
                      <a:pt x="45" y="72"/>
                    </a:lnTo>
                    <a:lnTo>
                      <a:pt x="45" y="72"/>
                    </a:lnTo>
                    <a:lnTo>
                      <a:pt x="41" y="68"/>
                    </a:lnTo>
                    <a:lnTo>
                      <a:pt x="41" y="68"/>
                    </a:lnTo>
                    <a:lnTo>
                      <a:pt x="41" y="63"/>
                    </a:lnTo>
                    <a:lnTo>
                      <a:pt x="36" y="63"/>
                    </a:lnTo>
                    <a:lnTo>
                      <a:pt x="36" y="63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45"/>
                    </a:lnTo>
                    <a:lnTo>
                      <a:pt x="50" y="45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1" y="36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36" y="27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2" y="18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0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7" y="5"/>
                    </a:lnTo>
                    <a:lnTo>
                      <a:pt x="36" y="9"/>
                    </a:lnTo>
                    <a:lnTo>
                      <a:pt x="45" y="14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9" y="23"/>
                    </a:lnTo>
                    <a:lnTo>
                      <a:pt x="63" y="23"/>
                    </a:lnTo>
                    <a:lnTo>
                      <a:pt x="68" y="23"/>
                    </a:lnTo>
                    <a:lnTo>
                      <a:pt x="68" y="27"/>
                    </a:lnTo>
                    <a:lnTo>
                      <a:pt x="68" y="27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65" name="Freeform 86"/>
              <p:cNvSpPr>
                <a:spLocks/>
              </p:cNvSpPr>
              <p:nvPr/>
            </p:nvSpPr>
            <p:spPr bwMode="auto">
              <a:xfrm>
                <a:off x="6242051" y="1862139"/>
                <a:ext cx="28575" cy="14288"/>
              </a:xfrm>
              <a:custGeom>
                <a:avLst/>
                <a:gdLst>
                  <a:gd name="T0" fmla="*/ 14 w 18"/>
                  <a:gd name="T1" fmla="*/ 0 h 9"/>
                  <a:gd name="T2" fmla="*/ 14 w 18"/>
                  <a:gd name="T3" fmla="*/ 0 h 9"/>
                  <a:gd name="T4" fmla="*/ 14 w 18"/>
                  <a:gd name="T5" fmla="*/ 0 h 9"/>
                  <a:gd name="T6" fmla="*/ 18 w 18"/>
                  <a:gd name="T7" fmla="*/ 0 h 9"/>
                  <a:gd name="T8" fmla="*/ 18 w 18"/>
                  <a:gd name="T9" fmla="*/ 0 h 9"/>
                  <a:gd name="T10" fmla="*/ 14 w 18"/>
                  <a:gd name="T11" fmla="*/ 0 h 9"/>
                  <a:gd name="T12" fmla="*/ 14 w 18"/>
                  <a:gd name="T13" fmla="*/ 4 h 9"/>
                  <a:gd name="T14" fmla="*/ 14 w 18"/>
                  <a:gd name="T15" fmla="*/ 4 h 9"/>
                  <a:gd name="T16" fmla="*/ 9 w 18"/>
                  <a:gd name="T17" fmla="*/ 4 h 9"/>
                  <a:gd name="T18" fmla="*/ 9 w 18"/>
                  <a:gd name="T19" fmla="*/ 9 h 9"/>
                  <a:gd name="T20" fmla="*/ 9 w 18"/>
                  <a:gd name="T21" fmla="*/ 9 h 9"/>
                  <a:gd name="T22" fmla="*/ 5 w 18"/>
                  <a:gd name="T23" fmla="*/ 4 h 9"/>
                  <a:gd name="T24" fmla="*/ 5 w 18"/>
                  <a:gd name="T25" fmla="*/ 4 h 9"/>
                  <a:gd name="T26" fmla="*/ 5 w 18"/>
                  <a:gd name="T27" fmla="*/ 4 h 9"/>
                  <a:gd name="T28" fmla="*/ 5 w 18"/>
                  <a:gd name="T29" fmla="*/ 0 h 9"/>
                  <a:gd name="T30" fmla="*/ 0 w 18"/>
                  <a:gd name="T31" fmla="*/ 0 h 9"/>
                  <a:gd name="T32" fmla="*/ 0 w 18"/>
                  <a:gd name="T33" fmla="*/ 0 h 9"/>
                  <a:gd name="T34" fmla="*/ 0 w 18"/>
                  <a:gd name="T35" fmla="*/ 0 h 9"/>
                  <a:gd name="T36" fmla="*/ 5 w 18"/>
                  <a:gd name="T37" fmla="*/ 0 h 9"/>
                  <a:gd name="T38" fmla="*/ 9 w 18"/>
                  <a:gd name="T39" fmla="*/ 0 h 9"/>
                  <a:gd name="T40" fmla="*/ 14 w 18"/>
                  <a:gd name="T41" fmla="*/ 0 h 9"/>
                  <a:gd name="T42" fmla="*/ 14 w 18"/>
                  <a:gd name="T4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9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9" y="4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66" name="Freeform 87"/>
              <p:cNvSpPr>
                <a:spLocks/>
              </p:cNvSpPr>
              <p:nvPr/>
            </p:nvSpPr>
            <p:spPr bwMode="auto">
              <a:xfrm>
                <a:off x="5403851" y="1273176"/>
                <a:ext cx="931863" cy="444500"/>
              </a:xfrm>
              <a:custGeom>
                <a:avLst/>
                <a:gdLst>
                  <a:gd name="T0" fmla="*/ 316 w 587"/>
                  <a:gd name="T1" fmla="*/ 18 h 280"/>
                  <a:gd name="T2" fmla="*/ 334 w 587"/>
                  <a:gd name="T3" fmla="*/ 23 h 280"/>
                  <a:gd name="T4" fmla="*/ 348 w 587"/>
                  <a:gd name="T5" fmla="*/ 27 h 280"/>
                  <a:gd name="T6" fmla="*/ 366 w 587"/>
                  <a:gd name="T7" fmla="*/ 27 h 280"/>
                  <a:gd name="T8" fmla="*/ 388 w 587"/>
                  <a:gd name="T9" fmla="*/ 14 h 280"/>
                  <a:gd name="T10" fmla="*/ 424 w 587"/>
                  <a:gd name="T11" fmla="*/ 41 h 280"/>
                  <a:gd name="T12" fmla="*/ 474 w 587"/>
                  <a:gd name="T13" fmla="*/ 72 h 280"/>
                  <a:gd name="T14" fmla="*/ 483 w 587"/>
                  <a:gd name="T15" fmla="*/ 72 h 280"/>
                  <a:gd name="T16" fmla="*/ 506 w 587"/>
                  <a:gd name="T17" fmla="*/ 77 h 280"/>
                  <a:gd name="T18" fmla="*/ 537 w 587"/>
                  <a:gd name="T19" fmla="*/ 86 h 280"/>
                  <a:gd name="T20" fmla="*/ 564 w 587"/>
                  <a:gd name="T21" fmla="*/ 99 h 280"/>
                  <a:gd name="T22" fmla="*/ 583 w 587"/>
                  <a:gd name="T23" fmla="*/ 104 h 280"/>
                  <a:gd name="T24" fmla="*/ 578 w 587"/>
                  <a:gd name="T25" fmla="*/ 118 h 280"/>
                  <a:gd name="T26" fmla="*/ 578 w 587"/>
                  <a:gd name="T27" fmla="*/ 145 h 280"/>
                  <a:gd name="T28" fmla="*/ 551 w 587"/>
                  <a:gd name="T29" fmla="*/ 149 h 280"/>
                  <a:gd name="T30" fmla="*/ 551 w 587"/>
                  <a:gd name="T31" fmla="*/ 176 h 280"/>
                  <a:gd name="T32" fmla="*/ 537 w 587"/>
                  <a:gd name="T33" fmla="*/ 181 h 280"/>
                  <a:gd name="T34" fmla="*/ 524 w 587"/>
                  <a:gd name="T35" fmla="*/ 194 h 280"/>
                  <a:gd name="T36" fmla="*/ 537 w 587"/>
                  <a:gd name="T37" fmla="*/ 217 h 280"/>
                  <a:gd name="T38" fmla="*/ 537 w 587"/>
                  <a:gd name="T39" fmla="*/ 231 h 280"/>
                  <a:gd name="T40" fmla="*/ 519 w 587"/>
                  <a:gd name="T41" fmla="*/ 231 h 280"/>
                  <a:gd name="T42" fmla="*/ 488 w 587"/>
                  <a:gd name="T43" fmla="*/ 231 h 280"/>
                  <a:gd name="T44" fmla="*/ 438 w 587"/>
                  <a:gd name="T45" fmla="*/ 226 h 280"/>
                  <a:gd name="T46" fmla="*/ 415 w 587"/>
                  <a:gd name="T47" fmla="*/ 235 h 280"/>
                  <a:gd name="T48" fmla="*/ 397 w 587"/>
                  <a:gd name="T49" fmla="*/ 249 h 280"/>
                  <a:gd name="T50" fmla="*/ 375 w 587"/>
                  <a:gd name="T51" fmla="*/ 262 h 280"/>
                  <a:gd name="T52" fmla="*/ 361 w 587"/>
                  <a:gd name="T53" fmla="*/ 276 h 280"/>
                  <a:gd name="T54" fmla="*/ 339 w 587"/>
                  <a:gd name="T55" fmla="*/ 267 h 280"/>
                  <a:gd name="T56" fmla="*/ 321 w 587"/>
                  <a:gd name="T57" fmla="*/ 235 h 280"/>
                  <a:gd name="T58" fmla="*/ 289 w 587"/>
                  <a:gd name="T59" fmla="*/ 226 h 280"/>
                  <a:gd name="T60" fmla="*/ 244 w 587"/>
                  <a:gd name="T61" fmla="*/ 217 h 280"/>
                  <a:gd name="T62" fmla="*/ 203 w 587"/>
                  <a:gd name="T63" fmla="*/ 194 h 280"/>
                  <a:gd name="T64" fmla="*/ 158 w 587"/>
                  <a:gd name="T65" fmla="*/ 199 h 280"/>
                  <a:gd name="T66" fmla="*/ 171 w 587"/>
                  <a:gd name="T67" fmla="*/ 271 h 280"/>
                  <a:gd name="T68" fmla="*/ 144 w 587"/>
                  <a:gd name="T69" fmla="*/ 253 h 280"/>
                  <a:gd name="T70" fmla="*/ 117 w 587"/>
                  <a:gd name="T71" fmla="*/ 253 h 280"/>
                  <a:gd name="T72" fmla="*/ 95 w 587"/>
                  <a:gd name="T73" fmla="*/ 240 h 280"/>
                  <a:gd name="T74" fmla="*/ 72 w 587"/>
                  <a:gd name="T75" fmla="*/ 213 h 280"/>
                  <a:gd name="T76" fmla="*/ 81 w 587"/>
                  <a:gd name="T77" fmla="*/ 208 h 280"/>
                  <a:gd name="T78" fmla="*/ 113 w 587"/>
                  <a:gd name="T79" fmla="*/ 194 h 280"/>
                  <a:gd name="T80" fmla="*/ 95 w 587"/>
                  <a:gd name="T81" fmla="*/ 167 h 280"/>
                  <a:gd name="T82" fmla="*/ 63 w 587"/>
                  <a:gd name="T83" fmla="*/ 167 h 280"/>
                  <a:gd name="T84" fmla="*/ 40 w 587"/>
                  <a:gd name="T85" fmla="*/ 176 h 280"/>
                  <a:gd name="T86" fmla="*/ 31 w 587"/>
                  <a:gd name="T87" fmla="*/ 158 h 280"/>
                  <a:gd name="T88" fmla="*/ 0 w 587"/>
                  <a:gd name="T89" fmla="*/ 136 h 280"/>
                  <a:gd name="T90" fmla="*/ 4 w 587"/>
                  <a:gd name="T91" fmla="*/ 104 h 280"/>
                  <a:gd name="T92" fmla="*/ 22 w 587"/>
                  <a:gd name="T93" fmla="*/ 104 h 280"/>
                  <a:gd name="T94" fmla="*/ 40 w 587"/>
                  <a:gd name="T95" fmla="*/ 86 h 280"/>
                  <a:gd name="T96" fmla="*/ 68 w 587"/>
                  <a:gd name="T97" fmla="*/ 77 h 280"/>
                  <a:gd name="T98" fmla="*/ 95 w 587"/>
                  <a:gd name="T99" fmla="*/ 86 h 280"/>
                  <a:gd name="T100" fmla="*/ 104 w 587"/>
                  <a:gd name="T101" fmla="*/ 90 h 280"/>
                  <a:gd name="T102" fmla="*/ 135 w 587"/>
                  <a:gd name="T103" fmla="*/ 86 h 280"/>
                  <a:gd name="T104" fmla="*/ 167 w 587"/>
                  <a:gd name="T105" fmla="*/ 90 h 280"/>
                  <a:gd name="T106" fmla="*/ 190 w 587"/>
                  <a:gd name="T107" fmla="*/ 90 h 280"/>
                  <a:gd name="T108" fmla="*/ 180 w 587"/>
                  <a:gd name="T109" fmla="*/ 72 h 280"/>
                  <a:gd name="T110" fmla="*/ 185 w 587"/>
                  <a:gd name="T111" fmla="*/ 50 h 280"/>
                  <a:gd name="T112" fmla="*/ 180 w 587"/>
                  <a:gd name="T113" fmla="*/ 41 h 280"/>
                  <a:gd name="T114" fmla="*/ 180 w 587"/>
                  <a:gd name="T115" fmla="*/ 32 h 280"/>
                  <a:gd name="T116" fmla="*/ 212 w 587"/>
                  <a:gd name="T117" fmla="*/ 23 h 280"/>
                  <a:gd name="T118" fmla="*/ 230 w 587"/>
                  <a:gd name="T119" fmla="*/ 18 h 280"/>
                  <a:gd name="T120" fmla="*/ 266 w 587"/>
                  <a:gd name="T121" fmla="*/ 5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87" h="280">
                    <a:moveTo>
                      <a:pt x="293" y="0"/>
                    </a:moveTo>
                    <a:lnTo>
                      <a:pt x="293" y="0"/>
                    </a:lnTo>
                    <a:lnTo>
                      <a:pt x="293" y="5"/>
                    </a:lnTo>
                    <a:lnTo>
                      <a:pt x="293" y="0"/>
                    </a:lnTo>
                    <a:lnTo>
                      <a:pt x="298" y="0"/>
                    </a:lnTo>
                    <a:lnTo>
                      <a:pt x="298" y="0"/>
                    </a:lnTo>
                    <a:lnTo>
                      <a:pt x="298" y="0"/>
                    </a:lnTo>
                    <a:lnTo>
                      <a:pt x="298" y="0"/>
                    </a:lnTo>
                    <a:lnTo>
                      <a:pt x="302" y="0"/>
                    </a:lnTo>
                    <a:lnTo>
                      <a:pt x="302" y="5"/>
                    </a:lnTo>
                    <a:lnTo>
                      <a:pt x="307" y="5"/>
                    </a:lnTo>
                    <a:lnTo>
                      <a:pt x="311" y="9"/>
                    </a:lnTo>
                    <a:lnTo>
                      <a:pt x="311" y="14"/>
                    </a:lnTo>
                    <a:lnTo>
                      <a:pt x="311" y="14"/>
                    </a:lnTo>
                    <a:lnTo>
                      <a:pt x="311" y="14"/>
                    </a:lnTo>
                    <a:lnTo>
                      <a:pt x="311" y="18"/>
                    </a:lnTo>
                    <a:lnTo>
                      <a:pt x="311" y="18"/>
                    </a:lnTo>
                    <a:lnTo>
                      <a:pt x="316" y="18"/>
                    </a:lnTo>
                    <a:lnTo>
                      <a:pt x="316" y="23"/>
                    </a:lnTo>
                    <a:lnTo>
                      <a:pt x="321" y="18"/>
                    </a:lnTo>
                    <a:lnTo>
                      <a:pt x="325" y="18"/>
                    </a:lnTo>
                    <a:lnTo>
                      <a:pt x="325" y="18"/>
                    </a:lnTo>
                    <a:lnTo>
                      <a:pt x="330" y="18"/>
                    </a:lnTo>
                    <a:lnTo>
                      <a:pt x="325" y="18"/>
                    </a:lnTo>
                    <a:lnTo>
                      <a:pt x="330" y="18"/>
                    </a:lnTo>
                    <a:lnTo>
                      <a:pt x="330" y="18"/>
                    </a:lnTo>
                    <a:lnTo>
                      <a:pt x="330" y="18"/>
                    </a:lnTo>
                    <a:lnTo>
                      <a:pt x="334" y="23"/>
                    </a:lnTo>
                    <a:lnTo>
                      <a:pt x="334" y="23"/>
                    </a:lnTo>
                    <a:lnTo>
                      <a:pt x="334" y="23"/>
                    </a:lnTo>
                    <a:lnTo>
                      <a:pt x="334" y="23"/>
                    </a:lnTo>
                    <a:lnTo>
                      <a:pt x="334" y="23"/>
                    </a:lnTo>
                    <a:lnTo>
                      <a:pt x="339" y="23"/>
                    </a:lnTo>
                    <a:lnTo>
                      <a:pt x="339" y="23"/>
                    </a:lnTo>
                    <a:lnTo>
                      <a:pt x="334" y="23"/>
                    </a:lnTo>
                    <a:lnTo>
                      <a:pt x="334" y="23"/>
                    </a:lnTo>
                    <a:lnTo>
                      <a:pt x="334" y="23"/>
                    </a:lnTo>
                    <a:lnTo>
                      <a:pt x="334" y="18"/>
                    </a:lnTo>
                    <a:lnTo>
                      <a:pt x="339" y="18"/>
                    </a:lnTo>
                    <a:lnTo>
                      <a:pt x="339" y="23"/>
                    </a:lnTo>
                    <a:lnTo>
                      <a:pt x="343" y="23"/>
                    </a:lnTo>
                    <a:lnTo>
                      <a:pt x="348" y="23"/>
                    </a:lnTo>
                    <a:lnTo>
                      <a:pt x="348" y="23"/>
                    </a:lnTo>
                    <a:lnTo>
                      <a:pt x="348" y="23"/>
                    </a:lnTo>
                    <a:lnTo>
                      <a:pt x="348" y="23"/>
                    </a:lnTo>
                    <a:lnTo>
                      <a:pt x="352" y="23"/>
                    </a:lnTo>
                    <a:lnTo>
                      <a:pt x="352" y="23"/>
                    </a:lnTo>
                    <a:lnTo>
                      <a:pt x="352" y="23"/>
                    </a:lnTo>
                    <a:lnTo>
                      <a:pt x="352" y="23"/>
                    </a:lnTo>
                    <a:lnTo>
                      <a:pt x="352" y="23"/>
                    </a:lnTo>
                    <a:lnTo>
                      <a:pt x="352" y="23"/>
                    </a:lnTo>
                    <a:lnTo>
                      <a:pt x="352" y="23"/>
                    </a:lnTo>
                    <a:lnTo>
                      <a:pt x="348" y="27"/>
                    </a:lnTo>
                    <a:lnTo>
                      <a:pt x="348" y="27"/>
                    </a:lnTo>
                    <a:lnTo>
                      <a:pt x="348" y="32"/>
                    </a:lnTo>
                    <a:lnTo>
                      <a:pt x="352" y="32"/>
                    </a:lnTo>
                    <a:lnTo>
                      <a:pt x="352" y="32"/>
                    </a:lnTo>
                    <a:lnTo>
                      <a:pt x="352" y="32"/>
                    </a:lnTo>
                    <a:lnTo>
                      <a:pt x="352" y="32"/>
                    </a:lnTo>
                    <a:lnTo>
                      <a:pt x="352" y="32"/>
                    </a:lnTo>
                    <a:lnTo>
                      <a:pt x="357" y="32"/>
                    </a:lnTo>
                    <a:lnTo>
                      <a:pt x="357" y="32"/>
                    </a:lnTo>
                    <a:lnTo>
                      <a:pt x="357" y="27"/>
                    </a:lnTo>
                    <a:lnTo>
                      <a:pt x="361" y="27"/>
                    </a:lnTo>
                    <a:lnTo>
                      <a:pt x="361" y="32"/>
                    </a:lnTo>
                    <a:lnTo>
                      <a:pt x="366" y="32"/>
                    </a:lnTo>
                    <a:lnTo>
                      <a:pt x="366" y="32"/>
                    </a:lnTo>
                    <a:lnTo>
                      <a:pt x="366" y="32"/>
                    </a:lnTo>
                    <a:lnTo>
                      <a:pt x="366" y="32"/>
                    </a:lnTo>
                    <a:lnTo>
                      <a:pt x="366" y="27"/>
                    </a:lnTo>
                    <a:lnTo>
                      <a:pt x="366" y="27"/>
                    </a:lnTo>
                    <a:lnTo>
                      <a:pt x="366" y="27"/>
                    </a:lnTo>
                    <a:lnTo>
                      <a:pt x="370" y="23"/>
                    </a:lnTo>
                    <a:lnTo>
                      <a:pt x="370" y="23"/>
                    </a:lnTo>
                    <a:lnTo>
                      <a:pt x="370" y="23"/>
                    </a:lnTo>
                    <a:lnTo>
                      <a:pt x="370" y="23"/>
                    </a:lnTo>
                    <a:lnTo>
                      <a:pt x="375" y="23"/>
                    </a:lnTo>
                    <a:lnTo>
                      <a:pt x="375" y="23"/>
                    </a:lnTo>
                    <a:lnTo>
                      <a:pt x="375" y="23"/>
                    </a:lnTo>
                    <a:lnTo>
                      <a:pt x="375" y="18"/>
                    </a:lnTo>
                    <a:lnTo>
                      <a:pt x="375" y="18"/>
                    </a:lnTo>
                    <a:lnTo>
                      <a:pt x="379" y="18"/>
                    </a:lnTo>
                    <a:lnTo>
                      <a:pt x="379" y="18"/>
                    </a:lnTo>
                    <a:lnTo>
                      <a:pt x="379" y="18"/>
                    </a:lnTo>
                    <a:lnTo>
                      <a:pt x="384" y="14"/>
                    </a:lnTo>
                    <a:lnTo>
                      <a:pt x="384" y="14"/>
                    </a:lnTo>
                    <a:lnTo>
                      <a:pt x="388" y="14"/>
                    </a:lnTo>
                    <a:lnTo>
                      <a:pt x="388" y="14"/>
                    </a:lnTo>
                    <a:lnTo>
                      <a:pt x="388" y="14"/>
                    </a:lnTo>
                    <a:lnTo>
                      <a:pt x="388" y="14"/>
                    </a:lnTo>
                    <a:lnTo>
                      <a:pt x="393" y="14"/>
                    </a:lnTo>
                    <a:lnTo>
                      <a:pt x="393" y="14"/>
                    </a:lnTo>
                    <a:lnTo>
                      <a:pt x="393" y="18"/>
                    </a:lnTo>
                    <a:lnTo>
                      <a:pt x="393" y="18"/>
                    </a:lnTo>
                    <a:lnTo>
                      <a:pt x="388" y="18"/>
                    </a:lnTo>
                    <a:lnTo>
                      <a:pt x="388" y="18"/>
                    </a:lnTo>
                    <a:lnTo>
                      <a:pt x="388" y="18"/>
                    </a:lnTo>
                    <a:lnTo>
                      <a:pt x="388" y="18"/>
                    </a:lnTo>
                    <a:lnTo>
                      <a:pt x="393" y="23"/>
                    </a:lnTo>
                    <a:lnTo>
                      <a:pt x="393" y="23"/>
                    </a:lnTo>
                    <a:lnTo>
                      <a:pt x="397" y="23"/>
                    </a:lnTo>
                    <a:lnTo>
                      <a:pt x="402" y="27"/>
                    </a:lnTo>
                    <a:lnTo>
                      <a:pt x="406" y="27"/>
                    </a:lnTo>
                    <a:lnTo>
                      <a:pt x="411" y="32"/>
                    </a:lnTo>
                    <a:lnTo>
                      <a:pt x="415" y="32"/>
                    </a:lnTo>
                    <a:lnTo>
                      <a:pt x="415" y="32"/>
                    </a:lnTo>
                    <a:lnTo>
                      <a:pt x="420" y="36"/>
                    </a:lnTo>
                    <a:lnTo>
                      <a:pt x="424" y="41"/>
                    </a:lnTo>
                    <a:lnTo>
                      <a:pt x="429" y="45"/>
                    </a:lnTo>
                    <a:lnTo>
                      <a:pt x="438" y="50"/>
                    </a:lnTo>
                    <a:lnTo>
                      <a:pt x="442" y="54"/>
                    </a:lnTo>
                    <a:lnTo>
                      <a:pt x="447" y="59"/>
                    </a:lnTo>
                    <a:lnTo>
                      <a:pt x="456" y="68"/>
                    </a:lnTo>
                    <a:lnTo>
                      <a:pt x="456" y="68"/>
                    </a:lnTo>
                    <a:lnTo>
                      <a:pt x="461" y="72"/>
                    </a:lnTo>
                    <a:lnTo>
                      <a:pt x="465" y="77"/>
                    </a:lnTo>
                    <a:lnTo>
                      <a:pt x="470" y="77"/>
                    </a:lnTo>
                    <a:lnTo>
                      <a:pt x="470" y="77"/>
                    </a:lnTo>
                    <a:lnTo>
                      <a:pt x="470" y="77"/>
                    </a:lnTo>
                    <a:lnTo>
                      <a:pt x="470" y="77"/>
                    </a:lnTo>
                    <a:lnTo>
                      <a:pt x="470" y="77"/>
                    </a:lnTo>
                    <a:lnTo>
                      <a:pt x="470" y="77"/>
                    </a:lnTo>
                    <a:lnTo>
                      <a:pt x="470" y="77"/>
                    </a:lnTo>
                    <a:lnTo>
                      <a:pt x="470" y="77"/>
                    </a:lnTo>
                    <a:lnTo>
                      <a:pt x="474" y="77"/>
                    </a:lnTo>
                    <a:lnTo>
                      <a:pt x="474" y="72"/>
                    </a:lnTo>
                    <a:lnTo>
                      <a:pt x="470" y="72"/>
                    </a:lnTo>
                    <a:lnTo>
                      <a:pt x="470" y="72"/>
                    </a:lnTo>
                    <a:lnTo>
                      <a:pt x="470" y="72"/>
                    </a:lnTo>
                    <a:lnTo>
                      <a:pt x="470" y="72"/>
                    </a:lnTo>
                    <a:lnTo>
                      <a:pt x="474" y="68"/>
                    </a:lnTo>
                    <a:lnTo>
                      <a:pt x="474" y="68"/>
                    </a:lnTo>
                    <a:lnTo>
                      <a:pt x="474" y="68"/>
                    </a:lnTo>
                    <a:lnTo>
                      <a:pt x="474" y="68"/>
                    </a:lnTo>
                    <a:lnTo>
                      <a:pt x="474" y="68"/>
                    </a:lnTo>
                    <a:lnTo>
                      <a:pt x="474" y="68"/>
                    </a:lnTo>
                    <a:lnTo>
                      <a:pt x="479" y="68"/>
                    </a:lnTo>
                    <a:lnTo>
                      <a:pt x="479" y="72"/>
                    </a:lnTo>
                    <a:lnTo>
                      <a:pt x="479" y="72"/>
                    </a:lnTo>
                    <a:lnTo>
                      <a:pt x="479" y="72"/>
                    </a:lnTo>
                    <a:lnTo>
                      <a:pt x="483" y="72"/>
                    </a:lnTo>
                    <a:lnTo>
                      <a:pt x="483" y="72"/>
                    </a:lnTo>
                    <a:lnTo>
                      <a:pt x="483" y="72"/>
                    </a:lnTo>
                    <a:lnTo>
                      <a:pt x="483" y="72"/>
                    </a:lnTo>
                    <a:lnTo>
                      <a:pt x="483" y="77"/>
                    </a:lnTo>
                    <a:lnTo>
                      <a:pt x="483" y="72"/>
                    </a:lnTo>
                    <a:lnTo>
                      <a:pt x="488" y="72"/>
                    </a:lnTo>
                    <a:lnTo>
                      <a:pt x="488" y="77"/>
                    </a:lnTo>
                    <a:lnTo>
                      <a:pt x="488" y="77"/>
                    </a:lnTo>
                    <a:lnTo>
                      <a:pt x="488" y="77"/>
                    </a:lnTo>
                    <a:lnTo>
                      <a:pt x="488" y="77"/>
                    </a:lnTo>
                    <a:lnTo>
                      <a:pt x="488" y="77"/>
                    </a:lnTo>
                    <a:lnTo>
                      <a:pt x="492" y="77"/>
                    </a:lnTo>
                    <a:lnTo>
                      <a:pt x="492" y="77"/>
                    </a:lnTo>
                    <a:lnTo>
                      <a:pt x="497" y="77"/>
                    </a:lnTo>
                    <a:lnTo>
                      <a:pt x="497" y="77"/>
                    </a:lnTo>
                    <a:lnTo>
                      <a:pt x="501" y="77"/>
                    </a:lnTo>
                    <a:lnTo>
                      <a:pt x="501" y="77"/>
                    </a:lnTo>
                    <a:lnTo>
                      <a:pt x="506" y="77"/>
                    </a:lnTo>
                    <a:lnTo>
                      <a:pt x="506" y="77"/>
                    </a:lnTo>
                    <a:lnTo>
                      <a:pt x="506" y="77"/>
                    </a:lnTo>
                    <a:lnTo>
                      <a:pt x="506" y="77"/>
                    </a:lnTo>
                    <a:lnTo>
                      <a:pt x="506" y="77"/>
                    </a:lnTo>
                    <a:lnTo>
                      <a:pt x="510" y="72"/>
                    </a:lnTo>
                    <a:lnTo>
                      <a:pt x="510" y="72"/>
                    </a:lnTo>
                    <a:lnTo>
                      <a:pt x="510" y="72"/>
                    </a:lnTo>
                    <a:lnTo>
                      <a:pt x="510" y="72"/>
                    </a:lnTo>
                    <a:lnTo>
                      <a:pt x="510" y="72"/>
                    </a:lnTo>
                    <a:lnTo>
                      <a:pt x="515" y="72"/>
                    </a:lnTo>
                    <a:lnTo>
                      <a:pt x="519" y="72"/>
                    </a:lnTo>
                    <a:lnTo>
                      <a:pt x="519" y="72"/>
                    </a:lnTo>
                    <a:lnTo>
                      <a:pt x="524" y="77"/>
                    </a:lnTo>
                    <a:lnTo>
                      <a:pt x="524" y="77"/>
                    </a:lnTo>
                    <a:lnTo>
                      <a:pt x="524" y="77"/>
                    </a:lnTo>
                    <a:lnTo>
                      <a:pt x="528" y="81"/>
                    </a:lnTo>
                    <a:lnTo>
                      <a:pt x="528" y="81"/>
                    </a:lnTo>
                    <a:lnTo>
                      <a:pt x="528" y="81"/>
                    </a:lnTo>
                    <a:lnTo>
                      <a:pt x="533" y="86"/>
                    </a:lnTo>
                    <a:lnTo>
                      <a:pt x="533" y="86"/>
                    </a:lnTo>
                    <a:lnTo>
                      <a:pt x="537" y="86"/>
                    </a:lnTo>
                    <a:lnTo>
                      <a:pt x="537" y="86"/>
                    </a:lnTo>
                    <a:lnTo>
                      <a:pt x="537" y="86"/>
                    </a:lnTo>
                    <a:lnTo>
                      <a:pt x="542" y="90"/>
                    </a:lnTo>
                    <a:lnTo>
                      <a:pt x="546" y="90"/>
                    </a:lnTo>
                    <a:lnTo>
                      <a:pt x="546" y="90"/>
                    </a:lnTo>
                    <a:lnTo>
                      <a:pt x="546" y="90"/>
                    </a:lnTo>
                    <a:lnTo>
                      <a:pt x="546" y="90"/>
                    </a:lnTo>
                    <a:lnTo>
                      <a:pt x="546" y="90"/>
                    </a:lnTo>
                    <a:lnTo>
                      <a:pt x="551" y="95"/>
                    </a:lnTo>
                    <a:lnTo>
                      <a:pt x="551" y="95"/>
                    </a:lnTo>
                    <a:lnTo>
                      <a:pt x="551" y="95"/>
                    </a:lnTo>
                    <a:lnTo>
                      <a:pt x="551" y="95"/>
                    </a:lnTo>
                    <a:lnTo>
                      <a:pt x="555" y="99"/>
                    </a:lnTo>
                    <a:lnTo>
                      <a:pt x="555" y="95"/>
                    </a:lnTo>
                    <a:lnTo>
                      <a:pt x="555" y="95"/>
                    </a:lnTo>
                    <a:lnTo>
                      <a:pt x="564" y="99"/>
                    </a:lnTo>
                    <a:lnTo>
                      <a:pt x="564" y="99"/>
                    </a:lnTo>
                    <a:lnTo>
                      <a:pt x="564" y="99"/>
                    </a:lnTo>
                    <a:lnTo>
                      <a:pt x="564" y="99"/>
                    </a:lnTo>
                    <a:lnTo>
                      <a:pt x="564" y="99"/>
                    </a:lnTo>
                    <a:lnTo>
                      <a:pt x="569" y="99"/>
                    </a:lnTo>
                    <a:lnTo>
                      <a:pt x="569" y="99"/>
                    </a:lnTo>
                    <a:lnTo>
                      <a:pt x="569" y="95"/>
                    </a:lnTo>
                    <a:lnTo>
                      <a:pt x="569" y="95"/>
                    </a:lnTo>
                    <a:lnTo>
                      <a:pt x="569" y="95"/>
                    </a:lnTo>
                    <a:lnTo>
                      <a:pt x="569" y="95"/>
                    </a:lnTo>
                    <a:lnTo>
                      <a:pt x="574" y="95"/>
                    </a:lnTo>
                    <a:lnTo>
                      <a:pt x="574" y="95"/>
                    </a:lnTo>
                    <a:lnTo>
                      <a:pt x="574" y="95"/>
                    </a:lnTo>
                    <a:lnTo>
                      <a:pt x="574" y="95"/>
                    </a:lnTo>
                    <a:lnTo>
                      <a:pt x="574" y="95"/>
                    </a:lnTo>
                    <a:lnTo>
                      <a:pt x="574" y="95"/>
                    </a:lnTo>
                    <a:lnTo>
                      <a:pt x="574" y="95"/>
                    </a:lnTo>
                    <a:lnTo>
                      <a:pt x="578" y="99"/>
                    </a:lnTo>
                    <a:lnTo>
                      <a:pt x="578" y="99"/>
                    </a:lnTo>
                    <a:lnTo>
                      <a:pt x="583" y="104"/>
                    </a:lnTo>
                    <a:lnTo>
                      <a:pt x="583" y="104"/>
                    </a:lnTo>
                    <a:lnTo>
                      <a:pt x="583" y="104"/>
                    </a:lnTo>
                    <a:lnTo>
                      <a:pt x="587" y="104"/>
                    </a:lnTo>
                    <a:lnTo>
                      <a:pt x="587" y="104"/>
                    </a:lnTo>
                    <a:lnTo>
                      <a:pt x="587" y="104"/>
                    </a:lnTo>
                    <a:lnTo>
                      <a:pt x="587" y="104"/>
                    </a:lnTo>
                    <a:lnTo>
                      <a:pt x="583" y="104"/>
                    </a:lnTo>
                    <a:lnTo>
                      <a:pt x="583" y="104"/>
                    </a:lnTo>
                    <a:lnTo>
                      <a:pt x="583" y="104"/>
                    </a:lnTo>
                    <a:lnTo>
                      <a:pt x="583" y="109"/>
                    </a:lnTo>
                    <a:lnTo>
                      <a:pt x="583" y="109"/>
                    </a:lnTo>
                    <a:lnTo>
                      <a:pt x="583" y="109"/>
                    </a:lnTo>
                    <a:lnTo>
                      <a:pt x="583" y="109"/>
                    </a:lnTo>
                    <a:lnTo>
                      <a:pt x="583" y="113"/>
                    </a:lnTo>
                    <a:lnTo>
                      <a:pt x="583" y="113"/>
                    </a:lnTo>
                    <a:lnTo>
                      <a:pt x="583" y="118"/>
                    </a:lnTo>
                    <a:lnTo>
                      <a:pt x="583" y="118"/>
                    </a:lnTo>
                    <a:lnTo>
                      <a:pt x="578" y="118"/>
                    </a:lnTo>
                    <a:lnTo>
                      <a:pt x="578" y="118"/>
                    </a:lnTo>
                    <a:lnTo>
                      <a:pt x="578" y="118"/>
                    </a:lnTo>
                    <a:lnTo>
                      <a:pt x="574" y="118"/>
                    </a:lnTo>
                    <a:lnTo>
                      <a:pt x="574" y="122"/>
                    </a:lnTo>
                    <a:lnTo>
                      <a:pt x="574" y="122"/>
                    </a:lnTo>
                    <a:lnTo>
                      <a:pt x="574" y="122"/>
                    </a:lnTo>
                    <a:lnTo>
                      <a:pt x="574" y="122"/>
                    </a:lnTo>
                    <a:lnTo>
                      <a:pt x="574" y="127"/>
                    </a:lnTo>
                    <a:lnTo>
                      <a:pt x="574" y="131"/>
                    </a:lnTo>
                    <a:lnTo>
                      <a:pt x="574" y="131"/>
                    </a:lnTo>
                    <a:lnTo>
                      <a:pt x="578" y="136"/>
                    </a:lnTo>
                    <a:lnTo>
                      <a:pt x="578" y="136"/>
                    </a:lnTo>
                    <a:lnTo>
                      <a:pt x="578" y="140"/>
                    </a:lnTo>
                    <a:lnTo>
                      <a:pt x="578" y="140"/>
                    </a:lnTo>
                    <a:lnTo>
                      <a:pt x="583" y="140"/>
                    </a:lnTo>
                    <a:lnTo>
                      <a:pt x="578" y="145"/>
                    </a:lnTo>
                    <a:lnTo>
                      <a:pt x="578" y="145"/>
                    </a:lnTo>
                    <a:lnTo>
                      <a:pt x="578" y="145"/>
                    </a:lnTo>
                    <a:lnTo>
                      <a:pt x="578" y="145"/>
                    </a:lnTo>
                    <a:lnTo>
                      <a:pt x="578" y="145"/>
                    </a:lnTo>
                    <a:lnTo>
                      <a:pt x="574" y="149"/>
                    </a:lnTo>
                    <a:lnTo>
                      <a:pt x="574" y="149"/>
                    </a:lnTo>
                    <a:lnTo>
                      <a:pt x="574" y="149"/>
                    </a:lnTo>
                    <a:lnTo>
                      <a:pt x="574" y="149"/>
                    </a:lnTo>
                    <a:lnTo>
                      <a:pt x="569" y="149"/>
                    </a:lnTo>
                    <a:lnTo>
                      <a:pt x="569" y="149"/>
                    </a:lnTo>
                    <a:lnTo>
                      <a:pt x="569" y="149"/>
                    </a:lnTo>
                    <a:lnTo>
                      <a:pt x="569" y="149"/>
                    </a:lnTo>
                    <a:lnTo>
                      <a:pt x="564" y="149"/>
                    </a:lnTo>
                    <a:lnTo>
                      <a:pt x="564" y="149"/>
                    </a:lnTo>
                    <a:lnTo>
                      <a:pt x="560" y="149"/>
                    </a:lnTo>
                    <a:lnTo>
                      <a:pt x="560" y="149"/>
                    </a:lnTo>
                    <a:lnTo>
                      <a:pt x="560" y="149"/>
                    </a:lnTo>
                    <a:lnTo>
                      <a:pt x="555" y="149"/>
                    </a:lnTo>
                    <a:lnTo>
                      <a:pt x="555" y="149"/>
                    </a:lnTo>
                    <a:lnTo>
                      <a:pt x="551" y="149"/>
                    </a:lnTo>
                    <a:lnTo>
                      <a:pt x="551" y="145"/>
                    </a:lnTo>
                    <a:lnTo>
                      <a:pt x="546" y="145"/>
                    </a:lnTo>
                    <a:lnTo>
                      <a:pt x="542" y="145"/>
                    </a:lnTo>
                    <a:lnTo>
                      <a:pt x="542" y="145"/>
                    </a:lnTo>
                    <a:lnTo>
                      <a:pt x="542" y="145"/>
                    </a:lnTo>
                    <a:lnTo>
                      <a:pt x="542" y="149"/>
                    </a:lnTo>
                    <a:lnTo>
                      <a:pt x="542" y="149"/>
                    </a:lnTo>
                    <a:lnTo>
                      <a:pt x="546" y="154"/>
                    </a:lnTo>
                    <a:lnTo>
                      <a:pt x="546" y="158"/>
                    </a:lnTo>
                    <a:lnTo>
                      <a:pt x="546" y="163"/>
                    </a:lnTo>
                    <a:lnTo>
                      <a:pt x="546" y="167"/>
                    </a:lnTo>
                    <a:lnTo>
                      <a:pt x="546" y="172"/>
                    </a:lnTo>
                    <a:lnTo>
                      <a:pt x="546" y="172"/>
                    </a:lnTo>
                    <a:lnTo>
                      <a:pt x="546" y="176"/>
                    </a:lnTo>
                    <a:lnTo>
                      <a:pt x="546" y="176"/>
                    </a:lnTo>
                    <a:lnTo>
                      <a:pt x="546" y="176"/>
                    </a:lnTo>
                    <a:lnTo>
                      <a:pt x="546" y="176"/>
                    </a:lnTo>
                    <a:lnTo>
                      <a:pt x="551" y="176"/>
                    </a:lnTo>
                    <a:lnTo>
                      <a:pt x="551" y="176"/>
                    </a:lnTo>
                    <a:lnTo>
                      <a:pt x="551" y="181"/>
                    </a:lnTo>
                    <a:lnTo>
                      <a:pt x="551" y="181"/>
                    </a:lnTo>
                    <a:lnTo>
                      <a:pt x="551" y="181"/>
                    </a:lnTo>
                    <a:lnTo>
                      <a:pt x="551" y="185"/>
                    </a:lnTo>
                    <a:lnTo>
                      <a:pt x="551" y="185"/>
                    </a:lnTo>
                    <a:lnTo>
                      <a:pt x="551" y="185"/>
                    </a:lnTo>
                    <a:lnTo>
                      <a:pt x="551" y="185"/>
                    </a:lnTo>
                    <a:lnTo>
                      <a:pt x="551" y="181"/>
                    </a:lnTo>
                    <a:lnTo>
                      <a:pt x="546" y="181"/>
                    </a:lnTo>
                    <a:lnTo>
                      <a:pt x="546" y="185"/>
                    </a:lnTo>
                    <a:lnTo>
                      <a:pt x="542" y="185"/>
                    </a:lnTo>
                    <a:lnTo>
                      <a:pt x="542" y="185"/>
                    </a:lnTo>
                    <a:lnTo>
                      <a:pt x="542" y="185"/>
                    </a:lnTo>
                    <a:lnTo>
                      <a:pt x="542" y="181"/>
                    </a:lnTo>
                    <a:lnTo>
                      <a:pt x="537" y="181"/>
                    </a:lnTo>
                    <a:lnTo>
                      <a:pt x="537" y="181"/>
                    </a:lnTo>
                    <a:lnTo>
                      <a:pt x="537" y="181"/>
                    </a:lnTo>
                    <a:lnTo>
                      <a:pt x="533" y="181"/>
                    </a:lnTo>
                    <a:lnTo>
                      <a:pt x="528" y="185"/>
                    </a:lnTo>
                    <a:lnTo>
                      <a:pt x="528" y="185"/>
                    </a:lnTo>
                    <a:lnTo>
                      <a:pt x="528" y="185"/>
                    </a:lnTo>
                    <a:lnTo>
                      <a:pt x="524" y="185"/>
                    </a:lnTo>
                    <a:lnTo>
                      <a:pt x="524" y="185"/>
                    </a:lnTo>
                    <a:lnTo>
                      <a:pt x="519" y="185"/>
                    </a:lnTo>
                    <a:lnTo>
                      <a:pt x="519" y="185"/>
                    </a:lnTo>
                    <a:lnTo>
                      <a:pt x="515" y="190"/>
                    </a:lnTo>
                    <a:lnTo>
                      <a:pt x="515" y="190"/>
                    </a:lnTo>
                    <a:lnTo>
                      <a:pt x="515" y="190"/>
                    </a:lnTo>
                    <a:lnTo>
                      <a:pt x="515" y="190"/>
                    </a:lnTo>
                    <a:lnTo>
                      <a:pt x="515" y="190"/>
                    </a:lnTo>
                    <a:lnTo>
                      <a:pt x="519" y="194"/>
                    </a:lnTo>
                    <a:lnTo>
                      <a:pt x="519" y="190"/>
                    </a:lnTo>
                    <a:lnTo>
                      <a:pt x="519" y="190"/>
                    </a:lnTo>
                    <a:lnTo>
                      <a:pt x="524" y="194"/>
                    </a:lnTo>
                    <a:lnTo>
                      <a:pt x="524" y="194"/>
                    </a:lnTo>
                    <a:lnTo>
                      <a:pt x="524" y="194"/>
                    </a:lnTo>
                    <a:lnTo>
                      <a:pt x="524" y="194"/>
                    </a:lnTo>
                    <a:lnTo>
                      <a:pt x="524" y="194"/>
                    </a:lnTo>
                    <a:lnTo>
                      <a:pt x="524" y="194"/>
                    </a:lnTo>
                    <a:lnTo>
                      <a:pt x="524" y="194"/>
                    </a:lnTo>
                    <a:lnTo>
                      <a:pt x="524" y="194"/>
                    </a:lnTo>
                    <a:lnTo>
                      <a:pt x="524" y="199"/>
                    </a:lnTo>
                    <a:lnTo>
                      <a:pt x="528" y="199"/>
                    </a:lnTo>
                    <a:lnTo>
                      <a:pt x="528" y="203"/>
                    </a:lnTo>
                    <a:lnTo>
                      <a:pt x="528" y="203"/>
                    </a:lnTo>
                    <a:lnTo>
                      <a:pt x="528" y="203"/>
                    </a:lnTo>
                    <a:lnTo>
                      <a:pt x="528" y="208"/>
                    </a:lnTo>
                    <a:lnTo>
                      <a:pt x="528" y="208"/>
                    </a:lnTo>
                    <a:lnTo>
                      <a:pt x="533" y="208"/>
                    </a:lnTo>
                    <a:lnTo>
                      <a:pt x="533" y="213"/>
                    </a:lnTo>
                    <a:lnTo>
                      <a:pt x="537" y="217"/>
                    </a:lnTo>
                    <a:lnTo>
                      <a:pt x="537" y="217"/>
                    </a:lnTo>
                    <a:lnTo>
                      <a:pt x="537" y="217"/>
                    </a:lnTo>
                    <a:lnTo>
                      <a:pt x="537" y="222"/>
                    </a:lnTo>
                    <a:lnTo>
                      <a:pt x="542" y="222"/>
                    </a:lnTo>
                    <a:lnTo>
                      <a:pt x="542" y="222"/>
                    </a:lnTo>
                    <a:lnTo>
                      <a:pt x="542" y="222"/>
                    </a:lnTo>
                    <a:lnTo>
                      <a:pt x="542" y="222"/>
                    </a:lnTo>
                    <a:lnTo>
                      <a:pt x="542" y="226"/>
                    </a:lnTo>
                    <a:lnTo>
                      <a:pt x="537" y="222"/>
                    </a:lnTo>
                    <a:lnTo>
                      <a:pt x="537" y="226"/>
                    </a:lnTo>
                    <a:lnTo>
                      <a:pt x="537" y="226"/>
                    </a:lnTo>
                    <a:lnTo>
                      <a:pt x="537" y="226"/>
                    </a:lnTo>
                    <a:lnTo>
                      <a:pt x="537" y="226"/>
                    </a:lnTo>
                    <a:lnTo>
                      <a:pt x="537" y="226"/>
                    </a:lnTo>
                    <a:lnTo>
                      <a:pt x="537" y="226"/>
                    </a:lnTo>
                    <a:lnTo>
                      <a:pt x="542" y="226"/>
                    </a:lnTo>
                    <a:lnTo>
                      <a:pt x="542" y="231"/>
                    </a:lnTo>
                    <a:lnTo>
                      <a:pt x="537" y="231"/>
                    </a:lnTo>
                    <a:lnTo>
                      <a:pt x="537" y="231"/>
                    </a:lnTo>
                    <a:lnTo>
                      <a:pt x="537" y="231"/>
                    </a:lnTo>
                    <a:lnTo>
                      <a:pt x="537" y="231"/>
                    </a:lnTo>
                    <a:lnTo>
                      <a:pt x="537" y="235"/>
                    </a:lnTo>
                    <a:lnTo>
                      <a:pt x="537" y="235"/>
                    </a:lnTo>
                    <a:lnTo>
                      <a:pt x="537" y="240"/>
                    </a:lnTo>
                    <a:lnTo>
                      <a:pt x="542" y="240"/>
                    </a:lnTo>
                    <a:lnTo>
                      <a:pt x="542" y="240"/>
                    </a:lnTo>
                    <a:lnTo>
                      <a:pt x="542" y="240"/>
                    </a:lnTo>
                    <a:lnTo>
                      <a:pt x="542" y="240"/>
                    </a:lnTo>
                    <a:lnTo>
                      <a:pt x="537" y="240"/>
                    </a:lnTo>
                    <a:lnTo>
                      <a:pt x="533" y="240"/>
                    </a:lnTo>
                    <a:lnTo>
                      <a:pt x="533" y="235"/>
                    </a:lnTo>
                    <a:lnTo>
                      <a:pt x="528" y="235"/>
                    </a:lnTo>
                    <a:lnTo>
                      <a:pt x="528" y="235"/>
                    </a:lnTo>
                    <a:lnTo>
                      <a:pt x="524" y="235"/>
                    </a:lnTo>
                    <a:lnTo>
                      <a:pt x="524" y="235"/>
                    </a:lnTo>
                    <a:lnTo>
                      <a:pt x="524" y="235"/>
                    </a:lnTo>
                    <a:lnTo>
                      <a:pt x="519" y="235"/>
                    </a:lnTo>
                    <a:lnTo>
                      <a:pt x="519" y="231"/>
                    </a:lnTo>
                    <a:lnTo>
                      <a:pt x="519" y="231"/>
                    </a:lnTo>
                    <a:lnTo>
                      <a:pt x="519" y="231"/>
                    </a:lnTo>
                    <a:lnTo>
                      <a:pt x="515" y="231"/>
                    </a:lnTo>
                    <a:lnTo>
                      <a:pt x="515" y="231"/>
                    </a:lnTo>
                    <a:lnTo>
                      <a:pt x="515" y="231"/>
                    </a:lnTo>
                    <a:lnTo>
                      <a:pt x="510" y="231"/>
                    </a:lnTo>
                    <a:lnTo>
                      <a:pt x="510" y="231"/>
                    </a:lnTo>
                    <a:lnTo>
                      <a:pt x="506" y="231"/>
                    </a:lnTo>
                    <a:lnTo>
                      <a:pt x="506" y="231"/>
                    </a:lnTo>
                    <a:lnTo>
                      <a:pt x="501" y="231"/>
                    </a:lnTo>
                    <a:lnTo>
                      <a:pt x="497" y="231"/>
                    </a:lnTo>
                    <a:lnTo>
                      <a:pt x="497" y="231"/>
                    </a:lnTo>
                    <a:lnTo>
                      <a:pt x="492" y="231"/>
                    </a:lnTo>
                    <a:lnTo>
                      <a:pt x="492" y="231"/>
                    </a:lnTo>
                    <a:lnTo>
                      <a:pt x="492" y="231"/>
                    </a:lnTo>
                    <a:lnTo>
                      <a:pt x="488" y="231"/>
                    </a:lnTo>
                    <a:lnTo>
                      <a:pt x="488" y="231"/>
                    </a:lnTo>
                    <a:lnTo>
                      <a:pt x="488" y="231"/>
                    </a:lnTo>
                    <a:lnTo>
                      <a:pt x="483" y="231"/>
                    </a:lnTo>
                    <a:lnTo>
                      <a:pt x="479" y="231"/>
                    </a:lnTo>
                    <a:lnTo>
                      <a:pt x="479" y="231"/>
                    </a:lnTo>
                    <a:lnTo>
                      <a:pt x="474" y="231"/>
                    </a:lnTo>
                    <a:lnTo>
                      <a:pt x="470" y="231"/>
                    </a:lnTo>
                    <a:lnTo>
                      <a:pt x="470" y="231"/>
                    </a:lnTo>
                    <a:lnTo>
                      <a:pt x="470" y="231"/>
                    </a:lnTo>
                    <a:lnTo>
                      <a:pt x="465" y="231"/>
                    </a:lnTo>
                    <a:lnTo>
                      <a:pt x="465" y="231"/>
                    </a:lnTo>
                    <a:lnTo>
                      <a:pt x="461" y="231"/>
                    </a:lnTo>
                    <a:lnTo>
                      <a:pt x="456" y="231"/>
                    </a:lnTo>
                    <a:lnTo>
                      <a:pt x="452" y="231"/>
                    </a:lnTo>
                    <a:lnTo>
                      <a:pt x="447" y="231"/>
                    </a:lnTo>
                    <a:lnTo>
                      <a:pt x="442" y="226"/>
                    </a:lnTo>
                    <a:lnTo>
                      <a:pt x="442" y="226"/>
                    </a:lnTo>
                    <a:lnTo>
                      <a:pt x="442" y="226"/>
                    </a:lnTo>
                    <a:lnTo>
                      <a:pt x="442" y="226"/>
                    </a:lnTo>
                    <a:lnTo>
                      <a:pt x="438" y="226"/>
                    </a:lnTo>
                    <a:lnTo>
                      <a:pt x="438" y="226"/>
                    </a:lnTo>
                    <a:lnTo>
                      <a:pt x="438" y="226"/>
                    </a:lnTo>
                    <a:lnTo>
                      <a:pt x="433" y="231"/>
                    </a:lnTo>
                    <a:lnTo>
                      <a:pt x="433" y="231"/>
                    </a:lnTo>
                    <a:lnTo>
                      <a:pt x="433" y="231"/>
                    </a:lnTo>
                    <a:lnTo>
                      <a:pt x="433" y="235"/>
                    </a:lnTo>
                    <a:lnTo>
                      <a:pt x="433" y="240"/>
                    </a:lnTo>
                    <a:lnTo>
                      <a:pt x="438" y="240"/>
                    </a:lnTo>
                    <a:lnTo>
                      <a:pt x="433" y="240"/>
                    </a:lnTo>
                    <a:lnTo>
                      <a:pt x="433" y="240"/>
                    </a:lnTo>
                    <a:lnTo>
                      <a:pt x="433" y="240"/>
                    </a:lnTo>
                    <a:lnTo>
                      <a:pt x="429" y="240"/>
                    </a:lnTo>
                    <a:lnTo>
                      <a:pt x="424" y="240"/>
                    </a:lnTo>
                    <a:lnTo>
                      <a:pt x="424" y="240"/>
                    </a:lnTo>
                    <a:lnTo>
                      <a:pt x="424" y="240"/>
                    </a:lnTo>
                    <a:lnTo>
                      <a:pt x="420" y="235"/>
                    </a:lnTo>
                    <a:lnTo>
                      <a:pt x="420" y="235"/>
                    </a:lnTo>
                    <a:lnTo>
                      <a:pt x="415" y="235"/>
                    </a:lnTo>
                    <a:lnTo>
                      <a:pt x="415" y="235"/>
                    </a:lnTo>
                    <a:lnTo>
                      <a:pt x="406" y="235"/>
                    </a:lnTo>
                    <a:lnTo>
                      <a:pt x="406" y="235"/>
                    </a:lnTo>
                    <a:lnTo>
                      <a:pt x="406" y="235"/>
                    </a:lnTo>
                    <a:lnTo>
                      <a:pt x="406" y="235"/>
                    </a:lnTo>
                    <a:lnTo>
                      <a:pt x="402" y="235"/>
                    </a:lnTo>
                    <a:lnTo>
                      <a:pt x="402" y="235"/>
                    </a:lnTo>
                    <a:lnTo>
                      <a:pt x="402" y="235"/>
                    </a:lnTo>
                    <a:lnTo>
                      <a:pt x="397" y="240"/>
                    </a:lnTo>
                    <a:lnTo>
                      <a:pt x="397" y="240"/>
                    </a:lnTo>
                    <a:lnTo>
                      <a:pt x="397" y="240"/>
                    </a:lnTo>
                    <a:lnTo>
                      <a:pt x="397" y="244"/>
                    </a:lnTo>
                    <a:lnTo>
                      <a:pt x="397" y="244"/>
                    </a:lnTo>
                    <a:lnTo>
                      <a:pt x="397" y="244"/>
                    </a:lnTo>
                    <a:lnTo>
                      <a:pt x="397" y="244"/>
                    </a:lnTo>
                    <a:lnTo>
                      <a:pt x="397" y="244"/>
                    </a:lnTo>
                    <a:lnTo>
                      <a:pt x="397" y="249"/>
                    </a:lnTo>
                    <a:lnTo>
                      <a:pt x="397" y="249"/>
                    </a:lnTo>
                    <a:lnTo>
                      <a:pt x="397" y="249"/>
                    </a:lnTo>
                    <a:lnTo>
                      <a:pt x="393" y="249"/>
                    </a:lnTo>
                    <a:lnTo>
                      <a:pt x="393" y="249"/>
                    </a:lnTo>
                    <a:lnTo>
                      <a:pt x="393" y="249"/>
                    </a:lnTo>
                    <a:lnTo>
                      <a:pt x="393" y="249"/>
                    </a:lnTo>
                    <a:lnTo>
                      <a:pt x="393" y="249"/>
                    </a:lnTo>
                    <a:lnTo>
                      <a:pt x="393" y="249"/>
                    </a:lnTo>
                    <a:lnTo>
                      <a:pt x="388" y="249"/>
                    </a:lnTo>
                    <a:lnTo>
                      <a:pt x="388" y="253"/>
                    </a:lnTo>
                    <a:lnTo>
                      <a:pt x="388" y="253"/>
                    </a:lnTo>
                    <a:lnTo>
                      <a:pt x="388" y="258"/>
                    </a:lnTo>
                    <a:lnTo>
                      <a:pt x="384" y="258"/>
                    </a:lnTo>
                    <a:lnTo>
                      <a:pt x="384" y="258"/>
                    </a:lnTo>
                    <a:lnTo>
                      <a:pt x="379" y="258"/>
                    </a:lnTo>
                    <a:lnTo>
                      <a:pt x="379" y="262"/>
                    </a:lnTo>
                    <a:lnTo>
                      <a:pt x="379" y="262"/>
                    </a:lnTo>
                    <a:lnTo>
                      <a:pt x="379" y="262"/>
                    </a:lnTo>
                    <a:lnTo>
                      <a:pt x="375" y="262"/>
                    </a:lnTo>
                    <a:lnTo>
                      <a:pt x="375" y="262"/>
                    </a:lnTo>
                    <a:lnTo>
                      <a:pt x="375" y="267"/>
                    </a:lnTo>
                    <a:lnTo>
                      <a:pt x="375" y="267"/>
                    </a:lnTo>
                    <a:lnTo>
                      <a:pt x="375" y="267"/>
                    </a:lnTo>
                    <a:lnTo>
                      <a:pt x="370" y="271"/>
                    </a:lnTo>
                    <a:lnTo>
                      <a:pt x="370" y="271"/>
                    </a:lnTo>
                    <a:lnTo>
                      <a:pt x="370" y="271"/>
                    </a:lnTo>
                    <a:lnTo>
                      <a:pt x="370" y="276"/>
                    </a:lnTo>
                    <a:lnTo>
                      <a:pt x="370" y="276"/>
                    </a:lnTo>
                    <a:lnTo>
                      <a:pt x="370" y="276"/>
                    </a:lnTo>
                    <a:lnTo>
                      <a:pt x="370" y="276"/>
                    </a:lnTo>
                    <a:lnTo>
                      <a:pt x="370" y="280"/>
                    </a:lnTo>
                    <a:lnTo>
                      <a:pt x="370" y="280"/>
                    </a:lnTo>
                    <a:lnTo>
                      <a:pt x="370" y="280"/>
                    </a:lnTo>
                    <a:lnTo>
                      <a:pt x="366" y="276"/>
                    </a:lnTo>
                    <a:lnTo>
                      <a:pt x="366" y="276"/>
                    </a:lnTo>
                    <a:lnTo>
                      <a:pt x="366" y="276"/>
                    </a:lnTo>
                    <a:lnTo>
                      <a:pt x="361" y="276"/>
                    </a:lnTo>
                    <a:lnTo>
                      <a:pt x="361" y="276"/>
                    </a:lnTo>
                    <a:lnTo>
                      <a:pt x="361" y="271"/>
                    </a:lnTo>
                    <a:lnTo>
                      <a:pt x="361" y="271"/>
                    </a:lnTo>
                    <a:lnTo>
                      <a:pt x="361" y="271"/>
                    </a:lnTo>
                    <a:lnTo>
                      <a:pt x="361" y="271"/>
                    </a:lnTo>
                    <a:lnTo>
                      <a:pt x="361" y="267"/>
                    </a:lnTo>
                    <a:lnTo>
                      <a:pt x="357" y="267"/>
                    </a:lnTo>
                    <a:lnTo>
                      <a:pt x="357" y="267"/>
                    </a:lnTo>
                    <a:lnTo>
                      <a:pt x="357" y="267"/>
                    </a:lnTo>
                    <a:lnTo>
                      <a:pt x="357" y="267"/>
                    </a:lnTo>
                    <a:lnTo>
                      <a:pt x="352" y="267"/>
                    </a:lnTo>
                    <a:lnTo>
                      <a:pt x="352" y="267"/>
                    </a:lnTo>
                    <a:lnTo>
                      <a:pt x="348" y="267"/>
                    </a:lnTo>
                    <a:lnTo>
                      <a:pt x="343" y="267"/>
                    </a:lnTo>
                    <a:lnTo>
                      <a:pt x="343" y="271"/>
                    </a:lnTo>
                    <a:lnTo>
                      <a:pt x="339" y="267"/>
                    </a:lnTo>
                    <a:lnTo>
                      <a:pt x="339" y="267"/>
                    </a:lnTo>
                    <a:lnTo>
                      <a:pt x="339" y="267"/>
                    </a:lnTo>
                    <a:lnTo>
                      <a:pt x="339" y="267"/>
                    </a:lnTo>
                    <a:lnTo>
                      <a:pt x="334" y="262"/>
                    </a:lnTo>
                    <a:lnTo>
                      <a:pt x="334" y="262"/>
                    </a:lnTo>
                    <a:lnTo>
                      <a:pt x="334" y="258"/>
                    </a:lnTo>
                    <a:lnTo>
                      <a:pt x="334" y="253"/>
                    </a:lnTo>
                    <a:lnTo>
                      <a:pt x="334" y="253"/>
                    </a:lnTo>
                    <a:lnTo>
                      <a:pt x="330" y="253"/>
                    </a:lnTo>
                    <a:lnTo>
                      <a:pt x="325" y="253"/>
                    </a:lnTo>
                    <a:lnTo>
                      <a:pt x="325" y="253"/>
                    </a:lnTo>
                    <a:lnTo>
                      <a:pt x="325" y="253"/>
                    </a:lnTo>
                    <a:lnTo>
                      <a:pt x="325" y="249"/>
                    </a:lnTo>
                    <a:lnTo>
                      <a:pt x="321" y="249"/>
                    </a:lnTo>
                    <a:lnTo>
                      <a:pt x="321" y="244"/>
                    </a:lnTo>
                    <a:lnTo>
                      <a:pt x="321" y="240"/>
                    </a:lnTo>
                    <a:lnTo>
                      <a:pt x="321" y="240"/>
                    </a:lnTo>
                    <a:lnTo>
                      <a:pt x="321" y="235"/>
                    </a:lnTo>
                    <a:lnTo>
                      <a:pt x="321" y="235"/>
                    </a:lnTo>
                    <a:lnTo>
                      <a:pt x="321" y="235"/>
                    </a:lnTo>
                    <a:lnTo>
                      <a:pt x="316" y="235"/>
                    </a:lnTo>
                    <a:lnTo>
                      <a:pt x="316" y="235"/>
                    </a:lnTo>
                    <a:lnTo>
                      <a:pt x="316" y="235"/>
                    </a:lnTo>
                    <a:lnTo>
                      <a:pt x="311" y="235"/>
                    </a:lnTo>
                    <a:lnTo>
                      <a:pt x="311" y="231"/>
                    </a:lnTo>
                    <a:lnTo>
                      <a:pt x="307" y="231"/>
                    </a:lnTo>
                    <a:lnTo>
                      <a:pt x="307" y="226"/>
                    </a:lnTo>
                    <a:lnTo>
                      <a:pt x="307" y="226"/>
                    </a:lnTo>
                    <a:lnTo>
                      <a:pt x="302" y="226"/>
                    </a:lnTo>
                    <a:lnTo>
                      <a:pt x="302" y="226"/>
                    </a:lnTo>
                    <a:lnTo>
                      <a:pt x="298" y="222"/>
                    </a:lnTo>
                    <a:lnTo>
                      <a:pt x="298" y="222"/>
                    </a:lnTo>
                    <a:lnTo>
                      <a:pt x="298" y="222"/>
                    </a:lnTo>
                    <a:lnTo>
                      <a:pt x="293" y="222"/>
                    </a:lnTo>
                    <a:lnTo>
                      <a:pt x="293" y="222"/>
                    </a:lnTo>
                    <a:lnTo>
                      <a:pt x="293" y="226"/>
                    </a:lnTo>
                    <a:lnTo>
                      <a:pt x="293" y="226"/>
                    </a:lnTo>
                    <a:lnTo>
                      <a:pt x="289" y="226"/>
                    </a:lnTo>
                    <a:lnTo>
                      <a:pt x="289" y="226"/>
                    </a:lnTo>
                    <a:lnTo>
                      <a:pt x="284" y="226"/>
                    </a:lnTo>
                    <a:lnTo>
                      <a:pt x="284" y="226"/>
                    </a:lnTo>
                    <a:lnTo>
                      <a:pt x="280" y="226"/>
                    </a:lnTo>
                    <a:lnTo>
                      <a:pt x="275" y="226"/>
                    </a:lnTo>
                    <a:lnTo>
                      <a:pt x="271" y="226"/>
                    </a:lnTo>
                    <a:lnTo>
                      <a:pt x="271" y="226"/>
                    </a:lnTo>
                    <a:lnTo>
                      <a:pt x="266" y="226"/>
                    </a:lnTo>
                    <a:lnTo>
                      <a:pt x="266" y="226"/>
                    </a:lnTo>
                    <a:lnTo>
                      <a:pt x="262" y="226"/>
                    </a:lnTo>
                    <a:lnTo>
                      <a:pt x="257" y="226"/>
                    </a:lnTo>
                    <a:lnTo>
                      <a:pt x="257" y="226"/>
                    </a:lnTo>
                    <a:lnTo>
                      <a:pt x="253" y="226"/>
                    </a:lnTo>
                    <a:lnTo>
                      <a:pt x="253" y="226"/>
                    </a:lnTo>
                    <a:lnTo>
                      <a:pt x="248" y="222"/>
                    </a:lnTo>
                    <a:lnTo>
                      <a:pt x="248" y="222"/>
                    </a:lnTo>
                    <a:lnTo>
                      <a:pt x="244" y="222"/>
                    </a:lnTo>
                    <a:lnTo>
                      <a:pt x="244" y="217"/>
                    </a:lnTo>
                    <a:lnTo>
                      <a:pt x="239" y="217"/>
                    </a:lnTo>
                    <a:lnTo>
                      <a:pt x="239" y="213"/>
                    </a:lnTo>
                    <a:lnTo>
                      <a:pt x="239" y="213"/>
                    </a:lnTo>
                    <a:lnTo>
                      <a:pt x="235" y="213"/>
                    </a:lnTo>
                    <a:lnTo>
                      <a:pt x="235" y="213"/>
                    </a:lnTo>
                    <a:lnTo>
                      <a:pt x="235" y="208"/>
                    </a:lnTo>
                    <a:lnTo>
                      <a:pt x="230" y="208"/>
                    </a:lnTo>
                    <a:lnTo>
                      <a:pt x="226" y="208"/>
                    </a:lnTo>
                    <a:lnTo>
                      <a:pt x="226" y="208"/>
                    </a:lnTo>
                    <a:lnTo>
                      <a:pt x="221" y="203"/>
                    </a:lnTo>
                    <a:lnTo>
                      <a:pt x="221" y="203"/>
                    </a:lnTo>
                    <a:lnTo>
                      <a:pt x="217" y="203"/>
                    </a:lnTo>
                    <a:lnTo>
                      <a:pt x="217" y="199"/>
                    </a:lnTo>
                    <a:lnTo>
                      <a:pt x="212" y="199"/>
                    </a:lnTo>
                    <a:lnTo>
                      <a:pt x="212" y="199"/>
                    </a:lnTo>
                    <a:lnTo>
                      <a:pt x="208" y="199"/>
                    </a:lnTo>
                    <a:lnTo>
                      <a:pt x="208" y="194"/>
                    </a:lnTo>
                    <a:lnTo>
                      <a:pt x="203" y="194"/>
                    </a:lnTo>
                    <a:lnTo>
                      <a:pt x="203" y="194"/>
                    </a:lnTo>
                    <a:lnTo>
                      <a:pt x="199" y="194"/>
                    </a:lnTo>
                    <a:lnTo>
                      <a:pt x="194" y="190"/>
                    </a:lnTo>
                    <a:lnTo>
                      <a:pt x="194" y="190"/>
                    </a:lnTo>
                    <a:lnTo>
                      <a:pt x="194" y="190"/>
                    </a:lnTo>
                    <a:lnTo>
                      <a:pt x="190" y="190"/>
                    </a:lnTo>
                    <a:lnTo>
                      <a:pt x="190" y="190"/>
                    </a:lnTo>
                    <a:lnTo>
                      <a:pt x="185" y="190"/>
                    </a:lnTo>
                    <a:lnTo>
                      <a:pt x="185" y="190"/>
                    </a:lnTo>
                    <a:lnTo>
                      <a:pt x="180" y="194"/>
                    </a:lnTo>
                    <a:lnTo>
                      <a:pt x="176" y="194"/>
                    </a:lnTo>
                    <a:lnTo>
                      <a:pt x="176" y="194"/>
                    </a:lnTo>
                    <a:lnTo>
                      <a:pt x="171" y="194"/>
                    </a:lnTo>
                    <a:lnTo>
                      <a:pt x="171" y="194"/>
                    </a:lnTo>
                    <a:lnTo>
                      <a:pt x="167" y="199"/>
                    </a:lnTo>
                    <a:lnTo>
                      <a:pt x="162" y="199"/>
                    </a:lnTo>
                    <a:lnTo>
                      <a:pt x="162" y="199"/>
                    </a:lnTo>
                    <a:lnTo>
                      <a:pt x="158" y="199"/>
                    </a:lnTo>
                    <a:lnTo>
                      <a:pt x="158" y="199"/>
                    </a:lnTo>
                    <a:lnTo>
                      <a:pt x="158" y="203"/>
                    </a:lnTo>
                    <a:lnTo>
                      <a:pt x="158" y="203"/>
                    </a:lnTo>
                    <a:lnTo>
                      <a:pt x="158" y="208"/>
                    </a:lnTo>
                    <a:lnTo>
                      <a:pt x="158" y="213"/>
                    </a:lnTo>
                    <a:lnTo>
                      <a:pt x="162" y="217"/>
                    </a:lnTo>
                    <a:lnTo>
                      <a:pt x="162" y="222"/>
                    </a:lnTo>
                    <a:lnTo>
                      <a:pt x="162" y="226"/>
                    </a:lnTo>
                    <a:lnTo>
                      <a:pt x="162" y="231"/>
                    </a:lnTo>
                    <a:lnTo>
                      <a:pt x="167" y="235"/>
                    </a:lnTo>
                    <a:lnTo>
                      <a:pt x="167" y="240"/>
                    </a:lnTo>
                    <a:lnTo>
                      <a:pt x="167" y="244"/>
                    </a:lnTo>
                    <a:lnTo>
                      <a:pt x="167" y="249"/>
                    </a:lnTo>
                    <a:lnTo>
                      <a:pt x="167" y="253"/>
                    </a:lnTo>
                    <a:lnTo>
                      <a:pt x="171" y="258"/>
                    </a:lnTo>
                    <a:lnTo>
                      <a:pt x="171" y="262"/>
                    </a:lnTo>
                    <a:lnTo>
                      <a:pt x="171" y="267"/>
                    </a:lnTo>
                    <a:lnTo>
                      <a:pt x="171" y="271"/>
                    </a:lnTo>
                    <a:lnTo>
                      <a:pt x="171" y="271"/>
                    </a:lnTo>
                    <a:lnTo>
                      <a:pt x="171" y="271"/>
                    </a:lnTo>
                    <a:lnTo>
                      <a:pt x="167" y="271"/>
                    </a:lnTo>
                    <a:lnTo>
                      <a:pt x="167" y="271"/>
                    </a:lnTo>
                    <a:lnTo>
                      <a:pt x="167" y="271"/>
                    </a:lnTo>
                    <a:lnTo>
                      <a:pt x="167" y="271"/>
                    </a:lnTo>
                    <a:lnTo>
                      <a:pt x="162" y="271"/>
                    </a:lnTo>
                    <a:lnTo>
                      <a:pt x="162" y="271"/>
                    </a:lnTo>
                    <a:lnTo>
                      <a:pt x="162" y="267"/>
                    </a:lnTo>
                    <a:lnTo>
                      <a:pt x="158" y="267"/>
                    </a:lnTo>
                    <a:lnTo>
                      <a:pt x="158" y="267"/>
                    </a:lnTo>
                    <a:lnTo>
                      <a:pt x="153" y="262"/>
                    </a:lnTo>
                    <a:lnTo>
                      <a:pt x="153" y="262"/>
                    </a:lnTo>
                    <a:lnTo>
                      <a:pt x="153" y="258"/>
                    </a:lnTo>
                    <a:lnTo>
                      <a:pt x="153" y="258"/>
                    </a:lnTo>
                    <a:lnTo>
                      <a:pt x="149" y="258"/>
                    </a:lnTo>
                    <a:lnTo>
                      <a:pt x="144" y="253"/>
                    </a:lnTo>
                    <a:lnTo>
                      <a:pt x="144" y="253"/>
                    </a:lnTo>
                    <a:lnTo>
                      <a:pt x="140" y="253"/>
                    </a:lnTo>
                    <a:lnTo>
                      <a:pt x="140" y="253"/>
                    </a:lnTo>
                    <a:lnTo>
                      <a:pt x="140" y="253"/>
                    </a:lnTo>
                    <a:lnTo>
                      <a:pt x="135" y="253"/>
                    </a:lnTo>
                    <a:lnTo>
                      <a:pt x="135" y="253"/>
                    </a:lnTo>
                    <a:lnTo>
                      <a:pt x="131" y="253"/>
                    </a:lnTo>
                    <a:lnTo>
                      <a:pt x="126" y="253"/>
                    </a:lnTo>
                    <a:lnTo>
                      <a:pt x="126" y="258"/>
                    </a:lnTo>
                    <a:lnTo>
                      <a:pt x="126" y="258"/>
                    </a:lnTo>
                    <a:lnTo>
                      <a:pt x="122" y="258"/>
                    </a:lnTo>
                    <a:lnTo>
                      <a:pt x="122" y="262"/>
                    </a:lnTo>
                    <a:lnTo>
                      <a:pt x="117" y="262"/>
                    </a:lnTo>
                    <a:lnTo>
                      <a:pt x="117" y="262"/>
                    </a:lnTo>
                    <a:lnTo>
                      <a:pt x="117" y="258"/>
                    </a:lnTo>
                    <a:lnTo>
                      <a:pt x="117" y="258"/>
                    </a:lnTo>
                    <a:lnTo>
                      <a:pt x="117" y="253"/>
                    </a:lnTo>
                    <a:lnTo>
                      <a:pt x="117" y="253"/>
                    </a:lnTo>
                    <a:lnTo>
                      <a:pt x="117" y="253"/>
                    </a:lnTo>
                    <a:lnTo>
                      <a:pt x="117" y="249"/>
                    </a:lnTo>
                    <a:lnTo>
                      <a:pt x="117" y="244"/>
                    </a:lnTo>
                    <a:lnTo>
                      <a:pt x="113" y="244"/>
                    </a:lnTo>
                    <a:lnTo>
                      <a:pt x="113" y="244"/>
                    </a:lnTo>
                    <a:lnTo>
                      <a:pt x="113" y="244"/>
                    </a:lnTo>
                    <a:lnTo>
                      <a:pt x="113" y="244"/>
                    </a:lnTo>
                    <a:lnTo>
                      <a:pt x="108" y="244"/>
                    </a:lnTo>
                    <a:lnTo>
                      <a:pt x="108" y="244"/>
                    </a:lnTo>
                    <a:lnTo>
                      <a:pt x="108" y="244"/>
                    </a:lnTo>
                    <a:lnTo>
                      <a:pt x="104" y="244"/>
                    </a:lnTo>
                    <a:lnTo>
                      <a:pt x="104" y="244"/>
                    </a:lnTo>
                    <a:lnTo>
                      <a:pt x="104" y="244"/>
                    </a:lnTo>
                    <a:lnTo>
                      <a:pt x="104" y="244"/>
                    </a:lnTo>
                    <a:lnTo>
                      <a:pt x="104" y="240"/>
                    </a:lnTo>
                    <a:lnTo>
                      <a:pt x="104" y="240"/>
                    </a:lnTo>
                    <a:lnTo>
                      <a:pt x="99" y="240"/>
                    </a:lnTo>
                    <a:lnTo>
                      <a:pt x="99" y="240"/>
                    </a:lnTo>
                    <a:lnTo>
                      <a:pt x="95" y="240"/>
                    </a:lnTo>
                    <a:lnTo>
                      <a:pt x="95" y="240"/>
                    </a:lnTo>
                    <a:lnTo>
                      <a:pt x="95" y="240"/>
                    </a:lnTo>
                    <a:lnTo>
                      <a:pt x="95" y="235"/>
                    </a:lnTo>
                    <a:lnTo>
                      <a:pt x="95" y="235"/>
                    </a:lnTo>
                    <a:lnTo>
                      <a:pt x="95" y="231"/>
                    </a:lnTo>
                    <a:lnTo>
                      <a:pt x="90" y="231"/>
                    </a:lnTo>
                    <a:lnTo>
                      <a:pt x="90" y="231"/>
                    </a:lnTo>
                    <a:lnTo>
                      <a:pt x="90" y="231"/>
                    </a:lnTo>
                    <a:lnTo>
                      <a:pt x="90" y="231"/>
                    </a:lnTo>
                    <a:lnTo>
                      <a:pt x="86" y="226"/>
                    </a:lnTo>
                    <a:lnTo>
                      <a:pt x="86" y="222"/>
                    </a:lnTo>
                    <a:lnTo>
                      <a:pt x="81" y="217"/>
                    </a:lnTo>
                    <a:lnTo>
                      <a:pt x="81" y="217"/>
                    </a:lnTo>
                    <a:lnTo>
                      <a:pt x="81" y="217"/>
                    </a:lnTo>
                    <a:lnTo>
                      <a:pt x="77" y="217"/>
                    </a:lnTo>
                    <a:lnTo>
                      <a:pt x="72" y="217"/>
                    </a:lnTo>
                    <a:lnTo>
                      <a:pt x="72" y="217"/>
                    </a:lnTo>
                    <a:lnTo>
                      <a:pt x="72" y="213"/>
                    </a:lnTo>
                    <a:lnTo>
                      <a:pt x="72" y="213"/>
                    </a:lnTo>
                    <a:lnTo>
                      <a:pt x="72" y="213"/>
                    </a:lnTo>
                    <a:lnTo>
                      <a:pt x="72" y="213"/>
                    </a:lnTo>
                    <a:lnTo>
                      <a:pt x="72" y="213"/>
                    </a:lnTo>
                    <a:lnTo>
                      <a:pt x="77" y="208"/>
                    </a:lnTo>
                    <a:lnTo>
                      <a:pt x="81" y="208"/>
                    </a:lnTo>
                    <a:lnTo>
                      <a:pt x="86" y="213"/>
                    </a:lnTo>
                    <a:lnTo>
                      <a:pt x="86" y="213"/>
                    </a:lnTo>
                    <a:lnTo>
                      <a:pt x="86" y="213"/>
                    </a:lnTo>
                    <a:lnTo>
                      <a:pt x="86" y="213"/>
                    </a:lnTo>
                    <a:lnTo>
                      <a:pt x="90" y="213"/>
                    </a:lnTo>
                    <a:lnTo>
                      <a:pt x="90" y="213"/>
                    </a:lnTo>
                    <a:lnTo>
                      <a:pt x="90" y="213"/>
                    </a:lnTo>
                    <a:lnTo>
                      <a:pt x="90" y="213"/>
                    </a:lnTo>
                    <a:lnTo>
                      <a:pt x="90" y="213"/>
                    </a:lnTo>
                    <a:lnTo>
                      <a:pt x="86" y="208"/>
                    </a:lnTo>
                    <a:lnTo>
                      <a:pt x="86" y="208"/>
                    </a:lnTo>
                    <a:lnTo>
                      <a:pt x="81" y="208"/>
                    </a:lnTo>
                    <a:lnTo>
                      <a:pt x="81" y="208"/>
                    </a:lnTo>
                    <a:lnTo>
                      <a:pt x="81" y="203"/>
                    </a:lnTo>
                    <a:lnTo>
                      <a:pt x="81" y="203"/>
                    </a:lnTo>
                    <a:lnTo>
                      <a:pt x="81" y="203"/>
                    </a:lnTo>
                    <a:lnTo>
                      <a:pt x="86" y="199"/>
                    </a:lnTo>
                    <a:lnTo>
                      <a:pt x="86" y="199"/>
                    </a:lnTo>
                    <a:lnTo>
                      <a:pt x="86" y="199"/>
                    </a:lnTo>
                    <a:lnTo>
                      <a:pt x="86" y="194"/>
                    </a:lnTo>
                    <a:lnTo>
                      <a:pt x="86" y="194"/>
                    </a:lnTo>
                    <a:lnTo>
                      <a:pt x="90" y="194"/>
                    </a:lnTo>
                    <a:lnTo>
                      <a:pt x="95" y="194"/>
                    </a:lnTo>
                    <a:lnTo>
                      <a:pt x="99" y="194"/>
                    </a:lnTo>
                    <a:lnTo>
                      <a:pt x="104" y="194"/>
                    </a:lnTo>
                    <a:lnTo>
                      <a:pt x="108" y="194"/>
                    </a:lnTo>
                    <a:lnTo>
                      <a:pt x="108" y="194"/>
                    </a:lnTo>
                    <a:lnTo>
                      <a:pt x="113" y="194"/>
                    </a:lnTo>
                    <a:lnTo>
                      <a:pt x="113" y="194"/>
                    </a:lnTo>
                    <a:lnTo>
                      <a:pt x="113" y="194"/>
                    </a:lnTo>
                    <a:lnTo>
                      <a:pt x="108" y="194"/>
                    </a:lnTo>
                    <a:lnTo>
                      <a:pt x="104" y="190"/>
                    </a:lnTo>
                    <a:lnTo>
                      <a:pt x="104" y="190"/>
                    </a:lnTo>
                    <a:lnTo>
                      <a:pt x="108" y="185"/>
                    </a:lnTo>
                    <a:lnTo>
                      <a:pt x="108" y="181"/>
                    </a:lnTo>
                    <a:lnTo>
                      <a:pt x="108" y="176"/>
                    </a:lnTo>
                    <a:lnTo>
                      <a:pt x="104" y="176"/>
                    </a:lnTo>
                    <a:lnTo>
                      <a:pt x="104" y="172"/>
                    </a:lnTo>
                    <a:lnTo>
                      <a:pt x="104" y="172"/>
                    </a:lnTo>
                    <a:lnTo>
                      <a:pt x="104" y="172"/>
                    </a:lnTo>
                    <a:lnTo>
                      <a:pt x="104" y="167"/>
                    </a:lnTo>
                    <a:lnTo>
                      <a:pt x="104" y="167"/>
                    </a:lnTo>
                    <a:lnTo>
                      <a:pt x="104" y="167"/>
                    </a:lnTo>
                    <a:lnTo>
                      <a:pt x="99" y="167"/>
                    </a:lnTo>
                    <a:lnTo>
                      <a:pt x="99" y="167"/>
                    </a:lnTo>
                    <a:lnTo>
                      <a:pt x="95" y="163"/>
                    </a:lnTo>
                    <a:lnTo>
                      <a:pt x="95" y="167"/>
                    </a:lnTo>
                    <a:lnTo>
                      <a:pt x="95" y="167"/>
                    </a:lnTo>
                    <a:lnTo>
                      <a:pt x="90" y="167"/>
                    </a:lnTo>
                    <a:lnTo>
                      <a:pt x="90" y="167"/>
                    </a:lnTo>
                    <a:lnTo>
                      <a:pt x="90" y="167"/>
                    </a:lnTo>
                    <a:lnTo>
                      <a:pt x="90" y="167"/>
                    </a:lnTo>
                    <a:lnTo>
                      <a:pt x="86" y="167"/>
                    </a:lnTo>
                    <a:lnTo>
                      <a:pt x="86" y="167"/>
                    </a:lnTo>
                    <a:lnTo>
                      <a:pt x="81" y="167"/>
                    </a:lnTo>
                    <a:lnTo>
                      <a:pt x="81" y="163"/>
                    </a:lnTo>
                    <a:lnTo>
                      <a:pt x="81" y="163"/>
                    </a:lnTo>
                    <a:lnTo>
                      <a:pt x="77" y="163"/>
                    </a:lnTo>
                    <a:lnTo>
                      <a:pt x="72" y="163"/>
                    </a:lnTo>
                    <a:lnTo>
                      <a:pt x="72" y="163"/>
                    </a:lnTo>
                    <a:lnTo>
                      <a:pt x="68" y="167"/>
                    </a:lnTo>
                    <a:lnTo>
                      <a:pt x="68" y="167"/>
                    </a:lnTo>
                    <a:lnTo>
                      <a:pt x="68" y="167"/>
                    </a:lnTo>
                    <a:lnTo>
                      <a:pt x="68" y="167"/>
                    </a:lnTo>
                    <a:lnTo>
                      <a:pt x="63" y="167"/>
                    </a:lnTo>
                    <a:lnTo>
                      <a:pt x="63" y="167"/>
                    </a:lnTo>
                    <a:lnTo>
                      <a:pt x="63" y="167"/>
                    </a:lnTo>
                    <a:lnTo>
                      <a:pt x="58" y="172"/>
                    </a:lnTo>
                    <a:lnTo>
                      <a:pt x="58" y="172"/>
                    </a:lnTo>
                    <a:lnTo>
                      <a:pt x="58" y="172"/>
                    </a:lnTo>
                    <a:lnTo>
                      <a:pt x="54" y="172"/>
                    </a:lnTo>
                    <a:lnTo>
                      <a:pt x="54" y="172"/>
                    </a:lnTo>
                    <a:lnTo>
                      <a:pt x="54" y="176"/>
                    </a:lnTo>
                    <a:lnTo>
                      <a:pt x="49" y="176"/>
                    </a:lnTo>
                    <a:lnTo>
                      <a:pt x="49" y="176"/>
                    </a:lnTo>
                    <a:lnTo>
                      <a:pt x="49" y="176"/>
                    </a:lnTo>
                    <a:lnTo>
                      <a:pt x="49" y="176"/>
                    </a:lnTo>
                    <a:lnTo>
                      <a:pt x="49" y="176"/>
                    </a:lnTo>
                    <a:lnTo>
                      <a:pt x="49" y="176"/>
                    </a:lnTo>
                    <a:lnTo>
                      <a:pt x="49" y="176"/>
                    </a:lnTo>
                    <a:lnTo>
                      <a:pt x="49" y="176"/>
                    </a:lnTo>
                    <a:lnTo>
                      <a:pt x="45" y="176"/>
                    </a:lnTo>
                    <a:lnTo>
                      <a:pt x="40" y="176"/>
                    </a:lnTo>
                    <a:lnTo>
                      <a:pt x="40" y="176"/>
                    </a:lnTo>
                    <a:lnTo>
                      <a:pt x="36" y="176"/>
                    </a:lnTo>
                    <a:lnTo>
                      <a:pt x="36" y="172"/>
                    </a:lnTo>
                    <a:lnTo>
                      <a:pt x="36" y="172"/>
                    </a:lnTo>
                    <a:lnTo>
                      <a:pt x="36" y="172"/>
                    </a:lnTo>
                    <a:lnTo>
                      <a:pt x="36" y="172"/>
                    </a:lnTo>
                    <a:lnTo>
                      <a:pt x="36" y="172"/>
                    </a:lnTo>
                    <a:lnTo>
                      <a:pt x="36" y="172"/>
                    </a:lnTo>
                    <a:lnTo>
                      <a:pt x="36" y="172"/>
                    </a:lnTo>
                    <a:lnTo>
                      <a:pt x="40" y="172"/>
                    </a:lnTo>
                    <a:lnTo>
                      <a:pt x="40" y="172"/>
                    </a:lnTo>
                    <a:lnTo>
                      <a:pt x="40" y="172"/>
                    </a:lnTo>
                    <a:lnTo>
                      <a:pt x="40" y="172"/>
                    </a:lnTo>
                    <a:lnTo>
                      <a:pt x="40" y="172"/>
                    </a:lnTo>
                    <a:lnTo>
                      <a:pt x="40" y="167"/>
                    </a:lnTo>
                    <a:lnTo>
                      <a:pt x="36" y="163"/>
                    </a:lnTo>
                    <a:lnTo>
                      <a:pt x="36" y="163"/>
                    </a:lnTo>
                    <a:lnTo>
                      <a:pt x="36" y="158"/>
                    </a:lnTo>
                    <a:lnTo>
                      <a:pt x="31" y="158"/>
                    </a:lnTo>
                    <a:lnTo>
                      <a:pt x="27" y="154"/>
                    </a:lnTo>
                    <a:lnTo>
                      <a:pt x="27" y="154"/>
                    </a:lnTo>
                    <a:lnTo>
                      <a:pt x="27" y="154"/>
                    </a:lnTo>
                    <a:lnTo>
                      <a:pt x="22" y="154"/>
                    </a:lnTo>
                    <a:lnTo>
                      <a:pt x="18" y="154"/>
                    </a:lnTo>
                    <a:lnTo>
                      <a:pt x="18" y="154"/>
                    </a:lnTo>
                    <a:lnTo>
                      <a:pt x="13" y="154"/>
                    </a:lnTo>
                    <a:lnTo>
                      <a:pt x="13" y="154"/>
                    </a:lnTo>
                    <a:lnTo>
                      <a:pt x="13" y="154"/>
                    </a:lnTo>
                    <a:lnTo>
                      <a:pt x="9" y="149"/>
                    </a:lnTo>
                    <a:lnTo>
                      <a:pt x="9" y="149"/>
                    </a:lnTo>
                    <a:lnTo>
                      <a:pt x="9" y="149"/>
                    </a:lnTo>
                    <a:lnTo>
                      <a:pt x="9" y="145"/>
                    </a:lnTo>
                    <a:lnTo>
                      <a:pt x="9" y="145"/>
                    </a:lnTo>
                    <a:lnTo>
                      <a:pt x="9" y="145"/>
                    </a:lnTo>
                    <a:lnTo>
                      <a:pt x="4" y="140"/>
                    </a:lnTo>
                    <a:lnTo>
                      <a:pt x="0" y="140"/>
                    </a:lnTo>
                    <a:lnTo>
                      <a:pt x="0" y="136"/>
                    </a:lnTo>
                    <a:lnTo>
                      <a:pt x="0" y="131"/>
                    </a:lnTo>
                    <a:lnTo>
                      <a:pt x="0" y="131"/>
                    </a:lnTo>
                    <a:lnTo>
                      <a:pt x="4" y="127"/>
                    </a:lnTo>
                    <a:lnTo>
                      <a:pt x="4" y="127"/>
                    </a:lnTo>
                    <a:lnTo>
                      <a:pt x="4" y="127"/>
                    </a:lnTo>
                    <a:lnTo>
                      <a:pt x="4" y="127"/>
                    </a:lnTo>
                    <a:lnTo>
                      <a:pt x="0" y="127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3"/>
                    </a:lnTo>
                    <a:lnTo>
                      <a:pt x="0" y="113"/>
                    </a:lnTo>
                    <a:lnTo>
                      <a:pt x="4" y="109"/>
                    </a:lnTo>
                    <a:lnTo>
                      <a:pt x="4" y="109"/>
                    </a:lnTo>
                    <a:lnTo>
                      <a:pt x="4" y="109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9" y="104"/>
                    </a:lnTo>
                    <a:lnTo>
                      <a:pt x="9" y="104"/>
                    </a:lnTo>
                    <a:lnTo>
                      <a:pt x="13" y="109"/>
                    </a:lnTo>
                    <a:lnTo>
                      <a:pt x="18" y="109"/>
                    </a:lnTo>
                    <a:lnTo>
                      <a:pt x="18" y="113"/>
                    </a:lnTo>
                    <a:lnTo>
                      <a:pt x="18" y="113"/>
                    </a:lnTo>
                    <a:lnTo>
                      <a:pt x="22" y="113"/>
                    </a:lnTo>
                    <a:lnTo>
                      <a:pt x="22" y="113"/>
                    </a:lnTo>
                    <a:lnTo>
                      <a:pt x="27" y="113"/>
                    </a:lnTo>
                    <a:lnTo>
                      <a:pt x="27" y="109"/>
                    </a:lnTo>
                    <a:lnTo>
                      <a:pt x="27" y="109"/>
                    </a:lnTo>
                    <a:lnTo>
                      <a:pt x="27" y="109"/>
                    </a:lnTo>
                    <a:lnTo>
                      <a:pt x="22" y="109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99"/>
                    </a:lnTo>
                    <a:lnTo>
                      <a:pt x="18" y="99"/>
                    </a:lnTo>
                    <a:lnTo>
                      <a:pt x="22" y="99"/>
                    </a:lnTo>
                    <a:lnTo>
                      <a:pt x="22" y="99"/>
                    </a:lnTo>
                    <a:lnTo>
                      <a:pt x="22" y="99"/>
                    </a:lnTo>
                    <a:lnTo>
                      <a:pt x="22" y="99"/>
                    </a:lnTo>
                    <a:lnTo>
                      <a:pt x="27" y="95"/>
                    </a:lnTo>
                    <a:lnTo>
                      <a:pt x="27" y="95"/>
                    </a:lnTo>
                    <a:lnTo>
                      <a:pt x="31" y="90"/>
                    </a:lnTo>
                    <a:lnTo>
                      <a:pt x="31" y="90"/>
                    </a:lnTo>
                    <a:lnTo>
                      <a:pt x="31" y="90"/>
                    </a:lnTo>
                    <a:lnTo>
                      <a:pt x="31" y="90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40" y="86"/>
                    </a:lnTo>
                    <a:lnTo>
                      <a:pt x="40" y="86"/>
                    </a:lnTo>
                    <a:lnTo>
                      <a:pt x="40" y="86"/>
                    </a:lnTo>
                    <a:lnTo>
                      <a:pt x="40" y="81"/>
                    </a:lnTo>
                    <a:lnTo>
                      <a:pt x="45" y="81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9" y="77"/>
                    </a:lnTo>
                    <a:lnTo>
                      <a:pt x="49" y="77"/>
                    </a:lnTo>
                    <a:lnTo>
                      <a:pt x="54" y="77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8" y="81"/>
                    </a:lnTo>
                    <a:lnTo>
                      <a:pt x="58" y="81"/>
                    </a:lnTo>
                    <a:lnTo>
                      <a:pt x="58" y="81"/>
                    </a:lnTo>
                    <a:lnTo>
                      <a:pt x="63" y="77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72" y="81"/>
                    </a:lnTo>
                    <a:lnTo>
                      <a:pt x="72" y="81"/>
                    </a:lnTo>
                    <a:lnTo>
                      <a:pt x="72" y="81"/>
                    </a:lnTo>
                    <a:lnTo>
                      <a:pt x="72" y="81"/>
                    </a:lnTo>
                    <a:lnTo>
                      <a:pt x="77" y="81"/>
                    </a:lnTo>
                    <a:lnTo>
                      <a:pt x="77" y="81"/>
                    </a:lnTo>
                    <a:lnTo>
                      <a:pt x="77" y="81"/>
                    </a:lnTo>
                    <a:lnTo>
                      <a:pt x="81" y="81"/>
                    </a:lnTo>
                    <a:lnTo>
                      <a:pt x="81" y="81"/>
                    </a:lnTo>
                    <a:lnTo>
                      <a:pt x="81" y="81"/>
                    </a:lnTo>
                    <a:lnTo>
                      <a:pt x="81" y="81"/>
                    </a:lnTo>
                    <a:lnTo>
                      <a:pt x="86" y="81"/>
                    </a:lnTo>
                    <a:lnTo>
                      <a:pt x="86" y="81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5" y="86"/>
                    </a:lnTo>
                    <a:lnTo>
                      <a:pt x="95" y="86"/>
                    </a:lnTo>
                    <a:lnTo>
                      <a:pt x="99" y="86"/>
                    </a:lnTo>
                    <a:lnTo>
                      <a:pt x="99" y="90"/>
                    </a:lnTo>
                    <a:lnTo>
                      <a:pt x="99" y="90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4" y="99"/>
                    </a:lnTo>
                    <a:lnTo>
                      <a:pt x="108" y="99"/>
                    </a:lnTo>
                    <a:lnTo>
                      <a:pt x="108" y="95"/>
                    </a:lnTo>
                    <a:lnTo>
                      <a:pt x="108" y="95"/>
                    </a:lnTo>
                    <a:lnTo>
                      <a:pt x="108" y="95"/>
                    </a:lnTo>
                    <a:lnTo>
                      <a:pt x="104" y="90"/>
                    </a:lnTo>
                    <a:lnTo>
                      <a:pt x="104" y="90"/>
                    </a:lnTo>
                    <a:lnTo>
                      <a:pt x="104" y="90"/>
                    </a:lnTo>
                    <a:lnTo>
                      <a:pt x="104" y="90"/>
                    </a:lnTo>
                    <a:lnTo>
                      <a:pt x="104" y="90"/>
                    </a:lnTo>
                    <a:lnTo>
                      <a:pt x="104" y="90"/>
                    </a:lnTo>
                    <a:lnTo>
                      <a:pt x="104" y="90"/>
                    </a:lnTo>
                    <a:lnTo>
                      <a:pt x="108" y="90"/>
                    </a:lnTo>
                    <a:lnTo>
                      <a:pt x="113" y="90"/>
                    </a:lnTo>
                    <a:lnTo>
                      <a:pt x="113" y="95"/>
                    </a:lnTo>
                    <a:lnTo>
                      <a:pt x="117" y="95"/>
                    </a:lnTo>
                    <a:lnTo>
                      <a:pt x="122" y="95"/>
                    </a:lnTo>
                    <a:lnTo>
                      <a:pt x="122" y="95"/>
                    </a:lnTo>
                    <a:lnTo>
                      <a:pt x="122" y="95"/>
                    </a:lnTo>
                    <a:lnTo>
                      <a:pt x="126" y="95"/>
                    </a:lnTo>
                    <a:lnTo>
                      <a:pt x="126" y="95"/>
                    </a:lnTo>
                    <a:lnTo>
                      <a:pt x="126" y="90"/>
                    </a:lnTo>
                    <a:lnTo>
                      <a:pt x="126" y="90"/>
                    </a:lnTo>
                    <a:lnTo>
                      <a:pt x="131" y="90"/>
                    </a:lnTo>
                    <a:lnTo>
                      <a:pt x="131" y="86"/>
                    </a:lnTo>
                    <a:lnTo>
                      <a:pt x="131" y="86"/>
                    </a:lnTo>
                    <a:lnTo>
                      <a:pt x="135" y="86"/>
                    </a:lnTo>
                    <a:lnTo>
                      <a:pt x="135" y="86"/>
                    </a:lnTo>
                    <a:lnTo>
                      <a:pt x="135" y="86"/>
                    </a:lnTo>
                    <a:lnTo>
                      <a:pt x="140" y="86"/>
                    </a:lnTo>
                    <a:lnTo>
                      <a:pt x="140" y="86"/>
                    </a:lnTo>
                    <a:lnTo>
                      <a:pt x="144" y="90"/>
                    </a:lnTo>
                    <a:lnTo>
                      <a:pt x="144" y="90"/>
                    </a:lnTo>
                    <a:lnTo>
                      <a:pt x="149" y="90"/>
                    </a:lnTo>
                    <a:lnTo>
                      <a:pt x="149" y="90"/>
                    </a:lnTo>
                    <a:lnTo>
                      <a:pt x="149" y="86"/>
                    </a:lnTo>
                    <a:lnTo>
                      <a:pt x="149" y="86"/>
                    </a:lnTo>
                    <a:lnTo>
                      <a:pt x="149" y="86"/>
                    </a:lnTo>
                    <a:lnTo>
                      <a:pt x="149" y="86"/>
                    </a:lnTo>
                    <a:lnTo>
                      <a:pt x="153" y="86"/>
                    </a:lnTo>
                    <a:lnTo>
                      <a:pt x="153" y="86"/>
                    </a:lnTo>
                    <a:lnTo>
                      <a:pt x="153" y="86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2" y="90"/>
                    </a:lnTo>
                    <a:lnTo>
                      <a:pt x="167" y="90"/>
                    </a:lnTo>
                    <a:lnTo>
                      <a:pt x="167" y="90"/>
                    </a:lnTo>
                    <a:lnTo>
                      <a:pt x="167" y="95"/>
                    </a:lnTo>
                    <a:lnTo>
                      <a:pt x="171" y="95"/>
                    </a:lnTo>
                    <a:lnTo>
                      <a:pt x="171" y="95"/>
                    </a:lnTo>
                    <a:lnTo>
                      <a:pt x="176" y="95"/>
                    </a:lnTo>
                    <a:lnTo>
                      <a:pt x="176" y="95"/>
                    </a:lnTo>
                    <a:lnTo>
                      <a:pt x="176" y="95"/>
                    </a:lnTo>
                    <a:lnTo>
                      <a:pt x="176" y="95"/>
                    </a:lnTo>
                    <a:lnTo>
                      <a:pt x="176" y="95"/>
                    </a:lnTo>
                    <a:lnTo>
                      <a:pt x="180" y="95"/>
                    </a:lnTo>
                    <a:lnTo>
                      <a:pt x="180" y="95"/>
                    </a:lnTo>
                    <a:lnTo>
                      <a:pt x="180" y="90"/>
                    </a:lnTo>
                    <a:lnTo>
                      <a:pt x="180" y="90"/>
                    </a:lnTo>
                    <a:lnTo>
                      <a:pt x="180" y="90"/>
                    </a:lnTo>
                    <a:lnTo>
                      <a:pt x="185" y="90"/>
                    </a:lnTo>
                    <a:lnTo>
                      <a:pt x="185" y="90"/>
                    </a:lnTo>
                    <a:lnTo>
                      <a:pt x="185" y="90"/>
                    </a:lnTo>
                    <a:lnTo>
                      <a:pt x="190" y="90"/>
                    </a:lnTo>
                    <a:lnTo>
                      <a:pt x="190" y="90"/>
                    </a:lnTo>
                    <a:lnTo>
                      <a:pt x="190" y="90"/>
                    </a:lnTo>
                    <a:lnTo>
                      <a:pt x="194" y="90"/>
                    </a:lnTo>
                    <a:lnTo>
                      <a:pt x="199" y="90"/>
                    </a:lnTo>
                    <a:lnTo>
                      <a:pt x="199" y="90"/>
                    </a:lnTo>
                    <a:lnTo>
                      <a:pt x="203" y="86"/>
                    </a:lnTo>
                    <a:lnTo>
                      <a:pt x="203" y="86"/>
                    </a:lnTo>
                    <a:lnTo>
                      <a:pt x="203" y="81"/>
                    </a:lnTo>
                    <a:lnTo>
                      <a:pt x="203" y="81"/>
                    </a:lnTo>
                    <a:lnTo>
                      <a:pt x="203" y="81"/>
                    </a:lnTo>
                    <a:lnTo>
                      <a:pt x="199" y="77"/>
                    </a:lnTo>
                    <a:lnTo>
                      <a:pt x="199" y="77"/>
                    </a:lnTo>
                    <a:lnTo>
                      <a:pt x="194" y="77"/>
                    </a:lnTo>
                    <a:lnTo>
                      <a:pt x="194" y="77"/>
                    </a:lnTo>
                    <a:lnTo>
                      <a:pt x="194" y="77"/>
                    </a:lnTo>
                    <a:lnTo>
                      <a:pt x="185" y="72"/>
                    </a:lnTo>
                    <a:lnTo>
                      <a:pt x="185" y="72"/>
                    </a:lnTo>
                    <a:lnTo>
                      <a:pt x="185" y="72"/>
                    </a:lnTo>
                    <a:lnTo>
                      <a:pt x="180" y="72"/>
                    </a:lnTo>
                    <a:lnTo>
                      <a:pt x="180" y="72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80" y="68"/>
                    </a:lnTo>
                    <a:lnTo>
                      <a:pt x="180" y="63"/>
                    </a:lnTo>
                    <a:lnTo>
                      <a:pt x="180" y="63"/>
                    </a:lnTo>
                    <a:lnTo>
                      <a:pt x="185" y="63"/>
                    </a:lnTo>
                    <a:lnTo>
                      <a:pt x="185" y="63"/>
                    </a:lnTo>
                    <a:lnTo>
                      <a:pt x="185" y="63"/>
                    </a:lnTo>
                    <a:lnTo>
                      <a:pt x="185" y="59"/>
                    </a:lnTo>
                    <a:lnTo>
                      <a:pt x="185" y="59"/>
                    </a:lnTo>
                    <a:lnTo>
                      <a:pt x="185" y="54"/>
                    </a:lnTo>
                    <a:lnTo>
                      <a:pt x="180" y="54"/>
                    </a:lnTo>
                    <a:lnTo>
                      <a:pt x="180" y="54"/>
                    </a:lnTo>
                    <a:lnTo>
                      <a:pt x="180" y="50"/>
                    </a:lnTo>
                    <a:lnTo>
                      <a:pt x="185" y="50"/>
                    </a:lnTo>
                    <a:lnTo>
                      <a:pt x="185" y="50"/>
                    </a:lnTo>
                    <a:lnTo>
                      <a:pt x="185" y="50"/>
                    </a:lnTo>
                    <a:lnTo>
                      <a:pt x="185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4" y="50"/>
                    </a:lnTo>
                    <a:lnTo>
                      <a:pt x="194" y="50"/>
                    </a:lnTo>
                    <a:lnTo>
                      <a:pt x="199" y="50"/>
                    </a:lnTo>
                    <a:lnTo>
                      <a:pt x="199" y="50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194" y="45"/>
                    </a:lnTo>
                    <a:lnTo>
                      <a:pt x="194" y="45"/>
                    </a:lnTo>
                    <a:lnTo>
                      <a:pt x="190" y="45"/>
                    </a:lnTo>
                    <a:lnTo>
                      <a:pt x="190" y="45"/>
                    </a:lnTo>
                    <a:lnTo>
                      <a:pt x="185" y="45"/>
                    </a:lnTo>
                    <a:lnTo>
                      <a:pt x="185" y="41"/>
                    </a:lnTo>
                    <a:lnTo>
                      <a:pt x="185" y="41"/>
                    </a:lnTo>
                    <a:lnTo>
                      <a:pt x="180" y="41"/>
                    </a:lnTo>
                    <a:lnTo>
                      <a:pt x="180" y="41"/>
                    </a:lnTo>
                    <a:lnTo>
                      <a:pt x="185" y="41"/>
                    </a:lnTo>
                    <a:lnTo>
                      <a:pt x="185" y="41"/>
                    </a:lnTo>
                    <a:lnTo>
                      <a:pt x="185" y="41"/>
                    </a:lnTo>
                    <a:lnTo>
                      <a:pt x="185" y="41"/>
                    </a:lnTo>
                    <a:lnTo>
                      <a:pt x="185" y="36"/>
                    </a:lnTo>
                    <a:lnTo>
                      <a:pt x="185" y="36"/>
                    </a:lnTo>
                    <a:lnTo>
                      <a:pt x="185" y="36"/>
                    </a:lnTo>
                    <a:lnTo>
                      <a:pt x="185" y="36"/>
                    </a:lnTo>
                    <a:lnTo>
                      <a:pt x="185" y="36"/>
                    </a:lnTo>
                    <a:lnTo>
                      <a:pt x="185" y="36"/>
                    </a:lnTo>
                    <a:lnTo>
                      <a:pt x="180" y="36"/>
                    </a:lnTo>
                    <a:lnTo>
                      <a:pt x="180" y="36"/>
                    </a:lnTo>
                    <a:lnTo>
                      <a:pt x="176" y="36"/>
                    </a:lnTo>
                    <a:lnTo>
                      <a:pt x="176" y="36"/>
                    </a:lnTo>
                    <a:lnTo>
                      <a:pt x="180" y="36"/>
                    </a:lnTo>
                    <a:lnTo>
                      <a:pt x="180" y="32"/>
                    </a:lnTo>
                    <a:lnTo>
                      <a:pt x="180" y="32"/>
                    </a:lnTo>
                    <a:lnTo>
                      <a:pt x="180" y="32"/>
                    </a:lnTo>
                    <a:lnTo>
                      <a:pt x="176" y="32"/>
                    </a:lnTo>
                    <a:lnTo>
                      <a:pt x="180" y="27"/>
                    </a:lnTo>
                    <a:lnTo>
                      <a:pt x="180" y="27"/>
                    </a:lnTo>
                    <a:lnTo>
                      <a:pt x="185" y="27"/>
                    </a:lnTo>
                    <a:lnTo>
                      <a:pt x="190" y="32"/>
                    </a:lnTo>
                    <a:lnTo>
                      <a:pt x="190" y="32"/>
                    </a:lnTo>
                    <a:lnTo>
                      <a:pt x="190" y="27"/>
                    </a:lnTo>
                    <a:lnTo>
                      <a:pt x="190" y="27"/>
                    </a:lnTo>
                    <a:lnTo>
                      <a:pt x="199" y="27"/>
                    </a:lnTo>
                    <a:lnTo>
                      <a:pt x="199" y="27"/>
                    </a:lnTo>
                    <a:lnTo>
                      <a:pt x="199" y="27"/>
                    </a:lnTo>
                    <a:lnTo>
                      <a:pt x="203" y="27"/>
                    </a:lnTo>
                    <a:lnTo>
                      <a:pt x="203" y="27"/>
                    </a:lnTo>
                    <a:lnTo>
                      <a:pt x="203" y="23"/>
                    </a:lnTo>
                    <a:lnTo>
                      <a:pt x="208" y="23"/>
                    </a:lnTo>
                    <a:lnTo>
                      <a:pt x="208" y="23"/>
                    </a:lnTo>
                    <a:lnTo>
                      <a:pt x="212" y="23"/>
                    </a:lnTo>
                    <a:lnTo>
                      <a:pt x="212" y="23"/>
                    </a:lnTo>
                    <a:lnTo>
                      <a:pt x="212" y="23"/>
                    </a:lnTo>
                    <a:lnTo>
                      <a:pt x="212" y="23"/>
                    </a:lnTo>
                    <a:lnTo>
                      <a:pt x="217" y="23"/>
                    </a:lnTo>
                    <a:lnTo>
                      <a:pt x="217" y="23"/>
                    </a:lnTo>
                    <a:lnTo>
                      <a:pt x="217" y="23"/>
                    </a:lnTo>
                    <a:lnTo>
                      <a:pt x="217" y="23"/>
                    </a:lnTo>
                    <a:lnTo>
                      <a:pt x="221" y="18"/>
                    </a:lnTo>
                    <a:lnTo>
                      <a:pt x="221" y="23"/>
                    </a:lnTo>
                    <a:lnTo>
                      <a:pt x="226" y="23"/>
                    </a:lnTo>
                    <a:lnTo>
                      <a:pt x="226" y="18"/>
                    </a:lnTo>
                    <a:lnTo>
                      <a:pt x="226" y="18"/>
                    </a:lnTo>
                    <a:lnTo>
                      <a:pt x="230" y="18"/>
                    </a:lnTo>
                    <a:lnTo>
                      <a:pt x="230" y="23"/>
                    </a:lnTo>
                    <a:lnTo>
                      <a:pt x="230" y="18"/>
                    </a:lnTo>
                    <a:lnTo>
                      <a:pt x="230" y="18"/>
                    </a:lnTo>
                    <a:lnTo>
                      <a:pt x="230" y="18"/>
                    </a:lnTo>
                    <a:lnTo>
                      <a:pt x="230" y="18"/>
                    </a:lnTo>
                    <a:lnTo>
                      <a:pt x="235" y="18"/>
                    </a:lnTo>
                    <a:lnTo>
                      <a:pt x="235" y="14"/>
                    </a:lnTo>
                    <a:lnTo>
                      <a:pt x="235" y="14"/>
                    </a:lnTo>
                    <a:lnTo>
                      <a:pt x="235" y="14"/>
                    </a:lnTo>
                    <a:lnTo>
                      <a:pt x="239" y="14"/>
                    </a:lnTo>
                    <a:lnTo>
                      <a:pt x="239" y="14"/>
                    </a:lnTo>
                    <a:lnTo>
                      <a:pt x="244" y="14"/>
                    </a:lnTo>
                    <a:lnTo>
                      <a:pt x="248" y="14"/>
                    </a:lnTo>
                    <a:lnTo>
                      <a:pt x="248" y="14"/>
                    </a:lnTo>
                    <a:lnTo>
                      <a:pt x="253" y="9"/>
                    </a:lnTo>
                    <a:lnTo>
                      <a:pt x="257" y="9"/>
                    </a:lnTo>
                    <a:lnTo>
                      <a:pt x="257" y="9"/>
                    </a:lnTo>
                    <a:lnTo>
                      <a:pt x="262" y="9"/>
                    </a:lnTo>
                    <a:lnTo>
                      <a:pt x="262" y="9"/>
                    </a:lnTo>
                    <a:lnTo>
                      <a:pt x="266" y="9"/>
                    </a:lnTo>
                    <a:lnTo>
                      <a:pt x="266" y="9"/>
                    </a:lnTo>
                    <a:lnTo>
                      <a:pt x="266" y="9"/>
                    </a:lnTo>
                    <a:lnTo>
                      <a:pt x="266" y="5"/>
                    </a:lnTo>
                    <a:lnTo>
                      <a:pt x="266" y="5"/>
                    </a:lnTo>
                    <a:lnTo>
                      <a:pt x="266" y="5"/>
                    </a:lnTo>
                    <a:lnTo>
                      <a:pt x="266" y="5"/>
                    </a:lnTo>
                    <a:lnTo>
                      <a:pt x="266" y="5"/>
                    </a:lnTo>
                    <a:lnTo>
                      <a:pt x="271" y="5"/>
                    </a:lnTo>
                    <a:lnTo>
                      <a:pt x="271" y="5"/>
                    </a:lnTo>
                    <a:lnTo>
                      <a:pt x="271" y="0"/>
                    </a:lnTo>
                    <a:lnTo>
                      <a:pt x="275" y="0"/>
                    </a:lnTo>
                    <a:lnTo>
                      <a:pt x="275" y="0"/>
                    </a:lnTo>
                    <a:lnTo>
                      <a:pt x="280" y="0"/>
                    </a:lnTo>
                    <a:lnTo>
                      <a:pt x="284" y="0"/>
                    </a:lnTo>
                    <a:lnTo>
                      <a:pt x="284" y="0"/>
                    </a:lnTo>
                    <a:lnTo>
                      <a:pt x="289" y="0"/>
                    </a:lnTo>
                    <a:lnTo>
                      <a:pt x="289" y="0"/>
                    </a:lnTo>
                    <a:lnTo>
                      <a:pt x="293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67" name="Freeform 88"/>
              <p:cNvSpPr>
                <a:spLocks/>
              </p:cNvSpPr>
              <p:nvPr/>
            </p:nvSpPr>
            <p:spPr bwMode="auto">
              <a:xfrm>
                <a:off x="5210176" y="2787651"/>
                <a:ext cx="222250" cy="301625"/>
              </a:xfrm>
              <a:custGeom>
                <a:avLst/>
                <a:gdLst>
                  <a:gd name="T0" fmla="*/ 22 w 140"/>
                  <a:gd name="T1" fmla="*/ 0 h 190"/>
                  <a:gd name="T2" fmla="*/ 31 w 140"/>
                  <a:gd name="T3" fmla="*/ 5 h 190"/>
                  <a:gd name="T4" fmla="*/ 31 w 140"/>
                  <a:gd name="T5" fmla="*/ 9 h 190"/>
                  <a:gd name="T6" fmla="*/ 36 w 140"/>
                  <a:gd name="T7" fmla="*/ 18 h 190"/>
                  <a:gd name="T8" fmla="*/ 45 w 140"/>
                  <a:gd name="T9" fmla="*/ 18 h 190"/>
                  <a:gd name="T10" fmla="*/ 54 w 140"/>
                  <a:gd name="T11" fmla="*/ 23 h 190"/>
                  <a:gd name="T12" fmla="*/ 68 w 140"/>
                  <a:gd name="T13" fmla="*/ 32 h 190"/>
                  <a:gd name="T14" fmla="*/ 81 w 140"/>
                  <a:gd name="T15" fmla="*/ 36 h 190"/>
                  <a:gd name="T16" fmla="*/ 90 w 140"/>
                  <a:gd name="T17" fmla="*/ 36 h 190"/>
                  <a:gd name="T18" fmla="*/ 104 w 140"/>
                  <a:gd name="T19" fmla="*/ 32 h 190"/>
                  <a:gd name="T20" fmla="*/ 113 w 140"/>
                  <a:gd name="T21" fmla="*/ 23 h 190"/>
                  <a:gd name="T22" fmla="*/ 126 w 140"/>
                  <a:gd name="T23" fmla="*/ 27 h 190"/>
                  <a:gd name="T24" fmla="*/ 131 w 140"/>
                  <a:gd name="T25" fmla="*/ 27 h 190"/>
                  <a:gd name="T26" fmla="*/ 135 w 140"/>
                  <a:gd name="T27" fmla="*/ 32 h 190"/>
                  <a:gd name="T28" fmla="*/ 122 w 140"/>
                  <a:gd name="T29" fmla="*/ 50 h 190"/>
                  <a:gd name="T30" fmla="*/ 122 w 140"/>
                  <a:gd name="T31" fmla="*/ 77 h 190"/>
                  <a:gd name="T32" fmla="*/ 122 w 140"/>
                  <a:gd name="T33" fmla="*/ 118 h 190"/>
                  <a:gd name="T34" fmla="*/ 131 w 140"/>
                  <a:gd name="T35" fmla="*/ 131 h 190"/>
                  <a:gd name="T36" fmla="*/ 126 w 140"/>
                  <a:gd name="T37" fmla="*/ 140 h 190"/>
                  <a:gd name="T38" fmla="*/ 122 w 140"/>
                  <a:gd name="T39" fmla="*/ 140 h 190"/>
                  <a:gd name="T40" fmla="*/ 122 w 140"/>
                  <a:gd name="T41" fmla="*/ 140 h 190"/>
                  <a:gd name="T42" fmla="*/ 122 w 140"/>
                  <a:gd name="T43" fmla="*/ 149 h 190"/>
                  <a:gd name="T44" fmla="*/ 108 w 140"/>
                  <a:gd name="T45" fmla="*/ 154 h 190"/>
                  <a:gd name="T46" fmla="*/ 108 w 140"/>
                  <a:gd name="T47" fmla="*/ 163 h 190"/>
                  <a:gd name="T48" fmla="*/ 104 w 140"/>
                  <a:gd name="T49" fmla="*/ 167 h 190"/>
                  <a:gd name="T50" fmla="*/ 99 w 140"/>
                  <a:gd name="T51" fmla="*/ 176 h 190"/>
                  <a:gd name="T52" fmla="*/ 95 w 140"/>
                  <a:gd name="T53" fmla="*/ 185 h 190"/>
                  <a:gd name="T54" fmla="*/ 90 w 140"/>
                  <a:gd name="T55" fmla="*/ 190 h 190"/>
                  <a:gd name="T56" fmla="*/ 86 w 140"/>
                  <a:gd name="T57" fmla="*/ 185 h 190"/>
                  <a:gd name="T58" fmla="*/ 68 w 140"/>
                  <a:gd name="T59" fmla="*/ 172 h 190"/>
                  <a:gd name="T60" fmla="*/ 63 w 140"/>
                  <a:gd name="T61" fmla="*/ 167 h 190"/>
                  <a:gd name="T62" fmla="*/ 63 w 140"/>
                  <a:gd name="T63" fmla="*/ 167 h 190"/>
                  <a:gd name="T64" fmla="*/ 63 w 140"/>
                  <a:gd name="T65" fmla="*/ 158 h 190"/>
                  <a:gd name="T66" fmla="*/ 49 w 140"/>
                  <a:gd name="T67" fmla="*/ 154 h 190"/>
                  <a:gd name="T68" fmla="*/ 31 w 140"/>
                  <a:gd name="T69" fmla="*/ 140 h 190"/>
                  <a:gd name="T70" fmla="*/ 4 w 140"/>
                  <a:gd name="T71" fmla="*/ 122 h 190"/>
                  <a:gd name="T72" fmla="*/ 0 w 140"/>
                  <a:gd name="T73" fmla="*/ 118 h 190"/>
                  <a:gd name="T74" fmla="*/ 0 w 140"/>
                  <a:gd name="T75" fmla="*/ 95 h 190"/>
                  <a:gd name="T76" fmla="*/ 4 w 140"/>
                  <a:gd name="T77" fmla="*/ 90 h 190"/>
                  <a:gd name="T78" fmla="*/ 9 w 140"/>
                  <a:gd name="T79" fmla="*/ 81 h 190"/>
                  <a:gd name="T80" fmla="*/ 13 w 140"/>
                  <a:gd name="T81" fmla="*/ 77 h 190"/>
                  <a:gd name="T82" fmla="*/ 13 w 140"/>
                  <a:gd name="T83" fmla="*/ 77 h 190"/>
                  <a:gd name="T84" fmla="*/ 18 w 140"/>
                  <a:gd name="T85" fmla="*/ 72 h 190"/>
                  <a:gd name="T86" fmla="*/ 18 w 140"/>
                  <a:gd name="T87" fmla="*/ 63 h 190"/>
                  <a:gd name="T88" fmla="*/ 18 w 140"/>
                  <a:gd name="T89" fmla="*/ 54 h 190"/>
                  <a:gd name="T90" fmla="*/ 13 w 140"/>
                  <a:gd name="T91" fmla="*/ 50 h 190"/>
                  <a:gd name="T92" fmla="*/ 9 w 140"/>
                  <a:gd name="T93" fmla="*/ 41 h 190"/>
                  <a:gd name="T94" fmla="*/ 9 w 140"/>
                  <a:gd name="T95" fmla="*/ 32 h 190"/>
                  <a:gd name="T96" fmla="*/ 4 w 140"/>
                  <a:gd name="T97" fmla="*/ 32 h 190"/>
                  <a:gd name="T98" fmla="*/ 4 w 140"/>
                  <a:gd name="T99" fmla="*/ 18 h 190"/>
                  <a:gd name="T100" fmla="*/ 18 w 140"/>
                  <a:gd name="T101" fmla="*/ 0 h 190"/>
                  <a:gd name="T102" fmla="*/ 22 w 140"/>
                  <a:gd name="T103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90">
                    <a:moveTo>
                      <a:pt x="22" y="0"/>
                    </a:move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1" y="0"/>
                    </a:lnTo>
                    <a:lnTo>
                      <a:pt x="31" y="5"/>
                    </a:lnTo>
                    <a:lnTo>
                      <a:pt x="31" y="5"/>
                    </a:lnTo>
                    <a:lnTo>
                      <a:pt x="31" y="5"/>
                    </a:lnTo>
                    <a:lnTo>
                      <a:pt x="31" y="5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40" y="18"/>
                    </a:lnTo>
                    <a:lnTo>
                      <a:pt x="45" y="18"/>
                    </a:lnTo>
                    <a:lnTo>
                      <a:pt x="49" y="18"/>
                    </a:lnTo>
                    <a:lnTo>
                      <a:pt x="49" y="18"/>
                    </a:lnTo>
                    <a:lnTo>
                      <a:pt x="49" y="18"/>
                    </a:lnTo>
                    <a:lnTo>
                      <a:pt x="54" y="23"/>
                    </a:lnTo>
                    <a:lnTo>
                      <a:pt x="59" y="23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81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36"/>
                    </a:lnTo>
                    <a:lnTo>
                      <a:pt x="90" y="36"/>
                    </a:lnTo>
                    <a:lnTo>
                      <a:pt x="95" y="36"/>
                    </a:lnTo>
                    <a:lnTo>
                      <a:pt x="99" y="36"/>
                    </a:lnTo>
                    <a:lnTo>
                      <a:pt x="99" y="36"/>
                    </a:lnTo>
                    <a:lnTo>
                      <a:pt x="104" y="32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13" y="23"/>
                    </a:lnTo>
                    <a:lnTo>
                      <a:pt x="113" y="23"/>
                    </a:lnTo>
                    <a:lnTo>
                      <a:pt x="117" y="23"/>
                    </a:lnTo>
                    <a:lnTo>
                      <a:pt x="122" y="23"/>
                    </a:lnTo>
                    <a:lnTo>
                      <a:pt x="122" y="27"/>
                    </a:lnTo>
                    <a:lnTo>
                      <a:pt x="126" y="27"/>
                    </a:lnTo>
                    <a:lnTo>
                      <a:pt x="126" y="27"/>
                    </a:lnTo>
                    <a:lnTo>
                      <a:pt x="126" y="27"/>
                    </a:lnTo>
                    <a:lnTo>
                      <a:pt x="126" y="27"/>
                    </a:lnTo>
                    <a:lnTo>
                      <a:pt x="131" y="27"/>
                    </a:lnTo>
                    <a:lnTo>
                      <a:pt x="131" y="27"/>
                    </a:lnTo>
                    <a:lnTo>
                      <a:pt x="135" y="27"/>
                    </a:lnTo>
                    <a:lnTo>
                      <a:pt x="140" y="27"/>
                    </a:lnTo>
                    <a:lnTo>
                      <a:pt x="135" y="32"/>
                    </a:lnTo>
                    <a:lnTo>
                      <a:pt x="135" y="36"/>
                    </a:lnTo>
                    <a:lnTo>
                      <a:pt x="131" y="41"/>
                    </a:lnTo>
                    <a:lnTo>
                      <a:pt x="126" y="45"/>
                    </a:lnTo>
                    <a:lnTo>
                      <a:pt x="122" y="50"/>
                    </a:lnTo>
                    <a:lnTo>
                      <a:pt x="122" y="50"/>
                    </a:lnTo>
                    <a:lnTo>
                      <a:pt x="122" y="50"/>
                    </a:lnTo>
                    <a:lnTo>
                      <a:pt x="122" y="59"/>
                    </a:lnTo>
                    <a:lnTo>
                      <a:pt x="122" y="77"/>
                    </a:lnTo>
                    <a:lnTo>
                      <a:pt x="122" y="90"/>
                    </a:lnTo>
                    <a:lnTo>
                      <a:pt x="122" y="108"/>
                    </a:lnTo>
                    <a:lnTo>
                      <a:pt x="122" y="118"/>
                    </a:lnTo>
                    <a:lnTo>
                      <a:pt x="122" y="118"/>
                    </a:lnTo>
                    <a:lnTo>
                      <a:pt x="126" y="122"/>
                    </a:lnTo>
                    <a:lnTo>
                      <a:pt x="126" y="127"/>
                    </a:lnTo>
                    <a:lnTo>
                      <a:pt x="131" y="131"/>
                    </a:lnTo>
                    <a:lnTo>
                      <a:pt x="131" y="131"/>
                    </a:lnTo>
                    <a:lnTo>
                      <a:pt x="131" y="131"/>
                    </a:lnTo>
                    <a:lnTo>
                      <a:pt x="131" y="136"/>
                    </a:lnTo>
                    <a:lnTo>
                      <a:pt x="131" y="136"/>
                    </a:lnTo>
                    <a:lnTo>
                      <a:pt x="126" y="140"/>
                    </a:lnTo>
                    <a:lnTo>
                      <a:pt x="126" y="140"/>
                    </a:lnTo>
                    <a:lnTo>
                      <a:pt x="126" y="140"/>
                    </a:lnTo>
                    <a:lnTo>
                      <a:pt x="122" y="140"/>
                    </a:lnTo>
                    <a:lnTo>
                      <a:pt x="122" y="140"/>
                    </a:lnTo>
                    <a:lnTo>
                      <a:pt x="122" y="140"/>
                    </a:lnTo>
                    <a:lnTo>
                      <a:pt x="122" y="140"/>
                    </a:lnTo>
                    <a:lnTo>
                      <a:pt x="122" y="140"/>
                    </a:lnTo>
                    <a:lnTo>
                      <a:pt x="122" y="140"/>
                    </a:lnTo>
                    <a:lnTo>
                      <a:pt x="122" y="145"/>
                    </a:lnTo>
                    <a:lnTo>
                      <a:pt x="122" y="145"/>
                    </a:lnTo>
                    <a:lnTo>
                      <a:pt x="122" y="145"/>
                    </a:lnTo>
                    <a:lnTo>
                      <a:pt x="122" y="149"/>
                    </a:lnTo>
                    <a:lnTo>
                      <a:pt x="117" y="149"/>
                    </a:lnTo>
                    <a:lnTo>
                      <a:pt x="113" y="149"/>
                    </a:lnTo>
                    <a:lnTo>
                      <a:pt x="113" y="154"/>
                    </a:lnTo>
                    <a:lnTo>
                      <a:pt x="108" y="154"/>
                    </a:lnTo>
                    <a:lnTo>
                      <a:pt x="108" y="154"/>
                    </a:lnTo>
                    <a:lnTo>
                      <a:pt x="108" y="158"/>
                    </a:lnTo>
                    <a:lnTo>
                      <a:pt x="108" y="163"/>
                    </a:lnTo>
                    <a:lnTo>
                      <a:pt x="108" y="163"/>
                    </a:lnTo>
                    <a:lnTo>
                      <a:pt x="104" y="167"/>
                    </a:lnTo>
                    <a:lnTo>
                      <a:pt x="104" y="167"/>
                    </a:lnTo>
                    <a:lnTo>
                      <a:pt x="104" y="167"/>
                    </a:lnTo>
                    <a:lnTo>
                      <a:pt x="104" y="167"/>
                    </a:lnTo>
                    <a:lnTo>
                      <a:pt x="104" y="172"/>
                    </a:lnTo>
                    <a:lnTo>
                      <a:pt x="99" y="176"/>
                    </a:lnTo>
                    <a:lnTo>
                      <a:pt x="99" y="176"/>
                    </a:lnTo>
                    <a:lnTo>
                      <a:pt x="99" y="176"/>
                    </a:lnTo>
                    <a:lnTo>
                      <a:pt x="99" y="181"/>
                    </a:lnTo>
                    <a:lnTo>
                      <a:pt x="99" y="181"/>
                    </a:lnTo>
                    <a:lnTo>
                      <a:pt x="99" y="181"/>
                    </a:lnTo>
                    <a:lnTo>
                      <a:pt x="95" y="185"/>
                    </a:lnTo>
                    <a:lnTo>
                      <a:pt x="95" y="190"/>
                    </a:lnTo>
                    <a:lnTo>
                      <a:pt x="95" y="190"/>
                    </a:lnTo>
                    <a:lnTo>
                      <a:pt x="90" y="190"/>
                    </a:lnTo>
                    <a:lnTo>
                      <a:pt x="90" y="190"/>
                    </a:lnTo>
                    <a:lnTo>
                      <a:pt x="90" y="190"/>
                    </a:lnTo>
                    <a:lnTo>
                      <a:pt x="90" y="190"/>
                    </a:lnTo>
                    <a:lnTo>
                      <a:pt x="86" y="185"/>
                    </a:lnTo>
                    <a:lnTo>
                      <a:pt x="86" y="185"/>
                    </a:lnTo>
                    <a:lnTo>
                      <a:pt x="72" y="176"/>
                    </a:lnTo>
                    <a:lnTo>
                      <a:pt x="72" y="176"/>
                    </a:lnTo>
                    <a:lnTo>
                      <a:pt x="68" y="172"/>
                    </a:lnTo>
                    <a:lnTo>
                      <a:pt x="68" y="172"/>
                    </a:lnTo>
                    <a:lnTo>
                      <a:pt x="68" y="172"/>
                    </a:lnTo>
                    <a:lnTo>
                      <a:pt x="68" y="167"/>
                    </a:lnTo>
                    <a:lnTo>
                      <a:pt x="68" y="167"/>
                    </a:lnTo>
                    <a:lnTo>
                      <a:pt x="63" y="167"/>
                    </a:lnTo>
                    <a:lnTo>
                      <a:pt x="63" y="167"/>
                    </a:lnTo>
                    <a:lnTo>
                      <a:pt x="63" y="167"/>
                    </a:lnTo>
                    <a:lnTo>
                      <a:pt x="63" y="167"/>
                    </a:lnTo>
                    <a:lnTo>
                      <a:pt x="63" y="167"/>
                    </a:lnTo>
                    <a:lnTo>
                      <a:pt x="63" y="163"/>
                    </a:lnTo>
                    <a:lnTo>
                      <a:pt x="63" y="163"/>
                    </a:lnTo>
                    <a:lnTo>
                      <a:pt x="63" y="163"/>
                    </a:lnTo>
                    <a:lnTo>
                      <a:pt x="63" y="158"/>
                    </a:lnTo>
                    <a:lnTo>
                      <a:pt x="63" y="158"/>
                    </a:lnTo>
                    <a:lnTo>
                      <a:pt x="63" y="158"/>
                    </a:lnTo>
                    <a:lnTo>
                      <a:pt x="54" y="154"/>
                    </a:lnTo>
                    <a:lnTo>
                      <a:pt x="49" y="154"/>
                    </a:lnTo>
                    <a:lnTo>
                      <a:pt x="45" y="149"/>
                    </a:lnTo>
                    <a:lnTo>
                      <a:pt x="40" y="145"/>
                    </a:lnTo>
                    <a:lnTo>
                      <a:pt x="36" y="145"/>
                    </a:lnTo>
                    <a:lnTo>
                      <a:pt x="31" y="140"/>
                    </a:lnTo>
                    <a:lnTo>
                      <a:pt x="27" y="136"/>
                    </a:lnTo>
                    <a:lnTo>
                      <a:pt x="9" y="127"/>
                    </a:lnTo>
                    <a:lnTo>
                      <a:pt x="9" y="127"/>
                    </a:lnTo>
                    <a:lnTo>
                      <a:pt x="4" y="122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0" y="118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99"/>
                    </a:lnTo>
                    <a:lnTo>
                      <a:pt x="0" y="95"/>
                    </a:lnTo>
                    <a:lnTo>
                      <a:pt x="4" y="95"/>
                    </a:lnTo>
                    <a:lnTo>
                      <a:pt x="4" y="90"/>
                    </a:lnTo>
                    <a:lnTo>
                      <a:pt x="4" y="90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9" y="86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13" y="81"/>
                    </a:lnTo>
                    <a:lnTo>
                      <a:pt x="13" y="81"/>
                    </a:lnTo>
                    <a:lnTo>
                      <a:pt x="13" y="77"/>
                    </a:lnTo>
                    <a:lnTo>
                      <a:pt x="13" y="77"/>
                    </a:lnTo>
                    <a:lnTo>
                      <a:pt x="13" y="77"/>
                    </a:lnTo>
                    <a:lnTo>
                      <a:pt x="13" y="77"/>
                    </a:lnTo>
                    <a:lnTo>
                      <a:pt x="13" y="77"/>
                    </a:lnTo>
                    <a:lnTo>
                      <a:pt x="13" y="77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3"/>
                    </a:lnTo>
                    <a:lnTo>
                      <a:pt x="18" y="59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3" y="54"/>
                    </a:lnTo>
                    <a:lnTo>
                      <a:pt x="13" y="50"/>
                    </a:lnTo>
                    <a:lnTo>
                      <a:pt x="13" y="50"/>
                    </a:lnTo>
                    <a:lnTo>
                      <a:pt x="13" y="50"/>
                    </a:lnTo>
                    <a:lnTo>
                      <a:pt x="13" y="45"/>
                    </a:lnTo>
                    <a:lnTo>
                      <a:pt x="9" y="45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0" y="23"/>
                    </a:lnTo>
                    <a:lnTo>
                      <a:pt x="4" y="18"/>
                    </a:lnTo>
                    <a:lnTo>
                      <a:pt x="9" y="14"/>
                    </a:lnTo>
                    <a:lnTo>
                      <a:pt x="13" y="9"/>
                    </a:lnTo>
                    <a:lnTo>
                      <a:pt x="18" y="5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68" name="Freeform 89"/>
              <p:cNvSpPr>
                <a:spLocks/>
              </p:cNvSpPr>
              <p:nvPr/>
            </p:nvSpPr>
            <p:spPr bwMode="auto">
              <a:xfrm>
                <a:off x="6019801" y="1631951"/>
                <a:ext cx="244475" cy="122238"/>
              </a:xfrm>
              <a:custGeom>
                <a:avLst/>
                <a:gdLst>
                  <a:gd name="T0" fmla="*/ 68 w 154"/>
                  <a:gd name="T1" fmla="*/ 5 h 77"/>
                  <a:gd name="T2" fmla="*/ 82 w 154"/>
                  <a:gd name="T3" fmla="*/ 5 h 77"/>
                  <a:gd name="T4" fmla="*/ 100 w 154"/>
                  <a:gd name="T5" fmla="*/ 5 h 77"/>
                  <a:gd name="T6" fmla="*/ 109 w 154"/>
                  <a:gd name="T7" fmla="*/ 5 h 77"/>
                  <a:gd name="T8" fmla="*/ 127 w 154"/>
                  <a:gd name="T9" fmla="*/ 5 h 77"/>
                  <a:gd name="T10" fmla="*/ 131 w 154"/>
                  <a:gd name="T11" fmla="*/ 9 h 77"/>
                  <a:gd name="T12" fmla="*/ 145 w 154"/>
                  <a:gd name="T13" fmla="*/ 9 h 77"/>
                  <a:gd name="T14" fmla="*/ 154 w 154"/>
                  <a:gd name="T15" fmla="*/ 18 h 77"/>
                  <a:gd name="T16" fmla="*/ 140 w 154"/>
                  <a:gd name="T17" fmla="*/ 23 h 77"/>
                  <a:gd name="T18" fmla="*/ 131 w 154"/>
                  <a:gd name="T19" fmla="*/ 32 h 77"/>
                  <a:gd name="T20" fmla="*/ 122 w 154"/>
                  <a:gd name="T21" fmla="*/ 41 h 77"/>
                  <a:gd name="T22" fmla="*/ 109 w 154"/>
                  <a:gd name="T23" fmla="*/ 41 h 77"/>
                  <a:gd name="T24" fmla="*/ 109 w 154"/>
                  <a:gd name="T25" fmla="*/ 50 h 77"/>
                  <a:gd name="T26" fmla="*/ 104 w 154"/>
                  <a:gd name="T27" fmla="*/ 54 h 77"/>
                  <a:gd name="T28" fmla="*/ 91 w 154"/>
                  <a:gd name="T29" fmla="*/ 50 h 77"/>
                  <a:gd name="T30" fmla="*/ 86 w 154"/>
                  <a:gd name="T31" fmla="*/ 54 h 77"/>
                  <a:gd name="T32" fmla="*/ 82 w 154"/>
                  <a:gd name="T33" fmla="*/ 54 h 77"/>
                  <a:gd name="T34" fmla="*/ 73 w 154"/>
                  <a:gd name="T35" fmla="*/ 59 h 77"/>
                  <a:gd name="T36" fmla="*/ 68 w 154"/>
                  <a:gd name="T37" fmla="*/ 63 h 77"/>
                  <a:gd name="T38" fmla="*/ 73 w 154"/>
                  <a:gd name="T39" fmla="*/ 72 h 77"/>
                  <a:gd name="T40" fmla="*/ 64 w 154"/>
                  <a:gd name="T41" fmla="*/ 72 h 77"/>
                  <a:gd name="T42" fmla="*/ 54 w 154"/>
                  <a:gd name="T43" fmla="*/ 72 h 77"/>
                  <a:gd name="T44" fmla="*/ 45 w 154"/>
                  <a:gd name="T45" fmla="*/ 77 h 77"/>
                  <a:gd name="T46" fmla="*/ 41 w 154"/>
                  <a:gd name="T47" fmla="*/ 77 h 77"/>
                  <a:gd name="T48" fmla="*/ 36 w 154"/>
                  <a:gd name="T49" fmla="*/ 72 h 77"/>
                  <a:gd name="T50" fmla="*/ 32 w 154"/>
                  <a:gd name="T51" fmla="*/ 72 h 77"/>
                  <a:gd name="T52" fmla="*/ 23 w 154"/>
                  <a:gd name="T53" fmla="*/ 72 h 77"/>
                  <a:gd name="T54" fmla="*/ 14 w 154"/>
                  <a:gd name="T55" fmla="*/ 72 h 77"/>
                  <a:gd name="T56" fmla="*/ 9 w 154"/>
                  <a:gd name="T57" fmla="*/ 72 h 77"/>
                  <a:gd name="T58" fmla="*/ 0 w 154"/>
                  <a:gd name="T59" fmla="*/ 68 h 77"/>
                  <a:gd name="T60" fmla="*/ 0 w 154"/>
                  <a:gd name="T61" fmla="*/ 63 h 77"/>
                  <a:gd name="T62" fmla="*/ 0 w 154"/>
                  <a:gd name="T63" fmla="*/ 63 h 77"/>
                  <a:gd name="T64" fmla="*/ 14 w 154"/>
                  <a:gd name="T65" fmla="*/ 63 h 77"/>
                  <a:gd name="T66" fmla="*/ 18 w 154"/>
                  <a:gd name="T67" fmla="*/ 59 h 77"/>
                  <a:gd name="T68" fmla="*/ 27 w 154"/>
                  <a:gd name="T69" fmla="*/ 59 h 77"/>
                  <a:gd name="T70" fmla="*/ 32 w 154"/>
                  <a:gd name="T71" fmla="*/ 59 h 77"/>
                  <a:gd name="T72" fmla="*/ 36 w 154"/>
                  <a:gd name="T73" fmla="*/ 59 h 77"/>
                  <a:gd name="T74" fmla="*/ 41 w 154"/>
                  <a:gd name="T75" fmla="*/ 54 h 77"/>
                  <a:gd name="T76" fmla="*/ 41 w 154"/>
                  <a:gd name="T77" fmla="*/ 50 h 77"/>
                  <a:gd name="T78" fmla="*/ 50 w 154"/>
                  <a:gd name="T79" fmla="*/ 50 h 77"/>
                  <a:gd name="T80" fmla="*/ 50 w 154"/>
                  <a:gd name="T81" fmla="*/ 45 h 77"/>
                  <a:gd name="T82" fmla="*/ 41 w 154"/>
                  <a:gd name="T83" fmla="*/ 41 h 77"/>
                  <a:gd name="T84" fmla="*/ 36 w 154"/>
                  <a:gd name="T85" fmla="*/ 41 h 77"/>
                  <a:gd name="T86" fmla="*/ 32 w 154"/>
                  <a:gd name="T87" fmla="*/ 36 h 77"/>
                  <a:gd name="T88" fmla="*/ 27 w 154"/>
                  <a:gd name="T89" fmla="*/ 32 h 77"/>
                  <a:gd name="T90" fmla="*/ 27 w 154"/>
                  <a:gd name="T91" fmla="*/ 36 h 77"/>
                  <a:gd name="T92" fmla="*/ 23 w 154"/>
                  <a:gd name="T93" fmla="*/ 41 h 77"/>
                  <a:gd name="T94" fmla="*/ 14 w 154"/>
                  <a:gd name="T95" fmla="*/ 41 h 77"/>
                  <a:gd name="T96" fmla="*/ 5 w 154"/>
                  <a:gd name="T97" fmla="*/ 36 h 77"/>
                  <a:gd name="T98" fmla="*/ 9 w 154"/>
                  <a:gd name="T99" fmla="*/ 27 h 77"/>
                  <a:gd name="T100" fmla="*/ 14 w 154"/>
                  <a:gd name="T101" fmla="*/ 23 h 77"/>
                  <a:gd name="T102" fmla="*/ 9 w 154"/>
                  <a:gd name="T103" fmla="*/ 18 h 77"/>
                  <a:gd name="T104" fmla="*/ 9 w 154"/>
                  <a:gd name="T105" fmla="*/ 14 h 77"/>
                  <a:gd name="T106" fmla="*/ 18 w 154"/>
                  <a:gd name="T107" fmla="*/ 9 h 77"/>
                  <a:gd name="T108" fmla="*/ 32 w 154"/>
                  <a:gd name="T109" fmla="*/ 9 h 77"/>
                  <a:gd name="T110" fmla="*/ 45 w 154"/>
                  <a:gd name="T111" fmla="*/ 14 h 77"/>
                  <a:gd name="T112" fmla="*/ 45 w 154"/>
                  <a:gd name="T113" fmla="*/ 5 h 77"/>
                  <a:gd name="T114" fmla="*/ 54 w 154"/>
                  <a:gd name="T115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4" h="77">
                    <a:moveTo>
                      <a:pt x="54" y="0"/>
                    </a:moveTo>
                    <a:lnTo>
                      <a:pt x="54" y="0"/>
                    </a:lnTo>
                    <a:lnTo>
                      <a:pt x="54" y="0"/>
                    </a:lnTo>
                    <a:lnTo>
                      <a:pt x="59" y="5"/>
                    </a:lnTo>
                    <a:lnTo>
                      <a:pt x="64" y="5"/>
                    </a:lnTo>
                    <a:lnTo>
                      <a:pt x="68" y="5"/>
                    </a:lnTo>
                    <a:lnTo>
                      <a:pt x="73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6" y="5"/>
                    </a:lnTo>
                    <a:lnTo>
                      <a:pt x="91" y="5"/>
                    </a:lnTo>
                    <a:lnTo>
                      <a:pt x="91" y="5"/>
                    </a:lnTo>
                    <a:lnTo>
                      <a:pt x="95" y="5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4" y="5"/>
                    </a:lnTo>
                    <a:lnTo>
                      <a:pt x="104" y="5"/>
                    </a:lnTo>
                    <a:lnTo>
                      <a:pt x="104" y="5"/>
                    </a:lnTo>
                    <a:lnTo>
                      <a:pt x="109" y="5"/>
                    </a:lnTo>
                    <a:lnTo>
                      <a:pt x="109" y="5"/>
                    </a:lnTo>
                    <a:lnTo>
                      <a:pt x="113" y="5"/>
                    </a:lnTo>
                    <a:lnTo>
                      <a:pt x="118" y="5"/>
                    </a:lnTo>
                    <a:lnTo>
                      <a:pt x="118" y="5"/>
                    </a:lnTo>
                    <a:lnTo>
                      <a:pt x="122" y="5"/>
                    </a:lnTo>
                    <a:lnTo>
                      <a:pt x="122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1" y="9"/>
                    </a:lnTo>
                    <a:lnTo>
                      <a:pt x="136" y="9"/>
                    </a:lnTo>
                    <a:lnTo>
                      <a:pt x="136" y="9"/>
                    </a:lnTo>
                    <a:lnTo>
                      <a:pt x="136" y="9"/>
                    </a:lnTo>
                    <a:lnTo>
                      <a:pt x="140" y="9"/>
                    </a:lnTo>
                    <a:lnTo>
                      <a:pt x="140" y="9"/>
                    </a:lnTo>
                    <a:lnTo>
                      <a:pt x="145" y="9"/>
                    </a:lnTo>
                    <a:lnTo>
                      <a:pt x="145" y="14"/>
                    </a:lnTo>
                    <a:lnTo>
                      <a:pt x="149" y="14"/>
                    </a:lnTo>
                    <a:lnTo>
                      <a:pt x="154" y="14"/>
                    </a:lnTo>
                    <a:lnTo>
                      <a:pt x="154" y="18"/>
                    </a:lnTo>
                    <a:lnTo>
                      <a:pt x="154" y="18"/>
                    </a:lnTo>
                    <a:lnTo>
                      <a:pt x="154" y="18"/>
                    </a:lnTo>
                    <a:lnTo>
                      <a:pt x="154" y="18"/>
                    </a:lnTo>
                    <a:lnTo>
                      <a:pt x="149" y="18"/>
                    </a:lnTo>
                    <a:lnTo>
                      <a:pt x="149" y="18"/>
                    </a:lnTo>
                    <a:lnTo>
                      <a:pt x="149" y="23"/>
                    </a:lnTo>
                    <a:lnTo>
                      <a:pt x="145" y="23"/>
                    </a:lnTo>
                    <a:lnTo>
                      <a:pt x="140" y="23"/>
                    </a:lnTo>
                    <a:lnTo>
                      <a:pt x="140" y="23"/>
                    </a:lnTo>
                    <a:lnTo>
                      <a:pt x="140" y="27"/>
                    </a:lnTo>
                    <a:lnTo>
                      <a:pt x="136" y="27"/>
                    </a:lnTo>
                    <a:lnTo>
                      <a:pt x="131" y="32"/>
                    </a:lnTo>
                    <a:lnTo>
                      <a:pt x="131" y="32"/>
                    </a:lnTo>
                    <a:lnTo>
                      <a:pt x="131" y="32"/>
                    </a:lnTo>
                    <a:lnTo>
                      <a:pt x="131" y="32"/>
                    </a:lnTo>
                    <a:lnTo>
                      <a:pt x="131" y="36"/>
                    </a:lnTo>
                    <a:lnTo>
                      <a:pt x="127" y="36"/>
                    </a:lnTo>
                    <a:lnTo>
                      <a:pt x="127" y="41"/>
                    </a:lnTo>
                    <a:lnTo>
                      <a:pt x="122" y="41"/>
                    </a:lnTo>
                    <a:lnTo>
                      <a:pt x="122" y="41"/>
                    </a:lnTo>
                    <a:lnTo>
                      <a:pt x="118" y="41"/>
                    </a:lnTo>
                    <a:lnTo>
                      <a:pt x="113" y="41"/>
                    </a:lnTo>
                    <a:lnTo>
                      <a:pt x="113" y="41"/>
                    </a:lnTo>
                    <a:lnTo>
                      <a:pt x="109" y="41"/>
                    </a:lnTo>
                    <a:lnTo>
                      <a:pt x="109" y="41"/>
                    </a:lnTo>
                    <a:lnTo>
                      <a:pt x="109" y="41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09" y="50"/>
                    </a:lnTo>
                    <a:lnTo>
                      <a:pt x="109" y="50"/>
                    </a:lnTo>
                    <a:lnTo>
                      <a:pt x="109" y="50"/>
                    </a:lnTo>
                    <a:lnTo>
                      <a:pt x="104" y="54"/>
                    </a:lnTo>
                    <a:lnTo>
                      <a:pt x="104" y="54"/>
                    </a:lnTo>
                    <a:lnTo>
                      <a:pt x="104" y="50"/>
                    </a:lnTo>
                    <a:lnTo>
                      <a:pt x="104" y="54"/>
                    </a:lnTo>
                    <a:lnTo>
                      <a:pt x="104" y="54"/>
                    </a:lnTo>
                    <a:lnTo>
                      <a:pt x="100" y="54"/>
                    </a:lnTo>
                    <a:lnTo>
                      <a:pt x="100" y="54"/>
                    </a:lnTo>
                    <a:lnTo>
                      <a:pt x="100" y="54"/>
                    </a:lnTo>
                    <a:lnTo>
                      <a:pt x="95" y="54"/>
                    </a:lnTo>
                    <a:lnTo>
                      <a:pt x="95" y="54"/>
                    </a:lnTo>
                    <a:lnTo>
                      <a:pt x="91" y="50"/>
                    </a:lnTo>
                    <a:lnTo>
                      <a:pt x="91" y="50"/>
                    </a:lnTo>
                    <a:lnTo>
                      <a:pt x="91" y="50"/>
                    </a:lnTo>
                    <a:lnTo>
                      <a:pt x="91" y="50"/>
                    </a:lnTo>
                    <a:lnTo>
                      <a:pt x="86" y="50"/>
                    </a:lnTo>
                    <a:lnTo>
                      <a:pt x="86" y="50"/>
                    </a:lnTo>
                    <a:lnTo>
                      <a:pt x="86" y="54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77" y="54"/>
                    </a:lnTo>
                    <a:lnTo>
                      <a:pt x="77" y="59"/>
                    </a:lnTo>
                    <a:lnTo>
                      <a:pt x="73" y="59"/>
                    </a:lnTo>
                    <a:lnTo>
                      <a:pt x="73" y="59"/>
                    </a:lnTo>
                    <a:lnTo>
                      <a:pt x="73" y="59"/>
                    </a:lnTo>
                    <a:lnTo>
                      <a:pt x="73" y="59"/>
                    </a:lnTo>
                    <a:lnTo>
                      <a:pt x="73" y="63"/>
                    </a:lnTo>
                    <a:lnTo>
                      <a:pt x="68" y="63"/>
                    </a:lnTo>
                    <a:lnTo>
                      <a:pt x="68" y="63"/>
                    </a:lnTo>
                    <a:lnTo>
                      <a:pt x="68" y="63"/>
                    </a:lnTo>
                    <a:lnTo>
                      <a:pt x="68" y="68"/>
                    </a:lnTo>
                    <a:lnTo>
                      <a:pt x="73" y="68"/>
                    </a:lnTo>
                    <a:lnTo>
                      <a:pt x="73" y="68"/>
                    </a:lnTo>
                    <a:lnTo>
                      <a:pt x="73" y="68"/>
                    </a:lnTo>
                    <a:lnTo>
                      <a:pt x="73" y="72"/>
                    </a:lnTo>
                    <a:lnTo>
                      <a:pt x="73" y="72"/>
                    </a:lnTo>
                    <a:lnTo>
                      <a:pt x="68" y="72"/>
                    </a:lnTo>
                    <a:lnTo>
                      <a:pt x="68" y="72"/>
                    </a:lnTo>
                    <a:lnTo>
                      <a:pt x="68" y="72"/>
                    </a:lnTo>
                    <a:lnTo>
                      <a:pt x="68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59" y="72"/>
                    </a:lnTo>
                    <a:lnTo>
                      <a:pt x="59" y="72"/>
                    </a:lnTo>
                    <a:lnTo>
                      <a:pt x="59" y="72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2"/>
                    </a:lnTo>
                    <a:lnTo>
                      <a:pt x="45" y="77"/>
                    </a:lnTo>
                    <a:lnTo>
                      <a:pt x="41" y="77"/>
                    </a:lnTo>
                    <a:lnTo>
                      <a:pt x="41" y="77"/>
                    </a:lnTo>
                    <a:lnTo>
                      <a:pt x="41" y="77"/>
                    </a:lnTo>
                    <a:lnTo>
                      <a:pt x="41" y="72"/>
                    </a:lnTo>
                    <a:lnTo>
                      <a:pt x="41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68"/>
                    </a:lnTo>
                    <a:lnTo>
                      <a:pt x="32" y="72"/>
                    </a:lnTo>
                    <a:lnTo>
                      <a:pt x="32" y="72"/>
                    </a:lnTo>
                    <a:lnTo>
                      <a:pt x="32" y="72"/>
                    </a:lnTo>
                    <a:lnTo>
                      <a:pt x="32" y="72"/>
                    </a:lnTo>
                    <a:lnTo>
                      <a:pt x="27" y="72"/>
                    </a:lnTo>
                    <a:lnTo>
                      <a:pt x="27" y="72"/>
                    </a:lnTo>
                    <a:lnTo>
                      <a:pt x="27" y="72"/>
                    </a:lnTo>
                    <a:lnTo>
                      <a:pt x="23" y="72"/>
                    </a:lnTo>
                    <a:lnTo>
                      <a:pt x="23" y="72"/>
                    </a:lnTo>
                    <a:lnTo>
                      <a:pt x="23" y="72"/>
                    </a:lnTo>
                    <a:lnTo>
                      <a:pt x="23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9" y="72"/>
                    </a:lnTo>
                    <a:lnTo>
                      <a:pt x="9" y="72"/>
                    </a:lnTo>
                    <a:lnTo>
                      <a:pt x="5" y="72"/>
                    </a:lnTo>
                    <a:lnTo>
                      <a:pt x="5" y="72"/>
                    </a:lnTo>
                    <a:lnTo>
                      <a:pt x="5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5" y="59"/>
                    </a:lnTo>
                    <a:lnTo>
                      <a:pt x="9" y="59"/>
                    </a:lnTo>
                    <a:lnTo>
                      <a:pt x="9" y="59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18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32" y="59"/>
                    </a:lnTo>
                    <a:lnTo>
                      <a:pt x="32" y="59"/>
                    </a:lnTo>
                    <a:lnTo>
                      <a:pt x="32" y="59"/>
                    </a:lnTo>
                    <a:lnTo>
                      <a:pt x="32" y="59"/>
                    </a:lnTo>
                    <a:lnTo>
                      <a:pt x="32" y="59"/>
                    </a:lnTo>
                    <a:lnTo>
                      <a:pt x="32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5" y="54"/>
                    </a:lnTo>
                    <a:lnTo>
                      <a:pt x="45" y="54"/>
                    </a:lnTo>
                    <a:lnTo>
                      <a:pt x="45" y="54"/>
                    </a:lnTo>
                    <a:lnTo>
                      <a:pt x="41" y="54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4" y="45"/>
                    </a:lnTo>
                    <a:lnTo>
                      <a:pt x="54" y="45"/>
                    </a:lnTo>
                    <a:lnTo>
                      <a:pt x="54" y="45"/>
                    </a:lnTo>
                    <a:lnTo>
                      <a:pt x="50" y="45"/>
                    </a:lnTo>
                    <a:lnTo>
                      <a:pt x="50" y="45"/>
                    </a:lnTo>
                    <a:lnTo>
                      <a:pt x="50" y="45"/>
                    </a:lnTo>
                    <a:lnTo>
                      <a:pt x="50" y="45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1" y="45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32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3" y="32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4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41" y="14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50" y="14"/>
                    </a:lnTo>
                    <a:lnTo>
                      <a:pt x="45" y="14"/>
                    </a:lnTo>
                    <a:lnTo>
                      <a:pt x="45" y="9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69" name="Freeform 90"/>
              <p:cNvSpPr>
                <a:spLocks/>
              </p:cNvSpPr>
              <p:nvPr/>
            </p:nvSpPr>
            <p:spPr bwMode="auto">
              <a:xfrm>
                <a:off x="7073901" y="2486026"/>
                <a:ext cx="150813" cy="136525"/>
              </a:xfrm>
              <a:custGeom>
                <a:avLst/>
                <a:gdLst>
                  <a:gd name="T0" fmla="*/ 86 w 95"/>
                  <a:gd name="T1" fmla="*/ 5 h 86"/>
                  <a:gd name="T2" fmla="*/ 86 w 95"/>
                  <a:gd name="T3" fmla="*/ 9 h 86"/>
                  <a:gd name="T4" fmla="*/ 91 w 95"/>
                  <a:gd name="T5" fmla="*/ 18 h 86"/>
                  <a:gd name="T6" fmla="*/ 91 w 95"/>
                  <a:gd name="T7" fmla="*/ 32 h 86"/>
                  <a:gd name="T8" fmla="*/ 95 w 95"/>
                  <a:gd name="T9" fmla="*/ 41 h 86"/>
                  <a:gd name="T10" fmla="*/ 91 w 95"/>
                  <a:gd name="T11" fmla="*/ 45 h 86"/>
                  <a:gd name="T12" fmla="*/ 86 w 95"/>
                  <a:gd name="T13" fmla="*/ 45 h 86"/>
                  <a:gd name="T14" fmla="*/ 82 w 95"/>
                  <a:gd name="T15" fmla="*/ 54 h 86"/>
                  <a:gd name="T16" fmla="*/ 77 w 95"/>
                  <a:gd name="T17" fmla="*/ 54 h 86"/>
                  <a:gd name="T18" fmla="*/ 77 w 95"/>
                  <a:gd name="T19" fmla="*/ 59 h 86"/>
                  <a:gd name="T20" fmla="*/ 68 w 95"/>
                  <a:gd name="T21" fmla="*/ 59 h 86"/>
                  <a:gd name="T22" fmla="*/ 68 w 95"/>
                  <a:gd name="T23" fmla="*/ 59 h 86"/>
                  <a:gd name="T24" fmla="*/ 68 w 95"/>
                  <a:gd name="T25" fmla="*/ 68 h 86"/>
                  <a:gd name="T26" fmla="*/ 73 w 95"/>
                  <a:gd name="T27" fmla="*/ 72 h 86"/>
                  <a:gd name="T28" fmla="*/ 73 w 95"/>
                  <a:gd name="T29" fmla="*/ 77 h 86"/>
                  <a:gd name="T30" fmla="*/ 68 w 95"/>
                  <a:gd name="T31" fmla="*/ 72 h 86"/>
                  <a:gd name="T32" fmla="*/ 64 w 95"/>
                  <a:gd name="T33" fmla="*/ 72 h 86"/>
                  <a:gd name="T34" fmla="*/ 59 w 95"/>
                  <a:gd name="T35" fmla="*/ 77 h 86"/>
                  <a:gd name="T36" fmla="*/ 55 w 95"/>
                  <a:gd name="T37" fmla="*/ 77 h 86"/>
                  <a:gd name="T38" fmla="*/ 55 w 95"/>
                  <a:gd name="T39" fmla="*/ 81 h 86"/>
                  <a:gd name="T40" fmla="*/ 50 w 95"/>
                  <a:gd name="T41" fmla="*/ 81 h 86"/>
                  <a:gd name="T42" fmla="*/ 41 w 95"/>
                  <a:gd name="T43" fmla="*/ 81 h 86"/>
                  <a:gd name="T44" fmla="*/ 37 w 95"/>
                  <a:gd name="T45" fmla="*/ 81 h 86"/>
                  <a:gd name="T46" fmla="*/ 32 w 95"/>
                  <a:gd name="T47" fmla="*/ 81 h 86"/>
                  <a:gd name="T48" fmla="*/ 32 w 95"/>
                  <a:gd name="T49" fmla="*/ 72 h 86"/>
                  <a:gd name="T50" fmla="*/ 27 w 95"/>
                  <a:gd name="T51" fmla="*/ 72 h 86"/>
                  <a:gd name="T52" fmla="*/ 23 w 95"/>
                  <a:gd name="T53" fmla="*/ 72 h 86"/>
                  <a:gd name="T54" fmla="*/ 18 w 95"/>
                  <a:gd name="T55" fmla="*/ 63 h 86"/>
                  <a:gd name="T56" fmla="*/ 18 w 95"/>
                  <a:gd name="T57" fmla="*/ 59 h 86"/>
                  <a:gd name="T58" fmla="*/ 9 w 95"/>
                  <a:gd name="T59" fmla="*/ 45 h 86"/>
                  <a:gd name="T60" fmla="*/ 5 w 95"/>
                  <a:gd name="T61" fmla="*/ 41 h 86"/>
                  <a:gd name="T62" fmla="*/ 5 w 95"/>
                  <a:gd name="T63" fmla="*/ 32 h 86"/>
                  <a:gd name="T64" fmla="*/ 5 w 95"/>
                  <a:gd name="T65" fmla="*/ 23 h 86"/>
                  <a:gd name="T66" fmla="*/ 5 w 95"/>
                  <a:gd name="T67" fmla="*/ 18 h 86"/>
                  <a:gd name="T68" fmla="*/ 9 w 95"/>
                  <a:gd name="T69" fmla="*/ 9 h 86"/>
                  <a:gd name="T70" fmla="*/ 18 w 95"/>
                  <a:gd name="T71" fmla="*/ 5 h 86"/>
                  <a:gd name="T72" fmla="*/ 23 w 95"/>
                  <a:gd name="T73" fmla="*/ 5 h 86"/>
                  <a:gd name="T74" fmla="*/ 32 w 95"/>
                  <a:gd name="T75" fmla="*/ 5 h 86"/>
                  <a:gd name="T76" fmla="*/ 41 w 95"/>
                  <a:gd name="T77" fmla="*/ 5 h 86"/>
                  <a:gd name="T78" fmla="*/ 46 w 95"/>
                  <a:gd name="T79" fmla="*/ 9 h 86"/>
                  <a:gd name="T80" fmla="*/ 50 w 95"/>
                  <a:gd name="T81" fmla="*/ 5 h 86"/>
                  <a:gd name="T82" fmla="*/ 50 w 95"/>
                  <a:gd name="T83" fmla="*/ 9 h 86"/>
                  <a:gd name="T84" fmla="*/ 59 w 95"/>
                  <a:gd name="T85" fmla="*/ 9 h 86"/>
                  <a:gd name="T86" fmla="*/ 64 w 95"/>
                  <a:gd name="T87" fmla="*/ 14 h 86"/>
                  <a:gd name="T88" fmla="*/ 64 w 95"/>
                  <a:gd name="T89" fmla="*/ 5 h 86"/>
                  <a:gd name="T90" fmla="*/ 64 w 95"/>
                  <a:gd name="T91" fmla="*/ 5 h 86"/>
                  <a:gd name="T92" fmla="*/ 68 w 95"/>
                  <a:gd name="T93" fmla="*/ 0 h 86"/>
                  <a:gd name="T94" fmla="*/ 73 w 95"/>
                  <a:gd name="T95" fmla="*/ 5 h 86"/>
                  <a:gd name="T96" fmla="*/ 77 w 95"/>
                  <a:gd name="T97" fmla="*/ 5 h 86"/>
                  <a:gd name="T98" fmla="*/ 82 w 95"/>
                  <a:gd name="T99" fmla="*/ 5 h 86"/>
                  <a:gd name="T100" fmla="*/ 82 w 95"/>
                  <a:gd name="T101" fmla="*/ 0 h 86"/>
                  <a:gd name="T102" fmla="*/ 86 w 95"/>
                  <a:gd name="T103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5" h="86">
                    <a:moveTo>
                      <a:pt x="86" y="0"/>
                    </a:moveTo>
                    <a:lnTo>
                      <a:pt x="86" y="0"/>
                    </a:lnTo>
                    <a:lnTo>
                      <a:pt x="86" y="0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6" y="9"/>
                    </a:lnTo>
                    <a:lnTo>
                      <a:pt x="86" y="9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91" y="14"/>
                    </a:lnTo>
                    <a:lnTo>
                      <a:pt x="91" y="18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91" y="27"/>
                    </a:lnTo>
                    <a:lnTo>
                      <a:pt x="91" y="32"/>
                    </a:lnTo>
                    <a:lnTo>
                      <a:pt x="91" y="32"/>
                    </a:lnTo>
                    <a:lnTo>
                      <a:pt x="91" y="36"/>
                    </a:lnTo>
                    <a:lnTo>
                      <a:pt x="95" y="36"/>
                    </a:lnTo>
                    <a:lnTo>
                      <a:pt x="95" y="41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86" y="45"/>
                    </a:lnTo>
                    <a:lnTo>
                      <a:pt x="86" y="50"/>
                    </a:lnTo>
                    <a:lnTo>
                      <a:pt x="86" y="50"/>
                    </a:lnTo>
                    <a:lnTo>
                      <a:pt x="82" y="50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77" y="54"/>
                    </a:lnTo>
                    <a:lnTo>
                      <a:pt x="77" y="54"/>
                    </a:lnTo>
                    <a:lnTo>
                      <a:pt x="77" y="54"/>
                    </a:lnTo>
                    <a:lnTo>
                      <a:pt x="77" y="59"/>
                    </a:lnTo>
                    <a:lnTo>
                      <a:pt x="77" y="59"/>
                    </a:lnTo>
                    <a:lnTo>
                      <a:pt x="77" y="59"/>
                    </a:lnTo>
                    <a:lnTo>
                      <a:pt x="77" y="59"/>
                    </a:lnTo>
                    <a:lnTo>
                      <a:pt x="73" y="59"/>
                    </a:lnTo>
                    <a:lnTo>
                      <a:pt x="73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63"/>
                    </a:lnTo>
                    <a:lnTo>
                      <a:pt x="68" y="63"/>
                    </a:lnTo>
                    <a:lnTo>
                      <a:pt x="68" y="63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3" y="72"/>
                    </a:lnTo>
                    <a:lnTo>
                      <a:pt x="73" y="72"/>
                    </a:lnTo>
                    <a:lnTo>
                      <a:pt x="73" y="72"/>
                    </a:lnTo>
                    <a:lnTo>
                      <a:pt x="73" y="72"/>
                    </a:lnTo>
                    <a:lnTo>
                      <a:pt x="77" y="77"/>
                    </a:lnTo>
                    <a:lnTo>
                      <a:pt x="73" y="77"/>
                    </a:lnTo>
                    <a:lnTo>
                      <a:pt x="73" y="77"/>
                    </a:lnTo>
                    <a:lnTo>
                      <a:pt x="73" y="72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68" y="72"/>
                    </a:lnTo>
                    <a:lnTo>
                      <a:pt x="68" y="72"/>
                    </a:lnTo>
                    <a:lnTo>
                      <a:pt x="68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59" y="72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9" y="72"/>
                    </a:lnTo>
                    <a:lnTo>
                      <a:pt x="55" y="72"/>
                    </a:lnTo>
                    <a:lnTo>
                      <a:pt x="55" y="77"/>
                    </a:lnTo>
                    <a:lnTo>
                      <a:pt x="55" y="77"/>
                    </a:lnTo>
                    <a:lnTo>
                      <a:pt x="55" y="77"/>
                    </a:lnTo>
                    <a:lnTo>
                      <a:pt x="55" y="77"/>
                    </a:lnTo>
                    <a:lnTo>
                      <a:pt x="55" y="81"/>
                    </a:lnTo>
                    <a:lnTo>
                      <a:pt x="55" y="81"/>
                    </a:lnTo>
                    <a:lnTo>
                      <a:pt x="55" y="81"/>
                    </a:lnTo>
                    <a:lnTo>
                      <a:pt x="50" y="81"/>
                    </a:lnTo>
                    <a:lnTo>
                      <a:pt x="50" y="81"/>
                    </a:lnTo>
                    <a:lnTo>
                      <a:pt x="50" y="81"/>
                    </a:lnTo>
                    <a:lnTo>
                      <a:pt x="46" y="81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1" y="81"/>
                    </a:lnTo>
                    <a:lnTo>
                      <a:pt x="37" y="81"/>
                    </a:lnTo>
                    <a:lnTo>
                      <a:pt x="37" y="81"/>
                    </a:lnTo>
                    <a:lnTo>
                      <a:pt x="37" y="81"/>
                    </a:lnTo>
                    <a:lnTo>
                      <a:pt x="37" y="81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2" y="72"/>
                    </a:lnTo>
                    <a:lnTo>
                      <a:pt x="32" y="72"/>
                    </a:lnTo>
                    <a:lnTo>
                      <a:pt x="27" y="68"/>
                    </a:lnTo>
                    <a:lnTo>
                      <a:pt x="27" y="72"/>
                    </a:lnTo>
                    <a:lnTo>
                      <a:pt x="27" y="72"/>
                    </a:lnTo>
                    <a:lnTo>
                      <a:pt x="27" y="72"/>
                    </a:lnTo>
                    <a:lnTo>
                      <a:pt x="23" y="77"/>
                    </a:lnTo>
                    <a:lnTo>
                      <a:pt x="23" y="77"/>
                    </a:lnTo>
                    <a:lnTo>
                      <a:pt x="23" y="72"/>
                    </a:lnTo>
                    <a:lnTo>
                      <a:pt x="23" y="68"/>
                    </a:lnTo>
                    <a:lnTo>
                      <a:pt x="18" y="68"/>
                    </a:lnTo>
                    <a:lnTo>
                      <a:pt x="23" y="63"/>
                    </a:lnTo>
                    <a:lnTo>
                      <a:pt x="18" y="63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4" y="50"/>
                    </a:lnTo>
                    <a:lnTo>
                      <a:pt x="9" y="50"/>
                    </a:lnTo>
                    <a:lnTo>
                      <a:pt x="9" y="45"/>
                    </a:lnTo>
                    <a:lnTo>
                      <a:pt x="14" y="45"/>
                    </a:lnTo>
                    <a:lnTo>
                      <a:pt x="9" y="45"/>
                    </a:lnTo>
                    <a:lnTo>
                      <a:pt x="9" y="41"/>
                    </a:lnTo>
                    <a:lnTo>
                      <a:pt x="5" y="41"/>
                    </a:lnTo>
                    <a:lnTo>
                      <a:pt x="5" y="36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0" y="27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14" y="9"/>
                    </a:lnTo>
                    <a:lnTo>
                      <a:pt x="14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32" y="5"/>
                    </a:lnTo>
                    <a:lnTo>
                      <a:pt x="37" y="5"/>
                    </a:lnTo>
                    <a:lnTo>
                      <a:pt x="37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6" y="5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46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5" y="9"/>
                    </a:lnTo>
                    <a:lnTo>
                      <a:pt x="59" y="9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4" y="5"/>
                    </a:lnTo>
                    <a:lnTo>
                      <a:pt x="64" y="5"/>
                    </a:lnTo>
                    <a:lnTo>
                      <a:pt x="64" y="5"/>
                    </a:lnTo>
                    <a:lnTo>
                      <a:pt x="64" y="5"/>
                    </a:lnTo>
                    <a:lnTo>
                      <a:pt x="64" y="5"/>
                    </a:lnTo>
                    <a:lnTo>
                      <a:pt x="68" y="5"/>
                    </a:lnTo>
                    <a:lnTo>
                      <a:pt x="68" y="5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3" y="0"/>
                    </a:lnTo>
                    <a:lnTo>
                      <a:pt x="73" y="5"/>
                    </a:lnTo>
                    <a:lnTo>
                      <a:pt x="73" y="5"/>
                    </a:lnTo>
                    <a:lnTo>
                      <a:pt x="73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70" name="Freeform 91"/>
              <p:cNvSpPr>
                <a:spLocks/>
              </p:cNvSpPr>
              <p:nvPr/>
            </p:nvSpPr>
            <p:spPr bwMode="auto">
              <a:xfrm>
                <a:off x="7446963" y="1697039"/>
                <a:ext cx="107950" cy="142875"/>
              </a:xfrm>
              <a:custGeom>
                <a:avLst/>
                <a:gdLst>
                  <a:gd name="T0" fmla="*/ 23 w 68"/>
                  <a:gd name="T1" fmla="*/ 9 h 90"/>
                  <a:gd name="T2" fmla="*/ 45 w 68"/>
                  <a:gd name="T3" fmla="*/ 27 h 90"/>
                  <a:gd name="T4" fmla="*/ 55 w 68"/>
                  <a:gd name="T5" fmla="*/ 36 h 90"/>
                  <a:gd name="T6" fmla="*/ 59 w 68"/>
                  <a:gd name="T7" fmla="*/ 45 h 90"/>
                  <a:gd name="T8" fmla="*/ 59 w 68"/>
                  <a:gd name="T9" fmla="*/ 49 h 90"/>
                  <a:gd name="T10" fmla="*/ 64 w 68"/>
                  <a:gd name="T11" fmla="*/ 54 h 90"/>
                  <a:gd name="T12" fmla="*/ 64 w 68"/>
                  <a:gd name="T13" fmla="*/ 54 h 90"/>
                  <a:gd name="T14" fmla="*/ 68 w 68"/>
                  <a:gd name="T15" fmla="*/ 68 h 90"/>
                  <a:gd name="T16" fmla="*/ 64 w 68"/>
                  <a:gd name="T17" fmla="*/ 72 h 90"/>
                  <a:gd name="T18" fmla="*/ 59 w 68"/>
                  <a:gd name="T19" fmla="*/ 72 h 90"/>
                  <a:gd name="T20" fmla="*/ 59 w 68"/>
                  <a:gd name="T21" fmla="*/ 77 h 90"/>
                  <a:gd name="T22" fmla="*/ 55 w 68"/>
                  <a:gd name="T23" fmla="*/ 77 h 90"/>
                  <a:gd name="T24" fmla="*/ 50 w 68"/>
                  <a:gd name="T25" fmla="*/ 72 h 90"/>
                  <a:gd name="T26" fmla="*/ 45 w 68"/>
                  <a:gd name="T27" fmla="*/ 77 h 90"/>
                  <a:gd name="T28" fmla="*/ 45 w 68"/>
                  <a:gd name="T29" fmla="*/ 77 h 90"/>
                  <a:gd name="T30" fmla="*/ 50 w 68"/>
                  <a:gd name="T31" fmla="*/ 81 h 90"/>
                  <a:gd name="T32" fmla="*/ 45 w 68"/>
                  <a:gd name="T33" fmla="*/ 77 h 90"/>
                  <a:gd name="T34" fmla="*/ 45 w 68"/>
                  <a:gd name="T35" fmla="*/ 81 h 90"/>
                  <a:gd name="T36" fmla="*/ 45 w 68"/>
                  <a:gd name="T37" fmla="*/ 86 h 90"/>
                  <a:gd name="T38" fmla="*/ 41 w 68"/>
                  <a:gd name="T39" fmla="*/ 81 h 90"/>
                  <a:gd name="T40" fmla="*/ 41 w 68"/>
                  <a:gd name="T41" fmla="*/ 81 h 90"/>
                  <a:gd name="T42" fmla="*/ 36 w 68"/>
                  <a:gd name="T43" fmla="*/ 86 h 90"/>
                  <a:gd name="T44" fmla="*/ 36 w 68"/>
                  <a:gd name="T45" fmla="*/ 86 h 90"/>
                  <a:gd name="T46" fmla="*/ 36 w 68"/>
                  <a:gd name="T47" fmla="*/ 90 h 90"/>
                  <a:gd name="T48" fmla="*/ 27 w 68"/>
                  <a:gd name="T49" fmla="*/ 86 h 90"/>
                  <a:gd name="T50" fmla="*/ 32 w 68"/>
                  <a:gd name="T51" fmla="*/ 81 h 90"/>
                  <a:gd name="T52" fmla="*/ 32 w 68"/>
                  <a:gd name="T53" fmla="*/ 81 h 90"/>
                  <a:gd name="T54" fmla="*/ 32 w 68"/>
                  <a:gd name="T55" fmla="*/ 77 h 90"/>
                  <a:gd name="T56" fmla="*/ 27 w 68"/>
                  <a:gd name="T57" fmla="*/ 77 h 90"/>
                  <a:gd name="T58" fmla="*/ 23 w 68"/>
                  <a:gd name="T59" fmla="*/ 72 h 90"/>
                  <a:gd name="T60" fmla="*/ 23 w 68"/>
                  <a:gd name="T61" fmla="*/ 63 h 90"/>
                  <a:gd name="T62" fmla="*/ 23 w 68"/>
                  <a:gd name="T63" fmla="*/ 63 h 90"/>
                  <a:gd name="T64" fmla="*/ 23 w 68"/>
                  <a:gd name="T65" fmla="*/ 63 h 90"/>
                  <a:gd name="T66" fmla="*/ 23 w 68"/>
                  <a:gd name="T67" fmla="*/ 59 h 90"/>
                  <a:gd name="T68" fmla="*/ 18 w 68"/>
                  <a:gd name="T69" fmla="*/ 54 h 90"/>
                  <a:gd name="T70" fmla="*/ 18 w 68"/>
                  <a:gd name="T71" fmla="*/ 54 h 90"/>
                  <a:gd name="T72" fmla="*/ 14 w 68"/>
                  <a:gd name="T73" fmla="*/ 49 h 90"/>
                  <a:gd name="T74" fmla="*/ 9 w 68"/>
                  <a:gd name="T75" fmla="*/ 45 h 90"/>
                  <a:gd name="T76" fmla="*/ 9 w 68"/>
                  <a:gd name="T77" fmla="*/ 40 h 90"/>
                  <a:gd name="T78" fmla="*/ 5 w 68"/>
                  <a:gd name="T79" fmla="*/ 40 h 90"/>
                  <a:gd name="T80" fmla="*/ 5 w 68"/>
                  <a:gd name="T81" fmla="*/ 36 h 90"/>
                  <a:gd name="T82" fmla="*/ 9 w 68"/>
                  <a:gd name="T83" fmla="*/ 36 h 90"/>
                  <a:gd name="T84" fmla="*/ 14 w 68"/>
                  <a:gd name="T85" fmla="*/ 40 h 90"/>
                  <a:gd name="T86" fmla="*/ 14 w 68"/>
                  <a:gd name="T87" fmla="*/ 36 h 90"/>
                  <a:gd name="T88" fmla="*/ 9 w 68"/>
                  <a:gd name="T89" fmla="*/ 31 h 90"/>
                  <a:gd name="T90" fmla="*/ 9 w 68"/>
                  <a:gd name="T91" fmla="*/ 31 h 90"/>
                  <a:gd name="T92" fmla="*/ 0 w 68"/>
                  <a:gd name="T93" fmla="*/ 22 h 90"/>
                  <a:gd name="T94" fmla="*/ 0 w 68"/>
                  <a:gd name="T95" fmla="*/ 22 h 90"/>
                  <a:gd name="T96" fmla="*/ 0 w 68"/>
                  <a:gd name="T97" fmla="*/ 18 h 90"/>
                  <a:gd name="T98" fmla="*/ 0 w 68"/>
                  <a:gd name="T99" fmla="*/ 18 h 90"/>
                  <a:gd name="T100" fmla="*/ 0 w 68"/>
                  <a:gd name="T101" fmla="*/ 13 h 90"/>
                  <a:gd name="T102" fmla="*/ 0 w 68"/>
                  <a:gd name="T103" fmla="*/ 9 h 90"/>
                  <a:gd name="T104" fmla="*/ 9 w 68"/>
                  <a:gd name="T105" fmla="*/ 9 h 90"/>
                  <a:gd name="T106" fmla="*/ 14 w 68"/>
                  <a:gd name="T107" fmla="*/ 9 h 90"/>
                  <a:gd name="T108" fmla="*/ 14 w 68"/>
                  <a:gd name="T109" fmla="*/ 9 h 90"/>
                  <a:gd name="T110" fmla="*/ 14 w 68"/>
                  <a:gd name="T11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8" h="90">
                    <a:moveTo>
                      <a:pt x="14" y="0"/>
                    </a:moveTo>
                    <a:lnTo>
                      <a:pt x="14" y="0"/>
                    </a:lnTo>
                    <a:lnTo>
                      <a:pt x="23" y="9"/>
                    </a:lnTo>
                    <a:lnTo>
                      <a:pt x="32" y="13"/>
                    </a:lnTo>
                    <a:lnTo>
                      <a:pt x="36" y="18"/>
                    </a:lnTo>
                    <a:lnTo>
                      <a:pt x="45" y="27"/>
                    </a:lnTo>
                    <a:lnTo>
                      <a:pt x="50" y="31"/>
                    </a:lnTo>
                    <a:lnTo>
                      <a:pt x="50" y="36"/>
                    </a:lnTo>
                    <a:lnTo>
                      <a:pt x="55" y="36"/>
                    </a:lnTo>
                    <a:lnTo>
                      <a:pt x="55" y="40"/>
                    </a:lnTo>
                    <a:lnTo>
                      <a:pt x="59" y="45"/>
                    </a:lnTo>
                    <a:lnTo>
                      <a:pt x="59" y="45"/>
                    </a:lnTo>
                    <a:lnTo>
                      <a:pt x="59" y="45"/>
                    </a:lnTo>
                    <a:lnTo>
                      <a:pt x="59" y="49"/>
                    </a:lnTo>
                    <a:lnTo>
                      <a:pt x="59" y="49"/>
                    </a:lnTo>
                    <a:lnTo>
                      <a:pt x="59" y="49"/>
                    </a:lnTo>
                    <a:lnTo>
                      <a:pt x="64" y="54"/>
                    </a:lnTo>
                    <a:lnTo>
                      <a:pt x="64" y="54"/>
                    </a:lnTo>
                    <a:lnTo>
                      <a:pt x="64" y="49"/>
                    </a:lnTo>
                    <a:lnTo>
                      <a:pt x="64" y="49"/>
                    </a:lnTo>
                    <a:lnTo>
                      <a:pt x="64" y="54"/>
                    </a:lnTo>
                    <a:lnTo>
                      <a:pt x="68" y="59"/>
                    </a:lnTo>
                    <a:lnTo>
                      <a:pt x="68" y="63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8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59" y="72"/>
                    </a:lnTo>
                    <a:lnTo>
                      <a:pt x="59" y="72"/>
                    </a:lnTo>
                    <a:lnTo>
                      <a:pt x="59" y="72"/>
                    </a:lnTo>
                    <a:lnTo>
                      <a:pt x="59" y="72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5" y="77"/>
                    </a:lnTo>
                    <a:lnTo>
                      <a:pt x="55" y="77"/>
                    </a:lnTo>
                    <a:lnTo>
                      <a:pt x="55" y="77"/>
                    </a:lnTo>
                    <a:lnTo>
                      <a:pt x="50" y="72"/>
                    </a:lnTo>
                    <a:lnTo>
                      <a:pt x="50" y="72"/>
                    </a:lnTo>
                    <a:lnTo>
                      <a:pt x="50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50" y="77"/>
                    </a:lnTo>
                    <a:lnTo>
                      <a:pt x="50" y="81"/>
                    </a:lnTo>
                    <a:lnTo>
                      <a:pt x="50" y="81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81"/>
                    </a:lnTo>
                    <a:lnTo>
                      <a:pt x="45" y="81"/>
                    </a:lnTo>
                    <a:lnTo>
                      <a:pt x="45" y="81"/>
                    </a:lnTo>
                    <a:lnTo>
                      <a:pt x="45" y="81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1" y="86"/>
                    </a:lnTo>
                    <a:lnTo>
                      <a:pt x="41" y="81"/>
                    </a:lnTo>
                    <a:lnTo>
                      <a:pt x="41" y="81"/>
                    </a:lnTo>
                    <a:lnTo>
                      <a:pt x="41" y="81"/>
                    </a:lnTo>
                    <a:lnTo>
                      <a:pt x="41" y="81"/>
                    </a:lnTo>
                    <a:lnTo>
                      <a:pt x="41" y="81"/>
                    </a:lnTo>
                    <a:lnTo>
                      <a:pt x="41" y="86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27" y="86"/>
                    </a:lnTo>
                    <a:lnTo>
                      <a:pt x="27" y="81"/>
                    </a:lnTo>
                    <a:lnTo>
                      <a:pt x="27" y="81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27" y="81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3" y="77"/>
                    </a:lnTo>
                    <a:lnTo>
                      <a:pt x="23" y="72"/>
                    </a:lnTo>
                    <a:lnTo>
                      <a:pt x="23" y="72"/>
                    </a:lnTo>
                    <a:lnTo>
                      <a:pt x="23" y="68"/>
                    </a:lnTo>
                    <a:lnTo>
                      <a:pt x="23" y="68"/>
                    </a:lnTo>
                    <a:lnTo>
                      <a:pt x="23" y="63"/>
                    </a:lnTo>
                    <a:lnTo>
                      <a:pt x="23" y="63"/>
                    </a:lnTo>
                    <a:lnTo>
                      <a:pt x="23" y="63"/>
                    </a:lnTo>
                    <a:lnTo>
                      <a:pt x="23" y="63"/>
                    </a:lnTo>
                    <a:lnTo>
                      <a:pt x="23" y="63"/>
                    </a:lnTo>
                    <a:lnTo>
                      <a:pt x="23" y="63"/>
                    </a:lnTo>
                    <a:lnTo>
                      <a:pt x="23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18" y="59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49"/>
                    </a:lnTo>
                    <a:lnTo>
                      <a:pt x="14" y="49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9" y="45"/>
                    </a:lnTo>
                    <a:lnTo>
                      <a:pt x="9" y="40"/>
                    </a:lnTo>
                    <a:lnTo>
                      <a:pt x="9" y="40"/>
                    </a:lnTo>
                    <a:lnTo>
                      <a:pt x="9" y="40"/>
                    </a:lnTo>
                    <a:lnTo>
                      <a:pt x="5" y="40"/>
                    </a:lnTo>
                    <a:lnTo>
                      <a:pt x="5" y="40"/>
                    </a:lnTo>
                    <a:lnTo>
                      <a:pt x="5" y="40"/>
                    </a:lnTo>
                    <a:lnTo>
                      <a:pt x="5" y="40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71" name="Freeform 92"/>
              <p:cNvSpPr>
                <a:spLocks/>
              </p:cNvSpPr>
              <p:nvPr/>
            </p:nvSpPr>
            <p:spPr bwMode="auto">
              <a:xfrm>
                <a:off x="4794251" y="1660526"/>
                <a:ext cx="42863" cy="42863"/>
              </a:xfrm>
              <a:custGeom>
                <a:avLst/>
                <a:gdLst>
                  <a:gd name="T0" fmla="*/ 18 w 27"/>
                  <a:gd name="T1" fmla="*/ 5 h 27"/>
                  <a:gd name="T2" fmla="*/ 22 w 27"/>
                  <a:gd name="T3" fmla="*/ 9 h 27"/>
                  <a:gd name="T4" fmla="*/ 27 w 27"/>
                  <a:gd name="T5" fmla="*/ 9 h 27"/>
                  <a:gd name="T6" fmla="*/ 27 w 27"/>
                  <a:gd name="T7" fmla="*/ 9 h 27"/>
                  <a:gd name="T8" fmla="*/ 22 w 27"/>
                  <a:gd name="T9" fmla="*/ 14 h 27"/>
                  <a:gd name="T10" fmla="*/ 22 w 27"/>
                  <a:gd name="T11" fmla="*/ 18 h 27"/>
                  <a:gd name="T12" fmla="*/ 22 w 27"/>
                  <a:gd name="T13" fmla="*/ 18 h 27"/>
                  <a:gd name="T14" fmla="*/ 18 w 27"/>
                  <a:gd name="T15" fmla="*/ 18 h 27"/>
                  <a:gd name="T16" fmla="*/ 18 w 27"/>
                  <a:gd name="T17" fmla="*/ 18 h 27"/>
                  <a:gd name="T18" fmla="*/ 18 w 27"/>
                  <a:gd name="T19" fmla="*/ 23 h 27"/>
                  <a:gd name="T20" fmla="*/ 18 w 27"/>
                  <a:gd name="T21" fmla="*/ 18 h 27"/>
                  <a:gd name="T22" fmla="*/ 9 w 27"/>
                  <a:gd name="T23" fmla="*/ 23 h 27"/>
                  <a:gd name="T24" fmla="*/ 9 w 27"/>
                  <a:gd name="T25" fmla="*/ 23 h 27"/>
                  <a:gd name="T26" fmla="*/ 9 w 27"/>
                  <a:gd name="T27" fmla="*/ 27 h 27"/>
                  <a:gd name="T28" fmla="*/ 9 w 27"/>
                  <a:gd name="T29" fmla="*/ 23 h 27"/>
                  <a:gd name="T30" fmla="*/ 9 w 27"/>
                  <a:gd name="T31" fmla="*/ 23 h 27"/>
                  <a:gd name="T32" fmla="*/ 4 w 27"/>
                  <a:gd name="T33" fmla="*/ 18 h 27"/>
                  <a:gd name="T34" fmla="*/ 4 w 27"/>
                  <a:gd name="T35" fmla="*/ 18 h 27"/>
                  <a:gd name="T36" fmla="*/ 0 w 27"/>
                  <a:gd name="T37" fmla="*/ 14 h 27"/>
                  <a:gd name="T38" fmla="*/ 0 w 27"/>
                  <a:gd name="T39" fmla="*/ 14 h 27"/>
                  <a:gd name="T40" fmla="*/ 0 w 27"/>
                  <a:gd name="T41" fmla="*/ 9 h 27"/>
                  <a:gd name="T42" fmla="*/ 0 w 27"/>
                  <a:gd name="T43" fmla="*/ 9 h 27"/>
                  <a:gd name="T44" fmla="*/ 0 w 27"/>
                  <a:gd name="T45" fmla="*/ 9 h 27"/>
                  <a:gd name="T46" fmla="*/ 0 w 27"/>
                  <a:gd name="T47" fmla="*/ 9 h 27"/>
                  <a:gd name="T48" fmla="*/ 4 w 27"/>
                  <a:gd name="T49" fmla="*/ 5 h 27"/>
                  <a:gd name="T50" fmla="*/ 4 w 27"/>
                  <a:gd name="T51" fmla="*/ 5 h 27"/>
                  <a:gd name="T52" fmla="*/ 9 w 27"/>
                  <a:gd name="T53" fmla="*/ 5 h 27"/>
                  <a:gd name="T54" fmla="*/ 9 w 27"/>
                  <a:gd name="T55" fmla="*/ 0 h 27"/>
                  <a:gd name="T56" fmla="*/ 9 w 27"/>
                  <a:gd name="T57" fmla="*/ 0 h 27"/>
                  <a:gd name="T58" fmla="*/ 9 w 27"/>
                  <a:gd name="T59" fmla="*/ 0 h 27"/>
                  <a:gd name="T60" fmla="*/ 9 w 27"/>
                  <a:gd name="T61" fmla="*/ 0 h 27"/>
                  <a:gd name="T62" fmla="*/ 9 w 27"/>
                  <a:gd name="T63" fmla="*/ 0 h 27"/>
                  <a:gd name="T64" fmla="*/ 9 w 27"/>
                  <a:gd name="T65" fmla="*/ 0 h 27"/>
                  <a:gd name="T66" fmla="*/ 13 w 27"/>
                  <a:gd name="T67" fmla="*/ 0 h 27"/>
                  <a:gd name="T68" fmla="*/ 18 w 27"/>
                  <a:gd name="T69" fmla="*/ 5 h 27"/>
                  <a:gd name="T70" fmla="*/ 18 w 27"/>
                  <a:gd name="T71" fmla="*/ 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7" h="27">
                    <a:moveTo>
                      <a:pt x="18" y="5"/>
                    </a:moveTo>
                    <a:lnTo>
                      <a:pt x="18" y="5"/>
                    </a:lnTo>
                    <a:lnTo>
                      <a:pt x="18" y="9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3" y="18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7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72" name="Freeform 93"/>
              <p:cNvSpPr>
                <a:spLocks/>
              </p:cNvSpPr>
              <p:nvPr/>
            </p:nvSpPr>
            <p:spPr bwMode="auto">
              <a:xfrm>
                <a:off x="5503863" y="2041526"/>
                <a:ext cx="50800" cy="49213"/>
              </a:xfrm>
              <a:custGeom>
                <a:avLst/>
                <a:gdLst>
                  <a:gd name="T0" fmla="*/ 27 w 32"/>
                  <a:gd name="T1" fmla="*/ 9 h 31"/>
                  <a:gd name="T2" fmla="*/ 27 w 32"/>
                  <a:gd name="T3" fmla="*/ 9 h 31"/>
                  <a:gd name="T4" fmla="*/ 27 w 32"/>
                  <a:gd name="T5" fmla="*/ 13 h 31"/>
                  <a:gd name="T6" fmla="*/ 27 w 32"/>
                  <a:gd name="T7" fmla="*/ 13 h 31"/>
                  <a:gd name="T8" fmla="*/ 23 w 32"/>
                  <a:gd name="T9" fmla="*/ 13 h 31"/>
                  <a:gd name="T10" fmla="*/ 23 w 32"/>
                  <a:gd name="T11" fmla="*/ 9 h 31"/>
                  <a:gd name="T12" fmla="*/ 23 w 32"/>
                  <a:gd name="T13" fmla="*/ 13 h 31"/>
                  <a:gd name="T14" fmla="*/ 18 w 32"/>
                  <a:gd name="T15" fmla="*/ 13 h 31"/>
                  <a:gd name="T16" fmla="*/ 18 w 32"/>
                  <a:gd name="T17" fmla="*/ 13 h 31"/>
                  <a:gd name="T18" fmla="*/ 23 w 32"/>
                  <a:gd name="T19" fmla="*/ 13 h 31"/>
                  <a:gd name="T20" fmla="*/ 23 w 32"/>
                  <a:gd name="T21" fmla="*/ 13 h 31"/>
                  <a:gd name="T22" fmla="*/ 23 w 32"/>
                  <a:gd name="T23" fmla="*/ 13 h 31"/>
                  <a:gd name="T24" fmla="*/ 27 w 32"/>
                  <a:gd name="T25" fmla="*/ 18 h 31"/>
                  <a:gd name="T26" fmla="*/ 27 w 32"/>
                  <a:gd name="T27" fmla="*/ 18 h 31"/>
                  <a:gd name="T28" fmla="*/ 27 w 32"/>
                  <a:gd name="T29" fmla="*/ 18 h 31"/>
                  <a:gd name="T30" fmla="*/ 27 w 32"/>
                  <a:gd name="T31" fmla="*/ 22 h 31"/>
                  <a:gd name="T32" fmla="*/ 32 w 32"/>
                  <a:gd name="T33" fmla="*/ 22 h 31"/>
                  <a:gd name="T34" fmla="*/ 32 w 32"/>
                  <a:gd name="T35" fmla="*/ 27 h 31"/>
                  <a:gd name="T36" fmla="*/ 32 w 32"/>
                  <a:gd name="T37" fmla="*/ 27 h 31"/>
                  <a:gd name="T38" fmla="*/ 32 w 32"/>
                  <a:gd name="T39" fmla="*/ 31 h 31"/>
                  <a:gd name="T40" fmla="*/ 32 w 32"/>
                  <a:gd name="T41" fmla="*/ 31 h 31"/>
                  <a:gd name="T42" fmla="*/ 32 w 32"/>
                  <a:gd name="T43" fmla="*/ 31 h 31"/>
                  <a:gd name="T44" fmla="*/ 27 w 32"/>
                  <a:gd name="T45" fmla="*/ 31 h 31"/>
                  <a:gd name="T46" fmla="*/ 23 w 32"/>
                  <a:gd name="T47" fmla="*/ 31 h 31"/>
                  <a:gd name="T48" fmla="*/ 23 w 32"/>
                  <a:gd name="T49" fmla="*/ 31 h 31"/>
                  <a:gd name="T50" fmla="*/ 18 w 32"/>
                  <a:gd name="T51" fmla="*/ 31 h 31"/>
                  <a:gd name="T52" fmla="*/ 18 w 32"/>
                  <a:gd name="T53" fmla="*/ 27 h 31"/>
                  <a:gd name="T54" fmla="*/ 18 w 32"/>
                  <a:gd name="T55" fmla="*/ 27 h 31"/>
                  <a:gd name="T56" fmla="*/ 14 w 32"/>
                  <a:gd name="T57" fmla="*/ 22 h 31"/>
                  <a:gd name="T58" fmla="*/ 9 w 32"/>
                  <a:gd name="T59" fmla="*/ 22 h 31"/>
                  <a:gd name="T60" fmla="*/ 9 w 32"/>
                  <a:gd name="T61" fmla="*/ 22 h 31"/>
                  <a:gd name="T62" fmla="*/ 5 w 32"/>
                  <a:gd name="T63" fmla="*/ 22 h 31"/>
                  <a:gd name="T64" fmla="*/ 0 w 32"/>
                  <a:gd name="T65" fmla="*/ 22 h 31"/>
                  <a:gd name="T66" fmla="*/ 5 w 32"/>
                  <a:gd name="T67" fmla="*/ 18 h 31"/>
                  <a:gd name="T68" fmla="*/ 5 w 32"/>
                  <a:gd name="T69" fmla="*/ 18 h 31"/>
                  <a:gd name="T70" fmla="*/ 5 w 32"/>
                  <a:gd name="T71" fmla="*/ 13 h 31"/>
                  <a:gd name="T72" fmla="*/ 5 w 32"/>
                  <a:gd name="T73" fmla="*/ 9 h 31"/>
                  <a:gd name="T74" fmla="*/ 9 w 32"/>
                  <a:gd name="T75" fmla="*/ 9 h 31"/>
                  <a:gd name="T76" fmla="*/ 9 w 32"/>
                  <a:gd name="T77" fmla="*/ 4 h 31"/>
                  <a:gd name="T78" fmla="*/ 9 w 32"/>
                  <a:gd name="T79" fmla="*/ 4 h 31"/>
                  <a:gd name="T80" fmla="*/ 9 w 32"/>
                  <a:gd name="T81" fmla="*/ 4 h 31"/>
                  <a:gd name="T82" fmla="*/ 9 w 32"/>
                  <a:gd name="T83" fmla="*/ 4 h 31"/>
                  <a:gd name="T84" fmla="*/ 9 w 32"/>
                  <a:gd name="T85" fmla="*/ 4 h 31"/>
                  <a:gd name="T86" fmla="*/ 14 w 32"/>
                  <a:gd name="T87" fmla="*/ 0 h 31"/>
                  <a:gd name="T88" fmla="*/ 18 w 32"/>
                  <a:gd name="T89" fmla="*/ 0 h 31"/>
                  <a:gd name="T90" fmla="*/ 18 w 32"/>
                  <a:gd name="T91" fmla="*/ 0 h 31"/>
                  <a:gd name="T92" fmla="*/ 18 w 32"/>
                  <a:gd name="T93" fmla="*/ 4 h 31"/>
                  <a:gd name="T94" fmla="*/ 23 w 32"/>
                  <a:gd name="T95" fmla="*/ 4 h 31"/>
                  <a:gd name="T96" fmla="*/ 23 w 32"/>
                  <a:gd name="T97" fmla="*/ 4 h 31"/>
                  <a:gd name="T98" fmla="*/ 23 w 32"/>
                  <a:gd name="T99" fmla="*/ 9 h 31"/>
                  <a:gd name="T100" fmla="*/ 23 w 32"/>
                  <a:gd name="T101" fmla="*/ 9 h 31"/>
                  <a:gd name="T102" fmla="*/ 27 w 32"/>
                  <a:gd name="T103" fmla="*/ 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2" h="31">
                    <a:moveTo>
                      <a:pt x="27" y="9"/>
                    </a:moveTo>
                    <a:lnTo>
                      <a:pt x="27" y="9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3" y="13"/>
                    </a:lnTo>
                    <a:lnTo>
                      <a:pt x="23" y="9"/>
                    </a:lnTo>
                    <a:lnTo>
                      <a:pt x="23" y="13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22"/>
                    </a:lnTo>
                    <a:lnTo>
                      <a:pt x="32" y="22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31"/>
                    </a:lnTo>
                    <a:lnTo>
                      <a:pt x="32" y="31"/>
                    </a:lnTo>
                    <a:lnTo>
                      <a:pt x="32" y="31"/>
                    </a:lnTo>
                    <a:lnTo>
                      <a:pt x="27" y="31"/>
                    </a:lnTo>
                    <a:lnTo>
                      <a:pt x="23" y="31"/>
                    </a:lnTo>
                    <a:lnTo>
                      <a:pt x="23" y="31"/>
                    </a:lnTo>
                    <a:lnTo>
                      <a:pt x="18" y="31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4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0" y="22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7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73" name="Freeform 94"/>
              <p:cNvSpPr>
                <a:spLocks/>
              </p:cNvSpPr>
              <p:nvPr/>
            </p:nvSpPr>
            <p:spPr bwMode="auto">
              <a:xfrm>
                <a:off x="6973888" y="2241551"/>
                <a:ext cx="236538" cy="266700"/>
              </a:xfrm>
              <a:custGeom>
                <a:avLst/>
                <a:gdLst>
                  <a:gd name="T0" fmla="*/ 59 w 149"/>
                  <a:gd name="T1" fmla="*/ 91 h 168"/>
                  <a:gd name="T2" fmla="*/ 54 w 149"/>
                  <a:gd name="T3" fmla="*/ 91 h 168"/>
                  <a:gd name="T4" fmla="*/ 45 w 149"/>
                  <a:gd name="T5" fmla="*/ 86 h 168"/>
                  <a:gd name="T6" fmla="*/ 41 w 149"/>
                  <a:gd name="T7" fmla="*/ 91 h 168"/>
                  <a:gd name="T8" fmla="*/ 32 w 149"/>
                  <a:gd name="T9" fmla="*/ 100 h 168"/>
                  <a:gd name="T10" fmla="*/ 27 w 149"/>
                  <a:gd name="T11" fmla="*/ 86 h 168"/>
                  <a:gd name="T12" fmla="*/ 27 w 149"/>
                  <a:gd name="T13" fmla="*/ 77 h 168"/>
                  <a:gd name="T14" fmla="*/ 23 w 149"/>
                  <a:gd name="T15" fmla="*/ 59 h 168"/>
                  <a:gd name="T16" fmla="*/ 14 w 149"/>
                  <a:gd name="T17" fmla="*/ 59 h 168"/>
                  <a:gd name="T18" fmla="*/ 9 w 149"/>
                  <a:gd name="T19" fmla="*/ 46 h 168"/>
                  <a:gd name="T20" fmla="*/ 5 w 149"/>
                  <a:gd name="T21" fmla="*/ 46 h 168"/>
                  <a:gd name="T22" fmla="*/ 0 w 149"/>
                  <a:gd name="T23" fmla="*/ 37 h 168"/>
                  <a:gd name="T24" fmla="*/ 5 w 149"/>
                  <a:gd name="T25" fmla="*/ 32 h 168"/>
                  <a:gd name="T26" fmla="*/ 9 w 149"/>
                  <a:gd name="T27" fmla="*/ 23 h 168"/>
                  <a:gd name="T28" fmla="*/ 14 w 149"/>
                  <a:gd name="T29" fmla="*/ 23 h 168"/>
                  <a:gd name="T30" fmla="*/ 23 w 149"/>
                  <a:gd name="T31" fmla="*/ 23 h 168"/>
                  <a:gd name="T32" fmla="*/ 27 w 149"/>
                  <a:gd name="T33" fmla="*/ 28 h 168"/>
                  <a:gd name="T34" fmla="*/ 23 w 149"/>
                  <a:gd name="T35" fmla="*/ 14 h 168"/>
                  <a:gd name="T36" fmla="*/ 18 w 149"/>
                  <a:gd name="T37" fmla="*/ 5 h 168"/>
                  <a:gd name="T38" fmla="*/ 18 w 149"/>
                  <a:gd name="T39" fmla="*/ 0 h 168"/>
                  <a:gd name="T40" fmla="*/ 27 w 149"/>
                  <a:gd name="T41" fmla="*/ 5 h 168"/>
                  <a:gd name="T42" fmla="*/ 36 w 149"/>
                  <a:gd name="T43" fmla="*/ 14 h 168"/>
                  <a:gd name="T44" fmla="*/ 41 w 149"/>
                  <a:gd name="T45" fmla="*/ 14 h 168"/>
                  <a:gd name="T46" fmla="*/ 45 w 149"/>
                  <a:gd name="T47" fmla="*/ 18 h 168"/>
                  <a:gd name="T48" fmla="*/ 59 w 149"/>
                  <a:gd name="T49" fmla="*/ 32 h 168"/>
                  <a:gd name="T50" fmla="*/ 68 w 149"/>
                  <a:gd name="T51" fmla="*/ 32 h 168"/>
                  <a:gd name="T52" fmla="*/ 72 w 149"/>
                  <a:gd name="T53" fmla="*/ 37 h 168"/>
                  <a:gd name="T54" fmla="*/ 77 w 149"/>
                  <a:gd name="T55" fmla="*/ 41 h 168"/>
                  <a:gd name="T56" fmla="*/ 86 w 149"/>
                  <a:gd name="T57" fmla="*/ 46 h 168"/>
                  <a:gd name="T58" fmla="*/ 72 w 149"/>
                  <a:gd name="T59" fmla="*/ 55 h 168"/>
                  <a:gd name="T60" fmla="*/ 72 w 149"/>
                  <a:gd name="T61" fmla="*/ 59 h 168"/>
                  <a:gd name="T62" fmla="*/ 81 w 149"/>
                  <a:gd name="T63" fmla="*/ 68 h 168"/>
                  <a:gd name="T64" fmla="*/ 95 w 149"/>
                  <a:gd name="T65" fmla="*/ 77 h 168"/>
                  <a:gd name="T66" fmla="*/ 100 w 149"/>
                  <a:gd name="T67" fmla="*/ 82 h 168"/>
                  <a:gd name="T68" fmla="*/ 109 w 149"/>
                  <a:gd name="T69" fmla="*/ 91 h 168"/>
                  <a:gd name="T70" fmla="*/ 122 w 149"/>
                  <a:gd name="T71" fmla="*/ 104 h 168"/>
                  <a:gd name="T72" fmla="*/ 127 w 149"/>
                  <a:gd name="T73" fmla="*/ 118 h 168"/>
                  <a:gd name="T74" fmla="*/ 131 w 149"/>
                  <a:gd name="T75" fmla="*/ 118 h 168"/>
                  <a:gd name="T76" fmla="*/ 145 w 149"/>
                  <a:gd name="T77" fmla="*/ 127 h 168"/>
                  <a:gd name="T78" fmla="*/ 140 w 149"/>
                  <a:gd name="T79" fmla="*/ 131 h 168"/>
                  <a:gd name="T80" fmla="*/ 149 w 149"/>
                  <a:gd name="T81" fmla="*/ 141 h 168"/>
                  <a:gd name="T82" fmla="*/ 149 w 149"/>
                  <a:gd name="T83" fmla="*/ 150 h 168"/>
                  <a:gd name="T84" fmla="*/ 145 w 149"/>
                  <a:gd name="T85" fmla="*/ 154 h 168"/>
                  <a:gd name="T86" fmla="*/ 140 w 149"/>
                  <a:gd name="T87" fmla="*/ 159 h 168"/>
                  <a:gd name="T88" fmla="*/ 131 w 149"/>
                  <a:gd name="T89" fmla="*/ 154 h 168"/>
                  <a:gd name="T90" fmla="*/ 127 w 149"/>
                  <a:gd name="T91" fmla="*/ 159 h 168"/>
                  <a:gd name="T92" fmla="*/ 122 w 149"/>
                  <a:gd name="T93" fmla="*/ 168 h 168"/>
                  <a:gd name="T94" fmla="*/ 113 w 149"/>
                  <a:gd name="T95" fmla="*/ 163 h 168"/>
                  <a:gd name="T96" fmla="*/ 113 w 149"/>
                  <a:gd name="T97" fmla="*/ 154 h 168"/>
                  <a:gd name="T98" fmla="*/ 113 w 149"/>
                  <a:gd name="T99" fmla="*/ 141 h 168"/>
                  <a:gd name="T100" fmla="*/ 113 w 149"/>
                  <a:gd name="T101" fmla="*/ 131 h 168"/>
                  <a:gd name="T102" fmla="*/ 109 w 149"/>
                  <a:gd name="T103" fmla="*/ 127 h 168"/>
                  <a:gd name="T104" fmla="*/ 95 w 149"/>
                  <a:gd name="T105" fmla="*/ 109 h 168"/>
                  <a:gd name="T106" fmla="*/ 81 w 149"/>
                  <a:gd name="T107" fmla="*/ 91 h 168"/>
                  <a:gd name="T108" fmla="*/ 68 w 149"/>
                  <a:gd name="T109" fmla="*/ 82 h 168"/>
                  <a:gd name="T110" fmla="*/ 63 w 149"/>
                  <a:gd name="T111" fmla="*/ 82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9" h="168">
                    <a:moveTo>
                      <a:pt x="63" y="86"/>
                    </a:moveTo>
                    <a:lnTo>
                      <a:pt x="63" y="86"/>
                    </a:lnTo>
                    <a:lnTo>
                      <a:pt x="63" y="86"/>
                    </a:lnTo>
                    <a:lnTo>
                      <a:pt x="63" y="86"/>
                    </a:lnTo>
                    <a:lnTo>
                      <a:pt x="63" y="86"/>
                    </a:lnTo>
                    <a:lnTo>
                      <a:pt x="59" y="86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54" y="91"/>
                    </a:lnTo>
                    <a:lnTo>
                      <a:pt x="54" y="91"/>
                    </a:lnTo>
                    <a:lnTo>
                      <a:pt x="54" y="91"/>
                    </a:lnTo>
                    <a:lnTo>
                      <a:pt x="54" y="91"/>
                    </a:lnTo>
                    <a:lnTo>
                      <a:pt x="54" y="91"/>
                    </a:lnTo>
                    <a:lnTo>
                      <a:pt x="54" y="91"/>
                    </a:lnTo>
                    <a:lnTo>
                      <a:pt x="54" y="91"/>
                    </a:lnTo>
                    <a:lnTo>
                      <a:pt x="54" y="91"/>
                    </a:lnTo>
                    <a:lnTo>
                      <a:pt x="50" y="91"/>
                    </a:lnTo>
                    <a:lnTo>
                      <a:pt x="50" y="86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41" y="91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5"/>
                    </a:lnTo>
                    <a:lnTo>
                      <a:pt x="32" y="95"/>
                    </a:lnTo>
                    <a:lnTo>
                      <a:pt x="32" y="100"/>
                    </a:lnTo>
                    <a:lnTo>
                      <a:pt x="32" y="100"/>
                    </a:lnTo>
                    <a:lnTo>
                      <a:pt x="27" y="100"/>
                    </a:lnTo>
                    <a:lnTo>
                      <a:pt x="27" y="100"/>
                    </a:lnTo>
                    <a:lnTo>
                      <a:pt x="27" y="95"/>
                    </a:lnTo>
                    <a:lnTo>
                      <a:pt x="27" y="95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7" y="73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7" y="64"/>
                    </a:lnTo>
                    <a:lnTo>
                      <a:pt x="23" y="64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9" y="59"/>
                    </a:lnTo>
                    <a:lnTo>
                      <a:pt x="9" y="55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46"/>
                    </a:lnTo>
                    <a:lnTo>
                      <a:pt x="9" y="46"/>
                    </a:lnTo>
                    <a:lnTo>
                      <a:pt x="9" y="46"/>
                    </a:lnTo>
                    <a:lnTo>
                      <a:pt x="9" y="46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46"/>
                    </a:lnTo>
                    <a:lnTo>
                      <a:pt x="5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1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5" y="37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9" y="28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3"/>
                    </a:lnTo>
                    <a:lnTo>
                      <a:pt x="23" y="23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7" y="28"/>
                    </a:lnTo>
                    <a:lnTo>
                      <a:pt x="27" y="28"/>
                    </a:lnTo>
                    <a:lnTo>
                      <a:pt x="27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5"/>
                    </a:lnTo>
                    <a:lnTo>
                      <a:pt x="32" y="5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6" y="9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9" y="32"/>
                    </a:lnTo>
                    <a:lnTo>
                      <a:pt x="59" y="37"/>
                    </a:lnTo>
                    <a:lnTo>
                      <a:pt x="59" y="32"/>
                    </a:lnTo>
                    <a:lnTo>
                      <a:pt x="63" y="32"/>
                    </a:lnTo>
                    <a:lnTo>
                      <a:pt x="63" y="32"/>
                    </a:lnTo>
                    <a:lnTo>
                      <a:pt x="63" y="28"/>
                    </a:lnTo>
                    <a:lnTo>
                      <a:pt x="68" y="28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7"/>
                    </a:lnTo>
                    <a:lnTo>
                      <a:pt x="77" y="37"/>
                    </a:lnTo>
                    <a:lnTo>
                      <a:pt x="77" y="37"/>
                    </a:lnTo>
                    <a:lnTo>
                      <a:pt x="77" y="37"/>
                    </a:lnTo>
                    <a:lnTo>
                      <a:pt x="72" y="37"/>
                    </a:lnTo>
                    <a:lnTo>
                      <a:pt x="72" y="37"/>
                    </a:lnTo>
                    <a:lnTo>
                      <a:pt x="72" y="41"/>
                    </a:lnTo>
                    <a:lnTo>
                      <a:pt x="72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6"/>
                    </a:lnTo>
                    <a:lnTo>
                      <a:pt x="81" y="46"/>
                    </a:lnTo>
                    <a:lnTo>
                      <a:pt x="81" y="46"/>
                    </a:lnTo>
                    <a:lnTo>
                      <a:pt x="81" y="46"/>
                    </a:lnTo>
                    <a:lnTo>
                      <a:pt x="81" y="46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1" y="50"/>
                    </a:lnTo>
                    <a:lnTo>
                      <a:pt x="81" y="50"/>
                    </a:lnTo>
                    <a:lnTo>
                      <a:pt x="81" y="50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72" y="55"/>
                    </a:lnTo>
                    <a:lnTo>
                      <a:pt x="72" y="55"/>
                    </a:lnTo>
                    <a:lnTo>
                      <a:pt x="72" y="55"/>
                    </a:lnTo>
                    <a:lnTo>
                      <a:pt x="72" y="55"/>
                    </a:lnTo>
                    <a:lnTo>
                      <a:pt x="72" y="55"/>
                    </a:lnTo>
                    <a:lnTo>
                      <a:pt x="72" y="55"/>
                    </a:lnTo>
                    <a:lnTo>
                      <a:pt x="72" y="59"/>
                    </a:lnTo>
                    <a:lnTo>
                      <a:pt x="72" y="59"/>
                    </a:lnTo>
                    <a:lnTo>
                      <a:pt x="72" y="59"/>
                    </a:lnTo>
                    <a:lnTo>
                      <a:pt x="68" y="59"/>
                    </a:lnTo>
                    <a:lnTo>
                      <a:pt x="68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81" y="68"/>
                    </a:lnTo>
                    <a:lnTo>
                      <a:pt x="81" y="68"/>
                    </a:lnTo>
                    <a:lnTo>
                      <a:pt x="86" y="73"/>
                    </a:lnTo>
                    <a:lnTo>
                      <a:pt x="86" y="73"/>
                    </a:lnTo>
                    <a:lnTo>
                      <a:pt x="90" y="73"/>
                    </a:lnTo>
                    <a:lnTo>
                      <a:pt x="95" y="73"/>
                    </a:lnTo>
                    <a:lnTo>
                      <a:pt x="95" y="73"/>
                    </a:lnTo>
                    <a:lnTo>
                      <a:pt x="95" y="77"/>
                    </a:lnTo>
                    <a:lnTo>
                      <a:pt x="95" y="77"/>
                    </a:lnTo>
                    <a:lnTo>
                      <a:pt x="95" y="77"/>
                    </a:lnTo>
                    <a:lnTo>
                      <a:pt x="95" y="77"/>
                    </a:lnTo>
                    <a:lnTo>
                      <a:pt x="95" y="77"/>
                    </a:lnTo>
                    <a:lnTo>
                      <a:pt x="95" y="82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91"/>
                    </a:lnTo>
                    <a:lnTo>
                      <a:pt x="104" y="91"/>
                    </a:lnTo>
                    <a:lnTo>
                      <a:pt x="109" y="91"/>
                    </a:lnTo>
                    <a:lnTo>
                      <a:pt x="109" y="95"/>
                    </a:lnTo>
                    <a:lnTo>
                      <a:pt x="113" y="95"/>
                    </a:lnTo>
                    <a:lnTo>
                      <a:pt x="113" y="100"/>
                    </a:lnTo>
                    <a:lnTo>
                      <a:pt x="113" y="100"/>
                    </a:lnTo>
                    <a:lnTo>
                      <a:pt x="118" y="104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22" y="109"/>
                    </a:lnTo>
                    <a:lnTo>
                      <a:pt x="122" y="109"/>
                    </a:lnTo>
                    <a:lnTo>
                      <a:pt x="127" y="109"/>
                    </a:lnTo>
                    <a:lnTo>
                      <a:pt x="127" y="109"/>
                    </a:lnTo>
                    <a:lnTo>
                      <a:pt x="127" y="113"/>
                    </a:lnTo>
                    <a:lnTo>
                      <a:pt x="127" y="113"/>
                    </a:lnTo>
                    <a:lnTo>
                      <a:pt x="127" y="118"/>
                    </a:lnTo>
                    <a:lnTo>
                      <a:pt x="127" y="118"/>
                    </a:lnTo>
                    <a:lnTo>
                      <a:pt x="131" y="118"/>
                    </a:lnTo>
                    <a:lnTo>
                      <a:pt x="131" y="118"/>
                    </a:lnTo>
                    <a:lnTo>
                      <a:pt x="131" y="118"/>
                    </a:lnTo>
                    <a:lnTo>
                      <a:pt x="131" y="118"/>
                    </a:lnTo>
                    <a:lnTo>
                      <a:pt x="131" y="118"/>
                    </a:lnTo>
                    <a:lnTo>
                      <a:pt x="131" y="118"/>
                    </a:ln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22"/>
                    </a:lnTo>
                    <a:lnTo>
                      <a:pt x="140" y="122"/>
                    </a:lnTo>
                    <a:lnTo>
                      <a:pt x="140" y="122"/>
                    </a:lnTo>
                    <a:lnTo>
                      <a:pt x="140" y="127"/>
                    </a:lnTo>
                    <a:lnTo>
                      <a:pt x="145" y="127"/>
                    </a:lnTo>
                    <a:lnTo>
                      <a:pt x="145" y="127"/>
                    </a:lnTo>
                    <a:lnTo>
                      <a:pt x="145" y="127"/>
                    </a:lnTo>
                    <a:lnTo>
                      <a:pt x="145" y="127"/>
                    </a:lnTo>
                    <a:lnTo>
                      <a:pt x="140" y="131"/>
                    </a:lnTo>
                    <a:lnTo>
                      <a:pt x="140" y="131"/>
                    </a:lnTo>
                    <a:lnTo>
                      <a:pt x="140" y="131"/>
                    </a:lnTo>
                    <a:lnTo>
                      <a:pt x="140" y="131"/>
                    </a:lnTo>
                    <a:lnTo>
                      <a:pt x="140" y="131"/>
                    </a:lnTo>
                    <a:lnTo>
                      <a:pt x="145" y="136"/>
                    </a:lnTo>
                    <a:lnTo>
                      <a:pt x="145" y="136"/>
                    </a:lnTo>
                    <a:lnTo>
                      <a:pt x="149" y="136"/>
                    </a:lnTo>
                    <a:lnTo>
                      <a:pt x="149" y="141"/>
                    </a:lnTo>
                    <a:lnTo>
                      <a:pt x="149" y="141"/>
                    </a:lnTo>
                    <a:lnTo>
                      <a:pt x="149" y="141"/>
                    </a:lnTo>
                    <a:lnTo>
                      <a:pt x="149" y="145"/>
                    </a:lnTo>
                    <a:lnTo>
                      <a:pt x="149" y="145"/>
                    </a:lnTo>
                    <a:lnTo>
                      <a:pt x="149" y="145"/>
                    </a:lnTo>
                    <a:lnTo>
                      <a:pt x="149" y="145"/>
                    </a:lnTo>
                    <a:lnTo>
                      <a:pt x="149" y="150"/>
                    </a:lnTo>
                    <a:lnTo>
                      <a:pt x="149" y="150"/>
                    </a:lnTo>
                    <a:lnTo>
                      <a:pt x="149" y="150"/>
                    </a:lnTo>
                    <a:lnTo>
                      <a:pt x="149" y="154"/>
                    </a:lnTo>
                    <a:lnTo>
                      <a:pt x="149" y="154"/>
                    </a:lnTo>
                    <a:lnTo>
                      <a:pt x="149" y="154"/>
                    </a:lnTo>
                    <a:lnTo>
                      <a:pt x="149" y="154"/>
                    </a:lnTo>
                    <a:lnTo>
                      <a:pt x="145" y="154"/>
                    </a:lnTo>
                    <a:lnTo>
                      <a:pt x="145" y="154"/>
                    </a:lnTo>
                    <a:lnTo>
                      <a:pt x="145" y="154"/>
                    </a:lnTo>
                    <a:lnTo>
                      <a:pt x="145" y="159"/>
                    </a:lnTo>
                    <a:lnTo>
                      <a:pt x="145" y="159"/>
                    </a:lnTo>
                    <a:lnTo>
                      <a:pt x="140" y="159"/>
                    </a:lnTo>
                    <a:lnTo>
                      <a:pt x="140" y="159"/>
                    </a:lnTo>
                    <a:lnTo>
                      <a:pt x="140" y="159"/>
                    </a:lnTo>
                    <a:lnTo>
                      <a:pt x="140" y="159"/>
                    </a:lnTo>
                    <a:lnTo>
                      <a:pt x="140" y="159"/>
                    </a:lnTo>
                    <a:lnTo>
                      <a:pt x="140" y="159"/>
                    </a:lnTo>
                    <a:lnTo>
                      <a:pt x="136" y="159"/>
                    </a:lnTo>
                    <a:lnTo>
                      <a:pt x="136" y="159"/>
                    </a:lnTo>
                    <a:lnTo>
                      <a:pt x="136" y="159"/>
                    </a:lnTo>
                    <a:lnTo>
                      <a:pt x="136" y="154"/>
                    </a:lnTo>
                    <a:lnTo>
                      <a:pt x="131" y="154"/>
                    </a:lnTo>
                    <a:lnTo>
                      <a:pt x="131" y="154"/>
                    </a:lnTo>
                    <a:lnTo>
                      <a:pt x="131" y="154"/>
                    </a:lnTo>
                    <a:lnTo>
                      <a:pt x="131" y="159"/>
                    </a:lnTo>
                    <a:lnTo>
                      <a:pt x="131" y="159"/>
                    </a:lnTo>
                    <a:lnTo>
                      <a:pt x="127" y="159"/>
                    </a:lnTo>
                    <a:lnTo>
                      <a:pt x="127" y="159"/>
                    </a:lnTo>
                    <a:lnTo>
                      <a:pt x="127" y="159"/>
                    </a:lnTo>
                    <a:lnTo>
                      <a:pt x="127" y="159"/>
                    </a:lnTo>
                    <a:lnTo>
                      <a:pt x="127" y="159"/>
                    </a:lnTo>
                    <a:lnTo>
                      <a:pt x="127" y="163"/>
                    </a:lnTo>
                    <a:lnTo>
                      <a:pt x="127" y="163"/>
                    </a:lnTo>
                    <a:lnTo>
                      <a:pt x="127" y="168"/>
                    </a:lnTo>
                    <a:lnTo>
                      <a:pt x="127" y="168"/>
                    </a:lnTo>
                    <a:lnTo>
                      <a:pt x="127" y="168"/>
                    </a:lnTo>
                    <a:lnTo>
                      <a:pt x="122" y="168"/>
                    </a:lnTo>
                    <a:lnTo>
                      <a:pt x="122" y="168"/>
                    </a:lnTo>
                    <a:lnTo>
                      <a:pt x="122" y="163"/>
                    </a:lnTo>
                    <a:lnTo>
                      <a:pt x="118" y="163"/>
                    </a:lnTo>
                    <a:lnTo>
                      <a:pt x="113" y="163"/>
                    </a:lnTo>
                    <a:lnTo>
                      <a:pt x="113" y="163"/>
                    </a:lnTo>
                    <a:lnTo>
                      <a:pt x="113" y="163"/>
                    </a:lnTo>
                    <a:lnTo>
                      <a:pt x="113" y="163"/>
                    </a:lnTo>
                    <a:lnTo>
                      <a:pt x="113" y="163"/>
                    </a:lnTo>
                    <a:lnTo>
                      <a:pt x="113" y="159"/>
                    </a:lnTo>
                    <a:lnTo>
                      <a:pt x="113" y="159"/>
                    </a:lnTo>
                    <a:lnTo>
                      <a:pt x="113" y="159"/>
                    </a:lnTo>
                    <a:lnTo>
                      <a:pt x="113" y="159"/>
                    </a:lnTo>
                    <a:lnTo>
                      <a:pt x="113" y="159"/>
                    </a:lnTo>
                    <a:lnTo>
                      <a:pt x="113" y="154"/>
                    </a:lnTo>
                    <a:lnTo>
                      <a:pt x="118" y="154"/>
                    </a:lnTo>
                    <a:lnTo>
                      <a:pt x="113" y="154"/>
                    </a:lnTo>
                    <a:lnTo>
                      <a:pt x="113" y="150"/>
                    </a:lnTo>
                    <a:lnTo>
                      <a:pt x="113" y="150"/>
                    </a:lnTo>
                    <a:lnTo>
                      <a:pt x="113" y="145"/>
                    </a:lnTo>
                    <a:lnTo>
                      <a:pt x="113" y="145"/>
                    </a:lnTo>
                    <a:lnTo>
                      <a:pt x="113" y="141"/>
                    </a:lnTo>
                    <a:lnTo>
                      <a:pt x="113" y="141"/>
                    </a:lnTo>
                    <a:lnTo>
                      <a:pt x="113" y="141"/>
                    </a:lnTo>
                    <a:lnTo>
                      <a:pt x="113" y="141"/>
                    </a:lnTo>
                    <a:lnTo>
                      <a:pt x="113" y="136"/>
                    </a:lnTo>
                    <a:lnTo>
                      <a:pt x="113" y="136"/>
                    </a:lnTo>
                    <a:lnTo>
                      <a:pt x="113" y="131"/>
                    </a:lnTo>
                    <a:lnTo>
                      <a:pt x="113" y="131"/>
                    </a:lnTo>
                    <a:lnTo>
                      <a:pt x="113" y="131"/>
                    </a:lnTo>
                    <a:lnTo>
                      <a:pt x="109" y="131"/>
                    </a:lnTo>
                    <a:lnTo>
                      <a:pt x="109" y="131"/>
                    </a:lnTo>
                    <a:lnTo>
                      <a:pt x="109" y="127"/>
                    </a:lnTo>
                    <a:lnTo>
                      <a:pt x="109" y="127"/>
                    </a:lnTo>
                    <a:lnTo>
                      <a:pt x="109" y="127"/>
                    </a:lnTo>
                    <a:lnTo>
                      <a:pt x="109" y="127"/>
                    </a:lnTo>
                    <a:lnTo>
                      <a:pt x="104" y="127"/>
                    </a:lnTo>
                    <a:lnTo>
                      <a:pt x="104" y="122"/>
                    </a:lnTo>
                    <a:lnTo>
                      <a:pt x="100" y="122"/>
                    </a:lnTo>
                    <a:lnTo>
                      <a:pt x="100" y="122"/>
                    </a:lnTo>
                    <a:lnTo>
                      <a:pt x="95" y="118"/>
                    </a:lnTo>
                    <a:lnTo>
                      <a:pt x="95" y="113"/>
                    </a:lnTo>
                    <a:lnTo>
                      <a:pt x="95" y="109"/>
                    </a:lnTo>
                    <a:lnTo>
                      <a:pt x="95" y="104"/>
                    </a:lnTo>
                    <a:lnTo>
                      <a:pt x="95" y="100"/>
                    </a:lnTo>
                    <a:lnTo>
                      <a:pt x="90" y="100"/>
                    </a:lnTo>
                    <a:lnTo>
                      <a:pt x="90" y="95"/>
                    </a:lnTo>
                    <a:lnTo>
                      <a:pt x="86" y="95"/>
                    </a:lnTo>
                    <a:lnTo>
                      <a:pt x="86" y="95"/>
                    </a:lnTo>
                    <a:lnTo>
                      <a:pt x="81" y="91"/>
                    </a:lnTo>
                    <a:lnTo>
                      <a:pt x="81" y="86"/>
                    </a:lnTo>
                    <a:lnTo>
                      <a:pt x="77" y="82"/>
                    </a:lnTo>
                    <a:lnTo>
                      <a:pt x="77" y="82"/>
                    </a:lnTo>
                    <a:lnTo>
                      <a:pt x="72" y="82"/>
                    </a:lnTo>
                    <a:lnTo>
                      <a:pt x="72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3" y="82"/>
                    </a:lnTo>
                    <a:lnTo>
                      <a:pt x="63" y="82"/>
                    </a:lnTo>
                    <a:lnTo>
                      <a:pt x="63" y="82"/>
                    </a:lnTo>
                    <a:lnTo>
                      <a:pt x="63" y="82"/>
                    </a:lnTo>
                    <a:lnTo>
                      <a:pt x="63" y="82"/>
                    </a:lnTo>
                    <a:lnTo>
                      <a:pt x="63" y="82"/>
                    </a:lnTo>
                    <a:lnTo>
                      <a:pt x="63" y="82"/>
                    </a:lnTo>
                    <a:lnTo>
                      <a:pt x="63" y="82"/>
                    </a:lnTo>
                    <a:lnTo>
                      <a:pt x="63" y="86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74" name="Freeform 95"/>
              <p:cNvSpPr>
                <a:spLocks/>
              </p:cNvSpPr>
              <p:nvPr/>
            </p:nvSpPr>
            <p:spPr bwMode="auto">
              <a:xfrm>
                <a:off x="5195888" y="1911351"/>
                <a:ext cx="34925" cy="50800"/>
              </a:xfrm>
              <a:custGeom>
                <a:avLst/>
                <a:gdLst>
                  <a:gd name="T0" fmla="*/ 18 w 22"/>
                  <a:gd name="T1" fmla="*/ 0 h 32"/>
                  <a:gd name="T2" fmla="*/ 18 w 22"/>
                  <a:gd name="T3" fmla="*/ 0 h 32"/>
                  <a:gd name="T4" fmla="*/ 18 w 22"/>
                  <a:gd name="T5" fmla="*/ 0 h 32"/>
                  <a:gd name="T6" fmla="*/ 18 w 22"/>
                  <a:gd name="T7" fmla="*/ 0 h 32"/>
                  <a:gd name="T8" fmla="*/ 18 w 22"/>
                  <a:gd name="T9" fmla="*/ 5 h 32"/>
                  <a:gd name="T10" fmla="*/ 18 w 22"/>
                  <a:gd name="T11" fmla="*/ 5 h 32"/>
                  <a:gd name="T12" fmla="*/ 18 w 22"/>
                  <a:gd name="T13" fmla="*/ 5 h 32"/>
                  <a:gd name="T14" fmla="*/ 18 w 22"/>
                  <a:gd name="T15" fmla="*/ 5 h 32"/>
                  <a:gd name="T16" fmla="*/ 18 w 22"/>
                  <a:gd name="T17" fmla="*/ 5 h 32"/>
                  <a:gd name="T18" fmla="*/ 22 w 22"/>
                  <a:gd name="T19" fmla="*/ 9 h 32"/>
                  <a:gd name="T20" fmla="*/ 18 w 22"/>
                  <a:gd name="T21" fmla="*/ 9 h 32"/>
                  <a:gd name="T22" fmla="*/ 18 w 22"/>
                  <a:gd name="T23" fmla="*/ 9 h 32"/>
                  <a:gd name="T24" fmla="*/ 18 w 22"/>
                  <a:gd name="T25" fmla="*/ 14 h 32"/>
                  <a:gd name="T26" fmla="*/ 18 w 22"/>
                  <a:gd name="T27" fmla="*/ 14 h 32"/>
                  <a:gd name="T28" fmla="*/ 18 w 22"/>
                  <a:gd name="T29" fmla="*/ 14 h 32"/>
                  <a:gd name="T30" fmla="*/ 18 w 22"/>
                  <a:gd name="T31" fmla="*/ 14 h 32"/>
                  <a:gd name="T32" fmla="*/ 18 w 22"/>
                  <a:gd name="T33" fmla="*/ 14 h 32"/>
                  <a:gd name="T34" fmla="*/ 18 w 22"/>
                  <a:gd name="T35" fmla="*/ 14 h 32"/>
                  <a:gd name="T36" fmla="*/ 18 w 22"/>
                  <a:gd name="T37" fmla="*/ 14 h 32"/>
                  <a:gd name="T38" fmla="*/ 18 w 22"/>
                  <a:gd name="T39" fmla="*/ 14 h 32"/>
                  <a:gd name="T40" fmla="*/ 18 w 22"/>
                  <a:gd name="T41" fmla="*/ 14 h 32"/>
                  <a:gd name="T42" fmla="*/ 13 w 22"/>
                  <a:gd name="T43" fmla="*/ 14 h 32"/>
                  <a:gd name="T44" fmla="*/ 13 w 22"/>
                  <a:gd name="T45" fmla="*/ 14 h 32"/>
                  <a:gd name="T46" fmla="*/ 13 w 22"/>
                  <a:gd name="T47" fmla="*/ 14 h 32"/>
                  <a:gd name="T48" fmla="*/ 13 w 22"/>
                  <a:gd name="T49" fmla="*/ 18 h 32"/>
                  <a:gd name="T50" fmla="*/ 13 w 22"/>
                  <a:gd name="T51" fmla="*/ 18 h 32"/>
                  <a:gd name="T52" fmla="*/ 13 w 22"/>
                  <a:gd name="T53" fmla="*/ 18 h 32"/>
                  <a:gd name="T54" fmla="*/ 13 w 22"/>
                  <a:gd name="T55" fmla="*/ 18 h 32"/>
                  <a:gd name="T56" fmla="*/ 13 w 22"/>
                  <a:gd name="T57" fmla="*/ 18 h 32"/>
                  <a:gd name="T58" fmla="*/ 13 w 22"/>
                  <a:gd name="T59" fmla="*/ 18 h 32"/>
                  <a:gd name="T60" fmla="*/ 13 w 22"/>
                  <a:gd name="T61" fmla="*/ 18 h 32"/>
                  <a:gd name="T62" fmla="*/ 13 w 22"/>
                  <a:gd name="T63" fmla="*/ 23 h 32"/>
                  <a:gd name="T64" fmla="*/ 13 w 22"/>
                  <a:gd name="T65" fmla="*/ 23 h 32"/>
                  <a:gd name="T66" fmla="*/ 13 w 22"/>
                  <a:gd name="T67" fmla="*/ 23 h 32"/>
                  <a:gd name="T68" fmla="*/ 13 w 22"/>
                  <a:gd name="T69" fmla="*/ 23 h 32"/>
                  <a:gd name="T70" fmla="*/ 9 w 22"/>
                  <a:gd name="T71" fmla="*/ 23 h 32"/>
                  <a:gd name="T72" fmla="*/ 9 w 22"/>
                  <a:gd name="T73" fmla="*/ 23 h 32"/>
                  <a:gd name="T74" fmla="*/ 9 w 22"/>
                  <a:gd name="T75" fmla="*/ 23 h 32"/>
                  <a:gd name="T76" fmla="*/ 9 w 22"/>
                  <a:gd name="T77" fmla="*/ 28 h 32"/>
                  <a:gd name="T78" fmla="*/ 9 w 22"/>
                  <a:gd name="T79" fmla="*/ 28 h 32"/>
                  <a:gd name="T80" fmla="*/ 4 w 22"/>
                  <a:gd name="T81" fmla="*/ 28 h 32"/>
                  <a:gd name="T82" fmla="*/ 4 w 22"/>
                  <a:gd name="T83" fmla="*/ 28 h 32"/>
                  <a:gd name="T84" fmla="*/ 4 w 22"/>
                  <a:gd name="T85" fmla="*/ 28 h 32"/>
                  <a:gd name="T86" fmla="*/ 4 w 22"/>
                  <a:gd name="T87" fmla="*/ 28 h 32"/>
                  <a:gd name="T88" fmla="*/ 4 w 22"/>
                  <a:gd name="T89" fmla="*/ 32 h 32"/>
                  <a:gd name="T90" fmla="*/ 4 w 22"/>
                  <a:gd name="T91" fmla="*/ 32 h 32"/>
                  <a:gd name="T92" fmla="*/ 0 w 22"/>
                  <a:gd name="T93" fmla="*/ 32 h 32"/>
                  <a:gd name="T94" fmla="*/ 0 w 22"/>
                  <a:gd name="T95" fmla="*/ 32 h 32"/>
                  <a:gd name="T96" fmla="*/ 0 w 22"/>
                  <a:gd name="T97" fmla="*/ 28 h 32"/>
                  <a:gd name="T98" fmla="*/ 0 w 22"/>
                  <a:gd name="T99" fmla="*/ 28 h 32"/>
                  <a:gd name="T100" fmla="*/ 0 w 22"/>
                  <a:gd name="T101" fmla="*/ 23 h 32"/>
                  <a:gd name="T102" fmla="*/ 0 w 22"/>
                  <a:gd name="T103" fmla="*/ 23 h 32"/>
                  <a:gd name="T104" fmla="*/ 4 w 22"/>
                  <a:gd name="T105" fmla="*/ 14 h 32"/>
                  <a:gd name="T106" fmla="*/ 4 w 22"/>
                  <a:gd name="T107" fmla="*/ 14 h 32"/>
                  <a:gd name="T108" fmla="*/ 4 w 22"/>
                  <a:gd name="T109" fmla="*/ 9 h 32"/>
                  <a:gd name="T110" fmla="*/ 9 w 22"/>
                  <a:gd name="T111" fmla="*/ 5 h 32"/>
                  <a:gd name="T112" fmla="*/ 9 w 22"/>
                  <a:gd name="T113" fmla="*/ 5 h 32"/>
                  <a:gd name="T114" fmla="*/ 9 w 22"/>
                  <a:gd name="T115" fmla="*/ 0 h 32"/>
                  <a:gd name="T116" fmla="*/ 9 w 22"/>
                  <a:gd name="T117" fmla="*/ 0 h 32"/>
                  <a:gd name="T118" fmla="*/ 13 w 22"/>
                  <a:gd name="T119" fmla="*/ 0 h 32"/>
                  <a:gd name="T120" fmla="*/ 13 w 22"/>
                  <a:gd name="T121" fmla="*/ 0 h 32"/>
                  <a:gd name="T122" fmla="*/ 13 w 22"/>
                  <a:gd name="T123" fmla="*/ 0 h 32"/>
                  <a:gd name="T124" fmla="*/ 18 w 22"/>
                  <a:gd name="T1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2" h="32">
                    <a:moveTo>
                      <a:pt x="18" y="0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22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8"/>
                    </a:lnTo>
                    <a:lnTo>
                      <a:pt x="9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9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8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75" name="Freeform 96"/>
              <p:cNvSpPr>
                <a:spLocks/>
              </p:cNvSpPr>
              <p:nvPr/>
            </p:nvSpPr>
            <p:spPr bwMode="auto">
              <a:xfrm>
                <a:off x="3948113" y="2693989"/>
                <a:ext cx="114300" cy="122238"/>
              </a:xfrm>
              <a:custGeom>
                <a:avLst/>
                <a:gdLst>
                  <a:gd name="T0" fmla="*/ 31 w 72"/>
                  <a:gd name="T1" fmla="*/ 0 h 77"/>
                  <a:gd name="T2" fmla="*/ 36 w 72"/>
                  <a:gd name="T3" fmla="*/ 0 h 77"/>
                  <a:gd name="T4" fmla="*/ 36 w 72"/>
                  <a:gd name="T5" fmla="*/ 5 h 77"/>
                  <a:gd name="T6" fmla="*/ 36 w 72"/>
                  <a:gd name="T7" fmla="*/ 5 h 77"/>
                  <a:gd name="T8" fmla="*/ 36 w 72"/>
                  <a:gd name="T9" fmla="*/ 9 h 77"/>
                  <a:gd name="T10" fmla="*/ 40 w 72"/>
                  <a:gd name="T11" fmla="*/ 9 h 77"/>
                  <a:gd name="T12" fmla="*/ 40 w 72"/>
                  <a:gd name="T13" fmla="*/ 14 h 77"/>
                  <a:gd name="T14" fmla="*/ 40 w 72"/>
                  <a:gd name="T15" fmla="*/ 18 h 77"/>
                  <a:gd name="T16" fmla="*/ 36 w 72"/>
                  <a:gd name="T17" fmla="*/ 23 h 77"/>
                  <a:gd name="T18" fmla="*/ 40 w 72"/>
                  <a:gd name="T19" fmla="*/ 23 h 77"/>
                  <a:gd name="T20" fmla="*/ 40 w 72"/>
                  <a:gd name="T21" fmla="*/ 23 h 77"/>
                  <a:gd name="T22" fmla="*/ 45 w 72"/>
                  <a:gd name="T23" fmla="*/ 23 h 77"/>
                  <a:gd name="T24" fmla="*/ 45 w 72"/>
                  <a:gd name="T25" fmla="*/ 23 h 77"/>
                  <a:gd name="T26" fmla="*/ 49 w 72"/>
                  <a:gd name="T27" fmla="*/ 23 h 77"/>
                  <a:gd name="T28" fmla="*/ 49 w 72"/>
                  <a:gd name="T29" fmla="*/ 18 h 77"/>
                  <a:gd name="T30" fmla="*/ 49 w 72"/>
                  <a:gd name="T31" fmla="*/ 18 h 77"/>
                  <a:gd name="T32" fmla="*/ 54 w 72"/>
                  <a:gd name="T33" fmla="*/ 18 h 77"/>
                  <a:gd name="T34" fmla="*/ 54 w 72"/>
                  <a:gd name="T35" fmla="*/ 18 h 77"/>
                  <a:gd name="T36" fmla="*/ 58 w 72"/>
                  <a:gd name="T37" fmla="*/ 27 h 77"/>
                  <a:gd name="T38" fmla="*/ 58 w 72"/>
                  <a:gd name="T39" fmla="*/ 32 h 77"/>
                  <a:gd name="T40" fmla="*/ 54 w 72"/>
                  <a:gd name="T41" fmla="*/ 36 h 77"/>
                  <a:gd name="T42" fmla="*/ 54 w 72"/>
                  <a:gd name="T43" fmla="*/ 41 h 77"/>
                  <a:gd name="T44" fmla="*/ 58 w 72"/>
                  <a:gd name="T45" fmla="*/ 41 h 77"/>
                  <a:gd name="T46" fmla="*/ 58 w 72"/>
                  <a:gd name="T47" fmla="*/ 41 h 77"/>
                  <a:gd name="T48" fmla="*/ 63 w 72"/>
                  <a:gd name="T49" fmla="*/ 45 h 77"/>
                  <a:gd name="T50" fmla="*/ 67 w 72"/>
                  <a:gd name="T51" fmla="*/ 45 h 77"/>
                  <a:gd name="T52" fmla="*/ 67 w 72"/>
                  <a:gd name="T53" fmla="*/ 50 h 77"/>
                  <a:gd name="T54" fmla="*/ 72 w 72"/>
                  <a:gd name="T55" fmla="*/ 50 h 77"/>
                  <a:gd name="T56" fmla="*/ 72 w 72"/>
                  <a:gd name="T57" fmla="*/ 54 h 77"/>
                  <a:gd name="T58" fmla="*/ 72 w 72"/>
                  <a:gd name="T59" fmla="*/ 59 h 77"/>
                  <a:gd name="T60" fmla="*/ 72 w 72"/>
                  <a:gd name="T61" fmla="*/ 64 h 77"/>
                  <a:gd name="T62" fmla="*/ 67 w 72"/>
                  <a:gd name="T63" fmla="*/ 68 h 77"/>
                  <a:gd name="T64" fmla="*/ 72 w 72"/>
                  <a:gd name="T65" fmla="*/ 77 h 77"/>
                  <a:gd name="T66" fmla="*/ 63 w 72"/>
                  <a:gd name="T67" fmla="*/ 77 h 77"/>
                  <a:gd name="T68" fmla="*/ 40 w 72"/>
                  <a:gd name="T69" fmla="*/ 64 h 77"/>
                  <a:gd name="T70" fmla="*/ 22 w 72"/>
                  <a:gd name="T71" fmla="*/ 45 h 77"/>
                  <a:gd name="T72" fmla="*/ 13 w 72"/>
                  <a:gd name="T73" fmla="*/ 41 h 77"/>
                  <a:gd name="T74" fmla="*/ 4 w 72"/>
                  <a:gd name="T75" fmla="*/ 36 h 77"/>
                  <a:gd name="T76" fmla="*/ 4 w 72"/>
                  <a:gd name="T77" fmla="*/ 27 h 77"/>
                  <a:gd name="T78" fmla="*/ 9 w 72"/>
                  <a:gd name="T79" fmla="*/ 23 h 77"/>
                  <a:gd name="T80" fmla="*/ 18 w 72"/>
                  <a:gd name="T81" fmla="*/ 14 h 77"/>
                  <a:gd name="T82" fmla="*/ 18 w 72"/>
                  <a:gd name="T83" fmla="*/ 9 h 77"/>
                  <a:gd name="T84" fmla="*/ 22 w 72"/>
                  <a:gd name="T85" fmla="*/ 5 h 77"/>
                  <a:gd name="T86" fmla="*/ 22 w 72"/>
                  <a:gd name="T87" fmla="*/ 0 h 77"/>
                  <a:gd name="T88" fmla="*/ 27 w 72"/>
                  <a:gd name="T89" fmla="*/ 0 h 77"/>
                  <a:gd name="T90" fmla="*/ 31 w 72"/>
                  <a:gd name="T91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2" h="77">
                    <a:moveTo>
                      <a:pt x="31" y="0"/>
                    </a:moveTo>
                    <a:lnTo>
                      <a:pt x="31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40" y="9"/>
                    </a:lnTo>
                    <a:lnTo>
                      <a:pt x="36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40" y="23"/>
                    </a:lnTo>
                    <a:lnTo>
                      <a:pt x="40" y="23"/>
                    </a:lnTo>
                    <a:lnTo>
                      <a:pt x="40" y="23"/>
                    </a:lnTo>
                    <a:lnTo>
                      <a:pt x="40" y="23"/>
                    </a:lnTo>
                    <a:lnTo>
                      <a:pt x="40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9" y="23"/>
                    </a:lnTo>
                    <a:lnTo>
                      <a:pt x="49" y="23"/>
                    </a:lnTo>
                    <a:lnTo>
                      <a:pt x="49" y="23"/>
                    </a:lnTo>
                    <a:lnTo>
                      <a:pt x="49" y="18"/>
                    </a:lnTo>
                    <a:lnTo>
                      <a:pt x="49" y="18"/>
                    </a:lnTo>
                    <a:lnTo>
                      <a:pt x="49" y="18"/>
                    </a:lnTo>
                    <a:lnTo>
                      <a:pt x="49" y="18"/>
                    </a:lnTo>
                    <a:lnTo>
                      <a:pt x="49" y="18"/>
                    </a:lnTo>
                    <a:lnTo>
                      <a:pt x="49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23"/>
                    </a:lnTo>
                    <a:lnTo>
                      <a:pt x="58" y="27"/>
                    </a:lnTo>
                    <a:lnTo>
                      <a:pt x="58" y="27"/>
                    </a:lnTo>
                    <a:lnTo>
                      <a:pt x="58" y="32"/>
                    </a:lnTo>
                    <a:lnTo>
                      <a:pt x="58" y="32"/>
                    </a:lnTo>
                    <a:lnTo>
                      <a:pt x="58" y="32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8" y="41"/>
                    </a:lnTo>
                    <a:lnTo>
                      <a:pt x="58" y="41"/>
                    </a:lnTo>
                    <a:lnTo>
                      <a:pt x="58" y="41"/>
                    </a:lnTo>
                    <a:lnTo>
                      <a:pt x="58" y="41"/>
                    </a:lnTo>
                    <a:lnTo>
                      <a:pt x="63" y="41"/>
                    </a:lnTo>
                    <a:lnTo>
                      <a:pt x="63" y="41"/>
                    </a:lnTo>
                    <a:lnTo>
                      <a:pt x="63" y="45"/>
                    </a:lnTo>
                    <a:lnTo>
                      <a:pt x="67" y="45"/>
                    </a:lnTo>
                    <a:lnTo>
                      <a:pt x="67" y="45"/>
                    </a:lnTo>
                    <a:lnTo>
                      <a:pt x="67" y="45"/>
                    </a:lnTo>
                    <a:lnTo>
                      <a:pt x="67" y="50"/>
                    </a:lnTo>
                    <a:lnTo>
                      <a:pt x="67" y="50"/>
                    </a:lnTo>
                    <a:lnTo>
                      <a:pt x="67" y="50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59"/>
                    </a:lnTo>
                    <a:lnTo>
                      <a:pt x="72" y="59"/>
                    </a:lnTo>
                    <a:lnTo>
                      <a:pt x="72" y="59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8"/>
                    </a:lnTo>
                    <a:lnTo>
                      <a:pt x="67" y="68"/>
                    </a:lnTo>
                    <a:lnTo>
                      <a:pt x="67" y="6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67" y="77"/>
                    </a:lnTo>
                    <a:lnTo>
                      <a:pt x="63" y="77"/>
                    </a:lnTo>
                    <a:lnTo>
                      <a:pt x="58" y="73"/>
                    </a:lnTo>
                    <a:lnTo>
                      <a:pt x="45" y="64"/>
                    </a:lnTo>
                    <a:lnTo>
                      <a:pt x="40" y="64"/>
                    </a:lnTo>
                    <a:lnTo>
                      <a:pt x="36" y="59"/>
                    </a:lnTo>
                    <a:lnTo>
                      <a:pt x="22" y="45"/>
                    </a:lnTo>
                    <a:lnTo>
                      <a:pt x="22" y="45"/>
                    </a:lnTo>
                    <a:lnTo>
                      <a:pt x="18" y="45"/>
                    </a:lnTo>
                    <a:lnTo>
                      <a:pt x="18" y="41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9" y="36"/>
                    </a:lnTo>
                    <a:lnTo>
                      <a:pt x="4" y="36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4" y="27"/>
                    </a:lnTo>
                    <a:lnTo>
                      <a:pt x="4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2" y="9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1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76" name="Freeform 97"/>
              <p:cNvSpPr>
                <a:spLocks/>
              </p:cNvSpPr>
              <p:nvPr/>
            </p:nvSpPr>
            <p:spPr bwMode="auto">
              <a:xfrm>
                <a:off x="4529138" y="1962151"/>
                <a:ext cx="422275" cy="401638"/>
              </a:xfrm>
              <a:custGeom>
                <a:avLst/>
                <a:gdLst>
                  <a:gd name="T0" fmla="*/ 63 w 266"/>
                  <a:gd name="T1" fmla="*/ 5 h 253"/>
                  <a:gd name="T2" fmla="*/ 81 w 266"/>
                  <a:gd name="T3" fmla="*/ 9 h 253"/>
                  <a:gd name="T4" fmla="*/ 99 w 266"/>
                  <a:gd name="T5" fmla="*/ 18 h 253"/>
                  <a:gd name="T6" fmla="*/ 104 w 266"/>
                  <a:gd name="T7" fmla="*/ 32 h 253"/>
                  <a:gd name="T8" fmla="*/ 131 w 266"/>
                  <a:gd name="T9" fmla="*/ 36 h 253"/>
                  <a:gd name="T10" fmla="*/ 158 w 266"/>
                  <a:gd name="T11" fmla="*/ 54 h 253"/>
                  <a:gd name="T12" fmla="*/ 176 w 266"/>
                  <a:gd name="T13" fmla="*/ 41 h 253"/>
                  <a:gd name="T14" fmla="*/ 176 w 266"/>
                  <a:gd name="T15" fmla="*/ 32 h 253"/>
                  <a:gd name="T16" fmla="*/ 176 w 266"/>
                  <a:gd name="T17" fmla="*/ 18 h 253"/>
                  <a:gd name="T18" fmla="*/ 198 w 266"/>
                  <a:gd name="T19" fmla="*/ 5 h 253"/>
                  <a:gd name="T20" fmla="*/ 212 w 266"/>
                  <a:gd name="T21" fmla="*/ 5 h 253"/>
                  <a:gd name="T22" fmla="*/ 226 w 266"/>
                  <a:gd name="T23" fmla="*/ 14 h 253"/>
                  <a:gd name="T24" fmla="*/ 239 w 266"/>
                  <a:gd name="T25" fmla="*/ 18 h 253"/>
                  <a:gd name="T26" fmla="*/ 253 w 266"/>
                  <a:gd name="T27" fmla="*/ 18 h 253"/>
                  <a:gd name="T28" fmla="*/ 257 w 266"/>
                  <a:gd name="T29" fmla="*/ 27 h 253"/>
                  <a:gd name="T30" fmla="*/ 253 w 266"/>
                  <a:gd name="T31" fmla="*/ 36 h 253"/>
                  <a:gd name="T32" fmla="*/ 257 w 266"/>
                  <a:gd name="T33" fmla="*/ 45 h 253"/>
                  <a:gd name="T34" fmla="*/ 253 w 266"/>
                  <a:gd name="T35" fmla="*/ 59 h 253"/>
                  <a:gd name="T36" fmla="*/ 257 w 266"/>
                  <a:gd name="T37" fmla="*/ 72 h 253"/>
                  <a:gd name="T38" fmla="*/ 262 w 266"/>
                  <a:gd name="T39" fmla="*/ 95 h 253"/>
                  <a:gd name="T40" fmla="*/ 262 w 266"/>
                  <a:gd name="T41" fmla="*/ 113 h 253"/>
                  <a:gd name="T42" fmla="*/ 262 w 266"/>
                  <a:gd name="T43" fmla="*/ 136 h 253"/>
                  <a:gd name="T44" fmla="*/ 262 w 266"/>
                  <a:gd name="T45" fmla="*/ 158 h 253"/>
                  <a:gd name="T46" fmla="*/ 262 w 266"/>
                  <a:gd name="T47" fmla="*/ 176 h 253"/>
                  <a:gd name="T48" fmla="*/ 266 w 266"/>
                  <a:gd name="T49" fmla="*/ 199 h 253"/>
                  <a:gd name="T50" fmla="*/ 266 w 266"/>
                  <a:gd name="T51" fmla="*/ 235 h 253"/>
                  <a:gd name="T52" fmla="*/ 266 w 266"/>
                  <a:gd name="T53" fmla="*/ 244 h 253"/>
                  <a:gd name="T54" fmla="*/ 248 w 266"/>
                  <a:gd name="T55" fmla="*/ 249 h 253"/>
                  <a:gd name="T56" fmla="*/ 235 w 266"/>
                  <a:gd name="T57" fmla="*/ 244 h 253"/>
                  <a:gd name="T58" fmla="*/ 189 w 266"/>
                  <a:gd name="T59" fmla="*/ 226 h 253"/>
                  <a:gd name="T60" fmla="*/ 149 w 266"/>
                  <a:gd name="T61" fmla="*/ 204 h 253"/>
                  <a:gd name="T62" fmla="*/ 113 w 266"/>
                  <a:gd name="T63" fmla="*/ 181 h 253"/>
                  <a:gd name="T64" fmla="*/ 85 w 266"/>
                  <a:gd name="T65" fmla="*/ 194 h 253"/>
                  <a:gd name="T66" fmla="*/ 72 w 266"/>
                  <a:gd name="T67" fmla="*/ 185 h 253"/>
                  <a:gd name="T68" fmla="*/ 40 w 266"/>
                  <a:gd name="T69" fmla="*/ 176 h 253"/>
                  <a:gd name="T70" fmla="*/ 31 w 266"/>
                  <a:gd name="T71" fmla="*/ 163 h 253"/>
                  <a:gd name="T72" fmla="*/ 13 w 266"/>
                  <a:gd name="T73" fmla="*/ 158 h 253"/>
                  <a:gd name="T74" fmla="*/ 9 w 266"/>
                  <a:gd name="T75" fmla="*/ 145 h 253"/>
                  <a:gd name="T76" fmla="*/ 0 w 266"/>
                  <a:gd name="T77" fmla="*/ 127 h 253"/>
                  <a:gd name="T78" fmla="*/ 9 w 266"/>
                  <a:gd name="T79" fmla="*/ 118 h 253"/>
                  <a:gd name="T80" fmla="*/ 9 w 266"/>
                  <a:gd name="T81" fmla="*/ 104 h 253"/>
                  <a:gd name="T82" fmla="*/ 9 w 266"/>
                  <a:gd name="T83" fmla="*/ 77 h 253"/>
                  <a:gd name="T84" fmla="*/ 4 w 266"/>
                  <a:gd name="T85" fmla="*/ 63 h 253"/>
                  <a:gd name="T86" fmla="*/ 4 w 266"/>
                  <a:gd name="T87" fmla="*/ 54 h 253"/>
                  <a:gd name="T88" fmla="*/ 13 w 266"/>
                  <a:gd name="T89" fmla="*/ 45 h 253"/>
                  <a:gd name="T90" fmla="*/ 13 w 266"/>
                  <a:gd name="T91" fmla="*/ 36 h 253"/>
                  <a:gd name="T92" fmla="*/ 18 w 266"/>
                  <a:gd name="T93" fmla="*/ 27 h 253"/>
                  <a:gd name="T94" fmla="*/ 22 w 266"/>
                  <a:gd name="T95" fmla="*/ 23 h 253"/>
                  <a:gd name="T96" fmla="*/ 31 w 266"/>
                  <a:gd name="T97" fmla="*/ 14 h 253"/>
                  <a:gd name="T98" fmla="*/ 36 w 266"/>
                  <a:gd name="T99" fmla="*/ 5 h 253"/>
                  <a:gd name="T100" fmla="*/ 36 w 266"/>
                  <a:gd name="T101" fmla="*/ 0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6" h="253">
                    <a:moveTo>
                      <a:pt x="49" y="5"/>
                    </a:moveTo>
                    <a:lnTo>
                      <a:pt x="49" y="5"/>
                    </a:lnTo>
                    <a:lnTo>
                      <a:pt x="54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7" y="5"/>
                    </a:lnTo>
                    <a:lnTo>
                      <a:pt x="72" y="5"/>
                    </a:lnTo>
                    <a:lnTo>
                      <a:pt x="72" y="5"/>
                    </a:lnTo>
                    <a:lnTo>
                      <a:pt x="76" y="9"/>
                    </a:lnTo>
                    <a:lnTo>
                      <a:pt x="81" y="9"/>
                    </a:lnTo>
                    <a:lnTo>
                      <a:pt x="81" y="9"/>
                    </a:lnTo>
                    <a:lnTo>
                      <a:pt x="85" y="9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9" y="18"/>
                    </a:lnTo>
                    <a:lnTo>
                      <a:pt x="99" y="23"/>
                    </a:lnTo>
                    <a:lnTo>
                      <a:pt x="99" y="23"/>
                    </a:lnTo>
                    <a:lnTo>
                      <a:pt x="99" y="27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8" y="32"/>
                    </a:lnTo>
                    <a:lnTo>
                      <a:pt x="113" y="36"/>
                    </a:lnTo>
                    <a:lnTo>
                      <a:pt x="117" y="36"/>
                    </a:lnTo>
                    <a:lnTo>
                      <a:pt x="122" y="36"/>
                    </a:lnTo>
                    <a:lnTo>
                      <a:pt x="131" y="36"/>
                    </a:lnTo>
                    <a:lnTo>
                      <a:pt x="140" y="41"/>
                    </a:lnTo>
                    <a:lnTo>
                      <a:pt x="140" y="41"/>
                    </a:lnTo>
                    <a:lnTo>
                      <a:pt x="144" y="45"/>
                    </a:lnTo>
                    <a:lnTo>
                      <a:pt x="153" y="50"/>
                    </a:lnTo>
                    <a:lnTo>
                      <a:pt x="158" y="54"/>
                    </a:lnTo>
                    <a:lnTo>
                      <a:pt x="162" y="54"/>
                    </a:lnTo>
                    <a:lnTo>
                      <a:pt x="162" y="54"/>
                    </a:lnTo>
                    <a:lnTo>
                      <a:pt x="167" y="50"/>
                    </a:lnTo>
                    <a:lnTo>
                      <a:pt x="171" y="50"/>
                    </a:lnTo>
                    <a:lnTo>
                      <a:pt x="176" y="41"/>
                    </a:lnTo>
                    <a:lnTo>
                      <a:pt x="176" y="41"/>
                    </a:lnTo>
                    <a:lnTo>
                      <a:pt x="176" y="36"/>
                    </a:lnTo>
                    <a:lnTo>
                      <a:pt x="176" y="36"/>
                    </a:lnTo>
                    <a:lnTo>
                      <a:pt x="176" y="32"/>
                    </a:lnTo>
                    <a:lnTo>
                      <a:pt x="176" y="32"/>
                    </a:lnTo>
                    <a:lnTo>
                      <a:pt x="176" y="27"/>
                    </a:lnTo>
                    <a:lnTo>
                      <a:pt x="171" y="23"/>
                    </a:lnTo>
                    <a:lnTo>
                      <a:pt x="176" y="23"/>
                    </a:lnTo>
                    <a:lnTo>
                      <a:pt x="176" y="18"/>
                    </a:lnTo>
                    <a:lnTo>
                      <a:pt x="176" y="18"/>
                    </a:lnTo>
                    <a:lnTo>
                      <a:pt x="180" y="14"/>
                    </a:lnTo>
                    <a:lnTo>
                      <a:pt x="185" y="9"/>
                    </a:lnTo>
                    <a:lnTo>
                      <a:pt x="189" y="5"/>
                    </a:lnTo>
                    <a:lnTo>
                      <a:pt x="194" y="5"/>
                    </a:lnTo>
                    <a:lnTo>
                      <a:pt x="198" y="5"/>
                    </a:lnTo>
                    <a:lnTo>
                      <a:pt x="198" y="5"/>
                    </a:lnTo>
                    <a:lnTo>
                      <a:pt x="203" y="5"/>
                    </a:lnTo>
                    <a:lnTo>
                      <a:pt x="203" y="5"/>
                    </a:lnTo>
                    <a:lnTo>
                      <a:pt x="207" y="5"/>
                    </a:lnTo>
                    <a:lnTo>
                      <a:pt x="212" y="5"/>
                    </a:lnTo>
                    <a:lnTo>
                      <a:pt x="216" y="5"/>
                    </a:lnTo>
                    <a:lnTo>
                      <a:pt x="216" y="5"/>
                    </a:lnTo>
                    <a:lnTo>
                      <a:pt x="221" y="9"/>
                    </a:lnTo>
                    <a:lnTo>
                      <a:pt x="226" y="9"/>
                    </a:lnTo>
                    <a:lnTo>
                      <a:pt x="226" y="14"/>
                    </a:lnTo>
                    <a:lnTo>
                      <a:pt x="226" y="14"/>
                    </a:lnTo>
                    <a:lnTo>
                      <a:pt x="226" y="14"/>
                    </a:lnTo>
                    <a:lnTo>
                      <a:pt x="226" y="18"/>
                    </a:lnTo>
                    <a:lnTo>
                      <a:pt x="235" y="18"/>
                    </a:lnTo>
                    <a:lnTo>
                      <a:pt x="239" y="18"/>
                    </a:lnTo>
                    <a:lnTo>
                      <a:pt x="239" y="18"/>
                    </a:lnTo>
                    <a:lnTo>
                      <a:pt x="244" y="18"/>
                    </a:lnTo>
                    <a:lnTo>
                      <a:pt x="248" y="18"/>
                    </a:lnTo>
                    <a:lnTo>
                      <a:pt x="253" y="18"/>
                    </a:lnTo>
                    <a:lnTo>
                      <a:pt x="253" y="18"/>
                    </a:lnTo>
                    <a:lnTo>
                      <a:pt x="257" y="23"/>
                    </a:lnTo>
                    <a:lnTo>
                      <a:pt x="257" y="23"/>
                    </a:lnTo>
                    <a:lnTo>
                      <a:pt x="257" y="27"/>
                    </a:lnTo>
                    <a:lnTo>
                      <a:pt x="257" y="27"/>
                    </a:lnTo>
                    <a:lnTo>
                      <a:pt x="257" y="27"/>
                    </a:lnTo>
                    <a:lnTo>
                      <a:pt x="257" y="27"/>
                    </a:lnTo>
                    <a:lnTo>
                      <a:pt x="257" y="27"/>
                    </a:lnTo>
                    <a:lnTo>
                      <a:pt x="257" y="32"/>
                    </a:lnTo>
                    <a:lnTo>
                      <a:pt x="253" y="32"/>
                    </a:lnTo>
                    <a:lnTo>
                      <a:pt x="253" y="36"/>
                    </a:lnTo>
                    <a:lnTo>
                      <a:pt x="253" y="36"/>
                    </a:lnTo>
                    <a:lnTo>
                      <a:pt x="257" y="41"/>
                    </a:lnTo>
                    <a:lnTo>
                      <a:pt x="257" y="45"/>
                    </a:lnTo>
                    <a:lnTo>
                      <a:pt x="257" y="45"/>
                    </a:lnTo>
                    <a:lnTo>
                      <a:pt x="257" y="45"/>
                    </a:lnTo>
                    <a:lnTo>
                      <a:pt x="257" y="50"/>
                    </a:lnTo>
                    <a:lnTo>
                      <a:pt x="253" y="54"/>
                    </a:lnTo>
                    <a:lnTo>
                      <a:pt x="253" y="54"/>
                    </a:lnTo>
                    <a:lnTo>
                      <a:pt x="253" y="54"/>
                    </a:lnTo>
                    <a:lnTo>
                      <a:pt x="253" y="59"/>
                    </a:lnTo>
                    <a:lnTo>
                      <a:pt x="257" y="63"/>
                    </a:lnTo>
                    <a:lnTo>
                      <a:pt x="257" y="68"/>
                    </a:lnTo>
                    <a:lnTo>
                      <a:pt x="257" y="68"/>
                    </a:lnTo>
                    <a:lnTo>
                      <a:pt x="257" y="72"/>
                    </a:lnTo>
                    <a:lnTo>
                      <a:pt x="257" y="72"/>
                    </a:lnTo>
                    <a:lnTo>
                      <a:pt x="257" y="77"/>
                    </a:lnTo>
                    <a:lnTo>
                      <a:pt x="257" y="81"/>
                    </a:lnTo>
                    <a:lnTo>
                      <a:pt x="257" y="86"/>
                    </a:lnTo>
                    <a:lnTo>
                      <a:pt x="257" y="90"/>
                    </a:lnTo>
                    <a:lnTo>
                      <a:pt x="262" y="95"/>
                    </a:lnTo>
                    <a:lnTo>
                      <a:pt x="262" y="100"/>
                    </a:lnTo>
                    <a:lnTo>
                      <a:pt x="262" y="104"/>
                    </a:lnTo>
                    <a:lnTo>
                      <a:pt x="262" y="109"/>
                    </a:lnTo>
                    <a:lnTo>
                      <a:pt x="262" y="113"/>
                    </a:lnTo>
                    <a:lnTo>
                      <a:pt x="262" y="113"/>
                    </a:lnTo>
                    <a:lnTo>
                      <a:pt x="262" y="118"/>
                    </a:lnTo>
                    <a:lnTo>
                      <a:pt x="262" y="122"/>
                    </a:lnTo>
                    <a:lnTo>
                      <a:pt x="262" y="127"/>
                    </a:lnTo>
                    <a:lnTo>
                      <a:pt x="262" y="131"/>
                    </a:lnTo>
                    <a:lnTo>
                      <a:pt x="262" y="136"/>
                    </a:lnTo>
                    <a:lnTo>
                      <a:pt x="262" y="140"/>
                    </a:lnTo>
                    <a:lnTo>
                      <a:pt x="262" y="145"/>
                    </a:lnTo>
                    <a:lnTo>
                      <a:pt x="262" y="149"/>
                    </a:lnTo>
                    <a:lnTo>
                      <a:pt x="262" y="154"/>
                    </a:lnTo>
                    <a:lnTo>
                      <a:pt x="262" y="158"/>
                    </a:lnTo>
                    <a:lnTo>
                      <a:pt x="262" y="163"/>
                    </a:lnTo>
                    <a:lnTo>
                      <a:pt x="262" y="167"/>
                    </a:lnTo>
                    <a:lnTo>
                      <a:pt x="262" y="172"/>
                    </a:lnTo>
                    <a:lnTo>
                      <a:pt x="262" y="176"/>
                    </a:lnTo>
                    <a:lnTo>
                      <a:pt x="262" y="176"/>
                    </a:lnTo>
                    <a:lnTo>
                      <a:pt x="262" y="181"/>
                    </a:lnTo>
                    <a:lnTo>
                      <a:pt x="262" y="185"/>
                    </a:lnTo>
                    <a:lnTo>
                      <a:pt x="262" y="190"/>
                    </a:lnTo>
                    <a:lnTo>
                      <a:pt x="266" y="194"/>
                    </a:lnTo>
                    <a:lnTo>
                      <a:pt x="266" y="199"/>
                    </a:lnTo>
                    <a:lnTo>
                      <a:pt x="266" y="204"/>
                    </a:lnTo>
                    <a:lnTo>
                      <a:pt x="266" y="208"/>
                    </a:lnTo>
                    <a:lnTo>
                      <a:pt x="266" y="217"/>
                    </a:lnTo>
                    <a:lnTo>
                      <a:pt x="266" y="226"/>
                    </a:lnTo>
                    <a:lnTo>
                      <a:pt x="266" y="235"/>
                    </a:lnTo>
                    <a:lnTo>
                      <a:pt x="266" y="244"/>
                    </a:lnTo>
                    <a:lnTo>
                      <a:pt x="266" y="244"/>
                    </a:lnTo>
                    <a:lnTo>
                      <a:pt x="266" y="244"/>
                    </a:lnTo>
                    <a:lnTo>
                      <a:pt x="266" y="244"/>
                    </a:lnTo>
                    <a:lnTo>
                      <a:pt x="266" y="244"/>
                    </a:lnTo>
                    <a:lnTo>
                      <a:pt x="262" y="244"/>
                    </a:lnTo>
                    <a:lnTo>
                      <a:pt x="257" y="244"/>
                    </a:lnTo>
                    <a:lnTo>
                      <a:pt x="253" y="244"/>
                    </a:lnTo>
                    <a:lnTo>
                      <a:pt x="248" y="244"/>
                    </a:lnTo>
                    <a:lnTo>
                      <a:pt x="248" y="249"/>
                    </a:lnTo>
                    <a:lnTo>
                      <a:pt x="248" y="249"/>
                    </a:lnTo>
                    <a:lnTo>
                      <a:pt x="248" y="253"/>
                    </a:lnTo>
                    <a:lnTo>
                      <a:pt x="248" y="253"/>
                    </a:lnTo>
                    <a:lnTo>
                      <a:pt x="239" y="249"/>
                    </a:lnTo>
                    <a:lnTo>
                      <a:pt x="235" y="244"/>
                    </a:lnTo>
                    <a:lnTo>
                      <a:pt x="226" y="244"/>
                    </a:lnTo>
                    <a:lnTo>
                      <a:pt x="216" y="240"/>
                    </a:lnTo>
                    <a:lnTo>
                      <a:pt x="207" y="235"/>
                    </a:lnTo>
                    <a:lnTo>
                      <a:pt x="198" y="231"/>
                    </a:lnTo>
                    <a:lnTo>
                      <a:pt x="189" y="226"/>
                    </a:lnTo>
                    <a:lnTo>
                      <a:pt x="185" y="222"/>
                    </a:lnTo>
                    <a:lnTo>
                      <a:pt x="176" y="217"/>
                    </a:lnTo>
                    <a:lnTo>
                      <a:pt x="167" y="213"/>
                    </a:lnTo>
                    <a:lnTo>
                      <a:pt x="158" y="208"/>
                    </a:lnTo>
                    <a:lnTo>
                      <a:pt x="149" y="204"/>
                    </a:lnTo>
                    <a:lnTo>
                      <a:pt x="140" y="199"/>
                    </a:lnTo>
                    <a:lnTo>
                      <a:pt x="135" y="194"/>
                    </a:lnTo>
                    <a:lnTo>
                      <a:pt x="126" y="190"/>
                    </a:lnTo>
                    <a:lnTo>
                      <a:pt x="117" y="185"/>
                    </a:lnTo>
                    <a:lnTo>
                      <a:pt x="113" y="181"/>
                    </a:lnTo>
                    <a:lnTo>
                      <a:pt x="104" y="185"/>
                    </a:lnTo>
                    <a:lnTo>
                      <a:pt x="99" y="185"/>
                    </a:lnTo>
                    <a:lnTo>
                      <a:pt x="94" y="190"/>
                    </a:lnTo>
                    <a:lnTo>
                      <a:pt x="94" y="190"/>
                    </a:lnTo>
                    <a:lnTo>
                      <a:pt x="85" y="194"/>
                    </a:lnTo>
                    <a:lnTo>
                      <a:pt x="81" y="199"/>
                    </a:lnTo>
                    <a:lnTo>
                      <a:pt x="81" y="199"/>
                    </a:lnTo>
                    <a:lnTo>
                      <a:pt x="81" y="199"/>
                    </a:lnTo>
                    <a:lnTo>
                      <a:pt x="76" y="190"/>
                    </a:lnTo>
                    <a:lnTo>
                      <a:pt x="72" y="185"/>
                    </a:lnTo>
                    <a:lnTo>
                      <a:pt x="67" y="185"/>
                    </a:lnTo>
                    <a:lnTo>
                      <a:pt x="63" y="185"/>
                    </a:lnTo>
                    <a:lnTo>
                      <a:pt x="54" y="181"/>
                    </a:lnTo>
                    <a:lnTo>
                      <a:pt x="45" y="181"/>
                    </a:lnTo>
                    <a:lnTo>
                      <a:pt x="40" y="176"/>
                    </a:lnTo>
                    <a:lnTo>
                      <a:pt x="40" y="172"/>
                    </a:lnTo>
                    <a:lnTo>
                      <a:pt x="36" y="167"/>
                    </a:lnTo>
                    <a:lnTo>
                      <a:pt x="36" y="167"/>
                    </a:lnTo>
                    <a:lnTo>
                      <a:pt x="36" y="167"/>
                    </a:lnTo>
                    <a:lnTo>
                      <a:pt x="31" y="163"/>
                    </a:lnTo>
                    <a:lnTo>
                      <a:pt x="22" y="163"/>
                    </a:lnTo>
                    <a:lnTo>
                      <a:pt x="18" y="163"/>
                    </a:lnTo>
                    <a:lnTo>
                      <a:pt x="18" y="163"/>
                    </a:lnTo>
                    <a:lnTo>
                      <a:pt x="18" y="163"/>
                    </a:lnTo>
                    <a:lnTo>
                      <a:pt x="13" y="158"/>
                    </a:lnTo>
                    <a:lnTo>
                      <a:pt x="13" y="158"/>
                    </a:lnTo>
                    <a:lnTo>
                      <a:pt x="13" y="158"/>
                    </a:lnTo>
                    <a:lnTo>
                      <a:pt x="13" y="149"/>
                    </a:lnTo>
                    <a:lnTo>
                      <a:pt x="13" y="149"/>
                    </a:lnTo>
                    <a:lnTo>
                      <a:pt x="9" y="145"/>
                    </a:lnTo>
                    <a:lnTo>
                      <a:pt x="9" y="140"/>
                    </a:lnTo>
                    <a:lnTo>
                      <a:pt x="4" y="136"/>
                    </a:lnTo>
                    <a:lnTo>
                      <a:pt x="0" y="131"/>
                    </a:lnTo>
                    <a:lnTo>
                      <a:pt x="0" y="131"/>
                    </a:lnTo>
                    <a:lnTo>
                      <a:pt x="0" y="127"/>
                    </a:lnTo>
                    <a:lnTo>
                      <a:pt x="4" y="127"/>
                    </a:lnTo>
                    <a:lnTo>
                      <a:pt x="4" y="127"/>
                    </a:lnTo>
                    <a:lnTo>
                      <a:pt x="9" y="122"/>
                    </a:lnTo>
                    <a:lnTo>
                      <a:pt x="9" y="122"/>
                    </a:lnTo>
                    <a:lnTo>
                      <a:pt x="9" y="118"/>
                    </a:lnTo>
                    <a:lnTo>
                      <a:pt x="9" y="118"/>
                    </a:lnTo>
                    <a:lnTo>
                      <a:pt x="9" y="113"/>
                    </a:lnTo>
                    <a:lnTo>
                      <a:pt x="9" y="109"/>
                    </a:lnTo>
                    <a:lnTo>
                      <a:pt x="4" y="109"/>
                    </a:lnTo>
                    <a:lnTo>
                      <a:pt x="9" y="104"/>
                    </a:lnTo>
                    <a:lnTo>
                      <a:pt x="9" y="100"/>
                    </a:lnTo>
                    <a:lnTo>
                      <a:pt x="9" y="95"/>
                    </a:lnTo>
                    <a:lnTo>
                      <a:pt x="9" y="86"/>
                    </a:lnTo>
                    <a:lnTo>
                      <a:pt x="9" y="77"/>
                    </a:lnTo>
                    <a:lnTo>
                      <a:pt x="9" y="77"/>
                    </a:lnTo>
                    <a:lnTo>
                      <a:pt x="9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3"/>
                    </a:lnTo>
                    <a:lnTo>
                      <a:pt x="4" y="63"/>
                    </a:lnTo>
                    <a:lnTo>
                      <a:pt x="0" y="59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13" y="36"/>
                    </a:lnTo>
                    <a:lnTo>
                      <a:pt x="13" y="32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3"/>
                    </a:lnTo>
                    <a:lnTo>
                      <a:pt x="22" y="23"/>
                    </a:lnTo>
                    <a:lnTo>
                      <a:pt x="22" y="23"/>
                    </a:lnTo>
                    <a:lnTo>
                      <a:pt x="22" y="23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7" y="18"/>
                    </a:lnTo>
                    <a:lnTo>
                      <a:pt x="31" y="18"/>
                    </a:lnTo>
                    <a:lnTo>
                      <a:pt x="31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9" y="5"/>
                    </a:lnTo>
                    <a:lnTo>
                      <a:pt x="49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77" name="Freeform 98"/>
              <p:cNvSpPr>
                <a:spLocks/>
              </p:cNvSpPr>
              <p:nvPr/>
            </p:nvSpPr>
            <p:spPr bwMode="auto">
              <a:xfrm>
                <a:off x="6472238" y="2644776"/>
                <a:ext cx="65088" cy="120650"/>
              </a:xfrm>
              <a:custGeom>
                <a:avLst/>
                <a:gdLst>
                  <a:gd name="T0" fmla="*/ 0 w 41"/>
                  <a:gd name="T1" fmla="*/ 0 h 76"/>
                  <a:gd name="T2" fmla="*/ 4 w 41"/>
                  <a:gd name="T3" fmla="*/ 0 h 76"/>
                  <a:gd name="T4" fmla="*/ 9 w 41"/>
                  <a:gd name="T5" fmla="*/ 4 h 76"/>
                  <a:gd name="T6" fmla="*/ 18 w 41"/>
                  <a:gd name="T7" fmla="*/ 18 h 76"/>
                  <a:gd name="T8" fmla="*/ 18 w 41"/>
                  <a:gd name="T9" fmla="*/ 18 h 76"/>
                  <a:gd name="T10" fmla="*/ 22 w 41"/>
                  <a:gd name="T11" fmla="*/ 18 h 76"/>
                  <a:gd name="T12" fmla="*/ 27 w 41"/>
                  <a:gd name="T13" fmla="*/ 27 h 76"/>
                  <a:gd name="T14" fmla="*/ 27 w 41"/>
                  <a:gd name="T15" fmla="*/ 27 h 76"/>
                  <a:gd name="T16" fmla="*/ 27 w 41"/>
                  <a:gd name="T17" fmla="*/ 27 h 76"/>
                  <a:gd name="T18" fmla="*/ 32 w 41"/>
                  <a:gd name="T19" fmla="*/ 31 h 76"/>
                  <a:gd name="T20" fmla="*/ 32 w 41"/>
                  <a:gd name="T21" fmla="*/ 36 h 76"/>
                  <a:gd name="T22" fmla="*/ 36 w 41"/>
                  <a:gd name="T23" fmla="*/ 40 h 76"/>
                  <a:gd name="T24" fmla="*/ 36 w 41"/>
                  <a:gd name="T25" fmla="*/ 45 h 76"/>
                  <a:gd name="T26" fmla="*/ 36 w 41"/>
                  <a:gd name="T27" fmla="*/ 45 h 76"/>
                  <a:gd name="T28" fmla="*/ 41 w 41"/>
                  <a:gd name="T29" fmla="*/ 49 h 76"/>
                  <a:gd name="T30" fmla="*/ 41 w 41"/>
                  <a:gd name="T31" fmla="*/ 58 h 76"/>
                  <a:gd name="T32" fmla="*/ 36 w 41"/>
                  <a:gd name="T33" fmla="*/ 63 h 76"/>
                  <a:gd name="T34" fmla="*/ 36 w 41"/>
                  <a:gd name="T35" fmla="*/ 67 h 76"/>
                  <a:gd name="T36" fmla="*/ 32 w 41"/>
                  <a:gd name="T37" fmla="*/ 72 h 76"/>
                  <a:gd name="T38" fmla="*/ 18 w 41"/>
                  <a:gd name="T39" fmla="*/ 76 h 76"/>
                  <a:gd name="T40" fmla="*/ 13 w 41"/>
                  <a:gd name="T41" fmla="*/ 76 h 76"/>
                  <a:gd name="T42" fmla="*/ 9 w 41"/>
                  <a:gd name="T43" fmla="*/ 67 h 76"/>
                  <a:gd name="T44" fmla="*/ 4 w 41"/>
                  <a:gd name="T45" fmla="*/ 58 h 76"/>
                  <a:gd name="T46" fmla="*/ 0 w 41"/>
                  <a:gd name="T47" fmla="*/ 40 h 76"/>
                  <a:gd name="T48" fmla="*/ 0 w 41"/>
                  <a:gd name="T49" fmla="*/ 31 h 76"/>
                  <a:gd name="T50" fmla="*/ 0 w 41"/>
                  <a:gd name="T51" fmla="*/ 36 h 76"/>
                  <a:gd name="T52" fmla="*/ 0 w 41"/>
                  <a:gd name="T53" fmla="*/ 36 h 76"/>
                  <a:gd name="T54" fmla="*/ 0 w 41"/>
                  <a:gd name="T55" fmla="*/ 27 h 76"/>
                  <a:gd name="T56" fmla="*/ 4 w 41"/>
                  <a:gd name="T57" fmla="*/ 22 h 76"/>
                  <a:gd name="T58" fmla="*/ 4 w 41"/>
                  <a:gd name="T59" fmla="*/ 18 h 76"/>
                  <a:gd name="T60" fmla="*/ 4 w 41"/>
                  <a:gd name="T61" fmla="*/ 13 h 76"/>
                  <a:gd name="T62" fmla="*/ 4 w 41"/>
                  <a:gd name="T63" fmla="*/ 9 h 76"/>
                  <a:gd name="T64" fmla="*/ 4 w 41"/>
                  <a:gd name="T65" fmla="*/ 9 h 76"/>
                  <a:gd name="T66" fmla="*/ 9 w 41"/>
                  <a:gd name="T67" fmla="*/ 9 h 76"/>
                  <a:gd name="T68" fmla="*/ 9 w 41"/>
                  <a:gd name="T69" fmla="*/ 9 h 76"/>
                  <a:gd name="T70" fmla="*/ 9 w 41"/>
                  <a:gd name="T71" fmla="*/ 4 h 76"/>
                  <a:gd name="T72" fmla="*/ 4 w 41"/>
                  <a:gd name="T73" fmla="*/ 4 h 76"/>
                  <a:gd name="T74" fmla="*/ 0 w 41"/>
                  <a:gd name="T75" fmla="*/ 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1" h="76">
                    <a:moveTo>
                      <a:pt x="0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13" y="9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7" y="22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32" y="31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9"/>
                    </a:lnTo>
                    <a:lnTo>
                      <a:pt x="41" y="49"/>
                    </a:lnTo>
                    <a:lnTo>
                      <a:pt x="41" y="54"/>
                    </a:lnTo>
                    <a:lnTo>
                      <a:pt x="41" y="58"/>
                    </a:lnTo>
                    <a:lnTo>
                      <a:pt x="36" y="63"/>
                    </a:lnTo>
                    <a:lnTo>
                      <a:pt x="36" y="63"/>
                    </a:lnTo>
                    <a:lnTo>
                      <a:pt x="36" y="67"/>
                    </a:lnTo>
                    <a:lnTo>
                      <a:pt x="36" y="67"/>
                    </a:lnTo>
                    <a:lnTo>
                      <a:pt x="32" y="72"/>
                    </a:lnTo>
                    <a:lnTo>
                      <a:pt x="32" y="72"/>
                    </a:lnTo>
                    <a:lnTo>
                      <a:pt x="22" y="72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9" y="67"/>
                    </a:lnTo>
                    <a:lnTo>
                      <a:pt x="4" y="63"/>
                    </a:lnTo>
                    <a:lnTo>
                      <a:pt x="4" y="58"/>
                    </a:lnTo>
                    <a:lnTo>
                      <a:pt x="0" y="45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1"/>
                    </a:lnTo>
                    <a:lnTo>
                      <a:pt x="0" y="27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9"/>
                    </a:lnTo>
                    <a:lnTo>
                      <a:pt x="4" y="4"/>
                    </a:lnTo>
                    <a:lnTo>
                      <a:pt x="4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78" name="Freeform 99"/>
              <p:cNvSpPr>
                <a:spLocks/>
              </p:cNvSpPr>
              <p:nvPr/>
            </p:nvSpPr>
            <p:spPr bwMode="auto">
              <a:xfrm>
                <a:off x="4994276" y="3806826"/>
                <a:ext cx="57150" cy="57150"/>
              </a:xfrm>
              <a:custGeom>
                <a:avLst/>
                <a:gdLst>
                  <a:gd name="T0" fmla="*/ 27 w 36"/>
                  <a:gd name="T1" fmla="*/ 27 h 36"/>
                  <a:gd name="T2" fmla="*/ 23 w 36"/>
                  <a:gd name="T3" fmla="*/ 27 h 36"/>
                  <a:gd name="T4" fmla="*/ 23 w 36"/>
                  <a:gd name="T5" fmla="*/ 27 h 36"/>
                  <a:gd name="T6" fmla="*/ 18 w 36"/>
                  <a:gd name="T7" fmla="*/ 27 h 36"/>
                  <a:gd name="T8" fmla="*/ 18 w 36"/>
                  <a:gd name="T9" fmla="*/ 32 h 36"/>
                  <a:gd name="T10" fmla="*/ 14 w 36"/>
                  <a:gd name="T11" fmla="*/ 36 h 36"/>
                  <a:gd name="T12" fmla="*/ 14 w 36"/>
                  <a:gd name="T13" fmla="*/ 36 h 36"/>
                  <a:gd name="T14" fmla="*/ 14 w 36"/>
                  <a:gd name="T15" fmla="*/ 36 h 36"/>
                  <a:gd name="T16" fmla="*/ 9 w 36"/>
                  <a:gd name="T17" fmla="*/ 36 h 36"/>
                  <a:gd name="T18" fmla="*/ 5 w 36"/>
                  <a:gd name="T19" fmla="*/ 32 h 36"/>
                  <a:gd name="T20" fmla="*/ 5 w 36"/>
                  <a:gd name="T21" fmla="*/ 32 h 36"/>
                  <a:gd name="T22" fmla="*/ 5 w 36"/>
                  <a:gd name="T23" fmla="*/ 32 h 36"/>
                  <a:gd name="T24" fmla="*/ 5 w 36"/>
                  <a:gd name="T25" fmla="*/ 32 h 36"/>
                  <a:gd name="T26" fmla="*/ 5 w 36"/>
                  <a:gd name="T27" fmla="*/ 27 h 36"/>
                  <a:gd name="T28" fmla="*/ 0 w 36"/>
                  <a:gd name="T29" fmla="*/ 23 h 36"/>
                  <a:gd name="T30" fmla="*/ 0 w 36"/>
                  <a:gd name="T31" fmla="*/ 23 h 36"/>
                  <a:gd name="T32" fmla="*/ 0 w 36"/>
                  <a:gd name="T33" fmla="*/ 18 h 36"/>
                  <a:gd name="T34" fmla="*/ 0 w 36"/>
                  <a:gd name="T35" fmla="*/ 18 h 36"/>
                  <a:gd name="T36" fmla="*/ 5 w 36"/>
                  <a:gd name="T37" fmla="*/ 14 h 36"/>
                  <a:gd name="T38" fmla="*/ 5 w 36"/>
                  <a:gd name="T39" fmla="*/ 14 h 36"/>
                  <a:gd name="T40" fmla="*/ 5 w 36"/>
                  <a:gd name="T41" fmla="*/ 9 h 36"/>
                  <a:gd name="T42" fmla="*/ 9 w 36"/>
                  <a:gd name="T43" fmla="*/ 9 h 36"/>
                  <a:gd name="T44" fmla="*/ 9 w 36"/>
                  <a:gd name="T45" fmla="*/ 5 h 36"/>
                  <a:gd name="T46" fmla="*/ 14 w 36"/>
                  <a:gd name="T47" fmla="*/ 5 h 36"/>
                  <a:gd name="T48" fmla="*/ 18 w 36"/>
                  <a:gd name="T49" fmla="*/ 0 h 36"/>
                  <a:gd name="T50" fmla="*/ 27 w 36"/>
                  <a:gd name="T51" fmla="*/ 0 h 36"/>
                  <a:gd name="T52" fmla="*/ 27 w 36"/>
                  <a:gd name="T53" fmla="*/ 0 h 36"/>
                  <a:gd name="T54" fmla="*/ 27 w 36"/>
                  <a:gd name="T55" fmla="*/ 0 h 36"/>
                  <a:gd name="T56" fmla="*/ 32 w 36"/>
                  <a:gd name="T57" fmla="*/ 0 h 36"/>
                  <a:gd name="T58" fmla="*/ 32 w 36"/>
                  <a:gd name="T59" fmla="*/ 5 h 36"/>
                  <a:gd name="T60" fmla="*/ 36 w 36"/>
                  <a:gd name="T61" fmla="*/ 9 h 36"/>
                  <a:gd name="T62" fmla="*/ 36 w 36"/>
                  <a:gd name="T63" fmla="*/ 9 h 36"/>
                  <a:gd name="T64" fmla="*/ 36 w 36"/>
                  <a:gd name="T65" fmla="*/ 9 h 36"/>
                  <a:gd name="T66" fmla="*/ 36 w 36"/>
                  <a:gd name="T67" fmla="*/ 14 h 36"/>
                  <a:gd name="T68" fmla="*/ 36 w 36"/>
                  <a:gd name="T69" fmla="*/ 18 h 36"/>
                  <a:gd name="T70" fmla="*/ 32 w 36"/>
                  <a:gd name="T71" fmla="*/ 18 h 36"/>
                  <a:gd name="T72" fmla="*/ 32 w 36"/>
                  <a:gd name="T73" fmla="*/ 23 h 36"/>
                  <a:gd name="T74" fmla="*/ 32 w 36"/>
                  <a:gd name="T75" fmla="*/ 23 h 36"/>
                  <a:gd name="T76" fmla="*/ 27 w 36"/>
                  <a:gd name="T77" fmla="*/ 2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6" h="36">
                    <a:moveTo>
                      <a:pt x="27" y="27"/>
                    </a:moveTo>
                    <a:lnTo>
                      <a:pt x="27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32"/>
                    </a:lnTo>
                    <a:lnTo>
                      <a:pt x="14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3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6" y="5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2" y="18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27" y="27"/>
                    </a:lnTo>
                    <a:lnTo>
                      <a:pt x="27" y="27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79" name="Freeform 100"/>
              <p:cNvSpPr>
                <a:spLocks/>
              </p:cNvSpPr>
              <p:nvPr/>
            </p:nvSpPr>
            <p:spPr bwMode="auto">
              <a:xfrm>
                <a:off x="4786313" y="1265239"/>
                <a:ext cx="130175" cy="73025"/>
              </a:xfrm>
              <a:custGeom>
                <a:avLst/>
                <a:gdLst>
                  <a:gd name="T0" fmla="*/ 54 w 82"/>
                  <a:gd name="T1" fmla="*/ 5 h 46"/>
                  <a:gd name="T2" fmla="*/ 64 w 82"/>
                  <a:gd name="T3" fmla="*/ 5 h 46"/>
                  <a:gd name="T4" fmla="*/ 73 w 82"/>
                  <a:gd name="T5" fmla="*/ 10 h 46"/>
                  <a:gd name="T6" fmla="*/ 77 w 82"/>
                  <a:gd name="T7" fmla="*/ 14 h 46"/>
                  <a:gd name="T8" fmla="*/ 77 w 82"/>
                  <a:gd name="T9" fmla="*/ 14 h 46"/>
                  <a:gd name="T10" fmla="*/ 77 w 82"/>
                  <a:gd name="T11" fmla="*/ 19 h 46"/>
                  <a:gd name="T12" fmla="*/ 82 w 82"/>
                  <a:gd name="T13" fmla="*/ 19 h 46"/>
                  <a:gd name="T14" fmla="*/ 82 w 82"/>
                  <a:gd name="T15" fmla="*/ 23 h 46"/>
                  <a:gd name="T16" fmla="*/ 82 w 82"/>
                  <a:gd name="T17" fmla="*/ 23 h 46"/>
                  <a:gd name="T18" fmla="*/ 77 w 82"/>
                  <a:gd name="T19" fmla="*/ 23 h 46"/>
                  <a:gd name="T20" fmla="*/ 73 w 82"/>
                  <a:gd name="T21" fmla="*/ 28 h 46"/>
                  <a:gd name="T22" fmla="*/ 68 w 82"/>
                  <a:gd name="T23" fmla="*/ 28 h 46"/>
                  <a:gd name="T24" fmla="*/ 68 w 82"/>
                  <a:gd name="T25" fmla="*/ 32 h 46"/>
                  <a:gd name="T26" fmla="*/ 68 w 82"/>
                  <a:gd name="T27" fmla="*/ 37 h 46"/>
                  <a:gd name="T28" fmla="*/ 68 w 82"/>
                  <a:gd name="T29" fmla="*/ 41 h 46"/>
                  <a:gd name="T30" fmla="*/ 68 w 82"/>
                  <a:gd name="T31" fmla="*/ 41 h 46"/>
                  <a:gd name="T32" fmla="*/ 73 w 82"/>
                  <a:gd name="T33" fmla="*/ 41 h 46"/>
                  <a:gd name="T34" fmla="*/ 68 w 82"/>
                  <a:gd name="T35" fmla="*/ 41 h 46"/>
                  <a:gd name="T36" fmla="*/ 68 w 82"/>
                  <a:gd name="T37" fmla="*/ 41 h 46"/>
                  <a:gd name="T38" fmla="*/ 64 w 82"/>
                  <a:gd name="T39" fmla="*/ 41 h 46"/>
                  <a:gd name="T40" fmla="*/ 59 w 82"/>
                  <a:gd name="T41" fmla="*/ 41 h 46"/>
                  <a:gd name="T42" fmla="*/ 59 w 82"/>
                  <a:gd name="T43" fmla="*/ 46 h 46"/>
                  <a:gd name="T44" fmla="*/ 54 w 82"/>
                  <a:gd name="T45" fmla="*/ 46 h 46"/>
                  <a:gd name="T46" fmla="*/ 50 w 82"/>
                  <a:gd name="T47" fmla="*/ 46 h 46"/>
                  <a:gd name="T48" fmla="*/ 45 w 82"/>
                  <a:gd name="T49" fmla="*/ 46 h 46"/>
                  <a:gd name="T50" fmla="*/ 41 w 82"/>
                  <a:gd name="T51" fmla="*/ 46 h 46"/>
                  <a:gd name="T52" fmla="*/ 41 w 82"/>
                  <a:gd name="T53" fmla="*/ 46 h 46"/>
                  <a:gd name="T54" fmla="*/ 36 w 82"/>
                  <a:gd name="T55" fmla="*/ 41 h 46"/>
                  <a:gd name="T56" fmla="*/ 32 w 82"/>
                  <a:gd name="T57" fmla="*/ 41 h 46"/>
                  <a:gd name="T58" fmla="*/ 32 w 82"/>
                  <a:gd name="T59" fmla="*/ 41 h 46"/>
                  <a:gd name="T60" fmla="*/ 27 w 82"/>
                  <a:gd name="T61" fmla="*/ 37 h 46"/>
                  <a:gd name="T62" fmla="*/ 27 w 82"/>
                  <a:gd name="T63" fmla="*/ 37 h 46"/>
                  <a:gd name="T64" fmla="*/ 27 w 82"/>
                  <a:gd name="T65" fmla="*/ 32 h 46"/>
                  <a:gd name="T66" fmla="*/ 23 w 82"/>
                  <a:gd name="T67" fmla="*/ 28 h 46"/>
                  <a:gd name="T68" fmla="*/ 18 w 82"/>
                  <a:gd name="T69" fmla="*/ 28 h 46"/>
                  <a:gd name="T70" fmla="*/ 14 w 82"/>
                  <a:gd name="T71" fmla="*/ 23 h 46"/>
                  <a:gd name="T72" fmla="*/ 9 w 82"/>
                  <a:gd name="T73" fmla="*/ 23 h 46"/>
                  <a:gd name="T74" fmla="*/ 5 w 82"/>
                  <a:gd name="T75" fmla="*/ 23 h 46"/>
                  <a:gd name="T76" fmla="*/ 5 w 82"/>
                  <a:gd name="T77" fmla="*/ 14 h 46"/>
                  <a:gd name="T78" fmla="*/ 0 w 82"/>
                  <a:gd name="T79" fmla="*/ 5 h 46"/>
                  <a:gd name="T80" fmla="*/ 9 w 82"/>
                  <a:gd name="T81" fmla="*/ 0 h 46"/>
                  <a:gd name="T82" fmla="*/ 18 w 82"/>
                  <a:gd name="T83" fmla="*/ 0 h 46"/>
                  <a:gd name="T84" fmla="*/ 27 w 82"/>
                  <a:gd name="T85" fmla="*/ 0 h 46"/>
                  <a:gd name="T86" fmla="*/ 27 w 82"/>
                  <a:gd name="T87" fmla="*/ 0 h 46"/>
                  <a:gd name="T88" fmla="*/ 36 w 82"/>
                  <a:gd name="T89" fmla="*/ 0 h 46"/>
                  <a:gd name="T90" fmla="*/ 45 w 82"/>
                  <a:gd name="T91" fmla="*/ 5 h 46"/>
                  <a:gd name="T92" fmla="*/ 50 w 82"/>
                  <a:gd name="T93" fmla="*/ 0 h 46"/>
                  <a:gd name="T94" fmla="*/ 54 w 82"/>
                  <a:gd name="T9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2" h="46">
                    <a:moveTo>
                      <a:pt x="54" y="0"/>
                    </a:moveTo>
                    <a:lnTo>
                      <a:pt x="54" y="0"/>
                    </a:lnTo>
                    <a:lnTo>
                      <a:pt x="54" y="5"/>
                    </a:lnTo>
                    <a:lnTo>
                      <a:pt x="59" y="5"/>
                    </a:lnTo>
                    <a:lnTo>
                      <a:pt x="64" y="5"/>
                    </a:lnTo>
                    <a:lnTo>
                      <a:pt x="64" y="5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73" y="10"/>
                    </a:lnTo>
                    <a:lnTo>
                      <a:pt x="73" y="10"/>
                    </a:lnTo>
                    <a:lnTo>
                      <a:pt x="73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9"/>
                    </a:lnTo>
                    <a:lnTo>
                      <a:pt x="77" y="19"/>
                    </a:lnTo>
                    <a:lnTo>
                      <a:pt x="77" y="19"/>
                    </a:lnTo>
                    <a:lnTo>
                      <a:pt x="77" y="19"/>
                    </a:lnTo>
                    <a:lnTo>
                      <a:pt x="82" y="19"/>
                    </a:lnTo>
                    <a:lnTo>
                      <a:pt x="82" y="23"/>
                    </a:lnTo>
                    <a:lnTo>
                      <a:pt x="82" y="23"/>
                    </a:lnTo>
                    <a:lnTo>
                      <a:pt x="82" y="23"/>
                    </a:lnTo>
                    <a:lnTo>
                      <a:pt x="82" y="23"/>
                    </a:lnTo>
                    <a:lnTo>
                      <a:pt x="82" y="23"/>
                    </a:lnTo>
                    <a:lnTo>
                      <a:pt x="82" y="23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77" y="28"/>
                    </a:lnTo>
                    <a:lnTo>
                      <a:pt x="73" y="28"/>
                    </a:lnTo>
                    <a:lnTo>
                      <a:pt x="73" y="28"/>
                    </a:lnTo>
                    <a:lnTo>
                      <a:pt x="73" y="28"/>
                    </a:lnTo>
                    <a:lnTo>
                      <a:pt x="73" y="28"/>
                    </a:lnTo>
                    <a:lnTo>
                      <a:pt x="68" y="28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7"/>
                    </a:lnTo>
                    <a:lnTo>
                      <a:pt x="68" y="37"/>
                    </a:lnTo>
                    <a:lnTo>
                      <a:pt x="68" y="37"/>
                    </a:lnTo>
                    <a:lnTo>
                      <a:pt x="68" y="37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9" y="46"/>
                    </a:lnTo>
                    <a:lnTo>
                      <a:pt x="59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5" y="46"/>
                    </a:lnTo>
                    <a:lnTo>
                      <a:pt x="45" y="46"/>
                    </a:lnTo>
                    <a:lnTo>
                      <a:pt x="45" y="46"/>
                    </a:lnTo>
                    <a:lnTo>
                      <a:pt x="45" y="46"/>
                    </a:lnTo>
                    <a:lnTo>
                      <a:pt x="41" y="46"/>
                    </a:lnTo>
                    <a:lnTo>
                      <a:pt x="41" y="46"/>
                    </a:lnTo>
                    <a:lnTo>
                      <a:pt x="41" y="46"/>
                    </a:lnTo>
                    <a:lnTo>
                      <a:pt x="41" y="46"/>
                    </a:lnTo>
                    <a:lnTo>
                      <a:pt x="41" y="46"/>
                    </a:lnTo>
                    <a:lnTo>
                      <a:pt x="36" y="46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32" y="37"/>
                    </a:lnTo>
                    <a:lnTo>
                      <a:pt x="32" y="37"/>
                    </a:lnTo>
                    <a:lnTo>
                      <a:pt x="27" y="37"/>
                    </a:lnTo>
                    <a:lnTo>
                      <a:pt x="27" y="41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28"/>
                    </a:lnTo>
                    <a:lnTo>
                      <a:pt x="27" y="28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5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5" y="5"/>
                    </a:lnTo>
                    <a:lnTo>
                      <a:pt x="45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80" name="Freeform 101"/>
              <p:cNvSpPr>
                <a:spLocks/>
              </p:cNvSpPr>
              <p:nvPr/>
            </p:nvSpPr>
            <p:spPr bwMode="auto">
              <a:xfrm>
                <a:off x="4449763" y="1452564"/>
                <a:ext cx="14288" cy="22225"/>
              </a:xfrm>
              <a:custGeom>
                <a:avLst/>
                <a:gdLst>
                  <a:gd name="T0" fmla="*/ 0 w 9"/>
                  <a:gd name="T1" fmla="*/ 0 h 14"/>
                  <a:gd name="T2" fmla="*/ 0 w 9"/>
                  <a:gd name="T3" fmla="*/ 0 h 14"/>
                  <a:gd name="T4" fmla="*/ 4 w 9"/>
                  <a:gd name="T5" fmla="*/ 0 h 14"/>
                  <a:gd name="T6" fmla="*/ 4 w 9"/>
                  <a:gd name="T7" fmla="*/ 0 h 14"/>
                  <a:gd name="T8" fmla="*/ 4 w 9"/>
                  <a:gd name="T9" fmla="*/ 0 h 14"/>
                  <a:gd name="T10" fmla="*/ 4 w 9"/>
                  <a:gd name="T11" fmla="*/ 0 h 14"/>
                  <a:gd name="T12" fmla="*/ 4 w 9"/>
                  <a:gd name="T13" fmla="*/ 0 h 14"/>
                  <a:gd name="T14" fmla="*/ 4 w 9"/>
                  <a:gd name="T15" fmla="*/ 5 h 14"/>
                  <a:gd name="T16" fmla="*/ 4 w 9"/>
                  <a:gd name="T17" fmla="*/ 5 h 14"/>
                  <a:gd name="T18" fmla="*/ 4 w 9"/>
                  <a:gd name="T19" fmla="*/ 5 h 14"/>
                  <a:gd name="T20" fmla="*/ 4 w 9"/>
                  <a:gd name="T21" fmla="*/ 5 h 14"/>
                  <a:gd name="T22" fmla="*/ 9 w 9"/>
                  <a:gd name="T23" fmla="*/ 5 h 14"/>
                  <a:gd name="T24" fmla="*/ 9 w 9"/>
                  <a:gd name="T25" fmla="*/ 9 h 14"/>
                  <a:gd name="T26" fmla="*/ 9 w 9"/>
                  <a:gd name="T27" fmla="*/ 9 h 14"/>
                  <a:gd name="T28" fmla="*/ 9 w 9"/>
                  <a:gd name="T29" fmla="*/ 9 h 14"/>
                  <a:gd name="T30" fmla="*/ 9 w 9"/>
                  <a:gd name="T31" fmla="*/ 9 h 14"/>
                  <a:gd name="T32" fmla="*/ 9 w 9"/>
                  <a:gd name="T33" fmla="*/ 9 h 14"/>
                  <a:gd name="T34" fmla="*/ 9 w 9"/>
                  <a:gd name="T35" fmla="*/ 9 h 14"/>
                  <a:gd name="T36" fmla="*/ 9 w 9"/>
                  <a:gd name="T37" fmla="*/ 9 h 14"/>
                  <a:gd name="T38" fmla="*/ 9 w 9"/>
                  <a:gd name="T39" fmla="*/ 14 h 14"/>
                  <a:gd name="T40" fmla="*/ 9 w 9"/>
                  <a:gd name="T41" fmla="*/ 14 h 14"/>
                  <a:gd name="T42" fmla="*/ 4 w 9"/>
                  <a:gd name="T43" fmla="*/ 14 h 14"/>
                  <a:gd name="T44" fmla="*/ 4 w 9"/>
                  <a:gd name="T45" fmla="*/ 14 h 14"/>
                  <a:gd name="T46" fmla="*/ 4 w 9"/>
                  <a:gd name="T47" fmla="*/ 14 h 14"/>
                  <a:gd name="T48" fmla="*/ 4 w 9"/>
                  <a:gd name="T49" fmla="*/ 14 h 14"/>
                  <a:gd name="T50" fmla="*/ 4 w 9"/>
                  <a:gd name="T51" fmla="*/ 14 h 14"/>
                  <a:gd name="T52" fmla="*/ 0 w 9"/>
                  <a:gd name="T53" fmla="*/ 14 h 14"/>
                  <a:gd name="T54" fmla="*/ 0 w 9"/>
                  <a:gd name="T55" fmla="*/ 14 h 14"/>
                  <a:gd name="T56" fmla="*/ 0 w 9"/>
                  <a:gd name="T57" fmla="*/ 14 h 14"/>
                  <a:gd name="T58" fmla="*/ 0 w 9"/>
                  <a:gd name="T59" fmla="*/ 14 h 14"/>
                  <a:gd name="T60" fmla="*/ 0 w 9"/>
                  <a:gd name="T61" fmla="*/ 14 h 14"/>
                  <a:gd name="T62" fmla="*/ 0 w 9"/>
                  <a:gd name="T63" fmla="*/ 14 h 14"/>
                  <a:gd name="T64" fmla="*/ 0 w 9"/>
                  <a:gd name="T65" fmla="*/ 14 h 14"/>
                  <a:gd name="T66" fmla="*/ 0 w 9"/>
                  <a:gd name="T67" fmla="*/ 14 h 14"/>
                  <a:gd name="T68" fmla="*/ 0 w 9"/>
                  <a:gd name="T69" fmla="*/ 9 h 14"/>
                  <a:gd name="T70" fmla="*/ 0 w 9"/>
                  <a:gd name="T71" fmla="*/ 9 h 14"/>
                  <a:gd name="T72" fmla="*/ 0 w 9"/>
                  <a:gd name="T73" fmla="*/ 9 h 14"/>
                  <a:gd name="T74" fmla="*/ 0 w 9"/>
                  <a:gd name="T75" fmla="*/ 9 h 14"/>
                  <a:gd name="T76" fmla="*/ 0 w 9"/>
                  <a:gd name="T77" fmla="*/ 9 h 14"/>
                  <a:gd name="T78" fmla="*/ 0 w 9"/>
                  <a:gd name="T79" fmla="*/ 5 h 14"/>
                  <a:gd name="T80" fmla="*/ 0 w 9"/>
                  <a:gd name="T81" fmla="*/ 5 h 14"/>
                  <a:gd name="T82" fmla="*/ 0 w 9"/>
                  <a:gd name="T83" fmla="*/ 5 h 14"/>
                  <a:gd name="T84" fmla="*/ 0 w 9"/>
                  <a:gd name="T85" fmla="*/ 5 h 14"/>
                  <a:gd name="T86" fmla="*/ 0 w 9"/>
                  <a:gd name="T87" fmla="*/ 5 h 14"/>
                  <a:gd name="T88" fmla="*/ 0 w 9"/>
                  <a:gd name="T89" fmla="*/ 5 h 14"/>
                  <a:gd name="T90" fmla="*/ 0 w 9"/>
                  <a:gd name="T91" fmla="*/ 0 h 14"/>
                  <a:gd name="T92" fmla="*/ 0 w 9"/>
                  <a:gd name="T9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" h="14">
                    <a:moveTo>
                      <a:pt x="0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9" y="5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81" name="Freeform 102"/>
              <p:cNvSpPr>
                <a:spLocks/>
              </p:cNvSpPr>
              <p:nvPr/>
            </p:nvSpPr>
            <p:spPr bwMode="auto">
              <a:xfrm>
                <a:off x="4786313" y="1216026"/>
                <a:ext cx="158750" cy="71438"/>
              </a:xfrm>
              <a:custGeom>
                <a:avLst/>
                <a:gdLst>
                  <a:gd name="T0" fmla="*/ 54 w 100"/>
                  <a:gd name="T1" fmla="*/ 0 h 45"/>
                  <a:gd name="T2" fmla="*/ 54 w 100"/>
                  <a:gd name="T3" fmla="*/ 0 h 45"/>
                  <a:gd name="T4" fmla="*/ 59 w 100"/>
                  <a:gd name="T5" fmla="*/ 4 h 45"/>
                  <a:gd name="T6" fmla="*/ 64 w 100"/>
                  <a:gd name="T7" fmla="*/ 4 h 45"/>
                  <a:gd name="T8" fmla="*/ 68 w 100"/>
                  <a:gd name="T9" fmla="*/ 9 h 45"/>
                  <a:gd name="T10" fmla="*/ 73 w 100"/>
                  <a:gd name="T11" fmla="*/ 9 h 45"/>
                  <a:gd name="T12" fmla="*/ 82 w 100"/>
                  <a:gd name="T13" fmla="*/ 9 h 45"/>
                  <a:gd name="T14" fmla="*/ 86 w 100"/>
                  <a:gd name="T15" fmla="*/ 9 h 45"/>
                  <a:gd name="T16" fmla="*/ 86 w 100"/>
                  <a:gd name="T17" fmla="*/ 9 h 45"/>
                  <a:gd name="T18" fmla="*/ 91 w 100"/>
                  <a:gd name="T19" fmla="*/ 13 h 45"/>
                  <a:gd name="T20" fmla="*/ 91 w 100"/>
                  <a:gd name="T21" fmla="*/ 18 h 45"/>
                  <a:gd name="T22" fmla="*/ 91 w 100"/>
                  <a:gd name="T23" fmla="*/ 18 h 45"/>
                  <a:gd name="T24" fmla="*/ 91 w 100"/>
                  <a:gd name="T25" fmla="*/ 22 h 45"/>
                  <a:gd name="T26" fmla="*/ 95 w 100"/>
                  <a:gd name="T27" fmla="*/ 22 h 45"/>
                  <a:gd name="T28" fmla="*/ 95 w 100"/>
                  <a:gd name="T29" fmla="*/ 27 h 45"/>
                  <a:gd name="T30" fmla="*/ 100 w 100"/>
                  <a:gd name="T31" fmla="*/ 27 h 45"/>
                  <a:gd name="T32" fmla="*/ 100 w 100"/>
                  <a:gd name="T33" fmla="*/ 31 h 45"/>
                  <a:gd name="T34" fmla="*/ 100 w 100"/>
                  <a:gd name="T35" fmla="*/ 36 h 45"/>
                  <a:gd name="T36" fmla="*/ 95 w 100"/>
                  <a:gd name="T37" fmla="*/ 41 h 45"/>
                  <a:gd name="T38" fmla="*/ 91 w 100"/>
                  <a:gd name="T39" fmla="*/ 41 h 45"/>
                  <a:gd name="T40" fmla="*/ 91 w 100"/>
                  <a:gd name="T41" fmla="*/ 41 h 45"/>
                  <a:gd name="T42" fmla="*/ 82 w 100"/>
                  <a:gd name="T43" fmla="*/ 45 h 45"/>
                  <a:gd name="T44" fmla="*/ 77 w 100"/>
                  <a:gd name="T45" fmla="*/ 45 h 45"/>
                  <a:gd name="T46" fmla="*/ 73 w 100"/>
                  <a:gd name="T47" fmla="*/ 45 h 45"/>
                  <a:gd name="T48" fmla="*/ 68 w 100"/>
                  <a:gd name="T49" fmla="*/ 41 h 45"/>
                  <a:gd name="T50" fmla="*/ 64 w 100"/>
                  <a:gd name="T51" fmla="*/ 36 h 45"/>
                  <a:gd name="T52" fmla="*/ 54 w 100"/>
                  <a:gd name="T53" fmla="*/ 31 h 45"/>
                  <a:gd name="T54" fmla="*/ 50 w 100"/>
                  <a:gd name="T55" fmla="*/ 31 h 45"/>
                  <a:gd name="T56" fmla="*/ 50 w 100"/>
                  <a:gd name="T57" fmla="*/ 31 h 45"/>
                  <a:gd name="T58" fmla="*/ 41 w 100"/>
                  <a:gd name="T59" fmla="*/ 31 h 45"/>
                  <a:gd name="T60" fmla="*/ 36 w 100"/>
                  <a:gd name="T61" fmla="*/ 31 h 45"/>
                  <a:gd name="T62" fmla="*/ 27 w 100"/>
                  <a:gd name="T63" fmla="*/ 31 h 45"/>
                  <a:gd name="T64" fmla="*/ 23 w 100"/>
                  <a:gd name="T65" fmla="*/ 31 h 45"/>
                  <a:gd name="T66" fmla="*/ 14 w 100"/>
                  <a:gd name="T67" fmla="*/ 31 h 45"/>
                  <a:gd name="T68" fmla="*/ 9 w 100"/>
                  <a:gd name="T69" fmla="*/ 31 h 45"/>
                  <a:gd name="T70" fmla="*/ 0 w 100"/>
                  <a:gd name="T71" fmla="*/ 36 h 45"/>
                  <a:gd name="T72" fmla="*/ 5 w 100"/>
                  <a:gd name="T73" fmla="*/ 22 h 45"/>
                  <a:gd name="T74" fmla="*/ 5 w 100"/>
                  <a:gd name="T75" fmla="*/ 18 h 45"/>
                  <a:gd name="T76" fmla="*/ 9 w 100"/>
                  <a:gd name="T77" fmla="*/ 9 h 45"/>
                  <a:gd name="T78" fmla="*/ 18 w 100"/>
                  <a:gd name="T79" fmla="*/ 9 h 45"/>
                  <a:gd name="T80" fmla="*/ 27 w 100"/>
                  <a:gd name="T81" fmla="*/ 13 h 45"/>
                  <a:gd name="T82" fmla="*/ 41 w 100"/>
                  <a:gd name="T83" fmla="*/ 18 h 45"/>
                  <a:gd name="T84" fmla="*/ 45 w 100"/>
                  <a:gd name="T85" fmla="*/ 13 h 45"/>
                  <a:gd name="T86" fmla="*/ 41 w 100"/>
                  <a:gd name="T87" fmla="*/ 4 h 45"/>
                  <a:gd name="T88" fmla="*/ 45 w 100"/>
                  <a:gd name="T89" fmla="*/ 4 h 45"/>
                  <a:gd name="T90" fmla="*/ 50 w 100"/>
                  <a:gd name="T91" fmla="*/ 0 h 45"/>
                  <a:gd name="T92" fmla="*/ 54 w 100"/>
                  <a:gd name="T9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0" h="45">
                    <a:moveTo>
                      <a:pt x="54" y="0"/>
                    </a:move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9"/>
                    </a:lnTo>
                    <a:lnTo>
                      <a:pt x="73" y="9"/>
                    </a:lnTo>
                    <a:lnTo>
                      <a:pt x="73" y="9"/>
                    </a:lnTo>
                    <a:lnTo>
                      <a:pt x="73" y="9"/>
                    </a:lnTo>
                    <a:lnTo>
                      <a:pt x="77" y="9"/>
                    </a:lnTo>
                    <a:lnTo>
                      <a:pt x="77" y="9"/>
                    </a:lnTo>
                    <a:lnTo>
                      <a:pt x="82" y="9"/>
                    </a:lnTo>
                    <a:lnTo>
                      <a:pt x="82" y="9"/>
                    </a:lnTo>
                    <a:lnTo>
                      <a:pt x="82" y="9"/>
                    </a:lnTo>
                    <a:lnTo>
                      <a:pt x="86" y="9"/>
                    </a:lnTo>
                    <a:lnTo>
                      <a:pt x="86" y="9"/>
                    </a:lnTo>
                    <a:lnTo>
                      <a:pt x="86" y="9"/>
                    </a:lnTo>
                    <a:lnTo>
                      <a:pt x="86" y="9"/>
                    </a:lnTo>
                    <a:lnTo>
                      <a:pt x="86" y="13"/>
                    </a:lnTo>
                    <a:lnTo>
                      <a:pt x="91" y="13"/>
                    </a:lnTo>
                    <a:lnTo>
                      <a:pt x="91" y="13"/>
                    </a:lnTo>
                    <a:lnTo>
                      <a:pt x="91" y="13"/>
                    </a:lnTo>
                    <a:lnTo>
                      <a:pt x="91" y="13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1" y="22"/>
                    </a:lnTo>
                    <a:lnTo>
                      <a:pt x="91" y="22"/>
                    </a:lnTo>
                    <a:lnTo>
                      <a:pt x="91" y="22"/>
                    </a:lnTo>
                    <a:lnTo>
                      <a:pt x="95" y="22"/>
                    </a:lnTo>
                    <a:lnTo>
                      <a:pt x="95" y="22"/>
                    </a:lnTo>
                    <a:lnTo>
                      <a:pt x="95" y="22"/>
                    </a:lnTo>
                    <a:lnTo>
                      <a:pt x="95" y="27"/>
                    </a:lnTo>
                    <a:lnTo>
                      <a:pt x="95" y="27"/>
                    </a:lnTo>
                    <a:lnTo>
                      <a:pt x="95" y="27"/>
                    </a:lnTo>
                    <a:lnTo>
                      <a:pt x="100" y="27"/>
                    </a:lnTo>
                    <a:lnTo>
                      <a:pt x="100" y="27"/>
                    </a:lnTo>
                    <a:lnTo>
                      <a:pt x="100" y="31"/>
                    </a:lnTo>
                    <a:lnTo>
                      <a:pt x="100" y="31"/>
                    </a:lnTo>
                    <a:lnTo>
                      <a:pt x="100" y="31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95" y="36"/>
                    </a:lnTo>
                    <a:lnTo>
                      <a:pt x="95" y="41"/>
                    </a:lnTo>
                    <a:lnTo>
                      <a:pt x="91" y="41"/>
                    </a:lnTo>
                    <a:lnTo>
                      <a:pt x="91" y="41"/>
                    </a:lnTo>
                    <a:lnTo>
                      <a:pt x="91" y="41"/>
                    </a:lnTo>
                    <a:lnTo>
                      <a:pt x="91" y="41"/>
                    </a:lnTo>
                    <a:lnTo>
                      <a:pt x="91" y="41"/>
                    </a:lnTo>
                    <a:lnTo>
                      <a:pt x="91" y="41"/>
                    </a:lnTo>
                    <a:lnTo>
                      <a:pt x="86" y="41"/>
                    </a:lnTo>
                    <a:lnTo>
                      <a:pt x="82" y="41"/>
                    </a:lnTo>
                    <a:lnTo>
                      <a:pt x="82" y="45"/>
                    </a:lnTo>
                    <a:lnTo>
                      <a:pt x="82" y="45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3" y="45"/>
                    </a:lnTo>
                    <a:lnTo>
                      <a:pt x="73" y="41"/>
                    </a:lnTo>
                    <a:lnTo>
                      <a:pt x="73" y="41"/>
                    </a:lnTo>
                    <a:lnTo>
                      <a:pt x="68" y="41"/>
                    </a:lnTo>
                    <a:lnTo>
                      <a:pt x="68" y="41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59" y="36"/>
                    </a:lnTo>
                    <a:lnTo>
                      <a:pt x="54" y="36"/>
                    </a:lnTo>
                    <a:lnTo>
                      <a:pt x="54" y="31"/>
                    </a:lnTo>
                    <a:lnTo>
                      <a:pt x="54" y="31"/>
                    </a:lnTo>
                    <a:lnTo>
                      <a:pt x="54" y="31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45" y="31"/>
                    </a:lnTo>
                    <a:lnTo>
                      <a:pt x="45" y="36"/>
                    </a:lnTo>
                    <a:lnTo>
                      <a:pt x="41" y="31"/>
                    </a:lnTo>
                    <a:lnTo>
                      <a:pt x="41" y="31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32" y="31"/>
                    </a:lnTo>
                    <a:lnTo>
                      <a:pt x="27" y="31"/>
                    </a:lnTo>
                    <a:lnTo>
                      <a:pt x="27" y="31"/>
                    </a:lnTo>
                    <a:lnTo>
                      <a:pt x="27" y="31"/>
                    </a:lnTo>
                    <a:lnTo>
                      <a:pt x="27" y="31"/>
                    </a:lnTo>
                    <a:lnTo>
                      <a:pt x="23" y="31"/>
                    </a:lnTo>
                    <a:lnTo>
                      <a:pt x="23" y="31"/>
                    </a:lnTo>
                    <a:lnTo>
                      <a:pt x="18" y="31"/>
                    </a:lnTo>
                    <a:lnTo>
                      <a:pt x="14" y="31"/>
                    </a:lnTo>
                    <a:lnTo>
                      <a:pt x="14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5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27"/>
                    </a:lnTo>
                    <a:lnTo>
                      <a:pt x="0" y="22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3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14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3" y="9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32" y="18"/>
                    </a:lnTo>
                    <a:lnTo>
                      <a:pt x="36" y="22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5" y="18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9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82" name="Freeform 103"/>
              <p:cNvSpPr>
                <a:spLocks/>
              </p:cNvSpPr>
              <p:nvPr/>
            </p:nvSpPr>
            <p:spPr bwMode="auto">
              <a:xfrm>
                <a:off x="3817938" y="1876426"/>
                <a:ext cx="438150" cy="430213"/>
              </a:xfrm>
              <a:custGeom>
                <a:avLst/>
                <a:gdLst>
                  <a:gd name="T0" fmla="*/ 240 w 276"/>
                  <a:gd name="T1" fmla="*/ 13 h 271"/>
                  <a:gd name="T2" fmla="*/ 249 w 276"/>
                  <a:gd name="T3" fmla="*/ 9 h 271"/>
                  <a:gd name="T4" fmla="*/ 253 w 276"/>
                  <a:gd name="T5" fmla="*/ 18 h 271"/>
                  <a:gd name="T6" fmla="*/ 267 w 276"/>
                  <a:gd name="T7" fmla="*/ 22 h 271"/>
                  <a:gd name="T8" fmla="*/ 267 w 276"/>
                  <a:gd name="T9" fmla="*/ 27 h 271"/>
                  <a:gd name="T10" fmla="*/ 267 w 276"/>
                  <a:gd name="T11" fmla="*/ 40 h 271"/>
                  <a:gd name="T12" fmla="*/ 271 w 276"/>
                  <a:gd name="T13" fmla="*/ 59 h 271"/>
                  <a:gd name="T14" fmla="*/ 276 w 276"/>
                  <a:gd name="T15" fmla="*/ 68 h 271"/>
                  <a:gd name="T16" fmla="*/ 276 w 276"/>
                  <a:gd name="T17" fmla="*/ 72 h 271"/>
                  <a:gd name="T18" fmla="*/ 253 w 276"/>
                  <a:gd name="T19" fmla="*/ 72 h 271"/>
                  <a:gd name="T20" fmla="*/ 249 w 276"/>
                  <a:gd name="T21" fmla="*/ 77 h 271"/>
                  <a:gd name="T22" fmla="*/ 235 w 276"/>
                  <a:gd name="T23" fmla="*/ 81 h 271"/>
                  <a:gd name="T24" fmla="*/ 231 w 276"/>
                  <a:gd name="T25" fmla="*/ 86 h 271"/>
                  <a:gd name="T26" fmla="*/ 235 w 276"/>
                  <a:gd name="T27" fmla="*/ 90 h 271"/>
                  <a:gd name="T28" fmla="*/ 231 w 276"/>
                  <a:gd name="T29" fmla="*/ 95 h 271"/>
                  <a:gd name="T30" fmla="*/ 217 w 276"/>
                  <a:gd name="T31" fmla="*/ 99 h 271"/>
                  <a:gd name="T32" fmla="*/ 204 w 276"/>
                  <a:gd name="T33" fmla="*/ 113 h 271"/>
                  <a:gd name="T34" fmla="*/ 186 w 276"/>
                  <a:gd name="T35" fmla="*/ 113 h 271"/>
                  <a:gd name="T36" fmla="*/ 186 w 276"/>
                  <a:gd name="T37" fmla="*/ 117 h 271"/>
                  <a:gd name="T38" fmla="*/ 177 w 276"/>
                  <a:gd name="T39" fmla="*/ 117 h 271"/>
                  <a:gd name="T40" fmla="*/ 168 w 276"/>
                  <a:gd name="T41" fmla="*/ 122 h 271"/>
                  <a:gd name="T42" fmla="*/ 154 w 276"/>
                  <a:gd name="T43" fmla="*/ 131 h 271"/>
                  <a:gd name="T44" fmla="*/ 145 w 276"/>
                  <a:gd name="T45" fmla="*/ 154 h 271"/>
                  <a:gd name="T46" fmla="*/ 145 w 276"/>
                  <a:gd name="T47" fmla="*/ 163 h 271"/>
                  <a:gd name="T48" fmla="*/ 140 w 276"/>
                  <a:gd name="T49" fmla="*/ 167 h 271"/>
                  <a:gd name="T50" fmla="*/ 136 w 276"/>
                  <a:gd name="T51" fmla="*/ 167 h 271"/>
                  <a:gd name="T52" fmla="*/ 127 w 276"/>
                  <a:gd name="T53" fmla="*/ 172 h 271"/>
                  <a:gd name="T54" fmla="*/ 118 w 276"/>
                  <a:gd name="T55" fmla="*/ 167 h 271"/>
                  <a:gd name="T56" fmla="*/ 109 w 276"/>
                  <a:gd name="T57" fmla="*/ 167 h 271"/>
                  <a:gd name="T58" fmla="*/ 104 w 276"/>
                  <a:gd name="T59" fmla="*/ 172 h 271"/>
                  <a:gd name="T60" fmla="*/ 100 w 276"/>
                  <a:gd name="T61" fmla="*/ 181 h 271"/>
                  <a:gd name="T62" fmla="*/ 95 w 276"/>
                  <a:gd name="T63" fmla="*/ 185 h 271"/>
                  <a:gd name="T64" fmla="*/ 91 w 276"/>
                  <a:gd name="T65" fmla="*/ 190 h 271"/>
                  <a:gd name="T66" fmla="*/ 86 w 276"/>
                  <a:gd name="T67" fmla="*/ 199 h 271"/>
                  <a:gd name="T68" fmla="*/ 82 w 276"/>
                  <a:gd name="T69" fmla="*/ 208 h 271"/>
                  <a:gd name="T70" fmla="*/ 73 w 276"/>
                  <a:gd name="T71" fmla="*/ 212 h 271"/>
                  <a:gd name="T72" fmla="*/ 68 w 276"/>
                  <a:gd name="T73" fmla="*/ 221 h 271"/>
                  <a:gd name="T74" fmla="*/ 59 w 276"/>
                  <a:gd name="T75" fmla="*/ 226 h 271"/>
                  <a:gd name="T76" fmla="*/ 55 w 276"/>
                  <a:gd name="T77" fmla="*/ 235 h 271"/>
                  <a:gd name="T78" fmla="*/ 50 w 276"/>
                  <a:gd name="T79" fmla="*/ 253 h 271"/>
                  <a:gd name="T80" fmla="*/ 46 w 276"/>
                  <a:gd name="T81" fmla="*/ 258 h 271"/>
                  <a:gd name="T82" fmla="*/ 41 w 276"/>
                  <a:gd name="T83" fmla="*/ 267 h 271"/>
                  <a:gd name="T84" fmla="*/ 32 w 276"/>
                  <a:gd name="T85" fmla="*/ 271 h 271"/>
                  <a:gd name="T86" fmla="*/ 18 w 276"/>
                  <a:gd name="T87" fmla="*/ 271 h 271"/>
                  <a:gd name="T88" fmla="*/ 0 w 276"/>
                  <a:gd name="T89" fmla="*/ 271 h 271"/>
                  <a:gd name="T90" fmla="*/ 14 w 276"/>
                  <a:gd name="T91" fmla="*/ 244 h 271"/>
                  <a:gd name="T92" fmla="*/ 23 w 276"/>
                  <a:gd name="T93" fmla="*/ 230 h 271"/>
                  <a:gd name="T94" fmla="*/ 18 w 276"/>
                  <a:gd name="T95" fmla="*/ 230 h 271"/>
                  <a:gd name="T96" fmla="*/ 37 w 276"/>
                  <a:gd name="T97" fmla="*/ 212 h 271"/>
                  <a:gd name="T98" fmla="*/ 46 w 276"/>
                  <a:gd name="T99" fmla="*/ 190 h 271"/>
                  <a:gd name="T100" fmla="*/ 59 w 276"/>
                  <a:gd name="T101" fmla="*/ 176 h 271"/>
                  <a:gd name="T102" fmla="*/ 73 w 276"/>
                  <a:gd name="T103" fmla="*/ 154 h 271"/>
                  <a:gd name="T104" fmla="*/ 100 w 276"/>
                  <a:gd name="T105" fmla="*/ 144 h 271"/>
                  <a:gd name="T106" fmla="*/ 127 w 276"/>
                  <a:gd name="T107" fmla="*/ 122 h 271"/>
                  <a:gd name="T108" fmla="*/ 136 w 276"/>
                  <a:gd name="T109" fmla="*/ 104 h 271"/>
                  <a:gd name="T110" fmla="*/ 136 w 276"/>
                  <a:gd name="T111" fmla="*/ 86 h 271"/>
                  <a:gd name="T112" fmla="*/ 154 w 276"/>
                  <a:gd name="T113" fmla="*/ 54 h 271"/>
                  <a:gd name="T114" fmla="*/ 186 w 276"/>
                  <a:gd name="T115" fmla="*/ 36 h 271"/>
                  <a:gd name="T116" fmla="*/ 208 w 276"/>
                  <a:gd name="T117" fmla="*/ 0 h 271"/>
                  <a:gd name="T118" fmla="*/ 213 w 276"/>
                  <a:gd name="T119" fmla="*/ 4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76" h="271">
                    <a:moveTo>
                      <a:pt x="222" y="13"/>
                    </a:moveTo>
                    <a:lnTo>
                      <a:pt x="222" y="13"/>
                    </a:lnTo>
                    <a:lnTo>
                      <a:pt x="226" y="13"/>
                    </a:lnTo>
                    <a:lnTo>
                      <a:pt x="235" y="13"/>
                    </a:lnTo>
                    <a:lnTo>
                      <a:pt x="235" y="13"/>
                    </a:lnTo>
                    <a:lnTo>
                      <a:pt x="240" y="13"/>
                    </a:lnTo>
                    <a:lnTo>
                      <a:pt x="240" y="13"/>
                    </a:lnTo>
                    <a:lnTo>
                      <a:pt x="244" y="13"/>
                    </a:lnTo>
                    <a:lnTo>
                      <a:pt x="244" y="13"/>
                    </a:lnTo>
                    <a:lnTo>
                      <a:pt x="249" y="13"/>
                    </a:lnTo>
                    <a:lnTo>
                      <a:pt x="249" y="9"/>
                    </a:lnTo>
                    <a:lnTo>
                      <a:pt x="249" y="9"/>
                    </a:lnTo>
                    <a:lnTo>
                      <a:pt x="249" y="13"/>
                    </a:lnTo>
                    <a:lnTo>
                      <a:pt x="249" y="13"/>
                    </a:lnTo>
                    <a:lnTo>
                      <a:pt x="253" y="13"/>
                    </a:lnTo>
                    <a:lnTo>
                      <a:pt x="253" y="13"/>
                    </a:lnTo>
                    <a:lnTo>
                      <a:pt x="253" y="13"/>
                    </a:lnTo>
                    <a:lnTo>
                      <a:pt x="253" y="18"/>
                    </a:lnTo>
                    <a:lnTo>
                      <a:pt x="258" y="13"/>
                    </a:lnTo>
                    <a:lnTo>
                      <a:pt x="262" y="18"/>
                    </a:lnTo>
                    <a:lnTo>
                      <a:pt x="262" y="18"/>
                    </a:lnTo>
                    <a:lnTo>
                      <a:pt x="262" y="18"/>
                    </a:lnTo>
                    <a:lnTo>
                      <a:pt x="267" y="22"/>
                    </a:lnTo>
                    <a:lnTo>
                      <a:pt x="267" y="22"/>
                    </a:lnTo>
                    <a:lnTo>
                      <a:pt x="267" y="22"/>
                    </a:lnTo>
                    <a:lnTo>
                      <a:pt x="267" y="22"/>
                    </a:lnTo>
                    <a:lnTo>
                      <a:pt x="267" y="27"/>
                    </a:lnTo>
                    <a:lnTo>
                      <a:pt x="267" y="27"/>
                    </a:lnTo>
                    <a:lnTo>
                      <a:pt x="267" y="27"/>
                    </a:lnTo>
                    <a:lnTo>
                      <a:pt x="267" y="27"/>
                    </a:lnTo>
                    <a:lnTo>
                      <a:pt x="267" y="27"/>
                    </a:lnTo>
                    <a:lnTo>
                      <a:pt x="267" y="31"/>
                    </a:lnTo>
                    <a:lnTo>
                      <a:pt x="271" y="31"/>
                    </a:lnTo>
                    <a:lnTo>
                      <a:pt x="271" y="36"/>
                    </a:lnTo>
                    <a:lnTo>
                      <a:pt x="267" y="40"/>
                    </a:lnTo>
                    <a:lnTo>
                      <a:pt x="267" y="40"/>
                    </a:lnTo>
                    <a:lnTo>
                      <a:pt x="267" y="40"/>
                    </a:lnTo>
                    <a:lnTo>
                      <a:pt x="271" y="45"/>
                    </a:lnTo>
                    <a:lnTo>
                      <a:pt x="267" y="50"/>
                    </a:lnTo>
                    <a:lnTo>
                      <a:pt x="271" y="54"/>
                    </a:lnTo>
                    <a:lnTo>
                      <a:pt x="271" y="54"/>
                    </a:lnTo>
                    <a:lnTo>
                      <a:pt x="271" y="59"/>
                    </a:lnTo>
                    <a:lnTo>
                      <a:pt x="271" y="59"/>
                    </a:lnTo>
                    <a:lnTo>
                      <a:pt x="271" y="63"/>
                    </a:lnTo>
                    <a:lnTo>
                      <a:pt x="276" y="63"/>
                    </a:lnTo>
                    <a:lnTo>
                      <a:pt x="276" y="63"/>
                    </a:lnTo>
                    <a:lnTo>
                      <a:pt x="276" y="63"/>
                    </a:lnTo>
                    <a:lnTo>
                      <a:pt x="276" y="68"/>
                    </a:lnTo>
                    <a:lnTo>
                      <a:pt x="276" y="68"/>
                    </a:lnTo>
                    <a:lnTo>
                      <a:pt x="276" y="68"/>
                    </a:lnTo>
                    <a:lnTo>
                      <a:pt x="276" y="68"/>
                    </a:lnTo>
                    <a:lnTo>
                      <a:pt x="276" y="72"/>
                    </a:lnTo>
                    <a:lnTo>
                      <a:pt x="276" y="72"/>
                    </a:lnTo>
                    <a:lnTo>
                      <a:pt x="276" y="72"/>
                    </a:lnTo>
                    <a:lnTo>
                      <a:pt x="271" y="72"/>
                    </a:lnTo>
                    <a:lnTo>
                      <a:pt x="267" y="72"/>
                    </a:lnTo>
                    <a:lnTo>
                      <a:pt x="267" y="72"/>
                    </a:lnTo>
                    <a:lnTo>
                      <a:pt x="262" y="72"/>
                    </a:lnTo>
                    <a:lnTo>
                      <a:pt x="258" y="72"/>
                    </a:lnTo>
                    <a:lnTo>
                      <a:pt x="253" y="72"/>
                    </a:lnTo>
                    <a:lnTo>
                      <a:pt x="253" y="72"/>
                    </a:lnTo>
                    <a:lnTo>
                      <a:pt x="249" y="72"/>
                    </a:lnTo>
                    <a:lnTo>
                      <a:pt x="249" y="72"/>
                    </a:lnTo>
                    <a:lnTo>
                      <a:pt x="249" y="72"/>
                    </a:lnTo>
                    <a:lnTo>
                      <a:pt x="249" y="72"/>
                    </a:lnTo>
                    <a:lnTo>
                      <a:pt x="249" y="77"/>
                    </a:lnTo>
                    <a:lnTo>
                      <a:pt x="244" y="77"/>
                    </a:lnTo>
                    <a:lnTo>
                      <a:pt x="244" y="77"/>
                    </a:lnTo>
                    <a:lnTo>
                      <a:pt x="240" y="81"/>
                    </a:lnTo>
                    <a:lnTo>
                      <a:pt x="235" y="81"/>
                    </a:lnTo>
                    <a:lnTo>
                      <a:pt x="235" y="81"/>
                    </a:lnTo>
                    <a:lnTo>
                      <a:pt x="235" y="81"/>
                    </a:lnTo>
                    <a:lnTo>
                      <a:pt x="231" y="81"/>
                    </a:lnTo>
                    <a:lnTo>
                      <a:pt x="231" y="81"/>
                    </a:lnTo>
                    <a:lnTo>
                      <a:pt x="231" y="81"/>
                    </a:lnTo>
                    <a:lnTo>
                      <a:pt x="231" y="81"/>
                    </a:lnTo>
                    <a:lnTo>
                      <a:pt x="231" y="86"/>
                    </a:lnTo>
                    <a:lnTo>
                      <a:pt x="231" y="86"/>
                    </a:lnTo>
                    <a:lnTo>
                      <a:pt x="231" y="86"/>
                    </a:lnTo>
                    <a:lnTo>
                      <a:pt x="231" y="90"/>
                    </a:lnTo>
                    <a:lnTo>
                      <a:pt x="231" y="90"/>
                    </a:lnTo>
                    <a:lnTo>
                      <a:pt x="231" y="90"/>
                    </a:lnTo>
                    <a:lnTo>
                      <a:pt x="231" y="90"/>
                    </a:lnTo>
                    <a:lnTo>
                      <a:pt x="235" y="90"/>
                    </a:lnTo>
                    <a:lnTo>
                      <a:pt x="235" y="90"/>
                    </a:lnTo>
                    <a:lnTo>
                      <a:pt x="235" y="90"/>
                    </a:lnTo>
                    <a:lnTo>
                      <a:pt x="235" y="95"/>
                    </a:lnTo>
                    <a:lnTo>
                      <a:pt x="235" y="95"/>
                    </a:lnTo>
                    <a:lnTo>
                      <a:pt x="235" y="95"/>
                    </a:lnTo>
                    <a:lnTo>
                      <a:pt x="231" y="95"/>
                    </a:lnTo>
                    <a:lnTo>
                      <a:pt x="231" y="95"/>
                    </a:lnTo>
                    <a:lnTo>
                      <a:pt x="226" y="95"/>
                    </a:lnTo>
                    <a:lnTo>
                      <a:pt x="222" y="99"/>
                    </a:lnTo>
                    <a:lnTo>
                      <a:pt x="222" y="99"/>
                    </a:lnTo>
                    <a:lnTo>
                      <a:pt x="217" y="99"/>
                    </a:lnTo>
                    <a:lnTo>
                      <a:pt x="217" y="99"/>
                    </a:lnTo>
                    <a:lnTo>
                      <a:pt x="213" y="104"/>
                    </a:lnTo>
                    <a:lnTo>
                      <a:pt x="213" y="104"/>
                    </a:lnTo>
                    <a:lnTo>
                      <a:pt x="208" y="108"/>
                    </a:lnTo>
                    <a:lnTo>
                      <a:pt x="208" y="108"/>
                    </a:lnTo>
                    <a:lnTo>
                      <a:pt x="204" y="113"/>
                    </a:lnTo>
                    <a:lnTo>
                      <a:pt x="204" y="113"/>
                    </a:lnTo>
                    <a:lnTo>
                      <a:pt x="199" y="113"/>
                    </a:lnTo>
                    <a:lnTo>
                      <a:pt x="195" y="113"/>
                    </a:lnTo>
                    <a:lnTo>
                      <a:pt x="190" y="113"/>
                    </a:lnTo>
                    <a:lnTo>
                      <a:pt x="190" y="113"/>
                    </a:lnTo>
                    <a:lnTo>
                      <a:pt x="190" y="113"/>
                    </a:lnTo>
                    <a:lnTo>
                      <a:pt x="186" y="113"/>
                    </a:lnTo>
                    <a:lnTo>
                      <a:pt x="186" y="113"/>
                    </a:lnTo>
                    <a:lnTo>
                      <a:pt x="186" y="113"/>
                    </a:lnTo>
                    <a:lnTo>
                      <a:pt x="186" y="117"/>
                    </a:lnTo>
                    <a:lnTo>
                      <a:pt x="186" y="117"/>
                    </a:lnTo>
                    <a:lnTo>
                      <a:pt x="186" y="117"/>
                    </a:lnTo>
                    <a:lnTo>
                      <a:pt x="186" y="117"/>
                    </a:lnTo>
                    <a:lnTo>
                      <a:pt x="186" y="117"/>
                    </a:lnTo>
                    <a:lnTo>
                      <a:pt x="186" y="117"/>
                    </a:lnTo>
                    <a:lnTo>
                      <a:pt x="181" y="117"/>
                    </a:lnTo>
                    <a:lnTo>
                      <a:pt x="181" y="117"/>
                    </a:lnTo>
                    <a:lnTo>
                      <a:pt x="177" y="117"/>
                    </a:lnTo>
                    <a:lnTo>
                      <a:pt x="177" y="117"/>
                    </a:lnTo>
                    <a:lnTo>
                      <a:pt x="177" y="117"/>
                    </a:lnTo>
                    <a:lnTo>
                      <a:pt x="172" y="117"/>
                    </a:lnTo>
                    <a:lnTo>
                      <a:pt x="172" y="122"/>
                    </a:lnTo>
                    <a:lnTo>
                      <a:pt x="172" y="122"/>
                    </a:lnTo>
                    <a:lnTo>
                      <a:pt x="168" y="122"/>
                    </a:lnTo>
                    <a:lnTo>
                      <a:pt x="168" y="122"/>
                    </a:lnTo>
                    <a:lnTo>
                      <a:pt x="168" y="122"/>
                    </a:lnTo>
                    <a:lnTo>
                      <a:pt x="163" y="126"/>
                    </a:lnTo>
                    <a:lnTo>
                      <a:pt x="163" y="126"/>
                    </a:lnTo>
                    <a:lnTo>
                      <a:pt x="158" y="131"/>
                    </a:lnTo>
                    <a:lnTo>
                      <a:pt x="154" y="131"/>
                    </a:lnTo>
                    <a:lnTo>
                      <a:pt x="154" y="131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54"/>
                    </a:lnTo>
                    <a:lnTo>
                      <a:pt x="145" y="154"/>
                    </a:lnTo>
                    <a:lnTo>
                      <a:pt x="145" y="158"/>
                    </a:lnTo>
                    <a:lnTo>
                      <a:pt x="145" y="158"/>
                    </a:lnTo>
                    <a:lnTo>
                      <a:pt x="145" y="158"/>
                    </a:lnTo>
                    <a:lnTo>
                      <a:pt x="145" y="158"/>
                    </a:lnTo>
                    <a:lnTo>
                      <a:pt x="145" y="163"/>
                    </a:lnTo>
                    <a:lnTo>
                      <a:pt x="145" y="163"/>
                    </a:lnTo>
                    <a:lnTo>
                      <a:pt x="145" y="163"/>
                    </a:lnTo>
                    <a:lnTo>
                      <a:pt x="145" y="163"/>
                    </a:lnTo>
                    <a:lnTo>
                      <a:pt x="145" y="163"/>
                    </a:lnTo>
                    <a:lnTo>
                      <a:pt x="145" y="167"/>
                    </a:lnTo>
                    <a:lnTo>
                      <a:pt x="145" y="167"/>
                    </a:lnTo>
                    <a:lnTo>
                      <a:pt x="140" y="167"/>
                    </a:lnTo>
                    <a:lnTo>
                      <a:pt x="140" y="167"/>
                    </a:lnTo>
                    <a:lnTo>
                      <a:pt x="140" y="167"/>
                    </a:lnTo>
                    <a:lnTo>
                      <a:pt x="136" y="167"/>
                    </a:lnTo>
                    <a:lnTo>
                      <a:pt x="136" y="167"/>
                    </a:lnTo>
                    <a:lnTo>
                      <a:pt x="136" y="167"/>
                    </a:lnTo>
                    <a:lnTo>
                      <a:pt x="136" y="167"/>
                    </a:lnTo>
                    <a:lnTo>
                      <a:pt x="131" y="167"/>
                    </a:lnTo>
                    <a:lnTo>
                      <a:pt x="131" y="167"/>
                    </a:lnTo>
                    <a:lnTo>
                      <a:pt x="131" y="172"/>
                    </a:lnTo>
                    <a:lnTo>
                      <a:pt x="127" y="172"/>
                    </a:lnTo>
                    <a:lnTo>
                      <a:pt x="127" y="172"/>
                    </a:lnTo>
                    <a:lnTo>
                      <a:pt x="127" y="172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22" y="172"/>
                    </a:lnTo>
                    <a:lnTo>
                      <a:pt x="122" y="172"/>
                    </a:lnTo>
                    <a:lnTo>
                      <a:pt x="122" y="172"/>
                    </a:lnTo>
                    <a:lnTo>
                      <a:pt x="118" y="167"/>
                    </a:lnTo>
                    <a:lnTo>
                      <a:pt x="118" y="167"/>
                    </a:lnTo>
                    <a:lnTo>
                      <a:pt x="118" y="167"/>
                    </a:lnTo>
                    <a:lnTo>
                      <a:pt x="113" y="167"/>
                    </a:lnTo>
                    <a:lnTo>
                      <a:pt x="113" y="167"/>
                    </a:lnTo>
                    <a:lnTo>
                      <a:pt x="113" y="167"/>
                    </a:lnTo>
                    <a:lnTo>
                      <a:pt x="109" y="167"/>
                    </a:lnTo>
                    <a:lnTo>
                      <a:pt x="109" y="167"/>
                    </a:lnTo>
                    <a:lnTo>
                      <a:pt x="104" y="167"/>
                    </a:lnTo>
                    <a:lnTo>
                      <a:pt x="104" y="167"/>
                    </a:lnTo>
                    <a:lnTo>
                      <a:pt x="100" y="172"/>
                    </a:lnTo>
                    <a:lnTo>
                      <a:pt x="104" y="172"/>
                    </a:lnTo>
                    <a:lnTo>
                      <a:pt x="104" y="172"/>
                    </a:lnTo>
                    <a:lnTo>
                      <a:pt x="104" y="172"/>
                    </a:lnTo>
                    <a:lnTo>
                      <a:pt x="104" y="176"/>
                    </a:lnTo>
                    <a:lnTo>
                      <a:pt x="100" y="176"/>
                    </a:lnTo>
                    <a:lnTo>
                      <a:pt x="100" y="176"/>
                    </a:lnTo>
                    <a:lnTo>
                      <a:pt x="100" y="176"/>
                    </a:lnTo>
                    <a:lnTo>
                      <a:pt x="100" y="181"/>
                    </a:lnTo>
                    <a:lnTo>
                      <a:pt x="100" y="181"/>
                    </a:lnTo>
                    <a:lnTo>
                      <a:pt x="95" y="181"/>
                    </a:lnTo>
                    <a:lnTo>
                      <a:pt x="95" y="181"/>
                    </a:lnTo>
                    <a:lnTo>
                      <a:pt x="95" y="185"/>
                    </a:lnTo>
                    <a:lnTo>
                      <a:pt x="95" y="185"/>
                    </a:lnTo>
                    <a:lnTo>
                      <a:pt x="95" y="185"/>
                    </a:lnTo>
                    <a:lnTo>
                      <a:pt x="91" y="185"/>
                    </a:lnTo>
                    <a:lnTo>
                      <a:pt x="91" y="185"/>
                    </a:lnTo>
                    <a:lnTo>
                      <a:pt x="91" y="185"/>
                    </a:lnTo>
                    <a:lnTo>
                      <a:pt x="91" y="185"/>
                    </a:lnTo>
                    <a:lnTo>
                      <a:pt x="91" y="185"/>
                    </a:lnTo>
                    <a:lnTo>
                      <a:pt x="91" y="190"/>
                    </a:lnTo>
                    <a:lnTo>
                      <a:pt x="91" y="190"/>
                    </a:lnTo>
                    <a:lnTo>
                      <a:pt x="91" y="190"/>
                    </a:lnTo>
                    <a:lnTo>
                      <a:pt x="86" y="190"/>
                    </a:lnTo>
                    <a:lnTo>
                      <a:pt x="86" y="194"/>
                    </a:lnTo>
                    <a:lnTo>
                      <a:pt x="86" y="194"/>
                    </a:lnTo>
                    <a:lnTo>
                      <a:pt x="86" y="199"/>
                    </a:lnTo>
                    <a:lnTo>
                      <a:pt x="86" y="199"/>
                    </a:lnTo>
                    <a:lnTo>
                      <a:pt x="86" y="203"/>
                    </a:lnTo>
                    <a:lnTo>
                      <a:pt x="82" y="203"/>
                    </a:lnTo>
                    <a:lnTo>
                      <a:pt x="82" y="208"/>
                    </a:lnTo>
                    <a:lnTo>
                      <a:pt x="82" y="208"/>
                    </a:lnTo>
                    <a:lnTo>
                      <a:pt x="82" y="208"/>
                    </a:lnTo>
                    <a:lnTo>
                      <a:pt x="82" y="208"/>
                    </a:lnTo>
                    <a:lnTo>
                      <a:pt x="77" y="212"/>
                    </a:lnTo>
                    <a:lnTo>
                      <a:pt x="77" y="212"/>
                    </a:lnTo>
                    <a:lnTo>
                      <a:pt x="77" y="212"/>
                    </a:lnTo>
                    <a:lnTo>
                      <a:pt x="73" y="212"/>
                    </a:lnTo>
                    <a:lnTo>
                      <a:pt x="73" y="212"/>
                    </a:lnTo>
                    <a:lnTo>
                      <a:pt x="73" y="217"/>
                    </a:lnTo>
                    <a:lnTo>
                      <a:pt x="73" y="217"/>
                    </a:lnTo>
                    <a:lnTo>
                      <a:pt x="68" y="217"/>
                    </a:lnTo>
                    <a:lnTo>
                      <a:pt x="68" y="221"/>
                    </a:lnTo>
                    <a:lnTo>
                      <a:pt x="68" y="221"/>
                    </a:lnTo>
                    <a:lnTo>
                      <a:pt x="68" y="221"/>
                    </a:lnTo>
                    <a:lnTo>
                      <a:pt x="68" y="226"/>
                    </a:lnTo>
                    <a:lnTo>
                      <a:pt x="64" y="226"/>
                    </a:lnTo>
                    <a:lnTo>
                      <a:pt x="64" y="226"/>
                    </a:lnTo>
                    <a:lnTo>
                      <a:pt x="59" y="226"/>
                    </a:lnTo>
                    <a:lnTo>
                      <a:pt x="59" y="226"/>
                    </a:lnTo>
                    <a:lnTo>
                      <a:pt x="59" y="226"/>
                    </a:lnTo>
                    <a:lnTo>
                      <a:pt x="55" y="230"/>
                    </a:lnTo>
                    <a:lnTo>
                      <a:pt x="55" y="230"/>
                    </a:lnTo>
                    <a:lnTo>
                      <a:pt x="55" y="230"/>
                    </a:lnTo>
                    <a:lnTo>
                      <a:pt x="55" y="230"/>
                    </a:lnTo>
                    <a:lnTo>
                      <a:pt x="55" y="235"/>
                    </a:lnTo>
                    <a:lnTo>
                      <a:pt x="55" y="235"/>
                    </a:lnTo>
                    <a:lnTo>
                      <a:pt x="50" y="239"/>
                    </a:lnTo>
                    <a:lnTo>
                      <a:pt x="50" y="244"/>
                    </a:lnTo>
                    <a:lnTo>
                      <a:pt x="50" y="244"/>
                    </a:lnTo>
                    <a:lnTo>
                      <a:pt x="50" y="248"/>
                    </a:lnTo>
                    <a:lnTo>
                      <a:pt x="50" y="248"/>
                    </a:lnTo>
                    <a:lnTo>
                      <a:pt x="50" y="253"/>
                    </a:lnTo>
                    <a:lnTo>
                      <a:pt x="50" y="253"/>
                    </a:lnTo>
                    <a:lnTo>
                      <a:pt x="50" y="258"/>
                    </a:lnTo>
                    <a:lnTo>
                      <a:pt x="46" y="258"/>
                    </a:lnTo>
                    <a:lnTo>
                      <a:pt x="46" y="258"/>
                    </a:lnTo>
                    <a:lnTo>
                      <a:pt x="46" y="258"/>
                    </a:lnTo>
                    <a:lnTo>
                      <a:pt x="46" y="258"/>
                    </a:lnTo>
                    <a:lnTo>
                      <a:pt x="46" y="262"/>
                    </a:lnTo>
                    <a:lnTo>
                      <a:pt x="41" y="262"/>
                    </a:lnTo>
                    <a:lnTo>
                      <a:pt x="41" y="262"/>
                    </a:lnTo>
                    <a:lnTo>
                      <a:pt x="41" y="262"/>
                    </a:lnTo>
                    <a:lnTo>
                      <a:pt x="41" y="267"/>
                    </a:lnTo>
                    <a:lnTo>
                      <a:pt x="41" y="267"/>
                    </a:lnTo>
                    <a:lnTo>
                      <a:pt x="41" y="267"/>
                    </a:lnTo>
                    <a:lnTo>
                      <a:pt x="41" y="267"/>
                    </a:lnTo>
                    <a:lnTo>
                      <a:pt x="37" y="271"/>
                    </a:lnTo>
                    <a:lnTo>
                      <a:pt x="37" y="271"/>
                    </a:lnTo>
                    <a:lnTo>
                      <a:pt x="37" y="271"/>
                    </a:lnTo>
                    <a:lnTo>
                      <a:pt x="32" y="271"/>
                    </a:lnTo>
                    <a:lnTo>
                      <a:pt x="27" y="271"/>
                    </a:lnTo>
                    <a:lnTo>
                      <a:pt x="27" y="271"/>
                    </a:lnTo>
                    <a:lnTo>
                      <a:pt x="23" y="271"/>
                    </a:lnTo>
                    <a:lnTo>
                      <a:pt x="23" y="271"/>
                    </a:lnTo>
                    <a:lnTo>
                      <a:pt x="18" y="271"/>
                    </a:lnTo>
                    <a:lnTo>
                      <a:pt x="18" y="271"/>
                    </a:lnTo>
                    <a:lnTo>
                      <a:pt x="14" y="271"/>
                    </a:lnTo>
                    <a:lnTo>
                      <a:pt x="9" y="271"/>
                    </a:lnTo>
                    <a:lnTo>
                      <a:pt x="5" y="271"/>
                    </a:lnTo>
                    <a:lnTo>
                      <a:pt x="0" y="271"/>
                    </a:lnTo>
                    <a:lnTo>
                      <a:pt x="0" y="271"/>
                    </a:lnTo>
                    <a:lnTo>
                      <a:pt x="0" y="271"/>
                    </a:lnTo>
                    <a:lnTo>
                      <a:pt x="0" y="262"/>
                    </a:lnTo>
                    <a:lnTo>
                      <a:pt x="5" y="258"/>
                    </a:lnTo>
                    <a:lnTo>
                      <a:pt x="5" y="258"/>
                    </a:lnTo>
                    <a:lnTo>
                      <a:pt x="9" y="253"/>
                    </a:lnTo>
                    <a:lnTo>
                      <a:pt x="14" y="248"/>
                    </a:lnTo>
                    <a:lnTo>
                      <a:pt x="14" y="244"/>
                    </a:lnTo>
                    <a:lnTo>
                      <a:pt x="14" y="244"/>
                    </a:lnTo>
                    <a:lnTo>
                      <a:pt x="18" y="239"/>
                    </a:lnTo>
                    <a:lnTo>
                      <a:pt x="14" y="239"/>
                    </a:lnTo>
                    <a:lnTo>
                      <a:pt x="18" y="239"/>
                    </a:lnTo>
                    <a:lnTo>
                      <a:pt x="18" y="235"/>
                    </a:lnTo>
                    <a:lnTo>
                      <a:pt x="23" y="230"/>
                    </a:lnTo>
                    <a:lnTo>
                      <a:pt x="23" y="226"/>
                    </a:lnTo>
                    <a:lnTo>
                      <a:pt x="23" y="226"/>
                    </a:lnTo>
                    <a:lnTo>
                      <a:pt x="23" y="226"/>
                    </a:lnTo>
                    <a:lnTo>
                      <a:pt x="23" y="226"/>
                    </a:lnTo>
                    <a:lnTo>
                      <a:pt x="23" y="230"/>
                    </a:lnTo>
                    <a:lnTo>
                      <a:pt x="18" y="230"/>
                    </a:lnTo>
                    <a:lnTo>
                      <a:pt x="23" y="226"/>
                    </a:lnTo>
                    <a:lnTo>
                      <a:pt x="23" y="226"/>
                    </a:lnTo>
                    <a:lnTo>
                      <a:pt x="23" y="226"/>
                    </a:lnTo>
                    <a:lnTo>
                      <a:pt x="27" y="221"/>
                    </a:lnTo>
                    <a:lnTo>
                      <a:pt x="37" y="212"/>
                    </a:lnTo>
                    <a:lnTo>
                      <a:pt x="37" y="212"/>
                    </a:lnTo>
                    <a:lnTo>
                      <a:pt x="41" y="208"/>
                    </a:lnTo>
                    <a:lnTo>
                      <a:pt x="41" y="208"/>
                    </a:lnTo>
                    <a:lnTo>
                      <a:pt x="41" y="199"/>
                    </a:lnTo>
                    <a:lnTo>
                      <a:pt x="41" y="199"/>
                    </a:lnTo>
                    <a:lnTo>
                      <a:pt x="46" y="194"/>
                    </a:lnTo>
                    <a:lnTo>
                      <a:pt x="46" y="190"/>
                    </a:lnTo>
                    <a:lnTo>
                      <a:pt x="50" y="185"/>
                    </a:lnTo>
                    <a:lnTo>
                      <a:pt x="50" y="181"/>
                    </a:lnTo>
                    <a:lnTo>
                      <a:pt x="50" y="181"/>
                    </a:lnTo>
                    <a:lnTo>
                      <a:pt x="50" y="181"/>
                    </a:lnTo>
                    <a:lnTo>
                      <a:pt x="55" y="176"/>
                    </a:lnTo>
                    <a:lnTo>
                      <a:pt x="59" y="176"/>
                    </a:lnTo>
                    <a:lnTo>
                      <a:pt x="64" y="172"/>
                    </a:lnTo>
                    <a:lnTo>
                      <a:pt x="64" y="172"/>
                    </a:lnTo>
                    <a:lnTo>
                      <a:pt x="68" y="172"/>
                    </a:lnTo>
                    <a:lnTo>
                      <a:pt x="68" y="163"/>
                    </a:lnTo>
                    <a:lnTo>
                      <a:pt x="73" y="158"/>
                    </a:lnTo>
                    <a:lnTo>
                      <a:pt x="73" y="154"/>
                    </a:lnTo>
                    <a:lnTo>
                      <a:pt x="77" y="154"/>
                    </a:lnTo>
                    <a:lnTo>
                      <a:pt x="77" y="149"/>
                    </a:lnTo>
                    <a:lnTo>
                      <a:pt x="82" y="149"/>
                    </a:lnTo>
                    <a:lnTo>
                      <a:pt x="86" y="149"/>
                    </a:lnTo>
                    <a:lnTo>
                      <a:pt x="95" y="144"/>
                    </a:lnTo>
                    <a:lnTo>
                      <a:pt x="100" y="144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09" y="135"/>
                    </a:lnTo>
                    <a:lnTo>
                      <a:pt x="118" y="131"/>
                    </a:lnTo>
                    <a:lnTo>
                      <a:pt x="118" y="126"/>
                    </a:lnTo>
                    <a:lnTo>
                      <a:pt x="127" y="122"/>
                    </a:lnTo>
                    <a:lnTo>
                      <a:pt x="127" y="117"/>
                    </a:lnTo>
                    <a:lnTo>
                      <a:pt x="131" y="113"/>
                    </a:lnTo>
                    <a:lnTo>
                      <a:pt x="131" y="113"/>
                    </a:lnTo>
                    <a:lnTo>
                      <a:pt x="136" y="108"/>
                    </a:lnTo>
                    <a:lnTo>
                      <a:pt x="136" y="104"/>
                    </a:lnTo>
                    <a:lnTo>
                      <a:pt x="136" y="104"/>
                    </a:lnTo>
                    <a:lnTo>
                      <a:pt x="131" y="99"/>
                    </a:lnTo>
                    <a:lnTo>
                      <a:pt x="131" y="99"/>
                    </a:lnTo>
                    <a:lnTo>
                      <a:pt x="131" y="99"/>
                    </a:lnTo>
                    <a:lnTo>
                      <a:pt x="131" y="95"/>
                    </a:lnTo>
                    <a:lnTo>
                      <a:pt x="131" y="90"/>
                    </a:lnTo>
                    <a:lnTo>
                      <a:pt x="136" y="86"/>
                    </a:lnTo>
                    <a:lnTo>
                      <a:pt x="136" y="77"/>
                    </a:lnTo>
                    <a:lnTo>
                      <a:pt x="140" y="72"/>
                    </a:lnTo>
                    <a:lnTo>
                      <a:pt x="145" y="68"/>
                    </a:lnTo>
                    <a:lnTo>
                      <a:pt x="145" y="63"/>
                    </a:lnTo>
                    <a:lnTo>
                      <a:pt x="145" y="63"/>
                    </a:lnTo>
                    <a:lnTo>
                      <a:pt x="154" y="54"/>
                    </a:lnTo>
                    <a:lnTo>
                      <a:pt x="158" y="50"/>
                    </a:lnTo>
                    <a:lnTo>
                      <a:pt x="158" y="50"/>
                    </a:lnTo>
                    <a:lnTo>
                      <a:pt x="163" y="50"/>
                    </a:lnTo>
                    <a:lnTo>
                      <a:pt x="172" y="45"/>
                    </a:lnTo>
                    <a:lnTo>
                      <a:pt x="181" y="40"/>
                    </a:lnTo>
                    <a:lnTo>
                      <a:pt x="186" y="36"/>
                    </a:lnTo>
                    <a:lnTo>
                      <a:pt x="186" y="31"/>
                    </a:lnTo>
                    <a:lnTo>
                      <a:pt x="195" y="22"/>
                    </a:lnTo>
                    <a:lnTo>
                      <a:pt x="204" y="4"/>
                    </a:lnTo>
                    <a:lnTo>
                      <a:pt x="204" y="4"/>
                    </a:lnTo>
                    <a:lnTo>
                      <a:pt x="204" y="4"/>
                    </a:lnTo>
                    <a:lnTo>
                      <a:pt x="208" y="0"/>
                    </a:lnTo>
                    <a:lnTo>
                      <a:pt x="208" y="0"/>
                    </a:lnTo>
                    <a:lnTo>
                      <a:pt x="213" y="0"/>
                    </a:lnTo>
                    <a:lnTo>
                      <a:pt x="213" y="0"/>
                    </a:lnTo>
                    <a:lnTo>
                      <a:pt x="213" y="0"/>
                    </a:lnTo>
                    <a:lnTo>
                      <a:pt x="213" y="4"/>
                    </a:lnTo>
                    <a:lnTo>
                      <a:pt x="213" y="4"/>
                    </a:lnTo>
                    <a:lnTo>
                      <a:pt x="217" y="9"/>
                    </a:lnTo>
                    <a:lnTo>
                      <a:pt x="222" y="13"/>
                    </a:lnTo>
                    <a:lnTo>
                      <a:pt x="222" y="13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83" name="Freeform 104"/>
              <p:cNvSpPr>
                <a:spLocks/>
              </p:cNvSpPr>
              <p:nvPr/>
            </p:nvSpPr>
            <p:spPr bwMode="auto">
              <a:xfrm>
                <a:off x="4937126" y="1503364"/>
                <a:ext cx="85725" cy="85725"/>
              </a:xfrm>
              <a:custGeom>
                <a:avLst/>
                <a:gdLst>
                  <a:gd name="T0" fmla="*/ 18 w 54"/>
                  <a:gd name="T1" fmla="*/ 0 h 54"/>
                  <a:gd name="T2" fmla="*/ 23 w 54"/>
                  <a:gd name="T3" fmla="*/ 4 h 54"/>
                  <a:gd name="T4" fmla="*/ 23 w 54"/>
                  <a:gd name="T5" fmla="*/ 4 h 54"/>
                  <a:gd name="T6" fmla="*/ 27 w 54"/>
                  <a:gd name="T7" fmla="*/ 4 h 54"/>
                  <a:gd name="T8" fmla="*/ 27 w 54"/>
                  <a:gd name="T9" fmla="*/ 4 h 54"/>
                  <a:gd name="T10" fmla="*/ 27 w 54"/>
                  <a:gd name="T11" fmla="*/ 4 h 54"/>
                  <a:gd name="T12" fmla="*/ 36 w 54"/>
                  <a:gd name="T13" fmla="*/ 9 h 54"/>
                  <a:gd name="T14" fmla="*/ 36 w 54"/>
                  <a:gd name="T15" fmla="*/ 9 h 54"/>
                  <a:gd name="T16" fmla="*/ 41 w 54"/>
                  <a:gd name="T17" fmla="*/ 13 h 54"/>
                  <a:gd name="T18" fmla="*/ 41 w 54"/>
                  <a:gd name="T19" fmla="*/ 13 h 54"/>
                  <a:gd name="T20" fmla="*/ 41 w 54"/>
                  <a:gd name="T21" fmla="*/ 18 h 54"/>
                  <a:gd name="T22" fmla="*/ 41 w 54"/>
                  <a:gd name="T23" fmla="*/ 22 h 54"/>
                  <a:gd name="T24" fmla="*/ 45 w 54"/>
                  <a:gd name="T25" fmla="*/ 22 h 54"/>
                  <a:gd name="T26" fmla="*/ 45 w 54"/>
                  <a:gd name="T27" fmla="*/ 22 h 54"/>
                  <a:gd name="T28" fmla="*/ 45 w 54"/>
                  <a:gd name="T29" fmla="*/ 27 h 54"/>
                  <a:gd name="T30" fmla="*/ 50 w 54"/>
                  <a:gd name="T31" fmla="*/ 27 h 54"/>
                  <a:gd name="T32" fmla="*/ 54 w 54"/>
                  <a:gd name="T33" fmla="*/ 31 h 54"/>
                  <a:gd name="T34" fmla="*/ 54 w 54"/>
                  <a:gd name="T35" fmla="*/ 36 h 54"/>
                  <a:gd name="T36" fmla="*/ 54 w 54"/>
                  <a:gd name="T37" fmla="*/ 40 h 54"/>
                  <a:gd name="T38" fmla="*/ 50 w 54"/>
                  <a:gd name="T39" fmla="*/ 36 h 54"/>
                  <a:gd name="T40" fmla="*/ 45 w 54"/>
                  <a:gd name="T41" fmla="*/ 36 h 54"/>
                  <a:gd name="T42" fmla="*/ 45 w 54"/>
                  <a:gd name="T43" fmla="*/ 36 h 54"/>
                  <a:gd name="T44" fmla="*/ 45 w 54"/>
                  <a:gd name="T45" fmla="*/ 36 h 54"/>
                  <a:gd name="T46" fmla="*/ 41 w 54"/>
                  <a:gd name="T47" fmla="*/ 36 h 54"/>
                  <a:gd name="T48" fmla="*/ 41 w 54"/>
                  <a:gd name="T49" fmla="*/ 36 h 54"/>
                  <a:gd name="T50" fmla="*/ 36 w 54"/>
                  <a:gd name="T51" fmla="*/ 36 h 54"/>
                  <a:gd name="T52" fmla="*/ 41 w 54"/>
                  <a:gd name="T53" fmla="*/ 40 h 54"/>
                  <a:gd name="T54" fmla="*/ 36 w 54"/>
                  <a:gd name="T55" fmla="*/ 45 h 54"/>
                  <a:gd name="T56" fmla="*/ 36 w 54"/>
                  <a:gd name="T57" fmla="*/ 49 h 54"/>
                  <a:gd name="T58" fmla="*/ 32 w 54"/>
                  <a:gd name="T59" fmla="*/ 54 h 54"/>
                  <a:gd name="T60" fmla="*/ 32 w 54"/>
                  <a:gd name="T61" fmla="*/ 54 h 54"/>
                  <a:gd name="T62" fmla="*/ 32 w 54"/>
                  <a:gd name="T63" fmla="*/ 54 h 54"/>
                  <a:gd name="T64" fmla="*/ 27 w 54"/>
                  <a:gd name="T65" fmla="*/ 54 h 54"/>
                  <a:gd name="T66" fmla="*/ 27 w 54"/>
                  <a:gd name="T67" fmla="*/ 54 h 54"/>
                  <a:gd name="T68" fmla="*/ 27 w 54"/>
                  <a:gd name="T69" fmla="*/ 49 h 54"/>
                  <a:gd name="T70" fmla="*/ 27 w 54"/>
                  <a:gd name="T71" fmla="*/ 45 h 54"/>
                  <a:gd name="T72" fmla="*/ 27 w 54"/>
                  <a:gd name="T73" fmla="*/ 36 h 54"/>
                  <a:gd name="T74" fmla="*/ 27 w 54"/>
                  <a:gd name="T75" fmla="*/ 31 h 54"/>
                  <a:gd name="T76" fmla="*/ 23 w 54"/>
                  <a:gd name="T77" fmla="*/ 27 h 54"/>
                  <a:gd name="T78" fmla="*/ 18 w 54"/>
                  <a:gd name="T79" fmla="*/ 22 h 54"/>
                  <a:gd name="T80" fmla="*/ 14 w 54"/>
                  <a:gd name="T81" fmla="*/ 18 h 54"/>
                  <a:gd name="T82" fmla="*/ 14 w 54"/>
                  <a:gd name="T83" fmla="*/ 13 h 54"/>
                  <a:gd name="T84" fmla="*/ 9 w 54"/>
                  <a:gd name="T85" fmla="*/ 9 h 54"/>
                  <a:gd name="T86" fmla="*/ 5 w 54"/>
                  <a:gd name="T87" fmla="*/ 4 h 54"/>
                  <a:gd name="T88" fmla="*/ 0 w 54"/>
                  <a:gd name="T89" fmla="*/ 4 h 54"/>
                  <a:gd name="T90" fmla="*/ 0 w 54"/>
                  <a:gd name="T91" fmla="*/ 4 h 54"/>
                  <a:gd name="T92" fmla="*/ 5 w 54"/>
                  <a:gd name="T93" fmla="*/ 0 h 54"/>
                  <a:gd name="T94" fmla="*/ 9 w 54"/>
                  <a:gd name="T95" fmla="*/ 0 h 54"/>
                  <a:gd name="T96" fmla="*/ 14 w 54"/>
                  <a:gd name="T97" fmla="*/ 0 h 54"/>
                  <a:gd name="T98" fmla="*/ 18 w 54"/>
                  <a:gd name="T99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4" h="54">
                    <a:moveTo>
                      <a:pt x="18" y="0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3" y="0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32" y="4"/>
                    </a:lnTo>
                    <a:lnTo>
                      <a:pt x="32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41" y="9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22"/>
                    </a:lnTo>
                    <a:lnTo>
                      <a:pt x="45" y="22"/>
                    </a:lnTo>
                    <a:lnTo>
                      <a:pt x="45" y="22"/>
                    </a:lnTo>
                    <a:lnTo>
                      <a:pt x="45" y="22"/>
                    </a:lnTo>
                    <a:lnTo>
                      <a:pt x="45" y="22"/>
                    </a:lnTo>
                    <a:lnTo>
                      <a:pt x="45" y="22"/>
                    </a:lnTo>
                    <a:lnTo>
                      <a:pt x="45" y="22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54" y="31"/>
                    </a:lnTo>
                    <a:lnTo>
                      <a:pt x="54" y="31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4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41" y="40"/>
                    </a:lnTo>
                    <a:lnTo>
                      <a:pt x="41" y="45"/>
                    </a:lnTo>
                    <a:lnTo>
                      <a:pt x="41" y="45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9"/>
                    </a:lnTo>
                    <a:lnTo>
                      <a:pt x="36" y="49"/>
                    </a:lnTo>
                    <a:lnTo>
                      <a:pt x="32" y="49"/>
                    </a:lnTo>
                    <a:lnTo>
                      <a:pt x="32" y="49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49"/>
                    </a:lnTo>
                    <a:lnTo>
                      <a:pt x="27" y="49"/>
                    </a:lnTo>
                    <a:lnTo>
                      <a:pt x="27" y="49"/>
                    </a:lnTo>
                    <a:lnTo>
                      <a:pt x="27" y="49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0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1"/>
                    </a:lnTo>
                    <a:lnTo>
                      <a:pt x="27" y="31"/>
                    </a:lnTo>
                    <a:lnTo>
                      <a:pt x="27" y="31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3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84" name="Freeform 105"/>
              <p:cNvSpPr>
                <a:spLocks/>
              </p:cNvSpPr>
              <p:nvPr/>
            </p:nvSpPr>
            <p:spPr bwMode="auto">
              <a:xfrm>
                <a:off x="5438776" y="3311526"/>
                <a:ext cx="215900" cy="409575"/>
              </a:xfrm>
              <a:custGeom>
                <a:avLst/>
                <a:gdLst>
                  <a:gd name="T0" fmla="*/ 122 w 136"/>
                  <a:gd name="T1" fmla="*/ 14 h 258"/>
                  <a:gd name="T2" fmla="*/ 127 w 136"/>
                  <a:gd name="T3" fmla="*/ 23 h 258"/>
                  <a:gd name="T4" fmla="*/ 131 w 136"/>
                  <a:gd name="T5" fmla="*/ 50 h 258"/>
                  <a:gd name="T6" fmla="*/ 131 w 136"/>
                  <a:gd name="T7" fmla="*/ 68 h 258"/>
                  <a:gd name="T8" fmla="*/ 127 w 136"/>
                  <a:gd name="T9" fmla="*/ 77 h 258"/>
                  <a:gd name="T10" fmla="*/ 122 w 136"/>
                  <a:gd name="T11" fmla="*/ 63 h 258"/>
                  <a:gd name="T12" fmla="*/ 118 w 136"/>
                  <a:gd name="T13" fmla="*/ 68 h 258"/>
                  <a:gd name="T14" fmla="*/ 122 w 136"/>
                  <a:gd name="T15" fmla="*/ 77 h 258"/>
                  <a:gd name="T16" fmla="*/ 122 w 136"/>
                  <a:gd name="T17" fmla="*/ 86 h 258"/>
                  <a:gd name="T18" fmla="*/ 122 w 136"/>
                  <a:gd name="T19" fmla="*/ 90 h 258"/>
                  <a:gd name="T20" fmla="*/ 118 w 136"/>
                  <a:gd name="T21" fmla="*/ 95 h 258"/>
                  <a:gd name="T22" fmla="*/ 113 w 136"/>
                  <a:gd name="T23" fmla="*/ 113 h 258"/>
                  <a:gd name="T24" fmla="*/ 104 w 136"/>
                  <a:gd name="T25" fmla="*/ 136 h 258"/>
                  <a:gd name="T26" fmla="*/ 95 w 136"/>
                  <a:gd name="T27" fmla="*/ 158 h 258"/>
                  <a:gd name="T28" fmla="*/ 82 w 136"/>
                  <a:gd name="T29" fmla="*/ 194 h 258"/>
                  <a:gd name="T30" fmla="*/ 73 w 136"/>
                  <a:gd name="T31" fmla="*/ 213 h 258"/>
                  <a:gd name="T32" fmla="*/ 68 w 136"/>
                  <a:gd name="T33" fmla="*/ 231 h 258"/>
                  <a:gd name="T34" fmla="*/ 64 w 136"/>
                  <a:gd name="T35" fmla="*/ 235 h 258"/>
                  <a:gd name="T36" fmla="*/ 55 w 136"/>
                  <a:gd name="T37" fmla="*/ 249 h 258"/>
                  <a:gd name="T38" fmla="*/ 41 w 136"/>
                  <a:gd name="T39" fmla="*/ 253 h 258"/>
                  <a:gd name="T40" fmla="*/ 27 w 136"/>
                  <a:gd name="T41" fmla="*/ 258 h 258"/>
                  <a:gd name="T42" fmla="*/ 14 w 136"/>
                  <a:gd name="T43" fmla="*/ 249 h 258"/>
                  <a:gd name="T44" fmla="*/ 9 w 136"/>
                  <a:gd name="T45" fmla="*/ 244 h 258"/>
                  <a:gd name="T46" fmla="*/ 9 w 136"/>
                  <a:gd name="T47" fmla="*/ 240 h 258"/>
                  <a:gd name="T48" fmla="*/ 5 w 136"/>
                  <a:gd name="T49" fmla="*/ 231 h 258"/>
                  <a:gd name="T50" fmla="*/ 5 w 136"/>
                  <a:gd name="T51" fmla="*/ 217 h 258"/>
                  <a:gd name="T52" fmla="*/ 5 w 136"/>
                  <a:gd name="T53" fmla="*/ 213 h 258"/>
                  <a:gd name="T54" fmla="*/ 0 w 136"/>
                  <a:gd name="T55" fmla="*/ 199 h 258"/>
                  <a:gd name="T56" fmla="*/ 0 w 136"/>
                  <a:gd name="T57" fmla="*/ 185 h 258"/>
                  <a:gd name="T58" fmla="*/ 5 w 136"/>
                  <a:gd name="T59" fmla="*/ 181 h 258"/>
                  <a:gd name="T60" fmla="*/ 9 w 136"/>
                  <a:gd name="T61" fmla="*/ 172 h 258"/>
                  <a:gd name="T62" fmla="*/ 18 w 136"/>
                  <a:gd name="T63" fmla="*/ 163 h 258"/>
                  <a:gd name="T64" fmla="*/ 23 w 136"/>
                  <a:gd name="T65" fmla="*/ 149 h 258"/>
                  <a:gd name="T66" fmla="*/ 27 w 136"/>
                  <a:gd name="T67" fmla="*/ 140 h 258"/>
                  <a:gd name="T68" fmla="*/ 23 w 136"/>
                  <a:gd name="T69" fmla="*/ 127 h 258"/>
                  <a:gd name="T70" fmla="*/ 18 w 136"/>
                  <a:gd name="T71" fmla="*/ 118 h 258"/>
                  <a:gd name="T72" fmla="*/ 18 w 136"/>
                  <a:gd name="T73" fmla="*/ 104 h 258"/>
                  <a:gd name="T74" fmla="*/ 27 w 136"/>
                  <a:gd name="T75" fmla="*/ 81 h 258"/>
                  <a:gd name="T76" fmla="*/ 32 w 136"/>
                  <a:gd name="T77" fmla="*/ 77 h 258"/>
                  <a:gd name="T78" fmla="*/ 41 w 136"/>
                  <a:gd name="T79" fmla="*/ 72 h 258"/>
                  <a:gd name="T80" fmla="*/ 46 w 136"/>
                  <a:gd name="T81" fmla="*/ 77 h 258"/>
                  <a:gd name="T82" fmla="*/ 50 w 136"/>
                  <a:gd name="T83" fmla="*/ 72 h 258"/>
                  <a:gd name="T84" fmla="*/ 55 w 136"/>
                  <a:gd name="T85" fmla="*/ 72 h 258"/>
                  <a:gd name="T86" fmla="*/ 64 w 136"/>
                  <a:gd name="T87" fmla="*/ 72 h 258"/>
                  <a:gd name="T88" fmla="*/ 64 w 136"/>
                  <a:gd name="T89" fmla="*/ 72 h 258"/>
                  <a:gd name="T90" fmla="*/ 64 w 136"/>
                  <a:gd name="T91" fmla="*/ 68 h 258"/>
                  <a:gd name="T92" fmla="*/ 73 w 136"/>
                  <a:gd name="T93" fmla="*/ 59 h 258"/>
                  <a:gd name="T94" fmla="*/ 77 w 136"/>
                  <a:gd name="T95" fmla="*/ 63 h 258"/>
                  <a:gd name="T96" fmla="*/ 77 w 136"/>
                  <a:gd name="T97" fmla="*/ 59 h 258"/>
                  <a:gd name="T98" fmla="*/ 82 w 136"/>
                  <a:gd name="T99" fmla="*/ 54 h 258"/>
                  <a:gd name="T100" fmla="*/ 82 w 136"/>
                  <a:gd name="T101" fmla="*/ 50 h 258"/>
                  <a:gd name="T102" fmla="*/ 82 w 136"/>
                  <a:gd name="T103" fmla="*/ 54 h 258"/>
                  <a:gd name="T104" fmla="*/ 86 w 136"/>
                  <a:gd name="T105" fmla="*/ 50 h 258"/>
                  <a:gd name="T106" fmla="*/ 91 w 136"/>
                  <a:gd name="T107" fmla="*/ 50 h 258"/>
                  <a:gd name="T108" fmla="*/ 91 w 136"/>
                  <a:gd name="T109" fmla="*/ 36 h 258"/>
                  <a:gd name="T110" fmla="*/ 91 w 136"/>
                  <a:gd name="T111" fmla="*/ 32 h 258"/>
                  <a:gd name="T112" fmla="*/ 95 w 136"/>
                  <a:gd name="T113" fmla="*/ 32 h 258"/>
                  <a:gd name="T114" fmla="*/ 100 w 136"/>
                  <a:gd name="T115" fmla="*/ 32 h 258"/>
                  <a:gd name="T116" fmla="*/ 109 w 136"/>
                  <a:gd name="T117" fmla="*/ 23 h 258"/>
                  <a:gd name="T118" fmla="*/ 109 w 136"/>
                  <a:gd name="T119" fmla="*/ 9 h 258"/>
                  <a:gd name="T120" fmla="*/ 113 w 136"/>
                  <a:gd name="T121" fmla="*/ 9 h 258"/>
                  <a:gd name="T122" fmla="*/ 118 w 136"/>
                  <a:gd name="T123" fmla="*/ 0 h 258"/>
                  <a:gd name="T124" fmla="*/ 122 w 136"/>
                  <a:gd name="T125" fmla="*/ 9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36" h="258">
                    <a:moveTo>
                      <a:pt x="122" y="9"/>
                    </a:moveTo>
                    <a:lnTo>
                      <a:pt x="122" y="9"/>
                    </a:lnTo>
                    <a:lnTo>
                      <a:pt x="122" y="9"/>
                    </a:lnTo>
                    <a:lnTo>
                      <a:pt x="122" y="14"/>
                    </a:lnTo>
                    <a:lnTo>
                      <a:pt x="127" y="18"/>
                    </a:lnTo>
                    <a:lnTo>
                      <a:pt x="127" y="18"/>
                    </a:lnTo>
                    <a:lnTo>
                      <a:pt x="127" y="18"/>
                    </a:lnTo>
                    <a:lnTo>
                      <a:pt x="127" y="23"/>
                    </a:lnTo>
                    <a:lnTo>
                      <a:pt x="131" y="32"/>
                    </a:lnTo>
                    <a:lnTo>
                      <a:pt x="131" y="36"/>
                    </a:lnTo>
                    <a:lnTo>
                      <a:pt x="131" y="45"/>
                    </a:lnTo>
                    <a:lnTo>
                      <a:pt x="131" y="50"/>
                    </a:lnTo>
                    <a:lnTo>
                      <a:pt x="131" y="54"/>
                    </a:lnTo>
                    <a:lnTo>
                      <a:pt x="136" y="59"/>
                    </a:lnTo>
                    <a:lnTo>
                      <a:pt x="136" y="63"/>
                    </a:lnTo>
                    <a:lnTo>
                      <a:pt x="131" y="68"/>
                    </a:lnTo>
                    <a:lnTo>
                      <a:pt x="131" y="72"/>
                    </a:lnTo>
                    <a:lnTo>
                      <a:pt x="131" y="72"/>
                    </a:lnTo>
                    <a:lnTo>
                      <a:pt x="127" y="77"/>
                    </a:lnTo>
                    <a:lnTo>
                      <a:pt x="127" y="77"/>
                    </a:lnTo>
                    <a:lnTo>
                      <a:pt x="127" y="72"/>
                    </a:lnTo>
                    <a:lnTo>
                      <a:pt x="127" y="72"/>
                    </a:lnTo>
                    <a:lnTo>
                      <a:pt x="127" y="68"/>
                    </a:lnTo>
                    <a:lnTo>
                      <a:pt x="122" y="63"/>
                    </a:lnTo>
                    <a:lnTo>
                      <a:pt x="122" y="63"/>
                    </a:lnTo>
                    <a:lnTo>
                      <a:pt x="122" y="63"/>
                    </a:lnTo>
                    <a:lnTo>
                      <a:pt x="122" y="68"/>
                    </a:lnTo>
                    <a:lnTo>
                      <a:pt x="118" y="68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22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22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5"/>
                    </a:lnTo>
                    <a:lnTo>
                      <a:pt x="118" y="95"/>
                    </a:lnTo>
                    <a:lnTo>
                      <a:pt x="113" y="100"/>
                    </a:lnTo>
                    <a:lnTo>
                      <a:pt x="113" y="100"/>
                    </a:lnTo>
                    <a:lnTo>
                      <a:pt x="113" y="109"/>
                    </a:lnTo>
                    <a:lnTo>
                      <a:pt x="113" y="113"/>
                    </a:lnTo>
                    <a:lnTo>
                      <a:pt x="109" y="118"/>
                    </a:lnTo>
                    <a:lnTo>
                      <a:pt x="109" y="122"/>
                    </a:lnTo>
                    <a:lnTo>
                      <a:pt x="109" y="127"/>
                    </a:lnTo>
                    <a:lnTo>
                      <a:pt x="104" y="136"/>
                    </a:lnTo>
                    <a:lnTo>
                      <a:pt x="100" y="140"/>
                    </a:lnTo>
                    <a:lnTo>
                      <a:pt x="100" y="149"/>
                    </a:lnTo>
                    <a:lnTo>
                      <a:pt x="95" y="154"/>
                    </a:lnTo>
                    <a:lnTo>
                      <a:pt x="95" y="158"/>
                    </a:lnTo>
                    <a:lnTo>
                      <a:pt x="91" y="167"/>
                    </a:lnTo>
                    <a:lnTo>
                      <a:pt x="91" y="176"/>
                    </a:lnTo>
                    <a:lnTo>
                      <a:pt x="86" y="185"/>
                    </a:lnTo>
                    <a:lnTo>
                      <a:pt x="82" y="194"/>
                    </a:lnTo>
                    <a:lnTo>
                      <a:pt x="77" y="199"/>
                    </a:lnTo>
                    <a:lnTo>
                      <a:pt x="77" y="203"/>
                    </a:lnTo>
                    <a:lnTo>
                      <a:pt x="77" y="208"/>
                    </a:lnTo>
                    <a:lnTo>
                      <a:pt x="73" y="213"/>
                    </a:lnTo>
                    <a:lnTo>
                      <a:pt x="73" y="222"/>
                    </a:lnTo>
                    <a:lnTo>
                      <a:pt x="73" y="222"/>
                    </a:lnTo>
                    <a:lnTo>
                      <a:pt x="68" y="226"/>
                    </a:lnTo>
                    <a:lnTo>
                      <a:pt x="68" y="231"/>
                    </a:lnTo>
                    <a:lnTo>
                      <a:pt x="68" y="231"/>
                    </a:lnTo>
                    <a:lnTo>
                      <a:pt x="64" y="231"/>
                    </a:lnTo>
                    <a:lnTo>
                      <a:pt x="64" y="235"/>
                    </a:lnTo>
                    <a:lnTo>
                      <a:pt x="64" y="235"/>
                    </a:lnTo>
                    <a:lnTo>
                      <a:pt x="64" y="240"/>
                    </a:lnTo>
                    <a:lnTo>
                      <a:pt x="59" y="244"/>
                    </a:lnTo>
                    <a:lnTo>
                      <a:pt x="59" y="244"/>
                    </a:lnTo>
                    <a:lnTo>
                      <a:pt x="55" y="249"/>
                    </a:lnTo>
                    <a:lnTo>
                      <a:pt x="50" y="249"/>
                    </a:lnTo>
                    <a:lnTo>
                      <a:pt x="50" y="249"/>
                    </a:lnTo>
                    <a:lnTo>
                      <a:pt x="46" y="249"/>
                    </a:lnTo>
                    <a:lnTo>
                      <a:pt x="41" y="253"/>
                    </a:lnTo>
                    <a:lnTo>
                      <a:pt x="36" y="253"/>
                    </a:lnTo>
                    <a:lnTo>
                      <a:pt x="32" y="253"/>
                    </a:lnTo>
                    <a:lnTo>
                      <a:pt x="32" y="258"/>
                    </a:lnTo>
                    <a:lnTo>
                      <a:pt x="27" y="258"/>
                    </a:lnTo>
                    <a:lnTo>
                      <a:pt x="27" y="253"/>
                    </a:lnTo>
                    <a:lnTo>
                      <a:pt x="23" y="253"/>
                    </a:lnTo>
                    <a:lnTo>
                      <a:pt x="18" y="249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9" y="244"/>
                    </a:lnTo>
                    <a:lnTo>
                      <a:pt x="9" y="244"/>
                    </a:lnTo>
                    <a:lnTo>
                      <a:pt x="9" y="244"/>
                    </a:lnTo>
                    <a:lnTo>
                      <a:pt x="9" y="244"/>
                    </a:lnTo>
                    <a:lnTo>
                      <a:pt x="9" y="240"/>
                    </a:lnTo>
                    <a:lnTo>
                      <a:pt x="9" y="240"/>
                    </a:lnTo>
                    <a:lnTo>
                      <a:pt x="5" y="235"/>
                    </a:lnTo>
                    <a:lnTo>
                      <a:pt x="5" y="231"/>
                    </a:lnTo>
                    <a:lnTo>
                      <a:pt x="5" y="231"/>
                    </a:lnTo>
                    <a:lnTo>
                      <a:pt x="5" y="226"/>
                    </a:lnTo>
                    <a:lnTo>
                      <a:pt x="5" y="226"/>
                    </a:lnTo>
                    <a:lnTo>
                      <a:pt x="5" y="222"/>
                    </a:lnTo>
                    <a:lnTo>
                      <a:pt x="5" y="217"/>
                    </a:lnTo>
                    <a:lnTo>
                      <a:pt x="5" y="217"/>
                    </a:lnTo>
                    <a:lnTo>
                      <a:pt x="5" y="217"/>
                    </a:lnTo>
                    <a:lnTo>
                      <a:pt x="5" y="213"/>
                    </a:lnTo>
                    <a:lnTo>
                      <a:pt x="5" y="213"/>
                    </a:lnTo>
                    <a:lnTo>
                      <a:pt x="5" y="208"/>
                    </a:lnTo>
                    <a:lnTo>
                      <a:pt x="0" y="203"/>
                    </a:lnTo>
                    <a:lnTo>
                      <a:pt x="0" y="203"/>
                    </a:lnTo>
                    <a:lnTo>
                      <a:pt x="0" y="199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90"/>
                    </a:lnTo>
                    <a:lnTo>
                      <a:pt x="0" y="185"/>
                    </a:lnTo>
                    <a:lnTo>
                      <a:pt x="0" y="185"/>
                    </a:lnTo>
                    <a:lnTo>
                      <a:pt x="5" y="185"/>
                    </a:lnTo>
                    <a:lnTo>
                      <a:pt x="5" y="181"/>
                    </a:lnTo>
                    <a:lnTo>
                      <a:pt x="5" y="181"/>
                    </a:lnTo>
                    <a:lnTo>
                      <a:pt x="5" y="181"/>
                    </a:lnTo>
                    <a:lnTo>
                      <a:pt x="5" y="176"/>
                    </a:lnTo>
                    <a:lnTo>
                      <a:pt x="9" y="176"/>
                    </a:lnTo>
                    <a:lnTo>
                      <a:pt x="9" y="172"/>
                    </a:lnTo>
                    <a:lnTo>
                      <a:pt x="9" y="172"/>
                    </a:lnTo>
                    <a:lnTo>
                      <a:pt x="14" y="172"/>
                    </a:lnTo>
                    <a:lnTo>
                      <a:pt x="14" y="167"/>
                    </a:lnTo>
                    <a:lnTo>
                      <a:pt x="18" y="163"/>
                    </a:lnTo>
                    <a:lnTo>
                      <a:pt x="18" y="163"/>
                    </a:lnTo>
                    <a:lnTo>
                      <a:pt x="18" y="158"/>
                    </a:lnTo>
                    <a:lnTo>
                      <a:pt x="23" y="154"/>
                    </a:lnTo>
                    <a:lnTo>
                      <a:pt x="23" y="149"/>
                    </a:lnTo>
                    <a:lnTo>
                      <a:pt x="23" y="149"/>
                    </a:lnTo>
                    <a:lnTo>
                      <a:pt x="23" y="145"/>
                    </a:lnTo>
                    <a:lnTo>
                      <a:pt x="27" y="140"/>
                    </a:lnTo>
                    <a:lnTo>
                      <a:pt x="27" y="140"/>
                    </a:lnTo>
                    <a:lnTo>
                      <a:pt x="23" y="136"/>
                    </a:lnTo>
                    <a:lnTo>
                      <a:pt x="23" y="131"/>
                    </a:lnTo>
                    <a:lnTo>
                      <a:pt x="23" y="131"/>
                    </a:lnTo>
                    <a:lnTo>
                      <a:pt x="23" y="127"/>
                    </a:lnTo>
                    <a:lnTo>
                      <a:pt x="23" y="127"/>
                    </a:lnTo>
                    <a:lnTo>
                      <a:pt x="23" y="122"/>
                    </a:lnTo>
                    <a:lnTo>
                      <a:pt x="23" y="122"/>
                    </a:lnTo>
                    <a:lnTo>
                      <a:pt x="18" y="118"/>
                    </a:lnTo>
                    <a:lnTo>
                      <a:pt x="18" y="113"/>
                    </a:lnTo>
                    <a:lnTo>
                      <a:pt x="18" y="109"/>
                    </a:lnTo>
                    <a:lnTo>
                      <a:pt x="18" y="109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7" y="81"/>
                    </a:lnTo>
                    <a:lnTo>
                      <a:pt x="27" y="81"/>
                    </a:lnTo>
                    <a:lnTo>
                      <a:pt x="27" y="81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77"/>
                    </a:lnTo>
                    <a:lnTo>
                      <a:pt x="41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6" y="77"/>
                    </a:lnTo>
                    <a:lnTo>
                      <a:pt x="46" y="77"/>
                    </a:lnTo>
                    <a:lnTo>
                      <a:pt x="50" y="72"/>
                    </a:lnTo>
                    <a:lnTo>
                      <a:pt x="50" y="72"/>
                    </a:lnTo>
                    <a:lnTo>
                      <a:pt x="50" y="77"/>
                    </a:lnTo>
                    <a:lnTo>
                      <a:pt x="50" y="72"/>
                    </a:lnTo>
                    <a:lnTo>
                      <a:pt x="50" y="72"/>
                    </a:lnTo>
                    <a:lnTo>
                      <a:pt x="50" y="72"/>
                    </a:lnTo>
                    <a:lnTo>
                      <a:pt x="50" y="72"/>
                    </a:lnTo>
                    <a:lnTo>
                      <a:pt x="55" y="72"/>
                    </a:lnTo>
                    <a:lnTo>
                      <a:pt x="59" y="72"/>
                    </a:lnTo>
                    <a:lnTo>
                      <a:pt x="59" y="68"/>
                    </a:lnTo>
                    <a:lnTo>
                      <a:pt x="59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8" y="63"/>
                    </a:lnTo>
                    <a:lnTo>
                      <a:pt x="73" y="59"/>
                    </a:lnTo>
                    <a:lnTo>
                      <a:pt x="73" y="59"/>
                    </a:lnTo>
                    <a:lnTo>
                      <a:pt x="73" y="59"/>
                    </a:lnTo>
                    <a:lnTo>
                      <a:pt x="77" y="63"/>
                    </a:lnTo>
                    <a:lnTo>
                      <a:pt x="77" y="63"/>
                    </a:lnTo>
                    <a:lnTo>
                      <a:pt x="77" y="63"/>
                    </a:lnTo>
                    <a:lnTo>
                      <a:pt x="77" y="63"/>
                    </a:lnTo>
                    <a:lnTo>
                      <a:pt x="77" y="63"/>
                    </a:lnTo>
                    <a:lnTo>
                      <a:pt x="77" y="63"/>
                    </a:lnTo>
                    <a:lnTo>
                      <a:pt x="77" y="59"/>
                    </a:lnTo>
                    <a:lnTo>
                      <a:pt x="77" y="59"/>
                    </a:lnTo>
                    <a:lnTo>
                      <a:pt x="77" y="59"/>
                    </a:lnTo>
                    <a:lnTo>
                      <a:pt x="77" y="59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86" y="54"/>
                    </a:lnTo>
                    <a:lnTo>
                      <a:pt x="86" y="54"/>
                    </a:lnTo>
                    <a:lnTo>
                      <a:pt x="86" y="50"/>
                    </a:lnTo>
                    <a:lnTo>
                      <a:pt x="86" y="50"/>
                    </a:lnTo>
                    <a:lnTo>
                      <a:pt x="91" y="50"/>
                    </a:lnTo>
                    <a:lnTo>
                      <a:pt x="91" y="50"/>
                    </a:lnTo>
                    <a:lnTo>
                      <a:pt x="91" y="50"/>
                    </a:lnTo>
                    <a:lnTo>
                      <a:pt x="91" y="50"/>
                    </a:lnTo>
                    <a:lnTo>
                      <a:pt x="91" y="45"/>
                    </a:lnTo>
                    <a:lnTo>
                      <a:pt x="91" y="41"/>
                    </a:lnTo>
                    <a:lnTo>
                      <a:pt x="91" y="36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1" y="36"/>
                    </a:lnTo>
                    <a:lnTo>
                      <a:pt x="91" y="32"/>
                    </a:lnTo>
                    <a:lnTo>
                      <a:pt x="91" y="32"/>
                    </a:lnTo>
                    <a:lnTo>
                      <a:pt x="91" y="32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27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9" y="23"/>
                    </a:lnTo>
                    <a:lnTo>
                      <a:pt x="109" y="18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13" y="9"/>
                    </a:lnTo>
                    <a:lnTo>
                      <a:pt x="113" y="5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18" y="5"/>
                    </a:lnTo>
                    <a:lnTo>
                      <a:pt x="118" y="5"/>
                    </a:lnTo>
                    <a:lnTo>
                      <a:pt x="122" y="5"/>
                    </a:lnTo>
                    <a:lnTo>
                      <a:pt x="122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85" name="Freeform 106"/>
              <p:cNvSpPr>
                <a:spLocks/>
              </p:cNvSpPr>
              <p:nvPr/>
            </p:nvSpPr>
            <p:spPr bwMode="auto">
              <a:xfrm>
                <a:off x="1273176" y="1876426"/>
                <a:ext cx="673100" cy="609600"/>
              </a:xfrm>
              <a:custGeom>
                <a:avLst/>
                <a:gdLst>
                  <a:gd name="T0" fmla="*/ 144 w 424"/>
                  <a:gd name="T1" fmla="*/ 36 h 384"/>
                  <a:gd name="T2" fmla="*/ 176 w 424"/>
                  <a:gd name="T3" fmla="*/ 27 h 384"/>
                  <a:gd name="T4" fmla="*/ 185 w 424"/>
                  <a:gd name="T5" fmla="*/ 68 h 384"/>
                  <a:gd name="T6" fmla="*/ 207 w 424"/>
                  <a:gd name="T7" fmla="*/ 81 h 384"/>
                  <a:gd name="T8" fmla="*/ 235 w 424"/>
                  <a:gd name="T9" fmla="*/ 72 h 384"/>
                  <a:gd name="T10" fmla="*/ 244 w 424"/>
                  <a:gd name="T11" fmla="*/ 90 h 384"/>
                  <a:gd name="T12" fmla="*/ 253 w 424"/>
                  <a:gd name="T13" fmla="*/ 117 h 384"/>
                  <a:gd name="T14" fmla="*/ 248 w 424"/>
                  <a:gd name="T15" fmla="*/ 140 h 384"/>
                  <a:gd name="T16" fmla="*/ 275 w 424"/>
                  <a:gd name="T17" fmla="*/ 154 h 384"/>
                  <a:gd name="T18" fmla="*/ 253 w 424"/>
                  <a:gd name="T19" fmla="*/ 203 h 384"/>
                  <a:gd name="T20" fmla="*/ 244 w 424"/>
                  <a:gd name="T21" fmla="*/ 244 h 384"/>
                  <a:gd name="T22" fmla="*/ 244 w 424"/>
                  <a:gd name="T23" fmla="*/ 244 h 384"/>
                  <a:gd name="T24" fmla="*/ 257 w 424"/>
                  <a:gd name="T25" fmla="*/ 294 h 384"/>
                  <a:gd name="T26" fmla="*/ 275 w 424"/>
                  <a:gd name="T27" fmla="*/ 307 h 384"/>
                  <a:gd name="T28" fmla="*/ 316 w 424"/>
                  <a:gd name="T29" fmla="*/ 298 h 384"/>
                  <a:gd name="T30" fmla="*/ 334 w 424"/>
                  <a:gd name="T31" fmla="*/ 298 h 384"/>
                  <a:gd name="T32" fmla="*/ 347 w 424"/>
                  <a:gd name="T33" fmla="*/ 280 h 384"/>
                  <a:gd name="T34" fmla="*/ 388 w 424"/>
                  <a:gd name="T35" fmla="*/ 248 h 384"/>
                  <a:gd name="T36" fmla="*/ 415 w 424"/>
                  <a:gd name="T37" fmla="*/ 248 h 384"/>
                  <a:gd name="T38" fmla="*/ 424 w 424"/>
                  <a:gd name="T39" fmla="*/ 248 h 384"/>
                  <a:gd name="T40" fmla="*/ 406 w 424"/>
                  <a:gd name="T41" fmla="*/ 280 h 384"/>
                  <a:gd name="T42" fmla="*/ 402 w 424"/>
                  <a:gd name="T43" fmla="*/ 289 h 384"/>
                  <a:gd name="T44" fmla="*/ 388 w 424"/>
                  <a:gd name="T45" fmla="*/ 307 h 384"/>
                  <a:gd name="T46" fmla="*/ 379 w 424"/>
                  <a:gd name="T47" fmla="*/ 312 h 384"/>
                  <a:gd name="T48" fmla="*/ 334 w 424"/>
                  <a:gd name="T49" fmla="*/ 316 h 384"/>
                  <a:gd name="T50" fmla="*/ 334 w 424"/>
                  <a:gd name="T51" fmla="*/ 343 h 384"/>
                  <a:gd name="T52" fmla="*/ 316 w 424"/>
                  <a:gd name="T53" fmla="*/ 352 h 384"/>
                  <a:gd name="T54" fmla="*/ 302 w 424"/>
                  <a:gd name="T55" fmla="*/ 380 h 384"/>
                  <a:gd name="T56" fmla="*/ 275 w 424"/>
                  <a:gd name="T57" fmla="*/ 348 h 384"/>
                  <a:gd name="T58" fmla="*/ 266 w 424"/>
                  <a:gd name="T59" fmla="*/ 348 h 384"/>
                  <a:gd name="T60" fmla="*/ 262 w 424"/>
                  <a:gd name="T61" fmla="*/ 348 h 384"/>
                  <a:gd name="T62" fmla="*/ 194 w 424"/>
                  <a:gd name="T63" fmla="*/ 339 h 384"/>
                  <a:gd name="T64" fmla="*/ 153 w 424"/>
                  <a:gd name="T65" fmla="*/ 312 h 384"/>
                  <a:gd name="T66" fmla="*/ 113 w 424"/>
                  <a:gd name="T67" fmla="*/ 285 h 384"/>
                  <a:gd name="T68" fmla="*/ 108 w 424"/>
                  <a:gd name="T69" fmla="*/ 253 h 384"/>
                  <a:gd name="T70" fmla="*/ 113 w 424"/>
                  <a:gd name="T71" fmla="*/ 230 h 384"/>
                  <a:gd name="T72" fmla="*/ 94 w 424"/>
                  <a:gd name="T73" fmla="*/ 172 h 384"/>
                  <a:gd name="T74" fmla="*/ 90 w 424"/>
                  <a:gd name="T75" fmla="*/ 158 h 384"/>
                  <a:gd name="T76" fmla="*/ 81 w 424"/>
                  <a:gd name="T77" fmla="*/ 149 h 384"/>
                  <a:gd name="T78" fmla="*/ 76 w 424"/>
                  <a:gd name="T79" fmla="*/ 140 h 384"/>
                  <a:gd name="T80" fmla="*/ 76 w 424"/>
                  <a:gd name="T81" fmla="*/ 126 h 384"/>
                  <a:gd name="T82" fmla="*/ 72 w 424"/>
                  <a:gd name="T83" fmla="*/ 99 h 384"/>
                  <a:gd name="T84" fmla="*/ 58 w 424"/>
                  <a:gd name="T85" fmla="*/ 77 h 384"/>
                  <a:gd name="T86" fmla="*/ 58 w 424"/>
                  <a:gd name="T87" fmla="*/ 45 h 384"/>
                  <a:gd name="T88" fmla="*/ 58 w 424"/>
                  <a:gd name="T89" fmla="*/ 27 h 384"/>
                  <a:gd name="T90" fmla="*/ 45 w 424"/>
                  <a:gd name="T91" fmla="*/ 13 h 384"/>
                  <a:gd name="T92" fmla="*/ 31 w 424"/>
                  <a:gd name="T93" fmla="*/ 59 h 384"/>
                  <a:gd name="T94" fmla="*/ 40 w 424"/>
                  <a:gd name="T95" fmla="*/ 81 h 384"/>
                  <a:gd name="T96" fmla="*/ 40 w 424"/>
                  <a:gd name="T97" fmla="*/ 108 h 384"/>
                  <a:gd name="T98" fmla="*/ 45 w 424"/>
                  <a:gd name="T99" fmla="*/ 122 h 384"/>
                  <a:gd name="T100" fmla="*/ 49 w 424"/>
                  <a:gd name="T101" fmla="*/ 158 h 384"/>
                  <a:gd name="T102" fmla="*/ 49 w 424"/>
                  <a:gd name="T103" fmla="*/ 176 h 384"/>
                  <a:gd name="T104" fmla="*/ 54 w 424"/>
                  <a:gd name="T105" fmla="*/ 199 h 384"/>
                  <a:gd name="T106" fmla="*/ 36 w 424"/>
                  <a:gd name="T107" fmla="*/ 176 h 384"/>
                  <a:gd name="T108" fmla="*/ 31 w 424"/>
                  <a:gd name="T109" fmla="*/ 149 h 384"/>
                  <a:gd name="T110" fmla="*/ 18 w 424"/>
                  <a:gd name="T111" fmla="*/ 122 h 384"/>
                  <a:gd name="T112" fmla="*/ 4 w 424"/>
                  <a:gd name="T113" fmla="*/ 104 h 384"/>
                  <a:gd name="T114" fmla="*/ 18 w 424"/>
                  <a:gd name="T115" fmla="*/ 104 h 384"/>
                  <a:gd name="T116" fmla="*/ 18 w 424"/>
                  <a:gd name="T117" fmla="*/ 68 h 384"/>
                  <a:gd name="T118" fmla="*/ 13 w 424"/>
                  <a:gd name="T119" fmla="*/ 36 h 384"/>
                  <a:gd name="T120" fmla="*/ 13 w 424"/>
                  <a:gd name="T121" fmla="*/ 13 h 384"/>
                  <a:gd name="T122" fmla="*/ 54 w 424"/>
                  <a:gd name="T123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24" h="384">
                    <a:moveTo>
                      <a:pt x="76" y="18"/>
                    </a:moveTo>
                    <a:lnTo>
                      <a:pt x="76" y="18"/>
                    </a:lnTo>
                    <a:lnTo>
                      <a:pt x="81" y="22"/>
                    </a:lnTo>
                    <a:lnTo>
                      <a:pt x="85" y="22"/>
                    </a:lnTo>
                    <a:lnTo>
                      <a:pt x="90" y="27"/>
                    </a:lnTo>
                    <a:lnTo>
                      <a:pt x="99" y="31"/>
                    </a:lnTo>
                    <a:lnTo>
                      <a:pt x="104" y="31"/>
                    </a:lnTo>
                    <a:lnTo>
                      <a:pt x="108" y="31"/>
                    </a:lnTo>
                    <a:lnTo>
                      <a:pt x="117" y="31"/>
                    </a:lnTo>
                    <a:lnTo>
                      <a:pt x="122" y="31"/>
                    </a:lnTo>
                    <a:lnTo>
                      <a:pt x="126" y="31"/>
                    </a:lnTo>
                    <a:lnTo>
                      <a:pt x="131" y="31"/>
                    </a:lnTo>
                    <a:lnTo>
                      <a:pt x="140" y="31"/>
                    </a:lnTo>
                    <a:lnTo>
                      <a:pt x="144" y="36"/>
                    </a:lnTo>
                    <a:lnTo>
                      <a:pt x="144" y="31"/>
                    </a:lnTo>
                    <a:lnTo>
                      <a:pt x="144" y="31"/>
                    </a:lnTo>
                    <a:lnTo>
                      <a:pt x="144" y="27"/>
                    </a:lnTo>
                    <a:lnTo>
                      <a:pt x="149" y="27"/>
                    </a:lnTo>
                    <a:lnTo>
                      <a:pt x="149" y="27"/>
                    </a:lnTo>
                    <a:lnTo>
                      <a:pt x="153" y="27"/>
                    </a:lnTo>
                    <a:lnTo>
                      <a:pt x="158" y="27"/>
                    </a:lnTo>
                    <a:lnTo>
                      <a:pt x="162" y="27"/>
                    </a:lnTo>
                    <a:lnTo>
                      <a:pt x="167" y="27"/>
                    </a:lnTo>
                    <a:lnTo>
                      <a:pt x="167" y="27"/>
                    </a:lnTo>
                    <a:lnTo>
                      <a:pt x="171" y="27"/>
                    </a:lnTo>
                    <a:lnTo>
                      <a:pt x="176" y="27"/>
                    </a:lnTo>
                    <a:lnTo>
                      <a:pt x="176" y="27"/>
                    </a:lnTo>
                    <a:lnTo>
                      <a:pt x="176" y="27"/>
                    </a:lnTo>
                    <a:lnTo>
                      <a:pt x="176" y="27"/>
                    </a:lnTo>
                    <a:lnTo>
                      <a:pt x="176" y="31"/>
                    </a:lnTo>
                    <a:lnTo>
                      <a:pt x="176" y="31"/>
                    </a:lnTo>
                    <a:lnTo>
                      <a:pt x="180" y="36"/>
                    </a:lnTo>
                    <a:lnTo>
                      <a:pt x="180" y="36"/>
                    </a:lnTo>
                    <a:lnTo>
                      <a:pt x="185" y="45"/>
                    </a:lnTo>
                    <a:lnTo>
                      <a:pt x="185" y="50"/>
                    </a:lnTo>
                    <a:lnTo>
                      <a:pt x="185" y="50"/>
                    </a:lnTo>
                    <a:lnTo>
                      <a:pt x="189" y="50"/>
                    </a:lnTo>
                    <a:lnTo>
                      <a:pt x="189" y="54"/>
                    </a:lnTo>
                    <a:lnTo>
                      <a:pt x="189" y="54"/>
                    </a:lnTo>
                    <a:lnTo>
                      <a:pt x="189" y="63"/>
                    </a:lnTo>
                    <a:lnTo>
                      <a:pt x="189" y="63"/>
                    </a:lnTo>
                    <a:lnTo>
                      <a:pt x="185" y="68"/>
                    </a:lnTo>
                    <a:lnTo>
                      <a:pt x="189" y="72"/>
                    </a:lnTo>
                    <a:lnTo>
                      <a:pt x="189" y="72"/>
                    </a:lnTo>
                    <a:lnTo>
                      <a:pt x="189" y="72"/>
                    </a:lnTo>
                    <a:lnTo>
                      <a:pt x="189" y="77"/>
                    </a:lnTo>
                    <a:lnTo>
                      <a:pt x="189" y="77"/>
                    </a:lnTo>
                    <a:lnTo>
                      <a:pt x="194" y="77"/>
                    </a:lnTo>
                    <a:lnTo>
                      <a:pt x="194" y="81"/>
                    </a:lnTo>
                    <a:lnTo>
                      <a:pt x="198" y="81"/>
                    </a:lnTo>
                    <a:lnTo>
                      <a:pt x="198" y="86"/>
                    </a:lnTo>
                    <a:lnTo>
                      <a:pt x="203" y="86"/>
                    </a:lnTo>
                    <a:lnTo>
                      <a:pt x="203" y="86"/>
                    </a:lnTo>
                    <a:lnTo>
                      <a:pt x="203" y="86"/>
                    </a:lnTo>
                    <a:lnTo>
                      <a:pt x="207" y="81"/>
                    </a:lnTo>
                    <a:lnTo>
                      <a:pt x="207" y="81"/>
                    </a:lnTo>
                    <a:lnTo>
                      <a:pt x="207" y="81"/>
                    </a:lnTo>
                    <a:lnTo>
                      <a:pt x="212" y="81"/>
                    </a:lnTo>
                    <a:lnTo>
                      <a:pt x="212" y="81"/>
                    </a:lnTo>
                    <a:lnTo>
                      <a:pt x="212" y="77"/>
                    </a:lnTo>
                    <a:lnTo>
                      <a:pt x="216" y="72"/>
                    </a:lnTo>
                    <a:lnTo>
                      <a:pt x="216" y="72"/>
                    </a:lnTo>
                    <a:lnTo>
                      <a:pt x="221" y="72"/>
                    </a:lnTo>
                    <a:lnTo>
                      <a:pt x="221" y="72"/>
                    </a:lnTo>
                    <a:lnTo>
                      <a:pt x="226" y="68"/>
                    </a:lnTo>
                    <a:lnTo>
                      <a:pt x="226" y="68"/>
                    </a:lnTo>
                    <a:lnTo>
                      <a:pt x="226" y="68"/>
                    </a:lnTo>
                    <a:lnTo>
                      <a:pt x="230" y="72"/>
                    </a:lnTo>
                    <a:lnTo>
                      <a:pt x="235" y="72"/>
                    </a:lnTo>
                    <a:lnTo>
                      <a:pt x="235" y="72"/>
                    </a:lnTo>
                    <a:lnTo>
                      <a:pt x="235" y="72"/>
                    </a:lnTo>
                    <a:lnTo>
                      <a:pt x="235" y="72"/>
                    </a:lnTo>
                    <a:lnTo>
                      <a:pt x="235" y="72"/>
                    </a:lnTo>
                    <a:lnTo>
                      <a:pt x="235" y="72"/>
                    </a:lnTo>
                    <a:lnTo>
                      <a:pt x="239" y="72"/>
                    </a:lnTo>
                    <a:lnTo>
                      <a:pt x="239" y="72"/>
                    </a:lnTo>
                    <a:lnTo>
                      <a:pt x="239" y="77"/>
                    </a:lnTo>
                    <a:lnTo>
                      <a:pt x="239" y="77"/>
                    </a:lnTo>
                    <a:lnTo>
                      <a:pt x="239" y="77"/>
                    </a:lnTo>
                    <a:lnTo>
                      <a:pt x="239" y="81"/>
                    </a:lnTo>
                    <a:lnTo>
                      <a:pt x="244" y="81"/>
                    </a:lnTo>
                    <a:lnTo>
                      <a:pt x="244" y="86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4" y="90"/>
                    </a:lnTo>
                    <a:lnTo>
                      <a:pt x="244" y="95"/>
                    </a:lnTo>
                    <a:lnTo>
                      <a:pt x="244" y="99"/>
                    </a:lnTo>
                    <a:lnTo>
                      <a:pt x="244" y="99"/>
                    </a:lnTo>
                    <a:lnTo>
                      <a:pt x="244" y="99"/>
                    </a:lnTo>
                    <a:lnTo>
                      <a:pt x="244" y="99"/>
                    </a:lnTo>
                    <a:lnTo>
                      <a:pt x="244" y="104"/>
                    </a:lnTo>
                    <a:lnTo>
                      <a:pt x="248" y="104"/>
                    </a:lnTo>
                    <a:lnTo>
                      <a:pt x="248" y="108"/>
                    </a:lnTo>
                    <a:lnTo>
                      <a:pt x="248" y="113"/>
                    </a:lnTo>
                    <a:lnTo>
                      <a:pt x="248" y="113"/>
                    </a:lnTo>
                    <a:lnTo>
                      <a:pt x="248" y="117"/>
                    </a:lnTo>
                    <a:lnTo>
                      <a:pt x="253" y="117"/>
                    </a:lnTo>
                    <a:lnTo>
                      <a:pt x="253" y="117"/>
                    </a:lnTo>
                    <a:lnTo>
                      <a:pt x="248" y="122"/>
                    </a:lnTo>
                    <a:lnTo>
                      <a:pt x="248" y="122"/>
                    </a:lnTo>
                    <a:lnTo>
                      <a:pt x="248" y="122"/>
                    </a:lnTo>
                    <a:lnTo>
                      <a:pt x="248" y="122"/>
                    </a:lnTo>
                    <a:lnTo>
                      <a:pt x="248" y="126"/>
                    </a:lnTo>
                    <a:lnTo>
                      <a:pt x="248" y="126"/>
                    </a:lnTo>
                    <a:lnTo>
                      <a:pt x="248" y="126"/>
                    </a:lnTo>
                    <a:lnTo>
                      <a:pt x="248" y="126"/>
                    </a:lnTo>
                    <a:lnTo>
                      <a:pt x="248" y="126"/>
                    </a:lnTo>
                    <a:lnTo>
                      <a:pt x="248" y="131"/>
                    </a:lnTo>
                    <a:lnTo>
                      <a:pt x="248" y="135"/>
                    </a:lnTo>
                    <a:lnTo>
                      <a:pt x="248" y="135"/>
                    </a:lnTo>
                    <a:lnTo>
                      <a:pt x="248" y="140"/>
                    </a:lnTo>
                    <a:lnTo>
                      <a:pt x="248" y="140"/>
                    </a:lnTo>
                    <a:lnTo>
                      <a:pt x="253" y="140"/>
                    </a:lnTo>
                    <a:lnTo>
                      <a:pt x="253" y="140"/>
                    </a:lnTo>
                    <a:lnTo>
                      <a:pt x="253" y="144"/>
                    </a:lnTo>
                    <a:lnTo>
                      <a:pt x="257" y="144"/>
                    </a:lnTo>
                    <a:lnTo>
                      <a:pt x="257" y="144"/>
                    </a:lnTo>
                    <a:lnTo>
                      <a:pt x="257" y="144"/>
                    </a:lnTo>
                    <a:lnTo>
                      <a:pt x="262" y="144"/>
                    </a:lnTo>
                    <a:lnTo>
                      <a:pt x="262" y="149"/>
                    </a:lnTo>
                    <a:lnTo>
                      <a:pt x="262" y="149"/>
                    </a:lnTo>
                    <a:lnTo>
                      <a:pt x="266" y="149"/>
                    </a:lnTo>
                    <a:lnTo>
                      <a:pt x="271" y="149"/>
                    </a:lnTo>
                    <a:lnTo>
                      <a:pt x="271" y="154"/>
                    </a:lnTo>
                    <a:lnTo>
                      <a:pt x="275" y="154"/>
                    </a:lnTo>
                    <a:lnTo>
                      <a:pt x="275" y="154"/>
                    </a:lnTo>
                    <a:lnTo>
                      <a:pt x="275" y="154"/>
                    </a:lnTo>
                    <a:lnTo>
                      <a:pt x="275" y="154"/>
                    </a:lnTo>
                    <a:lnTo>
                      <a:pt x="275" y="154"/>
                    </a:lnTo>
                    <a:lnTo>
                      <a:pt x="280" y="154"/>
                    </a:lnTo>
                    <a:lnTo>
                      <a:pt x="275" y="154"/>
                    </a:lnTo>
                    <a:lnTo>
                      <a:pt x="275" y="158"/>
                    </a:lnTo>
                    <a:lnTo>
                      <a:pt x="271" y="167"/>
                    </a:lnTo>
                    <a:lnTo>
                      <a:pt x="266" y="172"/>
                    </a:lnTo>
                    <a:lnTo>
                      <a:pt x="257" y="181"/>
                    </a:lnTo>
                    <a:lnTo>
                      <a:pt x="257" y="190"/>
                    </a:lnTo>
                    <a:lnTo>
                      <a:pt x="253" y="194"/>
                    </a:lnTo>
                    <a:lnTo>
                      <a:pt x="253" y="194"/>
                    </a:lnTo>
                    <a:lnTo>
                      <a:pt x="253" y="194"/>
                    </a:lnTo>
                    <a:lnTo>
                      <a:pt x="253" y="203"/>
                    </a:lnTo>
                    <a:lnTo>
                      <a:pt x="248" y="212"/>
                    </a:lnTo>
                    <a:lnTo>
                      <a:pt x="248" y="212"/>
                    </a:lnTo>
                    <a:lnTo>
                      <a:pt x="248" y="217"/>
                    </a:lnTo>
                    <a:lnTo>
                      <a:pt x="244" y="217"/>
                    </a:lnTo>
                    <a:lnTo>
                      <a:pt x="244" y="221"/>
                    </a:lnTo>
                    <a:lnTo>
                      <a:pt x="244" y="221"/>
                    </a:lnTo>
                    <a:lnTo>
                      <a:pt x="244" y="226"/>
                    </a:lnTo>
                    <a:lnTo>
                      <a:pt x="244" y="230"/>
                    </a:lnTo>
                    <a:lnTo>
                      <a:pt x="244" y="235"/>
                    </a:lnTo>
                    <a:lnTo>
                      <a:pt x="244" y="235"/>
                    </a:lnTo>
                    <a:lnTo>
                      <a:pt x="248" y="239"/>
                    </a:lnTo>
                    <a:lnTo>
                      <a:pt x="248" y="239"/>
                    </a:lnTo>
                    <a:lnTo>
                      <a:pt x="248" y="244"/>
                    </a:lnTo>
                    <a:lnTo>
                      <a:pt x="244" y="244"/>
                    </a:lnTo>
                    <a:lnTo>
                      <a:pt x="244" y="244"/>
                    </a:lnTo>
                    <a:lnTo>
                      <a:pt x="244" y="244"/>
                    </a:lnTo>
                    <a:lnTo>
                      <a:pt x="244" y="239"/>
                    </a:lnTo>
                    <a:lnTo>
                      <a:pt x="248" y="239"/>
                    </a:lnTo>
                    <a:lnTo>
                      <a:pt x="248" y="239"/>
                    </a:lnTo>
                    <a:lnTo>
                      <a:pt x="244" y="239"/>
                    </a:lnTo>
                    <a:lnTo>
                      <a:pt x="244" y="235"/>
                    </a:lnTo>
                    <a:lnTo>
                      <a:pt x="244" y="230"/>
                    </a:lnTo>
                    <a:lnTo>
                      <a:pt x="244" y="239"/>
                    </a:lnTo>
                    <a:lnTo>
                      <a:pt x="244" y="239"/>
                    </a:lnTo>
                    <a:lnTo>
                      <a:pt x="244" y="239"/>
                    </a:lnTo>
                    <a:lnTo>
                      <a:pt x="244" y="239"/>
                    </a:lnTo>
                    <a:lnTo>
                      <a:pt x="244" y="244"/>
                    </a:lnTo>
                    <a:lnTo>
                      <a:pt x="244" y="244"/>
                    </a:lnTo>
                    <a:lnTo>
                      <a:pt x="244" y="248"/>
                    </a:lnTo>
                    <a:lnTo>
                      <a:pt x="244" y="253"/>
                    </a:lnTo>
                    <a:lnTo>
                      <a:pt x="244" y="258"/>
                    </a:lnTo>
                    <a:lnTo>
                      <a:pt x="244" y="258"/>
                    </a:lnTo>
                    <a:lnTo>
                      <a:pt x="248" y="267"/>
                    </a:lnTo>
                    <a:lnTo>
                      <a:pt x="253" y="276"/>
                    </a:lnTo>
                    <a:lnTo>
                      <a:pt x="253" y="280"/>
                    </a:lnTo>
                    <a:lnTo>
                      <a:pt x="253" y="280"/>
                    </a:lnTo>
                    <a:lnTo>
                      <a:pt x="253" y="285"/>
                    </a:lnTo>
                    <a:lnTo>
                      <a:pt x="253" y="289"/>
                    </a:lnTo>
                    <a:lnTo>
                      <a:pt x="257" y="289"/>
                    </a:lnTo>
                    <a:lnTo>
                      <a:pt x="257" y="289"/>
                    </a:lnTo>
                    <a:lnTo>
                      <a:pt x="257" y="294"/>
                    </a:lnTo>
                    <a:lnTo>
                      <a:pt x="257" y="294"/>
                    </a:lnTo>
                    <a:lnTo>
                      <a:pt x="257" y="294"/>
                    </a:lnTo>
                    <a:lnTo>
                      <a:pt x="257" y="294"/>
                    </a:lnTo>
                    <a:lnTo>
                      <a:pt x="257" y="294"/>
                    </a:lnTo>
                    <a:lnTo>
                      <a:pt x="257" y="298"/>
                    </a:lnTo>
                    <a:lnTo>
                      <a:pt x="262" y="298"/>
                    </a:lnTo>
                    <a:lnTo>
                      <a:pt x="262" y="298"/>
                    </a:lnTo>
                    <a:lnTo>
                      <a:pt x="262" y="298"/>
                    </a:lnTo>
                    <a:lnTo>
                      <a:pt x="262" y="298"/>
                    </a:lnTo>
                    <a:lnTo>
                      <a:pt x="262" y="298"/>
                    </a:lnTo>
                    <a:lnTo>
                      <a:pt x="262" y="298"/>
                    </a:lnTo>
                    <a:lnTo>
                      <a:pt x="266" y="298"/>
                    </a:lnTo>
                    <a:lnTo>
                      <a:pt x="271" y="303"/>
                    </a:lnTo>
                    <a:lnTo>
                      <a:pt x="275" y="303"/>
                    </a:lnTo>
                    <a:lnTo>
                      <a:pt x="275" y="307"/>
                    </a:lnTo>
                    <a:lnTo>
                      <a:pt x="275" y="307"/>
                    </a:lnTo>
                    <a:lnTo>
                      <a:pt x="280" y="307"/>
                    </a:lnTo>
                    <a:lnTo>
                      <a:pt x="280" y="307"/>
                    </a:lnTo>
                    <a:lnTo>
                      <a:pt x="284" y="307"/>
                    </a:lnTo>
                    <a:lnTo>
                      <a:pt x="289" y="307"/>
                    </a:lnTo>
                    <a:lnTo>
                      <a:pt x="289" y="307"/>
                    </a:lnTo>
                    <a:lnTo>
                      <a:pt x="293" y="303"/>
                    </a:lnTo>
                    <a:lnTo>
                      <a:pt x="302" y="303"/>
                    </a:lnTo>
                    <a:lnTo>
                      <a:pt x="302" y="303"/>
                    </a:lnTo>
                    <a:lnTo>
                      <a:pt x="307" y="303"/>
                    </a:lnTo>
                    <a:lnTo>
                      <a:pt x="307" y="303"/>
                    </a:lnTo>
                    <a:lnTo>
                      <a:pt x="311" y="303"/>
                    </a:lnTo>
                    <a:lnTo>
                      <a:pt x="311" y="303"/>
                    </a:lnTo>
                    <a:lnTo>
                      <a:pt x="316" y="298"/>
                    </a:lnTo>
                    <a:lnTo>
                      <a:pt x="316" y="298"/>
                    </a:lnTo>
                    <a:lnTo>
                      <a:pt x="320" y="298"/>
                    </a:lnTo>
                    <a:lnTo>
                      <a:pt x="320" y="298"/>
                    </a:lnTo>
                    <a:lnTo>
                      <a:pt x="325" y="298"/>
                    </a:lnTo>
                    <a:lnTo>
                      <a:pt x="325" y="303"/>
                    </a:lnTo>
                    <a:lnTo>
                      <a:pt x="325" y="303"/>
                    </a:lnTo>
                    <a:lnTo>
                      <a:pt x="320" y="303"/>
                    </a:lnTo>
                    <a:lnTo>
                      <a:pt x="325" y="303"/>
                    </a:lnTo>
                    <a:lnTo>
                      <a:pt x="325" y="303"/>
                    </a:lnTo>
                    <a:lnTo>
                      <a:pt x="329" y="307"/>
                    </a:lnTo>
                    <a:lnTo>
                      <a:pt x="329" y="307"/>
                    </a:lnTo>
                    <a:lnTo>
                      <a:pt x="329" y="303"/>
                    </a:lnTo>
                    <a:lnTo>
                      <a:pt x="334" y="303"/>
                    </a:lnTo>
                    <a:lnTo>
                      <a:pt x="334" y="298"/>
                    </a:lnTo>
                    <a:lnTo>
                      <a:pt x="334" y="298"/>
                    </a:lnTo>
                    <a:lnTo>
                      <a:pt x="334" y="298"/>
                    </a:lnTo>
                    <a:lnTo>
                      <a:pt x="334" y="298"/>
                    </a:lnTo>
                    <a:lnTo>
                      <a:pt x="334" y="298"/>
                    </a:lnTo>
                    <a:lnTo>
                      <a:pt x="334" y="298"/>
                    </a:lnTo>
                    <a:lnTo>
                      <a:pt x="334" y="298"/>
                    </a:lnTo>
                    <a:lnTo>
                      <a:pt x="334" y="298"/>
                    </a:lnTo>
                    <a:lnTo>
                      <a:pt x="334" y="298"/>
                    </a:lnTo>
                    <a:lnTo>
                      <a:pt x="334" y="298"/>
                    </a:lnTo>
                    <a:lnTo>
                      <a:pt x="338" y="294"/>
                    </a:lnTo>
                    <a:lnTo>
                      <a:pt x="338" y="294"/>
                    </a:lnTo>
                    <a:lnTo>
                      <a:pt x="343" y="294"/>
                    </a:lnTo>
                    <a:lnTo>
                      <a:pt x="347" y="289"/>
                    </a:lnTo>
                    <a:lnTo>
                      <a:pt x="347" y="280"/>
                    </a:lnTo>
                    <a:lnTo>
                      <a:pt x="352" y="280"/>
                    </a:lnTo>
                    <a:lnTo>
                      <a:pt x="352" y="276"/>
                    </a:lnTo>
                    <a:lnTo>
                      <a:pt x="352" y="276"/>
                    </a:lnTo>
                    <a:lnTo>
                      <a:pt x="352" y="276"/>
                    </a:lnTo>
                    <a:lnTo>
                      <a:pt x="357" y="271"/>
                    </a:lnTo>
                    <a:lnTo>
                      <a:pt x="357" y="267"/>
                    </a:lnTo>
                    <a:lnTo>
                      <a:pt x="357" y="262"/>
                    </a:lnTo>
                    <a:lnTo>
                      <a:pt x="357" y="262"/>
                    </a:lnTo>
                    <a:lnTo>
                      <a:pt x="357" y="258"/>
                    </a:lnTo>
                    <a:lnTo>
                      <a:pt x="361" y="253"/>
                    </a:lnTo>
                    <a:lnTo>
                      <a:pt x="366" y="253"/>
                    </a:lnTo>
                    <a:lnTo>
                      <a:pt x="370" y="248"/>
                    </a:lnTo>
                    <a:lnTo>
                      <a:pt x="370" y="248"/>
                    </a:lnTo>
                    <a:lnTo>
                      <a:pt x="388" y="248"/>
                    </a:lnTo>
                    <a:lnTo>
                      <a:pt x="393" y="248"/>
                    </a:lnTo>
                    <a:lnTo>
                      <a:pt x="393" y="244"/>
                    </a:lnTo>
                    <a:lnTo>
                      <a:pt x="397" y="244"/>
                    </a:lnTo>
                    <a:lnTo>
                      <a:pt x="402" y="244"/>
                    </a:lnTo>
                    <a:lnTo>
                      <a:pt x="402" y="244"/>
                    </a:lnTo>
                    <a:lnTo>
                      <a:pt x="402" y="244"/>
                    </a:lnTo>
                    <a:lnTo>
                      <a:pt x="402" y="244"/>
                    </a:lnTo>
                    <a:lnTo>
                      <a:pt x="402" y="244"/>
                    </a:lnTo>
                    <a:lnTo>
                      <a:pt x="402" y="244"/>
                    </a:lnTo>
                    <a:lnTo>
                      <a:pt x="406" y="244"/>
                    </a:lnTo>
                    <a:lnTo>
                      <a:pt x="411" y="244"/>
                    </a:lnTo>
                    <a:lnTo>
                      <a:pt x="411" y="248"/>
                    </a:lnTo>
                    <a:lnTo>
                      <a:pt x="415" y="248"/>
                    </a:lnTo>
                    <a:lnTo>
                      <a:pt x="415" y="248"/>
                    </a:lnTo>
                    <a:lnTo>
                      <a:pt x="415" y="248"/>
                    </a:lnTo>
                    <a:lnTo>
                      <a:pt x="420" y="248"/>
                    </a:lnTo>
                    <a:lnTo>
                      <a:pt x="415" y="244"/>
                    </a:lnTo>
                    <a:lnTo>
                      <a:pt x="415" y="244"/>
                    </a:lnTo>
                    <a:lnTo>
                      <a:pt x="415" y="248"/>
                    </a:lnTo>
                    <a:lnTo>
                      <a:pt x="415" y="248"/>
                    </a:lnTo>
                    <a:lnTo>
                      <a:pt x="415" y="244"/>
                    </a:lnTo>
                    <a:lnTo>
                      <a:pt x="415" y="244"/>
                    </a:lnTo>
                    <a:lnTo>
                      <a:pt x="415" y="244"/>
                    </a:lnTo>
                    <a:lnTo>
                      <a:pt x="415" y="244"/>
                    </a:lnTo>
                    <a:lnTo>
                      <a:pt x="420" y="244"/>
                    </a:lnTo>
                    <a:lnTo>
                      <a:pt x="420" y="244"/>
                    </a:lnTo>
                    <a:lnTo>
                      <a:pt x="420" y="248"/>
                    </a:lnTo>
                    <a:lnTo>
                      <a:pt x="424" y="248"/>
                    </a:lnTo>
                    <a:lnTo>
                      <a:pt x="420" y="253"/>
                    </a:lnTo>
                    <a:lnTo>
                      <a:pt x="424" y="253"/>
                    </a:lnTo>
                    <a:lnTo>
                      <a:pt x="424" y="253"/>
                    </a:lnTo>
                    <a:lnTo>
                      <a:pt x="420" y="258"/>
                    </a:lnTo>
                    <a:lnTo>
                      <a:pt x="420" y="258"/>
                    </a:lnTo>
                    <a:lnTo>
                      <a:pt x="420" y="262"/>
                    </a:lnTo>
                    <a:lnTo>
                      <a:pt x="415" y="262"/>
                    </a:lnTo>
                    <a:lnTo>
                      <a:pt x="411" y="267"/>
                    </a:lnTo>
                    <a:lnTo>
                      <a:pt x="406" y="271"/>
                    </a:lnTo>
                    <a:lnTo>
                      <a:pt x="406" y="276"/>
                    </a:lnTo>
                    <a:lnTo>
                      <a:pt x="406" y="276"/>
                    </a:lnTo>
                    <a:lnTo>
                      <a:pt x="406" y="280"/>
                    </a:lnTo>
                    <a:lnTo>
                      <a:pt x="406" y="280"/>
                    </a:lnTo>
                    <a:lnTo>
                      <a:pt x="406" y="280"/>
                    </a:lnTo>
                    <a:lnTo>
                      <a:pt x="402" y="280"/>
                    </a:lnTo>
                    <a:lnTo>
                      <a:pt x="402" y="280"/>
                    </a:lnTo>
                    <a:lnTo>
                      <a:pt x="402" y="285"/>
                    </a:lnTo>
                    <a:lnTo>
                      <a:pt x="397" y="285"/>
                    </a:lnTo>
                    <a:lnTo>
                      <a:pt x="402" y="285"/>
                    </a:lnTo>
                    <a:lnTo>
                      <a:pt x="402" y="285"/>
                    </a:lnTo>
                    <a:lnTo>
                      <a:pt x="402" y="285"/>
                    </a:lnTo>
                    <a:lnTo>
                      <a:pt x="402" y="285"/>
                    </a:lnTo>
                    <a:lnTo>
                      <a:pt x="402" y="285"/>
                    </a:lnTo>
                    <a:lnTo>
                      <a:pt x="402" y="285"/>
                    </a:lnTo>
                    <a:lnTo>
                      <a:pt x="402" y="289"/>
                    </a:lnTo>
                    <a:lnTo>
                      <a:pt x="402" y="289"/>
                    </a:lnTo>
                    <a:lnTo>
                      <a:pt x="402" y="289"/>
                    </a:lnTo>
                    <a:lnTo>
                      <a:pt x="402" y="289"/>
                    </a:lnTo>
                    <a:lnTo>
                      <a:pt x="397" y="289"/>
                    </a:lnTo>
                    <a:lnTo>
                      <a:pt x="397" y="289"/>
                    </a:lnTo>
                    <a:lnTo>
                      <a:pt x="397" y="289"/>
                    </a:lnTo>
                    <a:lnTo>
                      <a:pt x="402" y="289"/>
                    </a:lnTo>
                    <a:lnTo>
                      <a:pt x="402" y="289"/>
                    </a:lnTo>
                    <a:lnTo>
                      <a:pt x="402" y="289"/>
                    </a:lnTo>
                    <a:lnTo>
                      <a:pt x="397" y="294"/>
                    </a:lnTo>
                    <a:lnTo>
                      <a:pt x="397" y="298"/>
                    </a:lnTo>
                    <a:lnTo>
                      <a:pt x="393" y="303"/>
                    </a:lnTo>
                    <a:lnTo>
                      <a:pt x="393" y="307"/>
                    </a:lnTo>
                    <a:lnTo>
                      <a:pt x="393" y="307"/>
                    </a:lnTo>
                    <a:lnTo>
                      <a:pt x="393" y="312"/>
                    </a:lnTo>
                    <a:lnTo>
                      <a:pt x="388" y="312"/>
                    </a:lnTo>
                    <a:lnTo>
                      <a:pt x="388" y="307"/>
                    </a:lnTo>
                    <a:lnTo>
                      <a:pt x="388" y="307"/>
                    </a:lnTo>
                    <a:lnTo>
                      <a:pt x="388" y="307"/>
                    </a:lnTo>
                    <a:lnTo>
                      <a:pt x="388" y="303"/>
                    </a:lnTo>
                    <a:lnTo>
                      <a:pt x="388" y="298"/>
                    </a:lnTo>
                    <a:lnTo>
                      <a:pt x="388" y="298"/>
                    </a:lnTo>
                    <a:lnTo>
                      <a:pt x="388" y="303"/>
                    </a:lnTo>
                    <a:lnTo>
                      <a:pt x="388" y="303"/>
                    </a:lnTo>
                    <a:lnTo>
                      <a:pt x="388" y="303"/>
                    </a:lnTo>
                    <a:lnTo>
                      <a:pt x="384" y="307"/>
                    </a:lnTo>
                    <a:lnTo>
                      <a:pt x="384" y="307"/>
                    </a:lnTo>
                    <a:lnTo>
                      <a:pt x="384" y="307"/>
                    </a:lnTo>
                    <a:lnTo>
                      <a:pt x="379" y="307"/>
                    </a:lnTo>
                    <a:lnTo>
                      <a:pt x="379" y="307"/>
                    </a:lnTo>
                    <a:lnTo>
                      <a:pt x="379" y="312"/>
                    </a:lnTo>
                    <a:lnTo>
                      <a:pt x="375" y="316"/>
                    </a:lnTo>
                    <a:lnTo>
                      <a:pt x="375" y="316"/>
                    </a:lnTo>
                    <a:lnTo>
                      <a:pt x="370" y="316"/>
                    </a:lnTo>
                    <a:lnTo>
                      <a:pt x="370" y="316"/>
                    </a:lnTo>
                    <a:lnTo>
                      <a:pt x="370" y="316"/>
                    </a:lnTo>
                    <a:lnTo>
                      <a:pt x="370" y="316"/>
                    </a:lnTo>
                    <a:lnTo>
                      <a:pt x="366" y="316"/>
                    </a:lnTo>
                    <a:lnTo>
                      <a:pt x="366" y="316"/>
                    </a:lnTo>
                    <a:lnTo>
                      <a:pt x="366" y="321"/>
                    </a:lnTo>
                    <a:lnTo>
                      <a:pt x="361" y="321"/>
                    </a:lnTo>
                    <a:lnTo>
                      <a:pt x="357" y="321"/>
                    </a:lnTo>
                    <a:lnTo>
                      <a:pt x="347" y="321"/>
                    </a:lnTo>
                    <a:lnTo>
                      <a:pt x="343" y="316"/>
                    </a:lnTo>
                    <a:lnTo>
                      <a:pt x="334" y="316"/>
                    </a:lnTo>
                    <a:lnTo>
                      <a:pt x="334" y="321"/>
                    </a:lnTo>
                    <a:lnTo>
                      <a:pt x="334" y="325"/>
                    </a:lnTo>
                    <a:lnTo>
                      <a:pt x="334" y="330"/>
                    </a:lnTo>
                    <a:lnTo>
                      <a:pt x="329" y="330"/>
                    </a:lnTo>
                    <a:lnTo>
                      <a:pt x="325" y="330"/>
                    </a:lnTo>
                    <a:lnTo>
                      <a:pt x="325" y="330"/>
                    </a:lnTo>
                    <a:lnTo>
                      <a:pt x="325" y="330"/>
                    </a:lnTo>
                    <a:lnTo>
                      <a:pt x="329" y="334"/>
                    </a:lnTo>
                    <a:lnTo>
                      <a:pt x="329" y="334"/>
                    </a:lnTo>
                    <a:lnTo>
                      <a:pt x="329" y="339"/>
                    </a:lnTo>
                    <a:lnTo>
                      <a:pt x="334" y="339"/>
                    </a:lnTo>
                    <a:lnTo>
                      <a:pt x="334" y="339"/>
                    </a:lnTo>
                    <a:lnTo>
                      <a:pt x="334" y="343"/>
                    </a:lnTo>
                    <a:lnTo>
                      <a:pt x="334" y="343"/>
                    </a:lnTo>
                    <a:lnTo>
                      <a:pt x="334" y="343"/>
                    </a:lnTo>
                    <a:lnTo>
                      <a:pt x="338" y="343"/>
                    </a:lnTo>
                    <a:lnTo>
                      <a:pt x="338" y="348"/>
                    </a:lnTo>
                    <a:lnTo>
                      <a:pt x="338" y="348"/>
                    </a:lnTo>
                    <a:lnTo>
                      <a:pt x="338" y="348"/>
                    </a:lnTo>
                    <a:lnTo>
                      <a:pt x="338" y="348"/>
                    </a:lnTo>
                    <a:lnTo>
                      <a:pt x="338" y="352"/>
                    </a:lnTo>
                    <a:lnTo>
                      <a:pt x="338" y="352"/>
                    </a:lnTo>
                    <a:lnTo>
                      <a:pt x="334" y="352"/>
                    </a:lnTo>
                    <a:lnTo>
                      <a:pt x="334" y="352"/>
                    </a:lnTo>
                    <a:lnTo>
                      <a:pt x="329" y="352"/>
                    </a:lnTo>
                    <a:lnTo>
                      <a:pt x="325" y="352"/>
                    </a:lnTo>
                    <a:lnTo>
                      <a:pt x="320" y="352"/>
                    </a:lnTo>
                    <a:lnTo>
                      <a:pt x="316" y="352"/>
                    </a:lnTo>
                    <a:lnTo>
                      <a:pt x="311" y="357"/>
                    </a:lnTo>
                    <a:lnTo>
                      <a:pt x="311" y="361"/>
                    </a:lnTo>
                    <a:lnTo>
                      <a:pt x="307" y="366"/>
                    </a:lnTo>
                    <a:lnTo>
                      <a:pt x="307" y="366"/>
                    </a:lnTo>
                    <a:lnTo>
                      <a:pt x="302" y="371"/>
                    </a:lnTo>
                    <a:lnTo>
                      <a:pt x="302" y="371"/>
                    </a:lnTo>
                    <a:lnTo>
                      <a:pt x="307" y="371"/>
                    </a:lnTo>
                    <a:lnTo>
                      <a:pt x="307" y="375"/>
                    </a:lnTo>
                    <a:lnTo>
                      <a:pt x="302" y="375"/>
                    </a:lnTo>
                    <a:lnTo>
                      <a:pt x="302" y="375"/>
                    </a:lnTo>
                    <a:lnTo>
                      <a:pt x="302" y="375"/>
                    </a:lnTo>
                    <a:lnTo>
                      <a:pt x="302" y="380"/>
                    </a:lnTo>
                    <a:lnTo>
                      <a:pt x="302" y="380"/>
                    </a:lnTo>
                    <a:lnTo>
                      <a:pt x="302" y="380"/>
                    </a:lnTo>
                    <a:lnTo>
                      <a:pt x="302" y="380"/>
                    </a:lnTo>
                    <a:lnTo>
                      <a:pt x="302" y="384"/>
                    </a:lnTo>
                    <a:lnTo>
                      <a:pt x="302" y="384"/>
                    </a:lnTo>
                    <a:lnTo>
                      <a:pt x="302" y="384"/>
                    </a:lnTo>
                    <a:lnTo>
                      <a:pt x="298" y="375"/>
                    </a:lnTo>
                    <a:lnTo>
                      <a:pt x="293" y="371"/>
                    </a:lnTo>
                    <a:lnTo>
                      <a:pt x="293" y="371"/>
                    </a:lnTo>
                    <a:lnTo>
                      <a:pt x="289" y="366"/>
                    </a:lnTo>
                    <a:lnTo>
                      <a:pt x="289" y="366"/>
                    </a:lnTo>
                    <a:lnTo>
                      <a:pt x="284" y="357"/>
                    </a:lnTo>
                    <a:lnTo>
                      <a:pt x="280" y="357"/>
                    </a:lnTo>
                    <a:lnTo>
                      <a:pt x="280" y="352"/>
                    </a:lnTo>
                    <a:lnTo>
                      <a:pt x="275" y="348"/>
                    </a:lnTo>
                    <a:lnTo>
                      <a:pt x="275" y="348"/>
                    </a:lnTo>
                    <a:lnTo>
                      <a:pt x="271" y="348"/>
                    </a:lnTo>
                    <a:lnTo>
                      <a:pt x="271" y="348"/>
                    </a:lnTo>
                    <a:lnTo>
                      <a:pt x="271" y="348"/>
                    </a:lnTo>
                    <a:lnTo>
                      <a:pt x="271" y="348"/>
                    </a:lnTo>
                    <a:lnTo>
                      <a:pt x="271" y="348"/>
                    </a:lnTo>
                    <a:lnTo>
                      <a:pt x="271" y="348"/>
                    </a:lnTo>
                    <a:lnTo>
                      <a:pt x="271" y="348"/>
                    </a:lnTo>
                    <a:lnTo>
                      <a:pt x="275" y="348"/>
                    </a:lnTo>
                    <a:lnTo>
                      <a:pt x="275" y="352"/>
                    </a:lnTo>
                    <a:lnTo>
                      <a:pt x="275" y="352"/>
                    </a:lnTo>
                    <a:lnTo>
                      <a:pt x="271" y="348"/>
                    </a:lnTo>
                    <a:lnTo>
                      <a:pt x="266" y="348"/>
                    </a:lnTo>
                    <a:lnTo>
                      <a:pt x="266" y="348"/>
                    </a:lnTo>
                    <a:lnTo>
                      <a:pt x="266" y="348"/>
                    </a:lnTo>
                    <a:lnTo>
                      <a:pt x="266" y="348"/>
                    </a:lnTo>
                    <a:lnTo>
                      <a:pt x="266" y="348"/>
                    </a:lnTo>
                    <a:lnTo>
                      <a:pt x="266" y="348"/>
                    </a:lnTo>
                    <a:lnTo>
                      <a:pt x="266" y="348"/>
                    </a:lnTo>
                    <a:lnTo>
                      <a:pt x="266" y="348"/>
                    </a:lnTo>
                    <a:lnTo>
                      <a:pt x="266" y="343"/>
                    </a:lnTo>
                    <a:lnTo>
                      <a:pt x="262" y="343"/>
                    </a:lnTo>
                    <a:lnTo>
                      <a:pt x="262" y="343"/>
                    </a:lnTo>
                    <a:lnTo>
                      <a:pt x="262" y="343"/>
                    </a:lnTo>
                    <a:lnTo>
                      <a:pt x="262" y="348"/>
                    </a:lnTo>
                    <a:lnTo>
                      <a:pt x="262" y="348"/>
                    </a:lnTo>
                    <a:lnTo>
                      <a:pt x="262" y="348"/>
                    </a:lnTo>
                    <a:lnTo>
                      <a:pt x="262" y="348"/>
                    </a:lnTo>
                    <a:lnTo>
                      <a:pt x="262" y="348"/>
                    </a:lnTo>
                    <a:lnTo>
                      <a:pt x="262" y="348"/>
                    </a:lnTo>
                    <a:lnTo>
                      <a:pt x="257" y="348"/>
                    </a:lnTo>
                    <a:lnTo>
                      <a:pt x="253" y="352"/>
                    </a:lnTo>
                    <a:lnTo>
                      <a:pt x="244" y="352"/>
                    </a:lnTo>
                    <a:lnTo>
                      <a:pt x="239" y="357"/>
                    </a:lnTo>
                    <a:lnTo>
                      <a:pt x="235" y="357"/>
                    </a:lnTo>
                    <a:lnTo>
                      <a:pt x="230" y="357"/>
                    </a:lnTo>
                    <a:lnTo>
                      <a:pt x="226" y="357"/>
                    </a:lnTo>
                    <a:lnTo>
                      <a:pt x="221" y="352"/>
                    </a:lnTo>
                    <a:lnTo>
                      <a:pt x="212" y="352"/>
                    </a:lnTo>
                    <a:lnTo>
                      <a:pt x="207" y="348"/>
                    </a:lnTo>
                    <a:lnTo>
                      <a:pt x="198" y="343"/>
                    </a:lnTo>
                    <a:lnTo>
                      <a:pt x="198" y="339"/>
                    </a:lnTo>
                    <a:lnTo>
                      <a:pt x="194" y="339"/>
                    </a:lnTo>
                    <a:lnTo>
                      <a:pt x="194" y="339"/>
                    </a:lnTo>
                    <a:lnTo>
                      <a:pt x="189" y="339"/>
                    </a:lnTo>
                    <a:lnTo>
                      <a:pt x="180" y="334"/>
                    </a:lnTo>
                    <a:lnTo>
                      <a:pt x="176" y="330"/>
                    </a:lnTo>
                    <a:lnTo>
                      <a:pt x="176" y="330"/>
                    </a:lnTo>
                    <a:lnTo>
                      <a:pt x="171" y="330"/>
                    </a:lnTo>
                    <a:lnTo>
                      <a:pt x="167" y="325"/>
                    </a:lnTo>
                    <a:lnTo>
                      <a:pt x="162" y="325"/>
                    </a:lnTo>
                    <a:lnTo>
                      <a:pt x="162" y="321"/>
                    </a:lnTo>
                    <a:lnTo>
                      <a:pt x="158" y="321"/>
                    </a:lnTo>
                    <a:lnTo>
                      <a:pt x="158" y="316"/>
                    </a:lnTo>
                    <a:lnTo>
                      <a:pt x="153" y="316"/>
                    </a:lnTo>
                    <a:lnTo>
                      <a:pt x="153" y="312"/>
                    </a:lnTo>
                    <a:lnTo>
                      <a:pt x="153" y="312"/>
                    </a:lnTo>
                    <a:lnTo>
                      <a:pt x="149" y="307"/>
                    </a:lnTo>
                    <a:lnTo>
                      <a:pt x="149" y="307"/>
                    </a:lnTo>
                    <a:lnTo>
                      <a:pt x="144" y="307"/>
                    </a:lnTo>
                    <a:lnTo>
                      <a:pt x="140" y="307"/>
                    </a:lnTo>
                    <a:lnTo>
                      <a:pt x="140" y="307"/>
                    </a:lnTo>
                    <a:lnTo>
                      <a:pt x="135" y="303"/>
                    </a:lnTo>
                    <a:lnTo>
                      <a:pt x="126" y="303"/>
                    </a:lnTo>
                    <a:lnTo>
                      <a:pt x="126" y="298"/>
                    </a:lnTo>
                    <a:lnTo>
                      <a:pt x="122" y="294"/>
                    </a:lnTo>
                    <a:lnTo>
                      <a:pt x="122" y="289"/>
                    </a:lnTo>
                    <a:lnTo>
                      <a:pt x="122" y="289"/>
                    </a:lnTo>
                    <a:lnTo>
                      <a:pt x="117" y="285"/>
                    </a:lnTo>
                    <a:lnTo>
                      <a:pt x="113" y="285"/>
                    </a:lnTo>
                    <a:lnTo>
                      <a:pt x="113" y="285"/>
                    </a:lnTo>
                    <a:lnTo>
                      <a:pt x="108" y="280"/>
                    </a:lnTo>
                    <a:lnTo>
                      <a:pt x="104" y="276"/>
                    </a:lnTo>
                    <a:lnTo>
                      <a:pt x="104" y="276"/>
                    </a:lnTo>
                    <a:lnTo>
                      <a:pt x="104" y="271"/>
                    </a:lnTo>
                    <a:lnTo>
                      <a:pt x="99" y="267"/>
                    </a:lnTo>
                    <a:lnTo>
                      <a:pt x="99" y="262"/>
                    </a:lnTo>
                    <a:lnTo>
                      <a:pt x="99" y="262"/>
                    </a:lnTo>
                    <a:lnTo>
                      <a:pt x="99" y="258"/>
                    </a:lnTo>
                    <a:lnTo>
                      <a:pt x="99" y="258"/>
                    </a:lnTo>
                    <a:lnTo>
                      <a:pt x="99" y="258"/>
                    </a:lnTo>
                    <a:lnTo>
                      <a:pt x="104" y="258"/>
                    </a:lnTo>
                    <a:lnTo>
                      <a:pt x="108" y="258"/>
                    </a:lnTo>
                    <a:lnTo>
                      <a:pt x="108" y="253"/>
                    </a:lnTo>
                    <a:lnTo>
                      <a:pt x="108" y="253"/>
                    </a:lnTo>
                    <a:lnTo>
                      <a:pt x="108" y="253"/>
                    </a:lnTo>
                    <a:lnTo>
                      <a:pt x="108" y="248"/>
                    </a:lnTo>
                    <a:lnTo>
                      <a:pt x="108" y="248"/>
                    </a:lnTo>
                    <a:lnTo>
                      <a:pt x="104" y="248"/>
                    </a:lnTo>
                    <a:lnTo>
                      <a:pt x="104" y="248"/>
                    </a:lnTo>
                    <a:lnTo>
                      <a:pt x="108" y="248"/>
                    </a:lnTo>
                    <a:lnTo>
                      <a:pt x="108" y="248"/>
                    </a:lnTo>
                    <a:lnTo>
                      <a:pt x="113" y="244"/>
                    </a:lnTo>
                    <a:lnTo>
                      <a:pt x="113" y="244"/>
                    </a:lnTo>
                    <a:lnTo>
                      <a:pt x="113" y="239"/>
                    </a:lnTo>
                    <a:lnTo>
                      <a:pt x="113" y="239"/>
                    </a:lnTo>
                    <a:lnTo>
                      <a:pt x="117" y="235"/>
                    </a:lnTo>
                    <a:lnTo>
                      <a:pt x="113" y="235"/>
                    </a:lnTo>
                    <a:lnTo>
                      <a:pt x="113" y="230"/>
                    </a:lnTo>
                    <a:lnTo>
                      <a:pt x="113" y="230"/>
                    </a:lnTo>
                    <a:lnTo>
                      <a:pt x="113" y="226"/>
                    </a:lnTo>
                    <a:lnTo>
                      <a:pt x="113" y="217"/>
                    </a:lnTo>
                    <a:lnTo>
                      <a:pt x="113" y="212"/>
                    </a:lnTo>
                    <a:lnTo>
                      <a:pt x="113" y="208"/>
                    </a:lnTo>
                    <a:lnTo>
                      <a:pt x="108" y="208"/>
                    </a:lnTo>
                    <a:lnTo>
                      <a:pt x="108" y="203"/>
                    </a:lnTo>
                    <a:lnTo>
                      <a:pt x="108" y="199"/>
                    </a:lnTo>
                    <a:lnTo>
                      <a:pt x="104" y="194"/>
                    </a:lnTo>
                    <a:lnTo>
                      <a:pt x="104" y="190"/>
                    </a:lnTo>
                    <a:lnTo>
                      <a:pt x="104" y="185"/>
                    </a:lnTo>
                    <a:lnTo>
                      <a:pt x="99" y="181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6"/>
                    </a:lnTo>
                    <a:lnTo>
                      <a:pt x="94" y="176"/>
                    </a:lnTo>
                    <a:lnTo>
                      <a:pt x="99" y="176"/>
                    </a:lnTo>
                    <a:lnTo>
                      <a:pt x="99" y="172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0" y="172"/>
                    </a:lnTo>
                    <a:lnTo>
                      <a:pt x="90" y="167"/>
                    </a:lnTo>
                    <a:lnTo>
                      <a:pt x="90" y="167"/>
                    </a:lnTo>
                    <a:lnTo>
                      <a:pt x="90" y="163"/>
                    </a:lnTo>
                    <a:lnTo>
                      <a:pt x="90" y="158"/>
                    </a:lnTo>
                    <a:lnTo>
                      <a:pt x="90" y="163"/>
                    </a:lnTo>
                    <a:lnTo>
                      <a:pt x="90" y="163"/>
                    </a:lnTo>
                    <a:lnTo>
                      <a:pt x="90" y="163"/>
                    </a:lnTo>
                    <a:lnTo>
                      <a:pt x="90" y="163"/>
                    </a:lnTo>
                    <a:lnTo>
                      <a:pt x="94" y="163"/>
                    </a:lnTo>
                    <a:lnTo>
                      <a:pt x="94" y="163"/>
                    </a:lnTo>
                    <a:lnTo>
                      <a:pt x="90" y="158"/>
                    </a:lnTo>
                    <a:lnTo>
                      <a:pt x="90" y="158"/>
                    </a:lnTo>
                    <a:lnTo>
                      <a:pt x="85" y="158"/>
                    </a:lnTo>
                    <a:lnTo>
                      <a:pt x="85" y="154"/>
                    </a:lnTo>
                    <a:lnTo>
                      <a:pt x="85" y="154"/>
                    </a:lnTo>
                    <a:lnTo>
                      <a:pt x="85" y="149"/>
                    </a:lnTo>
                    <a:lnTo>
                      <a:pt x="81" y="149"/>
                    </a:lnTo>
                    <a:lnTo>
                      <a:pt x="81" y="149"/>
                    </a:lnTo>
                    <a:lnTo>
                      <a:pt x="81" y="154"/>
                    </a:lnTo>
                    <a:lnTo>
                      <a:pt x="81" y="149"/>
                    </a:lnTo>
                    <a:lnTo>
                      <a:pt x="81" y="149"/>
                    </a:lnTo>
                    <a:lnTo>
                      <a:pt x="81" y="149"/>
                    </a:lnTo>
                    <a:lnTo>
                      <a:pt x="85" y="149"/>
                    </a:lnTo>
                    <a:lnTo>
                      <a:pt x="85" y="144"/>
                    </a:lnTo>
                    <a:lnTo>
                      <a:pt x="81" y="149"/>
                    </a:lnTo>
                    <a:lnTo>
                      <a:pt x="81" y="149"/>
                    </a:lnTo>
                    <a:lnTo>
                      <a:pt x="81" y="149"/>
                    </a:lnTo>
                    <a:lnTo>
                      <a:pt x="76" y="149"/>
                    </a:lnTo>
                    <a:lnTo>
                      <a:pt x="76" y="149"/>
                    </a:lnTo>
                    <a:lnTo>
                      <a:pt x="76" y="149"/>
                    </a:lnTo>
                    <a:lnTo>
                      <a:pt x="76" y="144"/>
                    </a:lnTo>
                    <a:lnTo>
                      <a:pt x="76" y="140"/>
                    </a:lnTo>
                    <a:lnTo>
                      <a:pt x="81" y="140"/>
                    </a:lnTo>
                    <a:lnTo>
                      <a:pt x="81" y="135"/>
                    </a:lnTo>
                    <a:lnTo>
                      <a:pt x="85" y="135"/>
                    </a:lnTo>
                    <a:lnTo>
                      <a:pt x="85" y="135"/>
                    </a:lnTo>
                    <a:lnTo>
                      <a:pt x="85" y="135"/>
                    </a:lnTo>
                    <a:lnTo>
                      <a:pt x="85" y="135"/>
                    </a:lnTo>
                    <a:lnTo>
                      <a:pt x="85" y="135"/>
                    </a:lnTo>
                    <a:lnTo>
                      <a:pt x="85" y="131"/>
                    </a:lnTo>
                    <a:lnTo>
                      <a:pt x="85" y="131"/>
                    </a:lnTo>
                    <a:lnTo>
                      <a:pt x="85" y="131"/>
                    </a:lnTo>
                    <a:lnTo>
                      <a:pt x="81" y="126"/>
                    </a:lnTo>
                    <a:lnTo>
                      <a:pt x="76" y="126"/>
                    </a:lnTo>
                    <a:lnTo>
                      <a:pt x="76" y="126"/>
                    </a:lnTo>
                    <a:lnTo>
                      <a:pt x="76" y="126"/>
                    </a:lnTo>
                    <a:lnTo>
                      <a:pt x="76" y="122"/>
                    </a:lnTo>
                    <a:lnTo>
                      <a:pt x="76" y="122"/>
                    </a:lnTo>
                    <a:lnTo>
                      <a:pt x="76" y="117"/>
                    </a:lnTo>
                    <a:lnTo>
                      <a:pt x="76" y="117"/>
                    </a:lnTo>
                    <a:lnTo>
                      <a:pt x="72" y="117"/>
                    </a:lnTo>
                    <a:lnTo>
                      <a:pt x="72" y="113"/>
                    </a:lnTo>
                    <a:lnTo>
                      <a:pt x="72" y="113"/>
                    </a:lnTo>
                    <a:lnTo>
                      <a:pt x="72" y="113"/>
                    </a:lnTo>
                    <a:lnTo>
                      <a:pt x="72" y="108"/>
                    </a:lnTo>
                    <a:lnTo>
                      <a:pt x="72" y="108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6" y="104"/>
                    </a:lnTo>
                    <a:lnTo>
                      <a:pt x="72" y="99"/>
                    </a:lnTo>
                    <a:lnTo>
                      <a:pt x="72" y="99"/>
                    </a:lnTo>
                    <a:lnTo>
                      <a:pt x="67" y="99"/>
                    </a:lnTo>
                    <a:lnTo>
                      <a:pt x="67" y="99"/>
                    </a:lnTo>
                    <a:lnTo>
                      <a:pt x="67" y="99"/>
                    </a:lnTo>
                    <a:lnTo>
                      <a:pt x="63" y="95"/>
                    </a:lnTo>
                    <a:lnTo>
                      <a:pt x="63" y="90"/>
                    </a:lnTo>
                    <a:lnTo>
                      <a:pt x="63" y="90"/>
                    </a:lnTo>
                    <a:lnTo>
                      <a:pt x="63" y="86"/>
                    </a:lnTo>
                    <a:lnTo>
                      <a:pt x="58" y="86"/>
                    </a:lnTo>
                    <a:lnTo>
                      <a:pt x="58" y="81"/>
                    </a:lnTo>
                    <a:lnTo>
                      <a:pt x="58" y="81"/>
                    </a:lnTo>
                    <a:lnTo>
                      <a:pt x="58" y="81"/>
                    </a:lnTo>
                    <a:lnTo>
                      <a:pt x="58" y="81"/>
                    </a:lnTo>
                    <a:lnTo>
                      <a:pt x="58" y="77"/>
                    </a:lnTo>
                    <a:lnTo>
                      <a:pt x="58" y="77"/>
                    </a:lnTo>
                    <a:lnTo>
                      <a:pt x="58" y="72"/>
                    </a:lnTo>
                    <a:lnTo>
                      <a:pt x="58" y="72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8" y="63"/>
                    </a:lnTo>
                    <a:lnTo>
                      <a:pt x="58" y="59"/>
                    </a:lnTo>
                    <a:lnTo>
                      <a:pt x="58" y="59"/>
                    </a:lnTo>
                    <a:lnTo>
                      <a:pt x="58" y="59"/>
                    </a:lnTo>
                    <a:lnTo>
                      <a:pt x="58" y="54"/>
                    </a:lnTo>
                    <a:lnTo>
                      <a:pt x="58" y="50"/>
                    </a:lnTo>
                    <a:lnTo>
                      <a:pt x="58" y="45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63" y="36"/>
                    </a:lnTo>
                    <a:lnTo>
                      <a:pt x="63" y="36"/>
                    </a:lnTo>
                    <a:lnTo>
                      <a:pt x="63" y="36"/>
                    </a:lnTo>
                    <a:lnTo>
                      <a:pt x="63" y="36"/>
                    </a:lnTo>
                    <a:lnTo>
                      <a:pt x="63" y="36"/>
                    </a:lnTo>
                    <a:lnTo>
                      <a:pt x="63" y="36"/>
                    </a:lnTo>
                    <a:lnTo>
                      <a:pt x="63" y="31"/>
                    </a:lnTo>
                    <a:lnTo>
                      <a:pt x="63" y="31"/>
                    </a:lnTo>
                    <a:lnTo>
                      <a:pt x="63" y="31"/>
                    </a:lnTo>
                    <a:lnTo>
                      <a:pt x="63" y="31"/>
                    </a:lnTo>
                    <a:lnTo>
                      <a:pt x="58" y="27"/>
                    </a:lnTo>
                    <a:lnTo>
                      <a:pt x="58" y="27"/>
                    </a:lnTo>
                    <a:lnTo>
                      <a:pt x="58" y="27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49" y="22"/>
                    </a:lnTo>
                    <a:lnTo>
                      <a:pt x="49" y="22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3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36" y="36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1" y="45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31" y="54"/>
                    </a:lnTo>
                    <a:lnTo>
                      <a:pt x="31" y="59"/>
                    </a:lnTo>
                    <a:lnTo>
                      <a:pt x="31" y="59"/>
                    </a:lnTo>
                    <a:lnTo>
                      <a:pt x="31" y="59"/>
                    </a:lnTo>
                    <a:lnTo>
                      <a:pt x="36" y="63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6" y="72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0" y="77"/>
                    </a:lnTo>
                    <a:lnTo>
                      <a:pt x="40" y="77"/>
                    </a:lnTo>
                    <a:lnTo>
                      <a:pt x="40" y="81"/>
                    </a:lnTo>
                    <a:lnTo>
                      <a:pt x="40" y="81"/>
                    </a:lnTo>
                    <a:lnTo>
                      <a:pt x="40" y="81"/>
                    </a:lnTo>
                    <a:lnTo>
                      <a:pt x="40" y="81"/>
                    </a:lnTo>
                    <a:lnTo>
                      <a:pt x="40" y="86"/>
                    </a:lnTo>
                    <a:lnTo>
                      <a:pt x="40" y="86"/>
                    </a:lnTo>
                    <a:lnTo>
                      <a:pt x="40" y="86"/>
                    </a:lnTo>
                    <a:lnTo>
                      <a:pt x="40" y="90"/>
                    </a:lnTo>
                    <a:lnTo>
                      <a:pt x="40" y="90"/>
                    </a:lnTo>
                    <a:lnTo>
                      <a:pt x="40" y="90"/>
                    </a:lnTo>
                    <a:lnTo>
                      <a:pt x="40" y="90"/>
                    </a:lnTo>
                    <a:lnTo>
                      <a:pt x="40" y="95"/>
                    </a:lnTo>
                    <a:lnTo>
                      <a:pt x="40" y="95"/>
                    </a:lnTo>
                    <a:lnTo>
                      <a:pt x="40" y="99"/>
                    </a:lnTo>
                    <a:lnTo>
                      <a:pt x="40" y="99"/>
                    </a:lnTo>
                    <a:lnTo>
                      <a:pt x="40" y="104"/>
                    </a:lnTo>
                    <a:lnTo>
                      <a:pt x="45" y="108"/>
                    </a:lnTo>
                    <a:lnTo>
                      <a:pt x="40" y="108"/>
                    </a:lnTo>
                    <a:lnTo>
                      <a:pt x="40" y="113"/>
                    </a:lnTo>
                    <a:lnTo>
                      <a:pt x="45" y="113"/>
                    </a:lnTo>
                    <a:lnTo>
                      <a:pt x="45" y="117"/>
                    </a:lnTo>
                    <a:lnTo>
                      <a:pt x="45" y="117"/>
                    </a:lnTo>
                    <a:lnTo>
                      <a:pt x="45" y="117"/>
                    </a:lnTo>
                    <a:lnTo>
                      <a:pt x="45" y="122"/>
                    </a:lnTo>
                    <a:lnTo>
                      <a:pt x="45" y="126"/>
                    </a:lnTo>
                    <a:lnTo>
                      <a:pt x="45" y="126"/>
                    </a:lnTo>
                    <a:lnTo>
                      <a:pt x="45" y="126"/>
                    </a:lnTo>
                    <a:lnTo>
                      <a:pt x="45" y="126"/>
                    </a:lnTo>
                    <a:lnTo>
                      <a:pt x="45" y="126"/>
                    </a:lnTo>
                    <a:lnTo>
                      <a:pt x="45" y="122"/>
                    </a:lnTo>
                    <a:lnTo>
                      <a:pt x="45" y="122"/>
                    </a:lnTo>
                    <a:lnTo>
                      <a:pt x="45" y="122"/>
                    </a:lnTo>
                    <a:lnTo>
                      <a:pt x="49" y="126"/>
                    </a:lnTo>
                    <a:lnTo>
                      <a:pt x="49" y="126"/>
                    </a:lnTo>
                    <a:lnTo>
                      <a:pt x="49" y="126"/>
                    </a:lnTo>
                    <a:lnTo>
                      <a:pt x="49" y="131"/>
                    </a:lnTo>
                    <a:lnTo>
                      <a:pt x="49" y="131"/>
                    </a:lnTo>
                    <a:lnTo>
                      <a:pt x="45" y="135"/>
                    </a:lnTo>
                    <a:lnTo>
                      <a:pt x="45" y="135"/>
                    </a:lnTo>
                    <a:lnTo>
                      <a:pt x="45" y="140"/>
                    </a:lnTo>
                    <a:lnTo>
                      <a:pt x="45" y="144"/>
                    </a:lnTo>
                    <a:lnTo>
                      <a:pt x="45" y="149"/>
                    </a:lnTo>
                    <a:lnTo>
                      <a:pt x="45" y="149"/>
                    </a:lnTo>
                    <a:lnTo>
                      <a:pt x="45" y="149"/>
                    </a:lnTo>
                    <a:lnTo>
                      <a:pt x="45" y="158"/>
                    </a:lnTo>
                    <a:lnTo>
                      <a:pt x="49" y="158"/>
                    </a:lnTo>
                    <a:lnTo>
                      <a:pt x="49" y="163"/>
                    </a:lnTo>
                    <a:lnTo>
                      <a:pt x="49" y="163"/>
                    </a:lnTo>
                    <a:lnTo>
                      <a:pt x="45" y="167"/>
                    </a:lnTo>
                    <a:lnTo>
                      <a:pt x="45" y="167"/>
                    </a:lnTo>
                    <a:lnTo>
                      <a:pt x="45" y="172"/>
                    </a:lnTo>
                    <a:lnTo>
                      <a:pt x="45" y="176"/>
                    </a:lnTo>
                    <a:lnTo>
                      <a:pt x="45" y="176"/>
                    </a:lnTo>
                    <a:lnTo>
                      <a:pt x="45" y="176"/>
                    </a:lnTo>
                    <a:lnTo>
                      <a:pt x="45" y="176"/>
                    </a:lnTo>
                    <a:lnTo>
                      <a:pt x="45" y="176"/>
                    </a:lnTo>
                    <a:lnTo>
                      <a:pt x="49" y="176"/>
                    </a:lnTo>
                    <a:lnTo>
                      <a:pt x="49" y="176"/>
                    </a:lnTo>
                    <a:lnTo>
                      <a:pt x="49" y="176"/>
                    </a:lnTo>
                    <a:lnTo>
                      <a:pt x="49" y="176"/>
                    </a:lnTo>
                    <a:lnTo>
                      <a:pt x="49" y="172"/>
                    </a:lnTo>
                    <a:lnTo>
                      <a:pt x="49" y="172"/>
                    </a:lnTo>
                    <a:lnTo>
                      <a:pt x="54" y="176"/>
                    </a:lnTo>
                    <a:lnTo>
                      <a:pt x="54" y="181"/>
                    </a:lnTo>
                    <a:lnTo>
                      <a:pt x="54" y="181"/>
                    </a:lnTo>
                    <a:lnTo>
                      <a:pt x="54" y="181"/>
                    </a:lnTo>
                    <a:lnTo>
                      <a:pt x="54" y="185"/>
                    </a:lnTo>
                    <a:lnTo>
                      <a:pt x="54" y="185"/>
                    </a:lnTo>
                    <a:lnTo>
                      <a:pt x="54" y="190"/>
                    </a:lnTo>
                    <a:lnTo>
                      <a:pt x="58" y="190"/>
                    </a:lnTo>
                    <a:lnTo>
                      <a:pt x="58" y="190"/>
                    </a:lnTo>
                    <a:lnTo>
                      <a:pt x="58" y="194"/>
                    </a:lnTo>
                    <a:lnTo>
                      <a:pt x="54" y="199"/>
                    </a:lnTo>
                    <a:lnTo>
                      <a:pt x="54" y="199"/>
                    </a:lnTo>
                    <a:lnTo>
                      <a:pt x="54" y="199"/>
                    </a:lnTo>
                    <a:lnTo>
                      <a:pt x="49" y="203"/>
                    </a:lnTo>
                    <a:lnTo>
                      <a:pt x="49" y="203"/>
                    </a:lnTo>
                    <a:lnTo>
                      <a:pt x="45" y="203"/>
                    </a:lnTo>
                    <a:lnTo>
                      <a:pt x="45" y="203"/>
                    </a:lnTo>
                    <a:lnTo>
                      <a:pt x="45" y="199"/>
                    </a:lnTo>
                    <a:lnTo>
                      <a:pt x="45" y="194"/>
                    </a:lnTo>
                    <a:lnTo>
                      <a:pt x="45" y="194"/>
                    </a:lnTo>
                    <a:lnTo>
                      <a:pt x="45" y="190"/>
                    </a:lnTo>
                    <a:lnTo>
                      <a:pt x="45" y="190"/>
                    </a:lnTo>
                    <a:lnTo>
                      <a:pt x="40" y="185"/>
                    </a:lnTo>
                    <a:lnTo>
                      <a:pt x="40" y="181"/>
                    </a:lnTo>
                    <a:lnTo>
                      <a:pt x="36" y="181"/>
                    </a:lnTo>
                    <a:lnTo>
                      <a:pt x="36" y="176"/>
                    </a:lnTo>
                    <a:lnTo>
                      <a:pt x="31" y="172"/>
                    </a:lnTo>
                    <a:lnTo>
                      <a:pt x="31" y="172"/>
                    </a:lnTo>
                    <a:lnTo>
                      <a:pt x="27" y="167"/>
                    </a:lnTo>
                    <a:lnTo>
                      <a:pt x="27" y="167"/>
                    </a:lnTo>
                    <a:lnTo>
                      <a:pt x="27" y="167"/>
                    </a:lnTo>
                    <a:lnTo>
                      <a:pt x="27" y="167"/>
                    </a:lnTo>
                    <a:lnTo>
                      <a:pt x="27" y="167"/>
                    </a:lnTo>
                    <a:lnTo>
                      <a:pt x="27" y="167"/>
                    </a:lnTo>
                    <a:lnTo>
                      <a:pt x="27" y="163"/>
                    </a:lnTo>
                    <a:lnTo>
                      <a:pt x="27" y="158"/>
                    </a:lnTo>
                    <a:lnTo>
                      <a:pt x="27" y="158"/>
                    </a:lnTo>
                    <a:lnTo>
                      <a:pt x="27" y="154"/>
                    </a:lnTo>
                    <a:lnTo>
                      <a:pt x="31" y="149"/>
                    </a:lnTo>
                    <a:lnTo>
                      <a:pt x="31" y="149"/>
                    </a:lnTo>
                    <a:lnTo>
                      <a:pt x="31" y="144"/>
                    </a:lnTo>
                    <a:lnTo>
                      <a:pt x="31" y="144"/>
                    </a:lnTo>
                    <a:lnTo>
                      <a:pt x="31" y="144"/>
                    </a:lnTo>
                    <a:lnTo>
                      <a:pt x="31" y="140"/>
                    </a:lnTo>
                    <a:lnTo>
                      <a:pt x="31" y="135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2" y="126"/>
                    </a:lnTo>
                    <a:lnTo>
                      <a:pt x="22" y="122"/>
                    </a:lnTo>
                    <a:lnTo>
                      <a:pt x="22" y="122"/>
                    </a:lnTo>
                    <a:lnTo>
                      <a:pt x="22" y="117"/>
                    </a:lnTo>
                    <a:lnTo>
                      <a:pt x="22" y="117"/>
                    </a:lnTo>
                    <a:lnTo>
                      <a:pt x="22" y="122"/>
                    </a:lnTo>
                    <a:lnTo>
                      <a:pt x="18" y="122"/>
                    </a:lnTo>
                    <a:lnTo>
                      <a:pt x="13" y="122"/>
                    </a:lnTo>
                    <a:lnTo>
                      <a:pt x="13" y="122"/>
                    </a:lnTo>
                    <a:lnTo>
                      <a:pt x="13" y="117"/>
                    </a:lnTo>
                    <a:lnTo>
                      <a:pt x="13" y="117"/>
                    </a:lnTo>
                    <a:lnTo>
                      <a:pt x="13" y="117"/>
                    </a:lnTo>
                    <a:lnTo>
                      <a:pt x="9" y="117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4" y="113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0" y="99"/>
                    </a:lnTo>
                    <a:lnTo>
                      <a:pt x="0" y="99"/>
                    </a:lnTo>
                    <a:lnTo>
                      <a:pt x="0" y="99"/>
                    </a:lnTo>
                    <a:lnTo>
                      <a:pt x="4" y="99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13" y="99"/>
                    </a:lnTo>
                    <a:lnTo>
                      <a:pt x="13" y="99"/>
                    </a:lnTo>
                    <a:lnTo>
                      <a:pt x="13" y="99"/>
                    </a:lnTo>
                    <a:lnTo>
                      <a:pt x="13" y="99"/>
                    </a:lnTo>
                    <a:lnTo>
                      <a:pt x="13" y="99"/>
                    </a:lnTo>
                    <a:lnTo>
                      <a:pt x="13" y="104"/>
                    </a:lnTo>
                    <a:lnTo>
                      <a:pt x="18" y="104"/>
                    </a:lnTo>
                    <a:lnTo>
                      <a:pt x="13" y="99"/>
                    </a:lnTo>
                    <a:lnTo>
                      <a:pt x="18" y="99"/>
                    </a:lnTo>
                    <a:lnTo>
                      <a:pt x="18" y="99"/>
                    </a:lnTo>
                    <a:lnTo>
                      <a:pt x="18" y="95"/>
                    </a:lnTo>
                    <a:lnTo>
                      <a:pt x="13" y="99"/>
                    </a:lnTo>
                    <a:lnTo>
                      <a:pt x="13" y="95"/>
                    </a:lnTo>
                    <a:lnTo>
                      <a:pt x="18" y="95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1"/>
                    </a:lnTo>
                    <a:lnTo>
                      <a:pt x="22" y="81"/>
                    </a:lnTo>
                    <a:lnTo>
                      <a:pt x="18" y="72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3" y="63"/>
                    </a:lnTo>
                    <a:lnTo>
                      <a:pt x="13" y="63"/>
                    </a:lnTo>
                    <a:lnTo>
                      <a:pt x="9" y="59"/>
                    </a:lnTo>
                    <a:lnTo>
                      <a:pt x="9" y="59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0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9" y="45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13" y="36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3" y="27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3"/>
                    </a:lnTo>
                    <a:lnTo>
                      <a:pt x="13" y="13"/>
                    </a:lnTo>
                    <a:lnTo>
                      <a:pt x="13" y="9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3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31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9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9" y="4"/>
                    </a:lnTo>
                    <a:lnTo>
                      <a:pt x="58" y="9"/>
                    </a:lnTo>
                    <a:lnTo>
                      <a:pt x="63" y="9"/>
                    </a:lnTo>
                    <a:lnTo>
                      <a:pt x="67" y="13"/>
                    </a:lnTo>
                    <a:lnTo>
                      <a:pt x="76" y="18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86" name="Freeform 107"/>
              <p:cNvSpPr>
                <a:spLocks/>
              </p:cNvSpPr>
              <p:nvPr/>
            </p:nvSpPr>
            <p:spPr bwMode="auto">
              <a:xfrm>
                <a:off x="4800601" y="1682751"/>
                <a:ext cx="65088" cy="49213"/>
              </a:xfrm>
              <a:custGeom>
                <a:avLst/>
                <a:gdLst>
                  <a:gd name="T0" fmla="*/ 32 w 41"/>
                  <a:gd name="T1" fmla="*/ 4 h 31"/>
                  <a:gd name="T2" fmla="*/ 36 w 41"/>
                  <a:gd name="T3" fmla="*/ 4 h 31"/>
                  <a:gd name="T4" fmla="*/ 36 w 41"/>
                  <a:gd name="T5" fmla="*/ 9 h 31"/>
                  <a:gd name="T6" fmla="*/ 41 w 41"/>
                  <a:gd name="T7" fmla="*/ 13 h 31"/>
                  <a:gd name="T8" fmla="*/ 41 w 41"/>
                  <a:gd name="T9" fmla="*/ 13 h 31"/>
                  <a:gd name="T10" fmla="*/ 41 w 41"/>
                  <a:gd name="T11" fmla="*/ 13 h 31"/>
                  <a:gd name="T12" fmla="*/ 41 w 41"/>
                  <a:gd name="T13" fmla="*/ 22 h 31"/>
                  <a:gd name="T14" fmla="*/ 41 w 41"/>
                  <a:gd name="T15" fmla="*/ 22 h 31"/>
                  <a:gd name="T16" fmla="*/ 36 w 41"/>
                  <a:gd name="T17" fmla="*/ 22 h 31"/>
                  <a:gd name="T18" fmla="*/ 36 w 41"/>
                  <a:gd name="T19" fmla="*/ 22 h 31"/>
                  <a:gd name="T20" fmla="*/ 32 w 41"/>
                  <a:gd name="T21" fmla="*/ 27 h 31"/>
                  <a:gd name="T22" fmla="*/ 27 w 41"/>
                  <a:gd name="T23" fmla="*/ 22 h 31"/>
                  <a:gd name="T24" fmla="*/ 27 w 41"/>
                  <a:gd name="T25" fmla="*/ 27 h 31"/>
                  <a:gd name="T26" fmla="*/ 23 w 41"/>
                  <a:gd name="T27" fmla="*/ 27 h 31"/>
                  <a:gd name="T28" fmla="*/ 18 w 41"/>
                  <a:gd name="T29" fmla="*/ 31 h 31"/>
                  <a:gd name="T30" fmla="*/ 18 w 41"/>
                  <a:gd name="T31" fmla="*/ 27 h 31"/>
                  <a:gd name="T32" fmla="*/ 14 w 41"/>
                  <a:gd name="T33" fmla="*/ 31 h 31"/>
                  <a:gd name="T34" fmla="*/ 9 w 41"/>
                  <a:gd name="T35" fmla="*/ 31 h 31"/>
                  <a:gd name="T36" fmla="*/ 9 w 41"/>
                  <a:gd name="T37" fmla="*/ 27 h 31"/>
                  <a:gd name="T38" fmla="*/ 9 w 41"/>
                  <a:gd name="T39" fmla="*/ 27 h 31"/>
                  <a:gd name="T40" fmla="*/ 5 w 41"/>
                  <a:gd name="T41" fmla="*/ 27 h 31"/>
                  <a:gd name="T42" fmla="*/ 5 w 41"/>
                  <a:gd name="T43" fmla="*/ 27 h 31"/>
                  <a:gd name="T44" fmla="*/ 5 w 41"/>
                  <a:gd name="T45" fmla="*/ 22 h 31"/>
                  <a:gd name="T46" fmla="*/ 0 w 41"/>
                  <a:gd name="T47" fmla="*/ 18 h 31"/>
                  <a:gd name="T48" fmla="*/ 5 w 41"/>
                  <a:gd name="T49" fmla="*/ 18 h 31"/>
                  <a:gd name="T50" fmla="*/ 5 w 41"/>
                  <a:gd name="T51" fmla="*/ 13 h 31"/>
                  <a:gd name="T52" fmla="*/ 5 w 41"/>
                  <a:gd name="T53" fmla="*/ 9 h 31"/>
                  <a:gd name="T54" fmla="*/ 5 w 41"/>
                  <a:gd name="T55" fmla="*/ 13 h 31"/>
                  <a:gd name="T56" fmla="*/ 5 w 41"/>
                  <a:gd name="T57" fmla="*/ 9 h 31"/>
                  <a:gd name="T58" fmla="*/ 5 w 41"/>
                  <a:gd name="T59" fmla="*/ 9 h 31"/>
                  <a:gd name="T60" fmla="*/ 14 w 41"/>
                  <a:gd name="T61" fmla="*/ 4 h 31"/>
                  <a:gd name="T62" fmla="*/ 14 w 41"/>
                  <a:gd name="T63" fmla="*/ 9 h 31"/>
                  <a:gd name="T64" fmla="*/ 14 w 41"/>
                  <a:gd name="T65" fmla="*/ 4 h 31"/>
                  <a:gd name="T66" fmla="*/ 14 w 41"/>
                  <a:gd name="T67" fmla="*/ 4 h 31"/>
                  <a:gd name="T68" fmla="*/ 18 w 41"/>
                  <a:gd name="T69" fmla="*/ 4 h 31"/>
                  <a:gd name="T70" fmla="*/ 23 w 41"/>
                  <a:gd name="T71" fmla="*/ 4 h 31"/>
                  <a:gd name="T72" fmla="*/ 23 w 41"/>
                  <a:gd name="T73" fmla="*/ 4 h 31"/>
                  <a:gd name="T74" fmla="*/ 23 w 41"/>
                  <a:gd name="T75" fmla="*/ 4 h 31"/>
                  <a:gd name="T76" fmla="*/ 27 w 41"/>
                  <a:gd name="T77" fmla="*/ 4 h 31"/>
                  <a:gd name="T78" fmla="*/ 27 w 41"/>
                  <a:gd name="T79" fmla="*/ 0 h 31"/>
                  <a:gd name="T80" fmla="*/ 32 w 41"/>
                  <a:gd name="T81" fmla="*/ 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1" h="31">
                    <a:moveTo>
                      <a:pt x="32" y="4"/>
                    </a:move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1" y="18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7"/>
                    </a:lnTo>
                    <a:lnTo>
                      <a:pt x="32" y="27"/>
                    </a:lnTo>
                    <a:lnTo>
                      <a:pt x="32" y="22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18" y="31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31"/>
                    </a:lnTo>
                    <a:lnTo>
                      <a:pt x="14" y="31"/>
                    </a:lnTo>
                    <a:lnTo>
                      <a:pt x="14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5" y="18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9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2" y="4"/>
                    </a:lnTo>
                    <a:lnTo>
                      <a:pt x="32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87" name="Freeform 108"/>
              <p:cNvSpPr>
                <a:spLocks/>
              </p:cNvSpPr>
              <p:nvPr/>
            </p:nvSpPr>
            <p:spPr bwMode="auto">
              <a:xfrm>
                <a:off x="3933826" y="2206626"/>
                <a:ext cx="458788" cy="438150"/>
              </a:xfrm>
              <a:custGeom>
                <a:avLst/>
                <a:gdLst>
                  <a:gd name="T0" fmla="*/ 289 w 289"/>
                  <a:gd name="T1" fmla="*/ 108 h 276"/>
                  <a:gd name="T2" fmla="*/ 289 w 289"/>
                  <a:gd name="T3" fmla="*/ 149 h 276"/>
                  <a:gd name="T4" fmla="*/ 280 w 289"/>
                  <a:gd name="T5" fmla="*/ 167 h 276"/>
                  <a:gd name="T6" fmla="*/ 271 w 289"/>
                  <a:gd name="T7" fmla="*/ 181 h 276"/>
                  <a:gd name="T8" fmla="*/ 244 w 289"/>
                  <a:gd name="T9" fmla="*/ 181 h 276"/>
                  <a:gd name="T10" fmla="*/ 217 w 289"/>
                  <a:gd name="T11" fmla="*/ 185 h 276"/>
                  <a:gd name="T12" fmla="*/ 203 w 289"/>
                  <a:gd name="T13" fmla="*/ 185 h 276"/>
                  <a:gd name="T14" fmla="*/ 185 w 289"/>
                  <a:gd name="T15" fmla="*/ 194 h 276"/>
                  <a:gd name="T16" fmla="*/ 171 w 289"/>
                  <a:gd name="T17" fmla="*/ 199 h 276"/>
                  <a:gd name="T18" fmla="*/ 162 w 289"/>
                  <a:gd name="T19" fmla="*/ 212 h 276"/>
                  <a:gd name="T20" fmla="*/ 153 w 289"/>
                  <a:gd name="T21" fmla="*/ 221 h 276"/>
                  <a:gd name="T22" fmla="*/ 140 w 289"/>
                  <a:gd name="T23" fmla="*/ 221 h 276"/>
                  <a:gd name="T24" fmla="*/ 135 w 289"/>
                  <a:gd name="T25" fmla="*/ 230 h 276"/>
                  <a:gd name="T26" fmla="*/ 131 w 289"/>
                  <a:gd name="T27" fmla="*/ 239 h 276"/>
                  <a:gd name="T28" fmla="*/ 122 w 289"/>
                  <a:gd name="T29" fmla="*/ 248 h 276"/>
                  <a:gd name="T30" fmla="*/ 117 w 289"/>
                  <a:gd name="T31" fmla="*/ 262 h 276"/>
                  <a:gd name="T32" fmla="*/ 113 w 289"/>
                  <a:gd name="T33" fmla="*/ 271 h 276"/>
                  <a:gd name="T34" fmla="*/ 104 w 289"/>
                  <a:gd name="T35" fmla="*/ 276 h 276"/>
                  <a:gd name="T36" fmla="*/ 104 w 289"/>
                  <a:gd name="T37" fmla="*/ 267 h 276"/>
                  <a:gd name="T38" fmla="*/ 99 w 289"/>
                  <a:gd name="T39" fmla="*/ 271 h 276"/>
                  <a:gd name="T40" fmla="*/ 95 w 289"/>
                  <a:gd name="T41" fmla="*/ 271 h 276"/>
                  <a:gd name="T42" fmla="*/ 90 w 289"/>
                  <a:gd name="T43" fmla="*/ 276 h 276"/>
                  <a:gd name="T44" fmla="*/ 81 w 289"/>
                  <a:gd name="T45" fmla="*/ 271 h 276"/>
                  <a:gd name="T46" fmla="*/ 72 w 289"/>
                  <a:gd name="T47" fmla="*/ 276 h 276"/>
                  <a:gd name="T48" fmla="*/ 67 w 289"/>
                  <a:gd name="T49" fmla="*/ 267 h 276"/>
                  <a:gd name="T50" fmla="*/ 63 w 289"/>
                  <a:gd name="T51" fmla="*/ 262 h 276"/>
                  <a:gd name="T52" fmla="*/ 67 w 289"/>
                  <a:gd name="T53" fmla="*/ 253 h 276"/>
                  <a:gd name="T54" fmla="*/ 63 w 289"/>
                  <a:gd name="T55" fmla="*/ 248 h 276"/>
                  <a:gd name="T56" fmla="*/ 54 w 289"/>
                  <a:gd name="T57" fmla="*/ 235 h 276"/>
                  <a:gd name="T58" fmla="*/ 49 w 289"/>
                  <a:gd name="T59" fmla="*/ 235 h 276"/>
                  <a:gd name="T60" fmla="*/ 45 w 289"/>
                  <a:gd name="T61" fmla="*/ 239 h 276"/>
                  <a:gd name="T62" fmla="*/ 27 w 289"/>
                  <a:gd name="T63" fmla="*/ 244 h 276"/>
                  <a:gd name="T64" fmla="*/ 22 w 289"/>
                  <a:gd name="T65" fmla="*/ 239 h 276"/>
                  <a:gd name="T66" fmla="*/ 13 w 289"/>
                  <a:gd name="T67" fmla="*/ 239 h 276"/>
                  <a:gd name="T68" fmla="*/ 13 w 289"/>
                  <a:gd name="T69" fmla="*/ 230 h 276"/>
                  <a:gd name="T70" fmla="*/ 13 w 289"/>
                  <a:gd name="T71" fmla="*/ 221 h 276"/>
                  <a:gd name="T72" fmla="*/ 9 w 289"/>
                  <a:gd name="T73" fmla="*/ 217 h 276"/>
                  <a:gd name="T74" fmla="*/ 4 w 289"/>
                  <a:gd name="T75" fmla="*/ 208 h 276"/>
                  <a:gd name="T76" fmla="*/ 4 w 289"/>
                  <a:gd name="T77" fmla="*/ 199 h 276"/>
                  <a:gd name="T78" fmla="*/ 4 w 289"/>
                  <a:gd name="T79" fmla="*/ 190 h 276"/>
                  <a:gd name="T80" fmla="*/ 13 w 289"/>
                  <a:gd name="T81" fmla="*/ 176 h 276"/>
                  <a:gd name="T82" fmla="*/ 27 w 289"/>
                  <a:gd name="T83" fmla="*/ 181 h 276"/>
                  <a:gd name="T84" fmla="*/ 40 w 289"/>
                  <a:gd name="T85" fmla="*/ 176 h 276"/>
                  <a:gd name="T86" fmla="*/ 54 w 289"/>
                  <a:gd name="T87" fmla="*/ 172 h 276"/>
                  <a:gd name="T88" fmla="*/ 67 w 289"/>
                  <a:gd name="T89" fmla="*/ 176 h 276"/>
                  <a:gd name="T90" fmla="*/ 99 w 289"/>
                  <a:gd name="T91" fmla="*/ 176 h 276"/>
                  <a:gd name="T92" fmla="*/ 122 w 289"/>
                  <a:gd name="T93" fmla="*/ 167 h 276"/>
                  <a:gd name="T94" fmla="*/ 117 w 289"/>
                  <a:gd name="T95" fmla="*/ 131 h 276"/>
                  <a:gd name="T96" fmla="*/ 113 w 289"/>
                  <a:gd name="T97" fmla="*/ 95 h 276"/>
                  <a:gd name="T98" fmla="*/ 113 w 289"/>
                  <a:gd name="T99" fmla="*/ 59 h 276"/>
                  <a:gd name="T100" fmla="*/ 108 w 289"/>
                  <a:gd name="T101" fmla="*/ 22 h 276"/>
                  <a:gd name="T102" fmla="*/ 122 w 289"/>
                  <a:gd name="T103" fmla="*/ 0 h 276"/>
                  <a:gd name="T104" fmla="*/ 167 w 289"/>
                  <a:gd name="T105" fmla="*/ 22 h 276"/>
                  <a:gd name="T106" fmla="*/ 212 w 289"/>
                  <a:gd name="T107" fmla="*/ 54 h 276"/>
                  <a:gd name="T108" fmla="*/ 235 w 289"/>
                  <a:gd name="T109" fmla="*/ 77 h 276"/>
                  <a:gd name="T110" fmla="*/ 244 w 289"/>
                  <a:gd name="T111" fmla="*/ 86 h 276"/>
                  <a:gd name="T112" fmla="*/ 262 w 289"/>
                  <a:gd name="T113" fmla="*/ 95 h 276"/>
                  <a:gd name="T114" fmla="*/ 271 w 289"/>
                  <a:gd name="T115" fmla="*/ 104 h 276"/>
                  <a:gd name="T116" fmla="*/ 266 w 289"/>
                  <a:gd name="T117" fmla="*/ 10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89" h="276">
                    <a:moveTo>
                      <a:pt x="271" y="113"/>
                    </a:moveTo>
                    <a:lnTo>
                      <a:pt x="271" y="113"/>
                    </a:lnTo>
                    <a:lnTo>
                      <a:pt x="271" y="113"/>
                    </a:lnTo>
                    <a:lnTo>
                      <a:pt x="271" y="113"/>
                    </a:lnTo>
                    <a:lnTo>
                      <a:pt x="275" y="113"/>
                    </a:lnTo>
                    <a:lnTo>
                      <a:pt x="280" y="108"/>
                    </a:lnTo>
                    <a:lnTo>
                      <a:pt x="280" y="108"/>
                    </a:lnTo>
                    <a:lnTo>
                      <a:pt x="289" y="108"/>
                    </a:lnTo>
                    <a:lnTo>
                      <a:pt x="289" y="113"/>
                    </a:lnTo>
                    <a:lnTo>
                      <a:pt x="289" y="117"/>
                    </a:lnTo>
                    <a:lnTo>
                      <a:pt x="289" y="122"/>
                    </a:lnTo>
                    <a:lnTo>
                      <a:pt x="289" y="126"/>
                    </a:lnTo>
                    <a:lnTo>
                      <a:pt x="289" y="131"/>
                    </a:lnTo>
                    <a:lnTo>
                      <a:pt x="289" y="135"/>
                    </a:lnTo>
                    <a:lnTo>
                      <a:pt x="289" y="144"/>
                    </a:lnTo>
                    <a:lnTo>
                      <a:pt x="289" y="149"/>
                    </a:lnTo>
                    <a:lnTo>
                      <a:pt x="284" y="149"/>
                    </a:lnTo>
                    <a:lnTo>
                      <a:pt x="284" y="153"/>
                    </a:lnTo>
                    <a:lnTo>
                      <a:pt x="284" y="158"/>
                    </a:lnTo>
                    <a:lnTo>
                      <a:pt x="284" y="163"/>
                    </a:lnTo>
                    <a:lnTo>
                      <a:pt x="284" y="163"/>
                    </a:lnTo>
                    <a:lnTo>
                      <a:pt x="280" y="167"/>
                    </a:lnTo>
                    <a:lnTo>
                      <a:pt x="280" y="167"/>
                    </a:lnTo>
                    <a:lnTo>
                      <a:pt x="280" y="167"/>
                    </a:lnTo>
                    <a:lnTo>
                      <a:pt x="280" y="172"/>
                    </a:lnTo>
                    <a:lnTo>
                      <a:pt x="280" y="172"/>
                    </a:lnTo>
                    <a:lnTo>
                      <a:pt x="280" y="172"/>
                    </a:lnTo>
                    <a:lnTo>
                      <a:pt x="280" y="172"/>
                    </a:lnTo>
                    <a:lnTo>
                      <a:pt x="275" y="176"/>
                    </a:lnTo>
                    <a:lnTo>
                      <a:pt x="275" y="176"/>
                    </a:lnTo>
                    <a:lnTo>
                      <a:pt x="275" y="181"/>
                    </a:lnTo>
                    <a:lnTo>
                      <a:pt x="271" y="181"/>
                    </a:lnTo>
                    <a:lnTo>
                      <a:pt x="266" y="176"/>
                    </a:lnTo>
                    <a:lnTo>
                      <a:pt x="266" y="176"/>
                    </a:lnTo>
                    <a:lnTo>
                      <a:pt x="266" y="181"/>
                    </a:lnTo>
                    <a:lnTo>
                      <a:pt x="266" y="181"/>
                    </a:lnTo>
                    <a:lnTo>
                      <a:pt x="262" y="181"/>
                    </a:lnTo>
                    <a:lnTo>
                      <a:pt x="257" y="181"/>
                    </a:lnTo>
                    <a:lnTo>
                      <a:pt x="248" y="181"/>
                    </a:lnTo>
                    <a:lnTo>
                      <a:pt x="244" y="181"/>
                    </a:lnTo>
                    <a:lnTo>
                      <a:pt x="239" y="181"/>
                    </a:lnTo>
                    <a:lnTo>
                      <a:pt x="235" y="181"/>
                    </a:lnTo>
                    <a:lnTo>
                      <a:pt x="235" y="185"/>
                    </a:lnTo>
                    <a:lnTo>
                      <a:pt x="230" y="185"/>
                    </a:lnTo>
                    <a:lnTo>
                      <a:pt x="230" y="185"/>
                    </a:lnTo>
                    <a:lnTo>
                      <a:pt x="226" y="185"/>
                    </a:lnTo>
                    <a:lnTo>
                      <a:pt x="221" y="185"/>
                    </a:lnTo>
                    <a:lnTo>
                      <a:pt x="217" y="185"/>
                    </a:lnTo>
                    <a:lnTo>
                      <a:pt x="217" y="185"/>
                    </a:lnTo>
                    <a:lnTo>
                      <a:pt x="217" y="190"/>
                    </a:lnTo>
                    <a:lnTo>
                      <a:pt x="212" y="185"/>
                    </a:lnTo>
                    <a:lnTo>
                      <a:pt x="207" y="185"/>
                    </a:lnTo>
                    <a:lnTo>
                      <a:pt x="207" y="185"/>
                    </a:lnTo>
                    <a:lnTo>
                      <a:pt x="207" y="185"/>
                    </a:lnTo>
                    <a:lnTo>
                      <a:pt x="207" y="185"/>
                    </a:lnTo>
                    <a:lnTo>
                      <a:pt x="203" y="185"/>
                    </a:lnTo>
                    <a:lnTo>
                      <a:pt x="203" y="185"/>
                    </a:lnTo>
                    <a:lnTo>
                      <a:pt x="198" y="185"/>
                    </a:lnTo>
                    <a:lnTo>
                      <a:pt x="198" y="185"/>
                    </a:lnTo>
                    <a:lnTo>
                      <a:pt x="194" y="190"/>
                    </a:lnTo>
                    <a:lnTo>
                      <a:pt x="194" y="190"/>
                    </a:lnTo>
                    <a:lnTo>
                      <a:pt x="194" y="190"/>
                    </a:lnTo>
                    <a:lnTo>
                      <a:pt x="189" y="194"/>
                    </a:lnTo>
                    <a:lnTo>
                      <a:pt x="185" y="194"/>
                    </a:lnTo>
                    <a:lnTo>
                      <a:pt x="185" y="194"/>
                    </a:lnTo>
                    <a:lnTo>
                      <a:pt x="180" y="194"/>
                    </a:lnTo>
                    <a:lnTo>
                      <a:pt x="180" y="194"/>
                    </a:lnTo>
                    <a:lnTo>
                      <a:pt x="180" y="194"/>
                    </a:lnTo>
                    <a:lnTo>
                      <a:pt x="176" y="203"/>
                    </a:lnTo>
                    <a:lnTo>
                      <a:pt x="176" y="203"/>
                    </a:lnTo>
                    <a:lnTo>
                      <a:pt x="171" y="199"/>
                    </a:lnTo>
                    <a:lnTo>
                      <a:pt x="171" y="199"/>
                    </a:lnTo>
                    <a:lnTo>
                      <a:pt x="167" y="199"/>
                    </a:lnTo>
                    <a:lnTo>
                      <a:pt x="167" y="203"/>
                    </a:lnTo>
                    <a:lnTo>
                      <a:pt x="162" y="208"/>
                    </a:lnTo>
                    <a:lnTo>
                      <a:pt x="162" y="208"/>
                    </a:lnTo>
                    <a:lnTo>
                      <a:pt x="162" y="208"/>
                    </a:lnTo>
                    <a:lnTo>
                      <a:pt x="162" y="212"/>
                    </a:lnTo>
                    <a:lnTo>
                      <a:pt x="162" y="212"/>
                    </a:lnTo>
                    <a:lnTo>
                      <a:pt x="162" y="212"/>
                    </a:lnTo>
                    <a:lnTo>
                      <a:pt x="162" y="212"/>
                    </a:lnTo>
                    <a:lnTo>
                      <a:pt x="158" y="212"/>
                    </a:lnTo>
                    <a:lnTo>
                      <a:pt x="158" y="212"/>
                    </a:lnTo>
                    <a:lnTo>
                      <a:pt x="158" y="212"/>
                    </a:lnTo>
                    <a:lnTo>
                      <a:pt x="158" y="217"/>
                    </a:lnTo>
                    <a:lnTo>
                      <a:pt x="158" y="217"/>
                    </a:lnTo>
                    <a:lnTo>
                      <a:pt x="153" y="217"/>
                    </a:lnTo>
                    <a:lnTo>
                      <a:pt x="153" y="221"/>
                    </a:lnTo>
                    <a:lnTo>
                      <a:pt x="153" y="221"/>
                    </a:lnTo>
                    <a:lnTo>
                      <a:pt x="149" y="221"/>
                    </a:lnTo>
                    <a:lnTo>
                      <a:pt x="144" y="217"/>
                    </a:lnTo>
                    <a:lnTo>
                      <a:pt x="144" y="217"/>
                    </a:lnTo>
                    <a:lnTo>
                      <a:pt x="144" y="217"/>
                    </a:lnTo>
                    <a:lnTo>
                      <a:pt x="140" y="217"/>
                    </a:lnTo>
                    <a:lnTo>
                      <a:pt x="140" y="217"/>
                    </a:lnTo>
                    <a:lnTo>
                      <a:pt x="140" y="221"/>
                    </a:lnTo>
                    <a:lnTo>
                      <a:pt x="140" y="221"/>
                    </a:lnTo>
                    <a:lnTo>
                      <a:pt x="140" y="221"/>
                    </a:lnTo>
                    <a:lnTo>
                      <a:pt x="140" y="226"/>
                    </a:lnTo>
                    <a:lnTo>
                      <a:pt x="140" y="226"/>
                    </a:lnTo>
                    <a:lnTo>
                      <a:pt x="140" y="226"/>
                    </a:lnTo>
                    <a:lnTo>
                      <a:pt x="135" y="230"/>
                    </a:lnTo>
                    <a:lnTo>
                      <a:pt x="135" y="230"/>
                    </a:lnTo>
                    <a:lnTo>
                      <a:pt x="135" y="230"/>
                    </a:lnTo>
                    <a:lnTo>
                      <a:pt x="135" y="235"/>
                    </a:lnTo>
                    <a:lnTo>
                      <a:pt x="135" y="235"/>
                    </a:lnTo>
                    <a:lnTo>
                      <a:pt x="135" y="235"/>
                    </a:lnTo>
                    <a:lnTo>
                      <a:pt x="135" y="239"/>
                    </a:lnTo>
                    <a:lnTo>
                      <a:pt x="135" y="239"/>
                    </a:lnTo>
                    <a:lnTo>
                      <a:pt x="131" y="239"/>
                    </a:lnTo>
                    <a:lnTo>
                      <a:pt x="131" y="239"/>
                    </a:lnTo>
                    <a:lnTo>
                      <a:pt x="131" y="239"/>
                    </a:lnTo>
                    <a:lnTo>
                      <a:pt x="126" y="244"/>
                    </a:lnTo>
                    <a:lnTo>
                      <a:pt x="126" y="244"/>
                    </a:lnTo>
                    <a:lnTo>
                      <a:pt x="122" y="244"/>
                    </a:lnTo>
                    <a:lnTo>
                      <a:pt x="122" y="244"/>
                    </a:lnTo>
                    <a:lnTo>
                      <a:pt x="122" y="244"/>
                    </a:lnTo>
                    <a:lnTo>
                      <a:pt x="122" y="248"/>
                    </a:lnTo>
                    <a:lnTo>
                      <a:pt x="122" y="248"/>
                    </a:lnTo>
                    <a:lnTo>
                      <a:pt x="122" y="248"/>
                    </a:lnTo>
                    <a:lnTo>
                      <a:pt x="122" y="248"/>
                    </a:lnTo>
                    <a:lnTo>
                      <a:pt x="122" y="253"/>
                    </a:lnTo>
                    <a:lnTo>
                      <a:pt x="122" y="253"/>
                    </a:lnTo>
                    <a:lnTo>
                      <a:pt x="122" y="257"/>
                    </a:lnTo>
                    <a:lnTo>
                      <a:pt x="122" y="257"/>
                    </a:lnTo>
                    <a:lnTo>
                      <a:pt x="117" y="257"/>
                    </a:lnTo>
                    <a:lnTo>
                      <a:pt x="117" y="262"/>
                    </a:lnTo>
                    <a:lnTo>
                      <a:pt x="117" y="262"/>
                    </a:lnTo>
                    <a:lnTo>
                      <a:pt x="117" y="267"/>
                    </a:lnTo>
                    <a:lnTo>
                      <a:pt x="117" y="267"/>
                    </a:lnTo>
                    <a:lnTo>
                      <a:pt x="117" y="271"/>
                    </a:lnTo>
                    <a:lnTo>
                      <a:pt x="117" y="271"/>
                    </a:lnTo>
                    <a:lnTo>
                      <a:pt x="117" y="271"/>
                    </a:lnTo>
                    <a:lnTo>
                      <a:pt x="117" y="271"/>
                    </a:lnTo>
                    <a:lnTo>
                      <a:pt x="113" y="271"/>
                    </a:lnTo>
                    <a:lnTo>
                      <a:pt x="113" y="271"/>
                    </a:lnTo>
                    <a:lnTo>
                      <a:pt x="108" y="271"/>
                    </a:lnTo>
                    <a:lnTo>
                      <a:pt x="108" y="276"/>
                    </a:lnTo>
                    <a:lnTo>
                      <a:pt x="108" y="276"/>
                    </a:lnTo>
                    <a:lnTo>
                      <a:pt x="108" y="276"/>
                    </a:lnTo>
                    <a:lnTo>
                      <a:pt x="108" y="276"/>
                    </a:lnTo>
                    <a:lnTo>
                      <a:pt x="104" y="276"/>
                    </a:lnTo>
                    <a:lnTo>
                      <a:pt x="104" y="276"/>
                    </a:lnTo>
                    <a:lnTo>
                      <a:pt x="104" y="276"/>
                    </a:lnTo>
                    <a:lnTo>
                      <a:pt x="104" y="276"/>
                    </a:lnTo>
                    <a:lnTo>
                      <a:pt x="104" y="276"/>
                    </a:lnTo>
                    <a:lnTo>
                      <a:pt x="104" y="271"/>
                    </a:lnTo>
                    <a:lnTo>
                      <a:pt x="104" y="271"/>
                    </a:lnTo>
                    <a:lnTo>
                      <a:pt x="104" y="271"/>
                    </a:lnTo>
                    <a:lnTo>
                      <a:pt x="104" y="271"/>
                    </a:lnTo>
                    <a:lnTo>
                      <a:pt x="104" y="267"/>
                    </a:lnTo>
                    <a:lnTo>
                      <a:pt x="104" y="267"/>
                    </a:lnTo>
                    <a:lnTo>
                      <a:pt x="104" y="267"/>
                    </a:lnTo>
                    <a:lnTo>
                      <a:pt x="104" y="267"/>
                    </a:lnTo>
                    <a:lnTo>
                      <a:pt x="99" y="267"/>
                    </a:lnTo>
                    <a:lnTo>
                      <a:pt x="99" y="267"/>
                    </a:lnTo>
                    <a:lnTo>
                      <a:pt x="99" y="267"/>
                    </a:lnTo>
                    <a:lnTo>
                      <a:pt x="99" y="271"/>
                    </a:lnTo>
                    <a:lnTo>
                      <a:pt x="99" y="271"/>
                    </a:lnTo>
                    <a:lnTo>
                      <a:pt x="99" y="271"/>
                    </a:lnTo>
                    <a:lnTo>
                      <a:pt x="99" y="267"/>
                    </a:lnTo>
                    <a:lnTo>
                      <a:pt x="95" y="267"/>
                    </a:lnTo>
                    <a:lnTo>
                      <a:pt x="95" y="267"/>
                    </a:lnTo>
                    <a:lnTo>
                      <a:pt x="95" y="271"/>
                    </a:lnTo>
                    <a:lnTo>
                      <a:pt x="95" y="271"/>
                    </a:lnTo>
                    <a:lnTo>
                      <a:pt x="95" y="271"/>
                    </a:lnTo>
                    <a:lnTo>
                      <a:pt x="95" y="271"/>
                    </a:lnTo>
                    <a:lnTo>
                      <a:pt x="95" y="271"/>
                    </a:lnTo>
                    <a:lnTo>
                      <a:pt x="95" y="271"/>
                    </a:lnTo>
                    <a:lnTo>
                      <a:pt x="90" y="271"/>
                    </a:lnTo>
                    <a:lnTo>
                      <a:pt x="90" y="271"/>
                    </a:lnTo>
                    <a:lnTo>
                      <a:pt x="90" y="276"/>
                    </a:lnTo>
                    <a:lnTo>
                      <a:pt x="90" y="276"/>
                    </a:lnTo>
                    <a:lnTo>
                      <a:pt x="90" y="276"/>
                    </a:lnTo>
                    <a:lnTo>
                      <a:pt x="90" y="276"/>
                    </a:lnTo>
                    <a:lnTo>
                      <a:pt x="90" y="276"/>
                    </a:lnTo>
                    <a:lnTo>
                      <a:pt x="90" y="276"/>
                    </a:lnTo>
                    <a:lnTo>
                      <a:pt x="90" y="276"/>
                    </a:lnTo>
                    <a:lnTo>
                      <a:pt x="90" y="276"/>
                    </a:lnTo>
                    <a:lnTo>
                      <a:pt x="85" y="276"/>
                    </a:lnTo>
                    <a:lnTo>
                      <a:pt x="85" y="276"/>
                    </a:lnTo>
                    <a:lnTo>
                      <a:pt x="85" y="271"/>
                    </a:lnTo>
                    <a:lnTo>
                      <a:pt x="85" y="271"/>
                    </a:lnTo>
                    <a:lnTo>
                      <a:pt x="81" y="271"/>
                    </a:lnTo>
                    <a:lnTo>
                      <a:pt x="81" y="271"/>
                    </a:lnTo>
                    <a:lnTo>
                      <a:pt x="81" y="271"/>
                    </a:lnTo>
                    <a:lnTo>
                      <a:pt x="81" y="271"/>
                    </a:lnTo>
                    <a:lnTo>
                      <a:pt x="81" y="271"/>
                    </a:lnTo>
                    <a:lnTo>
                      <a:pt x="76" y="271"/>
                    </a:lnTo>
                    <a:lnTo>
                      <a:pt x="76" y="276"/>
                    </a:lnTo>
                    <a:lnTo>
                      <a:pt x="76" y="276"/>
                    </a:lnTo>
                    <a:lnTo>
                      <a:pt x="72" y="276"/>
                    </a:lnTo>
                    <a:lnTo>
                      <a:pt x="72" y="276"/>
                    </a:lnTo>
                    <a:lnTo>
                      <a:pt x="72" y="276"/>
                    </a:lnTo>
                    <a:lnTo>
                      <a:pt x="72" y="276"/>
                    </a:lnTo>
                    <a:lnTo>
                      <a:pt x="72" y="276"/>
                    </a:lnTo>
                    <a:lnTo>
                      <a:pt x="67" y="271"/>
                    </a:lnTo>
                    <a:lnTo>
                      <a:pt x="67" y="271"/>
                    </a:lnTo>
                    <a:lnTo>
                      <a:pt x="67" y="267"/>
                    </a:lnTo>
                    <a:lnTo>
                      <a:pt x="67" y="267"/>
                    </a:lnTo>
                    <a:lnTo>
                      <a:pt x="67" y="262"/>
                    </a:lnTo>
                    <a:lnTo>
                      <a:pt x="67" y="262"/>
                    </a:lnTo>
                    <a:lnTo>
                      <a:pt x="67" y="262"/>
                    </a:lnTo>
                    <a:lnTo>
                      <a:pt x="67" y="262"/>
                    </a:lnTo>
                    <a:lnTo>
                      <a:pt x="67" y="262"/>
                    </a:lnTo>
                    <a:lnTo>
                      <a:pt x="63" y="262"/>
                    </a:lnTo>
                    <a:lnTo>
                      <a:pt x="63" y="262"/>
                    </a:lnTo>
                    <a:lnTo>
                      <a:pt x="63" y="262"/>
                    </a:lnTo>
                    <a:lnTo>
                      <a:pt x="63" y="262"/>
                    </a:lnTo>
                    <a:lnTo>
                      <a:pt x="63" y="262"/>
                    </a:lnTo>
                    <a:lnTo>
                      <a:pt x="63" y="262"/>
                    </a:lnTo>
                    <a:lnTo>
                      <a:pt x="63" y="257"/>
                    </a:lnTo>
                    <a:lnTo>
                      <a:pt x="63" y="257"/>
                    </a:lnTo>
                    <a:lnTo>
                      <a:pt x="67" y="257"/>
                    </a:lnTo>
                    <a:lnTo>
                      <a:pt x="67" y="253"/>
                    </a:lnTo>
                    <a:lnTo>
                      <a:pt x="67" y="253"/>
                    </a:lnTo>
                    <a:lnTo>
                      <a:pt x="67" y="253"/>
                    </a:lnTo>
                    <a:lnTo>
                      <a:pt x="67" y="253"/>
                    </a:lnTo>
                    <a:lnTo>
                      <a:pt x="67" y="253"/>
                    </a:lnTo>
                    <a:lnTo>
                      <a:pt x="63" y="253"/>
                    </a:lnTo>
                    <a:lnTo>
                      <a:pt x="63" y="253"/>
                    </a:lnTo>
                    <a:lnTo>
                      <a:pt x="63" y="253"/>
                    </a:lnTo>
                    <a:lnTo>
                      <a:pt x="63" y="248"/>
                    </a:lnTo>
                    <a:lnTo>
                      <a:pt x="63" y="248"/>
                    </a:lnTo>
                    <a:lnTo>
                      <a:pt x="58" y="248"/>
                    </a:lnTo>
                    <a:lnTo>
                      <a:pt x="58" y="248"/>
                    </a:lnTo>
                    <a:lnTo>
                      <a:pt x="58" y="244"/>
                    </a:lnTo>
                    <a:lnTo>
                      <a:pt x="58" y="244"/>
                    </a:lnTo>
                    <a:lnTo>
                      <a:pt x="58" y="239"/>
                    </a:lnTo>
                    <a:lnTo>
                      <a:pt x="58" y="239"/>
                    </a:lnTo>
                    <a:lnTo>
                      <a:pt x="58" y="235"/>
                    </a:lnTo>
                    <a:lnTo>
                      <a:pt x="54" y="235"/>
                    </a:lnTo>
                    <a:lnTo>
                      <a:pt x="54" y="235"/>
                    </a:lnTo>
                    <a:lnTo>
                      <a:pt x="54" y="235"/>
                    </a:lnTo>
                    <a:lnTo>
                      <a:pt x="49" y="235"/>
                    </a:lnTo>
                    <a:lnTo>
                      <a:pt x="49" y="235"/>
                    </a:lnTo>
                    <a:lnTo>
                      <a:pt x="49" y="235"/>
                    </a:lnTo>
                    <a:lnTo>
                      <a:pt x="49" y="235"/>
                    </a:lnTo>
                    <a:lnTo>
                      <a:pt x="49" y="235"/>
                    </a:lnTo>
                    <a:lnTo>
                      <a:pt x="49" y="235"/>
                    </a:lnTo>
                    <a:lnTo>
                      <a:pt x="49" y="235"/>
                    </a:lnTo>
                    <a:lnTo>
                      <a:pt x="49" y="239"/>
                    </a:lnTo>
                    <a:lnTo>
                      <a:pt x="49" y="239"/>
                    </a:lnTo>
                    <a:lnTo>
                      <a:pt x="49" y="239"/>
                    </a:lnTo>
                    <a:lnTo>
                      <a:pt x="45" y="239"/>
                    </a:lnTo>
                    <a:lnTo>
                      <a:pt x="45" y="239"/>
                    </a:lnTo>
                    <a:lnTo>
                      <a:pt x="45" y="239"/>
                    </a:lnTo>
                    <a:lnTo>
                      <a:pt x="45" y="239"/>
                    </a:lnTo>
                    <a:lnTo>
                      <a:pt x="40" y="239"/>
                    </a:lnTo>
                    <a:lnTo>
                      <a:pt x="40" y="239"/>
                    </a:lnTo>
                    <a:lnTo>
                      <a:pt x="36" y="239"/>
                    </a:lnTo>
                    <a:lnTo>
                      <a:pt x="36" y="239"/>
                    </a:lnTo>
                    <a:lnTo>
                      <a:pt x="31" y="239"/>
                    </a:lnTo>
                    <a:lnTo>
                      <a:pt x="31" y="239"/>
                    </a:lnTo>
                    <a:lnTo>
                      <a:pt x="31" y="239"/>
                    </a:lnTo>
                    <a:lnTo>
                      <a:pt x="27" y="244"/>
                    </a:lnTo>
                    <a:lnTo>
                      <a:pt x="27" y="244"/>
                    </a:lnTo>
                    <a:lnTo>
                      <a:pt x="27" y="244"/>
                    </a:lnTo>
                    <a:lnTo>
                      <a:pt x="27" y="244"/>
                    </a:lnTo>
                    <a:lnTo>
                      <a:pt x="27" y="244"/>
                    </a:lnTo>
                    <a:lnTo>
                      <a:pt x="27" y="244"/>
                    </a:lnTo>
                    <a:lnTo>
                      <a:pt x="27" y="244"/>
                    </a:lnTo>
                    <a:lnTo>
                      <a:pt x="27" y="239"/>
                    </a:lnTo>
                    <a:lnTo>
                      <a:pt x="22" y="239"/>
                    </a:lnTo>
                    <a:lnTo>
                      <a:pt x="22" y="239"/>
                    </a:lnTo>
                    <a:lnTo>
                      <a:pt x="22" y="239"/>
                    </a:lnTo>
                    <a:lnTo>
                      <a:pt x="22" y="239"/>
                    </a:lnTo>
                    <a:lnTo>
                      <a:pt x="18" y="239"/>
                    </a:lnTo>
                    <a:lnTo>
                      <a:pt x="18" y="239"/>
                    </a:lnTo>
                    <a:lnTo>
                      <a:pt x="18" y="244"/>
                    </a:lnTo>
                    <a:lnTo>
                      <a:pt x="18" y="239"/>
                    </a:lnTo>
                    <a:lnTo>
                      <a:pt x="13" y="239"/>
                    </a:lnTo>
                    <a:lnTo>
                      <a:pt x="13" y="239"/>
                    </a:lnTo>
                    <a:lnTo>
                      <a:pt x="13" y="239"/>
                    </a:lnTo>
                    <a:lnTo>
                      <a:pt x="13" y="239"/>
                    </a:lnTo>
                    <a:lnTo>
                      <a:pt x="13" y="235"/>
                    </a:lnTo>
                    <a:lnTo>
                      <a:pt x="13" y="235"/>
                    </a:lnTo>
                    <a:lnTo>
                      <a:pt x="13" y="235"/>
                    </a:lnTo>
                    <a:lnTo>
                      <a:pt x="18" y="235"/>
                    </a:lnTo>
                    <a:lnTo>
                      <a:pt x="13" y="230"/>
                    </a:lnTo>
                    <a:lnTo>
                      <a:pt x="13" y="230"/>
                    </a:lnTo>
                    <a:lnTo>
                      <a:pt x="13" y="230"/>
                    </a:lnTo>
                    <a:lnTo>
                      <a:pt x="13" y="226"/>
                    </a:lnTo>
                    <a:lnTo>
                      <a:pt x="13" y="226"/>
                    </a:lnTo>
                    <a:lnTo>
                      <a:pt x="18" y="226"/>
                    </a:lnTo>
                    <a:lnTo>
                      <a:pt x="13" y="221"/>
                    </a:lnTo>
                    <a:lnTo>
                      <a:pt x="13" y="221"/>
                    </a:lnTo>
                    <a:lnTo>
                      <a:pt x="13" y="221"/>
                    </a:lnTo>
                    <a:lnTo>
                      <a:pt x="13" y="221"/>
                    </a:lnTo>
                    <a:lnTo>
                      <a:pt x="13" y="217"/>
                    </a:lnTo>
                    <a:lnTo>
                      <a:pt x="13" y="217"/>
                    </a:lnTo>
                    <a:lnTo>
                      <a:pt x="13" y="217"/>
                    </a:lnTo>
                    <a:lnTo>
                      <a:pt x="13" y="217"/>
                    </a:lnTo>
                    <a:lnTo>
                      <a:pt x="9" y="217"/>
                    </a:lnTo>
                    <a:lnTo>
                      <a:pt x="9" y="217"/>
                    </a:lnTo>
                    <a:lnTo>
                      <a:pt x="9" y="217"/>
                    </a:lnTo>
                    <a:lnTo>
                      <a:pt x="9" y="217"/>
                    </a:lnTo>
                    <a:lnTo>
                      <a:pt x="9" y="217"/>
                    </a:lnTo>
                    <a:lnTo>
                      <a:pt x="9" y="217"/>
                    </a:lnTo>
                    <a:lnTo>
                      <a:pt x="9" y="217"/>
                    </a:lnTo>
                    <a:lnTo>
                      <a:pt x="4" y="212"/>
                    </a:lnTo>
                    <a:lnTo>
                      <a:pt x="4" y="212"/>
                    </a:lnTo>
                    <a:lnTo>
                      <a:pt x="4" y="208"/>
                    </a:lnTo>
                    <a:lnTo>
                      <a:pt x="4" y="208"/>
                    </a:lnTo>
                    <a:lnTo>
                      <a:pt x="4" y="208"/>
                    </a:lnTo>
                    <a:lnTo>
                      <a:pt x="4" y="208"/>
                    </a:lnTo>
                    <a:lnTo>
                      <a:pt x="4" y="203"/>
                    </a:lnTo>
                    <a:lnTo>
                      <a:pt x="4" y="203"/>
                    </a:lnTo>
                    <a:lnTo>
                      <a:pt x="4" y="203"/>
                    </a:lnTo>
                    <a:lnTo>
                      <a:pt x="4" y="199"/>
                    </a:lnTo>
                    <a:lnTo>
                      <a:pt x="4" y="199"/>
                    </a:lnTo>
                    <a:lnTo>
                      <a:pt x="4" y="199"/>
                    </a:lnTo>
                    <a:lnTo>
                      <a:pt x="4" y="199"/>
                    </a:lnTo>
                    <a:lnTo>
                      <a:pt x="4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4" y="190"/>
                    </a:lnTo>
                    <a:lnTo>
                      <a:pt x="4" y="190"/>
                    </a:lnTo>
                    <a:lnTo>
                      <a:pt x="4" y="190"/>
                    </a:lnTo>
                    <a:lnTo>
                      <a:pt x="9" y="190"/>
                    </a:lnTo>
                    <a:lnTo>
                      <a:pt x="9" y="185"/>
                    </a:lnTo>
                    <a:lnTo>
                      <a:pt x="9" y="181"/>
                    </a:lnTo>
                    <a:lnTo>
                      <a:pt x="9" y="181"/>
                    </a:lnTo>
                    <a:lnTo>
                      <a:pt x="9" y="181"/>
                    </a:lnTo>
                    <a:lnTo>
                      <a:pt x="9" y="176"/>
                    </a:lnTo>
                    <a:lnTo>
                      <a:pt x="13" y="176"/>
                    </a:lnTo>
                    <a:lnTo>
                      <a:pt x="13" y="176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6"/>
                    </a:lnTo>
                    <a:lnTo>
                      <a:pt x="22" y="181"/>
                    </a:lnTo>
                    <a:lnTo>
                      <a:pt x="22" y="181"/>
                    </a:lnTo>
                    <a:lnTo>
                      <a:pt x="27" y="181"/>
                    </a:lnTo>
                    <a:lnTo>
                      <a:pt x="27" y="181"/>
                    </a:lnTo>
                    <a:lnTo>
                      <a:pt x="27" y="181"/>
                    </a:lnTo>
                    <a:lnTo>
                      <a:pt x="27" y="176"/>
                    </a:lnTo>
                    <a:lnTo>
                      <a:pt x="31" y="176"/>
                    </a:lnTo>
                    <a:lnTo>
                      <a:pt x="31" y="176"/>
                    </a:lnTo>
                    <a:lnTo>
                      <a:pt x="31" y="176"/>
                    </a:lnTo>
                    <a:lnTo>
                      <a:pt x="36" y="176"/>
                    </a:lnTo>
                    <a:lnTo>
                      <a:pt x="36" y="176"/>
                    </a:lnTo>
                    <a:lnTo>
                      <a:pt x="36" y="176"/>
                    </a:lnTo>
                    <a:lnTo>
                      <a:pt x="40" y="176"/>
                    </a:lnTo>
                    <a:lnTo>
                      <a:pt x="40" y="181"/>
                    </a:lnTo>
                    <a:lnTo>
                      <a:pt x="45" y="176"/>
                    </a:lnTo>
                    <a:lnTo>
                      <a:pt x="49" y="176"/>
                    </a:lnTo>
                    <a:lnTo>
                      <a:pt x="49" y="176"/>
                    </a:lnTo>
                    <a:lnTo>
                      <a:pt x="49" y="176"/>
                    </a:lnTo>
                    <a:lnTo>
                      <a:pt x="49" y="176"/>
                    </a:lnTo>
                    <a:lnTo>
                      <a:pt x="49" y="172"/>
                    </a:lnTo>
                    <a:lnTo>
                      <a:pt x="54" y="172"/>
                    </a:lnTo>
                    <a:lnTo>
                      <a:pt x="54" y="172"/>
                    </a:lnTo>
                    <a:lnTo>
                      <a:pt x="54" y="176"/>
                    </a:lnTo>
                    <a:lnTo>
                      <a:pt x="54" y="176"/>
                    </a:lnTo>
                    <a:lnTo>
                      <a:pt x="54" y="176"/>
                    </a:lnTo>
                    <a:lnTo>
                      <a:pt x="58" y="176"/>
                    </a:lnTo>
                    <a:lnTo>
                      <a:pt x="63" y="176"/>
                    </a:lnTo>
                    <a:lnTo>
                      <a:pt x="67" y="176"/>
                    </a:lnTo>
                    <a:lnTo>
                      <a:pt x="67" y="176"/>
                    </a:lnTo>
                    <a:lnTo>
                      <a:pt x="72" y="176"/>
                    </a:lnTo>
                    <a:lnTo>
                      <a:pt x="76" y="176"/>
                    </a:lnTo>
                    <a:lnTo>
                      <a:pt x="81" y="176"/>
                    </a:lnTo>
                    <a:lnTo>
                      <a:pt x="85" y="176"/>
                    </a:lnTo>
                    <a:lnTo>
                      <a:pt x="85" y="176"/>
                    </a:lnTo>
                    <a:lnTo>
                      <a:pt x="90" y="176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99" y="176"/>
                    </a:lnTo>
                    <a:lnTo>
                      <a:pt x="104" y="176"/>
                    </a:lnTo>
                    <a:lnTo>
                      <a:pt x="108" y="176"/>
                    </a:lnTo>
                    <a:lnTo>
                      <a:pt x="113" y="176"/>
                    </a:lnTo>
                    <a:lnTo>
                      <a:pt x="117" y="176"/>
                    </a:lnTo>
                    <a:lnTo>
                      <a:pt x="117" y="176"/>
                    </a:lnTo>
                    <a:lnTo>
                      <a:pt x="122" y="172"/>
                    </a:lnTo>
                    <a:lnTo>
                      <a:pt x="122" y="167"/>
                    </a:lnTo>
                    <a:lnTo>
                      <a:pt x="122" y="163"/>
                    </a:lnTo>
                    <a:lnTo>
                      <a:pt x="117" y="158"/>
                    </a:lnTo>
                    <a:lnTo>
                      <a:pt x="117" y="158"/>
                    </a:lnTo>
                    <a:lnTo>
                      <a:pt x="117" y="153"/>
                    </a:lnTo>
                    <a:lnTo>
                      <a:pt x="117" y="149"/>
                    </a:lnTo>
                    <a:lnTo>
                      <a:pt x="117" y="144"/>
                    </a:lnTo>
                    <a:lnTo>
                      <a:pt x="117" y="135"/>
                    </a:lnTo>
                    <a:lnTo>
                      <a:pt x="117" y="131"/>
                    </a:lnTo>
                    <a:lnTo>
                      <a:pt x="117" y="126"/>
                    </a:lnTo>
                    <a:lnTo>
                      <a:pt x="113" y="122"/>
                    </a:lnTo>
                    <a:lnTo>
                      <a:pt x="113" y="117"/>
                    </a:lnTo>
                    <a:lnTo>
                      <a:pt x="113" y="113"/>
                    </a:lnTo>
                    <a:lnTo>
                      <a:pt x="113" y="108"/>
                    </a:lnTo>
                    <a:lnTo>
                      <a:pt x="113" y="104"/>
                    </a:lnTo>
                    <a:lnTo>
                      <a:pt x="113" y="99"/>
                    </a:lnTo>
                    <a:lnTo>
                      <a:pt x="113" y="95"/>
                    </a:lnTo>
                    <a:lnTo>
                      <a:pt x="113" y="90"/>
                    </a:lnTo>
                    <a:lnTo>
                      <a:pt x="113" y="86"/>
                    </a:lnTo>
                    <a:lnTo>
                      <a:pt x="113" y="81"/>
                    </a:lnTo>
                    <a:lnTo>
                      <a:pt x="113" y="77"/>
                    </a:lnTo>
                    <a:lnTo>
                      <a:pt x="113" y="72"/>
                    </a:lnTo>
                    <a:lnTo>
                      <a:pt x="113" y="68"/>
                    </a:lnTo>
                    <a:lnTo>
                      <a:pt x="113" y="63"/>
                    </a:lnTo>
                    <a:lnTo>
                      <a:pt x="113" y="59"/>
                    </a:lnTo>
                    <a:lnTo>
                      <a:pt x="108" y="54"/>
                    </a:lnTo>
                    <a:lnTo>
                      <a:pt x="108" y="50"/>
                    </a:lnTo>
                    <a:lnTo>
                      <a:pt x="108" y="45"/>
                    </a:lnTo>
                    <a:lnTo>
                      <a:pt x="108" y="40"/>
                    </a:lnTo>
                    <a:lnTo>
                      <a:pt x="108" y="36"/>
                    </a:lnTo>
                    <a:lnTo>
                      <a:pt x="108" y="31"/>
                    </a:lnTo>
                    <a:lnTo>
                      <a:pt x="108" y="27"/>
                    </a:lnTo>
                    <a:lnTo>
                      <a:pt x="108" y="22"/>
                    </a:lnTo>
                    <a:lnTo>
                      <a:pt x="108" y="18"/>
                    </a:lnTo>
                    <a:lnTo>
                      <a:pt x="108" y="13"/>
                    </a:lnTo>
                    <a:lnTo>
                      <a:pt x="108" y="9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13" y="0"/>
                    </a:lnTo>
                    <a:lnTo>
                      <a:pt x="117" y="0"/>
                    </a:lnTo>
                    <a:lnTo>
                      <a:pt x="122" y="0"/>
                    </a:lnTo>
                    <a:lnTo>
                      <a:pt x="131" y="0"/>
                    </a:lnTo>
                    <a:lnTo>
                      <a:pt x="135" y="0"/>
                    </a:lnTo>
                    <a:lnTo>
                      <a:pt x="140" y="0"/>
                    </a:lnTo>
                    <a:lnTo>
                      <a:pt x="144" y="4"/>
                    </a:lnTo>
                    <a:lnTo>
                      <a:pt x="153" y="9"/>
                    </a:lnTo>
                    <a:lnTo>
                      <a:pt x="158" y="13"/>
                    </a:lnTo>
                    <a:lnTo>
                      <a:pt x="162" y="18"/>
                    </a:lnTo>
                    <a:lnTo>
                      <a:pt x="167" y="22"/>
                    </a:lnTo>
                    <a:lnTo>
                      <a:pt x="171" y="27"/>
                    </a:lnTo>
                    <a:lnTo>
                      <a:pt x="180" y="27"/>
                    </a:lnTo>
                    <a:lnTo>
                      <a:pt x="185" y="31"/>
                    </a:lnTo>
                    <a:lnTo>
                      <a:pt x="189" y="36"/>
                    </a:lnTo>
                    <a:lnTo>
                      <a:pt x="194" y="40"/>
                    </a:lnTo>
                    <a:lnTo>
                      <a:pt x="198" y="45"/>
                    </a:lnTo>
                    <a:lnTo>
                      <a:pt x="207" y="50"/>
                    </a:lnTo>
                    <a:lnTo>
                      <a:pt x="212" y="54"/>
                    </a:lnTo>
                    <a:lnTo>
                      <a:pt x="217" y="59"/>
                    </a:lnTo>
                    <a:lnTo>
                      <a:pt x="221" y="63"/>
                    </a:lnTo>
                    <a:lnTo>
                      <a:pt x="226" y="68"/>
                    </a:lnTo>
                    <a:lnTo>
                      <a:pt x="235" y="68"/>
                    </a:lnTo>
                    <a:lnTo>
                      <a:pt x="235" y="72"/>
                    </a:lnTo>
                    <a:lnTo>
                      <a:pt x="235" y="72"/>
                    </a:lnTo>
                    <a:lnTo>
                      <a:pt x="235" y="72"/>
                    </a:lnTo>
                    <a:lnTo>
                      <a:pt x="235" y="77"/>
                    </a:lnTo>
                    <a:lnTo>
                      <a:pt x="235" y="77"/>
                    </a:lnTo>
                    <a:lnTo>
                      <a:pt x="235" y="77"/>
                    </a:lnTo>
                    <a:lnTo>
                      <a:pt x="239" y="77"/>
                    </a:lnTo>
                    <a:lnTo>
                      <a:pt x="244" y="81"/>
                    </a:lnTo>
                    <a:lnTo>
                      <a:pt x="244" y="81"/>
                    </a:lnTo>
                    <a:lnTo>
                      <a:pt x="244" y="86"/>
                    </a:lnTo>
                    <a:lnTo>
                      <a:pt x="244" y="86"/>
                    </a:lnTo>
                    <a:lnTo>
                      <a:pt x="244" y="86"/>
                    </a:lnTo>
                    <a:lnTo>
                      <a:pt x="248" y="86"/>
                    </a:lnTo>
                    <a:lnTo>
                      <a:pt x="248" y="86"/>
                    </a:lnTo>
                    <a:lnTo>
                      <a:pt x="253" y="86"/>
                    </a:lnTo>
                    <a:lnTo>
                      <a:pt x="253" y="90"/>
                    </a:lnTo>
                    <a:lnTo>
                      <a:pt x="257" y="90"/>
                    </a:lnTo>
                    <a:lnTo>
                      <a:pt x="257" y="90"/>
                    </a:lnTo>
                    <a:lnTo>
                      <a:pt x="262" y="90"/>
                    </a:lnTo>
                    <a:lnTo>
                      <a:pt x="262" y="95"/>
                    </a:lnTo>
                    <a:lnTo>
                      <a:pt x="266" y="95"/>
                    </a:lnTo>
                    <a:lnTo>
                      <a:pt x="266" y="95"/>
                    </a:lnTo>
                    <a:lnTo>
                      <a:pt x="271" y="95"/>
                    </a:lnTo>
                    <a:lnTo>
                      <a:pt x="271" y="95"/>
                    </a:lnTo>
                    <a:lnTo>
                      <a:pt x="271" y="95"/>
                    </a:lnTo>
                    <a:lnTo>
                      <a:pt x="271" y="99"/>
                    </a:lnTo>
                    <a:lnTo>
                      <a:pt x="271" y="99"/>
                    </a:lnTo>
                    <a:lnTo>
                      <a:pt x="271" y="104"/>
                    </a:lnTo>
                    <a:lnTo>
                      <a:pt x="271" y="104"/>
                    </a:lnTo>
                    <a:lnTo>
                      <a:pt x="271" y="104"/>
                    </a:lnTo>
                    <a:lnTo>
                      <a:pt x="271" y="104"/>
                    </a:lnTo>
                    <a:lnTo>
                      <a:pt x="271" y="104"/>
                    </a:lnTo>
                    <a:lnTo>
                      <a:pt x="271" y="104"/>
                    </a:lnTo>
                    <a:lnTo>
                      <a:pt x="266" y="108"/>
                    </a:lnTo>
                    <a:lnTo>
                      <a:pt x="266" y="108"/>
                    </a:lnTo>
                    <a:lnTo>
                      <a:pt x="266" y="108"/>
                    </a:lnTo>
                    <a:lnTo>
                      <a:pt x="271" y="108"/>
                    </a:lnTo>
                    <a:lnTo>
                      <a:pt x="271" y="113"/>
                    </a:lnTo>
                    <a:lnTo>
                      <a:pt x="271" y="113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88" name="Freeform 109"/>
              <p:cNvSpPr>
                <a:spLocks/>
              </p:cNvSpPr>
              <p:nvPr/>
            </p:nvSpPr>
            <p:spPr bwMode="auto">
              <a:xfrm>
                <a:off x="6759576" y="2055814"/>
                <a:ext cx="250825" cy="581025"/>
              </a:xfrm>
              <a:custGeom>
                <a:avLst/>
                <a:gdLst>
                  <a:gd name="T0" fmla="*/ 63 w 158"/>
                  <a:gd name="T1" fmla="*/ 9 h 366"/>
                  <a:gd name="T2" fmla="*/ 76 w 158"/>
                  <a:gd name="T3" fmla="*/ 18 h 366"/>
                  <a:gd name="T4" fmla="*/ 85 w 158"/>
                  <a:gd name="T5" fmla="*/ 45 h 366"/>
                  <a:gd name="T6" fmla="*/ 81 w 158"/>
                  <a:gd name="T7" fmla="*/ 59 h 366"/>
                  <a:gd name="T8" fmla="*/ 72 w 158"/>
                  <a:gd name="T9" fmla="*/ 68 h 366"/>
                  <a:gd name="T10" fmla="*/ 76 w 158"/>
                  <a:gd name="T11" fmla="*/ 86 h 366"/>
                  <a:gd name="T12" fmla="*/ 90 w 158"/>
                  <a:gd name="T13" fmla="*/ 86 h 366"/>
                  <a:gd name="T14" fmla="*/ 99 w 158"/>
                  <a:gd name="T15" fmla="*/ 95 h 366"/>
                  <a:gd name="T16" fmla="*/ 113 w 158"/>
                  <a:gd name="T17" fmla="*/ 108 h 366"/>
                  <a:gd name="T18" fmla="*/ 113 w 158"/>
                  <a:gd name="T19" fmla="*/ 122 h 366"/>
                  <a:gd name="T20" fmla="*/ 126 w 158"/>
                  <a:gd name="T21" fmla="*/ 131 h 366"/>
                  <a:gd name="T22" fmla="*/ 135 w 158"/>
                  <a:gd name="T23" fmla="*/ 135 h 366"/>
                  <a:gd name="T24" fmla="*/ 149 w 158"/>
                  <a:gd name="T25" fmla="*/ 135 h 366"/>
                  <a:gd name="T26" fmla="*/ 140 w 158"/>
                  <a:gd name="T27" fmla="*/ 149 h 366"/>
                  <a:gd name="T28" fmla="*/ 135 w 158"/>
                  <a:gd name="T29" fmla="*/ 163 h 366"/>
                  <a:gd name="T30" fmla="*/ 126 w 158"/>
                  <a:gd name="T31" fmla="*/ 163 h 366"/>
                  <a:gd name="T32" fmla="*/ 117 w 158"/>
                  <a:gd name="T33" fmla="*/ 167 h 366"/>
                  <a:gd name="T34" fmla="*/ 108 w 158"/>
                  <a:gd name="T35" fmla="*/ 176 h 366"/>
                  <a:gd name="T36" fmla="*/ 104 w 158"/>
                  <a:gd name="T37" fmla="*/ 194 h 366"/>
                  <a:gd name="T38" fmla="*/ 99 w 158"/>
                  <a:gd name="T39" fmla="*/ 203 h 366"/>
                  <a:gd name="T40" fmla="*/ 113 w 158"/>
                  <a:gd name="T41" fmla="*/ 217 h 366"/>
                  <a:gd name="T42" fmla="*/ 126 w 158"/>
                  <a:gd name="T43" fmla="*/ 239 h 366"/>
                  <a:gd name="T44" fmla="*/ 131 w 158"/>
                  <a:gd name="T45" fmla="*/ 258 h 366"/>
                  <a:gd name="T46" fmla="*/ 126 w 158"/>
                  <a:gd name="T47" fmla="*/ 271 h 366"/>
                  <a:gd name="T48" fmla="*/ 144 w 158"/>
                  <a:gd name="T49" fmla="*/ 303 h 366"/>
                  <a:gd name="T50" fmla="*/ 153 w 158"/>
                  <a:gd name="T51" fmla="*/ 316 h 366"/>
                  <a:gd name="T52" fmla="*/ 153 w 158"/>
                  <a:gd name="T53" fmla="*/ 343 h 366"/>
                  <a:gd name="T54" fmla="*/ 144 w 158"/>
                  <a:gd name="T55" fmla="*/ 362 h 366"/>
                  <a:gd name="T56" fmla="*/ 144 w 158"/>
                  <a:gd name="T57" fmla="*/ 339 h 366"/>
                  <a:gd name="T58" fmla="*/ 140 w 158"/>
                  <a:gd name="T59" fmla="*/ 330 h 366"/>
                  <a:gd name="T60" fmla="*/ 140 w 158"/>
                  <a:gd name="T61" fmla="*/ 316 h 366"/>
                  <a:gd name="T62" fmla="*/ 126 w 158"/>
                  <a:gd name="T63" fmla="*/ 289 h 366"/>
                  <a:gd name="T64" fmla="*/ 122 w 158"/>
                  <a:gd name="T65" fmla="*/ 276 h 366"/>
                  <a:gd name="T66" fmla="*/ 108 w 158"/>
                  <a:gd name="T67" fmla="*/ 239 h 366"/>
                  <a:gd name="T68" fmla="*/ 99 w 158"/>
                  <a:gd name="T69" fmla="*/ 226 h 366"/>
                  <a:gd name="T70" fmla="*/ 94 w 158"/>
                  <a:gd name="T71" fmla="*/ 235 h 366"/>
                  <a:gd name="T72" fmla="*/ 85 w 158"/>
                  <a:gd name="T73" fmla="*/ 235 h 366"/>
                  <a:gd name="T74" fmla="*/ 76 w 158"/>
                  <a:gd name="T75" fmla="*/ 253 h 366"/>
                  <a:gd name="T76" fmla="*/ 67 w 158"/>
                  <a:gd name="T77" fmla="*/ 253 h 366"/>
                  <a:gd name="T78" fmla="*/ 58 w 158"/>
                  <a:gd name="T79" fmla="*/ 248 h 366"/>
                  <a:gd name="T80" fmla="*/ 54 w 158"/>
                  <a:gd name="T81" fmla="*/ 248 h 366"/>
                  <a:gd name="T82" fmla="*/ 54 w 158"/>
                  <a:gd name="T83" fmla="*/ 221 h 366"/>
                  <a:gd name="T84" fmla="*/ 40 w 158"/>
                  <a:gd name="T85" fmla="*/ 185 h 366"/>
                  <a:gd name="T86" fmla="*/ 27 w 158"/>
                  <a:gd name="T87" fmla="*/ 181 h 366"/>
                  <a:gd name="T88" fmla="*/ 31 w 158"/>
                  <a:gd name="T89" fmla="*/ 176 h 366"/>
                  <a:gd name="T90" fmla="*/ 22 w 158"/>
                  <a:gd name="T91" fmla="*/ 167 h 366"/>
                  <a:gd name="T92" fmla="*/ 18 w 158"/>
                  <a:gd name="T93" fmla="*/ 163 h 366"/>
                  <a:gd name="T94" fmla="*/ 9 w 158"/>
                  <a:gd name="T95" fmla="*/ 158 h 366"/>
                  <a:gd name="T96" fmla="*/ 0 w 158"/>
                  <a:gd name="T97" fmla="*/ 149 h 366"/>
                  <a:gd name="T98" fmla="*/ 4 w 158"/>
                  <a:gd name="T99" fmla="*/ 145 h 366"/>
                  <a:gd name="T100" fmla="*/ 4 w 158"/>
                  <a:gd name="T101" fmla="*/ 131 h 366"/>
                  <a:gd name="T102" fmla="*/ 9 w 158"/>
                  <a:gd name="T103" fmla="*/ 122 h 366"/>
                  <a:gd name="T104" fmla="*/ 9 w 158"/>
                  <a:gd name="T105" fmla="*/ 108 h 366"/>
                  <a:gd name="T106" fmla="*/ 9 w 158"/>
                  <a:gd name="T107" fmla="*/ 90 h 366"/>
                  <a:gd name="T108" fmla="*/ 22 w 158"/>
                  <a:gd name="T109" fmla="*/ 81 h 366"/>
                  <a:gd name="T110" fmla="*/ 22 w 158"/>
                  <a:gd name="T111" fmla="*/ 68 h 366"/>
                  <a:gd name="T112" fmla="*/ 27 w 158"/>
                  <a:gd name="T113" fmla="*/ 50 h 366"/>
                  <a:gd name="T114" fmla="*/ 31 w 158"/>
                  <a:gd name="T115" fmla="*/ 31 h 366"/>
                  <a:gd name="T116" fmla="*/ 49 w 158"/>
                  <a:gd name="T117" fmla="*/ 31 h 366"/>
                  <a:gd name="T118" fmla="*/ 49 w 158"/>
                  <a:gd name="T119" fmla="*/ 13 h 366"/>
                  <a:gd name="T120" fmla="*/ 49 w 158"/>
                  <a:gd name="T121" fmla="*/ 0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8" h="366">
                    <a:moveTo>
                      <a:pt x="54" y="4"/>
                    </a:move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13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22"/>
                    </a:lnTo>
                    <a:lnTo>
                      <a:pt x="76" y="27"/>
                    </a:lnTo>
                    <a:lnTo>
                      <a:pt x="76" y="27"/>
                    </a:lnTo>
                    <a:lnTo>
                      <a:pt x="81" y="31"/>
                    </a:lnTo>
                    <a:lnTo>
                      <a:pt x="81" y="31"/>
                    </a:lnTo>
                    <a:lnTo>
                      <a:pt x="81" y="36"/>
                    </a:lnTo>
                    <a:lnTo>
                      <a:pt x="81" y="36"/>
                    </a:lnTo>
                    <a:lnTo>
                      <a:pt x="81" y="41"/>
                    </a:lnTo>
                    <a:lnTo>
                      <a:pt x="81" y="41"/>
                    </a:lnTo>
                    <a:lnTo>
                      <a:pt x="81" y="45"/>
                    </a:lnTo>
                    <a:lnTo>
                      <a:pt x="85" y="45"/>
                    </a:lnTo>
                    <a:lnTo>
                      <a:pt x="85" y="45"/>
                    </a:lnTo>
                    <a:lnTo>
                      <a:pt x="81" y="50"/>
                    </a:lnTo>
                    <a:lnTo>
                      <a:pt x="81" y="50"/>
                    </a:lnTo>
                    <a:lnTo>
                      <a:pt x="81" y="50"/>
                    </a:lnTo>
                    <a:lnTo>
                      <a:pt x="85" y="50"/>
                    </a:lnTo>
                    <a:lnTo>
                      <a:pt x="85" y="54"/>
                    </a:lnTo>
                    <a:lnTo>
                      <a:pt x="85" y="54"/>
                    </a:lnTo>
                    <a:lnTo>
                      <a:pt x="85" y="54"/>
                    </a:lnTo>
                    <a:lnTo>
                      <a:pt x="81" y="54"/>
                    </a:lnTo>
                    <a:lnTo>
                      <a:pt x="81" y="59"/>
                    </a:lnTo>
                    <a:lnTo>
                      <a:pt x="81" y="59"/>
                    </a:lnTo>
                    <a:lnTo>
                      <a:pt x="81" y="59"/>
                    </a:lnTo>
                    <a:lnTo>
                      <a:pt x="76" y="59"/>
                    </a:lnTo>
                    <a:lnTo>
                      <a:pt x="76" y="59"/>
                    </a:lnTo>
                    <a:lnTo>
                      <a:pt x="76" y="63"/>
                    </a:lnTo>
                    <a:lnTo>
                      <a:pt x="76" y="63"/>
                    </a:lnTo>
                    <a:lnTo>
                      <a:pt x="76" y="63"/>
                    </a:lnTo>
                    <a:lnTo>
                      <a:pt x="76" y="63"/>
                    </a:lnTo>
                    <a:lnTo>
                      <a:pt x="76" y="63"/>
                    </a:lnTo>
                    <a:lnTo>
                      <a:pt x="72" y="63"/>
                    </a:lnTo>
                    <a:lnTo>
                      <a:pt x="72" y="68"/>
                    </a:lnTo>
                    <a:lnTo>
                      <a:pt x="72" y="68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72"/>
                    </a:lnTo>
                    <a:lnTo>
                      <a:pt x="72" y="72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2" y="81"/>
                    </a:lnTo>
                    <a:lnTo>
                      <a:pt x="72" y="81"/>
                    </a:lnTo>
                    <a:lnTo>
                      <a:pt x="76" y="81"/>
                    </a:lnTo>
                    <a:lnTo>
                      <a:pt x="76" y="81"/>
                    </a:lnTo>
                    <a:lnTo>
                      <a:pt x="76" y="86"/>
                    </a:lnTo>
                    <a:lnTo>
                      <a:pt x="76" y="86"/>
                    </a:lnTo>
                    <a:lnTo>
                      <a:pt x="76" y="86"/>
                    </a:lnTo>
                    <a:lnTo>
                      <a:pt x="76" y="90"/>
                    </a:lnTo>
                    <a:lnTo>
                      <a:pt x="76" y="90"/>
                    </a:lnTo>
                    <a:lnTo>
                      <a:pt x="76" y="90"/>
                    </a:lnTo>
                    <a:lnTo>
                      <a:pt x="81" y="90"/>
                    </a:lnTo>
                    <a:lnTo>
                      <a:pt x="81" y="90"/>
                    </a:lnTo>
                    <a:lnTo>
                      <a:pt x="81" y="90"/>
                    </a:lnTo>
                    <a:lnTo>
                      <a:pt x="85" y="90"/>
                    </a:lnTo>
                    <a:lnTo>
                      <a:pt x="85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9" y="86"/>
                    </a:lnTo>
                    <a:lnTo>
                      <a:pt x="99" y="86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9" y="95"/>
                    </a:lnTo>
                    <a:lnTo>
                      <a:pt x="99" y="95"/>
                    </a:lnTo>
                    <a:lnTo>
                      <a:pt x="99" y="95"/>
                    </a:lnTo>
                    <a:lnTo>
                      <a:pt x="99" y="99"/>
                    </a:lnTo>
                    <a:lnTo>
                      <a:pt x="99" y="99"/>
                    </a:lnTo>
                    <a:lnTo>
                      <a:pt x="99" y="99"/>
                    </a:lnTo>
                    <a:lnTo>
                      <a:pt x="104" y="99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8" y="108"/>
                    </a:lnTo>
                    <a:lnTo>
                      <a:pt x="113" y="108"/>
                    </a:lnTo>
                    <a:lnTo>
                      <a:pt x="113" y="108"/>
                    </a:lnTo>
                    <a:lnTo>
                      <a:pt x="113" y="108"/>
                    </a:lnTo>
                    <a:lnTo>
                      <a:pt x="113" y="108"/>
                    </a:lnTo>
                    <a:lnTo>
                      <a:pt x="113" y="108"/>
                    </a:lnTo>
                    <a:lnTo>
                      <a:pt x="113" y="108"/>
                    </a:lnTo>
                    <a:lnTo>
                      <a:pt x="113" y="113"/>
                    </a:lnTo>
                    <a:lnTo>
                      <a:pt x="113" y="113"/>
                    </a:lnTo>
                    <a:lnTo>
                      <a:pt x="113" y="117"/>
                    </a:lnTo>
                    <a:lnTo>
                      <a:pt x="113" y="117"/>
                    </a:lnTo>
                    <a:lnTo>
                      <a:pt x="113" y="122"/>
                    </a:lnTo>
                    <a:lnTo>
                      <a:pt x="113" y="122"/>
                    </a:lnTo>
                    <a:lnTo>
                      <a:pt x="113" y="126"/>
                    </a:lnTo>
                    <a:lnTo>
                      <a:pt x="113" y="126"/>
                    </a:lnTo>
                    <a:lnTo>
                      <a:pt x="113" y="126"/>
                    </a:lnTo>
                    <a:lnTo>
                      <a:pt x="113" y="126"/>
                    </a:lnTo>
                    <a:lnTo>
                      <a:pt x="113" y="126"/>
                    </a:lnTo>
                    <a:lnTo>
                      <a:pt x="117" y="126"/>
                    </a:lnTo>
                    <a:lnTo>
                      <a:pt x="122" y="126"/>
                    </a:lnTo>
                    <a:lnTo>
                      <a:pt x="122" y="126"/>
                    </a:lnTo>
                    <a:lnTo>
                      <a:pt x="126" y="126"/>
                    </a:lnTo>
                    <a:lnTo>
                      <a:pt x="126" y="126"/>
                    </a:lnTo>
                    <a:lnTo>
                      <a:pt x="126" y="131"/>
                    </a:lnTo>
                    <a:lnTo>
                      <a:pt x="126" y="131"/>
                    </a:lnTo>
                    <a:lnTo>
                      <a:pt x="126" y="131"/>
                    </a:lnTo>
                    <a:lnTo>
                      <a:pt x="126" y="135"/>
                    </a:lnTo>
                    <a:lnTo>
                      <a:pt x="131" y="135"/>
                    </a:lnTo>
                    <a:lnTo>
                      <a:pt x="131" y="135"/>
                    </a:lnTo>
                    <a:lnTo>
                      <a:pt x="131" y="135"/>
                    </a:lnTo>
                    <a:lnTo>
                      <a:pt x="131" y="135"/>
                    </a:lnTo>
                    <a:lnTo>
                      <a:pt x="131" y="135"/>
                    </a:lnTo>
                    <a:lnTo>
                      <a:pt x="131" y="140"/>
                    </a:lnTo>
                    <a:lnTo>
                      <a:pt x="135" y="140"/>
                    </a:lnTo>
                    <a:lnTo>
                      <a:pt x="135" y="135"/>
                    </a:lnTo>
                    <a:lnTo>
                      <a:pt x="135" y="135"/>
                    </a:lnTo>
                    <a:lnTo>
                      <a:pt x="140" y="140"/>
                    </a:lnTo>
                    <a:lnTo>
                      <a:pt x="140" y="140"/>
                    </a:lnTo>
                    <a:lnTo>
                      <a:pt x="140" y="135"/>
                    </a:lnTo>
                    <a:lnTo>
                      <a:pt x="144" y="135"/>
                    </a:lnTo>
                    <a:lnTo>
                      <a:pt x="144" y="131"/>
                    </a:lnTo>
                    <a:lnTo>
                      <a:pt x="144" y="131"/>
                    </a:lnTo>
                    <a:lnTo>
                      <a:pt x="149" y="131"/>
                    </a:lnTo>
                    <a:lnTo>
                      <a:pt x="149" y="131"/>
                    </a:lnTo>
                    <a:lnTo>
                      <a:pt x="149" y="131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4" y="140"/>
                    </a:lnTo>
                    <a:lnTo>
                      <a:pt x="144" y="140"/>
                    </a:lnTo>
                    <a:lnTo>
                      <a:pt x="144" y="140"/>
                    </a:lnTo>
                    <a:lnTo>
                      <a:pt x="144" y="140"/>
                    </a:lnTo>
                    <a:lnTo>
                      <a:pt x="144" y="145"/>
                    </a:lnTo>
                    <a:lnTo>
                      <a:pt x="140" y="145"/>
                    </a:lnTo>
                    <a:lnTo>
                      <a:pt x="140" y="145"/>
                    </a:lnTo>
                    <a:lnTo>
                      <a:pt x="140" y="149"/>
                    </a:lnTo>
                    <a:lnTo>
                      <a:pt x="140" y="149"/>
                    </a:lnTo>
                    <a:lnTo>
                      <a:pt x="140" y="149"/>
                    </a:lnTo>
                    <a:lnTo>
                      <a:pt x="144" y="149"/>
                    </a:lnTo>
                    <a:lnTo>
                      <a:pt x="144" y="149"/>
                    </a:lnTo>
                    <a:lnTo>
                      <a:pt x="140" y="149"/>
                    </a:lnTo>
                    <a:lnTo>
                      <a:pt x="140" y="149"/>
                    </a:lnTo>
                    <a:lnTo>
                      <a:pt x="140" y="149"/>
                    </a:lnTo>
                    <a:lnTo>
                      <a:pt x="140" y="154"/>
                    </a:lnTo>
                    <a:lnTo>
                      <a:pt x="135" y="154"/>
                    </a:lnTo>
                    <a:lnTo>
                      <a:pt x="135" y="154"/>
                    </a:lnTo>
                    <a:lnTo>
                      <a:pt x="135" y="158"/>
                    </a:lnTo>
                    <a:lnTo>
                      <a:pt x="135" y="163"/>
                    </a:lnTo>
                    <a:lnTo>
                      <a:pt x="135" y="158"/>
                    </a:lnTo>
                    <a:lnTo>
                      <a:pt x="135" y="158"/>
                    </a:lnTo>
                    <a:lnTo>
                      <a:pt x="131" y="158"/>
                    </a:lnTo>
                    <a:lnTo>
                      <a:pt x="131" y="158"/>
                    </a:lnTo>
                    <a:lnTo>
                      <a:pt x="131" y="163"/>
                    </a:lnTo>
                    <a:lnTo>
                      <a:pt x="131" y="163"/>
                    </a:lnTo>
                    <a:lnTo>
                      <a:pt x="131" y="163"/>
                    </a:lnTo>
                    <a:lnTo>
                      <a:pt x="126" y="163"/>
                    </a:lnTo>
                    <a:lnTo>
                      <a:pt x="126" y="158"/>
                    </a:lnTo>
                    <a:lnTo>
                      <a:pt x="126" y="163"/>
                    </a:lnTo>
                    <a:lnTo>
                      <a:pt x="126" y="163"/>
                    </a:lnTo>
                    <a:lnTo>
                      <a:pt x="126" y="163"/>
                    </a:lnTo>
                    <a:lnTo>
                      <a:pt x="126" y="163"/>
                    </a:lnTo>
                    <a:lnTo>
                      <a:pt x="126" y="167"/>
                    </a:lnTo>
                    <a:lnTo>
                      <a:pt x="126" y="167"/>
                    </a:lnTo>
                    <a:lnTo>
                      <a:pt x="126" y="167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17" y="167"/>
                    </a:lnTo>
                    <a:lnTo>
                      <a:pt x="122" y="172"/>
                    </a:lnTo>
                    <a:lnTo>
                      <a:pt x="117" y="172"/>
                    </a:lnTo>
                    <a:lnTo>
                      <a:pt x="117" y="172"/>
                    </a:lnTo>
                    <a:lnTo>
                      <a:pt x="117" y="172"/>
                    </a:lnTo>
                    <a:lnTo>
                      <a:pt x="117" y="172"/>
                    </a:lnTo>
                    <a:lnTo>
                      <a:pt x="117" y="172"/>
                    </a:lnTo>
                    <a:lnTo>
                      <a:pt x="113" y="172"/>
                    </a:lnTo>
                    <a:lnTo>
                      <a:pt x="113" y="176"/>
                    </a:lnTo>
                    <a:lnTo>
                      <a:pt x="108" y="176"/>
                    </a:lnTo>
                    <a:lnTo>
                      <a:pt x="108" y="176"/>
                    </a:lnTo>
                    <a:lnTo>
                      <a:pt x="108" y="176"/>
                    </a:lnTo>
                    <a:lnTo>
                      <a:pt x="104" y="172"/>
                    </a:lnTo>
                    <a:lnTo>
                      <a:pt x="104" y="172"/>
                    </a:lnTo>
                    <a:lnTo>
                      <a:pt x="104" y="172"/>
                    </a:lnTo>
                    <a:lnTo>
                      <a:pt x="104" y="176"/>
                    </a:lnTo>
                    <a:lnTo>
                      <a:pt x="104" y="176"/>
                    </a:lnTo>
                    <a:lnTo>
                      <a:pt x="99" y="181"/>
                    </a:lnTo>
                    <a:lnTo>
                      <a:pt x="104" y="181"/>
                    </a:lnTo>
                    <a:lnTo>
                      <a:pt x="104" y="185"/>
                    </a:lnTo>
                    <a:lnTo>
                      <a:pt x="104" y="190"/>
                    </a:ln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4"/>
                    </a:lnTo>
                    <a:lnTo>
                      <a:pt x="104" y="194"/>
                    </a:lnTo>
                    <a:lnTo>
                      <a:pt x="104" y="199"/>
                    </a:lnTo>
                    <a:lnTo>
                      <a:pt x="99" y="199"/>
                    </a:lnTo>
                    <a:lnTo>
                      <a:pt x="99" y="199"/>
                    </a:lnTo>
                    <a:lnTo>
                      <a:pt x="99" y="199"/>
                    </a:lnTo>
                    <a:lnTo>
                      <a:pt x="99" y="199"/>
                    </a:lnTo>
                    <a:lnTo>
                      <a:pt x="99" y="199"/>
                    </a:lnTo>
                    <a:lnTo>
                      <a:pt x="99" y="199"/>
                    </a:lnTo>
                    <a:lnTo>
                      <a:pt x="99" y="199"/>
                    </a:lnTo>
                    <a:lnTo>
                      <a:pt x="99" y="203"/>
                    </a:lnTo>
                    <a:lnTo>
                      <a:pt x="104" y="203"/>
                    </a:lnTo>
                    <a:lnTo>
                      <a:pt x="104" y="203"/>
                    </a:lnTo>
                    <a:lnTo>
                      <a:pt x="104" y="203"/>
                    </a:lnTo>
                    <a:lnTo>
                      <a:pt x="104" y="203"/>
                    </a:lnTo>
                    <a:lnTo>
                      <a:pt x="104" y="208"/>
                    </a:lnTo>
                    <a:lnTo>
                      <a:pt x="108" y="208"/>
                    </a:lnTo>
                    <a:lnTo>
                      <a:pt x="104" y="212"/>
                    </a:lnTo>
                    <a:lnTo>
                      <a:pt x="108" y="212"/>
                    </a:lnTo>
                    <a:lnTo>
                      <a:pt x="108" y="212"/>
                    </a:lnTo>
                    <a:lnTo>
                      <a:pt x="108" y="212"/>
                    </a:lnTo>
                    <a:lnTo>
                      <a:pt x="113" y="217"/>
                    </a:lnTo>
                    <a:lnTo>
                      <a:pt x="113" y="221"/>
                    </a:lnTo>
                    <a:lnTo>
                      <a:pt x="117" y="221"/>
                    </a:lnTo>
                    <a:lnTo>
                      <a:pt x="117" y="226"/>
                    </a:lnTo>
                    <a:lnTo>
                      <a:pt x="122" y="226"/>
                    </a:lnTo>
                    <a:lnTo>
                      <a:pt x="122" y="230"/>
                    </a:lnTo>
                    <a:lnTo>
                      <a:pt x="122" y="230"/>
                    </a:lnTo>
                    <a:lnTo>
                      <a:pt x="126" y="235"/>
                    </a:lnTo>
                    <a:lnTo>
                      <a:pt x="126" y="235"/>
                    </a:lnTo>
                    <a:lnTo>
                      <a:pt x="126" y="235"/>
                    </a:lnTo>
                    <a:lnTo>
                      <a:pt x="126" y="239"/>
                    </a:lnTo>
                    <a:lnTo>
                      <a:pt x="126" y="239"/>
                    </a:lnTo>
                    <a:lnTo>
                      <a:pt x="131" y="239"/>
                    </a:lnTo>
                    <a:lnTo>
                      <a:pt x="131" y="239"/>
                    </a:lnTo>
                    <a:lnTo>
                      <a:pt x="131" y="239"/>
                    </a:lnTo>
                    <a:lnTo>
                      <a:pt x="131" y="239"/>
                    </a:lnTo>
                    <a:lnTo>
                      <a:pt x="131" y="244"/>
                    </a:lnTo>
                    <a:lnTo>
                      <a:pt x="131" y="244"/>
                    </a:lnTo>
                    <a:lnTo>
                      <a:pt x="126" y="244"/>
                    </a:lnTo>
                    <a:lnTo>
                      <a:pt x="126" y="248"/>
                    </a:lnTo>
                    <a:lnTo>
                      <a:pt x="126" y="253"/>
                    </a:lnTo>
                    <a:lnTo>
                      <a:pt x="126" y="258"/>
                    </a:lnTo>
                    <a:lnTo>
                      <a:pt x="131" y="258"/>
                    </a:lnTo>
                    <a:lnTo>
                      <a:pt x="131" y="258"/>
                    </a:lnTo>
                    <a:lnTo>
                      <a:pt x="131" y="258"/>
                    </a:lnTo>
                    <a:lnTo>
                      <a:pt x="126" y="258"/>
                    </a:lnTo>
                    <a:lnTo>
                      <a:pt x="126" y="262"/>
                    </a:lnTo>
                    <a:lnTo>
                      <a:pt x="126" y="262"/>
                    </a:lnTo>
                    <a:lnTo>
                      <a:pt x="122" y="262"/>
                    </a:lnTo>
                    <a:lnTo>
                      <a:pt x="122" y="262"/>
                    </a:lnTo>
                    <a:lnTo>
                      <a:pt x="122" y="262"/>
                    </a:lnTo>
                    <a:lnTo>
                      <a:pt x="126" y="267"/>
                    </a:lnTo>
                    <a:lnTo>
                      <a:pt x="126" y="271"/>
                    </a:lnTo>
                    <a:lnTo>
                      <a:pt x="126" y="271"/>
                    </a:lnTo>
                    <a:lnTo>
                      <a:pt x="131" y="276"/>
                    </a:lnTo>
                    <a:lnTo>
                      <a:pt x="131" y="276"/>
                    </a:lnTo>
                    <a:lnTo>
                      <a:pt x="131" y="280"/>
                    </a:lnTo>
                    <a:lnTo>
                      <a:pt x="135" y="280"/>
                    </a:lnTo>
                    <a:lnTo>
                      <a:pt x="140" y="285"/>
                    </a:lnTo>
                    <a:lnTo>
                      <a:pt x="140" y="289"/>
                    </a:lnTo>
                    <a:lnTo>
                      <a:pt x="144" y="289"/>
                    </a:lnTo>
                    <a:lnTo>
                      <a:pt x="144" y="294"/>
                    </a:lnTo>
                    <a:lnTo>
                      <a:pt x="144" y="294"/>
                    </a:lnTo>
                    <a:lnTo>
                      <a:pt x="144" y="294"/>
                    </a:lnTo>
                    <a:lnTo>
                      <a:pt x="144" y="303"/>
                    </a:lnTo>
                    <a:lnTo>
                      <a:pt x="144" y="303"/>
                    </a:lnTo>
                    <a:lnTo>
                      <a:pt x="144" y="303"/>
                    </a:lnTo>
                    <a:lnTo>
                      <a:pt x="144" y="307"/>
                    </a:lnTo>
                    <a:lnTo>
                      <a:pt x="149" y="307"/>
                    </a:lnTo>
                    <a:lnTo>
                      <a:pt x="149" y="307"/>
                    </a:lnTo>
                    <a:lnTo>
                      <a:pt x="149" y="312"/>
                    </a:lnTo>
                    <a:lnTo>
                      <a:pt x="149" y="312"/>
                    </a:lnTo>
                    <a:lnTo>
                      <a:pt x="153" y="312"/>
                    </a:lnTo>
                    <a:lnTo>
                      <a:pt x="153" y="316"/>
                    </a:lnTo>
                    <a:lnTo>
                      <a:pt x="153" y="316"/>
                    </a:lnTo>
                    <a:lnTo>
                      <a:pt x="153" y="316"/>
                    </a:lnTo>
                    <a:lnTo>
                      <a:pt x="153" y="321"/>
                    </a:lnTo>
                    <a:lnTo>
                      <a:pt x="153" y="321"/>
                    </a:lnTo>
                    <a:lnTo>
                      <a:pt x="153" y="325"/>
                    </a:lnTo>
                    <a:lnTo>
                      <a:pt x="158" y="330"/>
                    </a:lnTo>
                    <a:lnTo>
                      <a:pt x="158" y="330"/>
                    </a:lnTo>
                    <a:lnTo>
                      <a:pt x="158" y="330"/>
                    </a:lnTo>
                    <a:lnTo>
                      <a:pt x="158" y="334"/>
                    </a:lnTo>
                    <a:lnTo>
                      <a:pt x="153" y="334"/>
                    </a:lnTo>
                    <a:lnTo>
                      <a:pt x="153" y="334"/>
                    </a:lnTo>
                    <a:lnTo>
                      <a:pt x="153" y="339"/>
                    </a:lnTo>
                    <a:lnTo>
                      <a:pt x="153" y="343"/>
                    </a:lnTo>
                    <a:lnTo>
                      <a:pt x="149" y="348"/>
                    </a:lnTo>
                    <a:lnTo>
                      <a:pt x="149" y="348"/>
                    </a:lnTo>
                    <a:lnTo>
                      <a:pt x="144" y="352"/>
                    </a:lnTo>
                    <a:lnTo>
                      <a:pt x="144" y="352"/>
                    </a:lnTo>
                    <a:lnTo>
                      <a:pt x="144" y="352"/>
                    </a:lnTo>
                    <a:lnTo>
                      <a:pt x="144" y="352"/>
                    </a:lnTo>
                    <a:lnTo>
                      <a:pt x="144" y="357"/>
                    </a:lnTo>
                    <a:lnTo>
                      <a:pt x="144" y="357"/>
                    </a:lnTo>
                    <a:lnTo>
                      <a:pt x="144" y="362"/>
                    </a:lnTo>
                    <a:lnTo>
                      <a:pt x="144" y="362"/>
                    </a:lnTo>
                    <a:lnTo>
                      <a:pt x="144" y="362"/>
                    </a:lnTo>
                    <a:lnTo>
                      <a:pt x="144" y="366"/>
                    </a:lnTo>
                    <a:lnTo>
                      <a:pt x="144" y="362"/>
                    </a:lnTo>
                    <a:lnTo>
                      <a:pt x="140" y="362"/>
                    </a:lnTo>
                    <a:lnTo>
                      <a:pt x="140" y="357"/>
                    </a:lnTo>
                    <a:lnTo>
                      <a:pt x="140" y="352"/>
                    </a:lnTo>
                    <a:lnTo>
                      <a:pt x="140" y="352"/>
                    </a:lnTo>
                    <a:lnTo>
                      <a:pt x="140" y="352"/>
                    </a:lnTo>
                    <a:lnTo>
                      <a:pt x="140" y="348"/>
                    </a:lnTo>
                    <a:lnTo>
                      <a:pt x="144" y="343"/>
                    </a:lnTo>
                    <a:lnTo>
                      <a:pt x="144" y="343"/>
                    </a:lnTo>
                    <a:lnTo>
                      <a:pt x="144" y="339"/>
                    </a:lnTo>
                    <a:lnTo>
                      <a:pt x="144" y="339"/>
                    </a:lnTo>
                    <a:lnTo>
                      <a:pt x="144" y="339"/>
                    </a:lnTo>
                    <a:lnTo>
                      <a:pt x="144" y="334"/>
                    </a:lnTo>
                    <a:lnTo>
                      <a:pt x="144" y="334"/>
                    </a:lnTo>
                    <a:lnTo>
                      <a:pt x="144" y="334"/>
                    </a:lnTo>
                    <a:lnTo>
                      <a:pt x="144" y="330"/>
                    </a:lnTo>
                    <a:lnTo>
                      <a:pt x="144" y="330"/>
                    </a:lnTo>
                    <a:lnTo>
                      <a:pt x="144" y="330"/>
                    </a:lnTo>
                    <a:lnTo>
                      <a:pt x="140" y="330"/>
                    </a:lnTo>
                    <a:lnTo>
                      <a:pt x="140" y="330"/>
                    </a:lnTo>
                    <a:lnTo>
                      <a:pt x="140" y="330"/>
                    </a:lnTo>
                    <a:lnTo>
                      <a:pt x="140" y="330"/>
                    </a:lnTo>
                    <a:lnTo>
                      <a:pt x="140" y="325"/>
                    </a:lnTo>
                    <a:lnTo>
                      <a:pt x="140" y="325"/>
                    </a:lnTo>
                    <a:lnTo>
                      <a:pt x="140" y="325"/>
                    </a:lnTo>
                    <a:lnTo>
                      <a:pt x="140" y="321"/>
                    </a:lnTo>
                    <a:lnTo>
                      <a:pt x="140" y="321"/>
                    </a:lnTo>
                    <a:lnTo>
                      <a:pt x="140" y="321"/>
                    </a:lnTo>
                    <a:lnTo>
                      <a:pt x="140" y="321"/>
                    </a:lnTo>
                    <a:lnTo>
                      <a:pt x="140" y="321"/>
                    </a:lnTo>
                    <a:lnTo>
                      <a:pt x="140" y="321"/>
                    </a:lnTo>
                    <a:lnTo>
                      <a:pt x="140" y="316"/>
                    </a:lnTo>
                    <a:lnTo>
                      <a:pt x="140" y="316"/>
                    </a:lnTo>
                    <a:lnTo>
                      <a:pt x="140" y="312"/>
                    </a:lnTo>
                    <a:lnTo>
                      <a:pt x="140" y="312"/>
                    </a:lnTo>
                    <a:lnTo>
                      <a:pt x="140" y="307"/>
                    </a:lnTo>
                    <a:lnTo>
                      <a:pt x="135" y="307"/>
                    </a:lnTo>
                    <a:lnTo>
                      <a:pt x="135" y="303"/>
                    </a:lnTo>
                    <a:lnTo>
                      <a:pt x="135" y="298"/>
                    </a:lnTo>
                    <a:lnTo>
                      <a:pt x="131" y="298"/>
                    </a:lnTo>
                    <a:lnTo>
                      <a:pt x="131" y="294"/>
                    </a:lnTo>
                    <a:lnTo>
                      <a:pt x="126" y="289"/>
                    </a:lnTo>
                    <a:lnTo>
                      <a:pt x="126" y="289"/>
                    </a:lnTo>
                    <a:lnTo>
                      <a:pt x="126" y="285"/>
                    </a:lnTo>
                    <a:lnTo>
                      <a:pt x="126" y="294"/>
                    </a:lnTo>
                    <a:lnTo>
                      <a:pt x="126" y="294"/>
                    </a:lnTo>
                    <a:lnTo>
                      <a:pt x="126" y="289"/>
                    </a:lnTo>
                    <a:lnTo>
                      <a:pt x="126" y="285"/>
                    </a:lnTo>
                    <a:lnTo>
                      <a:pt x="126" y="285"/>
                    </a:lnTo>
                    <a:lnTo>
                      <a:pt x="122" y="280"/>
                    </a:lnTo>
                    <a:lnTo>
                      <a:pt x="122" y="276"/>
                    </a:lnTo>
                    <a:lnTo>
                      <a:pt x="122" y="276"/>
                    </a:lnTo>
                    <a:lnTo>
                      <a:pt x="122" y="271"/>
                    </a:lnTo>
                    <a:lnTo>
                      <a:pt x="122" y="276"/>
                    </a:lnTo>
                    <a:lnTo>
                      <a:pt x="122" y="271"/>
                    </a:lnTo>
                    <a:lnTo>
                      <a:pt x="117" y="271"/>
                    </a:lnTo>
                    <a:lnTo>
                      <a:pt x="117" y="271"/>
                    </a:lnTo>
                    <a:lnTo>
                      <a:pt x="117" y="262"/>
                    </a:lnTo>
                    <a:lnTo>
                      <a:pt x="117" y="262"/>
                    </a:lnTo>
                    <a:lnTo>
                      <a:pt x="117" y="258"/>
                    </a:lnTo>
                    <a:lnTo>
                      <a:pt x="113" y="248"/>
                    </a:lnTo>
                    <a:lnTo>
                      <a:pt x="108" y="248"/>
                    </a:lnTo>
                    <a:lnTo>
                      <a:pt x="108" y="244"/>
                    </a:lnTo>
                    <a:lnTo>
                      <a:pt x="108" y="244"/>
                    </a:lnTo>
                    <a:lnTo>
                      <a:pt x="108" y="239"/>
                    </a:lnTo>
                    <a:lnTo>
                      <a:pt x="108" y="235"/>
                    </a:lnTo>
                    <a:lnTo>
                      <a:pt x="113" y="235"/>
                    </a:lnTo>
                    <a:lnTo>
                      <a:pt x="108" y="235"/>
                    </a:lnTo>
                    <a:lnTo>
                      <a:pt x="108" y="235"/>
                    </a:lnTo>
                    <a:lnTo>
                      <a:pt x="108" y="235"/>
                    </a:lnTo>
                    <a:lnTo>
                      <a:pt x="104" y="235"/>
                    </a:lnTo>
                    <a:lnTo>
                      <a:pt x="104" y="235"/>
                    </a:lnTo>
                    <a:lnTo>
                      <a:pt x="104" y="230"/>
                    </a:lnTo>
                    <a:lnTo>
                      <a:pt x="99" y="230"/>
                    </a:lnTo>
                    <a:lnTo>
                      <a:pt x="99" y="226"/>
                    </a:lnTo>
                    <a:lnTo>
                      <a:pt x="99" y="226"/>
                    </a:lnTo>
                    <a:lnTo>
                      <a:pt x="99" y="226"/>
                    </a:lnTo>
                    <a:lnTo>
                      <a:pt x="99" y="221"/>
                    </a:lnTo>
                    <a:lnTo>
                      <a:pt x="94" y="221"/>
                    </a:lnTo>
                    <a:lnTo>
                      <a:pt x="94" y="221"/>
                    </a:lnTo>
                    <a:lnTo>
                      <a:pt x="94" y="221"/>
                    </a:lnTo>
                    <a:lnTo>
                      <a:pt x="94" y="221"/>
                    </a:lnTo>
                    <a:lnTo>
                      <a:pt x="94" y="226"/>
                    </a:lnTo>
                    <a:lnTo>
                      <a:pt x="94" y="226"/>
                    </a:lnTo>
                    <a:lnTo>
                      <a:pt x="94" y="230"/>
                    </a:lnTo>
                    <a:lnTo>
                      <a:pt x="94" y="230"/>
                    </a:lnTo>
                    <a:lnTo>
                      <a:pt x="94" y="235"/>
                    </a:lnTo>
                    <a:lnTo>
                      <a:pt x="90" y="235"/>
                    </a:lnTo>
                    <a:lnTo>
                      <a:pt x="90" y="239"/>
                    </a:lnTo>
                    <a:lnTo>
                      <a:pt x="90" y="239"/>
                    </a:lnTo>
                    <a:lnTo>
                      <a:pt x="85" y="239"/>
                    </a:lnTo>
                    <a:lnTo>
                      <a:pt x="85" y="235"/>
                    </a:lnTo>
                    <a:lnTo>
                      <a:pt x="85" y="235"/>
                    </a:lnTo>
                    <a:lnTo>
                      <a:pt x="85" y="230"/>
                    </a:lnTo>
                    <a:lnTo>
                      <a:pt x="85" y="230"/>
                    </a:lnTo>
                    <a:lnTo>
                      <a:pt x="85" y="230"/>
                    </a:lnTo>
                    <a:lnTo>
                      <a:pt x="85" y="235"/>
                    </a:lnTo>
                    <a:lnTo>
                      <a:pt x="85" y="235"/>
                    </a:lnTo>
                    <a:lnTo>
                      <a:pt x="85" y="239"/>
                    </a:lnTo>
                    <a:lnTo>
                      <a:pt x="85" y="239"/>
                    </a:lnTo>
                    <a:lnTo>
                      <a:pt x="85" y="239"/>
                    </a:lnTo>
                    <a:lnTo>
                      <a:pt x="81" y="239"/>
                    </a:lnTo>
                    <a:lnTo>
                      <a:pt x="81" y="239"/>
                    </a:lnTo>
                    <a:lnTo>
                      <a:pt x="81" y="244"/>
                    </a:lnTo>
                    <a:lnTo>
                      <a:pt x="81" y="244"/>
                    </a:lnTo>
                    <a:lnTo>
                      <a:pt x="76" y="244"/>
                    </a:lnTo>
                    <a:lnTo>
                      <a:pt x="76" y="248"/>
                    </a:lnTo>
                    <a:lnTo>
                      <a:pt x="76" y="248"/>
                    </a:lnTo>
                    <a:lnTo>
                      <a:pt x="76" y="253"/>
                    </a:lnTo>
                    <a:lnTo>
                      <a:pt x="72" y="253"/>
                    </a:lnTo>
                    <a:lnTo>
                      <a:pt x="72" y="253"/>
                    </a:lnTo>
                    <a:lnTo>
                      <a:pt x="72" y="253"/>
                    </a:lnTo>
                    <a:lnTo>
                      <a:pt x="72" y="248"/>
                    </a:lnTo>
                    <a:lnTo>
                      <a:pt x="72" y="248"/>
                    </a:lnTo>
                    <a:lnTo>
                      <a:pt x="72" y="244"/>
                    </a:lnTo>
                    <a:lnTo>
                      <a:pt x="72" y="248"/>
                    </a:lnTo>
                    <a:lnTo>
                      <a:pt x="72" y="248"/>
                    </a:lnTo>
                    <a:lnTo>
                      <a:pt x="67" y="253"/>
                    </a:lnTo>
                    <a:lnTo>
                      <a:pt x="67" y="253"/>
                    </a:lnTo>
                    <a:lnTo>
                      <a:pt x="67" y="253"/>
                    </a:lnTo>
                    <a:lnTo>
                      <a:pt x="63" y="248"/>
                    </a:lnTo>
                    <a:lnTo>
                      <a:pt x="63" y="248"/>
                    </a:lnTo>
                    <a:lnTo>
                      <a:pt x="63" y="248"/>
                    </a:lnTo>
                    <a:lnTo>
                      <a:pt x="63" y="244"/>
                    </a:lnTo>
                    <a:lnTo>
                      <a:pt x="63" y="244"/>
                    </a:lnTo>
                    <a:lnTo>
                      <a:pt x="63" y="244"/>
                    </a:lnTo>
                    <a:lnTo>
                      <a:pt x="63" y="248"/>
                    </a:lnTo>
                    <a:lnTo>
                      <a:pt x="63" y="248"/>
                    </a:lnTo>
                    <a:lnTo>
                      <a:pt x="58" y="248"/>
                    </a:lnTo>
                    <a:lnTo>
                      <a:pt x="58" y="248"/>
                    </a:lnTo>
                    <a:lnTo>
                      <a:pt x="58" y="248"/>
                    </a:lnTo>
                    <a:lnTo>
                      <a:pt x="58" y="244"/>
                    </a:lnTo>
                    <a:lnTo>
                      <a:pt x="58" y="244"/>
                    </a:lnTo>
                    <a:lnTo>
                      <a:pt x="58" y="239"/>
                    </a:lnTo>
                    <a:lnTo>
                      <a:pt x="58" y="239"/>
                    </a:lnTo>
                    <a:lnTo>
                      <a:pt x="58" y="239"/>
                    </a:lnTo>
                    <a:lnTo>
                      <a:pt x="58" y="239"/>
                    </a:lnTo>
                    <a:lnTo>
                      <a:pt x="58" y="239"/>
                    </a:lnTo>
                    <a:lnTo>
                      <a:pt x="58" y="244"/>
                    </a:lnTo>
                    <a:lnTo>
                      <a:pt x="58" y="244"/>
                    </a:lnTo>
                    <a:lnTo>
                      <a:pt x="58" y="244"/>
                    </a:lnTo>
                    <a:lnTo>
                      <a:pt x="54" y="248"/>
                    </a:lnTo>
                    <a:lnTo>
                      <a:pt x="54" y="248"/>
                    </a:lnTo>
                    <a:lnTo>
                      <a:pt x="54" y="248"/>
                    </a:lnTo>
                    <a:lnTo>
                      <a:pt x="54" y="244"/>
                    </a:lnTo>
                    <a:lnTo>
                      <a:pt x="54" y="239"/>
                    </a:lnTo>
                    <a:lnTo>
                      <a:pt x="54" y="235"/>
                    </a:lnTo>
                    <a:lnTo>
                      <a:pt x="54" y="235"/>
                    </a:lnTo>
                    <a:lnTo>
                      <a:pt x="54" y="230"/>
                    </a:lnTo>
                    <a:lnTo>
                      <a:pt x="54" y="230"/>
                    </a:lnTo>
                    <a:lnTo>
                      <a:pt x="54" y="226"/>
                    </a:lnTo>
                    <a:lnTo>
                      <a:pt x="54" y="226"/>
                    </a:lnTo>
                    <a:lnTo>
                      <a:pt x="54" y="221"/>
                    </a:lnTo>
                    <a:lnTo>
                      <a:pt x="54" y="217"/>
                    </a:lnTo>
                    <a:lnTo>
                      <a:pt x="54" y="217"/>
                    </a:lnTo>
                    <a:lnTo>
                      <a:pt x="49" y="212"/>
                    </a:lnTo>
                    <a:lnTo>
                      <a:pt x="49" y="203"/>
                    </a:lnTo>
                    <a:lnTo>
                      <a:pt x="45" y="199"/>
                    </a:lnTo>
                    <a:lnTo>
                      <a:pt x="45" y="199"/>
                    </a:lnTo>
                    <a:lnTo>
                      <a:pt x="40" y="194"/>
                    </a:lnTo>
                    <a:lnTo>
                      <a:pt x="45" y="194"/>
                    </a:lnTo>
                    <a:lnTo>
                      <a:pt x="40" y="194"/>
                    </a:lnTo>
                    <a:lnTo>
                      <a:pt x="40" y="190"/>
                    </a:lnTo>
                    <a:lnTo>
                      <a:pt x="40" y="185"/>
                    </a:lnTo>
                    <a:lnTo>
                      <a:pt x="36" y="185"/>
                    </a:lnTo>
                    <a:lnTo>
                      <a:pt x="36" y="185"/>
                    </a:lnTo>
                    <a:lnTo>
                      <a:pt x="36" y="185"/>
                    </a:lnTo>
                    <a:lnTo>
                      <a:pt x="36" y="185"/>
                    </a:lnTo>
                    <a:lnTo>
                      <a:pt x="36" y="190"/>
                    </a:lnTo>
                    <a:lnTo>
                      <a:pt x="36" y="190"/>
                    </a:lnTo>
                    <a:lnTo>
                      <a:pt x="36" y="190"/>
                    </a:lnTo>
                    <a:lnTo>
                      <a:pt x="36" y="190"/>
                    </a:lnTo>
                    <a:lnTo>
                      <a:pt x="31" y="190"/>
                    </a:lnTo>
                    <a:lnTo>
                      <a:pt x="31" y="185"/>
                    </a:lnTo>
                    <a:lnTo>
                      <a:pt x="27" y="181"/>
                    </a:lnTo>
                    <a:lnTo>
                      <a:pt x="27" y="181"/>
                    </a:lnTo>
                    <a:lnTo>
                      <a:pt x="31" y="181"/>
                    </a:lnTo>
                    <a:lnTo>
                      <a:pt x="31" y="185"/>
                    </a:lnTo>
                    <a:lnTo>
                      <a:pt x="36" y="185"/>
                    </a:lnTo>
                    <a:lnTo>
                      <a:pt x="36" y="185"/>
                    </a:lnTo>
                    <a:lnTo>
                      <a:pt x="36" y="185"/>
                    </a:lnTo>
                    <a:lnTo>
                      <a:pt x="36" y="181"/>
                    </a:lnTo>
                    <a:lnTo>
                      <a:pt x="36" y="181"/>
                    </a:lnTo>
                    <a:lnTo>
                      <a:pt x="36" y="181"/>
                    </a:lnTo>
                    <a:lnTo>
                      <a:pt x="31" y="181"/>
                    </a:lnTo>
                    <a:lnTo>
                      <a:pt x="31" y="176"/>
                    </a:lnTo>
                    <a:lnTo>
                      <a:pt x="31" y="176"/>
                    </a:lnTo>
                    <a:lnTo>
                      <a:pt x="31" y="176"/>
                    </a:lnTo>
                    <a:lnTo>
                      <a:pt x="31" y="176"/>
                    </a:lnTo>
                    <a:lnTo>
                      <a:pt x="27" y="176"/>
                    </a:lnTo>
                    <a:lnTo>
                      <a:pt x="31" y="172"/>
                    </a:lnTo>
                    <a:lnTo>
                      <a:pt x="31" y="172"/>
                    </a:lnTo>
                    <a:lnTo>
                      <a:pt x="27" y="172"/>
                    </a:lnTo>
                    <a:lnTo>
                      <a:pt x="27" y="172"/>
                    </a:lnTo>
                    <a:lnTo>
                      <a:pt x="22" y="172"/>
                    </a:lnTo>
                    <a:lnTo>
                      <a:pt x="22" y="167"/>
                    </a:lnTo>
                    <a:lnTo>
                      <a:pt x="22" y="167"/>
                    </a:lnTo>
                    <a:lnTo>
                      <a:pt x="18" y="172"/>
                    </a:lnTo>
                    <a:lnTo>
                      <a:pt x="22" y="172"/>
                    </a:lnTo>
                    <a:lnTo>
                      <a:pt x="22" y="172"/>
                    </a:lnTo>
                    <a:lnTo>
                      <a:pt x="22" y="172"/>
                    </a:lnTo>
                    <a:lnTo>
                      <a:pt x="18" y="167"/>
                    </a:lnTo>
                    <a:lnTo>
                      <a:pt x="18" y="167"/>
                    </a:lnTo>
                    <a:lnTo>
                      <a:pt x="18" y="167"/>
                    </a:lnTo>
                    <a:lnTo>
                      <a:pt x="18" y="167"/>
                    </a:lnTo>
                    <a:lnTo>
                      <a:pt x="18" y="167"/>
                    </a:lnTo>
                    <a:lnTo>
                      <a:pt x="18" y="163"/>
                    </a:lnTo>
                    <a:lnTo>
                      <a:pt x="18" y="163"/>
                    </a:lnTo>
                    <a:lnTo>
                      <a:pt x="18" y="163"/>
                    </a:lnTo>
                    <a:lnTo>
                      <a:pt x="18" y="163"/>
                    </a:lnTo>
                    <a:lnTo>
                      <a:pt x="13" y="167"/>
                    </a:lnTo>
                    <a:lnTo>
                      <a:pt x="13" y="167"/>
                    </a:lnTo>
                    <a:lnTo>
                      <a:pt x="13" y="167"/>
                    </a:lnTo>
                    <a:lnTo>
                      <a:pt x="13" y="167"/>
                    </a:lnTo>
                    <a:lnTo>
                      <a:pt x="13" y="163"/>
                    </a:lnTo>
                    <a:lnTo>
                      <a:pt x="13" y="163"/>
                    </a:lnTo>
                    <a:lnTo>
                      <a:pt x="13" y="163"/>
                    </a:lnTo>
                    <a:lnTo>
                      <a:pt x="13" y="163"/>
                    </a:lnTo>
                    <a:lnTo>
                      <a:pt x="9" y="158"/>
                    </a:lnTo>
                    <a:lnTo>
                      <a:pt x="9" y="158"/>
                    </a:lnTo>
                    <a:lnTo>
                      <a:pt x="13" y="163"/>
                    </a:lnTo>
                    <a:lnTo>
                      <a:pt x="13" y="163"/>
                    </a:lnTo>
                    <a:lnTo>
                      <a:pt x="9" y="163"/>
                    </a:lnTo>
                    <a:lnTo>
                      <a:pt x="4" y="158"/>
                    </a:lnTo>
                    <a:lnTo>
                      <a:pt x="4" y="154"/>
                    </a:lnTo>
                    <a:lnTo>
                      <a:pt x="4" y="154"/>
                    </a:lnTo>
                    <a:lnTo>
                      <a:pt x="0" y="154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45"/>
                    </a:lnTo>
                    <a:lnTo>
                      <a:pt x="0" y="145"/>
                    </a:lnTo>
                    <a:lnTo>
                      <a:pt x="0" y="145"/>
                    </a:lnTo>
                    <a:lnTo>
                      <a:pt x="0" y="145"/>
                    </a:lnTo>
                    <a:lnTo>
                      <a:pt x="0" y="145"/>
                    </a:lnTo>
                    <a:lnTo>
                      <a:pt x="4" y="145"/>
                    </a:lnTo>
                    <a:lnTo>
                      <a:pt x="4" y="145"/>
                    </a:lnTo>
                    <a:lnTo>
                      <a:pt x="4" y="145"/>
                    </a:lnTo>
                    <a:lnTo>
                      <a:pt x="4" y="145"/>
                    </a:lnTo>
                    <a:lnTo>
                      <a:pt x="4" y="145"/>
                    </a:lnTo>
                    <a:lnTo>
                      <a:pt x="4" y="145"/>
                    </a:lnTo>
                    <a:lnTo>
                      <a:pt x="4" y="140"/>
                    </a:lnTo>
                    <a:lnTo>
                      <a:pt x="4" y="140"/>
                    </a:lnTo>
                    <a:lnTo>
                      <a:pt x="4" y="131"/>
                    </a:lnTo>
                    <a:lnTo>
                      <a:pt x="4" y="131"/>
                    </a:lnTo>
                    <a:lnTo>
                      <a:pt x="4" y="131"/>
                    </a:lnTo>
                    <a:lnTo>
                      <a:pt x="4" y="131"/>
                    </a:lnTo>
                    <a:lnTo>
                      <a:pt x="4" y="131"/>
                    </a:lnTo>
                    <a:lnTo>
                      <a:pt x="4" y="131"/>
                    </a:lnTo>
                    <a:lnTo>
                      <a:pt x="4" y="131"/>
                    </a:lnTo>
                    <a:lnTo>
                      <a:pt x="4" y="131"/>
                    </a:lnTo>
                    <a:lnTo>
                      <a:pt x="9" y="131"/>
                    </a:lnTo>
                    <a:lnTo>
                      <a:pt x="9" y="131"/>
                    </a:lnTo>
                    <a:lnTo>
                      <a:pt x="9" y="131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2"/>
                    </a:lnTo>
                    <a:lnTo>
                      <a:pt x="9" y="122"/>
                    </a:lnTo>
                    <a:lnTo>
                      <a:pt x="9" y="117"/>
                    </a:lnTo>
                    <a:lnTo>
                      <a:pt x="9" y="117"/>
                    </a:lnTo>
                    <a:lnTo>
                      <a:pt x="9" y="117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9" y="108"/>
                    </a:lnTo>
                    <a:lnTo>
                      <a:pt x="9" y="108"/>
                    </a:lnTo>
                    <a:lnTo>
                      <a:pt x="9" y="104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5"/>
                    </a:lnTo>
                    <a:lnTo>
                      <a:pt x="4" y="90"/>
                    </a:lnTo>
                    <a:lnTo>
                      <a:pt x="4" y="90"/>
                    </a:lnTo>
                    <a:lnTo>
                      <a:pt x="4" y="90"/>
                    </a:lnTo>
                    <a:lnTo>
                      <a:pt x="9" y="90"/>
                    </a:lnTo>
                    <a:lnTo>
                      <a:pt x="9" y="90"/>
                    </a:lnTo>
                    <a:lnTo>
                      <a:pt x="9" y="90"/>
                    </a:lnTo>
                    <a:lnTo>
                      <a:pt x="9" y="90"/>
                    </a:lnTo>
                    <a:lnTo>
                      <a:pt x="13" y="90"/>
                    </a:lnTo>
                    <a:lnTo>
                      <a:pt x="13" y="90"/>
                    </a:lnTo>
                    <a:lnTo>
                      <a:pt x="13" y="95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1"/>
                    </a:lnTo>
                    <a:lnTo>
                      <a:pt x="22" y="81"/>
                    </a:lnTo>
                    <a:lnTo>
                      <a:pt x="22" y="81"/>
                    </a:lnTo>
                    <a:lnTo>
                      <a:pt x="22" y="77"/>
                    </a:lnTo>
                    <a:lnTo>
                      <a:pt x="22" y="72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2" y="63"/>
                    </a:lnTo>
                    <a:lnTo>
                      <a:pt x="22" y="63"/>
                    </a:lnTo>
                    <a:lnTo>
                      <a:pt x="22" y="63"/>
                    </a:lnTo>
                    <a:lnTo>
                      <a:pt x="22" y="59"/>
                    </a:lnTo>
                    <a:lnTo>
                      <a:pt x="22" y="59"/>
                    </a:lnTo>
                    <a:lnTo>
                      <a:pt x="27" y="59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7" y="54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2" y="50"/>
                    </a:lnTo>
                    <a:lnTo>
                      <a:pt x="22" y="45"/>
                    </a:lnTo>
                    <a:lnTo>
                      <a:pt x="22" y="45"/>
                    </a:lnTo>
                    <a:lnTo>
                      <a:pt x="22" y="41"/>
                    </a:lnTo>
                    <a:lnTo>
                      <a:pt x="22" y="41"/>
                    </a:lnTo>
                    <a:lnTo>
                      <a:pt x="22" y="41"/>
                    </a:lnTo>
                    <a:lnTo>
                      <a:pt x="27" y="41"/>
                    </a:lnTo>
                    <a:lnTo>
                      <a:pt x="27" y="36"/>
                    </a:lnTo>
                    <a:lnTo>
                      <a:pt x="31" y="31"/>
                    </a:lnTo>
                    <a:lnTo>
                      <a:pt x="31" y="31"/>
                    </a:lnTo>
                    <a:lnTo>
                      <a:pt x="31" y="31"/>
                    </a:lnTo>
                    <a:lnTo>
                      <a:pt x="31" y="31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9" y="27"/>
                    </a:lnTo>
                    <a:lnTo>
                      <a:pt x="49" y="27"/>
                    </a:lnTo>
                    <a:lnTo>
                      <a:pt x="49" y="31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45" y="22"/>
                    </a:lnTo>
                    <a:lnTo>
                      <a:pt x="45" y="22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9" y="18"/>
                    </a:lnTo>
                    <a:lnTo>
                      <a:pt x="49" y="13"/>
                    </a:lnTo>
                    <a:lnTo>
                      <a:pt x="49" y="13"/>
                    </a:lnTo>
                    <a:lnTo>
                      <a:pt x="49" y="13"/>
                    </a:lnTo>
                    <a:lnTo>
                      <a:pt x="49" y="13"/>
                    </a:lnTo>
                    <a:lnTo>
                      <a:pt x="49" y="13"/>
                    </a:lnTo>
                    <a:lnTo>
                      <a:pt x="49" y="9"/>
                    </a:lnTo>
                    <a:lnTo>
                      <a:pt x="49" y="9"/>
                    </a:lnTo>
                    <a:lnTo>
                      <a:pt x="49" y="9"/>
                    </a:lnTo>
                    <a:lnTo>
                      <a:pt x="49" y="9"/>
                    </a:lnTo>
                    <a:lnTo>
                      <a:pt x="49" y="9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4"/>
                    </a:lnTo>
                    <a:lnTo>
                      <a:pt x="54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89" name="Freeform 110"/>
              <p:cNvSpPr>
                <a:spLocks/>
              </p:cNvSpPr>
              <p:nvPr/>
            </p:nvSpPr>
            <p:spPr bwMode="auto">
              <a:xfrm>
                <a:off x="4751388" y="1654176"/>
                <a:ext cx="49213" cy="42863"/>
              </a:xfrm>
              <a:custGeom>
                <a:avLst/>
                <a:gdLst>
                  <a:gd name="T0" fmla="*/ 9 w 31"/>
                  <a:gd name="T1" fmla="*/ 0 h 27"/>
                  <a:gd name="T2" fmla="*/ 9 w 31"/>
                  <a:gd name="T3" fmla="*/ 0 h 27"/>
                  <a:gd name="T4" fmla="*/ 13 w 31"/>
                  <a:gd name="T5" fmla="*/ 0 h 27"/>
                  <a:gd name="T6" fmla="*/ 13 w 31"/>
                  <a:gd name="T7" fmla="*/ 0 h 27"/>
                  <a:gd name="T8" fmla="*/ 13 w 31"/>
                  <a:gd name="T9" fmla="*/ 0 h 27"/>
                  <a:gd name="T10" fmla="*/ 18 w 31"/>
                  <a:gd name="T11" fmla="*/ 4 h 27"/>
                  <a:gd name="T12" fmla="*/ 18 w 31"/>
                  <a:gd name="T13" fmla="*/ 4 h 27"/>
                  <a:gd name="T14" fmla="*/ 22 w 31"/>
                  <a:gd name="T15" fmla="*/ 4 h 27"/>
                  <a:gd name="T16" fmla="*/ 27 w 31"/>
                  <a:gd name="T17" fmla="*/ 9 h 27"/>
                  <a:gd name="T18" fmla="*/ 31 w 31"/>
                  <a:gd name="T19" fmla="*/ 9 h 27"/>
                  <a:gd name="T20" fmla="*/ 31 w 31"/>
                  <a:gd name="T21" fmla="*/ 9 h 27"/>
                  <a:gd name="T22" fmla="*/ 27 w 31"/>
                  <a:gd name="T23" fmla="*/ 13 h 27"/>
                  <a:gd name="T24" fmla="*/ 27 w 31"/>
                  <a:gd name="T25" fmla="*/ 13 h 27"/>
                  <a:gd name="T26" fmla="*/ 27 w 31"/>
                  <a:gd name="T27" fmla="*/ 13 h 27"/>
                  <a:gd name="T28" fmla="*/ 27 w 31"/>
                  <a:gd name="T29" fmla="*/ 18 h 27"/>
                  <a:gd name="T30" fmla="*/ 27 w 31"/>
                  <a:gd name="T31" fmla="*/ 18 h 27"/>
                  <a:gd name="T32" fmla="*/ 22 w 31"/>
                  <a:gd name="T33" fmla="*/ 18 h 27"/>
                  <a:gd name="T34" fmla="*/ 22 w 31"/>
                  <a:gd name="T35" fmla="*/ 18 h 27"/>
                  <a:gd name="T36" fmla="*/ 22 w 31"/>
                  <a:gd name="T37" fmla="*/ 13 h 27"/>
                  <a:gd name="T38" fmla="*/ 22 w 31"/>
                  <a:gd name="T39" fmla="*/ 13 h 27"/>
                  <a:gd name="T40" fmla="*/ 18 w 31"/>
                  <a:gd name="T41" fmla="*/ 18 h 27"/>
                  <a:gd name="T42" fmla="*/ 18 w 31"/>
                  <a:gd name="T43" fmla="*/ 18 h 27"/>
                  <a:gd name="T44" fmla="*/ 13 w 31"/>
                  <a:gd name="T45" fmla="*/ 22 h 27"/>
                  <a:gd name="T46" fmla="*/ 13 w 31"/>
                  <a:gd name="T47" fmla="*/ 22 h 27"/>
                  <a:gd name="T48" fmla="*/ 13 w 31"/>
                  <a:gd name="T49" fmla="*/ 27 h 27"/>
                  <a:gd name="T50" fmla="*/ 13 w 31"/>
                  <a:gd name="T51" fmla="*/ 27 h 27"/>
                  <a:gd name="T52" fmla="*/ 13 w 31"/>
                  <a:gd name="T53" fmla="*/ 27 h 27"/>
                  <a:gd name="T54" fmla="*/ 9 w 31"/>
                  <a:gd name="T55" fmla="*/ 22 h 27"/>
                  <a:gd name="T56" fmla="*/ 4 w 31"/>
                  <a:gd name="T57" fmla="*/ 18 h 27"/>
                  <a:gd name="T58" fmla="*/ 4 w 31"/>
                  <a:gd name="T59" fmla="*/ 18 h 27"/>
                  <a:gd name="T60" fmla="*/ 4 w 31"/>
                  <a:gd name="T61" fmla="*/ 18 h 27"/>
                  <a:gd name="T62" fmla="*/ 0 w 31"/>
                  <a:gd name="T63" fmla="*/ 18 h 27"/>
                  <a:gd name="T64" fmla="*/ 0 w 31"/>
                  <a:gd name="T65" fmla="*/ 18 h 27"/>
                  <a:gd name="T66" fmla="*/ 0 w 31"/>
                  <a:gd name="T67" fmla="*/ 18 h 27"/>
                  <a:gd name="T68" fmla="*/ 4 w 31"/>
                  <a:gd name="T69" fmla="*/ 13 h 27"/>
                  <a:gd name="T70" fmla="*/ 0 w 31"/>
                  <a:gd name="T71" fmla="*/ 13 h 27"/>
                  <a:gd name="T72" fmla="*/ 0 w 31"/>
                  <a:gd name="T73" fmla="*/ 9 h 27"/>
                  <a:gd name="T74" fmla="*/ 0 w 31"/>
                  <a:gd name="T75" fmla="*/ 9 h 27"/>
                  <a:gd name="T76" fmla="*/ 4 w 31"/>
                  <a:gd name="T77" fmla="*/ 4 h 27"/>
                  <a:gd name="T78" fmla="*/ 4 w 31"/>
                  <a:gd name="T79" fmla="*/ 4 h 27"/>
                  <a:gd name="T80" fmla="*/ 4 w 31"/>
                  <a:gd name="T81" fmla="*/ 4 h 27"/>
                  <a:gd name="T82" fmla="*/ 9 w 31"/>
                  <a:gd name="T83" fmla="*/ 0 h 27"/>
                  <a:gd name="T84" fmla="*/ 9 w 31"/>
                  <a:gd name="T85" fmla="*/ 4 h 27"/>
                  <a:gd name="T86" fmla="*/ 9 w 31"/>
                  <a:gd name="T87" fmla="*/ 0 h 27"/>
                  <a:gd name="T88" fmla="*/ 9 w 31"/>
                  <a:gd name="T89" fmla="*/ 0 h 27"/>
                  <a:gd name="T90" fmla="*/ 9 w 31"/>
                  <a:gd name="T9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1" h="27">
                    <a:moveTo>
                      <a:pt x="9" y="0"/>
                    </a:move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3"/>
                    </a:lnTo>
                    <a:lnTo>
                      <a:pt x="22" y="13"/>
                    </a:lnTo>
                    <a:lnTo>
                      <a:pt x="22" y="13"/>
                    </a:lnTo>
                    <a:lnTo>
                      <a:pt x="18" y="13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8" y="27"/>
                    </a:lnTo>
                    <a:lnTo>
                      <a:pt x="13" y="27"/>
                    </a:lnTo>
                    <a:lnTo>
                      <a:pt x="18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9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90" name="Freeform 111"/>
              <p:cNvSpPr>
                <a:spLocks/>
              </p:cNvSpPr>
              <p:nvPr/>
            </p:nvSpPr>
            <p:spPr bwMode="auto">
              <a:xfrm>
                <a:off x="6350001" y="1338264"/>
                <a:ext cx="766763" cy="307975"/>
              </a:xfrm>
              <a:custGeom>
                <a:avLst/>
                <a:gdLst>
                  <a:gd name="T0" fmla="*/ 181 w 483"/>
                  <a:gd name="T1" fmla="*/ 13 h 194"/>
                  <a:gd name="T2" fmla="*/ 190 w 483"/>
                  <a:gd name="T3" fmla="*/ 22 h 194"/>
                  <a:gd name="T4" fmla="*/ 212 w 483"/>
                  <a:gd name="T5" fmla="*/ 31 h 194"/>
                  <a:gd name="T6" fmla="*/ 226 w 483"/>
                  <a:gd name="T7" fmla="*/ 27 h 194"/>
                  <a:gd name="T8" fmla="*/ 249 w 483"/>
                  <a:gd name="T9" fmla="*/ 22 h 194"/>
                  <a:gd name="T10" fmla="*/ 276 w 483"/>
                  <a:gd name="T11" fmla="*/ 31 h 194"/>
                  <a:gd name="T12" fmla="*/ 294 w 483"/>
                  <a:gd name="T13" fmla="*/ 40 h 194"/>
                  <a:gd name="T14" fmla="*/ 325 w 483"/>
                  <a:gd name="T15" fmla="*/ 40 h 194"/>
                  <a:gd name="T16" fmla="*/ 343 w 483"/>
                  <a:gd name="T17" fmla="*/ 31 h 194"/>
                  <a:gd name="T18" fmla="*/ 357 w 483"/>
                  <a:gd name="T19" fmla="*/ 18 h 194"/>
                  <a:gd name="T20" fmla="*/ 380 w 483"/>
                  <a:gd name="T21" fmla="*/ 22 h 194"/>
                  <a:gd name="T22" fmla="*/ 398 w 483"/>
                  <a:gd name="T23" fmla="*/ 36 h 194"/>
                  <a:gd name="T24" fmla="*/ 407 w 483"/>
                  <a:gd name="T25" fmla="*/ 58 h 194"/>
                  <a:gd name="T26" fmla="*/ 425 w 483"/>
                  <a:gd name="T27" fmla="*/ 58 h 194"/>
                  <a:gd name="T28" fmla="*/ 438 w 483"/>
                  <a:gd name="T29" fmla="*/ 58 h 194"/>
                  <a:gd name="T30" fmla="*/ 456 w 483"/>
                  <a:gd name="T31" fmla="*/ 63 h 194"/>
                  <a:gd name="T32" fmla="*/ 474 w 483"/>
                  <a:gd name="T33" fmla="*/ 72 h 194"/>
                  <a:gd name="T34" fmla="*/ 474 w 483"/>
                  <a:gd name="T35" fmla="*/ 81 h 194"/>
                  <a:gd name="T36" fmla="*/ 456 w 483"/>
                  <a:gd name="T37" fmla="*/ 81 h 194"/>
                  <a:gd name="T38" fmla="*/ 452 w 483"/>
                  <a:gd name="T39" fmla="*/ 90 h 194"/>
                  <a:gd name="T40" fmla="*/ 438 w 483"/>
                  <a:gd name="T41" fmla="*/ 99 h 194"/>
                  <a:gd name="T42" fmla="*/ 434 w 483"/>
                  <a:gd name="T43" fmla="*/ 108 h 194"/>
                  <a:gd name="T44" fmla="*/ 420 w 483"/>
                  <a:gd name="T45" fmla="*/ 117 h 194"/>
                  <a:gd name="T46" fmla="*/ 402 w 483"/>
                  <a:gd name="T47" fmla="*/ 122 h 194"/>
                  <a:gd name="T48" fmla="*/ 389 w 483"/>
                  <a:gd name="T49" fmla="*/ 131 h 194"/>
                  <a:gd name="T50" fmla="*/ 402 w 483"/>
                  <a:gd name="T51" fmla="*/ 144 h 194"/>
                  <a:gd name="T52" fmla="*/ 393 w 483"/>
                  <a:gd name="T53" fmla="*/ 153 h 194"/>
                  <a:gd name="T54" fmla="*/ 384 w 483"/>
                  <a:gd name="T55" fmla="*/ 167 h 194"/>
                  <a:gd name="T56" fmla="*/ 357 w 483"/>
                  <a:gd name="T57" fmla="*/ 176 h 194"/>
                  <a:gd name="T58" fmla="*/ 330 w 483"/>
                  <a:gd name="T59" fmla="*/ 190 h 194"/>
                  <a:gd name="T60" fmla="*/ 303 w 483"/>
                  <a:gd name="T61" fmla="*/ 190 h 194"/>
                  <a:gd name="T62" fmla="*/ 262 w 483"/>
                  <a:gd name="T63" fmla="*/ 176 h 194"/>
                  <a:gd name="T64" fmla="*/ 203 w 483"/>
                  <a:gd name="T65" fmla="*/ 176 h 194"/>
                  <a:gd name="T66" fmla="*/ 172 w 483"/>
                  <a:gd name="T67" fmla="*/ 167 h 194"/>
                  <a:gd name="T68" fmla="*/ 149 w 483"/>
                  <a:gd name="T69" fmla="*/ 149 h 194"/>
                  <a:gd name="T70" fmla="*/ 113 w 483"/>
                  <a:gd name="T71" fmla="*/ 140 h 194"/>
                  <a:gd name="T72" fmla="*/ 86 w 483"/>
                  <a:gd name="T73" fmla="*/ 135 h 194"/>
                  <a:gd name="T74" fmla="*/ 72 w 483"/>
                  <a:gd name="T75" fmla="*/ 126 h 194"/>
                  <a:gd name="T76" fmla="*/ 68 w 483"/>
                  <a:gd name="T77" fmla="*/ 108 h 194"/>
                  <a:gd name="T78" fmla="*/ 54 w 483"/>
                  <a:gd name="T79" fmla="*/ 95 h 194"/>
                  <a:gd name="T80" fmla="*/ 41 w 483"/>
                  <a:gd name="T81" fmla="*/ 86 h 194"/>
                  <a:gd name="T82" fmla="*/ 27 w 483"/>
                  <a:gd name="T83" fmla="*/ 81 h 194"/>
                  <a:gd name="T84" fmla="*/ 5 w 483"/>
                  <a:gd name="T85" fmla="*/ 72 h 194"/>
                  <a:gd name="T86" fmla="*/ 0 w 483"/>
                  <a:gd name="T87" fmla="*/ 68 h 194"/>
                  <a:gd name="T88" fmla="*/ 0 w 483"/>
                  <a:gd name="T89" fmla="*/ 58 h 194"/>
                  <a:gd name="T90" fmla="*/ 9 w 483"/>
                  <a:gd name="T91" fmla="*/ 54 h 194"/>
                  <a:gd name="T92" fmla="*/ 18 w 483"/>
                  <a:gd name="T93" fmla="*/ 49 h 194"/>
                  <a:gd name="T94" fmla="*/ 23 w 483"/>
                  <a:gd name="T95" fmla="*/ 40 h 194"/>
                  <a:gd name="T96" fmla="*/ 36 w 483"/>
                  <a:gd name="T97" fmla="*/ 36 h 194"/>
                  <a:gd name="T98" fmla="*/ 45 w 483"/>
                  <a:gd name="T99" fmla="*/ 27 h 194"/>
                  <a:gd name="T100" fmla="*/ 54 w 483"/>
                  <a:gd name="T101" fmla="*/ 31 h 194"/>
                  <a:gd name="T102" fmla="*/ 77 w 483"/>
                  <a:gd name="T103" fmla="*/ 31 h 194"/>
                  <a:gd name="T104" fmla="*/ 90 w 483"/>
                  <a:gd name="T105" fmla="*/ 40 h 194"/>
                  <a:gd name="T106" fmla="*/ 104 w 483"/>
                  <a:gd name="T107" fmla="*/ 40 h 194"/>
                  <a:gd name="T108" fmla="*/ 113 w 483"/>
                  <a:gd name="T109" fmla="*/ 40 h 194"/>
                  <a:gd name="T110" fmla="*/ 131 w 483"/>
                  <a:gd name="T111" fmla="*/ 40 h 194"/>
                  <a:gd name="T112" fmla="*/ 136 w 483"/>
                  <a:gd name="T113" fmla="*/ 31 h 194"/>
                  <a:gd name="T114" fmla="*/ 122 w 483"/>
                  <a:gd name="T115" fmla="*/ 22 h 194"/>
                  <a:gd name="T116" fmla="*/ 118 w 483"/>
                  <a:gd name="T117" fmla="*/ 9 h 194"/>
                  <a:gd name="T118" fmla="*/ 127 w 483"/>
                  <a:gd name="T119" fmla="*/ 0 h 194"/>
                  <a:gd name="T120" fmla="*/ 149 w 483"/>
                  <a:gd name="T121" fmla="*/ 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3" h="194">
                    <a:moveTo>
                      <a:pt x="163" y="9"/>
                    </a:moveTo>
                    <a:lnTo>
                      <a:pt x="163" y="9"/>
                    </a:lnTo>
                    <a:lnTo>
                      <a:pt x="163" y="9"/>
                    </a:lnTo>
                    <a:lnTo>
                      <a:pt x="167" y="9"/>
                    </a:lnTo>
                    <a:lnTo>
                      <a:pt x="167" y="9"/>
                    </a:lnTo>
                    <a:lnTo>
                      <a:pt x="172" y="9"/>
                    </a:lnTo>
                    <a:lnTo>
                      <a:pt x="172" y="9"/>
                    </a:lnTo>
                    <a:lnTo>
                      <a:pt x="176" y="9"/>
                    </a:lnTo>
                    <a:lnTo>
                      <a:pt x="176" y="9"/>
                    </a:lnTo>
                    <a:lnTo>
                      <a:pt x="176" y="9"/>
                    </a:lnTo>
                    <a:lnTo>
                      <a:pt x="176" y="13"/>
                    </a:lnTo>
                    <a:lnTo>
                      <a:pt x="181" y="13"/>
                    </a:lnTo>
                    <a:lnTo>
                      <a:pt x="181" y="13"/>
                    </a:lnTo>
                    <a:lnTo>
                      <a:pt x="181" y="18"/>
                    </a:lnTo>
                    <a:lnTo>
                      <a:pt x="181" y="18"/>
                    </a:lnTo>
                    <a:lnTo>
                      <a:pt x="181" y="18"/>
                    </a:lnTo>
                    <a:lnTo>
                      <a:pt x="185" y="18"/>
                    </a:lnTo>
                    <a:lnTo>
                      <a:pt x="185" y="18"/>
                    </a:lnTo>
                    <a:lnTo>
                      <a:pt x="185" y="22"/>
                    </a:lnTo>
                    <a:lnTo>
                      <a:pt x="185" y="22"/>
                    </a:lnTo>
                    <a:lnTo>
                      <a:pt x="185" y="22"/>
                    </a:lnTo>
                    <a:lnTo>
                      <a:pt x="185" y="22"/>
                    </a:lnTo>
                    <a:lnTo>
                      <a:pt x="190" y="22"/>
                    </a:lnTo>
                    <a:lnTo>
                      <a:pt x="190" y="22"/>
                    </a:lnTo>
                    <a:lnTo>
                      <a:pt x="190" y="22"/>
                    </a:lnTo>
                    <a:lnTo>
                      <a:pt x="190" y="27"/>
                    </a:lnTo>
                    <a:lnTo>
                      <a:pt x="194" y="27"/>
                    </a:lnTo>
                    <a:lnTo>
                      <a:pt x="194" y="27"/>
                    </a:lnTo>
                    <a:lnTo>
                      <a:pt x="199" y="27"/>
                    </a:lnTo>
                    <a:lnTo>
                      <a:pt x="199" y="27"/>
                    </a:lnTo>
                    <a:lnTo>
                      <a:pt x="203" y="27"/>
                    </a:lnTo>
                    <a:lnTo>
                      <a:pt x="203" y="27"/>
                    </a:lnTo>
                    <a:lnTo>
                      <a:pt x="203" y="31"/>
                    </a:lnTo>
                    <a:lnTo>
                      <a:pt x="208" y="31"/>
                    </a:lnTo>
                    <a:lnTo>
                      <a:pt x="208" y="31"/>
                    </a:lnTo>
                    <a:lnTo>
                      <a:pt x="212" y="31"/>
                    </a:lnTo>
                    <a:lnTo>
                      <a:pt x="212" y="31"/>
                    </a:lnTo>
                    <a:lnTo>
                      <a:pt x="212" y="31"/>
                    </a:lnTo>
                    <a:lnTo>
                      <a:pt x="212" y="31"/>
                    </a:lnTo>
                    <a:lnTo>
                      <a:pt x="217" y="31"/>
                    </a:lnTo>
                    <a:lnTo>
                      <a:pt x="217" y="31"/>
                    </a:lnTo>
                    <a:lnTo>
                      <a:pt x="217" y="31"/>
                    </a:lnTo>
                    <a:lnTo>
                      <a:pt x="217" y="27"/>
                    </a:lnTo>
                    <a:lnTo>
                      <a:pt x="221" y="27"/>
                    </a:lnTo>
                    <a:lnTo>
                      <a:pt x="221" y="27"/>
                    </a:lnTo>
                    <a:lnTo>
                      <a:pt x="221" y="27"/>
                    </a:lnTo>
                    <a:lnTo>
                      <a:pt x="221" y="27"/>
                    </a:lnTo>
                    <a:lnTo>
                      <a:pt x="226" y="27"/>
                    </a:lnTo>
                    <a:lnTo>
                      <a:pt x="230" y="22"/>
                    </a:lnTo>
                    <a:lnTo>
                      <a:pt x="230" y="22"/>
                    </a:lnTo>
                    <a:lnTo>
                      <a:pt x="230" y="22"/>
                    </a:lnTo>
                    <a:lnTo>
                      <a:pt x="230" y="22"/>
                    </a:lnTo>
                    <a:lnTo>
                      <a:pt x="235" y="22"/>
                    </a:lnTo>
                    <a:lnTo>
                      <a:pt x="235" y="22"/>
                    </a:lnTo>
                    <a:lnTo>
                      <a:pt x="240" y="22"/>
                    </a:lnTo>
                    <a:lnTo>
                      <a:pt x="240" y="22"/>
                    </a:lnTo>
                    <a:lnTo>
                      <a:pt x="244" y="27"/>
                    </a:lnTo>
                    <a:lnTo>
                      <a:pt x="244" y="27"/>
                    </a:lnTo>
                    <a:lnTo>
                      <a:pt x="249" y="27"/>
                    </a:lnTo>
                    <a:lnTo>
                      <a:pt x="249" y="22"/>
                    </a:lnTo>
                    <a:lnTo>
                      <a:pt x="253" y="22"/>
                    </a:lnTo>
                    <a:lnTo>
                      <a:pt x="253" y="27"/>
                    </a:lnTo>
                    <a:lnTo>
                      <a:pt x="258" y="27"/>
                    </a:lnTo>
                    <a:lnTo>
                      <a:pt x="258" y="27"/>
                    </a:lnTo>
                    <a:lnTo>
                      <a:pt x="262" y="31"/>
                    </a:lnTo>
                    <a:lnTo>
                      <a:pt x="262" y="31"/>
                    </a:lnTo>
                    <a:lnTo>
                      <a:pt x="267" y="31"/>
                    </a:lnTo>
                    <a:lnTo>
                      <a:pt x="267" y="31"/>
                    </a:lnTo>
                    <a:lnTo>
                      <a:pt x="271" y="31"/>
                    </a:lnTo>
                    <a:lnTo>
                      <a:pt x="271" y="31"/>
                    </a:lnTo>
                    <a:lnTo>
                      <a:pt x="276" y="31"/>
                    </a:lnTo>
                    <a:lnTo>
                      <a:pt x="276" y="31"/>
                    </a:lnTo>
                    <a:lnTo>
                      <a:pt x="276" y="36"/>
                    </a:lnTo>
                    <a:lnTo>
                      <a:pt x="276" y="36"/>
                    </a:lnTo>
                    <a:lnTo>
                      <a:pt x="276" y="36"/>
                    </a:lnTo>
                    <a:lnTo>
                      <a:pt x="276" y="36"/>
                    </a:lnTo>
                    <a:lnTo>
                      <a:pt x="280" y="36"/>
                    </a:lnTo>
                    <a:lnTo>
                      <a:pt x="280" y="36"/>
                    </a:lnTo>
                    <a:lnTo>
                      <a:pt x="280" y="36"/>
                    </a:lnTo>
                    <a:lnTo>
                      <a:pt x="285" y="40"/>
                    </a:lnTo>
                    <a:lnTo>
                      <a:pt x="289" y="40"/>
                    </a:lnTo>
                    <a:lnTo>
                      <a:pt x="289" y="40"/>
                    </a:lnTo>
                    <a:lnTo>
                      <a:pt x="294" y="40"/>
                    </a:lnTo>
                    <a:lnTo>
                      <a:pt x="294" y="40"/>
                    </a:lnTo>
                    <a:lnTo>
                      <a:pt x="298" y="40"/>
                    </a:lnTo>
                    <a:lnTo>
                      <a:pt x="303" y="40"/>
                    </a:lnTo>
                    <a:lnTo>
                      <a:pt x="303" y="40"/>
                    </a:lnTo>
                    <a:lnTo>
                      <a:pt x="307" y="40"/>
                    </a:lnTo>
                    <a:lnTo>
                      <a:pt x="312" y="40"/>
                    </a:lnTo>
                    <a:lnTo>
                      <a:pt x="316" y="40"/>
                    </a:lnTo>
                    <a:lnTo>
                      <a:pt x="316" y="40"/>
                    </a:lnTo>
                    <a:lnTo>
                      <a:pt x="316" y="40"/>
                    </a:lnTo>
                    <a:lnTo>
                      <a:pt x="321" y="40"/>
                    </a:lnTo>
                    <a:lnTo>
                      <a:pt x="321" y="45"/>
                    </a:lnTo>
                    <a:lnTo>
                      <a:pt x="321" y="40"/>
                    </a:lnTo>
                    <a:lnTo>
                      <a:pt x="325" y="40"/>
                    </a:lnTo>
                    <a:lnTo>
                      <a:pt x="325" y="40"/>
                    </a:lnTo>
                    <a:lnTo>
                      <a:pt x="330" y="36"/>
                    </a:lnTo>
                    <a:lnTo>
                      <a:pt x="330" y="36"/>
                    </a:lnTo>
                    <a:lnTo>
                      <a:pt x="330" y="36"/>
                    </a:lnTo>
                    <a:lnTo>
                      <a:pt x="330" y="36"/>
                    </a:lnTo>
                    <a:lnTo>
                      <a:pt x="334" y="36"/>
                    </a:lnTo>
                    <a:lnTo>
                      <a:pt x="334" y="36"/>
                    </a:lnTo>
                    <a:lnTo>
                      <a:pt x="334" y="36"/>
                    </a:lnTo>
                    <a:lnTo>
                      <a:pt x="339" y="36"/>
                    </a:lnTo>
                    <a:lnTo>
                      <a:pt x="339" y="36"/>
                    </a:lnTo>
                    <a:lnTo>
                      <a:pt x="343" y="31"/>
                    </a:lnTo>
                    <a:lnTo>
                      <a:pt x="343" y="31"/>
                    </a:lnTo>
                    <a:lnTo>
                      <a:pt x="348" y="31"/>
                    </a:lnTo>
                    <a:lnTo>
                      <a:pt x="348" y="31"/>
                    </a:lnTo>
                    <a:lnTo>
                      <a:pt x="348" y="31"/>
                    </a:lnTo>
                    <a:lnTo>
                      <a:pt x="348" y="31"/>
                    </a:lnTo>
                    <a:lnTo>
                      <a:pt x="348" y="27"/>
                    </a:lnTo>
                    <a:lnTo>
                      <a:pt x="348" y="27"/>
                    </a:lnTo>
                    <a:lnTo>
                      <a:pt x="348" y="22"/>
                    </a:lnTo>
                    <a:lnTo>
                      <a:pt x="352" y="22"/>
                    </a:lnTo>
                    <a:lnTo>
                      <a:pt x="352" y="22"/>
                    </a:lnTo>
                    <a:lnTo>
                      <a:pt x="352" y="22"/>
                    </a:lnTo>
                    <a:lnTo>
                      <a:pt x="352" y="18"/>
                    </a:lnTo>
                    <a:lnTo>
                      <a:pt x="357" y="18"/>
                    </a:lnTo>
                    <a:lnTo>
                      <a:pt x="357" y="18"/>
                    </a:lnTo>
                    <a:lnTo>
                      <a:pt x="357" y="18"/>
                    </a:lnTo>
                    <a:lnTo>
                      <a:pt x="362" y="18"/>
                    </a:lnTo>
                    <a:lnTo>
                      <a:pt x="362" y="18"/>
                    </a:lnTo>
                    <a:lnTo>
                      <a:pt x="362" y="18"/>
                    </a:lnTo>
                    <a:lnTo>
                      <a:pt x="366" y="18"/>
                    </a:lnTo>
                    <a:lnTo>
                      <a:pt x="371" y="18"/>
                    </a:lnTo>
                    <a:lnTo>
                      <a:pt x="371" y="22"/>
                    </a:lnTo>
                    <a:lnTo>
                      <a:pt x="375" y="22"/>
                    </a:lnTo>
                    <a:lnTo>
                      <a:pt x="375" y="22"/>
                    </a:lnTo>
                    <a:lnTo>
                      <a:pt x="380" y="22"/>
                    </a:lnTo>
                    <a:lnTo>
                      <a:pt x="380" y="22"/>
                    </a:lnTo>
                    <a:lnTo>
                      <a:pt x="380" y="22"/>
                    </a:lnTo>
                    <a:lnTo>
                      <a:pt x="384" y="22"/>
                    </a:lnTo>
                    <a:lnTo>
                      <a:pt x="384" y="22"/>
                    </a:lnTo>
                    <a:lnTo>
                      <a:pt x="384" y="22"/>
                    </a:lnTo>
                    <a:lnTo>
                      <a:pt x="389" y="22"/>
                    </a:lnTo>
                    <a:lnTo>
                      <a:pt x="389" y="22"/>
                    </a:lnTo>
                    <a:lnTo>
                      <a:pt x="393" y="22"/>
                    </a:lnTo>
                    <a:lnTo>
                      <a:pt x="393" y="22"/>
                    </a:lnTo>
                    <a:lnTo>
                      <a:pt x="398" y="22"/>
                    </a:lnTo>
                    <a:lnTo>
                      <a:pt x="398" y="27"/>
                    </a:lnTo>
                    <a:lnTo>
                      <a:pt x="398" y="31"/>
                    </a:lnTo>
                    <a:lnTo>
                      <a:pt x="398" y="36"/>
                    </a:lnTo>
                    <a:lnTo>
                      <a:pt x="398" y="40"/>
                    </a:lnTo>
                    <a:lnTo>
                      <a:pt x="398" y="40"/>
                    </a:lnTo>
                    <a:lnTo>
                      <a:pt x="402" y="45"/>
                    </a:lnTo>
                    <a:lnTo>
                      <a:pt x="402" y="45"/>
                    </a:lnTo>
                    <a:lnTo>
                      <a:pt x="402" y="45"/>
                    </a:lnTo>
                    <a:lnTo>
                      <a:pt x="402" y="49"/>
                    </a:lnTo>
                    <a:lnTo>
                      <a:pt x="402" y="49"/>
                    </a:lnTo>
                    <a:lnTo>
                      <a:pt x="402" y="54"/>
                    </a:lnTo>
                    <a:lnTo>
                      <a:pt x="402" y="54"/>
                    </a:lnTo>
                    <a:lnTo>
                      <a:pt x="402" y="54"/>
                    </a:lnTo>
                    <a:lnTo>
                      <a:pt x="402" y="58"/>
                    </a:lnTo>
                    <a:lnTo>
                      <a:pt x="407" y="58"/>
                    </a:lnTo>
                    <a:lnTo>
                      <a:pt x="407" y="63"/>
                    </a:lnTo>
                    <a:lnTo>
                      <a:pt x="411" y="63"/>
                    </a:lnTo>
                    <a:lnTo>
                      <a:pt x="411" y="63"/>
                    </a:lnTo>
                    <a:lnTo>
                      <a:pt x="411" y="63"/>
                    </a:lnTo>
                    <a:lnTo>
                      <a:pt x="416" y="63"/>
                    </a:lnTo>
                    <a:lnTo>
                      <a:pt x="416" y="63"/>
                    </a:lnTo>
                    <a:lnTo>
                      <a:pt x="416" y="63"/>
                    </a:lnTo>
                    <a:lnTo>
                      <a:pt x="416" y="63"/>
                    </a:lnTo>
                    <a:lnTo>
                      <a:pt x="416" y="63"/>
                    </a:lnTo>
                    <a:lnTo>
                      <a:pt x="420" y="63"/>
                    </a:lnTo>
                    <a:lnTo>
                      <a:pt x="420" y="58"/>
                    </a:lnTo>
                    <a:lnTo>
                      <a:pt x="425" y="58"/>
                    </a:lnTo>
                    <a:lnTo>
                      <a:pt x="425" y="58"/>
                    </a:lnTo>
                    <a:lnTo>
                      <a:pt x="425" y="63"/>
                    </a:lnTo>
                    <a:lnTo>
                      <a:pt x="429" y="63"/>
                    </a:lnTo>
                    <a:lnTo>
                      <a:pt x="429" y="63"/>
                    </a:lnTo>
                    <a:lnTo>
                      <a:pt x="434" y="63"/>
                    </a:lnTo>
                    <a:lnTo>
                      <a:pt x="434" y="63"/>
                    </a:lnTo>
                    <a:lnTo>
                      <a:pt x="434" y="63"/>
                    </a:lnTo>
                    <a:lnTo>
                      <a:pt x="434" y="63"/>
                    </a:lnTo>
                    <a:lnTo>
                      <a:pt x="434" y="63"/>
                    </a:lnTo>
                    <a:lnTo>
                      <a:pt x="434" y="58"/>
                    </a:lnTo>
                    <a:lnTo>
                      <a:pt x="434" y="58"/>
                    </a:lnTo>
                    <a:lnTo>
                      <a:pt x="438" y="58"/>
                    </a:lnTo>
                    <a:lnTo>
                      <a:pt x="438" y="58"/>
                    </a:lnTo>
                    <a:lnTo>
                      <a:pt x="438" y="54"/>
                    </a:lnTo>
                    <a:lnTo>
                      <a:pt x="438" y="54"/>
                    </a:lnTo>
                    <a:lnTo>
                      <a:pt x="443" y="58"/>
                    </a:lnTo>
                    <a:lnTo>
                      <a:pt x="447" y="58"/>
                    </a:lnTo>
                    <a:lnTo>
                      <a:pt x="447" y="58"/>
                    </a:lnTo>
                    <a:lnTo>
                      <a:pt x="452" y="58"/>
                    </a:lnTo>
                    <a:lnTo>
                      <a:pt x="452" y="58"/>
                    </a:lnTo>
                    <a:lnTo>
                      <a:pt x="456" y="63"/>
                    </a:lnTo>
                    <a:lnTo>
                      <a:pt x="456" y="63"/>
                    </a:lnTo>
                    <a:lnTo>
                      <a:pt x="456" y="63"/>
                    </a:lnTo>
                    <a:lnTo>
                      <a:pt x="456" y="63"/>
                    </a:lnTo>
                    <a:lnTo>
                      <a:pt x="461" y="63"/>
                    </a:lnTo>
                    <a:lnTo>
                      <a:pt x="461" y="63"/>
                    </a:lnTo>
                    <a:lnTo>
                      <a:pt x="461" y="63"/>
                    </a:lnTo>
                    <a:lnTo>
                      <a:pt x="461" y="63"/>
                    </a:lnTo>
                    <a:lnTo>
                      <a:pt x="465" y="68"/>
                    </a:lnTo>
                    <a:lnTo>
                      <a:pt x="465" y="68"/>
                    </a:lnTo>
                    <a:lnTo>
                      <a:pt x="465" y="68"/>
                    </a:lnTo>
                    <a:lnTo>
                      <a:pt x="465" y="68"/>
                    </a:lnTo>
                    <a:lnTo>
                      <a:pt x="470" y="68"/>
                    </a:lnTo>
                    <a:lnTo>
                      <a:pt x="470" y="68"/>
                    </a:lnTo>
                    <a:lnTo>
                      <a:pt x="474" y="72"/>
                    </a:lnTo>
                    <a:lnTo>
                      <a:pt x="474" y="72"/>
                    </a:lnTo>
                    <a:lnTo>
                      <a:pt x="474" y="72"/>
                    </a:lnTo>
                    <a:lnTo>
                      <a:pt x="479" y="72"/>
                    </a:lnTo>
                    <a:lnTo>
                      <a:pt x="479" y="77"/>
                    </a:lnTo>
                    <a:lnTo>
                      <a:pt x="479" y="77"/>
                    </a:lnTo>
                    <a:lnTo>
                      <a:pt x="479" y="77"/>
                    </a:lnTo>
                    <a:lnTo>
                      <a:pt x="483" y="81"/>
                    </a:lnTo>
                    <a:lnTo>
                      <a:pt x="483" y="81"/>
                    </a:lnTo>
                    <a:lnTo>
                      <a:pt x="479" y="81"/>
                    </a:lnTo>
                    <a:lnTo>
                      <a:pt x="479" y="81"/>
                    </a:lnTo>
                    <a:lnTo>
                      <a:pt x="479" y="81"/>
                    </a:lnTo>
                    <a:lnTo>
                      <a:pt x="479" y="81"/>
                    </a:lnTo>
                    <a:lnTo>
                      <a:pt x="474" y="81"/>
                    </a:lnTo>
                    <a:lnTo>
                      <a:pt x="474" y="81"/>
                    </a:lnTo>
                    <a:lnTo>
                      <a:pt x="470" y="81"/>
                    </a:lnTo>
                    <a:lnTo>
                      <a:pt x="470" y="81"/>
                    </a:lnTo>
                    <a:lnTo>
                      <a:pt x="465" y="81"/>
                    </a:lnTo>
                    <a:lnTo>
                      <a:pt x="465" y="81"/>
                    </a:lnTo>
                    <a:lnTo>
                      <a:pt x="465" y="81"/>
                    </a:lnTo>
                    <a:lnTo>
                      <a:pt x="465" y="81"/>
                    </a:lnTo>
                    <a:lnTo>
                      <a:pt x="465" y="81"/>
                    </a:lnTo>
                    <a:lnTo>
                      <a:pt x="461" y="81"/>
                    </a:lnTo>
                    <a:lnTo>
                      <a:pt x="461" y="81"/>
                    </a:lnTo>
                    <a:lnTo>
                      <a:pt x="456" y="81"/>
                    </a:lnTo>
                    <a:lnTo>
                      <a:pt x="456" y="81"/>
                    </a:lnTo>
                    <a:lnTo>
                      <a:pt x="456" y="81"/>
                    </a:lnTo>
                    <a:lnTo>
                      <a:pt x="456" y="86"/>
                    </a:lnTo>
                    <a:lnTo>
                      <a:pt x="456" y="86"/>
                    </a:lnTo>
                    <a:lnTo>
                      <a:pt x="452" y="86"/>
                    </a:lnTo>
                    <a:lnTo>
                      <a:pt x="452" y="86"/>
                    </a:lnTo>
                    <a:lnTo>
                      <a:pt x="452" y="86"/>
                    </a:lnTo>
                    <a:lnTo>
                      <a:pt x="447" y="86"/>
                    </a:lnTo>
                    <a:lnTo>
                      <a:pt x="447" y="86"/>
                    </a:lnTo>
                    <a:lnTo>
                      <a:pt x="447" y="86"/>
                    </a:lnTo>
                    <a:lnTo>
                      <a:pt x="452" y="86"/>
                    </a:lnTo>
                    <a:lnTo>
                      <a:pt x="452" y="90"/>
                    </a:lnTo>
                    <a:lnTo>
                      <a:pt x="452" y="90"/>
                    </a:lnTo>
                    <a:lnTo>
                      <a:pt x="452" y="90"/>
                    </a:lnTo>
                    <a:lnTo>
                      <a:pt x="447" y="90"/>
                    </a:lnTo>
                    <a:lnTo>
                      <a:pt x="447" y="90"/>
                    </a:lnTo>
                    <a:lnTo>
                      <a:pt x="443" y="90"/>
                    </a:lnTo>
                    <a:lnTo>
                      <a:pt x="443" y="90"/>
                    </a:lnTo>
                    <a:lnTo>
                      <a:pt x="443" y="90"/>
                    </a:lnTo>
                    <a:lnTo>
                      <a:pt x="443" y="90"/>
                    </a:lnTo>
                    <a:lnTo>
                      <a:pt x="438" y="90"/>
                    </a:lnTo>
                    <a:lnTo>
                      <a:pt x="443" y="95"/>
                    </a:lnTo>
                    <a:lnTo>
                      <a:pt x="438" y="95"/>
                    </a:lnTo>
                    <a:lnTo>
                      <a:pt x="438" y="95"/>
                    </a:lnTo>
                    <a:lnTo>
                      <a:pt x="438" y="99"/>
                    </a:lnTo>
                    <a:lnTo>
                      <a:pt x="438" y="99"/>
                    </a:lnTo>
                    <a:lnTo>
                      <a:pt x="443" y="99"/>
                    </a:lnTo>
                    <a:lnTo>
                      <a:pt x="443" y="99"/>
                    </a:lnTo>
                    <a:lnTo>
                      <a:pt x="443" y="104"/>
                    </a:lnTo>
                    <a:lnTo>
                      <a:pt x="443" y="104"/>
                    </a:lnTo>
                    <a:lnTo>
                      <a:pt x="438" y="104"/>
                    </a:lnTo>
                    <a:lnTo>
                      <a:pt x="438" y="104"/>
                    </a:lnTo>
                    <a:lnTo>
                      <a:pt x="438" y="108"/>
                    </a:lnTo>
                    <a:lnTo>
                      <a:pt x="438" y="108"/>
                    </a:lnTo>
                    <a:lnTo>
                      <a:pt x="438" y="108"/>
                    </a:lnTo>
                    <a:lnTo>
                      <a:pt x="434" y="108"/>
                    </a:lnTo>
                    <a:lnTo>
                      <a:pt x="434" y="108"/>
                    </a:lnTo>
                    <a:lnTo>
                      <a:pt x="429" y="108"/>
                    </a:lnTo>
                    <a:lnTo>
                      <a:pt x="429" y="108"/>
                    </a:lnTo>
                    <a:lnTo>
                      <a:pt x="425" y="108"/>
                    </a:lnTo>
                    <a:lnTo>
                      <a:pt x="425" y="108"/>
                    </a:lnTo>
                    <a:lnTo>
                      <a:pt x="425" y="113"/>
                    </a:lnTo>
                    <a:lnTo>
                      <a:pt x="420" y="113"/>
                    </a:lnTo>
                    <a:lnTo>
                      <a:pt x="425" y="113"/>
                    </a:lnTo>
                    <a:lnTo>
                      <a:pt x="425" y="113"/>
                    </a:lnTo>
                    <a:lnTo>
                      <a:pt x="425" y="113"/>
                    </a:lnTo>
                    <a:lnTo>
                      <a:pt x="420" y="117"/>
                    </a:lnTo>
                    <a:lnTo>
                      <a:pt x="420" y="117"/>
                    </a:lnTo>
                    <a:lnTo>
                      <a:pt x="420" y="117"/>
                    </a:lnTo>
                    <a:lnTo>
                      <a:pt x="420" y="122"/>
                    </a:lnTo>
                    <a:lnTo>
                      <a:pt x="420" y="122"/>
                    </a:lnTo>
                    <a:lnTo>
                      <a:pt x="420" y="122"/>
                    </a:lnTo>
                    <a:lnTo>
                      <a:pt x="416" y="122"/>
                    </a:lnTo>
                    <a:lnTo>
                      <a:pt x="416" y="122"/>
                    </a:lnTo>
                    <a:lnTo>
                      <a:pt x="416" y="122"/>
                    </a:lnTo>
                    <a:lnTo>
                      <a:pt x="416" y="122"/>
                    </a:lnTo>
                    <a:lnTo>
                      <a:pt x="416" y="122"/>
                    </a:lnTo>
                    <a:lnTo>
                      <a:pt x="411" y="122"/>
                    </a:lnTo>
                    <a:lnTo>
                      <a:pt x="411" y="122"/>
                    </a:lnTo>
                    <a:lnTo>
                      <a:pt x="407" y="122"/>
                    </a:lnTo>
                    <a:lnTo>
                      <a:pt x="402" y="122"/>
                    </a:lnTo>
                    <a:lnTo>
                      <a:pt x="402" y="122"/>
                    </a:lnTo>
                    <a:lnTo>
                      <a:pt x="398" y="122"/>
                    </a:lnTo>
                    <a:lnTo>
                      <a:pt x="398" y="117"/>
                    </a:lnTo>
                    <a:lnTo>
                      <a:pt x="393" y="117"/>
                    </a:lnTo>
                    <a:lnTo>
                      <a:pt x="393" y="117"/>
                    </a:lnTo>
                    <a:lnTo>
                      <a:pt x="389" y="117"/>
                    </a:lnTo>
                    <a:lnTo>
                      <a:pt x="389" y="122"/>
                    </a:lnTo>
                    <a:lnTo>
                      <a:pt x="389" y="122"/>
                    </a:lnTo>
                    <a:lnTo>
                      <a:pt x="389" y="122"/>
                    </a:lnTo>
                    <a:lnTo>
                      <a:pt x="389" y="126"/>
                    </a:lnTo>
                    <a:lnTo>
                      <a:pt x="389" y="126"/>
                    </a:lnTo>
                    <a:lnTo>
                      <a:pt x="389" y="131"/>
                    </a:lnTo>
                    <a:lnTo>
                      <a:pt x="389" y="131"/>
                    </a:lnTo>
                    <a:lnTo>
                      <a:pt x="389" y="131"/>
                    </a:lnTo>
                    <a:lnTo>
                      <a:pt x="389" y="135"/>
                    </a:lnTo>
                    <a:lnTo>
                      <a:pt x="389" y="135"/>
                    </a:lnTo>
                    <a:lnTo>
                      <a:pt x="393" y="135"/>
                    </a:lnTo>
                    <a:lnTo>
                      <a:pt x="393" y="135"/>
                    </a:lnTo>
                    <a:lnTo>
                      <a:pt x="393" y="140"/>
                    </a:lnTo>
                    <a:lnTo>
                      <a:pt x="398" y="140"/>
                    </a:lnTo>
                    <a:lnTo>
                      <a:pt x="402" y="140"/>
                    </a:lnTo>
                    <a:lnTo>
                      <a:pt x="402" y="144"/>
                    </a:lnTo>
                    <a:lnTo>
                      <a:pt x="402" y="144"/>
                    </a:lnTo>
                    <a:lnTo>
                      <a:pt x="402" y="144"/>
                    </a:lnTo>
                    <a:lnTo>
                      <a:pt x="402" y="144"/>
                    </a:lnTo>
                    <a:lnTo>
                      <a:pt x="402" y="144"/>
                    </a:lnTo>
                    <a:lnTo>
                      <a:pt x="402" y="149"/>
                    </a:lnTo>
                    <a:lnTo>
                      <a:pt x="402" y="149"/>
                    </a:lnTo>
                    <a:lnTo>
                      <a:pt x="402" y="149"/>
                    </a:lnTo>
                    <a:lnTo>
                      <a:pt x="402" y="149"/>
                    </a:lnTo>
                    <a:lnTo>
                      <a:pt x="402" y="149"/>
                    </a:lnTo>
                    <a:lnTo>
                      <a:pt x="398" y="149"/>
                    </a:lnTo>
                    <a:lnTo>
                      <a:pt x="398" y="153"/>
                    </a:lnTo>
                    <a:lnTo>
                      <a:pt x="398" y="153"/>
                    </a:lnTo>
                    <a:lnTo>
                      <a:pt x="393" y="153"/>
                    </a:lnTo>
                    <a:lnTo>
                      <a:pt x="393" y="153"/>
                    </a:lnTo>
                    <a:lnTo>
                      <a:pt x="393" y="158"/>
                    </a:lnTo>
                    <a:lnTo>
                      <a:pt x="393" y="158"/>
                    </a:lnTo>
                    <a:lnTo>
                      <a:pt x="393" y="158"/>
                    </a:lnTo>
                    <a:lnTo>
                      <a:pt x="393" y="162"/>
                    </a:lnTo>
                    <a:lnTo>
                      <a:pt x="393" y="162"/>
                    </a:lnTo>
                    <a:lnTo>
                      <a:pt x="393" y="162"/>
                    </a:lnTo>
                    <a:lnTo>
                      <a:pt x="393" y="162"/>
                    </a:lnTo>
                    <a:lnTo>
                      <a:pt x="393" y="167"/>
                    </a:lnTo>
                    <a:lnTo>
                      <a:pt x="389" y="167"/>
                    </a:lnTo>
                    <a:lnTo>
                      <a:pt x="389" y="167"/>
                    </a:lnTo>
                    <a:lnTo>
                      <a:pt x="389" y="167"/>
                    </a:lnTo>
                    <a:lnTo>
                      <a:pt x="384" y="167"/>
                    </a:lnTo>
                    <a:lnTo>
                      <a:pt x="384" y="172"/>
                    </a:lnTo>
                    <a:lnTo>
                      <a:pt x="384" y="172"/>
                    </a:lnTo>
                    <a:lnTo>
                      <a:pt x="380" y="172"/>
                    </a:lnTo>
                    <a:lnTo>
                      <a:pt x="380" y="172"/>
                    </a:lnTo>
                    <a:lnTo>
                      <a:pt x="375" y="172"/>
                    </a:lnTo>
                    <a:lnTo>
                      <a:pt x="375" y="172"/>
                    </a:lnTo>
                    <a:lnTo>
                      <a:pt x="371" y="176"/>
                    </a:lnTo>
                    <a:lnTo>
                      <a:pt x="366" y="176"/>
                    </a:lnTo>
                    <a:lnTo>
                      <a:pt x="366" y="176"/>
                    </a:lnTo>
                    <a:lnTo>
                      <a:pt x="362" y="176"/>
                    </a:lnTo>
                    <a:lnTo>
                      <a:pt x="362" y="176"/>
                    </a:lnTo>
                    <a:lnTo>
                      <a:pt x="357" y="176"/>
                    </a:lnTo>
                    <a:lnTo>
                      <a:pt x="357" y="176"/>
                    </a:lnTo>
                    <a:lnTo>
                      <a:pt x="352" y="176"/>
                    </a:lnTo>
                    <a:lnTo>
                      <a:pt x="348" y="176"/>
                    </a:lnTo>
                    <a:lnTo>
                      <a:pt x="343" y="176"/>
                    </a:lnTo>
                    <a:lnTo>
                      <a:pt x="343" y="176"/>
                    </a:lnTo>
                    <a:lnTo>
                      <a:pt x="343" y="181"/>
                    </a:lnTo>
                    <a:lnTo>
                      <a:pt x="339" y="181"/>
                    </a:lnTo>
                    <a:lnTo>
                      <a:pt x="339" y="181"/>
                    </a:lnTo>
                    <a:lnTo>
                      <a:pt x="339" y="181"/>
                    </a:lnTo>
                    <a:lnTo>
                      <a:pt x="334" y="185"/>
                    </a:lnTo>
                    <a:lnTo>
                      <a:pt x="330" y="185"/>
                    </a:lnTo>
                    <a:lnTo>
                      <a:pt x="330" y="190"/>
                    </a:lnTo>
                    <a:lnTo>
                      <a:pt x="325" y="190"/>
                    </a:lnTo>
                    <a:lnTo>
                      <a:pt x="325" y="190"/>
                    </a:lnTo>
                    <a:lnTo>
                      <a:pt x="325" y="190"/>
                    </a:lnTo>
                    <a:lnTo>
                      <a:pt x="325" y="194"/>
                    </a:lnTo>
                    <a:lnTo>
                      <a:pt x="325" y="194"/>
                    </a:lnTo>
                    <a:lnTo>
                      <a:pt x="321" y="194"/>
                    </a:lnTo>
                    <a:lnTo>
                      <a:pt x="321" y="194"/>
                    </a:lnTo>
                    <a:lnTo>
                      <a:pt x="316" y="194"/>
                    </a:lnTo>
                    <a:lnTo>
                      <a:pt x="312" y="190"/>
                    </a:lnTo>
                    <a:lnTo>
                      <a:pt x="312" y="190"/>
                    </a:lnTo>
                    <a:lnTo>
                      <a:pt x="307" y="190"/>
                    </a:lnTo>
                    <a:lnTo>
                      <a:pt x="303" y="190"/>
                    </a:lnTo>
                    <a:lnTo>
                      <a:pt x="298" y="190"/>
                    </a:lnTo>
                    <a:lnTo>
                      <a:pt x="294" y="190"/>
                    </a:lnTo>
                    <a:lnTo>
                      <a:pt x="289" y="185"/>
                    </a:lnTo>
                    <a:lnTo>
                      <a:pt x="285" y="185"/>
                    </a:lnTo>
                    <a:lnTo>
                      <a:pt x="280" y="185"/>
                    </a:lnTo>
                    <a:lnTo>
                      <a:pt x="276" y="185"/>
                    </a:lnTo>
                    <a:lnTo>
                      <a:pt x="271" y="185"/>
                    </a:lnTo>
                    <a:lnTo>
                      <a:pt x="271" y="181"/>
                    </a:lnTo>
                    <a:lnTo>
                      <a:pt x="267" y="181"/>
                    </a:lnTo>
                    <a:lnTo>
                      <a:pt x="267" y="181"/>
                    </a:lnTo>
                    <a:lnTo>
                      <a:pt x="262" y="181"/>
                    </a:lnTo>
                    <a:lnTo>
                      <a:pt x="262" y="176"/>
                    </a:lnTo>
                    <a:lnTo>
                      <a:pt x="258" y="176"/>
                    </a:lnTo>
                    <a:lnTo>
                      <a:pt x="258" y="176"/>
                    </a:lnTo>
                    <a:lnTo>
                      <a:pt x="249" y="176"/>
                    </a:lnTo>
                    <a:lnTo>
                      <a:pt x="249" y="176"/>
                    </a:lnTo>
                    <a:lnTo>
                      <a:pt x="240" y="176"/>
                    </a:lnTo>
                    <a:lnTo>
                      <a:pt x="240" y="176"/>
                    </a:lnTo>
                    <a:lnTo>
                      <a:pt x="235" y="176"/>
                    </a:lnTo>
                    <a:lnTo>
                      <a:pt x="230" y="181"/>
                    </a:lnTo>
                    <a:lnTo>
                      <a:pt x="221" y="181"/>
                    </a:lnTo>
                    <a:lnTo>
                      <a:pt x="221" y="181"/>
                    </a:lnTo>
                    <a:lnTo>
                      <a:pt x="212" y="176"/>
                    </a:lnTo>
                    <a:lnTo>
                      <a:pt x="203" y="176"/>
                    </a:lnTo>
                    <a:lnTo>
                      <a:pt x="194" y="176"/>
                    </a:lnTo>
                    <a:lnTo>
                      <a:pt x="190" y="176"/>
                    </a:lnTo>
                    <a:lnTo>
                      <a:pt x="185" y="176"/>
                    </a:lnTo>
                    <a:lnTo>
                      <a:pt x="185" y="181"/>
                    </a:lnTo>
                    <a:lnTo>
                      <a:pt x="181" y="181"/>
                    </a:lnTo>
                    <a:lnTo>
                      <a:pt x="181" y="176"/>
                    </a:lnTo>
                    <a:lnTo>
                      <a:pt x="181" y="176"/>
                    </a:lnTo>
                    <a:lnTo>
                      <a:pt x="176" y="172"/>
                    </a:lnTo>
                    <a:lnTo>
                      <a:pt x="176" y="172"/>
                    </a:lnTo>
                    <a:lnTo>
                      <a:pt x="172" y="172"/>
                    </a:lnTo>
                    <a:lnTo>
                      <a:pt x="172" y="167"/>
                    </a:lnTo>
                    <a:lnTo>
                      <a:pt x="172" y="167"/>
                    </a:lnTo>
                    <a:lnTo>
                      <a:pt x="163" y="162"/>
                    </a:lnTo>
                    <a:lnTo>
                      <a:pt x="163" y="158"/>
                    </a:lnTo>
                    <a:lnTo>
                      <a:pt x="163" y="158"/>
                    </a:lnTo>
                    <a:lnTo>
                      <a:pt x="158" y="158"/>
                    </a:lnTo>
                    <a:lnTo>
                      <a:pt x="158" y="153"/>
                    </a:lnTo>
                    <a:lnTo>
                      <a:pt x="158" y="153"/>
                    </a:lnTo>
                    <a:lnTo>
                      <a:pt x="154" y="153"/>
                    </a:lnTo>
                    <a:lnTo>
                      <a:pt x="154" y="153"/>
                    </a:lnTo>
                    <a:lnTo>
                      <a:pt x="154" y="153"/>
                    </a:lnTo>
                    <a:lnTo>
                      <a:pt x="154" y="149"/>
                    </a:lnTo>
                    <a:lnTo>
                      <a:pt x="154" y="149"/>
                    </a:lnTo>
                    <a:lnTo>
                      <a:pt x="149" y="149"/>
                    </a:lnTo>
                    <a:lnTo>
                      <a:pt x="145" y="149"/>
                    </a:lnTo>
                    <a:lnTo>
                      <a:pt x="145" y="149"/>
                    </a:lnTo>
                    <a:lnTo>
                      <a:pt x="140" y="149"/>
                    </a:lnTo>
                    <a:lnTo>
                      <a:pt x="136" y="144"/>
                    </a:lnTo>
                    <a:lnTo>
                      <a:pt x="136" y="144"/>
                    </a:lnTo>
                    <a:lnTo>
                      <a:pt x="131" y="144"/>
                    </a:lnTo>
                    <a:lnTo>
                      <a:pt x="127" y="144"/>
                    </a:lnTo>
                    <a:lnTo>
                      <a:pt x="127" y="140"/>
                    </a:lnTo>
                    <a:lnTo>
                      <a:pt x="122" y="140"/>
                    </a:lnTo>
                    <a:lnTo>
                      <a:pt x="122" y="140"/>
                    </a:lnTo>
                    <a:lnTo>
                      <a:pt x="118" y="140"/>
                    </a:lnTo>
                    <a:lnTo>
                      <a:pt x="113" y="140"/>
                    </a:lnTo>
                    <a:lnTo>
                      <a:pt x="109" y="135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99" y="140"/>
                    </a:lnTo>
                    <a:lnTo>
                      <a:pt x="99" y="135"/>
                    </a:lnTo>
                    <a:lnTo>
                      <a:pt x="95" y="135"/>
                    </a:lnTo>
                    <a:lnTo>
                      <a:pt x="95" y="140"/>
                    </a:lnTo>
                    <a:lnTo>
                      <a:pt x="90" y="135"/>
                    </a:lnTo>
                    <a:lnTo>
                      <a:pt x="90" y="135"/>
                    </a:lnTo>
                    <a:lnTo>
                      <a:pt x="90" y="135"/>
                    </a:lnTo>
                    <a:lnTo>
                      <a:pt x="86" y="135"/>
                    </a:lnTo>
                    <a:lnTo>
                      <a:pt x="86" y="135"/>
                    </a:lnTo>
                    <a:lnTo>
                      <a:pt x="81" y="135"/>
                    </a:lnTo>
                    <a:lnTo>
                      <a:pt x="81" y="135"/>
                    </a:lnTo>
                    <a:lnTo>
                      <a:pt x="81" y="135"/>
                    </a:lnTo>
                    <a:lnTo>
                      <a:pt x="81" y="135"/>
                    </a:lnTo>
                    <a:lnTo>
                      <a:pt x="81" y="135"/>
                    </a:lnTo>
                    <a:lnTo>
                      <a:pt x="77" y="135"/>
                    </a:lnTo>
                    <a:lnTo>
                      <a:pt x="77" y="131"/>
                    </a:lnTo>
                    <a:lnTo>
                      <a:pt x="77" y="131"/>
                    </a:lnTo>
                    <a:lnTo>
                      <a:pt x="72" y="131"/>
                    </a:lnTo>
                    <a:lnTo>
                      <a:pt x="72" y="131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2" y="122"/>
                    </a:lnTo>
                    <a:lnTo>
                      <a:pt x="72" y="122"/>
                    </a:lnTo>
                    <a:lnTo>
                      <a:pt x="72" y="122"/>
                    </a:lnTo>
                    <a:lnTo>
                      <a:pt x="72" y="122"/>
                    </a:lnTo>
                    <a:lnTo>
                      <a:pt x="72" y="122"/>
                    </a:lnTo>
                    <a:lnTo>
                      <a:pt x="72" y="117"/>
                    </a:lnTo>
                    <a:lnTo>
                      <a:pt x="72" y="117"/>
                    </a:lnTo>
                    <a:lnTo>
                      <a:pt x="68" y="117"/>
                    </a:lnTo>
                    <a:lnTo>
                      <a:pt x="68" y="113"/>
                    </a:lnTo>
                    <a:lnTo>
                      <a:pt x="68" y="113"/>
                    </a:lnTo>
                    <a:lnTo>
                      <a:pt x="68" y="108"/>
                    </a:lnTo>
                    <a:lnTo>
                      <a:pt x="68" y="108"/>
                    </a:lnTo>
                    <a:lnTo>
                      <a:pt x="68" y="108"/>
                    </a:lnTo>
                    <a:lnTo>
                      <a:pt x="68" y="108"/>
                    </a:lnTo>
                    <a:lnTo>
                      <a:pt x="68" y="108"/>
                    </a:lnTo>
                    <a:lnTo>
                      <a:pt x="63" y="104"/>
                    </a:lnTo>
                    <a:lnTo>
                      <a:pt x="63" y="104"/>
                    </a:lnTo>
                    <a:lnTo>
                      <a:pt x="63" y="104"/>
                    </a:lnTo>
                    <a:lnTo>
                      <a:pt x="59" y="104"/>
                    </a:lnTo>
                    <a:lnTo>
                      <a:pt x="59" y="99"/>
                    </a:lnTo>
                    <a:lnTo>
                      <a:pt x="54" y="99"/>
                    </a:lnTo>
                    <a:lnTo>
                      <a:pt x="54" y="95"/>
                    </a:lnTo>
                    <a:lnTo>
                      <a:pt x="54" y="95"/>
                    </a:lnTo>
                    <a:lnTo>
                      <a:pt x="54" y="95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45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7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8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9" y="77"/>
                    </a:lnTo>
                    <a:lnTo>
                      <a:pt x="9" y="77"/>
                    </a:lnTo>
                    <a:lnTo>
                      <a:pt x="5" y="72"/>
                    </a:lnTo>
                    <a:lnTo>
                      <a:pt x="5" y="72"/>
                    </a:lnTo>
                    <a:lnTo>
                      <a:pt x="5" y="72"/>
                    </a:lnTo>
                    <a:lnTo>
                      <a:pt x="5" y="72"/>
                    </a:lnTo>
                    <a:lnTo>
                      <a:pt x="5" y="72"/>
                    </a:lnTo>
                    <a:lnTo>
                      <a:pt x="5" y="72"/>
                    </a:lnTo>
                    <a:lnTo>
                      <a:pt x="5" y="72"/>
                    </a:lnTo>
                    <a:lnTo>
                      <a:pt x="5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5" y="58"/>
                    </a:lnTo>
                    <a:lnTo>
                      <a:pt x="5" y="54"/>
                    </a:lnTo>
                    <a:lnTo>
                      <a:pt x="5" y="58"/>
                    </a:lnTo>
                    <a:lnTo>
                      <a:pt x="5" y="54"/>
                    </a:lnTo>
                    <a:lnTo>
                      <a:pt x="5" y="54"/>
                    </a:lnTo>
                    <a:lnTo>
                      <a:pt x="9" y="58"/>
                    </a:lnTo>
                    <a:lnTo>
                      <a:pt x="9" y="58"/>
                    </a:lnTo>
                    <a:lnTo>
                      <a:pt x="9" y="58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23" y="45"/>
                    </a:lnTo>
                    <a:lnTo>
                      <a:pt x="18" y="45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3" y="40"/>
                    </a:lnTo>
                    <a:lnTo>
                      <a:pt x="23" y="40"/>
                    </a:lnTo>
                    <a:lnTo>
                      <a:pt x="27" y="40"/>
                    </a:lnTo>
                    <a:lnTo>
                      <a:pt x="27" y="40"/>
                    </a:lnTo>
                    <a:lnTo>
                      <a:pt x="27" y="40"/>
                    </a:lnTo>
                    <a:lnTo>
                      <a:pt x="27" y="40"/>
                    </a:lnTo>
                    <a:lnTo>
                      <a:pt x="32" y="40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1" y="31"/>
                    </a:lnTo>
                    <a:lnTo>
                      <a:pt x="41" y="31"/>
                    </a:lnTo>
                    <a:lnTo>
                      <a:pt x="45" y="31"/>
                    </a:lnTo>
                    <a:lnTo>
                      <a:pt x="45" y="31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54" y="31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31"/>
                    </a:lnTo>
                    <a:lnTo>
                      <a:pt x="59" y="31"/>
                    </a:lnTo>
                    <a:lnTo>
                      <a:pt x="59" y="31"/>
                    </a:lnTo>
                    <a:lnTo>
                      <a:pt x="59" y="31"/>
                    </a:lnTo>
                    <a:lnTo>
                      <a:pt x="59" y="31"/>
                    </a:lnTo>
                    <a:lnTo>
                      <a:pt x="63" y="31"/>
                    </a:lnTo>
                    <a:lnTo>
                      <a:pt x="63" y="31"/>
                    </a:lnTo>
                    <a:lnTo>
                      <a:pt x="68" y="31"/>
                    </a:lnTo>
                    <a:lnTo>
                      <a:pt x="68" y="31"/>
                    </a:lnTo>
                    <a:lnTo>
                      <a:pt x="68" y="31"/>
                    </a:lnTo>
                    <a:lnTo>
                      <a:pt x="72" y="31"/>
                    </a:lnTo>
                    <a:lnTo>
                      <a:pt x="72" y="31"/>
                    </a:lnTo>
                    <a:lnTo>
                      <a:pt x="77" y="31"/>
                    </a:lnTo>
                    <a:lnTo>
                      <a:pt x="77" y="31"/>
                    </a:lnTo>
                    <a:lnTo>
                      <a:pt x="77" y="36"/>
                    </a:lnTo>
                    <a:lnTo>
                      <a:pt x="77" y="36"/>
                    </a:lnTo>
                    <a:lnTo>
                      <a:pt x="81" y="36"/>
                    </a:lnTo>
                    <a:lnTo>
                      <a:pt x="81" y="36"/>
                    </a:lnTo>
                    <a:lnTo>
                      <a:pt x="81" y="40"/>
                    </a:lnTo>
                    <a:lnTo>
                      <a:pt x="81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5" y="40"/>
                    </a:lnTo>
                    <a:lnTo>
                      <a:pt x="95" y="40"/>
                    </a:lnTo>
                    <a:lnTo>
                      <a:pt x="95" y="40"/>
                    </a:lnTo>
                    <a:lnTo>
                      <a:pt x="99" y="40"/>
                    </a:lnTo>
                    <a:lnTo>
                      <a:pt x="99" y="40"/>
                    </a:lnTo>
                    <a:lnTo>
                      <a:pt x="99" y="40"/>
                    </a:lnTo>
                    <a:lnTo>
                      <a:pt x="99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9" y="40"/>
                    </a:lnTo>
                    <a:lnTo>
                      <a:pt x="109" y="40"/>
                    </a:lnTo>
                    <a:lnTo>
                      <a:pt x="109" y="40"/>
                    </a:lnTo>
                    <a:lnTo>
                      <a:pt x="113" y="40"/>
                    </a:lnTo>
                    <a:lnTo>
                      <a:pt x="113" y="40"/>
                    </a:lnTo>
                    <a:lnTo>
                      <a:pt x="113" y="40"/>
                    </a:lnTo>
                    <a:lnTo>
                      <a:pt x="113" y="40"/>
                    </a:lnTo>
                    <a:lnTo>
                      <a:pt x="113" y="40"/>
                    </a:lnTo>
                    <a:lnTo>
                      <a:pt x="118" y="40"/>
                    </a:lnTo>
                    <a:lnTo>
                      <a:pt x="118" y="40"/>
                    </a:lnTo>
                    <a:lnTo>
                      <a:pt x="118" y="40"/>
                    </a:lnTo>
                    <a:lnTo>
                      <a:pt x="122" y="40"/>
                    </a:lnTo>
                    <a:lnTo>
                      <a:pt x="122" y="40"/>
                    </a:lnTo>
                    <a:lnTo>
                      <a:pt x="122" y="45"/>
                    </a:lnTo>
                    <a:lnTo>
                      <a:pt x="122" y="45"/>
                    </a:lnTo>
                    <a:lnTo>
                      <a:pt x="127" y="45"/>
                    </a:lnTo>
                    <a:lnTo>
                      <a:pt x="127" y="45"/>
                    </a:lnTo>
                    <a:lnTo>
                      <a:pt x="127" y="45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6" y="40"/>
                    </a:lnTo>
                    <a:lnTo>
                      <a:pt x="136" y="36"/>
                    </a:lnTo>
                    <a:lnTo>
                      <a:pt x="136" y="36"/>
                    </a:lnTo>
                    <a:lnTo>
                      <a:pt x="136" y="36"/>
                    </a:lnTo>
                    <a:lnTo>
                      <a:pt x="136" y="36"/>
                    </a:lnTo>
                    <a:lnTo>
                      <a:pt x="136" y="31"/>
                    </a:lnTo>
                    <a:lnTo>
                      <a:pt x="131" y="31"/>
                    </a:lnTo>
                    <a:lnTo>
                      <a:pt x="131" y="27"/>
                    </a:lnTo>
                    <a:lnTo>
                      <a:pt x="131" y="27"/>
                    </a:lnTo>
                    <a:lnTo>
                      <a:pt x="131" y="27"/>
                    </a:lnTo>
                    <a:lnTo>
                      <a:pt x="131" y="27"/>
                    </a:lnTo>
                    <a:lnTo>
                      <a:pt x="127" y="27"/>
                    </a:lnTo>
                    <a:lnTo>
                      <a:pt x="127" y="27"/>
                    </a:lnTo>
                    <a:lnTo>
                      <a:pt x="127" y="27"/>
                    </a:lnTo>
                    <a:lnTo>
                      <a:pt x="127" y="22"/>
                    </a:lnTo>
                    <a:lnTo>
                      <a:pt x="122" y="22"/>
                    </a:lnTo>
                    <a:lnTo>
                      <a:pt x="122" y="22"/>
                    </a:lnTo>
                    <a:lnTo>
                      <a:pt x="122" y="22"/>
                    </a:lnTo>
                    <a:lnTo>
                      <a:pt x="122" y="22"/>
                    </a:lnTo>
                    <a:lnTo>
                      <a:pt x="122" y="18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18" y="13"/>
                    </a:lnTo>
                    <a:lnTo>
                      <a:pt x="118" y="13"/>
                    </a:lnTo>
                    <a:lnTo>
                      <a:pt x="118" y="13"/>
                    </a:lnTo>
                    <a:lnTo>
                      <a:pt x="118" y="13"/>
                    </a:lnTo>
                    <a:lnTo>
                      <a:pt x="118" y="13"/>
                    </a:lnTo>
                    <a:lnTo>
                      <a:pt x="118" y="9"/>
                    </a:lnTo>
                    <a:lnTo>
                      <a:pt x="118" y="9"/>
                    </a:lnTo>
                    <a:lnTo>
                      <a:pt x="118" y="9"/>
                    </a:lnTo>
                    <a:lnTo>
                      <a:pt x="118" y="9"/>
                    </a:lnTo>
                    <a:lnTo>
                      <a:pt x="118" y="9"/>
                    </a:lnTo>
                    <a:lnTo>
                      <a:pt x="118" y="9"/>
                    </a:lnTo>
                    <a:lnTo>
                      <a:pt x="118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7" y="0"/>
                    </a:lnTo>
                    <a:lnTo>
                      <a:pt x="127" y="0"/>
                    </a:lnTo>
                    <a:lnTo>
                      <a:pt x="127" y="0"/>
                    </a:lnTo>
                    <a:lnTo>
                      <a:pt x="131" y="0"/>
                    </a:lnTo>
                    <a:lnTo>
                      <a:pt x="131" y="0"/>
                    </a:lnTo>
                    <a:lnTo>
                      <a:pt x="136" y="0"/>
                    </a:lnTo>
                    <a:lnTo>
                      <a:pt x="136" y="0"/>
                    </a:lnTo>
                    <a:lnTo>
                      <a:pt x="136" y="4"/>
                    </a:lnTo>
                    <a:lnTo>
                      <a:pt x="140" y="4"/>
                    </a:lnTo>
                    <a:lnTo>
                      <a:pt x="140" y="4"/>
                    </a:lnTo>
                    <a:lnTo>
                      <a:pt x="145" y="4"/>
                    </a:lnTo>
                    <a:lnTo>
                      <a:pt x="149" y="4"/>
                    </a:lnTo>
                    <a:lnTo>
                      <a:pt x="149" y="4"/>
                    </a:lnTo>
                    <a:lnTo>
                      <a:pt x="154" y="4"/>
                    </a:lnTo>
                    <a:lnTo>
                      <a:pt x="154" y="4"/>
                    </a:lnTo>
                    <a:lnTo>
                      <a:pt x="158" y="4"/>
                    </a:lnTo>
                    <a:lnTo>
                      <a:pt x="163" y="9"/>
                    </a:lnTo>
                    <a:lnTo>
                      <a:pt x="163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91" name="Freeform 112"/>
              <p:cNvSpPr>
                <a:spLocks/>
              </p:cNvSpPr>
              <p:nvPr/>
            </p:nvSpPr>
            <p:spPr bwMode="auto">
              <a:xfrm>
                <a:off x="5102226" y="3260726"/>
                <a:ext cx="287338" cy="488950"/>
              </a:xfrm>
              <a:custGeom>
                <a:avLst/>
                <a:gdLst>
                  <a:gd name="T0" fmla="*/ 176 w 181"/>
                  <a:gd name="T1" fmla="*/ 32 h 308"/>
                  <a:gd name="T2" fmla="*/ 176 w 181"/>
                  <a:gd name="T3" fmla="*/ 46 h 308"/>
                  <a:gd name="T4" fmla="*/ 176 w 181"/>
                  <a:gd name="T5" fmla="*/ 55 h 308"/>
                  <a:gd name="T6" fmla="*/ 181 w 181"/>
                  <a:gd name="T7" fmla="*/ 73 h 308"/>
                  <a:gd name="T8" fmla="*/ 181 w 181"/>
                  <a:gd name="T9" fmla="*/ 77 h 308"/>
                  <a:gd name="T10" fmla="*/ 176 w 181"/>
                  <a:gd name="T11" fmla="*/ 91 h 308"/>
                  <a:gd name="T12" fmla="*/ 167 w 181"/>
                  <a:gd name="T13" fmla="*/ 104 h 308"/>
                  <a:gd name="T14" fmla="*/ 158 w 181"/>
                  <a:gd name="T15" fmla="*/ 118 h 308"/>
                  <a:gd name="T16" fmla="*/ 140 w 181"/>
                  <a:gd name="T17" fmla="*/ 127 h 308"/>
                  <a:gd name="T18" fmla="*/ 117 w 181"/>
                  <a:gd name="T19" fmla="*/ 141 h 308"/>
                  <a:gd name="T20" fmla="*/ 104 w 181"/>
                  <a:gd name="T21" fmla="*/ 154 h 308"/>
                  <a:gd name="T22" fmla="*/ 95 w 181"/>
                  <a:gd name="T23" fmla="*/ 159 h 308"/>
                  <a:gd name="T24" fmla="*/ 68 w 181"/>
                  <a:gd name="T25" fmla="*/ 177 h 308"/>
                  <a:gd name="T26" fmla="*/ 72 w 181"/>
                  <a:gd name="T27" fmla="*/ 195 h 308"/>
                  <a:gd name="T28" fmla="*/ 77 w 181"/>
                  <a:gd name="T29" fmla="*/ 226 h 308"/>
                  <a:gd name="T30" fmla="*/ 81 w 181"/>
                  <a:gd name="T31" fmla="*/ 222 h 308"/>
                  <a:gd name="T32" fmla="*/ 77 w 181"/>
                  <a:gd name="T33" fmla="*/ 254 h 308"/>
                  <a:gd name="T34" fmla="*/ 72 w 181"/>
                  <a:gd name="T35" fmla="*/ 263 h 308"/>
                  <a:gd name="T36" fmla="*/ 32 w 181"/>
                  <a:gd name="T37" fmla="*/ 285 h 308"/>
                  <a:gd name="T38" fmla="*/ 32 w 181"/>
                  <a:gd name="T39" fmla="*/ 299 h 308"/>
                  <a:gd name="T40" fmla="*/ 27 w 181"/>
                  <a:gd name="T41" fmla="*/ 308 h 308"/>
                  <a:gd name="T42" fmla="*/ 18 w 181"/>
                  <a:gd name="T43" fmla="*/ 299 h 308"/>
                  <a:gd name="T44" fmla="*/ 18 w 181"/>
                  <a:gd name="T45" fmla="*/ 285 h 308"/>
                  <a:gd name="T46" fmla="*/ 18 w 181"/>
                  <a:gd name="T47" fmla="*/ 263 h 308"/>
                  <a:gd name="T48" fmla="*/ 14 w 181"/>
                  <a:gd name="T49" fmla="*/ 245 h 308"/>
                  <a:gd name="T50" fmla="*/ 9 w 181"/>
                  <a:gd name="T51" fmla="*/ 226 h 308"/>
                  <a:gd name="T52" fmla="*/ 32 w 181"/>
                  <a:gd name="T53" fmla="*/ 204 h 308"/>
                  <a:gd name="T54" fmla="*/ 36 w 181"/>
                  <a:gd name="T55" fmla="*/ 190 h 308"/>
                  <a:gd name="T56" fmla="*/ 41 w 181"/>
                  <a:gd name="T57" fmla="*/ 172 h 308"/>
                  <a:gd name="T58" fmla="*/ 36 w 181"/>
                  <a:gd name="T59" fmla="*/ 159 h 308"/>
                  <a:gd name="T60" fmla="*/ 45 w 181"/>
                  <a:gd name="T61" fmla="*/ 150 h 308"/>
                  <a:gd name="T62" fmla="*/ 41 w 181"/>
                  <a:gd name="T63" fmla="*/ 127 h 308"/>
                  <a:gd name="T64" fmla="*/ 36 w 181"/>
                  <a:gd name="T65" fmla="*/ 113 h 308"/>
                  <a:gd name="T66" fmla="*/ 5 w 181"/>
                  <a:gd name="T67" fmla="*/ 104 h 308"/>
                  <a:gd name="T68" fmla="*/ 0 w 181"/>
                  <a:gd name="T69" fmla="*/ 91 h 308"/>
                  <a:gd name="T70" fmla="*/ 14 w 181"/>
                  <a:gd name="T71" fmla="*/ 82 h 308"/>
                  <a:gd name="T72" fmla="*/ 32 w 181"/>
                  <a:gd name="T73" fmla="*/ 73 h 308"/>
                  <a:gd name="T74" fmla="*/ 59 w 181"/>
                  <a:gd name="T75" fmla="*/ 77 h 308"/>
                  <a:gd name="T76" fmla="*/ 68 w 181"/>
                  <a:gd name="T77" fmla="*/ 77 h 308"/>
                  <a:gd name="T78" fmla="*/ 72 w 181"/>
                  <a:gd name="T79" fmla="*/ 95 h 308"/>
                  <a:gd name="T80" fmla="*/ 68 w 181"/>
                  <a:gd name="T81" fmla="*/ 109 h 308"/>
                  <a:gd name="T82" fmla="*/ 77 w 181"/>
                  <a:gd name="T83" fmla="*/ 118 h 308"/>
                  <a:gd name="T84" fmla="*/ 81 w 181"/>
                  <a:gd name="T85" fmla="*/ 127 h 308"/>
                  <a:gd name="T86" fmla="*/ 81 w 181"/>
                  <a:gd name="T87" fmla="*/ 113 h 308"/>
                  <a:gd name="T88" fmla="*/ 95 w 181"/>
                  <a:gd name="T89" fmla="*/ 104 h 308"/>
                  <a:gd name="T90" fmla="*/ 95 w 181"/>
                  <a:gd name="T91" fmla="*/ 77 h 308"/>
                  <a:gd name="T92" fmla="*/ 77 w 181"/>
                  <a:gd name="T93" fmla="*/ 59 h 308"/>
                  <a:gd name="T94" fmla="*/ 72 w 181"/>
                  <a:gd name="T95" fmla="*/ 32 h 308"/>
                  <a:gd name="T96" fmla="*/ 77 w 181"/>
                  <a:gd name="T97" fmla="*/ 23 h 308"/>
                  <a:gd name="T98" fmla="*/ 95 w 181"/>
                  <a:gd name="T99" fmla="*/ 23 h 308"/>
                  <a:gd name="T100" fmla="*/ 108 w 181"/>
                  <a:gd name="T101" fmla="*/ 23 h 308"/>
                  <a:gd name="T102" fmla="*/ 122 w 181"/>
                  <a:gd name="T103" fmla="*/ 23 h 308"/>
                  <a:gd name="T104" fmla="*/ 140 w 181"/>
                  <a:gd name="T105" fmla="*/ 18 h 308"/>
                  <a:gd name="T106" fmla="*/ 158 w 181"/>
                  <a:gd name="T107" fmla="*/ 14 h 308"/>
                  <a:gd name="T108" fmla="*/ 181 w 181"/>
                  <a:gd name="T109" fmla="*/ 5 h 308"/>
                  <a:gd name="T110" fmla="*/ 181 w 181"/>
                  <a:gd name="T111" fmla="*/ 14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81" h="308">
                    <a:moveTo>
                      <a:pt x="176" y="18"/>
                    </a:moveTo>
                    <a:lnTo>
                      <a:pt x="176" y="18"/>
                    </a:lnTo>
                    <a:lnTo>
                      <a:pt x="176" y="18"/>
                    </a:lnTo>
                    <a:lnTo>
                      <a:pt x="176" y="23"/>
                    </a:lnTo>
                    <a:lnTo>
                      <a:pt x="176" y="28"/>
                    </a:lnTo>
                    <a:lnTo>
                      <a:pt x="176" y="28"/>
                    </a:lnTo>
                    <a:lnTo>
                      <a:pt x="176" y="32"/>
                    </a:lnTo>
                    <a:lnTo>
                      <a:pt x="176" y="32"/>
                    </a:lnTo>
                    <a:lnTo>
                      <a:pt x="176" y="37"/>
                    </a:lnTo>
                    <a:lnTo>
                      <a:pt x="176" y="37"/>
                    </a:lnTo>
                    <a:lnTo>
                      <a:pt x="176" y="41"/>
                    </a:lnTo>
                    <a:lnTo>
                      <a:pt x="176" y="41"/>
                    </a:lnTo>
                    <a:lnTo>
                      <a:pt x="181" y="41"/>
                    </a:lnTo>
                    <a:lnTo>
                      <a:pt x="181" y="46"/>
                    </a:lnTo>
                    <a:lnTo>
                      <a:pt x="176" y="46"/>
                    </a:lnTo>
                    <a:lnTo>
                      <a:pt x="176" y="46"/>
                    </a:lnTo>
                    <a:lnTo>
                      <a:pt x="176" y="50"/>
                    </a:lnTo>
                    <a:lnTo>
                      <a:pt x="176" y="50"/>
                    </a:lnTo>
                    <a:lnTo>
                      <a:pt x="176" y="50"/>
                    </a:lnTo>
                    <a:lnTo>
                      <a:pt x="176" y="50"/>
                    </a:lnTo>
                    <a:lnTo>
                      <a:pt x="176" y="50"/>
                    </a:lnTo>
                    <a:lnTo>
                      <a:pt x="176" y="55"/>
                    </a:lnTo>
                    <a:lnTo>
                      <a:pt x="176" y="55"/>
                    </a:lnTo>
                    <a:lnTo>
                      <a:pt x="176" y="55"/>
                    </a:lnTo>
                    <a:lnTo>
                      <a:pt x="176" y="59"/>
                    </a:lnTo>
                    <a:lnTo>
                      <a:pt x="176" y="59"/>
                    </a:lnTo>
                    <a:lnTo>
                      <a:pt x="176" y="59"/>
                    </a:lnTo>
                    <a:lnTo>
                      <a:pt x="176" y="64"/>
                    </a:lnTo>
                    <a:lnTo>
                      <a:pt x="176" y="73"/>
                    </a:lnTo>
                    <a:lnTo>
                      <a:pt x="176" y="73"/>
                    </a:lnTo>
                    <a:lnTo>
                      <a:pt x="181" y="73"/>
                    </a:lnTo>
                    <a:lnTo>
                      <a:pt x="181" y="73"/>
                    </a:lnTo>
                    <a:lnTo>
                      <a:pt x="181" y="73"/>
                    </a:lnTo>
                    <a:lnTo>
                      <a:pt x="176" y="77"/>
                    </a:lnTo>
                    <a:lnTo>
                      <a:pt x="176" y="77"/>
                    </a:lnTo>
                    <a:lnTo>
                      <a:pt x="176" y="77"/>
                    </a:lnTo>
                    <a:lnTo>
                      <a:pt x="181" y="77"/>
                    </a:lnTo>
                    <a:lnTo>
                      <a:pt x="181" y="77"/>
                    </a:lnTo>
                    <a:lnTo>
                      <a:pt x="181" y="77"/>
                    </a:lnTo>
                    <a:lnTo>
                      <a:pt x="181" y="77"/>
                    </a:lnTo>
                    <a:lnTo>
                      <a:pt x="181" y="77"/>
                    </a:lnTo>
                    <a:lnTo>
                      <a:pt x="181" y="82"/>
                    </a:lnTo>
                    <a:lnTo>
                      <a:pt x="181" y="82"/>
                    </a:lnTo>
                    <a:lnTo>
                      <a:pt x="181" y="82"/>
                    </a:lnTo>
                    <a:lnTo>
                      <a:pt x="181" y="86"/>
                    </a:lnTo>
                    <a:lnTo>
                      <a:pt x="181" y="86"/>
                    </a:lnTo>
                    <a:lnTo>
                      <a:pt x="176" y="86"/>
                    </a:lnTo>
                    <a:lnTo>
                      <a:pt x="176" y="91"/>
                    </a:lnTo>
                    <a:lnTo>
                      <a:pt x="176" y="91"/>
                    </a:lnTo>
                    <a:lnTo>
                      <a:pt x="176" y="91"/>
                    </a:lnTo>
                    <a:lnTo>
                      <a:pt x="176" y="91"/>
                    </a:lnTo>
                    <a:lnTo>
                      <a:pt x="176" y="91"/>
                    </a:lnTo>
                    <a:lnTo>
                      <a:pt x="176" y="95"/>
                    </a:lnTo>
                    <a:lnTo>
                      <a:pt x="172" y="100"/>
                    </a:lnTo>
                    <a:lnTo>
                      <a:pt x="167" y="104"/>
                    </a:lnTo>
                    <a:lnTo>
                      <a:pt x="167" y="104"/>
                    </a:lnTo>
                    <a:lnTo>
                      <a:pt x="167" y="109"/>
                    </a:lnTo>
                    <a:lnTo>
                      <a:pt x="167" y="109"/>
                    </a:lnTo>
                    <a:lnTo>
                      <a:pt x="167" y="109"/>
                    </a:lnTo>
                    <a:lnTo>
                      <a:pt x="163" y="109"/>
                    </a:lnTo>
                    <a:lnTo>
                      <a:pt x="163" y="113"/>
                    </a:lnTo>
                    <a:lnTo>
                      <a:pt x="163" y="113"/>
                    </a:lnTo>
                    <a:lnTo>
                      <a:pt x="163" y="113"/>
                    </a:lnTo>
                    <a:lnTo>
                      <a:pt x="158" y="118"/>
                    </a:lnTo>
                    <a:lnTo>
                      <a:pt x="154" y="122"/>
                    </a:lnTo>
                    <a:lnTo>
                      <a:pt x="149" y="122"/>
                    </a:lnTo>
                    <a:lnTo>
                      <a:pt x="149" y="122"/>
                    </a:lnTo>
                    <a:lnTo>
                      <a:pt x="145" y="127"/>
                    </a:lnTo>
                    <a:lnTo>
                      <a:pt x="145" y="127"/>
                    </a:lnTo>
                    <a:lnTo>
                      <a:pt x="145" y="127"/>
                    </a:lnTo>
                    <a:lnTo>
                      <a:pt x="140" y="127"/>
                    </a:lnTo>
                    <a:lnTo>
                      <a:pt x="140" y="127"/>
                    </a:lnTo>
                    <a:lnTo>
                      <a:pt x="140" y="127"/>
                    </a:lnTo>
                    <a:lnTo>
                      <a:pt x="136" y="127"/>
                    </a:lnTo>
                    <a:lnTo>
                      <a:pt x="131" y="132"/>
                    </a:lnTo>
                    <a:lnTo>
                      <a:pt x="131" y="132"/>
                    </a:lnTo>
                    <a:lnTo>
                      <a:pt x="131" y="132"/>
                    </a:lnTo>
                    <a:lnTo>
                      <a:pt x="127" y="132"/>
                    </a:lnTo>
                    <a:lnTo>
                      <a:pt x="122" y="136"/>
                    </a:lnTo>
                    <a:lnTo>
                      <a:pt x="117" y="141"/>
                    </a:lnTo>
                    <a:lnTo>
                      <a:pt x="113" y="141"/>
                    </a:lnTo>
                    <a:lnTo>
                      <a:pt x="113" y="141"/>
                    </a:lnTo>
                    <a:lnTo>
                      <a:pt x="113" y="145"/>
                    </a:lnTo>
                    <a:lnTo>
                      <a:pt x="108" y="145"/>
                    </a:lnTo>
                    <a:lnTo>
                      <a:pt x="108" y="145"/>
                    </a:lnTo>
                    <a:lnTo>
                      <a:pt x="108" y="150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99" y="159"/>
                    </a:lnTo>
                    <a:lnTo>
                      <a:pt x="99" y="159"/>
                    </a:lnTo>
                    <a:lnTo>
                      <a:pt x="99" y="159"/>
                    </a:lnTo>
                    <a:lnTo>
                      <a:pt x="99" y="159"/>
                    </a:lnTo>
                    <a:lnTo>
                      <a:pt x="99" y="159"/>
                    </a:lnTo>
                    <a:lnTo>
                      <a:pt x="95" y="159"/>
                    </a:lnTo>
                    <a:lnTo>
                      <a:pt x="95" y="159"/>
                    </a:lnTo>
                    <a:lnTo>
                      <a:pt x="95" y="159"/>
                    </a:lnTo>
                    <a:lnTo>
                      <a:pt x="90" y="163"/>
                    </a:lnTo>
                    <a:lnTo>
                      <a:pt x="86" y="163"/>
                    </a:lnTo>
                    <a:lnTo>
                      <a:pt x="81" y="172"/>
                    </a:lnTo>
                    <a:lnTo>
                      <a:pt x="77" y="177"/>
                    </a:lnTo>
                    <a:lnTo>
                      <a:pt x="72" y="177"/>
                    </a:lnTo>
                    <a:lnTo>
                      <a:pt x="72" y="177"/>
                    </a:lnTo>
                    <a:lnTo>
                      <a:pt x="72" y="177"/>
                    </a:lnTo>
                    <a:lnTo>
                      <a:pt x="68" y="177"/>
                    </a:lnTo>
                    <a:lnTo>
                      <a:pt x="72" y="177"/>
                    </a:lnTo>
                    <a:lnTo>
                      <a:pt x="72" y="177"/>
                    </a:lnTo>
                    <a:lnTo>
                      <a:pt x="72" y="181"/>
                    </a:lnTo>
                    <a:lnTo>
                      <a:pt x="72" y="181"/>
                    </a:lnTo>
                    <a:lnTo>
                      <a:pt x="68" y="190"/>
                    </a:lnTo>
                    <a:lnTo>
                      <a:pt x="68" y="190"/>
                    </a:lnTo>
                    <a:lnTo>
                      <a:pt x="72" y="190"/>
                    </a:lnTo>
                    <a:lnTo>
                      <a:pt x="72" y="195"/>
                    </a:lnTo>
                    <a:lnTo>
                      <a:pt x="72" y="195"/>
                    </a:lnTo>
                    <a:lnTo>
                      <a:pt x="77" y="204"/>
                    </a:lnTo>
                    <a:lnTo>
                      <a:pt x="77" y="208"/>
                    </a:lnTo>
                    <a:lnTo>
                      <a:pt x="77" y="213"/>
                    </a:lnTo>
                    <a:lnTo>
                      <a:pt x="77" y="213"/>
                    </a:lnTo>
                    <a:lnTo>
                      <a:pt x="77" y="217"/>
                    </a:lnTo>
                    <a:lnTo>
                      <a:pt x="77" y="222"/>
                    </a:lnTo>
                    <a:lnTo>
                      <a:pt x="77" y="226"/>
                    </a:lnTo>
                    <a:lnTo>
                      <a:pt x="81" y="226"/>
                    </a:lnTo>
                    <a:lnTo>
                      <a:pt x="81" y="226"/>
                    </a:lnTo>
                    <a:lnTo>
                      <a:pt x="81" y="226"/>
                    </a:lnTo>
                    <a:lnTo>
                      <a:pt x="81" y="222"/>
                    </a:lnTo>
                    <a:lnTo>
                      <a:pt x="81" y="222"/>
                    </a:lnTo>
                    <a:lnTo>
                      <a:pt x="81" y="222"/>
                    </a:lnTo>
                    <a:lnTo>
                      <a:pt x="81" y="222"/>
                    </a:lnTo>
                    <a:lnTo>
                      <a:pt x="81" y="222"/>
                    </a:lnTo>
                    <a:lnTo>
                      <a:pt x="81" y="226"/>
                    </a:lnTo>
                    <a:lnTo>
                      <a:pt x="81" y="226"/>
                    </a:lnTo>
                    <a:lnTo>
                      <a:pt x="81" y="231"/>
                    </a:lnTo>
                    <a:lnTo>
                      <a:pt x="81" y="235"/>
                    </a:lnTo>
                    <a:lnTo>
                      <a:pt x="81" y="235"/>
                    </a:lnTo>
                    <a:lnTo>
                      <a:pt x="81" y="240"/>
                    </a:lnTo>
                    <a:lnTo>
                      <a:pt x="77" y="249"/>
                    </a:lnTo>
                    <a:lnTo>
                      <a:pt x="77" y="254"/>
                    </a:lnTo>
                    <a:lnTo>
                      <a:pt x="77" y="254"/>
                    </a:lnTo>
                    <a:lnTo>
                      <a:pt x="77" y="254"/>
                    </a:lnTo>
                    <a:lnTo>
                      <a:pt x="81" y="254"/>
                    </a:lnTo>
                    <a:lnTo>
                      <a:pt x="81" y="254"/>
                    </a:lnTo>
                    <a:lnTo>
                      <a:pt x="81" y="254"/>
                    </a:lnTo>
                    <a:lnTo>
                      <a:pt x="77" y="258"/>
                    </a:lnTo>
                    <a:lnTo>
                      <a:pt x="77" y="258"/>
                    </a:lnTo>
                    <a:lnTo>
                      <a:pt x="72" y="263"/>
                    </a:lnTo>
                    <a:lnTo>
                      <a:pt x="72" y="267"/>
                    </a:lnTo>
                    <a:lnTo>
                      <a:pt x="68" y="267"/>
                    </a:lnTo>
                    <a:lnTo>
                      <a:pt x="63" y="272"/>
                    </a:lnTo>
                    <a:lnTo>
                      <a:pt x="50" y="276"/>
                    </a:lnTo>
                    <a:lnTo>
                      <a:pt x="45" y="281"/>
                    </a:lnTo>
                    <a:lnTo>
                      <a:pt x="41" y="281"/>
                    </a:lnTo>
                    <a:lnTo>
                      <a:pt x="36" y="285"/>
                    </a:lnTo>
                    <a:lnTo>
                      <a:pt x="32" y="285"/>
                    </a:lnTo>
                    <a:lnTo>
                      <a:pt x="32" y="290"/>
                    </a:lnTo>
                    <a:lnTo>
                      <a:pt x="27" y="290"/>
                    </a:lnTo>
                    <a:lnTo>
                      <a:pt x="27" y="294"/>
                    </a:lnTo>
                    <a:lnTo>
                      <a:pt x="27" y="294"/>
                    </a:lnTo>
                    <a:lnTo>
                      <a:pt x="27" y="299"/>
                    </a:lnTo>
                    <a:lnTo>
                      <a:pt x="32" y="299"/>
                    </a:lnTo>
                    <a:lnTo>
                      <a:pt x="32" y="299"/>
                    </a:lnTo>
                    <a:lnTo>
                      <a:pt x="32" y="299"/>
                    </a:lnTo>
                    <a:lnTo>
                      <a:pt x="32" y="294"/>
                    </a:lnTo>
                    <a:lnTo>
                      <a:pt x="32" y="294"/>
                    </a:lnTo>
                    <a:lnTo>
                      <a:pt x="32" y="294"/>
                    </a:lnTo>
                    <a:lnTo>
                      <a:pt x="32" y="299"/>
                    </a:lnTo>
                    <a:lnTo>
                      <a:pt x="32" y="308"/>
                    </a:lnTo>
                    <a:lnTo>
                      <a:pt x="32" y="308"/>
                    </a:lnTo>
                    <a:lnTo>
                      <a:pt x="32" y="308"/>
                    </a:lnTo>
                    <a:lnTo>
                      <a:pt x="27" y="308"/>
                    </a:lnTo>
                    <a:lnTo>
                      <a:pt x="23" y="308"/>
                    </a:lnTo>
                    <a:lnTo>
                      <a:pt x="23" y="308"/>
                    </a:lnTo>
                    <a:lnTo>
                      <a:pt x="18" y="308"/>
                    </a:lnTo>
                    <a:lnTo>
                      <a:pt x="18" y="308"/>
                    </a:lnTo>
                    <a:lnTo>
                      <a:pt x="18" y="303"/>
                    </a:lnTo>
                    <a:lnTo>
                      <a:pt x="18" y="303"/>
                    </a:lnTo>
                    <a:lnTo>
                      <a:pt x="18" y="299"/>
                    </a:lnTo>
                    <a:lnTo>
                      <a:pt x="18" y="299"/>
                    </a:lnTo>
                    <a:lnTo>
                      <a:pt x="18" y="299"/>
                    </a:lnTo>
                    <a:lnTo>
                      <a:pt x="18" y="294"/>
                    </a:lnTo>
                    <a:lnTo>
                      <a:pt x="18" y="294"/>
                    </a:lnTo>
                    <a:lnTo>
                      <a:pt x="18" y="294"/>
                    </a:lnTo>
                    <a:lnTo>
                      <a:pt x="18" y="294"/>
                    </a:lnTo>
                    <a:lnTo>
                      <a:pt x="18" y="290"/>
                    </a:lnTo>
                    <a:lnTo>
                      <a:pt x="18" y="290"/>
                    </a:lnTo>
                    <a:lnTo>
                      <a:pt x="18" y="285"/>
                    </a:lnTo>
                    <a:lnTo>
                      <a:pt x="18" y="281"/>
                    </a:lnTo>
                    <a:lnTo>
                      <a:pt x="18" y="281"/>
                    </a:lnTo>
                    <a:lnTo>
                      <a:pt x="18" y="276"/>
                    </a:lnTo>
                    <a:lnTo>
                      <a:pt x="18" y="272"/>
                    </a:lnTo>
                    <a:lnTo>
                      <a:pt x="18" y="267"/>
                    </a:lnTo>
                    <a:lnTo>
                      <a:pt x="18" y="263"/>
                    </a:lnTo>
                    <a:lnTo>
                      <a:pt x="18" y="263"/>
                    </a:lnTo>
                    <a:lnTo>
                      <a:pt x="18" y="263"/>
                    </a:lnTo>
                    <a:lnTo>
                      <a:pt x="18" y="263"/>
                    </a:lnTo>
                    <a:lnTo>
                      <a:pt x="18" y="258"/>
                    </a:lnTo>
                    <a:lnTo>
                      <a:pt x="18" y="254"/>
                    </a:lnTo>
                    <a:lnTo>
                      <a:pt x="14" y="254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14" y="245"/>
                    </a:lnTo>
                    <a:lnTo>
                      <a:pt x="14" y="245"/>
                    </a:lnTo>
                    <a:lnTo>
                      <a:pt x="14" y="245"/>
                    </a:lnTo>
                    <a:lnTo>
                      <a:pt x="14" y="235"/>
                    </a:lnTo>
                    <a:lnTo>
                      <a:pt x="14" y="235"/>
                    </a:lnTo>
                    <a:lnTo>
                      <a:pt x="9" y="231"/>
                    </a:lnTo>
                    <a:lnTo>
                      <a:pt x="9" y="226"/>
                    </a:lnTo>
                    <a:lnTo>
                      <a:pt x="9" y="226"/>
                    </a:lnTo>
                    <a:lnTo>
                      <a:pt x="9" y="226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8" y="217"/>
                    </a:lnTo>
                    <a:lnTo>
                      <a:pt x="23" y="217"/>
                    </a:lnTo>
                    <a:lnTo>
                      <a:pt x="23" y="213"/>
                    </a:lnTo>
                    <a:lnTo>
                      <a:pt x="27" y="208"/>
                    </a:lnTo>
                    <a:lnTo>
                      <a:pt x="32" y="204"/>
                    </a:lnTo>
                    <a:lnTo>
                      <a:pt x="32" y="204"/>
                    </a:lnTo>
                    <a:lnTo>
                      <a:pt x="32" y="204"/>
                    </a:lnTo>
                    <a:lnTo>
                      <a:pt x="27" y="204"/>
                    </a:lnTo>
                    <a:lnTo>
                      <a:pt x="32" y="199"/>
                    </a:lnTo>
                    <a:lnTo>
                      <a:pt x="32" y="195"/>
                    </a:lnTo>
                    <a:lnTo>
                      <a:pt x="32" y="195"/>
                    </a:lnTo>
                    <a:lnTo>
                      <a:pt x="32" y="195"/>
                    </a:lnTo>
                    <a:lnTo>
                      <a:pt x="32" y="190"/>
                    </a:lnTo>
                    <a:lnTo>
                      <a:pt x="36" y="190"/>
                    </a:lnTo>
                    <a:lnTo>
                      <a:pt x="36" y="186"/>
                    </a:lnTo>
                    <a:lnTo>
                      <a:pt x="41" y="186"/>
                    </a:lnTo>
                    <a:lnTo>
                      <a:pt x="41" y="181"/>
                    </a:lnTo>
                    <a:lnTo>
                      <a:pt x="41" y="181"/>
                    </a:lnTo>
                    <a:lnTo>
                      <a:pt x="41" y="177"/>
                    </a:lnTo>
                    <a:lnTo>
                      <a:pt x="41" y="177"/>
                    </a:lnTo>
                    <a:lnTo>
                      <a:pt x="41" y="177"/>
                    </a:lnTo>
                    <a:lnTo>
                      <a:pt x="41" y="172"/>
                    </a:lnTo>
                    <a:lnTo>
                      <a:pt x="36" y="168"/>
                    </a:lnTo>
                    <a:lnTo>
                      <a:pt x="41" y="168"/>
                    </a:lnTo>
                    <a:lnTo>
                      <a:pt x="41" y="163"/>
                    </a:lnTo>
                    <a:lnTo>
                      <a:pt x="41" y="163"/>
                    </a:lnTo>
                    <a:lnTo>
                      <a:pt x="41" y="163"/>
                    </a:lnTo>
                    <a:lnTo>
                      <a:pt x="41" y="163"/>
                    </a:lnTo>
                    <a:lnTo>
                      <a:pt x="36" y="163"/>
                    </a:lnTo>
                    <a:lnTo>
                      <a:pt x="36" y="159"/>
                    </a:lnTo>
                    <a:lnTo>
                      <a:pt x="36" y="159"/>
                    </a:lnTo>
                    <a:lnTo>
                      <a:pt x="36" y="159"/>
                    </a:lnTo>
                    <a:lnTo>
                      <a:pt x="41" y="159"/>
                    </a:lnTo>
                    <a:lnTo>
                      <a:pt x="41" y="159"/>
                    </a:lnTo>
                    <a:lnTo>
                      <a:pt x="41" y="154"/>
                    </a:lnTo>
                    <a:lnTo>
                      <a:pt x="41" y="154"/>
                    </a:lnTo>
                    <a:lnTo>
                      <a:pt x="41" y="154"/>
                    </a:lnTo>
                    <a:lnTo>
                      <a:pt x="45" y="150"/>
                    </a:lnTo>
                    <a:lnTo>
                      <a:pt x="45" y="150"/>
                    </a:lnTo>
                    <a:lnTo>
                      <a:pt x="41" y="150"/>
                    </a:lnTo>
                    <a:lnTo>
                      <a:pt x="41" y="145"/>
                    </a:lnTo>
                    <a:lnTo>
                      <a:pt x="41" y="145"/>
                    </a:lnTo>
                    <a:lnTo>
                      <a:pt x="41" y="141"/>
                    </a:lnTo>
                    <a:lnTo>
                      <a:pt x="45" y="132"/>
                    </a:lnTo>
                    <a:lnTo>
                      <a:pt x="45" y="127"/>
                    </a:lnTo>
                    <a:lnTo>
                      <a:pt x="41" y="127"/>
                    </a:lnTo>
                    <a:lnTo>
                      <a:pt x="41" y="122"/>
                    </a:lnTo>
                    <a:lnTo>
                      <a:pt x="45" y="118"/>
                    </a:lnTo>
                    <a:lnTo>
                      <a:pt x="45" y="118"/>
                    </a:lnTo>
                    <a:lnTo>
                      <a:pt x="41" y="118"/>
                    </a:lnTo>
                    <a:lnTo>
                      <a:pt x="41" y="118"/>
                    </a:lnTo>
                    <a:lnTo>
                      <a:pt x="41" y="118"/>
                    </a:lnTo>
                    <a:lnTo>
                      <a:pt x="36" y="118"/>
                    </a:lnTo>
                    <a:lnTo>
                      <a:pt x="36" y="113"/>
                    </a:lnTo>
                    <a:lnTo>
                      <a:pt x="32" y="113"/>
                    </a:lnTo>
                    <a:lnTo>
                      <a:pt x="27" y="113"/>
                    </a:lnTo>
                    <a:lnTo>
                      <a:pt x="23" y="109"/>
                    </a:lnTo>
                    <a:lnTo>
                      <a:pt x="18" y="109"/>
                    </a:lnTo>
                    <a:lnTo>
                      <a:pt x="18" y="109"/>
                    </a:lnTo>
                    <a:lnTo>
                      <a:pt x="14" y="104"/>
                    </a:lnTo>
                    <a:lnTo>
                      <a:pt x="9" y="104"/>
                    </a:lnTo>
                    <a:lnTo>
                      <a:pt x="5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0" y="95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5" y="82"/>
                    </a:lnTo>
                    <a:lnTo>
                      <a:pt x="5" y="82"/>
                    </a:lnTo>
                    <a:lnTo>
                      <a:pt x="9" y="82"/>
                    </a:lnTo>
                    <a:lnTo>
                      <a:pt x="14" y="82"/>
                    </a:lnTo>
                    <a:lnTo>
                      <a:pt x="18" y="82"/>
                    </a:lnTo>
                    <a:lnTo>
                      <a:pt x="23" y="77"/>
                    </a:lnTo>
                    <a:lnTo>
                      <a:pt x="23" y="77"/>
                    </a:lnTo>
                    <a:lnTo>
                      <a:pt x="23" y="77"/>
                    </a:lnTo>
                    <a:lnTo>
                      <a:pt x="27" y="77"/>
                    </a:lnTo>
                    <a:lnTo>
                      <a:pt x="32" y="77"/>
                    </a:lnTo>
                    <a:lnTo>
                      <a:pt x="32" y="73"/>
                    </a:lnTo>
                    <a:lnTo>
                      <a:pt x="32" y="73"/>
                    </a:lnTo>
                    <a:lnTo>
                      <a:pt x="41" y="73"/>
                    </a:lnTo>
                    <a:lnTo>
                      <a:pt x="45" y="68"/>
                    </a:lnTo>
                    <a:lnTo>
                      <a:pt x="45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4" y="73"/>
                    </a:lnTo>
                    <a:lnTo>
                      <a:pt x="54" y="77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63" y="77"/>
                    </a:lnTo>
                    <a:lnTo>
                      <a:pt x="63" y="77"/>
                    </a:lnTo>
                    <a:lnTo>
                      <a:pt x="63" y="77"/>
                    </a:lnTo>
                    <a:lnTo>
                      <a:pt x="68" y="77"/>
                    </a:lnTo>
                    <a:lnTo>
                      <a:pt x="68" y="77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2" y="82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72" y="91"/>
                    </a:lnTo>
                    <a:lnTo>
                      <a:pt x="72" y="91"/>
                    </a:lnTo>
                    <a:lnTo>
                      <a:pt x="72" y="95"/>
                    </a:lnTo>
                    <a:lnTo>
                      <a:pt x="68" y="95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68" y="109"/>
                    </a:lnTo>
                    <a:lnTo>
                      <a:pt x="72" y="113"/>
                    </a:lnTo>
                    <a:lnTo>
                      <a:pt x="72" y="113"/>
                    </a:lnTo>
                    <a:lnTo>
                      <a:pt x="77" y="118"/>
                    </a:lnTo>
                    <a:lnTo>
                      <a:pt x="77" y="118"/>
                    </a:lnTo>
                    <a:lnTo>
                      <a:pt x="77" y="122"/>
                    </a:lnTo>
                    <a:lnTo>
                      <a:pt x="81" y="122"/>
                    </a:lnTo>
                    <a:lnTo>
                      <a:pt x="81" y="122"/>
                    </a:lnTo>
                    <a:lnTo>
                      <a:pt x="81" y="122"/>
                    </a:lnTo>
                    <a:lnTo>
                      <a:pt x="81" y="127"/>
                    </a:lnTo>
                    <a:lnTo>
                      <a:pt x="81" y="127"/>
                    </a:lnTo>
                    <a:lnTo>
                      <a:pt x="81" y="127"/>
                    </a:lnTo>
                    <a:lnTo>
                      <a:pt x="81" y="127"/>
                    </a:lnTo>
                    <a:lnTo>
                      <a:pt x="81" y="127"/>
                    </a:lnTo>
                    <a:lnTo>
                      <a:pt x="81" y="127"/>
                    </a:lnTo>
                    <a:lnTo>
                      <a:pt x="81" y="127"/>
                    </a:lnTo>
                    <a:lnTo>
                      <a:pt x="86" y="122"/>
                    </a:lnTo>
                    <a:lnTo>
                      <a:pt x="81" y="118"/>
                    </a:lnTo>
                    <a:lnTo>
                      <a:pt x="81" y="118"/>
                    </a:lnTo>
                    <a:lnTo>
                      <a:pt x="81" y="118"/>
                    </a:lnTo>
                    <a:lnTo>
                      <a:pt x="81" y="113"/>
                    </a:lnTo>
                    <a:lnTo>
                      <a:pt x="81" y="113"/>
                    </a:lnTo>
                    <a:lnTo>
                      <a:pt x="86" y="109"/>
                    </a:lnTo>
                    <a:lnTo>
                      <a:pt x="86" y="109"/>
                    </a:lnTo>
                    <a:lnTo>
                      <a:pt x="86" y="109"/>
                    </a:lnTo>
                    <a:lnTo>
                      <a:pt x="90" y="109"/>
                    </a:lnTo>
                    <a:lnTo>
                      <a:pt x="90" y="109"/>
                    </a:lnTo>
                    <a:lnTo>
                      <a:pt x="90" y="109"/>
                    </a:lnTo>
                    <a:lnTo>
                      <a:pt x="95" y="104"/>
                    </a:lnTo>
                    <a:lnTo>
                      <a:pt x="95" y="100"/>
                    </a:lnTo>
                    <a:lnTo>
                      <a:pt x="95" y="95"/>
                    </a:lnTo>
                    <a:lnTo>
                      <a:pt x="95" y="91"/>
                    </a:lnTo>
                    <a:lnTo>
                      <a:pt x="95" y="86"/>
                    </a:lnTo>
                    <a:lnTo>
                      <a:pt x="95" y="86"/>
                    </a:lnTo>
                    <a:lnTo>
                      <a:pt x="95" y="86"/>
                    </a:lnTo>
                    <a:lnTo>
                      <a:pt x="95" y="82"/>
                    </a:lnTo>
                    <a:lnTo>
                      <a:pt x="95" y="77"/>
                    </a:lnTo>
                    <a:lnTo>
                      <a:pt x="90" y="73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1" y="59"/>
                    </a:lnTo>
                    <a:lnTo>
                      <a:pt x="81" y="59"/>
                    </a:lnTo>
                    <a:lnTo>
                      <a:pt x="77" y="59"/>
                    </a:lnTo>
                    <a:lnTo>
                      <a:pt x="77" y="59"/>
                    </a:lnTo>
                    <a:lnTo>
                      <a:pt x="77" y="59"/>
                    </a:lnTo>
                    <a:lnTo>
                      <a:pt x="72" y="55"/>
                    </a:lnTo>
                    <a:lnTo>
                      <a:pt x="72" y="55"/>
                    </a:lnTo>
                    <a:lnTo>
                      <a:pt x="72" y="50"/>
                    </a:lnTo>
                    <a:lnTo>
                      <a:pt x="72" y="46"/>
                    </a:lnTo>
                    <a:lnTo>
                      <a:pt x="72" y="41"/>
                    </a:lnTo>
                    <a:lnTo>
                      <a:pt x="72" y="41"/>
                    </a:lnTo>
                    <a:lnTo>
                      <a:pt x="72" y="37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28"/>
                    </a:lnTo>
                    <a:lnTo>
                      <a:pt x="77" y="28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81" y="23"/>
                    </a:lnTo>
                    <a:lnTo>
                      <a:pt x="81" y="23"/>
                    </a:lnTo>
                    <a:lnTo>
                      <a:pt x="86" y="23"/>
                    </a:lnTo>
                    <a:lnTo>
                      <a:pt x="90" y="23"/>
                    </a:lnTo>
                    <a:lnTo>
                      <a:pt x="90" y="23"/>
                    </a:lnTo>
                    <a:lnTo>
                      <a:pt x="90" y="23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95" y="18"/>
                    </a:lnTo>
                    <a:lnTo>
                      <a:pt x="99" y="18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8" y="23"/>
                    </a:lnTo>
                    <a:lnTo>
                      <a:pt x="113" y="23"/>
                    </a:lnTo>
                    <a:lnTo>
                      <a:pt x="113" y="23"/>
                    </a:lnTo>
                    <a:lnTo>
                      <a:pt x="117" y="23"/>
                    </a:lnTo>
                    <a:lnTo>
                      <a:pt x="117" y="23"/>
                    </a:lnTo>
                    <a:lnTo>
                      <a:pt x="117" y="23"/>
                    </a:lnTo>
                    <a:lnTo>
                      <a:pt x="117" y="23"/>
                    </a:lnTo>
                    <a:lnTo>
                      <a:pt x="122" y="23"/>
                    </a:lnTo>
                    <a:lnTo>
                      <a:pt x="122" y="23"/>
                    </a:lnTo>
                    <a:lnTo>
                      <a:pt x="127" y="23"/>
                    </a:lnTo>
                    <a:lnTo>
                      <a:pt x="131" y="23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6" y="18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0" y="18"/>
                    </a:lnTo>
                    <a:lnTo>
                      <a:pt x="145" y="18"/>
                    </a:lnTo>
                    <a:lnTo>
                      <a:pt x="145" y="18"/>
                    </a:lnTo>
                    <a:lnTo>
                      <a:pt x="149" y="14"/>
                    </a:lnTo>
                    <a:lnTo>
                      <a:pt x="154" y="14"/>
                    </a:lnTo>
                    <a:lnTo>
                      <a:pt x="154" y="14"/>
                    </a:lnTo>
                    <a:lnTo>
                      <a:pt x="158" y="14"/>
                    </a:lnTo>
                    <a:lnTo>
                      <a:pt x="158" y="14"/>
                    </a:lnTo>
                    <a:lnTo>
                      <a:pt x="163" y="9"/>
                    </a:lnTo>
                    <a:lnTo>
                      <a:pt x="163" y="9"/>
                    </a:lnTo>
                    <a:lnTo>
                      <a:pt x="167" y="9"/>
                    </a:lnTo>
                    <a:lnTo>
                      <a:pt x="172" y="9"/>
                    </a:lnTo>
                    <a:lnTo>
                      <a:pt x="172" y="5"/>
                    </a:lnTo>
                    <a:lnTo>
                      <a:pt x="176" y="5"/>
                    </a:lnTo>
                    <a:lnTo>
                      <a:pt x="176" y="0"/>
                    </a:lnTo>
                    <a:lnTo>
                      <a:pt x="181" y="5"/>
                    </a:lnTo>
                    <a:lnTo>
                      <a:pt x="181" y="5"/>
                    </a:lnTo>
                    <a:lnTo>
                      <a:pt x="181" y="5"/>
                    </a:lnTo>
                    <a:lnTo>
                      <a:pt x="181" y="9"/>
                    </a:lnTo>
                    <a:lnTo>
                      <a:pt x="181" y="9"/>
                    </a:lnTo>
                    <a:lnTo>
                      <a:pt x="181" y="9"/>
                    </a:lnTo>
                    <a:lnTo>
                      <a:pt x="181" y="14"/>
                    </a:lnTo>
                    <a:lnTo>
                      <a:pt x="181" y="14"/>
                    </a:lnTo>
                    <a:lnTo>
                      <a:pt x="181" y="14"/>
                    </a:lnTo>
                    <a:lnTo>
                      <a:pt x="176" y="14"/>
                    </a:lnTo>
                    <a:lnTo>
                      <a:pt x="176" y="18"/>
                    </a:lnTo>
                    <a:lnTo>
                      <a:pt x="176" y="18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92" name="Freeform 113"/>
              <p:cNvSpPr>
                <a:spLocks/>
              </p:cNvSpPr>
              <p:nvPr/>
            </p:nvSpPr>
            <p:spPr bwMode="auto">
              <a:xfrm>
                <a:off x="3817938" y="2135189"/>
                <a:ext cx="330200" cy="373063"/>
              </a:xfrm>
              <a:custGeom>
                <a:avLst/>
                <a:gdLst>
                  <a:gd name="T0" fmla="*/ 186 w 208"/>
                  <a:gd name="T1" fmla="*/ 126 h 235"/>
                  <a:gd name="T2" fmla="*/ 186 w 208"/>
                  <a:gd name="T3" fmla="*/ 149 h 235"/>
                  <a:gd name="T4" fmla="*/ 190 w 208"/>
                  <a:gd name="T5" fmla="*/ 171 h 235"/>
                  <a:gd name="T6" fmla="*/ 190 w 208"/>
                  <a:gd name="T7" fmla="*/ 198 h 235"/>
                  <a:gd name="T8" fmla="*/ 195 w 208"/>
                  <a:gd name="T9" fmla="*/ 217 h 235"/>
                  <a:gd name="T10" fmla="*/ 177 w 208"/>
                  <a:gd name="T11" fmla="*/ 221 h 235"/>
                  <a:gd name="T12" fmla="*/ 158 w 208"/>
                  <a:gd name="T13" fmla="*/ 221 h 235"/>
                  <a:gd name="T14" fmla="*/ 140 w 208"/>
                  <a:gd name="T15" fmla="*/ 221 h 235"/>
                  <a:gd name="T16" fmla="*/ 127 w 208"/>
                  <a:gd name="T17" fmla="*/ 221 h 235"/>
                  <a:gd name="T18" fmla="*/ 122 w 208"/>
                  <a:gd name="T19" fmla="*/ 221 h 235"/>
                  <a:gd name="T20" fmla="*/ 113 w 208"/>
                  <a:gd name="T21" fmla="*/ 226 h 235"/>
                  <a:gd name="T22" fmla="*/ 104 w 208"/>
                  <a:gd name="T23" fmla="*/ 221 h 235"/>
                  <a:gd name="T24" fmla="*/ 100 w 208"/>
                  <a:gd name="T25" fmla="*/ 226 h 235"/>
                  <a:gd name="T26" fmla="*/ 91 w 208"/>
                  <a:gd name="T27" fmla="*/ 217 h 235"/>
                  <a:gd name="T28" fmla="*/ 82 w 208"/>
                  <a:gd name="T29" fmla="*/ 226 h 235"/>
                  <a:gd name="T30" fmla="*/ 77 w 208"/>
                  <a:gd name="T31" fmla="*/ 235 h 235"/>
                  <a:gd name="T32" fmla="*/ 73 w 208"/>
                  <a:gd name="T33" fmla="*/ 230 h 235"/>
                  <a:gd name="T34" fmla="*/ 68 w 208"/>
                  <a:gd name="T35" fmla="*/ 226 h 235"/>
                  <a:gd name="T36" fmla="*/ 64 w 208"/>
                  <a:gd name="T37" fmla="*/ 226 h 235"/>
                  <a:gd name="T38" fmla="*/ 59 w 208"/>
                  <a:gd name="T39" fmla="*/ 221 h 235"/>
                  <a:gd name="T40" fmla="*/ 59 w 208"/>
                  <a:gd name="T41" fmla="*/ 212 h 235"/>
                  <a:gd name="T42" fmla="*/ 55 w 208"/>
                  <a:gd name="T43" fmla="*/ 208 h 235"/>
                  <a:gd name="T44" fmla="*/ 50 w 208"/>
                  <a:gd name="T45" fmla="*/ 208 h 235"/>
                  <a:gd name="T46" fmla="*/ 46 w 208"/>
                  <a:gd name="T47" fmla="*/ 208 h 235"/>
                  <a:gd name="T48" fmla="*/ 32 w 208"/>
                  <a:gd name="T49" fmla="*/ 198 h 235"/>
                  <a:gd name="T50" fmla="*/ 27 w 208"/>
                  <a:gd name="T51" fmla="*/ 198 h 235"/>
                  <a:gd name="T52" fmla="*/ 23 w 208"/>
                  <a:gd name="T53" fmla="*/ 198 h 235"/>
                  <a:gd name="T54" fmla="*/ 9 w 208"/>
                  <a:gd name="T55" fmla="*/ 203 h 235"/>
                  <a:gd name="T56" fmla="*/ 5 w 208"/>
                  <a:gd name="T57" fmla="*/ 203 h 235"/>
                  <a:gd name="T58" fmla="*/ 0 w 208"/>
                  <a:gd name="T59" fmla="*/ 212 h 235"/>
                  <a:gd name="T60" fmla="*/ 9 w 208"/>
                  <a:gd name="T61" fmla="*/ 189 h 235"/>
                  <a:gd name="T62" fmla="*/ 9 w 208"/>
                  <a:gd name="T63" fmla="*/ 158 h 235"/>
                  <a:gd name="T64" fmla="*/ 5 w 208"/>
                  <a:gd name="T65" fmla="*/ 149 h 235"/>
                  <a:gd name="T66" fmla="*/ 9 w 208"/>
                  <a:gd name="T67" fmla="*/ 135 h 235"/>
                  <a:gd name="T68" fmla="*/ 9 w 208"/>
                  <a:gd name="T69" fmla="*/ 122 h 235"/>
                  <a:gd name="T70" fmla="*/ 5 w 208"/>
                  <a:gd name="T71" fmla="*/ 122 h 235"/>
                  <a:gd name="T72" fmla="*/ 0 w 208"/>
                  <a:gd name="T73" fmla="*/ 122 h 235"/>
                  <a:gd name="T74" fmla="*/ 5 w 208"/>
                  <a:gd name="T75" fmla="*/ 113 h 235"/>
                  <a:gd name="T76" fmla="*/ 23 w 208"/>
                  <a:gd name="T77" fmla="*/ 113 h 235"/>
                  <a:gd name="T78" fmla="*/ 41 w 208"/>
                  <a:gd name="T79" fmla="*/ 113 h 235"/>
                  <a:gd name="T80" fmla="*/ 59 w 208"/>
                  <a:gd name="T81" fmla="*/ 113 h 235"/>
                  <a:gd name="T82" fmla="*/ 68 w 208"/>
                  <a:gd name="T83" fmla="*/ 104 h 235"/>
                  <a:gd name="T84" fmla="*/ 68 w 208"/>
                  <a:gd name="T85" fmla="*/ 90 h 235"/>
                  <a:gd name="T86" fmla="*/ 68 w 208"/>
                  <a:gd name="T87" fmla="*/ 81 h 235"/>
                  <a:gd name="T88" fmla="*/ 77 w 208"/>
                  <a:gd name="T89" fmla="*/ 76 h 235"/>
                  <a:gd name="T90" fmla="*/ 86 w 208"/>
                  <a:gd name="T91" fmla="*/ 72 h 235"/>
                  <a:gd name="T92" fmla="*/ 86 w 208"/>
                  <a:gd name="T93" fmla="*/ 58 h 235"/>
                  <a:gd name="T94" fmla="*/ 91 w 208"/>
                  <a:gd name="T95" fmla="*/ 45 h 235"/>
                  <a:gd name="T96" fmla="*/ 91 w 208"/>
                  <a:gd name="T97" fmla="*/ 31 h 235"/>
                  <a:gd name="T98" fmla="*/ 91 w 208"/>
                  <a:gd name="T99" fmla="*/ 22 h 235"/>
                  <a:gd name="T100" fmla="*/ 109 w 208"/>
                  <a:gd name="T101" fmla="*/ 22 h 235"/>
                  <a:gd name="T102" fmla="*/ 122 w 208"/>
                  <a:gd name="T103" fmla="*/ 22 h 235"/>
                  <a:gd name="T104" fmla="*/ 140 w 208"/>
                  <a:gd name="T105" fmla="*/ 22 h 235"/>
                  <a:gd name="T106" fmla="*/ 145 w 208"/>
                  <a:gd name="T107" fmla="*/ 13 h 235"/>
                  <a:gd name="T108" fmla="*/ 149 w 208"/>
                  <a:gd name="T109" fmla="*/ 0 h 235"/>
                  <a:gd name="T110" fmla="*/ 168 w 208"/>
                  <a:gd name="T111" fmla="*/ 13 h 235"/>
                  <a:gd name="T112" fmla="*/ 181 w 208"/>
                  <a:gd name="T113" fmla="*/ 22 h 235"/>
                  <a:gd name="T114" fmla="*/ 195 w 208"/>
                  <a:gd name="T115" fmla="*/ 31 h 235"/>
                  <a:gd name="T116" fmla="*/ 204 w 208"/>
                  <a:gd name="T117" fmla="*/ 45 h 235"/>
                  <a:gd name="T118" fmla="*/ 181 w 208"/>
                  <a:gd name="T119" fmla="*/ 45 h 235"/>
                  <a:gd name="T120" fmla="*/ 181 w 208"/>
                  <a:gd name="T121" fmla="*/ 72 h 235"/>
                  <a:gd name="T122" fmla="*/ 181 w 208"/>
                  <a:gd name="T123" fmla="*/ 95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08" h="235">
                    <a:moveTo>
                      <a:pt x="186" y="113"/>
                    </a:moveTo>
                    <a:lnTo>
                      <a:pt x="186" y="113"/>
                    </a:lnTo>
                    <a:lnTo>
                      <a:pt x="186" y="117"/>
                    </a:lnTo>
                    <a:lnTo>
                      <a:pt x="186" y="122"/>
                    </a:lnTo>
                    <a:lnTo>
                      <a:pt x="186" y="126"/>
                    </a:lnTo>
                    <a:lnTo>
                      <a:pt x="186" y="131"/>
                    </a:lnTo>
                    <a:lnTo>
                      <a:pt x="186" y="135"/>
                    </a:lnTo>
                    <a:lnTo>
                      <a:pt x="186" y="140"/>
                    </a:lnTo>
                    <a:lnTo>
                      <a:pt x="186" y="144"/>
                    </a:lnTo>
                    <a:lnTo>
                      <a:pt x="186" y="149"/>
                    </a:lnTo>
                    <a:lnTo>
                      <a:pt x="186" y="153"/>
                    </a:lnTo>
                    <a:lnTo>
                      <a:pt x="186" y="158"/>
                    </a:lnTo>
                    <a:lnTo>
                      <a:pt x="186" y="162"/>
                    </a:lnTo>
                    <a:lnTo>
                      <a:pt x="186" y="167"/>
                    </a:lnTo>
                    <a:lnTo>
                      <a:pt x="190" y="171"/>
                    </a:lnTo>
                    <a:lnTo>
                      <a:pt x="190" y="176"/>
                    </a:lnTo>
                    <a:lnTo>
                      <a:pt x="190" y="180"/>
                    </a:lnTo>
                    <a:lnTo>
                      <a:pt x="190" y="189"/>
                    </a:lnTo>
                    <a:lnTo>
                      <a:pt x="190" y="194"/>
                    </a:lnTo>
                    <a:lnTo>
                      <a:pt x="190" y="198"/>
                    </a:lnTo>
                    <a:lnTo>
                      <a:pt x="190" y="203"/>
                    </a:lnTo>
                    <a:lnTo>
                      <a:pt x="190" y="203"/>
                    </a:lnTo>
                    <a:lnTo>
                      <a:pt x="195" y="208"/>
                    </a:lnTo>
                    <a:lnTo>
                      <a:pt x="195" y="212"/>
                    </a:lnTo>
                    <a:lnTo>
                      <a:pt x="195" y="217"/>
                    </a:lnTo>
                    <a:lnTo>
                      <a:pt x="190" y="221"/>
                    </a:lnTo>
                    <a:lnTo>
                      <a:pt x="190" y="221"/>
                    </a:lnTo>
                    <a:lnTo>
                      <a:pt x="186" y="221"/>
                    </a:lnTo>
                    <a:lnTo>
                      <a:pt x="181" y="221"/>
                    </a:lnTo>
                    <a:lnTo>
                      <a:pt x="177" y="221"/>
                    </a:lnTo>
                    <a:lnTo>
                      <a:pt x="172" y="221"/>
                    </a:lnTo>
                    <a:lnTo>
                      <a:pt x="172" y="221"/>
                    </a:lnTo>
                    <a:lnTo>
                      <a:pt x="168" y="221"/>
                    </a:lnTo>
                    <a:lnTo>
                      <a:pt x="163" y="221"/>
                    </a:lnTo>
                    <a:lnTo>
                      <a:pt x="158" y="221"/>
                    </a:lnTo>
                    <a:lnTo>
                      <a:pt x="158" y="221"/>
                    </a:lnTo>
                    <a:lnTo>
                      <a:pt x="154" y="221"/>
                    </a:lnTo>
                    <a:lnTo>
                      <a:pt x="149" y="221"/>
                    </a:lnTo>
                    <a:lnTo>
                      <a:pt x="145" y="221"/>
                    </a:lnTo>
                    <a:lnTo>
                      <a:pt x="140" y="221"/>
                    </a:lnTo>
                    <a:lnTo>
                      <a:pt x="140" y="221"/>
                    </a:lnTo>
                    <a:lnTo>
                      <a:pt x="136" y="221"/>
                    </a:lnTo>
                    <a:lnTo>
                      <a:pt x="131" y="221"/>
                    </a:lnTo>
                    <a:lnTo>
                      <a:pt x="127" y="221"/>
                    </a:lnTo>
                    <a:lnTo>
                      <a:pt x="127" y="221"/>
                    </a:lnTo>
                    <a:lnTo>
                      <a:pt x="127" y="221"/>
                    </a:lnTo>
                    <a:lnTo>
                      <a:pt x="127" y="217"/>
                    </a:lnTo>
                    <a:lnTo>
                      <a:pt x="127" y="217"/>
                    </a:lnTo>
                    <a:lnTo>
                      <a:pt x="122" y="217"/>
                    </a:lnTo>
                    <a:lnTo>
                      <a:pt x="122" y="221"/>
                    </a:lnTo>
                    <a:lnTo>
                      <a:pt x="122" y="221"/>
                    </a:lnTo>
                    <a:lnTo>
                      <a:pt x="122" y="221"/>
                    </a:lnTo>
                    <a:lnTo>
                      <a:pt x="122" y="221"/>
                    </a:lnTo>
                    <a:lnTo>
                      <a:pt x="118" y="221"/>
                    </a:lnTo>
                    <a:lnTo>
                      <a:pt x="113" y="226"/>
                    </a:lnTo>
                    <a:lnTo>
                      <a:pt x="113" y="221"/>
                    </a:lnTo>
                    <a:lnTo>
                      <a:pt x="109" y="221"/>
                    </a:lnTo>
                    <a:lnTo>
                      <a:pt x="109" y="221"/>
                    </a:lnTo>
                    <a:lnTo>
                      <a:pt x="109" y="221"/>
                    </a:lnTo>
                    <a:lnTo>
                      <a:pt x="104" y="221"/>
                    </a:lnTo>
                    <a:lnTo>
                      <a:pt x="104" y="221"/>
                    </a:lnTo>
                    <a:lnTo>
                      <a:pt x="104" y="221"/>
                    </a:lnTo>
                    <a:lnTo>
                      <a:pt x="100" y="221"/>
                    </a:lnTo>
                    <a:lnTo>
                      <a:pt x="100" y="226"/>
                    </a:lnTo>
                    <a:lnTo>
                      <a:pt x="100" y="226"/>
                    </a:lnTo>
                    <a:lnTo>
                      <a:pt x="100" y="226"/>
                    </a:lnTo>
                    <a:lnTo>
                      <a:pt x="95" y="226"/>
                    </a:lnTo>
                    <a:lnTo>
                      <a:pt x="95" y="226"/>
                    </a:lnTo>
                    <a:lnTo>
                      <a:pt x="91" y="221"/>
                    </a:lnTo>
                    <a:lnTo>
                      <a:pt x="91" y="217"/>
                    </a:lnTo>
                    <a:lnTo>
                      <a:pt x="91" y="217"/>
                    </a:lnTo>
                    <a:lnTo>
                      <a:pt x="86" y="221"/>
                    </a:lnTo>
                    <a:lnTo>
                      <a:pt x="86" y="221"/>
                    </a:lnTo>
                    <a:lnTo>
                      <a:pt x="82" y="221"/>
                    </a:lnTo>
                    <a:lnTo>
                      <a:pt x="82" y="226"/>
                    </a:lnTo>
                    <a:lnTo>
                      <a:pt x="82" y="226"/>
                    </a:lnTo>
                    <a:lnTo>
                      <a:pt x="82" y="226"/>
                    </a:lnTo>
                    <a:lnTo>
                      <a:pt x="82" y="230"/>
                    </a:lnTo>
                    <a:lnTo>
                      <a:pt x="82" y="235"/>
                    </a:lnTo>
                    <a:lnTo>
                      <a:pt x="77" y="235"/>
                    </a:lnTo>
                    <a:lnTo>
                      <a:pt x="77" y="235"/>
                    </a:lnTo>
                    <a:lnTo>
                      <a:pt x="77" y="235"/>
                    </a:lnTo>
                    <a:lnTo>
                      <a:pt x="73" y="235"/>
                    </a:lnTo>
                    <a:lnTo>
                      <a:pt x="73" y="235"/>
                    </a:lnTo>
                    <a:lnTo>
                      <a:pt x="73" y="230"/>
                    </a:lnTo>
                    <a:lnTo>
                      <a:pt x="73" y="230"/>
                    </a:lnTo>
                    <a:lnTo>
                      <a:pt x="68" y="230"/>
                    </a:lnTo>
                    <a:lnTo>
                      <a:pt x="68" y="230"/>
                    </a:lnTo>
                    <a:lnTo>
                      <a:pt x="68" y="226"/>
                    </a:lnTo>
                    <a:lnTo>
                      <a:pt x="68" y="226"/>
                    </a:lnTo>
                    <a:lnTo>
                      <a:pt x="64" y="226"/>
                    </a:lnTo>
                    <a:lnTo>
                      <a:pt x="64" y="226"/>
                    </a:lnTo>
                    <a:lnTo>
                      <a:pt x="64" y="226"/>
                    </a:lnTo>
                    <a:lnTo>
                      <a:pt x="64" y="226"/>
                    </a:lnTo>
                    <a:lnTo>
                      <a:pt x="64" y="226"/>
                    </a:lnTo>
                    <a:lnTo>
                      <a:pt x="64" y="221"/>
                    </a:lnTo>
                    <a:lnTo>
                      <a:pt x="64" y="221"/>
                    </a:lnTo>
                    <a:lnTo>
                      <a:pt x="64" y="221"/>
                    </a:lnTo>
                    <a:lnTo>
                      <a:pt x="59" y="221"/>
                    </a:lnTo>
                    <a:lnTo>
                      <a:pt x="59" y="221"/>
                    </a:lnTo>
                    <a:lnTo>
                      <a:pt x="59" y="221"/>
                    </a:lnTo>
                    <a:lnTo>
                      <a:pt x="59" y="217"/>
                    </a:lnTo>
                    <a:lnTo>
                      <a:pt x="59" y="217"/>
                    </a:lnTo>
                    <a:lnTo>
                      <a:pt x="59" y="217"/>
                    </a:lnTo>
                    <a:lnTo>
                      <a:pt x="59" y="212"/>
                    </a:lnTo>
                    <a:lnTo>
                      <a:pt x="59" y="212"/>
                    </a:lnTo>
                    <a:lnTo>
                      <a:pt x="55" y="212"/>
                    </a:lnTo>
                    <a:lnTo>
                      <a:pt x="55" y="208"/>
                    </a:lnTo>
                    <a:lnTo>
                      <a:pt x="55" y="208"/>
                    </a:lnTo>
                    <a:lnTo>
                      <a:pt x="55" y="208"/>
                    </a:lnTo>
                    <a:lnTo>
                      <a:pt x="55" y="208"/>
                    </a:lnTo>
                    <a:lnTo>
                      <a:pt x="55" y="208"/>
                    </a:lnTo>
                    <a:lnTo>
                      <a:pt x="55" y="208"/>
                    </a:lnTo>
                    <a:lnTo>
                      <a:pt x="50" y="208"/>
                    </a:lnTo>
                    <a:lnTo>
                      <a:pt x="50" y="208"/>
                    </a:lnTo>
                    <a:lnTo>
                      <a:pt x="50" y="208"/>
                    </a:lnTo>
                    <a:lnTo>
                      <a:pt x="50" y="208"/>
                    </a:lnTo>
                    <a:lnTo>
                      <a:pt x="50" y="208"/>
                    </a:lnTo>
                    <a:lnTo>
                      <a:pt x="46" y="208"/>
                    </a:lnTo>
                    <a:lnTo>
                      <a:pt x="46" y="208"/>
                    </a:lnTo>
                    <a:lnTo>
                      <a:pt x="46" y="208"/>
                    </a:lnTo>
                    <a:lnTo>
                      <a:pt x="46" y="203"/>
                    </a:lnTo>
                    <a:lnTo>
                      <a:pt x="41" y="198"/>
                    </a:lnTo>
                    <a:lnTo>
                      <a:pt x="37" y="198"/>
                    </a:lnTo>
                    <a:lnTo>
                      <a:pt x="32" y="198"/>
                    </a:lnTo>
                    <a:lnTo>
                      <a:pt x="32" y="198"/>
                    </a:lnTo>
                    <a:lnTo>
                      <a:pt x="32" y="198"/>
                    </a:lnTo>
                    <a:lnTo>
                      <a:pt x="27" y="198"/>
                    </a:lnTo>
                    <a:lnTo>
                      <a:pt x="27" y="198"/>
                    </a:lnTo>
                    <a:lnTo>
                      <a:pt x="27" y="198"/>
                    </a:lnTo>
                    <a:lnTo>
                      <a:pt x="27" y="198"/>
                    </a:lnTo>
                    <a:lnTo>
                      <a:pt x="27" y="198"/>
                    </a:lnTo>
                    <a:lnTo>
                      <a:pt x="27" y="198"/>
                    </a:lnTo>
                    <a:lnTo>
                      <a:pt x="27" y="198"/>
                    </a:lnTo>
                    <a:lnTo>
                      <a:pt x="23" y="198"/>
                    </a:lnTo>
                    <a:lnTo>
                      <a:pt x="18" y="198"/>
                    </a:lnTo>
                    <a:lnTo>
                      <a:pt x="18" y="203"/>
                    </a:lnTo>
                    <a:lnTo>
                      <a:pt x="14" y="203"/>
                    </a:lnTo>
                    <a:lnTo>
                      <a:pt x="14" y="203"/>
                    </a:lnTo>
                    <a:lnTo>
                      <a:pt x="9" y="203"/>
                    </a:lnTo>
                    <a:lnTo>
                      <a:pt x="9" y="203"/>
                    </a:lnTo>
                    <a:lnTo>
                      <a:pt x="9" y="198"/>
                    </a:lnTo>
                    <a:lnTo>
                      <a:pt x="9" y="203"/>
                    </a:lnTo>
                    <a:lnTo>
                      <a:pt x="5" y="203"/>
                    </a:lnTo>
                    <a:lnTo>
                      <a:pt x="5" y="203"/>
                    </a:lnTo>
                    <a:lnTo>
                      <a:pt x="5" y="208"/>
                    </a:lnTo>
                    <a:lnTo>
                      <a:pt x="5" y="208"/>
                    </a:lnTo>
                    <a:lnTo>
                      <a:pt x="5" y="208"/>
                    </a:lnTo>
                    <a:lnTo>
                      <a:pt x="5" y="212"/>
                    </a:lnTo>
                    <a:lnTo>
                      <a:pt x="0" y="212"/>
                    </a:lnTo>
                    <a:lnTo>
                      <a:pt x="0" y="208"/>
                    </a:lnTo>
                    <a:lnTo>
                      <a:pt x="5" y="203"/>
                    </a:lnTo>
                    <a:lnTo>
                      <a:pt x="5" y="198"/>
                    </a:lnTo>
                    <a:lnTo>
                      <a:pt x="5" y="194"/>
                    </a:lnTo>
                    <a:lnTo>
                      <a:pt x="9" y="189"/>
                    </a:lnTo>
                    <a:lnTo>
                      <a:pt x="9" y="180"/>
                    </a:lnTo>
                    <a:lnTo>
                      <a:pt x="14" y="176"/>
                    </a:lnTo>
                    <a:lnTo>
                      <a:pt x="14" y="171"/>
                    </a:lnTo>
                    <a:lnTo>
                      <a:pt x="14" y="162"/>
                    </a:lnTo>
                    <a:lnTo>
                      <a:pt x="9" y="158"/>
                    </a:lnTo>
                    <a:lnTo>
                      <a:pt x="9" y="153"/>
                    </a:lnTo>
                    <a:lnTo>
                      <a:pt x="9" y="153"/>
                    </a:lnTo>
                    <a:lnTo>
                      <a:pt x="5" y="149"/>
                    </a:lnTo>
                    <a:lnTo>
                      <a:pt x="5" y="149"/>
                    </a:lnTo>
                    <a:lnTo>
                      <a:pt x="5" y="149"/>
                    </a:lnTo>
                    <a:lnTo>
                      <a:pt x="9" y="149"/>
                    </a:lnTo>
                    <a:lnTo>
                      <a:pt x="9" y="144"/>
                    </a:lnTo>
                    <a:lnTo>
                      <a:pt x="9" y="144"/>
                    </a:lnTo>
                    <a:lnTo>
                      <a:pt x="9" y="140"/>
                    </a:lnTo>
                    <a:lnTo>
                      <a:pt x="9" y="135"/>
                    </a:lnTo>
                    <a:lnTo>
                      <a:pt x="9" y="135"/>
                    </a:lnTo>
                    <a:lnTo>
                      <a:pt x="14" y="131"/>
                    </a:lnTo>
                    <a:lnTo>
                      <a:pt x="9" y="126"/>
                    </a:lnTo>
                    <a:lnTo>
                      <a:pt x="9" y="122"/>
                    </a:lnTo>
                    <a:lnTo>
                      <a:pt x="9" y="122"/>
                    </a:lnTo>
                    <a:lnTo>
                      <a:pt x="9" y="122"/>
                    </a:lnTo>
                    <a:lnTo>
                      <a:pt x="9" y="122"/>
                    </a:lnTo>
                    <a:lnTo>
                      <a:pt x="5" y="126"/>
                    </a:lnTo>
                    <a:lnTo>
                      <a:pt x="5" y="122"/>
                    </a:lnTo>
                    <a:lnTo>
                      <a:pt x="5" y="122"/>
                    </a:lnTo>
                    <a:lnTo>
                      <a:pt x="0" y="117"/>
                    </a:lnTo>
                    <a:lnTo>
                      <a:pt x="0" y="113"/>
                    </a:lnTo>
                    <a:lnTo>
                      <a:pt x="0" y="117"/>
                    </a:lnTo>
                    <a:lnTo>
                      <a:pt x="0" y="117"/>
                    </a:lnTo>
                    <a:lnTo>
                      <a:pt x="0" y="122"/>
                    </a:lnTo>
                    <a:lnTo>
                      <a:pt x="0" y="117"/>
                    </a:lnTo>
                    <a:lnTo>
                      <a:pt x="0" y="117"/>
                    </a:lnTo>
                    <a:lnTo>
                      <a:pt x="0" y="113"/>
                    </a:lnTo>
                    <a:lnTo>
                      <a:pt x="0" y="113"/>
                    </a:lnTo>
                    <a:lnTo>
                      <a:pt x="5" y="113"/>
                    </a:lnTo>
                    <a:lnTo>
                      <a:pt x="5" y="113"/>
                    </a:lnTo>
                    <a:lnTo>
                      <a:pt x="9" y="113"/>
                    </a:lnTo>
                    <a:lnTo>
                      <a:pt x="14" y="113"/>
                    </a:lnTo>
                    <a:lnTo>
                      <a:pt x="18" y="113"/>
                    </a:lnTo>
                    <a:lnTo>
                      <a:pt x="23" y="113"/>
                    </a:lnTo>
                    <a:lnTo>
                      <a:pt x="27" y="113"/>
                    </a:lnTo>
                    <a:lnTo>
                      <a:pt x="32" y="113"/>
                    </a:lnTo>
                    <a:lnTo>
                      <a:pt x="32" y="113"/>
                    </a:lnTo>
                    <a:lnTo>
                      <a:pt x="37" y="113"/>
                    </a:lnTo>
                    <a:lnTo>
                      <a:pt x="41" y="113"/>
                    </a:lnTo>
                    <a:lnTo>
                      <a:pt x="46" y="113"/>
                    </a:lnTo>
                    <a:lnTo>
                      <a:pt x="50" y="113"/>
                    </a:lnTo>
                    <a:lnTo>
                      <a:pt x="55" y="113"/>
                    </a:lnTo>
                    <a:lnTo>
                      <a:pt x="59" y="113"/>
                    </a:lnTo>
                    <a:lnTo>
                      <a:pt x="59" y="113"/>
                    </a:lnTo>
                    <a:lnTo>
                      <a:pt x="64" y="113"/>
                    </a:lnTo>
                    <a:lnTo>
                      <a:pt x="68" y="113"/>
                    </a:lnTo>
                    <a:lnTo>
                      <a:pt x="68" y="108"/>
                    </a:lnTo>
                    <a:lnTo>
                      <a:pt x="68" y="108"/>
                    </a:lnTo>
                    <a:lnTo>
                      <a:pt x="68" y="104"/>
                    </a:lnTo>
                    <a:lnTo>
                      <a:pt x="68" y="99"/>
                    </a:lnTo>
                    <a:lnTo>
                      <a:pt x="68" y="99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8" y="90"/>
                    </a:lnTo>
                    <a:lnTo>
                      <a:pt x="68" y="90"/>
                    </a:lnTo>
                    <a:lnTo>
                      <a:pt x="68" y="90"/>
                    </a:lnTo>
                    <a:lnTo>
                      <a:pt x="68" y="85"/>
                    </a:lnTo>
                    <a:lnTo>
                      <a:pt x="68" y="85"/>
                    </a:lnTo>
                    <a:lnTo>
                      <a:pt x="68" y="81"/>
                    </a:lnTo>
                    <a:lnTo>
                      <a:pt x="68" y="81"/>
                    </a:lnTo>
                    <a:lnTo>
                      <a:pt x="68" y="81"/>
                    </a:lnTo>
                    <a:lnTo>
                      <a:pt x="73" y="76"/>
                    </a:lnTo>
                    <a:lnTo>
                      <a:pt x="73" y="76"/>
                    </a:lnTo>
                    <a:lnTo>
                      <a:pt x="77" y="76"/>
                    </a:lnTo>
                    <a:lnTo>
                      <a:pt x="77" y="72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67"/>
                    </a:lnTo>
                    <a:lnTo>
                      <a:pt x="86" y="67"/>
                    </a:lnTo>
                    <a:lnTo>
                      <a:pt x="86" y="63"/>
                    </a:lnTo>
                    <a:lnTo>
                      <a:pt x="86" y="63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4"/>
                    </a:lnTo>
                    <a:lnTo>
                      <a:pt x="86" y="49"/>
                    </a:lnTo>
                    <a:lnTo>
                      <a:pt x="91" y="49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40"/>
                    </a:lnTo>
                    <a:lnTo>
                      <a:pt x="91" y="40"/>
                    </a:lnTo>
                    <a:lnTo>
                      <a:pt x="91" y="36"/>
                    </a:lnTo>
                    <a:lnTo>
                      <a:pt x="91" y="31"/>
                    </a:lnTo>
                    <a:lnTo>
                      <a:pt x="91" y="31"/>
                    </a:lnTo>
                    <a:lnTo>
                      <a:pt x="91" y="27"/>
                    </a:lnTo>
                    <a:lnTo>
                      <a:pt x="91" y="27"/>
                    </a:lnTo>
                    <a:lnTo>
                      <a:pt x="91" y="22"/>
                    </a:lnTo>
                    <a:lnTo>
                      <a:pt x="91" y="22"/>
                    </a:lnTo>
                    <a:lnTo>
                      <a:pt x="95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9" y="22"/>
                    </a:lnTo>
                    <a:lnTo>
                      <a:pt x="113" y="22"/>
                    </a:lnTo>
                    <a:lnTo>
                      <a:pt x="113" y="22"/>
                    </a:lnTo>
                    <a:lnTo>
                      <a:pt x="118" y="22"/>
                    </a:lnTo>
                    <a:lnTo>
                      <a:pt x="122" y="22"/>
                    </a:lnTo>
                    <a:lnTo>
                      <a:pt x="122" y="22"/>
                    </a:lnTo>
                    <a:lnTo>
                      <a:pt x="127" y="22"/>
                    </a:lnTo>
                    <a:lnTo>
                      <a:pt x="131" y="22"/>
                    </a:lnTo>
                    <a:lnTo>
                      <a:pt x="131" y="22"/>
                    </a:lnTo>
                    <a:lnTo>
                      <a:pt x="136" y="22"/>
                    </a:lnTo>
                    <a:lnTo>
                      <a:pt x="140" y="22"/>
                    </a:lnTo>
                    <a:lnTo>
                      <a:pt x="140" y="22"/>
                    </a:lnTo>
                    <a:lnTo>
                      <a:pt x="145" y="22"/>
                    </a:lnTo>
                    <a:lnTo>
                      <a:pt x="145" y="22"/>
                    </a:lnTo>
                    <a:lnTo>
                      <a:pt x="145" y="18"/>
                    </a:lnTo>
                    <a:lnTo>
                      <a:pt x="145" y="13"/>
                    </a:lnTo>
                    <a:lnTo>
                      <a:pt x="145" y="9"/>
                    </a:lnTo>
                    <a:lnTo>
                      <a:pt x="145" y="4"/>
                    </a:lnTo>
                    <a:lnTo>
                      <a:pt x="149" y="4"/>
                    </a:lnTo>
                    <a:lnTo>
                      <a:pt x="149" y="0"/>
                    </a:lnTo>
                    <a:lnTo>
                      <a:pt x="149" y="0"/>
                    </a:lnTo>
                    <a:lnTo>
                      <a:pt x="154" y="4"/>
                    </a:lnTo>
                    <a:lnTo>
                      <a:pt x="158" y="4"/>
                    </a:lnTo>
                    <a:lnTo>
                      <a:pt x="158" y="9"/>
                    </a:lnTo>
                    <a:lnTo>
                      <a:pt x="163" y="9"/>
                    </a:lnTo>
                    <a:lnTo>
                      <a:pt x="168" y="13"/>
                    </a:lnTo>
                    <a:lnTo>
                      <a:pt x="168" y="13"/>
                    </a:lnTo>
                    <a:lnTo>
                      <a:pt x="172" y="18"/>
                    </a:lnTo>
                    <a:lnTo>
                      <a:pt x="177" y="18"/>
                    </a:lnTo>
                    <a:lnTo>
                      <a:pt x="177" y="22"/>
                    </a:lnTo>
                    <a:lnTo>
                      <a:pt x="181" y="22"/>
                    </a:lnTo>
                    <a:lnTo>
                      <a:pt x="186" y="27"/>
                    </a:lnTo>
                    <a:lnTo>
                      <a:pt x="186" y="27"/>
                    </a:lnTo>
                    <a:lnTo>
                      <a:pt x="190" y="27"/>
                    </a:lnTo>
                    <a:lnTo>
                      <a:pt x="195" y="31"/>
                    </a:lnTo>
                    <a:lnTo>
                      <a:pt x="195" y="31"/>
                    </a:lnTo>
                    <a:lnTo>
                      <a:pt x="199" y="36"/>
                    </a:lnTo>
                    <a:lnTo>
                      <a:pt x="204" y="36"/>
                    </a:lnTo>
                    <a:lnTo>
                      <a:pt x="208" y="40"/>
                    </a:lnTo>
                    <a:lnTo>
                      <a:pt x="208" y="45"/>
                    </a:lnTo>
                    <a:lnTo>
                      <a:pt x="204" y="45"/>
                    </a:lnTo>
                    <a:lnTo>
                      <a:pt x="195" y="45"/>
                    </a:lnTo>
                    <a:lnTo>
                      <a:pt x="190" y="45"/>
                    </a:lnTo>
                    <a:lnTo>
                      <a:pt x="186" y="45"/>
                    </a:lnTo>
                    <a:lnTo>
                      <a:pt x="181" y="45"/>
                    </a:lnTo>
                    <a:lnTo>
                      <a:pt x="181" y="45"/>
                    </a:lnTo>
                    <a:lnTo>
                      <a:pt x="181" y="54"/>
                    </a:lnTo>
                    <a:lnTo>
                      <a:pt x="181" y="58"/>
                    </a:lnTo>
                    <a:lnTo>
                      <a:pt x="181" y="63"/>
                    </a:lnTo>
                    <a:lnTo>
                      <a:pt x="181" y="67"/>
                    </a:lnTo>
                    <a:lnTo>
                      <a:pt x="181" y="72"/>
                    </a:lnTo>
                    <a:lnTo>
                      <a:pt x="181" y="76"/>
                    </a:lnTo>
                    <a:lnTo>
                      <a:pt x="181" y="81"/>
                    </a:lnTo>
                    <a:lnTo>
                      <a:pt x="181" y="85"/>
                    </a:lnTo>
                    <a:lnTo>
                      <a:pt x="181" y="90"/>
                    </a:lnTo>
                    <a:lnTo>
                      <a:pt x="181" y="95"/>
                    </a:lnTo>
                    <a:lnTo>
                      <a:pt x="181" y="99"/>
                    </a:lnTo>
                    <a:lnTo>
                      <a:pt x="186" y="104"/>
                    </a:lnTo>
                    <a:lnTo>
                      <a:pt x="186" y="108"/>
                    </a:lnTo>
                    <a:lnTo>
                      <a:pt x="186" y="113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93" name="Freeform 114"/>
              <p:cNvSpPr>
                <a:spLocks/>
              </p:cNvSpPr>
              <p:nvPr/>
            </p:nvSpPr>
            <p:spPr bwMode="auto">
              <a:xfrm>
                <a:off x="5167313" y="3232151"/>
                <a:ext cx="85725" cy="230188"/>
              </a:xfrm>
              <a:custGeom>
                <a:avLst/>
                <a:gdLst>
                  <a:gd name="T0" fmla="*/ 18 w 54"/>
                  <a:gd name="T1" fmla="*/ 5 h 145"/>
                  <a:gd name="T2" fmla="*/ 22 w 54"/>
                  <a:gd name="T3" fmla="*/ 5 h 145"/>
                  <a:gd name="T4" fmla="*/ 27 w 54"/>
                  <a:gd name="T5" fmla="*/ 5 h 145"/>
                  <a:gd name="T6" fmla="*/ 27 w 54"/>
                  <a:gd name="T7" fmla="*/ 0 h 145"/>
                  <a:gd name="T8" fmla="*/ 36 w 54"/>
                  <a:gd name="T9" fmla="*/ 9 h 145"/>
                  <a:gd name="T10" fmla="*/ 36 w 54"/>
                  <a:gd name="T11" fmla="*/ 18 h 145"/>
                  <a:gd name="T12" fmla="*/ 36 w 54"/>
                  <a:gd name="T13" fmla="*/ 23 h 145"/>
                  <a:gd name="T14" fmla="*/ 36 w 54"/>
                  <a:gd name="T15" fmla="*/ 27 h 145"/>
                  <a:gd name="T16" fmla="*/ 36 w 54"/>
                  <a:gd name="T17" fmla="*/ 32 h 145"/>
                  <a:gd name="T18" fmla="*/ 40 w 54"/>
                  <a:gd name="T19" fmla="*/ 36 h 145"/>
                  <a:gd name="T20" fmla="*/ 40 w 54"/>
                  <a:gd name="T21" fmla="*/ 41 h 145"/>
                  <a:gd name="T22" fmla="*/ 36 w 54"/>
                  <a:gd name="T23" fmla="*/ 41 h 145"/>
                  <a:gd name="T24" fmla="*/ 31 w 54"/>
                  <a:gd name="T25" fmla="*/ 50 h 145"/>
                  <a:gd name="T26" fmla="*/ 31 w 54"/>
                  <a:gd name="T27" fmla="*/ 55 h 145"/>
                  <a:gd name="T28" fmla="*/ 31 w 54"/>
                  <a:gd name="T29" fmla="*/ 68 h 145"/>
                  <a:gd name="T30" fmla="*/ 36 w 54"/>
                  <a:gd name="T31" fmla="*/ 77 h 145"/>
                  <a:gd name="T32" fmla="*/ 45 w 54"/>
                  <a:gd name="T33" fmla="*/ 86 h 145"/>
                  <a:gd name="T34" fmla="*/ 54 w 54"/>
                  <a:gd name="T35" fmla="*/ 100 h 145"/>
                  <a:gd name="T36" fmla="*/ 54 w 54"/>
                  <a:gd name="T37" fmla="*/ 109 h 145"/>
                  <a:gd name="T38" fmla="*/ 49 w 54"/>
                  <a:gd name="T39" fmla="*/ 127 h 145"/>
                  <a:gd name="T40" fmla="*/ 45 w 54"/>
                  <a:gd name="T41" fmla="*/ 127 h 145"/>
                  <a:gd name="T42" fmla="*/ 40 w 54"/>
                  <a:gd name="T43" fmla="*/ 136 h 145"/>
                  <a:gd name="T44" fmla="*/ 40 w 54"/>
                  <a:gd name="T45" fmla="*/ 145 h 145"/>
                  <a:gd name="T46" fmla="*/ 40 w 54"/>
                  <a:gd name="T47" fmla="*/ 145 h 145"/>
                  <a:gd name="T48" fmla="*/ 40 w 54"/>
                  <a:gd name="T49" fmla="*/ 140 h 145"/>
                  <a:gd name="T50" fmla="*/ 36 w 54"/>
                  <a:gd name="T51" fmla="*/ 136 h 145"/>
                  <a:gd name="T52" fmla="*/ 27 w 54"/>
                  <a:gd name="T53" fmla="*/ 127 h 145"/>
                  <a:gd name="T54" fmla="*/ 27 w 54"/>
                  <a:gd name="T55" fmla="*/ 122 h 145"/>
                  <a:gd name="T56" fmla="*/ 27 w 54"/>
                  <a:gd name="T57" fmla="*/ 118 h 145"/>
                  <a:gd name="T58" fmla="*/ 31 w 54"/>
                  <a:gd name="T59" fmla="*/ 109 h 145"/>
                  <a:gd name="T60" fmla="*/ 31 w 54"/>
                  <a:gd name="T61" fmla="*/ 100 h 145"/>
                  <a:gd name="T62" fmla="*/ 27 w 54"/>
                  <a:gd name="T63" fmla="*/ 95 h 145"/>
                  <a:gd name="T64" fmla="*/ 18 w 54"/>
                  <a:gd name="T65" fmla="*/ 95 h 145"/>
                  <a:gd name="T66" fmla="*/ 13 w 54"/>
                  <a:gd name="T67" fmla="*/ 95 h 145"/>
                  <a:gd name="T68" fmla="*/ 9 w 54"/>
                  <a:gd name="T69" fmla="*/ 86 h 145"/>
                  <a:gd name="T70" fmla="*/ 4 w 54"/>
                  <a:gd name="T71" fmla="*/ 86 h 145"/>
                  <a:gd name="T72" fmla="*/ 4 w 54"/>
                  <a:gd name="T73" fmla="*/ 82 h 145"/>
                  <a:gd name="T74" fmla="*/ 4 w 54"/>
                  <a:gd name="T75" fmla="*/ 82 h 145"/>
                  <a:gd name="T76" fmla="*/ 0 w 54"/>
                  <a:gd name="T77" fmla="*/ 77 h 145"/>
                  <a:gd name="T78" fmla="*/ 4 w 54"/>
                  <a:gd name="T79" fmla="*/ 73 h 145"/>
                  <a:gd name="T80" fmla="*/ 4 w 54"/>
                  <a:gd name="T81" fmla="*/ 68 h 145"/>
                  <a:gd name="T82" fmla="*/ 4 w 54"/>
                  <a:gd name="T83" fmla="*/ 64 h 145"/>
                  <a:gd name="T84" fmla="*/ 13 w 54"/>
                  <a:gd name="T85" fmla="*/ 59 h 145"/>
                  <a:gd name="T86" fmla="*/ 13 w 54"/>
                  <a:gd name="T87" fmla="*/ 55 h 145"/>
                  <a:gd name="T88" fmla="*/ 13 w 54"/>
                  <a:gd name="T89" fmla="*/ 46 h 145"/>
                  <a:gd name="T90" fmla="*/ 13 w 54"/>
                  <a:gd name="T91" fmla="*/ 41 h 145"/>
                  <a:gd name="T92" fmla="*/ 13 w 54"/>
                  <a:gd name="T93" fmla="*/ 32 h 145"/>
                  <a:gd name="T94" fmla="*/ 13 w 54"/>
                  <a:gd name="T95" fmla="*/ 27 h 145"/>
                  <a:gd name="T96" fmla="*/ 13 w 54"/>
                  <a:gd name="T97" fmla="*/ 27 h 145"/>
                  <a:gd name="T98" fmla="*/ 18 w 54"/>
                  <a:gd name="T99" fmla="*/ 18 h 145"/>
                  <a:gd name="T100" fmla="*/ 18 w 54"/>
                  <a:gd name="T101" fmla="*/ 14 h 145"/>
                  <a:gd name="T102" fmla="*/ 13 w 54"/>
                  <a:gd name="T103" fmla="*/ 9 h 145"/>
                  <a:gd name="T104" fmla="*/ 13 w 54"/>
                  <a:gd name="T105" fmla="*/ 5 h 145"/>
                  <a:gd name="T106" fmla="*/ 9 w 54"/>
                  <a:gd name="T107" fmla="*/ 5 h 145"/>
                  <a:gd name="T108" fmla="*/ 9 w 54"/>
                  <a:gd name="T109" fmla="*/ 0 h 145"/>
                  <a:gd name="T110" fmla="*/ 9 w 54"/>
                  <a:gd name="T111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4" h="145">
                    <a:moveTo>
                      <a:pt x="13" y="0"/>
                    </a:moveTo>
                    <a:lnTo>
                      <a:pt x="13" y="0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1" y="5"/>
                    </a:lnTo>
                    <a:lnTo>
                      <a:pt x="31" y="5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41"/>
                    </a:lnTo>
                    <a:lnTo>
                      <a:pt x="40" y="41"/>
                    </a:lnTo>
                    <a:lnTo>
                      <a:pt x="40" y="41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6"/>
                    </a:lnTo>
                    <a:lnTo>
                      <a:pt x="31" y="46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31" y="55"/>
                    </a:lnTo>
                    <a:lnTo>
                      <a:pt x="31" y="59"/>
                    </a:lnTo>
                    <a:lnTo>
                      <a:pt x="31" y="59"/>
                    </a:lnTo>
                    <a:lnTo>
                      <a:pt x="31" y="64"/>
                    </a:lnTo>
                    <a:lnTo>
                      <a:pt x="31" y="68"/>
                    </a:lnTo>
                    <a:lnTo>
                      <a:pt x="31" y="73"/>
                    </a:lnTo>
                    <a:lnTo>
                      <a:pt x="31" y="73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0" y="77"/>
                    </a:lnTo>
                    <a:lnTo>
                      <a:pt x="40" y="77"/>
                    </a:lnTo>
                    <a:lnTo>
                      <a:pt x="45" y="86"/>
                    </a:lnTo>
                    <a:lnTo>
                      <a:pt x="45" y="86"/>
                    </a:lnTo>
                    <a:lnTo>
                      <a:pt x="49" y="91"/>
                    </a:lnTo>
                    <a:lnTo>
                      <a:pt x="54" y="95"/>
                    </a:lnTo>
                    <a:lnTo>
                      <a:pt x="54" y="100"/>
                    </a:lnTo>
                    <a:lnTo>
                      <a:pt x="54" y="104"/>
                    </a:lnTo>
                    <a:lnTo>
                      <a:pt x="54" y="104"/>
                    </a:lnTo>
                    <a:lnTo>
                      <a:pt x="54" y="104"/>
                    </a:lnTo>
                    <a:lnTo>
                      <a:pt x="54" y="109"/>
                    </a:lnTo>
                    <a:lnTo>
                      <a:pt x="54" y="113"/>
                    </a:lnTo>
                    <a:lnTo>
                      <a:pt x="54" y="118"/>
                    </a:lnTo>
                    <a:lnTo>
                      <a:pt x="54" y="122"/>
                    </a:lnTo>
                    <a:lnTo>
                      <a:pt x="49" y="127"/>
                    </a:lnTo>
                    <a:lnTo>
                      <a:pt x="49" y="127"/>
                    </a:lnTo>
                    <a:lnTo>
                      <a:pt x="49" y="127"/>
                    </a:lnTo>
                    <a:lnTo>
                      <a:pt x="45" y="127"/>
                    </a:lnTo>
                    <a:lnTo>
                      <a:pt x="45" y="127"/>
                    </a:lnTo>
                    <a:lnTo>
                      <a:pt x="45" y="127"/>
                    </a:lnTo>
                    <a:lnTo>
                      <a:pt x="40" y="131"/>
                    </a:lnTo>
                    <a:lnTo>
                      <a:pt x="40" y="131"/>
                    </a:lnTo>
                    <a:lnTo>
                      <a:pt x="40" y="136"/>
                    </a:lnTo>
                    <a:lnTo>
                      <a:pt x="40" y="136"/>
                    </a:lnTo>
                    <a:lnTo>
                      <a:pt x="40" y="136"/>
                    </a:lnTo>
                    <a:lnTo>
                      <a:pt x="45" y="140"/>
                    </a:lnTo>
                    <a:lnTo>
                      <a:pt x="40" y="145"/>
                    </a:lnTo>
                    <a:lnTo>
                      <a:pt x="40" y="145"/>
                    </a:lnTo>
                    <a:lnTo>
                      <a:pt x="40" y="145"/>
                    </a:lnTo>
                    <a:lnTo>
                      <a:pt x="40" y="145"/>
                    </a:lnTo>
                    <a:lnTo>
                      <a:pt x="40" y="145"/>
                    </a:lnTo>
                    <a:lnTo>
                      <a:pt x="40" y="145"/>
                    </a:lnTo>
                    <a:lnTo>
                      <a:pt x="40" y="145"/>
                    </a:lnTo>
                    <a:lnTo>
                      <a:pt x="40" y="140"/>
                    </a:lnTo>
                    <a:lnTo>
                      <a:pt x="40" y="140"/>
                    </a:lnTo>
                    <a:lnTo>
                      <a:pt x="40" y="140"/>
                    </a:lnTo>
                    <a:lnTo>
                      <a:pt x="36" y="140"/>
                    </a:lnTo>
                    <a:lnTo>
                      <a:pt x="36" y="136"/>
                    </a:lnTo>
                    <a:lnTo>
                      <a:pt x="36" y="136"/>
                    </a:lnTo>
                    <a:lnTo>
                      <a:pt x="31" y="131"/>
                    </a:lnTo>
                    <a:lnTo>
                      <a:pt x="31" y="131"/>
                    </a:lnTo>
                    <a:lnTo>
                      <a:pt x="27" y="127"/>
                    </a:lnTo>
                    <a:lnTo>
                      <a:pt x="27" y="127"/>
                    </a:lnTo>
                    <a:lnTo>
                      <a:pt x="27" y="127"/>
                    </a:lnTo>
                    <a:lnTo>
                      <a:pt x="27" y="127"/>
                    </a:lnTo>
                    <a:lnTo>
                      <a:pt x="27" y="127"/>
                    </a:lnTo>
                    <a:lnTo>
                      <a:pt x="27" y="122"/>
                    </a:lnTo>
                    <a:lnTo>
                      <a:pt x="27" y="122"/>
                    </a:lnTo>
                    <a:lnTo>
                      <a:pt x="27" y="122"/>
                    </a:lnTo>
                    <a:lnTo>
                      <a:pt x="27" y="122"/>
                    </a:lnTo>
                    <a:lnTo>
                      <a:pt x="27" y="118"/>
                    </a:lnTo>
                    <a:lnTo>
                      <a:pt x="27" y="118"/>
                    </a:lnTo>
                    <a:lnTo>
                      <a:pt x="27" y="113"/>
                    </a:lnTo>
                    <a:lnTo>
                      <a:pt x="31" y="113"/>
                    </a:lnTo>
                    <a:lnTo>
                      <a:pt x="31" y="109"/>
                    </a:lnTo>
                    <a:lnTo>
                      <a:pt x="31" y="109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1" y="100"/>
                    </a:lnTo>
                    <a:lnTo>
                      <a:pt x="31" y="95"/>
                    </a:lnTo>
                    <a:lnTo>
                      <a:pt x="31" y="95"/>
                    </a:lnTo>
                    <a:lnTo>
                      <a:pt x="27" y="95"/>
                    </a:lnTo>
                    <a:lnTo>
                      <a:pt x="27" y="95"/>
                    </a:lnTo>
                    <a:lnTo>
                      <a:pt x="22" y="95"/>
                    </a:lnTo>
                    <a:lnTo>
                      <a:pt x="22" y="95"/>
                    </a:lnTo>
                    <a:lnTo>
                      <a:pt x="22" y="95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3" y="95"/>
                    </a:lnTo>
                    <a:lnTo>
                      <a:pt x="13" y="91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7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4" y="77"/>
                    </a:lnTo>
                    <a:lnTo>
                      <a:pt x="4" y="77"/>
                    </a:lnTo>
                    <a:lnTo>
                      <a:pt x="4" y="73"/>
                    </a:lnTo>
                    <a:lnTo>
                      <a:pt x="4" y="73"/>
                    </a:lnTo>
                    <a:lnTo>
                      <a:pt x="4" y="73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59"/>
                    </a:lnTo>
                    <a:lnTo>
                      <a:pt x="9" y="59"/>
                    </a:lnTo>
                    <a:lnTo>
                      <a:pt x="9" y="59"/>
                    </a:lnTo>
                    <a:lnTo>
                      <a:pt x="13" y="59"/>
                    </a:lnTo>
                    <a:lnTo>
                      <a:pt x="13" y="55"/>
                    </a:lnTo>
                    <a:lnTo>
                      <a:pt x="13" y="55"/>
                    </a:lnTo>
                    <a:lnTo>
                      <a:pt x="18" y="55"/>
                    </a:lnTo>
                    <a:lnTo>
                      <a:pt x="13" y="55"/>
                    </a:lnTo>
                    <a:lnTo>
                      <a:pt x="13" y="55"/>
                    </a:lnTo>
                    <a:lnTo>
                      <a:pt x="13" y="55"/>
                    </a:lnTo>
                    <a:lnTo>
                      <a:pt x="13" y="50"/>
                    </a:lnTo>
                    <a:lnTo>
                      <a:pt x="13" y="46"/>
                    </a:lnTo>
                    <a:lnTo>
                      <a:pt x="13" y="46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8" y="27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3" y="14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0"/>
                    </a:lnTo>
                    <a:lnTo>
                      <a:pt x="13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94" name="Freeform 115"/>
              <p:cNvSpPr>
                <a:spLocks noEditPoints="1"/>
              </p:cNvSpPr>
              <p:nvPr/>
            </p:nvSpPr>
            <p:spPr bwMode="auto">
              <a:xfrm>
                <a:off x="7038976" y="2722564"/>
                <a:ext cx="530225" cy="201613"/>
              </a:xfrm>
              <a:custGeom>
                <a:avLst/>
                <a:gdLst>
                  <a:gd name="T0" fmla="*/ 13 w 334"/>
                  <a:gd name="T1" fmla="*/ 18 h 127"/>
                  <a:gd name="T2" fmla="*/ 18 w 334"/>
                  <a:gd name="T3" fmla="*/ 23 h 127"/>
                  <a:gd name="T4" fmla="*/ 18 w 334"/>
                  <a:gd name="T5" fmla="*/ 32 h 127"/>
                  <a:gd name="T6" fmla="*/ 27 w 334"/>
                  <a:gd name="T7" fmla="*/ 27 h 127"/>
                  <a:gd name="T8" fmla="*/ 36 w 334"/>
                  <a:gd name="T9" fmla="*/ 23 h 127"/>
                  <a:gd name="T10" fmla="*/ 49 w 334"/>
                  <a:gd name="T11" fmla="*/ 32 h 127"/>
                  <a:gd name="T12" fmla="*/ 59 w 334"/>
                  <a:gd name="T13" fmla="*/ 64 h 127"/>
                  <a:gd name="T14" fmla="*/ 63 w 334"/>
                  <a:gd name="T15" fmla="*/ 86 h 127"/>
                  <a:gd name="T16" fmla="*/ 77 w 334"/>
                  <a:gd name="T17" fmla="*/ 113 h 127"/>
                  <a:gd name="T18" fmla="*/ 72 w 334"/>
                  <a:gd name="T19" fmla="*/ 113 h 127"/>
                  <a:gd name="T20" fmla="*/ 63 w 334"/>
                  <a:gd name="T21" fmla="*/ 118 h 127"/>
                  <a:gd name="T22" fmla="*/ 45 w 334"/>
                  <a:gd name="T23" fmla="*/ 104 h 127"/>
                  <a:gd name="T24" fmla="*/ 22 w 334"/>
                  <a:gd name="T25" fmla="*/ 86 h 127"/>
                  <a:gd name="T26" fmla="*/ 13 w 334"/>
                  <a:gd name="T27" fmla="*/ 68 h 127"/>
                  <a:gd name="T28" fmla="*/ 13 w 334"/>
                  <a:gd name="T29" fmla="*/ 50 h 127"/>
                  <a:gd name="T30" fmla="*/ 0 w 334"/>
                  <a:gd name="T31" fmla="*/ 14 h 127"/>
                  <a:gd name="T32" fmla="*/ 9 w 334"/>
                  <a:gd name="T33" fmla="*/ 14 h 127"/>
                  <a:gd name="T34" fmla="*/ 293 w 334"/>
                  <a:gd name="T35" fmla="*/ 0 h 127"/>
                  <a:gd name="T36" fmla="*/ 302 w 334"/>
                  <a:gd name="T37" fmla="*/ 9 h 127"/>
                  <a:gd name="T38" fmla="*/ 307 w 334"/>
                  <a:gd name="T39" fmla="*/ 18 h 127"/>
                  <a:gd name="T40" fmla="*/ 312 w 334"/>
                  <a:gd name="T41" fmla="*/ 18 h 127"/>
                  <a:gd name="T42" fmla="*/ 312 w 334"/>
                  <a:gd name="T43" fmla="*/ 27 h 127"/>
                  <a:gd name="T44" fmla="*/ 325 w 334"/>
                  <a:gd name="T45" fmla="*/ 27 h 127"/>
                  <a:gd name="T46" fmla="*/ 334 w 334"/>
                  <a:gd name="T47" fmla="*/ 32 h 127"/>
                  <a:gd name="T48" fmla="*/ 330 w 334"/>
                  <a:gd name="T49" fmla="*/ 41 h 127"/>
                  <a:gd name="T50" fmla="*/ 321 w 334"/>
                  <a:gd name="T51" fmla="*/ 50 h 127"/>
                  <a:gd name="T52" fmla="*/ 321 w 334"/>
                  <a:gd name="T53" fmla="*/ 55 h 127"/>
                  <a:gd name="T54" fmla="*/ 307 w 334"/>
                  <a:gd name="T55" fmla="*/ 59 h 127"/>
                  <a:gd name="T56" fmla="*/ 293 w 334"/>
                  <a:gd name="T57" fmla="*/ 55 h 127"/>
                  <a:gd name="T58" fmla="*/ 284 w 334"/>
                  <a:gd name="T59" fmla="*/ 55 h 127"/>
                  <a:gd name="T60" fmla="*/ 275 w 334"/>
                  <a:gd name="T61" fmla="*/ 55 h 127"/>
                  <a:gd name="T62" fmla="*/ 275 w 334"/>
                  <a:gd name="T63" fmla="*/ 73 h 127"/>
                  <a:gd name="T64" fmla="*/ 271 w 334"/>
                  <a:gd name="T65" fmla="*/ 82 h 127"/>
                  <a:gd name="T66" fmla="*/ 266 w 334"/>
                  <a:gd name="T67" fmla="*/ 86 h 127"/>
                  <a:gd name="T68" fmla="*/ 266 w 334"/>
                  <a:gd name="T69" fmla="*/ 91 h 127"/>
                  <a:gd name="T70" fmla="*/ 262 w 334"/>
                  <a:gd name="T71" fmla="*/ 100 h 127"/>
                  <a:gd name="T72" fmla="*/ 257 w 334"/>
                  <a:gd name="T73" fmla="*/ 104 h 127"/>
                  <a:gd name="T74" fmla="*/ 253 w 334"/>
                  <a:gd name="T75" fmla="*/ 113 h 127"/>
                  <a:gd name="T76" fmla="*/ 244 w 334"/>
                  <a:gd name="T77" fmla="*/ 118 h 127"/>
                  <a:gd name="T78" fmla="*/ 230 w 334"/>
                  <a:gd name="T79" fmla="*/ 113 h 127"/>
                  <a:gd name="T80" fmla="*/ 217 w 334"/>
                  <a:gd name="T81" fmla="*/ 113 h 127"/>
                  <a:gd name="T82" fmla="*/ 208 w 334"/>
                  <a:gd name="T83" fmla="*/ 122 h 127"/>
                  <a:gd name="T84" fmla="*/ 194 w 334"/>
                  <a:gd name="T85" fmla="*/ 122 h 127"/>
                  <a:gd name="T86" fmla="*/ 180 w 334"/>
                  <a:gd name="T87" fmla="*/ 118 h 127"/>
                  <a:gd name="T88" fmla="*/ 171 w 334"/>
                  <a:gd name="T89" fmla="*/ 109 h 127"/>
                  <a:gd name="T90" fmla="*/ 171 w 334"/>
                  <a:gd name="T91" fmla="*/ 104 h 127"/>
                  <a:gd name="T92" fmla="*/ 185 w 334"/>
                  <a:gd name="T93" fmla="*/ 109 h 127"/>
                  <a:gd name="T94" fmla="*/ 199 w 334"/>
                  <a:gd name="T95" fmla="*/ 113 h 127"/>
                  <a:gd name="T96" fmla="*/ 199 w 334"/>
                  <a:gd name="T97" fmla="*/ 104 h 127"/>
                  <a:gd name="T98" fmla="*/ 199 w 334"/>
                  <a:gd name="T99" fmla="*/ 95 h 127"/>
                  <a:gd name="T100" fmla="*/ 203 w 334"/>
                  <a:gd name="T101" fmla="*/ 91 h 127"/>
                  <a:gd name="T102" fmla="*/ 230 w 334"/>
                  <a:gd name="T103" fmla="*/ 77 h 127"/>
                  <a:gd name="T104" fmla="*/ 244 w 334"/>
                  <a:gd name="T105" fmla="*/ 55 h 127"/>
                  <a:gd name="T106" fmla="*/ 248 w 334"/>
                  <a:gd name="T107" fmla="*/ 50 h 127"/>
                  <a:gd name="T108" fmla="*/ 253 w 334"/>
                  <a:gd name="T109" fmla="*/ 59 h 127"/>
                  <a:gd name="T110" fmla="*/ 257 w 334"/>
                  <a:gd name="T111" fmla="*/ 59 h 127"/>
                  <a:gd name="T112" fmla="*/ 257 w 334"/>
                  <a:gd name="T113" fmla="*/ 50 h 127"/>
                  <a:gd name="T114" fmla="*/ 262 w 334"/>
                  <a:gd name="T115" fmla="*/ 46 h 127"/>
                  <a:gd name="T116" fmla="*/ 266 w 334"/>
                  <a:gd name="T117" fmla="*/ 55 h 127"/>
                  <a:gd name="T118" fmla="*/ 266 w 334"/>
                  <a:gd name="T119" fmla="*/ 41 h 127"/>
                  <a:gd name="T120" fmla="*/ 266 w 334"/>
                  <a:gd name="T121" fmla="*/ 32 h 127"/>
                  <a:gd name="T122" fmla="*/ 275 w 334"/>
                  <a:gd name="T123" fmla="*/ 27 h 127"/>
                  <a:gd name="T124" fmla="*/ 289 w 334"/>
                  <a:gd name="T125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34" h="127">
                    <a:moveTo>
                      <a:pt x="9" y="14"/>
                    </a:move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1" y="23"/>
                    </a:lnTo>
                    <a:lnTo>
                      <a:pt x="36" y="23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5" y="27"/>
                    </a:lnTo>
                    <a:lnTo>
                      <a:pt x="49" y="32"/>
                    </a:lnTo>
                    <a:lnTo>
                      <a:pt x="49" y="32"/>
                    </a:lnTo>
                    <a:lnTo>
                      <a:pt x="49" y="32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9" y="46"/>
                    </a:lnTo>
                    <a:lnTo>
                      <a:pt x="59" y="50"/>
                    </a:lnTo>
                    <a:lnTo>
                      <a:pt x="63" y="55"/>
                    </a:lnTo>
                    <a:lnTo>
                      <a:pt x="59" y="64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63" y="73"/>
                    </a:lnTo>
                    <a:lnTo>
                      <a:pt x="63" y="77"/>
                    </a:lnTo>
                    <a:lnTo>
                      <a:pt x="63" y="77"/>
                    </a:lnTo>
                    <a:lnTo>
                      <a:pt x="63" y="86"/>
                    </a:lnTo>
                    <a:lnTo>
                      <a:pt x="63" y="86"/>
                    </a:lnTo>
                    <a:lnTo>
                      <a:pt x="63" y="86"/>
                    </a:lnTo>
                    <a:lnTo>
                      <a:pt x="68" y="91"/>
                    </a:lnTo>
                    <a:lnTo>
                      <a:pt x="68" y="91"/>
                    </a:lnTo>
                    <a:lnTo>
                      <a:pt x="72" y="100"/>
                    </a:lnTo>
                    <a:lnTo>
                      <a:pt x="77" y="109"/>
                    </a:lnTo>
                    <a:lnTo>
                      <a:pt x="77" y="113"/>
                    </a:lnTo>
                    <a:lnTo>
                      <a:pt x="77" y="113"/>
                    </a:lnTo>
                    <a:lnTo>
                      <a:pt x="77" y="113"/>
                    </a:lnTo>
                    <a:lnTo>
                      <a:pt x="77" y="118"/>
                    </a:lnTo>
                    <a:lnTo>
                      <a:pt x="77" y="113"/>
                    </a:lnTo>
                    <a:lnTo>
                      <a:pt x="72" y="113"/>
                    </a:lnTo>
                    <a:lnTo>
                      <a:pt x="72" y="113"/>
                    </a:lnTo>
                    <a:lnTo>
                      <a:pt x="72" y="113"/>
                    </a:lnTo>
                    <a:lnTo>
                      <a:pt x="72" y="113"/>
                    </a:lnTo>
                    <a:lnTo>
                      <a:pt x="72" y="109"/>
                    </a:lnTo>
                    <a:lnTo>
                      <a:pt x="72" y="113"/>
                    </a:lnTo>
                    <a:lnTo>
                      <a:pt x="72" y="113"/>
                    </a:lnTo>
                    <a:lnTo>
                      <a:pt x="72" y="113"/>
                    </a:lnTo>
                    <a:lnTo>
                      <a:pt x="68" y="113"/>
                    </a:lnTo>
                    <a:lnTo>
                      <a:pt x="68" y="113"/>
                    </a:lnTo>
                    <a:lnTo>
                      <a:pt x="63" y="118"/>
                    </a:lnTo>
                    <a:lnTo>
                      <a:pt x="63" y="118"/>
                    </a:lnTo>
                    <a:lnTo>
                      <a:pt x="63" y="113"/>
                    </a:lnTo>
                    <a:lnTo>
                      <a:pt x="63" y="113"/>
                    </a:lnTo>
                    <a:lnTo>
                      <a:pt x="63" y="113"/>
                    </a:lnTo>
                    <a:lnTo>
                      <a:pt x="54" y="109"/>
                    </a:lnTo>
                    <a:lnTo>
                      <a:pt x="49" y="104"/>
                    </a:lnTo>
                    <a:lnTo>
                      <a:pt x="45" y="104"/>
                    </a:lnTo>
                    <a:lnTo>
                      <a:pt x="40" y="100"/>
                    </a:lnTo>
                    <a:lnTo>
                      <a:pt x="36" y="95"/>
                    </a:lnTo>
                    <a:lnTo>
                      <a:pt x="31" y="91"/>
                    </a:lnTo>
                    <a:lnTo>
                      <a:pt x="27" y="91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2" y="86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2" y="77"/>
                    </a:lnTo>
                    <a:lnTo>
                      <a:pt x="22" y="73"/>
                    </a:lnTo>
                    <a:lnTo>
                      <a:pt x="18" y="73"/>
                    </a:lnTo>
                    <a:lnTo>
                      <a:pt x="18" y="68"/>
                    </a:lnTo>
                    <a:lnTo>
                      <a:pt x="13" y="68"/>
                    </a:lnTo>
                    <a:lnTo>
                      <a:pt x="13" y="64"/>
                    </a:lnTo>
                    <a:lnTo>
                      <a:pt x="13" y="64"/>
                    </a:lnTo>
                    <a:lnTo>
                      <a:pt x="13" y="64"/>
                    </a:lnTo>
                    <a:lnTo>
                      <a:pt x="13" y="64"/>
                    </a:lnTo>
                    <a:lnTo>
                      <a:pt x="13" y="59"/>
                    </a:lnTo>
                    <a:lnTo>
                      <a:pt x="13" y="55"/>
                    </a:lnTo>
                    <a:lnTo>
                      <a:pt x="13" y="50"/>
                    </a:lnTo>
                    <a:lnTo>
                      <a:pt x="9" y="41"/>
                    </a:lnTo>
                    <a:lnTo>
                      <a:pt x="4" y="32"/>
                    </a:lnTo>
                    <a:lnTo>
                      <a:pt x="4" y="27"/>
                    </a:lnTo>
                    <a:lnTo>
                      <a:pt x="4" y="23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14"/>
                    </a:lnTo>
                    <a:lnTo>
                      <a:pt x="9" y="14"/>
                    </a:lnTo>
                    <a:moveTo>
                      <a:pt x="289" y="9"/>
                    </a:moveTo>
                    <a:lnTo>
                      <a:pt x="289" y="9"/>
                    </a:lnTo>
                    <a:lnTo>
                      <a:pt x="289" y="9"/>
                    </a:lnTo>
                    <a:lnTo>
                      <a:pt x="289" y="9"/>
                    </a:lnTo>
                    <a:lnTo>
                      <a:pt x="293" y="9"/>
                    </a:lnTo>
                    <a:lnTo>
                      <a:pt x="293" y="5"/>
                    </a:lnTo>
                    <a:lnTo>
                      <a:pt x="293" y="0"/>
                    </a:lnTo>
                    <a:lnTo>
                      <a:pt x="298" y="0"/>
                    </a:lnTo>
                    <a:lnTo>
                      <a:pt x="298" y="0"/>
                    </a:lnTo>
                    <a:lnTo>
                      <a:pt x="298" y="0"/>
                    </a:lnTo>
                    <a:lnTo>
                      <a:pt x="298" y="5"/>
                    </a:lnTo>
                    <a:lnTo>
                      <a:pt x="298" y="5"/>
                    </a:lnTo>
                    <a:lnTo>
                      <a:pt x="298" y="9"/>
                    </a:lnTo>
                    <a:lnTo>
                      <a:pt x="302" y="9"/>
                    </a:lnTo>
                    <a:lnTo>
                      <a:pt x="302" y="9"/>
                    </a:lnTo>
                    <a:lnTo>
                      <a:pt x="307" y="9"/>
                    </a:lnTo>
                    <a:lnTo>
                      <a:pt x="307" y="9"/>
                    </a:lnTo>
                    <a:lnTo>
                      <a:pt x="307" y="14"/>
                    </a:lnTo>
                    <a:lnTo>
                      <a:pt x="307" y="14"/>
                    </a:lnTo>
                    <a:lnTo>
                      <a:pt x="307" y="14"/>
                    </a:lnTo>
                    <a:lnTo>
                      <a:pt x="307" y="18"/>
                    </a:lnTo>
                    <a:lnTo>
                      <a:pt x="307" y="18"/>
                    </a:lnTo>
                    <a:lnTo>
                      <a:pt x="307" y="23"/>
                    </a:lnTo>
                    <a:lnTo>
                      <a:pt x="307" y="23"/>
                    </a:lnTo>
                    <a:lnTo>
                      <a:pt x="302" y="23"/>
                    </a:lnTo>
                    <a:lnTo>
                      <a:pt x="312" y="23"/>
                    </a:lnTo>
                    <a:lnTo>
                      <a:pt x="312" y="23"/>
                    </a:lnTo>
                    <a:lnTo>
                      <a:pt x="312" y="18"/>
                    </a:lnTo>
                    <a:lnTo>
                      <a:pt x="312" y="23"/>
                    </a:lnTo>
                    <a:lnTo>
                      <a:pt x="316" y="23"/>
                    </a:lnTo>
                    <a:lnTo>
                      <a:pt x="316" y="23"/>
                    </a:lnTo>
                    <a:lnTo>
                      <a:pt x="312" y="27"/>
                    </a:lnTo>
                    <a:lnTo>
                      <a:pt x="312" y="27"/>
                    </a:lnTo>
                    <a:lnTo>
                      <a:pt x="312" y="27"/>
                    </a:lnTo>
                    <a:lnTo>
                      <a:pt x="312" y="27"/>
                    </a:lnTo>
                    <a:lnTo>
                      <a:pt x="316" y="27"/>
                    </a:lnTo>
                    <a:lnTo>
                      <a:pt x="316" y="23"/>
                    </a:lnTo>
                    <a:lnTo>
                      <a:pt x="316" y="23"/>
                    </a:lnTo>
                    <a:lnTo>
                      <a:pt x="321" y="23"/>
                    </a:lnTo>
                    <a:lnTo>
                      <a:pt x="321" y="27"/>
                    </a:lnTo>
                    <a:lnTo>
                      <a:pt x="321" y="27"/>
                    </a:lnTo>
                    <a:lnTo>
                      <a:pt x="325" y="27"/>
                    </a:lnTo>
                    <a:lnTo>
                      <a:pt x="325" y="27"/>
                    </a:lnTo>
                    <a:lnTo>
                      <a:pt x="325" y="32"/>
                    </a:lnTo>
                    <a:lnTo>
                      <a:pt x="330" y="32"/>
                    </a:lnTo>
                    <a:lnTo>
                      <a:pt x="330" y="32"/>
                    </a:lnTo>
                    <a:lnTo>
                      <a:pt x="330" y="32"/>
                    </a:lnTo>
                    <a:lnTo>
                      <a:pt x="334" y="32"/>
                    </a:lnTo>
                    <a:lnTo>
                      <a:pt x="334" y="32"/>
                    </a:lnTo>
                    <a:lnTo>
                      <a:pt x="334" y="32"/>
                    </a:lnTo>
                    <a:lnTo>
                      <a:pt x="334" y="36"/>
                    </a:lnTo>
                    <a:lnTo>
                      <a:pt x="334" y="36"/>
                    </a:lnTo>
                    <a:lnTo>
                      <a:pt x="334" y="36"/>
                    </a:lnTo>
                    <a:lnTo>
                      <a:pt x="334" y="36"/>
                    </a:lnTo>
                    <a:lnTo>
                      <a:pt x="334" y="41"/>
                    </a:lnTo>
                    <a:lnTo>
                      <a:pt x="330" y="41"/>
                    </a:lnTo>
                    <a:lnTo>
                      <a:pt x="325" y="41"/>
                    </a:lnTo>
                    <a:lnTo>
                      <a:pt x="325" y="41"/>
                    </a:lnTo>
                    <a:lnTo>
                      <a:pt x="321" y="41"/>
                    </a:lnTo>
                    <a:lnTo>
                      <a:pt x="321" y="41"/>
                    </a:lnTo>
                    <a:lnTo>
                      <a:pt x="321" y="41"/>
                    </a:lnTo>
                    <a:lnTo>
                      <a:pt x="316" y="46"/>
                    </a:lnTo>
                    <a:lnTo>
                      <a:pt x="321" y="50"/>
                    </a:lnTo>
                    <a:lnTo>
                      <a:pt x="325" y="50"/>
                    </a:lnTo>
                    <a:lnTo>
                      <a:pt x="325" y="50"/>
                    </a:lnTo>
                    <a:lnTo>
                      <a:pt x="325" y="55"/>
                    </a:lnTo>
                    <a:lnTo>
                      <a:pt x="325" y="55"/>
                    </a:lnTo>
                    <a:lnTo>
                      <a:pt x="325" y="55"/>
                    </a:lnTo>
                    <a:lnTo>
                      <a:pt x="321" y="55"/>
                    </a:lnTo>
                    <a:lnTo>
                      <a:pt x="321" y="55"/>
                    </a:lnTo>
                    <a:lnTo>
                      <a:pt x="316" y="55"/>
                    </a:lnTo>
                    <a:lnTo>
                      <a:pt x="316" y="55"/>
                    </a:lnTo>
                    <a:lnTo>
                      <a:pt x="312" y="55"/>
                    </a:lnTo>
                    <a:lnTo>
                      <a:pt x="312" y="55"/>
                    </a:lnTo>
                    <a:lnTo>
                      <a:pt x="312" y="55"/>
                    </a:lnTo>
                    <a:lnTo>
                      <a:pt x="307" y="55"/>
                    </a:lnTo>
                    <a:lnTo>
                      <a:pt x="307" y="59"/>
                    </a:lnTo>
                    <a:lnTo>
                      <a:pt x="307" y="59"/>
                    </a:lnTo>
                    <a:lnTo>
                      <a:pt x="307" y="59"/>
                    </a:lnTo>
                    <a:lnTo>
                      <a:pt x="307" y="59"/>
                    </a:lnTo>
                    <a:lnTo>
                      <a:pt x="302" y="55"/>
                    </a:lnTo>
                    <a:lnTo>
                      <a:pt x="298" y="55"/>
                    </a:lnTo>
                    <a:lnTo>
                      <a:pt x="293" y="55"/>
                    </a:lnTo>
                    <a:lnTo>
                      <a:pt x="293" y="55"/>
                    </a:lnTo>
                    <a:lnTo>
                      <a:pt x="289" y="55"/>
                    </a:lnTo>
                    <a:lnTo>
                      <a:pt x="289" y="55"/>
                    </a:lnTo>
                    <a:lnTo>
                      <a:pt x="289" y="55"/>
                    </a:lnTo>
                    <a:lnTo>
                      <a:pt x="289" y="55"/>
                    </a:lnTo>
                    <a:lnTo>
                      <a:pt x="289" y="55"/>
                    </a:lnTo>
                    <a:lnTo>
                      <a:pt x="284" y="55"/>
                    </a:lnTo>
                    <a:lnTo>
                      <a:pt x="284" y="55"/>
                    </a:lnTo>
                    <a:lnTo>
                      <a:pt x="284" y="55"/>
                    </a:lnTo>
                    <a:lnTo>
                      <a:pt x="284" y="55"/>
                    </a:lnTo>
                    <a:lnTo>
                      <a:pt x="280" y="55"/>
                    </a:lnTo>
                    <a:lnTo>
                      <a:pt x="280" y="55"/>
                    </a:lnTo>
                    <a:lnTo>
                      <a:pt x="275" y="55"/>
                    </a:lnTo>
                    <a:lnTo>
                      <a:pt x="275" y="55"/>
                    </a:lnTo>
                    <a:lnTo>
                      <a:pt x="275" y="55"/>
                    </a:lnTo>
                    <a:lnTo>
                      <a:pt x="275" y="59"/>
                    </a:lnTo>
                    <a:lnTo>
                      <a:pt x="275" y="59"/>
                    </a:lnTo>
                    <a:lnTo>
                      <a:pt x="275" y="64"/>
                    </a:lnTo>
                    <a:lnTo>
                      <a:pt x="271" y="64"/>
                    </a:lnTo>
                    <a:lnTo>
                      <a:pt x="271" y="68"/>
                    </a:lnTo>
                    <a:lnTo>
                      <a:pt x="271" y="68"/>
                    </a:lnTo>
                    <a:lnTo>
                      <a:pt x="275" y="73"/>
                    </a:lnTo>
                    <a:lnTo>
                      <a:pt x="275" y="73"/>
                    </a:lnTo>
                    <a:lnTo>
                      <a:pt x="271" y="73"/>
                    </a:lnTo>
                    <a:lnTo>
                      <a:pt x="271" y="77"/>
                    </a:lnTo>
                    <a:lnTo>
                      <a:pt x="271" y="77"/>
                    </a:lnTo>
                    <a:lnTo>
                      <a:pt x="271" y="77"/>
                    </a:lnTo>
                    <a:lnTo>
                      <a:pt x="271" y="82"/>
                    </a:lnTo>
                    <a:lnTo>
                      <a:pt x="271" y="82"/>
                    </a:lnTo>
                    <a:lnTo>
                      <a:pt x="271" y="82"/>
                    </a:lnTo>
                    <a:lnTo>
                      <a:pt x="271" y="82"/>
                    </a:lnTo>
                    <a:lnTo>
                      <a:pt x="266" y="82"/>
                    </a:lnTo>
                    <a:lnTo>
                      <a:pt x="266" y="82"/>
                    </a:lnTo>
                    <a:lnTo>
                      <a:pt x="266" y="86"/>
                    </a:lnTo>
                    <a:lnTo>
                      <a:pt x="266" y="86"/>
                    </a:lnTo>
                    <a:lnTo>
                      <a:pt x="266" y="86"/>
                    </a:lnTo>
                    <a:lnTo>
                      <a:pt x="266" y="86"/>
                    </a:lnTo>
                    <a:lnTo>
                      <a:pt x="266" y="86"/>
                    </a:lnTo>
                    <a:lnTo>
                      <a:pt x="266" y="91"/>
                    </a:lnTo>
                    <a:lnTo>
                      <a:pt x="266" y="91"/>
                    </a:lnTo>
                    <a:lnTo>
                      <a:pt x="266" y="91"/>
                    </a:lnTo>
                    <a:lnTo>
                      <a:pt x="266" y="91"/>
                    </a:lnTo>
                    <a:lnTo>
                      <a:pt x="266" y="91"/>
                    </a:lnTo>
                    <a:lnTo>
                      <a:pt x="266" y="91"/>
                    </a:lnTo>
                    <a:lnTo>
                      <a:pt x="266" y="95"/>
                    </a:lnTo>
                    <a:lnTo>
                      <a:pt x="262" y="95"/>
                    </a:lnTo>
                    <a:lnTo>
                      <a:pt x="262" y="95"/>
                    </a:lnTo>
                    <a:lnTo>
                      <a:pt x="262" y="95"/>
                    </a:lnTo>
                    <a:lnTo>
                      <a:pt x="262" y="100"/>
                    </a:lnTo>
                    <a:lnTo>
                      <a:pt x="262" y="100"/>
                    </a:lnTo>
                    <a:lnTo>
                      <a:pt x="262" y="100"/>
                    </a:lnTo>
                    <a:lnTo>
                      <a:pt x="262" y="104"/>
                    </a:lnTo>
                    <a:lnTo>
                      <a:pt x="262" y="104"/>
                    </a:lnTo>
                    <a:lnTo>
                      <a:pt x="262" y="104"/>
                    </a:lnTo>
                    <a:lnTo>
                      <a:pt x="262" y="104"/>
                    </a:lnTo>
                    <a:lnTo>
                      <a:pt x="262" y="104"/>
                    </a:lnTo>
                    <a:lnTo>
                      <a:pt x="257" y="104"/>
                    </a:lnTo>
                    <a:lnTo>
                      <a:pt x="257" y="104"/>
                    </a:lnTo>
                    <a:lnTo>
                      <a:pt x="257" y="109"/>
                    </a:lnTo>
                    <a:lnTo>
                      <a:pt x="257" y="109"/>
                    </a:lnTo>
                    <a:lnTo>
                      <a:pt x="257" y="113"/>
                    </a:lnTo>
                    <a:lnTo>
                      <a:pt x="257" y="113"/>
                    </a:lnTo>
                    <a:lnTo>
                      <a:pt x="257" y="113"/>
                    </a:lnTo>
                    <a:lnTo>
                      <a:pt x="253" y="113"/>
                    </a:lnTo>
                    <a:lnTo>
                      <a:pt x="253" y="113"/>
                    </a:lnTo>
                    <a:lnTo>
                      <a:pt x="248" y="113"/>
                    </a:lnTo>
                    <a:lnTo>
                      <a:pt x="248" y="113"/>
                    </a:lnTo>
                    <a:lnTo>
                      <a:pt x="244" y="113"/>
                    </a:lnTo>
                    <a:lnTo>
                      <a:pt x="244" y="113"/>
                    </a:lnTo>
                    <a:lnTo>
                      <a:pt x="244" y="118"/>
                    </a:lnTo>
                    <a:lnTo>
                      <a:pt x="244" y="118"/>
                    </a:lnTo>
                    <a:lnTo>
                      <a:pt x="239" y="118"/>
                    </a:lnTo>
                    <a:lnTo>
                      <a:pt x="239" y="118"/>
                    </a:lnTo>
                    <a:lnTo>
                      <a:pt x="239" y="118"/>
                    </a:lnTo>
                    <a:lnTo>
                      <a:pt x="235" y="118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30" y="113"/>
                    </a:lnTo>
                    <a:lnTo>
                      <a:pt x="221" y="113"/>
                    </a:lnTo>
                    <a:lnTo>
                      <a:pt x="217" y="113"/>
                    </a:lnTo>
                    <a:lnTo>
                      <a:pt x="217" y="113"/>
                    </a:lnTo>
                    <a:lnTo>
                      <a:pt x="217" y="113"/>
                    </a:lnTo>
                    <a:lnTo>
                      <a:pt x="217" y="118"/>
                    </a:lnTo>
                    <a:lnTo>
                      <a:pt x="217" y="118"/>
                    </a:lnTo>
                    <a:lnTo>
                      <a:pt x="212" y="118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2"/>
                    </a:lnTo>
                    <a:lnTo>
                      <a:pt x="208" y="122"/>
                    </a:lnTo>
                    <a:lnTo>
                      <a:pt x="208" y="122"/>
                    </a:lnTo>
                    <a:lnTo>
                      <a:pt x="203" y="122"/>
                    </a:lnTo>
                    <a:lnTo>
                      <a:pt x="203" y="122"/>
                    </a:lnTo>
                    <a:lnTo>
                      <a:pt x="199" y="122"/>
                    </a:lnTo>
                    <a:lnTo>
                      <a:pt x="199" y="122"/>
                    </a:lnTo>
                    <a:lnTo>
                      <a:pt x="194" y="122"/>
                    </a:lnTo>
                    <a:lnTo>
                      <a:pt x="194" y="122"/>
                    </a:lnTo>
                    <a:lnTo>
                      <a:pt x="190" y="127"/>
                    </a:lnTo>
                    <a:lnTo>
                      <a:pt x="185" y="127"/>
                    </a:lnTo>
                    <a:lnTo>
                      <a:pt x="185" y="127"/>
                    </a:lnTo>
                    <a:lnTo>
                      <a:pt x="185" y="122"/>
                    </a:lnTo>
                    <a:lnTo>
                      <a:pt x="185" y="122"/>
                    </a:lnTo>
                    <a:lnTo>
                      <a:pt x="180" y="118"/>
                    </a:lnTo>
                    <a:lnTo>
                      <a:pt x="176" y="118"/>
                    </a:lnTo>
                    <a:lnTo>
                      <a:pt x="176" y="118"/>
                    </a:lnTo>
                    <a:lnTo>
                      <a:pt x="176" y="118"/>
                    </a:lnTo>
                    <a:lnTo>
                      <a:pt x="176" y="113"/>
                    </a:lnTo>
                    <a:lnTo>
                      <a:pt x="176" y="113"/>
                    </a:lnTo>
                    <a:lnTo>
                      <a:pt x="171" y="113"/>
                    </a:lnTo>
                    <a:lnTo>
                      <a:pt x="171" y="109"/>
                    </a:lnTo>
                    <a:lnTo>
                      <a:pt x="171" y="109"/>
                    </a:lnTo>
                    <a:lnTo>
                      <a:pt x="171" y="109"/>
                    </a:lnTo>
                    <a:lnTo>
                      <a:pt x="167" y="104"/>
                    </a:lnTo>
                    <a:lnTo>
                      <a:pt x="167" y="104"/>
                    </a:lnTo>
                    <a:lnTo>
                      <a:pt x="171" y="104"/>
                    </a:lnTo>
                    <a:lnTo>
                      <a:pt x="171" y="104"/>
                    </a:lnTo>
                    <a:lnTo>
                      <a:pt x="171" y="104"/>
                    </a:lnTo>
                    <a:lnTo>
                      <a:pt x="176" y="109"/>
                    </a:lnTo>
                    <a:lnTo>
                      <a:pt x="176" y="109"/>
                    </a:lnTo>
                    <a:lnTo>
                      <a:pt x="180" y="109"/>
                    </a:lnTo>
                    <a:lnTo>
                      <a:pt x="180" y="109"/>
                    </a:lnTo>
                    <a:lnTo>
                      <a:pt x="180" y="109"/>
                    </a:lnTo>
                    <a:lnTo>
                      <a:pt x="185" y="109"/>
                    </a:lnTo>
                    <a:lnTo>
                      <a:pt x="185" y="109"/>
                    </a:lnTo>
                    <a:lnTo>
                      <a:pt x="190" y="113"/>
                    </a:lnTo>
                    <a:lnTo>
                      <a:pt x="190" y="113"/>
                    </a:lnTo>
                    <a:lnTo>
                      <a:pt x="194" y="113"/>
                    </a:lnTo>
                    <a:lnTo>
                      <a:pt x="194" y="113"/>
                    </a:lnTo>
                    <a:lnTo>
                      <a:pt x="199" y="113"/>
                    </a:lnTo>
                    <a:lnTo>
                      <a:pt x="199" y="113"/>
                    </a:lnTo>
                    <a:lnTo>
                      <a:pt x="199" y="113"/>
                    </a:lnTo>
                    <a:lnTo>
                      <a:pt x="199" y="113"/>
                    </a:lnTo>
                    <a:lnTo>
                      <a:pt x="194" y="113"/>
                    </a:lnTo>
                    <a:lnTo>
                      <a:pt x="194" y="113"/>
                    </a:lnTo>
                    <a:lnTo>
                      <a:pt x="194" y="109"/>
                    </a:lnTo>
                    <a:lnTo>
                      <a:pt x="199" y="109"/>
                    </a:lnTo>
                    <a:lnTo>
                      <a:pt x="199" y="109"/>
                    </a:lnTo>
                    <a:lnTo>
                      <a:pt x="199" y="104"/>
                    </a:lnTo>
                    <a:lnTo>
                      <a:pt x="199" y="104"/>
                    </a:lnTo>
                    <a:lnTo>
                      <a:pt x="199" y="100"/>
                    </a:lnTo>
                    <a:lnTo>
                      <a:pt x="199" y="100"/>
                    </a:lnTo>
                    <a:lnTo>
                      <a:pt x="199" y="100"/>
                    </a:lnTo>
                    <a:lnTo>
                      <a:pt x="199" y="95"/>
                    </a:lnTo>
                    <a:lnTo>
                      <a:pt x="199" y="95"/>
                    </a:lnTo>
                    <a:lnTo>
                      <a:pt x="199" y="95"/>
                    </a:lnTo>
                    <a:lnTo>
                      <a:pt x="199" y="95"/>
                    </a:lnTo>
                    <a:lnTo>
                      <a:pt x="199" y="95"/>
                    </a:lnTo>
                    <a:lnTo>
                      <a:pt x="203" y="95"/>
                    </a:lnTo>
                    <a:lnTo>
                      <a:pt x="203" y="95"/>
                    </a:lnTo>
                    <a:lnTo>
                      <a:pt x="203" y="95"/>
                    </a:lnTo>
                    <a:lnTo>
                      <a:pt x="203" y="91"/>
                    </a:lnTo>
                    <a:lnTo>
                      <a:pt x="203" y="91"/>
                    </a:lnTo>
                    <a:lnTo>
                      <a:pt x="203" y="86"/>
                    </a:lnTo>
                    <a:lnTo>
                      <a:pt x="203" y="86"/>
                    </a:lnTo>
                    <a:lnTo>
                      <a:pt x="208" y="86"/>
                    </a:lnTo>
                    <a:lnTo>
                      <a:pt x="212" y="86"/>
                    </a:lnTo>
                    <a:lnTo>
                      <a:pt x="226" y="82"/>
                    </a:lnTo>
                    <a:lnTo>
                      <a:pt x="226" y="82"/>
                    </a:lnTo>
                    <a:lnTo>
                      <a:pt x="230" y="77"/>
                    </a:lnTo>
                    <a:lnTo>
                      <a:pt x="230" y="77"/>
                    </a:lnTo>
                    <a:lnTo>
                      <a:pt x="230" y="77"/>
                    </a:lnTo>
                    <a:lnTo>
                      <a:pt x="235" y="73"/>
                    </a:lnTo>
                    <a:lnTo>
                      <a:pt x="235" y="68"/>
                    </a:lnTo>
                    <a:lnTo>
                      <a:pt x="239" y="64"/>
                    </a:lnTo>
                    <a:lnTo>
                      <a:pt x="244" y="59"/>
                    </a:lnTo>
                    <a:lnTo>
                      <a:pt x="244" y="55"/>
                    </a:lnTo>
                    <a:lnTo>
                      <a:pt x="244" y="55"/>
                    </a:lnTo>
                    <a:lnTo>
                      <a:pt x="244" y="55"/>
                    </a:lnTo>
                    <a:lnTo>
                      <a:pt x="244" y="50"/>
                    </a:lnTo>
                    <a:lnTo>
                      <a:pt x="244" y="50"/>
                    </a:lnTo>
                    <a:lnTo>
                      <a:pt x="244" y="50"/>
                    </a:lnTo>
                    <a:lnTo>
                      <a:pt x="244" y="50"/>
                    </a:lnTo>
                    <a:lnTo>
                      <a:pt x="248" y="50"/>
                    </a:lnTo>
                    <a:lnTo>
                      <a:pt x="248" y="50"/>
                    </a:lnTo>
                    <a:lnTo>
                      <a:pt x="248" y="55"/>
                    </a:lnTo>
                    <a:lnTo>
                      <a:pt x="248" y="55"/>
                    </a:lnTo>
                    <a:lnTo>
                      <a:pt x="248" y="55"/>
                    </a:lnTo>
                    <a:lnTo>
                      <a:pt x="248" y="55"/>
                    </a:lnTo>
                    <a:lnTo>
                      <a:pt x="253" y="55"/>
                    </a:lnTo>
                    <a:lnTo>
                      <a:pt x="253" y="59"/>
                    </a:lnTo>
                    <a:lnTo>
                      <a:pt x="253" y="59"/>
                    </a:lnTo>
                    <a:lnTo>
                      <a:pt x="253" y="59"/>
                    </a:lnTo>
                    <a:lnTo>
                      <a:pt x="257" y="59"/>
                    </a:lnTo>
                    <a:lnTo>
                      <a:pt x="257" y="64"/>
                    </a:lnTo>
                    <a:lnTo>
                      <a:pt x="257" y="59"/>
                    </a:lnTo>
                    <a:lnTo>
                      <a:pt x="257" y="59"/>
                    </a:lnTo>
                    <a:lnTo>
                      <a:pt x="257" y="59"/>
                    </a:lnTo>
                    <a:lnTo>
                      <a:pt x="257" y="55"/>
                    </a:lnTo>
                    <a:lnTo>
                      <a:pt x="257" y="55"/>
                    </a:lnTo>
                    <a:lnTo>
                      <a:pt x="257" y="55"/>
                    </a:lnTo>
                    <a:lnTo>
                      <a:pt x="262" y="55"/>
                    </a:lnTo>
                    <a:lnTo>
                      <a:pt x="257" y="55"/>
                    </a:lnTo>
                    <a:lnTo>
                      <a:pt x="257" y="55"/>
                    </a:lnTo>
                    <a:lnTo>
                      <a:pt x="257" y="50"/>
                    </a:lnTo>
                    <a:lnTo>
                      <a:pt x="257" y="50"/>
                    </a:lnTo>
                    <a:lnTo>
                      <a:pt x="257" y="46"/>
                    </a:lnTo>
                    <a:lnTo>
                      <a:pt x="257" y="46"/>
                    </a:lnTo>
                    <a:lnTo>
                      <a:pt x="262" y="46"/>
                    </a:lnTo>
                    <a:lnTo>
                      <a:pt x="262" y="46"/>
                    </a:lnTo>
                    <a:lnTo>
                      <a:pt x="262" y="46"/>
                    </a:lnTo>
                    <a:lnTo>
                      <a:pt x="262" y="46"/>
                    </a:lnTo>
                    <a:lnTo>
                      <a:pt x="262" y="50"/>
                    </a:lnTo>
                    <a:lnTo>
                      <a:pt x="262" y="50"/>
                    </a:lnTo>
                    <a:lnTo>
                      <a:pt x="266" y="55"/>
                    </a:lnTo>
                    <a:lnTo>
                      <a:pt x="266" y="55"/>
                    </a:lnTo>
                    <a:lnTo>
                      <a:pt x="266" y="55"/>
                    </a:lnTo>
                    <a:lnTo>
                      <a:pt x="266" y="55"/>
                    </a:lnTo>
                    <a:lnTo>
                      <a:pt x="266" y="55"/>
                    </a:lnTo>
                    <a:lnTo>
                      <a:pt x="266" y="55"/>
                    </a:lnTo>
                    <a:lnTo>
                      <a:pt x="266" y="55"/>
                    </a:lnTo>
                    <a:lnTo>
                      <a:pt x="266" y="50"/>
                    </a:lnTo>
                    <a:lnTo>
                      <a:pt x="266" y="46"/>
                    </a:lnTo>
                    <a:lnTo>
                      <a:pt x="266" y="46"/>
                    </a:lnTo>
                    <a:lnTo>
                      <a:pt x="266" y="46"/>
                    </a:lnTo>
                    <a:lnTo>
                      <a:pt x="266" y="41"/>
                    </a:lnTo>
                    <a:lnTo>
                      <a:pt x="271" y="41"/>
                    </a:lnTo>
                    <a:lnTo>
                      <a:pt x="271" y="41"/>
                    </a:lnTo>
                    <a:lnTo>
                      <a:pt x="271" y="41"/>
                    </a:lnTo>
                    <a:lnTo>
                      <a:pt x="271" y="36"/>
                    </a:lnTo>
                    <a:lnTo>
                      <a:pt x="271" y="36"/>
                    </a:lnTo>
                    <a:lnTo>
                      <a:pt x="271" y="36"/>
                    </a:lnTo>
                    <a:lnTo>
                      <a:pt x="266" y="32"/>
                    </a:lnTo>
                    <a:lnTo>
                      <a:pt x="271" y="32"/>
                    </a:lnTo>
                    <a:lnTo>
                      <a:pt x="271" y="27"/>
                    </a:lnTo>
                    <a:lnTo>
                      <a:pt x="271" y="32"/>
                    </a:lnTo>
                    <a:lnTo>
                      <a:pt x="271" y="32"/>
                    </a:lnTo>
                    <a:lnTo>
                      <a:pt x="275" y="32"/>
                    </a:lnTo>
                    <a:lnTo>
                      <a:pt x="275" y="32"/>
                    </a:lnTo>
                    <a:lnTo>
                      <a:pt x="275" y="27"/>
                    </a:lnTo>
                    <a:lnTo>
                      <a:pt x="275" y="27"/>
                    </a:lnTo>
                    <a:lnTo>
                      <a:pt x="280" y="23"/>
                    </a:lnTo>
                    <a:lnTo>
                      <a:pt x="280" y="23"/>
                    </a:lnTo>
                    <a:lnTo>
                      <a:pt x="280" y="18"/>
                    </a:lnTo>
                    <a:lnTo>
                      <a:pt x="284" y="9"/>
                    </a:lnTo>
                    <a:lnTo>
                      <a:pt x="284" y="9"/>
                    </a:lnTo>
                    <a:lnTo>
                      <a:pt x="289" y="0"/>
                    </a:lnTo>
                    <a:lnTo>
                      <a:pt x="289" y="0"/>
                    </a:lnTo>
                    <a:lnTo>
                      <a:pt x="289" y="0"/>
                    </a:lnTo>
                    <a:lnTo>
                      <a:pt x="289" y="5"/>
                    </a:lnTo>
                    <a:lnTo>
                      <a:pt x="289" y="5"/>
                    </a:lnTo>
                    <a:lnTo>
                      <a:pt x="289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95" name="Freeform 116"/>
              <p:cNvSpPr>
                <a:spLocks/>
              </p:cNvSpPr>
              <p:nvPr/>
            </p:nvSpPr>
            <p:spPr bwMode="auto">
              <a:xfrm>
                <a:off x="4592638" y="3454401"/>
                <a:ext cx="366713" cy="360363"/>
              </a:xfrm>
              <a:custGeom>
                <a:avLst/>
                <a:gdLst>
                  <a:gd name="T0" fmla="*/ 36 w 231"/>
                  <a:gd name="T1" fmla="*/ 5 h 227"/>
                  <a:gd name="T2" fmla="*/ 41 w 231"/>
                  <a:gd name="T3" fmla="*/ 10 h 227"/>
                  <a:gd name="T4" fmla="*/ 54 w 231"/>
                  <a:gd name="T5" fmla="*/ 10 h 227"/>
                  <a:gd name="T6" fmla="*/ 82 w 231"/>
                  <a:gd name="T7" fmla="*/ 10 h 227"/>
                  <a:gd name="T8" fmla="*/ 104 w 231"/>
                  <a:gd name="T9" fmla="*/ 10 h 227"/>
                  <a:gd name="T10" fmla="*/ 118 w 231"/>
                  <a:gd name="T11" fmla="*/ 10 h 227"/>
                  <a:gd name="T12" fmla="*/ 122 w 231"/>
                  <a:gd name="T13" fmla="*/ 14 h 227"/>
                  <a:gd name="T14" fmla="*/ 131 w 231"/>
                  <a:gd name="T15" fmla="*/ 19 h 227"/>
                  <a:gd name="T16" fmla="*/ 149 w 231"/>
                  <a:gd name="T17" fmla="*/ 19 h 227"/>
                  <a:gd name="T18" fmla="*/ 158 w 231"/>
                  <a:gd name="T19" fmla="*/ 19 h 227"/>
                  <a:gd name="T20" fmla="*/ 167 w 231"/>
                  <a:gd name="T21" fmla="*/ 19 h 227"/>
                  <a:gd name="T22" fmla="*/ 186 w 231"/>
                  <a:gd name="T23" fmla="*/ 14 h 227"/>
                  <a:gd name="T24" fmla="*/ 208 w 231"/>
                  <a:gd name="T25" fmla="*/ 14 h 227"/>
                  <a:gd name="T26" fmla="*/ 222 w 231"/>
                  <a:gd name="T27" fmla="*/ 10 h 227"/>
                  <a:gd name="T28" fmla="*/ 231 w 231"/>
                  <a:gd name="T29" fmla="*/ 19 h 227"/>
                  <a:gd name="T30" fmla="*/ 222 w 231"/>
                  <a:gd name="T31" fmla="*/ 23 h 227"/>
                  <a:gd name="T32" fmla="*/ 213 w 231"/>
                  <a:gd name="T33" fmla="*/ 23 h 227"/>
                  <a:gd name="T34" fmla="*/ 208 w 231"/>
                  <a:gd name="T35" fmla="*/ 28 h 227"/>
                  <a:gd name="T36" fmla="*/ 204 w 231"/>
                  <a:gd name="T37" fmla="*/ 28 h 227"/>
                  <a:gd name="T38" fmla="*/ 199 w 231"/>
                  <a:gd name="T39" fmla="*/ 19 h 227"/>
                  <a:gd name="T40" fmla="*/ 186 w 231"/>
                  <a:gd name="T41" fmla="*/ 23 h 227"/>
                  <a:gd name="T42" fmla="*/ 158 w 231"/>
                  <a:gd name="T43" fmla="*/ 28 h 227"/>
                  <a:gd name="T44" fmla="*/ 158 w 231"/>
                  <a:gd name="T45" fmla="*/ 55 h 227"/>
                  <a:gd name="T46" fmla="*/ 158 w 231"/>
                  <a:gd name="T47" fmla="*/ 82 h 227"/>
                  <a:gd name="T48" fmla="*/ 154 w 231"/>
                  <a:gd name="T49" fmla="*/ 95 h 227"/>
                  <a:gd name="T50" fmla="*/ 140 w 231"/>
                  <a:gd name="T51" fmla="*/ 100 h 227"/>
                  <a:gd name="T52" fmla="*/ 140 w 231"/>
                  <a:gd name="T53" fmla="*/ 123 h 227"/>
                  <a:gd name="T54" fmla="*/ 140 w 231"/>
                  <a:gd name="T55" fmla="*/ 145 h 227"/>
                  <a:gd name="T56" fmla="*/ 136 w 231"/>
                  <a:gd name="T57" fmla="*/ 163 h 227"/>
                  <a:gd name="T58" fmla="*/ 136 w 231"/>
                  <a:gd name="T59" fmla="*/ 199 h 227"/>
                  <a:gd name="T60" fmla="*/ 136 w 231"/>
                  <a:gd name="T61" fmla="*/ 217 h 227"/>
                  <a:gd name="T62" fmla="*/ 127 w 231"/>
                  <a:gd name="T63" fmla="*/ 222 h 227"/>
                  <a:gd name="T64" fmla="*/ 122 w 231"/>
                  <a:gd name="T65" fmla="*/ 227 h 227"/>
                  <a:gd name="T66" fmla="*/ 113 w 231"/>
                  <a:gd name="T67" fmla="*/ 222 h 227"/>
                  <a:gd name="T68" fmla="*/ 100 w 231"/>
                  <a:gd name="T69" fmla="*/ 222 h 227"/>
                  <a:gd name="T70" fmla="*/ 95 w 231"/>
                  <a:gd name="T71" fmla="*/ 222 h 227"/>
                  <a:gd name="T72" fmla="*/ 95 w 231"/>
                  <a:gd name="T73" fmla="*/ 217 h 227"/>
                  <a:gd name="T74" fmla="*/ 91 w 231"/>
                  <a:gd name="T75" fmla="*/ 213 h 227"/>
                  <a:gd name="T76" fmla="*/ 86 w 231"/>
                  <a:gd name="T77" fmla="*/ 208 h 227"/>
                  <a:gd name="T78" fmla="*/ 82 w 231"/>
                  <a:gd name="T79" fmla="*/ 213 h 227"/>
                  <a:gd name="T80" fmla="*/ 82 w 231"/>
                  <a:gd name="T81" fmla="*/ 217 h 227"/>
                  <a:gd name="T82" fmla="*/ 77 w 231"/>
                  <a:gd name="T83" fmla="*/ 217 h 227"/>
                  <a:gd name="T84" fmla="*/ 64 w 231"/>
                  <a:gd name="T85" fmla="*/ 208 h 227"/>
                  <a:gd name="T86" fmla="*/ 54 w 231"/>
                  <a:gd name="T87" fmla="*/ 186 h 227"/>
                  <a:gd name="T88" fmla="*/ 54 w 231"/>
                  <a:gd name="T89" fmla="*/ 177 h 227"/>
                  <a:gd name="T90" fmla="*/ 50 w 231"/>
                  <a:gd name="T91" fmla="*/ 163 h 227"/>
                  <a:gd name="T92" fmla="*/ 50 w 231"/>
                  <a:gd name="T93" fmla="*/ 150 h 227"/>
                  <a:gd name="T94" fmla="*/ 45 w 231"/>
                  <a:gd name="T95" fmla="*/ 127 h 227"/>
                  <a:gd name="T96" fmla="*/ 45 w 231"/>
                  <a:gd name="T97" fmla="*/ 113 h 227"/>
                  <a:gd name="T98" fmla="*/ 45 w 231"/>
                  <a:gd name="T99" fmla="*/ 109 h 227"/>
                  <a:gd name="T100" fmla="*/ 36 w 231"/>
                  <a:gd name="T101" fmla="*/ 91 h 227"/>
                  <a:gd name="T102" fmla="*/ 27 w 231"/>
                  <a:gd name="T103" fmla="*/ 68 h 227"/>
                  <a:gd name="T104" fmla="*/ 9 w 231"/>
                  <a:gd name="T105" fmla="*/ 32 h 227"/>
                  <a:gd name="T106" fmla="*/ 0 w 231"/>
                  <a:gd name="T107" fmla="*/ 19 h 227"/>
                  <a:gd name="T108" fmla="*/ 5 w 231"/>
                  <a:gd name="T109" fmla="*/ 5 h 227"/>
                  <a:gd name="T110" fmla="*/ 9 w 231"/>
                  <a:gd name="T111" fmla="*/ 5 h 227"/>
                  <a:gd name="T112" fmla="*/ 18 w 231"/>
                  <a:gd name="T113" fmla="*/ 5 h 227"/>
                  <a:gd name="T114" fmla="*/ 27 w 231"/>
                  <a:gd name="T115" fmla="*/ 0 h 227"/>
                  <a:gd name="T116" fmla="*/ 32 w 231"/>
                  <a:gd name="T117" fmla="*/ 5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1" h="227">
                    <a:moveTo>
                      <a:pt x="32" y="5"/>
                    </a:moveTo>
                    <a:lnTo>
                      <a:pt x="32" y="5"/>
                    </a:lnTo>
                    <a:lnTo>
                      <a:pt x="32" y="5"/>
                    </a:lnTo>
                    <a:lnTo>
                      <a:pt x="36" y="5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41" y="10"/>
                    </a:lnTo>
                    <a:lnTo>
                      <a:pt x="41" y="10"/>
                    </a:lnTo>
                    <a:lnTo>
                      <a:pt x="41" y="10"/>
                    </a:lnTo>
                    <a:lnTo>
                      <a:pt x="45" y="10"/>
                    </a:lnTo>
                    <a:lnTo>
                      <a:pt x="50" y="10"/>
                    </a:lnTo>
                    <a:lnTo>
                      <a:pt x="54" y="10"/>
                    </a:lnTo>
                    <a:lnTo>
                      <a:pt x="64" y="10"/>
                    </a:lnTo>
                    <a:lnTo>
                      <a:pt x="68" y="10"/>
                    </a:lnTo>
                    <a:lnTo>
                      <a:pt x="77" y="10"/>
                    </a:lnTo>
                    <a:lnTo>
                      <a:pt x="82" y="10"/>
                    </a:lnTo>
                    <a:lnTo>
                      <a:pt x="91" y="10"/>
                    </a:lnTo>
                    <a:lnTo>
                      <a:pt x="95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9" y="10"/>
                    </a:lnTo>
                    <a:lnTo>
                      <a:pt x="113" y="10"/>
                    </a:lnTo>
                    <a:lnTo>
                      <a:pt x="113" y="10"/>
                    </a:lnTo>
                    <a:lnTo>
                      <a:pt x="118" y="10"/>
                    </a:lnTo>
                    <a:lnTo>
                      <a:pt x="118" y="10"/>
                    </a:lnTo>
                    <a:lnTo>
                      <a:pt x="118" y="14"/>
                    </a:lnTo>
                    <a:lnTo>
                      <a:pt x="118" y="14"/>
                    </a:lnTo>
                    <a:lnTo>
                      <a:pt x="122" y="14"/>
                    </a:lnTo>
                    <a:lnTo>
                      <a:pt x="122" y="19"/>
                    </a:lnTo>
                    <a:lnTo>
                      <a:pt x="127" y="19"/>
                    </a:lnTo>
                    <a:lnTo>
                      <a:pt x="127" y="19"/>
                    </a:lnTo>
                    <a:lnTo>
                      <a:pt x="131" y="19"/>
                    </a:lnTo>
                    <a:lnTo>
                      <a:pt x="136" y="19"/>
                    </a:lnTo>
                    <a:lnTo>
                      <a:pt x="140" y="19"/>
                    </a:lnTo>
                    <a:lnTo>
                      <a:pt x="145" y="19"/>
                    </a:lnTo>
                    <a:lnTo>
                      <a:pt x="149" y="19"/>
                    </a:lnTo>
                    <a:lnTo>
                      <a:pt x="149" y="19"/>
                    </a:lnTo>
                    <a:lnTo>
                      <a:pt x="154" y="19"/>
                    </a:lnTo>
                    <a:lnTo>
                      <a:pt x="154" y="19"/>
                    </a:lnTo>
                    <a:lnTo>
                      <a:pt x="158" y="19"/>
                    </a:lnTo>
                    <a:lnTo>
                      <a:pt x="163" y="19"/>
                    </a:lnTo>
                    <a:lnTo>
                      <a:pt x="163" y="19"/>
                    </a:lnTo>
                    <a:lnTo>
                      <a:pt x="167" y="19"/>
                    </a:lnTo>
                    <a:lnTo>
                      <a:pt x="167" y="19"/>
                    </a:lnTo>
                    <a:lnTo>
                      <a:pt x="172" y="19"/>
                    </a:lnTo>
                    <a:lnTo>
                      <a:pt x="176" y="19"/>
                    </a:lnTo>
                    <a:lnTo>
                      <a:pt x="181" y="19"/>
                    </a:lnTo>
                    <a:lnTo>
                      <a:pt x="186" y="14"/>
                    </a:lnTo>
                    <a:lnTo>
                      <a:pt x="195" y="14"/>
                    </a:lnTo>
                    <a:lnTo>
                      <a:pt x="199" y="14"/>
                    </a:lnTo>
                    <a:lnTo>
                      <a:pt x="204" y="14"/>
                    </a:lnTo>
                    <a:lnTo>
                      <a:pt x="208" y="14"/>
                    </a:lnTo>
                    <a:lnTo>
                      <a:pt x="213" y="10"/>
                    </a:lnTo>
                    <a:lnTo>
                      <a:pt x="213" y="10"/>
                    </a:lnTo>
                    <a:lnTo>
                      <a:pt x="217" y="10"/>
                    </a:lnTo>
                    <a:lnTo>
                      <a:pt x="222" y="10"/>
                    </a:lnTo>
                    <a:lnTo>
                      <a:pt x="226" y="14"/>
                    </a:lnTo>
                    <a:lnTo>
                      <a:pt x="226" y="14"/>
                    </a:lnTo>
                    <a:lnTo>
                      <a:pt x="231" y="14"/>
                    </a:lnTo>
                    <a:lnTo>
                      <a:pt x="231" y="19"/>
                    </a:lnTo>
                    <a:lnTo>
                      <a:pt x="231" y="19"/>
                    </a:lnTo>
                    <a:lnTo>
                      <a:pt x="226" y="19"/>
                    </a:lnTo>
                    <a:lnTo>
                      <a:pt x="226" y="19"/>
                    </a:lnTo>
                    <a:lnTo>
                      <a:pt x="222" y="23"/>
                    </a:lnTo>
                    <a:lnTo>
                      <a:pt x="217" y="23"/>
                    </a:lnTo>
                    <a:lnTo>
                      <a:pt x="217" y="19"/>
                    </a:lnTo>
                    <a:lnTo>
                      <a:pt x="217" y="19"/>
                    </a:lnTo>
                    <a:lnTo>
                      <a:pt x="213" y="23"/>
                    </a:lnTo>
                    <a:lnTo>
                      <a:pt x="213" y="23"/>
                    </a:lnTo>
                    <a:lnTo>
                      <a:pt x="208" y="23"/>
                    </a:lnTo>
                    <a:lnTo>
                      <a:pt x="208" y="23"/>
                    </a:lnTo>
                    <a:lnTo>
                      <a:pt x="208" y="28"/>
                    </a:lnTo>
                    <a:lnTo>
                      <a:pt x="204" y="28"/>
                    </a:lnTo>
                    <a:lnTo>
                      <a:pt x="204" y="28"/>
                    </a:lnTo>
                    <a:lnTo>
                      <a:pt x="204" y="28"/>
                    </a:lnTo>
                    <a:lnTo>
                      <a:pt x="204" y="28"/>
                    </a:lnTo>
                    <a:lnTo>
                      <a:pt x="204" y="28"/>
                    </a:lnTo>
                    <a:lnTo>
                      <a:pt x="199" y="23"/>
                    </a:lnTo>
                    <a:lnTo>
                      <a:pt x="199" y="23"/>
                    </a:lnTo>
                    <a:lnTo>
                      <a:pt x="199" y="19"/>
                    </a:lnTo>
                    <a:lnTo>
                      <a:pt x="199" y="19"/>
                    </a:lnTo>
                    <a:lnTo>
                      <a:pt x="195" y="19"/>
                    </a:lnTo>
                    <a:lnTo>
                      <a:pt x="190" y="23"/>
                    </a:lnTo>
                    <a:lnTo>
                      <a:pt x="186" y="23"/>
                    </a:lnTo>
                    <a:lnTo>
                      <a:pt x="176" y="23"/>
                    </a:lnTo>
                    <a:lnTo>
                      <a:pt x="167" y="23"/>
                    </a:lnTo>
                    <a:lnTo>
                      <a:pt x="163" y="28"/>
                    </a:lnTo>
                    <a:lnTo>
                      <a:pt x="158" y="28"/>
                    </a:lnTo>
                    <a:lnTo>
                      <a:pt x="158" y="32"/>
                    </a:lnTo>
                    <a:lnTo>
                      <a:pt x="158" y="37"/>
                    </a:lnTo>
                    <a:lnTo>
                      <a:pt x="158" y="46"/>
                    </a:lnTo>
                    <a:lnTo>
                      <a:pt x="158" y="55"/>
                    </a:lnTo>
                    <a:lnTo>
                      <a:pt x="158" y="59"/>
                    </a:lnTo>
                    <a:lnTo>
                      <a:pt x="158" y="68"/>
                    </a:lnTo>
                    <a:lnTo>
                      <a:pt x="158" y="77"/>
                    </a:lnTo>
                    <a:lnTo>
                      <a:pt x="158" y="82"/>
                    </a:lnTo>
                    <a:lnTo>
                      <a:pt x="158" y="91"/>
                    </a:lnTo>
                    <a:lnTo>
                      <a:pt x="158" y="95"/>
                    </a:lnTo>
                    <a:lnTo>
                      <a:pt x="158" y="95"/>
                    </a:lnTo>
                    <a:lnTo>
                      <a:pt x="154" y="95"/>
                    </a:lnTo>
                    <a:lnTo>
                      <a:pt x="149" y="95"/>
                    </a:lnTo>
                    <a:lnTo>
                      <a:pt x="145" y="95"/>
                    </a:lnTo>
                    <a:lnTo>
                      <a:pt x="140" y="95"/>
                    </a:lnTo>
                    <a:lnTo>
                      <a:pt x="140" y="100"/>
                    </a:lnTo>
                    <a:lnTo>
                      <a:pt x="140" y="104"/>
                    </a:lnTo>
                    <a:lnTo>
                      <a:pt x="140" y="109"/>
                    </a:lnTo>
                    <a:lnTo>
                      <a:pt x="140" y="118"/>
                    </a:lnTo>
                    <a:lnTo>
                      <a:pt x="140" y="123"/>
                    </a:lnTo>
                    <a:lnTo>
                      <a:pt x="140" y="127"/>
                    </a:lnTo>
                    <a:lnTo>
                      <a:pt x="140" y="132"/>
                    </a:lnTo>
                    <a:lnTo>
                      <a:pt x="140" y="136"/>
                    </a:lnTo>
                    <a:lnTo>
                      <a:pt x="140" y="145"/>
                    </a:lnTo>
                    <a:lnTo>
                      <a:pt x="140" y="145"/>
                    </a:lnTo>
                    <a:lnTo>
                      <a:pt x="140" y="150"/>
                    </a:lnTo>
                    <a:lnTo>
                      <a:pt x="140" y="154"/>
                    </a:lnTo>
                    <a:lnTo>
                      <a:pt x="136" y="163"/>
                    </a:lnTo>
                    <a:lnTo>
                      <a:pt x="136" y="172"/>
                    </a:lnTo>
                    <a:lnTo>
                      <a:pt x="136" y="181"/>
                    </a:lnTo>
                    <a:lnTo>
                      <a:pt x="136" y="190"/>
                    </a:lnTo>
                    <a:lnTo>
                      <a:pt x="136" y="199"/>
                    </a:lnTo>
                    <a:lnTo>
                      <a:pt x="136" y="204"/>
                    </a:lnTo>
                    <a:lnTo>
                      <a:pt x="136" y="213"/>
                    </a:lnTo>
                    <a:lnTo>
                      <a:pt x="136" y="217"/>
                    </a:lnTo>
                    <a:lnTo>
                      <a:pt x="136" y="217"/>
                    </a:lnTo>
                    <a:lnTo>
                      <a:pt x="131" y="217"/>
                    </a:lnTo>
                    <a:lnTo>
                      <a:pt x="127" y="217"/>
                    </a:lnTo>
                    <a:lnTo>
                      <a:pt x="127" y="222"/>
                    </a:lnTo>
                    <a:lnTo>
                      <a:pt x="127" y="222"/>
                    </a:lnTo>
                    <a:lnTo>
                      <a:pt x="127" y="222"/>
                    </a:lnTo>
                    <a:lnTo>
                      <a:pt x="122" y="222"/>
                    </a:lnTo>
                    <a:lnTo>
                      <a:pt x="122" y="222"/>
                    </a:lnTo>
                    <a:lnTo>
                      <a:pt x="122" y="227"/>
                    </a:lnTo>
                    <a:lnTo>
                      <a:pt x="122" y="227"/>
                    </a:lnTo>
                    <a:lnTo>
                      <a:pt x="122" y="227"/>
                    </a:lnTo>
                    <a:lnTo>
                      <a:pt x="118" y="227"/>
                    </a:lnTo>
                    <a:lnTo>
                      <a:pt x="113" y="222"/>
                    </a:lnTo>
                    <a:lnTo>
                      <a:pt x="109" y="227"/>
                    </a:lnTo>
                    <a:lnTo>
                      <a:pt x="104" y="227"/>
                    </a:lnTo>
                    <a:lnTo>
                      <a:pt x="104" y="222"/>
                    </a:lnTo>
                    <a:lnTo>
                      <a:pt x="100" y="222"/>
                    </a:lnTo>
                    <a:lnTo>
                      <a:pt x="100" y="222"/>
                    </a:lnTo>
                    <a:lnTo>
                      <a:pt x="95" y="222"/>
                    </a:lnTo>
                    <a:lnTo>
                      <a:pt x="95" y="222"/>
                    </a:lnTo>
                    <a:lnTo>
                      <a:pt x="95" y="222"/>
                    </a:lnTo>
                    <a:lnTo>
                      <a:pt x="95" y="217"/>
                    </a:lnTo>
                    <a:lnTo>
                      <a:pt x="91" y="217"/>
                    </a:lnTo>
                    <a:lnTo>
                      <a:pt x="91" y="217"/>
                    </a:lnTo>
                    <a:lnTo>
                      <a:pt x="95" y="217"/>
                    </a:lnTo>
                    <a:lnTo>
                      <a:pt x="95" y="213"/>
                    </a:lnTo>
                    <a:lnTo>
                      <a:pt x="91" y="213"/>
                    </a:lnTo>
                    <a:lnTo>
                      <a:pt x="91" y="213"/>
                    </a:lnTo>
                    <a:lnTo>
                      <a:pt x="91" y="213"/>
                    </a:lnTo>
                    <a:lnTo>
                      <a:pt x="91" y="213"/>
                    </a:lnTo>
                    <a:lnTo>
                      <a:pt x="91" y="208"/>
                    </a:lnTo>
                    <a:lnTo>
                      <a:pt x="91" y="208"/>
                    </a:lnTo>
                    <a:lnTo>
                      <a:pt x="86" y="208"/>
                    </a:lnTo>
                    <a:lnTo>
                      <a:pt x="86" y="208"/>
                    </a:lnTo>
                    <a:lnTo>
                      <a:pt x="86" y="208"/>
                    </a:lnTo>
                    <a:lnTo>
                      <a:pt x="86" y="213"/>
                    </a:lnTo>
                    <a:lnTo>
                      <a:pt x="82" y="213"/>
                    </a:lnTo>
                    <a:lnTo>
                      <a:pt x="82" y="213"/>
                    </a:lnTo>
                    <a:lnTo>
                      <a:pt x="82" y="217"/>
                    </a:lnTo>
                    <a:lnTo>
                      <a:pt x="82" y="217"/>
                    </a:lnTo>
                    <a:lnTo>
                      <a:pt x="82" y="217"/>
                    </a:lnTo>
                    <a:lnTo>
                      <a:pt x="82" y="217"/>
                    </a:lnTo>
                    <a:lnTo>
                      <a:pt x="82" y="217"/>
                    </a:lnTo>
                    <a:lnTo>
                      <a:pt x="77" y="217"/>
                    </a:lnTo>
                    <a:lnTo>
                      <a:pt x="77" y="217"/>
                    </a:lnTo>
                    <a:lnTo>
                      <a:pt x="77" y="217"/>
                    </a:lnTo>
                    <a:lnTo>
                      <a:pt x="73" y="213"/>
                    </a:lnTo>
                    <a:lnTo>
                      <a:pt x="68" y="213"/>
                    </a:lnTo>
                    <a:lnTo>
                      <a:pt x="64" y="208"/>
                    </a:lnTo>
                    <a:lnTo>
                      <a:pt x="59" y="195"/>
                    </a:lnTo>
                    <a:lnTo>
                      <a:pt x="59" y="195"/>
                    </a:lnTo>
                    <a:lnTo>
                      <a:pt x="59" y="190"/>
                    </a:lnTo>
                    <a:lnTo>
                      <a:pt x="54" y="186"/>
                    </a:lnTo>
                    <a:lnTo>
                      <a:pt x="54" y="181"/>
                    </a:lnTo>
                    <a:lnTo>
                      <a:pt x="59" y="181"/>
                    </a:lnTo>
                    <a:lnTo>
                      <a:pt x="54" y="181"/>
                    </a:lnTo>
                    <a:lnTo>
                      <a:pt x="54" y="177"/>
                    </a:lnTo>
                    <a:lnTo>
                      <a:pt x="54" y="177"/>
                    </a:lnTo>
                    <a:lnTo>
                      <a:pt x="54" y="168"/>
                    </a:lnTo>
                    <a:lnTo>
                      <a:pt x="50" y="163"/>
                    </a:lnTo>
                    <a:lnTo>
                      <a:pt x="50" y="163"/>
                    </a:lnTo>
                    <a:lnTo>
                      <a:pt x="50" y="159"/>
                    </a:lnTo>
                    <a:lnTo>
                      <a:pt x="50" y="154"/>
                    </a:lnTo>
                    <a:lnTo>
                      <a:pt x="50" y="154"/>
                    </a:lnTo>
                    <a:lnTo>
                      <a:pt x="50" y="150"/>
                    </a:lnTo>
                    <a:lnTo>
                      <a:pt x="50" y="145"/>
                    </a:lnTo>
                    <a:lnTo>
                      <a:pt x="45" y="136"/>
                    </a:lnTo>
                    <a:lnTo>
                      <a:pt x="45" y="132"/>
                    </a:lnTo>
                    <a:lnTo>
                      <a:pt x="45" y="127"/>
                    </a:lnTo>
                    <a:lnTo>
                      <a:pt x="45" y="123"/>
                    </a:lnTo>
                    <a:lnTo>
                      <a:pt x="45" y="118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09"/>
                    </a:lnTo>
                    <a:lnTo>
                      <a:pt x="45" y="109"/>
                    </a:lnTo>
                    <a:lnTo>
                      <a:pt x="45" y="104"/>
                    </a:lnTo>
                    <a:lnTo>
                      <a:pt x="45" y="100"/>
                    </a:lnTo>
                    <a:lnTo>
                      <a:pt x="36" y="91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27" y="73"/>
                    </a:lnTo>
                    <a:lnTo>
                      <a:pt x="27" y="68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14" y="37"/>
                    </a:lnTo>
                    <a:lnTo>
                      <a:pt x="9" y="32"/>
                    </a:lnTo>
                    <a:lnTo>
                      <a:pt x="5" y="32"/>
                    </a:lnTo>
                    <a:lnTo>
                      <a:pt x="5" y="28"/>
                    </a:lnTo>
                    <a:lnTo>
                      <a:pt x="5" y="23"/>
                    </a:lnTo>
                    <a:lnTo>
                      <a:pt x="0" y="19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4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32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96" name="Freeform 117"/>
              <p:cNvSpPr>
                <a:spLocks/>
              </p:cNvSpPr>
              <p:nvPr/>
            </p:nvSpPr>
            <p:spPr bwMode="auto">
              <a:xfrm>
                <a:off x="8674101" y="3656014"/>
                <a:ext cx="49213" cy="85725"/>
              </a:xfrm>
              <a:custGeom>
                <a:avLst/>
                <a:gdLst>
                  <a:gd name="T0" fmla="*/ 4 w 31"/>
                  <a:gd name="T1" fmla="*/ 5 h 54"/>
                  <a:gd name="T2" fmla="*/ 9 w 31"/>
                  <a:gd name="T3" fmla="*/ 5 h 54"/>
                  <a:gd name="T4" fmla="*/ 13 w 31"/>
                  <a:gd name="T5" fmla="*/ 14 h 54"/>
                  <a:gd name="T6" fmla="*/ 18 w 31"/>
                  <a:gd name="T7" fmla="*/ 18 h 54"/>
                  <a:gd name="T8" fmla="*/ 18 w 31"/>
                  <a:gd name="T9" fmla="*/ 18 h 54"/>
                  <a:gd name="T10" fmla="*/ 18 w 31"/>
                  <a:gd name="T11" fmla="*/ 23 h 54"/>
                  <a:gd name="T12" fmla="*/ 18 w 31"/>
                  <a:gd name="T13" fmla="*/ 23 h 54"/>
                  <a:gd name="T14" fmla="*/ 18 w 31"/>
                  <a:gd name="T15" fmla="*/ 27 h 54"/>
                  <a:gd name="T16" fmla="*/ 22 w 31"/>
                  <a:gd name="T17" fmla="*/ 32 h 54"/>
                  <a:gd name="T18" fmla="*/ 22 w 31"/>
                  <a:gd name="T19" fmla="*/ 32 h 54"/>
                  <a:gd name="T20" fmla="*/ 27 w 31"/>
                  <a:gd name="T21" fmla="*/ 36 h 54"/>
                  <a:gd name="T22" fmla="*/ 27 w 31"/>
                  <a:gd name="T23" fmla="*/ 41 h 54"/>
                  <a:gd name="T24" fmla="*/ 31 w 31"/>
                  <a:gd name="T25" fmla="*/ 45 h 54"/>
                  <a:gd name="T26" fmla="*/ 31 w 31"/>
                  <a:gd name="T27" fmla="*/ 50 h 54"/>
                  <a:gd name="T28" fmla="*/ 27 w 31"/>
                  <a:gd name="T29" fmla="*/ 54 h 54"/>
                  <a:gd name="T30" fmla="*/ 27 w 31"/>
                  <a:gd name="T31" fmla="*/ 54 h 54"/>
                  <a:gd name="T32" fmla="*/ 22 w 31"/>
                  <a:gd name="T33" fmla="*/ 50 h 54"/>
                  <a:gd name="T34" fmla="*/ 22 w 31"/>
                  <a:gd name="T35" fmla="*/ 50 h 54"/>
                  <a:gd name="T36" fmla="*/ 22 w 31"/>
                  <a:gd name="T37" fmla="*/ 50 h 54"/>
                  <a:gd name="T38" fmla="*/ 18 w 31"/>
                  <a:gd name="T39" fmla="*/ 45 h 54"/>
                  <a:gd name="T40" fmla="*/ 18 w 31"/>
                  <a:gd name="T41" fmla="*/ 45 h 54"/>
                  <a:gd name="T42" fmla="*/ 18 w 31"/>
                  <a:gd name="T43" fmla="*/ 41 h 54"/>
                  <a:gd name="T44" fmla="*/ 13 w 31"/>
                  <a:gd name="T45" fmla="*/ 36 h 54"/>
                  <a:gd name="T46" fmla="*/ 9 w 31"/>
                  <a:gd name="T47" fmla="*/ 36 h 54"/>
                  <a:gd name="T48" fmla="*/ 9 w 31"/>
                  <a:gd name="T49" fmla="*/ 27 h 54"/>
                  <a:gd name="T50" fmla="*/ 4 w 31"/>
                  <a:gd name="T51" fmla="*/ 27 h 54"/>
                  <a:gd name="T52" fmla="*/ 4 w 31"/>
                  <a:gd name="T53" fmla="*/ 18 h 54"/>
                  <a:gd name="T54" fmla="*/ 4 w 31"/>
                  <a:gd name="T55" fmla="*/ 14 h 54"/>
                  <a:gd name="T56" fmla="*/ 0 w 31"/>
                  <a:gd name="T57" fmla="*/ 9 h 54"/>
                  <a:gd name="T58" fmla="*/ 4 w 31"/>
                  <a:gd name="T59" fmla="*/ 5 h 54"/>
                  <a:gd name="T60" fmla="*/ 0 w 31"/>
                  <a:gd name="T61" fmla="*/ 5 h 54"/>
                  <a:gd name="T62" fmla="*/ 4 w 31"/>
                  <a:gd name="T63" fmla="*/ 0 h 54"/>
                  <a:gd name="T64" fmla="*/ 4 w 31"/>
                  <a:gd name="T65" fmla="*/ 5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1" h="54">
                    <a:moveTo>
                      <a:pt x="4" y="5"/>
                    </a:moveTo>
                    <a:lnTo>
                      <a:pt x="4" y="5"/>
                    </a:lnTo>
                    <a:lnTo>
                      <a:pt x="4" y="5"/>
                    </a:lnTo>
                    <a:lnTo>
                      <a:pt x="9" y="5"/>
                    </a:lnTo>
                    <a:lnTo>
                      <a:pt x="9" y="9"/>
                    </a:lnTo>
                    <a:lnTo>
                      <a:pt x="13" y="14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22" y="27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7" y="36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31" y="45"/>
                    </a:lnTo>
                    <a:lnTo>
                      <a:pt x="31" y="45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31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3" y="41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9" y="36"/>
                    </a:lnTo>
                    <a:lnTo>
                      <a:pt x="9" y="32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4" y="27"/>
                    </a:lnTo>
                    <a:lnTo>
                      <a:pt x="4" y="23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97" name="Freeform 118"/>
              <p:cNvSpPr>
                <a:spLocks/>
              </p:cNvSpPr>
              <p:nvPr/>
            </p:nvSpPr>
            <p:spPr bwMode="auto">
              <a:xfrm>
                <a:off x="4278313" y="2249489"/>
                <a:ext cx="430213" cy="350838"/>
              </a:xfrm>
              <a:custGeom>
                <a:avLst/>
                <a:gdLst>
                  <a:gd name="T0" fmla="*/ 252 w 271"/>
                  <a:gd name="T1" fmla="*/ 9 h 221"/>
                  <a:gd name="T2" fmla="*/ 257 w 271"/>
                  <a:gd name="T3" fmla="*/ 36 h 221"/>
                  <a:gd name="T4" fmla="*/ 262 w 271"/>
                  <a:gd name="T5" fmla="*/ 50 h 221"/>
                  <a:gd name="T6" fmla="*/ 266 w 271"/>
                  <a:gd name="T7" fmla="*/ 68 h 221"/>
                  <a:gd name="T8" fmla="*/ 266 w 271"/>
                  <a:gd name="T9" fmla="*/ 95 h 221"/>
                  <a:gd name="T10" fmla="*/ 248 w 271"/>
                  <a:gd name="T11" fmla="*/ 136 h 221"/>
                  <a:gd name="T12" fmla="*/ 230 w 271"/>
                  <a:gd name="T13" fmla="*/ 167 h 221"/>
                  <a:gd name="T14" fmla="*/ 225 w 271"/>
                  <a:gd name="T15" fmla="*/ 185 h 221"/>
                  <a:gd name="T16" fmla="*/ 216 w 271"/>
                  <a:gd name="T17" fmla="*/ 190 h 221"/>
                  <a:gd name="T18" fmla="*/ 203 w 271"/>
                  <a:gd name="T19" fmla="*/ 194 h 221"/>
                  <a:gd name="T20" fmla="*/ 176 w 271"/>
                  <a:gd name="T21" fmla="*/ 190 h 221"/>
                  <a:gd name="T22" fmla="*/ 162 w 271"/>
                  <a:gd name="T23" fmla="*/ 199 h 221"/>
                  <a:gd name="T24" fmla="*/ 135 w 271"/>
                  <a:gd name="T25" fmla="*/ 190 h 221"/>
                  <a:gd name="T26" fmla="*/ 121 w 271"/>
                  <a:gd name="T27" fmla="*/ 194 h 221"/>
                  <a:gd name="T28" fmla="*/ 117 w 271"/>
                  <a:gd name="T29" fmla="*/ 194 h 221"/>
                  <a:gd name="T30" fmla="*/ 108 w 271"/>
                  <a:gd name="T31" fmla="*/ 190 h 221"/>
                  <a:gd name="T32" fmla="*/ 99 w 271"/>
                  <a:gd name="T33" fmla="*/ 181 h 221"/>
                  <a:gd name="T34" fmla="*/ 85 w 271"/>
                  <a:gd name="T35" fmla="*/ 181 h 221"/>
                  <a:gd name="T36" fmla="*/ 72 w 271"/>
                  <a:gd name="T37" fmla="*/ 185 h 221"/>
                  <a:gd name="T38" fmla="*/ 67 w 271"/>
                  <a:gd name="T39" fmla="*/ 199 h 221"/>
                  <a:gd name="T40" fmla="*/ 58 w 271"/>
                  <a:gd name="T41" fmla="*/ 212 h 221"/>
                  <a:gd name="T42" fmla="*/ 58 w 271"/>
                  <a:gd name="T43" fmla="*/ 217 h 221"/>
                  <a:gd name="T44" fmla="*/ 58 w 271"/>
                  <a:gd name="T45" fmla="*/ 221 h 221"/>
                  <a:gd name="T46" fmla="*/ 49 w 271"/>
                  <a:gd name="T47" fmla="*/ 212 h 221"/>
                  <a:gd name="T48" fmla="*/ 40 w 271"/>
                  <a:gd name="T49" fmla="*/ 208 h 221"/>
                  <a:gd name="T50" fmla="*/ 36 w 271"/>
                  <a:gd name="T51" fmla="*/ 212 h 221"/>
                  <a:gd name="T52" fmla="*/ 31 w 271"/>
                  <a:gd name="T53" fmla="*/ 212 h 221"/>
                  <a:gd name="T54" fmla="*/ 36 w 271"/>
                  <a:gd name="T55" fmla="*/ 208 h 221"/>
                  <a:gd name="T56" fmla="*/ 31 w 271"/>
                  <a:gd name="T57" fmla="*/ 203 h 221"/>
                  <a:gd name="T58" fmla="*/ 27 w 271"/>
                  <a:gd name="T59" fmla="*/ 203 h 221"/>
                  <a:gd name="T60" fmla="*/ 13 w 271"/>
                  <a:gd name="T61" fmla="*/ 194 h 221"/>
                  <a:gd name="T62" fmla="*/ 13 w 271"/>
                  <a:gd name="T63" fmla="*/ 190 h 221"/>
                  <a:gd name="T64" fmla="*/ 13 w 271"/>
                  <a:gd name="T65" fmla="*/ 190 h 221"/>
                  <a:gd name="T66" fmla="*/ 9 w 271"/>
                  <a:gd name="T67" fmla="*/ 185 h 221"/>
                  <a:gd name="T68" fmla="*/ 4 w 271"/>
                  <a:gd name="T69" fmla="*/ 176 h 221"/>
                  <a:gd name="T70" fmla="*/ 0 w 271"/>
                  <a:gd name="T71" fmla="*/ 172 h 221"/>
                  <a:gd name="T72" fmla="*/ 0 w 271"/>
                  <a:gd name="T73" fmla="*/ 163 h 221"/>
                  <a:gd name="T74" fmla="*/ 13 w 271"/>
                  <a:gd name="T75" fmla="*/ 158 h 221"/>
                  <a:gd name="T76" fmla="*/ 27 w 271"/>
                  <a:gd name="T77" fmla="*/ 154 h 221"/>
                  <a:gd name="T78" fmla="*/ 49 w 271"/>
                  <a:gd name="T79" fmla="*/ 154 h 221"/>
                  <a:gd name="T80" fmla="*/ 58 w 271"/>
                  <a:gd name="T81" fmla="*/ 149 h 221"/>
                  <a:gd name="T82" fmla="*/ 63 w 271"/>
                  <a:gd name="T83" fmla="*/ 145 h 221"/>
                  <a:gd name="T84" fmla="*/ 67 w 271"/>
                  <a:gd name="T85" fmla="*/ 136 h 221"/>
                  <a:gd name="T86" fmla="*/ 72 w 271"/>
                  <a:gd name="T87" fmla="*/ 117 h 221"/>
                  <a:gd name="T88" fmla="*/ 72 w 271"/>
                  <a:gd name="T89" fmla="*/ 90 h 221"/>
                  <a:gd name="T90" fmla="*/ 85 w 271"/>
                  <a:gd name="T91" fmla="*/ 77 h 221"/>
                  <a:gd name="T92" fmla="*/ 103 w 271"/>
                  <a:gd name="T93" fmla="*/ 68 h 221"/>
                  <a:gd name="T94" fmla="*/ 126 w 271"/>
                  <a:gd name="T95" fmla="*/ 50 h 221"/>
                  <a:gd name="T96" fmla="*/ 167 w 271"/>
                  <a:gd name="T97" fmla="*/ 23 h 221"/>
                  <a:gd name="T98" fmla="*/ 212 w 271"/>
                  <a:gd name="T99" fmla="*/ 0 h 221"/>
                  <a:gd name="T100" fmla="*/ 239 w 271"/>
                  <a:gd name="T101" fmla="*/ 18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71" h="221">
                    <a:moveTo>
                      <a:pt x="239" y="18"/>
                    </a:moveTo>
                    <a:lnTo>
                      <a:pt x="239" y="18"/>
                    </a:lnTo>
                    <a:lnTo>
                      <a:pt x="239" y="18"/>
                    </a:lnTo>
                    <a:lnTo>
                      <a:pt x="243" y="13"/>
                    </a:lnTo>
                    <a:lnTo>
                      <a:pt x="252" y="9"/>
                    </a:lnTo>
                    <a:lnTo>
                      <a:pt x="252" y="9"/>
                    </a:lnTo>
                    <a:lnTo>
                      <a:pt x="252" y="18"/>
                    </a:lnTo>
                    <a:lnTo>
                      <a:pt x="257" y="27"/>
                    </a:lnTo>
                    <a:lnTo>
                      <a:pt x="257" y="36"/>
                    </a:lnTo>
                    <a:lnTo>
                      <a:pt x="257" y="36"/>
                    </a:lnTo>
                    <a:lnTo>
                      <a:pt x="257" y="36"/>
                    </a:lnTo>
                    <a:lnTo>
                      <a:pt x="257" y="41"/>
                    </a:lnTo>
                    <a:lnTo>
                      <a:pt x="266" y="45"/>
                    </a:lnTo>
                    <a:lnTo>
                      <a:pt x="262" y="50"/>
                    </a:lnTo>
                    <a:lnTo>
                      <a:pt x="262" y="50"/>
                    </a:lnTo>
                    <a:lnTo>
                      <a:pt x="266" y="54"/>
                    </a:lnTo>
                    <a:lnTo>
                      <a:pt x="271" y="59"/>
                    </a:lnTo>
                    <a:lnTo>
                      <a:pt x="271" y="59"/>
                    </a:lnTo>
                    <a:lnTo>
                      <a:pt x="271" y="59"/>
                    </a:lnTo>
                    <a:lnTo>
                      <a:pt x="266" y="68"/>
                    </a:lnTo>
                    <a:lnTo>
                      <a:pt x="266" y="68"/>
                    </a:lnTo>
                    <a:lnTo>
                      <a:pt x="266" y="77"/>
                    </a:lnTo>
                    <a:lnTo>
                      <a:pt x="266" y="81"/>
                    </a:lnTo>
                    <a:lnTo>
                      <a:pt x="266" y="86"/>
                    </a:lnTo>
                    <a:lnTo>
                      <a:pt x="266" y="95"/>
                    </a:lnTo>
                    <a:lnTo>
                      <a:pt x="266" y="104"/>
                    </a:lnTo>
                    <a:lnTo>
                      <a:pt x="262" y="113"/>
                    </a:lnTo>
                    <a:lnTo>
                      <a:pt x="262" y="122"/>
                    </a:lnTo>
                    <a:lnTo>
                      <a:pt x="257" y="126"/>
                    </a:lnTo>
                    <a:lnTo>
                      <a:pt x="248" y="136"/>
                    </a:lnTo>
                    <a:lnTo>
                      <a:pt x="243" y="145"/>
                    </a:lnTo>
                    <a:lnTo>
                      <a:pt x="239" y="149"/>
                    </a:lnTo>
                    <a:lnTo>
                      <a:pt x="234" y="158"/>
                    </a:lnTo>
                    <a:lnTo>
                      <a:pt x="230" y="167"/>
                    </a:lnTo>
                    <a:lnTo>
                      <a:pt x="230" y="167"/>
                    </a:lnTo>
                    <a:lnTo>
                      <a:pt x="230" y="172"/>
                    </a:lnTo>
                    <a:lnTo>
                      <a:pt x="230" y="176"/>
                    </a:lnTo>
                    <a:lnTo>
                      <a:pt x="230" y="185"/>
                    </a:lnTo>
                    <a:lnTo>
                      <a:pt x="230" y="185"/>
                    </a:lnTo>
                    <a:lnTo>
                      <a:pt x="225" y="185"/>
                    </a:lnTo>
                    <a:lnTo>
                      <a:pt x="225" y="185"/>
                    </a:lnTo>
                    <a:lnTo>
                      <a:pt x="221" y="185"/>
                    </a:lnTo>
                    <a:lnTo>
                      <a:pt x="216" y="190"/>
                    </a:lnTo>
                    <a:lnTo>
                      <a:pt x="216" y="190"/>
                    </a:lnTo>
                    <a:lnTo>
                      <a:pt x="216" y="190"/>
                    </a:lnTo>
                    <a:lnTo>
                      <a:pt x="212" y="194"/>
                    </a:lnTo>
                    <a:lnTo>
                      <a:pt x="212" y="194"/>
                    </a:lnTo>
                    <a:lnTo>
                      <a:pt x="207" y="194"/>
                    </a:lnTo>
                    <a:lnTo>
                      <a:pt x="207" y="194"/>
                    </a:lnTo>
                    <a:lnTo>
                      <a:pt x="203" y="194"/>
                    </a:lnTo>
                    <a:lnTo>
                      <a:pt x="198" y="190"/>
                    </a:lnTo>
                    <a:lnTo>
                      <a:pt x="194" y="190"/>
                    </a:lnTo>
                    <a:lnTo>
                      <a:pt x="194" y="190"/>
                    </a:lnTo>
                    <a:lnTo>
                      <a:pt x="185" y="190"/>
                    </a:lnTo>
                    <a:lnTo>
                      <a:pt x="176" y="190"/>
                    </a:lnTo>
                    <a:lnTo>
                      <a:pt x="171" y="190"/>
                    </a:lnTo>
                    <a:lnTo>
                      <a:pt x="171" y="190"/>
                    </a:lnTo>
                    <a:lnTo>
                      <a:pt x="171" y="194"/>
                    </a:lnTo>
                    <a:lnTo>
                      <a:pt x="167" y="194"/>
                    </a:lnTo>
                    <a:lnTo>
                      <a:pt x="162" y="199"/>
                    </a:lnTo>
                    <a:lnTo>
                      <a:pt x="153" y="199"/>
                    </a:lnTo>
                    <a:lnTo>
                      <a:pt x="149" y="199"/>
                    </a:lnTo>
                    <a:lnTo>
                      <a:pt x="149" y="199"/>
                    </a:lnTo>
                    <a:lnTo>
                      <a:pt x="144" y="194"/>
                    </a:lnTo>
                    <a:lnTo>
                      <a:pt x="135" y="190"/>
                    </a:lnTo>
                    <a:lnTo>
                      <a:pt x="135" y="190"/>
                    </a:lnTo>
                    <a:lnTo>
                      <a:pt x="131" y="190"/>
                    </a:lnTo>
                    <a:lnTo>
                      <a:pt x="131" y="190"/>
                    </a:lnTo>
                    <a:lnTo>
                      <a:pt x="121" y="194"/>
                    </a:lnTo>
                    <a:lnTo>
                      <a:pt x="121" y="194"/>
                    </a:lnTo>
                    <a:lnTo>
                      <a:pt x="121" y="194"/>
                    </a:lnTo>
                    <a:lnTo>
                      <a:pt x="117" y="194"/>
                    </a:lnTo>
                    <a:lnTo>
                      <a:pt x="117" y="199"/>
                    </a:lnTo>
                    <a:lnTo>
                      <a:pt x="117" y="199"/>
                    </a:lnTo>
                    <a:lnTo>
                      <a:pt x="117" y="194"/>
                    </a:lnTo>
                    <a:lnTo>
                      <a:pt x="112" y="194"/>
                    </a:lnTo>
                    <a:lnTo>
                      <a:pt x="112" y="194"/>
                    </a:lnTo>
                    <a:lnTo>
                      <a:pt x="112" y="190"/>
                    </a:lnTo>
                    <a:lnTo>
                      <a:pt x="108" y="190"/>
                    </a:lnTo>
                    <a:lnTo>
                      <a:pt x="108" y="190"/>
                    </a:lnTo>
                    <a:lnTo>
                      <a:pt x="108" y="185"/>
                    </a:lnTo>
                    <a:lnTo>
                      <a:pt x="103" y="185"/>
                    </a:lnTo>
                    <a:lnTo>
                      <a:pt x="103" y="185"/>
                    </a:lnTo>
                    <a:lnTo>
                      <a:pt x="103" y="185"/>
                    </a:lnTo>
                    <a:lnTo>
                      <a:pt x="99" y="181"/>
                    </a:lnTo>
                    <a:lnTo>
                      <a:pt x="90" y="181"/>
                    </a:lnTo>
                    <a:lnTo>
                      <a:pt x="90" y="181"/>
                    </a:lnTo>
                    <a:lnTo>
                      <a:pt x="90" y="181"/>
                    </a:lnTo>
                    <a:lnTo>
                      <a:pt x="85" y="181"/>
                    </a:lnTo>
                    <a:lnTo>
                      <a:pt x="85" y="181"/>
                    </a:lnTo>
                    <a:lnTo>
                      <a:pt x="81" y="181"/>
                    </a:lnTo>
                    <a:lnTo>
                      <a:pt x="81" y="181"/>
                    </a:lnTo>
                    <a:lnTo>
                      <a:pt x="76" y="181"/>
                    </a:lnTo>
                    <a:lnTo>
                      <a:pt x="76" y="185"/>
                    </a:lnTo>
                    <a:lnTo>
                      <a:pt x="72" y="185"/>
                    </a:lnTo>
                    <a:lnTo>
                      <a:pt x="67" y="185"/>
                    </a:lnTo>
                    <a:lnTo>
                      <a:pt x="67" y="190"/>
                    </a:lnTo>
                    <a:lnTo>
                      <a:pt x="67" y="190"/>
                    </a:lnTo>
                    <a:lnTo>
                      <a:pt x="67" y="194"/>
                    </a:lnTo>
                    <a:lnTo>
                      <a:pt x="67" y="199"/>
                    </a:lnTo>
                    <a:lnTo>
                      <a:pt x="63" y="199"/>
                    </a:lnTo>
                    <a:lnTo>
                      <a:pt x="63" y="203"/>
                    </a:lnTo>
                    <a:lnTo>
                      <a:pt x="58" y="203"/>
                    </a:lnTo>
                    <a:lnTo>
                      <a:pt x="58" y="208"/>
                    </a:lnTo>
                    <a:lnTo>
                      <a:pt x="58" y="212"/>
                    </a:lnTo>
                    <a:lnTo>
                      <a:pt x="58" y="212"/>
                    </a:lnTo>
                    <a:lnTo>
                      <a:pt x="58" y="217"/>
                    </a:lnTo>
                    <a:lnTo>
                      <a:pt x="58" y="217"/>
                    </a:lnTo>
                    <a:lnTo>
                      <a:pt x="58" y="217"/>
                    </a:lnTo>
                    <a:lnTo>
                      <a:pt x="58" y="217"/>
                    </a:lnTo>
                    <a:lnTo>
                      <a:pt x="58" y="221"/>
                    </a:lnTo>
                    <a:lnTo>
                      <a:pt x="58" y="221"/>
                    </a:lnTo>
                    <a:lnTo>
                      <a:pt x="58" y="221"/>
                    </a:lnTo>
                    <a:lnTo>
                      <a:pt x="58" y="221"/>
                    </a:lnTo>
                    <a:lnTo>
                      <a:pt x="58" y="221"/>
                    </a:lnTo>
                    <a:lnTo>
                      <a:pt x="54" y="217"/>
                    </a:lnTo>
                    <a:lnTo>
                      <a:pt x="54" y="217"/>
                    </a:lnTo>
                    <a:lnTo>
                      <a:pt x="54" y="217"/>
                    </a:lnTo>
                    <a:lnTo>
                      <a:pt x="54" y="217"/>
                    </a:lnTo>
                    <a:lnTo>
                      <a:pt x="49" y="212"/>
                    </a:lnTo>
                    <a:lnTo>
                      <a:pt x="45" y="208"/>
                    </a:lnTo>
                    <a:lnTo>
                      <a:pt x="45" y="208"/>
                    </a:lnTo>
                    <a:lnTo>
                      <a:pt x="45" y="208"/>
                    </a:lnTo>
                    <a:lnTo>
                      <a:pt x="45" y="208"/>
                    </a:lnTo>
                    <a:lnTo>
                      <a:pt x="40" y="208"/>
                    </a:lnTo>
                    <a:lnTo>
                      <a:pt x="40" y="208"/>
                    </a:lnTo>
                    <a:lnTo>
                      <a:pt x="40" y="208"/>
                    </a:lnTo>
                    <a:lnTo>
                      <a:pt x="40" y="212"/>
                    </a:lnTo>
                    <a:lnTo>
                      <a:pt x="36" y="212"/>
                    </a:lnTo>
                    <a:lnTo>
                      <a:pt x="36" y="212"/>
                    </a:lnTo>
                    <a:lnTo>
                      <a:pt x="36" y="217"/>
                    </a:lnTo>
                    <a:lnTo>
                      <a:pt x="36" y="217"/>
                    </a:lnTo>
                    <a:lnTo>
                      <a:pt x="36" y="217"/>
                    </a:lnTo>
                    <a:lnTo>
                      <a:pt x="36" y="212"/>
                    </a:lnTo>
                    <a:lnTo>
                      <a:pt x="31" y="212"/>
                    </a:lnTo>
                    <a:lnTo>
                      <a:pt x="31" y="208"/>
                    </a:lnTo>
                    <a:lnTo>
                      <a:pt x="31" y="208"/>
                    </a:lnTo>
                    <a:lnTo>
                      <a:pt x="31" y="208"/>
                    </a:lnTo>
                    <a:lnTo>
                      <a:pt x="31" y="208"/>
                    </a:lnTo>
                    <a:lnTo>
                      <a:pt x="36" y="208"/>
                    </a:lnTo>
                    <a:lnTo>
                      <a:pt x="36" y="208"/>
                    </a:lnTo>
                    <a:lnTo>
                      <a:pt x="36" y="208"/>
                    </a:lnTo>
                    <a:lnTo>
                      <a:pt x="36" y="203"/>
                    </a:lnTo>
                    <a:lnTo>
                      <a:pt x="31" y="203"/>
                    </a:lnTo>
                    <a:lnTo>
                      <a:pt x="31" y="203"/>
                    </a:lnTo>
                    <a:lnTo>
                      <a:pt x="31" y="203"/>
                    </a:lnTo>
                    <a:lnTo>
                      <a:pt x="31" y="203"/>
                    </a:lnTo>
                    <a:lnTo>
                      <a:pt x="31" y="203"/>
                    </a:lnTo>
                    <a:lnTo>
                      <a:pt x="27" y="203"/>
                    </a:lnTo>
                    <a:lnTo>
                      <a:pt x="27" y="203"/>
                    </a:lnTo>
                    <a:lnTo>
                      <a:pt x="27" y="203"/>
                    </a:lnTo>
                    <a:lnTo>
                      <a:pt x="22" y="203"/>
                    </a:lnTo>
                    <a:lnTo>
                      <a:pt x="22" y="203"/>
                    </a:lnTo>
                    <a:lnTo>
                      <a:pt x="18" y="199"/>
                    </a:lnTo>
                    <a:lnTo>
                      <a:pt x="13" y="194"/>
                    </a:lnTo>
                    <a:lnTo>
                      <a:pt x="13" y="194"/>
                    </a:lnTo>
                    <a:lnTo>
                      <a:pt x="13" y="194"/>
                    </a:lnTo>
                    <a:lnTo>
                      <a:pt x="13" y="194"/>
                    </a:lnTo>
                    <a:lnTo>
                      <a:pt x="13" y="190"/>
                    </a:lnTo>
                    <a:lnTo>
                      <a:pt x="13" y="190"/>
                    </a:lnTo>
                    <a:lnTo>
                      <a:pt x="13" y="190"/>
                    </a:lnTo>
                    <a:lnTo>
                      <a:pt x="18" y="190"/>
                    </a:lnTo>
                    <a:lnTo>
                      <a:pt x="18" y="190"/>
                    </a:lnTo>
                    <a:lnTo>
                      <a:pt x="13" y="190"/>
                    </a:lnTo>
                    <a:lnTo>
                      <a:pt x="13" y="190"/>
                    </a:lnTo>
                    <a:lnTo>
                      <a:pt x="13" y="185"/>
                    </a:lnTo>
                    <a:lnTo>
                      <a:pt x="13" y="185"/>
                    </a:lnTo>
                    <a:lnTo>
                      <a:pt x="13" y="185"/>
                    </a:lnTo>
                    <a:lnTo>
                      <a:pt x="9" y="185"/>
                    </a:lnTo>
                    <a:lnTo>
                      <a:pt x="9" y="185"/>
                    </a:lnTo>
                    <a:lnTo>
                      <a:pt x="9" y="185"/>
                    </a:lnTo>
                    <a:lnTo>
                      <a:pt x="9" y="185"/>
                    </a:lnTo>
                    <a:lnTo>
                      <a:pt x="9" y="185"/>
                    </a:lnTo>
                    <a:lnTo>
                      <a:pt x="4" y="181"/>
                    </a:lnTo>
                    <a:lnTo>
                      <a:pt x="4" y="176"/>
                    </a:lnTo>
                    <a:lnTo>
                      <a:pt x="4" y="176"/>
                    </a:lnTo>
                    <a:lnTo>
                      <a:pt x="4" y="176"/>
                    </a:lnTo>
                    <a:lnTo>
                      <a:pt x="4" y="172"/>
                    </a:lnTo>
                    <a:lnTo>
                      <a:pt x="4" y="172"/>
                    </a:lnTo>
                    <a:lnTo>
                      <a:pt x="0" y="172"/>
                    </a:lnTo>
                    <a:lnTo>
                      <a:pt x="0" y="167"/>
                    </a:lnTo>
                    <a:lnTo>
                      <a:pt x="0" y="167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58"/>
                    </a:lnTo>
                    <a:lnTo>
                      <a:pt x="0" y="158"/>
                    </a:lnTo>
                    <a:lnTo>
                      <a:pt x="4" y="158"/>
                    </a:lnTo>
                    <a:lnTo>
                      <a:pt x="9" y="158"/>
                    </a:lnTo>
                    <a:lnTo>
                      <a:pt x="13" y="158"/>
                    </a:lnTo>
                    <a:lnTo>
                      <a:pt x="13" y="158"/>
                    </a:lnTo>
                    <a:lnTo>
                      <a:pt x="18" y="158"/>
                    </a:lnTo>
                    <a:lnTo>
                      <a:pt x="18" y="154"/>
                    </a:lnTo>
                    <a:lnTo>
                      <a:pt x="22" y="154"/>
                    </a:lnTo>
                    <a:lnTo>
                      <a:pt x="27" y="154"/>
                    </a:lnTo>
                    <a:lnTo>
                      <a:pt x="31" y="154"/>
                    </a:lnTo>
                    <a:lnTo>
                      <a:pt x="40" y="154"/>
                    </a:lnTo>
                    <a:lnTo>
                      <a:pt x="45" y="154"/>
                    </a:lnTo>
                    <a:lnTo>
                      <a:pt x="49" y="154"/>
                    </a:lnTo>
                    <a:lnTo>
                      <a:pt x="49" y="154"/>
                    </a:lnTo>
                    <a:lnTo>
                      <a:pt x="49" y="149"/>
                    </a:lnTo>
                    <a:lnTo>
                      <a:pt x="49" y="149"/>
                    </a:lnTo>
                    <a:lnTo>
                      <a:pt x="54" y="154"/>
                    </a:lnTo>
                    <a:lnTo>
                      <a:pt x="58" y="154"/>
                    </a:lnTo>
                    <a:lnTo>
                      <a:pt x="58" y="149"/>
                    </a:lnTo>
                    <a:lnTo>
                      <a:pt x="58" y="149"/>
                    </a:lnTo>
                    <a:lnTo>
                      <a:pt x="63" y="145"/>
                    </a:lnTo>
                    <a:lnTo>
                      <a:pt x="63" y="145"/>
                    </a:lnTo>
                    <a:lnTo>
                      <a:pt x="63" y="145"/>
                    </a:lnTo>
                    <a:lnTo>
                      <a:pt x="63" y="145"/>
                    </a:lnTo>
                    <a:lnTo>
                      <a:pt x="63" y="140"/>
                    </a:lnTo>
                    <a:lnTo>
                      <a:pt x="63" y="140"/>
                    </a:lnTo>
                    <a:lnTo>
                      <a:pt x="63" y="140"/>
                    </a:lnTo>
                    <a:lnTo>
                      <a:pt x="67" y="136"/>
                    </a:lnTo>
                    <a:lnTo>
                      <a:pt x="67" y="136"/>
                    </a:lnTo>
                    <a:lnTo>
                      <a:pt x="67" y="131"/>
                    </a:lnTo>
                    <a:lnTo>
                      <a:pt x="67" y="126"/>
                    </a:lnTo>
                    <a:lnTo>
                      <a:pt x="67" y="122"/>
                    </a:lnTo>
                    <a:lnTo>
                      <a:pt x="72" y="122"/>
                    </a:lnTo>
                    <a:lnTo>
                      <a:pt x="72" y="117"/>
                    </a:lnTo>
                    <a:lnTo>
                      <a:pt x="72" y="108"/>
                    </a:lnTo>
                    <a:lnTo>
                      <a:pt x="72" y="104"/>
                    </a:lnTo>
                    <a:lnTo>
                      <a:pt x="72" y="99"/>
                    </a:lnTo>
                    <a:lnTo>
                      <a:pt x="72" y="95"/>
                    </a:lnTo>
                    <a:lnTo>
                      <a:pt x="72" y="90"/>
                    </a:lnTo>
                    <a:lnTo>
                      <a:pt x="72" y="86"/>
                    </a:lnTo>
                    <a:lnTo>
                      <a:pt x="72" y="81"/>
                    </a:lnTo>
                    <a:lnTo>
                      <a:pt x="72" y="81"/>
                    </a:lnTo>
                    <a:lnTo>
                      <a:pt x="76" y="81"/>
                    </a:lnTo>
                    <a:lnTo>
                      <a:pt x="85" y="77"/>
                    </a:lnTo>
                    <a:lnTo>
                      <a:pt x="90" y="77"/>
                    </a:lnTo>
                    <a:lnTo>
                      <a:pt x="94" y="77"/>
                    </a:lnTo>
                    <a:lnTo>
                      <a:pt x="99" y="77"/>
                    </a:lnTo>
                    <a:lnTo>
                      <a:pt x="103" y="72"/>
                    </a:lnTo>
                    <a:lnTo>
                      <a:pt x="103" y="68"/>
                    </a:lnTo>
                    <a:lnTo>
                      <a:pt x="108" y="63"/>
                    </a:lnTo>
                    <a:lnTo>
                      <a:pt x="112" y="59"/>
                    </a:lnTo>
                    <a:lnTo>
                      <a:pt x="117" y="54"/>
                    </a:lnTo>
                    <a:lnTo>
                      <a:pt x="121" y="54"/>
                    </a:lnTo>
                    <a:lnTo>
                      <a:pt x="126" y="50"/>
                    </a:lnTo>
                    <a:lnTo>
                      <a:pt x="131" y="45"/>
                    </a:lnTo>
                    <a:lnTo>
                      <a:pt x="140" y="41"/>
                    </a:lnTo>
                    <a:lnTo>
                      <a:pt x="149" y="32"/>
                    </a:lnTo>
                    <a:lnTo>
                      <a:pt x="158" y="27"/>
                    </a:lnTo>
                    <a:lnTo>
                      <a:pt x="167" y="23"/>
                    </a:lnTo>
                    <a:lnTo>
                      <a:pt x="176" y="18"/>
                    </a:lnTo>
                    <a:lnTo>
                      <a:pt x="185" y="9"/>
                    </a:lnTo>
                    <a:lnTo>
                      <a:pt x="194" y="4"/>
                    </a:lnTo>
                    <a:lnTo>
                      <a:pt x="203" y="0"/>
                    </a:lnTo>
                    <a:lnTo>
                      <a:pt x="212" y="0"/>
                    </a:lnTo>
                    <a:lnTo>
                      <a:pt x="221" y="4"/>
                    </a:lnTo>
                    <a:lnTo>
                      <a:pt x="225" y="4"/>
                    </a:lnTo>
                    <a:lnTo>
                      <a:pt x="230" y="4"/>
                    </a:lnTo>
                    <a:lnTo>
                      <a:pt x="234" y="9"/>
                    </a:lnTo>
                    <a:lnTo>
                      <a:pt x="239" y="18"/>
                    </a:lnTo>
                    <a:lnTo>
                      <a:pt x="239" y="18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98" name="Freeform 119"/>
              <p:cNvSpPr>
                <a:spLocks/>
              </p:cNvSpPr>
              <p:nvPr/>
            </p:nvSpPr>
            <p:spPr bwMode="auto">
              <a:xfrm>
                <a:off x="4341813" y="2536826"/>
                <a:ext cx="330200" cy="287338"/>
              </a:xfrm>
              <a:custGeom>
                <a:avLst/>
                <a:gdLst>
                  <a:gd name="T0" fmla="*/ 68 w 208"/>
                  <a:gd name="T1" fmla="*/ 4 h 181"/>
                  <a:gd name="T2" fmla="*/ 77 w 208"/>
                  <a:gd name="T3" fmla="*/ 13 h 181"/>
                  <a:gd name="T4" fmla="*/ 81 w 208"/>
                  <a:gd name="T5" fmla="*/ 13 h 181"/>
                  <a:gd name="T6" fmla="*/ 109 w 208"/>
                  <a:gd name="T7" fmla="*/ 18 h 181"/>
                  <a:gd name="T8" fmla="*/ 131 w 208"/>
                  <a:gd name="T9" fmla="*/ 9 h 181"/>
                  <a:gd name="T10" fmla="*/ 158 w 208"/>
                  <a:gd name="T11" fmla="*/ 9 h 181"/>
                  <a:gd name="T12" fmla="*/ 176 w 208"/>
                  <a:gd name="T13" fmla="*/ 9 h 181"/>
                  <a:gd name="T14" fmla="*/ 190 w 208"/>
                  <a:gd name="T15" fmla="*/ 4 h 181"/>
                  <a:gd name="T16" fmla="*/ 199 w 208"/>
                  <a:gd name="T17" fmla="*/ 27 h 181"/>
                  <a:gd name="T18" fmla="*/ 208 w 208"/>
                  <a:gd name="T19" fmla="*/ 27 h 181"/>
                  <a:gd name="T20" fmla="*/ 208 w 208"/>
                  <a:gd name="T21" fmla="*/ 36 h 181"/>
                  <a:gd name="T22" fmla="*/ 203 w 208"/>
                  <a:gd name="T23" fmla="*/ 45 h 181"/>
                  <a:gd name="T24" fmla="*/ 194 w 208"/>
                  <a:gd name="T25" fmla="*/ 54 h 181"/>
                  <a:gd name="T26" fmla="*/ 185 w 208"/>
                  <a:gd name="T27" fmla="*/ 72 h 181"/>
                  <a:gd name="T28" fmla="*/ 181 w 208"/>
                  <a:gd name="T29" fmla="*/ 81 h 181"/>
                  <a:gd name="T30" fmla="*/ 176 w 208"/>
                  <a:gd name="T31" fmla="*/ 95 h 181"/>
                  <a:gd name="T32" fmla="*/ 167 w 208"/>
                  <a:gd name="T33" fmla="*/ 104 h 181"/>
                  <a:gd name="T34" fmla="*/ 158 w 208"/>
                  <a:gd name="T35" fmla="*/ 122 h 181"/>
                  <a:gd name="T36" fmla="*/ 158 w 208"/>
                  <a:gd name="T37" fmla="*/ 131 h 181"/>
                  <a:gd name="T38" fmla="*/ 154 w 208"/>
                  <a:gd name="T39" fmla="*/ 135 h 181"/>
                  <a:gd name="T40" fmla="*/ 145 w 208"/>
                  <a:gd name="T41" fmla="*/ 135 h 181"/>
                  <a:gd name="T42" fmla="*/ 140 w 208"/>
                  <a:gd name="T43" fmla="*/ 126 h 181"/>
                  <a:gd name="T44" fmla="*/ 131 w 208"/>
                  <a:gd name="T45" fmla="*/ 131 h 181"/>
                  <a:gd name="T46" fmla="*/ 127 w 208"/>
                  <a:gd name="T47" fmla="*/ 131 h 181"/>
                  <a:gd name="T48" fmla="*/ 118 w 208"/>
                  <a:gd name="T49" fmla="*/ 140 h 181"/>
                  <a:gd name="T50" fmla="*/ 109 w 208"/>
                  <a:gd name="T51" fmla="*/ 153 h 181"/>
                  <a:gd name="T52" fmla="*/ 104 w 208"/>
                  <a:gd name="T53" fmla="*/ 172 h 181"/>
                  <a:gd name="T54" fmla="*/ 100 w 208"/>
                  <a:gd name="T55" fmla="*/ 167 h 181"/>
                  <a:gd name="T56" fmla="*/ 86 w 208"/>
                  <a:gd name="T57" fmla="*/ 176 h 181"/>
                  <a:gd name="T58" fmla="*/ 81 w 208"/>
                  <a:gd name="T59" fmla="*/ 176 h 181"/>
                  <a:gd name="T60" fmla="*/ 77 w 208"/>
                  <a:gd name="T61" fmla="*/ 176 h 181"/>
                  <a:gd name="T62" fmla="*/ 72 w 208"/>
                  <a:gd name="T63" fmla="*/ 172 h 181"/>
                  <a:gd name="T64" fmla="*/ 72 w 208"/>
                  <a:gd name="T65" fmla="*/ 176 h 181"/>
                  <a:gd name="T66" fmla="*/ 68 w 208"/>
                  <a:gd name="T67" fmla="*/ 181 h 181"/>
                  <a:gd name="T68" fmla="*/ 63 w 208"/>
                  <a:gd name="T69" fmla="*/ 176 h 181"/>
                  <a:gd name="T70" fmla="*/ 59 w 208"/>
                  <a:gd name="T71" fmla="*/ 181 h 181"/>
                  <a:gd name="T72" fmla="*/ 50 w 208"/>
                  <a:gd name="T73" fmla="*/ 167 h 181"/>
                  <a:gd name="T74" fmla="*/ 50 w 208"/>
                  <a:gd name="T75" fmla="*/ 163 h 181"/>
                  <a:gd name="T76" fmla="*/ 50 w 208"/>
                  <a:gd name="T77" fmla="*/ 158 h 181"/>
                  <a:gd name="T78" fmla="*/ 50 w 208"/>
                  <a:gd name="T79" fmla="*/ 153 h 181"/>
                  <a:gd name="T80" fmla="*/ 45 w 208"/>
                  <a:gd name="T81" fmla="*/ 153 h 181"/>
                  <a:gd name="T82" fmla="*/ 41 w 208"/>
                  <a:gd name="T83" fmla="*/ 149 h 181"/>
                  <a:gd name="T84" fmla="*/ 14 w 208"/>
                  <a:gd name="T85" fmla="*/ 140 h 181"/>
                  <a:gd name="T86" fmla="*/ 14 w 208"/>
                  <a:gd name="T87" fmla="*/ 135 h 181"/>
                  <a:gd name="T88" fmla="*/ 0 w 208"/>
                  <a:gd name="T89" fmla="*/ 135 h 181"/>
                  <a:gd name="T90" fmla="*/ 0 w 208"/>
                  <a:gd name="T91" fmla="*/ 126 h 181"/>
                  <a:gd name="T92" fmla="*/ 0 w 208"/>
                  <a:gd name="T93" fmla="*/ 117 h 181"/>
                  <a:gd name="T94" fmla="*/ 0 w 208"/>
                  <a:gd name="T95" fmla="*/ 104 h 181"/>
                  <a:gd name="T96" fmla="*/ 5 w 208"/>
                  <a:gd name="T97" fmla="*/ 90 h 181"/>
                  <a:gd name="T98" fmla="*/ 9 w 208"/>
                  <a:gd name="T99" fmla="*/ 81 h 181"/>
                  <a:gd name="T100" fmla="*/ 18 w 208"/>
                  <a:gd name="T101" fmla="*/ 72 h 181"/>
                  <a:gd name="T102" fmla="*/ 18 w 208"/>
                  <a:gd name="T103" fmla="*/ 63 h 181"/>
                  <a:gd name="T104" fmla="*/ 23 w 208"/>
                  <a:gd name="T105" fmla="*/ 59 h 181"/>
                  <a:gd name="T106" fmla="*/ 18 w 208"/>
                  <a:gd name="T107" fmla="*/ 49 h 181"/>
                  <a:gd name="T108" fmla="*/ 18 w 208"/>
                  <a:gd name="T109" fmla="*/ 40 h 181"/>
                  <a:gd name="T110" fmla="*/ 18 w 208"/>
                  <a:gd name="T111" fmla="*/ 36 h 181"/>
                  <a:gd name="T112" fmla="*/ 23 w 208"/>
                  <a:gd name="T113" fmla="*/ 18 h 181"/>
                  <a:gd name="T114" fmla="*/ 32 w 208"/>
                  <a:gd name="T115" fmla="*/ 4 h 181"/>
                  <a:gd name="T116" fmla="*/ 45 w 208"/>
                  <a:gd name="T117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8" h="181">
                    <a:moveTo>
                      <a:pt x="59" y="0"/>
                    </a:moveTo>
                    <a:lnTo>
                      <a:pt x="59" y="0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8" y="4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72" y="9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77" y="13"/>
                    </a:lnTo>
                    <a:lnTo>
                      <a:pt x="77" y="18"/>
                    </a:lnTo>
                    <a:lnTo>
                      <a:pt x="77" y="18"/>
                    </a:lnTo>
                    <a:lnTo>
                      <a:pt x="77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91" y="9"/>
                    </a:lnTo>
                    <a:lnTo>
                      <a:pt x="91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104" y="13"/>
                    </a:lnTo>
                    <a:lnTo>
                      <a:pt x="109" y="18"/>
                    </a:lnTo>
                    <a:lnTo>
                      <a:pt x="109" y="18"/>
                    </a:lnTo>
                    <a:lnTo>
                      <a:pt x="113" y="18"/>
                    </a:lnTo>
                    <a:lnTo>
                      <a:pt x="122" y="18"/>
                    </a:lnTo>
                    <a:lnTo>
                      <a:pt x="127" y="13"/>
                    </a:lnTo>
                    <a:lnTo>
                      <a:pt x="131" y="13"/>
                    </a:lnTo>
                    <a:lnTo>
                      <a:pt x="131" y="9"/>
                    </a:lnTo>
                    <a:lnTo>
                      <a:pt x="131" y="9"/>
                    </a:lnTo>
                    <a:lnTo>
                      <a:pt x="136" y="9"/>
                    </a:lnTo>
                    <a:lnTo>
                      <a:pt x="145" y="9"/>
                    </a:lnTo>
                    <a:lnTo>
                      <a:pt x="154" y="9"/>
                    </a:lnTo>
                    <a:lnTo>
                      <a:pt x="154" y="9"/>
                    </a:lnTo>
                    <a:lnTo>
                      <a:pt x="158" y="9"/>
                    </a:lnTo>
                    <a:lnTo>
                      <a:pt x="163" y="13"/>
                    </a:lnTo>
                    <a:lnTo>
                      <a:pt x="167" y="13"/>
                    </a:lnTo>
                    <a:lnTo>
                      <a:pt x="167" y="13"/>
                    </a:lnTo>
                    <a:lnTo>
                      <a:pt x="172" y="13"/>
                    </a:lnTo>
                    <a:lnTo>
                      <a:pt x="172" y="13"/>
                    </a:lnTo>
                    <a:lnTo>
                      <a:pt x="176" y="9"/>
                    </a:lnTo>
                    <a:lnTo>
                      <a:pt x="176" y="9"/>
                    </a:lnTo>
                    <a:lnTo>
                      <a:pt x="176" y="9"/>
                    </a:lnTo>
                    <a:lnTo>
                      <a:pt x="181" y="4"/>
                    </a:lnTo>
                    <a:lnTo>
                      <a:pt x="185" y="4"/>
                    </a:lnTo>
                    <a:lnTo>
                      <a:pt x="185" y="4"/>
                    </a:lnTo>
                    <a:lnTo>
                      <a:pt x="190" y="4"/>
                    </a:lnTo>
                    <a:lnTo>
                      <a:pt x="190" y="4"/>
                    </a:lnTo>
                    <a:lnTo>
                      <a:pt x="194" y="4"/>
                    </a:lnTo>
                    <a:lnTo>
                      <a:pt x="194" y="9"/>
                    </a:lnTo>
                    <a:lnTo>
                      <a:pt x="199" y="13"/>
                    </a:lnTo>
                    <a:lnTo>
                      <a:pt x="199" y="22"/>
                    </a:lnTo>
                    <a:lnTo>
                      <a:pt x="199" y="27"/>
                    </a:lnTo>
                    <a:lnTo>
                      <a:pt x="199" y="27"/>
                    </a:lnTo>
                    <a:lnTo>
                      <a:pt x="199" y="27"/>
                    </a:lnTo>
                    <a:lnTo>
                      <a:pt x="203" y="27"/>
                    </a:lnTo>
                    <a:lnTo>
                      <a:pt x="203" y="27"/>
                    </a:lnTo>
                    <a:lnTo>
                      <a:pt x="203" y="27"/>
                    </a:lnTo>
                    <a:lnTo>
                      <a:pt x="208" y="27"/>
                    </a:lnTo>
                    <a:lnTo>
                      <a:pt x="208" y="31"/>
                    </a:lnTo>
                    <a:lnTo>
                      <a:pt x="208" y="31"/>
                    </a:lnTo>
                    <a:lnTo>
                      <a:pt x="208" y="31"/>
                    </a:lnTo>
                    <a:lnTo>
                      <a:pt x="208" y="31"/>
                    </a:lnTo>
                    <a:lnTo>
                      <a:pt x="208" y="36"/>
                    </a:lnTo>
                    <a:lnTo>
                      <a:pt x="208" y="36"/>
                    </a:lnTo>
                    <a:lnTo>
                      <a:pt x="208" y="40"/>
                    </a:lnTo>
                    <a:lnTo>
                      <a:pt x="208" y="40"/>
                    </a:lnTo>
                    <a:lnTo>
                      <a:pt x="208" y="45"/>
                    </a:lnTo>
                    <a:lnTo>
                      <a:pt x="208" y="45"/>
                    </a:lnTo>
                    <a:lnTo>
                      <a:pt x="208" y="45"/>
                    </a:lnTo>
                    <a:lnTo>
                      <a:pt x="203" y="45"/>
                    </a:lnTo>
                    <a:lnTo>
                      <a:pt x="203" y="49"/>
                    </a:lnTo>
                    <a:lnTo>
                      <a:pt x="199" y="49"/>
                    </a:lnTo>
                    <a:lnTo>
                      <a:pt x="199" y="49"/>
                    </a:lnTo>
                    <a:lnTo>
                      <a:pt x="199" y="49"/>
                    </a:lnTo>
                    <a:lnTo>
                      <a:pt x="194" y="49"/>
                    </a:lnTo>
                    <a:lnTo>
                      <a:pt x="194" y="54"/>
                    </a:lnTo>
                    <a:lnTo>
                      <a:pt x="190" y="59"/>
                    </a:lnTo>
                    <a:lnTo>
                      <a:pt x="190" y="63"/>
                    </a:lnTo>
                    <a:lnTo>
                      <a:pt x="190" y="68"/>
                    </a:lnTo>
                    <a:lnTo>
                      <a:pt x="185" y="72"/>
                    </a:lnTo>
                    <a:lnTo>
                      <a:pt x="185" y="72"/>
                    </a:lnTo>
                    <a:lnTo>
                      <a:pt x="185" y="72"/>
                    </a:lnTo>
                    <a:lnTo>
                      <a:pt x="185" y="77"/>
                    </a:lnTo>
                    <a:lnTo>
                      <a:pt x="185" y="77"/>
                    </a:lnTo>
                    <a:lnTo>
                      <a:pt x="185" y="81"/>
                    </a:lnTo>
                    <a:lnTo>
                      <a:pt x="185" y="81"/>
                    </a:lnTo>
                    <a:lnTo>
                      <a:pt x="181" y="81"/>
                    </a:lnTo>
                    <a:lnTo>
                      <a:pt x="181" y="81"/>
                    </a:lnTo>
                    <a:lnTo>
                      <a:pt x="176" y="86"/>
                    </a:lnTo>
                    <a:lnTo>
                      <a:pt x="176" y="86"/>
                    </a:lnTo>
                    <a:lnTo>
                      <a:pt x="176" y="90"/>
                    </a:lnTo>
                    <a:lnTo>
                      <a:pt x="176" y="95"/>
                    </a:lnTo>
                    <a:lnTo>
                      <a:pt x="176" y="95"/>
                    </a:lnTo>
                    <a:lnTo>
                      <a:pt x="176" y="95"/>
                    </a:lnTo>
                    <a:lnTo>
                      <a:pt x="176" y="99"/>
                    </a:lnTo>
                    <a:lnTo>
                      <a:pt x="172" y="99"/>
                    </a:lnTo>
                    <a:lnTo>
                      <a:pt x="172" y="99"/>
                    </a:lnTo>
                    <a:lnTo>
                      <a:pt x="167" y="104"/>
                    </a:lnTo>
                    <a:lnTo>
                      <a:pt x="167" y="104"/>
                    </a:lnTo>
                    <a:lnTo>
                      <a:pt x="167" y="104"/>
                    </a:lnTo>
                    <a:lnTo>
                      <a:pt x="167" y="113"/>
                    </a:lnTo>
                    <a:lnTo>
                      <a:pt x="163" y="113"/>
                    </a:lnTo>
                    <a:lnTo>
                      <a:pt x="163" y="117"/>
                    </a:lnTo>
                    <a:lnTo>
                      <a:pt x="163" y="117"/>
                    </a:lnTo>
                    <a:lnTo>
                      <a:pt x="163" y="122"/>
                    </a:lnTo>
                    <a:lnTo>
                      <a:pt x="158" y="122"/>
                    </a:lnTo>
                    <a:lnTo>
                      <a:pt x="158" y="122"/>
                    </a:lnTo>
                    <a:lnTo>
                      <a:pt x="158" y="126"/>
                    </a:lnTo>
                    <a:lnTo>
                      <a:pt x="163" y="126"/>
                    </a:lnTo>
                    <a:lnTo>
                      <a:pt x="163" y="126"/>
                    </a:lnTo>
                    <a:lnTo>
                      <a:pt x="158" y="126"/>
                    </a:lnTo>
                    <a:lnTo>
                      <a:pt x="158" y="131"/>
                    </a:lnTo>
                    <a:lnTo>
                      <a:pt x="158" y="131"/>
                    </a:lnTo>
                    <a:lnTo>
                      <a:pt x="154" y="131"/>
                    </a:lnTo>
                    <a:lnTo>
                      <a:pt x="154" y="135"/>
                    </a:lnTo>
                    <a:lnTo>
                      <a:pt x="154" y="135"/>
                    </a:lnTo>
                    <a:lnTo>
                      <a:pt x="154" y="135"/>
                    </a:lnTo>
                    <a:lnTo>
                      <a:pt x="154" y="135"/>
                    </a:lnTo>
                    <a:lnTo>
                      <a:pt x="154" y="140"/>
                    </a:lnTo>
                    <a:lnTo>
                      <a:pt x="149" y="140"/>
                    </a:lnTo>
                    <a:lnTo>
                      <a:pt x="149" y="140"/>
                    </a:lnTo>
                    <a:lnTo>
                      <a:pt x="149" y="140"/>
                    </a:lnTo>
                    <a:lnTo>
                      <a:pt x="149" y="140"/>
                    </a:lnTo>
                    <a:lnTo>
                      <a:pt x="145" y="135"/>
                    </a:lnTo>
                    <a:lnTo>
                      <a:pt x="145" y="135"/>
                    </a:lnTo>
                    <a:lnTo>
                      <a:pt x="145" y="131"/>
                    </a:lnTo>
                    <a:lnTo>
                      <a:pt x="145" y="131"/>
                    </a:lnTo>
                    <a:lnTo>
                      <a:pt x="140" y="131"/>
                    </a:lnTo>
                    <a:lnTo>
                      <a:pt x="140" y="126"/>
                    </a:lnTo>
                    <a:lnTo>
                      <a:pt x="140" y="126"/>
                    </a:lnTo>
                    <a:lnTo>
                      <a:pt x="140" y="126"/>
                    </a:lnTo>
                    <a:lnTo>
                      <a:pt x="136" y="131"/>
                    </a:lnTo>
                    <a:lnTo>
                      <a:pt x="136" y="131"/>
                    </a:lnTo>
                    <a:lnTo>
                      <a:pt x="136" y="131"/>
                    </a:lnTo>
                    <a:lnTo>
                      <a:pt x="136" y="131"/>
                    </a:lnTo>
                    <a:lnTo>
                      <a:pt x="131" y="131"/>
                    </a:lnTo>
                    <a:lnTo>
                      <a:pt x="131" y="131"/>
                    </a:lnTo>
                    <a:lnTo>
                      <a:pt x="131" y="131"/>
                    </a:lnTo>
                    <a:lnTo>
                      <a:pt x="131" y="126"/>
                    </a:lnTo>
                    <a:lnTo>
                      <a:pt x="131" y="131"/>
                    </a:lnTo>
                    <a:lnTo>
                      <a:pt x="127" y="131"/>
                    </a:lnTo>
                    <a:lnTo>
                      <a:pt x="127" y="131"/>
                    </a:lnTo>
                    <a:lnTo>
                      <a:pt x="127" y="131"/>
                    </a:lnTo>
                    <a:lnTo>
                      <a:pt x="122" y="135"/>
                    </a:lnTo>
                    <a:lnTo>
                      <a:pt x="122" y="135"/>
                    </a:lnTo>
                    <a:lnTo>
                      <a:pt x="122" y="140"/>
                    </a:lnTo>
                    <a:lnTo>
                      <a:pt x="118" y="140"/>
                    </a:lnTo>
                    <a:lnTo>
                      <a:pt x="118" y="140"/>
                    </a:lnTo>
                    <a:lnTo>
                      <a:pt x="118" y="140"/>
                    </a:lnTo>
                    <a:lnTo>
                      <a:pt x="113" y="144"/>
                    </a:lnTo>
                    <a:lnTo>
                      <a:pt x="113" y="149"/>
                    </a:lnTo>
                    <a:lnTo>
                      <a:pt x="113" y="149"/>
                    </a:lnTo>
                    <a:lnTo>
                      <a:pt x="109" y="153"/>
                    </a:lnTo>
                    <a:lnTo>
                      <a:pt x="109" y="153"/>
                    </a:lnTo>
                    <a:lnTo>
                      <a:pt x="109" y="158"/>
                    </a:lnTo>
                    <a:lnTo>
                      <a:pt x="109" y="163"/>
                    </a:lnTo>
                    <a:lnTo>
                      <a:pt x="104" y="167"/>
                    </a:lnTo>
                    <a:lnTo>
                      <a:pt x="104" y="167"/>
                    </a:lnTo>
                    <a:lnTo>
                      <a:pt x="104" y="167"/>
                    </a:lnTo>
                    <a:lnTo>
                      <a:pt x="104" y="172"/>
                    </a:lnTo>
                    <a:lnTo>
                      <a:pt x="104" y="172"/>
                    </a:lnTo>
                    <a:lnTo>
                      <a:pt x="104" y="172"/>
                    </a:lnTo>
                    <a:lnTo>
                      <a:pt x="100" y="172"/>
                    </a:lnTo>
                    <a:lnTo>
                      <a:pt x="100" y="172"/>
                    </a:lnTo>
                    <a:lnTo>
                      <a:pt x="100" y="167"/>
                    </a:lnTo>
                    <a:lnTo>
                      <a:pt x="100" y="167"/>
                    </a:lnTo>
                    <a:lnTo>
                      <a:pt x="100" y="167"/>
                    </a:lnTo>
                    <a:lnTo>
                      <a:pt x="100" y="172"/>
                    </a:lnTo>
                    <a:lnTo>
                      <a:pt x="100" y="176"/>
                    </a:lnTo>
                    <a:lnTo>
                      <a:pt x="95" y="176"/>
                    </a:lnTo>
                    <a:lnTo>
                      <a:pt x="91" y="176"/>
                    </a:lnTo>
                    <a:lnTo>
                      <a:pt x="86" y="176"/>
                    </a:lnTo>
                    <a:lnTo>
                      <a:pt x="86" y="176"/>
                    </a:lnTo>
                    <a:lnTo>
                      <a:pt x="86" y="172"/>
                    </a:lnTo>
                    <a:lnTo>
                      <a:pt x="86" y="172"/>
                    </a:lnTo>
                    <a:lnTo>
                      <a:pt x="86" y="172"/>
                    </a:lnTo>
                    <a:lnTo>
                      <a:pt x="86" y="176"/>
                    </a:lnTo>
                    <a:lnTo>
                      <a:pt x="81" y="176"/>
                    </a:lnTo>
                    <a:lnTo>
                      <a:pt x="81" y="172"/>
                    </a:lnTo>
                    <a:lnTo>
                      <a:pt x="77" y="172"/>
                    </a:lnTo>
                    <a:lnTo>
                      <a:pt x="77" y="172"/>
                    </a:lnTo>
                    <a:lnTo>
                      <a:pt x="77" y="172"/>
                    </a:lnTo>
                    <a:lnTo>
                      <a:pt x="77" y="172"/>
                    </a:lnTo>
                    <a:lnTo>
                      <a:pt x="77" y="176"/>
                    </a:lnTo>
                    <a:lnTo>
                      <a:pt x="77" y="176"/>
                    </a:lnTo>
                    <a:lnTo>
                      <a:pt x="77" y="176"/>
                    </a:lnTo>
                    <a:lnTo>
                      <a:pt x="72" y="176"/>
                    </a:lnTo>
                    <a:lnTo>
                      <a:pt x="72" y="176"/>
                    </a:lnTo>
                    <a:lnTo>
                      <a:pt x="72" y="172"/>
                    </a:lnTo>
                    <a:lnTo>
                      <a:pt x="72" y="172"/>
                    </a:lnTo>
                    <a:lnTo>
                      <a:pt x="72" y="172"/>
                    </a:lnTo>
                    <a:lnTo>
                      <a:pt x="72" y="172"/>
                    </a:lnTo>
                    <a:lnTo>
                      <a:pt x="72" y="172"/>
                    </a:lnTo>
                    <a:lnTo>
                      <a:pt x="72" y="176"/>
                    </a:lnTo>
                    <a:lnTo>
                      <a:pt x="72" y="176"/>
                    </a:lnTo>
                    <a:lnTo>
                      <a:pt x="72" y="176"/>
                    </a:lnTo>
                    <a:lnTo>
                      <a:pt x="72" y="176"/>
                    </a:lnTo>
                    <a:lnTo>
                      <a:pt x="68" y="181"/>
                    </a:lnTo>
                    <a:lnTo>
                      <a:pt x="68" y="176"/>
                    </a:lnTo>
                    <a:lnTo>
                      <a:pt x="68" y="176"/>
                    </a:lnTo>
                    <a:lnTo>
                      <a:pt x="68" y="176"/>
                    </a:lnTo>
                    <a:lnTo>
                      <a:pt x="68" y="181"/>
                    </a:lnTo>
                    <a:lnTo>
                      <a:pt x="68" y="181"/>
                    </a:lnTo>
                    <a:lnTo>
                      <a:pt x="68" y="181"/>
                    </a:lnTo>
                    <a:lnTo>
                      <a:pt x="63" y="181"/>
                    </a:lnTo>
                    <a:lnTo>
                      <a:pt x="63" y="181"/>
                    </a:lnTo>
                    <a:lnTo>
                      <a:pt x="63" y="181"/>
                    </a:lnTo>
                    <a:lnTo>
                      <a:pt x="63" y="176"/>
                    </a:lnTo>
                    <a:lnTo>
                      <a:pt x="63" y="176"/>
                    </a:lnTo>
                    <a:lnTo>
                      <a:pt x="63" y="176"/>
                    </a:lnTo>
                    <a:lnTo>
                      <a:pt x="63" y="181"/>
                    </a:lnTo>
                    <a:lnTo>
                      <a:pt x="63" y="181"/>
                    </a:lnTo>
                    <a:lnTo>
                      <a:pt x="59" y="181"/>
                    </a:lnTo>
                    <a:lnTo>
                      <a:pt x="59" y="181"/>
                    </a:lnTo>
                    <a:lnTo>
                      <a:pt x="59" y="176"/>
                    </a:lnTo>
                    <a:lnTo>
                      <a:pt x="54" y="176"/>
                    </a:lnTo>
                    <a:lnTo>
                      <a:pt x="50" y="172"/>
                    </a:lnTo>
                    <a:lnTo>
                      <a:pt x="50" y="172"/>
                    </a:lnTo>
                    <a:lnTo>
                      <a:pt x="50" y="167"/>
                    </a:lnTo>
                    <a:lnTo>
                      <a:pt x="50" y="167"/>
                    </a:lnTo>
                    <a:lnTo>
                      <a:pt x="50" y="163"/>
                    </a:lnTo>
                    <a:lnTo>
                      <a:pt x="50" y="163"/>
                    </a:lnTo>
                    <a:lnTo>
                      <a:pt x="50" y="163"/>
                    </a:lnTo>
                    <a:lnTo>
                      <a:pt x="50" y="163"/>
                    </a:lnTo>
                    <a:lnTo>
                      <a:pt x="50" y="163"/>
                    </a:lnTo>
                    <a:lnTo>
                      <a:pt x="50" y="163"/>
                    </a:lnTo>
                    <a:lnTo>
                      <a:pt x="50" y="163"/>
                    </a:lnTo>
                    <a:lnTo>
                      <a:pt x="50" y="158"/>
                    </a:lnTo>
                    <a:lnTo>
                      <a:pt x="50" y="158"/>
                    </a:lnTo>
                    <a:lnTo>
                      <a:pt x="50" y="158"/>
                    </a:lnTo>
                    <a:lnTo>
                      <a:pt x="50" y="158"/>
                    </a:lnTo>
                    <a:lnTo>
                      <a:pt x="50" y="158"/>
                    </a:lnTo>
                    <a:lnTo>
                      <a:pt x="50" y="158"/>
                    </a:lnTo>
                    <a:lnTo>
                      <a:pt x="45" y="158"/>
                    </a:lnTo>
                    <a:lnTo>
                      <a:pt x="45" y="158"/>
                    </a:lnTo>
                    <a:lnTo>
                      <a:pt x="45" y="153"/>
                    </a:lnTo>
                    <a:lnTo>
                      <a:pt x="45" y="153"/>
                    </a:lnTo>
                    <a:lnTo>
                      <a:pt x="50" y="153"/>
                    </a:lnTo>
                    <a:lnTo>
                      <a:pt x="50" y="153"/>
                    </a:lnTo>
                    <a:lnTo>
                      <a:pt x="50" y="153"/>
                    </a:lnTo>
                    <a:lnTo>
                      <a:pt x="45" y="153"/>
                    </a:lnTo>
                    <a:lnTo>
                      <a:pt x="45" y="153"/>
                    </a:lnTo>
                    <a:lnTo>
                      <a:pt x="45" y="153"/>
                    </a:lnTo>
                    <a:lnTo>
                      <a:pt x="45" y="153"/>
                    </a:lnTo>
                    <a:lnTo>
                      <a:pt x="45" y="153"/>
                    </a:lnTo>
                    <a:lnTo>
                      <a:pt x="45" y="153"/>
                    </a:lnTo>
                    <a:lnTo>
                      <a:pt x="45" y="153"/>
                    </a:lnTo>
                    <a:lnTo>
                      <a:pt x="45" y="153"/>
                    </a:lnTo>
                    <a:lnTo>
                      <a:pt x="41" y="153"/>
                    </a:lnTo>
                    <a:lnTo>
                      <a:pt x="41" y="149"/>
                    </a:lnTo>
                    <a:lnTo>
                      <a:pt x="41" y="149"/>
                    </a:lnTo>
                    <a:lnTo>
                      <a:pt x="36" y="144"/>
                    </a:lnTo>
                    <a:lnTo>
                      <a:pt x="32" y="140"/>
                    </a:lnTo>
                    <a:lnTo>
                      <a:pt x="27" y="140"/>
                    </a:lnTo>
                    <a:lnTo>
                      <a:pt x="14" y="140"/>
                    </a:lnTo>
                    <a:lnTo>
                      <a:pt x="14" y="140"/>
                    </a:lnTo>
                    <a:lnTo>
                      <a:pt x="14" y="140"/>
                    </a:lnTo>
                    <a:lnTo>
                      <a:pt x="18" y="140"/>
                    </a:lnTo>
                    <a:lnTo>
                      <a:pt x="18" y="135"/>
                    </a:lnTo>
                    <a:lnTo>
                      <a:pt x="18" y="135"/>
                    </a:lnTo>
                    <a:lnTo>
                      <a:pt x="14" y="135"/>
                    </a:lnTo>
                    <a:lnTo>
                      <a:pt x="14" y="135"/>
                    </a:lnTo>
                    <a:lnTo>
                      <a:pt x="14" y="140"/>
                    </a:lnTo>
                    <a:lnTo>
                      <a:pt x="5" y="140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0" y="135"/>
                    </a:lnTo>
                    <a:lnTo>
                      <a:pt x="0" y="135"/>
                    </a:lnTo>
                    <a:lnTo>
                      <a:pt x="5" y="135"/>
                    </a:lnTo>
                    <a:lnTo>
                      <a:pt x="0" y="131"/>
                    </a:lnTo>
                    <a:lnTo>
                      <a:pt x="0" y="131"/>
                    </a:lnTo>
                    <a:lnTo>
                      <a:pt x="0" y="131"/>
                    </a:lnTo>
                    <a:lnTo>
                      <a:pt x="0" y="126"/>
                    </a:lnTo>
                    <a:lnTo>
                      <a:pt x="0" y="126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5" y="122"/>
                    </a:lnTo>
                    <a:lnTo>
                      <a:pt x="5" y="122"/>
                    </a:lnTo>
                    <a:lnTo>
                      <a:pt x="5" y="117"/>
                    </a:lnTo>
                    <a:lnTo>
                      <a:pt x="0" y="117"/>
                    </a:lnTo>
                    <a:lnTo>
                      <a:pt x="0" y="117"/>
                    </a:lnTo>
                    <a:lnTo>
                      <a:pt x="0" y="113"/>
                    </a:lnTo>
                    <a:lnTo>
                      <a:pt x="0" y="113"/>
                    </a:lnTo>
                    <a:lnTo>
                      <a:pt x="0" y="113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99"/>
                    </a:lnTo>
                    <a:lnTo>
                      <a:pt x="0" y="99"/>
                    </a:lnTo>
                    <a:lnTo>
                      <a:pt x="0" y="95"/>
                    </a:lnTo>
                    <a:lnTo>
                      <a:pt x="5" y="90"/>
                    </a:lnTo>
                    <a:lnTo>
                      <a:pt x="5" y="90"/>
                    </a:lnTo>
                    <a:lnTo>
                      <a:pt x="9" y="90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18" y="59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8" y="27"/>
                    </a:lnTo>
                    <a:lnTo>
                      <a:pt x="18" y="22"/>
                    </a:lnTo>
                    <a:lnTo>
                      <a:pt x="23" y="22"/>
                    </a:lnTo>
                    <a:lnTo>
                      <a:pt x="23" y="18"/>
                    </a:lnTo>
                    <a:lnTo>
                      <a:pt x="27" y="18"/>
                    </a:lnTo>
                    <a:lnTo>
                      <a:pt x="27" y="13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9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99" name="Freeform 120"/>
              <p:cNvSpPr>
                <a:spLocks/>
              </p:cNvSpPr>
              <p:nvPr/>
            </p:nvSpPr>
            <p:spPr bwMode="auto">
              <a:xfrm>
                <a:off x="1868488" y="2479676"/>
                <a:ext cx="134938" cy="128588"/>
              </a:xfrm>
              <a:custGeom>
                <a:avLst/>
                <a:gdLst>
                  <a:gd name="T0" fmla="*/ 81 w 85"/>
                  <a:gd name="T1" fmla="*/ 0 h 81"/>
                  <a:gd name="T2" fmla="*/ 81 w 85"/>
                  <a:gd name="T3" fmla="*/ 0 h 81"/>
                  <a:gd name="T4" fmla="*/ 81 w 85"/>
                  <a:gd name="T5" fmla="*/ 4 h 81"/>
                  <a:gd name="T6" fmla="*/ 81 w 85"/>
                  <a:gd name="T7" fmla="*/ 9 h 81"/>
                  <a:gd name="T8" fmla="*/ 76 w 85"/>
                  <a:gd name="T9" fmla="*/ 18 h 81"/>
                  <a:gd name="T10" fmla="*/ 72 w 85"/>
                  <a:gd name="T11" fmla="*/ 31 h 81"/>
                  <a:gd name="T12" fmla="*/ 67 w 85"/>
                  <a:gd name="T13" fmla="*/ 45 h 81"/>
                  <a:gd name="T14" fmla="*/ 67 w 85"/>
                  <a:gd name="T15" fmla="*/ 49 h 81"/>
                  <a:gd name="T16" fmla="*/ 67 w 85"/>
                  <a:gd name="T17" fmla="*/ 45 h 81"/>
                  <a:gd name="T18" fmla="*/ 67 w 85"/>
                  <a:gd name="T19" fmla="*/ 45 h 81"/>
                  <a:gd name="T20" fmla="*/ 67 w 85"/>
                  <a:gd name="T21" fmla="*/ 49 h 81"/>
                  <a:gd name="T22" fmla="*/ 67 w 85"/>
                  <a:gd name="T23" fmla="*/ 49 h 81"/>
                  <a:gd name="T24" fmla="*/ 63 w 85"/>
                  <a:gd name="T25" fmla="*/ 58 h 81"/>
                  <a:gd name="T26" fmla="*/ 63 w 85"/>
                  <a:gd name="T27" fmla="*/ 58 h 81"/>
                  <a:gd name="T28" fmla="*/ 63 w 85"/>
                  <a:gd name="T29" fmla="*/ 58 h 81"/>
                  <a:gd name="T30" fmla="*/ 63 w 85"/>
                  <a:gd name="T31" fmla="*/ 58 h 81"/>
                  <a:gd name="T32" fmla="*/ 63 w 85"/>
                  <a:gd name="T33" fmla="*/ 67 h 81"/>
                  <a:gd name="T34" fmla="*/ 58 w 85"/>
                  <a:gd name="T35" fmla="*/ 72 h 81"/>
                  <a:gd name="T36" fmla="*/ 63 w 85"/>
                  <a:gd name="T37" fmla="*/ 76 h 81"/>
                  <a:gd name="T38" fmla="*/ 63 w 85"/>
                  <a:gd name="T39" fmla="*/ 81 h 81"/>
                  <a:gd name="T40" fmla="*/ 58 w 85"/>
                  <a:gd name="T41" fmla="*/ 81 h 81"/>
                  <a:gd name="T42" fmla="*/ 54 w 85"/>
                  <a:gd name="T43" fmla="*/ 81 h 81"/>
                  <a:gd name="T44" fmla="*/ 49 w 85"/>
                  <a:gd name="T45" fmla="*/ 76 h 81"/>
                  <a:gd name="T46" fmla="*/ 45 w 85"/>
                  <a:gd name="T47" fmla="*/ 76 h 81"/>
                  <a:gd name="T48" fmla="*/ 40 w 85"/>
                  <a:gd name="T49" fmla="*/ 76 h 81"/>
                  <a:gd name="T50" fmla="*/ 31 w 85"/>
                  <a:gd name="T51" fmla="*/ 72 h 81"/>
                  <a:gd name="T52" fmla="*/ 27 w 85"/>
                  <a:gd name="T53" fmla="*/ 72 h 81"/>
                  <a:gd name="T54" fmla="*/ 27 w 85"/>
                  <a:gd name="T55" fmla="*/ 76 h 81"/>
                  <a:gd name="T56" fmla="*/ 27 w 85"/>
                  <a:gd name="T57" fmla="*/ 72 h 81"/>
                  <a:gd name="T58" fmla="*/ 13 w 85"/>
                  <a:gd name="T59" fmla="*/ 58 h 81"/>
                  <a:gd name="T60" fmla="*/ 9 w 85"/>
                  <a:gd name="T61" fmla="*/ 49 h 81"/>
                  <a:gd name="T62" fmla="*/ 0 w 85"/>
                  <a:gd name="T63" fmla="*/ 36 h 81"/>
                  <a:gd name="T64" fmla="*/ 0 w 85"/>
                  <a:gd name="T65" fmla="*/ 36 h 81"/>
                  <a:gd name="T66" fmla="*/ 4 w 85"/>
                  <a:gd name="T67" fmla="*/ 36 h 81"/>
                  <a:gd name="T68" fmla="*/ 9 w 85"/>
                  <a:gd name="T69" fmla="*/ 36 h 81"/>
                  <a:gd name="T70" fmla="*/ 13 w 85"/>
                  <a:gd name="T71" fmla="*/ 36 h 81"/>
                  <a:gd name="T72" fmla="*/ 13 w 85"/>
                  <a:gd name="T73" fmla="*/ 31 h 81"/>
                  <a:gd name="T74" fmla="*/ 18 w 85"/>
                  <a:gd name="T75" fmla="*/ 31 h 81"/>
                  <a:gd name="T76" fmla="*/ 18 w 85"/>
                  <a:gd name="T77" fmla="*/ 22 h 81"/>
                  <a:gd name="T78" fmla="*/ 22 w 85"/>
                  <a:gd name="T79" fmla="*/ 22 h 81"/>
                  <a:gd name="T80" fmla="*/ 27 w 85"/>
                  <a:gd name="T81" fmla="*/ 18 h 81"/>
                  <a:gd name="T82" fmla="*/ 31 w 85"/>
                  <a:gd name="T83" fmla="*/ 18 h 81"/>
                  <a:gd name="T84" fmla="*/ 36 w 85"/>
                  <a:gd name="T85" fmla="*/ 18 h 81"/>
                  <a:gd name="T86" fmla="*/ 36 w 85"/>
                  <a:gd name="T87" fmla="*/ 18 h 81"/>
                  <a:gd name="T88" fmla="*/ 40 w 85"/>
                  <a:gd name="T89" fmla="*/ 13 h 81"/>
                  <a:gd name="T90" fmla="*/ 45 w 85"/>
                  <a:gd name="T91" fmla="*/ 9 h 81"/>
                  <a:gd name="T92" fmla="*/ 45 w 85"/>
                  <a:gd name="T93" fmla="*/ 9 h 81"/>
                  <a:gd name="T94" fmla="*/ 49 w 85"/>
                  <a:gd name="T95" fmla="*/ 4 h 81"/>
                  <a:gd name="T96" fmla="*/ 49 w 85"/>
                  <a:gd name="T97" fmla="*/ 4 h 81"/>
                  <a:gd name="T98" fmla="*/ 54 w 85"/>
                  <a:gd name="T99" fmla="*/ 0 h 81"/>
                  <a:gd name="T100" fmla="*/ 58 w 85"/>
                  <a:gd name="T101" fmla="*/ 4 h 81"/>
                  <a:gd name="T102" fmla="*/ 63 w 85"/>
                  <a:gd name="T103" fmla="*/ 4 h 81"/>
                  <a:gd name="T104" fmla="*/ 63 w 85"/>
                  <a:gd name="T105" fmla="*/ 4 h 81"/>
                  <a:gd name="T106" fmla="*/ 67 w 85"/>
                  <a:gd name="T107" fmla="*/ 4 h 81"/>
                  <a:gd name="T108" fmla="*/ 67 w 85"/>
                  <a:gd name="T109" fmla="*/ 4 h 81"/>
                  <a:gd name="T110" fmla="*/ 72 w 85"/>
                  <a:gd name="T111" fmla="*/ 0 h 81"/>
                  <a:gd name="T112" fmla="*/ 76 w 85"/>
                  <a:gd name="T113" fmla="*/ 0 h 81"/>
                  <a:gd name="T114" fmla="*/ 81 w 85"/>
                  <a:gd name="T115" fmla="*/ 0 h 81"/>
                  <a:gd name="T116" fmla="*/ 81 w 85"/>
                  <a:gd name="T117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5" h="81">
                    <a:moveTo>
                      <a:pt x="81" y="0"/>
                    </a:moveTo>
                    <a:lnTo>
                      <a:pt x="81" y="0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76" y="0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81" y="9"/>
                    </a:lnTo>
                    <a:lnTo>
                      <a:pt x="81" y="13"/>
                    </a:lnTo>
                    <a:lnTo>
                      <a:pt x="76" y="13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2" y="22"/>
                    </a:lnTo>
                    <a:lnTo>
                      <a:pt x="72" y="31"/>
                    </a:lnTo>
                    <a:lnTo>
                      <a:pt x="72" y="40"/>
                    </a:lnTo>
                    <a:lnTo>
                      <a:pt x="67" y="45"/>
                    </a:lnTo>
                    <a:lnTo>
                      <a:pt x="67" y="45"/>
                    </a:lnTo>
                    <a:lnTo>
                      <a:pt x="67" y="49"/>
                    </a:lnTo>
                    <a:lnTo>
                      <a:pt x="67" y="49"/>
                    </a:lnTo>
                    <a:lnTo>
                      <a:pt x="67" y="49"/>
                    </a:lnTo>
                    <a:lnTo>
                      <a:pt x="67" y="49"/>
                    </a:lnTo>
                    <a:lnTo>
                      <a:pt x="67" y="45"/>
                    </a:lnTo>
                    <a:lnTo>
                      <a:pt x="67" y="45"/>
                    </a:lnTo>
                    <a:lnTo>
                      <a:pt x="67" y="45"/>
                    </a:lnTo>
                    <a:lnTo>
                      <a:pt x="67" y="45"/>
                    </a:lnTo>
                    <a:lnTo>
                      <a:pt x="67" y="45"/>
                    </a:lnTo>
                    <a:lnTo>
                      <a:pt x="67" y="45"/>
                    </a:lnTo>
                    <a:lnTo>
                      <a:pt x="67" y="45"/>
                    </a:lnTo>
                    <a:lnTo>
                      <a:pt x="67" y="49"/>
                    </a:lnTo>
                    <a:lnTo>
                      <a:pt x="67" y="49"/>
                    </a:lnTo>
                    <a:lnTo>
                      <a:pt x="67" y="49"/>
                    </a:lnTo>
                    <a:lnTo>
                      <a:pt x="67" y="49"/>
                    </a:lnTo>
                    <a:lnTo>
                      <a:pt x="67" y="54"/>
                    </a:lnTo>
                    <a:lnTo>
                      <a:pt x="67" y="58"/>
                    </a:lnTo>
                    <a:lnTo>
                      <a:pt x="63" y="58"/>
                    </a:lnTo>
                    <a:lnTo>
                      <a:pt x="63" y="54"/>
                    </a:lnTo>
                    <a:lnTo>
                      <a:pt x="63" y="54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3" y="67"/>
                    </a:lnTo>
                    <a:lnTo>
                      <a:pt x="63" y="67"/>
                    </a:lnTo>
                    <a:lnTo>
                      <a:pt x="63" y="67"/>
                    </a:lnTo>
                    <a:lnTo>
                      <a:pt x="58" y="72"/>
                    </a:lnTo>
                    <a:lnTo>
                      <a:pt x="58" y="72"/>
                    </a:lnTo>
                    <a:lnTo>
                      <a:pt x="58" y="76"/>
                    </a:lnTo>
                    <a:lnTo>
                      <a:pt x="63" y="76"/>
                    </a:lnTo>
                    <a:lnTo>
                      <a:pt x="63" y="76"/>
                    </a:lnTo>
                    <a:lnTo>
                      <a:pt x="63" y="76"/>
                    </a:lnTo>
                    <a:lnTo>
                      <a:pt x="63" y="81"/>
                    </a:lnTo>
                    <a:lnTo>
                      <a:pt x="63" y="81"/>
                    </a:lnTo>
                    <a:lnTo>
                      <a:pt x="58" y="81"/>
                    </a:lnTo>
                    <a:lnTo>
                      <a:pt x="58" y="81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49" y="76"/>
                    </a:lnTo>
                    <a:lnTo>
                      <a:pt x="49" y="76"/>
                    </a:lnTo>
                    <a:lnTo>
                      <a:pt x="49" y="76"/>
                    </a:lnTo>
                    <a:lnTo>
                      <a:pt x="45" y="76"/>
                    </a:lnTo>
                    <a:lnTo>
                      <a:pt x="45" y="76"/>
                    </a:lnTo>
                    <a:lnTo>
                      <a:pt x="45" y="76"/>
                    </a:lnTo>
                    <a:lnTo>
                      <a:pt x="40" y="76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31" y="72"/>
                    </a:lnTo>
                    <a:lnTo>
                      <a:pt x="31" y="72"/>
                    </a:lnTo>
                    <a:lnTo>
                      <a:pt x="31" y="72"/>
                    </a:lnTo>
                    <a:lnTo>
                      <a:pt x="27" y="72"/>
                    </a:lnTo>
                    <a:lnTo>
                      <a:pt x="27" y="76"/>
                    </a:lnTo>
                    <a:lnTo>
                      <a:pt x="27" y="76"/>
                    </a:lnTo>
                    <a:lnTo>
                      <a:pt x="27" y="76"/>
                    </a:lnTo>
                    <a:lnTo>
                      <a:pt x="27" y="76"/>
                    </a:lnTo>
                    <a:lnTo>
                      <a:pt x="27" y="76"/>
                    </a:lnTo>
                    <a:lnTo>
                      <a:pt x="27" y="72"/>
                    </a:lnTo>
                    <a:lnTo>
                      <a:pt x="22" y="72"/>
                    </a:lnTo>
                    <a:lnTo>
                      <a:pt x="18" y="63"/>
                    </a:lnTo>
                    <a:lnTo>
                      <a:pt x="13" y="58"/>
                    </a:lnTo>
                    <a:lnTo>
                      <a:pt x="13" y="54"/>
                    </a:lnTo>
                    <a:lnTo>
                      <a:pt x="13" y="49"/>
                    </a:lnTo>
                    <a:lnTo>
                      <a:pt x="9" y="49"/>
                    </a:lnTo>
                    <a:lnTo>
                      <a:pt x="4" y="45"/>
                    </a:lnTo>
                    <a:lnTo>
                      <a:pt x="4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8" y="27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7" y="22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40" y="18"/>
                    </a:lnTo>
                    <a:lnTo>
                      <a:pt x="40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7" y="4"/>
                    </a:lnTo>
                    <a:lnTo>
                      <a:pt x="67" y="4"/>
                    </a:lnTo>
                    <a:lnTo>
                      <a:pt x="67" y="4"/>
                    </a:lnTo>
                    <a:lnTo>
                      <a:pt x="67" y="4"/>
                    </a:lnTo>
                    <a:lnTo>
                      <a:pt x="67" y="0"/>
                    </a:lnTo>
                    <a:lnTo>
                      <a:pt x="67" y="4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81" y="0"/>
                    </a:lnTo>
                    <a:lnTo>
                      <a:pt x="85" y="0"/>
                    </a:lnTo>
                    <a:lnTo>
                      <a:pt x="81" y="0"/>
                    </a:lnTo>
                    <a:lnTo>
                      <a:pt x="81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00" name="Freeform 121"/>
              <p:cNvSpPr>
                <a:spLocks/>
              </p:cNvSpPr>
              <p:nvPr/>
            </p:nvSpPr>
            <p:spPr bwMode="auto">
              <a:xfrm>
                <a:off x="4398963" y="1352551"/>
                <a:ext cx="87313" cy="85725"/>
              </a:xfrm>
              <a:custGeom>
                <a:avLst/>
                <a:gdLst>
                  <a:gd name="T0" fmla="*/ 9 w 55"/>
                  <a:gd name="T1" fmla="*/ 40 h 54"/>
                  <a:gd name="T2" fmla="*/ 0 w 55"/>
                  <a:gd name="T3" fmla="*/ 40 h 54"/>
                  <a:gd name="T4" fmla="*/ 0 w 55"/>
                  <a:gd name="T5" fmla="*/ 36 h 54"/>
                  <a:gd name="T6" fmla="*/ 0 w 55"/>
                  <a:gd name="T7" fmla="*/ 36 h 54"/>
                  <a:gd name="T8" fmla="*/ 9 w 55"/>
                  <a:gd name="T9" fmla="*/ 40 h 54"/>
                  <a:gd name="T10" fmla="*/ 9 w 55"/>
                  <a:gd name="T11" fmla="*/ 36 h 54"/>
                  <a:gd name="T12" fmla="*/ 9 w 55"/>
                  <a:gd name="T13" fmla="*/ 36 h 54"/>
                  <a:gd name="T14" fmla="*/ 5 w 55"/>
                  <a:gd name="T15" fmla="*/ 31 h 54"/>
                  <a:gd name="T16" fmla="*/ 9 w 55"/>
                  <a:gd name="T17" fmla="*/ 27 h 54"/>
                  <a:gd name="T18" fmla="*/ 14 w 55"/>
                  <a:gd name="T19" fmla="*/ 27 h 54"/>
                  <a:gd name="T20" fmla="*/ 18 w 55"/>
                  <a:gd name="T21" fmla="*/ 13 h 54"/>
                  <a:gd name="T22" fmla="*/ 18 w 55"/>
                  <a:gd name="T23" fmla="*/ 13 h 54"/>
                  <a:gd name="T24" fmla="*/ 27 w 55"/>
                  <a:gd name="T25" fmla="*/ 9 h 54"/>
                  <a:gd name="T26" fmla="*/ 32 w 55"/>
                  <a:gd name="T27" fmla="*/ 4 h 54"/>
                  <a:gd name="T28" fmla="*/ 45 w 55"/>
                  <a:gd name="T29" fmla="*/ 4 h 54"/>
                  <a:gd name="T30" fmla="*/ 50 w 55"/>
                  <a:gd name="T31" fmla="*/ 4 h 54"/>
                  <a:gd name="T32" fmla="*/ 55 w 55"/>
                  <a:gd name="T33" fmla="*/ 9 h 54"/>
                  <a:gd name="T34" fmla="*/ 50 w 55"/>
                  <a:gd name="T35" fmla="*/ 13 h 54"/>
                  <a:gd name="T36" fmla="*/ 50 w 55"/>
                  <a:gd name="T37" fmla="*/ 18 h 54"/>
                  <a:gd name="T38" fmla="*/ 45 w 55"/>
                  <a:gd name="T39" fmla="*/ 18 h 54"/>
                  <a:gd name="T40" fmla="*/ 45 w 55"/>
                  <a:gd name="T41" fmla="*/ 18 h 54"/>
                  <a:gd name="T42" fmla="*/ 45 w 55"/>
                  <a:gd name="T43" fmla="*/ 22 h 54"/>
                  <a:gd name="T44" fmla="*/ 50 w 55"/>
                  <a:gd name="T45" fmla="*/ 22 h 54"/>
                  <a:gd name="T46" fmla="*/ 50 w 55"/>
                  <a:gd name="T47" fmla="*/ 22 h 54"/>
                  <a:gd name="T48" fmla="*/ 45 w 55"/>
                  <a:gd name="T49" fmla="*/ 27 h 54"/>
                  <a:gd name="T50" fmla="*/ 45 w 55"/>
                  <a:gd name="T51" fmla="*/ 27 h 54"/>
                  <a:gd name="T52" fmla="*/ 45 w 55"/>
                  <a:gd name="T53" fmla="*/ 31 h 54"/>
                  <a:gd name="T54" fmla="*/ 41 w 55"/>
                  <a:gd name="T55" fmla="*/ 31 h 54"/>
                  <a:gd name="T56" fmla="*/ 41 w 55"/>
                  <a:gd name="T57" fmla="*/ 31 h 54"/>
                  <a:gd name="T58" fmla="*/ 36 w 55"/>
                  <a:gd name="T59" fmla="*/ 31 h 54"/>
                  <a:gd name="T60" fmla="*/ 36 w 55"/>
                  <a:gd name="T61" fmla="*/ 31 h 54"/>
                  <a:gd name="T62" fmla="*/ 36 w 55"/>
                  <a:gd name="T63" fmla="*/ 36 h 54"/>
                  <a:gd name="T64" fmla="*/ 36 w 55"/>
                  <a:gd name="T65" fmla="*/ 40 h 54"/>
                  <a:gd name="T66" fmla="*/ 36 w 55"/>
                  <a:gd name="T67" fmla="*/ 40 h 54"/>
                  <a:gd name="T68" fmla="*/ 36 w 55"/>
                  <a:gd name="T69" fmla="*/ 45 h 54"/>
                  <a:gd name="T70" fmla="*/ 36 w 55"/>
                  <a:gd name="T71" fmla="*/ 45 h 54"/>
                  <a:gd name="T72" fmla="*/ 32 w 55"/>
                  <a:gd name="T73" fmla="*/ 45 h 54"/>
                  <a:gd name="T74" fmla="*/ 32 w 55"/>
                  <a:gd name="T75" fmla="*/ 49 h 54"/>
                  <a:gd name="T76" fmla="*/ 36 w 55"/>
                  <a:gd name="T77" fmla="*/ 49 h 54"/>
                  <a:gd name="T78" fmla="*/ 32 w 55"/>
                  <a:gd name="T79" fmla="*/ 54 h 54"/>
                  <a:gd name="T80" fmla="*/ 27 w 55"/>
                  <a:gd name="T81" fmla="*/ 49 h 54"/>
                  <a:gd name="T82" fmla="*/ 32 w 55"/>
                  <a:gd name="T83" fmla="*/ 49 h 54"/>
                  <a:gd name="T84" fmla="*/ 32 w 55"/>
                  <a:gd name="T85" fmla="*/ 45 h 54"/>
                  <a:gd name="T86" fmla="*/ 32 w 55"/>
                  <a:gd name="T87" fmla="*/ 45 h 54"/>
                  <a:gd name="T88" fmla="*/ 27 w 55"/>
                  <a:gd name="T89" fmla="*/ 40 h 54"/>
                  <a:gd name="T90" fmla="*/ 23 w 55"/>
                  <a:gd name="T91" fmla="*/ 45 h 54"/>
                  <a:gd name="T92" fmla="*/ 23 w 55"/>
                  <a:gd name="T93" fmla="*/ 40 h 54"/>
                  <a:gd name="T94" fmla="*/ 18 w 55"/>
                  <a:gd name="T95" fmla="*/ 40 h 54"/>
                  <a:gd name="T96" fmla="*/ 18 w 55"/>
                  <a:gd name="T97" fmla="*/ 40 h 54"/>
                  <a:gd name="T98" fmla="*/ 18 w 55"/>
                  <a:gd name="T99" fmla="*/ 40 h 54"/>
                  <a:gd name="T100" fmla="*/ 14 w 55"/>
                  <a:gd name="T101" fmla="*/ 40 h 54"/>
                  <a:gd name="T102" fmla="*/ 14 w 55"/>
                  <a:gd name="T103" fmla="*/ 40 h 54"/>
                  <a:gd name="T104" fmla="*/ 9 w 55"/>
                  <a:gd name="T105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5" h="54">
                    <a:moveTo>
                      <a:pt x="9" y="40"/>
                    </a:moveTo>
                    <a:lnTo>
                      <a:pt x="9" y="40"/>
                    </a:lnTo>
                    <a:lnTo>
                      <a:pt x="9" y="40"/>
                    </a:lnTo>
                    <a:lnTo>
                      <a:pt x="5" y="40"/>
                    </a:lnTo>
                    <a:lnTo>
                      <a:pt x="5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5" y="36"/>
                    </a:lnTo>
                    <a:lnTo>
                      <a:pt x="9" y="40"/>
                    </a:lnTo>
                    <a:lnTo>
                      <a:pt x="9" y="40"/>
                    </a:lnTo>
                    <a:lnTo>
                      <a:pt x="9" y="40"/>
                    </a:lnTo>
                    <a:lnTo>
                      <a:pt x="9" y="40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5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14" y="27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1" y="4"/>
                    </a:lnTo>
                    <a:lnTo>
                      <a:pt x="45" y="4"/>
                    </a:lnTo>
                    <a:lnTo>
                      <a:pt x="45" y="0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5" y="4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50" y="13"/>
                    </a:lnTo>
                    <a:lnTo>
                      <a:pt x="50" y="13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22"/>
                    </a:lnTo>
                    <a:lnTo>
                      <a:pt x="45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31"/>
                    </a:lnTo>
                    <a:lnTo>
                      <a:pt x="45" y="31"/>
                    </a:lnTo>
                    <a:lnTo>
                      <a:pt x="45" y="31"/>
                    </a:lnTo>
                    <a:lnTo>
                      <a:pt x="45" y="31"/>
                    </a:lnTo>
                    <a:lnTo>
                      <a:pt x="41" y="31"/>
                    </a:lnTo>
                    <a:lnTo>
                      <a:pt x="41" y="31"/>
                    </a:lnTo>
                    <a:lnTo>
                      <a:pt x="41" y="31"/>
                    </a:lnTo>
                    <a:lnTo>
                      <a:pt x="41" y="31"/>
                    </a:lnTo>
                    <a:lnTo>
                      <a:pt x="41" y="31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6" y="45"/>
                    </a:lnTo>
                    <a:lnTo>
                      <a:pt x="32" y="45"/>
                    </a:lnTo>
                    <a:lnTo>
                      <a:pt x="32" y="45"/>
                    </a:lnTo>
                    <a:lnTo>
                      <a:pt x="32" y="45"/>
                    </a:lnTo>
                    <a:lnTo>
                      <a:pt x="32" y="45"/>
                    </a:lnTo>
                    <a:lnTo>
                      <a:pt x="32" y="49"/>
                    </a:lnTo>
                    <a:lnTo>
                      <a:pt x="32" y="49"/>
                    </a:lnTo>
                    <a:lnTo>
                      <a:pt x="32" y="49"/>
                    </a:lnTo>
                    <a:lnTo>
                      <a:pt x="36" y="49"/>
                    </a:lnTo>
                    <a:lnTo>
                      <a:pt x="36" y="49"/>
                    </a:lnTo>
                    <a:lnTo>
                      <a:pt x="3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49"/>
                    </a:lnTo>
                    <a:lnTo>
                      <a:pt x="27" y="49"/>
                    </a:lnTo>
                    <a:lnTo>
                      <a:pt x="27" y="49"/>
                    </a:lnTo>
                    <a:lnTo>
                      <a:pt x="32" y="49"/>
                    </a:lnTo>
                    <a:lnTo>
                      <a:pt x="32" y="49"/>
                    </a:lnTo>
                    <a:lnTo>
                      <a:pt x="32" y="49"/>
                    </a:lnTo>
                    <a:lnTo>
                      <a:pt x="32" y="49"/>
                    </a:lnTo>
                    <a:lnTo>
                      <a:pt x="32" y="45"/>
                    </a:lnTo>
                    <a:lnTo>
                      <a:pt x="32" y="45"/>
                    </a:lnTo>
                    <a:lnTo>
                      <a:pt x="32" y="45"/>
                    </a:lnTo>
                    <a:lnTo>
                      <a:pt x="32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0"/>
                    </a:lnTo>
                    <a:lnTo>
                      <a:pt x="27" y="40"/>
                    </a:lnTo>
                    <a:lnTo>
                      <a:pt x="27" y="40"/>
                    </a:lnTo>
                    <a:lnTo>
                      <a:pt x="23" y="45"/>
                    </a:lnTo>
                    <a:lnTo>
                      <a:pt x="23" y="40"/>
                    </a:lnTo>
                    <a:lnTo>
                      <a:pt x="23" y="40"/>
                    </a:lnTo>
                    <a:lnTo>
                      <a:pt x="23" y="40"/>
                    </a:lnTo>
                    <a:lnTo>
                      <a:pt x="23" y="40"/>
                    </a:lnTo>
                    <a:lnTo>
                      <a:pt x="23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9" y="40"/>
                    </a:lnTo>
                    <a:lnTo>
                      <a:pt x="14" y="40"/>
                    </a:lnTo>
                    <a:lnTo>
                      <a:pt x="9" y="40"/>
                    </a:lnTo>
                    <a:lnTo>
                      <a:pt x="9" y="40"/>
                    </a:lnTo>
                    <a:lnTo>
                      <a:pt x="9" y="4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01" name="Freeform 122"/>
              <p:cNvSpPr>
                <a:spLocks noEditPoints="1"/>
              </p:cNvSpPr>
              <p:nvPr/>
            </p:nvSpPr>
            <p:spPr bwMode="auto">
              <a:xfrm>
                <a:off x="4441826" y="828676"/>
                <a:ext cx="488950" cy="387350"/>
              </a:xfrm>
              <a:custGeom>
                <a:avLst/>
                <a:gdLst>
                  <a:gd name="T0" fmla="*/ 140 w 308"/>
                  <a:gd name="T1" fmla="*/ 49 h 244"/>
                  <a:gd name="T2" fmla="*/ 118 w 308"/>
                  <a:gd name="T3" fmla="*/ 54 h 244"/>
                  <a:gd name="T4" fmla="*/ 136 w 308"/>
                  <a:gd name="T5" fmla="*/ 36 h 244"/>
                  <a:gd name="T6" fmla="*/ 159 w 308"/>
                  <a:gd name="T7" fmla="*/ 31 h 244"/>
                  <a:gd name="T8" fmla="*/ 145 w 308"/>
                  <a:gd name="T9" fmla="*/ 36 h 244"/>
                  <a:gd name="T10" fmla="*/ 177 w 308"/>
                  <a:gd name="T11" fmla="*/ 18 h 244"/>
                  <a:gd name="T12" fmla="*/ 163 w 308"/>
                  <a:gd name="T13" fmla="*/ 27 h 244"/>
                  <a:gd name="T14" fmla="*/ 172 w 308"/>
                  <a:gd name="T15" fmla="*/ 18 h 244"/>
                  <a:gd name="T16" fmla="*/ 276 w 308"/>
                  <a:gd name="T17" fmla="*/ 9 h 244"/>
                  <a:gd name="T18" fmla="*/ 299 w 308"/>
                  <a:gd name="T19" fmla="*/ 9 h 244"/>
                  <a:gd name="T20" fmla="*/ 299 w 308"/>
                  <a:gd name="T21" fmla="*/ 27 h 244"/>
                  <a:gd name="T22" fmla="*/ 299 w 308"/>
                  <a:gd name="T23" fmla="*/ 27 h 244"/>
                  <a:gd name="T24" fmla="*/ 285 w 308"/>
                  <a:gd name="T25" fmla="*/ 36 h 244"/>
                  <a:gd name="T26" fmla="*/ 258 w 308"/>
                  <a:gd name="T27" fmla="*/ 22 h 244"/>
                  <a:gd name="T28" fmla="*/ 244 w 308"/>
                  <a:gd name="T29" fmla="*/ 45 h 244"/>
                  <a:gd name="T30" fmla="*/ 213 w 308"/>
                  <a:gd name="T31" fmla="*/ 45 h 244"/>
                  <a:gd name="T32" fmla="*/ 190 w 308"/>
                  <a:gd name="T33" fmla="*/ 40 h 244"/>
                  <a:gd name="T34" fmla="*/ 168 w 308"/>
                  <a:gd name="T35" fmla="*/ 49 h 244"/>
                  <a:gd name="T36" fmla="*/ 140 w 308"/>
                  <a:gd name="T37" fmla="*/ 68 h 244"/>
                  <a:gd name="T38" fmla="*/ 122 w 308"/>
                  <a:gd name="T39" fmla="*/ 99 h 244"/>
                  <a:gd name="T40" fmla="*/ 113 w 308"/>
                  <a:gd name="T41" fmla="*/ 131 h 244"/>
                  <a:gd name="T42" fmla="*/ 95 w 308"/>
                  <a:gd name="T43" fmla="*/ 158 h 244"/>
                  <a:gd name="T44" fmla="*/ 100 w 308"/>
                  <a:gd name="T45" fmla="*/ 190 h 244"/>
                  <a:gd name="T46" fmla="*/ 91 w 308"/>
                  <a:gd name="T47" fmla="*/ 212 h 244"/>
                  <a:gd name="T48" fmla="*/ 77 w 308"/>
                  <a:gd name="T49" fmla="*/ 226 h 244"/>
                  <a:gd name="T50" fmla="*/ 68 w 308"/>
                  <a:gd name="T51" fmla="*/ 226 h 244"/>
                  <a:gd name="T52" fmla="*/ 46 w 308"/>
                  <a:gd name="T53" fmla="*/ 239 h 244"/>
                  <a:gd name="T54" fmla="*/ 18 w 308"/>
                  <a:gd name="T55" fmla="*/ 244 h 244"/>
                  <a:gd name="T56" fmla="*/ 14 w 308"/>
                  <a:gd name="T57" fmla="*/ 230 h 244"/>
                  <a:gd name="T58" fmla="*/ 14 w 308"/>
                  <a:gd name="T59" fmla="*/ 217 h 244"/>
                  <a:gd name="T60" fmla="*/ 9 w 308"/>
                  <a:gd name="T61" fmla="*/ 212 h 244"/>
                  <a:gd name="T62" fmla="*/ 18 w 308"/>
                  <a:gd name="T63" fmla="*/ 203 h 244"/>
                  <a:gd name="T64" fmla="*/ 5 w 308"/>
                  <a:gd name="T65" fmla="*/ 212 h 244"/>
                  <a:gd name="T66" fmla="*/ 5 w 308"/>
                  <a:gd name="T67" fmla="*/ 208 h 244"/>
                  <a:gd name="T68" fmla="*/ 5 w 308"/>
                  <a:gd name="T69" fmla="*/ 190 h 244"/>
                  <a:gd name="T70" fmla="*/ 32 w 308"/>
                  <a:gd name="T71" fmla="*/ 181 h 244"/>
                  <a:gd name="T72" fmla="*/ 5 w 308"/>
                  <a:gd name="T73" fmla="*/ 190 h 244"/>
                  <a:gd name="T74" fmla="*/ 9 w 308"/>
                  <a:gd name="T75" fmla="*/ 176 h 244"/>
                  <a:gd name="T76" fmla="*/ 9 w 308"/>
                  <a:gd name="T77" fmla="*/ 167 h 244"/>
                  <a:gd name="T78" fmla="*/ 18 w 308"/>
                  <a:gd name="T79" fmla="*/ 158 h 244"/>
                  <a:gd name="T80" fmla="*/ 28 w 308"/>
                  <a:gd name="T81" fmla="*/ 158 h 244"/>
                  <a:gd name="T82" fmla="*/ 46 w 308"/>
                  <a:gd name="T83" fmla="*/ 153 h 244"/>
                  <a:gd name="T84" fmla="*/ 55 w 308"/>
                  <a:gd name="T85" fmla="*/ 144 h 244"/>
                  <a:gd name="T86" fmla="*/ 73 w 308"/>
                  <a:gd name="T87" fmla="*/ 144 h 244"/>
                  <a:gd name="T88" fmla="*/ 77 w 308"/>
                  <a:gd name="T89" fmla="*/ 135 h 244"/>
                  <a:gd name="T90" fmla="*/ 68 w 308"/>
                  <a:gd name="T91" fmla="*/ 131 h 244"/>
                  <a:gd name="T92" fmla="*/ 95 w 308"/>
                  <a:gd name="T93" fmla="*/ 113 h 244"/>
                  <a:gd name="T94" fmla="*/ 100 w 308"/>
                  <a:gd name="T95" fmla="*/ 99 h 244"/>
                  <a:gd name="T96" fmla="*/ 104 w 308"/>
                  <a:gd name="T97" fmla="*/ 86 h 244"/>
                  <a:gd name="T98" fmla="*/ 118 w 308"/>
                  <a:gd name="T99" fmla="*/ 72 h 244"/>
                  <a:gd name="T100" fmla="*/ 131 w 308"/>
                  <a:gd name="T101" fmla="*/ 68 h 244"/>
                  <a:gd name="T102" fmla="*/ 122 w 308"/>
                  <a:gd name="T103" fmla="*/ 63 h 244"/>
                  <a:gd name="T104" fmla="*/ 140 w 308"/>
                  <a:gd name="T105" fmla="*/ 58 h 244"/>
                  <a:gd name="T106" fmla="*/ 154 w 308"/>
                  <a:gd name="T107" fmla="*/ 49 h 244"/>
                  <a:gd name="T108" fmla="*/ 159 w 308"/>
                  <a:gd name="T109" fmla="*/ 36 h 244"/>
                  <a:gd name="T110" fmla="*/ 172 w 308"/>
                  <a:gd name="T111" fmla="*/ 27 h 244"/>
                  <a:gd name="T112" fmla="*/ 186 w 308"/>
                  <a:gd name="T113" fmla="*/ 27 h 244"/>
                  <a:gd name="T114" fmla="*/ 195 w 308"/>
                  <a:gd name="T115" fmla="*/ 22 h 244"/>
                  <a:gd name="T116" fmla="*/ 208 w 308"/>
                  <a:gd name="T117" fmla="*/ 13 h 244"/>
                  <a:gd name="T118" fmla="*/ 231 w 308"/>
                  <a:gd name="T119" fmla="*/ 9 h 244"/>
                  <a:gd name="T120" fmla="*/ 244 w 308"/>
                  <a:gd name="T121" fmla="*/ 4 h 244"/>
                  <a:gd name="T122" fmla="*/ 258 w 308"/>
                  <a:gd name="T123" fmla="*/ 4 h 244"/>
                  <a:gd name="T124" fmla="*/ 262 w 308"/>
                  <a:gd name="T125" fmla="*/ 0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8" h="244">
                    <a:moveTo>
                      <a:pt x="131" y="49"/>
                    </a:moveTo>
                    <a:lnTo>
                      <a:pt x="131" y="49"/>
                    </a:lnTo>
                    <a:lnTo>
                      <a:pt x="136" y="49"/>
                    </a:lnTo>
                    <a:lnTo>
                      <a:pt x="136" y="45"/>
                    </a:lnTo>
                    <a:lnTo>
                      <a:pt x="136" y="45"/>
                    </a:lnTo>
                    <a:lnTo>
                      <a:pt x="136" y="45"/>
                    </a:lnTo>
                    <a:lnTo>
                      <a:pt x="136" y="45"/>
                    </a:lnTo>
                    <a:lnTo>
                      <a:pt x="136" y="45"/>
                    </a:lnTo>
                    <a:lnTo>
                      <a:pt x="136" y="40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40" y="45"/>
                    </a:lnTo>
                    <a:lnTo>
                      <a:pt x="145" y="45"/>
                    </a:lnTo>
                    <a:lnTo>
                      <a:pt x="140" y="45"/>
                    </a:lnTo>
                    <a:lnTo>
                      <a:pt x="140" y="49"/>
                    </a:lnTo>
                    <a:lnTo>
                      <a:pt x="140" y="49"/>
                    </a:lnTo>
                    <a:lnTo>
                      <a:pt x="136" y="49"/>
                    </a:lnTo>
                    <a:lnTo>
                      <a:pt x="136" y="49"/>
                    </a:lnTo>
                    <a:lnTo>
                      <a:pt x="136" y="49"/>
                    </a:lnTo>
                    <a:lnTo>
                      <a:pt x="136" y="49"/>
                    </a:lnTo>
                    <a:lnTo>
                      <a:pt x="136" y="49"/>
                    </a:lnTo>
                    <a:lnTo>
                      <a:pt x="136" y="49"/>
                    </a:lnTo>
                    <a:lnTo>
                      <a:pt x="131" y="49"/>
                    </a:lnTo>
                    <a:lnTo>
                      <a:pt x="131" y="54"/>
                    </a:lnTo>
                    <a:lnTo>
                      <a:pt x="127" y="54"/>
                    </a:lnTo>
                    <a:lnTo>
                      <a:pt x="127" y="49"/>
                    </a:lnTo>
                    <a:lnTo>
                      <a:pt x="127" y="49"/>
                    </a:lnTo>
                    <a:lnTo>
                      <a:pt x="127" y="54"/>
                    </a:lnTo>
                    <a:lnTo>
                      <a:pt x="127" y="54"/>
                    </a:lnTo>
                    <a:lnTo>
                      <a:pt x="127" y="54"/>
                    </a:lnTo>
                    <a:lnTo>
                      <a:pt x="122" y="54"/>
                    </a:lnTo>
                    <a:lnTo>
                      <a:pt x="122" y="54"/>
                    </a:lnTo>
                    <a:lnTo>
                      <a:pt x="118" y="54"/>
                    </a:lnTo>
                    <a:lnTo>
                      <a:pt x="118" y="54"/>
                    </a:lnTo>
                    <a:lnTo>
                      <a:pt x="118" y="54"/>
                    </a:lnTo>
                    <a:lnTo>
                      <a:pt x="118" y="54"/>
                    </a:lnTo>
                    <a:lnTo>
                      <a:pt x="118" y="49"/>
                    </a:lnTo>
                    <a:lnTo>
                      <a:pt x="127" y="49"/>
                    </a:lnTo>
                    <a:lnTo>
                      <a:pt x="131" y="45"/>
                    </a:lnTo>
                    <a:lnTo>
                      <a:pt x="131" y="45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36"/>
                    </a:lnTo>
                    <a:lnTo>
                      <a:pt x="131" y="36"/>
                    </a:lnTo>
                    <a:lnTo>
                      <a:pt x="136" y="36"/>
                    </a:lnTo>
                    <a:lnTo>
                      <a:pt x="136" y="36"/>
                    </a:lnTo>
                    <a:lnTo>
                      <a:pt x="136" y="36"/>
                    </a:lnTo>
                    <a:lnTo>
                      <a:pt x="136" y="36"/>
                    </a:lnTo>
                    <a:lnTo>
                      <a:pt x="136" y="36"/>
                    </a:lnTo>
                    <a:lnTo>
                      <a:pt x="136" y="36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6" y="45"/>
                    </a:lnTo>
                    <a:lnTo>
                      <a:pt x="136" y="45"/>
                    </a:lnTo>
                    <a:lnTo>
                      <a:pt x="136" y="45"/>
                    </a:lnTo>
                    <a:lnTo>
                      <a:pt x="131" y="49"/>
                    </a:lnTo>
                    <a:moveTo>
                      <a:pt x="154" y="27"/>
                    </a:moveTo>
                    <a:lnTo>
                      <a:pt x="154" y="27"/>
                    </a:lnTo>
                    <a:lnTo>
                      <a:pt x="154" y="31"/>
                    </a:lnTo>
                    <a:lnTo>
                      <a:pt x="154" y="27"/>
                    </a:lnTo>
                    <a:lnTo>
                      <a:pt x="154" y="27"/>
                    </a:lnTo>
                    <a:lnTo>
                      <a:pt x="159" y="31"/>
                    </a:lnTo>
                    <a:lnTo>
                      <a:pt x="159" y="31"/>
                    </a:lnTo>
                    <a:lnTo>
                      <a:pt x="159" y="31"/>
                    </a:lnTo>
                    <a:lnTo>
                      <a:pt x="159" y="31"/>
                    </a:lnTo>
                    <a:lnTo>
                      <a:pt x="159" y="31"/>
                    </a:lnTo>
                    <a:lnTo>
                      <a:pt x="159" y="31"/>
                    </a:lnTo>
                    <a:lnTo>
                      <a:pt x="159" y="31"/>
                    </a:lnTo>
                    <a:lnTo>
                      <a:pt x="159" y="36"/>
                    </a:lnTo>
                    <a:lnTo>
                      <a:pt x="159" y="36"/>
                    </a:lnTo>
                    <a:lnTo>
                      <a:pt x="159" y="36"/>
                    </a:lnTo>
                    <a:lnTo>
                      <a:pt x="154" y="36"/>
                    </a:lnTo>
                    <a:lnTo>
                      <a:pt x="154" y="36"/>
                    </a:lnTo>
                    <a:lnTo>
                      <a:pt x="149" y="36"/>
                    </a:lnTo>
                    <a:lnTo>
                      <a:pt x="149" y="40"/>
                    </a:lnTo>
                    <a:lnTo>
                      <a:pt x="149" y="40"/>
                    </a:lnTo>
                    <a:lnTo>
                      <a:pt x="149" y="40"/>
                    </a:lnTo>
                    <a:lnTo>
                      <a:pt x="145" y="40"/>
                    </a:lnTo>
                    <a:lnTo>
                      <a:pt x="145" y="40"/>
                    </a:lnTo>
                    <a:lnTo>
                      <a:pt x="145" y="36"/>
                    </a:lnTo>
                    <a:lnTo>
                      <a:pt x="145" y="36"/>
                    </a:lnTo>
                    <a:lnTo>
                      <a:pt x="145" y="36"/>
                    </a:lnTo>
                    <a:lnTo>
                      <a:pt x="149" y="36"/>
                    </a:lnTo>
                    <a:lnTo>
                      <a:pt x="145" y="36"/>
                    </a:lnTo>
                    <a:lnTo>
                      <a:pt x="149" y="31"/>
                    </a:lnTo>
                    <a:lnTo>
                      <a:pt x="149" y="31"/>
                    </a:lnTo>
                    <a:lnTo>
                      <a:pt x="149" y="31"/>
                    </a:lnTo>
                    <a:lnTo>
                      <a:pt x="149" y="31"/>
                    </a:lnTo>
                    <a:lnTo>
                      <a:pt x="154" y="31"/>
                    </a:lnTo>
                    <a:lnTo>
                      <a:pt x="149" y="31"/>
                    </a:lnTo>
                    <a:lnTo>
                      <a:pt x="149" y="31"/>
                    </a:lnTo>
                    <a:lnTo>
                      <a:pt x="149" y="31"/>
                    </a:lnTo>
                    <a:lnTo>
                      <a:pt x="149" y="31"/>
                    </a:lnTo>
                    <a:lnTo>
                      <a:pt x="154" y="31"/>
                    </a:lnTo>
                    <a:lnTo>
                      <a:pt x="154" y="27"/>
                    </a:lnTo>
                    <a:lnTo>
                      <a:pt x="154" y="27"/>
                    </a:lnTo>
                    <a:lnTo>
                      <a:pt x="154" y="27"/>
                    </a:lnTo>
                    <a:moveTo>
                      <a:pt x="172" y="18"/>
                    </a:moveTo>
                    <a:lnTo>
                      <a:pt x="172" y="18"/>
                    </a:lnTo>
                    <a:lnTo>
                      <a:pt x="172" y="22"/>
                    </a:lnTo>
                    <a:lnTo>
                      <a:pt x="177" y="22"/>
                    </a:lnTo>
                    <a:lnTo>
                      <a:pt x="177" y="18"/>
                    </a:lnTo>
                    <a:lnTo>
                      <a:pt x="177" y="18"/>
                    </a:lnTo>
                    <a:lnTo>
                      <a:pt x="177" y="22"/>
                    </a:lnTo>
                    <a:lnTo>
                      <a:pt x="177" y="22"/>
                    </a:lnTo>
                    <a:lnTo>
                      <a:pt x="177" y="22"/>
                    </a:lnTo>
                    <a:lnTo>
                      <a:pt x="172" y="22"/>
                    </a:lnTo>
                    <a:lnTo>
                      <a:pt x="172" y="22"/>
                    </a:lnTo>
                    <a:lnTo>
                      <a:pt x="172" y="22"/>
                    </a:lnTo>
                    <a:lnTo>
                      <a:pt x="172" y="27"/>
                    </a:lnTo>
                    <a:lnTo>
                      <a:pt x="168" y="27"/>
                    </a:lnTo>
                    <a:lnTo>
                      <a:pt x="168" y="27"/>
                    </a:lnTo>
                    <a:lnTo>
                      <a:pt x="168" y="27"/>
                    </a:lnTo>
                    <a:lnTo>
                      <a:pt x="168" y="27"/>
                    </a:lnTo>
                    <a:lnTo>
                      <a:pt x="163" y="27"/>
                    </a:lnTo>
                    <a:lnTo>
                      <a:pt x="163" y="31"/>
                    </a:lnTo>
                    <a:lnTo>
                      <a:pt x="159" y="27"/>
                    </a:lnTo>
                    <a:lnTo>
                      <a:pt x="159" y="27"/>
                    </a:lnTo>
                    <a:lnTo>
                      <a:pt x="159" y="27"/>
                    </a:lnTo>
                    <a:lnTo>
                      <a:pt x="163" y="27"/>
                    </a:lnTo>
                    <a:lnTo>
                      <a:pt x="163" y="27"/>
                    </a:lnTo>
                    <a:lnTo>
                      <a:pt x="163" y="27"/>
                    </a:lnTo>
                    <a:lnTo>
                      <a:pt x="163" y="27"/>
                    </a:lnTo>
                    <a:lnTo>
                      <a:pt x="163" y="27"/>
                    </a:lnTo>
                    <a:lnTo>
                      <a:pt x="163" y="27"/>
                    </a:lnTo>
                    <a:lnTo>
                      <a:pt x="163" y="27"/>
                    </a:lnTo>
                    <a:lnTo>
                      <a:pt x="163" y="22"/>
                    </a:lnTo>
                    <a:lnTo>
                      <a:pt x="168" y="22"/>
                    </a:lnTo>
                    <a:lnTo>
                      <a:pt x="168" y="27"/>
                    </a:lnTo>
                    <a:lnTo>
                      <a:pt x="168" y="22"/>
                    </a:lnTo>
                    <a:lnTo>
                      <a:pt x="168" y="22"/>
                    </a:lnTo>
                    <a:lnTo>
                      <a:pt x="168" y="22"/>
                    </a:lnTo>
                    <a:lnTo>
                      <a:pt x="168" y="22"/>
                    </a:lnTo>
                    <a:lnTo>
                      <a:pt x="168" y="22"/>
                    </a:lnTo>
                    <a:lnTo>
                      <a:pt x="168" y="18"/>
                    </a:lnTo>
                    <a:lnTo>
                      <a:pt x="172" y="18"/>
                    </a:lnTo>
                    <a:lnTo>
                      <a:pt x="172" y="18"/>
                    </a:lnTo>
                    <a:lnTo>
                      <a:pt x="172" y="18"/>
                    </a:lnTo>
                    <a:lnTo>
                      <a:pt x="172" y="18"/>
                    </a:lnTo>
                    <a:lnTo>
                      <a:pt x="172" y="18"/>
                    </a:lnTo>
                    <a:lnTo>
                      <a:pt x="172" y="18"/>
                    </a:lnTo>
                    <a:lnTo>
                      <a:pt x="172" y="18"/>
                    </a:lnTo>
                    <a:lnTo>
                      <a:pt x="172" y="18"/>
                    </a:lnTo>
                    <a:moveTo>
                      <a:pt x="271" y="9"/>
                    </a:moveTo>
                    <a:lnTo>
                      <a:pt x="271" y="9"/>
                    </a:lnTo>
                    <a:lnTo>
                      <a:pt x="271" y="9"/>
                    </a:lnTo>
                    <a:lnTo>
                      <a:pt x="271" y="4"/>
                    </a:lnTo>
                    <a:lnTo>
                      <a:pt x="276" y="9"/>
                    </a:lnTo>
                    <a:lnTo>
                      <a:pt x="271" y="9"/>
                    </a:lnTo>
                    <a:lnTo>
                      <a:pt x="276" y="13"/>
                    </a:lnTo>
                    <a:lnTo>
                      <a:pt x="276" y="13"/>
                    </a:lnTo>
                    <a:lnTo>
                      <a:pt x="276" y="13"/>
                    </a:lnTo>
                    <a:lnTo>
                      <a:pt x="276" y="13"/>
                    </a:lnTo>
                    <a:lnTo>
                      <a:pt x="276" y="13"/>
                    </a:lnTo>
                    <a:lnTo>
                      <a:pt x="276" y="13"/>
                    </a:lnTo>
                    <a:lnTo>
                      <a:pt x="276" y="9"/>
                    </a:lnTo>
                    <a:lnTo>
                      <a:pt x="276" y="9"/>
                    </a:lnTo>
                    <a:lnTo>
                      <a:pt x="276" y="4"/>
                    </a:lnTo>
                    <a:lnTo>
                      <a:pt x="281" y="4"/>
                    </a:lnTo>
                    <a:lnTo>
                      <a:pt x="281" y="4"/>
                    </a:lnTo>
                    <a:lnTo>
                      <a:pt x="285" y="4"/>
                    </a:lnTo>
                    <a:lnTo>
                      <a:pt x="285" y="4"/>
                    </a:lnTo>
                    <a:lnTo>
                      <a:pt x="285" y="4"/>
                    </a:lnTo>
                    <a:lnTo>
                      <a:pt x="285" y="4"/>
                    </a:lnTo>
                    <a:lnTo>
                      <a:pt x="290" y="4"/>
                    </a:lnTo>
                    <a:lnTo>
                      <a:pt x="290" y="9"/>
                    </a:lnTo>
                    <a:lnTo>
                      <a:pt x="290" y="9"/>
                    </a:lnTo>
                    <a:lnTo>
                      <a:pt x="290" y="9"/>
                    </a:lnTo>
                    <a:lnTo>
                      <a:pt x="294" y="4"/>
                    </a:lnTo>
                    <a:lnTo>
                      <a:pt x="294" y="4"/>
                    </a:lnTo>
                    <a:lnTo>
                      <a:pt x="299" y="9"/>
                    </a:lnTo>
                    <a:lnTo>
                      <a:pt x="299" y="9"/>
                    </a:lnTo>
                    <a:lnTo>
                      <a:pt x="299" y="9"/>
                    </a:lnTo>
                    <a:lnTo>
                      <a:pt x="299" y="9"/>
                    </a:lnTo>
                    <a:lnTo>
                      <a:pt x="303" y="9"/>
                    </a:lnTo>
                    <a:lnTo>
                      <a:pt x="308" y="13"/>
                    </a:lnTo>
                    <a:lnTo>
                      <a:pt x="308" y="13"/>
                    </a:lnTo>
                    <a:lnTo>
                      <a:pt x="308" y="13"/>
                    </a:lnTo>
                    <a:lnTo>
                      <a:pt x="303" y="13"/>
                    </a:lnTo>
                    <a:lnTo>
                      <a:pt x="299" y="18"/>
                    </a:lnTo>
                    <a:lnTo>
                      <a:pt x="294" y="18"/>
                    </a:lnTo>
                    <a:lnTo>
                      <a:pt x="281" y="18"/>
                    </a:lnTo>
                    <a:lnTo>
                      <a:pt x="281" y="18"/>
                    </a:lnTo>
                    <a:lnTo>
                      <a:pt x="294" y="18"/>
                    </a:lnTo>
                    <a:lnTo>
                      <a:pt x="294" y="22"/>
                    </a:lnTo>
                    <a:lnTo>
                      <a:pt x="294" y="22"/>
                    </a:lnTo>
                    <a:lnTo>
                      <a:pt x="294" y="22"/>
                    </a:lnTo>
                    <a:lnTo>
                      <a:pt x="294" y="22"/>
                    </a:lnTo>
                    <a:lnTo>
                      <a:pt x="294" y="22"/>
                    </a:lnTo>
                    <a:lnTo>
                      <a:pt x="294" y="22"/>
                    </a:lnTo>
                    <a:lnTo>
                      <a:pt x="299" y="22"/>
                    </a:lnTo>
                    <a:lnTo>
                      <a:pt x="299" y="27"/>
                    </a:lnTo>
                    <a:lnTo>
                      <a:pt x="299" y="22"/>
                    </a:lnTo>
                    <a:lnTo>
                      <a:pt x="299" y="22"/>
                    </a:lnTo>
                    <a:lnTo>
                      <a:pt x="299" y="22"/>
                    </a:lnTo>
                    <a:lnTo>
                      <a:pt x="303" y="22"/>
                    </a:lnTo>
                    <a:lnTo>
                      <a:pt x="303" y="22"/>
                    </a:lnTo>
                    <a:lnTo>
                      <a:pt x="303" y="22"/>
                    </a:lnTo>
                    <a:lnTo>
                      <a:pt x="303" y="22"/>
                    </a:lnTo>
                    <a:lnTo>
                      <a:pt x="303" y="22"/>
                    </a:lnTo>
                    <a:lnTo>
                      <a:pt x="303" y="22"/>
                    </a:lnTo>
                    <a:lnTo>
                      <a:pt x="308" y="22"/>
                    </a:lnTo>
                    <a:lnTo>
                      <a:pt x="308" y="27"/>
                    </a:lnTo>
                    <a:lnTo>
                      <a:pt x="308" y="27"/>
                    </a:lnTo>
                    <a:lnTo>
                      <a:pt x="308" y="27"/>
                    </a:lnTo>
                    <a:lnTo>
                      <a:pt x="308" y="27"/>
                    </a:lnTo>
                    <a:lnTo>
                      <a:pt x="308" y="27"/>
                    </a:lnTo>
                    <a:lnTo>
                      <a:pt x="303" y="27"/>
                    </a:lnTo>
                    <a:lnTo>
                      <a:pt x="303" y="27"/>
                    </a:lnTo>
                    <a:lnTo>
                      <a:pt x="299" y="27"/>
                    </a:lnTo>
                    <a:lnTo>
                      <a:pt x="299" y="27"/>
                    </a:lnTo>
                    <a:lnTo>
                      <a:pt x="299" y="27"/>
                    </a:lnTo>
                    <a:lnTo>
                      <a:pt x="299" y="27"/>
                    </a:lnTo>
                    <a:lnTo>
                      <a:pt x="299" y="27"/>
                    </a:lnTo>
                    <a:lnTo>
                      <a:pt x="299" y="27"/>
                    </a:lnTo>
                    <a:lnTo>
                      <a:pt x="299" y="31"/>
                    </a:lnTo>
                    <a:lnTo>
                      <a:pt x="299" y="31"/>
                    </a:lnTo>
                    <a:lnTo>
                      <a:pt x="299" y="31"/>
                    </a:lnTo>
                    <a:lnTo>
                      <a:pt x="299" y="31"/>
                    </a:lnTo>
                    <a:lnTo>
                      <a:pt x="294" y="31"/>
                    </a:lnTo>
                    <a:lnTo>
                      <a:pt x="290" y="31"/>
                    </a:lnTo>
                    <a:lnTo>
                      <a:pt x="290" y="36"/>
                    </a:lnTo>
                    <a:lnTo>
                      <a:pt x="290" y="36"/>
                    </a:lnTo>
                    <a:lnTo>
                      <a:pt x="290" y="36"/>
                    </a:lnTo>
                    <a:lnTo>
                      <a:pt x="290" y="36"/>
                    </a:lnTo>
                    <a:lnTo>
                      <a:pt x="285" y="36"/>
                    </a:lnTo>
                    <a:lnTo>
                      <a:pt x="285" y="36"/>
                    </a:lnTo>
                    <a:lnTo>
                      <a:pt x="285" y="36"/>
                    </a:lnTo>
                    <a:lnTo>
                      <a:pt x="290" y="31"/>
                    </a:lnTo>
                    <a:lnTo>
                      <a:pt x="290" y="31"/>
                    </a:lnTo>
                    <a:lnTo>
                      <a:pt x="290" y="31"/>
                    </a:lnTo>
                    <a:lnTo>
                      <a:pt x="290" y="31"/>
                    </a:lnTo>
                    <a:lnTo>
                      <a:pt x="290" y="27"/>
                    </a:lnTo>
                    <a:lnTo>
                      <a:pt x="285" y="22"/>
                    </a:lnTo>
                    <a:lnTo>
                      <a:pt x="281" y="22"/>
                    </a:lnTo>
                    <a:lnTo>
                      <a:pt x="276" y="22"/>
                    </a:lnTo>
                    <a:lnTo>
                      <a:pt x="276" y="22"/>
                    </a:lnTo>
                    <a:lnTo>
                      <a:pt x="271" y="18"/>
                    </a:lnTo>
                    <a:lnTo>
                      <a:pt x="271" y="18"/>
                    </a:lnTo>
                    <a:lnTo>
                      <a:pt x="267" y="18"/>
                    </a:lnTo>
                    <a:lnTo>
                      <a:pt x="267" y="22"/>
                    </a:lnTo>
                    <a:lnTo>
                      <a:pt x="262" y="22"/>
                    </a:lnTo>
                    <a:lnTo>
                      <a:pt x="262" y="22"/>
                    </a:lnTo>
                    <a:lnTo>
                      <a:pt x="262" y="22"/>
                    </a:lnTo>
                    <a:lnTo>
                      <a:pt x="262" y="22"/>
                    </a:lnTo>
                    <a:lnTo>
                      <a:pt x="258" y="22"/>
                    </a:lnTo>
                    <a:lnTo>
                      <a:pt x="258" y="22"/>
                    </a:lnTo>
                    <a:lnTo>
                      <a:pt x="258" y="22"/>
                    </a:lnTo>
                    <a:lnTo>
                      <a:pt x="253" y="22"/>
                    </a:lnTo>
                    <a:lnTo>
                      <a:pt x="253" y="27"/>
                    </a:lnTo>
                    <a:lnTo>
                      <a:pt x="253" y="27"/>
                    </a:lnTo>
                    <a:lnTo>
                      <a:pt x="253" y="27"/>
                    </a:lnTo>
                    <a:lnTo>
                      <a:pt x="249" y="27"/>
                    </a:lnTo>
                    <a:lnTo>
                      <a:pt x="249" y="31"/>
                    </a:lnTo>
                    <a:lnTo>
                      <a:pt x="249" y="31"/>
                    </a:lnTo>
                    <a:lnTo>
                      <a:pt x="249" y="36"/>
                    </a:lnTo>
                    <a:lnTo>
                      <a:pt x="249" y="36"/>
                    </a:lnTo>
                    <a:lnTo>
                      <a:pt x="249" y="40"/>
                    </a:lnTo>
                    <a:lnTo>
                      <a:pt x="249" y="40"/>
                    </a:lnTo>
                    <a:lnTo>
                      <a:pt x="249" y="40"/>
                    </a:lnTo>
                    <a:lnTo>
                      <a:pt x="249" y="40"/>
                    </a:lnTo>
                    <a:lnTo>
                      <a:pt x="244" y="40"/>
                    </a:lnTo>
                    <a:lnTo>
                      <a:pt x="244" y="40"/>
                    </a:lnTo>
                    <a:lnTo>
                      <a:pt x="244" y="45"/>
                    </a:lnTo>
                    <a:lnTo>
                      <a:pt x="244" y="45"/>
                    </a:lnTo>
                    <a:lnTo>
                      <a:pt x="240" y="45"/>
                    </a:lnTo>
                    <a:lnTo>
                      <a:pt x="240" y="45"/>
                    </a:lnTo>
                    <a:lnTo>
                      <a:pt x="240" y="45"/>
                    </a:lnTo>
                    <a:lnTo>
                      <a:pt x="235" y="45"/>
                    </a:lnTo>
                    <a:lnTo>
                      <a:pt x="235" y="45"/>
                    </a:lnTo>
                    <a:lnTo>
                      <a:pt x="231" y="45"/>
                    </a:lnTo>
                    <a:lnTo>
                      <a:pt x="231" y="45"/>
                    </a:lnTo>
                    <a:lnTo>
                      <a:pt x="231" y="40"/>
                    </a:lnTo>
                    <a:lnTo>
                      <a:pt x="226" y="45"/>
                    </a:lnTo>
                    <a:lnTo>
                      <a:pt x="226" y="45"/>
                    </a:lnTo>
                    <a:lnTo>
                      <a:pt x="226" y="45"/>
                    </a:lnTo>
                    <a:lnTo>
                      <a:pt x="222" y="45"/>
                    </a:lnTo>
                    <a:lnTo>
                      <a:pt x="222" y="45"/>
                    </a:lnTo>
                    <a:lnTo>
                      <a:pt x="222" y="45"/>
                    </a:lnTo>
                    <a:lnTo>
                      <a:pt x="217" y="45"/>
                    </a:lnTo>
                    <a:lnTo>
                      <a:pt x="213" y="45"/>
                    </a:lnTo>
                    <a:lnTo>
                      <a:pt x="213" y="45"/>
                    </a:lnTo>
                    <a:lnTo>
                      <a:pt x="213" y="45"/>
                    </a:lnTo>
                    <a:lnTo>
                      <a:pt x="208" y="40"/>
                    </a:lnTo>
                    <a:lnTo>
                      <a:pt x="208" y="40"/>
                    </a:lnTo>
                    <a:lnTo>
                      <a:pt x="208" y="40"/>
                    </a:lnTo>
                    <a:lnTo>
                      <a:pt x="204" y="36"/>
                    </a:lnTo>
                    <a:lnTo>
                      <a:pt x="199" y="36"/>
                    </a:lnTo>
                    <a:lnTo>
                      <a:pt x="199" y="36"/>
                    </a:lnTo>
                    <a:lnTo>
                      <a:pt x="199" y="36"/>
                    </a:lnTo>
                    <a:lnTo>
                      <a:pt x="199" y="36"/>
                    </a:lnTo>
                    <a:lnTo>
                      <a:pt x="195" y="36"/>
                    </a:lnTo>
                    <a:lnTo>
                      <a:pt x="195" y="36"/>
                    </a:lnTo>
                    <a:lnTo>
                      <a:pt x="195" y="36"/>
                    </a:lnTo>
                    <a:lnTo>
                      <a:pt x="195" y="36"/>
                    </a:lnTo>
                    <a:lnTo>
                      <a:pt x="195" y="40"/>
                    </a:lnTo>
                    <a:lnTo>
                      <a:pt x="195" y="40"/>
                    </a:lnTo>
                    <a:lnTo>
                      <a:pt x="195" y="36"/>
                    </a:lnTo>
                    <a:lnTo>
                      <a:pt x="190" y="36"/>
                    </a:lnTo>
                    <a:lnTo>
                      <a:pt x="190" y="40"/>
                    </a:lnTo>
                    <a:lnTo>
                      <a:pt x="190" y="40"/>
                    </a:lnTo>
                    <a:lnTo>
                      <a:pt x="186" y="40"/>
                    </a:lnTo>
                    <a:lnTo>
                      <a:pt x="186" y="40"/>
                    </a:lnTo>
                    <a:lnTo>
                      <a:pt x="186" y="40"/>
                    </a:lnTo>
                    <a:lnTo>
                      <a:pt x="186" y="40"/>
                    </a:lnTo>
                    <a:lnTo>
                      <a:pt x="186" y="45"/>
                    </a:lnTo>
                    <a:lnTo>
                      <a:pt x="186" y="45"/>
                    </a:lnTo>
                    <a:lnTo>
                      <a:pt x="186" y="45"/>
                    </a:lnTo>
                    <a:lnTo>
                      <a:pt x="186" y="49"/>
                    </a:lnTo>
                    <a:lnTo>
                      <a:pt x="186" y="49"/>
                    </a:lnTo>
                    <a:lnTo>
                      <a:pt x="186" y="49"/>
                    </a:lnTo>
                    <a:lnTo>
                      <a:pt x="186" y="49"/>
                    </a:lnTo>
                    <a:lnTo>
                      <a:pt x="181" y="49"/>
                    </a:lnTo>
                    <a:lnTo>
                      <a:pt x="181" y="49"/>
                    </a:lnTo>
                    <a:lnTo>
                      <a:pt x="177" y="49"/>
                    </a:lnTo>
                    <a:lnTo>
                      <a:pt x="172" y="49"/>
                    </a:lnTo>
                    <a:lnTo>
                      <a:pt x="172" y="49"/>
                    </a:lnTo>
                    <a:lnTo>
                      <a:pt x="168" y="49"/>
                    </a:lnTo>
                    <a:lnTo>
                      <a:pt x="163" y="49"/>
                    </a:lnTo>
                    <a:lnTo>
                      <a:pt x="163" y="49"/>
                    </a:lnTo>
                    <a:lnTo>
                      <a:pt x="163" y="49"/>
                    </a:lnTo>
                    <a:lnTo>
                      <a:pt x="163" y="49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3" y="58"/>
                    </a:lnTo>
                    <a:lnTo>
                      <a:pt x="159" y="58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49" y="58"/>
                    </a:lnTo>
                    <a:lnTo>
                      <a:pt x="145" y="58"/>
                    </a:lnTo>
                    <a:lnTo>
                      <a:pt x="145" y="68"/>
                    </a:lnTo>
                    <a:lnTo>
                      <a:pt x="145" y="68"/>
                    </a:lnTo>
                    <a:lnTo>
                      <a:pt x="145" y="68"/>
                    </a:lnTo>
                    <a:lnTo>
                      <a:pt x="140" y="68"/>
                    </a:lnTo>
                    <a:lnTo>
                      <a:pt x="140" y="68"/>
                    </a:lnTo>
                    <a:lnTo>
                      <a:pt x="140" y="68"/>
                    </a:lnTo>
                    <a:lnTo>
                      <a:pt x="140" y="72"/>
                    </a:lnTo>
                    <a:lnTo>
                      <a:pt x="140" y="72"/>
                    </a:lnTo>
                    <a:lnTo>
                      <a:pt x="145" y="72"/>
                    </a:lnTo>
                    <a:lnTo>
                      <a:pt x="145" y="77"/>
                    </a:lnTo>
                    <a:lnTo>
                      <a:pt x="145" y="77"/>
                    </a:lnTo>
                    <a:lnTo>
                      <a:pt x="140" y="77"/>
                    </a:lnTo>
                    <a:lnTo>
                      <a:pt x="136" y="81"/>
                    </a:lnTo>
                    <a:lnTo>
                      <a:pt x="131" y="86"/>
                    </a:lnTo>
                    <a:lnTo>
                      <a:pt x="131" y="86"/>
                    </a:lnTo>
                    <a:lnTo>
                      <a:pt x="131" y="90"/>
                    </a:lnTo>
                    <a:lnTo>
                      <a:pt x="131" y="90"/>
                    </a:lnTo>
                    <a:lnTo>
                      <a:pt x="127" y="90"/>
                    </a:lnTo>
                    <a:lnTo>
                      <a:pt x="127" y="95"/>
                    </a:lnTo>
                    <a:lnTo>
                      <a:pt x="127" y="95"/>
                    </a:lnTo>
                    <a:lnTo>
                      <a:pt x="122" y="95"/>
                    </a:lnTo>
                    <a:lnTo>
                      <a:pt x="122" y="99"/>
                    </a:lnTo>
                    <a:lnTo>
                      <a:pt x="122" y="99"/>
                    </a:lnTo>
                    <a:lnTo>
                      <a:pt x="122" y="99"/>
                    </a:lnTo>
                    <a:lnTo>
                      <a:pt x="122" y="99"/>
                    </a:lnTo>
                    <a:lnTo>
                      <a:pt x="122" y="104"/>
                    </a:lnTo>
                    <a:lnTo>
                      <a:pt x="122" y="108"/>
                    </a:lnTo>
                    <a:lnTo>
                      <a:pt x="122" y="108"/>
                    </a:lnTo>
                    <a:lnTo>
                      <a:pt x="118" y="113"/>
                    </a:lnTo>
                    <a:lnTo>
                      <a:pt x="118" y="117"/>
                    </a:lnTo>
                    <a:lnTo>
                      <a:pt x="113" y="117"/>
                    </a:lnTo>
                    <a:lnTo>
                      <a:pt x="113" y="122"/>
                    </a:lnTo>
                    <a:lnTo>
                      <a:pt x="113" y="122"/>
                    </a:lnTo>
                    <a:lnTo>
                      <a:pt x="118" y="126"/>
                    </a:lnTo>
                    <a:lnTo>
                      <a:pt x="118" y="126"/>
                    </a:lnTo>
                    <a:lnTo>
                      <a:pt x="118" y="131"/>
                    </a:lnTo>
                    <a:lnTo>
                      <a:pt x="118" y="131"/>
                    </a:lnTo>
                    <a:lnTo>
                      <a:pt x="118" y="131"/>
                    </a:lnTo>
                    <a:lnTo>
                      <a:pt x="118" y="131"/>
                    </a:lnTo>
                    <a:lnTo>
                      <a:pt x="113" y="135"/>
                    </a:lnTo>
                    <a:lnTo>
                      <a:pt x="113" y="131"/>
                    </a:lnTo>
                    <a:lnTo>
                      <a:pt x="109" y="131"/>
                    </a:lnTo>
                    <a:lnTo>
                      <a:pt x="104" y="131"/>
                    </a:lnTo>
                    <a:lnTo>
                      <a:pt x="104" y="131"/>
                    </a:lnTo>
                    <a:lnTo>
                      <a:pt x="100" y="135"/>
                    </a:lnTo>
                    <a:lnTo>
                      <a:pt x="100" y="135"/>
                    </a:lnTo>
                    <a:lnTo>
                      <a:pt x="100" y="135"/>
                    </a:lnTo>
                    <a:lnTo>
                      <a:pt x="100" y="135"/>
                    </a:lnTo>
                    <a:lnTo>
                      <a:pt x="95" y="140"/>
                    </a:lnTo>
                    <a:lnTo>
                      <a:pt x="95" y="140"/>
                    </a:lnTo>
                    <a:lnTo>
                      <a:pt x="95" y="144"/>
                    </a:lnTo>
                    <a:lnTo>
                      <a:pt x="91" y="149"/>
                    </a:lnTo>
                    <a:lnTo>
                      <a:pt x="91" y="149"/>
                    </a:lnTo>
                    <a:lnTo>
                      <a:pt x="91" y="149"/>
                    </a:lnTo>
                    <a:lnTo>
                      <a:pt x="95" y="153"/>
                    </a:lnTo>
                    <a:lnTo>
                      <a:pt x="91" y="153"/>
                    </a:lnTo>
                    <a:lnTo>
                      <a:pt x="91" y="153"/>
                    </a:lnTo>
                    <a:lnTo>
                      <a:pt x="91" y="158"/>
                    </a:lnTo>
                    <a:lnTo>
                      <a:pt x="95" y="158"/>
                    </a:lnTo>
                    <a:lnTo>
                      <a:pt x="91" y="158"/>
                    </a:lnTo>
                    <a:lnTo>
                      <a:pt x="91" y="158"/>
                    </a:lnTo>
                    <a:lnTo>
                      <a:pt x="95" y="167"/>
                    </a:lnTo>
                    <a:lnTo>
                      <a:pt x="95" y="167"/>
                    </a:lnTo>
                    <a:lnTo>
                      <a:pt x="95" y="167"/>
                    </a:lnTo>
                    <a:lnTo>
                      <a:pt x="95" y="171"/>
                    </a:lnTo>
                    <a:lnTo>
                      <a:pt x="95" y="176"/>
                    </a:lnTo>
                    <a:lnTo>
                      <a:pt x="95" y="176"/>
                    </a:lnTo>
                    <a:lnTo>
                      <a:pt x="100" y="181"/>
                    </a:lnTo>
                    <a:lnTo>
                      <a:pt x="100" y="181"/>
                    </a:lnTo>
                    <a:lnTo>
                      <a:pt x="100" y="181"/>
                    </a:lnTo>
                    <a:lnTo>
                      <a:pt x="104" y="185"/>
                    </a:lnTo>
                    <a:lnTo>
                      <a:pt x="104" y="185"/>
                    </a:lnTo>
                    <a:lnTo>
                      <a:pt x="104" y="185"/>
                    </a:lnTo>
                    <a:lnTo>
                      <a:pt x="100" y="185"/>
                    </a:lnTo>
                    <a:lnTo>
                      <a:pt x="100" y="190"/>
                    </a:lnTo>
                    <a:lnTo>
                      <a:pt x="100" y="190"/>
                    </a:lnTo>
                    <a:lnTo>
                      <a:pt x="100" y="190"/>
                    </a:lnTo>
                    <a:lnTo>
                      <a:pt x="100" y="190"/>
                    </a:lnTo>
                    <a:lnTo>
                      <a:pt x="95" y="190"/>
                    </a:lnTo>
                    <a:lnTo>
                      <a:pt x="95" y="190"/>
                    </a:lnTo>
                    <a:lnTo>
                      <a:pt x="95" y="194"/>
                    </a:lnTo>
                    <a:lnTo>
                      <a:pt x="100" y="194"/>
                    </a:lnTo>
                    <a:lnTo>
                      <a:pt x="100" y="199"/>
                    </a:lnTo>
                    <a:lnTo>
                      <a:pt x="100" y="199"/>
                    </a:lnTo>
                    <a:lnTo>
                      <a:pt x="100" y="203"/>
                    </a:lnTo>
                    <a:lnTo>
                      <a:pt x="100" y="203"/>
                    </a:lnTo>
                    <a:lnTo>
                      <a:pt x="100" y="203"/>
                    </a:lnTo>
                    <a:lnTo>
                      <a:pt x="100" y="208"/>
                    </a:lnTo>
                    <a:lnTo>
                      <a:pt x="95" y="208"/>
                    </a:lnTo>
                    <a:lnTo>
                      <a:pt x="95" y="208"/>
                    </a:lnTo>
                    <a:lnTo>
                      <a:pt x="95" y="212"/>
                    </a:lnTo>
                    <a:lnTo>
                      <a:pt x="95" y="212"/>
                    </a:lnTo>
                    <a:lnTo>
                      <a:pt x="91" y="212"/>
                    </a:lnTo>
                    <a:lnTo>
                      <a:pt x="91" y="212"/>
                    </a:lnTo>
                    <a:lnTo>
                      <a:pt x="91" y="212"/>
                    </a:lnTo>
                    <a:lnTo>
                      <a:pt x="91" y="217"/>
                    </a:lnTo>
                    <a:lnTo>
                      <a:pt x="86" y="217"/>
                    </a:lnTo>
                    <a:lnTo>
                      <a:pt x="86" y="217"/>
                    </a:lnTo>
                    <a:lnTo>
                      <a:pt x="91" y="221"/>
                    </a:lnTo>
                    <a:lnTo>
                      <a:pt x="91" y="221"/>
                    </a:lnTo>
                    <a:lnTo>
                      <a:pt x="91" y="226"/>
                    </a:lnTo>
                    <a:lnTo>
                      <a:pt x="91" y="226"/>
                    </a:lnTo>
                    <a:lnTo>
                      <a:pt x="86" y="230"/>
                    </a:lnTo>
                    <a:lnTo>
                      <a:pt x="86" y="230"/>
                    </a:lnTo>
                    <a:lnTo>
                      <a:pt x="86" y="230"/>
                    </a:lnTo>
                    <a:lnTo>
                      <a:pt x="86" y="226"/>
                    </a:lnTo>
                    <a:lnTo>
                      <a:pt x="86" y="226"/>
                    </a:lnTo>
                    <a:lnTo>
                      <a:pt x="82" y="226"/>
                    </a:lnTo>
                    <a:lnTo>
                      <a:pt x="82" y="226"/>
                    </a:lnTo>
                    <a:lnTo>
                      <a:pt x="82" y="226"/>
                    </a:lnTo>
                    <a:lnTo>
                      <a:pt x="77" y="226"/>
                    </a:lnTo>
                    <a:lnTo>
                      <a:pt x="77" y="226"/>
                    </a:lnTo>
                    <a:lnTo>
                      <a:pt x="77" y="226"/>
                    </a:lnTo>
                    <a:lnTo>
                      <a:pt x="77" y="221"/>
                    </a:lnTo>
                    <a:lnTo>
                      <a:pt x="73" y="221"/>
                    </a:lnTo>
                    <a:lnTo>
                      <a:pt x="73" y="221"/>
                    </a:lnTo>
                    <a:lnTo>
                      <a:pt x="73" y="217"/>
                    </a:lnTo>
                    <a:lnTo>
                      <a:pt x="73" y="217"/>
                    </a:lnTo>
                    <a:lnTo>
                      <a:pt x="73" y="212"/>
                    </a:lnTo>
                    <a:lnTo>
                      <a:pt x="73" y="217"/>
                    </a:lnTo>
                    <a:lnTo>
                      <a:pt x="73" y="217"/>
                    </a:lnTo>
                    <a:lnTo>
                      <a:pt x="73" y="217"/>
                    </a:lnTo>
                    <a:lnTo>
                      <a:pt x="73" y="217"/>
                    </a:lnTo>
                    <a:lnTo>
                      <a:pt x="73" y="221"/>
                    </a:lnTo>
                    <a:lnTo>
                      <a:pt x="73" y="221"/>
                    </a:lnTo>
                    <a:lnTo>
                      <a:pt x="73" y="221"/>
                    </a:lnTo>
                    <a:lnTo>
                      <a:pt x="73" y="221"/>
                    </a:lnTo>
                    <a:lnTo>
                      <a:pt x="68" y="226"/>
                    </a:lnTo>
                    <a:lnTo>
                      <a:pt x="68" y="226"/>
                    </a:lnTo>
                    <a:lnTo>
                      <a:pt x="68" y="226"/>
                    </a:lnTo>
                    <a:lnTo>
                      <a:pt x="68" y="226"/>
                    </a:lnTo>
                    <a:lnTo>
                      <a:pt x="64" y="230"/>
                    </a:lnTo>
                    <a:lnTo>
                      <a:pt x="64" y="230"/>
                    </a:lnTo>
                    <a:lnTo>
                      <a:pt x="64" y="226"/>
                    </a:lnTo>
                    <a:lnTo>
                      <a:pt x="59" y="226"/>
                    </a:lnTo>
                    <a:lnTo>
                      <a:pt x="59" y="226"/>
                    </a:lnTo>
                    <a:lnTo>
                      <a:pt x="59" y="226"/>
                    </a:lnTo>
                    <a:lnTo>
                      <a:pt x="64" y="226"/>
                    </a:lnTo>
                    <a:lnTo>
                      <a:pt x="59" y="230"/>
                    </a:lnTo>
                    <a:lnTo>
                      <a:pt x="59" y="230"/>
                    </a:lnTo>
                    <a:lnTo>
                      <a:pt x="59" y="230"/>
                    </a:lnTo>
                    <a:lnTo>
                      <a:pt x="55" y="230"/>
                    </a:lnTo>
                    <a:lnTo>
                      <a:pt x="59" y="230"/>
                    </a:lnTo>
                    <a:lnTo>
                      <a:pt x="55" y="230"/>
                    </a:lnTo>
                    <a:lnTo>
                      <a:pt x="55" y="230"/>
                    </a:lnTo>
                    <a:lnTo>
                      <a:pt x="55" y="235"/>
                    </a:lnTo>
                    <a:lnTo>
                      <a:pt x="55" y="235"/>
                    </a:lnTo>
                    <a:lnTo>
                      <a:pt x="50" y="235"/>
                    </a:lnTo>
                    <a:lnTo>
                      <a:pt x="46" y="239"/>
                    </a:lnTo>
                    <a:lnTo>
                      <a:pt x="41" y="244"/>
                    </a:lnTo>
                    <a:lnTo>
                      <a:pt x="41" y="244"/>
                    </a:lnTo>
                    <a:lnTo>
                      <a:pt x="41" y="244"/>
                    </a:lnTo>
                    <a:lnTo>
                      <a:pt x="37" y="244"/>
                    </a:lnTo>
                    <a:lnTo>
                      <a:pt x="32" y="244"/>
                    </a:lnTo>
                    <a:lnTo>
                      <a:pt x="28" y="244"/>
                    </a:lnTo>
                    <a:lnTo>
                      <a:pt x="23" y="244"/>
                    </a:lnTo>
                    <a:lnTo>
                      <a:pt x="23" y="244"/>
                    </a:lnTo>
                    <a:lnTo>
                      <a:pt x="23" y="244"/>
                    </a:lnTo>
                    <a:lnTo>
                      <a:pt x="23" y="244"/>
                    </a:lnTo>
                    <a:lnTo>
                      <a:pt x="23" y="244"/>
                    </a:lnTo>
                    <a:lnTo>
                      <a:pt x="23" y="244"/>
                    </a:lnTo>
                    <a:lnTo>
                      <a:pt x="23" y="244"/>
                    </a:lnTo>
                    <a:lnTo>
                      <a:pt x="23" y="244"/>
                    </a:lnTo>
                    <a:lnTo>
                      <a:pt x="23" y="244"/>
                    </a:lnTo>
                    <a:lnTo>
                      <a:pt x="23" y="244"/>
                    </a:lnTo>
                    <a:lnTo>
                      <a:pt x="18" y="244"/>
                    </a:lnTo>
                    <a:lnTo>
                      <a:pt x="18" y="244"/>
                    </a:lnTo>
                    <a:lnTo>
                      <a:pt x="18" y="244"/>
                    </a:lnTo>
                    <a:lnTo>
                      <a:pt x="23" y="244"/>
                    </a:lnTo>
                    <a:lnTo>
                      <a:pt x="18" y="244"/>
                    </a:lnTo>
                    <a:lnTo>
                      <a:pt x="18" y="239"/>
                    </a:lnTo>
                    <a:lnTo>
                      <a:pt x="18" y="239"/>
                    </a:lnTo>
                    <a:lnTo>
                      <a:pt x="18" y="239"/>
                    </a:lnTo>
                    <a:lnTo>
                      <a:pt x="18" y="239"/>
                    </a:lnTo>
                    <a:lnTo>
                      <a:pt x="14" y="239"/>
                    </a:lnTo>
                    <a:lnTo>
                      <a:pt x="9" y="239"/>
                    </a:lnTo>
                    <a:lnTo>
                      <a:pt x="9" y="235"/>
                    </a:lnTo>
                    <a:lnTo>
                      <a:pt x="5" y="235"/>
                    </a:lnTo>
                    <a:lnTo>
                      <a:pt x="5" y="235"/>
                    </a:lnTo>
                    <a:lnTo>
                      <a:pt x="5" y="230"/>
                    </a:lnTo>
                    <a:lnTo>
                      <a:pt x="5" y="226"/>
                    </a:lnTo>
                    <a:lnTo>
                      <a:pt x="5" y="226"/>
                    </a:lnTo>
                    <a:lnTo>
                      <a:pt x="9" y="230"/>
                    </a:lnTo>
                    <a:lnTo>
                      <a:pt x="14" y="230"/>
                    </a:lnTo>
                    <a:lnTo>
                      <a:pt x="14" y="230"/>
                    </a:lnTo>
                    <a:lnTo>
                      <a:pt x="14" y="230"/>
                    </a:lnTo>
                    <a:lnTo>
                      <a:pt x="18" y="226"/>
                    </a:lnTo>
                    <a:lnTo>
                      <a:pt x="18" y="226"/>
                    </a:lnTo>
                    <a:lnTo>
                      <a:pt x="14" y="230"/>
                    </a:lnTo>
                    <a:lnTo>
                      <a:pt x="14" y="226"/>
                    </a:lnTo>
                    <a:lnTo>
                      <a:pt x="9" y="226"/>
                    </a:lnTo>
                    <a:lnTo>
                      <a:pt x="9" y="226"/>
                    </a:lnTo>
                    <a:lnTo>
                      <a:pt x="9" y="226"/>
                    </a:lnTo>
                    <a:lnTo>
                      <a:pt x="9" y="226"/>
                    </a:lnTo>
                    <a:lnTo>
                      <a:pt x="9" y="221"/>
                    </a:lnTo>
                    <a:lnTo>
                      <a:pt x="9" y="221"/>
                    </a:lnTo>
                    <a:lnTo>
                      <a:pt x="14" y="221"/>
                    </a:lnTo>
                    <a:lnTo>
                      <a:pt x="14" y="221"/>
                    </a:lnTo>
                    <a:lnTo>
                      <a:pt x="18" y="217"/>
                    </a:lnTo>
                    <a:lnTo>
                      <a:pt x="18" y="217"/>
                    </a:lnTo>
                    <a:lnTo>
                      <a:pt x="18" y="217"/>
                    </a:lnTo>
                    <a:lnTo>
                      <a:pt x="14" y="217"/>
                    </a:lnTo>
                    <a:lnTo>
                      <a:pt x="14" y="217"/>
                    </a:lnTo>
                    <a:lnTo>
                      <a:pt x="14" y="221"/>
                    </a:lnTo>
                    <a:lnTo>
                      <a:pt x="9" y="221"/>
                    </a:lnTo>
                    <a:lnTo>
                      <a:pt x="9" y="221"/>
                    </a:lnTo>
                    <a:lnTo>
                      <a:pt x="9" y="221"/>
                    </a:lnTo>
                    <a:lnTo>
                      <a:pt x="5" y="221"/>
                    </a:lnTo>
                    <a:lnTo>
                      <a:pt x="5" y="226"/>
                    </a:lnTo>
                    <a:lnTo>
                      <a:pt x="5" y="226"/>
                    </a:lnTo>
                    <a:lnTo>
                      <a:pt x="0" y="226"/>
                    </a:lnTo>
                    <a:lnTo>
                      <a:pt x="0" y="221"/>
                    </a:lnTo>
                    <a:lnTo>
                      <a:pt x="0" y="217"/>
                    </a:lnTo>
                    <a:lnTo>
                      <a:pt x="0" y="217"/>
                    </a:lnTo>
                    <a:lnTo>
                      <a:pt x="5" y="217"/>
                    </a:lnTo>
                    <a:lnTo>
                      <a:pt x="5" y="217"/>
                    </a:lnTo>
                    <a:lnTo>
                      <a:pt x="5" y="212"/>
                    </a:lnTo>
                    <a:lnTo>
                      <a:pt x="5" y="212"/>
                    </a:lnTo>
                    <a:lnTo>
                      <a:pt x="5" y="217"/>
                    </a:lnTo>
                    <a:lnTo>
                      <a:pt x="9" y="217"/>
                    </a:lnTo>
                    <a:lnTo>
                      <a:pt x="9" y="212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9" y="212"/>
                    </a:lnTo>
                    <a:lnTo>
                      <a:pt x="9" y="212"/>
                    </a:lnTo>
                    <a:lnTo>
                      <a:pt x="9" y="212"/>
                    </a:lnTo>
                    <a:lnTo>
                      <a:pt x="9" y="212"/>
                    </a:lnTo>
                    <a:lnTo>
                      <a:pt x="14" y="208"/>
                    </a:lnTo>
                    <a:lnTo>
                      <a:pt x="14" y="208"/>
                    </a:lnTo>
                    <a:lnTo>
                      <a:pt x="14" y="208"/>
                    </a:lnTo>
                    <a:lnTo>
                      <a:pt x="14" y="208"/>
                    </a:lnTo>
                    <a:lnTo>
                      <a:pt x="14" y="203"/>
                    </a:lnTo>
                    <a:lnTo>
                      <a:pt x="18" y="203"/>
                    </a:lnTo>
                    <a:lnTo>
                      <a:pt x="18" y="203"/>
                    </a:lnTo>
                    <a:lnTo>
                      <a:pt x="18" y="203"/>
                    </a:lnTo>
                    <a:lnTo>
                      <a:pt x="18" y="203"/>
                    </a:lnTo>
                    <a:lnTo>
                      <a:pt x="18" y="208"/>
                    </a:lnTo>
                    <a:lnTo>
                      <a:pt x="23" y="203"/>
                    </a:lnTo>
                    <a:lnTo>
                      <a:pt x="23" y="199"/>
                    </a:lnTo>
                    <a:lnTo>
                      <a:pt x="23" y="199"/>
                    </a:lnTo>
                    <a:lnTo>
                      <a:pt x="28" y="199"/>
                    </a:lnTo>
                    <a:lnTo>
                      <a:pt x="28" y="199"/>
                    </a:lnTo>
                    <a:lnTo>
                      <a:pt x="23" y="199"/>
                    </a:lnTo>
                    <a:lnTo>
                      <a:pt x="18" y="199"/>
                    </a:lnTo>
                    <a:lnTo>
                      <a:pt x="14" y="203"/>
                    </a:lnTo>
                    <a:lnTo>
                      <a:pt x="14" y="203"/>
                    </a:lnTo>
                    <a:lnTo>
                      <a:pt x="14" y="203"/>
                    </a:lnTo>
                    <a:lnTo>
                      <a:pt x="9" y="208"/>
                    </a:lnTo>
                    <a:lnTo>
                      <a:pt x="9" y="208"/>
                    </a:lnTo>
                    <a:lnTo>
                      <a:pt x="9" y="208"/>
                    </a:lnTo>
                    <a:lnTo>
                      <a:pt x="9" y="208"/>
                    </a:lnTo>
                    <a:lnTo>
                      <a:pt x="5" y="212"/>
                    </a:lnTo>
                    <a:lnTo>
                      <a:pt x="5" y="212"/>
                    </a:lnTo>
                    <a:lnTo>
                      <a:pt x="5" y="212"/>
                    </a:lnTo>
                    <a:lnTo>
                      <a:pt x="0" y="212"/>
                    </a:lnTo>
                    <a:lnTo>
                      <a:pt x="0" y="217"/>
                    </a:lnTo>
                    <a:lnTo>
                      <a:pt x="0" y="217"/>
                    </a:lnTo>
                    <a:lnTo>
                      <a:pt x="0" y="217"/>
                    </a:lnTo>
                    <a:lnTo>
                      <a:pt x="0" y="217"/>
                    </a:lnTo>
                    <a:lnTo>
                      <a:pt x="0" y="212"/>
                    </a:lnTo>
                    <a:lnTo>
                      <a:pt x="0" y="212"/>
                    </a:lnTo>
                    <a:lnTo>
                      <a:pt x="0" y="212"/>
                    </a:lnTo>
                    <a:lnTo>
                      <a:pt x="0" y="208"/>
                    </a:lnTo>
                    <a:lnTo>
                      <a:pt x="0" y="208"/>
                    </a:lnTo>
                    <a:lnTo>
                      <a:pt x="0" y="208"/>
                    </a:lnTo>
                    <a:lnTo>
                      <a:pt x="5" y="208"/>
                    </a:lnTo>
                    <a:lnTo>
                      <a:pt x="5" y="208"/>
                    </a:lnTo>
                    <a:lnTo>
                      <a:pt x="5" y="208"/>
                    </a:lnTo>
                    <a:lnTo>
                      <a:pt x="9" y="208"/>
                    </a:lnTo>
                    <a:lnTo>
                      <a:pt x="9" y="208"/>
                    </a:lnTo>
                    <a:lnTo>
                      <a:pt x="5" y="208"/>
                    </a:lnTo>
                    <a:lnTo>
                      <a:pt x="5" y="208"/>
                    </a:lnTo>
                    <a:lnTo>
                      <a:pt x="5" y="203"/>
                    </a:lnTo>
                    <a:lnTo>
                      <a:pt x="0" y="203"/>
                    </a:lnTo>
                    <a:lnTo>
                      <a:pt x="0" y="199"/>
                    </a:lnTo>
                    <a:lnTo>
                      <a:pt x="0" y="199"/>
                    </a:lnTo>
                    <a:lnTo>
                      <a:pt x="5" y="199"/>
                    </a:lnTo>
                    <a:lnTo>
                      <a:pt x="9" y="194"/>
                    </a:lnTo>
                    <a:lnTo>
                      <a:pt x="9" y="194"/>
                    </a:lnTo>
                    <a:lnTo>
                      <a:pt x="5" y="199"/>
                    </a:lnTo>
                    <a:lnTo>
                      <a:pt x="5" y="199"/>
                    </a:lnTo>
                    <a:lnTo>
                      <a:pt x="0" y="199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90"/>
                    </a:lnTo>
                    <a:lnTo>
                      <a:pt x="0" y="190"/>
                    </a:lnTo>
                    <a:lnTo>
                      <a:pt x="0" y="190"/>
                    </a:lnTo>
                    <a:lnTo>
                      <a:pt x="0" y="190"/>
                    </a:lnTo>
                    <a:lnTo>
                      <a:pt x="5" y="190"/>
                    </a:lnTo>
                    <a:lnTo>
                      <a:pt x="5" y="190"/>
                    </a:lnTo>
                    <a:lnTo>
                      <a:pt x="14" y="190"/>
                    </a:lnTo>
                    <a:lnTo>
                      <a:pt x="18" y="190"/>
                    </a:lnTo>
                    <a:lnTo>
                      <a:pt x="18" y="190"/>
                    </a:lnTo>
                    <a:lnTo>
                      <a:pt x="23" y="190"/>
                    </a:lnTo>
                    <a:lnTo>
                      <a:pt x="23" y="185"/>
                    </a:lnTo>
                    <a:lnTo>
                      <a:pt x="23" y="190"/>
                    </a:lnTo>
                    <a:lnTo>
                      <a:pt x="28" y="190"/>
                    </a:lnTo>
                    <a:lnTo>
                      <a:pt x="28" y="190"/>
                    </a:lnTo>
                    <a:lnTo>
                      <a:pt x="28" y="190"/>
                    </a:lnTo>
                    <a:lnTo>
                      <a:pt x="28" y="190"/>
                    </a:lnTo>
                    <a:lnTo>
                      <a:pt x="28" y="190"/>
                    </a:lnTo>
                    <a:lnTo>
                      <a:pt x="28" y="190"/>
                    </a:lnTo>
                    <a:lnTo>
                      <a:pt x="32" y="185"/>
                    </a:lnTo>
                    <a:lnTo>
                      <a:pt x="32" y="185"/>
                    </a:lnTo>
                    <a:lnTo>
                      <a:pt x="32" y="185"/>
                    </a:lnTo>
                    <a:lnTo>
                      <a:pt x="32" y="185"/>
                    </a:lnTo>
                    <a:lnTo>
                      <a:pt x="32" y="181"/>
                    </a:lnTo>
                    <a:lnTo>
                      <a:pt x="32" y="181"/>
                    </a:lnTo>
                    <a:lnTo>
                      <a:pt x="32" y="185"/>
                    </a:lnTo>
                    <a:lnTo>
                      <a:pt x="32" y="185"/>
                    </a:lnTo>
                    <a:lnTo>
                      <a:pt x="32" y="185"/>
                    </a:lnTo>
                    <a:lnTo>
                      <a:pt x="32" y="185"/>
                    </a:lnTo>
                    <a:lnTo>
                      <a:pt x="28" y="185"/>
                    </a:lnTo>
                    <a:lnTo>
                      <a:pt x="28" y="185"/>
                    </a:lnTo>
                    <a:lnTo>
                      <a:pt x="23" y="185"/>
                    </a:lnTo>
                    <a:lnTo>
                      <a:pt x="23" y="185"/>
                    </a:lnTo>
                    <a:lnTo>
                      <a:pt x="23" y="185"/>
                    </a:lnTo>
                    <a:lnTo>
                      <a:pt x="23" y="185"/>
                    </a:lnTo>
                    <a:lnTo>
                      <a:pt x="23" y="185"/>
                    </a:lnTo>
                    <a:lnTo>
                      <a:pt x="18" y="185"/>
                    </a:lnTo>
                    <a:lnTo>
                      <a:pt x="18" y="185"/>
                    </a:lnTo>
                    <a:lnTo>
                      <a:pt x="18" y="190"/>
                    </a:lnTo>
                    <a:lnTo>
                      <a:pt x="14" y="185"/>
                    </a:lnTo>
                    <a:lnTo>
                      <a:pt x="9" y="185"/>
                    </a:lnTo>
                    <a:lnTo>
                      <a:pt x="5" y="190"/>
                    </a:lnTo>
                    <a:lnTo>
                      <a:pt x="5" y="190"/>
                    </a:lnTo>
                    <a:lnTo>
                      <a:pt x="0" y="185"/>
                    </a:lnTo>
                    <a:lnTo>
                      <a:pt x="0" y="185"/>
                    </a:lnTo>
                    <a:lnTo>
                      <a:pt x="0" y="181"/>
                    </a:lnTo>
                    <a:lnTo>
                      <a:pt x="0" y="181"/>
                    </a:lnTo>
                    <a:lnTo>
                      <a:pt x="5" y="181"/>
                    </a:lnTo>
                    <a:lnTo>
                      <a:pt x="5" y="181"/>
                    </a:lnTo>
                    <a:lnTo>
                      <a:pt x="5" y="181"/>
                    </a:lnTo>
                    <a:lnTo>
                      <a:pt x="5" y="181"/>
                    </a:lnTo>
                    <a:lnTo>
                      <a:pt x="5" y="181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1"/>
                    </a:lnTo>
                    <a:lnTo>
                      <a:pt x="0" y="171"/>
                    </a:lnTo>
                    <a:lnTo>
                      <a:pt x="0" y="171"/>
                    </a:lnTo>
                    <a:lnTo>
                      <a:pt x="5" y="171"/>
                    </a:lnTo>
                    <a:lnTo>
                      <a:pt x="9" y="176"/>
                    </a:lnTo>
                    <a:lnTo>
                      <a:pt x="14" y="176"/>
                    </a:lnTo>
                    <a:lnTo>
                      <a:pt x="18" y="176"/>
                    </a:lnTo>
                    <a:lnTo>
                      <a:pt x="23" y="171"/>
                    </a:lnTo>
                    <a:lnTo>
                      <a:pt x="23" y="171"/>
                    </a:lnTo>
                    <a:lnTo>
                      <a:pt x="18" y="176"/>
                    </a:lnTo>
                    <a:lnTo>
                      <a:pt x="14" y="176"/>
                    </a:lnTo>
                    <a:lnTo>
                      <a:pt x="9" y="171"/>
                    </a:lnTo>
                    <a:lnTo>
                      <a:pt x="5" y="171"/>
                    </a:lnTo>
                    <a:lnTo>
                      <a:pt x="5" y="171"/>
                    </a:lnTo>
                    <a:lnTo>
                      <a:pt x="5" y="171"/>
                    </a:lnTo>
                    <a:lnTo>
                      <a:pt x="0" y="171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9" y="167"/>
                    </a:lnTo>
                    <a:lnTo>
                      <a:pt x="9" y="167"/>
                    </a:lnTo>
                    <a:lnTo>
                      <a:pt x="9" y="162"/>
                    </a:lnTo>
                    <a:lnTo>
                      <a:pt x="9" y="162"/>
                    </a:lnTo>
                    <a:lnTo>
                      <a:pt x="14" y="162"/>
                    </a:lnTo>
                    <a:lnTo>
                      <a:pt x="14" y="162"/>
                    </a:lnTo>
                    <a:lnTo>
                      <a:pt x="14" y="162"/>
                    </a:lnTo>
                    <a:lnTo>
                      <a:pt x="14" y="162"/>
                    </a:lnTo>
                    <a:lnTo>
                      <a:pt x="18" y="162"/>
                    </a:lnTo>
                    <a:lnTo>
                      <a:pt x="23" y="162"/>
                    </a:lnTo>
                    <a:lnTo>
                      <a:pt x="23" y="162"/>
                    </a:lnTo>
                    <a:lnTo>
                      <a:pt x="23" y="162"/>
                    </a:lnTo>
                    <a:lnTo>
                      <a:pt x="18" y="162"/>
                    </a:lnTo>
                    <a:lnTo>
                      <a:pt x="18" y="162"/>
                    </a:lnTo>
                    <a:lnTo>
                      <a:pt x="14" y="162"/>
                    </a:lnTo>
                    <a:lnTo>
                      <a:pt x="14" y="162"/>
                    </a:lnTo>
                    <a:lnTo>
                      <a:pt x="18" y="162"/>
                    </a:lnTo>
                    <a:lnTo>
                      <a:pt x="18" y="162"/>
                    </a:lnTo>
                    <a:lnTo>
                      <a:pt x="18" y="158"/>
                    </a:lnTo>
                    <a:lnTo>
                      <a:pt x="18" y="158"/>
                    </a:lnTo>
                    <a:lnTo>
                      <a:pt x="18" y="158"/>
                    </a:lnTo>
                    <a:lnTo>
                      <a:pt x="23" y="158"/>
                    </a:lnTo>
                    <a:lnTo>
                      <a:pt x="23" y="158"/>
                    </a:lnTo>
                    <a:lnTo>
                      <a:pt x="28" y="158"/>
                    </a:lnTo>
                    <a:lnTo>
                      <a:pt x="32" y="158"/>
                    </a:lnTo>
                    <a:lnTo>
                      <a:pt x="32" y="162"/>
                    </a:lnTo>
                    <a:lnTo>
                      <a:pt x="37" y="162"/>
                    </a:lnTo>
                    <a:lnTo>
                      <a:pt x="37" y="162"/>
                    </a:lnTo>
                    <a:lnTo>
                      <a:pt x="37" y="158"/>
                    </a:lnTo>
                    <a:lnTo>
                      <a:pt x="32" y="158"/>
                    </a:lnTo>
                    <a:lnTo>
                      <a:pt x="32" y="158"/>
                    </a:lnTo>
                    <a:lnTo>
                      <a:pt x="32" y="158"/>
                    </a:lnTo>
                    <a:lnTo>
                      <a:pt x="37" y="158"/>
                    </a:lnTo>
                    <a:lnTo>
                      <a:pt x="41" y="158"/>
                    </a:lnTo>
                    <a:lnTo>
                      <a:pt x="41" y="158"/>
                    </a:lnTo>
                    <a:lnTo>
                      <a:pt x="32" y="158"/>
                    </a:lnTo>
                    <a:lnTo>
                      <a:pt x="32" y="158"/>
                    </a:lnTo>
                    <a:lnTo>
                      <a:pt x="28" y="158"/>
                    </a:lnTo>
                    <a:lnTo>
                      <a:pt x="28" y="158"/>
                    </a:lnTo>
                    <a:lnTo>
                      <a:pt x="23" y="158"/>
                    </a:lnTo>
                    <a:lnTo>
                      <a:pt x="23" y="158"/>
                    </a:lnTo>
                    <a:lnTo>
                      <a:pt x="23" y="158"/>
                    </a:lnTo>
                    <a:lnTo>
                      <a:pt x="28" y="153"/>
                    </a:lnTo>
                    <a:lnTo>
                      <a:pt x="28" y="153"/>
                    </a:lnTo>
                    <a:lnTo>
                      <a:pt x="28" y="153"/>
                    </a:lnTo>
                    <a:lnTo>
                      <a:pt x="32" y="153"/>
                    </a:lnTo>
                    <a:lnTo>
                      <a:pt x="37" y="149"/>
                    </a:lnTo>
                    <a:lnTo>
                      <a:pt x="37" y="149"/>
                    </a:lnTo>
                    <a:lnTo>
                      <a:pt x="37" y="149"/>
                    </a:lnTo>
                    <a:lnTo>
                      <a:pt x="37" y="149"/>
                    </a:lnTo>
                    <a:lnTo>
                      <a:pt x="41" y="149"/>
                    </a:lnTo>
                    <a:lnTo>
                      <a:pt x="41" y="153"/>
                    </a:lnTo>
                    <a:lnTo>
                      <a:pt x="46" y="153"/>
                    </a:lnTo>
                    <a:lnTo>
                      <a:pt x="50" y="153"/>
                    </a:lnTo>
                    <a:lnTo>
                      <a:pt x="46" y="153"/>
                    </a:lnTo>
                    <a:lnTo>
                      <a:pt x="46" y="153"/>
                    </a:lnTo>
                    <a:lnTo>
                      <a:pt x="41" y="149"/>
                    </a:lnTo>
                    <a:lnTo>
                      <a:pt x="41" y="149"/>
                    </a:lnTo>
                    <a:lnTo>
                      <a:pt x="41" y="149"/>
                    </a:lnTo>
                    <a:lnTo>
                      <a:pt x="46" y="149"/>
                    </a:lnTo>
                    <a:lnTo>
                      <a:pt x="46" y="144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46" y="144"/>
                    </a:lnTo>
                    <a:lnTo>
                      <a:pt x="46" y="144"/>
                    </a:lnTo>
                    <a:lnTo>
                      <a:pt x="46" y="144"/>
                    </a:lnTo>
                    <a:lnTo>
                      <a:pt x="46" y="144"/>
                    </a:lnTo>
                    <a:lnTo>
                      <a:pt x="46" y="144"/>
                    </a:lnTo>
                    <a:lnTo>
                      <a:pt x="46" y="140"/>
                    </a:lnTo>
                    <a:lnTo>
                      <a:pt x="50" y="140"/>
                    </a:lnTo>
                    <a:lnTo>
                      <a:pt x="50" y="140"/>
                    </a:lnTo>
                    <a:lnTo>
                      <a:pt x="55" y="140"/>
                    </a:lnTo>
                    <a:lnTo>
                      <a:pt x="55" y="140"/>
                    </a:lnTo>
                    <a:lnTo>
                      <a:pt x="55" y="144"/>
                    </a:lnTo>
                    <a:lnTo>
                      <a:pt x="55" y="144"/>
                    </a:lnTo>
                    <a:lnTo>
                      <a:pt x="55" y="144"/>
                    </a:lnTo>
                    <a:lnTo>
                      <a:pt x="59" y="140"/>
                    </a:lnTo>
                    <a:lnTo>
                      <a:pt x="59" y="140"/>
                    </a:lnTo>
                    <a:lnTo>
                      <a:pt x="59" y="140"/>
                    </a:lnTo>
                    <a:lnTo>
                      <a:pt x="64" y="140"/>
                    </a:lnTo>
                    <a:lnTo>
                      <a:pt x="64" y="144"/>
                    </a:lnTo>
                    <a:lnTo>
                      <a:pt x="64" y="144"/>
                    </a:lnTo>
                    <a:lnTo>
                      <a:pt x="64" y="144"/>
                    </a:lnTo>
                    <a:lnTo>
                      <a:pt x="64" y="144"/>
                    </a:lnTo>
                    <a:lnTo>
                      <a:pt x="64" y="144"/>
                    </a:lnTo>
                    <a:lnTo>
                      <a:pt x="68" y="144"/>
                    </a:lnTo>
                    <a:lnTo>
                      <a:pt x="68" y="144"/>
                    </a:lnTo>
                    <a:lnTo>
                      <a:pt x="68" y="144"/>
                    </a:lnTo>
                    <a:lnTo>
                      <a:pt x="73" y="144"/>
                    </a:lnTo>
                    <a:lnTo>
                      <a:pt x="73" y="144"/>
                    </a:lnTo>
                    <a:lnTo>
                      <a:pt x="77" y="144"/>
                    </a:lnTo>
                    <a:lnTo>
                      <a:pt x="73" y="144"/>
                    </a:lnTo>
                    <a:lnTo>
                      <a:pt x="73" y="140"/>
                    </a:lnTo>
                    <a:lnTo>
                      <a:pt x="73" y="140"/>
                    </a:lnTo>
                    <a:lnTo>
                      <a:pt x="77" y="140"/>
                    </a:lnTo>
                    <a:lnTo>
                      <a:pt x="77" y="140"/>
                    </a:lnTo>
                    <a:lnTo>
                      <a:pt x="82" y="140"/>
                    </a:lnTo>
                    <a:lnTo>
                      <a:pt x="82" y="140"/>
                    </a:lnTo>
                    <a:lnTo>
                      <a:pt x="82" y="135"/>
                    </a:lnTo>
                    <a:lnTo>
                      <a:pt x="82" y="135"/>
                    </a:lnTo>
                    <a:lnTo>
                      <a:pt x="82" y="135"/>
                    </a:lnTo>
                    <a:lnTo>
                      <a:pt x="82" y="135"/>
                    </a:lnTo>
                    <a:lnTo>
                      <a:pt x="82" y="135"/>
                    </a:lnTo>
                    <a:lnTo>
                      <a:pt x="82" y="135"/>
                    </a:lnTo>
                    <a:lnTo>
                      <a:pt x="86" y="135"/>
                    </a:lnTo>
                    <a:lnTo>
                      <a:pt x="82" y="135"/>
                    </a:lnTo>
                    <a:lnTo>
                      <a:pt x="82" y="131"/>
                    </a:lnTo>
                    <a:lnTo>
                      <a:pt x="82" y="135"/>
                    </a:lnTo>
                    <a:lnTo>
                      <a:pt x="77" y="135"/>
                    </a:lnTo>
                    <a:lnTo>
                      <a:pt x="77" y="135"/>
                    </a:lnTo>
                    <a:lnTo>
                      <a:pt x="77" y="135"/>
                    </a:lnTo>
                    <a:lnTo>
                      <a:pt x="77" y="135"/>
                    </a:lnTo>
                    <a:lnTo>
                      <a:pt x="77" y="140"/>
                    </a:lnTo>
                    <a:lnTo>
                      <a:pt x="68" y="140"/>
                    </a:lnTo>
                    <a:lnTo>
                      <a:pt x="68" y="144"/>
                    </a:lnTo>
                    <a:lnTo>
                      <a:pt x="64" y="144"/>
                    </a:lnTo>
                    <a:lnTo>
                      <a:pt x="64" y="140"/>
                    </a:lnTo>
                    <a:lnTo>
                      <a:pt x="64" y="140"/>
                    </a:lnTo>
                    <a:lnTo>
                      <a:pt x="64" y="140"/>
                    </a:lnTo>
                    <a:lnTo>
                      <a:pt x="59" y="140"/>
                    </a:lnTo>
                    <a:lnTo>
                      <a:pt x="59" y="140"/>
                    </a:lnTo>
                    <a:lnTo>
                      <a:pt x="59" y="140"/>
                    </a:lnTo>
                    <a:lnTo>
                      <a:pt x="59" y="135"/>
                    </a:lnTo>
                    <a:lnTo>
                      <a:pt x="64" y="135"/>
                    </a:lnTo>
                    <a:lnTo>
                      <a:pt x="64" y="135"/>
                    </a:lnTo>
                    <a:lnTo>
                      <a:pt x="64" y="135"/>
                    </a:lnTo>
                    <a:lnTo>
                      <a:pt x="64" y="131"/>
                    </a:lnTo>
                    <a:lnTo>
                      <a:pt x="68" y="131"/>
                    </a:lnTo>
                    <a:lnTo>
                      <a:pt x="73" y="126"/>
                    </a:lnTo>
                    <a:lnTo>
                      <a:pt x="77" y="126"/>
                    </a:lnTo>
                    <a:lnTo>
                      <a:pt x="77" y="122"/>
                    </a:lnTo>
                    <a:lnTo>
                      <a:pt x="77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6" y="122"/>
                    </a:lnTo>
                    <a:lnTo>
                      <a:pt x="86" y="117"/>
                    </a:lnTo>
                    <a:lnTo>
                      <a:pt x="86" y="117"/>
                    </a:lnTo>
                    <a:lnTo>
                      <a:pt x="82" y="117"/>
                    </a:lnTo>
                    <a:lnTo>
                      <a:pt x="82" y="117"/>
                    </a:lnTo>
                    <a:lnTo>
                      <a:pt x="82" y="117"/>
                    </a:lnTo>
                    <a:lnTo>
                      <a:pt x="82" y="117"/>
                    </a:lnTo>
                    <a:lnTo>
                      <a:pt x="86" y="117"/>
                    </a:lnTo>
                    <a:lnTo>
                      <a:pt x="91" y="113"/>
                    </a:lnTo>
                    <a:lnTo>
                      <a:pt x="95" y="113"/>
                    </a:lnTo>
                    <a:lnTo>
                      <a:pt x="95" y="113"/>
                    </a:lnTo>
                    <a:lnTo>
                      <a:pt x="95" y="113"/>
                    </a:lnTo>
                    <a:lnTo>
                      <a:pt x="100" y="113"/>
                    </a:lnTo>
                    <a:lnTo>
                      <a:pt x="100" y="108"/>
                    </a:lnTo>
                    <a:lnTo>
                      <a:pt x="100" y="108"/>
                    </a:lnTo>
                    <a:lnTo>
                      <a:pt x="100" y="108"/>
                    </a:lnTo>
                    <a:lnTo>
                      <a:pt x="95" y="113"/>
                    </a:lnTo>
                    <a:lnTo>
                      <a:pt x="95" y="113"/>
                    </a:lnTo>
                    <a:lnTo>
                      <a:pt x="95" y="113"/>
                    </a:lnTo>
                    <a:lnTo>
                      <a:pt x="95" y="108"/>
                    </a:lnTo>
                    <a:lnTo>
                      <a:pt x="95" y="108"/>
                    </a:lnTo>
                    <a:lnTo>
                      <a:pt x="91" y="108"/>
                    </a:lnTo>
                    <a:lnTo>
                      <a:pt x="91" y="108"/>
                    </a:lnTo>
                    <a:lnTo>
                      <a:pt x="91" y="108"/>
                    </a:lnTo>
                    <a:lnTo>
                      <a:pt x="91" y="104"/>
                    </a:lnTo>
                    <a:lnTo>
                      <a:pt x="95" y="104"/>
                    </a:lnTo>
                    <a:lnTo>
                      <a:pt x="95" y="104"/>
                    </a:lnTo>
                    <a:lnTo>
                      <a:pt x="100" y="99"/>
                    </a:lnTo>
                    <a:lnTo>
                      <a:pt x="100" y="99"/>
                    </a:lnTo>
                    <a:lnTo>
                      <a:pt x="100" y="99"/>
                    </a:lnTo>
                    <a:lnTo>
                      <a:pt x="104" y="99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0" y="95"/>
                    </a:lnTo>
                    <a:lnTo>
                      <a:pt x="100" y="95"/>
                    </a:lnTo>
                    <a:lnTo>
                      <a:pt x="109" y="95"/>
                    </a:lnTo>
                    <a:lnTo>
                      <a:pt x="109" y="95"/>
                    </a:lnTo>
                    <a:lnTo>
                      <a:pt x="113" y="90"/>
                    </a:lnTo>
                    <a:lnTo>
                      <a:pt x="113" y="90"/>
                    </a:lnTo>
                    <a:lnTo>
                      <a:pt x="113" y="90"/>
                    </a:lnTo>
                    <a:lnTo>
                      <a:pt x="113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4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1"/>
                    </a:lnTo>
                    <a:lnTo>
                      <a:pt x="109" y="81"/>
                    </a:lnTo>
                    <a:lnTo>
                      <a:pt x="109" y="81"/>
                    </a:lnTo>
                    <a:lnTo>
                      <a:pt x="109" y="81"/>
                    </a:lnTo>
                    <a:lnTo>
                      <a:pt x="113" y="81"/>
                    </a:lnTo>
                    <a:lnTo>
                      <a:pt x="113" y="81"/>
                    </a:lnTo>
                    <a:lnTo>
                      <a:pt x="113" y="81"/>
                    </a:lnTo>
                    <a:lnTo>
                      <a:pt x="109" y="81"/>
                    </a:lnTo>
                    <a:lnTo>
                      <a:pt x="109" y="81"/>
                    </a:lnTo>
                    <a:lnTo>
                      <a:pt x="109" y="77"/>
                    </a:lnTo>
                    <a:lnTo>
                      <a:pt x="113" y="77"/>
                    </a:lnTo>
                    <a:lnTo>
                      <a:pt x="113" y="77"/>
                    </a:lnTo>
                    <a:lnTo>
                      <a:pt x="113" y="77"/>
                    </a:lnTo>
                    <a:lnTo>
                      <a:pt x="113" y="77"/>
                    </a:lnTo>
                    <a:lnTo>
                      <a:pt x="118" y="77"/>
                    </a:lnTo>
                    <a:lnTo>
                      <a:pt x="118" y="72"/>
                    </a:lnTo>
                    <a:lnTo>
                      <a:pt x="118" y="77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31" y="72"/>
                    </a:lnTo>
                    <a:lnTo>
                      <a:pt x="131" y="72"/>
                    </a:lnTo>
                    <a:lnTo>
                      <a:pt x="131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7" y="68"/>
                    </a:lnTo>
                    <a:lnTo>
                      <a:pt x="127" y="68"/>
                    </a:lnTo>
                    <a:lnTo>
                      <a:pt x="127" y="68"/>
                    </a:lnTo>
                    <a:lnTo>
                      <a:pt x="131" y="68"/>
                    </a:lnTo>
                    <a:lnTo>
                      <a:pt x="131" y="68"/>
                    </a:lnTo>
                    <a:lnTo>
                      <a:pt x="131" y="72"/>
                    </a:lnTo>
                    <a:lnTo>
                      <a:pt x="131" y="72"/>
                    </a:lnTo>
                    <a:lnTo>
                      <a:pt x="131" y="68"/>
                    </a:lnTo>
                    <a:lnTo>
                      <a:pt x="136" y="68"/>
                    </a:lnTo>
                    <a:lnTo>
                      <a:pt x="131" y="68"/>
                    </a:lnTo>
                    <a:lnTo>
                      <a:pt x="131" y="68"/>
                    </a:lnTo>
                    <a:lnTo>
                      <a:pt x="131" y="68"/>
                    </a:lnTo>
                    <a:lnTo>
                      <a:pt x="127" y="68"/>
                    </a:lnTo>
                    <a:lnTo>
                      <a:pt x="127" y="63"/>
                    </a:lnTo>
                    <a:lnTo>
                      <a:pt x="127" y="63"/>
                    </a:lnTo>
                    <a:lnTo>
                      <a:pt x="131" y="63"/>
                    </a:lnTo>
                    <a:lnTo>
                      <a:pt x="127" y="63"/>
                    </a:lnTo>
                    <a:lnTo>
                      <a:pt x="127" y="63"/>
                    </a:lnTo>
                    <a:lnTo>
                      <a:pt x="122" y="63"/>
                    </a:lnTo>
                    <a:lnTo>
                      <a:pt x="122" y="63"/>
                    </a:lnTo>
                    <a:lnTo>
                      <a:pt x="122" y="63"/>
                    </a:lnTo>
                    <a:lnTo>
                      <a:pt x="122" y="63"/>
                    </a:lnTo>
                    <a:lnTo>
                      <a:pt x="127" y="58"/>
                    </a:lnTo>
                    <a:lnTo>
                      <a:pt x="127" y="58"/>
                    </a:lnTo>
                    <a:lnTo>
                      <a:pt x="127" y="58"/>
                    </a:lnTo>
                    <a:lnTo>
                      <a:pt x="131" y="58"/>
                    </a:lnTo>
                    <a:lnTo>
                      <a:pt x="131" y="58"/>
                    </a:lnTo>
                    <a:lnTo>
                      <a:pt x="131" y="58"/>
                    </a:lnTo>
                    <a:lnTo>
                      <a:pt x="131" y="58"/>
                    </a:lnTo>
                    <a:lnTo>
                      <a:pt x="131" y="58"/>
                    </a:lnTo>
                    <a:lnTo>
                      <a:pt x="127" y="58"/>
                    </a:lnTo>
                    <a:lnTo>
                      <a:pt x="127" y="58"/>
                    </a:lnTo>
                    <a:lnTo>
                      <a:pt x="131" y="58"/>
                    </a:lnTo>
                    <a:lnTo>
                      <a:pt x="131" y="54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40" y="58"/>
                    </a:lnTo>
                    <a:lnTo>
                      <a:pt x="140" y="58"/>
                    </a:lnTo>
                    <a:lnTo>
                      <a:pt x="140" y="58"/>
                    </a:lnTo>
                    <a:lnTo>
                      <a:pt x="140" y="58"/>
                    </a:lnTo>
                    <a:lnTo>
                      <a:pt x="140" y="58"/>
                    </a:lnTo>
                    <a:lnTo>
                      <a:pt x="140" y="58"/>
                    </a:lnTo>
                    <a:lnTo>
                      <a:pt x="140" y="58"/>
                    </a:lnTo>
                    <a:lnTo>
                      <a:pt x="140" y="58"/>
                    </a:lnTo>
                    <a:lnTo>
                      <a:pt x="140" y="54"/>
                    </a:lnTo>
                    <a:lnTo>
                      <a:pt x="140" y="54"/>
                    </a:lnTo>
                    <a:lnTo>
                      <a:pt x="140" y="54"/>
                    </a:lnTo>
                    <a:lnTo>
                      <a:pt x="140" y="49"/>
                    </a:lnTo>
                    <a:lnTo>
                      <a:pt x="145" y="49"/>
                    </a:lnTo>
                    <a:lnTo>
                      <a:pt x="145" y="49"/>
                    </a:lnTo>
                    <a:lnTo>
                      <a:pt x="149" y="49"/>
                    </a:lnTo>
                    <a:lnTo>
                      <a:pt x="149" y="49"/>
                    </a:lnTo>
                    <a:lnTo>
                      <a:pt x="154" y="49"/>
                    </a:lnTo>
                    <a:lnTo>
                      <a:pt x="154" y="49"/>
                    </a:lnTo>
                    <a:lnTo>
                      <a:pt x="154" y="49"/>
                    </a:lnTo>
                    <a:lnTo>
                      <a:pt x="154" y="49"/>
                    </a:lnTo>
                    <a:lnTo>
                      <a:pt x="154" y="49"/>
                    </a:lnTo>
                    <a:lnTo>
                      <a:pt x="154" y="49"/>
                    </a:lnTo>
                    <a:lnTo>
                      <a:pt x="154" y="49"/>
                    </a:lnTo>
                    <a:lnTo>
                      <a:pt x="149" y="49"/>
                    </a:lnTo>
                    <a:lnTo>
                      <a:pt x="145" y="49"/>
                    </a:lnTo>
                    <a:lnTo>
                      <a:pt x="145" y="49"/>
                    </a:lnTo>
                    <a:lnTo>
                      <a:pt x="140" y="49"/>
                    </a:lnTo>
                    <a:lnTo>
                      <a:pt x="145" y="49"/>
                    </a:lnTo>
                    <a:lnTo>
                      <a:pt x="145" y="45"/>
                    </a:lnTo>
                    <a:lnTo>
                      <a:pt x="145" y="45"/>
                    </a:lnTo>
                    <a:lnTo>
                      <a:pt x="149" y="45"/>
                    </a:lnTo>
                    <a:lnTo>
                      <a:pt x="154" y="45"/>
                    </a:lnTo>
                    <a:lnTo>
                      <a:pt x="154" y="40"/>
                    </a:lnTo>
                    <a:lnTo>
                      <a:pt x="154" y="40"/>
                    </a:lnTo>
                    <a:lnTo>
                      <a:pt x="154" y="36"/>
                    </a:lnTo>
                    <a:lnTo>
                      <a:pt x="159" y="36"/>
                    </a:lnTo>
                    <a:lnTo>
                      <a:pt x="159" y="36"/>
                    </a:lnTo>
                    <a:lnTo>
                      <a:pt x="159" y="36"/>
                    </a:lnTo>
                    <a:lnTo>
                      <a:pt x="159" y="31"/>
                    </a:lnTo>
                    <a:lnTo>
                      <a:pt x="163" y="31"/>
                    </a:lnTo>
                    <a:lnTo>
                      <a:pt x="163" y="31"/>
                    </a:lnTo>
                    <a:lnTo>
                      <a:pt x="163" y="31"/>
                    </a:lnTo>
                    <a:lnTo>
                      <a:pt x="163" y="31"/>
                    </a:lnTo>
                    <a:lnTo>
                      <a:pt x="163" y="31"/>
                    </a:lnTo>
                    <a:lnTo>
                      <a:pt x="168" y="31"/>
                    </a:lnTo>
                    <a:lnTo>
                      <a:pt x="168" y="31"/>
                    </a:lnTo>
                    <a:lnTo>
                      <a:pt x="168" y="31"/>
                    </a:lnTo>
                    <a:lnTo>
                      <a:pt x="168" y="31"/>
                    </a:lnTo>
                    <a:lnTo>
                      <a:pt x="168" y="31"/>
                    </a:lnTo>
                    <a:lnTo>
                      <a:pt x="168" y="31"/>
                    </a:lnTo>
                    <a:lnTo>
                      <a:pt x="168" y="31"/>
                    </a:lnTo>
                    <a:lnTo>
                      <a:pt x="168" y="31"/>
                    </a:lnTo>
                    <a:lnTo>
                      <a:pt x="168" y="31"/>
                    </a:lnTo>
                    <a:lnTo>
                      <a:pt x="172" y="27"/>
                    </a:lnTo>
                    <a:lnTo>
                      <a:pt x="172" y="27"/>
                    </a:lnTo>
                    <a:lnTo>
                      <a:pt x="172" y="27"/>
                    </a:lnTo>
                    <a:lnTo>
                      <a:pt x="172" y="27"/>
                    </a:lnTo>
                    <a:lnTo>
                      <a:pt x="172" y="27"/>
                    </a:lnTo>
                    <a:lnTo>
                      <a:pt x="177" y="22"/>
                    </a:lnTo>
                    <a:lnTo>
                      <a:pt x="177" y="27"/>
                    </a:lnTo>
                    <a:lnTo>
                      <a:pt x="177" y="27"/>
                    </a:lnTo>
                    <a:lnTo>
                      <a:pt x="177" y="31"/>
                    </a:lnTo>
                    <a:lnTo>
                      <a:pt x="177" y="31"/>
                    </a:lnTo>
                    <a:lnTo>
                      <a:pt x="181" y="31"/>
                    </a:lnTo>
                    <a:lnTo>
                      <a:pt x="181" y="27"/>
                    </a:lnTo>
                    <a:lnTo>
                      <a:pt x="181" y="22"/>
                    </a:lnTo>
                    <a:lnTo>
                      <a:pt x="181" y="22"/>
                    </a:lnTo>
                    <a:lnTo>
                      <a:pt x="181" y="22"/>
                    </a:lnTo>
                    <a:lnTo>
                      <a:pt x="186" y="22"/>
                    </a:lnTo>
                    <a:lnTo>
                      <a:pt x="186" y="22"/>
                    </a:lnTo>
                    <a:lnTo>
                      <a:pt x="186" y="22"/>
                    </a:lnTo>
                    <a:lnTo>
                      <a:pt x="186" y="22"/>
                    </a:lnTo>
                    <a:lnTo>
                      <a:pt x="186" y="27"/>
                    </a:lnTo>
                    <a:lnTo>
                      <a:pt x="186" y="27"/>
                    </a:lnTo>
                    <a:lnTo>
                      <a:pt x="186" y="31"/>
                    </a:lnTo>
                    <a:lnTo>
                      <a:pt x="181" y="31"/>
                    </a:lnTo>
                    <a:lnTo>
                      <a:pt x="181" y="31"/>
                    </a:lnTo>
                    <a:lnTo>
                      <a:pt x="186" y="31"/>
                    </a:lnTo>
                    <a:lnTo>
                      <a:pt x="186" y="31"/>
                    </a:lnTo>
                    <a:lnTo>
                      <a:pt x="186" y="27"/>
                    </a:lnTo>
                    <a:lnTo>
                      <a:pt x="190" y="31"/>
                    </a:lnTo>
                    <a:lnTo>
                      <a:pt x="190" y="31"/>
                    </a:lnTo>
                    <a:lnTo>
                      <a:pt x="190" y="27"/>
                    </a:lnTo>
                    <a:lnTo>
                      <a:pt x="190" y="27"/>
                    </a:lnTo>
                    <a:lnTo>
                      <a:pt x="186" y="27"/>
                    </a:lnTo>
                    <a:lnTo>
                      <a:pt x="186" y="22"/>
                    </a:lnTo>
                    <a:lnTo>
                      <a:pt x="190" y="22"/>
                    </a:lnTo>
                    <a:lnTo>
                      <a:pt x="190" y="22"/>
                    </a:lnTo>
                    <a:lnTo>
                      <a:pt x="195" y="22"/>
                    </a:lnTo>
                    <a:lnTo>
                      <a:pt x="195" y="22"/>
                    </a:lnTo>
                    <a:lnTo>
                      <a:pt x="195" y="22"/>
                    </a:lnTo>
                    <a:lnTo>
                      <a:pt x="195" y="22"/>
                    </a:lnTo>
                    <a:lnTo>
                      <a:pt x="199" y="22"/>
                    </a:lnTo>
                    <a:lnTo>
                      <a:pt x="199" y="22"/>
                    </a:lnTo>
                    <a:lnTo>
                      <a:pt x="204" y="22"/>
                    </a:lnTo>
                    <a:lnTo>
                      <a:pt x="204" y="22"/>
                    </a:lnTo>
                    <a:lnTo>
                      <a:pt x="204" y="22"/>
                    </a:lnTo>
                    <a:lnTo>
                      <a:pt x="204" y="22"/>
                    </a:lnTo>
                    <a:lnTo>
                      <a:pt x="204" y="18"/>
                    </a:lnTo>
                    <a:lnTo>
                      <a:pt x="199" y="18"/>
                    </a:lnTo>
                    <a:lnTo>
                      <a:pt x="195" y="18"/>
                    </a:lnTo>
                    <a:lnTo>
                      <a:pt x="195" y="18"/>
                    </a:lnTo>
                    <a:lnTo>
                      <a:pt x="195" y="18"/>
                    </a:lnTo>
                    <a:lnTo>
                      <a:pt x="199" y="18"/>
                    </a:lnTo>
                    <a:lnTo>
                      <a:pt x="199" y="18"/>
                    </a:lnTo>
                    <a:lnTo>
                      <a:pt x="204" y="13"/>
                    </a:lnTo>
                    <a:lnTo>
                      <a:pt x="204" y="13"/>
                    </a:lnTo>
                    <a:lnTo>
                      <a:pt x="204" y="13"/>
                    </a:lnTo>
                    <a:lnTo>
                      <a:pt x="208" y="13"/>
                    </a:lnTo>
                    <a:lnTo>
                      <a:pt x="208" y="13"/>
                    </a:lnTo>
                    <a:lnTo>
                      <a:pt x="208" y="13"/>
                    </a:lnTo>
                    <a:lnTo>
                      <a:pt x="213" y="13"/>
                    </a:lnTo>
                    <a:lnTo>
                      <a:pt x="213" y="13"/>
                    </a:lnTo>
                    <a:lnTo>
                      <a:pt x="213" y="13"/>
                    </a:lnTo>
                    <a:lnTo>
                      <a:pt x="213" y="18"/>
                    </a:lnTo>
                    <a:lnTo>
                      <a:pt x="217" y="18"/>
                    </a:lnTo>
                    <a:lnTo>
                      <a:pt x="217" y="18"/>
                    </a:lnTo>
                    <a:lnTo>
                      <a:pt x="217" y="22"/>
                    </a:lnTo>
                    <a:lnTo>
                      <a:pt x="222" y="22"/>
                    </a:lnTo>
                    <a:lnTo>
                      <a:pt x="222" y="18"/>
                    </a:lnTo>
                    <a:lnTo>
                      <a:pt x="217" y="18"/>
                    </a:lnTo>
                    <a:lnTo>
                      <a:pt x="217" y="18"/>
                    </a:lnTo>
                    <a:lnTo>
                      <a:pt x="217" y="18"/>
                    </a:lnTo>
                    <a:lnTo>
                      <a:pt x="217" y="18"/>
                    </a:lnTo>
                    <a:lnTo>
                      <a:pt x="222" y="13"/>
                    </a:lnTo>
                    <a:lnTo>
                      <a:pt x="226" y="13"/>
                    </a:lnTo>
                    <a:lnTo>
                      <a:pt x="226" y="13"/>
                    </a:lnTo>
                    <a:lnTo>
                      <a:pt x="231" y="9"/>
                    </a:lnTo>
                    <a:lnTo>
                      <a:pt x="231" y="9"/>
                    </a:lnTo>
                    <a:lnTo>
                      <a:pt x="231" y="9"/>
                    </a:lnTo>
                    <a:lnTo>
                      <a:pt x="231" y="4"/>
                    </a:lnTo>
                    <a:lnTo>
                      <a:pt x="226" y="4"/>
                    </a:lnTo>
                    <a:lnTo>
                      <a:pt x="226" y="4"/>
                    </a:lnTo>
                    <a:lnTo>
                      <a:pt x="231" y="4"/>
                    </a:lnTo>
                    <a:lnTo>
                      <a:pt x="231" y="0"/>
                    </a:lnTo>
                    <a:lnTo>
                      <a:pt x="235" y="0"/>
                    </a:lnTo>
                    <a:lnTo>
                      <a:pt x="235" y="0"/>
                    </a:lnTo>
                    <a:lnTo>
                      <a:pt x="235" y="4"/>
                    </a:lnTo>
                    <a:lnTo>
                      <a:pt x="240" y="4"/>
                    </a:lnTo>
                    <a:lnTo>
                      <a:pt x="240" y="4"/>
                    </a:lnTo>
                    <a:lnTo>
                      <a:pt x="240" y="4"/>
                    </a:lnTo>
                    <a:lnTo>
                      <a:pt x="240" y="4"/>
                    </a:lnTo>
                    <a:lnTo>
                      <a:pt x="240" y="4"/>
                    </a:lnTo>
                    <a:lnTo>
                      <a:pt x="244" y="4"/>
                    </a:lnTo>
                    <a:lnTo>
                      <a:pt x="244" y="4"/>
                    </a:lnTo>
                    <a:lnTo>
                      <a:pt x="244" y="4"/>
                    </a:lnTo>
                    <a:lnTo>
                      <a:pt x="244" y="4"/>
                    </a:lnTo>
                    <a:lnTo>
                      <a:pt x="244" y="4"/>
                    </a:lnTo>
                    <a:lnTo>
                      <a:pt x="244" y="4"/>
                    </a:lnTo>
                    <a:lnTo>
                      <a:pt x="244" y="9"/>
                    </a:lnTo>
                    <a:lnTo>
                      <a:pt x="240" y="9"/>
                    </a:lnTo>
                    <a:lnTo>
                      <a:pt x="240" y="9"/>
                    </a:lnTo>
                    <a:lnTo>
                      <a:pt x="240" y="13"/>
                    </a:lnTo>
                    <a:lnTo>
                      <a:pt x="240" y="18"/>
                    </a:lnTo>
                    <a:lnTo>
                      <a:pt x="240" y="18"/>
                    </a:lnTo>
                    <a:lnTo>
                      <a:pt x="240" y="18"/>
                    </a:lnTo>
                    <a:lnTo>
                      <a:pt x="240" y="18"/>
                    </a:lnTo>
                    <a:lnTo>
                      <a:pt x="244" y="18"/>
                    </a:lnTo>
                    <a:lnTo>
                      <a:pt x="244" y="13"/>
                    </a:lnTo>
                    <a:lnTo>
                      <a:pt x="249" y="9"/>
                    </a:lnTo>
                    <a:lnTo>
                      <a:pt x="249" y="4"/>
                    </a:lnTo>
                    <a:lnTo>
                      <a:pt x="253" y="4"/>
                    </a:lnTo>
                    <a:lnTo>
                      <a:pt x="253" y="4"/>
                    </a:lnTo>
                    <a:lnTo>
                      <a:pt x="258" y="4"/>
                    </a:lnTo>
                    <a:lnTo>
                      <a:pt x="258" y="4"/>
                    </a:lnTo>
                    <a:lnTo>
                      <a:pt x="253" y="9"/>
                    </a:lnTo>
                    <a:lnTo>
                      <a:pt x="253" y="9"/>
                    </a:lnTo>
                    <a:lnTo>
                      <a:pt x="258" y="9"/>
                    </a:lnTo>
                    <a:lnTo>
                      <a:pt x="253" y="9"/>
                    </a:lnTo>
                    <a:lnTo>
                      <a:pt x="253" y="13"/>
                    </a:lnTo>
                    <a:lnTo>
                      <a:pt x="258" y="13"/>
                    </a:lnTo>
                    <a:lnTo>
                      <a:pt x="258" y="13"/>
                    </a:lnTo>
                    <a:lnTo>
                      <a:pt x="258" y="9"/>
                    </a:lnTo>
                    <a:lnTo>
                      <a:pt x="262" y="9"/>
                    </a:lnTo>
                    <a:lnTo>
                      <a:pt x="262" y="9"/>
                    </a:lnTo>
                    <a:lnTo>
                      <a:pt x="262" y="4"/>
                    </a:lnTo>
                    <a:lnTo>
                      <a:pt x="262" y="4"/>
                    </a:lnTo>
                    <a:lnTo>
                      <a:pt x="267" y="4"/>
                    </a:lnTo>
                    <a:lnTo>
                      <a:pt x="267" y="4"/>
                    </a:lnTo>
                    <a:lnTo>
                      <a:pt x="262" y="4"/>
                    </a:lnTo>
                    <a:lnTo>
                      <a:pt x="262" y="0"/>
                    </a:lnTo>
                    <a:lnTo>
                      <a:pt x="262" y="0"/>
                    </a:lnTo>
                    <a:lnTo>
                      <a:pt x="267" y="0"/>
                    </a:lnTo>
                    <a:lnTo>
                      <a:pt x="267" y="0"/>
                    </a:lnTo>
                    <a:lnTo>
                      <a:pt x="267" y="0"/>
                    </a:lnTo>
                    <a:lnTo>
                      <a:pt x="271" y="0"/>
                    </a:lnTo>
                    <a:lnTo>
                      <a:pt x="276" y="0"/>
                    </a:lnTo>
                    <a:lnTo>
                      <a:pt x="276" y="4"/>
                    </a:lnTo>
                    <a:lnTo>
                      <a:pt x="276" y="4"/>
                    </a:lnTo>
                    <a:lnTo>
                      <a:pt x="271" y="4"/>
                    </a:lnTo>
                    <a:lnTo>
                      <a:pt x="271" y="4"/>
                    </a:lnTo>
                    <a:lnTo>
                      <a:pt x="271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02" name="Freeform 123"/>
              <p:cNvSpPr>
                <a:spLocks/>
              </p:cNvSpPr>
              <p:nvPr/>
            </p:nvSpPr>
            <p:spPr bwMode="auto">
              <a:xfrm>
                <a:off x="6378576" y="2012951"/>
                <a:ext cx="230188" cy="122238"/>
              </a:xfrm>
              <a:custGeom>
                <a:avLst/>
                <a:gdLst>
                  <a:gd name="T0" fmla="*/ 41 w 145"/>
                  <a:gd name="T1" fmla="*/ 13 h 77"/>
                  <a:gd name="T2" fmla="*/ 50 w 145"/>
                  <a:gd name="T3" fmla="*/ 18 h 77"/>
                  <a:gd name="T4" fmla="*/ 59 w 145"/>
                  <a:gd name="T5" fmla="*/ 22 h 77"/>
                  <a:gd name="T6" fmla="*/ 68 w 145"/>
                  <a:gd name="T7" fmla="*/ 22 h 77"/>
                  <a:gd name="T8" fmla="*/ 72 w 145"/>
                  <a:gd name="T9" fmla="*/ 31 h 77"/>
                  <a:gd name="T10" fmla="*/ 81 w 145"/>
                  <a:gd name="T11" fmla="*/ 36 h 77"/>
                  <a:gd name="T12" fmla="*/ 81 w 145"/>
                  <a:gd name="T13" fmla="*/ 36 h 77"/>
                  <a:gd name="T14" fmla="*/ 86 w 145"/>
                  <a:gd name="T15" fmla="*/ 36 h 77"/>
                  <a:gd name="T16" fmla="*/ 91 w 145"/>
                  <a:gd name="T17" fmla="*/ 40 h 77"/>
                  <a:gd name="T18" fmla="*/ 100 w 145"/>
                  <a:gd name="T19" fmla="*/ 40 h 77"/>
                  <a:gd name="T20" fmla="*/ 104 w 145"/>
                  <a:gd name="T21" fmla="*/ 45 h 77"/>
                  <a:gd name="T22" fmla="*/ 109 w 145"/>
                  <a:gd name="T23" fmla="*/ 45 h 77"/>
                  <a:gd name="T24" fmla="*/ 113 w 145"/>
                  <a:gd name="T25" fmla="*/ 45 h 77"/>
                  <a:gd name="T26" fmla="*/ 118 w 145"/>
                  <a:gd name="T27" fmla="*/ 45 h 77"/>
                  <a:gd name="T28" fmla="*/ 122 w 145"/>
                  <a:gd name="T29" fmla="*/ 45 h 77"/>
                  <a:gd name="T30" fmla="*/ 131 w 145"/>
                  <a:gd name="T31" fmla="*/ 49 h 77"/>
                  <a:gd name="T32" fmla="*/ 136 w 145"/>
                  <a:gd name="T33" fmla="*/ 45 h 77"/>
                  <a:gd name="T34" fmla="*/ 140 w 145"/>
                  <a:gd name="T35" fmla="*/ 45 h 77"/>
                  <a:gd name="T36" fmla="*/ 140 w 145"/>
                  <a:gd name="T37" fmla="*/ 54 h 77"/>
                  <a:gd name="T38" fmla="*/ 145 w 145"/>
                  <a:gd name="T39" fmla="*/ 63 h 77"/>
                  <a:gd name="T40" fmla="*/ 145 w 145"/>
                  <a:gd name="T41" fmla="*/ 77 h 77"/>
                  <a:gd name="T42" fmla="*/ 140 w 145"/>
                  <a:gd name="T43" fmla="*/ 77 h 77"/>
                  <a:gd name="T44" fmla="*/ 136 w 145"/>
                  <a:gd name="T45" fmla="*/ 77 h 77"/>
                  <a:gd name="T46" fmla="*/ 127 w 145"/>
                  <a:gd name="T47" fmla="*/ 72 h 77"/>
                  <a:gd name="T48" fmla="*/ 118 w 145"/>
                  <a:gd name="T49" fmla="*/ 72 h 77"/>
                  <a:gd name="T50" fmla="*/ 113 w 145"/>
                  <a:gd name="T51" fmla="*/ 72 h 77"/>
                  <a:gd name="T52" fmla="*/ 104 w 145"/>
                  <a:gd name="T53" fmla="*/ 72 h 77"/>
                  <a:gd name="T54" fmla="*/ 100 w 145"/>
                  <a:gd name="T55" fmla="*/ 68 h 77"/>
                  <a:gd name="T56" fmla="*/ 95 w 145"/>
                  <a:gd name="T57" fmla="*/ 68 h 77"/>
                  <a:gd name="T58" fmla="*/ 95 w 145"/>
                  <a:gd name="T59" fmla="*/ 68 h 77"/>
                  <a:gd name="T60" fmla="*/ 86 w 145"/>
                  <a:gd name="T61" fmla="*/ 63 h 77"/>
                  <a:gd name="T62" fmla="*/ 77 w 145"/>
                  <a:gd name="T63" fmla="*/ 58 h 77"/>
                  <a:gd name="T64" fmla="*/ 72 w 145"/>
                  <a:gd name="T65" fmla="*/ 58 h 77"/>
                  <a:gd name="T66" fmla="*/ 63 w 145"/>
                  <a:gd name="T67" fmla="*/ 58 h 77"/>
                  <a:gd name="T68" fmla="*/ 59 w 145"/>
                  <a:gd name="T69" fmla="*/ 58 h 77"/>
                  <a:gd name="T70" fmla="*/ 50 w 145"/>
                  <a:gd name="T71" fmla="*/ 54 h 77"/>
                  <a:gd name="T72" fmla="*/ 41 w 145"/>
                  <a:gd name="T73" fmla="*/ 49 h 77"/>
                  <a:gd name="T74" fmla="*/ 36 w 145"/>
                  <a:gd name="T75" fmla="*/ 49 h 77"/>
                  <a:gd name="T76" fmla="*/ 32 w 145"/>
                  <a:gd name="T77" fmla="*/ 45 h 77"/>
                  <a:gd name="T78" fmla="*/ 23 w 145"/>
                  <a:gd name="T79" fmla="*/ 40 h 77"/>
                  <a:gd name="T80" fmla="*/ 14 w 145"/>
                  <a:gd name="T81" fmla="*/ 36 h 77"/>
                  <a:gd name="T82" fmla="*/ 9 w 145"/>
                  <a:gd name="T83" fmla="*/ 36 h 77"/>
                  <a:gd name="T84" fmla="*/ 5 w 145"/>
                  <a:gd name="T85" fmla="*/ 36 h 77"/>
                  <a:gd name="T86" fmla="*/ 0 w 145"/>
                  <a:gd name="T87" fmla="*/ 27 h 77"/>
                  <a:gd name="T88" fmla="*/ 5 w 145"/>
                  <a:gd name="T89" fmla="*/ 22 h 77"/>
                  <a:gd name="T90" fmla="*/ 5 w 145"/>
                  <a:gd name="T91" fmla="*/ 13 h 77"/>
                  <a:gd name="T92" fmla="*/ 9 w 145"/>
                  <a:gd name="T93" fmla="*/ 4 h 77"/>
                  <a:gd name="T94" fmla="*/ 14 w 145"/>
                  <a:gd name="T95" fmla="*/ 9 h 77"/>
                  <a:gd name="T96" fmla="*/ 18 w 145"/>
                  <a:gd name="T97" fmla="*/ 4 h 77"/>
                  <a:gd name="T98" fmla="*/ 27 w 145"/>
                  <a:gd name="T99" fmla="*/ 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45" h="77">
                    <a:moveTo>
                      <a:pt x="32" y="9"/>
                    </a:moveTo>
                    <a:lnTo>
                      <a:pt x="32" y="9"/>
                    </a:lnTo>
                    <a:lnTo>
                      <a:pt x="36" y="9"/>
                    </a:lnTo>
                    <a:lnTo>
                      <a:pt x="41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50" y="13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9" y="22"/>
                    </a:lnTo>
                    <a:lnTo>
                      <a:pt x="59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7"/>
                    </a:lnTo>
                    <a:lnTo>
                      <a:pt x="72" y="27"/>
                    </a:lnTo>
                    <a:lnTo>
                      <a:pt x="72" y="31"/>
                    </a:lnTo>
                    <a:lnTo>
                      <a:pt x="72" y="31"/>
                    </a:lnTo>
                    <a:lnTo>
                      <a:pt x="77" y="31"/>
                    </a:lnTo>
                    <a:lnTo>
                      <a:pt x="77" y="31"/>
                    </a:lnTo>
                    <a:lnTo>
                      <a:pt x="81" y="36"/>
                    </a:lnTo>
                    <a:lnTo>
                      <a:pt x="81" y="36"/>
                    </a:lnTo>
                    <a:lnTo>
                      <a:pt x="81" y="36"/>
                    </a:lnTo>
                    <a:lnTo>
                      <a:pt x="81" y="36"/>
                    </a:lnTo>
                    <a:lnTo>
                      <a:pt x="81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40"/>
                    </a:lnTo>
                    <a:lnTo>
                      <a:pt x="91" y="40"/>
                    </a:lnTo>
                    <a:lnTo>
                      <a:pt x="91" y="40"/>
                    </a:lnTo>
                    <a:lnTo>
                      <a:pt x="95" y="40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13" y="45"/>
                    </a:lnTo>
                    <a:lnTo>
                      <a:pt x="113" y="45"/>
                    </a:lnTo>
                    <a:lnTo>
                      <a:pt x="113" y="45"/>
                    </a:lnTo>
                    <a:lnTo>
                      <a:pt x="113" y="45"/>
                    </a:lnTo>
                    <a:lnTo>
                      <a:pt x="113" y="45"/>
                    </a:lnTo>
                    <a:lnTo>
                      <a:pt x="118" y="45"/>
                    </a:lnTo>
                    <a:lnTo>
                      <a:pt x="118" y="45"/>
                    </a:lnTo>
                    <a:lnTo>
                      <a:pt x="118" y="45"/>
                    </a:lnTo>
                    <a:lnTo>
                      <a:pt x="118" y="45"/>
                    </a:lnTo>
                    <a:lnTo>
                      <a:pt x="122" y="45"/>
                    </a:lnTo>
                    <a:lnTo>
                      <a:pt x="122" y="45"/>
                    </a:lnTo>
                    <a:lnTo>
                      <a:pt x="122" y="49"/>
                    </a:lnTo>
                    <a:lnTo>
                      <a:pt x="127" y="49"/>
                    </a:lnTo>
                    <a:lnTo>
                      <a:pt x="131" y="49"/>
                    </a:lnTo>
                    <a:lnTo>
                      <a:pt x="131" y="49"/>
                    </a:lnTo>
                    <a:lnTo>
                      <a:pt x="131" y="49"/>
                    </a:lnTo>
                    <a:lnTo>
                      <a:pt x="131" y="49"/>
                    </a:lnTo>
                    <a:lnTo>
                      <a:pt x="136" y="45"/>
                    </a:lnTo>
                    <a:lnTo>
                      <a:pt x="136" y="45"/>
                    </a:lnTo>
                    <a:lnTo>
                      <a:pt x="140" y="45"/>
                    </a:lnTo>
                    <a:lnTo>
                      <a:pt x="140" y="45"/>
                    </a:lnTo>
                    <a:lnTo>
                      <a:pt x="140" y="45"/>
                    </a:lnTo>
                    <a:lnTo>
                      <a:pt x="140" y="49"/>
                    </a:lnTo>
                    <a:lnTo>
                      <a:pt x="140" y="49"/>
                    </a:lnTo>
                    <a:lnTo>
                      <a:pt x="140" y="49"/>
                    </a:lnTo>
                    <a:lnTo>
                      <a:pt x="140" y="54"/>
                    </a:lnTo>
                    <a:lnTo>
                      <a:pt x="140" y="54"/>
                    </a:lnTo>
                    <a:lnTo>
                      <a:pt x="140" y="63"/>
                    </a:lnTo>
                    <a:lnTo>
                      <a:pt x="140" y="63"/>
                    </a:lnTo>
                    <a:lnTo>
                      <a:pt x="145" y="63"/>
                    </a:lnTo>
                    <a:lnTo>
                      <a:pt x="145" y="68"/>
                    </a:lnTo>
                    <a:lnTo>
                      <a:pt x="145" y="68"/>
                    </a:lnTo>
                    <a:lnTo>
                      <a:pt x="145" y="72"/>
                    </a:lnTo>
                    <a:lnTo>
                      <a:pt x="145" y="77"/>
                    </a:lnTo>
                    <a:lnTo>
                      <a:pt x="145" y="77"/>
                    </a:lnTo>
                    <a:lnTo>
                      <a:pt x="145" y="77"/>
                    </a:lnTo>
                    <a:lnTo>
                      <a:pt x="145" y="77"/>
                    </a:lnTo>
                    <a:lnTo>
                      <a:pt x="140" y="77"/>
                    </a:lnTo>
                    <a:lnTo>
                      <a:pt x="140" y="77"/>
                    </a:lnTo>
                    <a:lnTo>
                      <a:pt x="136" y="77"/>
                    </a:lnTo>
                    <a:lnTo>
                      <a:pt x="136" y="77"/>
                    </a:lnTo>
                    <a:lnTo>
                      <a:pt x="136" y="77"/>
                    </a:lnTo>
                    <a:lnTo>
                      <a:pt x="131" y="77"/>
                    </a:lnTo>
                    <a:lnTo>
                      <a:pt x="131" y="77"/>
                    </a:lnTo>
                    <a:lnTo>
                      <a:pt x="127" y="72"/>
                    </a:lnTo>
                    <a:lnTo>
                      <a:pt x="127" y="72"/>
                    </a:lnTo>
                    <a:lnTo>
                      <a:pt x="127" y="77"/>
                    </a:lnTo>
                    <a:lnTo>
                      <a:pt x="122" y="77"/>
                    </a:lnTo>
                    <a:lnTo>
                      <a:pt x="122" y="72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09" y="72"/>
                    </a:lnTo>
                    <a:lnTo>
                      <a:pt x="109" y="72"/>
                    </a:lnTo>
                    <a:lnTo>
                      <a:pt x="109" y="72"/>
                    </a:lnTo>
                    <a:lnTo>
                      <a:pt x="104" y="72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0" y="68"/>
                    </a:lnTo>
                    <a:lnTo>
                      <a:pt x="100" y="72"/>
                    </a:lnTo>
                    <a:lnTo>
                      <a:pt x="100" y="68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91" y="68"/>
                    </a:lnTo>
                    <a:lnTo>
                      <a:pt x="86" y="63"/>
                    </a:lnTo>
                    <a:lnTo>
                      <a:pt x="86" y="63"/>
                    </a:lnTo>
                    <a:lnTo>
                      <a:pt x="86" y="63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1" y="58"/>
                    </a:lnTo>
                    <a:lnTo>
                      <a:pt x="77" y="58"/>
                    </a:lnTo>
                    <a:lnTo>
                      <a:pt x="77" y="54"/>
                    </a:lnTo>
                    <a:lnTo>
                      <a:pt x="72" y="58"/>
                    </a:lnTo>
                    <a:lnTo>
                      <a:pt x="72" y="58"/>
                    </a:lnTo>
                    <a:lnTo>
                      <a:pt x="72" y="58"/>
                    </a:lnTo>
                    <a:lnTo>
                      <a:pt x="72" y="58"/>
                    </a:lnTo>
                    <a:lnTo>
                      <a:pt x="68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59" y="58"/>
                    </a:lnTo>
                    <a:lnTo>
                      <a:pt x="54" y="58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50" y="54"/>
                    </a:lnTo>
                    <a:lnTo>
                      <a:pt x="50" y="54"/>
                    </a:lnTo>
                    <a:lnTo>
                      <a:pt x="50" y="54"/>
                    </a:lnTo>
                    <a:lnTo>
                      <a:pt x="45" y="49"/>
                    </a:lnTo>
                    <a:lnTo>
                      <a:pt x="41" y="49"/>
                    </a:lnTo>
                    <a:lnTo>
                      <a:pt x="41" y="49"/>
                    </a:lnTo>
                    <a:lnTo>
                      <a:pt x="41" y="49"/>
                    </a:lnTo>
                    <a:lnTo>
                      <a:pt x="36" y="49"/>
                    </a:lnTo>
                    <a:lnTo>
                      <a:pt x="36" y="49"/>
                    </a:lnTo>
                    <a:lnTo>
                      <a:pt x="36" y="49"/>
                    </a:lnTo>
                    <a:lnTo>
                      <a:pt x="36" y="49"/>
                    </a:lnTo>
                    <a:lnTo>
                      <a:pt x="32" y="49"/>
                    </a:lnTo>
                    <a:lnTo>
                      <a:pt x="32" y="45"/>
                    </a:lnTo>
                    <a:lnTo>
                      <a:pt x="27" y="45"/>
                    </a:lnTo>
                    <a:lnTo>
                      <a:pt x="23" y="45"/>
                    </a:lnTo>
                    <a:lnTo>
                      <a:pt x="23" y="40"/>
                    </a:lnTo>
                    <a:lnTo>
                      <a:pt x="23" y="40"/>
                    </a:lnTo>
                    <a:lnTo>
                      <a:pt x="23" y="40"/>
                    </a:lnTo>
                    <a:lnTo>
                      <a:pt x="18" y="40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5" y="36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0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5" y="18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14" y="4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8" y="9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03" name="Freeform 124"/>
              <p:cNvSpPr>
                <a:spLocks noEditPoints="1"/>
              </p:cNvSpPr>
              <p:nvPr/>
            </p:nvSpPr>
            <p:spPr bwMode="auto">
              <a:xfrm>
                <a:off x="8121651" y="4165601"/>
                <a:ext cx="530225" cy="401638"/>
              </a:xfrm>
              <a:custGeom>
                <a:avLst/>
                <a:gdLst>
                  <a:gd name="T0" fmla="*/ 14 w 334"/>
                  <a:gd name="T1" fmla="*/ 249 h 253"/>
                  <a:gd name="T2" fmla="*/ 4 w 334"/>
                  <a:gd name="T3" fmla="*/ 249 h 253"/>
                  <a:gd name="T4" fmla="*/ 199 w 334"/>
                  <a:gd name="T5" fmla="*/ 140 h 253"/>
                  <a:gd name="T6" fmla="*/ 208 w 334"/>
                  <a:gd name="T7" fmla="*/ 140 h 253"/>
                  <a:gd name="T8" fmla="*/ 212 w 334"/>
                  <a:gd name="T9" fmla="*/ 140 h 253"/>
                  <a:gd name="T10" fmla="*/ 208 w 334"/>
                  <a:gd name="T11" fmla="*/ 145 h 253"/>
                  <a:gd name="T12" fmla="*/ 203 w 334"/>
                  <a:gd name="T13" fmla="*/ 149 h 253"/>
                  <a:gd name="T14" fmla="*/ 185 w 334"/>
                  <a:gd name="T15" fmla="*/ 163 h 253"/>
                  <a:gd name="T16" fmla="*/ 149 w 334"/>
                  <a:gd name="T17" fmla="*/ 181 h 253"/>
                  <a:gd name="T18" fmla="*/ 145 w 334"/>
                  <a:gd name="T19" fmla="*/ 190 h 253"/>
                  <a:gd name="T20" fmla="*/ 135 w 334"/>
                  <a:gd name="T21" fmla="*/ 194 h 253"/>
                  <a:gd name="T22" fmla="*/ 131 w 334"/>
                  <a:gd name="T23" fmla="*/ 194 h 253"/>
                  <a:gd name="T24" fmla="*/ 117 w 334"/>
                  <a:gd name="T25" fmla="*/ 199 h 253"/>
                  <a:gd name="T26" fmla="*/ 95 w 334"/>
                  <a:gd name="T27" fmla="*/ 213 h 253"/>
                  <a:gd name="T28" fmla="*/ 72 w 334"/>
                  <a:gd name="T29" fmla="*/ 226 h 253"/>
                  <a:gd name="T30" fmla="*/ 45 w 334"/>
                  <a:gd name="T31" fmla="*/ 240 h 253"/>
                  <a:gd name="T32" fmla="*/ 27 w 334"/>
                  <a:gd name="T33" fmla="*/ 240 h 253"/>
                  <a:gd name="T34" fmla="*/ 23 w 334"/>
                  <a:gd name="T35" fmla="*/ 231 h 253"/>
                  <a:gd name="T36" fmla="*/ 18 w 334"/>
                  <a:gd name="T37" fmla="*/ 226 h 253"/>
                  <a:gd name="T38" fmla="*/ 23 w 334"/>
                  <a:gd name="T39" fmla="*/ 222 h 253"/>
                  <a:gd name="T40" fmla="*/ 32 w 334"/>
                  <a:gd name="T41" fmla="*/ 213 h 253"/>
                  <a:gd name="T42" fmla="*/ 36 w 334"/>
                  <a:gd name="T43" fmla="*/ 213 h 253"/>
                  <a:gd name="T44" fmla="*/ 45 w 334"/>
                  <a:gd name="T45" fmla="*/ 208 h 253"/>
                  <a:gd name="T46" fmla="*/ 59 w 334"/>
                  <a:gd name="T47" fmla="*/ 199 h 253"/>
                  <a:gd name="T48" fmla="*/ 90 w 334"/>
                  <a:gd name="T49" fmla="*/ 185 h 253"/>
                  <a:gd name="T50" fmla="*/ 108 w 334"/>
                  <a:gd name="T51" fmla="*/ 181 h 253"/>
                  <a:gd name="T52" fmla="*/ 122 w 334"/>
                  <a:gd name="T53" fmla="*/ 176 h 253"/>
                  <a:gd name="T54" fmla="*/ 126 w 334"/>
                  <a:gd name="T55" fmla="*/ 172 h 253"/>
                  <a:gd name="T56" fmla="*/ 145 w 334"/>
                  <a:gd name="T57" fmla="*/ 163 h 253"/>
                  <a:gd name="T58" fmla="*/ 163 w 334"/>
                  <a:gd name="T59" fmla="*/ 149 h 253"/>
                  <a:gd name="T60" fmla="*/ 203 w 334"/>
                  <a:gd name="T61" fmla="*/ 127 h 253"/>
                  <a:gd name="T62" fmla="*/ 194 w 334"/>
                  <a:gd name="T63" fmla="*/ 140 h 253"/>
                  <a:gd name="T64" fmla="*/ 312 w 334"/>
                  <a:gd name="T65" fmla="*/ 14 h 253"/>
                  <a:gd name="T66" fmla="*/ 316 w 334"/>
                  <a:gd name="T67" fmla="*/ 23 h 253"/>
                  <a:gd name="T68" fmla="*/ 312 w 334"/>
                  <a:gd name="T69" fmla="*/ 32 h 253"/>
                  <a:gd name="T70" fmla="*/ 303 w 334"/>
                  <a:gd name="T71" fmla="*/ 50 h 253"/>
                  <a:gd name="T72" fmla="*/ 303 w 334"/>
                  <a:gd name="T73" fmla="*/ 59 h 253"/>
                  <a:gd name="T74" fmla="*/ 312 w 334"/>
                  <a:gd name="T75" fmla="*/ 54 h 253"/>
                  <a:gd name="T76" fmla="*/ 312 w 334"/>
                  <a:gd name="T77" fmla="*/ 54 h 253"/>
                  <a:gd name="T78" fmla="*/ 303 w 334"/>
                  <a:gd name="T79" fmla="*/ 77 h 253"/>
                  <a:gd name="T80" fmla="*/ 325 w 334"/>
                  <a:gd name="T81" fmla="*/ 77 h 253"/>
                  <a:gd name="T82" fmla="*/ 330 w 334"/>
                  <a:gd name="T83" fmla="*/ 86 h 253"/>
                  <a:gd name="T84" fmla="*/ 298 w 334"/>
                  <a:gd name="T85" fmla="*/ 109 h 253"/>
                  <a:gd name="T86" fmla="*/ 285 w 334"/>
                  <a:gd name="T87" fmla="*/ 109 h 253"/>
                  <a:gd name="T88" fmla="*/ 253 w 334"/>
                  <a:gd name="T89" fmla="*/ 136 h 253"/>
                  <a:gd name="T90" fmla="*/ 217 w 334"/>
                  <a:gd name="T91" fmla="*/ 154 h 253"/>
                  <a:gd name="T92" fmla="*/ 217 w 334"/>
                  <a:gd name="T93" fmla="*/ 145 h 253"/>
                  <a:gd name="T94" fmla="*/ 226 w 334"/>
                  <a:gd name="T95" fmla="*/ 140 h 253"/>
                  <a:gd name="T96" fmla="*/ 239 w 334"/>
                  <a:gd name="T97" fmla="*/ 113 h 253"/>
                  <a:gd name="T98" fmla="*/ 253 w 334"/>
                  <a:gd name="T99" fmla="*/ 100 h 253"/>
                  <a:gd name="T100" fmla="*/ 280 w 334"/>
                  <a:gd name="T101" fmla="*/ 77 h 253"/>
                  <a:gd name="T102" fmla="*/ 289 w 334"/>
                  <a:gd name="T103" fmla="*/ 59 h 253"/>
                  <a:gd name="T104" fmla="*/ 294 w 334"/>
                  <a:gd name="T105" fmla="*/ 59 h 253"/>
                  <a:gd name="T106" fmla="*/ 298 w 334"/>
                  <a:gd name="T107" fmla="*/ 45 h 253"/>
                  <a:gd name="T108" fmla="*/ 298 w 334"/>
                  <a:gd name="T109" fmla="*/ 41 h 253"/>
                  <a:gd name="T110" fmla="*/ 298 w 334"/>
                  <a:gd name="T111" fmla="*/ 41 h 253"/>
                  <a:gd name="T112" fmla="*/ 303 w 334"/>
                  <a:gd name="T113" fmla="*/ 23 h 253"/>
                  <a:gd name="T114" fmla="*/ 307 w 334"/>
                  <a:gd name="T115" fmla="*/ 14 h 253"/>
                  <a:gd name="T116" fmla="*/ 307 w 334"/>
                  <a:gd name="T117" fmla="*/ 14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34" h="253">
                    <a:moveTo>
                      <a:pt x="18" y="244"/>
                    </a:moveTo>
                    <a:lnTo>
                      <a:pt x="18" y="244"/>
                    </a:lnTo>
                    <a:lnTo>
                      <a:pt x="18" y="244"/>
                    </a:lnTo>
                    <a:lnTo>
                      <a:pt x="14" y="244"/>
                    </a:lnTo>
                    <a:lnTo>
                      <a:pt x="14" y="244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9" y="249"/>
                    </a:lnTo>
                    <a:lnTo>
                      <a:pt x="9" y="249"/>
                    </a:lnTo>
                    <a:lnTo>
                      <a:pt x="4" y="249"/>
                    </a:lnTo>
                    <a:lnTo>
                      <a:pt x="4" y="249"/>
                    </a:lnTo>
                    <a:lnTo>
                      <a:pt x="4" y="253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0" y="249"/>
                    </a:lnTo>
                    <a:lnTo>
                      <a:pt x="4" y="249"/>
                    </a:lnTo>
                    <a:lnTo>
                      <a:pt x="4" y="249"/>
                    </a:lnTo>
                    <a:lnTo>
                      <a:pt x="4" y="249"/>
                    </a:lnTo>
                    <a:lnTo>
                      <a:pt x="9" y="249"/>
                    </a:lnTo>
                    <a:lnTo>
                      <a:pt x="9" y="244"/>
                    </a:lnTo>
                    <a:lnTo>
                      <a:pt x="14" y="244"/>
                    </a:lnTo>
                    <a:lnTo>
                      <a:pt x="14" y="244"/>
                    </a:lnTo>
                    <a:lnTo>
                      <a:pt x="14" y="240"/>
                    </a:lnTo>
                    <a:lnTo>
                      <a:pt x="18" y="240"/>
                    </a:lnTo>
                    <a:lnTo>
                      <a:pt x="18" y="244"/>
                    </a:lnTo>
                    <a:moveTo>
                      <a:pt x="194" y="145"/>
                    </a:moveTo>
                    <a:lnTo>
                      <a:pt x="194" y="145"/>
                    </a:lnTo>
                    <a:lnTo>
                      <a:pt x="194" y="145"/>
                    </a:lnTo>
                    <a:lnTo>
                      <a:pt x="199" y="140"/>
                    </a:lnTo>
                    <a:lnTo>
                      <a:pt x="199" y="140"/>
                    </a:lnTo>
                    <a:lnTo>
                      <a:pt x="203" y="140"/>
                    </a:lnTo>
                    <a:lnTo>
                      <a:pt x="208" y="140"/>
                    </a:lnTo>
                    <a:lnTo>
                      <a:pt x="208" y="140"/>
                    </a:lnTo>
                    <a:lnTo>
                      <a:pt x="212" y="140"/>
                    </a:lnTo>
                    <a:lnTo>
                      <a:pt x="212" y="136"/>
                    </a:lnTo>
                    <a:lnTo>
                      <a:pt x="212" y="136"/>
                    </a:lnTo>
                    <a:lnTo>
                      <a:pt x="212" y="140"/>
                    </a:lnTo>
                    <a:lnTo>
                      <a:pt x="208" y="140"/>
                    </a:lnTo>
                    <a:lnTo>
                      <a:pt x="208" y="140"/>
                    </a:lnTo>
                    <a:lnTo>
                      <a:pt x="208" y="140"/>
                    </a:lnTo>
                    <a:lnTo>
                      <a:pt x="208" y="140"/>
                    </a:lnTo>
                    <a:lnTo>
                      <a:pt x="203" y="145"/>
                    </a:lnTo>
                    <a:lnTo>
                      <a:pt x="203" y="145"/>
                    </a:lnTo>
                    <a:lnTo>
                      <a:pt x="203" y="145"/>
                    </a:lnTo>
                    <a:lnTo>
                      <a:pt x="208" y="145"/>
                    </a:lnTo>
                    <a:lnTo>
                      <a:pt x="208" y="140"/>
                    </a:lnTo>
                    <a:lnTo>
                      <a:pt x="208" y="140"/>
                    </a:lnTo>
                    <a:lnTo>
                      <a:pt x="208" y="140"/>
                    </a:lnTo>
                    <a:lnTo>
                      <a:pt x="208" y="140"/>
                    </a:lnTo>
                    <a:lnTo>
                      <a:pt x="212" y="140"/>
                    </a:lnTo>
                    <a:lnTo>
                      <a:pt x="212" y="140"/>
                    </a:lnTo>
                    <a:lnTo>
                      <a:pt x="212" y="140"/>
                    </a:lnTo>
                    <a:lnTo>
                      <a:pt x="212" y="140"/>
                    </a:lnTo>
                    <a:lnTo>
                      <a:pt x="212" y="140"/>
                    </a:lnTo>
                    <a:lnTo>
                      <a:pt x="212" y="140"/>
                    </a:lnTo>
                    <a:lnTo>
                      <a:pt x="212" y="140"/>
                    </a:lnTo>
                    <a:lnTo>
                      <a:pt x="212" y="140"/>
                    </a:lnTo>
                    <a:lnTo>
                      <a:pt x="212" y="140"/>
                    </a:lnTo>
                    <a:lnTo>
                      <a:pt x="212" y="145"/>
                    </a:lnTo>
                    <a:lnTo>
                      <a:pt x="208" y="145"/>
                    </a:lnTo>
                    <a:lnTo>
                      <a:pt x="208" y="145"/>
                    </a:lnTo>
                    <a:lnTo>
                      <a:pt x="208" y="145"/>
                    </a:lnTo>
                    <a:lnTo>
                      <a:pt x="212" y="145"/>
                    </a:lnTo>
                    <a:lnTo>
                      <a:pt x="212" y="140"/>
                    </a:lnTo>
                    <a:lnTo>
                      <a:pt x="212" y="145"/>
                    </a:lnTo>
                    <a:lnTo>
                      <a:pt x="208" y="145"/>
                    </a:lnTo>
                    <a:lnTo>
                      <a:pt x="208" y="145"/>
                    </a:lnTo>
                    <a:lnTo>
                      <a:pt x="208" y="145"/>
                    </a:lnTo>
                    <a:lnTo>
                      <a:pt x="203" y="145"/>
                    </a:lnTo>
                    <a:lnTo>
                      <a:pt x="203" y="149"/>
                    </a:lnTo>
                    <a:lnTo>
                      <a:pt x="203" y="149"/>
                    </a:lnTo>
                    <a:lnTo>
                      <a:pt x="203" y="149"/>
                    </a:lnTo>
                    <a:lnTo>
                      <a:pt x="203" y="149"/>
                    </a:lnTo>
                    <a:lnTo>
                      <a:pt x="199" y="154"/>
                    </a:lnTo>
                    <a:lnTo>
                      <a:pt x="199" y="154"/>
                    </a:lnTo>
                    <a:lnTo>
                      <a:pt x="199" y="154"/>
                    </a:lnTo>
                    <a:lnTo>
                      <a:pt x="199" y="154"/>
                    </a:lnTo>
                    <a:lnTo>
                      <a:pt x="199" y="158"/>
                    </a:lnTo>
                    <a:lnTo>
                      <a:pt x="199" y="158"/>
                    </a:lnTo>
                    <a:lnTo>
                      <a:pt x="190" y="158"/>
                    </a:lnTo>
                    <a:lnTo>
                      <a:pt x="190" y="163"/>
                    </a:lnTo>
                    <a:lnTo>
                      <a:pt x="185" y="163"/>
                    </a:lnTo>
                    <a:lnTo>
                      <a:pt x="185" y="163"/>
                    </a:lnTo>
                    <a:lnTo>
                      <a:pt x="185" y="163"/>
                    </a:lnTo>
                    <a:lnTo>
                      <a:pt x="176" y="167"/>
                    </a:lnTo>
                    <a:lnTo>
                      <a:pt x="176" y="167"/>
                    </a:lnTo>
                    <a:lnTo>
                      <a:pt x="167" y="176"/>
                    </a:lnTo>
                    <a:lnTo>
                      <a:pt x="163" y="176"/>
                    </a:lnTo>
                    <a:lnTo>
                      <a:pt x="158" y="176"/>
                    </a:lnTo>
                    <a:lnTo>
                      <a:pt x="158" y="181"/>
                    </a:lnTo>
                    <a:lnTo>
                      <a:pt x="154" y="181"/>
                    </a:lnTo>
                    <a:lnTo>
                      <a:pt x="154" y="181"/>
                    </a:lnTo>
                    <a:lnTo>
                      <a:pt x="149" y="181"/>
                    </a:lnTo>
                    <a:lnTo>
                      <a:pt x="149" y="181"/>
                    </a:lnTo>
                    <a:lnTo>
                      <a:pt x="149" y="181"/>
                    </a:lnTo>
                    <a:lnTo>
                      <a:pt x="149" y="185"/>
                    </a:lnTo>
                    <a:lnTo>
                      <a:pt x="149" y="185"/>
                    </a:lnTo>
                    <a:lnTo>
                      <a:pt x="145" y="185"/>
                    </a:lnTo>
                    <a:lnTo>
                      <a:pt x="145" y="185"/>
                    </a:lnTo>
                    <a:lnTo>
                      <a:pt x="145" y="185"/>
                    </a:lnTo>
                    <a:lnTo>
                      <a:pt x="145" y="185"/>
                    </a:lnTo>
                    <a:lnTo>
                      <a:pt x="145" y="185"/>
                    </a:lnTo>
                    <a:lnTo>
                      <a:pt x="145" y="185"/>
                    </a:lnTo>
                    <a:lnTo>
                      <a:pt x="145" y="185"/>
                    </a:lnTo>
                    <a:lnTo>
                      <a:pt x="145" y="190"/>
                    </a:lnTo>
                    <a:lnTo>
                      <a:pt x="145" y="190"/>
                    </a:lnTo>
                    <a:lnTo>
                      <a:pt x="145" y="190"/>
                    </a:lnTo>
                    <a:lnTo>
                      <a:pt x="145" y="190"/>
                    </a:lnTo>
                    <a:lnTo>
                      <a:pt x="145" y="190"/>
                    </a:lnTo>
                    <a:lnTo>
                      <a:pt x="145" y="194"/>
                    </a:lnTo>
                    <a:lnTo>
                      <a:pt x="145" y="194"/>
                    </a:lnTo>
                    <a:lnTo>
                      <a:pt x="140" y="194"/>
                    </a:lnTo>
                    <a:lnTo>
                      <a:pt x="140" y="194"/>
                    </a:lnTo>
                    <a:lnTo>
                      <a:pt x="140" y="194"/>
                    </a:lnTo>
                    <a:lnTo>
                      <a:pt x="140" y="194"/>
                    </a:lnTo>
                    <a:lnTo>
                      <a:pt x="140" y="194"/>
                    </a:lnTo>
                    <a:lnTo>
                      <a:pt x="135" y="194"/>
                    </a:lnTo>
                    <a:lnTo>
                      <a:pt x="135" y="194"/>
                    </a:lnTo>
                    <a:lnTo>
                      <a:pt x="135" y="194"/>
                    </a:lnTo>
                    <a:lnTo>
                      <a:pt x="135" y="194"/>
                    </a:lnTo>
                    <a:lnTo>
                      <a:pt x="135" y="190"/>
                    </a:lnTo>
                    <a:lnTo>
                      <a:pt x="135" y="190"/>
                    </a:lnTo>
                    <a:lnTo>
                      <a:pt x="135" y="190"/>
                    </a:lnTo>
                    <a:lnTo>
                      <a:pt x="135" y="190"/>
                    </a:lnTo>
                    <a:lnTo>
                      <a:pt x="135" y="194"/>
                    </a:lnTo>
                    <a:lnTo>
                      <a:pt x="131" y="194"/>
                    </a:lnTo>
                    <a:lnTo>
                      <a:pt x="131" y="194"/>
                    </a:lnTo>
                    <a:lnTo>
                      <a:pt x="131" y="194"/>
                    </a:lnTo>
                    <a:lnTo>
                      <a:pt x="131" y="190"/>
                    </a:lnTo>
                    <a:lnTo>
                      <a:pt x="131" y="190"/>
                    </a:lnTo>
                    <a:lnTo>
                      <a:pt x="131" y="190"/>
                    </a:lnTo>
                    <a:lnTo>
                      <a:pt x="131" y="194"/>
                    </a:lnTo>
                    <a:lnTo>
                      <a:pt x="131" y="194"/>
                    </a:lnTo>
                    <a:lnTo>
                      <a:pt x="126" y="194"/>
                    </a:lnTo>
                    <a:lnTo>
                      <a:pt x="126" y="194"/>
                    </a:lnTo>
                    <a:lnTo>
                      <a:pt x="122" y="194"/>
                    </a:lnTo>
                    <a:lnTo>
                      <a:pt x="122" y="194"/>
                    </a:lnTo>
                    <a:lnTo>
                      <a:pt x="117" y="199"/>
                    </a:lnTo>
                    <a:lnTo>
                      <a:pt x="117" y="199"/>
                    </a:lnTo>
                    <a:lnTo>
                      <a:pt x="117" y="199"/>
                    </a:lnTo>
                    <a:lnTo>
                      <a:pt x="113" y="199"/>
                    </a:lnTo>
                    <a:lnTo>
                      <a:pt x="113" y="199"/>
                    </a:lnTo>
                    <a:lnTo>
                      <a:pt x="113" y="199"/>
                    </a:lnTo>
                    <a:lnTo>
                      <a:pt x="108" y="199"/>
                    </a:lnTo>
                    <a:lnTo>
                      <a:pt x="108" y="199"/>
                    </a:lnTo>
                    <a:lnTo>
                      <a:pt x="108" y="199"/>
                    </a:lnTo>
                    <a:lnTo>
                      <a:pt x="104" y="204"/>
                    </a:lnTo>
                    <a:lnTo>
                      <a:pt x="104" y="208"/>
                    </a:lnTo>
                    <a:lnTo>
                      <a:pt x="99" y="208"/>
                    </a:lnTo>
                    <a:lnTo>
                      <a:pt x="95" y="213"/>
                    </a:lnTo>
                    <a:lnTo>
                      <a:pt x="95" y="213"/>
                    </a:lnTo>
                    <a:lnTo>
                      <a:pt x="95" y="213"/>
                    </a:lnTo>
                    <a:lnTo>
                      <a:pt x="95" y="213"/>
                    </a:lnTo>
                    <a:lnTo>
                      <a:pt x="90" y="213"/>
                    </a:lnTo>
                    <a:lnTo>
                      <a:pt x="90" y="217"/>
                    </a:lnTo>
                    <a:lnTo>
                      <a:pt x="86" y="217"/>
                    </a:lnTo>
                    <a:lnTo>
                      <a:pt x="81" y="222"/>
                    </a:lnTo>
                    <a:lnTo>
                      <a:pt x="77" y="222"/>
                    </a:lnTo>
                    <a:lnTo>
                      <a:pt x="72" y="226"/>
                    </a:lnTo>
                    <a:lnTo>
                      <a:pt x="72" y="226"/>
                    </a:lnTo>
                    <a:lnTo>
                      <a:pt x="72" y="226"/>
                    </a:lnTo>
                    <a:lnTo>
                      <a:pt x="72" y="231"/>
                    </a:lnTo>
                    <a:lnTo>
                      <a:pt x="72" y="231"/>
                    </a:lnTo>
                    <a:lnTo>
                      <a:pt x="72" y="231"/>
                    </a:lnTo>
                    <a:lnTo>
                      <a:pt x="72" y="231"/>
                    </a:lnTo>
                    <a:lnTo>
                      <a:pt x="68" y="231"/>
                    </a:lnTo>
                    <a:lnTo>
                      <a:pt x="63" y="231"/>
                    </a:lnTo>
                    <a:lnTo>
                      <a:pt x="63" y="231"/>
                    </a:lnTo>
                    <a:lnTo>
                      <a:pt x="59" y="235"/>
                    </a:lnTo>
                    <a:lnTo>
                      <a:pt x="59" y="235"/>
                    </a:lnTo>
                    <a:lnTo>
                      <a:pt x="50" y="240"/>
                    </a:lnTo>
                    <a:lnTo>
                      <a:pt x="45" y="240"/>
                    </a:lnTo>
                    <a:lnTo>
                      <a:pt x="45" y="240"/>
                    </a:lnTo>
                    <a:lnTo>
                      <a:pt x="41" y="240"/>
                    </a:lnTo>
                    <a:lnTo>
                      <a:pt x="36" y="244"/>
                    </a:lnTo>
                    <a:lnTo>
                      <a:pt x="32" y="244"/>
                    </a:lnTo>
                    <a:lnTo>
                      <a:pt x="32" y="240"/>
                    </a:lnTo>
                    <a:lnTo>
                      <a:pt x="32" y="240"/>
                    </a:lnTo>
                    <a:lnTo>
                      <a:pt x="32" y="240"/>
                    </a:lnTo>
                    <a:lnTo>
                      <a:pt x="27" y="240"/>
                    </a:lnTo>
                    <a:lnTo>
                      <a:pt x="27" y="240"/>
                    </a:lnTo>
                    <a:lnTo>
                      <a:pt x="27" y="240"/>
                    </a:lnTo>
                    <a:lnTo>
                      <a:pt x="27" y="240"/>
                    </a:lnTo>
                    <a:lnTo>
                      <a:pt x="27" y="240"/>
                    </a:lnTo>
                    <a:lnTo>
                      <a:pt x="27" y="240"/>
                    </a:lnTo>
                    <a:lnTo>
                      <a:pt x="27" y="240"/>
                    </a:lnTo>
                    <a:lnTo>
                      <a:pt x="27" y="235"/>
                    </a:lnTo>
                    <a:lnTo>
                      <a:pt x="27" y="235"/>
                    </a:lnTo>
                    <a:lnTo>
                      <a:pt x="27" y="235"/>
                    </a:lnTo>
                    <a:lnTo>
                      <a:pt x="27" y="235"/>
                    </a:lnTo>
                    <a:lnTo>
                      <a:pt x="27" y="235"/>
                    </a:lnTo>
                    <a:lnTo>
                      <a:pt x="23" y="235"/>
                    </a:lnTo>
                    <a:lnTo>
                      <a:pt x="23" y="235"/>
                    </a:lnTo>
                    <a:lnTo>
                      <a:pt x="23" y="231"/>
                    </a:lnTo>
                    <a:lnTo>
                      <a:pt x="23" y="231"/>
                    </a:lnTo>
                    <a:lnTo>
                      <a:pt x="23" y="231"/>
                    </a:lnTo>
                    <a:lnTo>
                      <a:pt x="23" y="231"/>
                    </a:lnTo>
                    <a:lnTo>
                      <a:pt x="18" y="231"/>
                    </a:lnTo>
                    <a:lnTo>
                      <a:pt x="18" y="231"/>
                    </a:lnTo>
                    <a:lnTo>
                      <a:pt x="18" y="231"/>
                    </a:lnTo>
                    <a:lnTo>
                      <a:pt x="14" y="231"/>
                    </a:lnTo>
                    <a:lnTo>
                      <a:pt x="14" y="231"/>
                    </a:lnTo>
                    <a:lnTo>
                      <a:pt x="14" y="226"/>
                    </a:lnTo>
                    <a:lnTo>
                      <a:pt x="18" y="226"/>
                    </a:lnTo>
                    <a:lnTo>
                      <a:pt x="18" y="226"/>
                    </a:lnTo>
                    <a:lnTo>
                      <a:pt x="14" y="226"/>
                    </a:lnTo>
                    <a:lnTo>
                      <a:pt x="14" y="226"/>
                    </a:lnTo>
                    <a:lnTo>
                      <a:pt x="18" y="226"/>
                    </a:lnTo>
                    <a:lnTo>
                      <a:pt x="18" y="222"/>
                    </a:lnTo>
                    <a:lnTo>
                      <a:pt x="18" y="222"/>
                    </a:lnTo>
                    <a:lnTo>
                      <a:pt x="14" y="226"/>
                    </a:lnTo>
                    <a:lnTo>
                      <a:pt x="14" y="226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18" y="222"/>
                    </a:lnTo>
                    <a:lnTo>
                      <a:pt x="23" y="222"/>
                    </a:lnTo>
                    <a:lnTo>
                      <a:pt x="23" y="222"/>
                    </a:lnTo>
                    <a:lnTo>
                      <a:pt x="27" y="222"/>
                    </a:lnTo>
                    <a:lnTo>
                      <a:pt x="23" y="222"/>
                    </a:lnTo>
                    <a:lnTo>
                      <a:pt x="23" y="217"/>
                    </a:lnTo>
                    <a:lnTo>
                      <a:pt x="27" y="217"/>
                    </a:lnTo>
                    <a:lnTo>
                      <a:pt x="27" y="217"/>
                    </a:lnTo>
                    <a:lnTo>
                      <a:pt x="27" y="217"/>
                    </a:lnTo>
                    <a:lnTo>
                      <a:pt x="27" y="217"/>
                    </a:lnTo>
                    <a:lnTo>
                      <a:pt x="27" y="213"/>
                    </a:lnTo>
                    <a:lnTo>
                      <a:pt x="27" y="213"/>
                    </a:lnTo>
                    <a:lnTo>
                      <a:pt x="32" y="213"/>
                    </a:lnTo>
                    <a:lnTo>
                      <a:pt x="32" y="213"/>
                    </a:lnTo>
                    <a:lnTo>
                      <a:pt x="32" y="213"/>
                    </a:lnTo>
                    <a:lnTo>
                      <a:pt x="32" y="213"/>
                    </a:lnTo>
                    <a:lnTo>
                      <a:pt x="32" y="213"/>
                    </a:lnTo>
                    <a:lnTo>
                      <a:pt x="32" y="213"/>
                    </a:lnTo>
                    <a:lnTo>
                      <a:pt x="36" y="213"/>
                    </a:lnTo>
                    <a:lnTo>
                      <a:pt x="36" y="213"/>
                    </a:lnTo>
                    <a:lnTo>
                      <a:pt x="36" y="213"/>
                    </a:lnTo>
                    <a:lnTo>
                      <a:pt x="36" y="213"/>
                    </a:lnTo>
                    <a:lnTo>
                      <a:pt x="36" y="213"/>
                    </a:lnTo>
                    <a:lnTo>
                      <a:pt x="36" y="213"/>
                    </a:lnTo>
                    <a:lnTo>
                      <a:pt x="36" y="213"/>
                    </a:lnTo>
                    <a:lnTo>
                      <a:pt x="36" y="208"/>
                    </a:lnTo>
                    <a:lnTo>
                      <a:pt x="36" y="208"/>
                    </a:lnTo>
                    <a:lnTo>
                      <a:pt x="41" y="208"/>
                    </a:lnTo>
                    <a:lnTo>
                      <a:pt x="41" y="208"/>
                    </a:lnTo>
                    <a:lnTo>
                      <a:pt x="41" y="208"/>
                    </a:lnTo>
                    <a:lnTo>
                      <a:pt x="41" y="208"/>
                    </a:lnTo>
                    <a:lnTo>
                      <a:pt x="41" y="208"/>
                    </a:lnTo>
                    <a:lnTo>
                      <a:pt x="41" y="204"/>
                    </a:lnTo>
                    <a:lnTo>
                      <a:pt x="50" y="204"/>
                    </a:lnTo>
                    <a:lnTo>
                      <a:pt x="45" y="208"/>
                    </a:lnTo>
                    <a:lnTo>
                      <a:pt x="45" y="204"/>
                    </a:lnTo>
                    <a:lnTo>
                      <a:pt x="50" y="204"/>
                    </a:lnTo>
                    <a:lnTo>
                      <a:pt x="50" y="204"/>
                    </a:lnTo>
                    <a:lnTo>
                      <a:pt x="50" y="204"/>
                    </a:lnTo>
                    <a:lnTo>
                      <a:pt x="50" y="204"/>
                    </a:lnTo>
                    <a:lnTo>
                      <a:pt x="54" y="204"/>
                    </a:lnTo>
                    <a:lnTo>
                      <a:pt x="54" y="199"/>
                    </a:lnTo>
                    <a:lnTo>
                      <a:pt x="59" y="199"/>
                    </a:lnTo>
                    <a:lnTo>
                      <a:pt x="59" y="199"/>
                    </a:lnTo>
                    <a:lnTo>
                      <a:pt x="59" y="199"/>
                    </a:lnTo>
                    <a:lnTo>
                      <a:pt x="59" y="199"/>
                    </a:lnTo>
                    <a:lnTo>
                      <a:pt x="59" y="199"/>
                    </a:lnTo>
                    <a:lnTo>
                      <a:pt x="59" y="199"/>
                    </a:lnTo>
                    <a:lnTo>
                      <a:pt x="63" y="194"/>
                    </a:lnTo>
                    <a:lnTo>
                      <a:pt x="72" y="194"/>
                    </a:lnTo>
                    <a:lnTo>
                      <a:pt x="77" y="190"/>
                    </a:lnTo>
                    <a:lnTo>
                      <a:pt x="77" y="190"/>
                    </a:lnTo>
                    <a:lnTo>
                      <a:pt x="81" y="190"/>
                    </a:lnTo>
                    <a:lnTo>
                      <a:pt x="81" y="190"/>
                    </a:lnTo>
                    <a:lnTo>
                      <a:pt x="81" y="190"/>
                    </a:lnTo>
                    <a:lnTo>
                      <a:pt x="86" y="190"/>
                    </a:lnTo>
                    <a:lnTo>
                      <a:pt x="90" y="185"/>
                    </a:lnTo>
                    <a:lnTo>
                      <a:pt x="90" y="190"/>
                    </a:lnTo>
                    <a:lnTo>
                      <a:pt x="90" y="190"/>
                    </a:lnTo>
                    <a:lnTo>
                      <a:pt x="90" y="185"/>
                    </a:lnTo>
                    <a:lnTo>
                      <a:pt x="90" y="185"/>
                    </a:lnTo>
                    <a:lnTo>
                      <a:pt x="95" y="185"/>
                    </a:lnTo>
                    <a:lnTo>
                      <a:pt x="99" y="185"/>
                    </a:lnTo>
                    <a:lnTo>
                      <a:pt x="104" y="181"/>
                    </a:lnTo>
                    <a:lnTo>
                      <a:pt x="104" y="181"/>
                    </a:lnTo>
                    <a:lnTo>
                      <a:pt x="104" y="181"/>
                    </a:lnTo>
                    <a:lnTo>
                      <a:pt x="108" y="181"/>
                    </a:lnTo>
                    <a:lnTo>
                      <a:pt x="108" y="181"/>
                    </a:lnTo>
                    <a:lnTo>
                      <a:pt x="108" y="181"/>
                    </a:lnTo>
                    <a:lnTo>
                      <a:pt x="108" y="181"/>
                    </a:lnTo>
                    <a:lnTo>
                      <a:pt x="108" y="181"/>
                    </a:lnTo>
                    <a:lnTo>
                      <a:pt x="113" y="181"/>
                    </a:lnTo>
                    <a:lnTo>
                      <a:pt x="113" y="176"/>
                    </a:lnTo>
                    <a:lnTo>
                      <a:pt x="117" y="176"/>
                    </a:lnTo>
                    <a:lnTo>
                      <a:pt x="117" y="176"/>
                    </a:lnTo>
                    <a:lnTo>
                      <a:pt x="117" y="176"/>
                    </a:lnTo>
                    <a:lnTo>
                      <a:pt x="117" y="176"/>
                    </a:lnTo>
                    <a:lnTo>
                      <a:pt x="122" y="176"/>
                    </a:lnTo>
                    <a:lnTo>
                      <a:pt x="122" y="176"/>
                    </a:lnTo>
                    <a:lnTo>
                      <a:pt x="122" y="176"/>
                    </a:lnTo>
                    <a:lnTo>
                      <a:pt x="122" y="176"/>
                    </a:lnTo>
                    <a:lnTo>
                      <a:pt x="122" y="172"/>
                    </a:lnTo>
                    <a:lnTo>
                      <a:pt x="122" y="172"/>
                    </a:lnTo>
                    <a:lnTo>
                      <a:pt x="122" y="172"/>
                    </a:lnTo>
                    <a:lnTo>
                      <a:pt x="126" y="176"/>
                    </a:lnTo>
                    <a:lnTo>
                      <a:pt x="126" y="172"/>
                    </a:lnTo>
                    <a:lnTo>
                      <a:pt x="126" y="172"/>
                    </a:lnTo>
                    <a:lnTo>
                      <a:pt x="126" y="172"/>
                    </a:lnTo>
                    <a:lnTo>
                      <a:pt x="126" y="172"/>
                    </a:lnTo>
                    <a:lnTo>
                      <a:pt x="126" y="172"/>
                    </a:lnTo>
                    <a:lnTo>
                      <a:pt x="126" y="172"/>
                    </a:lnTo>
                    <a:lnTo>
                      <a:pt x="131" y="172"/>
                    </a:lnTo>
                    <a:lnTo>
                      <a:pt x="131" y="172"/>
                    </a:lnTo>
                    <a:lnTo>
                      <a:pt x="135" y="167"/>
                    </a:lnTo>
                    <a:lnTo>
                      <a:pt x="135" y="167"/>
                    </a:lnTo>
                    <a:lnTo>
                      <a:pt x="135" y="172"/>
                    </a:lnTo>
                    <a:lnTo>
                      <a:pt x="135" y="172"/>
                    </a:lnTo>
                    <a:lnTo>
                      <a:pt x="135" y="172"/>
                    </a:lnTo>
                    <a:lnTo>
                      <a:pt x="135" y="172"/>
                    </a:lnTo>
                    <a:lnTo>
                      <a:pt x="140" y="167"/>
                    </a:lnTo>
                    <a:lnTo>
                      <a:pt x="145" y="163"/>
                    </a:lnTo>
                    <a:lnTo>
                      <a:pt x="145" y="163"/>
                    </a:lnTo>
                    <a:lnTo>
                      <a:pt x="145" y="163"/>
                    </a:lnTo>
                    <a:lnTo>
                      <a:pt x="145" y="163"/>
                    </a:lnTo>
                    <a:lnTo>
                      <a:pt x="145" y="163"/>
                    </a:lnTo>
                    <a:lnTo>
                      <a:pt x="145" y="163"/>
                    </a:lnTo>
                    <a:lnTo>
                      <a:pt x="149" y="158"/>
                    </a:lnTo>
                    <a:lnTo>
                      <a:pt x="154" y="158"/>
                    </a:lnTo>
                    <a:lnTo>
                      <a:pt x="154" y="154"/>
                    </a:lnTo>
                    <a:lnTo>
                      <a:pt x="158" y="154"/>
                    </a:lnTo>
                    <a:lnTo>
                      <a:pt x="163" y="149"/>
                    </a:lnTo>
                    <a:lnTo>
                      <a:pt x="163" y="149"/>
                    </a:lnTo>
                    <a:lnTo>
                      <a:pt x="163" y="149"/>
                    </a:lnTo>
                    <a:lnTo>
                      <a:pt x="167" y="149"/>
                    </a:lnTo>
                    <a:lnTo>
                      <a:pt x="167" y="149"/>
                    </a:lnTo>
                    <a:lnTo>
                      <a:pt x="172" y="145"/>
                    </a:lnTo>
                    <a:lnTo>
                      <a:pt x="176" y="145"/>
                    </a:lnTo>
                    <a:lnTo>
                      <a:pt x="181" y="140"/>
                    </a:lnTo>
                    <a:lnTo>
                      <a:pt x="185" y="136"/>
                    </a:lnTo>
                    <a:lnTo>
                      <a:pt x="190" y="131"/>
                    </a:lnTo>
                    <a:lnTo>
                      <a:pt x="199" y="127"/>
                    </a:lnTo>
                    <a:lnTo>
                      <a:pt x="203" y="127"/>
                    </a:lnTo>
                    <a:lnTo>
                      <a:pt x="203" y="127"/>
                    </a:lnTo>
                    <a:lnTo>
                      <a:pt x="203" y="127"/>
                    </a:lnTo>
                    <a:lnTo>
                      <a:pt x="203" y="127"/>
                    </a:lnTo>
                    <a:lnTo>
                      <a:pt x="203" y="127"/>
                    </a:lnTo>
                    <a:lnTo>
                      <a:pt x="199" y="127"/>
                    </a:lnTo>
                    <a:lnTo>
                      <a:pt x="199" y="131"/>
                    </a:lnTo>
                    <a:lnTo>
                      <a:pt x="199" y="131"/>
                    </a:lnTo>
                    <a:lnTo>
                      <a:pt x="199" y="131"/>
                    </a:lnTo>
                    <a:lnTo>
                      <a:pt x="199" y="136"/>
                    </a:lnTo>
                    <a:lnTo>
                      <a:pt x="199" y="136"/>
                    </a:lnTo>
                    <a:lnTo>
                      <a:pt x="199" y="136"/>
                    </a:lnTo>
                    <a:lnTo>
                      <a:pt x="194" y="140"/>
                    </a:lnTo>
                    <a:lnTo>
                      <a:pt x="194" y="140"/>
                    </a:lnTo>
                    <a:lnTo>
                      <a:pt x="194" y="145"/>
                    </a:lnTo>
                    <a:moveTo>
                      <a:pt x="307" y="14"/>
                    </a:moveTo>
                    <a:lnTo>
                      <a:pt x="307" y="14"/>
                    </a:lnTo>
                    <a:lnTo>
                      <a:pt x="307" y="14"/>
                    </a:lnTo>
                    <a:lnTo>
                      <a:pt x="307" y="14"/>
                    </a:lnTo>
                    <a:lnTo>
                      <a:pt x="312" y="14"/>
                    </a:lnTo>
                    <a:lnTo>
                      <a:pt x="312" y="9"/>
                    </a:lnTo>
                    <a:lnTo>
                      <a:pt x="312" y="14"/>
                    </a:lnTo>
                    <a:lnTo>
                      <a:pt x="312" y="14"/>
                    </a:lnTo>
                    <a:lnTo>
                      <a:pt x="312" y="14"/>
                    </a:lnTo>
                    <a:lnTo>
                      <a:pt x="312" y="14"/>
                    </a:lnTo>
                    <a:lnTo>
                      <a:pt x="312" y="18"/>
                    </a:lnTo>
                    <a:lnTo>
                      <a:pt x="316" y="14"/>
                    </a:lnTo>
                    <a:lnTo>
                      <a:pt x="316" y="14"/>
                    </a:lnTo>
                    <a:lnTo>
                      <a:pt x="316" y="18"/>
                    </a:lnTo>
                    <a:lnTo>
                      <a:pt x="316" y="18"/>
                    </a:lnTo>
                    <a:lnTo>
                      <a:pt x="316" y="18"/>
                    </a:lnTo>
                    <a:lnTo>
                      <a:pt x="316" y="18"/>
                    </a:lnTo>
                    <a:lnTo>
                      <a:pt x="316" y="23"/>
                    </a:lnTo>
                    <a:lnTo>
                      <a:pt x="316" y="23"/>
                    </a:lnTo>
                    <a:lnTo>
                      <a:pt x="316" y="23"/>
                    </a:lnTo>
                    <a:lnTo>
                      <a:pt x="316" y="23"/>
                    </a:lnTo>
                    <a:lnTo>
                      <a:pt x="321" y="23"/>
                    </a:lnTo>
                    <a:lnTo>
                      <a:pt x="316" y="23"/>
                    </a:lnTo>
                    <a:lnTo>
                      <a:pt x="316" y="23"/>
                    </a:lnTo>
                    <a:lnTo>
                      <a:pt x="316" y="23"/>
                    </a:lnTo>
                    <a:lnTo>
                      <a:pt x="316" y="23"/>
                    </a:lnTo>
                    <a:lnTo>
                      <a:pt x="316" y="27"/>
                    </a:lnTo>
                    <a:lnTo>
                      <a:pt x="316" y="27"/>
                    </a:lnTo>
                    <a:lnTo>
                      <a:pt x="316" y="27"/>
                    </a:lnTo>
                    <a:lnTo>
                      <a:pt x="316" y="32"/>
                    </a:lnTo>
                    <a:lnTo>
                      <a:pt x="312" y="32"/>
                    </a:lnTo>
                    <a:lnTo>
                      <a:pt x="312" y="32"/>
                    </a:lnTo>
                    <a:lnTo>
                      <a:pt x="312" y="32"/>
                    </a:lnTo>
                    <a:lnTo>
                      <a:pt x="312" y="32"/>
                    </a:lnTo>
                    <a:lnTo>
                      <a:pt x="312" y="36"/>
                    </a:lnTo>
                    <a:lnTo>
                      <a:pt x="307" y="36"/>
                    </a:lnTo>
                    <a:lnTo>
                      <a:pt x="307" y="41"/>
                    </a:lnTo>
                    <a:lnTo>
                      <a:pt x="307" y="45"/>
                    </a:lnTo>
                    <a:lnTo>
                      <a:pt x="307" y="45"/>
                    </a:lnTo>
                    <a:lnTo>
                      <a:pt x="303" y="45"/>
                    </a:lnTo>
                    <a:lnTo>
                      <a:pt x="303" y="50"/>
                    </a:lnTo>
                    <a:lnTo>
                      <a:pt x="303" y="50"/>
                    </a:lnTo>
                    <a:lnTo>
                      <a:pt x="303" y="50"/>
                    </a:lnTo>
                    <a:lnTo>
                      <a:pt x="298" y="54"/>
                    </a:lnTo>
                    <a:lnTo>
                      <a:pt x="298" y="54"/>
                    </a:lnTo>
                    <a:lnTo>
                      <a:pt x="298" y="54"/>
                    </a:lnTo>
                    <a:lnTo>
                      <a:pt x="298" y="54"/>
                    </a:lnTo>
                    <a:lnTo>
                      <a:pt x="298" y="54"/>
                    </a:lnTo>
                    <a:lnTo>
                      <a:pt x="298" y="59"/>
                    </a:lnTo>
                    <a:lnTo>
                      <a:pt x="298" y="54"/>
                    </a:lnTo>
                    <a:lnTo>
                      <a:pt x="298" y="54"/>
                    </a:lnTo>
                    <a:lnTo>
                      <a:pt x="303" y="59"/>
                    </a:lnTo>
                    <a:lnTo>
                      <a:pt x="303" y="59"/>
                    </a:lnTo>
                    <a:lnTo>
                      <a:pt x="303" y="59"/>
                    </a:lnTo>
                    <a:lnTo>
                      <a:pt x="303" y="59"/>
                    </a:lnTo>
                    <a:lnTo>
                      <a:pt x="298" y="63"/>
                    </a:lnTo>
                    <a:lnTo>
                      <a:pt x="298" y="63"/>
                    </a:lnTo>
                    <a:lnTo>
                      <a:pt x="303" y="63"/>
                    </a:lnTo>
                    <a:lnTo>
                      <a:pt x="303" y="63"/>
                    </a:lnTo>
                    <a:lnTo>
                      <a:pt x="303" y="63"/>
                    </a:lnTo>
                    <a:lnTo>
                      <a:pt x="307" y="59"/>
                    </a:lnTo>
                    <a:lnTo>
                      <a:pt x="307" y="59"/>
                    </a:lnTo>
                    <a:lnTo>
                      <a:pt x="307" y="54"/>
                    </a:lnTo>
                    <a:lnTo>
                      <a:pt x="312" y="54"/>
                    </a:lnTo>
                    <a:lnTo>
                      <a:pt x="312" y="54"/>
                    </a:lnTo>
                    <a:lnTo>
                      <a:pt x="312" y="54"/>
                    </a:lnTo>
                    <a:lnTo>
                      <a:pt x="312" y="50"/>
                    </a:lnTo>
                    <a:lnTo>
                      <a:pt x="312" y="50"/>
                    </a:lnTo>
                    <a:lnTo>
                      <a:pt x="312" y="50"/>
                    </a:lnTo>
                    <a:lnTo>
                      <a:pt x="316" y="50"/>
                    </a:lnTo>
                    <a:lnTo>
                      <a:pt x="312" y="50"/>
                    </a:lnTo>
                    <a:lnTo>
                      <a:pt x="312" y="50"/>
                    </a:lnTo>
                    <a:lnTo>
                      <a:pt x="312" y="54"/>
                    </a:lnTo>
                    <a:lnTo>
                      <a:pt x="312" y="54"/>
                    </a:lnTo>
                    <a:lnTo>
                      <a:pt x="312" y="54"/>
                    </a:lnTo>
                    <a:lnTo>
                      <a:pt x="312" y="59"/>
                    </a:lnTo>
                    <a:lnTo>
                      <a:pt x="312" y="59"/>
                    </a:lnTo>
                    <a:lnTo>
                      <a:pt x="307" y="63"/>
                    </a:lnTo>
                    <a:lnTo>
                      <a:pt x="303" y="68"/>
                    </a:lnTo>
                    <a:lnTo>
                      <a:pt x="303" y="72"/>
                    </a:lnTo>
                    <a:lnTo>
                      <a:pt x="303" y="72"/>
                    </a:lnTo>
                    <a:lnTo>
                      <a:pt x="303" y="72"/>
                    </a:lnTo>
                    <a:lnTo>
                      <a:pt x="303" y="72"/>
                    </a:lnTo>
                    <a:lnTo>
                      <a:pt x="303" y="72"/>
                    </a:lnTo>
                    <a:lnTo>
                      <a:pt x="303" y="72"/>
                    </a:lnTo>
                    <a:lnTo>
                      <a:pt x="303" y="77"/>
                    </a:lnTo>
                    <a:lnTo>
                      <a:pt x="303" y="77"/>
                    </a:lnTo>
                    <a:lnTo>
                      <a:pt x="303" y="77"/>
                    </a:lnTo>
                    <a:lnTo>
                      <a:pt x="307" y="81"/>
                    </a:lnTo>
                    <a:lnTo>
                      <a:pt x="307" y="81"/>
                    </a:lnTo>
                    <a:lnTo>
                      <a:pt x="312" y="81"/>
                    </a:lnTo>
                    <a:lnTo>
                      <a:pt x="312" y="86"/>
                    </a:lnTo>
                    <a:lnTo>
                      <a:pt x="312" y="86"/>
                    </a:lnTo>
                    <a:lnTo>
                      <a:pt x="316" y="81"/>
                    </a:lnTo>
                    <a:lnTo>
                      <a:pt x="316" y="81"/>
                    </a:lnTo>
                    <a:lnTo>
                      <a:pt x="321" y="81"/>
                    </a:lnTo>
                    <a:lnTo>
                      <a:pt x="325" y="77"/>
                    </a:lnTo>
                    <a:lnTo>
                      <a:pt x="325" y="77"/>
                    </a:lnTo>
                    <a:lnTo>
                      <a:pt x="330" y="77"/>
                    </a:lnTo>
                    <a:lnTo>
                      <a:pt x="330" y="77"/>
                    </a:lnTo>
                    <a:lnTo>
                      <a:pt x="330" y="77"/>
                    </a:lnTo>
                    <a:lnTo>
                      <a:pt x="334" y="77"/>
                    </a:lnTo>
                    <a:lnTo>
                      <a:pt x="334" y="77"/>
                    </a:lnTo>
                    <a:lnTo>
                      <a:pt x="334" y="81"/>
                    </a:lnTo>
                    <a:lnTo>
                      <a:pt x="334" y="81"/>
                    </a:lnTo>
                    <a:lnTo>
                      <a:pt x="334" y="81"/>
                    </a:lnTo>
                    <a:lnTo>
                      <a:pt x="330" y="81"/>
                    </a:lnTo>
                    <a:lnTo>
                      <a:pt x="330" y="86"/>
                    </a:lnTo>
                    <a:lnTo>
                      <a:pt x="325" y="90"/>
                    </a:lnTo>
                    <a:lnTo>
                      <a:pt x="316" y="95"/>
                    </a:lnTo>
                    <a:lnTo>
                      <a:pt x="316" y="100"/>
                    </a:lnTo>
                    <a:lnTo>
                      <a:pt x="312" y="100"/>
                    </a:lnTo>
                    <a:lnTo>
                      <a:pt x="312" y="100"/>
                    </a:lnTo>
                    <a:lnTo>
                      <a:pt x="307" y="100"/>
                    </a:lnTo>
                    <a:lnTo>
                      <a:pt x="307" y="104"/>
                    </a:lnTo>
                    <a:lnTo>
                      <a:pt x="303" y="109"/>
                    </a:lnTo>
                    <a:lnTo>
                      <a:pt x="303" y="109"/>
                    </a:lnTo>
                    <a:lnTo>
                      <a:pt x="303" y="109"/>
                    </a:lnTo>
                    <a:lnTo>
                      <a:pt x="298" y="109"/>
                    </a:lnTo>
                    <a:lnTo>
                      <a:pt x="298" y="113"/>
                    </a:lnTo>
                    <a:lnTo>
                      <a:pt x="298" y="109"/>
                    </a:lnTo>
                    <a:lnTo>
                      <a:pt x="298" y="109"/>
                    </a:lnTo>
                    <a:lnTo>
                      <a:pt x="298" y="109"/>
                    </a:lnTo>
                    <a:lnTo>
                      <a:pt x="298" y="109"/>
                    </a:lnTo>
                    <a:lnTo>
                      <a:pt x="294" y="109"/>
                    </a:lnTo>
                    <a:lnTo>
                      <a:pt x="294" y="109"/>
                    </a:lnTo>
                    <a:lnTo>
                      <a:pt x="294" y="109"/>
                    </a:lnTo>
                    <a:lnTo>
                      <a:pt x="289" y="109"/>
                    </a:lnTo>
                    <a:lnTo>
                      <a:pt x="285" y="109"/>
                    </a:lnTo>
                    <a:lnTo>
                      <a:pt x="285" y="109"/>
                    </a:lnTo>
                    <a:lnTo>
                      <a:pt x="280" y="113"/>
                    </a:lnTo>
                    <a:lnTo>
                      <a:pt x="280" y="113"/>
                    </a:lnTo>
                    <a:lnTo>
                      <a:pt x="280" y="118"/>
                    </a:lnTo>
                    <a:lnTo>
                      <a:pt x="276" y="118"/>
                    </a:lnTo>
                    <a:lnTo>
                      <a:pt x="280" y="118"/>
                    </a:lnTo>
                    <a:lnTo>
                      <a:pt x="271" y="122"/>
                    </a:lnTo>
                    <a:lnTo>
                      <a:pt x="266" y="127"/>
                    </a:lnTo>
                    <a:lnTo>
                      <a:pt x="262" y="131"/>
                    </a:lnTo>
                    <a:lnTo>
                      <a:pt x="262" y="131"/>
                    </a:lnTo>
                    <a:lnTo>
                      <a:pt x="257" y="131"/>
                    </a:lnTo>
                    <a:lnTo>
                      <a:pt x="253" y="136"/>
                    </a:lnTo>
                    <a:lnTo>
                      <a:pt x="248" y="136"/>
                    </a:lnTo>
                    <a:lnTo>
                      <a:pt x="248" y="140"/>
                    </a:lnTo>
                    <a:lnTo>
                      <a:pt x="244" y="140"/>
                    </a:lnTo>
                    <a:lnTo>
                      <a:pt x="239" y="145"/>
                    </a:lnTo>
                    <a:lnTo>
                      <a:pt x="235" y="145"/>
                    </a:lnTo>
                    <a:lnTo>
                      <a:pt x="235" y="149"/>
                    </a:lnTo>
                    <a:lnTo>
                      <a:pt x="230" y="149"/>
                    </a:lnTo>
                    <a:lnTo>
                      <a:pt x="226" y="149"/>
                    </a:lnTo>
                    <a:lnTo>
                      <a:pt x="221" y="154"/>
                    </a:lnTo>
                    <a:lnTo>
                      <a:pt x="217" y="154"/>
                    </a:lnTo>
                    <a:lnTo>
                      <a:pt x="217" y="154"/>
                    </a:lnTo>
                    <a:lnTo>
                      <a:pt x="217" y="154"/>
                    </a:lnTo>
                    <a:lnTo>
                      <a:pt x="217" y="154"/>
                    </a:lnTo>
                    <a:lnTo>
                      <a:pt x="217" y="149"/>
                    </a:lnTo>
                    <a:lnTo>
                      <a:pt x="217" y="149"/>
                    </a:lnTo>
                    <a:lnTo>
                      <a:pt x="217" y="149"/>
                    </a:lnTo>
                    <a:lnTo>
                      <a:pt x="212" y="149"/>
                    </a:lnTo>
                    <a:lnTo>
                      <a:pt x="212" y="149"/>
                    </a:lnTo>
                    <a:lnTo>
                      <a:pt x="217" y="149"/>
                    </a:lnTo>
                    <a:lnTo>
                      <a:pt x="217" y="145"/>
                    </a:lnTo>
                    <a:lnTo>
                      <a:pt x="217" y="145"/>
                    </a:lnTo>
                    <a:lnTo>
                      <a:pt x="217" y="145"/>
                    </a:lnTo>
                    <a:lnTo>
                      <a:pt x="217" y="145"/>
                    </a:lnTo>
                    <a:lnTo>
                      <a:pt x="217" y="145"/>
                    </a:lnTo>
                    <a:lnTo>
                      <a:pt x="217" y="145"/>
                    </a:lnTo>
                    <a:lnTo>
                      <a:pt x="212" y="149"/>
                    </a:lnTo>
                    <a:lnTo>
                      <a:pt x="212" y="149"/>
                    </a:lnTo>
                    <a:lnTo>
                      <a:pt x="212" y="145"/>
                    </a:lnTo>
                    <a:lnTo>
                      <a:pt x="212" y="145"/>
                    </a:lnTo>
                    <a:lnTo>
                      <a:pt x="217" y="145"/>
                    </a:lnTo>
                    <a:lnTo>
                      <a:pt x="217" y="145"/>
                    </a:lnTo>
                    <a:lnTo>
                      <a:pt x="221" y="140"/>
                    </a:lnTo>
                    <a:lnTo>
                      <a:pt x="226" y="140"/>
                    </a:lnTo>
                    <a:lnTo>
                      <a:pt x="235" y="136"/>
                    </a:lnTo>
                    <a:lnTo>
                      <a:pt x="235" y="131"/>
                    </a:lnTo>
                    <a:lnTo>
                      <a:pt x="239" y="127"/>
                    </a:lnTo>
                    <a:lnTo>
                      <a:pt x="244" y="127"/>
                    </a:lnTo>
                    <a:lnTo>
                      <a:pt x="244" y="122"/>
                    </a:lnTo>
                    <a:lnTo>
                      <a:pt x="244" y="122"/>
                    </a:lnTo>
                    <a:lnTo>
                      <a:pt x="244" y="118"/>
                    </a:lnTo>
                    <a:lnTo>
                      <a:pt x="244" y="118"/>
                    </a:lnTo>
                    <a:lnTo>
                      <a:pt x="239" y="118"/>
                    </a:lnTo>
                    <a:lnTo>
                      <a:pt x="239" y="113"/>
                    </a:lnTo>
                    <a:lnTo>
                      <a:pt x="239" y="113"/>
                    </a:lnTo>
                    <a:lnTo>
                      <a:pt x="239" y="109"/>
                    </a:lnTo>
                    <a:lnTo>
                      <a:pt x="239" y="109"/>
                    </a:lnTo>
                    <a:lnTo>
                      <a:pt x="239" y="109"/>
                    </a:lnTo>
                    <a:lnTo>
                      <a:pt x="239" y="104"/>
                    </a:lnTo>
                    <a:lnTo>
                      <a:pt x="239" y="104"/>
                    </a:lnTo>
                    <a:lnTo>
                      <a:pt x="239" y="104"/>
                    </a:lnTo>
                    <a:lnTo>
                      <a:pt x="239" y="104"/>
                    </a:lnTo>
                    <a:lnTo>
                      <a:pt x="244" y="100"/>
                    </a:lnTo>
                    <a:lnTo>
                      <a:pt x="244" y="100"/>
                    </a:lnTo>
                    <a:lnTo>
                      <a:pt x="248" y="100"/>
                    </a:lnTo>
                    <a:lnTo>
                      <a:pt x="253" y="100"/>
                    </a:lnTo>
                    <a:lnTo>
                      <a:pt x="253" y="100"/>
                    </a:lnTo>
                    <a:lnTo>
                      <a:pt x="253" y="100"/>
                    </a:lnTo>
                    <a:lnTo>
                      <a:pt x="257" y="100"/>
                    </a:lnTo>
                    <a:lnTo>
                      <a:pt x="257" y="95"/>
                    </a:lnTo>
                    <a:lnTo>
                      <a:pt x="262" y="95"/>
                    </a:lnTo>
                    <a:lnTo>
                      <a:pt x="262" y="90"/>
                    </a:lnTo>
                    <a:lnTo>
                      <a:pt x="266" y="86"/>
                    </a:lnTo>
                    <a:lnTo>
                      <a:pt x="271" y="86"/>
                    </a:lnTo>
                    <a:lnTo>
                      <a:pt x="276" y="81"/>
                    </a:lnTo>
                    <a:lnTo>
                      <a:pt x="276" y="81"/>
                    </a:lnTo>
                    <a:lnTo>
                      <a:pt x="280" y="77"/>
                    </a:lnTo>
                    <a:lnTo>
                      <a:pt x="280" y="77"/>
                    </a:lnTo>
                    <a:lnTo>
                      <a:pt x="280" y="77"/>
                    </a:lnTo>
                    <a:lnTo>
                      <a:pt x="285" y="77"/>
                    </a:lnTo>
                    <a:lnTo>
                      <a:pt x="285" y="72"/>
                    </a:lnTo>
                    <a:lnTo>
                      <a:pt x="285" y="68"/>
                    </a:lnTo>
                    <a:lnTo>
                      <a:pt x="285" y="68"/>
                    </a:lnTo>
                    <a:lnTo>
                      <a:pt x="289" y="68"/>
                    </a:lnTo>
                    <a:lnTo>
                      <a:pt x="289" y="63"/>
                    </a:lnTo>
                    <a:lnTo>
                      <a:pt x="289" y="63"/>
                    </a:lnTo>
                    <a:lnTo>
                      <a:pt x="289" y="63"/>
                    </a:lnTo>
                    <a:lnTo>
                      <a:pt x="289" y="59"/>
                    </a:lnTo>
                    <a:lnTo>
                      <a:pt x="294" y="59"/>
                    </a:lnTo>
                    <a:lnTo>
                      <a:pt x="294" y="59"/>
                    </a:lnTo>
                    <a:lnTo>
                      <a:pt x="289" y="63"/>
                    </a:lnTo>
                    <a:lnTo>
                      <a:pt x="294" y="63"/>
                    </a:lnTo>
                    <a:lnTo>
                      <a:pt x="294" y="59"/>
                    </a:lnTo>
                    <a:lnTo>
                      <a:pt x="294" y="59"/>
                    </a:lnTo>
                    <a:lnTo>
                      <a:pt x="294" y="59"/>
                    </a:lnTo>
                    <a:lnTo>
                      <a:pt x="298" y="59"/>
                    </a:lnTo>
                    <a:lnTo>
                      <a:pt x="294" y="59"/>
                    </a:lnTo>
                    <a:lnTo>
                      <a:pt x="294" y="59"/>
                    </a:lnTo>
                    <a:lnTo>
                      <a:pt x="294" y="59"/>
                    </a:lnTo>
                    <a:lnTo>
                      <a:pt x="294" y="59"/>
                    </a:lnTo>
                    <a:lnTo>
                      <a:pt x="294" y="59"/>
                    </a:lnTo>
                    <a:lnTo>
                      <a:pt x="294" y="54"/>
                    </a:lnTo>
                    <a:lnTo>
                      <a:pt x="294" y="54"/>
                    </a:lnTo>
                    <a:lnTo>
                      <a:pt x="294" y="54"/>
                    </a:lnTo>
                    <a:lnTo>
                      <a:pt x="294" y="45"/>
                    </a:lnTo>
                    <a:lnTo>
                      <a:pt x="298" y="45"/>
                    </a:lnTo>
                    <a:lnTo>
                      <a:pt x="298" y="50"/>
                    </a:lnTo>
                    <a:lnTo>
                      <a:pt x="298" y="50"/>
                    </a:lnTo>
                    <a:lnTo>
                      <a:pt x="298" y="50"/>
                    </a:lnTo>
                    <a:lnTo>
                      <a:pt x="298" y="45"/>
                    </a:lnTo>
                    <a:lnTo>
                      <a:pt x="298" y="45"/>
                    </a:lnTo>
                    <a:lnTo>
                      <a:pt x="298" y="45"/>
                    </a:lnTo>
                    <a:lnTo>
                      <a:pt x="303" y="45"/>
                    </a:lnTo>
                    <a:lnTo>
                      <a:pt x="303" y="41"/>
                    </a:lnTo>
                    <a:lnTo>
                      <a:pt x="303" y="41"/>
                    </a:lnTo>
                    <a:lnTo>
                      <a:pt x="303" y="41"/>
                    </a:lnTo>
                    <a:lnTo>
                      <a:pt x="303" y="41"/>
                    </a:lnTo>
                    <a:lnTo>
                      <a:pt x="303" y="41"/>
                    </a:lnTo>
                    <a:lnTo>
                      <a:pt x="303" y="41"/>
                    </a:lnTo>
                    <a:lnTo>
                      <a:pt x="303" y="41"/>
                    </a:lnTo>
                    <a:lnTo>
                      <a:pt x="298" y="41"/>
                    </a:lnTo>
                    <a:lnTo>
                      <a:pt x="303" y="36"/>
                    </a:lnTo>
                    <a:lnTo>
                      <a:pt x="303" y="36"/>
                    </a:lnTo>
                    <a:lnTo>
                      <a:pt x="303" y="36"/>
                    </a:lnTo>
                    <a:lnTo>
                      <a:pt x="298" y="36"/>
                    </a:lnTo>
                    <a:lnTo>
                      <a:pt x="298" y="41"/>
                    </a:lnTo>
                    <a:lnTo>
                      <a:pt x="298" y="41"/>
                    </a:lnTo>
                    <a:lnTo>
                      <a:pt x="298" y="45"/>
                    </a:lnTo>
                    <a:lnTo>
                      <a:pt x="298" y="45"/>
                    </a:lnTo>
                    <a:lnTo>
                      <a:pt x="298" y="45"/>
                    </a:lnTo>
                    <a:lnTo>
                      <a:pt x="298" y="45"/>
                    </a:lnTo>
                    <a:lnTo>
                      <a:pt x="298" y="41"/>
                    </a:lnTo>
                    <a:lnTo>
                      <a:pt x="298" y="41"/>
                    </a:lnTo>
                    <a:lnTo>
                      <a:pt x="303" y="27"/>
                    </a:lnTo>
                    <a:lnTo>
                      <a:pt x="303" y="23"/>
                    </a:lnTo>
                    <a:lnTo>
                      <a:pt x="307" y="23"/>
                    </a:lnTo>
                    <a:lnTo>
                      <a:pt x="307" y="23"/>
                    </a:lnTo>
                    <a:lnTo>
                      <a:pt x="307" y="23"/>
                    </a:lnTo>
                    <a:lnTo>
                      <a:pt x="307" y="23"/>
                    </a:lnTo>
                    <a:lnTo>
                      <a:pt x="307" y="23"/>
                    </a:lnTo>
                    <a:lnTo>
                      <a:pt x="303" y="23"/>
                    </a:lnTo>
                    <a:lnTo>
                      <a:pt x="303" y="23"/>
                    </a:lnTo>
                    <a:lnTo>
                      <a:pt x="303" y="23"/>
                    </a:lnTo>
                    <a:lnTo>
                      <a:pt x="303" y="23"/>
                    </a:lnTo>
                    <a:lnTo>
                      <a:pt x="303" y="23"/>
                    </a:lnTo>
                    <a:lnTo>
                      <a:pt x="303" y="23"/>
                    </a:lnTo>
                    <a:lnTo>
                      <a:pt x="303" y="23"/>
                    </a:lnTo>
                    <a:lnTo>
                      <a:pt x="303" y="23"/>
                    </a:lnTo>
                    <a:lnTo>
                      <a:pt x="303" y="23"/>
                    </a:lnTo>
                    <a:lnTo>
                      <a:pt x="303" y="18"/>
                    </a:lnTo>
                    <a:lnTo>
                      <a:pt x="303" y="18"/>
                    </a:lnTo>
                    <a:lnTo>
                      <a:pt x="303" y="18"/>
                    </a:lnTo>
                    <a:lnTo>
                      <a:pt x="307" y="14"/>
                    </a:lnTo>
                    <a:lnTo>
                      <a:pt x="307" y="14"/>
                    </a:lnTo>
                    <a:lnTo>
                      <a:pt x="307" y="9"/>
                    </a:lnTo>
                    <a:lnTo>
                      <a:pt x="307" y="5"/>
                    </a:lnTo>
                    <a:lnTo>
                      <a:pt x="307" y="0"/>
                    </a:lnTo>
                    <a:lnTo>
                      <a:pt x="312" y="0"/>
                    </a:lnTo>
                    <a:lnTo>
                      <a:pt x="312" y="0"/>
                    </a:lnTo>
                    <a:lnTo>
                      <a:pt x="312" y="5"/>
                    </a:lnTo>
                    <a:lnTo>
                      <a:pt x="312" y="5"/>
                    </a:lnTo>
                    <a:lnTo>
                      <a:pt x="312" y="5"/>
                    </a:lnTo>
                    <a:lnTo>
                      <a:pt x="307" y="9"/>
                    </a:lnTo>
                    <a:lnTo>
                      <a:pt x="307" y="9"/>
                    </a:lnTo>
                    <a:lnTo>
                      <a:pt x="307" y="14"/>
                    </a:lnTo>
                    <a:lnTo>
                      <a:pt x="307" y="1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04" name="Freeform 125"/>
              <p:cNvSpPr>
                <a:spLocks/>
              </p:cNvSpPr>
              <p:nvPr/>
            </p:nvSpPr>
            <p:spPr bwMode="auto">
              <a:xfrm>
                <a:off x="5683251" y="2192339"/>
                <a:ext cx="200025" cy="257175"/>
              </a:xfrm>
              <a:custGeom>
                <a:avLst/>
                <a:gdLst>
                  <a:gd name="T0" fmla="*/ 68 w 126"/>
                  <a:gd name="T1" fmla="*/ 13 h 162"/>
                  <a:gd name="T2" fmla="*/ 77 w 126"/>
                  <a:gd name="T3" fmla="*/ 22 h 162"/>
                  <a:gd name="T4" fmla="*/ 99 w 126"/>
                  <a:gd name="T5" fmla="*/ 27 h 162"/>
                  <a:gd name="T6" fmla="*/ 104 w 126"/>
                  <a:gd name="T7" fmla="*/ 27 h 162"/>
                  <a:gd name="T8" fmla="*/ 113 w 126"/>
                  <a:gd name="T9" fmla="*/ 36 h 162"/>
                  <a:gd name="T10" fmla="*/ 122 w 126"/>
                  <a:gd name="T11" fmla="*/ 45 h 162"/>
                  <a:gd name="T12" fmla="*/ 126 w 126"/>
                  <a:gd name="T13" fmla="*/ 49 h 162"/>
                  <a:gd name="T14" fmla="*/ 122 w 126"/>
                  <a:gd name="T15" fmla="*/ 63 h 162"/>
                  <a:gd name="T16" fmla="*/ 113 w 126"/>
                  <a:gd name="T17" fmla="*/ 77 h 162"/>
                  <a:gd name="T18" fmla="*/ 108 w 126"/>
                  <a:gd name="T19" fmla="*/ 90 h 162"/>
                  <a:gd name="T20" fmla="*/ 104 w 126"/>
                  <a:gd name="T21" fmla="*/ 86 h 162"/>
                  <a:gd name="T22" fmla="*/ 99 w 126"/>
                  <a:gd name="T23" fmla="*/ 90 h 162"/>
                  <a:gd name="T24" fmla="*/ 95 w 126"/>
                  <a:gd name="T25" fmla="*/ 104 h 162"/>
                  <a:gd name="T26" fmla="*/ 99 w 126"/>
                  <a:gd name="T27" fmla="*/ 113 h 162"/>
                  <a:gd name="T28" fmla="*/ 95 w 126"/>
                  <a:gd name="T29" fmla="*/ 117 h 162"/>
                  <a:gd name="T30" fmla="*/ 81 w 126"/>
                  <a:gd name="T31" fmla="*/ 122 h 162"/>
                  <a:gd name="T32" fmla="*/ 72 w 126"/>
                  <a:gd name="T33" fmla="*/ 135 h 162"/>
                  <a:gd name="T34" fmla="*/ 59 w 126"/>
                  <a:gd name="T35" fmla="*/ 144 h 162"/>
                  <a:gd name="T36" fmla="*/ 59 w 126"/>
                  <a:gd name="T37" fmla="*/ 149 h 162"/>
                  <a:gd name="T38" fmla="*/ 50 w 126"/>
                  <a:gd name="T39" fmla="*/ 153 h 162"/>
                  <a:gd name="T40" fmla="*/ 36 w 126"/>
                  <a:gd name="T41" fmla="*/ 158 h 162"/>
                  <a:gd name="T42" fmla="*/ 23 w 126"/>
                  <a:gd name="T43" fmla="*/ 158 h 162"/>
                  <a:gd name="T44" fmla="*/ 18 w 126"/>
                  <a:gd name="T45" fmla="*/ 149 h 162"/>
                  <a:gd name="T46" fmla="*/ 14 w 126"/>
                  <a:gd name="T47" fmla="*/ 144 h 162"/>
                  <a:gd name="T48" fmla="*/ 9 w 126"/>
                  <a:gd name="T49" fmla="*/ 135 h 162"/>
                  <a:gd name="T50" fmla="*/ 4 w 126"/>
                  <a:gd name="T51" fmla="*/ 126 h 162"/>
                  <a:gd name="T52" fmla="*/ 4 w 126"/>
                  <a:gd name="T53" fmla="*/ 122 h 162"/>
                  <a:gd name="T54" fmla="*/ 4 w 126"/>
                  <a:gd name="T55" fmla="*/ 113 h 162"/>
                  <a:gd name="T56" fmla="*/ 18 w 126"/>
                  <a:gd name="T57" fmla="*/ 108 h 162"/>
                  <a:gd name="T58" fmla="*/ 27 w 126"/>
                  <a:gd name="T59" fmla="*/ 104 h 162"/>
                  <a:gd name="T60" fmla="*/ 41 w 126"/>
                  <a:gd name="T61" fmla="*/ 99 h 162"/>
                  <a:gd name="T62" fmla="*/ 50 w 126"/>
                  <a:gd name="T63" fmla="*/ 95 h 162"/>
                  <a:gd name="T64" fmla="*/ 50 w 126"/>
                  <a:gd name="T65" fmla="*/ 86 h 162"/>
                  <a:gd name="T66" fmla="*/ 54 w 126"/>
                  <a:gd name="T67" fmla="*/ 81 h 162"/>
                  <a:gd name="T68" fmla="*/ 54 w 126"/>
                  <a:gd name="T69" fmla="*/ 72 h 162"/>
                  <a:gd name="T70" fmla="*/ 54 w 126"/>
                  <a:gd name="T71" fmla="*/ 63 h 162"/>
                  <a:gd name="T72" fmla="*/ 54 w 126"/>
                  <a:gd name="T73" fmla="*/ 54 h 162"/>
                  <a:gd name="T74" fmla="*/ 45 w 126"/>
                  <a:gd name="T75" fmla="*/ 45 h 162"/>
                  <a:gd name="T76" fmla="*/ 50 w 126"/>
                  <a:gd name="T77" fmla="*/ 36 h 162"/>
                  <a:gd name="T78" fmla="*/ 50 w 126"/>
                  <a:gd name="T79" fmla="*/ 27 h 162"/>
                  <a:gd name="T80" fmla="*/ 50 w 126"/>
                  <a:gd name="T81" fmla="*/ 22 h 162"/>
                  <a:gd name="T82" fmla="*/ 54 w 126"/>
                  <a:gd name="T83" fmla="*/ 18 h 162"/>
                  <a:gd name="T84" fmla="*/ 54 w 126"/>
                  <a:gd name="T85" fmla="*/ 18 h 162"/>
                  <a:gd name="T86" fmla="*/ 54 w 126"/>
                  <a:gd name="T87" fmla="*/ 13 h 162"/>
                  <a:gd name="T88" fmla="*/ 54 w 126"/>
                  <a:gd name="T89" fmla="*/ 9 h 162"/>
                  <a:gd name="T90" fmla="*/ 54 w 126"/>
                  <a:gd name="T91" fmla="*/ 4 h 162"/>
                  <a:gd name="T92" fmla="*/ 54 w 126"/>
                  <a:gd name="T93" fmla="*/ 4 h 162"/>
                  <a:gd name="T94" fmla="*/ 54 w 126"/>
                  <a:gd name="T95" fmla="*/ 4 h 162"/>
                  <a:gd name="T96" fmla="*/ 59 w 126"/>
                  <a:gd name="T97" fmla="*/ 4 h 162"/>
                  <a:gd name="T98" fmla="*/ 63 w 126"/>
                  <a:gd name="T99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26" h="162">
                    <a:moveTo>
                      <a:pt x="63" y="0"/>
                    </a:moveTo>
                    <a:lnTo>
                      <a:pt x="63" y="0"/>
                    </a:lnTo>
                    <a:lnTo>
                      <a:pt x="63" y="4"/>
                    </a:lnTo>
                    <a:lnTo>
                      <a:pt x="68" y="13"/>
                    </a:lnTo>
                    <a:lnTo>
                      <a:pt x="72" y="13"/>
                    </a:lnTo>
                    <a:lnTo>
                      <a:pt x="72" y="18"/>
                    </a:lnTo>
                    <a:lnTo>
                      <a:pt x="77" y="22"/>
                    </a:lnTo>
                    <a:lnTo>
                      <a:pt x="77" y="22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5" y="27"/>
                    </a:lnTo>
                    <a:lnTo>
                      <a:pt x="99" y="27"/>
                    </a:lnTo>
                    <a:lnTo>
                      <a:pt x="99" y="27"/>
                    </a:lnTo>
                    <a:lnTo>
                      <a:pt x="99" y="27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8" y="31"/>
                    </a:lnTo>
                    <a:lnTo>
                      <a:pt x="108" y="31"/>
                    </a:lnTo>
                    <a:lnTo>
                      <a:pt x="108" y="36"/>
                    </a:lnTo>
                    <a:lnTo>
                      <a:pt x="113" y="36"/>
                    </a:lnTo>
                    <a:lnTo>
                      <a:pt x="113" y="40"/>
                    </a:lnTo>
                    <a:lnTo>
                      <a:pt x="117" y="40"/>
                    </a:lnTo>
                    <a:lnTo>
                      <a:pt x="117" y="45"/>
                    </a:lnTo>
                    <a:lnTo>
                      <a:pt x="122" y="45"/>
                    </a:lnTo>
                    <a:lnTo>
                      <a:pt x="122" y="45"/>
                    </a:lnTo>
                    <a:lnTo>
                      <a:pt x="126" y="49"/>
                    </a:lnTo>
                    <a:lnTo>
                      <a:pt x="126" y="49"/>
                    </a:lnTo>
                    <a:lnTo>
                      <a:pt x="126" y="49"/>
                    </a:lnTo>
                    <a:lnTo>
                      <a:pt x="126" y="54"/>
                    </a:lnTo>
                    <a:lnTo>
                      <a:pt x="126" y="59"/>
                    </a:lnTo>
                    <a:lnTo>
                      <a:pt x="126" y="59"/>
                    </a:lnTo>
                    <a:lnTo>
                      <a:pt x="122" y="63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17" y="72"/>
                    </a:lnTo>
                    <a:lnTo>
                      <a:pt x="113" y="77"/>
                    </a:lnTo>
                    <a:lnTo>
                      <a:pt x="113" y="81"/>
                    </a:lnTo>
                    <a:lnTo>
                      <a:pt x="108" y="86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99" y="86"/>
                    </a:lnTo>
                    <a:lnTo>
                      <a:pt x="99" y="90"/>
                    </a:lnTo>
                    <a:lnTo>
                      <a:pt x="99" y="90"/>
                    </a:lnTo>
                    <a:lnTo>
                      <a:pt x="99" y="95"/>
                    </a:lnTo>
                    <a:lnTo>
                      <a:pt x="99" y="95"/>
                    </a:lnTo>
                    <a:lnTo>
                      <a:pt x="99" y="99"/>
                    </a:lnTo>
                    <a:lnTo>
                      <a:pt x="95" y="104"/>
                    </a:lnTo>
                    <a:lnTo>
                      <a:pt x="99" y="104"/>
                    </a:lnTo>
                    <a:lnTo>
                      <a:pt x="99" y="108"/>
                    </a:lnTo>
                    <a:lnTo>
                      <a:pt x="99" y="108"/>
                    </a:lnTo>
                    <a:lnTo>
                      <a:pt x="99" y="113"/>
                    </a:lnTo>
                    <a:lnTo>
                      <a:pt x="99" y="113"/>
                    </a:lnTo>
                    <a:lnTo>
                      <a:pt x="99" y="117"/>
                    </a:lnTo>
                    <a:lnTo>
                      <a:pt x="99" y="117"/>
                    </a:lnTo>
                    <a:lnTo>
                      <a:pt x="95" y="117"/>
                    </a:lnTo>
                    <a:lnTo>
                      <a:pt x="90" y="117"/>
                    </a:lnTo>
                    <a:lnTo>
                      <a:pt x="86" y="117"/>
                    </a:lnTo>
                    <a:lnTo>
                      <a:pt x="86" y="122"/>
                    </a:lnTo>
                    <a:lnTo>
                      <a:pt x="81" y="122"/>
                    </a:lnTo>
                    <a:lnTo>
                      <a:pt x="81" y="131"/>
                    </a:lnTo>
                    <a:lnTo>
                      <a:pt x="77" y="135"/>
                    </a:lnTo>
                    <a:lnTo>
                      <a:pt x="77" y="135"/>
                    </a:lnTo>
                    <a:lnTo>
                      <a:pt x="72" y="135"/>
                    </a:lnTo>
                    <a:lnTo>
                      <a:pt x="63" y="135"/>
                    </a:lnTo>
                    <a:lnTo>
                      <a:pt x="63" y="135"/>
                    </a:lnTo>
                    <a:lnTo>
                      <a:pt x="59" y="144"/>
                    </a:lnTo>
                    <a:lnTo>
                      <a:pt x="59" y="144"/>
                    </a:lnTo>
                    <a:lnTo>
                      <a:pt x="59" y="144"/>
                    </a:lnTo>
                    <a:lnTo>
                      <a:pt x="59" y="144"/>
                    </a:lnTo>
                    <a:lnTo>
                      <a:pt x="59" y="149"/>
                    </a:lnTo>
                    <a:lnTo>
                      <a:pt x="59" y="149"/>
                    </a:lnTo>
                    <a:lnTo>
                      <a:pt x="59" y="153"/>
                    </a:lnTo>
                    <a:lnTo>
                      <a:pt x="50" y="153"/>
                    </a:lnTo>
                    <a:lnTo>
                      <a:pt x="50" y="153"/>
                    </a:lnTo>
                    <a:lnTo>
                      <a:pt x="50" y="153"/>
                    </a:lnTo>
                    <a:lnTo>
                      <a:pt x="45" y="153"/>
                    </a:lnTo>
                    <a:lnTo>
                      <a:pt x="41" y="153"/>
                    </a:lnTo>
                    <a:lnTo>
                      <a:pt x="36" y="153"/>
                    </a:lnTo>
                    <a:lnTo>
                      <a:pt x="36" y="158"/>
                    </a:lnTo>
                    <a:lnTo>
                      <a:pt x="32" y="158"/>
                    </a:lnTo>
                    <a:lnTo>
                      <a:pt x="27" y="158"/>
                    </a:lnTo>
                    <a:lnTo>
                      <a:pt x="23" y="162"/>
                    </a:lnTo>
                    <a:lnTo>
                      <a:pt x="23" y="158"/>
                    </a:lnTo>
                    <a:lnTo>
                      <a:pt x="23" y="153"/>
                    </a:lnTo>
                    <a:lnTo>
                      <a:pt x="18" y="153"/>
                    </a:lnTo>
                    <a:lnTo>
                      <a:pt x="18" y="149"/>
                    </a:lnTo>
                    <a:lnTo>
                      <a:pt x="18" y="149"/>
                    </a:lnTo>
                    <a:lnTo>
                      <a:pt x="18" y="149"/>
                    </a:lnTo>
                    <a:lnTo>
                      <a:pt x="14" y="144"/>
                    </a:lnTo>
                    <a:lnTo>
                      <a:pt x="14" y="144"/>
                    </a:lnTo>
                    <a:lnTo>
                      <a:pt x="14" y="144"/>
                    </a:lnTo>
                    <a:lnTo>
                      <a:pt x="14" y="140"/>
                    </a:lnTo>
                    <a:lnTo>
                      <a:pt x="14" y="140"/>
                    </a:lnTo>
                    <a:lnTo>
                      <a:pt x="9" y="135"/>
                    </a:lnTo>
                    <a:lnTo>
                      <a:pt x="9" y="135"/>
                    </a:lnTo>
                    <a:lnTo>
                      <a:pt x="9" y="135"/>
                    </a:lnTo>
                    <a:lnTo>
                      <a:pt x="9" y="131"/>
                    </a:lnTo>
                    <a:lnTo>
                      <a:pt x="9" y="131"/>
                    </a:lnTo>
                    <a:lnTo>
                      <a:pt x="4" y="126"/>
                    </a:lnTo>
                    <a:lnTo>
                      <a:pt x="4" y="126"/>
                    </a:lnTo>
                    <a:lnTo>
                      <a:pt x="4" y="122"/>
                    </a:lnTo>
                    <a:lnTo>
                      <a:pt x="4" y="122"/>
                    </a:lnTo>
                    <a:lnTo>
                      <a:pt x="4" y="122"/>
                    </a:lnTo>
                    <a:lnTo>
                      <a:pt x="0" y="117"/>
                    </a:lnTo>
                    <a:lnTo>
                      <a:pt x="0" y="117"/>
                    </a:lnTo>
                    <a:lnTo>
                      <a:pt x="4" y="117"/>
                    </a:lnTo>
                    <a:lnTo>
                      <a:pt x="4" y="113"/>
                    </a:lnTo>
                    <a:lnTo>
                      <a:pt x="9" y="113"/>
                    </a:lnTo>
                    <a:lnTo>
                      <a:pt x="14" y="113"/>
                    </a:lnTo>
                    <a:lnTo>
                      <a:pt x="14" y="113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23" y="108"/>
                    </a:lnTo>
                    <a:lnTo>
                      <a:pt x="27" y="108"/>
                    </a:lnTo>
                    <a:lnTo>
                      <a:pt x="27" y="104"/>
                    </a:lnTo>
                    <a:lnTo>
                      <a:pt x="32" y="104"/>
                    </a:lnTo>
                    <a:lnTo>
                      <a:pt x="36" y="104"/>
                    </a:lnTo>
                    <a:lnTo>
                      <a:pt x="36" y="104"/>
                    </a:lnTo>
                    <a:lnTo>
                      <a:pt x="41" y="99"/>
                    </a:lnTo>
                    <a:lnTo>
                      <a:pt x="41" y="99"/>
                    </a:lnTo>
                    <a:lnTo>
                      <a:pt x="45" y="99"/>
                    </a:lnTo>
                    <a:lnTo>
                      <a:pt x="50" y="99"/>
                    </a:lnTo>
                    <a:lnTo>
                      <a:pt x="50" y="95"/>
                    </a:lnTo>
                    <a:lnTo>
                      <a:pt x="50" y="95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86"/>
                    </a:lnTo>
                    <a:lnTo>
                      <a:pt x="50" y="86"/>
                    </a:lnTo>
                    <a:lnTo>
                      <a:pt x="54" y="86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4" y="77"/>
                    </a:lnTo>
                    <a:lnTo>
                      <a:pt x="54" y="77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3"/>
                    </a:lnTo>
                    <a:lnTo>
                      <a:pt x="54" y="63"/>
                    </a:lnTo>
                    <a:lnTo>
                      <a:pt x="54" y="59"/>
                    </a:lnTo>
                    <a:lnTo>
                      <a:pt x="59" y="59"/>
                    </a:lnTo>
                    <a:lnTo>
                      <a:pt x="54" y="59"/>
                    </a:lnTo>
                    <a:lnTo>
                      <a:pt x="54" y="54"/>
                    </a:lnTo>
                    <a:lnTo>
                      <a:pt x="50" y="49"/>
                    </a:lnTo>
                    <a:lnTo>
                      <a:pt x="50" y="49"/>
                    </a:lnTo>
                    <a:lnTo>
                      <a:pt x="50" y="45"/>
                    </a:lnTo>
                    <a:lnTo>
                      <a:pt x="45" y="45"/>
                    </a:lnTo>
                    <a:lnTo>
                      <a:pt x="45" y="40"/>
                    </a:lnTo>
                    <a:lnTo>
                      <a:pt x="45" y="40"/>
                    </a:lnTo>
                    <a:lnTo>
                      <a:pt x="45" y="40"/>
                    </a:lnTo>
                    <a:lnTo>
                      <a:pt x="50" y="36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63" y="0"/>
                    </a:lnTo>
                    <a:lnTo>
                      <a:pt x="63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05" name="Freeform 126"/>
              <p:cNvSpPr>
                <a:spLocks/>
              </p:cNvSpPr>
              <p:nvPr/>
            </p:nvSpPr>
            <p:spPr bwMode="auto">
              <a:xfrm>
                <a:off x="5876926" y="1819276"/>
                <a:ext cx="379413" cy="407988"/>
              </a:xfrm>
              <a:custGeom>
                <a:avLst/>
                <a:gdLst>
                  <a:gd name="T0" fmla="*/ 203 w 239"/>
                  <a:gd name="T1" fmla="*/ 4 h 257"/>
                  <a:gd name="T2" fmla="*/ 212 w 239"/>
                  <a:gd name="T3" fmla="*/ 13 h 257"/>
                  <a:gd name="T4" fmla="*/ 221 w 239"/>
                  <a:gd name="T5" fmla="*/ 22 h 257"/>
                  <a:gd name="T6" fmla="*/ 230 w 239"/>
                  <a:gd name="T7" fmla="*/ 27 h 257"/>
                  <a:gd name="T8" fmla="*/ 235 w 239"/>
                  <a:gd name="T9" fmla="*/ 40 h 257"/>
                  <a:gd name="T10" fmla="*/ 226 w 239"/>
                  <a:gd name="T11" fmla="*/ 45 h 257"/>
                  <a:gd name="T12" fmla="*/ 208 w 239"/>
                  <a:gd name="T13" fmla="*/ 45 h 257"/>
                  <a:gd name="T14" fmla="*/ 190 w 239"/>
                  <a:gd name="T15" fmla="*/ 49 h 257"/>
                  <a:gd name="T16" fmla="*/ 194 w 239"/>
                  <a:gd name="T17" fmla="*/ 58 h 257"/>
                  <a:gd name="T18" fmla="*/ 194 w 239"/>
                  <a:gd name="T19" fmla="*/ 63 h 257"/>
                  <a:gd name="T20" fmla="*/ 199 w 239"/>
                  <a:gd name="T21" fmla="*/ 72 h 257"/>
                  <a:gd name="T22" fmla="*/ 203 w 239"/>
                  <a:gd name="T23" fmla="*/ 76 h 257"/>
                  <a:gd name="T24" fmla="*/ 212 w 239"/>
                  <a:gd name="T25" fmla="*/ 86 h 257"/>
                  <a:gd name="T26" fmla="*/ 226 w 239"/>
                  <a:gd name="T27" fmla="*/ 95 h 257"/>
                  <a:gd name="T28" fmla="*/ 217 w 239"/>
                  <a:gd name="T29" fmla="*/ 108 h 257"/>
                  <a:gd name="T30" fmla="*/ 217 w 239"/>
                  <a:gd name="T31" fmla="*/ 117 h 257"/>
                  <a:gd name="T32" fmla="*/ 212 w 239"/>
                  <a:gd name="T33" fmla="*/ 131 h 257"/>
                  <a:gd name="T34" fmla="*/ 199 w 239"/>
                  <a:gd name="T35" fmla="*/ 153 h 257"/>
                  <a:gd name="T36" fmla="*/ 190 w 239"/>
                  <a:gd name="T37" fmla="*/ 176 h 257"/>
                  <a:gd name="T38" fmla="*/ 167 w 239"/>
                  <a:gd name="T39" fmla="*/ 176 h 257"/>
                  <a:gd name="T40" fmla="*/ 158 w 239"/>
                  <a:gd name="T41" fmla="*/ 180 h 257"/>
                  <a:gd name="T42" fmla="*/ 154 w 239"/>
                  <a:gd name="T43" fmla="*/ 199 h 257"/>
                  <a:gd name="T44" fmla="*/ 167 w 239"/>
                  <a:gd name="T45" fmla="*/ 208 h 257"/>
                  <a:gd name="T46" fmla="*/ 176 w 239"/>
                  <a:gd name="T47" fmla="*/ 217 h 257"/>
                  <a:gd name="T48" fmla="*/ 185 w 239"/>
                  <a:gd name="T49" fmla="*/ 235 h 257"/>
                  <a:gd name="T50" fmla="*/ 185 w 239"/>
                  <a:gd name="T51" fmla="*/ 244 h 257"/>
                  <a:gd name="T52" fmla="*/ 181 w 239"/>
                  <a:gd name="T53" fmla="*/ 244 h 257"/>
                  <a:gd name="T54" fmla="*/ 167 w 239"/>
                  <a:gd name="T55" fmla="*/ 248 h 257"/>
                  <a:gd name="T56" fmla="*/ 154 w 239"/>
                  <a:gd name="T57" fmla="*/ 244 h 257"/>
                  <a:gd name="T58" fmla="*/ 149 w 239"/>
                  <a:gd name="T59" fmla="*/ 253 h 257"/>
                  <a:gd name="T60" fmla="*/ 140 w 239"/>
                  <a:gd name="T61" fmla="*/ 253 h 257"/>
                  <a:gd name="T62" fmla="*/ 131 w 239"/>
                  <a:gd name="T63" fmla="*/ 253 h 257"/>
                  <a:gd name="T64" fmla="*/ 122 w 239"/>
                  <a:gd name="T65" fmla="*/ 235 h 257"/>
                  <a:gd name="T66" fmla="*/ 104 w 239"/>
                  <a:gd name="T67" fmla="*/ 221 h 257"/>
                  <a:gd name="T68" fmla="*/ 99 w 239"/>
                  <a:gd name="T69" fmla="*/ 226 h 257"/>
                  <a:gd name="T70" fmla="*/ 68 w 239"/>
                  <a:gd name="T71" fmla="*/ 226 h 257"/>
                  <a:gd name="T72" fmla="*/ 54 w 239"/>
                  <a:gd name="T73" fmla="*/ 230 h 257"/>
                  <a:gd name="T74" fmla="*/ 36 w 239"/>
                  <a:gd name="T75" fmla="*/ 230 h 257"/>
                  <a:gd name="T76" fmla="*/ 27 w 239"/>
                  <a:gd name="T77" fmla="*/ 221 h 257"/>
                  <a:gd name="T78" fmla="*/ 32 w 239"/>
                  <a:gd name="T79" fmla="*/ 208 h 257"/>
                  <a:gd name="T80" fmla="*/ 41 w 239"/>
                  <a:gd name="T81" fmla="*/ 203 h 257"/>
                  <a:gd name="T82" fmla="*/ 50 w 239"/>
                  <a:gd name="T83" fmla="*/ 194 h 257"/>
                  <a:gd name="T84" fmla="*/ 41 w 239"/>
                  <a:gd name="T85" fmla="*/ 190 h 257"/>
                  <a:gd name="T86" fmla="*/ 36 w 239"/>
                  <a:gd name="T87" fmla="*/ 171 h 257"/>
                  <a:gd name="T88" fmla="*/ 13 w 239"/>
                  <a:gd name="T89" fmla="*/ 162 h 257"/>
                  <a:gd name="T90" fmla="*/ 9 w 239"/>
                  <a:gd name="T91" fmla="*/ 144 h 257"/>
                  <a:gd name="T92" fmla="*/ 59 w 239"/>
                  <a:gd name="T93" fmla="*/ 149 h 257"/>
                  <a:gd name="T94" fmla="*/ 77 w 239"/>
                  <a:gd name="T95" fmla="*/ 144 h 257"/>
                  <a:gd name="T96" fmla="*/ 86 w 239"/>
                  <a:gd name="T97" fmla="*/ 131 h 257"/>
                  <a:gd name="T98" fmla="*/ 90 w 239"/>
                  <a:gd name="T99" fmla="*/ 113 h 257"/>
                  <a:gd name="T100" fmla="*/ 104 w 239"/>
                  <a:gd name="T101" fmla="*/ 113 h 257"/>
                  <a:gd name="T102" fmla="*/ 113 w 239"/>
                  <a:gd name="T103" fmla="*/ 104 h 257"/>
                  <a:gd name="T104" fmla="*/ 122 w 239"/>
                  <a:gd name="T105" fmla="*/ 104 h 257"/>
                  <a:gd name="T106" fmla="*/ 126 w 239"/>
                  <a:gd name="T107" fmla="*/ 86 h 257"/>
                  <a:gd name="T108" fmla="*/ 140 w 239"/>
                  <a:gd name="T109" fmla="*/ 72 h 257"/>
                  <a:gd name="T110" fmla="*/ 135 w 239"/>
                  <a:gd name="T111" fmla="*/ 58 h 257"/>
                  <a:gd name="T112" fmla="*/ 144 w 239"/>
                  <a:gd name="T113" fmla="*/ 49 h 257"/>
                  <a:gd name="T114" fmla="*/ 149 w 239"/>
                  <a:gd name="T115" fmla="*/ 40 h 257"/>
                  <a:gd name="T116" fmla="*/ 149 w 239"/>
                  <a:gd name="T117" fmla="*/ 31 h 257"/>
                  <a:gd name="T118" fmla="*/ 140 w 239"/>
                  <a:gd name="T119" fmla="*/ 22 h 257"/>
                  <a:gd name="T120" fmla="*/ 149 w 239"/>
                  <a:gd name="T121" fmla="*/ 9 h 257"/>
                  <a:gd name="T122" fmla="*/ 163 w 239"/>
                  <a:gd name="T123" fmla="*/ 4 h 257"/>
                  <a:gd name="T124" fmla="*/ 185 w 239"/>
                  <a:gd name="T125" fmla="*/ 0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39" h="257">
                    <a:moveTo>
                      <a:pt x="194" y="0"/>
                    </a:moveTo>
                    <a:lnTo>
                      <a:pt x="194" y="0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199" y="0"/>
                    </a:lnTo>
                    <a:lnTo>
                      <a:pt x="199" y="0"/>
                    </a:lnTo>
                    <a:lnTo>
                      <a:pt x="203" y="4"/>
                    </a:lnTo>
                    <a:lnTo>
                      <a:pt x="203" y="4"/>
                    </a:lnTo>
                    <a:lnTo>
                      <a:pt x="203" y="4"/>
                    </a:lnTo>
                    <a:lnTo>
                      <a:pt x="203" y="4"/>
                    </a:lnTo>
                    <a:lnTo>
                      <a:pt x="208" y="4"/>
                    </a:lnTo>
                    <a:lnTo>
                      <a:pt x="208" y="4"/>
                    </a:lnTo>
                    <a:lnTo>
                      <a:pt x="208" y="4"/>
                    </a:lnTo>
                    <a:lnTo>
                      <a:pt x="212" y="9"/>
                    </a:lnTo>
                    <a:lnTo>
                      <a:pt x="212" y="9"/>
                    </a:lnTo>
                    <a:lnTo>
                      <a:pt x="212" y="9"/>
                    </a:lnTo>
                    <a:lnTo>
                      <a:pt x="212" y="13"/>
                    </a:lnTo>
                    <a:lnTo>
                      <a:pt x="217" y="13"/>
                    </a:lnTo>
                    <a:lnTo>
                      <a:pt x="212" y="18"/>
                    </a:lnTo>
                    <a:lnTo>
                      <a:pt x="212" y="18"/>
                    </a:lnTo>
                    <a:lnTo>
                      <a:pt x="212" y="18"/>
                    </a:lnTo>
                    <a:lnTo>
                      <a:pt x="217" y="18"/>
                    </a:lnTo>
                    <a:lnTo>
                      <a:pt x="217" y="18"/>
                    </a:lnTo>
                    <a:lnTo>
                      <a:pt x="217" y="18"/>
                    </a:lnTo>
                    <a:lnTo>
                      <a:pt x="217" y="18"/>
                    </a:lnTo>
                    <a:lnTo>
                      <a:pt x="221" y="22"/>
                    </a:lnTo>
                    <a:lnTo>
                      <a:pt x="221" y="22"/>
                    </a:lnTo>
                    <a:lnTo>
                      <a:pt x="221" y="22"/>
                    </a:lnTo>
                    <a:lnTo>
                      <a:pt x="221" y="22"/>
                    </a:lnTo>
                    <a:lnTo>
                      <a:pt x="226" y="22"/>
                    </a:lnTo>
                    <a:lnTo>
                      <a:pt x="226" y="22"/>
                    </a:lnTo>
                    <a:lnTo>
                      <a:pt x="226" y="22"/>
                    </a:lnTo>
                    <a:lnTo>
                      <a:pt x="226" y="22"/>
                    </a:lnTo>
                    <a:lnTo>
                      <a:pt x="230" y="22"/>
                    </a:lnTo>
                    <a:lnTo>
                      <a:pt x="230" y="27"/>
                    </a:lnTo>
                    <a:lnTo>
                      <a:pt x="230" y="27"/>
                    </a:lnTo>
                    <a:lnTo>
                      <a:pt x="235" y="27"/>
                    </a:lnTo>
                    <a:lnTo>
                      <a:pt x="235" y="31"/>
                    </a:lnTo>
                    <a:lnTo>
                      <a:pt x="235" y="31"/>
                    </a:lnTo>
                    <a:lnTo>
                      <a:pt x="235" y="31"/>
                    </a:lnTo>
                    <a:lnTo>
                      <a:pt x="239" y="36"/>
                    </a:lnTo>
                    <a:lnTo>
                      <a:pt x="239" y="36"/>
                    </a:lnTo>
                    <a:lnTo>
                      <a:pt x="239" y="36"/>
                    </a:lnTo>
                    <a:lnTo>
                      <a:pt x="235" y="40"/>
                    </a:lnTo>
                    <a:lnTo>
                      <a:pt x="235" y="40"/>
                    </a:lnTo>
                    <a:lnTo>
                      <a:pt x="235" y="40"/>
                    </a:lnTo>
                    <a:lnTo>
                      <a:pt x="235" y="40"/>
                    </a:lnTo>
                    <a:lnTo>
                      <a:pt x="235" y="40"/>
                    </a:lnTo>
                    <a:lnTo>
                      <a:pt x="230" y="40"/>
                    </a:lnTo>
                    <a:lnTo>
                      <a:pt x="230" y="40"/>
                    </a:lnTo>
                    <a:lnTo>
                      <a:pt x="230" y="40"/>
                    </a:lnTo>
                    <a:lnTo>
                      <a:pt x="226" y="45"/>
                    </a:lnTo>
                    <a:lnTo>
                      <a:pt x="226" y="45"/>
                    </a:lnTo>
                    <a:lnTo>
                      <a:pt x="221" y="45"/>
                    </a:lnTo>
                    <a:lnTo>
                      <a:pt x="221" y="45"/>
                    </a:lnTo>
                    <a:lnTo>
                      <a:pt x="221" y="49"/>
                    </a:lnTo>
                    <a:lnTo>
                      <a:pt x="217" y="49"/>
                    </a:lnTo>
                    <a:lnTo>
                      <a:pt x="217" y="45"/>
                    </a:lnTo>
                    <a:lnTo>
                      <a:pt x="212" y="45"/>
                    </a:lnTo>
                    <a:lnTo>
                      <a:pt x="212" y="45"/>
                    </a:lnTo>
                    <a:lnTo>
                      <a:pt x="208" y="45"/>
                    </a:lnTo>
                    <a:lnTo>
                      <a:pt x="208" y="45"/>
                    </a:lnTo>
                    <a:lnTo>
                      <a:pt x="203" y="45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194" y="45"/>
                    </a:lnTo>
                    <a:lnTo>
                      <a:pt x="194" y="45"/>
                    </a:lnTo>
                    <a:lnTo>
                      <a:pt x="194" y="45"/>
                    </a:lnTo>
                    <a:lnTo>
                      <a:pt x="190" y="45"/>
                    </a:lnTo>
                    <a:lnTo>
                      <a:pt x="190" y="49"/>
                    </a:lnTo>
                    <a:lnTo>
                      <a:pt x="190" y="49"/>
                    </a:lnTo>
                    <a:lnTo>
                      <a:pt x="190" y="49"/>
                    </a:lnTo>
                    <a:lnTo>
                      <a:pt x="190" y="49"/>
                    </a:lnTo>
                    <a:lnTo>
                      <a:pt x="190" y="54"/>
                    </a:lnTo>
                    <a:lnTo>
                      <a:pt x="194" y="54"/>
                    </a:lnTo>
                    <a:lnTo>
                      <a:pt x="194" y="54"/>
                    </a:lnTo>
                    <a:lnTo>
                      <a:pt x="194" y="54"/>
                    </a:lnTo>
                    <a:lnTo>
                      <a:pt x="194" y="54"/>
                    </a:lnTo>
                    <a:lnTo>
                      <a:pt x="194" y="54"/>
                    </a:lnTo>
                    <a:lnTo>
                      <a:pt x="194" y="58"/>
                    </a:lnTo>
                    <a:lnTo>
                      <a:pt x="194" y="58"/>
                    </a:lnTo>
                    <a:lnTo>
                      <a:pt x="194" y="58"/>
                    </a:lnTo>
                    <a:lnTo>
                      <a:pt x="199" y="58"/>
                    </a:lnTo>
                    <a:lnTo>
                      <a:pt x="199" y="58"/>
                    </a:lnTo>
                    <a:lnTo>
                      <a:pt x="199" y="58"/>
                    </a:lnTo>
                    <a:lnTo>
                      <a:pt x="199" y="58"/>
                    </a:lnTo>
                    <a:lnTo>
                      <a:pt x="199" y="58"/>
                    </a:lnTo>
                    <a:lnTo>
                      <a:pt x="199" y="63"/>
                    </a:lnTo>
                    <a:lnTo>
                      <a:pt x="194" y="63"/>
                    </a:lnTo>
                    <a:lnTo>
                      <a:pt x="194" y="63"/>
                    </a:lnTo>
                    <a:lnTo>
                      <a:pt x="194" y="63"/>
                    </a:lnTo>
                    <a:lnTo>
                      <a:pt x="199" y="63"/>
                    </a:lnTo>
                    <a:lnTo>
                      <a:pt x="199" y="67"/>
                    </a:lnTo>
                    <a:lnTo>
                      <a:pt x="199" y="67"/>
                    </a:lnTo>
                    <a:lnTo>
                      <a:pt x="199" y="67"/>
                    </a:lnTo>
                    <a:lnTo>
                      <a:pt x="199" y="67"/>
                    </a:lnTo>
                    <a:lnTo>
                      <a:pt x="199" y="67"/>
                    </a:lnTo>
                    <a:lnTo>
                      <a:pt x="199" y="72"/>
                    </a:lnTo>
                    <a:lnTo>
                      <a:pt x="199" y="72"/>
                    </a:lnTo>
                    <a:lnTo>
                      <a:pt x="199" y="72"/>
                    </a:lnTo>
                    <a:lnTo>
                      <a:pt x="199" y="72"/>
                    </a:lnTo>
                    <a:lnTo>
                      <a:pt x="199" y="72"/>
                    </a:lnTo>
                    <a:lnTo>
                      <a:pt x="203" y="76"/>
                    </a:lnTo>
                    <a:lnTo>
                      <a:pt x="203" y="76"/>
                    </a:lnTo>
                    <a:lnTo>
                      <a:pt x="203" y="76"/>
                    </a:lnTo>
                    <a:lnTo>
                      <a:pt x="203" y="76"/>
                    </a:lnTo>
                    <a:lnTo>
                      <a:pt x="203" y="76"/>
                    </a:lnTo>
                    <a:lnTo>
                      <a:pt x="208" y="81"/>
                    </a:lnTo>
                    <a:lnTo>
                      <a:pt x="208" y="81"/>
                    </a:lnTo>
                    <a:lnTo>
                      <a:pt x="208" y="81"/>
                    </a:lnTo>
                    <a:lnTo>
                      <a:pt x="208" y="81"/>
                    </a:lnTo>
                    <a:lnTo>
                      <a:pt x="212" y="81"/>
                    </a:lnTo>
                    <a:lnTo>
                      <a:pt x="212" y="81"/>
                    </a:lnTo>
                    <a:lnTo>
                      <a:pt x="212" y="81"/>
                    </a:lnTo>
                    <a:lnTo>
                      <a:pt x="212" y="86"/>
                    </a:lnTo>
                    <a:lnTo>
                      <a:pt x="212" y="86"/>
                    </a:lnTo>
                    <a:lnTo>
                      <a:pt x="212" y="86"/>
                    </a:lnTo>
                    <a:lnTo>
                      <a:pt x="217" y="86"/>
                    </a:lnTo>
                    <a:lnTo>
                      <a:pt x="217" y="86"/>
                    </a:lnTo>
                    <a:lnTo>
                      <a:pt x="221" y="86"/>
                    </a:lnTo>
                    <a:lnTo>
                      <a:pt x="221" y="90"/>
                    </a:lnTo>
                    <a:lnTo>
                      <a:pt x="226" y="90"/>
                    </a:lnTo>
                    <a:lnTo>
                      <a:pt x="226" y="90"/>
                    </a:lnTo>
                    <a:lnTo>
                      <a:pt x="226" y="90"/>
                    </a:lnTo>
                    <a:lnTo>
                      <a:pt x="226" y="95"/>
                    </a:lnTo>
                    <a:lnTo>
                      <a:pt x="221" y="95"/>
                    </a:lnTo>
                    <a:lnTo>
                      <a:pt x="221" y="95"/>
                    </a:lnTo>
                    <a:lnTo>
                      <a:pt x="217" y="95"/>
                    </a:lnTo>
                    <a:lnTo>
                      <a:pt x="217" y="99"/>
                    </a:lnTo>
                    <a:lnTo>
                      <a:pt x="217" y="99"/>
                    </a:lnTo>
                    <a:lnTo>
                      <a:pt x="212" y="99"/>
                    </a:lnTo>
                    <a:lnTo>
                      <a:pt x="212" y="99"/>
                    </a:lnTo>
                    <a:lnTo>
                      <a:pt x="217" y="104"/>
                    </a:lnTo>
                    <a:lnTo>
                      <a:pt x="217" y="108"/>
                    </a:lnTo>
                    <a:lnTo>
                      <a:pt x="217" y="108"/>
                    </a:lnTo>
                    <a:lnTo>
                      <a:pt x="217" y="113"/>
                    </a:lnTo>
                    <a:lnTo>
                      <a:pt x="217" y="113"/>
                    </a:lnTo>
                    <a:lnTo>
                      <a:pt x="217" y="113"/>
                    </a:lnTo>
                    <a:lnTo>
                      <a:pt x="221" y="113"/>
                    </a:lnTo>
                    <a:lnTo>
                      <a:pt x="221" y="113"/>
                    </a:lnTo>
                    <a:lnTo>
                      <a:pt x="217" y="117"/>
                    </a:lnTo>
                    <a:lnTo>
                      <a:pt x="217" y="117"/>
                    </a:lnTo>
                    <a:lnTo>
                      <a:pt x="217" y="117"/>
                    </a:lnTo>
                    <a:lnTo>
                      <a:pt x="212" y="122"/>
                    </a:lnTo>
                    <a:lnTo>
                      <a:pt x="212" y="126"/>
                    </a:lnTo>
                    <a:lnTo>
                      <a:pt x="212" y="126"/>
                    </a:lnTo>
                    <a:lnTo>
                      <a:pt x="212" y="126"/>
                    </a:lnTo>
                    <a:lnTo>
                      <a:pt x="212" y="126"/>
                    </a:lnTo>
                    <a:lnTo>
                      <a:pt x="212" y="131"/>
                    </a:lnTo>
                    <a:lnTo>
                      <a:pt x="212" y="131"/>
                    </a:lnTo>
                    <a:lnTo>
                      <a:pt x="212" y="131"/>
                    </a:lnTo>
                    <a:lnTo>
                      <a:pt x="212" y="131"/>
                    </a:lnTo>
                    <a:lnTo>
                      <a:pt x="208" y="135"/>
                    </a:lnTo>
                    <a:lnTo>
                      <a:pt x="203" y="135"/>
                    </a:lnTo>
                    <a:lnTo>
                      <a:pt x="203" y="135"/>
                    </a:lnTo>
                    <a:lnTo>
                      <a:pt x="203" y="140"/>
                    </a:lnTo>
                    <a:lnTo>
                      <a:pt x="203" y="144"/>
                    </a:lnTo>
                    <a:lnTo>
                      <a:pt x="203" y="144"/>
                    </a:lnTo>
                    <a:lnTo>
                      <a:pt x="203" y="149"/>
                    </a:lnTo>
                    <a:lnTo>
                      <a:pt x="199" y="153"/>
                    </a:lnTo>
                    <a:lnTo>
                      <a:pt x="199" y="153"/>
                    </a:lnTo>
                    <a:lnTo>
                      <a:pt x="194" y="158"/>
                    </a:lnTo>
                    <a:lnTo>
                      <a:pt x="194" y="158"/>
                    </a:lnTo>
                    <a:lnTo>
                      <a:pt x="190" y="158"/>
                    </a:lnTo>
                    <a:lnTo>
                      <a:pt x="190" y="162"/>
                    </a:lnTo>
                    <a:lnTo>
                      <a:pt x="190" y="167"/>
                    </a:lnTo>
                    <a:lnTo>
                      <a:pt x="190" y="167"/>
                    </a:lnTo>
                    <a:lnTo>
                      <a:pt x="190" y="171"/>
                    </a:lnTo>
                    <a:lnTo>
                      <a:pt x="190" y="171"/>
                    </a:lnTo>
                    <a:lnTo>
                      <a:pt x="190" y="176"/>
                    </a:lnTo>
                    <a:lnTo>
                      <a:pt x="185" y="176"/>
                    </a:lnTo>
                    <a:lnTo>
                      <a:pt x="181" y="176"/>
                    </a:lnTo>
                    <a:lnTo>
                      <a:pt x="181" y="176"/>
                    </a:lnTo>
                    <a:lnTo>
                      <a:pt x="176" y="176"/>
                    </a:lnTo>
                    <a:lnTo>
                      <a:pt x="172" y="180"/>
                    </a:lnTo>
                    <a:lnTo>
                      <a:pt x="172" y="180"/>
                    </a:lnTo>
                    <a:lnTo>
                      <a:pt x="172" y="180"/>
                    </a:lnTo>
                    <a:lnTo>
                      <a:pt x="167" y="180"/>
                    </a:lnTo>
                    <a:lnTo>
                      <a:pt x="167" y="176"/>
                    </a:lnTo>
                    <a:lnTo>
                      <a:pt x="167" y="176"/>
                    </a:lnTo>
                    <a:lnTo>
                      <a:pt x="167" y="176"/>
                    </a:lnTo>
                    <a:lnTo>
                      <a:pt x="163" y="176"/>
                    </a:lnTo>
                    <a:lnTo>
                      <a:pt x="163" y="176"/>
                    </a:lnTo>
                    <a:lnTo>
                      <a:pt x="163" y="176"/>
                    </a:lnTo>
                    <a:lnTo>
                      <a:pt x="163" y="176"/>
                    </a:lnTo>
                    <a:lnTo>
                      <a:pt x="158" y="176"/>
                    </a:lnTo>
                    <a:lnTo>
                      <a:pt x="158" y="176"/>
                    </a:lnTo>
                    <a:lnTo>
                      <a:pt x="158" y="180"/>
                    </a:lnTo>
                    <a:lnTo>
                      <a:pt x="158" y="185"/>
                    </a:lnTo>
                    <a:lnTo>
                      <a:pt x="154" y="190"/>
                    </a:lnTo>
                    <a:lnTo>
                      <a:pt x="154" y="190"/>
                    </a:lnTo>
                    <a:lnTo>
                      <a:pt x="154" y="190"/>
                    </a:lnTo>
                    <a:lnTo>
                      <a:pt x="154" y="190"/>
                    </a:lnTo>
                    <a:lnTo>
                      <a:pt x="154" y="190"/>
                    </a:lnTo>
                    <a:lnTo>
                      <a:pt x="154" y="194"/>
                    </a:lnTo>
                    <a:lnTo>
                      <a:pt x="154" y="199"/>
                    </a:lnTo>
                    <a:lnTo>
                      <a:pt x="154" y="199"/>
                    </a:lnTo>
                    <a:lnTo>
                      <a:pt x="154" y="199"/>
                    </a:lnTo>
                    <a:lnTo>
                      <a:pt x="154" y="199"/>
                    </a:lnTo>
                    <a:lnTo>
                      <a:pt x="158" y="199"/>
                    </a:lnTo>
                    <a:lnTo>
                      <a:pt x="163" y="203"/>
                    </a:lnTo>
                    <a:lnTo>
                      <a:pt x="163" y="203"/>
                    </a:lnTo>
                    <a:lnTo>
                      <a:pt x="163" y="203"/>
                    </a:lnTo>
                    <a:lnTo>
                      <a:pt x="163" y="203"/>
                    </a:lnTo>
                    <a:lnTo>
                      <a:pt x="167" y="203"/>
                    </a:lnTo>
                    <a:lnTo>
                      <a:pt x="167" y="208"/>
                    </a:lnTo>
                    <a:lnTo>
                      <a:pt x="167" y="208"/>
                    </a:lnTo>
                    <a:lnTo>
                      <a:pt x="167" y="212"/>
                    </a:lnTo>
                    <a:lnTo>
                      <a:pt x="167" y="212"/>
                    </a:lnTo>
                    <a:lnTo>
                      <a:pt x="167" y="212"/>
                    </a:lnTo>
                    <a:lnTo>
                      <a:pt x="172" y="217"/>
                    </a:lnTo>
                    <a:lnTo>
                      <a:pt x="172" y="217"/>
                    </a:lnTo>
                    <a:lnTo>
                      <a:pt x="172" y="217"/>
                    </a:lnTo>
                    <a:lnTo>
                      <a:pt x="172" y="217"/>
                    </a:lnTo>
                    <a:lnTo>
                      <a:pt x="176" y="217"/>
                    </a:lnTo>
                    <a:lnTo>
                      <a:pt x="176" y="217"/>
                    </a:lnTo>
                    <a:lnTo>
                      <a:pt x="176" y="217"/>
                    </a:lnTo>
                    <a:lnTo>
                      <a:pt x="176" y="221"/>
                    </a:lnTo>
                    <a:lnTo>
                      <a:pt x="176" y="226"/>
                    </a:lnTo>
                    <a:lnTo>
                      <a:pt x="176" y="226"/>
                    </a:lnTo>
                    <a:lnTo>
                      <a:pt x="181" y="226"/>
                    </a:lnTo>
                    <a:lnTo>
                      <a:pt x="181" y="230"/>
                    </a:lnTo>
                    <a:lnTo>
                      <a:pt x="185" y="235"/>
                    </a:lnTo>
                    <a:lnTo>
                      <a:pt x="185" y="235"/>
                    </a:lnTo>
                    <a:lnTo>
                      <a:pt x="185" y="239"/>
                    </a:lnTo>
                    <a:lnTo>
                      <a:pt x="185" y="239"/>
                    </a:lnTo>
                    <a:lnTo>
                      <a:pt x="185" y="239"/>
                    </a:lnTo>
                    <a:lnTo>
                      <a:pt x="185" y="239"/>
                    </a:lnTo>
                    <a:lnTo>
                      <a:pt x="185" y="239"/>
                    </a:lnTo>
                    <a:lnTo>
                      <a:pt x="185" y="239"/>
                    </a:lnTo>
                    <a:lnTo>
                      <a:pt x="185" y="244"/>
                    </a:lnTo>
                    <a:lnTo>
                      <a:pt x="185" y="244"/>
                    </a:lnTo>
                    <a:lnTo>
                      <a:pt x="185" y="244"/>
                    </a:lnTo>
                    <a:lnTo>
                      <a:pt x="185" y="244"/>
                    </a:lnTo>
                    <a:lnTo>
                      <a:pt x="185" y="244"/>
                    </a:lnTo>
                    <a:lnTo>
                      <a:pt x="185" y="244"/>
                    </a:lnTo>
                    <a:lnTo>
                      <a:pt x="185" y="244"/>
                    </a:lnTo>
                    <a:lnTo>
                      <a:pt x="185" y="244"/>
                    </a:lnTo>
                    <a:lnTo>
                      <a:pt x="181" y="248"/>
                    </a:lnTo>
                    <a:lnTo>
                      <a:pt x="181" y="244"/>
                    </a:lnTo>
                    <a:lnTo>
                      <a:pt x="181" y="244"/>
                    </a:lnTo>
                    <a:lnTo>
                      <a:pt x="181" y="244"/>
                    </a:lnTo>
                    <a:lnTo>
                      <a:pt x="181" y="244"/>
                    </a:lnTo>
                    <a:lnTo>
                      <a:pt x="181" y="244"/>
                    </a:lnTo>
                    <a:lnTo>
                      <a:pt x="176" y="244"/>
                    </a:lnTo>
                    <a:lnTo>
                      <a:pt x="176" y="244"/>
                    </a:lnTo>
                    <a:lnTo>
                      <a:pt x="172" y="244"/>
                    </a:lnTo>
                    <a:lnTo>
                      <a:pt x="172" y="248"/>
                    </a:lnTo>
                    <a:lnTo>
                      <a:pt x="172" y="248"/>
                    </a:lnTo>
                    <a:lnTo>
                      <a:pt x="172" y="248"/>
                    </a:lnTo>
                    <a:lnTo>
                      <a:pt x="167" y="248"/>
                    </a:lnTo>
                    <a:lnTo>
                      <a:pt x="167" y="248"/>
                    </a:lnTo>
                    <a:lnTo>
                      <a:pt x="163" y="248"/>
                    </a:lnTo>
                    <a:lnTo>
                      <a:pt x="163" y="244"/>
                    </a:lnTo>
                    <a:lnTo>
                      <a:pt x="163" y="244"/>
                    </a:lnTo>
                    <a:lnTo>
                      <a:pt x="158" y="248"/>
                    </a:lnTo>
                    <a:lnTo>
                      <a:pt x="154" y="248"/>
                    </a:lnTo>
                    <a:lnTo>
                      <a:pt x="154" y="244"/>
                    </a:lnTo>
                    <a:lnTo>
                      <a:pt x="154" y="248"/>
                    </a:lnTo>
                    <a:lnTo>
                      <a:pt x="154" y="244"/>
                    </a:lnTo>
                    <a:lnTo>
                      <a:pt x="149" y="248"/>
                    </a:lnTo>
                    <a:lnTo>
                      <a:pt x="149" y="248"/>
                    </a:lnTo>
                    <a:lnTo>
                      <a:pt x="149" y="244"/>
                    </a:lnTo>
                    <a:lnTo>
                      <a:pt x="149" y="244"/>
                    </a:lnTo>
                    <a:lnTo>
                      <a:pt x="149" y="244"/>
                    </a:lnTo>
                    <a:lnTo>
                      <a:pt x="149" y="244"/>
                    </a:lnTo>
                    <a:lnTo>
                      <a:pt x="149" y="248"/>
                    </a:lnTo>
                    <a:lnTo>
                      <a:pt x="149" y="253"/>
                    </a:lnTo>
                    <a:lnTo>
                      <a:pt x="149" y="253"/>
                    </a:lnTo>
                    <a:lnTo>
                      <a:pt x="144" y="253"/>
                    </a:lnTo>
                    <a:lnTo>
                      <a:pt x="144" y="253"/>
                    </a:lnTo>
                    <a:lnTo>
                      <a:pt x="144" y="253"/>
                    </a:lnTo>
                    <a:lnTo>
                      <a:pt x="140" y="253"/>
                    </a:lnTo>
                    <a:lnTo>
                      <a:pt x="140" y="253"/>
                    </a:lnTo>
                    <a:lnTo>
                      <a:pt x="140" y="257"/>
                    </a:lnTo>
                    <a:lnTo>
                      <a:pt x="140" y="257"/>
                    </a:lnTo>
                    <a:lnTo>
                      <a:pt x="140" y="257"/>
                    </a:lnTo>
                    <a:lnTo>
                      <a:pt x="140" y="253"/>
                    </a:lnTo>
                    <a:lnTo>
                      <a:pt x="140" y="253"/>
                    </a:lnTo>
                    <a:lnTo>
                      <a:pt x="135" y="253"/>
                    </a:lnTo>
                    <a:lnTo>
                      <a:pt x="135" y="253"/>
                    </a:lnTo>
                    <a:lnTo>
                      <a:pt x="135" y="253"/>
                    </a:lnTo>
                    <a:lnTo>
                      <a:pt x="131" y="257"/>
                    </a:lnTo>
                    <a:lnTo>
                      <a:pt x="131" y="253"/>
                    </a:lnTo>
                    <a:lnTo>
                      <a:pt x="131" y="253"/>
                    </a:lnTo>
                    <a:lnTo>
                      <a:pt x="131" y="253"/>
                    </a:lnTo>
                    <a:lnTo>
                      <a:pt x="131" y="253"/>
                    </a:lnTo>
                    <a:lnTo>
                      <a:pt x="126" y="253"/>
                    </a:lnTo>
                    <a:lnTo>
                      <a:pt x="126" y="253"/>
                    </a:lnTo>
                    <a:lnTo>
                      <a:pt x="126" y="253"/>
                    </a:lnTo>
                    <a:lnTo>
                      <a:pt x="126" y="248"/>
                    </a:lnTo>
                    <a:lnTo>
                      <a:pt x="126" y="248"/>
                    </a:lnTo>
                    <a:lnTo>
                      <a:pt x="126" y="248"/>
                    </a:lnTo>
                    <a:lnTo>
                      <a:pt x="126" y="244"/>
                    </a:lnTo>
                    <a:lnTo>
                      <a:pt x="122" y="239"/>
                    </a:lnTo>
                    <a:lnTo>
                      <a:pt x="122" y="235"/>
                    </a:lnTo>
                    <a:lnTo>
                      <a:pt x="113" y="235"/>
                    </a:lnTo>
                    <a:lnTo>
                      <a:pt x="113" y="235"/>
                    </a:lnTo>
                    <a:lnTo>
                      <a:pt x="113" y="230"/>
                    </a:lnTo>
                    <a:lnTo>
                      <a:pt x="113" y="230"/>
                    </a:lnTo>
                    <a:lnTo>
                      <a:pt x="108" y="226"/>
                    </a:lnTo>
                    <a:lnTo>
                      <a:pt x="108" y="226"/>
                    </a:lnTo>
                    <a:lnTo>
                      <a:pt x="104" y="221"/>
                    </a:lnTo>
                    <a:lnTo>
                      <a:pt x="104" y="221"/>
                    </a:lnTo>
                    <a:lnTo>
                      <a:pt x="104" y="221"/>
                    </a:lnTo>
                    <a:lnTo>
                      <a:pt x="104" y="221"/>
                    </a:lnTo>
                    <a:lnTo>
                      <a:pt x="99" y="226"/>
                    </a:lnTo>
                    <a:lnTo>
                      <a:pt x="104" y="221"/>
                    </a:lnTo>
                    <a:lnTo>
                      <a:pt x="104" y="226"/>
                    </a:lnTo>
                    <a:lnTo>
                      <a:pt x="108" y="226"/>
                    </a:lnTo>
                    <a:lnTo>
                      <a:pt x="104" y="226"/>
                    </a:lnTo>
                    <a:lnTo>
                      <a:pt x="104" y="226"/>
                    </a:lnTo>
                    <a:lnTo>
                      <a:pt x="104" y="226"/>
                    </a:lnTo>
                    <a:lnTo>
                      <a:pt x="99" y="226"/>
                    </a:lnTo>
                    <a:lnTo>
                      <a:pt x="95" y="226"/>
                    </a:lnTo>
                    <a:lnTo>
                      <a:pt x="90" y="226"/>
                    </a:lnTo>
                    <a:lnTo>
                      <a:pt x="86" y="226"/>
                    </a:lnTo>
                    <a:lnTo>
                      <a:pt x="81" y="226"/>
                    </a:lnTo>
                    <a:lnTo>
                      <a:pt x="77" y="230"/>
                    </a:lnTo>
                    <a:lnTo>
                      <a:pt x="77" y="230"/>
                    </a:lnTo>
                    <a:lnTo>
                      <a:pt x="77" y="230"/>
                    </a:lnTo>
                    <a:lnTo>
                      <a:pt x="68" y="226"/>
                    </a:lnTo>
                    <a:lnTo>
                      <a:pt x="68" y="226"/>
                    </a:lnTo>
                    <a:lnTo>
                      <a:pt x="68" y="226"/>
                    </a:lnTo>
                    <a:lnTo>
                      <a:pt x="68" y="226"/>
                    </a:lnTo>
                    <a:lnTo>
                      <a:pt x="63" y="226"/>
                    </a:lnTo>
                    <a:lnTo>
                      <a:pt x="63" y="226"/>
                    </a:lnTo>
                    <a:lnTo>
                      <a:pt x="59" y="226"/>
                    </a:lnTo>
                    <a:lnTo>
                      <a:pt x="59" y="230"/>
                    </a:lnTo>
                    <a:lnTo>
                      <a:pt x="59" y="230"/>
                    </a:lnTo>
                    <a:lnTo>
                      <a:pt x="54" y="230"/>
                    </a:lnTo>
                    <a:lnTo>
                      <a:pt x="54" y="230"/>
                    </a:lnTo>
                    <a:lnTo>
                      <a:pt x="50" y="230"/>
                    </a:lnTo>
                    <a:lnTo>
                      <a:pt x="45" y="230"/>
                    </a:lnTo>
                    <a:lnTo>
                      <a:pt x="41" y="230"/>
                    </a:lnTo>
                    <a:lnTo>
                      <a:pt x="41" y="230"/>
                    </a:lnTo>
                    <a:lnTo>
                      <a:pt x="41" y="230"/>
                    </a:lnTo>
                    <a:lnTo>
                      <a:pt x="41" y="230"/>
                    </a:lnTo>
                    <a:lnTo>
                      <a:pt x="36" y="230"/>
                    </a:lnTo>
                    <a:lnTo>
                      <a:pt x="36" y="230"/>
                    </a:lnTo>
                    <a:lnTo>
                      <a:pt x="36" y="230"/>
                    </a:lnTo>
                    <a:lnTo>
                      <a:pt x="36" y="230"/>
                    </a:lnTo>
                    <a:lnTo>
                      <a:pt x="32" y="230"/>
                    </a:lnTo>
                    <a:lnTo>
                      <a:pt x="27" y="230"/>
                    </a:lnTo>
                    <a:lnTo>
                      <a:pt x="27" y="230"/>
                    </a:lnTo>
                    <a:lnTo>
                      <a:pt x="27" y="230"/>
                    </a:lnTo>
                    <a:lnTo>
                      <a:pt x="27" y="230"/>
                    </a:lnTo>
                    <a:lnTo>
                      <a:pt x="27" y="226"/>
                    </a:lnTo>
                    <a:lnTo>
                      <a:pt x="27" y="221"/>
                    </a:lnTo>
                    <a:lnTo>
                      <a:pt x="27" y="221"/>
                    </a:lnTo>
                    <a:lnTo>
                      <a:pt x="27" y="221"/>
                    </a:lnTo>
                    <a:lnTo>
                      <a:pt x="27" y="221"/>
                    </a:lnTo>
                    <a:lnTo>
                      <a:pt x="27" y="217"/>
                    </a:lnTo>
                    <a:lnTo>
                      <a:pt x="27" y="217"/>
                    </a:lnTo>
                    <a:lnTo>
                      <a:pt x="27" y="212"/>
                    </a:lnTo>
                    <a:lnTo>
                      <a:pt x="27" y="212"/>
                    </a:lnTo>
                    <a:lnTo>
                      <a:pt x="27" y="212"/>
                    </a:lnTo>
                    <a:lnTo>
                      <a:pt x="32" y="208"/>
                    </a:lnTo>
                    <a:lnTo>
                      <a:pt x="32" y="208"/>
                    </a:lnTo>
                    <a:lnTo>
                      <a:pt x="32" y="208"/>
                    </a:lnTo>
                    <a:lnTo>
                      <a:pt x="36" y="208"/>
                    </a:lnTo>
                    <a:lnTo>
                      <a:pt x="32" y="208"/>
                    </a:lnTo>
                    <a:lnTo>
                      <a:pt x="36" y="208"/>
                    </a:lnTo>
                    <a:lnTo>
                      <a:pt x="36" y="203"/>
                    </a:lnTo>
                    <a:lnTo>
                      <a:pt x="36" y="203"/>
                    </a:lnTo>
                    <a:lnTo>
                      <a:pt x="41" y="203"/>
                    </a:lnTo>
                    <a:lnTo>
                      <a:pt x="41" y="203"/>
                    </a:lnTo>
                    <a:lnTo>
                      <a:pt x="41" y="203"/>
                    </a:lnTo>
                    <a:lnTo>
                      <a:pt x="45" y="203"/>
                    </a:lnTo>
                    <a:lnTo>
                      <a:pt x="50" y="203"/>
                    </a:lnTo>
                    <a:lnTo>
                      <a:pt x="50" y="203"/>
                    </a:lnTo>
                    <a:lnTo>
                      <a:pt x="50" y="199"/>
                    </a:lnTo>
                    <a:lnTo>
                      <a:pt x="50" y="199"/>
                    </a:lnTo>
                    <a:lnTo>
                      <a:pt x="50" y="199"/>
                    </a:lnTo>
                    <a:lnTo>
                      <a:pt x="50" y="194"/>
                    </a:lnTo>
                    <a:lnTo>
                      <a:pt x="50" y="194"/>
                    </a:lnTo>
                    <a:lnTo>
                      <a:pt x="50" y="194"/>
                    </a:lnTo>
                    <a:lnTo>
                      <a:pt x="50" y="194"/>
                    </a:lnTo>
                    <a:lnTo>
                      <a:pt x="50" y="194"/>
                    </a:lnTo>
                    <a:lnTo>
                      <a:pt x="45" y="190"/>
                    </a:lnTo>
                    <a:lnTo>
                      <a:pt x="45" y="190"/>
                    </a:lnTo>
                    <a:lnTo>
                      <a:pt x="41" y="194"/>
                    </a:lnTo>
                    <a:lnTo>
                      <a:pt x="41" y="190"/>
                    </a:lnTo>
                    <a:lnTo>
                      <a:pt x="41" y="190"/>
                    </a:lnTo>
                    <a:lnTo>
                      <a:pt x="41" y="190"/>
                    </a:lnTo>
                    <a:lnTo>
                      <a:pt x="41" y="190"/>
                    </a:lnTo>
                    <a:lnTo>
                      <a:pt x="41" y="190"/>
                    </a:lnTo>
                    <a:lnTo>
                      <a:pt x="41" y="190"/>
                    </a:lnTo>
                    <a:lnTo>
                      <a:pt x="41" y="185"/>
                    </a:lnTo>
                    <a:lnTo>
                      <a:pt x="36" y="180"/>
                    </a:lnTo>
                    <a:lnTo>
                      <a:pt x="36" y="176"/>
                    </a:lnTo>
                    <a:lnTo>
                      <a:pt x="36" y="171"/>
                    </a:lnTo>
                    <a:lnTo>
                      <a:pt x="36" y="171"/>
                    </a:lnTo>
                    <a:lnTo>
                      <a:pt x="36" y="171"/>
                    </a:lnTo>
                    <a:lnTo>
                      <a:pt x="36" y="171"/>
                    </a:lnTo>
                    <a:lnTo>
                      <a:pt x="32" y="171"/>
                    </a:lnTo>
                    <a:lnTo>
                      <a:pt x="32" y="171"/>
                    </a:lnTo>
                    <a:lnTo>
                      <a:pt x="27" y="171"/>
                    </a:lnTo>
                    <a:lnTo>
                      <a:pt x="27" y="167"/>
                    </a:lnTo>
                    <a:lnTo>
                      <a:pt x="23" y="167"/>
                    </a:lnTo>
                    <a:lnTo>
                      <a:pt x="23" y="167"/>
                    </a:lnTo>
                    <a:lnTo>
                      <a:pt x="18" y="167"/>
                    </a:lnTo>
                    <a:lnTo>
                      <a:pt x="13" y="162"/>
                    </a:lnTo>
                    <a:lnTo>
                      <a:pt x="13" y="162"/>
                    </a:lnTo>
                    <a:lnTo>
                      <a:pt x="13" y="158"/>
                    </a:lnTo>
                    <a:lnTo>
                      <a:pt x="9" y="153"/>
                    </a:lnTo>
                    <a:lnTo>
                      <a:pt x="9" y="153"/>
                    </a:lnTo>
                    <a:lnTo>
                      <a:pt x="9" y="153"/>
                    </a:lnTo>
                    <a:lnTo>
                      <a:pt x="4" y="149"/>
                    </a:lnTo>
                    <a:lnTo>
                      <a:pt x="4" y="144"/>
                    </a:lnTo>
                    <a:lnTo>
                      <a:pt x="0" y="144"/>
                    </a:lnTo>
                    <a:lnTo>
                      <a:pt x="4" y="144"/>
                    </a:lnTo>
                    <a:lnTo>
                      <a:pt x="9" y="144"/>
                    </a:lnTo>
                    <a:lnTo>
                      <a:pt x="18" y="149"/>
                    </a:lnTo>
                    <a:lnTo>
                      <a:pt x="27" y="149"/>
                    </a:lnTo>
                    <a:lnTo>
                      <a:pt x="27" y="149"/>
                    </a:lnTo>
                    <a:lnTo>
                      <a:pt x="45" y="149"/>
                    </a:lnTo>
                    <a:lnTo>
                      <a:pt x="50" y="149"/>
                    </a:lnTo>
                    <a:lnTo>
                      <a:pt x="54" y="149"/>
                    </a:lnTo>
                    <a:lnTo>
                      <a:pt x="54" y="149"/>
                    </a:lnTo>
                    <a:lnTo>
                      <a:pt x="54" y="149"/>
                    </a:lnTo>
                    <a:lnTo>
                      <a:pt x="59" y="149"/>
                    </a:lnTo>
                    <a:lnTo>
                      <a:pt x="59" y="149"/>
                    </a:lnTo>
                    <a:lnTo>
                      <a:pt x="59" y="149"/>
                    </a:lnTo>
                    <a:lnTo>
                      <a:pt x="63" y="144"/>
                    </a:lnTo>
                    <a:lnTo>
                      <a:pt x="68" y="144"/>
                    </a:lnTo>
                    <a:lnTo>
                      <a:pt x="68" y="149"/>
                    </a:lnTo>
                    <a:lnTo>
                      <a:pt x="68" y="144"/>
                    </a:lnTo>
                    <a:lnTo>
                      <a:pt x="72" y="144"/>
                    </a:lnTo>
                    <a:lnTo>
                      <a:pt x="77" y="144"/>
                    </a:lnTo>
                    <a:lnTo>
                      <a:pt x="77" y="144"/>
                    </a:lnTo>
                    <a:lnTo>
                      <a:pt x="81" y="140"/>
                    </a:lnTo>
                    <a:lnTo>
                      <a:pt x="86" y="140"/>
                    </a:lnTo>
                    <a:lnTo>
                      <a:pt x="86" y="140"/>
                    </a:lnTo>
                    <a:lnTo>
                      <a:pt x="90" y="140"/>
                    </a:lnTo>
                    <a:lnTo>
                      <a:pt x="90" y="140"/>
                    </a:lnTo>
                    <a:lnTo>
                      <a:pt x="86" y="135"/>
                    </a:lnTo>
                    <a:lnTo>
                      <a:pt x="86" y="135"/>
                    </a:lnTo>
                    <a:lnTo>
                      <a:pt x="86" y="135"/>
                    </a:lnTo>
                    <a:lnTo>
                      <a:pt x="86" y="131"/>
                    </a:lnTo>
                    <a:lnTo>
                      <a:pt x="86" y="126"/>
                    </a:lnTo>
                    <a:lnTo>
                      <a:pt x="86" y="126"/>
                    </a:lnTo>
                    <a:lnTo>
                      <a:pt x="86" y="122"/>
                    </a:lnTo>
                    <a:lnTo>
                      <a:pt x="86" y="122"/>
                    </a:lnTo>
                    <a:lnTo>
                      <a:pt x="86" y="117"/>
                    </a:lnTo>
                    <a:lnTo>
                      <a:pt x="90" y="117"/>
                    </a:lnTo>
                    <a:lnTo>
                      <a:pt x="90" y="117"/>
                    </a:lnTo>
                    <a:lnTo>
                      <a:pt x="90" y="117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95" y="113"/>
                    </a:lnTo>
                    <a:lnTo>
                      <a:pt x="95" y="113"/>
                    </a:lnTo>
                    <a:lnTo>
                      <a:pt x="95" y="113"/>
                    </a:lnTo>
                    <a:lnTo>
                      <a:pt x="99" y="113"/>
                    </a:lnTo>
                    <a:lnTo>
                      <a:pt x="104" y="113"/>
                    </a:lnTo>
                    <a:lnTo>
                      <a:pt x="104" y="113"/>
                    </a:lnTo>
                    <a:lnTo>
                      <a:pt x="104" y="113"/>
                    </a:lnTo>
                    <a:lnTo>
                      <a:pt x="104" y="113"/>
                    </a:lnTo>
                    <a:lnTo>
                      <a:pt x="104" y="113"/>
                    </a:lnTo>
                    <a:lnTo>
                      <a:pt x="104" y="108"/>
                    </a:lnTo>
                    <a:lnTo>
                      <a:pt x="104" y="108"/>
                    </a:lnTo>
                    <a:lnTo>
                      <a:pt x="104" y="108"/>
                    </a:lnTo>
                    <a:lnTo>
                      <a:pt x="104" y="108"/>
                    </a:lnTo>
                    <a:lnTo>
                      <a:pt x="104" y="108"/>
                    </a:lnTo>
                    <a:lnTo>
                      <a:pt x="108" y="104"/>
                    </a:lnTo>
                    <a:lnTo>
                      <a:pt x="108" y="104"/>
                    </a:lnTo>
                    <a:lnTo>
                      <a:pt x="113" y="104"/>
                    </a:lnTo>
                    <a:lnTo>
                      <a:pt x="113" y="104"/>
                    </a:lnTo>
                    <a:lnTo>
                      <a:pt x="113" y="104"/>
                    </a:lnTo>
                    <a:lnTo>
                      <a:pt x="117" y="104"/>
                    </a:lnTo>
                    <a:lnTo>
                      <a:pt x="117" y="104"/>
                    </a:lnTo>
                    <a:lnTo>
                      <a:pt x="117" y="104"/>
                    </a:lnTo>
                    <a:lnTo>
                      <a:pt x="117" y="104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26" y="104"/>
                    </a:lnTo>
                    <a:lnTo>
                      <a:pt x="126" y="104"/>
                    </a:lnTo>
                    <a:lnTo>
                      <a:pt x="126" y="99"/>
                    </a:lnTo>
                    <a:lnTo>
                      <a:pt x="126" y="99"/>
                    </a:lnTo>
                    <a:lnTo>
                      <a:pt x="126" y="95"/>
                    </a:lnTo>
                    <a:lnTo>
                      <a:pt x="126" y="90"/>
                    </a:lnTo>
                    <a:lnTo>
                      <a:pt x="126" y="90"/>
                    </a:lnTo>
                    <a:lnTo>
                      <a:pt x="126" y="86"/>
                    </a:lnTo>
                    <a:lnTo>
                      <a:pt x="126" y="86"/>
                    </a:lnTo>
                    <a:lnTo>
                      <a:pt x="126" y="86"/>
                    </a:lnTo>
                    <a:lnTo>
                      <a:pt x="126" y="81"/>
                    </a:lnTo>
                    <a:lnTo>
                      <a:pt x="126" y="76"/>
                    </a:lnTo>
                    <a:lnTo>
                      <a:pt x="126" y="76"/>
                    </a:lnTo>
                    <a:lnTo>
                      <a:pt x="131" y="76"/>
                    </a:lnTo>
                    <a:lnTo>
                      <a:pt x="135" y="76"/>
                    </a:lnTo>
                    <a:lnTo>
                      <a:pt x="135" y="76"/>
                    </a:lnTo>
                    <a:lnTo>
                      <a:pt x="140" y="72"/>
                    </a:lnTo>
                    <a:lnTo>
                      <a:pt x="140" y="72"/>
                    </a:lnTo>
                    <a:lnTo>
                      <a:pt x="135" y="72"/>
                    </a:lnTo>
                    <a:lnTo>
                      <a:pt x="135" y="67"/>
                    </a:lnTo>
                    <a:lnTo>
                      <a:pt x="131" y="63"/>
                    </a:lnTo>
                    <a:lnTo>
                      <a:pt x="131" y="63"/>
                    </a:lnTo>
                    <a:lnTo>
                      <a:pt x="131" y="58"/>
                    </a:lnTo>
                    <a:lnTo>
                      <a:pt x="131" y="58"/>
                    </a:lnTo>
                    <a:lnTo>
                      <a:pt x="135" y="58"/>
                    </a:lnTo>
                    <a:lnTo>
                      <a:pt x="135" y="58"/>
                    </a:lnTo>
                    <a:lnTo>
                      <a:pt x="135" y="58"/>
                    </a:lnTo>
                    <a:lnTo>
                      <a:pt x="140" y="58"/>
                    </a:lnTo>
                    <a:lnTo>
                      <a:pt x="144" y="58"/>
                    </a:lnTo>
                    <a:lnTo>
                      <a:pt x="149" y="58"/>
                    </a:lnTo>
                    <a:lnTo>
                      <a:pt x="149" y="58"/>
                    </a:lnTo>
                    <a:lnTo>
                      <a:pt x="149" y="54"/>
                    </a:lnTo>
                    <a:lnTo>
                      <a:pt x="149" y="54"/>
                    </a:lnTo>
                    <a:lnTo>
                      <a:pt x="144" y="54"/>
                    </a:lnTo>
                    <a:lnTo>
                      <a:pt x="144" y="49"/>
                    </a:lnTo>
                    <a:lnTo>
                      <a:pt x="144" y="49"/>
                    </a:lnTo>
                    <a:lnTo>
                      <a:pt x="144" y="49"/>
                    </a:lnTo>
                    <a:lnTo>
                      <a:pt x="144" y="49"/>
                    </a:lnTo>
                    <a:lnTo>
                      <a:pt x="144" y="49"/>
                    </a:lnTo>
                    <a:lnTo>
                      <a:pt x="144" y="45"/>
                    </a:lnTo>
                    <a:lnTo>
                      <a:pt x="144" y="45"/>
                    </a:lnTo>
                    <a:lnTo>
                      <a:pt x="149" y="40"/>
                    </a:lnTo>
                    <a:lnTo>
                      <a:pt x="149" y="40"/>
                    </a:lnTo>
                    <a:lnTo>
                      <a:pt x="149" y="40"/>
                    </a:lnTo>
                    <a:lnTo>
                      <a:pt x="149" y="40"/>
                    </a:lnTo>
                    <a:lnTo>
                      <a:pt x="149" y="36"/>
                    </a:lnTo>
                    <a:lnTo>
                      <a:pt x="149" y="36"/>
                    </a:lnTo>
                    <a:lnTo>
                      <a:pt x="149" y="36"/>
                    </a:lnTo>
                    <a:lnTo>
                      <a:pt x="149" y="36"/>
                    </a:lnTo>
                    <a:lnTo>
                      <a:pt x="149" y="36"/>
                    </a:lnTo>
                    <a:lnTo>
                      <a:pt x="149" y="36"/>
                    </a:lnTo>
                    <a:lnTo>
                      <a:pt x="149" y="36"/>
                    </a:lnTo>
                    <a:lnTo>
                      <a:pt x="149" y="31"/>
                    </a:lnTo>
                    <a:lnTo>
                      <a:pt x="149" y="31"/>
                    </a:lnTo>
                    <a:lnTo>
                      <a:pt x="149" y="31"/>
                    </a:lnTo>
                    <a:lnTo>
                      <a:pt x="149" y="31"/>
                    </a:lnTo>
                    <a:lnTo>
                      <a:pt x="149" y="27"/>
                    </a:lnTo>
                    <a:lnTo>
                      <a:pt x="144" y="27"/>
                    </a:lnTo>
                    <a:lnTo>
                      <a:pt x="144" y="22"/>
                    </a:lnTo>
                    <a:lnTo>
                      <a:pt x="144" y="22"/>
                    </a:lnTo>
                    <a:lnTo>
                      <a:pt x="144" y="22"/>
                    </a:lnTo>
                    <a:lnTo>
                      <a:pt x="140" y="22"/>
                    </a:lnTo>
                    <a:lnTo>
                      <a:pt x="140" y="22"/>
                    </a:lnTo>
                    <a:lnTo>
                      <a:pt x="140" y="18"/>
                    </a:lnTo>
                    <a:lnTo>
                      <a:pt x="140" y="18"/>
                    </a:lnTo>
                    <a:lnTo>
                      <a:pt x="144" y="13"/>
                    </a:lnTo>
                    <a:lnTo>
                      <a:pt x="144" y="13"/>
                    </a:lnTo>
                    <a:lnTo>
                      <a:pt x="144" y="13"/>
                    </a:lnTo>
                    <a:lnTo>
                      <a:pt x="144" y="13"/>
                    </a:lnTo>
                    <a:lnTo>
                      <a:pt x="144" y="13"/>
                    </a:lnTo>
                    <a:lnTo>
                      <a:pt x="149" y="13"/>
                    </a:lnTo>
                    <a:lnTo>
                      <a:pt x="149" y="9"/>
                    </a:lnTo>
                    <a:lnTo>
                      <a:pt x="149" y="9"/>
                    </a:lnTo>
                    <a:lnTo>
                      <a:pt x="154" y="9"/>
                    </a:lnTo>
                    <a:lnTo>
                      <a:pt x="154" y="9"/>
                    </a:lnTo>
                    <a:lnTo>
                      <a:pt x="154" y="4"/>
                    </a:lnTo>
                    <a:lnTo>
                      <a:pt x="154" y="4"/>
                    </a:lnTo>
                    <a:lnTo>
                      <a:pt x="158" y="4"/>
                    </a:lnTo>
                    <a:lnTo>
                      <a:pt x="158" y="4"/>
                    </a:lnTo>
                    <a:lnTo>
                      <a:pt x="158" y="4"/>
                    </a:lnTo>
                    <a:lnTo>
                      <a:pt x="163" y="4"/>
                    </a:lnTo>
                    <a:lnTo>
                      <a:pt x="167" y="4"/>
                    </a:lnTo>
                    <a:lnTo>
                      <a:pt x="172" y="4"/>
                    </a:lnTo>
                    <a:lnTo>
                      <a:pt x="176" y="4"/>
                    </a:lnTo>
                    <a:lnTo>
                      <a:pt x="176" y="4"/>
                    </a:lnTo>
                    <a:lnTo>
                      <a:pt x="176" y="4"/>
                    </a:lnTo>
                    <a:lnTo>
                      <a:pt x="181" y="4"/>
                    </a:lnTo>
                    <a:lnTo>
                      <a:pt x="181" y="4"/>
                    </a:lnTo>
                    <a:lnTo>
                      <a:pt x="181" y="4"/>
                    </a:lnTo>
                    <a:lnTo>
                      <a:pt x="185" y="0"/>
                    </a:lnTo>
                    <a:lnTo>
                      <a:pt x="185" y="0"/>
                    </a:lnTo>
                    <a:lnTo>
                      <a:pt x="190" y="0"/>
                    </a:lnTo>
                    <a:lnTo>
                      <a:pt x="190" y="0"/>
                    </a:lnTo>
                    <a:lnTo>
                      <a:pt x="190" y="0"/>
                    </a:lnTo>
                    <a:lnTo>
                      <a:pt x="19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06" name="Freeform 127"/>
              <p:cNvSpPr>
                <a:spLocks/>
              </p:cNvSpPr>
              <p:nvPr/>
            </p:nvSpPr>
            <p:spPr bwMode="auto">
              <a:xfrm>
                <a:off x="1974851" y="2644776"/>
                <a:ext cx="165100" cy="77788"/>
              </a:xfrm>
              <a:custGeom>
                <a:avLst/>
                <a:gdLst>
                  <a:gd name="T0" fmla="*/ 73 w 104"/>
                  <a:gd name="T1" fmla="*/ 4 h 49"/>
                  <a:gd name="T2" fmla="*/ 77 w 104"/>
                  <a:gd name="T3" fmla="*/ 4 h 49"/>
                  <a:gd name="T4" fmla="*/ 95 w 104"/>
                  <a:gd name="T5" fmla="*/ 18 h 49"/>
                  <a:gd name="T6" fmla="*/ 100 w 104"/>
                  <a:gd name="T7" fmla="*/ 22 h 49"/>
                  <a:gd name="T8" fmla="*/ 100 w 104"/>
                  <a:gd name="T9" fmla="*/ 31 h 49"/>
                  <a:gd name="T10" fmla="*/ 100 w 104"/>
                  <a:gd name="T11" fmla="*/ 36 h 49"/>
                  <a:gd name="T12" fmla="*/ 95 w 104"/>
                  <a:gd name="T13" fmla="*/ 40 h 49"/>
                  <a:gd name="T14" fmla="*/ 91 w 104"/>
                  <a:gd name="T15" fmla="*/ 40 h 49"/>
                  <a:gd name="T16" fmla="*/ 91 w 104"/>
                  <a:gd name="T17" fmla="*/ 40 h 49"/>
                  <a:gd name="T18" fmla="*/ 91 w 104"/>
                  <a:gd name="T19" fmla="*/ 49 h 49"/>
                  <a:gd name="T20" fmla="*/ 82 w 104"/>
                  <a:gd name="T21" fmla="*/ 31 h 49"/>
                  <a:gd name="T22" fmla="*/ 82 w 104"/>
                  <a:gd name="T23" fmla="*/ 31 h 49"/>
                  <a:gd name="T24" fmla="*/ 86 w 104"/>
                  <a:gd name="T25" fmla="*/ 27 h 49"/>
                  <a:gd name="T26" fmla="*/ 91 w 104"/>
                  <a:gd name="T27" fmla="*/ 31 h 49"/>
                  <a:gd name="T28" fmla="*/ 86 w 104"/>
                  <a:gd name="T29" fmla="*/ 22 h 49"/>
                  <a:gd name="T30" fmla="*/ 86 w 104"/>
                  <a:gd name="T31" fmla="*/ 27 h 49"/>
                  <a:gd name="T32" fmla="*/ 82 w 104"/>
                  <a:gd name="T33" fmla="*/ 22 h 49"/>
                  <a:gd name="T34" fmla="*/ 82 w 104"/>
                  <a:gd name="T35" fmla="*/ 27 h 49"/>
                  <a:gd name="T36" fmla="*/ 77 w 104"/>
                  <a:gd name="T37" fmla="*/ 18 h 49"/>
                  <a:gd name="T38" fmla="*/ 73 w 104"/>
                  <a:gd name="T39" fmla="*/ 18 h 49"/>
                  <a:gd name="T40" fmla="*/ 64 w 104"/>
                  <a:gd name="T41" fmla="*/ 13 h 49"/>
                  <a:gd name="T42" fmla="*/ 59 w 104"/>
                  <a:gd name="T43" fmla="*/ 18 h 49"/>
                  <a:gd name="T44" fmla="*/ 59 w 104"/>
                  <a:gd name="T45" fmla="*/ 22 h 49"/>
                  <a:gd name="T46" fmla="*/ 46 w 104"/>
                  <a:gd name="T47" fmla="*/ 27 h 49"/>
                  <a:gd name="T48" fmla="*/ 46 w 104"/>
                  <a:gd name="T49" fmla="*/ 31 h 49"/>
                  <a:gd name="T50" fmla="*/ 50 w 104"/>
                  <a:gd name="T51" fmla="*/ 40 h 49"/>
                  <a:gd name="T52" fmla="*/ 46 w 104"/>
                  <a:gd name="T53" fmla="*/ 45 h 49"/>
                  <a:gd name="T54" fmla="*/ 41 w 104"/>
                  <a:gd name="T55" fmla="*/ 49 h 49"/>
                  <a:gd name="T56" fmla="*/ 36 w 104"/>
                  <a:gd name="T57" fmla="*/ 40 h 49"/>
                  <a:gd name="T58" fmla="*/ 32 w 104"/>
                  <a:gd name="T59" fmla="*/ 36 h 49"/>
                  <a:gd name="T60" fmla="*/ 27 w 104"/>
                  <a:gd name="T61" fmla="*/ 40 h 49"/>
                  <a:gd name="T62" fmla="*/ 23 w 104"/>
                  <a:gd name="T63" fmla="*/ 31 h 49"/>
                  <a:gd name="T64" fmla="*/ 14 w 104"/>
                  <a:gd name="T65" fmla="*/ 31 h 49"/>
                  <a:gd name="T66" fmla="*/ 9 w 104"/>
                  <a:gd name="T67" fmla="*/ 27 h 49"/>
                  <a:gd name="T68" fmla="*/ 5 w 104"/>
                  <a:gd name="T69" fmla="*/ 31 h 49"/>
                  <a:gd name="T70" fmla="*/ 0 w 104"/>
                  <a:gd name="T71" fmla="*/ 27 h 49"/>
                  <a:gd name="T72" fmla="*/ 5 w 104"/>
                  <a:gd name="T73" fmla="*/ 22 h 49"/>
                  <a:gd name="T74" fmla="*/ 5 w 104"/>
                  <a:gd name="T75" fmla="*/ 18 h 49"/>
                  <a:gd name="T76" fmla="*/ 9 w 104"/>
                  <a:gd name="T77" fmla="*/ 13 h 49"/>
                  <a:gd name="T78" fmla="*/ 5 w 104"/>
                  <a:gd name="T79" fmla="*/ 13 h 49"/>
                  <a:gd name="T80" fmla="*/ 5 w 104"/>
                  <a:gd name="T81" fmla="*/ 4 h 49"/>
                  <a:gd name="T82" fmla="*/ 9 w 104"/>
                  <a:gd name="T83" fmla="*/ 4 h 49"/>
                  <a:gd name="T84" fmla="*/ 14 w 104"/>
                  <a:gd name="T85" fmla="*/ 4 h 49"/>
                  <a:gd name="T86" fmla="*/ 14 w 104"/>
                  <a:gd name="T87" fmla="*/ 4 h 49"/>
                  <a:gd name="T88" fmla="*/ 18 w 104"/>
                  <a:gd name="T89" fmla="*/ 9 h 49"/>
                  <a:gd name="T90" fmla="*/ 18 w 104"/>
                  <a:gd name="T91" fmla="*/ 13 h 49"/>
                  <a:gd name="T92" fmla="*/ 23 w 104"/>
                  <a:gd name="T93" fmla="*/ 13 h 49"/>
                  <a:gd name="T94" fmla="*/ 23 w 104"/>
                  <a:gd name="T95" fmla="*/ 9 h 49"/>
                  <a:gd name="T96" fmla="*/ 27 w 104"/>
                  <a:gd name="T97" fmla="*/ 18 h 49"/>
                  <a:gd name="T98" fmla="*/ 41 w 104"/>
                  <a:gd name="T99" fmla="*/ 18 h 49"/>
                  <a:gd name="T100" fmla="*/ 55 w 104"/>
                  <a:gd name="T101" fmla="*/ 9 h 49"/>
                  <a:gd name="T102" fmla="*/ 64 w 104"/>
                  <a:gd name="T103" fmla="*/ 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04" h="49">
                    <a:moveTo>
                      <a:pt x="68" y="4"/>
                    </a:moveTo>
                    <a:lnTo>
                      <a:pt x="68" y="4"/>
                    </a:lnTo>
                    <a:lnTo>
                      <a:pt x="68" y="4"/>
                    </a:lnTo>
                    <a:lnTo>
                      <a:pt x="73" y="4"/>
                    </a:lnTo>
                    <a:lnTo>
                      <a:pt x="73" y="4"/>
                    </a:lnTo>
                    <a:lnTo>
                      <a:pt x="73" y="4"/>
                    </a:lnTo>
                    <a:lnTo>
                      <a:pt x="73" y="4"/>
                    </a:lnTo>
                    <a:lnTo>
                      <a:pt x="77" y="4"/>
                    </a:lnTo>
                    <a:lnTo>
                      <a:pt x="82" y="4"/>
                    </a:lnTo>
                    <a:lnTo>
                      <a:pt x="91" y="9"/>
                    </a:lnTo>
                    <a:lnTo>
                      <a:pt x="91" y="13"/>
                    </a:lnTo>
                    <a:lnTo>
                      <a:pt x="95" y="18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27"/>
                    </a:lnTo>
                    <a:lnTo>
                      <a:pt x="100" y="27"/>
                    </a:lnTo>
                    <a:lnTo>
                      <a:pt x="100" y="27"/>
                    </a:lnTo>
                    <a:lnTo>
                      <a:pt x="100" y="31"/>
                    </a:lnTo>
                    <a:lnTo>
                      <a:pt x="100" y="31"/>
                    </a:lnTo>
                    <a:lnTo>
                      <a:pt x="104" y="36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5" y="40"/>
                    </a:lnTo>
                    <a:lnTo>
                      <a:pt x="95" y="45"/>
                    </a:lnTo>
                    <a:lnTo>
                      <a:pt x="95" y="40"/>
                    </a:lnTo>
                    <a:lnTo>
                      <a:pt x="95" y="40"/>
                    </a:lnTo>
                    <a:lnTo>
                      <a:pt x="91" y="40"/>
                    </a:lnTo>
                    <a:lnTo>
                      <a:pt x="91" y="40"/>
                    </a:lnTo>
                    <a:lnTo>
                      <a:pt x="91" y="40"/>
                    </a:lnTo>
                    <a:lnTo>
                      <a:pt x="91" y="40"/>
                    </a:lnTo>
                    <a:lnTo>
                      <a:pt x="91" y="40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49"/>
                    </a:lnTo>
                    <a:lnTo>
                      <a:pt x="86" y="49"/>
                    </a:lnTo>
                    <a:lnTo>
                      <a:pt x="86" y="45"/>
                    </a:lnTo>
                    <a:lnTo>
                      <a:pt x="82" y="36"/>
                    </a:lnTo>
                    <a:lnTo>
                      <a:pt x="82" y="31"/>
                    </a:lnTo>
                    <a:lnTo>
                      <a:pt x="82" y="31"/>
                    </a:lnTo>
                    <a:lnTo>
                      <a:pt x="82" y="31"/>
                    </a:lnTo>
                    <a:lnTo>
                      <a:pt x="82" y="31"/>
                    </a:lnTo>
                    <a:lnTo>
                      <a:pt x="82" y="31"/>
                    </a:lnTo>
                    <a:lnTo>
                      <a:pt x="82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91" y="31"/>
                    </a:lnTo>
                    <a:lnTo>
                      <a:pt x="91" y="31"/>
                    </a:lnTo>
                    <a:lnTo>
                      <a:pt x="91" y="31"/>
                    </a:lnTo>
                    <a:lnTo>
                      <a:pt x="91" y="31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2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2" y="27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7"/>
                    </a:lnTo>
                    <a:lnTo>
                      <a:pt x="82" y="27"/>
                    </a:lnTo>
                    <a:lnTo>
                      <a:pt x="82" y="27"/>
                    </a:lnTo>
                    <a:lnTo>
                      <a:pt x="82" y="27"/>
                    </a:lnTo>
                    <a:lnTo>
                      <a:pt x="82" y="27"/>
                    </a:lnTo>
                    <a:lnTo>
                      <a:pt x="82" y="27"/>
                    </a:lnTo>
                    <a:lnTo>
                      <a:pt x="82" y="22"/>
                    </a:lnTo>
                    <a:lnTo>
                      <a:pt x="77" y="18"/>
                    </a:lnTo>
                    <a:lnTo>
                      <a:pt x="77" y="18"/>
                    </a:lnTo>
                    <a:lnTo>
                      <a:pt x="77" y="18"/>
                    </a:lnTo>
                    <a:lnTo>
                      <a:pt x="77" y="18"/>
                    </a:lnTo>
                    <a:lnTo>
                      <a:pt x="73" y="18"/>
                    </a:lnTo>
                    <a:lnTo>
                      <a:pt x="73" y="13"/>
                    </a:lnTo>
                    <a:lnTo>
                      <a:pt x="73" y="13"/>
                    </a:lnTo>
                    <a:lnTo>
                      <a:pt x="68" y="13"/>
                    </a:lnTo>
                    <a:lnTo>
                      <a:pt x="64" y="13"/>
                    </a:lnTo>
                    <a:lnTo>
                      <a:pt x="64" y="13"/>
                    </a:lnTo>
                    <a:lnTo>
                      <a:pt x="64" y="13"/>
                    </a:lnTo>
                    <a:lnTo>
                      <a:pt x="64" y="18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59" y="22"/>
                    </a:lnTo>
                    <a:lnTo>
                      <a:pt x="59" y="22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46" y="27"/>
                    </a:lnTo>
                    <a:lnTo>
                      <a:pt x="46" y="27"/>
                    </a:lnTo>
                    <a:lnTo>
                      <a:pt x="46" y="31"/>
                    </a:lnTo>
                    <a:lnTo>
                      <a:pt x="46" y="31"/>
                    </a:lnTo>
                    <a:lnTo>
                      <a:pt x="46" y="31"/>
                    </a:lnTo>
                    <a:lnTo>
                      <a:pt x="46" y="31"/>
                    </a:lnTo>
                    <a:lnTo>
                      <a:pt x="46" y="31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45"/>
                    </a:lnTo>
                    <a:lnTo>
                      <a:pt x="50" y="45"/>
                    </a:lnTo>
                    <a:lnTo>
                      <a:pt x="50" y="45"/>
                    </a:lnTo>
                    <a:lnTo>
                      <a:pt x="46" y="45"/>
                    </a:lnTo>
                    <a:lnTo>
                      <a:pt x="46" y="45"/>
                    </a:lnTo>
                    <a:lnTo>
                      <a:pt x="46" y="45"/>
                    </a:lnTo>
                    <a:lnTo>
                      <a:pt x="46" y="49"/>
                    </a:lnTo>
                    <a:lnTo>
                      <a:pt x="41" y="49"/>
                    </a:lnTo>
                    <a:lnTo>
                      <a:pt x="36" y="49"/>
                    </a:lnTo>
                    <a:lnTo>
                      <a:pt x="36" y="49"/>
                    </a:lnTo>
                    <a:lnTo>
                      <a:pt x="36" y="45"/>
                    </a:lnTo>
                    <a:lnTo>
                      <a:pt x="36" y="40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27" y="40"/>
                    </a:lnTo>
                    <a:lnTo>
                      <a:pt x="27" y="40"/>
                    </a:lnTo>
                    <a:lnTo>
                      <a:pt x="23" y="31"/>
                    </a:lnTo>
                    <a:lnTo>
                      <a:pt x="23" y="31"/>
                    </a:lnTo>
                    <a:lnTo>
                      <a:pt x="23" y="31"/>
                    </a:lnTo>
                    <a:lnTo>
                      <a:pt x="23" y="31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4" y="31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13"/>
                    </a:lnTo>
                    <a:lnTo>
                      <a:pt x="27" y="13"/>
                    </a:lnTo>
                    <a:lnTo>
                      <a:pt x="27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41" y="18"/>
                    </a:lnTo>
                    <a:lnTo>
                      <a:pt x="46" y="13"/>
                    </a:lnTo>
                    <a:lnTo>
                      <a:pt x="46" y="13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59" y="9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68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07" name="Freeform 128"/>
              <p:cNvSpPr>
                <a:spLocks/>
              </p:cNvSpPr>
              <p:nvPr/>
            </p:nvSpPr>
            <p:spPr bwMode="auto">
              <a:xfrm>
                <a:off x="2017713" y="2952751"/>
                <a:ext cx="381000" cy="566738"/>
              </a:xfrm>
              <a:custGeom>
                <a:avLst/>
                <a:gdLst>
                  <a:gd name="T0" fmla="*/ 113 w 240"/>
                  <a:gd name="T1" fmla="*/ 4 h 357"/>
                  <a:gd name="T2" fmla="*/ 118 w 240"/>
                  <a:gd name="T3" fmla="*/ 18 h 357"/>
                  <a:gd name="T4" fmla="*/ 131 w 240"/>
                  <a:gd name="T5" fmla="*/ 27 h 357"/>
                  <a:gd name="T6" fmla="*/ 140 w 240"/>
                  <a:gd name="T7" fmla="*/ 36 h 357"/>
                  <a:gd name="T8" fmla="*/ 145 w 240"/>
                  <a:gd name="T9" fmla="*/ 45 h 357"/>
                  <a:gd name="T10" fmla="*/ 159 w 240"/>
                  <a:gd name="T11" fmla="*/ 45 h 357"/>
                  <a:gd name="T12" fmla="*/ 172 w 240"/>
                  <a:gd name="T13" fmla="*/ 45 h 357"/>
                  <a:gd name="T14" fmla="*/ 186 w 240"/>
                  <a:gd name="T15" fmla="*/ 45 h 357"/>
                  <a:gd name="T16" fmla="*/ 195 w 240"/>
                  <a:gd name="T17" fmla="*/ 54 h 357"/>
                  <a:gd name="T18" fmla="*/ 190 w 240"/>
                  <a:gd name="T19" fmla="*/ 72 h 357"/>
                  <a:gd name="T20" fmla="*/ 195 w 240"/>
                  <a:gd name="T21" fmla="*/ 81 h 357"/>
                  <a:gd name="T22" fmla="*/ 181 w 240"/>
                  <a:gd name="T23" fmla="*/ 81 h 357"/>
                  <a:gd name="T24" fmla="*/ 163 w 240"/>
                  <a:gd name="T25" fmla="*/ 86 h 357"/>
                  <a:gd name="T26" fmla="*/ 145 w 240"/>
                  <a:gd name="T27" fmla="*/ 99 h 357"/>
                  <a:gd name="T28" fmla="*/ 140 w 240"/>
                  <a:gd name="T29" fmla="*/ 118 h 357"/>
                  <a:gd name="T30" fmla="*/ 136 w 240"/>
                  <a:gd name="T31" fmla="*/ 131 h 357"/>
                  <a:gd name="T32" fmla="*/ 131 w 240"/>
                  <a:gd name="T33" fmla="*/ 145 h 357"/>
                  <a:gd name="T34" fmla="*/ 131 w 240"/>
                  <a:gd name="T35" fmla="*/ 149 h 357"/>
                  <a:gd name="T36" fmla="*/ 136 w 240"/>
                  <a:gd name="T37" fmla="*/ 154 h 357"/>
                  <a:gd name="T38" fmla="*/ 140 w 240"/>
                  <a:gd name="T39" fmla="*/ 163 h 357"/>
                  <a:gd name="T40" fmla="*/ 145 w 240"/>
                  <a:gd name="T41" fmla="*/ 181 h 357"/>
                  <a:gd name="T42" fmla="*/ 168 w 240"/>
                  <a:gd name="T43" fmla="*/ 190 h 357"/>
                  <a:gd name="T44" fmla="*/ 186 w 240"/>
                  <a:gd name="T45" fmla="*/ 190 h 357"/>
                  <a:gd name="T46" fmla="*/ 195 w 240"/>
                  <a:gd name="T47" fmla="*/ 185 h 357"/>
                  <a:gd name="T48" fmla="*/ 195 w 240"/>
                  <a:gd name="T49" fmla="*/ 212 h 357"/>
                  <a:gd name="T50" fmla="*/ 213 w 240"/>
                  <a:gd name="T51" fmla="*/ 212 h 357"/>
                  <a:gd name="T52" fmla="*/ 231 w 240"/>
                  <a:gd name="T53" fmla="*/ 244 h 357"/>
                  <a:gd name="T54" fmla="*/ 226 w 240"/>
                  <a:gd name="T55" fmla="*/ 262 h 357"/>
                  <a:gd name="T56" fmla="*/ 231 w 240"/>
                  <a:gd name="T57" fmla="*/ 276 h 357"/>
                  <a:gd name="T58" fmla="*/ 226 w 240"/>
                  <a:gd name="T59" fmla="*/ 289 h 357"/>
                  <a:gd name="T60" fmla="*/ 231 w 240"/>
                  <a:gd name="T61" fmla="*/ 312 h 357"/>
                  <a:gd name="T62" fmla="*/ 235 w 240"/>
                  <a:gd name="T63" fmla="*/ 321 h 357"/>
                  <a:gd name="T64" fmla="*/ 231 w 240"/>
                  <a:gd name="T65" fmla="*/ 335 h 357"/>
                  <a:gd name="T66" fmla="*/ 231 w 240"/>
                  <a:gd name="T67" fmla="*/ 344 h 357"/>
                  <a:gd name="T68" fmla="*/ 222 w 240"/>
                  <a:gd name="T69" fmla="*/ 357 h 357"/>
                  <a:gd name="T70" fmla="*/ 199 w 240"/>
                  <a:gd name="T71" fmla="*/ 339 h 357"/>
                  <a:gd name="T72" fmla="*/ 168 w 240"/>
                  <a:gd name="T73" fmla="*/ 321 h 357"/>
                  <a:gd name="T74" fmla="*/ 127 w 240"/>
                  <a:gd name="T75" fmla="*/ 298 h 357"/>
                  <a:gd name="T76" fmla="*/ 104 w 240"/>
                  <a:gd name="T77" fmla="*/ 271 h 357"/>
                  <a:gd name="T78" fmla="*/ 91 w 240"/>
                  <a:gd name="T79" fmla="*/ 240 h 357"/>
                  <a:gd name="T80" fmla="*/ 73 w 240"/>
                  <a:gd name="T81" fmla="*/ 217 h 357"/>
                  <a:gd name="T82" fmla="*/ 50 w 240"/>
                  <a:gd name="T83" fmla="*/ 167 h 357"/>
                  <a:gd name="T84" fmla="*/ 23 w 240"/>
                  <a:gd name="T85" fmla="*/ 131 h 357"/>
                  <a:gd name="T86" fmla="*/ 9 w 240"/>
                  <a:gd name="T87" fmla="*/ 113 h 357"/>
                  <a:gd name="T88" fmla="*/ 0 w 240"/>
                  <a:gd name="T89" fmla="*/ 81 h 357"/>
                  <a:gd name="T90" fmla="*/ 19 w 240"/>
                  <a:gd name="T91" fmla="*/ 68 h 357"/>
                  <a:gd name="T92" fmla="*/ 19 w 240"/>
                  <a:gd name="T93" fmla="*/ 77 h 357"/>
                  <a:gd name="T94" fmla="*/ 14 w 240"/>
                  <a:gd name="T95" fmla="*/ 86 h 357"/>
                  <a:gd name="T96" fmla="*/ 23 w 240"/>
                  <a:gd name="T97" fmla="*/ 86 h 357"/>
                  <a:gd name="T98" fmla="*/ 32 w 240"/>
                  <a:gd name="T99" fmla="*/ 95 h 357"/>
                  <a:gd name="T100" fmla="*/ 41 w 240"/>
                  <a:gd name="T101" fmla="*/ 90 h 357"/>
                  <a:gd name="T102" fmla="*/ 46 w 240"/>
                  <a:gd name="T103" fmla="*/ 81 h 357"/>
                  <a:gd name="T104" fmla="*/ 50 w 240"/>
                  <a:gd name="T105" fmla="*/ 68 h 357"/>
                  <a:gd name="T106" fmla="*/ 50 w 240"/>
                  <a:gd name="T107" fmla="*/ 63 h 357"/>
                  <a:gd name="T108" fmla="*/ 68 w 240"/>
                  <a:gd name="T109" fmla="*/ 54 h 357"/>
                  <a:gd name="T110" fmla="*/ 95 w 240"/>
                  <a:gd name="T111" fmla="*/ 27 h 357"/>
                  <a:gd name="T112" fmla="*/ 100 w 240"/>
                  <a:gd name="T113" fmla="*/ 14 h 357"/>
                  <a:gd name="T114" fmla="*/ 95 w 240"/>
                  <a:gd name="T115" fmla="*/ 0 h 357"/>
                  <a:gd name="T116" fmla="*/ 109 w 240"/>
                  <a:gd name="T117" fmla="*/ 0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0" h="357">
                    <a:moveTo>
                      <a:pt x="109" y="0"/>
                    </a:moveTo>
                    <a:lnTo>
                      <a:pt x="109" y="0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9" y="4"/>
                    </a:lnTo>
                    <a:lnTo>
                      <a:pt x="113" y="4"/>
                    </a:lnTo>
                    <a:lnTo>
                      <a:pt x="113" y="4"/>
                    </a:lnTo>
                    <a:lnTo>
                      <a:pt x="113" y="4"/>
                    </a:lnTo>
                    <a:lnTo>
                      <a:pt x="113" y="4"/>
                    </a:lnTo>
                    <a:lnTo>
                      <a:pt x="113" y="9"/>
                    </a:lnTo>
                    <a:lnTo>
                      <a:pt x="118" y="9"/>
                    </a:lnTo>
                    <a:lnTo>
                      <a:pt x="118" y="9"/>
                    </a:lnTo>
                    <a:lnTo>
                      <a:pt x="118" y="14"/>
                    </a:lnTo>
                    <a:lnTo>
                      <a:pt x="118" y="14"/>
                    </a:lnTo>
                    <a:lnTo>
                      <a:pt x="118" y="14"/>
                    </a:lnTo>
                    <a:lnTo>
                      <a:pt x="118" y="14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22" y="18"/>
                    </a:lnTo>
                    <a:lnTo>
                      <a:pt x="122" y="18"/>
                    </a:lnTo>
                    <a:lnTo>
                      <a:pt x="127" y="18"/>
                    </a:lnTo>
                    <a:lnTo>
                      <a:pt x="127" y="18"/>
                    </a:lnTo>
                    <a:lnTo>
                      <a:pt x="127" y="23"/>
                    </a:lnTo>
                    <a:lnTo>
                      <a:pt x="127" y="23"/>
                    </a:lnTo>
                    <a:lnTo>
                      <a:pt x="127" y="23"/>
                    </a:lnTo>
                    <a:lnTo>
                      <a:pt x="131" y="23"/>
                    </a:lnTo>
                    <a:lnTo>
                      <a:pt x="131" y="23"/>
                    </a:lnTo>
                    <a:lnTo>
                      <a:pt x="131" y="27"/>
                    </a:lnTo>
                    <a:lnTo>
                      <a:pt x="131" y="27"/>
                    </a:lnTo>
                    <a:lnTo>
                      <a:pt x="131" y="27"/>
                    </a:lnTo>
                    <a:lnTo>
                      <a:pt x="131" y="32"/>
                    </a:lnTo>
                    <a:lnTo>
                      <a:pt x="131" y="32"/>
                    </a:lnTo>
                    <a:lnTo>
                      <a:pt x="136" y="32"/>
                    </a:lnTo>
                    <a:lnTo>
                      <a:pt x="136" y="32"/>
                    </a:lnTo>
                    <a:lnTo>
                      <a:pt x="136" y="32"/>
                    </a:lnTo>
                    <a:lnTo>
                      <a:pt x="140" y="32"/>
                    </a:lnTo>
                    <a:lnTo>
                      <a:pt x="140" y="36"/>
                    </a:lnTo>
                    <a:lnTo>
                      <a:pt x="140" y="36"/>
                    </a:lnTo>
                    <a:lnTo>
                      <a:pt x="140" y="36"/>
                    </a:lnTo>
                    <a:lnTo>
                      <a:pt x="140" y="41"/>
                    </a:lnTo>
                    <a:lnTo>
                      <a:pt x="140" y="41"/>
                    </a:lnTo>
                    <a:lnTo>
                      <a:pt x="140" y="41"/>
                    </a:lnTo>
                    <a:lnTo>
                      <a:pt x="140" y="41"/>
                    </a:lnTo>
                    <a:lnTo>
                      <a:pt x="140" y="45"/>
                    </a:lnTo>
                    <a:lnTo>
                      <a:pt x="140" y="45"/>
                    </a:lnTo>
                    <a:lnTo>
                      <a:pt x="145" y="45"/>
                    </a:lnTo>
                    <a:lnTo>
                      <a:pt x="145" y="45"/>
                    </a:lnTo>
                    <a:lnTo>
                      <a:pt x="145" y="45"/>
                    </a:lnTo>
                    <a:lnTo>
                      <a:pt x="150" y="45"/>
                    </a:lnTo>
                    <a:lnTo>
                      <a:pt x="150" y="45"/>
                    </a:lnTo>
                    <a:lnTo>
                      <a:pt x="150" y="45"/>
                    </a:lnTo>
                    <a:lnTo>
                      <a:pt x="150" y="45"/>
                    </a:lnTo>
                    <a:lnTo>
                      <a:pt x="150" y="45"/>
                    </a:lnTo>
                    <a:lnTo>
                      <a:pt x="154" y="45"/>
                    </a:lnTo>
                    <a:lnTo>
                      <a:pt x="154" y="45"/>
                    </a:lnTo>
                    <a:lnTo>
                      <a:pt x="154" y="45"/>
                    </a:lnTo>
                    <a:lnTo>
                      <a:pt x="159" y="45"/>
                    </a:lnTo>
                    <a:lnTo>
                      <a:pt x="159" y="45"/>
                    </a:lnTo>
                    <a:lnTo>
                      <a:pt x="159" y="45"/>
                    </a:lnTo>
                    <a:lnTo>
                      <a:pt x="163" y="41"/>
                    </a:lnTo>
                    <a:lnTo>
                      <a:pt x="163" y="41"/>
                    </a:lnTo>
                    <a:lnTo>
                      <a:pt x="163" y="41"/>
                    </a:lnTo>
                    <a:lnTo>
                      <a:pt x="163" y="41"/>
                    </a:lnTo>
                    <a:lnTo>
                      <a:pt x="168" y="41"/>
                    </a:lnTo>
                    <a:lnTo>
                      <a:pt x="168" y="41"/>
                    </a:lnTo>
                    <a:lnTo>
                      <a:pt x="168" y="41"/>
                    </a:lnTo>
                    <a:lnTo>
                      <a:pt x="168" y="45"/>
                    </a:lnTo>
                    <a:lnTo>
                      <a:pt x="172" y="45"/>
                    </a:lnTo>
                    <a:lnTo>
                      <a:pt x="172" y="45"/>
                    </a:lnTo>
                    <a:lnTo>
                      <a:pt x="172" y="45"/>
                    </a:lnTo>
                    <a:lnTo>
                      <a:pt x="177" y="41"/>
                    </a:lnTo>
                    <a:lnTo>
                      <a:pt x="177" y="41"/>
                    </a:lnTo>
                    <a:lnTo>
                      <a:pt x="177" y="41"/>
                    </a:lnTo>
                    <a:lnTo>
                      <a:pt x="177" y="41"/>
                    </a:lnTo>
                    <a:lnTo>
                      <a:pt x="181" y="45"/>
                    </a:lnTo>
                    <a:lnTo>
                      <a:pt x="186" y="45"/>
                    </a:lnTo>
                    <a:lnTo>
                      <a:pt x="186" y="45"/>
                    </a:lnTo>
                    <a:lnTo>
                      <a:pt x="186" y="45"/>
                    </a:lnTo>
                    <a:lnTo>
                      <a:pt x="186" y="45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5" y="50"/>
                    </a:lnTo>
                    <a:lnTo>
                      <a:pt x="195" y="50"/>
                    </a:lnTo>
                    <a:lnTo>
                      <a:pt x="195" y="50"/>
                    </a:lnTo>
                    <a:lnTo>
                      <a:pt x="195" y="50"/>
                    </a:lnTo>
                    <a:lnTo>
                      <a:pt x="195" y="54"/>
                    </a:lnTo>
                    <a:lnTo>
                      <a:pt x="190" y="59"/>
                    </a:lnTo>
                    <a:lnTo>
                      <a:pt x="190" y="63"/>
                    </a:lnTo>
                    <a:lnTo>
                      <a:pt x="186" y="68"/>
                    </a:lnTo>
                    <a:lnTo>
                      <a:pt x="181" y="72"/>
                    </a:lnTo>
                    <a:lnTo>
                      <a:pt x="181" y="72"/>
                    </a:lnTo>
                    <a:lnTo>
                      <a:pt x="186" y="72"/>
                    </a:lnTo>
                    <a:lnTo>
                      <a:pt x="186" y="72"/>
                    </a:lnTo>
                    <a:lnTo>
                      <a:pt x="190" y="72"/>
                    </a:lnTo>
                    <a:lnTo>
                      <a:pt x="190" y="72"/>
                    </a:lnTo>
                    <a:lnTo>
                      <a:pt x="190" y="72"/>
                    </a:lnTo>
                    <a:lnTo>
                      <a:pt x="190" y="72"/>
                    </a:lnTo>
                    <a:lnTo>
                      <a:pt x="190" y="72"/>
                    </a:lnTo>
                    <a:lnTo>
                      <a:pt x="190" y="77"/>
                    </a:lnTo>
                    <a:lnTo>
                      <a:pt x="195" y="77"/>
                    </a:lnTo>
                    <a:lnTo>
                      <a:pt x="195" y="77"/>
                    </a:lnTo>
                    <a:lnTo>
                      <a:pt x="195" y="81"/>
                    </a:lnTo>
                    <a:lnTo>
                      <a:pt x="195" y="81"/>
                    </a:lnTo>
                    <a:lnTo>
                      <a:pt x="195" y="81"/>
                    </a:lnTo>
                    <a:lnTo>
                      <a:pt x="195" y="81"/>
                    </a:lnTo>
                    <a:lnTo>
                      <a:pt x="195" y="81"/>
                    </a:lnTo>
                    <a:lnTo>
                      <a:pt x="195" y="81"/>
                    </a:lnTo>
                    <a:lnTo>
                      <a:pt x="195" y="81"/>
                    </a:lnTo>
                    <a:lnTo>
                      <a:pt x="190" y="81"/>
                    </a:lnTo>
                    <a:lnTo>
                      <a:pt x="190" y="81"/>
                    </a:lnTo>
                    <a:lnTo>
                      <a:pt x="190" y="81"/>
                    </a:lnTo>
                    <a:lnTo>
                      <a:pt x="190" y="81"/>
                    </a:lnTo>
                    <a:lnTo>
                      <a:pt x="186" y="81"/>
                    </a:lnTo>
                    <a:lnTo>
                      <a:pt x="186" y="81"/>
                    </a:lnTo>
                    <a:lnTo>
                      <a:pt x="181" y="81"/>
                    </a:lnTo>
                    <a:lnTo>
                      <a:pt x="181" y="81"/>
                    </a:lnTo>
                    <a:lnTo>
                      <a:pt x="181" y="81"/>
                    </a:lnTo>
                    <a:lnTo>
                      <a:pt x="181" y="81"/>
                    </a:lnTo>
                    <a:lnTo>
                      <a:pt x="181" y="81"/>
                    </a:lnTo>
                    <a:lnTo>
                      <a:pt x="177" y="86"/>
                    </a:lnTo>
                    <a:lnTo>
                      <a:pt x="177" y="86"/>
                    </a:lnTo>
                    <a:lnTo>
                      <a:pt x="172" y="86"/>
                    </a:lnTo>
                    <a:lnTo>
                      <a:pt x="172" y="86"/>
                    </a:lnTo>
                    <a:lnTo>
                      <a:pt x="168" y="86"/>
                    </a:lnTo>
                    <a:lnTo>
                      <a:pt x="168" y="86"/>
                    </a:lnTo>
                    <a:lnTo>
                      <a:pt x="163" y="86"/>
                    </a:lnTo>
                    <a:lnTo>
                      <a:pt x="163" y="86"/>
                    </a:lnTo>
                    <a:lnTo>
                      <a:pt x="163" y="86"/>
                    </a:lnTo>
                    <a:lnTo>
                      <a:pt x="159" y="90"/>
                    </a:lnTo>
                    <a:lnTo>
                      <a:pt x="159" y="90"/>
                    </a:lnTo>
                    <a:lnTo>
                      <a:pt x="154" y="90"/>
                    </a:lnTo>
                    <a:lnTo>
                      <a:pt x="154" y="95"/>
                    </a:lnTo>
                    <a:lnTo>
                      <a:pt x="150" y="95"/>
                    </a:lnTo>
                    <a:lnTo>
                      <a:pt x="150" y="99"/>
                    </a:lnTo>
                    <a:lnTo>
                      <a:pt x="150" y="99"/>
                    </a:lnTo>
                    <a:lnTo>
                      <a:pt x="145" y="99"/>
                    </a:lnTo>
                    <a:lnTo>
                      <a:pt x="145" y="99"/>
                    </a:lnTo>
                    <a:lnTo>
                      <a:pt x="145" y="99"/>
                    </a:lnTo>
                    <a:lnTo>
                      <a:pt x="145" y="104"/>
                    </a:lnTo>
                    <a:lnTo>
                      <a:pt x="145" y="104"/>
                    </a:lnTo>
                    <a:lnTo>
                      <a:pt x="145" y="108"/>
                    </a:lnTo>
                    <a:lnTo>
                      <a:pt x="145" y="108"/>
                    </a:lnTo>
                    <a:lnTo>
                      <a:pt x="145" y="113"/>
                    </a:lnTo>
                    <a:lnTo>
                      <a:pt x="140" y="113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22"/>
                    </a:lnTo>
                    <a:lnTo>
                      <a:pt x="145" y="122"/>
                    </a:lnTo>
                    <a:lnTo>
                      <a:pt x="145" y="122"/>
                    </a:lnTo>
                    <a:lnTo>
                      <a:pt x="145" y="127"/>
                    </a:lnTo>
                    <a:lnTo>
                      <a:pt x="145" y="127"/>
                    </a:lnTo>
                    <a:lnTo>
                      <a:pt x="140" y="127"/>
                    </a:lnTo>
                    <a:lnTo>
                      <a:pt x="140" y="127"/>
                    </a:lnTo>
                    <a:lnTo>
                      <a:pt x="136" y="131"/>
                    </a:lnTo>
                    <a:lnTo>
                      <a:pt x="136" y="131"/>
                    </a:lnTo>
                    <a:lnTo>
                      <a:pt x="131" y="136"/>
                    </a:lnTo>
                    <a:lnTo>
                      <a:pt x="131" y="136"/>
                    </a:lnTo>
                    <a:lnTo>
                      <a:pt x="131" y="136"/>
                    </a:lnTo>
                    <a:lnTo>
                      <a:pt x="131" y="140"/>
                    </a:lnTo>
                    <a:lnTo>
                      <a:pt x="131" y="140"/>
                    </a:lnTo>
                    <a:lnTo>
                      <a:pt x="136" y="140"/>
                    </a:lnTo>
                    <a:lnTo>
                      <a:pt x="136" y="140"/>
                    </a:lnTo>
                    <a:lnTo>
                      <a:pt x="136" y="140"/>
                    </a:lnTo>
                    <a:lnTo>
                      <a:pt x="131" y="140"/>
                    </a:lnTo>
                    <a:lnTo>
                      <a:pt x="131" y="145"/>
                    </a:lnTo>
                    <a:lnTo>
                      <a:pt x="131" y="145"/>
                    </a:lnTo>
                    <a:lnTo>
                      <a:pt x="131" y="145"/>
                    </a:lnTo>
                    <a:lnTo>
                      <a:pt x="131" y="145"/>
                    </a:lnTo>
                    <a:lnTo>
                      <a:pt x="131" y="145"/>
                    </a:lnTo>
                    <a:lnTo>
                      <a:pt x="131" y="145"/>
                    </a:lnTo>
                    <a:lnTo>
                      <a:pt x="131" y="145"/>
                    </a:lnTo>
                    <a:lnTo>
                      <a:pt x="131" y="145"/>
                    </a:lnTo>
                    <a:lnTo>
                      <a:pt x="131" y="145"/>
                    </a:lnTo>
                    <a:lnTo>
                      <a:pt x="131" y="149"/>
                    </a:lnTo>
                    <a:lnTo>
                      <a:pt x="131" y="149"/>
                    </a:lnTo>
                    <a:lnTo>
                      <a:pt x="131" y="149"/>
                    </a:lnTo>
                    <a:lnTo>
                      <a:pt x="131" y="149"/>
                    </a:lnTo>
                    <a:lnTo>
                      <a:pt x="136" y="149"/>
                    </a:lnTo>
                    <a:lnTo>
                      <a:pt x="136" y="149"/>
                    </a:lnTo>
                    <a:lnTo>
                      <a:pt x="136" y="154"/>
                    </a:lnTo>
                    <a:lnTo>
                      <a:pt x="136" y="154"/>
                    </a:lnTo>
                    <a:lnTo>
                      <a:pt x="136" y="154"/>
                    </a:lnTo>
                    <a:lnTo>
                      <a:pt x="136" y="154"/>
                    </a:lnTo>
                    <a:lnTo>
                      <a:pt x="136" y="154"/>
                    </a:lnTo>
                    <a:lnTo>
                      <a:pt x="136" y="154"/>
                    </a:lnTo>
                    <a:lnTo>
                      <a:pt x="136" y="158"/>
                    </a:lnTo>
                    <a:lnTo>
                      <a:pt x="136" y="158"/>
                    </a:lnTo>
                    <a:lnTo>
                      <a:pt x="136" y="158"/>
                    </a:lnTo>
                    <a:lnTo>
                      <a:pt x="140" y="158"/>
                    </a:lnTo>
                    <a:lnTo>
                      <a:pt x="140" y="163"/>
                    </a:lnTo>
                    <a:lnTo>
                      <a:pt x="140" y="163"/>
                    </a:lnTo>
                    <a:lnTo>
                      <a:pt x="140" y="163"/>
                    </a:lnTo>
                    <a:lnTo>
                      <a:pt x="140" y="163"/>
                    </a:lnTo>
                    <a:lnTo>
                      <a:pt x="140" y="163"/>
                    </a:lnTo>
                    <a:lnTo>
                      <a:pt x="140" y="163"/>
                    </a:lnTo>
                    <a:lnTo>
                      <a:pt x="145" y="167"/>
                    </a:lnTo>
                    <a:lnTo>
                      <a:pt x="145" y="167"/>
                    </a:lnTo>
                    <a:lnTo>
                      <a:pt x="145" y="167"/>
                    </a:lnTo>
                    <a:lnTo>
                      <a:pt x="145" y="167"/>
                    </a:lnTo>
                    <a:lnTo>
                      <a:pt x="145" y="172"/>
                    </a:lnTo>
                    <a:lnTo>
                      <a:pt x="150" y="172"/>
                    </a:lnTo>
                    <a:lnTo>
                      <a:pt x="150" y="176"/>
                    </a:lnTo>
                    <a:lnTo>
                      <a:pt x="150" y="176"/>
                    </a:lnTo>
                    <a:lnTo>
                      <a:pt x="150" y="181"/>
                    </a:lnTo>
                    <a:lnTo>
                      <a:pt x="145" y="181"/>
                    </a:lnTo>
                    <a:lnTo>
                      <a:pt x="150" y="181"/>
                    </a:lnTo>
                    <a:lnTo>
                      <a:pt x="154" y="181"/>
                    </a:lnTo>
                    <a:lnTo>
                      <a:pt x="159" y="185"/>
                    </a:lnTo>
                    <a:lnTo>
                      <a:pt x="159" y="185"/>
                    </a:lnTo>
                    <a:lnTo>
                      <a:pt x="163" y="185"/>
                    </a:lnTo>
                    <a:lnTo>
                      <a:pt x="163" y="185"/>
                    </a:lnTo>
                    <a:lnTo>
                      <a:pt x="163" y="185"/>
                    </a:lnTo>
                    <a:lnTo>
                      <a:pt x="163" y="190"/>
                    </a:lnTo>
                    <a:lnTo>
                      <a:pt x="163" y="190"/>
                    </a:lnTo>
                    <a:lnTo>
                      <a:pt x="168" y="190"/>
                    </a:lnTo>
                    <a:lnTo>
                      <a:pt x="168" y="194"/>
                    </a:lnTo>
                    <a:lnTo>
                      <a:pt x="168" y="194"/>
                    </a:lnTo>
                    <a:lnTo>
                      <a:pt x="168" y="194"/>
                    </a:lnTo>
                    <a:lnTo>
                      <a:pt x="172" y="194"/>
                    </a:lnTo>
                    <a:lnTo>
                      <a:pt x="177" y="194"/>
                    </a:lnTo>
                    <a:lnTo>
                      <a:pt x="181" y="194"/>
                    </a:lnTo>
                    <a:lnTo>
                      <a:pt x="181" y="194"/>
                    </a:lnTo>
                    <a:lnTo>
                      <a:pt x="186" y="190"/>
                    </a:lnTo>
                    <a:lnTo>
                      <a:pt x="186" y="190"/>
                    </a:lnTo>
                    <a:lnTo>
                      <a:pt x="186" y="190"/>
                    </a:lnTo>
                    <a:lnTo>
                      <a:pt x="186" y="185"/>
                    </a:lnTo>
                    <a:lnTo>
                      <a:pt x="190" y="185"/>
                    </a:lnTo>
                    <a:lnTo>
                      <a:pt x="190" y="185"/>
                    </a:lnTo>
                    <a:lnTo>
                      <a:pt x="190" y="185"/>
                    </a:lnTo>
                    <a:lnTo>
                      <a:pt x="190" y="185"/>
                    </a:lnTo>
                    <a:lnTo>
                      <a:pt x="190" y="185"/>
                    </a:lnTo>
                    <a:lnTo>
                      <a:pt x="195" y="181"/>
                    </a:lnTo>
                    <a:lnTo>
                      <a:pt x="195" y="185"/>
                    </a:lnTo>
                    <a:lnTo>
                      <a:pt x="195" y="185"/>
                    </a:lnTo>
                    <a:lnTo>
                      <a:pt x="195" y="185"/>
                    </a:lnTo>
                    <a:lnTo>
                      <a:pt x="195" y="190"/>
                    </a:lnTo>
                    <a:lnTo>
                      <a:pt x="195" y="190"/>
                    </a:lnTo>
                    <a:lnTo>
                      <a:pt x="190" y="190"/>
                    </a:lnTo>
                    <a:lnTo>
                      <a:pt x="195" y="194"/>
                    </a:lnTo>
                    <a:lnTo>
                      <a:pt x="195" y="199"/>
                    </a:lnTo>
                    <a:lnTo>
                      <a:pt x="195" y="199"/>
                    </a:lnTo>
                    <a:lnTo>
                      <a:pt x="195" y="203"/>
                    </a:lnTo>
                    <a:lnTo>
                      <a:pt x="195" y="212"/>
                    </a:lnTo>
                    <a:lnTo>
                      <a:pt x="195" y="212"/>
                    </a:lnTo>
                    <a:lnTo>
                      <a:pt x="195" y="212"/>
                    </a:lnTo>
                    <a:lnTo>
                      <a:pt x="195" y="212"/>
                    </a:lnTo>
                    <a:lnTo>
                      <a:pt x="199" y="212"/>
                    </a:lnTo>
                    <a:lnTo>
                      <a:pt x="199" y="212"/>
                    </a:lnTo>
                    <a:lnTo>
                      <a:pt x="199" y="217"/>
                    </a:lnTo>
                    <a:lnTo>
                      <a:pt x="199" y="212"/>
                    </a:lnTo>
                    <a:lnTo>
                      <a:pt x="204" y="212"/>
                    </a:lnTo>
                    <a:lnTo>
                      <a:pt x="204" y="212"/>
                    </a:lnTo>
                    <a:lnTo>
                      <a:pt x="208" y="212"/>
                    </a:lnTo>
                    <a:lnTo>
                      <a:pt x="208" y="212"/>
                    </a:lnTo>
                    <a:lnTo>
                      <a:pt x="213" y="212"/>
                    </a:lnTo>
                    <a:lnTo>
                      <a:pt x="213" y="212"/>
                    </a:lnTo>
                    <a:lnTo>
                      <a:pt x="217" y="217"/>
                    </a:lnTo>
                    <a:lnTo>
                      <a:pt x="217" y="222"/>
                    </a:lnTo>
                    <a:lnTo>
                      <a:pt x="217" y="222"/>
                    </a:lnTo>
                    <a:lnTo>
                      <a:pt x="222" y="226"/>
                    </a:lnTo>
                    <a:lnTo>
                      <a:pt x="222" y="231"/>
                    </a:lnTo>
                    <a:lnTo>
                      <a:pt x="226" y="235"/>
                    </a:lnTo>
                    <a:lnTo>
                      <a:pt x="231" y="240"/>
                    </a:lnTo>
                    <a:lnTo>
                      <a:pt x="231" y="244"/>
                    </a:lnTo>
                    <a:lnTo>
                      <a:pt x="231" y="244"/>
                    </a:lnTo>
                    <a:lnTo>
                      <a:pt x="231" y="244"/>
                    </a:lnTo>
                    <a:lnTo>
                      <a:pt x="231" y="244"/>
                    </a:lnTo>
                    <a:lnTo>
                      <a:pt x="231" y="249"/>
                    </a:lnTo>
                    <a:lnTo>
                      <a:pt x="231" y="249"/>
                    </a:lnTo>
                    <a:lnTo>
                      <a:pt x="226" y="249"/>
                    </a:lnTo>
                    <a:lnTo>
                      <a:pt x="226" y="249"/>
                    </a:lnTo>
                    <a:lnTo>
                      <a:pt x="226" y="253"/>
                    </a:lnTo>
                    <a:lnTo>
                      <a:pt x="231" y="258"/>
                    </a:lnTo>
                    <a:lnTo>
                      <a:pt x="231" y="262"/>
                    </a:lnTo>
                    <a:lnTo>
                      <a:pt x="226" y="262"/>
                    </a:lnTo>
                    <a:lnTo>
                      <a:pt x="226" y="267"/>
                    </a:lnTo>
                    <a:lnTo>
                      <a:pt x="226" y="267"/>
                    </a:lnTo>
                    <a:lnTo>
                      <a:pt x="231" y="267"/>
                    </a:lnTo>
                    <a:lnTo>
                      <a:pt x="231" y="271"/>
                    </a:lnTo>
                    <a:lnTo>
                      <a:pt x="231" y="271"/>
                    </a:lnTo>
                    <a:lnTo>
                      <a:pt x="231" y="276"/>
                    </a:lnTo>
                    <a:lnTo>
                      <a:pt x="231" y="276"/>
                    </a:lnTo>
                    <a:lnTo>
                      <a:pt x="231" y="276"/>
                    </a:lnTo>
                    <a:lnTo>
                      <a:pt x="231" y="276"/>
                    </a:lnTo>
                    <a:lnTo>
                      <a:pt x="231" y="276"/>
                    </a:lnTo>
                    <a:lnTo>
                      <a:pt x="231" y="280"/>
                    </a:lnTo>
                    <a:lnTo>
                      <a:pt x="231" y="280"/>
                    </a:lnTo>
                    <a:lnTo>
                      <a:pt x="231" y="280"/>
                    </a:lnTo>
                    <a:lnTo>
                      <a:pt x="226" y="280"/>
                    </a:lnTo>
                    <a:lnTo>
                      <a:pt x="226" y="285"/>
                    </a:lnTo>
                    <a:lnTo>
                      <a:pt x="226" y="285"/>
                    </a:lnTo>
                    <a:lnTo>
                      <a:pt x="226" y="285"/>
                    </a:lnTo>
                    <a:lnTo>
                      <a:pt x="226" y="285"/>
                    </a:lnTo>
                    <a:lnTo>
                      <a:pt x="226" y="289"/>
                    </a:lnTo>
                    <a:lnTo>
                      <a:pt x="226" y="289"/>
                    </a:lnTo>
                    <a:lnTo>
                      <a:pt x="226" y="289"/>
                    </a:lnTo>
                    <a:lnTo>
                      <a:pt x="226" y="294"/>
                    </a:lnTo>
                    <a:lnTo>
                      <a:pt x="231" y="294"/>
                    </a:lnTo>
                    <a:lnTo>
                      <a:pt x="231" y="294"/>
                    </a:lnTo>
                    <a:lnTo>
                      <a:pt x="231" y="298"/>
                    </a:lnTo>
                    <a:lnTo>
                      <a:pt x="226" y="298"/>
                    </a:lnTo>
                    <a:lnTo>
                      <a:pt x="226" y="303"/>
                    </a:lnTo>
                    <a:lnTo>
                      <a:pt x="226" y="303"/>
                    </a:lnTo>
                    <a:lnTo>
                      <a:pt x="226" y="307"/>
                    </a:lnTo>
                    <a:lnTo>
                      <a:pt x="231" y="312"/>
                    </a:lnTo>
                    <a:lnTo>
                      <a:pt x="231" y="316"/>
                    </a:lnTo>
                    <a:lnTo>
                      <a:pt x="235" y="316"/>
                    </a:lnTo>
                    <a:lnTo>
                      <a:pt x="235" y="316"/>
                    </a:lnTo>
                    <a:lnTo>
                      <a:pt x="235" y="316"/>
                    </a:lnTo>
                    <a:lnTo>
                      <a:pt x="240" y="316"/>
                    </a:lnTo>
                    <a:lnTo>
                      <a:pt x="240" y="316"/>
                    </a:lnTo>
                    <a:lnTo>
                      <a:pt x="240" y="316"/>
                    </a:lnTo>
                    <a:lnTo>
                      <a:pt x="240" y="316"/>
                    </a:lnTo>
                    <a:lnTo>
                      <a:pt x="235" y="321"/>
                    </a:lnTo>
                    <a:lnTo>
                      <a:pt x="235" y="321"/>
                    </a:lnTo>
                    <a:lnTo>
                      <a:pt x="235" y="321"/>
                    </a:lnTo>
                    <a:lnTo>
                      <a:pt x="235" y="326"/>
                    </a:lnTo>
                    <a:lnTo>
                      <a:pt x="235" y="326"/>
                    </a:lnTo>
                    <a:lnTo>
                      <a:pt x="235" y="326"/>
                    </a:lnTo>
                    <a:lnTo>
                      <a:pt x="235" y="326"/>
                    </a:lnTo>
                    <a:lnTo>
                      <a:pt x="235" y="326"/>
                    </a:lnTo>
                    <a:lnTo>
                      <a:pt x="231" y="330"/>
                    </a:lnTo>
                    <a:lnTo>
                      <a:pt x="231" y="330"/>
                    </a:lnTo>
                    <a:lnTo>
                      <a:pt x="231" y="330"/>
                    </a:lnTo>
                    <a:lnTo>
                      <a:pt x="231" y="335"/>
                    </a:lnTo>
                    <a:lnTo>
                      <a:pt x="226" y="335"/>
                    </a:lnTo>
                    <a:lnTo>
                      <a:pt x="226" y="335"/>
                    </a:lnTo>
                    <a:lnTo>
                      <a:pt x="226" y="335"/>
                    </a:lnTo>
                    <a:lnTo>
                      <a:pt x="231" y="339"/>
                    </a:lnTo>
                    <a:lnTo>
                      <a:pt x="231" y="339"/>
                    </a:lnTo>
                    <a:lnTo>
                      <a:pt x="231" y="339"/>
                    </a:lnTo>
                    <a:lnTo>
                      <a:pt x="231" y="339"/>
                    </a:lnTo>
                    <a:lnTo>
                      <a:pt x="231" y="339"/>
                    </a:lnTo>
                    <a:lnTo>
                      <a:pt x="231" y="344"/>
                    </a:lnTo>
                    <a:lnTo>
                      <a:pt x="231" y="344"/>
                    </a:lnTo>
                    <a:lnTo>
                      <a:pt x="226" y="344"/>
                    </a:lnTo>
                    <a:lnTo>
                      <a:pt x="226" y="344"/>
                    </a:lnTo>
                    <a:lnTo>
                      <a:pt x="226" y="348"/>
                    </a:lnTo>
                    <a:lnTo>
                      <a:pt x="226" y="348"/>
                    </a:lnTo>
                    <a:lnTo>
                      <a:pt x="226" y="348"/>
                    </a:lnTo>
                    <a:lnTo>
                      <a:pt x="226" y="353"/>
                    </a:lnTo>
                    <a:lnTo>
                      <a:pt x="226" y="353"/>
                    </a:lnTo>
                    <a:lnTo>
                      <a:pt x="226" y="357"/>
                    </a:lnTo>
                    <a:lnTo>
                      <a:pt x="222" y="357"/>
                    </a:lnTo>
                    <a:lnTo>
                      <a:pt x="222" y="357"/>
                    </a:lnTo>
                    <a:lnTo>
                      <a:pt x="217" y="357"/>
                    </a:lnTo>
                    <a:lnTo>
                      <a:pt x="217" y="357"/>
                    </a:lnTo>
                    <a:lnTo>
                      <a:pt x="217" y="357"/>
                    </a:lnTo>
                    <a:lnTo>
                      <a:pt x="213" y="353"/>
                    </a:lnTo>
                    <a:lnTo>
                      <a:pt x="208" y="348"/>
                    </a:lnTo>
                    <a:lnTo>
                      <a:pt x="208" y="348"/>
                    </a:lnTo>
                    <a:lnTo>
                      <a:pt x="199" y="344"/>
                    </a:lnTo>
                    <a:lnTo>
                      <a:pt x="199" y="344"/>
                    </a:lnTo>
                    <a:lnTo>
                      <a:pt x="199" y="339"/>
                    </a:lnTo>
                    <a:lnTo>
                      <a:pt x="199" y="339"/>
                    </a:lnTo>
                    <a:lnTo>
                      <a:pt x="195" y="339"/>
                    </a:lnTo>
                    <a:lnTo>
                      <a:pt x="190" y="335"/>
                    </a:lnTo>
                    <a:lnTo>
                      <a:pt x="190" y="335"/>
                    </a:lnTo>
                    <a:lnTo>
                      <a:pt x="186" y="335"/>
                    </a:lnTo>
                    <a:lnTo>
                      <a:pt x="186" y="330"/>
                    </a:lnTo>
                    <a:lnTo>
                      <a:pt x="181" y="330"/>
                    </a:lnTo>
                    <a:lnTo>
                      <a:pt x="181" y="326"/>
                    </a:lnTo>
                    <a:lnTo>
                      <a:pt x="177" y="326"/>
                    </a:lnTo>
                    <a:lnTo>
                      <a:pt x="172" y="326"/>
                    </a:lnTo>
                    <a:lnTo>
                      <a:pt x="168" y="321"/>
                    </a:lnTo>
                    <a:lnTo>
                      <a:pt x="163" y="321"/>
                    </a:lnTo>
                    <a:lnTo>
                      <a:pt x="163" y="316"/>
                    </a:lnTo>
                    <a:lnTo>
                      <a:pt x="154" y="316"/>
                    </a:lnTo>
                    <a:lnTo>
                      <a:pt x="154" y="316"/>
                    </a:lnTo>
                    <a:lnTo>
                      <a:pt x="145" y="312"/>
                    </a:lnTo>
                    <a:lnTo>
                      <a:pt x="140" y="307"/>
                    </a:lnTo>
                    <a:lnTo>
                      <a:pt x="140" y="307"/>
                    </a:lnTo>
                    <a:lnTo>
                      <a:pt x="127" y="303"/>
                    </a:lnTo>
                    <a:lnTo>
                      <a:pt x="127" y="298"/>
                    </a:lnTo>
                    <a:lnTo>
                      <a:pt x="127" y="298"/>
                    </a:lnTo>
                    <a:lnTo>
                      <a:pt x="122" y="294"/>
                    </a:lnTo>
                    <a:lnTo>
                      <a:pt x="118" y="289"/>
                    </a:lnTo>
                    <a:lnTo>
                      <a:pt x="118" y="289"/>
                    </a:lnTo>
                    <a:lnTo>
                      <a:pt x="113" y="285"/>
                    </a:lnTo>
                    <a:lnTo>
                      <a:pt x="109" y="285"/>
                    </a:lnTo>
                    <a:lnTo>
                      <a:pt x="109" y="280"/>
                    </a:lnTo>
                    <a:lnTo>
                      <a:pt x="109" y="280"/>
                    </a:lnTo>
                    <a:lnTo>
                      <a:pt x="104" y="276"/>
                    </a:lnTo>
                    <a:lnTo>
                      <a:pt x="104" y="271"/>
                    </a:lnTo>
                    <a:lnTo>
                      <a:pt x="104" y="271"/>
                    </a:lnTo>
                    <a:lnTo>
                      <a:pt x="104" y="271"/>
                    </a:lnTo>
                    <a:lnTo>
                      <a:pt x="104" y="271"/>
                    </a:lnTo>
                    <a:lnTo>
                      <a:pt x="104" y="262"/>
                    </a:lnTo>
                    <a:lnTo>
                      <a:pt x="104" y="262"/>
                    </a:lnTo>
                    <a:lnTo>
                      <a:pt x="100" y="258"/>
                    </a:lnTo>
                    <a:lnTo>
                      <a:pt x="100" y="253"/>
                    </a:lnTo>
                    <a:lnTo>
                      <a:pt x="95" y="249"/>
                    </a:lnTo>
                    <a:lnTo>
                      <a:pt x="95" y="249"/>
                    </a:lnTo>
                    <a:lnTo>
                      <a:pt x="91" y="244"/>
                    </a:lnTo>
                    <a:lnTo>
                      <a:pt x="91" y="240"/>
                    </a:lnTo>
                    <a:lnTo>
                      <a:pt x="86" y="240"/>
                    </a:lnTo>
                    <a:lnTo>
                      <a:pt x="86" y="240"/>
                    </a:lnTo>
                    <a:lnTo>
                      <a:pt x="86" y="235"/>
                    </a:lnTo>
                    <a:lnTo>
                      <a:pt x="86" y="235"/>
                    </a:lnTo>
                    <a:lnTo>
                      <a:pt x="82" y="235"/>
                    </a:lnTo>
                    <a:lnTo>
                      <a:pt x="82" y="226"/>
                    </a:lnTo>
                    <a:lnTo>
                      <a:pt x="82" y="226"/>
                    </a:lnTo>
                    <a:lnTo>
                      <a:pt x="73" y="222"/>
                    </a:lnTo>
                    <a:lnTo>
                      <a:pt x="73" y="217"/>
                    </a:lnTo>
                    <a:lnTo>
                      <a:pt x="73" y="217"/>
                    </a:lnTo>
                    <a:lnTo>
                      <a:pt x="73" y="212"/>
                    </a:lnTo>
                    <a:lnTo>
                      <a:pt x="64" y="199"/>
                    </a:lnTo>
                    <a:lnTo>
                      <a:pt x="64" y="199"/>
                    </a:lnTo>
                    <a:lnTo>
                      <a:pt x="59" y="190"/>
                    </a:lnTo>
                    <a:lnTo>
                      <a:pt x="59" y="190"/>
                    </a:lnTo>
                    <a:lnTo>
                      <a:pt x="55" y="185"/>
                    </a:lnTo>
                    <a:lnTo>
                      <a:pt x="55" y="181"/>
                    </a:lnTo>
                    <a:lnTo>
                      <a:pt x="50" y="176"/>
                    </a:lnTo>
                    <a:lnTo>
                      <a:pt x="50" y="172"/>
                    </a:lnTo>
                    <a:lnTo>
                      <a:pt x="50" y="167"/>
                    </a:lnTo>
                    <a:lnTo>
                      <a:pt x="46" y="163"/>
                    </a:lnTo>
                    <a:lnTo>
                      <a:pt x="46" y="158"/>
                    </a:lnTo>
                    <a:lnTo>
                      <a:pt x="41" y="158"/>
                    </a:lnTo>
                    <a:lnTo>
                      <a:pt x="37" y="154"/>
                    </a:lnTo>
                    <a:lnTo>
                      <a:pt x="37" y="154"/>
                    </a:lnTo>
                    <a:lnTo>
                      <a:pt x="32" y="145"/>
                    </a:lnTo>
                    <a:lnTo>
                      <a:pt x="32" y="145"/>
                    </a:lnTo>
                    <a:lnTo>
                      <a:pt x="28" y="140"/>
                    </a:lnTo>
                    <a:lnTo>
                      <a:pt x="28" y="136"/>
                    </a:lnTo>
                    <a:lnTo>
                      <a:pt x="23" y="131"/>
                    </a:lnTo>
                    <a:lnTo>
                      <a:pt x="23" y="131"/>
                    </a:lnTo>
                    <a:lnTo>
                      <a:pt x="9" y="122"/>
                    </a:lnTo>
                    <a:lnTo>
                      <a:pt x="5" y="118"/>
                    </a:lnTo>
                    <a:lnTo>
                      <a:pt x="5" y="118"/>
                    </a:lnTo>
                    <a:lnTo>
                      <a:pt x="0" y="118"/>
                    </a:lnTo>
                    <a:lnTo>
                      <a:pt x="5" y="113"/>
                    </a:lnTo>
                    <a:lnTo>
                      <a:pt x="5" y="113"/>
                    </a:lnTo>
                    <a:lnTo>
                      <a:pt x="5" y="113"/>
                    </a:lnTo>
                    <a:lnTo>
                      <a:pt x="5" y="113"/>
                    </a:lnTo>
                    <a:lnTo>
                      <a:pt x="9" y="113"/>
                    </a:lnTo>
                    <a:lnTo>
                      <a:pt x="9" y="108"/>
                    </a:lnTo>
                    <a:lnTo>
                      <a:pt x="5" y="108"/>
                    </a:lnTo>
                    <a:lnTo>
                      <a:pt x="0" y="99"/>
                    </a:lnTo>
                    <a:lnTo>
                      <a:pt x="0" y="99"/>
                    </a:lnTo>
                    <a:lnTo>
                      <a:pt x="5" y="99"/>
                    </a:lnTo>
                    <a:lnTo>
                      <a:pt x="0" y="95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1"/>
                    </a:lnTo>
                    <a:lnTo>
                      <a:pt x="5" y="77"/>
                    </a:lnTo>
                    <a:lnTo>
                      <a:pt x="5" y="72"/>
                    </a:lnTo>
                    <a:lnTo>
                      <a:pt x="9" y="72"/>
                    </a:lnTo>
                    <a:lnTo>
                      <a:pt x="14" y="68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9" y="68"/>
                    </a:lnTo>
                    <a:lnTo>
                      <a:pt x="19" y="68"/>
                    </a:lnTo>
                    <a:lnTo>
                      <a:pt x="19" y="68"/>
                    </a:lnTo>
                    <a:lnTo>
                      <a:pt x="19" y="72"/>
                    </a:lnTo>
                    <a:lnTo>
                      <a:pt x="19" y="72"/>
                    </a:lnTo>
                    <a:lnTo>
                      <a:pt x="19" y="72"/>
                    </a:lnTo>
                    <a:lnTo>
                      <a:pt x="19" y="72"/>
                    </a:lnTo>
                    <a:lnTo>
                      <a:pt x="19" y="77"/>
                    </a:lnTo>
                    <a:lnTo>
                      <a:pt x="19" y="77"/>
                    </a:lnTo>
                    <a:lnTo>
                      <a:pt x="19" y="77"/>
                    </a:lnTo>
                    <a:lnTo>
                      <a:pt x="19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81"/>
                    </a:lnTo>
                    <a:lnTo>
                      <a:pt x="14" y="81"/>
                    </a:lnTo>
                    <a:lnTo>
                      <a:pt x="14" y="81"/>
                    </a:lnTo>
                    <a:lnTo>
                      <a:pt x="14" y="81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9" y="86"/>
                    </a:lnTo>
                    <a:lnTo>
                      <a:pt x="19" y="86"/>
                    </a:lnTo>
                    <a:lnTo>
                      <a:pt x="19" y="81"/>
                    </a:lnTo>
                    <a:lnTo>
                      <a:pt x="19" y="81"/>
                    </a:lnTo>
                    <a:lnTo>
                      <a:pt x="19" y="86"/>
                    </a:lnTo>
                    <a:lnTo>
                      <a:pt x="23" y="86"/>
                    </a:lnTo>
                    <a:lnTo>
                      <a:pt x="23" y="86"/>
                    </a:lnTo>
                    <a:lnTo>
                      <a:pt x="23" y="86"/>
                    </a:lnTo>
                    <a:lnTo>
                      <a:pt x="28" y="86"/>
                    </a:lnTo>
                    <a:lnTo>
                      <a:pt x="28" y="86"/>
                    </a:lnTo>
                    <a:lnTo>
                      <a:pt x="28" y="86"/>
                    </a:lnTo>
                    <a:lnTo>
                      <a:pt x="32" y="86"/>
                    </a:lnTo>
                    <a:lnTo>
                      <a:pt x="32" y="90"/>
                    </a:lnTo>
                    <a:lnTo>
                      <a:pt x="32" y="90"/>
                    </a:lnTo>
                    <a:lnTo>
                      <a:pt x="32" y="95"/>
                    </a:lnTo>
                    <a:lnTo>
                      <a:pt x="32" y="95"/>
                    </a:lnTo>
                    <a:lnTo>
                      <a:pt x="37" y="95"/>
                    </a:lnTo>
                    <a:lnTo>
                      <a:pt x="37" y="95"/>
                    </a:lnTo>
                    <a:lnTo>
                      <a:pt x="37" y="95"/>
                    </a:lnTo>
                    <a:lnTo>
                      <a:pt x="41" y="95"/>
                    </a:lnTo>
                    <a:lnTo>
                      <a:pt x="41" y="95"/>
                    </a:lnTo>
                    <a:lnTo>
                      <a:pt x="41" y="95"/>
                    </a:lnTo>
                    <a:lnTo>
                      <a:pt x="41" y="95"/>
                    </a:lnTo>
                    <a:lnTo>
                      <a:pt x="41" y="95"/>
                    </a:lnTo>
                    <a:lnTo>
                      <a:pt x="41" y="90"/>
                    </a:lnTo>
                    <a:lnTo>
                      <a:pt x="41" y="90"/>
                    </a:lnTo>
                    <a:lnTo>
                      <a:pt x="41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1"/>
                    </a:lnTo>
                    <a:lnTo>
                      <a:pt x="46" y="81"/>
                    </a:lnTo>
                    <a:lnTo>
                      <a:pt x="46" y="81"/>
                    </a:lnTo>
                    <a:lnTo>
                      <a:pt x="46" y="77"/>
                    </a:lnTo>
                    <a:lnTo>
                      <a:pt x="46" y="77"/>
                    </a:lnTo>
                    <a:lnTo>
                      <a:pt x="46" y="77"/>
                    </a:lnTo>
                    <a:lnTo>
                      <a:pt x="46" y="77"/>
                    </a:lnTo>
                    <a:lnTo>
                      <a:pt x="46" y="72"/>
                    </a:lnTo>
                    <a:lnTo>
                      <a:pt x="50" y="72"/>
                    </a:lnTo>
                    <a:lnTo>
                      <a:pt x="50" y="72"/>
                    </a:lnTo>
                    <a:lnTo>
                      <a:pt x="50" y="72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55" y="63"/>
                    </a:lnTo>
                    <a:lnTo>
                      <a:pt x="55" y="63"/>
                    </a:lnTo>
                    <a:lnTo>
                      <a:pt x="55" y="63"/>
                    </a:lnTo>
                    <a:lnTo>
                      <a:pt x="55" y="59"/>
                    </a:lnTo>
                    <a:lnTo>
                      <a:pt x="59" y="59"/>
                    </a:lnTo>
                    <a:lnTo>
                      <a:pt x="59" y="54"/>
                    </a:lnTo>
                    <a:lnTo>
                      <a:pt x="64" y="54"/>
                    </a:lnTo>
                    <a:lnTo>
                      <a:pt x="68" y="54"/>
                    </a:lnTo>
                    <a:lnTo>
                      <a:pt x="68" y="54"/>
                    </a:lnTo>
                    <a:lnTo>
                      <a:pt x="73" y="50"/>
                    </a:lnTo>
                    <a:lnTo>
                      <a:pt x="77" y="50"/>
                    </a:lnTo>
                    <a:lnTo>
                      <a:pt x="82" y="45"/>
                    </a:lnTo>
                    <a:lnTo>
                      <a:pt x="82" y="45"/>
                    </a:lnTo>
                    <a:lnTo>
                      <a:pt x="86" y="41"/>
                    </a:lnTo>
                    <a:lnTo>
                      <a:pt x="86" y="41"/>
                    </a:lnTo>
                    <a:lnTo>
                      <a:pt x="91" y="36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95" y="27"/>
                    </a:lnTo>
                    <a:lnTo>
                      <a:pt x="100" y="23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0" y="14"/>
                    </a:lnTo>
                    <a:lnTo>
                      <a:pt x="100" y="9"/>
                    </a:lnTo>
                    <a:lnTo>
                      <a:pt x="104" y="9"/>
                    </a:lnTo>
                    <a:lnTo>
                      <a:pt x="104" y="9"/>
                    </a:lnTo>
                    <a:lnTo>
                      <a:pt x="100" y="9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9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08" name="Freeform 129"/>
              <p:cNvSpPr>
                <a:spLocks noEditPoints="1"/>
              </p:cNvSpPr>
              <p:nvPr/>
            </p:nvSpPr>
            <p:spPr bwMode="auto">
              <a:xfrm>
                <a:off x="7504113" y="2349501"/>
                <a:ext cx="266700" cy="415925"/>
              </a:xfrm>
              <a:custGeom>
                <a:avLst/>
                <a:gdLst>
                  <a:gd name="T0" fmla="*/ 159 w 168"/>
                  <a:gd name="T1" fmla="*/ 204 h 262"/>
                  <a:gd name="T2" fmla="*/ 163 w 168"/>
                  <a:gd name="T3" fmla="*/ 235 h 262"/>
                  <a:gd name="T4" fmla="*/ 154 w 168"/>
                  <a:gd name="T5" fmla="*/ 226 h 262"/>
                  <a:gd name="T6" fmla="*/ 154 w 168"/>
                  <a:gd name="T7" fmla="*/ 249 h 262"/>
                  <a:gd name="T8" fmla="*/ 140 w 168"/>
                  <a:gd name="T9" fmla="*/ 258 h 262"/>
                  <a:gd name="T10" fmla="*/ 122 w 168"/>
                  <a:gd name="T11" fmla="*/ 231 h 262"/>
                  <a:gd name="T12" fmla="*/ 113 w 168"/>
                  <a:gd name="T13" fmla="*/ 222 h 262"/>
                  <a:gd name="T14" fmla="*/ 100 w 168"/>
                  <a:gd name="T15" fmla="*/ 222 h 262"/>
                  <a:gd name="T16" fmla="*/ 86 w 168"/>
                  <a:gd name="T17" fmla="*/ 231 h 262"/>
                  <a:gd name="T18" fmla="*/ 100 w 168"/>
                  <a:gd name="T19" fmla="*/ 208 h 262"/>
                  <a:gd name="T20" fmla="*/ 118 w 168"/>
                  <a:gd name="T21" fmla="*/ 204 h 262"/>
                  <a:gd name="T22" fmla="*/ 127 w 168"/>
                  <a:gd name="T23" fmla="*/ 199 h 262"/>
                  <a:gd name="T24" fmla="*/ 140 w 168"/>
                  <a:gd name="T25" fmla="*/ 195 h 262"/>
                  <a:gd name="T26" fmla="*/ 122 w 168"/>
                  <a:gd name="T27" fmla="*/ 177 h 262"/>
                  <a:gd name="T28" fmla="*/ 122 w 168"/>
                  <a:gd name="T29" fmla="*/ 167 h 262"/>
                  <a:gd name="T30" fmla="*/ 95 w 168"/>
                  <a:gd name="T31" fmla="*/ 186 h 262"/>
                  <a:gd name="T32" fmla="*/ 95 w 168"/>
                  <a:gd name="T33" fmla="*/ 167 h 262"/>
                  <a:gd name="T34" fmla="*/ 104 w 168"/>
                  <a:gd name="T35" fmla="*/ 158 h 262"/>
                  <a:gd name="T36" fmla="*/ 104 w 168"/>
                  <a:gd name="T37" fmla="*/ 190 h 262"/>
                  <a:gd name="T38" fmla="*/ 109 w 168"/>
                  <a:gd name="T39" fmla="*/ 163 h 262"/>
                  <a:gd name="T40" fmla="*/ 113 w 168"/>
                  <a:gd name="T41" fmla="*/ 158 h 262"/>
                  <a:gd name="T42" fmla="*/ 0 w 168"/>
                  <a:gd name="T43" fmla="*/ 208 h 262"/>
                  <a:gd name="T44" fmla="*/ 23 w 168"/>
                  <a:gd name="T45" fmla="*/ 172 h 262"/>
                  <a:gd name="T46" fmla="*/ 32 w 168"/>
                  <a:gd name="T47" fmla="*/ 149 h 262"/>
                  <a:gd name="T48" fmla="*/ 32 w 168"/>
                  <a:gd name="T49" fmla="*/ 167 h 262"/>
                  <a:gd name="T50" fmla="*/ 19 w 168"/>
                  <a:gd name="T51" fmla="*/ 190 h 262"/>
                  <a:gd name="T52" fmla="*/ 122 w 168"/>
                  <a:gd name="T53" fmla="*/ 145 h 262"/>
                  <a:gd name="T54" fmla="*/ 136 w 168"/>
                  <a:gd name="T55" fmla="*/ 158 h 262"/>
                  <a:gd name="T56" fmla="*/ 131 w 168"/>
                  <a:gd name="T57" fmla="*/ 172 h 262"/>
                  <a:gd name="T58" fmla="*/ 118 w 168"/>
                  <a:gd name="T59" fmla="*/ 149 h 262"/>
                  <a:gd name="T60" fmla="*/ 91 w 168"/>
                  <a:gd name="T61" fmla="*/ 140 h 262"/>
                  <a:gd name="T62" fmla="*/ 91 w 168"/>
                  <a:gd name="T63" fmla="*/ 154 h 262"/>
                  <a:gd name="T64" fmla="*/ 77 w 168"/>
                  <a:gd name="T65" fmla="*/ 158 h 262"/>
                  <a:gd name="T66" fmla="*/ 82 w 168"/>
                  <a:gd name="T67" fmla="*/ 136 h 262"/>
                  <a:gd name="T68" fmla="*/ 136 w 168"/>
                  <a:gd name="T69" fmla="*/ 131 h 262"/>
                  <a:gd name="T70" fmla="*/ 140 w 168"/>
                  <a:gd name="T71" fmla="*/ 149 h 262"/>
                  <a:gd name="T72" fmla="*/ 122 w 168"/>
                  <a:gd name="T73" fmla="*/ 136 h 262"/>
                  <a:gd name="T74" fmla="*/ 127 w 168"/>
                  <a:gd name="T75" fmla="*/ 122 h 262"/>
                  <a:gd name="T76" fmla="*/ 100 w 168"/>
                  <a:gd name="T77" fmla="*/ 131 h 262"/>
                  <a:gd name="T78" fmla="*/ 100 w 168"/>
                  <a:gd name="T79" fmla="*/ 122 h 262"/>
                  <a:gd name="T80" fmla="*/ 59 w 168"/>
                  <a:gd name="T81" fmla="*/ 109 h 262"/>
                  <a:gd name="T82" fmla="*/ 64 w 168"/>
                  <a:gd name="T83" fmla="*/ 127 h 262"/>
                  <a:gd name="T84" fmla="*/ 50 w 168"/>
                  <a:gd name="T85" fmla="*/ 118 h 262"/>
                  <a:gd name="T86" fmla="*/ 41 w 168"/>
                  <a:gd name="T87" fmla="*/ 104 h 262"/>
                  <a:gd name="T88" fmla="*/ 50 w 168"/>
                  <a:gd name="T89" fmla="*/ 0 h 262"/>
                  <a:gd name="T90" fmla="*/ 59 w 168"/>
                  <a:gd name="T91" fmla="*/ 27 h 262"/>
                  <a:gd name="T92" fmla="*/ 55 w 168"/>
                  <a:gd name="T93" fmla="*/ 54 h 262"/>
                  <a:gd name="T94" fmla="*/ 59 w 168"/>
                  <a:gd name="T95" fmla="*/ 77 h 262"/>
                  <a:gd name="T96" fmla="*/ 68 w 168"/>
                  <a:gd name="T97" fmla="*/ 91 h 262"/>
                  <a:gd name="T98" fmla="*/ 86 w 168"/>
                  <a:gd name="T99" fmla="*/ 95 h 262"/>
                  <a:gd name="T100" fmla="*/ 100 w 168"/>
                  <a:gd name="T101" fmla="*/ 95 h 262"/>
                  <a:gd name="T102" fmla="*/ 109 w 168"/>
                  <a:gd name="T103" fmla="*/ 109 h 262"/>
                  <a:gd name="T104" fmla="*/ 91 w 168"/>
                  <a:gd name="T105" fmla="*/ 109 h 262"/>
                  <a:gd name="T106" fmla="*/ 77 w 168"/>
                  <a:gd name="T107" fmla="*/ 100 h 262"/>
                  <a:gd name="T108" fmla="*/ 64 w 168"/>
                  <a:gd name="T109" fmla="*/ 95 h 262"/>
                  <a:gd name="T110" fmla="*/ 46 w 168"/>
                  <a:gd name="T111" fmla="*/ 95 h 262"/>
                  <a:gd name="T112" fmla="*/ 41 w 168"/>
                  <a:gd name="T113" fmla="*/ 82 h 262"/>
                  <a:gd name="T114" fmla="*/ 28 w 168"/>
                  <a:gd name="T115" fmla="*/ 68 h 262"/>
                  <a:gd name="T116" fmla="*/ 23 w 168"/>
                  <a:gd name="T117" fmla="*/ 50 h 262"/>
                  <a:gd name="T118" fmla="*/ 28 w 168"/>
                  <a:gd name="T119" fmla="*/ 32 h 262"/>
                  <a:gd name="T120" fmla="*/ 28 w 168"/>
                  <a:gd name="T121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68" h="262">
                    <a:moveTo>
                      <a:pt x="150" y="186"/>
                    </a:moveTo>
                    <a:lnTo>
                      <a:pt x="150" y="186"/>
                    </a:lnTo>
                    <a:lnTo>
                      <a:pt x="154" y="186"/>
                    </a:lnTo>
                    <a:lnTo>
                      <a:pt x="154" y="186"/>
                    </a:lnTo>
                    <a:lnTo>
                      <a:pt x="154" y="190"/>
                    </a:lnTo>
                    <a:lnTo>
                      <a:pt x="154" y="190"/>
                    </a:lnTo>
                    <a:lnTo>
                      <a:pt x="159" y="195"/>
                    </a:lnTo>
                    <a:lnTo>
                      <a:pt x="159" y="195"/>
                    </a:lnTo>
                    <a:lnTo>
                      <a:pt x="159" y="199"/>
                    </a:lnTo>
                    <a:lnTo>
                      <a:pt x="159" y="199"/>
                    </a:lnTo>
                    <a:lnTo>
                      <a:pt x="154" y="199"/>
                    </a:lnTo>
                    <a:lnTo>
                      <a:pt x="154" y="199"/>
                    </a:lnTo>
                    <a:lnTo>
                      <a:pt x="159" y="204"/>
                    </a:lnTo>
                    <a:lnTo>
                      <a:pt x="159" y="204"/>
                    </a:lnTo>
                    <a:lnTo>
                      <a:pt x="159" y="204"/>
                    </a:lnTo>
                    <a:lnTo>
                      <a:pt x="159" y="208"/>
                    </a:lnTo>
                    <a:lnTo>
                      <a:pt x="163" y="208"/>
                    </a:lnTo>
                    <a:lnTo>
                      <a:pt x="163" y="208"/>
                    </a:lnTo>
                    <a:lnTo>
                      <a:pt x="163" y="213"/>
                    </a:lnTo>
                    <a:lnTo>
                      <a:pt x="163" y="217"/>
                    </a:lnTo>
                    <a:lnTo>
                      <a:pt x="163" y="217"/>
                    </a:lnTo>
                    <a:lnTo>
                      <a:pt x="163" y="217"/>
                    </a:lnTo>
                    <a:lnTo>
                      <a:pt x="168" y="222"/>
                    </a:lnTo>
                    <a:lnTo>
                      <a:pt x="168" y="222"/>
                    </a:lnTo>
                    <a:lnTo>
                      <a:pt x="168" y="226"/>
                    </a:lnTo>
                    <a:lnTo>
                      <a:pt x="168" y="226"/>
                    </a:lnTo>
                    <a:lnTo>
                      <a:pt x="168" y="231"/>
                    </a:lnTo>
                    <a:lnTo>
                      <a:pt x="163" y="235"/>
                    </a:lnTo>
                    <a:lnTo>
                      <a:pt x="163" y="235"/>
                    </a:lnTo>
                    <a:lnTo>
                      <a:pt x="163" y="235"/>
                    </a:lnTo>
                    <a:lnTo>
                      <a:pt x="159" y="235"/>
                    </a:lnTo>
                    <a:lnTo>
                      <a:pt x="163" y="240"/>
                    </a:lnTo>
                    <a:lnTo>
                      <a:pt x="163" y="244"/>
                    </a:lnTo>
                    <a:lnTo>
                      <a:pt x="163" y="249"/>
                    </a:lnTo>
                    <a:lnTo>
                      <a:pt x="159" y="244"/>
                    </a:lnTo>
                    <a:lnTo>
                      <a:pt x="159" y="244"/>
                    </a:lnTo>
                    <a:lnTo>
                      <a:pt x="159" y="240"/>
                    </a:lnTo>
                    <a:lnTo>
                      <a:pt x="159" y="235"/>
                    </a:lnTo>
                    <a:lnTo>
                      <a:pt x="159" y="235"/>
                    </a:lnTo>
                    <a:lnTo>
                      <a:pt x="154" y="235"/>
                    </a:lnTo>
                    <a:lnTo>
                      <a:pt x="154" y="231"/>
                    </a:lnTo>
                    <a:lnTo>
                      <a:pt x="154" y="226"/>
                    </a:lnTo>
                    <a:lnTo>
                      <a:pt x="154" y="226"/>
                    </a:lnTo>
                    <a:lnTo>
                      <a:pt x="150" y="226"/>
                    </a:lnTo>
                    <a:lnTo>
                      <a:pt x="150" y="231"/>
                    </a:lnTo>
                    <a:lnTo>
                      <a:pt x="150" y="231"/>
                    </a:lnTo>
                    <a:lnTo>
                      <a:pt x="150" y="231"/>
                    </a:lnTo>
                    <a:lnTo>
                      <a:pt x="150" y="235"/>
                    </a:lnTo>
                    <a:lnTo>
                      <a:pt x="150" y="235"/>
                    </a:lnTo>
                    <a:lnTo>
                      <a:pt x="145" y="240"/>
                    </a:lnTo>
                    <a:lnTo>
                      <a:pt x="145" y="240"/>
                    </a:lnTo>
                    <a:lnTo>
                      <a:pt x="150" y="240"/>
                    </a:lnTo>
                    <a:lnTo>
                      <a:pt x="150" y="244"/>
                    </a:lnTo>
                    <a:lnTo>
                      <a:pt x="150" y="244"/>
                    </a:lnTo>
                    <a:lnTo>
                      <a:pt x="150" y="244"/>
                    </a:lnTo>
                    <a:lnTo>
                      <a:pt x="154" y="249"/>
                    </a:lnTo>
                    <a:lnTo>
                      <a:pt x="154" y="253"/>
                    </a:lnTo>
                    <a:lnTo>
                      <a:pt x="154" y="258"/>
                    </a:lnTo>
                    <a:lnTo>
                      <a:pt x="150" y="262"/>
                    </a:lnTo>
                    <a:lnTo>
                      <a:pt x="150" y="262"/>
                    </a:lnTo>
                    <a:lnTo>
                      <a:pt x="145" y="262"/>
                    </a:lnTo>
                    <a:lnTo>
                      <a:pt x="145" y="258"/>
                    </a:lnTo>
                    <a:lnTo>
                      <a:pt x="145" y="258"/>
                    </a:lnTo>
                    <a:lnTo>
                      <a:pt x="145" y="258"/>
                    </a:lnTo>
                    <a:lnTo>
                      <a:pt x="145" y="253"/>
                    </a:lnTo>
                    <a:lnTo>
                      <a:pt x="145" y="253"/>
                    </a:lnTo>
                    <a:lnTo>
                      <a:pt x="145" y="253"/>
                    </a:lnTo>
                    <a:lnTo>
                      <a:pt x="145" y="253"/>
                    </a:lnTo>
                    <a:lnTo>
                      <a:pt x="145" y="258"/>
                    </a:lnTo>
                    <a:lnTo>
                      <a:pt x="140" y="258"/>
                    </a:lnTo>
                    <a:lnTo>
                      <a:pt x="140" y="258"/>
                    </a:lnTo>
                    <a:lnTo>
                      <a:pt x="140" y="258"/>
                    </a:lnTo>
                    <a:lnTo>
                      <a:pt x="136" y="253"/>
                    </a:lnTo>
                    <a:lnTo>
                      <a:pt x="131" y="253"/>
                    </a:lnTo>
                    <a:lnTo>
                      <a:pt x="127" y="249"/>
                    </a:lnTo>
                    <a:lnTo>
                      <a:pt x="127" y="244"/>
                    </a:lnTo>
                    <a:lnTo>
                      <a:pt x="122" y="244"/>
                    </a:lnTo>
                    <a:lnTo>
                      <a:pt x="122" y="240"/>
                    </a:lnTo>
                    <a:lnTo>
                      <a:pt x="122" y="235"/>
                    </a:lnTo>
                    <a:lnTo>
                      <a:pt x="122" y="235"/>
                    </a:lnTo>
                    <a:lnTo>
                      <a:pt x="122" y="235"/>
                    </a:lnTo>
                    <a:lnTo>
                      <a:pt x="122" y="231"/>
                    </a:lnTo>
                    <a:lnTo>
                      <a:pt x="122" y="231"/>
                    </a:lnTo>
                    <a:lnTo>
                      <a:pt x="122" y="231"/>
                    </a:lnTo>
                    <a:lnTo>
                      <a:pt x="127" y="231"/>
                    </a:lnTo>
                    <a:lnTo>
                      <a:pt x="127" y="226"/>
                    </a:lnTo>
                    <a:lnTo>
                      <a:pt x="127" y="226"/>
                    </a:lnTo>
                    <a:lnTo>
                      <a:pt x="122" y="226"/>
                    </a:lnTo>
                    <a:lnTo>
                      <a:pt x="122" y="222"/>
                    </a:lnTo>
                    <a:lnTo>
                      <a:pt x="122" y="222"/>
                    </a:lnTo>
                    <a:lnTo>
                      <a:pt x="118" y="217"/>
                    </a:lnTo>
                    <a:lnTo>
                      <a:pt x="118" y="217"/>
                    </a:lnTo>
                    <a:lnTo>
                      <a:pt x="113" y="217"/>
                    </a:lnTo>
                    <a:lnTo>
                      <a:pt x="113" y="217"/>
                    </a:lnTo>
                    <a:lnTo>
                      <a:pt x="113" y="217"/>
                    </a:lnTo>
                    <a:lnTo>
                      <a:pt x="113" y="217"/>
                    </a:lnTo>
                    <a:lnTo>
                      <a:pt x="113" y="217"/>
                    </a:lnTo>
                    <a:lnTo>
                      <a:pt x="113" y="222"/>
                    </a:lnTo>
                    <a:lnTo>
                      <a:pt x="113" y="222"/>
                    </a:lnTo>
                    <a:lnTo>
                      <a:pt x="109" y="226"/>
                    </a:lnTo>
                    <a:lnTo>
                      <a:pt x="109" y="226"/>
                    </a:lnTo>
                    <a:lnTo>
                      <a:pt x="109" y="222"/>
                    </a:lnTo>
                    <a:lnTo>
                      <a:pt x="104" y="222"/>
                    </a:lnTo>
                    <a:lnTo>
                      <a:pt x="104" y="222"/>
                    </a:lnTo>
                    <a:lnTo>
                      <a:pt x="104" y="222"/>
                    </a:lnTo>
                    <a:lnTo>
                      <a:pt x="104" y="222"/>
                    </a:lnTo>
                    <a:lnTo>
                      <a:pt x="104" y="222"/>
                    </a:lnTo>
                    <a:lnTo>
                      <a:pt x="104" y="222"/>
                    </a:lnTo>
                    <a:lnTo>
                      <a:pt x="104" y="222"/>
                    </a:lnTo>
                    <a:lnTo>
                      <a:pt x="100" y="222"/>
                    </a:lnTo>
                    <a:lnTo>
                      <a:pt x="100" y="222"/>
                    </a:lnTo>
                    <a:lnTo>
                      <a:pt x="100" y="222"/>
                    </a:lnTo>
                    <a:lnTo>
                      <a:pt x="100" y="217"/>
                    </a:lnTo>
                    <a:lnTo>
                      <a:pt x="95" y="217"/>
                    </a:lnTo>
                    <a:lnTo>
                      <a:pt x="95" y="222"/>
                    </a:lnTo>
                    <a:lnTo>
                      <a:pt x="95" y="222"/>
                    </a:lnTo>
                    <a:lnTo>
                      <a:pt x="95" y="222"/>
                    </a:lnTo>
                    <a:lnTo>
                      <a:pt x="91" y="226"/>
                    </a:lnTo>
                    <a:lnTo>
                      <a:pt x="91" y="231"/>
                    </a:lnTo>
                    <a:lnTo>
                      <a:pt x="91" y="235"/>
                    </a:lnTo>
                    <a:lnTo>
                      <a:pt x="91" y="235"/>
                    </a:lnTo>
                    <a:lnTo>
                      <a:pt x="91" y="235"/>
                    </a:lnTo>
                    <a:lnTo>
                      <a:pt x="86" y="235"/>
                    </a:lnTo>
                    <a:lnTo>
                      <a:pt x="86" y="235"/>
                    </a:lnTo>
                    <a:lnTo>
                      <a:pt x="86" y="235"/>
                    </a:lnTo>
                    <a:lnTo>
                      <a:pt x="86" y="231"/>
                    </a:lnTo>
                    <a:lnTo>
                      <a:pt x="86" y="231"/>
                    </a:lnTo>
                    <a:lnTo>
                      <a:pt x="86" y="226"/>
                    </a:lnTo>
                    <a:lnTo>
                      <a:pt x="86" y="222"/>
                    </a:lnTo>
                    <a:lnTo>
                      <a:pt x="86" y="217"/>
                    </a:lnTo>
                    <a:lnTo>
                      <a:pt x="86" y="217"/>
                    </a:lnTo>
                    <a:lnTo>
                      <a:pt x="91" y="217"/>
                    </a:lnTo>
                    <a:lnTo>
                      <a:pt x="91" y="213"/>
                    </a:lnTo>
                    <a:lnTo>
                      <a:pt x="91" y="213"/>
                    </a:lnTo>
                    <a:lnTo>
                      <a:pt x="95" y="213"/>
                    </a:lnTo>
                    <a:lnTo>
                      <a:pt x="95" y="213"/>
                    </a:lnTo>
                    <a:lnTo>
                      <a:pt x="100" y="213"/>
                    </a:lnTo>
                    <a:lnTo>
                      <a:pt x="100" y="213"/>
                    </a:lnTo>
                    <a:lnTo>
                      <a:pt x="104" y="208"/>
                    </a:lnTo>
                    <a:lnTo>
                      <a:pt x="100" y="208"/>
                    </a:lnTo>
                    <a:lnTo>
                      <a:pt x="100" y="208"/>
                    </a:lnTo>
                    <a:lnTo>
                      <a:pt x="100" y="204"/>
                    </a:lnTo>
                    <a:lnTo>
                      <a:pt x="104" y="204"/>
                    </a:lnTo>
                    <a:lnTo>
                      <a:pt x="104" y="204"/>
                    </a:lnTo>
                    <a:lnTo>
                      <a:pt x="104" y="204"/>
                    </a:lnTo>
                    <a:lnTo>
                      <a:pt x="104" y="204"/>
                    </a:lnTo>
                    <a:lnTo>
                      <a:pt x="109" y="204"/>
                    </a:lnTo>
                    <a:lnTo>
                      <a:pt x="109" y="199"/>
                    </a:lnTo>
                    <a:lnTo>
                      <a:pt x="109" y="199"/>
                    </a:lnTo>
                    <a:lnTo>
                      <a:pt x="109" y="199"/>
                    </a:lnTo>
                    <a:lnTo>
                      <a:pt x="109" y="199"/>
                    </a:lnTo>
                    <a:lnTo>
                      <a:pt x="113" y="199"/>
                    </a:lnTo>
                    <a:lnTo>
                      <a:pt x="113" y="204"/>
                    </a:lnTo>
                    <a:lnTo>
                      <a:pt x="118" y="204"/>
                    </a:lnTo>
                    <a:lnTo>
                      <a:pt x="118" y="208"/>
                    </a:lnTo>
                    <a:lnTo>
                      <a:pt x="118" y="208"/>
                    </a:lnTo>
                    <a:lnTo>
                      <a:pt x="118" y="213"/>
                    </a:lnTo>
                    <a:lnTo>
                      <a:pt x="118" y="213"/>
                    </a:lnTo>
                    <a:lnTo>
                      <a:pt x="118" y="213"/>
                    </a:lnTo>
                    <a:lnTo>
                      <a:pt x="118" y="213"/>
                    </a:lnTo>
                    <a:lnTo>
                      <a:pt x="118" y="213"/>
                    </a:lnTo>
                    <a:lnTo>
                      <a:pt x="122" y="208"/>
                    </a:lnTo>
                    <a:lnTo>
                      <a:pt x="122" y="208"/>
                    </a:lnTo>
                    <a:lnTo>
                      <a:pt x="122" y="208"/>
                    </a:lnTo>
                    <a:lnTo>
                      <a:pt x="122" y="204"/>
                    </a:lnTo>
                    <a:lnTo>
                      <a:pt x="122" y="204"/>
                    </a:lnTo>
                    <a:lnTo>
                      <a:pt x="127" y="204"/>
                    </a:lnTo>
                    <a:lnTo>
                      <a:pt x="127" y="199"/>
                    </a:lnTo>
                    <a:lnTo>
                      <a:pt x="127" y="199"/>
                    </a:lnTo>
                    <a:lnTo>
                      <a:pt x="131" y="204"/>
                    </a:lnTo>
                    <a:lnTo>
                      <a:pt x="131" y="204"/>
                    </a:lnTo>
                    <a:lnTo>
                      <a:pt x="131" y="199"/>
                    </a:lnTo>
                    <a:lnTo>
                      <a:pt x="131" y="195"/>
                    </a:lnTo>
                    <a:lnTo>
                      <a:pt x="131" y="195"/>
                    </a:lnTo>
                    <a:lnTo>
                      <a:pt x="131" y="195"/>
                    </a:lnTo>
                    <a:lnTo>
                      <a:pt x="136" y="195"/>
                    </a:lnTo>
                    <a:lnTo>
                      <a:pt x="136" y="195"/>
                    </a:lnTo>
                    <a:lnTo>
                      <a:pt x="136" y="195"/>
                    </a:lnTo>
                    <a:lnTo>
                      <a:pt x="140" y="195"/>
                    </a:lnTo>
                    <a:lnTo>
                      <a:pt x="140" y="190"/>
                    </a:lnTo>
                    <a:lnTo>
                      <a:pt x="140" y="190"/>
                    </a:lnTo>
                    <a:lnTo>
                      <a:pt x="140" y="195"/>
                    </a:lnTo>
                    <a:lnTo>
                      <a:pt x="145" y="195"/>
                    </a:lnTo>
                    <a:lnTo>
                      <a:pt x="145" y="190"/>
                    </a:lnTo>
                    <a:lnTo>
                      <a:pt x="145" y="186"/>
                    </a:lnTo>
                    <a:lnTo>
                      <a:pt x="140" y="181"/>
                    </a:lnTo>
                    <a:lnTo>
                      <a:pt x="140" y="177"/>
                    </a:lnTo>
                    <a:lnTo>
                      <a:pt x="140" y="177"/>
                    </a:lnTo>
                    <a:lnTo>
                      <a:pt x="145" y="181"/>
                    </a:lnTo>
                    <a:lnTo>
                      <a:pt x="150" y="181"/>
                    </a:lnTo>
                    <a:lnTo>
                      <a:pt x="150" y="186"/>
                    </a:lnTo>
                    <a:lnTo>
                      <a:pt x="150" y="186"/>
                    </a:lnTo>
                    <a:moveTo>
                      <a:pt x="127" y="177"/>
                    </a:moveTo>
                    <a:lnTo>
                      <a:pt x="127" y="177"/>
                    </a:lnTo>
                    <a:lnTo>
                      <a:pt x="127" y="177"/>
                    </a:lnTo>
                    <a:lnTo>
                      <a:pt x="122" y="177"/>
                    </a:lnTo>
                    <a:lnTo>
                      <a:pt x="122" y="177"/>
                    </a:lnTo>
                    <a:lnTo>
                      <a:pt x="122" y="181"/>
                    </a:lnTo>
                    <a:lnTo>
                      <a:pt x="122" y="181"/>
                    </a:lnTo>
                    <a:lnTo>
                      <a:pt x="118" y="181"/>
                    </a:lnTo>
                    <a:lnTo>
                      <a:pt x="113" y="181"/>
                    </a:lnTo>
                    <a:lnTo>
                      <a:pt x="113" y="181"/>
                    </a:lnTo>
                    <a:lnTo>
                      <a:pt x="113" y="177"/>
                    </a:lnTo>
                    <a:lnTo>
                      <a:pt x="113" y="177"/>
                    </a:lnTo>
                    <a:lnTo>
                      <a:pt x="113" y="177"/>
                    </a:lnTo>
                    <a:lnTo>
                      <a:pt x="113" y="177"/>
                    </a:lnTo>
                    <a:lnTo>
                      <a:pt x="118" y="172"/>
                    </a:lnTo>
                    <a:lnTo>
                      <a:pt x="118" y="172"/>
                    </a:lnTo>
                    <a:lnTo>
                      <a:pt x="118" y="172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22" y="172"/>
                    </a:lnTo>
                    <a:lnTo>
                      <a:pt x="122" y="172"/>
                    </a:lnTo>
                    <a:lnTo>
                      <a:pt x="122" y="172"/>
                    </a:lnTo>
                    <a:lnTo>
                      <a:pt x="127" y="172"/>
                    </a:lnTo>
                    <a:lnTo>
                      <a:pt x="127" y="177"/>
                    </a:lnTo>
                    <a:lnTo>
                      <a:pt x="127" y="177"/>
                    </a:lnTo>
                    <a:lnTo>
                      <a:pt x="127" y="177"/>
                    </a:lnTo>
                    <a:moveTo>
                      <a:pt x="104" y="190"/>
                    </a:moveTo>
                    <a:lnTo>
                      <a:pt x="104" y="190"/>
                    </a:lnTo>
                    <a:lnTo>
                      <a:pt x="100" y="195"/>
                    </a:lnTo>
                    <a:lnTo>
                      <a:pt x="100" y="190"/>
                    </a:lnTo>
                    <a:lnTo>
                      <a:pt x="100" y="190"/>
                    </a:lnTo>
                    <a:lnTo>
                      <a:pt x="95" y="186"/>
                    </a:lnTo>
                    <a:lnTo>
                      <a:pt x="95" y="186"/>
                    </a:lnTo>
                    <a:lnTo>
                      <a:pt x="95" y="186"/>
                    </a:lnTo>
                    <a:lnTo>
                      <a:pt x="91" y="186"/>
                    </a:lnTo>
                    <a:lnTo>
                      <a:pt x="91" y="186"/>
                    </a:lnTo>
                    <a:lnTo>
                      <a:pt x="86" y="181"/>
                    </a:lnTo>
                    <a:lnTo>
                      <a:pt x="86" y="177"/>
                    </a:lnTo>
                    <a:lnTo>
                      <a:pt x="86" y="177"/>
                    </a:lnTo>
                    <a:lnTo>
                      <a:pt x="91" y="172"/>
                    </a:lnTo>
                    <a:lnTo>
                      <a:pt x="91" y="172"/>
                    </a:lnTo>
                    <a:lnTo>
                      <a:pt x="91" y="172"/>
                    </a:lnTo>
                    <a:lnTo>
                      <a:pt x="91" y="172"/>
                    </a:lnTo>
                    <a:lnTo>
                      <a:pt x="95" y="172"/>
                    </a:lnTo>
                    <a:lnTo>
                      <a:pt x="95" y="172"/>
                    </a:lnTo>
                    <a:lnTo>
                      <a:pt x="95" y="167"/>
                    </a:lnTo>
                    <a:lnTo>
                      <a:pt x="95" y="163"/>
                    </a:lnTo>
                    <a:lnTo>
                      <a:pt x="91" y="163"/>
                    </a:lnTo>
                    <a:lnTo>
                      <a:pt x="95" y="163"/>
                    </a:lnTo>
                    <a:lnTo>
                      <a:pt x="95" y="163"/>
                    </a:lnTo>
                    <a:lnTo>
                      <a:pt x="95" y="158"/>
                    </a:lnTo>
                    <a:lnTo>
                      <a:pt x="95" y="158"/>
                    </a:lnTo>
                    <a:lnTo>
                      <a:pt x="95" y="154"/>
                    </a:lnTo>
                    <a:lnTo>
                      <a:pt x="95" y="154"/>
                    </a:lnTo>
                    <a:lnTo>
                      <a:pt x="95" y="154"/>
                    </a:lnTo>
                    <a:lnTo>
                      <a:pt x="100" y="154"/>
                    </a:lnTo>
                    <a:lnTo>
                      <a:pt x="100" y="154"/>
                    </a:lnTo>
                    <a:lnTo>
                      <a:pt x="104" y="154"/>
                    </a:lnTo>
                    <a:lnTo>
                      <a:pt x="104" y="158"/>
                    </a:lnTo>
                    <a:lnTo>
                      <a:pt x="104" y="158"/>
                    </a:lnTo>
                    <a:lnTo>
                      <a:pt x="104" y="158"/>
                    </a:lnTo>
                    <a:lnTo>
                      <a:pt x="104" y="163"/>
                    </a:lnTo>
                    <a:lnTo>
                      <a:pt x="104" y="163"/>
                    </a:lnTo>
                    <a:lnTo>
                      <a:pt x="104" y="167"/>
                    </a:lnTo>
                    <a:lnTo>
                      <a:pt x="104" y="172"/>
                    </a:lnTo>
                    <a:lnTo>
                      <a:pt x="100" y="172"/>
                    </a:lnTo>
                    <a:lnTo>
                      <a:pt x="100" y="177"/>
                    </a:lnTo>
                    <a:lnTo>
                      <a:pt x="100" y="177"/>
                    </a:lnTo>
                    <a:lnTo>
                      <a:pt x="100" y="181"/>
                    </a:lnTo>
                    <a:lnTo>
                      <a:pt x="100" y="181"/>
                    </a:lnTo>
                    <a:lnTo>
                      <a:pt x="100" y="181"/>
                    </a:lnTo>
                    <a:lnTo>
                      <a:pt x="104" y="186"/>
                    </a:lnTo>
                    <a:lnTo>
                      <a:pt x="104" y="186"/>
                    </a:lnTo>
                    <a:lnTo>
                      <a:pt x="104" y="190"/>
                    </a:lnTo>
                    <a:lnTo>
                      <a:pt x="104" y="190"/>
                    </a:lnTo>
                    <a:lnTo>
                      <a:pt x="104" y="190"/>
                    </a:lnTo>
                    <a:lnTo>
                      <a:pt x="104" y="190"/>
                    </a:lnTo>
                    <a:lnTo>
                      <a:pt x="104" y="190"/>
                    </a:lnTo>
                    <a:moveTo>
                      <a:pt x="104" y="186"/>
                    </a:moveTo>
                    <a:lnTo>
                      <a:pt x="104" y="186"/>
                    </a:lnTo>
                    <a:lnTo>
                      <a:pt x="104" y="186"/>
                    </a:lnTo>
                    <a:lnTo>
                      <a:pt x="104" y="186"/>
                    </a:lnTo>
                    <a:lnTo>
                      <a:pt x="104" y="181"/>
                    </a:lnTo>
                    <a:lnTo>
                      <a:pt x="104" y="177"/>
                    </a:lnTo>
                    <a:lnTo>
                      <a:pt x="104" y="172"/>
                    </a:lnTo>
                    <a:lnTo>
                      <a:pt x="104" y="172"/>
                    </a:lnTo>
                    <a:lnTo>
                      <a:pt x="109" y="167"/>
                    </a:lnTo>
                    <a:lnTo>
                      <a:pt x="109" y="163"/>
                    </a:lnTo>
                    <a:lnTo>
                      <a:pt x="109" y="163"/>
                    </a:lnTo>
                    <a:lnTo>
                      <a:pt x="109" y="158"/>
                    </a:lnTo>
                    <a:lnTo>
                      <a:pt x="109" y="154"/>
                    </a:lnTo>
                    <a:lnTo>
                      <a:pt x="109" y="149"/>
                    </a:lnTo>
                    <a:lnTo>
                      <a:pt x="109" y="149"/>
                    </a:lnTo>
                    <a:lnTo>
                      <a:pt x="109" y="149"/>
                    </a:lnTo>
                    <a:lnTo>
                      <a:pt x="109" y="149"/>
                    </a:lnTo>
                    <a:lnTo>
                      <a:pt x="113" y="145"/>
                    </a:lnTo>
                    <a:lnTo>
                      <a:pt x="113" y="149"/>
                    </a:lnTo>
                    <a:lnTo>
                      <a:pt x="113" y="149"/>
                    </a:lnTo>
                    <a:lnTo>
                      <a:pt x="113" y="149"/>
                    </a:lnTo>
                    <a:lnTo>
                      <a:pt x="113" y="154"/>
                    </a:lnTo>
                    <a:lnTo>
                      <a:pt x="113" y="154"/>
                    </a:lnTo>
                    <a:lnTo>
                      <a:pt x="113" y="158"/>
                    </a:lnTo>
                    <a:lnTo>
                      <a:pt x="113" y="163"/>
                    </a:lnTo>
                    <a:lnTo>
                      <a:pt x="113" y="163"/>
                    </a:lnTo>
                    <a:lnTo>
                      <a:pt x="113" y="167"/>
                    </a:lnTo>
                    <a:lnTo>
                      <a:pt x="113" y="167"/>
                    </a:lnTo>
                    <a:lnTo>
                      <a:pt x="109" y="167"/>
                    </a:lnTo>
                    <a:lnTo>
                      <a:pt x="109" y="172"/>
                    </a:lnTo>
                    <a:lnTo>
                      <a:pt x="109" y="172"/>
                    </a:lnTo>
                    <a:lnTo>
                      <a:pt x="109" y="177"/>
                    </a:lnTo>
                    <a:lnTo>
                      <a:pt x="109" y="181"/>
                    </a:lnTo>
                    <a:lnTo>
                      <a:pt x="104" y="186"/>
                    </a:lnTo>
                    <a:moveTo>
                      <a:pt x="5" y="208"/>
                    </a:moveTo>
                    <a:lnTo>
                      <a:pt x="5" y="208"/>
                    </a:lnTo>
                    <a:lnTo>
                      <a:pt x="0" y="208"/>
                    </a:lnTo>
                    <a:lnTo>
                      <a:pt x="0" y="208"/>
                    </a:lnTo>
                    <a:lnTo>
                      <a:pt x="0" y="204"/>
                    </a:lnTo>
                    <a:lnTo>
                      <a:pt x="5" y="199"/>
                    </a:lnTo>
                    <a:lnTo>
                      <a:pt x="5" y="199"/>
                    </a:lnTo>
                    <a:lnTo>
                      <a:pt x="5" y="199"/>
                    </a:lnTo>
                    <a:lnTo>
                      <a:pt x="5" y="195"/>
                    </a:lnTo>
                    <a:lnTo>
                      <a:pt x="9" y="195"/>
                    </a:lnTo>
                    <a:lnTo>
                      <a:pt x="9" y="190"/>
                    </a:lnTo>
                    <a:lnTo>
                      <a:pt x="14" y="190"/>
                    </a:lnTo>
                    <a:lnTo>
                      <a:pt x="14" y="190"/>
                    </a:lnTo>
                    <a:lnTo>
                      <a:pt x="14" y="190"/>
                    </a:lnTo>
                    <a:lnTo>
                      <a:pt x="14" y="190"/>
                    </a:lnTo>
                    <a:lnTo>
                      <a:pt x="19" y="181"/>
                    </a:lnTo>
                    <a:lnTo>
                      <a:pt x="23" y="177"/>
                    </a:lnTo>
                    <a:lnTo>
                      <a:pt x="23" y="172"/>
                    </a:lnTo>
                    <a:lnTo>
                      <a:pt x="23" y="172"/>
                    </a:lnTo>
                    <a:lnTo>
                      <a:pt x="28" y="172"/>
                    </a:lnTo>
                    <a:lnTo>
                      <a:pt x="28" y="167"/>
                    </a:lnTo>
                    <a:lnTo>
                      <a:pt x="28" y="167"/>
                    </a:lnTo>
                    <a:lnTo>
                      <a:pt x="28" y="167"/>
                    </a:lnTo>
                    <a:lnTo>
                      <a:pt x="32" y="167"/>
                    </a:lnTo>
                    <a:lnTo>
                      <a:pt x="32" y="163"/>
                    </a:lnTo>
                    <a:lnTo>
                      <a:pt x="32" y="163"/>
                    </a:lnTo>
                    <a:lnTo>
                      <a:pt x="32" y="158"/>
                    </a:lnTo>
                    <a:lnTo>
                      <a:pt x="32" y="158"/>
                    </a:lnTo>
                    <a:lnTo>
                      <a:pt x="32" y="158"/>
                    </a:lnTo>
                    <a:lnTo>
                      <a:pt x="32" y="154"/>
                    </a:lnTo>
                    <a:lnTo>
                      <a:pt x="32" y="154"/>
                    </a:lnTo>
                    <a:lnTo>
                      <a:pt x="32" y="149"/>
                    </a:lnTo>
                    <a:lnTo>
                      <a:pt x="32" y="145"/>
                    </a:lnTo>
                    <a:lnTo>
                      <a:pt x="32" y="149"/>
                    </a:lnTo>
                    <a:lnTo>
                      <a:pt x="37" y="149"/>
                    </a:lnTo>
                    <a:lnTo>
                      <a:pt x="32" y="149"/>
                    </a:lnTo>
                    <a:lnTo>
                      <a:pt x="37" y="154"/>
                    </a:lnTo>
                    <a:lnTo>
                      <a:pt x="37" y="154"/>
                    </a:lnTo>
                    <a:lnTo>
                      <a:pt x="37" y="154"/>
                    </a:lnTo>
                    <a:lnTo>
                      <a:pt x="37" y="158"/>
                    </a:lnTo>
                    <a:lnTo>
                      <a:pt x="37" y="163"/>
                    </a:lnTo>
                    <a:lnTo>
                      <a:pt x="37" y="163"/>
                    </a:lnTo>
                    <a:lnTo>
                      <a:pt x="37" y="167"/>
                    </a:lnTo>
                    <a:lnTo>
                      <a:pt x="37" y="167"/>
                    </a:lnTo>
                    <a:lnTo>
                      <a:pt x="37" y="167"/>
                    </a:lnTo>
                    <a:lnTo>
                      <a:pt x="32" y="167"/>
                    </a:lnTo>
                    <a:lnTo>
                      <a:pt x="32" y="167"/>
                    </a:lnTo>
                    <a:lnTo>
                      <a:pt x="32" y="172"/>
                    </a:lnTo>
                    <a:lnTo>
                      <a:pt x="32" y="172"/>
                    </a:lnTo>
                    <a:lnTo>
                      <a:pt x="32" y="172"/>
                    </a:lnTo>
                    <a:lnTo>
                      <a:pt x="28" y="177"/>
                    </a:lnTo>
                    <a:lnTo>
                      <a:pt x="28" y="177"/>
                    </a:lnTo>
                    <a:lnTo>
                      <a:pt x="23" y="177"/>
                    </a:lnTo>
                    <a:lnTo>
                      <a:pt x="23" y="177"/>
                    </a:lnTo>
                    <a:lnTo>
                      <a:pt x="23" y="181"/>
                    </a:lnTo>
                    <a:lnTo>
                      <a:pt x="23" y="186"/>
                    </a:lnTo>
                    <a:lnTo>
                      <a:pt x="23" y="190"/>
                    </a:lnTo>
                    <a:lnTo>
                      <a:pt x="19" y="190"/>
                    </a:lnTo>
                    <a:lnTo>
                      <a:pt x="19" y="190"/>
                    </a:lnTo>
                    <a:lnTo>
                      <a:pt x="19" y="190"/>
                    </a:lnTo>
                    <a:lnTo>
                      <a:pt x="14" y="195"/>
                    </a:lnTo>
                    <a:lnTo>
                      <a:pt x="14" y="195"/>
                    </a:lnTo>
                    <a:lnTo>
                      <a:pt x="14" y="199"/>
                    </a:lnTo>
                    <a:lnTo>
                      <a:pt x="14" y="199"/>
                    </a:lnTo>
                    <a:lnTo>
                      <a:pt x="9" y="199"/>
                    </a:lnTo>
                    <a:lnTo>
                      <a:pt x="9" y="204"/>
                    </a:lnTo>
                    <a:lnTo>
                      <a:pt x="5" y="204"/>
                    </a:lnTo>
                    <a:lnTo>
                      <a:pt x="5" y="204"/>
                    </a:lnTo>
                    <a:lnTo>
                      <a:pt x="5" y="204"/>
                    </a:lnTo>
                    <a:lnTo>
                      <a:pt x="5" y="204"/>
                    </a:lnTo>
                    <a:lnTo>
                      <a:pt x="5" y="204"/>
                    </a:lnTo>
                    <a:lnTo>
                      <a:pt x="5" y="208"/>
                    </a:lnTo>
                    <a:moveTo>
                      <a:pt x="122" y="145"/>
                    </a:moveTo>
                    <a:lnTo>
                      <a:pt x="122" y="145"/>
                    </a:lnTo>
                    <a:lnTo>
                      <a:pt x="122" y="145"/>
                    </a:lnTo>
                    <a:lnTo>
                      <a:pt x="122" y="145"/>
                    </a:lnTo>
                    <a:lnTo>
                      <a:pt x="127" y="145"/>
                    </a:lnTo>
                    <a:lnTo>
                      <a:pt x="127" y="145"/>
                    </a:lnTo>
                    <a:lnTo>
                      <a:pt x="127" y="145"/>
                    </a:lnTo>
                    <a:lnTo>
                      <a:pt x="127" y="149"/>
                    </a:lnTo>
                    <a:lnTo>
                      <a:pt x="131" y="149"/>
                    </a:lnTo>
                    <a:lnTo>
                      <a:pt x="131" y="154"/>
                    </a:lnTo>
                    <a:lnTo>
                      <a:pt x="131" y="158"/>
                    </a:lnTo>
                    <a:lnTo>
                      <a:pt x="131" y="158"/>
                    </a:lnTo>
                    <a:lnTo>
                      <a:pt x="131" y="158"/>
                    </a:lnTo>
                    <a:lnTo>
                      <a:pt x="131" y="158"/>
                    </a:lnTo>
                    <a:lnTo>
                      <a:pt x="131" y="158"/>
                    </a:lnTo>
                    <a:lnTo>
                      <a:pt x="136" y="158"/>
                    </a:lnTo>
                    <a:lnTo>
                      <a:pt x="136" y="163"/>
                    </a:lnTo>
                    <a:lnTo>
                      <a:pt x="136" y="163"/>
                    </a:lnTo>
                    <a:lnTo>
                      <a:pt x="136" y="167"/>
                    </a:lnTo>
                    <a:lnTo>
                      <a:pt x="136" y="167"/>
                    </a:lnTo>
                    <a:lnTo>
                      <a:pt x="136" y="167"/>
                    </a:lnTo>
                    <a:lnTo>
                      <a:pt x="136" y="167"/>
                    </a:lnTo>
                    <a:lnTo>
                      <a:pt x="136" y="167"/>
                    </a:lnTo>
                    <a:lnTo>
                      <a:pt x="131" y="167"/>
                    </a:lnTo>
                    <a:lnTo>
                      <a:pt x="131" y="167"/>
                    </a:lnTo>
                    <a:lnTo>
                      <a:pt x="131" y="163"/>
                    </a:lnTo>
                    <a:lnTo>
                      <a:pt x="131" y="167"/>
                    </a:lnTo>
                    <a:lnTo>
                      <a:pt x="131" y="172"/>
                    </a:lnTo>
                    <a:lnTo>
                      <a:pt x="131" y="172"/>
                    </a:lnTo>
                    <a:lnTo>
                      <a:pt x="131" y="172"/>
                    </a:lnTo>
                    <a:lnTo>
                      <a:pt x="127" y="167"/>
                    </a:lnTo>
                    <a:lnTo>
                      <a:pt x="127" y="167"/>
                    </a:lnTo>
                    <a:lnTo>
                      <a:pt x="127" y="167"/>
                    </a:lnTo>
                    <a:lnTo>
                      <a:pt x="127" y="167"/>
                    </a:lnTo>
                    <a:lnTo>
                      <a:pt x="127" y="163"/>
                    </a:lnTo>
                    <a:lnTo>
                      <a:pt x="127" y="158"/>
                    </a:lnTo>
                    <a:lnTo>
                      <a:pt x="127" y="158"/>
                    </a:lnTo>
                    <a:lnTo>
                      <a:pt x="127" y="158"/>
                    </a:lnTo>
                    <a:lnTo>
                      <a:pt x="127" y="154"/>
                    </a:lnTo>
                    <a:lnTo>
                      <a:pt x="122" y="154"/>
                    </a:lnTo>
                    <a:lnTo>
                      <a:pt x="122" y="154"/>
                    </a:lnTo>
                    <a:lnTo>
                      <a:pt x="122" y="154"/>
                    </a:lnTo>
                    <a:lnTo>
                      <a:pt x="118" y="154"/>
                    </a:lnTo>
                    <a:lnTo>
                      <a:pt x="118" y="149"/>
                    </a:lnTo>
                    <a:lnTo>
                      <a:pt x="118" y="145"/>
                    </a:lnTo>
                    <a:lnTo>
                      <a:pt x="118" y="145"/>
                    </a:lnTo>
                    <a:lnTo>
                      <a:pt x="118" y="140"/>
                    </a:lnTo>
                    <a:lnTo>
                      <a:pt x="118" y="140"/>
                    </a:lnTo>
                    <a:lnTo>
                      <a:pt x="118" y="140"/>
                    </a:lnTo>
                    <a:lnTo>
                      <a:pt x="118" y="145"/>
                    </a:lnTo>
                    <a:lnTo>
                      <a:pt x="118" y="145"/>
                    </a:lnTo>
                    <a:lnTo>
                      <a:pt x="118" y="145"/>
                    </a:lnTo>
                    <a:lnTo>
                      <a:pt x="122" y="145"/>
                    </a:lnTo>
                    <a:moveTo>
                      <a:pt x="82" y="140"/>
                    </a:moveTo>
                    <a:lnTo>
                      <a:pt x="82" y="140"/>
                    </a:lnTo>
                    <a:lnTo>
                      <a:pt x="86" y="140"/>
                    </a:lnTo>
                    <a:lnTo>
                      <a:pt x="86" y="140"/>
                    </a:lnTo>
                    <a:lnTo>
                      <a:pt x="91" y="140"/>
                    </a:lnTo>
                    <a:lnTo>
                      <a:pt x="91" y="140"/>
                    </a:lnTo>
                    <a:lnTo>
                      <a:pt x="91" y="145"/>
                    </a:lnTo>
                    <a:lnTo>
                      <a:pt x="91" y="145"/>
                    </a:lnTo>
                    <a:lnTo>
                      <a:pt x="95" y="140"/>
                    </a:lnTo>
                    <a:lnTo>
                      <a:pt x="95" y="140"/>
                    </a:lnTo>
                    <a:lnTo>
                      <a:pt x="95" y="145"/>
                    </a:lnTo>
                    <a:lnTo>
                      <a:pt x="95" y="145"/>
                    </a:lnTo>
                    <a:lnTo>
                      <a:pt x="95" y="145"/>
                    </a:lnTo>
                    <a:lnTo>
                      <a:pt x="95" y="149"/>
                    </a:lnTo>
                    <a:lnTo>
                      <a:pt x="95" y="149"/>
                    </a:lnTo>
                    <a:lnTo>
                      <a:pt x="95" y="149"/>
                    </a:lnTo>
                    <a:lnTo>
                      <a:pt x="91" y="154"/>
                    </a:lnTo>
                    <a:lnTo>
                      <a:pt x="91" y="154"/>
                    </a:lnTo>
                    <a:lnTo>
                      <a:pt x="91" y="154"/>
                    </a:lnTo>
                    <a:lnTo>
                      <a:pt x="91" y="154"/>
                    </a:lnTo>
                    <a:lnTo>
                      <a:pt x="91" y="158"/>
                    </a:lnTo>
                    <a:lnTo>
                      <a:pt x="91" y="158"/>
                    </a:lnTo>
                    <a:lnTo>
                      <a:pt x="86" y="158"/>
                    </a:lnTo>
                    <a:lnTo>
                      <a:pt x="82" y="158"/>
                    </a:lnTo>
                    <a:lnTo>
                      <a:pt x="82" y="163"/>
                    </a:lnTo>
                    <a:lnTo>
                      <a:pt x="82" y="163"/>
                    </a:lnTo>
                    <a:lnTo>
                      <a:pt x="77" y="163"/>
                    </a:lnTo>
                    <a:lnTo>
                      <a:pt x="77" y="163"/>
                    </a:lnTo>
                    <a:lnTo>
                      <a:pt x="77" y="163"/>
                    </a:lnTo>
                    <a:lnTo>
                      <a:pt x="77" y="163"/>
                    </a:lnTo>
                    <a:lnTo>
                      <a:pt x="77" y="158"/>
                    </a:lnTo>
                    <a:lnTo>
                      <a:pt x="77" y="158"/>
                    </a:lnTo>
                    <a:lnTo>
                      <a:pt x="77" y="158"/>
                    </a:lnTo>
                    <a:lnTo>
                      <a:pt x="77" y="154"/>
                    </a:lnTo>
                    <a:lnTo>
                      <a:pt x="77" y="154"/>
                    </a:lnTo>
                    <a:lnTo>
                      <a:pt x="77" y="149"/>
                    </a:lnTo>
                    <a:lnTo>
                      <a:pt x="77" y="145"/>
                    </a:lnTo>
                    <a:lnTo>
                      <a:pt x="77" y="140"/>
                    </a:lnTo>
                    <a:lnTo>
                      <a:pt x="77" y="140"/>
                    </a:lnTo>
                    <a:lnTo>
                      <a:pt x="77" y="140"/>
                    </a:lnTo>
                    <a:lnTo>
                      <a:pt x="73" y="136"/>
                    </a:lnTo>
                    <a:lnTo>
                      <a:pt x="73" y="136"/>
                    </a:lnTo>
                    <a:lnTo>
                      <a:pt x="73" y="136"/>
                    </a:lnTo>
                    <a:lnTo>
                      <a:pt x="73" y="136"/>
                    </a:lnTo>
                    <a:lnTo>
                      <a:pt x="77" y="136"/>
                    </a:lnTo>
                    <a:lnTo>
                      <a:pt x="77" y="136"/>
                    </a:lnTo>
                    <a:lnTo>
                      <a:pt x="82" y="136"/>
                    </a:lnTo>
                    <a:lnTo>
                      <a:pt x="82" y="140"/>
                    </a:lnTo>
                    <a:lnTo>
                      <a:pt x="82" y="140"/>
                    </a:lnTo>
                    <a:moveTo>
                      <a:pt x="127" y="122"/>
                    </a:moveTo>
                    <a:lnTo>
                      <a:pt x="127" y="122"/>
                    </a:lnTo>
                    <a:lnTo>
                      <a:pt x="131" y="122"/>
                    </a:lnTo>
                    <a:lnTo>
                      <a:pt x="131" y="122"/>
                    </a:lnTo>
                    <a:lnTo>
                      <a:pt x="131" y="127"/>
                    </a:lnTo>
                    <a:lnTo>
                      <a:pt x="131" y="127"/>
                    </a:lnTo>
                    <a:lnTo>
                      <a:pt x="131" y="127"/>
                    </a:lnTo>
                    <a:lnTo>
                      <a:pt x="131" y="127"/>
                    </a:lnTo>
                    <a:lnTo>
                      <a:pt x="136" y="127"/>
                    </a:lnTo>
                    <a:lnTo>
                      <a:pt x="136" y="127"/>
                    </a:lnTo>
                    <a:lnTo>
                      <a:pt x="136" y="131"/>
                    </a:lnTo>
                    <a:lnTo>
                      <a:pt x="136" y="131"/>
                    </a:lnTo>
                    <a:lnTo>
                      <a:pt x="136" y="136"/>
                    </a:lnTo>
                    <a:lnTo>
                      <a:pt x="136" y="136"/>
                    </a:lnTo>
                    <a:lnTo>
                      <a:pt x="136" y="140"/>
                    </a:lnTo>
                    <a:lnTo>
                      <a:pt x="136" y="140"/>
                    </a:lnTo>
                    <a:lnTo>
                      <a:pt x="136" y="140"/>
                    </a:lnTo>
                    <a:lnTo>
                      <a:pt x="136" y="145"/>
                    </a:lnTo>
                    <a:lnTo>
                      <a:pt x="140" y="145"/>
                    </a:lnTo>
                    <a:lnTo>
                      <a:pt x="140" y="145"/>
                    </a:lnTo>
                    <a:lnTo>
                      <a:pt x="140" y="145"/>
                    </a:lnTo>
                    <a:lnTo>
                      <a:pt x="140" y="145"/>
                    </a:lnTo>
                    <a:lnTo>
                      <a:pt x="140" y="149"/>
                    </a:lnTo>
                    <a:lnTo>
                      <a:pt x="140" y="149"/>
                    </a:lnTo>
                    <a:lnTo>
                      <a:pt x="140" y="149"/>
                    </a:lnTo>
                    <a:lnTo>
                      <a:pt x="140" y="149"/>
                    </a:lnTo>
                    <a:lnTo>
                      <a:pt x="140" y="149"/>
                    </a:lnTo>
                    <a:lnTo>
                      <a:pt x="136" y="149"/>
                    </a:lnTo>
                    <a:lnTo>
                      <a:pt x="136" y="149"/>
                    </a:lnTo>
                    <a:lnTo>
                      <a:pt x="131" y="149"/>
                    </a:lnTo>
                    <a:lnTo>
                      <a:pt x="131" y="145"/>
                    </a:lnTo>
                    <a:lnTo>
                      <a:pt x="131" y="145"/>
                    </a:lnTo>
                    <a:lnTo>
                      <a:pt x="127" y="145"/>
                    </a:lnTo>
                    <a:lnTo>
                      <a:pt x="127" y="140"/>
                    </a:lnTo>
                    <a:lnTo>
                      <a:pt x="127" y="140"/>
                    </a:lnTo>
                    <a:lnTo>
                      <a:pt x="127" y="140"/>
                    </a:lnTo>
                    <a:lnTo>
                      <a:pt x="127" y="136"/>
                    </a:lnTo>
                    <a:lnTo>
                      <a:pt x="127" y="136"/>
                    </a:lnTo>
                    <a:lnTo>
                      <a:pt x="127" y="136"/>
                    </a:lnTo>
                    <a:lnTo>
                      <a:pt x="122" y="136"/>
                    </a:lnTo>
                    <a:lnTo>
                      <a:pt x="122" y="136"/>
                    </a:lnTo>
                    <a:lnTo>
                      <a:pt x="122" y="136"/>
                    </a:lnTo>
                    <a:lnTo>
                      <a:pt x="122" y="131"/>
                    </a:lnTo>
                    <a:lnTo>
                      <a:pt x="122" y="131"/>
                    </a:lnTo>
                    <a:lnTo>
                      <a:pt x="118" y="131"/>
                    </a:lnTo>
                    <a:lnTo>
                      <a:pt x="118" y="131"/>
                    </a:lnTo>
                    <a:lnTo>
                      <a:pt x="118" y="127"/>
                    </a:lnTo>
                    <a:lnTo>
                      <a:pt x="113" y="127"/>
                    </a:lnTo>
                    <a:lnTo>
                      <a:pt x="113" y="122"/>
                    </a:lnTo>
                    <a:lnTo>
                      <a:pt x="113" y="122"/>
                    </a:lnTo>
                    <a:lnTo>
                      <a:pt x="118" y="122"/>
                    </a:lnTo>
                    <a:lnTo>
                      <a:pt x="122" y="122"/>
                    </a:lnTo>
                    <a:lnTo>
                      <a:pt x="127" y="118"/>
                    </a:lnTo>
                    <a:lnTo>
                      <a:pt x="127" y="122"/>
                    </a:lnTo>
                    <a:moveTo>
                      <a:pt x="104" y="127"/>
                    </a:moveTo>
                    <a:lnTo>
                      <a:pt x="104" y="127"/>
                    </a:lnTo>
                    <a:lnTo>
                      <a:pt x="104" y="127"/>
                    </a:lnTo>
                    <a:lnTo>
                      <a:pt x="109" y="131"/>
                    </a:lnTo>
                    <a:lnTo>
                      <a:pt x="109" y="136"/>
                    </a:lnTo>
                    <a:lnTo>
                      <a:pt x="109" y="136"/>
                    </a:lnTo>
                    <a:lnTo>
                      <a:pt x="109" y="136"/>
                    </a:lnTo>
                    <a:lnTo>
                      <a:pt x="104" y="136"/>
                    </a:lnTo>
                    <a:lnTo>
                      <a:pt x="104" y="131"/>
                    </a:lnTo>
                    <a:lnTo>
                      <a:pt x="104" y="131"/>
                    </a:lnTo>
                    <a:lnTo>
                      <a:pt x="104" y="131"/>
                    </a:lnTo>
                    <a:lnTo>
                      <a:pt x="104" y="131"/>
                    </a:lnTo>
                    <a:lnTo>
                      <a:pt x="104" y="131"/>
                    </a:lnTo>
                    <a:lnTo>
                      <a:pt x="100" y="131"/>
                    </a:lnTo>
                    <a:lnTo>
                      <a:pt x="100" y="127"/>
                    </a:lnTo>
                    <a:lnTo>
                      <a:pt x="100" y="127"/>
                    </a:lnTo>
                    <a:lnTo>
                      <a:pt x="100" y="127"/>
                    </a:lnTo>
                    <a:lnTo>
                      <a:pt x="95" y="131"/>
                    </a:lnTo>
                    <a:lnTo>
                      <a:pt x="95" y="136"/>
                    </a:lnTo>
                    <a:lnTo>
                      <a:pt x="95" y="131"/>
                    </a:lnTo>
                    <a:lnTo>
                      <a:pt x="95" y="131"/>
                    </a:lnTo>
                    <a:lnTo>
                      <a:pt x="95" y="127"/>
                    </a:lnTo>
                    <a:lnTo>
                      <a:pt x="95" y="122"/>
                    </a:lnTo>
                    <a:lnTo>
                      <a:pt x="95" y="122"/>
                    </a:lnTo>
                    <a:lnTo>
                      <a:pt x="95" y="122"/>
                    </a:lnTo>
                    <a:lnTo>
                      <a:pt x="95" y="122"/>
                    </a:lnTo>
                    <a:lnTo>
                      <a:pt x="100" y="122"/>
                    </a:lnTo>
                    <a:lnTo>
                      <a:pt x="100" y="122"/>
                    </a:lnTo>
                    <a:lnTo>
                      <a:pt x="100" y="122"/>
                    </a:lnTo>
                    <a:lnTo>
                      <a:pt x="104" y="127"/>
                    </a:lnTo>
                    <a:moveTo>
                      <a:pt x="46" y="104"/>
                    </a:moveTo>
                    <a:lnTo>
                      <a:pt x="46" y="104"/>
                    </a:lnTo>
                    <a:lnTo>
                      <a:pt x="46" y="104"/>
                    </a:lnTo>
                    <a:lnTo>
                      <a:pt x="50" y="104"/>
                    </a:lnTo>
                    <a:lnTo>
                      <a:pt x="50" y="104"/>
                    </a:lnTo>
                    <a:lnTo>
                      <a:pt x="50" y="104"/>
                    </a:lnTo>
                    <a:lnTo>
                      <a:pt x="55" y="104"/>
                    </a:lnTo>
                    <a:lnTo>
                      <a:pt x="55" y="104"/>
                    </a:lnTo>
                    <a:lnTo>
                      <a:pt x="55" y="104"/>
                    </a:lnTo>
                    <a:lnTo>
                      <a:pt x="59" y="104"/>
                    </a:lnTo>
                    <a:lnTo>
                      <a:pt x="59" y="109"/>
                    </a:lnTo>
                    <a:lnTo>
                      <a:pt x="59" y="109"/>
                    </a:lnTo>
                    <a:lnTo>
                      <a:pt x="64" y="109"/>
                    </a:lnTo>
                    <a:lnTo>
                      <a:pt x="64" y="109"/>
                    </a:lnTo>
                    <a:lnTo>
                      <a:pt x="64" y="113"/>
                    </a:lnTo>
                    <a:lnTo>
                      <a:pt x="64" y="113"/>
                    </a:lnTo>
                    <a:lnTo>
                      <a:pt x="64" y="118"/>
                    </a:lnTo>
                    <a:lnTo>
                      <a:pt x="64" y="118"/>
                    </a:lnTo>
                    <a:lnTo>
                      <a:pt x="64" y="122"/>
                    </a:lnTo>
                    <a:lnTo>
                      <a:pt x="64" y="122"/>
                    </a:lnTo>
                    <a:lnTo>
                      <a:pt x="64" y="122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59" y="127"/>
                    </a:lnTo>
                    <a:lnTo>
                      <a:pt x="59" y="127"/>
                    </a:lnTo>
                    <a:lnTo>
                      <a:pt x="59" y="127"/>
                    </a:lnTo>
                    <a:lnTo>
                      <a:pt x="59" y="127"/>
                    </a:lnTo>
                    <a:lnTo>
                      <a:pt x="59" y="127"/>
                    </a:lnTo>
                    <a:lnTo>
                      <a:pt x="59" y="127"/>
                    </a:lnTo>
                    <a:lnTo>
                      <a:pt x="55" y="127"/>
                    </a:lnTo>
                    <a:lnTo>
                      <a:pt x="55" y="122"/>
                    </a:lnTo>
                    <a:lnTo>
                      <a:pt x="55" y="122"/>
                    </a:lnTo>
                    <a:lnTo>
                      <a:pt x="55" y="122"/>
                    </a:lnTo>
                    <a:lnTo>
                      <a:pt x="55" y="118"/>
                    </a:lnTo>
                    <a:lnTo>
                      <a:pt x="50" y="118"/>
                    </a:lnTo>
                    <a:lnTo>
                      <a:pt x="50" y="118"/>
                    </a:lnTo>
                    <a:lnTo>
                      <a:pt x="50" y="118"/>
                    </a:lnTo>
                    <a:lnTo>
                      <a:pt x="50" y="118"/>
                    </a:lnTo>
                    <a:lnTo>
                      <a:pt x="50" y="113"/>
                    </a:lnTo>
                    <a:lnTo>
                      <a:pt x="46" y="109"/>
                    </a:lnTo>
                    <a:lnTo>
                      <a:pt x="46" y="109"/>
                    </a:lnTo>
                    <a:lnTo>
                      <a:pt x="46" y="109"/>
                    </a:lnTo>
                    <a:lnTo>
                      <a:pt x="46" y="109"/>
                    </a:lnTo>
                    <a:lnTo>
                      <a:pt x="46" y="109"/>
                    </a:lnTo>
                    <a:lnTo>
                      <a:pt x="41" y="104"/>
                    </a:lnTo>
                    <a:lnTo>
                      <a:pt x="41" y="104"/>
                    </a:lnTo>
                    <a:lnTo>
                      <a:pt x="41" y="104"/>
                    </a:lnTo>
                    <a:lnTo>
                      <a:pt x="41" y="104"/>
                    </a:lnTo>
                    <a:lnTo>
                      <a:pt x="41" y="104"/>
                    </a:lnTo>
                    <a:lnTo>
                      <a:pt x="41" y="104"/>
                    </a:lnTo>
                    <a:lnTo>
                      <a:pt x="41" y="104"/>
                    </a:lnTo>
                    <a:lnTo>
                      <a:pt x="46" y="104"/>
                    </a:lnTo>
                    <a:lnTo>
                      <a:pt x="46" y="104"/>
                    </a:lnTo>
                    <a:moveTo>
                      <a:pt x="32" y="0"/>
                    </a:moveTo>
                    <a:lnTo>
                      <a:pt x="32" y="0"/>
                    </a:lnTo>
                    <a:lnTo>
                      <a:pt x="32" y="0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6" y="5"/>
                    </a:lnTo>
                    <a:lnTo>
                      <a:pt x="46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5" y="5"/>
                    </a:lnTo>
                    <a:lnTo>
                      <a:pt x="55" y="5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5" y="14"/>
                    </a:lnTo>
                    <a:lnTo>
                      <a:pt x="55" y="18"/>
                    </a:lnTo>
                    <a:lnTo>
                      <a:pt x="55" y="18"/>
                    </a:lnTo>
                    <a:lnTo>
                      <a:pt x="55" y="23"/>
                    </a:lnTo>
                    <a:lnTo>
                      <a:pt x="55" y="23"/>
                    </a:lnTo>
                    <a:lnTo>
                      <a:pt x="59" y="23"/>
                    </a:lnTo>
                    <a:lnTo>
                      <a:pt x="59" y="23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64" y="27"/>
                    </a:lnTo>
                    <a:lnTo>
                      <a:pt x="64" y="27"/>
                    </a:lnTo>
                    <a:lnTo>
                      <a:pt x="64" y="32"/>
                    </a:lnTo>
                    <a:lnTo>
                      <a:pt x="64" y="36"/>
                    </a:lnTo>
                    <a:lnTo>
                      <a:pt x="59" y="41"/>
                    </a:lnTo>
                    <a:lnTo>
                      <a:pt x="59" y="45"/>
                    </a:lnTo>
                    <a:lnTo>
                      <a:pt x="59" y="45"/>
                    </a:lnTo>
                    <a:lnTo>
                      <a:pt x="59" y="50"/>
                    </a:lnTo>
                    <a:lnTo>
                      <a:pt x="55" y="50"/>
                    </a:lnTo>
                    <a:lnTo>
                      <a:pt x="55" y="50"/>
                    </a:lnTo>
                    <a:lnTo>
                      <a:pt x="50" y="54"/>
                    </a:lnTo>
                    <a:lnTo>
                      <a:pt x="50" y="54"/>
                    </a:lnTo>
                    <a:lnTo>
                      <a:pt x="55" y="54"/>
                    </a:lnTo>
                    <a:lnTo>
                      <a:pt x="55" y="59"/>
                    </a:lnTo>
                    <a:lnTo>
                      <a:pt x="55" y="59"/>
                    </a:lnTo>
                    <a:lnTo>
                      <a:pt x="55" y="59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5" y="73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64" y="86"/>
                    </a:lnTo>
                    <a:lnTo>
                      <a:pt x="64" y="91"/>
                    </a:lnTo>
                    <a:lnTo>
                      <a:pt x="64" y="91"/>
                    </a:lnTo>
                    <a:lnTo>
                      <a:pt x="64" y="91"/>
                    </a:lnTo>
                    <a:lnTo>
                      <a:pt x="64" y="91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73" y="95"/>
                    </a:lnTo>
                    <a:lnTo>
                      <a:pt x="73" y="91"/>
                    </a:lnTo>
                    <a:lnTo>
                      <a:pt x="73" y="91"/>
                    </a:lnTo>
                    <a:lnTo>
                      <a:pt x="73" y="91"/>
                    </a:lnTo>
                    <a:lnTo>
                      <a:pt x="68" y="91"/>
                    </a:lnTo>
                    <a:lnTo>
                      <a:pt x="68" y="91"/>
                    </a:lnTo>
                    <a:lnTo>
                      <a:pt x="68" y="86"/>
                    </a:lnTo>
                    <a:lnTo>
                      <a:pt x="73" y="86"/>
                    </a:lnTo>
                    <a:lnTo>
                      <a:pt x="73" y="86"/>
                    </a:lnTo>
                    <a:lnTo>
                      <a:pt x="73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91"/>
                    </a:lnTo>
                    <a:lnTo>
                      <a:pt x="86" y="91"/>
                    </a:lnTo>
                    <a:lnTo>
                      <a:pt x="86" y="95"/>
                    </a:lnTo>
                    <a:lnTo>
                      <a:pt x="86" y="95"/>
                    </a:lnTo>
                    <a:lnTo>
                      <a:pt x="86" y="95"/>
                    </a:lnTo>
                    <a:lnTo>
                      <a:pt x="86" y="95"/>
                    </a:lnTo>
                    <a:lnTo>
                      <a:pt x="91" y="95"/>
                    </a:lnTo>
                    <a:lnTo>
                      <a:pt x="91" y="95"/>
                    </a:lnTo>
                    <a:lnTo>
                      <a:pt x="91" y="91"/>
                    </a:lnTo>
                    <a:lnTo>
                      <a:pt x="91" y="91"/>
                    </a:lnTo>
                    <a:lnTo>
                      <a:pt x="91" y="91"/>
                    </a:lnTo>
                    <a:lnTo>
                      <a:pt x="91" y="91"/>
                    </a:lnTo>
                    <a:lnTo>
                      <a:pt x="91" y="91"/>
                    </a:lnTo>
                    <a:lnTo>
                      <a:pt x="91" y="91"/>
                    </a:lnTo>
                    <a:lnTo>
                      <a:pt x="95" y="95"/>
                    </a:lnTo>
                    <a:lnTo>
                      <a:pt x="95" y="95"/>
                    </a:lnTo>
                    <a:lnTo>
                      <a:pt x="95" y="95"/>
                    </a:lnTo>
                    <a:lnTo>
                      <a:pt x="100" y="95"/>
                    </a:lnTo>
                    <a:lnTo>
                      <a:pt x="100" y="95"/>
                    </a:lnTo>
                    <a:lnTo>
                      <a:pt x="100" y="95"/>
                    </a:lnTo>
                    <a:lnTo>
                      <a:pt x="95" y="95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9"/>
                    </a:lnTo>
                    <a:lnTo>
                      <a:pt x="100" y="109"/>
                    </a:lnTo>
                    <a:lnTo>
                      <a:pt x="104" y="109"/>
                    </a:lnTo>
                    <a:lnTo>
                      <a:pt x="104" y="109"/>
                    </a:lnTo>
                    <a:lnTo>
                      <a:pt x="104" y="109"/>
                    </a:lnTo>
                    <a:lnTo>
                      <a:pt x="109" y="109"/>
                    </a:lnTo>
                    <a:lnTo>
                      <a:pt x="109" y="109"/>
                    </a:lnTo>
                    <a:lnTo>
                      <a:pt x="109" y="118"/>
                    </a:lnTo>
                    <a:lnTo>
                      <a:pt x="109" y="122"/>
                    </a:lnTo>
                    <a:lnTo>
                      <a:pt x="104" y="118"/>
                    </a:lnTo>
                    <a:lnTo>
                      <a:pt x="104" y="118"/>
                    </a:lnTo>
                    <a:lnTo>
                      <a:pt x="104" y="113"/>
                    </a:lnTo>
                    <a:lnTo>
                      <a:pt x="104" y="113"/>
                    </a:lnTo>
                    <a:lnTo>
                      <a:pt x="104" y="113"/>
                    </a:lnTo>
                    <a:lnTo>
                      <a:pt x="104" y="113"/>
                    </a:lnTo>
                    <a:lnTo>
                      <a:pt x="100" y="113"/>
                    </a:lnTo>
                    <a:lnTo>
                      <a:pt x="100" y="113"/>
                    </a:lnTo>
                    <a:lnTo>
                      <a:pt x="100" y="113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1" y="109"/>
                    </a:lnTo>
                    <a:lnTo>
                      <a:pt x="91" y="109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82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7" y="100"/>
                    </a:lnTo>
                    <a:lnTo>
                      <a:pt x="77" y="100"/>
                    </a:lnTo>
                    <a:lnTo>
                      <a:pt x="77" y="100"/>
                    </a:lnTo>
                    <a:lnTo>
                      <a:pt x="77" y="100"/>
                    </a:lnTo>
                    <a:lnTo>
                      <a:pt x="82" y="104"/>
                    </a:lnTo>
                    <a:lnTo>
                      <a:pt x="82" y="109"/>
                    </a:lnTo>
                    <a:lnTo>
                      <a:pt x="82" y="109"/>
                    </a:lnTo>
                    <a:lnTo>
                      <a:pt x="77" y="109"/>
                    </a:lnTo>
                    <a:lnTo>
                      <a:pt x="77" y="104"/>
                    </a:lnTo>
                    <a:lnTo>
                      <a:pt x="77" y="104"/>
                    </a:lnTo>
                    <a:lnTo>
                      <a:pt x="77" y="104"/>
                    </a:lnTo>
                    <a:lnTo>
                      <a:pt x="77" y="100"/>
                    </a:lnTo>
                    <a:lnTo>
                      <a:pt x="73" y="100"/>
                    </a:lnTo>
                    <a:lnTo>
                      <a:pt x="68" y="95"/>
                    </a:lnTo>
                    <a:lnTo>
                      <a:pt x="64" y="95"/>
                    </a:lnTo>
                    <a:lnTo>
                      <a:pt x="64" y="95"/>
                    </a:lnTo>
                    <a:lnTo>
                      <a:pt x="64" y="95"/>
                    </a:lnTo>
                    <a:lnTo>
                      <a:pt x="59" y="95"/>
                    </a:lnTo>
                    <a:lnTo>
                      <a:pt x="59" y="95"/>
                    </a:lnTo>
                    <a:lnTo>
                      <a:pt x="59" y="95"/>
                    </a:lnTo>
                    <a:lnTo>
                      <a:pt x="59" y="100"/>
                    </a:lnTo>
                    <a:lnTo>
                      <a:pt x="59" y="100"/>
                    </a:lnTo>
                    <a:lnTo>
                      <a:pt x="55" y="100"/>
                    </a:lnTo>
                    <a:lnTo>
                      <a:pt x="55" y="100"/>
                    </a:lnTo>
                    <a:lnTo>
                      <a:pt x="50" y="95"/>
                    </a:lnTo>
                    <a:lnTo>
                      <a:pt x="50" y="95"/>
                    </a:lnTo>
                    <a:lnTo>
                      <a:pt x="46" y="95"/>
                    </a:lnTo>
                    <a:lnTo>
                      <a:pt x="46" y="95"/>
                    </a:lnTo>
                    <a:lnTo>
                      <a:pt x="46" y="95"/>
                    </a:lnTo>
                    <a:lnTo>
                      <a:pt x="41" y="91"/>
                    </a:lnTo>
                    <a:lnTo>
                      <a:pt x="41" y="91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46" y="82"/>
                    </a:lnTo>
                    <a:lnTo>
                      <a:pt x="46" y="82"/>
                    </a:lnTo>
                    <a:lnTo>
                      <a:pt x="46" y="77"/>
                    </a:lnTo>
                    <a:lnTo>
                      <a:pt x="46" y="77"/>
                    </a:lnTo>
                    <a:lnTo>
                      <a:pt x="41" y="77"/>
                    </a:lnTo>
                    <a:lnTo>
                      <a:pt x="41" y="77"/>
                    </a:lnTo>
                    <a:lnTo>
                      <a:pt x="41" y="77"/>
                    </a:lnTo>
                    <a:lnTo>
                      <a:pt x="41" y="73"/>
                    </a:lnTo>
                    <a:lnTo>
                      <a:pt x="41" y="77"/>
                    </a:lnTo>
                    <a:lnTo>
                      <a:pt x="41" y="82"/>
                    </a:lnTo>
                    <a:lnTo>
                      <a:pt x="41" y="82"/>
                    </a:lnTo>
                    <a:lnTo>
                      <a:pt x="41" y="82"/>
                    </a:lnTo>
                    <a:lnTo>
                      <a:pt x="41" y="82"/>
                    </a:lnTo>
                    <a:lnTo>
                      <a:pt x="37" y="82"/>
                    </a:lnTo>
                    <a:lnTo>
                      <a:pt x="37" y="82"/>
                    </a:lnTo>
                    <a:lnTo>
                      <a:pt x="37" y="82"/>
                    </a:lnTo>
                    <a:lnTo>
                      <a:pt x="37" y="77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28" y="73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28" y="63"/>
                    </a:lnTo>
                    <a:lnTo>
                      <a:pt x="28" y="63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19" y="50"/>
                    </a:lnTo>
                    <a:lnTo>
                      <a:pt x="19" y="50"/>
                    </a:lnTo>
                    <a:lnTo>
                      <a:pt x="19" y="45"/>
                    </a:lnTo>
                    <a:lnTo>
                      <a:pt x="19" y="45"/>
                    </a:lnTo>
                    <a:lnTo>
                      <a:pt x="19" y="45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2" y="45"/>
                    </a:lnTo>
                    <a:lnTo>
                      <a:pt x="28" y="45"/>
                    </a:lnTo>
                    <a:lnTo>
                      <a:pt x="28" y="41"/>
                    </a:lnTo>
                    <a:lnTo>
                      <a:pt x="28" y="41"/>
                    </a:lnTo>
                    <a:lnTo>
                      <a:pt x="28" y="36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27"/>
                    </a:lnTo>
                    <a:lnTo>
                      <a:pt x="28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18"/>
                    </a:lnTo>
                    <a:lnTo>
                      <a:pt x="23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2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09" name="Freeform 130"/>
              <p:cNvSpPr>
                <a:spLocks noEditPoints="1"/>
              </p:cNvSpPr>
              <p:nvPr/>
            </p:nvSpPr>
            <p:spPr bwMode="auto">
              <a:xfrm>
                <a:off x="8158163" y="3017839"/>
                <a:ext cx="422275" cy="293688"/>
              </a:xfrm>
              <a:custGeom>
                <a:avLst/>
                <a:gdLst>
                  <a:gd name="T0" fmla="*/ 262 w 266"/>
                  <a:gd name="T1" fmla="*/ 108 h 185"/>
                  <a:gd name="T2" fmla="*/ 253 w 266"/>
                  <a:gd name="T3" fmla="*/ 95 h 185"/>
                  <a:gd name="T4" fmla="*/ 248 w 266"/>
                  <a:gd name="T5" fmla="*/ 77 h 185"/>
                  <a:gd name="T6" fmla="*/ 257 w 266"/>
                  <a:gd name="T7" fmla="*/ 86 h 185"/>
                  <a:gd name="T8" fmla="*/ 266 w 266"/>
                  <a:gd name="T9" fmla="*/ 104 h 185"/>
                  <a:gd name="T10" fmla="*/ 207 w 266"/>
                  <a:gd name="T11" fmla="*/ 54 h 185"/>
                  <a:gd name="T12" fmla="*/ 203 w 266"/>
                  <a:gd name="T13" fmla="*/ 67 h 185"/>
                  <a:gd name="T14" fmla="*/ 189 w 266"/>
                  <a:gd name="T15" fmla="*/ 81 h 185"/>
                  <a:gd name="T16" fmla="*/ 176 w 266"/>
                  <a:gd name="T17" fmla="*/ 90 h 185"/>
                  <a:gd name="T18" fmla="*/ 158 w 266"/>
                  <a:gd name="T19" fmla="*/ 90 h 185"/>
                  <a:gd name="T20" fmla="*/ 140 w 266"/>
                  <a:gd name="T21" fmla="*/ 81 h 185"/>
                  <a:gd name="T22" fmla="*/ 144 w 266"/>
                  <a:gd name="T23" fmla="*/ 77 h 185"/>
                  <a:gd name="T24" fmla="*/ 167 w 266"/>
                  <a:gd name="T25" fmla="*/ 77 h 185"/>
                  <a:gd name="T26" fmla="*/ 167 w 266"/>
                  <a:gd name="T27" fmla="*/ 72 h 185"/>
                  <a:gd name="T28" fmla="*/ 180 w 266"/>
                  <a:gd name="T29" fmla="*/ 77 h 185"/>
                  <a:gd name="T30" fmla="*/ 198 w 266"/>
                  <a:gd name="T31" fmla="*/ 63 h 185"/>
                  <a:gd name="T32" fmla="*/ 203 w 266"/>
                  <a:gd name="T33" fmla="*/ 49 h 185"/>
                  <a:gd name="T34" fmla="*/ 72 w 266"/>
                  <a:gd name="T35" fmla="*/ 40 h 185"/>
                  <a:gd name="T36" fmla="*/ 94 w 266"/>
                  <a:gd name="T37" fmla="*/ 58 h 185"/>
                  <a:gd name="T38" fmla="*/ 117 w 266"/>
                  <a:gd name="T39" fmla="*/ 86 h 185"/>
                  <a:gd name="T40" fmla="*/ 126 w 266"/>
                  <a:gd name="T41" fmla="*/ 95 h 185"/>
                  <a:gd name="T42" fmla="*/ 108 w 266"/>
                  <a:gd name="T43" fmla="*/ 104 h 185"/>
                  <a:gd name="T44" fmla="*/ 122 w 266"/>
                  <a:gd name="T45" fmla="*/ 126 h 185"/>
                  <a:gd name="T46" fmla="*/ 131 w 266"/>
                  <a:gd name="T47" fmla="*/ 144 h 185"/>
                  <a:gd name="T48" fmla="*/ 144 w 266"/>
                  <a:gd name="T49" fmla="*/ 153 h 185"/>
                  <a:gd name="T50" fmla="*/ 153 w 266"/>
                  <a:gd name="T51" fmla="*/ 167 h 185"/>
                  <a:gd name="T52" fmla="*/ 153 w 266"/>
                  <a:gd name="T53" fmla="*/ 176 h 185"/>
                  <a:gd name="T54" fmla="*/ 162 w 266"/>
                  <a:gd name="T55" fmla="*/ 181 h 185"/>
                  <a:gd name="T56" fmla="*/ 158 w 266"/>
                  <a:gd name="T57" fmla="*/ 185 h 185"/>
                  <a:gd name="T58" fmla="*/ 140 w 266"/>
                  <a:gd name="T59" fmla="*/ 181 h 185"/>
                  <a:gd name="T60" fmla="*/ 122 w 266"/>
                  <a:gd name="T61" fmla="*/ 176 h 185"/>
                  <a:gd name="T62" fmla="*/ 108 w 266"/>
                  <a:gd name="T63" fmla="*/ 162 h 185"/>
                  <a:gd name="T64" fmla="*/ 99 w 266"/>
                  <a:gd name="T65" fmla="*/ 149 h 185"/>
                  <a:gd name="T66" fmla="*/ 90 w 266"/>
                  <a:gd name="T67" fmla="*/ 131 h 185"/>
                  <a:gd name="T68" fmla="*/ 76 w 266"/>
                  <a:gd name="T69" fmla="*/ 126 h 185"/>
                  <a:gd name="T70" fmla="*/ 63 w 266"/>
                  <a:gd name="T71" fmla="*/ 117 h 185"/>
                  <a:gd name="T72" fmla="*/ 54 w 266"/>
                  <a:gd name="T73" fmla="*/ 122 h 185"/>
                  <a:gd name="T74" fmla="*/ 54 w 266"/>
                  <a:gd name="T75" fmla="*/ 126 h 185"/>
                  <a:gd name="T76" fmla="*/ 45 w 266"/>
                  <a:gd name="T77" fmla="*/ 131 h 185"/>
                  <a:gd name="T78" fmla="*/ 27 w 266"/>
                  <a:gd name="T79" fmla="*/ 131 h 185"/>
                  <a:gd name="T80" fmla="*/ 31 w 266"/>
                  <a:gd name="T81" fmla="*/ 135 h 185"/>
                  <a:gd name="T82" fmla="*/ 40 w 266"/>
                  <a:gd name="T83" fmla="*/ 144 h 185"/>
                  <a:gd name="T84" fmla="*/ 22 w 266"/>
                  <a:gd name="T85" fmla="*/ 153 h 185"/>
                  <a:gd name="T86" fmla="*/ 4 w 266"/>
                  <a:gd name="T87" fmla="*/ 153 h 185"/>
                  <a:gd name="T88" fmla="*/ 4 w 266"/>
                  <a:gd name="T89" fmla="*/ 122 h 185"/>
                  <a:gd name="T90" fmla="*/ 9 w 266"/>
                  <a:gd name="T91" fmla="*/ 90 h 185"/>
                  <a:gd name="T92" fmla="*/ 9 w 266"/>
                  <a:gd name="T93" fmla="*/ 54 h 185"/>
                  <a:gd name="T94" fmla="*/ 13 w 266"/>
                  <a:gd name="T95" fmla="*/ 18 h 185"/>
                  <a:gd name="T96" fmla="*/ 27 w 266"/>
                  <a:gd name="T97" fmla="*/ 18 h 185"/>
                  <a:gd name="T98" fmla="*/ 58 w 266"/>
                  <a:gd name="T99" fmla="*/ 31 h 185"/>
                  <a:gd name="T100" fmla="*/ 216 w 266"/>
                  <a:gd name="T101" fmla="*/ 63 h 185"/>
                  <a:gd name="T102" fmla="*/ 212 w 266"/>
                  <a:gd name="T103" fmla="*/ 45 h 185"/>
                  <a:gd name="T104" fmla="*/ 198 w 266"/>
                  <a:gd name="T105" fmla="*/ 27 h 185"/>
                  <a:gd name="T106" fmla="*/ 185 w 266"/>
                  <a:gd name="T107" fmla="*/ 13 h 185"/>
                  <a:gd name="T108" fmla="*/ 207 w 266"/>
                  <a:gd name="T109" fmla="*/ 27 h 185"/>
                  <a:gd name="T110" fmla="*/ 221 w 266"/>
                  <a:gd name="T111" fmla="*/ 54 h 185"/>
                  <a:gd name="T112" fmla="*/ 126 w 266"/>
                  <a:gd name="T113" fmla="*/ 0 h 185"/>
                  <a:gd name="T114" fmla="*/ 117 w 266"/>
                  <a:gd name="T115" fmla="*/ 4 h 185"/>
                  <a:gd name="T116" fmla="*/ 112 w 266"/>
                  <a:gd name="T117" fmla="*/ 0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6" h="185">
                    <a:moveTo>
                      <a:pt x="266" y="104"/>
                    </a:moveTo>
                    <a:lnTo>
                      <a:pt x="266" y="104"/>
                    </a:lnTo>
                    <a:lnTo>
                      <a:pt x="266" y="104"/>
                    </a:lnTo>
                    <a:lnTo>
                      <a:pt x="266" y="104"/>
                    </a:lnTo>
                    <a:lnTo>
                      <a:pt x="266" y="104"/>
                    </a:lnTo>
                    <a:lnTo>
                      <a:pt x="262" y="104"/>
                    </a:lnTo>
                    <a:lnTo>
                      <a:pt x="262" y="108"/>
                    </a:lnTo>
                    <a:lnTo>
                      <a:pt x="262" y="108"/>
                    </a:lnTo>
                    <a:lnTo>
                      <a:pt x="262" y="108"/>
                    </a:lnTo>
                    <a:lnTo>
                      <a:pt x="257" y="108"/>
                    </a:lnTo>
                    <a:lnTo>
                      <a:pt x="257" y="104"/>
                    </a:lnTo>
                    <a:lnTo>
                      <a:pt x="257" y="104"/>
                    </a:lnTo>
                    <a:lnTo>
                      <a:pt x="253" y="104"/>
                    </a:lnTo>
                    <a:lnTo>
                      <a:pt x="253" y="99"/>
                    </a:lnTo>
                    <a:lnTo>
                      <a:pt x="257" y="99"/>
                    </a:lnTo>
                    <a:lnTo>
                      <a:pt x="253" y="95"/>
                    </a:lnTo>
                    <a:lnTo>
                      <a:pt x="253" y="95"/>
                    </a:lnTo>
                    <a:lnTo>
                      <a:pt x="253" y="95"/>
                    </a:lnTo>
                    <a:lnTo>
                      <a:pt x="253" y="90"/>
                    </a:lnTo>
                    <a:lnTo>
                      <a:pt x="248" y="90"/>
                    </a:lnTo>
                    <a:lnTo>
                      <a:pt x="248" y="86"/>
                    </a:lnTo>
                    <a:lnTo>
                      <a:pt x="248" y="86"/>
                    </a:lnTo>
                    <a:lnTo>
                      <a:pt x="248" y="86"/>
                    </a:lnTo>
                    <a:lnTo>
                      <a:pt x="248" y="81"/>
                    </a:lnTo>
                    <a:lnTo>
                      <a:pt x="248" y="77"/>
                    </a:lnTo>
                    <a:lnTo>
                      <a:pt x="248" y="77"/>
                    </a:lnTo>
                    <a:lnTo>
                      <a:pt x="248" y="77"/>
                    </a:lnTo>
                    <a:lnTo>
                      <a:pt x="248" y="77"/>
                    </a:lnTo>
                    <a:lnTo>
                      <a:pt x="253" y="77"/>
                    </a:lnTo>
                    <a:lnTo>
                      <a:pt x="253" y="77"/>
                    </a:lnTo>
                    <a:lnTo>
                      <a:pt x="253" y="81"/>
                    </a:lnTo>
                    <a:lnTo>
                      <a:pt x="257" y="81"/>
                    </a:lnTo>
                    <a:lnTo>
                      <a:pt x="257" y="86"/>
                    </a:lnTo>
                    <a:lnTo>
                      <a:pt x="257" y="86"/>
                    </a:lnTo>
                    <a:lnTo>
                      <a:pt x="257" y="86"/>
                    </a:lnTo>
                    <a:lnTo>
                      <a:pt x="257" y="86"/>
                    </a:lnTo>
                    <a:lnTo>
                      <a:pt x="262" y="90"/>
                    </a:lnTo>
                    <a:lnTo>
                      <a:pt x="262" y="90"/>
                    </a:lnTo>
                    <a:lnTo>
                      <a:pt x="262" y="95"/>
                    </a:lnTo>
                    <a:lnTo>
                      <a:pt x="262" y="95"/>
                    </a:lnTo>
                    <a:lnTo>
                      <a:pt x="266" y="95"/>
                    </a:lnTo>
                    <a:lnTo>
                      <a:pt x="266" y="95"/>
                    </a:lnTo>
                    <a:lnTo>
                      <a:pt x="266" y="99"/>
                    </a:lnTo>
                    <a:lnTo>
                      <a:pt x="266" y="99"/>
                    </a:lnTo>
                    <a:lnTo>
                      <a:pt x="266" y="104"/>
                    </a:lnTo>
                    <a:moveTo>
                      <a:pt x="203" y="49"/>
                    </a:moveTo>
                    <a:lnTo>
                      <a:pt x="203" y="49"/>
                    </a:lnTo>
                    <a:lnTo>
                      <a:pt x="203" y="49"/>
                    </a:lnTo>
                    <a:lnTo>
                      <a:pt x="207" y="49"/>
                    </a:lnTo>
                    <a:lnTo>
                      <a:pt x="207" y="49"/>
                    </a:lnTo>
                    <a:lnTo>
                      <a:pt x="207" y="49"/>
                    </a:lnTo>
                    <a:lnTo>
                      <a:pt x="212" y="49"/>
                    </a:lnTo>
                    <a:lnTo>
                      <a:pt x="207" y="54"/>
                    </a:lnTo>
                    <a:lnTo>
                      <a:pt x="207" y="54"/>
                    </a:lnTo>
                    <a:lnTo>
                      <a:pt x="207" y="58"/>
                    </a:lnTo>
                    <a:lnTo>
                      <a:pt x="207" y="58"/>
                    </a:lnTo>
                    <a:lnTo>
                      <a:pt x="207" y="63"/>
                    </a:lnTo>
                    <a:lnTo>
                      <a:pt x="207" y="63"/>
                    </a:lnTo>
                    <a:lnTo>
                      <a:pt x="207" y="63"/>
                    </a:lnTo>
                    <a:lnTo>
                      <a:pt x="203" y="67"/>
                    </a:lnTo>
                    <a:lnTo>
                      <a:pt x="203" y="67"/>
                    </a:lnTo>
                    <a:lnTo>
                      <a:pt x="203" y="67"/>
                    </a:lnTo>
                    <a:lnTo>
                      <a:pt x="203" y="67"/>
                    </a:lnTo>
                    <a:lnTo>
                      <a:pt x="203" y="72"/>
                    </a:lnTo>
                    <a:lnTo>
                      <a:pt x="203" y="72"/>
                    </a:lnTo>
                    <a:lnTo>
                      <a:pt x="203" y="77"/>
                    </a:lnTo>
                    <a:lnTo>
                      <a:pt x="198" y="77"/>
                    </a:lnTo>
                    <a:lnTo>
                      <a:pt x="198" y="77"/>
                    </a:lnTo>
                    <a:lnTo>
                      <a:pt x="194" y="77"/>
                    </a:lnTo>
                    <a:lnTo>
                      <a:pt x="194" y="77"/>
                    </a:lnTo>
                    <a:lnTo>
                      <a:pt x="189" y="77"/>
                    </a:lnTo>
                    <a:lnTo>
                      <a:pt x="189" y="81"/>
                    </a:lnTo>
                    <a:lnTo>
                      <a:pt x="189" y="81"/>
                    </a:lnTo>
                    <a:lnTo>
                      <a:pt x="189" y="81"/>
                    </a:lnTo>
                    <a:lnTo>
                      <a:pt x="189" y="86"/>
                    </a:lnTo>
                    <a:lnTo>
                      <a:pt x="185" y="86"/>
                    </a:lnTo>
                    <a:lnTo>
                      <a:pt x="185" y="86"/>
                    </a:lnTo>
                    <a:lnTo>
                      <a:pt x="185" y="86"/>
                    </a:lnTo>
                    <a:lnTo>
                      <a:pt x="180" y="86"/>
                    </a:lnTo>
                    <a:lnTo>
                      <a:pt x="180" y="90"/>
                    </a:lnTo>
                    <a:lnTo>
                      <a:pt x="176" y="90"/>
                    </a:lnTo>
                    <a:lnTo>
                      <a:pt x="176" y="90"/>
                    </a:lnTo>
                    <a:lnTo>
                      <a:pt x="176" y="90"/>
                    </a:lnTo>
                    <a:lnTo>
                      <a:pt x="171" y="90"/>
                    </a:lnTo>
                    <a:lnTo>
                      <a:pt x="171" y="95"/>
                    </a:lnTo>
                    <a:lnTo>
                      <a:pt x="167" y="95"/>
                    </a:lnTo>
                    <a:lnTo>
                      <a:pt x="162" y="95"/>
                    </a:lnTo>
                    <a:lnTo>
                      <a:pt x="158" y="95"/>
                    </a:lnTo>
                    <a:lnTo>
                      <a:pt x="158" y="95"/>
                    </a:lnTo>
                    <a:lnTo>
                      <a:pt x="158" y="90"/>
                    </a:lnTo>
                    <a:lnTo>
                      <a:pt x="158" y="90"/>
                    </a:lnTo>
                    <a:lnTo>
                      <a:pt x="153" y="90"/>
                    </a:lnTo>
                    <a:lnTo>
                      <a:pt x="153" y="90"/>
                    </a:lnTo>
                    <a:lnTo>
                      <a:pt x="149" y="90"/>
                    </a:lnTo>
                    <a:lnTo>
                      <a:pt x="149" y="90"/>
                    </a:lnTo>
                    <a:lnTo>
                      <a:pt x="144" y="86"/>
                    </a:lnTo>
                    <a:lnTo>
                      <a:pt x="144" y="81"/>
                    </a:lnTo>
                    <a:lnTo>
                      <a:pt x="140" y="81"/>
                    </a:lnTo>
                    <a:lnTo>
                      <a:pt x="140" y="81"/>
                    </a:lnTo>
                    <a:lnTo>
                      <a:pt x="140" y="81"/>
                    </a:lnTo>
                    <a:lnTo>
                      <a:pt x="135" y="81"/>
                    </a:lnTo>
                    <a:lnTo>
                      <a:pt x="135" y="77"/>
                    </a:lnTo>
                    <a:lnTo>
                      <a:pt x="140" y="77"/>
                    </a:lnTo>
                    <a:lnTo>
                      <a:pt x="140" y="77"/>
                    </a:lnTo>
                    <a:lnTo>
                      <a:pt x="140" y="77"/>
                    </a:lnTo>
                    <a:lnTo>
                      <a:pt x="144" y="77"/>
                    </a:lnTo>
                    <a:lnTo>
                      <a:pt x="144" y="77"/>
                    </a:lnTo>
                    <a:lnTo>
                      <a:pt x="144" y="77"/>
                    </a:lnTo>
                    <a:lnTo>
                      <a:pt x="149" y="77"/>
                    </a:lnTo>
                    <a:lnTo>
                      <a:pt x="149" y="77"/>
                    </a:lnTo>
                    <a:lnTo>
                      <a:pt x="153" y="77"/>
                    </a:lnTo>
                    <a:lnTo>
                      <a:pt x="153" y="77"/>
                    </a:lnTo>
                    <a:lnTo>
                      <a:pt x="158" y="77"/>
                    </a:lnTo>
                    <a:lnTo>
                      <a:pt x="158" y="77"/>
                    </a:lnTo>
                    <a:lnTo>
                      <a:pt x="162" y="77"/>
                    </a:lnTo>
                    <a:lnTo>
                      <a:pt x="162" y="77"/>
                    </a:lnTo>
                    <a:lnTo>
                      <a:pt x="167" y="77"/>
                    </a:lnTo>
                    <a:lnTo>
                      <a:pt x="167" y="67"/>
                    </a:lnTo>
                    <a:lnTo>
                      <a:pt x="167" y="67"/>
                    </a:lnTo>
                    <a:lnTo>
                      <a:pt x="167" y="63"/>
                    </a:lnTo>
                    <a:lnTo>
                      <a:pt x="171" y="67"/>
                    </a:lnTo>
                    <a:lnTo>
                      <a:pt x="171" y="67"/>
                    </a:lnTo>
                    <a:lnTo>
                      <a:pt x="167" y="67"/>
                    </a:lnTo>
                    <a:lnTo>
                      <a:pt x="167" y="67"/>
                    </a:lnTo>
                    <a:lnTo>
                      <a:pt x="167" y="72"/>
                    </a:lnTo>
                    <a:lnTo>
                      <a:pt x="167" y="72"/>
                    </a:lnTo>
                    <a:lnTo>
                      <a:pt x="171" y="77"/>
                    </a:lnTo>
                    <a:lnTo>
                      <a:pt x="171" y="77"/>
                    </a:lnTo>
                    <a:lnTo>
                      <a:pt x="171" y="77"/>
                    </a:lnTo>
                    <a:lnTo>
                      <a:pt x="176" y="77"/>
                    </a:lnTo>
                    <a:lnTo>
                      <a:pt x="176" y="77"/>
                    </a:lnTo>
                    <a:lnTo>
                      <a:pt x="180" y="77"/>
                    </a:lnTo>
                    <a:lnTo>
                      <a:pt x="180" y="77"/>
                    </a:lnTo>
                    <a:lnTo>
                      <a:pt x="180" y="77"/>
                    </a:lnTo>
                    <a:lnTo>
                      <a:pt x="180" y="77"/>
                    </a:lnTo>
                    <a:lnTo>
                      <a:pt x="185" y="77"/>
                    </a:lnTo>
                    <a:lnTo>
                      <a:pt x="185" y="72"/>
                    </a:lnTo>
                    <a:lnTo>
                      <a:pt x="185" y="67"/>
                    </a:lnTo>
                    <a:lnTo>
                      <a:pt x="185" y="67"/>
                    </a:lnTo>
                    <a:lnTo>
                      <a:pt x="189" y="63"/>
                    </a:lnTo>
                    <a:lnTo>
                      <a:pt x="189" y="63"/>
                    </a:lnTo>
                    <a:lnTo>
                      <a:pt x="194" y="63"/>
                    </a:lnTo>
                    <a:lnTo>
                      <a:pt x="194" y="63"/>
                    </a:lnTo>
                    <a:lnTo>
                      <a:pt x="198" y="63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194" y="49"/>
                    </a:lnTo>
                    <a:lnTo>
                      <a:pt x="194" y="49"/>
                    </a:lnTo>
                    <a:lnTo>
                      <a:pt x="194" y="49"/>
                    </a:lnTo>
                    <a:lnTo>
                      <a:pt x="198" y="49"/>
                    </a:lnTo>
                    <a:lnTo>
                      <a:pt x="198" y="49"/>
                    </a:lnTo>
                    <a:lnTo>
                      <a:pt x="198" y="49"/>
                    </a:lnTo>
                    <a:lnTo>
                      <a:pt x="203" y="49"/>
                    </a:lnTo>
                    <a:lnTo>
                      <a:pt x="203" y="49"/>
                    </a:lnTo>
                    <a:moveTo>
                      <a:pt x="67" y="40"/>
                    </a:moveTo>
                    <a:lnTo>
                      <a:pt x="67" y="40"/>
                    </a:lnTo>
                    <a:lnTo>
                      <a:pt x="67" y="40"/>
                    </a:lnTo>
                    <a:lnTo>
                      <a:pt x="72" y="36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6" y="40"/>
                    </a:lnTo>
                    <a:lnTo>
                      <a:pt x="76" y="45"/>
                    </a:lnTo>
                    <a:lnTo>
                      <a:pt x="76" y="45"/>
                    </a:lnTo>
                    <a:lnTo>
                      <a:pt x="81" y="45"/>
                    </a:lnTo>
                    <a:lnTo>
                      <a:pt x="81" y="49"/>
                    </a:lnTo>
                    <a:lnTo>
                      <a:pt x="81" y="49"/>
                    </a:lnTo>
                    <a:lnTo>
                      <a:pt x="85" y="49"/>
                    </a:lnTo>
                    <a:lnTo>
                      <a:pt x="85" y="49"/>
                    </a:lnTo>
                    <a:lnTo>
                      <a:pt x="94" y="58"/>
                    </a:lnTo>
                    <a:lnTo>
                      <a:pt x="94" y="63"/>
                    </a:lnTo>
                    <a:lnTo>
                      <a:pt x="94" y="67"/>
                    </a:lnTo>
                    <a:lnTo>
                      <a:pt x="90" y="72"/>
                    </a:lnTo>
                    <a:lnTo>
                      <a:pt x="94" y="72"/>
                    </a:lnTo>
                    <a:lnTo>
                      <a:pt x="94" y="77"/>
                    </a:lnTo>
                    <a:lnTo>
                      <a:pt x="99" y="77"/>
                    </a:lnTo>
                    <a:lnTo>
                      <a:pt x="103" y="77"/>
                    </a:lnTo>
                    <a:lnTo>
                      <a:pt x="112" y="86"/>
                    </a:lnTo>
                    <a:lnTo>
                      <a:pt x="117" y="86"/>
                    </a:lnTo>
                    <a:lnTo>
                      <a:pt x="117" y="86"/>
                    </a:lnTo>
                    <a:lnTo>
                      <a:pt x="117" y="86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2" y="90"/>
                    </a:lnTo>
                    <a:lnTo>
                      <a:pt x="126" y="90"/>
                    </a:lnTo>
                    <a:lnTo>
                      <a:pt x="126" y="90"/>
                    </a:lnTo>
                    <a:lnTo>
                      <a:pt x="126" y="95"/>
                    </a:lnTo>
                    <a:lnTo>
                      <a:pt x="126" y="95"/>
                    </a:lnTo>
                    <a:lnTo>
                      <a:pt x="126" y="99"/>
                    </a:lnTo>
                    <a:lnTo>
                      <a:pt x="126" y="99"/>
                    </a:lnTo>
                    <a:lnTo>
                      <a:pt x="126" y="99"/>
                    </a:lnTo>
                    <a:lnTo>
                      <a:pt x="122" y="99"/>
                    </a:lnTo>
                    <a:lnTo>
                      <a:pt x="117" y="104"/>
                    </a:lnTo>
                    <a:lnTo>
                      <a:pt x="112" y="99"/>
                    </a:lnTo>
                    <a:lnTo>
                      <a:pt x="108" y="104"/>
                    </a:lnTo>
                    <a:lnTo>
                      <a:pt x="108" y="104"/>
                    </a:lnTo>
                    <a:lnTo>
                      <a:pt x="108" y="104"/>
                    </a:lnTo>
                    <a:lnTo>
                      <a:pt x="112" y="113"/>
                    </a:lnTo>
                    <a:lnTo>
                      <a:pt x="112" y="117"/>
                    </a:lnTo>
                    <a:lnTo>
                      <a:pt x="112" y="117"/>
                    </a:lnTo>
                    <a:lnTo>
                      <a:pt x="117" y="117"/>
                    </a:lnTo>
                    <a:lnTo>
                      <a:pt x="117" y="122"/>
                    </a:lnTo>
                    <a:lnTo>
                      <a:pt x="117" y="122"/>
                    </a:lnTo>
                    <a:lnTo>
                      <a:pt x="122" y="126"/>
                    </a:lnTo>
                    <a:lnTo>
                      <a:pt x="122" y="126"/>
                    </a:lnTo>
                    <a:lnTo>
                      <a:pt x="122" y="126"/>
                    </a:lnTo>
                    <a:lnTo>
                      <a:pt x="126" y="131"/>
                    </a:lnTo>
                    <a:lnTo>
                      <a:pt x="126" y="131"/>
                    </a:lnTo>
                    <a:lnTo>
                      <a:pt x="126" y="135"/>
                    </a:lnTo>
                    <a:lnTo>
                      <a:pt x="126" y="140"/>
                    </a:lnTo>
                    <a:lnTo>
                      <a:pt x="126" y="140"/>
                    </a:lnTo>
                    <a:lnTo>
                      <a:pt x="126" y="140"/>
                    </a:lnTo>
                    <a:lnTo>
                      <a:pt x="131" y="144"/>
                    </a:lnTo>
                    <a:lnTo>
                      <a:pt x="131" y="144"/>
                    </a:lnTo>
                    <a:lnTo>
                      <a:pt x="131" y="149"/>
                    </a:lnTo>
                    <a:lnTo>
                      <a:pt x="131" y="153"/>
                    </a:lnTo>
                    <a:lnTo>
                      <a:pt x="135" y="153"/>
                    </a:lnTo>
                    <a:lnTo>
                      <a:pt x="135" y="153"/>
                    </a:lnTo>
                    <a:lnTo>
                      <a:pt x="140" y="149"/>
                    </a:lnTo>
                    <a:lnTo>
                      <a:pt x="140" y="149"/>
                    </a:lnTo>
                    <a:lnTo>
                      <a:pt x="144" y="153"/>
                    </a:lnTo>
                    <a:lnTo>
                      <a:pt x="144" y="153"/>
                    </a:lnTo>
                    <a:lnTo>
                      <a:pt x="144" y="153"/>
                    </a:lnTo>
                    <a:lnTo>
                      <a:pt x="140" y="158"/>
                    </a:lnTo>
                    <a:lnTo>
                      <a:pt x="140" y="158"/>
                    </a:lnTo>
                    <a:lnTo>
                      <a:pt x="140" y="162"/>
                    </a:lnTo>
                    <a:lnTo>
                      <a:pt x="144" y="162"/>
                    </a:lnTo>
                    <a:lnTo>
                      <a:pt x="144" y="162"/>
                    </a:lnTo>
                    <a:lnTo>
                      <a:pt x="149" y="162"/>
                    </a:lnTo>
                    <a:lnTo>
                      <a:pt x="153" y="162"/>
                    </a:lnTo>
                    <a:lnTo>
                      <a:pt x="153" y="167"/>
                    </a:lnTo>
                    <a:lnTo>
                      <a:pt x="153" y="167"/>
                    </a:lnTo>
                    <a:lnTo>
                      <a:pt x="153" y="167"/>
                    </a:lnTo>
                    <a:lnTo>
                      <a:pt x="153" y="167"/>
                    </a:lnTo>
                    <a:lnTo>
                      <a:pt x="153" y="167"/>
                    </a:lnTo>
                    <a:lnTo>
                      <a:pt x="149" y="167"/>
                    </a:lnTo>
                    <a:lnTo>
                      <a:pt x="149" y="171"/>
                    </a:lnTo>
                    <a:lnTo>
                      <a:pt x="149" y="171"/>
                    </a:lnTo>
                    <a:lnTo>
                      <a:pt x="149" y="171"/>
                    </a:lnTo>
                    <a:lnTo>
                      <a:pt x="153" y="171"/>
                    </a:lnTo>
                    <a:lnTo>
                      <a:pt x="153" y="176"/>
                    </a:lnTo>
                    <a:lnTo>
                      <a:pt x="153" y="176"/>
                    </a:lnTo>
                    <a:lnTo>
                      <a:pt x="158" y="176"/>
                    </a:lnTo>
                    <a:lnTo>
                      <a:pt x="158" y="176"/>
                    </a:lnTo>
                    <a:lnTo>
                      <a:pt x="158" y="176"/>
                    </a:lnTo>
                    <a:lnTo>
                      <a:pt x="162" y="176"/>
                    </a:lnTo>
                    <a:lnTo>
                      <a:pt x="162" y="181"/>
                    </a:lnTo>
                    <a:lnTo>
                      <a:pt x="167" y="176"/>
                    </a:lnTo>
                    <a:lnTo>
                      <a:pt x="162" y="181"/>
                    </a:lnTo>
                    <a:lnTo>
                      <a:pt x="162" y="181"/>
                    </a:lnTo>
                    <a:lnTo>
                      <a:pt x="158" y="181"/>
                    </a:lnTo>
                    <a:lnTo>
                      <a:pt x="158" y="181"/>
                    </a:lnTo>
                    <a:lnTo>
                      <a:pt x="158" y="181"/>
                    </a:lnTo>
                    <a:lnTo>
                      <a:pt x="162" y="185"/>
                    </a:lnTo>
                    <a:lnTo>
                      <a:pt x="162" y="185"/>
                    </a:lnTo>
                    <a:lnTo>
                      <a:pt x="162" y="185"/>
                    </a:lnTo>
                    <a:lnTo>
                      <a:pt x="158" y="185"/>
                    </a:lnTo>
                    <a:lnTo>
                      <a:pt x="158" y="185"/>
                    </a:lnTo>
                    <a:lnTo>
                      <a:pt x="158" y="185"/>
                    </a:lnTo>
                    <a:lnTo>
                      <a:pt x="153" y="185"/>
                    </a:lnTo>
                    <a:lnTo>
                      <a:pt x="149" y="185"/>
                    </a:lnTo>
                    <a:lnTo>
                      <a:pt x="149" y="185"/>
                    </a:lnTo>
                    <a:lnTo>
                      <a:pt x="149" y="185"/>
                    </a:lnTo>
                    <a:lnTo>
                      <a:pt x="149" y="181"/>
                    </a:lnTo>
                    <a:lnTo>
                      <a:pt x="149" y="181"/>
                    </a:lnTo>
                    <a:lnTo>
                      <a:pt x="144" y="181"/>
                    </a:lnTo>
                    <a:lnTo>
                      <a:pt x="144" y="181"/>
                    </a:lnTo>
                    <a:lnTo>
                      <a:pt x="140" y="181"/>
                    </a:lnTo>
                    <a:lnTo>
                      <a:pt x="135" y="176"/>
                    </a:lnTo>
                    <a:lnTo>
                      <a:pt x="131" y="176"/>
                    </a:lnTo>
                    <a:lnTo>
                      <a:pt x="131" y="176"/>
                    </a:lnTo>
                    <a:lnTo>
                      <a:pt x="131" y="176"/>
                    </a:lnTo>
                    <a:lnTo>
                      <a:pt x="126" y="176"/>
                    </a:lnTo>
                    <a:lnTo>
                      <a:pt x="126" y="176"/>
                    </a:lnTo>
                    <a:lnTo>
                      <a:pt x="126" y="176"/>
                    </a:lnTo>
                    <a:lnTo>
                      <a:pt x="122" y="176"/>
                    </a:lnTo>
                    <a:lnTo>
                      <a:pt x="122" y="176"/>
                    </a:lnTo>
                    <a:lnTo>
                      <a:pt x="122" y="176"/>
                    </a:lnTo>
                    <a:lnTo>
                      <a:pt x="117" y="176"/>
                    </a:lnTo>
                    <a:lnTo>
                      <a:pt x="117" y="171"/>
                    </a:lnTo>
                    <a:lnTo>
                      <a:pt x="112" y="171"/>
                    </a:lnTo>
                    <a:lnTo>
                      <a:pt x="112" y="171"/>
                    </a:lnTo>
                    <a:lnTo>
                      <a:pt x="112" y="171"/>
                    </a:lnTo>
                    <a:lnTo>
                      <a:pt x="112" y="171"/>
                    </a:lnTo>
                    <a:lnTo>
                      <a:pt x="108" y="167"/>
                    </a:lnTo>
                    <a:lnTo>
                      <a:pt x="108" y="162"/>
                    </a:lnTo>
                    <a:lnTo>
                      <a:pt x="108" y="162"/>
                    </a:lnTo>
                    <a:lnTo>
                      <a:pt x="103" y="158"/>
                    </a:lnTo>
                    <a:lnTo>
                      <a:pt x="103" y="158"/>
                    </a:lnTo>
                    <a:lnTo>
                      <a:pt x="103" y="153"/>
                    </a:lnTo>
                    <a:lnTo>
                      <a:pt x="103" y="153"/>
                    </a:lnTo>
                    <a:lnTo>
                      <a:pt x="103" y="149"/>
                    </a:lnTo>
                    <a:lnTo>
                      <a:pt x="103" y="153"/>
                    </a:lnTo>
                    <a:lnTo>
                      <a:pt x="103" y="153"/>
                    </a:lnTo>
                    <a:lnTo>
                      <a:pt x="99" y="149"/>
                    </a:lnTo>
                    <a:lnTo>
                      <a:pt x="99" y="149"/>
                    </a:lnTo>
                    <a:lnTo>
                      <a:pt x="99" y="144"/>
                    </a:lnTo>
                    <a:lnTo>
                      <a:pt x="94" y="140"/>
                    </a:lnTo>
                    <a:lnTo>
                      <a:pt x="94" y="140"/>
                    </a:lnTo>
                    <a:lnTo>
                      <a:pt x="94" y="135"/>
                    </a:lnTo>
                    <a:lnTo>
                      <a:pt x="94" y="135"/>
                    </a:lnTo>
                    <a:lnTo>
                      <a:pt x="90" y="131"/>
                    </a:lnTo>
                    <a:lnTo>
                      <a:pt x="90" y="131"/>
                    </a:lnTo>
                    <a:lnTo>
                      <a:pt x="90" y="131"/>
                    </a:lnTo>
                    <a:lnTo>
                      <a:pt x="90" y="131"/>
                    </a:lnTo>
                    <a:lnTo>
                      <a:pt x="85" y="126"/>
                    </a:lnTo>
                    <a:lnTo>
                      <a:pt x="85" y="126"/>
                    </a:lnTo>
                    <a:lnTo>
                      <a:pt x="85" y="126"/>
                    </a:lnTo>
                    <a:lnTo>
                      <a:pt x="81" y="126"/>
                    </a:lnTo>
                    <a:lnTo>
                      <a:pt x="81" y="126"/>
                    </a:lnTo>
                    <a:lnTo>
                      <a:pt x="76" y="126"/>
                    </a:lnTo>
                    <a:lnTo>
                      <a:pt x="76" y="126"/>
                    </a:lnTo>
                    <a:lnTo>
                      <a:pt x="76" y="126"/>
                    </a:lnTo>
                    <a:lnTo>
                      <a:pt x="72" y="122"/>
                    </a:lnTo>
                    <a:lnTo>
                      <a:pt x="72" y="122"/>
                    </a:lnTo>
                    <a:lnTo>
                      <a:pt x="72" y="122"/>
                    </a:lnTo>
                    <a:lnTo>
                      <a:pt x="72" y="122"/>
                    </a:lnTo>
                    <a:lnTo>
                      <a:pt x="72" y="122"/>
                    </a:lnTo>
                    <a:lnTo>
                      <a:pt x="67" y="122"/>
                    </a:lnTo>
                    <a:lnTo>
                      <a:pt x="67" y="117"/>
                    </a:lnTo>
                    <a:lnTo>
                      <a:pt x="67" y="117"/>
                    </a:lnTo>
                    <a:lnTo>
                      <a:pt x="63" y="117"/>
                    </a:lnTo>
                    <a:lnTo>
                      <a:pt x="63" y="122"/>
                    </a:lnTo>
                    <a:lnTo>
                      <a:pt x="63" y="122"/>
                    </a:lnTo>
                    <a:lnTo>
                      <a:pt x="63" y="122"/>
                    </a:lnTo>
                    <a:lnTo>
                      <a:pt x="63" y="122"/>
                    </a:lnTo>
                    <a:lnTo>
                      <a:pt x="63" y="122"/>
                    </a:lnTo>
                    <a:lnTo>
                      <a:pt x="58" y="122"/>
                    </a:lnTo>
                    <a:lnTo>
                      <a:pt x="58" y="122"/>
                    </a:lnTo>
                    <a:lnTo>
                      <a:pt x="54" y="122"/>
                    </a:lnTo>
                    <a:lnTo>
                      <a:pt x="54" y="122"/>
                    </a:lnTo>
                    <a:lnTo>
                      <a:pt x="54" y="117"/>
                    </a:lnTo>
                    <a:lnTo>
                      <a:pt x="54" y="117"/>
                    </a:lnTo>
                    <a:lnTo>
                      <a:pt x="54" y="117"/>
                    </a:lnTo>
                    <a:lnTo>
                      <a:pt x="49" y="117"/>
                    </a:lnTo>
                    <a:lnTo>
                      <a:pt x="54" y="117"/>
                    </a:lnTo>
                    <a:lnTo>
                      <a:pt x="54" y="126"/>
                    </a:lnTo>
                    <a:lnTo>
                      <a:pt x="54" y="126"/>
                    </a:lnTo>
                    <a:lnTo>
                      <a:pt x="54" y="126"/>
                    </a:lnTo>
                    <a:lnTo>
                      <a:pt x="54" y="126"/>
                    </a:lnTo>
                    <a:lnTo>
                      <a:pt x="54" y="126"/>
                    </a:lnTo>
                    <a:lnTo>
                      <a:pt x="49" y="126"/>
                    </a:lnTo>
                    <a:lnTo>
                      <a:pt x="49" y="126"/>
                    </a:lnTo>
                    <a:lnTo>
                      <a:pt x="49" y="126"/>
                    </a:lnTo>
                    <a:lnTo>
                      <a:pt x="49" y="126"/>
                    </a:lnTo>
                    <a:lnTo>
                      <a:pt x="49" y="126"/>
                    </a:lnTo>
                    <a:lnTo>
                      <a:pt x="49" y="131"/>
                    </a:lnTo>
                    <a:lnTo>
                      <a:pt x="49" y="131"/>
                    </a:lnTo>
                    <a:lnTo>
                      <a:pt x="45" y="131"/>
                    </a:lnTo>
                    <a:lnTo>
                      <a:pt x="40" y="131"/>
                    </a:lnTo>
                    <a:lnTo>
                      <a:pt x="40" y="135"/>
                    </a:lnTo>
                    <a:lnTo>
                      <a:pt x="36" y="135"/>
                    </a:lnTo>
                    <a:lnTo>
                      <a:pt x="36" y="135"/>
                    </a:lnTo>
                    <a:lnTo>
                      <a:pt x="31" y="131"/>
                    </a:lnTo>
                    <a:lnTo>
                      <a:pt x="31" y="131"/>
                    </a:lnTo>
                    <a:lnTo>
                      <a:pt x="27" y="135"/>
                    </a:lnTo>
                    <a:lnTo>
                      <a:pt x="27" y="135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2" y="131"/>
                    </a:lnTo>
                    <a:lnTo>
                      <a:pt x="27" y="131"/>
                    </a:lnTo>
                    <a:lnTo>
                      <a:pt x="27" y="131"/>
                    </a:lnTo>
                    <a:lnTo>
                      <a:pt x="27" y="135"/>
                    </a:lnTo>
                    <a:lnTo>
                      <a:pt x="27" y="135"/>
                    </a:lnTo>
                    <a:lnTo>
                      <a:pt x="31" y="135"/>
                    </a:lnTo>
                    <a:lnTo>
                      <a:pt x="36" y="135"/>
                    </a:lnTo>
                    <a:lnTo>
                      <a:pt x="36" y="135"/>
                    </a:lnTo>
                    <a:lnTo>
                      <a:pt x="36" y="135"/>
                    </a:lnTo>
                    <a:lnTo>
                      <a:pt x="40" y="135"/>
                    </a:lnTo>
                    <a:lnTo>
                      <a:pt x="40" y="140"/>
                    </a:lnTo>
                    <a:lnTo>
                      <a:pt x="40" y="140"/>
                    </a:lnTo>
                    <a:lnTo>
                      <a:pt x="40" y="144"/>
                    </a:lnTo>
                    <a:lnTo>
                      <a:pt x="40" y="144"/>
                    </a:lnTo>
                    <a:lnTo>
                      <a:pt x="40" y="144"/>
                    </a:lnTo>
                    <a:lnTo>
                      <a:pt x="40" y="149"/>
                    </a:lnTo>
                    <a:lnTo>
                      <a:pt x="40" y="149"/>
                    </a:lnTo>
                    <a:lnTo>
                      <a:pt x="36" y="149"/>
                    </a:lnTo>
                    <a:lnTo>
                      <a:pt x="31" y="153"/>
                    </a:lnTo>
                    <a:lnTo>
                      <a:pt x="27" y="153"/>
                    </a:lnTo>
                    <a:lnTo>
                      <a:pt x="27" y="153"/>
                    </a:lnTo>
                    <a:lnTo>
                      <a:pt x="27" y="153"/>
                    </a:lnTo>
                    <a:lnTo>
                      <a:pt x="22" y="153"/>
                    </a:lnTo>
                    <a:lnTo>
                      <a:pt x="22" y="153"/>
                    </a:lnTo>
                    <a:lnTo>
                      <a:pt x="22" y="153"/>
                    </a:lnTo>
                    <a:lnTo>
                      <a:pt x="18" y="153"/>
                    </a:lnTo>
                    <a:lnTo>
                      <a:pt x="13" y="153"/>
                    </a:lnTo>
                    <a:lnTo>
                      <a:pt x="9" y="153"/>
                    </a:lnTo>
                    <a:lnTo>
                      <a:pt x="9" y="153"/>
                    </a:lnTo>
                    <a:lnTo>
                      <a:pt x="9" y="149"/>
                    </a:lnTo>
                    <a:lnTo>
                      <a:pt x="4" y="153"/>
                    </a:lnTo>
                    <a:lnTo>
                      <a:pt x="4" y="153"/>
                    </a:lnTo>
                    <a:lnTo>
                      <a:pt x="4" y="153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44"/>
                    </a:lnTo>
                    <a:lnTo>
                      <a:pt x="0" y="140"/>
                    </a:lnTo>
                    <a:lnTo>
                      <a:pt x="0" y="135"/>
                    </a:lnTo>
                    <a:lnTo>
                      <a:pt x="4" y="131"/>
                    </a:lnTo>
                    <a:lnTo>
                      <a:pt x="4" y="126"/>
                    </a:lnTo>
                    <a:lnTo>
                      <a:pt x="4" y="122"/>
                    </a:lnTo>
                    <a:lnTo>
                      <a:pt x="4" y="122"/>
                    </a:lnTo>
                    <a:lnTo>
                      <a:pt x="4" y="117"/>
                    </a:lnTo>
                    <a:lnTo>
                      <a:pt x="4" y="113"/>
                    </a:lnTo>
                    <a:lnTo>
                      <a:pt x="4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99"/>
                    </a:lnTo>
                    <a:lnTo>
                      <a:pt x="4" y="99"/>
                    </a:lnTo>
                    <a:lnTo>
                      <a:pt x="4" y="95"/>
                    </a:lnTo>
                    <a:lnTo>
                      <a:pt x="9" y="90"/>
                    </a:lnTo>
                    <a:lnTo>
                      <a:pt x="9" y="90"/>
                    </a:lnTo>
                    <a:lnTo>
                      <a:pt x="9" y="86"/>
                    </a:lnTo>
                    <a:lnTo>
                      <a:pt x="9" y="81"/>
                    </a:lnTo>
                    <a:lnTo>
                      <a:pt x="9" y="77"/>
                    </a:lnTo>
                    <a:lnTo>
                      <a:pt x="9" y="72"/>
                    </a:lnTo>
                    <a:lnTo>
                      <a:pt x="9" y="67"/>
                    </a:lnTo>
                    <a:lnTo>
                      <a:pt x="9" y="63"/>
                    </a:lnTo>
                    <a:lnTo>
                      <a:pt x="9" y="58"/>
                    </a:lnTo>
                    <a:lnTo>
                      <a:pt x="9" y="54"/>
                    </a:lnTo>
                    <a:lnTo>
                      <a:pt x="9" y="49"/>
                    </a:lnTo>
                    <a:lnTo>
                      <a:pt x="9" y="45"/>
                    </a:lnTo>
                    <a:lnTo>
                      <a:pt x="13" y="40"/>
                    </a:lnTo>
                    <a:lnTo>
                      <a:pt x="13" y="36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3" y="27"/>
                    </a:lnTo>
                    <a:lnTo>
                      <a:pt x="13" y="22"/>
                    </a:lnTo>
                    <a:lnTo>
                      <a:pt x="13" y="18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18" y="13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6" y="22"/>
                    </a:lnTo>
                    <a:lnTo>
                      <a:pt x="40" y="27"/>
                    </a:lnTo>
                    <a:lnTo>
                      <a:pt x="45" y="27"/>
                    </a:lnTo>
                    <a:lnTo>
                      <a:pt x="49" y="27"/>
                    </a:lnTo>
                    <a:lnTo>
                      <a:pt x="49" y="27"/>
                    </a:lnTo>
                    <a:lnTo>
                      <a:pt x="54" y="31"/>
                    </a:lnTo>
                    <a:lnTo>
                      <a:pt x="58" y="31"/>
                    </a:lnTo>
                    <a:lnTo>
                      <a:pt x="58" y="31"/>
                    </a:lnTo>
                    <a:lnTo>
                      <a:pt x="63" y="36"/>
                    </a:lnTo>
                    <a:lnTo>
                      <a:pt x="63" y="36"/>
                    </a:lnTo>
                    <a:lnTo>
                      <a:pt x="63" y="36"/>
                    </a:lnTo>
                    <a:lnTo>
                      <a:pt x="67" y="36"/>
                    </a:lnTo>
                    <a:lnTo>
                      <a:pt x="67" y="40"/>
                    </a:lnTo>
                    <a:moveTo>
                      <a:pt x="221" y="58"/>
                    </a:moveTo>
                    <a:lnTo>
                      <a:pt x="221" y="58"/>
                    </a:lnTo>
                    <a:lnTo>
                      <a:pt x="216" y="63"/>
                    </a:lnTo>
                    <a:lnTo>
                      <a:pt x="216" y="58"/>
                    </a:lnTo>
                    <a:lnTo>
                      <a:pt x="216" y="58"/>
                    </a:lnTo>
                    <a:lnTo>
                      <a:pt x="216" y="58"/>
                    </a:lnTo>
                    <a:lnTo>
                      <a:pt x="216" y="54"/>
                    </a:lnTo>
                    <a:lnTo>
                      <a:pt x="216" y="54"/>
                    </a:lnTo>
                    <a:lnTo>
                      <a:pt x="216" y="49"/>
                    </a:lnTo>
                    <a:lnTo>
                      <a:pt x="216" y="49"/>
                    </a:lnTo>
                    <a:lnTo>
                      <a:pt x="216" y="45"/>
                    </a:lnTo>
                    <a:lnTo>
                      <a:pt x="212" y="45"/>
                    </a:lnTo>
                    <a:lnTo>
                      <a:pt x="212" y="36"/>
                    </a:lnTo>
                    <a:lnTo>
                      <a:pt x="207" y="36"/>
                    </a:lnTo>
                    <a:lnTo>
                      <a:pt x="207" y="31"/>
                    </a:lnTo>
                    <a:lnTo>
                      <a:pt x="207" y="31"/>
                    </a:lnTo>
                    <a:lnTo>
                      <a:pt x="203" y="31"/>
                    </a:lnTo>
                    <a:lnTo>
                      <a:pt x="203" y="31"/>
                    </a:lnTo>
                    <a:lnTo>
                      <a:pt x="203" y="31"/>
                    </a:lnTo>
                    <a:lnTo>
                      <a:pt x="203" y="31"/>
                    </a:lnTo>
                    <a:lnTo>
                      <a:pt x="198" y="27"/>
                    </a:lnTo>
                    <a:lnTo>
                      <a:pt x="194" y="22"/>
                    </a:lnTo>
                    <a:lnTo>
                      <a:pt x="194" y="22"/>
                    </a:lnTo>
                    <a:lnTo>
                      <a:pt x="189" y="18"/>
                    </a:lnTo>
                    <a:lnTo>
                      <a:pt x="189" y="18"/>
                    </a:lnTo>
                    <a:lnTo>
                      <a:pt x="185" y="18"/>
                    </a:lnTo>
                    <a:lnTo>
                      <a:pt x="185" y="18"/>
                    </a:lnTo>
                    <a:lnTo>
                      <a:pt x="185" y="18"/>
                    </a:lnTo>
                    <a:lnTo>
                      <a:pt x="185" y="13"/>
                    </a:lnTo>
                    <a:lnTo>
                      <a:pt x="185" y="13"/>
                    </a:lnTo>
                    <a:lnTo>
                      <a:pt x="189" y="13"/>
                    </a:lnTo>
                    <a:lnTo>
                      <a:pt x="189" y="18"/>
                    </a:lnTo>
                    <a:lnTo>
                      <a:pt x="189" y="18"/>
                    </a:lnTo>
                    <a:lnTo>
                      <a:pt x="194" y="18"/>
                    </a:lnTo>
                    <a:lnTo>
                      <a:pt x="194" y="22"/>
                    </a:lnTo>
                    <a:lnTo>
                      <a:pt x="198" y="22"/>
                    </a:lnTo>
                    <a:lnTo>
                      <a:pt x="198" y="22"/>
                    </a:lnTo>
                    <a:lnTo>
                      <a:pt x="203" y="27"/>
                    </a:lnTo>
                    <a:lnTo>
                      <a:pt x="207" y="27"/>
                    </a:lnTo>
                    <a:lnTo>
                      <a:pt x="207" y="27"/>
                    </a:lnTo>
                    <a:lnTo>
                      <a:pt x="207" y="31"/>
                    </a:lnTo>
                    <a:lnTo>
                      <a:pt x="212" y="31"/>
                    </a:lnTo>
                    <a:lnTo>
                      <a:pt x="212" y="36"/>
                    </a:lnTo>
                    <a:lnTo>
                      <a:pt x="221" y="45"/>
                    </a:lnTo>
                    <a:lnTo>
                      <a:pt x="221" y="49"/>
                    </a:lnTo>
                    <a:lnTo>
                      <a:pt x="221" y="49"/>
                    </a:lnTo>
                    <a:lnTo>
                      <a:pt x="221" y="54"/>
                    </a:lnTo>
                    <a:lnTo>
                      <a:pt x="221" y="54"/>
                    </a:lnTo>
                    <a:lnTo>
                      <a:pt x="221" y="58"/>
                    </a:lnTo>
                    <a:lnTo>
                      <a:pt x="221" y="58"/>
                    </a:lnTo>
                    <a:lnTo>
                      <a:pt x="221" y="58"/>
                    </a:lnTo>
                    <a:moveTo>
                      <a:pt x="122" y="0"/>
                    </a:moveTo>
                    <a:lnTo>
                      <a:pt x="122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2" y="0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17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7" y="0"/>
                    </a:lnTo>
                    <a:lnTo>
                      <a:pt x="122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10" name="Freeform 131"/>
              <p:cNvSpPr>
                <a:spLocks/>
              </p:cNvSpPr>
              <p:nvPr/>
            </p:nvSpPr>
            <p:spPr bwMode="auto">
              <a:xfrm>
                <a:off x="4635501" y="1316039"/>
                <a:ext cx="236538" cy="173038"/>
              </a:xfrm>
              <a:custGeom>
                <a:avLst/>
                <a:gdLst>
                  <a:gd name="T0" fmla="*/ 64 w 149"/>
                  <a:gd name="T1" fmla="*/ 0 h 109"/>
                  <a:gd name="T2" fmla="*/ 68 w 149"/>
                  <a:gd name="T3" fmla="*/ 9 h 109"/>
                  <a:gd name="T4" fmla="*/ 77 w 149"/>
                  <a:gd name="T5" fmla="*/ 5 h 109"/>
                  <a:gd name="T6" fmla="*/ 109 w 149"/>
                  <a:gd name="T7" fmla="*/ 5 h 109"/>
                  <a:gd name="T8" fmla="*/ 127 w 149"/>
                  <a:gd name="T9" fmla="*/ 5 h 109"/>
                  <a:gd name="T10" fmla="*/ 127 w 149"/>
                  <a:gd name="T11" fmla="*/ 9 h 109"/>
                  <a:gd name="T12" fmla="*/ 131 w 149"/>
                  <a:gd name="T13" fmla="*/ 14 h 109"/>
                  <a:gd name="T14" fmla="*/ 140 w 149"/>
                  <a:gd name="T15" fmla="*/ 27 h 109"/>
                  <a:gd name="T16" fmla="*/ 140 w 149"/>
                  <a:gd name="T17" fmla="*/ 36 h 109"/>
                  <a:gd name="T18" fmla="*/ 136 w 149"/>
                  <a:gd name="T19" fmla="*/ 45 h 109"/>
                  <a:gd name="T20" fmla="*/ 136 w 149"/>
                  <a:gd name="T21" fmla="*/ 45 h 109"/>
                  <a:gd name="T22" fmla="*/ 140 w 149"/>
                  <a:gd name="T23" fmla="*/ 50 h 109"/>
                  <a:gd name="T24" fmla="*/ 140 w 149"/>
                  <a:gd name="T25" fmla="*/ 59 h 109"/>
                  <a:gd name="T26" fmla="*/ 140 w 149"/>
                  <a:gd name="T27" fmla="*/ 63 h 109"/>
                  <a:gd name="T28" fmla="*/ 145 w 149"/>
                  <a:gd name="T29" fmla="*/ 72 h 109"/>
                  <a:gd name="T30" fmla="*/ 145 w 149"/>
                  <a:gd name="T31" fmla="*/ 72 h 109"/>
                  <a:gd name="T32" fmla="*/ 149 w 149"/>
                  <a:gd name="T33" fmla="*/ 77 h 109"/>
                  <a:gd name="T34" fmla="*/ 140 w 149"/>
                  <a:gd name="T35" fmla="*/ 82 h 109"/>
                  <a:gd name="T36" fmla="*/ 131 w 149"/>
                  <a:gd name="T37" fmla="*/ 91 h 109"/>
                  <a:gd name="T38" fmla="*/ 131 w 149"/>
                  <a:gd name="T39" fmla="*/ 100 h 109"/>
                  <a:gd name="T40" fmla="*/ 131 w 149"/>
                  <a:gd name="T41" fmla="*/ 104 h 109"/>
                  <a:gd name="T42" fmla="*/ 131 w 149"/>
                  <a:gd name="T43" fmla="*/ 109 h 109"/>
                  <a:gd name="T44" fmla="*/ 122 w 149"/>
                  <a:gd name="T45" fmla="*/ 104 h 109"/>
                  <a:gd name="T46" fmla="*/ 113 w 149"/>
                  <a:gd name="T47" fmla="*/ 100 h 109"/>
                  <a:gd name="T48" fmla="*/ 104 w 149"/>
                  <a:gd name="T49" fmla="*/ 100 h 109"/>
                  <a:gd name="T50" fmla="*/ 100 w 149"/>
                  <a:gd name="T51" fmla="*/ 100 h 109"/>
                  <a:gd name="T52" fmla="*/ 95 w 149"/>
                  <a:gd name="T53" fmla="*/ 100 h 109"/>
                  <a:gd name="T54" fmla="*/ 91 w 149"/>
                  <a:gd name="T55" fmla="*/ 104 h 109"/>
                  <a:gd name="T56" fmla="*/ 86 w 149"/>
                  <a:gd name="T57" fmla="*/ 104 h 109"/>
                  <a:gd name="T58" fmla="*/ 86 w 149"/>
                  <a:gd name="T59" fmla="*/ 100 h 109"/>
                  <a:gd name="T60" fmla="*/ 82 w 149"/>
                  <a:gd name="T61" fmla="*/ 95 h 109"/>
                  <a:gd name="T62" fmla="*/ 77 w 149"/>
                  <a:gd name="T63" fmla="*/ 100 h 109"/>
                  <a:gd name="T64" fmla="*/ 73 w 149"/>
                  <a:gd name="T65" fmla="*/ 100 h 109"/>
                  <a:gd name="T66" fmla="*/ 68 w 149"/>
                  <a:gd name="T67" fmla="*/ 91 h 109"/>
                  <a:gd name="T68" fmla="*/ 64 w 149"/>
                  <a:gd name="T69" fmla="*/ 91 h 109"/>
                  <a:gd name="T70" fmla="*/ 59 w 149"/>
                  <a:gd name="T71" fmla="*/ 91 h 109"/>
                  <a:gd name="T72" fmla="*/ 55 w 149"/>
                  <a:gd name="T73" fmla="*/ 91 h 109"/>
                  <a:gd name="T74" fmla="*/ 55 w 149"/>
                  <a:gd name="T75" fmla="*/ 86 h 109"/>
                  <a:gd name="T76" fmla="*/ 55 w 149"/>
                  <a:gd name="T77" fmla="*/ 86 h 109"/>
                  <a:gd name="T78" fmla="*/ 46 w 149"/>
                  <a:gd name="T79" fmla="*/ 82 h 109"/>
                  <a:gd name="T80" fmla="*/ 46 w 149"/>
                  <a:gd name="T81" fmla="*/ 86 h 109"/>
                  <a:gd name="T82" fmla="*/ 41 w 149"/>
                  <a:gd name="T83" fmla="*/ 86 h 109"/>
                  <a:gd name="T84" fmla="*/ 37 w 149"/>
                  <a:gd name="T85" fmla="*/ 82 h 109"/>
                  <a:gd name="T86" fmla="*/ 37 w 149"/>
                  <a:gd name="T87" fmla="*/ 82 h 109"/>
                  <a:gd name="T88" fmla="*/ 37 w 149"/>
                  <a:gd name="T89" fmla="*/ 77 h 109"/>
                  <a:gd name="T90" fmla="*/ 32 w 149"/>
                  <a:gd name="T91" fmla="*/ 77 h 109"/>
                  <a:gd name="T92" fmla="*/ 23 w 149"/>
                  <a:gd name="T93" fmla="*/ 72 h 109"/>
                  <a:gd name="T94" fmla="*/ 18 w 149"/>
                  <a:gd name="T95" fmla="*/ 72 h 109"/>
                  <a:gd name="T96" fmla="*/ 14 w 149"/>
                  <a:gd name="T97" fmla="*/ 72 h 109"/>
                  <a:gd name="T98" fmla="*/ 14 w 149"/>
                  <a:gd name="T99" fmla="*/ 68 h 109"/>
                  <a:gd name="T100" fmla="*/ 14 w 149"/>
                  <a:gd name="T101" fmla="*/ 59 h 109"/>
                  <a:gd name="T102" fmla="*/ 9 w 149"/>
                  <a:gd name="T103" fmla="*/ 54 h 109"/>
                  <a:gd name="T104" fmla="*/ 14 w 149"/>
                  <a:gd name="T105" fmla="*/ 50 h 109"/>
                  <a:gd name="T106" fmla="*/ 9 w 149"/>
                  <a:gd name="T107" fmla="*/ 45 h 109"/>
                  <a:gd name="T108" fmla="*/ 9 w 149"/>
                  <a:gd name="T109" fmla="*/ 41 h 109"/>
                  <a:gd name="T110" fmla="*/ 5 w 149"/>
                  <a:gd name="T111" fmla="*/ 32 h 109"/>
                  <a:gd name="T112" fmla="*/ 5 w 149"/>
                  <a:gd name="T113" fmla="*/ 27 h 109"/>
                  <a:gd name="T114" fmla="*/ 5 w 149"/>
                  <a:gd name="T115" fmla="*/ 23 h 109"/>
                  <a:gd name="T116" fmla="*/ 9 w 149"/>
                  <a:gd name="T117" fmla="*/ 18 h 109"/>
                  <a:gd name="T118" fmla="*/ 5 w 149"/>
                  <a:gd name="T119" fmla="*/ 14 h 109"/>
                  <a:gd name="T120" fmla="*/ 27 w 149"/>
                  <a:gd name="T121" fmla="*/ 9 h 109"/>
                  <a:gd name="T122" fmla="*/ 37 w 149"/>
                  <a:gd name="T123" fmla="*/ 5 h 109"/>
                  <a:gd name="T124" fmla="*/ 55 w 149"/>
                  <a:gd name="T12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9" h="109">
                    <a:moveTo>
                      <a:pt x="64" y="0"/>
                    </a:move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5"/>
                    </a:lnTo>
                    <a:lnTo>
                      <a:pt x="64" y="5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82" y="5"/>
                    </a:lnTo>
                    <a:lnTo>
                      <a:pt x="86" y="5"/>
                    </a:lnTo>
                    <a:lnTo>
                      <a:pt x="95" y="5"/>
                    </a:lnTo>
                    <a:lnTo>
                      <a:pt x="100" y="5"/>
                    </a:lnTo>
                    <a:lnTo>
                      <a:pt x="109" y="5"/>
                    </a:lnTo>
                    <a:lnTo>
                      <a:pt x="113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27" y="9"/>
                    </a:lnTo>
                    <a:lnTo>
                      <a:pt x="127" y="9"/>
                    </a:lnTo>
                    <a:lnTo>
                      <a:pt x="127" y="9"/>
                    </a:lnTo>
                    <a:lnTo>
                      <a:pt x="127" y="9"/>
                    </a:lnTo>
                    <a:lnTo>
                      <a:pt x="127" y="9"/>
                    </a:lnTo>
                    <a:lnTo>
                      <a:pt x="131" y="9"/>
                    </a:lnTo>
                    <a:lnTo>
                      <a:pt x="131" y="9"/>
                    </a:lnTo>
                    <a:lnTo>
                      <a:pt x="131" y="9"/>
                    </a:lnTo>
                    <a:lnTo>
                      <a:pt x="131" y="14"/>
                    </a:lnTo>
                    <a:lnTo>
                      <a:pt x="136" y="14"/>
                    </a:lnTo>
                    <a:lnTo>
                      <a:pt x="136" y="14"/>
                    </a:lnTo>
                    <a:lnTo>
                      <a:pt x="136" y="14"/>
                    </a:lnTo>
                    <a:lnTo>
                      <a:pt x="136" y="23"/>
                    </a:lnTo>
                    <a:lnTo>
                      <a:pt x="140" y="27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40" y="36"/>
                    </a:lnTo>
                    <a:lnTo>
                      <a:pt x="140" y="36"/>
                    </a:lnTo>
                    <a:lnTo>
                      <a:pt x="140" y="36"/>
                    </a:lnTo>
                    <a:lnTo>
                      <a:pt x="140" y="36"/>
                    </a:lnTo>
                    <a:lnTo>
                      <a:pt x="140" y="41"/>
                    </a:lnTo>
                    <a:lnTo>
                      <a:pt x="136" y="41"/>
                    </a:lnTo>
                    <a:lnTo>
                      <a:pt x="136" y="41"/>
                    </a:lnTo>
                    <a:lnTo>
                      <a:pt x="136" y="45"/>
                    </a:lnTo>
                    <a:lnTo>
                      <a:pt x="131" y="45"/>
                    </a:lnTo>
                    <a:lnTo>
                      <a:pt x="131" y="45"/>
                    </a:lnTo>
                    <a:lnTo>
                      <a:pt x="131" y="45"/>
                    </a:lnTo>
                    <a:lnTo>
                      <a:pt x="131" y="45"/>
                    </a:lnTo>
                    <a:lnTo>
                      <a:pt x="136" y="45"/>
                    </a:lnTo>
                    <a:lnTo>
                      <a:pt x="136" y="50"/>
                    </a:lnTo>
                    <a:lnTo>
                      <a:pt x="136" y="50"/>
                    </a:lnTo>
                    <a:lnTo>
                      <a:pt x="140" y="50"/>
                    </a:lnTo>
                    <a:lnTo>
                      <a:pt x="140" y="50"/>
                    </a:lnTo>
                    <a:lnTo>
                      <a:pt x="140" y="50"/>
                    </a:lnTo>
                    <a:lnTo>
                      <a:pt x="140" y="50"/>
                    </a:lnTo>
                    <a:lnTo>
                      <a:pt x="140" y="54"/>
                    </a:lnTo>
                    <a:lnTo>
                      <a:pt x="140" y="54"/>
                    </a:lnTo>
                    <a:lnTo>
                      <a:pt x="140" y="54"/>
                    </a:lnTo>
                    <a:lnTo>
                      <a:pt x="140" y="59"/>
                    </a:lnTo>
                    <a:lnTo>
                      <a:pt x="140" y="59"/>
                    </a:lnTo>
                    <a:lnTo>
                      <a:pt x="140" y="59"/>
                    </a:lnTo>
                    <a:lnTo>
                      <a:pt x="140" y="63"/>
                    </a:lnTo>
                    <a:lnTo>
                      <a:pt x="140" y="63"/>
                    </a:lnTo>
                    <a:lnTo>
                      <a:pt x="140" y="63"/>
                    </a:lnTo>
                    <a:lnTo>
                      <a:pt x="140" y="63"/>
                    </a:lnTo>
                    <a:lnTo>
                      <a:pt x="140" y="63"/>
                    </a:lnTo>
                    <a:lnTo>
                      <a:pt x="145" y="68"/>
                    </a:lnTo>
                    <a:lnTo>
                      <a:pt x="145" y="68"/>
                    </a:lnTo>
                    <a:lnTo>
                      <a:pt x="145" y="72"/>
                    </a:lnTo>
                    <a:lnTo>
                      <a:pt x="149" y="72"/>
                    </a:lnTo>
                    <a:lnTo>
                      <a:pt x="149" y="72"/>
                    </a:lnTo>
                    <a:lnTo>
                      <a:pt x="149" y="72"/>
                    </a:lnTo>
                    <a:lnTo>
                      <a:pt x="145" y="72"/>
                    </a:lnTo>
                    <a:lnTo>
                      <a:pt x="145" y="72"/>
                    </a:lnTo>
                    <a:lnTo>
                      <a:pt x="145" y="72"/>
                    </a:lnTo>
                    <a:lnTo>
                      <a:pt x="145" y="72"/>
                    </a:lnTo>
                    <a:lnTo>
                      <a:pt x="149" y="77"/>
                    </a:lnTo>
                    <a:lnTo>
                      <a:pt x="149" y="77"/>
                    </a:lnTo>
                    <a:lnTo>
                      <a:pt x="149" y="77"/>
                    </a:lnTo>
                    <a:lnTo>
                      <a:pt x="149" y="77"/>
                    </a:lnTo>
                    <a:lnTo>
                      <a:pt x="149" y="82"/>
                    </a:lnTo>
                    <a:lnTo>
                      <a:pt x="145" y="82"/>
                    </a:lnTo>
                    <a:lnTo>
                      <a:pt x="145" y="82"/>
                    </a:lnTo>
                    <a:lnTo>
                      <a:pt x="140" y="82"/>
                    </a:lnTo>
                    <a:lnTo>
                      <a:pt x="140" y="86"/>
                    </a:lnTo>
                    <a:lnTo>
                      <a:pt x="140" y="86"/>
                    </a:lnTo>
                    <a:lnTo>
                      <a:pt x="136" y="86"/>
                    </a:lnTo>
                    <a:lnTo>
                      <a:pt x="136" y="91"/>
                    </a:lnTo>
                    <a:lnTo>
                      <a:pt x="131" y="91"/>
                    </a:lnTo>
                    <a:lnTo>
                      <a:pt x="131" y="95"/>
                    </a:lnTo>
                    <a:lnTo>
                      <a:pt x="131" y="95"/>
                    </a:lnTo>
                    <a:lnTo>
                      <a:pt x="131" y="100"/>
                    </a:lnTo>
                    <a:lnTo>
                      <a:pt x="131" y="100"/>
                    </a:lnTo>
                    <a:lnTo>
                      <a:pt x="131" y="100"/>
                    </a:lnTo>
                    <a:lnTo>
                      <a:pt x="131" y="104"/>
                    </a:lnTo>
                    <a:lnTo>
                      <a:pt x="131" y="104"/>
                    </a:lnTo>
                    <a:lnTo>
                      <a:pt x="131" y="104"/>
                    </a:lnTo>
                    <a:lnTo>
                      <a:pt x="131" y="104"/>
                    </a:lnTo>
                    <a:lnTo>
                      <a:pt x="131" y="104"/>
                    </a:lnTo>
                    <a:lnTo>
                      <a:pt x="131" y="104"/>
                    </a:lnTo>
                    <a:lnTo>
                      <a:pt x="131" y="109"/>
                    </a:lnTo>
                    <a:lnTo>
                      <a:pt x="131" y="109"/>
                    </a:lnTo>
                    <a:lnTo>
                      <a:pt x="131" y="109"/>
                    </a:lnTo>
                    <a:lnTo>
                      <a:pt x="131" y="109"/>
                    </a:lnTo>
                    <a:lnTo>
                      <a:pt x="127" y="104"/>
                    </a:lnTo>
                    <a:lnTo>
                      <a:pt x="127" y="104"/>
                    </a:lnTo>
                    <a:lnTo>
                      <a:pt x="127" y="104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8" y="100"/>
                    </a:lnTo>
                    <a:lnTo>
                      <a:pt x="118" y="100"/>
                    </a:lnTo>
                    <a:lnTo>
                      <a:pt x="113" y="100"/>
                    </a:lnTo>
                    <a:lnTo>
                      <a:pt x="109" y="100"/>
                    </a:lnTo>
                    <a:lnTo>
                      <a:pt x="109" y="100"/>
                    </a:lnTo>
                    <a:lnTo>
                      <a:pt x="109" y="100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5" y="100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82" y="100"/>
                    </a:lnTo>
                    <a:lnTo>
                      <a:pt x="82" y="95"/>
                    </a:lnTo>
                    <a:lnTo>
                      <a:pt x="82" y="95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77" y="100"/>
                    </a:lnTo>
                    <a:lnTo>
                      <a:pt x="77" y="100"/>
                    </a:lnTo>
                    <a:lnTo>
                      <a:pt x="77" y="100"/>
                    </a:lnTo>
                    <a:lnTo>
                      <a:pt x="77" y="100"/>
                    </a:lnTo>
                    <a:lnTo>
                      <a:pt x="73" y="100"/>
                    </a:lnTo>
                    <a:lnTo>
                      <a:pt x="73" y="100"/>
                    </a:lnTo>
                    <a:lnTo>
                      <a:pt x="73" y="100"/>
                    </a:lnTo>
                    <a:lnTo>
                      <a:pt x="73" y="95"/>
                    </a:lnTo>
                    <a:lnTo>
                      <a:pt x="68" y="95"/>
                    </a:lnTo>
                    <a:lnTo>
                      <a:pt x="68" y="91"/>
                    </a:lnTo>
                    <a:lnTo>
                      <a:pt x="68" y="91"/>
                    </a:lnTo>
                    <a:lnTo>
                      <a:pt x="68" y="91"/>
                    </a:lnTo>
                    <a:lnTo>
                      <a:pt x="68" y="91"/>
                    </a:lnTo>
                    <a:lnTo>
                      <a:pt x="64" y="91"/>
                    </a:lnTo>
                    <a:lnTo>
                      <a:pt x="64" y="91"/>
                    </a:lnTo>
                    <a:lnTo>
                      <a:pt x="64" y="91"/>
                    </a:lnTo>
                    <a:lnTo>
                      <a:pt x="64" y="91"/>
                    </a:lnTo>
                    <a:lnTo>
                      <a:pt x="64" y="91"/>
                    </a:lnTo>
                    <a:lnTo>
                      <a:pt x="64" y="91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55" y="91"/>
                    </a:lnTo>
                    <a:lnTo>
                      <a:pt x="55" y="86"/>
                    </a:lnTo>
                    <a:lnTo>
                      <a:pt x="55" y="86"/>
                    </a:lnTo>
                    <a:lnTo>
                      <a:pt x="55" y="86"/>
                    </a:lnTo>
                    <a:lnTo>
                      <a:pt x="55" y="86"/>
                    </a:lnTo>
                    <a:lnTo>
                      <a:pt x="55" y="86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5" y="82"/>
                    </a:lnTo>
                    <a:lnTo>
                      <a:pt x="55" y="86"/>
                    </a:lnTo>
                    <a:lnTo>
                      <a:pt x="55" y="86"/>
                    </a:lnTo>
                    <a:lnTo>
                      <a:pt x="55" y="86"/>
                    </a:lnTo>
                    <a:lnTo>
                      <a:pt x="50" y="86"/>
                    </a:lnTo>
                    <a:lnTo>
                      <a:pt x="46" y="82"/>
                    </a:lnTo>
                    <a:lnTo>
                      <a:pt x="46" y="82"/>
                    </a:lnTo>
                    <a:lnTo>
                      <a:pt x="46" y="82"/>
                    </a:lnTo>
                    <a:lnTo>
                      <a:pt x="46" y="82"/>
                    </a:lnTo>
                    <a:lnTo>
                      <a:pt x="46" y="82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37" y="86"/>
                    </a:lnTo>
                    <a:lnTo>
                      <a:pt x="37" y="82"/>
                    </a:lnTo>
                    <a:lnTo>
                      <a:pt x="37" y="82"/>
                    </a:lnTo>
                    <a:lnTo>
                      <a:pt x="37" y="82"/>
                    </a:lnTo>
                    <a:lnTo>
                      <a:pt x="37" y="82"/>
                    </a:lnTo>
                    <a:lnTo>
                      <a:pt x="32" y="82"/>
                    </a:lnTo>
                    <a:lnTo>
                      <a:pt x="37" y="82"/>
                    </a:lnTo>
                    <a:lnTo>
                      <a:pt x="37" y="82"/>
                    </a:lnTo>
                    <a:lnTo>
                      <a:pt x="37" y="82"/>
                    </a:lnTo>
                    <a:lnTo>
                      <a:pt x="37" y="82"/>
                    </a:lnTo>
                    <a:lnTo>
                      <a:pt x="37" y="82"/>
                    </a:lnTo>
                    <a:lnTo>
                      <a:pt x="37" y="77"/>
                    </a:lnTo>
                    <a:lnTo>
                      <a:pt x="37" y="77"/>
                    </a:lnTo>
                    <a:lnTo>
                      <a:pt x="37" y="77"/>
                    </a:lnTo>
                    <a:lnTo>
                      <a:pt x="37" y="77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3" y="72"/>
                    </a:lnTo>
                    <a:lnTo>
                      <a:pt x="23" y="72"/>
                    </a:lnTo>
                    <a:lnTo>
                      <a:pt x="23" y="72"/>
                    </a:lnTo>
                    <a:lnTo>
                      <a:pt x="23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14" y="59"/>
                    </a:lnTo>
                    <a:lnTo>
                      <a:pt x="9" y="59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9" y="59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5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9" y="14"/>
                    </a:lnTo>
                    <a:lnTo>
                      <a:pt x="18" y="14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5"/>
                    </a:lnTo>
                    <a:lnTo>
                      <a:pt x="37" y="5"/>
                    </a:lnTo>
                    <a:lnTo>
                      <a:pt x="41" y="5"/>
                    </a:lnTo>
                    <a:lnTo>
                      <a:pt x="41" y="0"/>
                    </a:lnTo>
                    <a:lnTo>
                      <a:pt x="46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9" y="0"/>
                    </a:lnTo>
                    <a:lnTo>
                      <a:pt x="6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11" name="Freeform 132"/>
              <p:cNvSpPr>
                <a:spLocks/>
              </p:cNvSpPr>
              <p:nvPr/>
            </p:nvSpPr>
            <p:spPr bwMode="auto">
              <a:xfrm>
                <a:off x="2449513" y="2378076"/>
                <a:ext cx="42863" cy="14288"/>
              </a:xfrm>
              <a:custGeom>
                <a:avLst/>
                <a:gdLst>
                  <a:gd name="T0" fmla="*/ 22 w 27"/>
                  <a:gd name="T1" fmla="*/ 0 h 9"/>
                  <a:gd name="T2" fmla="*/ 22 w 27"/>
                  <a:gd name="T3" fmla="*/ 0 h 9"/>
                  <a:gd name="T4" fmla="*/ 22 w 27"/>
                  <a:gd name="T5" fmla="*/ 0 h 9"/>
                  <a:gd name="T6" fmla="*/ 22 w 27"/>
                  <a:gd name="T7" fmla="*/ 0 h 9"/>
                  <a:gd name="T8" fmla="*/ 22 w 27"/>
                  <a:gd name="T9" fmla="*/ 0 h 9"/>
                  <a:gd name="T10" fmla="*/ 22 w 27"/>
                  <a:gd name="T11" fmla="*/ 0 h 9"/>
                  <a:gd name="T12" fmla="*/ 22 w 27"/>
                  <a:gd name="T13" fmla="*/ 0 h 9"/>
                  <a:gd name="T14" fmla="*/ 27 w 27"/>
                  <a:gd name="T15" fmla="*/ 0 h 9"/>
                  <a:gd name="T16" fmla="*/ 27 w 27"/>
                  <a:gd name="T17" fmla="*/ 0 h 9"/>
                  <a:gd name="T18" fmla="*/ 27 w 27"/>
                  <a:gd name="T19" fmla="*/ 5 h 9"/>
                  <a:gd name="T20" fmla="*/ 27 w 27"/>
                  <a:gd name="T21" fmla="*/ 5 h 9"/>
                  <a:gd name="T22" fmla="*/ 27 w 27"/>
                  <a:gd name="T23" fmla="*/ 5 h 9"/>
                  <a:gd name="T24" fmla="*/ 22 w 27"/>
                  <a:gd name="T25" fmla="*/ 9 h 9"/>
                  <a:gd name="T26" fmla="*/ 22 w 27"/>
                  <a:gd name="T27" fmla="*/ 9 h 9"/>
                  <a:gd name="T28" fmla="*/ 18 w 27"/>
                  <a:gd name="T29" fmla="*/ 9 h 9"/>
                  <a:gd name="T30" fmla="*/ 18 w 27"/>
                  <a:gd name="T31" fmla="*/ 9 h 9"/>
                  <a:gd name="T32" fmla="*/ 18 w 27"/>
                  <a:gd name="T33" fmla="*/ 9 h 9"/>
                  <a:gd name="T34" fmla="*/ 13 w 27"/>
                  <a:gd name="T35" fmla="*/ 9 h 9"/>
                  <a:gd name="T36" fmla="*/ 13 w 27"/>
                  <a:gd name="T37" fmla="*/ 9 h 9"/>
                  <a:gd name="T38" fmla="*/ 13 w 27"/>
                  <a:gd name="T39" fmla="*/ 9 h 9"/>
                  <a:gd name="T40" fmla="*/ 9 w 27"/>
                  <a:gd name="T41" fmla="*/ 9 h 9"/>
                  <a:gd name="T42" fmla="*/ 9 w 27"/>
                  <a:gd name="T43" fmla="*/ 9 h 9"/>
                  <a:gd name="T44" fmla="*/ 4 w 27"/>
                  <a:gd name="T45" fmla="*/ 9 h 9"/>
                  <a:gd name="T46" fmla="*/ 4 w 27"/>
                  <a:gd name="T47" fmla="*/ 9 h 9"/>
                  <a:gd name="T48" fmla="*/ 4 w 27"/>
                  <a:gd name="T49" fmla="*/ 9 h 9"/>
                  <a:gd name="T50" fmla="*/ 4 w 27"/>
                  <a:gd name="T51" fmla="*/ 9 h 9"/>
                  <a:gd name="T52" fmla="*/ 0 w 27"/>
                  <a:gd name="T53" fmla="*/ 9 h 9"/>
                  <a:gd name="T54" fmla="*/ 0 w 27"/>
                  <a:gd name="T55" fmla="*/ 9 h 9"/>
                  <a:gd name="T56" fmla="*/ 0 w 27"/>
                  <a:gd name="T57" fmla="*/ 5 h 9"/>
                  <a:gd name="T58" fmla="*/ 0 w 27"/>
                  <a:gd name="T59" fmla="*/ 5 h 9"/>
                  <a:gd name="T60" fmla="*/ 0 w 27"/>
                  <a:gd name="T61" fmla="*/ 5 h 9"/>
                  <a:gd name="T62" fmla="*/ 0 w 27"/>
                  <a:gd name="T63" fmla="*/ 0 h 9"/>
                  <a:gd name="T64" fmla="*/ 0 w 27"/>
                  <a:gd name="T65" fmla="*/ 0 h 9"/>
                  <a:gd name="T66" fmla="*/ 0 w 27"/>
                  <a:gd name="T67" fmla="*/ 0 h 9"/>
                  <a:gd name="T68" fmla="*/ 4 w 27"/>
                  <a:gd name="T69" fmla="*/ 0 h 9"/>
                  <a:gd name="T70" fmla="*/ 4 w 27"/>
                  <a:gd name="T71" fmla="*/ 0 h 9"/>
                  <a:gd name="T72" fmla="*/ 4 w 27"/>
                  <a:gd name="T73" fmla="*/ 0 h 9"/>
                  <a:gd name="T74" fmla="*/ 4 w 27"/>
                  <a:gd name="T75" fmla="*/ 0 h 9"/>
                  <a:gd name="T76" fmla="*/ 9 w 27"/>
                  <a:gd name="T77" fmla="*/ 0 h 9"/>
                  <a:gd name="T78" fmla="*/ 18 w 27"/>
                  <a:gd name="T79" fmla="*/ 0 h 9"/>
                  <a:gd name="T80" fmla="*/ 18 w 27"/>
                  <a:gd name="T81" fmla="*/ 0 h 9"/>
                  <a:gd name="T82" fmla="*/ 22 w 27"/>
                  <a:gd name="T8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" h="9">
                    <a:moveTo>
                      <a:pt x="22" y="0"/>
                    </a:move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12" name="Freeform 133"/>
              <p:cNvSpPr>
                <a:spLocks/>
              </p:cNvSpPr>
              <p:nvPr/>
            </p:nvSpPr>
            <p:spPr bwMode="auto">
              <a:xfrm>
                <a:off x="7346951" y="1560514"/>
                <a:ext cx="128588" cy="171450"/>
              </a:xfrm>
              <a:custGeom>
                <a:avLst/>
                <a:gdLst>
                  <a:gd name="T0" fmla="*/ 50 w 81"/>
                  <a:gd name="T1" fmla="*/ 0 h 108"/>
                  <a:gd name="T2" fmla="*/ 54 w 81"/>
                  <a:gd name="T3" fmla="*/ 0 h 108"/>
                  <a:gd name="T4" fmla="*/ 59 w 81"/>
                  <a:gd name="T5" fmla="*/ 9 h 108"/>
                  <a:gd name="T6" fmla="*/ 63 w 81"/>
                  <a:gd name="T7" fmla="*/ 9 h 108"/>
                  <a:gd name="T8" fmla="*/ 68 w 81"/>
                  <a:gd name="T9" fmla="*/ 13 h 108"/>
                  <a:gd name="T10" fmla="*/ 63 w 81"/>
                  <a:gd name="T11" fmla="*/ 13 h 108"/>
                  <a:gd name="T12" fmla="*/ 63 w 81"/>
                  <a:gd name="T13" fmla="*/ 22 h 108"/>
                  <a:gd name="T14" fmla="*/ 63 w 81"/>
                  <a:gd name="T15" fmla="*/ 27 h 108"/>
                  <a:gd name="T16" fmla="*/ 72 w 81"/>
                  <a:gd name="T17" fmla="*/ 41 h 108"/>
                  <a:gd name="T18" fmla="*/ 68 w 81"/>
                  <a:gd name="T19" fmla="*/ 50 h 108"/>
                  <a:gd name="T20" fmla="*/ 63 w 81"/>
                  <a:gd name="T21" fmla="*/ 54 h 108"/>
                  <a:gd name="T22" fmla="*/ 59 w 81"/>
                  <a:gd name="T23" fmla="*/ 59 h 108"/>
                  <a:gd name="T24" fmla="*/ 54 w 81"/>
                  <a:gd name="T25" fmla="*/ 68 h 108"/>
                  <a:gd name="T26" fmla="*/ 54 w 81"/>
                  <a:gd name="T27" fmla="*/ 72 h 108"/>
                  <a:gd name="T28" fmla="*/ 59 w 81"/>
                  <a:gd name="T29" fmla="*/ 77 h 108"/>
                  <a:gd name="T30" fmla="*/ 68 w 81"/>
                  <a:gd name="T31" fmla="*/ 81 h 108"/>
                  <a:gd name="T32" fmla="*/ 77 w 81"/>
                  <a:gd name="T33" fmla="*/ 86 h 108"/>
                  <a:gd name="T34" fmla="*/ 81 w 81"/>
                  <a:gd name="T35" fmla="*/ 90 h 108"/>
                  <a:gd name="T36" fmla="*/ 77 w 81"/>
                  <a:gd name="T37" fmla="*/ 95 h 108"/>
                  <a:gd name="T38" fmla="*/ 68 w 81"/>
                  <a:gd name="T39" fmla="*/ 95 h 108"/>
                  <a:gd name="T40" fmla="*/ 63 w 81"/>
                  <a:gd name="T41" fmla="*/ 95 h 108"/>
                  <a:gd name="T42" fmla="*/ 63 w 81"/>
                  <a:gd name="T43" fmla="*/ 104 h 108"/>
                  <a:gd name="T44" fmla="*/ 63 w 81"/>
                  <a:gd name="T45" fmla="*/ 104 h 108"/>
                  <a:gd name="T46" fmla="*/ 54 w 81"/>
                  <a:gd name="T47" fmla="*/ 108 h 108"/>
                  <a:gd name="T48" fmla="*/ 45 w 81"/>
                  <a:gd name="T49" fmla="*/ 104 h 108"/>
                  <a:gd name="T50" fmla="*/ 45 w 81"/>
                  <a:gd name="T51" fmla="*/ 108 h 108"/>
                  <a:gd name="T52" fmla="*/ 41 w 81"/>
                  <a:gd name="T53" fmla="*/ 108 h 108"/>
                  <a:gd name="T54" fmla="*/ 36 w 81"/>
                  <a:gd name="T55" fmla="*/ 104 h 108"/>
                  <a:gd name="T56" fmla="*/ 36 w 81"/>
                  <a:gd name="T57" fmla="*/ 104 h 108"/>
                  <a:gd name="T58" fmla="*/ 32 w 81"/>
                  <a:gd name="T59" fmla="*/ 99 h 108"/>
                  <a:gd name="T60" fmla="*/ 32 w 81"/>
                  <a:gd name="T61" fmla="*/ 90 h 108"/>
                  <a:gd name="T62" fmla="*/ 36 w 81"/>
                  <a:gd name="T63" fmla="*/ 90 h 108"/>
                  <a:gd name="T64" fmla="*/ 27 w 81"/>
                  <a:gd name="T65" fmla="*/ 86 h 108"/>
                  <a:gd name="T66" fmla="*/ 23 w 81"/>
                  <a:gd name="T67" fmla="*/ 77 h 108"/>
                  <a:gd name="T68" fmla="*/ 14 w 81"/>
                  <a:gd name="T69" fmla="*/ 72 h 108"/>
                  <a:gd name="T70" fmla="*/ 14 w 81"/>
                  <a:gd name="T71" fmla="*/ 72 h 108"/>
                  <a:gd name="T72" fmla="*/ 5 w 81"/>
                  <a:gd name="T73" fmla="*/ 68 h 108"/>
                  <a:gd name="T74" fmla="*/ 0 w 81"/>
                  <a:gd name="T75" fmla="*/ 63 h 108"/>
                  <a:gd name="T76" fmla="*/ 5 w 81"/>
                  <a:gd name="T77" fmla="*/ 54 h 108"/>
                  <a:gd name="T78" fmla="*/ 5 w 81"/>
                  <a:gd name="T79" fmla="*/ 54 h 108"/>
                  <a:gd name="T80" fmla="*/ 9 w 81"/>
                  <a:gd name="T81" fmla="*/ 50 h 108"/>
                  <a:gd name="T82" fmla="*/ 14 w 81"/>
                  <a:gd name="T83" fmla="*/ 50 h 108"/>
                  <a:gd name="T84" fmla="*/ 14 w 81"/>
                  <a:gd name="T85" fmla="*/ 45 h 108"/>
                  <a:gd name="T86" fmla="*/ 18 w 81"/>
                  <a:gd name="T87" fmla="*/ 41 h 108"/>
                  <a:gd name="T88" fmla="*/ 18 w 81"/>
                  <a:gd name="T89" fmla="*/ 36 h 108"/>
                  <a:gd name="T90" fmla="*/ 18 w 81"/>
                  <a:gd name="T91" fmla="*/ 32 h 108"/>
                  <a:gd name="T92" fmla="*/ 18 w 81"/>
                  <a:gd name="T93" fmla="*/ 27 h 108"/>
                  <a:gd name="T94" fmla="*/ 18 w 81"/>
                  <a:gd name="T95" fmla="*/ 27 h 108"/>
                  <a:gd name="T96" fmla="*/ 23 w 81"/>
                  <a:gd name="T97" fmla="*/ 32 h 108"/>
                  <a:gd name="T98" fmla="*/ 32 w 81"/>
                  <a:gd name="T99" fmla="*/ 32 h 108"/>
                  <a:gd name="T100" fmla="*/ 36 w 81"/>
                  <a:gd name="T101" fmla="*/ 32 h 108"/>
                  <a:gd name="T102" fmla="*/ 41 w 81"/>
                  <a:gd name="T103" fmla="*/ 32 h 108"/>
                  <a:gd name="T104" fmla="*/ 41 w 81"/>
                  <a:gd name="T105" fmla="*/ 27 h 108"/>
                  <a:gd name="T106" fmla="*/ 36 w 81"/>
                  <a:gd name="T107" fmla="*/ 22 h 108"/>
                  <a:gd name="T108" fmla="*/ 32 w 81"/>
                  <a:gd name="T109" fmla="*/ 22 h 108"/>
                  <a:gd name="T110" fmla="*/ 41 w 81"/>
                  <a:gd name="T111" fmla="*/ 18 h 108"/>
                  <a:gd name="T112" fmla="*/ 45 w 81"/>
                  <a:gd name="T113" fmla="*/ 18 h 108"/>
                  <a:gd name="T114" fmla="*/ 45 w 81"/>
                  <a:gd name="T115" fmla="*/ 13 h 108"/>
                  <a:gd name="T116" fmla="*/ 45 w 81"/>
                  <a:gd name="T117" fmla="*/ 9 h 108"/>
                  <a:gd name="T118" fmla="*/ 50 w 81"/>
                  <a:gd name="T119" fmla="*/ 13 h 108"/>
                  <a:gd name="T120" fmla="*/ 50 w 81"/>
                  <a:gd name="T121" fmla="*/ 9 h 108"/>
                  <a:gd name="T122" fmla="*/ 45 w 81"/>
                  <a:gd name="T123" fmla="*/ 0 h 108"/>
                  <a:gd name="T124" fmla="*/ 50 w 81"/>
                  <a:gd name="T125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1" h="108">
                    <a:moveTo>
                      <a:pt x="50" y="0"/>
                    </a:move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9" y="4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8" y="9"/>
                    </a:lnTo>
                    <a:lnTo>
                      <a:pt x="68" y="13"/>
                    </a:lnTo>
                    <a:lnTo>
                      <a:pt x="68" y="13"/>
                    </a:lnTo>
                    <a:lnTo>
                      <a:pt x="68" y="13"/>
                    </a:lnTo>
                    <a:lnTo>
                      <a:pt x="68" y="13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3" y="18"/>
                    </a:lnTo>
                    <a:lnTo>
                      <a:pt x="63" y="18"/>
                    </a:lnTo>
                    <a:lnTo>
                      <a:pt x="63" y="18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32"/>
                    </a:lnTo>
                    <a:lnTo>
                      <a:pt x="68" y="32"/>
                    </a:lnTo>
                    <a:lnTo>
                      <a:pt x="68" y="36"/>
                    </a:lnTo>
                    <a:lnTo>
                      <a:pt x="72" y="41"/>
                    </a:lnTo>
                    <a:lnTo>
                      <a:pt x="72" y="41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3" y="54"/>
                    </a:lnTo>
                    <a:lnTo>
                      <a:pt x="63" y="54"/>
                    </a:lnTo>
                    <a:lnTo>
                      <a:pt x="63" y="54"/>
                    </a:lnTo>
                    <a:lnTo>
                      <a:pt x="63" y="59"/>
                    </a:lnTo>
                    <a:lnTo>
                      <a:pt x="63" y="59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4" y="59"/>
                    </a:lnTo>
                    <a:lnTo>
                      <a:pt x="54" y="63"/>
                    </a:lnTo>
                    <a:lnTo>
                      <a:pt x="54" y="63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9" y="72"/>
                    </a:lnTo>
                    <a:lnTo>
                      <a:pt x="59" y="72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4" y="77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59" y="77"/>
                    </a:lnTo>
                    <a:lnTo>
                      <a:pt x="63" y="77"/>
                    </a:lnTo>
                    <a:lnTo>
                      <a:pt x="63" y="77"/>
                    </a:lnTo>
                    <a:lnTo>
                      <a:pt x="68" y="81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90"/>
                    </a:lnTo>
                    <a:lnTo>
                      <a:pt x="81" y="90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7" y="95"/>
                    </a:lnTo>
                    <a:lnTo>
                      <a:pt x="72" y="95"/>
                    </a:lnTo>
                    <a:lnTo>
                      <a:pt x="72" y="95"/>
                    </a:lnTo>
                    <a:lnTo>
                      <a:pt x="72" y="95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3" y="95"/>
                    </a:lnTo>
                    <a:lnTo>
                      <a:pt x="63" y="95"/>
                    </a:lnTo>
                    <a:lnTo>
                      <a:pt x="63" y="95"/>
                    </a:lnTo>
                    <a:lnTo>
                      <a:pt x="63" y="99"/>
                    </a:lnTo>
                    <a:lnTo>
                      <a:pt x="63" y="99"/>
                    </a:lnTo>
                    <a:lnTo>
                      <a:pt x="63" y="104"/>
                    </a:lnTo>
                    <a:lnTo>
                      <a:pt x="63" y="104"/>
                    </a:lnTo>
                    <a:lnTo>
                      <a:pt x="63" y="104"/>
                    </a:lnTo>
                    <a:lnTo>
                      <a:pt x="63" y="104"/>
                    </a:lnTo>
                    <a:lnTo>
                      <a:pt x="63" y="104"/>
                    </a:lnTo>
                    <a:lnTo>
                      <a:pt x="63" y="104"/>
                    </a:lnTo>
                    <a:lnTo>
                      <a:pt x="63" y="104"/>
                    </a:lnTo>
                    <a:lnTo>
                      <a:pt x="59" y="104"/>
                    </a:lnTo>
                    <a:lnTo>
                      <a:pt x="54" y="104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54" y="104"/>
                    </a:lnTo>
                    <a:lnTo>
                      <a:pt x="50" y="104"/>
                    </a:lnTo>
                    <a:lnTo>
                      <a:pt x="45" y="104"/>
                    </a:lnTo>
                    <a:lnTo>
                      <a:pt x="45" y="104"/>
                    </a:lnTo>
                    <a:lnTo>
                      <a:pt x="45" y="104"/>
                    </a:lnTo>
                    <a:lnTo>
                      <a:pt x="45" y="108"/>
                    </a:lnTo>
                    <a:lnTo>
                      <a:pt x="45" y="108"/>
                    </a:lnTo>
                    <a:lnTo>
                      <a:pt x="45" y="108"/>
                    </a:lnTo>
                    <a:lnTo>
                      <a:pt x="45" y="108"/>
                    </a:lnTo>
                    <a:lnTo>
                      <a:pt x="45" y="108"/>
                    </a:lnTo>
                    <a:lnTo>
                      <a:pt x="41" y="108"/>
                    </a:lnTo>
                    <a:lnTo>
                      <a:pt x="36" y="104"/>
                    </a:lnTo>
                    <a:lnTo>
                      <a:pt x="36" y="104"/>
                    </a:lnTo>
                    <a:lnTo>
                      <a:pt x="36" y="104"/>
                    </a:lnTo>
                    <a:lnTo>
                      <a:pt x="36" y="104"/>
                    </a:lnTo>
                    <a:lnTo>
                      <a:pt x="36" y="104"/>
                    </a:lnTo>
                    <a:lnTo>
                      <a:pt x="36" y="99"/>
                    </a:lnTo>
                    <a:lnTo>
                      <a:pt x="36" y="99"/>
                    </a:lnTo>
                    <a:lnTo>
                      <a:pt x="36" y="104"/>
                    </a:lnTo>
                    <a:lnTo>
                      <a:pt x="32" y="99"/>
                    </a:lnTo>
                    <a:lnTo>
                      <a:pt x="32" y="104"/>
                    </a:lnTo>
                    <a:lnTo>
                      <a:pt x="27" y="99"/>
                    </a:lnTo>
                    <a:lnTo>
                      <a:pt x="32" y="99"/>
                    </a:lnTo>
                    <a:lnTo>
                      <a:pt x="32" y="99"/>
                    </a:lnTo>
                    <a:lnTo>
                      <a:pt x="32" y="95"/>
                    </a:lnTo>
                    <a:lnTo>
                      <a:pt x="32" y="95"/>
                    </a:lnTo>
                    <a:lnTo>
                      <a:pt x="32" y="90"/>
                    </a:lnTo>
                    <a:lnTo>
                      <a:pt x="32" y="90"/>
                    </a:lnTo>
                    <a:lnTo>
                      <a:pt x="32" y="90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2" y="90"/>
                    </a:lnTo>
                    <a:lnTo>
                      <a:pt x="32" y="90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3" y="77"/>
                    </a:lnTo>
                    <a:lnTo>
                      <a:pt x="23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4" y="72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9" y="72"/>
                    </a:lnTo>
                    <a:lnTo>
                      <a:pt x="9" y="68"/>
                    </a:lnTo>
                    <a:lnTo>
                      <a:pt x="5" y="68"/>
                    </a:lnTo>
                    <a:lnTo>
                      <a:pt x="5" y="68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0" y="63"/>
                    </a:lnTo>
                    <a:lnTo>
                      <a:pt x="5" y="63"/>
                    </a:lnTo>
                    <a:lnTo>
                      <a:pt x="5" y="59"/>
                    </a:lnTo>
                    <a:lnTo>
                      <a:pt x="5" y="59"/>
                    </a:lnTo>
                    <a:lnTo>
                      <a:pt x="5" y="54"/>
                    </a:lnTo>
                    <a:lnTo>
                      <a:pt x="5" y="54"/>
                    </a:lnTo>
                    <a:lnTo>
                      <a:pt x="5" y="54"/>
                    </a:lnTo>
                    <a:lnTo>
                      <a:pt x="5" y="54"/>
                    </a:lnTo>
                    <a:lnTo>
                      <a:pt x="5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50" y="13"/>
                    </a:lnTo>
                    <a:lnTo>
                      <a:pt x="50" y="13"/>
                    </a:lnTo>
                    <a:lnTo>
                      <a:pt x="50" y="13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5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13" name="Freeform 134"/>
              <p:cNvSpPr>
                <a:spLocks/>
              </p:cNvSpPr>
              <p:nvPr/>
            </p:nvSpPr>
            <p:spPr bwMode="auto">
              <a:xfrm>
                <a:off x="4054476" y="1689101"/>
                <a:ext cx="93663" cy="158750"/>
              </a:xfrm>
              <a:custGeom>
                <a:avLst/>
                <a:gdLst>
                  <a:gd name="T0" fmla="*/ 28 w 59"/>
                  <a:gd name="T1" fmla="*/ 9 h 100"/>
                  <a:gd name="T2" fmla="*/ 32 w 59"/>
                  <a:gd name="T3" fmla="*/ 5 h 100"/>
                  <a:gd name="T4" fmla="*/ 37 w 59"/>
                  <a:gd name="T5" fmla="*/ 5 h 100"/>
                  <a:gd name="T6" fmla="*/ 41 w 59"/>
                  <a:gd name="T7" fmla="*/ 5 h 100"/>
                  <a:gd name="T8" fmla="*/ 41 w 59"/>
                  <a:gd name="T9" fmla="*/ 5 h 100"/>
                  <a:gd name="T10" fmla="*/ 46 w 59"/>
                  <a:gd name="T11" fmla="*/ 5 h 100"/>
                  <a:gd name="T12" fmla="*/ 50 w 59"/>
                  <a:gd name="T13" fmla="*/ 5 h 100"/>
                  <a:gd name="T14" fmla="*/ 50 w 59"/>
                  <a:gd name="T15" fmla="*/ 5 h 100"/>
                  <a:gd name="T16" fmla="*/ 55 w 59"/>
                  <a:gd name="T17" fmla="*/ 5 h 100"/>
                  <a:gd name="T18" fmla="*/ 55 w 59"/>
                  <a:gd name="T19" fmla="*/ 9 h 100"/>
                  <a:gd name="T20" fmla="*/ 55 w 59"/>
                  <a:gd name="T21" fmla="*/ 9 h 100"/>
                  <a:gd name="T22" fmla="*/ 59 w 59"/>
                  <a:gd name="T23" fmla="*/ 14 h 100"/>
                  <a:gd name="T24" fmla="*/ 55 w 59"/>
                  <a:gd name="T25" fmla="*/ 14 h 100"/>
                  <a:gd name="T26" fmla="*/ 50 w 59"/>
                  <a:gd name="T27" fmla="*/ 18 h 100"/>
                  <a:gd name="T28" fmla="*/ 46 w 59"/>
                  <a:gd name="T29" fmla="*/ 23 h 100"/>
                  <a:gd name="T30" fmla="*/ 46 w 59"/>
                  <a:gd name="T31" fmla="*/ 27 h 100"/>
                  <a:gd name="T32" fmla="*/ 46 w 59"/>
                  <a:gd name="T33" fmla="*/ 32 h 100"/>
                  <a:gd name="T34" fmla="*/ 46 w 59"/>
                  <a:gd name="T35" fmla="*/ 36 h 100"/>
                  <a:gd name="T36" fmla="*/ 41 w 59"/>
                  <a:gd name="T37" fmla="*/ 36 h 100"/>
                  <a:gd name="T38" fmla="*/ 46 w 59"/>
                  <a:gd name="T39" fmla="*/ 41 h 100"/>
                  <a:gd name="T40" fmla="*/ 41 w 59"/>
                  <a:gd name="T41" fmla="*/ 45 h 100"/>
                  <a:gd name="T42" fmla="*/ 41 w 59"/>
                  <a:gd name="T43" fmla="*/ 45 h 100"/>
                  <a:gd name="T44" fmla="*/ 32 w 59"/>
                  <a:gd name="T45" fmla="*/ 50 h 100"/>
                  <a:gd name="T46" fmla="*/ 37 w 59"/>
                  <a:gd name="T47" fmla="*/ 50 h 100"/>
                  <a:gd name="T48" fmla="*/ 41 w 59"/>
                  <a:gd name="T49" fmla="*/ 59 h 100"/>
                  <a:gd name="T50" fmla="*/ 41 w 59"/>
                  <a:gd name="T51" fmla="*/ 64 h 100"/>
                  <a:gd name="T52" fmla="*/ 37 w 59"/>
                  <a:gd name="T53" fmla="*/ 64 h 100"/>
                  <a:gd name="T54" fmla="*/ 37 w 59"/>
                  <a:gd name="T55" fmla="*/ 68 h 100"/>
                  <a:gd name="T56" fmla="*/ 41 w 59"/>
                  <a:gd name="T57" fmla="*/ 77 h 100"/>
                  <a:gd name="T58" fmla="*/ 41 w 59"/>
                  <a:gd name="T59" fmla="*/ 77 h 100"/>
                  <a:gd name="T60" fmla="*/ 37 w 59"/>
                  <a:gd name="T61" fmla="*/ 82 h 100"/>
                  <a:gd name="T62" fmla="*/ 32 w 59"/>
                  <a:gd name="T63" fmla="*/ 86 h 100"/>
                  <a:gd name="T64" fmla="*/ 32 w 59"/>
                  <a:gd name="T65" fmla="*/ 95 h 100"/>
                  <a:gd name="T66" fmla="*/ 23 w 59"/>
                  <a:gd name="T67" fmla="*/ 100 h 100"/>
                  <a:gd name="T68" fmla="*/ 14 w 59"/>
                  <a:gd name="T69" fmla="*/ 95 h 100"/>
                  <a:gd name="T70" fmla="*/ 9 w 59"/>
                  <a:gd name="T71" fmla="*/ 95 h 100"/>
                  <a:gd name="T72" fmla="*/ 9 w 59"/>
                  <a:gd name="T73" fmla="*/ 91 h 100"/>
                  <a:gd name="T74" fmla="*/ 9 w 59"/>
                  <a:gd name="T75" fmla="*/ 82 h 100"/>
                  <a:gd name="T76" fmla="*/ 14 w 59"/>
                  <a:gd name="T77" fmla="*/ 73 h 100"/>
                  <a:gd name="T78" fmla="*/ 14 w 59"/>
                  <a:gd name="T79" fmla="*/ 68 h 100"/>
                  <a:gd name="T80" fmla="*/ 9 w 59"/>
                  <a:gd name="T81" fmla="*/ 68 h 100"/>
                  <a:gd name="T82" fmla="*/ 5 w 59"/>
                  <a:gd name="T83" fmla="*/ 68 h 100"/>
                  <a:gd name="T84" fmla="*/ 5 w 59"/>
                  <a:gd name="T85" fmla="*/ 64 h 100"/>
                  <a:gd name="T86" fmla="*/ 9 w 59"/>
                  <a:gd name="T87" fmla="*/ 64 h 100"/>
                  <a:gd name="T88" fmla="*/ 14 w 59"/>
                  <a:gd name="T89" fmla="*/ 59 h 100"/>
                  <a:gd name="T90" fmla="*/ 9 w 59"/>
                  <a:gd name="T91" fmla="*/ 64 h 100"/>
                  <a:gd name="T92" fmla="*/ 5 w 59"/>
                  <a:gd name="T93" fmla="*/ 64 h 100"/>
                  <a:gd name="T94" fmla="*/ 0 w 59"/>
                  <a:gd name="T95" fmla="*/ 64 h 100"/>
                  <a:gd name="T96" fmla="*/ 5 w 59"/>
                  <a:gd name="T97" fmla="*/ 59 h 100"/>
                  <a:gd name="T98" fmla="*/ 5 w 59"/>
                  <a:gd name="T99" fmla="*/ 54 h 100"/>
                  <a:gd name="T100" fmla="*/ 9 w 59"/>
                  <a:gd name="T101" fmla="*/ 50 h 100"/>
                  <a:gd name="T102" fmla="*/ 14 w 59"/>
                  <a:gd name="T103" fmla="*/ 36 h 100"/>
                  <a:gd name="T104" fmla="*/ 19 w 59"/>
                  <a:gd name="T105" fmla="*/ 32 h 100"/>
                  <a:gd name="T106" fmla="*/ 19 w 59"/>
                  <a:gd name="T107" fmla="*/ 23 h 100"/>
                  <a:gd name="T108" fmla="*/ 19 w 59"/>
                  <a:gd name="T109" fmla="*/ 18 h 100"/>
                  <a:gd name="T110" fmla="*/ 19 w 59"/>
                  <a:gd name="T111" fmla="*/ 9 h 100"/>
                  <a:gd name="T112" fmla="*/ 19 w 59"/>
                  <a:gd name="T113" fmla="*/ 9 h 100"/>
                  <a:gd name="T114" fmla="*/ 19 w 59"/>
                  <a:gd name="T115" fmla="*/ 5 h 100"/>
                  <a:gd name="T116" fmla="*/ 28 w 59"/>
                  <a:gd name="T117" fmla="*/ 0 h 100"/>
                  <a:gd name="T118" fmla="*/ 28 w 59"/>
                  <a:gd name="T119" fmla="*/ 0 h 100"/>
                  <a:gd name="T120" fmla="*/ 28 w 59"/>
                  <a:gd name="T121" fmla="*/ 5 h 100"/>
                  <a:gd name="T122" fmla="*/ 28 w 59"/>
                  <a:gd name="T123" fmla="*/ 5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9" h="100">
                    <a:moveTo>
                      <a:pt x="28" y="5"/>
                    </a:moveTo>
                    <a:lnTo>
                      <a:pt x="28" y="5"/>
                    </a:lnTo>
                    <a:lnTo>
                      <a:pt x="28" y="9"/>
                    </a:lnTo>
                    <a:lnTo>
                      <a:pt x="28" y="9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7" y="5"/>
                    </a:lnTo>
                    <a:lnTo>
                      <a:pt x="37" y="5"/>
                    </a:lnTo>
                    <a:lnTo>
                      <a:pt x="37" y="5"/>
                    </a:lnTo>
                    <a:lnTo>
                      <a:pt x="37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6" y="5"/>
                    </a:lnTo>
                    <a:lnTo>
                      <a:pt x="46" y="5"/>
                    </a:lnTo>
                    <a:lnTo>
                      <a:pt x="46" y="5"/>
                    </a:lnTo>
                    <a:lnTo>
                      <a:pt x="46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5" y="5"/>
                    </a:lnTo>
                    <a:lnTo>
                      <a:pt x="55" y="5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59" y="9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5" y="14"/>
                    </a:lnTo>
                    <a:lnTo>
                      <a:pt x="55" y="14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6" y="23"/>
                    </a:lnTo>
                    <a:lnTo>
                      <a:pt x="46" y="23"/>
                    </a:lnTo>
                    <a:lnTo>
                      <a:pt x="46" y="23"/>
                    </a:lnTo>
                    <a:lnTo>
                      <a:pt x="46" y="23"/>
                    </a:lnTo>
                    <a:lnTo>
                      <a:pt x="46" y="27"/>
                    </a:lnTo>
                    <a:lnTo>
                      <a:pt x="46" y="27"/>
                    </a:lnTo>
                    <a:lnTo>
                      <a:pt x="46" y="32"/>
                    </a:lnTo>
                    <a:lnTo>
                      <a:pt x="46" y="32"/>
                    </a:lnTo>
                    <a:lnTo>
                      <a:pt x="46" y="32"/>
                    </a:lnTo>
                    <a:lnTo>
                      <a:pt x="46" y="32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41" y="45"/>
                    </a:lnTo>
                    <a:lnTo>
                      <a:pt x="41" y="45"/>
                    </a:lnTo>
                    <a:lnTo>
                      <a:pt x="41" y="45"/>
                    </a:lnTo>
                    <a:lnTo>
                      <a:pt x="41" y="45"/>
                    </a:lnTo>
                    <a:lnTo>
                      <a:pt x="37" y="45"/>
                    </a:lnTo>
                    <a:lnTo>
                      <a:pt x="32" y="45"/>
                    </a:lnTo>
                    <a:lnTo>
                      <a:pt x="32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4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37" y="64"/>
                    </a:lnTo>
                    <a:lnTo>
                      <a:pt x="37" y="64"/>
                    </a:lnTo>
                    <a:lnTo>
                      <a:pt x="37" y="68"/>
                    </a:lnTo>
                    <a:lnTo>
                      <a:pt x="37" y="68"/>
                    </a:lnTo>
                    <a:lnTo>
                      <a:pt x="37" y="68"/>
                    </a:lnTo>
                    <a:lnTo>
                      <a:pt x="37" y="68"/>
                    </a:lnTo>
                    <a:lnTo>
                      <a:pt x="37" y="77"/>
                    </a:lnTo>
                    <a:lnTo>
                      <a:pt x="41" y="77"/>
                    </a:lnTo>
                    <a:lnTo>
                      <a:pt x="41" y="77"/>
                    </a:lnTo>
                    <a:lnTo>
                      <a:pt x="41" y="77"/>
                    </a:lnTo>
                    <a:lnTo>
                      <a:pt x="41" y="77"/>
                    </a:lnTo>
                    <a:lnTo>
                      <a:pt x="37" y="77"/>
                    </a:lnTo>
                    <a:lnTo>
                      <a:pt x="37" y="77"/>
                    </a:lnTo>
                    <a:lnTo>
                      <a:pt x="37" y="82"/>
                    </a:lnTo>
                    <a:lnTo>
                      <a:pt x="32" y="82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32" y="91"/>
                    </a:lnTo>
                    <a:lnTo>
                      <a:pt x="32" y="95"/>
                    </a:lnTo>
                    <a:lnTo>
                      <a:pt x="32" y="95"/>
                    </a:lnTo>
                    <a:lnTo>
                      <a:pt x="23" y="100"/>
                    </a:lnTo>
                    <a:lnTo>
                      <a:pt x="23" y="100"/>
                    </a:lnTo>
                    <a:lnTo>
                      <a:pt x="19" y="95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9" y="95"/>
                    </a:lnTo>
                    <a:lnTo>
                      <a:pt x="9" y="95"/>
                    </a:lnTo>
                    <a:lnTo>
                      <a:pt x="9" y="95"/>
                    </a:lnTo>
                    <a:lnTo>
                      <a:pt x="5" y="95"/>
                    </a:lnTo>
                    <a:lnTo>
                      <a:pt x="9" y="95"/>
                    </a:lnTo>
                    <a:lnTo>
                      <a:pt x="9" y="91"/>
                    </a:lnTo>
                    <a:lnTo>
                      <a:pt x="9" y="86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9" y="77"/>
                    </a:lnTo>
                    <a:lnTo>
                      <a:pt x="14" y="73"/>
                    </a:lnTo>
                    <a:lnTo>
                      <a:pt x="9" y="68"/>
                    </a:lnTo>
                    <a:lnTo>
                      <a:pt x="14" y="73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5" y="73"/>
                    </a:lnTo>
                    <a:lnTo>
                      <a:pt x="5" y="68"/>
                    </a:lnTo>
                    <a:lnTo>
                      <a:pt x="5" y="68"/>
                    </a:lnTo>
                    <a:lnTo>
                      <a:pt x="5" y="68"/>
                    </a:lnTo>
                    <a:lnTo>
                      <a:pt x="5" y="64"/>
                    </a:lnTo>
                    <a:lnTo>
                      <a:pt x="9" y="64"/>
                    </a:lnTo>
                    <a:lnTo>
                      <a:pt x="9" y="64"/>
                    </a:lnTo>
                    <a:lnTo>
                      <a:pt x="9" y="64"/>
                    </a:lnTo>
                    <a:lnTo>
                      <a:pt x="9" y="64"/>
                    </a:lnTo>
                    <a:lnTo>
                      <a:pt x="9" y="59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9" y="59"/>
                    </a:lnTo>
                    <a:lnTo>
                      <a:pt x="9" y="64"/>
                    </a:lnTo>
                    <a:lnTo>
                      <a:pt x="9" y="64"/>
                    </a:lnTo>
                    <a:lnTo>
                      <a:pt x="5" y="64"/>
                    </a:lnTo>
                    <a:lnTo>
                      <a:pt x="5" y="64"/>
                    </a:lnTo>
                    <a:lnTo>
                      <a:pt x="5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5" y="59"/>
                    </a:lnTo>
                    <a:lnTo>
                      <a:pt x="5" y="59"/>
                    </a:lnTo>
                    <a:lnTo>
                      <a:pt x="5" y="54"/>
                    </a:lnTo>
                    <a:lnTo>
                      <a:pt x="5" y="54"/>
                    </a:lnTo>
                    <a:lnTo>
                      <a:pt x="5" y="54"/>
                    </a:lnTo>
                    <a:lnTo>
                      <a:pt x="5" y="54"/>
                    </a:lnTo>
                    <a:lnTo>
                      <a:pt x="5" y="50"/>
                    </a:lnTo>
                    <a:lnTo>
                      <a:pt x="9" y="50"/>
                    </a:lnTo>
                    <a:lnTo>
                      <a:pt x="9" y="45"/>
                    </a:lnTo>
                    <a:lnTo>
                      <a:pt x="14" y="41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2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19" y="23"/>
                    </a:lnTo>
                    <a:lnTo>
                      <a:pt x="19" y="23"/>
                    </a:lnTo>
                    <a:lnTo>
                      <a:pt x="19" y="23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9" y="14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5"/>
                    </a:lnTo>
                    <a:lnTo>
                      <a:pt x="28" y="5"/>
                    </a:lnTo>
                    <a:lnTo>
                      <a:pt x="28" y="5"/>
                    </a:lnTo>
                    <a:lnTo>
                      <a:pt x="28" y="5"/>
                    </a:lnTo>
                    <a:lnTo>
                      <a:pt x="28" y="5"/>
                    </a:lnTo>
                    <a:lnTo>
                      <a:pt x="28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14" name="Freeform 135"/>
              <p:cNvSpPr>
                <a:spLocks/>
              </p:cNvSpPr>
              <p:nvPr/>
            </p:nvSpPr>
            <p:spPr bwMode="auto">
              <a:xfrm>
                <a:off x="2598738" y="3541714"/>
                <a:ext cx="236538" cy="250825"/>
              </a:xfrm>
              <a:custGeom>
                <a:avLst/>
                <a:gdLst>
                  <a:gd name="T0" fmla="*/ 82 w 149"/>
                  <a:gd name="T1" fmla="*/ 54 h 158"/>
                  <a:gd name="T2" fmla="*/ 86 w 149"/>
                  <a:gd name="T3" fmla="*/ 54 h 158"/>
                  <a:gd name="T4" fmla="*/ 95 w 149"/>
                  <a:gd name="T5" fmla="*/ 58 h 158"/>
                  <a:gd name="T6" fmla="*/ 100 w 149"/>
                  <a:gd name="T7" fmla="*/ 54 h 158"/>
                  <a:gd name="T8" fmla="*/ 104 w 149"/>
                  <a:gd name="T9" fmla="*/ 54 h 158"/>
                  <a:gd name="T10" fmla="*/ 113 w 149"/>
                  <a:gd name="T11" fmla="*/ 58 h 158"/>
                  <a:gd name="T12" fmla="*/ 118 w 149"/>
                  <a:gd name="T13" fmla="*/ 63 h 158"/>
                  <a:gd name="T14" fmla="*/ 118 w 149"/>
                  <a:gd name="T15" fmla="*/ 68 h 158"/>
                  <a:gd name="T16" fmla="*/ 122 w 149"/>
                  <a:gd name="T17" fmla="*/ 77 h 158"/>
                  <a:gd name="T18" fmla="*/ 122 w 149"/>
                  <a:gd name="T19" fmla="*/ 81 h 158"/>
                  <a:gd name="T20" fmla="*/ 127 w 149"/>
                  <a:gd name="T21" fmla="*/ 86 h 158"/>
                  <a:gd name="T22" fmla="*/ 131 w 149"/>
                  <a:gd name="T23" fmla="*/ 90 h 158"/>
                  <a:gd name="T24" fmla="*/ 140 w 149"/>
                  <a:gd name="T25" fmla="*/ 86 h 158"/>
                  <a:gd name="T26" fmla="*/ 145 w 149"/>
                  <a:gd name="T27" fmla="*/ 90 h 158"/>
                  <a:gd name="T28" fmla="*/ 145 w 149"/>
                  <a:gd name="T29" fmla="*/ 99 h 158"/>
                  <a:gd name="T30" fmla="*/ 145 w 149"/>
                  <a:gd name="T31" fmla="*/ 117 h 158"/>
                  <a:gd name="T32" fmla="*/ 145 w 149"/>
                  <a:gd name="T33" fmla="*/ 140 h 158"/>
                  <a:gd name="T34" fmla="*/ 145 w 149"/>
                  <a:gd name="T35" fmla="*/ 144 h 158"/>
                  <a:gd name="T36" fmla="*/ 136 w 149"/>
                  <a:gd name="T37" fmla="*/ 149 h 158"/>
                  <a:gd name="T38" fmla="*/ 136 w 149"/>
                  <a:gd name="T39" fmla="*/ 153 h 158"/>
                  <a:gd name="T40" fmla="*/ 131 w 149"/>
                  <a:gd name="T41" fmla="*/ 153 h 158"/>
                  <a:gd name="T42" fmla="*/ 122 w 149"/>
                  <a:gd name="T43" fmla="*/ 158 h 158"/>
                  <a:gd name="T44" fmla="*/ 118 w 149"/>
                  <a:gd name="T45" fmla="*/ 158 h 158"/>
                  <a:gd name="T46" fmla="*/ 100 w 149"/>
                  <a:gd name="T47" fmla="*/ 153 h 158"/>
                  <a:gd name="T48" fmla="*/ 86 w 149"/>
                  <a:gd name="T49" fmla="*/ 149 h 158"/>
                  <a:gd name="T50" fmla="*/ 91 w 149"/>
                  <a:gd name="T51" fmla="*/ 144 h 158"/>
                  <a:gd name="T52" fmla="*/ 91 w 149"/>
                  <a:gd name="T53" fmla="*/ 144 h 158"/>
                  <a:gd name="T54" fmla="*/ 91 w 149"/>
                  <a:gd name="T55" fmla="*/ 135 h 158"/>
                  <a:gd name="T56" fmla="*/ 91 w 149"/>
                  <a:gd name="T57" fmla="*/ 131 h 158"/>
                  <a:gd name="T58" fmla="*/ 91 w 149"/>
                  <a:gd name="T59" fmla="*/ 126 h 158"/>
                  <a:gd name="T60" fmla="*/ 95 w 149"/>
                  <a:gd name="T61" fmla="*/ 122 h 158"/>
                  <a:gd name="T62" fmla="*/ 91 w 149"/>
                  <a:gd name="T63" fmla="*/ 113 h 158"/>
                  <a:gd name="T64" fmla="*/ 82 w 149"/>
                  <a:gd name="T65" fmla="*/ 108 h 158"/>
                  <a:gd name="T66" fmla="*/ 64 w 149"/>
                  <a:gd name="T67" fmla="*/ 99 h 158"/>
                  <a:gd name="T68" fmla="*/ 46 w 149"/>
                  <a:gd name="T69" fmla="*/ 90 h 158"/>
                  <a:gd name="T70" fmla="*/ 27 w 149"/>
                  <a:gd name="T71" fmla="*/ 86 h 158"/>
                  <a:gd name="T72" fmla="*/ 18 w 149"/>
                  <a:gd name="T73" fmla="*/ 77 h 158"/>
                  <a:gd name="T74" fmla="*/ 5 w 149"/>
                  <a:gd name="T75" fmla="*/ 63 h 158"/>
                  <a:gd name="T76" fmla="*/ 0 w 149"/>
                  <a:gd name="T77" fmla="*/ 58 h 158"/>
                  <a:gd name="T78" fmla="*/ 0 w 149"/>
                  <a:gd name="T79" fmla="*/ 31 h 158"/>
                  <a:gd name="T80" fmla="*/ 5 w 149"/>
                  <a:gd name="T81" fmla="*/ 13 h 158"/>
                  <a:gd name="T82" fmla="*/ 27 w 149"/>
                  <a:gd name="T83" fmla="*/ 4 h 158"/>
                  <a:gd name="T84" fmla="*/ 59 w 149"/>
                  <a:gd name="T85" fmla="*/ 9 h 158"/>
                  <a:gd name="T86" fmla="*/ 68 w 149"/>
                  <a:gd name="T87" fmla="*/ 18 h 158"/>
                  <a:gd name="T88" fmla="*/ 73 w 149"/>
                  <a:gd name="T89" fmla="*/ 22 h 158"/>
                  <a:gd name="T90" fmla="*/ 73 w 149"/>
                  <a:gd name="T91" fmla="*/ 27 h 158"/>
                  <a:gd name="T92" fmla="*/ 73 w 149"/>
                  <a:gd name="T93" fmla="*/ 31 h 158"/>
                  <a:gd name="T94" fmla="*/ 77 w 149"/>
                  <a:gd name="T95" fmla="*/ 36 h 158"/>
                  <a:gd name="T96" fmla="*/ 77 w 149"/>
                  <a:gd name="T97" fmla="*/ 40 h 158"/>
                  <a:gd name="T98" fmla="*/ 77 w 149"/>
                  <a:gd name="T99" fmla="*/ 49 h 158"/>
                  <a:gd name="T100" fmla="*/ 77 w 149"/>
                  <a:gd name="T101" fmla="*/ 54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49" h="158">
                    <a:moveTo>
                      <a:pt x="77" y="54"/>
                    </a:moveTo>
                    <a:lnTo>
                      <a:pt x="77" y="54"/>
                    </a:lnTo>
                    <a:lnTo>
                      <a:pt x="77" y="54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86" y="54"/>
                    </a:lnTo>
                    <a:lnTo>
                      <a:pt x="86" y="54"/>
                    </a:lnTo>
                    <a:lnTo>
                      <a:pt x="86" y="54"/>
                    </a:lnTo>
                    <a:lnTo>
                      <a:pt x="91" y="54"/>
                    </a:lnTo>
                    <a:lnTo>
                      <a:pt x="91" y="54"/>
                    </a:lnTo>
                    <a:lnTo>
                      <a:pt x="95" y="58"/>
                    </a:lnTo>
                    <a:lnTo>
                      <a:pt x="95" y="58"/>
                    </a:lnTo>
                    <a:lnTo>
                      <a:pt x="95" y="58"/>
                    </a:lnTo>
                    <a:lnTo>
                      <a:pt x="95" y="58"/>
                    </a:lnTo>
                    <a:lnTo>
                      <a:pt x="100" y="58"/>
                    </a:lnTo>
                    <a:lnTo>
                      <a:pt x="100" y="58"/>
                    </a:lnTo>
                    <a:lnTo>
                      <a:pt x="100" y="54"/>
                    </a:lnTo>
                    <a:lnTo>
                      <a:pt x="100" y="54"/>
                    </a:lnTo>
                    <a:lnTo>
                      <a:pt x="100" y="54"/>
                    </a:lnTo>
                    <a:lnTo>
                      <a:pt x="104" y="54"/>
                    </a:lnTo>
                    <a:lnTo>
                      <a:pt x="104" y="54"/>
                    </a:lnTo>
                    <a:lnTo>
                      <a:pt x="104" y="54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9" y="58"/>
                    </a:lnTo>
                    <a:lnTo>
                      <a:pt x="109" y="58"/>
                    </a:lnTo>
                    <a:lnTo>
                      <a:pt x="109" y="58"/>
                    </a:lnTo>
                    <a:lnTo>
                      <a:pt x="113" y="58"/>
                    </a:lnTo>
                    <a:lnTo>
                      <a:pt x="113" y="58"/>
                    </a:lnTo>
                    <a:lnTo>
                      <a:pt x="113" y="58"/>
                    </a:lnTo>
                    <a:lnTo>
                      <a:pt x="113" y="58"/>
                    </a:lnTo>
                    <a:lnTo>
                      <a:pt x="113" y="63"/>
                    </a:lnTo>
                    <a:lnTo>
                      <a:pt x="118" y="63"/>
                    </a:lnTo>
                    <a:lnTo>
                      <a:pt x="118" y="63"/>
                    </a:lnTo>
                    <a:lnTo>
                      <a:pt x="118" y="63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22" y="72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22" y="81"/>
                    </a:lnTo>
                    <a:lnTo>
                      <a:pt x="122" y="81"/>
                    </a:lnTo>
                    <a:lnTo>
                      <a:pt x="122" y="81"/>
                    </a:lnTo>
                    <a:lnTo>
                      <a:pt x="122" y="81"/>
                    </a:lnTo>
                    <a:lnTo>
                      <a:pt x="122" y="86"/>
                    </a:lnTo>
                    <a:lnTo>
                      <a:pt x="127" y="86"/>
                    </a:lnTo>
                    <a:lnTo>
                      <a:pt x="127" y="86"/>
                    </a:lnTo>
                    <a:lnTo>
                      <a:pt x="127" y="90"/>
                    </a:lnTo>
                    <a:lnTo>
                      <a:pt x="127" y="90"/>
                    </a:lnTo>
                    <a:lnTo>
                      <a:pt x="127" y="90"/>
                    </a:lnTo>
                    <a:lnTo>
                      <a:pt x="131" y="90"/>
                    </a:lnTo>
                    <a:lnTo>
                      <a:pt x="131" y="90"/>
                    </a:lnTo>
                    <a:lnTo>
                      <a:pt x="131" y="90"/>
                    </a:lnTo>
                    <a:lnTo>
                      <a:pt x="136" y="90"/>
                    </a:lnTo>
                    <a:lnTo>
                      <a:pt x="136" y="86"/>
                    </a:lnTo>
                    <a:lnTo>
                      <a:pt x="136" y="86"/>
                    </a:lnTo>
                    <a:lnTo>
                      <a:pt x="140" y="86"/>
                    </a:lnTo>
                    <a:lnTo>
                      <a:pt x="140" y="86"/>
                    </a:lnTo>
                    <a:lnTo>
                      <a:pt x="140" y="86"/>
                    </a:lnTo>
                    <a:lnTo>
                      <a:pt x="140" y="86"/>
                    </a:lnTo>
                    <a:lnTo>
                      <a:pt x="145" y="90"/>
                    </a:lnTo>
                    <a:lnTo>
                      <a:pt x="145" y="90"/>
                    </a:lnTo>
                    <a:lnTo>
                      <a:pt x="145" y="90"/>
                    </a:lnTo>
                    <a:lnTo>
                      <a:pt x="145" y="90"/>
                    </a:lnTo>
                    <a:lnTo>
                      <a:pt x="145" y="95"/>
                    </a:lnTo>
                    <a:lnTo>
                      <a:pt x="145" y="95"/>
                    </a:lnTo>
                    <a:lnTo>
                      <a:pt x="145" y="99"/>
                    </a:lnTo>
                    <a:lnTo>
                      <a:pt x="145" y="108"/>
                    </a:lnTo>
                    <a:lnTo>
                      <a:pt x="145" y="108"/>
                    </a:lnTo>
                    <a:lnTo>
                      <a:pt x="145" y="113"/>
                    </a:lnTo>
                    <a:lnTo>
                      <a:pt x="145" y="113"/>
                    </a:lnTo>
                    <a:lnTo>
                      <a:pt x="145" y="117"/>
                    </a:lnTo>
                    <a:lnTo>
                      <a:pt x="145" y="122"/>
                    </a:lnTo>
                    <a:lnTo>
                      <a:pt x="145" y="126"/>
                    </a:lnTo>
                    <a:lnTo>
                      <a:pt x="149" y="135"/>
                    </a:lnTo>
                    <a:lnTo>
                      <a:pt x="145" y="140"/>
                    </a:lnTo>
                    <a:lnTo>
                      <a:pt x="145" y="140"/>
                    </a:lnTo>
                    <a:lnTo>
                      <a:pt x="145" y="140"/>
                    </a:lnTo>
                    <a:lnTo>
                      <a:pt x="145" y="140"/>
                    </a:lnTo>
                    <a:lnTo>
                      <a:pt x="145" y="144"/>
                    </a:lnTo>
                    <a:lnTo>
                      <a:pt x="145" y="144"/>
                    </a:lnTo>
                    <a:lnTo>
                      <a:pt x="145" y="144"/>
                    </a:lnTo>
                    <a:lnTo>
                      <a:pt x="140" y="144"/>
                    </a:lnTo>
                    <a:lnTo>
                      <a:pt x="140" y="144"/>
                    </a:lnTo>
                    <a:lnTo>
                      <a:pt x="140" y="144"/>
                    </a:lnTo>
                    <a:lnTo>
                      <a:pt x="140" y="149"/>
                    </a:lnTo>
                    <a:lnTo>
                      <a:pt x="136" y="149"/>
                    </a:lnTo>
                    <a:lnTo>
                      <a:pt x="136" y="149"/>
                    </a:lnTo>
                    <a:lnTo>
                      <a:pt x="136" y="149"/>
                    </a:lnTo>
                    <a:lnTo>
                      <a:pt x="136" y="149"/>
                    </a:lnTo>
                    <a:lnTo>
                      <a:pt x="136" y="153"/>
                    </a:lnTo>
                    <a:lnTo>
                      <a:pt x="136" y="153"/>
                    </a:lnTo>
                    <a:lnTo>
                      <a:pt x="136" y="153"/>
                    </a:lnTo>
                    <a:lnTo>
                      <a:pt x="136" y="153"/>
                    </a:lnTo>
                    <a:lnTo>
                      <a:pt x="131" y="153"/>
                    </a:lnTo>
                    <a:lnTo>
                      <a:pt x="131" y="153"/>
                    </a:lnTo>
                    <a:lnTo>
                      <a:pt x="131" y="153"/>
                    </a:lnTo>
                    <a:lnTo>
                      <a:pt x="127" y="153"/>
                    </a:lnTo>
                    <a:lnTo>
                      <a:pt x="127" y="153"/>
                    </a:lnTo>
                    <a:lnTo>
                      <a:pt x="127" y="153"/>
                    </a:lnTo>
                    <a:lnTo>
                      <a:pt x="127" y="158"/>
                    </a:lnTo>
                    <a:lnTo>
                      <a:pt x="122" y="158"/>
                    </a:lnTo>
                    <a:lnTo>
                      <a:pt x="122" y="158"/>
                    </a:lnTo>
                    <a:lnTo>
                      <a:pt x="122" y="158"/>
                    </a:lnTo>
                    <a:lnTo>
                      <a:pt x="122" y="158"/>
                    </a:lnTo>
                    <a:lnTo>
                      <a:pt x="118" y="158"/>
                    </a:lnTo>
                    <a:lnTo>
                      <a:pt x="118" y="158"/>
                    </a:lnTo>
                    <a:lnTo>
                      <a:pt x="118" y="158"/>
                    </a:lnTo>
                    <a:lnTo>
                      <a:pt x="113" y="158"/>
                    </a:lnTo>
                    <a:lnTo>
                      <a:pt x="113" y="158"/>
                    </a:lnTo>
                    <a:lnTo>
                      <a:pt x="109" y="158"/>
                    </a:lnTo>
                    <a:lnTo>
                      <a:pt x="100" y="153"/>
                    </a:lnTo>
                    <a:lnTo>
                      <a:pt x="95" y="153"/>
                    </a:lnTo>
                    <a:lnTo>
                      <a:pt x="86" y="153"/>
                    </a:lnTo>
                    <a:lnTo>
                      <a:pt x="86" y="153"/>
                    </a:lnTo>
                    <a:lnTo>
                      <a:pt x="86" y="153"/>
                    </a:lnTo>
                    <a:lnTo>
                      <a:pt x="86" y="149"/>
                    </a:lnTo>
                    <a:lnTo>
                      <a:pt x="86" y="149"/>
                    </a:lnTo>
                    <a:lnTo>
                      <a:pt x="86" y="149"/>
                    </a:lnTo>
                    <a:lnTo>
                      <a:pt x="86" y="149"/>
                    </a:lnTo>
                    <a:lnTo>
                      <a:pt x="91" y="149"/>
                    </a:lnTo>
                    <a:lnTo>
                      <a:pt x="91" y="144"/>
                    </a:lnTo>
                    <a:lnTo>
                      <a:pt x="91" y="144"/>
                    </a:lnTo>
                    <a:lnTo>
                      <a:pt x="91" y="144"/>
                    </a:lnTo>
                    <a:lnTo>
                      <a:pt x="91" y="144"/>
                    </a:lnTo>
                    <a:lnTo>
                      <a:pt x="91" y="144"/>
                    </a:lnTo>
                    <a:lnTo>
                      <a:pt x="91" y="144"/>
                    </a:lnTo>
                    <a:lnTo>
                      <a:pt x="91" y="140"/>
                    </a:lnTo>
                    <a:lnTo>
                      <a:pt x="91" y="140"/>
                    </a:lnTo>
                    <a:lnTo>
                      <a:pt x="91" y="140"/>
                    </a:lnTo>
                    <a:lnTo>
                      <a:pt x="91" y="140"/>
                    </a:lnTo>
                    <a:lnTo>
                      <a:pt x="91" y="135"/>
                    </a:lnTo>
                    <a:lnTo>
                      <a:pt x="91" y="135"/>
                    </a:lnTo>
                    <a:lnTo>
                      <a:pt x="91" y="135"/>
                    </a:lnTo>
                    <a:lnTo>
                      <a:pt x="91" y="135"/>
                    </a:lnTo>
                    <a:lnTo>
                      <a:pt x="91" y="135"/>
                    </a:lnTo>
                    <a:lnTo>
                      <a:pt x="91" y="131"/>
                    </a:lnTo>
                    <a:lnTo>
                      <a:pt x="91" y="131"/>
                    </a:lnTo>
                    <a:lnTo>
                      <a:pt x="91" y="131"/>
                    </a:lnTo>
                    <a:lnTo>
                      <a:pt x="91" y="131"/>
                    </a:lnTo>
                    <a:lnTo>
                      <a:pt x="91" y="131"/>
                    </a:lnTo>
                    <a:lnTo>
                      <a:pt x="91" y="126"/>
                    </a:lnTo>
                    <a:lnTo>
                      <a:pt x="95" y="126"/>
                    </a:lnTo>
                    <a:lnTo>
                      <a:pt x="95" y="122"/>
                    </a:lnTo>
                    <a:lnTo>
                      <a:pt x="95" y="122"/>
                    </a:lnTo>
                    <a:lnTo>
                      <a:pt x="95" y="122"/>
                    </a:lnTo>
                    <a:lnTo>
                      <a:pt x="95" y="122"/>
                    </a:lnTo>
                    <a:lnTo>
                      <a:pt x="95" y="122"/>
                    </a:lnTo>
                    <a:lnTo>
                      <a:pt x="95" y="117"/>
                    </a:lnTo>
                    <a:lnTo>
                      <a:pt x="95" y="117"/>
                    </a:lnTo>
                    <a:lnTo>
                      <a:pt x="95" y="117"/>
                    </a:lnTo>
                    <a:lnTo>
                      <a:pt x="91" y="113"/>
                    </a:lnTo>
                    <a:lnTo>
                      <a:pt x="86" y="113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77" y="108"/>
                    </a:lnTo>
                    <a:lnTo>
                      <a:pt x="77" y="108"/>
                    </a:lnTo>
                    <a:lnTo>
                      <a:pt x="73" y="108"/>
                    </a:lnTo>
                    <a:lnTo>
                      <a:pt x="64" y="104"/>
                    </a:lnTo>
                    <a:lnTo>
                      <a:pt x="64" y="99"/>
                    </a:lnTo>
                    <a:lnTo>
                      <a:pt x="59" y="99"/>
                    </a:lnTo>
                    <a:lnTo>
                      <a:pt x="59" y="95"/>
                    </a:lnTo>
                    <a:lnTo>
                      <a:pt x="50" y="95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1" y="90"/>
                    </a:lnTo>
                    <a:lnTo>
                      <a:pt x="37" y="90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27" y="86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18" y="81"/>
                    </a:lnTo>
                    <a:lnTo>
                      <a:pt x="18" y="77"/>
                    </a:lnTo>
                    <a:lnTo>
                      <a:pt x="14" y="77"/>
                    </a:lnTo>
                    <a:lnTo>
                      <a:pt x="14" y="72"/>
                    </a:lnTo>
                    <a:lnTo>
                      <a:pt x="9" y="72"/>
                    </a:lnTo>
                    <a:lnTo>
                      <a:pt x="5" y="68"/>
                    </a:lnTo>
                    <a:lnTo>
                      <a:pt x="5" y="63"/>
                    </a:lnTo>
                    <a:lnTo>
                      <a:pt x="0" y="63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1"/>
                    </a:lnTo>
                    <a:lnTo>
                      <a:pt x="0" y="27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5" y="18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9" y="9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7" y="4"/>
                    </a:lnTo>
                    <a:lnTo>
                      <a:pt x="32" y="0"/>
                    </a:lnTo>
                    <a:lnTo>
                      <a:pt x="41" y="0"/>
                    </a:lnTo>
                    <a:lnTo>
                      <a:pt x="50" y="0"/>
                    </a:lnTo>
                    <a:lnTo>
                      <a:pt x="55" y="4"/>
                    </a:lnTo>
                    <a:lnTo>
                      <a:pt x="59" y="9"/>
                    </a:lnTo>
                    <a:lnTo>
                      <a:pt x="64" y="9"/>
                    </a:lnTo>
                    <a:lnTo>
                      <a:pt x="68" y="9"/>
                    </a:lnTo>
                    <a:lnTo>
                      <a:pt x="68" y="13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73" y="22"/>
                    </a:lnTo>
                    <a:lnTo>
                      <a:pt x="73" y="22"/>
                    </a:lnTo>
                    <a:lnTo>
                      <a:pt x="73" y="27"/>
                    </a:lnTo>
                    <a:lnTo>
                      <a:pt x="73" y="27"/>
                    </a:lnTo>
                    <a:lnTo>
                      <a:pt x="73" y="27"/>
                    </a:lnTo>
                    <a:lnTo>
                      <a:pt x="73" y="27"/>
                    </a:lnTo>
                    <a:lnTo>
                      <a:pt x="73" y="27"/>
                    </a:lnTo>
                    <a:lnTo>
                      <a:pt x="73" y="27"/>
                    </a:lnTo>
                    <a:lnTo>
                      <a:pt x="73" y="31"/>
                    </a:lnTo>
                    <a:lnTo>
                      <a:pt x="73" y="31"/>
                    </a:lnTo>
                    <a:lnTo>
                      <a:pt x="73" y="31"/>
                    </a:lnTo>
                    <a:lnTo>
                      <a:pt x="73" y="31"/>
                    </a:lnTo>
                    <a:lnTo>
                      <a:pt x="73" y="31"/>
                    </a:lnTo>
                    <a:lnTo>
                      <a:pt x="77" y="31"/>
                    </a:lnTo>
                    <a:lnTo>
                      <a:pt x="77" y="36"/>
                    </a:lnTo>
                    <a:lnTo>
                      <a:pt x="77" y="36"/>
                    </a:lnTo>
                    <a:lnTo>
                      <a:pt x="77" y="36"/>
                    </a:lnTo>
                    <a:lnTo>
                      <a:pt x="77" y="40"/>
                    </a:lnTo>
                    <a:lnTo>
                      <a:pt x="77" y="40"/>
                    </a:lnTo>
                    <a:lnTo>
                      <a:pt x="77" y="40"/>
                    </a:lnTo>
                    <a:lnTo>
                      <a:pt x="77" y="40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7" y="49"/>
                    </a:lnTo>
                    <a:lnTo>
                      <a:pt x="77" y="49"/>
                    </a:lnTo>
                    <a:lnTo>
                      <a:pt x="77" y="49"/>
                    </a:lnTo>
                    <a:lnTo>
                      <a:pt x="77" y="49"/>
                    </a:lnTo>
                    <a:lnTo>
                      <a:pt x="77" y="49"/>
                    </a:lnTo>
                    <a:lnTo>
                      <a:pt x="77" y="54"/>
                    </a:lnTo>
                    <a:lnTo>
                      <a:pt x="77" y="54"/>
                    </a:lnTo>
                    <a:lnTo>
                      <a:pt x="77" y="54"/>
                    </a:lnTo>
                    <a:lnTo>
                      <a:pt x="77" y="5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15" name="Freeform 136"/>
              <p:cNvSpPr>
                <a:spLocks/>
              </p:cNvSpPr>
              <p:nvPr/>
            </p:nvSpPr>
            <p:spPr bwMode="auto">
              <a:xfrm>
                <a:off x="5195888" y="1976439"/>
                <a:ext cx="14288" cy="36513"/>
              </a:xfrm>
              <a:custGeom>
                <a:avLst/>
                <a:gdLst>
                  <a:gd name="T0" fmla="*/ 9 w 9"/>
                  <a:gd name="T1" fmla="*/ 9 h 23"/>
                  <a:gd name="T2" fmla="*/ 9 w 9"/>
                  <a:gd name="T3" fmla="*/ 9 h 23"/>
                  <a:gd name="T4" fmla="*/ 9 w 9"/>
                  <a:gd name="T5" fmla="*/ 14 h 23"/>
                  <a:gd name="T6" fmla="*/ 9 w 9"/>
                  <a:gd name="T7" fmla="*/ 14 h 23"/>
                  <a:gd name="T8" fmla="*/ 9 w 9"/>
                  <a:gd name="T9" fmla="*/ 18 h 23"/>
                  <a:gd name="T10" fmla="*/ 9 w 9"/>
                  <a:gd name="T11" fmla="*/ 18 h 23"/>
                  <a:gd name="T12" fmla="*/ 9 w 9"/>
                  <a:gd name="T13" fmla="*/ 18 h 23"/>
                  <a:gd name="T14" fmla="*/ 4 w 9"/>
                  <a:gd name="T15" fmla="*/ 18 h 23"/>
                  <a:gd name="T16" fmla="*/ 0 w 9"/>
                  <a:gd name="T17" fmla="*/ 23 h 23"/>
                  <a:gd name="T18" fmla="*/ 0 w 9"/>
                  <a:gd name="T19" fmla="*/ 23 h 23"/>
                  <a:gd name="T20" fmla="*/ 0 w 9"/>
                  <a:gd name="T21" fmla="*/ 23 h 23"/>
                  <a:gd name="T22" fmla="*/ 0 w 9"/>
                  <a:gd name="T23" fmla="*/ 23 h 23"/>
                  <a:gd name="T24" fmla="*/ 0 w 9"/>
                  <a:gd name="T25" fmla="*/ 18 h 23"/>
                  <a:gd name="T26" fmla="*/ 0 w 9"/>
                  <a:gd name="T27" fmla="*/ 18 h 23"/>
                  <a:gd name="T28" fmla="*/ 0 w 9"/>
                  <a:gd name="T29" fmla="*/ 14 h 23"/>
                  <a:gd name="T30" fmla="*/ 4 w 9"/>
                  <a:gd name="T31" fmla="*/ 14 h 23"/>
                  <a:gd name="T32" fmla="*/ 4 w 9"/>
                  <a:gd name="T33" fmla="*/ 14 h 23"/>
                  <a:gd name="T34" fmla="*/ 4 w 9"/>
                  <a:gd name="T35" fmla="*/ 14 h 23"/>
                  <a:gd name="T36" fmla="*/ 0 w 9"/>
                  <a:gd name="T37" fmla="*/ 14 h 23"/>
                  <a:gd name="T38" fmla="*/ 0 w 9"/>
                  <a:gd name="T39" fmla="*/ 14 h 23"/>
                  <a:gd name="T40" fmla="*/ 0 w 9"/>
                  <a:gd name="T41" fmla="*/ 14 h 23"/>
                  <a:gd name="T42" fmla="*/ 0 w 9"/>
                  <a:gd name="T43" fmla="*/ 14 h 23"/>
                  <a:gd name="T44" fmla="*/ 0 w 9"/>
                  <a:gd name="T45" fmla="*/ 14 h 23"/>
                  <a:gd name="T46" fmla="*/ 0 w 9"/>
                  <a:gd name="T47" fmla="*/ 14 h 23"/>
                  <a:gd name="T48" fmla="*/ 0 w 9"/>
                  <a:gd name="T49" fmla="*/ 9 h 23"/>
                  <a:gd name="T50" fmla="*/ 0 w 9"/>
                  <a:gd name="T51" fmla="*/ 9 h 23"/>
                  <a:gd name="T52" fmla="*/ 0 w 9"/>
                  <a:gd name="T53" fmla="*/ 9 h 23"/>
                  <a:gd name="T54" fmla="*/ 0 w 9"/>
                  <a:gd name="T55" fmla="*/ 5 h 23"/>
                  <a:gd name="T56" fmla="*/ 0 w 9"/>
                  <a:gd name="T57" fmla="*/ 5 h 23"/>
                  <a:gd name="T58" fmla="*/ 0 w 9"/>
                  <a:gd name="T59" fmla="*/ 5 h 23"/>
                  <a:gd name="T60" fmla="*/ 0 w 9"/>
                  <a:gd name="T61" fmla="*/ 0 h 23"/>
                  <a:gd name="T62" fmla="*/ 0 w 9"/>
                  <a:gd name="T63" fmla="*/ 0 h 23"/>
                  <a:gd name="T64" fmla="*/ 4 w 9"/>
                  <a:gd name="T65" fmla="*/ 0 h 23"/>
                  <a:gd name="T66" fmla="*/ 4 w 9"/>
                  <a:gd name="T67" fmla="*/ 0 h 23"/>
                  <a:gd name="T68" fmla="*/ 4 w 9"/>
                  <a:gd name="T69" fmla="*/ 0 h 23"/>
                  <a:gd name="T70" fmla="*/ 4 w 9"/>
                  <a:gd name="T71" fmla="*/ 0 h 23"/>
                  <a:gd name="T72" fmla="*/ 4 w 9"/>
                  <a:gd name="T73" fmla="*/ 0 h 23"/>
                  <a:gd name="T74" fmla="*/ 9 w 9"/>
                  <a:gd name="T75" fmla="*/ 0 h 23"/>
                  <a:gd name="T76" fmla="*/ 9 w 9"/>
                  <a:gd name="T77" fmla="*/ 5 h 23"/>
                  <a:gd name="T78" fmla="*/ 9 w 9"/>
                  <a:gd name="T79" fmla="*/ 9 h 23"/>
                  <a:gd name="T80" fmla="*/ 9 w 9"/>
                  <a:gd name="T81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" h="23">
                    <a:moveTo>
                      <a:pt x="9" y="9"/>
                    </a:moveTo>
                    <a:lnTo>
                      <a:pt x="9" y="9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4" y="18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9" y="5"/>
                    </a:lnTo>
                    <a:lnTo>
                      <a:pt x="9" y="9"/>
                    </a:lnTo>
                    <a:lnTo>
                      <a:pt x="9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16" name="Freeform 137"/>
              <p:cNvSpPr>
                <a:spLocks/>
              </p:cNvSpPr>
              <p:nvPr/>
            </p:nvSpPr>
            <p:spPr bwMode="auto">
              <a:xfrm>
                <a:off x="5632451" y="2163764"/>
                <a:ext cx="22225" cy="42863"/>
              </a:xfrm>
              <a:custGeom>
                <a:avLst/>
                <a:gdLst>
                  <a:gd name="T0" fmla="*/ 9 w 14"/>
                  <a:gd name="T1" fmla="*/ 27 h 27"/>
                  <a:gd name="T2" fmla="*/ 9 w 14"/>
                  <a:gd name="T3" fmla="*/ 27 h 27"/>
                  <a:gd name="T4" fmla="*/ 5 w 14"/>
                  <a:gd name="T5" fmla="*/ 27 h 27"/>
                  <a:gd name="T6" fmla="*/ 5 w 14"/>
                  <a:gd name="T7" fmla="*/ 27 h 27"/>
                  <a:gd name="T8" fmla="*/ 5 w 14"/>
                  <a:gd name="T9" fmla="*/ 27 h 27"/>
                  <a:gd name="T10" fmla="*/ 5 w 14"/>
                  <a:gd name="T11" fmla="*/ 27 h 27"/>
                  <a:gd name="T12" fmla="*/ 0 w 14"/>
                  <a:gd name="T13" fmla="*/ 27 h 27"/>
                  <a:gd name="T14" fmla="*/ 0 w 14"/>
                  <a:gd name="T15" fmla="*/ 22 h 27"/>
                  <a:gd name="T16" fmla="*/ 0 w 14"/>
                  <a:gd name="T17" fmla="*/ 22 h 27"/>
                  <a:gd name="T18" fmla="*/ 0 w 14"/>
                  <a:gd name="T19" fmla="*/ 22 h 27"/>
                  <a:gd name="T20" fmla="*/ 0 w 14"/>
                  <a:gd name="T21" fmla="*/ 18 h 27"/>
                  <a:gd name="T22" fmla="*/ 0 w 14"/>
                  <a:gd name="T23" fmla="*/ 13 h 27"/>
                  <a:gd name="T24" fmla="*/ 0 w 14"/>
                  <a:gd name="T25" fmla="*/ 13 h 27"/>
                  <a:gd name="T26" fmla="*/ 0 w 14"/>
                  <a:gd name="T27" fmla="*/ 13 h 27"/>
                  <a:gd name="T28" fmla="*/ 0 w 14"/>
                  <a:gd name="T29" fmla="*/ 9 h 27"/>
                  <a:gd name="T30" fmla="*/ 0 w 14"/>
                  <a:gd name="T31" fmla="*/ 9 h 27"/>
                  <a:gd name="T32" fmla="*/ 0 w 14"/>
                  <a:gd name="T33" fmla="*/ 0 h 27"/>
                  <a:gd name="T34" fmla="*/ 5 w 14"/>
                  <a:gd name="T35" fmla="*/ 0 h 27"/>
                  <a:gd name="T36" fmla="*/ 5 w 14"/>
                  <a:gd name="T37" fmla="*/ 0 h 27"/>
                  <a:gd name="T38" fmla="*/ 9 w 14"/>
                  <a:gd name="T39" fmla="*/ 0 h 27"/>
                  <a:gd name="T40" fmla="*/ 9 w 14"/>
                  <a:gd name="T41" fmla="*/ 4 h 27"/>
                  <a:gd name="T42" fmla="*/ 9 w 14"/>
                  <a:gd name="T43" fmla="*/ 4 h 27"/>
                  <a:gd name="T44" fmla="*/ 9 w 14"/>
                  <a:gd name="T45" fmla="*/ 9 h 27"/>
                  <a:gd name="T46" fmla="*/ 9 w 14"/>
                  <a:gd name="T47" fmla="*/ 9 h 27"/>
                  <a:gd name="T48" fmla="*/ 9 w 14"/>
                  <a:gd name="T49" fmla="*/ 13 h 27"/>
                  <a:gd name="T50" fmla="*/ 9 w 14"/>
                  <a:gd name="T51" fmla="*/ 13 h 27"/>
                  <a:gd name="T52" fmla="*/ 14 w 14"/>
                  <a:gd name="T53" fmla="*/ 13 h 27"/>
                  <a:gd name="T54" fmla="*/ 14 w 14"/>
                  <a:gd name="T55" fmla="*/ 18 h 27"/>
                  <a:gd name="T56" fmla="*/ 14 w 14"/>
                  <a:gd name="T57" fmla="*/ 18 h 27"/>
                  <a:gd name="T58" fmla="*/ 14 w 14"/>
                  <a:gd name="T59" fmla="*/ 22 h 27"/>
                  <a:gd name="T60" fmla="*/ 14 w 14"/>
                  <a:gd name="T61" fmla="*/ 22 h 27"/>
                  <a:gd name="T62" fmla="*/ 9 w 14"/>
                  <a:gd name="T63" fmla="*/ 27 h 27"/>
                  <a:gd name="T64" fmla="*/ 9 w 14"/>
                  <a:gd name="T65" fmla="*/ 27 h 27"/>
                  <a:gd name="T66" fmla="*/ 9 w 14"/>
                  <a:gd name="T67" fmla="*/ 27 h 27"/>
                  <a:gd name="T68" fmla="*/ 9 w 14"/>
                  <a:gd name="T69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" h="27">
                    <a:moveTo>
                      <a:pt x="9" y="27"/>
                    </a:moveTo>
                    <a:lnTo>
                      <a:pt x="9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0" y="27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14" y="13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17" name="Freeform 138"/>
              <p:cNvSpPr>
                <a:spLocks/>
              </p:cNvSpPr>
              <p:nvPr/>
            </p:nvSpPr>
            <p:spPr bwMode="auto">
              <a:xfrm>
                <a:off x="4794251" y="1509714"/>
                <a:ext cx="228600" cy="136525"/>
              </a:xfrm>
              <a:custGeom>
                <a:avLst/>
                <a:gdLst>
                  <a:gd name="T0" fmla="*/ 104 w 144"/>
                  <a:gd name="T1" fmla="*/ 14 h 86"/>
                  <a:gd name="T2" fmla="*/ 108 w 144"/>
                  <a:gd name="T3" fmla="*/ 18 h 86"/>
                  <a:gd name="T4" fmla="*/ 117 w 144"/>
                  <a:gd name="T5" fmla="*/ 27 h 86"/>
                  <a:gd name="T6" fmla="*/ 117 w 144"/>
                  <a:gd name="T7" fmla="*/ 41 h 86"/>
                  <a:gd name="T8" fmla="*/ 117 w 144"/>
                  <a:gd name="T9" fmla="*/ 45 h 86"/>
                  <a:gd name="T10" fmla="*/ 117 w 144"/>
                  <a:gd name="T11" fmla="*/ 50 h 86"/>
                  <a:gd name="T12" fmla="*/ 126 w 144"/>
                  <a:gd name="T13" fmla="*/ 54 h 86"/>
                  <a:gd name="T14" fmla="*/ 126 w 144"/>
                  <a:gd name="T15" fmla="*/ 54 h 86"/>
                  <a:gd name="T16" fmla="*/ 135 w 144"/>
                  <a:gd name="T17" fmla="*/ 50 h 86"/>
                  <a:gd name="T18" fmla="*/ 140 w 144"/>
                  <a:gd name="T19" fmla="*/ 59 h 86"/>
                  <a:gd name="T20" fmla="*/ 135 w 144"/>
                  <a:gd name="T21" fmla="*/ 64 h 86"/>
                  <a:gd name="T22" fmla="*/ 131 w 144"/>
                  <a:gd name="T23" fmla="*/ 59 h 86"/>
                  <a:gd name="T24" fmla="*/ 131 w 144"/>
                  <a:gd name="T25" fmla="*/ 68 h 86"/>
                  <a:gd name="T26" fmla="*/ 131 w 144"/>
                  <a:gd name="T27" fmla="*/ 73 h 86"/>
                  <a:gd name="T28" fmla="*/ 126 w 144"/>
                  <a:gd name="T29" fmla="*/ 82 h 86"/>
                  <a:gd name="T30" fmla="*/ 117 w 144"/>
                  <a:gd name="T31" fmla="*/ 77 h 86"/>
                  <a:gd name="T32" fmla="*/ 108 w 144"/>
                  <a:gd name="T33" fmla="*/ 77 h 86"/>
                  <a:gd name="T34" fmla="*/ 90 w 144"/>
                  <a:gd name="T35" fmla="*/ 77 h 86"/>
                  <a:gd name="T36" fmla="*/ 77 w 144"/>
                  <a:gd name="T37" fmla="*/ 86 h 86"/>
                  <a:gd name="T38" fmla="*/ 49 w 144"/>
                  <a:gd name="T39" fmla="*/ 82 h 86"/>
                  <a:gd name="T40" fmla="*/ 40 w 144"/>
                  <a:gd name="T41" fmla="*/ 82 h 86"/>
                  <a:gd name="T42" fmla="*/ 40 w 144"/>
                  <a:gd name="T43" fmla="*/ 77 h 86"/>
                  <a:gd name="T44" fmla="*/ 36 w 144"/>
                  <a:gd name="T45" fmla="*/ 73 h 86"/>
                  <a:gd name="T46" fmla="*/ 36 w 144"/>
                  <a:gd name="T47" fmla="*/ 68 h 86"/>
                  <a:gd name="T48" fmla="*/ 36 w 144"/>
                  <a:gd name="T49" fmla="*/ 68 h 86"/>
                  <a:gd name="T50" fmla="*/ 27 w 144"/>
                  <a:gd name="T51" fmla="*/ 68 h 86"/>
                  <a:gd name="T52" fmla="*/ 18 w 144"/>
                  <a:gd name="T53" fmla="*/ 64 h 86"/>
                  <a:gd name="T54" fmla="*/ 18 w 144"/>
                  <a:gd name="T55" fmla="*/ 64 h 86"/>
                  <a:gd name="T56" fmla="*/ 18 w 144"/>
                  <a:gd name="T57" fmla="*/ 64 h 86"/>
                  <a:gd name="T58" fmla="*/ 18 w 144"/>
                  <a:gd name="T59" fmla="*/ 59 h 86"/>
                  <a:gd name="T60" fmla="*/ 18 w 144"/>
                  <a:gd name="T61" fmla="*/ 59 h 86"/>
                  <a:gd name="T62" fmla="*/ 13 w 144"/>
                  <a:gd name="T63" fmla="*/ 54 h 86"/>
                  <a:gd name="T64" fmla="*/ 9 w 144"/>
                  <a:gd name="T65" fmla="*/ 50 h 86"/>
                  <a:gd name="T66" fmla="*/ 4 w 144"/>
                  <a:gd name="T67" fmla="*/ 50 h 86"/>
                  <a:gd name="T68" fmla="*/ 4 w 144"/>
                  <a:gd name="T69" fmla="*/ 45 h 86"/>
                  <a:gd name="T70" fmla="*/ 0 w 144"/>
                  <a:gd name="T71" fmla="*/ 45 h 86"/>
                  <a:gd name="T72" fmla="*/ 0 w 144"/>
                  <a:gd name="T73" fmla="*/ 41 h 86"/>
                  <a:gd name="T74" fmla="*/ 4 w 144"/>
                  <a:gd name="T75" fmla="*/ 36 h 86"/>
                  <a:gd name="T76" fmla="*/ 13 w 144"/>
                  <a:gd name="T77" fmla="*/ 36 h 86"/>
                  <a:gd name="T78" fmla="*/ 13 w 144"/>
                  <a:gd name="T79" fmla="*/ 32 h 86"/>
                  <a:gd name="T80" fmla="*/ 18 w 144"/>
                  <a:gd name="T81" fmla="*/ 27 h 86"/>
                  <a:gd name="T82" fmla="*/ 18 w 144"/>
                  <a:gd name="T83" fmla="*/ 23 h 86"/>
                  <a:gd name="T84" fmla="*/ 22 w 144"/>
                  <a:gd name="T85" fmla="*/ 18 h 86"/>
                  <a:gd name="T86" fmla="*/ 22 w 144"/>
                  <a:gd name="T87" fmla="*/ 14 h 86"/>
                  <a:gd name="T88" fmla="*/ 27 w 144"/>
                  <a:gd name="T89" fmla="*/ 9 h 86"/>
                  <a:gd name="T90" fmla="*/ 36 w 144"/>
                  <a:gd name="T91" fmla="*/ 5 h 86"/>
                  <a:gd name="T92" fmla="*/ 40 w 144"/>
                  <a:gd name="T93" fmla="*/ 5 h 86"/>
                  <a:gd name="T94" fmla="*/ 45 w 144"/>
                  <a:gd name="T95" fmla="*/ 5 h 86"/>
                  <a:gd name="T96" fmla="*/ 54 w 144"/>
                  <a:gd name="T97" fmla="*/ 5 h 86"/>
                  <a:gd name="T98" fmla="*/ 63 w 144"/>
                  <a:gd name="T99" fmla="*/ 5 h 86"/>
                  <a:gd name="T100" fmla="*/ 68 w 144"/>
                  <a:gd name="T101" fmla="*/ 9 h 86"/>
                  <a:gd name="T102" fmla="*/ 86 w 144"/>
                  <a:gd name="T103" fmla="*/ 5 h 86"/>
                  <a:gd name="T104" fmla="*/ 90 w 144"/>
                  <a:gd name="T105" fmla="*/ 0 h 86"/>
                  <a:gd name="T106" fmla="*/ 95 w 144"/>
                  <a:gd name="T107" fmla="*/ 0 h 86"/>
                  <a:gd name="T108" fmla="*/ 99 w 144"/>
                  <a:gd name="T109" fmla="*/ 9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4" h="86">
                    <a:moveTo>
                      <a:pt x="99" y="9"/>
                    </a:moveTo>
                    <a:lnTo>
                      <a:pt x="99" y="9"/>
                    </a:lnTo>
                    <a:lnTo>
                      <a:pt x="104" y="9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13" y="18"/>
                    </a:lnTo>
                    <a:lnTo>
                      <a:pt x="113" y="23"/>
                    </a:lnTo>
                    <a:lnTo>
                      <a:pt x="113" y="23"/>
                    </a:lnTo>
                    <a:lnTo>
                      <a:pt x="117" y="27"/>
                    </a:lnTo>
                    <a:lnTo>
                      <a:pt x="117" y="27"/>
                    </a:lnTo>
                    <a:lnTo>
                      <a:pt x="117" y="27"/>
                    </a:lnTo>
                    <a:lnTo>
                      <a:pt x="117" y="32"/>
                    </a:lnTo>
                    <a:lnTo>
                      <a:pt x="117" y="32"/>
                    </a:lnTo>
                    <a:lnTo>
                      <a:pt x="117" y="36"/>
                    </a:lnTo>
                    <a:lnTo>
                      <a:pt x="117" y="41"/>
                    </a:lnTo>
                    <a:lnTo>
                      <a:pt x="117" y="41"/>
                    </a:lnTo>
                    <a:lnTo>
                      <a:pt x="117" y="45"/>
                    </a:lnTo>
                    <a:lnTo>
                      <a:pt x="117" y="45"/>
                    </a:lnTo>
                    <a:lnTo>
                      <a:pt x="117" y="45"/>
                    </a:lnTo>
                    <a:lnTo>
                      <a:pt x="117" y="45"/>
                    </a:lnTo>
                    <a:lnTo>
                      <a:pt x="117" y="50"/>
                    </a:lnTo>
                    <a:lnTo>
                      <a:pt x="117" y="50"/>
                    </a:lnTo>
                    <a:lnTo>
                      <a:pt x="117" y="50"/>
                    </a:lnTo>
                    <a:lnTo>
                      <a:pt x="117" y="50"/>
                    </a:lnTo>
                    <a:lnTo>
                      <a:pt x="117" y="50"/>
                    </a:lnTo>
                    <a:lnTo>
                      <a:pt x="117" y="50"/>
                    </a:lnTo>
                    <a:lnTo>
                      <a:pt x="117" y="50"/>
                    </a:lnTo>
                    <a:lnTo>
                      <a:pt x="122" y="54"/>
                    </a:lnTo>
                    <a:lnTo>
                      <a:pt x="122" y="54"/>
                    </a:lnTo>
                    <a:lnTo>
                      <a:pt x="126" y="54"/>
                    </a:lnTo>
                    <a:lnTo>
                      <a:pt x="126" y="54"/>
                    </a:lnTo>
                    <a:lnTo>
                      <a:pt x="126" y="54"/>
                    </a:lnTo>
                    <a:lnTo>
                      <a:pt x="126" y="54"/>
                    </a:lnTo>
                    <a:lnTo>
                      <a:pt x="126" y="54"/>
                    </a:lnTo>
                    <a:lnTo>
                      <a:pt x="126" y="54"/>
                    </a:lnTo>
                    <a:lnTo>
                      <a:pt x="131" y="54"/>
                    </a:lnTo>
                    <a:lnTo>
                      <a:pt x="131" y="54"/>
                    </a:lnTo>
                    <a:lnTo>
                      <a:pt x="131" y="54"/>
                    </a:lnTo>
                    <a:lnTo>
                      <a:pt x="135" y="54"/>
                    </a:lnTo>
                    <a:lnTo>
                      <a:pt x="135" y="50"/>
                    </a:lnTo>
                    <a:lnTo>
                      <a:pt x="140" y="54"/>
                    </a:lnTo>
                    <a:lnTo>
                      <a:pt x="140" y="54"/>
                    </a:lnTo>
                    <a:lnTo>
                      <a:pt x="144" y="54"/>
                    </a:lnTo>
                    <a:lnTo>
                      <a:pt x="140" y="54"/>
                    </a:lnTo>
                    <a:lnTo>
                      <a:pt x="140" y="59"/>
                    </a:lnTo>
                    <a:lnTo>
                      <a:pt x="140" y="59"/>
                    </a:lnTo>
                    <a:lnTo>
                      <a:pt x="140" y="64"/>
                    </a:lnTo>
                    <a:lnTo>
                      <a:pt x="140" y="64"/>
                    </a:lnTo>
                    <a:lnTo>
                      <a:pt x="135" y="64"/>
                    </a:lnTo>
                    <a:lnTo>
                      <a:pt x="135" y="64"/>
                    </a:lnTo>
                    <a:lnTo>
                      <a:pt x="135" y="64"/>
                    </a:lnTo>
                    <a:lnTo>
                      <a:pt x="131" y="64"/>
                    </a:lnTo>
                    <a:lnTo>
                      <a:pt x="135" y="59"/>
                    </a:lnTo>
                    <a:lnTo>
                      <a:pt x="131" y="59"/>
                    </a:lnTo>
                    <a:lnTo>
                      <a:pt x="131" y="59"/>
                    </a:lnTo>
                    <a:lnTo>
                      <a:pt x="131" y="64"/>
                    </a:lnTo>
                    <a:lnTo>
                      <a:pt x="131" y="64"/>
                    </a:lnTo>
                    <a:lnTo>
                      <a:pt x="131" y="64"/>
                    </a:lnTo>
                    <a:lnTo>
                      <a:pt x="131" y="64"/>
                    </a:lnTo>
                    <a:lnTo>
                      <a:pt x="131" y="68"/>
                    </a:lnTo>
                    <a:lnTo>
                      <a:pt x="131" y="68"/>
                    </a:lnTo>
                    <a:lnTo>
                      <a:pt x="131" y="68"/>
                    </a:lnTo>
                    <a:lnTo>
                      <a:pt x="131" y="68"/>
                    </a:lnTo>
                    <a:lnTo>
                      <a:pt x="131" y="68"/>
                    </a:lnTo>
                    <a:lnTo>
                      <a:pt x="131" y="73"/>
                    </a:lnTo>
                    <a:lnTo>
                      <a:pt x="126" y="73"/>
                    </a:lnTo>
                    <a:lnTo>
                      <a:pt x="131" y="77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2" y="82"/>
                    </a:lnTo>
                    <a:lnTo>
                      <a:pt x="122" y="82"/>
                    </a:lnTo>
                    <a:lnTo>
                      <a:pt x="117" y="82"/>
                    </a:lnTo>
                    <a:lnTo>
                      <a:pt x="117" y="77"/>
                    </a:lnTo>
                    <a:lnTo>
                      <a:pt x="113" y="82"/>
                    </a:lnTo>
                    <a:lnTo>
                      <a:pt x="113" y="82"/>
                    </a:lnTo>
                    <a:lnTo>
                      <a:pt x="113" y="77"/>
                    </a:lnTo>
                    <a:lnTo>
                      <a:pt x="113" y="77"/>
                    </a:lnTo>
                    <a:lnTo>
                      <a:pt x="108" y="77"/>
                    </a:lnTo>
                    <a:lnTo>
                      <a:pt x="104" y="77"/>
                    </a:lnTo>
                    <a:lnTo>
                      <a:pt x="104" y="77"/>
                    </a:lnTo>
                    <a:lnTo>
                      <a:pt x="99" y="77"/>
                    </a:lnTo>
                    <a:lnTo>
                      <a:pt x="95" y="77"/>
                    </a:lnTo>
                    <a:lnTo>
                      <a:pt x="90" y="77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1" y="86"/>
                    </a:lnTo>
                    <a:lnTo>
                      <a:pt x="77" y="86"/>
                    </a:lnTo>
                    <a:lnTo>
                      <a:pt x="72" y="86"/>
                    </a:lnTo>
                    <a:lnTo>
                      <a:pt x="63" y="82"/>
                    </a:lnTo>
                    <a:lnTo>
                      <a:pt x="63" y="86"/>
                    </a:lnTo>
                    <a:lnTo>
                      <a:pt x="59" y="82"/>
                    </a:lnTo>
                    <a:lnTo>
                      <a:pt x="49" y="82"/>
                    </a:lnTo>
                    <a:lnTo>
                      <a:pt x="45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77"/>
                    </a:lnTo>
                    <a:lnTo>
                      <a:pt x="40" y="77"/>
                    </a:lnTo>
                    <a:lnTo>
                      <a:pt x="40" y="77"/>
                    </a:lnTo>
                    <a:lnTo>
                      <a:pt x="40" y="77"/>
                    </a:lnTo>
                    <a:lnTo>
                      <a:pt x="40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3"/>
                    </a:lnTo>
                    <a:lnTo>
                      <a:pt x="36" y="73"/>
                    </a:lnTo>
                    <a:lnTo>
                      <a:pt x="36" y="73"/>
                    </a:lnTo>
                    <a:lnTo>
                      <a:pt x="36" y="73"/>
                    </a:lnTo>
                    <a:lnTo>
                      <a:pt x="36" y="73"/>
                    </a:lnTo>
                    <a:lnTo>
                      <a:pt x="36" y="73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1" y="68"/>
                    </a:lnTo>
                    <a:lnTo>
                      <a:pt x="31" y="68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3" y="54"/>
                    </a:lnTo>
                    <a:lnTo>
                      <a:pt x="13" y="54"/>
                    </a:lnTo>
                    <a:lnTo>
                      <a:pt x="13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0" y="45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7" y="14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40" y="5"/>
                    </a:lnTo>
                    <a:lnTo>
                      <a:pt x="40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9" y="5"/>
                    </a:lnTo>
                    <a:lnTo>
                      <a:pt x="49" y="5"/>
                    </a:lnTo>
                    <a:lnTo>
                      <a:pt x="54" y="5"/>
                    </a:lnTo>
                    <a:lnTo>
                      <a:pt x="54" y="5"/>
                    </a:lnTo>
                    <a:lnTo>
                      <a:pt x="54" y="5"/>
                    </a:lnTo>
                    <a:lnTo>
                      <a:pt x="54" y="5"/>
                    </a:lnTo>
                    <a:lnTo>
                      <a:pt x="59" y="5"/>
                    </a:lnTo>
                    <a:lnTo>
                      <a:pt x="59" y="5"/>
                    </a:lnTo>
                    <a:lnTo>
                      <a:pt x="59" y="5"/>
                    </a:lnTo>
                    <a:lnTo>
                      <a:pt x="63" y="5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72" y="5"/>
                    </a:lnTo>
                    <a:lnTo>
                      <a:pt x="77" y="5"/>
                    </a:lnTo>
                    <a:lnTo>
                      <a:pt x="81" y="5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99" y="9"/>
                    </a:lnTo>
                    <a:lnTo>
                      <a:pt x="99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18" name="Freeform 139"/>
              <p:cNvSpPr>
                <a:spLocks noEditPoints="1"/>
              </p:cNvSpPr>
              <p:nvPr/>
            </p:nvSpPr>
            <p:spPr bwMode="auto">
              <a:xfrm>
                <a:off x="4757738" y="584201"/>
                <a:ext cx="3033713" cy="1127125"/>
              </a:xfrm>
              <a:custGeom>
                <a:avLst/>
                <a:gdLst>
                  <a:gd name="T0" fmla="*/ 1667 w 1911"/>
                  <a:gd name="T1" fmla="*/ 380 h 710"/>
                  <a:gd name="T2" fmla="*/ 1807 w 1911"/>
                  <a:gd name="T3" fmla="*/ 524 h 710"/>
                  <a:gd name="T4" fmla="*/ 1595 w 1911"/>
                  <a:gd name="T5" fmla="*/ 371 h 710"/>
                  <a:gd name="T6" fmla="*/ 1735 w 1911"/>
                  <a:gd name="T7" fmla="*/ 77 h 710"/>
                  <a:gd name="T8" fmla="*/ 1816 w 1911"/>
                  <a:gd name="T9" fmla="*/ 86 h 710"/>
                  <a:gd name="T10" fmla="*/ 1866 w 1911"/>
                  <a:gd name="T11" fmla="*/ 108 h 710"/>
                  <a:gd name="T12" fmla="*/ 1821 w 1911"/>
                  <a:gd name="T13" fmla="*/ 118 h 710"/>
                  <a:gd name="T14" fmla="*/ 312 w 1911"/>
                  <a:gd name="T15" fmla="*/ 181 h 710"/>
                  <a:gd name="T16" fmla="*/ 357 w 1911"/>
                  <a:gd name="T17" fmla="*/ 104 h 710"/>
                  <a:gd name="T18" fmla="*/ 353 w 1911"/>
                  <a:gd name="T19" fmla="*/ 140 h 710"/>
                  <a:gd name="T20" fmla="*/ 935 w 1911"/>
                  <a:gd name="T21" fmla="*/ 54 h 710"/>
                  <a:gd name="T22" fmla="*/ 375 w 1911"/>
                  <a:gd name="T23" fmla="*/ 95 h 710"/>
                  <a:gd name="T24" fmla="*/ 393 w 1911"/>
                  <a:gd name="T25" fmla="*/ 50 h 710"/>
                  <a:gd name="T26" fmla="*/ 886 w 1911"/>
                  <a:gd name="T27" fmla="*/ 18 h 710"/>
                  <a:gd name="T28" fmla="*/ 913 w 1911"/>
                  <a:gd name="T29" fmla="*/ 68 h 710"/>
                  <a:gd name="T30" fmla="*/ 1062 w 1911"/>
                  <a:gd name="T31" fmla="*/ 72 h 710"/>
                  <a:gd name="T32" fmla="*/ 1157 w 1911"/>
                  <a:gd name="T33" fmla="*/ 90 h 710"/>
                  <a:gd name="T34" fmla="*/ 1243 w 1911"/>
                  <a:gd name="T35" fmla="*/ 63 h 710"/>
                  <a:gd name="T36" fmla="*/ 1365 w 1911"/>
                  <a:gd name="T37" fmla="*/ 72 h 710"/>
                  <a:gd name="T38" fmla="*/ 1590 w 1911"/>
                  <a:gd name="T39" fmla="*/ 72 h 710"/>
                  <a:gd name="T40" fmla="*/ 1785 w 1911"/>
                  <a:gd name="T41" fmla="*/ 140 h 710"/>
                  <a:gd name="T42" fmla="*/ 1848 w 1911"/>
                  <a:gd name="T43" fmla="*/ 190 h 710"/>
                  <a:gd name="T44" fmla="*/ 1785 w 1911"/>
                  <a:gd name="T45" fmla="*/ 244 h 710"/>
                  <a:gd name="T46" fmla="*/ 1880 w 1911"/>
                  <a:gd name="T47" fmla="*/ 353 h 710"/>
                  <a:gd name="T48" fmla="*/ 1762 w 1911"/>
                  <a:gd name="T49" fmla="*/ 253 h 710"/>
                  <a:gd name="T50" fmla="*/ 1712 w 1911"/>
                  <a:gd name="T51" fmla="*/ 226 h 710"/>
                  <a:gd name="T52" fmla="*/ 1654 w 1911"/>
                  <a:gd name="T53" fmla="*/ 271 h 710"/>
                  <a:gd name="T54" fmla="*/ 1590 w 1911"/>
                  <a:gd name="T55" fmla="*/ 389 h 710"/>
                  <a:gd name="T56" fmla="*/ 1717 w 1911"/>
                  <a:gd name="T57" fmla="*/ 461 h 710"/>
                  <a:gd name="T58" fmla="*/ 1699 w 1911"/>
                  <a:gd name="T59" fmla="*/ 624 h 710"/>
                  <a:gd name="T60" fmla="*/ 1685 w 1911"/>
                  <a:gd name="T61" fmla="*/ 543 h 710"/>
                  <a:gd name="T62" fmla="*/ 1572 w 1911"/>
                  <a:gd name="T63" fmla="*/ 493 h 710"/>
                  <a:gd name="T64" fmla="*/ 1437 w 1911"/>
                  <a:gd name="T65" fmla="*/ 420 h 710"/>
                  <a:gd name="T66" fmla="*/ 1355 w 1911"/>
                  <a:gd name="T67" fmla="*/ 497 h 710"/>
                  <a:gd name="T68" fmla="*/ 1193 w 1911"/>
                  <a:gd name="T69" fmla="*/ 497 h 710"/>
                  <a:gd name="T70" fmla="*/ 1130 w 1911"/>
                  <a:gd name="T71" fmla="*/ 520 h 710"/>
                  <a:gd name="T72" fmla="*/ 1030 w 1911"/>
                  <a:gd name="T73" fmla="*/ 515 h 710"/>
                  <a:gd name="T74" fmla="*/ 944 w 1911"/>
                  <a:gd name="T75" fmla="*/ 520 h 710"/>
                  <a:gd name="T76" fmla="*/ 800 w 1911"/>
                  <a:gd name="T77" fmla="*/ 448 h 710"/>
                  <a:gd name="T78" fmla="*/ 696 w 1911"/>
                  <a:gd name="T79" fmla="*/ 434 h 710"/>
                  <a:gd name="T80" fmla="*/ 601 w 1911"/>
                  <a:gd name="T81" fmla="*/ 479 h 710"/>
                  <a:gd name="T82" fmla="*/ 533 w 1911"/>
                  <a:gd name="T83" fmla="*/ 524 h 710"/>
                  <a:gd name="T84" fmla="*/ 425 w 1911"/>
                  <a:gd name="T85" fmla="*/ 547 h 710"/>
                  <a:gd name="T86" fmla="*/ 434 w 1911"/>
                  <a:gd name="T87" fmla="*/ 624 h 710"/>
                  <a:gd name="T88" fmla="*/ 425 w 1911"/>
                  <a:gd name="T89" fmla="*/ 696 h 710"/>
                  <a:gd name="T90" fmla="*/ 276 w 1911"/>
                  <a:gd name="T91" fmla="*/ 637 h 710"/>
                  <a:gd name="T92" fmla="*/ 307 w 1911"/>
                  <a:gd name="T93" fmla="*/ 574 h 710"/>
                  <a:gd name="T94" fmla="*/ 231 w 1911"/>
                  <a:gd name="T95" fmla="*/ 529 h 710"/>
                  <a:gd name="T96" fmla="*/ 185 w 1911"/>
                  <a:gd name="T97" fmla="*/ 479 h 710"/>
                  <a:gd name="T98" fmla="*/ 109 w 1911"/>
                  <a:gd name="T99" fmla="*/ 420 h 710"/>
                  <a:gd name="T100" fmla="*/ 109 w 1911"/>
                  <a:gd name="T101" fmla="*/ 344 h 710"/>
                  <a:gd name="T102" fmla="*/ 104 w 1911"/>
                  <a:gd name="T103" fmla="*/ 222 h 710"/>
                  <a:gd name="T104" fmla="*/ 158 w 1911"/>
                  <a:gd name="T105" fmla="*/ 185 h 710"/>
                  <a:gd name="T106" fmla="*/ 172 w 1911"/>
                  <a:gd name="T107" fmla="*/ 253 h 710"/>
                  <a:gd name="T108" fmla="*/ 276 w 1911"/>
                  <a:gd name="T109" fmla="*/ 240 h 710"/>
                  <a:gd name="T110" fmla="*/ 362 w 1911"/>
                  <a:gd name="T111" fmla="*/ 194 h 710"/>
                  <a:gd name="T112" fmla="*/ 447 w 1911"/>
                  <a:gd name="T113" fmla="*/ 172 h 710"/>
                  <a:gd name="T114" fmla="*/ 547 w 1911"/>
                  <a:gd name="T115" fmla="*/ 108 h 710"/>
                  <a:gd name="T116" fmla="*/ 628 w 1911"/>
                  <a:gd name="T117" fmla="*/ 203 h 710"/>
                  <a:gd name="T118" fmla="*/ 578 w 1911"/>
                  <a:gd name="T119" fmla="*/ 108 h 710"/>
                  <a:gd name="T120" fmla="*/ 673 w 1911"/>
                  <a:gd name="T121" fmla="*/ 136 h 710"/>
                  <a:gd name="T122" fmla="*/ 682 w 1911"/>
                  <a:gd name="T123" fmla="*/ 81 h 710"/>
                  <a:gd name="T124" fmla="*/ 718 w 1911"/>
                  <a:gd name="T125" fmla="*/ 36 h 7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911" h="710">
                    <a:moveTo>
                      <a:pt x="1884" y="561"/>
                    </a:moveTo>
                    <a:lnTo>
                      <a:pt x="1884" y="561"/>
                    </a:lnTo>
                    <a:lnTo>
                      <a:pt x="1889" y="565"/>
                    </a:lnTo>
                    <a:lnTo>
                      <a:pt x="1893" y="565"/>
                    </a:lnTo>
                    <a:lnTo>
                      <a:pt x="1893" y="565"/>
                    </a:lnTo>
                    <a:lnTo>
                      <a:pt x="1893" y="565"/>
                    </a:lnTo>
                    <a:lnTo>
                      <a:pt x="1893" y="565"/>
                    </a:lnTo>
                    <a:lnTo>
                      <a:pt x="1889" y="565"/>
                    </a:lnTo>
                    <a:lnTo>
                      <a:pt x="1889" y="570"/>
                    </a:lnTo>
                    <a:lnTo>
                      <a:pt x="1889" y="570"/>
                    </a:lnTo>
                    <a:lnTo>
                      <a:pt x="1889" y="574"/>
                    </a:lnTo>
                    <a:lnTo>
                      <a:pt x="1889" y="574"/>
                    </a:lnTo>
                    <a:lnTo>
                      <a:pt x="1889" y="579"/>
                    </a:lnTo>
                    <a:lnTo>
                      <a:pt x="1889" y="579"/>
                    </a:lnTo>
                    <a:lnTo>
                      <a:pt x="1889" y="579"/>
                    </a:lnTo>
                    <a:lnTo>
                      <a:pt x="1889" y="579"/>
                    </a:lnTo>
                    <a:lnTo>
                      <a:pt x="1884" y="574"/>
                    </a:lnTo>
                    <a:lnTo>
                      <a:pt x="1889" y="574"/>
                    </a:lnTo>
                    <a:lnTo>
                      <a:pt x="1889" y="570"/>
                    </a:lnTo>
                    <a:lnTo>
                      <a:pt x="1884" y="570"/>
                    </a:lnTo>
                    <a:lnTo>
                      <a:pt x="1884" y="570"/>
                    </a:lnTo>
                    <a:lnTo>
                      <a:pt x="1884" y="570"/>
                    </a:lnTo>
                    <a:lnTo>
                      <a:pt x="1884" y="570"/>
                    </a:lnTo>
                    <a:lnTo>
                      <a:pt x="1884" y="561"/>
                    </a:lnTo>
                    <a:lnTo>
                      <a:pt x="1884" y="561"/>
                    </a:lnTo>
                    <a:moveTo>
                      <a:pt x="1907" y="543"/>
                    </a:moveTo>
                    <a:lnTo>
                      <a:pt x="1907" y="543"/>
                    </a:lnTo>
                    <a:lnTo>
                      <a:pt x="1902" y="543"/>
                    </a:lnTo>
                    <a:lnTo>
                      <a:pt x="1902" y="547"/>
                    </a:lnTo>
                    <a:lnTo>
                      <a:pt x="1902" y="547"/>
                    </a:lnTo>
                    <a:lnTo>
                      <a:pt x="1902" y="552"/>
                    </a:lnTo>
                    <a:lnTo>
                      <a:pt x="1902" y="552"/>
                    </a:lnTo>
                    <a:lnTo>
                      <a:pt x="1898" y="552"/>
                    </a:lnTo>
                    <a:lnTo>
                      <a:pt x="1898" y="552"/>
                    </a:lnTo>
                    <a:lnTo>
                      <a:pt x="1898" y="552"/>
                    </a:lnTo>
                    <a:lnTo>
                      <a:pt x="1898" y="556"/>
                    </a:lnTo>
                    <a:lnTo>
                      <a:pt x="1898" y="556"/>
                    </a:lnTo>
                    <a:lnTo>
                      <a:pt x="1898" y="561"/>
                    </a:lnTo>
                    <a:lnTo>
                      <a:pt x="1898" y="561"/>
                    </a:lnTo>
                    <a:lnTo>
                      <a:pt x="1898" y="565"/>
                    </a:lnTo>
                    <a:lnTo>
                      <a:pt x="1898" y="561"/>
                    </a:lnTo>
                    <a:lnTo>
                      <a:pt x="1898" y="561"/>
                    </a:lnTo>
                    <a:lnTo>
                      <a:pt x="1898" y="556"/>
                    </a:lnTo>
                    <a:lnTo>
                      <a:pt x="1893" y="556"/>
                    </a:lnTo>
                    <a:lnTo>
                      <a:pt x="1893" y="556"/>
                    </a:lnTo>
                    <a:lnTo>
                      <a:pt x="1898" y="552"/>
                    </a:lnTo>
                    <a:lnTo>
                      <a:pt x="1898" y="552"/>
                    </a:lnTo>
                    <a:lnTo>
                      <a:pt x="1898" y="547"/>
                    </a:lnTo>
                    <a:lnTo>
                      <a:pt x="1898" y="547"/>
                    </a:lnTo>
                    <a:lnTo>
                      <a:pt x="1898" y="547"/>
                    </a:lnTo>
                    <a:lnTo>
                      <a:pt x="1898" y="543"/>
                    </a:lnTo>
                    <a:lnTo>
                      <a:pt x="1893" y="543"/>
                    </a:lnTo>
                    <a:lnTo>
                      <a:pt x="1898" y="543"/>
                    </a:lnTo>
                    <a:lnTo>
                      <a:pt x="1898" y="547"/>
                    </a:lnTo>
                    <a:lnTo>
                      <a:pt x="1902" y="547"/>
                    </a:lnTo>
                    <a:lnTo>
                      <a:pt x="1902" y="543"/>
                    </a:lnTo>
                    <a:lnTo>
                      <a:pt x="1902" y="538"/>
                    </a:lnTo>
                    <a:lnTo>
                      <a:pt x="1902" y="538"/>
                    </a:lnTo>
                    <a:lnTo>
                      <a:pt x="1907" y="538"/>
                    </a:lnTo>
                    <a:lnTo>
                      <a:pt x="1907" y="538"/>
                    </a:lnTo>
                    <a:lnTo>
                      <a:pt x="1907" y="538"/>
                    </a:lnTo>
                    <a:lnTo>
                      <a:pt x="1907" y="538"/>
                    </a:lnTo>
                    <a:lnTo>
                      <a:pt x="1907" y="543"/>
                    </a:lnTo>
                    <a:lnTo>
                      <a:pt x="1907" y="543"/>
                    </a:lnTo>
                    <a:lnTo>
                      <a:pt x="1907" y="543"/>
                    </a:lnTo>
                    <a:lnTo>
                      <a:pt x="1907" y="543"/>
                    </a:lnTo>
                    <a:moveTo>
                      <a:pt x="1911" y="434"/>
                    </a:moveTo>
                    <a:lnTo>
                      <a:pt x="1911" y="434"/>
                    </a:lnTo>
                    <a:lnTo>
                      <a:pt x="1911" y="439"/>
                    </a:lnTo>
                    <a:lnTo>
                      <a:pt x="1911" y="439"/>
                    </a:lnTo>
                    <a:lnTo>
                      <a:pt x="1907" y="439"/>
                    </a:lnTo>
                    <a:lnTo>
                      <a:pt x="1911" y="439"/>
                    </a:lnTo>
                    <a:lnTo>
                      <a:pt x="1911" y="439"/>
                    </a:lnTo>
                    <a:lnTo>
                      <a:pt x="1907" y="439"/>
                    </a:lnTo>
                    <a:lnTo>
                      <a:pt x="1907" y="439"/>
                    </a:lnTo>
                    <a:lnTo>
                      <a:pt x="1902" y="439"/>
                    </a:lnTo>
                    <a:lnTo>
                      <a:pt x="1902" y="439"/>
                    </a:lnTo>
                    <a:lnTo>
                      <a:pt x="1902" y="434"/>
                    </a:lnTo>
                    <a:lnTo>
                      <a:pt x="1902" y="434"/>
                    </a:lnTo>
                    <a:lnTo>
                      <a:pt x="1902" y="434"/>
                    </a:lnTo>
                    <a:lnTo>
                      <a:pt x="1907" y="434"/>
                    </a:lnTo>
                    <a:lnTo>
                      <a:pt x="1907" y="429"/>
                    </a:lnTo>
                    <a:lnTo>
                      <a:pt x="1902" y="429"/>
                    </a:lnTo>
                    <a:lnTo>
                      <a:pt x="1902" y="425"/>
                    </a:lnTo>
                    <a:lnTo>
                      <a:pt x="1902" y="425"/>
                    </a:lnTo>
                    <a:lnTo>
                      <a:pt x="1907" y="429"/>
                    </a:lnTo>
                    <a:lnTo>
                      <a:pt x="1907" y="429"/>
                    </a:lnTo>
                    <a:lnTo>
                      <a:pt x="1911" y="429"/>
                    </a:lnTo>
                    <a:lnTo>
                      <a:pt x="1911" y="434"/>
                    </a:lnTo>
                    <a:moveTo>
                      <a:pt x="1667" y="380"/>
                    </a:moveTo>
                    <a:lnTo>
                      <a:pt x="1667" y="380"/>
                    </a:lnTo>
                    <a:lnTo>
                      <a:pt x="1672" y="384"/>
                    </a:lnTo>
                    <a:lnTo>
                      <a:pt x="1676" y="384"/>
                    </a:lnTo>
                    <a:lnTo>
                      <a:pt x="1676" y="384"/>
                    </a:lnTo>
                    <a:lnTo>
                      <a:pt x="1676" y="384"/>
                    </a:lnTo>
                    <a:lnTo>
                      <a:pt x="1676" y="389"/>
                    </a:lnTo>
                    <a:lnTo>
                      <a:pt x="1681" y="389"/>
                    </a:lnTo>
                    <a:lnTo>
                      <a:pt x="1681" y="389"/>
                    </a:lnTo>
                    <a:lnTo>
                      <a:pt x="1685" y="393"/>
                    </a:lnTo>
                    <a:lnTo>
                      <a:pt x="1694" y="398"/>
                    </a:lnTo>
                    <a:lnTo>
                      <a:pt x="1694" y="398"/>
                    </a:lnTo>
                    <a:lnTo>
                      <a:pt x="1694" y="402"/>
                    </a:lnTo>
                    <a:lnTo>
                      <a:pt x="1699" y="402"/>
                    </a:lnTo>
                    <a:lnTo>
                      <a:pt x="1703" y="407"/>
                    </a:lnTo>
                    <a:lnTo>
                      <a:pt x="1708" y="411"/>
                    </a:lnTo>
                    <a:lnTo>
                      <a:pt x="1708" y="411"/>
                    </a:lnTo>
                    <a:lnTo>
                      <a:pt x="1708" y="411"/>
                    </a:lnTo>
                    <a:lnTo>
                      <a:pt x="1708" y="416"/>
                    </a:lnTo>
                    <a:lnTo>
                      <a:pt x="1708" y="416"/>
                    </a:lnTo>
                    <a:lnTo>
                      <a:pt x="1712" y="420"/>
                    </a:lnTo>
                    <a:lnTo>
                      <a:pt x="1717" y="425"/>
                    </a:lnTo>
                    <a:lnTo>
                      <a:pt x="1721" y="425"/>
                    </a:lnTo>
                    <a:lnTo>
                      <a:pt x="1721" y="429"/>
                    </a:lnTo>
                    <a:lnTo>
                      <a:pt x="1726" y="429"/>
                    </a:lnTo>
                    <a:lnTo>
                      <a:pt x="1726" y="429"/>
                    </a:lnTo>
                    <a:lnTo>
                      <a:pt x="1726" y="429"/>
                    </a:lnTo>
                    <a:lnTo>
                      <a:pt x="1730" y="434"/>
                    </a:lnTo>
                    <a:lnTo>
                      <a:pt x="1730" y="434"/>
                    </a:lnTo>
                    <a:lnTo>
                      <a:pt x="1730" y="434"/>
                    </a:lnTo>
                    <a:lnTo>
                      <a:pt x="1735" y="434"/>
                    </a:lnTo>
                    <a:lnTo>
                      <a:pt x="1735" y="439"/>
                    </a:lnTo>
                    <a:lnTo>
                      <a:pt x="1749" y="452"/>
                    </a:lnTo>
                    <a:lnTo>
                      <a:pt x="1758" y="452"/>
                    </a:lnTo>
                    <a:lnTo>
                      <a:pt x="1767" y="461"/>
                    </a:lnTo>
                    <a:lnTo>
                      <a:pt x="1771" y="466"/>
                    </a:lnTo>
                    <a:lnTo>
                      <a:pt x="1776" y="466"/>
                    </a:lnTo>
                    <a:lnTo>
                      <a:pt x="1776" y="470"/>
                    </a:lnTo>
                    <a:lnTo>
                      <a:pt x="1780" y="470"/>
                    </a:lnTo>
                    <a:lnTo>
                      <a:pt x="1780" y="475"/>
                    </a:lnTo>
                    <a:lnTo>
                      <a:pt x="1785" y="475"/>
                    </a:lnTo>
                    <a:lnTo>
                      <a:pt x="1789" y="479"/>
                    </a:lnTo>
                    <a:lnTo>
                      <a:pt x="1794" y="479"/>
                    </a:lnTo>
                    <a:lnTo>
                      <a:pt x="1794" y="479"/>
                    </a:lnTo>
                    <a:lnTo>
                      <a:pt x="1798" y="484"/>
                    </a:lnTo>
                    <a:lnTo>
                      <a:pt x="1794" y="484"/>
                    </a:lnTo>
                    <a:lnTo>
                      <a:pt x="1794" y="479"/>
                    </a:lnTo>
                    <a:lnTo>
                      <a:pt x="1789" y="479"/>
                    </a:lnTo>
                    <a:lnTo>
                      <a:pt x="1785" y="479"/>
                    </a:lnTo>
                    <a:lnTo>
                      <a:pt x="1785" y="475"/>
                    </a:lnTo>
                    <a:lnTo>
                      <a:pt x="1780" y="475"/>
                    </a:lnTo>
                    <a:lnTo>
                      <a:pt x="1776" y="475"/>
                    </a:lnTo>
                    <a:lnTo>
                      <a:pt x="1776" y="475"/>
                    </a:lnTo>
                    <a:lnTo>
                      <a:pt x="1771" y="475"/>
                    </a:lnTo>
                    <a:lnTo>
                      <a:pt x="1771" y="475"/>
                    </a:lnTo>
                    <a:lnTo>
                      <a:pt x="1767" y="475"/>
                    </a:lnTo>
                    <a:lnTo>
                      <a:pt x="1767" y="475"/>
                    </a:lnTo>
                    <a:lnTo>
                      <a:pt x="1767" y="475"/>
                    </a:lnTo>
                    <a:lnTo>
                      <a:pt x="1767" y="479"/>
                    </a:lnTo>
                    <a:lnTo>
                      <a:pt x="1767" y="484"/>
                    </a:lnTo>
                    <a:lnTo>
                      <a:pt x="1776" y="497"/>
                    </a:lnTo>
                    <a:lnTo>
                      <a:pt x="1776" y="497"/>
                    </a:lnTo>
                    <a:lnTo>
                      <a:pt x="1780" y="502"/>
                    </a:lnTo>
                    <a:lnTo>
                      <a:pt x="1785" y="506"/>
                    </a:lnTo>
                    <a:lnTo>
                      <a:pt x="1785" y="506"/>
                    </a:lnTo>
                    <a:lnTo>
                      <a:pt x="1789" y="511"/>
                    </a:lnTo>
                    <a:lnTo>
                      <a:pt x="1789" y="511"/>
                    </a:lnTo>
                    <a:lnTo>
                      <a:pt x="1794" y="511"/>
                    </a:lnTo>
                    <a:lnTo>
                      <a:pt x="1794" y="511"/>
                    </a:lnTo>
                    <a:lnTo>
                      <a:pt x="1794" y="511"/>
                    </a:lnTo>
                    <a:lnTo>
                      <a:pt x="1794" y="511"/>
                    </a:lnTo>
                    <a:lnTo>
                      <a:pt x="1798" y="515"/>
                    </a:lnTo>
                    <a:lnTo>
                      <a:pt x="1803" y="520"/>
                    </a:lnTo>
                    <a:lnTo>
                      <a:pt x="1807" y="520"/>
                    </a:lnTo>
                    <a:lnTo>
                      <a:pt x="1807" y="524"/>
                    </a:lnTo>
                    <a:lnTo>
                      <a:pt x="1807" y="520"/>
                    </a:lnTo>
                    <a:lnTo>
                      <a:pt x="1812" y="520"/>
                    </a:lnTo>
                    <a:lnTo>
                      <a:pt x="1812" y="520"/>
                    </a:lnTo>
                    <a:lnTo>
                      <a:pt x="1812" y="524"/>
                    </a:lnTo>
                    <a:lnTo>
                      <a:pt x="1816" y="524"/>
                    </a:lnTo>
                    <a:lnTo>
                      <a:pt x="1821" y="529"/>
                    </a:lnTo>
                    <a:lnTo>
                      <a:pt x="1821" y="529"/>
                    </a:lnTo>
                    <a:lnTo>
                      <a:pt x="1821" y="533"/>
                    </a:lnTo>
                    <a:lnTo>
                      <a:pt x="1821" y="533"/>
                    </a:lnTo>
                    <a:lnTo>
                      <a:pt x="1821" y="533"/>
                    </a:lnTo>
                    <a:lnTo>
                      <a:pt x="1821" y="538"/>
                    </a:lnTo>
                    <a:lnTo>
                      <a:pt x="1825" y="538"/>
                    </a:lnTo>
                    <a:lnTo>
                      <a:pt x="1821" y="533"/>
                    </a:lnTo>
                    <a:lnTo>
                      <a:pt x="1816" y="529"/>
                    </a:lnTo>
                    <a:lnTo>
                      <a:pt x="1816" y="529"/>
                    </a:lnTo>
                    <a:lnTo>
                      <a:pt x="1812" y="529"/>
                    </a:lnTo>
                    <a:lnTo>
                      <a:pt x="1807" y="524"/>
                    </a:lnTo>
                    <a:lnTo>
                      <a:pt x="1807" y="524"/>
                    </a:lnTo>
                    <a:lnTo>
                      <a:pt x="1803" y="524"/>
                    </a:lnTo>
                    <a:lnTo>
                      <a:pt x="1803" y="524"/>
                    </a:lnTo>
                    <a:lnTo>
                      <a:pt x="1803" y="524"/>
                    </a:lnTo>
                    <a:lnTo>
                      <a:pt x="1803" y="524"/>
                    </a:lnTo>
                    <a:lnTo>
                      <a:pt x="1798" y="524"/>
                    </a:lnTo>
                    <a:lnTo>
                      <a:pt x="1798" y="524"/>
                    </a:lnTo>
                    <a:lnTo>
                      <a:pt x="1803" y="529"/>
                    </a:lnTo>
                    <a:lnTo>
                      <a:pt x="1803" y="529"/>
                    </a:lnTo>
                    <a:lnTo>
                      <a:pt x="1803" y="533"/>
                    </a:lnTo>
                    <a:lnTo>
                      <a:pt x="1807" y="538"/>
                    </a:lnTo>
                    <a:lnTo>
                      <a:pt x="1807" y="538"/>
                    </a:lnTo>
                    <a:lnTo>
                      <a:pt x="1807" y="543"/>
                    </a:lnTo>
                    <a:lnTo>
                      <a:pt x="1803" y="538"/>
                    </a:lnTo>
                    <a:lnTo>
                      <a:pt x="1803" y="538"/>
                    </a:lnTo>
                    <a:lnTo>
                      <a:pt x="1803" y="538"/>
                    </a:lnTo>
                    <a:lnTo>
                      <a:pt x="1798" y="538"/>
                    </a:lnTo>
                    <a:lnTo>
                      <a:pt x="1794" y="529"/>
                    </a:lnTo>
                    <a:lnTo>
                      <a:pt x="1789" y="524"/>
                    </a:lnTo>
                    <a:lnTo>
                      <a:pt x="1789" y="520"/>
                    </a:lnTo>
                    <a:lnTo>
                      <a:pt x="1785" y="515"/>
                    </a:lnTo>
                    <a:lnTo>
                      <a:pt x="1785" y="515"/>
                    </a:lnTo>
                    <a:lnTo>
                      <a:pt x="1780" y="515"/>
                    </a:lnTo>
                    <a:lnTo>
                      <a:pt x="1780" y="511"/>
                    </a:lnTo>
                    <a:lnTo>
                      <a:pt x="1776" y="511"/>
                    </a:lnTo>
                    <a:lnTo>
                      <a:pt x="1776" y="506"/>
                    </a:lnTo>
                    <a:lnTo>
                      <a:pt x="1776" y="506"/>
                    </a:lnTo>
                    <a:lnTo>
                      <a:pt x="1776" y="502"/>
                    </a:lnTo>
                    <a:lnTo>
                      <a:pt x="1771" y="502"/>
                    </a:lnTo>
                    <a:lnTo>
                      <a:pt x="1767" y="493"/>
                    </a:lnTo>
                    <a:lnTo>
                      <a:pt x="1762" y="493"/>
                    </a:lnTo>
                    <a:lnTo>
                      <a:pt x="1758" y="488"/>
                    </a:lnTo>
                    <a:lnTo>
                      <a:pt x="1758" y="488"/>
                    </a:lnTo>
                    <a:lnTo>
                      <a:pt x="1758" y="488"/>
                    </a:lnTo>
                    <a:lnTo>
                      <a:pt x="1753" y="484"/>
                    </a:lnTo>
                    <a:lnTo>
                      <a:pt x="1753" y="479"/>
                    </a:lnTo>
                    <a:lnTo>
                      <a:pt x="1749" y="475"/>
                    </a:lnTo>
                    <a:lnTo>
                      <a:pt x="1749" y="475"/>
                    </a:lnTo>
                    <a:lnTo>
                      <a:pt x="1744" y="470"/>
                    </a:lnTo>
                    <a:lnTo>
                      <a:pt x="1735" y="457"/>
                    </a:lnTo>
                    <a:lnTo>
                      <a:pt x="1735" y="457"/>
                    </a:lnTo>
                    <a:lnTo>
                      <a:pt x="1730" y="452"/>
                    </a:lnTo>
                    <a:lnTo>
                      <a:pt x="1726" y="452"/>
                    </a:lnTo>
                    <a:lnTo>
                      <a:pt x="1726" y="448"/>
                    </a:lnTo>
                    <a:lnTo>
                      <a:pt x="1721" y="443"/>
                    </a:lnTo>
                    <a:lnTo>
                      <a:pt x="1721" y="443"/>
                    </a:lnTo>
                    <a:lnTo>
                      <a:pt x="1717" y="439"/>
                    </a:lnTo>
                    <a:lnTo>
                      <a:pt x="1712" y="434"/>
                    </a:lnTo>
                    <a:lnTo>
                      <a:pt x="1708" y="434"/>
                    </a:lnTo>
                    <a:lnTo>
                      <a:pt x="1708" y="429"/>
                    </a:lnTo>
                    <a:lnTo>
                      <a:pt x="1703" y="429"/>
                    </a:lnTo>
                    <a:lnTo>
                      <a:pt x="1703" y="429"/>
                    </a:lnTo>
                    <a:lnTo>
                      <a:pt x="1703" y="429"/>
                    </a:lnTo>
                    <a:lnTo>
                      <a:pt x="1703" y="429"/>
                    </a:lnTo>
                    <a:lnTo>
                      <a:pt x="1699" y="429"/>
                    </a:lnTo>
                    <a:lnTo>
                      <a:pt x="1699" y="425"/>
                    </a:lnTo>
                    <a:lnTo>
                      <a:pt x="1690" y="420"/>
                    </a:lnTo>
                    <a:lnTo>
                      <a:pt x="1690" y="416"/>
                    </a:lnTo>
                    <a:lnTo>
                      <a:pt x="1690" y="416"/>
                    </a:lnTo>
                    <a:lnTo>
                      <a:pt x="1690" y="416"/>
                    </a:lnTo>
                    <a:lnTo>
                      <a:pt x="1685" y="411"/>
                    </a:lnTo>
                    <a:lnTo>
                      <a:pt x="1681" y="407"/>
                    </a:lnTo>
                    <a:lnTo>
                      <a:pt x="1676" y="402"/>
                    </a:lnTo>
                    <a:lnTo>
                      <a:pt x="1676" y="398"/>
                    </a:lnTo>
                    <a:lnTo>
                      <a:pt x="1672" y="398"/>
                    </a:lnTo>
                    <a:lnTo>
                      <a:pt x="1672" y="398"/>
                    </a:lnTo>
                    <a:lnTo>
                      <a:pt x="1676" y="398"/>
                    </a:lnTo>
                    <a:lnTo>
                      <a:pt x="1676" y="398"/>
                    </a:lnTo>
                    <a:lnTo>
                      <a:pt x="1681" y="398"/>
                    </a:lnTo>
                    <a:lnTo>
                      <a:pt x="1681" y="398"/>
                    </a:lnTo>
                    <a:lnTo>
                      <a:pt x="1681" y="398"/>
                    </a:lnTo>
                    <a:lnTo>
                      <a:pt x="1681" y="398"/>
                    </a:lnTo>
                    <a:lnTo>
                      <a:pt x="1681" y="393"/>
                    </a:lnTo>
                    <a:lnTo>
                      <a:pt x="1676" y="393"/>
                    </a:lnTo>
                    <a:lnTo>
                      <a:pt x="1676" y="393"/>
                    </a:lnTo>
                    <a:lnTo>
                      <a:pt x="1676" y="393"/>
                    </a:lnTo>
                    <a:lnTo>
                      <a:pt x="1676" y="389"/>
                    </a:lnTo>
                    <a:lnTo>
                      <a:pt x="1676" y="389"/>
                    </a:lnTo>
                    <a:lnTo>
                      <a:pt x="1676" y="389"/>
                    </a:lnTo>
                    <a:lnTo>
                      <a:pt x="1676" y="389"/>
                    </a:lnTo>
                    <a:lnTo>
                      <a:pt x="1672" y="384"/>
                    </a:lnTo>
                    <a:lnTo>
                      <a:pt x="1667" y="384"/>
                    </a:lnTo>
                    <a:lnTo>
                      <a:pt x="1663" y="380"/>
                    </a:lnTo>
                    <a:lnTo>
                      <a:pt x="1667" y="380"/>
                    </a:lnTo>
                    <a:lnTo>
                      <a:pt x="1667" y="380"/>
                    </a:lnTo>
                    <a:lnTo>
                      <a:pt x="1667" y="380"/>
                    </a:lnTo>
                    <a:lnTo>
                      <a:pt x="1663" y="380"/>
                    </a:lnTo>
                    <a:lnTo>
                      <a:pt x="1667" y="380"/>
                    </a:lnTo>
                    <a:moveTo>
                      <a:pt x="1595" y="371"/>
                    </a:moveTo>
                    <a:lnTo>
                      <a:pt x="1595" y="371"/>
                    </a:lnTo>
                    <a:lnTo>
                      <a:pt x="1595" y="371"/>
                    </a:lnTo>
                    <a:lnTo>
                      <a:pt x="1595" y="371"/>
                    </a:lnTo>
                    <a:lnTo>
                      <a:pt x="1595" y="371"/>
                    </a:lnTo>
                    <a:lnTo>
                      <a:pt x="1595" y="375"/>
                    </a:lnTo>
                    <a:lnTo>
                      <a:pt x="1599" y="375"/>
                    </a:lnTo>
                    <a:lnTo>
                      <a:pt x="1599" y="375"/>
                    </a:lnTo>
                    <a:lnTo>
                      <a:pt x="1599" y="380"/>
                    </a:lnTo>
                    <a:lnTo>
                      <a:pt x="1599" y="380"/>
                    </a:lnTo>
                    <a:lnTo>
                      <a:pt x="1599" y="380"/>
                    </a:lnTo>
                    <a:lnTo>
                      <a:pt x="1599" y="380"/>
                    </a:lnTo>
                    <a:lnTo>
                      <a:pt x="1599" y="380"/>
                    </a:lnTo>
                    <a:lnTo>
                      <a:pt x="1590" y="380"/>
                    </a:lnTo>
                    <a:lnTo>
                      <a:pt x="1590" y="375"/>
                    </a:lnTo>
                    <a:lnTo>
                      <a:pt x="1590" y="380"/>
                    </a:lnTo>
                    <a:lnTo>
                      <a:pt x="1590" y="380"/>
                    </a:lnTo>
                    <a:lnTo>
                      <a:pt x="1586" y="375"/>
                    </a:lnTo>
                    <a:lnTo>
                      <a:pt x="1586" y="375"/>
                    </a:lnTo>
                    <a:lnTo>
                      <a:pt x="1586" y="375"/>
                    </a:lnTo>
                    <a:lnTo>
                      <a:pt x="1586" y="371"/>
                    </a:lnTo>
                    <a:lnTo>
                      <a:pt x="1586" y="371"/>
                    </a:lnTo>
                    <a:lnTo>
                      <a:pt x="1590" y="371"/>
                    </a:lnTo>
                    <a:lnTo>
                      <a:pt x="1595" y="371"/>
                    </a:lnTo>
                    <a:moveTo>
                      <a:pt x="14" y="457"/>
                    </a:moveTo>
                    <a:lnTo>
                      <a:pt x="14" y="457"/>
                    </a:lnTo>
                    <a:lnTo>
                      <a:pt x="18" y="457"/>
                    </a:lnTo>
                    <a:lnTo>
                      <a:pt x="18" y="457"/>
                    </a:lnTo>
                    <a:lnTo>
                      <a:pt x="18" y="457"/>
                    </a:lnTo>
                    <a:lnTo>
                      <a:pt x="23" y="457"/>
                    </a:lnTo>
                    <a:lnTo>
                      <a:pt x="23" y="452"/>
                    </a:lnTo>
                    <a:lnTo>
                      <a:pt x="23" y="452"/>
                    </a:lnTo>
                    <a:lnTo>
                      <a:pt x="23" y="452"/>
                    </a:lnTo>
                    <a:lnTo>
                      <a:pt x="27" y="452"/>
                    </a:lnTo>
                    <a:lnTo>
                      <a:pt x="27" y="452"/>
                    </a:lnTo>
                    <a:lnTo>
                      <a:pt x="27" y="452"/>
                    </a:lnTo>
                    <a:lnTo>
                      <a:pt x="32" y="452"/>
                    </a:lnTo>
                    <a:lnTo>
                      <a:pt x="32" y="452"/>
                    </a:lnTo>
                    <a:lnTo>
                      <a:pt x="36" y="457"/>
                    </a:lnTo>
                    <a:lnTo>
                      <a:pt x="36" y="457"/>
                    </a:lnTo>
                    <a:lnTo>
                      <a:pt x="41" y="457"/>
                    </a:lnTo>
                    <a:lnTo>
                      <a:pt x="41" y="457"/>
                    </a:lnTo>
                    <a:lnTo>
                      <a:pt x="41" y="457"/>
                    </a:lnTo>
                    <a:lnTo>
                      <a:pt x="45" y="457"/>
                    </a:lnTo>
                    <a:lnTo>
                      <a:pt x="45" y="457"/>
                    </a:lnTo>
                    <a:lnTo>
                      <a:pt x="45" y="461"/>
                    </a:lnTo>
                    <a:lnTo>
                      <a:pt x="45" y="461"/>
                    </a:lnTo>
                    <a:lnTo>
                      <a:pt x="45" y="466"/>
                    </a:lnTo>
                    <a:lnTo>
                      <a:pt x="45" y="466"/>
                    </a:lnTo>
                    <a:lnTo>
                      <a:pt x="45" y="466"/>
                    </a:lnTo>
                    <a:lnTo>
                      <a:pt x="45" y="470"/>
                    </a:lnTo>
                    <a:lnTo>
                      <a:pt x="45" y="470"/>
                    </a:lnTo>
                    <a:lnTo>
                      <a:pt x="36" y="470"/>
                    </a:lnTo>
                    <a:lnTo>
                      <a:pt x="32" y="466"/>
                    </a:lnTo>
                    <a:lnTo>
                      <a:pt x="23" y="466"/>
                    </a:lnTo>
                    <a:lnTo>
                      <a:pt x="18" y="466"/>
                    </a:lnTo>
                    <a:lnTo>
                      <a:pt x="9" y="466"/>
                    </a:lnTo>
                    <a:lnTo>
                      <a:pt x="5" y="466"/>
                    </a:lnTo>
                    <a:lnTo>
                      <a:pt x="0" y="466"/>
                    </a:lnTo>
                    <a:lnTo>
                      <a:pt x="0" y="466"/>
                    </a:lnTo>
                    <a:lnTo>
                      <a:pt x="5" y="466"/>
                    </a:lnTo>
                    <a:lnTo>
                      <a:pt x="5" y="461"/>
                    </a:lnTo>
                    <a:lnTo>
                      <a:pt x="5" y="461"/>
                    </a:lnTo>
                    <a:lnTo>
                      <a:pt x="5" y="461"/>
                    </a:lnTo>
                    <a:lnTo>
                      <a:pt x="5" y="457"/>
                    </a:lnTo>
                    <a:lnTo>
                      <a:pt x="9" y="457"/>
                    </a:lnTo>
                    <a:lnTo>
                      <a:pt x="14" y="457"/>
                    </a:lnTo>
                    <a:lnTo>
                      <a:pt x="14" y="457"/>
                    </a:lnTo>
                    <a:lnTo>
                      <a:pt x="14" y="452"/>
                    </a:lnTo>
                    <a:lnTo>
                      <a:pt x="18" y="452"/>
                    </a:lnTo>
                    <a:lnTo>
                      <a:pt x="18" y="452"/>
                    </a:lnTo>
                    <a:lnTo>
                      <a:pt x="18" y="452"/>
                    </a:lnTo>
                    <a:lnTo>
                      <a:pt x="18" y="452"/>
                    </a:lnTo>
                    <a:lnTo>
                      <a:pt x="14" y="457"/>
                    </a:lnTo>
                    <a:lnTo>
                      <a:pt x="14" y="457"/>
                    </a:lnTo>
                    <a:moveTo>
                      <a:pt x="1699" y="68"/>
                    </a:moveTo>
                    <a:lnTo>
                      <a:pt x="1699" y="68"/>
                    </a:lnTo>
                    <a:lnTo>
                      <a:pt x="1703" y="68"/>
                    </a:lnTo>
                    <a:lnTo>
                      <a:pt x="1703" y="68"/>
                    </a:lnTo>
                    <a:lnTo>
                      <a:pt x="1703" y="68"/>
                    </a:lnTo>
                    <a:lnTo>
                      <a:pt x="1703" y="68"/>
                    </a:lnTo>
                    <a:lnTo>
                      <a:pt x="1708" y="68"/>
                    </a:lnTo>
                    <a:lnTo>
                      <a:pt x="1712" y="68"/>
                    </a:lnTo>
                    <a:lnTo>
                      <a:pt x="1717" y="72"/>
                    </a:lnTo>
                    <a:lnTo>
                      <a:pt x="1721" y="72"/>
                    </a:lnTo>
                    <a:lnTo>
                      <a:pt x="1721" y="72"/>
                    </a:lnTo>
                    <a:lnTo>
                      <a:pt x="1717" y="72"/>
                    </a:lnTo>
                    <a:lnTo>
                      <a:pt x="1717" y="72"/>
                    </a:lnTo>
                    <a:lnTo>
                      <a:pt x="1721" y="72"/>
                    </a:lnTo>
                    <a:lnTo>
                      <a:pt x="1721" y="72"/>
                    </a:lnTo>
                    <a:lnTo>
                      <a:pt x="1726" y="72"/>
                    </a:lnTo>
                    <a:lnTo>
                      <a:pt x="1730" y="72"/>
                    </a:lnTo>
                    <a:lnTo>
                      <a:pt x="1730" y="72"/>
                    </a:lnTo>
                    <a:lnTo>
                      <a:pt x="1735" y="77"/>
                    </a:lnTo>
                    <a:lnTo>
                      <a:pt x="1735" y="77"/>
                    </a:lnTo>
                    <a:lnTo>
                      <a:pt x="1735" y="77"/>
                    </a:lnTo>
                    <a:lnTo>
                      <a:pt x="1735" y="77"/>
                    </a:lnTo>
                    <a:lnTo>
                      <a:pt x="1730" y="72"/>
                    </a:lnTo>
                    <a:lnTo>
                      <a:pt x="1726" y="72"/>
                    </a:lnTo>
                    <a:lnTo>
                      <a:pt x="1721" y="72"/>
                    </a:lnTo>
                    <a:lnTo>
                      <a:pt x="1726" y="72"/>
                    </a:lnTo>
                    <a:lnTo>
                      <a:pt x="1735" y="72"/>
                    </a:lnTo>
                    <a:lnTo>
                      <a:pt x="1739" y="77"/>
                    </a:lnTo>
                    <a:lnTo>
                      <a:pt x="1739" y="77"/>
                    </a:lnTo>
                    <a:lnTo>
                      <a:pt x="1739" y="77"/>
                    </a:lnTo>
                    <a:lnTo>
                      <a:pt x="1739" y="77"/>
                    </a:lnTo>
                    <a:lnTo>
                      <a:pt x="1739" y="77"/>
                    </a:lnTo>
                    <a:lnTo>
                      <a:pt x="1739" y="77"/>
                    </a:lnTo>
                    <a:lnTo>
                      <a:pt x="1744" y="77"/>
                    </a:lnTo>
                    <a:lnTo>
                      <a:pt x="1744" y="77"/>
                    </a:lnTo>
                    <a:lnTo>
                      <a:pt x="1749" y="77"/>
                    </a:lnTo>
                    <a:lnTo>
                      <a:pt x="1776" y="81"/>
                    </a:lnTo>
                    <a:lnTo>
                      <a:pt x="1780" y="81"/>
                    </a:lnTo>
                    <a:lnTo>
                      <a:pt x="1780" y="81"/>
                    </a:lnTo>
                    <a:lnTo>
                      <a:pt x="1780" y="81"/>
                    </a:lnTo>
                    <a:lnTo>
                      <a:pt x="1785" y="86"/>
                    </a:lnTo>
                    <a:lnTo>
                      <a:pt x="1785" y="86"/>
                    </a:lnTo>
                    <a:lnTo>
                      <a:pt x="1785" y="86"/>
                    </a:lnTo>
                    <a:lnTo>
                      <a:pt x="1785" y="86"/>
                    </a:lnTo>
                    <a:lnTo>
                      <a:pt x="1785" y="86"/>
                    </a:lnTo>
                    <a:lnTo>
                      <a:pt x="1785" y="86"/>
                    </a:lnTo>
                    <a:lnTo>
                      <a:pt x="1789" y="86"/>
                    </a:lnTo>
                    <a:lnTo>
                      <a:pt x="1789" y="86"/>
                    </a:lnTo>
                    <a:lnTo>
                      <a:pt x="1794" y="86"/>
                    </a:lnTo>
                    <a:lnTo>
                      <a:pt x="1794" y="86"/>
                    </a:lnTo>
                    <a:lnTo>
                      <a:pt x="1798" y="90"/>
                    </a:lnTo>
                    <a:lnTo>
                      <a:pt x="1798" y="90"/>
                    </a:lnTo>
                    <a:lnTo>
                      <a:pt x="1803" y="90"/>
                    </a:lnTo>
                    <a:lnTo>
                      <a:pt x="1803" y="90"/>
                    </a:lnTo>
                    <a:lnTo>
                      <a:pt x="1807" y="95"/>
                    </a:lnTo>
                    <a:lnTo>
                      <a:pt x="1807" y="95"/>
                    </a:lnTo>
                    <a:lnTo>
                      <a:pt x="1812" y="95"/>
                    </a:lnTo>
                    <a:lnTo>
                      <a:pt x="1812" y="95"/>
                    </a:lnTo>
                    <a:lnTo>
                      <a:pt x="1812" y="95"/>
                    </a:lnTo>
                    <a:lnTo>
                      <a:pt x="1816" y="95"/>
                    </a:lnTo>
                    <a:lnTo>
                      <a:pt x="1816" y="95"/>
                    </a:lnTo>
                    <a:lnTo>
                      <a:pt x="1821" y="99"/>
                    </a:lnTo>
                    <a:lnTo>
                      <a:pt x="1821" y="99"/>
                    </a:lnTo>
                    <a:lnTo>
                      <a:pt x="1821" y="99"/>
                    </a:lnTo>
                    <a:lnTo>
                      <a:pt x="1825" y="99"/>
                    </a:lnTo>
                    <a:lnTo>
                      <a:pt x="1825" y="99"/>
                    </a:lnTo>
                    <a:lnTo>
                      <a:pt x="1821" y="99"/>
                    </a:lnTo>
                    <a:lnTo>
                      <a:pt x="1821" y="99"/>
                    </a:lnTo>
                    <a:lnTo>
                      <a:pt x="1821" y="99"/>
                    </a:lnTo>
                    <a:lnTo>
                      <a:pt x="1825" y="99"/>
                    </a:lnTo>
                    <a:lnTo>
                      <a:pt x="1830" y="99"/>
                    </a:lnTo>
                    <a:lnTo>
                      <a:pt x="1830" y="99"/>
                    </a:lnTo>
                    <a:lnTo>
                      <a:pt x="1830" y="99"/>
                    </a:lnTo>
                    <a:lnTo>
                      <a:pt x="1830" y="99"/>
                    </a:lnTo>
                    <a:lnTo>
                      <a:pt x="1830" y="99"/>
                    </a:lnTo>
                    <a:lnTo>
                      <a:pt x="1830" y="99"/>
                    </a:lnTo>
                    <a:lnTo>
                      <a:pt x="1825" y="99"/>
                    </a:lnTo>
                    <a:lnTo>
                      <a:pt x="1825" y="95"/>
                    </a:lnTo>
                    <a:lnTo>
                      <a:pt x="1821" y="95"/>
                    </a:lnTo>
                    <a:lnTo>
                      <a:pt x="1821" y="95"/>
                    </a:lnTo>
                    <a:lnTo>
                      <a:pt x="1816" y="95"/>
                    </a:lnTo>
                    <a:lnTo>
                      <a:pt x="1816" y="95"/>
                    </a:lnTo>
                    <a:lnTo>
                      <a:pt x="1816" y="95"/>
                    </a:lnTo>
                    <a:lnTo>
                      <a:pt x="1816" y="95"/>
                    </a:lnTo>
                    <a:lnTo>
                      <a:pt x="1816" y="90"/>
                    </a:lnTo>
                    <a:lnTo>
                      <a:pt x="1812" y="90"/>
                    </a:lnTo>
                    <a:lnTo>
                      <a:pt x="1812" y="90"/>
                    </a:lnTo>
                    <a:lnTo>
                      <a:pt x="1807" y="90"/>
                    </a:lnTo>
                    <a:lnTo>
                      <a:pt x="1807" y="90"/>
                    </a:lnTo>
                    <a:lnTo>
                      <a:pt x="1803" y="90"/>
                    </a:lnTo>
                    <a:lnTo>
                      <a:pt x="1803" y="90"/>
                    </a:lnTo>
                    <a:lnTo>
                      <a:pt x="1803" y="90"/>
                    </a:lnTo>
                    <a:lnTo>
                      <a:pt x="1803" y="90"/>
                    </a:lnTo>
                    <a:lnTo>
                      <a:pt x="1803" y="90"/>
                    </a:lnTo>
                    <a:lnTo>
                      <a:pt x="1798" y="90"/>
                    </a:lnTo>
                    <a:lnTo>
                      <a:pt x="1803" y="90"/>
                    </a:lnTo>
                    <a:lnTo>
                      <a:pt x="1807" y="86"/>
                    </a:lnTo>
                    <a:lnTo>
                      <a:pt x="1807" y="86"/>
                    </a:lnTo>
                    <a:lnTo>
                      <a:pt x="1807" y="86"/>
                    </a:lnTo>
                    <a:lnTo>
                      <a:pt x="1807" y="86"/>
                    </a:lnTo>
                    <a:lnTo>
                      <a:pt x="1812" y="86"/>
                    </a:lnTo>
                    <a:lnTo>
                      <a:pt x="1812" y="86"/>
                    </a:lnTo>
                    <a:lnTo>
                      <a:pt x="1812" y="86"/>
                    </a:lnTo>
                    <a:lnTo>
                      <a:pt x="1816" y="90"/>
                    </a:lnTo>
                    <a:lnTo>
                      <a:pt x="1816" y="90"/>
                    </a:lnTo>
                    <a:lnTo>
                      <a:pt x="1816" y="90"/>
                    </a:lnTo>
                    <a:lnTo>
                      <a:pt x="1821" y="90"/>
                    </a:lnTo>
                    <a:lnTo>
                      <a:pt x="1821" y="90"/>
                    </a:lnTo>
                    <a:lnTo>
                      <a:pt x="1816" y="90"/>
                    </a:lnTo>
                    <a:lnTo>
                      <a:pt x="1816" y="90"/>
                    </a:lnTo>
                    <a:lnTo>
                      <a:pt x="1816" y="86"/>
                    </a:lnTo>
                    <a:lnTo>
                      <a:pt x="1816" y="86"/>
                    </a:lnTo>
                    <a:lnTo>
                      <a:pt x="1816" y="90"/>
                    </a:lnTo>
                    <a:lnTo>
                      <a:pt x="1816" y="90"/>
                    </a:lnTo>
                    <a:lnTo>
                      <a:pt x="1821" y="86"/>
                    </a:lnTo>
                    <a:lnTo>
                      <a:pt x="1821" y="86"/>
                    </a:lnTo>
                    <a:lnTo>
                      <a:pt x="1821" y="86"/>
                    </a:lnTo>
                    <a:lnTo>
                      <a:pt x="1821" y="86"/>
                    </a:lnTo>
                    <a:lnTo>
                      <a:pt x="1816" y="86"/>
                    </a:lnTo>
                    <a:lnTo>
                      <a:pt x="1816" y="86"/>
                    </a:lnTo>
                    <a:lnTo>
                      <a:pt x="1816" y="86"/>
                    </a:lnTo>
                    <a:lnTo>
                      <a:pt x="1821" y="86"/>
                    </a:lnTo>
                    <a:lnTo>
                      <a:pt x="1825" y="86"/>
                    </a:lnTo>
                    <a:lnTo>
                      <a:pt x="1825" y="86"/>
                    </a:lnTo>
                    <a:lnTo>
                      <a:pt x="1830" y="86"/>
                    </a:lnTo>
                    <a:lnTo>
                      <a:pt x="1834" y="86"/>
                    </a:lnTo>
                    <a:lnTo>
                      <a:pt x="1839" y="90"/>
                    </a:lnTo>
                    <a:lnTo>
                      <a:pt x="1843" y="90"/>
                    </a:lnTo>
                    <a:lnTo>
                      <a:pt x="1848" y="90"/>
                    </a:lnTo>
                    <a:lnTo>
                      <a:pt x="1857" y="95"/>
                    </a:lnTo>
                    <a:lnTo>
                      <a:pt x="1857" y="95"/>
                    </a:lnTo>
                    <a:lnTo>
                      <a:pt x="1857" y="95"/>
                    </a:lnTo>
                    <a:lnTo>
                      <a:pt x="1857" y="95"/>
                    </a:lnTo>
                    <a:lnTo>
                      <a:pt x="1861" y="95"/>
                    </a:lnTo>
                    <a:lnTo>
                      <a:pt x="1861" y="95"/>
                    </a:lnTo>
                    <a:lnTo>
                      <a:pt x="1861" y="95"/>
                    </a:lnTo>
                    <a:lnTo>
                      <a:pt x="1861" y="95"/>
                    </a:lnTo>
                    <a:lnTo>
                      <a:pt x="1861" y="95"/>
                    </a:lnTo>
                    <a:lnTo>
                      <a:pt x="1861" y="95"/>
                    </a:lnTo>
                    <a:lnTo>
                      <a:pt x="1866" y="95"/>
                    </a:lnTo>
                    <a:lnTo>
                      <a:pt x="1866" y="95"/>
                    </a:lnTo>
                    <a:lnTo>
                      <a:pt x="1866" y="95"/>
                    </a:lnTo>
                    <a:lnTo>
                      <a:pt x="1866" y="95"/>
                    </a:lnTo>
                    <a:lnTo>
                      <a:pt x="1866" y="95"/>
                    </a:lnTo>
                    <a:lnTo>
                      <a:pt x="1866" y="95"/>
                    </a:lnTo>
                    <a:lnTo>
                      <a:pt x="1866" y="95"/>
                    </a:lnTo>
                    <a:lnTo>
                      <a:pt x="1866" y="95"/>
                    </a:lnTo>
                    <a:lnTo>
                      <a:pt x="1866" y="95"/>
                    </a:lnTo>
                    <a:lnTo>
                      <a:pt x="1866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5"/>
                    </a:lnTo>
                    <a:lnTo>
                      <a:pt x="1870" y="99"/>
                    </a:lnTo>
                    <a:lnTo>
                      <a:pt x="1870" y="99"/>
                    </a:lnTo>
                    <a:lnTo>
                      <a:pt x="1870" y="99"/>
                    </a:lnTo>
                    <a:lnTo>
                      <a:pt x="1870" y="99"/>
                    </a:lnTo>
                    <a:lnTo>
                      <a:pt x="1870" y="99"/>
                    </a:lnTo>
                    <a:lnTo>
                      <a:pt x="1875" y="99"/>
                    </a:lnTo>
                    <a:lnTo>
                      <a:pt x="1875" y="104"/>
                    </a:lnTo>
                    <a:lnTo>
                      <a:pt x="1880" y="104"/>
                    </a:lnTo>
                    <a:lnTo>
                      <a:pt x="1880" y="104"/>
                    </a:lnTo>
                    <a:lnTo>
                      <a:pt x="1875" y="104"/>
                    </a:lnTo>
                    <a:lnTo>
                      <a:pt x="1875" y="104"/>
                    </a:lnTo>
                    <a:lnTo>
                      <a:pt x="1870" y="104"/>
                    </a:lnTo>
                    <a:lnTo>
                      <a:pt x="1870" y="104"/>
                    </a:lnTo>
                    <a:lnTo>
                      <a:pt x="1866" y="104"/>
                    </a:lnTo>
                    <a:lnTo>
                      <a:pt x="1866" y="104"/>
                    </a:lnTo>
                    <a:lnTo>
                      <a:pt x="1866" y="104"/>
                    </a:lnTo>
                    <a:lnTo>
                      <a:pt x="1866" y="104"/>
                    </a:lnTo>
                    <a:lnTo>
                      <a:pt x="1870" y="104"/>
                    </a:lnTo>
                    <a:lnTo>
                      <a:pt x="1875" y="104"/>
                    </a:lnTo>
                    <a:lnTo>
                      <a:pt x="1875" y="108"/>
                    </a:lnTo>
                    <a:lnTo>
                      <a:pt x="1880" y="108"/>
                    </a:lnTo>
                    <a:lnTo>
                      <a:pt x="1880" y="108"/>
                    </a:lnTo>
                    <a:lnTo>
                      <a:pt x="1875" y="108"/>
                    </a:lnTo>
                    <a:lnTo>
                      <a:pt x="1875" y="108"/>
                    </a:lnTo>
                    <a:lnTo>
                      <a:pt x="1875" y="108"/>
                    </a:lnTo>
                    <a:lnTo>
                      <a:pt x="1870" y="108"/>
                    </a:lnTo>
                    <a:lnTo>
                      <a:pt x="1870" y="108"/>
                    </a:lnTo>
                    <a:lnTo>
                      <a:pt x="1870" y="108"/>
                    </a:lnTo>
                    <a:lnTo>
                      <a:pt x="1870" y="108"/>
                    </a:lnTo>
                    <a:lnTo>
                      <a:pt x="1866" y="108"/>
                    </a:lnTo>
                    <a:lnTo>
                      <a:pt x="1866" y="108"/>
                    </a:lnTo>
                    <a:lnTo>
                      <a:pt x="1866" y="108"/>
                    </a:lnTo>
                    <a:lnTo>
                      <a:pt x="1866" y="108"/>
                    </a:lnTo>
                    <a:lnTo>
                      <a:pt x="1861" y="108"/>
                    </a:lnTo>
                    <a:lnTo>
                      <a:pt x="1861" y="108"/>
                    </a:lnTo>
                    <a:lnTo>
                      <a:pt x="1857" y="108"/>
                    </a:lnTo>
                    <a:lnTo>
                      <a:pt x="1857" y="108"/>
                    </a:lnTo>
                    <a:lnTo>
                      <a:pt x="1861" y="108"/>
                    </a:lnTo>
                    <a:lnTo>
                      <a:pt x="1866" y="108"/>
                    </a:lnTo>
                    <a:lnTo>
                      <a:pt x="1866" y="108"/>
                    </a:lnTo>
                    <a:lnTo>
                      <a:pt x="1866" y="108"/>
                    </a:lnTo>
                    <a:lnTo>
                      <a:pt x="1870" y="108"/>
                    </a:lnTo>
                    <a:lnTo>
                      <a:pt x="1870" y="108"/>
                    </a:lnTo>
                    <a:lnTo>
                      <a:pt x="1870" y="108"/>
                    </a:lnTo>
                    <a:lnTo>
                      <a:pt x="1875" y="113"/>
                    </a:lnTo>
                    <a:lnTo>
                      <a:pt x="1875" y="113"/>
                    </a:lnTo>
                    <a:lnTo>
                      <a:pt x="1870" y="113"/>
                    </a:lnTo>
                    <a:lnTo>
                      <a:pt x="1875" y="113"/>
                    </a:lnTo>
                    <a:lnTo>
                      <a:pt x="1875" y="113"/>
                    </a:lnTo>
                    <a:lnTo>
                      <a:pt x="1875" y="113"/>
                    </a:lnTo>
                    <a:lnTo>
                      <a:pt x="1875" y="113"/>
                    </a:lnTo>
                    <a:lnTo>
                      <a:pt x="1880" y="113"/>
                    </a:lnTo>
                    <a:lnTo>
                      <a:pt x="1884" y="118"/>
                    </a:lnTo>
                    <a:lnTo>
                      <a:pt x="1884" y="118"/>
                    </a:lnTo>
                    <a:lnTo>
                      <a:pt x="1884" y="118"/>
                    </a:lnTo>
                    <a:lnTo>
                      <a:pt x="1884" y="118"/>
                    </a:lnTo>
                    <a:lnTo>
                      <a:pt x="1884" y="122"/>
                    </a:lnTo>
                    <a:lnTo>
                      <a:pt x="1880" y="122"/>
                    </a:lnTo>
                    <a:lnTo>
                      <a:pt x="1880" y="122"/>
                    </a:lnTo>
                    <a:lnTo>
                      <a:pt x="1880" y="122"/>
                    </a:lnTo>
                    <a:lnTo>
                      <a:pt x="1880" y="122"/>
                    </a:lnTo>
                    <a:lnTo>
                      <a:pt x="1880" y="122"/>
                    </a:lnTo>
                    <a:lnTo>
                      <a:pt x="1884" y="122"/>
                    </a:lnTo>
                    <a:lnTo>
                      <a:pt x="1884" y="122"/>
                    </a:lnTo>
                    <a:lnTo>
                      <a:pt x="1884" y="122"/>
                    </a:lnTo>
                    <a:lnTo>
                      <a:pt x="1884" y="122"/>
                    </a:lnTo>
                    <a:lnTo>
                      <a:pt x="1884" y="122"/>
                    </a:lnTo>
                    <a:lnTo>
                      <a:pt x="1889" y="122"/>
                    </a:lnTo>
                    <a:lnTo>
                      <a:pt x="1889" y="122"/>
                    </a:lnTo>
                    <a:lnTo>
                      <a:pt x="1889" y="127"/>
                    </a:lnTo>
                    <a:lnTo>
                      <a:pt x="1889" y="127"/>
                    </a:lnTo>
                    <a:lnTo>
                      <a:pt x="1893" y="127"/>
                    </a:lnTo>
                    <a:lnTo>
                      <a:pt x="1893" y="127"/>
                    </a:lnTo>
                    <a:lnTo>
                      <a:pt x="1898" y="127"/>
                    </a:lnTo>
                    <a:lnTo>
                      <a:pt x="1898" y="127"/>
                    </a:lnTo>
                    <a:lnTo>
                      <a:pt x="1898" y="127"/>
                    </a:lnTo>
                    <a:lnTo>
                      <a:pt x="1898" y="127"/>
                    </a:lnTo>
                    <a:lnTo>
                      <a:pt x="1898" y="127"/>
                    </a:lnTo>
                    <a:lnTo>
                      <a:pt x="1898" y="127"/>
                    </a:lnTo>
                    <a:lnTo>
                      <a:pt x="1893" y="127"/>
                    </a:lnTo>
                    <a:lnTo>
                      <a:pt x="1893" y="127"/>
                    </a:lnTo>
                    <a:lnTo>
                      <a:pt x="1893" y="127"/>
                    </a:lnTo>
                    <a:lnTo>
                      <a:pt x="1893" y="127"/>
                    </a:lnTo>
                    <a:lnTo>
                      <a:pt x="1898" y="127"/>
                    </a:lnTo>
                    <a:lnTo>
                      <a:pt x="1898" y="131"/>
                    </a:lnTo>
                    <a:lnTo>
                      <a:pt x="1898" y="131"/>
                    </a:lnTo>
                    <a:lnTo>
                      <a:pt x="1898" y="131"/>
                    </a:lnTo>
                    <a:lnTo>
                      <a:pt x="1893" y="131"/>
                    </a:lnTo>
                    <a:lnTo>
                      <a:pt x="1893" y="131"/>
                    </a:lnTo>
                    <a:lnTo>
                      <a:pt x="1889" y="127"/>
                    </a:lnTo>
                    <a:lnTo>
                      <a:pt x="1889" y="127"/>
                    </a:lnTo>
                    <a:lnTo>
                      <a:pt x="1889" y="127"/>
                    </a:lnTo>
                    <a:lnTo>
                      <a:pt x="1889" y="127"/>
                    </a:lnTo>
                    <a:lnTo>
                      <a:pt x="1889" y="127"/>
                    </a:lnTo>
                    <a:lnTo>
                      <a:pt x="1889" y="127"/>
                    </a:lnTo>
                    <a:lnTo>
                      <a:pt x="1889" y="131"/>
                    </a:lnTo>
                    <a:lnTo>
                      <a:pt x="1889" y="131"/>
                    </a:lnTo>
                    <a:lnTo>
                      <a:pt x="1889" y="131"/>
                    </a:lnTo>
                    <a:lnTo>
                      <a:pt x="1884" y="131"/>
                    </a:lnTo>
                    <a:lnTo>
                      <a:pt x="1884" y="131"/>
                    </a:lnTo>
                    <a:lnTo>
                      <a:pt x="1880" y="127"/>
                    </a:lnTo>
                    <a:lnTo>
                      <a:pt x="1875" y="127"/>
                    </a:lnTo>
                    <a:lnTo>
                      <a:pt x="1870" y="127"/>
                    </a:lnTo>
                    <a:lnTo>
                      <a:pt x="1866" y="127"/>
                    </a:lnTo>
                    <a:lnTo>
                      <a:pt x="1866" y="127"/>
                    </a:lnTo>
                    <a:lnTo>
                      <a:pt x="1861" y="127"/>
                    </a:lnTo>
                    <a:lnTo>
                      <a:pt x="1861" y="127"/>
                    </a:lnTo>
                    <a:lnTo>
                      <a:pt x="1861" y="127"/>
                    </a:lnTo>
                    <a:lnTo>
                      <a:pt x="1861" y="127"/>
                    </a:lnTo>
                    <a:lnTo>
                      <a:pt x="1857" y="127"/>
                    </a:lnTo>
                    <a:lnTo>
                      <a:pt x="1857" y="127"/>
                    </a:lnTo>
                    <a:lnTo>
                      <a:pt x="1852" y="122"/>
                    </a:lnTo>
                    <a:lnTo>
                      <a:pt x="1852" y="122"/>
                    </a:lnTo>
                    <a:lnTo>
                      <a:pt x="1848" y="122"/>
                    </a:lnTo>
                    <a:lnTo>
                      <a:pt x="1848" y="122"/>
                    </a:lnTo>
                    <a:lnTo>
                      <a:pt x="1843" y="122"/>
                    </a:lnTo>
                    <a:lnTo>
                      <a:pt x="1839" y="118"/>
                    </a:lnTo>
                    <a:lnTo>
                      <a:pt x="1834" y="118"/>
                    </a:lnTo>
                    <a:lnTo>
                      <a:pt x="1830" y="118"/>
                    </a:lnTo>
                    <a:lnTo>
                      <a:pt x="1825" y="118"/>
                    </a:lnTo>
                    <a:lnTo>
                      <a:pt x="1821" y="118"/>
                    </a:lnTo>
                    <a:lnTo>
                      <a:pt x="1821" y="118"/>
                    </a:lnTo>
                    <a:lnTo>
                      <a:pt x="1821" y="118"/>
                    </a:lnTo>
                    <a:lnTo>
                      <a:pt x="1821" y="118"/>
                    </a:lnTo>
                    <a:lnTo>
                      <a:pt x="1816" y="122"/>
                    </a:lnTo>
                    <a:lnTo>
                      <a:pt x="1812" y="122"/>
                    </a:lnTo>
                    <a:lnTo>
                      <a:pt x="1812" y="118"/>
                    </a:lnTo>
                    <a:lnTo>
                      <a:pt x="1807" y="118"/>
                    </a:lnTo>
                    <a:lnTo>
                      <a:pt x="1807" y="118"/>
                    </a:lnTo>
                    <a:lnTo>
                      <a:pt x="1807" y="118"/>
                    </a:lnTo>
                    <a:lnTo>
                      <a:pt x="1803" y="118"/>
                    </a:lnTo>
                    <a:lnTo>
                      <a:pt x="1803" y="118"/>
                    </a:lnTo>
                    <a:lnTo>
                      <a:pt x="1803" y="118"/>
                    </a:lnTo>
                    <a:lnTo>
                      <a:pt x="1798" y="113"/>
                    </a:lnTo>
                    <a:lnTo>
                      <a:pt x="1798" y="113"/>
                    </a:lnTo>
                    <a:lnTo>
                      <a:pt x="1794" y="113"/>
                    </a:lnTo>
                    <a:lnTo>
                      <a:pt x="1794" y="113"/>
                    </a:lnTo>
                    <a:lnTo>
                      <a:pt x="1794" y="113"/>
                    </a:lnTo>
                    <a:lnTo>
                      <a:pt x="1794" y="113"/>
                    </a:lnTo>
                    <a:lnTo>
                      <a:pt x="1794" y="108"/>
                    </a:lnTo>
                    <a:lnTo>
                      <a:pt x="1794" y="108"/>
                    </a:lnTo>
                    <a:lnTo>
                      <a:pt x="1789" y="108"/>
                    </a:lnTo>
                    <a:lnTo>
                      <a:pt x="1789" y="108"/>
                    </a:lnTo>
                    <a:lnTo>
                      <a:pt x="1785" y="104"/>
                    </a:lnTo>
                    <a:lnTo>
                      <a:pt x="1785" y="108"/>
                    </a:lnTo>
                    <a:lnTo>
                      <a:pt x="1789" y="108"/>
                    </a:lnTo>
                    <a:lnTo>
                      <a:pt x="1789" y="108"/>
                    </a:lnTo>
                    <a:lnTo>
                      <a:pt x="1789" y="108"/>
                    </a:lnTo>
                    <a:lnTo>
                      <a:pt x="1789" y="108"/>
                    </a:lnTo>
                    <a:lnTo>
                      <a:pt x="1789" y="108"/>
                    </a:lnTo>
                    <a:lnTo>
                      <a:pt x="1785" y="108"/>
                    </a:lnTo>
                    <a:lnTo>
                      <a:pt x="1780" y="108"/>
                    </a:lnTo>
                    <a:lnTo>
                      <a:pt x="1780" y="108"/>
                    </a:lnTo>
                    <a:lnTo>
                      <a:pt x="1780" y="108"/>
                    </a:lnTo>
                    <a:lnTo>
                      <a:pt x="1780" y="108"/>
                    </a:lnTo>
                    <a:lnTo>
                      <a:pt x="1780" y="108"/>
                    </a:lnTo>
                    <a:lnTo>
                      <a:pt x="1780" y="108"/>
                    </a:lnTo>
                    <a:lnTo>
                      <a:pt x="1785" y="108"/>
                    </a:lnTo>
                    <a:lnTo>
                      <a:pt x="1785" y="113"/>
                    </a:lnTo>
                    <a:lnTo>
                      <a:pt x="1785" y="113"/>
                    </a:lnTo>
                    <a:lnTo>
                      <a:pt x="1785" y="113"/>
                    </a:lnTo>
                    <a:lnTo>
                      <a:pt x="1780" y="113"/>
                    </a:lnTo>
                    <a:lnTo>
                      <a:pt x="1785" y="113"/>
                    </a:lnTo>
                    <a:lnTo>
                      <a:pt x="1785" y="113"/>
                    </a:lnTo>
                    <a:lnTo>
                      <a:pt x="1789" y="118"/>
                    </a:lnTo>
                    <a:lnTo>
                      <a:pt x="1794" y="118"/>
                    </a:lnTo>
                    <a:lnTo>
                      <a:pt x="1794" y="118"/>
                    </a:lnTo>
                    <a:lnTo>
                      <a:pt x="1798" y="118"/>
                    </a:lnTo>
                    <a:lnTo>
                      <a:pt x="1803" y="118"/>
                    </a:lnTo>
                    <a:lnTo>
                      <a:pt x="1803" y="122"/>
                    </a:lnTo>
                    <a:lnTo>
                      <a:pt x="1803" y="122"/>
                    </a:lnTo>
                    <a:lnTo>
                      <a:pt x="1807" y="122"/>
                    </a:lnTo>
                    <a:lnTo>
                      <a:pt x="1807" y="122"/>
                    </a:lnTo>
                    <a:lnTo>
                      <a:pt x="1812" y="127"/>
                    </a:lnTo>
                    <a:lnTo>
                      <a:pt x="1812" y="127"/>
                    </a:lnTo>
                    <a:lnTo>
                      <a:pt x="1812" y="131"/>
                    </a:lnTo>
                    <a:lnTo>
                      <a:pt x="1803" y="127"/>
                    </a:lnTo>
                    <a:lnTo>
                      <a:pt x="1798" y="122"/>
                    </a:lnTo>
                    <a:lnTo>
                      <a:pt x="1789" y="118"/>
                    </a:lnTo>
                    <a:lnTo>
                      <a:pt x="1785" y="113"/>
                    </a:lnTo>
                    <a:lnTo>
                      <a:pt x="1776" y="108"/>
                    </a:lnTo>
                    <a:lnTo>
                      <a:pt x="1767" y="104"/>
                    </a:lnTo>
                    <a:lnTo>
                      <a:pt x="1762" y="104"/>
                    </a:lnTo>
                    <a:lnTo>
                      <a:pt x="1753" y="99"/>
                    </a:lnTo>
                    <a:lnTo>
                      <a:pt x="1749" y="95"/>
                    </a:lnTo>
                    <a:lnTo>
                      <a:pt x="1739" y="90"/>
                    </a:lnTo>
                    <a:lnTo>
                      <a:pt x="1730" y="86"/>
                    </a:lnTo>
                    <a:lnTo>
                      <a:pt x="1726" y="81"/>
                    </a:lnTo>
                    <a:lnTo>
                      <a:pt x="1717" y="81"/>
                    </a:lnTo>
                    <a:lnTo>
                      <a:pt x="1712" y="77"/>
                    </a:lnTo>
                    <a:lnTo>
                      <a:pt x="1703" y="72"/>
                    </a:lnTo>
                    <a:lnTo>
                      <a:pt x="1694" y="68"/>
                    </a:lnTo>
                    <a:lnTo>
                      <a:pt x="1699" y="68"/>
                    </a:lnTo>
                    <a:moveTo>
                      <a:pt x="334" y="185"/>
                    </a:moveTo>
                    <a:lnTo>
                      <a:pt x="334" y="185"/>
                    </a:lnTo>
                    <a:lnTo>
                      <a:pt x="334" y="185"/>
                    </a:lnTo>
                    <a:lnTo>
                      <a:pt x="334" y="185"/>
                    </a:lnTo>
                    <a:lnTo>
                      <a:pt x="334" y="185"/>
                    </a:lnTo>
                    <a:lnTo>
                      <a:pt x="334" y="185"/>
                    </a:lnTo>
                    <a:lnTo>
                      <a:pt x="334" y="185"/>
                    </a:lnTo>
                    <a:lnTo>
                      <a:pt x="334" y="185"/>
                    </a:lnTo>
                    <a:lnTo>
                      <a:pt x="334" y="185"/>
                    </a:lnTo>
                    <a:lnTo>
                      <a:pt x="330" y="190"/>
                    </a:lnTo>
                    <a:lnTo>
                      <a:pt x="325" y="190"/>
                    </a:lnTo>
                    <a:lnTo>
                      <a:pt x="325" y="190"/>
                    </a:lnTo>
                    <a:lnTo>
                      <a:pt x="321" y="194"/>
                    </a:lnTo>
                    <a:lnTo>
                      <a:pt x="316" y="190"/>
                    </a:lnTo>
                    <a:lnTo>
                      <a:pt x="316" y="190"/>
                    </a:lnTo>
                    <a:lnTo>
                      <a:pt x="316" y="190"/>
                    </a:lnTo>
                    <a:lnTo>
                      <a:pt x="312" y="185"/>
                    </a:lnTo>
                    <a:lnTo>
                      <a:pt x="312" y="185"/>
                    </a:lnTo>
                    <a:lnTo>
                      <a:pt x="312" y="185"/>
                    </a:lnTo>
                    <a:lnTo>
                      <a:pt x="312" y="181"/>
                    </a:lnTo>
                    <a:lnTo>
                      <a:pt x="312" y="181"/>
                    </a:lnTo>
                    <a:lnTo>
                      <a:pt x="316" y="181"/>
                    </a:lnTo>
                    <a:lnTo>
                      <a:pt x="316" y="176"/>
                    </a:lnTo>
                    <a:lnTo>
                      <a:pt x="316" y="176"/>
                    </a:lnTo>
                    <a:lnTo>
                      <a:pt x="321" y="176"/>
                    </a:lnTo>
                    <a:lnTo>
                      <a:pt x="330" y="181"/>
                    </a:lnTo>
                    <a:lnTo>
                      <a:pt x="334" y="181"/>
                    </a:lnTo>
                    <a:lnTo>
                      <a:pt x="334" y="185"/>
                    </a:lnTo>
                    <a:moveTo>
                      <a:pt x="1581" y="72"/>
                    </a:moveTo>
                    <a:lnTo>
                      <a:pt x="1581" y="72"/>
                    </a:lnTo>
                    <a:lnTo>
                      <a:pt x="1581" y="77"/>
                    </a:lnTo>
                    <a:lnTo>
                      <a:pt x="1572" y="72"/>
                    </a:lnTo>
                    <a:lnTo>
                      <a:pt x="1572" y="72"/>
                    </a:lnTo>
                    <a:lnTo>
                      <a:pt x="1568" y="72"/>
                    </a:lnTo>
                    <a:lnTo>
                      <a:pt x="1563" y="72"/>
                    </a:lnTo>
                    <a:lnTo>
                      <a:pt x="1563" y="72"/>
                    </a:lnTo>
                    <a:lnTo>
                      <a:pt x="1563" y="72"/>
                    </a:lnTo>
                    <a:lnTo>
                      <a:pt x="1563" y="72"/>
                    </a:lnTo>
                    <a:lnTo>
                      <a:pt x="1563" y="68"/>
                    </a:lnTo>
                    <a:lnTo>
                      <a:pt x="1563" y="68"/>
                    </a:lnTo>
                    <a:lnTo>
                      <a:pt x="1563" y="68"/>
                    </a:lnTo>
                    <a:lnTo>
                      <a:pt x="1577" y="68"/>
                    </a:lnTo>
                    <a:lnTo>
                      <a:pt x="1577" y="68"/>
                    </a:lnTo>
                    <a:lnTo>
                      <a:pt x="1577" y="72"/>
                    </a:lnTo>
                    <a:lnTo>
                      <a:pt x="1581" y="72"/>
                    </a:lnTo>
                    <a:lnTo>
                      <a:pt x="1581" y="72"/>
                    </a:lnTo>
                    <a:lnTo>
                      <a:pt x="1581" y="72"/>
                    </a:lnTo>
                    <a:lnTo>
                      <a:pt x="1581" y="72"/>
                    </a:lnTo>
                    <a:lnTo>
                      <a:pt x="1581" y="72"/>
                    </a:lnTo>
                    <a:lnTo>
                      <a:pt x="1581" y="72"/>
                    </a:lnTo>
                    <a:moveTo>
                      <a:pt x="447" y="167"/>
                    </a:moveTo>
                    <a:lnTo>
                      <a:pt x="447" y="167"/>
                    </a:lnTo>
                    <a:lnTo>
                      <a:pt x="447" y="167"/>
                    </a:lnTo>
                    <a:lnTo>
                      <a:pt x="447" y="167"/>
                    </a:lnTo>
                    <a:lnTo>
                      <a:pt x="447" y="167"/>
                    </a:lnTo>
                    <a:lnTo>
                      <a:pt x="447" y="172"/>
                    </a:lnTo>
                    <a:lnTo>
                      <a:pt x="447" y="172"/>
                    </a:lnTo>
                    <a:lnTo>
                      <a:pt x="443" y="172"/>
                    </a:lnTo>
                    <a:lnTo>
                      <a:pt x="443" y="172"/>
                    </a:lnTo>
                    <a:lnTo>
                      <a:pt x="443" y="172"/>
                    </a:lnTo>
                    <a:lnTo>
                      <a:pt x="438" y="172"/>
                    </a:lnTo>
                    <a:lnTo>
                      <a:pt x="438" y="172"/>
                    </a:lnTo>
                    <a:lnTo>
                      <a:pt x="438" y="172"/>
                    </a:lnTo>
                    <a:lnTo>
                      <a:pt x="438" y="167"/>
                    </a:lnTo>
                    <a:lnTo>
                      <a:pt x="434" y="167"/>
                    </a:lnTo>
                    <a:lnTo>
                      <a:pt x="434" y="167"/>
                    </a:lnTo>
                    <a:lnTo>
                      <a:pt x="434" y="167"/>
                    </a:lnTo>
                    <a:lnTo>
                      <a:pt x="429" y="167"/>
                    </a:lnTo>
                    <a:lnTo>
                      <a:pt x="429" y="167"/>
                    </a:lnTo>
                    <a:lnTo>
                      <a:pt x="429" y="167"/>
                    </a:lnTo>
                    <a:lnTo>
                      <a:pt x="429" y="167"/>
                    </a:lnTo>
                    <a:lnTo>
                      <a:pt x="425" y="163"/>
                    </a:lnTo>
                    <a:lnTo>
                      <a:pt x="425" y="163"/>
                    </a:lnTo>
                    <a:lnTo>
                      <a:pt x="425" y="163"/>
                    </a:lnTo>
                    <a:lnTo>
                      <a:pt x="420" y="163"/>
                    </a:lnTo>
                    <a:lnTo>
                      <a:pt x="420" y="158"/>
                    </a:lnTo>
                    <a:lnTo>
                      <a:pt x="420" y="158"/>
                    </a:lnTo>
                    <a:lnTo>
                      <a:pt x="420" y="158"/>
                    </a:lnTo>
                    <a:lnTo>
                      <a:pt x="420" y="158"/>
                    </a:lnTo>
                    <a:lnTo>
                      <a:pt x="420" y="158"/>
                    </a:lnTo>
                    <a:lnTo>
                      <a:pt x="425" y="158"/>
                    </a:lnTo>
                    <a:lnTo>
                      <a:pt x="425" y="158"/>
                    </a:lnTo>
                    <a:lnTo>
                      <a:pt x="425" y="158"/>
                    </a:lnTo>
                    <a:lnTo>
                      <a:pt x="429" y="158"/>
                    </a:lnTo>
                    <a:lnTo>
                      <a:pt x="429" y="158"/>
                    </a:lnTo>
                    <a:lnTo>
                      <a:pt x="434" y="158"/>
                    </a:lnTo>
                    <a:lnTo>
                      <a:pt x="434" y="163"/>
                    </a:lnTo>
                    <a:lnTo>
                      <a:pt x="438" y="163"/>
                    </a:lnTo>
                    <a:lnTo>
                      <a:pt x="443" y="163"/>
                    </a:lnTo>
                    <a:lnTo>
                      <a:pt x="443" y="167"/>
                    </a:lnTo>
                    <a:lnTo>
                      <a:pt x="447" y="167"/>
                    </a:lnTo>
                    <a:moveTo>
                      <a:pt x="610" y="113"/>
                    </a:moveTo>
                    <a:lnTo>
                      <a:pt x="610" y="113"/>
                    </a:lnTo>
                    <a:lnTo>
                      <a:pt x="601" y="113"/>
                    </a:lnTo>
                    <a:lnTo>
                      <a:pt x="601" y="113"/>
                    </a:lnTo>
                    <a:lnTo>
                      <a:pt x="601" y="113"/>
                    </a:lnTo>
                    <a:lnTo>
                      <a:pt x="601" y="113"/>
                    </a:lnTo>
                    <a:lnTo>
                      <a:pt x="601" y="113"/>
                    </a:lnTo>
                    <a:lnTo>
                      <a:pt x="601" y="108"/>
                    </a:lnTo>
                    <a:lnTo>
                      <a:pt x="601" y="108"/>
                    </a:lnTo>
                    <a:lnTo>
                      <a:pt x="601" y="108"/>
                    </a:lnTo>
                    <a:lnTo>
                      <a:pt x="606" y="108"/>
                    </a:lnTo>
                    <a:lnTo>
                      <a:pt x="610" y="108"/>
                    </a:lnTo>
                    <a:lnTo>
                      <a:pt x="615" y="108"/>
                    </a:lnTo>
                    <a:lnTo>
                      <a:pt x="615" y="108"/>
                    </a:lnTo>
                    <a:lnTo>
                      <a:pt x="610" y="113"/>
                    </a:lnTo>
                    <a:lnTo>
                      <a:pt x="610" y="113"/>
                    </a:lnTo>
                    <a:lnTo>
                      <a:pt x="610" y="113"/>
                    </a:lnTo>
                    <a:lnTo>
                      <a:pt x="610" y="113"/>
                    </a:lnTo>
                    <a:moveTo>
                      <a:pt x="357" y="104"/>
                    </a:moveTo>
                    <a:lnTo>
                      <a:pt x="357" y="104"/>
                    </a:lnTo>
                    <a:lnTo>
                      <a:pt x="362" y="104"/>
                    </a:lnTo>
                    <a:lnTo>
                      <a:pt x="366" y="104"/>
                    </a:lnTo>
                    <a:lnTo>
                      <a:pt x="371" y="104"/>
                    </a:lnTo>
                    <a:lnTo>
                      <a:pt x="371" y="108"/>
                    </a:lnTo>
                    <a:lnTo>
                      <a:pt x="371" y="108"/>
                    </a:lnTo>
                    <a:lnTo>
                      <a:pt x="371" y="108"/>
                    </a:lnTo>
                    <a:lnTo>
                      <a:pt x="371" y="108"/>
                    </a:lnTo>
                    <a:lnTo>
                      <a:pt x="371" y="108"/>
                    </a:lnTo>
                    <a:lnTo>
                      <a:pt x="371" y="113"/>
                    </a:lnTo>
                    <a:lnTo>
                      <a:pt x="371" y="113"/>
                    </a:lnTo>
                    <a:lnTo>
                      <a:pt x="371" y="113"/>
                    </a:lnTo>
                    <a:lnTo>
                      <a:pt x="371" y="113"/>
                    </a:lnTo>
                    <a:lnTo>
                      <a:pt x="366" y="113"/>
                    </a:lnTo>
                    <a:lnTo>
                      <a:pt x="366" y="113"/>
                    </a:lnTo>
                    <a:lnTo>
                      <a:pt x="366" y="118"/>
                    </a:lnTo>
                    <a:lnTo>
                      <a:pt x="366" y="118"/>
                    </a:lnTo>
                    <a:lnTo>
                      <a:pt x="366" y="118"/>
                    </a:lnTo>
                    <a:lnTo>
                      <a:pt x="366" y="118"/>
                    </a:lnTo>
                    <a:lnTo>
                      <a:pt x="366" y="118"/>
                    </a:lnTo>
                    <a:lnTo>
                      <a:pt x="366" y="122"/>
                    </a:lnTo>
                    <a:lnTo>
                      <a:pt x="366" y="122"/>
                    </a:lnTo>
                    <a:lnTo>
                      <a:pt x="366" y="122"/>
                    </a:lnTo>
                    <a:lnTo>
                      <a:pt x="366" y="122"/>
                    </a:lnTo>
                    <a:lnTo>
                      <a:pt x="366" y="122"/>
                    </a:lnTo>
                    <a:lnTo>
                      <a:pt x="371" y="127"/>
                    </a:lnTo>
                    <a:lnTo>
                      <a:pt x="371" y="127"/>
                    </a:lnTo>
                    <a:lnTo>
                      <a:pt x="371" y="127"/>
                    </a:lnTo>
                    <a:lnTo>
                      <a:pt x="371" y="131"/>
                    </a:lnTo>
                    <a:lnTo>
                      <a:pt x="371" y="131"/>
                    </a:lnTo>
                    <a:lnTo>
                      <a:pt x="371" y="131"/>
                    </a:lnTo>
                    <a:lnTo>
                      <a:pt x="375" y="131"/>
                    </a:lnTo>
                    <a:lnTo>
                      <a:pt x="375" y="136"/>
                    </a:lnTo>
                    <a:lnTo>
                      <a:pt x="380" y="140"/>
                    </a:lnTo>
                    <a:lnTo>
                      <a:pt x="384" y="140"/>
                    </a:lnTo>
                    <a:lnTo>
                      <a:pt x="389" y="145"/>
                    </a:lnTo>
                    <a:lnTo>
                      <a:pt x="398" y="149"/>
                    </a:lnTo>
                    <a:lnTo>
                      <a:pt x="398" y="149"/>
                    </a:lnTo>
                    <a:lnTo>
                      <a:pt x="402" y="149"/>
                    </a:lnTo>
                    <a:lnTo>
                      <a:pt x="407" y="149"/>
                    </a:lnTo>
                    <a:lnTo>
                      <a:pt x="407" y="154"/>
                    </a:lnTo>
                    <a:lnTo>
                      <a:pt x="407" y="154"/>
                    </a:lnTo>
                    <a:lnTo>
                      <a:pt x="402" y="154"/>
                    </a:lnTo>
                    <a:lnTo>
                      <a:pt x="402" y="154"/>
                    </a:lnTo>
                    <a:lnTo>
                      <a:pt x="402" y="154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3" y="154"/>
                    </a:lnTo>
                    <a:lnTo>
                      <a:pt x="393" y="154"/>
                    </a:lnTo>
                    <a:lnTo>
                      <a:pt x="393" y="154"/>
                    </a:lnTo>
                    <a:lnTo>
                      <a:pt x="393" y="154"/>
                    </a:lnTo>
                    <a:lnTo>
                      <a:pt x="393" y="154"/>
                    </a:lnTo>
                    <a:lnTo>
                      <a:pt x="393" y="154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3" y="154"/>
                    </a:lnTo>
                    <a:lnTo>
                      <a:pt x="389" y="154"/>
                    </a:lnTo>
                    <a:lnTo>
                      <a:pt x="389" y="154"/>
                    </a:lnTo>
                    <a:lnTo>
                      <a:pt x="389" y="154"/>
                    </a:lnTo>
                    <a:lnTo>
                      <a:pt x="389" y="154"/>
                    </a:lnTo>
                    <a:lnTo>
                      <a:pt x="389" y="154"/>
                    </a:lnTo>
                    <a:lnTo>
                      <a:pt x="389" y="154"/>
                    </a:lnTo>
                    <a:lnTo>
                      <a:pt x="384" y="154"/>
                    </a:lnTo>
                    <a:lnTo>
                      <a:pt x="384" y="154"/>
                    </a:lnTo>
                    <a:lnTo>
                      <a:pt x="384" y="154"/>
                    </a:lnTo>
                    <a:lnTo>
                      <a:pt x="380" y="154"/>
                    </a:lnTo>
                    <a:lnTo>
                      <a:pt x="380" y="154"/>
                    </a:lnTo>
                    <a:lnTo>
                      <a:pt x="375" y="154"/>
                    </a:lnTo>
                    <a:lnTo>
                      <a:pt x="375" y="154"/>
                    </a:lnTo>
                    <a:lnTo>
                      <a:pt x="375" y="154"/>
                    </a:lnTo>
                    <a:lnTo>
                      <a:pt x="375" y="154"/>
                    </a:lnTo>
                    <a:lnTo>
                      <a:pt x="371" y="154"/>
                    </a:lnTo>
                    <a:lnTo>
                      <a:pt x="371" y="154"/>
                    </a:lnTo>
                    <a:lnTo>
                      <a:pt x="366" y="154"/>
                    </a:lnTo>
                    <a:lnTo>
                      <a:pt x="362" y="154"/>
                    </a:lnTo>
                    <a:lnTo>
                      <a:pt x="357" y="149"/>
                    </a:lnTo>
                    <a:lnTo>
                      <a:pt x="357" y="149"/>
                    </a:lnTo>
                    <a:lnTo>
                      <a:pt x="362" y="149"/>
                    </a:lnTo>
                    <a:lnTo>
                      <a:pt x="362" y="149"/>
                    </a:lnTo>
                    <a:lnTo>
                      <a:pt x="357" y="149"/>
                    </a:lnTo>
                    <a:lnTo>
                      <a:pt x="357" y="149"/>
                    </a:lnTo>
                    <a:lnTo>
                      <a:pt x="357" y="145"/>
                    </a:lnTo>
                    <a:lnTo>
                      <a:pt x="362" y="149"/>
                    </a:lnTo>
                    <a:lnTo>
                      <a:pt x="362" y="145"/>
                    </a:lnTo>
                    <a:lnTo>
                      <a:pt x="362" y="145"/>
                    </a:lnTo>
                    <a:lnTo>
                      <a:pt x="362" y="145"/>
                    </a:lnTo>
                    <a:lnTo>
                      <a:pt x="366" y="145"/>
                    </a:lnTo>
                    <a:lnTo>
                      <a:pt x="362" y="145"/>
                    </a:lnTo>
                    <a:lnTo>
                      <a:pt x="357" y="145"/>
                    </a:lnTo>
                    <a:lnTo>
                      <a:pt x="357" y="140"/>
                    </a:lnTo>
                    <a:lnTo>
                      <a:pt x="357" y="140"/>
                    </a:lnTo>
                    <a:lnTo>
                      <a:pt x="353" y="140"/>
                    </a:lnTo>
                    <a:lnTo>
                      <a:pt x="353" y="140"/>
                    </a:lnTo>
                    <a:lnTo>
                      <a:pt x="353" y="140"/>
                    </a:lnTo>
                    <a:lnTo>
                      <a:pt x="353" y="140"/>
                    </a:lnTo>
                    <a:lnTo>
                      <a:pt x="353" y="140"/>
                    </a:lnTo>
                    <a:lnTo>
                      <a:pt x="348" y="140"/>
                    </a:lnTo>
                    <a:lnTo>
                      <a:pt x="344" y="140"/>
                    </a:lnTo>
                    <a:lnTo>
                      <a:pt x="344" y="140"/>
                    </a:lnTo>
                    <a:lnTo>
                      <a:pt x="339" y="140"/>
                    </a:lnTo>
                    <a:lnTo>
                      <a:pt x="334" y="140"/>
                    </a:lnTo>
                    <a:lnTo>
                      <a:pt x="334" y="140"/>
                    </a:lnTo>
                    <a:lnTo>
                      <a:pt x="334" y="140"/>
                    </a:lnTo>
                    <a:lnTo>
                      <a:pt x="330" y="140"/>
                    </a:lnTo>
                    <a:lnTo>
                      <a:pt x="330" y="136"/>
                    </a:lnTo>
                    <a:lnTo>
                      <a:pt x="330" y="136"/>
                    </a:lnTo>
                    <a:lnTo>
                      <a:pt x="330" y="136"/>
                    </a:lnTo>
                    <a:lnTo>
                      <a:pt x="325" y="131"/>
                    </a:lnTo>
                    <a:lnTo>
                      <a:pt x="325" y="131"/>
                    </a:lnTo>
                    <a:lnTo>
                      <a:pt x="330" y="131"/>
                    </a:lnTo>
                    <a:lnTo>
                      <a:pt x="330" y="127"/>
                    </a:lnTo>
                    <a:lnTo>
                      <a:pt x="330" y="127"/>
                    </a:lnTo>
                    <a:lnTo>
                      <a:pt x="330" y="127"/>
                    </a:lnTo>
                    <a:lnTo>
                      <a:pt x="334" y="127"/>
                    </a:lnTo>
                    <a:lnTo>
                      <a:pt x="334" y="127"/>
                    </a:lnTo>
                    <a:lnTo>
                      <a:pt x="334" y="127"/>
                    </a:lnTo>
                    <a:lnTo>
                      <a:pt x="334" y="127"/>
                    </a:lnTo>
                    <a:lnTo>
                      <a:pt x="334" y="127"/>
                    </a:lnTo>
                    <a:lnTo>
                      <a:pt x="339" y="127"/>
                    </a:lnTo>
                    <a:lnTo>
                      <a:pt x="339" y="127"/>
                    </a:lnTo>
                    <a:lnTo>
                      <a:pt x="339" y="122"/>
                    </a:lnTo>
                    <a:lnTo>
                      <a:pt x="339" y="122"/>
                    </a:lnTo>
                    <a:lnTo>
                      <a:pt x="339" y="122"/>
                    </a:lnTo>
                    <a:lnTo>
                      <a:pt x="339" y="122"/>
                    </a:lnTo>
                    <a:lnTo>
                      <a:pt x="339" y="122"/>
                    </a:lnTo>
                    <a:lnTo>
                      <a:pt x="339" y="118"/>
                    </a:lnTo>
                    <a:lnTo>
                      <a:pt x="339" y="118"/>
                    </a:lnTo>
                    <a:lnTo>
                      <a:pt x="339" y="118"/>
                    </a:lnTo>
                    <a:lnTo>
                      <a:pt x="334" y="118"/>
                    </a:lnTo>
                    <a:lnTo>
                      <a:pt x="334" y="118"/>
                    </a:lnTo>
                    <a:lnTo>
                      <a:pt x="334" y="118"/>
                    </a:lnTo>
                    <a:lnTo>
                      <a:pt x="334" y="118"/>
                    </a:lnTo>
                    <a:lnTo>
                      <a:pt x="334" y="118"/>
                    </a:lnTo>
                    <a:lnTo>
                      <a:pt x="334" y="113"/>
                    </a:lnTo>
                    <a:lnTo>
                      <a:pt x="334" y="113"/>
                    </a:lnTo>
                    <a:lnTo>
                      <a:pt x="334" y="113"/>
                    </a:lnTo>
                    <a:lnTo>
                      <a:pt x="339" y="113"/>
                    </a:lnTo>
                    <a:lnTo>
                      <a:pt x="339" y="113"/>
                    </a:lnTo>
                    <a:lnTo>
                      <a:pt x="339" y="113"/>
                    </a:lnTo>
                    <a:lnTo>
                      <a:pt x="339" y="113"/>
                    </a:lnTo>
                    <a:lnTo>
                      <a:pt x="339" y="113"/>
                    </a:lnTo>
                    <a:lnTo>
                      <a:pt x="334" y="108"/>
                    </a:lnTo>
                    <a:lnTo>
                      <a:pt x="334" y="108"/>
                    </a:lnTo>
                    <a:lnTo>
                      <a:pt x="334" y="108"/>
                    </a:lnTo>
                    <a:lnTo>
                      <a:pt x="339" y="108"/>
                    </a:lnTo>
                    <a:lnTo>
                      <a:pt x="339" y="108"/>
                    </a:lnTo>
                    <a:lnTo>
                      <a:pt x="339" y="108"/>
                    </a:lnTo>
                    <a:lnTo>
                      <a:pt x="339" y="104"/>
                    </a:lnTo>
                    <a:lnTo>
                      <a:pt x="344" y="104"/>
                    </a:lnTo>
                    <a:lnTo>
                      <a:pt x="344" y="104"/>
                    </a:lnTo>
                    <a:lnTo>
                      <a:pt x="348" y="104"/>
                    </a:lnTo>
                    <a:lnTo>
                      <a:pt x="348" y="104"/>
                    </a:lnTo>
                    <a:lnTo>
                      <a:pt x="348" y="104"/>
                    </a:lnTo>
                    <a:lnTo>
                      <a:pt x="353" y="104"/>
                    </a:lnTo>
                    <a:lnTo>
                      <a:pt x="353" y="104"/>
                    </a:lnTo>
                    <a:lnTo>
                      <a:pt x="357" y="104"/>
                    </a:lnTo>
                    <a:lnTo>
                      <a:pt x="357" y="104"/>
                    </a:lnTo>
                    <a:moveTo>
                      <a:pt x="524" y="104"/>
                    </a:moveTo>
                    <a:lnTo>
                      <a:pt x="524" y="104"/>
                    </a:lnTo>
                    <a:lnTo>
                      <a:pt x="520" y="104"/>
                    </a:lnTo>
                    <a:lnTo>
                      <a:pt x="520" y="104"/>
                    </a:lnTo>
                    <a:lnTo>
                      <a:pt x="520" y="104"/>
                    </a:lnTo>
                    <a:lnTo>
                      <a:pt x="520" y="104"/>
                    </a:lnTo>
                    <a:lnTo>
                      <a:pt x="515" y="104"/>
                    </a:lnTo>
                    <a:lnTo>
                      <a:pt x="515" y="104"/>
                    </a:lnTo>
                    <a:lnTo>
                      <a:pt x="515" y="99"/>
                    </a:lnTo>
                    <a:lnTo>
                      <a:pt x="515" y="99"/>
                    </a:lnTo>
                    <a:lnTo>
                      <a:pt x="515" y="99"/>
                    </a:lnTo>
                    <a:lnTo>
                      <a:pt x="515" y="95"/>
                    </a:lnTo>
                    <a:lnTo>
                      <a:pt x="515" y="95"/>
                    </a:lnTo>
                    <a:lnTo>
                      <a:pt x="520" y="95"/>
                    </a:lnTo>
                    <a:lnTo>
                      <a:pt x="524" y="95"/>
                    </a:lnTo>
                    <a:lnTo>
                      <a:pt x="524" y="95"/>
                    </a:lnTo>
                    <a:lnTo>
                      <a:pt x="524" y="95"/>
                    </a:lnTo>
                    <a:lnTo>
                      <a:pt x="529" y="99"/>
                    </a:lnTo>
                    <a:lnTo>
                      <a:pt x="529" y="99"/>
                    </a:lnTo>
                    <a:lnTo>
                      <a:pt x="533" y="99"/>
                    </a:lnTo>
                    <a:lnTo>
                      <a:pt x="533" y="99"/>
                    </a:lnTo>
                    <a:lnTo>
                      <a:pt x="533" y="99"/>
                    </a:lnTo>
                    <a:lnTo>
                      <a:pt x="529" y="99"/>
                    </a:lnTo>
                    <a:lnTo>
                      <a:pt x="524" y="104"/>
                    </a:lnTo>
                    <a:lnTo>
                      <a:pt x="524" y="104"/>
                    </a:lnTo>
                    <a:moveTo>
                      <a:pt x="935" y="54"/>
                    </a:moveTo>
                    <a:lnTo>
                      <a:pt x="935" y="54"/>
                    </a:lnTo>
                    <a:lnTo>
                      <a:pt x="940" y="54"/>
                    </a:lnTo>
                    <a:lnTo>
                      <a:pt x="940" y="54"/>
                    </a:lnTo>
                    <a:lnTo>
                      <a:pt x="940" y="54"/>
                    </a:lnTo>
                    <a:lnTo>
                      <a:pt x="940" y="54"/>
                    </a:lnTo>
                    <a:lnTo>
                      <a:pt x="935" y="59"/>
                    </a:lnTo>
                    <a:lnTo>
                      <a:pt x="940" y="59"/>
                    </a:lnTo>
                    <a:lnTo>
                      <a:pt x="935" y="59"/>
                    </a:lnTo>
                    <a:lnTo>
                      <a:pt x="931" y="59"/>
                    </a:lnTo>
                    <a:lnTo>
                      <a:pt x="931" y="59"/>
                    </a:lnTo>
                    <a:lnTo>
                      <a:pt x="926" y="59"/>
                    </a:lnTo>
                    <a:lnTo>
                      <a:pt x="922" y="59"/>
                    </a:lnTo>
                    <a:lnTo>
                      <a:pt x="922" y="54"/>
                    </a:lnTo>
                    <a:lnTo>
                      <a:pt x="922" y="54"/>
                    </a:lnTo>
                    <a:lnTo>
                      <a:pt x="922" y="54"/>
                    </a:lnTo>
                    <a:lnTo>
                      <a:pt x="922" y="54"/>
                    </a:lnTo>
                    <a:lnTo>
                      <a:pt x="922" y="54"/>
                    </a:lnTo>
                    <a:lnTo>
                      <a:pt x="922" y="54"/>
                    </a:lnTo>
                    <a:lnTo>
                      <a:pt x="922" y="54"/>
                    </a:lnTo>
                    <a:lnTo>
                      <a:pt x="922" y="54"/>
                    </a:lnTo>
                    <a:lnTo>
                      <a:pt x="922" y="50"/>
                    </a:lnTo>
                    <a:lnTo>
                      <a:pt x="931" y="54"/>
                    </a:lnTo>
                    <a:lnTo>
                      <a:pt x="935" y="54"/>
                    </a:lnTo>
                    <a:lnTo>
                      <a:pt x="935" y="54"/>
                    </a:lnTo>
                    <a:moveTo>
                      <a:pt x="456" y="45"/>
                    </a:moveTo>
                    <a:lnTo>
                      <a:pt x="456" y="45"/>
                    </a:lnTo>
                    <a:lnTo>
                      <a:pt x="452" y="50"/>
                    </a:lnTo>
                    <a:lnTo>
                      <a:pt x="452" y="50"/>
                    </a:lnTo>
                    <a:lnTo>
                      <a:pt x="447" y="50"/>
                    </a:lnTo>
                    <a:lnTo>
                      <a:pt x="447" y="50"/>
                    </a:lnTo>
                    <a:lnTo>
                      <a:pt x="443" y="50"/>
                    </a:lnTo>
                    <a:lnTo>
                      <a:pt x="438" y="54"/>
                    </a:lnTo>
                    <a:lnTo>
                      <a:pt x="434" y="54"/>
                    </a:lnTo>
                    <a:lnTo>
                      <a:pt x="429" y="54"/>
                    </a:lnTo>
                    <a:lnTo>
                      <a:pt x="425" y="59"/>
                    </a:lnTo>
                    <a:lnTo>
                      <a:pt x="420" y="59"/>
                    </a:lnTo>
                    <a:lnTo>
                      <a:pt x="420" y="59"/>
                    </a:lnTo>
                    <a:lnTo>
                      <a:pt x="416" y="59"/>
                    </a:lnTo>
                    <a:lnTo>
                      <a:pt x="416" y="59"/>
                    </a:lnTo>
                    <a:lnTo>
                      <a:pt x="407" y="63"/>
                    </a:lnTo>
                    <a:lnTo>
                      <a:pt x="402" y="68"/>
                    </a:lnTo>
                    <a:lnTo>
                      <a:pt x="402" y="68"/>
                    </a:lnTo>
                    <a:lnTo>
                      <a:pt x="402" y="68"/>
                    </a:lnTo>
                    <a:lnTo>
                      <a:pt x="402" y="68"/>
                    </a:lnTo>
                    <a:lnTo>
                      <a:pt x="398" y="68"/>
                    </a:lnTo>
                    <a:lnTo>
                      <a:pt x="398" y="68"/>
                    </a:lnTo>
                    <a:lnTo>
                      <a:pt x="398" y="68"/>
                    </a:lnTo>
                    <a:lnTo>
                      <a:pt x="398" y="72"/>
                    </a:lnTo>
                    <a:lnTo>
                      <a:pt x="398" y="72"/>
                    </a:lnTo>
                    <a:lnTo>
                      <a:pt x="393" y="72"/>
                    </a:lnTo>
                    <a:lnTo>
                      <a:pt x="393" y="72"/>
                    </a:lnTo>
                    <a:lnTo>
                      <a:pt x="393" y="72"/>
                    </a:lnTo>
                    <a:lnTo>
                      <a:pt x="393" y="72"/>
                    </a:lnTo>
                    <a:lnTo>
                      <a:pt x="398" y="72"/>
                    </a:lnTo>
                    <a:lnTo>
                      <a:pt x="398" y="72"/>
                    </a:lnTo>
                    <a:lnTo>
                      <a:pt x="398" y="72"/>
                    </a:lnTo>
                    <a:lnTo>
                      <a:pt x="393" y="77"/>
                    </a:lnTo>
                    <a:lnTo>
                      <a:pt x="393" y="77"/>
                    </a:lnTo>
                    <a:lnTo>
                      <a:pt x="393" y="77"/>
                    </a:lnTo>
                    <a:lnTo>
                      <a:pt x="393" y="77"/>
                    </a:lnTo>
                    <a:lnTo>
                      <a:pt x="389" y="77"/>
                    </a:lnTo>
                    <a:lnTo>
                      <a:pt x="389" y="77"/>
                    </a:lnTo>
                    <a:lnTo>
                      <a:pt x="393" y="77"/>
                    </a:lnTo>
                    <a:lnTo>
                      <a:pt x="393" y="77"/>
                    </a:lnTo>
                    <a:lnTo>
                      <a:pt x="389" y="81"/>
                    </a:lnTo>
                    <a:lnTo>
                      <a:pt x="389" y="81"/>
                    </a:lnTo>
                    <a:lnTo>
                      <a:pt x="384" y="77"/>
                    </a:lnTo>
                    <a:lnTo>
                      <a:pt x="384" y="77"/>
                    </a:lnTo>
                    <a:lnTo>
                      <a:pt x="384" y="81"/>
                    </a:lnTo>
                    <a:lnTo>
                      <a:pt x="384" y="81"/>
                    </a:lnTo>
                    <a:lnTo>
                      <a:pt x="384" y="81"/>
                    </a:lnTo>
                    <a:lnTo>
                      <a:pt x="384" y="81"/>
                    </a:lnTo>
                    <a:lnTo>
                      <a:pt x="384" y="81"/>
                    </a:lnTo>
                    <a:lnTo>
                      <a:pt x="380" y="81"/>
                    </a:lnTo>
                    <a:lnTo>
                      <a:pt x="380" y="81"/>
                    </a:lnTo>
                    <a:lnTo>
                      <a:pt x="380" y="81"/>
                    </a:lnTo>
                    <a:lnTo>
                      <a:pt x="384" y="86"/>
                    </a:lnTo>
                    <a:lnTo>
                      <a:pt x="384" y="86"/>
                    </a:lnTo>
                    <a:lnTo>
                      <a:pt x="384" y="86"/>
                    </a:lnTo>
                    <a:lnTo>
                      <a:pt x="384" y="90"/>
                    </a:lnTo>
                    <a:lnTo>
                      <a:pt x="375" y="90"/>
                    </a:lnTo>
                    <a:lnTo>
                      <a:pt x="380" y="90"/>
                    </a:lnTo>
                    <a:lnTo>
                      <a:pt x="380" y="95"/>
                    </a:lnTo>
                    <a:lnTo>
                      <a:pt x="380" y="95"/>
                    </a:lnTo>
                    <a:lnTo>
                      <a:pt x="380" y="95"/>
                    </a:lnTo>
                    <a:lnTo>
                      <a:pt x="380" y="95"/>
                    </a:lnTo>
                    <a:lnTo>
                      <a:pt x="380" y="95"/>
                    </a:lnTo>
                    <a:lnTo>
                      <a:pt x="380" y="95"/>
                    </a:lnTo>
                    <a:lnTo>
                      <a:pt x="375" y="95"/>
                    </a:lnTo>
                    <a:lnTo>
                      <a:pt x="375" y="95"/>
                    </a:lnTo>
                    <a:lnTo>
                      <a:pt x="375" y="95"/>
                    </a:lnTo>
                    <a:lnTo>
                      <a:pt x="375" y="95"/>
                    </a:lnTo>
                    <a:lnTo>
                      <a:pt x="380" y="99"/>
                    </a:lnTo>
                    <a:lnTo>
                      <a:pt x="380" y="99"/>
                    </a:lnTo>
                    <a:lnTo>
                      <a:pt x="375" y="99"/>
                    </a:lnTo>
                    <a:lnTo>
                      <a:pt x="375" y="104"/>
                    </a:lnTo>
                    <a:lnTo>
                      <a:pt x="371" y="104"/>
                    </a:lnTo>
                    <a:lnTo>
                      <a:pt x="371" y="104"/>
                    </a:lnTo>
                    <a:lnTo>
                      <a:pt x="366" y="104"/>
                    </a:lnTo>
                    <a:lnTo>
                      <a:pt x="366" y="104"/>
                    </a:lnTo>
                    <a:lnTo>
                      <a:pt x="362" y="104"/>
                    </a:lnTo>
                    <a:lnTo>
                      <a:pt x="357" y="104"/>
                    </a:lnTo>
                    <a:lnTo>
                      <a:pt x="353" y="104"/>
                    </a:lnTo>
                    <a:lnTo>
                      <a:pt x="353" y="104"/>
                    </a:lnTo>
                    <a:lnTo>
                      <a:pt x="348" y="104"/>
                    </a:lnTo>
                    <a:lnTo>
                      <a:pt x="348" y="104"/>
                    </a:lnTo>
                    <a:lnTo>
                      <a:pt x="344" y="104"/>
                    </a:lnTo>
                    <a:lnTo>
                      <a:pt x="344" y="99"/>
                    </a:lnTo>
                    <a:lnTo>
                      <a:pt x="339" y="99"/>
                    </a:lnTo>
                    <a:lnTo>
                      <a:pt x="339" y="95"/>
                    </a:lnTo>
                    <a:lnTo>
                      <a:pt x="339" y="95"/>
                    </a:lnTo>
                    <a:lnTo>
                      <a:pt x="339" y="95"/>
                    </a:lnTo>
                    <a:lnTo>
                      <a:pt x="339" y="95"/>
                    </a:lnTo>
                    <a:lnTo>
                      <a:pt x="344" y="95"/>
                    </a:lnTo>
                    <a:lnTo>
                      <a:pt x="344" y="95"/>
                    </a:lnTo>
                    <a:lnTo>
                      <a:pt x="344" y="95"/>
                    </a:lnTo>
                    <a:lnTo>
                      <a:pt x="344" y="90"/>
                    </a:lnTo>
                    <a:lnTo>
                      <a:pt x="344" y="90"/>
                    </a:lnTo>
                    <a:lnTo>
                      <a:pt x="348" y="90"/>
                    </a:lnTo>
                    <a:lnTo>
                      <a:pt x="348" y="90"/>
                    </a:lnTo>
                    <a:lnTo>
                      <a:pt x="348" y="86"/>
                    </a:lnTo>
                    <a:lnTo>
                      <a:pt x="348" y="86"/>
                    </a:lnTo>
                    <a:lnTo>
                      <a:pt x="353" y="81"/>
                    </a:lnTo>
                    <a:lnTo>
                      <a:pt x="357" y="81"/>
                    </a:lnTo>
                    <a:lnTo>
                      <a:pt x="353" y="81"/>
                    </a:lnTo>
                    <a:lnTo>
                      <a:pt x="353" y="81"/>
                    </a:lnTo>
                    <a:lnTo>
                      <a:pt x="348" y="81"/>
                    </a:lnTo>
                    <a:lnTo>
                      <a:pt x="348" y="81"/>
                    </a:lnTo>
                    <a:lnTo>
                      <a:pt x="348" y="81"/>
                    </a:lnTo>
                    <a:lnTo>
                      <a:pt x="348" y="81"/>
                    </a:lnTo>
                    <a:lnTo>
                      <a:pt x="348" y="77"/>
                    </a:lnTo>
                    <a:lnTo>
                      <a:pt x="353" y="77"/>
                    </a:lnTo>
                    <a:lnTo>
                      <a:pt x="353" y="72"/>
                    </a:lnTo>
                    <a:lnTo>
                      <a:pt x="353" y="72"/>
                    </a:lnTo>
                    <a:lnTo>
                      <a:pt x="353" y="72"/>
                    </a:lnTo>
                    <a:lnTo>
                      <a:pt x="348" y="72"/>
                    </a:lnTo>
                    <a:lnTo>
                      <a:pt x="348" y="72"/>
                    </a:lnTo>
                    <a:lnTo>
                      <a:pt x="348" y="72"/>
                    </a:lnTo>
                    <a:lnTo>
                      <a:pt x="344" y="72"/>
                    </a:lnTo>
                    <a:lnTo>
                      <a:pt x="348" y="72"/>
                    </a:lnTo>
                    <a:lnTo>
                      <a:pt x="348" y="68"/>
                    </a:lnTo>
                    <a:lnTo>
                      <a:pt x="348" y="68"/>
                    </a:lnTo>
                    <a:lnTo>
                      <a:pt x="348" y="72"/>
                    </a:lnTo>
                    <a:lnTo>
                      <a:pt x="353" y="72"/>
                    </a:lnTo>
                    <a:lnTo>
                      <a:pt x="353" y="72"/>
                    </a:lnTo>
                    <a:lnTo>
                      <a:pt x="353" y="72"/>
                    </a:lnTo>
                    <a:lnTo>
                      <a:pt x="357" y="68"/>
                    </a:lnTo>
                    <a:lnTo>
                      <a:pt x="353" y="68"/>
                    </a:lnTo>
                    <a:lnTo>
                      <a:pt x="353" y="68"/>
                    </a:lnTo>
                    <a:lnTo>
                      <a:pt x="353" y="68"/>
                    </a:lnTo>
                    <a:lnTo>
                      <a:pt x="357" y="68"/>
                    </a:lnTo>
                    <a:lnTo>
                      <a:pt x="357" y="68"/>
                    </a:lnTo>
                    <a:lnTo>
                      <a:pt x="357" y="68"/>
                    </a:lnTo>
                    <a:lnTo>
                      <a:pt x="362" y="68"/>
                    </a:lnTo>
                    <a:lnTo>
                      <a:pt x="362" y="68"/>
                    </a:lnTo>
                    <a:lnTo>
                      <a:pt x="362" y="63"/>
                    </a:lnTo>
                    <a:lnTo>
                      <a:pt x="362" y="63"/>
                    </a:lnTo>
                    <a:lnTo>
                      <a:pt x="366" y="63"/>
                    </a:lnTo>
                    <a:lnTo>
                      <a:pt x="366" y="63"/>
                    </a:lnTo>
                    <a:lnTo>
                      <a:pt x="362" y="59"/>
                    </a:lnTo>
                    <a:lnTo>
                      <a:pt x="366" y="59"/>
                    </a:lnTo>
                    <a:lnTo>
                      <a:pt x="366" y="59"/>
                    </a:lnTo>
                    <a:lnTo>
                      <a:pt x="371" y="59"/>
                    </a:lnTo>
                    <a:lnTo>
                      <a:pt x="371" y="54"/>
                    </a:lnTo>
                    <a:lnTo>
                      <a:pt x="371" y="54"/>
                    </a:lnTo>
                    <a:lnTo>
                      <a:pt x="375" y="54"/>
                    </a:lnTo>
                    <a:lnTo>
                      <a:pt x="380" y="54"/>
                    </a:lnTo>
                    <a:lnTo>
                      <a:pt x="380" y="54"/>
                    </a:lnTo>
                    <a:lnTo>
                      <a:pt x="380" y="54"/>
                    </a:lnTo>
                    <a:lnTo>
                      <a:pt x="380" y="50"/>
                    </a:lnTo>
                    <a:lnTo>
                      <a:pt x="384" y="50"/>
                    </a:lnTo>
                    <a:lnTo>
                      <a:pt x="384" y="50"/>
                    </a:lnTo>
                    <a:lnTo>
                      <a:pt x="389" y="54"/>
                    </a:lnTo>
                    <a:lnTo>
                      <a:pt x="389" y="54"/>
                    </a:lnTo>
                    <a:lnTo>
                      <a:pt x="389" y="50"/>
                    </a:lnTo>
                    <a:lnTo>
                      <a:pt x="389" y="50"/>
                    </a:lnTo>
                    <a:lnTo>
                      <a:pt x="389" y="50"/>
                    </a:lnTo>
                    <a:lnTo>
                      <a:pt x="389" y="50"/>
                    </a:lnTo>
                    <a:lnTo>
                      <a:pt x="389" y="50"/>
                    </a:lnTo>
                    <a:lnTo>
                      <a:pt x="389" y="50"/>
                    </a:lnTo>
                    <a:lnTo>
                      <a:pt x="393" y="50"/>
                    </a:lnTo>
                    <a:lnTo>
                      <a:pt x="393" y="50"/>
                    </a:lnTo>
                    <a:lnTo>
                      <a:pt x="398" y="50"/>
                    </a:lnTo>
                    <a:lnTo>
                      <a:pt x="402" y="50"/>
                    </a:lnTo>
                    <a:lnTo>
                      <a:pt x="407" y="50"/>
                    </a:lnTo>
                    <a:lnTo>
                      <a:pt x="407" y="50"/>
                    </a:lnTo>
                    <a:lnTo>
                      <a:pt x="411" y="45"/>
                    </a:lnTo>
                    <a:lnTo>
                      <a:pt x="420" y="45"/>
                    </a:lnTo>
                    <a:lnTo>
                      <a:pt x="420" y="45"/>
                    </a:lnTo>
                    <a:lnTo>
                      <a:pt x="425" y="45"/>
                    </a:lnTo>
                    <a:lnTo>
                      <a:pt x="425" y="41"/>
                    </a:lnTo>
                    <a:lnTo>
                      <a:pt x="425" y="41"/>
                    </a:lnTo>
                    <a:lnTo>
                      <a:pt x="429" y="41"/>
                    </a:lnTo>
                    <a:lnTo>
                      <a:pt x="429" y="41"/>
                    </a:lnTo>
                    <a:lnTo>
                      <a:pt x="429" y="41"/>
                    </a:lnTo>
                    <a:lnTo>
                      <a:pt x="429" y="41"/>
                    </a:lnTo>
                    <a:lnTo>
                      <a:pt x="429" y="41"/>
                    </a:lnTo>
                    <a:lnTo>
                      <a:pt x="429" y="41"/>
                    </a:lnTo>
                    <a:lnTo>
                      <a:pt x="434" y="36"/>
                    </a:lnTo>
                    <a:lnTo>
                      <a:pt x="434" y="36"/>
                    </a:lnTo>
                    <a:lnTo>
                      <a:pt x="438" y="36"/>
                    </a:lnTo>
                    <a:lnTo>
                      <a:pt x="443" y="32"/>
                    </a:lnTo>
                    <a:lnTo>
                      <a:pt x="443" y="32"/>
                    </a:lnTo>
                    <a:lnTo>
                      <a:pt x="443" y="32"/>
                    </a:lnTo>
                    <a:lnTo>
                      <a:pt x="447" y="32"/>
                    </a:lnTo>
                    <a:lnTo>
                      <a:pt x="452" y="32"/>
                    </a:lnTo>
                    <a:lnTo>
                      <a:pt x="456" y="36"/>
                    </a:lnTo>
                    <a:lnTo>
                      <a:pt x="461" y="36"/>
                    </a:lnTo>
                    <a:lnTo>
                      <a:pt x="461" y="36"/>
                    </a:lnTo>
                    <a:lnTo>
                      <a:pt x="461" y="36"/>
                    </a:lnTo>
                    <a:lnTo>
                      <a:pt x="461" y="36"/>
                    </a:lnTo>
                    <a:lnTo>
                      <a:pt x="461" y="41"/>
                    </a:lnTo>
                    <a:lnTo>
                      <a:pt x="461" y="41"/>
                    </a:lnTo>
                    <a:lnTo>
                      <a:pt x="461" y="41"/>
                    </a:lnTo>
                    <a:lnTo>
                      <a:pt x="456" y="45"/>
                    </a:lnTo>
                    <a:lnTo>
                      <a:pt x="456" y="45"/>
                    </a:lnTo>
                    <a:lnTo>
                      <a:pt x="456" y="45"/>
                    </a:lnTo>
                    <a:moveTo>
                      <a:pt x="791" y="4"/>
                    </a:moveTo>
                    <a:lnTo>
                      <a:pt x="791" y="4"/>
                    </a:lnTo>
                    <a:lnTo>
                      <a:pt x="791" y="4"/>
                    </a:lnTo>
                    <a:lnTo>
                      <a:pt x="795" y="4"/>
                    </a:lnTo>
                    <a:lnTo>
                      <a:pt x="800" y="4"/>
                    </a:lnTo>
                    <a:lnTo>
                      <a:pt x="804" y="4"/>
                    </a:lnTo>
                    <a:lnTo>
                      <a:pt x="804" y="4"/>
                    </a:lnTo>
                    <a:lnTo>
                      <a:pt x="804" y="9"/>
                    </a:lnTo>
                    <a:lnTo>
                      <a:pt x="804" y="9"/>
                    </a:lnTo>
                    <a:lnTo>
                      <a:pt x="804" y="9"/>
                    </a:lnTo>
                    <a:lnTo>
                      <a:pt x="800" y="14"/>
                    </a:lnTo>
                    <a:lnTo>
                      <a:pt x="795" y="14"/>
                    </a:lnTo>
                    <a:lnTo>
                      <a:pt x="795" y="14"/>
                    </a:lnTo>
                    <a:lnTo>
                      <a:pt x="804" y="14"/>
                    </a:lnTo>
                    <a:lnTo>
                      <a:pt x="809" y="14"/>
                    </a:lnTo>
                    <a:lnTo>
                      <a:pt x="809" y="14"/>
                    </a:lnTo>
                    <a:lnTo>
                      <a:pt x="813" y="14"/>
                    </a:lnTo>
                    <a:lnTo>
                      <a:pt x="813" y="14"/>
                    </a:lnTo>
                    <a:lnTo>
                      <a:pt x="813" y="14"/>
                    </a:lnTo>
                    <a:lnTo>
                      <a:pt x="818" y="14"/>
                    </a:lnTo>
                    <a:lnTo>
                      <a:pt x="818" y="14"/>
                    </a:lnTo>
                    <a:lnTo>
                      <a:pt x="822" y="14"/>
                    </a:lnTo>
                    <a:lnTo>
                      <a:pt x="827" y="14"/>
                    </a:lnTo>
                    <a:lnTo>
                      <a:pt x="827" y="14"/>
                    </a:lnTo>
                    <a:lnTo>
                      <a:pt x="827" y="18"/>
                    </a:lnTo>
                    <a:lnTo>
                      <a:pt x="827" y="18"/>
                    </a:lnTo>
                    <a:lnTo>
                      <a:pt x="827" y="23"/>
                    </a:lnTo>
                    <a:lnTo>
                      <a:pt x="827" y="23"/>
                    </a:lnTo>
                    <a:lnTo>
                      <a:pt x="827" y="23"/>
                    </a:lnTo>
                    <a:lnTo>
                      <a:pt x="827" y="23"/>
                    </a:lnTo>
                    <a:lnTo>
                      <a:pt x="831" y="23"/>
                    </a:lnTo>
                    <a:lnTo>
                      <a:pt x="831" y="23"/>
                    </a:lnTo>
                    <a:lnTo>
                      <a:pt x="831" y="23"/>
                    </a:lnTo>
                    <a:lnTo>
                      <a:pt x="840" y="23"/>
                    </a:lnTo>
                    <a:lnTo>
                      <a:pt x="840" y="23"/>
                    </a:lnTo>
                    <a:lnTo>
                      <a:pt x="840" y="18"/>
                    </a:lnTo>
                    <a:lnTo>
                      <a:pt x="840" y="18"/>
                    </a:lnTo>
                    <a:lnTo>
                      <a:pt x="836" y="18"/>
                    </a:lnTo>
                    <a:lnTo>
                      <a:pt x="840" y="18"/>
                    </a:lnTo>
                    <a:lnTo>
                      <a:pt x="840" y="18"/>
                    </a:lnTo>
                    <a:lnTo>
                      <a:pt x="845" y="18"/>
                    </a:lnTo>
                    <a:lnTo>
                      <a:pt x="849" y="18"/>
                    </a:lnTo>
                    <a:lnTo>
                      <a:pt x="854" y="18"/>
                    </a:lnTo>
                    <a:lnTo>
                      <a:pt x="859" y="14"/>
                    </a:lnTo>
                    <a:lnTo>
                      <a:pt x="868" y="14"/>
                    </a:lnTo>
                    <a:lnTo>
                      <a:pt x="872" y="14"/>
                    </a:lnTo>
                    <a:lnTo>
                      <a:pt x="872" y="18"/>
                    </a:lnTo>
                    <a:lnTo>
                      <a:pt x="877" y="18"/>
                    </a:lnTo>
                    <a:lnTo>
                      <a:pt x="877" y="18"/>
                    </a:lnTo>
                    <a:lnTo>
                      <a:pt x="881" y="18"/>
                    </a:lnTo>
                    <a:lnTo>
                      <a:pt x="881" y="18"/>
                    </a:lnTo>
                    <a:lnTo>
                      <a:pt x="881" y="23"/>
                    </a:lnTo>
                    <a:lnTo>
                      <a:pt x="881" y="18"/>
                    </a:lnTo>
                    <a:lnTo>
                      <a:pt x="886" y="18"/>
                    </a:lnTo>
                    <a:lnTo>
                      <a:pt x="886" y="18"/>
                    </a:lnTo>
                    <a:lnTo>
                      <a:pt x="886" y="18"/>
                    </a:lnTo>
                    <a:lnTo>
                      <a:pt x="890" y="23"/>
                    </a:lnTo>
                    <a:lnTo>
                      <a:pt x="895" y="23"/>
                    </a:lnTo>
                    <a:lnTo>
                      <a:pt x="895" y="23"/>
                    </a:lnTo>
                    <a:lnTo>
                      <a:pt x="895" y="27"/>
                    </a:lnTo>
                    <a:lnTo>
                      <a:pt x="895" y="27"/>
                    </a:lnTo>
                    <a:lnTo>
                      <a:pt x="895" y="27"/>
                    </a:lnTo>
                    <a:lnTo>
                      <a:pt x="899" y="23"/>
                    </a:lnTo>
                    <a:lnTo>
                      <a:pt x="899" y="23"/>
                    </a:lnTo>
                    <a:lnTo>
                      <a:pt x="899" y="23"/>
                    </a:lnTo>
                    <a:lnTo>
                      <a:pt x="895" y="23"/>
                    </a:lnTo>
                    <a:lnTo>
                      <a:pt x="895" y="23"/>
                    </a:lnTo>
                    <a:lnTo>
                      <a:pt x="895" y="23"/>
                    </a:lnTo>
                    <a:lnTo>
                      <a:pt x="895" y="23"/>
                    </a:lnTo>
                    <a:lnTo>
                      <a:pt x="899" y="23"/>
                    </a:lnTo>
                    <a:lnTo>
                      <a:pt x="899" y="23"/>
                    </a:lnTo>
                    <a:lnTo>
                      <a:pt x="908" y="27"/>
                    </a:lnTo>
                    <a:lnTo>
                      <a:pt x="908" y="27"/>
                    </a:lnTo>
                    <a:lnTo>
                      <a:pt x="913" y="27"/>
                    </a:lnTo>
                    <a:lnTo>
                      <a:pt x="913" y="32"/>
                    </a:lnTo>
                    <a:lnTo>
                      <a:pt x="913" y="32"/>
                    </a:lnTo>
                    <a:lnTo>
                      <a:pt x="913" y="32"/>
                    </a:lnTo>
                    <a:lnTo>
                      <a:pt x="913" y="32"/>
                    </a:lnTo>
                    <a:lnTo>
                      <a:pt x="913" y="32"/>
                    </a:lnTo>
                    <a:lnTo>
                      <a:pt x="913" y="32"/>
                    </a:lnTo>
                    <a:lnTo>
                      <a:pt x="908" y="32"/>
                    </a:lnTo>
                    <a:lnTo>
                      <a:pt x="908" y="32"/>
                    </a:lnTo>
                    <a:lnTo>
                      <a:pt x="899" y="27"/>
                    </a:lnTo>
                    <a:lnTo>
                      <a:pt x="899" y="27"/>
                    </a:lnTo>
                    <a:lnTo>
                      <a:pt x="899" y="27"/>
                    </a:lnTo>
                    <a:lnTo>
                      <a:pt x="899" y="32"/>
                    </a:lnTo>
                    <a:lnTo>
                      <a:pt x="904" y="32"/>
                    </a:lnTo>
                    <a:lnTo>
                      <a:pt x="908" y="32"/>
                    </a:lnTo>
                    <a:lnTo>
                      <a:pt x="908" y="32"/>
                    </a:lnTo>
                    <a:lnTo>
                      <a:pt x="908" y="32"/>
                    </a:lnTo>
                    <a:lnTo>
                      <a:pt x="913" y="36"/>
                    </a:lnTo>
                    <a:lnTo>
                      <a:pt x="917" y="36"/>
                    </a:lnTo>
                    <a:lnTo>
                      <a:pt x="917" y="36"/>
                    </a:lnTo>
                    <a:lnTo>
                      <a:pt x="922" y="36"/>
                    </a:lnTo>
                    <a:lnTo>
                      <a:pt x="922" y="45"/>
                    </a:lnTo>
                    <a:lnTo>
                      <a:pt x="917" y="45"/>
                    </a:lnTo>
                    <a:lnTo>
                      <a:pt x="917" y="50"/>
                    </a:lnTo>
                    <a:lnTo>
                      <a:pt x="913" y="50"/>
                    </a:lnTo>
                    <a:lnTo>
                      <a:pt x="908" y="54"/>
                    </a:lnTo>
                    <a:lnTo>
                      <a:pt x="908" y="54"/>
                    </a:lnTo>
                    <a:lnTo>
                      <a:pt x="908" y="54"/>
                    </a:lnTo>
                    <a:lnTo>
                      <a:pt x="904" y="59"/>
                    </a:lnTo>
                    <a:lnTo>
                      <a:pt x="904" y="59"/>
                    </a:lnTo>
                    <a:lnTo>
                      <a:pt x="908" y="59"/>
                    </a:lnTo>
                    <a:lnTo>
                      <a:pt x="908" y="59"/>
                    </a:lnTo>
                    <a:lnTo>
                      <a:pt x="908" y="59"/>
                    </a:lnTo>
                    <a:lnTo>
                      <a:pt x="904" y="63"/>
                    </a:lnTo>
                    <a:lnTo>
                      <a:pt x="904" y="63"/>
                    </a:lnTo>
                    <a:lnTo>
                      <a:pt x="899" y="68"/>
                    </a:lnTo>
                    <a:lnTo>
                      <a:pt x="899" y="72"/>
                    </a:lnTo>
                    <a:lnTo>
                      <a:pt x="895" y="72"/>
                    </a:lnTo>
                    <a:lnTo>
                      <a:pt x="890" y="72"/>
                    </a:lnTo>
                    <a:lnTo>
                      <a:pt x="895" y="77"/>
                    </a:lnTo>
                    <a:lnTo>
                      <a:pt x="890" y="77"/>
                    </a:lnTo>
                    <a:lnTo>
                      <a:pt x="886" y="77"/>
                    </a:lnTo>
                    <a:lnTo>
                      <a:pt x="890" y="86"/>
                    </a:lnTo>
                    <a:lnTo>
                      <a:pt x="890" y="86"/>
                    </a:lnTo>
                    <a:lnTo>
                      <a:pt x="886" y="86"/>
                    </a:lnTo>
                    <a:lnTo>
                      <a:pt x="890" y="86"/>
                    </a:lnTo>
                    <a:lnTo>
                      <a:pt x="890" y="86"/>
                    </a:lnTo>
                    <a:lnTo>
                      <a:pt x="895" y="86"/>
                    </a:lnTo>
                    <a:lnTo>
                      <a:pt x="895" y="81"/>
                    </a:lnTo>
                    <a:lnTo>
                      <a:pt x="895" y="81"/>
                    </a:lnTo>
                    <a:lnTo>
                      <a:pt x="895" y="81"/>
                    </a:lnTo>
                    <a:lnTo>
                      <a:pt x="895" y="81"/>
                    </a:lnTo>
                    <a:lnTo>
                      <a:pt x="899" y="81"/>
                    </a:lnTo>
                    <a:lnTo>
                      <a:pt x="904" y="81"/>
                    </a:lnTo>
                    <a:lnTo>
                      <a:pt x="908" y="77"/>
                    </a:lnTo>
                    <a:lnTo>
                      <a:pt x="908" y="77"/>
                    </a:lnTo>
                    <a:lnTo>
                      <a:pt x="908" y="77"/>
                    </a:lnTo>
                    <a:lnTo>
                      <a:pt x="908" y="77"/>
                    </a:lnTo>
                    <a:lnTo>
                      <a:pt x="908" y="77"/>
                    </a:lnTo>
                    <a:lnTo>
                      <a:pt x="913" y="77"/>
                    </a:lnTo>
                    <a:lnTo>
                      <a:pt x="917" y="72"/>
                    </a:lnTo>
                    <a:lnTo>
                      <a:pt x="917" y="72"/>
                    </a:lnTo>
                    <a:lnTo>
                      <a:pt x="917" y="72"/>
                    </a:lnTo>
                    <a:lnTo>
                      <a:pt x="917" y="72"/>
                    </a:lnTo>
                    <a:lnTo>
                      <a:pt x="922" y="72"/>
                    </a:lnTo>
                    <a:lnTo>
                      <a:pt x="922" y="68"/>
                    </a:lnTo>
                    <a:lnTo>
                      <a:pt x="926" y="68"/>
                    </a:lnTo>
                    <a:lnTo>
                      <a:pt x="926" y="68"/>
                    </a:lnTo>
                    <a:lnTo>
                      <a:pt x="926" y="68"/>
                    </a:lnTo>
                    <a:lnTo>
                      <a:pt x="922" y="68"/>
                    </a:lnTo>
                    <a:lnTo>
                      <a:pt x="922" y="68"/>
                    </a:lnTo>
                    <a:lnTo>
                      <a:pt x="917" y="68"/>
                    </a:lnTo>
                    <a:lnTo>
                      <a:pt x="917" y="68"/>
                    </a:lnTo>
                    <a:lnTo>
                      <a:pt x="913" y="68"/>
                    </a:lnTo>
                    <a:lnTo>
                      <a:pt x="913" y="68"/>
                    </a:lnTo>
                    <a:lnTo>
                      <a:pt x="913" y="63"/>
                    </a:lnTo>
                    <a:lnTo>
                      <a:pt x="913" y="63"/>
                    </a:lnTo>
                    <a:lnTo>
                      <a:pt x="913" y="63"/>
                    </a:lnTo>
                    <a:lnTo>
                      <a:pt x="913" y="63"/>
                    </a:lnTo>
                    <a:lnTo>
                      <a:pt x="922" y="63"/>
                    </a:lnTo>
                    <a:lnTo>
                      <a:pt x="922" y="63"/>
                    </a:lnTo>
                    <a:lnTo>
                      <a:pt x="922" y="63"/>
                    </a:lnTo>
                    <a:lnTo>
                      <a:pt x="926" y="59"/>
                    </a:lnTo>
                    <a:lnTo>
                      <a:pt x="926" y="63"/>
                    </a:lnTo>
                    <a:lnTo>
                      <a:pt x="926" y="63"/>
                    </a:lnTo>
                    <a:lnTo>
                      <a:pt x="926" y="63"/>
                    </a:lnTo>
                    <a:lnTo>
                      <a:pt x="926" y="63"/>
                    </a:lnTo>
                    <a:lnTo>
                      <a:pt x="931" y="63"/>
                    </a:lnTo>
                    <a:lnTo>
                      <a:pt x="935" y="68"/>
                    </a:lnTo>
                    <a:lnTo>
                      <a:pt x="940" y="68"/>
                    </a:lnTo>
                    <a:lnTo>
                      <a:pt x="940" y="68"/>
                    </a:lnTo>
                    <a:lnTo>
                      <a:pt x="944" y="63"/>
                    </a:lnTo>
                    <a:lnTo>
                      <a:pt x="944" y="63"/>
                    </a:lnTo>
                    <a:lnTo>
                      <a:pt x="944" y="63"/>
                    </a:lnTo>
                    <a:lnTo>
                      <a:pt x="940" y="63"/>
                    </a:lnTo>
                    <a:lnTo>
                      <a:pt x="940" y="63"/>
                    </a:lnTo>
                    <a:lnTo>
                      <a:pt x="944" y="63"/>
                    </a:lnTo>
                    <a:lnTo>
                      <a:pt x="949" y="63"/>
                    </a:lnTo>
                    <a:lnTo>
                      <a:pt x="949" y="63"/>
                    </a:lnTo>
                    <a:lnTo>
                      <a:pt x="953" y="68"/>
                    </a:lnTo>
                    <a:lnTo>
                      <a:pt x="953" y="68"/>
                    </a:lnTo>
                    <a:lnTo>
                      <a:pt x="953" y="68"/>
                    </a:lnTo>
                    <a:lnTo>
                      <a:pt x="958" y="72"/>
                    </a:lnTo>
                    <a:lnTo>
                      <a:pt x="958" y="72"/>
                    </a:lnTo>
                    <a:lnTo>
                      <a:pt x="962" y="77"/>
                    </a:lnTo>
                    <a:lnTo>
                      <a:pt x="967" y="77"/>
                    </a:lnTo>
                    <a:lnTo>
                      <a:pt x="967" y="77"/>
                    </a:lnTo>
                    <a:lnTo>
                      <a:pt x="967" y="81"/>
                    </a:lnTo>
                    <a:lnTo>
                      <a:pt x="967" y="81"/>
                    </a:lnTo>
                    <a:lnTo>
                      <a:pt x="967" y="81"/>
                    </a:lnTo>
                    <a:lnTo>
                      <a:pt x="971" y="81"/>
                    </a:lnTo>
                    <a:lnTo>
                      <a:pt x="971" y="86"/>
                    </a:lnTo>
                    <a:lnTo>
                      <a:pt x="976" y="86"/>
                    </a:lnTo>
                    <a:lnTo>
                      <a:pt x="976" y="81"/>
                    </a:lnTo>
                    <a:lnTo>
                      <a:pt x="976" y="81"/>
                    </a:lnTo>
                    <a:lnTo>
                      <a:pt x="971" y="81"/>
                    </a:lnTo>
                    <a:lnTo>
                      <a:pt x="971" y="81"/>
                    </a:lnTo>
                    <a:lnTo>
                      <a:pt x="967" y="81"/>
                    </a:lnTo>
                    <a:lnTo>
                      <a:pt x="967" y="81"/>
                    </a:lnTo>
                    <a:lnTo>
                      <a:pt x="967" y="77"/>
                    </a:lnTo>
                    <a:lnTo>
                      <a:pt x="967" y="77"/>
                    </a:lnTo>
                    <a:lnTo>
                      <a:pt x="967" y="77"/>
                    </a:lnTo>
                    <a:lnTo>
                      <a:pt x="962" y="72"/>
                    </a:lnTo>
                    <a:lnTo>
                      <a:pt x="962" y="72"/>
                    </a:lnTo>
                    <a:lnTo>
                      <a:pt x="962" y="72"/>
                    </a:lnTo>
                    <a:lnTo>
                      <a:pt x="962" y="72"/>
                    </a:lnTo>
                    <a:lnTo>
                      <a:pt x="962" y="72"/>
                    </a:lnTo>
                    <a:lnTo>
                      <a:pt x="962" y="72"/>
                    </a:lnTo>
                    <a:lnTo>
                      <a:pt x="962" y="72"/>
                    </a:lnTo>
                    <a:lnTo>
                      <a:pt x="958" y="68"/>
                    </a:lnTo>
                    <a:lnTo>
                      <a:pt x="958" y="68"/>
                    </a:lnTo>
                    <a:lnTo>
                      <a:pt x="958" y="68"/>
                    </a:lnTo>
                    <a:lnTo>
                      <a:pt x="962" y="68"/>
                    </a:lnTo>
                    <a:lnTo>
                      <a:pt x="967" y="68"/>
                    </a:lnTo>
                    <a:lnTo>
                      <a:pt x="971" y="63"/>
                    </a:lnTo>
                    <a:lnTo>
                      <a:pt x="981" y="63"/>
                    </a:lnTo>
                    <a:lnTo>
                      <a:pt x="994" y="63"/>
                    </a:lnTo>
                    <a:lnTo>
                      <a:pt x="1003" y="63"/>
                    </a:lnTo>
                    <a:lnTo>
                      <a:pt x="1008" y="63"/>
                    </a:lnTo>
                    <a:lnTo>
                      <a:pt x="1008" y="63"/>
                    </a:lnTo>
                    <a:lnTo>
                      <a:pt x="1012" y="63"/>
                    </a:lnTo>
                    <a:lnTo>
                      <a:pt x="1008" y="63"/>
                    </a:lnTo>
                    <a:lnTo>
                      <a:pt x="1008" y="63"/>
                    </a:lnTo>
                    <a:lnTo>
                      <a:pt x="1008" y="68"/>
                    </a:lnTo>
                    <a:lnTo>
                      <a:pt x="1012" y="68"/>
                    </a:lnTo>
                    <a:lnTo>
                      <a:pt x="1017" y="72"/>
                    </a:lnTo>
                    <a:lnTo>
                      <a:pt x="1026" y="72"/>
                    </a:lnTo>
                    <a:lnTo>
                      <a:pt x="1030" y="72"/>
                    </a:lnTo>
                    <a:lnTo>
                      <a:pt x="1030" y="72"/>
                    </a:lnTo>
                    <a:lnTo>
                      <a:pt x="1039" y="72"/>
                    </a:lnTo>
                    <a:lnTo>
                      <a:pt x="1044" y="72"/>
                    </a:lnTo>
                    <a:lnTo>
                      <a:pt x="1044" y="72"/>
                    </a:lnTo>
                    <a:lnTo>
                      <a:pt x="1048" y="72"/>
                    </a:lnTo>
                    <a:lnTo>
                      <a:pt x="1053" y="72"/>
                    </a:lnTo>
                    <a:lnTo>
                      <a:pt x="1053" y="72"/>
                    </a:lnTo>
                    <a:lnTo>
                      <a:pt x="1057" y="72"/>
                    </a:lnTo>
                    <a:lnTo>
                      <a:pt x="1057" y="72"/>
                    </a:lnTo>
                    <a:lnTo>
                      <a:pt x="1062" y="72"/>
                    </a:lnTo>
                    <a:lnTo>
                      <a:pt x="1062" y="72"/>
                    </a:lnTo>
                    <a:lnTo>
                      <a:pt x="1062" y="72"/>
                    </a:lnTo>
                    <a:lnTo>
                      <a:pt x="1057" y="72"/>
                    </a:lnTo>
                    <a:lnTo>
                      <a:pt x="1057" y="68"/>
                    </a:lnTo>
                    <a:lnTo>
                      <a:pt x="1057" y="68"/>
                    </a:lnTo>
                    <a:lnTo>
                      <a:pt x="1062" y="72"/>
                    </a:lnTo>
                    <a:lnTo>
                      <a:pt x="1062" y="72"/>
                    </a:lnTo>
                    <a:lnTo>
                      <a:pt x="1062" y="68"/>
                    </a:lnTo>
                    <a:lnTo>
                      <a:pt x="1062" y="68"/>
                    </a:lnTo>
                    <a:lnTo>
                      <a:pt x="1062" y="68"/>
                    </a:lnTo>
                    <a:lnTo>
                      <a:pt x="1062" y="68"/>
                    </a:lnTo>
                    <a:lnTo>
                      <a:pt x="1062" y="68"/>
                    </a:lnTo>
                    <a:lnTo>
                      <a:pt x="1062" y="68"/>
                    </a:lnTo>
                    <a:lnTo>
                      <a:pt x="1062" y="63"/>
                    </a:lnTo>
                    <a:lnTo>
                      <a:pt x="1057" y="63"/>
                    </a:lnTo>
                    <a:lnTo>
                      <a:pt x="1057" y="63"/>
                    </a:lnTo>
                    <a:lnTo>
                      <a:pt x="1053" y="63"/>
                    </a:lnTo>
                    <a:lnTo>
                      <a:pt x="1053" y="59"/>
                    </a:lnTo>
                    <a:lnTo>
                      <a:pt x="1053" y="59"/>
                    </a:lnTo>
                    <a:lnTo>
                      <a:pt x="1053" y="59"/>
                    </a:lnTo>
                    <a:lnTo>
                      <a:pt x="1053" y="59"/>
                    </a:lnTo>
                    <a:lnTo>
                      <a:pt x="1053" y="59"/>
                    </a:lnTo>
                    <a:lnTo>
                      <a:pt x="1053" y="59"/>
                    </a:lnTo>
                    <a:lnTo>
                      <a:pt x="1057" y="54"/>
                    </a:lnTo>
                    <a:lnTo>
                      <a:pt x="1057" y="54"/>
                    </a:lnTo>
                    <a:lnTo>
                      <a:pt x="1062" y="54"/>
                    </a:lnTo>
                    <a:lnTo>
                      <a:pt x="1075" y="59"/>
                    </a:lnTo>
                    <a:lnTo>
                      <a:pt x="1075" y="59"/>
                    </a:lnTo>
                    <a:lnTo>
                      <a:pt x="1075" y="59"/>
                    </a:lnTo>
                    <a:lnTo>
                      <a:pt x="1075" y="59"/>
                    </a:lnTo>
                    <a:lnTo>
                      <a:pt x="1080" y="59"/>
                    </a:lnTo>
                    <a:lnTo>
                      <a:pt x="1080" y="59"/>
                    </a:lnTo>
                    <a:lnTo>
                      <a:pt x="1080" y="59"/>
                    </a:lnTo>
                    <a:lnTo>
                      <a:pt x="1080" y="59"/>
                    </a:lnTo>
                    <a:lnTo>
                      <a:pt x="1084" y="59"/>
                    </a:lnTo>
                    <a:lnTo>
                      <a:pt x="1084" y="59"/>
                    </a:lnTo>
                    <a:lnTo>
                      <a:pt x="1084" y="59"/>
                    </a:lnTo>
                    <a:lnTo>
                      <a:pt x="1084" y="59"/>
                    </a:lnTo>
                    <a:lnTo>
                      <a:pt x="1089" y="59"/>
                    </a:lnTo>
                    <a:lnTo>
                      <a:pt x="1089" y="59"/>
                    </a:lnTo>
                    <a:lnTo>
                      <a:pt x="1089" y="59"/>
                    </a:lnTo>
                    <a:lnTo>
                      <a:pt x="1089" y="59"/>
                    </a:lnTo>
                    <a:lnTo>
                      <a:pt x="1093" y="59"/>
                    </a:lnTo>
                    <a:lnTo>
                      <a:pt x="1098" y="59"/>
                    </a:lnTo>
                    <a:lnTo>
                      <a:pt x="1098" y="59"/>
                    </a:lnTo>
                    <a:lnTo>
                      <a:pt x="1102" y="59"/>
                    </a:lnTo>
                    <a:lnTo>
                      <a:pt x="1102" y="59"/>
                    </a:lnTo>
                    <a:lnTo>
                      <a:pt x="1102" y="59"/>
                    </a:lnTo>
                    <a:lnTo>
                      <a:pt x="1107" y="59"/>
                    </a:lnTo>
                    <a:lnTo>
                      <a:pt x="1107" y="59"/>
                    </a:lnTo>
                    <a:lnTo>
                      <a:pt x="1107" y="59"/>
                    </a:lnTo>
                    <a:lnTo>
                      <a:pt x="1112" y="59"/>
                    </a:lnTo>
                    <a:lnTo>
                      <a:pt x="1112" y="63"/>
                    </a:lnTo>
                    <a:lnTo>
                      <a:pt x="1116" y="63"/>
                    </a:lnTo>
                    <a:lnTo>
                      <a:pt x="1116" y="63"/>
                    </a:lnTo>
                    <a:lnTo>
                      <a:pt x="1116" y="63"/>
                    </a:lnTo>
                    <a:lnTo>
                      <a:pt x="1116" y="63"/>
                    </a:lnTo>
                    <a:lnTo>
                      <a:pt x="1121" y="63"/>
                    </a:lnTo>
                    <a:lnTo>
                      <a:pt x="1116" y="63"/>
                    </a:lnTo>
                    <a:lnTo>
                      <a:pt x="1116" y="63"/>
                    </a:lnTo>
                    <a:lnTo>
                      <a:pt x="1116" y="68"/>
                    </a:lnTo>
                    <a:lnTo>
                      <a:pt x="1121" y="68"/>
                    </a:lnTo>
                    <a:lnTo>
                      <a:pt x="1121" y="68"/>
                    </a:lnTo>
                    <a:lnTo>
                      <a:pt x="1125" y="68"/>
                    </a:lnTo>
                    <a:lnTo>
                      <a:pt x="1130" y="68"/>
                    </a:lnTo>
                    <a:lnTo>
                      <a:pt x="1130" y="68"/>
                    </a:lnTo>
                    <a:lnTo>
                      <a:pt x="1125" y="72"/>
                    </a:lnTo>
                    <a:lnTo>
                      <a:pt x="1125" y="72"/>
                    </a:lnTo>
                    <a:lnTo>
                      <a:pt x="1125" y="72"/>
                    </a:lnTo>
                    <a:lnTo>
                      <a:pt x="1125" y="72"/>
                    </a:lnTo>
                    <a:lnTo>
                      <a:pt x="1125" y="72"/>
                    </a:lnTo>
                    <a:lnTo>
                      <a:pt x="1134" y="72"/>
                    </a:lnTo>
                    <a:lnTo>
                      <a:pt x="1134" y="72"/>
                    </a:lnTo>
                    <a:lnTo>
                      <a:pt x="1139" y="77"/>
                    </a:lnTo>
                    <a:lnTo>
                      <a:pt x="1143" y="77"/>
                    </a:lnTo>
                    <a:lnTo>
                      <a:pt x="1143" y="81"/>
                    </a:lnTo>
                    <a:lnTo>
                      <a:pt x="1139" y="81"/>
                    </a:lnTo>
                    <a:lnTo>
                      <a:pt x="1130" y="77"/>
                    </a:lnTo>
                    <a:lnTo>
                      <a:pt x="1125" y="77"/>
                    </a:lnTo>
                    <a:lnTo>
                      <a:pt x="1121" y="77"/>
                    </a:lnTo>
                    <a:lnTo>
                      <a:pt x="1121" y="77"/>
                    </a:lnTo>
                    <a:lnTo>
                      <a:pt x="1125" y="77"/>
                    </a:lnTo>
                    <a:lnTo>
                      <a:pt x="1125" y="77"/>
                    </a:lnTo>
                    <a:lnTo>
                      <a:pt x="1134" y="81"/>
                    </a:lnTo>
                    <a:lnTo>
                      <a:pt x="1148" y="86"/>
                    </a:lnTo>
                    <a:lnTo>
                      <a:pt x="1148" y="86"/>
                    </a:lnTo>
                    <a:lnTo>
                      <a:pt x="1148" y="86"/>
                    </a:lnTo>
                    <a:lnTo>
                      <a:pt x="1148" y="81"/>
                    </a:lnTo>
                    <a:lnTo>
                      <a:pt x="1143" y="81"/>
                    </a:lnTo>
                    <a:lnTo>
                      <a:pt x="1148" y="81"/>
                    </a:lnTo>
                    <a:lnTo>
                      <a:pt x="1148" y="81"/>
                    </a:lnTo>
                    <a:lnTo>
                      <a:pt x="1152" y="86"/>
                    </a:lnTo>
                    <a:lnTo>
                      <a:pt x="1152" y="86"/>
                    </a:lnTo>
                    <a:lnTo>
                      <a:pt x="1148" y="86"/>
                    </a:lnTo>
                    <a:lnTo>
                      <a:pt x="1148" y="86"/>
                    </a:lnTo>
                    <a:lnTo>
                      <a:pt x="1152" y="86"/>
                    </a:lnTo>
                    <a:lnTo>
                      <a:pt x="1152" y="86"/>
                    </a:lnTo>
                    <a:lnTo>
                      <a:pt x="1157" y="90"/>
                    </a:lnTo>
                    <a:lnTo>
                      <a:pt x="1161" y="90"/>
                    </a:lnTo>
                    <a:lnTo>
                      <a:pt x="1170" y="95"/>
                    </a:lnTo>
                    <a:lnTo>
                      <a:pt x="1175" y="95"/>
                    </a:lnTo>
                    <a:lnTo>
                      <a:pt x="1179" y="99"/>
                    </a:lnTo>
                    <a:lnTo>
                      <a:pt x="1184" y="99"/>
                    </a:lnTo>
                    <a:lnTo>
                      <a:pt x="1184" y="99"/>
                    </a:lnTo>
                    <a:lnTo>
                      <a:pt x="1184" y="95"/>
                    </a:lnTo>
                    <a:lnTo>
                      <a:pt x="1184" y="99"/>
                    </a:lnTo>
                    <a:lnTo>
                      <a:pt x="1188" y="99"/>
                    </a:lnTo>
                    <a:lnTo>
                      <a:pt x="1193" y="99"/>
                    </a:lnTo>
                    <a:lnTo>
                      <a:pt x="1193" y="99"/>
                    </a:lnTo>
                    <a:lnTo>
                      <a:pt x="1193" y="99"/>
                    </a:lnTo>
                    <a:lnTo>
                      <a:pt x="1193" y="99"/>
                    </a:lnTo>
                    <a:lnTo>
                      <a:pt x="1193" y="99"/>
                    </a:lnTo>
                    <a:lnTo>
                      <a:pt x="1188" y="95"/>
                    </a:lnTo>
                    <a:lnTo>
                      <a:pt x="1188" y="90"/>
                    </a:lnTo>
                    <a:lnTo>
                      <a:pt x="1188" y="90"/>
                    </a:lnTo>
                    <a:lnTo>
                      <a:pt x="1188" y="90"/>
                    </a:lnTo>
                    <a:lnTo>
                      <a:pt x="1188" y="90"/>
                    </a:lnTo>
                    <a:lnTo>
                      <a:pt x="1184" y="86"/>
                    </a:lnTo>
                    <a:lnTo>
                      <a:pt x="1184" y="86"/>
                    </a:lnTo>
                    <a:lnTo>
                      <a:pt x="1179" y="81"/>
                    </a:lnTo>
                    <a:lnTo>
                      <a:pt x="1179" y="81"/>
                    </a:lnTo>
                    <a:lnTo>
                      <a:pt x="1179" y="77"/>
                    </a:lnTo>
                    <a:lnTo>
                      <a:pt x="1179" y="81"/>
                    </a:lnTo>
                    <a:lnTo>
                      <a:pt x="1184" y="81"/>
                    </a:lnTo>
                    <a:lnTo>
                      <a:pt x="1184" y="81"/>
                    </a:lnTo>
                    <a:lnTo>
                      <a:pt x="1184" y="81"/>
                    </a:lnTo>
                    <a:lnTo>
                      <a:pt x="1193" y="86"/>
                    </a:lnTo>
                    <a:lnTo>
                      <a:pt x="1197" y="86"/>
                    </a:lnTo>
                    <a:lnTo>
                      <a:pt x="1202" y="86"/>
                    </a:lnTo>
                    <a:lnTo>
                      <a:pt x="1206" y="86"/>
                    </a:lnTo>
                    <a:lnTo>
                      <a:pt x="1211" y="86"/>
                    </a:lnTo>
                    <a:lnTo>
                      <a:pt x="1211" y="86"/>
                    </a:lnTo>
                    <a:lnTo>
                      <a:pt x="1211" y="81"/>
                    </a:lnTo>
                    <a:lnTo>
                      <a:pt x="1215" y="81"/>
                    </a:lnTo>
                    <a:lnTo>
                      <a:pt x="1215" y="81"/>
                    </a:lnTo>
                    <a:lnTo>
                      <a:pt x="1220" y="81"/>
                    </a:lnTo>
                    <a:lnTo>
                      <a:pt x="1220" y="81"/>
                    </a:lnTo>
                    <a:lnTo>
                      <a:pt x="1224" y="81"/>
                    </a:lnTo>
                    <a:lnTo>
                      <a:pt x="1233" y="81"/>
                    </a:lnTo>
                    <a:lnTo>
                      <a:pt x="1238" y="86"/>
                    </a:lnTo>
                    <a:lnTo>
                      <a:pt x="1243" y="86"/>
                    </a:lnTo>
                    <a:lnTo>
                      <a:pt x="1247" y="86"/>
                    </a:lnTo>
                    <a:lnTo>
                      <a:pt x="1247" y="86"/>
                    </a:lnTo>
                    <a:lnTo>
                      <a:pt x="1252" y="86"/>
                    </a:lnTo>
                    <a:lnTo>
                      <a:pt x="1252" y="86"/>
                    </a:lnTo>
                    <a:lnTo>
                      <a:pt x="1247" y="86"/>
                    </a:lnTo>
                    <a:lnTo>
                      <a:pt x="1247" y="86"/>
                    </a:lnTo>
                    <a:lnTo>
                      <a:pt x="1247" y="86"/>
                    </a:lnTo>
                    <a:lnTo>
                      <a:pt x="1247" y="86"/>
                    </a:lnTo>
                    <a:lnTo>
                      <a:pt x="1247" y="86"/>
                    </a:lnTo>
                    <a:lnTo>
                      <a:pt x="1247" y="86"/>
                    </a:lnTo>
                    <a:lnTo>
                      <a:pt x="1247" y="81"/>
                    </a:lnTo>
                    <a:lnTo>
                      <a:pt x="1247" y="81"/>
                    </a:lnTo>
                    <a:lnTo>
                      <a:pt x="1247" y="81"/>
                    </a:lnTo>
                    <a:lnTo>
                      <a:pt x="1243" y="81"/>
                    </a:lnTo>
                    <a:lnTo>
                      <a:pt x="1243" y="81"/>
                    </a:lnTo>
                    <a:lnTo>
                      <a:pt x="1243" y="81"/>
                    </a:lnTo>
                    <a:lnTo>
                      <a:pt x="1243" y="81"/>
                    </a:lnTo>
                    <a:lnTo>
                      <a:pt x="1243" y="81"/>
                    </a:lnTo>
                    <a:lnTo>
                      <a:pt x="1243" y="77"/>
                    </a:lnTo>
                    <a:lnTo>
                      <a:pt x="1243" y="77"/>
                    </a:lnTo>
                    <a:lnTo>
                      <a:pt x="1247" y="81"/>
                    </a:lnTo>
                    <a:lnTo>
                      <a:pt x="1243" y="77"/>
                    </a:lnTo>
                    <a:lnTo>
                      <a:pt x="1247" y="77"/>
                    </a:lnTo>
                    <a:lnTo>
                      <a:pt x="1252" y="77"/>
                    </a:lnTo>
                    <a:lnTo>
                      <a:pt x="1256" y="81"/>
                    </a:lnTo>
                    <a:lnTo>
                      <a:pt x="1256" y="81"/>
                    </a:lnTo>
                    <a:lnTo>
                      <a:pt x="1256" y="81"/>
                    </a:lnTo>
                    <a:lnTo>
                      <a:pt x="1261" y="77"/>
                    </a:lnTo>
                    <a:lnTo>
                      <a:pt x="1261" y="77"/>
                    </a:lnTo>
                    <a:lnTo>
                      <a:pt x="1252" y="77"/>
                    </a:lnTo>
                    <a:lnTo>
                      <a:pt x="1247" y="72"/>
                    </a:lnTo>
                    <a:lnTo>
                      <a:pt x="1247" y="72"/>
                    </a:lnTo>
                    <a:lnTo>
                      <a:pt x="1243" y="72"/>
                    </a:lnTo>
                    <a:lnTo>
                      <a:pt x="1247" y="72"/>
                    </a:lnTo>
                    <a:lnTo>
                      <a:pt x="1243" y="68"/>
                    </a:lnTo>
                    <a:lnTo>
                      <a:pt x="1243" y="68"/>
                    </a:lnTo>
                    <a:lnTo>
                      <a:pt x="1247" y="68"/>
                    </a:lnTo>
                    <a:lnTo>
                      <a:pt x="1243" y="68"/>
                    </a:lnTo>
                    <a:lnTo>
                      <a:pt x="1238" y="68"/>
                    </a:lnTo>
                    <a:lnTo>
                      <a:pt x="1238" y="68"/>
                    </a:lnTo>
                    <a:lnTo>
                      <a:pt x="1238" y="68"/>
                    </a:lnTo>
                    <a:lnTo>
                      <a:pt x="1238" y="68"/>
                    </a:lnTo>
                    <a:lnTo>
                      <a:pt x="1233" y="68"/>
                    </a:lnTo>
                    <a:lnTo>
                      <a:pt x="1233" y="68"/>
                    </a:lnTo>
                    <a:lnTo>
                      <a:pt x="1233" y="63"/>
                    </a:lnTo>
                    <a:lnTo>
                      <a:pt x="1233" y="63"/>
                    </a:lnTo>
                    <a:lnTo>
                      <a:pt x="1238" y="63"/>
                    </a:lnTo>
                    <a:lnTo>
                      <a:pt x="1243" y="63"/>
                    </a:lnTo>
                    <a:lnTo>
                      <a:pt x="1243" y="59"/>
                    </a:lnTo>
                    <a:lnTo>
                      <a:pt x="1243" y="59"/>
                    </a:lnTo>
                    <a:lnTo>
                      <a:pt x="1238" y="59"/>
                    </a:lnTo>
                    <a:lnTo>
                      <a:pt x="1233" y="54"/>
                    </a:lnTo>
                    <a:lnTo>
                      <a:pt x="1233" y="54"/>
                    </a:lnTo>
                    <a:lnTo>
                      <a:pt x="1233" y="54"/>
                    </a:lnTo>
                    <a:lnTo>
                      <a:pt x="1233" y="54"/>
                    </a:lnTo>
                    <a:lnTo>
                      <a:pt x="1238" y="54"/>
                    </a:lnTo>
                    <a:lnTo>
                      <a:pt x="1243" y="54"/>
                    </a:lnTo>
                    <a:lnTo>
                      <a:pt x="1252" y="54"/>
                    </a:lnTo>
                    <a:lnTo>
                      <a:pt x="1265" y="54"/>
                    </a:lnTo>
                    <a:lnTo>
                      <a:pt x="1265" y="54"/>
                    </a:lnTo>
                    <a:lnTo>
                      <a:pt x="1274" y="54"/>
                    </a:lnTo>
                    <a:lnTo>
                      <a:pt x="1274" y="54"/>
                    </a:lnTo>
                    <a:lnTo>
                      <a:pt x="1283" y="54"/>
                    </a:lnTo>
                    <a:lnTo>
                      <a:pt x="1288" y="54"/>
                    </a:lnTo>
                    <a:lnTo>
                      <a:pt x="1288" y="54"/>
                    </a:lnTo>
                    <a:lnTo>
                      <a:pt x="1292" y="54"/>
                    </a:lnTo>
                    <a:lnTo>
                      <a:pt x="1297" y="59"/>
                    </a:lnTo>
                    <a:lnTo>
                      <a:pt x="1297" y="59"/>
                    </a:lnTo>
                    <a:lnTo>
                      <a:pt x="1292" y="59"/>
                    </a:lnTo>
                    <a:lnTo>
                      <a:pt x="1288" y="59"/>
                    </a:lnTo>
                    <a:lnTo>
                      <a:pt x="1283" y="59"/>
                    </a:lnTo>
                    <a:lnTo>
                      <a:pt x="1283" y="59"/>
                    </a:lnTo>
                    <a:lnTo>
                      <a:pt x="1283" y="59"/>
                    </a:lnTo>
                    <a:lnTo>
                      <a:pt x="1283" y="63"/>
                    </a:lnTo>
                    <a:lnTo>
                      <a:pt x="1283" y="63"/>
                    </a:lnTo>
                    <a:lnTo>
                      <a:pt x="1283" y="63"/>
                    </a:lnTo>
                    <a:lnTo>
                      <a:pt x="1288" y="63"/>
                    </a:lnTo>
                    <a:lnTo>
                      <a:pt x="1288" y="59"/>
                    </a:lnTo>
                    <a:lnTo>
                      <a:pt x="1301" y="59"/>
                    </a:lnTo>
                    <a:lnTo>
                      <a:pt x="1306" y="59"/>
                    </a:lnTo>
                    <a:lnTo>
                      <a:pt x="1306" y="59"/>
                    </a:lnTo>
                    <a:lnTo>
                      <a:pt x="1306" y="63"/>
                    </a:lnTo>
                    <a:lnTo>
                      <a:pt x="1306" y="63"/>
                    </a:lnTo>
                    <a:lnTo>
                      <a:pt x="1306" y="63"/>
                    </a:lnTo>
                    <a:lnTo>
                      <a:pt x="1306" y="63"/>
                    </a:lnTo>
                    <a:lnTo>
                      <a:pt x="1301" y="63"/>
                    </a:lnTo>
                    <a:lnTo>
                      <a:pt x="1301" y="63"/>
                    </a:lnTo>
                    <a:lnTo>
                      <a:pt x="1301" y="63"/>
                    </a:lnTo>
                    <a:lnTo>
                      <a:pt x="1297" y="59"/>
                    </a:lnTo>
                    <a:lnTo>
                      <a:pt x="1297" y="59"/>
                    </a:lnTo>
                    <a:lnTo>
                      <a:pt x="1297" y="59"/>
                    </a:lnTo>
                    <a:lnTo>
                      <a:pt x="1297" y="63"/>
                    </a:lnTo>
                    <a:lnTo>
                      <a:pt x="1301" y="63"/>
                    </a:lnTo>
                    <a:lnTo>
                      <a:pt x="1301" y="63"/>
                    </a:lnTo>
                    <a:lnTo>
                      <a:pt x="1306" y="63"/>
                    </a:lnTo>
                    <a:lnTo>
                      <a:pt x="1301" y="68"/>
                    </a:lnTo>
                    <a:lnTo>
                      <a:pt x="1301" y="68"/>
                    </a:lnTo>
                    <a:lnTo>
                      <a:pt x="1297" y="68"/>
                    </a:lnTo>
                    <a:lnTo>
                      <a:pt x="1297" y="68"/>
                    </a:lnTo>
                    <a:lnTo>
                      <a:pt x="1297" y="68"/>
                    </a:lnTo>
                    <a:lnTo>
                      <a:pt x="1301" y="68"/>
                    </a:lnTo>
                    <a:lnTo>
                      <a:pt x="1301" y="68"/>
                    </a:lnTo>
                    <a:lnTo>
                      <a:pt x="1301" y="68"/>
                    </a:lnTo>
                    <a:lnTo>
                      <a:pt x="1301" y="68"/>
                    </a:lnTo>
                    <a:lnTo>
                      <a:pt x="1306" y="68"/>
                    </a:lnTo>
                    <a:lnTo>
                      <a:pt x="1306" y="68"/>
                    </a:lnTo>
                    <a:lnTo>
                      <a:pt x="1310" y="68"/>
                    </a:lnTo>
                    <a:lnTo>
                      <a:pt x="1310" y="68"/>
                    </a:lnTo>
                    <a:lnTo>
                      <a:pt x="1310" y="63"/>
                    </a:lnTo>
                    <a:lnTo>
                      <a:pt x="1310" y="59"/>
                    </a:lnTo>
                    <a:lnTo>
                      <a:pt x="1306" y="59"/>
                    </a:lnTo>
                    <a:lnTo>
                      <a:pt x="1310" y="59"/>
                    </a:lnTo>
                    <a:lnTo>
                      <a:pt x="1310" y="59"/>
                    </a:lnTo>
                    <a:lnTo>
                      <a:pt x="1319" y="54"/>
                    </a:lnTo>
                    <a:lnTo>
                      <a:pt x="1324" y="59"/>
                    </a:lnTo>
                    <a:lnTo>
                      <a:pt x="1333" y="59"/>
                    </a:lnTo>
                    <a:lnTo>
                      <a:pt x="1337" y="59"/>
                    </a:lnTo>
                    <a:lnTo>
                      <a:pt x="1342" y="59"/>
                    </a:lnTo>
                    <a:lnTo>
                      <a:pt x="1342" y="59"/>
                    </a:lnTo>
                    <a:lnTo>
                      <a:pt x="1346" y="63"/>
                    </a:lnTo>
                    <a:lnTo>
                      <a:pt x="1346" y="63"/>
                    </a:lnTo>
                    <a:lnTo>
                      <a:pt x="1342" y="63"/>
                    </a:lnTo>
                    <a:lnTo>
                      <a:pt x="1337" y="63"/>
                    </a:lnTo>
                    <a:lnTo>
                      <a:pt x="1337" y="63"/>
                    </a:lnTo>
                    <a:lnTo>
                      <a:pt x="1337" y="63"/>
                    </a:lnTo>
                    <a:lnTo>
                      <a:pt x="1337" y="63"/>
                    </a:lnTo>
                    <a:lnTo>
                      <a:pt x="1342" y="68"/>
                    </a:lnTo>
                    <a:lnTo>
                      <a:pt x="1342" y="68"/>
                    </a:lnTo>
                    <a:lnTo>
                      <a:pt x="1346" y="68"/>
                    </a:lnTo>
                    <a:lnTo>
                      <a:pt x="1351" y="68"/>
                    </a:lnTo>
                    <a:lnTo>
                      <a:pt x="1351" y="68"/>
                    </a:lnTo>
                    <a:lnTo>
                      <a:pt x="1355" y="68"/>
                    </a:lnTo>
                    <a:lnTo>
                      <a:pt x="1355" y="68"/>
                    </a:lnTo>
                    <a:lnTo>
                      <a:pt x="1360" y="68"/>
                    </a:lnTo>
                    <a:lnTo>
                      <a:pt x="1360" y="68"/>
                    </a:lnTo>
                    <a:lnTo>
                      <a:pt x="1365" y="68"/>
                    </a:lnTo>
                    <a:lnTo>
                      <a:pt x="1365" y="68"/>
                    </a:lnTo>
                    <a:lnTo>
                      <a:pt x="1365" y="68"/>
                    </a:lnTo>
                    <a:lnTo>
                      <a:pt x="1365" y="72"/>
                    </a:lnTo>
                    <a:lnTo>
                      <a:pt x="1365" y="72"/>
                    </a:lnTo>
                    <a:lnTo>
                      <a:pt x="1365" y="68"/>
                    </a:lnTo>
                    <a:lnTo>
                      <a:pt x="1369" y="68"/>
                    </a:lnTo>
                    <a:lnTo>
                      <a:pt x="1369" y="68"/>
                    </a:lnTo>
                    <a:lnTo>
                      <a:pt x="1374" y="68"/>
                    </a:lnTo>
                    <a:lnTo>
                      <a:pt x="1378" y="72"/>
                    </a:lnTo>
                    <a:lnTo>
                      <a:pt x="1387" y="72"/>
                    </a:lnTo>
                    <a:lnTo>
                      <a:pt x="1387" y="72"/>
                    </a:lnTo>
                    <a:lnTo>
                      <a:pt x="1387" y="72"/>
                    </a:lnTo>
                    <a:lnTo>
                      <a:pt x="1396" y="77"/>
                    </a:lnTo>
                    <a:lnTo>
                      <a:pt x="1401" y="77"/>
                    </a:lnTo>
                    <a:lnTo>
                      <a:pt x="1405" y="72"/>
                    </a:lnTo>
                    <a:lnTo>
                      <a:pt x="1405" y="72"/>
                    </a:lnTo>
                    <a:lnTo>
                      <a:pt x="1410" y="72"/>
                    </a:lnTo>
                    <a:lnTo>
                      <a:pt x="1414" y="68"/>
                    </a:lnTo>
                    <a:lnTo>
                      <a:pt x="1419" y="68"/>
                    </a:lnTo>
                    <a:lnTo>
                      <a:pt x="1419" y="68"/>
                    </a:lnTo>
                    <a:lnTo>
                      <a:pt x="1428" y="68"/>
                    </a:lnTo>
                    <a:lnTo>
                      <a:pt x="1437" y="68"/>
                    </a:lnTo>
                    <a:lnTo>
                      <a:pt x="1441" y="68"/>
                    </a:lnTo>
                    <a:lnTo>
                      <a:pt x="1450" y="68"/>
                    </a:lnTo>
                    <a:lnTo>
                      <a:pt x="1459" y="68"/>
                    </a:lnTo>
                    <a:lnTo>
                      <a:pt x="1468" y="68"/>
                    </a:lnTo>
                    <a:lnTo>
                      <a:pt x="1468" y="72"/>
                    </a:lnTo>
                    <a:lnTo>
                      <a:pt x="1473" y="72"/>
                    </a:lnTo>
                    <a:lnTo>
                      <a:pt x="1477" y="72"/>
                    </a:lnTo>
                    <a:lnTo>
                      <a:pt x="1477" y="77"/>
                    </a:lnTo>
                    <a:lnTo>
                      <a:pt x="1482" y="77"/>
                    </a:lnTo>
                    <a:lnTo>
                      <a:pt x="1482" y="77"/>
                    </a:lnTo>
                    <a:lnTo>
                      <a:pt x="1486" y="77"/>
                    </a:lnTo>
                    <a:lnTo>
                      <a:pt x="1486" y="81"/>
                    </a:lnTo>
                    <a:lnTo>
                      <a:pt x="1491" y="81"/>
                    </a:lnTo>
                    <a:lnTo>
                      <a:pt x="1491" y="81"/>
                    </a:lnTo>
                    <a:lnTo>
                      <a:pt x="1496" y="86"/>
                    </a:lnTo>
                    <a:lnTo>
                      <a:pt x="1505" y="86"/>
                    </a:lnTo>
                    <a:lnTo>
                      <a:pt x="1509" y="86"/>
                    </a:lnTo>
                    <a:lnTo>
                      <a:pt x="1514" y="86"/>
                    </a:lnTo>
                    <a:lnTo>
                      <a:pt x="1514" y="90"/>
                    </a:lnTo>
                    <a:lnTo>
                      <a:pt x="1523" y="95"/>
                    </a:lnTo>
                    <a:lnTo>
                      <a:pt x="1523" y="95"/>
                    </a:lnTo>
                    <a:lnTo>
                      <a:pt x="1527" y="95"/>
                    </a:lnTo>
                    <a:lnTo>
                      <a:pt x="1532" y="95"/>
                    </a:lnTo>
                    <a:lnTo>
                      <a:pt x="1536" y="99"/>
                    </a:lnTo>
                    <a:lnTo>
                      <a:pt x="1536" y="99"/>
                    </a:lnTo>
                    <a:lnTo>
                      <a:pt x="1536" y="104"/>
                    </a:lnTo>
                    <a:lnTo>
                      <a:pt x="1536" y="104"/>
                    </a:lnTo>
                    <a:lnTo>
                      <a:pt x="1536" y="99"/>
                    </a:lnTo>
                    <a:lnTo>
                      <a:pt x="1532" y="95"/>
                    </a:lnTo>
                    <a:lnTo>
                      <a:pt x="1532" y="95"/>
                    </a:lnTo>
                    <a:lnTo>
                      <a:pt x="1532" y="95"/>
                    </a:lnTo>
                    <a:lnTo>
                      <a:pt x="1527" y="95"/>
                    </a:lnTo>
                    <a:lnTo>
                      <a:pt x="1523" y="90"/>
                    </a:lnTo>
                    <a:lnTo>
                      <a:pt x="1523" y="90"/>
                    </a:lnTo>
                    <a:lnTo>
                      <a:pt x="1518" y="86"/>
                    </a:lnTo>
                    <a:lnTo>
                      <a:pt x="1518" y="86"/>
                    </a:lnTo>
                    <a:lnTo>
                      <a:pt x="1518" y="81"/>
                    </a:lnTo>
                    <a:lnTo>
                      <a:pt x="1518" y="81"/>
                    </a:lnTo>
                    <a:lnTo>
                      <a:pt x="1523" y="81"/>
                    </a:lnTo>
                    <a:lnTo>
                      <a:pt x="1527" y="81"/>
                    </a:lnTo>
                    <a:lnTo>
                      <a:pt x="1527" y="81"/>
                    </a:lnTo>
                    <a:lnTo>
                      <a:pt x="1532" y="81"/>
                    </a:lnTo>
                    <a:lnTo>
                      <a:pt x="1532" y="77"/>
                    </a:lnTo>
                    <a:lnTo>
                      <a:pt x="1536" y="77"/>
                    </a:lnTo>
                    <a:lnTo>
                      <a:pt x="1541" y="81"/>
                    </a:lnTo>
                    <a:lnTo>
                      <a:pt x="1554" y="77"/>
                    </a:lnTo>
                    <a:lnTo>
                      <a:pt x="1554" y="81"/>
                    </a:lnTo>
                    <a:lnTo>
                      <a:pt x="1563" y="77"/>
                    </a:lnTo>
                    <a:lnTo>
                      <a:pt x="1563" y="77"/>
                    </a:lnTo>
                    <a:lnTo>
                      <a:pt x="1563" y="77"/>
                    </a:lnTo>
                    <a:lnTo>
                      <a:pt x="1563" y="72"/>
                    </a:lnTo>
                    <a:lnTo>
                      <a:pt x="1568" y="72"/>
                    </a:lnTo>
                    <a:lnTo>
                      <a:pt x="1568" y="72"/>
                    </a:lnTo>
                    <a:lnTo>
                      <a:pt x="1572" y="77"/>
                    </a:lnTo>
                    <a:lnTo>
                      <a:pt x="1572" y="77"/>
                    </a:lnTo>
                    <a:lnTo>
                      <a:pt x="1577" y="77"/>
                    </a:lnTo>
                    <a:lnTo>
                      <a:pt x="1586" y="81"/>
                    </a:lnTo>
                    <a:lnTo>
                      <a:pt x="1586" y="81"/>
                    </a:lnTo>
                    <a:lnTo>
                      <a:pt x="1586" y="81"/>
                    </a:lnTo>
                    <a:lnTo>
                      <a:pt x="1595" y="81"/>
                    </a:lnTo>
                    <a:lnTo>
                      <a:pt x="1599" y="81"/>
                    </a:lnTo>
                    <a:lnTo>
                      <a:pt x="1604" y="86"/>
                    </a:lnTo>
                    <a:lnTo>
                      <a:pt x="1608" y="86"/>
                    </a:lnTo>
                    <a:lnTo>
                      <a:pt x="1613" y="86"/>
                    </a:lnTo>
                    <a:lnTo>
                      <a:pt x="1617" y="86"/>
                    </a:lnTo>
                    <a:lnTo>
                      <a:pt x="1613" y="81"/>
                    </a:lnTo>
                    <a:lnTo>
                      <a:pt x="1613" y="77"/>
                    </a:lnTo>
                    <a:lnTo>
                      <a:pt x="1608" y="77"/>
                    </a:lnTo>
                    <a:lnTo>
                      <a:pt x="1604" y="77"/>
                    </a:lnTo>
                    <a:lnTo>
                      <a:pt x="1595" y="72"/>
                    </a:lnTo>
                    <a:lnTo>
                      <a:pt x="1590" y="72"/>
                    </a:lnTo>
                    <a:lnTo>
                      <a:pt x="1590" y="72"/>
                    </a:lnTo>
                    <a:lnTo>
                      <a:pt x="1590" y="72"/>
                    </a:lnTo>
                    <a:lnTo>
                      <a:pt x="1586" y="68"/>
                    </a:lnTo>
                    <a:lnTo>
                      <a:pt x="1586" y="68"/>
                    </a:lnTo>
                    <a:lnTo>
                      <a:pt x="1581" y="63"/>
                    </a:lnTo>
                    <a:lnTo>
                      <a:pt x="1581" y="63"/>
                    </a:lnTo>
                    <a:lnTo>
                      <a:pt x="1586" y="63"/>
                    </a:lnTo>
                    <a:lnTo>
                      <a:pt x="1595" y="63"/>
                    </a:lnTo>
                    <a:lnTo>
                      <a:pt x="1604" y="63"/>
                    </a:lnTo>
                    <a:lnTo>
                      <a:pt x="1604" y="63"/>
                    </a:lnTo>
                    <a:lnTo>
                      <a:pt x="1608" y="63"/>
                    </a:lnTo>
                    <a:lnTo>
                      <a:pt x="1613" y="63"/>
                    </a:lnTo>
                    <a:lnTo>
                      <a:pt x="1608" y="63"/>
                    </a:lnTo>
                    <a:lnTo>
                      <a:pt x="1608" y="63"/>
                    </a:lnTo>
                    <a:lnTo>
                      <a:pt x="1613" y="63"/>
                    </a:lnTo>
                    <a:lnTo>
                      <a:pt x="1617" y="63"/>
                    </a:lnTo>
                    <a:lnTo>
                      <a:pt x="1622" y="63"/>
                    </a:lnTo>
                    <a:lnTo>
                      <a:pt x="1627" y="63"/>
                    </a:lnTo>
                    <a:lnTo>
                      <a:pt x="1631" y="63"/>
                    </a:lnTo>
                    <a:lnTo>
                      <a:pt x="1631" y="59"/>
                    </a:lnTo>
                    <a:lnTo>
                      <a:pt x="1636" y="59"/>
                    </a:lnTo>
                    <a:lnTo>
                      <a:pt x="1636" y="59"/>
                    </a:lnTo>
                    <a:lnTo>
                      <a:pt x="1640" y="63"/>
                    </a:lnTo>
                    <a:lnTo>
                      <a:pt x="1649" y="63"/>
                    </a:lnTo>
                    <a:lnTo>
                      <a:pt x="1654" y="63"/>
                    </a:lnTo>
                    <a:lnTo>
                      <a:pt x="1663" y="63"/>
                    </a:lnTo>
                    <a:lnTo>
                      <a:pt x="1667" y="63"/>
                    </a:lnTo>
                    <a:lnTo>
                      <a:pt x="1672" y="63"/>
                    </a:lnTo>
                    <a:lnTo>
                      <a:pt x="1676" y="63"/>
                    </a:lnTo>
                    <a:lnTo>
                      <a:pt x="1676" y="63"/>
                    </a:lnTo>
                    <a:lnTo>
                      <a:pt x="1676" y="63"/>
                    </a:lnTo>
                    <a:lnTo>
                      <a:pt x="1681" y="63"/>
                    </a:lnTo>
                    <a:lnTo>
                      <a:pt x="1694" y="68"/>
                    </a:lnTo>
                    <a:lnTo>
                      <a:pt x="1694" y="68"/>
                    </a:lnTo>
                    <a:lnTo>
                      <a:pt x="1703" y="72"/>
                    </a:lnTo>
                    <a:lnTo>
                      <a:pt x="1712" y="77"/>
                    </a:lnTo>
                    <a:lnTo>
                      <a:pt x="1717" y="81"/>
                    </a:lnTo>
                    <a:lnTo>
                      <a:pt x="1726" y="81"/>
                    </a:lnTo>
                    <a:lnTo>
                      <a:pt x="1730" y="86"/>
                    </a:lnTo>
                    <a:lnTo>
                      <a:pt x="1739" y="90"/>
                    </a:lnTo>
                    <a:lnTo>
                      <a:pt x="1749" y="95"/>
                    </a:lnTo>
                    <a:lnTo>
                      <a:pt x="1753" y="99"/>
                    </a:lnTo>
                    <a:lnTo>
                      <a:pt x="1762" y="104"/>
                    </a:lnTo>
                    <a:lnTo>
                      <a:pt x="1767" y="104"/>
                    </a:lnTo>
                    <a:lnTo>
                      <a:pt x="1776" y="108"/>
                    </a:lnTo>
                    <a:lnTo>
                      <a:pt x="1785" y="113"/>
                    </a:lnTo>
                    <a:lnTo>
                      <a:pt x="1789" y="118"/>
                    </a:lnTo>
                    <a:lnTo>
                      <a:pt x="1798" y="122"/>
                    </a:lnTo>
                    <a:lnTo>
                      <a:pt x="1803" y="127"/>
                    </a:lnTo>
                    <a:lnTo>
                      <a:pt x="1812" y="131"/>
                    </a:lnTo>
                    <a:lnTo>
                      <a:pt x="1812" y="131"/>
                    </a:lnTo>
                    <a:lnTo>
                      <a:pt x="1812" y="131"/>
                    </a:lnTo>
                    <a:lnTo>
                      <a:pt x="1812" y="136"/>
                    </a:lnTo>
                    <a:lnTo>
                      <a:pt x="1812" y="136"/>
                    </a:lnTo>
                    <a:lnTo>
                      <a:pt x="1812" y="140"/>
                    </a:lnTo>
                    <a:lnTo>
                      <a:pt x="1812" y="140"/>
                    </a:lnTo>
                    <a:lnTo>
                      <a:pt x="1807" y="140"/>
                    </a:lnTo>
                    <a:lnTo>
                      <a:pt x="1803" y="140"/>
                    </a:lnTo>
                    <a:lnTo>
                      <a:pt x="1798" y="140"/>
                    </a:lnTo>
                    <a:lnTo>
                      <a:pt x="1789" y="136"/>
                    </a:lnTo>
                    <a:lnTo>
                      <a:pt x="1789" y="136"/>
                    </a:lnTo>
                    <a:lnTo>
                      <a:pt x="1785" y="136"/>
                    </a:lnTo>
                    <a:lnTo>
                      <a:pt x="1780" y="136"/>
                    </a:lnTo>
                    <a:lnTo>
                      <a:pt x="1780" y="136"/>
                    </a:lnTo>
                    <a:lnTo>
                      <a:pt x="1780" y="136"/>
                    </a:lnTo>
                    <a:lnTo>
                      <a:pt x="1780" y="136"/>
                    </a:lnTo>
                    <a:lnTo>
                      <a:pt x="1780" y="136"/>
                    </a:lnTo>
                    <a:lnTo>
                      <a:pt x="1780" y="136"/>
                    </a:lnTo>
                    <a:lnTo>
                      <a:pt x="1785" y="136"/>
                    </a:lnTo>
                    <a:lnTo>
                      <a:pt x="1785" y="136"/>
                    </a:lnTo>
                    <a:lnTo>
                      <a:pt x="1789" y="136"/>
                    </a:lnTo>
                    <a:lnTo>
                      <a:pt x="1794" y="136"/>
                    </a:lnTo>
                    <a:lnTo>
                      <a:pt x="1794" y="140"/>
                    </a:lnTo>
                    <a:lnTo>
                      <a:pt x="1794" y="140"/>
                    </a:lnTo>
                    <a:lnTo>
                      <a:pt x="1789" y="140"/>
                    </a:lnTo>
                    <a:lnTo>
                      <a:pt x="1785" y="140"/>
                    </a:lnTo>
                    <a:lnTo>
                      <a:pt x="1785" y="140"/>
                    </a:lnTo>
                    <a:lnTo>
                      <a:pt x="1780" y="140"/>
                    </a:lnTo>
                    <a:lnTo>
                      <a:pt x="1780" y="140"/>
                    </a:lnTo>
                    <a:lnTo>
                      <a:pt x="1776" y="140"/>
                    </a:lnTo>
                    <a:lnTo>
                      <a:pt x="1776" y="145"/>
                    </a:lnTo>
                    <a:lnTo>
                      <a:pt x="1771" y="145"/>
                    </a:lnTo>
                    <a:lnTo>
                      <a:pt x="1771" y="145"/>
                    </a:lnTo>
                    <a:lnTo>
                      <a:pt x="1776" y="145"/>
                    </a:lnTo>
                    <a:lnTo>
                      <a:pt x="1776" y="145"/>
                    </a:lnTo>
                    <a:lnTo>
                      <a:pt x="1780" y="140"/>
                    </a:lnTo>
                    <a:lnTo>
                      <a:pt x="1780" y="140"/>
                    </a:lnTo>
                    <a:lnTo>
                      <a:pt x="1780" y="140"/>
                    </a:lnTo>
                    <a:lnTo>
                      <a:pt x="1780" y="140"/>
                    </a:lnTo>
                    <a:lnTo>
                      <a:pt x="1780" y="140"/>
                    </a:lnTo>
                    <a:lnTo>
                      <a:pt x="1785" y="140"/>
                    </a:lnTo>
                    <a:lnTo>
                      <a:pt x="1785" y="140"/>
                    </a:lnTo>
                    <a:lnTo>
                      <a:pt x="1789" y="140"/>
                    </a:lnTo>
                    <a:lnTo>
                      <a:pt x="1789" y="145"/>
                    </a:lnTo>
                    <a:lnTo>
                      <a:pt x="1789" y="145"/>
                    </a:lnTo>
                    <a:lnTo>
                      <a:pt x="1789" y="145"/>
                    </a:lnTo>
                    <a:lnTo>
                      <a:pt x="1789" y="140"/>
                    </a:lnTo>
                    <a:lnTo>
                      <a:pt x="1794" y="140"/>
                    </a:lnTo>
                    <a:lnTo>
                      <a:pt x="1794" y="140"/>
                    </a:lnTo>
                    <a:lnTo>
                      <a:pt x="1794" y="140"/>
                    </a:lnTo>
                    <a:lnTo>
                      <a:pt x="1794" y="140"/>
                    </a:lnTo>
                    <a:lnTo>
                      <a:pt x="1798" y="140"/>
                    </a:lnTo>
                    <a:lnTo>
                      <a:pt x="1798" y="140"/>
                    </a:lnTo>
                    <a:lnTo>
                      <a:pt x="1803" y="140"/>
                    </a:lnTo>
                    <a:lnTo>
                      <a:pt x="1807" y="145"/>
                    </a:lnTo>
                    <a:lnTo>
                      <a:pt x="1812" y="145"/>
                    </a:lnTo>
                    <a:lnTo>
                      <a:pt x="1816" y="145"/>
                    </a:lnTo>
                    <a:lnTo>
                      <a:pt x="1816" y="145"/>
                    </a:lnTo>
                    <a:lnTo>
                      <a:pt x="1816" y="145"/>
                    </a:lnTo>
                    <a:lnTo>
                      <a:pt x="1816" y="145"/>
                    </a:lnTo>
                    <a:lnTo>
                      <a:pt x="1816" y="145"/>
                    </a:lnTo>
                    <a:lnTo>
                      <a:pt x="1816" y="145"/>
                    </a:lnTo>
                    <a:lnTo>
                      <a:pt x="1821" y="145"/>
                    </a:lnTo>
                    <a:lnTo>
                      <a:pt x="1825" y="149"/>
                    </a:lnTo>
                    <a:lnTo>
                      <a:pt x="1825" y="149"/>
                    </a:lnTo>
                    <a:lnTo>
                      <a:pt x="1825" y="149"/>
                    </a:lnTo>
                    <a:lnTo>
                      <a:pt x="1830" y="149"/>
                    </a:lnTo>
                    <a:lnTo>
                      <a:pt x="1830" y="149"/>
                    </a:lnTo>
                    <a:lnTo>
                      <a:pt x="1834" y="154"/>
                    </a:lnTo>
                    <a:lnTo>
                      <a:pt x="1839" y="154"/>
                    </a:lnTo>
                    <a:lnTo>
                      <a:pt x="1839" y="154"/>
                    </a:lnTo>
                    <a:lnTo>
                      <a:pt x="1839" y="154"/>
                    </a:lnTo>
                    <a:lnTo>
                      <a:pt x="1839" y="158"/>
                    </a:lnTo>
                    <a:lnTo>
                      <a:pt x="1839" y="158"/>
                    </a:lnTo>
                    <a:lnTo>
                      <a:pt x="1843" y="158"/>
                    </a:lnTo>
                    <a:lnTo>
                      <a:pt x="1843" y="158"/>
                    </a:lnTo>
                    <a:lnTo>
                      <a:pt x="1843" y="158"/>
                    </a:lnTo>
                    <a:lnTo>
                      <a:pt x="1848" y="158"/>
                    </a:lnTo>
                    <a:lnTo>
                      <a:pt x="1848" y="158"/>
                    </a:lnTo>
                    <a:lnTo>
                      <a:pt x="1848" y="158"/>
                    </a:lnTo>
                    <a:lnTo>
                      <a:pt x="1843" y="158"/>
                    </a:lnTo>
                    <a:lnTo>
                      <a:pt x="1843" y="158"/>
                    </a:lnTo>
                    <a:lnTo>
                      <a:pt x="1848" y="158"/>
                    </a:lnTo>
                    <a:lnTo>
                      <a:pt x="1852" y="158"/>
                    </a:lnTo>
                    <a:lnTo>
                      <a:pt x="1852" y="158"/>
                    </a:lnTo>
                    <a:lnTo>
                      <a:pt x="1857" y="163"/>
                    </a:lnTo>
                    <a:lnTo>
                      <a:pt x="1861" y="163"/>
                    </a:lnTo>
                    <a:lnTo>
                      <a:pt x="1861" y="163"/>
                    </a:lnTo>
                    <a:lnTo>
                      <a:pt x="1861" y="163"/>
                    </a:lnTo>
                    <a:lnTo>
                      <a:pt x="1861" y="163"/>
                    </a:lnTo>
                    <a:lnTo>
                      <a:pt x="1866" y="167"/>
                    </a:lnTo>
                    <a:lnTo>
                      <a:pt x="1866" y="167"/>
                    </a:lnTo>
                    <a:lnTo>
                      <a:pt x="1870" y="167"/>
                    </a:lnTo>
                    <a:lnTo>
                      <a:pt x="1875" y="167"/>
                    </a:lnTo>
                    <a:lnTo>
                      <a:pt x="1875" y="167"/>
                    </a:lnTo>
                    <a:lnTo>
                      <a:pt x="1875" y="172"/>
                    </a:lnTo>
                    <a:lnTo>
                      <a:pt x="1880" y="172"/>
                    </a:lnTo>
                    <a:lnTo>
                      <a:pt x="1880" y="172"/>
                    </a:lnTo>
                    <a:lnTo>
                      <a:pt x="1880" y="176"/>
                    </a:lnTo>
                    <a:lnTo>
                      <a:pt x="1880" y="176"/>
                    </a:lnTo>
                    <a:lnTo>
                      <a:pt x="1880" y="176"/>
                    </a:lnTo>
                    <a:lnTo>
                      <a:pt x="1880" y="176"/>
                    </a:lnTo>
                    <a:lnTo>
                      <a:pt x="1866" y="176"/>
                    </a:lnTo>
                    <a:lnTo>
                      <a:pt x="1861" y="176"/>
                    </a:lnTo>
                    <a:lnTo>
                      <a:pt x="1857" y="176"/>
                    </a:lnTo>
                    <a:lnTo>
                      <a:pt x="1857" y="176"/>
                    </a:lnTo>
                    <a:lnTo>
                      <a:pt x="1852" y="176"/>
                    </a:lnTo>
                    <a:lnTo>
                      <a:pt x="1852" y="172"/>
                    </a:lnTo>
                    <a:lnTo>
                      <a:pt x="1852" y="172"/>
                    </a:lnTo>
                    <a:lnTo>
                      <a:pt x="1852" y="172"/>
                    </a:lnTo>
                    <a:lnTo>
                      <a:pt x="1852" y="172"/>
                    </a:lnTo>
                    <a:lnTo>
                      <a:pt x="1852" y="172"/>
                    </a:lnTo>
                    <a:lnTo>
                      <a:pt x="1852" y="172"/>
                    </a:lnTo>
                    <a:lnTo>
                      <a:pt x="1848" y="172"/>
                    </a:lnTo>
                    <a:lnTo>
                      <a:pt x="1848" y="172"/>
                    </a:lnTo>
                    <a:lnTo>
                      <a:pt x="1848" y="172"/>
                    </a:lnTo>
                    <a:lnTo>
                      <a:pt x="1848" y="172"/>
                    </a:lnTo>
                    <a:lnTo>
                      <a:pt x="1852" y="176"/>
                    </a:lnTo>
                    <a:lnTo>
                      <a:pt x="1852" y="176"/>
                    </a:lnTo>
                    <a:lnTo>
                      <a:pt x="1857" y="176"/>
                    </a:lnTo>
                    <a:lnTo>
                      <a:pt x="1857" y="176"/>
                    </a:lnTo>
                    <a:lnTo>
                      <a:pt x="1852" y="176"/>
                    </a:lnTo>
                    <a:lnTo>
                      <a:pt x="1852" y="176"/>
                    </a:lnTo>
                    <a:lnTo>
                      <a:pt x="1852" y="181"/>
                    </a:lnTo>
                    <a:lnTo>
                      <a:pt x="1852" y="181"/>
                    </a:lnTo>
                    <a:lnTo>
                      <a:pt x="1852" y="185"/>
                    </a:lnTo>
                    <a:lnTo>
                      <a:pt x="1852" y="185"/>
                    </a:lnTo>
                    <a:lnTo>
                      <a:pt x="1852" y="185"/>
                    </a:lnTo>
                    <a:lnTo>
                      <a:pt x="1848" y="185"/>
                    </a:lnTo>
                    <a:lnTo>
                      <a:pt x="1852" y="190"/>
                    </a:lnTo>
                    <a:lnTo>
                      <a:pt x="1848" y="190"/>
                    </a:lnTo>
                    <a:lnTo>
                      <a:pt x="1848" y="190"/>
                    </a:lnTo>
                    <a:lnTo>
                      <a:pt x="1848" y="190"/>
                    </a:lnTo>
                    <a:lnTo>
                      <a:pt x="1848" y="194"/>
                    </a:lnTo>
                    <a:lnTo>
                      <a:pt x="1848" y="194"/>
                    </a:lnTo>
                    <a:lnTo>
                      <a:pt x="1848" y="194"/>
                    </a:lnTo>
                    <a:lnTo>
                      <a:pt x="1848" y="194"/>
                    </a:lnTo>
                    <a:lnTo>
                      <a:pt x="1843" y="194"/>
                    </a:lnTo>
                    <a:lnTo>
                      <a:pt x="1848" y="199"/>
                    </a:lnTo>
                    <a:lnTo>
                      <a:pt x="1848" y="203"/>
                    </a:lnTo>
                    <a:lnTo>
                      <a:pt x="1848" y="203"/>
                    </a:lnTo>
                    <a:lnTo>
                      <a:pt x="1843" y="203"/>
                    </a:lnTo>
                    <a:lnTo>
                      <a:pt x="1843" y="203"/>
                    </a:lnTo>
                    <a:lnTo>
                      <a:pt x="1843" y="203"/>
                    </a:lnTo>
                    <a:lnTo>
                      <a:pt x="1848" y="203"/>
                    </a:lnTo>
                    <a:lnTo>
                      <a:pt x="1848" y="203"/>
                    </a:lnTo>
                    <a:lnTo>
                      <a:pt x="1848" y="203"/>
                    </a:lnTo>
                    <a:lnTo>
                      <a:pt x="1848" y="203"/>
                    </a:lnTo>
                    <a:lnTo>
                      <a:pt x="1848" y="203"/>
                    </a:lnTo>
                    <a:lnTo>
                      <a:pt x="1848" y="208"/>
                    </a:lnTo>
                    <a:lnTo>
                      <a:pt x="1848" y="208"/>
                    </a:lnTo>
                    <a:lnTo>
                      <a:pt x="1848" y="208"/>
                    </a:lnTo>
                    <a:lnTo>
                      <a:pt x="1848" y="208"/>
                    </a:lnTo>
                    <a:lnTo>
                      <a:pt x="1848" y="208"/>
                    </a:lnTo>
                    <a:lnTo>
                      <a:pt x="1848" y="208"/>
                    </a:lnTo>
                    <a:lnTo>
                      <a:pt x="1848" y="212"/>
                    </a:lnTo>
                    <a:lnTo>
                      <a:pt x="1848" y="212"/>
                    </a:lnTo>
                    <a:lnTo>
                      <a:pt x="1848" y="212"/>
                    </a:lnTo>
                    <a:lnTo>
                      <a:pt x="1848" y="212"/>
                    </a:lnTo>
                    <a:lnTo>
                      <a:pt x="1848" y="212"/>
                    </a:lnTo>
                    <a:lnTo>
                      <a:pt x="1848" y="212"/>
                    </a:lnTo>
                    <a:lnTo>
                      <a:pt x="1848" y="217"/>
                    </a:lnTo>
                    <a:lnTo>
                      <a:pt x="1848" y="222"/>
                    </a:lnTo>
                    <a:lnTo>
                      <a:pt x="1848" y="222"/>
                    </a:lnTo>
                    <a:lnTo>
                      <a:pt x="1848" y="222"/>
                    </a:lnTo>
                    <a:lnTo>
                      <a:pt x="1848" y="226"/>
                    </a:lnTo>
                    <a:lnTo>
                      <a:pt x="1848" y="226"/>
                    </a:lnTo>
                    <a:lnTo>
                      <a:pt x="1852" y="226"/>
                    </a:lnTo>
                    <a:lnTo>
                      <a:pt x="1857" y="231"/>
                    </a:lnTo>
                    <a:lnTo>
                      <a:pt x="1857" y="231"/>
                    </a:lnTo>
                    <a:lnTo>
                      <a:pt x="1857" y="231"/>
                    </a:lnTo>
                    <a:lnTo>
                      <a:pt x="1852" y="231"/>
                    </a:lnTo>
                    <a:lnTo>
                      <a:pt x="1848" y="231"/>
                    </a:lnTo>
                    <a:lnTo>
                      <a:pt x="1848" y="231"/>
                    </a:lnTo>
                    <a:lnTo>
                      <a:pt x="1848" y="231"/>
                    </a:lnTo>
                    <a:lnTo>
                      <a:pt x="1843" y="231"/>
                    </a:lnTo>
                    <a:lnTo>
                      <a:pt x="1843" y="226"/>
                    </a:lnTo>
                    <a:lnTo>
                      <a:pt x="1843" y="226"/>
                    </a:lnTo>
                    <a:lnTo>
                      <a:pt x="1839" y="226"/>
                    </a:lnTo>
                    <a:lnTo>
                      <a:pt x="1830" y="222"/>
                    </a:lnTo>
                    <a:lnTo>
                      <a:pt x="1830" y="222"/>
                    </a:lnTo>
                    <a:lnTo>
                      <a:pt x="1825" y="226"/>
                    </a:lnTo>
                    <a:lnTo>
                      <a:pt x="1825" y="226"/>
                    </a:lnTo>
                    <a:lnTo>
                      <a:pt x="1821" y="226"/>
                    </a:lnTo>
                    <a:lnTo>
                      <a:pt x="1816" y="226"/>
                    </a:lnTo>
                    <a:lnTo>
                      <a:pt x="1816" y="226"/>
                    </a:lnTo>
                    <a:lnTo>
                      <a:pt x="1816" y="226"/>
                    </a:lnTo>
                    <a:lnTo>
                      <a:pt x="1812" y="231"/>
                    </a:lnTo>
                    <a:lnTo>
                      <a:pt x="1812" y="231"/>
                    </a:lnTo>
                    <a:lnTo>
                      <a:pt x="1816" y="240"/>
                    </a:lnTo>
                    <a:lnTo>
                      <a:pt x="1816" y="240"/>
                    </a:lnTo>
                    <a:lnTo>
                      <a:pt x="1816" y="240"/>
                    </a:lnTo>
                    <a:lnTo>
                      <a:pt x="1816" y="240"/>
                    </a:lnTo>
                    <a:lnTo>
                      <a:pt x="1812" y="240"/>
                    </a:lnTo>
                    <a:lnTo>
                      <a:pt x="1812" y="240"/>
                    </a:lnTo>
                    <a:lnTo>
                      <a:pt x="1807" y="235"/>
                    </a:lnTo>
                    <a:lnTo>
                      <a:pt x="1807" y="235"/>
                    </a:lnTo>
                    <a:lnTo>
                      <a:pt x="1803" y="231"/>
                    </a:lnTo>
                    <a:lnTo>
                      <a:pt x="1803" y="231"/>
                    </a:lnTo>
                    <a:lnTo>
                      <a:pt x="1803" y="231"/>
                    </a:lnTo>
                    <a:lnTo>
                      <a:pt x="1798" y="231"/>
                    </a:lnTo>
                    <a:lnTo>
                      <a:pt x="1798" y="235"/>
                    </a:lnTo>
                    <a:lnTo>
                      <a:pt x="1798" y="235"/>
                    </a:lnTo>
                    <a:lnTo>
                      <a:pt x="1798" y="235"/>
                    </a:lnTo>
                    <a:lnTo>
                      <a:pt x="1798" y="240"/>
                    </a:lnTo>
                    <a:lnTo>
                      <a:pt x="1798" y="240"/>
                    </a:lnTo>
                    <a:lnTo>
                      <a:pt x="1798" y="240"/>
                    </a:lnTo>
                    <a:lnTo>
                      <a:pt x="1803" y="240"/>
                    </a:lnTo>
                    <a:lnTo>
                      <a:pt x="1803" y="244"/>
                    </a:lnTo>
                    <a:lnTo>
                      <a:pt x="1803" y="244"/>
                    </a:lnTo>
                    <a:lnTo>
                      <a:pt x="1803" y="244"/>
                    </a:lnTo>
                    <a:lnTo>
                      <a:pt x="1798" y="244"/>
                    </a:lnTo>
                    <a:lnTo>
                      <a:pt x="1794" y="240"/>
                    </a:lnTo>
                    <a:lnTo>
                      <a:pt x="1794" y="240"/>
                    </a:lnTo>
                    <a:lnTo>
                      <a:pt x="1794" y="240"/>
                    </a:lnTo>
                    <a:lnTo>
                      <a:pt x="1789" y="240"/>
                    </a:lnTo>
                    <a:lnTo>
                      <a:pt x="1794" y="244"/>
                    </a:lnTo>
                    <a:lnTo>
                      <a:pt x="1794" y="244"/>
                    </a:lnTo>
                    <a:lnTo>
                      <a:pt x="1789" y="244"/>
                    </a:lnTo>
                    <a:lnTo>
                      <a:pt x="1789" y="244"/>
                    </a:lnTo>
                    <a:lnTo>
                      <a:pt x="1785" y="244"/>
                    </a:lnTo>
                    <a:lnTo>
                      <a:pt x="1785" y="244"/>
                    </a:lnTo>
                    <a:lnTo>
                      <a:pt x="1785" y="244"/>
                    </a:lnTo>
                    <a:lnTo>
                      <a:pt x="1785" y="244"/>
                    </a:lnTo>
                    <a:lnTo>
                      <a:pt x="1785" y="244"/>
                    </a:lnTo>
                    <a:lnTo>
                      <a:pt x="1785" y="244"/>
                    </a:lnTo>
                    <a:lnTo>
                      <a:pt x="1785" y="244"/>
                    </a:lnTo>
                    <a:lnTo>
                      <a:pt x="1789" y="249"/>
                    </a:lnTo>
                    <a:lnTo>
                      <a:pt x="1789" y="249"/>
                    </a:lnTo>
                    <a:lnTo>
                      <a:pt x="1794" y="253"/>
                    </a:lnTo>
                    <a:lnTo>
                      <a:pt x="1798" y="258"/>
                    </a:lnTo>
                    <a:lnTo>
                      <a:pt x="1798" y="258"/>
                    </a:lnTo>
                    <a:lnTo>
                      <a:pt x="1798" y="258"/>
                    </a:lnTo>
                    <a:lnTo>
                      <a:pt x="1798" y="258"/>
                    </a:lnTo>
                    <a:lnTo>
                      <a:pt x="1798" y="258"/>
                    </a:lnTo>
                    <a:lnTo>
                      <a:pt x="1803" y="262"/>
                    </a:lnTo>
                    <a:lnTo>
                      <a:pt x="1803" y="262"/>
                    </a:lnTo>
                    <a:lnTo>
                      <a:pt x="1803" y="262"/>
                    </a:lnTo>
                    <a:lnTo>
                      <a:pt x="1803" y="262"/>
                    </a:lnTo>
                    <a:lnTo>
                      <a:pt x="1803" y="267"/>
                    </a:lnTo>
                    <a:lnTo>
                      <a:pt x="1803" y="267"/>
                    </a:lnTo>
                    <a:lnTo>
                      <a:pt x="1807" y="271"/>
                    </a:lnTo>
                    <a:lnTo>
                      <a:pt x="1807" y="276"/>
                    </a:lnTo>
                    <a:lnTo>
                      <a:pt x="1812" y="280"/>
                    </a:lnTo>
                    <a:lnTo>
                      <a:pt x="1816" y="280"/>
                    </a:lnTo>
                    <a:lnTo>
                      <a:pt x="1816" y="285"/>
                    </a:lnTo>
                    <a:lnTo>
                      <a:pt x="1821" y="285"/>
                    </a:lnTo>
                    <a:lnTo>
                      <a:pt x="1821" y="285"/>
                    </a:lnTo>
                    <a:lnTo>
                      <a:pt x="1825" y="285"/>
                    </a:lnTo>
                    <a:lnTo>
                      <a:pt x="1825" y="285"/>
                    </a:lnTo>
                    <a:lnTo>
                      <a:pt x="1825" y="285"/>
                    </a:lnTo>
                    <a:lnTo>
                      <a:pt x="1825" y="285"/>
                    </a:lnTo>
                    <a:lnTo>
                      <a:pt x="1825" y="280"/>
                    </a:lnTo>
                    <a:lnTo>
                      <a:pt x="1825" y="280"/>
                    </a:lnTo>
                    <a:lnTo>
                      <a:pt x="1825" y="280"/>
                    </a:lnTo>
                    <a:lnTo>
                      <a:pt x="1830" y="280"/>
                    </a:lnTo>
                    <a:lnTo>
                      <a:pt x="1834" y="285"/>
                    </a:lnTo>
                    <a:lnTo>
                      <a:pt x="1834" y="285"/>
                    </a:lnTo>
                    <a:lnTo>
                      <a:pt x="1839" y="285"/>
                    </a:lnTo>
                    <a:lnTo>
                      <a:pt x="1839" y="289"/>
                    </a:lnTo>
                    <a:lnTo>
                      <a:pt x="1839" y="289"/>
                    </a:lnTo>
                    <a:lnTo>
                      <a:pt x="1839" y="294"/>
                    </a:lnTo>
                    <a:lnTo>
                      <a:pt x="1839" y="294"/>
                    </a:lnTo>
                    <a:lnTo>
                      <a:pt x="1843" y="294"/>
                    </a:lnTo>
                    <a:lnTo>
                      <a:pt x="1843" y="298"/>
                    </a:lnTo>
                    <a:lnTo>
                      <a:pt x="1848" y="298"/>
                    </a:lnTo>
                    <a:lnTo>
                      <a:pt x="1852" y="298"/>
                    </a:lnTo>
                    <a:lnTo>
                      <a:pt x="1852" y="303"/>
                    </a:lnTo>
                    <a:lnTo>
                      <a:pt x="1852" y="303"/>
                    </a:lnTo>
                    <a:lnTo>
                      <a:pt x="1857" y="303"/>
                    </a:lnTo>
                    <a:lnTo>
                      <a:pt x="1857" y="303"/>
                    </a:lnTo>
                    <a:lnTo>
                      <a:pt x="1857" y="303"/>
                    </a:lnTo>
                    <a:lnTo>
                      <a:pt x="1861" y="303"/>
                    </a:lnTo>
                    <a:lnTo>
                      <a:pt x="1861" y="307"/>
                    </a:lnTo>
                    <a:lnTo>
                      <a:pt x="1866" y="307"/>
                    </a:lnTo>
                    <a:lnTo>
                      <a:pt x="1870" y="312"/>
                    </a:lnTo>
                    <a:lnTo>
                      <a:pt x="1870" y="312"/>
                    </a:lnTo>
                    <a:lnTo>
                      <a:pt x="1870" y="312"/>
                    </a:lnTo>
                    <a:lnTo>
                      <a:pt x="1875" y="316"/>
                    </a:lnTo>
                    <a:lnTo>
                      <a:pt x="1870" y="316"/>
                    </a:lnTo>
                    <a:lnTo>
                      <a:pt x="1870" y="316"/>
                    </a:lnTo>
                    <a:lnTo>
                      <a:pt x="1861" y="312"/>
                    </a:lnTo>
                    <a:lnTo>
                      <a:pt x="1861" y="312"/>
                    </a:lnTo>
                    <a:lnTo>
                      <a:pt x="1861" y="307"/>
                    </a:lnTo>
                    <a:lnTo>
                      <a:pt x="1861" y="307"/>
                    </a:lnTo>
                    <a:lnTo>
                      <a:pt x="1861" y="307"/>
                    </a:lnTo>
                    <a:lnTo>
                      <a:pt x="1861" y="307"/>
                    </a:lnTo>
                    <a:lnTo>
                      <a:pt x="1861" y="307"/>
                    </a:lnTo>
                    <a:lnTo>
                      <a:pt x="1857" y="307"/>
                    </a:lnTo>
                    <a:lnTo>
                      <a:pt x="1857" y="307"/>
                    </a:lnTo>
                    <a:lnTo>
                      <a:pt x="1857" y="307"/>
                    </a:lnTo>
                    <a:lnTo>
                      <a:pt x="1861" y="312"/>
                    </a:lnTo>
                    <a:lnTo>
                      <a:pt x="1861" y="312"/>
                    </a:lnTo>
                    <a:lnTo>
                      <a:pt x="1861" y="312"/>
                    </a:lnTo>
                    <a:lnTo>
                      <a:pt x="1861" y="316"/>
                    </a:lnTo>
                    <a:lnTo>
                      <a:pt x="1861" y="316"/>
                    </a:lnTo>
                    <a:lnTo>
                      <a:pt x="1866" y="321"/>
                    </a:lnTo>
                    <a:lnTo>
                      <a:pt x="1866" y="325"/>
                    </a:lnTo>
                    <a:lnTo>
                      <a:pt x="1870" y="325"/>
                    </a:lnTo>
                    <a:lnTo>
                      <a:pt x="1875" y="330"/>
                    </a:lnTo>
                    <a:lnTo>
                      <a:pt x="1880" y="335"/>
                    </a:lnTo>
                    <a:lnTo>
                      <a:pt x="1880" y="335"/>
                    </a:lnTo>
                    <a:lnTo>
                      <a:pt x="1884" y="335"/>
                    </a:lnTo>
                    <a:lnTo>
                      <a:pt x="1889" y="339"/>
                    </a:lnTo>
                    <a:lnTo>
                      <a:pt x="1893" y="339"/>
                    </a:lnTo>
                    <a:lnTo>
                      <a:pt x="1893" y="344"/>
                    </a:lnTo>
                    <a:lnTo>
                      <a:pt x="1893" y="344"/>
                    </a:lnTo>
                    <a:lnTo>
                      <a:pt x="1893" y="344"/>
                    </a:lnTo>
                    <a:lnTo>
                      <a:pt x="1889" y="348"/>
                    </a:lnTo>
                    <a:lnTo>
                      <a:pt x="1884" y="344"/>
                    </a:lnTo>
                    <a:lnTo>
                      <a:pt x="1880" y="344"/>
                    </a:lnTo>
                    <a:lnTo>
                      <a:pt x="1880" y="348"/>
                    </a:lnTo>
                    <a:lnTo>
                      <a:pt x="1880" y="348"/>
                    </a:lnTo>
                    <a:lnTo>
                      <a:pt x="1880" y="353"/>
                    </a:lnTo>
                    <a:lnTo>
                      <a:pt x="1880" y="353"/>
                    </a:lnTo>
                    <a:lnTo>
                      <a:pt x="1880" y="357"/>
                    </a:lnTo>
                    <a:lnTo>
                      <a:pt x="1884" y="357"/>
                    </a:lnTo>
                    <a:lnTo>
                      <a:pt x="1884" y="362"/>
                    </a:lnTo>
                    <a:lnTo>
                      <a:pt x="1889" y="366"/>
                    </a:lnTo>
                    <a:lnTo>
                      <a:pt x="1889" y="366"/>
                    </a:lnTo>
                    <a:lnTo>
                      <a:pt x="1893" y="366"/>
                    </a:lnTo>
                    <a:lnTo>
                      <a:pt x="1893" y="371"/>
                    </a:lnTo>
                    <a:lnTo>
                      <a:pt x="1898" y="371"/>
                    </a:lnTo>
                    <a:lnTo>
                      <a:pt x="1898" y="371"/>
                    </a:lnTo>
                    <a:lnTo>
                      <a:pt x="1902" y="375"/>
                    </a:lnTo>
                    <a:lnTo>
                      <a:pt x="1902" y="375"/>
                    </a:lnTo>
                    <a:lnTo>
                      <a:pt x="1898" y="371"/>
                    </a:lnTo>
                    <a:lnTo>
                      <a:pt x="1893" y="371"/>
                    </a:lnTo>
                    <a:lnTo>
                      <a:pt x="1893" y="375"/>
                    </a:lnTo>
                    <a:lnTo>
                      <a:pt x="1893" y="380"/>
                    </a:lnTo>
                    <a:lnTo>
                      <a:pt x="1893" y="380"/>
                    </a:lnTo>
                    <a:lnTo>
                      <a:pt x="1889" y="380"/>
                    </a:lnTo>
                    <a:lnTo>
                      <a:pt x="1889" y="380"/>
                    </a:lnTo>
                    <a:lnTo>
                      <a:pt x="1889" y="380"/>
                    </a:lnTo>
                    <a:lnTo>
                      <a:pt x="1884" y="380"/>
                    </a:lnTo>
                    <a:lnTo>
                      <a:pt x="1889" y="380"/>
                    </a:lnTo>
                    <a:lnTo>
                      <a:pt x="1889" y="380"/>
                    </a:lnTo>
                    <a:lnTo>
                      <a:pt x="1893" y="380"/>
                    </a:lnTo>
                    <a:lnTo>
                      <a:pt x="1893" y="384"/>
                    </a:lnTo>
                    <a:lnTo>
                      <a:pt x="1893" y="384"/>
                    </a:lnTo>
                    <a:lnTo>
                      <a:pt x="1898" y="389"/>
                    </a:lnTo>
                    <a:lnTo>
                      <a:pt x="1902" y="389"/>
                    </a:lnTo>
                    <a:lnTo>
                      <a:pt x="1902" y="393"/>
                    </a:lnTo>
                    <a:lnTo>
                      <a:pt x="1902" y="398"/>
                    </a:lnTo>
                    <a:lnTo>
                      <a:pt x="1907" y="402"/>
                    </a:lnTo>
                    <a:lnTo>
                      <a:pt x="1907" y="407"/>
                    </a:lnTo>
                    <a:lnTo>
                      <a:pt x="1907" y="407"/>
                    </a:lnTo>
                    <a:lnTo>
                      <a:pt x="1907" y="411"/>
                    </a:lnTo>
                    <a:lnTo>
                      <a:pt x="1907" y="411"/>
                    </a:lnTo>
                    <a:lnTo>
                      <a:pt x="1907" y="416"/>
                    </a:lnTo>
                    <a:lnTo>
                      <a:pt x="1907" y="420"/>
                    </a:lnTo>
                    <a:lnTo>
                      <a:pt x="1907" y="420"/>
                    </a:lnTo>
                    <a:lnTo>
                      <a:pt x="1907" y="420"/>
                    </a:lnTo>
                    <a:lnTo>
                      <a:pt x="1902" y="416"/>
                    </a:lnTo>
                    <a:lnTo>
                      <a:pt x="1902" y="416"/>
                    </a:lnTo>
                    <a:lnTo>
                      <a:pt x="1898" y="416"/>
                    </a:lnTo>
                    <a:lnTo>
                      <a:pt x="1898" y="411"/>
                    </a:lnTo>
                    <a:lnTo>
                      <a:pt x="1893" y="411"/>
                    </a:lnTo>
                    <a:lnTo>
                      <a:pt x="1884" y="402"/>
                    </a:lnTo>
                    <a:lnTo>
                      <a:pt x="1875" y="393"/>
                    </a:lnTo>
                    <a:lnTo>
                      <a:pt x="1870" y="393"/>
                    </a:lnTo>
                    <a:lnTo>
                      <a:pt x="1866" y="389"/>
                    </a:lnTo>
                    <a:lnTo>
                      <a:pt x="1866" y="389"/>
                    </a:lnTo>
                    <a:lnTo>
                      <a:pt x="1861" y="384"/>
                    </a:lnTo>
                    <a:lnTo>
                      <a:pt x="1857" y="384"/>
                    </a:lnTo>
                    <a:lnTo>
                      <a:pt x="1839" y="371"/>
                    </a:lnTo>
                    <a:lnTo>
                      <a:pt x="1834" y="366"/>
                    </a:lnTo>
                    <a:lnTo>
                      <a:pt x="1821" y="357"/>
                    </a:lnTo>
                    <a:lnTo>
                      <a:pt x="1812" y="348"/>
                    </a:lnTo>
                    <a:lnTo>
                      <a:pt x="1803" y="344"/>
                    </a:lnTo>
                    <a:lnTo>
                      <a:pt x="1803" y="339"/>
                    </a:lnTo>
                    <a:lnTo>
                      <a:pt x="1794" y="330"/>
                    </a:lnTo>
                    <a:lnTo>
                      <a:pt x="1789" y="325"/>
                    </a:lnTo>
                    <a:lnTo>
                      <a:pt x="1776" y="316"/>
                    </a:lnTo>
                    <a:lnTo>
                      <a:pt x="1776" y="312"/>
                    </a:lnTo>
                    <a:lnTo>
                      <a:pt x="1776" y="312"/>
                    </a:lnTo>
                    <a:lnTo>
                      <a:pt x="1776" y="307"/>
                    </a:lnTo>
                    <a:lnTo>
                      <a:pt x="1776" y="307"/>
                    </a:lnTo>
                    <a:lnTo>
                      <a:pt x="1776" y="303"/>
                    </a:lnTo>
                    <a:lnTo>
                      <a:pt x="1771" y="298"/>
                    </a:lnTo>
                    <a:lnTo>
                      <a:pt x="1767" y="298"/>
                    </a:lnTo>
                    <a:lnTo>
                      <a:pt x="1767" y="298"/>
                    </a:lnTo>
                    <a:lnTo>
                      <a:pt x="1767" y="294"/>
                    </a:lnTo>
                    <a:lnTo>
                      <a:pt x="1762" y="294"/>
                    </a:lnTo>
                    <a:lnTo>
                      <a:pt x="1762" y="294"/>
                    </a:lnTo>
                    <a:lnTo>
                      <a:pt x="1762" y="294"/>
                    </a:lnTo>
                    <a:lnTo>
                      <a:pt x="1762" y="294"/>
                    </a:lnTo>
                    <a:lnTo>
                      <a:pt x="1767" y="294"/>
                    </a:lnTo>
                    <a:lnTo>
                      <a:pt x="1767" y="294"/>
                    </a:lnTo>
                    <a:lnTo>
                      <a:pt x="1767" y="289"/>
                    </a:lnTo>
                    <a:lnTo>
                      <a:pt x="1771" y="289"/>
                    </a:lnTo>
                    <a:lnTo>
                      <a:pt x="1771" y="289"/>
                    </a:lnTo>
                    <a:lnTo>
                      <a:pt x="1771" y="289"/>
                    </a:lnTo>
                    <a:lnTo>
                      <a:pt x="1771" y="285"/>
                    </a:lnTo>
                    <a:lnTo>
                      <a:pt x="1771" y="285"/>
                    </a:lnTo>
                    <a:lnTo>
                      <a:pt x="1771" y="280"/>
                    </a:lnTo>
                    <a:lnTo>
                      <a:pt x="1771" y="280"/>
                    </a:lnTo>
                    <a:lnTo>
                      <a:pt x="1771" y="276"/>
                    </a:lnTo>
                    <a:lnTo>
                      <a:pt x="1771" y="276"/>
                    </a:lnTo>
                    <a:lnTo>
                      <a:pt x="1771" y="271"/>
                    </a:lnTo>
                    <a:lnTo>
                      <a:pt x="1771" y="271"/>
                    </a:lnTo>
                    <a:lnTo>
                      <a:pt x="1767" y="267"/>
                    </a:lnTo>
                    <a:lnTo>
                      <a:pt x="1762" y="258"/>
                    </a:lnTo>
                    <a:lnTo>
                      <a:pt x="1762" y="258"/>
                    </a:lnTo>
                    <a:lnTo>
                      <a:pt x="1762" y="253"/>
                    </a:lnTo>
                    <a:lnTo>
                      <a:pt x="1762" y="253"/>
                    </a:lnTo>
                    <a:lnTo>
                      <a:pt x="1762" y="249"/>
                    </a:lnTo>
                    <a:lnTo>
                      <a:pt x="1762" y="244"/>
                    </a:lnTo>
                    <a:lnTo>
                      <a:pt x="1762" y="244"/>
                    </a:lnTo>
                    <a:lnTo>
                      <a:pt x="1758" y="244"/>
                    </a:lnTo>
                    <a:lnTo>
                      <a:pt x="1758" y="240"/>
                    </a:lnTo>
                    <a:lnTo>
                      <a:pt x="1758" y="240"/>
                    </a:lnTo>
                    <a:lnTo>
                      <a:pt x="1758" y="235"/>
                    </a:lnTo>
                    <a:lnTo>
                      <a:pt x="1758" y="235"/>
                    </a:lnTo>
                    <a:lnTo>
                      <a:pt x="1758" y="231"/>
                    </a:lnTo>
                    <a:lnTo>
                      <a:pt x="1762" y="231"/>
                    </a:lnTo>
                    <a:lnTo>
                      <a:pt x="1762" y="231"/>
                    </a:lnTo>
                    <a:lnTo>
                      <a:pt x="1762" y="226"/>
                    </a:lnTo>
                    <a:lnTo>
                      <a:pt x="1762" y="226"/>
                    </a:lnTo>
                    <a:lnTo>
                      <a:pt x="1758" y="226"/>
                    </a:lnTo>
                    <a:lnTo>
                      <a:pt x="1758" y="226"/>
                    </a:lnTo>
                    <a:lnTo>
                      <a:pt x="1758" y="222"/>
                    </a:lnTo>
                    <a:lnTo>
                      <a:pt x="1758" y="222"/>
                    </a:lnTo>
                    <a:lnTo>
                      <a:pt x="1753" y="217"/>
                    </a:lnTo>
                    <a:lnTo>
                      <a:pt x="1753" y="217"/>
                    </a:lnTo>
                    <a:lnTo>
                      <a:pt x="1753" y="217"/>
                    </a:lnTo>
                    <a:lnTo>
                      <a:pt x="1749" y="217"/>
                    </a:lnTo>
                    <a:lnTo>
                      <a:pt x="1749" y="217"/>
                    </a:lnTo>
                    <a:lnTo>
                      <a:pt x="1749" y="212"/>
                    </a:lnTo>
                    <a:lnTo>
                      <a:pt x="1744" y="212"/>
                    </a:lnTo>
                    <a:lnTo>
                      <a:pt x="1744" y="208"/>
                    </a:lnTo>
                    <a:lnTo>
                      <a:pt x="1739" y="208"/>
                    </a:lnTo>
                    <a:lnTo>
                      <a:pt x="1735" y="203"/>
                    </a:lnTo>
                    <a:lnTo>
                      <a:pt x="1730" y="199"/>
                    </a:lnTo>
                    <a:lnTo>
                      <a:pt x="1730" y="199"/>
                    </a:lnTo>
                    <a:lnTo>
                      <a:pt x="1735" y="199"/>
                    </a:lnTo>
                    <a:lnTo>
                      <a:pt x="1735" y="199"/>
                    </a:lnTo>
                    <a:lnTo>
                      <a:pt x="1739" y="199"/>
                    </a:lnTo>
                    <a:lnTo>
                      <a:pt x="1739" y="199"/>
                    </a:lnTo>
                    <a:lnTo>
                      <a:pt x="1739" y="199"/>
                    </a:lnTo>
                    <a:lnTo>
                      <a:pt x="1739" y="199"/>
                    </a:lnTo>
                    <a:lnTo>
                      <a:pt x="1739" y="199"/>
                    </a:lnTo>
                    <a:lnTo>
                      <a:pt x="1739" y="199"/>
                    </a:lnTo>
                    <a:lnTo>
                      <a:pt x="1739" y="199"/>
                    </a:lnTo>
                    <a:lnTo>
                      <a:pt x="1735" y="199"/>
                    </a:lnTo>
                    <a:lnTo>
                      <a:pt x="1730" y="194"/>
                    </a:lnTo>
                    <a:lnTo>
                      <a:pt x="1726" y="194"/>
                    </a:lnTo>
                    <a:lnTo>
                      <a:pt x="1726" y="194"/>
                    </a:lnTo>
                    <a:lnTo>
                      <a:pt x="1721" y="194"/>
                    </a:lnTo>
                    <a:lnTo>
                      <a:pt x="1717" y="199"/>
                    </a:lnTo>
                    <a:lnTo>
                      <a:pt x="1717" y="199"/>
                    </a:lnTo>
                    <a:lnTo>
                      <a:pt x="1717" y="199"/>
                    </a:lnTo>
                    <a:lnTo>
                      <a:pt x="1721" y="203"/>
                    </a:lnTo>
                    <a:lnTo>
                      <a:pt x="1721" y="203"/>
                    </a:lnTo>
                    <a:lnTo>
                      <a:pt x="1721" y="203"/>
                    </a:lnTo>
                    <a:lnTo>
                      <a:pt x="1721" y="203"/>
                    </a:lnTo>
                    <a:lnTo>
                      <a:pt x="1726" y="208"/>
                    </a:lnTo>
                    <a:lnTo>
                      <a:pt x="1726" y="208"/>
                    </a:lnTo>
                    <a:lnTo>
                      <a:pt x="1730" y="212"/>
                    </a:lnTo>
                    <a:lnTo>
                      <a:pt x="1735" y="212"/>
                    </a:lnTo>
                    <a:lnTo>
                      <a:pt x="1735" y="212"/>
                    </a:lnTo>
                    <a:lnTo>
                      <a:pt x="1739" y="212"/>
                    </a:lnTo>
                    <a:lnTo>
                      <a:pt x="1739" y="217"/>
                    </a:lnTo>
                    <a:lnTo>
                      <a:pt x="1739" y="217"/>
                    </a:lnTo>
                    <a:lnTo>
                      <a:pt x="1739" y="217"/>
                    </a:lnTo>
                    <a:lnTo>
                      <a:pt x="1739" y="217"/>
                    </a:lnTo>
                    <a:lnTo>
                      <a:pt x="1739" y="217"/>
                    </a:lnTo>
                    <a:lnTo>
                      <a:pt x="1739" y="217"/>
                    </a:lnTo>
                    <a:lnTo>
                      <a:pt x="1735" y="212"/>
                    </a:lnTo>
                    <a:lnTo>
                      <a:pt x="1735" y="212"/>
                    </a:lnTo>
                    <a:lnTo>
                      <a:pt x="1735" y="217"/>
                    </a:lnTo>
                    <a:lnTo>
                      <a:pt x="1735" y="217"/>
                    </a:lnTo>
                    <a:lnTo>
                      <a:pt x="1735" y="217"/>
                    </a:lnTo>
                    <a:lnTo>
                      <a:pt x="1730" y="217"/>
                    </a:lnTo>
                    <a:lnTo>
                      <a:pt x="1730" y="217"/>
                    </a:lnTo>
                    <a:lnTo>
                      <a:pt x="1730" y="217"/>
                    </a:lnTo>
                    <a:lnTo>
                      <a:pt x="1735" y="231"/>
                    </a:lnTo>
                    <a:lnTo>
                      <a:pt x="1735" y="231"/>
                    </a:lnTo>
                    <a:lnTo>
                      <a:pt x="1735" y="235"/>
                    </a:lnTo>
                    <a:lnTo>
                      <a:pt x="1730" y="235"/>
                    </a:lnTo>
                    <a:lnTo>
                      <a:pt x="1730" y="235"/>
                    </a:lnTo>
                    <a:lnTo>
                      <a:pt x="1730" y="235"/>
                    </a:lnTo>
                    <a:lnTo>
                      <a:pt x="1730" y="240"/>
                    </a:lnTo>
                    <a:lnTo>
                      <a:pt x="1730" y="235"/>
                    </a:lnTo>
                    <a:lnTo>
                      <a:pt x="1730" y="235"/>
                    </a:lnTo>
                    <a:lnTo>
                      <a:pt x="1726" y="235"/>
                    </a:lnTo>
                    <a:lnTo>
                      <a:pt x="1726" y="231"/>
                    </a:lnTo>
                    <a:lnTo>
                      <a:pt x="1721" y="231"/>
                    </a:lnTo>
                    <a:lnTo>
                      <a:pt x="1721" y="231"/>
                    </a:lnTo>
                    <a:lnTo>
                      <a:pt x="1721" y="231"/>
                    </a:lnTo>
                    <a:lnTo>
                      <a:pt x="1721" y="231"/>
                    </a:lnTo>
                    <a:lnTo>
                      <a:pt x="1721" y="231"/>
                    </a:lnTo>
                    <a:lnTo>
                      <a:pt x="1717" y="231"/>
                    </a:lnTo>
                    <a:lnTo>
                      <a:pt x="1717" y="231"/>
                    </a:lnTo>
                    <a:lnTo>
                      <a:pt x="1712" y="226"/>
                    </a:lnTo>
                    <a:lnTo>
                      <a:pt x="1712" y="226"/>
                    </a:lnTo>
                    <a:lnTo>
                      <a:pt x="1712" y="226"/>
                    </a:lnTo>
                    <a:lnTo>
                      <a:pt x="1708" y="222"/>
                    </a:lnTo>
                    <a:lnTo>
                      <a:pt x="1708" y="222"/>
                    </a:lnTo>
                    <a:lnTo>
                      <a:pt x="1703" y="217"/>
                    </a:lnTo>
                    <a:lnTo>
                      <a:pt x="1703" y="217"/>
                    </a:lnTo>
                    <a:lnTo>
                      <a:pt x="1703" y="217"/>
                    </a:lnTo>
                    <a:lnTo>
                      <a:pt x="1703" y="217"/>
                    </a:lnTo>
                    <a:lnTo>
                      <a:pt x="1699" y="217"/>
                    </a:lnTo>
                    <a:lnTo>
                      <a:pt x="1699" y="217"/>
                    </a:lnTo>
                    <a:lnTo>
                      <a:pt x="1699" y="222"/>
                    </a:lnTo>
                    <a:lnTo>
                      <a:pt x="1699" y="217"/>
                    </a:lnTo>
                    <a:lnTo>
                      <a:pt x="1694" y="217"/>
                    </a:lnTo>
                    <a:lnTo>
                      <a:pt x="1690" y="217"/>
                    </a:lnTo>
                    <a:lnTo>
                      <a:pt x="1690" y="217"/>
                    </a:lnTo>
                    <a:lnTo>
                      <a:pt x="1690" y="217"/>
                    </a:lnTo>
                    <a:lnTo>
                      <a:pt x="1690" y="217"/>
                    </a:lnTo>
                    <a:lnTo>
                      <a:pt x="1685" y="222"/>
                    </a:lnTo>
                    <a:lnTo>
                      <a:pt x="1685" y="222"/>
                    </a:lnTo>
                    <a:lnTo>
                      <a:pt x="1681" y="222"/>
                    </a:lnTo>
                    <a:lnTo>
                      <a:pt x="1681" y="222"/>
                    </a:lnTo>
                    <a:lnTo>
                      <a:pt x="1676" y="222"/>
                    </a:lnTo>
                    <a:lnTo>
                      <a:pt x="1676" y="222"/>
                    </a:lnTo>
                    <a:lnTo>
                      <a:pt x="1676" y="222"/>
                    </a:lnTo>
                    <a:lnTo>
                      <a:pt x="1672" y="226"/>
                    </a:lnTo>
                    <a:lnTo>
                      <a:pt x="1676" y="226"/>
                    </a:lnTo>
                    <a:lnTo>
                      <a:pt x="1676" y="226"/>
                    </a:lnTo>
                    <a:lnTo>
                      <a:pt x="1676" y="226"/>
                    </a:lnTo>
                    <a:lnTo>
                      <a:pt x="1676" y="231"/>
                    </a:lnTo>
                    <a:lnTo>
                      <a:pt x="1676" y="235"/>
                    </a:lnTo>
                    <a:lnTo>
                      <a:pt x="1676" y="235"/>
                    </a:lnTo>
                    <a:lnTo>
                      <a:pt x="1681" y="240"/>
                    </a:lnTo>
                    <a:lnTo>
                      <a:pt x="1681" y="244"/>
                    </a:lnTo>
                    <a:lnTo>
                      <a:pt x="1681" y="244"/>
                    </a:lnTo>
                    <a:lnTo>
                      <a:pt x="1681" y="249"/>
                    </a:lnTo>
                    <a:lnTo>
                      <a:pt x="1681" y="249"/>
                    </a:lnTo>
                    <a:lnTo>
                      <a:pt x="1685" y="258"/>
                    </a:lnTo>
                    <a:lnTo>
                      <a:pt x="1685" y="258"/>
                    </a:lnTo>
                    <a:lnTo>
                      <a:pt x="1685" y="262"/>
                    </a:lnTo>
                    <a:lnTo>
                      <a:pt x="1685" y="262"/>
                    </a:lnTo>
                    <a:lnTo>
                      <a:pt x="1690" y="262"/>
                    </a:lnTo>
                    <a:lnTo>
                      <a:pt x="1690" y="262"/>
                    </a:lnTo>
                    <a:lnTo>
                      <a:pt x="1690" y="267"/>
                    </a:lnTo>
                    <a:lnTo>
                      <a:pt x="1690" y="267"/>
                    </a:lnTo>
                    <a:lnTo>
                      <a:pt x="1694" y="267"/>
                    </a:lnTo>
                    <a:lnTo>
                      <a:pt x="1694" y="267"/>
                    </a:lnTo>
                    <a:lnTo>
                      <a:pt x="1694" y="267"/>
                    </a:lnTo>
                    <a:lnTo>
                      <a:pt x="1699" y="267"/>
                    </a:lnTo>
                    <a:lnTo>
                      <a:pt x="1703" y="267"/>
                    </a:lnTo>
                    <a:lnTo>
                      <a:pt x="1708" y="267"/>
                    </a:lnTo>
                    <a:lnTo>
                      <a:pt x="1708" y="271"/>
                    </a:lnTo>
                    <a:lnTo>
                      <a:pt x="1712" y="271"/>
                    </a:lnTo>
                    <a:lnTo>
                      <a:pt x="1708" y="271"/>
                    </a:lnTo>
                    <a:lnTo>
                      <a:pt x="1708" y="271"/>
                    </a:lnTo>
                    <a:lnTo>
                      <a:pt x="1708" y="271"/>
                    </a:lnTo>
                    <a:lnTo>
                      <a:pt x="1703" y="271"/>
                    </a:lnTo>
                    <a:lnTo>
                      <a:pt x="1703" y="271"/>
                    </a:lnTo>
                    <a:lnTo>
                      <a:pt x="1703" y="276"/>
                    </a:lnTo>
                    <a:lnTo>
                      <a:pt x="1699" y="276"/>
                    </a:lnTo>
                    <a:lnTo>
                      <a:pt x="1699" y="276"/>
                    </a:lnTo>
                    <a:lnTo>
                      <a:pt x="1694" y="271"/>
                    </a:lnTo>
                    <a:lnTo>
                      <a:pt x="1690" y="276"/>
                    </a:lnTo>
                    <a:lnTo>
                      <a:pt x="1694" y="276"/>
                    </a:lnTo>
                    <a:lnTo>
                      <a:pt x="1690" y="276"/>
                    </a:lnTo>
                    <a:lnTo>
                      <a:pt x="1690" y="276"/>
                    </a:lnTo>
                    <a:lnTo>
                      <a:pt x="1690" y="280"/>
                    </a:lnTo>
                    <a:lnTo>
                      <a:pt x="1690" y="280"/>
                    </a:lnTo>
                    <a:lnTo>
                      <a:pt x="1685" y="280"/>
                    </a:lnTo>
                    <a:lnTo>
                      <a:pt x="1685" y="280"/>
                    </a:lnTo>
                    <a:lnTo>
                      <a:pt x="1681" y="280"/>
                    </a:lnTo>
                    <a:lnTo>
                      <a:pt x="1681" y="280"/>
                    </a:lnTo>
                    <a:lnTo>
                      <a:pt x="1681" y="280"/>
                    </a:lnTo>
                    <a:lnTo>
                      <a:pt x="1681" y="280"/>
                    </a:lnTo>
                    <a:lnTo>
                      <a:pt x="1676" y="285"/>
                    </a:lnTo>
                    <a:lnTo>
                      <a:pt x="1667" y="280"/>
                    </a:lnTo>
                    <a:lnTo>
                      <a:pt x="1672" y="276"/>
                    </a:lnTo>
                    <a:lnTo>
                      <a:pt x="1672" y="276"/>
                    </a:lnTo>
                    <a:lnTo>
                      <a:pt x="1676" y="276"/>
                    </a:lnTo>
                    <a:lnTo>
                      <a:pt x="1676" y="276"/>
                    </a:lnTo>
                    <a:lnTo>
                      <a:pt x="1676" y="276"/>
                    </a:lnTo>
                    <a:lnTo>
                      <a:pt x="1676" y="276"/>
                    </a:lnTo>
                    <a:lnTo>
                      <a:pt x="1672" y="276"/>
                    </a:lnTo>
                    <a:lnTo>
                      <a:pt x="1672" y="276"/>
                    </a:lnTo>
                    <a:lnTo>
                      <a:pt x="1663" y="271"/>
                    </a:lnTo>
                    <a:lnTo>
                      <a:pt x="1658" y="271"/>
                    </a:lnTo>
                    <a:lnTo>
                      <a:pt x="1658" y="271"/>
                    </a:lnTo>
                    <a:lnTo>
                      <a:pt x="1654" y="271"/>
                    </a:lnTo>
                    <a:lnTo>
                      <a:pt x="1654" y="271"/>
                    </a:lnTo>
                    <a:lnTo>
                      <a:pt x="1654" y="271"/>
                    </a:lnTo>
                    <a:lnTo>
                      <a:pt x="1658" y="271"/>
                    </a:lnTo>
                    <a:lnTo>
                      <a:pt x="1658" y="271"/>
                    </a:lnTo>
                    <a:lnTo>
                      <a:pt x="1654" y="271"/>
                    </a:lnTo>
                    <a:lnTo>
                      <a:pt x="1654" y="271"/>
                    </a:lnTo>
                    <a:lnTo>
                      <a:pt x="1654" y="271"/>
                    </a:lnTo>
                    <a:lnTo>
                      <a:pt x="1654" y="271"/>
                    </a:lnTo>
                    <a:lnTo>
                      <a:pt x="1654" y="271"/>
                    </a:lnTo>
                    <a:lnTo>
                      <a:pt x="1649" y="271"/>
                    </a:lnTo>
                    <a:lnTo>
                      <a:pt x="1645" y="271"/>
                    </a:lnTo>
                    <a:lnTo>
                      <a:pt x="1645" y="271"/>
                    </a:lnTo>
                    <a:lnTo>
                      <a:pt x="1636" y="271"/>
                    </a:lnTo>
                    <a:lnTo>
                      <a:pt x="1636" y="271"/>
                    </a:lnTo>
                    <a:lnTo>
                      <a:pt x="1631" y="271"/>
                    </a:lnTo>
                    <a:lnTo>
                      <a:pt x="1631" y="271"/>
                    </a:lnTo>
                    <a:lnTo>
                      <a:pt x="1636" y="276"/>
                    </a:lnTo>
                    <a:lnTo>
                      <a:pt x="1636" y="276"/>
                    </a:lnTo>
                    <a:lnTo>
                      <a:pt x="1636" y="276"/>
                    </a:lnTo>
                    <a:lnTo>
                      <a:pt x="1636" y="276"/>
                    </a:lnTo>
                    <a:lnTo>
                      <a:pt x="1636" y="276"/>
                    </a:lnTo>
                    <a:lnTo>
                      <a:pt x="1631" y="276"/>
                    </a:lnTo>
                    <a:lnTo>
                      <a:pt x="1631" y="276"/>
                    </a:lnTo>
                    <a:lnTo>
                      <a:pt x="1636" y="276"/>
                    </a:lnTo>
                    <a:lnTo>
                      <a:pt x="1636" y="276"/>
                    </a:lnTo>
                    <a:lnTo>
                      <a:pt x="1636" y="276"/>
                    </a:lnTo>
                    <a:lnTo>
                      <a:pt x="1640" y="280"/>
                    </a:lnTo>
                    <a:lnTo>
                      <a:pt x="1636" y="280"/>
                    </a:lnTo>
                    <a:lnTo>
                      <a:pt x="1636" y="280"/>
                    </a:lnTo>
                    <a:lnTo>
                      <a:pt x="1627" y="276"/>
                    </a:lnTo>
                    <a:lnTo>
                      <a:pt x="1627" y="280"/>
                    </a:lnTo>
                    <a:lnTo>
                      <a:pt x="1627" y="280"/>
                    </a:lnTo>
                    <a:lnTo>
                      <a:pt x="1622" y="280"/>
                    </a:lnTo>
                    <a:lnTo>
                      <a:pt x="1617" y="280"/>
                    </a:lnTo>
                    <a:lnTo>
                      <a:pt x="1613" y="280"/>
                    </a:lnTo>
                    <a:lnTo>
                      <a:pt x="1608" y="280"/>
                    </a:lnTo>
                    <a:lnTo>
                      <a:pt x="1608" y="280"/>
                    </a:lnTo>
                    <a:lnTo>
                      <a:pt x="1608" y="285"/>
                    </a:lnTo>
                    <a:lnTo>
                      <a:pt x="1608" y="285"/>
                    </a:lnTo>
                    <a:lnTo>
                      <a:pt x="1604" y="285"/>
                    </a:lnTo>
                    <a:lnTo>
                      <a:pt x="1604" y="285"/>
                    </a:lnTo>
                    <a:lnTo>
                      <a:pt x="1599" y="280"/>
                    </a:lnTo>
                    <a:lnTo>
                      <a:pt x="1599" y="280"/>
                    </a:lnTo>
                    <a:lnTo>
                      <a:pt x="1586" y="285"/>
                    </a:lnTo>
                    <a:lnTo>
                      <a:pt x="1581" y="285"/>
                    </a:lnTo>
                    <a:lnTo>
                      <a:pt x="1577" y="285"/>
                    </a:lnTo>
                    <a:lnTo>
                      <a:pt x="1577" y="285"/>
                    </a:lnTo>
                    <a:lnTo>
                      <a:pt x="1572" y="285"/>
                    </a:lnTo>
                    <a:lnTo>
                      <a:pt x="1568" y="289"/>
                    </a:lnTo>
                    <a:lnTo>
                      <a:pt x="1563" y="289"/>
                    </a:lnTo>
                    <a:lnTo>
                      <a:pt x="1563" y="294"/>
                    </a:lnTo>
                    <a:lnTo>
                      <a:pt x="1568" y="298"/>
                    </a:lnTo>
                    <a:lnTo>
                      <a:pt x="1568" y="303"/>
                    </a:lnTo>
                    <a:lnTo>
                      <a:pt x="1568" y="303"/>
                    </a:lnTo>
                    <a:lnTo>
                      <a:pt x="1563" y="307"/>
                    </a:lnTo>
                    <a:lnTo>
                      <a:pt x="1563" y="307"/>
                    </a:lnTo>
                    <a:lnTo>
                      <a:pt x="1563" y="312"/>
                    </a:lnTo>
                    <a:lnTo>
                      <a:pt x="1572" y="316"/>
                    </a:lnTo>
                    <a:lnTo>
                      <a:pt x="1572" y="316"/>
                    </a:lnTo>
                    <a:lnTo>
                      <a:pt x="1568" y="321"/>
                    </a:lnTo>
                    <a:lnTo>
                      <a:pt x="1568" y="325"/>
                    </a:lnTo>
                    <a:lnTo>
                      <a:pt x="1568" y="325"/>
                    </a:lnTo>
                    <a:lnTo>
                      <a:pt x="1568" y="325"/>
                    </a:lnTo>
                    <a:lnTo>
                      <a:pt x="1568" y="330"/>
                    </a:lnTo>
                    <a:lnTo>
                      <a:pt x="1568" y="330"/>
                    </a:lnTo>
                    <a:lnTo>
                      <a:pt x="1568" y="330"/>
                    </a:lnTo>
                    <a:lnTo>
                      <a:pt x="1568" y="335"/>
                    </a:lnTo>
                    <a:lnTo>
                      <a:pt x="1568" y="335"/>
                    </a:lnTo>
                    <a:lnTo>
                      <a:pt x="1568" y="344"/>
                    </a:lnTo>
                    <a:lnTo>
                      <a:pt x="1568" y="344"/>
                    </a:lnTo>
                    <a:lnTo>
                      <a:pt x="1568" y="344"/>
                    </a:lnTo>
                    <a:lnTo>
                      <a:pt x="1568" y="348"/>
                    </a:lnTo>
                    <a:lnTo>
                      <a:pt x="1568" y="353"/>
                    </a:lnTo>
                    <a:lnTo>
                      <a:pt x="1568" y="353"/>
                    </a:lnTo>
                    <a:lnTo>
                      <a:pt x="1568" y="357"/>
                    </a:lnTo>
                    <a:lnTo>
                      <a:pt x="1568" y="357"/>
                    </a:lnTo>
                    <a:lnTo>
                      <a:pt x="1568" y="362"/>
                    </a:lnTo>
                    <a:lnTo>
                      <a:pt x="1568" y="362"/>
                    </a:lnTo>
                    <a:lnTo>
                      <a:pt x="1563" y="366"/>
                    </a:lnTo>
                    <a:lnTo>
                      <a:pt x="1563" y="366"/>
                    </a:lnTo>
                    <a:lnTo>
                      <a:pt x="1568" y="371"/>
                    </a:lnTo>
                    <a:lnTo>
                      <a:pt x="1563" y="375"/>
                    </a:lnTo>
                    <a:lnTo>
                      <a:pt x="1563" y="375"/>
                    </a:lnTo>
                    <a:lnTo>
                      <a:pt x="1563" y="380"/>
                    </a:lnTo>
                    <a:lnTo>
                      <a:pt x="1563" y="380"/>
                    </a:lnTo>
                    <a:lnTo>
                      <a:pt x="1563" y="380"/>
                    </a:lnTo>
                    <a:lnTo>
                      <a:pt x="1568" y="384"/>
                    </a:lnTo>
                    <a:lnTo>
                      <a:pt x="1568" y="384"/>
                    </a:lnTo>
                    <a:lnTo>
                      <a:pt x="1568" y="384"/>
                    </a:lnTo>
                    <a:lnTo>
                      <a:pt x="1577" y="384"/>
                    </a:lnTo>
                    <a:lnTo>
                      <a:pt x="1581" y="384"/>
                    </a:lnTo>
                    <a:lnTo>
                      <a:pt x="1586" y="384"/>
                    </a:lnTo>
                    <a:lnTo>
                      <a:pt x="1586" y="384"/>
                    </a:lnTo>
                    <a:lnTo>
                      <a:pt x="1586" y="384"/>
                    </a:lnTo>
                    <a:lnTo>
                      <a:pt x="1590" y="384"/>
                    </a:lnTo>
                    <a:lnTo>
                      <a:pt x="1590" y="384"/>
                    </a:lnTo>
                    <a:lnTo>
                      <a:pt x="1590" y="389"/>
                    </a:lnTo>
                    <a:lnTo>
                      <a:pt x="1595" y="393"/>
                    </a:lnTo>
                    <a:lnTo>
                      <a:pt x="1599" y="393"/>
                    </a:lnTo>
                    <a:lnTo>
                      <a:pt x="1599" y="398"/>
                    </a:lnTo>
                    <a:lnTo>
                      <a:pt x="1604" y="398"/>
                    </a:lnTo>
                    <a:lnTo>
                      <a:pt x="1604" y="398"/>
                    </a:lnTo>
                    <a:lnTo>
                      <a:pt x="1604" y="398"/>
                    </a:lnTo>
                    <a:lnTo>
                      <a:pt x="1604" y="398"/>
                    </a:lnTo>
                    <a:lnTo>
                      <a:pt x="1604" y="393"/>
                    </a:lnTo>
                    <a:lnTo>
                      <a:pt x="1604" y="393"/>
                    </a:lnTo>
                    <a:lnTo>
                      <a:pt x="1599" y="393"/>
                    </a:lnTo>
                    <a:lnTo>
                      <a:pt x="1599" y="389"/>
                    </a:lnTo>
                    <a:lnTo>
                      <a:pt x="1599" y="389"/>
                    </a:lnTo>
                    <a:lnTo>
                      <a:pt x="1604" y="389"/>
                    </a:lnTo>
                    <a:lnTo>
                      <a:pt x="1604" y="389"/>
                    </a:lnTo>
                    <a:lnTo>
                      <a:pt x="1604" y="389"/>
                    </a:lnTo>
                    <a:lnTo>
                      <a:pt x="1604" y="389"/>
                    </a:lnTo>
                    <a:lnTo>
                      <a:pt x="1604" y="389"/>
                    </a:lnTo>
                    <a:lnTo>
                      <a:pt x="1604" y="393"/>
                    </a:lnTo>
                    <a:lnTo>
                      <a:pt x="1608" y="393"/>
                    </a:lnTo>
                    <a:lnTo>
                      <a:pt x="1608" y="393"/>
                    </a:lnTo>
                    <a:lnTo>
                      <a:pt x="1613" y="393"/>
                    </a:lnTo>
                    <a:lnTo>
                      <a:pt x="1613" y="393"/>
                    </a:lnTo>
                    <a:lnTo>
                      <a:pt x="1613" y="393"/>
                    </a:lnTo>
                    <a:lnTo>
                      <a:pt x="1613" y="398"/>
                    </a:lnTo>
                    <a:lnTo>
                      <a:pt x="1613" y="402"/>
                    </a:lnTo>
                    <a:lnTo>
                      <a:pt x="1613" y="402"/>
                    </a:lnTo>
                    <a:lnTo>
                      <a:pt x="1613" y="402"/>
                    </a:lnTo>
                    <a:lnTo>
                      <a:pt x="1613" y="402"/>
                    </a:lnTo>
                    <a:lnTo>
                      <a:pt x="1617" y="402"/>
                    </a:lnTo>
                    <a:lnTo>
                      <a:pt x="1622" y="398"/>
                    </a:lnTo>
                    <a:lnTo>
                      <a:pt x="1622" y="398"/>
                    </a:lnTo>
                    <a:lnTo>
                      <a:pt x="1622" y="393"/>
                    </a:lnTo>
                    <a:lnTo>
                      <a:pt x="1622" y="393"/>
                    </a:lnTo>
                    <a:lnTo>
                      <a:pt x="1622" y="393"/>
                    </a:lnTo>
                    <a:lnTo>
                      <a:pt x="1622" y="393"/>
                    </a:lnTo>
                    <a:lnTo>
                      <a:pt x="1622" y="393"/>
                    </a:lnTo>
                    <a:lnTo>
                      <a:pt x="1627" y="398"/>
                    </a:lnTo>
                    <a:lnTo>
                      <a:pt x="1627" y="398"/>
                    </a:lnTo>
                    <a:lnTo>
                      <a:pt x="1627" y="402"/>
                    </a:lnTo>
                    <a:lnTo>
                      <a:pt x="1627" y="402"/>
                    </a:lnTo>
                    <a:lnTo>
                      <a:pt x="1627" y="402"/>
                    </a:lnTo>
                    <a:lnTo>
                      <a:pt x="1627" y="398"/>
                    </a:lnTo>
                    <a:lnTo>
                      <a:pt x="1627" y="398"/>
                    </a:lnTo>
                    <a:lnTo>
                      <a:pt x="1627" y="393"/>
                    </a:lnTo>
                    <a:lnTo>
                      <a:pt x="1622" y="389"/>
                    </a:lnTo>
                    <a:lnTo>
                      <a:pt x="1617" y="389"/>
                    </a:lnTo>
                    <a:lnTo>
                      <a:pt x="1617" y="389"/>
                    </a:lnTo>
                    <a:lnTo>
                      <a:pt x="1617" y="384"/>
                    </a:lnTo>
                    <a:lnTo>
                      <a:pt x="1617" y="384"/>
                    </a:lnTo>
                    <a:lnTo>
                      <a:pt x="1622" y="389"/>
                    </a:lnTo>
                    <a:lnTo>
                      <a:pt x="1627" y="389"/>
                    </a:lnTo>
                    <a:lnTo>
                      <a:pt x="1631" y="384"/>
                    </a:lnTo>
                    <a:lnTo>
                      <a:pt x="1631" y="384"/>
                    </a:lnTo>
                    <a:lnTo>
                      <a:pt x="1631" y="384"/>
                    </a:lnTo>
                    <a:lnTo>
                      <a:pt x="1640" y="389"/>
                    </a:lnTo>
                    <a:lnTo>
                      <a:pt x="1640" y="389"/>
                    </a:lnTo>
                    <a:lnTo>
                      <a:pt x="1645" y="393"/>
                    </a:lnTo>
                    <a:lnTo>
                      <a:pt x="1654" y="398"/>
                    </a:lnTo>
                    <a:lnTo>
                      <a:pt x="1663" y="398"/>
                    </a:lnTo>
                    <a:lnTo>
                      <a:pt x="1663" y="398"/>
                    </a:lnTo>
                    <a:lnTo>
                      <a:pt x="1667" y="402"/>
                    </a:lnTo>
                    <a:lnTo>
                      <a:pt x="1667" y="402"/>
                    </a:lnTo>
                    <a:lnTo>
                      <a:pt x="1672" y="402"/>
                    </a:lnTo>
                    <a:lnTo>
                      <a:pt x="1672" y="402"/>
                    </a:lnTo>
                    <a:lnTo>
                      <a:pt x="1672" y="407"/>
                    </a:lnTo>
                    <a:lnTo>
                      <a:pt x="1667" y="407"/>
                    </a:lnTo>
                    <a:lnTo>
                      <a:pt x="1667" y="407"/>
                    </a:lnTo>
                    <a:lnTo>
                      <a:pt x="1667" y="407"/>
                    </a:lnTo>
                    <a:lnTo>
                      <a:pt x="1672" y="407"/>
                    </a:lnTo>
                    <a:lnTo>
                      <a:pt x="1676" y="411"/>
                    </a:lnTo>
                    <a:lnTo>
                      <a:pt x="1681" y="411"/>
                    </a:lnTo>
                    <a:lnTo>
                      <a:pt x="1681" y="416"/>
                    </a:lnTo>
                    <a:lnTo>
                      <a:pt x="1681" y="416"/>
                    </a:lnTo>
                    <a:lnTo>
                      <a:pt x="1685" y="420"/>
                    </a:lnTo>
                    <a:lnTo>
                      <a:pt x="1685" y="420"/>
                    </a:lnTo>
                    <a:lnTo>
                      <a:pt x="1690" y="420"/>
                    </a:lnTo>
                    <a:lnTo>
                      <a:pt x="1690" y="420"/>
                    </a:lnTo>
                    <a:lnTo>
                      <a:pt x="1690" y="425"/>
                    </a:lnTo>
                    <a:lnTo>
                      <a:pt x="1694" y="425"/>
                    </a:lnTo>
                    <a:lnTo>
                      <a:pt x="1694" y="429"/>
                    </a:lnTo>
                    <a:lnTo>
                      <a:pt x="1694" y="429"/>
                    </a:lnTo>
                    <a:lnTo>
                      <a:pt x="1694" y="434"/>
                    </a:lnTo>
                    <a:lnTo>
                      <a:pt x="1694" y="439"/>
                    </a:lnTo>
                    <a:lnTo>
                      <a:pt x="1699" y="439"/>
                    </a:lnTo>
                    <a:lnTo>
                      <a:pt x="1699" y="443"/>
                    </a:lnTo>
                    <a:lnTo>
                      <a:pt x="1703" y="448"/>
                    </a:lnTo>
                    <a:lnTo>
                      <a:pt x="1703" y="448"/>
                    </a:lnTo>
                    <a:lnTo>
                      <a:pt x="1708" y="452"/>
                    </a:lnTo>
                    <a:lnTo>
                      <a:pt x="1717" y="461"/>
                    </a:lnTo>
                    <a:lnTo>
                      <a:pt x="1717" y="461"/>
                    </a:lnTo>
                    <a:lnTo>
                      <a:pt x="1717" y="461"/>
                    </a:lnTo>
                    <a:lnTo>
                      <a:pt x="1717" y="461"/>
                    </a:lnTo>
                    <a:lnTo>
                      <a:pt x="1717" y="466"/>
                    </a:lnTo>
                    <a:lnTo>
                      <a:pt x="1717" y="466"/>
                    </a:lnTo>
                    <a:lnTo>
                      <a:pt x="1721" y="470"/>
                    </a:lnTo>
                    <a:lnTo>
                      <a:pt x="1721" y="470"/>
                    </a:lnTo>
                    <a:lnTo>
                      <a:pt x="1726" y="470"/>
                    </a:lnTo>
                    <a:lnTo>
                      <a:pt x="1726" y="479"/>
                    </a:lnTo>
                    <a:lnTo>
                      <a:pt x="1726" y="479"/>
                    </a:lnTo>
                    <a:lnTo>
                      <a:pt x="1730" y="479"/>
                    </a:lnTo>
                    <a:lnTo>
                      <a:pt x="1730" y="479"/>
                    </a:lnTo>
                    <a:lnTo>
                      <a:pt x="1730" y="484"/>
                    </a:lnTo>
                    <a:lnTo>
                      <a:pt x="1730" y="484"/>
                    </a:lnTo>
                    <a:lnTo>
                      <a:pt x="1730" y="484"/>
                    </a:lnTo>
                    <a:lnTo>
                      <a:pt x="1735" y="484"/>
                    </a:lnTo>
                    <a:lnTo>
                      <a:pt x="1735" y="488"/>
                    </a:lnTo>
                    <a:lnTo>
                      <a:pt x="1739" y="493"/>
                    </a:lnTo>
                    <a:lnTo>
                      <a:pt x="1739" y="497"/>
                    </a:lnTo>
                    <a:lnTo>
                      <a:pt x="1739" y="497"/>
                    </a:lnTo>
                    <a:lnTo>
                      <a:pt x="1739" y="502"/>
                    </a:lnTo>
                    <a:lnTo>
                      <a:pt x="1739" y="502"/>
                    </a:lnTo>
                    <a:lnTo>
                      <a:pt x="1739" y="506"/>
                    </a:lnTo>
                    <a:lnTo>
                      <a:pt x="1739" y="506"/>
                    </a:lnTo>
                    <a:lnTo>
                      <a:pt x="1739" y="511"/>
                    </a:lnTo>
                    <a:lnTo>
                      <a:pt x="1739" y="515"/>
                    </a:lnTo>
                    <a:lnTo>
                      <a:pt x="1739" y="524"/>
                    </a:lnTo>
                    <a:lnTo>
                      <a:pt x="1739" y="524"/>
                    </a:lnTo>
                    <a:lnTo>
                      <a:pt x="1739" y="529"/>
                    </a:lnTo>
                    <a:lnTo>
                      <a:pt x="1744" y="529"/>
                    </a:lnTo>
                    <a:lnTo>
                      <a:pt x="1744" y="533"/>
                    </a:lnTo>
                    <a:lnTo>
                      <a:pt x="1744" y="538"/>
                    </a:lnTo>
                    <a:lnTo>
                      <a:pt x="1749" y="538"/>
                    </a:lnTo>
                    <a:lnTo>
                      <a:pt x="1749" y="547"/>
                    </a:lnTo>
                    <a:lnTo>
                      <a:pt x="1749" y="547"/>
                    </a:lnTo>
                    <a:lnTo>
                      <a:pt x="1749" y="552"/>
                    </a:lnTo>
                    <a:lnTo>
                      <a:pt x="1744" y="556"/>
                    </a:lnTo>
                    <a:lnTo>
                      <a:pt x="1744" y="565"/>
                    </a:lnTo>
                    <a:lnTo>
                      <a:pt x="1744" y="565"/>
                    </a:lnTo>
                    <a:lnTo>
                      <a:pt x="1744" y="565"/>
                    </a:lnTo>
                    <a:lnTo>
                      <a:pt x="1744" y="570"/>
                    </a:lnTo>
                    <a:lnTo>
                      <a:pt x="1744" y="574"/>
                    </a:lnTo>
                    <a:lnTo>
                      <a:pt x="1744" y="574"/>
                    </a:lnTo>
                    <a:lnTo>
                      <a:pt x="1744" y="579"/>
                    </a:lnTo>
                    <a:lnTo>
                      <a:pt x="1744" y="579"/>
                    </a:lnTo>
                    <a:lnTo>
                      <a:pt x="1744" y="579"/>
                    </a:lnTo>
                    <a:lnTo>
                      <a:pt x="1744" y="588"/>
                    </a:lnTo>
                    <a:lnTo>
                      <a:pt x="1744" y="588"/>
                    </a:lnTo>
                    <a:lnTo>
                      <a:pt x="1744" y="592"/>
                    </a:lnTo>
                    <a:lnTo>
                      <a:pt x="1744" y="592"/>
                    </a:lnTo>
                    <a:lnTo>
                      <a:pt x="1744" y="597"/>
                    </a:lnTo>
                    <a:lnTo>
                      <a:pt x="1744" y="601"/>
                    </a:lnTo>
                    <a:lnTo>
                      <a:pt x="1744" y="601"/>
                    </a:lnTo>
                    <a:lnTo>
                      <a:pt x="1739" y="610"/>
                    </a:lnTo>
                    <a:lnTo>
                      <a:pt x="1739" y="610"/>
                    </a:lnTo>
                    <a:lnTo>
                      <a:pt x="1735" y="615"/>
                    </a:lnTo>
                    <a:lnTo>
                      <a:pt x="1735" y="615"/>
                    </a:lnTo>
                    <a:lnTo>
                      <a:pt x="1730" y="615"/>
                    </a:lnTo>
                    <a:lnTo>
                      <a:pt x="1730" y="615"/>
                    </a:lnTo>
                    <a:lnTo>
                      <a:pt x="1726" y="615"/>
                    </a:lnTo>
                    <a:lnTo>
                      <a:pt x="1726" y="615"/>
                    </a:lnTo>
                    <a:lnTo>
                      <a:pt x="1726" y="615"/>
                    </a:lnTo>
                    <a:lnTo>
                      <a:pt x="1721" y="615"/>
                    </a:lnTo>
                    <a:lnTo>
                      <a:pt x="1721" y="615"/>
                    </a:lnTo>
                    <a:lnTo>
                      <a:pt x="1717" y="615"/>
                    </a:lnTo>
                    <a:lnTo>
                      <a:pt x="1717" y="615"/>
                    </a:lnTo>
                    <a:lnTo>
                      <a:pt x="1712" y="615"/>
                    </a:lnTo>
                    <a:lnTo>
                      <a:pt x="1708" y="606"/>
                    </a:lnTo>
                    <a:lnTo>
                      <a:pt x="1708" y="606"/>
                    </a:lnTo>
                    <a:lnTo>
                      <a:pt x="1708" y="606"/>
                    </a:lnTo>
                    <a:lnTo>
                      <a:pt x="1708" y="610"/>
                    </a:lnTo>
                    <a:lnTo>
                      <a:pt x="1708" y="610"/>
                    </a:lnTo>
                    <a:lnTo>
                      <a:pt x="1703" y="610"/>
                    </a:lnTo>
                    <a:lnTo>
                      <a:pt x="1703" y="610"/>
                    </a:lnTo>
                    <a:lnTo>
                      <a:pt x="1703" y="606"/>
                    </a:lnTo>
                    <a:lnTo>
                      <a:pt x="1703" y="606"/>
                    </a:lnTo>
                    <a:lnTo>
                      <a:pt x="1703" y="606"/>
                    </a:lnTo>
                    <a:lnTo>
                      <a:pt x="1703" y="606"/>
                    </a:lnTo>
                    <a:lnTo>
                      <a:pt x="1699" y="610"/>
                    </a:lnTo>
                    <a:lnTo>
                      <a:pt x="1699" y="610"/>
                    </a:lnTo>
                    <a:lnTo>
                      <a:pt x="1703" y="615"/>
                    </a:lnTo>
                    <a:lnTo>
                      <a:pt x="1699" y="615"/>
                    </a:lnTo>
                    <a:lnTo>
                      <a:pt x="1699" y="619"/>
                    </a:lnTo>
                    <a:lnTo>
                      <a:pt x="1699" y="619"/>
                    </a:lnTo>
                    <a:lnTo>
                      <a:pt x="1699" y="619"/>
                    </a:lnTo>
                    <a:lnTo>
                      <a:pt x="1699" y="619"/>
                    </a:lnTo>
                    <a:lnTo>
                      <a:pt x="1694" y="619"/>
                    </a:lnTo>
                    <a:lnTo>
                      <a:pt x="1694" y="619"/>
                    </a:lnTo>
                    <a:lnTo>
                      <a:pt x="1699" y="624"/>
                    </a:lnTo>
                    <a:lnTo>
                      <a:pt x="1699" y="628"/>
                    </a:lnTo>
                    <a:lnTo>
                      <a:pt x="1699" y="628"/>
                    </a:lnTo>
                    <a:lnTo>
                      <a:pt x="1699" y="628"/>
                    </a:lnTo>
                    <a:lnTo>
                      <a:pt x="1699" y="624"/>
                    </a:lnTo>
                    <a:lnTo>
                      <a:pt x="1694" y="624"/>
                    </a:lnTo>
                    <a:lnTo>
                      <a:pt x="1694" y="624"/>
                    </a:lnTo>
                    <a:lnTo>
                      <a:pt x="1694" y="624"/>
                    </a:lnTo>
                    <a:lnTo>
                      <a:pt x="1694" y="624"/>
                    </a:lnTo>
                    <a:lnTo>
                      <a:pt x="1694" y="619"/>
                    </a:lnTo>
                    <a:lnTo>
                      <a:pt x="1690" y="619"/>
                    </a:lnTo>
                    <a:lnTo>
                      <a:pt x="1690" y="619"/>
                    </a:lnTo>
                    <a:lnTo>
                      <a:pt x="1690" y="619"/>
                    </a:lnTo>
                    <a:lnTo>
                      <a:pt x="1690" y="619"/>
                    </a:lnTo>
                    <a:lnTo>
                      <a:pt x="1690" y="619"/>
                    </a:lnTo>
                    <a:lnTo>
                      <a:pt x="1690" y="619"/>
                    </a:lnTo>
                    <a:lnTo>
                      <a:pt x="1690" y="619"/>
                    </a:lnTo>
                    <a:lnTo>
                      <a:pt x="1690" y="615"/>
                    </a:lnTo>
                    <a:lnTo>
                      <a:pt x="1694" y="615"/>
                    </a:lnTo>
                    <a:lnTo>
                      <a:pt x="1694" y="615"/>
                    </a:lnTo>
                    <a:lnTo>
                      <a:pt x="1694" y="615"/>
                    </a:lnTo>
                    <a:lnTo>
                      <a:pt x="1694" y="615"/>
                    </a:lnTo>
                    <a:lnTo>
                      <a:pt x="1694" y="615"/>
                    </a:lnTo>
                    <a:lnTo>
                      <a:pt x="1694" y="615"/>
                    </a:lnTo>
                    <a:lnTo>
                      <a:pt x="1694" y="610"/>
                    </a:lnTo>
                    <a:lnTo>
                      <a:pt x="1694" y="610"/>
                    </a:lnTo>
                    <a:lnTo>
                      <a:pt x="1694" y="610"/>
                    </a:lnTo>
                    <a:lnTo>
                      <a:pt x="1694" y="610"/>
                    </a:lnTo>
                    <a:lnTo>
                      <a:pt x="1694" y="606"/>
                    </a:lnTo>
                    <a:lnTo>
                      <a:pt x="1694" y="606"/>
                    </a:lnTo>
                    <a:lnTo>
                      <a:pt x="1690" y="606"/>
                    </a:lnTo>
                    <a:lnTo>
                      <a:pt x="1690" y="606"/>
                    </a:lnTo>
                    <a:lnTo>
                      <a:pt x="1690" y="601"/>
                    </a:lnTo>
                    <a:lnTo>
                      <a:pt x="1690" y="601"/>
                    </a:lnTo>
                    <a:lnTo>
                      <a:pt x="1690" y="601"/>
                    </a:lnTo>
                    <a:lnTo>
                      <a:pt x="1690" y="601"/>
                    </a:lnTo>
                    <a:lnTo>
                      <a:pt x="1685" y="601"/>
                    </a:lnTo>
                    <a:lnTo>
                      <a:pt x="1685" y="597"/>
                    </a:lnTo>
                    <a:lnTo>
                      <a:pt x="1681" y="592"/>
                    </a:lnTo>
                    <a:lnTo>
                      <a:pt x="1681" y="592"/>
                    </a:lnTo>
                    <a:lnTo>
                      <a:pt x="1676" y="583"/>
                    </a:lnTo>
                    <a:lnTo>
                      <a:pt x="1672" y="583"/>
                    </a:lnTo>
                    <a:lnTo>
                      <a:pt x="1672" y="579"/>
                    </a:lnTo>
                    <a:lnTo>
                      <a:pt x="1667" y="579"/>
                    </a:lnTo>
                    <a:lnTo>
                      <a:pt x="1667" y="579"/>
                    </a:lnTo>
                    <a:lnTo>
                      <a:pt x="1667" y="579"/>
                    </a:lnTo>
                    <a:lnTo>
                      <a:pt x="1667" y="574"/>
                    </a:lnTo>
                    <a:lnTo>
                      <a:pt x="1667" y="574"/>
                    </a:lnTo>
                    <a:lnTo>
                      <a:pt x="1672" y="574"/>
                    </a:lnTo>
                    <a:lnTo>
                      <a:pt x="1672" y="574"/>
                    </a:lnTo>
                    <a:lnTo>
                      <a:pt x="1672" y="574"/>
                    </a:lnTo>
                    <a:lnTo>
                      <a:pt x="1672" y="574"/>
                    </a:lnTo>
                    <a:lnTo>
                      <a:pt x="1672" y="570"/>
                    </a:lnTo>
                    <a:lnTo>
                      <a:pt x="1672" y="570"/>
                    </a:lnTo>
                    <a:lnTo>
                      <a:pt x="1672" y="570"/>
                    </a:lnTo>
                    <a:lnTo>
                      <a:pt x="1672" y="570"/>
                    </a:lnTo>
                    <a:lnTo>
                      <a:pt x="1672" y="565"/>
                    </a:lnTo>
                    <a:lnTo>
                      <a:pt x="1672" y="565"/>
                    </a:lnTo>
                    <a:lnTo>
                      <a:pt x="1676" y="570"/>
                    </a:lnTo>
                    <a:lnTo>
                      <a:pt x="1676" y="570"/>
                    </a:lnTo>
                    <a:lnTo>
                      <a:pt x="1676" y="570"/>
                    </a:lnTo>
                    <a:lnTo>
                      <a:pt x="1681" y="570"/>
                    </a:lnTo>
                    <a:lnTo>
                      <a:pt x="1681" y="570"/>
                    </a:lnTo>
                    <a:lnTo>
                      <a:pt x="1685" y="570"/>
                    </a:lnTo>
                    <a:lnTo>
                      <a:pt x="1690" y="570"/>
                    </a:lnTo>
                    <a:lnTo>
                      <a:pt x="1690" y="570"/>
                    </a:lnTo>
                    <a:lnTo>
                      <a:pt x="1690" y="570"/>
                    </a:lnTo>
                    <a:lnTo>
                      <a:pt x="1690" y="570"/>
                    </a:lnTo>
                    <a:lnTo>
                      <a:pt x="1694" y="570"/>
                    </a:lnTo>
                    <a:lnTo>
                      <a:pt x="1694" y="570"/>
                    </a:lnTo>
                    <a:lnTo>
                      <a:pt x="1694" y="570"/>
                    </a:lnTo>
                    <a:lnTo>
                      <a:pt x="1690" y="565"/>
                    </a:lnTo>
                    <a:lnTo>
                      <a:pt x="1690" y="565"/>
                    </a:lnTo>
                    <a:lnTo>
                      <a:pt x="1690" y="561"/>
                    </a:lnTo>
                    <a:lnTo>
                      <a:pt x="1690" y="561"/>
                    </a:lnTo>
                    <a:lnTo>
                      <a:pt x="1690" y="561"/>
                    </a:lnTo>
                    <a:lnTo>
                      <a:pt x="1690" y="561"/>
                    </a:lnTo>
                    <a:lnTo>
                      <a:pt x="1690" y="561"/>
                    </a:lnTo>
                    <a:lnTo>
                      <a:pt x="1690" y="556"/>
                    </a:lnTo>
                    <a:lnTo>
                      <a:pt x="1690" y="556"/>
                    </a:lnTo>
                    <a:lnTo>
                      <a:pt x="1690" y="556"/>
                    </a:lnTo>
                    <a:lnTo>
                      <a:pt x="1690" y="556"/>
                    </a:lnTo>
                    <a:lnTo>
                      <a:pt x="1690" y="552"/>
                    </a:lnTo>
                    <a:lnTo>
                      <a:pt x="1690" y="552"/>
                    </a:lnTo>
                    <a:lnTo>
                      <a:pt x="1690" y="552"/>
                    </a:lnTo>
                    <a:lnTo>
                      <a:pt x="1690" y="552"/>
                    </a:lnTo>
                    <a:lnTo>
                      <a:pt x="1690" y="552"/>
                    </a:lnTo>
                    <a:lnTo>
                      <a:pt x="1690" y="552"/>
                    </a:lnTo>
                    <a:lnTo>
                      <a:pt x="1685" y="547"/>
                    </a:lnTo>
                    <a:lnTo>
                      <a:pt x="1685" y="547"/>
                    </a:lnTo>
                    <a:lnTo>
                      <a:pt x="1685" y="547"/>
                    </a:lnTo>
                    <a:lnTo>
                      <a:pt x="1690" y="547"/>
                    </a:lnTo>
                    <a:lnTo>
                      <a:pt x="1685" y="547"/>
                    </a:lnTo>
                    <a:lnTo>
                      <a:pt x="1685" y="543"/>
                    </a:lnTo>
                    <a:lnTo>
                      <a:pt x="1685" y="543"/>
                    </a:lnTo>
                    <a:lnTo>
                      <a:pt x="1685" y="543"/>
                    </a:lnTo>
                    <a:lnTo>
                      <a:pt x="1685" y="543"/>
                    </a:lnTo>
                    <a:lnTo>
                      <a:pt x="1685" y="538"/>
                    </a:lnTo>
                    <a:lnTo>
                      <a:pt x="1681" y="538"/>
                    </a:lnTo>
                    <a:lnTo>
                      <a:pt x="1681" y="533"/>
                    </a:lnTo>
                    <a:lnTo>
                      <a:pt x="1681" y="533"/>
                    </a:lnTo>
                    <a:lnTo>
                      <a:pt x="1681" y="533"/>
                    </a:lnTo>
                    <a:lnTo>
                      <a:pt x="1681" y="533"/>
                    </a:lnTo>
                    <a:lnTo>
                      <a:pt x="1681" y="529"/>
                    </a:lnTo>
                    <a:lnTo>
                      <a:pt x="1681" y="529"/>
                    </a:lnTo>
                    <a:lnTo>
                      <a:pt x="1676" y="529"/>
                    </a:lnTo>
                    <a:lnTo>
                      <a:pt x="1676" y="524"/>
                    </a:lnTo>
                    <a:lnTo>
                      <a:pt x="1676" y="524"/>
                    </a:lnTo>
                    <a:lnTo>
                      <a:pt x="1676" y="524"/>
                    </a:lnTo>
                    <a:lnTo>
                      <a:pt x="1676" y="524"/>
                    </a:lnTo>
                    <a:lnTo>
                      <a:pt x="1676" y="524"/>
                    </a:lnTo>
                    <a:lnTo>
                      <a:pt x="1676" y="524"/>
                    </a:lnTo>
                    <a:lnTo>
                      <a:pt x="1676" y="524"/>
                    </a:lnTo>
                    <a:lnTo>
                      <a:pt x="1676" y="520"/>
                    </a:lnTo>
                    <a:lnTo>
                      <a:pt x="1676" y="520"/>
                    </a:lnTo>
                    <a:lnTo>
                      <a:pt x="1676" y="520"/>
                    </a:lnTo>
                    <a:lnTo>
                      <a:pt x="1676" y="520"/>
                    </a:lnTo>
                    <a:lnTo>
                      <a:pt x="1676" y="515"/>
                    </a:lnTo>
                    <a:lnTo>
                      <a:pt x="1676" y="515"/>
                    </a:lnTo>
                    <a:lnTo>
                      <a:pt x="1676" y="515"/>
                    </a:lnTo>
                    <a:lnTo>
                      <a:pt x="1672" y="515"/>
                    </a:lnTo>
                    <a:lnTo>
                      <a:pt x="1672" y="511"/>
                    </a:lnTo>
                    <a:lnTo>
                      <a:pt x="1672" y="511"/>
                    </a:lnTo>
                    <a:lnTo>
                      <a:pt x="1672" y="511"/>
                    </a:lnTo>
                    <a:lnTo>
                      <a:pt x="1672" y="511"/>
                    </a:lnTo>
                    <a:lnTo>
                      <a:pt x="1667" y="506"/>
                    </a:lnTo>
                    <a:lnTo>
                      <a:pt x="1667" y="506"/>
                    </a:lnTo>
                    <a:lnTo>
                      <a:pt x="1667" y="506"/>
                    </a:lnTo>
                    <a:lnTo>
                      <a:pt x="1667" y="506"/>
                    </a:lnTo>
                    <a:lnTo>
                      <a:pt x="1663" y="506"/>
                    </a:lnTo>
                    <a:lnTo>
                      <a:pt x="1663" y="506"/>
                    </a:lnTo>
                    <a:lnTo>
                      <a:pt x="1663" y="506"/>
                    </a:lnTo>
                    <a:lnTo>
                      <a:pt x="1658" y="506"/>
                    </a:lnTo>
                    <a:lnTo>
                      <a:pt x="1658" y="506"/>
                    </a:lnTo>
                    <a:lnTo>
                      <a:pt x="1654" y="506"/>
                    </a:lnTo>
                    <a:lnTo>
                      <a:pt x="1654" y="511"/>
                    </a:lnTo>
                    <a:lnTo>
                      <a:pt x="1654" y="511"/>
                    </a:lnTo>
                    <a:lnTo>
                      <a:pt x="1654" y="511"/>
                    </a:lnTo>
                    <a:lnTo>
                      <a:pt x="1649" y="511"/>
                    </a:lnTo>
                    <a:lnTo>
                      <a:pt x="1649" y="511"/>
                    </a:lnTo>
                    <a:lnTo>
                      <a:pt x="1649" y="515"/>
                    </a:lnTo>
                    <a:lnTo>
                      <a:pt x="1645" y="515"/>
                    </a:lnTo>
                    <a:lnTo>
                      <a:pt x="1645" y="515"/>
                    </a:lnTo>
                    <a:lnTo>
                      <a:pt x="1645" y="515"/>
                    </a:lnTo>
                    <a:lnTo>
                      <a:pt x="1645" y="520"/>
                    </a:lnTo>
                    <a:lnTo>
                      <a:pt x="1645" y="520"/>
                    </a:lnTo>
                    <a:lnTo>
                      <a:pt x="1645" y="520"/>
                    </a:lnTo>
                    <a:lnTo>
                      <a:pt x="1640" y="520"/>
                    </a:lnTo>
                    <a:lnTo>
                      <a:pt x="1636" y="520"/>
                    </a:lnTo>
                    <a:lnTo>
                      <a:pt x="1636" y="520"/>
                    </a:lnTo>
                    <a:lnTo>
                      <a:pt x="1631" y="520"/>
                    </a:lnTo>
                    <a:lnTo>
                      <a:pt x="1631" y="520"/>
                    </a:lnTo>
                    <a:lnTo>
                      <a:pt x="1627" y="520"/>
                    </a:lnTo>
                    <a:lnTo>
                      <a:pt x="1627" y="520"/>
                    </a:lnTo>
                    <a:lnTo>
                      <a:pt x="1627" y="520"/>
                    </a:lnTo>
                    <a:lnTo>
                      <a:pt x="1627" y="520"/>
                    </a:lnTo>
                    <a:lnTo>
                      <a:pt x="1622" y="520"/>
                    </a:lnTo>
                    <a:lnTo>
                      <a:pt x="1622" y="515"/>
                    </a:lnTo>
                    <a:lnTo>
                      <a:pt x="1617" y="515"/>
                    </a:lnTo>
                    <a:lnTo>
                      <a:pt x="1617" y="515"/>
                    </a:lnTo>
                    <a:lnTo>
                      <a:pt x="1613" y="511"/>
                    </a:lnTo>
                    <a:lnTo>
                      <a:pt x="1613" y="511"/>
                    </a:lnTo>
                    <a:lnTo>
                      <a:pt x="1613" y="511"/>
                    </a:lnTo>
                    <a:lnTo>
                      <a:pt x="1613" y="506"/>
                    </a:lnTo>
                    <a:lnTo>
                      <a:pt x="1608" y="506"/>
                    </a:lnTo>
                    <a:lnTo>
                      <a:pt x="1608" y="506"/>
                    </a:lnTo>
                    <a:lnTo>
                      <a:pt x="1608" y="506"/>
                    </a:lnTo>
                    <a:lnTo>
                      <a:pt x="1604" y="502"/>
                    </a:lnTo>
                    <a:lnTo>
                      <a:pt x="1604" y="502"/>
                    </a:lnTo>
                    <a:lnTo>
                      <a:pt x="1604" y="502"/>
                    </a:lnTo>
                    <a:lnTo>
                      <a:pt x="1599" y="502"/>
                    </a:lnTo>
                    <a:lnTo>
                      <a:pt x="1595" y="502"/>
                    </a:lnTo>
                    <a:lnTo>
                      <a:pt x="1595" y="497"/>
                    </a:lnTo>
                    <a:lnTo>
                      <a:pt x="1586" y="493"/>
                    </a:lnTo>
                    <a:lnTo>
                      <a:pt x="1586" y="493"/>
                    </a:lnTo>
                    <a:lnTo>
                      <a:pt x="1581" y="493"/>
                    </a:lnTo>
                    <a:lnTo>
                      <a:pt x="1581" y="493"/>
                    </a:lnTo>
                    <a:lnTo>
                      <a:pt x="1581" y="493"/>
                    </a:lnTo>
                    <a:lnTo>
                      <a:pt x="1581" y="493"/>
                    </a:lnTo>
                    <a:lnTo>
                      <a:pt x="1577" y="493"/>
                    </a:lnTo>
                    <a:lnTo>
                      <a:pt x="1577" y="493"/>
                    </a:lnTo>
                    <a:lnTo>
                      <a:pt x="1577" y="493"/>
                    </a:lnTo>
                    <a:lnTo>
                      <a:pt x="1577" y="493"/>
                    </a:lnTo>
                    <a:lnTo>
                      <a:pt x="1577" y="493"/>
                    </a:lnTo>
                    <a:lnTo>
                      <a:pt x="1577" y="493"/>
                    </a:lnTo>
                    <a:lnTo>
                      <a:pt x="1572" y="493"/>
                    </a:lnTo>
                    <a:lnTo>
                      <a:pt x="1572" y="493"/>
                    </a:lnTo>
                    <a:lnTo>
                      <a:pt x="1572" y="493"/>
                    </a:lnTo>
                    <a:lnTo>
                      <a:pt x="1568" y="493"/>
                    </a:lnTo>
                    <a:lnTo>
                      <a:pt x="1568" y="488"/>
                    </a:lnTo>
                    <a:lnTo>
                      <a:pt x="1568" y="488"/>
                    </a:lnTo>
                    <a:lnTo>
                      <a:pt x="1568" y="488"/>
                    </a:lnTo>
                    <a:lnTo>
                      <a:pt x="1568" y="488"/>
                    </a:lnTo>
                    <a:lnTo>
                      <a:pt x="1563" y="488"/>
                    </a:lnTo>
                    <a:lnTo>
                      <a:pt x="1559" y="488"/>
                    </a:lnTo>
                    <a:lnTo>
                      <a:pt x="1559" y="488"/>
                    </a:lnTo>
                    <a:lnTo>
                      <a:pt x="1554" y="488"/>
                    </a:lnTo>
                    <a:lnTo>
                      <a:pt x="1550" y="488"/>
                    </a:lnTo>
                    <a:lnTo>
                      <a:pt x="1550" y="488"/>
                    </a:lnTo>
                    <a:lnTo>
                      <a:pt x="1550" y="488"/>
                    </a:lnTo>
                    <a:lnTo>
                      <a:pt x="1545" y="484"/>
                    </a:lnTo>
                    <a:lnTo>
                      <a:pt x="1545" y="484"/>
                    </a:lnTo>
                    <a:lnTo>
                      <a:pt x="1545" y="484"/>
                    </a:lnTo>
                    <a:lnTo>
                      <a:pt x="1541" y="479"/>
                    </a:lnTo>
                    <a:lnTo>
                      <a:pt x="1541" y="479"/>
                    </a:lnTo>
                    <a:lnTo>
                      <a:pt x="1536" y="475"/>
                    </a:lnTo>
                    <a:lnTo>
                      <a:pt x="1536" y="475"/>
                    </a:lnTo>
                    <a:lnTo>
                      <a:pt x="1536" y="475"/>
                    </a:lnTo>
                    <a:lnTo>
                      <a:pt x="1536" y="475"/>
                    </a:lnTo>
                    <a:lnTo>
                      <a:pt x="1532" y="475"/>
                    </a:lnTo>
                    <a:lnTo>
                      <a:pt x="1532" y="475"/>
                    </a:lnTo>
                    <a:lnTo>
                      <a:pt x="1532" y="470"/>
                    </a:lnTo>
                    <a:lnTo>
                      <a:pt x="1532" y="470"/>
                    </a:lnTo>
                    <a:lnTo>
                      <a:pt x="1532" y="470"/>
                    </a:lnTo>
                    <a:lnTo>
                      <a:pt x="1527" y="466"/>
                    </a:lnTo>
                    <a:lnTo>
                      <a:pt x="1523" y="466"/>
                    </a:lnTo>
                    <a:lnTo>
                      <a:pt x="1518" y="461"/>
                    </a:lnTo>
                    <a:lnTo>
                      <a:pt x="1518" y="461"/>
                    </a:lnTo>
                    <a:lnTo>
                      <a:pt x="1518" y="461"/>
                    </a:lnTo>
                    <a:lnTo>
                      <a:pt x="1514" y="457"/>
                    </a:lnTo>
                    <a:lnTo>
                      <a:pt x="1514" y="457"/>
                    </a:lnTo>
                    <a:lnTo>
                      <a:pt x="1514" y="457"/>
                    </a:lnTo>
                    <a:lnTo>
                      <a:pt x="1514" y="457"/>
                    </a:lnTo>
                    <a:lnTo>
                      <a:pt x="1514" y="457"/>
                    </a:lnTo>
                    <a:lnTo>
                      <a:pt x="1509" y="452"/>
                    </a:lnTo>
                    <a:lnTo>
                      <a:pt x="1509" y="452"/>
                    </a:lnTo>
                    <a:lnTo>
                      <a:pt x="1509" y="452"/>
                    </a:lnTo>
                    <a:lnTo>
                      <a:pt x="1509" y="452"/>
                    </a:lnTo>
                    <a:lnTo>
                      <a:pt x="1505" y="452"/>
                    </a:lnTo>
                    <a:lnTo>
                      <a:pt x="1505" y="448"/>
                    </a:lnTo>
                    <a:lnTo>
                      <a:pt x="1500" y="448"/>
                    </a:lnTo>
                    <a:lnTo>
                      <a:pt x="1500" y="443"/>
                    </a:lnTo>
                    <a:lnTo>
                      <a:pt x="1496" y="443"/>
                    </a:lnTo>
                    <a:lnTo>
                      <a:pt x="1496" y="443"/>
                    </a:lnTo>
                    <a:lnTo>
                      <a:pt x="1496" y="443"/>
                    </a:lnTo>
                    <a:lnTo>
                      <a:pt x="1491" y="439"/>
                    </a:lnTo>
                    <a:lnTo>
                      <a:pt x="1491" y="439"/>
                    </a:lnTo>
                    <a:lnTo>
                      <a:pt x="1491" y="439"/>
                    </a:lnTo>
                    <a:lnTo>
                      <a:pt x="1491" y="439"/>
                    </a:lnTo>
                    <a:lnTo>
                      <a:pt x="1491" y="439"/>
                    </a:lnTo>
                    <a:lnTo>
                      <a:pt x="1486" y="439"/>
                    </a:lnTo>
                    <a:lnTo>
                      <a:pt x="1486" y="439"/>
                    </a:lnTo>
                    <a:lnTo>
                      <a:pt x="1486" y="434"/>
                    </a:lnTo>
                    <a:lnTo>
                      <a:pt x="1486" y="434"/>
                    </a:lnTo>
                    <a:lnTo>
                      <a:pt x="1482" y="434"/>
                    </a:lnTo>
                    <a:lnTo>
                      <a:pt x="1482" y="434"/>
                    </a:lnTo>
                    <a:lnTo>
                      <a:pt x="1482" y="434"/>
                    </a:lnTo>
                    <a:lnTo>
                      <a:pt x="1482" y="434"/>
                    </a:lnTo>
                    <a:lnTo>
                      <a:pt x="1482" y="434"/>
                    </a:lnTo>
                    <a:lnTo>
                      <a:pt x="1482" y="434"/>
                    </a:lnTo>
                    <a:lnTo>
                      <a:pt x="1482" y="434"/>
                    </a:lnTo>
                    <a:lnTo>
                      <a:pt x="1482" y="429"/>
                    </a:lnTo>
                    <a:lnTo>
                      <a:pt x="1477" y="429"/>
                    </a:lnTo>
                    <a:lnTo>
                      <a:pt x="1477" y="429"/>
                    </a:lnTo>
                    <a:lnTo>
                      <a:pt x="1477" y="429"/>
                    </a:lnTo>
                    <a:lnTo>
                      <a:pt x="1473" y="429"/>
                    </a:lnTo>
                    <a:lnTo>
                      <a:pt x="1473" y="429"/>
                    </a:lnTo>
                    <a:lnTo>
                      <a:pt x="1473" y="429"/>
                    </a:lnTo>
                    <a:lnTo>
                      <a:pt x="1473" y="429"/>
                    </a:lnTo>
                    <a:lnTo>
                      <a:pt x="1473" y="425"/>
                    </a:lnTo>
                    <a:lnTo>
                      <a:pt x="1468" y="425"/>
                    </a:lnTo>
                    <a:lnTo>
                      <a:pt x="1468" y="425"/>
                    </a:lnTo>
                    <a:lnTo>
                      <a:pt x="1468" y="425"/>
                    </a:lnTo>
                    <a:lnTo>
                      <a:pt x="1464" y="425"/>
                    </a:lnTo>
                    <a:lnTo>
                      <a:pt x="1459" y="425"/>
                    </a:lnTo>
                    <a:lnTo>
                      <a:pt x="1459" y="425"/>
                    </a:lnTo>
                    <a:lnTo>
                      <a:pt x="1459" y="425"/>
                    </a:lnTo>
                    <a:lnTo>
                      <a:pt x="1459" y="425"/>
                    </a:lnTo>
                    <a:lnTo>
                      <a:pt x="1459" y="425"/>
                    </a:lnTo>
                    <a:lnTo>
                      <a:pt x="1455" y="425"/>
                    </a:lnTo>
                    <a:lnTo>
                      <a:pt x="1455" y="425"/>
                    </a:lnTo>
                    <a:lnTo>
                      <a:pt x="1450" y="425"/>
                    </a:lnTo>
                    <a:lnTo>
                      <a:pt x="1450" y="420"/>
                    </a:lnTo>
                    <a:lnTo>
                      <a:pt x="1446" y="420"/>
                    </a:lnTo>
                    <a:lnTo>
                      <a:pt x="1446" y="420"/>
                    </a:lnTo>
                    <a:lnTo>
                      <a:pt x="1446" y="420"/>
                    </a:lnTo>
                    <a:lnTo>
                      <a:pt x="1437" y="420"/>
                    </a:lnTo>
                    <a:lnTo>
                      <a:pt x="1437" y="420"/>
                    </a:lnTo>
                    <a:lnTo>
                      <a:pt x="1437" y="420"/>
                    </a:lnTo>
                    <a:lnTo>
                      <a:pt x="1437" y="420"/>
                    </a:lnTo>
                    <a:lnTo>
                      <a:pt x="1437" y="420"/>
                    </a:lnTo>
                    <a:lnTo>
                      <a:pt x="1432" y="420"/>
                    </a:lnTo>
                    <a:lnTo>
                      <a:pt x="1432" y="420"/>
                    </a:lnTo>
                    <a:lnTo>
                      <a:pt x="1432" y="420"/>
                    </a:lnTo>
                    <a:lnTo>
                      <a:pt x="1428" y="420"/>
                    </a:lnTo>
                    <a:lnTo>
                      <a:pt x="1428" y="420"/>
                    </a:lnTo>
                    <a:lnTo>
                      <a:pt x="1423" y="420"/>
                    </a:lnTo>
                    <a:lnTo>
                      <a:pt x="1423" y="420"/>
                    </a:lnTo>
                    <a:lnTo>
                      <a:pt x="1419" y="420"/>
                    </a:lnTo>
                    <a:lnTo>
                      <a:pt x="1419" y="425"/>
                    </a:lnTo>
                    <a:lnTo>
                      <a:pt x="1414" y="425"/>
                    </a:lnTo>
                    <a:lnTo>
                      <a:pt x="1410" y="425"/>
                    </a:lnTo>
                    <a:lnTo>
                      <a:pt x="1405" y="429"/>
                    </a:lnTo>
                    <a:lnTo>
                      <a:pt x="1405" y="429"/>
                    </a:lnTo>
                    <a:lnTo>
                      <a:pt x="1405" y="434"/>
                    </a:lnTo>
                    <a:lnTo>
                      <a:pt x="1405" y="439"/>
                    </a:lnTo>
                    <a:lnTo>
                      <a:pt x="1401" y="439"/>
                    </a:lnTo>
                    <a:lnTo>
                      <a:pt x="1401" y="439"/>
                    </a:lnTo>
                    <a:lnTo>
                      <a:pt x="1405" y="443"/>
                    </a:lnTo>
                    <a:lnTo>
                      <a:pt x="1405" y="443"/>
                    </a:lnTo>
                    <a:lnTo>
                      <a:pt x="1410" y="443"/>
                    </a:lnTo>
                    <a:lnTo>
                      <a:pt x="1410" y="443"/>
                    </a:lnTo>
                    <a:lnTo>
                      <a:pt x="1414" y="443"/>
                    </a:lnTo>
                    <a:lnTo>
                      <a:pt x="1414" y="443"/>
                    </a:lnTo>
                    <a:lnTo>
                      <a:pt x="1414" y="443"/>
                    </a:lnTo>
                    <a:lnTo>
                      <a:pt x="1419" y="448"/>
                    </a:lnTo>
                    <a:lnTo>
                      <a:pt x="1419" y="448"/>
                    </a:lnTo>
                    <a:lnTo>
                      <a:pt x="1423" y="452"/>
                    </a:lnTo>
                    <a:lnTo>
                      <a:pt x="1423" y="452"/>
                    </a:lnTo>
                    <a:lnTo>
                      <a:pt x="1423" y="457"/>
                    </a:lnTo>
                    <a:lnTo>
                      <a:pt x="1419" y="457"/>
                    </a:lnTo>
                    <a:lnTo>
                      <a:pt x="1419" y="461"/>
                    </a:lnTo>
                    <a:lnTo>
                      <a:pt x="1419" y="466"/>
                    </a:lnTo>
                    <a:lnTo>
                      <a:pt x="1419" y="466"/>
                    </a:lnTo>
                    <a:lnTo>
                      <a:pt x="1423" y="470"/>
                    </a:lnTo>
                    <a:lnTo>
                      <a:pt x="1423" y="470"/>
                    </a:lnTo>
                    <a:lnTo>
                      <a:pt x="1423" y="470"/>
                    </a:lnTo>
                    <a:lnTo>
                      <a:pt x="1423" y="475"/>
                    </a:lnTo>
                    <a:lnTo>
                      <a:pt x="1423" y="475"/>
                    </a:lnTo>
                    <a:lnTo>
                      <a:pt x="1423" y="475"/>
                    </a:lnTo>
                    <a:lnTo>
                      <a:pt x="1423" y="479"/>
                    </a:lnTo>
                    <a:lnTo>
                      <a:pt x="1423" y="479"/>
                    </a:lnTo>
                    <a:lnTo>
                      <a:pt x="1423" y="479"/>
                    </a:lnTo>
                    <a:lnTo>
                      <a:pt x="1423" y="484"/>
                    </a:lnTo>
                    <a:lnTo>
                      <a:pt x="1423" y="484"/>
                    </a:lnTo>
                    <a:lnTo>
                      <a:pt x="1423" y="484"/>
                    </a:lnTo>
                    <a:lnTo>
                      <a:pt x="1423" y="484"/>
                    </a:lnTo>
                    <a:lnTo>
                      <a:pt x="1428" y="484"/>
                    </a:lnTo>
                    <a:lnTo>
                      <a:pt x="1428" y="488"/>
                    </a:lnTo>
                    <a:lnTo>
                      <a:pt x="1432" y="488"/>
                    </a:lnTo>
                    <a:lnTo>
                      <a:pt x="1432" y="493"/>
                    </a:lnTo>
                    <a:lnTo>
                      <a:pt x="1428" y="493"/>
                    </a:lnTo>
                    <a:lnTo>
                      <a:pt x="1428" y="493"/>
                    </a:lnTo>
                    <a:lnTo>
                      <a:pt x="1423" y="493"/>
                    </a:lnTo>
                    <a:lnTo>
                      <a:pt x="1423" y="497"/>
                    </a:lnTo>
                    <a:lnTo>
                      <a:pt x="1423" y="497"/>
                    </a:lnTo>
                    <a:lnTo>
                      <a:pt x="1419" y="502"/>
                    </a:lnTo>
                    <a:lnTo>
                      <a:pt x="1419" y="502"/>
                    </a:lnTo>
                    <a:lnTo>
                      <a:pt x="1419" y="502"/>
                    </a:lnTo>
                    <a:lnTo>
                      <a:pt x="1414" y="502"/>
                    </a:lnTo>
                    <a:lnTo>
                      <a:pt x="1410" y="502"/>
                    </a:lnTo>
                    <a:lnTo>
                      <a:pt x="1405" y="502"/>
                    </a:lnTo>
                    <a:lnTo>
                      <a:pt x="1401" y="502"/>
                    </a:lnTo>
                    <a:lnTo>
                      <a:pt x="1401" y="497"/>
                    </a:lnTo>
                    <a:lnTo>
                      <a:pt x="1396" y="497"/>
                    </a:lnTo>
                    <a:lnTo>
                      <a:pt x="1396" y="497"/>
                    </a:lnTo>
                    <a:lnTo>
                      <a:pt x="1392" y="497"/>
                    </a:lnTo>
                    <a:lnTo>
                      <a:pt x="1392" y="497"/>
                    </a:lnTo>
                    <a:lnTo>
                      <a:pt x="1387" y="497"/>
                    </a:lnTo>
                    <a:lnTo>
                      <a:pt x="1387" y="497"/>
                    </a:lnTo>
                    <a:lnTo>
                      <a:pt x="1387" y="497"/>
                    </a:lnTo>
                    <a:lnTo>
                      <a:pt x="1383" y="497"/>
                    </a:lnTo>
                    <a:lnTo>
                      <a:pt x="1383" y="497"/>
                    </a:lnTo>
                    <a:lnTo>
                      <a:pt x="1383" y="497"/>
                    </a:lnTo>
                    <a:lnTo>
                      <a:pt x="1378" y="497"/>
                    </a:lnTo>
                    <a:lnTo>
                      <a:pt x="1378" y="497"/>
                    </a:lnTo>
                    <a:lnTo>
                      <a:pt x="1374" y="497"/>
                    </a:lnTo>
                    <a:lnTo>
                      <a:pt x="1374" y="493"/>
                    </a:lnTo>
                    <a:lnTo>
                      <a:pt x="1369" y="493"/>
                    </a:lnTo>
                    <a:lnTo>
                      <a:pt x="1365" y="493"/>
                    </a:lnTo>
                    <a:lnTo>
                      <a:pt x="1365" y="493"/>
                    </a:lnTo>
                    <a:lnTo>
                      <a:pt x="1365" y="493"/>
                    </a:lnTo>
                    <a:lnTo>
                      <a:pt x="1360" y="493"/>
                    </a:lnTo>
                    <a:lnTo>
                      <a:pt x="1360" y="493"/>
                    </a:lnTo>
                    <a:lnTo>
                      <a:pt x="1360" y="493"/>
                    </a:lnTo>
                    <a:lnTo>
                      <a:pt x="1355" y="493"/>
                    </a:lnTo>
                    <a:lnTo>
                      <a:pt x="1355" y="497"/>
                    </a:lnTo>
                    <a:lnTo>
                      <a:pt x="1355" y="497"/>
                    </a:lnTo>
                    <a:lnTo>
                      <a:pt x="1355" y="497"/>
                    </a:lnTo>
                    <a:lnTo>
                      <a:pt x="1351" y="497"/>
                    </a:lnTo>
                    <a:lnTo>
                      <a:pt x="1351" y="502"/>
                    </a:lnTo>
                    <a:lnTo>
                      <a:pt x="1351" y="502"/>
                    </a:lnTo>
                    <a:lnTo>
                      <a:pt x="1351" y="506"/>
                    </a:lnTo>
                    <a:lnTo>
                      <a:pt x="1351" y="506"/>
                    </a:lnTo>
                    <a:lnTo>
                      <a:pt x="1351" y="506"/>
                    </a:lnTo>
                    <a:lnTo>
                      <a:pt x="1351" y="506"/>
                    </a:lnTo>
                    <a:lnTo>
                      <a:pt x="1346" y="506"/>
                    </a:lnTo>
                    <a:lnTo>
                      <a:pt x="1346" y="506"/>
                    </a:lnTo>
                    <a:lnTo>
                      <a:pt x="1342" y="511"/>
                    </a:lnTo>
                    <a:lnTo>
                      <a:pt x="1342" y="511"/>
                    </a:lnTo>
                    <a:lnTo>
                      <a:pt x="1337" y="511"/>
                    </a:lnTo>
                    <a:lnTo>
                      <a:pt x="1337" y="511"/>
                    </a:lnTo>
                    <a:lnTo>
                      <a:pt x="1337" y="511"/>
                    </a:lnTo>
                    <a:lnTo>
                      <a:pt x="1333" y="511"/>
                    </a:lnTo>
                    <a:lnTo>
                      <a:pt x="1333" y="511"/>
                    </a:lnTo>
                    <a:lnTo>
                      <a:pt x="1333" y="511"/>
                    </a:lnTo>
                    <a:lnTo>
                      <a:pt x="1333" y="511"/>
                    </a:lnTo>
                    <a:lnTo>
                      <a:pt x="1328" y="515"/>
                    </a:lnTo>
                    <a:lnTo>
                      <a:pt x="1328" y="515"/>
                    </a:lnTo>
                    <a:lnTo>
                      <a:pt x="1324" y="515"/>
                    </a:lnTo>
                    <a:lnTo>
                      <a:pt x="1324" y="520"/>
                    </a:lnTo>
                    <a:lnTo>
                      <a:pt x="1324" y="515"/>
                    </a:lnTo>
                    <a:lnTo>
                      <a:pt x="1319" y="515"/>
                    </a:lnTo>
                    <a:lnTo>
                      <a:pt x="1319" y="515"/>
                    </a:lnTo>
                    <a:lnTo>
                      <a:pt x="1319" y="515"/>
                    </a:lnTo>
                    <a:lnTo>
                      <a:pt x="1315" y="515"/>
                    </a:lnTo>
                    <a:lnTo>
                      <a:pt x="1310" y="515"/>
                    </a:lnTo>
                    <a:lnTo>
                      <a:pt x="1306" y="515"/>
                    </a:lnTo>
                    <a:lnTo>
                      <a:pt x="1306" y="515"/>
                    </a:lnTo>
                    <a:lnTo>
                      <a:pt x="1301" y="515"/>
                    </a:lnTo>
                    <a:lnTo>
                      <a:pt x="1297" y="515"/>
                    </a:lnTo>
                    <a:lnTo>
                      <a:pt x="1297" y="515"/>
                    </a:lnTo>
                    <a:lnTo>
                      <a:pt x="1292" y="515"/>
                    </a:lnTo>
                    <a:lnTo>
                      <a:pt x="1292" y="515"/>
                    </a:lnTo>
                    <a:lnTo>
                      <a:pt x="1288" y="515"/>
                    </a:lnTo>
                    <a:lnTo>
                      <a:pt x="1283" y="511"/>
                    </a:lnTo>
                    <a:lnTo>
                      <a:pt x="1283" y="511"/>
                    </a:lnTo>
                    <a:lnTo>
                      <a:pt x="1283" y="511"/>
                    </a:lnTo>
                    <a:lnTo>
                      <a:pt x="1279" y="511"/>
                    </a:lnTo>
                    <a:lnTo>
                      <a:pt x="1279" y="511"/>
                    </a:lnTo>
                    <a:lnTo>
                      <a:pt x="1279" y="511"/>
                    </a:lnTo>
                    <a:lnTo>
                      <a:pt x="1279" y="511"/>
                    </a:lnTo>
                    <a:lnTo>
                      <a:pt x="1279" y="506"/>
                    </a:lnTo>
                    <a:lnTo>
                      <a:pt x="1279" y="506"/>
                    </a:lnTo>
                    <a:lnTo>
                      <a:pt x="1274" y="506"/>
                    </a:lnTo>
                    <a:lnTo>
                      <a:pt x="1274" y="506"/>
                    </a:lnTo>
                    <a:lnTo>
                      <a:pt x="1270" y="506"/>
                    </a:lnTo>
                    <a:lnTo>
                      <a:pt x="1270" y="506"/>
                    </a:lnTo>
                    <a:lnTo>
                      <a:pt x="1265" y="506"/>
                    </a:lnTo>
                    <a:lnTo>
                      <a:pt x="1265" y="506"/>
                    </a:lnTo>
                    <a:lnTo>
                      <a:pt x="1261" y="502"/>
                    </a:lnTo>
                    <a:lnTo>
                      <a:pt x="1261" y="502"/>
                    </a:lnTo>
                    <a:lnTo>
                      <a:pt x="1256" y="502"/>
                    </a:lnTo>
                    <a:lnTo>
                      <a:pt x="1256" y="497"/>
                    </a:lnTo>
                    <a:lnTo>
                      <a:pt x="1252" y="497"/>
                    </a:lnTo>
                    <a:lnTo>
                      <a:pt x="1252" y="502"/>
                    </a:lnTo>
                    <a:lnTo>
                      <a:pt x="1247" y="502"/>
                    </a:lnTo>
                    <a:lnTo>
                      <a:pt x="1247" y="502"/>
                    </a:lnTo>
                    <a:lnTo>
                      <a:pt x="1243" y="497"/>
                    </a:lnTo>
                    <a:lnTo>
                      <a:pt x="1243" y="497"/>
                    </a:lnTo>
                    <a:lnTo>
                      <a:pt x="1238" y="497"/>
                    </a:lnTo>
                    <a:lnTo>
                      <a:pt x="1238" y="497"/>
                    </a:lnTo>
                    <a:lnTo>
                      <a:pt x="1233" y="497"/>
                    </a:lnTo>
                    <a:lnTo>
                      <a:pt x="1233" y="497"/>
                    </a:lnTo>
                    <a:lnTo>
                      <a:pt x="1233" y="497"/>
                    </a:lnTo>
                    <a:lnTo>
                      <a:pt x="1233" y="497"/>
                    </a:lnTo>
                    <a:lnTo>
                      <a:pt x="1229" y="502"/>
                    </a:lnTo>
                    <a:lnTo>
                      <a:pt x="1224" y="502"/>
                    </a:lnTo>
                    <a:lnTo>
                      <a:pt x="1224" y="502"/>
                    </a:lnTo>
                    <a:lnTo>
                      <a:pt x="1224" y="502"/>
                    </a:lnTo>
                    <a:lnTo>
                      <a:pt x="1224" y="502"/>
                    </a:lnTo>
                    <a:lnTo>
                      <a:pt x="1220" y="502"/>
                    </a:lnTo>
                    <a:lnTo>
                      <a:pt x="1220" y="506"/>
                    </a:lnTo>
                    <a:lnTo>
                      <a:pt x="1220" y="506"/>
                    </a:lnTo>
                    <a:lnTo>
                      <a:pt x="1220" y="506"/>
                    </a:lnTo>
                    <a:lnTo>
                      <a:pt x="1215" y="506"/>
                    </a:lnTo>
                    <a:lnTo>
                      <a:pt x="1215" y="506"/>
                    </a:lnTo>
                    <a:lnTo>
                      <a:pt x="1215" y="506"/>
                    </a:lnTo>
                    <a:lnTo>
                      <a:pt x="1215" y="506"/>
                    </a:lnTo>
                    <a:lnTo>
                      <a:pt x="1211" y="506"/>
                    </a:lnTo>
                    <a:lnTo>
                      <a:pt x="1211" y="506"/>
                    </a:lnTo>
                    <a:lnTo>
                      <a:pt x="1206" y="506"/>
                    </a:lnTo>
                    <a:lnTo>
                      <a:pt x="1206" y="502"/>
                    </a:lnTo>
                    <a:lnTo>
                      <a:pt x="1206" y="502"/>
                    </a:lnTo>
                    <a:lnTo>
                      <a:pt x="1202" y="502"/>
                    </a:lnTo>
                    <a:lnTo>
                      <a:pt x="1202" y="502"/>
                    </a:lnTo>
                    <a:lnTo>
                      <a:pt x="1197" y="502"/>
                    </a:lnTo>
                    <a:lnTo>
                      <a:pt x="1197" y="502"/>
                    </a:lnTo>
                    <a:lnTo>
                      <a:pt x="1193" y="502"/>
                    </a:lnTo>
                    <a:lnTo>
                      <a:pt x="1193" y="497"/>
                    </a:lnTo>
                    <a:lnTo>
                      <a:pt x="1193" y="497"/>
                    </a:lnTo>
                    <a:lnTo>
                      <a:pt x="1193" y="497"/>
                    </a:lnTo>
                    <a:lnTo>
                      <a:pt x="1188" y="497"/>
                    </a:lnTo>
                    <a:lnTo>
                      <a:pt x="1188" y="497"/>
                    </a:lnTo>
                    <a:lnTo>
                      <a:pt x="1188" y="497"/>
                    </a:lnTo>
                    <a:lnTo>
                      <a:pt x="1188" y="497"/>
                    </a:lnTo>
                    <a:lnTo>
                      <a:pt x="1188" y="493"/>
                    </a:lnTo>
                    <a:lnTo>
                      <a:pt x="1188" y="493"/>
                    </a:lnTo>
                    <a:lnTo>
                      <a:pt x="1184" y="493"/>
                    </a:lnTo>
                    <a:lnTo>
                      <a:pt x="1184" y="493"/>
                    </a:lnTo>
                    <a:lnTo>
                      <a:pt x="1184" y="493"/>
                    </a:lnTo>
                    <a:lnTo>
                      <a:pt x="1184" y="488"/>
                    </a:lnTo>
                    <a:lnTo>
                      <a:pt x="1184" y="488"/>
                    </a:lnTo>
                    <a:lnTo>
                      <a:pt x="1179" y="488"/>
                    </a:lnTo>
                    <a:lnTo>
                      <a:pt x="1179" y="484"/>
                    </a:lnTo>
                    <a:lnTo>
                      <a:pt x="1179" y="484"/>
                    </a:lnTo>
                    <a:lnTo>
                      <a:pt x="1179" y="484"/>
                    </a:lnTo>
                    <a:lnTo>
                      <a:pt x="1175" y="484"/>
                    </a:lnTo>
                    <a:lnTo>
                      <a:pt x="1175" y="484"/>
                    </a:lnTo>
                    <a:lnTo>
                      <a:pt x="1170" y="484"/>
                    </a:lnTo>
                    <a:lnTo>
                      <a:pt x="1170" y="484"/>
                    </a:lnTo>
                    <a:lnTo>
                      <a:pt x="1166" y="484"/>
                    </a:lnTo>
                    <a:lnTo>
                      <a:pt x="1166" y="484"/>
                    </a:lnTo>
                    <a:lnTo>
                      <a:pt x="1166" y="484"/>
                    </a:lnTo>
                    <a:lnTo>
                      <a:pt x="1161" y="479"/>
                    </a:lnTo>
                    <a:lnTo>
                      <a:pt x="1157" y="479"/>
                    </a:lnTo>
                    <a:lnTo>
                      <a:pt x="1157" y="479"/>
                    </a:lnTo>
                    <a:lnTo>
                      <a:pt x="1152" y="479"/>
                    </a:lnTo>
                    <a:lnTo>
                      <a:pt x="1152" y="479"/>
                    </a:lnTo>
                    <a:lnTo>
                      <a:pt x="1148" y="479"/>
                    </a:lnTo>
                    <a:lnTo>
                      <a:pt x="1143" y="479"/>
                    </a:lnTo>
                    <a:lnTo>
                      <a:pt x="1143" y="479"/>
                    </a:lnTo>
                    <a:lnTo>
                      <a:pt x="1139" y="479"/>
                    </a:lnTo>
                    <a:lnTo>
                      <a:pt x="1139" y="475"/>
                    </a:lnTo>
                    <a:lnTo>
                      <a:pt x="1139" y="475"/>
                    </a:lnTo>
                    <a:lnTo>
                      <a:pt x="1134" y="475"/>
                    </a:lnTo>
                    <a:lnTo>
                      <a:pt x="1134" y="475"/>
                    </a:lnTo>
                    <a:lnTo>
                      <a:pt x="1130" y="475"/>
                    </a:lnTo>
                    <a:lnTo>
                      <a:pt x="1130" y="475"/>
                    </a:lnTo>
                    <a:lnTo>
                      <a:pt x="1130" y="475"/>
                    </a:lnTo>
                    <a:lnTo>
                      <a:pt x="1125" y="475"/>
                    </a:lnTo>
                    <a:lnTo>
                      <a:pt x="1125" y="475"/>
                    </a:lnTo>
                    <a:lnTo>
                      <a:pt x="1125" y="475"/>
                    </a:lnTo>
                    <a:lnTo>
                      <a:pt x="1125" y="475"/>
                    </a:lnTo>
                    <a:lnTo>
                      <a:pt x="1125" y="475"/>
                    </a:lnTo>
                    <a:lnTo>
                      <a:pt x="1125" y="479"/>
                    </a:lnTo>
                    <a:lnTo>
                      <a:pt x="1121" y="479"/>
                    </a:lnTo>
                    <a:lnTo>
                      <a:pt x="1121" y="479"/>
                    </a:lnTo>
                    <a:lnTo>
                      <a:pt x="1121" y="484"/>
                    </a:lnTo>
                    <a:lnTo>
                      <a:pt x="1121" y="484"/>
                    </a:lnTo>
                    <a:lnTo>
                      <a:pt x="1121" y="484"/>
                    </a:lnTo>
                    <a:lnTo>
                      <a:pt x="1121" y="484"/>
                    </a:lnTo>
                    <a:lnTo>
                      <a:pt x="1121" y="484"/>
                    </a:lnTo>
                    <a:lnTo>
                      <a:pt x="1121" y="484"/>
                    </a:lnTo>
                    <a:lnTo>
                      <a:pt x="1121" y="488"/>
                    </a:lnTo>
                    <a:lnTo>
                      <a:pt x="1121" y="488"/>
                    </a:lnTo>
                    <a:lnTo>
                      <a:pt x="1121" y="488"/>
                    </a:lnTo>
                    <a:lnTo>
                      <a:pt x="1121" y="488"/>
                    </a:lnTo>
                    <a:lnTo>
                      <a:pt x="1121" y="488"/>
                    </a:lnTo>
                    <a:lnTo>
                      <a:pt x="1121" y="493"/>
                    </a:lnTo>
                    <a:lnTo>
                      <a:pt x="1121" y="493"/>
                    </a:lnTo>
                    <a:lnTo>
                      <a:pt x="1125" y="493"/>
                    </a:lnTo>
                    <a:lnTo>
                      <a:pt x="1125" y="497"/>
                    </a:lnTo>
                    <a:lnTo>
                      <a:pt x="1125" y="497"/>
                    </a:lnTo>
                    <a:lnTo>
                      <a:pt x="1125" y="497"/>
                    </a:lnTo>
                    <a:lnTo>
                      <a:pt x="1125" y="497"/>
                    </a:lnTo>
                    <a:lnTo>
                      <a:pt x="1130" y="497"/>
                    </a:lnTo>
                    <a:lnTo>
                      <a:pt x="1130" y="502"/>
                    </a:lnTo>
                    <a:lnTo>
                      <a:pt x="1130" y="502"/>
                    </a:lnTo>
                    <a:lnTo>
                      <a:pt x="1130" y="502"/>
                    </a:lnTo>
                    <a:lnTo>
                      <a:pt x="1134" y="502"/>
                    </a:lnTo>
                    <a:lnTo>
                      <a:pt x="1134" y="502"/>
                    </a:lnTo>
                    <a:lnTo>
                      <a:pt x="1134" y="502"/>
                    </a:lnTo>
                    <a:lnTo>
                      <a:pt x="1134" y="502"/>
                    </a:lnTo>
                    <a:lnTo>
                      <a:pt x="1134" y="506"/>
                    </a:lnTo>
                    <a:lnTo>
                      <a:pt x="1139" y="506"/>
                    </a:lnTo>
                    <a:lnTo>
                      <a:pt x="1139" y="511"/>
                    </a:lnTo>
                    <a:lnTo>
                      <a:pt x="1139" y="511"/>
                    </a:lnTo>
                    <a:lnTo>
                      <a:pt x="1139" y="511"/>
                    </a:lnTo>
                    <a:lnTo>
                      <a:pt x="1139" y="511"/>
                    </a:lnTo>
                    <a:lnTo>
                      <a:pt x="1139" y="515"/>
                    </a:lnTo>
                    <a:lnTo>
                      <a:pt x="1134" y="515"/>
                    </a:lnTo>
                    <a:lnTo>
                      <a:pt x="1134" y="515"/>
                    </a:lnTo>
                    <a:lnTo>
                      <a:pt x="1134" y="515"/>
                    </a:lnTo>
                    <a:lnTo>
                      <a:pt x="1134" y="515"/>
                    </a:lnTo>
                    <a:lnTo>
                      <a:pt x="1134" y="515"/>
                    </a:lnTo>
                    <a:lnTo>
                      <a:pt x="1134" y="515"/>
                    </a:lnTo>
                    <a:lnTo>
                      <a:pt x="1134" y="515"/>
                    </a:lnTo>
                    <a:lnTo>
                      <a:pt x="1130" y="520"/>
                    </a:lnTo>
                    <a:lnTo>
                      <a:pt x="1130" y="520"/>
                    </a:lnTo>
                    <a:lnTo>
                      <a:pt x="1130" y="520"/>
                    </a:lnTo>
                    <a:lnTo>
                      <a:pt x="1125" y="520"/>
                    </a:lnTo>
                    <a:lnTo>
                      <a:pt x="1125" y="520"/>
                    </a:lnTo>
                    <a:lnTo>
                      <a:pt x="1125" y="515"/>
                    </a:lnTo>
                    <a:lnTo>
                      <a:pt x="1125" y="515"/>
                    </a:lnTo>
                    <a:lnTo>
                      <a:pt x="1121" y="515"/>
                    </a:lnTo>
                    <a:lnTo>
                      <a:pt x="1121" y="515"/>
                    </a:lnTo>
                    <a:lnTo>
                      <a:pt x="1121" y="515"/>
                    </a:lnTo>
                    <a:lnTo>
                      <a:pt x="1116" y="515"/>
                    </a:lnTo>
                    <a:lnTo>
                      <a:pt x="1116" y="515"/>
                    </a:lnTo>
                    <a:lnTo>
                      <a:pt x="1116" y="515"/>
                    </a:lnTo>
                    <a:lnTo>
                      <a:pt x="1116" y="515"/>
                    </a:lnTo>
                    <a:lnTo>
                      <a:pt x="1116" y="515"/>
                    </a:lnTo>
                    <a:lnTo>
                      <a:pt x="1112" y="515"/>
                    </a:lnTo>
                    <a:lnTo>
                      <a:pt x="1112" y="515"/>
                    </a:lnTo>
                    <a:lnTo>
                      <a:pt x="1112" y="515"/>
                    </a:lnTo>
                    <a:lnTo>
                      <a:pt x="1107" y="515"/>
                    </a:lnTo>
                    <a:lnTo>
                      <a:pt x="1107" y="515"/>
                    </a:lnTo>
                    <a:lnTo>
                      <a:pt x="1107" y="515"/>
                    </a:lnTo>
                    <a:lnTo>
                      <a:pt x="1107" y="515"/>
                    </a:lnTo>
                    <a:lnTo>
                      <a:pt x="1107" y="515"/>
                    </a:lnTo>
                    <a:lnTo>
                      <a:pt x="1107" y="515"/>
                    </a:lnTo>
                    <a:lnTo>
                      <a:pt x="1107" y="515"/>
                    </a:lnTo>
                    <a:lnTo>
                      <a:pt x="1102" y="515"/>
                    </a:lnTo>
                    <a:lnTo>
                      <a:pt x="1102" y="515"/>
                    </a:lnTo>
                    <a:lnTo>
                      <a:pt x="1102" y="515"/>
                    </a:lnTo>
                    <a:lnTo>
                      <a:pt x="1102" y="515"/>
                    </a:lnTo>
                    <a:lnTo>
                      <a:pt x="1098" y="515"/>
                    </a:lnTo>
                    <a:lnTo>
                      <a:pt x="1098" y="515"/>
                    </a:lnTo>
                    <a:lnTo>
                      <a:pt x="1098" y="515"/>
                    </a:lnTo>
                    <a:lnTo>
                      <a:pt x="1093" y="515"/>
                    </a:lnTo>
                    <a:lnTo>
                      <a:pt x="1093" y="515"/>
                    </a:lnTo>
                    <a:lnTo>
                      <a:pt x="1093" y="515"/>
                    </a:lnTo>
                    <a:lnTo>
                      <a:pt x="1093" y="515"/>
                    </a:lnTo>
                    <a:lnTo>
                      <a:pt x="1089" y="515"/>
                    </a:lnTo>
                    <a:lnTo>
                      <a:pt x="1089" y="515"/>
                    </a:lnTo>
                    <a:lnTo>
                      <a:pt x="1089" y="515"/>
                    </a:lnTo>
                    <a:lnTo>
                      <a:pt x="1089" y="515"/>
                    </a:lnTo>
                    <a:lnTo>
                      <a:pt x="1084" y="515"/>
                    </a:lnTo>
                    <a:lnTo>
                      <a:pt x="1084" y="515"/>
                    </a:lnTo>
                    <a:lnTo>
                      <a:pt x="1084" y="511"/>
                    </a:lnTo>
                    <a:lnTo>
                      <a:pt x="1084" y="511"/>
                    </a:lnTo>
                    <a:lnTo>
                      <a:pt x="1080" y="511"/>
                    </a:lnTo>
                    <a:lnTo>
                      <a:pt x="1080" y="511"/>
                    </a:lnTo>
                    <a:lnTo>
                      <a:pt x="1080" y="506"/>
                    </a:lnTo>
                    <a:lnTo>
                      <a:pt x="1080" y="506"/>
                    </a:lnTo>
                    <a:lnTo>
                      <a:pt x="1075" y="506"/>
                    </a:lnTo>
                    <a:lnTo>
                      <a:pt x="1075" y="506"/>
                    </a:lnTo>
                    <a:lnTo>
                      <a:pt x="1071" y="506"/>
                    </a:lnTo>
                    <a:lnTo>
                      <a:pt x="1071" y="506"/>
                    </a:lnTo>
                    <a:lnTo>
                      <a:pt x="1071" y="506"/>
                    </a:lnTo>
                    <a:lnTo>
                      <a:pt x="1066" y="506"/>
                    </a:lnTo>
                    <a:lnTo>
                      <a:pt x="1066" y="506"/>
                    </a:lnTo>
                    <a:lnTo>
                      <a:pt x="1062" y="506"/>
                    </a:lnTo>
                    <a:lnTo>
                      <a:pt x="1062" y="506"/>
                    </a:lnTo>
                    <a:lnTo>
                      <a:pt x="1062" y="506"/>
                    </a:lnTo>
                    <a:lnTo>
                      <a:pt x="1062" y="506"/>
                    </a:lnTo>
                    <a:lnTo>
                      <a:pt x="1057" y="506"/>
                    </a:lnTo>
                    <a:lnTo>
                      <a:pt x="1057" y="502"/>
                    </a:lnTo>
                    <a:lnTo>
                      <a:pt x="1057" y="502"/>
                    </a:lnTo>
                    <a:lnTo>
                      <a:pt x="1057" y="502"/>
                    </a:lnTo>
                    <a:lnTo>
                      <a:pt x="1057" y="502"/>
                    </a:lnTo>
                    <a:lnTo>
                      <a:pt x="1057" y="506"/>
                    </a:lnTo>
                    <a:lnTo>
                      <a:pt x="1053" y="506"/>
                    </a:lnTo>
                    <a:lnTo>
                      <a:pt x="1053" y="506"/>
                    </a:lnTo>
                    <a:lnTo>
                      <a:pt x="1053" y="506"/>
                    </a:lnTo>
                    <a:lnTo>
                      <a:pt x="1053" y="502"/>
                    </a:lnTo>
                    <a:lnTo>
                      <a:pt x="1048" y="502"/>
                    </a:lnTo>
                    <a:lnTo>
                      <a:pt x="1048" y="502"/>
                    </a:lnTo>
                    <a:lnTo>
                      <a:pt x="1048" y="502"/>
                    </a:lnTo>
                    <a:lnTo>
                      <a:pt x="1048" y="502"/>
                    </a:lnTo>
                    <a:lnTo>
                      <a:pt x="1048" y="502"/>
                    </a:lnTo>
                    <a:lnTo>
                      <a:pt x="1048" y="506"/>
                    </a:lnTo>
                    <a:lnTo>
                      <a:pt x="1048" y="506"/>
                    </a:lnTo>
                    <a:lnTo>
                      <a:pt x="1044" y="506"/>
                    </a:lnTo>
                    <a:lnTo>
                      <a:pt x="1044" y="506"/>
                    </a:lnTo>
                    <a:lnTo>
                      <a:pt x="1039" y="506"/>
                    </a:lnTo>
                    <a:lnTo>
                      <a:pt x="1039" y="506"/>
                    </a:lnTo>
                    <a:lnTo>
                      <a:pt x="1039" y="506"/>
                    </a:lnTo>
                    <a:lnTo>
                      <a:pt x="1039" y="506"/>
                    </a:lnTo>
                    <a:lnTo>
                      <a:pt x="1039" y="511"/>
                    </a:lnTo>
                    <a:lnTo>
                      <a:pt x="1039" y="511"/>
                    </a:lnTo>
                    <a:lnTo>
                      <a:pt x="1039" y="511"/>
                    </a:lnTo>
                    <a:lnTo>
                      <a:pt x="1039" y="511"/>
                    </a:lnTo>
                    <a:lnTo>
                      <a:pt x="1035" y="511"/>
                    </a:lnTo>
                    <a:lnTo>
                      <a:pt x="1035" y="511"/>
                    </a:lnTo>
                    <a:lnTo>
                      <a:pt x="1035" y="511"/>
                    </a:lnTo>
                    <a:lnTo>
                      <a:pt x="1035" y="511"/>
                    </a:lnTo>
                    <a:lnTo>
                      <a:pt x="1035" y="515"/>
                    </a:lnTo>
                    <a:lnTo>
                      <a:pt x="1030" y="515"/>
                    </a:lnTo>
                    <a:lnTo>
                      <a:pt x="1030" y="515"/>
                    </a:lnTo>
                    <a:lnTo>
                      <a:pt x="1030" y="515"/>
                    </a:lnTo>
                    <a:lnTo>
                      <a:pt x="1030" y="515"/>
                    </a:lnTo>
                    <a:lnTo>
                      <a:pt x="1026" y="515"/>
                    </a:lnTo>
                    <a:lnTo>
                      <a:pt x="1026" y="515"/>
                    </a:lnTo>
                    <a:lnTo>
                      <a:pt x="1026" y="520"/>
                    </a:lnTo>
                    <a:lnTo>
                      <a:pt x="1026" y="520"/>
                    </a:lnTo>
                    <a:lnTo>
                      <a:pt x="1026" y="520"/>
                    </a:lnTo>
                    <a:lnTo>
                      <a:pt x="1021" y="520"/>
                    </a:lnTo>
                    <a:lnTo>
                      <a:pt x="1026" y="520"/>
                    </a:lnTo>
                    <a:lnTo>
                      <a:pt x="1021" y="520"/>
                    </a:lnTo>
                    <a:lnTo>
                      <a:pt x="1021" y="520"/>
                    </a:lnTo>
                    <a:lnTo>
                      <a:pt x="1021" y="524"/>
                    </a:lnTo>
                    <a:lnTo>
                      <a:pt x="1021" y="524"/>
                    </a:lnTo>
                    <a:lnTo>
                      <a:pt x="1021" y="524"/>
                    </a:lnTo>
                    <a:lnTo>
                      <a:pt x="1021" y="524"/>
                    </a:lnTo>
                    <a:lnTo>
                      <a:pt x="1021" y="524"/>
                    </a:lnTo>
                    <a:lnTo>
                      <a:pt x="1021" y="529"/>
                    </a:lnTo>
                    <a:lnTo>
                      <a:pt x="1021" y="529"/>
                    </a:lnTo>
                    <a:lnTo>
                      <a:pt x="1017" y="529"/>
                    </a:lnTo>
                    <a:lnTo>
                      <a:pt x="1017" y="529"/>
                    </a:lnTo>
                    <a:lnTo>
                      <a:pt x="1017" y="529"/>
                    </a:lnTo>
                    <a:lnTo>
                      <a:pt x="1017" y="529"/>
                    </a:lnTo>
                    <a:lnTo>
                      <a:pt x="1017" y="529"/>
                    </a:lnTo>
                    <a:lnTo>
                      <a:pt x="1017" y="529"/>
                    </a:lnTo>
                    <a:lnTo>
                      <a:pt x="1017" y="529"/>
                    </a:lnTo>
                    <a:lnTo>
                      <a:pt x="1012" y="529"/>
                    </a:lnTo>
                    <a:lnTo>
                      <a:pt x="1012" y="529"/>
                    </a:lnTo>
                    <a:lnTo>
                      <a:pt x="1012" y="529"/>
                    </a:lnTo>
                    <a:lnTo>
                      <a:pt x="1012" y="529"/>
                    </a:lnTo>
                    <a:lnTo>
                      <a:pt x="1012" y="533"/>
                    </a:lnTo>
                    <a:lnTo>
                      <a:pt x="1012" y="533"/>
                    </a:lnTo>
                    <a:lnTo>
                      <a:pt x="1012" y="533"/>
                    </a:lnTo>
                    <a:lnTo>
                      <a:pt x="1008" y="529"/>
                    </a:lnTo>
                    <a:lnTo>
                      <a:pt x="1008" y="529"/>
                    </a:lnTo>
                    <a:lnTo>
                      <a:pt x="1008" y="533"/>
                    </a:lnTo>
                    <a:lnTo>
                      <a:pt x="1008" y="529"/>
                    </a:lnTo>
                    <a:lnTo>
                      <a:pt x="1008" y="533"/>
                    </a:lnTo>
                    <a:lnTo>
                      <a:pt x="1003" y="533"/>
                    </a:lnTo>
                    <a:lnTo>
                      <a:pt x="1003" y="533"/>
                    </a:lnTo>
                    <a:lnTo>
                      <a:pt x="1003" y="533"/>
                    </a:lnTo>
                    <a:lnTo>
                      <a:pt x="1003" y="533"/>
                    </a:lnTo>
                    <a:lnTo>
                      <a:pt x="1003" y="538"/>
                    </a:lnTo>
                    <a:lnTo>
                      <a:pt x="1003" y="538"/>
                    </a:lnTo>
                    <a:lnTo>
                      <a:pt x="1003" y="538"/>
                    </a:lnTo>
                    <a:lnTo>
                      <a:pt x="1003" y="538"/>
                    </a:lnTo>
                    <a:lnTo>
                      <a:pt x="1003" y="538"/>
                    </a:lnTo>
                    <a:lnTo>
                      <a:pt x="999" y="538"/>
                    </a:lnTo>
                    <a:lnTo>
                      <a:pt x="999" y="538"/>
                    </a:lnTo>
                    <a:lnTo>
                      <a:pt x="999" y="538"/>
                    </a:lnTo>
                    <a:lnTo>
                      <a:pt x="999" y="538"/>
                    </a:lnTo>
                    <a:lnTo>
                      <a:pt x="999" y="538"/>
                    </a:lnTo>
                    <a:lnTo>
                      <a:pt x="994" y="538"/>
                    </a:lnTo>
                    <a:lnTo>
                      <a:pt x="994" y="538"/>
                    </a:lnTo>
                    <a:lnTo>
                      <a:pt x="994" y="538"/>
                    </a:lnTo>
                    <a:lnTo>
                      <a:pt x="994" y="538"/>
                    </a:lnTo>
                    <a:lnTo>
                      <a:pt x="990" y="538"/>
                    </a:lnTo>
                    <a:lnTo>
                      <a:pt x="990" y="538"/>
                    </a:lnTo>
                    <a:lnTo>
                      <a:pt x="990" y="538"/>
                    </a:lnTo>
                    <a:lnTo>
                      <a:pt x="985" y="533"/>
                    </a:lnTo>
                    <a:lnTo>
                      <a:pt x="985" y="533"/>
                    </a:lnTo>
                    <a:lnTo>
                      <a:pt x="981" y="529"/>
                    </a:lnTo>
                    <a:lnTo>
                      <a:pt x="981" y="529"/>
                    </a:lnTo>
                    <a:lnTo>
                      <a:pt x="981" y="529"/>
                    </a:lnTo>
                    <a:lnTo>
                      <a:pt x="981" y="529"/>
                    </a:lnTo>
                    <a:lnTo>
                      <a:pt x="981" y="529"/>
                    </a:lnTo>
                    <a:lnTo>
                      <a:pt x="981" y="529"/>
                    </a:lnTo>
                    <a:lnTo>
                      <a:pt x="981" y="529"/>
                    </a:lnTo>
                    <a:lnTo>
                      <a:pt x="976" y="529"/>
                    </a:lnTo>
                    <a:lnTo>
                      <a:pt x="976" y="529"/>
                    </a:lnTo>
                    <a:lnTo>
                      <a:pt x="976" y="529"/>
                    </a:lnTo>
                    <a:lnTo>
                      <a:pt x="976" y="529"/>
                    </a:lnTo>
                    <a:lnTo>
                      <a:pt x="976" y="533"/>
                    </a:lnTo>
                    <a:lnTo>
                      <a:pt x="976" y="533"/>
                    </a:lnTo>
                    <a:lnTo>
                      <a:pt x="971" y="533"/>
                    </a:lnTo>
                    <a:lnTo>
                      <a:pt x="971" y="533"/>
                    </a:lnTo>
                    <a:lnTo>
                      <a:pt x="971" y="533"/>
                    </a:lnTo>
                    <a:lnTo>
                      <a:pt x="971" y="533"/>
                    </a:lnTo>
                    <a:lnTo>
                      <a:pt x="971" y="533"/>
                    </a:lnTo>
                    <a:lnTo>
                      <a:pt x="962" y="529"/>
                    </a:lnTo>
                    <a:lnTo>
                      <a:pt x="962" y="529"/>
                    </a:lnTo>
                    <a:lnTo>
                      <a:pt x="962" y="533"/>
                    </a:lnTo>
                    <a:lnTo>
                      <a:pt x="958" y="529"/>
                    </a:lnTo>
                    <a:lnTo>
                      <a:pt x="958" y="529"/>
                    </a:lnTo>
                    <a:lnTo>
                      <a:pt x="958" y="529"/>
                    </a:lnTo>
                    <a:lnTo>
                      <a:pt x="958" y="529"/>
                    </a:lnTo>
                    <a:lnTo>
                      <a:pt x="953" y="524"/>
                    </a:lnTo>
                    <a:lnTo>
                      <a:pt x="953" y="524"/>
                    </a:lnTo>
                    <a:lnTo>
                      <a:pt x="953" y="524"/>
                    </a:lnTo>
                    <a:lnTo>
                      <a:pt x="953" y="524"/>
                    </a:lnTo>
                    <a:lnTo>
                      <a:pt x="953" y="524"/>
                    </a:lnTo>
                    <a:lnTo>
                      <a:pt x="949" y="524"/>
                    </a:lnTo>
                    <a:lnTo>
                      <a:pt x="944" y="520"/>
                    </a:lnTo>
                    <a:lnTo>
                      <a:pt x="944" y="520"/>
                    </a:lnTo>
                    <a:lnTo>
                      <a:pt x="944" y="520"/>
                    </a:lnTo>
                    <a:lnTo>
                      <a:pt x="940" y="520"/>
                    </a:lnTo>
                    <a:lnTo>
                      <a:pt x="940" y="520"/>
                    </a:lnTo>
                    <a:lnTo>
                      <a:pt x="935" y="515"/>
                    </a:lnTo>
                    <a:lnTo>
                      <a:pt x="935" y="515"/>
                    </a:lnTo>
                    <a:lnTo>
                      <a:pt x="935" y="515"/>
                    </a:lnTo>
                    <a:lnTo>
                      <a:pt x="931" y="511"/>
                    </a:lnTo>
                    <a:lnTo>
                      <a:pt x="931" y="511"/>
                    </a:lnTo>
                    <a:lnTo>
                      <a:pt x="931" y="511"/>
                    </a:lnTo>
                    <a:lnTo>
                      <a:pt x="926" y="506"/>
                    </a:lnTo>
                    <a:lnTo>
                      <a:pt x="926" y="506"/>
                    </a:lnTo>
                    <a:lnTo>
                      <a:pt x="922" y="506"/>
                    </a:lnTo>
                    <a:lnTo>
                      <a:pt x="917" y="506"/>
                    </a:lnTo>
                    <a:lnTo>
                      <a:pt x="917" y="506"/>
                    </a:lnTo>
                    <a:lnTo>
                      <a:pt x="917" y="506"/>
                    </a:lnTo>
                    <a:lnTo>
                      <a:pt x="917" y="506"/>
                    </a:lnTo>
                    <a:lnTo>
                      <a:pt x="917" y="506"/>
                    </a:lnTo>
                    <a:lnTo>
                      <a:pt x="913" y="511"/>
                    </a:lnTo>
                    <a:lnTo>
                      <a:pt x="913" y="511"/>
                    </a:lnTo>
                    <a:lnTo>
                      <a:pt x="913" y="511"/>
                    </a:lnTo>
                    <a:lnTo>
                      <a:pt x="913" y="511"/>
                    </a:lnTo>
                    <a:lnTo>
                      <a:pt x="913" y="511"/>
                    </a:lnTo>
                    <a:lnTo>
                      <a:pt x="908" y="511"/>
                    </a:lnTo>
                    <a:lnTo>
                      <a:pt x="908" y="511"/>
                    </a:lnTo>
                    <a:lnTo>
                      <a:pt x="904" y="511"/>
                    </a:lnTo>
                    <a:lnTo>
                      <a:pt x="904" y="511"/>
                    </a:lnTo>
                    <a:lnTo>
                      <a:pt x="899" y="511"/>
                    </a:lnTo>
                    <a:lnTo>
                      <a:pt x="899" y="511"/>
                    </a:lnTo>
                    <a:lnTo>
                      <a:pt x="895" y="511"/>
                    </a:lnTo>
                    <a:lnTo>
                      <a:pt x="895" y="511"/>
                    </a:lnTo>
                    <a:lnTo>
                      <a:pt x="895" y="511"/>
                    </a:lnTo>
                    <a:lnTo>
                      <a:pt x="895" y="511"/>
                    </a:lnTo>
                    <a:lnTo>
                      <a:pt x="895" y="511"/>
                    </a:lnTo>
                    <a:lnTo>
                      <a:pt x="895" y="506"/>
                    </a:lnTo>
                    <a:lnTo>
                      <a:pt x="890" y="506"/>
                    </a:lnTo>
                    <a:lnTo>
                      <a:pt x="890" y="511"/>
                    </a:lnTo>
                    <a:lnTo>
                      <a:pt x="890" y="506"/>
                    </a:lnTo>
                    <a:lnTo>
                      <a:pt x="890" y="506"/>
                    </a:lnTo>
                    <a:lnTo>
                      <a:pt x="890" y="506"/>
                    </a:lnTo>
                    <a:lnTo>
                      <a:pt x="890" y="506"/>
                    </a:lnTo>
                    <a:lnTo>
                      <a:pt x="886" y="506"/>
                    </a:lnTo>
                    <a:lnTo>
                      <a:pt x="886" y="506"/>
                    </a:lnTo>
                    <a:lnTo>
                      <a:pt x="886" y="506"/>
                    </a:lnTo>
                    <a:lnTo>
                      <a:pt x="886" y="502"/>
                    </a:lnTo>
                    <a:lnTo>
                      <a:pt x="881" y="502"/>
                    </a:lnTo>
                    <a:lnTo>
                      <a:pt x="881" y="502"/>
                    </a:lnTo>
                    <a:lnTo>
                      <a:pt x="881" y="502"/>
                    </a:lnTo>
                    <a:lnTo>
                      <a:pt x="881" y="502"/>
                    </a:lnTo>
                    <a:lnTo>
                      <a:pt x="881" y="502"/>
                    </a:lnTo>
                    <a:lnTo>
                      <a:pt x="881" y="502"/>
                    </a:lnTo>
                    <a:lnTo>
                      <a:pt x="877" y="506"/>
                    </a:lnTo>
                    <a:lnTo>
                      <a:pt x="877" y="506"/>
                    </a:lnTo>
                    <a:lnTo>
                      <a:pt x="877" y="506"/>
                    </a:lnTo>
                    <a:lnTo>
                      <a:pt x="877" y="506"/>
                    </a:lnTo>
                    <a:lnTo>
                      <a:pt x="881" y="506"/>
                    </a:lnTo>
                    <a:lnTo>
                      <a:pt x="881" y="511"/>
                    </a:lnTo>
                    <a:lnTo>
                      <a:pt x="877" y="511"/>
                    </a:lnTo>
                    <a:lnTo>
                      <a:pt x="877" y="511"/>
                    </a:lnTo>
                    <a:lnTo>
                      <a:pt x="877" y="511"/>
                    </a:lnTo>
                    <a:lnTo>
                      <a:pt x="877" y="511"/>
                    </a:lnTo>
                    <a:lnTo>
                      <a:pt x="877" y="511"/>
                    </a:lnTo>
                    <a:lnTo>
                      <a:pt x="877" y="511"/>
                    </a:lnTo>
                    <a:lnTo>
                      <a:pt x="877" y="511"/>
                    </a:lnTo>
                    <a:lnTo>
                      <a:pt x="877" y="511"/>
                    </a:lnTo>
                    <a:lnTo>
                      <a:pt x="872" y="511"/>
                    </a:lnTo>
                    <a:lnTo>
                      <a:pt x="868" y="506"/>
                    </a:lnTo>
                    <a:lnTo>
                      <a:pt x="863" y="502"/>
                    </a:lnTo>
                    <a:lnTo>
                      <a:pt x="863" y="502"/>
                    </a:lnTo>
                    <a:lnTo>
                      <a:pt x="854" y="493"/>
                    </a:lnTo>
                    <a:lnTo>
                      <a:pt x="849" y="488"/>
                    </a:lnTo>
                    <a:lnTo>
                      <a:pt x="845" y="484"/>
                    </a:lnTo>
                    <a:lnTo>
                      <a:pt x="836" y="479"/>
                    </a:lnTo>
                    <a:lnTo>
                      <a:pt x="831" y="475"/>
                    </a:lnTo>
                    <a:lnTo>
                      <a:pt x="827" y="470"/>
                    </a:lnTo>
                    <a:lnTo>
                      <a:pt x="822" y="466"/>
                    </a:lnTo>
                    <a:lnTo>
                      <a:pt x="822" y="466"/>
                    </a:lnTo>
                    <a:lnTo>
                      <a:pt x="818" y="466"/>
                    </a:lnTo>
                    <a:lnTo>
                      <a:pt x="813" y="461"/>
                    </a:lnTo>
                    <a:lnTo>
                      <a:pt x="809" y="461"/>
                    </a:lnTo>
                    <a:lnTo>
                      <a:pt x="804" y="457"/>
                    </a:lnTo>
                    <a:lnTo>
                      <a:pt x="800" y="457"/>
                    </a:lnTo>
                    <a:lnTo>
                      <a:pt x="800" y="457"/>
                    </a:lnTo>
                    <a:lnTo>
                      <a:pt x="795" y="452"/>
                    </a:lnTo>
                    <a:lnTo>
                      <a:pt x="795" y="452"/>
                    </a:lnTo>
                    <a:lnTo>
                      <a:pt x="795" y="452"/>
                    </a:lnTo>
                    <a:lnTo>
                      <a:pt x="795" y="452"/>
                    </a:lnTo>
                    <a:lnTo>
                      <a:pt x="800" y="452"/>
                    </a:lnTo>
                    <a:lnTo>
                      <a:pt x="800" y="452"/>
                    </a:lnTo>
                    <a:lnTo>
                      <a:pt x="800" y="448"/>
                    </a:lnTo>
                    <a:lnTo>
                      <a:pt x="800" y="448"/>
                    </a:lnTo>
                    <a:lnTo>
                      <a:pt x="795" y="448"/>
                    </a:lnTo>
                    <a:lnTo>
                      <a:pt x="795" y="448"/>
                    </a:lnTo>
                    <a:lnTo>
                      <a:pt x="795" y="448"/>
                    </a:lnTo>
                    <a:lnTo>
                      <a:pt x="795" y="448"/>
                    </a:lnTo>
                    <a:lnTo>
                      <a:pt x="791" y="448"/>
                    </a:lnTo>
                    <a:lnTo>
                      <a:pt x="791" y="448"/>
                    </a:lnTo>
                    <a:lnTo>
                      <a:pt x="786" y="452"/>
                    </a:lnTo>
                    <a:lnTo>
                      <a:pt x="786" y="452"/>
                    </a:lnTo>
                    <a:lnTo>
                      <a:pt x="786" y="452"/>
                    </a:lnTo>
                    <a:lnTo>
                      <a:pt x="782" y="452"/>
                    </a:lnTo>
                    <a:lnTo>
                      <a:pt x="782" y="452"/>
                    </a:lnTo>
                    <a:lnTo>
                      <a:pt x="782" y="457"/>
                    </a:lnTo>
                    <a:lnTo>
                      <a:pt x="782" y="457"/>
                    </a:lnTo>
                    <a:lnTo>
                      <a:pt x="782" y="457"/>
                    </a:lnTo>
                    <a:lnTo>
                      <a:pt x="777" y="457"/>
                    </a:lnTo>
                    <a:lnTo>
                      <a:pt x="777" y="457"/>
                    </a:lnTo>
                    <a:lnTo>
                      <a:pt x="777" y="457"/>
                    </a:lnTo>
                    <a:lnTo>
                      <a:pt x="777" y="457"/>
                    </a:lnTo>
                    <a:lnTo>
                      <a:pt x="773" y="461"/>
                    </a:lnTo>
                    <a:lnTo>
                      <a:pt x="773" y="461"/>
                    </a:lnTo>
                    <a:lnTo>
                      <a:pt x="773" y="461"/>
                    </a:lnTo>
                    <a:lnTo>
                      <a:pt x="773" y="466"/>
                    </a:lnTo>
                    <a:lnTo>
                      <a:pt x="773" y="466"/>
                    </a:lnTo>
                    <a:lnTo>
                      <a:pt x="773" y="466"/>
                    </a:lnTo>
                    <a:lnTo>
                      <a:pt x="773" y="466"/>
                    </a:lnTo>
                    <a:lnTo>
                      <a:pt x="768" y="466"/>
                    </a:lnTo>
                    <a:lnTo>
                      <a:pt x="768" y="461"/>
                    </a:lnTo>
                    <a:lnTo>
                      <a:pt x="764" y="461"/>
                    </a:lnTo>
                    <a:lnTo>
                      <a:pt x="764" y="466"/>
                    </a:lnTo>
                    <a:lnTo>
                      <a:pt x="764" y="466"/>
                    </a:lnTo>
                    <a:lnTo>
                      <a:pt x="759" y="466"/>
                    </a:lnTo>
                    <a:lnTo>
                      <a:pt x="759" y="466"/>
                    </a:lnTo>
                    <a:lnTo>
                      <a:pt x="759" y="466"/>
                    </a:lnTo>
                    <a:lnTo>
                      <a:pt x="759" y="466"/>
                    </a:lnTo>
                    <a:lnTo>
                      <a:pt x="759" y="466"/>
                    </a:lnTo>
                    <a:lnTo>
                      <a:pt x="755" y="466"/>
                    </a:lnTo>
                    <a:lnTo>
                      <a:pt x="755" y="461"/>
                    </a:lnTo>
                    <a:lnTo>
                      <a:pt x="755" y="461"/>
                    </a:lnTo>
                    <a:lnTo>
                      <a:pt x="759" y="457"/>
                    </a:lnTo>
                    <a:lnTo>
                      <a:pt x="759" y="457"/>
                    </a:lnTo>
                    <a:lnTo>
                      <a:pt x="759" y="457"/>
                    </a:lnTo>
                    <a:lnTo>
                      <a:pt x="759" y="457"/>
                    </a:lnTo>
                    <a:lnTo>
                      <a:pt x="759" y="457"/>
                    </a:lnTo>
                    <a:lnTo>
                      <a:pt x="759" y="457"/>
                    </a:lnTo>
                    <a:lnTo>
                      <a:pt x="759" y="457"/>
                    </a:lnTo>
                    <a:lnTo>
                      <a:pt x="755" y="457"/>
                    </a:lnTo>
                    <a:lnTo>
                      <a:pt x="755" y="457"/>
                    </a:lnTo>
                    <a:lnTo>
                      <a:pt x="755" y="457"/>
                    </a:lnTo>
                    <a:lnTo>
                      <a:pt x="755" y="457"/>
                    </a:lnTo>
                    <a:lnTo>
                      <a:pt x="750" y="457"/>
                    </a:lnTo>
                    <a:lnTo>
                      <a:pt x="746" y="457"/>
                    </a:lnTo>
                    <a:lnTo>
                      <a:pt x="746" y="452"/>
                    </a:lnTo>
                    <a:lnTo>
                      <a:pt x="741" y="452"/>
                    </a:lnTo>
                    <a:lnTo>
                      <a:pt x="741" y="457"/>
                    </a:lnTo>
                    <a:lnTo>
                      <a:pt x="741" y="457"/>
                    </a:lnTo>
                    <a:lnTo>
                      <a:pt x="741" y="457"/>
                    </a:lnTo>
                    <a:lnTo>
                      <a:pt x="746" y="457"/>
                    </a:lnTo>
                    <a:lnTo>
                      <a:pt x="746" y="457"/>
                    </a:lnTo>
                    <a:lnTo>
                      <a:pt x="741" y="457"/>
                    </a:lnTo>
                    <a:lnTo>
                      <a:pt x="741" y="457"/>
                    </a:lnTo>
                    <a:lnTo>
                      <a:pt x="741" y="457"/>
                    </a:lnTo>
                    <a:lnTo>
                      <a:pt x="741" y="457"/>
                    </a:lnTo>
                    <a:lnTo>
                      <a:pt x="741" y="457"/>
                    </a:lnTo>
                    <a:lnTo>
                      <a:pt x="737" y="452"/>
                    </a:lnTo>
                    <a:lnTo>
                      <a:pt x="737" y="452"/>
                    </a:lnTo>
                    <a:lnTo>
                      <a:pt x="737" y="452"/>
                    </a:lnTo>
                    <a:lnTo>
                      <a:pt x="732" y="452"/>
                    </a:lnTo>
                    <a:lnTo>
                      <a:pt x="737" y="452"/>
                    </a:lnTo>
                    <a:lnTo>
                      <a:pt x="732" y="452"/>
                    </a:lnTo>
                    <a:lnTo>
                      <a:pt x="732" y="452"/>
                    </a:lnTo>
                    <a:lnTo>
                      <a:pt x="728" y="452"/>
                    </a:lnTo>
                    <a:lnTo>
                      <a:pt x="723" y="457"/>
                    </a:lnTo>
                    <a:lnTo>
                      <a:pt x="723" y="452"/>
                    </a:lnTo>
                    <a:lnTo>
                      <a:pt x="718" y="452"/>
                    </a:lnTo>
                    <a:lnTo>
                      <a:pt x="718" y="452"/>
                    </a:lnTo>
                    <a:lnTo>
                      <a:pt x="718" y="448"/>
                    </a:lnTo>
                    <a:lnTo>
                      <a:pt x="718" y="448"/>
                    </a:lnTo>
                    <a:lnTo>
                      <a:pt x="718" y="448"/>
                    </a:lnTo>
                    <a:lnTo>
                      <a:pt x="718" y="443"/>
                    </a:lnTo>
                    <a:lnTo>
                      <a:pt x="714" y="439"/>
                    </a:lnTo>
                    <a:lnTo>
                      <a:pt x="709" y="439"/>
                    </a:lnTo>
                    <a:lnTo>
                      <a:pt x="709" y="434"/>
                    </a:lnTo>
                    <a:lnTo>
                      <a:pt x="705" y="434"/>
                    </a:lnTo>
                    <a:lnTo>
                      <a:pt x="705" y="434"/>
                    </a:lnTo>
                    <a:lnTo>
                      <a:pt x="705" y="434"/>
                    </a:lnTo>
                    <a:lnTo>
                      <a:pt x="705" y="434"/>
                    </a:lnTo>
                    <a:lnTo>
                      <a:pt x="700" y="434"/>
                    </a:lnTo>
                    <a:lnTo>
                      <a:pt x="700" y="439"/>
                    </a:lnTo>
                    <a:lnTo>
                      <a:pt x="700" y="434"/>
                    </a:lnTo>
                    <a:lnTo>
                      <a:pt x="696" y="434"/>
                    </a:lnTo>
                    <a:lnTo>
                      <a:pt x="696" y="434"/>
                    </a:lnTo>
                    <a:lnTo>
                      <a:pt x="691" y="434"/>
                    </a:lnTo>
                    <a:lnTo>
                      <a:pt x="691" y="434"/>
                    </a:lnTo>
                    <a:lnTo>
                      <a:pt x="687" y="434"/>
                    </a:lnTo>
                    <a:lnTo>
                      <a:pt x="682" y="434"/>
                    </a:lnTo>
                    <a:lnTo>
                      <a:pt x="682" y="434"/>
                    </a:lnTo>
                    <a:lnTo>
                      <a:pt x="678" y="434"/>
                    </a:lnTo>
                    <a:lnTo>
                      <a:pt x="678" y="439"/>
                    </a:lnTo>
                    <a:lnTo>
                      <a:pt x="678" y="439"/>
                    </a:lnTo>
                    <a:lnTo>
                      <a:pt x="673" y="439"/>
                    </a:lnTo>
                    <a:lnTo>
                      <a:pt x="673" y="439"/>
                    </a:lnTo>
                    <a:lnTo>
                      <a:pt x="673" y="439"/>
                    </a:lnTo>
                    <a:lnTo>
                      <a:pt x="673" y="439"/>
                    </a:lnTo>
                    <a:lnTo>
                      <a:pt x="673" y="439"/>
                    </a:lnTo>
                    <a:lnTo>
                      <a:pt x="673" y="443"/>
                    </a:lnTo>
                    <a:lnTo>
                      <a:pt x="673" y="443"/>
                    </a:lnTo>
                    <a:lnTo>
                      <a:pt x="673" y="443"/>
                    </a:lnTo>
                    <a:lnTo>
                      <a:pt x="669" y="443"/>
                    </a:lnTo>
                    <a:lnTo>
                      <a:pt x="669" y="443"/>
                    </a:lnTo>
                    <a:lnTo>
                      <a:pt x="664" y="443"/>
                    </a:lnTo>
                    <a:lnTo>
                      <a:pt x="664" y="443"/>
                    </a:lnTo>
                    <a:lnTo>
                      <a:pt x="660" y="443"/>
                    </a:lnTo>
                    <a:lnTo>
                      <a:pt x="655" y="448"/>
                    </a:lnTo>
                    <a:lnTo>
                      <a:pt x="655" y="448"/>
                    </a:lnTo>
                    <a:lnTo>
                      <a:pt x="651" y="448"/>
                    </a:lnTo>
                    <a:lnTo>
                      <a:pt x="646" y="448"/>
                    </a:lnTo>
                    <a:lnTo>
                      <a:pt x="646" y="448"/>
                    </a:lnTo>
                    <a:lnTo>
                      <a:pt x="642" y="448"/>
                    </a:lnTo>
                    <a:lnTo>
                      <a:pt x="642" y="448"/>
                    </a:lnTo>
                    <a:lnTo>
                      <a:pt x="642" y="448"/>
                    </a:lnTo>
                    <a:lnTo>
                      <a:pt x="642" y="452"/>
                    </a:lnTo>
                    <a:lnTo>
                      <a:pt x="637" y="452"/>
                    </a:lnTo>
                    <a:lnTo>
                      <a:pt x="637" y="452"/>
                    </a:lnTo>
                    <a:lnTo>
                      <a:pt x="637" y="452"/>
                    </a:lnTo>
                    <a:lnTo>
                      <a:pt x="637" y="452"/>
                    </a:lnTo>
                    <a:lnTo>
                      <a:pt x="637" y="457"/>
                    </a:lnTo>
                    <a:lnTo>
                      <a:pt x="637" y="452"/>
                    </a:lnTo>
                    <a:lnTo>
                      <a:pt x="633" y="452"/>
                    </a:lnTo>
                    <a:lnTo>
                      <a:pt x="633" y="452"/>
                    </a:lnTo>
                    <a:lnTo>
                      <a:pt x="633" y="457"/>
                    </a:lnTo>
                    <a:lnTo>
                      <a:pt x="628" y="457"/>
                    </a:lnTo>
                    <a:lnTo>
                      <a:pt x="628" y="452"/>
                    </a:lnTo>
                    <a:lnTo>
                      <a:pt x="624" y="457"/>
                    </a:lnTo>
                    <a:lnTo>
                      <a:pt x="624" y="457"/>
                    </a:lnTo>
                    <a:lnTo>
                      <a:pt x="624" y="457"/>
                    </a:lnTo>
                    <a:lnTo>
                      <a:pt x="624" y="457"/>
                    </a:lnTo>
                    <a:lnTo>
                      <a:pt x="619" y="457"/>
                    </a:lnTo>
                    <a:lnTo>
                      <a:pt x="619" y="457"/>
                    </a:lnTo>
                    <a:lnTo>
                      <a:pt x="619" y="457"/>
                    </a:lnTo>
                    <a:lnTo>
                      <a:pt x="619" y="457"/>
                    </a:lnTo>
                    <a:lnTo>
                      <a:pt x="615" y="457"/>
                    </a:lnTo>
                    <a:lnTo>
                      <a:pt x="615" y="457"/>
                    </a:lnTo>
                    <a:lnTo>
                      <a:pt x="610" y="457"/>
                    </a:lnTo>
                    <a:lnTo>
                      <a:pt x="610" y="461"/>
                    </a:lnTo>
                    <a:lnTo>
                      <a:pt x="610" y="461"/>
                    </a:lnTo>
                    <a:lnTo>
                      <a:pt x="606" y="461"/>
                    </a:lnTo>
                    <a:lnTo>
                      <a:pt x="606" y="461"/>
                    </a:lnTo>
                    <a:lnTo>
                      <a:pt x="606" y="461"/>
                    </a:lnTo>
                    <a:lnTo>
                      <a:pt x="597" y="461"/>
                    </a:lnTo>
                    <a:lnTo>
                      <a:pt x="597" y="461"/>
                    </a:lnTo>
                    <a:lnTo>
                      <a:pt x="597" y="466"/>
                    </a:lnTo>
                    <a:lnTo>
                      <a:pt x="597" y="466"/>
                    </a:lnTo>
                    <a:lnTo>
                      <a:pt x="592" y="461"/>
                    </a:lnTo>
                    <a:lnTo>
                      <a:pt x="587" y="461"/>
                    </a:lnTo>
                    <a:lnTo>
                      <a:pt x="587" y="461"/>
                    </a:lnTo>
                    <a:lnTo>
                      <a:pt x="583" y="466"/>
                    </a:lnTo>
                    <a:lnTo>
                      <a:pt x="587" y="466"/>
                    </a:lnTo>
                    <a:lnTo>
                      <a:pt x="587" y="466"/>
                    </a:lnTo>
                    <a:lnTo>
                      <a:pt x="587" y="466"/>
                    </a:lnTo>
                    <a:lnTo>
                      <a:pt x="587" y="470"/>
                    </a:lnTo>
                    <a:lnTo>
                      <a:pt x="583" y="470"/>
                    </a:lnTo>
                    <a:lnTo>
                      <a:pt x="583" y="470"/>
                    </a:lnTo>
                    <a:lnTo>
                      <a:pt x="587" y="470"/>
                    </a:lnTo>
                    <a:lnTo>
                      <a:pt x="587" y="470"/>
                    </a:lnTo>
                    <a:lnTo>
                      <a:pt x="592" y="470"/>
                    </a:lnTo>
                    <a:lnTo>
                      <a:pt x="592" y="470"/>
                    </a:lnTo>
                    <a:lnTo>
                      <a:pt x="592" y="470"/>
                    </a:lnTo>
                    <a:lnTo>
                      <a:pt x="592" y="470"/>
                    </a:lnTo>
                    <a:lnTo>
                      <a:pt x="592" y="470"/>
                    </a:lnTo>
                    <a:lnTo>
                      <a:pt x="592" y="470"/>
                    </a:lnTo>
                    <a:lnTo>
                      <a:pt x="592" y="475"/>
                    </a:lnTo>
                    <a:lnTo>
                      <a:pt x="592" y="475"/>
                    </a:lnTo>
                    <a:lnTo>
                      <a:pt x="592" y="475"/>
                    </a:lnTo>
                    <a:lnTo>
                      <a:pt x="592" y="475"/>
                    </a:lnTo>
                    <a:lnTo>
                      <a:pt x="587" y="475"/>
                    </a:lnTo>
                    <a:lnTo>
                      <a:pt x="587" y="475"/>
                    </a:lnTo>
                    <a:lnTo>
                      <a:pt x="592" y="475"/>
                    </a:lnTo>
                    <a:lnTo>
                      <a:pt x="592" y="475"/>
                    </a:lnTo>
                    <a:lnTo>
                      <a:pt x="592" y="479"/>
                    </a:lnTo>
                    <a:lnTo>
                      <a:pt x="597" y="479"/>
                    </a:lnTo>
                    <a:lnTo>
                      <a:pt x="597" y="479"/>
                    </a:lnTo>
                    <a:lnTo>
                      <a:pt x="601" y="479"/>
                    </a:lnTo>
                    <a:lnTo>
                      <a:pt x="601" y="479"/>
                    </a:lnTo>
                    <a:lnTo>
                      <a:pt x="606" y="479"/>
                    </a:lnTo>
                    <a:lnTo>
                      <a:pt x="606" y="479"/>
                    </a:lnTo>
                    <a:lnTo>
                      <a:pt x="606" y="484"/>
                    </a:lnTo>
                    <a:lnTo>
                      <a:pt x="606" y="484"/>
                    </a:lnTo>
                    <a:lnTo>
                      <a:pt x="601" y="484"/>
                    </a:lnTo>
                    <a:lnTo>
                      <a:pt x="601" y="484"/>
                    </a:lnTo>
                    <a:lnTo>
                      <a:pt x="597" y="484"/>
                    </a:lnTo>
                    <a:lnTo>
                      <a:pt x="597" y="484"/>
                    </a:lnTo>
                    <a:lnTo>
                      <a:pt x="592" y="484"/>
                    </a:lnTo>
                    <a:lnTo>
                      <a:pt x="592" y="484"/>
                    </a:lnTo>
                    <a:lnTo>
                      <a:pt x="592" y="484"/>
                    </a:lnTo>
                    <a:lnTo>
                      <a:pt x="592" y="484"/>
                    </a:lnTo>
                    <a:lnTo>
                      <a:pt x="587" y="484"/>
                    </a:lnTo>
                    <a:lnTo>
                      <a:pt x="587" y="488"/>
                    </a:lnTo>
                    <a:lnTo>
                      <a:pt x="587" y="488"/>
                    </a:lnTo>
                    <a:lnTo>
                      <a:pt x="592" y="488"/>
                    </a:lnTo>
                    <a:lnTo>
                      <a:pt x="592" y="493"/>
                    </a:lnTo>
                    <a:lnTo>
                      <a:pt x="592" y="493"/>
                    </a:lnTo>
                    <a:lnTo>
                      <a:pt x="592" y="497"/>
                    </a:lnTo>
                    <a:lnTo>
                      <a:pt x="592" y="497"/>
                    </a:lnTo>
                    <a:lnTo>
                      <a:pt x="592" y="497"/>
                    </a:lnTo>
                    <a:lnTo>
                      <a:pt x="587" y="497"/>
                    </a:lnTo>
                    <a:lnTo>
                      <a:pt x="587" y="497"/>
                    </a:lnTo>
                    <a:lnTo>
                      <a:pt x="587" y="502"/>
                    </a:lnTo>
                    <a:lnTo>
                      <a:pt x="583" y="502"/>
                    </a:lnTo>
                    <a:lnTo>
                      <a:pt x="583" y="502"/>
                    </a:lnTo>
                    <a:lnTo>
                      <a:pt x="583" y="502"/>
                    </a:lnTo>
                    <a:lnTo>
                      <a:pt x="587" y="506"/>
                    </a:lnTo>
                    <a:lnTo>
                      <a:pt x="587" y="506"/>
                    </a:lnTo>
                    <a:lnTo>
                      <a:pt x="592" y="506"/>
                    </a:lnTo>
                    <a:lnTo>
                      <a:pt x="592" y="506"/>
                    </a:lnTo>
                    <a:lnTo>
                      <a:pt x="592" y="506"/>
                    </a:lnTo>
                    <a:lnTo>
                      <a:pt x="601" y="511"/>
                    </a:lnTo>
                    <a:lnTo>
                      <a:pt x="601" y="511"/>
                    </a:lnTo>
                    <a:lnTo>
                      <a:pt x="601" y="511"/>
                    </a:lnTo>
                    <a:lnTo>
                      <a:pt x="606" y="511"/>
                    </a:lnTo>
                    <a:lnTo>
                      <a:pt x="606" y="511"/>
                    </a:lnTo>
                    <a:lnTo>
                      <a:pt x="610" y="515"/>
                    </a:lnTo>
                    <a:lnTo>
                      <a:pt x="610" y="515"/>
                    </a:lnTo>
                    <a:lnTo>
                      <a:pt x="610" y="515"/>
                    </a:lnTo>
                    <a:lnTo>
                      <a:pt x="610" y="520"/>
                    </a:lnTo>
                    <a:lnTo>
                      <a:pt x="610" y="520"/>
                    </a:lnTo>
                    <a:lnTo>
                      <a:pt x="606" y="524"/>
                    </a:lnTo>
                    <a:lnTo>
                      <a:pt x="606" y="524"/>
                    </a:lnTo>
                    <a:lnTo>
                      <a:pt x="601" y="524"/>
                    </a:lnTo>
                    <a:lnTo>
                      <a:pt x="597" y="524"/>
                    </a:lnTo>
                    <a:lnTo>
                      <a:pt x="597" y="524"/>
                    </a:lnTo>
                    <a:lnTo>
                      <a:pt x="597" y="524"/>
                    </a:lnTo>
                    <a:lnTo>
                      <a:pt x="592" y="524"/>
                    </a:lnTo>
                    <a:lnTo>
                      <a:pt x="592" y="524"/>
                    </a:lnTo>
                    <a:lnTo>
                      <a:pt x="592" y="524"/>
                    </a:lnTo>
                    <a:lnTo>
                      <a:pt x="587" y="524"/>
                    </a:lnTo>
                    <a:lnTo>
                      <a:pt x="587" y="524"/>
                    </a:lnTo>
                    <a:lnTo>
                      <a:pt x="587" y="524"/>
                    </a:lnTo>
                    <a:lnTo>
                      <a:pt x="587" y="529"/>
                    </a:lnTo>
                    <a:lnTo>
                      <a:pt x="587" y="529"/>
                    </a:lnTo>
                    <a:lnTo>
                      <a:pt x="583" y="529"/>
                    </a:lnTo>
                    <a:lnTo>
                      <a:pt x="583" y="529"/>
                    </a:lnTo>
                    <a:lnTo>
                      <a:pt x="583" y="529"/>
                    </a:lnTo>
                    <a:lnTo>
                      <a:pt x="583" y="529"/>
                    </a:lnTo>
                    <a:lnTo>
                      <a:pt x="583" y="529"/>
                    </a:lnTo>
                    <a:lnTo>
                      <a:pt x="578" y="529"/>
                    </a:lnTo>
                    <a:lnTo>
                      <a:pt x="578" y="529"/>
                    </a:lnTo>
                    <a:lnTo>
                      <a:pt x="574" y="529"/>
                    </a:lnTo>
                    <a:lnTo>
                      <a:pt x="574" y="524"/>
                    </a:lnTo>
                    <a:lnTo>
                      <a:pt x="574" y="524"/>
                    </a:lnTo>
                    <a:lnTo>
                      <a:pt x="569" y="524"/>
                    </a:lnTo>
                    <a:lnTo>
                      <a:pt x="569" y="520"/>
                    </a:lnTo>
                    <a:lnTo>
                      <a:pt x="565" y="520"/>
                    </a:lnTo>
                    <a:lnTo>
                      <a:pt x="560" y="520"/>
                    </a:lnTo>
                    <a:lnTo>
                      <a:pt x="560" y="520"/>
                    </a:lnTo>
                    <a:lnTo>
                      <a:pt x="560" y="520"/>
                    </a:lnTo>
                    <a:lnTo>
                      <a:pt x="556" y="520"/>
                    </a:lnTo>
                    <a:lnTo>
                      <a:pt x="556" y="520"/>
                    </a:lnTo>
                    <a:lnTo>
                      <a:pt x="556" y="520"/>
                    </a:lnTo>
                    <a:lnTo>
                      <a:pt x="556" y="520"/>
                    </a:lnTo>
                    <a:lnTo>
                      <a:pt x="556" y="524"/>
                    </a:lnTo>
                    <a:lnTo>
                      <a:pt x="556" y="524"/>
                    </a:lnTo>
                    <a:lnTo>
                      <a:pt x="551" y="524"/>
                    </a:lnTo>
                    <a:lnTo>
                      <a:pt x="551" y="524"/>
                    </a:lnTo>
                    <a:lnTo>
                      <a:pt x="547" y="520"/>
                    </a:lnTo>
                    <a:lnTo>
                      <a:pt x="547" y="520"/>
                    </a:lnTo>
                    <a:lnTo>
                      <a:pt x="542" y="520"/>
                    </a:lnTo>
                    <a:lnTo>
                      <a:pt x="542" y="520"/>
                    </a:lnTo>
                    <a:lnTo>
                      <a:pt x="542" y="520"/>
                    </a:lnTo>
                    <a:lnTo>
                      <a:pt x="538" y="520"/>
                    </a:lnTo>
                    <a:lnTo>
                      <a:pt x="538" y="520"/>
                    </a:lnTo>
                    <a:lnTo>
                      <a:pt x="538" y="524"/>
                    </a:lnTo>
                    <a:lnTo>
                      <a:pt x="533" y="524"/>
                    </a:lnTo>
                    <a:lnTo>
                      <a:pt x="533" y="524"/>
                    </a:lnTo>
                    <a:lnTo>
                      <a:pt x="533" y="529"/>
                    </a:lnTo>
                    <a:lnTo>
                      <a:pt x="533" y="529"/>
                    </a:lnTo>
                    <a:lnTo>
                      <a:pt x="529" y="529"/>
                    </a:lnTo>
                    <a:lnTo>
                      <a:pt x="529" y="529"/>
                    </a:lnTo>
                    <a:lnTo>
                      <a:pt x="529" y="529"/>
                    </a:lnTo>
                    <a:lnTo>
                      <a:pt x="524" y="529"/>
                    </a:lnTo>
                    <a:lnTo>
                      <a:pt x="520" y="529"/>
                    </a:lnTo>
                    <a:lnTo>
                      <a:pt x="520" y="524"/>
                    </a:lnTo>
                    <a:lnTo>
                      <a:pt x="515" y="524"/>
                    </a:lnTo>
                    <a:lnTo>
                      <a:pt x="511" y="524"/>
                    </a:lnTo>
                    <a:lnTo>
                      <a:pt x="511" y="524"/>
                    </a:lnTo>
                    <a:lnTo>
                      <a:pt x="511" y="524"/>
                    </a:lnTo>
                    <a:lnTo>
                      <a:pt x="511" y="524"/>
                    </a:lnTo>
                    <a:lnTo>
                      <a:pt x="511" y="524"/>
                    </a:lnTo>
                    <a:lnTo>
                      <a:pt x="511" y="524"/>
                    </a:lnTo>
                    <a:lnTo>
                      <a:pt x="511" y="524"/>
                    </a:lnTo>
                    <a:lnTo>
                      <a:pt x="515" y="529"/>
                    </a:lnTo>
                    <a:lnTo>
                      <a:pt x="515" y="529"/>
                    </a:lnTo>
                    <a:lnTo>
                      <a:pt x="515" y="529"/>
                    </a:lnTo>
                    <a:lnTo>
                      <a:pt x="515" y="533"/>
                    </a:lnTo>
                    <a:lnTo>
                      <a:pt x="511" y="533"/>
                    </a:lnTo>
                    <a:lnTo>
                      <a:pt x="511" y="529"/>
                    </a:lnTo>
                    <a:lnTo>
                      <a:pt x="511" y="529"/>
                    </a:lnTo>
                    <a:lnTo>
                      <a:pt x="511" y="529"/>
                    </a:lnTo>
                    <a:lnTo>
                      <a:pt x="506" y="524"/>
                    </a:lnTo>
                    <a:lnTo>
                      <a:pt x="506" y="524"/>
                    </a:lnTo>
                    <a:lnTo>
                      <a:pt x="506" y="520"/>
                    </a:lnTo>
                    <a:lnTo>
                      <a:pt x="502" y="520"/>
                    </a:lnTo>
                    <a:lnTo>
                      <a:pt x="502" y="520"/>
                    </a:lnTo>
                    <a:lnTo>
                      <a:pt x="497" y="520"/>
                    </a:lnTo>
                    <a:lnTo>
                      <a:pt x="497" y="520"/>
                    </a:lnTo>
                    <a:lnTo>
                      <a:pt x="493" y="515"/>
                    </a:lnTo>
                    <a:lnTo>
                      <a:pt x="493" y="515"/>
                    </a:lnTo>
                    <a:lnTo>
                      <a:pt x="488" y="515"/>
                    </a:lnTo>
                    <a:lnTo>
                      <a:pt x="488" y="515"/>
                    </a:lnTo>
                    <a:lnTo>
                      <a:pt x="488" y="515"/>
                    </a:lnTo>
                    <a:lnTo>
                      <a:pt x="488" y="515"/>
                    </a:lnTo>
                    <a:lnTo>
                      <a:pt x="484" y="515"/>
                    </a:lnTo>
                    <a:lnTo>
                      <a:pt x="484" y="515"/>
                    </a:lnTo>
                    <a:lnTo>
                      <a:pt x="484" y="515"/>
                    </a:lnTo>
                    <a:lnTo>
                      <a:pt x="479" y="515"/>
                    </a:lnTo>
                    <a:lnTo>
                      <a:pt x="479" y="515"/>
                    </a:lnTo>
                    <a:lnTo>
                      <a:pt x="479" y="515"/>
                    </a:lnTo>
                    <a:lnTo>
                      <a:pt x="479" y="515"/>
                    </a:lnTo>
                    <a:lnTo>
                      <a:pt x="475" y="511"/>
                    </a:lnTo>
                    <a:lnTo>
                      <a:pt x="475" y="511"/>
                    </a:lnTo>
                    <a:lnTo>
                      <a:pt x="475" y="511"/>
                    </a:lnTo>
                    <a:lnTo>
                      <a:pt x="470" y="511"/>
                    </a:lnTo>
                    <a:lnTo>
                      <a:pt x="465" y="515"/>
                    </a:lnTo>
                    <a:lnTo>
                      <a:pt x="465" y="515"/>
                    </a:lnTo>
                    <a:lnTo>
                      <a:pt x="465" y="515"/>
                    </a:lnTo>
                    <a:lnTo>
                      <a:pt x="461" y="515"/>
                    </a:lnTo>
                    <a:lnTo>
                      <a:pt x="461" y="515"/>
                    </a:lnTo>
                    <a:lnTo>
                      <a:pt x="461" y="515"/>
                    </a:lnTo>
                    <a:lnTo>
                      <a:pt x="461" y="515"/>
                    </a:lnTo>
                    <a:lnTo>
                      <a:pt x="461" y="511"/>
                    </a:lnTo>
                    <a:lnTo>
                      <a:pt x="456" y="511"/>
                    </a:lnTo>
                    <a:lnTo>
                      <a:pt x="456" y="511"/>
                    </a:lnTo>
                    <a:lnTo>
                      <a:pt x="452" y="511"/>
                    </a:lnTo>
                    <a:lnTo>
                      <a:pt x="452" y="511"/>
                    </a:lnTo>
                    <a:lnTo>
                      <a:pt x="452" y="511"/>
                    </a:lnTo>
                    <a:lnTo>
                      <a:pt x="452" y="511"/>
                    </a:lnTo>
                    <a:lnTo>
                      <a:pt x="452" y="515"/>
                    </a:lnTo>
                    <a:lnTo>
                      <a:pt x="447" y="515"/>
                    </a:lnTo>
                    <a:lnTo>
                      <a:pt x="447" y="520"/>
                    </a:lnTo>
                    <a:lnTo>
                      <a:pt x="447" y="520"/>
                    </a:lnTo>
                    <a:lnTo>
                      <a:pt x="447" y="520"/>
                    </a:lnTo>
                    <a:lnTo>
                      <a:pt x="443" y="520"/>
                    </a:lnTo>
                    <a:lnTo>
                      <a:pt x="443" y="520"/>
                    </a:lnTo>
                    <a:lnTo>
                      <a:pt x="438" y="524"/>
                    </a:lnTo>
                    <a:lnTo>
                      <a:pt x="438" y="524"/>
                    </a:lnTo>
                    <a:lnTo>
                      <a:pt x="438" y="524"/>
                    </a:lnTo>
                    <a:lnTo>
                      <a:pt x="438" y="524"/>
                    </a:lnTo>
                    <a:lnTo>
                      <a:pt x="434" y="529"/>
                    </a:lnTo>
                    <a:lnTo>
                      <a:pt x="434" y="529"/>
                    </a:lnTo>
                    <a:lnTo>
                      <a:pt x="429" y="533"/>
                    </a:lnTo>
                    <a:lnTo>
                      <a:pt x="429" y="533"/>
                    </a:lnTo>
                    <a:lnTo>
                      <a:pt x="429" y="533"/>
                    </a:lnTo>
                    <a:lnTo>
                      <a:pt x="429" y="533"/>
                    </a:lnTo>
                    <a:lnTo>
                      <a:pt x="425" y="533"/>
                    </a:lnTo>
                    <a:lnTo>
                      <a:pt x="429" y="533"/>
                    </a:lnTo>
                    <a:lnTo>
                      <a:pt x="429" y="538"/>
                    </a:lnTo>
                    <a:lnTo>
                      <a:pt x="429" y="538"/>
                    </a:lnTo>
                    <a:lnTo>
                      <a:pt x="429" y="543"/>
                    </a:lnTo>
                    <a:lnTo>
                      <a:pt x="434" y="543"/>
                    </a:lnTo>
                    <a:lnTo>
                      <a:pt x="434" y="543"/>
                    </a:lnTo>
                    <a:lnTo>
                      <a:pt x="434" y="543"/>
                    </a:lnTo>
                    <a:lnTo>
                      <a:pt x="434" y="547"/>
                    </a:lnTo>
                    <a:lnTo>
                      <a:pt x="429" y="547"/>
                    </a:lnTo>
                    <a:lnTo>
                      <a:pt x="429" y="547"/>
                    </a:lnTo>
                    <a:lnTo>
                      <a:pt x="425" y="547"/>
                    </a:lnTo>
                    <a:lnTo>
                      <a:pt x="425" y="547"/>
                    </a:lnTo>
                    <a:lnTo>
                      <a:pt x="425" y="543"/>
                    </a:lnTo>
                    <a:lnTo>
                      <a:pt x="420" y="543"/>
                    </a:lnTo>
                    <a:lnTo>
                      <a:pt x="416" y="538"/>
                    </a:lnTo>
                    <a:lnTo>
                      <a:pt x="416" y="538"/>
                    </a:lnTo>
                    <a:lnTo>
                      <a:pt x="411" y="538"/>
                    </a:lnTo>
                    <a:lnTo>
                      <a:pt x="411" y="538"/>
                    </a:lnTo>
                    <a:lnTo>
                      <a:pt x="411" y="538"/>
                    </a:lnTo>
                    <a:lnTo>
                      <a:pt x="411" y="538"/>
                    </a:lnTo>
                    <a:lnTo>
                      <a:pt x="411" y="538"/>
                    </a:lnTo>
                    <a:lnTo>
                      <a:pt x="411" y="538"/>
                    </a:lnTo>
                    <a:lnTo>
                      <a:pt x="411" y="543"/>
                    </a:lnTo>
                    <a:lnTo>
                      <a:pt x="411" y="543"/>
                    </a:lnTo>
                    <a:lnTo>
                      <a:pt x="411" y="543"/>
                    </a:lnTo>
                    <a:lnTo>
                      <a:pt x="407" y="547"/>
                    </a:lnTo>
                    <a:lnTo>
                      <a:pt x="407" y="547"/>
                    </a:lnTo>
                    <a:lnTo>
                      <a:pt x="407" y="552"/>
                    </a:lnTo>
                    <a:lnTo>
                      <a:pt x="407" y="552"/>
                    </a:lnTo>
                    <a:lnTo>
                      <a:pt x="407" y="556"/>
                    </a:lnTo>
                    <a:lnTo>
                      <a:pt x="407" y="556"/>
                    </a:lnTo>
                    <a:lnTo>
                      <a:pt x="407" y="561"/>
                    </a:lnTo>
                    <a:lnTo>
                      <a:pt x="411" y="561"/>
                    </a:lnTo>
                    <a:lnTo>
                      <a:pt x="411" y="561"/>
                    </a:lnTo>
                    <a:lnTo>
                      <a:pt x="411" y="561"/>
                    </a:lnTo>
                    <a:lnTo>
                      <a:pt x="411" y="561"/>
                    </a:lnTo>
                    <a:lnTo>
                      <a:pt x="407" y="565"/>
                    </a:lnTo>
                    <a:lnTo>
                      <a:pt x="407" y="565"/>
                    </a:lnTo>
                    <a:lnTo>
                      <a:pt x="407" y="570"/>
                    </a:lnTo>
                    <a:lnTo>
                      <a:pt x="407" y="574"/>
                    </a:lnTo>
                    <a:lnTo>
                      <a:pt x="411" y="574"/>
                    </a:lnTo>
                    <a:lnTo>
                      <a:pt x="416" y="579"/>
                    </a:lnTo>
                    <a:lnTo>
                      <a:pt x="416" y="579"/>
                    </a:lnTo>
                    <a:lnTo>
                      <a:pt x="416" y="579"/>
                    </a:lnTo>
                    <a:lnTo>
                      <a:pt x="416" y="583"/>
                    </a:lnTo>
                    <a:lnTo>
                      <a:pt x="416" y="583"/>
                    </a:lnTo>
                    <a:lnTo>
                      <a:pt x="416" y="583"/>
                    </a:lnTo>
                    <a:lnTo>
                      <a:pt x="420" y="588"/>
                    </a:lnTo>
                    <a:lnTo>
                      <a:pt x="420" y="588"/>
                    </a:lnTo>
                    <a:lnTo>
                      <a:pt x="420" y="588"/>
                    </a:lnTo>
                    <a:lnTo>
                      <a:pt x="425" y="588"/>
                    </a:lnTo>
                    <a:lnTo>
                      <a:pt x="425" y="588"/>
                    </a:lnTo>
                    <a:lnTo>
                      <a:pt x="429" y="588"/>
                    </a:lnTo>
                    <a:lnTo>
                      <a:pt x="434" y="588"/>
                    </a:lnTo>
                    <a:lnTo>
                      <a:pt x="434" y="588"/>
                    </a:lnTo>
                    <a:lnTo>
                      <a:pt x="434" y="588"/>
                    </a:lnTo>
                    <a:lnTo>
                      <a:pt x="438" y="592"/>
                    </a:lnTo>
                    <a:lnTo>
                      <a:pt x="443" y="592"/>
                    </a:lnTo>
                    <a:lnTo>
                      <a:pt x="443" y="597"/>
                    </a:lnTo>
                    <a:lnTo>
                      <a:pt x="443" y="597"/>
                    </a:lnTo>
                    <a:lnTo>
                      <a:pt x="447" y="601"/>
                    </a:lnTo>
                    <a:lnTo>
                      <a:pt x="447" y="606"/>
                    </a:lnTo>
                    <a:lnTo>
                      <a:pt x="447" y="606"/>
                    </a:lnTo>
                    <a:lnTo>
                      <a:pt x="447" y="606"/>
                    </a:lnTo>
                    <a:lnTo>
                      <a:pt x="447" y="606"/>
                    </a:lnTo>
                    <a:lnTo>
                      <a:pt x="447" y="606"/>
                    </a:lnTo>
                    <a:lnTo>
                      <a:pt x="443" y="606"/>
                    </a:lnTo>
                    <a:lnTo>
                      <a:pt x="443" y="606"/>
                    </a:lnTo>
                    <a:lnTo>
                      <a:pt x="443" y="606"/>
                    </a:lnTo>
                    <a:lnTo>
                      <a:pt x="443" y="606"/>
                    </a:lnTo>
                    <a:lnTo>
                      <a:pt x="443" y="606"/>
                    </a:lnTo>
                    <a:lnTo>
                      <a:pt x="443" y="606"/>
                    </a:lnTo>
                    <a:lnTo>
                      <a:pt x="443" y="606"/>
                    </a:lnTo>
                    <a:lnTo>
                      <a:pt x="443" y="610"/>
                    </a:lnTo>
                    <a:lnTo>
                      <a:pt x="447" y="610"/>
                    </a:lnTo>
                    <a:lnTo>
                      <a:pt x="447" y="610"/>
                    </a:lnTo>
                    <a:lnTo>
                      <a:pt x="452" y="610"/>
                    </a:lnTo>
                    <a:lnTo>
                      <a:pt x="456" y="610"/>
                    </a:lnTo>
                    <a:lnTo>
                      <a:pt x="456" y="610"/>
                    </a:lnTo>
                    <a:lnTo>
                      <a:pt x="456" y="615"/>
                    </a:lnTo>
                    <a:lnTo>
                      <a:pt x="452" y="615"/>
                    </a:lnTo>
                    <a:lnTo>
                      <a:pt x="452" y="615"/>
                    </a:lnTo>
                    <a:lnTo>
                      <a:pt x="452" y="615"/>
                    </a:lnTo>
                    <a:lnTo>
                      <a:pt x="452" y="619"/>
                    </a:lnTo>
                    <a:lnTo>
                      <a:pt x="447" y="619"/>
                    </a:lnTo>
                    <a:lnTo>
                      <a:pt x="447" y="619"/>
                    </a:lnTo>
                    <a:lnTo>
                      <a:pt x="447" y="619"/>
                    </a:lnTo>
                    <a:lnTo>
                      <a:pt x="447" y="619"/>
                    </a:lnTo>
                    <a:lnTo>
                      <a:pt x="452" y="619"/>
                    </a:lnTo>
                    <a:lnTo>
                      <a:pt x="452" y="619"/>
                    </a:lnTo>
                    <a:lnTo>
                      <a:pt x="447" y="619"/>
                    </a:lnTo>
                    <a:lnTo>
                      <a:pt x="447" y="619"/>
                    </a:lnTo>
                    <a:lnTo>
                      <a:pt x="447" y="619"/>
                    </a:lnTo>
                    <a:lnTo>
                      <a:pt x="447" y="619"/>
                    </a:lnTo>
                    <a:lnTo>
                      <a:pt x="447" y="619"/>
                    </a:lnTo>
                    <a:lnTo>
                      <a:pt x="443" y="624"/>
                    </a:lnTo>
                    <a:lnTo>
                      <a:pt x="443" y="624"/>
                    </a:lnTo>
                    <a:lnTo>
                      <a:pt x="438" y="624"/>
                    </a:lnTo>
                    <a:lnTo>
                      <a:pt x="438" y="624"/>
                    </a:lnTo>
                    <a:lnTo>
                      <a:pt x="438" y="624"/>
                    </a:lnTo>
                    <a:lnTo>
                      <a:pt x="434" y="624"/>
                    </a:lnTo>
                    <a:lnTo>
                      <a:pt x="434" y="624"/>
                    </a:lnTo>
                    <a:lnTo>
                      <a:pt x="434" y="628"/>
                    </a:lnTo>
                    <a:lnTo>
                      <a:pt x="434" y="628"/>
                    </a:lnTo>
                    <a:lnTo>
                      <a:pt x="434" y="624"/>
                    </a:lnTo>
                    <a:lnTo>
                      <a:pt x="434" y="624"/>
                    </a:lnTo>
                    <a:lnTo>
                      <a:pt x="434" y="624"/>
                    </a:lnTo>
                    <a:lnTo>
                      <a:pt x="434" y="628"/>
                    </a:lnTo>
                    <a:lnTo>
                      <a:pt x="434" y="628"/>
                    </a:lnTo>
                    <a:lnTo>
                      <a:pt x="434" y="628"/>
                    </a:lnTo>
                    <a:lnTo>
                      <a:pt x="434" y="628"/>
                    </a:lnTo>
                    <a:lnTo>
                      <a:pt x="434" y="628"/>
                    </a:lnTo>
                    <a:lnTo>
                      <a:pt x="434" y="628"/>
                    </a:lnTo>
                    <a:lnTo>
                      <a:pt x="434" y="633"/>
                    </a:lnTo>
                    <a:lnTo>
                      <a:pt x="434" y="633"/>
                    </a:lnTo>
                    <a:lnTo>
                      <a:pt x="429" y="637"/>
                    </a:lnTo>
                    <a:lnTo>
                      <a:pt x="429" y="637"/>
                    </a:lnTo>
                    <a:lnTo>
                      <a:pt x="429" y="637"/>
                    </a:lnTo>
                    <a:lnTo>
                      <a:pt x="429" y="642"/>
                    </a:lnTo>
                    <a:lnTo>
                      <a:pt x="429" y="642"/>
                    </a:lnTo>
                    <a:lnTo>
                      <a:pt x="429" y="642"/>
                    </a:lnTo>
                    <a:lnTo>
                      <a:pt x="429" y="642"/>
                    </a:lnTo>
                    <a:lnTo>
                      <a:pt x="429" y="642"/>
                    </a:lnTo>
                    <a:lnTo>
                      <a:pt x="429" y="642"/>
                    </a:lnTo>
                    <a:lnTo>
                      <a:pt x="425" y="642"/>
                    </a:lnTo>
                    <a:lnTo>
                      <a:pt x="425" y="647"/>
                    </a:lnTo>
                    <a:lnTo>
                      <a:pt x="425" y="647"/>
                    </a:lnTo>
                    <a:lnTo>
                      <a:pt x="425" y="647"/>
                    </a:lnTo>
                    <a:lnTo>
                      <a:pt x="425" y="651"/>
                    </a:lnTo>
                    <a:lnTo>
                      <a:pt x="425" y="651"/>
                    </a:lnTo>
                    <a:lnTo>
                      <a:pt x="429" y="651"/>
                    </a:lnTo>
                    <a:lnTo>
                      <a:pt x="429" y="651"/>
                    </a:lnTo>
                    <a:lnTo>
                      <a:pt x="434" y="651"/>
                    </a:lnTo>
                    <a:lnTo>
                      <a:pt x="434" y="656"/>
                    </a:lnTo>
                    <a:lnTo>
                      <a:pt x="434" y="656"/>
                    </a:lnTo>
                    <a:lnTo>
                      <a:pt x="438" y="656"/>
                    </a:lnTo>
                    <a:lnTo>
                      <a:pt x="438" y="660"/>
                    </a:lnTo>
                    <a:lnTo>
                      <a:pt x="438" y="665"/>
                    </a:lnTo>
                    <a:lnTo>
                      <a:pt x="443" y="660"/>
                    </a:lnTo>
                    <a:lnTo>
                      <a:pt x="443" y="660"/>
                    </a:lnTo>
                    <a:lnTo>
                      <a:pt x="443" y="660"/>
                    </a:lnTo>
                    <a:lnTo>
                      <a:pt x="443" y="665"/>
                    </a:lnTo>
                    <a:lnTo>
                      <a:pt x="443" y="665"/>
                    </a:lnTo>
                    <a:lnTo>
                      <a:pt x="443" y="669"/>
                    </a:lnTo>
                    <a:lnTo>
                      <a:pt x="443" y="669"/>
                    </a:lnTo>
                    <a:lnTo>
                      <a:pt x="443" y="674"/>
                    </a:lnTo>
                    <a:lnTo>
                      <a:pt x="443" y="674"/>
                    </a:lnTo>
                    <a:lnTo>
                      <a:pt x="443" y="678"/>
                    </a:lnTo>
                    <a:lnTo>
                      <a:pt x="443" y="678"/>
                    </a:lnTo>
                    <a:lnTo>
                      <a:pt x="447" y="678"/>
                    </a:lnTo>
                    <a:lnTo>
                      <a:pt x="447" y="678"/>
                    </a:lnTo>
                    <a:lnTo>
                      <a:pt x="447" y="683"/>
                    </a:lnTo>
                    <a:lnTo>
                      <a:pt x="447" y="683"/>
                    </a:lnTo>
                    <a:lnTo>
                      <a:pt x="447" y="683"/>
                    </a:lnTo>
                    <a:lnTo>
                      <a:pt x="456" y="687"/>
                    </a:lnTo>
                    <a:lnTo>
                      <a:pt x="456" y="692"/>
                    </a:lnTo>
                    <a:lnTo>
                      <a:pt x="461" y="692"/>
                    </a:lnTo>
                    <a:lnTo>
                      <a:pt x="461" y="696"/>
                    </a:lnTo>
                    <a:lnTo>
                      <a:pt x="461" y="696"/>
                    </a:lnTo>
                    <a:lnTo>
                      <a:pt x="461" y="696"/>
                    </a:lnTo>
                    <a:lnTo>
                      <a:pt x="465" y="696"/>
                    </a:lnTo>
                    <a:lnTo>
                      <a:pt x="465" y="701"/>
                    </a:lnTo>
                    <a:lnTo>
                      <a:pt x="461" y="701"/>
                    </a:lnTo>
                    <a:lnTo>
                      <a:pt x="461" y="701"/>
                    </a:lnTo>
                    <a:lnTo>
                      <a:pt x="461" y="705"/>
                    </a:lnTo>
                    <a:lnTo>
                      <a:pt x="456" y="705"/>
                    </a:lnTo>
                    <a:lnTo>
                      <a:pt x="456" y="705"/>
                    </a:lnTo>
                    <a:lnTo>
                      <a:pt x="456" y="705"/>
                    </a:lnTo>
                    <a:lnTo>
                      <a:pt x="456" y="710"/>
                    </a:lnTo>
                    <a:lnTo>
                      <a:pt x="452" y="710"/>
                    </a:lnTo>
                    <a:lnTo>
                      <a:pt x="452" y="710"/>
                    </a:lnTo>
                    <a:lnTo>
                      <a:pt x="452" y="710"/>
                    </a:lnTo>
                    <a:lnTo>
                      <a:pt x="447" y="710"/>
                    </a:lnTo>
                    <a:lnTo>
                      <a:pt x="447" y="710"/>
                    </a:lnTo>
                    <a:lnTo>
                      <a:pt x="443" y="705"/>
                    </a:lnTo>
                    <a:lnTo>
                      <a:pt x="443" y="705"/>
                    </a:lnTo>
                    <a:lnTo>
                      <a:pt x="443" y="705"/>
                    </a:lnTo>
                    <a:lnTo>
                      <a:pt x="438" y="701"/>
                    </a:lnTo>
                    <a:lnTo>
                      <a:pt x="438" y="701"/>
                    </a:lnTo>
                    <a:lnTo>
                      <a:pt x="438" y="701"/>
                    </a:lnTo>
                    <a:lnTo>
                      <a:pt x="438" y="701"/>
                    </a:lnTo>
                    <a:lnTo>
                      <a:pt x="434" y="701"/>
                    </a:lnTo>
                    <a:lnTo>
                      <a:pt x="434" y="696"/>
                    </a:lnTo>
                    <a:lnTo>
                      <a:pt x="434" y="701"/>
                    </a:lnTo>
                    <a:lnTo>
                      <a:pt x="434" y="701"/>
                    </a:lnTo>
                    <a:lnTo>
                      <a:pt x="434" y="701"/>
                    </a:lnTo>
                    <a:lnTo>
                      <a:pt x="434" y="696"/>
                    </a:lnTo>
                    <a:lnTo>
                      <a:pt x="429" y="696"/>
                    </a:lnTo>
                    <a:lnTo>
                      <a:pt x="429" y="696"/>
                    </a:lnTo>
                    <a:lnTo>
                      <a:pt x="429" y="696"/>
                    </a:lnTo>
                    <a:lnTo>
                      <a:pt x="425" y="696"/>
                    </a:lnTo>
                    <a:lnTo>
                      <a:pt x="425" y="696"/>
                    </a:lnTo>
                    <a:lnTo>
                      <a:pt x="425" y="696"/>
                    </a:lnTo>
                    <a:lnTo>
                      <a:pt x="425" y="696"/>
                    </a:lnTo>
                    <a:lnTo>
                      <a:pt x="420" y="696"/>
                    </a:lnTo>
                    <a:lnTo>
                      <a:pt x="420" y="692"/>
                    </a:lnTo>
                    <a:lnTo>
                      <a:pt x="420" y="692"/>
                    </a:lnTo>
                    <a:lnTo>
                      <a:pt x="416" y="692"/>
                    </a:lnTo>
                    <a:lnTo>
                      <a:pt x="416" y="692"/>
                    </a:lnTo>
                    <a:lnTo>
                      <a:pt x="416" y="687"/>
                    </a:lnTo>
                    <a:lnTo>
                      <a:pt x="416" y="687"/>
                    </a:lnTo>
                    <a:lnTo>
                      <a:pt x="416" y="687"/>
                    </a:lnTo>
                    <a:lnTo>
                      <a:pt x="416" y="687"/>
                    </a:lnTo>
                    <a:lnTo>
                      <a:pt x="416" y="687"/>
                    </a:lnTo>
                    <a:lnTo>
                      <a:pt x="411" y="687"/>
                    </a:lnTo>
                    <a:lnTo>
                      <a:pt x="411" y="683"/>
                    </a:lnTo>
                    <a:lnTo>
                      <a:pt x="407" y="683"/>
                    </a:lnTo>
                    <a:lnTo>
                      <a:pt x="407" y="683"/>
                    </a:lnTo>
                    <a:lnTo>
                      <a:pt x="407" y="683"/>
                    </a:lnTo>
                    <a:lnTo>
                      <a:pt x="402" y="683"/>
                    </a:lnTo>
                    <a:lnTo>
                      <a:pt x="402" y="683"/>
                    </a:lnTo>
                    <a:lnTo>
                      <a:pt x="402" y="683"/>
                    </a:lnTo>
                    <a:lnTo>
                      <a:pt x="402" y="683"/>
                    </a:lnTo>
                    <a:lnTo>
                      <a:pt x="402" y="683"/>
                    </a:lnTo>
                    <a:lnTo>
                      <a:pt x="398" y="683"/>
                    </a:lnTo>
                    <a:lnTo>
                      <a:pt x="398" y="683"/>
                    </a:lnTo>
                    <a:lnTo>
                      <a:pt x="393" y="683"/>
                    </a:lnTo>
                    <a:lnTo>
                      <a:pt x="393" y="683"/>
                    </a:lnTo>
                    <a:lnTo>
                      <a:pt x="393" y="683"/>
                    </a:lnTo>
                    <a:lnTo>
                      <a:pt x="389" y="683"/>
                    </a:lnTo>
                    <a:lnTo>
                      <a:pt x="389" y="687"/>
                    </a:lnTo>
                    <a:lnTo>
                      <a:pt x="389" y="687"/>
                    </a:lnTo>
                    <a:lnTo>
                      <a:pt x="389" y="683"/>
                    </a:lnTo>
                    <a:lnTo>
                      <a:pt x="389" y="683"/>
                    </a:lnTo>
                    <a:lnTo>
                      <a:pt x="389" y="683"/>
                    </a:lnTo>
                    <a:lnTo>
                      <a:pt x="389" y="683"/>
                    </a:lnTo>
                    <a:lnTo>
                      <a:pt x="389" y="683"/>
                    </a:lnTo>
                    <a:lnTo>
                      <a:pt x="389" y="683"/>
                    </a:lnTo>
                    <a:lnTo>
                      <a:pt x="384" y="683"/>
                    </a:lnTo>
                    <a:lnTo>
                      <a:pt x="384" y="678"/>
                    </a:lnTo>
                    <a:lnTo>
                      <a:pt x="380" y="678"/>
                    </a:lnTo>
                    <a:lnTo>
                      <a:pt x="375" y="678"/>
                    </a:lnTo>
                    <a:lnTo>
                      <a:pt x="375" y="678"/>
                    </a:lnTo>
                    <a:lnTo>
                      <a:pt x="375" y="674"/>
                    </a:lnTo>
                    <a:lnTo>
                      <a:pt x="371" y="674"/>
                    </a:lnTo>
                    <a:lnTo>
                      <a:pt x="371" y="674"/>
                    </a:lnTo>
                    <a:lnTo>
                      <a:pt x="366" y="674"/>
                    </a:lnTo>
                    <a:lnTo>
                      <a:pt x="366" y="674"/>
                    </a:lnTo>
                    <a:lnTo>
                      <a:pt x="366" y="674"/>
                    </a:lnTo>
                    <a:lnTo>
                      <a:pt x="362" y="674"/>
                    </a:lnTo>
                    <a:lnTo>
                      <a:pt x="362" y="674"/>
                    </a:lnTo>
                    <a:lnTo>
                      <a:pt x="357" y="674"/>
                    </a:lnTo>
                    <a:lnTo>
                      <a:pt x="357" y="674"/>
                    </a:lnTo>
                    <a:lnTo>
                      <a:pt x="353" y="674"/>
                    </a:lnTo>
                    <a:lnTo>
                      <a:pt x="348" y="674"/>
                    </a:lnTo>
                    <a:lnTo>
                      <a:pt x="348" y="674"/>
                    </a:lnTo>
                    <a:lnTo>
                      <a:pt x="344" y="669"/>
                    </a:lnTo>
                    <a:lnTo>
                      <a:pt x="339" y="669"/>
                    </a:lnTo>
                    <a:lnTo>
                      <a:pt x="339" y="669"/>
                    </a:lnTo>
                    <a:lnTo>
                      <a:pt x="334" y="669"/>
                    </a:lnTo>
                    <a:lnTo>
                      <a:pt x="334" y="669"/>
                    </a:lnTo>
                    <a:lnTo>
                      <a:pt x="330" y="669"/>
                    </a:lnTo>
                    <a:lnTo>
                      <a:pt x="330" y="669"/>
                    </a:lnTo>
                    <a:lnTo>
                      <a:pt x="325" y="669"/>
                    </a:lnTo>
                    <a:lnTo>
                      <a:pt x="325" y="669"/>
                    </a:lnTo>
                    <a:lnTo>
                      <a:pt x="325" y="669"/>
                    </a:lnTo>
                    <a:lnTo>
                      <a:pt x="325" y="669"/>
                    </a:lnTo>
                    <a:lnTo>
                      <a:pt x="316" y="665"/>
                    </a:lnTo>
                    <a:lnTo>
                      <a:pt x="316" y="660"/>
                    </a:lnTo>
                    <a:lnTo>
                      <a:pt x="303" y="656"/>
                    </a:lnTo>
                    <a:lnTo>
                      <a:pt x="303" y="656"/>
                    </a:lnTo>
                    <a:lnTo>
                      <a:pt x="298" y="651"/>
                    </a:lnTo>
                    <a:lnTo>
                      <a:pt x="294" y="651"/>
                    </a:lnTo>
                    <a:lnTo>
                      <a:pt x="289" y="647"/>
                    </a:lnTo>
                    <a:lnTo>
                      <a:pt x="289" y="647"/>
                    </a:lnTo>
                    <a:lnTo>
                      <a:pt x="285" y="647"/>
                    </a:lnTo>
                    <a:lnTo>
                      <a:pt x="285" y="647"/>
                    </a:lnTo>
                    <a:lnTo>
                      <a:pt x="285" y="647"/>
                    </a:lnTo>
                    <a:lnTo>
                      <a:pt x="280" y="647"/>
                    </a:lnTo>
                    <a:lnTo>
                      <a:pt x="280" y="642"/>
                    </a:lnTo>
                    <a:lnTo>
                      <a:pt x="280" y="642"/>
                    </a:lnTo>
                    <a:lnTo>
                      <a:pt x="276" y="642"/>
                    </a:lnTo>
                    <a:lnTo>
                      <a:pt x="271" y="637"/>
                    </a:lnTo>
                    <a:lnTo>
                      <a:pt x="271" y="637"/>
                    </a:lnTo>
                    <a:lnTo>
                      <a:pt x="271" y="637"/>
                    </a:lnTo>
                    <a:lnTo>
                      <a:pt x="276" y="637"/>
                    </a:lnTo>
                    <a:lnTo>
                      <a:pt x="276" y="637"/>
                    </a:lnTo>
                    <a:lnTo>
                      <a:pt x="271" y="633"/>
                    </a:lnTo>
                    <a:lnTo>
                      <a:pt x="271" y="633"/>
                    </a:lnTo>
                    <a:lnTo>
                      <a:pt x="271" y="633"/>
                    </a:lnTo>
                    <a:lnTo>
                      <a:pt x="271" y="633"/>
                    </a:lnTo>
                    <a:lnTo>
                      <a:pt x="271" y="633"/>
                    </a:lnTo>
                    <a:lnTo>
                      <a:pt x="276" y="633"/>
                    </a:lnTo>
                    <a:lnTo>
                      <a:pt x="276" y="637"/>
                    </a:lnTo>
                    <a:lnTo>
                      <a:pt x="280" y="637"/>
                    </a:lnTo>
                    <a:lnTo>
                      <a:pt x="280" y="637"/>
                    </a:lnTo>
                    <a:lnTo>
                      <a:pt x="285" y="633"/>
                    </a:lnTo>
                    <a:lnTo>
                      <a:pt x="285" y="633"/>
                    </a:lnTo>
                    <a:lnTo>
                      <a:pt x="285" y="633"/>
                    </a:lnTo>
                    <a:lnTo>
                      <a:pt x="285" y="633"/>
                    </a:lnTo>
                    <a:lnTo>
                      <a:pt x="285" y="633"/>
                    </a:lnTo>
                    <a:lnTo>
                      <a:pt x="285" y="628"/>
                    </a:lnTo>
                    <a:lnTo>
                      <a:pt x="285" y="628"/>
                    </a:lnTo>
                    <a:lnTo>
                      <a:pt x="285" y="624"/>
                    </a:lnTo>
                    <a:lnTo>
                      <a:pt x="289" y="624"/>
                    </a:lnTo>
                    <a:lnTo>
                      <a:pt x="289" y="619"/>
                    </a:lnTo>
                    <a:lnTo>
                      <a:pt x="289" y="624"/>
                    </a:lnTo>
                    <a:lnTo>
                      <a:pt x="289" y="624"/>
                    </a:lnTo>
                    <a:lnTo>
                      <a:pt x="289" y="624"/>
                    </a:lnTo>
                    <a:lnTo>
                      <a:pt x="289" y="624"/>
                    </a:lnTo>
                    <a:lnTo>
                      <a:pt x="289" y="619"/>
                    </a:lnTo>
                    <a:lnTo>
                      <a:pt x="294" y="619"/>
                    </a:lnTo>
                    <a:lnTo>
                      <a:pt x="294" y="619"/>
                    </a:lnTo>
                    <a:lnTo>
                      <a:pt x="294" y="619"/>
                    </a:lnTo>
                    <a:lnTo>
                      <a:pt x="294" y="619"/>
                    </a:lnTo>
                    <a:lnTo>
                      <a:pt x="289" y="615"/>
                    </a:lnTo>
                    <a:lnTo>
                      <a:pt x="285" y="615"/>
                    </a:lnTo>
                    <a:lnTo>
                      <a:pt x="285" y="615"/>
                    </a:lnTo>
                    <a:lnTo>
                      <a:pt x="285" y="610"/>
                    </a:lnTo>
                    <a:lnTo>
                      <a:pt x="285" y="610"/>
                    </a:lnTo>
                    <a:lnTo>
                      <a:pt x="285" y="610"/>
                    </a:lnTo>
                    <a:lnTo>
                      <a:pt x="285" y="610"/>
                    </a:lnTo>
                    <a:lnTo>
                      <a:pt x="289" y="610"/>
                    </a:lnTo>
                    <a:lnTo>
                      <a:pt x="289" y="610"/>
                    </a:lnTo>
                    <a:lnTo>
                      <a:pt x="289" y="610"/>
                    </a:lnTo>
                    <a:lnTo>
                      <a:pt x="294" y="610"/>
                    </a:lnTo>
                    <a:lnTo>
                      <a:pt x="294" y="610"/>
                    </a:lnTo>
                    <a:lnTo>
                      <a:pt x="294" y="606"/>
                    </a:lnTo>
                    <a:lnTo>
                      <a:pt x="294" y="606"/>
                    </a:lnTo>
                    <a:lnTo>
                      <a:pt x="298" y="606"/>
                    </a:lnTo>
                    <a:lnTo>
                      <a:pt x="303" y="601"/>
                    </a:lnTo>
                    <a:lnTo>
                      <a:pt x="303" y="601"/>
                    </a:lnTo>
                    <a:lnTo>
                      <a:pt x="303" y="601"/>
                    </a:lnTo>
                    <a:lnTo>
                      <a:pt x="303" y="601"/>
                    </a:lnTo>
                    <a:lnTo>
                      <a:pt x="303" y="601"/>
                    </a:lnTo>
                    <a:lnTo>
                      <a:pt x="303" y="597"/>
                    </a:lnTo>
                    <a:lnTo>
                      <a:pt x="298" y="597"/>
                    </a:lnTo>
                    <a:lnTo>
                      <a:pt x="298" y="601"/>
                    </a:lnTo>
                    <a:lnTo>
                      <a:pt x="294" y="601"/>
                    </a:lnTo>
                    <a:lnTo>
                      <a:pt x="294" y="601"/>
                    </a:lnTo>
                    <a:lnTo>
                      <a:pt x="294" y="601"/>
                    </a:lnTo>
                    <a:lnTo>
                      <a:pt x="294" y="597"/>
                    </a:lnTo>
                    <a:lnTo>
                      <a:pt x="294" y="597"/>
                    </a:lnTo>
                    <a:lnTo>
                      <a:pt x="294" y="597"/>
                    </a:lnTo>
                    <a:lnTo>
                      <a:pt x="294" y="601"/>
                    </a:lnTo>
                    <a:lnTo>
                      <a:pt x="289" y="601"/>
                    </a:lnTo>
                    <a:lnTo>
                      <a:pt x="289" y="601"/>
                    </a:lnTo>
                    <a:lnTo>
                      <a:pt x="289" y="601"/>
                    </a:lnTo>
                    <a:lnTo>
                      <a:pt x="289" y="601"/>
                    </a:lnTo>
                    <a:lnTo>
                      <a:pt x="289" y="597"/>
                    </a:lnTo>
                    <a:lnTo>
                      <a:pt x="289" y="597"/>
                    </a:lnTo>
                    <a:lnTo>
                      <a:pt x="289" y="597"/>
                    </a:lnTo>
                    <a:lnTo>
                      <a:pt x="289" y="597"/>
                    </a:lnTo>
                    <a:lnTo>
                      <a:pt x="289" y="597"/>
                    </a:lnTo>
                    <a:lnTo>
                      <a:pt x="289" y="597"/>
                    </a:lnTo>
                    <a:lnTo>
                      <a:pt x="289" y="597"/>
                    </a:lnTo>
                    <a:lnTo>
                      <a:pt x="289" y="597"/>
                    </a:lnTo>
                    <a:lnTo>
                      <a:pt x="289" y="597"/>
                    </a:lnTo>
                    <a:lnTo>
                      <a:pt x="289" y="592"/>
                    </a:lnTo>
                    <a:lnTo>
                      <a:pt x="289" y="592"/>
                    </a:lnTo>
                    <a:lnTo>
                      <a:pt x="289" y="592"/>
                    </a:lnTo>
                    <a:lnTo>
                      <a:pt x="289" y="592"/>
                    </a:lnTo>
                    <a:lnTo>
                      <a:pt x="294" y="592"/>
                    </a:lnTo>
                    <a:lnTo>
                      <a:pt x="294" y="588"/>
                    </a:lnTo>
                    <a:lnTo>
                      <a:pt x="294" y="588"/>
                    </a:lnTo>
                    <a:lnTo>
                      <a:pt x="294" y="588"/>
                    </a:lnTo>
                    <a:lnTo>
                      <a:pt x="298" y="588"/>
                    </a:lnTo>
                    <a:lnTo>
                      <a:pt x="298" y="588"/>
                    </a:lnTo>
                    <a:lnTo>
                      <a:pt x="303" y="588"/>
                    </a:lnTo>
                    <a:lnTo>
                      <a:pt x="307" y="588"/>
                    </a:lnTo>
                    <a:lnTo>
                      <a:pt x="307" y="588"/>
                    </a:lnTo>
                    <a:lnTo>
                      <a:pt x="307" y="588"/>
                    </a:lnTo>
                    <a:lnTo>
                      <a:pt x="307" y="583"/>
                    </a:lnTo>
                    <a:lnTo>
                      <a:pt x="307" y="583"/>
                    </a:lnTo>
                    <a:lnTo>
                      <a:pt x="307" y="583"/>
                    </a:lnTo>
                    <a:lnTo>
                      <a:pt x="312" y="579"/>
                    </a:lnTo>
                    <a:lnTo>
                      <a:pt x="312" y="579"/>
                    </a:lnTo>
                    <a:lnTo>
                      <a:pt x="307" y="579"/>
                    </a:lnTo>
                    <a:lnTo>
                      <a:pt x="307" y="579"/>
                    </a:lnTo>
                    <a:lnTo>
                      <a:pt x="307" y="579"/>
                    </a:lnTo>
                    <a:lnTo>
                      <a:pt x="307" y="579"/>
                    </a:lnTo>
                    <a:lnTo>
                      <a:pt x="307" y="579"/>
                    </a:lnTo>
                    <a:lnTo>
                      <a:pt x="307" y="574"/>
                    </a:lnTo>
                    <a:lnTo>
                      <a:pt x="307" y="574"/>
                    </a:lnTo>
                    <a:lnTo>
                      <a:pt x="307" y="574"/>
                    </a:lnTo>
                    <a:lnTo>
                      <a:pt x="307" y="574"/>
                    </a:lnTo>
                    <a:lnTo>
                      <a:pt x="303" y="574"/>
                    </a:lnTo>
                    <a:lnTo>
                      <a:pt x="303" y="570"/>
                    </a:lnTo>
                    <a:lnTo>
                      <a:pt x="303" y="570"/>
                    </a:lnTo>
                    <a:lnTo>
                      <a:pt x="307" y="570"/>
                    </a:lnTo>
                    <a:lnTo>
                      <a:pt x="307" y="570"/>
                    </a:lnTo>
                    <a:lnTo>
                      <a:pt x="307" y="570"/>
                    </a:lnTo>
                    <a:lnTo>
                      <a:pt x="307" y="570"/>
                    </a:lnTo>
                    <a:lnTo>
                      <a:pt x="307" y="570"/>
                    </a:lnTo>
                    <a:lnTo>
                      <a:pt x="307" y="570"/>
                    </a:lnTo>
                    <a:lnTo>
                      <a:pt x="307" y="570"/>
                    </a:lnTo>
                    <a:lnTo>
                      <a:pt x="303" y="565"/>
                    </a:lnTo>
                    <a:lnTo>
                      <a:pt x="303" y="565"/>
                    </a:lnTo>
                    <a:lnTo>
                      <a:pt x="303" y="565"/>
                    </a:lnTo>
                    <a:lnTo>
                      <a:pt x="303" y="565"/>
                    </a:lnTo>
                    <a:lnTo>
                      <a:pt x="307" y="565"/>
                    </a:lnTo>
                    <a:lnTo>
                      <a:pt x="307" y="561"/>
                    </a:lnTo>
                    <a:lnTo>
                      <a:pt x="307" y="561"/>
                    </a:lnTo>
                    <a:lnTo>
                      <a:pt x="307" y="561"/>
                    </a:lnTo>
                    <a:lnTo>
                      <a:pt x="307" y="561"/>
                    </a:lnTo>
                    <a:lnTo>
                      <a:pt x="307" y="556"/>
                    </a:lnTo>
                    <a:lnTo>
                      <a:pt x="307" y="556"/>
                    </a:lnTo>
                    <a:lnTo>
                      <a:pt x="307" y="556"/>
                    </a:lnTo>
                    <a:lnTo>
                      <a:pt x="307" y="556"/>
                    </a:lnTo>
                    <a:lnTo>
                      <a:pt x="307" y="556"/>
                    </a:lnTo>
                    <a:lnTo>
                      <a:pt x="307" y="556"/>
                    </a:lnTo>
                    <a:lnTo>
                      <a:pt x="307" y="556"/>
                    </a:lnTo>
                    <a:lnTo>
                      <a:pt x="303" y="556"/>
                    </a:lnTo>
                    <a:lnTo>
                      <a:pt x="303" y="556"/>
                    </a:lnTo>
                    <a:lnTo>
                      <a:pt x="298" y="552"/>
                    </a:lnTo>
                    <a:lnTo>
                      <a:pt x="298" y="552"/>
                    </a:lnTo>
                    <a:lnTo>
                      <a:pt x="298" y="552"/>
                    </a:lnTo>
                    <a:lnTo>
                      <a:pt x="294" y="552"/>
                    </a:lnTo>
                    <a:lnTo>
                      <a:pt x="294" y="552"/>
                    </a:lnTo>
                    <a:lnTo>
                      <a:pt x="294" y="552"/>
                    </a:lnTo>
                    <a:lnTo>
                      <a:pt x="294" y="552"/>
                    </a:lnTo>
                    <a:lnTo>
                      <a:pt x="294" y="552"/>
                    </a:lnTo>
                    <a:lnTo>
                      <a:pt x="289" y="552"/>
                    </a:lnTo>
                    <a:lnTo>
                      <a:pt x="289" y="552"/>
                    </a:lnTo>
                    <a:lnTo>
                      <a:pt x="289" y="547"/>
                    </a:lnTo>
                    <a:lnTo>
                      <a:pt x="285" y="547"/>
                    </a:lnTo>
                    <a:lnTo>
                      <a:pt x="285" y="547"/>
                    </a:lnTo>
                    <a:lnTo>
                      <a:pt x="280" y="547"/>
                    </a:lnTo>
                    <a:lnTo>
                      <a:pt x="280" y="547"/>
                    </a:lnTo>
                    <a:lnTo>
                      <a:pt x="280" y="547"/>
                    </a:lnTo>
                    <a:lnTo>
                      <a:pt x="276" y="547"/>
                    </a:lnTo>
                    <a:lnTo>
                      <a:pt x="276" y="547"/>
                    </a:lnTo>
                    <a:lnTo>
                      <a:pt x="276" y="547"/>
                    </a:lnTo>
                    <a:lnTo>
                      <a:pt x="276" y="547"/>
                    </a:lnTo>
                    <a:lnTo>
                      <a:pt x="276" y="547"/>
                    </a:lnTo>
                    <a:lnTo>
                      <a:pt x="276" y="547"/>
                    </a:lnTo>
                    <a:lnTo>
                      <a:pt x="271" y="547"/>
                    </a:lnTo>
                    <a:lnTo>
                      <a:pt x="267" y="543"/>
                    </a:lnTo>
                    <a:lnTo>
                      <a:pt x="267" y="543"/>
                    </a:lnTo>
                    <a:lnTo>
                      <a:pt x="267" y="543"/>
                    </a:lnTo>
                    <a:lnTo>
                      <a:pt x="267" y="538"/>
                    </a:lnTo>
                    <a:lnTo>
                      <a:pt x="267" y="538"/>
                    </a:lnTo>
                    <a:lnTo>
                      <a:pt x="262" y="538"/>
                    </a:lnTo>
                    <a:lnTo>
                      <a:pt x="262" y="543"/>
                    </a:lnTo>
                    <a:lnTo>
                      <a:pt x="262" y="543"/>
                    </a:lnTo>
                    <a:lnTo>
                      <a:pt x="258" y="543"/>
                    </a:lnTo>
                    <a:lnTo>
                      <a:pt x="258" y="543"/>
                    </a:lnTo>
                    <a:lnTo>
                      <a:pt x="258" y="543"/>
                    </a:lnTo>
                    <a:lnTo>
                      <a:pt x="253" y="543"/>
                    </a:lnTo>
                    <a:lnTo>
                      <a:pt x="253" y="543"/>
                    </a:lnTo>
                    <a:lnTo>
                      <a:pt x="253" y="543"/>
                    </a:lnTo>
                    <a:lnTo>
                      <a:pt x="249" y="543"/>
                    </a:lnTo>
                    <a:lnTo>
                      <a:pt x="249" y="543"/>
                    </a:lnTo>
                    <a:lnTo>
                      <a:pt x="249" y="543"/>
                    </a:lnTo>
                    <a:lnTo>
                      <a:pt x="249" y="543"/>
                    </a:lnTo>
                    <a:lnTo>
                      <a:pt x="249" y="538"/>
                    </a:lnTo>
                    <a:lnTo>
                      <a:pt x="244" y="538"/>
                    </a:lnTo>
                    <a:lnTo>
                      <a:pt x="244" y="538"/>
                    </a:lnTo>
                    <a:lnTo>
                      <a:pt x="244" y="538"/>
                    </a:lnTo>
                    <a:lnTo>
                      <a:pt x="240" y="543"/>
                    </a:lnTo>
                    <a:lnTo>
                      <a:pt x="240" y="543"/>
                    </a:lnTo>
                    <a:lnTo>
                      <a:pt x="240" y="538"/>
                    </a:lnTo>
                    <a:lnTo>
                      <a:pt x="240" y="538"/>
                    </a:lnTo>
                    <a:lnTo>
                      <a:pt x="235" y="538"/>
                    </a:lnTo>
                    <a:lnTo>
                      <a:pt x="235" y="538"/>
                    </a:lnTo>
                    <a:lnTo>
                      <a:pt x="235" y="533"/>
                    </a:lnTo>
                    <a:lnTo>
                      <a:pt x="235" y="533"/>
                    </a:lnTo>
                    <a:lnTo>
                      <a:pt x="235" y="533"/>
                    </a:lnTo>
                    <a:lnTo>
                      <a:pt x="235" y="533"/>
                    </a:lnTo>
                    <a:lnTo>
                      <a:pt x="235" y="533"/>
                    </a:lnTo>
                    <a:lnTo>
                      <a:pt x="235" y="529"/>
                    </a:lnTo>
                    <a:lnTo>
                      <a:pt x="235" y="529"/>
                    </a:lnTo>
                    <a:lnTo>
                      <a:pt x="235" y="529"/>
                    </a:lnTo>
                    <a:lnTo>
                      <a:pt x="235" y="529"/>
                    </a:lnTo>
                    <a:lnTo>
                      <a:pt x="235" y="529"/>
                    </a:lnTo>
                    <a:lnTo>
                      <a:pt x="231" y="529"/>
                    </a:lnTo>
                    <a:lnTo>
                      <a:pt x="231" y="529"/>
                    </a:lnTo>
                    <a:lnTo>
                      <a:pt x="231" y="529"/>
                    </a:lnTo>
                    <a:lnTo>
                      <a:pt x="231" y="524"/>
                    </a:lnTo>
                    <a:lnTo>
                      <a:pt x="231" y="524"/>
                    </a:lnTo>
                    <a:lnTo>
                      <a:pt x="231" y="524"/>
                    </a:lnTo>
                    <a:lnTo>
                      <a:pt x="226" y="524"/>
                    </a:lnTo>
                    <a:lnTo>
                      <a:pt x="226" y="524"/>
                    </a:lnTo>
                    <a:lnTo>
                      <a:pt x="226" y="524"/>
                    </a:lnTo>
                    <a:lnTo>
                      <a:pt x="226" y="524"/>
                    </a:lnTo>
                    <a:lnTo>
                      <a:pt x="222" y="524"/>
                    </a:lnTo>
                    <a:lnTo>
                      <a:pt x="222" y="524"/>
                    </a:lnTo>
                    <a:lnTo>
                      <a:pt x="217" y="524"/>
                    </a:lnTo>
                    <a:lnTo>
                      <a:pt x="217" y="524"/>
                    </a:lnTo>
                    <a:lnTo>
                      <a:pt x="217" y="524"/>
                    </a:lnTo>
                    <a:lnTo>
                      <a:pt x="217" y="524"/>
                    </a:lnTo>
                    <a:lnTo>
                      <a:pt x="217" y="524"/>
                    </a:lnTo>
                    <a:lnTo>
                      <a:pt x="217" y="524"/>
                    </a:lnTo>
                    <a:lnTo>
                      <a:pt x="217" y="520"/>
                    </a:lnTo>
                    <a:lnTo>
                      <a:pt x="217" y="520"/>
                    </a:lnTo>
                    <a:lnTo>
                      <a:pt x="217" y="520"/>
                    </a:lnTo>
                    <a:lnTo>
                      <a:pt x="213" y="520"/>
                    </a:lnTo>
                    <a:lnTo>
                      <a:pt x="213" y="515"/>
                    </a:lnTo>
                    <a:lnTo>
                      <a:pt x="213" y="515"/>
                    </a:lnTo>
                    <a:lnTo>
                      <a:pt x="217" y="515"/>
                    </a:lnTo>
                    <a:lnTo>
                      <a:pt x="217" y="515"/>
                    </a:lnTo>
                    <a:lnTo>
                      <a:pt x="217" y="515"/>
                    </a:lnTo>
                    <a:lnTo>
                      <a:pt x="217" y="515"/>
                    </a:lnTo>
                    <a:lnTo>
                      <a:pt x="213" y="511"/>
                    </a:lnTo>
                    <a:lnTo>
                      <a:pt x="213" y="506"/>
                    </a:lnTo>
                    <a:lnTo>
                      <a:pt x="208" y="506"/>
                    </a:lnTo>
                    <a:lnTo>
                      <a:pt x="208" y="506"/>
                    </a:lnTo>
                    <a:lnTo>
                      <a:pt x="208" y="502"/>
                    </a:lnTo>
                    <a:lnTo>
                      <a:pt x="203" y="506"/>
                    </a:lnTo>
                    <a:lnTo>
                      <a:pt x="203" y="506"/>
                    </a:lnTo>
                    <a:lnTo>
                      <a:pt x="199" y="502"/>
                    </a:lnTo>
                    <a:lnTo>
                      <a:pt x="199" y="506"/>
                    </a:lnTo>
                    <a:lnTo>
                      <a:pt x="194" y="506"/>
                    </a:lnTo>
                    <a:lnTo>
                      <a:pt x="194" y="506"/>
                    </a:lnTo>
                    <a:lnTo>
                      <a:pt x="190" y="506"/>
                    </a:lnTo>
                    <a:lnTo>
                      <a:pt x="190" y="506"/>
                    </a:lnTo>
                    <a:lnTo>
                      <a:pt x="190" y="506"/>
                    </a:lnTo>
                    <a:lnTo>
                      <a:pt x="185" y="506"/>
                    </a:lnTo>
                    <a:lnTo>
                      <a:pt x="185" y="506"/>
                    </a:lnTo>
                    <a:lnTo>
                      <a:pt x="185" y="511"/>
                    </a:lnTo>
                    <a:lnTo>
                      <a:pt x="185" y="511"/>
                    </a:lnTo>
                    <a:lnTo>
                      <a:pt x="185" y="511"/>
                    </a:lnTo>
                    <a:lnTo>
                      <a:pt x="181" y="511"/>
                    </a:lnTo>
                    <a:lnTo>
                      <a:pt x="181" y="511"/>
                    </a:lnTo>
                    <a:lnTo>
                      <a:pt x="181" y="511"/>
                    </a:lnTo>
                    <a:lnTo>
                      <a:pt x="181" y="511"/>
                    </a:lnTo>
                    <a:lnTo>
                      <a:pt x="181" y="511"/>
                    </a:lnTo>
                    <a:lnTo>
                      <a:pt x="181" y="506"/>
                    </a:lnTo>
                    <a:lnTo>
                      <a:pt x="176" y="506"/>
                    </a:lnTo>
                    <a:lnTo>
                      <a:pt x="176" y="506"/>
                    </a:lnTo>
                    <a:lnTo>
                      <a:pt x="176" y="506"/>
                    </a:lnTo>
                    <a:lnTo>
                      <a:pt x="176" y="506"/>
                    </a:lnTo>
                    <a:lnTo>
                      <a:pt x="176" y="502"/>
                    </a:lnTo>
                    <a:lnTo>
                      <a:pt x="176" y="502"/>
                    </a:lnTo>
                    <a:lnTo>
                      <a:pt x="176" y="502"/>
                    </a:lnTo>
                    <a:lnTo>
                      <a:pt x="172" y="497"/>
                    </a:lnTo>
                    <a:lnTo>
                      <a:pt x="172" y="497"/>
                    </a:lnTo>
                    <a:lnTo>
                      <a:pt x="176" y="497"/>
                    </a:lnTo>
                    <a:lnTo>
                      <a:pt x="176" y="497"/>
                    </a:lnTo>
                    <a:lnTo>
                      <a:pt x="172" y="497"/>
                    </a:lnTo>
                    <a:lnTo>
                      <a:pt x="172" y="493"/>
                    </a:lnTo>
                    <a:lnTo>
                      <a:pt x="172" y="493"/>
                    </a:lnTo>
                    <a:lnTo>
                      <a:pt x="172" y="493"/>
                    </a:lnTo>
                    <a:lnTo>
                      <a:pt x="167" y="493"/>
                    </a:lnTo>
                    <a:lnTo>
                      <a:pt x="172" y="493"/>
                    </a:lnTo>
                    <a:lnTo>
                      <a:pt x="172" y="488"/>
                    </a:lnTo>
                    <a:lnTo>
                      <a:pt x="172" y="488"/>
                    </a:lnTo>
                    <a:lnTo>
                      <a:pt x="172" y="488"/>
                    </a:lnTo>
                    <a:lnTo>
                      <a:pt x="172" y="488"/>
                    </a:lnTo>
                    <a:lnTo>
                      <a:pt x="176" y="488"/>
                    </a:lnTo>
                    <a:lnTo>
                      <a:pt x="176" y="488"/>
                    </a:lnTo>
                    <a:lnTo>
                      <a:pt x="176" y="488"/>
                    </a:lnTo>
                    <a:lnTo>
                      <a:pt x="176" y="488"/>
                    </a:lnTo>
                    <a:lnTo>
                      <a:pt x="181" y="488"/>
                    </a:lnTo>
                    <a:lnTo>
                      <a:pt x="181" y="488"/>
                    </a:lnTo>
                    <a:lnTo>
                      <a:pt x="181" y="488"/>
                    </a:lnTo>
                    <a:lnTo>
                      <a:pt x="185" y="488"/>
                    </a:lnTo>
                    <a:lnTo>
                      <a:pt x="185" y="488"/>
                    </a:lnTo>
                    <a:lnTo>
                      <a:pt x="185" y="488"/>
                    </a:lnTo>
                    <a:lnTo>
                      <a:pt x="190" y="484"/>
                    </a:lnTo>
                    <a:lnTo>
                      <a:pt x="190" y="484"/>
                    </a:lnTo>
                    <a:lnTo>
                      <a:pt x="190" y="484"/>
                    </a:lnTo>
                    <a:lnTo>
                      <a:pt x="190" y="484"/>
                    </a:lnTo>
                    <a:lnTo>
                      <a:pt x="190" y="484"/>
                    </a:lnTo>
                    <a:lnTo>
                      <a:pt x="185" y="484"/>
                    </a:lnTo>
                    <a:lnTo>
                      <a:pt x="185" y="479"/>
                    </a:lnTo>
                    <a:lnTo>
                      <a:pt x="185" y="479"/>
                    </a:lnTo>
                    <a:lnTo>
                      <a:pt x="185" y="479"/>
                    </a:lnTo>
                    <a:lnTo>
                      <a:pt x="185" y="479"/>
                    </a:lnTo>
                    <a:lnTo>
                      <a:pt x="181" y="479"/>
                    </a:lnTo>
                    <a:lnTo>
                      <a:pt x="176" y="479"/>
                    </a:lnTo>
                    <a:lnTo>
                      <a:pt x="176" y="479"/>
                    </a:lnTo>
                    <a:lnTo>
                      <a:pt x="172" y="475"/>
                    </a:lnTo>
                    <a:lnTo>
                      <a:pt x="176" y="475"/>
                    </a:lnTo>
                    <a:lnTo>
                      <a:pt x="176" y="475"/>
                    </a:lnTo>
                    <a:lnTo>
                      <a:pt x="176" y="475"/>
                    </a:lnTo>
                    <a:lnTo>
                      <a:pt x="176" y="475"/>
                    </a:lnTo>
                    <a:lnTo>
                      <a:pt x="172" y="470"/>
                    </a:lnTo>
                    <a:lnTo>
                      <a:pt x="172" y="470"/>
                    </a:lnTo>
                    <a:lnTo>
                      <a:pt x="167" y="470"/>
                    </a:lnTo>
                    <a:lnTo>
                      <a:pt x="167" y="466"/>
                    </a:lnTo>
                    <a:lnTo>
                      <a:pt x="163" y="466"/>
                    </a:lnTo>
                    <a:lnTo>
                      <a:pt x="163" y="466"/>
                    </a:lnTo>
                    <a:lnTo>
                      <a:pt x="163" y="466"/>
                    </a:lnTo>
                    <a:lnTo>
                      <a:pt x="163" y="466"/>
                    </a:lnTo>
                    <a:lnTo>
                      <a:pt x="163" y="461"/>
                    </a:lnTo>
                    <a:lnTo>
                      <a:pt x="163" y="461"/>
                    </a:lnTo>
                    <a:lnTo>
                      <a:pt x="163" y="461"/>
                    </a:lnTo>
                    <a:lnTo>
                      <a:pt x="158" y="461"/>
                    </a:lnTo>
                    <a:lnTo>
                      <a:pt x="158" y="457"/>
                    </a:lnTo>
                    <a:lnTo>
                      <a:pt x="158" y="457"/>
                    </a:lnTo>
                    <a:lnTo>
                      <a:pt x="158" y="457"/>
                    </a:lnTo>
                    <a:lnTo>
                      <a:pt x="158" y="457"/>
                    </a:lnTo>
                    <a:lnTo>
                      <a:pt x="158" y="457"/>
                    </a:lnTo>
                    <a:lnTo>
                      <a:pt x="158" y="452"/>
                    </a:lnTo>
                    <a:lnTo>
                      <a:pt x="158" y="452"/>
                    </a:lnTo>
                    <a:lnTo>
                      <a:pt x="158" y="452"/>
                    </a:lnTo>
                    <a:lnTo>
                      <a:pt x="158" y="452"/>
                    </a:lnTo>
                    <a:lnTo>
                      <a:pt x="158" y="448"/>
                    </a:lnTo>
                    <a:lnTo>
                      <a:pt x="158" y="448"/>
                    </a:lnTo>
                    <a:lnTo>
                      <a:pt x="158" y="448"/>
                    </a:lnTo>
                    <a:lnTo>
                      <a:pt x="158" y="448"/>
                    </a:lnTo>
                    <a:lnTo>
                      <a:pt x="158" y="448"/>
                    </a:lnTo>
                    <a:lnTo>
                      <a:pt x="158" y="443"/>
                    </a:lnTo>
                    <a:lnTo>
                      <a:pt x="158" y="443"/>
                    </a:lnTo>
                    <a:lnTo>
                      <a:pt x="158" y="443"/>
                    </a:lnTo>
                    <a:lnTo>
                      <a:pt x="158" y="443"/>
                    </a:lnTo>
                    <a:lnTo>
                      <a:pt x="154" y="443"/>
                    </a:lnTo>
                    <a:lnTo>
                      <a:pt x="154" y="443"/>
                    </a:lnTo>
                    <a:lnTo>
                      <a:pt x="154" y="443"/>
                    </a:lnTo>
                    <a:lnTo>
                      <a:pt x="154" y="443"/>
                    </a:lnTo>
                    <a:lnTo>
                      <a:pt x="154" y="443"/>
                    </a:lnTo>
                    <a:lnTo>
                      <a:pt x="149" y="439"/>
                    </a:lnTo>
                    <a:lnTo>
                      <a:pt x="149" y="439"/>
                    </a:lnTo>
                    <a:lnTo>
                      <a:pt x="145" y="439"/>
                    </a:lnTo>
                    <a:lnTo>
                      <a:pt x="145" y="439"/>
                    </a:lnTo>
                    <a:lnTo>
                      <a:pt x="145" y="439"/>
                    </a:lnTo>
                    <a:lnTo>
                      <a:pt x="140" y="439"/>
                    </a:lnTo>
                    <a:lnTo>
                      <a:pt x="140" y="439"/>
                    </a:lnTo>
                    <a:lnTo>
                      <a:pt x="140" y="439"/>
                    </a:lnTo>
                    <a:lnTo>
                      <a:pt x="140" y="439"/>
                    </a:lnTo>
                    <a:lnTo>
                      <a:pt x="140" y="439"/>
                    </a:lnTo>
                    <a:lnTo>
                      <a:pt x="136" y="443"/>
                    </a:lnTo>
                    <a:lnTo>
                      <a:pt x="136" y="443"/>
                    </a:lnTo>
                    <a:lnTo>
                      <a:pt x="136" y="439"/>
                    </a:lnTo>
                    <a:lnTo>
                      <a:pt x="136" y="439"/>
                    </a:lnTo>
                    <a:lnTo>
                      <a:pt x="136" y="439"/>
                    </a:lnTo>
                    <a:lnTo>
                      <a:pt x="136" y="439"/>
                    </a:lnTo>
                    <a:lnTo>
                      <a:pt x="136" y="439"/>
                    </a:lnTo>
                    <a:lnTo>
                      <a:pt x="131" y="439"/>
                    </a:lnTo>
                    <a:lnTo>
                      <a:pt x="131" y="434"/>
                    </a:lnTo>
                    <a:lnTo>
                      <a:pt x="131" y="434"/>
                    </a:lnTo>
                    <a:lnTo>
                      <a:pt x="127" y="434"/>
                    </a:lnTo>
                    <a:lnTo>
                      <a:pt x="127" y="439"/>
                    </a:lnTo>
                    <a:lnTo>
                      <a:pt x="127" y="439"/>
                    </a:lnTo>
                    <a:lnTo>
                      <a:pt x="127" y="434"/>
                    </a:lnTo>
                    <a:lnTo>
                      <a:pt x="122" y="434"/>
                    </a:lnTo>
                    <a:lnTo>
                      <a:pt x="122" y="434"/>
                    </a:lnTo>
                    <a:lnTo>
                      <a:pt x="122" y="434"/>
                    </a:lnTo>
                    <a:lnTo>
                      <a:pt x="122" y="434"/>
                    </a:lnTo>
                    <a:lnTo>
                      <a:pt x="118" y="434"/>
                    </a:lnTo>
                    <a:lnTo>
                      <a:pt x="118" y="434"/>
                    </a:lnTo>
                    <a:lnTo>
                      <a:pt x="118" y="434"/>
                    </a:lnTo>
                    <a:lnTo>
                      <a:pt x="118" y="434"/>
                    </a:lnTo>
                    <a:lnTo>
                      <a:pt x="118" y="429"/>
                    </a:lnTo>
                    <a:lnTo>
                      <a:pt x="118" y="429"/>
                    </a:lnTo>
                    <a:lnTo>
                      <a:pt x="118" y="429"/>
                    </a:lnTo>
                    <a:lnTo>
                      <a:pt x="118" y="425"/>
                    </a:lnTo>
                    <a:lnTo>
                      <a:pt x="118" y="425"/>
                    </a:lnTo>
                    <a:lnTo>
                      <a:pt x="113" y="425"/>
                    </a:lnTo>
                    <a:lnTo>
                      <a:pt x="113" y="425"/>
                    </a:lnTo>
                    <a:lnTo>
                      <a:pt x="113" y="425"/>
                    </a:lnTo>
                    <a:lnTo>
                      <a:pt x="113" y="420"/>
                    </a:lnTo>
                    <a:lnTo>
                      <a:pt x="113" y="420"/>
                    </a:lnTo>
                    <a:lnTo>
                      <a:pt x="113" y="420"/>
                    </a:lnTo>
                    <a:lnTo>
                      <a:pt x="109" y="420"/>
                    </a:lnTo>
                    <a:lnTo>
                      <a:pt x="109" y="420"/>
                    </a:lnTo>
                    <a:lnTo>
                      <a:pt x="109" y="420"/>
                    </a:lnTo>
                    <a:lnTo>
                      <a:pt x="109" y="416"/>
                    </a:lnTo>
                    <a:lnTo>
                      <a:pt x="109" y="416"/>
                    </a:lnTo>
                    <a:lnTo>
                      <a:pt x="109" y="416"/>
                    </a:lnTo>
                    <a:lnTo>
                      <a:pt x="109" y="416"/>
                    </a:lnTo>
                    <a:lnTo>
                      <a:pt x="109" y="416"/>
                    </a:lnTo>
                    <a:lnTo>
                      <a:pt x="109" y="411"/>
                    </a:lnTo>
                    <a:lnTo>
                      <a:pt x="109" y="411"/>
                    </a:lnTo>
                    <a:lnTo>
                      <a:pt x="109" y="411"/>
                    </a:lnTo>
                    <a:lnTo>
                      <a:pt x="109" y="411"/>
                    </a:lnTo>
                    <a:lnTo>
                      <a:pt x="104" y="411"/>
                    </a:lnTo>
                    <a:lnTo>
                      <a:pt x="104" y="407"/>
                    </a:lnTo>
                    <a:lnTo>
                      <a:pt x="104" y="407"/>
                    </a:lnTo>
                    <a:lnTo>
                      <a:pt x="104" y="407"/>
                    </a:lnTo>
                    <a:lnTo>
                      <a:pt x="104" y="407"/>
                    </a:lnTo>
                    <a:lnTo>
                      <a:pt x="104" y="407"/>
                    </a:lnTo>
                    <a:lnTo>
                      <a:pt x="104" y="407"/>
                    </a:lnTo>
                    <a:lnTo>
                      <a:pt x="104" y="402"/>
                    </a:lnTo>
                    <a:lnTo>
                      <a:pt x="104" y="402"/>
                    </a:lnTo>
                    <a:lnTo>
                      <a:pt x="104" y="402"/>
                    </a:lnTo>
                    <a:lnTo>
                      <a:pt x="109" y="402"/>
                    </a:lnTo>
                    <a:lnTo>
                      <a:pt x="109" y="402"/>
                    </a:lnTo>
                    <a:lnTo>
                      <a:pt x="109" y="402"/>
                    </a:lnTo>
                    <a:lnTo>
                      <a:pt x="109" y="402"/>
                    </a:lnTo>
                    <a:lnTo>
                      <a:pt x="109" y="402"/>
                    </a:lnTo>
                    <a:lnTo>
                      <a:pt x="104" y="402"/>
                    </a:lnTo>
                    <a:lnTo>
                      <a:pt x="104" y="398"/>
                    </a:lnTo>
                    <a:lnTo>
                      <a:pt x="104" y="398"/>
                    </a:lnTo>
                    <a:lnTo>
                      <a:pt x="104" y="393"/>
                    </a:lnTo>
                    <a:lnTo>
                      <a:pt x="104" y="393"/>
                    </a:lnTo>
                    <a:lnTo>
                      <a:pt x="104" y="393"/>
                    </a:lnTo>
                    <a:lnTo>
                      <a:pt x="104" y="393"/>
                    </a:lnTo>
                    <a:lnTo>
                      <a:pt x="104" y="389"/>
                    </a:lnTo>
                    <a:lnTo>
                      <a:pt x="100" y="384"/>
                    </a:lnTo>
                    <a:lnTo>
                      <a:pt x="100" y="384"/>
                    </a:lnTo>
                    <a:lnTo>
                      <a:pt x="100" y="384"/>
                    </a:lnTo>
                    <a:lnTo>
                      <a:pt x="100" y="384"/>
                    </a:lnTo>
                    <a:lnTo>
                      <a:pt x="104" y="380"/>
                    </a:lnTo>
                    <a:lnTo>
                      <a:pt x="104" y="380"/>
                    </a:lnTo>
                    <a:lnTo>
                      <a:pt x="104" y="375"/>
                    </a:lnTo>
                    <a:lnTo>
                      <a:pt x="104" y="375"/>
                    </a:lnTo>
                    <a:lnTo>
                      <a:pt x="104" y="375"/>
                    </a:lnTo>
                    <a:lnTo>
                      <a:pt x="109" y="375"/>
                    </a:lnTo>
                    <a:lnTo>
                      <a:pt x="109" y="375"/>
                    </a:lnTo>
                    <a:lnTo>
                      <a:pt x="109" y="375"/>
                    </a:lnTo>
                    <a:lnTo>
                      <a:pt x="109" y="375"/>
                    </a:lnTo>
                    <a:lnTo>
                      <a:pt x="109" y="375"/>
                    </a:lnTo>
                    <a:lnTo>
                      <a:pt x="109" y="371"/>
                    </a:lnTo>
                    <a:lnTo>
                      <a:pt x="109" y="371"/>
                    </a:lnTo>
                    <a:lnTo>
                      <a:pt x="109" y="371"/>
                    </a:lnTo>
                    <a:lnTo>
                      <a:pt x="109" y="371"/>
                    </a:lnTo>
                    <a:lnTo>
                      <a:pt x="109" y="366"/>
                    </a:lnTo>
                    <a:lnTo>
                      <a:pt x="104" y="366"/>
                    </a:lnTo>
                    <a:lnTo>
                      <a:pt x="109" y="366"/>
                    </a:lnTo>
                    <a:lnTo>
                      <a:pt x="109" y="366"/>
                    </a:lnTo>
                    <a:lnTo>
                      <a:pt x="109" y="366"/>
                    </a:lnTo>
                    <a:lnTo>
                      <a:pt x="109" y="366"/>
                    </a:lnTo>
                    <a:lnTo>
                      <a:pt x="113" y="366"/>
                    </a:lnTo>
                    <a:lnTo>
                      <a:pt x="113" y="366"/>
                    </a:lnTo>
                    <a:lnTo>
                      <a:pt x="113" y="366"/>
                    </a:lnTo>
                    <a:lnTo>
                      <a:pt x="113" y="366"/>
                    </a:lnTo>
                    <a:lnTo>
                      <a:pt x="118" y="366"/>
                    </a:lnTo>
                    <a:lnTo>
                      <a:pt x="118" y="366"/>
                    </a:lnTo>
                    <a:lnTo>
                      <a:pt x="118" y="366"/>
                    </a:lnTo>
                    <a:lnTo>
                      <a:pt x="118" y="362"/>
                    </a:lnTo>
                    <a:lnTo>
                      <a:pt x="118" y="362"/>
                    </a:lnTo>
                    <a:lnTo>
                      <a:pt x="118" y="362"/>
                    </a:lnTo>
                    <a:lnTo>
                      <a:pt x="122" y="362"/>
                    </a:lnTo>
                    <a:lnTo>
                      <a:pt x="127" y="362"/>
                    </a:lnTo>
                    <a:lnTo>
                      <a:pt x="136" y="362"/>
                    </a:lnTo>
                    <a:lnTo>
                      <a:pt x="136" y="362"/>
                    </a:lnTo>
                    <a:lnTo>
                      <a:pt x="136" y="362"/>
                    </a:lnTo>
                    <a:lnTo>
                      <a:pt x="131" y="362"/>
                    </a:lnTo>
                    <a:lnTo>
                      <a:pt x="131" y="362"/>
                    </a:lnTo>
                    <a:lnTo>
                      <a:pt x="131" y="357"/>
                    </a:lnTo>
                    <a:lnTo>
                      <a:pt x="127" y="357"/>
                    </a:lnTo>
                    <a:lnTo>
                      <a:pt x="127" y="357"/>
                    </a:lnTo>
                    <a:lnTo>
                      <a:pt x="122" y="357"/>
                    </a:lnTo>
                    <a:lnTo>
                      <a:pt x="118" y="357"/>
                    </a:lnTo>
                    <a:lnTo>
                      <a:pt x="113" y="357"/>
                    </a:lnTo>
                    <a:lnTo>
                      <a:pt x="113" y="353"/>
                    </a:lnTo>
                    <a:lnTo>
                      <a:pt x="109" y="353"/>
                    </a:lnTo>
                    <a:lnTo>
                      <a:pt x="109" y="353"/>
                    </a:lnTo>
                    <a:lnTo>
                      <a:pt x="113" y="353"/>
                    </a:lnTo>
                    <a:lnTo>
                      <a:pt x="113" y="353"/>
                    </a:lnTo>
                    <a:lnTo>
                      <a:pt x="113" y="348"/>
                    </a:lnTo>
                    <a:lnTo>
                      <a:pt x="109" y="348"/>
                    </a:lnTo>
                    <a:lnTo>
                      <a:pt x="109" y="348"/>
                    </a:lnTo>
                    <a:lnTo>
                      <a:pt x="104" y="353"/>
                    </a:lnTo>
                    <a:lnTo>
                      <a:pt x="100" y="353"/>
                    </a:lnTo>
                    <a:lnTo>
                      <a:pt x="104" y="348"/>
                    </a:lnTo>
                    <a:lnTo>
                      <a:pt x="109" y="344"/>
                    </a:lnTo>
                    <a:lnTo>
                      <a:pt x="109" y="344"/>
                    </a:lnTo>
                    <a:lnTo>
                      <a:pt x="109" y="344"/>
                    </a:lnTo>
                    <a:lnTo>
                      <a:pt x="113" y="344"/>
                    </a:lnTo>
                    <a:lnTo>
                      <a:pt x="113" y="339"/>
                    </a:lnTo>
                    <a:lnTo>
                      <a:pt x="113" y="339"/>
                    </a:lnTo>
                    <a:lnTo>
                      <a:pt x="118" y="339"/>
                    </a:lnTo>
                    <a:lnTo>
                      <a:pt x="122" y="335"/>
                    </a:lnTo>
                    <a:lnTo>
                      <a:pt x="122" y="335"/>
                    </a:lnTo>
                    <a:lnTo>
                      <a:pt x="122" y="330"/>
                    </a:lnTo>
                    <a:lnTo>
                      <a:pt x="127" y="330"/>
                    </a:lnTo>
                    <a:lnTo>
                      <a:pt x="127" y="330"/>
                    </a:lnTo>
                    <a:lnTo>
                      <a:pt x="131" y="325"/>
                    </a:lnTo>
                    <a:lnTo>
                      <a:pt x="131" y="321"/>
                    </a:lnTo>
                    <a:lnTo>
                      <a:pt x="131" y="321"/>
                    </a:lnTo>
                    <a:lnTo>
                      <a:pt x="136" y="316"/>
                    </a:lnTo>
                    <a:lnTo>
                      <a:pt x="140" y="312"/>
                    </a:lnTo>
                    <a:lnTo>
                      <a:pt x="140" y="312"/>
                    </a:lnTo>
                    <a:lnTo>
                      <a:pt x="140" y="312"/>
                    </a:lnTo>
                    <a:lnTo>
                      <a:pt x="140" y="307"/>
                    </a:lnTo>
                    <a:lnTo>
                      <a:pt x="140" y="307"/>
                    </a:lnTo>
                    <a:lnTo>
                      <a:pt x="140" y="307"/>
                    </a:lnTo>
                    <a:lnTo>
                      <a:pt x="140" y="303"/>
                    </a:lnTo>
                    <a:lnTo>
                      <a:pt x="140" y="303"/>
                    </a:lnTo>
                    <a:lnTo>
                      <a:pt x="140" y="303"/>
                    </a:lnTo>
                    <a:lnTo>
                      <a:pt x="136" y="303"/>
                    </a:lnTo>
                    <a:lnTo>
                      <a:pt x="136" y="298"/>
                    </a:lnTo>
                    <a:lnTo>
                      <a:pt x="131" y="298"/>
                    </a:lnTo>
                    <a:lnTo>
                      <a:pt x="131" y="298"/>
                    </a:lnTo>
                    <a:lnTo>
                      <a:pt x="127" y="294"/>
                    </a:lnTo>
                    <a:lnTo>
                      <a:pt x="122" y="294"/>
                    </a:lnTo>
                    <a:lnTo>
                      <a:pt x="118" y="289"/>
                    </a:lnTo>
                    <a:lnTo>
                      <a:pt x="118" y="289"/>
                    </a:lnTo>
                    <a:lnTo>
                      <a:pt x="122" y="289"/>
                    </a:lnTo>
                    <a:lnTo>
                      <a:pt x="122" y="285"/>
                    </a:lnTo>
                    <a:lnTo>
                      <a:pt x="127" y="285"/>
                    </a:lnTo>
                    <a:lnTo>
                      <a:pt x="127" y="285"/>
                    </a:lnTo>
                    <a:lnTo>
                      <a:pt x="127" y="285"/>
                    </a:lnTo>
                    <a:lnTo>
                      <a:pt x="127" y="280"/>
                    </a:lnTo>
                    <a:lnTo>
                      <a:pt x="122" y="280"/>
                    </a:lnTo>
                    <a:lnTo>
                      <a:pt x="122" y="280"/>
                    </a:lnTo>
                    <a:lnTo>
                      <a:pt x="118" y="280"/>
                    </a:lnTo>
                    <a:lnTo>
                      <a:pt x="118" y="276"/>
                    </a:lnTo>
                    <a:lnTo>
                      <a:pt x="118" y="276"/>
                    </a:lnTo>
                    <a:lnTo>
                      <a:pt x="118" y="276"/>
                    </a:lnTo>
                    <a:lnTo>
                      <a:pt x="118" y="276"/>
                    </a:lnTo>
                    <a:lnTo>
                      <a:pt x="118" y="271"/>
                    </a:lnTo>
                    <a:lnTo>
                      <a:pt x="118" y="271"/>
                    </a:lnTo>
                    <a:lnTo>
                      <a:pt x="118" y="271"/>
                    </a:lnTo>
                    <a:lnTo>
                      <a:pt x="113" y="271"/>
                    </a:lnTo>
                    <a:lnTo>
                      <a:pt x="113" y="271"/>
                    </a:lnTo>
                    <a:lnTo>
                      <a:pt x="113" y="267"/>
                    </a:lnTo>
                    <a:lnTo>
                      <a:pt x="109" y="267"/>
                    </a:lnTo>
                    <a:lnTo>
                      <a:pt x="109" y="267"/>
                    </a:lnTo>
                    <a:lnTo>
                      <a:pt x="109" y="267"/>
                    </a:lnTo>
                    <a:lnTo>
                      <a:pt x="113" y="267"/>
                    </a:lnTo>
                    <a:lnTo>
                      <a:pt x="113" y="267"/>
                    </a:lnTo>
                    <a:lnTo>
                      <a:pt x="113" y="262"/>
                    </a:lnTo>
                    <a:lnTo>
                      <a:pt x="113" y="262"/>
                    </a:lnTo>
                    <a:lnTo>
                      <a:pt x="113" y="262"/>
                    </a:lnTo>
                    <a:lnTo>
                      <a:pt x="109" y="262"/>
                    </a:lnTo>
                    <a:lnTo>
                      <a:pt x="109" y="262"/>
                    </a:lnTo>
                    <a:lnTo>
                      <a:pt x="109" y="262"/>
                    </a:lnTo>
                    <a:lnTo>
                      <a:pt x="109" y="262"/>
                    </a:lnTo>
                    <a:lnTo>
                      <a:pt x="109" y="262"/>
                    </a:lnTo>
                    <a:lnTo>
                      <a:pt x="109" y="258"/>
                    </a:lnTo>
                    <a:lnTo>
                      <a:pt x="113" y="258"/>
                    </a:lnTo>
                    <a:lnTo>
                      <a:pt x="109" y="253"/>
                    </a:lnTo>
                    <a:lnTo>
                      <a:pt x="109" y="253"/>
                    </a:lnTo>
                    <a:lnTo>
                      <a:pt x="113" y="253"/>
                    </a:lnTo>
                    <a:lnTo>
                      <a:pt x="113" y="253"/>
                    </a:lnTo>
                    <a:lnTo>
                      <a:pt x="113" y="253"/>
                    </a:lnTo>
                    <a:lnTo>
                      <a:pt x="113" y="253"/>
                    </a:lnTo>
                    <a:lnTo>
                      <a:pt x="113" y="253"/>
                    </a:lnTo>
                    <a:lnTo>
                      <a:pt x="113" y="249"/>
                    </a:lnTo>
                    <a:lnTo>
                      <a:pt x="109" y="249"/>
                    </a:lnTo>
                    <a:lnTo>
                      <a:pt x="109" y="244"/>
                    </a:lnTo>
                    <a:lnTo>
                      <a:pt x="109" y="244"/>
                    </a:lnTo>
                    <a:lnTo>
                      <a:pt x="109" y="244"/>
                    </a:lnTo>
                    <a:lnTo>
                      <a:pt x="104" y="240"/>
                    </a:lnTo>
                    <a:lnTo>
                      <a:pt x="104" y="240"/>
                    </a:lnTo>
                    <a:lnTo>
                      <a:pt x="104" y="240"/>
                    </a:lnTo>
                    <a:lnTo>
                      <a:pt x="104" y="235"/>
                    </a:lnTo>
                    <a:lnTo>
                      <a:pt x="100" y="235"/>
                    </a:lnTo>
                    <a:lnTo>
                      <a:pt x="100" y="231"/>
                    </a:lnTo>
                    <a:lnTo>
                      <a:pt x="100" y="231"/>
                    </a:lnTo>
                    <a:lnTo>
                      <a:pt x="100" y="231"/>
                    </a:lnTo>
                    <a:lnTo>
                      <a:pt x="100" y="231"/>
                    </a:lnTo>
                    <a:lnTo>
                      <a:pt x="100" y="226"/>
                    </a:lnTo>
                    <a:lnTo>
                      <a:pt x="100" y="226"/>
                    </a:lnTo>
                    <a:lnTo>
                      <a:pt x="104" y="222"/>
                    </a:lnTo>
                    <a:lnTo>
                      <a:pt x="104" y="222"/>
                    </a:lnTo>
                    <a:lnTo>
                      <a:pt x="104" y="222"/>
                    </a:lnTo>
                    <a:lnTo>
                      <a:pt x="104" y="217"/>
                    </a:lnTo>
                    <a:lnTo>
                      <a:pt x="104" y="217"/>
                    </a:lnTo>
                    <a:lnTo>
                      <a:pt x="104" y="217"/>
                    </a:lnTo>
                    <a:lnTo>
                      <a:pt x="100" y="212"/>
                    </a:lnTo>
                    <a:lnTo>
                      <a:pt x="95" y="208"/>
                    </a:lnTo>
                    <a:lnTo>
                      <a:pt x="95" y="208"/>
                    </a:lnTo>
                    <a:lnTo>
                      <a:pt x="91" y="208"/>
                    </a:lnTo>
                    <a:lnTo>
                      <a:pt x="86" y="203"/>
                    </a:lnTo>
                    <a:lnTo>
                      <a:pt x="86" y="203"/>
                    </a:lnTo>
                    <a:lnTo>
                      <a:pt x="86" y="199"/>
                    </a:lnTo>
                    <a:lnTo>
                      <a:pt x="86" y="194"/>
                    </a:lnTo>
                    <a:lnTo>
                      <a:pt x="86" y="194"/>
                    </a:lnTo>
                    <a:lnTo>
                      <a:pt x="86" y="194"/>
                    </a:lnTo>
                    <a:lnTo>
                      <a:pt x="86" y="194"/>
                    </a:lnTo>
                    <a:lnTo>
                      <a:pt x="86" y="194"/>
                    </a:lnTo>
                    <a:lnTo>
                      <a:pt x="82" y="194"/>
                    </a:lnTo>
                    <a:lnTo>
                      <a:pt x="82" y="194"/>
                    </a:lnTo>
                    <a:lnTo>
                      <a:pt x="86" y="194"/>
                    </a:lnTo>
                    <a:lnTo>
                      <a:pt x="86" y="194"/>
                    </a:lnTo>
                    <a:lnTo>
                      <a:pt x="86" y="190"/>
                    </a:lnTo>
                    <a:lnTo>
                      <a:pt x="91" y="190"/>
                    </a:lnTo>
                    <a:lnTo>
                      <a:pt x="91" y="190"/>
                    </a:lnTo>
                    <a:lnTo>
                      <a:pt x="91" y="190"/>
                    </a:lnTo>
                    <a:lnTo>
                      <a:pt x="91" y="190"/>
                    </a:lnTo>
                    <a:lnTo>
                      <a:pt x="91" y="185"/>
                    </a:lnTo>
                    <a:lnTo>
                      <a:pt x="95" y="185"/>
                    </a:lnTo>
                    <a:lnTo>
                      <a:pt x="100" y="185"/>
                    </a:lnTo>
                    <a:lnTo>
                      <a:pt x="100" y="185"/>
                    </a:lnTo>
                    <a:lnTo>
                      <a:pt x="100" y="185"/>
                    </a:lnTo>
                    <a:lnTo>
                      <a:pt x="100" y="185"/>
                    </a:lnTo>
                    <a:lnTo>
                      <a:pt x="100" y="181"/>
                    </a:lnTo>
                    <a:lnTo>
                      <a:pt x="100" y="181"/>
                    </a:lnTo>
                    <a:lnTo>
                      <a:pt x="100" y="181"/>
                    </a:lnTo>
                    <a:lnTo>
                      <a:pt x="100" y="181"/>
                    </a:lnTo>
                    <a:lnTo>
                      <a:pt x="100" y="181"/>
                    </a:lnTo>
                    <a:lnTo>
                      <a:pt x="100" y="181"/>
                    </a:lnTo>
                    <a:lnTo>
                      <a:pt x="104" y="181"/>
                    </a:lnTo>
                    <a:lnTo>
                      <a:pt x="104" y="181"/>
                    </a:lnTo>
                    <a:lnTo>
                      <a:pt x="109" y="181"/>
                    </a:lnTo>
                    <a:lnTo>
                      <a:pt x="109" y="181"/>
                    </a:lnTo>
                    <a:lnTo>
                      <a:pt x="109" y="181"/>
                    </a:lnTo>
                    <a:lnTo>
                      <a:pt x="109" y="181"/>
                    </a:lnTo>
                    <a:lnTo>
                      <a:pt x="109" y="181"/>
                    </a:lnTo>
                    <a:lnTo>
                      <a:pt x="109" y="176"/>
                    </a:lnTo>
                    <a:lnTo>
                      <a:pt x="109" y="176"/>
                    </a:lnTo>
                    <a:lnTo>
                      <a:pt x="113" y="181"/>
                    </a:lnTo>
                    <a:lnTo>
                      <a:pt x="118" y="181"/>
                    </a:lnTo>
                    <a:lnTo>
                      <a:pt x="118" y="176"/>
                    </a:lnTo>
                    <a:lnTo>
                      <a:pt x="118" y="176"/>
                    </a:lnTo>
                    <a:lnTo>
                      <a:pt x="118" y="176"/>
                    </a:lnTo>
                    <a:lnTo>
                      <a:pt x="122" y="176"/>
                    </a:lnTo>
                    <a:lnTo>
                      <a:pt x="122" y="176"/>
                    </a:lnTo>
                    <a:lnTo>
                      <a:pt x="122" y="176"/>
                    </a:lnTo>
                    <a:lnTo>
                      <a:pt x="122" y="172"/>
                    </a:lnTo>
                    <a:lnTo>
                      <a:pt x="127" y="176"/>
                    </a:lnTo>
                    <a:lnTo>
                      <a:pt x="127" y="176"/>
                    </a:lnTo>
                    <a:lnTo>
                      <a:pt x="131" y="176"/>
                    </a:lnTo>
                    <a:lnTo>
                      <a:pt x="131" y="176"/>
                    </a:lnTo>
                    <a:lnTo>
                      <a:pt x="131" y="181"/>
                    </a:lnTo>
                    <a:lnTo>
                      <a:pt x="131" y="181"/>
                    </a:lnTo>
                    <a:lnTo>
                      <a:pt x="131" y="181"/>
                    </a:lnTo>
                    <a:lnTo>
                      <a:pt x="131" y="181"/>
                    </a:lnTo>
                    <a:lnTo>
                      <a:pt x="122" y="181"/>
                    </a:lnTo>
                    <a:lnTo>
                      <a:pt x="122" y="181"/>
                    </a:lnTo>
                    <a:lnTo>
                      <a:pt x="122" y="181"/>
                    </a:lnTo>
                    <a:lnTo>
                      <a:pt x="127" y="181"/>
                    </a:lnTo>
                    <a:lnTo>
                      <a:pt x="127" y="181"/>
                    </a:lnTo>
                    <a:lnTo>
                      <a:pt x="131" y="181"/>
                    </a:lnTo>
                    <a:lnTo>
                      <a:pt x="131" y="181"/>
                    </a:lnTo>
                    <a:lnTo>
                      <a:pt x="136" y="181"/>
                    </a:lnTo>
                    <a:lnTo>
                      <a:pt x="136" y="185"/>
                    </a:lnTo>
                    <a:lnTo>
                      <a:pt x="136" y="185"/>
                    </a:lnTo>
                    <a:lnTo>
                      <a:pt x="136" y="185"/>
                    </a:lnTo>
                    <a:lnTo>
                      <a:pt x="136" y="185"/>
                    </a:lnTo>
                    <a:lnTo>
                      <a:pt x="140" y="185"/>
                    </a:lnTo>
                    <a:lnTo>
                      <a:pt x="140" y="185"/>
                    </a:lnTo>
                    <a:lnTo>
                      <a:pt x="140" y="185"/>
                    </a:lnTo>
                    <a:lnTo>
                      <a:pt x="140" y="185"/>
                    </a:lnTo>
                    <a:lnTo>
                      <a:pt x="140" y="185"/>
                    </a:lnTo>
                    <a:lnTo>
                      <a:pt x="140" y="190"/>
                    </a:lnTo>
                    <a:lnTo>
                      <a:pt x="136" y="190"/>
                    </a:lnTo>
                    <a:lnTo>
                      <a:pt x="136" y="190"/>
                    </a:lnTo>
                    <a:lnTo>
                      <a:pt x="140" y="190"/>
                    </a:lnTo>
                    <a:lnTo>
                      <a:pt x="140" y="190"/>
                    </a:lnTo>
                    <a:lnTo>
                      <a:pt x="140" y="185"/>
                    </a:lnTo>
                    <a:lnTo>
                      <a:pt x="145" y="185"/>
                    </a:lnTo>
                    <a:lnTo>
                      <a:pt x="149" y="185"/>
                    </a:lnTo>
                    <a:lnTo>
                      <a:pt x="149" y="185"/>
                    </a:lnTo>
                    <a:lnTo>
                      <a:pt x="158" y="185"/>
                    </a:lnTo>
                    <a:lnTo>
                      <a:pt x="158" y="185"/>
                    </a:lnTo>
                    <a:lnTo>
                      <a:pt x="158" y="185"/>
                    </a:lnTo>
                    <a:lnTo>
                      <a:pt x="163" y="185"/>
                    </a:lnTo>
                    <a:lnTo>
                      <a:pt x="163" y="185"/>
                    </a:lnTo>
                    <a:lnTo>
                      <a:pt x="167" y="185"/>
                    </a:lnTo>
                    <a:lnTo>
                      <a:pt x="176" y="190"/>
                    </a:lnTo>
                    <a:lnTo>
                      <a:pt x="194" y="194"/>
                    </a:lnTo>
                    <a:lnTo>
                      <a:pt x="203" y="203"/>
                    </a:lnTo>
                    <a:lnTo>
                      <a:pt x="203" y="203"/>
                    </a:lnTo>
                    <a:lnTo>
                      <a:pt x="208" y="203"/>
                    </a:lnTo>
                    <a:lnTo>
                      <a:pt x="208" y="203"/>
                    </a:lnTo>
                    <a:lnTo>
                      <a:pt x="208" y="203"/>
                    </a:lnTo>
                    <a:lnTo>
                      <a:pt x="217" y="208"/>
                    </a:lnTo>
                    <a:lnTo>
                      <a:pt x="222" y="208"/>
                    </a:lnTo>
                    <a:lnTo>
                      <a:pt x="222" y="208"/>
                    </a:lnTo>
                    <a:lnTo>
                      <a:pt x="222" y="203"/>
                    </a:lnTo>
                    <a:lnTo>
                      <a:pt x="222" y="208"/>
                    </a:lnTo>
                    <a:lnTo>
                      <a:pt x="222" y="208"/>
                    </a:lnTo>
                    <a:lnTo>
                      <a:pt x="222" y="208"/>
                    </a:lnTo>
                    <a:lnTo>
                      <a:pt x="226" y="208"/>
                    </a:lnTo>
                    <a:lnTo>
                      <a:pt x="231" y="212"/>
                    </a:lnTo>
                    <a:lnTo>
                      <a:pt x="231" y="212"/>
                    </a:lnTo>
                    <a:lnTo>
                      <a:pt x="231" y="212"/>
                    </a:lnTo>
                    <a:lnTo>
                      <a:pt x="235" y="212"/>
                    </a:lnTo>
                    <a:lnTo>
                      <a:pt x="235" y="212"/>
                    </a:lnTo>
                    <a:lnTo>
                      <a:pt x="240" y="217"/>
                    </a:lnTo>
                    <a:lnTo>
                      <a:pt x="240" y="222"/>
                    </a:lnTo>
                    <a:lnTo>
                      <a:pt x="240" y="222"/>
                    </a:lnTo>
                    <a:lnTo>
                      <a:pt x="244" y="222"/>
                    </a:lnTo>
                    <a:lnTo>
                      <a:pt x="244" y="222"/>
                    </a:lnTo>
                    <a:lnTo>
                      <a:pt x="244" y="226"/>
                    </a:lnTo>
                    <a:lnTo>
                      <a:pt x="244" y="231"/>
                    </a:lnTo>
                    <a:lnTo>
                      <a:pt x="244" y="231"/>
                    </a:lnTo>
                    <a:lnTo>
                      <a:pt x="240" y="240"/>
                    </a:lnTo>
                    <a:lnTo>
                      <a:pt x="235" y="240"/>
                    </a:lnTo>
                    <a:lnTo>
                      <a:pt x="226" y="244"/>
                    </a:lnTo>
                    <a:lnTo>
                      <a:pt x="217" y="244"/>
                    </a:lnTo>
                    <a:lnTo>
                      <a:pt x="213" y="244"/>
                    </a:lnTo>
                    <a:lnTo>
                      <a:pt x="208" y="244"/>
                    </a:lnTo>
                    <a:lnTo>
                      <a:pt x="203" y="244"/>
                    </a:lnTo>
                    <a:lnTo>
                      <a:pt x="199" y="244"/>
                    </a:lnTo>
                    <a:lnTo>
                      <a:pt x="194" y="240"/>
                    </a:lnTo>
                    <a:lnTo>
                      <a:pt x="194" y="240"/>
                    </a:lnTo>
                    <a:lnTo>
                      <a:pt x="190" y="240"/>
                    </a:lnTo>
                    <a:lnTo>
                      <a:pt x="176" y="240"/>
                    </a:lnTo>
                    <a:lnTo>
                      <a:pt x="176" y="240"/>
                    </a:lnTo>
                    <a:lnTo>
                      <a:pt x="167" y="235"/>
                    </a:lnTo>
                    <a:lnTo>
                      <a:pt x="167" y="235"/>
                    </a:lnTo>
                    <a:lnTo>
                      <a:pt x="163" y="235"/>
                    </a:lnTo>
                    <a:lnTo>
                      <a:pt x="163" y="235"/>
                    </a:lnTo>
                    <a:lnTo>
                      <a:pt x="163" y="235"/>
                    </a:lnTo>
                    <a:lnTo>
                      <a:pt x="163" y="235"/>
                    </a:lnTo>
                    <a:lnTo>
                      <a:pt x="158" y="235"/>
                    </a:lnTo>
                    <a:lnTo>
                      <a:pt x="158" y="235"/>
                    </a:lnTo>
                    <a:lnTo>
                      <a:pt x="154" y="235"/>
                    </a:lnTo>
                    <a:lnTo>
                      <a:pt x="154" y="235"/>
                    </a:lnTo>
                    <a:lnTo>
                      <a:pt x="154" y="235"/>
                    </a:lnTo>
                    <a:lnTo>
                      <a:pt x="149" y="235"/>
                    </a:lnTo>
                    <a:lnTo>
                      <a:pt x="145" y="231"/>
                    </a:lnTo>
                    <a:lnTo>
                      <a:pt x="145" y="231"/>
                    </a:lnTo>
                    <a:lnTo>
                      <a:pt x="145" y="231"/>
                    </a:lnTo>
                    <a:lnTo>
                      <a:pt x="145" y="226"/>
                    </a:lnTo>
                    <a:lnTo>
                      <a:pt x="145" y="226"/>
                    </a:lnTo>
                    <a:lnTo>
                      <a:pt x="136" y="226"/>
                    </a:lnTo>
                    <a:lnTo>
                      <a:pt x="131" y="226"/>
                    </a:lnTo>
                    <a:lnTo>
                      <a:pt x="131" y="226"/>
                    </a:lnTo>
                    <a:lnTo>
                      <a:pt x="136" y="226"/>
                    </a:lnTo>
                    <a:lnTo>
                      <a:pt x="136" y="226"/>
                    </a:lnTo>
                    <a:lnTo>
                      <a:pt x="140" y="231"/>
                    </a:lnTo>
                    <a:lnTo>
                      <a:pt x="140" y="231"/>
                    </a:lnTo>
                    <a:lnTo>
                      <a:pt x="140" y="231"/>
                    </a:lnTo>
                    <a:lnTo>
                      <a:pt x="145" y="235"/>
                    </a:lnTo>
                    <a:lnTo>
                      <a:pt x="145" y="235"/>
                    </a:lnTo>
                    <a:lnTo>
                      <a:pt x="145" y="235"/>
                    </a:lnTo>
                    <a:lnTo>
                      <a:pt x="149" y="235"/>
                    </a:lnTo>
                    <a:lnTo>
                      <a:pt x="149" y="235"/>
                    </a:lnTo>
                    <a:lnTo>
                      <a:pt x="149" y="235"/>
                    </a:lnTo>
                    <a:lnTo>
                      <a:pt x="149" y="240"/>
                    </a:lnTo>
                    <a:lnTo>
                      <a:pt x="154" y="240"/>
                    </a:lnTo>
                    <a:lnTo>
                      <a:pt x="154" y="240"/>
                    </a:lnTo>
                    <a:lnTo>
                      <a:pt x="154" y="240"/>
                    </a:lnTo>
                    <a:lnTo>
                      <a:pt x="154" y="240"/>
                    </a:lnTo>
                    <a:lnTo>
                      <a:pt x="154" y="240"/>
                    </a:lnTo>
                    <a:lnTo>
                      <a:pt x="154" y="240"/>
                    </a:lnTo>
                    <a:lnTo>
                      <a:pt x="154" y="240"/>
                    </a:lnTo>
                    <a:lnTo>
                      <a:pt x="154" y="240"/>
                    </a:lnTo>
                    <a:lnTo>
                      <a:pt x="163" y="244"/>
                    </a:lnTo>
                    <a:lnTo>
                      <a:pt x="167" y="244"/>
                    </a:lnTo>
                    <a:lnTo>
                      <a:pt x="167" y="249"/>
                    </a:lnTo>
                    <a:lnTo>
                      <a:pt x="172" y="249"/>
                    </a:lnTo>
                    <a:lnTo>
                      <a:pt x="172" y="249"/>
                    </a:lnTo>
                    <a:lnTo>
                      <a:pt x="172" y="253"/>
                    </a:lnTo>
                    <a:lnTo>
                      <a:pt x="172" y="253"/>
                    </a:lnTo>
                    <a:lnTo>
                      <a:pt x="172" y="253"/>
                    </a:lnTo>
                    <a:lnTo>
                      <a:pt x="172" y="258"/>
                    </a:lnTo>
                    <a:lnTo>
                      <a:pt x="172" y="258"/>
                    </a:lnTo>
                    <a:lnTo>
                      <a:pt x="167" y="258"/>
                    </a:lnTo>
                    <a:lnTo>
                      <a:pt x="172" y="262"/>
                    </a:lnTo>
                    <a:lnTo>
                      <a:pt x="172" y="262"/>
                    </a:lnTo>
                    <a:lnTo>
                      <a:pt x="176" y="267"/>
                    </a:lnTo>
                    <a:lnTo>
                      <a:pt x="176" y="267"/>
                    </a:lnTo>
                    <a:lnTo>
                      <a:pt x="176" y="271"/>
                    </a:lnTo>
                    <a:lnTo>
                      <a:pt x="176" y="271"/>
                    </a:lnTo>
                    <a:lnTo>
                      <a:pt x="176" y="271"/>
                    </a:lnTo>
                    <a:lnTo>
                      <a:pt x="176" y="271"/>
                    </a:lnTo>
                    <a:lnTo>
                      <a:pt x="176" y="276"/>
                    </a:lnTo>
                    <a:lnTo>
                      <a:pt x="181" y="276"/>
                    </a:lnTo>
                    <a:lnTo>
                      <a:pt x="185" y="276"/>
                    </a:lnTo>
                    <a:lnTo>
                      <a:pt x="185" y="280"/>
                    </a:lnTo>
                    <a:lnTo>
                      <a:pt x="190" y="276"/>
                    </a:lnTo>
                    <a:lnTo>
                      <a:pt x="190" y="280"/>
                    </a:lnTo>
                    <a:lnTo>
                      <a:pt x="194" y="280"/>
                    </a:lnTo>
                    <a:lnTo>
                      <a:pt x="199" y="285"/>
                    </a:lnTo>
                    <a:lnTo>
                      <a:pt x="199" y="285"/>
                    </a:lnTo>
                    <a:lnTo>
                      <a:pt x="203" y="285"/>
                    </a:lnTo>
                    <a:lnTo>
                      <a:pt x="208" y="285"/>
                    </a:lnTo>
                    <a:lnTo>
                      <a:pt x="213" y="289"/>
                    </a:lnTo>
                    <a:lnTo>
                      <a:pt x="213" y="289"/>
                    </a:lnTo>
                    <a:lnTo>
                      <a:pt x="217" y="285"/>
                    </a:lnTo>
                    <a:lnTo>
                      <a:pt x="217" y="285"/>
                    </a:lnTo>
                    <a:lnTo>
                      <a:pt x="222" y="285"/>
                    </a:lnTo>
                    <a:lnTo>
                      <a:pt x="222" y="280"/>
                    </a:lnTo>
                    <a:lnTo>
                      <a:pt x="217" y="280"/>
                    </a:lnTo>
                    <a:lnTo>
                      <a:pt x="217" y="280"/>
                    </a:lnTo>
                    <a:lnTo>
                      <a:pt x="217" y="276"/>
                    </a:lnTo>
                    <a:lnTo>
                      <a:pt x="213" y="276"/>
                    </a:lnTo>
                    <a:lnTo>
                      <a:pt x="213" y="276"/>
                    </a:lnTo>
                    <a:lnTo>
                      <a:pt x="208" y="276"/>
                    </a:lnTo>
                    <a:lnTo>
                      <a:pt x="208" y="276"/>
                    </a:lnTo>
                    <a:lnTo>
                      <a:pt x="203" y="276"/>
                    </a:lnTo>
                    <a:lnTo>
                      <a:pt x="199" y="271"/>
                    </a:lnTo>
                    <a:lnTo>
                      <a:pt x="199" y="271"/>
                    </a:lnTo>
                    <a:lnTo>
                      <a:pt x="199" y="271"/>
                    </a:lnTo>
                    <a:lnTo>
                      <a:pt x="199" y="267"/>
                    </a:lnTo>
                    <a:lnTo>
                      <a:pt x="194" y="267"/>
                    </a:lnTo>
                    <a:lnTo>
                      <a:pt x="199" y="267"/>
                    </a:lnTo>
                    <a:lnTo>
                      <a:pt x="199" y="267"/>
                    </a:lnTo>
                    <a:lnTo>
                      <a:pt x="199" y="262"/>
                    </a:lnTo>
                    <a:lnTo>
                      <a:pt x="203" y="262"/>
                    </a:lnTo>
                    <a:lnTo>
                      <a:pt x="203" y="262"/>
                    </a:lnTo>
                    <a:lnTo>
                      <a:pt x="208" y="262"/>
                    </a:lnTo>
                    <a:lnTo>
                      <a:pt x="217" y="267"/>
                    </a:lnTo>
                    <a:lnTo>
                      <a:pt x="217" y="267"/>
                    </a:lnTo>
                    <a:lnTo>
                      <a:pt x="217" y="267"/>
                    </a:lnTo>
                    <a:lnTo>
                      <a:pt x="222" y="267"/>
                    </a:lnTo>
                    <a:lnTo>
                      <a:pt x="222" y="267"/>
                    </a:lnTo>
                    <a:lnTo>
                      <a:pt x="222" y="271"/>
                    </a:lnTo>
                    <a:lnTo>
                      <a:pt x="222" y="271"/>
                    </a:lnTo>
                    <a:lnTo>
                      <a:pt x="231" y="271"/>
                    </a:lnTo>
                    <a:lnTo>
                      <a:pt x="235" y="271"/>
                    </a:lnTo>
                    <a:lnTo>
                      <a:pt x="240" y="271"/>
                    </a:lnTo>
                    <a:lnTo>
                      <a:pt x="240" y="271"/>
                    </a:lnTo>
                    <a:lnTo>
                      <a:pt x="240" y="271"/>
                    </a:lnTo>
                    <a:lnTo>
                      <a:pt x="240" y="271"/>
                    </a:lnTo>
                    <a:lnTo>
                      <a:pt x="244" y="267"/>
                    </a:lnTo>
                    <a:lnTo>
                      <a:pt x="244" y="271"/>
                    </a:lnTo>
                    <a:lnTo>
                      <a:pt x="244" y="267"/>
                    </a:lnTo>
                    <a:lnTo>
                      <a:pt x="244" y="267"/>
                    </a:lnTo>
                    <a:lnTo>
                      <a:pt x="244" y="267"/>
                    </a:lnTo>
                    <a:lnTo>
                      <a:pt x="240" y="262"/>
                    </a:lnTo>
                    <a:lnTo>
                      <a:pt x="235" y="262"/>
                    </a:lnTo>
                    <a:lnTo>
                      <a:pt x="235" y="258"/>
                    </a:lnTo>
                    <a:lnTo>
                      <a:pt x="235" y="258"/>
                    </a:lnTo>
                    <a:lnTo>
                      <a:pt x="235" y="253"/>
                    </a:lnTo>
                    <a:lnTo>
                      <a:pt x="235" y="253"/>
                    </a:lnTo>
                    <a:lnTo>
                      <a:pt x="240" y="249"/>
                    </a:lnTo>
                    <a:lnTo>
                      <a:pt x="240" y="249"/>
                    </a:lnTo>
                    <a:lnTo>
                      <a:pt x="244" y="249"/>
                    </a:lnTo>
                    <a:lnTo>
                      <a:pt x="244" y="244"/>
                    </a:lnTo>
                    <a:lnTo>
                      <a:pt x="249" y="244"/>
                    </a:lnTo>
                    <a:lnTo>
                      <a:pt x="253" y="244"/>
                    </a:lnTo>
                    <a:lnTo>
                      <a:pt x="253" y="240"/>
                    </a:lnTo>
                    <a:lnTo>
                      <a:pt x="258" y="235"/>
                    </a:lnTo>
                    <a:lnTo>
                      <a:pt x="258" y="235"/>
                    </a:lnTo>
                    <a:lnTo>
                      <a:pt x="258" y="235"/>
                    </a:lnTo>
                    <a:lnTo>
                      <a:pt x="262" y="235"/>
                    </a:lnTo>
                    <a:lnTo>
                      <a:pt x="262" y="240"/>
                    </a:lnTo>
                    <a:lnTo>
                      <a:pt x="267" y="240"/>
                    </a:lnTo>
                    <a:lnTo>
                      <a:pt x="267" y="240"/>
                    </a:lnTo>
                    <a:lnTo>
                      <a:pt x="271" y="240"/>
                    </a:lnTo>
                    <a:lnTo>
                      <a:pt x="276" y="240"/>
                    </a:lnTo>
                    <a:lnTo>
                      <a:pt x="276" y="240"/>
                    </a:lnTo>
                    <a:lnTo>
                      <a:pt x="276" y="240"/>
                    </a:lnTo>
                    <a:lnTo>
                      <a:pt x="276" y="240"/>
                    </a:lnTo>
                    <a:lnTo>
                      <a:pt x="276" y="244"/>
                    </a:lnTo>
                    <a:lnTo>
                      <a:pt x="276" y="244"/>
                    </a:lnTo>
                    <a:lnTo>
                      <a:pt x="280" y="244"/>
                    </a:lnTo>
                    <a:lnTo>
                      <a:pt x="280" y="244"/>
                    </a:lnTo>
                    <a:lnTo>
                      <a:pt x="280" y="244"/>
                    </a:lnTo>
                    <a:lnTo>
                      <a:pt x="285" y="244"/>
                    </a:lnTo>
                    <a:lnTo>
                      <a:pt x="285" y="244"/>
                    </a:lnTo>
                    <a:lnTo>
                      <a:pt x="285" y="244"/>
                    </a:lnTo>
                    <a:lnTo>
                      <a:pt x="285" y="244"/>
                    </a:lnTo>
                    <a:lnTo>
                      <a:pt x="285" y="240"/>
                    </a:lnTo>
                    <a:lnTo>
                      <a:pt x="285" y="235"/>
                    </a:lnTo>
                    <a:lnTo>
                      <a:pt x="285" y="235"/>
                    </a:lnTo>
                    <a:lnTo>
                      <a:pt x="285" y="231"/>
                    </a:lnTo>
                    <a:lnTo>
                      <a:pt x="285" y="231"/>
                    </a:lnTo>
                    <a:lnTo>
                      <a:pt x="280" y="226"/>
                    </a:lnTo>
                    <a:lnTo>
                      <a:pt x="280" y="226"/>
                    </a:lnTo>
                    <a:lnTo>
                      <a:pt x="280" y="226"/>
                    </a:lnTo>
                    <a:lnTo>
                      <a:pt x="276" y="222"/>
                    </a:lnTo>
                    <a:lnTo>
                      <a:pt x="276" y="222"/>
                    </a:lnTo>
                    <a:lnTo>
                      <a:pt x="271" y="222"/>
                    </a:lnTo>
                    <a:lnTo>
                      <a:pt x="271" y="222"/>
                    </a:lnTo>
                    <a:lnTo>
                      <a:pt x="271" y="217"/>
                    </a:lnTo>
                    <a:lnTo>
                      <a:pt x="271" y="212"/>
                    </a:lnTo>
                    <a:lnTo>
                      <a:pt x="271" y="208"/>
                    </a:lnTo>
                    <a:lnTo>
                      <a:pt x="271" y="208"/>
                    </a:lnTo>
                    <a:lnTo>
                      <a:pt x="271" y="203"/>
                    </a:lnTo>
                    <a:lnTo>
                      <a:pt x="271" y="203"/>
                    </a:lnTo>
                    <a:lnTo>
                      <a:pt x="271" y="203"/>
                    </a:lnTo>
                    <a:lnTo>
                      <a:pt x="271" y="203"/>
                    </a:lnTo>
                    <a:lnTo>
                      <a:pt x="258" y="194"/>
                    </a:lnTo>
                    <a:lnTo>
                      <a:pt x="258" y="194"/>
                    </a:lnTo>
                    <a:lnTo>
                      <a:pt x="258" y="194"/>
                    </a:lnTo>
                    <a:lnTo>
                      <a:pt x="258" y="194"/>
                    </a:lnTo>
                    <a:lnTo>
                      <a:pt x="262" y="194"/>
                    </a:lnTo>
                    <a:lnTo>
                      <a:pt x="267" y="199"/>
                    </a:lnTo>
                    <a:lnTo>
                      <a:pt x="271" y="199"/>
                    </a:lnTo>
                    <a:lnTo>
                      <a:pt x="280" y="194"/>
                    </a:lnTo>
                    <a:lnTo>
                      <a:pt x="285" y="199"/>
                    </a:lnTo>
                    <a:lnTo>
                      <a:pt x="289" y="199"/>
                    </a:lnTo>
                    <a:lnTo>
                      <a:pt x="294" y="203"/>
                    </a:lnTo>
                    <a:lnTo>
                      <a:pt x="298" y="203"/>
                    </a:lnTo>
                    <a:lnTo>
                      <a:pt x="303" y="208"/>
                    </a:lnTo>
                    <a:lnTo>
                      <a:pt x="303" y="208"/>
                    </a:lnTo>
                    <a:lnTo>
                      <a:pt x="298" y="208"/>
                    </a:lnTo>
                    <a:lnTo>
                      <a:pt x="298" y="212"/>
                    </a:lnTo>
                    <a:lnTo>
                      <a:pt x="289" y="212"/>
                    </a:lnTo>
                    <a:lnTo>
                      <a:pt x="289" y="212"/>
                    </a:lnTo>
                    <a:lnTo>
                      <a:pt x="285" y="217"/>
                    </a:lnTo>
                    <a:lnTo>
                      <a:pt x="285" y="217"/>
                    </a:lnTo>
                    <a:lnTo>
                      <a:pt x="285" y="222"/>
                    </a:lnTo>
                    <a:lnTo>
                      <a:pt x="289" y="222"/>
                    </a:lnTo>
                    <a:lnTo>
                      <a:pt x="294" y="222"/>
                    </a:lnTo>
                    <a:lnTo>
                      <a:pt x="298" y="226"/>
                    </a:lnTo>
                    <a:lnTo>
                      <a:pt x="298" y="226"/>
                    </a:lnTo>
                    <a:lnTo>
                      <a:pt x="303" y="231"/>
                    </a:lnTo>
                    <a:lnTo>
                      <a:pt x="303" y="231"/>
                    </a:lnTo>
                    <a:lnTo>
                      <a:pt x="307" y="231"/>
                    </a:lnTo>
                    <a:lnTo>
                      <a:pt x="307" y="231"/>
                    </a:lnTo>
                    <a:lnTo>
                      <a:pt x="307" y="231"/>
                    </a:lnTo>
                    <a:lnTo>
                      <a:pt x="307" y="231"/>
                    </a:lnTo>
                    <a:lnTo>
                      <a:pt x="312" y="231"/>
                    </a:lnTo>
                    <a:lnTo>
                      <a:pt x="321" y="226"/>
                    </a:lnTo>
                    <a:lnTo>
                      <a:pt x="321" y="226"/>
                    </a:lnTo>
                    <a:lnTo>
                      <a:pt x="321" y="226"/>
                    </a:lnTo>
                    <a:lnTo>
                      <a:pt x="321" y="222"/>
                    </a:lnTo>
                    <a:lnTo>
                      <a:pt x="321" y="217"/>
                    </a:lnTo>
                    <a:lnTo>
                      <a:pt x="321" y="217"/>
                    </a:lnTo>
                    <a:lnTo>
                      <a:pt x="321" y="217"/>
                    </a:lnTo>
                    <a:lnTo>
                      <a:pt x="321" y="212"/>
                    </a:lnTo>
                    <a:lnTo>
                      <a:pt x="325" y="212"/>
                    </a:lnTo>
                    <a:lnTo>
                      <a:pt x="330" y="212"/>
                    </a:lnTo>
                    <a:lnTo>
                      <a:pt x="330" y="212"/>
                    </a:lnTo>
                    <a:lnTo>
                      <a:pt x="330" y="212"/>
                    </a:lnTo>
                    <a:lnTo>
                      <a:pt x="330" y="208"/>
                    </a:lnTo>
                    <a:lnTo>
                      <a:pt x="325" y="208"/>
                    </a:lnTo>
                    <a:lnTo>
                      <a:pt x="325" y="208"/>
                    </a:lnTo>
                    <a:lnTo>
                      <a:pt x="330" y="208"/>
                    </a:lnTo>
                    <a:lnTo>
                      <a:pt x="330" y="208"/>
                    </a:lnTo>
                    <a:lnTo>
                      <a:pt x="334" y="208"/>
                    </a:lnTo>
                    <a:lnTo>
                      <a:pt x="339" y="203"/>
                    </a:lnTo>
                    <a:lnTo>
                      <a:pt x="344" y="203"/>
                    </a:lnTo>
                    <a:lnTo>
                      <a:pt x="344" y="203"/>
                    </a:lnTo>
                    <a:lnTo>
                      <a:pt x="348" y="199"/>
                    </a:lnTo>
                    <a:lnTo>
                      <a:pt x="348" y="199"/>
                    </a:lnTo>
                    <a:lnTo>
                      <a:pt x="353" y="199"/>
                    </a:lnTo>
                    <a:lnTo>
                      <a:pt x="353" y="199"/>
                    </a:lnTo>
                    <a:lnTo>
                      <a:pt x="357" y="194"/>
                    </a:lnTo>
                    <a:lnTo>
                      <a:pt x="362" y="194"/>
                    </a:lnTo>
                    <a:lnTo>
                      <a:pt x="362" y="194"/>
                    </a:lnTo>
                    <a:lnTo>
                      <a:pt x="362" y="194"/>
                    </a:lnTo>
                    <a:lnTo>
                      <a:pt x="366" y="194"/>
                    </a:lnTo>
                    <a:lnTo>
                      <a:pt x="366" y="199"/>
                    </a:lnTo>
                    <a:lnTo>
                      <a:pt x="366" y="199"/>
                    </a:lnTo>
                    <a:lnTo>
                      <a:pt x="366" y="199"/>
                    </a:lnTo>
                    <a:lnTo>
                      <a:pt x="366" y="199"/>
                    </a:lnTo>
                    <a:lnTo>
                      <a:pt x="366" y="199"/>
                    </a:lnTo>
                    <a:lnTo>
                      <a:pt x="366" y="199"/>
                    </a:lnTo>
                    <a:lnTo>
                      <a:pt x="371" y="199"/>
                    </a:lnTo>
                    <a:lnTo>
                      <a:pt x="371" y="194"/>
                    </a:lnTo>
                    <a:lnTo>
                      <a:pt x="371" y="194"/>
                    </a:lnTo>
                    <a:lnTo>
                      <a:pt x="366" y="194"/>
                    </a:lnTo>
                    <a:lnTo>
                      <a:pt x="366" y="194"/>
                    </a:lnTo>
                    <a:lnTo>
                      <a:pt x="366" y="194"/>
                    </a:lnTo>
                    <a:lnTo>
                      <a:pt x="366" y="190"/>
                    </a:lnTo>
                    <a:lnTo>
                      <a:pt x="375" y="185"/>
                    </a:lnTo>
                    <a:lnTo>
                      <a:pt x="380" y="185"/>
                    </a:lnTo>
                    <a:lnTo>
                      <a:pt x="384" y="185"/>
                    </a:lnTo>
                    <a:lnTo>
                      <a:pt x="384" y="185"/>
                    </a:lnTo>
                    <a:lnTo>
                      <a:pt x="384" y="185"/>
                    </a:lnTo>
                    <a:lnTo>
                      <a:pt x="380" y="185"/>
                    </a:lnTo>
                    <a:lnTo>
                      <a:pt x="380" y="185"/>
                    </a:lnTo>
                    <a:lnTo>
                      <a:pt x="380" y="190"/>
                    </a:lnTo>
                    <a:lnTo>
                      <a:pt x="380" y="190"/>
                    </a:lnTo>
                    <a:lnTo>
                      <a:pt x="380" y="190"/>
                    </a:lnTo>
                    <a:lnTo>
                      <a:pt x="380" y="190"/>
                    </a:lnTo>
                    <a:lnTo>
                      <a:pt x="380" y="190"/>
                    </a:lnTo>
                    <a:lnTo>
                      <a:pt x="380" y="190"/>
                    </a:lnTo>
                    <a:lnTo>
                      <a:pt x="380" y="194"/>
                    </a:lnTo>
                    <a:lnTo>
                      <a:pt x="384" y="194"/>
                    </a:lnTo>
                    <a:lnTo>
                      <a:pt x="384" y="194"/>
                    </a:lnTo>
                    <a:lnTo>
                      <a:pt x="384" y="199"/>
                    </a:lnTo>
                    <a:lnTo>
                      <a:pt x="380" y="199"/>
                    </a:lnTo>
                    <a:lnTo>
                      <a:pt x="380" y="199"/>
                    </a:lnTo>
                    <a:lnTo>
                      <a:pt x="380" y="199"/>
                    </a:lnTo>
                    <a:lnTo>
                      <a:pt x="380" y="199"/>
                    </a:lnTo>
                    <a:lnTo>
                      <a:pt x="380" y="199"/>
                    </a:lnTo>
                    <a:lnTo>
                      <a:pt x="380" y="199"/>
                    </a:lnTo>
                    <a:lnTo>
                      <a:pt x="380" y="199"/>
                    </a:lnTo>
                    <a:lnTo>
                      <a:pt x="384" y="199"/>
                    </a:lnTo>
                    <a:lnTo>
                      <a:pt x="384" y="199"/>
                    </a:lnTo>
                    <a:lnTo>
                      <a:pt x="389" y="199"/>
                    </a:lnTo>
                    <a:lnTo>
                      <a:pt x="389" y="199"/>
                    </a:lnTo>
                    <a:lnTo>
                      <a:pt x="389" y="199"/>
                    </a:lnTo>
                    <a:lnTo>
                      <a:pt x="393" y="199"/>
                    </a:lnTo>
                    <a:lnTo>
                      <a:pt x="393" y="199"/>
                    </a:lnTo>
                    <a:lnTo>
                      <a:pt x="393" y="199"/>
                    </a:lnTo>
                    <a:lnTo>
                      <a:pt x="398" y="199"/>
                    </a:lnTo>
                    <a:lnTo>
                      <a:pt x="398" y="199"/>
                    </a:lnTo>
                    <a:lnTo>
                      <a:pt x="398" y="194"/>
                    </a:lnTo>
                    <a:lnTo>
                      <a:pt x="402" y="194"/>
                    </a:lnTo>
                    <a:lnTo>
                      <a:pt x="402" y="194"/>
                    </a:lnTo>
                    <a:lnTo>
                      <a:pt x="407" y="190"/>
                    </a:lnTo>
                    <a:lnTo>
                      <a:pt x="407" y="190"/>
                    </a:lnTo>
                    <a:lnTo>
                      <a:pt x="411" y="190"/>
                    </a:lnTo>
                    <a:lnTo>
                      <a:pt x="416" y="190"/>
                    </a:lnTo>
                    <a:lnTo>
                      <a:pt x="416" y="194"/>
                    </a:lnTo>
                    <a:lnTo>
                      <a:pt x="420" y="194"/>
                    </a:lnTo>
                    <a:lnTo>
                      <a:pt x="425" y="190"/>
                    </a:lnTo>
                    <a:lnTo>
                      <a:pt x="429" y="185"/>
                    </a:lnTo>
                    <a:lnTo>
                      <a:pt x="429" y="185"/>
                    </a:lnTo>
                    <a:lnTo>
                      <a:pt x="429" y="185"/>
                    </a:lnTo>
                    <a:lnTo>
                      <a:pt x="438" y="185"/>
                    </a:lnTo>
                    <a:lnTo>
                      <a:pt x="438" y="185"/>
                    </a:lnTo>
                    <a:lnTo>
                      <a:pt x="438" y="185"/>
                    </a:lnTo>
                    <a:lnTo>
                      <a:pt x="438" y="185"/>
                    </a:lnTo>
                    <a:lnTo>
                      <a:pt x="443" y="185"/>
                    </a:lnTo>
                    <a:lnTo>
                      <a:pt x="443" y="190"/>
                    </a:lnTo>
                    <a:lnTo>
                      <a:pt x="443" y="190"/>
                    </a:lnTo>
                    <a:lnTo>
                      <a:pt x="443" y="190"/>
                    </a:lnTo>
                    <a:lnTo>
                      <a:pt x="443" y="190"/>
                    </a:lnTo>
                    <a:lnTo>
                      <a:pt x="443" y="194"/>
                    </a:lnTo>
                    <a:lnTo>
                      <a:pt x="447" y="194"/>
                    </a:lnTo>
                    <a:lnTo>
                      <a:pt x="452" y="194"/>
                    </a:lnTo>
                    <a:lnTo>
                      <a:pt x="452" y="194"/>
                    </a:lnTo>
                    <a:lnTo>
                      <a:pt x="452" y="194"/>
                    </a:lnTo>
                    <a:lnTo>
                      <a:pt x="452" y="194"/>
                    </a:lnTo>
                    <a:lnTo>
                      <a:pt x="452" y="194"/>
                    </a:lnTo>
                    <a:lnTo>
                      <a:pt x="452" y="194"/>
                    </a:lnTo>
                    <a:lnTo>
                      <a:pt x="452" y="194"/>
                    </a:lnTo>
                    <a:lnTo>
                      <a:pt x="452" y="190"/>
                    </a:lnTo>
                    <a:lnTo>
                      <a:pt x="452" y="190"/>
                    </a:lnTo>
                    <a:lnTo>
                      <a:pt x="452" y="190"/>
                    </a:lnTo>
                    <a:lnTo>
                      <a:pt x="456" y="190"/>
                    </a:lnTo>
                    <a:lnTo>
                      <a:pt x="461" y="185"/>
                    </a:lnTo>
                    <a:lnTo>
                      <a:pt x="461" y="185"/>
                    </a:lnTo>
                    <a:lnTo>
                      <a:pt x="461" y="181"/>
                    </a:lnTo>
                    <a:lnTo>
                      <a:pt x="456" y="181"/>
                    </a:lnTo>
                    <a:lnTo>
                      <a:pt x="456" y="181"/>
                    </a:lnTo>
                    <a:lnTo>
                      <a:pt x="447" y="176"/>
                    </a:lnTo>
                    <a:lnTo>
                      <a:pt x="447" y="172"/>
                    </a:lnTo>
                    <a:lnTo>
                      <a:pt x="447" y="172"/>
                    </a:lnTo>
                    <a:lnTo>
                      <a:pt x="447" y="172"/>
                    </a:lnTo>
                    <a:lnTo>
                      <a:pt x="452" y="167"/>
                    </a:lnTo>
                    <a:lnTo>
                      <a:pt x="452" y="167"/>
                    </a:lnTo>
                    <a:lnTo>
                      <a:pt x="452" y="167"/>
                    </a:lnTo>
                    <a:lnTo>
                      <a:pt x="461" y="167"/>
                    </a:lnTo>
                    <a:lnTo>
                      <a:pt x="475" y="167"/>
                    </a:lnTo>
                    <a:lnTo>
                      <a:pt x="484" y="167"/>
                    </a:lnTo>
                    <a:lnTo>
                      <a:pt x="493" y="172"/>
                    </a:lnTo>
                    <a:lnTo>
                      <a:pt x="497" y="172"/>
                    </a:lnTo>
                    <a:lnTo>
                      <a:pt x="502" y="176"/>
                    </a:lnTo>
                    <a:lnTo>
                      <a:pt x="502" y="176"/>
                    </a:lnTo>
                    <a:lnTo>
                      <a:pt x="506" y="176"/>
                    </a:lnTo>
                    <a:lnTo>
                      <a:pt x="511" y="176"/>
                    </a:lnTo>
                    <a:lnTo>
                      <a:pt x="511" y="176"/>
                    </a:lnTo>
                    <a:lnTo>
                      <a:pt x="515" y="176"/>
                    </a:lnTo>
                    <a:lnTo>
                      <a:pt x="515" y="181"/>
                    </a:lnTo>
                    <a:lnTo>
                      <a:pt x="520" y="181"/>
                    </a:lnTo>
                    <a:lnTo>
                      <a:pt x="524" y="181"/>
                    </a:lnTo>
                    <a:lnTo>
                      <a:pt x="529" y="181"/>
                    </a:lnTo>
                    <a:lnTo>
                      <a:pt x="533" y="181"/>
                    </a:lnTo>
                    <a:lnTo>
                      <a:pt x="533" y="185"/>
                    </a:lnTo>
                    <a:lnTo>
                      <a:pt x="542" y="185"/>
                    </a:lnTo>
                    <a:lnTo>
                      <a:pt x="542" y="190"/>
                    </a:lnTo>
                    <a:lnTo>
                      <a:pt x="551" y="190"/>
                    </a:lnTo>
                    <a:lnTo>
                      <a:pt x="551" y="190"/>
                    </a:lnTo>
                    <a:lnTo>
                      <a:pt x="556" y="190"/>
                    </a:lnTo>
                    <a:lnTo>
                      <a:pt x="556" y="185"/>
                    </a:lnTo>
                    <a:lnTo>
                      <a:pt x="556" y="181"/>
                    </a:lnTo>
                    <a:lnTo>
                      <a:pt x="556" y="181"/>
                    </a:lnTo>
                    <a:lnTo>
                      <a:pt x="551" y="181"/>
                    </a:lnTo>
                    <a:lnTo>
                      <a:pt x="551" y="181"/>
                    </a:lnTo>
                    <a:lnTo>
                      <a:pt x="551" y="181"/>
                    </a:lnTo>
                    <a:lnTo>
                      <a:pt x="547" y="181"/>
                    </a:lnTo>
                    <a:lnTo>
                      <a:pt x="547" y="176"/>
                    </a:lnTo>
                    <a:lnTo>
                      <a:pt x="542" y="176"/>
                    </a:lnTo>
                    <a:lnTo>
                      <a:pt x="538" y="172"/>
                    </a:lnTo>
                    <a:lnTo>
                      <a:pt x="538" y="172"/>
                    </a:lnTo>
                    <a:lnTo>
                      <a:pt x="533" y="172"/>
                    </a:lnTo>
                    <a:lnTo>
                      <a:pt x="529" y="167"/>
                    </a:lnTo>
                    <a:lnTo>
                      <a:pt x="524" y="167"/>
                    </a:lnTo>
                    <a:lnTo>
                      <a:pt x="524" y="167"/>
                    </a:lnTo>
                    <a:lnTo>
                      <a:pt x="524" y="167"/>
                    </a:lnTo>
                    <a:lnTo>
                      <a:pt x="524" y="172"/>
                    </a:lnTo>
                    <a:lnTo>
                      <a:pt x="520" y="167"/>
                    </a:lnTo>
                    <a:lnTo>
                      <a:pt x="520" y="167"/>
                    </a:lnTo>
                    <a:lnTo>
                      <a:pt x="520" y="167"/>
                    </a:lnTo>
                    <a:lnTo>
                      <a:pt x="520" y="163"/>
                    </a:lnTo>
                    <a:lnTo>
                      <a:pt x="520" y="163"/>
                    </a:lnTo>
                    <a:lnTo>
                      <a:pt x="520" y="163"/>
                    </a:lnTo>
                    <a:lnTo>
                      <a:pt x="520" y="163"/>
                    </a:lnTo>
                    <a:lnTo>
                      <a:pt x="520" y="158"/>
                    </a:lnTo>
                    <a:lnTo>
                      <a:pt x="520" y="158"/>
                    </a:lnTo>
                    <a:lnTo>
                      <a:pt x="520" y="158"/>
                    </a:lnTo>
                    <a:lnTo>
                      <a:pt x="520" y="154"/>
                    </a:lnTo>
                    <a:lnTo>
                      <a:pt x="515" y="154"/>
                    </a:lnTo>
                    <a:lnTo>
                      <a:pt x="515" y="149"/>
                    </a:lnTo>
                    <a:lnTo>
                      <a:pt x="511" y="145"/>
                    </a:lnTo>
                    <a:lnTo>
                      <a:pt x="511" y="145"/>
                    </a:lnTo>
                    <a:lnTo>
                      <a:pt x="511" y="145"/>
                    </a:lnTo>
                    <a:lnTo>
                      <a:pt x="506" y="145"/>
                    </a:lnTo>
                    <a:lnTo>
                      <a:pt x="506" y="145"/>
                    </a:lnTo>
                    <a:lnTo>
                      <a:pt x="506" y="145"/>
                    </a:lnTo>
                    <a:lnTo>
                      <a:pt x="506" y="145"/>
                    </a:lnTo>
                    <a:lnTo>
                      <a:pt x="506" y="140"/>
                    </a:lnTo>
                    <a:lnTo>
                      <a:pt x="506" y="140"/>
                    </a:lnTo>
                    <a:lnTo>
                      <a:pt x="502" y="140"/>
                    </a:lnTo>
                    <a:lnTo>
                      <a:pt x="506" y="140"/>
                    </a:lnTo>
                    <a:lnTo>
                      <a:pt x="506" y="136"/>
                    </a:lnTo>
                    <a:lnTo>
                      <a:pt x="506" y="136"/>
                    </a:lnTo>
                    <a:lnTo>
                      <a:pt x="511" y="136"/>
                    </a:lnTo>
                    <a:lnTo>
                      <a:pt x="511" y="131"/>
                    </a:lnTo>
                    <a:lnTo>
                      <a:pt x="515" y="131"/>
                    </a:lnTo>
                    <a:lnTo>
                      <a:pt x="515" y="127"/>
                    </a:lnTo>
                    <a:lnTo>
                      <a:pt x="515" y="122"/>
                    </a:lnTo>
                    <a:lnTo>
                      <a:pt x="511" y="118"/>
                    </a:lnTo>
                    <a:lnTo>
                      <a:pt x="511" y="113"/>
                    </a:lnTo>
                    <a:lnTo>
                      <a:pt x="511" y="104"/>
                    </a:lnTo>
                    <a:lnTo>
                      <a:pt x="515" y="104"/>
                    </a:lnTo>
                    <a:lnTo>
                      <a:pt x="515" y="104"/>
                    </a:lnTo>
                    <a:lnTo>
                      <a:pt x="515" y="104"/>
                    </a:lnTo>
                    <a:lnTo>
                      <a:pt x="515" y="104"/>
                    </a:lnTo>
                    <a:lnTo>
                      <a:pt x="515" y="108"/>
                    </a:lnTo>
                    <a:lnTo>
                      <a:pt x="515" y="108"/>
                    </a:lnTo>
                    <a:lnTo>
                      <a:pt x="520" y="108"/>
                    </a:lnTo>
                    <a:lnTo>
                      <a:pt x="520" y="108"/>
                    </a:lnTo>
                    <a:lnTo>
                      <a:pt x="524" y="108"/>
                    </a:lnTo>
                    <a:lnTo>
                      <a:pt x="533" y="104"/>
                    </a:lnTo>
                    <a:lnTo>
                      <a:pt x="538" y="104"/>
                    </a:lnTo>
                    <a:lnTo>
                      <a:pt x="542" y="108"/>
                    </a:lnTo>
                    <a:lnTo>
                      <a:pt x="542" y="108"/>
                    </a:lnTo>
                    <a:lnTo>
                      <a:pt x="547" y="108"/>
                    </a:lnTo>
                    <a:lnTo>
                      <a:pt x="547" y="108"/>
                    </a:lnTo>
                    <a:lnTo>
                      <a:pt x="551" y="108"/>
                    </a:lnTo>
                    <a:lnTo>
                      <a:pt x="556" y="113"/>
                    </a:lnTo>
                    <a:lnTo>
                      <a:pt x="556" y="118"/>
                    </a:lnTo>
                    <a:lnTo>
                      <a:pt x="556" y="122"/>
                    </a:lnTo>
                    <a:lnTo>
                      <a:pt x="556" y="122"/>
                    </a:lnTo>
                    <a:lnTo>
                      <a:pt x="556" y="127"/>
                    </a:lnTo>
                    <a:lnTo>
                      <a:pt x="556" y="127"/>
                    </a:lnTo>
                    <a:lnTo>
                      <a:pt x="556" y="131"/>
                    </a:lnTo>
                    <a:lnTo>
                      <a:pt x="556" y="131"/>
                    </a:lnTo>
                    <a:lnTo>
                      <a:pt x="556" y="131"/>
                    </a:lnTo>
                    <a:lnTo>
                      <a:pt x="556" y="131"/>
                    </a:lnTo>
                    <a:lnTo>
                      <a:pt x="560" y="136"/>
                    </a:lnTo>
                    <a:lnTo>
                      <a:pt x="569" y="136"/>
                    </a:lnTo>
                    <a:lnTo>
                      <a:pt x="569" y="140"/>
                    </a:lnTo>
                    <a:lnTo>
                      <a:pt x="574" y="145"/>
                    </a:lnTo>
                    <a:lnTo>
                      <a:pt x="578" y="149"/>
                    </a:lnTo>
                    <a:lnTo>
                      <a:pt x="578" y="149"/>
                    </a:lnTo>
                    <a:lnTo>
                      <a:pt x="578" y="154"/>
                    </a:lnTo>
                    <a:lnTo>
                      <a:pt x="578" y="154"/>
                    </a:lnTo>
                    <a:lnTo>
                      <a:pt x="578" y="154"/>
                    </a:lnTo>
                    <a:lnTo>
                      <a:pt x="583" y="163"/>
                    </a:lnTo>
                    <a:lnTo>
                      <a:pt x="587" y="167"/>
                    </a:lnTo>
                    <a:lnTo>
                      <a:pt x="587" y="172"/>
                    </a:lnTo>
                    <a:lnTo>
                      <a:pt x="592" y="176"/>
                    </a:lnTo>
                    <a:lnTo>
                      <a:pt x="592" y="176"/>
                    </a:lnTo>
                    <a:lnTo>
                      <a:pt x="592" y="176"/>
                    </a:lnTo>
                    <a:lnTo>
                      <a:pt x="597" y="181"/>
                    </a:lnTo>
                    <a:lnTo>
                      <a:pt x="597" y="181"/>
                    </a:lnTo>
                    <a:lnTo>
                      <a:pt x="606" y="181"/>
                    </a:lnTo>
                    <a:lnTo>
                      <a:pt x="610" y="185"/>
                    </a:lnTo>
                    <a:lnTo>
                      <a:pt x="610" y="185"/>
                    </a:lnTo>
                    <a:lnTo>
                      <a:pt x="610" y="185"/>
                    </a:lnTo>
                    <a:lnTo>
                      <a:pt x="610" y="185"/>
                    </a:lnTo>
                    <a:lnTo>
                      <a:pt x="610" y="190"/>
                    </a:lnTo>
                    <a:lnTo>
                      <a:pt x="610" y="190"/>
                    </a:lnTo>
                    <a:lnTo>
                      <a:pt x="610" y="194"/>
                    </a:lnTo>
                    <a:lnTo>
                      <a:pt x="610" y="194"/>
                    </a:lnTo>
                    <a:lnTo>
                      <a:pt x="615" y="199"/>
                    </a:lnTo>
                    <a:lnTo>
                      <a:pt x="615" y="199"/>
                    </a:lnTo>
                    <a:lnTo>
                      <a:pt x="615" y="199"/>
                    </a:lnTo>
                    <a:lnTo>
                      <a:pt x="610" y="203"/>
                    </a:lnTo>
                    <a:lnTo>
                      <a:pt x="606" y="212"/>
                    </a:lnTo>
                    <a:lnTo>
                      <a:pt x="606" y="217"/>
                    </a:lnTo>
                    <a:lnTo>
                      <a:pt x="601" y="217"/>
                    </a:lnTo>
                    <a:lnTo>
                      <a:pt x="606" y="217"/>
                    </a:lnTo>
                    <a:lnTo>
                      <a:pt x="606" y="217"/>
                    </a:lnTo>
                    <a:lnTo>
                      <a:pt x="606" y="222"/>
                    </a:lnTo>
                    <a:lnTo>
                      <a:pt x="606" y="222"/>
                    </a:lnTo>
                    <a:lnTo>
                      <a:pt x="601" y="222"/>
                    </a:lnTo>
                    <a:lnTo>
                      <a:pt x="601" y="222"/>
                    </a:lnTo>
                    <a:lnTo>
                      <a:pt x="601" y="226"/>
                    </a:lnTo>
                    <a:lnTo>
                      <a:pt x="597" y="222"/>
                    </a:lnTo>
                    <a:lnTo>
                      <a:pt x="597" y="222"/>
                    </a:lnTo>
                    <a:lnTo>
                      <a:pt x="597" y="222"/>
                    </a:lnTo>
                    <a:lnTo>
                      <a:pt x="597" y="222"/>
                    </a:lnTo>
                    <a:lnTo>
                      <a:pt x="597" y="222"/>
                    </a:lnTo>
                    <a:lnTo>
                      <a:pt x="597" y="222"/>
                    </a:lnTo>
                    <a:lnTo>
                      <a:pt x="597" y="222"/>
                    </a:lnTo>
                    <a:lnTo>
                      <a:pt x="597" y="222"/>
                    </a:lnTo>
                    <a:lnTo>
                      <a:pt x="597" y="222"/>
                    </a:lnTo>
                    <a:lnTo>
                      <a:pt x="592" y="222"/>
                    </a:lnTo>
                    <a:lnTo>
                      <a:pt x="587" y="222"/>
                    </a:lnTo>
                    <a:lnTo>
                      <a:pt x="587" y="217"/>
                    </a:lnTo>
                    <a:lnTo>
                      <a:pt x="587" y="217"/>
                    </a:lnTo>
                    <a:lnTo>
                      <a:pt x="583" y="217"/>
                    </a:lnTo>
                    <a:lnTo>
                      <a:pt x="578" y="217"/>
                    </a:lnTo>
                    <a:lnTo>
                      <a:pt x="578" y="222"/>
                    </a:lnTo>
                    <a:lnTo>
                      <a:pt x="578" y="222"/>
                    </a:lnTo>
                    <a:lnTo>
                      <a:pt x="578" y="222"/>
                    </a:lnTo>
                    <a:lnTo>
                      <a:pt x="578" y="222"/>
                    </a:lnTo>
                    <a:lnTo>
                      <a:pt x="578" y="222"/>
                    </a:lnTo>
                    <a:lnTo>
                      <a:pt x="583" y="222"/>
                    </a:lnTo>
                    <a:lnTo>
                      <a:pt x="583" y="226"/>
                    </a:lnTo>
                    <a:lnTo>
                      <a:pt x="587" y="226"/>
                    </a:lnTo>
                    <a:lnTo>
                      <a:pt x="592" y="226"/>
                    </a:lnTo>
                    <a:lnTo>
                      <a:pt x="597" y="226"/>
                    </a:lnTo>
                    <a:lnTo>
                      <a:pt x="606" y="226"/>
                    </a:lnTo>
                    <a:lnTo>
                      <a:pt x="610" y="226"/>
                    </a:lnTo>
                    <a:lnTo>
                      <a:pt x="610" y="226"/>
                    </a:lnTo>
                    <a:lnTo>
                      <a:pt x="615" y="231"/>
                    </a:lnTo>
                    <a:lnTo>
                      <a:pt x="619" y="226"/>
                    </a:lnTo>
                    <a:lnTo>
                      <a:pt x="619" y="226"/>
                    </a:lnTo>
                    <a:lnTo>
                      <a:pt x="619" y="222"/>
                    </a:lnTo>
                    <a:lnTo>
                      <a:pt x="619" y="222"/>
                    </a:lnTo>
                    <a:lnTo>
                      <a:pt x="628" y="217"/>
                    </a:lnTo>
                    <a:lnTo>
                      <a:pt x="628" y="217"/>
                    </a:lnTo>
                    <a:lnTo>
                      <a:pt x="633" y="212"/>
                    </a:lnTo>
                    <a:lnTo>
                      <a:pt x="633" y="212"/>
                    </a:lnTo>
                    <a:lnTo>
                      <a:pt x="628" y="208"/>
                    </a:lnTo>
                    <a:lnTo>
                      <a:pt x="628" y="203"/>
                    </a:lnTo>
                    <a:lnTo>
                      <a:pt x="633" y="199"/>
                    </a:lnTo>
                    <a:lnTo>
                      <a:pt x="633" y="199"/>
                    </a:lnTo>
                    <a:lnTo>
                      <a:pt x="633" y="194"/>
                    </a:lnTo>
                    <a:lnTo>
                      <a:pt x="633" y="194"/>
                    </a:lnTo>
                    <a:lnTo>
                      <a:pt x="628" y="194"/>
                    </a:lnTo>
                    <a:lnTo>
                      <a:pt x="628" y="190"/>
                    </a:lnTo>
                    <a:lnTo>
                      <a:pt x="624" y="190"/>
                    </a:lnTo>
                    <a:lnTo>
                      <a:pt x="619" y="185"/>
                    </a:lnTo>
                    <a:lnTo>
                      <a:pt x="619" y="181"/>
                    </a:lnTo>
                    <a:lnTo>
                      <a:pt x="619" y="181"/>
                    </a:lnTo>
                    <a:lnTo>
                      <a:pt x="624" y="176"/>
                    </a:lnTo>
                    <a:lnTo>
                      <a:pt x="628" y="176"/>
                    </a:lnTo>
                    <a:lnTo>
                      <a:pt x="633" y="176"/>
                    </a:lnTo>
                    <a:lnTo>
                      <a:pt x="637" y="176"/>
                    </a:lnTo>
                    <a:lnTo>
                      <a:pt x="637" y="176"/>
                    </a:lnTo>
                    <a:lnTo>
                      <a:pt x="642" y="176"/>
                    </a:lnTo>
                    <a:lnTo>
                      <a:pt x="642" y="181"/>
                    </a:lnTo>
                    <a:lnTo>
                      <a:pt x="651" y="181"/>
                    </a:lnTo>
                    <a:lnTo>
                      <a:pt x="651" y="185"/>
                    </a:lnTo>
                    <a:lnTo>
                      <a:pt x="655" y="185"/>
                    </a:lnTo>
                    <a:lnTo>
                      <a:pt x="660" y="194"/>
                    </a:lnTo>
                    <a:lnTo>
                      <a:pt x="660" y="199"/>
                    </a:lnTo>
                    <a:lnTo>
                      <a:pt x="664" y="199"/>
                    </a:lnTo>
                    <a:lnTo>
                      <a:pt x="664" y="199"/>
                    </a:lnTo>
                    <a:lnTo>
                      <a:pt x="669" y="199"/>
                    </a:lnTo>
                    <a:lnTo>
                      <a:pt x="669" y="199"/>
                    </a:lnTo>
                    <a:lnTo>
                      <a:pt x="669" y="199"/>
                    </a:lnTo>
                    <a:lnTo>
                      <a:pt x="673" y="199"/>
                    </a:lnTo>
                    <a:lnTo>
                      <a:pt x="678" y="199"/>
                    </a:lnTo>
                    <a:lnTo>
                      <a:pt x="682" y="199"/>
                    </a:lnTo>
                    <a:lnTo>
                      <a:pt x="682" y="199"/>
                    </a:lnTo>
                    <a:lnTo>
                      <a:pt x="682" y="199"/>
                    </a:lnTo>
                    <a:lnTo>
                      <a:pt x="678" y="199"/>
                    </a:lnTo>
                    <a:lnTo>
                      <a:pt x="673" y="199"/>
                    </a:lnTo>
                    <a:lnTo>
                      <a:pt x="664" y="199"/>
                    </a:lnTo>
                    <a:lnTo>
                      <a:pt x="664" y="194"/>
                    </a:lnTo>
                    <a:lnTo>
                      <a:pt x="660" y="194"/>
                    </a:lnTo>
                    <a:lnTo>
                      <a:pt x="660" y="190"/>
                    </a:lnTo>
                    <a:lnTo>
                      <a:pt x="660" y="190"/>
                    </a:lnTo>
                    <a:lnTo>
                      <a:pt x="664" y="190"/>
                    </a:lnTo>
                    <a:lnTo>
                      <a:pt x="664" y="190"/>
                    </a:lnTo>
                    <a:lnTo>
                      <a:pt x="664" y="185"/>
                    </a:lnTo>
                    <a:lnTo>
                      <a:pt x="660" y="185"/>
                    </a:lnTo>
                    <a:lnTo>
                      <a:pt x="655" y="181"/>
                    </a:lnTo>
                    <a:lnTo>
                      <a:pt x="651" y="176"/>
                    </a:lnTo>
                    <a:lnTo>
                      <a:pt x="651" y="176"/>
                    </a:lnTo>
                    <a:lnTo>
                      <a:pt x="646" y="176"/>
                    </a:lnTo>
                    <a:lnTo>
                      <a:pt x="637" y="172"/>
                    </a:lnTo>
                    <a:lnTo>
                      <a:pt x="628" y="172"/>
                    </a:lnTo>
                    <a:lnTo>
                      <a:pt x="624" y="172"/>
                    </a:lnTo>
                    <a:lnTo>
                      <a:pt x="624" y="172"/>
                    </a:lnTo>
                    <a:lnTo>
                      <a:pt x="619" y="172"/>
                    </a:lnTo>
                    <a:lnTo>
                      <a:pt x="619" y="176"/>
                    </a:lnTo>
                    <a:lnTo>
                      <a:pt x="610" y="172"/>
                    </a:lnTo>
                    <a:lnTo>
                      <a:pt x="610" y="176"/>
                    </a:lnTo>
                    <a:lnTo>
                      <a:pt x="606" y="172"/>
                    </a:lnTo>
                    <a:lnTo>
                      <a:pt x="606" y="172"/>
                    </a:lnTo>
                    <a:lnTo>
                      <a:pt x="606" y="167"/>
                    </a:lnTo>
                    <a:lnTo>
                      <a:pt x="601" y="167"/>
                    </a:lnTo>
                    <a:lnTo>
                      <a:pt x="597" y="167"/>
                    </a:lnTo>
                    <a:lnTo>
                      <a:pt x="597" y="163"/>
                    </a:lnTo>
                    <a:lnTo>
                      <a:pt x="597" y="163"/>
                    </a:lnTo>
                    <a:lnTo>
                      <a:pt x="592" y="154"/>
                    </a:lnTo>
                    <a:lnTo>
                      <a:pt x="592" y="154"/>
                    </a:lnTo>
                    <a:lnTo>
                      <a:pt x="597" y="149"/>
                    </a:lnTo>
                    <a:lnTo>
                      <a:pt x="597" y="149"/>
                    </a:lnTo>
                    <a:lnTo>
                      <a:pt x="592" y="145"/>
                    </a:lnTo>
                    <a:lnTo>
                      <a:pt x="583" y="140"/>
                    </a:lnTo>
                    <a:lnTo>
                      <a:pt x="578" y="136"/>
                    </a:lnTo>
                    <a:lnTo>
                      <a:pt x="578" y="136"/>
                    </a:lnTo>
                    <a:lnTo>
                      <a:pt x="574" y="136"/>
                    </a:lnTo>
                    <a:lnTo>
                      <a:pt x="569" y="131"/>
                    </a:lnTo>
                    <a:lnTo>
                      <a:pt x="569" y="131"/>
                    </a:lnTo>
                    <a:lnTo>
                      <a:pt x="569" y="122"/>
                    </a:lnTo>
                    <a:lnTo>
                      <a:pt x="574" y="122"/>
                    </a:lnTo>
                    <a:lnTo>
                      <a:pt x="578" y="122"/>
                    </a:lnTo>
                    <a:lnTo>
                      <a:pt x="578" y="122"/>
                    </a:lnTo>
                    <a:lnTo>
                      <a:pt x="578" y="118"/>
                    </a:lnTo>
                    <a:lnTo>
                      <a:pt x="583" y="118"/>
                    </a:lnTo>
                    <a:lnTo>
                      <a:pt x="583" y="118"/>
                    </a:lnTo>
                    <a:lnTo>
                      <a:pt x="583" y="118"/>
                    </a:lnTo>
                    <a:lnTo>
                      <a:pt x="578" y="113"/>
                    </a:lnTo>
                    <a:lnTo>
                      <a:pt x="578" y="108"/>
                    </a:lnTo>
                    <a:lnTo>
                      <a:pt x="574" y="108"/>
                    </a:lnTo>
                    <a:lnTo>
                      <a:pt x="574" y="108"/>
                    </a:lnTo>
                    <a:lnTo>
                      <a:pt x="569" y="104"/>
                    </a:lnTo>
                    <a:lnTo>
                      <a:pt x="569" y="104"/>
                    </a:lnTo>
                    <a:lnTo>
                      <a:pt x="574" y="104"/>
                    </a:lnTo>
                    <a:lnTo>
                      <a:pt x="574" y="104"/>
                    </a:lnTo>
                    <a:lnTo>
                      <a:pt x="578" y="104"/>
                    </a:lnTo>
                    <a:lnTo>
                      <a:pt x="578" y="108"/>
                    </a:lnTo>
                    <a:lnTo>
                      <a:pt x="583" y="108"/>
                    </a:lnTo>
                    <a:lnTo>
                      <a:pt x="583" y="113"/>
                    </a:lnTo>
                    <a:lnTo>
                      <a:pt x="583" y="113"/>
                    </a:lnTo>
                    <a:lnTo>
                      <a:pt x="587" y="113"/>
                    </a:lnTo>
                    <a:lnTo>
                      <a:pt x="587" y="113"/>
                    </a:lnTo>
                    <a:lnTo>
                      <a:pt x="587" y="113"/>
                    </a:lnTo>
                    <a:lnTo>
                      <a:pt x="587" y="118"/>
                    </a:lnTo>
                    <a:lnTo>
                      <a:pt x="587" y="118"/>
                    </a:lnTo>
                    <a:lnTo>
                      <a:pt x="587" y="118"/>
                    </a:lnTo>
                    <a:lnTo>
                      <a:pt x="587" y="122"/>
                    </a:lnTo>
                    <a:lnTo>
                      <a:pt x="587" y="122"/>
                    </a:lnTo>
                    <a:lnTo>
                      <a:pt x="587" y="122"/>
                    </a:lnTo>
                    <a:lnTo>
                      <a:pt x="592" y="127"/>
                    </a:lnTo>
                    <a:lnTo>
                      <a:pt x="597" y="131"/>
                    </a:lnTo>
                    <a:lnTo>
                      <a:pt x="597" y="131"/>
                    </a:lnTo>
                    <a:lnTo>
                      <a:pt x="592" y="131"/>
                    </a:lnTo>
                    <a:lnTo>
                      <a:pt x="597" y="131"/>
                    </a:lnTo>
                    <a:lnTo>
                      <a:pt x="597" y="131"/>
                    </a:lnTo>
                    <a:lnTo>
                      <a:pt x="601" y="136"/>
                    </a:lnTo>
                    <a:lnTo>
                      <a:pt x="606" y="136"/>
                    </a:lnTo>
                    <a:lnTo>
                      <a:pt x="615" y="136"/>
                    </a:lnTo>
                    <a:lnTo>
                      <a:pt x="615" y="136"/>
                    </a:lnTo>
                    <a:lnTo>
                      <a:pt x="615" y="136"/>
                    </a:lnTo>
                    <a:lnTo>
                      <a:pt x="624" y="136"/>
                    </a:lnTo>
                    <a:lnTo>
                      <a:pt x="628" y="136"/>
                    </a:lnTo>
                    <a:lnTo>
                      <a:pt x="633" y="140"/>
                    </a:lnTo>
                    <a:lnTo>
                      <a:pt x="637" y="140"/>
                    </a:lnTo>
                    <a:lnTo>
                      <a:pt x="642" y="140"/>
                    </a:lnTo>
                    <a:lnTo>
                      <a:pt x="642" y="136"/>
                    </a:lnTo>
                    <a:lnTo>
                      <a:pt x="642" y="136"/>
                    </a:lnTo>
                    <a:lnTo>
                      <a:pt x="637" y="136"/>
                    </a:lnTo>
                    <a:lnTo>
                      <a:pt x="637" y="136"/>
                    </a:lnTo>
                    <a:lnTo>
                      <a:pt x="637" y="136"/>
                    </a:lnTo>
                    <a:lnTo>
                      <a:pt x="637" y="136"/>
                    </a:lnTo>
                    <a:lnTo>
                      <a:pt x="633" y="136"/>
                    </a:lnTo>
                    <a:lnTo>
                      <a:pt x="633" y="136"/>
                    </a:lnTo>
                    <a:lnTo>
                      <a:pt x="628" y="131"/>
                    </a:lnTo>
                    <a:lnTo>
                      <a:pt x="624" y="131"/>
                    </a:lnTo>
                    <a:lnTo>
                      <a:pt x="624" y="131"/>
                    </a:lnTo>
                    <a:lnTo>
                      <a:pt x="619" y="131"/>
                    </a:lnTo>
                    <a:lnTo>
                      <a:pt x="615" y="131"/>
                    </a:lnTo>
                    <a:lnTo>
                      <a:pt x="610" y="131"/>
                    </a:lnTo>
                    <a:lnTo>
                      <a:pt x="606" y="127"/>
                    </a:lnTo>
                    <a:lnTo>
                      <a:pt x="601" y="127"/>
                    </a:lnTo>
                    <a:lnTo>
                      <a:pt x="601" y="127"/>
                    </a:lnTo>
                    <a:lnTo>
                      <a:pt x="597" y="122"/>
                    </a:lnTo>
                    <a:lnTo>
                      <a:pt x="597" y="122"/>
                    </a:lnTo>
                    <a:lnTo>
                      <a:pt x="597" y="122"/>
                    </a:lnTo>
                    <a:lnTo>
                      <a:pt x="601" y="122"/>
                    </a:lnTo>
                    <a:lnTo>
                      <a:pt x="606" y="118"/>
                    </a:lnTo>
                    <a:lnTo>
                      <a:pt x="606" y="118"/>
                    </a:lnTo>
                    <a:lnTo>
                      <a:pt x="615" y="122"/>
                    </a:lnTo>
                    <a:lnTo>
                      <a:pt x="615" y="122"/>
                    </a:lnTo>
                    <a:lnTo>
                      <a:pt x="619" y="122"/>
                    </a:lnTo>
                    <a:lnTo>
                      <a:pt x="619" y="122"/>
                    </a:lnTo>
                    <a:lnTo>
                      <a:pt x="615" y="118"/>
                    </a:lnTo>
                    <a:lnTo>
                      <a:pt x="615" y="118"/>
                    </a:lnTo>
                    <a:lnTo>
                      <a:pt x="610" y="118"/>
                    </a:lnTo>
                    <a:lnTo>
                      <a:pt x="610" y="118"/>
                    </a:lnTo>
                    <a:lnTo>
                      <a:pt x="610" y="118"/>
                    </a:lnTo>
                    <a:lnTo>
                      <a:pt x="610" y="118"/>
                    </a:lnTo>
                    <a:lnTo>
                      <a:pt x="606" y="118"/>
                    </a:lnTo>
                    <a:lnTo>
                      <a:pt x="610" y="118"/>
                    </a:lnTo>
                    <a:lnTo>
                      <a:pt x="610" y="113"/>
                    </a:lnTo>
                    <a:lnTo>
                      <a:pt x="610" y="113"/>
                    </a:lnTo>
                    <a:lnTo>
                      <a:pt x="615" y="113"/>
                    </a:lnTo>
                    <a:lnTo>
                      <a:pt x="615" y="113"/>
                    </a:lnTo>
                    <a:lnTo>
                      <a:pt x="628" y="113"/>
                    </a:lnTo>
                    <a:lnTo>
                      <a:pt x="633" y="113"/>
                    </a:lnTo>
                    <a:lnTo>
                      <a:pt x="642" y="113"/>
                    </a:lnTo>
                    <a:lnTo>
                      <a:pt x="642" y="118"/>
                    </a:lnTo>
                    <a:lnTo>
                      <a:pt x="646" y="118"/>
                    </a:lnTo>
                    <a:lnTo>
                      <a:pt x="646" y="118"/>
                    </a:lnTo>
                    <a:lnTo>
                      <a:pt x="646" y="118"/>
                    </a:lnTo>
                    <a:lnTo>
                      <a:pt x="655" y="122"/>
                    </a:lnTo>
                    <a:lnTo>
                      <a:pt x="660" y="122"/>
                    </a:lnTo>
                    <a:lnTo>
                      <a:pt x="664" y="122"/>
                    </a:lnTo>
                    <a:lnTo>
                      <a:pt x="669" y="122"/>
                    </a:lnTo>
                    <a:lnTo>
                      <a:pt x="669" y="122"/>
                    </a:lnTo>
                    <a:lnTo>
                      <a:pt x="673" y="122"/>
                    </a:lnTo>
                    <a:lnTo>
                      <a:pt x="673" y="122"/>
                    </a:lnTo>
                    <a:lnTo>
                      <a:pt x="678" y="122"/>
                    </a:lnTo>
                    <a:lnTo>
                      <a:pt x="678" y="122"/>
                    </a:lnTo>
                    <a:lnTo>
                      <a:pt x="678" y="122"/>
                    </a:lnTo>
                    <a:lnTo>
                      <a:pt x="678" y="127"/>
                    </a:lnTo>
                    <a:lnTo>
                      <a:pt x="678" y="127"/>
                    </a:lnTo>
                    <a:lnTo>
                      <a:pt x="673" y="131"/>
                    </a:lnTo>
                    <a:lnTo>
                      <a:pt x="673" y="131"/>
                    </a:lnTo>
                    <a:lnTo>
                      <a:pt x="673" y="131"/>
                    </a:lnTo>
                    <a:lnTo>
                      <a:pt x="673" y="136"/>
                    </a:lnTo>
                    <a:lnTo>
                      <a:pt x="673" y="136"/>
                    </a:lnTo>
                    <a:lnTo>
                      <a:pt x="678" y="136"/>
                    </a:lnTo>
                    <a:lnTo>
                      <a:pt x="678" y="140"/>
                    </a:lnTo>
                    <a:lnTo>
                      <a:pt x="678" y="140"/>
                    </a:lnTo>
                    <a:lnTo>
                      <a:pt x="682" y="140"/>
                    </a:lnTo>
                    <a:lnTo>
                      <a:pt x="682" y="145"/>
                    </a:lnTo>
                    <a:lnTo>
                      <a:pt x="682" y="145"/>
                    </a:lnTo>
                    <a:lnTo>
                      <a:pt x="682" y="145"/>
                    </a:lnTo>
                    <a:lnTo>
                      <a:pt x="682" y="145"/>
                    </a:lnTo>
                    <a:lnTo>
                      <a:pt x="682" y="145"/>
                    </a:lnTo>
                    <a:lnTo>
                      <a:pt x="682" y="140"/>
                    </a:lnTo>
                    <a:lnTo>
                      <a:pt x="682" y="136"/>
                    </a:lnTo>
                    <a:lnTo>
                      <a:pt x="682" y="136"/>
                    </a:lnTo>
                    <a:lnTo>
                      <a:pt x="682" y="136"/>
                    </a:lnTo>
                    <a:lnTo>
                      <a:pt x="687" y="136"/>
                    </a:lnTo>
                    <a:lnTo>
                      <a:pt x="687" y="136"/>
                    </a:lnTo>
                    <a:lnTo>
                      <a:pt x="687" y="140"/>
                    </a:lnTo>
                    <a:lnTo>
                      <a:pt x="691" y="140"/>
                    </a:lnTo>
                    <a:lnTo>
                      <a:pt x="691" y="145"/>
                    </a:lnTo>
                    <a:lnTo>
                      <a:pt x="691" y="149"/>
                    </a:lnTo>
                    <a:lnTo>
                      <a:pt x="691" y="149"/>
                    </a:lnTo>
                    <a:lnTo>
                      <a:pt x="691" y="149"/>
                    </a:lnTo>
                    <a:lnTo>
                      <a:pt x="696" y="149"/>
                    </a:lnTo>
                    <a:lnTo>
                      <a:pt x="696" y="149"/>
                    </a:lnTo>
                    <a:lnTo>
                      <a:pt x="696" y="149"/>
                    </a:lnTo>
                    <a:lnTo>
                      <a:pt x="696" y="149"/>
                    </a:lnTo>
                    <a:lnTo>
                      <a:pt x="696" y="149"/>
                    </a:lnTo>
                    <a:lnTo>
                      <a:pt x="696" y="149"/>
                    </a:lnTo>
                    <a:lnTo>
                      <a:pt x="696" y="149"/>
                    </a:lnTo>
                    <a:lnTo>
                      <a:pt x="696" y="145"/>
                    </a:lnTo>
                    <a:lnTo>
                      <a:pt x="700" y="145"/>
                    </a:lnTo>
                    <a:lnTo>
                      <a:pt x="700" y="145"/>
                    </a:lnTo>
                    <a:lnTo>
                      <a:pt x="700" y="145"/>
                    </a:lnTo>
                    <a:lnTo>
                      <a:pt x="696" y="140"/>
                    </a:lnTo>
                    <a:lnTo>
                      <a:pt x="696" y="140"/>
                    </a:lnTo>
                    <a:lnTo>
                      <a:pt x="691" y="140"/>
                    </a:lnTo>
                    <a:lnTo>
                      <a:pt x="687" y="136"/>
                    </a:lnTo>
                    <a:lnTo>
                      <a:pt x="682" y="131"/>
                    </a:lnTo>
                    <a:lnTo>
                      <a:pt x="682" y="131"/>
                    </a:lnTo>
                    <a:lnTo>
                      <a:pt x="682" y="127"/>
                    </a:lnTo>
                    <a:lnTo>
                      <a:pt x="682" y="127"/>
                    </a:lnTo>
                    <a:lnTo>
                      <a:pt x="682" y="122"/>
                    </a:lnTo>
                    <a:lnTo>
                      <a:pt x="682" y="122"/>
                    </a:lnTo>
                    <a:lnTo>
                      <a:pt x="682" y="122"/>
                    </a:lnTo>
                    <a:lnTo>
                      <a:pt x="678" y="122"/>
                    </a:lnTo>
                    <a:lnTo>
                      <a:pt x="673" y="118"/>
                    </a:lnTo>
                    <a:lnTo>
                      <a:pt x="673" y="118"/>
                    </a:lnTo>
                    <a:lnTo>
                      <a:pt x="669" y="118"/>
                    </a:lnTo>
                    <a:lnTo>
                      <a:pt x="669" y="118"/>
                    </a:lnTo>
                    <a:lnTo>
                      <a:pt x="660" y="118"/>
                    </a:lnTo>
                    <a:lnTo>
                      <a:pt x="660" y="113"/>
                    </a:lnTo>
                    <a:lnTo>
                      <a:pt x="660" y="113"/>
                    </a:lnTo>
                    <a:lnTo>
                      <a:pt x="655" y="113"/>
                    </a:lnTo>
                    <a:lnTo>
                      <a:pt x="655" y="113"/>
                    </a:lnTo>
                    <a:lnTo>
                      <a:pt x="651" y="113"/>
                    </a:lnTo>
                    <a:lnTo>
                      <a:pt x="651" y="108"/>
                    </a:lnTo>
                    <a:lnTo>
                      <a:pt x="646" y="113"/>
                    </a:lnTo>
                    <a:lnTo>
                      <a:pt x="642" y="108"/>
                    </a:lnTo>
                    <a:lnTo>
                      <a:pt x="637" y="108"/>
                    </a:lnTo>
                    <a:lnTo>
                      <a:pt x="637" y="108"/>
                    </a:lnTo>
                    <a:lnTo>
                      <a:pt x="637" y="104"/>
                    </a:lnTo>
                    <a:lnTo>
                      <a:pt x="633" y="104"/>
                    </a:lnTo>
                    <a:lnTo>
                      <a:pt x="633" y="104"/>
                    </a:lnTo>
                    <a:lnTo>
                      <a:pt x="633" y="104"/>
                    </a:lnTo>
                    <a:lnTo>
                      <a:pt x="633" y="99"/>
                    </a:lnTo>
                    <a:lnTo>
                      <a:pt x="633" y="99"/>
                    </a:lnTo>
                    <a:lnTo>
                      <a:pt x="628" y="99"/>
                    </a:lnTo>
                    <a:lnTo>
                      <a:pt x="628" y="99"/>
                    </a:lnTo>
                    <a:lnTo>
                      <a:pt x="628" y="95"/>
                    </a:lnTo>
                    <a:lnTo>
                      <a:pt x="624" y="95"/>
                    </a:lnTo>
                    <a:lnTo>
                      <a:pt x="624" y="95"/>
                    </a:lnTo>
                    <a:lnTo>
                      <a:pt x="624" y="95"/>
                    </a:lnTo>
                    <a:lnTo>
                      <a:pt x="624" y="90"/>
                    </a:lnTo>
                    <a:lnTo>
                      <a:pt x="624" y="90"/>
                    </a:lnTo>
                    <a:lnTo>
                      <a:pt x="624" y="90"/>
                    </a:lnTo>
                    <a:lnTo>
                      <a:pt x="624" y="90"/>
                    </a:lnTo>
                    <a:lnTo>
                      <a:pt x="628" y="86"/>
                    </a:lnTo>
                    <a:lnTo>
                      <a:pt x="633" y="86"/>
                    </a:lnTo>
                    <a:lnTo>
                      <a:pt x="651" y="86"/>
                    </a:lnTo>
                    <a:lnTo>
                      <a:pt x="651" y="86"/>
                    </a:lnTo>
                    <a:lnTo>
                      <a:pt x="660" y="86"/>
                    </a:lnTo>
                    <a:lnTo>
                      <a:pt x="660" y="81"/>
                    </a:lnTo>
                    <a:lnTo>
                      <a:pt x="664" y="86"/>
                    </a:lnTo>
                    <a:lnTo>
                      <a:pt x="669" y="86"/>
                    </a:lnTo>
                    <a:lnTo>
                      <a:pt x="669" y="81"/>
                    </a:lnTo>
                    <a:lnTo>
                      <a:pt x="669" y="81"/>
                    </a:lnTo>
                    <a:lnTo>
                      <a:pt x="673" y="81"/>
                    </a:lnTo>
                    <a:lnTo>
                      <a:pt x="678" y="81"/>
                    </a:lnTo>
                    <a:lnTo>
                      <a:pt x="682" y="81"/>
                    </a:lnTo>
                    <a:lnTo>
                      <a:pt x="682" y="81"/>
                    </a:lnTo>
                    <a:lnTo>
                      <a:pt x="682" y="81"/>
                    </a:lnTo>
                    <a:lnTo>
                      <a:pt x="682" y="81"/>
                    </a:lnTo>
                    <a:lnTo>
                      <a:pt x="682" y="86"/>
                    </a:lnTo>
                    <a:lnTo>
                      <a:pt x="678" y="86"/>
                    </a:lnTo>
                    <a:lnTo>
                      <a:pt x="678" y="86"/>
                    </a:lnTo>
                    <a:lnTo>
                      <a:pt x="678" y="90"/>
                    </a:lnTo>
                    <a:lnTo>
                      <a:pt x="678" y="90"/>
                    </a:lnTo>
                    <a:lnTo>
                      <a:pt x="678" y="90"/>
                    </a:lnTo>
                    <a:lnTo>
                      <a:pt x="678" y="90"/>
                    </a:lnTo>
                    <a:lnTo>
                      <a:pt x="682" y="90"/>
                    </a:lnTo>
                    <a:lnTo>
                      <a:pt x="687" y="95"/>
                    </a:lnTo>
                    <a:lnTo>
                      <a:pt x="691" y="95"/>
                    </a:lnTo>
                    <a:lnTo>
                      <a:pt x="691" y="95"/>
                    </a:lnTo>
                    <a:lnTo>
                      <a:pt x="691" y="95"/>
                    </a:lnTo>
                    <a:lnTo>
                      <a:pt x="682" y="90"/>
                    </a:lnTo>
                    <a:lnTo>
                      <a:pt x="682" y="90"/>
                    </a:lnTo>
                    <a:lnTo>
                      <a:pt x="678" y="90"/>
                    </a:lnTo>
                    <a:lnTo>
                      <a:pt x="678" y="90"/>
                    </a:lnTo>
                    <a:lnTo>
                      <a:pt x="678" y="86"/>
                    </a:lnTo>
                    <a:lnTo>
                      <a:pt x="678" y="86"/>
                    </a:lnTo>
                    <a:lnTo>
                      <a:pt x="678" y="86"/>
                    </a:lnTo>
                    <a:lnTo>
                      <a:pt x="682" y="86"/>
                    </a:lnTo>
                    <a:lnTo>
                      <a:pt x="687" y="86"/>
                    </a:lnTo>
                    <a:lnTo>
                      <a:pt x="687" y="81"/>
                    </a:lnTo>
                    <a:lnTo>
                      <a:pt x="687" y="81"/>
                    </a:lnTo>
                    <a:lnTo>
                      <a:pt x="691" y="81"/>
                    </a:lnTo>
                    <a:lnTo>
                      <a:pt x="687" y="81"/>
                    </a:lnTo>
                    <a:lnTo>
                      <a:pt x="687" y="81"/>
                    </a:lnTo>
                    <a:lnTo>
                      <a:pt x="687" y="81"/>
                    </a:lnTo>
                    <a:lnTo>
                      <a:pt x="673" y="72"/>
                    </a:lnTo>
                    <a:lnTo>
                      <a:pt x="673" y="72"/>
                    </a:lnTo>
                    <a:lnTo>
                      <a:pt x="669" y="72"/>
                    </a:lnTo>
                    <a:lnTo>
                      <a:pt x="664" y="72"/>
                    </a:lnTo>
                    <a:lnTo>
                      <a:pt x="664" y="72"/>
                    </a:lnTo>
                    <a:lnTo>
                      <a:pt x="669" y="72"/>
                    </a:lnTo>
                    <a:lnTo>
                      <a:pt x="669" y="72"/>
                    </a:lnTo>
                    <a:lnTo>
                      <a:pt x="673" y="72"/>
                    </a:lnTo>
                    <a:lnTo>
                      <a:pt x="673" y="72"/>
                    </a:lnTo>
                    <a:lnTo>
                      <a:pt x="678" y="72"/>
                    </a:lnTo>
                    <a:lnTo>
                      <a:pt x="678" y="72"/>
                    </a:lnTo>
                    <a:lnTo>
                      <a:pt x="673" y="68"/>
                    </a:lnTo>
                    <a:lnTo>
                      <a:pt x="669" y="68"/>
                    </a:lnTo>
                    <a:lnTo>
                      <a:pt x="664" y="68"/>
                    </a:lnTo>
                    <a:lnTo>
                      <a:pt x="664" y="68"/>
                    </a:lnTo>
                    <a:lnTo>
                      <a:pt x="660" y="68"/>
                    </a:lnTo>
                    <a:lnTo>
                      <a:pt x="660" y="63"/>
                    </a:lnTo>
                    <a:lnTo>
                      <a:pt x="660" y="63"/>
                    </a:lnTo>
                    <a:lnTo>
                      <a:pt x="660" y="63"/>
                    </a:lnTo>
                    <a:lnTo>
                      <a:pt x="660" y="63"/>
                    </a:lnTo>
                    <a:lnTo>
                      <a:pt x="669" y="68"/>
                    </a:lnTo>
                    <a:lnTo>
                      <a:pt x="669" y="63"/>
                    </a:lnTo>
                    <a:lnTo>
                      <a:pt x="669" y="63"/>
                    </a:lnTo>
                    <a:lnTo>
                      <a:pt x="669" y="59"/>
                    </a:lnTo>
                    <a:lnTo>
                      <a:pt x="669" y="59"/>
                    </a:lnTo>
                    <a:lnTo>
                      <a:pt x="669" y="59"/>
                    </a:lnTo>
                    <a:lnTo>
                      <a:pt x="664" y="59"/>
                    </a:lnTo>
                    <a:lnTo>
                      <a:pt x="664" y="59"/>
                    </a:lnTo>
                    <a:lnTo>
                      <a:pt x="664" y="59"/>
                    </a:lnTo>
                    <a:lnTo>
                      <a:pt x="664" y="59"/>
                    </a:lnTo>
                    <a:lnTo>
                      <a:pt x="664" y="54"/>
                    </a:lnTo>
                    <a:lnTo>
                      <a:pt x="669" y="59"/>
                    </a:lnTo>
                    <a:lnTo>
                      <a:pt x="678" y="54"/>
                    </a:lnTo>
                    <a:lnTo>
                      <a:pt x="678" y="54"/>
                    </a:lnTo>
                    <a:lnTo>
                      <a:pt x="682" y="50"/>
                    </a:lnTo>
                    <a:lnTo>
                      <a:pt x="682" y="50"/>
                    </a:lnTo>
                    <a:lnTo>
                      <a:pt x="687" y="50"/>
                    </a:lnTo>
                    <a:lnTo>
                      <a:pt x="696" y="45"/>
                    </a:lnTo>
                    <a:lnTo>
                      <a:pt x="700" y="45"/>
                    </a:lnTo>
                    <a:lnTo>
                      <a:pt x="700" y="45"/>
                    </a:lnTo>
                    <a:lnTo>
                      <a:pt x="705" y="45"/>
                    </a:lnTo>
                    <a:lnTo>
                      <a:pt x="709" y="41"/>
                    </a:lnTo>
                    <a:lnTo>
                      <a:pt x="714" y="41"/>
                    </a:lnTo>
                    <a:lnTo>
                      <a:pt x="718" y="41"/>
                    </a:lnTo>
                    <a:lnTo>
                      <a:pt x="718" y="41"/>
                    </a:lnTo>
                    <a:lnTo>
                      <a:pt x="714" y="41"/>
                    </a:lnTo>
                    <a:lnTo>
                      <a:pt x="714" y="41"/>
                    </a:lnTo>
                    <a:lnTo>
                      <a:pt x="714" y="41"/>
                    </a:lnTo>
                    <a:lnTo>
                      <a:pt x="714" y="41"/>
                    </a:lnTo>
                    <a:lnTo>
                      <a:pt x="709" y="41"/>
                    </a:lnTo>
                    <a:lnTo>
                      <a:pt x="709" y="41"/>
                    </a:lnTo>
                    <a:lnTo>
                      <a:pt x="709" y="41"/>
                    </a:lnTo>
                    <a:lnTo>
                      <a:pt x="709" y="41"/>
                    </a:lnTo>
                    <a:lnTo>
                      <a:pt x="709" y="41"/>
                    </a:lnTo>
                    <a:lnTo>
                      <a:pt x="705" y="41"/>
                    </a:lnTo>
                    <a:lnTo>
                      <a:pt x="705" y="36"/>
                    </a:lnTo>
                    <a:lnTo>
                      <a:pt x="709" y="36"/>
                    </a:lnTo>
                    <a:lnTo>
                      <a:pt x="709" y="36"/>
                    </a:lnTo>
                    <a:lnTo>
                      <a:pt x="709" y="36"/>
                    </a:lnTo>
                    <a:lnTo>
                      <a:pt x="714" y="36"/>
                    </a:lnTo>
                    <a:lnTo>
                      <a:pt x="714" y="36"/>
                    </a:lnTo>
                    <a:lnTo>
                      <a:pt x="718" y="36"/>
                    </a:lnTo>
                    <a:lnTo>
                      <a:pt x="718" y="36"/>
                    </a:lnTo>
                    <a:lnTo>
                      <a:pt x="718" y="36"/>
                    </a:lnTo>
                    <a:lnTo>
                      <a:pt x="718" y="36"/>
                    </a:lnTo>
                    <a:lnTo>
                      <a:pt x="728" y="36"/>
                    </a:lnTo>
                    <a:lnTo>
                      <a:pt x="728" y="36"/>
                    </a:lnTo>
                    <a:lnTo>
                      <a:pt x="732" y="36"/>
                    </a:lnTo>
                    <a:lnTo>
                      <a:pt x="732" y="36"/>
                    </a:lnTo>
                    <a:lnTo>
                      <a:pt x="737" y="36"/>
                    </a:lnTo>
                    <a:lnTo>
                      <a:pt x="737" y="36"/>
                    </a:lnTo>
                    <a:lnTo>
                      <a:pt x="737" y="41"/>
                    </a:lnTo>
                    <a:lnTo>
                      <a:pt x="737" y="41"/>
                    </a:lnTo>
                    <a:lnTo>
                      <a:pt x="737" y="36"/>
                    </a:lnTo>
                    <a:lnTo>
                      <a:pt x="741" y="36"/>
                    </a:lnTo>
                    <a:lnTo>
                      <a:pt x="741" y="36"/>
                    </a:lnTo>
                    <a:lnTo>
                      <a:pt x="746" y="36"/>
                    </a:lnTo>
                    <a:lnTo>
                      <a:pt x="746" y="41"/>
                    </a:lnTo>
                    <a:lnTo>
                      <a:pt x="746" y="36"/>
                    </a:lnTo>
                    <a:lnTo>
                      <a:pt x="750" y="36"/>
                    </a:lnTo>
                    <a:lnTo>
                      <a:pt x="750" y="36"/>
                    </a:lnTo>
                    <a:lnTo>
                      <a:pt x="750" y="36"/>
                    </a:lnTo>
                    <a:lnTo>
                      <a:pt x="755" y="36"/>
                    </a:lnTo>
                    <a:lnTo>
                      <a:pt x="750" y="36"/>
                    </a:lnTo>
                    <a:lnTo>
                      <a:pt x="755" y="36"/>
                    </a:lnTo>
                    <a:lnTo>
                      <a:pt x="755" y="32"/>
                    </a:lnTo>
                    <a:lnTo>
                      <a:pt x="755" y="32"/>
                    </a:lnTo>
                    <a:lnTo>
                      <a:pt x="755" y="32"/>
                    </a:lnTo>
                    <a:lnTo>
                      <a:pt x="759" y="32"/>
                    </a:lnTo>
                    <a:lnTo>
                      <a:pt x="759" y="32"/>
                    </a:lnTo>
                    <a:lnTo>
                      <a:pt x="764" y="32"/>
                    </a:lnTo>
                    <a:lnTo>
                      <a:pt x="764" y="32"/>
                    </a:lnTo>
                    <a:lnTo>
                      <a:pt x="768" y="32"/>
                    </a:lnTo>
                    <a:lnTo>
                      <a:pt x="773" y="32"/>
                    </a:lnTo>
                    <a:lnTo>
                      <a:pt x="773" y="32"/>
                    </a:lnTo>
                    <a:lnTo>
                      <a:pt x="773" y="36"/>
                    </a:lnTo>
                    <a:lnTo>
                      <a:pt x="773" y="36"/>
                    </a:lnTo>
                    <a:lnTo>
                      <a:pt x="773" y="36"/>
                    </a:lnTo>
                    <a:lnTo>
                      <a:pt x="773" y="41"/>
                    </a:lnTo>
                    <a:lnTo>
                      <a:pt x="777" y="41"/>
                    </a:lnTo>
                    <a:lnTo>
                      <a:pt x="777" y="36"/>
                    </a:lnTo>
                    <a:lnTo>
                      <a:pt x="777" y="36"/>
                    </a:lnTo>
                    <a:lnTo>
                      <a:pt x="777" y="36"/>
                    </a:lnTo>
                    <a:lnTo>
                      <a:pt x="773" y="32"/>
                    </a:lnTo>
                    <a:lnTo>
                      <a:pt x="768" y="32"/>
                    </a:lnTo>
                    <a:lnTo>
                      <a:pt x="764" y="32"/>
                    </a:lnTo>
                    <a:lnTo>
                      <a:pt x="759" y="27"/>
                    </a:lnTo>
                    <a:lnTo>
                      <a:pt x="759" y="27"/>
                    </a:lnTo>
                    <a:lnTo>
                      <a:pt x="755" y="27"/>
                    </a:lnTo>
                    <a:lnTo>
                      <a:pt x="755" y="27"/>
                    </a:lnTo>
                    <a:lnTo>
                      <a:pt x="764" y="27"/>
                    </a:lnTo>
                    <a:lnTo>
                      <a:pt x="764" y="27"/>
                    </a:lnTo>
                    <a:lnTo>
                      <a:pt x="768" y="27"/>
                    </a:lnTo>
                    <a:lnTo>
                      <a:pt x="773" y="27"/>
                    </a:lnTo>
                    <a:lnTo>
                      <a:pt x="777" y="27"/>
                    </a:lnTo>
                    <a:lnTo>
                      <a:pt x="777" y="27"/>
                    </a:lnTo>
                    <a:lnTo>
                      <a:pt x="782" y="27"/>
                    </a:lnTo>
                    <a:lnTo>
                      <a:pt x="782" y="27"/>
                    </a:lnTo>
                    <a:lnTo>
                      <a:pt x="777" y="23"/>
                    </a:lnTo>
                    <a:lnTo>
                      <a:pt x="777" y="23"/>
                    </a:lnTo>
                    <a:lnTo>
                      <a:pt x="773" y="23"/>
                    </a:lnTo>
                    <a:lnTo>
                      <a:pt x="773" y="23"/>
                    </a:lnTo>
                    <a:lnTo>
                      <a:pt x="773" y="23"/>
                    </a:lnTo>
                    <a:lnTo>
                      <a:pt x="773" y="23"/>
                    </a:lnTo>
                    <a:lnTo>
                      <a:pt x="768" y="18"/>
                    </a:lnTo>
                    <a:lnTo>
                      <a:pt x="768" y="18"/>
                    </a:lnTo>
                    <a:lnTo>
                      <a:pt x="768" y="18"/>
                    </a:lnTo>
                    <a:lnTo>
                      <a:pt x="768" y="18"/>
                    </a:lnTo>
                    <a:lnTo>
                      <a:pt x="768" y="14"/>
                    </a:lnTo>
                    <a:lnTo>
                      <a:pt x="768" y="14"/>
                    </a:lnTo>
                    <a:lnTo>
                      <a:pt x="773" y="9"/>
                    </a:lnTo>
                    <a:lnTo>
                      <a:pt x="773" y="4"/>
                    </a:lnTo>
                    <a:lnTo>
                      <a:pt x="777" y="4"/>
                    </a:lnTo>
                    <a:lnTo>
                      <a:pt x="777" y="4"/>
                    </a:lnTo>
                    <a:lnTo>
                      <a:pt x="782" y="4"/>
                    </a:lnTo>
                    <a:lnTo>
                      <a:pt x="782" y="0"/>
                    </a:lnTo>
                    <a:lnTo>
                      <a:pt x="791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19" name="Freeform 140"/>
              <p:cNvSpPr>
                <a:spLocks/>
              </p:cNvSpPr>
              <p:nvPr/>
            </p:nvSpPr>
            <p:spPr bwMode="auto">
              <a:xfrm>
                <a:off x="5065713" y="2981326"/>
                <a:ext cx="58738" cy="50800"/>
              </a:xfrm>
              <a:custGeom>
                <a:avLst/>
                <a:gdLst>
                  <a:gd name="T0" fmla="*/ 37 w 37"/>
                  <a:gd name="T1" fmla="*/ 9 h 32"/>
                  <a:gd name="T2" fmla="*/ 37 w 37"/>
                  <a:gd name="T3" fmla="*/ 14 h 32"/>
                  <a:gd name="T4" fmla="*/ 37 w 37"/>
                  <a:gd name="T5" fmla="*/ 18 h 32"/>
                  <a:gd name="T6" fmla="*/ 37 w 37"/>
                  <a:gd name="T7" fmla="*/ 18 h 32"/>
                  <a:gd name="T8" fmla="*/ 37 w 37"/>
                  <a:gd name="T9" fmla="*/ 23 h 32"/>
                  <a:gd name="T10" fmla="*/ 37 w 37"/>
                  <a:gd name="T11" fmla="*/ 23 h 32"/>
                  <a:gd name="T12" fmla="*/ 32 w 37"/>
                  <a:gd name="T13" fmla="*/ 23 h 32"/>
                  <a:gd name="T14" fmla="*/ 32 w 37"/>
                  <a:gd name="T15" fmla="*/ 27 h 32"/>
                  <a:gd name="T16" fmla="*/ 32 w 37"/>
                  <a:gd name="T17" fmla="*/ 23 h 32"/>
                  <a:gd name="T18" fmla="*/ 28 w 37"/>
                  <a:gd name="T19" fmla="*/ 23 h 32"/>
                  <a:gd name="T20" fmla="*/ 23 w 37"/>
                  <a:gd name="T21" fmla="*/ 23 h 32"/>
                  <a:gd name="T22" fmla="*/ 23 w 37"/>
                  <a:gd name="T23" fmla="*/ 27 h 32"/>
                  <a:gd name="T24" fmla="*/ 23 w 37"/>
                  <a:gd name="T25" fmla="*/ 23 h 32"/>
                  <a:gd name="T26" fmla="*/ 19 w 37"/>
                  <a:gd name="T27" fmla="*/ 27 h 32"/>
                  <a:gd name="T28" fmla="*/ 19 w 37"/>
                  <a:gd name="T29" fmla="*/ 32 h 32"/>
                  <a:gd name="T30" fmla="*/ 19 w 37"/>
                  <a:gd name="T31" fmla="*/ 32 h 32"/>
                  <a:gd name="T32" fmla="*/ 14 w 37"/>
                  <a:gd name="T33" fmla="*/ 32 h 32"/>
                  <a:gd name="T34" fmla="*/ 9 w 37"/>
                  <a:gd name="T35" fmla="*/ 32 h 32"/>
                  <a:gd name="T36" fmla="*/ 9 w 37"/>
                  <a:gd name="T37" fmla="*/ 27 h 32"/>
                  <a:gd name="T38" fmla="*/ 5 w 37"/>
                  <a:gd name="T39" fmla="*/ 27 h 32"/>
                  <a:gd name="T40" fmla="*/ 5 w 37"/>
                  <a:gd name="T41" fmla="*/ 32 h 32"/>
                  <a:gd name="T42" fmla="*/ 0 w 37"/>
                  <a:gd name="T43" fmla="*/ 32 h 32"/>
                  <a:gd name="T44" fmla="*/ 0 w 37"/>
                  <a:gd name="T45" fmla="*/ 27 h 32"/>
                  <a:gd name="T46" fmla="*/ 5 w 37"/>
                  <a:gd name="T47" fmla="*/ 23 h 32"/>
                  <a:gd name="T48" fmla="*/ 5 w 37"/>
                  <a:gd name="T49" fmla="*/ 23 h 32"/>
                  <a:gd name="T50" fmla="*/ 5 w 37"/>
                  <a:gd name="T51" fmla="*/ 18 h 32"/>
                  <a:gd name="T52" fmla="*/ 5 w 37"/>
                  <a:gd name="T53" fmla="*/ 14 h 32"/>
                  <a:gd name="T54" fmla="*/ 9 w 37"/>
                  <a:gd name="T55" fmla="*/ 14 h 32"/>
                  <a:gd name="T56" fmla="*/ 9 w 37"/>
                  <a:gd name="T57" fmla="*/ 9 h 32"/>
                  <a:gd name="T58" fmla="*/ 14 w 37"/>
                  <a:gd name="T59" fmla="*/ 9 h 32"/>
                  <a:gd name="T60" fmla="*/ 14 w 37"/>
                  <a:gd name="T61" fmla="*/ 5 h 32"/>
                  <a:gd name="T62" fmla="*/ 19 w 37"/>
                  <a:gd name="T63" fmla="*/ 5 h 32"/>
                  <a:gd name="T64" fmla="*/ 19 w 37"/>
                  <a:gd name="T65" fmla="*/ 9 h 32"/>
                  <a:gd name="T66" fmla="*/ 23 w 37"/>
                  <a:gd name="T67" fmla="*/ 9 h 32"/>
                  <a:gd name="T68" fmla="*/ 23 w 37"/>
                  <a:gd name="T69" fmla="*/ 5 h 32"/>
                  <a:gd name="T70" fmla="*/ 28 w 37"/>
                  <a:gd name="T71" fmla="*/ 5 h 32"/>
                  <a:gd name="T72" fmla="*/ 28 w 37"/>
                  <a:gd name="T73" fmla="*/ 0 h 32"/>
                  <a:gd name="T74" fmla="*/ 28 w 37"/>
                  <a:gd name="T75" fmla="*/ 0 h 32"/>
                  <a:gd name="T76" fmla="*/ 32 w 37"/>
                  <a:gd name="T77" fmla="*/ 0 h 32"/>
                  <a:gd name="T78" fmla="*/ 32 w 37"/>
                  <a:gd name="T79" fmla="*/ 0 h 32"/>
                  <a:gd name="T80" fmla="*/ 32 w 37"/>
                  <a:gd name="T81" fmla="*/ 5 h 32"/>
                  <a:gd name="T82" fmla="*/ 37 w 37"/>
                  <a:gd name="T83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" h="32">
                    <a:moveTo>
                      <a:pt x="37" y="9"/>
                    </a:moveTo>
                    <a:lnTo>
                      <a:pt x="37" y="9"/>
                    </a:lnTo>
                    <a:lnTo>
                      <a:pt x="37" y="9"/>
                    </a:lnTo>
                    <a:lnTo>
                      <a:pt x="37" y="14"/>
                    </a:lnTo>
                    <a:lnTo>
                      <a:pt x="37" y="14"/>
                    </a:lnTo>
                    <a:lnTo>
                      <a:pt x="37" y="18"/>
                    </a:lnTo>
                    <a:lnTo>
                      <a:pt x="37" y="18"/>
                    </a:lnTo>
                    <a:lnTo>
                      <a:pt x="37" y="18"/>
                    </a:lnTo>
                    <a:lnTo>
                      <a:pt x="37" y="23"/>
                    </a:lnTo>
                    <a:lnTo>
                      <a:pt x="37" y="23"/>
                    </a:lnTo>
                    <a:lnTo>
                      <a:pt x="37" y="23"/>
                    </a:lnTo>
                    <a:lnTo>
                      <a:pt x="37" y="23"/>
                    </a:lnTo>
                    <a:lnTo>
                      <a:pt x="37" y="23"/>
                    </a:lnTo>
                    <a:lnTo>
                      <a:pt x="32" y="23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3"/>
                    </a:lnTo>
                    <a:lnTo>
                      <a:pt x="28" y="23"/>
                    </a:lnTo>
                    <a:lnTo>
                      <a:pt x="28" y="23"/>
                    </a:lnTo>
                    <a:lnTo>
                      <a:pt x="28" y="23"/>
                    </a:lnTo>
                    <a:lnTo>
                      <a:pt x="23" y="23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19" y="27"/>
                    </a:lnTo>
                    <a:lnTo>
                      <a:pt x="19" y="32"/>
                    </a:lnTo>
                    <a:lnTo>
                      <a:pt x="19" y="32"/>
                    </a:lnTo>
                    <a:lnTo>
                      <a:pt x="19" y="32"/>
                    </a:lnTo>
                    <a:lnTo>
                      <a:pt x="19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0" y="32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9" y="14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14" y="9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8" y="5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7" y="5"/>
                    </a:lnTo>
                    <a:lnTo>
                      <a:pt x="37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20" name="Freeform 141"/>
              <p:cNvSpPr>
                <a:spLocks/>
              </p:cNvSpPr>
              <p:nvPr/>
            </p:nvSpPr>
            <p:spPr bwMode="auto">
              <a:xfrm>
                <a:off x="3811588" y="2120901"/>
                <a:ext cx="242888" cy="207963"/>
              </a:xfrm>
              <a:custGeom>
                <a:avLst/>
                <a:gdLst>
                  <a:gd name="T0" fmla="*/ 149 w 153"/>
                  <a:gd name="T1" fmla="*/ 18 h 131"/>
                  <a:gd name="T2" fmla="*/ 149 w 153"/>
                  <a:gd name="T3" fmla="*/ 31 h 131"/>
                  <a:gd name="T4" fmla="*/ 135 w 153"/>
                  <a:gd name="T5" fmla="*/ 31 h 131"/>
                  <a:gd name="T6" fmla="*/ 126 w 153"/>
                  <a:gd name="T7" fmla="*/ 31 h 131"/>
                  <a:gd name="T8" fmla="*/ 113 w 153"/>
                  <a:gd name="T9" fmla="*/ 31 h 131"/>
                  <a:gd name="T10" fmla="*/ 99 w 153"/>
                  <a:gd name="T11" fmla="*/ 31 h 131"/>
                  <a:gd name="T12" fmla="*/ 95 w 153"/>
                  <a:gd name="T13" fmla="*/ 36 h 131"/>
                  <a:gd name="T14" fmla="*/ 95 w 153"/>
                  <a:gd name="T15" fmla="*/ 49 h 131"/>
                  <a:gd name="T16" fmla="*/ 95 w 153"/>
                  <a:gd name="T17" fmla="*/ 58 h 131"/>
                  <a:gd name="T18" fmla="*/ 90 w 153"/>
                  <a:gd name="T19" fmla="*/ 67 h 131"/>
                  <a:gd name="T20" fmla="*/ 90 w 153"/>
                  <a:gd name="T21" fmla="*/ 76 h 131"/>
                  <a:gd name="T22" fmla="*/ 86 w 153"/>
                  <a:gd name="T23" fmla="*/ 81 h 131"/>
                  <a:gd name="T24" fmla="*/ 77 w 153"/>
                  <a:gd name="T25" fmla="*/ 85 h 131"/>
                  <a:gd name="T26" fmla="*/ 72 w 153"/>
                  <a:gd name="T27" fmla="*/ 94 h 131"/>
                  <a:gd name="T28" fmla="*/ 72 w 153"/>
                  <a:gd name="T29" fmla="*/ 99 h 131"/>
                  <a:gd name="T30" fmla="*/ 72 w 153"/>
                  <a:gd name="T31" fmla="*/ 108 h 131"/>
                  <a:gd name="T32" fmla="*/ 72 w 153"/>
                  <a:gd name="T33" fmla="*/ 122 h 131"/>
                  <a:gd name="T34" fmla="*/ 59 w 153"/>
                  <a:gd name="T35" fmla="*/ 122 h 131"/>
                  <a:gd name="T36" fmla="*/ 41 w 153"/>
                  <a:gd name="T37" fmla="*/ 122 h 131"/>
                  <a:gd name="T38" fmla="*/ 27 w 153"/>
                  <a:gd name="T39" fmla="*/ 122 h 131"/>
                  <a:gd name="T40" fmla="*/ 9 w 153"/>
                  <a:gd name="T41" fmla="*/ 122 h 131"/>
                  <a:gd name="T42" fmla="*/ 4 w 153"/>
                  <a:gd name="T43" fmla="*/ 126 h 131"/>
                  <a:gd name="T44" fmla="*/ 4 w 153"/>
                  <a:gd name="T45" fmla="*/ 117 h 131"/>
                  <a:gd name="T46" fmla="*/ 9 w 153"/>
                  <a:gd name="T47" fmla="*/ 117 h 131"/>
                  <a:gd name="T48" fmla="*/ 22 w 153"/>
                  <a:gd name="T49" fmla="*/ 117 h 131"/>
                  <a:gd name="T50" fmla="*/ 31 w 153"/>
                  <a:gd name="T51" fmla="*/ 117 h 131"/>
                  <a:gd name="T52" fmla="*/ 41 w 153"/>
                  <a:gd name="T53" fmla="*/ 117 h 131"/>
                  <a:gd name="T54" fmla="*/ 45 w 153"/>
                  <a:gd name="T55" fmla="*/ 113 h 131"/>
                  <a:gd name="T56" fmla="*/ 50 w 153"/>
                  <a:gd name="T57" fmla="*/ 108 h 131"/>
                  <a:gd name="T58" fmla="*/ 50 w 153"/>
                  <a:gd name="T59" fmla="*/ 104 h 131"/>
                  <a:gd name="T60" fmla="*/ 54 w 153"/>
                  <a:gd name="T61" fmla="*/ 94 h 131"/>
                  <a:gd name="T62" fmla="*/ 54 w 153"/>
                  <a:gd name="T63" fmla="*/ 85 h 131"/>
                  <a:gd name="T64" fmla="*/ 59 w 153"/>
                  <a:gd name="T65" fmla="*/ 76 h 131"/>
                  <a:gd name="T66" fmla="*/ 63 w 153"/>
                  <a:gd name="T67" fmla="*/ 72 h 131"/>
                  <a:gd name="T68" fmla="*/ 72 w 153"/>
                  <a:gd name="T69" fmla="*/ 72 h 131"/>
                  <a:gd name="T70" fmla="*/ 72 w 153"/>
                  <a:gd name="T71" fmla="*/ 63 h 131"/>
                  <a:gd name="T72" fmla="*/ 77 w 153"/>
                  <a:gd name="T73" fmla="*/ 58 h 131"/>
                  <a:gd name="T74" fmla="*/ 86 w 153"/>
                  <a:gd name="T75" fmla="*/ 54 h 131"/>
                  <a:gd name="T76" fmla="*/ 86 w 153"/>
                  <a:gd name="T77" fmla="*/ 49 h 131"/>
                  <a:gd name="T78" fmla="*/ 90 w 153"/>
                  <a:gd name="T79" fmla="*/ 40 h 131"/>
                  <a:gd name="T80" fmla="*/ 95 w 153"/>
                  <a:gd name="T81" fmla="*/ 36 h 131"/>
                  <a:gd name="T82" fmla="*/ 95 w 153"/>
                  <a:gd name="T83" fmla="*/ 31 h 131"/>
                  <a:gd name="T84" fmla="*/ 99 w 153"/>
                  <a:gd name="T85" fmla="*/ 31 h 131"/>
                  <a:gd name="T86" fmla="*/ 104 w 153"/>
                  <a:gd name="T87" fmla="*/ 27 h 131"/>
                  <a:gd name="T88" fmla="*/ 104 w 153"/>
                  <a:gd name="T89" fmla="*/ 22 h 131"/>
                  <a:gd name="T90" fmla="*/ 108 w 153"/>
                  <a:gd name="T91" fmla="*/ 18 h 131"/>
                  <a:gd name="T92" fmla="*/ 113 w 153"/>
                  <a:gd name="T93" fmla="*/ 13 h 131"/>
                  <a:gd name="T94" fmla="*/ 117 w 153"/>
                  <a:gd name="T95" fmla="*/ 13 h 131"/>
                  <a:gd name="T96" fmla="*/ 126 w 153"/>
                  <a:gd name="T97" fmla="*/ 18 h 131"/>
                  <a:gd name="T98" fmla="*/ 126 w 153"/>
                  <a:gd name="T99" fmla="*/ 13 h 131"/>
                  <a:gd name="T100" fmla="*/ 135 w 153"/>
                  <a:gd name="T101" fmla="*/ 18 h 131"/>
                  <a:gd name="T102" fmla="*/ 140 w 153"/>
                  <a:gd name="T103" fmla="*/ 13 h 131"/>
                  <a:gd name="T104" fmla="*/ 144 w 153"/>
                  <a:gd name="T105" fmla="*/ 13 h 131"/>
                  <a:gd name="T106" fmla="*/ 149 w 153"/>
                  <a:gd name="T107" fmla="*/ 9 h 131"/>
                  <a:gd name="T108" fmla="*/ 149 w 153"/>
                  <a:gd name="T109" fmla="*/ 9 h 131"/>
                  <a:gd name="T110" fmla="*/ 149 w 153"/>
                  <a:gd name="T111" fmla="*/ 4 h 131"/>
                  <a:gd name="T112" fmla="*/ 153 w 153"/>
                  <a:gd name="T113" fmla="*/ 9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3" h="131">
                    <a:moveTo>
                      <a:pt x="153" y="13"/>
                    </a:moveTo>
                    <a:lnTo>
                      <a:pt x="153" y="13"/>
                    </a:lnTo>
                    <a:lnTo>
                      <a:pt x="149" y="13"/>
                    </a:lnTo>
                    <a:lnTo>
                      <a:pt x="149" y="18"/>
                    </a:lnTo>
                    <a:lnTo>
                      <a:pt x="149" y="22"/>
                    </a:lnTo>
                    <a:lnTo>
                      <a:pt x="149" y="27"/>
                    </a:lnTo>
                    <a:lnTo>
                      <a:pt x="149" y="31"/>
                    </a:lnTo>
                    <a:lnTo>
                      <a:pt x="149" y="31"/>
                    </a:lnTo>
                    <a:lnTo>
                      <a:pt x="144" y="31"/>
                    </a:lnTo>
                    <a:lnTo>
                      <a:pt x="144" y="31"/>
                    </a:lnTo>
                    <a:lnTo>
                      <a:pt x="140" y="31"/>
                    </a:lnTo>
                    <a:lnTo>
                      <a:pt x="135" y="31"/>
                    </a:lnTo>
                    <a:lnTo>
                      <a:pt x="135" y="31"/>
                    </a:lnTo>
                    <a:lnTo>
                      <a:pt x="131" y="31"/>
                    </a:lnTo>
                    <a:lnTo>
                      <a:pt x="126" y="31"/>
                    </a:lnTo>
                    <a:lnTo>
                      <a:pt x="126" y="31"/>
                    </a:lnTo>
                    <a:lnTo>
                      <a:pt x="122" y="31"/>
                    </a:lnTo>
                    <a:lnTo>
                      <a:pt x="117" y="31"/>
                    </a:lnTo>
                    <a:lnTo>
                      <a:pt x="117" y="31"/>
                    </a:lnTo>
                    <a:lnTo>
                      <a:pt x="113" y="31"/>
                    </a:lnTo>
                    <a:lnTo>
                      <a:pt x="108" y="31"/>
                    </a:lnTo>
                    <a:lnTo>
                      <a:pt x="108" y="31"/>
                    </a:lnTo>
                    <a:lnTo>
                      <a:pt x="104" y="31"/>
                    </a:lnTo>
                    <a:lnTo>
                      <a:pt x="99" y="31"/>
                    </a:lnTo>
                    <a:lnTo>
                      <a:pt x="95" y="31"/>
                    </a:lnTo>
                    <a:lnTo>
                      <a:pt x="95" y="31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5" y="40"/>
                    </a:lnTo>
                    <a:lnTo>
                      <a:pt x="95" y="40"/>
                    </a:lnTo>
                    <a:lnTo>
                      <a:pt x="95" y="45"/>
                    </a:lnTo>
                    <a:lnTo>
                      <a:pt x="95" y="49"/>
                    </a:lnTo>
                    <a:lnTo>
                      <a:pt x="95" y="49"/>
                    </a:lnTo>
                    <a:lnTo>
                      <a:pt x="95" y="54"/>
                    </a:lnTo>
                    <a:lnTo>
                      <a:pt x="95" y="54"/>
                    </a:lnTo>
                    <a:lnTo>
                      <a:pt x="95" y="58"/>
                    </a:lnTo>
                    <a:lnTo>
                      <a:pt x="90" y="58"/>
                    </a:lnTo>
                    <a:lnTo>
                      <a:pt x="90" y="63"/>
                    </a:lnTo>
                    <a:lnTo>
                      <a:pt x="90" y="67"/>
                    </a:lnTo>
                    <a:lnTo>
                      <a:pt x="90" y="67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6"/>
                    </a:lnTo>
                    <a:lnTo>
                      <a:pt x="90" y="76"/>
                    </a:lnTo>
                    <a:lnTo>
                      <a:pt x="90" y="81"/>
                    </a:lnTo>
                    <a:lnTo>
                      <a:pt x="90" y="81"/>
                    </a:lnTo>
                    <a:lnTo>
                      <a:pt x="86" y="81"/>
                    </a:lnTo>
                    <a:lnTo>
                      <a:pt x="86" y="81"/>
                    </a:lnTo>
                    <a:lnTo>
                      <a:pt x="81" y="81"/>
                    </a:lnTo>
                    <a:lnTo>
                      <a:pt x="81" y="85"/>
                    </a:lnTo>
                    <a:lnTo>
                      <a:pt x="77" y="85"/>
                    </a:lnTo>
                    <a:lnTo>
                      <a:pt x="77" y="85"/>
                    </a:lnTo>
                    <a:lnTo>
                      <a:pt x="72" y="90"/>
                    </a:lnTo>
                    <a:lnTo>
                      <a:pt x="72" y="90"/>
                    </a:lnTo>
                    <a:lnTo>
                      <a:pt x="72" y="90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9"/>
                    </a:lnTo>
                    <a:lnTo>
                      <a:pt x="72" y="99"/>
                    </a:lnTo>
                    <a:lnTo>
                      <a:pt x="72" y="99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8"/>
                    </a:lnTo>
                    <a:lnTo>
                      <a:pt x="72" y="108"/>
                    </a:lnTo>
                    <a:lnTo>
                      <a:pt x="72" y="113"/>
                    </a:lnTo>
                    <a:lnTo>
                      <a:pt x="72" y="117"/>
                    </a:lnTo>
                    <a:lnTo>
                      <a:pt x="72" y="117"/>
                    </a:lnTo>
                    <a:lnTo>
                      <a:pt x="72" y="122"/>
                    </a:lnTo>
                    <a:lnTo>
                      <a:pt x="68" y="122"/>
                    </a:lnTo>
                    <a:lnTo>
                      <a:pt x="63" y="122"/>
                    </a:lnTo>
                    <a:lnTo>
                      <a:pt x="63" y="122"/>
                    </a:lnTo>
                    <a:lnTo>
                      <a:pt x="59" y="122"/>
                    </a:lnTo>
                    <a:lnTo>
                      <a:pt x="54" y="122"/>
                    </a:lnTo>
                    <a:lnTo>
                      <a:pt x="50" y="122"/>
                    </a:lnTo>
                    <a:lnTo>
                      <a:pt x="45" y="122"/>
                    </a:lnTo>
                    <a:lnTo>
                      <a:pt x="41" y="122"/>
                    </a:lnTo>
                    <a:lnTo>
                      <a:pt x="36" y="122"/>
                    </a:lnTo>
                    <a:lnTo>
                      <a:pt x="36" y="122"/>
                    </a:lnTo>
                    <a:lnTo>
                      <a:pt x="31" y="122"/>
                    </a:lnTo>
                    <a:lnTo>
                      <a:pt x="27" y="122"/>
                    </a:lnTo>
                    <a:lnTo>
                      <a:pt x="22" y="122"/>
                    </a:lnTo>
                    <a:lnTo>
                      <a:pt x="18" y="122"/>
                    </a:lnTo>
                    <a:lnTo>
                      <a:pt x="13" y="122"/>
                    </a:lnTo>
                    <a:lnTo>
                      <a:pt x="9" y="122"/>
                    </a:lnTo>
                    <a:lnTo>
                      <a:pt x="9" y="122"/>
                    </a:lnTo>
                    <a:lnTo>
                      <a:pt x="4" y="122"/>
                    </a:lnTo>
                    <a:lnTo>
                      <a:pt x="4" y="122"/>
                    </a:lnTo>
                    <a:lnTo>
                      <a:pt x="4" y="126"/>
                    </a:lnTo>
                    <a:lnTo>
                      <a:pt x="4" y="126"/>
                    </a:lnTo>
                    <a:lnTo>
                      <a:pt x="4" y="131"/>
                    </a:lnTo>
                    <a:lnTo>
                      <a:pt x="0" y="126"/>
                    </a:lnTo>
                    <a:lnTo>
                      <a:pt x="4" y="117"/>
                    </a:lnTo>
                    <a:lnTo>
                      <a:pt x="4" y="117"/>
                    </a:lnTo>
                    <a:lnTo>
                      <a:pt x="4" y="117"/>
                    </a:lnTo>
                    <a:lnTo>
                      <a:pt x="4" y="117"/>
                    </a:lnTo>
                    <a:lnTo>
                      <a:pt x="9" y="117"/>
                    </a:lnTo>
                    <a:lnTo>
                      <a:pt x="13" y="117"/>
                    </a:lnTo>
                    <a:lnTo>
                      <a:pt x="18" y="117"/>
                    </a:lnTo>
                    <a:lnTo>
                      <a:pt x="22" y="117"/>
                    </a:lnTo>
                    <a:lnTo>
                      <a:pt x="22" y="117"/>
                    </a:lnTo>
                    <a:lnTo>
                      <a:pt x="27" y="117"/>
                    </a:lnTo>
                    <a:lnTo>
                      <a:pt x="27" y="117"/>
                    </a:lnTo>
                    <a:lnTo>
                      <a:pt x="31" y="117"/>
                    </a:lnTo>
                    <a:lnTo>
                      <a:pt x="31" y="117"/>
                    </a:lnTo>
                    <a:lnTo>
                      <a:pt x="36" y="117"/>
                    </a:lnTo>
                    <a:lnTo>
                      <a:pt x="41" y="117"/>
                    </a:lnTo>
                    <a:lnTo>
                      <a:pt x="41" y="117"/>
                    </a:lnTo>
                    <a:lnTo>
                      <a:pt x="41" y="117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13"/>
                    </a:lnTo>
                    <a:lnTo>
                      <a:pt x="45" y="108"/>
                    </a:lnTo>
                    <a:lnTo>
                      <a:pt x="45" y="108"/>
                    </a:lnTo>
                    <a:lnTo>
                      <a:pt x="45" y="108"/>
                    </a:lnTo>
                    <a:lnTo>
                      <a:pt x="50" y="108"/>
                    </a:lnTo>
                    <a:lnTo>
                      <a:pt x="50" y="104"/>
                    </a:lnTo>
                    <a:lnTo>
                      <a:pt x="50" y="104"/>
                    </a:lnTo>
                    <a:lnTo>
                      <a:pt x="50" y="104"/>
                    </a:lnTo>
                    <a:lnTo>
                      <a:pt x="50" y="104"/>
                    </a:lnTo>
                    <a:lnTo>
                      <a:pt x="54" y="104"/>
                    </a:lnTo>
                    <a:lnTo>
                      <a:pt x="54" y="99"/>
                    </a:lnTo>
                    <a:lnTo>
                      <a:pt x="54" y="99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0"/>
                    </a:lnTo>
                    <a:lnTo>
                      <a:pt x="54" y="90"/>
                    </a:lnTo>
                    <a:lnTo>
                      <a:pt x="54" y="85"/>
                    </a:lnTo>
                    <a:lnTo>
                      <a:pt x="59" y="81"/>
                    </a:lnTo>
                    <a:lnTo>
                      <a:pt x="59" y="81"/>
                    </a:lnTo>
                    <a:lnTo>
                      <a:pt x="59" y="76"/>
                    </a:lnTo>
                    <a:lnTo>
                      <a:pt x="59" y="76"/>
                    </a:lnTo>
                    <a:lnTo>
                      <a:pt x="59" y="76"/>
                    </a:lnTo>
                    <a:lnTo>
                      <a:pt x="59" y="76"/>
                    </a:lnTo>
                    <a:lnTo>
                      <a:pt x="63" y="72"/>
                    </a:lnTo>
                    <a:lnTo>
                      <a:pt x="63" y="72"/>
                    </a:lnTo>
                    <a:lnTo>
                      <a:pt x="63" y="72"/>
                    </a:lnTo>
                    <a:lnTo>
                      <a:pt x="68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2" y="67"/>
                    </a:lnTo>
                    <a:lnTo>
                      <a:pt x="72" y="67"/>
                    </a:lnTo>
                    <a:lnTo>
                      <a:pt x="72" y="67"/>
                    </a:lnTo>
                    <a:lnTo>
                      <a:pt x="72" y="63"/>
                    </a:lnTo>
                    <a:lnTo>
                      <a:pt x="77" y="63"/>
                    </a:lnTo>
                    <a:lnTo>
                      <a:pt x="77" y="63"/>
                    </a:lnTo>
                    <a:lnTo>
                      <a:pt x="77" y="58"/>
                    </a:lnTo>
                    <a:lnTo>
                      <a:pt x="77" y="58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6" y="54"/>
                    </a:lnTo>
                    <a:lnTo>
                      <a:pt x="86" y="54"/>
                    </a:lnTo>
                    <a:lnTo>
                      <a:pt x="86" y="54"/>
                    </a:lnTo>
                    <a:lnTo>
                      <a:pt x="86" y="54"/>
                    </a:lnTo>
                    <a:lnTo>
                      <a:pt x="86" y="49"/>
                    </a:lnTo>
                    <a:lnTo>
                      <a:pt x="90" y="49"/>
                    </a:lnTo>
                    <a:lnTo>
                      <a:pt x="90" y="45"/>
                    </a:lnTo>
                    <a:lnTo>
                      <a:pt x="90" y="45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0" y="36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5" y="31"/>
                    </a:lnTo>
                    <a:lnTo>
                      <a:pt x="95" y="31"/>
                    </a:lnTo>
                    <a:lnTo>
                      <a:pt x="95" y="31"/>
                    </a:lnTo>
                    <a:lnTo>
                      <a:pt x="95" y="31"/>
                    </a:lnTo>
                    <a:lnTo>
                      <a:pt x="95" y="31"/>
                    </a:lnTo>
                    <a:lnTo>
                      <a:pt x="99" y="31"/>
                    </a:lnTo>
                    <a:lnTo>
                      <a:pt x="99" y="31"/>
                    </a:lnTo>
                    <a:lnTo>
                      <a:pt x="99" y="31"/>
                    </a:lnTo>
                    <a:lnTo>
                      <a:pt x="99" y="27"/>
                    </a:lnTo>
                    <a:lnTo>
                      <a:pt x="99" y="27"/>
                    </a:lnTo>
                    <a:lnTo>
                      <a:pt x="104" y="27"/>
                    </a:lnTo>
                    <a:lnTo>
                      <a:pt x="104" y="27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8" y="22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4" y="18"/>
                    </a:lnTo>
                    <a:lnTo>
                      <a:pt x="108" y="13"/>
                    </a:lnTo>
                    <a:lnTo>
                      <a:pt x="108" y="13"/>
                    </a:lnTo>
                    <a:lnTo>
                      <a:pt x="113" y="13"/>
                    </a:lnTo>
                    <a:lnTo>
                      <a:pt x="113" y="13"/>
                    </a:lnTo>
                    <a:lnTo>
                      <a:pt x="117" y="13"/>
                    </a:lnTo>
                    <a:lnTo>
                      <a:pt x="117" y="13"/>
                    </a:lnTo>
                    <a:lnTo>
                      <a:pt x="117" y="13"/>
                    </a:lnTo>
                    <a:lnTo>
                      <a:pt x="122" y="13"/>
                    </a:lnTo>
                    <a:lnTo>
                      <a:pt x="122" y="13"/>
                    </a:lnTo>
                    <a:lnTo>
                      <a:pt x="122" y="13"/>
                    </a:lnTo>
                    <a:lnTo>
                      <a:pt x="126" y="18"/>
                    </a:lnTo>
                    <a:lnTo>
                      <a:pt x="126" y="18"/>
                    </a:lnTo>
                    <a:lnTo>
                      <a:pt x="126" y="18"/>
                    </a:lnTo>
                    <a:lnTo>
                      <a:pt x="126" y="13"/>
                    </a:lnTo>
                    <a:lnTo>
                      <a:pt x="126" y="13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5" y="18"/>
                    </a:lnTo>
                    <a:lnTo>
                      <a:pt x="135" y="13"/>
                    </a:lnTo>
                    <a:lnTo>
                      <a:pt x="135" y="13"/>
                    </a:lnTo>
                    <a:lnTo>
                      <a:pt x="140" y="13"/>
                    </a:lnTo>
                    <a:lnTo>
                      <a:pt x="140" y="13"/>
                    </a:lnTo>
                    <a:lnTo>
                      <a:pt x="140" y="13"/>
                    </a:lnTo>
                    <a:lnTo>
                      <a:pt x="140" y="13"/>
                    </a:lnTo>
                    <a:lnTo>
                      <a:pt x="144" y="13"/>
                    </a:lnTo>
                    <a:lnTo>
                      <a:pt x="144" y="13"/>
                    </a:lnTo>
                    <a:lnTo>
                      <a:pt x="144" y="13"/>
                    </a:lnTo>
                    <a:lnTo>
                      <a:pt x="149" y="13"/>
                    </a:lnTo>
                    <a:lnTo>
                      <a:pt x="149" y="13"/>
                    </a:lnTo>
                    <a:lnTo>
                      <a:pt x="149" y="9"/>
                    </a:lnTo>
                    <a:lnTo>
                      <a:pt x="149" y="9"/>
                    </a:lnTo>
                    <a:lnTo>
                      <a:pt x="149" y="9"/>
                    </a:lnTo>
                    <a:lnTo>
                      <a:pt x="149" y="9"/>
                    </a:lnTo>
                    <a:lnTo>
                      <a:pt x="149" y="9"/>
                    </a:lnTo>
                    <a:lnTo>
                      <a:pt x="149" y="4"/>
                    </a:lnTo>
                    <a:lnTo>
                      <a:pt x="149" y="4"/>
                    </a:lnTo>
                    <a:lnTo>
                      <a:pt x="149" y="4"/>
                    </a:lnTo>
                    <a:lnTo>
                      <a:pt x="149" y="4"/>
                    </a:lnTo>
                    <a:lnTo>
                      <a:pt x="149" y="0"/>
                    </a:lnTo>
                    <a:lnTo>
                      <a:pt x="153" y="0"/>
                    </a:lnTo>
                    <a:lnTo>
                      <a:pt x="153" y="4"/>
                    </a:lnTo>
                    <a:lnTo>
                      <a:pt x="153" y="9"/>
                    </a:lnTo>
                    <a:lnTo>
                      <a:pt x="153" y="13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21" name="Freeform 142"/>
              <p:cNvSpPr>
                <a:spLocks/>
              </p:cNvSpPr>
              <p:nvPr/>
            </p:nvSpPr>
            <p:spPr bwMode="auto">
              <a:xfrm>
                <a:off x="5195888" y="1984376"/>
                <a:ext cx="581025" cy="473075"/>
              </a:xfrm>
              <a:custGeom>
                <a:avLst/>
                <a:gdLst>
                  <a:gd name="T0" fmla="*/ 194 w 366"/>
                  <a:gd name="T1" fmla="*/ 58 h 298"/>
                  <a:gd name="T2" fmla="*/ 212 w 366"/>
                  <a:gd name="T3" fmla="*/ 67 h 298"/>
                  <a:gd name="T4" fmla="*/ 230 w 366"/>
                  <a:gd name="T5" fmla="*/ 72 h 298"/>
                  <a:gd name="T6" fmla="*/ 239 w 366"/>
                  <a:gd name="T7" fmla="*/ 86 h 298"/>
                  <a:gd name="T8" fmla="*/ 248 w 366"/>
                  <a:gd name="T9" fmla="*/ 95 h 298"/>
                  <a:gd name="T10" fmla="*/ 257 w 366"/>
                  <a:gd name="T11" fmla="*/ 104 h 298"/>
                  <a:gd name="T12" fmla="*/ 262 w 366"/>
                  <a:gd name="T13" fmla="*/ 113 h 298"/>
                  <a:gd name="T14" fmla="*/ 266 w 366"/>
                  <a:gd name="T15" fmla="*/ 122 h 298"/>
                  <a:gd name="T16" fmla="*/ 275 w 366"/>
                  <a:gd name="T17" fmla="*/ 135 h 298"/>
                  <a:gd name="T18" fmla="*/ 284 w 366"/>
                  <a:gd name="T19" fmla="*/ 140 h 298"/>
                  <a:gd name="T20" fmla="*/ 289 w 366"/>
                  <a:gd name="T21" fmla="*/ 144 h 298"/>
                  <a:gd name="T22" fmla="*/ 293 w 366"/>
                  <a:gd name="T23" fmla="*/ 153 h 298"/>
                  <a:gd name="T24" fmla="*/ 298 w 366"/>
                  <a:gd name="T25" fmla="*/ 162 h 298"/>
                  <a:gd name="T26" fmla="*/ 307 w 366"/>
                  <a:gd name="T27" fmla="*/ 171 h 298"/>
                  <a:gd name="T28" fmla="*/ 316 w 366"/>
                  <a:gd name="T29" fmla="*/ 171 h 298"/>
                  <a:gd name="T30" fmla="*/ 343 w 366"/>
                  <a:gd name="T31" fmla="*/ 176 h 298"/>
                  <a:gd name="T32" fmla="*/ 352 w 366"/>
                  <a:gd name="T33" fmla="*/ 176 h 298"/>
                  <a:gd name="T34" fmla="*/ 366 w 366"/>
                  <a:gd name="T35" fmla="*/ 190 h 298"/>
                  <a:gd name="T36" fmla="*/ 361 w 366"/>
                  <a:gd name="T37" fmla="*/ 203 h 298"/>
                  <a:gd name="T38" fmla="*/ 357 w 366"/>
                  <a:gd name="T39" fmla="*/ 217 h 298"/>
                  <a:gd name="T40" fmla="*/ 348 w 366"/>
                  <a:gd name="T41" fmla="*/ 230 h 298"/>
                  <a:gd name="T42" fmla="*/ 330 w 366"/>
                  <a:gd name="T43" fmla="*/ 239 h 298"/>
                  <a:gd name="T44" fmla="*/ 311 w 366"/>
                  <a:gd name="T45" fmla="*/ 248 h 298"/>
                  <a:gd name="T46" fmla="*/ 280 w 366"/>
                  <a:gd name="T47" fmla="*/ 253 h 298"/>
                  <a:gd name="T48" fmla="*/ 253 w 366"/>
                  <a:gd name="T49" fmla="*/ 262 h 298"/>
                  <a:gd name="T50" fmla="*/ 235 w 366"/>
                  <a:gd name="T51" fmla="*/ 275 h 298"/>
                  <a:gd name="T52" fmla="*/ 221 w 366"/>
                  <a:gd name="T53" fmla="*/ 284 h 298"/>
                  <a:gd name="T54" fmla="*/ 203 w 366"/>
                  <a:gd name="T55" fmla="*/ 280 h 298"/>
                  <a:gd name="T56" fmla="*/ 185 w 366"/>
                  <a:gd name="T57" fmla="*/ 280 h 298"/>
                  <a:gd name="T58" fmla="*/ 171 w 366"/>
                  <a:gd name="T59" fmla="*/ 280 h 298"/>
                  <a:gd name="T60" fmla="*/ 162 w 366"/>
                  <a:gd name="T61" fmla="*/ 275 h 298"/>
                  <a:gd name="T62" fmla="*/ 162 w 366"/>
                  <a:gd name="T63" fmla="*/ 280 h 298"/>
                  <a:gd name="T64" fmla="*/ 162 w 366"/>
                  <a:gd name="T65" fmla="*/ 289 h 298"/>
                  <a:gd name="T66" fmla="*/ 153 w 366"/>
                  <a:gd name="T67" fmla="*/ 298 h 298"/>
                  <a:gd name="T68" fmla="*/ 149 w 366"/>
                  <a:gd name="T69" fmla="*/ 284 h 298"/>
                  <a:gd name="T70" fmla="*/ 131 w 366"/>
                  <a:gd name="T71" fmla="*/ 262 h 298"/>
                  <a:gd name="T72" fmla="*/ 117 w 366"/>
                  <a:gd name="T73" fmla="*/ 239 h 298"/>
                  <a:gd name="T74" fmla="*/ 104 w 366"/>
                  <a:gd name="T75" fmla="*/ 226 h 298"/>
                  <a:gd name="T76" fmla="*/ 86 w 366"/>
                  <a:gd name="T77" fmla="*/ 203 h 298"/>
                  <a:gd name="T78" fmla="*/ 81 w 366"/>
                  <a:gd name="T79" fmla="*/ 185 h 298"/>
                  <a:gd name="T80" fmla="*/ 81 w 366"/>
                  <a:gd name="T81" fmla="*/ 176 h 298"/>
                  <a:gd name="T82" fmla="*/ 68 w 366"/>
                  <a:gd name="T83" fmla="*/ 158 h 298"/>
                  <a:gd name="T84" fmla="*/ 54 w 366"/>
                  <a:gd name="T85" fmla="*/ 149 h 298"/>
                  <a:gd name="T86" fmla="*/ 49 w 366"/>
                  <a:gd name="T87" fmla="*/ 135 h 298"/>
                  <a:gd name="T88" fmla="*/ 36 w 366"/>
                  <a:gd name="T89" fmla="*/ 117 h 298"/>
                  <a:gd name="T90" fmla="*/ 13 w 366"/>
                  <a:gd name="T91" fmla="*/ 86 h 298"/>
                  <a:gd name="T92" fmla="*/ 0 w 366"/>
                  <a:gd name="T93" fmla="*/ 76 h 298"/>
                  <a:gd name="T94" fmla="*/ 18 w 366"/>
                  <a:gd name="T95" fmla="*/ 58 h 298"/>
                  <a:gd name="T96" fmla="*/ 31 w 366"/>
                  <a:gd name="T97" fmla="*/ 45 h 298"/>
                  <a:gd name="T98" fmla="*/ 45 w 366"/>
                  <a:gd name="T99" fmla="*/ 36 h 298"/>
                  <a:gd name="T100" fmla="*/ 40 w 366"/>
                  <a:gd name="T101" fmla="*/ 22 h 298"/>
                  <a:gd name="T102" fmla="*/ 54 w 366"/>
                  <a:gd name="T103" fmla="*/ 9 h 298"/>
                  <a:gd name="T104" fmla="*/ 81 w 366"/>
                  <a:gd name="T105" fmla="*/ 4 h 298"/>
                  <a:gd name="T106" fmla="*/ 113 w 366"/>
                  <a:gd name="T107" fmla="*/ 18 h 298"/>
                  <a:gd name="T108" fmla="*/ 149 w 366"/>
                  <a:gd name="T109" fmla="*/ 45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66" h="298">
                    <a:moveTo>
                      <a:pt x="162" y="54"/>
                    </a:moveTo>
                    <a:lnTo>
                      <a:pt x="162" y="54"/>
                    </a:lnTo>
                    <a:lnTo>
                      <a:pt x="171" y="54"/>
                    </a:lnTo>
                    <a:lnTo>
                      <a:pt x="176" y="58"/>
                    </a:lnTo>
                    <a:lnTo>
                      <a:pt x="185" y="58"/>
                    </a:lnTo>
                    <a:lnTo>
                      <a:pt x="189" y="58"/>
                    </a:lnTo>
                    <a:lnTo>
                      <a:pt x="194" y="58"/>
                    </a:lnTo>
                    <a:lnTo>
                      <a:pt x="199" y="58"/>
                    </a:lnTo>
                    <a:lnTo>
                      <a:pt x="203" y="58"/>
                    </a:lnTo>
                    <a:lnTo>
                      <a:pt x="203" y="58"/>
                    </a:lnTo>
                    <a:lnTo>
                      <a:pt x="208" y="58"/>
                    </a:lnTo>
                    <a:lnTo>
                      <a:pt x="212" y="63"/>
                    </a:lnTo>
                    <a:lnTo>
                      <a:pt x="212" y="63"/>
                    </a:lnTo>
                    <a:lnTo>
                      <a:pt x="212" y="67"/>
                    </a:lnTo>
                    <a:lnTo>
                      <a:pt x="217" y="67"/>
                    </a:lnTo>
                    <a:lnTo>
                      <a:pt x="217" y="67"/>
                    </a:lnTo>
                    <a:lnTo>
                      <a:pt x="221" y="67"/>
                    </a:lnTo>
                    <a:lnTo>
                      <a:pt x="226" y="67"/>
                    </a:lnTo>
                    <a:lnTo>
                      <a:pt x="226" y="67"/>
                    </a:lnTo>
                    <a:lnTo>
                      <a:pt x="230" y="67"/>
                    </a:lnTo>
                    <a:lnTo>
                      <a:pt x="230" y="72"/>
                    </a:lnTo>
                    <a:lnTo>
                      <a:pt x="230" y="76"/>
                    </a:lnTo>
                    <a:lnTo>
                      <a:pt x="235" y="76"/>
                    </a:lnTo>
                    <a:lnTo>
                      <a:pt x="235" y="81"/>
                    </a:lnTo>
                    <a:lnTo>
                      <a:pt x="235" y="81"/>
                    </a:lnTo>
                    <a:lnTo>
                      <a:pt x="235" y="81"/>
                    </a:lnTo>
                    <a:lnTo>
                      <a:pt x="235" y="81"/>
                    </a:lnTo>
                    <a:lnTo>
                      <a:pt x="239" y="86"/>
                    </a:lnTo>
                    <a:lnTo>
                      <a:pt x="239" y="86"/>
                    </a:lnTo>
                    <a:lnTo>
                      <a:pt x="244" y="86"/>
                    </a:lnTo>
                    <a:lnTo>
                      <a:pt x="244" y="86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8" y="95"/>
                    </a:lnTo>
                    <a:lnTo>
                      <a:pt x="248" y="95"/>
                    </a:lnTo>
                    <a:lnTo>
                      <a:pt x="253" y="95"/>
                    </a:lnTo>
                    <a:lnTo>
                      <a:pt x="257" y="99"/>
                    </a:lnTo>
                    <a:lnTo>
                      <a:pt x="262" y="104"/>
                    </a:lnTo>
                    <a:lnTo>
                      <a:pt x="262" y="104"/>
                    </a:lnTo>
                    <a:lnTo>
                      <a:pt x="257" y="104"/>
                    </a:lnTo>
                    <a:lnTo>
                      <a:pt x="257" y="104"/>
                    </a:lnTo>
                    <a:lnTo>
                      <a:pt x="257" y="104"/>
                    </a:lnTo>
                    <a:lnTo>
                      <a:pt x="257" y="104"/>
                    </a:lnTo>
                    <a:lnTo>
                      <a:pt x="257" y="104"/>
                    </a:lnTo>
                    <a:lnTo>
                      <a:pt x="262" y="108"/>
                    </a:lnTo>
                    <a:lnTo>
                      <a:pt x="262" y="108"/>
                    </a:lnTo>
                    <a:lnTo>
                      <a:pt x="262" y="108"/>
                    </a:lnTo>
                    <a:lnTo>
                      <a:pt x="262" y="113"/>
                    </a:lnTo>
                    <a:lnTo>
                      <a:pt x="262" y="113"/>
                    </a:lnTo>
                    <a:lnTo>
                      <a:pt x="262" y="113"/>
                    </a:lnTo>
                    <a:lnTo>
                      <a:pt x="262" y="113"/>
                    </a:lnTo>
                    <a:lnTo>
                      <a:pt x="262" y="113"/>
                    </a:lnTo>
                    <a:lnTo>
                      <a:pt x="262" y="117"/>
                    </a:lnTo>
                    <a:lnTo>
                      <a:pt x="262" y="117"/>
                    </a:lnTo>
                    <a:lnTo>
                      <a:pt x="262" y="117"/>
                    </a:lnTo>
                    <a:lnTo>
                      <a:pt x="266" y="122"/>
                    </a:lnTo>
                    <a:lnTo>
                      <a:pt x="266" y="122"/>
                    </a:lnTo>
                    <a:lnTo>
                      <a:pt x="266" y="126"/>
                    </a:lnTo>
                    <a:lnTo>
                      <a:pt x="271" y="126"/>
                    </a:lnTo>
                    <a:lnTo>
                      <a:pt x="271" y="131"/>
                    </a:lnTo>
                    <a:lnTo>
                      <a:pt x="275" y="135"/>
                    </a:lnTo>
                    <a:lnTo>
                      <a:pt x="275" y="135"/>
                    </a:lnTo>
                    <a:lnTo>
                      <a:pt x="275" y="135"/>
                    </a:lnTo>
                    <a:lnTo>
                      <a:pt x="275" y="140"/>
                    </a:lnTo>
                    <a:lnTo>
                      <a:pt x="280" y="140"/>
                    </a:lnTo>
                    <a:lnTo>
                      <a:pt x="280" y="140"/>
                    </a:lnTo>
                    <a:lnTo>
                      <a:pt x="280" y="140"/>
                    </a:lnTo>
                    <a:lnTo>
                      <a:pt x="280" y="140"/>
                    </a:lnTo>
                    <a:lnTo>
                      <a:pt x="284" y="140"/>
                    </a:lnTo>
                    <a:lnTo>
                      <a:pt x="284" y="140"/>
                    </a:lnTo>
                    <a:lnTo>
                      <a:pt x="284" y="140"/>
                    </a:lnTo>
                    <a:lnTo>
                      <a:pt x="284" y="140"/>
                    </a:lnTo>
                    <a:lnTo>
                      <a:pt x="289" y="144"/>
                    </a:lnTo>
                    <a:lnTo>
                      <a:pt x="284" y="144"/>
                    </a:lnTo>
                    <a:lnTo>
                      <a:pt x="284" y="144"/>
                    </a:lnTo>
                    <a:lnTo>
                      <a:pt x="289" y="144"/>
                    </a:lnTo>
                    <a:lnTo>
                      <a:pt x="289" y="144"/>
                    </a:lnTo>
                    <a:lnTo>
                      <a:pt x="289" y="149"/>
                    </a:lnTo>
                    <a:lnTo>
                      <a:pt x="289" y="149"/>
                    </a:lnTo>
                    <a:lnTo>
                      <a:pt x="289" y="149"/>
                    </a:lnTo>
                    <a:lnTo>
                      <a:pt x="289" y="149"/>
                    </a:lnTo>
                    <a:lnTo>
                      <a:pt x="289" y="149"/>
                    </a:lnTo>
                    <a:lnTo>
                      <a:pt x="293" y="153"/>
                    </a:lnTo>
                    <a:lnTo>
                      <a:pt x="293" y="153"/>
                    </a:lnTo>
                    <a:lnTo>
                      <a:pt x="293" y="153"/>
                    </a:lnTo>
                    <a:lnTo>
                      <a:pt x="293" y="153"/>
                    </a:lnTo>
                    <a:lnTo>
                      <a:pt x="298" y="158"/>
                    </a:lnTo>
                    <a:lnTo>
                      <a:pt x="298" y="158"/>
                    </a:lnTo>
                    <a:lnTo>
                      <a:pt x="298" y="158"/>
                    </a:lnTo>
                    <a:lnTo>
                      <a:pt x="298" y="162"/>
                    </a:lnTo>
                    <a:lnTo>
                      <a:pt x="298" y="162"/>
                    </a:lnTo>
                    <a:lnTo>
                      <a:pt x="302" y="162"/>
                    </a:lnTo>
                    <a:lnTo>
                      <a:pt x="302" y="162"/>
                    </a:lnTo>
                    <a:lnTo>
                      <a:pt x="302" y="167"/>
                    </a:lnTo>
                    <a:lnTo>
                      <a:pt x="302" y="167"/>
                    </a:lnTo>
                    <a:lnTo>
                      <a:pt x="307" y="167"/>
                    </a:lnTo>
                    <a:lnTo>
                      <a:pt x="307" y="167"/>
                    </a:lnTo>
                    <a:lnTo>
                      <a:pt x="307" y="171"/>
                    </a:lnTo>
                    <a:lnTo>
                      <a:pt x="307" y="171"/>
                    </a:lnTo>
                    <a:lnTo>
                      <a:pt x="311" y="171"/>
                    </a:lnTo>
                    <a:lnTo>
                      <a:pt x="311" y="171"/>
                    </a:lnTo>
                    <a:lnTo>
                      <a:pt x="311" y="171"/>
                    </a:lnTo>
                    <a:lnTo>
                      <a:pt x="311" y="171"/>
                    </a:lnTo>
                    <a:lnTo>
                      <a:pt x="316" y="171"/>
                    </a:lnTo>
                    <a:lnTo>
                      <a:pt x="316" y="171"/>
                    </a:lnTo>
                    <a:lnTo>
                      <a:pt x="321" y="171"/>
                    </a:lnTo>
                    <a:lnTo>
                      <a:pt x="325" y="176"/>
                    </a:lnTo>
                    <a:lnTo>
                      <a:pt x="330" y="176"/>
                    </a:lnTo>
                    <a:lnTo>
                      <a:pt x="330" y="176"/>
                    </a:lnTo>
                    <a:lnTo>
                      <a:pt x="334" y="176"/>
                    </a:lnTo>
                    <a:lnTo>
                      <a:pt x="339" y="176"/>
                    </a:lnTo>
                    <a:lnTo>
                      <a:pt x="343" y="176"/>
                    </a:lnTo>
                    <a:lnTo>
                      <a:pt x="348" y="176"/>
                    </a:lnTo>
                    <a:lnTo>
                      <a:pt x="348" y="176"/>
                    </a:lnTo>
                    <a:lnTo>
                      <a:pt x="352" y="176"/>
                    </a:lnTo>
                    <a:lnTo>
                      <a:pt x="352" y="176"/>
                    </a:lnTo>
                    <a:lnTo>
                      <a:pt x="352" y="176"/>
                    </a:lnTo>
                    <a:lnTo>
                      <a:pt x="352" y="176"/>
                    </a:lnTo>
                    <a:lnTo>
                      <a:pt x="352" y="176"/>
                    </a:lnTo>
                    <a:lnTo>
                      <a:pt x="352" y="176"/>
                    </a:lnTo>
                    <a:lnTo>
                      <a:pt x="357" y="176"/>
                    </a:lnTo>
                    <a:lnTo>
                      <a:pt x="357" y="180"/>
                    </a:lnTo>
                    <a:lnTo>
                      <a:pt x="357" y="180"/>
                    </a:lnTo>
                    <a:lnTo>
                      <a:pt x="361" y="185"/>
                    </a:lnTo>
                    <a:lnTo>
                      <a:pt x="361" y="190"/>
                    </a:lnTo>
                    <a:lnTo>
                      <a:pt x="366" y="190"/>
                    </a:lnTo>
                    <a:lnTo>
                      <a:pt x="361" y="190"/>
                    </a:lnTo>
                    <a:lnTo>
                      <a:pt x="361" y="194"/>
                    </a:lnTo>
                    <a:lnTo>
                      <a:pt x="361" y="194"/>
                    </a:lnTo>
                    <a:lnTo>
                      <a:pt x="361" y="199"/>
                    </a:lnTo>
                    <a:lnTo>
                      <a:pt x="361" y="199"/>
                    </a:lnTo>
                    <a:lnTo>
                      <a:pt x="361" y="203"/>
                    </a:lnTo>
                    <a:lnTo>
                      <a:pt x="361" y="203"/>
                    </a:lnTo>
                    <a:lnTo>
                      <a:pt x="361" y="208"/>
                    </a:lnTo>
                    <a:lnTo>
                      <a:pt x="361" y="208"/>
                    </a:lnTo>
                    <a:lnTo>
                      <a:pt x="361" y="212"/>
                    </a:lnTo>
                    <a:lnTo>
                      <a:pt x="361" y="212"/>
                    </a:lnTo>
                    <a:lnTo>
                      <a:pt x="361" y="217"/>
                    </a:lnTo>
                    <a:lnTo>
                      <a:pt x="357" y="217"/>
                    </a:lnTo>
                    <a:lnTo>
                      <a:pt x="357" y="217"/>
                    </a:lnTo>
                    <a:lnTo>
                      <a:pt x="357" y="221"/>
                    </a:lnTo>
                    <a:lnTo>
                      <a:pt x="357" y="221"/>
                    </a:lnTo>
                    <a:lnTo>
                      <a:pt x="357" y="226"/>
                    </a:lnTo>
                    <a:lnTo>
                      <a:pt x="357" y="226"/>
                    </a:lnTo>
                    <a:lnTo>
                      <a:pt x="357" y="230"/>
                    </a:lnTo>
                    <a:lnTo>
                      <a:pt x="352" y="230"/>
                    </a:lnTo>
                    <a:lnTo>
                      <a:pt x="348" y="230"/>
                    </a:lnTo>
                    <a:lnTo>
                      <a:pt x="348" y="230"/>
                    </a:lnTo>
                    <a:lnTo>
                      <a:pt x="343" y="235"/>
                    </a:lnTo>
                    <a:lnTo>
                      <a:pt x="343" y="235"/>
                    </a:lnTo>
                    <a:lnTo>
                      <a:pt x="339" y="235"/>
                    </a:lnTo>
                    <a:lnTo>
                      <a:pt x="334" y="235"/>
                    </a:lnTo>
                    <a:lnTo>
                      <a:pt x="334" y="239"/>
                    </a:lnTo>
                    <a:lnTo>
                      <a:pt x="330" y="239"/>
                    </a:lnTo>
                    <a:lnTo>
                      <a:pt x="325" y="239"/>
                    </a:lnTo>
                    <a:lnTo>
                      <a:pt x="325" y="239"/>
                    </a:lnTo>
                    <a:lnTo>
                      <a:pt x="321" y="244"/>
                    </a:lnTo>
                    <a:lnTo>
                      <a:pt x="321" y="244"/>
                    </a:lnTo>
                    <a:lnTo>
                      <a:pt x="316" y="244"/>
                    </a:lnTo>
                    <a:lnTo>
                      <a:pt x="311" y="244"/>
                    </a:lnTo>
                    <a:lnTo>
                      <a:pt x="311" y="248"/>
                    </a:lnTo>
                    <a:lnTo>
                      <a:pt x="307" y="248"/>
                    </a:lnTo>
                    <a:lnTo>
                      <a:pt x="302" y="248"/>
                    </a:lnTo>
                    <a:lnTo>
                      <a:pt x="298" y="248"/>
                    </a:lnTo>
                    <a:lnTo>
                      <a:pt x="293" y="248"/>
                    </a:lnTo>
                    <a:lnTo>
                      <a:pt x="289" y="248"/>
                    </a:lnTo>
                    <a:lnTo>
                      <a:pt x="284" y="253"/>
                    </a:lnTo>
                    <a:lnTo>
                      <a:pt x="280" y="253"/>
                    </a:lnTo>
                    <a:lnTo>
                      <a:pt x="275" y="253"/>
                    </a:lnTo>
                    <a:lnTo>
                      <a:pt x="271" y="253"/>
                    </a:lnTo>
                    <a:lnTo>
                      <a:pt x="266" y="253"/>
                    </a:lnTo>
                    <a:lnTo>
                      <a:pt x="262" y="253"/>
                    </a:lnTo>
                    <a:lnTo>
                      <a:pt x="257" y="257"/>
                    </a:lnTo>
                    <a:lnTo>
                      <a:pt x="257" y="257"/>
                    </a:lnTo>
                    <a:lnTo>
                      <a:pt x="253" y="262"/>
                    </a:lnTo>
                    <a:lnTo>
                      <a:pt x="248" y="262"/>
                    </a:lnTo>
                    <a:lnTo>
                      <a:pt x="244" y="262"/>
                    </a:lnTo>
                    <a:lnTo>
                      <a:pt x="244" y="266"/>
                    </a:lnTo>
                    <a:lnTo>
                      <a:pt x="239" y="271"/>
                    </a:lnTo>
                    <a:lnTo>
                      <a:pt x="239" y="271"/>
                    </a:lnTo>
                    <a:lnTo>
                      <a:pt x="235" y="275"/>
                    </a:lnTo>
                    <a:lnTo>
                      <a:pt x="235" y="275"/>
                    </a:lnTo>
                    <a:lnTo>
                      <a:pt x="235" y="280"/>
                    </a:lnTo>
                    <a:lnTo>
                      <a:pt x="235" y="284"/>
                    </a:lnTo>
                    <a:lnTo>
                      <a:pt x="230" y="284"/>
                    </a:lnTo>
                    <a:lnTo>
                      <a:pt x="230" y="284"/>
                    </a:lnTo>
                    <a:lnTo>
                      <a:pt x="230" y="289"/>
                    </a:lnTo>
                    <a:lnTo>
                      <a:pt x="226" y="284"/>
                    </a:lnTo>
                    <a:lnTo>
                      <a:pt x="221" y="284"/>
                    </a:lnTo>
                    <a:lnTo>
                      <a:pt x="221" y="280"/>
                    </a:lnTo>
                    <a:lnTo>
                      <a:pt x="221" y="280"/>
                    </a:lnTo>
                    <a:lnTo>
                      <a:pt x="221" y="280"/>
                    </a:lnTo>
                    <a:lnTo>
                      <a:pt x="217" y="280"/>
                    </a:lnTo>
                    <a:lnTo>
                      <a:pt x="212" y="280"/>
                    </a:lnTo>
                    <a:lnTo>
                      <a:pt x="208" y="280"/>
                    </a:lnTo>
                    <a:lnTo>
                      <a:pt x="203" y="280"/>
                    </a:lnTo>
                    <a:lnTo>
                      <a:pt x="199" y="280"/>
                    </a:lnTo>
                    <a:lnTo>
                      <a:pt x="199" y="280"/>
                    </a:lnTo>
                    <a:lnTo>
                      <a:pt x="194" y="280"/>
                    </a:lnTo>
                    <a:lnTo>
                      <a:pt x="194" y="280"/>
                    </a:lnTo>
                    <a:lnTo>
                      <a:pt x="194" y="280"/>
                    </a:lnTo>
                    <a:lnTo>
                      <a:pt x="189" y="280"/>
                    </a:lnTo>
                    <a:lnTo>
                      <a:pt x="185" y="280"/>
                    </a:lnTo>
                    <a:lnTo>
                      <a:pt x="185" y="280"/>
                    </a:lnTo>
                    <a:lnTo>
                      <a:pt x="180" y="280"/>
                    </a:lnTo>
                    <a:lnTo>
                      <a:pt x="176" y="280"/>
                    </a:lnTo>
                    <a:lnTo>
                      <a:pt x="176" y="280"/>
                    </a:lnTo>
                    <a:lnTo>
                      <a:pt x="176" y="280"/>
                    </a:lnTo>
                    <a:lnTo>
                      <a:pt x="171" y="280"/>
                    </a:lnTo>
                    <a:lnTo>
                      <a:pt x="171" y="280"/>
                    </a:lnTo>
                    <a:lnTo>
                      <a:pt x="171" y="280"/>
                    </a:lnTo>
                    <a:lnTo>
                      <a:pt x="171" y="280"/>
                    </a:lnTo>
                    <a:lnTo>
                      <a:pt x="167" y="280"/>
                    </a:lnTo>
                    <a:lnTo>
                      <a:pt x="167" y="280"/>
                    </a:lnTo>
                    <a:lnTo>
                      <a:pt x="167" y="275"/>
                    </a:lnTo>
                    <a:lnTo>
                      <a:pt x="167" y="275"/>
                    </a:lnTo>
                    <a:lnTo>
                      <a:pt x="162" y="275"/>
                    </a:lnTo>
                    <a:lnTo>
                      <a:pt x="162" y="275"/>
                    </a:lnTo>
                    <a:lnTo>
                      <a:pt x="162" y="275"/>
                    </a:lnTo>
                    <a:lnTo>
                      <a:pt x="162" y="280"/>
                    </a:lnTo>
                    <a:lnTo>
                      <a:pt x="158" y="280"/>
                    </a:lnTo>
                    <a:lnTo>
                      <a:pt x="158" y="280"/>
                    </a:lnTo>
                    <a:lnTo>
                      <a:pt x="162" y="280"/>
                    </a:lnTo>
                    <a:lnTo>
                      <a:pt x="162" y="280"/>
                    </a:lnTo>
                    <a:lnTo>
                      <a:pt x="158" y="284"/>
                    </a:lnTo>
                    <a:lnTo>
                      <a:pt x="158" y="284"/>
                    </a:lnTo>
                    <a:lnTo>
                      <a:pt x="158" y="284"/>
                    </a:lnTo>
                    <a:lnTo>
                      <a:pt x="158" y="289"/>
                    </a:lnTo>
                    <a:lnTo>
                      <a:pt x="158" y="289"/>
                    </a:lnTo>
                    <a:lnTo>
                      <a:pt x="162" y="289"/>
                    </a:lnTo>
                    <a:lnTo>
                      <a:pt x="162" y="289"/>
                    </a:lnTo>
                    <a:lnTo>
                      <a:pt x="158" y="293"/>
                    </a:lnTo>
                    <a:lnTo>
                      <a:pt x="158" y="293"/>
                    </a:lnTo>
                    <a:lnTo>
                      <a:pt x="158" y="293"/>
                    </a:lnTo>
                    <a:lnTo>
                      <a:pt x="158" y="293"/>
                    </a:lnTo>
                    <a:lnTo>
                      <a:pt x="158" y="293"/>
                    </a:lnTo>
                    <a:lnTo>
                      <a:pt x="153" y="298"/>
                    </a:lnTo>
                    <a:lnTo>
                      <a:pt x="153" y="298"/>
                    </a:lnTo>
                    <a:lnTo>
                      <a:pt x="153" y="293"/>
                    </a:lnTo>
                    <a:lnTo>
                      <a:pt x="153" y="293"/>
                    </a:lnTo>
                    <a:lnTo>
                      <a:pt x="153" y="293"/>
                    </a:lnTo>
                    <a:lnTo>
                      <a:pt x="149" y="289"/>
                    </a:lnTo>
                    <a:lnTo>
                      <a:pt x="149" y="289"/>
                    </a:lnTo>
                    <a:lnTo>
                      <a:pt x="149" y="289"/>
                    </a:lnTo>
                    <a:lnTo>
                      <a:pt x="149" y="284"/>
                    </a:lnTo>
                    <a:lnTo>
                      <a:pt x="144" y="284"/>
                    </a:lnTo>
                    <a:lnTo>
                      <a:pt x="144" y="280"/>
                    </a:lnTo>
                    <a:lnTo>
                      <a:pt x="144" y="280"/>
                    </a:lnTo>
                    <a:lnTo>
                      <a:pt x="140" y="275"/>
                    </a:lnTo>
                    <a:lnTo>
                      <a:pt x="135" y="271"/>
                    </a:lnTo>
                    <a:lnTo>
                      <a:pt x="131" y="266"/>
                    </a:lnTo>
                    <a:lnTo>
                      <a:pt x="131" y="262"/>
                    </a:lnTo>
                    <a:lnTo>
                      <a:pt x="126" y="257"/>
                    </a:lnTo>
                    <a:lnTo>
                      <a:pt x="126" y="253"/>
                    </a:lnTo>
                    <a:lnTo>
                      <a:pt x="126" y="253"/>
                    </a:lnTo>
                    <a:lnTo>
                      <a:pt x="122" y="253"/>
                    </a:lnTo>
                    <a:lnTo>
                      <a:pt x="122" y="248"/>
                    </a:lnTo>
                    <a:lnTo>
                      <a:pt x="122" y="248"/>
                    </a:lnTo>
                    <a:lnTo>
                      <a:pt x="117" y="239"/>
                    </a:lnTo>
                    <a:lnTo>
                      <a:pt x="117" y="239"/>
                    </a:lnTo>
                    <a:lnTo>
                      <a:pt x="117" y="235"/>
                    </a:lnTo>
                    <a:lnTo>
                      <a:pt x="117" y="235"/>
                    </a:lnTo>
                    <a:lnTo>
                      <a:pt x="117" y="235"/>
                    </a:lnTo>
                    <a:lnTo>
                      <a:pt x="113" y="235"/>
                    </a:lnTo>
                    <a:lnTo>
                      <a:pt x="108" y="230"/>
                    </a:lnTo>
                    <a:lnTo>
                      <a:pt x="104" y="226"/>
                    </a:lnTo>
                    <a:lnTo>
                      <a:pt x="99" y="226"/>
                    </a:lnTo>
                    <a:lnTo>
                      <a:pt x="95" y="221"/>
                    </a:lnTo>
                    <a:lnTo>
                      <a:pt x="95" y="221"/>
                    </a:lnTo>
                    <a:lnTo>
                      <a:pt x="90" y="217"/>
                    </a:lnTo>
                    <a:lnTo>
                      <a:pt x="90" y="212"/>
                    </a:lnTo>
                    <a:lnTo>
                      <a:pt x="86" y="208"/>
                    </a:lnTo>
                    <a:lnTo>
                      <a:pt x="86" y="203"/>
                    </a:lnTo>
                    <a:lnTo>
                      <a:pt x="86" y="203"/>
                    </a:lnTo>
                    <a:lnTo>
                      <a:pt x="86" y="199"/>
                    </a:lnTo>
                    <a:lnTo>
                      <a:pt x="81" y="199"/>
                    </a:lnTo>
                    <a:lnTo>
                      <a:pt x="81" y="194"/>
                    </a:lnTo>
                    <a:lnTo>
                      <a:pt x="81" y="194"/>
                    </a:lnTo>
                    <a:lnTo>
                      <a:pt x="81" y="190"/>
                    </a:lnTo>
                    <a:lnTo>
                      <a:pt x="81" y="185"/>
                    </a:lnTo>
                    <a:lnTo>
                      <a:pt x="81" y="185"/>
                    </a:lnTo>
                    <a:lnTo>
                      <a:pt x="81" y="180"/>
                    </a:lnTo>
                    <a:lnTo>
                      <a:pt x="81" y="180"/>
                    </a:lnTo>
                    <a:lnTo>
                      <a:pt x="81" y="176"/>
                    </a:lnTo>
                    <a:lnTo>
                      <a:pt x="81" y="176"/>
                    </a:lnTo>
                    <a:lnTo>
                      <a:pt x="77" y="176"/>
                    </a:lnTo>
                    <a:lnTo>
                      <a:pt x="81" y="176"/>
                    </a:lnTo>
                    <a:lnTo>
                      <a:pt x="77" y="176"/>
                    </a:lnTo>
                    <a:lnTo>
                      <a:pt x="77" y="171"/>
                    </a:lnTo>
                    <a:lnTo>
                      <a:pt x="77" y="171"/>
                    </a:lnTo>
                    <a:lnTo>
                      <a:pt x="77" y="167"/>
                    </a:lnTo>
                    <a:lnTo>
                      <a:pt x="72" y="162"/>
                    </a:lnTo>
                    <a:lnTo>
                      <a:pt x="72" y="162"/>
                    </a:lnTo>
                    <a:lnTo>
                      <a:pt x="68" y="158"/>
                    </a:lnTo>
                    <a:lnTo>
                      <a:pt x="63" y="153"/>
                    </a:lnTo>
                    <a:lnTo>
                      <a:pt x="63" y="153"/>
                    </a:lnTo>
                    <a:lnTo>
                      <a:pt x="58" y="153"/>
                    </a:lnTo>
                    <a:lnTo>
                      <a:pt x="58" y="153"/>
                    </a:lnTo>
                    <a:lnTo>
                      <a:pt x="58" y="149"/>
                    </a:lnTo>
                    <a:lnTo>
                      <a:pt x="54" y="149"/>
                    </a:lnTo>
                    <a:lnTo>
                      <a:pt x="54" y="149"/>
                    </a:lnTo>
                    <a:lnTo>
                      <a:pt x="54" y="144"/>
                    </a:lnTo>
                    <a:lnTo>
                      <a:pt x="49" y="144"/>
                    </a:lnTo>
                    <a:lnTo>
                      <a:pt x="45" y="140"/>
                    </a:lnTo>
                    <a:lnTo>
                      <a:pt x="49" y="140"/>
                    </a:lnTo>
                    <a:lnTo>
                      <a:pt x="49" y="135"/>
                    </a:lnTo>
                    <a:lnTo>
                      <a:pt x="49" y="135"/>
                    </a:lnTo>
                    <a:lnTo>
                      <a:pt x="49" y="135"/>
                    </a:lnTo>
                    <a:lnTo>
                      <a:pt x="45" y="131"/>
                    </a:lnTo>
                    <a:lnTo>
                      <a:pt x="40" y="126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36" y="117"/>
                    </a:lnTo>
                    <a:lnTo>
                      <a:pt x="36" y="117"/>
                    </a:lnTo>
                    <a:lnTo>
                      <a:pt x="36" y="117"/>
                    </a:lnTo>
                    <a:lnTo>
                      <a:pt x="27" y="108"/>
                    </a:lnTo>
                    <a:lnTo>
                      <a:pt x="27" y="104"/>
                    </a:lnTo>
                    <a:lnTo>
                      <a:pt x="27" y="99"/>
                    </a:lnTo>
                    <a:lnTo>
                      <a:pt x="22" y="99"/>
                    </a:lnTo>
                    <a:lnTo>
                      <a:pt x="18" y="95"/>
                    </a:lnTo>
                    <a:lnTo>
                      <a:pt x="18" y="90"/>
                    </a:lnTo>
                    <a:lnTo>
                      <a:pt x="13" y="86"/>
                    </a:lnTo>
                    <a:lnTo>
                      <a:pt x="9" y="81"/>
                    </a:lnTo>
                    <a:lnTo>
                      <a:pt x="9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0" y="81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67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9" y="54"/>
                    </a:lnTo>
                    <a:lnTo>
                      <a:pt x="13" y="58"/>
                    </a:lnTo>
                    <a:lnTo>
                      <a:pt x="18" y="58"/>
                    </a:lnTo>
                    <a:lnTo>
                      <a:pt x="22" y="58"/>
                    </a:lnTo>
                    <a:lnTo>
                      <a:pt x="22" y="58"/>
                    </a:lnTo>
                    <a:lnTo>
                      <a:pt x="27" y="54"/>
                    </a:lnTo>
                    <a:lnTo>
                      <a:pt x="27" y="49"/>
                    </a:lnTo>
                    <a:lnTo>
                      <a:pt x="31" y="49"/>
                    </a:lnTo>
                    <a:lnTo>
                      <a:pt x="31" y="45"/>
                    </a:lnTo>
                    <a:lnTo>
                      <a:pt x="31" y="45"/>
                    </a:lnTo>
                    <a:lnTo>
                      <a:pt x="36" y="45"/>
                    </a:lnTo>
                    <a:lnTo>
                      <a:pt x="40" y="45"/>
                    </a:lnTo>
                    <a:lnTo>
                      <a:pt x="45" y="40"/>
                    </a:lnTo>
                    <a:lnTo>
                      <a:pt x="45" y="40"/>
                    </a:lnTo>
                    <a:lnTo>
                      <a:pt x="45" y="40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9" y="31"/>
                    </a:lnTo>
                    <a:lnTo>
                      <a:pt x="49" y="31"/>
                    </a:lnTo>
                    <a:lnTo>
                      <a:pt x="49" y="31"/>
                    </a:lnTo>
                    <a:lnTo>
                      <a:pt x="45" y="27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6" y="18"/>
                    </a:lnTo>
                    <a:lnTo>
                      <a:pt x="31" y="13"/>
                    </a:lnTo>
                    <a:lnTo>
                      <a:pt x="36" y="13"/>
                    </a:lnTo>
                    <a:lnTo>
                      <a:pt x="40" y="13"/>
                    </a:lnTo>
                    <a:lnTo>
                      <a:pt x="45" y="9"/>
                    </a:lnTo>
                    <a:lnTo>
                      <a:pt x="49" y="9"/>
                    </a:lnTo>
                    <a:lnTo>
                      <a:pt x="54" y="9"/>
                    </a:lnTo>
                    <a:lnTo>
                      <a:pt x="58" y="4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8" y="0"/>
                    </a:lnTo>
                    <a:lnTo>
                      <a:pt x="72" y="4"/>
                    </a:lnTo>
                    <a:lnTo>
                      <a:pt x="77" y="4"/>
                    </a:lnTo>
                    <a:lnTo>
                      <a:pt x="81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5" y="9"/>
                    </a:lnTo>
                    <a:lnTo>
                      <a:pt x="99" y="9"/>
                    </a:lnTo>
                    <a:lnTo>
                      <a:pt x="104" y="13"/>
                    </a:lnTo>
                    <a:lnTo>
                      <a:pt x="108" y="18"/>
                    </a:lnTo>
                    <a:lnTo>
                      <a:pt x="113" y="18"/>
                    </a:lnTo>
                    <a:lnTo>
                      <a:pt x="117" y="22"/>
                    </a:lnTo>
                    <a:lnTo>
                      <a:pt x="122" y="22"/>
                    </a:lnTo>
                    <a:lnTo>
                      <a:pt x="126" y="27"/>
                    </a:lnTo>
                    <a:lnTo>
                      <a:pt x="131" y="31"/>
                    </a:lnTo>
                    <a:lnTo>
                      <a:pt x="135" y="36"/>
                    </a:lnTo>
                    <a:lnTo>
                      <a:pt x="140" y="40"/>
                    </a:lnTo>
                    <a:lnTo>
                      <a:pt x="149" y="45"/>
                    </a:lnTo>
                    <a:lnTo>
                      <a:pt x="153" y="49"/>
                    </a:lnTo>
                    <a:lnTo>
                      <a:pt x="158" y="49"/>
                    </a:lnTo>
                    <a:lnTo>
                      <a:pt x="162" y="54"/>
                    </a:lnTo>
                    <a:lnTo>
                      <a:pt x="162" y="5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22" name="Freeform 143"/>
              <p:cNvSpPr>
                <a:spLocks/>
              </p:cNvSpPr>
              <p:nvPr/>
            </p:nvSpPr>
            <p:spPr bwMode="auto">
              <a:xfrm>
                <a:off x="4872038" y="2286001"/>
                <a:ext cx="452438" cy="558800"/>
              </a:xfrm>
              <a:custGeom>
                <a:avLst/>
                <a:gdLst>
                  <a:gd name="T0" fmla="*/ 181 w 285"/>
                  <a:gd name="T1" fmla="*/ 4 h 352"/>
                  <a:gd name="T2" fmla="*/ 226 w 285"/>
                  <a:gd name="T3" fmla="*/ 4 h 352"/>
                  <a:gd name="T4" fmla="*/ 258 w 285"/>
                  <a:gd name="T5" fmla="*/ 18 h 352"/>
                  <a:gd name="T6" fmla="*/ 258 w 285"/>
                  <a:gd name="T7" fmla="*/ 27 h 352"/>
                  <a:gd name="T8" fmla="*/ 267 w 285"/>
                  <a:gd name="T9" fmla="*/ 63 h 352"/>
                  <a:gd name="T10" fmla="*/ 281 w 285"/>
                  <a:gd name="T11" fmla="*/ 72 h 352"/>
                  <a:gd name="T12" fmla="*/ 281 w 285"/>
                  <a:gd name="T13" fmla="*/ 85 h 352"/>
                  <a:gd name="T14" fmla="*/ 276 w 285"/>
                  <a:gd name="T15" fmla="*/ 85 h 352"/>
                  <a:gd name="T16" fmla="*/ 267 w 285"/>
                  <a:gd name="T17" fmla="*/ 90 h 352"/>
                  <a:gd name="T18" fmla="*/ 262 w 285"/>
                  <a:gd name="T19" fmla="*/ 94 h 352"/>
                  <a:gd name="T20" fmla="*/ 258 w 285"/>
                  <a:gd name="T21" fmla="*/ 108 h 352"/>
                  <a:gd name="T22" fmla="*/ 249 w 285"/>
                  <a:gd name="T23" fmla="*/ 131 h 352"/>
                  <a:gd name="T24" fmla="*/ 249 w 285"/>
                  <a:gd name="T25" fmla="*/ 162 h 352"/>
                  <a:gd name="T26" fmla="*/ 244 w 285"/>
                  <a:gd name="T27" fmla="*/ 176 h 352"/>
                  <a:gd name="T28" fmla="*/ 231 w 285"/>
                  <a:gd name="T29" fmla="*/ 194 h 352"/>
                  <a:gd name="T30" fmla="*/ 226 w 285"/>
                  <a:gd name="T31" fmla="*/ 212 h 352"/>
                  <a:gd name="T32" fmla="*/ 217 w 285"/>
                  <a:gd name="T33" fmla="*/ 217 h 352"/>
                  <a:gd name="T34" fmla="*/ 213 w 285"/>
                  <a:gd name="T35" fmla="*/ 235 h 352"/>
                  <a:gd name="T36" fmla="*/ 213 w 285"/>
                  <a:gd name="T37" fmla="*/ 257 h 352"/>
                  <a:gd name="T38" fmla="*/ 199 w 285"/>
                  <a:gd name="T39" fmla="*/ 257 h 352"/>
                  <a:gd name="T40" fmla="*/ 199 w 285"/>
                  <a:gd name="T41" fmla="*/ 271 h 352"/>
                  <a:gd name="T42" fmla="*/ 213 w 285"/>
                  <a:gd name="T43" fmla="*/ 280 h 352"/>
                  <a:gd name="T44" fmla="*/ 226 w 285"/>
                  <a:gd name="T45" fmla="*/ 293 h 352"/>
                  <a:gd name="T46" fmla="*/ 235 w 285"/>
                  <a:gd name="T47" fmla="*/ 316 h 352"/>
                  <a:gd name="T48" fmla="*/ 208 w 285"/>
                  <a:gd name="T49" fmla="*/ 343 h 352"/>
                  <a:gd name="T50" fmla="*/ 190 w 285"/>
                  <a:gd name="T51" fmla="*/ 348 h 352"/>
                  <a:gd name="T52" fmla="*/ 181 w 285"/>
                  <a:gd name="T53" fmla="*/ 352 h 352"/>
                  <a:gd name="T54" fmla="*/ 168 w 285"/>
                  <a:gd name="T55" fmla="*/ 348 h 352"/>
                  <a:gd name="T56" fmla="*/ 159 w 285"/>
                  <a:gd name="T57" fmla="*/ 352 h 352"/>
                  <a:gd name="T58" fmla="*/ 154 w 285"/>
                  <a:gd name="T59" fmla="*/ 348 h 352"/>
                  <a:gd name="T60" fmla="*/ 136 w 285"/>
                  <a:gd name="T61" fmla="*/ 330 h 352"/>
                  <a:gd name="T62" fmla="*/ 122 w 285"/>
                  <a:gd name="T63" fmla="*/ 334 h 352"/>
                  <a:gd name="T64" fmla="*/ 109 w 285"/>
                  <a:gd name="T65" fmla="*/ 334 h 352"/>
                  <a:gd name="T66" fmla="*/ 104 w 285"/>
                  <a:gd name="T67" fmla="*/ 325 h 352"/>
                  <a:gd name="T68" fmla="*/ 95 w 285"/>
                  <a:gd name="T69" fmla="*/ 311 h 352"/>
                  <a:gd name="T70" fmla="*/ 82 w 285"/>
                  <a:gd name="T71" fmla="*/ 302 h 352"/>
                  <a:gd name="T72" fmla="*/ 77 w 285"/>
                  <a:gd name="T73" fmla="*/ 289 h 352"/>
                  <a:gd name="T74" fmla="*/ 59 w 285"/>
                  <a:gd name="T75" fmla="*/ 275 h 352"/>
                  <a:gd name="T76" fmla="*/ 46 w 285"/>
                  <a:gd name="T77" fmla="*/ 262 h 352"/>
                  <a:gd name="T78" fmla="*/ 37 w 285"/>
                  <a:gd name="T79" fmla="*/ 253 h 352"/>
                  <a:gd name="T80" fmla="*/ 28 w 285"/>
                  <a:gd name="T81" fmla="*/ 248 h 352"/>
                  <a:gd name="T82" fmla="*/ 28 w 285"/>
                  <a:gd name="T83" fmla="*/ 221 h 352"/>
                  <a:gd name="T84" fmla="*/ 19 w 285"/>
                  <a:gd name="T85" fmla="*/ 203 h 352"/>
                  <a:gd name="T86" fmla="*/ 14 w 285"/>
                  <a:gd name="T87" fmla="*/ 194 h 352"/>
                  <a:gd name="T88" fmla="*/ 10 w 285"/>
                  <a:gd name="T89" fmla="*/ 180 h 352"/>
                  <a:gd name="T90" fmla="*/ 0 w 285"/>
                  <a:gd name="T91" fmla="*/ 176 h 352"/>
                  <a:gd name="T92" fmla="*/ 5 w 285"/>
                  <a:gd name="T93" fmla="*/ 162 h 352"/>
                  <a:gd name="T94" fmla="*/ 10 w 285"/>
                  <a:gd name="T95" fmla="*/ 153 h 352"/>
                  <a:gd name="T96" fmla="*/ 10 w 285"/>
                  <a:gd name="T97" fmla="*/ 144 h 352"/>
                  <a:gd name="T98" fmla="*/ 14 w 285"/>
                  <a:gd name="T99" fmla="*/ 140 h 352"/>
                  <a:gd name="T100" fmla="*/ 19 w 285"/>
                  <a:gd name="T101" fmla="*/ 131 h 352"/>
                  <a:gd name="T102" fmla="*/ 37 w 285"/>
                  <a:gd name="T103" fmla="*/ 122 h 352"/>
                  <a:gd name="T104" fmla="*/ 32 w 285"/>
                  <a:gd name="T105" fmla="*/ 85 h 352"/>
                  <a:gd name="T106" fmla="*/ 32 w 285"/>
                  <a:gd name="T107" fmla="*/ 40 h 352"/>
                  <a:gd name="T108" fmla="*/ 50 w 285"/>
                  <a:gd name="T109" fmla="*/ 40 h 352"/>
                  <a:gd name="T110" fmla="*/ 73 w 285"/>
                  <a:gd name="T111" fmla="*/ 4 h 352"/>
                  <a:gd name="T112" fmla="*/ 127 w 285"/>
                  <a:gd name="T113" fmla="*/ 4 h 352"/>
                  <a:gd name="T114" fmla="*/ 159 w 285"/>
                  <a:gd name="T115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5" h="352">
                    <a:moveTo>
                      <a:pt x="159" y="4"/>
                    </a:moveTo>
                    <a:lnTo>
                      <a:pt x="159" y="4"/>
                    </a:lnTo>
                    <a:lnTo>
                      <a:pt x="159" y="4"/>
                    </a:lnTo>
                    <a:lnTo>
                      <a:pt x="163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7" y="4"/>
                    </a:lnTo>
                    <a:lnTo>
                      <a:pt x="181" y="4"/>
                    </a:lnTo>
                    <a:lnTo>
                      <a:pt x="190" y="4"/>
                    </a:lnTo>
                    <a:lnTo>
                      <a:pt x="195" y="4"/>
                    </a:lnTo>
                    <a:lnTo>
                      <a:pt x="199" y="4"/>
                    </a:lnTo>
                    <a:lnTo>
                      <a:pt x="204" y="4"/>
                    </a:lnTo>
                    <a:lnTo>
                      <a:pt x="213" y="4"/>
                    </a:lnTo>
                    <a:lnTo>
                      <a:pt x="217" y="4"/>
                    </a:lnTo>
                    <a:lnTo>
                      <a:pt x="222" y="4"/>
                    </a:lnTo>
                    <a:lnTo>
                      <a:pt x="226" y="4"/>
                    </a:lnTo>
                    <a:lnTo>
                      <a:pt x="235" y="4"/>
                    </a:lnTo>
                    <a:lnTo>
                      <a:pt x="240" y="4"/>
                    </a:lnTo>
                    <a:lnTo>
                      <a:pt x="244" y="4"/>
                    </a:lnTo>
                    <a:lnTo>
                      <a:pt x="249" y="4"/>
                    </a:lnTo>
                    <a:lnTo>
                      <a:pt x="249" y="9"/>
                    </a:lnTo>
                    <a:lnTo>
                      <a:pt x="253" y="9"/>
                    </a:lnTo>
                    <a:lnTo>
                      <a:pt x="253" y="18"/>
                    </a:lnTo>
                    <a:lnTo>
                      <a:pt x="258" y="18"/>
                    </a:lnTo>
                    <a:lnTo>
                      <a:pt x="258" y="18"/>
                    </a:lnTo>
                    <a:lnTo>
                      <a:pt x="258" y="22"/>
                    </a:lnTo>
                    <a:lnTo>
                      <a:pt x="258" y="22"/>
                    </a:lnTo>
                    <a:lnTo>
                      <a:pt x="258" y="22"/>
                    </a:lnTo>
                    <a:lnTo>
                      <a:pt x="258" y="18"/>
                    </a:lnTo>
                    <a:lnTo>
                      <a:pt x="258" y="22"/>
                    </a:lnTo>
                    <a:lnTo>
                      <a:pt x="258" y="22"/>
                    </a:lnTo>
                    <a:lnTo>
                      <a:pt x="258" y="27"/>
                    </a:lnTo>
                    <a:lnTo>
                      <a:pt x="258" y="31"/>
                    </a:lnTo>
                    <a:lnTo>
                      <a:pt x="258" y="31"/>
                    </a:lnTo>
                    <a:lnTo>
                      <a:pt x="258" y="40"/>
                    </a:lnTo>
                    <a:lnTo>
                      <a:pt x="258" y="45"/>
                    </a:lnTo>
                    <a:lnTo>
                      <a:pt x="258" y="49"/>
                    </a:lnTo>
                    <a:lnTo>
                      <a:pt x="262" y="58"/>
                    </a:lnTo>
                    <a:lnTo>
                      <a:pt x="262" y="63"/>
                    </a:lnTo>
                    <a:lnTo>
                      <a:pt x="267" y="63"/>
                    </a:lnTo>
                    <a:lnTo>
                      <a:pt x="267" y="63"/>
                    </a:lnTo>
                    <a:lnTo>
                      <a:pt x="267" y="63"/>
                    </a:lnTo>
                    <a:lnTo>
                      <a:pt x="272" y="67"/>
                    </a:lnTo>
                    <a:lnTo>
                      <a:pt x="276" y="72"/>
                    </a:lnTo>
                    <a:lnTo>
                      <a:pt x="276" y="72"/>
                    </a:lnTo>
                    <a:lnTo>
                      <a:pt x="276" y="72"/>
                    </a:lnTo>
                    <a:lnTo>
                      <a:pt x="276" y="72"/>
                    </a:lnTo>
                    <a:lnTo>
                      <a:pt x="281" y="72"/>
                    </a:lnTo>
                    <a:lnTo>
                      <a:pt x="281" y="72"/>
                    </a:lnTo>
                    <a:lnTo>
                      <a:pt x="285" y="76"/>
                    </a:lnTo>
                    <a:lnTo>
                      <a:pt x="285" y="76"/>
                    </a:lnTo>
                    <a:lnTo>
                      <a:pt x="285" y="81"/>
                    </a:lnTo>
                    <a:lnTo>
                      <a:pt x="281" y="81"/>
                    </a:lnTo>
                    <a:lnTo>
                      <a:pt x="281" y="81"/>
                    </a:lnTo>
                    <a:lnTo>
                      <a:pt x="281" y="81"/>
                    </a:lnTo>
                    <a:lnTo>
                      <a:pt x="281" y="85"/>
                    </a:lnTo>
                    <a:lnTo>
                      <a:pt x="281" y="85"/>
                    </a:lnTo>
                    <a:lnTo>
                      <a:pt x="281" y="85"/>
                    </a:lnTo>
                    <a:lnTo>
                      <a:pt x="281" y="85"/>
                    </a:lnTo>
                    <a:lnTo>
                      <a:pt x="281" y="85"/>
                    </a:lnTo>
                    <a:lnTo>
                      <a:pt x="276" y="85"/>
                    </a:lnTo>
                    <a:lnTo>
                      <a:pt x="276" y="85"/>
                    </a:lnTo>
                    <a:lnTo>
                      <a:pt x="276" y="85"/>
                    </a:lnTo>
                    <a:lnTo>
                      <a:pt x="276" y="85"/>
                    </a:lnTo>
                    <a:lnTo>
                      <a:pt x="276" y="85"/>
                    </a:lnTo>
                    <a:lnTo>
                      <a:pt x="272" y="85"/>
                    </a:lnTo>
                    <a:lnTo>
                      <a:pt x="272" y="90"/>
                    </a:lnTo>
                    <a:lnTo>
                      <a:pt x="272" y="90"/>
                    </a:lnTo>
                    <a:lnTo>
                      <a:pt x="272" y="90"/>
                    </a:lnTo>
                    <a:lnTo>
                      <a:pt x="272" y="90"/>
                    </a:lnTo>
                    <a:lnTo>
                      <a:pt x="272" y="90"/>
                    </a:lnTo>
                    <a:lnTo>
                      <a:pt x="267" y="90"/>
                    </a:lnTo>
                    <a:lnTo>
                      <a:pt x="267" y="90"/>
                    </a:lnTo>
                    <a:lnTo>
                      <a:pt x="267" y="90"/>
                    </a:lnTo>
                    <a:lnTo>
                      <a:pt x="267" y="90"/>
                    </a:lnTo>
                    <a:lnTo>
                      <a:pt x="267" y="94"/>
                    </a:lnTo>
                    <a:lnTo>
                      <a:pt x="267" y="94"/>
                    </a:lnTo>
                    <a:lnTo>
                      <a:pt x="262" y="94"/>
                    </a:lnTo>
                    <a:lnTo>
                      <a:pt x="262" y="94"/>
                    </a:lnTo>
                    <a:lnTo>
                      <a:pt x="262" y="94"/>
                    </a:lnTo>
                    <a:lnTo>
                      <a:pt x="258" y="94"/>
                    </a:lnTo>
                    <a:lnTo>
                      <a:pt x="258" y="94"/>
                    </a:lnTo>
                    <a:lnTo>
                      <a:pt x="258" y="99"/>
                    </a:lnTo>
                    <a:lnTo>
                      <a:pt x="258" y="99"/>
                    </a:lnTo>
                    <a:lnTo>
                      <a:pt x="258" y="99"/>
                    </a:lnTo>
                    <a:lnTo>
                      <a:pt x="258" y="103"/>
                    </a:lnTo>
                    <a:lnTo>
                      <a:pt x="258" y="103"/>
                    </a:lnTo>
                    <a:lnTo>
                      <a:pt x="258" y="108"/>
                    </a:lnTo>
                    <a:lnTo>
                      <a:pt x="258" y="113"/>
                    </a:lnTo>
                    <a:lnTo>
                      <a:pt x="258" y="117"/>
                    </a:lnTo>
                    <a:lnTo>
                      <a:pt x="258" y="117"/>
                    </a:lnTo>
                    <a:lnTo>
                      <a:pt x="253" y="122"/>
                    </a:lnTo>
                    <a:lnTo>
                      <a:pt x="253" y="122"/>
                    </a:lnTo>
                    <a:lnTo>
                      <a:pt x="253" y="126"/>
                    </a:lnTo>
                    <a:lnTo>
                      <a:pt x="253" y="131"/>
                    </a:lnTo>
                    <a:lnTo>
                      <a:pt x="249" y="131"/>
                    </a:lnTo>
                    <a:lnTo>
                      <a:pt x="249" y="135"/>
                    </a:lnTo>
                    <a:lnTo>
                      <a:pt x="249" y="140"/>
                    </a:lnTo>
                    <a:lnTo>
                      <a:pt x="253" y="144"/>
                    </a:lnTo>
                    <a:lnTo>
                      <a:pt x="253" y="149"/>
                    </a:lnTo>
                    <a:lnTo>
                      <a:pt x="249" y="153"/>
                    </a:lnTo>
                    <a:lnTo>
                      <a:pt x="253" y="158"/>
                    </a:lnTo>
                    <a:lnTo>
                      <a:pt x="249" y="162"/>
                    </a:lnTo>
                    <a:lnTo>
                      <a:pt x="249" y="162"/>
                    </a:lnTo>
                    <a:lnTo>
                      <a:pt x="249" y="162"/>
                    </a:lnTo>
                    <a:lnTo>
                      <a:pt x="249" y="167"/>
                    </a:lnTo>
                    <a:lnTo>
                      <a:pt x="249" y="167"/>
                    </a:lnTo>
                    <a:lnTo>
                      <a:pt x="249" y="171"/>
                    </a:lnTo>
                    <a:lnTo>
                      <a:pt x="244" y="176"/>
                    </a:lnTo>
                    <a:lnTo>
                      <a:pt x="249" y="176"/>
                    </a:lnTo>
                    <a:lnTo>
                      <a:pt x="244" y="176"/>
                    </a:lnTo>
                    <a:lnTo>
                      <a:pt x="244" y="176"/>
                    </a:lnTo>
                    <a:lnTo>
                      <a:pt x="244" y="180"/>
                    </a:lnTo>
                    <a:lnTo>
                      <a:pt x="240" y="180"/>
                    </a:lnTo>
                    <a:lnTo>
                      <a:pt x="240" y="180"/>
                    </a:lnTo>
                    <a:lnTo>
                      <a:pt x="240" y="180"/>
                    </a:lnTo>
                    <a:lnTo>
                      <a:pt x="235" y="180"/>
                    </a:lnTo>
                    <a:lnTo>
                      <a:pt x="235" y="185"/>
                    </a:lnTo>
                    <a:lnTo>
                      <a:pt x="235" y="189"/>
                    </a:lnTo>
                    <a:lnTo>
                      <a:pt x="231" y="194"/>
                    </a:lnTo>
                    <a:lnTo>
                      <a:pt x="231" y="194"/>
                    </a:lnTo>
                    <a:lnTo>
                      <a:pt x="231" y="198"/>
                    </a:lnTo>
                    <a:lnTo>
                      <a:pt x="231" y="198"/>
                    </a:lnTo>
                    <a:lnTo>
                      <a:pt x="226" y="203"/>
                    </a:lnTo>
                    <a:lnTo>
                      <a:pt x="226" y="207"/>
                    </a:lnTo>
                    <a:lnTo>
                      <a:pt x="226" y="207"/>
                    </a:lnTo>
                    <a:lnTo>
                      <a:pt x="226" y="212"/>
                    </a:lnTo>
                    <a:lnTo>
                      <a:pt x="226" y="212"/>
                    </a:lnTo>
                    <a:lnTo>
                      <a:pt x="226" y="212"/>
                    </a:lnTo>
                    <a:lnTo>
                      <a:pt x="226" y="217"/>
                    </a:lnTo>
                    <a:lnTo>
                      <a:pt x="226" y="217"/>
                    </a:lnTo>
                    <a:lnTo>
                      <a:pt x="222" y="212"/>
                    </a:lnTo>
                    <a:lnTo>
                      <a:pt x="222" y="212"/>
                    </a:lnTo>
                    <a:lnTo>
                      <a:pt x="222" y="212"/>
                    </a:lnTo>
                    <a:lnTo>
                      <a:pt x="222" y="212"/>
                    </a:lnTo>
                    <a:lnTo>
                      <a:pt x="217" y="217"/>
                    </a:lnTo>
                    <a:lnTo>
                      <a:pt x="217" y="217"/>
                    </a:lnTo>
                    <a:lnTo>
                      <a:pt x="217" y="221"/>
                    </a:lnTo>
                    <a:lnTo>
                      <a:pt x="217" y="226"/>
                    </a:lnTo>
                    <a:lnTo>
                      <a:pt x="217" y="226"/>
                    </a:lnTo>
                    <a:lnTo>
                      <a:pt x="217" y="226"/>
                    </a:lnTo>
                    <a:lnTo>
                      <a:pt x="213" y="230"/>
                    </a:lnTo>
                    <a:lnTo>
                      <a:pt x="213" y="230"/>
                    </a:lnTo>
                    <a:lnTo>
                      <a:pt x="213" y="235"/>
                    </a:lnTo>
                    <a:lnTo>
                      <a:pt x="213" y="239"/>
                    </a:lnTo>
                    <a:lnTo>
                      <a:pt x="213" y="239"/>
                    </a:lnTo>
                    <a:lnTo>
                      <a:pt x="213" y="239"/>
                    </a:lnTo>
                    <a:lnTo>
                      <a:pt x="213" y="244"/>
                    </a:lnTo>
                    <a:lnTo>
                      <a:pt x="213" y="248"/>
                    </a:lnTo>
                    <a:lnTo>
                      <a:pt x="213" y="253"/>
                    </a:lnTo>
                    <a:lnTo>
                      <a:pt x="213" y="253"/>
                    </a:lnTo>
                    <a:lnTo>
                      <a:pt x="213" y="257"/>
                    </a:lnTo>
                    <a:lnTo>
                      <a:pt x="213" y="257"/>
                    </a:lnTo>
                    <a:lnTo>
                      <a:pt x="213" y="257"/>
                    </a:lnTo>
                    <a:lnTo>
                      <a:pt x="213" y="257"/>
                    </a:lnTo>
                    <a:lnTo>
                      <a:pt x="208" y="257"/>
                    </a:lnTo>
                    <a:lnTo>
                      <a:pt x="208" y="257"/>
                    </a:lnTo>
                    <a:lnTo>
                      <a:pt x="204" y="257"/>
                    </a:lnTo>
                    <a:lnTo>
                      <a:pt x="204" y="257"/>
                    </a:lnTo>
                    <a:lnTo>
                      <a:pt x="199" y="257"/>
                    </a:lnTo>
                    <a:lnTo>
                      <a:pt x="199" y="262"/>
                    </a:lnTo>
                    <a:lnTo>
                      <a:pt x="199" y="262"/>
                    </a:lnTo>
                    <a:lnTo>
                      <a:pt x="195" y="266"/>
                    </a:lnTo>
                    <a:lnTo>
                      <a:pt x="195" y="266"/>
                    </a:lnTo>
                    <a:lnTo>
                      <a:pt x="195" y="271"/>
                    </a:lnTo>
                    <a:lnTo>
                      <a:pt x="195" y="271"/>
                    </a:lnTo>
                    <a:lnTo>
                      <a:pt x="195" y="271"/>
                    </a:lnTo>
                    <a:lnTo>
                      <a:pt x="199" y="271"/>
                    </a:lnTo>
                    <a:lnTo>
                      <a:pt x="204" y="271"/>
                    </a:lnTo>
                    <a:lnTo>
                      <a:pt x="204" y="271"/>
                    </a:lnTo>
                    <a:lnTo>
                      <a:pt x="204" y="271"/>
                    </a:lnTo>
                    <a:lnTo>
                      <a:pt x="208" y="275"/>
                    </a:lnTo>
                    <a:lnTo>
                      <a:pt x="213" y="275"/>
                    </a:lnTo>
                    <a:lnTo>
                      <a:pt x="213" y="280"/>
                    </a:lnTo>
                    <a:lnTo>
                      <a:pt x="213" y="280"/>
                    </a:lnTo>
                    <a:lnTo>
                      <a:pt x="213" y="280"/>
                    </a:lnTo>
                    <a:lnTo>
                      <a:pt x="213" y="280"/>
                    </a:lnTo>
                    <a:lnTo>
                      <a:pt x="217" y="284"/>
                    </a:lnTo>
                    <a:lnTo>
                      <a:pt x="217" y="284"/>
                    </a:lnTo>
                    <a:lnTo>
                      <a:pt x="222" y="289"/>
                    </a:lnTo>
                    <a:lnTo>
                      <a:pt x="222" y="289"/>
                    </a:lnTo>
                    <a:lnTo>
                      <a:pt x="222" y="293"/>
                    </a:lnTo>
                    <a:lnTo>
                      <a:pt x="226" y="293"/>
                    </a:lnTo>
                    <a:lnTo>
                      <a:pt x="226" y="293"/>
                    </a:lnTo>
                    <a:lnTo>
                      <a:pt x="226" y="298"/>
                    </a:lnTo>
                    <a:lnTo>
                      <a:pt x="231" y="302"/>
                    </a:lnTo>
                    <a:lnTo>
                      <a:pt x="231" y="302"/>
                    </a:lnTo>
                    <a:lnTo>
                      <a:pt x="231" y="307"/>
                    </a:lnTo>
                    <a:lnTo>
                      <a:pt x="231" y="307"/>
                    </a:lnTo>
                    <a:lnTo>
                      <a:pt x="231" y="311"/>
                    </a:lnTo>
                    <a:lnTo>
                      <a:pt x="235" y="311"/>
                    </a:lnTo>
                    <a:lnTo>
                      <a:pt x="235" y="316"/>
                    </a:lnTo>
                    <a:lnTo>
                      <a:pt x="235" y="316"/>
                    </a:lnTo>
                    <a:lnTo>
                      <a:pt x="231" y="316"/>
                    </a:lnTo>
                    <a:lnTo>
                      <a:pt x="231" y="321"/>
                    </a:lnTo>
                    <a:lnTo>
                      <a:pt x="226" y="325"/>
                    </a:lnTo>
                    <a:lnTo>
                      <a:pt x="222" y="330"/>
                    </a:lnTo>
                    <a:lnTo>
                      <a:pt x="217" y="334"/>
                    </a:lnTo>
                    <a:lnTo>
                      <a:pt x="213" y="339"/>
                    </a:lnTo>
                    <a:lnTo>
                      <a:pt x="208" y="343"/>
                    </a:lnTo>
                    <a:lnTo>
                      <a:pt x="208" y="348"/>
                    </a:lnTo>
                    <a:lnTo>
                      <a:pt x="204" y="348"/>
                    </a:lnTo>
                    <a:lnTo>
                      <a:pt x="204" y="348"/>
                    </a:lnTo>
                    <a:lnTo>
                      <a:pt x="204" y="348"/>
                    </a:lnTo>
                    <a:lnTo>
                      <a:pt x="199" y="348"/>
                    </a:lnTo>
                    <a:lnTo>
                      <a:pt x="195" y="343"/>
                    </a:lnTo>
                    <a:lnTo>
                      <a:pt x="195" y="348"/>
                    </a:lnTo>
                    <a:lnTo>
                      <a:pt x="190" y="348"/>
                    </a:lnTo>
                    <a:lnTo>
                      <a:pt x="190" y="348"/>
                    </a:lnTo>
                    <a:lnTo>
                      <a:pt x="190" y="348"/>
                    </a:lnTo>
                    <a:lnTo>
                      <a:pt x="186" y="348"/>
                    </a:lnTo>
                    <a:lnTo>
                      <a:pt x="181" y="348"/>
                    </a:lnTo>
                    <a:lnTo>
                      <a:pt x="181" y="352"/>
                    </a:lnTo>
                    <a:lnTo>
                      <a:pt x="181" y="352"/>
                    </a:lnTo>
                    <a:lnTo>
                      <a:pt x="181" y="352"/>
                    </a:lnTo>
                    <a:lnTo>
                      <a:pt x="181" y="352"/>
                    </a:lnTo>
                    <a:lnTo>
                      <a:pt x="181" y="352"/>
                    </a:lnTo>
                    <a:lnTo>
                      <a:pt x="177" y="352"/>
                    </a:lnTo>
                    <a:lnTo>
                      <a:pt x="177" y="348"/>
                    </a:lnTo>
                    <a:lnTo>
                      <a:pt x="177" y="348"/>
                    </a:lnTo>
                    <a:lnTo>
                      <a:pt x="177" y="348"/>
                    </a:lnTo>
                    <a:lnTo>
                      <a:pt x="172" y="348"/>
                    </a:lnTo>
                    <a:lnTo>
                      <a:pt x="172" y="348"/>
                    </a:lnTo>
                    <a:lnTo>
                      <a:pt x="168" y="348"/>
                    </a:lnTo>
                    <a:lnTo>
                      <a:pt x="168" y="348"/>
                    </a:lnTo>
                    <a:lnTo>
                      <a:pt x="163" y="348"/>
                    </a:lnTo>
                    <a:lnTo>
                      <a:pt x="163" y="348"/>
                    </a:lnTo>
                    <a:lnTo>
                      <a:pt x="163" y="348"/>
                    </a:lnTo>
                    <a:lnTo>
                      <a:pt x="159" y="348"/>
                    </a:lnTo>
                    <a:lnTo>
                      <a:pt x="159" y="352"/>
                    </a:lnTo>
                    <a:lnTo>
                      <a:pt x="159" y="352"/>
                    </a:lnTo>
                    <a:lnTo>
                      <a:pt x="159" y="352"/>
                    </a:lnTo>
                    <a:lnTo>
                      <a:pt x="159" y="352"/>
                    </a:lnTo>
                    <a:lnTo>
                      <a:pt x="159" y="348"/>
                    </a:lnTo>
                    <a:lnTo>
                      <a:pt x="154" y="348"/>
                    </a:lnTo>
                    <a:lnTo>
                      <a:pt x="154" y="348"/>
                    </a:lnTo>
                    <a:lnTo>
                      <a:pt x="154" y="348"/>
                    </a:lnTo>
                    <a:lnTo>
                      <a:pt x="154" y="348"/>
                    </a:lnTo>
                    <a:lnTo>
                      <a:pt x="154" y="348"/>
                    </a:lnTo>
                    <a:lnTo>
                      <a:pt x="154" y="348"/>
                    </a:lnTo>
                    <a:lnTo>
                      <a:pt x="154" y="348"/>
                    </a:lnTo>
                    <a:lnTo>
                      <a:pt x="150" y="343"/>
                    </a:lnTo>
                    <a:lnTo>
                      <a:pt x="145" y="343"/>
                    </a:lnTo>
                    <a:lnTo>
                      <a:pt x="145" y="339"/>
                    </a:lnTo>
                    <a:lnTo>
                      <a:pt x="141" y="339"/>
                    </a:lnTo>
                    <a:lnTo>
                      <a:pt x="141" y="339"/>
                    </a:lnTo>
                    <a:lnTo>
                      <a:pt x="141" y="334"/>
                    </a:lnTo>
                    <a:lnTo>
                      <a:pt x="136" y="330"/>
                    </a:lnTo>
                    <a:lnTo>
                      <a:pt x="136" y="330"/>
                    </a:lnTo>
                    <a:lnTo>
                      <a:pt x="136" y="330"/>
                    </a:lnTo>
                    <a:lnTo>
                      <a:pt x="131" y="334"/>
                    </a:lnTo>
                    <a:lnTo>
                      <a:pt x="131" y="334"/>
                    </a:lnTo>
                    <a:lnTo>
                      <a:pt x="127" y="334"/>
                    </a:lnTo>
                    <a:lnTo>
                      <a:pt x="127" y="334"/>
                    </a:lnTo>
                    <a:lnTo>
                      <a:pt x="127" y="334"/>
                    </a:lnTo>
                    <a:lnTo>
                      <a:pt x="122" y="334"/>
                    </a:lnTo>
                    <a:lnTo>
                      <a:pt x="118" y="334"/>
                    </a:lnTo>
                    <a:lnTo>
                      <a:pt x="118" y="334"/>
                    </a:lnTo>
                    <a:lnTo>
                      <a:pt x="118" y="339"/>
                    </a:lnTo>
                    <a:lnTo>
                      <a:pt x="113" y="339"/>
                    </a:lnTo>
                    <a:lnTo>
                      <a:pt x="113" y="334"/>
                    </a:lnTo>
                    <a:lnTo>
                      <a:pt x="113" y="334"/>
                    </a:lnTo>
                    <a:lnTo>
                      <a:pt x="113" y="334"/>
                    </a:lnTo>
                    <a:lnTo>
                      <a:pt x="109" y="334"/>
                    </a:lnTo>
                    <a:lnTo>
                      <a:pt x="109" y="334"/>
                    </a:lnTo>
                    <a:lnTo>
                      <a:pt x="109" y="334"/>
                    </a:lnTo>
                    <a:lnTo>
                      <a:pt x="109" y="334"/>
                    </a:lnTo>
                    <a:lnTo>
                      <a:pt x="104" y="330"/>
                    </a:lnTo>
                    <a:lnTo>
                      <a:pt x="104" y="330"/>
                    </a:lnTo>
                    <a:lnTo>
                      <a:pt x="104" y="330"/>
                    </a:lnTo>
                    <a:lnTo>
                      <a:pt x="104" y="330"/>
                    </a:lnTo>
                    <a:lnTo>
                      <a:pt x="104" y="325"/>
                    </a:lnTo>
                    <a:lnTo>
                      <a:pt x="100" y="325"/>
                    </a:lnTo>
                    <a:lnTo>
                      <a:pt x="100" y="325"/>
                    </a:lnTo>
                    <a:lnTo>
                      <a:pt x="100" y="321"/>
                    </a:lnTo>
                    <a:lnTo>
                      <a:pt x="95" y="321"/>
                    </a:lnTo>
                    <a:lnTo>
                      <a:pt x="95" y="321"/>
                    </a:lnTo>
                    <a:lnTo>
                      <a:pt x="95" y="316"/>
                    </a:lnTo>
                    <a:lnTo>
                      <a:pt x="95" y="311"/>
                    </a:lnTo>
                    <a:lnTo>
                      <a:pt x="95" y="311"/>
                    </a:lnTo>
                    <a:lnTo>
                      <a:pt x="95" y="311"/>
                    </a:lnTo>
                    <a:lnTo>
                      <a:pt x="95" y="311"/>
                    </a:lnTo>
                    <a:lnTo>
                      <a:pt x="91" y="307"/>
                    </a:lnTo>
                    <a:lnTo>
                      <a:pt x="91" y="307"/>
                    </a:lnTo>
                    <a:lnTo>
                      <a:pt x="86" y="307"/>
                    </a:lnTo>
                    <a:lnTo>
                      <a:pt x="86" y="307"/>
                    </a:lnTo>
                    <a:lnTo>
                      <a:pt x="82" y="302"/>
                    </a:lnTo>
                    <a:lnTo>
                      <a:pt x="82" y="302"/>
                    </a:lnTo>
                    <a:lnTo>
                      <a:pt x="82" y="302"/>
                    </a:lnTo>
                    <a:lnTo>
                      <a:pt x="82" y="298"/>
                    </a:lnTo>
                    <a:lnTo>
                      <a:pt x="82" y="298"/>
                    </a:lnTo>
                    <a:lnTo>
                      <a:pt x="77" y="298"/>
                    </a:lnTo>
                    <a:lnTo>
                      <a:pt x="77" y="298"/>
                    </a:lnTo>
                    <a:lnTo>
                      <a:pt x="82" y="293"/>
                    </a:lnTo>
                    <a:lnTo>
                      <a:pt x="77" y="293"/>
                    </a:lnTo>
                    <a:lnTo>
                      <a:pt x="77" y="289"/>
                    </a:lnTo>
                    <a:lnTo>
                      <a:pt x="73" y="289"/>
                    </a:lnTo>
                    <a:lnTo>
                      <a:pt x="73" y="289"/>
                    </a:lnTo>
                    <a:lnTo>
                      <a:pt x="73" y="284"/>
                    </a:lnTo>
                    <a:lnTo>
                      <a:pt x="64" y="280"/>
                    </a:lnTo>
                    <a:lnTo>
                      <a:pt x="64" y="280"/>
                    </a:lnTo>
                    <a:lnTo>
                      <a:pt x="59" y="280"/>
                    </a:lnTo>
                    <a:lnTo>
                      <a:pt x="59" y="275"/>
                    </a:lnTo>
                    <a:lnTo>
                      <a:pt x="59" y="275"/>
                    </a:lnTo>
                    <a:lnTo>
                      <a:pt x="59" y="275"/>
                    </a:lnTo>
                    <a:lnTo>
                      <a:pt x="59" y="271"/>
                    </a:lnTo>
                    <a:lnTo>
                      <a:pt x="59" y="271"/>
                    </a:lnTo>
                    <a:lnTo>
                      <a:pt x="55" y="266"/>
                    </a:lnTo>
                    <a:lnTo>
                      <a:pt x="55" y="266"/>
                    </a:lnTo>
                    <a:lnTo>
                      <a:pt x="50" y="262"/>
                    </a:lnTo>
                    <a:lnTo>
                      <a:pt x="46" y="262"/>
                    </a:lnTo>
                    <a:lnTo>
                      <a:pt x="46" y="262"/>
                    </a:lnTo>
                    <a:lnTo>
                      <a:pt x="41" y="262"/>
                    </a:lnTo>
                    <a:lnTo>
                      <a:pt x="41" y="262"/>
                    </a:lnTo>
                    <a:lnTo>
                      <a:pt x="41" y="257"/>
                    </a:lnTo>
                    <a:lnTo>
                      <a:pt x="41" y="257"/>
                    </a:lnTo>
                    <a:lnTo>
                      <a:pt x="41" y="257"/>
                    </a:lnTo>
                    <a:lnTo>
                      <a:pt x="41" y="253"/>
                    </a:lnTo>
                    <a:lnTo>
                      <a:pt x="41" y="253"/>
                    </a:lnTo>
                    <a:lnTo>
                      <a:pt x="37" y="253"/>
                    </a:lnTo>
                    <a:lnTo>
                      <a:pt x="32" y="253"/>
                    </a:lnTo>
                    <a:lnTo>
                      <a:pt x="32" y="253"/>
                    </a:lnTo>
                    <a:lnTo>
                      <a:pt x="32" y="253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28" y="248"/>
                    </a:lnTo>
                    <a:lnTo>
                      <a:pt x="28" y="248"/>
                    </a:lnTo>
                    <a:lnTo>
                      <a:pt x="28" y="248"/>
                    </a:lnTo>
                    <a:lnTo>
                      <a:pt x="32" y="244"/>
                    </a:lnTo>
                    <a:lnTo>
                      <a:pt x="32" y="244"/>
                    </a:lnTo>
                    <a:lnTo>
                      <a:pt x="32" y="239"/>
                    </a:lnTo>
                    <a:lnTo>
                      <a:pt x="32" y="235"/>
                    </a:lnTo>
                    <a:lnTo>
                      <a:pt x="32" y="235"/>
                    </a:lnTo>
                    <a:lnTo>
                      <a:pt x="32" y="230"/>
                    </a:lnTo>
                    <a:lnTo>
                      <a:pt x="28" y="226"/>
                    </a:lnTo>
                    <a:lnTo>
                      <a:pt x="28" y="221"/>
                    </a:lnTo>
                    <a:lnTo>
                      <a:pt x="23" y="221"/>
                    </a:lnTo>
                    <a:lnTo>
                      <a:pt x="19" y="217"/>
                    </a:lnTo>
                    <a:lnTo>
                      <a:pt x="19" y="217"/>
                    </a:lnTo>
                    <a:lnTo>
                      <a:pt x="19" y="212"/>
                    </a:lnTo>
                    <a:lnTo>
                      <a:pt x="19" y="212"/>
                    </a:lnTo>
                    <a:lnTo>
                      <a:pt x="19" y="207"/>
                    </a:lnTo>
                    <a:lnTo>
                      <a:pt x="19" y="207"/>
                    </a:lnTo>
                    <a:lnTo>
                      <a:pt x="19" y="203"/>
                    </a:lnTo>
                    <a:lnTo>
                      <a:pt x="19" y="203"/>
                    </a:lnTo>
                    <a:lnTo>
                      <a:pt x="14" y="203"/>
                    </a:lnTo>
                    <a:lnTo>
                      <a:pt x="14" y="203"/>
                    </a:lnTo>
                    <a:lnTo>
                      <a:pt x="14" y="203"/>
                    </a:lnTo>
                    <a:lnTo>
                      <a:pt x="14" y="203"/>
                    </a:lnTo>
                    <a:lnTo>
                      <a:pt x="14" y="198"/>
                    </a:lnTo>
                    <a:lnTo>
                      <a:pt x="14" y="198"/>
                    </a:lnTo>
                    <a:lnTo>
                      <a:pt x="14" y="194"/>
                    </a:lnTo>
                    <a:lnTo>
                      <a:pt x="14" y="189"/>
                    </a:lnTo>
                    <a:lnTo>
                      <a:pt x="10" y="189"/>
                    </a:lnTo>
                    <a:lnTo>
                      <a:pt x="10" y="189"/>
                    </a:lnTo>
                    <a:lnTo>
                      <a:pt x="10" y="189"/>
                    </a:lnTo>
                    <a:lnTo>
                      <a:pt x="10" y="185"/>
                    </a:lnTo>
                    <a:lnTo>
                      <a:pt x="10" y="185"/>
                    </a:lnTo>
                    <a:lnTo>
                      <a:pt x="10" y="180"/>
                    </a:lnTo>
                    <a:lnTo>
                      <a:pt x="10" y="180"/>
                    </a:lnTo>
                    <a:lnTo>
                      <a:pt x="5" y="180"/>
                    </a:lnTo>
                    <a:lnTo>
                      <a:pt x="5" y="180"/>
                    </a:lnTo>
                    <a:lnTo>
                      <a:pt x="0" y="180"/>
                    </a:lnTo>
                    <a:lnTo>
                      <a:pt x="0" y="180"/>
                    </a:lnTo>
                    <a:lnTo>
                      <a:pt x="0" y="180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1"/>
                    </a:lnTo>
                    <a:lnTo>
                      <a:pt x="0" y="171"/>
                    </a:lnTo>
                    <a:lnTo>
                      <a:pt x="5" y="171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5" y="162"/>
                    </a:lnTo>
                    <a:lnTo>
                      <a:pt x="5" y="162"/>
                    </a:lnTo>
                    <a:lnTo>
                      <a:pt x="5" y="158"/>
                    </a:lnTo>
                    <a:lnTo>
                      <a:pt x="5" y="158"/>
                    </a:lnTo>
                    <a:lnTo>
                      <a:pt x="5" y="158"/>
                    </a:lnTo>
                    <a:lnTo>
                      <a:pt x="5" y="158"/>
                    </a:lnTo>
                    <a:lnTo>
                      <a:pt x="5" y="153"/>
                    </a:lnTo>
                    <a:lnTo>
                      <a:pt x="5" y="153"/>
                    </a:lnTo>
                    <a:lnTo>
                      <a:pt x="10" y="153"/>
                    </a:lnTo>
                    <a:lnTo>
                      <a:pt x="10" y="153"/>
                    </a:lnTo>
                    <a:lnTo>
                      <a:pt x="10" y="153"/>
                    </a:lnTo>
                    <a:lnTo>
                      <a:pt x="10" y="153"/>
                    </a:lnTo>
                    <a:lnTo>
                      <a:pt x="10" y="149"/>
                    </a:lnTo>
                    <a:lnTo>
                      <a:pt x="10" y="149"/>
                    </a:lnTo>
                    <a:lnTo>
                      <a:pt x="10" y="149"/>
                    </a:lnTo>
                    <a:lnTo>
                      <a:pt x="10" y="149"/>
                    </a:lnTo>
                    <a:lnTo>
                      <a:pt x="10" y="144"/>
                    </a:lnTo>
                    <a:lnTo>
                      <a:pt x="10" y="144"/>
                    </a:lnTo>
                    <a:lnTo>
                      <a:pt x="10" y="144"/>
                    </a:lnTo>
                    <a:lnTo>
                      <a:pt x="10" y="144"/>
                    </a:lnTo>
                    <a:lnTo>
                      <a:pt x="10" y="144"/>
                    </a:lnTo>
                    <a:lnTo>
                      <a:pt x="10" y="144"/>
                    </a:lnTo>
                    <a:lnTo>
                      <a:pt x="14" y="140"/>
                    </a:lnTo>
                    <a:lnTo>
                      <a:pt x="14" y="140"/>
                    </a:lnTo>
                    <a:lnTo>
                      <a:pt x="14" y="140"/>
                    </a:lnTo>
                    <a:lnTo>
                      <a:pt x="14" y="140"/>
                    </a:lnTo>
                    <a:lnTo>
                      <a:pt x="14" y="140"/>
                    </a:lnTo>
                    <a:lnTo>
                      <a:pt x="14" y="135"/>
                    </a:lnTo>
                    <a:lnTo>
                      <a:pt x="14" y="135"/>
                    </a:lnTo>
                    <a:lnTo>
                      <a:pt x="19" y="135"/>
                    </a:lnTo>
                    <a:lnTo>
                      <a:pt x="19" y="131"/>
                    </a:lnTo>
                    <a:lnTo>
                      <a:pt x="19" y="131"/>
                    </a:lnTo>
                    <a:lnTo>
                      <a:pt x="19" y="131"/>
                    </a:lnTo>
                    <a:lnTo>
                      <a:pt x="19" y="126"/>
                    </a:lnTo>
                    <a:lnTo>
                      <a:pt x="19" y="126"/>
                    </a:lnTo>
                    <a:lnTo>
                      <a:pt x="19" y="122"/>
                    </a:lnTo>
                    <a:lnTo>
                      <a:pt x="23" y="122"/>
                    </a:lnTo>
                    <a:lnTo>
                      <a:pt x="28" y="122"/>
                    </a:lnTo>
                    <a:lnTo>
                      <a:pt x="28" y="122"/>
                    </a:lnTo>
                    <a:lnTo>
                      <a:pt x="32" y="122"/>
                    </a:lnTo>
                    <a:lnTo>
                      <a:pt x="37" y="122"/>
                    </a:lnTo>
                    <a:lnTo>
                      <a:pt x="37" y="122"/>
                    </a:lnTo>
                    <a:lnTo>
                      <a:pt x="37" y="122"/>
                    </a:lnTo>
                    <a:lnTo>
                      <a:pt x="37" y="122"/>
                    </a:lnTo>
                    <a:lnTo>
                      <a:pt x="37" y="117"/>
                    </a:lnTo>
                    <a:lnTo>
                      <a:pt x="37" y="108"/>
                    </a:lnTo>
                    <a:lnTo>
                      <a:pt x="37" y="103"/>
                    </a:lnTo>
                    <a:lnTo>
                      <a:pt x="37" y="94"/>
                    </a:lnTo>
                    <a:lnTo>
                      <a:pt x="32" y="85"/>
                    </a:lnTo>
                    <a:lnTo>
                      <a:pt x="32" y="76"/>
                    </a:lnTo>
                    <a:lnTo>
                      <a:pt x="32" y="67"/>
                    </a:lnTo>
                    <a:lnTo>
                      <a:pt x="32" y="58"/>
                    </a:lnTo>
                    <a:lnTo>
                      <a:pt x="32" y="49"/>
                    </a:lnTo>
                    <a:lnTo>
                      <a:pt x="32" y="49"/>
                    </a:lnTo>
                    <a:lnTo>
                      <a:pt x="32" y="45"/>
                    </a:lnTo>
                    <a:lnTo>
                      <a:pt x="32" y="45"/>
                    </a:lnTo>
                    <a:lnTo>
                      <a:pt x="32" y="40"/>
                    </a:lnTo>
                    <a:lnTo>
                      <a:pt x="37" y="40"/>
                    </a:lnTo>
                    <a:lnTo>
                      <a:pt x="41" y="40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31"/>
                    </a:lnTo>
                    <a:lnTo>
                      <a:pt x="50" y="22"/>
                    </a:lnTo>
                    <a:lnTo>
                      <a:pt x="50" y="13"/>
                    </a:lnTo>
                    <a:lnTo>
                      <a:pt x="50" y="4"/>
                    </a:lnTo>
                    <a:lnTo>
                      <a:pt x="55" y="4"/>
                    </a:lnTo>
                    <a:lnTo>
                      <a:pt x="59" y="4"/>
                    </a:lnTo>
                    <a:lnTo>
                      <a:pt x="68" y="4"/>
                    </a:lnTo>
                    <a:lnTo>
                      <a:pt x="73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5" y="4"/>
                    </a:lnTo>
                    <a:lnTo>
                      <a:pt x="100" y="4"/>
                    </a:lnTo>
                    <a:lnTo>
                      <a:pt x="109" y="4"/>
                    </a:lnTo>
                    <a:lnTo>
                      <a:pt x="113" y="4"/>
                    </a:lnTo>
                    <a:lnTo>
                      <a:pt x="118" y="4"/>
                    </a:lnTo>
                    <a:lnTo>
                      <a:pt x="127" y="4"/>
                    </a:lnTo>
                    <a:lnTo>
                      <a:pt x="131" y="4"/>
                    </a:lnTo>
                    <a:lnTo>
                      <a:pt x="141" y="4"/>
                    </a:lnTo>
                    <a:lnTo>
                      <a:pt x="145" y="4"/>
                    </a:lnTo>
                    <a:lnTo>
                      <a:pt x="154" y="4"/>
                    </a:lnTo>
                    <a:lnTo>
                      <a:pt x="154" y="4"/>
                    </a:lnTo>
                    <a:lnTo>
                      <a:pt x="154" y="4"/>
                    </a:lnTo>
                    <a:lnTo>
                      <a:pt x="159" y="0"/>
                    </a:lnTo>
                    <a:lnTo>
                      <a:pt x="159" y="0"/>
                    </a:lnTo>
                    <a:lnTo>
                      <a:pt x="159" y="0"/>
                    </a:lnTo>
                    <a:lnTo>
                      <a:pt x="159" y="0"/>
                    </a:lnTo>
                    <a:lnTo>
                      <a:pt x="159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23" name="Freeform 144"/>
              <p:cNvSpPr>
                <a:spLocks/>
              </p:cNvSpPr>
              <p:nvPr/>
            </p:nvSpPr>
            <p:spPr bwMode="auto">
              <a:xfrm>
                <a:off x="3789363" y="2449514"/>
                <a:ext cx="173038" cy="130175"/>
              </a:xfrm>
              <a:custGeom>
                <a:avLst/>
                <a:gdLst>
                  <a:gd name="T0" fmla="*/ 55 w 109"/>
                  <a:gd name="T1" fmla="*/ 0 h 82"/>
                  <a:gd name="T2" fmla="*/ 64 w 109"/>
                  <a:gd name="T3" fmla="*/ 10 h 82"/>
                  <a:gd name="T4" fmla="*/ 68 w 109"/>
                  <a:gd name="T5" fmla="*/ 10 h 82"/>
                  <a:gd name="T6" fmla="*/ 73 w 109"/>
                  <a:gd name="T7" fmla="*/ 10 h 82"/>
                  <a:gd name="T8" fmla="*/ 73 w 109"/>
                  <a:gd name="T9" fmla="*/ 10 h 82"/>
                  <a:gd name="T10" fmla="*/ 77 w 109"/>
                  <a:gd name="T11" fmla="*/ 19 h 82"/>
                  <a:gd name="T12" fmla="*/ 77 w 109"/>
                  <a:gd name="T13" fmla="*/ 23 h 82"/>
                  <a:gd name="T14" fmla="*/ 82 w 109"/>
                  <a:gd name="T15" fmla="*/ 23 h 82"/>
                  <a:gd name="T16" fmla="*/ 82 w 109"/>
                  <a:gd name="T17" fmla="*/ 28 h 82"/>
                  <a:gd name="T18" fmla="*/ 86 w 109"/>
                  <a:gd name="T19" fmla="*/ 32 h 82"/>
                  <a:gd name="T20" fmla="*/ 91 w 109"/>
                  <a:gd name="T21" fmla="*/ 37 h 82"/>
                  <a:gd name="T22" fmla="*/ 95 w 109"/>
                  <a:gd name="T23" fmla="*/ 41 h 82"/>
                  <a:gd name="T24" fmla="*/ 95 w 109"/>
                  <a:gd name="T25" fmla="*/ 46 h 82"/>
                  <a:gd name="T26" fmla="*/ 95 w 109"/>
                  <a:gd name="T27" fmla="*/ 55 h 82"/>
                  <a:gd name="T28" fmla="*/ 95 w 109"/>
                  <a:gd name="T29" fmla="*/ 59 h 82"/>
                  <a:gd name="T30" fmla="*/ 100 w 109"/>
                  <a:gd name="T31" fmla="*/ 64 h 82"/>
                  <a:gd name="T32" fmla="*/ 100 w 109"/>
                  <a:gd name="T33" fmla="*/ 64 h 82"/>
                  <a:gd name="T34" fmla="*/ 104 w 109"/>
                  <a:gd name="T35" fmla="*/ 64 h 82"/>
                  <a:gd name="T36" fmla="*/ 104 w 109"/>
                  <a:gd name="T37" fmla="*/ 68 h 82"/>
                  <a:gd name="T38" fmla="*/ 104 w 109"/>
                  <a:gd name="T39" fmla="*/ 77 h 82"/>
                  <a:gd name="T40" fmla="*/ 104 w 109"/>
                  <a:gd name="T41" fmla="*/ 82 h 82"/>
                  <a:gd name="T42" fmla="*/ 100 w 109"/>
                  <a:gd name="T43" fmla="*/ 82 h 82"/>
                  <a:gd name="T44" fmla="*/ 91 w 109"/>
                  <a:gd name="T45" fmla="*/ 82 h 82"/>
                  <a:gd name="T46" fmla="*/ 82 w 109"/>
                  <a:gd name="T47" fmla="*/ 82 h 82"/>
                  <a:gd name="T48" fmla="*/ 77 w 109"/>
                  <a:gd name="T49" fmla="*/ 77 h 82"/>
                  <a:gd name="T50" fmla="*/ 77 w 109"/>
                  <a:gd name="T51" fmla="*/ 77 h 82"/>
                  <a:gd name="T52" fmla="*/ 77 w 109"/>
                  <a:gd name="T53" fmla="*/ 77 h 82"/>
                  <a:gd name="T54" fmla="*/ 68 w 109"/>
                  <a:gd name="T55" fmla="*/ 77 h 82"/>
                  <a:gd name="T56" fmla="*/ 45 w 109"/>
                  <a:gd name="T57" fmla="*/ 77 h 82"/>
                  <a:gd name="T58" fmla="*/ 27 w 109"/>
                  <a:gd name="T59" fmla="*/ 82 h 82"/>
                  <a:gd name="T60" fmla="*/ 18 w 109"/>
                  <a:gd name="T61" fmla="*/ 82 h 82"/>
                  <a:gd name="T62" fmla="*/ 14 w 109"/>
                  <a:gd name="T63" fmla="*/ 82 h 82"/>
                  <a:gd name="T64" fmla="*/ 18 w 109"/>
                  <a:gd name="T65" fmla="*/ 77 h 82"/>
                  <a:gd name="T66" fmla="*/ 18 w 109"/>
                  <a:gd name="T67" fmla="*/ 77 h 82"/>
                  <a:gd name="T68" fmla="*/ 14 w 109"/>
                  <a:gd name="T69" fmla="*/ 77 h 82"/>
                  <a:gd name="T70" fmla="*/ 14 w 109"/>
                  <a:gd name="T71" fmla="*/ 77 h 82"/>
                  <a:gd name="T72" fmla="*/ 14 w 109"/>
                  <a:gd name="T73" fmla="*/ 68 h 82"/>
                  <a:gd name="T74" fmla="*/ 23 w 109"/>
                  <a:gd name="T75" fmla="*/ 68 h 82"/>
                  <a:gd name="T76" fmla="*/ 32 w 109"/>
                  <a:gd name="T77" fmla="*/ 64 h 82"/>
                  <a:gd name="T78" fmla="*/ 41 w 109"/>
                  <a:gd name="T79" fmla="*/ 64 h 82"/>
                  <a:gd name="T80" fmla="*/ 41 w 109"/>
                  <a:gd name="T81" fmla="*/ 59 h 82"/>
                  <a:gd name="T82" fmla="*/ 50 w 109"/>
                  <a:gd name="T83" fmla="*/ 64 h 82"/>
                  <a:gd name="T84" fmla="*/ 64 w 109"/>
                  <a:gd name="T85" fmla="*/ 64 h 82"/>
                  <a:gd name="T86" fmla="*/ 64 w 109"/>
                  <a:gd name="T87" fmla="*/ 59 h 82"/>
                  <a:gd name="T88" fmla="*/ 55 w 109"/>
                  <a:gd name="T89" fmla="*/ 59 h 82"/>
                  <a:gd name="T90" fmla="*/ 50 w 109"/>
                  <a:gd name="T91" fmla="*/ 59 h 82"/>
                  <a:gd name="T92" fmla="*/ 41 w 109"/>
                  <a:gd name="T93" fmla="*/ 55 h 82"/>
                  <a:gd name="T94" fmla="*/ 32 w 109"/>
                  <a:gd name="T95" fmla="*/ 59 h 82"/>
                  <a:gd name="T96" fmla="*/ 18 w 109"/>
                  <a:gd name="T97" fmla="*/ 55 h 82"/>
                  <a:gd name="T98" fmla="*/ 14 w 109"/>
                  <a:gd name="T99" fmla="*/ 50 h 82"/>
                  <a:gd name="T100" fmla="*/ 14 w 109"/>
                  <a:gd name="T101" fmla="*/ 50 h 82"/>
                  <a:gd name="T102" fmla="*/ 9 w 109"/>
                  <a:gd name="T103" fmla="*/ 41 h 82"/>
                  <a:gd name="T104" fmla="*/ 5 w 109"/>
                  <a:gd name="T105" fmla="*/ 37 h 82"/>
                  <a:gd name="T106" fmla="*/ 5 w 109"/>
                  <a:gd name="T107" fmla="*/ 37 h 82"/>
                  <a:gd name="T108" fmla="*/ 18 w 109"/>
                  <a:gd name="T109" fmla="*/ 14 h 82"/>
                  <a:gd name="T110" fmla="*/ 23 w 109"/>
                  <a:gd name="T111" fmla="*/ 10 h 82"/>
                  <a:gd name="T112" fmla="*/ 27 w 109"/>
                  <a:gd name="T113" fmla="*/ 0 h 82"/>
                  <a:gd name="T114" fmla="*/ 32 w 109"/>
                  <a:gd name="T115" fmla="*/ 5 h 82"/>
                  <a:gd name="T116" fmla="*/ 45 w 109"/>
                  <a:gd name="T117" fmla="*/ 0 h 82"/>
                  <a:gd name="T118" fmla="*/ 45 w 109"/>
                  <a:gd name="T119" fmla="*/ 0 h 82"/>
                  <a:gd name="T120" fmla="*/ 50 w 109"/>
                  <a:gd name="T121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9" h="82">
                    <a:moveTo>
                      <a:pt x="50" y="0"/>
                    </a:moveTo>
                    <a:lnTo>
                      <a:pt x="50" y="0"/>
                    </a:lnTo>
                    <a:lnTo>
                      <a:pt x="50" y="0"/>
                    </a:lnTo>
                    <a:lnTo>
                      <a:pt x="55" y="0"/>
                    </a:lnTo>
                    <a:lnTo>
                      <a:pt x="59" y="0"/>
                    </a:lnTo>
                    <a:lnTo>
                      <a:pt x="64" y="5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73" y="10"/>
                    </a:lnTo>
                    <a:lnTo>
                      <a:pt x="73" y="10"/>
                    </a:lnTo>
                    <a:lnTo>
                      <a:pt x="73" y="10"/>
                    </a:lnTo>
                    <a:lnTo>
                      <a:pt x="73" y="10"/>
                    </a:lnTo>
                    <a:lnTo>
                      <a:pt x="73" y="10"/>
                    </a:lnTo>
                    <a:lnTo>
                      <a:pt x="73" y="10"/>
                    </a:lnTo>
                    <a:lnTo>
                      <a:pt x="73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7" y="19"/>
                    </a:lnTo>
                    <a:lnTo>
                      <a:pt x="77" y="19"/>
                    </a:lnTo>
                    <a:lnTo>
                      <a:pt x="77" y="19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82" y="23"/>
                    </a:lnTo>
                    <a:lnTo>
                      <a:pt x="82" y="23"/>
                    </a:lnTo>
                    <a:lnTo>
                      <a:pt x="82" y="23"/>
                    </a:lnTo>
                    <a:lnTo>
                      <a:pt x="82" y="28"/>
                    </a:lnTo>
                    <a:lnTo>
                      <a:pt x="82" y="28"/>
                    </a:lnTo>
                    <a:lnTo>
                      <a:pt x="82" y="28"/>
                    </a:lnTo>
                    <a:lnTo>
                      <a:pt x="82" y="28"/>
                    </a:lnTo>
                    <a:lnTo>
                      <a:pt x="82" y="28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91" y="32"/>
                    </a:lnTo>
                    <a:lnTo>
                      <a:pt x="91" y="32"/>
                    </a:lnTo>
                    <a:lnTo>
                      <a:pt x="91" y="37"/>
                    </a:lnTo>
                    <a:lnTo>
                      <a:pt x="91" y="37"/>
                    </a:lnTo>
                    <a:lnTo>
                      <a:pt x="95" y="37"/>
                    </a:lnTo>
                    <a:lnTo>
                      <a:pt x="95" y="41"/>
                    </a:lnTo>
                    <a:lnTo>
                      <a:pt x="95" y="41"/>
                    </a:lnTo>
                    <a:lnTo>
                      <a:pt x="95" y="46"/>
                    </a:lnTo>
                    <a:lnTo>
                      <a:pt x="95" y="46"/>
                    </a:lnTo>
                    <a:lnTo>
                      <a:pt x="95" y="46"/>
                    </a:lnTo>
                    <a:lnTo>
                      <a:pt x="95" y="46"/>
                    </a:lnTo>
                    <a:lnTo>
                      <a:pt x="95" y="50"/>
                    </a:lnTo>
                    <a:lnTo>
                      <a:pt x="95" y="50"/>
                    </a:lnTo>
                    <a:lnTo>
                      <a:pt x="95" y="50"/>
                    </a:lnTo>
                    <a:lnTo>
                      <a:pt x="95" y="55"/>
                    </a:lnTo>
                    <a:lnTo>
                      <a:pt x="95" y="55"/>
                    </a:lnTo>
                    <a:lnTo>
                      <a:pt x="95" y="55"/>
                    </a:lnTo>
                    <a:lnTo>
                      <a:pt x="95" y="55"/>
                    </a:lnTo>
                    <a:lnTo>
                      <a:pt x="95" y="59"/>
                    </a:lnTo>
                    <a:lnTo>
                      <a:pt x="95" y="59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9" y="73"/>
                    </a:lnTo>
                    <a:lnTo>
                      <a:pt x="104" y="73"/>
                    </a:lnTo>
                    <a:lnTo>
                      <a:pt x="104" y="73"/>
                    </a:lnTo>
                    <a:lnTo>
                      <a:pt x="104" y="77"/>
                    </a:lnTo>
                    <a:lnTo>
                      <a:pt x="104" y="77"/>
                    </a:lnTo>
                    <a:lnTo>
                      <a:pt x="104" y="77"/>
                    </a:lnTo>
                    <a:lnTo>
                      <a:pt x="109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95" y="82"/>
                    </a:lnTo>
                    <a:lnTo>
                      <a:pt x="95" y="82"/>
                    </a:lnTo>
                    <a:lnTo>
                      <a:pt x="91" y="82"/>
                    </a:lnTo>
                    <a:lnTo>
                      <a:pt x="91" y="82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82" y="77"/>
                    </a:lnTo>
                    <a:lnTo>
                      <a:pt x="82" y="77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7" y="82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3" y="77"/>
                    </a:lnTo>
                    <a:lnTo>
                      <a:pt x="73" y="77"/>
                    </a:lnTo>
                    <a:lnTo>
                      <a:pt x="73" y="77"/>
                    </a:lnTo>
                    <a:lnTo>
                      <a:pt x="68" y="77"/>
                    </a:lnTo>
                    <a:lnTo>
                      <a:pt x="59" y="77"/>
                    </a:lnTo>
                    <a:lnTo>
                      <a:pt x="55" y="77"/>
                    </a:lnTo>
                    <a:lnTo>
                      <a:pt x="50" y="77"/>
                    </a:lnTo>
                    <a:lnTo>
                      <a:pt x="45" y="77"/>
                    </a:lnTo>
                    <a:lnTo>
                      <a:pt x="41" y="77"/>
                    </a:lnTo>
                    <a:lnTo>
                      <a:pt x="36" y="77"/>
                    </a:lnTo>
                    <a:lnTo>
                      <a:pt x="32" y="77"/>
                    </a:lnTo>
                    <a:lnTo>
                      <a:pt x="27" y="82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82"/>
                    </a:lnTo>
                    <a:lnTo>
                      <a:pt x="18" y="82"/>
                    </a:lnTo>
                    <a:lnTo>
                      <a:pt x="18" y="82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18" y="73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3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8" y="68"/>
                    </a:lnTo>
                    <a:lnTo>
                      <a:pt x="23" y="68"/>
                    </a:lnTo>
                    <a:lnTo>
                      <a:pt x="27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6" y="64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5" y="59"/>
                    </a:lnTo>
                    <a:lnTo>
                      <a:pt x="45" y="59"/>
                    </a:lnTo>
                    <a:lnTo>
                      <a:pt x="45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5" y="64"/>
                    </a:lnTo>
                    <a:lnTo>
                      <a:pt x="59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59"/>
                    </a:lnTo>
                    <a:lnTo>
                      <a:pt x="64" y="59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5" y="59"/>
                    </a:lnTo>
                    <a:lnTo>
                      <a:pt x="55" y="59"/>
                    </a:lnTo>
                    <a:lnTo>
                      <a:pt x="55" y="59"/>
                    </a:lnTo>
                    <a:lnTo>
                      <a:pt x="50" y="59"/>
                    </a:lnTo>
                    <a:lnTo>
                      <a:pt x="50" y="59"/>
                    </a:lnTo>
                    <a:lnTo>
                      <a:pt x="50" y="59"/>
                    </a:lnTo>
                    <a:lnTo>
                      <a:pt x="45" y="55"/>
                    </a:lnTo>
                    <a:lnTo>
                      <a:pt x="45" y="55"/>
                    </a:lnTo>
                    <a:lnTo>
                      <a:pt x="41" y="55"/>
                    </a:lnTo>
                    <a:lnTo>
                      <a:pt x="41" y="55"/>
                    </a:lnTo>
                    <a:lnTo>
                      <a:pt x="36" y="55"/>
                    </a:lnTo>
                    <a:lnTo>
                      <a:pt x="36" y="59"/>
                    </a:lnTo>
                    <a:lnTo>
                      <a:pt x="32" y="59"/>
                    </a:lnTo>
                    <a:lnTo>
                      <a:pt x="27" y="59"/>
                    </a:lnTo>
                    <a:lnTo>
                      <a:pt x="23" y="59"/>
                    </a:lnTo>
                    <a:lnTo>
                      <a:pt x="18" y="59"/>
                    </a:lnTo>
                    <a:lnTo>
                      <a:pt x="18" y="55"/>
                    </a:lnTo>
                    <a:lnTo>
                      <a:pt x="18" y="55"/>
                    </a:lnTo>
                    <a:lnTo>
                      <a:pt x="14" y="55"/>
                    </a:lnTo>
                    <a:lnTo>
                      <a:pt x="14" y="55"/>
                    </a:lnTo>
                    <a:lnTo>
                      <a:pt x="14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46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37"/>
                    </a:lnTo>
                    <a:lnTo>
                      <a:pt x="5" y="37"/>
                    </a:lnTo>
                    <a:lnTo>
                      <a:pt x="5" y="37"/>
                    </a:lnTo>
                    <a:lnTo>
                      <a:pt x="5" y="37"/>
                    </a:lnTo>
                    <a:lnTo>
                      <a:pt x="5" y="37"/>
                    </a:lnTo>
                    <a:lnTo>
                      <a:pt x="0" y="37"/>
                    </a:lnTo>
                    <a:lnTo>
                      <a:pt x="5" y="37"/>
                    </a:lnTo>
                    <a:lnTo>
                      <a:pt x="9" y="32"/>
                    </a:lnTo>
                    <a:lnTo>
                      <a:pt x="14" y="28"/>
                    </a:lnTo>
                    <a:lnTo>
                      <a:pt x="18" y="19"/>
                    </a:lnTo>
                    <a:lnTo>
                      <a:pt x="18" y="14"/>
                    </a:lnTo>
                    <a:lnTo>
                      <a:pt x="23" y="14"/>
                    </a:lnTo>
                    <a:lnTo>
                      <a:pt x="23" y="10"/>
                    </a:lnTo>
                    <a:lnTo>
                      <a:pt x="23" y="10"/>
                    </a:lnTo>
                    <a:lnTo>
                      <a:pt x="23" y="10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7" y="5"/>
                    </a:lnTo>
                    <a:lnTo>
                      <a:pt x="27" y="0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6" y="5"/>
                    </a:lnTo>
                    <a:lnTo>
                      <a:pt x="36" y="0"/>
                    </a:lnTo>
                    <a:lnTo>
                      <a:pt x="41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50" y="0"/>
                    </a:lnTo>
                    <a:lnTo>
                      <a:pt x="5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24" name="Freeform 145"/>
              <p:cNvSpPr>
                <a:spLocks noEditPoints="1"/>
              </p:cNvSpPr>
              <p:nvPr/>
            </p:nvSpPr>
            <p:spPr bwMode="auto">
              <a:xfrm>
                <a:off x="8594726" y="3182939"/>
                <a:ext cx="136525" cy="150813"/>
              </a:xfrm>
              <a:custGeom>
                <a:avLst/>
                <a:gdLst>
                  <a:gd name="T0" fmla="*/ 81 w 86"/>
                  <a:gd name="T1" fmla="*/ 86 h 95"/>
                  <a:gd name="T2" fmla="*/ 86 w 86"/>
                  <a:gd name="T3" fmla="*/ 86 h 95"/>
                  <a:gd name="T4" fmla="*/ 86 w 86"/>
                  <a:gd name="T5" fmla="*/ 90 h 95"/>
                  <a:gd name="T6" fmla="*/ 86 w 86"/>
                  <a:gd name="T7" fmla="*/ 95 h 95"/>
                  <a:gd name="T8" fmla="*/ 81 w 86"/>
                  <a:gd name="T9" fmla="*/ 90 h 95"/>
                  <a:gd name="T10" fmla="*/ 77 w 86"/>
                  <a:gd name="T11" fmla="*/ 86 h 95"/>
                  <a:gd name="T12" fmla="*/ 72 w 86"/>
                  <a:gd name="T13" fmla="*/ 81 h 95"/>
                  <a:gd name="T14" fmla="*/ 72 w 86"/>
                  <a:gd name="T15" fmla="*/ 81 h 95"/>
                  <a:gd name="T16" fmla="*/ 77 w 86"/>
                  <a:gd name="T17" fmla="*/ 81 h 95"/>
                  <a:gd name="T18" fmla="*/ 50 w 86"/>
                  <a:gd name="T19" fmla="*/ 58 h 95"/>
                  <a:gd name="T20" fmla="*/ 54 w 86"/>
                  <a:gd name="T21" fmla="*/ 63 h 95"/>
                  <a:gd name="T22" fmla="*/ 63 w 86"/>
                  <a:gd name="T23" fmla="*/ 63 h 95"/>
                  <a:gd name="T24" fmla="*/ 63 w 86"/>
                  <a:gd name="T25" fmla="*/ 67 h 95"/>
                  <a:gd name="T26" fmla="*/ 63 w 86"/>
                  <a:gd name="T27" fmla="*/ 72 h 95"/>
                  <a:gd name="T28" fmla="*/ 59 w 86"/>
                  <a:gd name="T29" fmla="*/ 72 h 95"/>
                  <a:gd name="T30" fmla="*/ 50 w 86"/>
                  <a:gd name="T31" fmla="*/ 67 h 95"/>
                  <a:gd name="T32" fmla="*/ 45 w 86"/>
                  <a:gd name="T33" fmla="*/ 63 h 95"/>
                  <a:gd name="T34" fmla="*/ 45 w 86"/>
                  <a:gd name="T35" fmla="*/ 58 h 95"/>
                  <a:gd name="T36" fmla="*/ 68 w 86"/>
                  <a:gd name="T37" fmla="*/ 36 h 95"/>
                  <a:gd name="T38" fmla="*/ 72 w 86"/>
                  <a:gd name="T39" fmla="*/ 45 h 95"/>
                  <a:gd name="T40" fmla="*/ 72 w 86"/>
                  <a:gd name="T41" fmla="*/ 49 h 95"/>
                  <a:gd name="T42" fmla="*/ 77 w 86"/>
                  <a:gd name="T43" fmla="*/ 54 h 95"/>
                  <a:gd name="T44" fmla="*/ 77 w 86"/>
                  <a:gd name="T45" fmla="*/ 58 h 95"/>
                  <a:gd name="T46" fmla="*/ 77 w 86"/>
                  <a:gd name="T47" fmla="*/ 67 h 95"/>
                  <a:gd name="T48" fmla="*/ 72 w 86"/>
                  <a:gd name="T49" fmla="*/ 58 h 95"/>
                  <a:gd name="T50" fmla="*/ 68 w 86"/>
                  <a:gd name="T51" fmla="*/ 49 h 95"/>
                  <a:gd name="T52" fmla="*/ 68 w 86"/>
                  <a:gd name="T53" fmla="*/ 40 h 95"/>
                  <a:gd name="T54" fmla="*/ 68 w 86"/>
                  <a:gd name="T55" fmla="*/ 36 h 95"/>
                  <a:gd name="T56" fmla="*/ 18 w 86"/>
                  <a:gd name="T57" fmla="*/ 36 h 95"/>
                  <a:gd name="T58" fmla="*/ 18 w 86"/>
                  <a:gd name="T59" fmla="*/ 40 h 95"/>
                  <a:gd name="T60" fmla="*/ 18 w 86"/>
                  <a:gd name="T61" fmla="*/ 40 h 95"/>
                  <a:gd name="T62" fmla="*/ 14 w 86"/>
                  <a:gd name="T63" fmla="*/ 40 h 95"/>
                  <a:gd name="T64" fmla="*/ 14 w 86"/>
                  <a:gd name="T65" fmla="*/ 36 h 95"/>
                  <a:gd name="T66" fmla="*/ 9 w 86"/>
                  <a:gd name="T67" fmla="*/ 36 h 95"/>
                  <a:gd name="T68" fmla="*/ 9 w 86"/>
                  <a:gd name="T69" fmla="*/ 31 h 95"/>
                  <a:gd name="T70" fmla="*/ 14 w 86"/>
                  <a:gd name="T71" fmla="*/ 27 h 95"/>
                  <a:gd name="T72" fmla="*/ 18 w 86"/>
                  <a:gd name="T73" fmla="*/ 31 h 95"/>
                  <a:gd name="T74" fmla="*/ 54 w 86"/>
                  <a:gd name="T75" fmla="*/ 40 h 95"/>
                  <a:gd name="T76" fmla="*/ 50 w 86"/>
                  <a:gd name="T77" fmla="*/ 36 h 95"/>
                  <a:gd name="T78" fmla="*/ 45 w 86"/>
                  <a:gd name="T79" fmla="*/ 36 h 95"/>
                  <a:gd name="T80" fmla="*/ 36 w 86"/>
                  <a:gd name="T81" fmla="*/ 27 h 95"/>
                  <a:gd name="T82" fmla="*/ 36 w 86"/>
                  <a:gd name="T83" fmla="*/ 27 h 95"/>
                  <a:gd name="T84" fmla="*/ 32 w 86"/>
                  <a:gd name="T85" fmla="*/ 18 h 95"/>
                  <a:gd name="T86" fmla="*/ 41 w 86"/>
                  <a:gd name="T87" fmla="*/ 22 h 95"/>
                  <a:gd name="T88" fmla="*/ 41 w 86"/>
                  <a:gd name="T89" fmla="*/ 27 h 95"/>
                  <a:gd name="T90" fmla="*/ 45 w 86"/>
                  <a:gd name="T91" fmla="*/ 31 h 95"/>
                  <a:gd name="T92" fmla="*/ 54 w 86"/>
                  <a:gd name="T93" fmla="*/ 40 h 95"/>
                  <a:gd name="T94" fmla="*/ 18 w 86"/>
                  <a:gd name="T95" fmla="*/ 13 h 95"/>
                  <a:gd name="T96" fmla="*/ 14 w 86"/>
                  <a:gd name="T97" fmla="*/ 18 h 95"/>
                  <a:gd name="T98" fmla="*/ 14 w 86"/>
                  <a:gd name="T99" fmla="*/ 13 h 95"/>
                  <a:gd name="T100" fmla="*/ 5 w 86"/>
                  <a:gd name="T101" fmla="*/ 9 h 95"/>
                  <a:gd name="T102" fmla="*/ 0 w 86"/>
                  <a:gd name="T103" fmla="*/ 0 h 95"/>
                  <a:gd name="T104" fmla="*/ 5 w 86"/>
                  <a:gd name="T105" fmla="*/ 0 h 95"/>
                  <a:gd name="T106" fmla="*/ 9 w 86"/>
                  <a:gd name="T107" fmla="*/ 4 h 95"/>
                  <a:gd name="T108" fmla="*/ 14 w 86"/>
                  <a:gd name="T109" fmla="*/ 13 h 95"/>
                  <a:gd name="T110" fmla="*/ 18 w 86"/>
                  <a:gd name="T111" fmla="*/ 13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6" h="95">
                    <a:moveTo>
                      <a:pt x="77" y="81"/>
                    </a:moveTo>
                    <a:lnTo>
                      <a:pt x="77" y="81"/>
                    </a:lnTo>
                    <a:lnTo>
                      <a:pt x="81" y="86"/>
                    </a:lnTo>
                    <a:lnTo>
                      <a:pt x="81" y="86"/>
                    </a:lnTo>
                    <a:lnTo>
                      <a:pt x="81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90"/>
                    </a:lnTo>
                    <a:lnTo>
                      <a:pt x="86" y="95"/>
                    </a:lnTo>
                    <a:lnTo>
                      <a:pt x="86" y="95"/>
                    </a:lnTo>
                    <a:lnTo>
                      <a:pt x="86" y="95"/>
                    </a:lnTo>
                    <a:lnTo>
                      <a:pt x="81" y="95"/>
                    </a:lnTo>
                    <a:lnTo>
                      <a:pt x="81" y="90"/>
                    </a:lnTo>
                    <a:lnTo>
                      <a:pt x="81" y="90"/>
                    </a:lnTo>
                    <a:lnTo>
                      <a:pt x="77" y="90"/>
                    </a:lnTo>
                    <a:lnTo>
                      <a:pt x="72" y="86"/>
                    </a:lnTo>
                    <a:lnTo>
                      <a:pt x="77" y="86"/>
                    </a:lnTo>
                    <a:lnTo>
                      <a:pt x="72" y="86"/>
                    </a:lnTo>
                    <a:lnTo>
                      <a:pt x="72" y="81"/>
                    </a:lnTo>
                    <a:lnTo>
                      <a:pt x="72" y="81"/>
                    </a:lnTo>
                    <a:lnTo>
                      <a:pt x="72" y="81"/>
                    </a:lnTo>
                    <a:lnTo>
                      <a:pt x="72" y="81"/>
                    </a:lnTo>
                    <a:lnTo>
                      <a:pt x="72" y="81"/>
                    </a:lnTo>
                    <a:lnTo>
                      <a:pt x="72" y="81"/>
                    </a:lnTo>
                    <a:lnTo>
                      <a:pt x="77" y="81"/>
                    </a:lnTo>
                    <a:lnTo>
                      <a:pt x="77" y="81"/>
                    </a:lnTo>
                    <a:lnTo>
                      <a:pt x="77" y="81"/>
                    </a:lnTo>
                    <a:lnTo>
                      <a:pt x="77" y="81"/>
                    </a:lnTo>
                    <a:moveTo>
                      <a:pt x="50" y="58"/>
                    </a:moveTo>
                    <a:lnTo>
                      <a:pt x="50" y="58"/>
                    </a:lnTo>
                    <a:lnTo>
                      <a:pt x="54" y="63"/>
                    </a:lnTo>
                    <a:lnTo>
                      <a:pt x="54" y="63"/>
                    </a:lnTo>
                    <a:lnTo>
                      <a:pt x="59" y="63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3" y="67"/>
                    </a:lnTo>
                    <a:lnTo>
                      <a:pt x="63" y="67"/>
                    </a:lnTo>
                    <a:lnTo>
                      <a:pt x="63" y="67"/>
                    </a:lnTo>
                    <a:lnTo>
                      <a:pt x="63" y="72"/>
                    </a:lnTo>
                    <a:lnTo>
                      <a:pt x="63" y="72"/>
                    </a:lnTo>
                    <a:lnTo>
                      <a:pt x="63" y="72"/>
                    </a:lnTo>
                    <a:lnTo>
                      <a:pt x="63" y="72"/>
                    </a:lnTo>
                    <a:lnTo>
                      <a:pt x="59" y="72"/>
                    </a:lnTo>
                    <a:lnTo>
                      <a:pt x="59" y="72"/>
                    </a:lnTo>
                    <a:lnTo>
                      <a:pt x="50" y="67"/>
                    </a:lnTo>
                    <a:lnTo>
                      <a:pt x="50" y="67"/>
                    </a:lnTo>
                    <a:lnTo>
                      <a:pt x="50" y="67"/>
                    </a:lnTo>
                    <a:lnTo>
                      <a:pt x="45" y="67"/>
                    </a:lnTo>
                    <a:lnTo>
                      <a:pt x="45" y="67"/>
                    </a:lnTo>
                    <a:lnTo>
                      <a:pt x="45" y="63"/>
                    </a:lnTo>
                    <a:lnTo>
                      <a:pt x="45" y="63"/>
                    </a:lnTo>
                    <a:lnTo>
                      <a:pt x="45" y="58"/>
                    </a:lnTo>
                    <a:lnTo>
                      <a:pt x="45" y="58"/>
                    </a:lnTo>
                    <a:lnTo>
                      <a:pt x="50" y="58"/>
                    </a:lnTo>
                    <a:lnTo>
                      <a:pt x="50" y="58"/>
                    </a:lnTo>
                    <a:moveTo>
                      <a:pt x="68" y="36"/>
                    </a:moveTo>
                    <a:lnTo>
                      <a:pt x="68" y="36"/>
                    </a:lnTo>
                    <a:lnTo>
                      <a:pt x="72" y="45"/>
                    </a:lnTo>
                    <a:lnTo>
                      <a:pt x="72" y="45"/>
                    </a:lnTo>
                    <a:lnTo>
                      <a:pt x="72" y="45"/>
                    </a:lnTo>
                    <a:lnTo>
                      <a:pt x="72" y="49"/>
                    </a:lnTo>
                    <a:lnTo>
                      <a:pt x="72" y="49"/>
                    </a:lnTo>
                    <a:lnTo>
                      <a:pt x="72" y="49"/>
                    </a:lnTo>
                    <a:lnTo>
                      <a:pt x="72" y="49"/>
                    </a:lnTo>
                    <a:lnTo>
                      <a:pt x="77" y="54"/>
                    </a:lnTo>
                    <a:lnTo>
                      <a:pt x="77" y="54"/>
                    </a:lnTo>
                    <a:lnTo>
                      <a:pt x="77" y="58"/>
                    </a:lnTo>
                    <a:lnTo>
                      <a:pt x="77" y="58"/>
                    </a:lnTo>
                    <a:lnTo>
                      <a:pt x="77" y="63"/>
                    </a:lnTo>
                    <a:lnTo>
                      <a:pt x="77" y="63"/>
                    </a:lnTo>
                    <a:lnTo>
                      <a:pt x="77" y="67"/>
                    </a:lnTo>
                    <a:lnTo>
                      <a:pt x="77" y="67"/>
                    </a:lnTo>
                    <a:lnTo>
                      <a:pt x="72" y="63"/>
                    </a:lnTo>
                    <a:lnTo>
                      <a:pt x="72" y="58"/>
                    </a:lnTo>
                    <a:lnTo>
                      <a:pt x="72" y="58"/>
                    </a:lnTo>
                    <a:lnTo>
                      <a:pt x="68" y="54"/>
                    </a:lnTo>
                    <a:lnTo>
                      <a:pt x="68" y="49"/>
                    </a:lnTo>
                    <a:lnTo>
                      <a:pt x="68" y="45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36"/>
                    </a:lnTo>
                    <a:moveTo>
                      <a:pt x="18" y="36"/>
                    </a:moveTo>
                    <a:lnTo>
                      <a:pt x="18" y="36"/>
                    </a:lnTo>
                    <a:lnTo>
                      <a:pt x="18" y="36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14" y="31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8" y="27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8" y="36"/>
                    </a:lnTo>
                    <a:moveTo>
                      <a:pt x="54" y="40"/>
                    </a:moveTo>
                    <a:lnTo>
                      <a:pt x="54" y="40"/>
                    </a:lnTo>
                    <a:lnTo>
                      <a:pt x="54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1" y="31"/>
                    </a:lnTo>
                    <a:lnTo>
                      <a:pt x="41" y="31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6" y="22"/>
                    </a:lnTo>
                    <a:lnTo>
                      <a:pt x="41" y="22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31"/>
                    </a:lnTo>
                    <a:lnTo>
                      <a:pt x="50" y="31"/>
                    </a:lnTo>
                    <a:lnTo>
                      <a:pt x="54" y="36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40"/>
                    </a:lnTo>
                    <a:moveTo>
                      <a:pt x="18" y="13"/>
                    </a:moveTo>
                    <a:lnTo>
                      <a:pt x="18" y="13"/>
                    </a:lnTo>
                    <a:lnTo>
                      <a:pt x="18" y="13"/>
                    </a:lnTo>
                    <a:lnTo>
                      <a:pt x="14" y="18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9" y="13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9"/>
                    </a:lnTo>
                    <a:lnTo>
                      <a:pt x="14" y="9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18" y="13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25" name="Freeform 146"/>
              <p:cNvSpPr>
                <a:spLocks/>
              </p:cNvSpPr>
              <p:nvPr/>
            </p:nvSpPr>
            <p:spPr bwMode="auto">
              <a:xfrm>
                <a:off x="3905251" y="2651126"/>
                <a:ext cx="77788" cy="93663"/>
              </a:xfrm>
              <a:custGeom>
                <a:avLst/>
                <a:gdLst>
                  <a:gd name="T0" fmla="*/ 36 w 49"/>
                  <a:gd name="T1" fmla="*/ 0 h 59"/>
                  <a:gd name="T2" fmla="*/ 36 w 49"/>
                  <a:gd name="T3" fmla="*/ 5 h 59"/>
                  <a:gd name="T4" fmla="*/ 40 w 49"/>
                  <a:gd name="T5" fmla="*/ 9 h 59"/>
                  <a:gd name="T6" fmla="*/ 45 w 49"/>
                  <a:gd name="T7" fmla="*/ 14 h 59"/>
                  <a:gd name="T8" fmla="*/ 45 w 49"/>
                  <a:gd name="T9" fmla="*/ 14 h 59"/>
                  <a:gd name="T10" fmla="*/ 45 w 49"/>
                  <a:gd name="T11" fmla="*/ 18 h 59"/>
                  <a:gd name="T12" fmla="*/ 45 w 49"/>
                  <a:gd name="T13" fmla="*/ 18 h 59"/>
                  <a:gd name="T14" fmla="*/ 45 w 49"/>
                  <a:gd name="T15" fmla="*/ 18 h 59"/>
                  <a:gd name="T16" fmla="*/ 45 w 49"/>
                  <a:gd name="T17" fmla="*/ 23 h 59"/>
                  <a:gd name="T18" fmla="*/ 45 w 49"/>
                  <a:gd name="T19" fmla="*/ 23 h 59"/>
                  <a:gd name="T20" fmla="*/ 45 w 49"/>
                  <a:gd name="T21" fmla="*/ 32 h 59"/>
                  <a:gd name="T22" fmla="*/ 45 w 49"/>
                  <a:gd name="T23" fmla="*/ 32 h 59"/>
                  <a:gd name="T24" fmla="*/ 45 w 49"/>
                  <a:gd name="T25" fmla="*/ 32 h 59"/>
                  <a:gd name="T26" fmla="*/ 45 w 49"/>
                  <a:gd name="T27" fmla="*/ 32 h 59"/>
                  <a:gd name="T28" fmla="*/ 49 w 49"/>
                  <a:gd name="T29" fmla="*/ 27 h 59"/>
                  <a:gd name="T30" fmla="*/ 49 w 49"/>
                  <a:gd name="T31" fmla="*/ 27 h 59"/>
                  <a:gd name="T32" fmla="*/ 49 w 49"/>
                  <a:gd name="T33" fmla="*/ 32 h 59"/>
                  <a:gd name="T34" fmla="*/ 49 w 49"/>
                  <a:gd name="T35" fmla="*/ 36 h 59"/>
                  <a:gd name="T36" fmla="*/ 45 w 49"/>
                  <a:gd name="T37" fmla="*/ 36 h 59"/>
                  <a:gd name="T38" fmla="*/ 45 w 49"/>
                  <a:gd name="T39" fmla="*/ 41 h 59"/>
                  <a:gd name="T40" fmla="*/ 40 w 49"/>
                  <a:gd name="T41" fmla="*/ 45 h 59"/>
                  <a:gd name="T42" fmla="*/ 36 w 49"/>
                  <a:gd name="T43" fmla="*/ 50 h 59"/>
                  <a:gd name="T44" fmla="*/ 31 w 49"/>
                  <a:gd name="T45" fmla="*/ 50 h 59"/>
                  <a:gd name="T46" fmla="*/ 31 w 49"/>
                  <a:gd name="T47" fmla="*/ 59 h 59"/>
                  <a:gd name="T48" fmla="*/ 27 w 49"/>
                  <a:gd name="T49" fmla="*/ 59 h 59"/>
                  <a:gd name="T50" fmla="*/ 22 w 49"/>
                  <a:gd name="T51" fmla="*/ 54 h 59"/>
                  <a:gd name="T52" fmla="*/ 13 w 49"/>
                  <a:gd name="T53" fmla="*/ 50 h 59"/>
                  <a:gd name="T54" fmla="*/ 13 w 49"/>
                  <a:gd name="T55" fmla="*/ 45 h 59"/>
                  <a:gd name="T56" fmla="*/ 13 w 49"/>
                  <a:gd name="T57" fmla="*/ 41 h 59"/>
                  <a:gd name="T58" fmla="*/ 9 w 49"/>
                  <a:gd name="T59" fmla="*/ 41 h 59"/>
                  <a:gd name="T60" fmla="*/ 9 w 49"/>
                  <a:gd name="T61" fmla="*/ 41 h 59"/>
                  <a:gd name="T62" fmla="*/ 4 w 49"/>
                  <a:gd name="T63" fmla="*/ 41 h 59"/>
                  <a:gd name="T64" fmla="*/ 4 w 49"/>
                  <a:gd name="T65" fmla="*/ 36 h 59"/>
                  <a:gd name="T66" fmla="*/ 0 w 49"/>
                  <a:gd name="T67" fmla="*/ 32 h 59"/>
                  <a:gd name="T68" fmla="*/ 0 w 49"/>
                  <a:gd name="T69" fmla="*/ 27 h 59"/>
                  <a:gd name="T70" fmla="*/ 0 w 49"/>
                  <a:gd name="T71" fmla="*/ 27 h 59"/>
                  <a:gd name="T72" fmla="*/ 4 w 49"/>
                  <a:gd name="T73" fmla="*/ 27 h 59"/>
                  <a:gd name="T74" fmla="*/ 4 w 49"/>
                  <a:gd name="T75" fmla="*/ 27 h 59"/>
                  <a:gd name="T76" fmla="*/ 4 w 49"/>
                  <a:gd name="T77" fmla="*/ 23 h 59"/>
                  <a:gd name="T78" fmla="*/ 4 w 49"/>
                  <a:gd name="T79" fmla="*/ 27 h 59"/>
                  <a:gd name="T80" fmla="*/ 0 w 49"/>
                  <a:gd name="T81" fmla="*/ 27 h 59"/>
                  <a:gd name="T82" fmla="*/ 0 w 49"/>
                  <a:gd name="T83" fmla="*/ 23 h 59"/>
                  <a:gd name="T84" fmla="*/ 4 w 49"/>
                  <a:gd name="T85" fmla="*/ 23 h 59"/>
                  <a:gd name="T86" fmla="*/ 0 w 49"/>
                  <a:gd name="T87" fmla="*/ 18 h 59"/>
                  <a:gd name="T88" fmla="*/ 0 w 49"/>
                  <a:gd name="T89" fmla="*/ 18 h 59"/>
                  <a:gd name="T90" fmla="*/ 0 w 49"/>
                  <a:gd name="T91" fmla="*/ 18 h 59"/>
                  <a:gd name="T92" fmla="*/ 4 w 49"/>
                  <a:gd name="T93" fmla="*/ 18 h 59"/>
                  <a:gd name="T94" fmla="*/ 4 w 49"/>
                  <a:gd name="T95" fmla="*/ 14 h 59"/>
                  <a:gd name="T96" fmla="*/ 9 w 49"/>
                  <a:gd name="T97" fmla="*/ 14 h 59"/>
                  <a:gd name="T98" fmla="*/ 9 w 49"/>
                  <a:gd name="T99" fmla="*/ 9 h 59"/>
                  <a:gd name="T100" fmla="*/ 9 w 49"/>
                  <a:gd name="T101" fmla="*/ 9 h 59"/>
                  <a:gd name="T102" fmla="*/ 13 w 49"/>
                  <a:gd name="T103" fmla="*/ 5 h 59"/>
                  <a:gd name="T104" fmla="*/ 13 w 49"/>
                  <a:gd name="T105" fmla="*/ 5 h 59"/>
                  <a:gd name="T106" fmla="*/ 13 w 49"/>
                  <a:gd name="T107" fmla="*/ 0 h 59"/>
                  <a:gd name="T108" fmla="*/ 18 w 49"/>
                  <a:gd name="T109" fmla="*/ 0 h 59"/>
                  <a:gd name="T110" fmla="*/ 22 w 49"/>
                  <a:gd name="T111" fmla="*/ 0 h 59"/>
                  <a:gd name="T112" fmla="*/ 31 w 49"/>
                  <a:gd name="T113" fmla="*/ 0 h 59"/>
                  <a:gd name="T114" fmla="*/ 36 w 49"/>
                  <a:gd name="T11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9" h="59">
                    <a:moveTo>
                      <a:pt x="36" y="0"/>
                    </a:moveTo>
                    <a:lnTo>
                      <a:pt x="36" y="0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40" y="5"/>
                    </a:lnTo>
                    <a:lnTo>
                      <a:pt x="40" y="9"/>
                    </a:lnTo>
                    <a:lnTo>
                      <a:pt x="45" y="9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7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9" y="27"/>
                    </a:lnTo>
                    <a:lnTo>
                      <a:pt x="49" y="27"/>
                    </a:lnTo>
                    <a:lnTo>
                      <a:pt x="49" y="27"/>
                    </a:lnTo>
                    <a:lnTo>
                      <a:pt x="49" y="27"/>
                    </a:lnTo>
                    <a:lnTo>
                      <a:pt x="49" y="32"/>
                    </a:lnTo>
                    <a:lnTo>
                      <a:pt x="49" y="32"/>
                    </a:lnTo>
                    <a:lnTo>
                      <a:pt x="49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0" y="45"/>
                    </a:lnTo>
                    <a:lnTo>
                      <a:pt x="36" y="45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1" y="50"/>
                    </a:lnTo>
                    <a:lnTo>
                      <a:pt x="31" y="54"/>
                    </a:lnTo>
                    <a:lnTo>
                      <a:pt x="31" y="59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7" y="54"/>
                    </a:lnTo>
                    <a:lnTo>
                      <a:pt x="22" y="54"/>
                    </a:lnTo>
                    <a:lnTo>
                      <a:pt x="13" y="50"/>
                    </a:lnTo>
                    <a:lnTo>
                      <a:pt x="13" y="50"/>
                    </a:lnTo>
                    <a:lnTo>
                      <a:pt x="13" y="50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3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9" y="14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7" y="0"/>
                    </a:lnTo>
                    <a:lnTo>
                      <a:pt x="31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26" name="Freeform 147"/>
              <p:cNvSpPr>
                <a:spLocks/>
              </p:cNvSpPr>
              <p:nvPr/>
            </p:nvSpPr>
            <p:spPr bwMode="auto">
              <a:xfrm>
                <a:off x="1803401" y="2493964"/>
                <a:ext cx="65088" cy="34925"/>
              </a:xfrm>
              <a:custGeom>
                <a:avLst/>
                <a:gdLst>
                  <a:gd name="T0" fmla="*/ 18 w 41"/>
                  <a:gd name="T1" fmla="*/ 0 h 22"/>
                  <a:gd name="T2" fmla="*/ 18 w 41"/>
                  <a:gd name="T3" fmla="*/ 0 h 22"/>
                  <a:gd name="T4" fmla="*/ 23 w 41"/>
                  <a:gd name="T5" fmla="*/ 0 h 22"/>
                  <a:gd name="T6" fmla="*/ 23 w 41"/>
                  <a:gd name="T7" fmla="*/ 4 h 22"/>
                  <a:gd name="T8" fmla="*/ 27 w 41"/>
                  <a:gd name="T9" fmla="*/ 4 h 22"/>
                  <a:gd name="T10" fmla="*/ 27 w 41"/>
                  <a:gd name="T11" fmla="*/ 4 h 22"/>
                  <a:gd name="T12" fmla="*/ 27 w 41"/>
                  <a:gd name="T13" fmla="*/ 9 h 22"/>
                  <a:gd name="T14" fmla="*/ 27 w 41"/>
                  <a:gd name="T15" fmla="*/ 9 h 22"/>
                  <a:gd name="T16" fmla="*/ 32 w 41"/>
                  <a:gd name="T17" fmla="*/ 9 h 22"/>
                  <a:gd name="T18" fmla="*/ 32 w 41"/>
                  <a:gd name="T19" fmla="*/ 9 h 22"/>
                  <a:gd name="T20" fmla="*/ 36 w 41"/>
                  <a:gd name="T21" fmla="*/ 9 h 22"/>
                  <a:gd name="T22" fmla="*/ 36 w 41"/>
                  <a:gd name="T23" fmla="*/ 9 h 22"/>
                  <a:gd name="T24" fmla="*/ 41 w 41"/>
                  <a:gd name="T25" fmla="*/ 9 h 22"/>
                  <a:gd name="T26" fmla="*/ 41 w 41"/>
                  <a:gd name="T27" fmla="*/ 9 h 22"/>
                  <a:gd name="T28" fmla="*/ 41 w 41"/>
                  <a:gd name="T29" fmla="*/ 13 h 22"/>
                  <a:gd name="T30" fmla="*/ 41 w 41"/>
                  <a:gd name="T31" fmla="*/ 18 h 22"/>
                  <a:gd name="T32" fmla="*/ 41 w 41"/>
                  <a:gd name="T33" fmla="*/ 18 h 22"/>
                  <a:gd name="T34" fmla="*/ 41 w 41"/>
                  <a:gd name="T35" fmla="*/ 18 h 22"/>
                  <a:gd name="T36" fmla="*/ 36 w 41"/>
                  <a:gd name="T37" fmla="*/ 22 h 22"/>
                  <a:gd name="T38" fmla="*/ 36 w 41"/>
                  <a:gd name="T39" fmla="*/ 22 h 22"/>
                  <a:gd name="T40" fmla="*/ 27 w 41"/>
                  <a:gd name="T41" fmla="*/ 22 h 22"/>
                  <a:gd name="T42" fmla="*/ 23 w 41"/>
                  <a:gd name="T43" fmla="*/ 22 h 22"/>
                  <a:gd name="T44" fmla="*/ 27 w 41"/>
                  <a:gd name="T45" fmla="*/ 22 h 22"/>
                  <a:gd name="T46" fmla="*/ 27 w 41"/>
                  <a:gd name="T47" fmla="*/ 22 h 22"/>
                  <a:gd name="T48" fmla="*/ 13 w 41"/>
                  <a:gd name="T49" fmla="*/ 18 h 22"/>
                  <a:gd name="T50" fmla="*/ 4 w 41"/>
                  <a:gd name="T51" fmla="*/ 13 h 22"/>
                  <a:gd name="T52" fmla="*/ 0 w 41"/>
                  <a:gd name="T53" fmla="*/ 13 h 22"/>
                  <a:gd name="T54" fmla="*/ 0 w 41"/>
                  <a:gd name="T55" fmla="*/ 9 h 22"/>
                  <a:gd name="T56" fmla="*/ 4 w 41"/>
                  <a:gd name="T57" fmla="*/ 4 h 22"/>
                  <a:gd name="T58" fmla="*/ 4 w 41"/>
                  <a:gd name="T59" fmla="*/ 4 h 22"/>
                  <a:gd name="T60" fmla="*/ 9 w 41"/>
                  <a:gd name="T61" fmla="*/ 4 h 22"/>
                  <a:gd name="T62" fmla="*/ 9 w 41"/>
                  <a:gd name="T63" fmla="*/ 4 h 22"/>
                  <a:gd name="T64" fmla="*/ 13 w 41"/>
                  <a:gd name="T65" fmla="*/ 0 h 22"/>
                  <a:gd name="T66" fmla="*/ 13 w 41"/>
                  <a:gd name="T67" fmla="*/ 0 h 22"/>
                  <a:gd name="T68" fmla="*/ 13 w 41"/>
                  <a:gd name="T69" fmla="*/ 0 h 22"/>
                  <a:gd name="T70" fmla="*/ 13 w 41"/>
                  <a:gd name="T71" fmla="*/ 0 h 22"/>
                  <a:gd name="T72" fmla="*/ 18 w 41"/>
                  <a:gd name="T7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1" h="22">
                    <a:moveTo>
                      <a:pt x="18" y="0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3" y="22"/>
                    </a:lnTo>
                    <a:lnTo>
                      <a:pt x="13" y="18"/>
                    </a:lnTo>
                    <a:lnTo>
                      <a:pt x="9" y="18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8" y="0"/>
                    </a:lnTo>
                    <a:lnTo>
                      <a:pt x="18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27" name="Freeform 148"/>
              <p:cNvSpPr>
                <a:spLocks/>
              </p:cNvSpPr>
              <p:nvPr/>
            </p:nvSpPr>
            <p:spPr bwMode="auto">
              <a:xfrm>
                <a:off x="5446713" y="2600326"/>
                <a:ext cx="171450" cy="107950"/>
              </a:xfrm>
              <a:custGeom>
                <a:avLst/>
                <a:gdLst>
                  <a:gd name="T0" fmla="*/ 27 w 108"/>
                  <a:gd name="T1" fmla="*/ 23 h 68"/>
                  <a:gd name="T2" fmla="*/ 41 w 108"/>
                  <a:gd name="T3" fmla="*/ 23 h 68"/>
                  <a:gd name="T4" fmla="*/ 54 w 108"/>
                  <a:gd name="T5" fmla="*/ 14 h 68"/>
                  <a:gd name="T6" fmla="*/ 59 w 108"/>
                  <a:gd name="T7" fmla="*/ 14 h 68"/>
                  <a:gd name="T8" fmla="*/ 63 w 108"/>
                  <a:gd name="T9" fmla="*/ 19 h 68"/>
                  <a:gd name="T10" fmla="*/ 72 w 108"/>
                  <a:gd name="T11" fmla="*/ 14 h 68"/>
                  <a:gd name="T12" fmla="*/ 81 w 108"/>
                  <a:gd name="T13" fmla="*/ 9 h 68"/>
                  <a:gd name="T14" fmla="*/ 86 w 108"/>
                  <a:gd name="T15" fmla="*/ 9 h 68"/>
                  <a:gd name="T16" fmla="*/ 99 w 108"/>
                  <a:gd name="T17" fmla="*/ 5 h 68"/>
                  <a:gd name="T18" fmla="*/ 104 w 108"/>
                  <a:gd name="T19" fmla="*/ 5 h 68"/>
                  <a:gd name="T20" fmla="*/ 108 w 108"/>
                  <a:gd name="T21" fmla="*/ 5 h 68"/>
                  <a:gd name="T22" fmla="*/ 108 w 108"/>
                  <a:gd name="T23" fmla="*/ 19 h 68"/>
                  <a:gd name="T24" fmla="*/ 108 w 108"/>
                  <a:gd name="T25" fmla="*/ 32 h 68"/>
                  <a:gd name="T26" fmla="*/ 108 w 108"/>
                  <a:gd name="T27" fmla="*/ 37 h 68"/>
                  <a:gd name="T28" fmla="*/ 108 w 108"/>
                  <a:gd name="T29" fmla="*/ 46 h 68"/>
                  <a:gd name="T30" fmla="*/ 99 w 108"/>
                  <a:gd name="T31" fmla="*/ 55 h 68"/>
                  <a:gd name="T32" fmla="*/ 95 w 108"/>
                  <a:gd name="T33" fmla="*/ 64 h 68"/>
                  <a:gd name="T34" fmla="*/ 86 w 108"/>
                  <a:gd name="T35" fmla="*/ 68 h 68"/>
                  <a:gd name="T36" fmla="*/ 77 w 108"/>
                  <a:gd name="T37" fmla="*/ 68 h 68"/>
                  <a:gd name="T38" fmla="*/ 72 w 108"/>
                  <a:gd name="T39" fmla="*/ 68 h 68"/>
                  <a:gd name="T40" fmla="*/ 59 w 108"/>
                  <a:gd name="T41" fmla="*/ 59 h 68"/>
                  <a:gd name="T42" fmla="*/ 45 w 108"/>
                  <a:gd name="T43" fmla="*/ 59 h 68"/>
                  <a:gd name="T44" fmla="*/ 36 w 108"/>
                  <a:gd name="T45" fmla="*/ 55 h 68"/>
                  <a:gd name="T46" fmla="*/ 22 w 108"/>
                  <a:gd name="T47" fmla="*/ 50 h 68"/>
                  <a:gd name="T48" fmla="*/ 22 w 108"/>
                  <a:gd name="T49" fmla="*/ 46 h 68"/>
                  <a:gd name="T50" fmla="*/ 18 w 108"/>
                  <a:gd name="T51" fmla="*/ 41 h 68"/>
                  <a:gd name="T52" fmla="*/ 13 w 108"/>
                  <a:gd name="T53" fmla="*/ 41 h 68"/>
                  <a:gd name="T54" fmla="*/ 9 w 108"/>
                  <a:gd name="T55" fmla="*/ 37 h 68"/>
                  <a:gd name="T56" fmla="*/ 9 w 108"/>
                  <a:gd name="T57" fmla="*/ 32 h 68"/>
                  <a:gd name="T58" fmla="*/ 4 w 108"/>
                  <a:gd name="T59" fmla="*/ 28 h 68"/>
                  <a:gd name="T60" fmla="*/ 4 w 108"/>
                  <a:gd name="T61" fmla="*/ 28 h 68"/>
                  <a:gd name="T62" fmla="*/ 0 w 108"/>
                  <a:gd name="T63" fmla="*/ 23 h 68"/>
                  <a:gd name="T64" fmla="*/ 0 w 108"/>
                  <a:gd name="T65" fmla="*/ 19 h 68"/>
                  <a:gd name="T66" fmla="*/ 0 w 108"/>
                  <a:gd name="T67" fmla="*/ 14 h 68"/>
                  <a:gd name="T68" fmla="*/ 4 w 108"/>
                  <a:gd name="T69" fmla="*/ 14 h 68"/>
                  <a:gd name="T70" fmla="*/ 4 w 108"/>
                  <a:gd name="T71" fmla="*/ 14 h 68"/>
                  <a:gd name="T72" fmla="*/ 9 w 108"/>
                  <a:gd name="T73" fmla="*/ 5 h 68"/>
                  <a:gd name="T74" fmla="*/ 13 w 108"/>
                  <a:gd name="T75" fmla="*/ 5 h 68"/>
                  <a:gd name="T76" fmla="*/ 18 w 108"/>
                  <a:gd name="T77" fmla="*/ 14 h 68"/>
                  <a:gd name="T78" fmla="*/ 27 w 108"/>
                  <a:gd name="T79" fmla="*/ 23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08" h="68">
                    <a:moveTo>
                      <a:pt x="27" y="23"/>
                    </a:moveTo>
                    <a:lnTo>
                      <a:pt x="27" y="23"/>
                    </a:lnTo>
                    <a:lnTo>
                      <a:pt x="31" y="23"/>
                    </a:lnTo>
                    <a:lnTo>
                      <a:pt x="41" y="23"/>
                    </a:lnTo>
                    <a:lnTo>
                      <a:pt x="45" y="19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9" y="14"/>
                    </a:lnTo>
                    <a:lnTo>
                      <a:pt x="63" y="14"/>
                    </a:lnTo>
                    <a:lnTo>
                      <a:pt x="63" y="19"/>
                    </a:lnTo>
                    <a:lnTo>
                      <a:pt x="68" y="19"/>
                    </a:lnTo>
                    <a:lnTo>
                      <a:pt x="72" y="14"/>
                    </a:lnTo>
                    <a:lnTo>
                      <a:pt x="77" y="9"/>
                    </a:lnTo>
                    <a:lnTo>
                      <a:pt x="81" y="9"/>
                    </a:lnTo>
                    <a:lnTo>
                      <a:pt x="81" y="9"/>
                    </a:lnTo>
                    <a:lnTo>
                      <a:pt x="86" y="9"/>
                    </a:lnTo>
                    <a:lnTo>
                      <a:pt x="90" y="9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104" y="5"/>
                    </a:lnTo>
                    <a:lnTo>
                      <a:pt x="108" y="5"/>
                    </a:lnTo>
                    <a:lnTo>
                      <a:pt x="108" y="5"/>
                    </a:lnTo>
                    <a:lnTo>
                      <a:pt x="108" y="9"/>
                    </a:lnTo>
                    <a:lnTo>
                      <a:pt x="108" y="19"/>
                    </a:lnTo>
                    <a:lnTo>
                      <a:pt x="108" y="23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7"/>
                    </a:lnTo>
                    <a:lnTo>
                      <a:pt x="108" y="41"/>
                    </a:lnTo>
                    <a:lnTo>
                      <a:pt x="108" y="46"/>
                    </a:lnTo>
                    <a:lnTo>
                      <a:pt x="104" y="50"/>
                    </a:lnTo>
                    <a:lnTo>
                      <a:pt x="99" y="55"/>
                    </a:lnTo>
                    <a:lnTo>
                      <a:pt x="99" y="59"/>
                    </a:lnTo>
                    <a:lnTo>
                      <a:pt x="95" y="64"/>
                    </a:lnTo>
                    <a:lnTo>
                      <a:pt x="95" y="68"/>
                    </a:lnTo>
                    <a:lnTo>
                      <a:pt x="86" y="68"/>
                    </a:lnTo>
                    <a:lnTo>
                      <a:pt x="81" y="68"/>
                    </a:lnTo>
                    <a:lnTo>
                      <a:pt x="77" y="68"/>
                    </a:lnTo>
                    <a:lnTo>
                      <a:pt x="77" y="68"/>
                    </a:lnTo>
                    <a:lnTo>
                      <a:pt x="72" y="68"/>
                    </a:lnTo>
                    <a:lnTo>
                      <a:pt x="63" y="64"/>
                    </a:lnTo>
                    <a:lnTo>
                      <a:pt x="59" y="59"/>
                    </a:lnTo>
                    <a:lnTo>
                      <a:pt x="50" y="59"/>
                    </a:lnTo>
                    <a:lnTo>
                      <a:pt x="45" y="59"/>
                    </a:lnTo>
                    <a:lnTo>
                      <a:pt x="41" y="55"/>
                    </a:lnTo>
                    <a:lnTo>
                      <a:pt x="36" y="55"/>
                    </a:lnTo>
                    <a:lnTo>
                      <a:pt x="31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46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13" y="37"/>
                    </a:lnTo>
                    <a:lnTo>
                      <a:pt x="9" y="37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9"/>
                    </a:lnTo>
                    <a:lnTo>
                      <a:pt x="9" y="5"/>
                    </a:lnTo>
                    <a:lnTo>
                      <a:pt x="9" y="0"/>
                    </a:lnTo>
                    <a:lnTo>
                      <a:pt x="13" y="5"/>
                    </a:lnTo>
                    <a:lnTo>
                      <a:pt x="18" y="9"/>
                    </a:lnTo>
                    <a:lnTo>
                      <a:pt x="18" y="14"/>
                    </a:lnTo>
                    <a:lnTo>
                      <a:pt x="27" y="19"/>
                    </a:lnTo>
                    <a:lnTo>
                      <a:pt x="27" y="23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28" name="Freeform 149"/>
              <p:cNvSpPr>
                <a:spLocks/>
              </p:cNvSpPr>
              <p:nvPr/>
            </p:nvSpPr>
            <p:spPr bwMode="auto">
              <a:xfrm>
                <a:off x="5403851" y="2586039"/>
                <a:ext cx="279400" cy="417513"/>
              </a:xfrm>
              <a:custGeom>
                <a:avLst/>
                <a:gdLst>
                  <a:gd name="T0" fmla="*/ 171 w 176"/>
                  <a:gd name="T1" fmla="*/ 32 h 263"/>
                  <a:gd name="T2" fmla="*/ 176 w 176"/>
                  <a:gd name="T3" fmla="*/ 28 h 263"/>
                  <a:gd name="T4" fmla="*/ 176 w 176"/>
                  <a:gd name="T5" fmla="*/ 32 h 263"/>
                  <a:gd name="T6" fmla="*/ 176 w 176"/>
                  <a:gd name="T7" fmla="*/ 32 h 263"/>
                  <a:gd name="T8" fmla="*/ 171 w 176"/>
                  <a:gd name="T9" fmla="*/ 32 h 263"/>
                  <a:gd name="T10" fmla="*/ 167 w 176"/>
                  <a:gd name="T11" fmla="*/ 50 h 263"/>
                  <a:gd name="T12" fmla="*/ 162 w 176"/>
                  <a:gd name="T13" fmla="*/ 59 h 263"/>
                  <a:gd name="T14" fmla="*/ 158 w 176"/>
                  <a:gd name="T15" fmla="*/ 73 h 263"/>
                  <a:gd name="T16" fmla="*/ 149 w 176"/>
                  <a:gd name="T17" fmla="*/ 86 h 263"/>
                  <a:gd name="T18" fmla="*/ 144 w 176"/>
                  <a:gd name="T19" fmla="*/ 100 h 263"/>
                  <a:gd name="T20" fmla="*/ 135 w 176"/>
                  <a:gd name="T21" fmla="*/ 122 h 263"/>
                  <a:gd name="T22" fmla="*/ 113 w 176"/>
                  <a:gd name="T23" fmla="*/ 154 h 263"/>
                  <a:gd name="T24" fmla="*/ 86 w 176"/>
                  <a:gd name="T25" fmla="*/ 186 h 263"/>
                  <a:gd name="T26" fmla="*/ 54 w 176"/>
                  <a:gd name="T27" fmla="*/ 208 h 263"/>
                  <a:gd name="T28" fmla="*/ 31 w 176"/>
                  <a:gd name="T29" fmla="*/ 231 h 263"/>
                  <a:gd name="T30" fmla="*/ 27 w 176"/>
                  <a:gd name="T31" fmla="*/ 235 h 263"/>
                  <a:gd name="T32" fmla="*/ 22 w 176"/>
                  <a:gd name="T33" fmla="*/ 245 h 263"/>
                  <a:gd name="T34" fmla="*/ 18 w 176"/>
                  <a:gd name="T35" fmla="*/ 249 h 263"/>
                  <a:gd name="T36" fmla="*/ 13 w 176"/>
                  <a:gd name="T37" fmla="*/ 258 h 263"/>
                  <a:gd name="T38" fmla="*/ 9 w 176"/>
                  <a:gd name="T39" fmla="*/ 258 h 263"/>
                  <a:gd name="T40" fmla="*/ 4 w 176"/>
                  <a:gd name="T41" fmla="*/ 249 h 263"/>
                  <a:gd name="T42" fmla="*/ 0 w 176"/>
                  <a:gd name="T43" fmla="*/ 235 h 263"/>
                  <a:gd name="T44" fmla="*/ 0 w 176"/>
                  <a:gd name="T45" fmla="*/ 186 h 263"/>
                  <a:gd name="T46" fmla="*/ 0 w 176"/>
                  <a:gd name="T47" fmla="*/ 177 h 263"/>
                  <a:gd name="T48" fmla="*/ 13 w 176"/>
                  <a:gd name="T49" fmla="*/ 163 h 263"/>
                  <a:gd name="T50" fmla="*/ 18 w 176"/>
                  <a:gd name="T51" fmla="*/ 154 h 263"/>
                  <a:gd name="T52" fmla="*/ 22 w 176"/>
                  <a:gd name="T53" fmla="*/ 150 h 263"/>
                  <a:gd name="T54" fmla="*/ 36 w 176"/>
                  <a:gd name="T55" fmla="*/ 145 h 263"/>
                  <a:gd name="T56" fmla="*/ 36 w 176"/>
                  <a:gd name="T57" fmla="*/ 141 h 263"/>
                  <a:gd name="T58" fmla="*/ 45 w 176"/>
                  <a:gd name="T59" fmla="*/ 136 h 263"/>
                  <a:gd name="T60" fmla="*/ 54 w 176"/>
                  <a:gd name="T61" fmla="*/ 136 h 263"/>
                  <a:gd name="T62" fmla="*/ 63 w 176"/>
                  <a:gd name="T63" fmla="*/ 136 h 263"/>
                  <a:gd name="T64" fmla="*/ 72 w 176"/>
                  <a:gd name="T65" fmla="*/ 132 h 263"/>
                  <a:gd name="T66" fmla="*/ 86 w 176"/>
                  <a:gd name="T67" fmla="*/ 113 h 263"/>
                  <a:gd name="T68" fmla="*/ 99 w 176"/>
                  <a:gd name="T69" fmla="*/ 100 h 263"/>
                  <a:gd name="T70" fmla="*/ 113 w 176"/>
                  <a:gd name="T71" fmla="*/ 86 h 263"/>
                  <a:gd name="T72" fmla="*/ 122 w 176"/>
                  <a:gd name="T73" fmla="*/ 73 h 263"/>
                  <a:gd name="T74" fmla="*/ 131 w 176"/>
                  <a:gd name="T75" fmla="*/ 59 h 263"/>
                  <a:gd name="T76" fmla="*/ 135 w 176"/>
                  <a:gd name="T77" fmla="*/ 46 h 263"/>
                  <a:gd name="T78" fmla="*/ 135 w 176"/>
                  <a:gd name="T79" fmla="*/ 32 h 263"/>
                  <a:gd name="T80" fmla="*/ 135 w 176"/>
                  <a:gd name="T81" fmla="*/ 14 h 263"/>
                  <a:gd name="T82" fmla="*/ 149 w 176"/>
                  <a:gd name="T83" fmla="*/ 9 h 263"/>
                  <a:gd name="T84" fmla="*/ 162 w 176"/>
                  <a:gd name="T85" fmla="*/ 5 h 263"/>
                  <a:gd name="T86" fmla="*/ 171 w 176"/>
                  <a:gd name="T87" fmla="*/ 5 h 263"/>
                  <a:gd name="T88" fmla="*/ 176 w 176"/>
                  <a:gd name="T89" fmla="*/ 9 h 263"/>
                  <a:gd name="T90" fmla="*/ 171 w 176"/>
                  <a:gd name="T91" fmla="*/ 18 h 263"/>
                  <a:gd name="T92" fmla="*/ 171 w 176"/>
                  <a:gd name="T93" fmla="*/ 28 h 263"/>
                  <a:gd name="T94" fmla="*/ 171 w 176"/>
                  <a:gd name="T95" fmla="*/ 32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6" h="263">
                    <a:moveTo>
                      <a:pt x="171" y="32"/>
                    </a:moveTo>
                    <a:lnTo>
                      <a:pt x="171" y="32"/>
                    </a:lnTo>
                    <a:lnTo>
                      <a:pt x="171" y="32"/>
                    </a:lnTo>
                    <a:lnTo>
                      <a:pt x="176" y="32"/>
                    </a:lnTo>
                    <a:lnTo>
                      <a:pt x="176" y="28"/>
                    </a:lnTo>
                    <a:lnTo>
                      <a:pt x="176" y="28"/>
                    </a:lnTo>
                    <a:lnTo>
                      <a:pt x="176" y="28"/>
                    </a:lnTo>
                    <a:lnTo>
                      <a:pt x="176" y="32"/>
                    </a:lnTo>
                    <a:lnTo>
                      <a:pt x="176" y="32"/>
                    </a:lnTo>
                    <a:lnTo>
                      <a:pt x="176" y="32"/>
                    </a:lnTo>
                    <a:lnTo>
                      <a:pt x="176" y="32"/>
                    </a:lnTo>
                    <a:lnTo>
                      <a:pt x="176" y="32"/>
                    </a:lnTo>
                    <a:lnTo>
                      <a:pt x="171" y="32"/>
                    </a:lnTo>
                    <a:lnTo>
                      <a:pt x="171" y="32"/>
                    </a:lnTo>
                    <a:lnTo>
                      <a:pt x="171" y="32"/>
                    </a:lnTo>
                    <a:lnTo>
                      <a:pt x="171" y="41"/>
                    </a:lnTo>
                    <a:lnTo>
                      <a:pt x="167" y="46"/>
                    </a:lnTo>
                    <a:lnTo>
                      <a:pt x="167" y="50"/>
                    </a:lnTo>
                    <a:lnTo>
                      <a:pt x="167" y="55"/>
                    </a:lnTo>
                    <a:lnTo>
                      <a:pt x="167" y="55"/>
                    </a:lnTo>
                    <a:lnTo>
                      <a:pt x="162" y="59"/>
                    </a:lnTo>
                    <a:lnTo>
                      <a:pt x="162" y="64"/>
                    </a:lnTo>
                    <a:lnTo>
                      <a:pt x="162" y="68"/>
                    </a:lnTo>
                    <a:lnTo>
                      <a:pt x="158" y="73"/>
                    </a:lnTo>
                    <a:lnTo>
                      <a:pt x="153" y="77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49" y="91"/>
                    </a:lnTo>
                    <a:lnTo>
                      <a:pt x="144" y="95"/>
                    </a:lnTo>
                    <a:lnTo>
                      <a:pt x="144" y="100"/>
                    </a:lnTo>
                    <a:lnTo>
                      <a:pt x="140" y="109"/>
                    </a:lnTo>
                    <a:lnTo>
                      <a:pt x="140" y="113"/>
                    </a:lnTo>
                    <a:lnTo>
                      <a:pt x="135" y="122"/>
                    </a:lnTo>
                    <a:lnTo>
                      <a:pt x="126" y="136"/>
                    </a:lnTo>
                    <a:lnTo>
                      <a:pt x="122" y="145"/>
                    </a:lnTo>
                    <a:lnTo>
                      <a:pt x="113" y="154"/>
                    </a:lnTo>
                    <a:lnTo>
                      <a:pt x="104" y="168"/>
                    </a:lnTo>
                    <a:lnTo>
                      <a:pt x="90" y="181"/>
                    </a:lnTo>
                    <a:lnTo>
                      <a:pt x="86" y="186"/>
                    </a:lnTo>
                    <a:lnTo>
                      <a:pt x="72" y="195"/>
                    </a:lnTo>
                    <a:lnTo>
                      <a:pt x="58" y="204"/>
                    </a:lnTo>
                    <a:lnTo>
                      <a:pt x="54" y="208"/>
                    </a:lnTo>
                    <a:lnTo>
                      <a:pt x="49" y="213"/>
                    </a:lnTo>
                    <a:lnTo>
                      <a:pt x="45" y="217"/>
                    </a:lnTo>
                    <a:lnTo>
                      <a:pt x="31" y="231"/>
                    </a:lnTo>
                    <a:lnTo>
                      <a:pt x="31" y="235"/>
                    </a:lnTo>
                    <a:lnTo>
                      <a:pt x="27" y="235"/>
                    </a:lnTo>
                    <a:lnTo>
                      <a:pt x="27" y="235"/>
                    </a:lnTo>
                    <a:lnTo>
                      <a:pt x="27" y="240"/>
                    </a:lnTo>
                    <a:lnTo>
                      <a:pt x="22" y="245"/>
                    </a:lnTo>
                    <a:lnTo>
                      <a:pt x="22" y="245"/>
                    </a:lnTo>
                    <a:lnTo>
                      <a:pt x="18" y="249"/>
                    </a:lnTo>
                    <a:lnTo>
                      <a:pt x="18" y="249"/>
                    </a:lnTo>
                    <a:lnTo>
                      <a:pt x="18" y="249"/>
                    </a:lnTo>
                    <a:lnTo>
                      <a:pt x="18" y="254"/>
                    </a:lnTo>
                    <a:lnTo>
                      <a:pt x="13" y="258"/>
                    </a:lnTo>
                    <a:lnTo>
                      <a:pt x="13" y="258"/>
                    </a:lnTo>
                    <a:lnTo>
                      <a:pt x="9" y="263"/>
                    </a:lnTo>
                    <a:lnTo>
                      <a:pt x="9" y="258"/>
                    </a:lnTo>
                    <a:lnTo>
                      <a:pt x="9" y="258"/>
                    </a:lnTo>
                    <a:lnTo>
                      <a:pt x="9" y="258"/>
                    </a:lnTo>
                    <a:lnTo>
                      <a:pt x="4" y="254"/>
                    </a:lnTo>
                    <a:lnTo>
                      <a:pt x="4" y="249"/>
                    </a:lnTo>
                    <a:lnTo>
                      <a:pt x="0" y="245"/>
                    </a:lnTo>
                    <a:lnTo>
                      <a:pt x="0" y="245"/>
                    </a:lnTo>
                    <a:lnTo>
                      <a:pt x="0" y="235"/>
                    </a:lnTo>
                    <a:lnTo>
                      <a:pt x="0" y="217"/>
                    </a:lnTo>
                    <a:lnTo>
                      <a:pt x="0" y="204"/>
                    </a:lnTo>
                    <a:lnTo>
                      <a:pt x="0" y="186"/>
                    </a:lnTo>
                    <a:lnTo>
                      <a:pt x="0" y="177"/>
                    </a:lnTo>
                    <a:lnTo>
                      <a:pt x="0" y="177"/>
                    </a:lnTo>
                    <a:lnTo>
                      <a:pt x="0" y="177"/>
                    </a:lnTo>
                    <a:lnTo>
                      <a:pt x="4" y="172"/>
                    </a:lnTo>
                    <a:lnTo>
                      <a:pt x="9" y="168"/>
                    </a:lnTo>
                    <a:lnTo>
                      <a:pt x="13" y="163"/>
                    </a:lnTo>
                    <a:lnTo>
                      <a:pt x="13" y="159"/>
                    </a:lnTo>
                    <a:lnTo>
                      <a:pt x="18" y="154"/>
                    </a:lnTo>
                    <a:lnTo>
                      <a:pt x="18" y="154"/>
                    </a:lnTo>
                    <a:lnTo>
                      <a:pt x="18" y="150"/>
                    </a:lnTo>
                    <a:lnTo>
                      <a:pt x="22" y="150"/>
                    </a:lnTo>
                    <a:lnTo>
                      <a:pt x="22" y="150"/>
                    </a:lnTo>
                    <a:lnTo>
                      <a:pt x="31" y="150"/>
                    </a:lnTo>
                    <a:lnTo>
                      <a:pt x="31" y="145"/>
                    </a:lnTo>
                    <a:lnTo>
                      <a:pt x="36" y="145"/>
                    </a:lnTo>
                    <a:lnTo>
                      <a:pt x="36" y="145"/>
                    </a:lnTo>
                    <a:lnTo>
                      <a:pt x="36" y="141"/>
                    </a:lnTo>
                    <a:lnTo>
                      <a:pt x="36" y="141"/>
                    </a:lnTo>
                    <a:lnTo>
                      <a:pt x="40" y="141"/>
                    </a:lnTo>
                    <a:lnTo>
                      <a:pt x="45" y="136"/>
                    </a:lnTo>
                    <a:lnTo>
                      <a:pt x="45" y="136"/>
                    </a:lnTo>
                    <a:lnTo>
                      <a:pt x="49" y="136"/>
                    </a:lnTo>
                    <a:lnTo>
                      <a:pt x="49" y="136"/>
                    </a:lnTo>
                    <a:lnTo>
                      <a:pt x="54" y="136"/>
                    </a:lnTo>
                    <a:lnTo>
                      <a:pt x="54" y="136"/>
                    </a:lnTo>
                    <a:lnTo>
                      <a:pt x="58" y="136"/>
                    </a:lnTo>
                    <a:lnTo>
                      <a:pt x="63" y="136"/>
                    </a:lnTo>
                    <a:lnTo>
                      <a:pt x="68" y="136"/>
                    </a:lnTo>
                    <a:lnTo>
                      <a:pt x="68" y="136"/>
                    </a:lnTo>
                    <a:lnTo>
                      <a:pt x="72" y="132"/>
                    </a:lnTo>
                    <a:lnTo>
                      <a:pt x="77" y="127"/>
                    </a:lnTo>
                    <a:lnTo>
                      <a:pt x="81" y="122"/>
                    </a:lnTo>
                    <a:lnTo>
                      <a:pt x="86" y="113"/>
                    </a:lnTo>
                    <a:lnTo>
                      <a:pt x="90" y="109"/>
                    </a:lnTo>
                    <a:lnTo>
                      <a:pt x="95" y="104"/>
                    </a:lnTo>
                    <a:lnTo>
                      <a:pt x="99" y="100"/>
                    </a:lnTo>
                    <a:lnTo>
                      <a:pt x="104" y="95"/>
                    </a:lnTo>
                    <a:lnTo>
                      <a:pt x="108" y="91"/>
                    </a:lnTo>
                    <a:lnTo>
                      <a:pt x="113" y="86"/>
                    </a:lnTo>
                    <a:lnTo>
                      <a:pt x="117" y="82"/>
                    </a:lnTo>
                    <a:lnTo>
                      <a:pt x="122" y="77"/>
                    </a:lnTo>
                    <a:lnTo>
                      <a:pt x="122" y="73"/>
                    </a:lnTo>
                    <a:lnTo>
                      <a:pt x="126" y="68"/>
                    </a:lnTo>
                    <a:lnTo>
                      <a:pt x="126" y="64"/>
                    </a:lnTo>
                    <a:lnTo>
                      <a:pt x="131" y="59"/>
                    </a:lnTo>
                    <a:lnTo>
                      <a:pt x="135" y="55"/>
                    </a:lnTo>
                    <a:lnTo>
                      <a:pt x="135" y="50"/>
                    </a:lnTo>
                    <a:lnTo>
                      <a:pt x="135" y="46"/>
                    </a:lnTo>
                    <a:lnTo>
                      <a:pt x="135" y="41"/>
                    </a:lnTo>
                    <a:lnTo>
                      <a:pt x="135" y="41"/>
                    </a:lnTo>
                    <a:lnTo>
                      <a:pt x="135" y="32"/>
                    </a:lnTo>
                    <a:lnTo>
                      <a:pt x="135" y="28"/>
                    </a:lnTo>
                    <a:lnTo>
                      <a:pt x="135" y="18"/>
                    </a:lnTo>
                    <a:lnTo>
                      <a:pt x="135" y="14"/>
                    </a:lnTo>
                    <a:lnTo>
                      <a:pt x="135" y="14"/>
                    </a:lnTo>
                    <a:lnTo>
                      <a:pt x="144" y="14"/>
                    </a:lnTo>
                    <a:lnTo>
                      <a:pt x="149" y="9"/>
                    </a:lnTo>
                    <a:lnTo>
                      <a:pt x="153" y="9"/>
                    </a:lnTo>
                    <a:lnTo>
                      <a:pt x="162" y="5"/>
                    </a:lnTo>
                    <a:lnTo>
                      <a:pt x="162" y="5"/>
                    </a:lnTo>
                    <a:lnTo>
                      <a:pt x="162" y="0"/>
                    </a:lnTo>
                    <a:lnTo>
                      <a:pt x="167" y="0"/>
                    </a:lnTo>
                    <a:lnTo>
                      <a:pt x="171" y="5"/>
                    </a:lnTo>
                    <a:lnTo>
                      <a:pt x="176" y="5"/>
                    </a:lnTo>
                    <a:lnTo>
                      <a:pt x="176" y="5"/>
                    </a:lnTo>
                    <a:lnTo>
                      <a:pt x="176" y="9"/>
                    </a:lnTo>
                    <a:lnTo>
                      <a:pt x="171" y="9"/>
                    </a:lnTo>
                    <a:lnTo>
                      <a:pt x="171" y="14"/>
                    </a:lnTo>
                    <a:lnTo>
                      <a:pt x="171" y="18"/>
                    </a:lnTo>
                    <a:lnTo>
                      <a:pt x="171" y="28"/>
                    </a:lnTo>
                    <a:lnTo>
                      <a:pt x="171" y="28"/>
                    </a:lnTo>
                    <a:lnTo>
                      <a:pt x="171" y="28"/>
                    </a:lnTo>
                    <a:lnTo>
                      <a:pt x="171" y="28"/>
                    </a:lnTo>
                    <a:lnTo>
                      <a:pt x="171" y="32"/>
                    </a:lnTo>
                    <a:lnTo>
                      <a:pt x="171" y="32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29" name="Freeform 150"/>
              <p:cNvSpPr>
                <a:spLocks/>
              </p:cNvSpPr>
              <p:nvPr/>
            </p:nvSpPr>
            <p:spPr bwMode="auto">
              <a:xfrm>
                <a:off x="4757738" y="1574801"/>
                <a:ext cx="107950" cy="114300"/>
              </a:xfrm>
              <a:custGeom>
                <a:avLst/>
                <a:gdLst>
                  <a:gd name="T0" fmla="*/ 18 w 68"/>
                  <a:gd name="T1" fmla="*/ 0 h 72"/>
                  <a:gd name="T2" fmla="*/ 23 w 68"/>
                  <a:gd name="T3" fmla="*/ 4 h 72"/>
                  <a:gd name="T4" fmla="*/ 27 w 68"/>
                  <a:gd name="T5" fmla="*/ 4 h 72"/>
                  <a:gd name="T6" fmla="*/ 27 w 68"/>
                  <a:gd name="T7" fmla="*/ 9 h 72"/>
                  <a:gd name="T8" fmla="*/ 32 w 68"/>
                  <a:gd name="T9" fmla="*/ 9 h 72"/>
                  <a:gd name="T10" fmla="*/ 36 w 68"/>
                  <a:gd name="T11" fmla="*/ 13 h 72"/>
                  <a:gd name="T12" fmla="*/ 41 w 68"/>
                  <a:gd name="T13" fmla="*/ 18 h 72"/>
                  <a:gd name="T14" fmla="*/ 41 w 68"/>
                  <a:gd name="T15" fmla="*/ 18 h 72"/>
                  <a:gd name="T16" fmla="*/ 41 w 68"/>
                  <a:gd name="T17" fmla="*/ 23 h 72"/>
                  <a:gd name="T18" fmla="*/ 41 w 68"/>
                  <a:gd name="T19" fmla="*/ 23 h 72"/>
                  <a:gd name="T20" fmla="*/ 41 w 68"/>
                  <a:gd name="T21" fmla="*/ 23 h 72"/>
                  <a:gd name="T22" fmla="*/ 50 w 68"/>
                  <a:gd name="T23" fmla="*/ 27 h 72"/>
                  <a:gd name="T24" fmla="*/ 59 w 68"/>
                  <a:gd name="T25" fmla="*/ 27 h 72"/>
                  <a:gd name="T26" fmla="*/ 59 w 68"/>
                  <a:gd name="T27" fmla="*/ 27 h 72"/>
                  <a:gd name="T28" fmla="*/ 59 w 68"/>
                  <a:gd name="T29" fmla="*/ 32 h 72"/>
                  <a:gd name="T30" fmla="*/ 59 w 68"/>
                  <a:gd name="T31" fmla="*/ 36 h 72"/>
                  <a:gd name="T32" fmla="*/ 54 w 68"/>
                  <a:gd name="T33" fmla="*/ 41 h 72"/>
                  <a:gd name="T34" fmla="*/ 59 w 68"/>
                  <a:gd name="T35" fmla="*/ 45 h 72"/>
                  <a:gd name="T36" fmla="*/ 63 w 68"/>
                  <a:gd name="T37" fmla="*/ 50 h 72"/>
                  <a:gd name="T38" fmla="*/ 63 w 68"/>
                  <a:gd name="T39" fmla="*/ 54 h 72"/>
                  <a:gd name="T40" fmla="*/ 59 w 68"/>
                  <a:gd name="T41" fmla="*/ 59 h 72"/>
                  <a:gd name="T42" fmla="*/ 59 w 68"/>
                  <a:gd name="T43" fmla="*/ 63 h 72"/>
                  <a:gd name="T44" fmla="*/ 59 w 68"/>
                  <a:gd name="T45" fmla="*/ 68 h 72"/>
                  <a:gd name="T46" fmla="*/ 54 w 68"/>
                  <a:gd name="T47" fmla="*/ 68 h 72"/>
                  <a:gd name="T48" fmla="*/ 50 w 68"/>
                  <a:gd name="T49" fmla="*/ 72 h 72"/>
                  <a:gd name="T50" fmla="*/ 45 w 68"/>
                  <a:gd name="T51" fmla="*/ 72 h 72"/>
                  <a:gd name="T52" fmla="*/ 45 w 68"/>
                  <a:gd name="T53" fmla="*/ 68 h 72"/>
                  <a:gd name="T54" fmla="*/ 45 w 68"/>
                  <a:gd name="T55" fmla="*/ 63 h 72"/>
                  <a:gd name="T56" fmla="*/ 41 w 68"/>
                  <a:gd name="T57" fmla="*/ 59 h 72"/>
                  <a:gd name="T58" fmla="*/ 32 w 68"/>
                  <a:gd name="T59" fmla="*/ 54 h 72"/>
                  <a:gd name="T60" fmla="*/ 32 w 68"/>
                  <a:gd name="T61" fmla="*/ 54 h 72"/>
                  <a:gd name="T62" fmla="*/ 32 w 68"/>
                  <a:gd name="T63" fmla="*/ 54 h 72"/>
                  <a:gd name="T64" fmla="*/ 27 w 68"/>
                  <a:gd name="T65" fmla="*/ 59 h 72"/>
                  <a:gd name="T66" fmla="*/ 23 w 68"/>
                  <a:gd name="T67" fmla="*/ 59 h 72"/>
                  <a:gd name="T68" fmla="*/ 14 w 68"/>
                  <a:gd name="T69" fmla="*/ 54 h 72"/>
                  <a:gd name="T70" fmla="*/ 9 w 68"/>
                  <a:gd name="T71" fmla="*/ 50 h 72"/>
                  <a:gd name="T72" fmla="*/ 9 w 68"/>
                  <a:gd name="T73" fmla="*/ 45 h 72"/>
                  <a:gd name="T74" fmla="*/ 14 w 68"/>
                  <a:gd name="T75" fmla="*/ 45 h 72"/>
                  <a:gd name="T76" fmla="*/ 9 w 68"/>
                  <a:gd name="T77" fmla="*/ 41 h 72"/>
                  <a:gd name="T78" fmla="*/ 14 w 68"/>
                  <a:gd name="T79" fmla="*/ 36 h 72"/>
                  <a:gd name="T80" fmla="*/ 5 w 68"/>
                  <a:gd name="T81" fmla="*/ 32 h 72"/>
                  <a:gd name="T82" fmla="*/ 5 w 68"/>
                  <a:gd name="T83" fmla="*/ 27 h 72"/>
                  <a:gd name="T84" fmla="*/ 9 w 68"/>
                  <a:gd name="T85" fmla="*/ 23 h 72"/>
                  <a:gd name="T86" fmla="*/ 5 w 68"/>
                  <a:gd name="T87" fmla="*/ 23 h 72"/>
                  <a:gd name="T88" fmla="*/ 5 w 68"/>
                  <a:gd name="T89" fmla="*/ 23 h 72"/>
                  <a:gd name="T90" fmla="*/ 5 w 68"/>
                  <a:gd name="T91" fmla="*/ 18 h 72"/>
                  <a:gd name="T92" fmla="*/ 9 w 68"/>
                  <a:gd name="T93" fmla="*/ 18 h 72"/>
                  <a:gd name="T94" fmla="*/ 5 w 68"/>
                  <a:gd name="T95" fmla="*/ 13 h 72"/>
                  <a:gd name="T96" fmla="*/ 5 w 68"/>
                  <a:gd name="T97" fmla="*/ 9 h 72"/>
                  <a:gd name="T98" fmla="*/ 0 w 68"/>
                  <a:gd name="T99" fmla="*/ 4 h 72"/>
                  <a:gd name="T100" fmla="*/ 5 w 68"/>
                  <a:gd name="T101" fmla="*/ 4 h 72"/>
                  <a:gd name="T102" fmla="*/ 5 w 68"/>
                  <a:gd name="T103" fmla="*/ 0 h 72"/>
                  <a:gd name="T104" fmla="*/ 9 w 68"/>
                  <a:gd name="T105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8" h="72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2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59" y="41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4" y="45"/>
                    </a:lnTo>
                    <a:lnTo>
                      <a:pt x="54" y="45"/>
                    </a:lnTo>
                    <a:lnTo>
                      <a:pt x="59" y="45"/>
                    </a:lnTo>
                    <a:lnTo>
                      <a:pt x="59" y="45"/>
                    </a:lnTo>
                    <a:lnTo>
                      <a:pt x="59" y="50"/>
                    </a:lnTo>
                    <a:lnTo>
                      <a:pt x="59" y="50"/>
                    </a:lnTo>
                    <a:lnTo>
                      <a:pt x="63" y="50"/>
                    </a:lnTo>
                    <a:lnTo>
                      <a:pt x="63" y="50"/>
                    </a:lnTo>
                    <a:lnTo>
                      <a:pt x="63" y="50"/>
                    </a:lnTo>
                    <a:lnTo>
                      <a:pt x="63" y="54"/>
                    </a:lnTo>
                    <a:lnTo>
                      <a:pt x="68" y="54"/>
                    </a:lnTo>
                    <a:lnTo>
                      <a:pt x="68" y="54"/>
                    </a:lnTo>
                    <a:lnTo>
                      <a:pt x="63" y="54"/>
                    </a:lnTo>
                    <a:lnTo>
                      <a:pt x="63" y="54"/>
                    </a:lnTo>
                    <a:lnTo>
                      <a:pt x="63" y="59"/>
                    </a:lnTo>
                    <a:lnTo>
                      <a:pt x="63" y="59"/>
                    </a:lnTo>
                    <a:lnTo>
                      <a:pt x="63" y="59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9" y="63"/>
                    </a:lnTo>
                    <a:lnTo>
                      <a:pt x="59" y="63"/>
                    </a:lnTo>
                    <a:lnTo>
                      <a:pt x="59" y="63"/>
                    </a:lnTo>
                    <a:lnTo>
                      <a:pt x="59" y="63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9" y="72"/>
                    </a:lnTo>
                    <a:lnTo>
                      <a:pt x="59" y="72"/>
                    </a:lnTo>
                    <a:lnTo>
                      <a:pt x="59" y="72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50" y="72"/>
                    </a:lnTo>
                    <a:lnTo>
                      <a:pt x="50" y="72"/>
                    </a:lnTo>
                    <a:lnTo>
                      <a:pt x="50" y="72"/>
                    </a:lnTo>
                    <a:lnTo>
                      <a:pt x="50" y="72"/>
                    </a:lnTo>
                    <a:lnTo>
                      <a:pt x="45" y="72"/>
                    </a:lnTo>
                    <a:lnTo>
                      <a:pt x="45" y="72"/>
                    </a:lnTo>
                    <a:lnTo>
                      <a:pt x="45" y="72"/>
                    </a:lnTo>
                    <a:lnTo>
                      <a:pt x="45" y="72"/>
                    </a:lnTo>
                    <a:lnTo>
                      <a:pt x="45" y="68"/>
                    </a:lnTo>
                    <a:lnTo>
                      <a:pt x="45" y="68"/>
                    </a:lnTo>
                    <a:lnTo>
                      <a:pt x="45" y="68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45" y="63"/>
                    </a:lnTo>
                    <a:lnTo>
                      <a:pt x="45" y="63"/>
                    </a:lnTo>
                    <a:lnTo>
                      <a:pt x="41" y="63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36" y="59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9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30" name="Freeform 151"/>
              <p:cNvSpPr>
                <a:spLocks/>
              </p:cNvSpPr>
              <p:nvPr/>
            </p:nvSpPr>
            <p:spPr bwMode="auto">
              <a:xfrm>
                <a:off x="2657476" y="2765426"/>
                <a:ext cx="114300" cy="130175"/>
              </a:xfrm>
              <a:custGeom>
                <a:avLst/>
                <a:gdLst>
                  <a:gd name="T0" fmla="*/ 67 w 72"/>
                  <a:gd name="T1" fmla="*/ 0 h 82"/>
                  <a:gd name="T2" fmla="*/ 72 w 72"/>
                  <a:gd name="T3" fmla="*/ 5 h 82"/>
                  <a:gd name="T4" fmla="*/ 72 w 72"/>
                  <a:gd name="T5" fmla="*/ 14 h 82"/>
                  <a:gd name="T6" fmla="*/ 63 w 72"/>
                  <a:gd name="T7" fmla="*/ 19 h 82"/>
                  <a:gd name="T8" fmla="*/ 63 w 72"/>
                  <a:gd name="T9" fmla="*/ 23 h 82"/>
                  <a:gd name="T10" fmla="*/ 67 w 72"/>
                  <a:gd name="T11" fmla="*/ 28 h 82"/>
                  <a:gd name="T12" fmla="*/ 67 w 72"/>
                  <a:gd name="T13" fmla="*/ 32 h 82"/>
                  <a:gd name="T14" fmla="*/ 67 w 72"/>
                  <a:gd name="T15" fmla="*/ 37 h 82"/>
                  <a:gd name="T16" fmla="*/ 67 w 72"/>
                  <a:gd name="T17" fmla="*/ 41 h 82"/>
                  <a:gd name="T18" fmla="*/ 72 w 72"/>
                  <a:gd name="T19" fmla="*/ 46 h 82"/>
                  <a:gd name="T20" fmla="*/ 72 w 72"/>
                  <a:gd name="T21" fmla="*/ 46 h 82"/>
                  <a:gd name="T22" fmla="*/ 72 w 72"/>
                  <a:gd name="T23" fmla="*/ 50 h 82"/>
                  <a:gd name="T24" fmla="*/ 67 w 72"/>
                  <a:gd name="T25" fmla="*/ 59 h 82"/>
                  <a:gd name="T26" fmla="*/ 67 w 72"/>
                  <a:gd name="T27" fmla="*/ 64 h 82"/>
                  <a:gd name="T28" fmla="*/ 63 w 72"/>
                  <a:gd name="T29" fmla="*/ 73 h 82"/>
                  <a:gd name="T30" fmla="*/ 63 w 72"/>
                  <a:gd name="T31" fmla="*/ 73 h 82"/>
                  <a:gd name="T32" fmla="*/ 58 w 72"/>
                  <a:gd name="T33" fmla="*/ 68 h 82"/>
                  <a:gd name="T34" fmla="*/ 58 w 72"/>
                  <a:gd name="T35" fmla="*/ 68 h 82"/>
                  <a:gd name="T36" fmla="*/ 54 w 72"/>
                  <a:gd name="T37" fmla="*/ 68 h 82"/>
                  <a:gd name="T38" fmla="*/ 54 w 72"/>
                  <a:gd name="T39" fmla="*/ 68 h 82"/>
                  <a:gd name="T40" fmla="*/ 49 w 72"/>
                  <a:gd name="T41" fmla="*/ 68 h 82"/>
                  <a:gd name="T42" fmla="*/ 49 w 72"/>
                  <a:gd name="T43" fmla="*/ 68 h 82"/>
                  <a:gd name="T44" fmla="*/ 40 w 72"/>
                  <a:gd name="T45" fmla="*/ 68 h 82"/>
                  <a:gd name="T46" fmla="*/ 36 w 72"/>
                  <a:gd name="T47" fmla="*/ 68 h 82"/>
                  <a:gd name="T48" fmla="*/ 36 w 72"/>
                  <a:gd name="T49" fmla="*/ 68 h 82"/>
                  <a:gd name="T50" fmla="*/ 36 w 72"/>
                  <a:gd name="T51" fmla="*/ 73 h 82"/>
                  <a:gd name="T52" fmla="*/ 36 w 72"/>
                  <a:gd name="T53" fmla="*/ 77 h 82"/>
                  <a:gd name="T54" fmla="*/ 36 w 72"/>
                  <a:gd name="T55" fmla="*/ 77 h 82"/>
                  <a:gd name="T56" fmla="*/ 31 w 72"/>
                  <a:gd name="T57" fmla="*/ 77 h 82"/>
                  <a:gd name="T58" fmla="*/ 27 w 72"/>
                  <a:gd name="T59" fmla="*/ 77 h 82"/>
                  <a:gd name="T60" fmla="*/ 27 w 72"/>
                  <a:gd name="T61" fmla="*/ 77 h 82"/>
                  <a:gd name="T62" fmla="*/ 22 w 72"/>
                  <a:gd name="T63" fmla="*/ 73 h 82"/>
                  <a:gd name="T64" fmla="*/ 22 w 72"/>
                  <a:gd name="T65" fmla="*/ 68 h 82"/>
                  <a:gd name="T66" fmla="*/ 18 w 72"/>
                  <a:gd name="T67" fmla="*/ 68 h 82"/>
                  <a:gd name="T68" fmla="*/ 18 w 72"/>
                  <a:gd name="T69" fmla="*/ 64 h 82"/>
                  <a:gd name="T70" fmla="*/ 18 w 72"/>
                  <a:gd name="T71" fmla="*/ 64 h 82"/>
                  <a:gd name="T72" fmla="*/ 18 w 72"/>
                  <a:gd name="T73" fmla="*/ 59 h 82"/>
                  <a:gd name="T74" fmla="*/ 13 w 72"/>
                  <a:gd name="T75" fmla="*/ 59 h 82"/>
                  <a:gd name="T76" fmla="*/ 13 w 72"/>
                  <a:gd name="T77" fmla="*/ 55 h 82"/>
                  <a:gd name="T78" fmla="*/ 13 w 72"/>
                  <a:gd name="T79" fmla="*/ 50 h 82"/>
                  <a:gd name="T80" fmla="*/ 13 w 72"/>
                  <a:gd name="T81" fmla="*/ 50 h 82"/>
                  <a:gd name="T82" fmla="*/ 9 w 72"/>
                  <a:gd name="T83" fmla="*/ 50 h 82"/>
                  <a:gd name="T84" fmla="*/ 9 w 72"/>
                  <a:gd name="T85" fmla="*/ 46 h 82"/>
                  <a:gd name="T86" fmla="*/ 4 w 72"/>
                  <a:gd name="T87" fmla="*/ 41 h 82"/>
                  <a:gd name="T88" fmla="*/ 0 w 72"/>
                  <a:gd name="T89" fmla="*/ 37 h 82"/>
                  <a:gd name="T90" fmla="*/ 4 w 72"/>
                  <a:gd name="T91" fmla="*/ 32 h 82"/>
                  <a:gd name="T92" fmla="*/ 4 w 72"/>
                  <a:gd name="T93" fmla="*/ 28 h 82"/>
                  <a:gd name="T94" fmla="*/ 4 w 72"/>
                  <a:gd name="T95" fmla="*/ 23 h 82"/>
                  <a:gd name="T96" fmla="*/ 4 w 72"/>
                  <a:gd name="T97" fmla="*/ 19 h 82"/>
                  <a:gd name="T98" fmla="*/ 9 w 72"/>
                  <a:gd name="T99" fmla="*/ 19 h 82"/>
                  <a:gd name="T100" fmla="*/ 13 w 72"/>
                  <a:gd name="T101" fmla="*/ 19 h 82"/>
                  <a:gd name="T102" fmla="*/ 13 w 72"/>
                  <a:gd name="T103" fmla="*/ 19 h 82"/>
                  <a:gd name="T104" fmla="*/ 18 w 72"/>
                  <a:gd name="T105" fmla="*/ 14 h 82"/>
                  <a:gd name="T106" fmla="*/ 18 w 72"/>
                  <a:gd name="T107" fmla="*/ 14 h 82"/>
                  <a:gd name="T108" fmla="*/ 18 w 72"/>
                  <a:gd name="T109" fmla="*/ 14 h 82"/>
                  <a:gd name="T110" fmla="*/ 18 w 72"/>
                  <a:gd name="T111" fmla="*/ 9 h 82"/>
                  <a:gd name="T112" fmla="*/ 18 w 72"/>
                  <a:gd name="T113" fmla="*/ 5 h 82"/>
                  <a:gd name="T114" fmla="*/ 22 w 72"/>
                  <a:gd name="T115" fmla="*/ 0 h 82"/>
                  <a:gd name="T116" fmla="*/ 40 w 72"/>
                  <a:gd name="T117" fmla="*/ 5 h 82"/>
                  <a:gd name="T118" fmla="*/ 40 w 72"/>
                  <a:gd name="T119" fmla="*/ 0 h 82"/>
                  <a:gd name="T120" fmla="*/ 49 w 72"/>
                  <a:gd name="T121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2" h="82">
                    <a:moveTo>
                      <a:pt x="58" y="0"/>
                    </a:moveTo>
                    <a:lnTo>
                      <a:pt x="58" y="0"/>
                    </a:lnTo>
                    <a:lnTo>
                      <a:pt x="67" y="0"/>
                    </a:lnTo>
                    <a:lnTo>
                      <a:pt x="72" y="5"/>
                    </a:lnTo>
                    <a:lnTo>
                      <a:pt x="72" y="5"/>
                    </a:lnTo>
                    <a:lnTo>
                      <a:pt x="72" y="5"/>
                    </a:lnTo>
                    <a:lnTo>
                      <a:pt x="72" y="9"/>
                    </a:lnTo>
                    <a:lnTo>
                      <a:pt x="72" y="9"/>
                    </a:lnTo>
                    <a:lnTo>
                      <a:pt x="72" y="14"/>
                    </a:lnTo>
                    <a:lnTo>
                      <a:pt x="67" y="14"/>
                    </a:lnTo>
                    <a:lnTo>
                      <a:pt x="67" y="14"/>
                    </a:lnTo>
                    <a:lnTo>
                      <a:pt x="63" y="19"/>
                    </a:lnTo>
                    <a:lnTo>
                      <a:pt x="63" y="19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63" y="28"/>
                    </a:lnTo>
                    <a:lnTo>
                      <a:pt x="67" y="28"/>
                    </a:lnTo>
                    <a:lnTo>
                      <a:pt x="63" y="28"/>
                    </a:lnTo>
                    <a:lnTo>
                      <a:pt x="63" y="32"/>
                    </a:lnTo>
                    <a:lnTo>
                      <a:pt x="67" y="32"/>
                    </a:lnTo>
                    <a:lnTo>
                      <a:pt x="67" y="32"/>
                    </a:lnTo>
                    <a:lnTo>
                      <a:pt x="67" y="37"/>
                    </a:lnTo>
                    <a:lnTo>
                      <a:pt x="67" y="37"/>
                    </a:lnTo>
                    <a:lnTo>
                      <a:pt x="67" y="37"/>
                    </a:lnTo>
                    <a:lnTo>
                      <a:pt x="67" y="37"/>
                    </a:lnTo>
                    <a:lnTo>
                      <a:pt x="67" y="41"/>
                    </a:lnTo>
                    <a:lnTo>
                      <a:pt x="67" y="41"/>
                    </a:lnTo>
                    <a:lnTo>
                      <a:pt x="72" y="41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67" y="55"/>
                    </a:lnTo>
                    <a:lnTo>
                      <a:pt x="67" y="55"/>
                    </a:lnTo>
                    <a:lnTo>
                      <a:pt x="67" y="59"/>
                    </a:lnTo>
                    <a:lnTo>
                      <a:pt x="67" y="59"/>
                    </a:lnTo>
                    <a:lnTo>
                      <a:pt x="67" y="64"/>
                    </a:lnTo>
                    <a:lnTo>
                      <a:pt x="67" y="64"/>
                    </a:lnTo>
                    <a:lnTo>
                      <a:pt x="63" y="68"/>
                    </a:lnTo>
                    <a:lnTo>
                      <a:pt x="63" y="68"/>
                    </a:lnTo>
                    <a:lnTo>
                      <a:pt x="63" y="73"/>
                    </a:lnTo>
                    <a:lnTo>
                      <a:pt x="63" y="73"/>
                    </a:lnTo>
                    <a:lnTo>
                      <a:pt x="63" y="73"/>
                    </a:lnTo>
                    <a:lnTo>
                      <a:pt x="63" y="73"/>
                    </a:lnTo>
                    <a:lnTo>
                      <a:pt x="58" y="73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49" y="68"/>
                    </a:lnTo>
                    <a:lnTo>
                      <a:pt x="49" y="68"/>
                    </a:lnTo>
                    <a:lnTo>
                      <a:pt x="49" y="68"/>
                    </a:lnTo>
                    <a:lnTo>
                      <a:pt x="49" y="68"/>
                    </a:lnTo>
                    <a:lnTo>
                      <a:pt x="49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6" y="73"/>
                    </a:lnTo>
                    <a:lnTo>
                      <a:pt x="36" y="73"/>
                    </a:lnTo>
                    <a:lnTo>
                      <a:pt x="36" y="73"/>
                    </a:lnTo>
                    <a:lnTo>
                      <a:pt x="36" y="73"/>
                    </a:lnTo>
                    <a:lnTo>
                      <a:pt x="36" y="73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31" y="77"/>
                    </a:lnTo>
                    <a:lnTo>
                      <a:pt x="31" y="77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2" y="77"/>
                    </a:lnTo>
                    <a:lnTo>
                      <a:pt x="22" y="73"/>
                    </a:lnTo>
                    <a:lnTo>
                      <a:pt x="22" y="73"/>
                    </a:lnTo>
                    <a:lnTo>
                      <a:pt x="22" y="73"/>
                    </a:lnTo>
                    <a:lnTo>
                      <a:pt x="22" y="73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3" y="59"/>
                    </a:lnTo>
                    <a:lnTo>
                      <a:pt x="13" y="55"/>
                    </a:lnTo>
                    <a:lnTo>
                      <a:pt x="13" y="55"/>
                    </a:lnTo>
                    <a:lnTo>
                      <a:pt x="13" y="55"/>
                    </a:lnTo>
                    <a:lnTo>
                      <a:pt x="13" y="55"/>
                    </a:lnTo>
                    <a:lnTo>
                      <a:pt x="13" y="55"/>
                    </a:lnTo>
                    <a:lnTo>
                      <a:pt x="13" y="50"/>
                    </a:lnTo>
                    <a:lnTo>
                      <a:pt x="13" y="50"/>
                    </a:lnTo>
                    <a:lnTo>
                      <a:pt x="13" y="50"/>
                    </a:lnTo>
                    <a:lnTo>
                      <a:pt x="13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46"/>
                    </a:lnTo>
                    <a:lnTo>
                      <a:pt x="9" y="46"/>
                    </a:lnTo>
                    <a:lnTo>
                      <a:pt x="4" y="46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3" y="19"/>
                    </a:lnTo>
                    <a:lnTo>
                      <a:pt x="13" y="19"/>
                    </a:lnTo>
                    <a:lnTo>
                      <a:pt x="13" y="19"/>
                    </a:lnTo>
                    <a:lnTo>
                      <a:pt x="13" y="19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3" y="14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31" y="0"/>
                    </a:lnTo>
                    <a:lnTo>
                      <a:pt x="36" y="0"/>
                    </a:lnTo>
                    <a:lnTo>
                      <a:pt x="40" y="5"/>
                    </a:lnTo>
                    <a:lnTo>
                      <a:pt x="40" y="5"/>
                    </a:lnTo>
                    <a:lnTo>
                      <a:pt x="40" y="5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9" y="0"/>
                    </a:lnTo>
                    <a:lnTo>
                      <a:pt x="54" y="0"/>
                    </a:lnTo>
                    <a:lnTo>
                      <a:pt x="58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31" name="Freeform 152"/>
              <p:cNvSpPr>
                <a:spLocks/>
              </p:cNvSpPr>
              <p:nvPr/>
            </p:nvSpPr>
            <p:spPr bwMode="auto">
              <a:xfrm>
                <a:off x="4708526" y="1466851"/>
                <a:ext cx="128588" cy="57150"/>
              </a:xfrm>
              <a:custGeom>
                <a:avLst/>
                <a:gdLst>
                  <a:gd name="T0" fmla="*/ 40 w 81"/>
                  <a:gd name="T1" fmla="*/ 5 h 36"/>
                  <a:gd name="T2" fmla="*/ 40 w 81"/>
                  <a:gd name="T3" fmla="*/ 9 h 36"/>
                  <a:gd name="T4" fmla="*/ 40 w 81"/>
                  <a:gd name="T5" fmla="*/ 9 h 36"/>
                  <a:gd name="T6" fmla="*/ 45 w 81"/>
                  <a:gd name="T7" fmla="*/ 9 h 36"/>
                  <a:gd name="T8" fmla="*/ 45 w 81"/>
                  <a:gd name="T9" fmla="*/ 9 h 36"/>
                  <a:gd name="T10" fmla="*/ 49 w 81"/>
                  <a:gd name="T11" fmla="*/ 5 h 36"/>
                  <a:gd name="T12" fmla="*/ 49 w 81"/>
                  <a:gd name="T13" fmla="*/ 5 h 36"/>
                  <a:gd name="T14" fmla="*/ 54 w 81"/>
                  <a:gd name="T15" fmla="*/ 5 h 36"/>
                  <a:gd name="T16" fmla="*/ 58 w 81"/>
                  <a:gd name="T17" fmla="*/ 9 h 36"/>
                  <a:gd name="T18" fmla="*/ 63 w 81"/>
                  <a:gd name="T19" fmla="*/ 5 h 36"/>
                  <a:gd name="T20" fmla="*/ 67 w 81"/>
                  <a:gd name="T21" fmla="*/ 5 h 36"/>
                  <a:gd name="T22" fmla="*/ 72 w 81"/>
                  <a:gd name="T23" fmla="*/ 9 h 36"/>
                  <a:gd name="T24" fmla="*/ 76 w 81"/>
                  <a:gd name="T25" fmla="*/ 9 h 36"/>
                  <a:gd name="T26" fmla="*/ 81 w 81"/>
                  <a:gd name="T27" fmla="*/ 14 h 36"/>
                  <a:gd name="T28" fmla="*/ 81 w 81"/>
                  <a:gd name="T29" fmla="*/ 14 h 36"/>
                  <a:gd name="T30" fmla="*/ 76 w 81"/>
                  <a:gd name="T31" fmla="*/ 23 h 36"/>
                  <a:gd name="T32" fmla="*/ 72 w 81"/>
                  <a:gd name="T33" fmla="*/ 27 h 36"/>
                  <a:gd name="T34" fmla="*/ 72 w 81"/>
                  <a:gd name="T35" fmla="*/ 23 h 36"/>
                  <a:gd name="T36" fmla="*/ 67 w 81"/>
                  <a:gd name="T37" fmla="*/ 23 h 36"/>
                  <a:gd name="T38" fmla="*/ 67 w 81"/>
                  <a:gd name="T39" fmla="*/ 23 h 36"/>
                  <a:gd name="T40" fmla="*/ 58 w 81"/>
                  <a:gd name="T41" fmla="*/ 23 h 36"/>
                  <a:gd name="T42" fmla="*/ 54 w 81"/>
                  <a:gd name="T43" fmla="*/ 23 h 36"/>
                  <a:gd name="T44" fmla="*/ 49 w 81"/>
                  <a:gd name="T45" fmla="*/ 27 h 36"/>
                  <a:gd name="T46" fmla="*/ 45 w 81"/>
                  <a:gd name="T47" fmla="*/ 27 h 36"/>
                  <a:gd name="T48" fmla="*/ 40 w 81"/>
                  <a:gd name="T49" fmla="*/ 27 h 36"/>
                  <a:gd name="T50" fmla="*/ 36 w 81"/>
                  <a:gd name="T51" fmla="*/ 32 h 36"/>
                  <a:gd name="T52" fmla="*/ 27 w 81"/>
                  <a:gd name="T53" fmla="*/ 32 h 36"/>
                  <a:gd name="T54" fmla="*/ 27 w 81"/>
                  <a:gd name="T55" fmla="*/ 36 h 36"/>
                  <a:gd name="T56" fmla="*/ 18 w 81"/>
                  <a:gd name="T57" fmla="*/ 36 h 36"/>
                  <a:gd name="T58" fmla="*/ 13 w 81"/>
                  <a:gd name="T59" fmla="*/ 36 h 36"/>
                  <a:gd name="T60" fmla="*/ 4 w 81"/>
                  <a:gd name="T61" fmla="*/ 32 h 36"/>
                  <a:gd name="T62" fmla="*/ 4 w 81"/>
                  <a:gd name="T63" fmla="*/ 32 h 36"/>
                  <a:gd name="T64" fmla="*/ 0 w 81"/>
                  <a:gd name="T65" fmla="*/ 27 h 36"/>
                  <a:gd name="T66" fmla="*/ 0 w 81"/>
                  <a:gd name="T67" fmla="*/ 23 h 36"/>
                  <a:gd name="T68" fmla="*/ 0 w 81"/>
                  <a:gd name="T69" fmla="*/ 23 h 36"/>
                  <a:gd name="T70" fmla="*/ 4 w 81"/>
                  <a:gd name="T71" fmla="*/ 18 h 36"/>
                  <a:gd name="T72" fmla="*/ 9 w 81"/>
                  <a:gd name="T73" fmla="*/ 18 h 36"/>
                  <a:gd name="T74" fmla="*/ 13 w 81"/>
                  <a:gd name="T75" fmla="*/ 14 h 36"/>
                  <a:gd name="T76" fmla="*/ 13 w 81"/>
                  <a:gd name="T77" fmla="*/ 14 h 36"/>
                  <a:gd name="T78" fmla="*/ 18 w 81"/>
                  <a:gd name="T79" fmla="*/ 9 h 36"/>
                  <a:gd name="T80" fmla="*/ 18 w 81"/>
                  <a:gd name="T81" fmla="*/ 9 h 36"/>
                  <a:gd name="T82" fmla="*/ 22 w 81"/>
                  <a:gd name="T83" fmla="*/ 5 h 36"/>
                  <a:gd name="T84" fmla="*/ 22 w 81"/>
                  <a:gd name="T85" fmla="*/ 5 h 36"/>
                  <a:gd name="T86" fmla="*/ 27 w 81"/>
                  <a:gd name="T87" fmla="*/ 5 h 36"/>
                  <a:gd name="T88" fmla="*/ 31 w 81"/>
                  <a:gd name="T89" fmla="*/ 5 h 36"/>
                  <a:gd name="T90" fmla="*/ 31 w 81"/>
                  <a:gd name="T91" fmla="*/ 5 h 36"/>
                  <a:gd name="T92" fmla="*/ 36 w 81"/>
                  <a:gd name="T93" fmla="*/ 0 h 36"/>
                  <a:gd name="T94" fmla="*/ 40 w 81"/>
                  <a:gd name="T95" fmla="*/ 5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1" h="36">
                    <a:moveTo>
                      <a:pt x="40" y="5"/>
                    </a:moveTo>
                    <a:lnTo>
                      <a:pt x="40" y="5"/>
                    </a:lnTo>
                    <a:lnTo>
                      <a:pt x="40" y="5"/>
                    </a:lnTo>
                    <a:lnTo>
                      <a:pt x="40" y="5"/>
                    </a:lnTo>
                    <a:lnTo>
                      <a:pt x="40" y="5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9" y="5"/>
                    </a:lnTo>
                    <a:lnTo>
                      <a:pt x="49" y="5"/>
                    </a:lnTo>
                    <a:lnTo>
                      <a:pt x="49" y="5"/>
                    </a:lnTo>
                    <a:lnTo>
                      <a:pt x="49" y="5"/>
                    </a:lnTo>
                    <a:lnTo>
                      <a:pt x="49" y="5"/>
                    </a:lnTo>
                    <a:lnTo>
                      <a:pt x="49" y="5"/>
                    </a:lnTo>
                    <a:lnTo>
                      <a:pt x="54" y="5"/>
                    </a:lnTo>
                    <a:lnTo>
                      <a:pt x="54" y="5"/>
                    </a:lnTo>
                    <a:lnTo>
                      <a:pt x="54" y="5"/>
                    </a:lnTo>
                    <a:lnTo>
                      <a:pt x="58" y="5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8" y="5"/>
                    </a:lnTo>
                    <a:lnTo>
                      <a:pt x="58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7" y="5"/>
                    </a:lnTo>
                    <a:lnTo>
                      <a:pt x="72" y="5"/>
                    </a:lnTo>
                    <a:lnTo>
                      <a:pt x="72" y="5"/>
                    </a:lnTo>
                    <a:lnTo>
                      <a:pt x="72" y="9"/>
                    </a:lnTo>
                    <a:lnTo>
                      <a:pt x="76" y="9"/>
                    </a:lnTo>
                    <a:lnTo>
                      <a:pt x="76" y="9"/>
                    </a:lnTo>
                    <a:lnTo>
                      <a:pt x="76" y="9"/>
                    </a:lnTo>
                    <a:lnTo>
                      <a:pt x="81" y="9"/>
                    </a:lnTo>
                    <a:lnTo>
                      <a:pt x="81" y="9"/>
                    </a:lnTo>
                    <a:lnTo>
                      <a:pt x="81" y="14"/>
                    </a:lnTo>
                    <a:lnTo>
                      <a:pt x="81" y="14"/>
                    </a:lnTo>
                    <a:lnTo>
                      <a:pt x="81" y="14"/>
                    </a:lnTo>
                    <a:lnTo>
                      <a:pt x="81" y="14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76" y="23"/>
                    </a:lnTo>
                    <a:lnTo>
                      <a:pt x="76" y="23"/>
                    </a:lnTo>
                    <a:lnTo>
                      <a:pt x="76" y="23"/>
                    </a:lnTo>
                    <a:lnTo>
                      <a:pt x="72" y="27"/>
                    </a:lnTo>
                    <a:lnTo>
                      <a:pt x="72" y="27"/>
                    </a:lnTo>
                    <a:lnTo>
                      <a:pt x="72" y="23"/>
                    </a:lnTo>
                    <a:lnTo>
                      <a:pt x="72" y="23"/>
                    </a:lnTo>
                    <a:lnTo>
                      <a:pt x="72" y="23"/>
                    </a:lnTo>
                    <a:lnTo>
                      <a:pt x="67" y="23"/>
                    </a:lnTo>
                    <a:lnTo>
                      <a:pt x="67" y="23"/>
                    </a:lnTo>
                    <a:lnTo>
                      <a:pt x="67" y="23"/>
                    </a:lnTo>
                    <a:lnTo>
                      <a:pt x="67" y="23"/>
                    </a:lnTo>
                    <a:lnTo>
                      <a:pt x="67" y="23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58" y="23"/>
                    </a:lnTo>
                    <a:lnTo>
                      <a:pt x="58" y="23"/>
                    </a:lnTo>
                    <a:lnTo>
                      <a:pt x="54" y="23"/>
                    </a:lnTo>
                    <a:lnTo>
                      <a:pt x="54" y="23"/>
                    </a:lnTo>
                    <a:lnTo>
                      <a:pt x="54" y="23"/>
                    </a:lnTo>
                    <a:lnTo>
                      <a:pt x="49" y="27"/>
                    </a:lnTo>
                    <a:lnTo>
                      <a:pt x="49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0" y="27"/>
                    </a:lnTo>
                    <a:lnTo>
                      <a:pt x="40" y="27"/>
                    </a:lnTo>
                    <a:lnTo>
                      <a:pt x="40" y="27"/>
                    </a:lnTo>
                    <a:lnTo>
                      <a:pt x="40" y="27"/>
                    </a:lnTo>
                    <a:lnTo>
                      <a:pt x="40" y="32"/>
                    </a:lnTo>
                    <a:lnTo>
                      <a:pt x="36" y="32"/>
                    </a:lnTo>
                    <a:lnTo>
                      <a:pt x="31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9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0" y="27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31" y="5"/>
                    </a:lnTo>
                    <a:lnTo>
                      <a:pt x="31" y="5"/>
                    </a:lnTo>
                    <a:lnTo>
                      <a:pt x="31" y="5"/>
                    </a:lnTo>
                    <a:lnTo>
                      <a:pt x="31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5"/>
                    </a:lnTo>
                    <a:lnTo>
                      <a:pt x="40" y="5"/>
                    </a:lnTo>
                    <a:lnTo>
                      <a:pt x="40" y="5"/>
                    </a:lnTo>
                    <a:lnTo>
                      <a:pt x="40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32" name="Freeform 153"/>
              <p:cNvSpPr>
                <a:spLocks/>
              </p:cNvSpPr>
              <p:nvPr/>
            </p:nvSpPr>
            <p:spPr bwMode="auto">
              <a:xfrm>
                <a:off x="4629151" y="1552576"/>
                <a:ext cx="71438" cy="42863"/>
              </a:xfrm>
              <a:custGeom>
                <a:avLst/>
                <a:gdLst>
                  <a:gd name="T0" fmla="*/ 45 w 45"/>
                  <a:gd name="T1" fmla="*/ 5 h 27"/>
                  <a:gd name="T2" fmla="*/ 45 w 45"/>
                  <a:gd name="T3" fmla="*/ 5 h 27"/>
                  <a:gd name="T4" fmla="*/ 41 w 45"/>
                  <a:gd name="T5" fmla="*/ 5 h 27"/>
                  <a:gd name="T6" fmla="*/ 41 w 45"/>
                  <a:gd name="T7" fmla="*/ 9 h 27"/>
                  <a:gd name="T8" fmla="*/ 41 w 45"/>
                  <a:gd name="T9" fmla="*/ 9 h 27"/>
                  <a:gd name="T10" fmla="*/ 36 w 45"/>
                  <a:gd name="T11" fmla="*/ 9 h 27"/>
                  <a:gd name="T12" fmla="*/ 31 w 45"/>
                  <a:gd name="T13" fmla="*/ 14 h 27"/>
                  <a:gd name="T14" fmla="*/ 31 w 45"/>
                  <a:gd name="T15" fmla="*/ 14 h 27"/>
                  <a:gd name="T16" fmla="*/ 31 w 45"/>
                  <a:gd name="T17" fmla="*/ 18 h 27"/>
                  <a:gd name="T18" fmla="*/ 31 w 45"/>
                  <a:gd name="T19" fmla="*/ 18 h 27"/>
                  <a:gd name="T20" fmla="*/ 27 w 45"/>
                  <a:gd name="T21" fmla="*/ 23 h 27"/>
                  <a:gd name="T22" fmla="*/ 27 w 45"/>
                  <a:gd name="T23" fmla="*/ 23 h 27"/>
                  <a:gd name="T24" fmla="*/ 27 w 45"/>
                  <a:gd name="T25" fmla="*/ 27 h 27"/>
                  <a:gd name="T26" fmla="*/ 22 w 45"/>
                  <a:gd name="T27" fmla="*/ 23 h 27"/>
                  <a:gd name="T28" fmla="*/ 18 w 45"/>
                  <a:gd name="T29" fmla="*/ 27 h 27"/>
                  <a:gd name="T30" fmla="*/ 18 w 45"/>
                  <a:gd name="T31" fmla="*/ 23 h 27"/>
                  <a:gd name="T32" fmla="*/ 18 w 45"/>
                  <a:gd name="T33" fmla="*/ 23 h 27"/>
                  <a:gd name="T34" fmla="*/ 13 w 45"/>
                  <a:gd name="T35" fmla="*/ 27 h 27"/>
                  <a:gd name="T36" fmla="*/ 9 w 45"/>
                  <a:gd name="T37" fmla="*/ 27 h 27"/>
                  <a:gd name="T38" fmla="*/ 9 w 45"/>
                  <a:gd name="T39" fmla="*/ 27 h 27"/>
                  <a:gd name="T40" fmla="*/ 4 w 45"/>
                  <a:gd name="T41" fmla="*/ 27 h 27"/>
                  <a:gd name="T42" fmla="*/ 4 w 45"/>
                  <a:gd name="T43" fmla="*/ 23 h 27"/>
                  <a:gd name="T44" fmla="*/ 4 w 45"/>
                  <a:gd name="T45" fmla="*/ 23 h 27"/>
                  <a:gd name="T46" fmla="*/ 4 w 45"/>
                  <a:gd name="T47" fmla="*/ 18 h 27"/>
                  <a:gd name="T48" fmla="*/ 0 w 45"/>
                  <a:gd name="T49" fmla="*/ 18 h 27"/>
                  <a:gd name="T50" fmla="*/ 0 w 45"/>
                  <a:gd name="T51" fmla="*/ 14 h 27"/>
                  <a:gd name="T52" fmla="*/ 0 w 45"/>
                  <a:gd name="T53" fmla="*/ 14 h 27"/>
                  <a:gd name="T54" fmla="*/ 4 w 45"/>
                  <a:gd name="T55" fmla="*/ 14 h 27"/>
                  <a:gd name="T56" fmla="*/ 0 w 45"/>
                  <a:gd name="T57" fmla="*/ 9 h 27"/>
                  <a:gd name="T58" fmla="*/ 0 w 45"/>
                  <a:gd name="T59" fmla="*/ 9 h 27"/>
                  <a:gd name="T60" fmla="*/ 0 w 45"/>
                  <a:gd name="T61" fmla="*/ 9 h 27"/>
                  <a:gd name="T62" fmla="*/ 4 w 45"/>
                  <a:gd name="T63" fmla="*/ 5 h 27"/>
                  <a:gd name="T64" fmla="*/ 4 w 45"/>
                  <a:gd name="T65" fmla="*/ 5 h 27"/>
                  <a:gd name="T66" fmla="*/ 13 w 45"/>
                  <a:gd name="T67" fmla="*/ 9 h 27"/>
                  <a:gd name="T68" fmla="*/ 13 w 45"/>
                  <a:gd name="T69" fmla="*/ 9 h 27"/>
                  <a:gd name="T70" fmla="*/ 18 w 45"/>
                  <a:gd name="T71" fmla="*/ 9 h 27"/>
                  <a:gd name="T72" fmla="*/ 18 w 45"/>
                  <a:gd name="T73" fmla="*/ 5 h 27"/>
                  <a:gd name="T74" fmla="*/ 22 w 45"/>
                  <a:gd name="T75" fmla="*/ 5 h 27"/>
                  <a:gd name="T76" fmla="*/ 31 w 45"/>
                  <a:gd name="T77" fmla="*/ 5 h 27"/>
                  <a:gd name="T78" fmla="*/ 36 w 45"/>
                  <a:gd name="T79" fmla="*/ 0 h 27"/>
                  <a:gd name="T80" fmla="*/ 36 w 45"/>
                  <a:gd name="T81" fmla="*/ 0 h 27"/>
                  <a:gd name="T82" fmla="*/ 36 w 45"/>
                  <a:gd name="T83" fmla="*/ 0 h 27"/>
                  <a:gd name="T84" fmla="*/ 41 w 45"/>
                  <a:gd name="T85" fmla="*/ 0 h 27"/>
                  <a:gd name="T86" fmla="*/ 45 w 45"/>
                  <a:gd name="T8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5" h="27">
                    <a:moveTo>
                      <a:pt x="45" y="5"/>
                    </a:moveTo>
                    <a:lnTo>
                      <a:pt x="45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1" y="9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2" y="23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3" y="23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0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7" y="5"/>
                    </a:lnTo>
                    <a:lnTo>
                      <a:pt x="31" y="5"/>
                    </a:lnTo>
                    <a:lnTo>
                      <a:pt x="31" y="5"/>
                    </a:lnTo>
                    <a:lnTo>
                      <a:pt x="31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5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5" y="0"/>
                    </a:lnTo>
                    <a:lnTo>
                      <a:pt x="45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33" name="Freeform 154"/>
              <p:cNvSpPr>
                <a:spLocks noEditPoints="1"/>
              </p:cNvSpPr>
              <p:nvPr/>
            </p:nvSpPr>
            <p:spPr bwMode="auto">
              <a:xfrm>
                <a:off x="4572001" y="892176"/>
                <a:ext cx="250825" cy="409575"/>
              </a:xfrm>
              <a:custGeom>
                <a:avLst/>
                <a:gdLst>
                  <a:gd name="T0" fmla="*/ 104 w 158"/>
                  <a:gd name="T1" fmla="*/ 217 h 258"/>
                  <a:gd name="T2" fmla="*/ 99 w 158"/>
                  <a:gd name="T3" fmla="*/ 222 h 258"/>
                  <a:gd name="T4" fmla="*/ 99 w 158"/>
                  <a:gd name="T5" fmla="*/ 208 h 258"/>
                  <a:gd name="T6" fmla="*/ 140 w 158"/>
                  <a:gd name="T7" fmla="*/ 14 h 258"/>
                  <a:gd name="T8" fmla="*/ 144 w 158"/>
                  <a:gd name="T9" fmla="*/ 23 h 258"/>
                  <a:gd name="T10" fmla="*/ 149 w 158"/>
                  <a:gd name="T11" fmla="*/ 32 h 258"/>
                  <a:gd name="T12" fmla="*/ 153 w 158"/>
                  <a:gd name="T13" fmla="*/ 41 h 258"/>
                  <a:gd name="T14" fmla="*/ 149 w 158"/>
                  <a:gd name="T15" fmla="*/ 50 h 258"/>
                  <a:gd name="T16" fmla="*/ 149 w 158"/>
                  <a:gd name="T17" fmla="*/ 59 h 258"/>
                  <a:gd name="T18" fmla="*/ 135 w 158"/>
                  <a:gd name="T19" fmla="*/ 59 h 258"/>
                  <a:gd name="T20" fmla="*/ 135 w 158"/>
                  <a:gd name="T21" fmla="*/ 64 h 258"/>
                  <a:gd name="T22" fmla="*/ 126 w 158"/>
                  <a:gd name="T23" fmla="*/ 68 h 258"/>
                  <a:gd name="T24" fmla="*/ 126 w 158"/>
                  <a:gd name="T25" fmla="*/ 68 h 258"/>
                  <a:gd name="T26" fmla="*/ 126 w 158"/>
                  <a:gd name="T27" fmla="*/ 82 h 258"/>
                  <a:gd name="T28" fmla="*/ 113 w 158"/>
                  <a:gd name="T29" fmla="*/ 100 h 258"/>
                  <a:gd name="T30" fmla="*/ 104 w 158"/>
                  <a:gd name="T31" fmla="*/ 104 h 258"/>
                  <a:gd name="T32" fmla="*/ 95 w 158"/>
                  <a:gd name="T33" fmla="*/ 109 h 258"/>
                  <a:gd name="T34" fmla="*/ 90 w 158"/>
                  <a:gd name="T35" fmla="*/ 113 h 258"/>
                  <a:gd name="T36" fmla="*/ 86 w 158"/>
                  <a:gd name="T37" fmla="*/ 118 h 258"/>
                  <a:gd name="T38" fmla="*/ 81 w 158"/>
                  <a:gd name="T39" fmla="*/ 122 h 258"/>
                  <a:gd name="T40" fmla="*/ 81 w 158"/>
                  <a:gd name="T41" fmla="*/ 127 h 258"/>
                  <a:gd name="T42" fmla="*/ 77 w 158"/>
                  <a:gd name="T43" fmla="*/ 141 h 258"/>
                  <a:gd name="T44" fmla="*/ 77 w 158"/>
                  <a:gd name="T45" fmla="*/ 150 h 258"/>
                  <a:gd name="T46" fmla="*/ 86 w 158"/>
                  <a:gd name="T47" fmla="*/ 159 h 258"/>
                  <a:gd name="T48" fmla="*/ 99 w 158"/>
                  <a:gd name="T49" fmla="*/ 168 h 258"/>
                  <a:gd name="T50" fmla="*/ 95 w 158"/>
                  <a:gd name="T51" fmla="*/ 177 h 258"/>
                  <a:gd name="T52" fmla="*/ 86 w 158"/>
                  <a:gd name="T53" fmla="*/ 177 h 258"/>
                  <a:gd name="T54" fmla="*/ 72 w 158"/>
                  <a:gd name="T55" fmla="*/ 177 h 258"/>
                  <a:gd name="T56" fmla="*/ 81 w 158"/>
                  <a:gd name="T57" fmla="*/ 181 h 258"/>
                  <a:gd name="T58" fmla="*/ 95 w 158"/>
                  <a:gd name="T59" fmla="*/ 181 h 258"/>
                  <a:gd name="T60" fmla="*/ 95 w 158"/>
                  <a:gd name="T61" fmla="*/ 186 h 258"/>
                  <a:gd name="T62" fmla="*/ 72 w 158"/>
                  <a:gd name="T63" fmla="*/ 195 h 258"/>
                  <a:gd name="T64" fmla="*/ 72 w 158"/>
                  <a:gd name="T65" fmla="*/ 199 h 258"/>
                  <a:gd name="T66" fmla="*/ 72 w 158"/>
                  <a:gd name="T67" fmla="*/ 217 h 258"/>
                  <a:gd name="T68" fmla="*/ 67 w 158"/>
                  <a:gd name="T69" fmla="*/ 235 h 258"/>
                  <a:gd name="T70" fmla="*/ 49 w 158"/>
                  <a:gd name="T71" fmla="*/ 240 h 258"/>
                  <a:gd name="T72" fmla="*/ 45 w 158"/>
                  <a:gd name="T73" fmla="*/ 254 h 258"/>
                  <a:gd name="T74" fmla="*/ 27 w 158"/>
                  <a:gd name="T75" fmla="*/ 249 h 258"/>
                  <a:gd name="T76" fmla="*/ 22 w 158"/>
                  <a:gd name="T77" fmla="*/ 235 h 258"/>
                  <a:gd name="T78" fmla="*/ 18 w 158"/>
                  <a:gd name="T79" fmla="*/ 226 h 258"/>
                  <a:gd name="T80" fmla="*/ 4 w 158"/>
                  <a:gd name="T81" fmla="*/ 208 h 258"/>
                  <a:gd name="T82" fmla="*/ 0 w 158"/>
                  <a:gd name="T83" fmla="*/ 186 h 258"/>
                  <a:gd name="T84" fmla="*/ 9 w 158"/>
                  <a:gd name="T85" fmla="*/ 181 h 258"/>
                  <a:gd name="T86" fmla="*/ 13 w 158"/>
                  <a:gd name="T87" fmla="*/ 168 h 258"/>
                  <a:gd name="T88" fmla="*/ 13 w 158"/>
                  <a:gd name="T89" fmla="*/ 150 h 258"/>
                  <a:gd name="T90" fmla="*/ 18 w 158"/>
                  <a:gd name="T91" fmla="*/ 141 h 258"/>
                  <a:gd name="T92" fmla="*/ 9 w 158"/>
                  <a:gd name="T93" fmla="*/ 118 h 258"/>
                  <a:gd name="T94" fmla="*/ 13 w 158"/>
                  <a:gd name="T95" fmla="*/ 100 h 258"/>
                  <a:gd name="T96" fmla="*/ 31 w 158"/>
                  <a:gd name="T97" fmla="*/ 95 h 258"/>
                  <a:gd name="T98" fmla="*/ 36 w 158"/>
                  <a:gd name="T99" fmla="*/ 77 h 258"/>
                  <a:gd name="T100" fmla="*/ 45 w 158"/>
                  <a:gd name="T101" fmla="*/ 55 h 258"/>
                  <a:gd name="T102" fmla="*/ 63 w 158"/>
                  <a:gd name="T103" fmla="*/ 37 h 258"/>
                  <a:gd name="T104" fmla="*/ 63 w 158"/>
                  <a:gd name="T105" fmla="*/ 18 h 258"/>
                  <a:gd name="T106" fmla="*/ 81 w 158"/>
                  <a:gd name="T107" fmla="*/ 9 h 258"/>
                  <a:gd name="T108" fmla="*/ 104 w 158"/>
                  <a:gd name="T109" fmla="*/ 9 h 258"/>
                  <a:gd name="T110" fmla="*/ 108 w 158"/>
                  <a:gd name="T111" fmla="*/ 0 h 258"/>
                  <a:gd name="T112" fmla="*/ 122 w 158"/>
                  <a:gd name="T113" fmla="*/ 5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8" h="258">
                    <a:moveTo>
                      <a:pt x="108" y="208"/>
                    </a:moveTo>
                    <a:lnTo>
                      <a:pt x="108" y="208"/>
                    </a:lnTo>
                    <a:lnTo>
                      <a:pt x="104" y="208"/>
                    </a:lnTo>
                    <a:lnTo>
                      <a:pt x="104" y="213"/>
                    </a:lnTo>
                    <a:lnTo>
                      <a:pt x="104" y="213"/>
                    </a:lnTo>
                    <a:lnTo>
                      <a:pt x="104" y="213"/>
                    </a:lnTo>
                    <a:lnTo>
                      <a:pt x="104" y="217"/>
                    </a:lnTo>
                    <a:lnTo>
                      <a:pt x="104" y="217"/>
                    </a:lnTo>
                    <a:lnTo>
                      <a:pt x="104" y="217"/>
                    </a:lnTo>
                    <a:lnTo>
                      <a:pt x="104" y="217"/>
                    </a:lnTo>
                    <a:lnTo>
                      <a:pt x="104" y="217"/>
                    </a:lnTo>
                    <a:lnTo>
                      <a:pt x="104" y="222"/>
                    </a:lnTo>
                    <a:lnTo>
                      <a:pt x="99" y="222"/>
                    </a:lnTo>
                    <a:lnTo>
                      <a:pt x="99" y="222"/>
                    </a:lnTo>
                    <a:lnTo>
                      <a:pt x="99" y="222"/>
                    </a:lnTo>
                    <a:lnTo>
                      <a:pt x="99" y="226"/>
                    </a:lnTo>
                    <a:lnTo>
                      <a:pt x="95" y="226"/>
                    </a:lnTo>
                    <a:lnTo>
                      <a:pt x="95" y="226"/>
                    </a:lnTo>
                    <a:lnTo>
                      <a:pt x="95" y="226"/>
                    </a:lnTo>
                    <a:lnTo>
                      <a:pt x="99" y="222"/>
                    </a:lnTo>
                    <a:lnTo>
                      <a:pt x="95" y="222"/>
                    </a:lnTo>
                    <a:lnTo>
                      <a:pt x="95" y="222"/>
                    </a:lnTo>
                    <a:lnTo>
                      <a:pt x="95" y="222"/>
                    </a:lnTo>
                    <a:lnTo>
                      <a:pt x="95" y="217"/>
                    </a:lnTo>
                    <a:lnTo>
                      <a:pt x="95" y="217"/>
                    </a:lnTo>
                    <a:lnTo>
                      <a:pt x="95" y="213"/>
                    </a:lnTo>
                    <a:lnTo>
                      <a:pt x="95" y="213"/>
                    </a:lnTo>
                    <a:lnTo>
                      <a:pt x="95" y="213"/>
                    </a:lnTo>
                    <a:lnTo>
                      <a:pt x="99" y="208"/>
                    </a:lnTo>
                    <a:lnTo>
                      <a:pt x="99" y="208"/>
                    </a:lnTo>
                    <a:lnTo>
                      <a:pt x="104" y="208"/>
                    </a:lnTo>
                    <a:lnTo>
                      <a:pt x="104" y="208"/>
                    </a:lnTo>
                    <a:lnTo>
                      <a:pt x="104" y="208"/>
                    </a:lnTo>
                    <a:lnTo>
                      <a:pt x="104" y="208"/>
                    </a:lnTo>
                    <a:lnTo>
                      <a:pt x="104" y="208"/>
                    </a:lnTo>
                    <a:lnTo>
                      <a:pt x="108" y="208"/>
                    </a:lnTo>
                    <a:moveTo>
                      <a:pt x="135" y="9"/>
                    </a:moveTo>
                    <a:lnTo>
                      <a:pt x="135" y="9"/>
                    </a:lnTo>
                    <a:lnTo>
                      <a:pt x="135" y="14"/>
                    </a:lnTo>
                    <a:lnTo>
                      <a:pt x="140" y="14"/>
                    </a:lnTo>
                    <a:lnTo>
                      <a:pt x="140" y="14"/>
                    </a:lnTo>
                    <a:lnTo>
                      <a:pt x="140" y="14"/>
                    </a:lnTo>
                    <a:lnTo>
                      <a:pt x="144" y="14"/>
                    </a:lnTo>
                    <a:lnTo>
                      <a:pt x="144" y="18"/>
                    </a:lnTo>
                    <a:lnTo>
                      <a:pt x="144" y="18"/>
                    </a:lnTo>
                    <a:lnTo>
                      <a:pt x="144" y="18"/>
                    </a:lnTo>
                    <a:lnTo>
                      <a:pt x="144" y="18"/>
                    </a:lnTo>
                    <a:lnTo>
                      <a:pt x="144" y="23"/>
                    </a:lnTo>
                    <a:lnTo>
                      <a:pt x="144" y="23"/>
                    </a:lnTo>
                    <a:lnTo>
                      <a:pt x="144" y="23"/>
                    </a:lnTo>
                    <a:lnTo>
                      <a:pt x="144" y="28"/>
                    </a:lnTo>
                    <a:lnTo>
                      <a:pt x="144" y="28"/>
                    </a:lnTo>
                    <a:lnTo>
                      <a:pt x="144" y="28"/>
                    </a:lnTo>
                    <a:lnTo>
                      <a:pt x="144" y="28"/>
                    </a:lnTo>
                    <a:lnTo>
                      <a:pt x="144" y="28"/>
                    </a:lnTo>
                    <a:lnTo>
                      <a:pt x="144" y="28"/>
                    </a:lnTo>
                    <a:lnTo>
                      <a:pt x="144" y="28"/>
                    </a:lnTo>
                    <a:lnTo>
                      <a:pt x="149" y="28"/>
                    </a:lnTo>
                    <a:lnTo>
                      <a:pt x="149" y="28"/>
                    </a:lnTo>
                    <a:lnTo>
                      <a:pt x="149" y="32"/>
                    </a:lnTo>
                    <a:lnTo>
                      <a:pt x="149" y="32"/>
                    </a:lnTo>
                    <a:lnTo>
                      <a:pt x="149" y="32"/>
                    </a:lnTo>
                    <a:lnTo>
                      <a:pt x="149" y="32"/>
                    </a:lnTo>
                    <a:lnTo>
                      <a:pt x="149" y="32"/>
                    </a:lnTo>
                    <a:lnTo>
                      <a:pt x="149" y="32"/>
                    </a:lnTo>
                    <a:lnTo>
                      <a:pt x="149" y="37"/>
                    </a:lnTo>
                    <a:lnTo>
                      <a:pt x="149" y="37"/>
                    </a:lnTo>
                    <a:lnTo>
                      <a:pt x="153" y="37"/>
                    </a:lnTo>
                    <a:lnTo>
                      <a:pt x="153" y="37"/>
                    </a:lnTo>
                    <a:lnTo>
                      <a:pt x="153" y="41"/>
                    </a:lnTo>
                    <a:lnTo>
                      <a:pt x="153" y="41"/>
                    </a:lnTo>
                    <a:lnTo>
                      <a:pt x="153" y="41"/>
                    </a:lnTo>
                    <a:lnTo>
                      <a:pt x="153" y="41"/>
                    </a:lnTo>
                    <a:lnTo>
                      <a:pt x="153" y="46"/>
                    </a:lnTo>
                    <a:lnTo>
                      <a:pt x="153" y="46"/>
                    </a:lnTo>
                    <a:lnTo>
                      <a:pt x="153" y="46"/>
                    </a:lnTo>
                    <a:lnTo>
                      <a:pt x="149" y="46"/>
                    </a:lnTo>
                    <a:lnTo>
                      <a:pt x="149" y="46"/>
                    </a:lnTo>
                    <a:lnTo>
                      <a:pt x="149" y="50"/>
                    </a:lnTo>
                    <a:lnTo>
                      <a:pt x="149" y="50"/>
                    </a:lnTo>
                    <a:lnTo>
                      <a:pt x="153" y="50"/>
                    </a:lnTo>
                    <a:lnTo>
                      <a:pt x="153" y="50"/>
                    </a:lnTo>
                    <a:lnTo>
                      <a:pt x="153" y="50"/>
                    </a:lnTo>
                    <a:lnTo>
                      <a:pt x="153" y="55"/>
                    </a:lnTo>
                    <a:lnTo>
                      <a:pt x="153" y="55"/>
                    </a:lnTo>
                    <a:lnTo>
                      <a:pt x="158" y="55"/>
                    </a:lnTo>
                    <a:lnTo>
                      <a:pt x="158" y="59"/>
                    </a:lnTo>
                    <a:lnTo>
                      <a:pt x="153" y="59"/>
                    </a:lnTo>
                    <a:lnTo>
                      <a:pt x="153" y="59"/>
                    </a:lnTo>
                    <a:lnTo>
                      <a:pt x="149" y="59"/>
                    </a:lnTo>
                    <a:lnTo>
                      <a:pt x="149" y="59"/>
                    </a:lnTo>
                    <a:lnTo>
                      <a:pt x="144" y="59"/>
                    </a:lnTo>
                    <a:lnTo>
                      <a:pt x="144" y="59"/>
                    </a:lnTo>
                    <a:lnTo>
                      <a:pt x="144" y="59"/>
                    </a:lnTo>
                    <a:lnTo>
                      <a:pt x="144" y="59"/>
                    </a:lnTo>
                    <a:lnTo>
                      <a:pt x="140" y="59"/>
                    </a:lnTo>
                    <a:lnTo>
                      <a:pt x="140" y="59"/>
                    </a:lnTo>
                    <a:lnTo>
                      <a:pt x="140" y="59"/>
                    </a:lnTo>
                    <a:lnTo>
                      <a:pt x="135" y="59"/>
                    </a:lnTo>
                    <a:lnTo>
                      <a:pt x="135" y="59"/>
                    </a:lnTo>
                    <a:lnTo>
                      <a:pt x="135" y="59"/>
                    </a:lnTo>
                    <a:lnTo>
                      <a:pt x="135" y="59"/>
                    </a:lnTo>
                    <a:lnTo>
                      <a:pt x="135" y="59"/>
                    </a:lnTo>
                    <a:lnTo>
                      <a:pt x="135" y="59"/>
                    </a:lnTo>
                    <a:lnTo>
                      <a:pt x="135" y="64"/>
                    </a:lnTo>
                    <a:lnTo>
                      <a:pt x="135" y="64"/>
                    </a:lnTo>
                    <a:lnTo>
                      <a:pt x="131" y="64"/>
                    </a:lnTo>
                    <a:lnTo>
                      <a:pt x="131" y="64"/>
                    </a:lnTo>
                    <a:lnTo>
                      <a:pt x="135" y="64"/>
                    </a:lnTo>
                    <a:lnTo>
                      <a:pt x="135" y="64"/>
                    </a:lnTo>
                    <a:lnTo>
                      <a:pt x="131" y="64"/>
                    </a:lnTo>
                    <a:lnTo>
                      <a:pt x="131" y="64"/>
                    </a:lnTo>
                    <a:lnTo>
                      <a:pt x="131" y="64"/>
                    </a:lnTo>
                    <a:lnTo>
                      <a:pt x="131" y="64"/>
                    </a:lnTo>
                    <a:lnTo>
                      <a:pt x="131" y="68"/>
                    </a:lnTo>
                    <a:lnTo>
                      <a:pt x="131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73"/>
                    </a:lnTo>
                    <a:lnTo>
                      <a:pt x="126" y="73"/>
                    </a:lnTo>
                    <a:lnTo>
                      <a:pt x="126" y="73"/>
                    </a:lnTo>
                    <a:lnTo>
                      <a:pt x="126" y="77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26" y="77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6" y="86"/>
                    </a:lnTo>
                    <a:lnTo>
                      <a:pt x="126" y="86"/>
                    </a:lnTo>
                    <a:lnTo>
                      <a:pt x="126" y="86"/>
                    </a:lnTo>
                    <a:lnTo>
                      <a:pt x="126" y="86"/>
                    </a:lnTo>
                    <a:lnTo>
                      <a:pt x="122" y="91"/>
                    </a:lnTo>
                    <a:lnTo>
                      <a:pt x="122" y="95"/>
                    </a:lnTo>
                    <a:lnTo>
                      <a:pt x="117" y="95"/>
                    </a:lnTo>
                    <a:lnTo>
                      <a:pt x="117" y="95"/>
                    </a:lnTo>
                    <a:lnTo>
                      <a:pt x="113" y="100"/>
                    </a:lnTo>
                    <a:lnTo>
                      <a:pt x="113" y="100"/>
                    </a:lnTo>
                    <a:lnTo>
                      <a:pt x="108" y="100"/>
                    </a:lnTo>
                    <a:lnTo>
                      <a:pt x="108" y="100"/>
                    </a:lnTo>
                    <a:lnTo>
                      <a:pt x="108" y="104"/>
                    </a:lnTo>
                    <a:lnTo>
                      <a:pt x="108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99" y="104"/>
                    </a:lnTo>
                    <a:lnTo>
                      <a:pt x="99" y="109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90" y="118"/>
                    </a:lnTo>
                    <a:lnTo>
                      <a:pt x="86" y="118"/>
                    </a:lnTo>
                    <a:lnTo>
                      <a:pt x="86" y="113"/>
                    </a:lnTo>
                    <a:lnTo>
                      <a:pt x="86" y="113"/>
                    </a:lnTo>
                    <a:lnTo>
                      <a:pt x="86" y="113"/>
                    </a:lnTo>
                    <a:lnTo>
                      <a:pt x="86" y="113"/>
                    </a:lnTo>
                    <a:lnTo>
                      <a:pt x="86" y="113"/>
                    </a:lnTo>
                    <a:lnTo>
                      <a:pt x="86" y="113"/>
                    </a:lnTo>
                    <a:lnTo>
                      <a:pt x="86" y="118"/>
                    </a:lnTo>
                    <a:lnTo>
                      <a:pt x="86" y="118"/>
                    </a:lnTo>
                    <a:lnTo>
                      <a:pt x="86" y="118"/>
                    </a:lnTo>
                    <a:lnTo>
                      <a:pt x="86" y="118"/>
                    </a:lnTo>
                    <a:lnTo>
                      <a:pt x="86" y="118"/>
                    </a:lnTo>
                    <a:lnTo>
                      <a:pt x="86" y="118"/>
                    </a:lnTo>
                    <a:lnTo>
                      <a:pt x="86" y="118"/>
                    </a:lnTo>
                    <a:lnTo>
                      <a:pt x="86" y="118"/>
                    </a:lnTo>
                    <a:lnTo>
                      <a:pt x="86" y="122"/>
                    </a:lnTo>
                    <a:lnTo>
                      <a:pt x="81" y="122"/>
                    </a:lnTo>
                    <a:lnTo>
                      <a:pt x="81" y="122"/>
                    </a:lnTo>
                    <a:lnTo>
                      <a:pt x="81" y="122"/>
                    </a:lnTo>
                    <a:lnTo>
                      <a:pt x="81" y="122"/>
                    </a:lnTo>
                    <a:lnTo>
                      <a:pt x="81" y="122"/>
                    </a:lnTo>
                    <a:lnTo>
                      <a:pt x="77" y="122"/>
                    </a:lnTo>
                    <a:lnTo>
                      <a:pt x="77" y="122"/>
                    </a:lnTo>
                    <a:lnTo>
                      <a:pt x="81" y="122"/>
                    </a:lnTo>
                    <a:lnTo>
                      <a:pt x="81" y="127"/>
                    </a:lnTo>
                    <a:lnTo>
                      <a:pt x="81" y="127"/>
                    </a:lnTo>
                    <a:lnTo>
                      <a:pt x="81" y="127"/>
                    </a:lnTo>
                    <a:lnTo>
                      <a:pt x="81" y="127"/>
                    </a:lnTo>
                    <a:lnTo>
                      <a:pt x="81" y="131"/>
                    </a:lnTo>
                    <a:lnTo>
                      <a:pt x="81" y="131"/>
                    </a:lnTo>
                    <a:lnTo>
                      <a:pt x="81" y="131"/>
                    </a:lnTo>
                    <a:lnTo>
                      <a:pt x="81" y="136"/>
                    </a:lnTo>
                    <a:lnTo>
                      <a:pt x="81" y="136"/>
                    </a:lnTo>
                    <a:lnTo>
                      <a:pt x="81" y="136"/>
                    </a:lnTo>
                    <a:lnTo>
                      <a:pt x="81" y="136"/>
                    </a:lnTo>
                    <a:lnTo>
                      <a:pt x="77" y="136"/>
                    </a:lnTo>
                    <a:lnTo>
                      <a:pt x="77" y="136"/>
                    </a:lnTo>
                    <a:lnTo>
                      <a:pt x="77" y="141"/>
                    </a:lnTo>
                    <a:lnTo>
                      <a:pt x="77" y="141"/>
                    </a:lnTo>
                    <a:lnTo>
                      <a:pt x="77" y="141"/>
                    </a:lnTo>
                    <a:lnTo>
                      <a:pt x="77" y="141"/>
                    </a:lnTo>
                    <a:lnTo>
                      <a:pt x="77" y="145"/>
                    </a:lnTo>
                    <a:lnTo>
                      <a:pt x="77" y="145"/>
                    </a:lnTo>
                    <a:lnTo>
                      <a:pt x="77" y="145"/>
                    </a:lnTo>
                    <a:lnTo>
                      <a:pt x="77" y="145"/>
                    </a:lnTo>
                    <a:lnTo>
                      <a:pt x="77" y="145"/>
                    </a:lnTo>
                    <a:lnTo>
                      <a:pt x="77" y="150"/>
                    </a:lnTo>
                    <a:lnTo>
                      <a:pt x="77" y="150"/>
                    </a:lnTo>
                    <a:lnTo>
                      <a:pt x="81" y="154"/>
                    </a:lnTo>
                    <a:lnTo>
                      <a:pt x="81" y="154"/>
                    </a:lnTo>
                    <a:lnTo>
                      <a:pt x="81" y="154"/>
                    </a:lnTo>
                    <a:lnTo>
                      <a:pt x="81" y="159"/>
                    </a:lnTo>
                    <a:lnTo>
                      <a:pt x="81" y="159"/>
                    </a:lnTo>
                    <a:lnTo>
                      <a:pt x="81" y="159"/>
                    </a:lnTo>
                    <a:lnTo>
                      <a:pt x="86" y="159"/>
                    </a:lnTo>
                    <a:lnTo>
                      <a:pt x="86" y="159"/>
                    </a:lnTo>
                    <a:lnTo>
                      <a:pt x="86" y="159"/>
                    </a:lnTo>
                    <a:lnTo>
                      <a:pt x="86" y="159"/>
                    </a:lnTo>
                    <a:lnTo>
                      <a:pt x="86" y="159"/>
                    </a:lnTo>
                    <a:lnTo>
                      <a:pt x="90" y="159"/>
                    </a:lnTo>
                    <a:lnTo>
                      <a:pt x="90" y="159"/>
                    </a:lnTo>
                    <a:lnTo>
                      <a:pt x="90" y="159"/>
                    </a:lnTo>
                    <a:lnTo>
                      <a:pt x="95" y="163"/>
                    </a:lnTo>
                    <a:lnTo>
                      <a:pt x="95" y="163"/>
                    </a:lnTo>
                    <a:lnTo>
                      <a:pt x="95" y="163"/>
                    </a:lnTo>
                    <a:lnTo>
                      <a:pt x="95" y="168"/>
                    </a:lnTo>
                    <a:lnTo>
                      <a:pt x="99" y="168"/>
                    </a:lnTo>
                    <a:lnTo>
                      <a:pt x="99" y="168"/>
                    </a:lnTo>
                    <a:lnTo>
                      <a:pt x="99" y="168"/>
                    </a:lnTo>
                    <a:lnTo>
                      <a:pt x="104" y="168"/>
                    </a:lnTo>
                    <a:lnTo>
                      <a:pt x="104" y="168"/>
                    </a:lnTo>
                    <a:lnTo>
                      <a:pt x="104" y="172"/>
                    </a:lnTo>
                    <a:lnTo>
                      <a:pt x="104" y="172"/>
                    </a:lnTo>
                    <a:lnTo>
                      <a:pt x="104" y="172"/>
                    </a:lnTo>
                    <a:lnTo>
                      <a:pt x="99" y="177"/>
                    </a:lnTo>
                    <a:lnTo>
                      <a:pt x="99" y="177"/>
                    </a:lnTo>
                    <a:lnTo>
                      <a:pt x="99" y="177"/>
                    </a:lnTo>
                    <a:lnTo>
                      <a:pt x="95" y="177"/>
                    </a:lnTo>
                    <a:lnTo>
                      <a:pt x="95" y="177"/>
                    </a:lnTo>
                    <a:lnTo>
                      <a:pt x="95" y="181"/>
                    </a:lnTo>
                    <a:lnTo>
                      <a:pt x="95" y="181"/>
                    </a:lnTo>
                    <a:lnTo>
                      <a:pt x="95" y="181"/>
                    </a:lnTo>
                    <a:lnTo>
                      <a:pt x="90" y="181"/>
                    </a:lnTo>
                    <a:lnTo>
                      <a:pt x="90" y="181"/>
                    </a:lnTo>
                    <a:lnTo>
                      <a:pt x="86" y="181"/>
                    </a:lnTo>
                    <a:lnTo>
                      <a:pt x="86" y="177"/>
                    </a:lnTo>
                    <a:lnTo>
                      <a:pt x="86" y="177"/>
                    </a:lnTo>
                    <a:lnTo>
                      <a:pt x="86" y="177"/>
                    </a:lnTo>
                    <a:lnTo>
                      <a:pt x="86" y="177"/>
                    </a:lnTo>
                    <a:lnTo>
                      <a:pt x="86" y="177"/>
                    </a:lnTo>
                    <a:lnTo>
                      <a:pt x="86" y="177"/>
                    </a:lnTo>
                    <a:lnTo>
                      <a:pt x="81" y="177"/>
                    </a:lnTo>
                    <a:lnTo>
                      <a:pt x="81" y="177"/>
                    </a:lnTo>
                    <a:lnTo>
                      <a:pt x="77" y="177"/>
                    </a:lnTo>
                    <a:lnTo>
                      <a:pt x="77" y="177"/>
                    </a:lnTo>
                    <a:lnTo>
                      <a:pt x="77" y="177"/>
                    </a:lnTo>
                    <a:lnTo>
                      <a:pt x="72" y="177"/>
                    </a:lnTo>
                    <a:lnTo>
                      <a:pt x="72" y="177"/>
                    </a:lnTo>
                    <a:lnTo>
                      <a:pt x="72" y="177"/>
                    </a:lnTo>
                    <a:lnTo>
                      <a:pt x="72" y="177"/>
                    </a:lnTo>
                    <a:lnTo>
                      <a:pt x="67" y="177"/>
                    </a:lnTo>
                    <a:lnTo>
                      <a:pt x="63" y="177"/>
                    </a:lnTo>
                    <a:lnTo>
                      <a:pt x="67" y="181"/>
                    </a:lnTo>
                    <a:lnTo>
                      <a:pt x="72" y="177"/>
                    </a:lnTo>
                    <a:lnTo>
                      <a:pt x="72" y="181"/>
                    </a:lnTo>
                    <a:lnTo>
                      <a:pt x="77" y="181"/>
                    </a:lnTo>
                    <a:lnTo>
                      <a:pt x="77" y="181"/>
                    </a:lnTo>
                    <a:lnTo>
                      <a:pt x="81" y="181"/>
                    </a:lnTo>
                    <a:lnTo>
                      <a:pt x="81" y="181"/>
                    </a:lnTo>
                    <a:lnTo>
                      <a:pt x="81" y="181"/>
                    </a:lnTo>
                    <a:lnTo>
                      <a:pt x="86" y="181"/>
                    </a:lnTo>
                    <a:lnTo>
                      <a:pt x="86" y="181"/>
                    </a:lnTo>
                    <a:lnTo>
                      <a:pt x="90" y="181"/>
                    </a:lnTo>
                    <a:lnTo>
                      <a:pt x="90" y="181"/>
                    </a:lnTo>
                    <a:lnTo>
                      <a:pt x="90" y="181"/>
                    </a:lnTo>
                    <a:lnTo>
                      <a:pt x="95" y="181"/>
                    </a:lnTo>
                    <a:lnTo>
                      <a:pt x="95" y="181"/>
                    </a:lnTo>
                    <a:lnTo>
                      <a:pt x="95" y="181"/>
                    </a:lnTo>
                    <a:lnTo>
                      <a:pt x="95" y="181"/>
                    </a:lnTo>
                    <a:lnTo>
                      <a:pt x="95" y="181"/>
                    </a:lnTo>
                    <a:lnTo>
                      <a:pt x="99" y="181"/>
                    </a:lnTo>
                    <a:lnTo>
                      <a:pt x="99" y="181"/>
                    </a:lnTo>
                    <a:lnTo>
                      <a:pt x="99" y="181"/>
                    </a:lnTo>
                    <a:lnTo>
                      <a:pt x="99" y="181"/>
                    </a:lnTo>
                    <a:lnTo>
                      <a:pt x="95" y="181"/>
                    </a:lnTo>
                    <a:lnTo>
                      <a:pt x="95" y="186"/>
                    </a:lnTo>
                    <a:lnTo>
                      <a:pt x="95" y="186"/>
                    </a:lnTo>
                    <a:lnTo>
                      <a:pt x="95" y="186"/>
                    </a:lnTo>
                    <a:lnTo>
                      <a:pt x="90" y="186"/>
                    </a:lnTo>
                    <a:lnTo>
                      <a:pt x="90" y="186"/>
                    </a:lnTo>
                    <a:lnTo>
                      <a:pt x="90" y="190"/>
                    </a:lnTo>
                    <a:lnTo>
                      <a:pt x="86" y="186"/>
                    </a:lnTo>
                    <a:lnTo>
                      <a:pt x="86" y="190"/>
                    </a:lnTo>
                    <a:lnTo>
                      <a:pt x="86" y="190"/>
                    </a:lnTo>
                    <a:lnTo>
                      <a:pt x="81" y="190"/>
                    </a:lnTo>
                    <a:lnTo>
                      <a:pt x="81" y="195"/>
                    </a:lnTo>
                    <a:lnTo>
                      <a:pt x="77" y="195"/>
                    </a:lnTo>
                    <a:lnTo>
                      <a:pt x="72" y="195"/>
                    </a:lnTo>
                    <a:lnTo>
                      <a:pt x="67" y="195"/>
                    </a:lnTo>
                    <a:lnTo>
                      <a:pt x="67" y="195"/>
                    </a:lnTo>
                    <a:lnTo>
                      <a:pt x="67" y="195"/>
                    </a:lnTo>
                    <a:lnTo>
                      <a:pt x="67" y="195"/>
                    </a:lnTo>
                    <a:lnTo>
                      <a:pt x="72" y="195"/>
                    </a:lnTo>
                    <a:lnTo>
                      <a:pt x="72" y="195"/>
                    </a:lnTo>
                    <a:lnTo>
                      <a:pt x="77" y="195"/>
                    </a:lnTo>
                    <a:lnTo>
                      <a:pt x="77" y="195"/>
                    </a:lnTo>
                    <a:lnTo>
                      <a:pt x="77" y="199"/>
                    </a:lnTo>
                    <a:lnTo>
                      <a:pt x="72" y="199"/>
                    </a:lnTo>
                    <a:lnTo>
                      <a:pt x="77" y="199"/>
                    </a:lnTo>
                    <a:lnTo>
                      <a:pt x="77" y="204"/>
                    </a:lnTo>
                    <a:lnTo>
                      <a:pt x="72" y="204"/>
                    </a:lnTo>
                    <a:lnTo>
                      <a:pt x="77" y="208"/>
                    </a:lnTo>
                    <a:lnTo>
                      <a:pt x="72" y="208"/>
                    </a:lnTo>
                    <a:lnTo>
                      <a:pt x="72" y="208"/>
                    </a:lnTo>
                    <a:lnTo>
                      <a:pt x="72" y="213"/>
                    </a:lnTo>
                    <a:lnTo>
                      <a:pt x="72" y="213"/>
                    </a:lnTo>
                    <a:lnTo>
                      <a:pt x="72" y="213"/>
                    </a:lnTo>
                    <a:lnTo>
                      <a:pt x="72" y="217"/>
                    </a:lnTo>
                    <a:lnTo>
                      <a:pt x="72" y="217"/>
                    </a:lnTo>
                    <a:lnTo>
                      <a:pt x="72" y="222"/>
                    </a:lnTo>
                    <a:lnTo>
                      <a:pt x="72" y="222"/>
                    </a:lnTo>
                    <a:lnTo>
                      <a:pt x="72" y="222"/>
                    </a:lnTo>
                    <a:lnTo>
                      <a:pt x="72" y="222"/>
                    </a:lnTo>
                    <a:lnTo>
                      <a:pt x="72" y="226"/>
                    </a:lnTo>
                    <a:lnTo>
                      <a:pt x="72" y="226"/>
                    </a:lnTo>
                    <a:lnTo>
                      <a:pt x="72" y="231"/>
                    </a:lnTo>
                    <a:lnTo>
                      <a:pt x="67" y="231"/>
                    </a:lnTo>
                    <a:lnTo>
                      <a:pt x="67" y="235"/>
                    </a:lnTo>
                    <a:lnTo>
                      <a:pt x="67" y="240"/>
                    </a:lnTo>
                    <a:lnTo>
                      <a:pt x="67" y="240"/>
                    </a:lnTo>
                    <a:lnTo>
                      <a:pt x="63" y="240"/>
                    </a:lnTo>
                    <a:lnTo>
                      <a:pt x="63" y="240"/>
                    </a:lnTo>
                    <a:lnTo>
                      <a:pt x="63" y="240"/>
                    </a:lnTo>
                    <a:lnTo>
                      <a:pt x="58" y="240"/>
                    </a:lnTo>
                    <a:lnTo>
                      <a:pt x="58" y="240"/>
                    </a:lnTo>
                    <a:lnTo>
                      <a:pt x="54" y="240"/>
                    </a:lnTo>
                    <a:lnTo>
                      <a:pt x="49" y="240"/>
                    </a:lnTo>
                    <a:lnTo>
                      <a:pt x="49" y="240"/>
                    </a:lnTo>
                    <a:lnTo>
                      <a:pt x="49" y="245"/>
                    </a:lnTo>
                    <a:lnTo>
                      <a:pt x="49" y="245"/>
                    </a:lnTo>
                    <a:lnTo>
                      <a:pt x="45" y="245"/>
                    </a:lnTo>
                    <a:lnTo>
                      <a:pt x="45" y="245"/>
                    </a:lnTo>
                    <a:lnTo>
                      <a:pt x="45" y="245"/>
                    </a:lnTo>
                    <a:lnTo>
                      <a:pt x="45" y="245"/>
                    </a:lnTo>
                    <a:lnTo>
                      <a:pt x="40" y="249"/>
                    </a:lnTo>
                    <a:lnTo>
                      <a:pt x="40" y="249"/>
                    </a:lnTo>
                    <a:lnTo>
                      <a:pt x="45" y="249"/>
                    </a:lnTo>
                    <a:lnTo>
                      <a:pt x="45" y="254"/>
                    </a:lnTo>
                    <a:lnTo>
                      <a:pt x="40" y="254"/>
                    </a:lnTo>
                    <a:lnTo>
                      <a:pt x="40" y="254"/>
                    </a:lnTo>
                    <a:lnTo>
                      <a:pt x="36" y="254"/>
                    </a:lnTo>
                    <a:lnTo>
                      <a:pt x="31" y="258"/>
                    </a:lnTo>
                    <a:lnTo>
                      <a:pt x="22" y="254"/>
                    </a:lnTo>
                    <a:lnTo>
                      <a:pt x="22" y="254"/>
                    </a:lnTo>
                    <a:lnTo>
                      <a:pt x="22" y="254"/>
                    </a:lnTo>
                    <a:lnTo>
                      <a:pt x="27" y="249"/>
                    </a:lnTo>
                    <a:lnTo>
                      <a:pt x="27" y="249"/>
                    </a:lnTo>
                    <a:lnTo>
                      <a:pt x="27" y="249"/>
                    </a:lnTo>
                    <a:lnTo>
                      <a:pt x="22" y="249"/>
                    </a:lnTo>
                    <a:lnTo>
                      <a:pt x="22" y="245"/>
                    </a:lnTo>
                    <a:lnTo>
                      <a:pt x="18" y="240"/>
                    </a:lnTo>
                    <a:lnTo>
                      <a:pt x="18" y="240"/>
                    </a:lnTo>
                    <a:lnTo>
                      <a:pt x="18" y="240"/>
                    </a:lnTo>
                    <a:lnTo>
                      <a:pt x="18" y="240"/>
                    </a:lnTo>
                    <a:lnTo>
                      <a:pt x="22" y="240"/>
                    </a:lnTo>
                    <a:lnTo>
                      <a:pt x="22" y="240"/>
                    </a:lnTo>
                    <a:lnTo>
                      <a:pt x="22" y="240"/>
                    </a:lnTo>
                    <a:lnTo>
                      <a:pt x="22" y="235"/>
                    </a:lnTo>
                    <a:lnTo>
                      <a:pt x="22" y="235"/>
                    </a:lnTo>
                    <a:lnTo>
                      <a:pt x="22" y="235"/>
                    </a:lnTo>
                    <a:lnTo>
                      <a:pt x="22" y="235"/>
                    </a:lnTo>
                    <a:lnTo>
                      <a:pt x="22" y="235"/>
                    </a:lnTo>
                    <a:lnTo>
                      <a:pt x="22" y="235"/>
                    </a:lnTo>
                    <a:lnTo>
                      <a:pt x="22" y="231"/>
                    </a:lnTo>
                    <a:lnTo>
                      <a:pt x="22" y="231"/>
                    </a:lnTo>
                    <a:lnTo>
                      <a:pt x="22" y="231"/>
                    </a:lnTo>
                    <a:lnTo>
                      <a:pt x="18" y="226"/>
                    </a:lnTo>
                    <a:lnTo>
                      <a:pt x="18" y="226"/>
                    </a:lnTo>
                    <a:lnTo>
                      <a:pt x="13" y="222"/>
                    </a:lnTo>
                    <a:lnTo>
                      <a:pt x="13" y="217"/>
                    </a:lnTo>
                    <a:lnTo>
                      <a:pt x="9" y="217"/>
                    </a:lnTo>
                    <a:lnTo>
                      <a:pt x="9" y="217"/>
                    </a:lnTo>
                    <a:lnTo>
                      <a:pt x="9" y="213"/>
                    </a:lnTo>
                    <a:lnTo>
                      <a:pt x="9" y="213"/>
                    </a:lnTo>
                    <a:lnTo>
                      <a:pt x="9" y="213"/>
                    </a:lnTo>
                    <a:lnTo>
                      <a:pt x="9" y="213"/>
                    </a:lnTo>
                    <a:lnTo>
                      <a:pt x="9" y="208"/>
                    </a:lnTo>
                    <a:lnTo>
                      <a:pt x="4" y="208"/>
                    </a:lnTo>
                    <a:lnTo>
                      <a:pt x="4" y="204"/>
                    </a:lnTo>
                    <a:lnTo>
                      <a:pt x="4" y="199"/>
                    </a:lnTo>
                    <a:lnTo>
                      <a:pt x="0" y="199"/>
                    </a:lnTo>
                    <a:lnTo>
                      <a:pt x="0" y="199"/>
                    </a:lnTo>
                    <a:lnTo>
                      <a:pt x="0" y="199"/>
                    </a:lnTo>
                    <a:lnTo>
                      <a:pt x="0" y="199"/>
                    </a:lnTo>
                    <a:lnTo>
                      <a:pt x="0" y="195"/>
                    </a:lnTo>
                    <a:lnTo>
                      <a:pt x="0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4" y="186"/>
                    </a:lnTo>
                    <a:lnTo>
                      <a:pt x="4" y="190"/>
                    </a:lnTo>
                    <a:lnTo>
                      <a:pt x="4" y="190"/>
                    </a:lnTo>
                    <a:lnTo>
                      <a:pt x="4" y="190"/>
                    </a:lnTo>
                    <a:lnTo>
                      <a:pt x="9" y="186"/>
                    </a:lnTo>
                    <a:lnTo>
                      <a:pt x="9" y="186"/>
                    </a:lnTo>
                    <a:lnTo>
                      <a:pt x="9" y="181"/>
                    </a:lnTo>
                    <a:lnTo>
                      <a:pt x="9" y="181"/>
                    </a:lnTo>
                    <a:lnTo>
                      <a:pt x="4" y="177"/>
                    </a:lnTo>
                    <a:lnTo>
                      <a:pt x="4" y="177"/>
                    </a:lnTo>
                    <a:lnTo>
                      <a:pt x="9" y="177"/>
                    </a:lnTo>
                    <a:lnTo>
                      <a:pt x="9" y="172"/>
                    </a:lnTo>
                    <a:lnTo>
                      <a:pt x="9" y="172"/>
                    </a:lnTo>
                    <a:lnTo>
                      <a:pt x="9" y="172"/>
                    </a:lnTo>
                    <a:lnTo>
                      <a:pt x="13" y="172"/>
                    </a:lnTo>
                    <a:lnTo>
                      <a:pt x="13" y="172"/>
                    </a:lnTo>
                    <a:lnTo>
                      <a:pt x="13" y="168"/>
                    </a:lnTo>
                    <a:lnTo>
                      <a:pt x="13" y="168"/>
                    </a:lnTo>
                    <a:lnTo>
                      <a:pt x="18" y="168"/>
                    </a:lnTo>
                    <a:lnTo>
                      <a:pt x="18" y="163"/>
                    </a:lnTo>
                    <a:lnTo>
                      <a:pt x="18" y="163"/>
                    </a:lnTo>
                    <a:lnTo>
                      <a:pt x="18" y="163"/>
                    </a:lnTo>
                    <a:lnTo>
                      <a:pt x="18" y="159"/>
                    </a:lnTo>
                    <a:lnTo>
                      <a:pt x="18" y="159"/>
                    </a:lnTo>
                    <a:lnTo>
                      <a:pt x="18" y="154"/>
                    </a:lnTo>
                    <a:lnTo>
                      <a:pt x="13" y="154"/>
                    </a:lnTo>
                    <a:lnTo>
                      <a:pt x="13" y="150"/>
                    </a:lnTo>
                    <a:lnTo>
                      <a:pt x="13" y="150"/>
                    </a:lnTo>
                    <a:lnTo>
                      <a:pt x="18" y="150"/>
                    </a:lnTo>
                    <a:lnTo>
                      <a:pt x="18" y="150"/>
                    </a:lnTo>
                    <a:lnTo>
                      <a:pt x="18" y="150"/>
                    </a:lnTo>
                    <a:lnTo>
                      <a:pt x="18" y="150"/>
                    </a:lnTo>
                    <a:lnTo>
                      <a:pt x="18" y="145"/>
                    </a:lnTo>
                    <a:lnTo>
                      <a:pt x="22" y="145"/>
                    </a:lnTo>
                    <a:lnTo>
                      <a:pt x="22" y="145"/>
                    </a:lnTo>
                    <a:lnTo>
                      <a:pt x="22" y="145"/>
                    </a:lnTo>
                    <a:lnTo>
                      <a:pt x="18" y="141"/>
                    </a:lnTo>
                    <a:lnTo>
                      <a:pt x="18" y="141"/>
                    </a:lnTo>
                    <a:lnTo>
                      <a:pt x="18" y="141"/>
                    </a:lnTo>
                    <a:lnTo>
                      <a:pt x="13" y="136"/>
                    </a:lnTo>
                    <a:lnTo>
                      <a:pt x="13" y="136"/>
                    </a:lnTo>
                    <a:lnTo>
                      <a:pt x="13" y="131"/>
                    </a:lnTo>
                    <a:lnTo>
                      <a:pt x="13" y="127"/>
                    </a:lnTo>
                    <a:lnTo>
                      <a:pt x="13" y="127"/>
                    </a:lnTo>
                    <a:lnTo>
                      <a:pt x="13" y="127"/>
                    </a:lnTo>
                    <a:lnTo>
                      <a:pt x="9" y="118"/>
                    </a:lnTo>
                    <a:lnTo>
                      <a:pt x="9" y="118"/>
                    </a:lnTo>
                    <a:lnTo>
                      <a:pt x="13" y="118"/>
                    </a:lnTo>
                    <a:lnTo>
                      <a:pt x="9" y="118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13" y="113"/>
                    </a:lnTo>
                    <a:lnTo>
                      <a:pt x="9" y="109"/>
                    </a:lnTo>
                    <a:lnTo>
                      <a:pt x="9" y="109"/>
                    </a:lnTo>
                    <a:lnTo>
                      <a:pt x="9" y="109"/>
                    </a:lnTo>
                    <a:lnTo>
                      <a:pt x="13" y="104"/>
                    </a:lnTo>
                    <a:lnTo>
                      <a:pt x="13" y="100"/>
                    </a:lnTo>
                    <a:lnTo>
                      <a:pt x="13" y="100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22" y="91"/>
                    </a:lnTo>
                    <a:lnTo>
                      <a:pt x="22" y="91"/>
                    </a:lnTo>
                    <a:lnTo>
                      <a:pt x="27" y="91"/>
                    </a:lnTo>
                    <a:lnTo>
                      <a:pt x="31" y="91"/>
                    </a:lnTo>
                    <a:lnTo>
                      <a:pt x="31" y="95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1" y="82"/>
                    </a:lnTo>
                    <a:lnTo>
                      <a:pt x="31" y="82"/>
                    </a:lnTo>
                    <a:lnTo>
                      <a:pt x="31" y="77"/>
                    </a:lnTo>
                    <a:lnTo>
                      <a:pt x="36" y="77"/>
                    </a:lnTo>
                    <a:lnTo>
                      <a:pt x="36" y="73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4"/>
                    </a:lnTo>
                    <a:lnTo>
                      <a:pt x="40" y="59"/>
                    </a:lnTo>
                    <a:lnTo>
                      <a:pt x="40" y="59"/>
                    </a:lnTo>
                    <a:lnTo>
                      <a:pt x="40" y="59"/>
                    </a:lnTo>
                    <a:lnTo>
                      <a:pt x="40" y="59"/>
                    </a:lnTo>
                    <a:lnTo>
                      <a:pt x="40" y="55"/>
                    </a:lnTo>
                    <a:lnTo>
                      <a:pt x="45" y="55"/>
                    </a:lnTo>
                    <a:lnTo>
                      <a:pt x="45" y="55"/>
                    </a:lnTo>
                    <a:lnTo>
                      <a:pt x="45" y="50"/>
                    </a:lnTo>
                    <a:lnTo>
                      <a:pt x="49" y="50"/>
                    </a:lnTo>
                    <a:lnTo>
                      <a:pt x="49" y="50"/>
                    </a:lnTo>
                    <a:lnTo>
                      <a:pt x="49" y="46"/>
                    </a:lnTo>
                    <a:lnTo>
                      <a:pt x="49" y="46"/>
                    </a:lnTo>
                    <a:lnTo>
                      <a:pt x="54" y="41"/>
                    </a:lnTo>
                    <a:lnTo>
                      <a:pt x="58" y="37"/>
                    </a:lnTo>
                    <a:lnTo>
                      <a:pt x="63" y="37"/>
                    </a:lnTo>
                    <a:lnTo>
                      <a:pt x="63" y="37"/>
                    </a:lnTo>
                    <a:lnTo>
                      <a:pt x="63" y="32"/>
                    </a:lnTo>
                    <a:lnTo>
                      <a:pt x="58" y="32"/>
                    </a:lnTo>
                    <a:lnTo>
                      <a:pt x="58" y="32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63" y="28"/>
                    </a:lnTo>
                    <a:lnTo>
                      <a:pt x="63" y="28"/>
                    </a:lnTo>
                    <a:lnTo>
                      <a:pt x="63" y="28"/>
                    </a:lnTo>
                    <a:lnTo>
                      <a:pt x="63" y="18"/>
                    </a:lnTo>
                    <a:lnTo>
                      <a:pt x="67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7" y="18"/>
                    </a:lnTo>
                    <a:lnTo>
                      <a:pt x="81" y="18"/>
                    </a:lnTo>
                    <a:lnTo>
                      <a:pt x="81" y="14"/>
                    </a:lnTo>
                    <a:lnTo>
                      <a:pt x="81" y="14"/>
                    </a:lnTo>
                    <a:lnTo>
                      <a:pt x="81" y="14"/>
                    </a:lnTo>
                    <a:lnTo>
                      <a:pt x="81" y="9"/>
                    </a:lnTo>
                    <a:lnTo>
                      <a:pt x="81" y="9"/>
                    </a:lnTo>
                    <a:lnTo>
                      <a:pt x="81" y="9"/>
                    </a:lnTo>
                    <a:lnTo>
                      <a:pt x="81" y="9"/>
                    </a:lnTo>
                    <a:lnTo>
                      <a:pt x="86" y="9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95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104" y="9"/>
                    </a:lnTo>
                    <a:lnTo>
                      <a:pt x="104" y="9"/>
                    </a:lnTo>
                    <a:lnTo>
                      <a:pt x="104" y="9"/>
                    </a:lnTo>
                    <a:lnTo>
                      <a:pt x="104" y="9"/>
                    </a:lnTo>
                    <a:lnTo>
                      <a:pt x="104" y="5"/>
                    </a:lnTo>
                    <a:lnTo>
                      <a:pt x="104" y="5"/>
                    </a:lnTo>
                    <a:lnTo>
                      <a:pt x="104" y="5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17" y="0"/>
                    </a:lnTo>
                    <a:lnTo>
                      <a:pt x="117" y="5"/>
                    </a:lnTo>
                    <a:lnTo>
                      <a:pt x="117" y="5"/>
                    </a:lnTo>
                    <a:lnTo>
                      <a:pt x="117" y="5"/>
                    </a:lnTo>
                    <a:lnTo>
                      <a:pt x="122" y="5"/>
                    </a:lnTo>
                    <a:lnTo>
                      <a:pt x="122" y="5"/>
                    </a:lnTo>
                    <a:lnTo>
                      <a:pt x="122" y="5"/>
                    </a:lnTo>
                    <a:lnTo>
                      <a:pt x="126" y="9"/>
                    </a:lnTo>
                    <a:lnTo>
                      <a:pt x="126" y="9"/>
                    </a:lnTo>
                    <a:lnTo>
                      <a:pt x="131" y="9"/>
                    </a:lnTo>
                    <a:lnTo>
                      <a:pt x="135" y="9"/>
                    </a:lnTo>
                    <a:lnTo>
                      <a:pt x="135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34" name="Freeform 155"/>
              <p:cNvSpPr>
                <a:spLocks/>
              </p:cNvSpPr>
              <p:nvPr/>
            </p:nvSpPr>
            <p:spPr bwMode="auto">
              <a:xfrm>
                <a:off x="5095876" y="3721101"/>
                <a:ext cx="34925" cy="42863"/>
              </a:xfrm>
              <a:custGeom>
                <a:avLst/>
                <a:gdLst>
                  <a:gd name="T0" fmla="*/ 18 w 22"/>
                  <a:gd name="T1" fmla="*/ 0 h 27"/>
                  <a:gd name="T2" fmla="*/ 18 w 22"/>
                  <a:gd name="T3" fmla="*/ 0 h 27"/>
                  <a:gd name="T4" fmla="*/ 18 w 22"/>
                  <a:gd name="T5" fmla="*/ 4 h 27"/>
                  <a:gd name="T6" fmla="*/ 22 w 22"/>
                  <a:gd name="T7" fmla="*/ 4 h 27"/>
                  <a:gd name="T8" fmla="*/ 22 w 22"/>
                  <a:gd name="T9" fmla="*/ 4 h 27"/>
                  <a:gd name="T10" fmla="*/ 22 w 22"/>
                  <a:gd name="T11" fmla="*/ 4 h 27"/>
                  <a:gd name="T12" fmla="*/ 22 w 22"/>
                  <a:gd name="T13" fmla="*/ 4 h 27"/>
                  <a:gd name="T14" fmla="*/ 22 w 22"/>
                  <a:gd name="T15" fmla="*/ 4 h 27"/>
                  <a:gd name="T16" fmla="*/ 22 w 22"/>
                  <a:gd name="T17" fmla="*/ 9 h 27"/>
                  <a:gd name="T18" fmla="*/ 22 w 22"/>
                  <a:gd name="T19" fmla="*/ 9 h 27"/>
                  <a:gd name="T20" fmla="*/ 22 w 22"/>
                  <a:gd name="T21" fmla="*/ 9 h 27"/>
                  <a:gd name="T22" fmla="*/ 22 w 22"/>
                  <a:gd name="T23" fmla="*/ 13 h 27"/>
                  <a:gd name="T24" fmla="*/ 22 w 22"/>
                  <a:gd name="T25" fmla="*/ 13 h 27"/>
                  <a:gd name="T26" fmla="*/ 22 w 22"/>
                  <a:gd name="T27" fmla="*/ 18 h 27"/>
                  <a:gd name="T28" fmla="*/ 22 w 22"/>
                  <a:gd name="T29" fmla="*/ 18 h 27"/>
                  <a:gd name="T30" fmla="*/ 22 w 22"/>
                  <a:gd name="T31" fmla="*/ 18 h 27"/>
                  <a:gd name="T32" fmla="*/ 22 w 22"/>
                  <a:gd name="T33" fmla="*/ 18 h 27"/>
                  <a:gd name="T34" fmla="*/ 22 w 22"/>
                  <a:gd name="T35" fmla="*/ 22 h 27"/>
                  <a:gd name="T36" fmla="*/ 18 w 22"/>
                  <a:gd name="T37" fmla="*/ 27 h 27"/>
                  <a:gd name="T38" fmla="*/ 18 w 22"/>
                  <a:gd name="T39" fmla="*/ 27 h 27"/>
                  <a:gd name="T40" fmla="*/ 18 w 22"/>
                  <a:gd name="T41" fmla="*/ 27 h 27"/>
                  <a:gd name="T42" fmla="*/ 13 w 22"/>
                  <a:gd name="T43" fmla="*/ 27 h 27"/>
                  <a:gd name="T44" fmla="*/ 9 w 22"/>
                  <a:gd name="T45" fmla="*/ 27 h 27"/>
                  <a:gd name="T46" fmla="*/ 4 w 22"/>
                  <a:gd name="T47" fmla="*/ 22 h 27"/>
                  <a:gd name="T48" fmla="*/ 4 w 22"/>
                  <a:gd name="T49" fmla="*/ 22 h 27"/>
                  <a:gd name="T50" fmla="*/ 4 w 22"/>
                  <a:gd name="T51" fmla="*/ 18 h 27"/>
                  <a:gd name="T52" fmla="*/ 0 w 22"/>
                  <a:gd name="T53" fmla="*/ 18 h 27"/>
                  <a:gd name="T54" fmla="*/ 0 w 22"/>
                  <a:gd name="T55" fmla="*/ 18 h 27"/>
                  <a:gd name="T56" fmla="*/ 0 w 22"/>
                  <a:gd name="T57" fmla="*/ 13 h 27"/>
                  <a:gd name="T58" fmla="*/ 0 w 22"/>
                  <a:gd name="T59" fmla="*/ 13 h 27"/>
                  <a:gd name="T60" fmla="*/ 0 w 22"/>
                  <a:gd name="T61" fmla="*/ 13 h 27"/>
                  <a:gd name="T62" fmla="*/ 4 w 22"/>
                  <a:gd name="T63" fmla="*/ 9 h 27"/>
                  <a:gd name="T64" fmla="*/ 4 w 22"/>
                  <a:gd name="T65" fmla="*/ 4 h 27"/>
                  <a:gd name="T66" fmla="*/ 9 w 22"/>
                  <a:gd name="T67" fmla="*/ 4 h 27"/>
                  <a:gd name="T68" fmla="*/ 9 w 22"/>
                  <a:gd name="T69" fmla="*/ 0 h 27"/>
                  <a:gd name="T70" fmla="*/ 13 w 22"/>
                  <a:gd name="T71" fmla="*/ 0 h 27"/>
                  <a:gd name="T72" fmla="*/ 13 w 22"/>
                  <a:gd name="T73" fmla="*/ 0 h 27"/>
                  <a:gd name="T74" fmla="*/ 13 w 22"/>
                  <a:gd name="T75" fmla="*/ 0 h 27"/>
                  <a:gd name="T76" fmla="*/ 18 w 22"/>
                  <a:gd name="T7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2" h="27">
                    <a:moveTo>
                      <a:pt x="18" y="0"/>
                    </a:moveTo>
                    <a:lnTo>
                      <a:pt x="18" y="0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2" y="13"/>
                    </a:lnTo>
                    <a:lnTo>
                      <a:pt x="22" y="13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3" y="27"/>
                    </a:lnTo>
                    <a:lnTo>
                      <a:pt x="9" y="27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4" y="9"/>
                    </a:lnTo>
                    <a:lnTo>
                      <a:pt x="4" y="4"/>
                    </a:lnTo>
                    <a:lnTo>
                      <a:pt x="9" y="4"/>
                    </a:lnTo>
                    <a:lnTo>
                      <a:pt x="9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8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35" name="Freeform 156"/>
              <p:cNvSpPr>
                <a:spLocks/>
              </p:cNvSpPr>
              <p:nvPr/>
            </p:nvSpPr>
            <p:spPr bwMode="auto">
              <a:xfrm>
                <a:off x="5202238" y="1833564"/>
                <a:ext cx="165100" cy="150813"/>
              </a:xfrm>
              <a:custGeom>
                <a:avLst/>
                <a:gdLst>
                  <a:gd name="T0" fmla="*/ 104 w 104"/>
                  <a:gd name="T1" fmla="*/ 4 h 95"/>
                  <a:gd name="T2" fmla="*/ 95 w 104"/>
                  <a:gd name="T3" fmla="*/ 9 h 95"/>
                  <a:gd name="T4" fmla="*/ 91 w 104"/>
                  <a:gd name="T5" fmla="*/ 13 h 95"/>
                  <a:gd name="T6" fmla="*/ 86 w 104"/>
                  <a:gd name="T7" fmla="*/ 18 h 95"/>
                  <a:gd name="T8" fmla="*/ 86 w 104"/>
                  <a:gd name="T9" fmla="*/ 22 h 95"/>
                  <a:gd name="T10" fmla="*/ 91 w 104"/>
                  <a:gd name="T11" fmla="*/ 31 h 95"/>
                  <a:gd name="T12" fmla="*/ 91 w 104"/>
                  <a:gd name="T13" fmla="*/ 36 h 95"/>
                  <a:gd name="T14" fmla="*/ 91 w 104"/>
                  <a:gd name="T15" fmla="*/ 45 h 95"/>
                  <a:gd name="T16" fmla="*/ 86 w 104"/>
                  <a:gd name="T17" fmla="*/ 54 h 95"/>
                  <a:gd name="T18" fmla="*/ 73 w 104"/>
                  <a:gd name="T19" fmla="*/ 58 h 95"/>
                  <a:gd name="T20" fmla="*/ 59 w 104"/>
                  <a:gd name="T21" fmla="*/ 67 h 95"/>
                  <a:gd name="T22" fmla="*/ 50 w 104"/>
                  <a:gd name="T23" fmla="*/ 77 h 95"/>
                  <a:gd name="T24" fmla="*/ 36 w 104"/>
                  <a:gd name="T25" fmla="*/ 86 h 95"/>
                  <a:gd name="T26" fmla="*/ 27 w 104"/>
                  <a:gd name="T27" fmla="*/ 90 h 95"/>
                  <a:gd name="T28" fmla="*/ 18 w 104"/>
                  <a:gd name="T29" fmla="*/ 90 h 95"/>
                  <a:gd name="T30" fmla="*/ 9 w 104"/>
                  <a:gd name="T31" fmla="*/ 90 h 95"/>
                  <a:gd name="T32" fmla="*/ 5 w 104"/>
                  <a:gd name="T33" fmla="*/ 86 h 95"/>
                  <a:gd name="T34" fmla="*/ 9 w 104"/>
                  <a:gd name="T35" fmla="*/ 81 h 95"/>
                  <a:gd name="T36" fmla="*/ 9 w 104"/>
                  <a:gd name="T37" fmla="*/ 81 h 95"/>
                  <a:gd name="T38" fmla="*/ 5 w 104"/>
                  <a:gd name="T39" fmla="*/ 77 h 95"/>
                  <a:gd name="T40" fmla="*/ 5 w 104"/>
                  <a:gd name="T41" fmla="*/ 72 h 95"/>
                  <a:gd name="T42" fmla="*/ 9 w 104"/>
                  <a:gd name="T43" fmla="*/ 72 h 95"/>
                  <a:gd name="T44" fmla="*/ 9 w 104"/>
                  <a:gd name="T45" fmla="*/ 67 h 95"/>
                  <a:gd name="T46" fmla="*/ 9 w 104"/>
                  <a:gd name="T47" fmla="*/ 67 h 95"/>
                  <a:gd name="T48" fmla="*/ 9 w 104"/>
                  <a:gd name="T49" fmla="*/ 67 h 95"/>
                  <a:gd name="T50" fmla="*/ 9 w 104"/>
                  <a:gd name="T51" fmla="*/ 63 h 95"/>
                  <a:gd name="T52" fmla="*/ 14 w 104"/>
                  <a:gd name="T53" fmla="*/ 63 h 95"/>
                  <a:gd name="T54" fmla="*/ 14 w 104"/>
                  <a:gd name="T55" fmla="*/ 63 h 95"/>
                  <a:gd name="T56" fmla="*/ 14 w 104"/>
                  <a:gd name="T57" fmla="*/ 63 h 95"/>
                  <a:gd name="T58" fmla="*/ 18 w 104"/>
                  <a:gd name="T59" fmla="*/ 58 h 95"/>
                  <a:gd name="T60" fmla="*/ 14 w 104"/>
                  <a:gd name="T61" fmla="*/ 54 h 95"/>
                  <a:gd name="T62" fmla="*/ 14 w 104"/>
                  <a:gd name="T63" fmla="*/ 49 h 95"/>
                  <a:gd name="T64" fmla="*/ 9 w 104"/>
                  <a:gd name="T65" fmla="*/ 49 h 95"/>
                  <a:gd name="T66" fmla="*/ 5 w 104"/>
                  <a:gd name="T67" fmla="*/ 49 h 95"/>
                  <a:gd name="T68" fmla="*/ 5 w 104"/>
                  <a:gd name="T69" fmla="*/ 40 h 95"/>
                  <a:gd name="T70" fmla="*/ 5 w 104"/>
                  <a:gd name="T71" fmla="*/ 36 h 95"/>
                  <a:gd name="T72" fmla="*/ 0 w 104"/>
                  <a:gd name="T73" fmla="*/ 27 h 95"/>
                  <a:gd name="T74" fmla="*/ 5 w 104"/>
                  <a:gd name="T75" fmla="*/ 27 h 95"/>
                  <a:gd name="T76" fmla="*/ 9 w 104"/>
                  <a:gd name="T77" fmla="*/ 22 h 95"/>
                  <a:gd name="T78" fmla="*/ 9 w 104"/>
                  <a:gd name="T79" fmla="*/ 22 h 95"/>
                  <a:gd name="T80" fmla="*/ 14 w 104"/>
                  <a:gd name="T81" fmla="*/ 18 h 95"/>
                  <a:gd name="T82" fmla="*/ 9 w 104"/>
                  <a:gd name="T83" fmla="*/ 13 h 95"/>
                  <a:gd name="T84" fmla="*/ 14 w 104"/>
                  <a:gd name="T85" fmla="*/ 9 h 95"/>
                  <a:gd name="T86" fmla="*/ 18 w 104"/>
                  <a:gd name="T87" fmla="*/ 9 h 95"/>
                  <a:gd name="T88" fmla="*/ 23 w 104"/>
                  <a:gd name="T89" fmla="*/ 13 h 95"/>
                  <a:gd name="T90" fmla="*/ 27 w 104"/>
                  <a:gd name="T91" fmla="*/ 9 h 95"/>
                  <a:gd name="T92" fmla="*/ 36 w 104"/>
                  <a:gd name="T93" fmla="*/ 9 h 95"/>
                  <a:gd name="T94" fmla="*/ 41 w 104"/>
                  <a:gd name="T95" fmla="*/ 9 h 95"/>
                  <a:gd name="T96" fmla="*/ 45 w 104"/>
                  <a:gd name="T97" fmla="*/ 9 h 95"/>
                  <a:gd name="T98" fmla="*/ 54 w 104"/>
                  <a:gd name="T99" fmla="*/ 9 h 95"/>
                  <a:gd name="T100" fmla="*/ 64 w 104"/>
                  <a:gd name="T101" fmla="*/ 9 h 95"/>
                  <a:gd name="T102" fmla="*/ 77 w 104"/>
                  <a:gd name="T103" fmla="*/ 4 h 95"/>
                  <a:gd name="T104" fmla="*/ 86 w 104"/>
                  <a:gd name="T105" fmla="*/ 4 h 95"/>
                  <a:gd name="T106" fmla="*/ 91 w 104"/>
                  <a:gd name="T107" fmla="*/ 0 h 95"/>
                  <a:gd name="T108" fmla="*/ 100 w 104"/>
                  <a:gd name="T109" fmla="*/ 0 h 95"/>
                  <a:gd name="T110" fmla="*/ 100 w 104"/>
                  <a:gd name="T111" fmla="*/ 0 h 95"/>
                  <a:gd name="T112" fmla="*/ 104 w 104"/>
                  <a:gd name="T113" fmla="*/ 4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4" h="95">
                    <a:moveTo>
                      <a:pt x="104" y="4"/>
                    </a:moveTo>
                    <a:lnTo>
                      <a:pt x="104" y="4"/>
                    </a:lnTo>
                    <a:lnTo>
                      <a:pt x="104" y="4"/>
                    </a:lnTo>
                    <a:lnTo>
                      <a:pt x="100" y="4"/>
                    </a:lnTo>
                    <a:lnTo>
                      <a:pt x="100" y="9"/>
                    </a:lnTo>
                    <a:lnTo>
                      <a:pt x="95" y="9"/>
                    </a:lnTo>
                    <a:lnTo>
                      <a:pt x="95" y="13"/>
                    </a:lnTo>
                    <a:lnTo>
                      <a:pt x="91" y="13"/>
                    </a:lnTo>
                    <a:lnTo>
                      <a:pt x="91" y="13"/>
                    </a:lnTo>
                    <a:lnTo>
                      <a:pt x="86" y="13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91" y="27"/>
                    </a:lnTo>
                    <a:lnTo>
                      <a:pt x="91" y="27"/>
                    </a:lnTo>
                    <a:lnTo>
                      <a:pt x="91" y="31"/>
                    </a:lnTo>
                    <a:lnTo>
                      <a:pt x="91" y="31"/>
                    </a:lnTo>
                    <a:lnTo>
                      <a:pt x="91" y="36"/>
                    </a:lnTo>
                    <a:lnTo>
                      <a:pt x="91" y="36"/>
                    </a:lnTo>
                    <a:lnTo>
                      <a:pt x="91" y="40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49"/>
                    </a:lnTo>
                    <a:lnTo>
                      <a:pt x="86" y="54"/>
                    </a:lnTo>
                    <a:lnTo>
                      <a:pt x="86" y="54"/>
                    </a:lnTo>
                    <a:lnTo>
                      <a:pt x="82" y="54"/>
                    </a:lnTo>
                    <a:lnTo>
                      <a:pt x="77" y="58"/>
                    </a:lnTo>
                    <a:lnTo>
                      <a:pt x="73" y="58"/>
                    </a:lnTo>
                    <a:lnTo>
                      <a:pt x="68" y="63"/>
                    </a:lnTo>
                    <a:lnTo>
                      <a:pt x="64" y="67"/>
                    </a:lnTo>
                    <a:lnTo>
                      <a:pt x="59" y="67"/>
                    </a:lnTo>
                    <a:lnTo>
                      <a:pt x="59" y="72"/>
                    </a:lnTo>
                    <a:lnTo>
                      <a:pt x="54" y="72"/>
                    </a:lnTo>
                    <a:lnTo>
                      <a:pt x="50" y="77"/>
                    </a:lnTo>
                    <a:lnTo>
                      <a:pt x="45" y="77"/>
                    </a:lnTo>
                    <a:lnTo>
                      <a:pt x="41" y="81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2" y="90"/>
                    </a:lnTo>
                    <a:lnTo>
                      <a:pt x="27" y="90"/>
                    </a:lnTo>
                    <a:lnTo>
                      <a:pt x="23" y="95"/>
                    </a:lnTo>
                    <a:lnTo>
                      <a:pt x="18" y="95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9" y="90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5" y="86"/>
                    </a:lnTo>
                    <a:lnTo>
                      <a:pt x="5" y="86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9" y="77"/>
                    </a:lnTo>
                    <a:lnTo>
                      <a:pt x="9" y="77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2"/>
                    </a:lnTo>
                    <a:lnTo>
                      <a:pt x="5" y="72"/>
                    </a:lnTo>
                    <a:lnTo>
                      <a:pt x="9" y="72"/>
                    </a:lnTo>
                    <a:lnTo>
                      <a:pt x="9" y="72"/>
                    </a:lnTo>
                    <a:lnTo>
                      <a:pt x="9" y="72"/>
                    </a:lnTo>
                    <a:lnTo>
                      <a:pt x="9" y="72"/>
                    </a:lnTo>
                    <a:lnTo>
                      <a:pt x="9" y="67"/>
                    </a:lnTo>
                    <a:lnTo>
                      <a:pt x="9" y="67"/>
                    </a:lnTo>
                    <a:lnTo>
                      <a:pt x="9" y="67"/>
                    </a:lnTo>
                    <a:lnTo>
                      <a:pt x="9" y="67"/>
                    </a:lnTo>
                    <a:lnTo>
                      <a:pt x="9" y="67"/>
                    </a:lnTo>
                    <a:lnTo>
                      <a:pt x="9" y="67"/>
                    </a:lnTo>
                    <a:lnTo>
                      <a:pt x="9" y="67"/>
                    </a:lnTo>
                    <a:lnTo>
                      <a:pt x="9" y="63"/>
                    </a:lnTo>
                    <a:lnTo>
                      <a:pt x="9" y="63"/>
                    </a:lnTo>
                    <a:lnTo>
                      <a:pt x="9" y="63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8" y="58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49"/>
                    </a:lnTo>
                    <a:lnTo>
                      <a:pt x="14" y="49"/>
                    </a:lnTo>
                    <a:lnTo>
                      <a:pt x="14" y="49"/>
                    </a:lnTo>
                    <a:lnTo>
                      <a:pt x="9" y="49"/>
                    </a:lnTo>
                    <a:lnTo>
                      <a:pt x="9" y="49"/>
                    </a:lnTo>
                    <a:lnTo>
                      <a:pt x="9" y="49"/>
                    </a:lnTo>
                    <a:lnTo>
                      <a:pt x="5" y="49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0"/>
                    </a:lnTo>
                    <a:lnTo>
                      <a:pt x="5" y="40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0" y="31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4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64" y="9"/>
                    </a:lnTo>
                    <a:lnTo>
                      <a:pt x="73" y="4"/>
                    </a:lnTo>
                    <a:lnTo>
                      <a:pt x="77" y="4"/>
                    </a:lnTo>
                    <a:lnTo>
                      <a:pt x="77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1" y="4"/>
                    </a:lnTo>
                    <a:lnTo>
                      <a:pt x="91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4" y="0"/>
                    </a:lnTo>
                    <a:lnTo>
                      <a:pt x="104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36" name="Freeform 157"/>
              <p:cNvSpPr>
                <a:spLocks/>
              </p:cNvSpPr>
              <p:nvPr/>
            </p:nvSpPr>
            <p:spPr bwMode="auto">
              <a:xfrm>
                <a:off x="4643438" y="2249489"/>
                <a:ext cx="287338" cy="473075"/>
              </a:xfrm>
              <a:custGeom>
                <a:avLst/>
                <a:gdLst>
                  <a:gd name="T0" fmla="*/ 181 w 181"/>
                  <a:gd name="T1" fmla="*/ 145 h 298"/>
                  <a:gd name="T2" fmla="*/ 163 w 181"/>
                  <a:gd name="T3" fmla="*/ 145 h 298"/>
                  <a:gd name="T4" fmla="*/ 163 w 181"/>
                  <a:gd name="T5" fmla="*/ 154 h 298"/>
                  <a:gd name="T6" fmla="*/ 158 w 181"/>
                  <a:gd name="T7" fmla="*/ 163 h 298"/>
                  <a:gd name="T8" fmla="*/ 154 w 181"/>
                  <a:gd name="T9" fmla="*/ 167 h 298"/>
                  <a:gd name="T10" fmla="*/ 154 w 181"/>
                  <a:gd name="T11" fmla="*/ 172 h 298"/>
                  <a:gd name="T12" fmla="*/ 154 w 181"/>
                  <a:gd name="T13" fmla="*/ 176 h 298"/>
                  <a:gd name="T14" fmla="*/ 149 w 181"/>
                  <a:gd name="T15" fmla="*/ 181 h 298"/>
                  <a:gd name="T16" fmla="*/ 149 w 181"/>
                  <a:gd name="T17" fmla="*/ 185 h 298"/>
                  <a:gd name="T18" fmla="*/ 149 w 181"/>
                  <a:gd name="T19" fmla="*/ 194 h 298"/>
                  <a:gd name="T20" fmla="*/ 144 w 181"/>
                  <a:gd name="T21" fmla="*/ 203 h 298"/>
                  <a:gd name="T22" fmla="*/ 149 w 181"/>
                  <a:gd name="T23" fmla="*/ 203 h 298"/>
                  <a:gd name="T24" fmla="*/ 154 w 181"/>
                  <a:gd name="T25" fmla="*/ 212 h 298"/>
                  <a:gd name="T26" fmla="*/ 158 w 181"/>
                  <a:gd name="T27" fmla="*/ 221 h 298"/>
                  <a:gd name="T28" fmla="*/ 158 w 181"/>
                  <a:gd name="T29" fmla="*/ 226 h 298"/>
                  <a:gd name="T30" fmla="*/ 163 w 181"/>
                  <a:gd name="T31" fmla="*/ 235 h 298"/>
                  <a:gd name="T32" fmla="*/ 154 w 181"/>
                  <a:gd name="T33" fmla="*/ 235 h 298"/>
                  <a:gd name="T34" fmla="*/ 149 w 181"/>
                  <a:gd name="T35" fmla="*/ 240 h 298"/>
                  <a:gd name="T36" fmla="*/ 140 w 181"/>
                  <a:gd name="T37" fmla="*/ 240 h 298"/>
                  <a:gd name="T38" fmla="*/ 140 w 181"/>
                  <a:gd name="T39" fmla="*/ 249 h 298"/>
                  <a:gd name="T40" fmla="*/ 135 w 181"/>
                  <a:gd name="T41" fmla="*/ 253 h 298"/>
                  <a:gd name="T42" fmla="*/ 126 w 181"/>
                  <a:gd name="T43" fmla="*/ 262 h 298"/>
                  <a:gd name="T44" fmla="*/ 122 w 181"/>
                  <a:gd name="T45" fmla="*/ 267 h 298"/>
                  <a:gd name="T46" fmla="*/ 108 w 181"/>
                  <a:gd name="T47" fmla="*/ 271 h 298"/>
                  <a:gd name="T48" fmla="*/ 95 w 181"/>
                  <a:gd name="T49" fmla="*/ 271 h 298"/>
                  <a:gd name="T50" fmla="*/ 95 w 181"/>
                  <a:gd name="T51" fmla="*/ 276 h 298"/>
                  <a:gd name="T52" fmla="*/ 95 w 181"/>
                  <a:gd name="T53" fmla="*/ 280 h 298"/>
                  <a:gd name="T54" fmla="*/ 90 w 181"/>
                  <a:gd name="T55" fmla="*/ 289 h 298"/>
                  <a:gd name="T56" fmla="*/ 72 w 181"/>
                  <a:gd name="T57" fmla="*/ 289 h 298"/>
                  <a:gd name="T58" fmla="*/ 63 w 181"/>
                  <a:gd name="T59" fmla="*/ 294 h 298"/>
                  <a:gd name="T60" fmla="*/ 59 w 181"/>
                  <a:gd name="T61" fmla="*/ 298 h 298"/>
                  <a:gd name="T62" fmla="*/ 54 w 181"/>
                  <a:gd name="T63" fmla="*/ 294 h 298"/>
                  <a:gd name="T64" fmla="*/ 45 w 181"/>
                  <a:gd name="T65" fmla="*/ 298 h 298"/>
                  <a:gd name="T66" fmla="*/ 36 w 181"/>
                  <a:gd name="T67" fmla="*/ 298 h 298"/>
                  <a:gd name="T68" fmla="*/ 36 w 181"/>
                  <a:gd name="T69" fmla="*/ 294 h 298"/>
                  <a:gd name="T70" fmla="*/ 27 w 181"/>
                  <a:gd name="T71" fmla="*/ 276 h 298"/>
                  <a:gd name="T72" fmla="*/ 18 w 181"/>
                  <a:gd name="T73" fmla="*/ 271 h 298"/>
                  <a:gd name="T74" fmla="*/ 9 w 181"/>
                  <a:gd name="T75" fmla="*/ 262 h 298"/>
                  <a:gd name="T76" fmla="*/ 13 w 181"/>
                  <a:gd name="T77" fmla="*/ 253 h 298"/>
                  <a:gd name="T78" fmla="*/ 27 w 181"/>
                  <a:gd name="T79" fmla="*/ 253 h 298"/>
                  <a:gd name="T80" fmla="*/ 32 w 181"/>
                  <a:gd name="T81" fmla="*/ 249 h 298"/>
                  <a:gd name="T82" fmla="*/ 27 w 181"/>
                  <a:gd name="T83" fmla="*/ 230 h 298"/>
                  <a:gd name="T84" fmla="*/ 27 w 181"/>
                  <a:gd name="T85" fmla="*/ 221 h 298"/>
                  <a:gd name="T86" fmla="*/ 22 w 181"/>
                  <a:gd name="T87" fmla="*/ 212 h 298"/>
                  <a:gd name="T88" fmla="*/ 18 w 181"/>
                  <a:gd name="T89" fmla="*/ 199 h 298"/>
                  <a:gd name="T90" fmla="*/ 4 w 181"/>
                  <a:gd name="T91" fmla="*/ 185 h 298"/>
                  <a:gd name="T92" fmla="*/ 0 w 181"/>
                  <a:gd name="T93" fmla="*/ 167 h 298"/>
                  <a:gd name="T94" fmla="*/ 27 w 181"/>
                  <a:gd name="T95" fmla="*/ 126 h 298"/>
                  <a:gd name="T96" fmla="*/ 36 w 181"/>
                  <a:gd name="T97" fmla="*/ 86 h 298"/>
                  <a:gd name="T98" fmla="*/ 41 w 181"/>
                  <a:gd name="T99" fmla="*/ 59 h 298"/>
                  <a:gd name="T100" fmla="*/ 32 w 181"/>
                  <a:gd name="T101" fmla="*/ 50 h 298"/>
                  <a:gd name="T102" fmla="*/ 27 w 181"/>
                  <a:gd name="T103" fmla="*/ 36 h 298"/>
                  <a:gd name="T104" fmla="*/ 32 w 181"/>
                  <a:gd name="T105" fmla="*/ 4 h 298"/>
                  <a:gd name="T106" fmla="*/ 68 w 181"/>
                  <a:gd name="T107" fmla="*/ 18 h 298"/>
                  <a:gd name="T108" fmla="*/ 113 w 181"/>
                  <a:gd name="T109" fmla="*/ 41 h 298"/>
                  <a:gd name="T110" fmla="*/ 154 w 181"/>
                  <a:gd name="T111" fmla="*/ 63 h 298"/>
                  <a:gd name="T112" fmla="*/ 176 w 181"/>
                  <a:gd name="T113" fmla="*/ 90 h 298"/>
                  <a:gd name="T114" fmla="*/ 181 w 181"/>
                  <a:gd name="T115" fmla="*/ 131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81" h="298">
                    <a:moveTo>
                      <a:pt x="181" y="145"/>
                    </a:moveTo>
                    <a:lnTo>
                      <a:pt x="181" y="145"/>
                    </a:lnTo>
                    <a:lnTo>
                      <a:pt x="181" y="145"/>
                    </a:lnTo>
                    <a:lnTo>
                      <a:pt x="181" y="145"/>
                    </a:lnTo>
                    <a:lnTo>
                      <a:pt x="181" y="145"/>
                    </a:lnTo>
                    <a:lnTo>
                      <a:pt x="176" y="145"/>
                    </a:lnTo>
                    <a:lnTo>
                      <a:pt x="172" y="145"/>
                    </a:lnTo>
                    <a:lnTo>
                      <a:pt x="172" y="145"/>
                    </a:lnTo>
                    <a:lnTo>
                      <a:pt x="167" y="145"/>
                    </a:lnTo>
                    <a:lnTo>
                      <a:pt x="163" y="145"/>
                    </a:lnTo>
                    <a:lnTo>
                      <a:pt x="163" y="149"/>
                    </a:lnTo>
                    <a:lnTo>
                      <a:pt x="163" y="149"/>
                    </a:lnTo>
                    <a:lnTo>
                      <a:pt x="163" y="154"/>
                    </a:lnTo>
                    <a:lnTo>
                      <a:pt x="163" y="154"/>
                    </a:lnTo>
                    <a:lnTo>
                      <a:pt x="163" y="154"/>
                    </a:lnTo>
                    <a:lnTo>
                      <a:pt x="163" y="158"/>
                    </a:lnTo>
                    <a:lnTo>
                      <a:pt x="158" y="158"/>
                    </a:lnTo>
                    <a:lnTo>
                      <a:pt x="158" y="158"/>
                    </a:lnTo>
                    <a:lnTo>
                      <a:pt x="158" y="163"/>
                    </a:lnTo>
                    <a:lnTo>
                      <a:pt x="158" y="163"/>
                    </a:lnTo>
                    <a:lnTo>
                      <a:pt x="158" y="163"/>
                    </a:lnTo>
                    <a:lnTo>
                      <a:pt x="158" y="163"/>
                    </a:lnTo>
                    <a:lnTo>
                      <a:pt x="158" y="163"/>
                    </a:lnTo>
                    <a:lnTo>
                      <a:pt x="154" y="167"/>
                    </a:lnTo>
                    <a:lnTo>
                      <a:pt x="154" y="167"/>
                    </a:lnTo>
                    <a:lnTo>
                      <a:pt x="154" y="167"/>
                    </a:lnTo>
                    <a:lnTo>
                      <a:pt x="154" y="167"/>
                    </a:lnTo>
                    <a:lnTo>
                      <a:pt x="154" y="167"/>
                    </a:lnTo>
                    <a:lnTo>
                      <a:pt x="154" y="167"/>
                    </a:lnTo>
                    <a:lnTo>
                      <a:pt x="154" y="172"/>
                    </a:lnTo>
                    <a:lnTo>
                      <a:pt x="154" y="172"/>
                    </a:lnTo>
                    <a:lnTo>
                      <a:pt x="154" y="172"/>
                    </a:lnTo>
                    <a:lnTo>
                      <a:pt x="154" y="172"/>
                    </a:lnTo>
                    <a:lnTo>
                      <a:pt x="154" y="176"/>
                    </a:lnTo>
                    <a:lnTo>
                      <a:pt x="154" y="176"/>
                    </a:lnTo>
                    <a:lnTo>
                      <a:pt x="154" y="176"/>
                    </a:lnTo>
                    <a:lnTo>
                      <a:pt x="154" y="176"/>
                    </a:lnTo>
                    <a:lnTo>
                      <a:pt x="149" y="176"/>
                    </a:lnTo>
                    <a:lnTo>
                      <a:pt x="149" y="176"/>
                    </a:lnTo>
                    <a:lnTo>
                      <a:pt x="149" y="181"/>
                    </a:lnTo>
                    <a:lnTo>
                      <a:pt x="149" y="181"/>
                    </a:lnTo>
                    <a:lnTo>
                      <a:pt x="149" y="181"/>
                    </a:lnTo>
                    <a:lnTo>
                      <a:pt x="149" y="181"/>
                    </a:lnTo>
                    <a:lnTo>
                      <a:pt x="149" y="185"/>
                    </a:lnTo>
                    <a:lnTo>
                      <a:pt x="149" y="185"/>
                    </a:lnTo>
                    <a:lnTo>
                      <a:pt x="149" y="190"/>
                    </a:lnTo>
                    <a:lnTo>
                      <a:pt x="149" y="190"/>
                    </a:lnTo>
                    <a:lnTo>
                      <a:pt x="149" y="190"/>
                    </a:lnTo>
                    <a:lnTo>
                      <a:pt x="149" y="190"/>
                    </a:lnTo>
                    <a:lnTo>
                      <a:pt x="149" y="194"/>
                    </a:lnTo>
                    <a:lnTo>
                      <a:pt x="144" y="194"/>
                    </a:lnTo>
                    <a:lnTo>
                      <a:pt x="144" y="194"/>
                    </a:lnTo>
                    <a:lnTo>
                      <a:pt x="144" y="199"/>
                    </a:lnTo>
                    <a:lnTo>
                      <a:pt x="144" y="199"/>
                    </a:lnTo>
                    <a:lnTo>
                      <a:pt x="144" y="203"/>
                    </a:lnTo>
                    <a:lnTo>
                      <a:pt x="144" y="203"/>
                    </a:lnTo>
                    <a:lnTo>
                      <a:pt x="144" y="203"/>
                    </a:lnTo>
                    <a:lnTo>
                      <a:pt x="144" y="203"/>
                    </a:lnTo>
                    <a:lnTo>
                      <a:pt x="149" y="203"/>
                    </a:lnTo>
                    <a:lnTo>
                      <a:pt x="149" y="203"/>
                    </a:lnTo>
                    <a:lnTo>
                      <a:pt x="154" y="203"/>
                    </a:lnTo>
                    <a:lnTo>
                      <a:pt x="154" y="203"/>
                    </a:lnTo>
                    <a:lnTo>
                      <a:pt x="154" y="208"/>
                    </a:lnTo>
                    <a:lnTo>
                      <a:pt x="154" y="208"/>
                    </a:lnTo>
                    <a:lnTo>
                      <a:pt x="154" y="212"/>
                    </a:lnTo>
                    <a:lnTo>
                      <a:pt x="154" y="212"/>
                    </a:lnTo>
                    <a:lnTo>
                      <a:pt x="154" y="212"/>
                    </a:lnTo>
                    <a:lnTo>
                      <a:pt x="158" y="212"/>
                    </a:lnTo>
                    <a:lnTo>
                      <a:pt x="158" y="217"/>
                    </a:lnTo>
                    <a:lnTo>
                      <a:pt x="158" y="221"/>
                    </a:lnTo>
                    <a:lnTo>
                      <a:pt x="158" y="221"/>
                    </a:lnTo>
                    <a:lnTo>
                      <a:pt x="158" y="226"/>
                    </a:lnTo>
                    <a:lnTo>
                      <a:pt x="158" y="226"/>
                    </a:lnTo>
                    <a:lnTo>
                      <a:pt x="158" y="226"/>
                    </a:lnTo>
                    <a:lnTo>
                      <a:pt x="158" y="226"/>
                    </a:lnTo>
                    <a:lnTo>
                      <a:pt x="163" y="226"/>
                    </a:lnTo>
                    <a:lnTo>
                      <a:pt x="163" y="226"/>
                    </a:lnTo>
                    <a:lnTo>
                      <a:pt x="163" y="230"/>
                    </a:lnTo>
                    <a:lnTo>
                      <a:pt x="163" y="230"/>
                    </a:lnTo>
                    <a:lnTo>
                      <a:pt x="163" y="235"/>
                    </a:lnTo>
                    <a:lnTo>
                      <a:pt x="163" y="235"/>
                    </a:lnTo>
                    <a:lnTo>
                      <a:pt x="163" y="235"/>
                    </a:lnTo>
                    <a:lnTo>
                      <a:pt x="158" y="235"/>
                    </a:lnTo>
                    <a:lnTo>
                      <a:pt x="158" y="235"/>
                    </a:lnTo>
                    <a:lnTo>
                      <a:pt x="154" y="235"/>
                    </a:lnTo>
                    <a:lnTo>
                      <a:pt x="154" y="235"/>
                    </a:lnTo>
                    <a:lnTo>
                      <a:pt x="149" y="235"/>
                    </a:lnTo>
                    <a:lnTo>
                      <a:pt x="149" y="235"/>
                    </a:lnTo>
                    <a:lnTo>
                      <a:pt x="149" y="240"/>
                    </a:lnTo>
                    <a:lnTo>
                      <a:pt x="149" y="240"/>
                    </a:lnTo>
                    <a:lnTo>
                      <a:pt x="149" y="240"/>
                    </a:lnTo>
                    <a:lnTo>
                      <a:pt x="149" y="240"/>
                    </a:lnTo>
                    <a:lnTo>
                      <a:pt x="144" y="240"/>
                    </a:lnTo>
                    <a:lnTo>
                      <a:pt x="144" y="240"/>
                    </a:lnTo>
                    <a:lnTo>
                      <a:pt x="140" y="240"/>
                    </a:lnTo>
                    <a:lnTo>
                      <a:pt x="140" y="244"/>
                    </a:lnTo>
                    <a:lnTo>
                      <a:pt x="140" y="244"/>
                    </a:lnTo>
                    <a:lnTo>
                      <a:pt x="140" y="244"/>
                    </a:lnTo>
                    <a:lnTo>
                      <a:pt x="140" y="244"/>
                    </a:lnTo>
                    <a:lnTo>
                      <a:pt x="140" y="249"/>
                    </a:lnTo>
                    <a:lnTo>
                      <a:pt x="140" y="249"/>
                    </a:lnTo>
                    <a:lnTo>
                      <a:pt x="140" y="249"/>
                    </a:lnTo>
                    <a:lnTo>
                      <a:pt x="140" y="249"/>
                    </a:lnTo>
                    <a:lnTo>
                      <a:pt x="140" y="249"/>
                    </a:lnTo>
                    <a:lnTo>
                      <a:pt x="135" y="253"/>
                    </a:lnTo>
                    <a:lnTo>
                      <a:pt x="135" y="253"/>
                    </a:lnTo>
                    <a:lnTo>
                      <a:pt x="135" y="253"/>
                    </a:lnTo>
                    <a:lnTo>
                      <a:pt x="131" y="258"/>
                    </a:lnTo>
                    <a:lnTo>
                      <a:pt x="131" y="258"/>
                    </a:lnTo>
                    <a:lnTo>
                      <a:pt x="126" y="262"/>
                    </a:lnTo>
                    <a:lnTo>
                      <a:pt x="126" y="262"/>
                    </a:lnTo>
                    <a:lnTo>
                      <a:pt x="122" y="267"/>
                    </a:lnTo>
                    <a:lnTo>
                      <a:pt x="122" y="267"/>
                    </a:lnTo>
                    <a:lnTo>
                      <a:pt x="122" y="267"/>
                    </a:lnTo>
                    <a:lnTo>
                      <a:pt x="122" y="267"/>
                    </a:lnTo>
                    <a:lnTo>
                      <a:pt x="117" y="271"/>
                    </a:lnTo>
                    <a:lnTo>
                      <a:pt x="113" y="271"/>
                    </a:lnTo>
                    <a:lnTo>
                      <a:pt x="113" y="271"/>
                    </a:lnTo>
                    <a:lnTo>
                      <a:pt x="108" y="271"/>
                    </a:lnTo>
                    <a:lnTo>
                      <a:pt x="108" y="271"/>
                    </a:lnTo>
                    <a:lnTo>
                      <a:pt x="104" y="271"/>
                    </a:lnTo>
                    <a:lnTo>
                      <a:pt x="104" y="271"/>
                    </a:lnTo>
                    <a:lnTo>
                      <a:pt x="99" y="271"/>
                    </a:lnTo>
                    <a:lnTo>
                      <a:pt x="95" y="271"/>
                    </a:lnTo>
                    <a:lnTo>
                      <a:pt x="95" y="271"/>
                    </a:lnTo>
                    <a:lnTo>
                      <a:pt x="95" y="276"/>
                    </a:lnTo>
                    <a:lnTo>
                      <a:pt x="95" y="276"/>
                    </a:lnTo>
                    <a:lnTo>
                      <a:pt x="95" y="276"/>
                    </a:lnTo>
                    <a:lnTo>
                      <a:pt x="95" y="276"/>
                    </a:lnTo>
                    <a:lnTo>
                      <a:pt x="95" y="276"/>
                    </a:lnTo>
                    <a:lnTo>
                      <a:pt x="99" y="280"/>
                    </a:lnTo>
                    <a:lnTo>
                      <a:pt x="95" y="280"/>
                    </a:lnTo>
                    <a:lnTo>
                      <a:pt x="95" y="280"/>
                    </a:lnTo>
                    <a:lnTo>
                      <a:pt x="95" y="280"/>
                    </a:lnTo>
                    <a:lnTo>
                      <a:pt x="95" y="280"/>
                    </a:lnTo>
                    <a:lnTo>
                      <a:pt x="95" y="285"/>
                    </a:lnTo>
                    <a:lnTo>
                      <a:pt x="90" y="285"/>
                    </a:lnTo>
                    <a:lnTo>
                      <a:pt x="90" y="285"/>
                    </a:lnTo>
                    <a:lnTo>
                      <a:pt x="90" y="289"/>
                    </a:lnTo>
                    <a:lnTo>
                      <a:pt x="90" y="289"/>
                    </a:lnTo>
                    <a:lnTo>
                      <a:pt x="86" y="289"/>
                    </a:lnTo>
                    <a:lnTo>
                      <a:pt x="86" y="289"/>
                    </a:lnTo>
                    <a:lnTo>
                      <a:pt x="81" y="289"/>
                    </a:lnTo>
                    <a:lnTo>
                      <a:pt x="77" y="289"/>
                    </a:lnTo>
                    <a:lnTo>
                      <a:pt x="72" y="289"/>
                    </a:lnTo>
                    <a:lnTo>
                      <a:pt x="72" y="289"/>
                    </a:lnTo>
                    <a:lnTo>
                      <a:pt x="68" y="294"/>
                    </a:lnTo>
                    <a:lnTo>
                      <a:pt x="68" y="294"/>
                    </a:lnTo>
                    <a:lnTo>
                      <a:pt x="68" y="294"/>
                    </a:lnTo>
                    <a:lnTo>
                      <a:pt x="63" y="294"/>
                    </a:lnTo>
                    <a:lnTo>
                      <a:pt x="63" y="298"/>
                    </a:lnTo>
                    <a:lnTo>
                      <a:pt x="63" y="298"/>
                    </a:lnTo>
                    <a:lnTo>
                      <a:pt x="59" y="298"/>
                    </a:lnTo>
                    <a:lnTo>
                      <a:pt x="59" y="298"/>
                    </a:lnTo>
                    <a:lnTo>
                      <a:pt x="59" y="298"/>
                    </a:lnTo>
                    <a:lnTo>
                      <a:pt x="54" y="298"/>
                    </a:lnTo>
                    <a:lnTo>
                      <a:pt x="54" y="294"/>
                    </a:lnTo>
                    <a:lnTo>
                      <a:pt x="54" y="294"/>
                    </a:lnTo>
                    <a:lnTo>
                      <a:pt x="54" y="294"/>
                    </a:lnTo>
                    <a:lnTo>
                      <a:pt x="54" y="294"/>
                    </a:lnTo>
                    <a:lnTo>
                      <a:pt x="50" y="294"/>
                    </a:lnTo>
                    <a:lnTo>
                      <a:pt x="50" y="294"/>
                    </a:lnTo>
                    <a:lnTo>
                      <a:pt x="50" y="298"/>
                    </a:lnTo>
                    <a:lnTo>
                      <a:pt x="45" y="298"/>
                    </a:lnTo>
                    <a:lnTo>
                      <a:pt x="45" y="298"/>
                    </a:lnTo>
                    <a:lnTo>
                      <a:pt x="41" y="298"/>
                    </a:lnTo>
                    <a:lnTo>
                      <a:pt x="41" y="298"/>
                    </a:lnTo>
                    <a:lnTo>
                      <a:pt x="36" y="298"/>
                    </a:lnTo>
                    <a:lnTo>
                      <a:pt x="36" y="298"/>
                    </a:lnTo>
                    <a:lnTo>
                      <a:pt x="36" y="298"/>
                    </a:lnTo>
                    <a:lnTo>
                      <a:pt x="36" y="298"/>
                    </a:lnTo>
                    <a:lnTo>
                      <a:pt x="36" y="298"/>
                    </a:lnTo>
                    <a:lnTo>
                      <a:pt x="36" y="294"/>
                    </a:lnTo>
                    <a:lnTo>
                      <a:pt x="36" y="294"/>
                    </a:lnTo>
                    <a:lnTo>
                      <a:pt x="36" y="294"/>
                    </a:lnTo>
                    <a:lnTo>
                      <a:pt x="32" y="294"/>
                    </a:lnTo>
                    <a:lnTo>
                      <a:pt x="32" y="289"/>
                    </a:lnTo>
                    <a:lnTo>
                      <a:pt x="32" y="285"/>
                    </a:lnTo>
                    <a:lnTo>
                      <a:pt x="27" y="280"/>
                    </a:lnTo>
                    <a:lnTo>
                      <a:pt x="27" y="276"/>
                    </a:lnTo>
                    <a:lnTo>
                      <a:pt x="22" y="276"/>
                    </a:lnTo>
                    <a:lnTo>
                      <a:pt x="22" y="276"/>
                    </a:lnTo>
                    <a:lnTo>
                      <a:pt x="22" y="276"/>
                    </a:lnTo>
                    <a:lnTo>
                      <a:pt x="22" y="276"/>
                    </a:lnTo>
                    <a:lnTo>
                      <a:pt x="18" y="271"/>
                    </a:lnTo>
                    <a:lnTo>
                      <a:pt x="13" y="267"/>
                    </a:lnTo>
                    <a:lnTo>
                      <a:pt x="13" y="267"/>
                    </a:lnTo>
                    <a:lnTo>
                      <a:pt x="13" y="262"/>
                    </a:lnTo>
                    <a:lnTo>
                      <a:pt x="9" y="262"/>
                    </a:lnTo>
                    <a:lnTo>
                      <a:pt x="9" y="262"/>
                    </a:lnTo>
                    <a:lnTo>
                      <a:pt x="9" y="258"/>
                    </a:lnTo>
                    <a:lnTo>
                      <a:pt x="9" y="258"/>
                    </a:lnTo>
                    <a:lnTo>
                      <a:pt x="9" y="253"/>
                    </a:lnTo>
                    <a:lnTo>
                      <a:pt x="13" y="253"/>
                    </a:lnTo>
                    <a:lnTo>
                      <a:pt x="13" y="253"/>
                    </a:lnTo>
                    <a:lnTo>
                      <a:pt x="18" y="253"/>
                    </a:lnTo>
                    <a:lnTo>
                      <a:pt x="22" y="253"/>
                    </a:lnTo>
                    <a:lnTo>
                      <a:pt x="27" y="253"/>
                    </a:lnTo>
                    <a:lnTo>
                      <a:pt x="27" y="253"/>
                    </a:lnTo>
                    <a:lnTo>
                      <a:pt x="27" y="253"/>
                    </a:lnTo>
                    <a:lnTo>
                      <a:pt x="32" y="253"/>
                    </a:lnTo>
                    <a:lnTo>
                      <a:pt x="36" y="253"/>
                    </a:lnTo>
                    <a:lnTo>
                      <a:pt x="36" y="253"/>
                    </a:lnTo>
                    <a:lnTo>
                      <a:pt x="36" y="253"/>
                    </a:lnTo>
                    <a:lnTo>
                      <a:pt x="32" y="249"/>
                    </a:lnTo>
                    <a:lnTo>
                      <a:pt x="32" y="249"/>
                    </a:lnTo>
                    <a:lnTo>
                      <a:pt x="27" y="244"/>
                    </a:lnTo>
                    <a:lnTo>
                      <a:pt x="27" y="240"/>
                    </a:lnTo>
                    <a:lnTo>
                      <a:pt x="27" y="235"/>
                    </a:lnTo>
                    <a:lnTo>
                      <a:pt x="27" y="230"/>
                    </a:lnTo>
                    <a:lnTo>
                      <a:pt x="27" y="230"/>
                    </a:lnTo>
                    <a:lnTo>
                      <a:pt x="27" y="226"/>
                    </a:lnTo>
                    <a:lnTo>
                      <a:pt x="27" y="226"/>
                    </a:lnTo>
                    <a:lnTo>
                      <a:pt x="27" y="221"/>
                    </a:lnTo>
                    <a:lnTo>
                      <a:pt x="27" y="221"/>
                    </a:lnTo>
                    <a:lnTo>
                      <a:pt x="27" y="217"/>
                    </a:lnTo>
                    <a:lnTo>
                      <a:pt x="27" y="217"/>
                    </a:lnTo>
                    <a:lnTo>
                      <a:pt x="22" y="212"/>
                    </a:lnTo>
                    <a:lnTo>
                      <a:pt x="22" y="212"/>
                    </a:lnTo>
                    <a:lnTo>
                      <a:pt x="22" y="212"/>
                    </a:lnTo>
                    <a:lnTo>
                      <a:pt x="22" y="208"/>
                    </a:lnTo>
                    <a:lnTo>
                      <a:pt x="22" y="203"/>
                    </a:lnTo>
                    <a:lnTo>
                      <a:pt x="18" y="203"/>
                    </a:lnTo>
                    <a:lnTo>
                      <a:pt x="18" y="199"/>
                    </a:lnTo>
                    <a:lnTo>
                      <a:pt x="18" y="199"/>
                    </a:lnTo>
                    <a:lnTo>
                      <a:pt x="18" y="194"/>
                    </a:lnTo>
                    <a:lnTo>
                      <a:pt x="13" y="194"/>
                    </a:lnTo>
                    <a:lnTo>
                      <a:pt x="9" y="194"/>
                    </a:lnTo>
                    <a:lnTo>
                      <a:pt x="4" y="190"/>
                    </a:lnTo>
                    <a:lnTo>
                      <a:pt x="4" y="185"/>
                    </a:lnTo>
                    <a:lnTo>
                      <a:pt x="0" y="185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0" y="167"/>
                    </a:lnTo>
                    <a:lnTo>
                      <a:pt x="0" y="167"/>
                    </a:lnTo>
                    <a:lnTo>
                      <a:pt x="4" y="158"/>
                    </a:lnTo>
                    <a:lnTo>
                      <a:pt x="9" y="149"/>
                    </a:lnTo>
                    <a:lnTo>
                      <a:pt x="13" y="145"/>
                    </a:lnTo>
                    <a:lnTo>
                      <a:pt x="18" y="136"/>
                    </a:lnTo>
                    <a:lnTo>
                      <a:pt x="27" y="126"/>
                    </a:lnTo>
                    <a:lnTo>
                      <a:pt x="32" y="122"/>
                    </a:lnTo>
                    <a:lnTo>
                      <a:pt x="32" y="113"/>
                    </a:lnTo>
                    <a:lnTo>
                      <a:pt x="36" y="104"/>
                    </a:lnTo>
                    <a:lnTo>
                      <a:pt x="36" y="95"/>
                    </a:lnTo>
                    <a:lnTo>
                      <a:pt x="36" y="86"/>
                    </a:lnTo>
                    <a:lnTo>
                      <a:pt x="36" y="81"/>
                    </a:lnTo>
                    <a:lnTo>
                      <a:pt x="36" y="77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36" y="54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6" y="45"/>
                    </a:lnTo>
                    <a:lnTo>
                      <a:pt x="27" y="41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27"/>
                    </a:lnTo>
                    <a:lnTo>
                      <a:pt x="22" y="18"/>
                    </a:lnTo>
                    <a:lnTo>
                      <a:pt x="22" y="9"/>
                    </a:lnTo>
                    <a:lnTo>
                      <a:pt x="27" y="4"/>
                    </a:lnTo>
                    <a:lnTo>
                      <a:pt x="32" y="4"/>
                    </a:lnTo>
                    <a:lnTo>
                      <a:pt x="41" y="0"/>
                    </a:lnTo>
                    <a:lnTo>
                      <a:pt x="45" y="4"/>
                    </a:lnTo>
                    <a:lnTo>
                      <a:pt x="54" y="9"/>
                    </a:lnTo>
                    <a:lnTo>
                      <a:pt x="63" y="13"/>
                    </a:lnTo>
                    <a:lnTo>
                      <a:pt x="68" y="18"/>
                    </a:lnTo>
                    <a:lnTo>
                      <a:pt x="77" y="23"/>
                    </a:lnTo>
                    <a:lnTo>
                      <a:pt x="86" y="27"/>
                    </a:lnTo>
                    <a:lnTo>
                      <a:pt x="95" y="32"/>
                    </a:lnTo>
                    <a:lnTo>
                      <a:pt x="104" y="36"/>
                    </a:lnTo>
                    <a:lnTo>
                      <a:pt x="113" y="41"/>
                    </a:lnTo>
                    <a:lnTo>
                      <a:pt x="117" y="45"/>
                    </a:lnTo>
                    <a:lnTo>
                      <a:pt x="126" y="50"/>
                    </a:lnTo>
                    <a:lnTo>
                      <a:pt x="135" y="54"/>
                    </a:lnTo>
                    <a:lnTo>
                      <a:pt x="144" y="59"/>
                    </a:lnTo>
                    <a:lnTo>
                      <a:pt x="154" y="63"/>
                    </a:lnTo>
                    <a:lnTo>
                      <a:pt x="163" y="63"/>
                    </a:lnTo>
                    <a:lnTo>
                      <a:pt x="167" y="68"/>
                    </a:lnTo>
                    <a:lnTo>
                      <a:pt x="176" y="72"/>
                    </a:lnTo>
                    <a:lnTo>
                      <a:pt x="176" y="81"/>
                    </a:lnTo>
                    <a:lnTo>
                      <a:pt x="176" y="90"/>
                    </a:lnTo>
                    <a:lnTo>
                      <a:pt x="176" y="99"/>
                    </a:lnTo>
                    <a:lnTo>
                      <a:pt x="176" y="108"/>
                    </a:lnTo>
                    <a:lnTo>
                      <a:pt x="181" y="117"/>
                    </a:lnTo>
                    <a:lnTo>
                      <a:pt x="181" y="126"/>
                    </a:lnTo>
                    <a:lnTo>
                      <a:pt x="181" y="131"/>
                    </a:lnTo>
                    <a:lnTo>
                      <a:pt x="181" y="140"/>
                    </a:lnTo>
                    <a:lnTo>
                      <a:pt x="181" y="14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37" name="Freeform 158"/>
              <p:cNvSpPr>
                <a:spLocks/>
              </p:cNvSpPr>
              <p:nvPr/>
            </p:nvSpPr>
            <p:spPr bwMode="auto">
              <a:xfrm>
                <a:off x="4270376" y="2614614"/>
                <a:ext cx="50800" cy="150813"/>
              </a:xfrm>
              <a:custGeom>
                <a:avLst/>
                <a:gdLst>
                  <a:gd name="T0" fmla="*/ 9 w 32"/>
                  <a:gd name="T1" fmla="*/ 5 h 95"/>
                  <a:gd name="T2" fmla="*/ 14 w 32"/>
                  <a:gd name="T3" fmla="*/ 5 h 95"/>
                  <a:gd name="T4" fmla="*/ 14 w 32"/>
                  <a:gd name="T5" fmla="*/ 10 h 95"/>
                  <a:gd name="T6" fmla="*/ 14 w 32"/>
                  <a:gd name="T7" fmla="*/ 19 h 95"/>
                  <a:gd name="T8" fmla="*/ 23 w 32"/>
                  <a:gd name="T9" fmla="*/ 23 h 95"/>
                  <a:gd name="T10" fmla="*/ 23 w 32"/>
                  <a:gd name="T11" fmla="*/ 32 h 95"/>
                  <a:gd name="T12" fmla="*/ 23 w 32"/>
                  <a:gd name="T13" fmla="*/ 37 h 95"/>
                  <a:gd name="T14" fmla="*/ 27 w 32"/>
                  <a:gd name="T15" fmla="*/ 46 h 95"/>
                  <a:gd name="T16" fmla="*/ 27 w 32"/>
                  <a:gd name="T17" fmla="*/ 59 h 95"/>
                  <a:gd name="T18" fmla="*/ 27 w 32"/>
                  <a:gd name="T19" fmla="*/ 77 h 95"/>
                  <a:gd name="T20" fmla="*/ 27 w 32"/>
                  <a:gd name="T21" fmla="*/ 82 h 95"/>
                  <a:gd name="T22" fmla="*/ 27 w 32"/>
                  <a:gd name="T23" fmla="*/ 86 h 95"/>
                  <a:gd name="T24" fmla="*/ 32 w 32"/>
                  <a:gd name="T25" fmla="*/ 91 h 95"/>
                  <a:gd name="T26" fmla="*/ 23 w 32"/>
                  <a:gd name="T27" fmla="*/ 95 h 95"/>
                  <a:gd name="T28" fmla="*/ 18 w 32"/>
                  <a:gd name="T29" fmla="*/ 95 h 95"/>
                  <a:gd name="T30" fmla="*/ 18 w 32"/>
                  <a:gd name="T31" fmla="*/ 91 h 95"/>
                  <a:gd name="T32" fmla="*/ 14 w 32"/>
                  <a:gd name="T33" fmla="*/ 91 h 95"/>
                  <a:gd name="T34" fmla="*/ 14 w 32"/>
                  <a:gd name="T35" fmla="*/ 86 h 95"/>
                  <a:gd name="T36" fmla="*/ 9 w 32"/>
                  <a:gd name="T37" fmla="*/ 86 h 95"/>
                  <a:gd name="T38" fmla="*/ 9 w 32"/>
                  <a:gd name="T39" fmla="*/ 82 h 95"/>
                  <a:gd name="T40" fmla="*/ 9 w 32"/>
                  <a:gd name="T41" fmla="*/ 77 h 95"/>
                  <a:gd name="T42" fmla="*/ 9 w 32"/>
                  <a:gd name="T43" fmla="*/ 77 h 95"/>
                  <a:gd name="T44" fmla="*/ 9 w 32"/>
                  <a:gd name="T45" fmla="*/ 73 h 95"/>
                  <a:gd name="T46" fmla="*/ 9 w 32"/>
                  <a:gd name="T47" fmla="*/ 68 h 95"/>
                  <a:gd name="T48" fmla="*/ 9 w 32"/>
                  <a:gd name="T49" fmla="*/ 55 h 95"/>
                  <a:gd name="T50" fmla="*/ 14 w 32"/>
                  <a:gd name="T51" fmla="*/ 55 h 95"/>
                  <a:gd name="T52" fmla="*/ 9 w 32"/>
                  <a:gd name="T53" fmla="*/ 50 h 95"/>
                  <a:gd name="T54" fmla="*/ 9 w 32"/>
                  <a:gd name="T55" fmla="*/ 46 h 95"/>
                  <a:gd name="T56" fmla="*/ 9 w 32"/>
                  <a:gd name="T57" fmla="*/ 41 h 95"/>
                  <a:gd name="T58" fmla="*/ 9 w 32"/>
                  <a:gd name="T59" fmla="*/ 37 h 95"/>
                  <a:gd name="T60" fmla="*/ 9 w 32"/>
                  <a:gd name="T61" fmla="*/ 32 h 95"/>
                  <a:gd name="T62" fmla="*/ 5 w 32"/>
                  <a:gd name="T63" fmla="*/ 32 h 95"/>
                  <a:gd name="T64" fmla="*/ 5 w 32"/>
                  <a:gd name="T65" fmla="*/ 32 h 95"/>
                  <a:gd name="T66" fmla="*/ 5 w 32"/>
                  <a:gd name="T67" fmla="*/ 32 h 95"/>
                  <a:gd name="T68" fmla="*/ 5 w 32"/>
                  <a:gd name="T69" fmla="*/ 28 h 95"/>
                  <a:gd name="T70" fmla="*/ 5 w 32"/>
                  <a:gd name="T71" fmla="*/ 28 h 95"/>
                  <a:gd name="T72" fmla="*/ 5 w 32"/>
                  <a:gd name="T73" fmla="*/ 28 h 95"/>
                  <a:gd name="T74" fmla="*/ 5 w 32"/>
                  <a:gd name="T75" fmla="*/ 19 h 95"/>
                  <a:gd name="T76" fmla="*/ 5 w 32"/>
                  <a:gd name="T77" fmla="*/ 14 h 95"/>
                  <a:gd name="T78" fmla="*/ 0 w 32"/>
                  <a:gd name="T79" fmla="*/ 14 h 95"/>
                  <a:gd name="T80" fmla="*/ 0 w 32"/>
                  <a:gd name="T81" fmla="*/ 10 h 95"/>
                  <a:gd name="T82" fmla="*/ 0 w 32"/>
                  <a:gd name="T83" fmla="*/ 5 h 95"/>
                  <a:gd name="T84" fmla="*/ 5 w 32"/>
                  <a:gd name="T85" fmla="*/ 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" h="95">
                    <a:moveTo>
                      <a:pt x="9" y="5"/>
                    </a:move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9"/>
                    </a:lnTo>
                    <a:lnTo>
                      <a:pt x="18" y="19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8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3" y="37"/>
                    </a:lnTo>
                    <a:lnTo>
                      <a:pt x="23" y="37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27" y="46"/>
                    </a:lnTo>
                    <a:lnTo>
                      <a:pt x="27" y="50"/>
                    </a:lnTo>
                    <a:lnTo>
                      <a:pt x="27" y="55"/>
                    </a:lnTo>
                    <a:lnTo>
                      <a:pt x="27" y="59"/>
                    </a:lnTo>
                    <a:lnTo>
                      <a:pt x="27" y="64"/>
                    </a:lnTo>
                    <a:lnTo>
                      <a:pt x="27" y="73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32" y="91"/>
                    </a:lnTo>
                    <a:lnTo>
                      <a:pt x="32" y="91"/>
                    </a:lnTo>
                    <a:lnTo>
                      <a:pt x="27" y="95"/>
                    </a:lnTo>
                    <a:lnTo>
                      <a:pt x="27" y="95"/>
                    </a:lnTo>
                    <a:lnTo>
                      <a:pt x="23" y="95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8" y="91"/>
                    </a:lnTo>
                    <a:lnTo>
                      <a:pt x="18" y="91"/>
                    </a:lnTo>
                    <a:lnTo>
                      <a:pt x="14" y="91"/>
                    </a:lnTo>
                    <a:lnTo>
                      <a:pt x="14" y="91"/>
                    </a:lnTo>
                    <a:lnTo>
                      <a:pt x="14" y="91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9" y="77"/>
                    </a:lnTo>
                    <a:lnTo>
                      <a:pt x="9" y="77"/>
                    </a:lnTo>
                    <a:lnTo>
                      <a:pt x="9" y="77"/>
                    </a:lnTo>
                    <a:lnTo>
                      <a:pt x="9" y="77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9" y="64"/>
                    </a:lnTo>
                    <a:lnTo>
                      <a:pt x="9" y="59"/>
                    </a:lnTo>
                    <a:lnTo>
                      <a:pt x="9" y="55"/>
                    </a:lnTo>
                    <a:lnTo>
                      <a:pt x="9" y="55"/>
                    </a:lnTo>
                    <a:lnTo>
                      <a:pt x="14" y="55"/>
                    </a:lnTo>
                    <a:lnTo>
                      <a:pt x="14" y="55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5" y="46"/>
                    </a:lnTo>
                    <a:lnTo>
                      <a:pt x="5" y="46"/>
                    </a:lnTo>
                    <a:lnTo>
                      <a:pt x="9" y="46"/>
                    </a:lnTo>
                    <a:lnTo>
                      <a:pt x="9" y="46"/>
                    </a:lnTo>
                    <a:lnTo>
                      <a:pt x="9" y="46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37"/>
                    </a:lnTo>
                    <a:lnTo>
                      <a:pt x="9" y="37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5" y="23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5" y="5"/>
                    </a:lnTo>
                    <a:lnTo>
                      <a:pt x="9" y="5"/>
                    </a:lnTo>
                    <a:lnTo>
                      <a:pt x="9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38" name="Freeform 159"/>
              <p:cNvSpPr>
                <a:spLocks/>
              </p:cNvSpPr>
              <p:nvPr/>
            </p:nvSpPr>
            <p:spPr bwMode="auto">
              <a:xfrm>
                <a:off x="6916738" y="2306639"/>
                <a:ext cx="244475" cy="466725"/>
              </a:xfrm>
              <a:custGeom>
                <a:avLst/>
                <a:gdLst>
                  <a:gd name="T0" fmla="*/ 41 w 154"/>
                  <a:gd name="T1" fmla="*/ 0 h 294"/>
                  <a:gd name="T2" fmla="*/ 45 w 154"/>
                  <a:gd name="T3" fmla="*/ 9 h 294"/>
                  <a:gd name="T4" fmla="*/ 54 w 154"/>
                  <a:gd name="T5" fmla="*/ 18 h 294"/>
                  <a:gd name="T6" fmla="*/ 63 w 154"/>
                  <a:gd name="T7" fmla="*/ 27 h 294"/>
                  <a:gd name="T8" fmla="*/ 63 w 154"/>
                  <a:gd name="T9" fmla="*/ 41 h 294"/>
                  <a:gd name="T10" fmla="*/ 63 w 154"/>
                  <a:gd name="T11" fmla="*/ 59 h 294"/>
                  <a:gd name="T12" fmla="*/ 77 w 154"/>
                  <a:gd name="T13" fmla="*/ 50 h 294"/>
                  <a:gd name="T14" fmla="*/ 81 w 154"/>
                  <a:gd name="T15" fmla="*/ 45 h 294"/>
                  <a:gd name="T16" fmla="*/ 90 w 154"/>
                  <a:gd name="T17" fmla="*/ 50 h 294"/>
                  <a:gd name="T18" fmla="*/ 99 w 154"/>
                  <a:gd name="T19" fmla="*/ 41 h 294"/>
                  <a:gd name="T20" fmla="*/ 104 w 154"/>
                  <a:gd name="T21" fmla="*/ 41 h 294"/>
                  <a:gd name="T22" fmla="*/ 122 w 154"/>
                  <a:gd name="T23" fmla="*/ 54 h 294"/>
                  <a:gd name="T24" fmla="*/ 131 w 154"/>
                  <a:gd name="T25" fmla="*/ 77 h 294"/>
                  <a:gd name="T26" fmla="*/ 145 w 154"/>
                  <a:gd name="T27" fmla="*/ 86 h 294"/>
                  <a:gd name="T28" fmla="*/ 149 w 154"/>
                  <a:gd name="T29" fmla="*/ 100 h 294"/>
                  <a:gd name="T30" fmla="*/ 149 w 154"/>
                  <a:gd name="T31" fmla="*/ 113 h 294"/>
                  <a:gd name="T32" fmla="*/ 145 w 154"/>
                  <a:gd name="T33" fmla="*/ 122 h 294"/>
                  <a:gd name="T34" fmla="*/ 136 w 154"/>
                  <a:gd name="T35" fmla="*/ 118 h 294"/>
                  <a:gd name="T36" fmla="*/ 117 w 154"/>
                  <a:gd name="T37" fmla="*/ 118 h 294"/>
                  <a:gd name="T38" fmla="*/ 108 w 154"/>
                  <a:gd name="T39" fmla="*/ 127 h 294"/>
                  <a:gd name="T40" fmla="*/ 99 w 154"/>
                  <a:gd name="T41" fmla="*/ 136 h 294"/>
                  <a:gd name="T42" fmla="*/ 108 w 154"/>
                  <a:gd name="T43" fmla="*/ 158 h 294"/>
                  <a:gd name="T44" fmla="*/ 113 w 154"/>
                  <a:gd name="T45" fmla="*/ 172 h 294"/>
                  <a:gd name="T46" fmla="*/ 104 w 154"/>
                  <a:gd name="T47" fmla="*/ 163 h 294"/>
                  <a:gd name="T48" fmla="*/ 95 w 154"/>
                  <a:gd name="T49" fmla="*/ 154 h 294"/>
                  <a:gd name="T50" fmla="*/ 77 w 154"/>
                  <a:gd name="T51" fmla="*/ 145 h 294"/>
                  <a:gd name="T52" fmla="*/ 68 w 154"/>
                  <a:gd name="T53" fmla="*/ 136 h 294"/>
                  <a:gd name="T54" fmla="*/ 63 w 154"/>
                  <a:gd name="T55" fmla="*/ 154 h 294"/>
                  <a:gd name="T56" fmla="*/ 59 w 154"/>
                  <a:gd name="T57" fmla="*/ 181 h 294"/>
                  <a:gd name="T58" fmla="*/ 54 w 154"/>
                  <a:gd name="T59" fmla="*/ 208 h 294"/>
                  <a:gd name="T60" fmla="*/ 68 w 154"/>
                  <a:gd name="T61" fmla="*/ 222 h 294"/>
                  <a:gd name="T62" fmla="*/ 77 w 154"/>
                  <a:gd name="T63" fmla="*/ 240 h 294"/>
                  <a:gd name="T64" fmla="*/ 81 w 154"/>
                  <a:gd name="T65" fmla="*/ 262 h 294"/>
                  <a:gd name="T66" fmla="*/ 77 w 154"/>
                  <a:gd name="T67" fmla="*/ 249 h 294"/>
                  <a:gd name="T68" fmla="*/ 86 w 154"/>
                  <a:gd name="T69" fmla="*/ 262 h 294"/>
                  <a:gd name="T70" fmla="*/ 108 w 154"/>
                  <a:gd name="T71" fmla="*/ 276 h 294"/>
                  <a:gd name="T72" fmla="*/ 104 w 154"/>
                  <a:gd name="T73" fmla="*/ 289 h 294"/>
                  <a:gd name="T74" fmla="*/ 99 w 154"/>
                  <a:gd name="T75" fmla="*/ 289 h 294"/>
                  <a:gd name="T76" fmla="*/ 95 w 154"/>
                  <a:gd name="T77" fmla="*/ 285 h 294"/>
                  <a:gd name="T78" fmla="*/ 90 w 154"/>
                  <a:gd name="T79" fmla="*/ 276 h 294"/>
                  <a:gd name="T80" fmla="*/ 77 w 154"/>
                  <a:gd name="T81" fmla="*/ 271 h 294"/>
                  <a:gd name="T82" fmla="*/ 68 w 154"/>
                  <a:gd name="T83" fmla="*/ 262 h 294"/>
                  <a:gd name="T84" fmla="*/ 59 w 154"/>
                  <a:gd name="T85" fmla="*/ 253 h 294"/>
                  <a:gd name="T86" fmla="*/ 50 w 154"/>
                  <a:gd name="T87" fmla="*/ 240 h 294"/>
                  <a:gd name="T88" fmla="*/ 41 w 154"/>
                  <a:gd name="T89" fmla="*/ 235 h 294"/>
                  <a:gd name="T90" fmla="*/ 45 w 154"/>
                  <a:gd name="T91" fmla="*/ 204 h 294"/>
                  <a:gd name="T92" fmla="*/ 50 w 154"/>
                  <a:gd name="T93" fmla="*/ 190 h 294"/>
                  <a:gd name="T94" fmla="*/ 59 w 154"/>
                  <a:gd name="T95" fmla="*/ 172 h 294"/>
                  <a:gd name="T96" fmla="*/ 50 w 154"/>
                  <a:gd name="T97" fmla="*/ 154 h 294"/>
                  <a:gd name="T98" fmla="*/ 45 w 154"/>
                  <a:gd name="T99" fmla="*/ 136 h 294"/>
                  <a:gd name="T100" fmla="*/ 32 w 154"/>
                  <a:gd name="T101" fmla="*/ 118 h 294"/>
                  <a:gd name="T102" fmla="*/ 27 w 154"/>
                  <a:gd name="T103" fmla="*/ 104 h 294"/>
                  <a:gd name="T104" fmla="*/ 27 w 154"/>
                  <a:gd name="T105" fmla="*/ 90 h 294"/>
                  <a:gd name="T106" fmla="*/ 27 w 154"/>
                  <a:gd name="T107" fmla="*/ 81 h 294"/>
                  <a:gd name="T108" fmla="*/ 18 w 154"/>
                  <a:gd name="T109" fmla="*/ 68 h 294"/>
                  <a:gd name="T110" fmla="*/ 9 w 154"/>
                  <a:gd name="T111" fmla="*/ 50 h 294"/>
                  <a:gd name="T112" fmla="*/ 0 w 154"/>
                  <a:gd name="T113" fmla="*/ 41 h 294"/>
                  <a:gd name="T114" fmla="*/ 5 w 154"/>
                  <a:gd name="T115" fmla="*/ 36 h 294"/>
                  <a:gd name="T116" fmla="*/ 5 w 154"/>
                  <a:gd name="T117" fmla="*/ 18 h 294"/>
                  <a:gd name="T118" fmla="*/ 14 w 154"/>
                  <a:gd name="T119" fmla="*/ 14 h 294"/>
                  <a:gd name="T120" fmla="*/ 23 w 154"/>
                  <a:gd name="T121" fmla="*/ 9 h 294"/>
                  <a:gd name="T122" fmla="*/ 27 w 154"/>
                  <a:gd name="T123" fmla="*/ 5 h 294"/>
                  <a:gd name="T124" fmla="*/ 32 w 154"/>
                  <a:gd name="T125" fmla="*/ 5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54" h="294">
                    <a:moveTo>
                      <a:pt x="36" y="0"/>
                    </a:moveTo>
                    <a:lnTo>
                      <a:pt x="36" y="0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14"/>
                    </a:lnTo>
                    <a:lnTo>
                      <a:pt x="45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59" y="23"/>
                    </a:lnTo>
                    <a:lnTo>
                      <a:pt x="63" y="23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32"/>
                    </a:lnTo>
                    <a:lnTo>
                      <a:pt x="63" y="36"/>
                    </a:lnTo>
                    <a:lnTo>
                      <a:pt x="63" y="36"/>
                    </a:lnTo>
                    <a:lnTo>
                      <a:pt x="63" y="41"/>
                    </a:lnTo>
                    <a:lnTo>
                      <a:pt x="63" y="41"/>
                    </a:lnTo>
                    <a:lnTo>
                      <a:pt x="63" y="41"/>
                    </a:lnTo>
                    <a:lnTo>
                      <a:pt x="63" y="41"/>
                    </a:lnTo>
                    <a:lnTo>
                      <a:pt x="63" y="41"/>
                    </a:lnTo>
                    <a:lnTo>
                      <a:pt x="63" y="45"/>
                    </a:lnTo>
                    <a:lnTo>
                      <a:pt x="63" y="45"/>
                    </a:lnTo>
                    <a:lnTo>
                      <a:pt x="63" y="45"/>
                    </a:lnTo>
                    <a:lnTo>
                      <a:pt x="63" y="54"/>
                    </a:lnTo>
                    <a:lnTo>
                      <a:pt x="63" y="54"/>
                    </a:lnTo>
                    <a:lnTo>
                      <a:pt x="63" y="59"/>
                    </a:lnTo>
                    <a:lnTo>
                      <a:pt x="63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4"/>
                    </a:lnTo>
                    <a:lnTo>
                      <a:pt x="72" y="54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77" y="50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86" y="45"/>
                    </a:lnTo>
                    <a:lnTo>
                      <a:pt x="86" y="50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95" y="50"/>
                    </a:lnTo>
                    <a:lnTo>
                      <a:pt x="95" y="50"/>
                    </a:lnTo>
                    <a:lnTo>
                      <a:pt x="95" y="50"/>
                    </a:lnTo>
                    <a:lnTo>
                      <a:pt x="95" y="45"/>
                    </a:lnTo>
                    <a:lnTo>
                      <a:pt x="99" y="45"/>
                    </a:lnTo>
                    <a:lnTo>
                      <a:pt x="99" y="41"/>
                    </a:lnTo>
                    <a:lnTo>
                      <a:pt x="99" y="41"/>
                    </a:lnTo>
                    <a:lnTo>
                      <a:pt x="99" y="41"/>
                    </a:lnTo>
                    <a:lnTo>
                      <a:pt x="99" y="41"/>
                    </a:lnTo>
                    <a:lnTo>
                      <a:pt x="99" y="41"/>
                    </a:lnTo>
                    <a:lnTo>
                      <a:pt x="99" y="41"/>
                    </a:lnTo>
                    <a:lnTo>
                      <a:pt x="99" y="41"/>
                    </a:lnTo>
                    <a:lnTo>
                      <a:pt x="99" y="41"/>
                    </a:lnTo>
                    <a:lnTo>
                      <a:pt x="104" y="41"/>
                    </a:lnTo>
                    <a:lnTo>
                      <a:pt x="104" y="41"/>
                    </a:lnTo>
                    <a:lnTo>
                      <a:pt x="108" y="41"/>
                    </a:lnTo>
                    <a:lnTo>
                      <a:pt x="108" y="41"/>
                    </a:lnTo>
                    <a:lnTo>
                      <a:pt x="113" y="41"/>
                    </a:lnTo>
                    <a:lnTo>
                      <a:pt x="113" y="41"/>
                    </a:lnTo>
                    <a:lnTo>
                      <a:pt x="117" y="45"/>
                    </a:lnTo>
                    <a:lnTo>
                      <a:pt x="117" y="50"/>
                    </a:lnTo>
                    <a:lnTo>
                      <a:pt x="122" y="54"/>
                    </a:lnTo>
                    <a:lnTo>
                      <a:pt x="122" y="54"/>
                    </a:lnTo>
                    <a:lnTo>
                      <a:pt x="126" y="54"/>
                    </a:lnTo>
                    <a:lnTo>
                      <a:pt x="126" y="59"/>
                    </a:lnTo>
                    <a:lnTo>
                      <a:pt x="131" y="59"/>
                    </a:lnTo>
                    <a:lnTo>
                      <a:pt x="131" y="63"/>
                    </a:lnTo>
                    <a:lnTo>
                      <a:pt x="131" y="68"/>
                    </a:lnTo>
                    <a:lnTo>
                      <a:pt x="131" y="72"/>
                    </a:lnTo>
                    <a:lnTo>
                      <a:pt x="131" y="77"/>
                    </a:lnTo>
                    <a:lnTo>
                      <a:pt x="136" y="81"/>
                    </a:lnTo>
                    <a:lnTo>
                      <a:pt x="136" y="81"/>
                    </a:lnTo>
                    <a:lnTo>
                      <a:pt x="140" y="81"/>
                    </a:lnTo>
                    <a:lnTo>
                      <a:pt x="140" y="86"/>
                    </a:lnTo>
                    <a:lnTo>
                      <a:pt x="145" y="86"/>
                    </a:lnTo>
                    <a:lnTo>
                      <a:pt x="145" y="86"/>
                    </a:lnTo>
                    <a:lnTo>
                      <a:pt x="145" y="86"/>
                    </a:lnTo>
                    <a:lnTo>
                      <a:pt x="145" y="86"/>
                    </a:lnTo>
                    <a:lnTo>
                      <a:pt x="145" y="90"/>
                    </a:lnTo>
                    <a:lnTo>
                      <a:pt x="145" y="90"/>
                    </a:lnTo>
                    <a:lnTo>
                      <a:pt x="149" y="90"/>
                    </a:lnTo>
                    <a:lnTo>
                      <a:pt x="149" y="90"/>
                    </a:lnTo>
                    <a:lnTo>
                      <a:pt x="149" y="90"/>
                    </a:lnTo>
                    <a:lnTo>
                      <a:pt x="149" y="95"/>
                    </a:lnTo>
                    <a:lnTo>
                      <a:pt x="149" y="95"/>
                    </a:lnTo>
                    <a:lnTo>
                      <a:pt x="149" y="100"/>
                    </a:lnTo>
                    <a:lnTo>
                      <a:pt x="149" y="100"/>
                    </a:lnTo>
                    <a:lnTo>
                      <a:pt x="149" y="100"/>
                    </a:lnTo>
                    <a:lnTo>
                      <a:pt x="149" y="100"/>
                    </a:lnTo>
                    <a:lnTo>
                      <a:pt x="149" y="104"/>
                    </a:lnTo>
                    <a:lnTo>
                      <a:pt x="149" y="104"/>
                    </a:lnTo>
                    <a:lnTo>
                      <a:pt x="149" y="109"/>
                    </a:lnTo>
                    <a:lnTo>
                      <a:pt x="149" y="109"/>
                    </a:lnTo>
                    <a:lnTo>
                      <a:pt x="149" y="113"/>
                    </a:lnTo>
                    <a:lnTo>
                      <a:pt x="154" y="113"/>
                    </a:lnTo>
                    <a:lnTo>
                      <a:pt x="149" y="113"/>
                    </a:lnTo>
                    <a:lnTo>
                      <a:pt x="149" y="118"/>
                    </a:lnTo>
                    <a:lnTo>
                      <a:pt x="149" y="118"/>
                    </a:lnTo>
                    <a:lnTo>
                      <a:pt x="149" y="118"/>
                    </a:lnTo>
                    <a:lnTo>
                      <a:pt x="149" y="118"/>
                    </a:lnTo>
                    <a:lnTo>
                      <a:pt x="145" y="118"/>
                    </a:lnTo>
                    <a:lnTo>
                      <a:pt x="145" y="122"/>
                    </a:lnTo>
                    <a:lnTo>
                      <a:pt x="145" y="122"/>
                    </a:lnTo>
                    <a:lnTo>
                      <a:pt x="145" y="122"/>
                    </a:lnTo>
                    <a:lnTo>
                      <a:pt x="145" y="122"/>
                    </a:lnTo>
                    <a:lnTo>
                      <a:pt x="145" y="122"/>
                    </a:lnTo>
                    <a:lnTo>
                      <a:pt x="145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36" y="118"/>
                    </a:lnTo>
                    <a:lnTo>
                      <a:pt x="136" y="118"/>
                    </a:lnTo>
                    <a:lnTo>
                      <a:pt x="131" y="118"/>
                    </a:lnTo>
                    <a:lnTo>
                      <a:pt x="126" y="118"/>
                    </a:lnTo>
                    <a:lnTo>
                      <a:pt x="126" y="118"/>
                    </a:lnTo>
                    <a:lnTo>
                      <a:pt x="126" y="118"/>
                    </a:lnTo>
                    <a:lnTo>
                      <a:pt x="122" y="118"/>
                    </a:lnTo>
                    <a:lnTo>
                      <a:pt x="122" y="118"/>
                    </a:lnTo>
                    <a:lnTo>
                      <a:pt x="117" y="118"/>
                    </a:lnTo>
                    <a:lnTo>
                      <a:pt x="117" y="118"/>
                    </a:lnTo>
                    <a:lnTo>
                      <a:pt x="117" y="118"/>
                    </a:lnTo>
                    <a:lnTo>
                      <a:pt x="113" y="118"/>
                    </a:lnTo>
                    <a:lnTo>
                      <a:pt x="113" y="122"/>
                    </a:lnTo>
                    <a:lnTo>
                      <a:pt x="108" y="122"/>
                    </a:lnTo>
                    <a:lnTo>
                      <a:pt x="108" y="122"/>
                    </a:lnTo>
                    <a:lnTo>
                      <a:pt x="108" y="127"/>
                    </a:lnTo>
                    <a:lnTo>
                      <a:pt x="108" y="127"/>
                    </a:lnTo>
                    <a:lnTo>
                      <a:pt x="108" y="131"/>
                    </a:lnTo>
                    <a:lnTo>
                      <a:pt x="104" y="131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99" y="136"/>
                    </a:lnTo>
                    <a:lnTo>
                      <a:pt x="99" y="136"/>
                    </a:lnTo>
                    <a:lnTo>
                      <a:pt x="99" y="140"/>
                    </a:lnTo>
                    <a:lnTo>
                      <a:pt x="104" y="145"/>
                    </a:lnTo>
                    <a:lnTo>
                      <a:pt x="104" y="145"/>
                    </a:lnTo>
                    <a:lnTo>
                      <a:pt x="104" y="145"/>
                    </a:lnTo>
                    <a:lnTo>
                      <a:pt x="104" y="149"/>
                    </a:lnTo>
                    <a:lnTo>
                      <a:pt x="104" y="154"/>
                    </a:lnTo>
                    <a:lnTo>
                      <a:pt x="108" y="154"/>
                    </a:lnTo>
                    <a:lnTo>
                      <a:pt x="108" y="158"/>
                    </a:lnTo>
                    <a:lnTo>
                      <a:pt x="113" y="158"/>
                    </a:lnTo>
                    <a:lnTo>
                      <a:pt x="108" y="158"/>
                    </a:lnTo>
                    <a:lnTo>
                      <a:pt x="108" y="163"/>
                    </a:lnTo>
                    <a:lnTo>
                      <a:pt x="113" y="163"/>
                    </a:lnTo>
                    <a:lnTo>
                      <a:pt x="117" y="172"/>
                    </a:lnTo>
                    <a:lnTo>
                      <a:pt x="117" y="172"/>
                    </a:lnTo>
                    <a:lnTo>
                      <a:pt x="117" y="172"/>
                    </a:lnTo>
                    <a:lnTo>
                      <a:pt x="113" y="172"/>
                    </a:lnTo>
                    <a:lnTo>
                      <a:pt x="113" y="167"/>
                    </a:lnTo>
                    <a:lnTo>
                      <a:pt x="113" y="167"/>
                    </a:lnTo>
                    <a:lnTo>
                      <a:pt x="108" y="163"/>
                    </a:lnTo>
                    <a:lnTo>
                      <a:pt x="108" y="163"/>
                    </a:lnTo>
                    <a:lnTo>
                      <a:pt x="108" y="163"/>
                    </a:lnTo>
                    <a:lnTo>
                      <a:pt x="108" y="163"/>
                    </a:lnTo>
                    <a:lnTo>
                      <a:pt x="104" y="163"/>
                    </a:lnTo>
                    <a:lnTo>
                      <a:pt x="104" y="163"/>
                    </a:lnTo>
                    <a:lnTo>
                      <a:pt x="104" y="158"/>
                    </a:lnTo>
                    <a:lnTo>
                      <a:pt x="104" y="158"/>
                    </a:lnTo>
                    <a:lnTo>
                      <a:pt x="104" y="158"/>
                    </a:lnTo>
                    <a:lnTo>
                      <a:pt x="99" y="158"/>
                    </a:lnTo>
                    <a:lnTo>
                      <a:pt x="99" y="154"/>
                    </a:lnTo>
                    <a:lnTo>
                      <a:pt x="95" y="154"/>
                    </a:lnTo>
                    <a:lnTo>
                      <a:pt x="95" y="154"/>
                    </a:lnTo>
                    <a:lnTo>
                      <a:pt x="95" y="154"/>
                    </a:lnTo>
                    <a:lnTo>
                      <a:pt x="90" y="154"/>
                    </a:lnTo>
                    <a:lnTo>
                      <a:pt x="86" y="154"/>
                    </a:lnTo>
                    <a:lnTo>
                      <a:pt x="81" y="154"/>
                    </a:lnTo>
                    <a:lnTo>
                      <a:pt x="81" y="154"/>
                    </a:lnTo>
                    <a:lnTo>
                      <a:pt x="77" y="154"/>
                    </a:lnTo>
                    <a:lnTo>
                      <a:pt x="77" y="154"/>
                    </a:lnTo>
                    <a:lnTo>
                      <a:pt x="77" y="149"/>
                    </a:lnTo>
                    <a:lnTo>
                      <a:pt x="77" y="145"/>
                    </a:lnTo>
                    <a:lnTo>
                      <a:pt x="77" y="145"/>
                    </a:lnTo>
                    <a:lnTo>
                      <a:pt x="77" y="140"/>
                    </a:lnTo>
                    <a:lnTo>
                      <a:pt x="77" y="140"/>
                    </a:lnTo>
                    <a:lnTo>
                      <a:pt x="77" y="140"/>
                    </a:lnTo>
                    <a:lnTo>
                      <a:pt x="77" y="136"/>
                    </a:lnTo>
                    <a:lnTo>
                      <a:pt x="72" y="136"/>
                    </a:lnTo>
                    <a:lnTo>
                      <a:pt x="72" y="136"/>
                    </a:lnTo>
                    <a:lnTo>
                      <a:pt x="68" y="136"/>
                    </a:lnTo>
                    <a:lnTo>
                      <a:pt x="63" y="136"/>
                    </a:lnTo>
                    <a:lnTo>
                      <a:pt x="63" y="140"/>
                    </a:lnTo>
                    <a:lnTo>
                      <a:pt x="63" y="140"/>
                    </a:lnTo>
                    <a:lnTo>
                      <a:pt x="59" y="145"/>
                    </a:lnTo>
                    <a:lnTo>
                      <a:pt x="63" y="145"/>
                    </a:lnTo>
                    <a:lnTo>
                      <a:pt x="63" y="145"/>
                    </a:lnTo>
                    <a:lnTo>
                      <a:pt x="63" y="154"/>
                    </a:lnTo>
                    <a:lnTo>
                      <a:pt x="63" y="154"/>
                    </a:lnTo>
                    <a:lnTo>
                      <a:pt x="63" y="158"/>
                    </a:lnTo>
                    <a:lnTo>
                      <a:pt x="63" y="163"/>
                    </a:lnTo>
                    <a:lnTo>
                      <a:pt x="63" y="167"/>
                    </a:lnTo>
                    <a:lnTo>
                      <a:pt x="63" y="167"/>
                    </a:lnTo>
                    <a:lnTo>
                      <a:pt x="63" y="172"/>
                    </a:lnTo>
                    <a:lnTo>
                      <a:pt x="59" y="172"/>
                    </a:lnTo>
                    <a:lnTo>
                      <a:pt x="59" y="176"/>
                    </a:lnTo>
                    <a:lnTo>
                      <a:pt x="59" y="181"/>
                    </a:lnTo>
                    <a:lnTo>
                      <a:pt x="59" y="185"/>
                    </a:lnTo>
                    <a:lnTo>
                      <a:pt x="59" y="190"/>
                    </a:lnTo>
                    <a:lnTo>
                      <a:pt x="54" y="194"/>
                    </a:lnTo>
                    <a:lnTo>
                      <a:pt x="54" y="199"/>
                    </a:lnTo>
                    <a:lnTo>
                      <a:pt x="54" y="199"/>
                    </a:lnTo>
                    <a:lnTo>
                      <a:pt x="54" y="204"/>
                    </a:lnTo>
                    <a:lnTo>
                      <a:pt x="54" y="204"/>
                    </a:lnTo>
                    <a:lnTo>
                      <a:pt x="54" y="208"/>
                    </a:lnTo>
                    <a:lnTo>
                      <a:pt x="54" y="213"/>
                    </a:lnTo>
                    <a:lnTo>
                      <a:pt x="54" y="213"/>
                    </a:lnTo>
                    <a:lnTo>
                      <a:pt x="59" y="217"/>
                    </a:lnTo>
                    <a:lnTo>
                      <a:pt x="59" y="222"/>
                    </a:lnTo>
                    <a:lnTo>
                      <a:pt x="59" y="222"/>
                    </a:lnTo>
                    <a:lnTo>
                      <a:pt x="59" y="222"/>
                    </a:lnTo>
                    <a:lnTo>
                      <a:pt x="59" y="222"/>
                    </a:lnTo>
                    <a:lnTo>
                      <a:pt x="68" y="222"/>
                    </a:lnTo>
                    <a:lnTo>
                      <a:pt x="68" y="222"/>
                    </a:lnTo>
                    <a:lnTo>
                      <a:pt x="68" y="222"/>
                    </a:lnTo>
                    <a:lnTo>
                      <a:pt x="68" y="226"/>
                    </a:lnTo>
                    <a:lnTo>
                      <a:pt x="72" y="235"/>
                    </a:lnTo>
                    <a:lnTo>
                      <a:pt x="72" y="235"/>
                    </a:lnTo>
                    <a:lnTo>
                      <a:pt x="72" y="235"/>
                    </a:lnTo>
                    <a:lnTo>
                      <a:pt x="72" y="240"/>
                    </a:lnTo>
                    <a:lnTo>
                      <a:pt x="77" y="240"/>
                    </a:lnTo>
                    <a:lnTo>
                      <a:pt x="77" y="235"/>
                    </a:lnTo>
                    <a:lnTo>
                      <a:pt x="77" y="235"/>
                    </a:lnTo>
                    <a:lnTo>
                      <a:pt x="77" y="240"/>
                    </a:lnTo>
                    <a:lnTo>
                      <a:pt x="77" y="240"/>
                    </a:lnTo>
                    <a:lnTo>
                      <a:pt x="81" y="258"/>
                    </a:lnTo>
                    <a:lnTo>
                      <a:pt x="81" y="258"/>
                    </a:lnTo>
                    <a:lnTo>
                      <a:pt x="86" y="262"/>
                    </a:lnTo>
                    <a:lnTo>
                      <a:pt x="81" y="262"/>
                    </a:lnTo>
                    <a:lnTo>
                      <a:pt x="81" y="258"/>
                    </a:lnTo>
                    <a:lnTo>
                      <a:pt x="81" y="253"/>
                    </a:lnTo>
                    <a:lnTo>
                      <a:pt x="81" y="253"/>
                    </a:lnTo>
                    <a:lnTo>
                      <a:pt x="77" y="253"/>
                    </a:lnTo>
                    <a:lnTo>
                      <a:pt x="77" y="253"/>
                    </a:lnTo>
                    <a:lnTo>
                      <a:pt x="81" y="253"/>
                    </a:lnTo>
                    <a:lnTo>
                      <a:pt x="77" y="253"/>
                    </a:lnTo>
                    <a:lnTo>
                      <a:pt x="77" y="249"/>
                    </a:lnTo>
                    <a:lnTo>
                      <a:pt x="77" y="253"/>
                    </a:lnTo>
                    <a:lnTo>
                      <a:pt x="77" y="253"/>
                    </a:lnTo>
                    <a:lnTo>
                      <a:pt x="77" y="258"/>
                    </a:lnTo>
                    <a:lnTo>
                      <a:pt x="81" y="262"/>
                    </a:lnTo>
                    <a:lnTo>
                      <a:pt x="81" y="262"/>
                    </a:lnTo>
                    <a:lnTo>
                      <a:pt x="81" y="262"/>
                    </a:lnTo>
                    <a:lnTo>
                      <a:pt x="86" y="262"/>
                    </a:lnTo>
                    <a:lnTo>
                      <a:pt x="86" y="262"/>
                    </a:lnTo>
                    <a:lnTo>
                      <a:pt x="90" y="267"/>
                    </a:lnTo>
                    <a:lnTo>
                      <a:pt x="90" y="267"/>
                    </a:lnTo>
                    <a:lnTo>
                      <a:pt x="95" y="267"/>
                    </a:lnTo>
                    <a:lnTo>
                      <a:pt x="99" y="267"/>
                    </a:lnTo>
                    <a:lnTo>
                      <a:pt x="99" y="267"/>
                    </a:lnTo>
                    <a:lnTo>
                      <a:pt x="99" y="267"/>
                    </a:lnTo>
                    <a:lnTo>
                      <a:pt x="104" y="271"/>
                    </a:lnTo>
                    <a:lnTo>
                      <a:pt x="108" y="276"/>
                    </a:lnTo>
                    <a:lnTo>
                      <a:pt x="113" y="280"/>
                    </a:lnTo>
                    <a:lnTo>
                      <a:pt x="113" y="280"/>
                    </a:lnTo>
                    <a:lnTo>
                      <a:pt x="113" y="285"/>
                    </a:lnTo>
                    <a:lnTo>
                      <a:pt x="108" y="285"/>
                    </a:lnTo>
                    <a:lnTo>
                      <a:pt x="108" y="289"/>
                    </a:lnTo>
                    <a:lnTo>
                      <a:pt x="108" y="289"/>
                    </a:lnTo>
                    <a:lnTo>
                      <a:pt x="108" y="289"/>
                    </a:lnTo>
                    <a:lnTo>
                      <a:pt x="104" y="289"/>
                    </a:lnTo>
                    <a:lnTo>
                      <a:pt x="104" y="289"/>
                    </a:lnTo>
                    <a:lnTo>
                      <a:pt x="104" y="289"/>
                    </a:lnTo>
                    <a:lnTo>
                      <a:pt x="104" y="289"/>
                    </a:lnTo>
                    <a:lnTo>
                      <a:pt x="104" y="289"/>
                    </a:lnTo>
                    <a:lnTo>
                      <a:pt x="104" y="289"/>
                    </a:lnTo>
                    <a:lnTo>
                      <a:pt x="99" y="289"/>
                    </a:lnTo>
                    <a:lnTo>
                      <a:pt x="99" y="289"/>
                    </a:lnTo>
                    <a:lnTo>
                      <a:pt x="99" y="289"/>
                    </a:lnTo>
                    <a:lnTo>
                      <a:pt x="95" y="294"/>
                    </a:lnTo>
                    <a:lnTo>
                      <a:pt x="95" y="294"/>
                    </a:lnTo>
                    <a:lnTo>
                      <a:pt x="95" y="294"/>
                    </a:lnTo>
                    <a:lnTo>
                      <a:pt x="95" y="294"/>
                    </a:lnTo>
                    <a:lnTo>
                      <a:pt x="95" y="289"/>
                    </a:lnTo>
                    <a:lnTo>
                      <a:pt x="95" y="289"/>
                    </a:lnTo>
                    <a:lnTo>
                      <a:pt x="95" y="289"/>
                    </a:lnTo>
                    <a:lnTo>
                      <a:pt x="95" y="285"/>
                    </a:lnTo>
                    <a:lnTo>
                      <a:pt x="95" y="285"/>
                    </a:lnTo>
                    <a:lnTo>
                      <a:pt x="95" y="280"/>
                    </a:lnTo>
                    <a:lnTo>
                      <a:pt x="95" y="280"/>
                    </a:lnTo>
                    <a:lnTo>
                      <a:pt x="95" y="280"/>
                    </a:lnTo>
                    <a:lnTo>
                      <a:pt x="95" y="280"/>
                    </a:lnTo>
                    <a:lnTo>
                      <a:pt x="90" y="280"/>
                    </a:lnTo>
                    <a:lnTo>
                      <a:pt x="90" y="280"/>
                    </a:lnTo>
                    <a:lnTo>
                      <a:pt x="90" y="276"/>
                    </a:lnTo>
                    <a:lnTo>
                      <a:pt x="90" y="276"/>
                    </a:lnTo>
                    <a:lnTo>
                      <a:pt x="86" y="276"/>
                    </a:lnTo>
                    <a:lnTo>
                      <a:pt x="86" y="276"/>
                    </a:lnTo>
                    <a:lnTo>
                      <a:pt x="86" y="276"/>
                    </a:lnTo>
                    <a:lnTo>
                      <a:pt x="81" y="276"/>
                    </a:lnTo>
                    <a:lnTo>
                      <a:pt x="81" y="271"/>
                    </a:lnTo>
                    <a:lnTo>
                      <a:pt x="77" y="271"/>
                    </a:lnTo>
                    <a:lnTo>
                      <a:pt x="77" y="271"/>
                    </a:lnTo>
                    <a:lnTo>
                      <a:pt x="77" y="271"/>
                    </a:lnTo>
                    <a:lnTo>
                      <a:pt x="77" y="276"/>
                    </a:lnTo>
                    <a:lnTo>
                      <a:pt x="77" y="276"/>
                    </a:lnTo>
                    <a:lnTo>
                      <a:pt x="72" y="271"/>
                    </a:lnTo>
                    <a:lnTo>
                      <a:pt x="68" y="267"/>
                    </a:lnTo>
                    <a:lnTo>
                      <a:pt x="68" y="262"/>
                    </a:lnTo>
                    <a:lnTo>
                      <a:pt x="68" y="262"/>
                    </a:lnTo>
                    <a:lnTo>
                      <a:pt x="68" y="262"/>
                    </a:lnTo>
                    <a:lnTo>
                      <a:pt x="68" y="262"/>
                    </a:lnTo>
                    <a:lnTo>
                      <a:pt x="68" y="258"/>
                    </a:lnTo>
                    <a:lnTo>
                      <a:pt x="68" y="258"/>
                    </a:lnTo>
                    <a:lnTo>
                      <a:pt x="63" y="258"/>
                    </a:lnTo>
                    <a:lnTo>
                      <a:pt x="63" y="258"/>
                    </a:lnTo>
                    <a:lnTo>
                      <a:pt x="63" y="253"/>
                    </a:lnTo>
                    <a:lnTo>
                      <a:pt x="59" y="253"/>
                    </a:lnTo>
                    <a:lnTo>
                      <a:pt x="59" y="253"/>
                    </a:lnTo>
                    <a:lnTo>
                      <a:pt x="59" y="253"/>
                    </a:lnTo>
                    <a:lnTo>
                      <a:pt x="59" y="253"/>
                    </a:lnTo>
                    <a:lnTo>
                      <a:pt x="59" y="249"/>
                    </a:lnTo>
                    <a:lnTo>
                      <a:pt x="54" y="249"/>
                    </a:lnTo>
                    <a:lnTo>
                      <a:pt x="54" y="244"/>
                    </a:lnTo>
                    <a:lnTo>
                      <a:pt x="50" y="244"/>
                    </a:lnTo>
                    <a:lnTo>
                      <a:pt x="50" y="240"/>
                    </a:lnTo>
                    <a:lnTo>
                      <a:pt x="50" y="240"/>
                    </a:lnTo>
                    <a:lnTo>
                      <a:pt x="50" y="240"/>
                    </a:lnTo>
                    <a:lnTo>
                      <a:pt x="45" y="240"/>
                    </a:lnTo>
                    <a:lnTo>
                      <a:pt x="45" y="240"/>
                    </a:lnTo>
                    <a:lnTo>
                      <a:pt x="45" y="244"/>
                    </a:lnTo>
                    <a:lnTo>
                      <a:pt x="45" y="244"/>
                    </a:lnTo>
                    <a:lnTo>
                      <a:pt x="45" y="244"/>
                    </a:lnTo>
                    <a:lnTo>
                      <a:pt x="41" y="240"/>
                    </a:lnTo>
                    <a:lnTo>
                      <a:pt x="41" y="235"/>
                    </a:lnTo>
                    <a:lnTo>
                      <a:pt x="41" y="231"/>
                    </a:lnTo>
                    <a:lnTo>
                      <a:pt x="41" y="226"/>
                    </a:lnTo>
                    <a:lnTo>
                      <a:pt x="41" y="222"/>
                    </a:lnTo>
                    <a:lnTo>
                      <a:pt x="45" y="217"/>
                    </a:lnTo>
                    <a:lnTo>
                      <a:pt x="45" y="217"/>
                    </a:lnTo>
                    <a:lnTo>
                      <a:pt x="45" y="213"/>
                    </a:lnTo>
                    <a:lnTo>
                      <a:pt x="45" y="204"/>
                    </a:lnTo>
                    <a:lnTo>
                      <a:pt x="45" y="204"/>
                    </a:lnTo>
                    <a:lnTo>
                      <a:pt x="45" y="199"/>
                    </a:lnTo>
                    <a:lnTo>
                      <a:pt x="45" y="199"/>
                    </a:lnTo>
                    <a:lnTo>
                      <a:pt x="45" y="194"/>
                    </a:lnTo>
                    <a:lnTo>
                      <a:pt x="45" y="194"/>
                    </a:lnTo>
                    <a:lnTo>
                      <a:pt x="45" y="194"/>
                    </a:lnTo>
                    <a:lnTo>
                      <a:pt x="45" y="194"/>
                    </a:lnTo>
                    <a:lnTo>
                      <a:pt x="50" y="190"/>
                    </a:lnTo>
                    <a:lnTo>
                      <a:pt x="50" y="190"/>
                    </a:lnTo>
                    <a:lnTo>
                      <a:pt x="54" y="185"/>
                    </a:lnTo>
                    <a:lnTo>
                      <a:pt x="54" y="181"/>
                    </a:lnTo>
                    <a:lnTo>
                      <a:pt x="54" y="176"/>
                    </a:lnTo>
                    <a:lnTo>
                      <a:pt x="54" y="176"/>
                    </a:lnTo>
                    <a:lnTo>
                      <a:pt x="59" y="176"/>
                    </a:lnTo>
                    <a:lnTo>
                      <a:pt x="59" y="172"/>
                    </a:lnTo>
                    <a:lnTo>
                      <a:pt x="59" y="172"/>
                    </a:lnTo>
                    <a:lnTo>
                      <a:pt x="59" y="172"/>
                    </a:lnTo>
                    <a:lnTo>
                      <a:pt x="54" y="167"/>
                    </a:lnTo>
                    <a:lnTo>
                      <a:pt x="54" y="163"/>
                    </a:lnTo>
                    <a:lnTo>
                      <a:pt x="54" y="163"/>
                    </a:lnTo>
                    <a:lnTo>
                      <a:pt x="54" y="158"/>
                    </a:lnTo>
                    <a:lnTo>
                      <a:pt x="54" y="158"/>
                    </a:lnTo>
                    <a:lnTo>
                      <a:pt x="54" y="158"/>
                    </a:lnTo>
                    <a:lnTo>
                      <a:pt x="54" y="154"/>
                    </a:lnTo>
                    <a:lnTo>
                      <a:pt x="50" y="154"/>
                    </a:lnTo>
                    <a:lnTo>
                      <a:pt x="50" y="154"/>
                    </a:lnTo>
                    <a:lnTo>
                      <a:pt x="50" y="149"/>
                    </a:lnTo>
                    <a:lnTo>
                      <a:pt x="50" y="149"/>
                    </a:lnTo>
                    <a:lnTo>
                      <a:pt x="45" y="149"/>
                    </a:lnTo>
                    <a:lnTo>
                      <a:pt x="45" y="145"/>
                    </a:lnTo>
                    <a:lnTo>
                      <a:pt x="45" y="145"/>
                    </a:lnTo>
                    <a:lnTo>
                      <a:pt x="45" y="145"/>
                    </a:lnTo>
                    <a:lnTo>
                      <a:pt x="45" y="136"/>
                    </a:lnTo>
                    <a:lnTo>
                      <a:pt x="45" y="136"/>
                    </a:lnTo>
                    <a:lnTo>
                      <a:pt x="45" y="136"/>
                    </a:lnTo>
                    <a:lnTo>
                      <a:pt x="45" y="131"/>
                    </a:lnTo>
                    <a:lnTo>
                      <a:pt x="41" y="131"/>
                    </a:lnTo>
                    <a:lnTo>
                      <a:pt x="41" y="127"/>
                    </a:lnTo>
                    <a:lnTo>
                      <a:pt x="36" y="122"/>
                    </a:lnTo>
                    <a:lnTo>
                      <a:pt x="32" y="122"/>
                    </a:lnTo>
                    <a:lnTo>
                      <a:pt x="32" y="118"/>
                    </a:lnTo>
                    <a:lnTo>
                      <a:pt x="32" y="118"/>
                    </a:lnTo>
                    <a:lnTo>
                      <a:pt x="27" y="113"/>
                    </a:lnTo>
                    <a:lnTo>
                      <a:pt x="27" y="113"/>
                    </a:lnTo>
                    <a:lnTo>
                      <a:pt x="27" y="109"/>
                    </a:lnTo>
                    <a:lnTo>
                      <a:pt x="23" y="104"/>
                    </a:lnTo>
                    <a:lnTo>
                      <a:pt x="23" y="104"/>
                    </a:lnTo>
                    <a:lnTo>
                      <a:pt x="23" y="104"/>
                    </a:lnTo>
                    <a:lnTo>
                      <a:pt x="27" y="104"/>
                    </a:lnTo>
                    <a:lnTo>
                      <a:pt x="27" y="104"/>
                    </a:lnTo>
                    <a:lnTo>
                      <a:pt x="27" y="100"/>
                    </a:lnTo>
                    <a:lnTo>
                      <a:pt x="32" y="100"/>
                    </a:lnTo>
                    <a:lnTo>
                      <a:pt x="32" y="100"/>
                    </a:lnTo>
                    <a:lnTo>
                      <a:pt x="32" y="100"/>
                    </a:lnTo>
                    <a:lnTo>
                      <a:pt x="27" y="100"/>
                    </a:lnTo>
                    <a:lnTo>
                      <a:pt x="27" y="95"/>
                    </a:lnTo>
                    <a:lnTo>
                      <a:pt x="27" y="90"/>
                    </a:lnTo>
                    <a:lnTo>
                      <a:pt x="27" y="86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27" y="81"/>
                    </a:lnTo>
                    <a:lnTo>
                      <a:pt x="27" y="81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3" y="72"/>
                    </a:lnTo>
                    <a:lnTo>
                      <a:pt x="23" y="72"/>
                    </a:lnTo>
                    <a:lnTo>
                      <a:pt x="23" y="68"/>
                    </a:lnTo>
                    <a:lnTo>
                      <a:pt x="18" y="68"/>
                    </a:lnTo>
                    <a:lnTo>
                      <a:pt x="18" y="63"/>
                    </a:lnTo>
                    <a:lnTo>
                      <a:pt x="14" y="63"/>
                    </a:lnTo>
                    <a:lnTo>
                      <a:pt x="14" y="59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5" y="54"/>
                    </a:lnTo>
                    <a:lnTo>
                      <a:pt x="9" y="50"/>
                    </a:lnTo>
                    <a:lnTo>
                      <a:pt x="5" y="50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0" y="45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5" y="41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5" y="27"/>
                    </a:lnTo>
                    <a:lnTo>
                      <a:pt x="5" y="23"/>
                    </a:lnTo>
                    <a:lnTo>
                      <a:pt x="0" y="23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23" y="14"/>
                    </a:lnTo>
                    <a:lnTo>
                      <a:pt x="18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0"/>
                    </a:lnTo>
                    <a:lnTo>
                      <a:pt x="27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39" name="Freeform 160"/>
              <p:cNvSpPr>
                <a:spLocks/>
              </p:cNvSpPr>
              <p:nvPr/>
            </p:nvSpPr>
            <p:spPr bwMode="auto">
              <a:xfrm>
                <a:off x="5976938" y="1703389"/>
                <a:ext cx="207963" cy="130175"/>
              </a:xfrm>
              <a:custGeom>
                <a:avLst/>
                <a:gdLst>
                  <a:gd name="T0" fmla="*/ 41 w 131"/>
                  <a:gd name="T1" fmla="*/ 9 h 82"/>
                  <a:gd name="T2" fmla="*/ 45 w 131"/>
                  <a:gd name="T3" fmla="*/ 14 h 82"/>
                  <a:gd name="T4" fmla="*/ 45 w 131"/>
                  <a:gd name="T5" fmla="*/ 14 h 82"/>
                  <a:gd name="T6" fmla="*/ 41 w 131"/>
                  <a:gd name="T7" fmla="*/ 18 h 82"/>
                  <a:gd name="T8" fmla="*/ 27 w 131"/>
                  <a:gd name="T9" fmla="*/ 18 h 82"/>
                  <a:gd name="T10" fmla="*/ 27 w 131"/>
                  <a:gd name="T11" fmla="*/ 18 h 82"/>
                  <a:gd name="T12" fmla="*/ 27 w 131"/>
                  <a:gd name="T13" fmla="*/ 23 h 82"/>
                  <a:gd name="T14" fmla="*/ 36 w 131"/>
                  <a:gd name="T15" fmla="*/ 27 h 82"/>
                  <a:gd name="T16" fmla="*/ 41 w 131"/>
                  <a:gd name="T17" fmla="*/ 27 h 82"/>
                  <a:gd name="T18" fmla="*/ 50 w 131"/>
                  <a:gd name="T19" fmla="*/ 27 h 82"/>
                  <a:gd name="T20" fmla="*/ 59 w 131"/>
                  <a:gd name="T21" fmla="*/ 27 h 82"/>
                  <a:gd name="T22" fmla="*/ 63 w 131"/>
                  <a:gd name="T23" fmla="*/ 27 h 82"/>
                  <a:gd name="T24" fmla="*/ 68 w 131"/>
                  <a:gd name="T25" fmla="*/ 32 h 82"/>
                  <a:gd name="T26" fmla="*/ 72 w 131"/>
                  <a:gd name="T27" fmla="*/ 32 h 82"/>
                  <a:gd name="T28" fmla="*/ 81 w 131"/>
                  <a:gd name="T29" fmla="*/ 27 h 82"/>
                  <a:gd name="T30" fmla="*/ 91 w 131"/>
                  <a:gd name="T31" fmla="*/ 27 h 82"/>
                  <a:gd name="T32" fmla="*/ 95 w 131"/>
                  <a:gd name="T33" fmla="*/ 32 h 82"/>
                  <a:gd name="T34" fmla="*/ 100 w 131"/>
                  <a:gd name="T35" fmla="*/ 36 h 82"/>
                  <a:gd name="T36" fmla="*/ 104 w 131"/>
                  <a:gd name="T37" fmla="*/ 41 h 82"/>
                  <a:gd name="T38" fmla="*/ 109 w 131"/>
                  <a:gd name="T39" fmla="*/ 41 h 82"/>
                  <a:gd name="T40" fmla="*/ 122 w 131"/>
                  <a:gd name="T41" fmla="*/ 50 h 82"/>
                  <a:gd name="T42" fmla="*/ 127 w 131"/>
                  <a:gd name="T43" fmla="*/ 59 h 82"/>
                  <a:gd name="T44" fmla="*/ 131 w 131"/>
                  <a:gd name="T45" fmla="*/ 64 h 82"/>
                  <a:gd name="T46" fmla="*/ 127 w 131"/>
                  <a:gd name="T47" fmla="*/ 68 h 82"/>
                  <a:gd name="T48" fmla="*/ 118 w 131"/>
                  <a:gd name="T49" fmla="*/ 64 h 82"/>
                  <a:gd name="T50" fmla="*/ 109 w 131"/>
                  <a:gd name="T51" fmla="*/ 68 h 82"/>
                  <a:gd name="T52" fmla="*/ 109 w 131"/>
                  <a:gd name="T53" fmla="*/ 64 h 82"/>
                  <a:gd name="T54" fmla="*/ 100 w 131"/>
                  <a:gd name="T55" fmla="*/ 68 h 82"/>
                  <a:gd name="T56" fmla="*/ 86 w 131"/>
                  <a:gd name="T57" fmla="*/ 77 h 82"/>
                  <a:gd name="T58" fmla="*/ 77 w 131"/>
                  <a:gd name="T59" fmla="*/ 73 h 82"/>
                  <a:gd name="T60" fmla="*/ 72 w 131"/>
                  <a:gd name="T61" fmla="*/ 59 h 82"/>
                  <a:gd name="T62" fmla="*/ 68 w 131"/>
                  <a:gd name="T63" fmla="*/ 59 h 82"/>
                  <a:gd name="T64" fmla="*/ 54 w 131"/>
                  <a:gd name="T65" fmla="*/ 50 h 82"/>
                  <a:gd name="T66" fmla="*/ 50 w 131"/>
                  <a:gd name="T67" fmla="*/ 59 h 82"/>
                  <a:gd name="T68" fmla="*/ 50 w 131"/>
                  <a:gd name="T69" fmla="*/ 64 h 82"/>
                  <a:gd name="T70" fmla="*/ 41 w 131"/>
                  <a:gd name="T71" fmla="*/ 68 h 82"/>
                  <a:gd name="T72" fmla="*/ 41 w 131"/>
                  <a:gd name="T73" fmla="*/ 73 h 82"/>
                  <a:gd name="T74" fmla="*/ 32 w 131"/>
                  <a:gd name="T75" fmla="*/ 68 h 82"/>
                  <a:gd name="T76" fmla="*/ 32 w 131"/>
                  <a:gd name="T77" fmla="*/ 73 h 82"/>
                  <a:gd name="T78" fmla="*/ 23 w 131"/>
                  <a:gd name="T79" fmla="*/ 77 h 82"/>
                  <a:gd name="T80" fmla="*/ 18 w 131"/>
                  <a:gd name="T81" fmla="*/ 73 h 82"/>
                  <a:gd name="T82" fmla="*/ 18 w 131"/>
                  <a:gd name="T83" fmla="*/ 59 h 82"/>
                  <a:gd name="T84" fmla="*/ 18 w 131"/>
                  <a:gd name="T85" fmla="*/ 50 h 82"/>
                  <a:gd name="T86" fmla="*/ 14 w 131"/>
                  <a:gd name="T87" fmla="*/ 41 h 82"/>
                  <a:gd name="T88" fmla="*/ 5 w 131"/>
                  <a:gd name="T89" fmla="*/ 36 h 82"/>
                  <a:gd name="T90" fmla="*/ 0 w 131"/>
                  <a:gd name="T91" fmla="*/ 36 h 82"/>
                  <a:gd name="T92" fmla="*/ 5 w 131"/>
                  <a:gd name="T93" fmla="*/ 27 h 82"/>
                  <a:gd name="T94" fmla="*/ 14 w 131"/>
                  <a:gd name="T95" fmla="*/ 27 h 82"/>
                  <a:gd name="T96" fmla="*/ 18 w 131"/>
                  <a:gd name="T97" fmla="*/ 23 h 82"/>
                  <a:gd name="T98" fmla="*/ 18 w 131"/>
                  <a:gd name="T99" fmla="*/ 23 h 82"/>
                  <a:gd name="T100" fmla="*/ 18 w 131"/>
                  <a:gd name="T101" fmla="*/ 18 h 82"/>
                  <a:gd name="T102" fmla="*/ 18 w 131"/>
                  <a:gd name="T103" fmla="*/ 18 h 82"/>
                  <a:gd name="T104" fmla="*/ 23 w 131"/>
                  <a:gd name="T105" fmla="*/ 14 h 82"/>
                  <a:gd name="T106" fmla="*/ 23 w 131"/>
                  <a:gd name="T107" fmla="*/ 9 h 82"/>
                  <a:gd name="T108" fmla="*/ 23 w 131"/>
                  <a:gd name="T109" fmla="*/ 5 h 82"/>
                  <a:gd name="T110" fmla="*/ 32 w 131"/>
                  <a:gd name="T111" fmla="*/ 5 h 82"/>
                  <a:gd name="T112" fmla="*/ 41 w 131"/>
                  <a:gd name="T113" fmla="*/ 0 h 82"/>
                  <a:gd name="T114" fmla="*/ 45 w 131"/>
                  <a:gd name="T115" fmla="*/ 5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1" h="82">
                    <a:moveTo>
                      <a:pt x="45" y="5"/>
                    </a:moveTo>
                    <a:lnTo>
                      <a:pt x="45" y="5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14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45" y="14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2" y="14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63" y="23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27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2" y="27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77" y="27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91" y="27"/>
                    </a:lnTo>
                    <a:lnTo>
                      <a:pt x="91" y="27"/>
                    </a:lnTo>
                    <a:lnTo>
                      <a:pt x="91" y="27"/>
                    </a:lnTo>
                    <a:lnTo>
                      <a:pt x="95" y="27"/>
                    </a:lnTo>
                    <a:lnTo>
                      <a:pt x="95" y="27"/>
                    </a:lnTo>
                    <a:lnTo>
                      <a:pt x="95" y="27"/>
                    </a:lnTo>
                    <a:lnTo>
                      <a:pt x="95" y="27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1"/>
                    </a:lnTo>
                    <a:lnTo>
                      <a:pt x="104" y="41"/>
                    </a:lnTo>
                    <a:lnTo>
                      <a:pt x="104" y="41"/>
                    </a:lnTo>
                    <a:lnTo>
                      <a:pt x="104" y="45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09" y="41"/>
                    </a:lnTo>
                    <a:lnTo>
                      <a:pt x="109" y="41"/>
                    </a:lnTo>
                    <a:lnTo>
                      <a:pt x="109" y="41"/>
                    </a:lnTo>
                    <a:lnTo>
                      <a:pt x="109" y="41"/>
                    </a:lnTo>
                    <a:lnTo>
                      <a:pt x="113" y="41"/>
                    </a:lnTo>
                    <a:lnTo>
                      <a:pt x="118" y="45"/>
                    </a:lnTo>
                    <a:lnTo>
                      <a:pt x="122" y="45"/>
                    </a:lnTo>
                    <a:lnTo>
                      <a:pt x="122" y="45"/>
                    </a:lnTo>
                    <a:lnTo>
                      <a:pt x="122" y="50"/>
                    </a:lnTo>
                    <a:lnTo>
                      <a:pt x="122" y="50"/>
                    </a:lnTo>
                    <a:lnTo>
                      <a:pt x="122" y="50"/>
                    </a:lnTo>
                    <a:lnTo>
                      <a:pt x="122" y="55"/>
                    </a:lnTo>
                    <a:lnTo>
                      <a:pt x="127" y="55"/>
                    </a:lnTo>
                    <a:lnTo>
                      <a:pt x="127" y="59"/>
                    </a:lnTo>
                    <a:lnTo>
                      <a:pt x="127" y="59"/>
                    </a:lnTo>
                    <a:lnTo>
                      <a:pt x="127" y="59"/>
                    </a:lnTo>
                    <a:lnTo>
                      <a:pt x="127" y="59"/>
                    </a:lnTo>
                    <a:lnTo>
                      <a:pt x="127" y="64"/>
                    </a:lnTo>
                    <a:lnTo>
                      <a:pt x="127" y="64"/>
                    </a:lnTo>
                    <a:lnTo>
                      <a:pt x="127" y="64"/>
                    </a:lnTo>
                    <a:lnTo>
                      <a:pt x="131" y="64"/>
                    </a:lnTo>
                    <a:lnTo>
                      <a:pt x="131" y="64"/>
                    </a:lnTo>
                    <a:lnTo>
                      <a:pt x="131" y="68"/>
                    </a:lnTo>
                    <a:lnTo>
                      <a:pt x="131" y="68"/>
                    </a:lnTo>
                    <a:lnTo>
                      <a:pt x="127" y="68"/>
                    </a:lnTo>
                    <a:lnTo>
                      <a:pt x="127" y="68"/>
                    </a:lnTo>
                    <a:lnTo>
                      <a:pt x="127" y="68"/>
                    </a:lnTo>
                    <a:lnTo>
                      <a:pt x="127" y="68"/>
                    </a:lnTo>
                    <a:lnTo>
                      <a:pt x="127" y="68"/>
                    </a:lnTo>
                    <a:lnTo>
                      <a:pt x="122" y="64"/>
                    </a:lnTo>
                    <a:lnTo>
                      <a:pt x="122" y="68"/>
                    </a:lnTo>
                    <a:lnTo>
                      <a:pt x="122" y="64"/>
                    </a:lnTo>
                    <a:lnTo>
                      <a:pt x="118" y="64"/>
                    </a:lnTo>
                    <a:lnTo>
                      <a:pt x="118" y="64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13" y="68"/>
                    </a:lnTo>
                    <a:lnTo>
                      <a:pt x="113" y="68"/>
                    </a:lnTo>
                    <a:lnTo>
                      <a:pt x="109" y="68"/>
                    </a:lnTo>
                    <a:lnTo>
                      <a:pt x="109" y="68"/>
                    </a:lnTo>
                    <a:lnTo>
                      <a:pt x="109" y="68"/>
                    </a:lnTo>
                    <a:lnTo>
                      <a:pt x="109" y="68"/>
                    </a:lnTo>
                    <a:lnTo>
                      <a:pt x="109" y="68"/>
                    </a:lnTo>
                    <a:lnTo>
                      <a:pt x="109" y="68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8"/>
                    </a:lnTo>
                    <a:lnTo>
                      <a:pt x="95" y="68"/>
                    </a:lnTo>
                    <a:lnTo>
                      <a:pt x="95" y="73"/>
                    </a:lnTo>
                    <a:lnTo>
                      <a:pt x="95" y="73"/>
                    </a:lnTo>
                    <a:lnTo>
                      <a:pt x="91" y="73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1" y="82"/>
                    </a:lnTo>
                    <a:lnTo>
                      <a:pt x="81" y="82"/>
                    </a:lnTo>
                    <a:lnTo>
                      <a:pt x="81" y="82"/>
                    </a:lnTo>
                    <a:lnTo>
                      <a:pt x="81" y="82"/>
                    </a:lnTo>
                    <a:lnTo>
                      <a:pt x="77" y="77"/>
                    </a:lnTo>
                    <a:lnTo>
                      <a:pt x="77" y="73"/>
                    </a:lnTo>
                    <a:lnTo>
                      <a:pt x="72" y="73"/>
                    </a:lnTo>
                    <a:lnTo>
                      <a:pt x="72" y="68"/>
                    </a:lnTo>
                    <a:lnTo>
                      <a:pt x="72" y="68"/>
                    </a:lnTo>
                    <a:lnTo>
                      <a:pt x="72" y="64"/>
                    </a:lnTo>
                    <a:lnTo>
                      <a:pt x="72" y="59"/>
                    </a:lnTo>
                    <a:lnTo>
                      <a:pt x="72" y="59"/>
                    </a:lnTo>
                    <a:lnTo>
                      <a:pt x="72" y="59"/>
                    </a:lnTo>
                    <a:lnTo>
                      <a:pt x="72" y="59"/>
                    </a:lnTo>
                    <a:lnTo>
                      <a:pt x="72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5"/>
                    </a:lnTo>
                    <a:lnTo>
                      <a:pt x="68" y="55"/>
                    </a:lnTo>
                    <a:lnTo>
                      <a:pt x="63" y="50"/>
                    </a:lnTo>
                    <a:lnTo>
                      <a:pt x="63" y="50"/>
                    </a:lnTo>
                    <a:lnTo>
                      <a:pt x="59" y="45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4" y="55"/>
                    </a:lnTo>
                    <a:lnTo>
                      <a:pt x="54" y="55"/>
                    </a:lnTo>
                    <a:lnTo>
                      <a:pt x="54" y="55"/>
                    </a:lnTo>
                    <a:lnTo>
                      <a:pt x="50" y="59"/>
                    </a:lnTo>
                    <a:lnTo>
                      <a:pt x="50" y="59"/>
                    </a:lnTo>
                    <a:lnTo>
                      <a:pt x="50" y="59"/>
                    </a:lnTo>
                    <a:lnTo>
                      <a:pt x="54" y="59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45" y="64"/>
                    </a:lnTo>
                    <a:lnTo>
                      <a:pt x="45" y="64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41" y="68"/>
                    </a:lnTo>
                    <a:lnTo>
                      <a:pt x="41" y="68"/>
                    </a:lnTo>
                    <a:lnTo>
                      <a:pt x="41" y="73"/>
                    </a:lnTo>
                    <a:lnTo>
                      <a:pt x="41" y="73"/>
                    </a:lnTo>
                    <a:lnTo>
                      <a:pt x="41" y="73"/>
                    </a:lnTo>
                    <a:lnTo>
                      <a:pt x="41" y="73"/>
                    </a:lnTo>
                    <a:lnTo>
                      <a:pt x="41" y="73"/>
                    </a:lnTo>
                    <a:lnTo>
                      <a:pt x="36" y="73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2" y="73"/>
                    </a:lnTo>
                    <a:lnTo>
                      <a:pt x="32" y="73"/>
                    </a:lnTo>
                    <a:lnTo>
                      <a:pt x="32" y="73"/>
                    </a:lnTo>
                    <a:lnTo>
                      <a:pt x="32" y="73"/>
                    </a:lnTo>
                    <a:lnTo>
                      <a:pt x="32" y="73"/>
                    </a:lnTo>
                    <a:lnTo>
                      <a:pt x="27" y="73"/>
                    </a:lnTo>
                    <a:lnTo>
                      <a:pt x="27" y="73"/>
                    </a:lnTo>
                    <a:lnTo>
                      <a:pt x="27" y="73"/>
                    </a:lnTo>
                    <a:lnTo>
                      <a:pt x="27" y="77"/>
                    </a:lnTo>
                    <a:lnTo>
                      <a:pt x="27" y="77"/>
                    </a:lnTo>
                    <a:lnTo>
                      <a:pt x="23" y="77"/>
                    </a:lnTo>
                    <a:lnTo>
                      <a:pt x="23" y="77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8" y="64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8" y="55"/>
                    </a:lnTo>
                    <a:lnTo>
                      <a:pt x="23" y="55"/>
                    </a:lnTo>
                    <a:lnTo>
                      <a:pt x="23" y="55"/>
                    </a:lnTo>
                    <a:lnTo>
                      <a:pt x="18" y="55"/>
                    </a:lnTo>
                    <a:lnTo>
                      <a:pt x="18" y="55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4" y="50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8" y="27"/>
                    </a:lnTo>
                    <a:lnTo>
                      <a:pt x="18" y="23"/>
                    </a:lnTo>
                    <a:lnTo>
                      <a:pt x="14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5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40" name="Freeform 161"/>
              <p:cNvSpPr>
                <a:spLocks/>
              </p:cNvSpPr>
              <p:nvPr/>
            </p:nvSpPr>
            <p:spPr bwMode="auto">
              <a:xfrm>
                <a:off x="5589588" y="1660526"/>
                <a:ext cx="381000" cy="222250"/>
              </a:xfrm>
              <a:custGeom>
                <a:avLst/>
                <a:gdLst>
                  <a:gd name="T0" fmla="*/ 100 w 240"/>
                  <a:gd name="T1" fmla="*/ 5 h 140"/>
                  <a:gd name="T2" fmla="*/ 113 w 240"/>
                  <a:gd name="T3" fmla="*/ 9 h 140"/>
                  <a:gd name="T4" fmla="*/ 113 w 240"/>
                  <a:gd name="T5" fmla="*/ 14 h 140"/>
                  <a:gd name="T6" fmla="*/ 118 w 240"/>
                  <a:gd name="T7" fmla="*/ 18 h 140"/>
                  <a:gd name="T8" fmla="*/ 118 w 240"/>
                  <a:gd name="T9" fmla="*/ 23 h 140"/>
                  <a:gd name="T10" fmla="*/ 131 w 240"/>
                  <a:gd name="T11" fmla="*/ 27 h 140"/>
                  <a:gd name="T12" fmla="*/ 140 w 240"/>
                  <a:gd name="T13" fmla="*/ 27 h 140"/>
                  <a:gd name="T14" fmla="*/ 154 w 240"/>
                  <a:gd name="T15" fmla="*/ 32 h 140"/>
                  <a:gd name="T16" fmla="*/ 163 w 240"/>
                  <a:gd name="T17" fmla="*/ 50 h 140"/>
                  <a:gd name="T18" fmla="*/ 185 w 240"/>
                  <a:gd name="T19" fmla="*/ 63 h 140"/>
                  <a:gd name="T20" fmla="*/ 208 w 240"/>
                  <a:gd name="T21" fmla="*/ 72 h 140"/>
                  <a:gd name="T22" fmla="*/ 226 w 240"/>
                  <a:gd name="T23" fmla="*/ 82 h 140"/>
                  <a:gd name="T24" fmla="*/ 240 w 240"/>
                  <a:gd name="T25" fmla="*/ 86 h 140"/>
                  <a:gd name="T26" fmla="*/ 240 w 240"/>
                  <a:gd name="T27" fmla="*/ 100 h 140"/>
                  <a:gd name="T28" fmla="*/ 226 w 240"/>
                  <a:gd name="T29" fmla="*/ 95 h 140"/>
                  <a:gd name="T30" fmla="*/ 213 w 240"/>
                  <a:gd name="T31" fmla="*/ 104 h 140"/>
                  <a:gd name="T32" fmla="*/ 213 w 240"/>
                  <a:gd name="T33" fmla="*/ 118 h 140"/>
                  <a:gd name="T34" fmla="*/ 204 w 240"/>
                  <a:gd name="T35" fmla="*/ 122 h 140"/>
                  <a:gd name="T36" fmla="*/ 194 w 240"/>
                  <a:gd name="T37" fmla="*/ 131 h 140"/>
                  <a:gd name="T38" fmla="*/ 190 w 240"/>
                  <a:gd name="T39" fmla="*/ 136 h 140"/>
                  <a:gd name="T40" fmla="*/ 181 w 240"/>
                  <a:gd name="T41" fmla="*/ 140 h 140"/>
                  <a:gd name="T42" fmla="*/ 176 w 240"/>
                  <a:gd name="T43" fmla="*/ 136 h 140"/>
                  <a:gd name="T44" fmla="*/ 163 w 240"/>
                  <a:gd name="T45" fmla="*/ 131 h 140"/>
                  <a:gd name="T46" fmla="*/ 163 w 240"/>
                  <a:gd name="T47" fmla="*/ 127 h 140"/>
                  <a:gd name="T48" fmla="*/ 158 w 240"/>
                  <a:gd name="T49" fmla="*/ 113 h 140"/>
                  <a:gd name="T50" fmla="*/ 131 w 240"/>
                  <a:gd name="T51" fmla="*/ 104 h 140"/>
                  <a:gd name="T52" fmla="*/ 127 w 240"/>
                  <a:gd name="T53" fmla="*/ 95 h 140"/>
                  <a:gd name="T54" fmla="*/ 113 w 240"/>
                  <a:gd name="T55" fmla="*/ 95 h 140"/>
                  <a:gd name="T56" fmla="*/ 100 w 240"/>
                  <a:gd name="T57" fmla="*/ 91 h 140"/>
                  <a:gd name="T58" fmla="*/ 91 w 240"/>
                  <a:gd name="T59" fmla="*/ 86 h 140"/>
                  <a:gd name="T60" fmla="*/ 77 w 240"/>
                  <a:gd name="T61" fmla="*/ 86 h 140"/>
                  <a:gd name="T62" fmla="*/ 73 w 240"/>
                  <a:gd name="T63" fmla="*/ 86 h 140"/>
                  <a:gd name="T64" fmla="*/ 54 w 240"/>
                  <a:gd name="T65" fmla="*/ 95 h 140"/>
                  <a:gd name="T66" fmla="*/ 45 w 240"/>
                  <a:gd name="T67" fmla="*/ 104 h 140"/>
                  <a:gd name="T68" fmla="*/ 36 w 240"/>
                  <a:gd name="T69" fmla="*/ 86 h 140"/>
                  <a:gd name="T70" fmla="*/ 32 w 240"/>
                  <a:gd name="T71" fmla="*/ 72 h 140"/>
                  <a:gd name="T72" fmla="*/ 23 w 240"/>
                  <a:gd name="T73" fmla="*/ 63 h 140"/>
                  <a:gd name="T74" fmla="*/ 23 w 240"/>
                  <a:gd name="T75" fmla="*/ 59 h 140"/>
                  <a:gd name="T76" fmla="*/ 23 w 240"/>
                  <a:gd name="T77" fmla="*/ 59 h 140"/>
                  <a:gd name="T78" fmla="*/ 14 w 240"/>
                  <a:gd name="T79" fmla="*/ 54 h 140"/>
                  <a:gd name="T80" fmla="*/ 9 w 240"/>
                  <a:gd name="T81" fmla="*/ 45 h 140"/>
                  <a:gd name="T82" fmla="*/ 14 w 240"/>
                  <a:gd name="T83" fmla="*/ 36 h 140"/>
                  <a:gd name="T84" fmla="*/ 23 w 240"/>
                  <a:gd name="T85" fmla="*/ 41 h 140"/>
                  <a:gd name="T86" fmla="*/ 32 w 240"/>
                  <a:gd name="T87" fmla="*/ 36 h 140"/>
                  <a:gd name="T88" fmla="*/ 36 w 240"/>
                  <a:gd name="T89" fmla="*/ 36 h 140"/>
                  <a:gd name="T90" fmla="*/ 27 w 240"/>
                  <a:gd name="T91" fmla="*/ 23 h 140"/>
                  <a:gd name="T92" fmla="*/ 18 w 240"/>
                  <a:gd name="T93" fmla="*/ 14 h 140"/>
                  <a:gd name="T94" fmla="*/ 5 w 240"/>
                  <a:gd name="T95" fmla="*/ 23 h 140"/>
                  <a:gd name="T96" fmla="*/ 5 w 240"/>
                  <a:gd name="T97" fmla="*/ 27 h 140"/>
                  <a:gd name="T98" fmla="*/ 9 w 240"/>
                  <a:gd name="T99" fmla="*/ 9 h 140"/>
                  <a:gd name="T100" fmla="*/ 27 w 240"/>
                  <a:gd name="T101" fmla="*/ 9 h 140"/>
                  <a:gd name="T102" fmla="*/ 41 w 240"/>
                  <a:gd name="T103" fmla="*/ 23 h 140"/>
                  <a:gd name="T104" fmla="*/ 50 w 240"/>
                  <a:gd name="T105" fmla="*/ 27 h 140"/>
                  <a:gd name="T106" fmla="*/ 68 w 240"/>
                  <a:gd name="T107" fmla="*/ 27 h 140"/>
                  <a:gd name="T108" fmla="*/ 73 w 240"/>
                  <a:gd name="T109" fmla="*/ 27 h 140"/>
                  <a:gd name="T110" fmla="*/ 73 w 240"/>
                  <a:gd name="T111" fmla="*/ 14 h 140"/>
                  <a:gd name="T112" fmla="*/ 82 w 240"/>
                  <a:gd name="T113" fmla="*/ 5 h 140"/>
                  <a:gd name="T114" fmla="*/ 86 w 240"/>
                  <a:gd name="T115" fmla="*/ 5 h 140"/>
                  <a:gd name="T116" fmla="*/ 91 w 240"/>
                  <a:gd name="T117" fmla="*/ 5 h 140"/>
                  <a:gd name="T118" fmla="*/ 86 w 240"/>
                  <a:gd name="T119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40" h="140">
                    <a:moveTo>
                      <a:pt x="91" y="0"/>
                    </a:moveTo>
                    <a:lnTo>
                      <a:pt x="91" y="0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4" y="5"/>
                    </a:lnTo>
                    <a:lnTo>
                      <a:pt x="104" y="5"/>
                    </a:lnTo>
                    <a:lnTo>
                      <a:pt x="104" y="5"/>
                    </a:lnTo>
                    <a:lnTo>
                      <a:pt x="109" y="5"/>
                    </a:lnTo>
                    <a:lnTo>
                      <a:pt x="113" y="5"/>
                    </a:lnTo>
                    <a:lnTo>
                      <a:pt x="113" y="9"/>
                    </a:lnTo>
                    <a:lnTo>
                      <a:pt x="113" y="9"/>
                    </a:lnTo>
                    <a:lnTo>
                      <a:pt x="113" y="9"/>
                    </a:lnTo>
                    <a:lnTo>
                      <a:pt x="113" y="9"/>
                    </a:lnTo>
                    <a:lnTo>
                      <a:pt x="113" y="9"/>
                    </a:lnTo>
                    <a:lnTo>
                      <a:pt x="113" y="9"/>
                    </a:lnTo>
                    <a:lnTo>
                      <a:pt x="113" y="14"/>
                    </a:lnTo>
                    <a:lnTo>
                      <a:pt x="113" y="14"/>
                    </a:lnTo>
                    <a:lnTo>
                      <a:pt x="113" y="14"/>
                    </a:lnTo>
                    <a:lnTo>
                      <a:pt x="113" y="14"/>
                    </a:lnTo>
                    <a:lnTo>
                      <a:pt x="118" y="14"/>
                    </a:lnTo>
                    <a:lnTo>
                      <a:pt x="118" y="14"/>
                    </a:lnTo>
                    <a:lnTo>
                      <a:pt x="118" y="14"/>
                    </a:lnTo>
                    <a:lnTo>
                      <a:pt x="118" y="14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18" y="23"/>
                    </a:lnTo>
                    <a:lnTo>
                      <a:pt x="118" y="23"/>
                    </a:lnTo>
                    <a:lnTo>
                      <a:pt x="118" y="23"/>
                    </a:lnTo>
                    <a:lnTo>
                      <a:pt x="118" y="23"/>
                    </a:lnTo>
                    <a:lnTo>
                      <a:pt x="122" y="23"/>
                    </a:lnTo>
                    <a:lnTo>
                      <a:pt x="127" y="27"/>
                    </a:lnTo>
                    <a:lnTo>
                      <a:pt x="127" y="27"/>
                    </a:lnTo>
                    <a:lnTo>
                      <a:pt x="131" y="27"/>
                    </a:lnTo>
                    <a:lnTo>
                      <a:pt x="131" y="27"/>
                    </a:lnTo>
                    <a:lnTo>
                      <a:pt x="131" y="27"/>
                    </a:lnTo>
                    <a:lnTo>
                      <a:pt x="136" y="27"/>
                    </a:lnTo>
                    <a:lnTo>
                      <a:pt x="136" y="27"/>
                    </a:lnTo>
                    <a:lnTo>
                      <a:pt x="140" y="27"/>
                    </a:lnTo>
                    <a:lnTo>
                      <a:pt x="140" y="27"/>
                    </a:lnTo>
                    <a:lnTo>
                      <a:pt x="140" y="27"/>
                    </a:lnTo>
                    <a:lnTo>
                      <a:pt x="140" y="27"/>
                    </a:lnTo>
                    <a:lnTo>
                      <a:pt x="140" y="27"/>
                    </a:lnTo>
                    <a:lnTo>
                      <a:pt x="140" y="27"/>
                    </a:lnTo>
                    <a:lnTo>
                      <a:pt x="145" y="27"/>
                    </a:lnTo>
                    <a:lnTo>
                      <a:pt x="145" y="27"/>
                    </a:lnTo>
                    <a:lnTo>
                      <a:pt x="149" y="27"/>
                    </a:lnTo>
                    <a:lnTo>
                      <a:pt x="149" y="32"/>
                    </a:lnTo>
                    <a:lnTo>
                      <a:pt x="154" y="32"/>
                    </a:lnTo>
                    <a:lnTo>
                      <a:pt x="154" y="36"/>
                    </a:lnTo>
                    <a:lnTo>
                      <a:pt x="158" y="41"/>
                    </a:lnTo>
                    <a:lnTo>
                      <a:pt x="158" y="41"/>
                    </a:lnTo>
                    <a:lnTo>
                      <a:pt x="158" y="41"/>
                    </a:lnTo>
                    <a:lnTo>
                      <a:pt x="163" y="50"/>
                    </a:lnTo>
                    <a:lnTo>
                      <a:pt x="163" y="50"/>
                    </a:lnTo>
                    <a:lnTo>
                      <a:pt x="163" y="50"/>
                    </a:lnTo>
                    <a:lnTo>
                      <a:pt x="167" y="50"/>
                    </a:lnTo>
                    <a:lnTo>
                      <a:pt x="172" y="54"/>
                    </a:lnTo>
                    <a:lnTo>
                      <a:pt x="176" y="54"/>
                    </a:lnTo>
                    <a:lnTo>
                      <a:pt x="176" y="59"/>
                    </a:lnTo>
                    <a:lnTo>
                      <a:pt x="181" y="59"/>
                    </a:lnTo>
                    <a:lnTo>
                      <a:pt x="185" y="63"/>
                    </a:lnTo>
                    <a:lnTo>
                      <a:pt x="185" y="63"/>
                    </a:lnTo>
                    <a:lnTo>
                      <a:pt x="190" y="68"/>
                    </a:lnTo>
                    <a:lnTo>
                      <a:pt x="194" y="68"/>
                    </a:lnTo>
                    <a:lnTo>
                      <a:pt x="199" y="68"/>
                    </a:lnTo>
                    <a:lnTo>
                      <a:pt x="204" y="72"/>
                    </a:lnTo>
                    <a:lnTo>
                      <a:pt x="204" y="72"/>
                    </a:lnTo>
                    <a:lnTo>
                      <a:pt x="204" y="72"/>
                    </a:lnTo>
                    <a:lnTo>
                      <a:pt x="208" y="72"/>
                    </a:lnTo>
                    <a:lnTo>
                      <a:pt x="213" y="77"/>
                    </a:lnTo>
                    <a:lnTo>
                      <a:pt x="217" y="77"/>
                    </a:lnTo>
                    <a:lnTo>
                      <a:pt x="222" y="82"/>
                    </a:lnTo>
                    <a:lnTo>
                      <a:pt x="222" y="82"/>
                    </a:lnTo>
                    <a:lnTo>
                      <a:pt x="222" y="82"/>
                    </a:lnTo>
                    <a:lnTo>
                      <a:pt x="226" y="82"/>
                    </a:lnTo>
                    <a:lnTo>
                      <a:pt x="226" y="82"/>
                    </a:lnTo>
                    <a:lnTo>
                      <a:pt x="226" y="82"/>
                    </a:lnTo>
                    <a:lnTo>
                      <a:pt x="231" y="82"/>
                    </a:lnTo>
                    <a:lnTo>
                      <a:pt x="231" y="82"/>
                    </a:lnTo>
                    <a:lnTo>
                      <a:pt x="231" y="82"/>
                    </a:lnTo>
                    <a:lnTo>
                      <a:pt x="235" y="86"/>
                    </a:lnTo>
                    <a:lnTo>
                      <a:pt x="235" y="86"/>
                    </a:lnTo>
                    <a:lnTo>
                      <a:pt x="240" y="86"/>
                    </a:lnTo>
                    <a:lnTo>
                      <a:pt x="240" y="86"/>
                    </a:lnTo>
                    <a:lnTo>
                      <a:pt x="240" y="86"/>
                    </a:lnTo>
                    <a:lnTo>
                      <a:pt x="240" y="86"/>
                    </a:lnTo>
                    <a:lnTo>
                      <a:pt x="240" y="91"/>
                    </a:lnTo>
                    <a:lnTo>
                      <a:pt x="240" y="91"/>
                    </a:lnTo>
                    <a:lnTo>
                      <a:pt x="240" y="95"/>
                    </a:lnTo>
                    <a:lnTo>
                      <a:pt x="240" y="100"/>
                    </a:lnTo>
                    <a:lnTo>
                      <a:pt x="240" y="100"/>
                    </a:lnTo>
                    <a:lnTo>
                      <a:pt x="235" y="95"/>
                    </a:lnTo>
                    <a:lnTo>
                      <a:pt x="235" y="95"/>
                    </a:lnTo>
                    <a:lnTo>
                      <a:pt x="231" y="95"/>
                    </a:lnTo>
                    <a:lnTo>
                      <a:pt x="226" y="95"/>
                    </a:lnTo>
                    <a:lnTo>
                      <a:pt x="226" y="95"/>
                    </a:lnTo>
                    <a:lnTo>
                      <a:pt x="226" y="95"/>
                    </a:lnTo>
                    <a:lnTo>
                      <a:pt x="226" y="95"/>
                    </a:lnTo>
                    <a:lnTo>
                      <a:pt x="226" y="100"/>
                    </a:lnTo>
                    <a:lnTo>
                      <a:pt x="226" y="100"/>
                    </a:lnTo>
                    <a:lnTo>
                      <a:pt x="222" y="100"/>
                    </a:lnTo>
                    <a:lnTo>
                      <a:pt x="217" y="100"/>
                    </a:lnTo>
                    <a:lnTo>
                      <a:pt x="217" y="100"/>
                    </a:lnTo>
                    <a:lnTo>
                      <a:pt x="213" y="104"/>
                    </a:lnTo>
                    <a:lnTo>
                      <a:pt x="213" y="104"/>
                    </a:lnTo>
                    <a:lnTo>
                      <a:pt x="213" y="104"/>
                    </a:lnTo>
                    <a:lnTo>
                      <a:pt x="213" y="109"/>
                    </a:lnTo>
                    <a:lnTo>
                      <a:pt x="213" y="113"/>
                    </a:lnTo>
                    <a:lnTo>
                      <a:pt x="213" y="118"/>
                    </a:lnTo>
                    <a:lnTo>
                      <a:pt x="213" y="118"/>
                    </a:lnTo>
                    <a:lnTo>
                      <a:pt x="213" y="118"/>
                    </a:lnTo>
                    <a:lnTo>
                      <a:pt x="208" y="122"/>
                    </a:lnTo>
                    <a:lnTo>
                      <a:pt x="208" y="122"/>
                    </a:lnTo>
                    <a:lnTo>
                      <a:pt x="208" y="122"/>
                    </a:lnTo>
                    <a:lnTo>
                      <a:pt x="208" y="122"/>
                    </a:lnTo>
                    <a:lnTo>
                      <a:pt x="208" y="122"/>
                    </a:lnTo>
                    <a:lnTo>
                      <a:pt x="204" y="122"/>
                    </a:lnTo>
                    <a:lnTo>
                      <a:pt x="204" y="122"/>
                    </a:lnTo>
                    <a:lnTo>
                      <a:pt x="204" y="127"/>
                    </a:lnTo>
                    <a:lnTo>
                      <a:pt x="199" y="127"/>
                    </a:lnTo>
                    <a:lnTo>
                      <a:pt x="194" y="127"/>
                    </a:lnTo>
                    <a:lnTo>
                      <a:pt x="194" y="127"/>
                    </a:lnTo>
                    <a:lnTo>
                      <a:pt x="194" y="127"/>
                    </a:lnTo>
                    <a:lnTo>
                      <a:pt x="194" y="127"/>
                    </a:lnTo>
                    <a:lnTo>
                      <a:pt x="194" y="131"/>
                    </a:lnTo>
                    <a:lnTo>
                      <a:pt x="194" y="131"/>
                    </a:lnTo>
                    <a:lnTo>
                      <a:pt x="194" y="131"/>
                    </a:lnTo>
                    <a:lnTo>
                      <a:pt x="194" y="131"/>
                    </a:lnTo>
                    <a:lnTo>
                      <a:pt x="194" y="131"/>
                    </a:lnTo>
                    <a:lnTo>
                      <a:pt x="194" y="136"/>
                    </a:lnTo>
                    <a:lnTo>
                      <a:pt x="194" y="136"/>
                    </a:lnTo>
                    <a:lnTo>
                      <a:pt x="190" y="136"/>
                    </a:lnTo>
                    <a:lnTo>
                      <a:pt x="190" y="140"/>
                    </a:lnTo>
                    <a:lnTo>
                      <a:pt x="190" y="140"/>
                    </a:lnTo>
                    <a:lnTo>
                      <a:pt x="185" y="140"/>
                    </a:lnTo>
                    <a:lnTo>
                      <a:pt x="185" y="140"/>
                    </a:lnTo>
                    <a:lnTo>
                      <a:pt x="185" y="140"/>
                    </a:lnTo>
                    <a:lnTo>
                      <a:pt x="185" y="140"/>
                    </a:lnTo>
                    <a:lnTo>
                      <a:pt x="181" y="140"/>
                    </a:lnTo>
                    <a:lnTo>
                      <a:pt x="181" y="140"/>
                    </a:lnTo>
                    <a:lnTo>
                      <a:pt x="181" y="140"/>
                    </a:lnTo>
                    <a:lnTo>
                      <a:pt x="181" y="140"/>
                    </a:lnTo>
                    <a:lnTo>
                      <a:pt x="176" y="136"/>
                    </a:lnTo>
                    <a:lnTo>
                      <a:pt x="176" y="136"/>
                    </a:lnTo>
                    <a:lnTo>
                      <a:pt x="176" y="136"/>
                    </a:lnTo>
                    <a:lnTo>
                      <a:pt x="176" y="136"/>
                    </a:lnTo>
                    <a:lnTo>
                      <a:pt x="172" y="136"/>
                    </a:lnTo>
                    <a:lnTo>
                      <a:pt x="172" y="136"/>
                    </a:lnTo>
                    <a:lnTo>
                      <a:pt x="167" y="136"/>
                    </a:lnTo>
                    <a:lnTo>
                      <a:pt x="167" y="136"/>
                    </a:lnTo>
                    <a:lnTo>
                      <a:pt x="167" y="131"/>
                    </a:lnTo>
                    <a:lnTo>
                      <a:pt x="167" y="131"/>
                    </a:lnTo>
                    <a:lnTo>
                      <a:pt x="163" y="131"/>
                    </a:lnTo>
                    <a:lnTo>
                      <a:pt x="163" y="131"/>
                    </a:lnTo>
                    <a:lnTo>
                      <a:pt x="163" y="131"/>
                    </a:lnTo>
                    <a:lnTo>
                      <a:pt x="163" y="131"/>
                    </a:lnTo>
                    <a:lnTo>
                      <a:pt x="163" y="127"/>
                    </a:lnTo>
                    <a:lnTo>
                      <a:pt x="163" y="127"/>
                    </a:lnTo>
                    <a:lnTo>
                      <a:pt x="163" y="127"/>
                    </a:lnTo>
                    <a:lnTo>
                      <a:pt x="163" y="127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58" y="118"/>
                    </a:lnTo>
                    <a:lnTo>
                      <a:pt x="158" y="118"/>
                    </a:lnTo>
                    <a:lnTo>
                      <a:pt x="158" y="113"/>
                    </a:lnTo>
                    <a:lnTo>
                      <a:pt x="158" y="113"/>
                    </a:lnTo>
                    <a:lnTo>
                      <a:pt x="149" y="113"/>
                    </a:lnTo>
                    <a:lnTo>
                      <a:pt x="145" y="113"/>
                    </a:lnTo>
                    <a:lnTo>
                      <a:pt x="145" y="113"/>
                    </a:lnTo>
                    <a:lnTo>
                      <a:pt x="140" y="109"/>
                    </a:lnTo>
                    <a:lnTo>
                      <a:pt x="140" y="109"/>
                    </a:lnTo>
                    <a:lnTo>
                      <a:pt x="136" y="104"/>
                    </a:lnTo>
                    <a:lnTo>
                      <a:pt x="131" y="104"/>
                    </a:lnTo>
                    <a:lnTo>
                      <a:pt x="131" y="104"/>
                    </a:lnTo>
                    <a:lnTo>
                      <a:pt x="127" y="104"/>
                    </a:lnTo>
                    <a:lnTo>
                      <a:pt x="127" y="100"/>
                    </a:lnTo>
                    <a:lnTo>
                      <a:pt x="127" y="100"/>
                    </a:lnTo>
                    <a:lnTo>
                      <a:pt x="127" y="100"/>
                    </a:lnTo>
                    <a:lnTo>
                      <a:pt x="127" y="100"/>
                    </a:lnTo>
                    <a:lnTo>
                      <a:pt x="127" y="95"/>
                    </a:lnTo>
                    <a:lnTo>
                      <a:pt x="122" y="100"/>
                    </a:lnTo>
                    <a:lnTo>
                      <a:pt x="118" y="95"/>
                    </a:lnTo>
                    <a:lnTo>
                      <a:pt x="118" y="95"/>
                    </a:lnTo>
                    <a:lnTo>
                      <a:pt x="113" y="95"/>
                    </a:lnTo>
                    <a:lnTo>
                      <a:pt x="113" y="95"/>
                    </a:lnTo>
                    <a:lnTo>
                      <a:pt x="113" y="95"/>
                    </a:lnTo>
                    <a:lnTo>
                      <a:pt x="113" y="95"/>
                    </a:lnTo>
                    <a:lnTo>
                      <a:pt x="109" y="95"/>
                    </a:lnTo>
                    <a:lnTo>
                      <a:pt x="109" y="95"/>
                    </a:lnTo>
                    <a:lnTo>
                      <a:pt x="109" y="95"/>
                    </a:lnTo>
                    <a:lnTo>
                      <a:pt x="104" y="95"/>
                    </a:lnTo>
                    <a:lnTo>
                      <a:pt x="104" y="91"/>
                    </a:lnTo>
                    <a:lnTo>
                      <a:pt x="100" y="91"/>
                    </a:lnTo>
                    <a:lnTo>
                      <a:pt x="100" y="91"/>
                    </a:lnTo>
                    <a:lnTo>
                      <a:pt x="95" y="91"/>
                    </a:lnTo>
                    <a:lnTo>
                      <a:pt x="95" y="91"/>
                    </a:lnTo>
                    <a:lnTo>
                      <a:pt x="91" y="91"/>
                    </a:lnTo>
                    <a:lnTo>
                      <a:pt x="91" y="91"/>
                    </a:lnTo>
                    <a:lnTo>
                      <a:pt x="91" y="91"/>
                    </a:lnTo>
                    <a:lnTo>
                      <a:pt x="91" y="86"/>
                    </a:lnTo>
                    <a:lnTo>
                      <a:pt x="91" y="86"/>
                    </a:lnTo>
                    <a:lnTo>
                      <a:pt x="91" y="86"/>
                    </a:lnTo>
                    <a:lnTo>
                      <a:pt x="91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3" y="86"/>
                    </a:lnTo>
                    <a:lnTo>
                      <a:pt x="73" y="86"/>
                    </a:lnTo>
                    <a:lnTo>
                      <a:pt x="73" y="86"/>
                    </a:lnTo>
                    <a:lnTo>
                      <a:pt x="68" y="86"/>
                    </a:lnTo>
                    <a:lnTo>
                      <a:pt x="63" y="86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54" y="95"/>
                    </a:lnTo>
                    <a:lnTo>
                      <a:pt x="54" y="95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45" y="104"/>
                    </a:lnTo>
                    <a:lnTo>
                      <a:pt x="45" y="104"/>
                    </a:lnTo>
                    <a:lnTo>
                      <a:pt x="41" y="104"/>
                    </a:lnTo>
                    <a:lnTo>
                      <a:pt x="41" y="100"/>
                    </a:lnTo>
                    <a:lnTo>
                      <a:pt x="36" y="95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86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32" y="72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3" y="63"/>
                    </a:lnTo>
                    <a:lnTo>
                      <a:pt x="23" y="63"/>
                    </a:lnTo>
                    <a:lnTo>
                      <a:pt x="23" y="63"/>
                    </a:lnTo>
                    <a:lnTo>
                      <a:pt x="23" y="68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63"/>
                    </a:lnTo>
                    <a:lnTo>
                      <a:pt x="27" y="63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8" y="59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0"/>
                    </a:lnTo>
                    <a:lnTo>
                      <a:pt x="9" y="50"/>
                    </a:lnTo>
                    <a:lnTo>
                      <a:pt x="9" y="45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9" y="36"/>
                    </a:lnTo>
                    <a:lnTo>
                      <a:pt x="9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41"/>
                    </a:lnTo>
                    <a:lnTo>
                      <a:pt x="27" y="41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32" y="41"/>
                    </a:lnTo>
                    <a:lnTo>
                      <a:pt x="36" y="41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2" y="27"/>
                    </a:lnTo>
                    <a:lnTo>
                      <a:pt x="27" y="27"/>
                    </a:lnTo>
                    <a:lnTo>
                      <a:pt x="27" y="23"/>
                    </a:lnTo>
                    <a:lnTo>
                      <a:pt x="23" y="23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5" y="18"/>
                    </a:lnTo>
                    <a:lnTo>
                      <a:pt x="5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7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5" y="27"/>
                    </a:lnTo>
                    <a:lnTo>
                      <a:pt x="5" y="23"/>
                    </a:lnTo>
                    <a:lnTo>
                      <a:pt x="0" y="18"/>
                    </a:lnTo>
                    <a:lnTo>
                      <a:pt x="5" y="18"/>
                    </a:lnTo>
                    <a:lnTo>
                      <a:pt x="5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9"/>
                    </a:lnTo>
                    <a:lnTo>
                      <a:pt x="14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2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5" y="23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9" y="27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27"/>
                    </a:lnTo>
                    <a:lnTo>
                      <a:pt x="73" y="27"/>
                    </a:lnTo>
                    <a:lnTo>
                      <a:pt x="73" y="27"/>
                    </a:lnTo>
                    <a:lnTo>
                      <a:pt x="73" y="27"/>
                    </a:lnTo>
                    <a:lnTo>
                      <a:pt x="73" y="27"/>
                    </a:lnTo>
                    <a:lnTo>
                      <a:pt x="73" y="27"/>
                    </a:lnTo>
                    <a:lnTo>
                      <a:pt x="73" y="27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3" y="18"/>
                    </a:lnTo>
                    <a:lnTo>
                      <a:pt x="68" y="18"/>
                    </a:lnTo>
                    <a:lnTo>
                      <a:pt x="68" y="14"/>
                    </a:lnTo>
                    <a:lnTo>
                      <a:pt x="73" y="14"/>
                    </a:lnTo>
                    <a:lnTo>
                      <a:pt x="73" y="14"/>
                    </a:lnTo>
                    <a:lnTo>
                      <a:pt x="73" y="9"/>
                    </a:lnTo>
                    <a:lnTo>
                      <a:pt x="73" y="9"/>
                    </a:lnTo>
                    <a:lnTo>
                      <a:pt x="77" y="9"/>
                    </a:lnTo>
                    <a:lnTo>
                      <a:pt x="82" y="9"/>
                    </a:lnTo>
                    <a:lnTo>
                      <a:pt x="82" y="9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2" y="5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91" y="5"/>
                    </a:lnTo>
                    <a:lnTo>
                      <a:pt x="91" y="9"/>
                    </a:lnTo>
                    <a:lnTo>
                      <a:pt x="91" y="9"/>
                    </a:lnTo>
                    <a:lnTo>
                      <a:pt x="91" y="9"/>
                    </a:lnTo>
                    <a:lnTo>
                      <a:pt x="91" y="9"/>
                    </a:lnTo>
                    <a:lnTo>
                      <a:pt x="91" y="9"/>
                    </a:lnTo>
                    <a:lnTo>
                      <a:pt x="91" y="5"/>
                    </a:lnTo>
                    <a:lnTo>
                      <a:pt x="91" y="5"/>
                    </a:lnTo>
                    <a:lnTo>
                      <a:pt x="91" y="5"/>
                    </a:lnTo>
                    <a:lnTo>
                      <a:pt x="86" y="5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1" y="0"/>
                    </a:lnTo>
                    <a:lnTo>
                      <a:pt x="91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41" name="Freeform 162"/>
              <p:cNvSpPr>
                <a:spLocks/>
              </p:cNvSpPr>
              <p:nvPr/>
            </p:nvSpPr>
            <p:spPr bwMode="auto">
              <a:xfrm>
                <a:off x="7712076" y="3217864"/>
                <a:ext cx="73025" cy="42863"/>
              </a:xfrm>
              <a:custGeom>
                <a:avLst/>
                <a:gdLst>
                  <a:gd name="T0" fmla="*/ 46 w 46"/>
                  <a:gd name="T1" fmla="*/ 5 h 27"/>
                  <a:gd name="T2" fmla="*/ 46 w 46"/>
                  <a:gd name="T3" fmla="*/ 5 h 27"/>
                  <a:gd name="T4" fmla="*/ 41 w 46"/>
                  <a:gd name="T5" fmla="*/ 9 h 27"/>
                  <a:gd name="T6" fmla="*/ 37 w 46"/>
                  <a:gd name="T7" fmla="*/ 9 h 27"/>
                  <a:gd name="T8" fmla="*/ 37 w 46"/>
                  <a:gd name="T9" fmla="*/ 9 h 27"/>
                  <a:gd name="T10" fmla="*/ 32 w 46"/>
                  <a:gd name="T11" fmla="*/ 14 h 27"/>
                  <a:gd name="T12" fmla="*/ 32 w 46"/>
                  <a:gd name="T13" fmla="*/ 14 h 27"/>
                  <a:gd name="T14" fmla="*/ 32 w 46"/>
                  <a:gd name="T15" fmla="*/ 14 h 27"/>
                  <a:gd name="T16" fmla="*/ 28 w 46"/>
                  <a:gd name="T17" fmla="*/ 14 h 27"/>
                  <a:gd name="T18" fmla="*/ 28 w 46"/>
                  <a:gd name="T19" fmla="*/ 14 h 27"/>
                  <a:gd name="T20" fmla="*/ 23 w 46"/>
                  <a:gd name="T21" fmla="*/ 18 h 27"/>
                  <a:gd name="T22" fmla="*/ 23 w 46"/>
                  <a:gd name="T23" fmla="*/ 18 h 27"/>
                  <a:gd name="T24" fmla="*/ 19 w 46"/>
                  <a:gd name="T25" fmla="*/ 18 h 27"/>
                  <a:gd name="T26" fmla="*/ 19 w 46"/>
                  <a:gd name="T27" fmla="*/ 18 h 27"/>
                  <a:gd name="T28" fmla="*/ 19 w 46"/>
                  <a:gd name="T29" fmla="*/ 18 h 27"/>
                  <a:gd name="T30" fmla="*/ 19 w 46"/>
                  <a:gd name="T31" fmla="*/ 18 h 27"/>
                  <a:gd name="T32" fmla="*/ 9 w 46"/>
                  <a:gd name="T33" fmla="*/ 23 h 27"/>
                  <a:gd name="T34" fmla="*/ 5 w 46"/>
                  <a:gd name="T35" fmla="*/ 23 h 27"/>
                  <a:gd name="T36" fmla="*/ 5 w 46"/>
                  <a:gd name="T37" fmla="*/ 27 h 27"/>
                  <a:gd name="T38" fmla="*/ 5 w 46"/>
                  <a:gd name="T39" fmla="*/ 23 h 27"/>
                  <a:gd name="T40" fmla="*/ 5 w 46"/>
                  <a:gd name="T41" fmla="*/ 23 h 27"/>
                  <a:gd name="T42" fmla="*/ 0 w 46"/>
                  <a:gd name="T43" fmla="*/ 23 h 27"/>
                  <a:gd name="T44" fmla="*/ 0 w 46"/>
                  <a:gd name="T45" fmla="*/ 23 h 27"/>
                  <a:gd name="T46" fmla="*/ 5 w 46"/>
                  <a:gd name="T47" fmla="*/ 18 h 27"/>
                  <a:gd name="T48" fmla="*/ 5 w 46"/>
                  <a:gd name="T49" fmla="*/ 18 h 27"/>
                  <a:gd name="T50" fmla="*/ 5 w 46"/>
                  <a:gd name="T51" fmla="*/ 18 h 27"/>
                  <a:gd name="T52" fmla="*/ 5 w 46"/>
                  <a:gd name="T53" fmla="*/ 18 h 27"/>
                  <a:gd name="T54" fmla="*/ 5 w 46"/>
                  <a:gd name="T55" fmla="*/ 18 h 27"/>
                  <a:gd name="T56" fmla="*/ 5 w 46"/>
                  <a:gd name="T57" fmla="*/ 18 h 27"/>
                  <a:gd name="T58" fmla="*/ 5 w 46"/>
                  <a:gd name="T59" fmla="*/ 14 h 27"/>
                  <a:gd name="T60" fmla="*/ 5 w 46"/>
                  <a:gd name="T61" fmla="*/ 18 h 27"/>
                  <a:gd name="T62" fmla="*/ 5 w 46"/>
                  <a:gd name="T63" fmla="*/ 18 h 27"/>
                  <a:gd name="T64" fmla="*/ 0 w 46"/>
                  <a:gd name="T65" fmla="*/ 18 h 27"/>
                  <a:gd name="T66" fmla="*/ 5 w 46"/>
                  <a:gd name="T67" fmla="*/ 14 h 27"/>
                  <a:gd name="T68" fmla="*/ 5 w 46"/>
                  <a:gd name="T69" fmla="*/ 14 h 27"/>
                  <a:gd name="T70" fmla="*/ 5 w 46"/>
                  <a:gd name="T71" fmla="*/ 9 h 27"/>
                  <a:gd name="T72" fmla="*/ 9 w 46"/>
                  <a:gd name="T73" fmla="*/ 9 h 27"/>
                  <a:gd name="T74" fmla="*/ 9 w 46"/>
                  <a:gd name="T75" fmla="*/ 9 h 27"/>
                  <a:gd name="T76" fmla="*/ 9 w 46"/>
                  <a:gd name="T77" fmla="*/ 9 h 27"/>
                  <a:gd name="T78" fmla="*/ 19 w 46"/>
                  <a:gd name="T79" fmla="*/ 5 h 27"/>
                  <a:gd name="T80" fmla="*/ 23 w 46"/>
                  <a:gd name="T81" fmla="*/ 5 h 27"/>
                  <a:gd name="T82" fmla="*/ 28 w 46"/>
                  <a:gd name="T83" fmla="*/ 5 h 27"/>
                  <a:gd name="T84" fmla="*/ 32 w 46"/>
                  <a:gd name="T85" fmla="*/ 5 h 27"/>
                  <a:gd name="T86" fmla="*/ 32 w 46"/>
                  <a:gd name="T87" fmla="*/ 5 h 27"/>
                  <a:gd name="T88" fmla="*/ 37 w 46"/>
                  <a:gd name="T89" fmla="*/ 5 h 27"/>
                  <a:gd name="T90" fmla="*/ 37 w 46"/>
                  <a:gd name="T91" fmla="*/ 5 h 27"/>
                  <a:gd name="T92" fmla="*/ 37 w 46"/>
                  <a:gd name="T93" fmla="*/ 5 h 27"/>
                  <a:gd name="T94" fmla="*/ 41 w 46"/>
                  <a:gd name="T95" fmla="*/ 0 h 27"/>
                  <a:gd name="T96" fmla="*/ 41 w 46"/>
                  <a:gd name="T97" fmla="*/ 5 h 27"/>
                  <a:gd name="T98" fmla="*/ 46 w 46"/>
                  <a:gd name="T99" fmla="*/ 5 h 27"/>
                  <a:gd name="T100" fmla="*/ 46 w 46"/>
                  <a:gd name="T101" fmla="*/ 5 h 27"/>
                  <a:gd name="T102" fmla="*/ 46 w 46"/>
                  <a:gd name="T103" fmla="*/ 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6" h="27">
                    <a:moveTo>
                      <a:pt x="46" y="5"/>
                    </a:moveTo>
                    <a:lnTo>
                      <a:pt x="46" y="5"/>
                    </a:lnTo>
                    <a:lnTo>
                      <a:pt x="41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9" y="23"/>
                    </a:lnTo>
                    <a:lnTo>
                      <a:pt x="5" y="23"/>
                    </a:lnTo>
                    <a:lnTo>
                      <a:pt x="5" y="27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4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19" y="5"/>
                    </a:lnTo>
                    <a:lnTo>
                      <a:pt x="23" y="5"/>
                    </a:lnTo>
                    <a:lnTo>
                      <a:pt x="28" y="5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7" y="5"/>
                    </a:lnTo>
                    <a:lnTo>
                      <a:pt x="37" y="5"/>
                    </a:lnTo>
                    <a:lnTo>
                      <a:pt x="37" y="5"/>
                    </a:lnTo>
                    <a:lnTo>
                      <a:pt x="41" y="0"/>
                    </a:lnTo>
                    <a:lnTo>
                      <a:pt x="41" y="5"/>
                    </a:lnTo>
                    <a:lnTo>
                      <a:pt x="46" y="5"/>
                    </a:lnTo>
                    <a:lnTo>
                      <a:pt x="46" y="5"/>
                    </a:lnTo>
                    <a:lnTo>
                      <a:pt x="46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42" name="Freeform 163"/>
              <p:cNvSpPr>
                <a:spLocks/>
              </p:cNvSpPr>
              <p:nvPr/>
            </p:nvSpPr>
            <p:spPr bwMode="auto">
              <a:xfrm>
                <a:off x="2563813" y="2614614"/>
                <a:ext cx="28575" cy="22225"/>
              </a:xfrm>
              <a:custGeom>
                <a:avLst/>
                <a:gdLst>
                  <a:gd name="T0" fmla="*/ 18 w 18"/>
                  <a:gd name="T1" fmla="*/ 14 h 14"/>
                  <a:gd name="T2" fmla="*/ 18 w 18"/>
                  <a:gd name="T3" fmla="*/ 14 h 14"/>
                  <a:gd name="T4" fmla="*/ 13 w 18"/>
                  <a:gd name="T5" fmla="*/ 14 h 14"/>
                  <a:gd name="T6" fmla="*/ 4 w 18"/>
                  <a:gd name="T7" fmla="*/ 14 h 14"/>
                  <a:gd name="T8" fmla="*/ 4 w 18"/>
                  <a:gd name="T9" fmla="*/ 14 h 14"/>
                  <a:gd name="T10" fmla="*/ 0 w 18"/>
                  <a:gd name="T11" fmla="*/ 14 h 14"/>
                  <a:gd name="T12" fmla="*/ 4 w 18"/>
                  <a:gd name="T13" fmla="*/ 14 h 14"/>
                  <a:gd name="T14" fmla="*/ 4 w 18"/>
                  <a:gd name="T15" fmla="*/ 14 h 14"/>
                  <a:gd name="T16" fmla="*/ 9 w 18"/>
                  <a:gd name="T17" fmla="*/ 14 h 14"/>
                  <a:gd name="T18" fmla="*/ 9 w 18"/>
                  <a:gd name="T19" fmla="*/ 10 h 14"/>
                  <a:gd name="T20" fmla="*/ 9 w 18"/>
                  <a:gd name="T21" fmla="*/ 5 h 14"/>
                  <a:gd name="T22" fmla="*/ 9 w 18"/>
                  <a:gd name="T23" fmla="*/ 5 h 14"/>
                  <a:gd name="T24" fmla="*/ 9 w 18"/>
                  <a:gd name="T25" fmla="*/ 5 h 14"/>
                  <a:gd name="T26" fmla="*/ 9 w 18"/>
                  <a:gd name="T27" fmla="*/ 5 h 14"/>
                  <a:gd name="T28" fmla="*/ 4 w 18"/>
                  <a:gd name="T29" fmla="*/ 5 h 14"/>
                  <a:gd name="T30" fmla="*/ 4 w 18"/>
                  <a:gd name="T31" fmla="*/ 5 h 14"/>
                  <a:gd name="T32" fmla="*/ 9 w 18"/>
                  <a:gd name="T33" fmla="*/ 0 h 14"/>
                  <a:gd name="T34" fmla="*/ 9 w 18"/>
                  <a:gd name="T35" fmla="*/ 0 h 14"/>
                  <a:gd name="T36" fmla="*/ 9 w 18"/>
                  <a:gd name="T37" fmla="*/ 0 h 14"/>
                  <a:gd name="T38" fmla="*/ 13 w 18"/>
                  <a:gd name="T39" fmla="*/ 0 h 14"/>
                  <a:gd name="T40" fmla="*/ 18 w 18"/>
                  <a:gd name="T41" fmla="*/ 0 h 14"/>
                  <a:gd name="T42" fmla="*/ 18 w 18"/>
                  <a:gd name="T43" fmla="*/ 0 h 14"/>
                  <a:gd name="T44" fmla="*/ 18 w 18"/>
                  <a:gd name="T45" fmla="*/ 5 h 14"/>
                  <a:gd name="T46" fmla="*/ 18 w 18"/>
                  <a:gd name="T47" fmla="*/ 5 h 14"/>
                  <a:gd name="T48" fmla="*/ 18 w 18"/>
                  <a:gd name="T49" fmla="*/ 5 h 14"/>
                  <a:gd name="T50" fmla="*/ 18 w 18"/>
                  <a:gd name="T51" fmla="*/ 10 h 14"/>
                  <a:gd name="T52" fmla="*/ 18 w 18"/>
                  <a:gd name="T53" fmla="*/ 10 h 14"/>
                  <a:gd name="T54" fmla="*/ 18 w 18"/>
                  <a:gd name="T55" fmla="*/ 10 h 14"/>
                  <a:gd name="T56" fmla="*/ 18 w 18"/>
                  <a:gd name="T57" fmla="*/ 10 h 14"/>
                  <a:gd name="T58" fmla="*/ 18 w 18"/>
                  <a:gd name="T59" fmla="*/ 14 h 14"/>
                  <a:gd name="T60" fmla="*/ 18 w 18"/>
                  <a:gd name="T6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8" h="14">
                    <a:moveTo>
                      <a:pt x="18" y="14"/>
                    </a:moveTo>
                    <a:lnTo>
                      <a:pt x="18" y="14"/>
                    </a:lnTo>
                    <a:lnTo>
                      <a:pt x="13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9" y="14"/>
                    </a:lnTo>
                    <a:lnTo>
                      <a:pt x="9" y="10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43" name="Freeform 164"/>
              <p:cNvSpPr>
                <a:spLocks/>
              </p:cNvSpPr>
              <p:nvPr/>
            </p:nvSpPr>
            <p:spPr bwMode="auto">
              <a:xfrm>
                <a:off x="4478338" y="1833564"/>
                <a:ext cx="107950" cy="214313"/>
              </a:xfrm>
              <a:custGeom>
                <a:avLst/>
                <a:gdLst>
                  <a:gd name="T0" fmla="*/ 41 w 68"/>
                  <a:gd name="T1" fmla="*/ 4 h 135"/>
                  <a:gd name="T2" fmla="*/ 41 w 68"/>
                  <a:gd name="T3" fmla="*/ 4 h 135"/>
                  <a:gd name="T4" fmla="*/ 45 w 68"/>
                  <a:gd name="T5" fmla="*/ 4 h 135"/>
                  <a:gd name="T6" fmla="*/ 45 w 68"/>
                  <a:gd name="T7" fmla="*/ 13 h 135"/>
                  <a:gd name="T8" fmla="*/ 50 w 68"/>
                  <a:gd name="T9" fmla="*/ 9 h 135"/>
                  <a:gd name="T10" fmla="*/ 59 w 68"/>
                  <a:gd name="T11" fmla="*/ 9 h 135"/>
                  <a:gd name="T12" fmla="*/ 59 w 68"/>
                  <a:gd name="T13" fmla="*/ 9 h 135"/>
                  <a:gd name="T14" fmla="*/ 54 w 68"/>
                  <a:gd name="T15" fmla="*/ 18 h 135"/>
                  <a:gd name="T16" fmla="*/ 50 w 68"/>
                  <a:gd name="T17" fmla="*/ 22 h 135"/>
                  <a:gd name="T18" fmla="*/ 54 w 68"/>
                  <a:gd name="T19" fmla="*/ 31 h 135"/>
                  <a:gd name="T20" fmla="*/ 59 w 68"/>
                  <a:gd name="T21" fmla="*/ 36 h 135"/>
                  <a:gd name="T22" fmla="*/ 59 w 68"/>
                  <a:gd name="T23" fmla="*/ 40 h 135"/>
                  <a:gd name="T24" fmla="*/ 54 w 68"/>
                  <a:gd name="T25" fmla="*/ 49 h 135"/>
                  <a:gd name="T26" fmla="*/ 45 w 68"/>
                  <a:gd name="T27" fmla="*/ 58 h 135"/>
                  <a:gd name="T28" fmla="*/ 45 w 68"/>
                  <a:gd name="T29" fmla="*/ 63 h 135"/>
                  <a:gd name="T30" fmla="*/ 50 w 68"/>
                  <a:gd name="T31" fmla="*/ 72 h 135"/>
                  <a:gd name="T32" fmla="*/ 54 w 68"/>
                  <a:gd name="T33" fmla="*/ 72 h 135"/>
                  <a:gd name="T34" fmla="*/ 59 w 68"/>
                  <a:gd name="T35" fmla="*/ 72 h 135"/>
                  <a:gd name="T36" fmla="*/ 63 w 68"/>
                  <a:gd name="T37" fmla="*/ 77 h 135"/>
                  <a:gd name="T38" fmla="*/ 63 w 68"/>
                  <a:gd name="T39" fmla="*/ 77 h 135"/>
                  <a:gd name="T40" fmla="*/ 63 w 68"/>
                  <a:gd name="T41" fmla="*/ 77 h 135"/>
                  <a:gd name="T42" fmla="*/ 68 w 68"/>
                  <a:gd name="T43" fmla="*/ 86 h 135"/>
                  <a:gd name="T44" fmla="*/ 68 w 68"/>
                  <a:gd name="T45" fmla="*/ 90 h 135"/>
                  <a:gd name="T46" fmla="*/ 68 w 68"/>
                  <a:gd name="T47" fmla="*/ 95 h 135"/>
                  <a:gd name="T48" fmla="*/ 59 w 68"/>
                  <a:gd name="T49" fmla="*/ 99 h 135"/>
                  <a:gd name="T50" fmla="*/ 54 w 68"/>
                  <a:gd name="T51" fmla="*/ 104 h 135"/>
                  <a:gd name="T52" fmla="*/ 50 w 68"/>
                  <a:gd name="T53" fmla="*/ 104 h 135"/>
                  <a:gd name="T54" fmla="*/ 45 w 68"/>
                  <a:gd name="T55" fmla="*/ 108 h 135"/>
                  <a:gd name="T56" fmla="*/ 45 w 68"/>
                  <a:gd name="T57" fmla="*/ 113 h 135"/>
                  <a:gd name="T58" fmla="*/ 45 w 68"/>
                  <a:gd name="T59" fmla="*/ 122 h 135"/>
                  <a:gd name="T60" fmla="*/ 45 w 68"/>
                  <a:gd name="T61" fmla="*/ 126 h 135"/>
                  <a:gd name="T62" fmla="*/ 41 w 68"/>
                  <a:gd name="T63" fmla="*/ 131 h 135"/>
                  <a:gd name="T64" fmla="*/ 36 w 68"/>
                  <a:gd name="T65" fmla="*/ 135 h 135"/>
                  <a:gd name="T66" fmla="*/ 32 w 68"/>
                  <a:gd name="T67" fmla="*/ 122 h 135"/>
                  <a:gd name="T68" fmla="*/ 27 w 68"/>
                  <a:gd name="T69" fmla="*/ 108 h 135"/>
                  <a:gd name="T70" fmla="*/ 27 w 68"/>
                  <a:gd name="T71" fmla="*/ 99 h 135"/>
                  <a:gd name="T72" fmla="*/ 18 w 68"/>
                  <a:gd name="T73" fmla="*/ 95 h 135"/>
                  <a:gd name="T74" fmla="*/ 14 w 68"/>
                  <a:gd name="T75" fmla="*/ 86 h 135"/>
                  <a:gd name="T76" fmla="*/ 9 w 68"/>
                  <a:gd name="T77" fmla="*/ 81 h 135"/>
                  <a:gd name="T78" fmla="*/ 5 w 68"/>
                  <a:gd name="T79" fmla="*/ 77 h 135"/>
                  <a:gd name="T80" fmla="*/ 0 w 68"/>
                  <a:gd name="T81" fmla="*/ 67 h 135"/>
                  <a:gd name="T82" fmla="*/ 5 w 68"/>
                  <a:gd name="T83" fmla="*/ 63 h 135"/>
                  <a:gd name="T84" fmla="*/ 9 w 68"/>
                  <a:gd name="T85" fmla="*/ 54 h 135"/>
                  <a:gd name="T86" fmla="*/ 14 w 68"/>
                  <a:gd name="T87" fmla="*/ 54 h 135"/>
                  <a:gd name="T88" fmla="*/ 14 w 68"/>
                  <a:gd name="T89" fmla="*/ 45 h 135"/>
                  <a:gd name="T90" fmla="*/ 18 w 68"/>
                  <a:gd name="T91" fmla="*/ 40 h 135"/>
                  <a:gd name="T92" fmla="*/ 14 w 68"/>
                  <a:gd name="T93" fmla="*/ 31 h 135"/>
                  <a:gd name="T94" fmla="*/ 14 w 68"/>
                  <a:gd name="T95" fmla="*/ 31 h 135"/>
                  <a:gd name="T96" fmla="*/ 18 w 68"/>
                  <a:gd name="T97" fmla="*/ 18 h 135"/>
                  <a:gd name="T98" fmla="*/ 14 w 68"/>
                  <a:gd name="T99" fmla="*/ 18 h 135"/>
                  <a:gd name="T100" fmla="*/ 18 w 68"/>
                  <a:gd name="T101" fmla="*/ 13 h 135"/>
                  <a:gd name="T102" fmla="*/ 18 w 68"/>
                  <a:gd name="T103" fmla="*/ 9 h 135"/>
                  <a:gd name="T104" fmla="*/ 23 w 68"/>
                  <a:gd name="T105" fmla="*/ 9 h 135"/>
                  <a:gd name="T106" fmla="*/ 36 w 68"/>
                  <a:gd name="T107" fmla="*/ 0 h 135"/>
                  <a:gd name="T108" fmla="*/ 41 w 68"/>
                  <a:gd name="T109" fmla="*/ 4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8" h="135">
                    <a:moveTo>
                      <a:pt x="41" y="4"/>
                    </a:move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9"/>
                    </a:lnTo>
                    <a:lnTo>
                      <a:pt x="50" y="9"/>
                    </a:lnTo>
                    <a:lnTo>
                      <a:pt x="45" y="13"/>
                    </a:lnTo>
                    <a:lnTo>
                      <a:pt x="50" y="13"/>
                    </a:lnTo>
                    <a:lnTo>
                      <a:pt x="50" y="13"/>
                    </a:lnTo>
                    <a:lnTo>
                      <a:pt x="50" y="9"/>
                    </a:lnTo>
                    <a:lnTo>
                      <a:pt x="54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13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7"/>
                    </a:lnTo>
                    <a:lnTo>
                      <a:pt x="54" y="27"/>
                    </a:lnTo>
                    <a:lnTo>
                      <a:pt x="54" y="31"/>
                    </a:lnTo>
                    <a:lnTo>
                      <a:pt x="54" y="31"/>
                    </a:lnTo>
                    <a:lnTo>
                      <a:pt x="59" y="31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59" y="40"/>
                    </a:lnTo>
                    <a:lnTo>
                      <a:pt x="59" y="40"/>
                    </a:lnTo>
                    <a:lnTo>
                      <a:pt x="59" y="45"/>
                    </a:lnTo>
                    <a:lnTo>
                      <a:pt x="59" y="49"/>
                    </a:lnTo>
                    <a:lnTo>
                      <a:pt x="54" y="49"/>
                    </a:lnTo>
                    <a:lnTo>
                      <a:pt x="50" y="54"/>
                    </a:lnTo>
                    <a:lnTo>
                      <a:pt x="45" y="58"/>
                    </a:lnTo>
                    <a:lnTo>
                      <a:pt x="45" y="58"/>
                    </a:lnTo>
                    <a:lnTo>
                      <a:pt x="45" y="58"/>
                    </a:lnTo>
                    <a:lnTo>
                      <a:pt x="45" y="63"/>
                    </a:lnTo>
                    <a:lnTo>
                      <a:pt x="45" y="63"/>
                    </a:lnTo>
                    <a:lnTo>
                      <a:pt x="45" y="67"/>
                    </a:lnTo>
                    <a:lnTo>
                      <a:pt x="50" y="67"/>
                    </a:lnTo>
                    <a:lnTo>
                      <a:pt x="50" y="72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9" y="72"/>
                    </a:lnTo>
                    <a:lnTo>
                      <a:pt x="59" y="72"/>
                    </a:lnTo>
                    <a:lnTo>
                      <a:pt x="59" y="72"/>
                    </a:lnTo>
                    <a:lnTo>
                      <a:pt x="63" y="77"/>
                    </a:lnTo>
                    <a:lnTo>
                      <a:pt x="63" y="77"/>
                    </a:lnTo>
                    <a:lnTo>
                      <a:pt x="63" y="77"/>
                    </a:lnTo>
                    <a:lnTo>
                      <a:pt x="63" y="77"/>
                    </a:lnTo>
                    <a:lnTo>
                      <a:pt x="63" y="77"/>
                    </a:lnTo>
                    <a:lnTo>
                      <a:pt x="63" y="77"/>
                    </a:lnTo>
                    <a:lnTo>
                      <a:pt x="63" y="81"/>
                    </a:lnTo>
                    <a:lnTo>
                      <a:pt x="63" y="77"/>
                    </a:lnTo>
                    <a:lnTo>
                      <a:pt x="68" y="81"/>
                    </a:lnTo>
                    <a:lnTo>
                      <a:pt x="68" y="81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90"/>
                    </a:lnTo>
                    <a:lnTo>
                      <a:pt x="68" y="90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3" y="95"/>
                    </a:lnTo>
                    <a:lnTo>
                      <a:pt x="63" y="99"/>
                    </a:lnTo>
                    <a:lnTo>
                      <a:pt x="59" y="99"/>
                    </a:lnTo>
                    <a:lnTo>
                      <a:pt x="54" y="99"/>
                    </a:lnTo>
                    <a:lnTo>
                      <a:pt x="54" y="99"/>
                    </a:lnTo>
                    <a:lnTo>
                      <a:pt x="54" y="104"/>
                    </a:lnTo>
                    <a:lnTo>
                      <a:pt x="54" y="104"/>
                    </a:lnTo>
                    <a:lnTo>
                      <a:pt x="54" y="104"/>
                    </a:lnTo>
                    <a:lnTo>
                      <a:pt x="50" y="104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45" y="108"/>
                    </a:lnTo>
                    <a:lnTo>
                      <a:pt x="45" y="108"/>
                    </a:lnTo>
                    <a:lnTo>
                      <a:pt x="45" y="108"/>
                    </a:lnTo>
                    <a:lnTo>
                      <a:pt x="45" y="113"/>
                    </a:lnTo>
                    <a:lnTo>
                      <a:pt x="45" y="117"/>
                    </a:lnTo>
                    <a:lnTo>
                      <a:pt x="45" y="122"/>
                    </a:lnTo>
                    <a:lnTo>
                      <a:pt x="45" y="122"/>
                    </a:lnTo>
                    <a:lnTo>
                      <a:pt x="45" y="122"/>
                    </a:lnTo>
                    <a:lnTo>
                      <a:pt x="45" y="126"/>
                    </a:lnTo>
                    <a:lnTo>
                      <a:pt x="45" y="126"/>
                    </a:lnTo>
                    <a:lnTo>
                      <a:pt x="45" y="126"/>
                    </a:lnTo>
                    <a:lnTo>
                      <a:pt x="41" y="131"/>
                    </a:lnTo>
                    <a:lnTo>
                      <a:pt x="41" y="131"/>
                    </a:lnTo>
                    <a:lnTo>
                      <a:pt x="41" y="131"/>
                    </a:lnTo>
                    <a:lnTo>
                      <a:pt x="36" y="135"/>
                    </a:lnTo>
                    <a:lnTo>
                      <a:pt x="36" y="135"/>
                    </a:lnTo>
                    <a:lnTo>
                      <a:pt x="32" y="131"/>
                    </a:lnTo>
                    <a:lnTo>
                      <a:pt x="32" y="126"/>
                    </a:lnTo>
                    <a:lnTo>
                      <a:pt x="32" y="122"/>
                    </a:lnTo>
                    <a:lnTo>
                      <a:pt x="32" y="117"/>
                    </a:lnTo>
                    <a:lnTo>
                      <a:pt x="32" y="113"/>
                    </a:lnTo>
                    <a:lnTo>
                      <a:pt x="27" y="108"/>
                    </a:lnTo>
                    <a:lnTo>
                      <a:pt x="27" y="104"/>
                    </a:lnTo>
                    <a:lnTo>
                      <a:pt x="27" y="99"/>
                    </a:lnTo>
                    <a:lnTo>
                      <a:pt x="27" y="99"/>
                    </a:lnTo>
                    <a:lnTo>
                      <a:pt x="23" y="99"/>
                    </a:lnTo>
                    <a:lnTo>
                      <a:pt x="23" y="95"/>
                    </a:lnTo>
                    <a:lnTo>
                      <a:pt x="18" y="95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1"/>
                    </a:lnTo>
                    <a:lnTo>
                      <a:pt x="14" y="81"/>
                    </a:lnTo>
                    <a:lnTo>
                      <a:pt x="9" y="81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2"/>
                    </a:lnTo>
                    <a:lnTo>
                      <a:pt x="5" y="67"/>
                    </a:lnTo>
                    <a:lnTo>
                      <a:pt x="0" y="67"/>
                    </a:lnTo>
                    <a:lnTo>
                      <a:pt x="0" y="63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5" y="58"/>
                    </a:lnTo>
                    <a:lnTo>
                      <a:pt x="9" y="58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49"/>
                    </a:lnTo>
                    <a:lnTo>
                      <a:pt x="14" y="49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1"/>
                    </a:lnTo>
                    <a:lnTo>
                      <a:pt x="14" y="31"/>
                    </a:lnTo>
                    <a:lnTo>
                      <a:pt x="14" y="31"/>
                    </a:lnTo>
                    <a:lnTo>
                      <a:pt x="14" y="31"/>
                    </a:lnTo>
                    <a:lnTo>
                      <a:pt x="14" y="27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3" y="9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36" y="0"/>
                    </a:lnTo>
                    <a:lnTo>
                      <a:pt x="41" y="0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1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44" name="Freeform 165"/>
              <p:cNvSpPr>
                <a:spLocks noEditPoints="1"/>
              </p:cNvSpPr>
              <p:nvPr/>
            </p:nvSpPr>
            <p:spPr bwMode="auto">
              <a:xfrm>
                <a:off x="4945063" y="1689101"/>
                <a:ext cx="479425" cy="187325"/>
              </a:xfrm>
              <a:custGeom>
                <a:avLst/>
                <a:gdLst>
                  <a:gd name="T0" fmla="*/ 153 w 302"/>
                  <a:gd name="T1" fmla="*/ 9 h 118"/>
                  <a:gd name="T2" fmla="*/ 171 w 302"/>
                  <a:gd name="T3" fmla="*/ 18 h 118"/>
                  <a:gd name="T4" fmla="*/ 216 w 302"/>
                  <a:gd name="T5" fmla="*/ 23 h 118"/>
                  <a:gd name="T6" fmla="*/ 239 w 302"/>
                  <a:gd name="T7" fmla="*/ 9 h 118"/>
                  <a:gd name="T8" fmla="*/ 253 w 302"/>
                  <a:gd name="T9" fmla="*/ 9 h 118"/>
                  <a:gd name="T10" fmla="*/ 257 w 302"/>
                  <a:gd name="T11" fmla="*/ 9 h 118"/>
                  <a:gd name="T12" fmla="*/ 266 w 302"/>
                  <a:gd name="T13" fmla="*/ 14 h 118"/>
                  <a:gd name="T14" fmla="*/ 275 w 302"/>
                  <a:gd name="T15" fmla="*/ 23 h 118"/>
                  <a:gd name="T16" fmla="*/ 275 w 302"/>
                  <a:gd name="T17" fmla="*/ 36 h 118"/>
                  <a:gd name="T18" fmla="*/ 289 w 302"/>
                  <a:gd name="T19" fmla="*/ 41 h 118"/>
                  <a:gd name="T20" fmla="*/ 289 w 302"/>
                  <a:gd name="T21" fmla="*/ 45 h 118"/>
                  <a:gd name="T22" fmla="*/ 284 w 302"/>
                  <a:gd name="T23" fmla="*/ 50 h 118"/>
                  <a:gd name="T24" fmla="*/ 289 w 302"/>
                  <a:gd name="T25" fmla="*/ 59 h 118"/>
                  <a:gd name="T26" fmla="*/ 293 w 302"/>
                  <a:gd name="T27" fmla="*/ 68 h 118"/>
                  <a:gd name="T28" fmla="*/ 293 w 302"/>
                  <a:gd name="T29" fmla="*/ 77 h 118"/>
                  <a:gd name="T30" fmla="*/ 298 w 302"/>
                  <a:gd name="T31" fmla="*/ 82 h 118"/>
                  <a:gd name="T32" fmla="*/ 302 w 302"/>
                  <a:gd name="T33" fmla="*/ 91 h 118"/>
                  <a:gd name="T34" fmla="*/ 293 w 302"/>
                  <a:gd name="T35" fmla="*/ 95 h 118"/>
                  <a:gd name="T36" fmla="*/ 289 w 302"/>
                  <a:gd name="T37" fmla="*/ 91 h 118"/>
                  <a:gd name="T38" fmla="*/ 271 w 302"/>
                  <a:gd name="T39" fmla="*/ 91 h 118"/>
                  <a:gd name="T40" fmla="*/ 262 w 302"/>
                  <a:gd name="T41" fmla="*/ 91 h 118"/>
                  <a:gd name="T42" fmla="*/ 244 w 302"/>
                  <a:gd name="T43" fmla="*/ 95 h 118"/>
                  <a:gd name="T44" fmla="*/ 212 w 302"/>
                  <a:gd name="T45" fmla="*/ 100 h 118"/>
                  <a:gd name="T46" fmla="*/ 194 w 302"/>
                  <a:gd name="T47" fmla="*/ 100 h 118"/>
                  <a:gd name="T48" fmla="*/ 180 w 302"/>
                  <a:gd name="T49" fmla="*/ 100 h 118"/>
                  <a:gd name="T50" fmla="*/ 176 w 302"/>
                  <a:gd name="T51" fmla="*/ 109 h 118"/>
                  <a:gd name="T52" fmla="*/ 167 w 302"/>
                  <a:gd name="T53" fmla="*/ 118 h 118"/>
                  <a:gd name="T54" fmla="*/ 167 w 302"/>
                  <a:gd name="T55" fmla="*/ 100 h 118"/>
                  <a:gd name="T56" fmla="*/ 153 w 302"/>
                  <a:gd name="T57" fmla="*/ 104 h 118"/>
                  <a:gd name="T58" fmla="*/ 126 w 302"/>
                  <a:gd name="T59" fmla="*/ 113 h 118"/>
                  <a:gd name="T60" fmla="*/ 104 w 302"/>
                  <a:gd name="T61" fmla="*/ 109 h 118"/>
                  <a:gd name="T62" fmla="*/ 76 w 302"/>
                  <a:gd name="T63" fmla="*/ 109 h 118"/>
                  <a:gd name="T64" fmla="*/ 58 w 302"/>
                  <a:gd name="T65" fmla="*/ 113 h 118"/>
                  <a:gd name="T66" fmla="*/ 49 w 302"/>
                  <a:gd name="T67" fmla="*/ 104 h 118"/>
                  <a:gd name="T68" fmla="*/ 31 w 302"/>
                  <a:gd name="T69" fmla="*/ 104 h 118"/>
                  <a:gd name="T70" fmla="*/ 36 w 302"/>
                  <a:gd name="T71" fmla="*/ 100 h 118"/>
                  <a:gd name="T72" fmla="*/ 22 w 302"/>
                  <a:gd name="T73" fmla="*/ 95 h 118"/>
                  <a:gd name="T74" fmla="*/ 22 w 302"/>
                  <a:gd name="T75" fmla="*/ 86 h 118"/>
                  <a:gd name="T76" fmla="*/ 13 w 302"/>
                  <a:gd name="T77" fmla="*/ 77 h 118"/>
                  <a:gd name="T78" fmla="*/ 9 w 302"/>
                  <a:gd name="T79" fmla="*/ 73 h 118"/>
                  <a:gd name="T80" fmla="*/ 13 w 302"/>
                  <a:gd name="T81" fmla="*/ 73 h 118"/>
                  <a:gd name="T82" fmla="*/ 18 w 302"/>
                  <a:gd name="T83" fmla="*/ 68 h 118"/>
                  <a:gd name="T84" fmla="*/ 18 w 302"/>
                  <a:gd name="T85" fmla="*/ 64 h 118"/>
                  <a:gd name="T86" fmla="*/ 13 w 302"/>
                  <a:gd name="T87" fmla="*/ 54 h 118"/>
                  <a:gd name="T88" fmla="*/ 4 w 302"/>
                  <a:gd name="T89" fmla="*/ 50 h 118"/>
                  <a:gd name="T90" fmla="*/ 18 w 302"/>
                  <a:gd name="T91" fmla="*/ 32 h 118"/>
                  <a:gd name="T92" fmla="*/ 31 w 302"/>
                  <a:gd name="T93" fmla="*/ 32 h 118"/>
                  <a:gd name="T94" fmla="*/ 45 w 302"/>
                  <a:gd name="T95" fmla="*/ 32 h 118"/>
                  <a:gd name="T96" fmla="*/ 58 w 302"/>
                  <a:gd name="T97" fmla="*/ 27 h 118"/>
                  <a:gd name="T98" fmla="*/ 45 w 302"/>
                  <a:gd name="T99" fmla="*/ 18 h 118"/>
                  <a:gd name="T100" fmla="*/ 95 w 302"/>
                  <a:gd name="T101" fmla="*/ 9 h 118"/>
                  <a:gd name="T102" fmla="*/ 140 w 302"/>
                  <a:gd name="T103" fmla="*/ 0 h 118"/>
                  <a:gd name="T104" fmla="*/ 22 w 302"/>
                  <a:gd name="T105" fmla="*/ 5 h 118"/>
                  <a:gd name="T106" fmla="*/ 45 w 302"/>
                  <a:gd name="T107" fmla="*/ 18 h 118"/>
                  <a:gd name="T108" fmla="*/ 27 w 302"/>
                  <a:gd name="T109" fmla="*/ 23 h 118"/>
                  <a:gd name="T110" fmla="*/ 4 w 302"/>
                  <a:gd name="T111" fmla="*/ 41 h 118"/>
                  <a:gd name="T112" fmla="*/ 9 w 302"/>
                  <a:gd name="T113" fmla="*/ 27 h 118"/>
                  <a:gd name="T114" fmla="*/ 4 w 302"/>
                  <a:gd name="T115" fmla="*/ 23 h 118"/>
                  <a:gd name="T116" fmla="*/ 9 w 302"/>
                  <a:gd name="T117" fmla="*/ 14 h 118"/>
                  <a:gd name="T118" fmla="*/ 0 w 302"/>
                  <a:gd name="T119" fmla="*/ 9 h 118"/>
                  <a:gd name="T120" fmla="*/ 9 w 302"/>
                  <a:gd name="T121" fmla="*/ 5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02" h="118">
                    <a:moveTo>
                      <a:pt x="140" y="5"/>
                    </a:moveTo>
                    <a:lnTo>
                      <a:pt x="140" y="5"/>
                    </a:lnTo>
                    <a:lnTo>
                      <a:pt x="140" y="5"/>
                    </a:lnTo>
                    <a:lnTo>
                      <a:pt x="140" y="5"/>
                    </a:lnTo>
                    <a:lnTo>
                      <a:pt x="140" y="9"/>
                    </a:lnTo>
                    <a:lnTo>
                      <a:pt x="144" y="9"/>
                    </a:lnTo>
                    <a:lnTo>
                      <a:pt x="149" y="9"/>
                    </a:lnTo>
                    <a:lnTo>
                      <a:pt x="153" y="9"/>
                    </a:lnTo>
                    <a:lnTo>
                      <a:pt x="153" y="9"/>
                    </a:lnTo>
                    <a:lnTo>
                      <a:pt x="153" y="14"/>
                    </a:lnTo>
                    <a:lnTo>
                      <a:pt x="158" y="14"/>
                    </a:lnTo>
                    <a:lnTo>
                      <a:pt x="158" y="14"/>
                    </a:lnTo>
                    <a:lnTo>
                      <a:pt x="162" y="14"/>
                    </a:lnTo>
                    <a:lnTo>
                      <a:pt x="162" y="14"/>
                    </a:lnTo>
                    <a:lnTo>
                      <a:pt x="162" y="14"/>
                    </a:lnTo>
                    <a:lnTo>
                      <a:pt x="167" y="14"/>
                    </a:lnTo>
                    <a:lnTo>
                      <a:pt x="167" y="14"/>
                    </a:lnTo>
                    <a:lnTo>
                      <a:pt x="171" y="18"/>
                    </a:lnTo>
                    <a:lnTo>
                      <a:pt x="176" y="18"/>
                    </a:lnTo>
                    <a:lnTo>
                      <a:pt x="180" y="18"/>
                    </a:lnTo>
                    <a:lnTo>
                      <a:pt x="185" y="18"/>
                    </a:lnTo>
                    <a:lnTo>
                      <a:pt x="189" y="23"/>
                    </a:lnTo>
                    <a:lnTo>
                      <a:pt x="194" y="23"/>
                    </a:lnTo>
                    <a:lnTo>
                      <a:pt x="198" y="18"/>
                    </a:lnTo>
                    <a:lnTo>
                      <a:pt x="207" y="18"/>
                    </a:lnTo>
                    <a:lnTo>
                      <a:pt x="212" y="18"/>
                    </a:lnTo>
                    <a:lnTo>
                      <a:pt x="216" y="23"/>
                    </a:lnTo>
                    <a:lnTo>
                      <a:pt x="216" y="18"/>
                    </a:lnTo>
                    <a:lnTo>
                      <a:pt x="216" y="23"/>
                    </a:lnTo>
                    <a:lnTo>
                      <a:pt x="221" y="23"/>
                    </a:lnTo>
                    <a:lnTo>
                      <a:pt x="226" y="18"/>
                    </a:lnTo>
                    <a:lnTo>
                      <a:pt x="230" y="18"/>
                    </a:lnTo>
                    <a:lnTo>
                      <a:pt x="230" y="14"/>
                    </a:lnTo>
                    <a:lnTo>
                      <a:pt x="230" y="14"/>
                    </a:lnTo>
                    <a:lnTo>
                      <a:pt x="235" y="14"/>
                    </a:lnTo>
                    <a:lnTo>
                      <a:pt x="239" y="9"/>
                    </a:lnTo>
                    <a:lnTo>
                      <a:pt x="239" y="9"/>
                    </a:lnTo>
                    <a:lnTo>
                      <a:pt x="239" y="9"/>
                    </a:lnTo>
                    <a:lnTo>
                      <a:pt x="244" y="9"/>
                    </a:lnTo>
                    <a:lnTo>
                      <a:pt x="244" y="9"/>
                    </a:lnTo>
                    <a:lnTo>
                      <a:pt x="244" y="9"/>
                    </a:lnTo>
                    <a:lnTo>
                      <a:pt x="248" y="9"/>
                    </a:lnTo>
                    <a:lnTo>
                      <a:pt x="248" y="9"/>
                    </a:lnTo>
                    <a:lnTo>
                      <a:pt x="248" y="9"/>
                    </a:lnTo>
                    <a:lnTo>
                      <a:pt x="253" y="9"/>
                    </a:lnTo>
                    <a:lnTo>
                      <a:pt x="253" y="9"/>
                    </a:lnTo>
                    <a:lnTo>
                      <a:pt x="253" y="9"/>
                    </a:lnTo>
                    <a:lnTo>
                      <a:pt x="253" y="9"/>
                    </a:lnTo>
                    <a:lnTo>
                      <a:pt x="253" y="9"/>
                    </a:lnTo>
                    <a:lnTo>
                      <a:pt x="253" y="9"/>
                    </a:lnTo>
                    <a:lnTo>
                      <a:pt x="257" y="9"/>
                    </a:lnTo>
                    <a:lnTo>
                      <a:pt x="257" y="9"/>
                    </a:lnTo>
                    <a:lnTo>
                      <a:pt x="257" y="9"/>
                    </a:lnTo>
                    <a:lnTo>
                      <a:pt x="257" y="9"/>
                    </a:lnTo>
                    <a:lnTo>
                      <a:pt x="262" y="9"/>
                    </a:lnTo>
                    <a:lnTo>
                      <a:pt x="262" y="14"/>
                    </a:lnTo>
                    <a:lnTo>
                      <a:pt x="262" y="14"/>
                    </a:lnTo>
                    <a:lnTo>
                      <a:pt x="266" y="14"/>
                    </a:lnTo>
                    <a:lnTo>
                      <a:pt x="262" y="14"/>
                    </a:lnTo>
                    <a:lnTo>
                      <a:pt x="266" y="14"/>
                    </a:lnTo>
                    <a:lnTo>
                      <a:pt x="266" y="14"/>
                    </a:lnTo>
                    <a:lnTo>
                      <a:pt x="266" y="14"/>
                    </a:lnTo>
                    <a:lnTo>
                      <a:pt x="266" y="14"/>
                    </a:lnTo>
                    <a:lnTo>
                      <a:pt x="266" y="14"/>
                    </a:lnTo>
                    <a:lnTo>
                      <a:pt x="271" y="18"/>
                    </a:lnTo>
                    <a:lnTo>
                      <a:pt x="271" y="18"/>
                    </a:lnTo>
                    <a:lnTo>
                      <a:pt x="271" y="18"/>
                    </a:lnTo>
                    <a:lnTo>
                      <a:pt x="271" y="18"/>
                    </a:lnTo>
                    <a:lnTo>
                      <a:pt x="271" y="18"/>
                    </a:lnTo>
                    <a:lnTo>
                      <a:pt x="271" y="18"/>
                    </a:lnTo>
                    <a:lnTo>
                      <a:pt x="271" y="18"/>
                    </a:lnTo>
                    <a:lnTo>
                      <a:pt x="275" y="23"/>
                    </a:lnTo>
                    <a:lnTo>
                      <a:pt x="275" y="23"/>
                    </a:lnTo>
                    <a:lnTo>
                      <a:pt x="275" y="27"/>
                    </a:lnTo>
                    <a:lnTo>
                      <a:pt x="275" y="27"/>
                    </a:lnTo>
                    <a:lnTo>
                      <a:pt x="275" y="27"/>
                    </a:lnTo>
                    <a:lnTo>
                      <a:pt x="275" y="27"/>
                    </a:lnTo>
                    <a:lnTo>
                      <a:pt x="275" y="32"/>
                    </a:lnTo>
                    <a:lnTo>
                      <a:pt x="275" y="32"/>
                    </a:lnTo>
                    <a:lnTo>
                      <a:pt x="275" y="32"/>
                    </a:lnTo>
                    <a:lnTo>
                      <a:pt x="275" y="36"/>
                    </a:lnTo>
                    <a:lnTo>
                      <a:pt x="275" y="36"/>
                    </a:lnTo>
                    <a:lnTo>
                      <a:pt x="275" y="36"/>
                    </a:lnTo>
                    <a:lnTo>
                      <a:pt x="280" y="36"/>
                    </a:lnTo>
                    <a:lnTo>
                      <a:pt x="280" y="36"/>
                    </a:lnTo>
                    <a:lnTo>
                      <a:pt x="280" y="36"/>
                    </a:lnTo>
                    <a:lnTo>
                      <a:pt x="284" y="36"/>
                    </a:lnTo>
                    <a:lnTo>
                      <a:pt x="284" y="36"/>
                    </a:lnTo>
                    <a:lnTo>
                      <a:pt x="289" y="36"/>
                    </a:lnTo>
                    <a:lnTo>
                      <a:pt x="289" y="41"/>
                    </a:lnTo>
                    <a:lnTo>
                      <a:pt x="293" y="41"/>
                    </a:lnTo>
                    <a:lnTo>
                      <a:pt x="293" y="41"/>
                    </a:lnTo>
                    <a:lnTo>
                      <a:pt x="293" y="45"/>
                    </a:lnTo>
                    <a:lnTo>
                      <a:pt x="293" y="45"/>
                    </a:lnTo>
                    <a:lnTo>
                      <a:pt x="293" y="45"/>
                    </a:lnTo>
                    <a:lnTo>
                      <a:pt x="293" y="45"/>
                    </a:lnTo>
                    <a:lnTo>
                      <a:pt x="293" y="41"/>
                    </a:lnTo>
                    <a:lnTo>
                      <a:pt x="289" y="41"/>
                    </a:lnTo>
                    <a:lnTo>
                      <a:pt x="289" y="45"/>
                    </a:lnTo>
                    <a:lnTo>
                      <a:pt x="289" y="50"/>
                    </a:lnTo>
                    <a:lnTo>
                      <a:pt x="289" y="50"/>
                    </a:lnTo>
                    <a:lnTo>
                      <a:pt x="289" y="50"/>
                    </a:lnTo>
                    <a:lnTo>
                      <a:pt x="284" y="50"/>
                    </a:lnTo>
                    <a:lnTo>
                      <a:pt x="284" y="50"/>
                    </a:lnTo>
                    <a:lnTo>
                      <a:pt x="284" y="50"/>
                    </a:lnTo>
                    <a:lnTo>
                      <a:pt x="284" y="50"/>
                    </a:lnTo>
                    <a:lnTo>
                      <a:pt x="284" y="50"/>
                    </a:lnTo>
                    <a:lnTo>
                      <a:pt x="284" y="50"/>
                    </a:lnTo>
                    <a:lnTo>
                      <a:pt x="284" y="54"/>
                    </a:lnTo>
                    <a:lnTo>
                      <a:pt x="284" y="54"/>
                    </a:lnTo>
                    <a:lnTo>
                      <a:pt x="289" y="54"/>
                    </a:lnTo>
                    <a:lnTo>
                      <a:pt x="289" y="54"/>
                    </a:lnTo>
                    <a:lnTo>
                      <a:pt x="289" y="54"/>
                    </a:lnTo>
                    <a:lnTo>
                      <a:pt x="289" y="54"/>
                    </a:lnTo>
                    <a:lnTo>
                      <a:pt x="289" y="54"/>
                    </a:lnTo>
                    <a:lnTo>
                      <a:pt x="289" y="59"/>
                    </a:lnTo>
                    <a:lnTo>
                      <a:pt x="289" y="59"/>
                    </a:lnTo>
                    <a:lnTo>
                      <a:pt x="289" y="59"/>
                    </a:lnTo>
                    <a:lnTo>
                      <a:pt x="289" y="64"/>
                    </a:lnTo>
                    <a:lnTo>
                      <a:pt x="289" y="64"/>
                    </a:lnTo>
                    <a:lnTo>
                      <a:pt x="289" y="64"/>
                    </a:lnTo>
                    <a:lnTo>
                      <a:pt x="289" y="68"/>
                    </a:lnTo>
                    <a:lnTo>
                      <a:pt x="289" y="68"/>
                    </a:lnTo>
                    <a:lnTo>
                      <a:pt x="293" y="68"/>
                    </a:lnTo>
                    <a:lnTo>
                      <a:pt x="293" y="68"/>
                    </a:lnTo>
                    <a:lnTo>
                      <a:pt x="293" y="68"/>
                    </a:lnTo>
                    <a:lnTo>
                      <a:pt x="293" y="68"/>
                    </a:lnTo>
                    <a:lnTo>
                      <a:pt x="293" y="68"/>
                    </a:lnTo>
                    <a:lnTo>
                      <a:pt x="293" y="73"/>
                    </a:lnTo>
                    <a:lnTo>
                      <a:pt x="293" y="73"/>
                    </a:lnTo>
                    <a:lnTo>
                      <a:pt x="293" y="73"/>
                    </a:lnTo>
                    <a:lnTo>
                      <a:pt x="293" y="73"/>
                    </a:lnTo>
                    <a:lnTo>
                      <a:pt x="293" y="73"/>
                    </a:lnTo>
                    <a:lnTo>
                      <a:pt x="293" y="77"/>
                    </a:lnTo>
                    <a:lnTo>
                      <a:pt x="293" y="77"/>
                    </a:lnTo>
                    <a:lnTo>
                      <a:pt x="293" y="77"/>
                    </a:lnTo>
                    <a:lnTo>
                      <a:pt x="293" y="77"/>
                    </a:lnTo>
                    <a:lnTo>
                      <a:pt x="293" y="77"/>
                    </a:lnTo>
                    <a:lnTo>
                      <a:pt x="298" y="82"/>
                    </a:lnTo>
                    <a:lnTo>
                      <a:pt x="298" y="82"/>
                    </a:lnTo>
                    <a:lnTo>
                      <a:pt x="298" y="82"/>
                    </a:lnTo>
                    <a:lnTo>
                      <a:pt x="298" y="82"/>
                    </a:lnTo>
                    <a:lnTo>
                      <a:pt x="298" y="82"/>
                    </a:lnTo>
                    <a:lnTo>
                      <a:pt x="298" y="82"/>
                    </a:lnTo>
                    <a:lnTo>
                      <a:pt x="298" y="86"/>
                    </a:lnTo>
                    <a:lnTo>
                      <a:pt x="298" y="86"/>
                    </a:lnTo>
                    <a:lnTo>
                      <a:pt x="298" y="86"/>
                    </a:lnTo>
                    <a:lnTo>
                      <a:pt x="302" y="86"/>
                    </a:lnTo>
                    <a:lnTo>
                      <a:pt x="302" y="91"/>
                    </a:lnTo>
                    <a:lnTo>
                      <a:pt x="302" y="91"/>
                    </a:lnTo>
                    <a:lnTo>
                      <a:pt x="302" y="91"/>
                    </a:lnTo>
                    <a:lnTo>
                      <a:pt x="302" y="91"/>
                    </a:lnTo>
                    <a:lnTo>
                      <a:pt x="302" y="91"/>
                    </a:lnTo>
                    <a:lnTo>
                      <a:pt x="302" y="91"/>
                    </a:lnTo>
                    <a:lnTo>
                      <a:pt x="302" y="91"/>
                    </a:lnTo>
                    <a:lnTo>
                      <a:pt x="298" y="91"/>
                    </a:lnTo>
                    <a:lnTo>
                      <a:pt x="298" y="91"/>
                    </a:lnTo>
                    <a:lnTo>
                      <a:pt x="298" y="91"/>
                    </a:lnTo>
                    <a:lnTo>
                      <a:pt x="298" y="95"/>
                    </a:lnTo>
                    <a:lnTo>
                      <a:pt x="293" y="95"/>
                    </a:lnTo>
                    <a:lnTo>
                      <a:pt x="293" y="95"/>
                    </a:lnTo>
                    <a:lnTo>
                      <a:pt x="293" y="95"/>
                    </a:lnTo>
                    <a:lnTo>
                      <a:pt x="293" y="95"/>
                    </a:lnTo>
                    <a:lnTo>
                      <a:pt x="293" y="95"/>
                    </a:lnTo>
                    <a:lnTo>
                      <a:pt x="293" y="91"/>
                    </a:lnTo>
                    <a:lnTo>
                      <a:pt x="293" y="91"/>
                    </a:lnTo>
                    <a:lnTo>
                      <a:pt x="293" y="91"/>
                    </a:lnTo>
                    <a:lnTo>
                      <a:pt x="293" y="91"/>
                    </a:lnTo>
                    <a:lnTo>
                      <a:pt x="289" y="91"/>
                    </a:lnTo>
                    <a:lnTo>
                      <a:pt x="289" y="86"/>
                    </a:lnTo>
                    <a:lnTo>
                      <a:pt x="289" y="91"/>
                    </a:lnTo>
                    <a:lnTo>
                      <a:pt x="289" y="91"/>
                    </a:lnTo>
                    <a:lnTo>
                      <a:pt x="284" y="91"/>
                    </a:lnTo>
                    <a:lnTo>
                      <a:pt x="284" y="91"/>
                    </a:lnTo>
                    <a:lnTo>
                      <a:pt x="284" y="91"/>
                    </a:lnTo>
                    <a:lnTo>
                      <a:pt x="280" y="91"/>
                    </a:lnTo>
                    <a:lnTo>
                      <a:pt x="280" y="91"/>
                    </a:lnTo>
                    <a:lnTo>
                      <a:pt x="275" y="86"/>
                    </a:lnTo>
                    <a:lnTo>
                      <a:pt x="275" y="86"/>
                    </a:lnTo>
                    <a:lnTo>
                      <a:pt x="271" y="91"/>
                    </a:lnTo>
                    <a:lnTo>
                      <a:pt x="271" y="86"/>
                    </a:lnTo>
                    <a:lnTo>
                      <a:pt x="271" y="86"/>
                    </a:lnTo>
                    <a:lnTo>
                      <a:pt x="271" y="86"/>
                    </a:lnTo>
                    <a:lnTo>
                      <a:pt x="266" y="91"/>
                    </a:lnTo>
                    <a:lnTo>
                      <a:pt x="266" y="91"/>
                    </a:lnTo>
                    <a:lnTo>
                      <a:pt x="266" y="91"/>
                    </a:lnTo>
                    <a:lnTo>
                      <a:pt x="262" y="91"/>
                    </a:lnTo>
                    <a:lnTo>
                      <a:pt x="262" y="91"/>
                    </a:lnTo>
                    <a:lnTo>
                      <a:pt x="262" y="91"/>
                    </a:lnTo>
                    <a:lnTo>
                      <a:pt x="262" y="91"/>
                    </a:lnTo>
                    <a:lnTo>
                      <a:pt x="262" y="91"/>
                    </a:lnTo>
                    <a:lnTo>
                      <a:pt x="257" y="91"/>
                    </a:lnTo>
                    <a:lnTo>
                      <a:pt x="257" y="91"/>
                    </a:lnTo>
                    <a:lnTo>
                      <a:pt x="253" y="91"/>
                    </a:lnTo>
                    <a:lnTo>
                      <a:pt x="253" y="95"/>
                    </a:lnTo>
                    <a:lnTo>
                      <a:pt x="248" y="95"/>
                    </a:lnTo>
                    <a:lnTo>
                      <a:pt x="248" y="95"/>
                    </a:lnTo>
                    <a:lnTo>
                      <a:pt x="244" y="95"/>
                    </a:lnTo>
                    <a:lnTo>
                      <a:pt x="244" y="95"/>
                    </a:lnTo>
                    <a:lnTo>
                      <a:pt x="239" y="95"/>
                    </a:lnTo>
                    <a:lnTo>
                      <a:pt x="239" y="95"/>
                    </a:lnTo>
                    <a:lnTo>
                      <a:pt x="235" y="95"/>
                    </a:lnTo>
                    <a:lnTo>
                      <a:pt x="226" y="100"/>
                    </a:lnTo>
                    <a:lnTo>
                      <a:pt x="221" y="100"/>
                    </a:lnTo>
                    <a:lnTo>
                      <a:pt x="221" y="100"/>
                    </a:lnTo>
                    <a:lnTo>
                      <a:pt x="216" y="100"/>
                    </a:lnTo>
                    <a:lnTo>
                      <a:pt x="212" y="100"/>
                    </a:lnTo>
                    <a:lnTo>
                      <a:pt x="212" y="100"/>
                    </a:lnTo>
                    <a:lnTo>
                      <a:pt x="207" y="100"/>
                    </a:lnTo>
                    <a:lnTo>
                      <a:pt x="207" y="100"/>
                    </a:lnTo>
                    <a:lnTo>
                      <a:pt x="203" y="100"/>
                    </a:lnTo>
                    <a:lnTo>
                      <a:pt x="203" y="100"/>
                    </a:lnTo>
                    <a:lnTo>
                      <a:pt x="203" y="100"/>
                    </a:lnTo>
                    <a:lnTo>
                      <a:pt x="198" y="100"/>
                    </a:lnTo>
                    <a:lnTo>
                      <a:pt x="198" y="100"/>
                    </a:lnTo>
                    <a:lnTo>
                      <a:pt x="194" y="100"/>
                    </a:lnTo>
                    <a:lnTo>
                      <a:pt x="194" y="100"/>
                    </a:lnTo>
                    <a:lnTo>
                      <a:pt x="189" y="100"/>
                    </a:lnTo>
                    <a:lnTo>
                      <a:pt x="189" y="100"/>
                    </a:lnTo>
                    <a:lnTo>
                      <a:pt x="185" y="104"/>
                    </a:lnTo>
                    <a:lnTo>
                      <a:pt x="185" y="104"/>
                    </a:lnTo>
                    <a:lnTo>
                      <a:pt x="185" y="104"/>
                    </a:lnTo>
                    <a:lnTo>
                      <a:pt x="180" y="104"/>
                    </a:lnTo>
                    <a:lnTo>
                      <a:pt x="180" y="100"/>
                    </a:lnTo>
                    <a:lnTo>
                      <a:pt x="180" y="100"/>
                    </a:lnTo>
                    <a:lnTo>
                      <a:pt x="176" y="100"/>
                    </a:lnTo>
                    <a:lnTo>
                      <a:pt x="176" y="100"/>
                    </a:lnTo>
                    <a:lnTo>
                      <a:pt x="176" y="100"/>
                    </a:lnTo>
                    <a:lnTo>
                      <a:pt x="171" y="100"/>
                    </a:lnTo>
                    <a:lnTo>
                      <a:pt x="171" y="104"/>
                    </a:lnTo>
                    <a:lnTo>
                      <a:pt x="171" y="104"/>
                    </a:lnTo>
                    <a:lnTo>
                      <a:pt x="176" y="109"/>
                    </a:lnTo>
                    <a:lnTo>
                      <a:pt x="176" y="109"/>
                    </a:lnTo>
                    <a:lnTo>
                      <a:pt x="176" y="109"/>
                    </a:lnTo>
                    <a:lnTo>
                      <a:pt x="171" y="109"/>
                    </a:lnTo>
                    <a:lnTo>
                      <a:pt x="171" y="113"/>
                    </a:lnTo>
                    <a:lnTo>
                      <a:pt x="171" y="113"/>
                    </a:lnTo>
                    <a:lnTo>
                      <a:pt x="171" y="113"/>
                    </a:lnTo>
                    <a:lnTo>
                      <a:pt x="171" y="113"/>
                    </a:lnTo>
                    <a:lnTo>
                      <a:pt x="167" y="118"/>
                    </a:lnTo>
                    <a:lnTo>
                      <a:pt x="167" y="118"/>
                    </a:lnTo>
                    <a:lnTo>
                      <a:pt x="167" y="118"/>
                    </a:lnTo>
                    <a:lnTo>
                      <a:pt x="167" y="118"/>
                    </a:lnTo>
                    <a:lnTo>
                      <a:pt x="162" y="118"/>
                    </a:lnTo>
                    <a:lnTo>
                      <a:pt x="167" y="113"/>
                    </a:lnTo>
                    <a:lnTo>
                      <a:pt x="162" y="113"/>
                    </a:lnTo>
                    <a:lnTo>
                      <a:pt x="162" y="109"/>
                    </a:lnTo>
                    <a:lnTo>
                      <a:pt x="162" y="109"/>
                    </a:lnTo>
                    <a:lnTo>
                      <a:pt x="167" y="104"/>
                    </a:lnTo>
                    <a:lnTo>
                      <a:pt x="167" y="104"/>
                    </a:lnTo>
                    <a:lnTo>
                      <a:pt x="167" y="100"/>
                    </a:lnTo>
                    <a:lnTo>
                      <a:pt x="167" y="100"/>
                    </a:lnTo>
                    <a:lnTo>
                      <a:pt x="167" y="100"/>
                    </a:lnTo>
                    <a:lnTo>
                      <a:pt x="162" y="100"/>
                    </a:lnTo>
                    <a:lnTo>
                      <a:pt x="162" y="100"/>
                    </a:lnTo>
                    <a:lnTo>
                      <a:pt x="162" y="100"/>
                    </a:lnTo>
                    <a:lnTo>
                      <a:pt x="158" y="100"/>
                    </a:lnTo>
                    <a:lnTo>
                      <a:pt x="158" y="100"/>
                    </a:lnTo>
                    <a:lnTo>
                      <a:pt x="158" y="104"/>
                    </a:lnTo>
                    <a:lnTo>
                      <a:pt x="158" y="104"/>
                    </a:lnTo>
                    <a:lnTo>
                      <a:pt x="153" y="104"/>
                    </a:lnTo>
                    <a:lnTo>
                      <a:pt x="149" y="104"/>
                    </a:lnTo>
                    <a:lnTo>
                      <a:pt x="149" y="100"/>
                    </a:lnTo>
                    <a:lnTo>
                      <a:pt x="144" y="100"/>
                    </a:lnTo>
                    <a:lnTo>
                      <a:pt x="144" y="100"/>
                    </a:lnTo>
                    <a:lnTo>
                      <a:pt x="140" y="100"/>
                    </a:lnTo>
                    <a:lnTo>
                      <a:pt x="135" y="104"/>
                    </a:lnTo>
                    <a:lnTo>
                      <a:pt x="135" y="109"/>
                    </a:lnTo>
                    <a:lnTo>
                      <a:pt x="131" y="109"/>
                    </a:lnTo>
                    <a:lnTo>
                      <a:pt x="126" y="113"/>
                    </a:lnTo>
                    <a:lnTo>
                      <a:pt x="126" y="113"/>
                    </a:lnTo>
                    <a:lnTo>
                      <a:pt x="126" y="113"/>
                    </a:lnTo>
                    <a:lnTo>
                      <a:pt x="117" y="113"/>
                    </a:lnTo>
                    <a:lnTo>
                      <a:pt x="117" y="113"/>
                    </a:lnTo>
                    <a:lnTo>
                      <a:pt x="113" y="113"/>
                    </a:lnTo>
                    <a:lnTo>
                      <a:pt x="108" y="113"/>
                    </a:lnTo>
                    <a:lnTo>
                      <a:pt x="108" y="113"/>
                    </a:lnTo>
                    <a:lnTo>
                      <a:pt x="104" y="109"/>
                    </a:lnTo>
                    <a:lnTo>
                      <a:pt x="104" y="109"/>
                    </a:lnTo>
                    <a:lnTo>
                      <a:pt x="99" y="104"/>
                    </a:lnTo>
                    <a:lnTo>
                      <a:pt x="95" y="104"/>
                    </a:lnTo>
                    <a:lnTo>
                      <a:pt x="90" y="100"/>
                    </a:lnTo>
                    <a:lnTo>
                      <a:pt x="85" y="100"/>
                    </a:lnTo>
                    <a:lnTo>
                      <a:pt x="81" y="100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6" y="104"/>
                    </a:lnTo>
                    <a:lnTo>
                      <a:pt x="76" y="109"/>
                    </a:lnTo>
                    <a:lnTo>
                      <a:pt x="76" y="109"/>
                    </a:lnTo>
                    <a:lnTo>
                      <a:pt x="76" y="109"/>
                    </a:lnTo>
                    <a:lnTo>
                      <a:pt x="76" y="113"/>
                    </a:lnTo>
                    <a:lnTo>
                      <a:pt x="72" y="109"/>
                    </a:lnTo>
                    <a:lnTo>
                      <a:pt x="72" y="109"/>
                    </a:lnTo>
                    <a:lnTo>
                      <a:pt x="72" y="113"/>
                    </a:lnTo>
                    <a:lnTo>
                      <a:pt x="67" y="113"/>
                    </a:lnTo>
                    <a:lnTo>
                      <a:pt x="63" y="113"/>
                    </a:lnTo>
                    <a:lnTo>
                      <a:pt x="58" y="113"/>
                    </a:lnTo>
                    <a:lnTo>
                      <a:pt x="58" y="109"/>
                    </a:lnTo>
                    <a:lnTo>
                      <a:pt x="54" y="109"/>
                    </a:lnTo>
                    <a:lnTo>
                      <a:pt x="54" y="104"/>
                    </a:lnTo>
                    <a:lnTo>
                      <a:pt x="54" y="104"/>
                    </a:lnTo>
                    <a:lnTo>
                      <a:pt x="54" y="104"/>
                    </a:lnTo>
                    <a:lnTo>
                      <a:pt x="54" y="104"/>
                    </a:lnTo>
                    <a:lnTo>
                      <a:pt x="49" y="104"/>
                    </a:lnTo>
                    <a:lnTo>
                      <a:pt x="49" y="104"/>
                    </a:lnTo>
                    <a:lnTo>
                      <a:pt x="49" y="104"/>
                    </a:lnTo>
                    <a:lnTo>
                      <a:pt x="49" y="104"/>
                    </a:lnTo>
                    <a:lnTo>
                      <a:pt x="45" y="100"/>
                    </a:lnTo>
                    <a:lnTo>
                      <a:pt x="40" y="100"/>
                    </a:lnTo>
                    <a:lnTo>
                      <a:pt x="40" y="104"/>
                    </a:lnTo>
                    <a:lnTo>
                      <a:pt x="36" y="104"/>
                    </a:lnTo>
                    <a:lnTo>
                      <a:pt x="36" y="104"/>
                    </a:lnTo>
                    <a:lnTo>
                      <a:pt x="36" y="104"/>
                    </a:lnTo>
                    <a:lnTo>
                      <a:pt x="36" y="104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27" y="104"/>
                    </a:lnTo>
                    <a:lnTo>
                      <a:pt x="27" y="104"/>
                    </a:lnTo>
                    <a:lnTo>
                      <a:pt x="27" y="104"/>
                    </a:lnTo>
                    <a:lnTo>
                      <a:pt x="27" y="104"/>
                    </a:lnTo>
                    <a:lnTo>
                      <a:pt x="31" y="100"/>
                    </a:lnTo>
                    <a:lnTo>
                      <a:pt x="36" y="100"/>
                    </a:lnTo>
                    <a:lnTo>
                      <a:pt x="36" y="100"/>
                    </a:lnTo>
                    <a:lnTo>
                      <a:pt x="36" y="100"/>
                    </a:lnTo>
                    <a:lnTo>
                      <a:pt x="40" y="100"/>
                    </a:lnTo>
                    <a:lnTo>
                      <a:pt x="40" y="95"/>
                    </a:lnTo>
                    <a:lnTo>
                      <a:pt x="36" y="95"/>
                    </a:lnTo>
                    <a:lnTo>
                      <a:pt x="31" y="100"/>
                    </a:lnTo>
                    <a:lnTo>
                      <a:pt x="27" y="95"/>
                    </a:lnTo>
                    <a:lnTo>
                      <a:pt x="27" y="100"/>
                    </a:lnTo>
                    <a:lnTo>
                      <a:pt x="22" y="100"/>
                    </a:lnTo>
                    <a:lnTo>
                      <a:pt x="22" y="95"/>
                    </a:lnTo>
                    <a:lnTo>
                      <a:pt x="22" y="95"/>
                    </a:lnTo>
                    <a:lnTo>
                      <a:pt x="27" y="95"/>
                    </a:lnTo>
                    <a:lnTo>
                      <a:pt x="27" y="95"/>
                    </a:lnTo>
                    <a:lnTo>
                      <a:pt x="27" y="95"/>
                    </a:lnTo>
                    <a:lnTo>
                      <a:pt x="27" y="91"/>
                    </a:lnTo>
                    <a:lnTo>
                      <a:pt x="27" y="91"/>
                    </a:lnTo>
                    <a:lnTo>
                      <a:pt x="22" y="91"/>
                    </a:lnTo>
                    <a:lnTo>
                      <a:pt x="22" y="91"/>
                    </a:lnTo>
                    <a:lnTo>
                      <a:pt x="22" y="91"/>
                    </a:lnTo>
                    <a:lnTo>
                      <a:pt x="22" y="86"/>
                    </a:lnTo>
                    <a:lnTo>
                      <a:pt x="18" y="86"/>
                    </a:lnTo>
                    <a:lnTo>
                      <a:pt x="18" y="86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7"/>
                    </a:lnTo>
                    <a:lnTo>
                      <a:pt x="22" y="77"/>
                    </a:lnTo>
                    <a:lnTo>
                      <a:pt x="18" y="77"/>
                    </a:lnTo>
                    <a:lnTo>
                      <a:pt x="18" y="77"/>
                    </a:lnTo>
                    <a:lnTo>
                      <a:pt x="13" y="77"/>
                    </a:lnTo>
                    <a:lnTo>
                      <a:pt x="13" y="77"/>
                    </a:lnTo>
                    <a:lnTo>
                      <a:pt x="13" y="77"/>
                    </a:lnTo>
                    <a:lnTo>
                      <a:pt x="13" y="77"/>
                    </a:lnTo>
                    <a:lnTo>
                      <a:pt x="9" y="77"/>
                    </a:lnTo>
                    <a:lnTo>
                      <a:pt x="9" y="77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13" y="68"/>
                    </a:lnTo>
                    <a:lnTo>
                      <a:pt x="13" y="73"/>
                    </a:lnTo>
                    <a:lnTo>
                      <a:pt x="13" y="73"/>
                    </a:lnTo>
                    <a:lnTo>
                      <a:pt x="13" y="73"/>
                    </a:lnTo>
                    <a:lnTo>
                      <a:pt x="13" y="73"/>
                    </a:lnTo>
                    <a:lnTo>
                      <a:pt x="13" y="73"/>
                    </a:lnTo>
                    <a:lnTo>
                      <a:pt x="13" y="73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18" y="68"/>
                    </a:lnTo>
                    <a:lnTo>
                      <a:pt x="13" y="68"/>
                    </a:lnTo>
                    <a:lnTo>
                      <a:pt x="13" y="68"/>
                    </a:lnTo>
                    <a:lnTo>
                      <a:pt x="13" y="68"/>
                    </a:lnTo>
                    <a:lnTo>
                      <a:pt x="13" y="64"/>
                    </a:lnTo>
                    <a:lnTo>
                      <a:pt x="13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3" y="64"/>
                    </a:lnTo>
                    <a:lnTo>
                      <a:pt x="13" y="59"/>
                    </a:lnTo>
                    <a:lnTo>
                      <a:pt x="13" y="59"/>
                    </a:lnTo>
                    <a:lnTo>
                      <a:pt x="13" y="59"/>
                    </a:lnTo>
                    <a:lnTo>
                      <a:pt x="13" y="59"/>
                    </a:lnTo>
                    <a:lnTo>
                      <a:pt x="13" y="54"/>
                    </a:lnTo>
                    <a:lnTo>
                      <a:pt x="13" y="54"/>
                    </a:lnTo>
                    <a:lnTo>
                      <a:pt x="13" y="54"/>
                    </a:lnTo>
                    <a:lnTo>
                      <a:pt x="13" y="54"/>
                    </a:lnTo>
                    <a:lnTo>
                      <a:pt x="13" y="50"/>
                    </a:lnTo>
                    <a:lnTo>
                      <a:pt x="13" y="50"/>
                    </a:lnTo>
                    <a:lnTo>
                      <a:pt x="13" y="50"/>
                    </a:lnTo>
                    <a:lnTo>
                      <a:pt x="9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4" y="50"/>
                    </a:lnTo>
                    <a:lnTo>
                      <a:pt x="4" y="45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9" y="36"/>
                    </a:lnTo>
                    <a:lnTo>
                      <a:pt x="9" y="32"/>
                    </a:lnTo>
                    <a:lnTo>
                      <a:pt x="13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6"/>
                    </a:lnTo>
                    <a:lnTo>
                      <a:pt x="22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27" y="32"/>
                    </a:lnTo>
                    <a:lnTo>
                      <a:pt x="31" y="32"/>
                    </a:lnTo>
                    <a:lnTo>
                      <a:pt x="31" y="32"/>
                    </a:lnTo>
                    <a:lnTo>
                      <a:pt x="31" y="32"/>
                    </a:lnTo>
                    <a:lnTo>
                      <a:pt x="31" y="32"/>
                    </a:lnTo>
                    <a:lnTo>
                      <a:pt x="31" y="36"/>
                    </a:lnTo>
                    <a:lnTo>
                      <a:pt x="36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5" y="32"/>
                    </a:lnTo>
                    <a:lnTo>
                      <a:pt x="40" y="32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54" y="27"/>
                    </a:lnTo>
                    <a:lnTo>
                      <a:pt x="58" y="27"/>
                    </a:lnTo>
                    <a:lnTo>
                      <a:pt x="58" y="27"/>
                    </a:lnTo>
                    <a:lnTo>
                      <a:pt x="58" y="27"/>
                    </a:lnTo>
                    <a:lnTo>
                      <a:pt x="49" y="27"/>
                    </a:lnTo>
                    <a:lnTo>
                      <a:pt x="49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9" y="18"/>
                    </a:lnTo>
                    <a:lnTo>
                      <a:pt x="58" y="18"/>
                    </a:lnTo>
                    <a:lnTo>
                      <a:pt x="67" y="18"/>
                    </a:lnTo>
                    <a:lnTo>
                      <a:pt x="72" y="18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4"/>
                    </a:lnTo>
                    <a:lnTo>
                      <a:pt x="90" y="9"/>
                    </a:lnTo>
                    <a:lnTo>
                      <a:pt x="95" y="9"/>
                    </a:lnTo>
                    <a:lnTo>
                      <a:pt x="99" y="5"/>
                    </a:lnTo>
                    <a:lnTo>
                      <a:pt x="104" y="5"/>
                    </a:lnTo>
                    <a:lnTo>
                      <a:pt x="108" y="5"/>
                    </a:lnTo>
                    <a:lnTo>
                      <a:pt x="113" y="0"/>
                    </a:lnTo>
                    <a:lnTo>
                      <a:pt x="122" y="5"/>
                    </a:lnTo>
                    <a:lnTo>
                      <a:pt x="131" y="5"/>
                    </a:lnTo>
                    <a:lnTo>
                      <a:pt x="135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5"/>
                    </a:lnTo>
                    <a:moveTo>
                      <a:pt x="18" y="5"/>
                    </a:moveTo>
                    <a:lnTo>
                      <a:pt x="18" y="5"/>
                    </a:lnTo>
                    <a:lnTo>
                      <a:pt x="18" y="5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9"/>
                    </a:lnTo>
                    <a:lnTo>
                      <a:pt x="31" y="14"/>
                    </a:lnTo>
                    <a:lnTo>
                      <a:pt x="36" y="14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0" y="23"/>
                    </a:lnTo>
                    <a:lnTo>
                      <a:pt x="36" y="23"/>
                    </a:lnTo>
                    <a:lnTo>
                      <a:pt x="31" y="23"/>
                    </a:lnTo>
                    <a:lnTo>
                      <a:pt x="31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2" y="23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13" y="32"/>
                    </a:lnTo>
                    <a:lnTo>
                      <a:pt x="9" y="32"/>
                    </a:lnTo>
                    <a:lnTo>
                      <a:pt x="4" y="36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9" y="32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0" y="32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3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45" name="Freeform 166"/>
              <p:cNvSpPr>
                <a:spLocks/>
              </p:cNvSpPr>
              <p:nvPr/>
            </p:nvSpPr>
            <p:spPr bwMode="auto">
              <a:xfrm>
                <a:off x="7483476" y="2135189"/>
                <a:ext cx="34925" cy="106363"/>
              </a:xfrm>
              <a:custGeom>
                <a:avLst/>
                <a:gdLst>
                  <a:gd name="T0" fmla="*/ 18 w 22"/>
                  <a:gd name="T1" fmla="*/ 54 h 67"/>
                  <a:gd name="T2" fmla="*/ 18 w 22"/>
                  <a:gd name="T3" fmla="*/ 54 h 67"/>
                  <a:gd name="T4" fmla="*/ 18 w 22"/>
                  <a:gd name="T5" fmla="*/ 54 h 67"/>
                  <a:gd name="T6" fmla="*/ 18 w 22"/>
                  <a:gd name="T7" fmla="*/ 58 h 67"/>
                  <a:gd name="T8" fmla="*/ 18 w 22"/>
                  <a:gd name="T9" fmla="*/ 58 h 67"/>
                  <a:gd name="T10" fmla="*/ 18 w 22"/>
                  <a:gd name="T11" fmla="*/ 63 h 67"/>
                  <a:gd name="T12" fmla="*/ 22 w 22"/>
                  <a:gd name="T13" fmla="*/ 63 h 67"/>
                  <a:gd name="T14" fmla="*/ 22 w 22"/>
                  <a:gd name="T15" fmla="*/ 67 h 67"/>
                  <a:gd name="T16" fmla="*/ 18 w 22"/>
                  <a:gd name="T17" fmla="*/ 67 h 67"/>
                  <a:gd name="T18" fmla="*/ 18 w 22"/>
                  <a:gd name="T19" fmla="*/ 63 h 67"/>
                  <a:gd name="T20" fmla="*/ 18 w 22"/>
                  <a:gd name="T21" fmla="*/ 63 h 67"/>
                  <a:gd name="T22" fmla="*/ 13 w 22"/>
                  <a:gd name="T23" fmla="*/ 58 h 67"/>
                  <a:gd name="T24" fmla="*/ 13 w 22"/>
                  <a:gd name="T25" fmla="*/ 58 h 67"/>
                  <a:gd name="T26" fmla="*/ 13 w 22"/>
                  <a:gd name="T27" fmla="*/ 58 h 67"/>
                  <a:gd name="T28" fmla="*/ 9 w 22"/>
                  <a:gd name="T29" fmla="*/ 54 h 67"/>
                  <a:gd name="T30" fmla="*/ 9 w 22"/>
                  <a:gd name="T31" fmla="*/ 54 h 67"/>
                  <a:gd name="T32" fmla="*/ 9 w 22"/>
                  <a:gd name="T33" fmla="*/ 54 h 67"/>
                  <a:gd name="T34" fmla="*/ 9 w 22"/>
                  <a:gd name="T35" fmla="*/ 54 h 67"/>
                  <a:gd name="T36" fmla="*/ 4 w 22"/>
                  <a:gd name="T37" fmla="*/ 49 h 67"/>
                  <a:gd name="T38" fmla="*/ 4 w 22"/>
                  <a:gd name="T39" fmla="*/ 45 h 67"/>
                  <a:gd name="T40" fmla="*/ 0 w 22"/>
                  <a:gd name="T41" fmla="*/ 45 h 67"/>
                  <a:gd name="T42" fmla="*/ 0 w 22"/>
                  <a:gd name="T43" fmla="*/ 45 h 67"/>
                  <a:gd name="T44" fmla="*/ 0 w 22"/>
                  <a:gd name="T45" fmla="*/ 45 h 67"/>
                  <a:gd name="T46" fmla="*/ 0 w 22"/>
                  <a:gd name="T47" fmla="*/ 40 h 67"/>
                  <a:gd name="T48" fmla="*/ 0 w 22"/>
                  <a:gd name="T49" fmla="*/ 40 h 67"/>
                  <a:gd name="T50" fmla="*/ 0 w 22"/>
                  <a:gd name="T51" fmla="*/ 36 h 67"/>
                  <a:gd name="T52" fmla="*/ 0 w 22"/>
                  <a:gd name="T53" fmla="*/ 36 h 67"/>
                  <a:gd name="T54" fmla="*/ 0 w 22"/>
                  <a:gd name="T55" fmla="*/ 31 h 67"/>
                  <a:gd name="T56" fmla="*/ 0 w 22"/>
                  <a:gd name="T57" fmla="*/ 31 h 67"/>
                  <a:gd name="T58" fmla="*/ 0 w 22"/>
                  <a:gd name="T59" fmla="*/ 18 h 67"/>
                  <a:gd name="T60" fmla="*/ 0 w 22"/>
                  <a:gd name="T61" fmla="*/ 13 h 67"/>
                  <a:gd name="T62" fmla="*/ 4 w 22"/>
                  <a:gd name="T63" fmla="*/ 9 h 67"/>
                  <a:gd name="T64" fmla="*/ 4 w 22"/>
                  <a:gd name="T65" fmla="*/ 9 h 67"/>
                  <a:gd name="T66" fmla="*/ 4 w 22"/>
                  <a:gd name="T67" fmla="*/ 4 h 67"/>
                  <a:gd name="T68" fmla="*/ 4 w 22"/>
                  <a:gd name="T69" fmla="*/ 4 h 67"/>
                  <a:gd name="T70" fmla="*/ 4 w 22"/>
                  <a:gd name="T71" fmla="*/ 4 h 67"/>
                  <a:gd name="T72" fmla="*/ 9 w 22"/>
                  <a:gd name="T73" fmla="*/ 0 h 67"/>
                  <a:gd name="T74" fmla="*/ 9 w 22"/>
                  <a:gd name="T75" fmla="*/ 0 h 67"/>
                  <a:gd name="T76" fmla="*/ 9 w 22"/>
                  <a:gd name="T77" fmla="*/ 0 h 67"/>
                  <a:gd name="T78" fmla="*/ 9 w 22"/>
                  <a:gd name="T79" fmla="*/ 0 h 67"/>
                  <a:gd name="T80" fmla="*/ 13 w 22"/>
                  <a:gd name="T81" fmla="*/ 0 h 67"/>
                  <a:gd name="T82" fmla="*/ 13 w 22"/>
                  <a:gd name="T83" fmla="*/ 0 h 67"/>
                  <a:gd name="T84" fmla="*/ 13 w 22"/>
                  <a:gd name="T85" fmla="*/ 0 h 67"/>
                  <a:gd name="T86" fmla="*/ 18 w 22"/>
                  <a:gd name="T87" fmla="*/ 4 h 67"/>
                  <a:gd name="T88" fmla="*/ 18 w 22"/>
                  <a:gd name="T89" fmla="*/ 4 h 67"/>
                  <a:gd name="T90" fmla="*/ 18 w 22"/>
                  <a:gd name="T91" fmla="*/ 4 h 67"/>
                  <a:gd name="T92" fmla="*/ 18 w 22"/>
                  <a:gd name="T93" fmla="*/ 4 h 67"/>
                  <a:gd name="T94" fmla="*/ 18 w 22"/>
                  <a:gd name="T95" fmla="*/ 9 h 67"/>
                  <a:gd name="T96" fmla="*/ 18 w 22"/>
                  <a:gd name="T97" fmla="*/ 9 h 67"/>
                  <a:gd name="T98" fmla="*/ 18 w 22"/>
                  <a:gd name="T99" fmla="*/ 13 h 67"/>
                  <a:gd name="T100" fmla="*/ 18 w 22"/>
                  <a:gd name="T101" fmla="*/ 13 h 67"/>
                  <a:gd name="T102" fmla="*/ 22 w 22"/>
                  <a:gd name="T103" fmla="*/ 18 h 67"/>
                  <a:gd name="T104" fmla="*/ 18 w 22"/>
                  <a:gd name="T105" fmla="*/ 22 h 67"/>
                  <a:gd name="T106" fmla="*/ 18 w 22"/>
                  <a:gd name="T107" fmla="*/ 22 h 67"/>
                  <a:gd name="T108" fmla="*/ 22 w 22"/>
                  <a:gd name="T109" fmla="*/ 27 h 67"/>
                  <a:gd name="T110" fmla="*/ 22 w 22"/>
                  <a:gd name="T111" fmla="*/ 31 h 67"/>
                  <a:gd name="T112" fmla="*/ 22 w 22"/>
                  <a:gd name="T113" fmla="*/ 36 h 67"/>
                  <a:gd name="T114" fmla="*/ 22 w 22"/>
                  <a:gd name="T115" fmla="*/ 40 h 67"/>
                  <a:gd name="T116" fmla="*/ 22 w 22"/>
                  <a:gd name="T117" fmla="*/ 45 h 67"/>
                  <a:gd name="T118" fmla="*/ 22 w 22"/>
                  <a:gd name="T119" fmla="*/ 45 h 67"/>
                  <a:gd name="T120" fmla="*/ 22 w 22"/>
                  <a:gd name="T121" fmla="*/ 49 h 67"/>
                  <a:gd name="T122" fmla="*/ 18 w 22"/>
                  <a:gd name="T123" fmla="*/ 54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2" h="67">
                    <a:moveTo>
                      <a:pt x="18" y="54"/>
                    </a:moveTo>
                    <a:lnTo>
                      <a:pt x="18" y="54"/>
                    </a:lnTo>
                    <a:lnTo>
                      <a:pt x="18" y="54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63"/>
                    </a:lnTo>
                    <a:lnTo>
                      <a:pt x="22" y="63"/>
                    </a:lnTo>
                    <a:lnTo>
                      <a:pt x="22" y="67"/>
                    </a:lnTo>
                    <a:lnTo>
                      <a:pt x="18" y="67"/>
                    </a:lnTo>
                    <a:lnTo>
                      <a:pt x="18" y="63"/>
                    </a:lnTo>
                    <a:lnTo>
                      <a:pt x="18" y="63"/>
                    </a:lnTo>
                    <a:lnTo>
                      <a:pt x="13" y="58"/>
                    </a:lnTo>
                    <a:lnTo>
                      <a:pt x="13" y="58"/>
                    </a:lnTo>
                    <a:lnTo>
                      <a:pt x="13" y="58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4" y="49"/>
                    </a:lnTo>
                    <a:lnTo>
                      <a:pt x="4" y="45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18"/>
                    </a:lnTo>
                    <a:lnTo>
                      <a:pt x="0" y="13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22" y="18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22" y="27"/>
                    </a:lnTo>
                    <a:lnTo>
                      <a:pt x="22" y="31"/>
                    </a:lnTo>
                    <a:lnTo>
                      <a:pt x="22" y="36"/>
                    </a:lnTo>
                    <a:lnTo>
                      <a:pt x="22" y="40"/>
                    </a:lnTo>
                    <a:lnTo>
                      <a:pt x="22" y="45"/>
                    </a:lnTo>
                    <a:lnTo>
                      <a:pt x="22" y="45"/>
                    </a:lnTo>
                    <a:lnTo>
                      <a:pt x="22" y="49"/>
                    </a:lnTo>
                    <a:lnTo>
                      <a:pt x="18" y="5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46" name="Freeform 167"/>
              <p:cNvSpPr>
                <a:spLocks/>
              </p:cNvSpPr>
              <p:nvPr/>
            </p:nvSpPr>
            <p:spPr bwMode="auto">
              <a:xfrm>
                <a:off x="5080001" y="2981326"/>
                <a:ext cx="301625" cy="315913"/>
              </a:xfrm>
              <a:custGeom>
                <a:avLst/>
                <a:gdLst>
                  <a:gd name="T0" fmla="*/ 37 w 190"/>
                  <a:gd name="T1" fmla="*/ 0 h 199"/>
                  <a:gd name="T2" fmla="*/ 55 w 190"/>
                  <a:gd name="T3" fmla="*/ 0 h 199"/>
                  <a:gd name="T4" fmla="*/ 73 w 190"/>
                  <a:gd name="T5" fmla="*/ 0 h 199"/>
                  <a:gd name="T6" fmla="*/ 86 w 190"/>
                  <a:gd name="T7" fmla="*/ 0 h 199"/>
                  <a:gd name="T8" fmla="*/ 109 w 190"/>
                  <a:gd name="T9" fmla="*/ 14 h 199"/>
                  <a:gd name="T10" fmla="*/ 131 w 190"/>
                  <a:gd name="T11" fmla="*/ 27 h 199"/>
                  <a:gd name="T12" fmla="*/ 145 w 190"/>
                  <a:gd name="T13" fmla="*/ 36 h 199"/>
                  <a:gd name="T14" fmla="*/ 145 w 190"/>
                  <a:gd name="T15" fmla="*/ 45 h 199"/>
                  <a:gd name="T16" fmla="*/ 150 w 190"/>
                  <a:gd name="T17" fmla="*/ 50 h 199"/>
                  <a:gd name="T18" fmla="*/ 163 w 190"/>
                  <a:gd name="T19" fmla="*/ 59 h 199"/>
                  <a:gd name="T20" fmla="*/ 172 w 190"/>
                  <a:gd name="T21" fmla="*/ 68 h 199"/>
                  <a:gd name="T22" fmla="*/ 168 w 190"/>
                  <a:gd name="T23" fmla="*/ 86 h 199"/>
                  <a:gd name="T24" fmla="*/ 172 w 190"/>
                  <a:gd name="T25" fmla="*/ 104 h 199"/>
                  <a:gd name="T26" fmla="*/ 177 w 190"/>
                  <a:gd name="T27" fmla="*/ 113 h 199"/>
                  <a:gd name="T28" fmla="*/ 177 w 190"/>
                  <a:gd name="T29" fmla="*/ 127 h 199"/>
                  <a:gd name="T30" fmla="*/ 177 w 190"/>
                  <a:gd name="T31" fmla="*/ 149 h 199"/>
                  <a:gd name="T32" fmla="*/ 181 w 190"/>
                  <a:gd name="T33" fmla="*/ 163 h 199"/>
                  <a:gd name="T34" fmla="*/ 186 w 190"/>
                  <a:gd name="T35" fmla="*/ 172 h 199"/>
                  <a:gd name="T36" fmla="*/ 190 w 190"/>
                  <a:gd name="T37" fmla="*/ 176 h 199"/>
                  <a:gd name="T38" fmla="*/ 177 w 190"/>
                  <a:gd name="T39" fmla="*/ 185 h 199"/>
                  <a:gd name="T40" fmla="*/ 163 w 190"/>
                  <a:gd name="T41" fmla="*/ 190 h 199"/>
                  <a:gd name="T42" fmla="*/ 150 w 190"/>
                  <a:gd name="T43" fmla="*/ 194 h 199"/>
                  <a:gd name="T44" fmla="*/ 136 w 190"/>
                  <a:gd name="T45" fmla="*/ 199 h 199"/>
                  <a:gd name="T46" fmla="*/ 127 w 190"/>
                  <a:gd name="T47" fmla="*/ 199 h 199"/>
                  <a:gd name="T48" fmla="*/ 118 w 190"/>
                  <a:gd name="T49" fmla="*/ 199 h 199"/>
                  <a:gd name="T50" fmla="*/ 104 w 190"/>
                  <a:gd name="T51" fmla="*/ 199 h 199"/>
                  <a:gd name="T52" fmla="*/ 95 w 190"/>
                  <a:gd name="T53" fmla="*/ 194 h 199"/>
                  <a:gd name="T54" fmla="*/ 91 w 190"/>
                  <a:gd name="T55" fmla="*/ 190 h 199"/>
                  <a:gd name="T56" fmla="*/ 91 w 190"/>
                  <a:gd name="T57" fmla="*/ 185 h 199"/>
                  <a:gd name="T58" fmla="*/ 91 w 190"/>
                  <a:gd name="T59" fmla="*/ 176 h 199"/>
                  <a:gd name="T60" fmla="*/ 91 w 190"/>
                  <a:gd name="T61" fmla="*/ 167 h 199"/>
                  <a:gd name="T62" fmla="*/ 82 w 190"/>
                  <a:gd name="T63" fmla="*/ 158 h 199"/>
                  <a:gd name="T64" fmla="*/ 77 w 190"/>
                  <a:gd name="T65" fmla="*/ 163 h 199"/>
                  <a:gd name="T66" fmla="*/ 68 w 190"/>
                  <a:gd name="T67" fmla="*/ 158 h 199"/>
                  <a:gd name="T68" fmla="*/ 59 w 190"/>
                  <a:gd name="T69" fmla="*/ 154 h 199"/>
                  <a:gd name="T70" fmla="*/ 50 w 190"/>
                  <a:gd name="T71" fmla="*/ 149 h 199"/>
                  <a:gd name="T72" fmla="*/ 41 w 190"/>
                  <a:gd name="T73" fmla="*/ 149 h 199"/>
                  <a:gd name="T74" fmla="*/ 37 w 190"/>
                  <a:gd name="T75" fmla="*/ 145 h 199"/>
                  <a:gd name="T76" fmla="*/ 28 w 190"/>
                  <a:gd name="T77" fmla="*/ 140 h 199"/>
                  <a:gd name="T78" fmla="*/ 23 w 190"/>
                  <a:gd name="T79" fmla="*/ 127 h 199"/>
                  <a:gd name="T80" fmla="*/ 14 w 190"/>
                  <a:gd name="T81" fmla="*/ 113 h 199"/>
                  <a:gd name="T82" fmla="*/ 5 w 190"/>
                  <a:gd name="T83" fmla="*/ 100 h 199"/>
                  <a:gd name="T84" fmla="*/ 5 w 190"/>
                  <a:gd name="T85" fmla="*/ 86 h 199"/>
                  <a:gd name="T86" fmla="*/ 0 w 190"/>
                  <a:gd name="T87" fmla="*/ 72 h 199"/>
                  <a:gd name="T88" fmla="*/ 10 w 190"/>
                  <a:gd name="T89" fmla="*/ 63 h 199"/>
                  <a:gd name="T90" fmla="*/ 19 w 190"/>
                  <a:gd name="T91" fmla="*/ 50 h 199"/>
                  <a:gd name="T92" fmla="*/ 23 w 190"/>
                  <a:gd name="T93" fmla="*/ 45 h 199"/>
                  <a:gd name="T94" fmla="*/ 28 w 190"/>
                  <a:gd name="T95" fmla="*/ 36 h 199"/>
                  <a:gd name="T96" fmla="*/ 23 w 190"/>
                  <a:gd name="T97" fmla="*/ 36 h 199"/>
                  <a:gd name="T98" fmla="*/ 19 w 190"/>
                  <a:gd name="T99" fmla="*/ 32 h 199"/>
                  <a:gd name="T100" fmla="*/ 23 w 190"/>
                  <a:gd name="T101" fmla="*/ 23 h 199"/>
                  <a:gd name="T102" fmla="*/ 28 w 190"/>
                  <a:gd name="T103" fmla="*/ 18 h 199"/>
                  <a:gd name="T104" fmla="*/ 28 w 190"/>
                  <a:gd name="T105" fmla="*/ 9 h 199"/>
                  <a:gd name="T106" fmla="*/ 23 w 190"/>
                  <a:gd name="T107" fmla="*/ 0 h 199"/>
                  <a:gd name="T108" fmla="*/ 28 w 190"/>
                  <a:gd name="T109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90" h="199">
                    <a:moveTo>
                      <a:pt x="28" y="0"/>
                    </a:move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7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5" y="0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3" y="0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1" y="5"/>
                    </a:lnTo>
                    <a:lnTo>
                      <a:pt x="91" y="5"/>
                    </a:lnTo>
                    <a:lnTo>
                      <a:pt x="95" y="9"/>
                    </a:lnTo>
                    <a:lnTo>
                      <a:pt x="100" y="9"/>
                    </a:lnTo>
                    <a:lnTo>
                      <a:pt x="104" y="14"/>
                    </a:lnTo>
                    <a:lnTo>
                      <a:pt x="109" y="14"/>
                    </a:lnTo>
                    <a:lnTo>
                      <a:pt x="113" y="18"/>
                    </a:lnTo>
                    <a:lnTo>
                      <a:pt x="113" y="18"/>
                    </a:lnTo>
                    <a:lnTo>
                      <a:pt x="118" y="23"/>
                    </a:lnTo>
                    <a:lnTo>
                      <a:pt x="122" y="23"/>
                    </a:lnTo>
                    <a:lnTo>
                      <a:pt x="127" y="27"/>
                    </a:lnTo>
                    <a:lnTo>
                      <a:pt x="131" y="27"/>
                    </a:lnTo>
                    <a:lnTo>
                      <a:pt x="131" y="32"/>
                    </a:lnTo>
                    <a:lnTo>
                      <a:pt x="136" y="32"/>
                    </a:lnTo>
                    <a:lnTo>
                      <a:pt x="141" y="36"/>
                    </a:lnTo>
                    <a:lnTo>
                      <a:pt x="145" y="36"/>
                    </a:lnTo>
                    <a:lnTo>
                      <a:pt x="145" y="36"/>
                    </a:lnTo>
                    <a:lnTo>
                      <a:pt x="145" y="36"/>
                    </a:lnTo>
                    <a:lnTo>
                      <a:pt x="145" y="41"/>
                    </a:lnTo>
                    <a:lnTo>
                      <a:pt x="145" y="41"/>
                    </a:lnTo>
                    <a:lnTo>
                      <a:pt x="145" y="41"/>
                    </a:lnTo>
                    <a:lnTo>
                      <a:pt x="145" y="45"/>
                    </a:lnTo>
                    <a:lnTo>
                      <a:pt x="145" y="45"/>
                    </a:lnTo>
                    <a:lnTo>
                      <a:pt x="145" y="45"/>
                    </a:lnTo>
                    <a:lnTo>
                      <a:pt x="145" y="45"/>
                    </a:lnTo>
                    <a:lnTo>
                      <a:pt x="145" y="45"/>
                    </a:lnTo>
                    <a:lnTo>
                      <a:pt x="150" y="45"/>
                    </a:lnTo>
                    <a:lnTo>
                      <a:pt x="150" y="45"/>
                    </a:lnTo>
                    <a:lnTo>
                      <a:pt x="150" y="50"/>
                    </a:lnTo>
                    <a:lnTo>
                      <a:pt x="150" y="50"/>
                    </a:lnTo>
                    <a:lnTo>
                      <a:pt x="150" y="50"/>
                    </a:lnTo>
                    <a:lnTo>
                      <a:pt x="154" y="54"/>
                    </a:lnTo>
                    <a:lnTo>
                      <a:pt x="154" y="54"/>
                    </a:lnTo>
                    <a:lnTo>
                      <a:pt x="159" y="59"/>
                    </a:lnTo>
                    <a:lnTo>
                      <a:pt x="163" y="59"/>
                    </a:lnTo>
                    <a:lnTo>
                      <a:pt x="163" y="59"/>
                    </a:lnTo>
                    <a:lnTo>
                      <a:pt x="168" y="63"/>
                    </a:lnTo>
                    <a:lnTo>
                      <a:pt x="168" y="63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72"/>
                    </a:lnTo>
                    <a:lnTo>
                      <a:pt x="172" y="77"/>
                    </a:lnTo>
                    <a:lnTo>
                      <a:pt x="172" y="77"/>
                    </a:lnTo>
                    <a:lnTo>
                      <a:pt x="172" y="77"/>
                    </a:lnTo>
                    <a:lnTo>
                      <a:pt x="168" y="86"/>
                    </a:lnTo>
                    <a:lnTo>
                      <a:pt x="168" y="86"/>
                    </a:lnTo>
                    <a:lnTo>
                      <a:pt x="168" y="90"/>
                    </a:lnTo>
                    <a:lnTo>
                      <a:pt x="168" y="95"/>
                    </a:lnTo>
                    <a:lnTo>
                      <a:pt x="168" y="95"/>
                    </a:lnTo>
                    <a:lnTo>
                      <a:pt x="168" y="100"/>
                    </a:lnTo>
                    <a:lnTo>
                      <a:pt x="168" y="104"/>
                    </a:lnTo>
                    <a:lnTo>
                      <a:pt x="172" y="104"/>
                    </a:lnTo>
                    <a:lnTo>
                      <a:pt x="172" y="104"/>
                    </a:lnTo>
                    <a:lnTo>
                      <a:pt x="172" y="104"/>
                    </a:lnTo>
                    <a:lnTo>
                      <a:pt x="172" y="109"/>
                    </a:lnTo>
                    <a:lnTo>
                      <a:pt x="177" y="109"/>
                    </a:lnTo>
                    <a:lnTo>
                      <a:pt x="177" y="113"/>
                    </a:lnTo>
                    <a:lnTo>
                      <a:pt x="177" y="113"/>
                    </a:lnTo>
                    <a:lnTo>
                      <a:pt x="177" y="118"/>
                    </a:lnTo>
                    <a:lnTo>
                      <a:pt x="177" y="118"/>
                    </a:lnTo>
                    <a:lnTo>
                      <a:pt x="172" y="122"/>
                    </a:lnTo>
                    <a:lnTo>
                      <a:pt x="172" y="127"/>
                    </a:lnTo>
                    <a:lnTo>
                      <a:pt x="172" y="127"/>
                    </a:lnTo>
                    <a:lnTo>
                      <a:pt x="177" y="127"/>
                    </a:lnTo>
                    <a:lnTo>
                      <a:pt x="177" y="131"/>
                    </a:lnTo>
                    <a:lnTo>
                      <a:pt x="172" y="136"/>
                    </a:lnTo>
                    <a:lnTo>
                      <a:pt x="172" y="136"/>
                    </a:lnTo>
                    <a:lnTo>
                      <a:pt x="172" y="140"/>
                    </a:lnTo>
                    <a:lnTo>
                      <a:pt x="177" y="145"/>
                    </a:lnTo>
                    <a:lnTo>
                      <a:pt x="177" y="149"/>
                    </a:lnTo>
                    <a:lnTo>
                      <a:pt x="177" y="149"/>
                    </a:lnTo>
                    <a:lnTo>
                      <a:pt x="177" y="149"/>
                    </a:lnTo>
                    <a:lnTo>
                      <a:pt x="181" y="154"/>
                    </a:lnTo>
                    <a:lnTo>
                      <a:pt x="177" y="158"/>
                    </a:lnTo>
                    <a:lnTo>
                      <a:pt x="181" y="163"/>
                    </a:lnTo>
                    <a:lnTo>
                      <a:pt x="181" y="163"/>
                    </a:lnTo>
                    <a:lnTo>
                      <a:pt x="181" y="167"/>
                    </a:lnTo>
                    <a:lnTo>
                      <a:pt x="181" y="167"/>
                    </a:lnTo>
                    <a:lnTo>
                      <a:pt x="181" y="167"/>
                    </a:lnTo>
                    <a:lnTo>
                      <a:pt x="181" y="167"/>
                    </a:lnTo>
                    <a:lnTo>
                      <a:pt x="186" y="172"/>
                    </a:lnTo>
                    <a:lnTo>
                      <a:pt x="186" y="172"/>
                    </a:lnTo>
                    <a:lnTo>
                      <a:pt x="186" y="172"/>
                    </a:lnTo>
                    <a:lnTo>
                      <a:pt x="186" y="172"/>
                    </a:lnTo>
                    <a:lnTo>
                      <a:pt x="190" y="172"/>
                    </a:lnTo>
                    <a:lnTo>
                      <a:pt x="190" y="176"/>
                    </a:lnTo>
                    <a:lnTo>
                      <a:pt x="190" y="176"/>
                    </a:lnTo>
                    <a:lnTo>
                      <a:pt x="190" y="176"/>
                    </a:lnTo>
                    <a:lnTo>
                      <a:pt x="190" y="176"/>
                    </a:lnTo>
                    <a:lnTo>
                      <a:pt x="190" y="181"/>
                    </a:lnTo>
                    <a:lnTo>
                      <a:pt x="186" y="181"/>
                    </a:lnTo>
                    <a:lnTo>
                      <a:pt x="186" y="185"/>
                    </a:lnTo>
                    <a:lnTo>
                      <a:pt x="181" y="185"/>
                    </a:lnTo>
                    <a:lnTo>
                      <a:pt x="177" y="185"/>
                    </a:lnTo>
                    <a:lnTo>
                      <a:pt x="177" y="185"/>
                    </a:lnTo>
                    <a:lnTo>
                      <a:pt x="172" y="190"/>
                    </a:lnTo>
                    <a:lnTo>
                      <a:pt x="172" y="190"/>
                    </a:lnTo>
                    <a:lnTo>
                      <a:pt x="168" y="190"/>
                    </a:lnTo>
                    <a:lnTo>
                      <a:pt x="168" y="190"/>
                    </a:lnTo>
                    <a:lnTo>
                      <a:pt x="163" y="190"/>
                    </a:lnTo>
                    <a:lnTo>
                      <a:pt x="159" y="194"/>
                    </a:lnTo>
                    <a:lnTo>
                      <a:pt x="159" y="194"/>
                    </a:lnTo>
                    <a:lnTo>
                      <a:pt x="154" y="194"/>
                    </a:lnTo>
                    <a:lnTo>
                      <a:pt x="154" y="194"/>
                    </a:lnTo>
                    <a:lnTo>
                      <a:pt x="150" y="194"/>
                    </a:lnTo>
                    <a:lnTo>
                      <a:pt x="150" y="194"/>
                    </a:lnTo>
                    <a:lnTo>
                      <a:pt x="145" y="194"/>
                    </a:lnTo>
                    <a:lnTo>
                      <a:pt x="145" y="194"/>
                    </a:lnTo>
                    <a:lnTo>
                      <a:pt x="145" y="194"/>
                    </a:lnTo>
                    <a:lnTo>
                      <a:pt x="145" y="199"/>
                    </a:lnTo>
                    <a:lnTo>
                      <a:pt x="141" y="199"/>
                    </a:lnTo>
                    <a:lnTo>
                      <a:pt x="136" y="199"/>
                    </a:lnTo>
                    <a:lnTo>
                      <a:pt x="136" y="199"/>
                    </a:lnTo>
                    <a:lnTo>
                      <a:pt x="131" y="199"/>
                    </a:lnTo>
                    <a:lnTo>
                      <a:pt x="131" y="199"/>
                    </a:lnTo>
                    <a:lnTo>
                      <a:pt x="131" y="199"/>
                    </a:lnTo>
                    <a:lnTo>
                      <a:pt x="131" y="199"/>
                    </a:lnTo>
                    <a:lnTo>
                      <a:pt x="127" y="199"/>
                    </a:lnTo>
                    <a:lnTo>
                      <a:pt x="127" y="199"/>
                    </a:lnTo>
                    <a:lnTo>
                      <a:pt x="122" y="199"/>
                    </a:lnTo>
                    <a:lnTo>
                      <a:pt x="118" y="199"/>
                    </a:lnTo>
                    <a:lnTo>
                      <a:pt x="118" y="199"/>
                    </a:lnTo>
                    <a:lnTo>
                      <a:pt x="118" y="199"/>
                    </a:lnTo>
                    <a:lnTo>
                      <a:pt x="118" y="199"/>
                    </a:lnTo>
                    <a:lnTo>
                      <a:pt x="113" y="194"/>
                    </a:lnTo>
                    <a:lnTo>
                      <a:pt x="109" y="194"/>
                    </a:lnTo>
                    <a:lnTo>
                      <a:pt x="109" y="199"/>
                    </a:lnTo>
                    <a:lnTo>
                      <a:pt x="109" y="199"/>
                    </a:lnTo>
                    <a:lnTo>
                      <a:pt x="109" y="199"/>
                    </a:lnTo>
                    <a:lnTo>
                      <a:pt x="104" y="199"/>
                    </a:lnTo>
                    <a:lnTo>
                      <a:pt x="104" y="199"/>
                    </a:lnTo>
                    <a:lnTo>
                      <a:pt x="104" y="199"/>
                    </a:lnTo>
                    <a:lnTo>
                      <a:pt x="100" y="199"/>
                    </a:lnTo>
                    <a:lnTo>
                      <a:pt x="95" y="199"/>
                    </a:lnTo>
                    <a:lnTo>
                      <a:pt x="95" y="199"/>
                    </a:lnTo>
                    <a:lnTo>
                      <a:pt x="95" y="194"/>
                    </a:lnTo>
                    <a:lnTo>
                      <a:pt x="95" y="194"/>
                    </a:lnTo>
                    <a:lnTo>
                      <a:pt x="95" y="194"/>
                    </a:lnTo>
                    <a:lnTo>
                      <a:pt x="95" y="194"/>
                    </a:lnTo>
                    <a:lnTo>
                      <a:pt x="95" y="194"/>
                    </a:lnTo>
                    <a:lnTo>
                      <a:pt x="91" y="194"/>
                    </a:lnTo>
                    <a:lnTo>
                      <a:pt x="91" y="190"/>
                    </a:lnTo>
                    <a:lnTo>
                      <a:pt x="91" y="190"/>
                    </a:lnTo>
                    <a:lnTo>
                      <a:pt x="91" y="190"/>
                    </a:lnTo>
                    <a:lnTo>
                      <a:pt x="91" y="190"/>
                    </a:lnTo>
                    <a:lnTo>
                      <a:pt x="91" y="190"/>
                    </a:lnTo>
                    <a:lnTo>
                      <a:pt x="91" y="185"/>
                    </a:lnTo>
                    <a:lnTo>
                      <a:pt x="91" y="185"/>
                    </a:lnTo>
                    <a:lnTo>
                      <a:pt x="91" y="185"/>
                    </a:lnTo>
                    <a:lnTo>
                      <a:pt x="91" y="181"/>
                    </a:lnTo>
                    <a:lnTo>
                      <a:pt x="91" y="181"/>
                    </a:lnTo>
                    <a:lnTo>
                      <a:pt x="91" y="176"/>
                    </a:lnTo>
                    <a:lnTo>
                      <a:pt x="91" y="176"/>
                    </a:lnTo>
                    <a:lnTo>
                      <a:pt x="91" y="176"/>
                    </a:lnTo>
                    <a:lnTo>
                      <a:pt x="91" y="176"/>
                    </a:lnTo>
                    <a:lnTo>
                      <a:pt x="91" y="176"/>
                    </a:lnTo>
                    <a:lnTo>
                      <a:pt x="91" y="172"/>
                    </a:lnTo>
                    <a:lnTo>
                      <a:pt x="91" y="172"/>
                    </a:lnTo>
                    <a:lnTo>
                      <a:pt x="91" y="167"/>
                    </a:lnTo>
                    <a:lnTo>
                      <a:pt x="91" y="167"/>
                    </a:lnTo>
                    <a:lnTo>
                      <a:pt x="86" y="163"/>
                    </a:lnTo>
                    <a:lnTo>
                      <a:pt x="86" y="163"/>
                    </a:lnTo>
                    <a:lnTo>
                      <a:pt x="82" y="158"/>
                    </a:lnTo>
                    <a:lnTo>
                      <a:pt x="82" y="158"/>
                    </a:lnTo>
                    <a:lnTo>
                      <a:pt x="82" y="158"/>
                    </a:lnTo>
                    <a:lnTo>
                      <a:pt x="82" y="158"/>
                    </a:lnTo>
                    <a:lnTo>
                      <a:pt x="82" y="163"/>
                    </a:lnTo>
                    <a:lnTo>
                      <a:pt x="82" y="163"/>
                    </a:lnTo>
                    <a:lnTo>
                      <a:pt x="82" y="163"/>
                    </a:lnTo>
                    <a:lnTo>
                      <a:pt x="77" y="163"/>
                    </a:lnTo>
                    <a:lnTo>
                      <a:pt x="77" y="163"/>
                    </a:lnTo>
                    <a:lnTo>
                      <a:pt x="77" y="163"/>
                    </a:lnTo>
                    <a:lnTo>
                      <a:pt x="77" y="163"/>
                    </a:lnTo>
                    <a:lnTo>
                      <a:pt x="73" y="163"/>
                    </a:lnTo>
                    <a:lnTo>
                      <a:pt x="73" y="163"/>
                    </a:lnTo>
                    <a:lnTo>
                      <a:pt x="73" y="163"/>
                    </a:lnTo>
                    <a:lnTo>
                      <a:pt x="68" y="158"/>
                    </a:lnTo>
                    <a:lnTo>
                      <a:pt x="68" y="158"/>
                    </a:lnTo>
                    <a:lnTo>
                      <a:pt x="64" y="158"/>
                    </a:lnTo>
                    <a:lnTo>
                      <a:pt x="64" y="158"/>
                    </a:lnTo>
                    <a:lnTo>
                      <a:pt x="64" y="158"/>
                    </a:lnTo>
                    <a:lnTo>
                      <a:pt x="64" y="158"/>
                    </a:lnTo>
                    <a:lnTo>
                      <a:pt x="59" y="158"/>
                    </a:lnTo>
                    <a:lnTo>
                      <a:pt x="59" y="154"/>
                    </a:lnTo>
                    <a:lnTo>
                      <a:pt x="55" y="154"/>
                    </a:lnTo>
                    <a:lnTo>
                      <a:pt x="55" y="154"/>
                    </a:lnTo>
                    <a:lnTo>
                      <a:pt x="55" y="154"/>
                    </a:lnTo>
                    <a:lnTo>
                      <a:pt x="50" y="154"/>
                    </a:lnTo>
                    <a:lnTo>
                      <a:pt x="50" y="154"/>
                    </a:lnTo>
                    <a:lnTo>
                      <a:pt x="50" y="149"/>
                    </a:lnTo>
                    <a:lnTo>
                      <a:pt x="46" y="149"/>
                    </a:lnTo>
                    <a:lnTo>
                      <a:pt x="46" y="149"/>
                    </a:lnTo>
                    <a:lnTo>
                      <a:pt x="46" y="149"/>
                    </a:lnTo>
                    <a:lnTo>
                      <a:pt x="46" y="149"/>
                    </a:lnTo>
                    <a:lnTo>
                      <a:pt x="46" y="149"/>
                    </a:lnTo>
                    <a:lnTo>
                      <a:pt x="41" y="149"/>
                    </a:lnTo>
                    <a:lnTo>
                      <a:pt x="41" y="149"/>
                    </a:lnTo>
                    <a:lnTo>
                      <a:pt x="41" y="149"/>
                    </a:lnTo>
                    <a:lnTo>
                      <a:pt x="41" y="149"/>
                    </a:lnTo>
                    <a:lnTo>
                      <a:pt x="41" y="145"/>
                    </a:lnTo>
                    <a:lnTo>
                      <a:pt x="37" y="145"/>
                    </a:lnTo>
                    <a:lnTo>
                      <a:pt x="37" y="145"/>
                    </a:lnTo>
                    <a:lnTo>
                      <a:pt x="37" y="145"/>
                    </a:lnTo>
                    <a:lnTo>
                      <a:pt x="37" y="140"/>
                    </a:lnTo>
                    <a:lnTo>
                      <a:pt x="32" y="140"/>
                    </a:lnTo>
                    <a:lnTo>
                      <a:pt x="28" y="140"/>
                    </a:lnTo>
                    <a:lnTo>
                      <a:pt x="28" y="140"/>
                    </a:lnTo>
                    <a:lnTo>
                      <a:pt x="28" y="140"/>
                    </a:lnTo>
                    <a:lnTo>
                      <a:pt x="28" y="136"/>
                    </a:lnTo>
                    <a:lnTo>
                      <a:pt x="23" y="136"/>
                    </a:lnTo>
                    <a:lnTo>
                      <a:pt x="23" y="136"/>
                    </a:lnTo>
                    <a:lnTo>
                      <a:pt x="23" y="131"/>
                    </a:lnTo>
                    <a:lnTo>
                      <a:pt x="23" y="131"/>
                    </a:lnTo>
                    <a:lnTo>
                      <a:pt x="23" y="127"/>
                    </a:lnTo>
                    <a:lnTo>
                      <a:pt x="19" y="122"/>
                    </a:lnTo>
                    <a:lnTo>
                      <a:pt x="19" y="122"/>
                    </a:lnTo>
                    <a:lnTo>
                      <a:pt x="19" y="118"/>
                    </a:lnTo>
                    <a:lnTo>
                      <a:pt x="19" y="118"/>
                    </a:lnTo>
                    <a:lnTo>
                      <a:pt x="14" y="113"/>
                    </a:lnTo>
                    <a:lnTo>
                      <a:pt x="14" y="113"/>
                    </a:lnTo>
                    <a:lnTo>
                      <a:pt x="14" y="109"/>
                    </a:lnTo>
                    <a:lnTo>
                      <a:pt x="10" y="109"/>
                    </a:lnTo>
                    <a:lnTo>
                      <a:pt x="10" y="104"/>
                    </a:lnTo>
                    <a:lnTo>
                      <a:pt x="5" y="104"/>
                    </a:lnTo>
                    <a:lnTo>
                      <a:pt x="5" y="100"/>
                    </a:lnTo>
                    <a:lnTo>
                      <a:pt x="5" y="100"/>
                    </a:lnTo>
                    <a:lnTo>
                      <a:pt x="5" y="95"/>
                    </a:lnTo>
                    <a:lnTo>
                      <a:pt x="5" y="95"/>
                    </a:lnTo>
                    <a:lnTo>
                      <a:pt x="5" y="90"/>
                    </a:lnTo>
                    <a:lnTo>
                      <a:pt x="5" y="90"/>
                    </a:lnTo>
                    <a:lnTo>
                      <a:pt x="5" y="86"/>
                    </a:lnTo>
                    <a:lnTo>
                      <a:pt x="5" y="86"/>
                    </a:lnTo>
                    <a:lnTo>
                      <a:pt x="5" y="81"/>
                    </a:lnTo>
                    <a:lnTo>
                      <a:pt x="5" y="81"/>
                    </a:lnTo>
                    <a:lnTo>
                      <a:pt x="5" y="81"/>
                    </a:lnTo>
                    <a:lnTo>
                      <a:pt x="0" y="77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4" y="54"/>
                    </a:lnTo>
                    <a:lnTo>
                      <a:pt x="19" y="54"/>
                    </a:lnTo>
                    <a:lnTo>
                      <a:pt x="19" y="50"/>
                    </a:lnTo>
                    <a:lnTo>
                      <a:pt x="19" y="50"/>
                    </a:lnTo>
                    <a:lnTo>
                      <a:pt x="19" y="50"/>
                    </a:lnTo>
                    <a:lnTo>
                      <a:pt x="19" y="45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8" y="41"/>
                    </a:lnTo>
                    <a:lnTo>
                      <a:pt x="28" y="41"/>
                    </a:lnTo>
                    <a:lnTo>
                      <a:pt x="28" y="41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19" y="36"/>
                    </a:lnTo>
                    <a:lnTo>
                      <a:pt x="19" y="32"/>
                    </a:lnTo>
                    <a:lnTo>
                      <a:pt x="19" y="32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19" y="32"/>
                    </a:lnTo>
                    <a:lnTo>
                      <a:pt x="19" y="32"/>
                    </a:lnTo>
                    <a:lnTo>
                      <a:pt x="19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3" y="23"/>
                    </a:lnTo>
                    <a:lnTo>
                      <a:pt x="28" y="23"/>
                    </a:lnTo>
                    <a:lnTo>
                      <a:pt x="28" y="23"/>
                    </a:lnTo>
                    <a:lnTo>
                      <a:pt x="28" y="23"/>
                    </a:lnTo>
                    <a:lnTo>
                      <a:pt x="28" y="23"/>
                    </a:lnTo>
                    <a:lnTo>
                      <a:pt x="28" y="23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9"/>
                    </a:lnTo>
                    <a:lnTo>
                      <a:pt x="28" y="9"/>
                    </a:lnTo>
                    <a:lnTo>
                      <a:pt x="28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47" name="Freeform 168"/>
              <p:cNvSpPr>
                <a:spLocks/>
              </p:cNvSpPr>
              <p:nvPr/>
            </p:nvSpPr>
            <p:spPr bwMode="auto">
              <a:xfrm>
                <a:off x="5087938" y="2824164"/>
                <a:ext cx="150813" cy="171450"/>
              </a:xfrm>
              <a:custGeom>
                <a:avLst/>
                <a:gdLst>
                  <a:gd name="T0" fmla="*/ 81 w 95"/>
                  <a:gd name="T1" fmla="*/ 9 h 108"/>
                  <a:gd name="T2" fmla="*/ 86 w 95"/>
                  <a:gd name="T3" fmla="*/ 13 h 108"/>
                  <a:gd name="T4" fmla="*/ 86 w 95"/>
                  <a:gd name="T5" fmla="*/ 18 h 108"/>
                  <a:gd name="T6" fmla="*/ 90 w 95"/>
                  <a:gd name="T7" fmla="*/ 27 h 108"/>
                  <a:gd name="T8" fmla="*/ 90 w 95"/>
                  <a:gd name="T9" fmla="*/ 31 h 108"/>
                  <a:gd name="T10" fmla="*/ 95 w 95"/>
                  <a:gd name="T11" fmla="*/ 31 h 108"/>
                  <a:gd name="T12" fmla="*/ 95 w 95"/>
                  <a:gd name="T13" fmla="*/ 40 h 108"/>
                  <a:gd name="T14" fmla="*/ 95 w 95"/>
                  <a:gd name="T15" fmla="*/ 45 h 108"/>
                  <a:gd name="T16" fmla="*/ 95 w 95"/>
                  <a:gd name="T17" fmla="*/ 49 h 108"/>
                  <a:gd name="T18" fmla="*/ 90 w 95"/>
                  <a:gd name="T19" fmla="*/ 54 h 108"/>
                  <a:gd name="T20" fmla="*/ 90 w 95"/>
                  <a:gd name="T21" fmla="*/ 54 h 108"/>
                  <a:gd name="T22" fmla="*/ 90 w 95"/>
                  <a:gd name="T23" fmla="*/ 58 h 108"/>
                  <a:gd name="T24" fmla="*/ 86 w 95"/>
                  <a:gd name="T25" fmla="*/ 63 h 108"/>
                  <a:gd name="T26" fmla="*/ 81 w 95"/>
                  <a:gd name="T27" fmla="*/ 67 h 108"/>
                  <a:gd name="T28" fmla="*/ 77 w 95"/>
                  <a:gd name="T29" fmla="*/ 72 h 108"/>
                  <a:gd name="T30" fmla="*/ 77 w 95"/>
                  <a:gd name="T31" fmla="*/ 85 h 108"/>
                  <a:gd name="T32" fmla="*/ 72 w 95"/>
                  <a:gd name="T33" fmla="*/ 99 h 108"/>
                  <a:gd name="T34" fmla="*/ 63 w 95"/>
                  <a:gd name="T35" fmla="*/ 99 h 108"/>
                  <a:gd name="T36" fmla="*/ 54 w 95"/>
                  <a:gd name="T37" fmla="*/ 99 h 108"/>
                  <a:gd name="T38" fmla="*/ 45 w 95"/>
                  <a:gd name="T39" fmla="*/ 99 h 108"/>
                  <a:gd name="T40" fmla="*/ 36 w 95"/>
                  <a:gd name="T41" fmla="*/ 99 h 108"/>
                  <a:gd name="T42" fmla="*/ 27 w 95"/>
                  <a:gd name="T43" fmla="*/ 99 h 108"/>
                  <a:gd name="T44" fmla="*/ 23 w 95"/>
                  <a:gd name="T45" fmla="*/ 99 h 108"/>
                  <a:gd name="T46" fmla="*/ 18 w 95"/>
                  <a:gd name="T47" fmla="*/ 99 h 108"/>
                  <a:gd name="T48" fmla="*/ 18 w 95"/>
                  <a:gd name="T49" fmla="*/ 99 h 108"/>
                  <a:gd name="T50" fmla="*/ 14 w 95"/>
                  <a:gd name="T51" fmla="*/ 99 h 108"/>
                  <a:gd name="T52" fmla="*/ 14 w 95"/>
                  <a:gd name="T53" fmla="*/ 104 h 108"/>
                  <a:gd name="T54" fmla="*/ 9 w 95"/>
                  <a:gd name="T55" fmla="*/ 108 h 108"/>
                  <a:gd name="T56" fmla="*/ 5 w 95"/>
                  <a:gd name="T57" fmla="*/ 108 h 108"/>
                  <a:gd name="T58" fmla="*/ 0 w 95"/>
                  <a:gd name="T59" fmla="*/ 104 h 108"/>
                  <a:gd name="T60" fmla="*/ 0 w 95"/>
                  <a:gd name="T61" fmla="*/ 99 h 108"/>
                  <a:gd name="T62" fmla="*/ 0 w 95"/>
                  <a:gd name="T63" fmla="*/ 95 h 108"/>
                  <a:gd name="T64" fmla="*/ 0 w 95"/>
                  <a:gd name="T65" fmla="*/ 85 h 108"/>
                  <a:gd name="T66" fmla="*/ 5 w 95"/>
                  <a:gd name="T67" fmla="*/ 76 h 108"/>
                  <a:gd name="T68" fmla="*/ 5 w 95"/>
                  <a:gd name="T69" fmla="*/ 72 h 108"/>
                  <a:gd name="T70" fmla="*/ 9 w 95"/>
                  <a:gd name="T71" fmla="*/ 67 h 108"/>
                  <a:gd name="T72" fmla="*/ 9 w 95"/>
                  <a:gd name="T73" fmla="*/ 63 h 108"/>
                  <a:gd name="T74" fmla="*/ 14 w 95"/>
                  <a:gd name="T75" fmla="*/ 58 h 108"/>
                  <a:gd name="T76" fmla="*/ 23 w 95"/>
                  <a:gd name="T77" fmla="*/ 49 h 108"/>
                  <a:gd name="T78" fmla="*/ 32 w 95"/>
                  <a:gd name="T79" fmla="*/ 40 h 108"/>
                  <a:gd name="T80" fmla="*/ 27 w 95"/>
                  <a:gd name="T81" fmla="*/ 36 h 108"/>
                  <a:gd name="T82" fmla="*/ 27 w 95"/>
                  <a:gd name="T83" fmla="*/ 36 h 108"/>
                  <a:gd name="T84" fmla="*/ 27 w 95"/>
                  <a:gd name="T85" fmla="*/ 36 h 108"/>
                  <a:gd name="T86" fmla="*/ 23 w 95"/>
                  <a:gd name="T87" fmla="*/ 31 h 108"/>
                  <a:gd name="T88" fmla="*/ 23 w 95"/>
                  <a:gd name="T89" fmla="*/ 22 h 108"/>
                  <a:gd name="T90" fmla="*/ 23 w 95"/>
                  <a:gd name="T91" fmla="*/ 22 h 108"/>
                  <a:gd name="T92" fmla="*/ 23 w 95"/>
                  <a:gd name="T93" fmla="*/ 18 h 108"/>
                  <a:gd name="T94" fmla="*/ 23 w 95"/>
                  <a:gd name="T95" fmla="*/ 13 h 108"/>
                  <a:gd name="T96" fmla="*/ 23 w 95"/>
                  <a:gd name="T97" fmla="*/ 9 h 108"/>
                  <a:gd name="T98" fmla="*/ 27 w 95"/>
                  <a:gd name="T99" fmla="*/ 9 h 108"/>
                  <a:gd name="T100" fmla="*/ 36 w 95"/>
                  <a:gd name="T101" fmla="*/ 9 h 108"/>
                  <a:gd name="T102" fmla="*/ 41 w 95"/>
                  <a:gd name="T103" fmla="*/ 9 h 108"/>
                  <a:gd name="T104" fmla="*/ 45 w 95"/>
                  <a:gd name="T105" fmla="*/ 13 h 108"/>
                  <a:gd name="T106" fmla="*/ 45 w 95"/>
                  <a:gd name="T107" fmla="*/ 13 h 108"/>
                  <a:gd name="T108" fmla="*/ 50 w 95"/>
                  <a:gd name="T109" fmla="*/ 9 h 108"/>
                  <a:gd name="T110" fmla="*/ 54 w 95"/>
                  <a:gd name="T111" fmla="*/ 9 h 108"/>
                  <a:gd name="T112" fmla="*/ 63 w 95"/>
                  <a:gd name="T113" fmla="*/ 9 h 108"/>
                  <a:gd name="T114" fmla="*/ 68 w 95"/>
                  <a:gd name="T115" fmla="*/ 9 h 108"/>
                  <a:gd name="T116" fmla="*/ 77 w 95"/>
                  <a:gd name="T117" fmla="*/ 0 h 108"/>
                  <a:gd name="T118" fmla="*/ 81 w 95"/>
                  <a:gd name="T119" fmla="*/ 9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5" h="108">
                    <a:moveTo>
                      <a:pt x="81" y="9"/>
                    </a:moveTo>
                    <a:lnTo>
                      <a:pt x="81" y="9"/>
                    </a:lnTo>
                    <a:lnTo>
                      <a:pt x="81" y="9"/>
                    </a:lnTo>
                    <a:lnTo>
                      <a:pt x="86" y="9"/>
                    </a:lnTo>
                    <a:lnTo>
                      <a:pt x="86" y="9"/>
                    </a:lnTo>
                    <a:lnTo>
                      <a:pt x="86" y="13"/>
                    </a:lnTo>
                    <a:lnTo>
                      <a:pt x="86" y="13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0" y="27"/>
                    </a:lnTo>
                    <a:lnTo>
                      <a:pt x="90" y="27"/>
                    </a:lnTo>
                    <a:lnTo>
                      <a:pt x="90" y="27"/>
                    </a:lnTo>
                    <a:lnTo>
                      <a:pt x="90" y="31"/>
                    </a:lnTo>
                    <a:lnTo>
                      <a:pt x="95" y="31"/>
                    </a:lnTo>
                    <a:lnTo>
                      <a:pt x="95" y="31"/>
                    </a:lnTo>
                    <a:lnTo>
                      <a:pt x="95" y="31"/>
                    </a:lnTo>
                    <a:lnTo>
                      <a:pt x="95" y="31"/>
                    </a:lnTo>
                    <a:lnTo>
                      <a:pt x="95" y="36"/>
                    </a:lnTo>
                    <a:lnTo>
                      <a:pt x="95" y="40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5" y="49"/>
                    </a:lnTo>
                    <a:lnTo>
                      <a:pt x="95" y="49"/>
                    </a:lnTo>
                    <a:lnTo>
                      <a:pt x="95" y="49"/>
                    </a:lnTo>
                    <a:lnTo>
                      <a:pt x="95" y="49"/>
                    </a:lnTo>
                    <a:lnTo>
                      <a:pt x="90" y="54"/>
                    </a:lnTo>
                    <a:lnTo>
                      <a:pt x="90" y="54"/>
                    </a:lnTo>
                    <a:lnTo>
                      <a:pt x="90" y="54"/>
                    </a:lnTo>
                    <a:lnTo>
                      <a:pt x="90" y="54"/>
                    </a:lnTo>
                    <a:lnTo>
                      <a:pt x="90" y="54"/>
                    </a:lnTo>
                    <a:lnTo>
                      <a:pt x="90" y="54"/>
                    </a:lnTo>
                    <a:lnTo>
                      <a:pt x="90" y="58"/>
                    </a:lnTo>
                    <a:lnTo>
                      <a:pt x="90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63"/>
                    </a:lnTo>
                    <a:lnTo>
                      <a:pt x="81" y="63"/>
                    </a:lnTo>
                    <a:lnTo>
                      <a:pt x="81" y="67"/>
                    </a:lnTo>
                    <a:lnTo>
                      <a:pt x="81" y="67"/>
                    </a:lnTo>
                    <a:lnTo>
                      <a:pt x="81" y="67"/>
                    </a:lnTo>
                    <a:lnTo>
                      <a:pt x="81" y="72"/>
                    </a:lnTo>
                    <a:lnTo>
                      <a:pt x="77" y="72"/>
                    </a:lnTo>
                    <a:lnTo>
                      <a:pt x="77" y="76"/>
                    </a:lnTo>
                    <a:lnTo>
                      <a:pt x="77" y="81"/>
                    </a:lnTo>
                    <a:lnTo>
                      <a:pt x="77" y="85"/>
                    </a:lnTo>
                    <a:lnTo>
                      <a:pt x="77" y="95"/>
                    </a:lnTo>
                    <a:lnTo>
                      <a:pt x="77" y="99"/>
                    </a:lnTo>
                    <a:lnTo>
                      <a:pt x="72" y="99"/>
                    </a:lnTo>
                    <a:lnTo>
                      <a:pt x="72" y="99"/>
                    </a:lnTo>
                    <a:lnTo>
                      <a:pt x="68" y="99"/>
                    </a:lnTo>
                    <a:lnTo>
                      <a:pt x="63" y="99"/>
                    </a:lnTo>
                    <a:lnTo>
                      <a:pt x="63" y="99"/>
                    </a:lnTo>
                    <a:lnTo>
                      <a:pt x="59" y="99"/>
                    </a:lnTo>
                    <a:lnTo>
                      <a:pt x="54" y="99"/>
                    </a:lnTo>
                    <a:lnTo>
                      <a:pt x="54" y="99"/>
                    </a:lnTo>
                    <a:lnTo>
                      <a:pt x="50" y="99"/>
                    </a:lnTo>
                    <a:lnTo>
                      <a:pt x="45" y="99"/>
                    </a:lnTo>
                    <a:lnTo>
                      <a:pt x="45" y="99"/>
                    </a:lnTo>
                    <a:lnTo>
                      <a:pt x="41" y="99"/>
                    </a:lnTo>
                    <a:lnTo>
                      <a:pt x="36" y="99"/>
                    </a:lnTo>
                    <a:lnTo>
                      <a:pt x="36" y="99"/>
                    </a:lnTo>
                    <a:lnTo>
                      <a:pt x="32" y="99"/>
                    </a:lnTo>
                    <a:lnTo>
                      <a:pt x="27" y="99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18" y="99"/>
                    </a:lnTo>
                    <a:lnTo>
                      <a:pt x="18" y="99"/>
                    </a:lnTo>
                    <a:lnTo>
                      <a:pt x="18" y="99"/>
                    </a:lnTo>
                    <a:lnTo>
                      <a:pt x="18" y="99"/>
                    </a:lnTo>
                    <a:lnTo>
                      <a:pt x="18" y="99"/>
                    </a:lnTo>
                    <a:lnTo>
                      <a:pt x="14" y="99"/>
                    </a:lnTo>
                    <a:lnTo>
                      <a:pt x="14" y="99"/>
                    </a:lnTo>
                    <a:lnTo>
                      <a:pt x="14" y="99"/>
                    </a:lnTo>
                    <a:lnTo>
                      <a:pt x="14" y="99"/>
                    </a:lnTo>
                    <a:lnTo>
                      <a:pt x="14" y="104"/>
                    </a:lnTo>
                    <a:lnTo>
                      <a:pt x="9" y="104"/>
                    </a:lnTo>
                    <a:lnTo>
                      <a:pt x="9" y="104"/>
                    </a:lnTo>
                    <a:lnTo>
                      <a:pt x="9" y="108"/>
                    </a:lnTo>
                    <a:lnTo>
                      <a:pt x="9" y="108"/>
                    </a:lnTo>
                    <a:lnTo>
                      <a:pt x="5" y="108"/>
                    </a:lnTo>
                    <a:lnTo>
                      <a:pt x="5" y="108"/>
                    </a:lnTo>
                    <a:lnTo>
                      <a:pt x="5" y="104"/>
                    </a:lnTo>
                    <a:lnTo>
                      <a:pt x="5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99"/>
                    </a:lnTo>
                    <a:lnTo>
                      <a:pt x="0" y="99"/>
                    </a:lnTo>
                    <a:lnTo>
                      <a:pt x="0" y="95"/>
                    </a:lnTo>
                    <a:lnTo>
                      <a:pt x="0" y="95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5"/>
                    </a:lnTo>
                    <a:lnTo>
                      <a:pt x="5" y="81"/>
                    </a:lnTo>
                    <a:lnTo>
                      <a:pt x="5" y="81"/>
                    </a:lnTo>
                    <a:lnTo>
                      <a:pt x="5" y="76"/>
                    </a:lnTo>
                    <a:lnTo>
                      <a:pt x="5" y="76"/>
                    </a:lnTo>
                    <a:lnTo>
                      <a:pt x="5" y="76"/>
                    </a:lnTo>
                    <a:lnTo>
                      <a:pt x="5" y="72"/>
                    </a:lnTo>
                    <a:lnTo>
                      <a:pt x="5" y="72"/>
                    </a:lnTo>
                    <a:lnTo>
                      <a:pt x="9" y="67"/>
                    </a:lnTo>
                    <a:lnTo>
                      <a:pt x="9" y="67"/>
                    </a:lnTo>
                    <a:lnTo>
                      <a:pt x="9" y="63"/>
                    </a:lnTo>
                    <a:lnTo>
                      <a:pt x="9" y="63"/>
                    </a:lnTo>
                    <a:lnTo>
                      <a:pt x="9" y="63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3" y="49"/>
                    </a:lnTo>
                    <a:lnTo>
                      <a:pt x="27" y="45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3" y="36"/>
                    </a:lnTo>
                    <a:lnTo>
                      <a:pt x="23" y="31"/>
                    </a:lnTo>
                    <a:lnTo>
                      <a:pt x="23" y="31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13"/>
                    </a:lnTo>
                    <a:lnTo>
                      <a:pt x="45" y="9"/>
                    </a:lnTo>
                    <a:lnTo>
                      <a:pt x="50" y="9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9" y="9"/>
                    </a:lnTo>
                    <a:lnTo>
                      <a:pt x="59" y="4"/>
                    </a:lnTo>
                    <a:lnTo>
                      <a:pt x="63" y="9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72" y="9"/>
                    </a:lnTo>
                    <a:lnTo>
                      <a:pt x="72" y="4"/>
                    </a:lnTo>
                    <a:lnTo>
                      <a:pt x="77" y="0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81" y="9"/>
                    </a:lnTo>
                    <a:lnTo>
                      <a:pt x="81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48" name="Freeform 169"/>
              <p:cNvSpPr>
                <a:spLocks/>
              </p:cNvSpPr>
              <p:nvPr/>
            </p:nvSpPr>
            <p:spPr bwMode="auto">
              <a:xfrm>
                <a:off x="4829176" y="1381126"/>
                <a:ext cx="423863" cy="244475"/>
              </a:xfrm>
              <a:custGeom>
                <a:avLst/>
                <a:gdLst>
                  <a:gd name="T0" fmla="*/ 172 w 267"/>
                  <a:gd name="T1" fmla="*/ 13 h 154"/>
                  <a:gd name="T2" fmla="*/ 172 w 267"/>
                  <a:gd name="T3" fmla="*/ 22 h 154"/>
                  <a:gd name="T4" fmla="*/ 186 w 267"/>
                  <a:gd name="T5" fmla="*/ 22 h 154"/>
                  <a:gd name="T6" fmla="*/ 190 w 267"/>
                  <a:gd name="T7" fmla="*/ 31 h 154"/>
                  <a:gd name="T8" fmla="*/ 199 w 267"/>
                  <a:gd name="T9" fmla="*/ 36 h 154"/>
                  <a:gd name="T10" fmla="*/ 213 w 267"/>
                  <a:gd name="T11" fmla="*/ 41 h 154"/>
                  <a:gd name="T12" fmla="*/ 231 w 267"/>
                  <a:gd name="T13" fmla="*/ 45 h 154"/>
                  <a:gd name="T14" fmla="*/ 244 w 267"/>
                  <a:gd name="T15" fmla="*/ 50 h 154"/>
                  <a:gd name="T16" fmla="*/ 258 w 267"/>
                  <a:gd name="T17" fmla="*/ 54 h 154"/>
                  <a:gd name="T18" fmla="*/ 262 w 267"/>
                  <a:gd name="T19" fmla="*/ 59 h 154"/>
                  <a:gd name="T20" fmla="*/ 262 w 267"/>
                  <a:gd name="T21" fmla="*/ 68 h 154"/>
                  <a:gd name="T22" fmla="*/ 262 w 267"/>
                  <a:gd name="T23" fmla="*/ 77 h 154"/>
                  <a:gd name="T24" fmla="*/ 258 w 267"/>
                  <a:gd name="T25" fmla="*/ 86 h 154"/>
                  <a:gd name="T26" fmla="*/ 244 w 267"/>
                  <a:gd name="T27" fmla="*/ 95 h 154"/>
                  <a:gd name="T28" fmla="*/ 244 w 267"/>
                  <a:gd name="T29" fmla="*/ 99 h 154"/>
                  <a:gd name="T30" fmla="*/ 222 w 267"/>
                  <a:gd name="T31" fmla="*/ 108 h 154"/>
                  <a:gd name="T32" fmla="*/ 199 w 267"/>
                  <a:gd name="T33" fmla="*/ 117 h 154"/>
                  <a:gd name="T34" fmla="*/ 199 w 267"/>
                  <a:gd name="T35" fmla="*/ 122 h 154"/>
                  <a:gd name="T36" fmla="*/ 217 w 267"/>
                  <a:gd name="T37" fmla="*/ 131 h 154"/>
                  <a:gd name="T38" fmla="*/ 213 w 267"/>
                  <a:gd name="T39" fmla="*/ 140 h 154"/>
                  <a:gd name="T40" fmla="*/ 190 w 267"/>
                  <a:gd name="T41" fmla="*/ 149 h 154"/>
                  <a:gd name="T42" fmla="*/ 177 w 267"/>
                  <a:gd name="T43" fmla="*/ 135 h 154"/>
                  <a:gd name="T44" fmla="*/ 177 w 267"/>
                  <a:gd name="T45" fmla="*/ 126 h 154"/>
                  <a:gd name="T46" fmla="*/ 158 w 267"/>
                  <a:gd name="T47" fmla="*/ 117 h 154"/>
                  <a:gd name="T48" fmla="*/ 149 w 267"/>
                  <a:gd name="T49" fmla="*/ 113 h 154"/>
                  <a:gd name="T50" fmla="*/ 154 w 267"/>
                  <a:gd name="T51" fmla="*/ 108 h 154"/>
                  <a:gd name="T52" fmla="*/ 149 w 267"/>
                  <a:gd name="T53" fmla="*/ 104 h 154"/>
                  <a:gd name="T54" fmla="*/ 136 w 267"/>
                  <a:gd name="T55" fmla="*/ 113 h 154"/>
                  <a:gd name="T56" fmla="*/ 122 w 267"/>
                  <a:gd name="T57" fmla="*/ 126 h 154"/>
                  <a:gd name="T58" fmla="*/ 113 w 267"/>
                  <a:gd name="T59" fmla="*/ 135 h 154"/>
                  <a:gd name="T60" fmla="*/ 100 w 267"/>
                  <a:gd name="T61" fmla="*/ 135 h 154"/>
                  <a:gd name="T62" fmla="*/ 104 w 267"/>
                  <a:gd name="T63" fmla="*/ 126 h 154"/>
                  <a:gd name="T64" fmla="*/ 109 w 267"/>
                  <a:gd name="T65" fmla="*/ 113 h 154"/>
                  <a:gd name="T66" fmla="*/ 113 w 267"/>
                  <a:gd name="T67" fmla="*/ 113 h 154"/>
                  <a:gd name="T68" fmla="*/ 122 w 267"/>
                  <a:gd name="T69" fmla="*/ 113 h 154"/>
                  <a:gd name="T70" fmla="*/ 113 w 267"/>
                  <a:gd name="T71" fmla="*/ 104 h 154"/>
                  <a:gd name="T72" fmla="*/ 109 w 267"/>
                  <a:gd name="T73" fmla="*/ 95 h 154"/>
                  <a:gd name="T74" fmla="*/ 104 w 267"/>
                  <a:gd name="T75" fmla="*/ 86 h 154"/>
                  <a:gd name="T76" fmla="*/ 95 w 267"/>
                  <a:gd name="T77" fmla="*/ 81 h 154"/>
                  <a:gd name="T78" fmla="*/ 82 w 267"/>
                  <a:gd name="T79" fmla="*/ 77 h 154"/>
                  <a:gd name="T80" fmla="*/ 68 w 267"/>
                  <a:gd name="T81" fmla="*/ 81 h 154"/>
                  <a:gd name="T82" fmla="*/ 46 w 267"/>
                  <a:gd name="T83" fmla="*/ 90 h 154"/>
                  <a:gd name="T84" fmla="*/ 27 w 267"/>
                  <a:gd name="T85" fmla="*/ 86 h 154"/>
                  <a:gd name="T86" fmla="*/ 14 w 267"/>
                  <a:gd name="T87" fmla="*/ 86 h 154"/>
                  <a:gd name="T88" fmla="*/ 9 w 267"/>
                  <a:gd name="T89" fmla="*/ 81 h 154"/>
                  <a:gd name="T90" fmla="*/ 0 w 267"/>
                  <a:gd name="T91" fmla="*/ 77 h 154"/>
                  <a:gd name="T92" fmla="*/ 9 w 267"/>
                  <a:gd name="T93" fmla="*/ 68 h 154"/>
                  <a:gd name="T94" fmla="*/ 9 w 267"/>
                  <a:gd name="T95" fmla="*/ 54 h 154"/>
                  <a:gd name="T96" fmla="*/ 27 w 267"/>
                  <a:gd name="T97" fmla="*/ 36 h 154"/>
                  <a:gd name="T98" fmla="*/ 23 w 267"/>
                  <a:gd name="T99" fmla="*/ 31 h 154"/>
                  <a:gd name="T100" fmla="*/ 18 w 267"/>
                  <a:gd name="T101" fmla="*/ 18 h 154"/>
                  <a:gd name="T102" fmla="*/ 32 w 267"/>
                  <a:gd name="T103" fmla="*/ 13 h 154"/>
                  <a:gd name="T104" fmla="*/ 59 w 267"/>
                  <a:gd name="T105" fmla="*/ 13 h 154"/>
                  <a:gd name="T106" fmla="*/ 77 w 267"/>
                  <a:gd name="T107" fmla="*/ 18 h 154"/>
                  <a:gd name="T108" fmla="*/ 86 w 267"/>
                  <a:gd name="T109" fmla="*/ 18 h 154"/>
                  <a:gd name="T110" fmla="*/ 95 w 267"/>
                  <a:gd name="T111" fmla="*/ 18 h 154"/>
                  <a:gd name="T112" fmla="*/ 109 w 267"/>
                  <a:gd name="T113" fmla="*/ 18 h 154"/>
                  <a:gd name="T114" fmla="*/ 118 w 267"/>
                  <a:gd name="T115" fmla="*/ 18 h 154"/>
                  <a:gd name="T116" fmla="*/ 127 w 267"/>
                  <a:gd name="T117" fmla="*/ 9 h 154"/>
                  <a:gd name="T118" fmla="*/ 140 w 267"/>
                  <a:gd name="T119" fmla="*/ 4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67" h="154">
                    <a:moveTo>
                      <a:pt x="158" y="4"/>
                    </a:moveTo>
                    <a:lnTo>
                      <a:pt x="158" y="4"/>
                    </a:lnTo>
                    <a:lnTo>
                      <a:pt x="158" y="4"/>
                    </a:lnTo>
                    <a:lnTo>
                      <a:pt x="163" y="0"/>
                    </a:lnTo>
                    <a:lnTo>
                      <a:pt x="163" y="4"/>
                    </a:lnTo>
                    <a:lnTo>
                      <a:pt x="163" y="4"/>
                    </a:lnTo>
                    <a:lnTo>
                      <a:pt x="168" y="4"/>
                    </a:lnTo>
                    <a:lnTo>
                      <a:pt x="168" y="9"/>
                    </a:lnTo>
                    <a:lnTo>
                      <a:pt x="172" y="13"/>
                    </a:lnTo>
                    <a:lnTo>
                      <a:pt x="172" y="13"/>
                    </a:lnTo>
                    <a:lnTo>
                      <a:pt x="172" y="13"/>
                    </a:lnTo>
                    <a:lnTo>
                      <a:pt x="172" y="13"/>
                    </a:lnTo>
                    <a:lnTo>
                      <a:pt x="168" y="13"/>
                    </a:lnTo>
                    <a:lnTo>
                      <a:pt x="168" y="13"/>
                    </a:lnTo>
                    <a:lnTo>
                      <a:pt x="168" y="18"/>
                    </a:lnTo>
                    <a:lnTo>
                      <a:pt x="172" y="18"/>
                    </a:lnTo>
                    <a:lnTo>
                      <a:pt x="172" y="18"/>
                    </a:lnTo>
                    <a:lnTo>
                      <a:pt x="172" y="18"/>
                    </a:lnTo>
                    <a:lnTo>
                      <a:pt x="172" y="22"/>
                    </a:lnTo>
                    <a:lnTo>
                      <a:pt x="172" y="22"/>
                    </a:lnTo>
                    <a:lnTo>
                      <a:pt x="172" y="22"/>
                    </a:lnTo>
                    <a:lnTo>
                      <a:pt x="172" y="22"/>
                    </a:lnTo>
                    <a:lnTo>
                      <a:pt x="172" y="22"/>
                    </a:lnTo>
                    <a:lnTo>
                      <a:pt x="172" y="22"/>
                    </a:lnTo>
                    <a:lnTo>
                      <a:pt x="177" y="22"/>
                    </a:lnTo>
                    <a:lnTo>
                      <a:pt x="177" y="22"/>
                    </a:lnTo>
                    <a:lnTo>
                      <a:pt x="181" y="22"/>
                    </a:lnTo>
                    <a:lnTo>
                      <a:pt x="181" y="22"/>
                    </a:lnTo>
                    <a:lnTo>
                      <a:pt x="181" y="22"/>
                    </a:lnTo>
                    <a:lnTo>
                      <a:pt x="181" y="22"/>
                    </a:lnTo>
                    <a:lnTo>
                      <a:pt x="186" y="22"/>
                    </a:lnTo>
                    <a:lnTo>
                      <a:pt x="186" y="22"/>
                    </a:lnTo>
                    <a:lnTo>
                      <a:pt x="186" y="22"/>
                    </a:lnTo>
                    <a:lnTo>
                      <a:pt x="186" y="27"/>
                    </a:lnTo>
                    <a:lnTo>
                      <a:pt x="186" y="27"/>
                    </a:lnTo>
                    <a:lnTo>
                      <a:pt x="186" y="27"/>
                    </a:lnTo>
                    <a:lnTo>
                      <a:pt x="190" y="27"/>
                    </a:lnTo>
                    <a:lnTo>
                      <a:pt x="190" y="27"/>
                    </a:lnTo>
                    <a:lnTo>
                      <a:pt x="190" y="27"/>
                    </a:lnTo>
                    <a:lnTo>
                      <a:pt x="190" y="27"/>
                    </a:lnTo>
                    <a:lnTo>
                      <a:pt x="190" y="27"/>
                    </a:lnTo>
                    <a:lnTo>
                      <a:pt x="190" y="31"/>
                    </a:lnTo>
                    <a:lnTo>
                      <a:pt x="190" y="31"/>
                    </a:lnTo>
                    <a:lnTo>
                      <a:pt x="190" y="31"/>
                    </a:lnTo>
                    <a:lnTo>
                      <a:pt x="190" y="31"/>
                    </a:lnTo>
                    <a:lnTo>
                      <a:pt x="190" y="31"/>
                    </a:lnTo>
                    <a:lnTo>
                      <a:pt x="190" y="36"/>
                    </a:lnTo>
                    <a:lnTo>
                      <a:pt x="190" y="36"/>
                    </a:lnTo>
                    <a:lnTo>
                      <a:pt x="195" y="36"/>
                    </a:lnTo>
                    <a:lnTo>
                      <a:pt x="195" y="36"/>
                    </a:lnTo>
                    <a:lnTo>
                      <a:pt x="195" y="41"/>
                    </a:lnTo>
                    <a:lnTo>
                      <a:pt x="195" y="41"/>
                    </a:lnTo>
                    <a:lnTo>
                      <a:pt x="199" y="36"/>
                    </a:lnTo>
                    <a:lnTo>
                      <a:pt x="199" y="36"/>
                    </a:lnTo>
                    <a:lnTo>
                      <a:pt x="199" y="36"/>
                    </a:lnTo>
                    <a:lnTo>
                      <a:pt x="204" y="36"/>
                    </a:lnTo>
                    <a:lnTo>
                      <a:pt x="204" y="41"/>
                    </a:lnTo>
                    <a:lnTo>
                      <a:pt x="204" y="41"/>
                    </a:lnTo>
                    <a:lnTo>
                      <a:pt x="204" y="41"/>
                    </a:lnTo>
                    <a:lnTo>
                      <a:pt x="204" y="41"/>
                    </a:lnTo>
                    <a:lnTo>
                      <a:pt x="208" y="41"/>
                    </a:lnTo>
                    <a:lnTo>
                      <a:pt x="208" y="41"/>
                    </a:lnTo>
                    <a:lnTo>
                      <a:pt x="208" y="41"/>
                    </a:lnTo>
                    <a:lnTo>
                      <a:pt x="213" y="41"/>
                    </a:lnTo>
                    <a:lnTo>
                      <a:pt x="213" y="41"/>
                    </a:lnTo>
                    <a:lnTo>
                      <a:pt x="213" y="41"/>
                    </a:lnTo>
                    <a:lnTo>
                      <a:pt x="217" y="41"/>
                    </a:lnTo>
                    <a:lnTo>
                      <a:pt x="217" y="41"/>
                    </a:lnTo>
                    <a:lnTo>
                      <a:pt x="217" y="36"/>
                    </a:lnTo>
                    <a:lnTo>
                      <a:pt x="222" y="36"/>
                    </a:lnTo>
                    <a:lnTo>
                      <a:pt x="222" y="36"/>
                    </a:lnTo>
                    <a:lnTo>
                      <a:pt x="222" y="41"/>
                    </a:lnTo>
                    <a:lnTo>
                      <a:pt x="222" y="41"/>
                    </a:lnTo>
                    <a:lnTo>
                      <a:pt x="222" y="41"/>
                    </a:lnTo>
                    <a:lnTo>
                      <a:pt x="226" y="45"/>
                    </a:lnTo>
                    <a:lnTo>
                      <a:pt x="231" y="45"/>
                    </a:lnTo>
                    <a:lnTo>
                      <a:pt x="231" y="45"/>
                    </a:lnTo>
                    <a:lnTo>
                      <a:pt x="231" y="45"/>
                    </a:lnTo>
                    <a:lnTo>
                      <a:pt x="231" y="45"/>
                    </a:lnTo>
                    <a:lnTo>
                      <a:pt x="231" y="45"/>
                    </a:lnTo>
                    <a:lnTo>
                      <a:pt x="231" y="45"/>
                    </a:lnTo>
                    <a:lnTo>
                      <a:pt x="235" y="45"/>
                    </a:lnTo>
                    <a:lnTo>
                      <a:pt x="235" y="45"/>
                    </a:lnTo>
                    <a:lnTo>
                      <a:pt x="235" y="45"/>
                    </a:lnTo>
                    <a:lnTo>
                      <a:pt x="240" y="45"/>
                    </a:lnTo>
                    <a:lnTo>
                      <a:pt x="240" y="45"/>
                    </a:lnTo>
                    <a:lnTo>
                      <a:pt x="244" y="45"/>
                    </a:lnTo>
                    <a:lnTo>
                      <a:pt x="244" y="50"/>
                    </a:lnTo>
                    <a:lnTo>
                      <a:pt x="244" y="50"/>
                    </a:lnTo>
                    <a:lnTo>
                      <a:pt x="249" y="50"/>
                    </a:lnTo>
                    <a:lnTo>
                      <a:pt x="249" y="50"/>
                    </a:lnTo>
                    <a:lnTo>
                      <a:pt x="249" y="50"/>
                    </a:lnTo>
                    <a:lnTo>
                      <a:pt x="249" y="50"/>
                    </a:lnTo>
                    <a:lnTo>
                      <a:pt x="249" y="50"/>
                    </a:lnTo>
                    <a:lnTo>
                      <a:pt x="253" y="50"/>
                    </a:lnTo>
                    <a:lnTo>
                      <a:pt x="253" y="50"/>
                    </a:lnTo>
                    <a:lnTo>
                      <a:pt x="253" y="50"/>
                    </a:lnTo>
                    <a:lnTo>
                      <a:pt x="258" y="54"/>
                    </a:lnTo>
                    <a:lnTo>
                      <a:pt x="258" y="54"/>
                    </a:lnTo>
                    <a:lnTo>
                      <a:pt x="262" y="54"/>
                    </a:lnTo>
                    <a:lnTo>
                      <a:pt x="262" y="54"/>
                    </a:lnTo>
                    <a:lnTo>
                      <a:pt x="262" y="54"/>
                    </a:lnTo>
                    <a:lnTo>
                      <a:pt x="262" y="54"/>
                    </a:lnTo>
                    <a:lnTo>
                      <a:pt x="262" y="54"/>
                    </a:lnTo>
                    <a:lnTo>
                      <a:pt x="262" y="54"/>
                    </a:lnTo>
                    <a:lnTo>
                      <a:pt x="262" y="54"/>
                    </a:lnTo>
                    <a:lnTo>
                      <a:pt x="262" y="59"/>
                    </a:lnTo>
                    <a:lnTo>
                      <a:pt x="262" y="59"/>
                    </a:lnTo>
                    <a:lnTo>
                      <a:pt x="262" y="59"/>
                    </a:lnTo>
                    <a:lnTo>
                      <a:pt x="262" y="59"/>
                    </a:lnTo>
                    <a:lnTo>
                      <a:pt x="262" y="63"/>
                    </a:lnTo>
                    <a:lnTo>
                      <a:pt x="258" y="63"/>
                    </a:lnTo>
                    <a:lnTo>
                      <a:pt x="258" y="63"/>
                    </a:lnTo>
                    <a:lnTo>
                      <a:pt x="258" y="63"/>
                    </a:lnTo>
                    <a:lnTo>
                      <a:pt x="258" y="63"/>
                    </a:lnTo>
                    <a:lnTo>
                      <a:pt x="262" y="68"/>
                    </a:lnTo>
                    <a:lnTo>
                      <a:pt x="262" y="68"/>
                    </a:lnTo>
                    <a:lnTo>
                      <a:pt x="262" y="68"/>
                    </a:lnTo>
                    <a:lnTo>
                      <a:pt x="262" y="68"/>
                    </a:lnTo>
                    <a:lnTo>
                      <a:pt x="262" y="68"/>
                    </a:lnTo>
                    <a:lnTo>
                      <a:pt x="262" y="68"/>
                    </a:lnTo>
                    <a:lnTo>
                      <a:pt x="262" y="68"/>
                    </a:lnTo>
                    <a:lnTo>
                      <a:pt x="258" y="68"/>
                    </a:lnTo>
                    <a:lnTo>
                      <a:pt x="258" y="68"/>
                    </a:lnTo>
                    <a:lnTo>
                      <a:pt x="258" y="72"/>
                    </a:lnTo>
                    <a:lnTo>
                      <a:pt x="262" y="72"/>
                    </a:lnTo>
                    <a:lnTo>
                      <a:pt x="262" y="72"/>
                    </a:lnTo>
                    <a:lnTo>
                      <a:pt x="262" y="72"/>
                    </a:lnTo>
                    <a:lnTo>
                      <a:pt x="262" y="72"/>
                    </a:lnTo>
                    <a:lnTo>
                      <a:pt x="262" y="77"/>
                    </a:lnTo>
                    <a:lnTo>
                      <a:pt x="262" y="77"/>
                    </a:lnTo>
                    <a:lnTo>
                      <a:pt x="262" y="77"/>
                    </a:lnTo>
                    <a:lnTo>
                      <a:pt x="262" y="77"/>
                    </a:lnTo>
                    <a:lnTo>
                      <a:pt x="262" y="77"/>
                    </a:lnTo>
                    <a:lnTo>
                      <a:pt x="267" y="77"/>
                    </a:lnTo>
                    <a:lnTo>
                      <a:pt x="267" y="77"/>
                    </a:lnTo>
                    <a:lnTo>
                      <a:pt x="262" y="81"/>
                    </a:lnTo>
                    <a:lnTo>
                      <a:pt x="262" y="81"/>
                    </a:lnTo>
                    <a:lnTo>
                      <a:pt x="262" y="81"/>
                    </a:lnTo>
                    <a:lnTo>
                      <a:pt x="262" y="86"/>
                    </a:lnTo>
                    <a:lnTo>
                      <a:pt x="262" y="86"/>
                    </a:lnTo>
                    <a:lnTo>
                      <a:pt x="262" y="86"/>
                    </a:lnTo>
                    <a:lnTo>
                      <a:pt x="258" y="86"/>
                    </a:lnTo>
                    <a:lnTo>
                      <a:pt x="253" y="86"/>
                    </a:lnTo>
                    <a:lnTo>
                      <a:pt x="253" y="86"/>
                    </a:lnTo>
                    <a:lnTo>
                      <a:pt x="249" y="86"/>
                    </a:lnTo>
                    <a:lnTo>
                      <a:pt x="249" y="86"/>
                    </a:lnTo>
                    <a:lnTo>
                      <a:pt x="249" y="86"/>
                    </a:lnTo>
                    <a:lnTo>
                      <a:pt x="249" y="90"/>
                    </a:lnTo>
                    <a:lnTo>
                      <a:pt x="244" y="90"/>
                    </a:lnTo>
                    <a:lnTo>
                      <a:pt x="244" y="90"/>
                    </a:lnTo>
                    <a:lnTo>
                      <a:pt x="244" y="90"/>
                    </a:lnTo>
                    <a:lnTo>
                      <a:pt x="244" y="90"/>
                    </a:lnTo>
                    <a:lnTo>
                      <a:pt x="244" y="95"/>
                    </a:lnTo>
                    <a:lnTo>
                      <a:pt x="244" y="95"/>
                    </a:lnTo>
                    <a:lnTo>
                      <a:pt x="244" y="95"/>
                    </a:lnTo>
                    <a:lnTo>
                      <a:pt x="244" y="95"/>
                    </a:lnTo>
                    <a:lnTo>
                      <a:pt x="244" y="95"/>
                    </a:lnTo>
                    <a:lnTo>
                      <a:pt x="244" y="95"/>
                    </a:lnTo>
                    <a:lnTo>
                      <a:pt x="244" y="95"/>
                    </a:lnTo>
                    <a:lnTo>
                      <a:pt x="244" y="95"/>
                    </a:lnTo>
                    <a:lnTo>
                      <a:pt x="244" y="95"/>
                    </a:lnTo>
                    <a:lnTo>
                      <a:pt x="244" y="99"/>
                    </a:lnTo>
                    <a:lnTo>
                      <a:pt x="244" y="99"/>
                    </a:lnTo>
                    <a:lnTo>
                      <a:pt x="244" y="99"/>
                    </a:lnTo>
                    <a:lnTo>
                      <a:pt x="244" y="99"/>
                    </a:lnTo>
                    <a:lnTo>
                      <a:pt x="244" y="99"/>
                    </a:lnTo>
                    <a:lnTo>
                      <a:pt x="235" y="99"/>
                    </a:lnTo>
                    <a:lnTo>
                      <a:pt x="235" y="99"/>
                    </a:lnTo>
                    <a:lnTo>
                      <a:pt x="231" y="104"/>
                    </a:lnTo>
                    <a:lnTo>
                      <a:pt x="231" y="104"/>
                    </a:lnTo>
                    <a:lnTo>
                      <a:pt x="226" y="104"/>
                    </a:lnTo>
                    <a:lnTo>
                      <a:pt x="226" y="104"/>
                    </a:lnTo>
                    <a:lnTo>
                      <a:pt x="222" y="108"/>
                    </a:lnTo>
                    <a:lnTo>
                      <a:pt x="222" y="108"/>
                    </a:lnTo>
                    <a:lnTo>
                      <a:pt x="222" y="108"/>
                    </a:lnTo>
                    <a:lnTo>
                      <a:pt x="217" y="108"/>
                    </a:lnTo>
                    <a:lnTo>
                      <a:pt x="217" y="108"/>
                    </a:lnTo>
                    <a:lnTo>
                      <a:pt x="213" y="108"/>
                    </a:lnTo>
                    <a:lnTo>
                      <a:pt x="213" y="108"/>
                    </a:lnTo>
                    <a:lnTo>
                      <a:pt x="208" y="108"/>
                    </a:lnTo>
                    <a:lnTo>
                      <a:pt x="204" y="113"/>
                    </a:lnTo>
                    <a:lnTo>
                      <a:pt x="204" y="117"/>
                    </a:lnTo>
                    <a:lnTo>
                      <a:pt x="199" y="117"/>
                    </a:lnTo>
                    <a:lnTo>
                      <a:pt x="199" y="117"/>
                    </a:lnTo>
                    <a:lnTo>
                      <a:pt x="199" y="117"/>
                    </a:lnTo>
                    <a:lnTo>
                      <a:pt x="199" y="117"/>
                    </a:lnTo>
                    <a:lnTo>
                      <a:pt x="199" y="117"/>
                    </a:lnTo>
                    <a:lnTo>
                      <a:pt x="204" y="117"/>
                    </a:lnTo>
                    <a:lnTo>
                      <a:pt x="204" y="113"/>
                    </a:lnTo>
                    <a:lnTo>
                      <a:pt x="204" y="113"/>
                    </a:lnTo>
                    <a:lnTo>
                      <a:pt x="199" y="113"/>
                    </a:lnTo>
                    <a:lnTo>
                      <a:pt x="199" y="117"/>
                    </a:lnTo>
                    <a:lnTo>
                      <a:pt x="199" y="117"/>
                    </a:lnTo>
                    <a:lnTo>
                      <a:pt x="195" y="117"/>
                    </a:lnTo>
                    <a:lnTo>
                      <a:pt x="195" y="122"/>
                    </a:lnTo>
                    <a:lnTo>
                      <a:pt x="195" y="122"/>
                    </a:lnTo>
                    <a:lnTo>
                      <a:pt x="199" y="122"/>
                    </a:lnTo>
                    <a:lnTo>
                      <a:pt x="199" y="126"/>
                    </a:lnTo>
                    <a:lnTo>
                      <a:pt x="204" y="131"/>
                    </a:lnTo>
                    <a:lnTo>
                      <a:pt x="204" y="131"/>
                    </a:lnTo>
                    <a:lnTo>
                      <a:pt x="208" y="135"/>
                    </a:lnTo>
                    <a:lnTo>
                      <a:pt x="208" y="135"/>
                    </a:lnTo>
                    <a:lnTo>
                      <a:pt x="213" y="131"/>
                    </a:lnTo>
                    <a:lnTo>
                      <a:pt x="213" y="131"/>
                    </a:lnTo>
                    <a:lnTo>
                      <a:pt x="217" y="131"/>
                    </a:lnTo>
                    <a:lnTo>
                      <a:pt x="217" y="131"/>
                    </a:lnTo>
                    <a:lnTo>
                      <a:pt x="217" y="131"/>
                    </a:lnTo>
                    <a:lnTo>
                      <a:pt x="217" y="131"/>
                    </a:lnTo>
                    <a:lnTo>
                      <a:pt x="222" y="131"/>
                    </a:lnTo>
                    <a:lnTo>
                      <a:pt x="222" y="131"/>
                    </a:lnTo>
                    <a:lnTo>
                      <a:pt x="222" y="135"/>
                    </a:lnTo>
                    <a:lnTo>
                      <a:pt x="222" y="135"/>
                    </a:lnTo>
                    <a:lnTo>
                      <a:pt x="222" y="135"/>
                    </a:lnTo>
                    <a:lnTo>
                      <a:pt x="222" y="140"/>
                    </a:lnTo>
                    <a:lnTo>
                      <a:pt x="222" y="140"/>
                    </a:lnTo>
                    <a:lnTo>
                      <a:pt x="217" y="140"/>
                    </a:lnTo>
                    <a:lnTo>
                      <a:pt x="213" y="140"/>
                    </a:lnTo>
                    <a:lnTo>
                      <a:pt x="213" y="140"/>
                    </a:lnTo>
                    <a:lnTo>
                      <a:pt x="213" y="140"/>
                    </a:lnTo>
                    <a:lnTo>
                      <a:pt x="213" y="140"/>
                    </a:lnTo>
                    <a:lnTo>
                      <a:pt x="208" y="135"/>
                    </a:lnTo>
                    <a:lnTo>
                      <a:pt x="208" y="140"/>
                    </a:lnTo>
                    <a:lnTo>
                      <a:pt x="208" y="140"/>
                    </a:lnTo>
                    <a:lnTo>
                      <a:pt x="204" y="140"/>
                    </a:lnTo>
                    <a:lnTo>
                      <a:pt x="204" y="145"/>
                    </a:lnTo>
                    <a:lnTo>
                      <a:pt x="199" y="145"/>
                    </a:lnTo>
                    <a:lnTo>
                      <a:pt x="199" y="145"/>
                    </a:lnTo>
                    <a:lnTo>
                      <a:pt x="195" y="145"/>
                    </a:lnTo>
                    <a:lnTo>
                      <a:pt x="190" y="149"/>
                    </a:lnTo>
                    <a:lnTo>
                      <a:pt x="190" y="149"/>
                    </a:lnTo>
                    <a:lnTo>
                      <a:pt x="186" y="154"/>
                    </a:lnTo>
                    <a:lnTo>
                      <a:pt x="186" y="154"/>
                    </a:lnTo>
                    <a:lnTo>
                      <a:pt x="181" y="149"/>
                    </a:lnTo>
                    <a:lnTo>
                      <a:pt x="177" y="149"/>
                    </a:lnTo>
                    <a:lnTo>
                      <a:pt x="177" y="149"/>
                    </a:lnTo>
                    <a:lnTo>
                      <a:pt x="181" y="149"/>
                    </a:lnTo>
                    <a:lnTo>
                      <a:pt x="181" y="145"/>
                    </a:lnTo>
                    <a:lnTo>
                      <a:pt x="181" y="140"/>
                    </a:lnTo>
                    <a:lnTo>
                      <a:pt x="181" y="140"/>
                    </a:lnTo>
                    <a:lnTo>
                      <a:pt x="181" y="140"/>
                    </a:lnTo>
                    <a:lnTo>
                      <a:pt x="177" y="135"/>
                    </a:lnTo>
                    <a:lnTo>
                      <a:pt x="172" y="135"/>
                    </a:lnTo>
                    <a:lnTo>
                      <a:pt x="172" y="135"/>
                    </a:lnTo>
                    <a:lnTo>
                      <a:pt x="168" y="135"/>
                    </a:lnTo>
                    <a:lnTo>
                      <a:pt x="168" y="135"/>
                    </a:lnTo>
                    <a:lnTo>
                      <a:pt x="163" y="135"/>
                    </a:lnTo>
                    <a:lnTo>
                      <a:pt x="163" y="135"/>
                    </a:lnTo>
                    <a:lnTo>
                      <a:pt x="163" y="131"/>
                    </a:lnTo>
                    <a:lnTo>
                      <a:pt x="168" y="131"/>
                    </a:lnTo>
                    <a:lnTo>
                      <a:pt x="172" y="126"/>
                    </a:lnTo>
                    <a:lnTo>
                      <a:pt x="172" y="126"/>
                    </a:lnTo>
                    <a:lnTo>
                      <a:pt x="177" y="126"/>
                    </a:lnTo>
                    <a:lnTo>
                      <a:pt x="177" y="122"/>
                    </a:lnTo>
                    <a:lnTo>
                      <a:pt x="177" y="122"/>
                    </a:lnTo>
                    <a:lnTo>
                      <a:pt x="177" y="117"/>
                    </a:lnTo>
                    <a:lnTo>
                      <a:pt x="177" y="122"/>
                    </a:lnTo>
                    <a:lnTo>
                      <a:pt x="177" y="122"/>
                    </a:lnTo>
                    <a:lnTo>
                      <a:pt x="172" y="117"/>
                    </a:lnTo>
                    <a:lnTo>
                      <a:pt x="172" y="117"/>
                    </a:lnTo>
                    <a:lnTo>
                      <a:pt x="168" y="117"/>
                    </a:lnTo>
                    <a:lnTo>
                      <a:pt x="163" y="117"/>
                    </a:lnTo>
                    <a:lnTo>
                      <a:pt x="158" y="122"/>
                    </a:lnTo>
                    <a:lnTo>
                      <a:pt x="158" y="117"/>
                    </a:lnTo>
                    <a:lnTo>
                      <a:pt x="154" y="117"/>
                    </a:lnTo>
                    <a:lnTo>
                      <a:pt x="149" y="117"/>
                    </a:lnTo>
                    <a:lnTo>
                      <a:pt x="149" y="117"/>
                    </a:lnTo>
                    <a:lnTo>
                      <a:pt x="149" y="117"/>
                    </a:lnTo>
                    <a:lnTo>
                      <a:pt x="149" y="117"/>
                    </a:lnTo>
                    <a:lnTo>
                      <a:pt x="149" y="113"/>
                    </a:lnTo>
                    <a:lnTo>
                      <a:pt x="154" y="113"/>
                    </a:lnTo>
                    <a:lnTo>
                      <a:pt x="154" y="113"/>
                    </a:lnTo>
                    <a:lnTo>
                      <a:pt x="154" y="113"/>
                    </a:lnTo>
                    <a:lnTo>
                      <a:pt x="149" y="113"/>
                    </a:lnTo>
                    <a:lnTo>
                      <a:pt x="149" y="113"/>
                    </a:lnTo>
                    <a:lnTo>
                      <a:pt x="145" y="113"/>
                    </a:lnTo>
                    <a:lnTo>
                      <a:pt x="145" y="113"/>
                    </a:lnTo>
                    <a:lnTo>
                      <a:pt x="149" y="113"/>
                    </a:lnTo>
                    <a:lnTo>
                      <a:pt x="149" y="113"/>
                    </a:lnTo>
                    <a:lnTo>
                      <a:pt x="154" y="113"/>
                    </a:lnTo>
                    <a:lnTo>
                      <a:pt x="158" y="113"/>
                    </a:lnTo>
                    <a:lnTo>
                      <a:pt x="158" y="113"/>
                    </a:lnTo>
                    <a:lnTo>
                      <a:pt x="158" y="108"/>
                    </a:lnTo>
                    <a:lnTo>
                      <a:pt x="158" y="108"/>
                    </a:lnTo>
                    <a:lnTo>
                      <a:pt x="158" y="113"/>
                    </a:lnTo>
                    <a:lnTo>
                      <a:pt x="154" y="108"/>
                    </a:lnTo>
                    <a:lnTo>
                      <a:pt x="154" y="108"/>
                    </a:lnTo>
                    <a:lnTo>
                      <a:pt x="149" y="108"/>
                    </a:lnTo>
                    <a:lnTo>
                      <a:pt x="149" y="108"/>
                    </a:lnTo>
                    <a:lnTo>
                      <a:pt x="149" y="104"/>
                    </a:lnTo>
                    <a:lnTo>
                      <a:pt x="149" y="104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5" y="99"/>
                    </a:lnTo>
                    <a:lnTo>
                      <a:pt x="149" y="99"/>
                    </a:lnTo>
                    <a:lnTo>
                      <a:pt x="149" y="104"/>
                    </a:lnTo>
                    <a:lnTo>
                      <a:pt x="149" y="104"/>
                    </a:lnTo>
                    <a:lnTo>
                      <a:pt x="149" y="108"/>
                    </a:lnTo>
                    <a:lnTo>
                      <a:pt x="149" y="108"/>
                    </a:lnTo>
                    <a:lnTo>
                      <a:pt x="149" y="108"/>
                    </a:lnTo>
                    <a:lnTo>
                      <a:pt x="145" y="108"/>
                    </a:lnTo>
                    <a:lnTo>
                      <a:pt x="145" y="108"/>
                    </a:lnTo>
                    <a:lnTo>
                      <a:pt x="145" y="108"/>
                    </a:lnTo>
                    <a:lnTo>
                      <a:pt x="145" y="108"/>
                    </a:lnTo>
                    <a:lnTo>
                      <a:pt x="140" y="108"/>
                    </a:lnTo>
                    <a:lnTo>
                      <a:pt x="140" y="108"/>
                    </a:lnTo>
                    <a:lnTo>
                      <a:pt x="140" y="108"/>
                    </a:lnTo>
                    <a:lnTo>
                      <a:pt x="136" y="113"/>
                    </a:lnTo>
                    <a:lnTo>
                      <a:pt x="131" y="113"/>
                    </a:lnTo>
                    <a:lnTo>
                      <a:pt x="131" y="113"/>
                    </a:lnTo>
                    <a:lnTo>
                      <a:pt x="131" y="117"/>
                    </a:lnTo>
                    <a:lnTo>
                      <a:pt x="131" y="117"/>
                    </a:lnTo>
                    <a:lnTo>
                      <a:pt x="131" y="122"/>
                    </a:lnTo>
                    <a:lnTo>
                      <a:pt x="131" y="122"/>
                    </a:lnTo>
                    <a:lnTo>
                      <a:pt x="127" y="126"/>
                    </a:lnTo>
                    <a:lnTo>
                      <a:pt x="127" y="126"/>
                    </a:lnTo>
                    <a:lnTo>
                      <a:pt x="122" y="126"/>
                    </a:lnTo>
                    <a:lnTo>
                      <a:pt x="122" y="126"/>
                    </a:lnTo>
                    <a:lnTo>
                      <a:pt x="122" y="126"/>
                    </a:lnTo>
                    <a:lnTo>
                      <a:pt x="118" y="126"/>
                    </a:lnTo>
                    <a:lnTo>
                      <a:pt x="118" y="126"/>
                    </a:lnTo>
                    <a:lnTo>
                      <a:pt x="118" y="126"/>
                    </a:lnTo>
                    <a:lnTo>
                      <a:pt x="118" y="131"/>
                    </a:lnTo>
                    <a:lnTo>
                      <a:pt x="118" y="131"/>
                    </a:lnTo>
                    <a:lnTo>
                      <a:pt x="122" y="135"/>
                    </a:lnTo>
                    <a:lnTo>
                      <a:pt x="122" y="135"/>
                    </a:lnTo>
                    <a:lnTo>
                      <a:pt x="118" y="135"/>
                    </a:lnTo>
                    <a:lnTo>
                      <a:pt x="118" y="135"/>
                    </a:lnTo>
                    <a:lnTo>
                      <a:pt x="113" y="131"/>
                    </a:lnTo>
                    <a:lnTo>
                      <a:pt x="113" y="135"/>
                    </a:lnTo>
                    <a:lnTo>
                      <a:pt x="109" y="135"/>
                    </a:lnTo>
                    <a:lnTo>
                      <a:pt x="109" y="135"/>
                    </a:lnTo>
                    <a:lnTo>
                      <a:pt x="109" y="135"/>
                    </a:lnTo>
                    <a:lnTo>
                      <a:pt x="104" y="135"/>
                    </a:lnTo>
                    <a:lnTo>
                      <a:pt x="104" y="135"/>
                    </a:lnTo>
                    <a:lnTo>
                      <a:pt x="104" y="135"/>
                    </a:lnTo>
                    <a:lnTo>
                      <a:pt x="104" y="135"/>
                    </a:lnTo>
                    <a:lnTo>
                      <a:pt x="104" y="135"/>
                    </a:lnTo>
                    <a:lnTo>
                      <a:pt x="104" y="135"/>
                    </a:lnTo>
                    <a:lnTo>
                      <a:pt x="100" y="135"/>
                    </a:lnTo>
                    <a:lnTo>
                      <a:pt x="100" y="135"/>
                    </a:lnTo>
                    <a:lnTo>
                      <a:pt x="95" y="131"/>
                    </a:lnTo>
                    <a:lnTo>
                      <a:pt x="100" y="131"/>
                    </a:lnTo>
                    <a:lnTo>
                      <a:pt x="100" y="131"/>
                    </a:lnTo>
                    <a:lnTo>
                      <a:pt x="100" y="131"/>
                    </a:lnTo>
                    <a:lnTo>
                      <a:pt x="100" y="131"/>
                    </a:lnTo>
                    <a:lnTo>
                      <a:pt x="100" y="131"/>
                    </a:lnTo>
                    <a:lnTo>
                      <a:pt x="100" y="131"/>
                    </a:lnTo>
                    <a:lnTo>
                      <a:pt x="100" y="131"/>
                    </a:lnTo>
                    <a:lnTo>
                      <a:pt x="100" y="126"/>
                    </a:lnTo>
                    <a:lnTo>
                      <a:pt x="100" y="126"/>
                    </a:lnTo>
                    <a:lnTo>
                      <a:pt x="104" y="126"/>
                    </a:lnTo>
                    <a:lnTo>
                      <a:pt x="104" y="126"/>
                    </a:lnTo>
                    <a:lnTo>
                      <a:pt x="104" y="122"/>
                    </a:lnTo>
                    <a:lnTo>
                      <a:pt x="104" y="122"/>
                    </a:lnTo>
                    <a:lnTo>
                      <a:pt x="109" y="122"/>
                    </a:lnTo>
                    <a:lnTo>
                      <a:pt x="109" y="122"/>
                    </a:lnTo>
                    <a:lnTo>
                      <a:pt x="109" y="117"/>
                    </a:lnTo>
                    <a:lnTo>
                      <a:pt x="104" y="117"/>
                    </a:lnTo>
                    <a:lnTo>
                      <a:pt x="104" y="117"/>
                    </a:lnTo>
                    <a:lnTo>
                      <a:pt x="104" y="113"/>
                    </a:lnTo>
                    <a:lnTo>
                      <a:pt x="104" y="113"/>
                    </a:lnTo>
                    <a:lnTo>
                      <a:pt x="109" y="113"/>
                    </a:lnTo>
                    <a:lnTo>
                      <a:pt x="109" y="113"/>
                    </a:lnTo>
                    <a:lnTo>
                      <a:pt x="109" y="113"/>
                    </a:lnTo>
                    <a:lnTo>
                      <a:pt x="109" y="113"/>
                    </a:lnTo>
                    <a:lnTo>
                      <a:pt x="109" y="113"/>
                    </a:lnTo>
                    <a:lnTo>
                      <a:pt x="109" y="113"/>
                    </a:lnTo>
                    <a:lnTo>
                      <a:pt x="109" y="113"/>
                    </a:lnTo>
                    <a:lnTo>
                      <a:pt x="113" y="113"/>
                    </a:lnTo>
                    <a:lnTo>
                      <a:pt x="113" y="113"/>
                    </a:lnTo>
                    <a:lnTo>
                      <a:pt x="113" y="113"/>
                    </a:lnTo>
                    <a:lnTo>
                      <a:pt x="113" y="113"/>
                    </a:lnTo>
                    <a:lnTo>
                      <a:pt x="113" y="113"/>
                    </a:lnTo>
                    <a:lnTo>
                      <a:pt x="113" y="113"/>
                    </a:lnTo>
                    <a:lnTo>
                      <a:pt x="113" y="113"/>
                    </a:lnTo>
                    <a:lnTo>
                      <a:pt x="118" y="113"/>
                    </a:lnTo>
                    <a:lnTo>
                      <a:pt x="118" y="113"/>
                    </a:lnTo>
                    <a:lnTo>
                      <a:pt x="118" y="113"/>
                    </a:lnTo>
                    <a:lnTo>
                      <a:pt x="118" y="113"/>
                    </a:lnTo>
                    <a:lnTo>
                      <a:pt x="118" y="117"/>
                    </a:lnTo>
                    <a:lnTo>
                      <a:pt x="122" y="117"/>
                    </a:lnTo>
                    <a:lnTo>
                      <a:pt x="122" y="113"/>
                    </a:lnTo>
                    <a:lnTo>
                      <a:pt x="122" y="113"/>
                    </a:lnTo>
                    <a:lnTo>
                      <a:pt x="122" y="113"/>
                    </a:lnTo>
                    <a:lnTo>
                      <a:pt x="122" y="113"/>
                    </a:lnTo>
                    <a:lnTo>
                      <a:pt x="122" y="108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3" y="104"/>
                    </a:lnTo>
                    <a:lnTo>
                      <a:pt x="113" y="104"/>
                    </a:lnTo>
                    <a:lnTo>
                      <a:pt x="113" y="104"/>
                    </a:lnTo>
                    <a:lnTo>
                      <a:pt x="113" y="104"/>
                    </a:lnTo>
                    <a:lnTo>
                      <a:pt x="113" y="104"/>
                    </a:lnTo>
                    <a:lnTo>
                      <a:pt x="113" y="99"/>
                    </a:lnTo>
                    <a:lnTo>
                      <a:pt x="113" y="99"/>
                    </a:lnTo>
                    <a:lnTo>
                      <a:pt x="113" y="99"/>
                    </a:lnTo>
                    <a:lnTo>
                      <a:pt x="113" y="99"/>
                    </a:lnTo>
                    <a:lnTo>
                      <a:pt x="113" y="99"/>
                    </a:lnTo>
                    <a:lnTo>
                      <a:pt x="113" y="99"/>
                    </a:lnTo>
                    <a:lnTo>
                      <a:pt x="109" y="99"/>
                    </a:lnTo>
                    <a:lnTo>
                      <a:pt x="109" y="95"/>
                    </a:lnTo>
                    <a:lnTo>
                      <a:pt x="109" y="95"/>
                    </a:lnTo>
                    <a:lnTo>
                      <a:pt x="109" y="95"/>
                    </a:lnTo>
                    <a:lnTo>
                      <a:pt x="109" y="95"/>
                    </a:lnTo>
                    <a:lnTo>
                      <a:pt x="109" y="95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0" y="86"/>
                    </a:lnTo>
                    <a:lnTo>
                      <a:pt x="100" y="81"/>
                    </a:lnTo>
                    <a:lnTo>
                      <a:pt x="95" y="81"/>
                    </a:lnTo>
                    <a:lnTo>
                      <a:pt x="95" y="81"/>
                    </a:lnTo>
                    <a:lnTo>
                      <a:pt x="95" y="81"/>
                    </a:lnTo>
                    <a:lnTo>
                      <a:pt x="95" y="81"/>
                    </a:lnTo>
                    <a:lnTo>
                      <a:pt x="95" y="81"/>
                    </a:lnTo>
                    <a:lnTo>
                      <a:pt x="95" y="81"/>
                    </a:lnTo>
                    <a:lnTo>
                      <a:pt x="95" y="81"/>
                    </a:lnTo>
                    <a:lnTo>
                      <a:pt x="95" y="81"/>
                    </a:lnTo>
                    <a:lnTo>
                      <a:pt x="95" y="81"/>
                    </a:lnTo>
                    <a:lnTo>
                      <a:pt x="91" y="81"/>
                    </a:lnTo>
                    <a:lnTo>
                      <a:pt x="91" y="81"/>
                    </a:lnTo>
                    <a:lnTo>
                      <a:pt x="91" y="81"/>
                    </a:lnTo>
                    <a:lnTo>
                      <a:pt x="91" y="81"/>
                    </a:lnTo>
                    <a:lnTo>
                      <a:pt x="91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2" y="77"/>
                    </a:lnTo>
                    <a:lnTo>
                      <a:pt x="82" y="77"/>
                    </a:lnTo>
                    <a:lnTo>
                      <a:pt x="82" y="77"/>
                    </a:lnTo>
                    <a:lnTo>
                      <a:pt x="82" y="77"/>
                    </a:lnTo>
                    <a:lnTo>
                      <a:pt x="82" y="77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3" y="77"/>
                    </a:lnTo>
                    <a:lnTo>
                      <a:pt x="73" y="77"/>
                    </a:lnTo>
                    <a:lnTo>
                      <a:pt x="73" y="77"/>
                    </a:lnTo>
                    <a:lnTo>
                      <a:pt x="68" y="81"/>
                    </a:lnTo>
                    <a:lnTo>
                      <a:pt x="68" y="81"/>
                    </a:lnTo>
                    <a:lnTo>
                      <a:pt x="68" y="81"/>
                    </a:lnTo>
                    <a:lnTo>
                      <a:pt x="64" y="81"/>
                    </a:lnTo>
                    <a:lnTo>
                      <a:pt x="64" y="81"/>
                    </a:lnTo>
                    <a:lnTo>
                      <a:pt x="64" y="81"/>
                    </a:lnTo>
                    <a:lnTo>
                      <a:pt x="64" y="86"/>
                    </a:lnTo>
                    <a:lnTo>
                      <a:pt x="64" y="86"/>
                    </a:lnTo>
                    <a:lnTo>
                      <a:pt x="59" y="86"/>
                    </a:lnTo>
                    <a:lnTo>
                      <a:pt x="55" y="86"/>
                    </a:lnTo>
                    <a:lnTo>
                      <a:pt x="50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1" y="90"/>
                    </a:lnTo>
                    <a:lnTo>
                      <a:pt x="41" y="90"/>
                    </a:lnTo>
                    <a:lnTo>
                      <a:pt x="41" y="86"/>
                    </a:lnTo>
                    <a:lnTo>
                      <a:pt x="37" y="86"/>
                    </a:lnTo>
                    <a:lnTo>
                      <a:pt x="37" y="86"/>
                    </a:lnTo>
                    <a:lnTo>
                      <a:pt x="37" y="86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3" y="86"/>
                    </a:lnTo>
                    <a:lnTo>
                      <a:pt x="23" y="86"/>
                    </a:lnTo>
                    <a:lnTo>
                      <a:pt x="23" y="86"/>
                    </a:lnTo>
                    <a:lnTo>
                      <a:pt x="23" y="86"/>
                    </a:lnTo>
                    <a:lnTo>
                      <a:pt x="18" y="86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9" y="86"/>
                    </a:lnTo>
                    <a:lnTo>
                      <a:pt x="9" y="81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5" y="81"/>
                    </a:lnTo>
                    <a:lnTo>
                      <a:pt x="5" y="81"/>
                    </a:lnTo>
                    <a:lnTo>
                      <a:pt x="5" y="81"/>
                    </a:lnTo>
                    <a:lnTo>
                      <a:pt x="5" y="81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5" y="72"/>
                    </a:lnTo>
                    <a:lnTo>
                      <a:pt x="5" y="72"/>
                    </a:lnTo>
                    <a:lnTo>
                      <a:pt x="5" y="68"/>
                    </a:lnTo>
                    <a:lnTo>
                      <a:pt x="5" y="68"/>
                    </a:lnTo>
                    <a:lnTo>
                      <a:pt x="5" y="68"/>
                    </a:lnTo>
                    <a:lnTo>
                      <a:pt x="5" y="68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9" y="63"/>
                    </a:lnTo>
                    <a:lnTo>
                      <a:pt x="9" y="63"/>
                    </a:lnTo>
                    <a:lnTo>
                      <a:pt x="9" y="63"/>
                    </a:lnTo>
                    <a:lnTo>
                      <a:pt x="9" y="63"/>
                    </a:lnTo>
                    <a:lnTo>
                      <a:pt x="9" y="63"/>
                    </a:lnTo>
                    <a:lnTo>
                      <a:pt x="9" y="63"/>
                    </a:lnTo>
                    <a:lnTo>
                      <a:pt x="9" y="59"/>
                    </a:lnTo>
                    <a:lnTo>
                      <a:pt x="9" y="59"/>
                    </a:lnTo>
                    <a:lnTo>
                      <a:pt x="9" y="59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50"/>
                    </a:lnTo>
                    <a:lnTo>
                      <a:pt x="14" y="50"/>
                    </a:lnTo>
                    <a:lnTo>
                      <a:pt x="14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1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7" y="41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3" y="31"/>
                    </a:lnTo>
                    <a:lnTo>
                      <a:pt x="23" y="31"/>
                    </a:lnTo>
                    <a:lnTo>
                      <a:pt x="23" y="31"/>
                    </a:lnTo>
                    <a:lnTo>
                      <a:pt x="23" y="31"/>
                    </a:lnTo>
                    <a:lnTo>
                      <a:pt x="27" y="31"/>
                    </a:lnTo>
                    <a:lnTo>
                      <a:pt x="27" y="31"/>
                    </a:lnTo>
                    <a:lnTo>
                      <a:pt x="27" y="31"/>
                    </a:lnTo>
                    <a:lnTo>
                      <a:pt x="23" y="31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7" y="13"/>
                    </a:lnTo>
                    <a:lnTo>
                      <a:pt x="37" y="13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6" y="13"/>
                    </a:lnTo>
                    <a:lnTo>
                      <a:pt x="50" y="13"/>
                    </a:lnTo>
                    <a:lnTo>
                      <a:pt x="50" y="13"/>
                    </a:lnTo>
                    <a:lnTo>
                      <a:pt x="55" y="13"/>
                    </a:lnTo>
                    <a:lnTo>
                      <a:pt x="59" y="13"/>
                    </a:lnTo>
                    <a:lnTo>
                      <a:pt x="59" y="13"/>
                    </a:lnTo>
                    <a:lnTo>
                      <a:pt x="59" y="13"/>
                    </a:lnTo>
                    <a:lnTo>
                      <a:pt x="64" y="13"/>
                    </a:lnTo>
                    <a:lnTo>
                      <a:pt x="64" y="13"/>
                    </a:lnTo>
                    <a:lnTo>
                      <a:pt x="68" y="13"/>
                    </a:lnTo>
                    <a:lnTo>
                      <a:pt x="68" y="13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7" y="18"/>
                    </a:lnTo>
                    <a:lnTo>
                      <a:pt x="77" y="18"/>
                    </a:lnTo>
                    <a:lnTo>
                      <a:pt x="77" y="18"/>
                    </a:lnTo>
                    <a:lnTo>
                      <a:pt x="77" y="18"/>
                    </a:lnTo>
                    <a:lnTo>
                      <a:pt x="77" y="18"/>
                    </a:lnTo>
                    <a:lnTo>
                      <a:pt x="77" y="18"/>
                    </a:lnTo>
                    <a:lnTo>
                      <a:pt x="77" y="18"/>
                    </a:lnTo>
                    <a:lnTo>
                      <a:pt x="77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1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95" y="18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9" y="18"/>
                    </a:lnTo>
                    <a:lnTo>
                      <a:pt x="113" y="18"/>
                    </a:lnTo>
                    <a:lnTo>
                      <a:pt x="113" y="18"/>
                    </a:lnTo>
                    <a:lnTo>
                      <a:pt x="113" y="18"/>
                    </a:lnTo>
                    <a:lnTo>
                      <a:pt x="113" y="22"/>
                    </a:lnTo>
                    <a:lnTo>
                      <a:pt x="113" y="22"/>
                    </a:lnTo>
                    <a:lnTo>
                      <a:pt x="118" y="22"/>
                    </a:lnTo>
                    <a:lnTo>
                      <a:pt x="118" y="22"/>
                    </a:lnTo>
                    <a:lnTo>
                      <a:pt x="118" y="22"/>
                    </a:lnTo>
                    <a:lnTo>
                      <a:pt x="118" y="22"/>
                    </a:lnTo>
                    <a:lnTo>
                      <a:pt x="118" y="22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18" y="13"/>
                    </a:lnTo>
                    <a:lnTo>
                      <a:pt x="118" y="13"/>
                    </a:lnTo>
                    <a:lnTo>
                      <a:pt x="118" y="13"/>
                    </a:lnTo>
                    <a:lnTo>
                      <a:pt x="118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7" y="9"/>
                    </a:lnTo>
                    <a:lnTo>
                      <a:pt x="127" y="9"/>
                    </a:lnTo>
                    <a:lnTo>
                      <a:pt x="127" y="9"/>
                    </a:lnTo>
                    <a:lnTo>
                      <a:pt x="131" y="9"/>
                    </a:lnTo>
                    <a:lnTo>
                      <a:pt x="136" y="9"/>
                    </a:lnTo>
                    <a:lnTo>
                      <a:pt x="136" y="9"/>
                    </a:lnTo>
                    <a:lnTo>
                      <a:pt x="136" y="9"/>
                    </a:lnTo>
                    <a:lnTo>
                      <a:pt x="136" y="9"/>
                    </a:lnTo>
                    <a:lnTo>
                      <a:pt x="136" y="9"/>
                    </a:lnTo>
                    <a:lnTo>
                      <a:pt x="140" y="9"/>
                    </a:lnTo>
                    <a:lnTo>
                      <a:pt x="140" y="9"/>
                    </a:lnTo>
                    <a:lnTo>
                      <a:pt x="140" y="9"/>
                    </a:lnTo>
                    <a:lnTo>
                      <a:pt x="140" y="4"/>
                    </a:lnTo>
                    <a:lnTo>
                      <a:pt x="140" y="4"/>
                    </a:lnTo>
                    <a:lnTo>
                      <a:pt x="145" y="4"/>
                    </a:lnTo>
                    <a:lnTo>
                      <a:pt x="145" y="4"/>
                    </a:lnTo>
                    <a:lnTo>
                      <a:pt x="145" y="4"/>
                    </a:lnTo>
                    <a:lnTo>
                      <a:pt x="149" y="4"/>
                    </a:lnTo>
                    <a:lnTo>
                      <a:pt x="149" y="4"/>
                    </a:lnTo>
                    <a:lnTo>
                      <a:pt x="154" y="4"/>
                    </a:lnTo>
                    <a:lnTo>
                      <a:pt x="154" y="0"/>
                    </a:lnTo>
                    <a:lnTo>
                      <a:pt x="158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49" name="Freeform 170"/>
              <p:cNvSpPr>
                <a:spLocks/>
              </p:cNvSpPr>
              <p:nvPr/>
            </p:nvSpPr>
            <p:spPr bwMode="auto">
              <a:xfrm>
                <a:off x="2778126" y="3871914"/>
                <a:ext cx="144463" cy="142875"/>
              </a:xfrm>
              <a:custGeom>
                <a:avLst/>
                <a:gdLst>
                  <a:gd name="T0" fmla="*/ 23 w 91"/>
                  <a:gd name="T1" fmla="*/ 4 h 90"/>
                  <a:gd name="T2" fmla="*/ 32 w 91"/>
                  <a:gd name="T3" fmla="*/ 13 h 90"/>
                  <a:gd name="T4" fmla="*/ 32 w 91"/>
                  <a:gd name="T5" fmla="*/ 18 h 90"/>
                  <a:gd name="T6" fmla="*/ 36 w 91"/>
                  <a:gd name="T7" fmla="*/ 18 h 90"/>
                  <a:gd name="T8" fmla="*/ 36 w 91"/>
                  <a:gd name="T9" fmla="*/ 13 h 90"/>
                  <a:gd name="T10" fmla="*/ 36 w 91"/>
                  <a:gd name="T11" fmla="*/ 13 h 90"/>
                  <a:gd name="T12" fmla="*/ 41 w 91"/>
                  <a:gd name="T13" fmla="*/ 18 h 90"/>
                  <a:gd name="T14" fmla="*/ 45 w 91"/>
                  <a:gd name="T15" fmla="*/ 18 h 90"/>
                  <a:gd name="T16" fmla="*/ 50 w 91"/>
                  <a:gd name="T17" fmla="*/ 22 h 90"/>
                  <a:gd name="T18" fmla="*/ 55 w 91"/>
                  <a:gd name="T19" fmla="*/ 22 h 90"/>
                  <a:gd name="T20" fmla="*/ 59 w 91"/>
                  <a:gd name="T21" fmla="*/ 27 h 90"/>
                  <a:gd name="T22" fmla="*/ 68 w 91"/>
                  <a:gd name="T23" fmla="*/ 31 h 90"/>
                  <a:gd name="T24" fmla="*/ 73 w 91"/>
                  <a:gd name="T25" fmla="*/ 36 h 90"/>
                  <a:gd name="T26" fmla="*/ 77 w 91"/>
                  <a:gd name="T27" fmla="*/ 36 h 90"/>
                  <a:gd name="T28" fmla="*/ 77 w 91"/>
                  <a:gd name="T29" fmla="*/ 40 h 90"/>
                  <a:gd name="T30" fmla="*/ 86 w 91"/>
                  <a:gd name="T31" fmla="*/ 45 h 90"/>
                  <a:gd name="T32" fmla="*/ 86 w 91"/>
                  <a:gd name="T33" fmla="*/ 49 h 90"/>
                  <a:gd name="T34" fmla="*/ 86 w 91"/>
                  <a:gd name="T35" fmla="*/ 54 h 90"/>
                  <a:gd name="T36" fmla="*/ 86 w 91"/>
                  <a:gd name="T37" fmla="*/ 63 h 90"/>
                  <a:gd name="T38" fmla="*/ 86 w 91"/>
                  <a:gd name="T39" fmla="*/ 68 h 90"/>
                  <a:gd name="T40" fmla="*/ 91 w 91"/>
                  <a:gd name="T41" fmla="*/ 68 h 90"/>
                  <a:gd name="T42" fmla="*/ 86 w 91"/>
                  <a:gd name="T43" fmla="*/ 72 h 90"/>
                  <a:gd name="T44" fmla="*/ 82 w 91"/>
                  <a:gd name="T45" fmla="*/ 81 h 90"/>
                  <a:gd name="T46" fmla="*/ 77 w 91"/>
                  <a:gd name="T47" fmla="*/ 86 h 90"/>
                  <a:gd name="T48" fmla="*/ 64 w 91"/>
                  <a:gd name="T49" fmla="*/ 90 h 90"/>
                  <a:gd name="T50" fmla="*/ 55 w 91"/>
                  <a:gd name="T51" fmla="*/ 90 h 90"/>
                  <a:gd name="T52" fmla="*/ 50 w 91"/>
                  <a:gd name="T53" fmla="*/ 90 h 90"/>
                  <a:gd name="T54" fmla="*/ 36 w 91"/>
                  <a:gd name="T55" fmla="*/ 86 h 90"/>
                  <a:gd name="T56" fmla="*/ 23 w 91"/>
                  <a:gd name="T57" fmla="*/ 86 h 90"/>
                  <a:gd name="T58" fmla="*/ 18 w 91"/>
                  <a:gd name="T59" fmla="*/ 81 h 90"/>
                  <a:gd name="T60" fmla="*/ 9 w 91"/>
                  <a:gd name="T61" fmla="*/ 72 h 90"/>
                  <a:gd name="T62" fmla="*/ 5 w 91"/>
                  <a:gd name="T63" fmla="*/ 58 h 90"/>
                  <a:gd name="T64" fmla="*/ 9 w 91"/>
                  <a:gd name="T65" fmla="*/ 58 h 90"/>
                  <a:gd name="T66" fmla="*/ 9 w 91"/>
                  <a:gd name="T67" fmla="*/ 49 h 90"/>
                  <a:gd name="T68" fmla="*/ 5 w 91"/>
                  <a:gd name="T69" fmla="*/ 45 h 90"/>
                  <a:gd name="T70" fmla="*/ 5 w 91"/>
                  <a:gd name="T71" fmla="*/ 40 h 90"/>
                  <a:gd name="T72" fmla="*/ 0 w 91"/>
                  <a:gd name="T73" fmla="*/ 36 h 90"/>
                  <a:gd name="T74" fmla="*/ 5 w 91"/>
                  <a:gd name="T75" fmla="*/ 31 h 90"/>
                  <a:gd name="T76" fmla="*/ 5 w 91"/>
                  <a:gd name="T77" fmla="*/ 27 h 90"/>
                  <a:gd name="T78" fmla="*/ 0 w 91"/>
                  <a:gd name="T79" fmla="*/ 27 h 90"/>
                  <a:gd name="T80" fmla="*/ 5 w 91"/>
                  <a:gd name="T81" fmla="*/ 18 h 90"/>
                  <a:gd name="T82" fmla="*/ 0 w 91"/>
                  <a:gd name="T83" fmla="*/ 18 h 90"/>
                  <a:gd name="T84" fmla="*/ 0 w 91"/>
                  <a:gd name="T85" fmla="*/ 13 h 90"/>
                  <a:gd name="T86" fmla="*/ 0 w 91"/>
                  <a:gd name="T87" fmla="*/ 4 h 90"/>
                  <a:gd name="T88" fmla="*/ 5 w 91"/>
                  <a:gd name="T89" fmla="*/ 0 h 90"/>
                  <a:gd name="T90" fmla="*/ 9 w 91"/>
                  <a:gd name="T91" fmla="*/ 4 h 90"/>
                  <a:gd name="T92" fmla="*/ 14 w 91"/>
                  <a:gd name="T93" fmla="*/ 0 h 90"/>
                  <a:gd name="T94" fmla="*/ 18 w 91"/>
                  <a:gd name="T95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1" h="90">
                    <a:moveTo>
                      <a:pt x="18" y="0"/>
                    </a:moveTo>
                    <a:lnTo>
                      <a:pt x="18" y="0"/>
                    </a:lnTo>
                    <a:lnTo>
                      <a:pt x="23" y="4"/>
                    </a:lnTo>
                    <a:lnTo>
                      <a:pt x="27" y="9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41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18"/>
                    </a:lnTo>
                    <a:lnTo>
                      <a:pt x="45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5" y="22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64" y="31"/>
                    </a:lnTo>
                    <a:lnTo>
                      <a:pt x="68" y="31"/>
                    </a:lnTo>
                    <a:lnTo>
                      <a:pt x="68" y="31"/>
                    </a:lnTo>
                    <a:lnTo>
                      <a:pt x="68" y="31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3" y="36"/>
                    </a:lnTo>
                    <a:lnTo>
                      <a:pt x="77" y="36"/>
                    </a:lnTo>
                    <a:lnTo>
                      <a:pt x="77" y="40"/>
                    </a:lnTo>
                    <a:lnTo>
                      <a:pt x="77" y="40"/>
                    </a:lnTo>
                    <a:lnTo>
                      <a:pt x="77" y="40"/>
                    </a:lnTo>
                    <a:lnTo>
                      <a:pt x="82" y="45"/>
                    </a:lnTo>
                    <a:lnTo>
                      <a:pt x="82" y="45"/>
                    </a:lnTo>
                    <a:lnTo>
                      <a:pt x="86" y="45"/>
                    </a:lnTo>
                    <a:lnTo>
                      <a:pt x="86" y="49"/>
                    </a:lnTo>
                    <a:lnTo>
                      <a:pt x="86" y="49"/>
                    </a:lnTo>
                    <a:lnTo>
                      <a:pt x="86" y="49"/>
                    </a:lnTo>
                    <a:lnTo>
                      <a:pt x="86" y="54"/>
                    </a:lnTo>
                    <a:lnTo>
                      <a:pt x="86" y="54"/>
                    </a:lnTo>
                    <a:lnTo>
                      <a:pt x="86" y="54"/>
                    </a:lnTo>
                    <a:lnTo>
                      <a:pt x="82" y="54"/>
                    </a:lnTo>
                    <a:lnTo>
                      <a:pt x="82" y="58"/>
                    </a:lnTo>
                    <a:lnTo>
                      <a:pt x="86" y="63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91" y="68"/>
                    </a:lnTo>
                    <a:lnTo>
                      <a:pt x="91" y="68"/>
                    </a:lnTo>
                    <a:lnTo>
                      <a:pt x="91" y="68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7"/>
                    </a:lnTo>
                    <a:lnTo>
                      <a:pt x="86" y="81"/>
                    </a:lnTo>
                    <a:lnTo>
                      <a:pt x="82" y="81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77" y="86"/>
                    </a:lnTo>
                    <a:lnTo>
                      <a:pt x="73" y="90"/>
                    </a:lnTo>
                    <a:lnTo>
                      <a:pt x="68" y="90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59" y="90"/>
                    </a:lnTo>
                    <a:lnTo>
                      <a:pt x="55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36" y="86"/>
                    </a:lnTo>
                    <a:lnTo>
                      <a:pt x="32" y="81"/>
                    </a:lnTo>
                    <a:lnTo>
                      <a:pt x="27" y="86"/>
                    </a:lnTo>
                    <a:lnTo>
                      <a:pt x="23" y="86"/>
                    </a:lnTo>
                    <a:lnTo>
                      <a:pt x="23" y="86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14" y="77"/>
                    </a:lnTo>
                    <a:lnTo>
                      <a:pt x="9" y="72"/>
                    </a:lnTo>
                    <a:lnTo>
                      <a:pt x="9" y="72"/>
                    </a:lnTo>
                    <a:lnTo>
                      <a:pt x="5" y="68"/>
                    </a:lnTo>
                    <a:lnTo>
                      <a:pt x="5" y="63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9" y="58"/>
                    </a:lnTo>
                    <a:lnTo>
                      <a:pt x="9" y="58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9" y="49"/>
                    </a:lnTo>
                    <a:lnTo>
                      <a:pt x="5" y="49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0"/>
                    </a:lnTo>
                    <a:lnTo>
                      <a:pt x="5" y="40"/>
                    </a:lnTo>
                    <a:lnTo>
                      <a:pt x="5" y="40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5" y="18"/>
                    </a:lnTo>
                    <a:lnTo>
                      <a:pt x="5" y="13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50" name="Freeform 171"/>
              <p:cNvSpPr>
                <a:spLocks noEditPoints="1"/>
              </p:cNvSpPr>
              <p:nvPr/>
            </p:nvSpPr>
            <p:spPr bwMode="auto">
              <a:xfrm>
                <a:off x="68263" y="641351"/>
                <a:ext cx="2646363" cy="1622425"/>
              </a:xfrm>
              <a:custGeom>
                <a:avLst/>
                <a:gdLst>
                  <a:gd name="T0" fmla="*/ 0 w 1667"/>
                  <a:gd name="T1" fmla="*/ 963 h 1022"/>
                  <a:gd name="T2" fmla="*/ 1305 w 1667"/>
                  <a:gd name="T3" fmla="*/ 479 h 1022"/>
                  <a:gd name="T4" fmla="*/ 1418 w 1667"/>
                  <a:gd name="T5" fmla="*/ 529 h 1022"/>
                  <a:gd name="T6" fmla="*/ 1441 w 1667"/>
                  <a:gd name="T7" fmla="*/ 620 h 1022"/>
                  <a:gd name="T8" fmla="*/ 1608 w 1667"/>
                  <a:gd name="T9" fmla="*/ 570 h 1022"/>
                  <a:gd name="T10" fmla="*/ 1658 w 1667"/>
                  <a:gd name="T11" fmla="*/ 570 h 1022"/>
                  <a:gd name="T12" fmla="*/ 1631 w 1667"/>
                  <a:gd name="T13" fmla="*/ 588 h 1022"/>
                  <a:gd name="T14" fmla="*/ 1590 w 1667"/>
                  <a:gd name="T15" fmla="*/ 638 h 1022"/>
                  <a:gd name="T16" fmla="*/ 1518 w 1667"/>
                  <a:gd name="T17" fmla="*/ 660 h 1022"/>
                  <a:gd name="T18" fmla="*/ 1486 w 1667"/>
                  <a:gd name="T19" fmla="*/ 701 h 1022"/>
                  <a:gd name="T20" fmla="*/ 1472 w 1667"/>
                  <a:gd name="T21" fmla="*/ 687 h 1022"/>
                  <a:gd name="T22" fmla="*/ 1454 w 1667"/>
                  <a:gd name="T23" fmla="*/ 701 h 1022"/>
                  <a:gd name="T24" fmla="*/ 1450 w 1667"/>
                  <a:gd name="T25" fmla="*/ 728 h 1022"/>
                  <a:gd name="T26" fmla="*/ 1445 w 1667"/>
                  <a:gd name="T27" fmla="*/ 755 h 1022"/>
                  <a:gd name="T28" fmla="*/ 1396 w 1667"/>
                  <a:gd name="T29" fmla="*/ 787 h 1022"/>
                  <a:gd name="T30" fmla="*/ 1337 w 1667"/>
                  <a:gd name="T31" fmla="*/ 832 h 1022"/>
                  <a:gd name="T32" fmla="*/ 1305 w 1667"/>
                  <a:gd name="T33" fmla="*/ 954 h 1022"/>
                  <a:gd name="T34" fmla="*/ 1292 w 1667"/>
                  <a:gd name="T35" fmla="*/ 882 h 1022"/>
                  <a:gd name="T36" fmla="*/ 1228 w 1667"/>
                  <a:gd name="T37" fmla="*/ 850 h 1022"/>
                  <a:gd name="T38" fmla="*/ 1183 w 1667"/>
                  <a:gd name="T39" fmla="*/ 864 h 1022"/>
                  <a:gd name="T40" fmla="*/ 1134 w 1667"/>
                  <a:gd name="T41" fmla="*/ 859 h 1022"/>
                  <a:gd name="T42" fmla="*/ 1057 w 1667"/>
                  <a:gd name="T43" fmla="*/ 886 h 1022"/>
                  <a:gd name="T44" fmla="*/ 1007 w 1667"/>
                  <a:gd name="T45" fmla="*/ 900 h 1022"/>
                  <a:gd name="T46" fmla="*/ 935 w 1667"/>
                  <a:gd name="T47" fmla="*/ 809 h 1022"/>
                  <a:gd name="T48" fmla="*/ 754 w 1667"/>
                  <a:gd name="T49" fmla="*/ 737 h 1022"/>
                  <a:gd name="T50" fmla="*/ 768 w 1667"/>
                  <a:gd name="T51" fmla="*/ 660 h 1022"/>
                  <a:gd name="T52" fmla="*/ 813 w 1667"/>
                  <a:gd name="T53" fmla="*/ 552 h 1022"/>
                  <a:gd name="T54" fmla="*/ 903 w 1667"/>
                  <a:gd name="T55" fmla="*/ 461 h 1022"/>
                  <a:gd name="T56" fmla="*/ 899 w 1667"/>
                  <a:gd name="T57" fmla="*/ 479 h 1022"/>
                  <a:gd name="T58" fmla="*/ 1016 w 1667"/>
                  <a:gd name="T59" fmla="*/ 452 h 1022"/>
                  <a:gd name="T60" fmla="*/ 447 w 1667"/>
                  <a:gd name="T61" fmla="*/ 285 h 1022"/>
                  <a:gd name="T62" fmla="*/ 483 w 1667"/>
                  <a:gd name="T63" fmla="*/ 276 h 1022"/>
                  <a:gd name="T64" fmla="*/ 935 w 1667"/>
                  <a:gd name="T65" fmla="*/ 312 h 1022"/>
                  <a:gd name="T66" fmla="*/ 917 w 1667"/>
                  <a:gd name="T67" fmla="*/ 321 h 1022"/>
                  <a:gd name="T68" fmla="*/ 939 w 1667"/>
                  <a:gd name="T69" fmla="*/ 299 h 1022"/>
                  <a:gd name="T70" fmla="*/ 944 w 1667"/>
                  <a:gd name="T71" fmla="*/ 285 h 1022"/>
                  <a:gd name="T72" fmla="*/ 921 w 1667"/>
                  <a:gd name="T73" fmla="*/ 271 h 1022"/>
                  <a:gd name="T74" fmla="*/ 948 w 1667"/>
                  <a:gd name="T75" fmla="*/ 253 h 1022"/>
                  <a:gd name="T76" fmla="*/ 768 w 1667"/>
                  <a:gd name="T77" fmla="*/ 222 h 1022"/>
                  <a:gd name="T78" fmla="*/ 668 w 1667"/>
                  <a:gd name="T79" fmla="*/ 158 h 1022"/>
                  <a:gd name="T80" fmla="*/ 1138 w 1667"/>
                  <a:gd name="T81" fmla="*/ 32 h 1022"/>
                  <a:gd name="T82" fmla="*/ 957 w 1667"/>
                  <a:gd name="T83" fmla="*/ 213 h 1022"/>
                  <a:gd name="T84" fmla="*/ 962 w 1667"/>
                  <a:gd name="T85" fmla="*/ 280 h 1022"/>
                  <a:gd name="T86" fmla="*/ 935 w 1667"/>
                  <a:gd name="T87" fmla="*/ 303 h 1022"/>
                  <a:gd name="T88" fmla="*/ 975 w 1667"/>
                  <a:gd name="T89" fmla="*/ 249 h 1022"/>
                  <a:gd name="T90" fmla="*/ 953 w 1667"/>
                  <a:gd name="T91" fmla="*/ 235 h 1022"/>
                  <a:gd name="T92" fmla="*/ 944 w 1667"/>
                  <a:gd name="T93" fmla="*/ 217 h 1022"/>
                  <a:gd name="T94" fmla="*/ 894 w 1667"/>
                  <a:gd name="T95" fmla="*/ 195 h 1022"/>
                  <a:gd name="T96" fmla="*/ 867 w 1667"/>
                  <a:gd name="T97" fmla="*/ 190 h 1022"/>
                  <a:gd name="T98" fmla="*/ 813 w 1667"/>
                  <a:gd name="T99" fmla="*/ 204 h 1022"/>
                  <a:gd name="T100" fmla="*/ 872 w 1667"/>
                  <a:gd name="T101" fmla="*/ 172 h 1022"/>
                  <a:gd name="T102" fmla="*/ 781 w 1667"/>
                  <a:gd name="T103" fmla="*/ 199 h 1022"/>
                  <a:gd name="T104" fmla="*/ 677 w 1667"/>
                  <a:gd name="T105" fmla="*/ 240 h 1022"/>
                  <a:gd name="T106" fmla="*/ 601 w 1667"/>
                  <a:gd name="T107" fmla="*/ 253 h 1022"/>
                  <a:gd name="T108" fmla="*/ 596 w 1667"/>
                  <a:gd name="T109" fmla="*/ 249 h 1022"/>
                  <a:gd name="T110" fmla="*/ 691 w 1667"/>
                  <a:gd name="T111" fmla="*/ 226 h 1022"/>
                  <a:gd name="T112" fmla="*/ 677 w 1667"/>
                  <a:gd name="T113" fmla="*/ 195 h 1022"/>
                  <a:gd name="T114" fmla="*/ 713 w 1667"/>
                  <a:gd name="T115" fmla="*/ 163 h 1022"/>
                  <a:gd name="T116" fmla="*/ 759 w 1667"/>
                  <a:gd name="T117" fmla="*/ 127 h 1022"/>
                  <a:gd name="T118" fmla="*/ 844 w 1667"/>
                  <a:gd name="T119" fmla="*/ 95 h 1022"/>
                  <a:gd name="T120" fmla="*/ 858 w 1667"/>
                  <a:gd name="T121" fmla="*/ 63 h 1022"/>
                  <a:gd name="T122" fmla="*/ 908 w 1667"/>
                  <a:gd name="T123" fmla="*/ 63 h 1022"/>
                  <a:gd name="T124" fmla="*/ 1030 w 1667"/>
                  <a:gd name="T125" fmla="*/ 14 h 10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67" h="1022">
                    <a:moveTo>
                      <a:pt x="18" y="1017"/>
                    </a:moveTo>
                    <a:lnTo>
                      <a:pt x="18" y="1017"/>
                    </a:lnTo>
                    <a:lnTo>
                      <a:pt x="13" y="1022"/>
                    </a:lnTo>
                    <a:lnTo>
                      <a:pt x="13" y="1022"/>
                    </a:lnTo>
                    <a:lnTo>
                      <a:pt x="13" y="1017"/>
                    </a:lnTo>
                    <a:lnTo>
                      <a:pt x="13" y="1017"/>
                    </a:lnTo>
                    <a:lnTo>
                      <a:pt x="13" y="1008"/>
                    </a:lnTo>
                    <a:lnTo>
                      <a:pt x="18" y="1004"/>
                    </a:lnTo>
                    <a:lnTo>
                      <a:pt x="18" y="1004"/>
                    </a:lnTo>
                    <a:lnTo>
                      <a:pt x="18" y="999"/>
                    </a:lnTo>
                    <a:lnTo>
                      <a:pt x="18" y="999"/>
                    </a:lnTo>
                    <a:lnTo>
                      <a:pt x="22" y="995"/>
                    </a:lnTo>
                    <a:lnTo>
                      <a:pt x="22" y="995"/>
                    </a:lnTo>
                    <a:lnTo>
                      <a:pt x="22" y="990"/>
                    </a:lnTo>
                    <a:lnTo>
                      <a:pt x="22" y="990"/>
                    </a:lnTo>
                    <a:lnTo>
                      <a:pt x="27" y="995"/>
                    </a:lnTo>
                    <a:lnTo>
                      <a:pt x="31" y="999"/>
                    </a:lnTo>
                    <a:lnTo>
                      <a:pt x="31" y="999"/>
                    </a:lnTo>
                    <a:lnTo>
                      <a:pt x="31" y="1004"/>
                    </a:lnTo>
                    <a:lnTo>
                      <a:pt x="31" y="1004"/>
                    </a:lnTo>
                    <a:lnTo>
                      <a:pt x="31" y="1004"/>
                    </a:lnTo>
                    <a:lnTo>
                      <a:pt x="36" y="1008"/>
                    </a:lnTo>
                    <a:lnTo>
                      <a:pt x="36" y="1008"/>
                    </a:lnTo>
                    <a:lnTo>
                      <a:pt x="31" y="1008"/>
                    </a:lnTo>
                    <a:lnTo>
                      <a:pt x="27" y="1013"/>
                    </a:lnTo>
                    <a:lnTo>
                      <a:pt x="22" y="1013"/>
                    </a:lnTo>
                    <a:lnTo>
                      <a:pt x="18" y="1017"/>
                    </a:lnTo>
                    <a:lnTo>
                      <a:pt x="18" y="1017"/>
                    </a:lnTo>
                    <a:moveTo>
                      <a:pt x="22" y="977"/>
                    </a:moveTo>
                    <a:lnTo>
                      <a:pt x="22" y="977"/>
                    </a:lnTo>
                    <a:lnTo>
                      <a:pt x="22" y="977"/>
                    </a:lnTo>
                    <a:lnTo>
                      <a:pt x="22" y="977"/>
                    </a:lnTo>
                    <a:lnTo>
                      <a:pt x="22" y="977"/>
                    </a:lnTo>
                    <a:lnTo>
                      <a:pt x="27" y="977"/>
                    </a:lnTo>
                    <a:lnTo>
                      <a:pt x="27" y="977"/>
                    </a:lnTo>
                    <a:lnTo>
                      <a:pt x="27" y="977"/>
                    </a:lnTo>
                    <a:lnTo>
                      <a:pt x="27" y="981"/>
                    </a:lnTo>
                    <a:lnTo>
                      <a:pt x="27" y="981"/>
                    </a:lnTo>
                    <a:lnTo>
                      <a:pt x="22" y="981"/>
                    </a:lnTo>
                    <a:lnTo>
                      <a:pt x="22" y="981"/>
                    </a:lnTo>
                    <a:lnTo>
                      <a:pt x="18" y="981"/>
                    </a:lnTo>
                    <a:lnTo>
                      <a:pt x="18" y="981"/>
                    </a:lnTo>
                    <a:lnTo>
                      <a:pt x="18" y="981"/>
                    </a:lnTo>
                    <a:lnTo>
                      <a:pt x="18" y="981"/>
                    </a:lnTo>
                    <a:lnTo>
                      <a:pt x="18" y="977"/>
                    </a:lnTo>
                    <a:lnTo>
                      <a:pt x="18" y="977"/>
                    </a:lnTo>
                    <a:lnTo>
                      <a:pt x="18" y="977"/>
                    </a:lnTo>
                    <a:lnTo>
                      <a:pt x="18" y="977"/>
                    </a:lnTo>
                    <a:lnTo>
                      <a:pt x="18" y="972"/>
                    </a:lnTo>
                    <a:lnTo>
                      <a:pt x="18" y="972"/>
                    </a:lnTo>
                    <a:lnTo>
                      <a:pt x="18" y="972"/>
                    </a:lnTo>
                    <a:lnTo>
                      <a:pt x="22" y="972"/>
                    </a:lnTo>
                    <a:lnTo>
                      <a:pt x="22" y="977"/>
                    </a:lnTo>
                    <a:moveTo>
                      <a:pt x="4" y="963"/>
                    </a:moveTo>
                    <a:lnTo>
                      <a:pt x="4" y="963"/>
                    </a:lnTo>
                    <a:lnTo>
                      <a:pt x="4" y="963"/>
                    </a:lnTo>
                    <a:lnTo>
                      <a:pt x="4" y="963"/>
                    </a:lnTo>
                    <a:lnTo>
                      <a:pt x="4" y="963"/>
                    </a:lnTo>
                    <a:lnTo>
                      <a:pt x="4" y="963"/>
                    </a:lnTo>
                    <a:lnTo>
                      <a:pt x="4" y="963"/>
                    </a:lnTo>
                    <a:lnTo>
                      <a:pt x="4" y="963"/>
                    </a:lnTo>
                    <a:lnTo>
                      <a:pt x="4" y="968"/>
                    </a:lnTo>
                    <a:lnTo>
                      <a:pt x="4" y="963"/>
                    </a:lnTo>
                    <a:lnTo>
                      <a:pt x="0" y="963"/>
                    </a:lnTo>
                    <a:lnTo>
                      <a:pt x="0" y="963"/>
                    </a:lnTo>
                    <a:lnTo>
                      <a:pt x="0" y="963"/>
                    </a:lnTo>
                    <a:lnTo>
                      <a:pt x="0" y="963"/>
                    </a:lnTo>
                    <a:lnTo>
                      <a:pt x="0" y="963"/>
                    </a:lnTo>
                    <a:lnTo>
                      <a:pt x="0" y="963"/>
                    </a:lnTo>
                    <a:lnTo>
                      <a:pt x="0" y="963"/>
                    </a:lnTo>
                    <a:lnTo>
                      <a:pt x="0" y="963"/>
                    </a:lnTo>
                    <a:lnTo>
                      <a:pt x="0" y="963"/>
                    </a:lnTo>
                    <a:lnTo>
                      <a:pt x="0" y="959"/>
                    </a:lnTo>
                    <a:lnTo>
                      <a:pt x="0" y="959"/>
                    </a:lnTo>
                    <a:lnTo>
                      <a:pt x="0" y="959"/>
                    </a:lnTo>
                    <a:lnTo>
                      <a:pt x="0" y="959"/>
                    </a:lnTo>
                    <a:lnTo>
                      <a:pt x="4" y="954"/>
                    </a:lnTo>
                    <a:lnTo>
                      <a:pt x="4" y="954"/>
                    </a:lnTo>
                    <a:lnTo>
                      <a:pt x="4" y="959"/>
                    </a:lnTo>
                    <a:lnTo>
                      <a:pt x="4" y="959"/>
                    </a:lnTo>
                    <a:lnTo>
                      <a:pt x="4" y="959"/>
                    </a:lnTo>
                    <a:lnTo>
                      <a:pt x="4" y="963"/>
                    </a:lnTo>
                    <a:moveTo>
                      <a:pt x="1545" y="656"/>
                    </a:moveTo>
                    <a:lnTo>
                      <a:pt x="1545" y="656"/>
                    </a:lnTo>
                    <a:lnTo>
                      <a:pt x="1540" y="656"/>
                    </a:lnTo>
                    <a:lnTo>
                      <a:pt x="1545" y="656"/>
                    </a:lnTo>
                    <a:lnTo>
                      <a:pt x="1545" y="656"/>
                    </a:lnTo>
                    <a:lnTo>
                      <a:pt x="1545" y="656"/>
                    </a:lnTo>
                    <a:lnTo>
                      <a:pt x="1549" y="656"/>
                    </a:lnTo>
                    <a:lnTo>
                      <a:pt x="1549" y="651"/>
                    </a:lnTo>
                    <a:lnTo>
                      <a:pt x="1549" y="651"/>
                    </a:lnTo>
                    <a:lnTo>
                      <a:pt x="1549" y="656"/>
                    </a:lnTo>
                    <a:lnTo>
                      <a:pt x="1554" y="656"/>
                    </a:lnTo>
                    <a:lnTo>
                      <a:pt x="1554" y="651"/>
                    </a:lnTo>
                    <a:lnTo>
                      <a:pt x="1545" y="656"/>
                    </a:lnTo>
                    <a:lnTo>
                      <a:pt x="1545" y="656"/>
                    </a:lnTo>
                    <a:lnTo>
                      <a:pt x="1540" y="656"/>
                    </a:lnTo>
                    <a:lnTo>
                      <a:pt x="1540" y="656"/>
                    </a:lnTo>
                    <a:lnTo>
                      <a:pt x="1540" y="660"/>
                    </a:lnTo>
                    <a:lnTo>
                      <a:pt x="1531" y="660"/>
                    </a:lnTo>
                    <a:lnTo>
                      <a:pt x="1531" y="660"/>
                    </a:lnTo>
                    <a:lnTo>
                      <a:pt x="1531" y="660"/>
                    </a:lnTo>
                    <a:lnTo>
                      <a:pt x="1522" y="660"/>
                    </a:lnTo>
                    <a:lnTo>
                      <a:pt x="1522" y="660"/>
                    </a:lnTo>
                    <a:lnTo>
                      <a:pt x="1518" y="660"/>
                    </a:lnTo>
                    <a:lnTo>
                      <a:pt x="1522" y="660"/>
                    </a:lnTo>
                    <a:lnTo>
                      <a:pt x="1522" y="660"/>
                    </a:lnTo>
                    <a:lnTo>
                      <a:pt x="1522" y="660"/>
                    </a:lnTo>
                    <a:lnTo>
                      <a:pt x="1522" y="660"/>
                    </a:lnTo>
                    <a:lnTo>
                      <a:pt x="1518" y="660"/>
                    </a:lnTo>
                    <a:lnTo>
                      <a:pt x="1518" y="660"/>
                    </a:lnTo>
                    <a:lnTo>
                      <a:pt x="1518" y="660"/>
                    </a:lnTo>
                    <a:lnTo>
                      <a:pt x="1518" y="660"/>
                    </a:lnTo>
                    <a:lnTo>
                      <a:pt x="1518" y="660"/>
                    </a:lnTo>
                    <a:lnTo>
                      <a:pt x="1522" y="656"/>
                    </a:lnTo>
                    <a:lnTo>
                      <a:pt x="1522" y="656"/>
                    </a:lnTo>
                    <a:lnTo>
                      <a:pt x="1527" y="656"/>
                    </a:lnTo>
                    <a:lnTo>
                      <a:pt x="1527" y="656"/>
                    </a:lnTo>
                    <a:lnTo>
                      <a:pt x="1527" y="656"/>
                    </a:lnTo>
                    <a:lnTo>
                      <a:pt x="1527" y="656"/>
                    </a:lnTo>
                    <a:lnTo>
                      <a:pt x="1527" y="656"/>
                    </a:lnTo>
                    <a:lnTo>
                      <a:pt x="1527" y="656"/>
                    </a:lnTo>
                    <a:lnTo>
                      <a:pt x="1531" y="656"/>
                    </a:lnTo>
                    <a:lnTo>
                      <a:pt x="1531" y="656"/>
                    </a:lnTo>
                    <a:lnTo>
                      <a:pt x="1531" y="656"/>
                    </a:lnTo>
                    <a:lnTo>
                      <a:pt x="1531" y="656"/>
                    </a:lnTo>
                    <a:lnTo>
                      <a:pt x="1531" y="656"/>
                    </a:lnTo>
                    <a:lnTo>
                      <a:pt x="1536" y="656"/>
                    </a:lnTo>
                    <a:lnTo>
                      <a:pt x="1536" y="656"/>
                    </a:lnTo>
                    <a:lnTo>
                      <a:pt x="1540" y="656"/>
                    </a:lnTo>
                    <a:lnTo>
                      <a:pt x="1540" y="656"/>
                    </a:lnTo>
                    <a:lnTo>
                      <a:pt x="1545" y="651"/>
                    </a:lnTo>
                    <a:lnTo>
                      <a:pt x="1549" y="651"/>
                    </a:lnTo>
                    <a:lnTo>
                      <a:pt x="1549" y="651"/>
                    </a:lnTo>
                    <a:lnTo>
                      <a:pt x="1545" y="651"/>
                    </a:lnTo>
                    <a:lnTo>
                      <a:pt x="1545" y="656"/>
                    </a:lnTo>
                    <a:moveTo>
                      <a:pt x="1305" y="479"/>
                    </a:moveTo>
                    <a:lnTo>
                      <a:pt x="1305" y="479"/>
                    </a:lnTo>
                    <a:lnTo>
                      <a:pt x="1301" y="484"/>
                    </a:lnTo>
                    <a:lnTo>
                      <a:pt x="1301" y="484"/>
                    </a:lnTo>
                    <a:lnTo>
                      <a:pt x="1301" y="484"/>
                    </a:lnTo>
                    <a:lnTo>
                      <a:pt x="1301" y="484"/>
                    </a:lnTo>
                    <a:lnTo>
                      <a:pt x="1301" y="484"/>
                    </a:lnTo>
                    <a:lnTo>
                      <a:pt x="1305" y="484"/>
                    </a:lnTo>
                    <a:lnTo>
                      <a:pt x="1310" y="488"/>
                    </a:lnTo>
                    <a:lnTo>
                      <a:pt x="1310" y="488"/>
                    </a:lnTo>
                    <a:lnTo>
                      <a:pt x="1310" y="488"/>
                    </a:lnTo>
                    <a:lnTo>
                      <a:pt x="1314" y="488"/>
                    </a:lnTo>
                    <a:lnTo>
                      <a:pt x="1314" y="488"/>
                    </a:lnTo>
                    <a:lnTo>
                      <a:pt x="1314" y="488"/>
                    </a:lnTo>
                    <a:lnTo>
                      <a:pt x="1319" y="488"/>
                    </a:lnTo>
                    <a:lnTo>
                      <a:pt x="1319" y="488"/>
                    </a:lnTo>
                    <a:lnTo>
                      <a:pt x="1323" y="488"/>
                    </a:lnTo>
                    <a:lnTo>
                      <a:pt x="1323" y="488"/>
                    </a:lnTo>
                    <a:lnTo>
                      <a:pt x="1323" y="488"/>
                    </a:lnTo>
                    <a:lnTo>
                      <a:pt x="1323" y="488"/>
                    </a:lnTo>
                    <a:lnTo>
                      <a:pt x="1328" y="493"/>
                    </a:lnTo>
                    <a:lnTo>
                      <a:pt x="1328" y="493"/>
                    </a:lnTo>
                    <a:lnTo>
                      <a:pt x="1328" y="493"/>
                    </a:lnTo>
                    <a:lnTo>
                      <a:pt x="1328" y="493"/>
                    </a:lnTo>
                    <a:lnTo>
                      <a:pt x="1328" y="497"/>
                    </a:lnTo>
                    <a:lnTo>
                      <a:pt x="1328" y="497"/>
                    </a:lnTo>
                    <a:lnTo>
                      <a:pt x="1328" y="497"/>
                    </a:lnTo>
                    <a:lnTo>
                      <a:pt x="1332" y="497"/>
                    </a:lnTo>
                    <a:lnTo>
                      <a:pt x="1332" y="497"/>
                    </a:lnTo>
                    <a:lnTo>
                      <a:pt x="1332" y="497"/>
                    </a:lnTo>
                    <a:lnTo>
                      <a:pt x="1337" y="502"/>
                    </a:lnTo>
                    <a:lnTo>
                      <a:pt x="1337" y="502"/>
                    </a:lnTo>
                    <a:lnTo>
                      <a:pt x="1341" y="502"/>
                    </a:lnTo>
                    <a:lnTo>
                      <a:pt x="1341" y="502"/>
                    </a:lnTo>
                    <a:lnTo>
                      <a:pt x="1346" y="497"/>
                    </a:lnTo>
                    <a:lnTo>
                      <a:pt x="1346" y="497"/>
                    </a:lnTo>
                    <a:lnTo>
                      <a:pt x="1350" y="497"/>
                    </a:lnTo>
                    <a:lnTo>
                      <a:pt x="1350" y="502"/>
                    </a:lnTo>
                    <a:lnTo>
                      <a:pt x="1350" y="502"/>
                    </a:lnTo>
                    <a:lnTo>
                      <a:pt x="1350" y="502"/>
                    </a:lnTo>
                    <a:lnTo>
                      <a:pt x="1355" y="502"/>
                    </a:lnTo>
                    <a:lnTo>
                      <a:pt x="1359" y="502"/>
                    </a:lnTo>
                    <a:lnTo>
                      <a:pt x="1359" y="502"/>
                    </a:lnTo>
                    <a:lnTo>
                      <a:pt x="1359" y="502"/>
                    </a:lnTo>
                    <a:lnTo>
                      <a:pt x="1359" y="507"/>
                    </a:lnTo>
                    <a:lnTo>
                      <a:pt x="1359" y="502"/>
                    </a:lnTo>
                    <a:lnTo>
                      <a:pt x="1364" y="507"/>
                    </a:lnTo>
                    <a:lnTo>
                      <a:pt x="1364" y="507"/>
                    </a:lnTo>
                    <a:lnTo>
                      <a:pt x="1368" y="507"/>
                    </a:lnTo>
                    <a:lnTo>
                      <a:pt x="1368" y="502"/>
                    </a:lnTo>
                    <a:lnTo>
                      <a:pt x="1373" y="502"/>
                    </a:lnTo>
                    <a:lnTo>
                      <a:pt x="1378" y="502"/>
                    </a:lnTo>
                    <a:lnTo>
                      <a:pt x="1382" y="502"/>
                    </a:lnTo>
                    <a:lnTo>
                      <a:pt x="1387" y="502"/>
                    </a:lnTo>
                    <a:lnTo>
                      <a:pt x="1387" y="502"/>
                    </a:lnTo>
                    <a:lnTo>
                      <a:pt x="1387" y="502"/>
                    </a:lnTo>
                    <a:lnTo>
                      <a:pt x="1391" y="502"/>
                    </a:lnTo>
                    <a:lnTo>
                      <a:pt x="1391" y="507"/>
                    </a:lnTo>
                    <a:lnTo>
                      <a:pt x="1391" y="507"/>
                    </a:lnTo>
                    <a:lnTo>
                      <a:pt x="1396" y="511"/>
                    </a:lnTo>
                    <a:lnTo>
                      <a:pt x="1400" y="511"/>
                    </a:lnTo>
                    <a:lnTo>
                      <a:pt x="1400" y="516"/>
                    </a:lnTo>
                    <a:lnTo>
                      <a:pt x="1405" y="516"/>
                    </a:lnTo>
                    <a:lnTo>
                      <a:pt x="1405" y="516"/>
                    </a:lnTo>
                    <a:lnTo>
                      <a:pt x="1405" y="520"/>
                    </a:lnTo>
                    <a:lnTo>
                      <a:pt x="1409" y="520"/>
                    </a:lnTo>
                    <a:lnTo>
                      <a:pt x="1409" y="520"/>
                    </a:lnTo>
                    <a:lnTo>
                      <a:pt x="1409" y="525"/>
                    </a:lnTo>
                    <a:lnTo>
                      <a:pt x="1414" y="525"/>
                    </a:lnTo>
                    <a:lnTo>
                      <a:pt x="1414" y="525"/>
                    </a:lnTo>
                    <a:lnTo>
                      <a:pt x="1418" y="529"/>
                    </a:lnTo>
                    <a:lnTo>
                      <a:pt x="1418" y="529"/>
                    </a:lnTo>
                    <a:lnTo>
                      <a:pt x="1418" y="534"/>
                    </a:lnTo>
                    <a:lnTo>
                      <a:pt x="1418" y="534"/>
                    </a:lnTo>
                    <a:lnTo>
                      <a:pt x="1418" y="538"/>
                    </a:lnTo>
                    <a:lnTo>
                      <a:pt x="1418" y="538"/>
                    </a:lnTo>
                    <a:lnTo>
                      <a:pt x="1418" y="538"/>
                    </a:lnTo>
                    <a:lnTo>
                      <a:pt x="1418" y="538"/>
                    </a:lnTo>
                    <a:lnTo>
                      <a:pt x="1423" y="538"/>
                    </a:lnTo>
                    <a:lnTo>
                      <a:pt x="1423" y="538"/>
                    </a:lnTo>
                    <a:lnTo>
                      <a:pt x="1423" y="538"/>
                    </a:lnTo>
                    <a:lnTo>
                      <a:pt x="1423" y="538"/>
                    </a:lnTo>
                    <a:lnTo>
                      <a:pt x="1423" y="538"/>
                    </a:lnTo>
                    <a:lnTo>
                      <a:pt x="1423" y="538"/>
                    </a:lnTo>
                    <a:lnTo>
                      <a:pt x="1423" y="538"/>
                    </a:lnTo>
                    <a:lnTo>
                      <a:pt x="1423" y="538"/>
                    </a:lnTo>
                    <a:lnTo>
                      <a:pt x="1423" y="543"/>
                    </a:lnTo>
                    <a:lnTo>
                      <a:pt x="1423" y="543"/>
                    </a:lnTo>
                    <a:lnTo>
                      <a:pt x="1423" y="543"/>
                    </a:lnTo>
                    <a:lnTo>
                      <a:pt x="1423" y="547"/>
                    </a:lnTo>
                    <a:lnTo>
                      <a:pt x="1423" y="547"/>
                    </a:lnTo>
                    <a:lnTo>
                      <a:pt x="1423" y="547"/>
                    </a:lnTo>
                    <a:lnTo>
                      <a:pt x="1427" y="547"/>
                    </a:lnTo>
                    <a:lnTo>
                      <a:pt x="1427" y="547"/>
                    </a:lnTo>
                    <a:lnTo>
                      <a:pt x="1427" y="547"/>
                    </a:lnTo>
                    <a:lnTo>
                      <a:pt x="1427" y="547"/>
                    </a:lnTo>
                    <a:lnTo>
                      <a:pt x="1427" y="547"/>
                    </a:lnTo>
                    <a:lnTo>
                      <a:pt x="1427" y="547"/>
                    </a:lnTo>
                    <a:lnTo>
                      <a:pt x="1423" y="552"/>
                    </a:lnTo>
                    <a:lnTo>
                      <a:pt x="1427" y="556"/>
                    </a:lnTo>
                    <a:lnTo>
                      <a:pt x="1427" y="556"/>
                    </a:lnTo>
                    <a:lnTo>
                      <a:pt x="1432" y="561"/>
                    </a:lnTo>
                    <a:lnTo>
                      <a:pt x="1432" y="561"/>
                    </a:lnTo>
                    <a:lnTo>
                      <a:pt x="1436" y="561"/>
                    </a:lnTo>
                    <a:lnTo>
                      <a:pt x="1436" y="565"/>
                    </a:lnTo>
                    <a:lnTo>
                      <a:pt x="1432" y="565"/>
                    </a:lnTo>
                    <a:lnTo>
                      <a:pt x="1432" y="570"/>
                    </a:lnTo>
                    <a:lnTo>
                      <a:pt x="1432" y="574"/>
                    </a:lnTo>
                    <a:lnTo>
                      <a:pt x="1432" y="579"/>
                    </a:lnTo>
                    <a:lnTo>
                      <a:pt x="1427" y="579"/>
                    </a:lnTo>
                    <a:lnTo>
                      <a:pt x="1427" y="583"/>
                    </a:lnTo>
                    <a:lnTo>
                      <a:pt x="1427" y="588"/>
                    </a:lnTo>
                    <a:lnTo>
                      <a:pt x="1423" y="592"/>
                    </a:lnTo>
                    <a:lnTo>
                      <a:pt x="1423" y="597"/>
                    </a:lnTo>
                    <a:lnTo>
                      <a:pt x="1423" y="597"/>
                    </a:lnTo>
                    <a:lnTo>
                      <a:pt x="1418" y="601"/>
                    </a:lnTo>
                    <a:lnTo>
                      <a:pt x="1414" y="606"/>
                    </a:lnTo>
                    <a:lnTo>
                      <a:pt x="1414" y="606"/>
                    </a:lnTo>
                    <a:lnTo>
                      <a:pt x="1409" y="611"/>
                    </a:lnTo>
                    <a:lnTo>
                      <a:pt x="1409" y="615"/>
                    </a:lnTo>
                    <a:lnTo>
                      <a:pt x="1405" y="615"/>
                    </a:lnTo>
                    <a:lnTo>
                      <a:pt x="1405" y="615"/>
                    </a:lnTo>
                    <a:lnTo>
                      <a:pt x="1400" y="620"/>
                    </a:lnTo>
                    <a:lnTo>
                      <a:pt x="1396" y="620"/>
                    </a:lnTo>
                    <a:lnTo>
                      <a:pt x="1396" y="620"/>
                    </a:lnTo>
                    <a:lnTo>
                      <a:pt x="1396" y="620"/>
                    </a:lnTo>
                    <a:lnTo>
                      <a:pt x="1396" y="624"/>
                    </a:lnTo>
                    <a:lnTo>
                      <a:pt x="1391" y="629"/>
                    </a:lnTo>
                    <a:lnTo>
                      <a:pt x="1391" y="629"/>
                    </a:lnTo>
                    <a:lnTo>
                      <a:pt x="1396" y="633"/>
                    </a:lnTo>
                    <a:lnTo>
                      <a:pt x="1396" y="633"/>
                    </a:lnTo>
                    <a:lnTo>
                      <a:pt x="1400" y="633"/>
                    </a:lnTo>
                    <a:lnTo>
                      <a:pt x="1405" y="633"/>
                    </a:lnTo>
                    <a:lnTo>
                      <a:pt x="1409" y="629"/>
                    </a:lnTo>
                    <a:lnTo>
                      <a:pt x="1414" y="629"/>
                    </a:lnTo>
                    <a:lnTo>
                      <a:pt x="1418" y="624"/>
                    </a:lnTo>
                    <a:lnTo>
                      <a:pt x="1423" y="624"/>
                    </a:lnTo>
                    <a:lnTo>
                      <a:pt x="1427" y="624"/>
                    </a:lnTo>
                    <a:lnTo>
                      <a:pt x="1432" y="624"/>
                    </a:lnTo>
                    <a:lnTo>
                      <a:pt x="1441" y="620"/>
                    </a:lnTo>
                    <a:lnTo>
                      <a:pt x="1445" y="620"/>
                    </a:lnTo>
                    <a:lnTo>
                      <a:pt x="1450" y="620"/>
                    </a:lnTo>
                    <a:lnTo>
                      <a:pt x="1454" y="615"/>
                    </a:lnTo>
                    <a:lnTo>
                      <a:pt x="1459" y="615"/>
                    </a:lnTo>
                    <a:lnTo>
                      <a:pt x="1463" y="615"/>
                    </a:lnTo>
                    <a:lnTo>
                      <a:pt x="1463" y="615"/>
                    </a:lnTo>
                    <a:lnTo>
                      <a:pt x="1463" y="611"/>
                    </a:lnTo>
                    <a:lnTo>
                      <a:pt x="1463" y="611"/>
                    </a:lnTo>
                    <a:lnTo>
                      <a:pt x="1463" y="611"/>
                    </a:lnTo>
                    <a:lnTo>
                      <a:pt x="1463" y="611"/>
                    </a:lnTo>
                    <a:lnTo>
                      <a:pt x="1463" y="611"/>
                    </a:lnTo>
                    <a:lnTo>
                      <a:pt x="1463" y="611"/>
                    </a:lnTo>
                    <a:lnTo>
                      <a:pt x="1463" y="611"/>
                    </a:lnTo>
                    <a:lnTo>
                      <a:pt x="1463" y="611"/>
                    </a:lnTo>
                    <a:lnTo>
                      <a:pt x="1463" y="611"/>
                    </a:lnTo>
                    <a:lnTo>
                      <a:pt x="1468" y="606"/>
                    </a:lnTo>
                    <a:lnTo>
                      <a:pt x="1468" y="606"/>
                    </a:lnTo>
                    <a:lnTo>
                      <a:pt x="1468" y="601"/>
                    </a:lnTo>
                    <a:lnTo>
                      <a:pt x="1468" y="601"/>
                    </a:lnTo>
                    <a:lnTo>
                      <a:pt x="1472" y="601"/>
                    </a:lnTo>
                    <a:lnTo>
                      <a:pt x="1472" y="597"/>
                    </a:lnTo>
                    <a:lnTo>
                      <a:pt x="1477" y="597"/>
                    </a:lnTo>
                    <a:lnTo>
                      <a:pt x="1481" y="597"/>
                    </a:lnTo>
                    <a:lnTo>
                      <a:pt x="1486" y="601"/>
                    </a:lnTo>
                    <a:lnTo>
                      <a:pt x="1490" y="601"/>
                    </a:lnTo>
                    <a:lnTo>
                      <a:pt x="1495" y="601"/>
                    </a:lnTo>
                    <a:lnTo>
                      <a:pt x="1500" y="601"/>
                    </a:lnTo>
                    <a:lnTo>
                      <a:pt x="1504" y="601"/>
                    </a:lnTo>
                    <a:lnTo>
                      <a:pt x="1504" y="597"/>
                    </a:lnTo>
                    <a:lnTo>
                      <a:pt x="1509" y="592"/>
                    </a:lnTo>
                    <a:lnTo>
                      <a:pt x="1513" y="592"/>
                    </a:lnTo>
                    <a:lnTo>
                      <a:pt x="1518" y="588"/>
                    </a:lnTo>
                    <a:lnTo>
                      <a:pt x="1518" y="588"/>
                    </a:lnTo>
                    <a:lnTo>
                      <a:pt x="1518" y="588"/>
                    </a:lnTo>
                    <a:lnTo>
                      <a:pt x="1522" y="588"/>
                    </a:lnTo>
                    <a:lnTo>
                      <a:pt x="1522" y="588"/>
                    </a:lnTo>
                    <a:lnTo>
                      <a:pt x="1527" y="583"/>
                    </a:lnTo>
                    <a:lnTo>
                      <a:pt x="1527" y="583"/>
                    </a:lnTo>
                    <a:lnTo>
                      <a:pt x="1536" y="579"/>
                    </a:lnTo>
                    <a:lnTo>
                      <a:pt x="1540" y="579"/>
                    </a:lnTo>
                    <a:lnTo>
                      <a:pt x="1540" y="574"/>
                    </a:lnTo>
                    <a:lnTo>
                      <a:pt x="1545" y="574"/>
                    </a:lnTo>
                    <a:lnTo>
                      <a:pt x="1545" y="574"/>
                    </a:lnTo>
                    <a:lnTo>
                      <a:pt x="1545" y="574"/>
                    </a:lnTo>
                    <a:lnTo>
                      <a:pt x="1549" y="574"/>
                    </a:lnTo>
                    <a:lnTo>
                      <a:pt x="1549" y="574"/>
                    </a:lnTo>
                    <a:lnTo>
                      <a:pt x="1558" y="574"/>
                    </a:lnTo>
                    <a:lnTo>
                      <a:pt x="1563" y="574"/>
                    </a:lnTo>
                    <a:lnTo>
                      <a:pt x="1567" y="579"/>
                    </a:lnTo>
                    <a:lnTo>
                      <a:pt x="1576" y="579"/>
                    </a:lnTo>
                    <a:lnTo>
                      <a:pt x="1581" y="579"/>
                    </a:lnTo>
                    <a:lnTo>
                      <a:pt x="1585" y="579"/>
                    </a:lnTo>
                    <a:lnTo>
                      <a:pt x="1594" y="579"/>
                    </a:lnTo>
                    <a:lnTo>
                      <a:pt x="1599" y="574"/>
                    </a:lnTo>
                    <a:lnTo>
                      <a:pt x="1599" y="574"/>
                    </a:lnTo>
                    <a:lnTo>
                      <a:pt x="1599" y="574"/>
                    </a:lnTo>
                    <a:lnTo>
                      <a:pt x="1603" y="574"/>
                    </a:lnTo>
                    <a:lnTo>
                      <a:pt x="1603" y="574"/>
                    </a:lnTo>
                    <a:lnTo>
                      <a:pt x="1603" y="570"/>
                    </a:lnTo>
                    <a:lnTo>
                      <a:pt x="1603" y="574"/>
                    </a:lnTo>
                    <a:lnTo>
                      <a:pt x="1603" y="574"/>
                    </a:lnTo>
                    <a:lnTo>
                      <a:pt x="1603" y="574"/>
                    </a:lnTo>
                    <a:lnTo>
                      <a:pt x="1603" y="574"/>
                    </a:lnTo>
                    <a:lnTo>
                      <a:pt x="1608" y="574"/>
                    </a:lnTo>
                    <a:lnTo>
                      <a:pt x="1608" y="570"/>
                    </a:lnTo>
                    <a:lnTo>
                      <a:pt x="1608" y="570"/>
                    </a:lnTo>
                    <a:lnTo>
                      <a:pt x="1608" y="570"/>
                    </a:lnTo>
                    <a:lnTo>
                      <a:pt x="1608" y="570"/>
                    </a:lnTo>
                    <a:lnTo>
                      <a:pt x="1608" y="570"/>
                    </a:lnTo>
                    <a:lnTo>
                      <a:pt x="1608" y="570"/>
                    </a:lnTo>
                    <a:lnTo>
                      <a:pt x="1608" y="570"/>
                    </a:lnTo>
                    <a:lnTo>
                      <a:pt x="1612" y="570"/>
                    </a:lnTo>
                    <a:lnTo>
                      <a:pt x="1612" y="565"/>
                    </a:lnTo>
                    <a:lnTo>
                      <a:pt x="1617" y="565"/>
                    </a:lnTo>
                    <a:lnTo>
                      <a:pt x="1617" y="565"/>
                    </a:lnTo>
                    <a:lnTo>
                      <a:pt x="1617" y="565"/>
                    </a:lnTo>
                    <a:lnTo>
                      <a:pt x="1617" y="561"/>
                    </a:lnTo>
                    <a:lnTo>
                      <a:pt x="1621" y="561"/>
                    </a:lnTo>
                    <a:lnTo>
                      <a:pt x="1621" y="561"/>
                    </a:lnTo>
                    <a:lnTo>
                      <a:pt x="1621" y="561"/>
                    </a:lnTo>
                    <a:lnTo>
                      <a:pt x="1621" y="561"/>
                    </a:lnTo>
                    <a:lnTo>
                      <a:pt x="1621" y="556"/>
                    </a:lnTo>
                    <a:lnTo>
                      <a:pt x="1621" y="556"/>
                    </a:lnTo>
                    <a:lnTo>
                      <a:pt x="1626" y="552"/>
                    </a:lnTo>
                    <a:lnTo>
                      <a:pt x="1626" y="552"/>
                    </a:lnTo>
                    <a:lnTo>
                      <a:pt x="1631" y="547"/>
                    </a:lnTo>
                    <a:lnTo>
                      <a:pt x="1631" y="547"/>
                    </a:lnTo>
                    <a:lnTo>
                      <a:pt x="1635" y="543"/>
                    </a:lnTo>
                    <a:lnTo>
                      <a:pt x="1640" y="543"/>
                    </a:lnTo>
                    <a:lnTo>
                      <a:pt x="1640" y="538"/>
                    </a:lnTo>
                    <a:lnTo>
                      <a:pt x="1644" y="538"/>
                    </a:lnTo>
                    <a:lnTo>
                      <a:pt x="1649" y="534"/>
                    </a:lnTo>
                    <a:lnTo>
                      <a:pt x="1649" y="534"/>
                    </a:lnTo>
                    <a:lnTo>
                      <a:pt x="1649" y="534"/>
                    </a:lnTo>
                    <a:lnTo>
                      <a:pt x="1649" y="534"/>
                    </a:lnTo>
                    <a:lnTo>
                      <a:pt x="1653" y="534"/>
                    </a:lnTo>
                    <a:lnTo>
                      <a:pt x="1653" y="534"/>
                    </a:lnTo>
                    <a:lnTo>
                      <a:pt x="1649" y="538"/>
                    </a:lnTo>
                    <a:lnTo>
                      <a:pt x="1653" y="538"/>
                    </a:lnTo>
                    <a:lnTo>
                      <a:pt x="1653" y="538"/>
                    </a:lnTo>
                    <a:lnTo>
                      <a:pt x="1653" y="538"/>
                    </a:lnTo>
                    <a:lnTo>
                      <a:pt x="1653" y="538"/>
                    </a:lnTo>
                    <a:lnTo>
                      <a:pt x="1658" y="538"/>
                    </a:lnTo>
                    <a:lnTo>
                      <a:pt x="1658" y="538"/>
                    </a:lnTo>
                    <a:lnTo>
                      <a:pt x="1662" y="538"/>
                    </a:lnTo>
                    <a:lnTo>
                      <a:pt x="1662" y="534"/>
                    </a:lnTo>
                    <a:lnTo>
                      <a:pt x="1662" y="534"/>
                    </a:lnTo>
                    <a:lnTo>
                      <a:pt x="1662" y="534"/>
                    </a:lnTo>
                    <a:lnTo>
                      <a:pt x="1667" y="538"/>
                    </a:lnTo>
                    <a:lnTo>
                      <a:pt x="1667" y="538"/>
                    </a:lnTo>
                    <a:lnTo>
                      <a:pt x="1667" y="543"/>
                    </a:lnTo>
                    <a:lnTo>
                      <a:pt x="1667" y="543"/>
                    </a:lnTo>
                    <a:lnTo>
                      <a:pt x="1662" y="547"/>
                    </a:lnTo>
                    <a:lnTo>
                      <a:pt x="1662" y="552"/>
                    </a:lnTo>
                    <a:lnTo>
                      <a:pt x="1662" y="552"/>
                    </a:lnTo>
                    <a:lnTo>
                      <a:pt x="1662" y="556"/>
                    </a:lnTo>
                    <a:lnTo>
                      <a:pt x="1658" y="556"/>
                    </a:lnTo>
                    <a:lnTo>
                      <a:pt x="1658" y="561"/>
                    </a:lnTo>
                    <a:lnTo>
                      <a:pt x="1658" y="561"/>
                    </a:lnTo>
                    <a:lnTo>
                      <a:pt x="1658" y="565"/>
                    </a:lnTo>
                    <a:lnTo>
                      <a:pt x="1658" y="565"/>
                    </a:lnTo>
                    <a:lnTo>
                      <a:pt x="1658" y="565"/>
                    </a:lnTo>
                    <a:lnTo>
                      <a:pt x="1658" y="565"/>
                    </a:lnTo>
                    <a:lnTo>
                      <a:pt x="1658" y="565"/>
                    </a:lnTo>
                    <a:lnTo>
                      <a:pt x="1658" y="565"/>
                    </a:lnTo>
                    <a:lnTo>
                      <a:pt x="1658" y="565"/>
                    </a:lnTo>
                    <a:lnTo>
                      <a:pt x="1653" y="565"/>
                    </a:lnTo>
                    <a:lnTo>
                      <a:pt x="1653" y="565"/>
                    </a:lnTo>
                    <a:lnTo>
                      <a:pt x="1653" y="570"/>
                    </a:lnTo>
                    <a:lnTo>
                      <a:pt x="1653" y="570"/>
                    </a:lnTo>
                    <a:lnTo>
                      <a:pt x="1658" y="570"/>
                    </a:lnTo>
                    <a:lnTo>
                      <a:pt x="1658" y="570"/>
                    </a:lnTo>
                    <a:lnTo>
                      <a:pt x="1658" y="570"/>
                    </a:lnTo>
                    <a:lnTo>
                      <a:pt x="1658" y="570"/>
                    </a:lnTo>
                    <a:lnTo>
                      <a:pt x="1658" y="570"/>
                    </a:lnTo>
                    <a:lnTo>
                      <a:pt x="1658" y="570"/>
                    </a:lnTo>
                    <a:lnTo>
                      <a:pt x="1658" y="570"/>
                    </a:lnTo>
                    <a:lnTo>
                      <a:pt x="1658" y="570"/>
                    </a:lnTo>
                    <a:lnTo>
                      <a:pt x="1658" y="570"/>
                    </a:lnTo>
                    <a:lnTo>
                      <a:pt x="1658" y="570"/>
                    </a:lnTo>
                    <a:lnTo>
                      <a:pt x="1658" y="570"/>
                    </a:lnTo>
                    <a:lnTo>
                      <a:pt x="1658" y="574"/>
                    </a:lnTo>
                    <a:lnTo>
                      <a:pt x="1658" y="574"/>
                    </a:lnTo>
                    <a:lnTo>
                      <a:pt x="1658" y="574"/>
                    </a:lnTo>
                    <a:lnTo>
                      <a:pt x="1658" y="574"/>
                    </a:lnTo>
                    <a:lnTo>
                      <a:pt x="1658" y="574"/>
                    </a:lnTo>
                    <a:lnTo>
                      <a:pt x="1658" y="574"/>
                    </a:lnTo>
                    <a:lnTo>
                      <a:pt x="1658" y="574"/>
                    </a:lnTo>
                    <a:lnTo>
                      <a:pt x="1658" y="574"/>
                    </a:lnTo>
                    <a:lnTo>
                      <a:pt x="1658" y="579"/>
                    </a:lnTo>
                    <a:lnTo>
                      <a:pt x="1658" y="579"/>
                    </a:lnTo>
                    <a:lnTo>
                      <a:pt x="1658" y="579"/>
                    </a:lnTo>
                    <a:lnTo>
                      <a:pt x="1658" y="579"/>
                    </a:lnTo>
                    <a:lnTo>
                      <a:pt x="1658" y="579"/>
                    </a:lnTo>
                    <a:lnTo>
                      <a:pt x="1658" y="579"/>
                    </a:lnTo>
                    <a:lnTo>
                      <a:pt x="1658" y="579"/>
                    </a:lnTo>
                    <a:lnTo>
                      <a:pt x="1658" y="579"/>
                    </a:lnTo>
                    <a:lnTo>
                      <a:pt x="1662" y="579"/>
                    </a:lnTo>
                    <a:lnTo>
                      <a:pt x="1658" y="579"/>
                    </a:lnTo>
                    <a:lnTo>
                      <a:pt x="1658" y="579"/>
                    </a:lnTo>
                    <a:lnTo>
                      <a:pt x="1658" y="583"/>
                    </a:lnTo>
                    <a:lnTo>
                      <a:pt x="1658" y="583"/>
                    </a:lnTo>
                    <a:lnTo>
                      <a:pt x="1658" y="583"/>
                    </a:lnTo>
                    <a:lnTo>
                      <a:pt x="1658" y="583"/>
                    </a:lnTo>
                    <a:lnTo>
                      <a:pt x="1658" y="583"/>
                    </a:lnTo>
                    <a:lnTo>
                      <a:pt x="1658" y="583"/>
                    </a:lnTo>
                    <a:lnTo>
                      <a:pt x="1653" y="588"/>
                    </a:lnTo>
                    <a:lnTo>
                      <a:pt x="1653" y="588"/>
                    </a:lnTo>
                    <a:lnTo>
                      <a:pt x="1649" y="588"/>
                    </a:lnTo>
                    <a:lnTo>
                      <a:pt x="1649" y="588"/>
                    </a:lnTo>
                    <a:lnTo>
                      <a:pt x="1649" y="588"/>
                    </a:lnTo>
                    <a:lnTo>
                      <a:pt x="1649" y="588"/>
                    </a:lnTo>
                    <a:lnTo>
                      <a:pt x="1644" y="588"/>
                    </a:lnTo>
                    <a:lnTo>
                      <a:pt x="1644" y="588"/>
                    </a:lnTo>
                    <a:lnTo>
                      <a:pt x="1644" y="588"/>
                    </a:lnTo>
                    <a:lnTo>
                      <a:pt x="1644" y="592"/>
                    </a:lnTo>
                    <a:lnTo>
                      <a:pt x="1640" y="592"/>
                    </a:lnTo>
                    <a:lnTo>
                      <a:pt x="1640" y="592"/>
                    </a:lnTo>
                    <a:lnTo>
                      <a:pt x="1640" y="592"/>
                    </a:lnTo>
                    <a:lnTo>
                      <a:pt x="1640" y="592"/>
                    </a:lnTo>
                    <a:lnTo>
                      <a:pt x="1640" y="592"/>
                    </a:lnTo>
                    <a:lnTo>
                      <a:pt x="1640" y="592"/>
                    </a:lnTo>
                    <a:lnTo>
                      <a:pt x="1640" y="592"/>
                    </a:lnTo>
                    <a:lnTo>
                      <a:pt x="1640" y="588"/>
                    </a:lnTo>
                    <a:lnTo>
                      <a:pt x="1640" y="588"/>
                    </a:lnTo>
                    <a:lnTo>
                      <a:pt x="1635" y="588"/>
                    </a:lnTo>
                    <a:lnTo>
                      <a:pt x="1635" y="592"/>
                    </a:lnTo>
                    <a:lnTo>
                      <a:pt x="1635" y="592"/>
                    </a:lnTo>
                    <a:lnTo>
                      <a:pt x="1635" y="592"/>
                    </a:lnTo>
                    <a:lnTo>
                      <a:pt x="1635" y="588"/>
                    </a:lnTo>
                    <a:lnTo>
                      <a:pt x="1635" y="592"/>
                    </a:lnTo>
                    <a:lnTo>
                      <a:pt x="1631" y="592"/>
                    </a:lnTo>
                    <a:lnTo>
                      <a:pt x="1631" y="592"/>
                    </a:lnTo>
                    <a:lnTo>
                      <a:pt x="1631" y="592"/>
                    </a:lnTo>
                    <a:lnTo>
                      <a:pt x="1631" y="592"/>
                    </a:lnTo>
                    <a:lnTo>
                      <a:pt x="1631" y="592"/>
                    </a:lnTo>
                    <a:lnTo>
                      <a:pt x="1631" y="592"/>
                    </a:lnTo>
                    <a:lnTo>
                      <a:pt x="1626" y="592"/>
                    </a:lnTo>
                    <a:lnTo>
                      <a:pt x="1631" y="592"/>
                    </a:lnTo>
                    <a:lnTo>
                      <a:pt x="1631" y="592"/>
                    </a:lnTo>
                    <a:lnTo>
                      <a:pt x="1631" y="592"/>
                    </a:lnTo>
                    <a:lnTo>
                      <a:pt x="1631" y="592"/>
                    </a:lnTo>
                    <a:lnTo>
                      <a:pt x="1631" y="592"/>
                    </a:lnTo>
                    <a:lnTo>
                      <a:pt x="1631" y="588"/>
                    </a:lnTo>
                    <a:lnTo>
                      <a:pt x="1631" y="588"/>
                    </a:lnTo>
                    <a:lnTo>
                      <a:pt x="1631" y="588"/>
                    </a:lnTo>
                    <a:lnTo>
                      <a:pt x="1631" y="588"/>
                    </a:lnTo>
                    <a:lnTo>
                      <a:pt x="1626" y="592"/>
                    </a:lnTo>
                    <a:lnTo>
                      <a:pt x="1626" y="592"/>
                    </a:lnTo>
                    <a:lnTo>
                      <a:pt x="1621" y="597"/>
                    </a:lnTo>
                    <a:lnTo>
                      <a:pt x="1621" y="597"/>
                    </a:lnTo>
                    <a:lnTo>
                      <a:pt x="1621" y="597"/>
                    </a:lnTo>
                    <a:lnTo>
                      <a:pt x="1617" y="601"/>
                    </a:lnTo>
                    <a:lnTo>
                      <a:pt x="1617" y="597"/>
                    </a:lnTo>
                    <a:lnTo>
                      <a:pt x="1617" y="601"/>
                    </a:lnTo>
                    <a:lnTo>
                      <a:pt x="1612" y="601"/>
                    </a:lnTo>
                    <a:lnTo>
                      <a:pt x="1612" y="601"/>
                    </a:lnTo>
                    <a:lnTo>
                      <a:pt x="1612" y="601"/>
                    </a:lnTo>
                    <a:lnTo>
                      <a:pt x="1612" y="597"/>
                    </a:lnTo>
                    <a:lnTo>
                      <a:pt x="1612" y="601"/>
                    </a:lnTo>
                    <a:lnTo>
                      <a:pt x="1612" y="601"/>
                    </a:lnTo>
                    <a:lnTo>
                      <a:pt x="1612" y="601"/>
                    </a:lnTo>
                    <a:lnTo>
                      <a:pt x="1612" y="597"/>
                    </a:lnTo>
                    <a:lnTo>
                      <a:pt x="1612" y="601"/>
                    </a:lnTo>
                    <a:lnTo>
                      <a:pt x="1608" y="601"/>
                    </a:lnTo>
                    <a:lnTo>
                      <a:pt x="1608" y="601"/>
                    </a:lnTo>
                    <a:lnTo>
                      <a:pt x="1608" y="601"/>
                    </a:lnTo>
                    <a:lnTo>
                      <a:pt x="1608" y="601"/>
                    </a:lnTo>
                    <a:lnTo>
                      <a:pt x="1608" y="601"/>
                    </a:lnTo>
                    <a:lnTo>
                      <a:pt x="1608" y="601"/>
                    </a:lnTo>
                    <a:lnTo>
                      <a:pt x="1608" y="601"/>
                    </a:lnTo>
                    <a:lnTo>
                      <a:pt x="1608" y="601"/>
                    </a:lnTo>
                    <a:lnTo>
                      <a:pt x="1608" y="601"/>
                    </a:lnTo>
                    <a:lnTo>
                      <a:pt x="1608" y="601"/>
                    </a:lnTo>
                    <a:lnTo>
                      <a:pt x="1608" y="601"/>
                    </a:lnTo>
                    <a:lnTo>
                      <a:pt x="1608" y="601"/>
                    </a:lnTo>
                    <a:lnTo>
                      <a:pt x="1608" y="601"/>
                    </a:lnTo>
                    <a:lnTo>
                      <a:pt x="1603" y="601"/>
                    </a:lnTo>
                    <a:lnTo>
                      <a:pt x="1603" y="601"/>
                    </a:lnTo>
                    <a:lnTo>
                      <a:pt x="1599" y="606"/>
                    </a:lnTo>
                    <a:lnTo>
                      <a:pt x="1599" y="606"/>
                    </a:lnTo>
                    <a:lnTo>
                      <a:pt x="1599" y="606"/>
                    </a:lnTo>
                    <a:lnTo>
                      <a:pt x="1599" y="606"/>
                    </a:lnTo>
                    <a:lnTo>
                      <a:pt x="1594" y="611"/>
                    </a:lnTo>
                    <a:lnTo>
                      <a:pt x="1590" y="615"/>
                    </a:lnTo>
                    <a:lnTo>
                      <a:pt x="1590" y="615"/>
                    </a:lnTo>
                    <a:lnTo>
                      <a:pt x="1590" y="615"/>
                    </a:lnTo>
                    <a:lnTo>
                      <a:pt x="1585" y="620"/>
                    </a:lnTo>
                    <a:lnTo>
                      <a:pt x="1585" y="620"/>
                    </a:lnTo>
                    <a:lnTo>
                      <a:pt x="1585" y="620"/>
                    </a:lnTo>
                    <a:lnTo>
                      <a:pt x="1585" y="624"/>
                    </a:lnTo>
                    <a:lnTo>
                      <a:pt x="1585" y="624"/>
                    </a:lnTo>
                    <a:lnTo>
                      <a:pt x="1585" y="624"/>
                    </a:lnTo>
                    <a:lnTo>
                      <a:pt x="1585" y="624"/>
                    </a:lnTo>
                    <a:lnTo>
                      <a:pt x="1585" y="624"/>
                    </a:lnTo>
                    <a:lnTo>
                      <a:pt x="1585" y="624"/>
                    </a:lnTo>
                    <a:lnTo>
                      <a:pt x="1585" y="624"/>
                    </a:lnTo>
                    <a:lnTo>
                      <a:pt x="1585" y="624"/>
                    </a:lnTo>
                    <a:lnTo>
                      <a:pt x="1585" y="624"/>
                    </a:lnTo>
                    <a:lnTo>
                      <a:pt x="1581" y="624"/>
                    </a:lnTo>
                    <a:lnTo>
                      <a:pt x="1581" y="629"/>
                    </a:lnTo>
                    <a:lnTo>
                      <a:pt x="1581" y="629"/>
                    </a:lnTo>
                    <a:lnTo>
                      <a:pt x="1576" y="629"/>
                    </a:lnTo>
                    <a:lnTo>
                      <a:pt x="1576" y="629"/>
                    </a:lnTo>
                    <a:lnTo>
                      <a:pt x="1581" y="633"/>
                    </a:lnTo>
                    <a:lnTo>
                      <a:pt x="1581" y="633"/>
                    </a:lnTo>
                    <a:lnTo>
                      <a:pt x="1581" y="638"/>
                    </a:lnTo>
                    <a:lnTo>
                      <a:pt x="1581" y="638"/>
                    </a:lnTo>
                    <a:lnTo>
                      <a:pt x="1581" y="638"/>
                    </a:lnTo>
                    <a:lnTo>
                      <a:pt x="1581" y="638"/>
                    </a:lnTo>
                    <a:lnTo>
                      <a:pt x="1581" y="642"/>
                    </a:lnTo>
                    <a:lnTo>
                      <a:pt x="1581" y="642"/>
                    </a:lnTo>
                    <a:lnTo>
                      <a:pt x="1585" y="642"/>
                    </a:lnTo>
                    <a:lnTo>
                      <a:pt x="1585" y="642"/>
                    </a:lnTo>
                    <a:lnTo>
                      <a:pt x="1590" y="642"/>
                    </a:lnTo>
                    <a:lnTo>
                      <a:pt x="1590" y="638"/>
                    </a:lnTo>
                    <a:lnTo>
                      <a:pt x="1590" y="638"/>
                    </a:lnTo>
                    <a:lnTo>
                      <a:pt x="1590" y="638"/>
                    </a:lnTo>
                    <a:lnTo>
                      <a:pt x="1590" y="633"/>
                    </a:lnTo>
                    <a:lnTo>
                      <a:pt x="1590" y="638"/>
                    </a:lnTo>
                    <a:lnTo>
                      <a:pt x="1585" y="633"/>
                    </a:lnTo>
                    <a:lnTo>
                      <a:pt x="1585" y="633"/>
                    </a:lnTo>
                    <a:lnTo>
                      <a:pt x="1590" y="633"/>
                    </a:lnTo>
                    <a:lnTo>
                      <a:pt x="1590" y="633"/>
                    </a:lnTo>
                    <a:lnTo>
                      <a:pt x="1590" y="633"/>
                    </a:lnTo>
                    <a:lnTo>
                      <a:pt x="1590" y="638"/>
                    </a:lnTo>
                    <a:lnTo>
                      <a:pt x="1590" y="642"/>
                    </a:lnTo>
                    <a:lnTo>
                      <a:pt x="1590" y="642"/>
                    </a:lnTo>
                    <a:lnTo>
                      <a:pt x="1590" y="642"/>
                    </a:lnTo>
                    <a:lnTo>
                      <a:pt x="1590" y="642"/>
                    </a:lnTo>
                    <a:lnTo>
                      <a:pt x="1585" y="642"/>
                    </a:lnTo>
                    <a:lnTo>
                      <a:pt x="1581" y="642"/>
                    </a:lnTo>
                    <a:lnTo>
                      <a:pt x="1581" y="642"/>
                    </a:lnTo>
                    <a:lnTo>
                      <a:pt x="1576" y="647"/>
                    </a:lnTo>
                    <a:lnTo>
                      <a:pt x="1576" y="647"/>
                    </a:lnTo>
                    <a:lnTo>
                      <a:pt x="1576" y="642"/>
                    </a:lnTo>
                    <a:lnTo>
                      <a:pt x="1576" y="642"/>
                    </a:lnTo>
                    <a:lnTo>
                      <a:pt x="1576" y="642"/>
                    </a:lnTo>
                    <a:lnTo>
                      <a:pt x="1572" y="647"/>
                    </a:lnTo>
                    <a:lnTo>
                      <a:pt x="1572" y="647"/>
                    </a:lnTo>
                    <a:lnTo>
                      <a:pt x="1567" y="647"/>
                    </a:lnTo>
                    <a:lnTo>
                      <a:pt x="1567" y="647"/>
                    </a:lnTo>
                    <a:lnTo>
                      <a:pt x="1567" y="642"/>
                    </a:lnTo>
                    <a:lnTo>
                      <a:pt x="1572" y="642"/>
                    </a:lnTo>
                    <a:lnTo>
                      <a:pt x="1572" y="642"/>
                    </a:lnTo>
                    <a:lnTo>
                      <a:pt x="1567" y="642"/>
                    </a:lnTo>
                    <a:lnTo>
                      <a:pt x="1567" y="642"/>
                    </a:lnTo>
                    <a:lnTo>
                      <a:pt x="1567" y="642"/>
                    </a:lnTo>
                    <a:lnTo>
                      <a:pt x="1567" y="638"/>
                    </a:lnTo>
                    <a:lnTo>
                      <a:pt x="1567" y="638"/>
                    </a:lnTo>
                    <a:lnTo>
                      <a:pt x="1567" y="642"/>
                    </a:lnTo>
                    <a:lnTo>
                      <a:pt x="1567" y="642"/>
                    </a:lnTo>
                    <a:lnTo>
                      <a:pt x="1563" y="647"/>
                    </a:lnTo>
                    <a:lnTo>
                      <a:pt x="1563" y="647"/>
                    </a:lnTo>
                    <a:lnTo>
                      <a:pt x="1558" y="647"/>
                    </a:lnTo>
                    <a:lnTo>
                      <a:pt x="1554" y="647"/>
                    </a:lnTo>
                    <a:lnTo>
                      <a:pt x="1554" y="647"/>
                    </a:lnTo>
                    <a:lnTo>
                      <a:pt x="1549" y="647"/>
                    </a:lnTo>
                    <a:lnTo>
                      <a:pt x="1549" y="647"/>
                    </a:lnTo>
                    <a:lnTo>
                      <a:pt x="1545" y="647"/>
                    </a:lnTo>
                    <a:lnTo>
                      <a:pt x="1540" y="647"/>
                    </a:lnTo>
                    <a:lnTo>
                      <a:pt x="1540" y="647"/>
                    </a:lnTo>
                    <a:lnTo>
                      <a:pt x="1540" y="651"/>
                    </a:lnTo>
                    <a:lnTo>
                      <a:pt x="1536" y="651"/>
                    </a:lnTo>
                    <a:lnTo>
                      <a:pt x="1527" y="651"/>
                    </a:lnTo>
                    <a:lnTo>
                      <a:pt x="1527" y="656"/>
                    </a:lnTo>
                    <a:lnTo>
                      <a:pt x="1522" y="656"/>
                    </a:lnTo>
                    <a:lnTo>
                      <a:pt x="1522" y="656"/>
                    </a:lnTo>
                    <a:lnTo>
                      <a:pt x="1522" y="656"/>
                    </a:lnTo>
                    <a:lnTo>
                      <a:pt x="1522" y="656"/>
                    </a:lnTo>
                    <a:lnTo>
                      <a:pt x="1518" y="656"/>
                    </a:lnTo>
                    <a:lnTo>
                      <a:pt x="1522" y="656"/>
                    </a:lnTo>
                    <a:lnTo>
                      <a:pt x="1522" y="656"/>
                    </a:lnTo>
                    <a:lnTo>
                      <a:pt x="1522" y="651"/>
                    </a:lnTo>
                    <a:lnTo>
                      <a:pt x="1527" y="651"/>
                    </a:lnTo>
                    <a:lnTo>
                      <a:pt x="1522" y="647"/>
                    </a:lnTo>
                    <a:lnTo>
                      <a:pt x="1522" y="647"/>
                    </a:lnTo>
                    <a:lnTo>
                      <a:pt x="1522" y="651"/>
                    </a:lnTo>
                    <a:lnTo>
                      <a:pt x="1522" y="651"/>
                    </a:lnTo>
                    <a:lnTo>
                      <a:pt x="1522" y="656"/>
                    </a:lnTo>
                    <a:lnTo>
                      <a:pt x="1518" y="656"/>
                    </a:lnTo>
                    <a:lnTo>
                      <a:pt x="1518" y="660"/>
                    </a:lnTo>
                    <a:lnTo>
                      <a:pt x="1518" y="660"/>
                    </a:lnTo>
                    <a:lnTo>
                      <a:pt x="1518" y="660"/>
                    </a:lnTo>
                    <a:lnTo>
                      <a:pt x="1518" y="660"/>
                    </a:lnTo>
                    <a:lnTo>
                      <a:pt x="1513" y="660"/>
                    </a:lnTo>
                    <a:lnTo>
                      <a:pt x="1513" y="660"/>
                    </a:lnTo>
                    <a:lnTo>
                      <a:pt x="1513" y="665"/>
                    </a:lnTo>
                    <a:lnTo>
                      <a:pt x="1518" y="665"/>
                    </a:lnTo>
                    <a:lnTo>
                      <a:pt x="1518" y="665"/>
                    </a:lnTo>
                    <a:lnTo>
                      <a:pt x="1518" y="665"/>
                    </a:lnTo>
                    <a:lnTo>
                      <a:pt x="1518" y="665"/>
                    </a:lnTo>
                    <a:lnTo>
                      <a:pt x="1518" y="669"/>
                    </a:lnTo>
                    <a:lnTo>
                      <a:pt x="1513" y="669"/>
                    </a:lnTo>
                    <a:lnTo>
                      <a:pt x="1513" y="669"/>
                    </a:lnTo>
                    <a:lnTo>
                      <a:pt x="1513" y="674"/>
                    </a:lnTo>
                    <a:lnTo>
                      <a:pt x="1509" y="678"/>
                    </a:lnTo>
                    <a:lnTo>
                      <a:pt x="1509" y="674"/>
                    </a:lnTo>
                    <a:lnTo>
                      <a:pt x="1513" y="674"/>
                    </a:lnTo>
                    <a:lnTo>
                      <a:pt x="1513" y="674"/>
                    </a:lnTo>
                    <a:lnTo>
                      <a:pt x="1509" y="674"/>
                    </a:lnTo>
                    <a:lnTo>
                      <a:pt x="1509" y="678"/>
                    </a:lnTo>
                    <a:lnTo>
                      <a:pt x="1504" y="678"/>
                    </a:lnTo>
                    <a:lnTo>
                      <a:pt x="1504" y="683"/>
                    </a:lnTo>
                    <a:lnTo>
                      <a:pt x="1504" y="678"/>
                    </a:lnTo>
                    <a:lnTo>
                      <a:pt x="1504" y="683"/>
                    </a:lnTo>
                    <a:lnTo>
                      <a:pt x="1504" y="683"/>
                    </a:lnTo>
                    <a:lnTo>
                      <a:pt x="1500" y="683"/>
                    </a:lnTo>
                    <a:lnTo>
                      <a:pt x="1500" y="683"/>
                    </a:lnTo>
                    <a:lnTo>
                      <a:pt x="1500" y="683"/>
                    </a:lnTo>
                    <a:lnTo>
                      <a:pt x="1500" y="683"/>
                    </a:lnTo>
                    <a:lnTo>
                      <a:pt x="1500" y="687"/>
                    </a:lnTo>
                    <a:lnTo>
                      <a:pt x="1500" y="687"/>
                    </a:lnTo>
                    <a:lnTo>
                      <a:pt x="1495" y="687"/>
                    </a:lnTo>
                    <a:lnTo>
                      <a:pt x="1490" y="692"/>
                    </a:lnTo>
                    <a:lnTo>
                      <a:pt x="1490" y="692"/>
                    </a:lnTo>
                    <a:lnTo>
                      <a:pt x="1490" y="692"/>
                    </a:lnTo>
                    <a:lnTo>
                      <a:pt x="1490" y="692"/>
                    </a:lnTo>
                    <a:lnTo>
                      <a:pt x="1490" y="687"/>
                    </a:lnTo>
                    <a:lnTo>
                      <a:pt x="1490" y="687"/>
                    </a:lnTo>
                    <a:lnTo>
                      <a:pt x="1490" y="687"/>
                    </a:lnTo>
                    <a:lnTo>
                      <a:pt x="1490" y="687"/>
                    </a:lnTo>
                    <a:lnTo>
                      <a:pt x="1490" y="683"/>
                    </a:lnTo>
                    <a:lnTo>
                      <a:pt x="1486" y="683"/>
                    </a:lnTo>
                    <a:lnTo>
                      <a:pt x="1486" y="683"/>
                    </a:lnTo>
                    <a:lnTo>
                      <a:pt x="1486" y="678"/>
                    </a:lnTo>
                    <a:lnTo>
                      <a:pt x="1486" y="678"/>
                    </a:lnTo>
                    <a:lnTo>
                      <a:pt x="1486" y="678"/>
                    </a:lnTo>
                    <a:lnTo>
                      <a:pt x="1490" y="674"/>
                    </a:lnTo>
                    <a:lnTo>
                      <a:pt x="1490" y="674"/>
                    </a:lnTo>
                    <a:lnTo>
                      <a:pt x="1495" y="674"/>
                    </a:lnTo>
                    <a:lnTo>
                      <a:pt x="1495" y="674"/>
                    </a:lnTo>
                    <a:lnTo>
                      <a:pt x="1495" y="674"/>
                    </a:lnTo>
                    <a:lnTo>
                      <a:pt x="1495" y="674"/>
                    </a:lnTo>
                    <a:lnTo>
                      <a:pt x="1490" y="674"/>
                    </a:lnTo>
                    <a:lnTo>
                      <a:pt x="1490" y="674"/>
                    </a:lnTo>
                    <a:lnTo>
                      <a:pt x="1490" y="674"/>
                    </a:lnTo>
                    <a:lnTo>
                      <a:pt x="1486" y="678"/>
                    </a:lnTo>
                    <a:lnTo>
                      <a:pt x="1486" y="678"/>
                    </a:lnTo>
                    <a:lnTo>
                      <a:pt x="1486" y="678"/>
                    </a:lnTo>
                    <a:lnTo>
                      <a:pt x="1486" y="678"/>
                    </a:lnTo>
                    <a:lnTo>
                      <a:pt x="1486" y="683"/>
                    </a:lnTo>
                    <a:lnTo>
                      <a:pt x="1486" y="683"/>
                    </a:lnTo>
                    <a:lnTo>
                      <a:pt x="1486" y="683"/>
                    </a:lnTo>
                    <a:lnTo>
                      <a:pt x="1486" y="687"/>
                    </a:lnTo>
                    <a:lnTo>
                      <a:pt x="1486" y="692"/>
                    </a:lnTo>
                    <a:lnTo>
                      <a:pt x="1486" y="692"/>
                    </a:lnTo>
                    <a:lnTo>
                      <a:pt x="1486" y="696"/>
                    </a:lnTo>
                    <a:lnTo>
                      <a:pt x="1486" y="696"/>
                    </a:lnTo>
                    <a:lnTo>
                      <a:pt x="1486" y="696"/>
                    </a:lnTo>
                    <a:lnTo>
                      <a:pt x="1481" y="696"/>
                    </a:lnTo>
                    <a:lnTo>
                      <a:pt x="1486" y="696"/>
                    </a:lnTo>
                    <a:lnTo>
                      <a:pt x="1486" y="701"/>
                    </a:lnTo>
                    <a:lnTo>
                      <a:pt x="1486" y="701"/>
                    </a:lnTo>
                    <a:lnTo>
                      <a:pt x="1486" y="701"/>
                    </a:lnTo>
                    <a:lnTo>
                      <a:pt x="1486" y="701"/>
                    </a:lnTo>
                    <a:lnTo>
                      <a:pt x="1481" y="701"/>
                    </a:lnTo>
                    <a:lnTo>
                      <a:pt x="1481" y="701"/>
                    </a:lnTo>
                    <a:lnTo>
                      <a:pt x="1481" y="701"/>
                    </a:lnTo>
                    <a:lnTo>
                      <a:pt x="1481" y="701"/>
                    </a:lnTo>
                    <a:lnTo>
                      <a:pt x="1481" y="701"/>
                    </a:lnTo>
                    <a:lnTo>
                      <a:pt x="1481" y="705"/>
                    </a:lnTo>
                    <a:lnTo>
                      <a:pt x="1481" y="705"/>
                    </a:lnTo>
                    <a:lnTo>
                      <a:pt x="1481" y="705"/>
                    </a:lnTo>
                    <a:lnTo>
                      <a:pt x="1477" y="705"/>
                    </a:lnTo>
                    <a:lnTo>
                      <a:pt x="1477" y="710"/>
                    </a:lnTo>
                    <a:lnTo>
                      <a:pt x="1468" y="714"/>
                    </a:lnTo>
                    <a:lnTo>
                      <a:pt x="1468" y="719"/>
                    </a:lnTo>
                    <a:lnTo>
                      <a:pt x="1468" y="719"/>
                    </a:lnTo>
                    <a:lnTo>
                      <a:pt x="1468" y="719"/>
                    </a:lnTo>
                    <a:lnTo>
                      <a:pt x="1463" y="719"/>
                    </a:lnTo>
                    <a:lnTo>
                      <a:pt x="1463" y="719"/>
                    </a:lnTo>
                    <a:lnTo>
                      <a:pt x="1463" y="724"/>
                    </a:lnTo>
                    <a:lnTo>
                      <a:pt x="1459" y="724"/>
                    </a:lnTo>
                    <a:lnTo>
                      <a:pt x="1459" y="724"/>
                    </a:lnTo>
                    <a:lnTo>
                      <a:pt x="1459" y="724"/>
                    </a:lnTo>
                    <a:lnTo>
                      <a:pt x="1463" y="719"/>
                    </a:lnTo>
                    <a:lnTo>
                      <a:pt x="1463" y="714"/>
                    </a:lnTo>
                    <a:lnTo>
                      <a:pt x="1468" y="714"/>
                    </a:lnTo>
                    <a:lnTo>
                      <a:pt x="1468" y="714"/>
                    </a:lnTo>
                    <a:lnTo>
                      <a:pt x="1472" y="710"/>
                    </a:lnTo>
                    <a:lnTo>
                      <a:pt x="1468" y="710"/>
                    </a:lnTo>
                    <a:lnTo>
                      <a:pt x="1468" y="710"/>
                    </a:lnTo>
                    <a:lnTo>
                      <a:pt x="1468" y="710"/>
                    </a:lnTo>
                    <a:lnTo>
                      <a:pt x="1468" y="705"/>
                    </a:lnTo>
                    <a:lnTo>
                      <a:pt x="1468" y="705"/>
                    </a:lnTo>
                    <a:lnTo>
                      <a:pt x="1468" y="705"/>
                    </a:lnTo>
                    <a:lnTo>
                      <a:pt x="1468" y="705"/>
                    </a:lnTo>
                    <a:lnTo>
                      <a:pt x="1468" y="705"/>
                    </a:lnTo>
                    <a:lnTo>
                      <a:pt x="1472" y="705"/>
                    </a:lnTo>
                    <a:lnTo>
                      <a:pt x="1472" y="701"/>
                    </a:lnTo>
                    <a:lnTo>
                      <a:pt x="1472" y="701"/>
                    </a:lnTo>
                    <a:lnTo>
                      <a:pt x="1472" y="701"/>
                    </a:lnTo>
                    <a:lnTo>
                      <a:pt x="1468" y="705"/>
                    </a:lnTo>
                    <a:lnTo>
                      <a:pt x="1468" y="705"/>
                    </a:lnTo>
                    <a:lnTo>
                      <a:pt x="1468" y="701"/>
                    </a:lnTo>
                    <a:lnTo>
                      <a:pt x="1468" y="701"/>
                    </a:lnTo>
                    <a:lnTo>
                      <a:pt x="1468" y="705"/>
                    </a:lnTo>
                    <a:lnTo>
                      <a:pt x="1468" y="705"/>
                    </a:lnTo>
                    <a:lnTo>
                      <a:pt x="1468" y="701"/>
                    </a:lnTo>
                    <a:lnTo>
                      <a:pt x="1468" y="701"/>
                    </a:lnTo>
                    <a:lnTo>
                      <a:pt x="1463" y="701"/>
                    </a:lnTo>
                    <a:lnTo>
                      <a:pt x="1463" y="701"/>
                    </a:lnTo>
                    <a:lnTo>
                      <a:pt x="1468" y="696"/>
                    </a:lnTo>
                    <a:lnTo>
                      <a:pt x="1468" y="696"/>
                    </a:lnTo>
                    <a:lnTo>
                      <a:pt x="1468" y="696"/>
                    </a:lnTo>
                    <a:lnTo>
                      <a:pt x="1472" y="696"/>
                    </a:lnTo>
                    <a:lnTo>
                      <a:pt x="1472" y="696"/>
                    </a:lnTo>
                    <a:lnTo>
                      <a:pt x="1468" y="696"/>
                    </a:lnTo>
                    <a:lnTo>
                      <a:pt x="1468" y="696"/>
                    </a:lnTo>
                    <a:lnTo>
                      <a:pt x="1468" y="696"/>
                    </a:lnTo>
                    <a:lnTo>
                      <a:pt x="1468" y="692"/>
                    </a:lnTo>
                    <a:lnTo>
                      <a:pt x="1468" y="696"/>
                    </a:lnTo>
                    <a:lnTo>
                      <a:pt x="1468" y="696"/>
                    </a:lnTo>
                    <a:lnTo>
                      <a:pt x="1468" y="692"/>
                    </a:lnTo>
                    <a:lnTo>
                      <a:pt x="1468" y="692"/>
                    </a:lnTo>
                    <a:lnTo>
                      <a:pt x="1472" y="692"/>
                    </a:lnTo>
                    <a:lnTo>
                      <a:pt x="1472" y="692"/>
                    </a:lnTo>
                    <a:lnTo>
                      <a:pt x="1468" y="692"/>
                    </a:lnTo>
                    <a:lnTo>
                      <a:pt x="1468" y="692"/>
                    </a:lnTo>
                    <a:lnTo>
                      <a:pt x="1468" y="692"/>
                    </a:lnTo>
                    <a:lnTo>
                      <a:pt x="1468" y="687"/>
                    </a:lnTo>
                    <a:lnTo>
                      <a:pt x="1472" y="687"/>
                    </a:lnTo>
                    <a:lnTo>
                      <a:pt x="1472" y="692"/>
                    </a:lnTo>
                    <a:lnTo>
                      <a:pt x="1472" y="687"/>
                    </a:lnTo>
                    <a:lnTo>
                      <a:pt x="1472" y="687"/>
                    </a:lnTo>
                    <a:lnTo>
                      <a:pt x="1472" y="687"/>
                    </a:lnTo>
                    <a:lnTo>
                      <a:pt x="1472" y="687"/>
                    </a:lnTo>
                    <a:lnTo>
                      <a:pt x="1472" y="683"/>
                    </a:lnTo>
                    <a:lnTo>
                      <a:pt x="1477" y="683"/>
                    </a:lnTo>
                    <a:lnTo>
                      <a:pt x="1477" y="683"/>
                    </a:lnTo>
                    <a:lnTo>
                      <a:pt x="1477" y="683"/>
                    </a:lnTo>
                    <a:lnTo>
                      <a:pt x="1477" y="683"/>
                    </a:lnTo>
                    <a:lnTo>
                      <a:pt x="1477" y="683"/>
                    </a:lnTo>
                    <a:lnTo>
                      <a:pt x="1477" y="683"/>
                    </a:lnTo>
                    <a:lnTo>
                      <a:pt x="1481" y="683"/>
                    </a:lnTo>
                    <a:lnTo>
                      <a:pt x="1481" y="678"/>
                    </a:lnTo>
                    <a:lnTo>
                      <a:pt x="1477" y="678"/>
                    </a:lnTo>
                    <a:lnTo>
                      <a:pt x="1481" y="678"/>
                    </a:lnTo>
                    <a:lnTo>
                      <a:pt x="1477" y="678"/>
                    </a:lnTo>
                    <a:lnTo>
                      <a:pt x="1477" y="678"/>
                    </a:lnTo>
                    <a:lnTo>
                      <a:pt x="1477" y="678"/>
                    </a:lnTo>
                    <a:lnTo>
                      <a:pt x="1477" y="683"/>
                    </a:lnTo>
                    <a:lnTo>
                      <a:pt x="1477" y="683"/>
                    </a:lnTo>
                    <a:lnTo>
                      <a:pt x="1477" y="683"/>
                    </a:lnTo>
                    <a:lnTo>
                      <a:pt x="1472" y="683"/>
                    </a:lnTo>
                    <a:lnTo>
                      <a:pt x="1472" y="683"/>
                    </a:lnTo>
                    <a:lnTo>
                      <a:pt x="1472" y="683"/>
                    </a:lnTo>
                    <a:lnTo>
                      <a:pt x="1472" y="683"/>
                    </a:lnTo>
                    <a:lnTo>
                      <a:pt x="1472" y="683"/>
                    </a:lnTo>
                    <a:lnTo>
                      <a:pt x="1472" y="683"/>
                    </a:lnTo>
                    <a:lnTo>
                      <a:pt x="1472" y="683"/>
                    </a:lnTo>
                    <a:lnTo>
                      <a:pt x="1472" y="683"/>
                    </a:lnTo>
                    <a:lnTo>
                      <a:pt x="1472" y="683"/>
                    </a:lnTo>
                    <a:lnTo>
                      <a:pt x="1472" y="683"/>
                    </a:lnTo>
                    <a:lnTo>
                      <a:pt x="1468" y="683"/>
                    </a:lnTo>
                    <a:lnTo>
                      <a:pt x="1468" y="687"/>
                    </a:lnTo>
                    <a:lnTo>
                      <a:pt x="1468" y="683"/>
                    </a:lnTo>
                    <a:lnTo>
                      <a:pt x="1468" y="683"/>
                    </a:lnTo>
                    <a:lnTo>
                      <a:pt x="1468" y="687"/>
                    </a:lnTo>
                    <a:lnTo>
                      <a:pt x="1468" y="687"/>
                    </a:lnTo>
                    <a:lnTo>
                      <a:pt x="1468" y="687"/>
                    </a:lnTo>
                    <a:lnTo>
                      <a:pt x="1468" y="687"/>
                    </a:lnTo>
                    <a:lnTo>
                      <a:pt x="1468" y="687"/>
                    </a:lnTo>
                    <a:lnTo>
                      <a:pt x="1468" y="687"/>
                    </a:lnTo>
                    <a:lnTo>
                      <a:pt x="1468" y="687"/>
                    </a:lnTo>
                    <a:lnTo>
                      <a:pt x="1468" y="692"/>
                    </a:lnTo>
                    <a:lnTo>
                      <a:pt x="1463" y="692"/>
                    </a:lnTo>
                    <a:lnTo>
                      <a:pt x="1463" y="692"/>
                    </a:lnTo>
                    <a:lnTo>
                      <a:pt x="1463" y="692"/>
                    </a:lnTo>
                    <a:lnTo>
                      <a:pt x="1463" y="696"/>
                    </a:lnTo>
                    <a:lnTo>
                      <a:pt x="1463" y="696"/>
                    </a:lnTo>
                    <a:lnTo>
                      <a:pt x="1463" y="701"/>
                    </a:lnTo>
                    <a:lnTo>
                      <a:pt x="1463" y="701"/>
                    </a:lnTo>
                    <a:lnTo>
                      <a:pt x="1463" y="701"/>
                    </a:lnTo>
                    <a:lnTo>
                      <a:pt x="1463" y="701"/>
                    </a:lnTo>
                    <a:lnTo>
                      <a:pt x="1463" y="701"/>
                    </a:lnTo>
                    <a:lnTo>
                      <a:pt x="1459" y="701"/>
                    </a:lnTo>
                    <a:lnTo>
                      <a:pt x="1459" y="696"/>
                    </a:lnTo>
                    <a:lnTo>
                      <a:pt x="1459" y="696"/>
                    </a:lnTo>
                    <a:lnTo>
                      <a:pt x="1459" y="696"/>
                    </a:lnTo>
                    <a:lnTo>
                      <a:pt x="1459" y="696"/>
                    </a:lnTo>
                    <a:lnTo>
                      <a:pt x="1459" y="701"/>
                    </a:lnTo>
                    <a:lnTo>
                      <a:pt x="1463" y="705"/>
                    </a:lnTo>
                    <a:lnTo>
                      <a:pt x="1463" y="705"/>
                    </a:lnTo>
                    <a:lnTo>
                      <a:pt x="1463" y="705"/>
                    </a:lnTo>
                    <a:lnTo>
                      <a:pt x="1463" y="705"/>
                    </a:lnTo>
                    <a:lnTo>
                      <a:pt x="1459" y="705"/>
                    </a:lnTo>
                    <a:lnTo>
                      <a:pt x="1459" y="705"/>
                    </a:lnTo>
                    <a:lnTo>
                      <a:pt x="1459" y="705"/>
                    </a:lnTo>
                    <a:lnTo>
                      <a:pt x="1454" y="705"/>
                    </a:lnTo>
                    <a:lnTo>
                      <a:pt x="1454" y="701"/>
                    </a:lnTo>
                    <a:lnTo>
                      <a:pt x="1454" y="701"/>
                    </a:lnTo>
                    <a:lnTo>
                      <a:pt x="1454" y="701"/>
                    </a:lnTo>
                    <a:lnTo>
                      <a:pt x="1454" y="701"/>
                    </a:lnTo>
                    <a:lnTo>
                      <a:pt x="1454" y="701"/>
                    </a:lnTo>
                    <a:lnTo>
                      <a:pt x="1454" y="701"/>
                    </a:lnTo>
                    <a:lnTo>
                      <a:pt x="1454" y="701"/>
                    </a:lnTo>
                    <a:lnTo>
                      <a:pt x="1450" y="701"/>
                    </a:lnTo>
                    <a:lnTo>
                      <a:pt x="1450" y="701"/>
                    </a:lnTo>
                    <a:lnTo>
                      <a:pt x="1450" y="696"/>
                    </a:lnTo>
                    <a:lnTo>
                      <a:pt x="1450" y="696"/>
                    </a:lnTo>
                    <a:lnTo>
                      <a:pt x="1454" y="696"/>
                    </a:lnTo>
                    <a:lnTo>
                      <a:pt x="1454" y="696"/>
                    </a:lnTo>
                    <a:lnTo>
                      <a:pt x="1459" y="692"/>
                    </a:lnTo>
                    <a:lnTo>
                      <a:pt x="1459" y="692"/>
                    </a:lnTo>
                    <a:lnTo>
                      <a:pt x="1454" y="692"/>
                    </a:lnTo>
                    <a:lnTo>
                      <a:pt x="1454" y="696"/>
                    </a:lnTo>
                    <a:lnTo>
                      <a:pt x="1454" y="696"/>
                    </a:lnTo>
                    <a:lnTo>
                      <a:pt x="1450" y="696"/>
                    </a:lnTo>
                    <a:lnTo>
                      <a:pt x="1450" y="696"/>
                    </a:lnTo>
                    <a:lnTo>
                      <a:pt x="1450" y="701"/>
                    </a:lnTo>
                    <a:lnTo>
                      <a:pt x="1450" y="701"/>
                    </a:lnTo>
                    <a:lnTo>
                      <a:pt x="1450" y="701"/>
                    </a:lnTo>
                    <a:lnTo>
                      <a:pt x="1450" y="701"/>
                    </a:lnTo>
                    <a:lnTo>
                      <a:pt x="1454" y="701"/>
                    </a:lnTo>
                    <a:lnTo>
                      <a:pt x="1454" y="705"/>
                    </a:lnTo>
                    <a:lnTo>
                      <a:pt x="1459" y="705"/>
                    </a:lnTo>
                    <a:lnTo>
                      <a:pt x="1459" y="705"/>
                    </a:lnTo>
                    <a:lnTo>
                      <a:pt x="1459" y="710"/>
                    </a:lnTo>
                    <a:lnTo>
                      <a:pt x="1459" y="710"/>
                    </a:lnTo>
                    <a:lnTo>
                      <a:pt x="1459" y="710"/>
                    </a:lnTo>
                    <a:lnTo>
                      <a:pt x="1459" y="710"/>
                    </a:lnTo>
                    <a:lnTo>
                      <a:pt x="1459" y="714"/>
                    </a:lnTo>
                    <a:lnTo>
                      <a:pt x="1459" y="714"/>
                    </a:lnTo>
                    <a:lnTo>
                      <a:pt x="1459" y="714"/>
                    </a:lnTo>
                    <a:lnTo>
                      <a:pt x="1459" y="714"/>
                    </a:lnTo>
                    <a:lnTo>
                      <a:pt x="1454" y="714"/>
                    </a:lnTo>
                    <a:lnTo>
                      <a:pt x="1454" y="710"/>
                    </a:lnTo>
                    <a:lnTo>
                      <a:pt x="1454" y="710"/>
                    </a:lnTo>
                    <a:lnTo>
                      <a:pt x="1454" y="705"/>
                    </a:lnTo>
                    <a:lnTo>
                      <a:pt x="1450" y="705"/>
                    </a:lnTo>
                    <a:lnTo>
                      <a:pt x="1450" y="705"/>
                    </a:lnTo>
                    <a:lnTo>
                      <a:pt x="1450" y="710"/>
                    </a:lnTo>
                    <a:lnTo>
                      <a:pt x="1454" y="710"/>
                    </a:lnTo>
                    <a:lnTo>
                      <a:pt x="1454" y="714"/>
                    </a:lnTo>
                    <a:lnTo>
                      <a:pt x="1454" y="714"/>
                    </a:lnTo>
                    <a:lnTo>
                      <a:pt x="1454" y="714"/>
                    </a:lnTo>
                    <a:lnTo>
                      <a:pt x="1454" y="714"/>
                    </a:lnTo>
                    <a:lnTo>
                      <a:pt x="1459" y="719"/>
                    </a:lnTo>
                    <a:lnTo>
                      <a:pt x="1454" y="719"/>
                    </a:lnTo>
                    <a:lnTo>
                      <a:pt x="1459" y="719"/>
                    </a:lnTo>
                    <a:lnTo>
                      <a:pt x="1459" y="719"/>
                    </a:lnTo>
                    <a:lnTo>
                      <a:pt x="1459" y="724"/>
                    </a:lnTo>
                    <a:lnTo>
                      <a:pt x="1454" y="719"/>
                    </a:lnTo>
                    <a:lnTo>
                      <a:pt x="1454" y="724"/>
                    </a:lnTo>
                    <a:lnTo>
                      <a:pt x="1454" y="724"/>
                    </a:lnTo>
                    <a:lnTo>
                      <a:pt x="1454" y="724"/>
                    </a:lnTo>
                    <a:lnTo>
                      <a:pt x="1454" y="724"/>
                    </a:lnTo>
                    <a:lnTo>
                      <a:pt x="1450" y="719"/>
                    </a:lnTo>
                    <a:lnTo>
                      <a:pt x="1450" y="719"/>
                    </a:lnTo>
                    <a:lnTo>
                      <a:pt x="1450" y="719"/>
                    </a:lnTo>
                    <a:lnTo>
                      <a:pt x="1450" y="724"/>
                    </a:lnTo>
                    <a:lnTo>
                      <a:pt x="1454" y="724"/>
                    </a:lnTo>
                    <a:lnTo>
                      <a:pt x="1454" y="724"/>
                    </a:lnTo>
                    <a:lnTo>
                      <a:pt x="1454" y="724"/>
                    </a:lnTo>
                    <a:lnTo>
                      <a:pt x="1454" y="728"/>
                    </a:lnTo>
                    <a:lnTo>
                      <a:pt x="1454" y="728"/>
                    </a:lnTo>
                    <a:lnTo>
                      <a:pt x="1454" y="728"/>
                    </a:lnTo>
                    <a:lnTo>
                      <a:pt x="1450" y="728"/>
                    </a:lnTo>
                    <a:lnTo>
                      <a:pt x="1450" y="728"/>
                    </a:lnTo>
                    <a:lnTo>
                      <a:pt x="1450" y="728"/>
                    </a:lnTo>
                    <a:lnTo>
                      <a:pt x="1450" y="724"/>
                    </a:lnTo>
                    <a:lnTo>
                      <a:pt x="1450" y="724"/>
                    </a:lnTo>
                    <a:lnTo>
                      <a:pt x="1450" y="724"/>
                    </a:lnTo>
                    <a:lnTo>
                      <a:pt x="1445" y="724"/>
                    </a:lnTo>
                    <a:lnTo>
                      <a:pt x="1441" y="719"/>
                    </a:lnTo>
                    <a:lnTo>
                      <a:pt x="1441" y="724"/>
                    </a:lnTo>
                    <a:lnTo>
                      <a:pt x="1441" y="724"/>
                    </a:lnTo>
                    <a:lnTo>
                      <a:pt x="1445" y="724"/>
                    </a:lnTo>
                    <a:lnTo>
                      <a:pt x="1445" y="724"/>
                    </a:lnTo>
                    <a:lnTo>
                      <a:pt x="1450" y="724"/>
                    </a:lnTo>
                    <a:lnTo>
                      <a:pt x="1450" y="724"/>
                    </a:lnTo>
                    <a:lnTo>
                      <a:pt x="1450" y="728"/>
                    </a:lnTo>
                    <a:lnTo>
                      <a:pt x="1450" y="728"/>
                    </a:lnTo>
                    <a:lnTo>
                      <a:pt x="1450" y="728"/>
                    </a:lnTo>
                    <a:lnTo>
                      <a:pt x="1450" y="733"/>
                    </a:lnTo>
                    <a:lnTo>
                      <a:pt x="1454" y="728"/>
                    </a:lnTo>
                    <a:lnTo>
                      <a:pt x="1454" y="728"/>
                    </a:lnTo>
                    <a:lnTo>
                      <a:pt x="1459" y="728"/>
                    </a:lnTo>
                    <a:lnTo>
                      <a:pt x="1459" y="733"/>
                    </a:lnTo>
                    <a:lnTo>
                      <a:pt x="1459" y="733"/>
                    </a:lnTo>
                    <a:lnTo>
                      <a:pt x="1459" y="737"/>
                    </a:lnTo>
                    <a:lnTo>
                      <a:pt x="1454" y="742"/>
                    </a:lnTo>
                    <a:lnTo>
                      <a:pt x="1454" y="751"/>
                    </a:lnTo>
                    <a:lnTo>
                      <a:pt x="1454" y="751"/>
                    </a:lnTo>
                    <a:lnTo>
                      <a:pt x="1454" y="751"/>
                    </a:lnTo>
                    <a:lnTo>
                      <a:pt x="1454" y="746"/>
                    </a:lnTo>
                    <a:lnTo>
                      <a:pt x="1454" y="742"/>
                    </a:lnTo>
                    <a:lnTo>
                      <a:pt x="1454" y="737"/>
                    </a:lnTo>
                    <a:lnTo>
                      <a:pt x="1459" y="737"/>
                    </a:lnTo>
                    <a:lnTo>
                      <a:pt x="1454" y="737"/>
                    </a:lnTo>
                    <a:lnTo>
                      <a:pt x="1454" y="737"/>
                    </a:lnTo>
                    <a:lnTo>
                      <a:pt x="1454" y="737"/>
                    </a:lnTo>
                    <a:lnTo>
                      <a:pt x="1454" y="737"/>
                    </a:lnTo>
                    <a:lnTo>
                      <a:pt x="1454" y="737"/>
                    </a:lnTo>
                    <a:lnTo>
                      <a:pt x="1454" y="742"/>
                    </a:lnTo>
                    <a:lnTo>
                      <a:pt x="1454" y="742"/>
                    </a:lnTo>
                    <a:lnTo>
                      <a:pt x="1454" y="742"/>
                    </a:lnTo>
                    <a:lnTo>
                      <a:pt x="1454" y="746"/>
                    </a:lnTo>
                    <a:lnTo>
                      <a:pt x="1454" y="746"/>
                    </a:lnTo>
                    <a:lnTo>
                      <a:pt x="1454" y="742"/>
                    </a:lnTo>
                    <a:lnTo>
                      <a:pt x="1450" y="742"/>
                    </a:lnTo>
                    <a:lnTo>
                      <a:pt x="1450" y="742"/>
                    </a:lnTo>
                    <a:lnTo>
                      <a:pt x="1450" y="742"/>
                    </a:lnTo>
                    <a:lnTo>
                      <a:pt x="1450" y="746"/>
                    </a:lnTo>
                    <a:lnTo>
                      <a:pt x="1450" y="746"/>
                    </a:lnTo>
                    <a:lnTo>
                      <a:pt x="1450" y="746"/>
                    </a:lnTo>
                    <a:lnTo>
                      <a:pt x="1450" y="746"/>
                    </a:lnTo>
                    <a:lnTo>
                      <a:pt x="1445" y="746"/>
                    </a:lnTo>
                    <a:lnTo>
                      <a:pt x="1445" y="746"/>
                    </a:lnTo>
                    <a:lnTo>
                      <a:pt x="1445" y="746"/>
                    </a:lnTo>
                    <a:lnTo>
                      <a:pt x="1445" y="746"/>
                    </a:lnTo>
                    <a:lnTo>
                      <a:pt x="1441" y="746"/>
                    </a:lnTo>
                    <a:lnTo>
                      <a:pt x="1441" y="746"/>
                    </a:lnTo>
                    <a:lnTo>
                      <a:pt x="1441" y="746"/>
                    </a:lnTo>
                    <a:lnTo>
                      <a:pt x="1441" y="742"/>
                    </a:lnTo>
                    <a:lnTo>
                      <a:pt x="1441" y="746"/>
                    </a:lnTo>
                    <a:lnTo>
                      <a:pt x="1441" y="746"/>
                    </a:lnTo>
                    <a:lnTo>
                      <a:pt x="1441" y="746"/>
                    </a:lnTo>
                    <a:lnTo>
                      <a:pt x="1441" y="751"/>
                    </a:lnTo>
                    <a:lnTo>
                      <a:pt x="1441" y="746"/>
                    </a:lnTo>
                    <a:lnTo>
                      <a:pt x="1445" y="751"/>
                    </a:lnTo>
                    <a:lnTo>
                      <a:pt x="1445" y="746"/>
                    </a:lnTo>
                    <a:lnTo>
                      <a:pt x="1445" y="746"/>
                    </a:lnTo>
                    <a:lnTo>
                      <a:pt x="1450" y="746"/>
                    </a:lnTo>
                    <a:lnTo>
                      <a:pt x="1450" y="751"/>
                    </a:lnTo>
                    <a:lnTo>
                      <a:pt x="1450" y="751"/>
                    </a:lnTo>
                    <a:lnTo>
                      <a:pt x="1445" y="755"/>
                    </a:lnTo>
                    <a:lnTo>
                      <a:pt x="1445" y="755"/>
                    </a:lnTo>
                    <a:lnTo>
                      <a:pt x="1450" y="755"/>
                    </a:lnTo>
                    <a:lnTo>
                      <a:pt x="1450" y="751"/>
                    </a:lnTo>
                    <a:lnTo>
                      <a:pt x="1454" y="751"/>
                    </a:lnTo>
                    <a:lnTo>
                      <a:pt x="1454" y="751"/>
                    </a:lnTo>
                    <a:lnTo>
                      <a:pt x="1454" y="751"/>
                    </a:lnTo>
                    <a:lnTo>
                      <a:pt x="1454" y="751"/>
                    </a:lnTo>
                    <a:lnTo>
                      <a:pt x="1454" y="751"/>
                    </a:lnTo>
                    <a:lnTo>
                      <a:pt x="1450" y="755"/>
                    </a:lnTo>
                    <a:lnTo>
                      <a:pt x="1445" y="755"/>
                    </a:lnTo>
                    <a:lnTo>
                      <a:pt x="1445" y="760"/>
                    </a:lnTo>
                    <a:lnTo>
                      <a:pt x="1441" y="760"/>
                    </a:lnTo>
                    <a:lnTo>
                      <a:pt x="1441" y="760"/>
                    </a:lnTo>
                    <a:lnTo>
                      <a:pt x="1441" y="760"/>
                    </a:lnTo>
                    <a:lnTo>
                      <a:pt x="1441" y="760"/>
                    </a:lnTo>
                    <a:lnTo>
                      <a:pt x="1436" y="760"/>
                    </a:lnTo>
                    <a:lnTo>
                      <a:pt x="1436" y="760"/>
                    </a:lnTo>
                    <a:lnTo>
                      <a:pt x="1436" y="755"/>
                    </a:lnTo>
                    <a:lnTo>
                      <a:pt x="1436" y="755"/>
                    </a:lnTo>
                    <a:lnTo>
                      <a:pt x="1436" y="755"/>
                    </a:lnTo>
                    <a:lnTo>
                      <a:pt x="1436" y="760"/>
                    </a:lnTo>
                    <a:lnTo>
                      <a:pt x="1436" y="760"/>
                    </a:lnTo>
                    <a:lnTo>
                      <a:pt x="1432" y="760"/>
                    </a:lnTo>
                    <a:lnTo>
                      <a:pt x="1432" y="755"/>
                    </a:lnTo>
                    <a:lnTo>
                      <a:pt x="1432" y="760"/>
                    </a:lnTo>
                    <a:lnTo>
                      <a:pt x="1436" y="760"/>
                    </a:lnTo>
                    <a:lnTo>
                      <a:pt x="1436" y="760"/>
                    </a:lnTo>
                    <a:lnTo>
                      <a:pt x="1436" y="760"/>
                    </a:lnTo>
                    <a:lnTo>
                      <a:pt x="1436" y="764"/>
                    </a:lnTo>
                    <a:lnTo>
                      <a:pt x="1436" y="764"/>
                    </a:lnTo>
                    <a:lnTo>
                      <a:pt x="1436" y="764"/>
                    </a:lnTo>
                    <a:lnTo>
                      <a:pt x="1432" y="764"/>
                    </a:lnTo>
                    <a:lnTo>
                      <a:pt x="1432" y="769"/>
                    </a:lnTo>
                    <a:lnTo>
                      <a:pt x="1432" y="769"/>
                    </a:lnTo>
                    <a:lnTo>
                      <a:pt x="1427" y="764"/>
                    </a:lnTo>
                    <a:lnTo>
                      <a:pt x="1427" y="764"/>
                    </a:lnTo>
                    <a:lnTo>
                      <a:pt x="1427" y="769"/>
                    </a:lnTo>
                    <a:lnTo>
                      <a:pt x="1432" y="769"/>
                    </a:lnTo>
                    <a:lnTo>
                      <a:pt x="1436" y="769"/>
                    </a:lnTo>
                    <a:lnTo>
                      <a:pt x="1436" y="769"/>
                    </a:lnTo>
                    <a:lnTo>
                      <a:pt x="1436" y="769"/>
                    </a:lnTo>
                    <a:lnTo>
                      <a:pt x="1432" y="773"/>
                    </a:lnTo>
                    <a:lnTo>
                      <a:pt x="1432" y="773"/>
                    </a:lnTo>
                    <a:lnTo>
                      <a:pt x="1432" y="773"/>
                    </a:lnTo>
                    <a:lnTo>
                      <a:pt x="1427" y="773"/>
                    </a:lnTo>
                    <a:lnTo>
                      <a:pt x="1427" y="773"/>
                    </a:lnTo>
                    <a:lnTo>
                      <a:pt x="1427" y="773"/>
                    </a:lnTo>
                    <a:lnTo>
                      <a:pt x="1423" y="773"/>
                    </a:lnTo>
                    <a:lnTo>
                      <a:pt x="1423" y="773"/>
                    </a:lnTo>
                    <a:lnTo>
                      <a:pt x="1423" y="773"/>
                    </a:lnTo>
                    <a:lnTo>
                      <a:pt x="1418" y="773"/>
                    </a:lnTo>
                    <a:lnTo>
                      <a:pt x="1418" y="773"/>
                    </a:lnTo>
                    <a:lnTo>
                      <a:pt x="1418" y="773"/>
                    </a:lnTo>
                    <a:lnTo>
                      <a:pt x="1418" y="773"/>
                    </a:lnTo>
                    <a:lnTo>
                      <a:pt x="1418" y="773"/>
                    </a:lnTo>
                    <a:lnTo>
                      <a:pt x="1418" y="773"/>
                    </a:lnTo>
                    <a:lnTo>
                      <a:pt x="1418" y="773"/>
                    </a:lnTo>
                    <a:lnTo>
                      <a:pt x="1414" y="778"/>
                    </a:lnTo>
                    <a:lnTo>
                      <a:pt x="1414" y="778"/>
                    </a:lnTo>
                    <a:lnTo>
                      <a:pt x="1409" y="778"/>
                    </a:lnTo>
                    <a:lnTo>
                      <a:pt x="1409" y="778"/>
                    </a:lnTo>
                    <a:lnTo>
                      <a:pt x="1409" y="782"/>
                    </a:lnTo>
                    <a:lnTo>
                      <a:pt x="1405" y="782"/>
                    </a:lnTo>
                    <a:lnTo>
                      <a:pt x="1405" y="787"/>
                    </a:lnTo>
                    <a:lnTo>
                      <a:pt x="1405" y="787"/>
                    </a:lnTo>
                    <a:lnTo>
                      <a:pt x="1405" y="782"/>
                    </a:lnTo>
                    <a:lnTo>
                      <a:pt x="1405" y="782"/>
                    </a:lnTo>
                    <a:lnTo>
                      <a:pt x="1405" y="787"/>
                    </a:lnTo>
                    <a:lnTo>
                      <a:pt x="1405" y="787"/>
                    </a:lnTo>
                    <a:lnTo>
                      <a:pt x="1396" y="787"/>
                    </a:lnTo>
                    <a:lnTo>
                      <a:pt x="1396" y="787"/>
                    </a:lnTo>
                    <a:lnTo>
                      <a:pt x="1387" y="791"/>
                    </a:lnTo>
                    <a:lnTo>
                      <a:pt x="1387" y="791"/>
                    </a:lnTo>
                    <a:lnTo>
                      <a:pt x="1382" y="796"/>
                    </a:lnTo>
                    <a:lnTo>
                      <a:pt x="1378" y="800"/>
                    </a:lnTo>
                    <a:lnTo>
                      <a:pt x="1378" y="796"/>
                    </a:lnTo>
                    <a:lnTo>
                      <a:pt x="1382" y="796"/>
                    </a:lnTo>
                    <a:lnTo>
                      <a:pt x="1382" y="796"/>
                    </a:lnTo>
                    <a:lnTo>
                      <a:pt x="1378" y="796"/>
                    </a:lnTo>
                    <a:lnTo>
                      <a:pt x="1378" y="800"/>
                    </a:lnTo>
                    <a:lnTo>
                      <a:pt x="1378" y="800"/>
                    </a:lnTo>
                    <a:lnTo>
                      <a:pt x="1373" y="805"/>
                    </a:lnTo>
                    <a:lnTo>
                      <a:pt x="1373" y="805"/>
                    </a:lnTo>
                    <a:lnTo>
                      <a:pt x="1373" y="805"/>
                    </a:lnTo>
                    <a:lnTo>
                      <a:pt x="1368" y="805"/>
                    </a:lnTo>
                    <a:lnTo>
                      <a:pt x="1368" y="805"/>
                    </a:lnTo>
                    <a:lnTo>
                      <a:pt x="1368" y="809"/>
                    </a:lnTo>
                    <a:lnTo>
                      <a:pt x="1364" y="805"/>
                    </a:lnTo>
                    <a:lnTo>
                      <a:pt x="1364" y="809"/>
                    </a:lnTo>
                    <a:lnTo>
                      <a:pt x="1364" y="809"/>
                    </a:lnTo>
                    <a:lnTo>
                      <a:pt x="1364" y="809"/>
                    </a:lnTo>
                    <a:lnTo>
                      <a:pt x="1359" y="809"/>
                    </a:lnTo>
                    <a:lnTo>
                      <a:pt x="1359" y="809"/>
                    </a:lnTo>
                    <a:lnTo>
                      <a:pt x="1359" y="809"/>
                    </a:lnTo>
                    <a:lnTo>
                      <a:pt x="1359" y="814"/>
                    </a:lnTo>
                    <a:lnTo>
                      <a:pt x="1355" y="814"/>
                    </a:lnTo>
                    <a:lnTo>
                      <a:pt x="1355" y="814"/>
                    </a:lnTo>
                    <a:lnTo>
                      <a:pt x="1350" y="814"/>
                    </a:lnTo>
                    <a:lnTo>
                      <a:pt x="1350" y="814"/>
                    </a:lnTo>
                    <a:lnTo>
                      <a:pt x="1355" y="814"/>
                    </a:lnTo>
                    <a:lnTo>
                      <a:pt x="1355" y="814"/>
                    </a:lnTo>
                    <a:lnTo>
                      <a:pt x="1350" y="814"/>
                    </a:lnTo>
                    <a:lnTo>
                      <a:pt x="1350" y="814"/>
                    </a:lnTo>
                    <a:lnTo>
                      <a:pt x="1350" y="818"/>
                    </a:lnTo>
                    <a:lnTo>
                      <a:pt x="1350" y="818"/>
                    </a:lnTo>
                    <a:lnTo>
                      <a:pt x="1350" y="814"/>
                    </a:lnTo>
                    <a:lnTo>
                      <a:pt x="1350" y="814"/>
                    </a:lnTo>
                    <a:lnTo>
                      <a:pt x="1350" y="814"/>
                    </a:lnTo>
                    <a:lnTo>
                      <a:pt x="1350" y="814"/>
                    </a:lnTo>
                    <a:lnTo>
                      <a:pt x="1350" y="814"/>
                    </a:lnTo>
                    <a:lnTo>
                      <a:pt x="1350" y="814"/>
                    </a:lnTo>
                    <a:lnTo>
                      <a:pt x="1346" y="814"/>
                    </a:lnTo>
                    <a:lnTo>
                      <a:pt x="1346" y="818"/>
                    </a:lnTo>
                    <a:lnTo>
                      <a:pt x="1346" y="818"/>
                    </a:lnTo>
                    <a:lnTo>
                      <a:pt x="1350" y="818"/>
                    </a:lnTo>
                    <a:lnTo>
                      <a:pt x="1350" y="818"/>
                    </a:lnTo>
                    <a:lnTo>
                      <a:pt x="1346" y="818"/>
                    </a:lnTo>
                    <a:lnTo>
                      <a:pt x="1346" y="818"/>
                    </a:lnTo>
                    <a:lnTo>
                      <a:pt x="1346" y="818"/>
                    </a:lnTo>
                    <a:lnTo>
                      <a:pt x="1346" y="823"/>
                    </a:lnTo>
                    <a:lnTo>
                      <a:pt x="1346" y="823"/>
                    </a:lnTo>
                    <a:lnTo>
                      <a:pt x="1341" y="823"/>
                    </a:lnTo>
                    <a:lnTo>
                      <a:pt x="1341" y="823"/>
                    </a:lnTo>
                    <a:lnTo>
                      <a:pt x="1341" y="823"/>
                    </a:lnTo>
                    <a:lnTo>
                      <a:pt x="1341" y="823"/>
                    </a:lnTo>
                    <a:lnTo>
                      <a:pt x="1341" y="823"/>
                    </a:lnTo>
                    <a:lnTo>
                      <a:pt x="1341" y="828"/>
                    </a:lnTo>
                    <a:lnTo>
                      <a:pt x="1341" y="828"/>
                    </a:lnTo>
                    <a:lnTo>
                      <a:pt x="1337" y="828"/>
                    </a:lnTo>
                    <a:lnTo>
                      <a:pt x="1337" y="828"/>
                    </a:lnTo>
                    <a:lnTo>
                      <a:pt x="1337" y="828"/>
                    </a:lnTo>
                    <a:lnTo>
                      <a:pt x="1337" y="828"/>
                    </a:lnTo>
                    <a:lnTo>
                      <a:pt x="1337" y="828"/>
                    </a:lnTo>
                    <a:lnTo>
                      <a:pt x="1337" y="828"/>
                    </a:lnTo>
                    <a:lnTo>
                      <a:pt x="1337" y="832"/>
                    </a:lnTo>
                    <a:lnTo>
                      <a:pt x="1332" y="832"/>
                    </a:lnTo>
                    <a:lnTo>
                      <a:pt x="1337" y="832"/>
                    </a:lnTo>
                    <a:lnTo>
                      <a:pt x="1337" y="832"/>
                    </a:lnTo>
                    <a:lnTo>
                      <a:pt x="1337" y="832"/>
                    </a:lnTo>
                    <a:lnTo>
                      <a:pt x="1337" y="832"/>
                    </a:lnTo>
                    <a:lnTo>
                      <a:pt x="1332" y="832"/>
                    </a:lnTo>
                    <a:lnTo>
                      <a:pt x="1332" y="832"/>
                    </a:lnTo>
                    <a:lnTo>
                      <a:pt x="1332" y="837"/>
                    </a:lnTo>
                    <a:lnTo>
                      <a:pt x="1332" y="837"/>
                    </a:lnTo>
                    <a:lnTo>
                      <a:pt x="1332" y="837"/>
                    </a:lnTo>
                    <a:lnTo>
                      <a:pt x="1332" y="837"/>
                    </a:lnTo>
                    <a:lnTo>
                      <a:pt x="1332" y="837"/>
                    </a:lnTo>
                    <a:lnTo>
                      <a:pt x="1328" y="837"/>
                    </a:lnTo>
                    <a:lnTo>
                      <a:pt x="1328" y="837"/>
                    </a:lnTo>
                    <a:lnTo>
                      <a:pt x="1328" y="837"/>
                    </a:lnTo>
                    <a:lnTo>
                      <a:pt x="1328" y="841"/>
                    </a:lnTo>
                    <a:lnTo>
                      <a:pt x="1328" y="841"/>
                    </a:lnTo>
                    <a:lnTo>
                      <a:pt x="1328" y="841"/>
                    </a:lnTo>
                    <a:lnTo>
                      <a:pt x="1328" y="846"/>
                    </a:lnTo>
                    <a:lnTo>
                      <a:pt x="1323" y="846"/>
                    </a:lnTo>
                    <a:lnTo>
                      <a:pt x="1323" y="846"/>
                    </a:lnTo>
                    <a:lnTo>
                      <a:pt x="1323" y="850"/>
                    </a:lnTo>
                    <a:lnTo>
                      <a:pt x="1323" y="855"/>
                    </a:lnTo>
                    <a:lnTo>
                      <a:pt x="1323" y="859"/>
                    </a:lnTo>
                    <a:lnTo>
                      <a:pt x="1323" y="864"/>
                    </a:lnTo>
                    <a:lnTo>
                      <a:pt x="1323" y="873"/>
                    </a:lnTo>
                    <a:lnTo>
                      <a:pt x="1323" y="882"/>
                    </a:lnTo>
                    <a:lnTo>
                      <a:pt x="1328" y="891"/>
                    </a:lnTo>
                    <a:lnTo>
                      <a:pt x="1328" y="891"/>
                    </a:lnTo>
                    <a:lnTo>
                      <a:pt x="1323" y="891"/>
                    </a:lnTo>
                    <a:lnTo>
                      <a:pt x="1323" y="895"/>
                    </a:lnTo>
                    <a:lnTo>
                      <a:pt x="1323" y="895"/>
                    </a:lnTo>
                    <a:lnTo>
                      <a:pt x="1323" y="895"/>
                    </a:lnTo>
                    <a:lnTo>
                      <a:pt x="1323" y="900"/>
                    </a:lnTo>
                    <a:lnTo>
                      <a:pt x="1323" y="904"/>
                    </a:lnTo>
                    <a:lnTo>
                      <a:pt x="1323" y="900"/>
                    </a:lnTo>
                    <a:lnTo>
                      <a:pt x="1323" y="895"/>
                    </a:lnTo>
                    <a:lnTo>
                      <a:pt x="1323" y="895"/>
                    </a:lnTo>
                    <a:lnTo>
                      <a:pt x="1323" y="891"/>
                    </a:lnTo>
                    <a:lnTo>
                      <a:pt x="1323" y="891"/>
                    </a:lnTo>
                    <a:lnTo>
                      <a:pt x="1323" y="891"/>
                    </a:lnTo>
                    <a:lnTo>
                      <a:pt x="1323" y="895"/>
                    </a:lnTo>
                    <a:lnTo>
                      <a:pt x="1323" y="895"/>
                    </a:lnTo>
                    <a:lnTo>
                      <a:pt x="1323" y="891"/>
                    </a:lnTo>
                    <a:lnTo>
                      <a:pt x="1323" y="891"/>
                    </a:lnTo>
                    <a:lnTo>
                      <a:pt x="1323" y="891"/>
                    </a:lnTo>
                    <a:lnTo>
                      <a:pt x="1323" y="891"/>
                    </a:lnTo>
                    <a:lnTo>
                      <a:pt x="1323" y="886"/>
                    </a:lnTo>
                    <a:lnTo>
                      <a:pt x="1323" y="886"/>
                    </a:lnTo>
                    <a:lnTo>
                      <a:pt x="1323" y="886"/>
                    </a:lnTo>
                    <a:lnTo>
                      <a:pt x="1323" y="886"/>
                    </a:lnTo>
                    <a:lnTo>
                      <a:pt x="1323" y="886"/>
                    </a:lnTo>
                    <a:lnTo>
                      <a:pt x="1323" y="886"/>
                    </a:lnTo>
                    <a:lnTo>
                      <a:pt x="1323" y="891"/>
                    </a:lnTo>
                    <a:lnTo>
                      <a:pt x="1323" y="891"/>
                    </a:lnTo>
                    <a:lnTo>
                      <a:pt x="1323" y="895"/>
                    </a:lnTo>
                    <a:lnTo>
                      <a:pt x="1323" y="895"/>
                    </a:lnTo>
                    <a:lnTo>
                      <a:pt x="1323" y="918"/>
                    </a:lnTo>
                    <a:lnTo>
                      <a:pt x="1323" y="918"/>
                    </a:lnTo>
                    <a:lnTo>
                      <a:pt x="1323" y="922"/>
                    </a:lnTo>
                    <a:lnTo>
                      <a:pt x="1323" y="922"/>
                    </a:lnTo>
                    <a:lnTo>
                      <a:pt x="1323" y="927"/>
                    </a:lnTo>
                    <a:lnTo>
                      <a:pt x="1319" y="936"/>
                    </a:lnTo>
                    <a:lnTo>
                      <a:pt x="1319" y="945"/>
                    </a:lnTo>
                    <a:lnTo>
                      <a:pt x="1319" y="945"/>
                    </a:lnTo>
                    <a:lnTo>
                      <a:pt x="1319" y="941"/>
                    </a:lnTo>
                    <a:lnTo>
                      <a:pt x="1319" y="941"/>
                    </a:lnTo>
                    <a:lnTo>
                      <a:pt x="1314" y="945"/>
                    </a:lnTo>
                    <a:lnTo>
                      <a:pt x="1314" y="950"/>
                    </a:lnTo>
                    <a:lnTo>
                      <a:pt x="1310" y="950"/>
                    </a:lnTo>
                    <a:lnTo>
                      <a:pt x="1310" y="954"/>
                    </a:lnTo>
                    <a:lnTo>
                      <a:pt x="1310" y="954"/>
                    </a:lnTo>
                    <a:lnTo>
                      <a:pt x="1305" y="954"/>
                    </a:lnTo>
                    <a:lnTo>
                      <a:pt x="1305" y="954"/>
                    </a:lnTo>
                    <a:lnTo>
                      <a:pt x="1301" y="954"/>
                    </a:lnTo>
                    <a:lnTo>
                      <a:pt x="1296" y="959"/>
                    </a:lnTo>
                    <a:lnTo>
                      <a:pt x="1296" y="959"/>
                    </a:lnTo>
                    <a:lnTo>
                      <a:pt x="1296" y="954"/>
                    </a:lnTo>
                    <a:lnTo>
                      <a:pt x="1296" y="954"/>
                    </a:lnTo>
                    <a:lnTo>
                      <a:pt x="1296" y="954"/>
                    </a:lnTo>
                    <a:lnTo>
                      <a:pt x="1296" y="954"/>
                    </a:lnTo>
                    <a:lnTo>
                      <a:pt x="1301" y="954"/>
                    </a:lnTo>
                    <a:lnTo>
                      <a:pt x="1301" y="954"/>
                    </a:lnTo>
                    <a:lnTo>
                      <a:pt x="1301" y="954"/>
                    </a:lnTo>
                    <a:lnTo>
                      <a:pt x="1301" y="954"/>
                    </a:lnTo>
                    <a:lnTo>
                      <a:pt x="1296" y="954"/>
                    </a:lnTo>
                    <a:lnTo>
                      <a:pt x="1296" y="950"/>
                    </a:lnTo>
                    <a:lnTo>
                      <a:pt x="1296" y="945"/>
                    </a:lnTo>
                    <a:lnTo>
                      <a:pt x="1296" y="941"/>
                    </a:lnTo>
                    <a:lnTo>
                      <a:pt x="1292" y="941"/>
                    </a:lnTo>
                    <a:lnTo>
                      <a:pt x="1292" y="941"/>
                    </a:lnTo>
                    <a:lnTo>
                      <a:pt x="1292" y="936"/>
                    </a:lnTo>
                    <a:lnTo>
                      <a:pt x="1292" y="932"/>
                    </a:lnTo>
                    <a:lnTo>
                      <a:pt x="1292" y="932"/>
                    </a:lnTo>
                    <a:lnTo>
                      <a:pt x="1292" y="932"/>
                    </a:lnTo>
                    <a:lnTo>
                      <a:pt x="1292" y="927"/>
                    </a:lnTo>
                    <a:lnTo>
                      <a:pt x="1292" y="927"/>
                    </a:lnTo>
                    <a:lnTo>
                      <a:pt x="1292" y="927"/>
                    </a:lnTo>
                    <a:lnTo>
                      <a:pt x="1292" y="927"/>
                    </a:lnTo>
                    <a:lnTo>
                      <a:pt x="1292" y="927"/>
                    </a:lnTo>
                    <a:lnTo>
                      <a:pt x="1292" y="927"/>
                    </a:lnTo>
                    <a:lnTo>
                      <a:pt x="1292" y="927"/>
                    </a:lnTo>
                    <a:lnTo>
                      <a:pt x="1292" y="927"/>
                    </a:lnTo>
                    <a:lnTo>
                      <a:pt x="1292" y="922"/>
                    </a:lnTo>
                    <a:lnTo>
                      <a:pt x="1292" y="918"/>
                    </a:lnTo>
                    <a:lnTo>
                      <a:pt x="1292" y="918"/>
                    </a:lnTo>
                    <a:lnTo>
                      <a:pt x="1292" y="922"/>
                    </a:lnTo>
                    <a:lnTo>
                      <a:pt x="1287" y="922"/>
                    </a:lnTo>
                    <a:lnTo>
                      <a:pt x="1287" y="922"/>
                    </a:lnTo>
                    <a:lnTo>
                      <a:pt x="1287" y="922"/>
                    </a:lnTo>
                    <a:lnTo>
                      <a:pt x="1287" y="922"/>
                    </a:lnTo>
                    <a:lnTo>
                      <a:pt x="1287" y="922"/>
                    </a:lnTo>
                    <a:lnTo>
                      <a:pt x="1287" y="918"/>
                    </a:lnTo>
                    <a:lnTo>
                      <a:pt x="1287" y="909"/>
                    </a:lnTo>
                    <a:lnTo>
                      <a:pt x="1283" y="909"/>
                    </a:lnTo>
                    <a:lnTo>
                      <a:pt x="1283" y="909"/>
                    </a:lnTo>
                    <a:lnTo>
                      <a:pt x="1283" y="909"/>
                    </a:lnTo>
                    <a:lnTo>
                      <a:pt x="1287" y="909"/>
                    </a:lnTo>
                    <a:lnTo>
                      <a:pt x="1287" y="904"/>
                    </a:lnTo>
                    <a:lnTo>
                      <a:pt x="1292" y="904"/>
                    </a:lnTo>
                    <a:lnTo>
                      <a:pt x="1292" y="904"/>
                    </a:lnTo>
                    <a:lnTo>
                      <a:pt x="1292" y="900"/>
                    </a:lnTo>
                    <a:lnTo>
                      <a:pt x="1292" y="900"/>
                    </a:lnTo>
                    <a:lnTo>
                      <a:pt x="1292" y="900"/>
                    </a:lnTo>
                    <a:lnTo>
                      <a:pt x="1292" y="900"/>
                    </a:lnTo>
                    <a:lnTo>
                      <a:pt x="1287" y="900"/>
                    </a:lnTo>
                    <a:lnTo>
                      <a:pt x="1287" y="900"/>
                    </a:lnTo>
                    <a:lnTo>
                      <a:pt x="1287" y="900"/>
                    </a:lnTo>
                    <a:lnTo>
                      <a:pt x="1287" y="900"/>
                    </a:lnTo>
                    <a:lnTo>
                      <a:pt x="1287" y="900"/>
                    </a:lnTo>
                    <a:lnTo>
                      <a:pt x="1287" y="904"/>
                    </a:lnTo>
                    <a:lnTo>
                      <a:pt x="1287" y="904"/>
                    </a:lnTo>
                    <a:lnTo>
                      <a:pt x="1287" y="904"/>
                    </a:lnTo>
                    <a:lnTo>
                      <a:pt x="1287" y="904"/>
                    </a:lnTo>
                    <a:lnTo>
                      <a:pt x="1287" y="904"/>
                    </a:lnTo>
                    <a:lnTo>
                      <a:pt x="1283" y="904"/>
                    </a:lnTo>
                    <a:lnTo>
                      <a:pt x="1283" y="904"/>
                    </a:lnTo>
                    <a:lnTo>
                      <a:pt x="1283" y="904"/>
                    </a:lnTo>
                    <a:lnTo>
                      <a:pt x="1287" y="895"/>
                    </a:lnTo>
                    <a:lnTo>
                      <a:pt x="1292" y="891"/>
                    </a:lnTo>
                    <a:lnTo>
                      <a:pt x="1292" y="886"/>
                    </a:lnTo>
                    <a:lnTo>
                      <a:pt x="1292" y="882"/>
                    </a:lnTo>
                    <a:lnTo>
                      <a:pt x="1296" y="882"/>
                    </a:lnTo>
                    <a:lnTo>
                      <a:pt x="1292" y="877"/>
                    </a:lnTo>
                    <a:lnTo>
                      <a:pt x="1287" y="868"/>
                    </a:lnTo>
                    <a:lnTo>
                      <a:pt x="1283" y="859"/>
                    </a:lnTo>
                    <a:lnTo>
                      <a:pt x="1278" y="859"/>
                    </a:lnTo>
                    <a:lnTo>
                      <a:pt x="1274" y="859"/>
                    </a:lnTo>
                    <a:lnTo>
                      <a:pt x="1274" y="859"/>
                    </a:lnTo>
                    <a:lnTo>
                      <a:pt x="1274" y="859"/>
                    </a:lnTo>
                    <a:lnTo>
                      <a:pt x="1274" y="859"/>
                    </a:lnTo>
                    <a:lnTo>
                      <a:pt x="1274" y="859"/>
                    </a:lnTo>
                    <a:lnTo>
                      <a:pt x="1274" y="859"/>
                    </a:lnTo>
                    <a:lnTo>
                      <a:pt x="1269" y="859"/>
                    </a:lnTo>
                    <a:lnTo>
                      <a:pt x="1265" y="864"/>
                    </a:lnTo>
                    <a:lnTo>
                      <a:pt x="1265" y="864"/>
                    </a:lnTo>
                    <a:lnTo>
                      <a:pt x="1260" y="864"/>
                    </a:lnTo>
                    <a:lnTo>
                      <a:pt x="1260" y="864"/>
                    </a:lnTo>
                    <a:lnTo>
                      <a:pt x="1260" y="864"/>
                    </a:lnTo>
                    <a:lnTo>
                      <a:pt x="1256" y="864"/>
                    </a:lnTo>
                    <a:lnTo>
                      <a:pt x="1256" y="864"/>
                    </a:lnTo>
                    <a:lnTo>
                      <a:pt x="1256" y="864"/>
                    </a:lnTo>
                    <a:lnTo>
                      <a:pt x="1256" y="859"/>
                    </a:lnTo>
                    <a:lnTo>
                      <a:pt x="1256" y="864"/>
                    </a:lnTo>
                    <a:lnTo>
                      <a:pt x="1256" y="864"/>
                    </a:lnTo>
                    <a:lnTo>
                      <a:pt x="1256" y="864"/>
                    </a:lnTo>
                    <a:lnTo>
                      <a:pt x="1256" y="864"/>
                    </a:lnTo>
                    <a:lnTo>
                      <a:pt x="1256" y="859"/>
                    </a:lnTo>
                    <a:lnTo>
                      <a:pt x="1256" y="859"/>
                    </a:lnTo>
                    <a:lnTo>
                      <a:pt x="1251" y="855"/>
                    </a:lnTo>
                    <a:lnTo>
                      <a:pt x="1256" y="855"/>
                    </a:lnTo>
                    <a:lnTo>
                      <a:pt x="1256" y="855"/>
                    </a:lnTo>
                    <a:lnTo>
                      <a:pt x="1256" y="855"/>
                    </a:lnTo>
                    <a:lnTo>
                      <a:pt x="1256" y="855"/>
                    </a:lnTo>
                    <a:lnTo>
                      <a:pt x="1256" y="850"/>
                    </a:lnTo>
                    <a:lnTo>
                      <a:pt x="1256" y="850"/>
                    </a:lnTo>
                    <a:lnTo>
                      <a:pt x="1251" y="855"/>
                    </a:lnTo>
                    <a:lnTo>
                      <a:pt x="1251" y="855"/>
                    </a:lnTo>
                    <a:lnTo>
                      <a:pt x="1251" y="855"/>
                    </a:lnTo>
                    <a:lnTo>
                      <a:pt x="1251" y="855"/>
                    </a:lnTo>
                    <a:lnTo>
                      <a:pt x="1251" y="855"/>
                    </a:lnTo>
                    <a:lnTo>
                      <a:pt x="1247" y="850"/>
                    </a:lnTo>
                    <a:lnTo>
                      <a:pt x="1242" y="850"/>
                    </a:lnTo>
                    <a:lnTo>
                      <a:pt x="1247" y="850"/>
                    </a:lnTo>
                    <a:lnTo>
                      <a:pt x="1247" y="850"/>
                    </a:lnTo>
                    <a:lnTo>
                      <a:pt x="1247" y="850"/>
                    </a:lnTo>
                    <a:lnTo>
                      <a:pt x="1247" y="850"/>
                    </a:lnTo>
                    <a:lnTo>
                      <a:pt x="1247" y="846"/>
                    </a:lnTo>
                    <a:lnTo>
                      <a:pt x="1247" y="846"/>
                    </a:lnTo>
                    <a:lnTo>
                      <a:pt x="1242" y="846"/>
                    </a:lnTo>
                    <a:lnTo>
                      <a:pt x="1242" y="850"/>
                    </a:lnTo>
                    <a:lnTo>
                      <a:pt x="1242" y="850"/>
                    </a:lnTo>
                    <a:lnTo>
                      <a:pt x="1237" y="850"/>
                    </a:lnTo>
                    <a:lnTo>
                      <a:pt x="1233" y="850"/>
                    </a:lnTo>
                    <a:lnTo>
                      <a:pt x="1228" y="850"/>
                    </a:lnTo>
                    <a:lnTo>
                      <a:pt x="1233" y="850"/>
                    </a:lnTo>
                    <a:lnTo>
                      <a:pt x="1233" y="850"/>
                    </a:lnTo>
                    <a:lnTo>
                      <a:pt x="1233" y="850"/>
                    </a:lnTo>
                    <a:lnTo>
                      <a:pt x="1233" y="846"/>
                    </a:lnTo>
                    <a:lnTo>
                      <a:pt x="1233" y="846"/>
                    </a:lnTo>
                    <a:lnTo>
                      <a:pt x="1233" y="846"/>
                    </a:lnTo>
                    <a:lnTo>
                      <a:pt x="1233" y="846"/>
                    </a:lnTo>
                    <a:lnTo>
                      <a:pt x="1233" y="846"/>
                    </a:lnTo>
                    <a:lnTo>
                      <a:pt x="1233" y="846"/>
                    </a:lnTo>
                    <a:lnTo>
                      <a:pt x="1233" y="846"/>
                    </a:lnTo>
                    <a:lnTo>
                      <a:pt x="1228" y="850"/>
                    </a:lnTo>
                    <a:lnTo>
                      <a:pt x="1228" y="850"/>
                    </a:lnTo>
                    <a:lnTo>
                      <a:pt x="1224" y="850"/>
                    </a:lnTo>
                    <a:lnTo>
                      <a:pt x="1224" y="850"/>
                    </a:lnTo>
                    <a:lnTo>
                      <a:pt x="1228" y="850"/>
                    </a:lnTo>
                    <a:lnTo>
                      <a:pt x="1228" y="850"/>
                    </a:lnTo>
                    <a:lnTo>
                      <a:pt x="1224" y="850"/>
                    </a:lnTo>
                    <a:lnTo>
                      <a:pt x="1224" y="850"/>
                    </a:lnTo>
                    <a:lnTo>
                      <a:pt x="1215" y="850"/>
                    </a:lnTo>
                    <a:lnTo>
                      <a:pt x="1215" y="850"/>
                    </a:lnTo>
                    <a:lnTo>
                      <a:pt x="1219" y="850"/>
                    </a:lnTo>
                    <a:lnTo>
                      <a:pt x="1219" y="850"/>
                    </a:lnTo>
                    <a:lnTo>
                      <a:pt x="1219" y="850"/>
                    </a:lnTo>
                    <a:lnTo>
                      <a:pt x="1219" y="850"/>
                    </a:lnTo>
                    <a:lnTo>
                      <a:pt x="1219" y="850"/>
                    </a:lnTo>
                    <a:lnTo>
                      <a:pt x="1219" y="846"/>
                    </a:lnTo>
                    <a:lnTo>
                      <a:pt x="1219" y="846"/>
                    </a:lnTo>
                    <a:lnTo>
                      <a:pt x="1219" y="846"/>
                    </a:lnTo>
                    <a:lnTo>
                      <a:pt x="1219" y="841"/>
                    </a:lnTo>
                    <a:lnTo>
                      <a:pt x="1219" y="841"/>
                    </a:lnTo>
                    <a:lnTo>
                      <a:pt x="1219" y="846"/>
                    </a:lnTo>
                    <a:lnTo>
                      <a:pt x="1215" y="846"/>
                    </a:lnTo>
                    <a:lnTo>
                      <a:pt x="1215" y="850"/>
                    </a:lnTo>
                    <a:lnTo>
                      <a:pt x="1215" y="850"/>
                    </a:lnTo>
                    <a:lnTo>
                      <a:pt x="1210" y="850"/>
                    </a:lnTo>
                    <a:lnTo>
                      <a:pt x="1206" y="850"/>
                    </a:lnTo>
                    <a:lnTo>
                      <a:pt x="1206" y="846"/>
                    </a:lnTo>
                    <a:lnTo>
                      <a:pt x="1206" y="846"/>
                    </a:lnTo>
                    <a:lnTo>
                      <a:pt x="1201" y="846"/>
                    </a:lnTo>
                    <a:lnTo>
                      <a:pt x="1201" y="850"/>
                    </a:lnTo>
                    <a:lnTo>
                      <a:pt x="1197" y="850"/>
                    </a:lnTo>
                    <a:lnTo>
                      <a:pt x="1197" y="850"/>
                    </a:lnTo>
                    <a:lnTo>
                      <a:pt x="1197" y="850"/>
                    </a:lnTo>
                    <a:lnTo>
                      <a:pt x="1192" y="850"/>
                    </a:lnTo>
                    <a:lnTo>
                      <a:pt x="1192" y="850"/>
                    </a:lnTo>
                    <a:lnTo>
                      <a:pt x="1183" y="850"/>
                    </a:lnTo>
                    <a:lnTo>
                      <a:pt x="1183" y="846"/>
                    </a:lnTo>
                    <a:lnTo>
                      <a:pt x="1183" y="846"/>
                    </a:lnTo>
                    <a:lnTo>
                      <a:pt x="1183" y="846"/>
                    </a:lnTo>
                    <a:lnTo>
                      <a:pt x="1179" y="850"/>
                    </a:lnTo>
                    <a:lnTo>
                      <a:pt x="1179" y="850"/>
                    </a:lnTo>
                    <a:lnTo>
                      <a:pt x="1179" y="855"/>
                    </a:lnTo>
                    <a:lnTo>
                      <a:pt x="1179" y="855"/>
                    </a:lnTo>
                    <a:lnTo>
                      <a:pt x="1183" y="855"/>
                    </a:lnTo>
                    <a:lnTo>
                      <a:pt x="1183" y="850"/>
                    </a:lnTo>
                    <a:lnTo>
                      <a:pt x="1188" y="850"/>
                    </a:lnTo>
                    <a:lnTo>
                      <a:pt x="1188" y="850"/>
                    </a:lnTo>
                    <a:lnTo>
                      <a:pt x="1188" y="850"/>
                    </a:lnTo>
                    <a:lnTo>
                      <a:pt x="1188" y="850"/>
                    </a:lnTo>
                    <a:lnTo>
                      <a:pt x="1188" y="855"/>
                    </a:lnTo>
                    <a:lnTo>
                      <a:pt x="1188" y="855"/>
                    </a:lnTo>
                    <a:lnTo>
                      <a:pt x="1188" y="855"/>
                    </a:lnTo>
                    <a:lnTo>
                      <a:pt x="1183" y="855"/>
                    </a:lnTo>
                    <a:lnTo>
                      <a:pt x="1188" y="855"/>
                    </a:lnTo>
                    <a:lnTo>
                      <a:pt x="1188" y="855"/>
                    </a:lnTo>
                    <a:lnTo>
                      <a:pt x="1188" y="855"/>
                    </a:lnTo>
                    <a:lnTo>
                      <a:pt x="1188" y="855"/>
                    </a:lnTo>
                    <a:lnTo>
                      <a:pt x="1192" y="855"/>
                    </a:lnTo>
                    <a:lnTo>
                      <a:pt x="1192" y="855"/>
                    </a:lnTo>
                    <a:lnTo>
                      <a:pt x="1192" y="855"/>
                    </a:lnTo>
                    <a:lnTo>
                      <a:pt x="1192" y="855"/>
                    </a:lnTo>
                    <a:lnTo>
                      <a:pt x="1192" y="855"/>
                    </a:lnTo>
                    <a:lnTo>
                      <a:pt x="1192" y="859"/>
                    </a:lnTo>
                    <a:lnTo>
                      <a:pt x="1192" y="859"/>
                    </a:lnTo>
                    <a:lnTo>
                      <a:pt x="1188" y="859"/>
                    </a:lnTo>
                    <a:lnTo>
                      <a:pt x="1188" y="859"/>
                    </a:lnTo>
                    <a:lnTo>
                      <a:pt x="1188" y="859"/>
                    </a:lnTo>
                    <a:lnTo>
                      <a:pt x="1188" y="859"/>
                    </a:lnTo>
                    <a:lnTo>
                      <a:pt x="1188" y="859"/>
                    </a:lnTo>
                    <a:lnTo>
                      <a:pt x="1188" y="859"/>
                    </a:lnTo>
                    <a:lnTo>
                      <a:pt x="1183" y="859"/>
                    </a:lnTo>
                    <a:lnTo>
                      <a:pt x="1183" y="864"/>
                    </a:lnTo>
                    <a:lnTo>
                      <a:pt x="1183" y="864"/>
                    </a:lnTo>
                    <a:lnTo>
                      <a:pt x="1183" y="864"/>
                    </a:lnTo>
                    <a:lnTo>
                      <a:pt x="1183" y="864"/>
                    </a:lnTo>
                    <a:lnTo>
                      <a:pt x="1188" y="868"/>
                    </a:lnTo>
                    <a:lnTo>
                      <a:pt x="1188" y="868"/>
                    </a:lnTo>
                    <a:lnTo>
                      <a:pt x="1192" y="868"/>
                    </a:lnTo>
                    <a:lnTo>
                      <a:pt x="1192" y="868"/>
                    </a:lnTo>
                    <a:lnTo>
                      <a:pt x="1192" y="873"/>
                    </a:lnTo>
                    <a:lnTo>
                      <a:pt x="1192" y="873"/>
                    </a:lnTo>
                    <a:lnTo>
                      <a:pt x="1192" y="873"/>
                    </a:lnTo>
                    <a:lnTo>
                      <a:pt x="1192" y="873"/>
                    </a:lnTo>
                    <a:lnTo>
                      <a:pt x="1188" y="873"/>
                    </a:lnTo>
                    <a:lnTo>
                      <a:pt x="1188" y="873"/>
                    </a:lnTo>
                    <a:lnTo>
                      <a:pt x="1188" y="873"/>
                    </a:lnTo>
                    <a:lnTo>
                      <a:pt x="1188" y="873"/>
                    </a:lnTo>
                    <a:lnTo>
                      <a:pt x="1188" y="873"/>
                    </a:lnTo>
                    <a:lnTo>
                      <a:pt x="1183" y="877"/>
                    </a:lnTo>
                    <a:lnTo>
                      <a:pt x="1188" y="873"/>
                    </a:lnTo>
                    <a:lnTo>
                      <a:pt x="1188" y="873"/>
                    </a:lnTo>
                    <a:lnTo>
                      <a:pt x="1188" y="873"/>
                    </a:lnTo>
                    <a:lnTo>
                      <a:pt x="1183" y="868"/>
                    </a:lnTo>
                    <a:lnTo>
                      <a:pt x="1183" y="868"/>
                    </a:lnTo>
                    <a:lnTo>
                      <a:pt x="1183" y="868"/>
                    </a:lnTo>
                    <a:lnTo>
                      <a:pt x="1183" y="868"/>
                    </a:lnTo>
                    <a:lnTo>
                      <a:pt x="1183" y="868"/>
                    </a:lnTo>
                    <a:lnTo>
                      <a:pt x="1179" y="868"/>
                    </a:lnTo>
                    <a:lnTo>
                      <a:pt x="1183" y="868"/>
                    </a:lnTo>
                    <a:lnTo>
                      <a:pt x="1183" y="868"/>
                    </a:lnTo>
                    <a:lnTo>
                      <a:pt x="1179" y="864"/>
                    </a:lnTo>
                    <a:lnTo>
                      <a:pt x="1179" y="864"/>
                    </a:lnTo>
                    <a:lnTo>
                      <a:pt x="1174" y="864"/>
                    </a:lnTo>
                    <a:lnTo>
                      <a:pt x="1174" y="864"/>
                    </a:lnTo>
                    <a:lnTo>
                      <a:pt x="1179" y="864"/>
                    </a:lnTo>
                    <a:lnTo>
                      <a:pt x="1179" y="864"/>
                    </a:lnTo>
                    <a:lnTo>
                      <a:pt x="1179" y="868"/>
                    </a:lnTo>
                    <a:lnTo>
                      <a:pt x="1174" y="868"/>
                    </a:lnTo>
                    <a:lnTo>
                      <a:pt x="1174" y="868"/>
                    </a:lnTo>
                    <a:lnTo>
                      <a:pt x="1174" y="873"/>
                    </a:lnTo>
                    <a:lnTo>
                      <a:pt x="1174" y="873"/>
                    </a:lnTo>
                    <a:lnTo>
                      <a:pt x="1174" y="873"/>
                    </a:lnTo>
                    <a:lnTo>
                      <a:pt x="1174" y="873"/>
                    </a:lnTo>
                    <a:lnTo>
                      <a:pt x="1174" y="868"/>
                    </a:lnTo>
                    <a:lnTo>
                      <a:pt x="1170" y="868"/>
                    </a:lnTo>
                    <a:lnTo>
                      <a:pt x="1170" y="868"/>
                    </a:lnTo>
                    <a:lnTo>
                      <a:pt x="1170" y="868"/>
                    </a:lnTo>
                    <a:lnTo>
                      <a:pt x="1165" y="873"/>
                    </a:lnTo>
                    <a:lnTo>
                      <a:pt x="1165" y="873"/>
                    </a:lnTo>
                    <a:lnTo>
                      <a:pt x="1161" y="868"/>
                    </a:lnTo>
                    <a:lnTo>
                      <a:pt x="1156" y="868"/>
                    </a:lnTo>
                    <a:lnTo>
                      <a:pt x="1156" y="868"/>
                    </a:lnTo>
                    <a:lnTo>
                      <a:pt x="1156" y="868"/>
                    </a:lnTo>
                    <a:lnTo>
                      <a:pt x="1161" y="868"/>
                    </a:lnTo>
                    <a:lnTo>
                      <a:pt x="1161" y="868"/>
                    </a:lnTo>
                    <a:lnTo>
                      <a:pt x="1156" y="864"/>
                    </a:lnTo>
                    <a:lnTo>
                      <a:pt x="1161" y="864"/>
                    </a:lnTo>
                    <a:lnTo>
                      <a:pt x="1161" y="864"/>
                    </a:lnTo>
                    <a:lnTo>
                      <a:pt x="1161" y="864"/>
                    </a:lnTo>
                    <a:lnTo>
                      <a:pt x="1156" y="864"/>
                    </a:lnTo>
                    <a:lnTo>
                      <a:pt x="1156" y="864"/>
                    </a:lnTo>
                    <a:lnTo>
                      <a:pt x="1156" y="859"/>
                    </a:lnTo>
                    <a:lnTo>
                      <a:pt x="1152" y="859"/>
                    </a:lnTo>
                    <a:lnTo>
                      <a:pt x="1152" y="859"/>
                    </a:lnTo>
                    <a:lnTo>
                      <a:pt x="1152" y="855"/>
                    </a:lnTo>
                    <a:lnTo>
                      <a:pt x="1147" y="859"/>
                    </a:lnTo>
                    <a:lnTo>
                      <a:pt x="1147" y="859"/>
                    </a:lnTo>
                    <a:lnTo>
                      <a:pt x="1147" y="859"/>
                    </a:lnTo>
                    <a:lnTo>
                      <a:pt x="1147" y="859"/>
                    </a:lnTo>
                    <a:lnTo>
                      <a:pt x="1147" y="859"/>
                    </a:lnTo>
                    <a:lnTo>
                      <a:pt x="1147" y="859"/>
                    </a:lnTo>
                    <a:lnTo>
                      <a:pt x="1143" y="864"/>
                    </a:lnTo>
                    <a:lnTo>
                      <a:pt x="1138" y="859"/>
                    </a:lnTo>
                    <a:lnTo>
                      <a:pt x="1134" y="859"/>
                    </a:lnTo>
                    <a:lnTo>
                      <a:pt x="1134" y="859"/>
                    </a:lnTo>
                    <a:lnTo>
                      <a:pt x="1129" y="855"/>
                    </a:lnTo>
                    <a:lnTo>
                      <a:pt x="1129" y="855"/>
                    </a:lnTo>
                    <a:lnTo>
                      <a:pt x="1125" y="855"/>
                    </a:lnTo>
                    <a:lnTo>
                      <a:pt x="1120" y="855"/>
                    </a:lnTo>
                    <a:lnTo>
                      <a:pt x="1120" y="855"/>
                    </a:lnTo>
                    <a:lnTo>
                      <a:pt x="1120" y="859"/>
                    </a:lnTo>
                    <a:lnTo>
                      <a:pt x="1120" y="855"/>
                    </a:lnTo>
                    <a:lnTo>
                      <a:pt x="1120" y="855"/>
                    </a:lnTo>
                    <a:lnTo>
                      <a:pt x="1120" y="855"/>
                    </a:lnTo>
                    <a:lnTo>
                      <a:pt x="1120" y="855"/>
                    </a:lnTo>
                    <a:lnTo>
                      <a:pt x="1120" y="855"/>
                    </a:lnTo>
                    <a:lnTo>
                      <a:pt x="1120" y="855"/>
                    </a:lnTo>
                    <a:lnTo>
                      <a:pt x="1120" y="850"/>
                    </a:lnTo>
                    <a:lnTo>
                      <a:pt x="1120" y="850"/>
                    </a:lnTo>
                    <a:lnTo>
                      <a:pt x="1116" y="855"/>
                    </a:lnTo>
                    <a:lnTo>
                      <a:pt x="1116" y="859"/>
                    </a:lnTo>
                    <a:lnTo>
                      <a:pt x="1116" y="859"/>
                    </a:lnTo>
                    <a:lnTo>
                      <a:pt x="1116" y="859"/>
                    </a:lnTo>
                    <a:lnTo>
                      <a:pt x="1106" y="859"/>
                    </a:lnTo>
                    <a:lnTo>
                      <a:pt x="1102" y="864"/>
                    </a:lnTo>
                    <a:lnTo>
                      <a:pt x="1102" y="864"/>
                    </a:lnTo>
                    <a:lnTo>
                      <a:pt x="1106" y="859"/>
                    </a:lnTo>
                    <a:lnTo>
                      <a:pt x="1106" y="859"/>
                    </a:lnTo>
                    <a:lnTo>
                      <a:pt x="1102" y="859"/>
                    </a:lnTo>
                    <a:lnTo>
                      <a:pt x="1102" y="859"/>
                    </a:lnTo>
                    <a:lnTo>
                      <a:pt x="1102" y="859"/>
                    </a:lnTo>
                    <a:lnTo>
                      <a:pt x="1102" y="855"/>
                    </a:lnTo>
                    <a:lnTo>
                      <a:pt x="1102" y="855"/>
                    </a:lnTo>
                    <a:lnTo>
                      <a:pt x="1102" y="859"/>
                    </a:lnTo>
                    <a:lnTo>
                      <a:pt x="1102" y="859"/>
                    </a:lnTo>
                    <a:lnTo>
                      <a:pt x="1102" y="855"/>
                    </a:lnTo>
                    <a:lnTo>
                      <a:pt x="1097" y="855"/>
                    </a:lnTo>
                    <a:lnTo>
                      <a:pt x="1097" y="859"/>
                    </a:lnTo>
                    <a:lnTo>
                      <a:pt x="1097" y="859"/>
                    </a:lnTo>
                    <a:lnTo>
                      <a:pt x="1097" y="864"/>
                    </a:lnTo>
                    <a:lnTo>
                      <a:pt x="1097" y="864"/>
                    </a:lnTo>
                    <a:lnTo>
                      <a:pt x="1093" y="868"/>
                    </a:lnTo>
                    <a:lnTo>
                      <a:pt x="1093" y="868"/>
                    </a:lnTo>
                    <a:lnTo>
                      <a:pt x="1088" y="873"/>
                    </a:lnTo>
                    <a:lnTo>
                      <a:pt x="1088" y="873"/>
                    </a:lnTo>
                    <a:lnTo>
                      <a:pt x="1079" y="873"/>
                    </a:lnTo>
                    <a:lnTo>
                      <a:pt x="1079" y="877"/>
                    </a:lnTo>
                    <a:lnTo>
                      <a:pt x="1079" y="877"/>
                    </a:lnTo>
                    <a:lnTo>
                      <a:pt x="1075" y="877"/>
                    </a:lnTo>
                    <a:lnTo>
                      <a:pt x="1070" y="877"/>
                    </a:lnTo>
                    <a:lnTo>
                      <a:pt x="1070" y="882"/>
                    </a:lnTo>
                    <a:lnTo>
                      <a:pt x="1070" y="877"/>
                    </a:lnTo>
                    <a:lnTo>
                      <a:pt x="1075" y="877"/>
                    </a:lnTo>
                    <a:lnTo>
                      <a:pt x="1075" y="877"/>
                    </a:lnTo>
                    <a:lnTo>
                      <a:pt x="1070" y="877"/>
                    </a:lnTo>
                    <a:lnTo>
                      <a:pt x="1070" y="877"/>
                    </a:lnTo>
                    <a:lnTo>
                      <a:pt x="1070" y="877"/>
                    </a:lnTo>
                    <a:lnTo>
                      <a:pt x="1066" y="877"/>
                    </a:lnTo>
                    <a:lnTo>
                      <a:pt x="1066" y="877"/>
                    </a:lnTo>
                    <a:lnTo>
                      <a:pt x="1066" y="877"/>
                    </a:lnTo>
                    <a:lnTo>
                      <a:pt x="1066" y="873"/>
                    </a:lnTo>
                    <a:lnTo>
                      <a:pt x="1066" y="873"/>
                    </a:lnTo>
                    <a:lnTo>
                      <a:pt x="1066" y="873"/>
                    </a:lnTo>
                    <a:lnTo>
                      <a:pt x="1066" y="877"/>
                    </a:lnTo>
                    <a:lnTo>
                      <a:pt x="1066" y="882"/>
                    </a:lnTo>
                    <a:lnTo>
                      <a:pt x="1066" y="882"/>
                    </a:lnTo>
                    <a:lnTo>
                      <a:pt x="1066" y="882"/>
                    </a:lnTo>
                    <a:lnTo>
                      <a:pt x="1066" y="882"/>
                    </a:lnTo>
                    <a:lnTo>
                      <a:pt x="1061" y="882"/>
                    </a:lnTo>
                    <a:lnTo>
                      <a:pt x="1061" y="882"/>
                    </a:lnTo>
                    <a:lnTo>
                      <a:pt x="1061" y="882"/>
                    </a:lnTo>
                    <a:lnTo>
                      <a:pt x="1057" y="886"/>
                    </a:lnTo>
                    <a:lnTo>
                      <a:pt x="1057" y="886"/>
                    </a:lnTo>
                    <a:lnTo>
                      <a:pt x="1057" y="886"/>
                    </a:lnTo>
                    <a:lnTo>
                      <a:pt x="1057" y="886"/>
                    </a:lnTo>
                    <a:lnTo>
                      <a:pt x="1057" y="886"/>
                    </a:lnTo>
                    <a:lnTo>
                      <a:pt x="1057" y="886"/>
                    </a:lnTo>
                    <a:lnTo>
                      <a:pt x="1057" y="886"/>
                    </a:lnTo>
                    <a:lnTo>
                      <a:pt x="1052" y="886"/>
                    </a:lnTo>
                    <a:lnTo>
                      <a:pt x="1052" y="886"/>
                    </a:lnTo>
                    <a:lnTo>
                      <a:pt x="1052" y="886"/>
                    </a:lnTo>
                    <a:lnTo>
                      <a:pt x="1052" y="886"/>
                    </a:lnTo>
                    <a:lnTo>
                      <a:pt x="1052" y="886"/>
                    </a:lnTo>
                    <a:lnTo>
                      <a:pt x="1052" y="891"/>
                    </a:lnTo>
                    <a:lnTo>
                      <a:pt x="1052" y="891"/>
                    </a:lnTo>
                    <a:lnTo>
                      <a:pt x="1048" y="891"/>
                    </a:lnTo>
                    <a:lnTo>
                      <a:pt x="1048" y="891"/>
                    </a:lnTo>
                    <a:lnTo>
                      <a:pt x="1048" y="891"/>
                    </a:lnTo>
                    <a:lnTo>
                      <a:pt x="1048" y="891"/>
                    </a:lnTo>
                    <a:lnTo>
                      <a:pt x="1048" y="895"/>
                    </a:lnTo>
                    <a:lnTo>
                      <a:pt x="1043" y="900"/>
                    </a:lnTo>
                    <a:lnTo>
                      <a:pt x="1043" y="900"/>
                    </a:lnTo>
                    <a:lnTo>
                      <a:pt x="1043" y="900"/>
                    </a:lnTo>
                    <a:lnTo>
                      <a:pt x="1039" y="900"/>
                    </a:lnTo>
                    <a:lnTo>
                      <a:pt x="1039" y="900"/>
                    </a:lnTo>
                    <a:lnTo>
                      <a:pt x="1039" y="900"/>
                    </a:lnTo>
                    <a:lnTo>
                      <a:pt x="1039" y="904"/>
                    </a:lnTo>
                    <a:lnTo>
                      <a:pt x="1039" y="904"/>
                    </a:lnTo>
                    <a:lnTo>
                      <a:pt x="1039" y="904"/>
                    </a:lnTo>
                    <a:lnTo>
                      <a:pt x="1039" y="904"/>
                    </a:lnTo>
                    <a:lnTo>
                      <a:pt x="1039" y="909"/>
                    </a:lnTo>
                    <a:lnTo>
                      <a:pt x="1039" y="909"/>
                    </a:lnTo>
                    <a:lnTo>
                      <a:pt x="1039" y="909"/>
                    </a:lnTo>
                    <a:lnTo>
                      <a:pt x="1039" y="913"/>
                    </a:lnTo>
                    <a:lnTo>
                      <a:pt x="1039" y="913"/>
                    </a:lnTo>
                    <a:lnTo>
                      <a:pt x="1034" y="918"/>
                    </a:lnTo>
                    <a:lnTo>
                      <a:pt x="1034" y="922"/>
                    </a:lnTo>
                    <a:lnTo>
                      <a:pt x="1039" y="927"/>
                    </a:lnTo>
                    <a:lnTo>
                      <a:pt x="1039" y="927"/>
                    </a:lnTo>
                    <a:lnTo>
                      <a:pt x="1039" y="927"/>
                    </a:lnTo>
                    <a:lnTo>
                      <a:pt x="1039" y="932"/>
                    </a:lnTo>
                    <a:lnTo>
                      <a:pt x="1034" y="932"/>
                    </a:lnTo>
                    <a:lnTo>
                      <a:pt x="1034" y="932"/>
                    </a:lnTo>
                    <a:lnTo>
                      <a:pt x="1034" y="932"/>
                    </a:lnTo>
                    <a:lnTo>
                      <a:pt x="1034" y="932"/>
                    </a:lnTo>
                    <a:lnTo>
                      <a:pt x="1034" y="932"/>
                    </a:lnTo>
                    <a:lnTo>
                      <a:pt x="1030" y="932"/>
                    </a:lnTo>
                    <a:lnTo>
                      <a:pt x="1030" y="927"/>
                    </a:lnTo>
                    <a:lnTo>
                      <a:pt x="1025" y="927"/>
                    </a:lnTo>
                    <a:lnTo>
                      <a:pt x="1021" y="927"/>
                    </a:lnTo>
                    <a:lnTo>
                      <a:pt x="1021" y="927"/>
                    </a:lnTo>
                    <a:lnTo>
                      <a:pt x="1021" y="922"/>
                    </a:lnTo>
                    <a:lnTo>
                      <a:pt x="1016" y="922"/>
                    </a:lnTo>
                    <a:lnTo>
                      <a:pt x="1016" y="922"/>
                    </a:lnTo>
                    <a:lnTo>
                      <a:pt x="1016" y="922"/>
                    </a:lnTo>
                    <a:lnTo>
                      <a:pt x="1012" y="922"/>
                    </a:lnTo>
                    <a:lnTo>
                      <a:pt x="1012" y="918"/>
                    </a:lnTo>
                    <a:lnTo>
                      <a:pt x="1012" y="918"/>
                    </a:lnTo>
                    <a:lnTo>
                      <a:pt x="1007" y="918"/>
                    </a:lnTo>
                    <a:lnTo>
                      <a:pt x="1007" y="918"/>
                    </a:lnTo>
                    <a:lnTo>
                      <a:pt x="1007" y="913"/>
                    </a:lnTo>
                    <a:lnTo>
                      <a:pt x="1007" y="913"/>
                    </a:lnTo>
                    <a:lnTo>
                      <a:pt x="1007" y="909"/>
                    </a:lnTo>
                    <a:lnTo>
                      <a:pt x="1007" y="904"/>
                    </a:lnTo>
                    <a:lnTo>
                      <a:pt x="1007" y="904"/>
                    </a:lnTo>
                    <a:lnTo>
                      <a:pt x="1007" y="904"/>
                    </a:lnTo>
                    <a:lnTo>
                      <a:pt x="1007" y="904"/>
                    </a:lnTo>
                    <a:lnTo>
                      <a:pt x="1007" y="904"/>
                    </a:lnTo>
                    <a:lnTo>
                      <a:pt x="1007" y="900"/>
                    </a:lnTo>
                    <a:lnTo>
                      <a:pt x="1007" y="900"/>
                    </a:lnTo>
                    <a:lnTo>
                      <a:pt x="1007" y="900"/>
                    </a:lnTo>
                    <a:lnTo>
                      <a:pt x="1007" y="900"/>
                    </a:lnTo>
                    <a:lnTo>
                      <a:pt x="1012" y="895"/>
                    </a:lnTo>
                    <a:lnTo>
                      <a:pt x="1012" y="895"/>
                    </a:lnTo>
                    <a:lnTo>
                      <a:pt x="1007" y="895"/>
                    </a:lnTo>
                    <a:lnTo>
                      <a:pt x="1007" y="891"/>
                    </a:lnTo>
                    <a:lnTo>
                      <a:pt x="1007" y="891"/>
                    </a:lnTo>
                    <a:lnTo>
                      <a:pt x="1007" y="886"/>
                    </a:lnTo>
                    <a:lnTo>
                      <a:pt x="1007" y="882"/>
                    </a:lnTo>
                    <a:lnTo>
                      <a:pt x="1003" y="882"/>
                    </a:lnTo>
                    <a:lnTo>
                      <a:pt x="1003" y="877"/>
                    </a:lnTo>
                    <a:lnTo>
                      <a:pt x="1003" y="877"/>
                    </a:lnTo>
                    <a:lnTo>
                      <a:pt x="1003" y="877"/>
                    </a:lnTo>
                    <a:lnTo>
                      <a:pt x="1003" y="877"/>
                    </a:lnTo>
                    <a:lnTo>
                      <a:pt x="1003" y="873"/>
                    </a:lnTo>
                    <a:lnTo>
                      <a:pt x="1003" y="868"/>
                    </a:lnTo>
                    <a:lnTo>
                      <a:pt x="1003" y="868"/>
                    </a:lnTo>
                    <a:lnTo>
                      <a:pt x="1003" y="864"/>
                    </a:lnTo>
                    <a:lnTo>
                      <a:pt x="1003" y="864"/>
                    </a:lnTo>
                    <a:lnTo>
                      <a:pt x="1003" y="859"/>
                    </a:lnTo>
                    <a:lnTo>
                      <a:pt x="998" y="859"/>
                    </a:lnTo>
                    <a:lnTo>
                      <a:pt x="998" y="855"/>
                    </a:lnTo>
                    <a:lnTo>
                      <a:pt x="998" y="855"/>
                    </a:lnTo>
                    <a:lnTo>
                      <a:pt x="998" y="855"/>
                    </a:lnTo>
                    <a:lnTo>
                      <a:pt x="998" y="850"/>
                    </a:lnTo>
                    <a:lnTo>
                      <a:pt x="998" y="850"/>
                    </a:lnTo>
                    <a:lnTo>
                      <a:pt x="994" y="850"/>
                    </a:lnTo>
                    <a:lnTo>
                      <a:pt x="994" y="850"/>
                    </a:lnTo>
                    <a:lnTo>
                      <a:pt x="994" y="850"/>
                    </a:lnTo>
                    <a:lnTo>
                      <a:pt x="994" y="850"/>
                    </a:lnTo>
                    <a:lnTo>
                      <a:pt x="994" y="850"/>
                    </a:lnTo>
                    <a:lnTo>
                      <a:pt x="994" y="850"/>
                    </a:lnTo>
                    <a:lnTo>
                      <a:pt x="989" y="850"/>
                    </a:lnTo>
                    <a:lnTo>
                      <a:pt x="985" y="846"/>
                    </a:lnTo>
                    <a:lnTo>
                      <a:pt x="985" y="846"/>
                    </a:lnTo>
                    <a:lnTo>
                      <a:pt x="985" y="846"/>
                    </a:lnTo>
                    <a:lnTo>
                      <a:pt x="980" y="850"/>
                    </a:lnTo>
                    <a:lnTo>
                      <a:pt x="980" y="850"/>
                    </a:lnTo>
                    <a:lnTo>
                      <a:pt x="975" y="850"/>
                    </a:lnTo>
                    <a:lnTo>
                      <a:pt x="975" y="850"/>
                    </a:lnTo>
                    <a:lnTo>
                      <a:pt x="971" y="855"/>
                    </a:lnTo>
                    <a:lnTo>
                      <a:pt x="971" y="859"/>
                    </a:lnTo>
                    <a:lnTo>
                      <a:pt x="971" y="859"/>
                    </a:lnTo>
                    <a:lnTo>
                      <a:pt x="966" y="859"/>
                    </a:lnTo>
                    <a:lnTo>
                      <a:pt x="966" y="859"/>
                    </a:lnTo>
                    <a:lnTo>
                      <a:pt x="966" y="859"/>
                    </a:lnTo>
                    <a:lnTo>
                      <a:pt x="962" y="864"/>
                    </a:lnTo>
                    <a:lnTo>
                      <a:pt x="962" y="864"/>
                    </a:lnTo>
                    <a:lnTo>
                      <a:pt x="962" y="864"/>
                    </a:lnTo>
                    <a:lnTo>
                      <a:pt x="957" y="864"/>
                    </a:lnTo>
                    <a:lnTo>
                      <a:pt x="957" y="859"/>
                    </a:lnTo>
                    <a:lnTo>
                      <a:pt x="953" y="859"/>
                    </a:lnTo>
                    <a:lnTo>
                      <a:pt x="953" y="855"/>
                    </a:lnTo>
                    <a:lnTo>
                      <a:pt x="948" y="855"/>
                    </a:lnTo>
                    <a:lnTo>
                      <a:pt x="948" y="855"/>
                    </a:lnTo>
                    <a:lnTo>
                      <a:pt x="948" y="850"/>
                    </a:lnTo>
                    <a:lnTo>
                      <a:pt x="948" y="850"/>
                    </a:lnTo>
                    <a:lnTo>
                      <a:pt x="948" y="850"/>
                    </a:lnTo>
                    <a:lnTo>
                      <a:pt x="944" y="846"/>
                    </a:lnTo>
                    <a:lnTo>
                      <a:pt x="948" y="841"/>
                    </a:lnTo>
                    <a:lnTo>
                      <a:pt x="948" y="841"/>
                    </a:lnTo>
                    <a:lnTo>
                      <a:pt x="948" y="832"/>
                    </a:lnTo>
                    <a:lnTo>
                      <a:pt x="948" y="832"/>
                    </a:lnTo>
                    <a:lnTo>
                      <a:pt x="948" y="828"/>
                    </a:lnTo>
                    <a:lnTo>
                      <a:pt x="944" y="828"/>
                    </a:lnTo>
                    <a:lnTo>
                      <a:pt x="944" y="828"/>
                    </a:lnTo>
                    <a:lnTo>
                      <a:pt x="944" y="823"/>
                    </a:lnTo>
                    <a:lnTo>
                      <a:pt x="939" y="814"/>
                    </a:lnTo>
                    <a:lnTo>
                      <a:pt x="939" y="814"/>
                    </a:lnTo>
                    <a:lnTo>
                      <a:pt x="935" y="809"/>
                    </a:lnTo>
                    <a:lnTo>
                      <a:pt x="935" y="809"/>
                    </a:lnTo>
                    <a:lnTo>
                      <a:pt x="935" y="805"/>
                    </a:lnTo>
                    <a:lnTo>
                      <a:pt x="935" y="805"/>
                    </a:lnTo>
                    <a:lnTo>
                      <a:pt x="935" y="805"/>
                    </a:lnTo>
                    <a:lnTo>
                      <a:pt x="935" y="805"/>
                    </a:lnTo>
                    <a:lnTo>
                      <a:pt x="930" y="805"/>
                    </a:lnTo>
                    <a:lnTo>
                      <a:pt x="926" y="805"/>
                    </a:lnTo>
                    <a:lnTo>
                      <a:pt x="926" y="805"/>
                    </a:lnTo>
                    <a:lnTo>
                      <a:pt x="921" y="805"/>
                    </a:lnTo>
                    <a:lnTo>
                      <a:pt x="917" y="805"/>
                    </a:lnTo>
                    <a:lnTo>
                      <a:pt x="912" y="805"/>
                    </a:lnTo>
                    <a:lnTo>
                      <a:pt x="908" y="805"/>
                    </a:lnTo>
                    <a:lnTo>
                      <a:pt x="908" y="805"/>
                    </a:lnTo>
                    <a:lnTo>
                      <a:pt x="903" y="805"/>
                    </a:lnTo>
                    <a:lnTo>
                      <a:pt x="903" y="809"/>
                    </a:lnTo>
                    <a:lnTo>
                      <a:pt x="903" y="809"/>
                    </a:lnTo>
                    <a:lnTo>
                      <a:pt x="903" y="814"/>
                    </a:lnTo>
                    <a:lnTo>
                      <a:pt x="899" y="809"/>
                    </a:lnTo>
                    <a:lnTo>
                      <a:pt x="890" y="809"/>
                    </a:lnTo>
                    <a:lnTo>
                      <a:pt x="885" y="809"/>
                    </a:lnTo>
                    <a:lnTo>
                      <a:pt x="881" y="809"/>
                    </a:lnTo>
                    <a:lnTo>
                      <a:pt x="876" y="809"/>
                    </a:lnTo>
                    <a:lnTo>
                      <a:pt x="867" y="809"/>
                    </a:lnTo>
                    <a:lnTo>
                      <a:pt x="863" y="809"/>
                    </a:lnTo>
                    <a:lnTo>
                      <a:pt x="858" y="809"/>
                    </a:lnTo>
                    <a:lnTo>
                      <a:pt x="849" y="805"/>
                    </a:lnTo>
                    <a:lnTo>
                      <a:pt x="844" y="800"/>
                    </a:lnTo>
                    <a:lnTo>
                      <a:pt x="840" y="800"/>
                    </a:lnTo>
                    <a:lnTo>
                      <a:pt x="835" y="796"/>
                    </a:lnTo>
                    <a:lnTo>
                      <a:pt x="826" y="791"/>
                    </a:lnTo>
                    <a:lnTo>
                      <a:pt x="822" y="787"/>
                    </a:lnTo>
                    <a:lnTo>
                      <a:pt x="817" y="787"/>
                    </a:lnTo>
                    <a:lnTo>
                      <a:pt x="808" y="782"/>
                    </a:lnTo>
                    <a:lnTo>
                      <a:pt x="813" y="778"/>
                    </a:lnTo>
                    <a:lnTo>
                      <a:pt x="813" y="778"/>
                    </a:lnTo>
                    <a:lnTo>
                      <a:pt x="813" y="778"/>
                    </a:lnTo>
                    <a:lnTo>
                      <a:pt x="808" y="778"/>
                    </a:lnTo>
                    <a:lnTo>
                      <a:pt x="804" y="778"/>
                    </a:lnTo>
                    <a:lnTo>
                      <a:pt x="799" y="778"/>
                    </a:lnTo>
                    <a:lnTo>
                      <a:pt x="795" y="778"/>
                    </a:lnTo>
                    <a:lnTo>
                      <a:pt x="790" y="778"/>
                    </a:lnTo>
                    <a:lnTo>
                      <a:pt x="781" y="778"/>
                    </a:lnTo>
                    <a:lnTo>
                      <a:pt x="777" y="778"/>
                    </a:lnTo>
                    <a:lnTo>
                      <a:pt x="772" y="778"/>
                    </a:lnTo>
                    <a:lnTo>
                      <a:pt x="772" y="778"/>
                    </a:lnTo>
                    <a:lnTo>
                      <a:pt x="777" y="778"/>
                    </a:lnTo>
                    <a:lnTo>
                      <a:pt x="777" y="773"/>
                    </a:lnTo>
                    <a:lnTo>
                      <a:pt x="772" y="773"/>
                    </a:lnTo>
                    <a:lnTo>
                      <a:pt x="777" y="773"/>
                    </a:lnTo>
                    <a:lnTo>
                      <a:pt x="777" y="769"/>
                    </a:lnTo>
                    <a:lnTo>
                      <a:pt x="777" y="769"/>
                    </a:lnTo>
                    <a:lnTo>
                      <a:pt x="777" y="764"/>
                    </a:lnTo>
                    <a:lnTo>
                      <a:pt x="777" y="764"/>
                    </a:lnTo>
                    <a:lnTo>
                      <a:pt x="777" y="755"/>
                    </a:lnTo>
                    <a:lnTo>
                      <a:pt x="772" y="755"/>
                    </a:lnTo>
                    <a:lnTo>
                      <a:pt x="772" y="751"/>
                    </a:lnTo>
                    <a:lnTo>
                      <a:pt x="772" y="751"/>
                    </a:lnTo>
                    <a:lnTo>
                      <a:pt x="772" y="751"/>
                    </a:lnTo>
                    <a:lnTo>
                      <a:pt x="768" y="751"/>
                    </a:lnTo>
                    <a:lnTo>
                      <a:pt x="768" y="751"/>
                    </a:lnTo>
                    <a:lnTo>
                      <a:pt x="768" y="751"/>
                    </a:lnTo>
                    <a:lnTo>
                      <a:pt x="768" y="746"/>
                    </a:lnTo>
                    <a:lnTo>
                      <a:pt x="768" y="746"/>
                    </a:lnTo>
                    <a:lnTo>
                      <a:pt x="763" y="746"/>
                    </a:lnTo>
                    <a:lnTo>
                      <a:pt x="759" y="742"/>
                    </a:lnTo>
                    <a:lnTo>
                      <a:pt x="759" y="742"/>
                    </a:lnTo>
                    <a:lnTo>
                      <a:pt x="759" y="742"/>
                    </a:lnTo>
                    <a:lnTo>
                      <a:pt x="759" y="737"/>
                    </a:lnTo>
                    <a:lnTo>
                      <a:pt x="759" y="737"/>
                    </a:lnTo>
                    <a:lnTo>
                      <a:pt x="754" y="737"/>
                    </a:lnTo>
                    <a:lnTo>
                      <a:pt x="754" y="737"/>
                    </a:lnTo>
                    <a:lnTo>
                      <a:pt x="750" y="737"/>
                    </a:lnTo>
                    <a:lnTo>
                      <a:pt x="750" y="737"/>
                    </a:lnTo>
                    <a:lnTo>
                      <a:pt x="745" y="737"/>
                    </a:lnTo>
                    <a:lnTo>
                      <a:pt x="745" y="733"/>
                    </a:lnTo>
                    <a:lnTo>
                      <a:pt x="745" y="733"/>
                    </a:lnTo>
                    <a:lnTo>
                      <a:pt x="745" y="733"/>
                    </a:lnTo>
                    <a:lnTo>
                      <a:pt x="745" y="733"/>
                    </a:lnTo>
                    <a:lnTo>
                      <a:pt x="745" y="728"/>
                    </a:lnTo>
                    <a:lnTo>
                      <a:pt x="745" y="728"/>
                    </a:lnTo>
                    <a:lnTo>
                      <a:pt x="745" y="724"/>
                    </a:lnTo>
                    <a:lnTo>
                      <a:pt x="750" y="724"/>
                    </a:lnTo>
                    <a:lnTo>
                      <a:pt x="750" y="724"/>
                    </a:lnTo>
                    <a:lnTo>
                      <a:pt x="750" y="719"/>
                    </a:lnTo>
                    <a:lnTo>
                      <a:pt x="745" y="719"/>
                    </a:lnTo>
                    <a:lnTo>
                      <a:pt x="750" y="719"/>
                    </a:lnTo>
                    <a:lnTo>
                      <a:pt x="750" y="714"/>
                    </a:lnTo>
                    <a:lnTo>
                      <a:pt x="750" y="714"/>
                    </a:lnTo>
                    <a:lnTo>
                      <a:pt x="750" y="714"/>
                    </a:lnTo>
                    <a:lnTo>
                      <a:pt x="750" y="710"/>
                    </a:lnTo>
                    <a:lnTo>
                      <a:pt x="745" y="710"/>
                    </a:lnTo>
                    <a:lnTo>
                      <a:pt x="745" y="705"/>
                    </a:lnTo>
                    <a:lnTo>
                      <a:pt x="745" y="705"/>
                    </a:lnTo>
                    <a:lnTo>
                      <a:pt x="745" y="705"/>
                    </a:lnTo>
                    <a:lnTo>
                      <a:pt x="745" y="701"/>
                    </a:lnTo>
                    <a:lnTo>
                      <a:pt x="745" y="696"/>
                    </a:lnTo>
                    <a:lnTo>
                      <a:pt x="745" y="692"/>
                    </a:lnTo>
                    <a:lnTo>
                      <a:pt x="750" y="692"/>
                    </a:lnTo>
                    <a:lnTo>
                      <a:pt x="750" y="687"/>
                    </a:lnTo>
                    <a:lnTo>
                      <a:pt x="754" y="687"/>
                    </a:lnTo>
                    <a:lnTo>
                      <a:pt x="754" y="687"/>
                    </a:lnTo>
                    <a:lnTo>
                      <a:pt x="754" y="683"/>
                    </a:lnTo>
                    <a:lnTo>
                      <a:pt x="754" y="683"/>
                    </a:lnTo>
                    <a:lnTo>
                      <a:pt x="750" y="683"/>
                    </a:lnTo>
                    <a:lnTo>
                      <a:pt x="750" y="678"/>
                    </a:lnTo>
                    <a:lnTo>
                      <a:pt x="750" y="674"/>
                    </a:lnTo>
                    <a:lnTo>
                      <a:pt x="754" y="669"/>
                    </a:lnTo>
                    <a:lnTo>
                      <a:pt x="754" y="669"/>
                    </a:lnTo>
                    <a:lnTo>
                      <a:pt x="754" y="665"/>
                    </a:lnTo>
                    <a:lnTo>
                      <a:pt x="754" y="665"/>
                    </a:lnTo>
                    <a:lnTo>
                      <a:pt x="759" y="665"/>
                    </a:lnTo>
                    <a:lnTo>
                      <a:pt x="759" y="665"/>
                    </a:lnTo>
                    <a:lnTo>
                      <a:pt x="754" y="669"/>
                    </a:lnTo>
                    <a:lnTo>
                      <a:pt x="754" y="669"/>
                    </a:lnTo>
                    <a:lnTo>
                      <a:pt x="759" y="669"/>
                    </a:lnTo>
                    <a:lnTo>
                      <a:pt x="759" y="669"/>
                    </a:lnTo>
                    <a:lnTo>
                      <a:pt x="759" y="674"/>
                    </a:lnTo>
                    <a:lnTo>
                      <a:pt x="759" y="674"/>
                    </a:lnTo>
                    <a:lnTo>
                      <a:pt x="759" y="669"/>
                    </a:lnTo>
                    <a:lnTo>
                      <a:pt x="759" y="669"/>
                    </a:lnTo>
                    <a:lnTo>
                      <a:pt x="759" y="669"/>
                    </a:lnTo>
                    <a:lnTo>
                      <a:pt x="759" y="665"/>
                    </a:lnTo>
                    <a:lnTo>
                      <a:pt x="759" y="665"/>
                    </a:lnTo>
                    <a:lnTo>
                      <a:pt x="759" y="665"/>
                    </a:lnTo>
                    <a:lnTo>
                      <a:pt x="759" y="665"/>
                    </a:lnTo>
                    <a:lnTo>
                      <a:pt x="759" y="660"/>
                    </a:lnTo>
                    <a:lnTo>
                      <a:pt x="763" y="660"/>
                    </a:lnTo>
                    <a:lnTo>
                      <a:pt x="763" y="660"/>
                    </a:lnTo>
                    <a:lnTo>
                      <a:pt x="763" y="660"/>
                    </a:lnTo>
                    <a:lnTo>
                      <a:pt x="772" y="660"/>
                    </a:lnTo>
                    <a:lnTo>
                      <a:pt x="772" y="660"/>
                    </a:lnTo>
                    <a:lnTo>
                      <a:pt x="772" y="660"/>
                    </a:lnTo>
                    <a:lnTo>
                      <a:pt x="772" y="660"/>
                    </a:lnTo>
                    <a:lnTo>
                      <a:pt x="772" y="660"/>
                    </a:lnTo>
                    <a:lnTo>
                      <a:pt x="772" y="660"/>
                    </a:lnTo>
                    <a:lnTo>
                      <a:pt x="772" y="660"/>
                    </a:lnTo>
                    <a:lnTo>
                      <a:pt x="768" y="660"/>
                    </a:lnTo>
                    <a:lnTo>
                      <a:pt x="768" y="660"/>
                    </a:lnTo>
                    <a:lnTo>
                      <a:pt x="768" y="660"/>
                    </a:lnTo>
                    <a:lnTo>
                      <a:pt x="768" y="660"/>
                    </a:lnTo>
                    <a:lnTo>
                      <a:pt x="763" y="660"/>
                    </a:lnTo>
                    <a:lnTo>
                      <a:pt x="763" y="660"/>
                    </a:lnTo>
                    <a:lnTo>
                      <a:pt x="763" y="660"/>
                    </a:lnTo>
                    <a:lnTo>
                      <a:pt x="763" y="660"/>
                    </a:lnTo>
                    <a:lnTo>
                      <a:pt x="759" y="660"/>
                    </a:lnTo>
                    <a:lnTo>
                      <a:pt x="759" y="660"/>
                    </a:lnTo>
                    <a:lnTo>
                      <a:pt x="759" y="665"/>
                    </a:lnTo>
                    <a:lnTo>
                      <a:pt x="754" y="665"/>
                    </a:lnTo>
                    <a:lnTo>
                      <a:pt x="754" y="665"/>
                    </a:lnTo>
                    <a:lnTo>
                      <a:pt x="754" y="665"/>
                    </a:lnTo>
                    <a:lnTo>
                      <a:pt x="754" y="660"/>
                    </a:lnTo>
                    <a:lnTo>
                      <a:pt x="754" y="660"/>
                    </a:lnTo>
                    <a:lnTo>
                      <a:pt x="754" y="660"/>
                    </a:lnTo>
                    <a:lnTo>
                      <a:pt x="750" y="660"/>
                    </a:lnTo>
                    <a:lnTo>
                      <a:pt x="750" y="660"/>
                    </a:lnTo>
                    <a:lnTo>
                      <a:pt x="754" y="660"/>
                    </a:lnTo>
                    <a:lnTo>
                      <a:pt x="754" y="656"/>
                    </a:lnTo>
                    <a:lnTo>
                      <a:pt x="754" y="660"/>
                    </a:lnTo>
                    <a:lnTo>
                      <a:pt x="754" y="656"/>
                    </a:lnTo>
                    <a:lnTo>
                      <a:pt x="754" y="656"/>
                    </a:lnTo>
                    <a:lnTo>
                      <a:pt x="754" y="656"/>
                    </a:lnTo>
                    <a:lnTo>
                      <a:pt x="754" y="651"/>
                    </a:lnTo>
                    <a:lnTo>
                      <a:pt x="754" y="651"/>
                    </a:lnTo>
                    <a:lnTo>
                      <a:pt x="754" y="647"/>
                    </a:lnTo>
                    <a:lnTo>
                      <a:pt x="754" y="642"/>
                    </a:lnTo>
                    <a:lnTo>
                      <a:pt x="754" y="638"/>
                    </a:lnTo>
                    <a:lnTo>
                      <a:pt x="759" y="633"/>
                    </a:lnTo>
                    <a:lnTo>
                      <a:pt x="759" y="629"/>
                    </a:lnTo>
                    <a:lnTo>
                      <a:pt x="763" y="629"/>
                    </a:lnTo>
                    <a:lnTo>
                      <a:pt x="763" y="624"/>
                    </a:lnTo>
                    <a:lnTo>
                      <a:pt x="763" y="624"/>
                    </a:lnTo>
                    <a:lnTo>
                      <a:pt x="763" y="615"/>
                    </a:lnTo>
                    <a:lnTo>
                      <a:pt x="763" y="615"/>
                    </a:lnTo>
                    <a:lnTo>
                      <a:pt x="763" y="611"/>
                    </a:lnTo>
                    <a:lnTo>
                      <a:pt x="768" y="611"/>
                    </a:lnTo>
                    <a:lnTo>
                      <a:pt x="768" y="606"/>
                    </a:lnTo>
                    <a:lnTo>
                      <a:pt x="768" y="606"/>
                    </a:lnTo>
                    <a:lnTo>
                      <a:pt x="772" y="606"/>
                    </a:lnTo>
                    <a:lnTo>
                      <a:pt x="772" y="606"/>
                    </a:lnTo>
                    <a:lnTo>
                      <a:pt x="772" y="606"/>
                    </a:lnTo>
                    <a:lnTo>
                      <a:pt x="772" y="606"/>
                    </a:lnTo>
                    <a:lnTo>
                      <a:pt x="772" y="606"/>
                    </a:lnTo>
                    <a:lnTo>
                      <a:pt x="772" y="601"/>
                    </a:lnTo>
                    <a:lnTo>
                      <a:pt x="772" y="601"/>
                    </a:lnTo>
                    <a:lnTo>
                      <a:pt x="772" y="601"/>
                    </a:lnTo>
                    <a:lnTo>
                      <a:pt x="772" y="601"/>
                    </a:lnTo>
                    <a:lnTo>
                      <a:pt x="777" y="601"/>
                    </a:lnTo>
                    <a:lnTo>
                      <a:pt x="777" y="597"/>
                    </a:lnTo>
                    <a:lnTo>
                      <a:pt x="781" y="592"/>
                    </a:lnTo>
                    <a:lnTo>
                      <a:pt x="786" y="588"/>
                    </a:lnTo>
                    <a:lnTo>
                      <a:pt x="786" y="588"/>
                    </a:lnTo>
                    <a:lnTo>
                      <a:pt x="786" y="583"/>
                    </a:lnTo>
                    <a:lnTo>
                      <a:pt x="786" y="583"/>
                    </a:lnTo>
                    <a:lnTo>
                      <a:pt x="790" y="579"/>
                    </a:lnTo>
                    <a:lnTo>
                      <a:pt x="790" y="579"/>
                    </a:lnTo>
                    <a:lnTo>
                      <a:pt x="790" y="574"/>
                    </a:lnTo>
                    <a:lnTo>
                      <a:pt x="790" y="574"/>
                    </a:lnTo>
                    <a:lnTo>
                      <a:pt x="795" y="570"/>
                    </a:lnTo>
                    <a:lnTo>
                      <a:pt x="795" y="565"/>
                    </a:lnTo>
                    <a:lnTo>
                      <a:pt x="795" y="565"/>
                    </a:lnTo>
                    <a:lnTo>
                      <a:pt x="799" y="561"/>
                    </a:lnTo>
                    <a:lnTo>
                      <a:pt x="799" y="561"/>
                    </a:lnTo>
                    <a:lnTo>
                      <a:pt x="804" y="556"/>
                    </a:lnTo>
                    <a:lnTo>
                      <a:pt x="808" y="552"/>
                    </a:lnTo>
                    <a:lnTo>
                      <a:pt x="808" y="552"/>
                    </a:lnTo>
                    <a:lnTo>
                      <a:pt x="808" y="552"/>
                    </a:lnTo>
                    <a:lnTo>
                      <a:pt x="813" y="552"/>
                    </a:lnTo>
                    <a:lnTo>
                      <a:pt x="813" y="552"/>
                    </a:lnTo>
                    <a:lnTo>
                      <a:pt x="808" y="552"/>
                    </a:lnTo>
                    <a:lnTo>
                      <a:pt x="813" y="547"/>
                    </a:lnTo>
                    <a:lnTo>
                      <a:pt x="817" y="547"/>
                    </a:lnTo>
                    <a:lnTo>
                      <a:pt x="817" y="547"/>
                    </a:lnTo>
                    <a:lnTo>
                      <a:pt x="822" y="538"/>
                    </a:lnTo>
                    <a:lnTo>
                      <a:pt x="826" y="534"/>
                    </a:lnTo>
                    <a:lnTo>
                      <a:pt x="831" y="529"/>
                    </a:lnTo>
                    <a:lnTo>
                      <a:pt x="831" y="529"/>
                    </a:lnTo>
                    <a:lnTo>
                      <a:pt x="835" y="529"/>
                    </a:lnTo>
                    <a:lnTo>
                      <a:pt x="835" y="525"/>
                    </a:lnTo>
                    <a:lnTo>
                      <a:pt x="849" y="511"/>
                    </a:lnTo>
                    <a:lnTo>
                      <a:pt x="849" y="511"/>
                    </a:lnTo>
                    <a:lnTo>
                      <a:pt x="849" y="511"/>
                    </a:lnTo>
                    <a:lnTo>
                      <a:pt x="853" y="502"/>
                    </a:lnTo>
                    <a:lnTo>
                      <a:pt x="858" y="497"/>
                    </a:lnTo>
                    <a:lnTo>
                      <a:pt x="858" y="497"/>
                    </a:lnTo>
                    <a:lnTo>
                      <a:pt x="858" y="497"/>
                    </a:lnTo>
                    <a:lnTo>
                      <a:pt x="858" y="497"/>
                    </a:lnTo>
                    <a:lnTo>
                      <a:pt x="858" y="497"/>
                    </a:lnTo>
                    <a:lnTo>
                      <a:pt x="863" y="497"/>
                    </a:lnTo>
                    <a:lnTo>
                      <a:pt x="867" y="497"/>
                    </a:lnTo>
                    <a:lnTo>
                      <a:pt x="867" y="497"/>
                    </a:lnTo>
                    <a:lnTo>
                      <a:pt x="867" y="497"/>
                    </a:lnTo>
                    <a:lnTo>
                      <a:pt x="867" y="497"/>
                    </a:lnTo>
                    <a:lnTo>
                      <a:pt x="867" y="497"/>
                    </a:lnTo>
                    <a:lnTo>
                      <a:pt x="867" y="497"/>
                    </a:lnTo>
                    <a:lnTo>
                      <a:pt x="867" y="497"/>
                    </a:lnTo>
                    <a:lnTo>
                      <a:pt x="867" y="497"/>
                    </a:lnTo>
                    <a:lnTo>
                      <a:pt x="867" y="497"/>
                    </a:lnTo>
                    <a:lnTo>
                      <a:pt x="867" y="497"/>
                    </a:lnTo>
                    <a:lnTo>
                      <a:pt x="867" y="497"/>
                    </a:lnTo>
                    <a:lnTo>
                      <a:pt x="863" y="497"/>
                    </a:lnTo>
                    <a:lnTo>
                      <a:pt x="863" y="493"/>
                    </a:lnTo>
                    <a:lnTo>
                      <a:pt x="858" y="493"/>
                    </a:lnTo>
                    <a:lnTo>
                      <a:pt x="863" y="493"/>
                    </a:lnTo>
                    <a:lnTo>
                      <a:pt x="863" y="493"/>
                    </a:lnTo>
                    <a:lnTo>
                      <a:pt x="867" y="488"/>
                    </a:lnTo>
                    <a:lnTo>
                      <a:pt x="863" y="488"/>
                    </a:lnTo>
                    <a:lnTo>
                      <a:pt x="863" y="493"/>
                    </a:lnTo>
                    <a:lnTo>
                      <a:pt x="867" y="488"/>
                    </a:lnTo>
                    <a:lnTo>
                      <a:pt x="867" y="488"/>
                    </a:lnTo>
                    <a:lnTo>
                      <a:pt x="867" y="488"/>
                    </a:lnTo>
                    <a:lnTo>
                      <a:pt x="867" y="484"/>
                    </a:lnTo>
                    <a:lnTo>
                      <a:pt x="867" y="484"/>
                    </a:lnTo>
                    <a:lnTo>
                      <a:pt x="876" y="484"/>
                    </a:lnTo>
                    <a:lnTo>
                      <a:pt x="872" y="479"/>
                    </a:lnTo>
                    <a:lnTo>
                      <a:pt x="872" y="479"/>
                    </a:lnTo>
                    <a:lnTo>
                      <a:pt x="872" y="479"/>
                    </a:lnTo>
                    <a:lnTo>
                      <a:pt x="872" y="479"/>
                    </a:lnTo>
                    <a:lnTo>
                      <a:pt x="872" y="484"/>
                    </a:lnTo>
                    <a:lnTo>
                      <a:pt x="872" y="479"/>
                    </a:lnTo>
                    <a:lnTo>
                      <a:pt x="872" y="479"/>
                    </a:lnTo>
                    <a:lnTo>
                      <a:pt x="872" y="475"/>
                    </a:lnTo>
                    <a:lnTo>
                      <a:pt x="876" y="475"/>
                    </a:lnTo>
                    <a:lnTo>
                      <a:pt x="881" y="466"/>
                    </a:lnTo>
                    <a:lnTo>
                      <a:pt x="881" y="466"/>
                    </a:lnTo>
                    <a:lnTo>
                      <a:pt x="881" y="461"/>
                    </a:lnTo>
                    <a:lnTo>
                      <a:pt x="881" y="461"/>
                    </a:lnTo>
                    <a:lnTo>
                      <a:pt x="881" y="457"/>
                    </a:lnTo>
                    <a:lnTo>
                      <a:pt x="885" y="457"/>
                    </a:lnTo>
                    <a:lnTo>
                      <a:pt x="885" y="452"/>
                    </a:lnTo>
                    <a:lnTo>
                      <a:pt x="890" y="452"/>
                    </a:lnTo>
                    <a:lnTo>
                      <a:pt x="890" y="457"/>
                    </a:lnTo>
                    <a:lnTo>
                      <a:pt x="890" y="457"/>
                    </a:lnTo>
                    <a:lnTo>
                      <a:pt x="890" y="457"/>
                    </a:lnTo>
                    <a:lnTo>
                      <a:pt x="894" y="457"/>
                    </a:lnTo>
                    <a:lnTo>
                      <a:pt x="899" y="461"/>
                    </a:lnTo>
                    <a:lnTo>
                      <a:pt x="903" y="461"/>
                    </a:lnTo>
                    <a:lnTo>
                      <a:pt x="903" y="461"/>
                    </a:lnTo>
                    <a:lnTo>
                      <a:pt x="903" y="461"/>
                    </a:lnTo>
                    <a:lnTo>
                      <a:pt x="903" y="461"/>
                    </a:lnTo>
                    <a:lnTo>
                      <a:pt x="903" y="461"/>
                    </a:lnTo>
                    <a:lnTo>
                      <a:pt x="903" y="461"/>
                    </a:lnTo>
                    <a:lnTo>
                      <a:pt x="908" y="461"/>
                    </a:lnTo>
                    <a:lnTo>
                      <a:pt x="908" y="461"/>
                    </a:lnTo>
                    <a:lnTo>
                      <a:pt x="908" y="461"/>
                    </a:lnTo>
                    <a:lnTo>
                      <a:pt x="908" y="461"/>
                    </a:lnTo>
                    <a:lnTo>
                      <a:pt x="908" y="461"/>
                    </a:lnTo>
                    <a:lnTo>
                      <a:pt x="908" y="466"/>
                    </a:lnTo>
                    <a:lnTo>
                      <a:pt x="903" y="466"/>
                    </a:lnTo>
                    <a:lnTo>
                      <a:pt x="903" y="470"/>
                    </a:lnTo>
                    <a:lnTo>
                      <a:pt x="903" y="470"/>
                    </a:lnTo>
                    <a:lnTo>
                      <a:pt x="903" y="466"/>
                    </a:lnTo>
                    <a:lnTo>
                      <a:pt x="903" y="466"/>
                    </a:lnTo>
                    <a:lnTo>
                      <a:pt x="894" y="470"/>
                    </a:lnTo>
                    <a:lnTo>
                      <a:pt x="890" y="475"/>
                    </a:lnTo>
                    <a:lnTo>
                      <a:pt x="890" y="475"/>
                    </a:lnTo>
                    <a:lnTo>
                      <a:pt x="890" y="475"/>
                    </a:lnTo>
                    <a:lnTo>
                      <a:pt x="890" y="475"/>
                    </a:lnTo>
                    <a:lnTo>
                      <a:pt x="890" y="475"/>
                    </a:lnTo>
                    <a:lnTo>
                      <a:pt x="894" y="475"/>
                    </a:lnTo>
                    <a:lnTo>
                      <a:pt x="894" y="475"/>
                    </a:lnTo>
                    <a:lnTo>
                      <a:pt x="894" y="475"/>
                    </a:lnTo>
                    <a:lnTo>
                      <a:pt x="890" y="475"/>
                    </a:lnTo>
                    <a:lnTo>
                      <a:pt x="894" y="475"/>
                    </a:lnTo>
                    <a:lnTo>
                      <a:pt x="894" y="475"/>
                    </a:lnTo>
                    <a:lnTo>
                      <a:pt x="894" y="470"/>
                    </a:lnTo>
                    <a:lnTo>
                      <a:pt x="899" y="470"/>
                    </a:lnTo>
                    <a:lnTo>
                      <a:pt x="899" y="470"/>
                    </a:lnTo>
                    <a:lnTo>
                      <a:pt x="903" y="470"/>
                    </a:lnTo>
                    <a:lnTo>
                      <a:pt x="903" y="470"/>
                    </a:lnTo>
                    <a:lnTo>
                      <a:pt x="903" y="466"/>
                    </a:lnTo>
                    <a:lnTo>
                      <a:pt x="908" y="466"/>
                    </a:lnTo>
                    <a:lnTo>
                      <a:pt x="908" y="466"/>
                    </a:lnTo>
                    <a:lnTo>
                      <a:pt x="908" y="466"/>
                    </a:lnTo>
                    <a:lnTo>
                      <a:pt x="908" y="466"/>
                    </a:lnTo>
                    <a:lnTo>
                      <a:pt x="908" y="466"/>
                    </a:lnTo>
                    <a:lnTo>
                      <a:pt x="903" y="470"/>
                    </a:lnTo>
                    <a:lnTo>
                      <a:pt x="903" y="470"/>
                    </a:lnTo>
                    <a:lnTo>
                      <a:pt x="903" y="470"/>
                    </a:lnTo>
                    <a:lnTo>
                      <a:pt x="903" y="470"/>
                    </a:lnTo>
                    <a:lnTo>
                      <a:pt x="903" y="470"/>
                    </a:lnTo>
                    <a:lnTo>
                      <a:pt x="899" y="470"/>
                    </a:lnTo>
                    <a:lnTo>
                      <a:pt x="899" y="470"/>
                    </a:lnTo>
                    <a:lnTo>
                      <a:pt x="899" y="475"/>
                    </a:lnTo>
                    <a:lnTo>
                      <a:pt x="899" y="475"/>
                    </a:lnTo>
                    <a:lnTo>
                      <a:pt x="899" y="475"/>
                    </a:lnTo>
                    <a:lnTo>
                      <a:pt x="899" y="479"/>
                    </a:lnTo>
                    <a:lnTo>
                      <a:pt x="894" y="479"/>
                    </a:lnTo>
                    <a:lnTo>
                      <a:pt x="894" y="479"/>
                    </a:lnTo>
                    <a:lnTo>
                      <a:pt x="894" y="475"/>
                    </a:lnTo>
                    <a:lnTo>
                      <a:pt x="894" y="479"/>
                    </a:lnTo>
                    <a:lnTo>
                      <a:pt x="894" y="479"/>
                    </a:lnTo>
                    <a:lnTo>
                      <a:pt x="894" y="479"/>
                    </a:lnTo>
                    <a:lnTo>
                      <a:pt x="894" y="475"/>
                    </a:lnTo>
                    <a:lnTo>
                      <a:pt x="894" y="475"/>
                    </a:lnTo>
                    <a:lnTo>
                      <a:pt x="894" y="479"/>
                    </a:lnTo>
                    <a:lnTo>
                      <a:pt x="890" y="479"/>
                    </a:lnTo>
                    <a:lnTo>
                      <a:pt x="890" y="479"/>
                    </a:lnTo>
                    <a:lnTo>
                      <a:pt x="890" y="479"/>
                    </a:lnTo>
                    <a:lnTo>
                      <a:pt x="890" y="479"/>
                    </a:lnTo>
                    <a:lnTo>
                      <a:pt x="890" y="479"/>
                    </a:lnTo>
                    <a:lnTo>
                      <a:pt x="890" y="479"/>
                    </a:lnTo>
                    <a:lnTo>
                      <a:pt x="890" y="479"/>
                    </a:lnTo>
                    <a:lnTo>
                      <a:pt x="894" y="479"/>
                    </a:lnTo>
                    <a:lnTo>
                      <a:pt x="894" y="479"/>
                    </a:lnTo>
                    <a:lnTo>
                      <a:pt x="899" y="479"/>
                    </a:lnTo>
                    <a:lnTo>
                      <a:pt x="899" y="479"/>
                    </a:lnTo>
                    <a:lnTo>
                      <a:pt x="899" y="479"/>
                    </a:lnTo>
                    <a:lnTo>
                      <a:pt x="899" y="479"/>
                    </a:lnTo>
                    <a:lnTo>
                      <a:pt x="899" y="475"/>
                    </a:lnTo>
                    <a:lnTo>
                      <a:pt x="903" y="475"/>
                    </a:lnTo>
                    <a:lnTo>
                      <a:pt x="903" y="475"/>
                    </a:lnTo>
                    <a:lnTo>
                      <a:pt x="903" y="470"/>
                    </a:lnTo>
                    <a:lnTo>
                      <a:pt x="903" y="470"/>
                    </a:lnTo>
                    <a:lnTo>
                      <a:pt x="903" y="470"/>
                    </a:lnTo>
                    <a:lnTo>
                      <a:pt x="903" y="470"/>
                    </a:lnTo>
                    <a:lnTo>
                      <a:pt x="908" y="470"/>
                    </a:lnTo>
                    <a:lnTo>
                      <a:pt x="908" y="470"/>
                    </a:lnTo>
                    <a:lnTo>
                      <a:pt x="908" y="470"/>
                    </a:lnTo>
                    <a:lnTo>
                      <a:pt x="908" y="466"/>
                    </a:lnTo>
                    <a:lnTo>
                      <a:pt x="912" y="466"/>
                    </a:lnTo>
                    <a:lnTo>
                      <a:pt x="912" y="466"/>
                    </a:lnTo>
                    <a:lnTo>
                      <a:pt x="912" y="466"/>
                    </a:lnTo>
                    <a:lnTo>
                      <a:pt x="912" y="466"/>
                    </a:lnTo>
                    <a:lnTo>
                      <a:pt x="912" y="461"/>
                    </a:lnTo>
                    <a:lnTo>
                      <a:pt x="912" y="461"/>
                    </a:lnTo>
                    <a:lnTo>
                      <a:pt x="912" y="461"/>
                    </a:lnTo>
                    <a:lnTo>
                      <a:pt x="912" y="461"/>
                    </a:lnTo>
                    <a:lnTo>
                      <a:pt x="912" y="461"/>
                    </a:lnTo>
                    <a:lnTo>
                      <a:pt x="912" y="461"/>
                    </a:lnTo>
                    <a:lnTo>
                      <a:pt x="912" y="461"/>
                    </a:lnTo>
                    <a:lnTo>
                      <a:pt x="912" y="461"/>
                    </a:lnTo>
                    <a:lnTo>
                      <a:pt x="912" y="461"/>
                    </a:lnTo>
                    <a:lnTo>
                      <a:pt x="912" y="461"/>
                    </a:lnTo>
                    <a:lnTo>
                      <a:pt x="912" y="461"/>
                    </a:lnTo>
                    <a:lnTo>
                      <a:pt x="912" y="461"/>
                    </a:lnTo>
                    <a:lnTo>
                      <a:pt x="917" y="457"/>
                    </a:lnTo>
                    <a:lnTo>
                      <a:pt x="917" y="457"/>
                    </a:lnTo>
                    <a:lnTo>
                      <a:pt x="917" y="457"/>
                    </a:lnTo>
                    <a:lnTo>
                      <a:pt x="917" y="457"/>
                    </a:lnTo>
                    <a:lnTo>
                      <a:pt x="917" y="457"/>
                    </a:lnTo>
                    <a:lnTo>
                      <a:pt x="917" y="457"/>
                    </a:lnTo>
                    <a:lnTo>
                      <a:pt x="917" y="457"/>
                    </a:lnTo>
                    <a:lnTo>
                      <a:pt x="917" y="457"/>
                    </a:lnTo>
                    <a:lnTo>
                      <a:pt x="917" y="452"/>
                    </a:lnTo>
                    <a:lnTo>
                      <a:pt x="917" y="452"/>
                    </a:lnTo>
                    <a:lnTo>
                      <a:pt x="917" y="457"/>
                    </a:lnTo>
                    <a:lnTo>
                      <a:pt x="917" y="452"/>
                    </a:lnTo>
                    <a:lnTo>
                      <a:pt x="917" y="452"/>
                    </a:lnTo>
                    <a:lnTo>
                      <a:pt x="917" y="452"/>
                    </a:lnTo>
                    <a:lnTo>
                      <a:pt x="921" y="452"/>
                    </a:lnTo>
                    <a:lnTo>
                      <a:pt x="921" y="448"/>
                    </a:lnTo>
                    <a:lnTo>
                      <a:pt x="921" y="448"/>
                    </a:lnTo>
                    <a:lnTo>
                      <a:pt x="921" y="448"/>
                    </a:lnTo>
                    <a:lnTo>
                      <a:pt x="921" y="448"/>
                    </a:lnTo>
                    <a:lnTo>
                      <a:pt x="921" y="448"/>
                    </a:lnTo>
                    <a:lnTo>
                      <a:pt x="921" y="448"/>
                    </a:lnTo>
                    <a:lnTo>
                      <a:pt x="921" y="448"/>
                    </a:lnTo>
                    <a:lnTo>
                      <a:pt x="921" y="443"/>
                    </a:lnTo>
                    <a:lnTo>
                      <a:pt x="926" y="443"/>
                    </a:lnTo>
                    <a:lnTo>
                      <a:pt x="930" y="443"/>
                    </a:lnTo>
                    <a:lnTo>
                      <a:pt x="935" y="448"/>
                    </a:lnTo>
                    <a:lnTo>
                      <a:pt x="939" y="448"/>
                    </a:lnTo>
                    <a:lnTo>
                      <a:pt x="948" y="448"/>
                    </a:lnTo>
                    <a:lnTo>
                      <a:pt x="953" y="448"/>
                    </a:lnTo>
                    <a:lnTo>
                      <a:pt x="957" y="448"/>
                    </a:lnTo>
                    <a:lnTo>
                      <a:pt x="962" y="448"/>
                    </a:lnTo>
                    <a:lnTo>
                      <a:pt x="971" y="448"/>
                    </a:lnTo>
                    <a:lnTo>
                      <a:pt x="975" y="452"/>
                    </a:lnTo>
                    <a:lnTo>
                      <a:pt x="980" y="452"/>
                    </a:lnTo>
                    <a:lnTo>
                      <a:pt x="985" y="452"/>
                    </a:lnTo>
                    <a:lnTo>
                      <a:pt x="994" y="452"/>
                    </a:lnTo>
                    <a:lnTo>
                      <a:pt x="998" y="452"/>
                    </a:lnTo>
                    <a:lnTo>
                      <a:pt x="1003" y="452"/>
                    </a:lnTo>
                    <a:lnTo>
                      <a:pt x="1012" y="452"/>
                    </a:lnTo>
                    <a:lnTo>
                      <a:pt x="1016" y="452"/>
                    </a:lnTo>
                    <a:lnTo>
                      <a:pt x="1021" y="457"/>
                    </a:lnTo>
                    <a:lnTo>
                      <a:pt x="1025" y="457"/>
                    </a:lnTo>
                    <a:lnTo>
                      <a:pt x="1034" y="457"/>
                    </a:lnTo>
                    <a:lnTo>
                      <a:pt x="1039" y="457"/>
                    </a:lnTo>
                    <a:lnTo>
                      <a:pt x="1043" y="457"/>
                    </a:lnTo>
                    <a:lnTo>
                      <a:pt x="1048" y="457"/>
                    </a:lnTo>
                    <a:lnTo>
                      <a:pt x="1057" y="457"/>
                    </a:lnTo>
                    <a:lnTo>
                      <a:pt x="1061" y="457"/>
                    </a:lnTo>
                    <a:lnTo>
                      <a:pt x="1066" y="461"/>
                    </a:lnTo>
                    <a:lnTo>
                      <a:pt x="1075" y="461"/>
                    </a:lnTo>
                    <a:lnTo>
                      <a:pt x="1079" y="461"/>
                    </a:lnTo>
                    <a:lnTo>
                      <a:pt x="1084" y="461"/>
                    </a:lnTo>
                    <a:lnTo>
                      <a:pt x="1088" y="461"/>
                    </a:lnTo>
                    <a:lnTo>
                      <a:pt x="1097" y="461"/>
                    </a:lnTo>
                    <a:lnTo>
                      <a:pt x="1102" y="461"/>
                    </a:lnTo>
                    <a:lnTo>
                      <a:pt x="1106" y="461"/>
                    </a:lnTo>
                    <a:lnTo>
                      <a:pt x="1111" y="466"/>
                    </a:lnTo>
                    <a:lnTo>
                      <a:pt x="1120" y="466"/>
                    </a:lnTo>
                    <a:lnTo>
                      <a:pt x="1125" y="466"/>
                    </a:lnTo>
                    <a:lnTo>
                      <a:pt x="1129" y="466"/>
                    </a:lnTo>
                    <a:lnTo>
                      <a:pt x="1138" y="466"/>
                    </a:lnTo>
                    <a:lnTo>
                      <a:pt x="1143" y="466"/>
                    </a:lnTo>
                    <a:lnTo>
                      <a:pt x="1147" y="466"/>
                    </a:lnTo>
                    <a:lnTo>
                      <a:pt x="1156" y="466"/>
                    </a:lnTo>
                    <a:lnTo>
                      <a:pt x="1161" y="470"/>
                    </a:lnTo>
                    <a:lnTo>
                      <a:pt x="1165" y="470"/>
                    </a:lnTo>
                    <a:lnTo>
                      <a:pt x="1170" y="470"/>
                    </a:lnTo>
                    <a:lnTo>
                      <a:pt x="1179" y="470"/>
                    </a:lnTo>
                    <a:lnTo>
                      <a:pt x="1183" y="470"/>
                    </a:lnTo>
                    <a:lnTo>
                      <a:pt x="1188" y="470"/>
                    </a:lnTo>
                    <a:lnTo>
                      <a:pt x="1197" y="470"/>
                    </a:lnTo>
                    <a:lnTo>
                      <a:pt x="1201" y="470"/>
                    </a:lnTo>
                    <a:lnTo>
                      <a:pt x="1206" y="470"/>
                    </a:lnTo>
                    <a:lnTo>
                      <a:pt x="1210" y="475"/>
                    </a:lnTo>
                    <a:lnTo>
                      <a:pt x="1219" y="475"/>
                    </a:lnTo>
                    <a:lnTo>
                      <a:pt x="1224" y="475"/>
                    </a:lnTo>
                    <a:lnTo>
                      <a:pt x="1228" y="475"/>
                    </a:lnTo>
                    <a:lnTo>
                      <a:pt x="1237" y="475"/>
                    </a:lnTo>
                    <a:lnTo>
                      <a:pt x="1242" y="475"/>
                    </a:lnTo>
                    <a:lnTo>
                      <a:pt x="1247" y="475"/>
                    </a:lnTo>
                    <a:lnTo>
                      <a:pt x="1256" y="475"/>
                    </a:lnTo>
                    <a:lnTo>
                      <a:pt x="1260" y="475"/>
                    </a:lnTo>
                    <a:lnTo>
                      <a:pt x="1265" y="475"/>
                    </a:lnTo>
                    <a:lnTo>
                      <a:pt x="1274" y="479"/>
                    </a:lnTo>
                    <a:lnTo>
                      <a:pt x="1278" y="479"/>
                    </a:lnTo>
                    <a:lnTo>
                      <a:pt x="1283" y="479"/>
                    </a:lnTo>
                    <a:lnTo>
                      <a:pt x="1287" y="479"/>
                    </a:lnTo>
                    <a:lnTo>
                      <a:pt x="1296" y="479"/>
                    </a:lnTo>
                    <a:lnTo>
                      <a:pt x="1296" y="479"/>
                    </a:lnTo>
                    <a:lnTo>
                      <a:pt x="1301" y="475"/>
                    </a:lnTo>
                    <a:lnTo>
                      <a:pt x="1305" y="470"/>
                    </a:lnTo>
                    <a:lnTo>
                      <a:pt x="1305" y="475"/>
                    </a:lnTo>
                    <a:lnTo>
                      <a:pt x="1305" y="475"/>
                    </a:lnTo>
                    <a:lnTo>
                      <a:pt x="1305" y="475"/>
                    </a:lnTo>
                    <a:lnTo>
                      <a:pt x="1305" y="475"/>
                    </a:lnTo>
                    <a:lnTo>
                      <a:pt x="1305" y="479"/>
                    </a:lnTo>
                    <a:lnTo>
                      <a:pt x="1305" y="479"/>
                    </a:lnTo>
                    <a:moveTo>
                      <a:pt x="469" y="280"/>
                    </a:moveTo>
                    <a:lnTo>
                      <a:pt x="469" y="280"/>
                    </a:lnTo>
                    <a:lnTo>
                      <a:pt x="465" y="280"/>
                    </a:lnTo>
                    <a:lnTo>
                      <a:pt x="460" y="280"/>
                    </a:lnTo>
                    <a:lnTo>
                      <a:pt x="460" y="285"/>
                    </a:lnTo>
                    <a:lnTo>
                      <a:pt x="456" y="285"/>
                    </a:lnTo>
                    <a:lnTo>
                      <a:pt x="456" y="285"/>
                    </a:lnTo>
                    <a:lnTo>
                      <a:pt x="456" y="285"/>
                    </a:lnTo>
                    <a:lnTo>
                      <a:pt x="451" y="285"/>
                    </a:lnTo>
                    <a:lnTo>
                      <a:pt x="451" y="285"/>
                    </a:lnTo>
                    <a:lnTo>
                      <a:pt x="447" y="285"/>
                    </a:lnTo>
                    <a:lnTo>
                      <a:pt x="447" y="285"/>
                    </a:lnTo>
                    <a:lnTo>
                      <a:pt x="447" y="285"/>
                    </a:lnTo>
                    <a:lnTo>
                      <a:pt x="447" y="285"/>
                    </a:lnTo>
                    <a:lnTo>
                      <a:pt x="451" y="285"/>
                    </a:lnTo>
                    <a:lnTo>
                      <a:pt x="451" y="285"/>
                    </a:lnTo>
                    <a:lnTo>
                      <a:pt x="456" y="285"/>
                    </a:lnTo>
                    <a:lnTo>
                      <a:pt x="456" y="280"/>
                    </a:lnTo>
                    <a:lnTo>
                      <a:pt x="456" y="280"/>
                    </a:lnTo>
                    <a:lnTo>
                      <a:pt x="456" y="280"/>
                    </a:lnTo>
                    <a:lnTo>
                      <a:pt x="460" y="280"/>
                    </a:lnTo>
                    <a:lnTo>
                      <a:pt x="460" y="280"/>
                    </a:lnTo>
                    <a:lnTo>
                      <a:pt x="460" y="280"/>
                    </a:lnTo>
                    <a:lnTo>
                      <a:pt x="465" y="280"/>
                    </a:lnTo>
                    <a:lnTo>
                      <a:pt x="465" y="280"/>
                    </a:lnTo>
                    <a:lnTo>
                      <a:pt x="465" y="280"/>
                    </a:lnTo>
                    <a:lnTo>
                      <a:pt x="465" y="280"/>
                    </a:lnTo>
                    <a:lnTo>
                      <a:pt x="465" y="276"/>
                    </a:lnTo>
                    <a:lnTo>
                      <a:pt x="469" y="276"/>
                    </a:lnTo>
                    <a:lnTo>
                      <a:pt x="469" y="276"/>
                    </a:lnTo>
                    <a:lnTo>
                      <a:pt x="469" y="276"/>
                    </a:lnTo>
                    <a:lnTo>
                      <a:pt x="474" y="276"/>
                    </a:lnTo>
                    <a:lnTo>
                      <a:pt x="474" y="276"/>
                    </a:lnTo>
                    <a:lnTo>
                      <a:pt x="479" y="276"/>
                    </a:lnTo>
                    <a:lnTo>
                      <a:pt x="479" y="276"/>
                    </a:lnTo>
                    <a:lnTo>
                      <a:pt x="474" y="276"/>
                    </a:lnTo>
                    <a:lnTo>
                      <a:pt x="474" y="276"/>
                    </a:lnTo>
                    <a:lnTo>
                      <a:pt x="474" y="280"/>
                    </a:lnTo>
                    <a:lnTo>
                      <a:pt x="469" y="280"/>
                    </a:lnTo>
                    <a:moveTo>
                      <a:pt x="501" y="271"/>
                    </a:moveTo>
                    <a:lnTo>
                      <a:pt x="501" y="271"/>
                    </a:lnTo>
                    <a:lnTo>
                      <a:pt x="501" y="271"/>
                    </a:lnTo>
                    <a:lnTo>
                      <a:pt x="501" y="271"/>
                    </a:lnTo>
                    <a:lnTo>
                      <a:pt x="501" y="271"/>
                    </a:lnTo>
                    <a:lnTo>
                      <a:pt x="506" y="271"/>
                    </a:lnTo>
                    <a:lnTo>
                      <a:pt x="506" y="271"/>
                    </a:lnTo>
                    <a:lnTo>
                      <a:pt x="506" y="271"/>
                    </a:lnTo>
                    <a:lnTo>
                      <a:pt x="506" y="271"/>
                    </a:lnTo>
                    <a:lnTo>
                      <a:pt x="501" y="271"/>
                    </a:lnTo>
                    <a:lnTo>
                      <a:pt x="497" y="276"/>
                    </a:lnTo>
                    <a:lnTo>
                      <a:pt x="497" y="276"/>
                    </a:lnTo>
                    <a:lnTo>
                      <a:pt x="497" y="276"/>
                    </a:lnTo>
                    <a:lnTo>
                      <a:pt x="497" y="276"/>
                    </a:lnTo>
                    <a:lnTo>
                      <a:pt x="497" y="276"/>
                    </a:lnTo>
                    <a:lnTo>
                      <a:pt x="497" y="276"/>
                    </a:lnTo>
                    <a:lnTo>
                      <a:pt x="497" y="276"/>
                    </a:lnTo>
                    <a:lnTo>
                      <a:pt x="497" y="276"/>
                    </a:lnTo>
                    <a:lnTo>
                      <a:pt x="492" y="276"/>
                    </a:lnTo>
                    <a:lnTo>
                      <a:pt x="488" y="280"/>
                    </a:lnTo>
                    <a:lnTo>
                      <a:pt x="488" y="280"/>
                    </a:lnTo>
                    <a:lnTo>
                      <a:pt x="488" y="280"/>
                    </a:lnTo>
                    <a:lnTo>
                      <a:pt x="483" y="280"/>
                    </a:lnTo>
                    <a:lnTo>
                      <a:pt x="483" y="280"/>
                    </a:lnTo>
                    <a:lnTo>
                      <a:pt x="479" y="280"/>
                    </a:lnTo>
                    <a:lnTo>
                      <a:pt x="479" y="280"/>
                    </a:lnTo>
                    <a:lnTo>
                      <a:pt x="479" y="280"/>
                    </a:lnTo>
                    <a:lnTo>
                      <a:pt x="479" y="280"/>
                    </a:lnTo>
                    <a:lnTo>
                      <a:pt x="474" y="280"/>
                    </a:lnTo>
                    <a:lnTo>
                      <a:pt x="474" y="280"/>
                    </a:lnTo>
                    <a:lnTo>
                      <a:pt x="474" y="280"/>
                    </a:lnTo>
                    <a:lnTo>
                      <a:pt x="474" y="280"/>
                    </a:lnTo>
                    <a:lnTo>
                      <a:pt x="474" y="280"/>
                    </a:lnTo>
                    <a:lnTo>
                      <a:pt x="469" y="280"/>
                    </a:lnTo>
                    <a:lnTo>
                      <a:pt x="469" y="280"/>
                    </a:lnTo>
                    <a:lnTo>
                      <a:pt x="474" y="280"/>
                    </a:lnTo>
                    <a:lnTo>
                      <a:pt x="474" y="280"/>
                    </a:lnTo>
                    <a:lnTo>
                      <a:pt x="474" y="280"/>
                    </a:lnTo>
                    <a:lnTo>
                      <a:pt x="479" y="280"/>
                    </a:lnTo>
                    <a:lnTo>
                      <a:pt x="479" y="280"/>
                    </a:lnTo>
                    <a:lnTo>
                      <a:pt x="483" y="276"/>
                    </a:lnTo>
                    <a:lnTo>
                      <a:pt x="483" y="276"/>
                    </a:lnTo>
                    <a:lnTo>
                      <a:pt x="488" y="276"/>
                    </a:lnTo>
                    <a:lnTo>
                      <a:pt x="488" y="276"/>
                    </a:lnTo>
                    <a:lnTo>
                      <a:pt x="492" y="276"/>
                    </a:lnTo>
                    <a:lnTo>
                      <a:pt x="492" y="276"/>
                    </a:lnTo>
                    <a:lnTo>
                      <a:pt x="492" y="276"/>
                    </a:lnTo>
                    <a:lnTo>
                      <a:pt x="492" y="276"/>
                    </a:lnTo>
                    <a:lnTo>
                      <a:pt x="492" y="276"/>
                    </a:lnTo>
                    <a:lnTo>
                      <a:pt x="492" y="276"/>
                    </a:lnTo>
                    <a:lnTo>
                      <a:pt x="492" y="276"/>
                    </a:lnTo>
                    <a:lnTo>
                      <a:pt x="492" y="276"/>
                    </a:lnTo>
                    <a:lnTo>
                      <a:pt x="492" y="276"/>
                    </a:lnTo>
                    <a:lnTo>
                      <a:pt x="492" y="271"/>
                    </a:lnTo>
                    <a:lnTo>
                      <a:pt x="492" y="271"/>
                    </a:lnTo>
                    <a:lnTo>
                      <a:pt x="492" y="271"/>
                    </a:lnTo>
                    <a:lnTo>
                      <a:pt x="492" y="271"/>
                    </a:lnTo>
                    <a:lnTo>
                      <a:pt x="492" y="271"/>
                    </a:lnTo>
                    <a:lnTo>
                      <a:pt x="492" y="271"/>
                    </a:lnTo>
                    <a:lnTo>
                      <a:pt x="497" y="271"/>
                    </a:lnTo>
                    <a:lnTo>
                      <a:pt x="497" y="271"/>
                    </a:lnTo>
                    <a:lnTo>
                      <a:pt x="497" y="271"/>
                    </a:lnTo>
                    <a:lnTo>
                      <a:pt x="501" y="271"/>
                    </a:lnTo>
                    <a:lnTo>
                      <a:pt x="501" y="271"/>
                    </a:lnTo>
                    <a:lnTo>
                      <a:pt x="501" y="271"/>
                    </a:lnTo>
                    <a:lnTo>
                      <a:pt x="501" y="271"/>
                    </a:lnTo>
                    <a:lnTo>
                      <a:pt x="501" y="271"/>
                    </a:lnTo>
                    <a:moveTo>
                      <a:pt x="560" y="258"/>
                    </a:moveTo>
                    <a:lnTo>
                      <a:pt x="560" y="258"/>
                    </a:lnTo>
                    <a:lnTo>
                      <a:pt x="560" y="262"/>
                    </a:lnTo>
                    <a:lnTo>
                      <a:pt x="560" y="262"/>
                    </a:lnTo>
                    <a:lnTo>
                      <a:pt x="560" y="262"/>
                    </a:lnTo>
                    <a:lnTo>
                      <a:pt x="560" y="262"/>
                    </a:lnTo>
                    <a:lnTo>
                      <a:pt x="560" y="262"/>
                    </a:lnTo>
                    <a:lnTo>
                      <a:pt x="560" y="267"/>
                    </a:lnTo>
                    <a:lnTo>
                      <a:pt x="560" y="267"/>
                    </a:lnTo>
                    <a:lnTo>
                      <a:pt x="555" y="262"/>
                    </a:lnTo>
                    <a:lnTo>
                      <a:pt x="551" y="267"/>
                    </a:lnTo>
                    <a:lnTo>
                      <a:pt x="551" y="267"/>
                    </a:lnTo>
                    <a:lnTo>
                      <a:pt x="546" y="262"/>
                    </a:lnTo>
                    <a:lnTo>
                      <a:pt x="546" y="262"/>
                    </a:lnTo>
                    <a:lnTo>
                      <a:pt x="542" y="267"/>
                    </a:lnTo>
                    <a:lnTo>
                      <a:pt x="542" y="267"/>
                    </a:lnTo>
                    <a:lnTo>
                      <a:pt x="537" y="267"/>
                    </a:lnTo>
                    <a:lnTo>
                      <a:pt x="537" y="267"/>
                    </a:lnTo>
                    <a:lnTo>
                      <a:pt x="533" y="267"/>
                    </a:lnTo>
                    <a:lnTo>
                      <a:pt x="533" y="267"/>
                    </a:lnTo>
                    <a:lnTo>
                      <a:pt x="533" y="267"/>
                    </a:lnTo>
                    <a:lnTo>
                      <a:pt x="533" y="267"/>
                    </a:lnTo>
                    <a:lnTo>
                      <a:pt x="537" y="262"/>
                    </a:lnTo>
                    <a:lnTo>
                      <a:pt x="537" y="262"/>
                    </a:lnTo>
                    <a:lnTo>
                      <a:pt x="537" y="262"/>
                    </a:lnTo>
                    <a:lnTo>
                      <a:pt x="542" y="262"/>
                    </a:lnTo>
                    <a:lnTo>
                      <a:pt x="542" y="262"/>
                    </a:lnTo>
                    <a:lnTo>
                      <a:pt x="546" y="258"/>
                    </a:lnTo>
                    <a:lnTo>
                      <a:pt x="551" y="258"/>
                    </a:lnTo>
                    <a:lnTo>
                      <a:pt x="551" y="258"/>
                    </a:lnTo>
                    <a:lnTo>
                      <a:pt x="551" y="258"/>
                    </a:lnTo>
                    <a:lnTo>
                      <a:pt x="555" y="258"/>
                    </a:lnTo>
                    <a:lnTo>
                      <a:pt x="560" y="258"/>
                    </a:lnTo>
                    <a:lnTo>
                      <a:pt x="560" y="258"/>
                    </a:lnTo>
                    <a:lnTo>
                      <a:pt x="564" y="258"/>
                    </a:lnTo>
                    <a:lnTo>
                      <a:pt x="564" y="258"/>
                    </a:lnTo>
                    <a:lnTo>
                      <a:pt x="564" y="258"/>
                    </a:lnTo>
                    <a:lnTo>
                      <a:pt x="560" y="258"/>
                    </a:lnTo>
                    <a:moveTo>
                      <a:pt x="944" y="308"/>
                    </a:moveTo>
                    <a:lnTo>
                      <a:pt x="944" y="308"/>
                    </a:lnTo>
                    <a:lnTo>
                      <a:pt x="939" y="312"/>
                    </a:lnTo>
                    <a:lnTo>
                      <a:pt x="939" y="312"/>
                    </a:lnTo>
                    <a:lnTo>
                      <a:pt x="935" y="312"/>
                    </a:lnTo>
                    <a:lnTo>
                      <a:pt x="935" y="312"/>
                    </a:lnTo>
                    <a:lnTo>
                      <a:pt x="935" y="312"/>
                    </a:lnTo>
                    <a:lnTo>
                      <a:pt x="935" y="312"/>
                    </a:lnTo>
                    <a:lnTo>
                      <a:pt x="935" y="312"/>
                    </a:lnTo>
                    <a:lnTo>
                      <a:pt x="935" y="312"/>
                    </a:lnTo>
                    <a:lnTo>
                      <a:pt x="935" y="312"/>
                    </a:lnTo>
                    <a:lnTo>
                      <a:pt x="935" y="312"/>
                    </a:lnTo>
                    <a:lnTo>
                      <a:pt x="935" y="312"/>
                    </a:lnTo>
                    <a:lnTo>
                      <a:pt x="935" y="312"/>
                    </a:lnTo>
                    <a:lnTo>
                      <a:pt x="930" y="312"/>
                    </a:lnTo>
                    <a:lnTo>
                      <a:pt x="930" y="312"/>
                    </a:lnTo>
                    <a:lnTo>
                      <a:pt x="926" y="312"/>
                    </a:lnTo>
                    <a:lnTo>
                      <a:pt x="926" y="312"/>
                    </a:lnTo>
                    <a:lnTo>
                      <a:pt x="930" y="312"/>
                    </a:lnTo>
                    <a:lnTo>
                      <a:pt x="930" y="308"/>
                    </a:lnTo>
                    <a:lnTo>
                      <a:pt x="935" y="308"/>
                    </a:lnTo>
                    <a:lnTo>
                      <a:pt x="939" y="308"/>
                    </a:lnTo>
                    <a:lnTo>
                      <a:pt x="944" y="303"/>
                    </a:lnTo>
                    <a:lnTo>
                      <a:pt x="948" y="299"/>
                    </a:lnTo>
                    <a:lnTo>
                      <a:pt x="948" y="299"/>
                    </a:lnTo>
                    <a:lnTo>
                      <a:pt x="948" y="303"/>
                    </a:lnTo>
                    <a:lnTo>
                      <a:pt x="948" y="303"/>
                    </a:lnTo>
                    <a:lnTo>
                      <a:pt x="948" y="308"/>
                    </a:lnTo>
                    <a:lnTo>
                      <a:pt x="944" y="308"/>
                    </a:lnTo>
                    <a:lnTo>
                      <a:pt x="944" y="308"/>
                    </a:lnTo>
                    <a:moveTo>
                      <a:pt x="930" y="289"/>
                    </a:moveTo>
                    <a:lnTo>
                      <a:pt x="930" y="289"/>
                    </a:lnTo>
                    <a:lnTo>
                      <a:pt x="930" y="289"/>
                    </a:lnTo>
                    <a:lnTo>
                      <a:pt x="935" y="289"/>
                    </a:lnTo>
                    <a:lnTo>
                      <a:pt x="935" y="289"/>
                    </a:lnTo>
                    <a:lnTo>
                      <a:pt x="935" y="294"/>
                    </a:lnTo>
                    <a:lnTo>
                      <a:pt x="935" y="294"/>
                    </a:lnTo>
                    <a:lnTo>
                      <a:pt x="935" y="294"/>
                    </a:lnTo>
                    <a:lnTo>
                      <a:pt x="930" y="294"/>
                    </a:lnTo>
                    <a:lnTo>
                      <a:pt x="930" y="294"/>
                    </a:lnTo>
                    <a:lnTo>
                      <a:pt x="930" y="294"/>
                    </a:lnTo>
                    <a:lnTo>
                      <a:pt x="935" y="299"/>
                    </a:lnTo>
                    <a:lnTo>
                      <a:pt x="935" y="299"/>
                    </a:lnTo>
                    <a:lnTo>
                      <a:pt x="930" y="299"/>
                    </a:lnTo>
                    <a:lnTo>
                      <a:pt x="930" y="303"/>
                    </a:lnTo>
                    <a:lnTo>
                      <a:pt x="930" y="303"/>
                    </a:lnTo>
                    <a:lnTo>
                      <a:pt x="930" y="308"/>
                    </a:lnTo>
                    <a:lnTo>
                      <a:pt x="930" y="308"/>
                    </a:lnTo>
                    <a:lnTo>
                      <a:pt x="930" y="308"/>
                    </a:lnTo>
                    <a:lnTo>
                      <a:pt x="930" y="308"/>
                    </a:lnTo>
                    <a:lnTo>
                      <a:pt x="926" y="308"/>
                    </a:lnTo>
                    <a:lnTo>
                      <a:pt x="926" y="303"/>
                    </a:lnTo>
                    <a:lnTo>
                      <a:pt x="926" y="303"/>
                    </a:lnTo>
                    <a:lnTo>
                      <a:pt x="926" y="308"/>
                    </a:lnTo>
                    <a:lnTo>
                      <a:pt x="926" y="308"/>
                    </a:lnTo>
                    <a:lnTo>
                      <a:pt x="921" y="308"/>
                    </a:lnTo>
                    <a:lnTo>
                      <a:pt x="926" y="308"/>
                    </a:lnTo>
                    <a:lnTo>
                      <a:pt x="926" y="308"/>
                    </a:lnTo>
                    <a:lnTo>
                      <a:pt x="926" y="308"/>
                    </a:lnTo>
                    <a:lnTo>
                      <a:pt x="926" y="308"/>
                    </a:lnTo>
                    <a:lnTo>
                      <a:pt x="926" y="312"/>
                    </a:lnTo>
                    <a:lnTo>
                      <a:pt x="926" y="312"/>
                    </a:lnTo>
                    <a:lnTo>
                      <a:pt x="926" y="312"/>
                    </a:lnTo>
                    <a:lnTo>
                      <a:pt x="921" y="312"/>
                    </a:lnTo>
                    <a:lnTo>
                      <a:pt x="921" y="312"/>
                    </a:lnTo>
                    <a:lnTo>
                      <a:pt x="921" y="312"/>
                    </a:lnTo>
                    <a:lnTo>
                      <a:pt x="926" y="312"/>
                    </a:lnTo>
                    <a:lnTo>
                      <a:pt x="926" y="312"/>
                    </a:lnTo>
                    <a:lnTo>
                      <a:pt x="921" y="317"/>
                    </a:lnTo>
                    <a:lnTo>
                      <a:pt x="921" y="317"/>
                    </a:lnTo>
                    <a:lnTo>
                      <a:pt x="921" y="317"/>
                    </a:lnTo>
                    <a:lnTo>
                      <a:pt x="917" y="317"/>
                    </a:lnTo>
                    <a:lnTo>
                      <a:pt x="917" y="321"/>
                    </a:lnTo>
                    <a:lnTo>
                      <a:pt x="917" y="321"/>
                    </a:lnTo>
                    <a:lnTo>
                      <a:pt x="917" y="321"/>
                    </a:lnTo>
                    <a:lnTo>
                      <a:pt x="917" y="321"/>
                    </a:lnTo>
                    <a:lnTo>
                      <a:pt x="912" y="321"/>
                    </a:lnTo>
                    <a:lnTo>
                      <a:pt x="912" y="321"/>
                    </a:lnTo>
                    <a:lnTo>
                      <a:pt x="912" y="321"/>
                    </a:lnTo>
                    <a:lnTo>
                      <a:pt x="912" y="321"/>
                    </a:lnTo>
                    <a:lnTo>
                      <a:pt x="917" y="317"/>
                    </a:lnTo>
                    <a:lnTo>
                      <a:pt x="917" y="317"/>
                    </a:lnTo>
                    <a:lnTo>
                      <a:pt x="912" y="317"/>
                    </a:lnTo>
                    <a:lnTo>
                      <a:pt x="912" y="317"/>
                    </a:lnTo>
                    <a:lnTo>
                      <a:pt x="912" y="317"/>
                    </a:lnTo>
                    <a:lnTo>
                      <a:pt x="912" y="317"/>
                    </a:lnTo>
                    <a:lnTo>
                      <a:pt x="917" y="317"/>
                    </a:lnTo>
                    <a:lnTo>
                      <a:pt x="917" y="312"/>
                    </a:lnTo>
                    <a:lnTo>
                      <a:pt x="917" y="312"/>
                    </a:lnTo>
                    <a:lnTo>
                      <a:pt x="917" y="312"/>
                    </a:lnTo>
                    <a:lnTo>
                      <a:pt x="917" y="312"/>
                    </a:lnTo>
                    <a:lnTo>
                      <a:pt x="912" y="312"/>
                    </a:lnTo>
                    <a:lnTo>
                      <a:pt x="912" y="317"/>
                    </a:lnTo>
                    <a:lnTo>
                      <a:pt x="912" y="317"/>
                    </a:lnTo>
                    <a:lnTo>
                      <a:pt x="912" y="312"/>
                    </a:lnTo>
                    <a:lnTo>
                      <a:pt x="912" y="308"/>
                    </a:lnTo>
                    <a:lnTo>
                      <a:pt x="912" y="308"/>
                    </a:lnTo>
                    <a:lnTo>
                      <a:pt x="917" y="308"/>
                    </a:lnTo>
                    <a:lnTo>
                      <a:pt x="917" y="308"/>
                    </a:lnTo>
                    <a:lnTo>
                      <a:pt x="917" y="308"/>
                    </a:lnTo>
                    <a:lnTo>
                      <a:pt x="917" y="308"/>
                    </a:lnTo>
                    <a:lnTo>
                      <a:pt x="917" y="308"/>
                    </a:lnTo>
                    <a:lnTo>
                      <a:pt x="921" y="303"/>
                    </a:lnTo>
                    <a:lnTo>
                      <a:pt x="921" y="303"/>
                    </a:lnTo>
                    <a:lnTo>
                      <a:pt x="921" y="303"/>
                    </a:lnTo>
                    <a:lnTo>
                      <a:pt x="917" y="303"/>
                    </a:lnTo>
                    <a:lnTo>
                      <a:pt x="917" y="303"/>
                    </a:lnTo>
                    <a:lnTo>
                      <a:pt x="917" y="303"/>
                    </a:lnTo>
                    <a:lnTo>
                      <a:pt x="921" y="303"/>
                    </a:lnTo>
                    <a:lnTo>
                      <a:pt x="917" y="303"/>
                    </a:lnTo>
                    <a:lnTo>
                      <a:pt x="917" y="303"/>
                    </a:lnTo>
                    <a:lnTo>
                      <a:pt x="917" y="299"/>
                    </a:lnTo>
                    <a:lnTo>
                      <a:pt x="917" y="299"/>
                    </a:lnTo>
                    <a:lnTo>
                      <a:pt x="917" y="299"/>
                    </a:lnTo>
                    <a:lnTo>
                      <a:pt x="921" y="299"/>
                    </a:lnTo>
                    <a:lnTo>
                      <a:pt x="921" y="299"/>
                    </a:lnTo>
                    <a:lnTo>
                      <a:pt x="921" y="299"/>
                    </a:lnTo>
                    <a:lnTo>
                      <a:pt x="921" y="299"/>
                    </a:lnTo>
                    <a:lnTo>
                      <a:pt x="921" y="299"/>
                    </a:lnTo>
                    <a:lnTo>
                      <a:pt x="926" y="299"/>
                    </a:lnTo>
                    <a:lnTo>
                      <a:pt x="926" y="299"/>
                    </a:lnTo>
                    <a:lnTo>
                      <a:pt x="926" y="299"/>
                    </a:lnTo>
                    <a:lnTo>
                      <a:pt x="926" y="294"/>
                    </a:lnTo>
                    <a:lnTo>
                      <a:pt x="926" y="294"/>
                    </a:lnTo>
                    <a:lnTo>
                      <a:pt x="926" y="294"/>
                    </a:lnTo>
                    <a:lnTo>
                      <a:pt x="921" y="299"/>
                    </a:lnTo>
                    <a:lnTo>
                      <a:pt x="921" y="294"/>
                    </a:lnTo>
                    <a:lnTo>
                      <a:pt x="921" y="294"/>
                    </a:lnTo>
                    <a:lnTo>
                      <a:pt x="926" y="294"/>
                    </a:lnTo>
                    <a:lnTo>
                      <a:pt x="926" y="294"/>
                    </a:lnTo>
                    <a:lnTo>
                      <a:pt x="926" y="294"/>
                    </a:lnTo>
                    <a:lnTo>
                      <a:pt x="926" y="289"/>
                    </a:lnTo>
                    <a:lnTo>
                      <a:pt x="930" y="289"/>
                    </a:lnTo>
                    <a:lnTo>
                      <a:pt x="930" y="289"/>
                    </a:lnTo>
                    <a:moveTo>
                      <a:pt x="944" y="294"/>
                    </a:moveTo>
                    <a:lnTo>
                      <a:pt x="944" y="294"/>
                    </a:lnTo>
                    <a:lnTo>
                      <a:pt x="939" y="299"/>
                    </a:lnTo>
                    <a:lnTo>
                      <a:pt x="939" y="299"/>
                    </a:lnTo>
                    <a:lnTo>
                      <a:pt x="939" y="299"/>
                    </a:lnTo>
                    <a:lnTo>
                      <a:pt x="935" y="299"/>
                    </a:lnTo>
                    <a:lnTo>
                      <a:pt x="935" y="299"/>
                    </a:lnTo>
                    <a:lnTo>
                      <a:pt x="935" y="299"/>
                    </a:lnTo>
                    <a:lnTo>
                      <a:pt x="935" y="299"/>
                    </a:lnTo>
                    <a:lnTo>
                      <a:pt x="939" y="299"/>
                    </a:lnTo>
                    <a:lnTo>
                      <a:pt x="939" y="299"/>
                    </a:lnTo>
                    <a:lnTo>
                      <a:pt x="935" y="294"/>
                    </a:lnTo>
                    <a:lnTo>
                      <a:pt x="935" y="294"/>
                    </a:lnTo>
                    <a:lnTo>
                      <a:pt x="935" y="294"/>
                    </a:lnTo>
                    <a:lnTo>
                      <a:pt x="939" y="294"/>
                    </a:lnTo>
                    <a:lnTo>
                      <a:pt x="939" y="294"/>
                    </a:lnTo>
                    <a:lnTo>
                      <a:pt x="939" y="294"/>
                    </a:lnTo>
                    <a:lnTo>
                      <a:pt x="944" y="289"/>
                    </a:lnTo>
                    <a:lnTo>
                      <a:pt x="944" y="289"/>
                    </a:lnTo>
                    <a:lnTo>
                      <a:pt x="948" y="289"/>
                    </a:lnTo>
                    <a:lnTo>
                      <a:pt x="948" y="289"/>
                    </a:lnTo>
                    <a:lnTo>
                      <a:pt x="948" y="289"/>
                    </a:lnTo>
                    <a:lnTo>
                      <a:pt x="948" y="294"/>
                    </a:lnTo>
                    <a:lnTo>
                      <a:pt x="944" y="294"/>
                    </a:lnTo>
                    <a:moveTo>
                      <a:pt x="935" y="280"/>
                    </a:moveTo>
                    <a:lnTo>
                      <a:pt x="935" y="280"/>
                    </a:lnTo>
                    <a:lnTo>
                      <a:pt x="935" y="280"/>
                    </a:lnTo>
                    <a:lnTo>
                      <a:pt x="939" y="280"/>
                    </a:lnTo>
                    <a:lnTo>
                      <a:pt x="935" y="280"/>
                    </a:lnTo>
                    <a:lnTo>
                      <a:pt x="935" y="285"/>
                    </a:lnTo>
                    <a:lnTo>
                      <a:pt x="935" y="285"/>
                    </a:lnTo>
                    <a:lnTo>
                      <a:pt x="935" y="285"/>
                    </a:lnTo>
                    <a:lnTo>
                      <a:pt x="935" y="285"/>
                    </a:lnTo>
                    <a:lnTo>
                      <a:pt x="930" y="285"/>
                    </a:lnTo>
                    <a:lnTo>
                      <a:pt x="930" y="289"/>
                    </a:lnTo>
                    <a:lnTo>
                      <a:pt x="926" y="289"/>
                    </a:lnTo>
                    <a:lnTo>
                      <a:pt x="921" y="289"/>
                    </a:lnTo>
                    <a:lnTo>
                      <a:pt x="921" y="294"/>
                    </a:lnTo>
                    <a:lnTo>
                      <a:pt x="921" y="294"/>
                    </a:lnTo>
                    <a:lnTo>
                      <a:pt x="921" y="294"/>
                    </a:lnTo>
                    <a:lnTo>
                      <a:pt x="921" y="294"/>
                    </a:lnTo>
                    <a:lnTo>
                      <a:pt x="921" y="294"/>
                    </a:lnTo>
                    <a:lnTo>
                      <a:pt x="917" y="294"/>
                    </a:lnTo>
                    <a:lnTo>
                      <a:pt x="917" y="294"/>
                    </a:lnTo>
                    <a:lnTo>
                      <a:pt x="921" y="289"/>
                    </a:lnTo>
                    <a:lnTo>
                      <a:pt x="926" y="285"/>
                    </a:lnTo>
                    <a:lnTo>
                      <a:pt x="926" y="285"/>
                    </a:lnTo>
                    <a:lnTo>
                      <a:pt x="926" y="285"/>
                    </a:lnTo>
                    <a:lnTo>
                      <a:pt x="926" y="285"/>
                    </a:lnTo>
                    <a:lnTo>
                      <a:pt x="930" y="285"/>
                    </a:lnTo>
                    <a:lnTo>
                      <a:pt x="930" y="280"/>
                    </a:lnTo>
                    <a:lnTo>
                      <a:pt x="930" y="280"/>
                    </a:lnTo>
                    <a:lnTo>
                      <a:pt x="930" y="280"/>
                    </a:lnTo>
                    <a:lnTo>
                      <a:pt x="935" y="276"/>
                    </a:lnTo>
                    <a:lnTo>
                      <a:pt x="935" y="276"/>
                    </a:lnTo>
                    <a:lnTo>
                      <a:pt x="939" y="280"/>
                    </a:lnTo>
                    <a:lnTo>
                      <a:pt x="939" y="280"/>
                    </a:lnTo>
                    <a:lnTo>
                      <a:pt x="935" y="280"/>
                    </a:lnTo>
                    <a:moveTo>
                      <a:pt x="948" y="276"/>
                    </a:moveTo>
                    <a:lnTo>
                      <a:pt x="948" y="276"/>
                    </a:lnTo>
                    <a:lnTo>
                      <a:pt x="948" y="280"/>
                    </a:lnTo>
                    <a:lnTo>
                      <a:pt x="948" y="276"/>
                    </a:lnTo>
                    <a:lnTo>
                      <a:pt x="948" y="276"/>
                    </a:lnTo>
                    <a:lnTo>
                      <a:pt x="948" y="280"/>
                    </a:lnTo>
                    <a:lnTo>
                      <a:pt x="948" y="280"/>
                    </a:lnTo>
                    <a:lnTo>
                      <a:pt x="948" y="280"/>
                    </a:lnTo>
                    <a:lnTo>
                      <a:pt x="948" y="280"/>
                    </a:lnTo>
                    <a:lnTo>
                      <a:pt x="948" y="280"/>
                    </a:lnTo>
                    <a:lnTo>
                      <a:pt x="944" y="285"/>
                    </a:lnTo>
                    <a:lnTo>
                      <a:pt x="944" y="285"/>
                    </a:lnTo>
                    <a:lnTo>
                      <a:pt x="944" y="285"/>
                    </a:lnTo>
                    <a:lnTo>
                      <a:pt x="944" y="285"/>
                    </a:lnTo>
                    <a:lnTo>
                      <a:pt x="944" y="285"/>
                    </a:lnTo>
                    <a:lnTo>
                      <a:pt x="944" y="285"/>
                    </a:lnTo>
                    <a:lnTo>
                      <a:pt x="944" y="280"/>
                    </a:lnTo>
                    <a:lnTo>
                      <a:pt x="944" y="280"/>
                    </a:lnTo>
                    <a:lnTo>
                      <a:pt x="944" y="280"/>
                    </a:lnTo>
                    <a:lnTo>
                      <a:pt x="944" y="280"/>
                    </a:lnTo>
                    <a:lnTo>
                      <a:pt x="944" y="285"/>
                    </a:lnTo>
                    <a:lnTo>
                      <a:pt x="944" y="285"/>
                    </a:lnTo>
                    <a:lnTo>
                      <a:pt x="944" y="285"/>
                    </a:lnTo>
                    <a:lnTo>
                      <a:pt x="939" y="285"/>
                    </a:lnTo>
                    <a:lnTo>
                      <a:pt x="939" y="285"/>
                    </a:lnTo>
                    <a:lnTo>
                      <a:pt x="939" y="285"/>
                    </a:lnTo>
                    <a:lnTo>
                      <a:pt x="939" y="289"/>
                    </a:lnTo>
                    <a:lnTo>
                      <a:pt x="939" y="289"/>
                    </a:lnTo>
                    <a:lnTo>
                      <a:pt x="939" y="289"/>
                    </a:lnTo>
                    <a:lnTo>
                      <a:pt x="935" y="289"/>
                    </a:lnTo>
                    <a:lnTo>
                      <a:pt x="935" y="289"/>
                    </a:lnTo>
                    <a:lnTo>
                      <a:pt x="935" y="285"/>
                    </a:lnTo>
                    <a:lnTo>
                      <a:pt x="935" y="285"/>
                    </a:lnTo>
                    <a:lnTo>
                      <a:pt x="935" y="285"/>
                    </a:lnTo>
                    <a:lnTo>
                      <a:pt x="935" y="285"/>
                    </a:lnTo>
                    <a:lnTo>
                      <a:pt x="939" y="280"/>
                    </a:lnTo>
                    <a:lnTo>
                      <a:pt x="939" y="280"/>
                    </a:lnTo>
                    <a:lnTo>
                      <a:pt x="939" y="280"/>
                    </a:lnTo>
                    <a:lnTo>
                      <a:pt x="939" y="280"/>
                    </a:lnTo>
                    <a:lnTo>
                      <a:pt x="939" y="276"/>
                    </a:lnTo>
                    <a:lnTo>
                      <a:pt x="939" y="276"/>
                    </a:lnTo>
                    <a:lnTo>
                      <a:pt x="939" y="276"/>
                    </a:lnTo>
                    <a:lnTo>
                      <a:pt x="944" y="276"/>
                    </a:lnTo>
                    <a:lnTo>
                      <a:pt x="944" y="276"/>
                    </a:lnTo>
                    <a:lnTo>
                      <a:pt x="948" y="276"/>
                    </a:lnTo>
                    <a:moveTo>
                      <a:pt x="935" y="267"/>
                    </a:moveTo>
                    <a:lnTo>
                      <a:pt x="935" y="267"/>
                    </a:lnTo>
                    <a:lnTo>
                      <a:pt x="935" y="271"/>
                    </a:lnTo>
                    <a:lnTo>
                      <a:pt x="935" y="271"/>
                    </a:lnTo>
                    <a:lnTo>
                      <a:pt x="930" y="276"/>
                    </a:lnTo>
                    <a:lnTo>
                      <a:pt x="930" y="280"/>
                    </a:lnTo>
                    <a:lnTo>
                      <a:pt x="926" y="280"/>
                    </a:lnTo>
                    <a:lnTo>
                      <a:pt x="926" y="280"/>
                    </a:lnTo>
                    <a:lnTo>
                      <a:pt x="926" y="285"/>
                    </a:lnTo>
                    <a:lnTo>
                      <a:pt x="926" y="285"/>
                    </a:lnTo>
                    <a:lnTo>
                      <a:pt x="921" y="285"/>
                    </a:lnTo>
                    <a:lnTo>
                      <a:pt x="921" y="285"/>
                    </a:lnTo>
                    <a:lnTo>
                      <a:pt x="921" y="285"/>
                    </a:lnTo>
                    <a:lnTo>
                      <a:pt x="917" y="289"/>
                    </a:lnTo>
                    <a:lnTo>
                      <a:pt x="917" y="289"/>
                    </a:lnTo>
                    <a:lnTo>
                      <a:pt x="917" y="289"/>
                    </a:lnTo>
                    <a:lnTo>
                      <a:pt x="917" y="289"/>
                    </a:lnTo>
                    <a:lnTo>
                      <a:pt x="917" y="289"/>
                    </a:lnTo>
                    <a:lnTo>
                      <a:pt x="917" y="289"/>
                    </a:lnTo>
                    <a:lnTo>
                      <a:pt x="917" y="285"/>
                    </a:lnTo>
                    <a:lnTo>
                      <a:pt x="917" y="285"/>
                    </a:lnTo>
                    <a:lnTo>
                      <a:pt x="921" y="285"/>
                    </a:lnTo>
                    <a:lnTo>
                      <a:pt x="921" y="280"/>
                    </a:lnTo>
                    <a:lnTo>
                      <a:pt x="921" y="280"/>
                    </a:lnTo>
                    <a:lnTo>
                      <a:pt x="921" y="280"/>
                    </a:lnTo>
                    <a:lnTo>
                      <a:pt x="921" y="280"/>
                    </a:lnTo>
                    <a:lnTo>
                      <a:pt x="921" y="280"/>
                    </a:lnTo>
                    <a:lnTo>
                      <a:pt x="921" y="280"/>
                    </a:lnTo>
                    <a:lnTo>
                      <a:pt x="921" y="280"/>
                    </a:lnTo>
                    <a:lnTo>
                      <a:pt x="921" y="280"/>
                    </a:lnTo>
                    <a:lnTo>
                      <a:pt x="921" y="280"/>
                    </a:lnTo>
                    <a:lnTo>
                      <a:pt x="921" y="276"/>
                    </a:lnTo>
                    <a:lnTo>
                      <a:pt x="921" y="280"/>
                    </a:lnTo>
                    <a:lnTo>
                      <a:pt x="921" y="276"/>
                    </a:lnTo>
                    <a:lnTo>
                      <a:pt x="921" y="276"/>
                    </a:lnTo>
                    <a:lnTo>
                      <a:pt x="921" y="276"/>
                    </a:lnTo>
                    <a:lnTo>
                      <a:pt x="921" y="276"/>
                    </a:lnTo>
                    <a:lnTo>
                      <a:pt x="926" y="276"/>
                    </a:lnTo>
                    <a:lnTo>
                      <a:pt x="926" y="276"/>
                    </a:lnTo>
                    <a:lnTo>
                      <a:pt x="926" y="276"/>
                    </a:lnTo>
                    <a:lnTo>
                      <a:pt x="926" y="271"/>
                    </a:lnTo>
                    <a:lnTo>
                      <a:pt x="930" y="271"/>
                    </a:lnTo>
                    <a:lnTo>
                      <a:pt x="930" y="271"/>
                    </a:lnTo>
                    <a:lnTo>
                      <a:pt x="930" y="271"/>
                    </a:lnTo>
                    <a:lnTo>
                      <a:pt x="921" y="271"/>
                    </a:lnTo>
                    <a:lnTo>
                      <a:pt x="921" y="271"/>
                    </a:lnTo>
                    <a:lnTo>
                      <a:pt x="921" y="271"/>
                    </a:lnTo>
                    <a:lnTo>
                      <a:pt x="921" y="271"/>
                    </a:lnTo>
                    <a:lnTo>
                      <a:pt x="921" y="271"/>
                    </a:lnTo>
                    <a:lnTo>
                      <a:pt x="926" y="271"/>
                    </a:lnTo>
                    <a:lnTo>
                      <a:pt x="926" y="267"/>
                    </a:lnTo>
                    <a:lnTo>
                      <a:pt x="926" y="267"/>
                    </a:lnTo>
                    <a:lnTo>
                      <a:pt x="930" y="267"/>
                    </a:lnTo>
                    <a:lnTo>
                      <a:pt x="930" y="267"/>
                    </a:lnTo>
                    <a:lnTo>
                      <a:pt x="930" y="267"/>
                    </a:lnTo>
                    <a:lnTo>
                      <a:pt x="930" y="267"/>
                    </a:lnTo>
                    <a:lnTo>
                      <a:pt x="935" y="267"/>
                    </a:lnTo>
                    <a:lnTo>
                      <a:pt x="935" y="267"/>
                    </a:lnTo>
                    <a:lnTo>
                      <a:pt x="935" y="267"/>
                    </a:lnTo>
                    <a:lnTo>
                      <a:pt x="935" y="267"/>
                    </a:lnTo>
                    <a:lnTo>
                      <a:pt x="935" y="267"/>
                    </a:lnTo>
                    <a:lnTo>
                      <a:pt x="935" y="267"/>
                    </a:lnTo>
                    <a:moveTo>
                      <a:pt x="948" y="253"/>
                    </a:moveTo>
                    <a:lnTo>
                      <a:pt x="948" y="253"/>
                    </a:lnTo>
                    <a:lnTo>
                      <a:pt x="948" y="253"/>
                    </a:lnTo>
                    <a:lnTo>
                      <a:pt x="948" y="253"/>
                    </a:lnTo>
                    <a:lnTo>
                      <a:pt x="944" y="253"/>
                    </a:lnTo>
                    <a:lnTo>
                      <a:pt x="944" y="253"/>
                    </a:lnTo>
                    <a:lnTo>
                      <a:pt x="944" y="258"/>
                    </a:lnTo>
                    <a:lnTo>
                      <a:pt x="944" y="258"/>
                    </a:lnTo>
                    <a:lnTo>
                      <a:pt x="944" y="258"/>
                    </a:lnTo>
                    <a:lnTo>
                      <a:pt x="948" y="253"/>
                    </a:lnTo>
                    <a:lnTo>
                      <a:pt x="948" y="253"/>
                    </a:lnTo>
                    <a:lnTo>
                      <a:pt x="948" y="253"/>
                    </a:lnTo>
                    <a:lnTo>
                      <a:pt x="953" y="253"/>
                    </a:lnTo>
                    <a:lnTo>
                      <a:pt x="953" y="258"/>
                    </a:lnTo>
                    <a:lnTo>
                      <a:pt x="953" y="258"/>
                    </a:lnTo>
                    <a:lnTo>
                      <a:pt x="953" y="258"/>
                    </a:lnTo>
                    <a:lnTo>
                      <a:pt x="948" y="262"/>
                    </a:lnTo>
                    <a:lnTo>
                      <a:pt x="944" y="262"/>
                    </a:lnTo>
                    <a:lnTo>
                      <a:pt x="944" y="262"/>
                    </a:lnTo>
                    <a:lnTo>
                      <a:pt x="944" y="258"/>
                    </a:lnTo>
                    <a:lnTo>
                      <a:pt x="944" y="262"/>
                    </a:lnTo>
                    <a:lnTo>
                      <a:pt x="944" y="262"/>
                    </a:lnTo>
                    <a:lnTo>
                      <a:pt x="944" y="262"/>
                    </a:lnTo>
                    <a:lnTo>
                      <a:pt x="944" y="262"/>
                    </a:lnTo>
                    <a:lnTo>
                      <a:pt x="944" y="262"/>
                    </a:lnTo>
                    <a:lnTo>
                      <a:pt x="939" y="267"/>
                    </a:lnTo>
                    <a:lnTo>
                      <a:pt x="939" y="267"/>
                    </a:lnTo>
                    <a:lnTo>
                      <a:pt x="939" y="262"/>
                    </a:lnTo>
                    <a:lnTo>
                      <a:pt x="939" y="262"/>
                    </a:lnTo>
                    <a:lnTo>
                      <a:pt x="935" y="262"/>
                    </a:lnTo>
                    <a:lnTo>
                      <a:pt x="935" y="262"/>
                    </a:lnTo>
                    <a:lnTo>
                      <a:pt x="935" y="262"/>
                    </a:lnTo>
                    <a:lnTo>
                      <a:pt x="930" y="267"/>
                    </a:lnTo>
                    <a:lnTo>
                      <a:pt x="930" y="267"/>
                    </a:lnTo>
                    <a:lnTo>
                      <a:pt x="926" y="267"/>
                    </a:lnTo>
                    <a:lnTo>
                      <a:pt x="930" y="262"/>
                    </a:lnTo>
                    <a:lnTo>
                      <a:pt x="930" y="262"/>
                    </a:lnTo>
                    <a:lnTo>
                      <a:pt x="930" y="258"/>
                    </a:lnTo>
                    <a:lnTo>
                      <a:pt x="930" y="258"/>
                    </a:lnTo>
                    <a:lnTo>
                      <a:pt x="930" y="253"/>
                    </a:lnTo>
                    <a:lnTo>
                      <a:pt x="935" y="253"/>
                    </a:lnTo>
                    <a:lnTo>
                      <a:pt x="935" y="253"/>
                    </a:lnTo>
                    <a:lnTo>
                      <a:pt x="935" y="253"/>
                    </a:lnTo>
                    <a:lnTo>
                      <a:pt x="939" y="253"/>
                    </a:lnTo>
                    <a:lnTo>
                      <a:pt x="939" y="249"/>
                    </a:lnTo>
                    <a:lnTo>
                      <a:pt x="939" y="253"/>
                    </a:lnTo>
                    <a:lnTo>
                      <a:pt x="939" y="253"/>
                    </a:lnTo>
                    <a:lnTo>
                      <a:pt x="939" y="253"/>
                    </a:lnTo>
                    <a:lnTo>
                      <a:pt x="944" y="253"/>
                    </a:lnTo>
                    <a:lnTo>
                      <a:pt x="944" y="253"/>
                    </a:lnTo>
                    <a:lnTo>
                      <a:pt x="944" y="253"/>
                    </a:lnTo>
                    <a:lnTo>
                      <a:pt x="948" y="253"/>
                    </a:lnTo>
                    <a:lnTo>
                      <a:pt x="948" y="249"/>
                    </a:lnTo>
                    <a:lnTo>
                      <a:pt x="948" y="253"/>
                    </a:lnTo>
                    <a:moveTo>
                      <a:pt x="957" y="253"/>
                    </a:moveTo>
                    <a:lnTo>
                      <a:pt x="957" y="253"/>
                    </a:lnTo>
                    <a:lnTo>
                      <a:pt x="962" y="253"/>
                    </a:lnTo>
                    <a:lnTo>
                      <a:pt x="962" y="253"/>
                    </a:lnTo>
                    <a:lnTo>
                      <a:pt x="962" y="258"/>
                    </a:lnTo>
                    <a:lnTo>
                      <a:pt x="962" y="262"/>
                    </a:lnTo>
                    <a:lnTo>
                      <a:pt x="957" y="262"/>
                    </a:lnTo>
                    <a:lnTo>
                      <a:pt x="957" y="262"/>
                    </a:lnTo>
                    <a:lnTo>
                      <a:pt x="957" y="267"/>
                    </a:lnTo>
                    <a:lnTo>
                      <a:pt x="957" y="267"/>
                    </a:lnTo>
                    <a:lnTo>
                      <a:pt x="957" y="267"/>
                    </a:lnTo>
                    <a:lnTo>
                      <a:pt x="957" y="262"/>
                    </a:lnTo>
                    <a:lnTo>
                      <a:pt x="957" y="262"/>
                    </a:lnTo>
                    <a:lnTo>
                      <a:pt x="957" y="262"/>
                    </a:lnTo>
                    <a:lnTo>
                      <a:pt x="957" y="262"/>
                    </a:lnTo>
                    <a:lnTo>
                      <a:pt x="962" y="258"/>
                    </a:lnTo>
                    <a:lnTo>
                      <a:pt x="962" y="258"/>
                    </a:lnTo>
                    <a:lnTo>
                      <a:pt x="962" y="258"/>
                    </a:lnTo>
                    <a:lnTo>
                      <a:pt x="962" y="258"/>
                    </a:lnTo>
                    <a:lnTo>
                      <a:pt x="962" y="258"/>
                    </a:lnTo>
                    <a:lnTo>
                      <a:pt x="957" y="258"/>
                    </a:lnTo>
                    <a:lnTo>
                      <a:pt x="957" y="258"/>
                    </a:lnTo>
                    <a:lnTo>
                      <a:pt x="957" y="262"/>
                    </a:lnTo>
                    <a:lnTo>
                      <a:pt x="953" y="262"/>
                    </a:lnTo>
                    <a:lnTo>
                      <a:pt x="953" y="267"/>
                    </a:lnTo>
                    <a:lnTo>
                      <a:pt x="953" y="267"/>
                    </a:lnTo>
                    <a:lnTo>
                      <a:pt x="953" y="267"/>
                    </a:lnTo>
                    <a:lnTo>
                      <a:pt x="948" y="267"/>
                    </a:lnTo>
                    <a:lnTo>
                      <a:pt x="948" y="271"/>
                    </a:lnTo>
                    <a:lnTo>
                      <a:pt x="948" y="271"/>
                    </a:lnTo>
                    <a:lnTo>
                      <a:pt x="948" y="271"/>
                    </a:lnTo>
                    <a:lnTo>
                      <a:pt x="944" y="271"/>
                    </a:lnTo>
                    <a:lnTo>
                      <a:pt x="939" y="271"/>
                    </a:lnTo>
                    <a:lnTo>
                      <a:pt x="935" y="276"/>
                    </a:lnTo>
                    <a:lnTo>
                      <a:pt x="935" y="276"/>
                    </a:lnTo>
                    <a:lnTo>
                      <a:pt x="935" y="276"/>
                    </a:lnTo>
                    <a:lnTo>
                      <a:pt x="935" y="276"/>
                    </a:lnTo>
                    <a:lnTo>
                      <a:pt x="935" y="271"/>
                    </a:lnTo>
                    <a:lnTo>
                      <a:pt x="939" y="271"/>
                    </a:lnTo>
                    <a:lnTo>
                      <a:pt x="939" y="271"/>
                    </a:lnTo>
                    <a:lnTo>
                      <a:pt x="944" y="267"/>
                    </a:lnTo>
                    <a:lnTo>
                      <a:pt x="944" y="267"/>
                    </a:lnTo>
                    <a:lnTo>
                      <a:pt x="944" y="267"/>
                    </a:lnTo>
                    <a:lnTo>
                      <a:pt x="948" y="262"/>
                    </a:lnTo>
                    <a:lnTo>
                      <a:pt x="948" y="262"/>
                    </a:lnTo>
                    <a:lnTo>
                      <a:pt x="953" y="258"/>
                    </a:lnTo>
                    <a:lnTo>
                      <a:pt x="953" y="258"/>
                    </a:lnTo>
                    <a:lnTo>
                      <a:pt x="957" y="253"/>
                    </a:lnTo>
                    <a:lnTo>
                      <a:pt x="957" y="253"/>
                    </a:lnTo>
                    <a:lnTo>
                      <a:pt x="957" y="253"/>
                    </a:lnTo>
                    <a:lnTo>
                      <a:pt x="957" y="253"/>
                    </a:lnTo>
                    <a:lnTo>
                      <a:pt x="962" y="249"/>
                    </a:lnTo>
                    <a:lnTo>
                      <a:pt x="962" y="253"/>
                    </a:lnTo>
                    <a:lnTo>
                      <a:pt x="957" y="253"/>
                    </a:lnTo>
                    <a:lnTo>
                      <a:pt x="957" y="253"/>
                    </a:lnTo>
                    <a:moveTo>
                      <a:pt x="768" y="222"/>
                    </a:moveTo>
                    <a:lnTo>
                      <a:pt x="768" y="222"/>
                    </a:lnTo>
                    <a:lnTo>
                      <a:pt x="768" y="222"/>
                    </a:lnTo>
                    <a:lnTo>
                      <a:pt x="768" y="222"/>
                    </a:lnTo>
                    <a:lnTo>
                      <a:pt x="772" y="222"/>
                    </a:lnTo>
                    <a:lnTo>
                      <a:pt x="772" y="222"/>
                    </a:lnTo>
                    <a:lnTo>
                      <a:pt x="772" y="222"/>
                    </a:lnTo>
                    <a:lnTo>
                      <a:pt x="772" y="222"/>
                    </a:lnTo>
                    <a:lnTo>
                      <a:pt x="772" y="222"/>
                    </a:lnTo>
                    <a:lnTo>
                      <a:pt x="772" y="222"/>
                    </a:lnTo>
                    <a:lnTo>
                      <a:pt x="772" y="222"/>
                    </a:lnTo>
                    <a:lnTo>
                      <a:pt x="768" y="222"/>
                    </a:lnTo>
                    <a:lnTo>
                      <a:pt x="768" y="226"/>
                    </a:lnTo>
                    <a:lnTo>
                      <a:pt x="768" y="226"/>
                    </a:lnTo>
                    <a:lnTo>
                      <a:pt x="768" y="226"/>
                    </a:lnTo>
                    <a:lnTo>
                      <a:pt x="768" y="226"/>
                    </a:lnTo>
                    <a:lnTo>
                      <a:pt x="768" y="222"/>
                    </a:lnTo>
                    <a:lnTo>
                      <a:pt x="768" y="222"/>
                    </a:lnTo>
                    <a:lnTo>
                      <a:pt x="768" y="222"/>
                    </a:lnTo>
                    <a:lnTo>
                      <a:pt x="763" y="222"/>
                    </a:lnTo>
                    <a:lnTo>
                      <a:pt x="763" y="222"/>
                    </a:lnTo>
                    <a:lnTo>
                      <a:pt x="763" y="226"/>
                    </a:lnTo>
                    <a:lnTo>
                      <a:pt x="763" y="226"/>
                    </a:lnTo>
                    <a:lnTo>
                      <a:pt x="763" y="226"/>
                    </a:lnTo>
                    <a:lnTo>
                      <a:pt x="763" y="226"/>
                    </a:lnTo>
                    <a:lnTo>
                      <a:pt x="759" y="226"/>
                    </a:lnTo>
                    <a:lnTo>
                      <a:pt x="759" y="226"/>
                    </a:lnTo>
                    <a:lnTo>
                      <a:pt x="763" y="222"/>
                    </a:lnTo>
                    <a:lnTo>
                      <a:pt x="759" y="222"/>
                    </a:lnTo>
                    <a:lnTo>
                      <a:pt x="759" y="226"/>
                    </a:lnTo>
                    <a:lnTo>
                      <a:pt x="759" y="226"/>
                    </a:lnTo>
                    <a:lnTo>
                      <a:pt x="754" y="226"/>
                    </a:lnTo>
                    <a:lnTo>
                      <a:pt x="754" y="226"/>
                    </a:lnTo>
                    <a:lnTo>
                      <a:pt x="754" y="226"/>
                    </a:lnTo>
                    <a:lnTo>
                      <a:pt x="754" y="226"/>
                    </a:lnTo>
                    <a:lnTo>
                      <a:pt x="754" y="226"/>
                    </a:lnTo>
                    <a:lnTo>
                      <a:pt x="750" y="226"/>
                    </a:lnTo>
                    <a:lnTo>
                      <a:pt x="750" y="222"/>
                    </a:lnTo>
                    <a:lnTo>
                      <a:pt x="759" y="222"/>
                    </a:lnTo>
                    <a:lnTo>
                      <a:pt x="759" y="222"/>
                    </a:lnTo>
                    <a:lnTo>
                      <a:pt x="759" y="222"/>
                    </a:lnTo>
                    <a:lnTo>
                      <a:pt x="763" y="222"/>
                    </a:lnTo>
                    <a:lnTo>
                      <a:pt x="763" y="222"/>
                    </a:lnTo>
                    <a:lnTo>
                      <a:pt x="763" y="222"/>
                    </a:lnTo>
                    <a:lnTo>
                      <a:pt x="763" y="217"/>
                    </a:lnTo>
                    <a:lnTo>
                      <a:pt x="763" y="217"/>
                    </a:lnTo>
                    <a:lnTo>
                      <a:pt x="768" y="217"/>
                    </a:lnTo>
                    <a:lnTo>
                      <a:pt x="768" y="217"/>
                    </a:lnTo>
                    <a:lnTo>
                      <a:pt x="768" y="217"/>
                    </a:lnTo>
                    <a:lnTo>
                      <a:pt x="768" y="222"/>
                    </a:lnTo>
                    <a:lnTo>
                      <a:pt x="768" y="222"/>
                    </a:lnTo>
                    <a:moveTo>
                      <a:pt x="682" y="158"/>
                    </a:moveTo>
                    <a:lnTo>
                      <a:pt x="682" y="158"/>
                    </a:lnTo>
                    <a:lnTo>
                      <a:pt x="682" y="158"/>
                    </a:lnTo>
                    <a:lnTo>
                      <a:pt x="682" y="163"/>
                    </a:lnTo>
                    <a:lnTo>
                      <a:pt x="686" y="163"/>
                    </a:lnTo>
                    <a:lnTo>
                      <a:pt x="686" y="163"/>
                    </a:lnTo>
                    <a:lnTo>
                      <a:pt x="686" y="163"/>
                    </a:lnTo>
                    <a:lnTo>
                      <a:pt x="686" y="163"/>
                    </a:lnTo>
                    <a:lnTo>
                      <a:pt x="682" y="163"/>
                    </a:lnTo>
                    <a:lnTo>
                      <a:pt x="682" y="163"/>
                    </a:lnTo>
                    <a:lnTo>
                      <a:pt x="682" y="163"/>
                    </a:lnTo>
                    <a:lnTo>
                      <a:pt x="677" y="167"/>
                    </a:lnTo>
                    <a:lnTo>
                      <a:pt x="677" y="167"/>
                    </a:lnTo>
                    <a:lnTo>
                      <a:pt x="677" y="167"/>
                    </a:lnTo>
                    <a:lnTo>
                      <a:pt x="677" y="167"/>
                    </a:lnTo>
                    <a:lnTo>
                      <a:pt x="673" y="167"/>
                    </a:lnTo>
                    <a:lnTo>
                      <a:pt x="673" y="167"/>
                    </a:lnTo>
                    <a:lnTo>
                      <a:pt x="668" y="167"/>
                    </a:lnTo>
                    <a:lnTo>
                      <a:pt x="668" y="167"/>
                    </a:lnTo>
                    <a:lnTo>
                      <a:pt x="668" y="172"/>
                    </a:lnTo>
                    <a:lnTo>
                      <a:pt x="664" y="172"/>
                    </a:lnTo>
                    <a:lnTo>
                      <a:pt x="664" y="172"/>
                    </a:lnTo>
                    <a:lnTo>
                      <a:pt x="668" y="167"/>
                    </a:lnTo>
                    <a:lnTo>
                      <a:pt x="664" y="167"/>
                    </a:lnTo>
                    <a:lnTo>
                      <a:pt x="664" y="167"/>
                    </a:lnTo>
                    <a:lnTo>
                      <a:pt x="664" y="163"/>
                    </a:lnTo>
                    <a:lnTo>
                      <a:pt x="664" y="163"/>
                    </a:lnTo>
                    <a:lnTo>
                      <a:pt x="664" y="163"/>
                    </a:lnTo>
                    <a:lnTo>
                      <a:pt x="664" y="158"/>
                    </a:lnTo>
                    <a:lnTo>
                      <a:pt x="668" y="158"/>
                    </a:lnTo>
                    <a:lnTo>
                      <a:pt x="668" y="158"/>
                    </a:lnTo>
                    <a:lnTo>
                      <a:pt x="673" y="163"/>
                    </a:lnTo>
                    <a:lnTo>
                      <a:pt x="673" y="158"/>
                    </a:lnTo>
                    <a:lnTo>
                      <a:pt x="677" y="158"/>
                    </a:lnTo>
                    <a:lnTo>
                      <a:pt x="677" y="158"/>
                    </a:lnTo>
                    <a:lnTo>
                      <a:pt x="682" y="158"/>
                    </a:lnTo>
                    <a:lnTo>
                      <a:pt x="682" y="158"/>
                    </a:lnTo>
                    <a:lnTo>
                      <a:pt x="682" y="158"/>
                    </a:lnTo>
                    <a:lnTo>
                      <a:pt x="682" y="158"/>
                    </a:lnTo>
                    <a:lnTo>
                      <a:pt x="682" y="158"/>
                    </a:lnTo>
                    <a:lnTo>
                      <a:pt x="682" y="158"/>
                    </a:lnTo>
                    <a:moveTo>
                      <a:pt x="1079" y="9"/>
                    </a:moveTo>
                    <a:lnTo>
                      <a:pt x="1079" y="9"/>
                    </a:lnTo>
                    <a:lnTo>
                      <a:pt x="1084" y="9"/>
                    </a:lnTo>
                    <a:lnTo>
                      <a:pt x="1084" y="9"/>
                    </a:lnTo>
                    <a:lnTo>
                      <a:pt x="1088" y="9"/>
                    </a:lnTo>
                    <a:lnTo>
                      <a:pt x="1093" y="9"/>
                    </a:lnTo>
                    <a:lnTo>
                      <a:pt x="1093" y="9"/>
                    </a:lnTo>
                    <a:lnTo>
                      <a:pt x="1097" y="9"/>
                    </a:lnTo>
                    <a:lnTo>
                      <a:pt x="1097" y="9"/>
                    </a:lnTo>
                    <a:lnTo>
                      <a:pt x="1097" y="9"/>
                    </a:lnTo>
                    <a:lnTo>
                      <a:pt x="1097" y="9"/>
                    </a:lnTo>
                    <a:lnTo>
                      <a:pt x="1093" y="9"/>
                    </a:lnTo>
                    <a:lnTo>
                      <a:pt x="1093" y="9"/>
                    </a:lnTo>
                    <a:lnTo>
                      <a:pt x="1093" y="14"/>
                    </a:lnTo>
                    <a:lnTo>
                      <a:pt x="1093" y="14"/>
                    </a:lnTo>
                    <a:lnTo>
                      <a:pt x="1097" y="14"/>
                    </a:lnTo>
                    <a:lnTo>
                      <a:pt x="1102" y="14"/>
                    </a:lnTo>
                    <a:lnTo>
                      <a:pt x="1102" y="14"/>
                    </a:lnTo>
                    <a:lnTo>
                      <a:pt x="1102" y="14"/>
                    </a:lnTo>
                    <a:lnTo>
                      <a:pt x="1106" y="14"/>
                    </a:lnTo>
                    <a:lnTo>
                      <a:pt x="1111" y="14"/>
                    </a:lnTo>
                    <a:lnTo>
                      <a:pt x="1111" y="14"/>
                    </a:lnTo>
                    <a:lnTo>
                      <a:pt x="1111" y="14"/>
                    </a:lnTo>
                    <a:lnTo>
                      <a:pt x="1111" y="14"/>
                    </a:lnTo>
                    <a:lnTo>
                      <a:pt x="1111" y="14"/>
                    </a:lnTo>
                    <a:lnTo>
                      <a:pt x="1106" y="18"/>
                    </a:lnTo>
                    <a:lnTo>
                      <a:pt x="1106" y="18"/>
                    </a:lnTo>
                    <a:lnTo>
                      <a:pt x="1106" y="18"/>
                    </a:lnTo>
                    <a:lnTo>
                      <a:pt x="1106" y="18"/>
                    </a:lnTo>
                    <a:lnTo>
                      <a:pt x="1106" y="18"/>
                    </a:lnTo>
                    <a:lnTo>
                      <a:pt x="1106" y="18"/>
                    </a:lnTo>
                    <a:lnTo>
                      <a:pt x="1111" y="18"/>
                    </a:lnTo>
                    <a:lnTo>
                      <a:pt x="1106" y="18"/>
                    </a:lnTo>
                    <a:lnTo>
                      <a:pt x="1106" y="18"/>
                    </a:lnTo>
                    <a:lnTo>
                      <a:pt x="1106" y="23"/>
                    </a:lnTo>
                    <a:lnTo>
                      <a:pt x="1111" y="23"/>
                    </a:lnTo>
                    <a:lnTo>
                      <a:pt x="1111" y="23"/>
                    </a:lnTo>
                    <a:lnTo>
                      <a:pt x="1116" y="23"/>
                    </a:lnTo>
                    <a:lnTo>
                      <a:pt x="1116" y="23"/>
                    </a:lnTo>
                    <a:lnTo>
                      <a:pt x="1120" y="23"/>
                    </a:lnTo>
                    <a:lnTo>
                      <a:pt x="1120" y="23"/>
                    </a:lnTo>
                    <a:lnTo>
                      <a:pt x="1120" y="23"/>
                    </a:lnTo>
                    <a:lnTo>
                      <a:pt x="1120" y="23"/>
                    </a:lnTo>
                    <a:lnTo>
                      <a:pt x="1125" y="23"/>
                    </a:lnTo>
                    <a:lnTo>
                      <a:pt x="1129" y="23"/>
                    </a:lnTo>
                    <a:lnTo>
                      <a:pt x="1129" y="23"/>
                    </a:lnTo>
                    <a:lnTo>
                      <a:pt x="1129" y="23"/>
                    </a:lnTo>
                    <a:lnTo>
                      <a:pt x="1129" y="27"/>
                    </a:lnTo>
                    <a:lnTo>
                      <a:pt x="1134" y="27"/>
                    </a:lnTo>
                    <a:lnTo>
                      <a:pt x="1129" y="27"/>
                    </a:lnTo>
                    <a:lnTo>
                      <a:pt x="1134" y="27"/>
                    </a:lnTo>
                    <a:lnTo>
                      <a:pt x="1134" y="27"/>
                    </a:lnTo>
                    <a:lnTo>
                      <a:pt x="1134" y="27"/>
                    </a:lnTo>
                    <a:lnTo>
                      <a:pt x="1134" y="27"/>
                    </a:lnTo>
                    <a:lnTo>
                      <a:pt x="1138" y="27"/>
                    </a:lnTo>
                    <a:lnTo>
                      <a:pt x="1134" y="32"/>
                    </a:lnTo>
                    <a:lnTo>
                      <a:pt x="1134" y="32"/>
                    </a:lnTo>
                    <a:lnTo>
                      <a:pt x="1138" y="32"/>
                    </a:lnTo>
                    <a:lnTo>
                      <a:pt x="1143" y="32"/>
                    </a:lnTo>
                    <a:lnTo>
                      <a:pt x="1147" y="32"/>
                    </a:lnTo>
                    <a:lnTo>
                      <a:pt x="1147" y="32"/>
                    </a:lnTo>
                    <a:lnTo>
                      <a:pt x="1152" y="32"/>
                    </a:lnTo>
                    <a:lnTo>
                      <a:pt x="1152" y="36"/>
                    </a:lnTo>
                    <a:lnTo>
                      <a:pt x="1152" y="36"/>
                    </a:lnTo>
                    <a:lnTo>
                      <a:pt x="1152" y="36"/>
                    </a:lnTo>
                    <a:lnTo>
                      <a:pt x="1156" y="36"/>
                    </a:lnTo>
                    <a:lnTo>
                      <a:pt x="1161" y="36"/>
                    </a:lnTo>
                    <a:lnTo>
                      <a:pt x="1165" y="36"/>
                    </a:lnTo>
                    <a:lnTo>
                      <a:pt x="1170" y="36"/>
                    </a:lnTo>
                    <a:lnTo>
                      <a:pt x="1170" y="36"/>
                    </a:lnTo>
                    <a:lnTo>
                      <a:pt x="1170" y="36"/>
                    </a:lnTo>
                    <a:lnTo>
                      <a:pt x="1170" y="36"/>
                    </a:lnTo>
                    <a:lnTo>
                      <a:pt x="1174" y="36"/>
                    </a:lnTo>
                    <a:lnTo>
                      <a:pt x="1174" y="41"/>
                    </a:lnTo>
                    <a:lnTo>
                      <a:pt x="1174" y="41"/>
                    </a:lnTo>
                    <a:lnTo>
                      <a:pt x="1174" y="41"/>
                    </a:lnTo>
                    <a:lnTo>
                      <a:pt x="1179" y="45"/>
                    </a:lnTo>
                    <a:lnTo>
                      <a:pt x="1179" y="45"/>
                    </a:lnTo>
                    <a:lnTo>
                      <a:pt x="1179" y="50"/>
                    </a:lnTo>
                    <a:lnTo>
                      <a:pt x="1179" y="50"/>
                    </a:lnTo>
                    <a:lnTo>
                      <a:pt x="1179" y="50"/>
                    </a:lnTo>
                    <a:lnTo>
                      <a:pt x="1179" y="50"/>
                    </a:lnTo>
                    <a:lnTo>
                      <a:pt x="1179" y="50"/>
                    </a:lnTo>
                    <a:lnTo>
                      <a:pt x="1174" y="54"/>
                    </a:lnTo>
                    <a:lnTo>
                      <a:pt x="1165" y="59"/>
                    </a:lnTo>
                    <a:lnTo>
                      <a:pt x="1156" y="63"/>
                    </a:lnTo>
                    <a:lnTo>
                      <a:pt x="1147" y="68"/>
                    </a:lnTo>
                    <a:lnTo>
                      <a:pt x="1143" y="72"/>
                    </a:lnTo>
                    <a:lnTo>
                      <a:pt x="1134" y="77"/>
                    </a:lnTo>
                    <a:lnTo>
                      <a:pt x="1125" y="82"/>
                    </a:lnTo>
                    <a:lnTo>
                      <a:pt x="1116" y="86"/>
                    </a:lnTo>
                    <a:lnTo>
                      <a:pt x="1111" y="91"/>
                    </a:lnTo>
                    <a:lnTo>
                      <a:pt x="1102" y="95"/>
                    </a:lnTo>
                    <a:lnTo>
                      <a:pt x="1093" y="100"/>
                    </a:lnTo>
                    <a:lnTo>
                      <a:pt x="1088" y="104"/>
                    </a:lnTo>
                    <a:lnTo>
                      <a:pt x="1079" y="109"/>
                    </a:lnTo>
                    <a:lnTo>
                      <a:pt x="1070" y="118"/>
                    </a:lnTo>
                    <a:lnTo>
                      <a:pt x="1061" y="122"/>
                    </a:lnTo>
                    <a:lnTo>
                      <a:pt x="1057" y="127"/>
                    </a:lnTo>
                    <a:lnTo>
                      <a:pt x="1048" y="131"/>
                    </a:lnTo>
                    <a:lnTo>
                      <a:pt x="1039" y="136"/>
                    </a:lnTo>
                    <a:lnTo>
                      <a:pt x="1034" y="140"/>
                    </a:lnTo>
                    <a:lnTo>
                      <a:pt x="1025" y="145"/>
                    </a:lnTo>
                    <a:lnTo>
                      <a:pt x="1016" y="149"/>
                    </a:lnTo>
                    <a:lnTo>
                      <a:pt x="1012" y="154"/>
                    </a:lnTo>
                    <a:lnTo>
                      <a:pt x="1003" y="158"/>
                    </a:lnTo>
                    <a:lnTo>
                      <a:pt x="998" y="167"/>
                    </a:lnTo>
                    <a:lnTo>
                      <a:pt x="989" y="172"/>
                    </a:lnTo>
                    <a:lnTo>
                      <a:pt x="980" y="176"/>
                    </a:lnTo>
                    <a:lnTo>
                      <a:pt x="975" y="181"/>
                    </a:lnTo>
                    <a:lnTo>
                      <a:pt x="966" y="186"/>
                    </a:lnTo>
                    <a:lnTo>
                      <a:pt x="962" y="190"/>
                    </a:lnTo>
                    <a:lnTo>
                      <a:pt x="953" y="195"/>
                    </a:lnTo>
                    <a:lnTo>
                      <a:pt x="944" y="199"/>
                    </a:lnTo>
                    <a:lnTo>
                      <a:pt x="939" y="208"/>
                    </a:lnTo>
                    <a:lnTo>
                      <a:pt x="939" y="208"/>
                    </a:lnTo>
                    <a:lnTo>
                      <a:pt x="939" y="208"/>
                    </a:lnTo>
                    <a:lnTo>
                      <a:pt x="944" y="208"/>
                    </a:lnTo>
                    <a:lnTo>
                      <a:pt x="944" y="208"/>
                    </a:lnTo>
                    <a:lnTo>
                      <a:pt x="948" y="208"/>
                    </a:lnTo>
                    <a:lnTo>
                      <a:pt x="948" y="208"/>
                    </a:lnTo>
                    <a:lnTo>
                      <a:pt x="953" y="208"/>
                    </a:lnTo>
                    <a:lnTo>
                      <a:pt x="957" y="208"/>
                    </a:lnTo>
                    <a:lnTo>
                      <a:pt x="957" y="208"/>
                    </a:lnTo>
                    <a:lnTo>
                      <a:pt x="962" y="208"/>
                    </a:lnTo>
                    <a:lnTo>
                      <a:pt x="957" y="208"/>
                    </a:lnTo>
                    <a:lnTo>
                      <a:pt x="957" y="213"/>
                    </a:lnTo>
                    <a:lnTo>
                      <a:pt x="953" y="213"/>
                    </a:lnTo>
                    <a:lnTo>
                      <a:pt x="953" y="213"/>
                    </a:lnTo>
                    <a:lnTo>
                      <a:pt x="953" y="217"/>
                    </a:lnTo>
                    <a:lnTo>
                      <a:pt x="953" y="217"/>
                    </a:lnTo>
                    <a:lnTo>
                      <a:pt x="953" y="217"/>
                    </a:lnTo>
                    <a:lnTo>
                      <a:pt x="953" y="222"/>
                    </a:lnTo>
                    <a:lnTo>
                      <a:pt x="953" y="222"/>
                    </a:lnTo>
                    <a:lnTo>
                      <a:pt x="953" y="226"/>
                    </a:lnTo>
                    <a:lnTo>
                      <a:pt x="948" y="226"/>
                    </a:lnTo>
                    <a:lnTo>
                      <a:pt x="948" y="226"/>
                    </a:lnTo>
                    <a:lnTo>
                      <a:pt x="948" y="231"/>
                    </a:lnTo>
                    <a:lnTo>
                      <a:pt x="948" y="231"/>
                    </a:lnTo>
                    <a:lnTo>
                      <a:pt x="948" y="231"/>
                    </a:lnTo>
                    <a:lnTo>
                      <a:pt x="944" y="235"/>
                    </a:lnTo>
                    <a:lnTo>
                      <a:pt x="944" y="235"/>
                    </a:lnTo>
                    <a:lnTo>
                      <a:pt x="944" y="235"/>
                    </a:lnTo>
                    <a:lnTo>
                      <a:pt x="948" y="235"/>
                    </a:lnTo>
                    <a:lnTo>
                      <a:pt x="953" y="235"/>
                    </a:lnTo>
                    <a:lnTo>
                      <a:pt x="953" y="235"/>
                    </a:lnTo>
                    <a:lnTo>
                      <a:pt x="957" y="235"/>
                    </a:lnTo>
                    <a:lnTo>
                      <a:pt x="957" y="235"/>
                    </a:lnTo>
                    <a:lnTo>
                      <a:pt x="962" y="231"/>
                    </a:lnTo>
                    <a:lnTo>
                      <a:pt x="966" y="226"/>
                    </a:lnTo>
                    <a:lnTo>
                      <a:pt x="971" y="231"/>
                    </a:lnTo>
                    <a:lnTo>
                      <a:pt x="971" y="226"/>
                    </a:lnTo>
                    <a:lnTo>
                      <a:pt x="971" y="226"/>
                    </a:lnTo>
                    <a:lnTo>
                      <a:pt x="971" y="226"/>
                    </a:lnTo>
                    <a:lnTo>
                      <a:pt x="975" y="226"/>
                    </a:lnTo>
                    <a:lnTo>
                      <a:pt x="980" y="226"/>
                    </a:lnTo>
                    <a:lnTo>
                      <a:pt x="985" y="226"/>
                    </a:lnTo>
                    <a:lnTo>
                      <a:pt x="985" y="226"/>
                    </a:lnTo>
                    <a:lnTo>
                      <a:pt x="985" y="226"/>
                    </a:lnTo>
                    <a:lnTo>
                      <a:pt x="985" y="226"/>
                    </a:lnTo>
                    <a:lnTo>
                      <a:pt x="985" y="226"/>
                    </a:lnTo>
                    <a:lnTo>
                      <a:pt x="985" y="231"/>
                    </a:lnTo>
                    <a:lnTo>
                      <a:pt x="985" y="231"/>
                    </a:lnTo>
                    <a:lnTo>
                      <a:pt x="985" y="231"/>
                    </a:lnTo>
                    <a:lnTo>
                      <a:pt x="980" y="235"/>
                    </a:lnTo>
                    <a:lnTo>
                      <a:pt x="980" y="235"/>
                    </a:lnTo>
                    <a:lnTo>
                      <a:pt x="980" y="235"/>
                    </a:lnTo>
                    <a:lnTo>
                      <a:pt x="980" y="235"/>
                    </a:lnTo>
                    <a:lnTo>
                      <a:pt x="980" y="235"/>
                    </a:lnTo>
                    <a:lnTo>
                      <a:pt x="980" y="240"/>
                    </a:lnTo>
                    <a:lnTo>
                      <a:pt x="980" y="240"/>
                    </a:lnTo>
                    <a:lnTo>
                      <a:pt x="980" y="240"/>
                    </a:lnTo>
                    <a:lnTo>
                      <a:pt x="980" y="240"/>
                    </a:lnTo>
                    <a:lnTo>
                      <a:pt x="980" y="240"/>
                    </a:lnTo>
                    <a:lnTo>
                      <a:pt x="980" y="240"/>
                    </a:lnTo>
                    <a:lnTo>
                      <a:pt x="980" y="244"/>
                    </a:lnTo>
                    <a:lnTo>
                      <a:pt x="980" y="244"/>
                    </a:lnTo>
                    <a:lnTo>
                      <a:pt x="980" y="244"/>
                    </a:lnTo>
                    <a:lnTo>
                      <a:pt x="980" y="244"/>
                    </a:lnTo>
                    <a:lnTo>
                      <a:pt x="980" y="249"/>
                    </a:lnTo>
                    <a:lnTo>
                      <a:pt x="980" y="249"/>
                    </a:lnTo>
                    <a:lnTo>
                      <a:pt x="980" y="253"/>
                    </a:lnTo>
                    <a:lnTo>
                      <a:pt x="975" y="253"/>
                    </a:lnTo>
                    <a:lnTo>
                      <a:pt x="975" y="258"/>
                    </a:lnTo>
                    <a:lnTo>
                      <a:pt x="975" y="258"/>
                    </a:lnTo>
                    <a:lnTo>
                      <a:pt x="971" y="262"/>
                    </a:lnTo>
                    <a:lnTo>
                      <a:pt x="971" y="262"/>
                    </a:lnTo>
                    <a:lnTo>
                      <a:pt x="971" y="262"/>
                    </a:lnTo>
                    <a:lnTo>
                      <a:pt x="971" y="267"/>
                    </a:lnTo>
                    <a:lnTo>
                      <a:pt x="966" y="271"/>
                    </a:lnTo>
                    <a:lnTo>
                      <a:pt x="966" y="271"/>
                    </a:lnTo>
                    <a:lnTo>
                      <a:pt x="966" y="276"/>
                    </a:lnTo>
                    <a:lnTo>
                      <a:pt x="966" y="276"/>
                    </a:lnTo>
                    <a:lnTo>
                      <a:pt x="962" y="276"/>
                    </a:lnTo>
                    <a:lnTo>
                      <a:pt x="962" y="276"/>
                    </a:lnTo>
                    <a:lnTo>
                      <a:pt x="962" y="280"/>
                    </a:lnTo>
                    <a:lnTo>
                      <a:pt x="962" y="280"/>
                    </a:lnTo>
                    <a:lnTo>
                      <a:pt x="962" y="280"/>
                    </a:lnTo>
                    <a:lnTo>
                      <a:pt x="957" y="280"/>
                    </a:lnTo>
                    <a:lnTo>
                      <a:pt x="962" y="285"/>
                    </a:lnTo>
                    <a:lnTo>
                      <a:pt x="962" y="285"/>
                    </a:lnTo>
                    <a:lnTo>
                      <a:pt x="957" y="285"/>
                    </a:lnTo>
                    <a:lnTo>
                      <a:pt x="957" y="285"/>
                    </a:lnTo>
                    <a:lnTo>
                      <a:pt x="957" y="289"/>
                    </a:lnTo>
                    <a:lnTo>
                      <a:pt x="957" y="289"/>
                    </a:lnTo>
                    <a:lnTo>
                      <a:pt x="962" y="289"/>
                    </a:lnTo>
                    <a:lnTo>
                      <a:pt x="962" y="289"/>
                    </a:lnTo>
                    <a:lnTo>
                      <a:pt x="962" y="289"/>
                    </a:lnTo>
                    <a:lnTo>
                      <a:pt x="962" y="289"/>
                    </a:lnTo>
                    <a:lnTo>
                      <a:pt x="962" y="294"/>
                    </a:lnTo>
                    <a:lnTo>
                      <a:pt x="962" y="294"/>
                    </a:lnTo>
                    <a:lnTo>
                      <a:pt x="962" y="294"/>
                    </a:lnTo>
                    <a:lnTo>
                      <a:pt x="962" y="294"/>
                    </a:lnTo>
                    <a:lnTo>
                      <a:pt x="966" y="299"/>
                    </a:lnTo>
                    <a:lnTo>
                      <a:pt x="962" y="299"/>
                    </a:lnTo>
                    <a:lnTo>
                      <a:pt x="966" y="299"/>
                    </a:lnTo>
                    <a:lnTo>
                      <a:pt x="966" y="299"/>
                    </a:lnTo>
                    <a:lnTo>
                      <a:pt x="966" y="299"/>
                    </a:lnTo>
                    <a:lnTo>
                      <a:pt x="966" y="303"/>
                    </a:lnTo>
                    <a:lnTo>
                      <a:pt x="966" y="303"/>
                    </a:lnTo>
                    <a:lnTo>
                      <a:pt x="962" y="303"/>
                    </a:lnTo>
                    <a:lnTo>
                      <a:pt x="962" y="303"/>
                    </a:lnTo>
                    <a:lnTo>
                      <a:pt x="962" y="303"/>
                    </a:lnTo>
                    <a:lnTo>
                      <a:pt x="957" y="308"/>
                    </a:lnTo>
                    <a:lnTo>
                      <a:pt x="957" y="308"/>
                    </a:lnTo>
                    <a:lnTo>
                      <a:pt x="957" y="308"/>
                    </a:lnTo>
                    <a:lnTo>
                      <a:pt x="953" y="312"/>
                    </a:lnTo>
                    <a:lnTo>
                      <a:pt x="953" y="312"/>
                    </a:lnTo>
                    <a:lnTo>
                      <a:pt x="953" y="312"/>
                    </a:lnTo>
                    <a:lnTo>
                      <a:pt x="948" y="312"/>
                    </a:lnTo>
                    <a:lnTo>
                      <a:pt x="944" y="317"/>
                    </a:lnTo>
                    <a:lnTo>
                      <a:pt x="944" y="317"/>
                    </a:lnTo>
                    <a:lnTo>
                      <a:pt x="944" y="321"/>
                    </a:lnTo>
                    <a:lnTo>
                      <a:pt x="939" y="321"/>
                    </a:lnTo>
                    <a:lnTo>
                      <a:pt x="935" y="321"/>
                    </a:lnTo>
                    <a:lnTo>
                      <a:pt x="935" y="321"/>
                    </a:lnTo>
                    <a:lnTo>
                      <a:pt x="935" y="321"/>
                    </a:lnTo>
                    <a:lnTo>
                      <a:pt x="930" y="321"/>
                    </a:lnTo>
                    <a:lnTo>
                      <a:pt x="935" y="321"/>
                    </a:lnTo>
                    <a:lnTo>
                      <a:pt x="935" y="317"/>
                    </a:lnTo>
                    <a:lnTo>
                      <a:pt x="935" y="317"/>
                    </a:lnTo>
                    <a:lnTo>
                      <a:pt x="935" y="317"/>
                    </a:lnTo>
                    <a:lnTo>
                      <a:pt x="939" y="312"/>
                    </a:lnTo>
                    <a:lnTo>
                      <a:pt x="944" y="312"/>
                    </a:lnTo>
                    <a:lnTo>
                      <a:pt x="944" y="312"/>
                    </a:lnTo>
                    <a:lnTo>
                      <a:pt x="944" y="312"/>
                    </a:lnTo>
                    <a:lnTo>
                      <a:pt x="944" y="312"/>
                    </a:lnTo>
                    <a:lnTo>
                      <a:pt x="944" y="312"/>
                    </a:lnTo>
                    <a:lnTo>
                      <a:pt x="944" y="308"/>
                    </a:lnTo>
                    <a:lnTo>
                      <a:pt x="948" y="308"/>
                    </a:lnTo>
                    <a:lnTo>
                      <a:pt x="948" y="303"/>
                    </a:lnTo>
                    <a:lnTo>
                      <a:pt x="948" y="303"/>
                    </a:lnTo>
                    <a:lnTo>
                      <a:pt x="953" y="299"/>
                    </a:lnTo>
                    <a:lnTo>
                      <a:pt x="953" y="299"/>
                    </a:lnTo>
                    <a:lnTo>
                      <a:pt x="953" y="299"/>
                    </a:lnTo>
                    <a:lnTo>
                      <a:pt x="957" y="299"/>
                    </a:lnTo>
                    <a:lnTo>
                      <a:pt x="953" y="299"/>
                    </a:lnTo>
                    <a:lnTo>
                      <a:pt x="944" y="299"/>
                    </a:lnTo>
                    <a:lnTo>
                      <a:pt x="944" y="303"/>
                    </a:lnTo>
                    <a:lnTo>
                      <a:pt x="939" y="303"/>
                    </a:lnTo>
                    <a:lnTo>
                      <a:pt x="939" y="303"/>
                    </a:lnTo>
                    <a:lnTo>
                      <a:pt x="939" y="303"/>
                    </a:lnTo>
                    <a:lnTo>
                      <a:pt x="939" y="303"/>
                    </a:lnTo>
                    <a:lnTo>
                      <a:pt x="939" y="303"/>
                    </a:lnTo>
                    <a:lnTo>
                      <a:pt x="935" y="303"/>
                    </a:lnTo>
                    <a:lnTo>
                      <a:pt x="935" y="308"/>
                    </a:lnTo>
                    <a:lnTo>
                      <a:pt x="930" y="308"/>
                    </a:lnTo>
                    <a:lnTo>
                      <a:pt x="930" y="308"/>
                    </a:lnTo>
                    <a:lnTo>
                      <a:pt x="930" y="308"/>
                    </a:lnTo>
                    <a:lnTo>
                      <a:pt x="935" y="303"/>
                    </a:lnTo>
                    <a:lnTo>
                      <a:pt x="935" y="303"/>
                    </a:lnTo>
                    <a:lnTo>
                      <a:pt x="935" y="303"/>
                    </a:lnTo>
                    <a:lnTo>
                      <a:pt x="939" y="303"/>
                    </a:lnTo>
                    <a:lnTo>
                      <a:pt x="939" y="299"/>
                    </a:lnTo>
                    <a:lnTo>
                      <a:pt x="948" y="294"/>
                    </a:lnTo>
                    <a:lnTo>
                      <a:pt x="948" y="294"/>
                    </a:lnTo>
                    <a:lnTo>
                      <a:pt x="953" y="294"/>
                    </a:lnTo>
                    <a:lnTo>
                      <a:pt x="948" y="294"/>
                    </a:lnTo>
                    <a:lnTo>
                      <a:pt x="948" y="294"/>
                    </a:lnTo>
                    <a:lnTo>
                      <a:pt x="948" y="294"/>
                    </a:lnTo>
                    <a:lnTo>
                      <a:pt x="948" y="294"/>
                    </a:lnTo>
                    <a:lnTo>
                      <a:pt x="948" y="289"/>
                    </a:lnTo>
                    <a:lnTo>
                      <a:pt x="948" y="289"/>
                    </a:lnTo>
                    <a:lnTo>
                      <a:pt x="948" y="289"/>
                    </a:lnTo>
                    <a:lnTo>
                      <a:pt x="948" y="289"/>
                    </a:lnTo>
                    <a:lnTo>
                      <a:pt x="948" y="289"/>
                    </a:lnTo>
                    <a:lnTo>
                      <a:pt x="948" y="289"/>
                    </a:lnTo>
                    <a:lnTo>
                      <a:pt x="953" y="285"/>
                    </a:lnTo>
                    <a:lnTo>
                      <a:pt x="953" y="285"/>
                    </a:lnTo>
                    <a:lnTo>
                      <a:pt x="948" y="285"/>
                    </a:lnTo>
                    <a:lnTo>
                      <a:pt x="948" y="285"/>
                    </a:lnTo>
                    <a:lnTo>
                      <a:pt x="953" y="285"/>
                    </a:lnTo>
                    <a:lnTo>
                      <a:pt x="953" y="280"/>
                    </a:lnTo>
                    <a:lnTo>
                      <a:pt x="953" y="280"/>
                    </a:lnTo>
                    <a:lnTo>
                      <a:pt x="953" y="280"/>
                    </a:lnTo>
                    <a:lnTo>
                      <a:pt x="953" y="280"/>
                    </a:lnTo>
                    <a:lnTo>
                      <a:pt x="953" y="280"/>
                    </a:lnTo>
                    <a:lnTo>
                      <a:pt x="953" y="276"/>
                    </a:lnTo>
                    <a:lnTo>
                      <a:pt x="953" y="276"/>
                    </a:lnTo>
                    <a:lnTo>
                      <a:pt x="953" y="276"/>
                    </a:lnTo>
                    <a:lnTo>
                      <a:pt x="948" y="276"/>
                    </a:lnTo>
                    <a:lnTo>
                      <a:pt x="953" y="271"/>
                    </a:lnTo>
                    <a:lnTo>
                      <a:pt x="957" y="267"/>
                    </a:lnTo>
                    <a:lnTo>
                      <a:pt x="957" y="267"/>
                    </a:lnTo>
                    <a:lnTo>
                      <a:pt x="957" y="267"/>
                    </a:lnTo>
                    <a:lnTo>
                      <a:pt x="962" y="267"/>
                    </a:lnTo>
                    <a:lnTo>
                      <a:pt x="962" y="267"/>
                    </a:lnTo>
                    <a:lnTo>
                      <a:pt x="962" y="267"/>
                    </a:lnTo>
                    <a:lnTo>
                      <a:pt x="962" y="267"/>
                    </a:lnTo>
                    <a:lnTo>
                      <a:pt x="962" y="267"/>
                    </a:lnTo>
                    <a:lnTo>
                      <a:pt x="962" y="262"/>
                    </a:lnTo>
                    <a:lnTo>
                      <a:pt x="962" y="262"/>
                    </a:lnTo>
                    <a:lnTo>
                      <a:pt x="962" y="262"/>
                    </a:lnTo>
                    <a:lnTo>
                      <a:pt x="966" y="262"/>
                    </a:lnTo>
                    <a:lnTo>
                      <a:pt x="966" y="262"/>
                    </a:lnTo>
                    <a:lnTo>
                      <a:pt x="966" y="262"/>
                    </a:lnTo>
                    <a:lnTo>
                      <a:pt x="971" y="262"/>
                    </a:lnTo>
                    <a:lnTo>
                      <a:pt x="966" y="262"/>
                    </a:lnTo>
                    <a:lnTo>
                      <a:pt x="966" y="262"/>
                    </a:lnTo>
                    <a:lnTo>
                      <a:pt x="962" y="262"/>
                    </a:lnTo>
                    <a:lnTo>
                      <a:pt x="962" y="262"/>
                    </a:lnTo>
                    <a:lnTo>
                      <a:pt x="962" y="262"/>
                    </a:lnTo>
                    <a:lnTo>
                      <a:pt x="962" y="262"/>
                    </a:lnTo>
                    <a:lnTo>
                      <a:pt x="962" y="258"/>
                    </a:lnTo>
                    <a:lnTo>
                      <a:pt x="962" y="258"/>
                    </a:lnTo>
                    <a:lnTo>
                      <a:pt x="962" y="258"/>
                    </a:lnTo>
                    <a:lnTo>
                      <a:pt x="966" y="258"/>
                    </a:lnTo>
                    <a:lnTo>
                      <a:pt x="966" y="253"/>
                    </a:lnTo>
                    <a:lnTo>
                      <a:pt x="966" y="253"/>
                    </a:lnTo>
                    <a:lnTo>
                      <a:pt x="975" y="249"/>
                    </a:lnTo>
                    <a:lnTo>
                      <a:pt x="975" y="249"/>
                    </a:lnTo>
                    <a:lnTo>
                      <a:pt x="975" y="249"/>
                    </a:lnTo>
                    <a:lnTo>
                      <a:pt x="975" y="249"/>
                    </a:lnTo>
                    <a:lnTo>
                      <a:pt x="975" y="249"/>
                    </a:lnTo>
                    <a:lnTo>
                      <a:pt x="971" y="249"/>
                    </a:lnTo>
                    <a:lnTo>
                      <a:pt x="966" y="253"/>
                    </a:lnTo>
                    <a:lnTo>
                      <a:pt x="966" y="253"/>
                    </a:lnTo>
                    <a:lnTo>
                      <a:pt x="966" y="253"/>
                    </a:lnTo>
                    <a:lnTo>
                      <a:pt x="966" y="253"/>
                    </a:lnTo>
                    <a:lnTo>
                      <a:pt x="966" y="253"/>
                    </a:lnTo>
                    <a:lnTo>
                      <a:pt x="962" y="249"/>
                    </a:lnTo>
                    <a:lnTo>
                      <a:pt x="962" y="249"/>
                    </a:lnTo>
                    <a:lnTo>
                      <a:pt x="966" y="244"/>
                    </a:lnTo>
                    <a:lnTo>
                      <a:pt x="966" y="244"/>
                    </a:lnTo>
                    <a:lnTo>
                      <a:pt x="966" y="244"/>
                    </a:lnTo>
                    <a:lnTo>
                      <a:pt x="966" y="244"/>
                    </a:lnTo>
                    <a:lnTo>
                      <a:pt x="966" y="240"/>
                    </a:lnTo>
                    <a:lnTo>
                      <a:pt x="971" y="235"/>
                    </a:lnTo>
                    <a:lnTo>
                      <a:pt x="975" y="235"/>
                    </a:lnTo>
                    <a:lnTo>
                      <a:pt x="975" y="231"/>
                    </a:lnTo>
                    <a:lnTo>
                      <a:pt x="980" y="231"/>
                    </a:lnTo>
                    <a:lnTo>
                      <a:pt x="980" y="231"/>
                    </a:lnTo>
                    <a:lnTo>
                      <a:pt x="975" y="231"/>
                    </a:lnTo>
                    <a:lnTo>
                      <a:pt x="975" y="231"/>
                    </a:lnTo>
                    <a:lnTo>
                      <a:pt x="975" y="231"/>
                    </a:lnTo>
                    <a:lnTo>
                      <a:pt x="975" y="235"/>
                    </a:lnTo>
                    <a:lnTo>
                      <a:pt x="975" y="235"/>
                    </a:lnTo>
                    <a:lnTo>
                      <a:pt x="975" y="235"/>
                    </a:lnTo>
                    <a:lnTo>
                      <a:pt x="971" y="235"/>
                    </a:lnTo>
                    <a:lnTo>
                      <a:pt x="971" y="235"/>
                    </a:lnTo>
                    <a:lnTo>
                      <a:pt x="966" y="240"/>
                    </a:lnTo>
                    <a:lnTo>
                      <a:pt x="966" y="244"/>
                    </a:lnTo>
                    <a:lnTo>
                      <a:pt x="962" y="244"/>
                    </a:lnTo>
                    <a:lnTo>
                      <a:pt x="962" y="244"/>
                    </a:lnTo>
                    <a:lnTo>
                      <a:pt x="962" y="249"/>
                    </a:lnTo>
                    <a:lnTo>
                      <a:pt x="957" y="249"/>
                    </a:lnTo>
                    <a:lnTo>
                      <a:pt x="957" y="253"/>
                    </a:lnTo>
                    <a:lnTo>
                      <a:pt x="957" y="253"/>
                    </a:lnTo>
                    <a:lnTo>
                      <a:pt x="957" y="253"/>
                    </a:lnTo>
                    <a:lnTo>
                      <a:pt x="953" y="253"/>
                    </a:lnTo>
                    <a:lnTo>
                      <a:pt x="953" y="253"/>
                    </a:lnTo>
                    <a:lnTo>
                      <a:pt x="953" y="249"/>
                    </a:lnTo>
                    <a:lnTo>
                      <a:pt x="953" y="249"/>
                    </a:lnTo>
                    <a:lnTo>
                      <a:pt x="953" y="249"/>
                    </a:lnTo>
                    <a:lnTo>
                      <a:pt x="948" y="249"/>
                    </a:lnTo>
                    <a:lnTo>
                      <a:pt x="948" y="249"/>
                    </a:lnTo>
                    <a:lnTo>
                      <a:pt x="953" y="249"/>
                    </a:lnTo>
                    <a:lnTo>
                      <a:pt x="953" y="244"/>
                    </a:lnTo>
                    <a:lnTo>
                      <a:pt x="953" y="244"/>
                    </a:lnTo>
                    <a:lnTo>
                      <a:pt x="957" y="240"/>
                    </a:lnTo>
                    <a:lnTo>
                      <a:pt x="957" y="240"/>
                    </a:lnTo>
                    <a:lnTo>
                      <a:pt x="962" y="240"/>
                    </a:lnTo>
                    <a:lnTo>
                      <a:pt x="962" y="240"/>
                    </a:lnTo>
                    <a:lnTo>
                      <a:pt x="957" y="240"/>
                    </a:lnTo>
                    <a:lnTo>
                      <a:pt x="957" y="240"/>
                    </a:lnTo>
                    <a:lnTo>
                      <a:pt x="962" y="235"/>
                    </a:lnTo>
                    <a:lnTo>
                      <a:pt x="962" y="235"/>
                    </a:lnTo>
                    <a:lnTo>
                      <a:pt x="962" y="235"/>
                    </a:lnTo>
                    <a:lnTo>
                      <a:pt x="957" y="240"/>
                    </a:lnTo>
                    <a:lnTo>
                      <a:pt x="957" y="240"/>
                    </a:lnTo>
                    <a:lnTo>
                      <a:pt x="957" y="240"/>
                    </a:lnTo>
                    <a:lnTo>
                      <a:pt x="957" y="240"/>
                    </a:lnTo>
                    <a:lnTo>
                      <a:pt x="957" y="240"/>
                    </a:lnTo>
                    <a:lnTo>
                      <a:pt x="953" y="240"/>
                    </a:lnTo>
                    <a:lnTo>
                      <a:pt x="953" y="240"/>
                    </a:lnTo>
                    <a:lnTo>
                      <a:pt x="953" y="240"/>
                    </a:lnTo>
                    <a:lnTo>
                      <a:pt x="953" y="240"/>
                    </a:lnTo>
                    <a:lnTo>
                      <a:pt x="953" y="240"/>
                    </a:lnTo>
                    <a:lnTo>
                      <a:pt x="953" y="240"/>
                    </a:lnTo>
                    <a:lnTo>
                      <a:pt x="953" y="240"/>
                    </a:lnTo>
                    <a:lnTo>
                      <a:pt x="953" y="235"/>
                    </a:lnTo>
                    <a:lnTo>
                      <a:pt x="953" y="235"/>
                    </a:lnTo>
                    <a:lnTo>
                      <a:pt x="953" y="235"/>
                    </a:lnTo>
                    <a:lnTo>
                      <a:pt x="953" y="235"/>
                    </a:lnTo>
                    <a:lnTo>
                      <a:pt x="953" y="235"/>
                    </a:lnTo>
                    <a:lnTo>
                      <a:pt x="948" y="235"/>
                    </a:lnTo>
                    <a:lnTo>
                      <a:pt x="948" y="235"/>
                    </a:lnTo>
                    <a:lnTo>
                      <a:pt x="948" y="240"/>
                    </a:lnTo>
                    <a:lnTo>
                      <a:pt x="948" y="240"/>
                    </a:lnTo>
                    <a:lnTo>
                      <a:pt x="948" y="240"/>
                    </a:lnTo>
                    <a:lnTo>
                      <a:pt x="948" y="240"/>
                    </a:lnTo>
                    <a:lnTo>
                      <a:pt x="948" y="240"/>
                    </a:lnTo>
                    <a:lnTo>
                      <a:pt x="953" y="240"/>
                    </a:lnTo>
                    <a:lnTo>
                      <a:pt x="953" y="240"/>
                    </a:lnTo>
                    <a:lnTo>
                      <a:pt x="948" y="240"/>
                    </a:lnTo>
                    <a:lnTo>
                      <a:pt x="948" y="240"/>
                    </a:lnTo>
                    <a:lnTo>
                      <a:pt x="953" y="244"/>
                    </a:lnTo>
                    <a:lnTo>
                      <a:pt x="948" y="244"/>
                    </a:lnTo>
                    <a:lnTo>
                      <a:pt x="948" y="244"/>
                    </a:lnTo>
                    <a:lnTo>
                      <a:pt x="948" y="244"/>
                    </a:lnTo>
                    <a:lnTo>
                      <a:pt x="953" y="244"/>
                    </a:lnTo>
                    <a:lnTo>
                      <a:pt x="948" y="244"/>
                    </a:lnTo>
                    <a:lnTo>
                      <a:pt x="948" y="249"/>
                    </a:lnTo>
                    <a:lnTo>
                      <a:pt x="948" y="249"/>
                    </a:lnTo>
                    <a:lnTo>
                      <a:pt x="948" y="249"/>
                    </a:lnTo>
                    <a:lnTo>
                      <a:pt x="944" y="249"/>
                    </a:lnTo>
                    <a:lnTo>
                      <a:pt x="944" y="249"/>
                    </a:lnTo>
                    <a:lnTo>
                      <a:pt x="939" y="249"/>
                    </a:lnTo>
                    <a:lnTo>
                      <a:pt x="939" y="249"/>
                    </a:lnTo>
                    <a:lnTo>
                      <a:pt x="939" y="249"/>
                    </a:lnTo>
                    <a:lnTo>
                      <a:pt x="939" y="249"/>
                    </a:lnTo>
                    <a:lnTo>
                      <a:pt x="935" y="244"/>
                    </a:lnTo>
                    <a:lnTo>
                      <a:pt x="935" y="244"/>
                    </a:lnTo>
                    <a:lnTo>
                      <a:pt x="935" y="244"/>
                    </a:lnTo>
                    <a:lnTo>
                      <a:pt x="935" y="240"/>
                    </a:lnTo>
                    <a:lnTo>
                      <a:pt x="935" y="240"/>
                    </a:lnTo>
                    <a:lnTo>
                      <a:pt x="935" y="240"/>
                    </a:lnTo>
                    <a:lnTo>
                      <a:pt x="935" y="240"/>
                    </a:lnTo>
                    <a:lnTo>
                      <a:pt x="935" y="240"/>
                    </a:lnTo>
                    <a:lnTo>
                      <a:pt x="939" y="235"/>
                    </a:lnTo>
                    <a:lnTo>
                      <a:pt x="939" y="235"/>
                    </a:lnTo>
                    <a:lnTo>
                      <a:pt x="939" y="235"/>
                    </a:lnTo>
                    <a:lnTo>
                      <a:pt x="939" y="231"/>
                    </a:lnTo>
                    <a:lnTo>
                      <a:pt x="939" y="231"/>
                    </a:lnTo>
                    <a:lnTo>
                      <a:pt x="939" y="231"/>
                    </a:lnTo>
                    <a:lnTo>
                      <a:pt x="935" y="231"/>
                    </a:lnTo>
                    <a:lnTo>
                      <a:pt x="935" y="231"/>
                    </a:lnTo>
                    <a:lnTo>
                      <a:pt x="939" y="231"/>
                    </a:lnTo>
                    <a:lnTo>
                      <a:pt x="939" y="231"/>
                    </a:lnTo>
                    <a:lnTo>
                      <a:pt x="935" y="231"/>
                    </a:lnTo>
                    <a:lnTo>
                      <a:pt x="935" y="226"/>
                    </a:lnTo>
                    <a:lnTo>
                      <a:pt x="935" y="226"/>
                    </a:lnTo>
                    <a:lnTo>
                      <a:pt x="935" y="222"/>
                    </a:lnTo>
                    <a:lnTo>
                      <a:pt x="935" y="222"/>
                    </a:lnTo>
                    <a:lnTo>
                      <a:pt x="935" y="222"/>
                    </a:lnTo>
                    <a:lnTo>
                      <a:pt x="935" y="222"/>
                    </a:lnTo>
                    <a:lnTo>
                      <a:pt x="935" y="222"/>
                    </a:lnTo>
                    <a:lnTo>
                      <a:pt x="935" y="222"/>
                    </a:lnTo>
                    <a:lnTo>
                      <a:pt x="935" y="222"/>
                    </a:lnTo>
                    <a:lnTo>
                      <a:pt x="939" y="217"/>
                    </a:lnTo>
                    <a:lnTo>
                      <a:pt x="939" y="217"/>
                    </a:lnTo>
                    <a:lnTo>
                      <a:pt x="939" y="217"/>
                    </a:lnTo>
                    <a:lnTo>
                      <a:pt x="944" y="217"/>
                    </a:lnTo>
                    <a:lnTo>
                      <a:pt x="944" y="217"/>
                    </a:lnTo>
                    <a:lnTo>
                      <a:pt x="944" y="217"/>
                    </a:lnTo>
                    <a:lnTo>
                      <a:pt x="944" y="217"/>
                    </a:lnTo>
                    <a:lnTo>
                      <a:pt x="944" y="213"/>
                    </a:lnTo>
                    <a:lnTo>
                      <a:pt x="948" y="213"/>
                    </a:lnTo>
                    <a:lnTo>
                      <a:pt x="948" y="213"/>
                    </a:lnTo>
                    <a:lnTo>
                      <a:pt x="948" y="217"/>
                    </a:lnTo>
                    <a:lnTo>
                      <a:pt x="944" y="217"/>
                    </a:lnTo>
                    <a:lnTo>
                      <a:pt x="944" y="217"/>
                    </a:lnTo>
                    <a:lnTo>
                      <a:pt x="939" y="222"/>
                    </a:lnTo>
                    <a:lnTo>
                      <a:pt x="939" y="222"/>
                    </a:lnTo>
                    <a:lnTo>
                      <a:pt x="944" y="222"/>
                    </a:lnTo>
                    <a:lnTo>
                      <a:pt x="944" y="217"/>
                    </a:lnTo>
                    <a:lnTo>
                      <a:pt x="944" y="217"/>
                    </a:lnTo>
                    <a:lnTo>
                      <a:pt x="944" y="217"/>
                    </a:lnTo>
                    <a:lnTo>
                      <a:pt x="948" y="217"/>
                    </a:lnTo>
                    <a:lnTo>
                      <a:pt x="948" y="217"/>
                    </a:lnTo>
                    <a:lnTo>
                      <a:pt x="948" y="217"/>
                    </a:lnTo>
                    <a:lnTo>
                      <a:pt x="948" y="217"/>
                    </a:lnTo>
                    <a:lnTo>
                      <a:pt x="948" y="213"/>
                    </a:lnTo>
                    <a:lnTo>
                      <a:pt x="948" y="213"/>
                    </a:lnTo>
                    <a:lnTo>
                      <a:pt x="948" y="213"/>
                    </a:lnTo>
                    <a:lnTo>
                      <a:pt x="944" y="213"/>
                    </a:lnTo>
                    <a:lnTo>
                      <a:pt x="939" y="217"/>
                    </a:lnTo>
                    <a:lnTo>
                      <a:pt x="939" y="217"/>
                    </a:lnTo>
                    <a:lnTo>
                      <a:pt x="935" y="217"/>
                    </a:lnTo>
                    <a:lnTo>
                      <a:pt x="930" y="217"/>
                    </a:lnTo>
                    <a:lnTo>
                      <a:pt x="930" y="217"/>
                    </a:lnTo>
                    <a:lnTo>
                      <a:pt x="926" y="217"/>
                    </a:lnTo>
                    <a:lnTo>
                      <a:pt x="926" y="213"/>
                    </a:lnTo>
                    <a:lnTo>
                      <a:pt x="926" y="213"/>
                    </a:lnTo>
                    <a:lnTo>
                      <a:pt x="926" y="213"/>
                    </a:lnTo>
                    <a:lnTo>
                      <a:pt x="926" y="213"/>
                    </a:lnTo>
                    <a:lnTo>
                      <a:pt x="930" y="208"/>
                    </a:lnTo>
                    <a:lnTo>
                      <a:pt x="930" y="208"/>
                    </a:lnTo>
                    <a:lnTo>
                      <a:pt x="930" y="208"/>
                    </a:lnTo>
                    <a:lnTo>
                      <a:pt x="930" y="208"/>
                    </a:lnTo>
                    <a:lnTo>
                      <a:pt x="930" y="208"/>
                    </a:lnTo>
                    <a:lnTo>
                      <a:pt x="926" y="208"/>
                    </a:lnTo>
                    <a:lnTo>
                      <a:pt x="926" y="208"/>
                    </a:lnTo>
                    <a:lnTo>
                      <a:pt x="926" y="213"/>
                    </a:lnTo>
                    <a:lnTo>
                      <a:pt x="921" y="213"/>
                    </a:lnTo>
                    <a:lnTo>
                      <a:pt x="921" y="208"/>
                    </a:lnTo>
                    <a:lnTo>
                      <a:pt x="917" y="208"/>
                    </a:lnTo>
                    <a:lnTo>
                      <a:pt x="912" y="208"/>
                    </a:lnTo>
                    <a:lnTo>
                      <a:pt x="903" y="208"/>
                    </a:lnTo>
                    <a:lnTo>
                      <a:pt x="903" y="208"/>
                    </a:lnTo>
                    <a:lnTo>
                      <a:pt x="899" y="208"/>
                    </a:lnTo>
                    <a:lnTo>
                      <a:pt x="899" y="208"/>
                    </a:lnTo>
                    <a:lnTo>
                      <a:pt x="899" y="204"/>
                    </a:lnTo>
                    <a:lnTo>
                      <a:pt x="899" y="204"/>
                    </a:lnTo>
                    <a:lnTo>
                      <a:pt x="899" y="204"/>
                    </a:lnTo>
                    <a:lnTo>
                      <a:pt x="899" y="204"/>
                    </a:lnTo>
                    <a:lnTo>
                      <a:pt x="899" y="204"/>
                    </a:lnTo>
                    <a:lnTo>
                      <a:pt x="899" y="204"/>
                    </a:lnTo>
                    <a:lnTo>
                      <a:pt x="899" y="204"/>
                    </a:lnTo>
                    <a:lnTo>
                      <a:pt x="899" y="199"/>
                    </a:lnTo>
                    <a:lnTo>
                      <a:pt x="899" y="199"/>
                    </a:lnTo>
                    <a:lnTo>
                      <a:pt x="899" y="199"/>
                    </a:lnTo>
                    <a:lnTo>
                      <a:pt x="899" y="199"/>
                    </a:lnTo>
                    <a:lnTo>
                      <a:pt x="899" y="199"/>
                    </a:lnTo>
                    <a:lnTo>
                      <a:pt x="903" y="195"/>
                    </a:lnTo>
                    <a:lnTo>
                      <a:pt x="903" y="195"/>
                    </a:lnTo>
                    <a:lnTo>
                      <a:pt x="908" y="195"/>
                    </a:lnTo>
                    <a:lnTo>
                      <a:pt x="908" y="195"/>
                    </a:lnTo>
                    <a:lnTo>
                      <a:pt x="903" y="195"/>
                    </a:lnTo>
                    <a:lnTo>
                      <a:pt x="903" y="195"/>
                    </a:lnTo>
                    <a:lnTo>
                      <a:pt x="899" y="195"/>
                    </a:lnTo>
                    <a:lnTo>
                      <a:pt x="899" y="199"/>
                    </a:lnTo>
                    <a:lnTo>
                      <a:pt x="894" y="199"/>
                    </a:lnTo>
                    <a:lnTo>
                      <a:pt x="894" y="199"/>
                    </a:lnTo>
                    <a:lnTo>
                      <a:pt x="894" y="195"/>
                    </a:lnTo>
                    <a:lnTo>
                      <a:pt x="894" y="195"/>
                    </a:lnTo>
                    <a:lnTo>
                      <a:pt x="890" y="195"/>
                    </a:lnTo>
                    <a:lnTo>
                      <a:pt x="890" y="195"/>
                    </a:lnTo>
                    <a:lnTo>
                      <a:pt x="894" y="195"/>
                    </a:lnTo>
                    <a:lnTo>
                      <a:pt x="894" y="195"/>
                    </a:lnTo>
                    <a:lnTo>
                      <a:pt x="894" y="195"/>
                    </a:lnTo>
                    <a:lnTo>
                      <a:pt x="899" y="190"/>
                    </a:lnTo>
                    <a:lnTo>
                      <a:pt x="894" y="190"/>
                    </a:lnTo>
                    <a:lnTo>
                      <a:pt x="894" y="190"/>
                    </a:lnTo>
                    <a:lnTo>
                      <a:pt x="894" y="190"/>
                    </a:lnTo>
                    <a:lnTo>
                      <a:pt x="894" y="190"/>
                    </a:lnTo>
                    <a:lnTo>
                      <a:pt x="894" y="190"/>
                    </a:lnTo>
                    <a:lnTo>
                      <a:pt x="894" y="190"/>
                    </a:lnTo>
                    <a:lnTo>
                      <a:pt x="890" y="190"/>
                    </a:lnTo>
                    <a:lnTo>
                      <a:pt x="890" y="190"/>
                    </a:lnTo>
                    <a:lnTo>
                      <a:pt x="890" y="190"/>
                    </a:lnTo>
                    <a:lnTo>
                      <a:pt x="890" y="190"/>
                    </a:lnTo>
                    <a:lnTo>
                      <a:pt x="894" y="190"/>
                    </a:lnTo>
                    <a:lnTo>
                      <a:pt x="894" y="186"/>
                    </a:lnTo>
                    <a:lnTo>
                      <a:pt x="894" y="186"/>
                    </a:lnTo>
                    <a:lnTo>
                      <a:pt x="894" y="186"/>
                    </a:lnTo>
                    <a:lnTo>
                      <a:pt x="894" y="186"/>
                    </a:lnTo>
                    <a:lnTo>
                      <a:pt x="899" y="186"/>
                    </a:lnTo>
                    <a:lnTo>
                      <a:pt x="903" y="181"/>
                    </a:lnTo>
                    <a:lnTo>
                      <a:pt x="903" y="181"/>
                    </a:lnTo>
                    <a:lnTo>
                      <a:pt x="899" y="181"/>
                    </a:lnTo>
                    <a:lnTo>
                      <a:pt x="899" y="181"/>
                    </a:lnTo>
                    <a:lnTo>
                      <a:pt x="894" y="186"/>
                    </a:lnTo>
                    <a:lnTo>
                      <a:pt x="890" y="186"/>
                    </a:lnTo>
                    <a:lnTo>
                      <a:pt x="890" y="186"/>
                    </a:lnTo>
                    <a:lnTo>
                      <a:pt x="890" y="186"/>
                    </a:lnTo>
                    <a:lnTo>
                      <a:pt x="890" y="186"/>
                    </a:lnTo>
                    <a:lnTo>
                      <a:pt x="890" y="186"/>
                    </a:lnTo>
                    <a:lnTo>
                      <a:pt x="890" y="186"/>
                    </a:lnTo>
                    <a:lnTo>
                      <a:pt x="885" y="186"/>
                    </a:lnTo>
                    <a:lnTo>
                      <a:pt x="885" y="186"/>
                    </a:lnTo>
                    <a:lnTo>
                      <a:pt x="885" y="186"/>
                    </a:lnTo>
                    <a:lnTo>
                      <a:pt x="885" y="186"/>
                    </a:lnTo>
                    <a:lnTo>
                      <a:pt x="885" y="186"/>
                    </a:lnTo>
                    <a:lnTo>
                      <a:pt x="885" y="181"/>
                    </a:lnTo>
                    <a:lnTo>
                      <a:pt x="885" y="186"/>
                    </a:lnTo>
                    <a:lnTo>
                      <a:pt x="885" y="186"/>
                    </a:lnTo>
                    <a:lnTo>
                      <a:pt x="885" y="186"/>
                    </a:lnTo>
                    <a:lnTo>
                      <a:pt x="881" y="186"/>
                    </a:lnTo>
                    <a:lnTo>
                      <a:pt x="881" y="186"/>
                    </a:lnTo>
                    <a:lnTo>
                      <a:pt x="881" y="181"/>
                    </a:lnTo>
                    <a:lnTo>
                      <a:pt x="881" y="181"/>
                    </a:lnTo>
                    <a:lnTo>
                      <a:pt x="881" y="181"/>
                    </a:lnTo>
                    <a:lnTo>
                      <a:pt x="890" y="181"/>
                    </a:lnTo>
                    <a:lnTo>
                      <a:pt x="890" y="181"/>
                    </a:lnTo>
                    <a:lnTo>
                      <a:pt x="890" y="181"/>
                    </a:lnTo>
                    <a:lnTo>
                      <a:pt x="885" y="181"/>
                    </a:lnTo>
                    <a:lnTo>
                      <a:pt x="885" y="181"/>
                    </a:lnTo>
                    <a:lnTo>
                      <a:pt x="881" y="181"/>
                    </a:lnTo>
                    <a:lnTo>
                      <a:pt x="881" y="181"/>
                    </a:lnTo>
                    <a:lnTo>
                      <a:pt x="881" y="181"/>
                    </a:lnTo>
                    <a:lnTo>
                      <a:pt x="881" y="181"/>
                    </a:lnTo>
                    <a:lnTo>
                      <a:pt x="881" y="181"/>
                    </a:lnTo>
                    <a:lnTo>
                      <a:pt x="876" y="181"/>
                    </a:lnTo>
                    <a:lnTo>
                      <a:pt x="876" y="181"/>
                    </a:lnTo>
                    <a:lnTo>
                      <a:pt x="881" y="181"/>
                    </a:lnTo>
                    <a:lnTo>
                      <a:pt x="881" y="181"/>
                    </a:lnTo>
                    <a:lnTo>
                      <a:pt x="881" y="181"/>
                    </a:lnTo>
                    <a:lnTo>
                      <a:pt x="876" y="181"/>
                    </a:lnTo>
                    <a:lnTo>
                      <a:pt x="876" y="186"/>
                    </a:lnTo>
                    <a:lnTo>
                      <a:pt x="872" y="186"/>
                    </a:lnTo>
                    <a:lnTo>
                      <a:pt x="872" y="186"/>
                    </a:lnTo>
                    <a:lnTo>
                      <a:pt x="872" y="186"/>
                    </a:lnTo>
                    <a:lnTo>
                      <a:pt x="872" y="186"/>
                    </a:lnTo>
                    <a:lnTo>
                      <a:pt x="872" y="186"/>
                    </a:lnTo>
                    <a:lnTo>
                      <a:pt x="872" y="186"/>
                    </a:lnTo>
                    <a:lnTo>
                      <a:pt x="872" y="186"/>
                    </a:lnTo>
                    <a:lnTo>
                      <a:pt x="872" y="186"/>
                    </a:lnTo>
                    <a:lnTo>
                      <a:pt x="867" y="190"/>
                    </a:lnTo>
                    <a:lnTo>
                      <a:pt x="867" y="190"/>
                    </a:lnTo>
                    <a:lnTo>
                      <a:pt x="867" y="190"/>
                    </a:lnTo>
                    <a:lnTo>
                      <a:pt x="867" y="190"/>
                    </a:lnTo>
                    <a:lnTo>
                      <a:pt x="867" y="190"/>
                    </a:lnTo>
                    <a:lnTo>
                      <a:pt x="863" y="190"/>
                    </a:lnTo>
                    <a:lnTo>
                      <a:pt x="863" y="190"/>
                    </a:lnTo>
                    <a:lnTo>
                      <a:pt x="863" y="190"/>
                    </a:lnTo>
                    <a:lnTo>
                      <a:pt x="863" y="190"/>
                    </a:lnTo>
                    <a:lnTo>
                      <a:pt x="867" y="190"/>
                    </a:lnTo>
                    <a:lnTo>
                      <a:pt x="867" y="190"/>
                    </a:lnTo>
                    <a:lnTo>
                      <a:pt x="867" y="190"/>
                    </a:lnTo>
                    <a:lnTo>
                      <a:pt x="872" y="190"/>
                    </a:lnTo>
                    <a:lnTo>
                      <a:pt x="872" y="190"/>
                    </a:lnTo>
                    <a:lnTo>
                      <a:pt x="872" y="190"/>
                    </a:lnTo>
                    <a:lnTo>
                      <a:pt x="867" y="190"/>
                    </a:lnTo>
                    <a:lnTo>
                      <a:pt x="867" y="190"/>
                    </a:lnTo>
                    <a:lnTo>
                      <a:pt x="867" y="190"/>
                    </a:lnTo>
                    <a:lnTo>
                      <a:pt x="867" y="190"/>
                    </a:lnTo>
                    <a:lnTo>
                      <a:pt x="863" y="195"/>
                    </a:lnTo>
                    <a:lnTo>
                      <a:pt x="863" y="195"/>
                    </a:lnTo>
                    <a:lnTo>
                      <a:pt x="863" y="195"/>
                    </a:lnTo>
                    <a:lnTo>
                      <a:pt x="863" y="195"/>
                    </a:lnTo>
                    <a:lnTo>
                      <a:pt x="858" y="195"/>
                    </a:lnTo>
                    <a:lnTo>
                      <a:pt x="858" y="195"/>
                    </a:lnTo>
                    <a:lnTo>
                      <a:pt x="858" y="195"/>
                    </a:lnTo>
                    <a:lnTo>
                      <a:pt x="858" y="195"/>
                    </a:lnTo>
                    <a:lnTo>
                      <a:pt x="858" y="199"/>
                    </a:lnTo>
                    <a:lnTo>
                      <a:pt x="853" y="199"/>
                    </a:lnTo>
                    <a:lnTo>
                      <a:pt x="849" y="199"/>
                    </a:lnTo>
                    <a:lnTo>
                      <a:pt x="849" y="199"/>
                    </a:lnTo>
                    <a:lnTo>
                      <a:pt x="849" y="199"/>
                    </a:lnTo>
                    <a:lnTo>
                      <a:pt x="849" y="199"/>
                    </a:lnTo>
                    <a:lnTo>
                      <a:pt x="849" y="199"/>
                    </a:lnTo>
                    <a:lnTo>
                      <a:pt x="849" y="199"/>
                    </a:lnTo>
                    <a:lnTo>
                      <a:pt x="844" y="199"/>
                    </a:lnTo>
                    <a:lnTo>
                      <a:pt x="844" y="199"/>
                    </a:lnTo>
                    <a:lnTo>
                      <a:pt x="844" y="199"/>
                    </a:lnTo>
                    <a:lnTo>
                      <a:pt x="844" y="199"/>
                    </a:lnTo>
                    <a:lnTo>
                      <a:pt x="844" y="199"/>
                    </a:lnTo>
                    <a:lnTo>
                      <a:pt x="844" y="199"/>
                    </a:lnTo>
                    <a:lnTo>
                      <a:pt x="844" y="195"/>
                    </a:lnTo>
                    <a:lnTo>
                      <a:pt x="844" y="195"/>
                    </a:lnTo>
                    <a:lnTo>
                      <a:pt x="840" y="199"/>
                    </a:lnTo>
                    <a:lnTo>
                      <a:pt x="840" y="199"/>
                    </a:lnTo>
                    <a:lnTo>
                      <a:pt x="835" y="199"/>
                    </a:lnTo>
                    <a:lnTo>
                      <a:pt x="835" y="199"/>
                    </a:lnTo>
                    <a:lnTo>
                      <a:pt x="835" y="199"/>
                    </a:lnTo>
                    <a:lnTo>
                      <a:pt x="835" y="199"/>
                    </a:lnTo>
                    <a:lnTo>
                      <a:pt x="835" y="199"/>
                    </a:lnTo>
                    <a:lnTo>
                      <a:pt x="835" y="199"/>
                    </a:lnTo>
                    <a:lnTo>
                      <a:pt x="835" y="199"/>
                    </a:lnTo>
                    <a:lnTo>
                      <a:pt x="831" y="199"/>
                    </a:lnTo>
                    <a:lnTo>
                      <a:pt x="831" y="199"/>
                    </a:lnTo>
                    <a:lnTo>
                      <a:pt x="831" y="199"/>
                    </a:lnTo>
                    <a:lnTo>
                      <a:pt x="831" y="199"/>
                    </a:lnTo>
                    <a:lnTo>
                      <a:pt x="831" y="199"/>
                    </a:lnTo>
                    <a:lnTo>
                      <a:pt x="831" y="199"/>
                    </a:lnTo>
                    <a:lnTo>
                      <a:pt x="826" y="199"/>
                    </a:lnTo>
                    <a:lnTo>
                      <a:pt x="826" y="204"/>
                    </a:lnTo>
                    <a:lnTo>
                      <a:pt x="822" y="204"/>
                    </a:lnTo>
                    <a:lnTo>
                      <a:pt x="822" y="204"/>
                    </a:lnTo>
                    <a:lnTo>
                      <a:pt x="822" y="204"/>
                    </a:lnTo>
                    <a:lnTo>
                      <a:pt x="822" y="204"/>
                    </a:lnTo>
                    <a:lnTo>
                      <a:pt x="817" y="204"/>
                    </a:lnTo>
                    <a:lnTo>
                      <a:pt x="817" y="204"/>
                    </a:lnTo>
                    <a:lnTo>
                      <a:pt x="817" y="204"/>
                    </a:lnTo>
                    <a:lnTo>
                      <a:pt x="817" y="204"/>
                    </a:lnTo>
                    <a:lnTo>
                      <a:pt x="817" y="204"/>
                    </a:lnTo>
                    <a:lnTo>
                      <a:pt x="817" y="204"/>
                    </a:lnTo>
                    <a:lnTo>
                      <a:pt x="813" y="204"/>
                    </a:lnTo>
                    <a:lnTo>
                      <a:pt x="808" y="208"/>
                    </a:lnTo>
                    <a:lnTo>
                      <a:pt x="808" y="208"/>
                    </a:lnTo>
                    <a:lnTo>
                      <a:pt x="808" y="208"/>
                    </a:lnTo>
                    <a:lnTo>
                      <a:pt x="804" y="208"/>
                    </a:lnTo>
                    <a:lnTo>
                      <a:pt x="804" y="208"/>
                    </a:lnTo>
                    <a:lnTo>
                      <a:pt x="804" y="208"/>
                    </a:lnTo>
                    <a:lnTo>
                      <a:pt x="804" y="208"/>
                    </a:lnTo>
                    <a:lnTo>
                      <a:pt x="804" y="208"/>
                    </a:lnTo>
                    <a:lnTo>
                      <a:pt x="804" y="208"/>
                    </a:lnTo>
                    <a:lnTo>
                      <a:pt x="804" y="208"/>
                    </a:lnTo>
                    <a:lnTo>
                      <a:pt x="804" y="208"/>
                    </a:lnTo>
                    <a:lnTo>
                      <a:pt x="799" y="208"/>
                    </a:lnTo>
                    <a:lnTo>
                      <a:pt x="799" y="208"/>
                    </a:lnTo>
                    <a:lnTo>
                      <a:pt x="799" y="208"/>
                    </a:lnTo>
                    <a:lnTo>
                      <a:pt x="795" y="208"/>
                    </a:lnTo>
                    <a:lnTo>
                      <a:pt x="795" y="204"/>
                    </a:lnTo>
                    <a:lnTo>
                      <a:pt x="795" y="204"/>
                    </a:lnTo>
                    <a:lnTo>
                      <a:pt x="795" y="204"/>
                    </a:lnTo>
                    <a:lnTo>
                      <a:pt x="799" y="204"/>
                    </a:lnTo>
                    <a:lnTo>
                      <a:pt x="799" y="204"/>
                    </a:lnTo>
                    <a:lnTo>
                      <a:pt x="799" y="204"/>
                    </a:lnTo>
                    <a:lnTo>
                      <a:pt x="804" y="204"/>
                    </a:lnTo>
                    <a:lnTo>
                      <a:pt x="804" y="204"/>
                    </a:lnTo>
                    <a:lnTo>
                      <a:pt x="808" y="204"/>
                    </a:lnTo>
                    <a:lnTo>
                      <a:pt x="813" y="199"/>
                    </a:lnTo>
                    <a:lnTo>
                      <a:pt x="813" y="199"/>
                    </a:lnTo>
                    <a:lnTo>
                      <a:pt x="817" y="199"/>
                    </a:lnTo>
                    <a:lnTo>
                      <a:pt x="817" y="199"/>
                    </a:lnTo>
                    <a:lnTo>
                      <a:pt x="817" y="199"/>
                    </a:lnTo>
                    <a:lnTo>
                      <a:pt x="813" y="199"/>
                    </a:lnTo>
                    <a:lnTo>
                      <a:pt x="813" y="199"/>
                    </a:lnTo>
                    <a:lnTo>
                      <a:pt x="808" y="199"/>
                    </a:lnTo>
                    <a:lnTo>
                      <a:pt x="808" y="199"/>
                    </a:lnTo>
                    <a:lnTo>
                      <a:pt x="808" y="199"/>
                    </a:lnTo>
                    <a:lnTo>
                      <a:pt x="808" y="195"/>
                    </a:lnTo>
                    <a:lnTo>
                      <a:pt x="813" y="195"/>
                    </a:lnTo>
                    <a:lnTo>
                      <a:pt x="817" y="195"/>
                    </a:lnTo>
                    <a:lnTo>
                      <a:pt x="822" y="190"/>
                    </a:lnTo>
                    <a:lnTo>
                      <a:pt x="826" y="190"/>
                    </a:lnTo>
                    <a:lnTo>
                      <a:pt x="826" y="190"/>
                    </a:lnTo>
                    <a:lnTo>
                      <a:pt x="835" y="186"/>
                    </a:lnTo>
                    <a:lnTo>
                      <a:pt x="835" y="186"/>
                    </a:lnTo>
                    <a:lnTo>
                      <a:pt x="840" y="181"/>
                    </a:lnTo>
                    <a:lnTo>
                      <a:pt x="840" y="181"/>
                    </a:lnTo>
                    <a:lnTo>
                      <a:pt x="840" y="181"/>
                    </a:lnTo>
                    <a:lnTo>
                      <a:pt x="849" y="181"/>
                    </a:lnTo>
                    <a:lnTo>
                      <a:pt x="849" y="181"/>
                    </a:lnTo>
                    <a:lnTo>
                      <a:pt x="858" y="176"/>
                    </a:lnTo>
                    <a:lnTo>
                      <a:pt x="858" y="176"/>
                    </a:lnTo>
                    <a:lnTo>
                      <a:pt x="858" y="176"/>
                    </a:lnTo>
                    <a:lnTo>
                      <a:pt x="858" y="181"/>
                    </a:lnTo>
                    <a:lnTo>
                      <a:pt x="858" y="181"/>
                    </a:lnTo>
                    <a:lnTo>
                      <a:pt x="858" y="181"/>
                    </a:lnTo>
                    <a:lnTo>
                      <a:pt x="863" y="181"/>
                    </a:lnTo>
                    <a:lnTo>
                      <a:pt x="863" y="181"/>
                    </a:lnTo>
                    <a:lnTo>
                      <a:pt x="867" y="181"/>
                    </a:lnTo>
                    <a:lnTo>
                      <a:pt x="867" y="181"/>
                    </a:lnTo>
                    <a:lnTo>
                      <a:pt x="867" y="181"/>
                    </a:lnTo>
                    <a:lnTo>
                      <a:pt x="867" y="181"/>
                    </a:lnTo>
                    <a:lnTo>
                      <a:pt x="867" y="181"/>
                    </a:lnTo>
                    <a:lnTo>
                      <a:pt x="867" y="181"/>
                    </a:lnTo>
                    <a:lnTo>
                      <a:pt x="863" y="176"/>
                    </a:lnTo>
                    <a:lnTo>
                      <a:pt x="867" y="176"/>
                    </a:lnTo>
                    <a:lnTo>
                      <a:pt x="867" y="176"/>
                    </a:lnTo>
                    <a:lnTo>
                      <a:pt x="867" y="176"/>
                    </a:lnTo>
                    <a:lnTo>
                      <a:pt x="867" y="176"/>
                    </a:lnTo>
                    <a:lnTo>
                      <a:pt x="867" y="176"/>
                    </a:lnTo>
                    <a:lnTo>
                      <a:pt x="872" y="172"/>
                    </a:lnTo>
                    <a:lnTo>
                      <a:pt x="872" y="172"/>
                    </a:lnTo>
                    <a:lnTo>
                      <a:pt x="876" y="172"/>
                    </a:lnTo>
                    <a:lnTo>
                      <a:pt x="881" y="172"/>
                    </a:lnTo>
                    <a:lnTo>
                      <a:pt x="881" y="172"/>
                    </a:lnTo>
                    <a:lnTo>
                      <a:pt x="876" y="172"/>
                    </a:lnTo>
                    <a:lnTo>
                      <a:pt x="876" y="172"/>
                    </a:lnTo>
                    <a:lnTo>
                      <a:pt x="872" y="172"/>
                    </a:lnTo>
                    <a:lnTo>
                      <a:pt x="872" y="172"/>
                    </a:lnTo>
                    <a:lnTo>
                      <a:pt x="872" y="172"/>
                    </a:lnTo>
                    <a:lnTo>
                      <a:pt x="867" y="172"/>
                    </a:lnTo>
                    <a:lnTo>
                      <a:pt x="867" y="172"/>
                    </a:lnTo>
                    <a:lnTo>
                      <a:pt x="863" y="172"/>
                    </a:lnTo>
                    <a:lnTo>
                      <a:pt x="863" y="172"/>
                    </a:lnTo>
                    <a:lnTo>
                      <a:pt x="863" y="172"/>
                    </a:lnTo>
                    <a:lnTo>
                      <a:pt x="863" y="172"/>
                    </a:lnTo>
                    <a:lnTo>
                      <a:pt x="858" y="172"/>
                    </a:lnTo>
                    <a:lnTo>
                      <a:pt x="853" y="176"/>
                    </a:lnTo>
                    <a:lnTo>
                      <a:pt x="853" y="176"/>
                    </a:lnTo>
                    <a:lnTo>
                      <a:pt x="849" y="176"/>
                    </a:lnTo>
                    <a:lnTo>
                      <a:pt x="844" y="176"/>
                    </a:lnTo>
                    <a:lnTo>
                      <a:pt x="844" y="176"/>
                    </a:lnTo>
                    <a:lnTo>
                      <a:pt x="840" y="176"/>
                    </a:lnTo>
                    <a:lnTo>
                      <a:pt x="840" y="176"/>
                    </a:lnTo>
                    <a:lnTo>
                      <a:pt x="840" y="176"/>
                    </a:lnTo>
                    <a:lnTo>
                      <a:pt x="835" y="181"/>
                    </a:lnTo>
                    <a:lnTo>
                      <a:pt x="835" y="181"/>
                    </a:lnTo>
                    <a:lnTo>
                      <a:pt x="835" y="181"/>
                    </a:lnTo>
                    <a:lnTo>
                      <a:pt x="831" y="181"/>
                    </a:lnTo>
                    <a:lnTo>
                      <a:pt x="826" y="181"/>
                    </a:lnTo>
                    <a:lnTo>
                      <a:pt x="822" y="186"/>
                    </a:lnTo>
                    <a:lnTo>
                      <a:pt x="822" y="186"/>
                    </a:lnTo>
                    <a:lnTo>
                      <a:pt x="822" y="186"/>
                    </a:lnTo>
                    <a:lnTo>
                      <a:pt x="822" y="186"/>
                    </a:lnTo>
                    <a:lnTo>
                      <a:pt x="817" y="186"/>
                    </a:lnTo>
                    <a:lnTo>
                      <a:pt x="817" y="186"/>
                    </a:lnTo>
                    <a:lnTo>
                      <a:pt x="813" y="186"/>
                    </a:lnTo>
                    <a:lnTo>
                      <a:pt x="813" y="186"/>
                    </a:lnTo>
                    <a:lnTo>
                      <a:pt x="813" y="186"/>
                    </a:lnTo>
                    <a:lnTo>
                      <a:pt x="813" y="186"/>
                    </a:lnTo>
                    <a:lnTo>
                      <a:pt x="813" y="186"/>
                    </a:lnTo>
                    <a:lnTo>
                      <a:pt x="813" y="186"/>
                    </a:lnTo>
                    <a:lnTo>
                      <a:pt x="813" y="186"/>
                    </a:lnTo>
                    <a:lnTo>
                      <a:pt x="813" y="190"/>
                    </a:lnTo>
                    <a:lnTo>
                      <a:pt x="813" y="190"/>
                    </a:lnTo>
                    <a:lnTo>
                      <a:pt x="808" y="190"/>
                    </a:lnTo>
                    <a:lnTo>
                      <a:pt x="808" y="190"/>
                    </a:lnTo>
                    <a:lnTo>
                      <a:pt x="808" y="190"/>
                    </a:lnTo>
                    <a:lnTo>
                      <a:pt x="804" y="195"/>
                    </a:lnTo>
                    <a:lnTo>
                      <a:pt x="804" y="195"/>
                    </a:lnTo>
                    <a:lnTo>
                      <a:pt x="799" y="195"/>
                    </a:lnTo>
                    <a:lnTo>
                      <a:pt x="799" y="195"/>
                    </a:lnTo>
                    <a:lnTo>
                      <a:pt x="799" y="195"/>
                    </a:lnTo>
                    <a:lnTo>
                      <a:pt x="799" y="195"/>
                    </a:lnTo>
                    <a:lnTo>
                      <a:pt x="799" y="195"/>
                    </a:lnTo>
                    <a:lnTo>
                      <a:pt x="795" y="195"/>
                    </a:lnTo>
                    <a:lnTo>
                      <a:pt x="795" y="195"/>
                    </a:lnTo>
                    <a:lnTo>
                      <a:pt x="795" y="195"/>
                    </a:lnTo>
                    <a:lnTo>
                      <a:pt x="790" y="195"/>
                    </a:lnTo>
                    <a:lnTo>
                      <a:pt x="790" y="195"/>
                    </a:lnTo>
                    <a:lnTo>
                      <a:pt x="795" y="195"/>
                    </a:lnTo>
                    <a:lnTo>
                      <a:pt x="795" y="195"/>
                    </a:lnTo>
                    <a:lnTo>
                      <a:pt x="795" y="195"/>
                    </a:lnTo>
                    <a:lnTo>
                      <a:pt x="790" y="195"/>
                    </a:lnTo>
                    <a:lnTo>
                      <a:pt x="790" y="195"/>
                    </a:lnTo>
                    <a:lnTo>
                      <a:pt x="786" y="195"/>
                    </a:lnTo>
                    <a:lnTo>
                      <a:pt x="786" y="195"/>
                    </a:lnTo>
                    <a:lnTo>
                      <a:pt x="786" y="195"/>
                    </a:lnTo>
                    <a:lnTo>
                      <a:pt x="786" y="199"/>
                    </a:lnTo>
                    <a:lnTo>
                      <a:pt x="781" y="199"/>
                    </a:lnTo>
                    <a:lnTo>
                      <a:pt x="781" y="199"/>
                    </a:lnTo>
                    <a:lnTo>
                      <a:pt x="777" y="199"/>
                    </a:lnTo>
                    <a:lnTo>
                      <a:pt x="777" y="199"/>
                    </a:lnTo>
                    <a:lnTo>
                      <a:pt x="772" y="204"/>
                    </a:lnTo>
                    <a:lnTo>
                      <a:pt x="768" y="204"/>
                    </a:lnTo>
                    <a:lnTo>
                      <a:pt x="768" y="204"/>
                    </a:lnTo>
                    <a:lnTo>
                      <a:pt x="772" y="204"/>
                    </a:lnTo>
                    <a:lnTo>
                      <a:pt x="772" y="204"/>
                    </a:lnTo>
                    <a:lnTo>
                      <a:pt x="772" y="208"/>
                    </a:lnTo>
                    <a:lnTo>
                      <a:pt x="772" y="208"/>
                    </a:lnTo>
                    <a:lnTo>
                      <a:pt x="772" y="208"/>
                    </a:lnTo>
                    <a:lnTo>
                      <a:pt x="772" y="208"/>
                    </a:lnTo>
                    <a:lnTo>
                      <a:pt x="772" y="208"/>
                    </a:lnTo>
                    <a:lnTo>
                      <a:pt x="768" y="213"/>
                    </a:lnTo>
                    <a:lnTo>
                      <a:pt x="768" y="213"/>
                    </a:lnTo>
                    <a:lnTo>
                      <a:pt x="763" y="213"/>
                    </a:lnTo>
                    <a:lnTo>
                      <a:pt x="763" y="213"/>
                    </a:lnTo>
                    <a:lnTo>
                      <a:pt x="759" y="213"/>
                    </a:lnTo>
                    <a:lnTo>
                      <a:pt x="759" y="213"/>
                    </a:lnTo>
                    <a:lnTo>
                      <a:pt x="754" y="217"/>
                    </a:lnTo>
                    <a:lnTo>
                      <a:pt x="754" y="217"/>
                    </a:lnTo>
                    <a:lnTo>
                      <a:pt x="750" y="217"/>
                    </a:lnTo>
                    <a:lnTo>
                      <a:pt x="750" y="217"/>
                    </a:lnTo>
                    <a:lnTo>
                      <a:pt x="745" y="217"/>
                    </a:lnTo>
                    <a:lnTo>
                      <a:pt x="745" y="217"/>
                    </a:lnTo>
                    <a:lnTo>
                      <a:pt x="745" y="217"/>
                    </a:lnTo>
                    <a:lnTo>
                      <a:pt x="745" y="222"/>
                    </a:lnTo>
                    <a:lnTo>
                      <a:pt x="745" y="222"/>
                    </a:lnTo>
                    <a:lnTo>
                      <a:pt x="741" y="222"/>
                    </a:lnTo>
                    <a:lnTo>
                      <a:pt x="741" y="222"/>
                    </a:lnTo>
                    <a:lnTo>
                      <a:pt x="741" y="222"/>
                    </a:lnTo>
                    <a:lnTo>
                      <a:pt x="736" y="222"/>
                    </a:lnTo>
                    <a:lnTo>
                      <a:pt x="736" y="222"/>
                    </a:lnTo>
                    <a:lnTo>
                      <a:pt x="732" y="222"/>
                    </a:lnTo>
                    <a:lnTo>
                      <a:pt x="727" y="222"/>
                    </a:lnTo>
                    <a:lnTo>
                      <a:pt x="727" y="226"/>
                    </a:lnTo>
                    <a:lnTo>
                      <a:pt x="722" y="226"/>
                    </a:lnTo>
                    <a:lnTo>
                      <a:pt x="722" y="226"/>
                    </a:lnTo>
                    <a:lnTo>
                      <a:pt x="718" y="226"/>
                    </a:lnTo>
                    <a:lnTo>
                      <a:pt x="718" y="226"/>
                    </a:lnTo>
                    <a:lnTo>
                      <a:pt x="718" y="226"/>
                    </a:lnTo>
                    <a:lnTo>
                      <a:pt x="718" y="226"/>
                    </a:lnTo>
                    <a:lnTo>
                      <a:pt x="713" y="226"/>
                    </a:lnTo>
                    <a:lnTo>
                      <a:pt x="713" y="226"/>
                    </a:lnTo>
                    <a:lnTo>
                      <a:pt x="709" y="226"/>
                    </a:lnTo>
                    <a:lnTo>
                      <a:pt x="709" y="226"/>
                    </a:lnTo>
                    <a:lnTo>
                      <a:pt x="709" y="231"/>
                    </a:lnTo>
                    <a:lnTo>
                      <a:pt x="704" y="231"/>
                    </a:lnTo>
                    <a:lnTo>
                      <a:pt x="704" y="231"/>
                    </a:lnTo>
                    <a:lnTo>
                      <a:pt x="704" y="231"/>
                    </a:lnTo>
                    <a:lnTo>
                      <a:pt x="704" y="231"/>
                    </a:lnTo>
                    <a:lnTo>
                      <a:pt x="700" y="231"/>
                    </a:lnTo>
                    <a:lnTo>
                      <a:pt x="700" y="231"/>
                    </a:lnTo>
                    <a:lnTo>
                      <a:pt x="695" y="231"/>
                    </a:lnTo>
                    <a:lnTo>
                      <a:pt x="695" y="231"/>
                    </a:lnTo>
                    <a:lnTo>
                      <a:pt x="695" y="235"/>
                    </a:lnTo>
                    <a:lnTo>
                      <a:pt x="695" y="235"/>
                    </a:lnTo>
                    <a:lnTo>
                      <a:pt x="691" y="235"/>
                    </a:lnTo>
                    <a:lnTo>
                      <a:pt x="691" y="235"/>
                    </a:lnTo>
                    <a:lnTo>
                      <a:pt x="691" y="235"/>
                    </a:lnTo>
                    <a:lnTo>
                      <a:pt x="686" y="235"/>
                    </a:lnTo>
                    <a:lnTo>
                      <a:pt x="686" y="235"/>
                    </a:lnTo>
                    <a:lnTo>
                      <a:pt x="686" y="235"/>
                    </a:lnTo>
                    <a:lnTo>
                      <a:pt x="686" y="235"/>
                    </a:lnTo>
                    <a:lnTo>
                      <a:pt x="682" y="235"/>
                    </a:lnTo>
                    <a:lnTo>
                      <a:pt x="682" y="235"/>
                    </a:lnTo>
                    <a:lnTo>
                      <a:pt x="682" y="240"/>
                    </a:lnTo>
                    <a:lnTo>
                      <a:pt x="677" y="240"/>
                    </a:lnTo>
                    <a:lnTo>
                      <a:pt x="677" y="240"/>
                    </a:lnTo>
                    <a:lnTo>
                      <a:pt x="677" y="240"/>
                    </a:lnTo>
                    <a:lnTo>
                      <a:pt x="677" y="240"/>
                    </a:lnTo>
                    <a:lnTo>
                      <a:pt x="677" y="240"/>
                    </a:lnTo>
                    <a:lnTo>
                      <a:pt x="673" y="240"/>
                    </a:lnTo>
                    <a:lnTo>
                      <a:pt x="673" y="240"/>
                    </a:lnTo>
                    <a:lnTo>
                      <a:pt x="673" y="240"/>
                    </a:lnTo>
                    <a:lnTo>
                      <a:pt x="668" y="240"/>
                    </a:lnTo>
                    <a:lnTo>
                      <a:pt x="668" y="240"/>
                    </a:lnTo>
                    <a:lnTo>
                      <a:pt x="668" y="240"/>
                    </a:lnTo>
                    <a:lnTo>
                      <a:pt x="668" y="240"/>
                    </a:lnTo>
                    <a:lnTo>
                      <a:pt x="668" y="240"/>
                    </a:lnTo>
                    <a:lnTo>
                      <a:pt x="664" y="240"/>
                    </a:lnTo>
                    <a:lnTo>
                      <a:pt x="664" y="240"/>
                    </a:lnTo>
                    <a:lnTo>
                      <a:pt x="659" y="240"/>
                    </a:lnTo>
                    <a:lnTo>
                      <a:pt x="664" y="244"/>
                    </a:lnTo>
                    <a:lnTo>
                      <a:pt x="664" y="244"/>
                    </a:lnTo>
                    <a:lnTo>
                      <a:pt x="664" y="244"/>
                    </a:lnTo>
                    <a:lnTo>
                      <a:pt x="659" y="244"/>
                    </a:lnTo>
                    <a:lnTo>
                      <a:pt x="659" y="244"/>
                    </a:lnTo>
                    <a:lnTo>
                      <a:pt x="659" y="244"/>
                    </a:lnTo>
                    <a:lnTo>
                      <a:pt x="659" y="244"/>
                    </a:lnTo>
                    <a:lnTo>
                      <a:pt x="655" y="244"/>
                    </a:lnTo>
                    <a:lnTo>
                      <a:pt x="655" y="244"/>
                    </a:lnTo>
                    <a:lnTo>
                      <a:pt x="650" y="244"/>
                    </a:lnTo>
                    <a:lnTo>
                      <a:pt x="650" y="244"/>
                    </a:lnTo>
                    <a:lnTo>
                      <a:pt x="650" y="244"/>
                    </a:lnTo>
                    <a:lnTo>
                      <a:pt x="650" y="244"/>
                    </a:lnTo>
                    <a:lnTo>
                      <a:pt x="650" y="244"/>
                    </a:lnTo>
                    <a:lnTo>
                      <a:pt x="650" y="244"/>
                    </a:lnTo>
                    <a:lnTo>
                      <a:pt x="650" y="249"/>
                    </a:lnTo>
                    <a:lnTo>
                      <a:pt x="650" y="249"/>
                    </a:lnTo>
                    <a:lnTo>
                      <a:pt x="650" y="249"/>
                    </a:lnTo>
                    <a:lnTo>
                      <a:pt x="646" y="249"/>
                    </a:lnTo>
                    <a:lnTo>
                      <a:pt x="646" y="249"/>
                    </a:lnTo>
                    <a:lnTo>
                      <a:pt x="646" y="249"/>
                    </a:lnTo>
                    <a:lnTo>
                      <a:pt x="646" y="249"/>
                    </a:lnTo>
                    <a:lnTo>
                      <a:pt x="646" y="249"/>
                    </a:lnTo>
                    <a:lnTo>
                      <a:pt x="646" y="249"/>
                    </a:lnTo>
                    <a:lnTo>
                      <a:pt x="646" y="249"/>
                    </a:lnTo>
                    <a:lnTo>
                      <a:pt x="646" y="249"/>
                    </a:lnTo>
                    <a:lnTo>
                      <a:pt x="641" y="249"/>
                    </a:lnTo>
                    <a:lnTo>
                      <a:pt x="637" y="249"/>
                    </a:lnTo>
                    <a:lnTo>
                      <a:pt x="628" y="253"/>
                    </a:lnTo>
                    <a:lnTo>
                      <a:pt x="628" y="253"/>
                    </a:lnTo>
                    <a:lnTo>
                      <a:pt x="623" y="253"/>
                    </a:lnTo>
                    <a:lnTo>
                      <a:pt x="623" y="253"/>
                    </a:lnTo>
                    <a:lnTo>
                      <a:pt x="623" y="253"/>
                    </a:lnTo>
                    <a:lnTo>
                      <a:pt x="619" y="253"/>
                    </a:lnTo>
                    <a:lnTo>
                      <a:pt x="619" y="253"/>
                    </a:lnTo>
                    <a:lnTo>
                      <a:pt x="623" y="253"/>
                    </a:lnTo>
                    <a:lnTo>
                      <a:pt x="623" y="253"/>
                    </a:lnTo>
                    <a:lnTo>
                      <a:pt x="623" y="253"/>
                    </a:lnTo>
                    <a:lnTo>
                      <a:pt x="623" y="253"/>
                    </a:lnTo>
                    <a:lnTo>
                      <a:pt x="623" y="253"/>
                    </a:lnTo>
                    <a:lnTo>
                      <a:pt x="623" y="253"/>
                    </a:lnTo>
                    <a:lnTo>
                      <a:pt x="623" y="253"/>
                    </a:lnTo>
                    <a:lnTo>
                      <a:pt x="623" y="253"/>
                    </a:lnTo>
                    <a:lnTo>
                      <a:pt x="619" y="253"/>
                    </a:lnTo>
                    <a:lnTo>
                      <a:pt x="614" y="253"/>
                    </a:lnTo>
                    <a:lnTo>
                      <a:pt x="614" y="253"/>
                    </a:lnTo>
                    <a:lnTo>
                      <a:pt x="610" y="253"/>
                    </a:lnTo>
                    <a:lnTo>
                      <a:pt x="610" y="253"/>
                    </a:lnTo>
                    <a:lnTo>
                      <a:pt x="610" y="253"/>
                    </a:lnTo>
                    <a:lnTo>
                      <a:pt x="610" y="253"/>
                    </a:lnTo>
                    <a:lnTo>
                      <a:pt x="610" y="253"/>
                    </a:lnTo>
                    <a:lnTo>
                      <a:pt x="605" y="253"/>
                    </a:lnTo>
                    <a:lnTo>
                      <a:pt x="605" y="253"/>
                    </a:lnTo>
                    <a:lnTo>
                      <a:pt x="605" y="258"/>
                    </a:lnTo>
                    <a:lnTo>
                      <a:pt x="605" y="253"/>
                    </a:lnTo>
                    <a:lnTo>
                      <a:pt x="601" y="253"/>
                    </a:lnTo>
                    <a:lnTo>
                      <a:pt x="601" y="258"/>
                    </a:lnTo>
                    <a:lnTo>
                      <a:pt x="601" y="258"/>
                    </a:lnTo>
                    <a:lnTo>
                      <a:pt x="596" y="258"/>
                    </a:lnTo>
                    <a:lnTo>
                      <a:pt x="596" y="258"/>
                    </a:lnTo>
                    <a:lnTo>
                      <a:pt x="596" y="258"/>
                    </a:lnTo>
                    <a:lnTo>
                      <a:pt x="596" y="258"/>
                    </a:lnTo>
                    <a:lnTo>
                      <a:pt x="596" y="253"/>
                    </a:lnTo>
                    <a:lnTo>
                      <a:pt x="596" y="253"/>
                    </a:lnTo>
                    <a:lnTo>
                      <a:pt x="601" y="253"/>
                    </a:lnTo>
                    <a:lnTo>
                      <a:pt x="601" y="253"/>
                    </a:lnTo>
                    <a:lnTo>
                      <a:pt x="601" y="253"/>
                    </a:lnTo>
                    <a:lnTo>
                      <a:pt x="601" y="253"/>
                    </a:lnTo>
                    <a:lnTo>
                      <a:pt x="601" y="253"/>
                    </a:lnTo>
                    <a:lnTo>
                      <a:pt x="601" y="253"/>
                    </a:lnTo>
                    <a:lnTo>
                      <a:pt x="601" y="253"/>
                    </a:lnTo>
                    <a:lnTo>
                      <a:pt x="601" y="253"/>
                    </a:lnTo>
                    <a:lnTo>
                      <a:pt x="601" y="253"/>
                    </a:lnTo>
                    <a:lnTo>
                      <a:pt x="596" y="253"/>
                    </a:lnTo>
                    <a:lnTo>
                      <a:pt x="596" y="253"/>
                    </a:lnTo>
                    <a:lnTo>
                      <a:pt x="596" y="253"/>
                    </a:lnTo>
                    <a:lnTo>
                      <a:pt x="591" y="253"/>
                    </a:lnTo>
                    <a:lnTo>
                      <a:pt x="591" y="253"/>
                    </a:lnTo>
                    <a:lnTo>
                      <a:pt x="582" y="258"/>
                    </a:lnTo>
                    <a:lnTo>
                      <a:pt x="582" y="258"/>
                    </a:lnTo>
                    <a:lnTo>
                      <a:pt x="582" y="258"/>
                    </a:lnTo>
                    <a:lnTo>
                      <a:pt x="578" y="258"/>
                    </a:lnTo>
                    <a:lnTo>
                      <a:pt x="578" y="258"/>
                    </a:lnTo>
                    <a:lnTo>
                      <a:pt x="578" y="262"/>
                    </a:lnTo>
                    <a:lnTo>
                      <a:pt x="573" y="262"/>
                    </a:lnTo>
                    <a:lnTo>
                      <a:pt x="573" y="258"/>
                    </a:lnTo>
                    <a:lnTo>
                      <a:pt x="573" y="258"/>
                    </a:lnTo>
                    <a:lnTo>
                      <a:pt x="578" y="258"/>
                    </a:lnTo>
                    <a:lnTo>
                      <a:pt x="578" y="258"/>
                    </a:lnTo>
                    <a:lnTo>
                      <a:pt x="578" y="258"/>
                    </a:lnTo>
                    <a:lnTo>
                      <a:pt x="578" y="258"/>
                    </a:lnTo>
                    <a:lnTo>
                      <a:pt x="578" y="258"/>
                    </a:lnTo>
                    <a:lnTo>
                      <a:pt x="578" y="258"/>
                    </a:lnTo>
                    <a:lnTo>
                      <a:pt x="578" y="258"/>
                    </a:lnTo>
                    <a:lnTo>
                      <a:pt x="573" y="258"/>
                    </a:lnTo>
                    <a:lnTo>
                      <a:pt x="573" y="258"/>
                    </a:lnTo>
                    <a:lnTo>
                      <a:pt x="569" y="262"/>
                    </a:lnTo>
                    <a:lnTo>
                      <a:pt x="569" y="262"/>
                    </a:lnTo>
                    <a:lnTo>
                      <a:pt x="569" y="262"/>
                    </a:lnTo>
                    <a:lnTo>
                      <a:pt x="569" y="258"/>
                    </a:lnTo>
                    <a:lnTo>
                      <a:pt x="569" y="258"/>
                    </a:lnTo>
                    <a:lnTo>
                      <a:pt x="569" y="258"/>
                    </a:lnTo>
                    <a:lnTo>
                      <a:pt x="564" y="262"/>
                    </a:lnTo>
                    <a:lnTo>
                      <a:pt x="564" y="262"/>
                    </a:lnTo>
                    <a:lnTo>
                      <a:pt x="560" y="262"/>
                    </a:lnTo>
                    <a:lnTo>
                      <a:pt x="560" y="262"/>
                    </a:lnTo>
                    <a:lnTo>
                      <a:pt x="560" y="262"/>
                    </a:lnTo>
                    <a:lnTo>
                      <a:pt x="560" y="262"/>
                    </a:lnTo>
                    <a:lnTo>
                      <a:pt x="564" y="262"/>
                    </a:lnTo>
                    <a:lnTo>
                      <a:pt x="564" y="258"/>
                    </a:lnTo>
                    <a:lnTo>
                      <a:pt x="564" y="258"/>
                    </a:lnTo>
                    <a:lnTo>
                      <a:pt x="569" y="258"/>
                    </a:lnTo>
                    <a:lnTo>
                      <a:pt x="569" y="258"/>
                    </a:lnTo>
                    <a:lnTo>
                      <a:pt x="573" y="258"/>
                    </a:lnTo>
                    <a:lnTo>
                      <a:pt x="573" y="258"/>
                    </a:lnTo>
                    <a:lnTo>
                      <a:pt x="573" y="258"/>
                    </a:lnTo>
                    <a:lnTo>
                      <a:pt x="573" y="258"/>
                    </a:lnTo>
                    <a:lnTo>
                      <a:pt x="573" y="258"/>
                    </a:lnTo>
                    <a:lnTo>
                      <a:pt x="573" y="258"/>
                    </a:lnTo>
                    <a:lnTo>
                      <a:pt x="578" y="258"/>
                    </a:lnTo>
                    <a:lnTo>
                      <a:pt x="578" y="253"/>
                    </a:lnTo>
                    <a:lnTo>
                      <a:pt x="582" y="253"/>
                    </a:lnTo>
                    <a:lnTo>
                      <a:pt x="587" y="253"/>
                    </a:lnTo>
                    <a:lnTo>
                      <a:pt x="591" y="249"/>
                    </a:lnTo>
                    <a:lnTo>
                      <a:pt x="596" y="249"/>
                    </a:lnTo>
                    <a:lnTo>
                      <a:pt x="601" y="249"/>
                    </a:lnTo>
                    <a:lnTo>
                      <a:pt x="605" y="244"/>
                    </a:lnTo>
                    <a:lnTo>
                      <a:pt x="614" y="244"/>
                    </a:lnTo>
                    <a:lnTo>
                      <a:pt x="614" y="244"/>
                    </a:lnTo>
                    <a:lnTo>
                      <a:pt x="614" y="244"/>
                    </a:lnTo>
                    <a:lnTo>
                      <a:pt x="614" y="244"/>
                    </a:lnTo>
                    <a:lnTo>
                      <a:pt x="614" y="249"/>
                    </a:lnTo>
                    <a:lnTo>
                      <a:pt x="614" y="249"/>
                    </a:lnTo>
                    <a:lnTo>
                      <a:pt x="614" y="244"/>
                    </a:lnTo>
                    <a:lnTo>
                      <a:pt x="614" y="249"/>
                    </a:lnTo>
                    <a:lnTo>
                      <a:pt x="614" y="249"/>
                    </a:lnTo>
                    <a:lnTo>
                      <a:pt x="614" y="249"/>
                    </a:lnTo>
                    <a:lnTo>
                      <a:pt x="614" y="249"/>
                    </a:lnTo>
                    <a:lnTo>
                      <a:pt x="610" y="249"/>
                    </a:lnTo>
                    <a:lnTo>
                      <a:pt x="610" y="249"/>
                    </a:lnTo>
                    <a:lnTo>
                      <a:pt x="610" y="249"/>
                    </a:lnTo>
                    <a:lnTo>
                      <a:pt x="614" y="249"/>
                    </a:lnTo>
                    <a:lnTo>
                      <a:pt x="614" y="249"/>
                    </a:lnTo>
                    <a:lnTo>
                      <a:pt x="614" y="249"/>
                    </a:lnTo>
                    <a:lnTo>
                      <a:pt x="614" y="249"/>
                    </a:lnTo>
                    <a:lnTo>
                      <a:pt x="619" y="249"/>
                    </a:lnTo>
                    <a:lnTo>
                      <a:pt x="619" y="249"/>
                    </a:lnTo>
                    <a:lnTo>
                      <a:pt x="619" y="249"/>
                    </a:lnTo>
                    <a:lnTo>
                      <a:pt x="619" y="249"/>
                    </a:lnTo>
                    <a:lnTo>
                      <a:pt x="619" y="249"/>
                    </a:lnTo>
                    <a:lnTo>
                      <a:pt x="619" y="249"/>
                    </a:lnTo>
                    <a:lnTo>
                      <a:pt x="619" y="249"/>
                    </a:lnTo>
                    <a:lnTo>
                      <a:pt x="619" y="249"/>
                    </a:lnTo>
                    <a:lnTo>
                      <a:pt x="619" y="249"/>
                    </a:lnTo>
                    <a:lnTo>
                      <a:pt x="619" y="249"/>
                    </a:lnTo>
                    <a:lnTo>
                      <a:pt x="623" y="244"/>
                    </a:lnTo>
                    <a:lnTo>
                      <a:pt x="623" y="244"/>
                    </a:lnTo>
                    <a:lnTo>
                      <a:pt x="628" y="244"/>
                    </a:lnTo>
                    <a:lnTo>
                      <a:pt x="632" y="240"/>
                    </a:lnTo>
                    <a:lnTo>
                      <a:pt x="637" y="240"/>
                    </a:lnTo>
                    <a:lnTo>
                      <a:pt x="637" y="240"/>
                    </a:lnTo>
                    <a:lnTo>
                      <a:pt x="641" y="240"/>
                    </a:lnTo>
                    <a:lnTo>
                      <a:pt x="650" y="235"/>
                    </a:lnTo>
                    <a:lnTo>
                      <a:pt x="655" y="235"/>
                    </a:lnTo>
                    <a:lnTo>
                      <a:pt x="659" y="235"/>
                    </a:lnTo>
                    <a:lnTo>
                      <a:pt x="659" y="235"/>
                    </a:lnTo>
                    <a:lnTo>
                      <a:pt x="659" y="235"/>
                    </a:lnTo>
                    <a:lnTo>
                      <a:pt x="659" y="235"/>
                    </a:lnTo>
                    <a:lnTo>
                      <a:pt x="659" y="235"/>
                    </a:lnTo>
                    <a:lnTo>
                      <a:pt x="659" y="235"/>
                    </a:lnTo>
                    <a:lnTo>
                      <a:pt x="659" y="235"/>
                    </a:lnTo>
                    <a:lnTo>
                      <a:pt x="664" y="235"/>
                    </a:lnTo>
                    <a:lnTo>
                      <a:pt x="664" y="235"/>
                    </a:lnTo>
                    <a:lnTo>
                      <a:pt x="664" y="235"/>
                    </a:lnTo>
                    <a:lnTo>
                      <a:pt x="664" y="231"/>
                    </a:lnTo>
                    <a:lnTo>
                      <a:pt x="668" y="231"/>
                    </a:lnTo>
                    <a:lnTo>
                      <a:pt x="668" y="231"/>
                    </a:lnTo>
                    <a:lnTo>
                      <a:pt x="673" y="231"/>
                    </a:lnTo>
                    <a:lnTo>
                      <a:pt x="677" y="226"/>
                    </a:lnTo>
                    <a:lnTo>
                      <a:pt x="682" y="226"/>
                    </a:lnTo>
                    <a:lnTo>
                      <a:pt x="682" y="226"/>
                    </a:lnTo>
                    <a:lnTo>
                      <a:pt x="682" y="226"/>
                    </a:lnTo>
                    <a:lnTo>
                      <a:pt x="686" y="226"/>
                    </a:lnTo>
                    <a:lnTo>
                      <a:pt x="691" y="226"/>
                    </a:lnTo>
                    <a:lnTo>
                      <a:pt x="691" y="226"/>
                    </a:lnTo>
                    <a:lnTo>
                      <a:pt x="691" y="226"/>
                    </a:lnTo>
                    <a:lnTo>
                      <a:pt x="691" y="226"/>
                    </a:lnTo>
                    <a:lnTo>
                      <a:pt x="691" y="226"/>
                    </a:lnTo>
                    <a:lnTo>
                      <a:pt x="691" y="226"/>
                    </a:lnTo>
                    <a:lnTo>
                      <a:pt x="691" y="226"/>
                    </a:lnTo>
                    <a:lnTo>
                      <a:pt x="691" y="226"/>
                    </a:lnTo>
                    <a:lnTo>
                      <a:pt x="691" y="226"/>
                    </a:lnTo>
                    <a:lnTo>
                      <a:pt x="691" y="226"/>
                    </a:lnTo>
                    <a:lnTo>
                      <a:pt x="691" y="226"/>
                    </a:lnTo>
                    <a:lnTo>
                      <a:pt x="695" y="222"/>
                    </a:lnTo>
                    <a:lnTo>
                      <a:pt x="695" y="222"/>
                    </a:lnTo>
                    <a:lnTo>
                      <a:pt x="695" y="222"/>
                    </a:lnTo>
                    <a:lnTo>
                      <a:pt x="700" y="217"/>
                    </a:lnTo>
                    <a:lnTo>
                      <a:pt x="704" y="217"/>
                    </a:lnTo>
                    <a:lnTo>
                      <a:pt x="709" y="213"/>
                    </a:lnTo>
                    <a:lnTo>
                      <a:pt x="709" y="213"/>
                    </a:lnTo>
                    <a:lnTo>
                      <a:pt x="713" y="213"/>
                    </a:lnTo>
                    <a:lnTo>
                      <a:pt x="713" y="213"/>
                    </a:lnTo>
                    <a:lnTo>
                      <a:pt x="713" y="213"/>
                    </a:lnTo>
                    <a:lnTo>
                      <a:pt x="713" y="213"/>
                    </a:lnTo>
                    <a:lnTo>
                      <a:pt x="713" y="213"/>
                    </a:lnTo>
                    <a:lnTo>
                      <a:pt x="713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32" y="204"/>
                    </a:lnTo>
                    <a:lnTo>
                      <a:pt x="732" y="204"/>
                    </a:lnTo>
                    <a:lnTo>
                      <a:pt x="732" y="204"/>
                    </a:lnTo>
                    <a:lnTo>
                      <a:pt x="736" y="204"/>
                    </a:lnTo>
                    <a:lnTo>
                      <a:pt x="741" y="199"/>
                    </a:lnTo>
                    <a:lnTo>
                      <a:pt x="736" y="199"/>
                    </a:lnTo>
                    <a:lnTo>
                      <a:pt x="732" y="204"/>
                    </a:lnTo>
                    <a:lnTo>
                      <a:pt x="722" y="204"/>
                    </a:lnTo>
                    <a:lnTo>
                      <a:pt x="718" y="204"/>
                    </a:lnTo>
                    <a:lnTo>
                      <a:pt x="713" y="204"/>
                    </a:lnTo>
                    <a:lnTo>
                      <a:pt x="713" y="204"/>
                    </a:lnTo>
                    <a:lnTo>
                      <a:pt x="713" y="204"/>
                    </a:lnTo>
                    <a:lnTo>
                      <a:pt x="718" y="204"/>
                    </a:lnTo>
                    <a:lnTo>
                      <a:pt x="718" y="199"/>
                    </a:lnTo>
                    <a:lnTo>
                      <a:pt x="718" y="199"/>
                    </a:lnTo>
                    <a:lnTo>
                      <a:pt x="722" y="199"/>
                    </a:lnTo>
                    <a:lnTo>
                      <a:pt x="722" y="199"/>
                    </a:lnTo>
                    <a:lnTo>
                      <a:pt x="722" y="199"/>
                    </a:lnTo>
                    <a:lnTo>
                      <a:pt x="722" y="199"/>
                    </a:lnTo>
                    <a:lnTo>
                      <a:pt x="727" y="199"/>
                    </a:lnTo>
                    <a:lnTo>
                      <a:pt x="722" y="195"/>
                    </a:lnTo>
                    <a:lnTo>
                      <a:pt x="722" y="195"/>
                    </a:lnTo>
                    <a:lnTo>
                      <a:pt x="718" y="199"/>
                    </a:lnTo>
                    <a:lnTo>
                      <a:pt x="718" y="199"/>
                    </a:lnTo>
                    <a:lnTo>
                      <a:pt x="718" y="199"/>
                    </a:lnTo>
                    <a:lnTo>
                      <a:pt x="718" y="199"/>
                    </a:lnTo>
                    <a:lnTo>
                      <a:pt x="713" y="199"/>
                    </a:lnTo>
                    <a:lnTo>
                      <a:pt x="713" y="199"/>
                    </a:lnTo>
                    <a:lnTo>
                      <a:pt x="709" y="204"/>
                    </a:lnTo>
                    <a:lnTo>
                      <a:pt x="704" y="208"/>
                    </a:lnTo>
                    <a:lnTo>
                      <a:pt x="704" y="208"/>
                    </a:lnTo>
                    <a:lnTo>
                      <a:pt x="700" y="208"/>
                    </a:lnTo>
                    <a:lnTo>
                      <a:pt x="700" y="208"/>
                    </a:lnTo>
                    <a:lnTo>
                      <a:pt x="704" y="199"/>
                    </a:lnTo>
                    <a:lnTo>
                      <a:pt x="704" y="199"/>
                    </a:lnTo>
                    <a:lnTo>
                      <a:pt x="704" y="199"/>
                    </a:lnTo>
                    <a:lnTo>
                      <a:pt x="704" y="199"/>
                    </a:lnTo>
                    <a:lnTo>
                      <a:pt x="704" y="199"/>
                    </a:lnTo>
                    <a:lnTo>
                      <a:pt x="700" y="199"/>
                    </a:lnTo>
                    <a:lnTo>
                      <a:pt x="700" y="195"/>
                    </a:lnTo>
                    <a:lnTo>
                      <a:pt x="704" y="195"/>
                    </a:lnTo>
                    <a:lnTo>
                      <a:pt x="704" y="195"/>
                    </a:lnTo>
                    <a:lnTo>
                      <a:pt x="700" y="195"/>
                    </a:lnTo>
                    <a:lnTo>
                      <a:pt x="700" y="195"/>
                    </a:lnTo>
                    <a:lnTo>
                      <a:pt x="695" y="195"/>
                    </a:lnTo>
                    <a:lnTo>
                      <a:pt x="691" y="195"/>
                    </a:lnTo>
                    <a:lnTo>
                      <a:pt x="686" y="195"/>
                    </a:lnTo>
                    <a:lnTo>
                      <a:pt x="686" y="195"/>
                    </a:lnTo>
                    <a:lnTo>
                      <a:pt x="686" y="195"/>
                    </a:lnTo>
                    <a:lnTo>
                      <a:pt x="686" y="199"/>
                    </a:lnTo>
                    <a:lnTo>
                      <a:pt x="682" y="199"/>
                    </a:lnTo>
                    <a:lnTo>
                      <a:pt x="677" y="199"/>
                    </a:lnTo>
                    <a:lnTo>
                      <a:pt x="673" y="199"/>
                    </a:lnTo>
                    <a:lnTo>
                      <a:pt x="677" y="195"/>
                    </a:lnTo>
                    <a:lnTo>
                      <a:pt x="677" y="195"/>
                    </a:lnTo>
                    <a:lnTo>
                      <a:pt x="682" y="195"/>
                    </a:lnTo>
                    <a:lnTo>
                      <a:pt x="686" y="195"/>
                    </a:lnTo>
                    <a:lnTo>
                      <a:pt x="686" y="195"/>
                    </a:lnTo>
                    <a:lnTo>
                      <a:pt x="686" y="190"/>
                    </a:lnTo>
                    <a:lnTo>
                      <a:pt x="691" y="190"/>
                    </a:lnTo>
                    <a:lnTo>
                      <a:pt x="691" y="190"/>
                    </a:lnTo>
                    <a:lnTo>
                      <a:pt x="691" y="190"/>
                    </a:lnTo>
                    <a:lnTo>
                      <a:pt x="691" y="190"/>
                    </a:lnTo>
                    <a:lnTo>
                      <a:pt x="691" y="186"/>
                    </a:lnTo>
                    <a:lnTo>
                      <a:pt x="695" y="186"/>
                    </a:lnTo>
                    <a:lnTo>
                      <a:pt x="700" y="186"/>
                    </a:lnTo>
                    <a:lnTo>
                      <a:pt x="700" y="181"/>
                    </a:lnTo>
                    <a:lnTo>
                      <a:pt x="704" y="181"/>
                    </a:lnTo>
                    <a:lnTo>
                      <a:pt x="704" y="181"/>
                    </a:lnTo>
                    <a:lnTo>
                      <a:pt x="709" y="172"/>
                    </a:lnTo>
                    <a:lnTo>
                      <a:pt x="713" y="172"/>
                    </a:lnTo>
                    <a:lnTo>
                      <a:pt x="718" y="167"/>
                    </a:lnTo>
                    <a:lnTo>
                      <a:pt x="722" y="167"/>
                    </a:lnTo>
                    <a:lnTo>
                      <a:pt x="727" y="163"/>
                    </a:lnTo>
                    <a:lnTo>
                      <a:pt x="732" y="163"/>
                    </a:lnTo>
                    <a:lnTo>
                      <a:pt x="732" y="163"/>
                    </a:lnTo>
                    <a:lnTo>
                      <a:pt x="732" y="163"/>
                    </a:lnTo>
                    <a:lnTo>
                      <a:pt x="732" y="163"/>
                    </a:lnTo>
                    <a:lnTo>
                      <a:pt x="727" y="163"/>
                    </a:lnTo>
                    <a:lnTo>
                      <a:pt x="727" y="163"/>
                    </a:lnTo>
                    <a:lnTo>
                      <a:pt x="718" y="167"/>
                    </a:lnTo>
                    <a:lnTo>
                      <a:pt x="713" y="167"/>
                    </a:lnTo>
                    <a:lnTo>
                      <a:pt x="713" y="167"/>
                    </a:lnTo>
                    <a:lnTo>
                      <a:pt x="713" y="167"/>
                    </a:lnTo>
                    <a:lnTo>
                      <a:pt x="713" y="167"/>
                    </a:lnTo>
                    <a:lnTo>
                      <a:pt x="713" y="172"/>
                    </a:lnTo>
                    <a:lnTo>
                      <a:pt x="709" y="172"/>
                    </a:lnTo>
                    <a:lnTo>
                      <a:pt x="709" y="172"/>
                    </a:lnTo>
                    <a:lnTo>
                      <a:pt x="704" y="172"/>
                    </a:lnTo>
                    <a:lnTo>
                      <a:pt x="704" y="172"/>
                    </a:lnTo>
                    <a:lnTo>
                      <a:pt x="695" y="176"/>
                    </a:lnTo>
                    <a:lnTo>
                      <a:pt x="691" y="176"/>
                    </a:lnTo>
                    <a:lnTo>
                      <a:pt x="691" y="172"/>
                    </a:lnTo>
                    <a:lnTo>
                      <a:pt x="691" y="172"/>
                    </a:lnTo>
                    <a:lnTo>
                      <a:pt x="691" y="172"/>
                    </a:lnTo>
                    <a:lnTo>
                      <a:pt x="691" y="172"/>
                    </a:lnTo>
                    <a:lnTo>
                      <a:pt x="691" y="167"/>
                    </a:lnTo>
                    <a:lnTo>
                      <a:pt x="695" y="163"/>
                    </a:lnTo>
                    <a:lnTo>
                      <a:pt x="695" y="163"/>
                    </a:lnTo>
                    <a:lnTo>
                      <a:pt x="695" y="163"/>
                    </a:lnTo>
                    <a:lnTo>
                      <a:pt x="695" y="163"/>
                    </a:lnTo>
                    <a:lnTo>
                      <a:pt x="695" y="158"/>
                    </a:lnTo>
                    <a:lnTo>
                      <a:pt x="695" y="158"/>
                    </a:lnTo>
                    <a:lnTo>
                      <a:pt x="695" y="158"/>
                    </a:lnTo>
                    <a:lnTo>
                      <a:pt x="695" y="158"/>
                    </a:lnTo>
                    <a:lnTo>
                      <a:pt x="695" y="158"/>
                    </a:lnTo>
                    <a:lnTo>
                      <a:pt x="704" y="154"/>
                    </a:lnTo>
                    <a:lnTo>
                      <a:pt x="709" y="154"/>
                    </a:lnTo>
                    <a:lnTo>
                      <a:pt x="709" y="154"/>
                    </a:lnTo>
                    <a:lnTo>
                      <a:pt x="713" y="154"/>
                    </a:lnTo>
                    <a:lnTo>
                      <a:pt x="713" y="154"/>
                    </a:lnTo>
                    <a:lnTo>
                      <a:pt x="713" y="154"/>
                    </a:lnTo>
                    <a:lnTo>
                      <a:pt x="713" y="158"/>
                    </a:lnTo>
                    <a:lnTo>
                      <a:pt x="713" y="158"/>
                    </a:lnTo>
                    <a:lnTo>
                      <a:pt x="709" y="158"/>
                    </a:lnTo>
                    <a:lnTo>
                      <a:pt x="704" y="158"/>
                    </a:lnTo>
                    <a:lnTo>
                      <a:pt x="709" y="158"/>
                    </a:lnTo>
                    <a:lnTo>
                      <a:pt x="713" y="158"/>
                    </a:lnTo>
                    <a:lnTo>
                      <a:pt x="713" y="158"/>
                    </a:lnTo>
                    <a:lnTo>
                      <a:pt x="713" y="158"/>
                    </a:lnTo>
                    <a:lnTo>
                      <a:pt x="713" y="158"/>
                    </a:lnTo>
                    <a:lnTo>
                      <a:pt x="713" y="158"/>
                    </a:lnTo>
                    <a:lnTo>
                      <a:pt x="713" y="163"/>
                    </a:lnTo>
                    <a:lnTo>
                      <a:pt x="718" y="158"/>
                    </a:lnTo>
                    <a:lnTo>
                      <a:pt x="722" y="158"/>
                    </a:lnTo>
                    <a:lnTo>
                      <a:pt x="722" y="158"/>
                    </a:lnTo>
                    <a:lnTo>
                      <a:pt x="718" y="158"/>
                    </a:lnTo>
                    <a:lnTo>
                      <a:pt x="718" y="154"/>
                    </a:lnTo>
                    <a:lnTo>
                      <a:pt x="718" y="154"/>
                    </a:lnTo>
                    <a:lnTo>
                      <a:pt x="722" y="154"/>
                    </a:lnTo>
                    <a:lnTo>
                      <a:pt x="722" y="154"/>
                    </a:lnTo>
                    <a:lnTo>
                      <a:pt x="722" y="154"/>
                    </a:lnTo>
                    <a:lnTo>
                      <a:pt x="722" y="154"/>
                    </a:lnTo>
                    <a:lnTo>
                      <a:pt x="718" y="154"/>
                    </a:lnTo>
                    <a:lnTo>
                      <a:pt x="713" y="154"/>
                    </a:lnTo>
                    <a:lnTo>
                      <a:pt x="713" y="154"/>
                    </a:lnTo>
                    <a:lnTo>
                      <a:pt x="709" y="154"/>
                    </a:lnTo>
                    <a:lnTo>
                      <a:pt x="709" y="154"/>
                    </a:lnTo>
                    <a:lnTo>
                      <a:pt x="709" y="154"/>
                    </a:lnTo>
                    <a:lnTo>
                      <a:pt x="713" y="149"/>
                    </a:lnTo>
                    <a:lnTo>
                      <a:pt x="713" y="149"/>
                    </a:lnTo>
                    <a:lnTo>
                      <a:pt x="718" y="149"/>
                    </a:lnTo>
                    <a:lnTo>
                      <a:pt x="718" y="149"/>
                    </a:lnTo>
                    <a:lnTo>
                      <a:pt x="713" y="149"/>
                    </a:lnTo>
                    <a:lnTo>
                      <a:pt x="713" y="149"/>
                    </a:lnTo>
                    <a:lnTo>
                      <a:pt x="718" y="149"/>
                    </a:lnTo>
                    <a:lnTo>
                      <a:pt x="718" y="149"/>
                    </a:lnTo>
                    <a:lnTo>
                      <a:pt x="713" y="149"/>
                    </a:lnTo>
                    <a:lnTo>
                      <a:pt x="713" y="149"/>
                    </a:lnTo>
                    <a:lnTo>
                      <a:pt x="713" y="149"/>
                    </a:lnTo>
                    <a:lnTo>
                      <a:pt x="713" y="145"/>
                    </a:lnTo>
                    <a:lnTo>
                      <a:pt x="718" y="145"/>
                    </a:lnTo>
                    <a:lnTo>
                      <a:pt x="718" y="145"/>
                    </a:lnTo>
                    <a:lnTo>
                      <a:pt x="718" y="145"/>
                    </a:lnTo>
                    <a:lnTo>
                      <a:pt x="713" y="149"/>
                    </a:lnTo>
                    <a:lnTo>
                      <a:pt x="713" y="149"/>
                    </a:lnTo>
                    <a:lnTo>
                      <a:pt x="713" y="149"/>
                    </a:lnTo>
                    <a:lnTo>
                      <a:pt x="709" y="149"/>
                    </a:lnTo>
                    <a:lnTo>
                      <a:pt x="709" y="149"/>
                    </a:lnTo>
                    <a:lnTo>
                      <a:pt x="709" y="149"/>
                    </a:lnTo>
                    <a:lnTo>
                      <a:pt x="713" y="145"/>
                    </a:lnTo>
                    <a:lnTo>
                      <a:pt x="713" y="145"/>
                    </a:lnTo>
                    <a:lnTo>
                      <a:pt x="713" y="145"/>
                    </a:lnTo>
                    <a:lnTo>
                      <a:pt x="718" y="140"/>
                    </a:lnTo>
                    <a:lnTo>
                      <a:pt x="718" y="140"/>
                    </a:lnTo>
                    <a:lnTo>
                      <a:pt x="718" y="140"/>
                    </a:lnTo>
                    <a:lnTo>
                      <a:pt x="718" y="140"/>
                    </a:lnTo>
                    <a:lnTo>
                      <a:pt x="718" y="140"/>
                    </a:lnTo>
                    <a:lnTo>
                      <a:pt x="718" y="140"/>
                    </a:lnTo>
                    <a:lnTo>
                      <a:pt x="718" y="140"/>
                    </a:lnTo>
                    <a:lnTo>
                      <a:pt x="718" y="140"/>
                    </a:lnTo>
                    <a:lnTo>
                      <a:pt x="718" y="140"/>
                    </a:lnTo>
                    <a:lnTo>
                      <a:pt x="722" y="140"/>
                    </a:lnTo>
                    <a:lnTo>
                      <a:pt x="722" y="140"/>
                    </a:lnTo>
                    <a:lnTo>
                      <a:pt x="722" y="136"/>
                    </a:lnTo>
                    <a:lnTo>
                      <a:pt x="727" y="136"/>
                    </a:lnTo>
                    <a:lnTo>
                      <a:pt x="727" y="136"/>
                    </a:lnTo>
                    <a:lnTo>
                      <a:pt x="727" y="136"/>
                    </a:lnTo>
                    <a:lnTo>
                      <a:pt x="732" y="136"/>
                    </a:lnTo>
                    <a:lnTo>
                      <a:pt x="732" y="136"/>
                    </a:lnTo>
                    <a:lnTo>
                      <a:pt x="732" y="136"/>
                    </a:lnTo>
                    <a:lnTo>
                      <a:pt x="736" y="131"/>
                    </a:lnTo>
                    <a:lnTo>
                      <a:pt x="736" y="131"/>
                    </a:lnTo>
                    <a:lnTo>
                      <a:pt x="745" y="127"/>
                    </a:lnTo>
                    <a:lnTo>
                      <a:pt x="754" y="127"/>
                    </a:lnTo>
                    <a:lnTo>
                      <a:pt x="754" y="127"/>
                    </a:lnTo>
                    <a:lnTo>
                      <a:pt x="754" y="127"/>
                    </a:lnTo>
                    <a:lnTo>
                      <a:pt x="759" y="127"/>
                    </a:lnTo>
                    <a:lnTo>
                      <a:pt x="759" y="127"/>
                    </a:lnTo>
                    <a:lnTo>
                      <a:pt x="759" y="127"/>
                    </a:lnTo>
                    <a:lnTo>
                      <a:pt x="759" y="127"/>
                    </a:lnTo>
                    <a:lnTo>
                      <a:pt x="759" y="127"/>
                    </a:lnTo>
                    <a:lnTo>
                      <a:pt x="763" y="127"/>
                    </a:lnTo>
                    <a:lnTo>
                      <a:pt x="763" y="122"/>
                    </a:lnTo>
                    <a:lnTo>
                      <a:pt x="763" y="122"/>
                    </a:lnTo>
                    <a:lnTo>
                      <a:pt x="763" y="122"/>
                    </a:lnTo>
                    <a:lnTo>
                      <a:pt x="759" y="127"/>
                    </a:lnTo>
                    <a:lnTo>
                      <a:pt x="763" y="122"/>
                    </a:lnTo>
                    <a:lnTo>
                      <a:pt x="763" y="122"/>
                    </a:lnTo>
                    <a:lnTo>
                      <a:pt x="768" y="122"/>
                    </a:lnTo>
                    <a:lnTo>
                      <a:pt x="772" y="118"/>
                    </a:lnTo>
                    <a:lnTo>
                      <a:pt x="772" y="118"/>
                    </a:lnTo>
                    <a:lnTo>
                      <a:pt x="777" y="118"/>
                    </a:lnTo>
                    <a:lnTo>
                      <a:pt x="777" y="118"/>
                    </a:lnTo>
                    <a:lnTo>
                      <a:pt x="777" y="118"/>
                    </a:lnTo>
                    <a:lnTo>
                      <a:pt x="777" y="118"/>
                    </a:lnTo>
                    <a:lnTo>
                      <a:pt x="781" y="118"/>
                    </a:lnTo>
                    <a:lnTo>
                      <a:pt x="781" y="118"/>
                    </a:lnTo>
                    <a:lnTo>
                      <a:pt x="786" y="118"/>
                    </a:lnTo>
                    <a:lnTo>
                      <a:pt x="786" y="118"/>
                    </a:lnTo>
                    <a:lnTo>
                      <a:pt x="786" y="118"/>
                    </a:lnTo>
                    <a:lnTo>
                      <a:pt x="786" y="118"/>
                    </a:lnTo>
                    <a:lnTo>
                      <a:pt x="786" y="118"/>
                    </a:lnTo>
                    <a:lnTo>
                      <a:pt x="786" y="118"/>
                    </a:lnTo>
                    <a:lnTo>
                      <a:pt x="781" y="118"/>
                    </a:lnTo>
                    <a:lnTo>
                      <a:pt x="781" y="122"/>
                    </a:lnTo>
                    <a:lnTo>
                      <a:pt x="781" y="122"/>
                    </a:lnTo>
                    <a:lnTo>
                      <a:pt x="786" y="118"/>
                    </a:lnTo>
                    <a:lnTo>
                      <a:pt x="786" y="118"/>
                    </a:lnTo>
                    <a:lnTo>
                      <a:pt x="786" y="118"/>
                    </a:lnTo>
                    <a:lnTo>
                      <a:pt x="786" y="122"/>
                    </a:lnTo>
                    <a:lnTo>
                      <a:pt x="786" y="122"/>
                    </a:lnTo>
                    <a:lnTo>
                      <a:pt x="790" y="122"/>
                    </a:lnTo>
                    <a:lnTo>
                      <a:pt x="790" y="122"/>
                    </a:lnTo>
                    <a:lnTo>
                      <a:pt x="795" y="118"/>
                    </a:lnTo>
                    <a:lnTo>
                      <a:pt x="799" y="118"/>
                    </a:lnTo>
                    <a:lnTo>
                      <a:pt x="808" y="118"/>
                    </a:lnTo>
                    <a:lnTo>
                      <a:pt x="808" y="113"/>
                    </a:lnTo>
                    <a:lnTo>
                      <a:pt x="813" y="113"/>
                    </a:lnTo>
                    <a:lnTo>
                      <a:pt x="813" y="113"/>
                    </a:lnTo>
                    <a:lnTo>
                      <a:pt x="813" y="118"/>
                    </a:lnTo>
                    <a:lnTo>
                      <a:pt x="813" y="118"/>
                    </a:lnTo>
                    <a:lnTo>
                      <a:pt x="817" y="118"/>
                    </a:lnTo>
                    <a:lnTo>
                      <a:pt x="817" y="118"/>
                    </a:lnTo>
                    <a:lnTo>
                      <a:pt x="822" y="118"/>
                    </a:lnTo>
                    <a:lnTo>
                      <a:pt x="826" y="113"/>
                    </a:lnTo>
                    <a:lnTo>
                      <a:pt x="831" y="113"/>
                    </a:lnTo>
                    <a:lnTo>
                      <a:pt x="831" y="113"/>
                    </a:lnTo>
                    <a:lnTo>
                      <a:pt x="835" y="109"/>
                    </a:lnTo>
                    <a:lnTo>
                      <a:pt x="835" y="109"/>
                    </a:lnTo>
                    <a:lnTo>
                      <a:pt x="844" y="104"/>
                    </a:lnTo>
                    <a:lnTo>
                      <a:pt x="844" y="104"/>
                    </a:lnTo>
                    <a:lnTo>
                      <a:pt x="844" y="100"/>
                    </a:lnTo>
                    <a:lnTo>
                      <a:pt x="844" y="100"/>
                    </a:lnTo>
                    <a:lnTo>
                      <a:pt x="849" y="100"/>
                    </a:lnTo>
                    <a:lnTo>
                      <a:pt x="849" y="100"/>
                    </a:lnTo>
                    <a:lnTo>
                      <a:pt x="849" y="100"/>
                    </a:lnTo>
                    <a:lnTo>
                      <a:pt x="853" y="100"/>
                    </a:lnTo>
                    <a:lnTo>
                      <a:pt x="853" y="100"/>
                    </a:lnTo>
                    <a:lnTo>
                      <a:pt x="858" y="100"/>
                    </a:lnTo>
                    <a:lnTo>
                      <a:pt x="858" y="95"/>
                    </a:lnTo>
                    <a:lnTo>
                      <a:pt x="858" y="95"/>
                    </a:lnTo>
                    <a:lnTo>
                      <a:pt x="863" y="95"/>
                    </a:lnTo>
                    <a:lnTo>
                      <a:pt x="863" y="95"/>
                    </a:lnTo>
                    <a:lnTo>
                      <a:pt x="863" y="95"/>
                    </a:lnTo>
                    <a:lnTo>
                      <a:pt x="863" y="95"/>
                    </a:lnTo>
                    <a:lnTo>
                      <a:pt x="853" y="95"/>
                    </a:lnTo>
                    <a:lnTo>
                      <a:pt x="853" y="95"/>
                    </a:lnTo>
                    <a:lnTo>
                      <a:pt x="853" y="95"/>
                    </a:lnTo>
                    <a:lnTo>
                      <a:pt x="849" y="95"/>
                    </a:lnTo>
                    <a:lnTo>
                      <a:pt x="844" y="95"/>
                    </a:lnTo>
                    <a:lnTo>
                      <a:pt x="840" y="95"/>
                    </a:lnTo>
                    <a:lnTo>
                      <a:pt x="835" y="100"/>
                    </a:lnTo>
                    <a:lnTo>
                      <a:pt x="831" y="100"/>
                    </a:lnTo>
                    <a:lnTo>
                      <a:pt x="831" y="100"/>
                    </a:lnTo>
                    <a:lnTo>
                      <a:pt x="835" y="100"/>
                    </a:lnTo>
                    <a:lnTo>
                      <a:pt x="835" y="95"/>
                    </a:lnTo>
                    <a:lnTo>
                      <a:pt x="831" y="95"/>
                    </a:lnTo>
                    <a:lnTo>
                      <a:pt x="831" y="95"/>
                    </a:lnTo>
                    <a:lnTo>
                      <a:pt x="831" y="95"/>
                    </a:lnTo>
                    <a:lnTo>
                      <a:pt x="831" y="95"/>
                    </a:lnTo>
                    <a:lnTo>
                      <a:pt x="831" y="100"/>
                    </a:lnTo>
                    <a:lnTo>
                      <a:pt x="826" y="100"/>
                    </a:lnTo>
                    <a:lnTo>
                      <a:pt x="831" y="100"/>
                    </a:lnTo>
                    <a:lnTo>
                      <a:pt x="831" y="95"/>
                    </a:lnTo>
                    <a:lnTo>
                      <a:pt x="826" y="95"/>
                    </a:lnTo>
                    <a:lnTo>
                      <a:pt x="822" y="95"/>
                    </a:lnTo>
                    <a:lnTo>
                      <a:pt x="817" y="95"/>
                    </a:lnTo>
                    <a:lnTo>
                      <a:pt x="817" y="95"/>
                    </a:lnTo>
                    <a:lnTo>
                      <a:pt x="817" y="95"/>
                    </a:lnTo>
                    <a:lnTo>
                      <a:pt x="817" y="95"/>
                    </a:lnTo>
                    <a:lnTo>
                      <a:pt x="813" y="95"/>
                    </a:lnTo>
                    <a:lnTo>
                      <a:pt x="813" y="95"/>
                    </a:lnTo>
                    <a:lnTo>
                      <a:pt x="813" y="95"/>
                    </a:lnTo>
                    <a:lnTo>
                      <a:pt x="813" y="95"/>
                    </a:lnTo>
                    <a:lnTo>
                      <a:pt x="808" y="95"/>
                    </a:lnTo>
                    <a:lnTo>
                      <a:pt x="804" y="91"/>
                    </a:lnTo>
                    <a:lnTo>
                      <a:pt x="804" y="91"/>
                    </a:lnTo>
                    <a:lnTo>
                      <a:pt x="808" y="86"/>
                    </a:lnTo>
                    <a:lnTo>
                      <a:pt x="808" y="86"/>
                    </a:lnTo>
                    <a:lnTo>
                      <a:pt x="813" y="86"/>
                    </a:lnTo>
                    <a:lnTo>
                      <a:pt x="813" y="86"/>
                    </a:lnTo>
                    <a:lnTo>
                      <a:pt x="813" y="86"/>
                    </a:lnTo>
                    <a:lnTo>
                      <a:pt x="817" y="82"/>
                    </a:lnTo>
                    <a:lnTo>
                      <a:pt x="817" y="82"/>
                    </a:lnTo>
                    <a:lnTo>
                      <a:pt x="817" y="82"/>
                    </a:lnTo>
                    <a:lnTo>
                      <a:pt x="817" y="82"/>
                    </a:lnTo>
                    <a:lnTo>
                      <a:pt x="817" y="82"/>
                    </a:lnTo>
                    <a:lnTo>
                      <a:pt x="817" y="82"/>
                    </a:lnTo>
                    <a:lnTo>
                      <a:pt x="822" y="82"/>
                    </a:lnTo>
                    <a:lnTo>
                      <a:pt x="826" y="82"/>
                    </a:lnTo>
                    <a:lnTo>
                      <a:pt x="826" y="82"/>
                    </a:lnTo>
                    <a:lnTo>
                      <a:pt x="826" y="82"/>
                    </a:lnTo>
                    <a:lnTo>
                      <a:pt x="826" y="77"/>
                    </a:lnTo>
                    <a:lnTo>
                      <a:pt x="826" y="77"/>
                    </a:lnTo>
                    <a:lnTo>
                      <a:pt x="822" y="77"/>
                    </a:lnTo>
                    <a:lnTo>
                      <a:pt x="822" y="77"/>
                    </a:lnTo>
                    <a:lnTo>
                      <a:pt x="817" y="72"/>
                    </a:lnTo>
                    <a:lnTo>
                      <a:pt x="817" y="72"/>
                    </a:lnTo>
                    <a:lnTo>
                      <a:pt x="822" y="72"/>
                    </a:lnTo>
                    <a:lnTo>
                      <a:pt x="822" y="68"/>
                    </a:lnTo>
                    <a:lnTo>
                      <a:pt x="826" y="68"/>
                    </a:lnTo>
                    <a:lnTo>
                      <a:pt x="822" y="68"/>
                    </a:lnTo>
                    <a:lnTo>
                      <a:pt x="822" y="72"/>
                    </a:lnTo>
                    <a:lnTo>
                      <a:pt x="826" y="68"/>
                    </a:lnTo>
                    <a:lnTo>
                      <a:pt x="831" y="68"/>
                    </a:lnTo>
                    <a:lnTo>
                      <a:pt x="835" y="68"/>
                    </a:lnTo>
                    <a:lnTo>
                      <a:pt x="840" y="68"/>
                    </a:lnTo>
                    <a:lnTo>
                      <a:pt x="840" y="68"/>
                    </a:lnTo>
                    <a:lnTo>
                      <a:pt x="844" y="68"/>
                    </a:lnTo>
                    <a:lnTo>
                      <a:pt x="849" y="68"/>
                    </a:lnTo>
                    <a:lnTo>
                      <a:pt x="849" y="68"/>
                    </a:lnTo>
                    <a:lnTo>
                      <a:pt x="853" y="63"/>
                    </a:lnTo>
                    <a:lnTo>
                      <a:pt x="853" y="68"/>
                    </a:lnTo>
                    <a:lnTo>
                      <a:pt x="853" y="68"/>
                    </a:lnTo>
                    <a:lnTo>
                      <a:pt x="853" y="68"/>
                    </a:lnTo>
                    <a:lnTo>
                      <a:pt x="858" y="68"/>
                    </a:lnTo>
                    <a:lnTo>
                      <a:pt x="858" y="68"/>
                    </a:lnTo>
                    <a:lnTo>
                      <a:pt x="858" y="68"/>
                    </a:lnTo>
                    <a:lnTo>
                      <a:pt x="858" y="63"/>
                    </a:lnTo>
                    <a:lnTo>
                      <a:pt x="858" y="63"/>
                    </a:lnTo>
                    <a:lnTo>
                      <a:pt x="863" y="63"/>
                    </a:lnTo>
                    <a:lnTo>
                      <a:pt x="867" y="63"/>
                    </a:lnTo>
                    <a:lnTo>
                      <a:pt x="872" y="63"/>
                    </a:lnTo>
                    <a:lnTo>
                      <a:pt x="872" y="63"/>
                    </a:lnTo>
                    <a:lnTo>
                      <a:pt x="876" y="63"/>
                    </a:lnTo>
                    <a:lnTo>
                      <a:pt x="881" y="63"/>
                    </a:lnTo>
                    <a:lnTo>
                      <a:pt x="885" y="63"/>
                    </a:lnTo>
                    <a:lnTo>
                      <a:pt x="890" y="63"/>
                    </a:lnTo>
                    <a:lnTo>
                      <a:pt x="890" y="63"/>
                    </a:lnTo>
                    <a:lnTo>
                      <a:pt x="885" y="63"/>
                    </a:lnTo>
                    <a:lnTo>
                      <a:pt x="885" y="63"/>
                    </a:lnTo>
                    <a:lnTo>
                      <a:pt x="885" y="63"/>
                    </a:lnTo>
                    <a:lnTo>
                      <a:pt x="885" y="63"/>
                    </a:lnTo>
                    <a:lnTo>
                      <a:pt x="885" y="63"/>
                    </a:lnTo>
                    <a:lnTo>
                      <a:pt x="881" y="68"/>
                    </a:lnTo>
                    <a:lnTo>
                      <a:pt x="876" y="68"/>
                    </a:lnTo>
                    <a:lnTo>
                      <a:pt x="876" y="68"/>
                    </a:lnTo>
                    <a:lnTo>
                      <a:pt x="872" y="68"/>
                    </a:lnTo>
                    <a:lnTo>
                      <a:pt x="872" y="72"/>
                    </a:lnTo>
                    <a:lnTo>
                      <a:pt x="876" y="72"/>
                    </a:lnTo>
                    <a:lnTo>
                      <a:pt x="881" y="72"/>
                    </a:lnTo>
                    <a:lnTo>
                      <a:pt x="881" y="72"/>
                    </a:lnTo>
                    <a:lnTo>
                      <a:pt x="881" y="72"/>
                    </a:lnTo>
                    <a:lnTo>
                      <a:pt x="885" y="72"/>
                    </a:lnTo>
                    <a:lnTo>
                      <a:pt x="885" y="77"/>
                    </a:lnTo>
                    <a:lnTo>
                      <a:pt x="890" y="77"/>
                    </a:lnTo>
                    <a:lnTo>
                      <a:pt x="894" y="72"/>
                    </a:lnTo>
                    <a:lnTo>
                      <a:pt x="899" y="72"/>
                    </a:lnTo>
                    <a:lnTo>
                      <a:pt x="899" y="72"/>
                    </a:lnTo>
                    <a:lnTo>
                      <a:pt x="899" y="72"/>
                    </a:lnTo>
                    <a:lnTo>
                      <a:pt x="899" y="72"/>
                    </a:lnTo>
                    <a:lnTo>
                      <a:pt x="899" y="72"/>
                    </a:lnTo>
                    <a:lnTo>
                      <a:pt x="903" y="72"/>
                    </a:lnTo>
                    <a:lnTo>
                      <a:pt x="903" y="72"/>
                    </a:lnTo>
                    <a:lnTo>
                      <a:pt x="903" y="68"/>
                    </a:lnTo>
                    <a:lnTo>
                      <a:pt x="899" y="68"/>
                    </a:lnTo>
                    <a:lnTo>
                      <a:pt x="899" y="68"/>
                    </a:lnTo>
                    <a:lnTo>
                      <a:pt x="899" y="68"/>
                    </a:lnTo>
                    <a:lnTo>
                      <a:pt x="903" y="63"/>
                    </a:lnTo>
                    <a:lnTo>
                      <a:pt x="903" y="63"/>
                    </a:lnTo>
                    <a:lnTo>
                      <a:pt x="903" y="63"/>
                    </a:lnTo>
                    <a:lnTo>
                      <a:pt x="903" y="63"/>
                    </a:lnTo>
                    <a:lnTo>
                      <a:pt x="908" y="59"/>
                    </a:lnTo>
                    <a:lnTo>
                      <a:pt x="908" y="59"/>
                    </a:lnTo>
                    <a:lnTo>
                      <a:pt x="908" y="59"/>
                    </a:lnTo>
                    <a:lnTo>
                      <a:pt x="908" y="59"/>
                    </a:lnTo>
                    <a:lnTo>
                      <a:pt x="908" y="63"/>
                    </a:lnTo>
                    <a:lnTo>
                      <a:pt x="908" y="63"/>
                    </a:lnTo>
                    <a:lnTo>
                      <a:pt x="903" y="63"/>
                    </a:lnTo>
                    <a:lnTo>
                      <a:pt x="903" y="68"/>
                    </a:lnTo>
                    <a:lnTo>
                      <a:pt x="903" y="68"/>
                    </a:lnTo>
                    <a:lnTo>
                      <a:pt x="908" y="68"/>
                    </a:lnTo>
                    <a:lnTo>
                      <a:pt x="908" y="68"/>
                    </a:lnTo>
                    <a:lnTo>
                      <a:pt x="908" y="68"/>
                    </a:lnTo>
                    <a:lnTo>
                      <a:pt x="908" y="72"/>
                    </a:lnTo>
                    <a:lnTo>
                      <a:pt x="908" y="72"/>
                    </a:lnTo>
                    <a:lnTo>
                      <a:pt x="912" y="72"/>
                    </a:lnTo>
                    <a:lnTo>
                      <a:pt x="917" y="72"/>
                    </a:lnTo>
                    <a:lnTo>
                      <a:pt x="917" y="68"/>
                    </a:lnTo>
                    <a:lnTo>
                      <a:pt x="917" y="68"/>
                    </a:lnTo>
                    <a:lnTo>
                      <a:pt x="917" y="68"/>
                    </a:lnTo>
                    <a:lnTo>
                      <a:pt x="917" y="68"/>
                    </a:lnTo>
                    <a:lnTo>
                      <a:pt x="912" y="68"/>
                    </a:lnTo>
                    <a:lnTo>
                      <a:pt x="908" y="68"/>
                    </a:lnTo>
                    <a:lnTo>
                      <a:pt x="908" y="68"/>
                    </a:lnTo>
                    <a:lnTo>
                      <a:pt x="908" y="68"/>
                    </a:lnTo>
                    <a:lnTo>
                      <a:pt x="908" y="63"/>
                    </a:lnTo>
                    <a:lnTo>
                      <a:pt x="908" y="63"/>
                    </a:lnTo>
                    <a:lnTo>
                      <a:pt x="917" y="63"/>
                    </a:lnTo>
                    <a:lnTo>
                      <a:pt x="917" y="59"/>
                    </a:lnTo>
                    <a:lnTo>
                      <a:pt x="917" y="59"/>
                    </a:lnTo>
                    <a:lnTo>
                      <a:pt x="917" y="59"/>
                    </a:lnTo>
                    <a:lnTo>
                      <a:pt x="912" y="59"/>
                    </a:lnTo>
                    <a:lnTo>
                      <a:pt x="912" y="59"/>
                    </a:lnTo>
                    <a:lnTo>
                      <a:pt x="912" y="59"/>
                    </a:lnTo>
                    <a:lnTo>
                      <a:pt x="912" y="59"/>
                    </a:lnTo>
                    <a:lnTo>
                      <a:pt x="908" y="59"/>
                    </a:lnTo>
                    <a:lnTo>
                      <a:pt x="908" y="59"/>
                    </a:lnTo>
                    <a:lnTo>
                      <a:pt x="903" y="54"/>
                    </a:lnTo>
                    <a:lnTo>
                      <a:pt x="903" y="54"/>
                    </a:lnTo>
                    <a:lnTo>
                      <a:pt x="908" y="54"/>
                    </a:lnTo>
                    <a:lnTo>
                      <a:pt x="912" y="50"/>
                    </a:lnTo>
                    <a:lnTo>
                      <a:pt x="912" y="45"/>
                    </a:lnTo>
                    <a:lnTo>
                      <a:pt x="917" y="36"/>
                    </a:lnTo>
                    <a:lnTo>
                      <a:pt x="917" y="36"/>
                    </a:lnTo>
                    <a:lnTo>
                      <a:pt x="917" y="32"/>
                    </a:lnTo>
                    <a:lnTo>
                      <a:pt x="917" y="32"/>
                    </a:lnTo>
                    <a:lnTo>
                      <a:pt x="917" y="32"/>
                    </a:lnTo>
                    <a:lnTo>
                      <a:pt x="917" y="32"/>
                    </a:lnTo>
                    <a:lnTo>
                      <a:pt x="917" y="32"/>
                    </a:lnTo>
                    <a:lnTo>
                      <a:pt x="917" y="32"/>
                    </a:lnTo>
                    <a:lnTo>
                      <a:pt x="917" y="32"/>
                    </a:lnTo>
                    <a:lnTo>
                      <a:pt x="917" y="32"/>
                    </a:lnTo>
                    <a:lnTo>
                      <a:pt x="917" y="32"/>
                    </a:lnTo>
                    <a:lnTo>
                      <a:pt x="921" y="32"/>
                    </a:lnTo>
                    <a:lnTo>
                      <a:pt x="926" y="27"/>
                    </a:lnTo>
                    <a:lnTo>
                      <a:pt x="935" y="27"/>
                    </a:lnTo>
                    <a:lnTo>
                      <a:pt x="935" y="23"/>
                    </a:lnTo>
                    <a:lnTo>
                      <a:pt x="939" y="27"/>
                    </a:lnTo>
                    <a:lnTo>
                      <a:pt x="944" y="27"/>
                    </a:lnTo>
                    <a:lnTo>
                      <a:pt x="948" y="27"/>
                    </a:lnTo>
                    <a:lnTo>
                      <a:pt x="953" y="27"/>
                    </a:lnTo>
                    <a:lnTo>
                      <a:pt x="957" y="27"/>
                    </a:lnTo>
                    <a:lnTo>
                      <a:pt x="962" y="27"/>
                    </a:lnTo>
                    <a:lnTo>
                      <a:pt x="966" y="23"/>
                    </a:lnTo>
                    <a:lnTo>
                      <a:pt x="975" y="23"/>
                    </a:lnTo>
                    <a:lnTo>
                      <a:pt x="975" y="23"/>
                    </a:lnTo>
                    <a:lnTo>
                      <a:pt x="975" y="23"/>
                    </a:lnTo>
                    <a:lnTo>
                      <a:pt x="975" y="23"/>
                    </a:lnTo>
                    <a:lnTo>
                      <a:pt x="980" y="18"/>
                    </a:lnTo>
                    <a:lnTo>
                      <a:pt x="985" y="18"/>
                    </a:lnTo>
                    <a:lnTo>
                      <a:pt x="989" y="18"/>
                    </a:lnTo>
                    <a:lnTo>
                      <a:pt x="1007" y="14"/>
                    </a:lnTo>
                    <a:lnTo>
                      <a:pt x="1012" y="9"/>
                    </a:lnTo>
                    <a:lnTo>
                      <a:pt x="1016" y="9"/>
                    </a:lnTo>
                    <a:lnTo>
                      <a:pt x="1016" y="9"/>
                    </a:lnTo>
                    <a:lnTo>
                      <a:pt x="1016" y="9"/>
                    </a:lnTo>
                    <a:lnTo>
                      <a:pt x="1016" y="9"/>
                    </a:lnTo>
                    <a:lnTo>
                      <a:pt x="1016" y="9"/>
                    </a:lnTo>
                    <a:lnTo>
                      <a:pt x="1016" y="9"/>
                    </a:lnTo>
                    <a:lnTo>
                      <a:pt x="1012" y="9"/>
                    </a:lnTo>
                    <a:lnTo>
                      <a:pt x="1012" y="9"/>
                    </a:lnTo>
                    <a:lnTo>
                      <a:pt x="1012" y="9"/>
                    </a:lnTo>
                    <a:lnTo>
                      <a:pt x="1012" y="14"/>
                    </a:lnTo>
                    <a:lnTo>
                      <a:pt x="1012" y="9"/>
                    </a:lnTo>
                    <a:lnTo>
                      <a:pt x="1016" y="9"/>
                    </a:lnTo>
                    <a:lnTo>
                      <a:pt x="1021" y="9"/>
                    </a:lnTo>
                    <a:lnTo>
                      <a:pt x="1030" y="9"/>
                    </a:lnTo>
                    <a:lnTo>
                      <a:pt x="1030" y="9"/>
                    </a:lnTo>
                    <a:lnTo>
                      <a:pt x="1039" y="9"/>
                    </a:lnTo>
                    <a:lnTo>
                      <a:pt x="1039" y="9"/>
                    </a:lnTo>
                    <a:lnTo>
                      <a:pt x="1039" y="9"/>
                    </a:lnTo>
                    <a:lnTo>
                      <a:pt x="1034" y="9"/>
                    </a:lnTo>
                    <a:lnTo>
                      <a:pt x="1034" y="9"/>
                    </a:lnTo>
                    <a:lnTo>
                      <a:pt x="1030" y="14"/>
                    </a:lnTo>
                    <a:lnTo>
                      <a:pt x="1034" y="14"/>
                    </a:lnTo>
                    <a:lnTo>
                      <a:pt x="1030" y="14"/>
                    </a:lnTo>
                    <a:lnTo>
                      <a:pt x="1034" y="14"/>
                    </a:lnTo>
                    <a:lnTo>
                      <a:pt x="1034" y="9"/>
                    </a:lnTo>
                    <a:lnTo>
                      <a:pt x="1039" y="9"/>
                    </a:lnTo>
                    <a:lnTo>
                      <a:pt x="1039" y="9"/>
                    </a:lnTo>
                    <a:lnTo>
                      <a:pt x="1039" y="9"/>
                    </a:lnTo>
                    <a:lnTo>
                      <a:pt x="1043" y="9"/>
                    </a:lnTo>
                    <a:lnTo>
                      <a:pt x="1039" y="9"/>
                    </a:lnTo>
                    <a:lnTo>
                      <a:pt x="1043" y="9"/>
                    </a:lnTo>
                    <a:lnTo>
                      <a:pt x="1039" y="9"/>
                    </a:lnTo>
                    <a:lnTo>
                      <a:pt x="1048" y="5"/>
                    </a:lnTo>
                    <a:lnTo>
                      <a:pt x="1052" y="5"/>
                    </a:lnTo>
                    <a:lnTo>
                      <a:pt x="1057" y="5"/>
                    </a:lnTo>
                    <a:lnTo>
                      <a:pt x="1057" y="5"/>
                    </a:lnTo>
                    <a:lnTo>
                      <a:pt x="1052" y="5"/>
                    </a:lnTo>
                    <a:lnTo>
                      <a:pt x="1052" y="5"/>
                    </a:lnTo>
                    <a:lnTo>
                      <a:pt x="1052" y="5"/>
                    </a:lnTo>
                    <a:lnTo>
                      <a:pt x="1052" y="5"/>
                    </a:lnTo>
                    <a:lnTo>
                      <a:pt x="1052" y="5"/>
                    </a:lnTo>
                    <a:lnTo>
                      <a:pt x="1052" y="5"/>
                    </a:lnTo>
                    <a:lnTo>
                      <a:pt x="1057" y="5"/>
                    </a:lnTo>
                    <a:lnTo>
                      <a:pt x="1057" y="5"/>
                    </a:lnTo>
                    <a:lnTo>
                      <a:pt x="1061" y="5"/>
                    </a:lnTo>
                    <a:lnTo>
                      <a:pt x="1061" y="5"/>
                    </a:lnTo>
                    <a:lnTo>
                      <a:pt x="1066" y="9"/>
                    </a:lnTo>
                    <a:lnTo>
                      <a:pt x="1066" y="5"/>
                    </a:lnTo>
                    <a:lnTo>
                      <a:pt x="1070" y="5"/>
                    </a:lnTo>
                    <a:lnTo>
                      <a:pt x="1075" y="5"/>
                    </a:lnTo>
                    <a:lnTo>
                      <a:pt x="1079" y="5"/>
                    </a:lnTo>
                    <a:lnTo>
                      <a:pt x="1084" y="5"/>
                    </a:lnTo>
                    <a:lnTo>
                      <a:pt x="1088" y="0"/>
                    </a:lnTo>
                    <a:lnTo>
                      <a:pt x="1093" y="0"/>
                    </a:lnTo>
                    <a:lnTo>
                      <a:pt x="1093" y="0"/>
                    </a:lnTo>
                    <a:lnTo>
                      <a:pt x="1093" y="0"/>
                    </a:lnTo>
                    <a:lnTo>
                      <a:pt x="1093" y="0"/>
                    </a:lnTo>
                    <a:lnTo>
                      <a:pt x="1093" y="0"/>
                    </a:lnTo>
                    <a:lnTo>
                      <a:pt x="1093" y="5"/>
                    </a:lnTo>
                    <a:lnTo>
                      <a:pt x="1093" y="5"/>
                    </a:lnTo>
                    <a:lnTo>
                      <a:pt x="1093" y="5"/>
                    </a:lnTo>
                    <a:lnTo>
                      <a:pt x="1093" y="5"/>
                    </a:lnTo>
                    <a:lnTo>
                      <a:pt x="1088" y="9"/>
                    </a:lnTo>
                    <a:lnTo>
                      <a:pt x="1084" y="9"/>
                    </a:lnTo>
                    <a:lnTo>
                      <a:pt x="1084" y="9"/>
                    </a:lnTo>
                    <a:lnTo>
                      <a:pt x="1079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51" name="Freeform 172"/>
              <p:cNvSpPr>
                <a:spLocks/>
              </p:cNvSpPr>
              <p:nvPr/>
            </p:nvSpPr>
            <p:spPr bwMode="auto">
              <a:xfrm>
                <a:off x="5654676" y="1574801"/>
                <a:ext cx="450850" cy="244475"/>
              </a:xfrm>
              <a:custGeom>
                <a:avLst/>
                <a:gdLst>
                  <a:gd name="T0" fmla="*/ 113 w 284"/>
                  <a:gd name="T1" fmla="*/ 36 h 154"/>
                  <a:gd name="T2" fmla="*/ 135 w 284"/>
                  <a:gd name="T3" fmla="*/ 32 h 154"/>
                  <a:gd name="T4" fmla="*/ 149 w 284"/>
                  <a:gd name="T5" fmla="*/ 41 h 154"/>
                  <a:gd name="T6" fmla="*/ 163 w 284"/>
                  <a:gd name="T7" fmla="*/ 50 h 154"/>
                  <a:gd name="T8" fmla="*/ 176 w 284"/>
                  <a:gd name="T9" fmla="*/ 63 h 154"/>
                  <a:gd name="T10" fmla="*/ 185 w 284"/>
                  <a:gd name="T11" fmla="*/ 81 h 154"/>
                  <a:gd name="T12" fmla="*/ 203 w 284"/>
                  <a:gd name="T13" fmla="*/ 77 h 154"/>
                  <a:gd name="T14" fmla="*/ 208 w 284"/>
                  <a:gd name="T15" fmla="*/ 86 h 154"/>
                  <a:gd name="T16" fmla="*/ 212 w 284"/>
                  <a:gd name="T17" fmla="*/ 81 h 154"/>
                  <a:gd name="T18" fmla="*/ 221 w 284"/>
                  <a:gd name="T19" fmla="*/ 72 h 154"/>
                  <a:gd name="T20" fmla="*/ 235 w 284"/>
                  <a:gd name="T21" fmla="*/ 59 h 154"/>
                  <a:gd name="T22" fmla="*/ 239 w 284"/>
                  <a:gd name="T23" fmla="*/ 54 h 154"/>
                  <a:gd name="T24" fmla="*/ 239 w 284"/>
                  <a:gd name="T25" fmla="*/ 59 h 154"/>
                  <a:gd name="T26" fmla="*/ 235 w 284"/>
                  <a:gd name="T27" fmla="*/ 72 h 154"/>
                  <a:gd name="T28" fmla="*/ 248 w 284"/>
                  <a:gd name="T29" fmla="*/ 77 h 154"/>
                  <a:gd name="T30" fmla="*/ 257 w 284"/>
                  <a:gd name="T31" fmla="*/ 72 h 154"/>
                  <a:gd name="T32" fmla="*/ 257 w 284"/>
                  <a:gd name="T33" fmla="*/ 72 h 154"/>
                  <a:gd name="T34" fmla="*/ 266 w 284"/>
                  <a:gd name="T35" fmla="*/ 77 h 154"/>
                  <a:gd name="T36" fmla="*/ 275 w 284"/>
                  <a:gd name="T37" fmla="*/ 81 h 154"/>
                  <a:gd name="T38" fmla="*/ 280 w 284"/>
                  <a:gd name="T39" fmla="*/ 86 h 154"/>
                  <a:gd name="T40" fmla="*/ 275 w 284"/>
                  <a:gd name="T41" fmla="*/ 90 h 154"/>
                  <a:gd name="T42" fmla="*/ 266 w 284"/>
                  <a:gd name="T43" fmla="*/ 95 h 154"/>
                  <a:gd name="T44" fmla="*/ 262 w 284"/>
                  <a:gd name="T45" fmla="*/ 95 h 154"/>
                  <a:gd name="T46" fmla="*/ 248 w 284"/>
                  <a:gd name="T47" fmla="*/ 95 h 154"/>
                  <a:gd name="T48" fmla="*/ 244 w 284"/>
                  <a:gd name="T49" fmla="*/ 90 h 154"/>
                  <a:gd name="T50" fmla="*/ 244 w 284"/>
                  <a:gd name="T51" fmla="*/ 81 h 154"/>
                  <a:gd name="T52" fmla="*/ 230 w 284"/>
                  <a:gd name="T53" fmla="*/ 86 h 154"/>
                  <a:gd name="T54" fmla="*/ 226 w 284"/>
                  <a:gd name="T55" fmla="*/ 90 h 154"/>
                  <a:gd name="T56" fmla="*/ 217 w 284"/>
                  <a:gd name="T57" fmla="*/ 95 h 154"/>
                  <a:gd name="T58" fmla="*/ 221 w 284"/>
                  <a:gd name="T59" fmla="*/ 99 h 154"/>
                  <a:gd name="T60" fmla="*/ 221 w 284"/>
                  <a:gd name="T61" fmla="*/ 104 h 154"/>
                  <a:gd name="T62" fmla="*/ 217 w 284"/>
                  <a:gd name="T63" fmla="*/ 108 h 154"/>
                  <a:gd name="T64" fmla="*/ 203 w 284"/>
                  <a:gd name="T65" fmla="*/ 108 h 154"/>
                  <a:gd name="T66" fmla="*/ 208 w 284"/>
                  <a:gd name="T67" fmla="*/ 117 h 154"/>
                  <a:gd name="T68" fmla="*/ 217 w 284"/>
                  <a:gd name="T69" fmla="*/ 126 h 154"/>
                  <a:gd name="T70" fmla="*/ 221 w 284"/>
                  <a:gd name="T71" fmla="*/ 136 h 154"/>
                  <a:gd name="T72" fmla="*/ 221 w 284"/>
                  <a:gd name="T73" fmla="*/ 154 h 154"/>
                  <a:gd name="T74" fmla="*/ 203 w 284"/>
                  <a:gd name="T75" fmla="*/ 149 h 154"/>
                  <a:gd name="T76" fmla="*/ 194 w 284"/>
                  <a:gd name="T77" fmla="*/ 140 h 154"/>
                  <a:gd name="T78" fmla="*/ 181 w 284"/>
                  <a:gd name="T79" fmla="*/ 136 h 154"/>
                  <a:gd name="T80" fmla="*/ 153 w 284"/>
                  <a:gd name="T81" fmla="*/ 122 h 154"/>
                  <a:gd name="T82" fmla="*/ 122 w 284"/>
                  <a:gd name="T83" fmla="*/ 104 h 154"/>
                  <a:gd name="T84" fmla="*/ 108 w 284"/>
                  <a:gd name="T85" fmla="*/ 81 h 154"/>
                  <a:gd name="T86" fmla="*/ 95 w 284"/>
                  <a:gd name="T87" fmla="*/ 81 h 154"/>
                  <a:gd name="T88" fmla="*/ 77 w 284"/>
                  <a:gd name="T89" fmla="*/ 77 h 154"/>
                  <a:gd name="T90" fmla="*/ 77 w 284"/>
                  <a:gd name="T91" fmla="*/ 68 h 154"/>
                  <a:gd name="T92" fmla="*/ 72 w 284"/>
                  <a:gd name="T93" fmla="*/ 63 h 154"/>
                  <a:gd name="T94" fmla="*/ 63 w 284"/>
                  <a:gd name="T95" fmla="*/ 59 h 154"/>
                  <a:gd name="T96" fmla="*/ 50 w 284"/>
                  <a:gd name="T97" fmla="*/ 54 h 154"/>
                  <a:gd name="T98" fmla="*/ 50 w 284"/>
                  <a:gd name="T99" fmla="*/ 59 h 154"/>
                  <a:gd name="T100" fmla="*/ 45 w 284"/>
                  <a:gd name="T101" fmla="*/ 59 h 154"/>
                  <a:gd name="T102" fmla="*/ 41 w 284"/>
                  <a:gd name="T103" fmla="*/ 63 h 154"/>
                  <a:gd name="T104" fmla="*/ 32 w 284"/>
                  <a:gd name="T105" fmla="*/ 72 h 154"/>
                  <a:gd name="T106" fmla="*/ 27 w 284"/>
                  <a:gd name="T107" fmla="*/ 81 h 154"/>
                  <a:gd name="T108" fmla="*/ 9 w 284"/>
                  <a:gd name="T109" fmla="*/ 59 h 154"/>
                  <a:gd name="T110" fmla="*/ 0 w 284"/>
                  <a:gd name="T111" fmla="*/ 18 h 154"/>
                  <a:gd name="T112" fmla="*/ 13 w 284"/>
                  <a:gd name="T113" fmla="*/ 4 h 154"/>
                  <a:gd name="T114" fmla="*/ 36 w 284"/>
                  <a:gd name="T115" fmla="*/ 0 h 154"/>
                  <a:gd name="T116" fmla="*/ 59 w 284"/>
                  <a:gd name="T117" fmla="*/ 9 h 154"/>
                  <a:gd name="T118" fmla="*/ 77 w 284"/>
                  <a:gd name="T119" fmla="*/ 23 h 154"/>
                  <a:gd name="T120" fmla="*/ 95 w 284"/>
                  <a:gd name="T121" fmla="*/ 3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84" h="154">
                    <a:moveTo>
                      <a:pt x="95" y="36"/>
                    </a:moveTo>
                    <a:lnTo>
                      <a:pt x="95" y="36"/>
                    </a:lnTo>
                    <a:lnTo>
                      <a:pt x="99" y="36"/>
                    </a:lnTo>
                    <a:lnTo>
                      <a:pt x="99" y="36"/>
                    </a:lnTo>
                    <a:lnTo>
                      <a:pt x="104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13" y="36"/>
                    </a:lnTo>
                    <a:lnTo>
                      <a:pt x="113" y="36"/>
                    </a:lnTo>
                    <a:lnTo>
                      <a:pt x="117" y="36"/>
                    </a:lnTo>
                    <a:lnTo>
                      <a:pt x="122" y="36"/>
                    </a:lnTo>
                    <a:lnTo>
                      <a:pt x="126" y="36"/>
                    </a:lnTo>
                    <a:lnTo>
                      <a:pt x="126" y="36"/>
                    </a:lnTo>
                    <a:lnTo>
                      <a:pt x="131" y="36"/>
                    </a:lnTo>
                    <a:lnTo>
                      <a:pt x="131" y="36"/>
                    </a:lnTo>
                    <a:lnTo>
                      <a:pt x="135" y="36"/>
                    </a:lnTo>
                    <a:lnTo>
                      <a:pt x="135" y="36"/>
                    </a:lnTo>
                    <a:lnTo>
                      <a:pt x="135" y="32"/>
                    </a:lnTo>
                    <a:lnTo>
                      <a:pt x="135" y="32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44" y="36"/>
                    </a:lnTo>
                    <a:lnTo>
                      <a:pt x="144" y="36"/>
                    </a:lnTo>
                    <a:lnTo>
                      <a:pt x="149" y="36"/>
                    </a:lnTo>
                    <a:lnTo>
                      <a:pt x="149" y="36"/>
                    </a:lnTo>
                    <a:lnTo>
                      <a:pt x="149" y="41"/>
                    </a:lnTo>
                    <a:lnTo>
                      <a:pt x="153" y="41"/>
                    </a:lnTo>
                    <a:lnTo>
                      <a:pt x="153" y="45"/>
                    </a:lnTo>
                    <a:lnTo>
                      <a:pt x="158" y="45"/>
                    </a:lnTo>
                    <a:lnTo>
                      <a:pt x="158" y="45"/>
                    </a:lnTo>
                    <a:lnTo>
                      <a:pt x="158" y="45"/>
                    </a:lnTo>
                    <a:lnTo>
                      <a:pt x="163" y="45"/>
                    </a:lnTo>
                    <a:lnTo>
                      <a:pt x="163" y="45"/>
                    </a:lnTo>
                    <a:lnTo>
                      <a:pt x="163" y="45"/>
                    </a:lnTo>
                    <a:lnTo>
                      <a:pt x="163" y="50"/>
                    </a:lnTo>
                    <a:lnTo>
                      <a:pt x="163" y="50"/>
                    </a:lnTo>
                    <a:lnTo>
                      <a:pt x="163" y="54"/>
                    </a:lnTo>
                    <a:lnTo>
                      <a:pt x="163" y="59"/>
                    </a:lnTo>
                    <a:lnTo>
                      <a:pt x="167" y="59"/>
                    </a:lnTo>
                    <a:lnTo>
                      <a:pt x="167" y="63"/>
                    </a:lnTo>
                    <a:lnTo>
                      <a:pt x="167" y="63"/>
                    </a:lnTo>
                    <a:lnTo>
                      <a:pt x="167" y="63"/>
                    </a:lnTo>
                    <a:lnTo>
                      <a:pt x="172" y="63"/>
                    </a:lnTo>
                    <a:lnTo>
                      <a:pt x="176" y="63"/>
                    </a:lnTo>
                    <a:lnTo>
                      <a:pt x="176" y="63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6" y="72"/>
                    </a:lnTo>
                    <a:lnTo>
                      <a:pt x="181" y="77"/>
                    </a:lnTo>
                    <a:lnTo>
                      <a:pt x="181" y="77"/>
                    </a:lnTo>
                    <a:lnTo>
                      <a:pt x="181" y="77"/>
                    </a:lnTo>
                    <a:lnTo>
                      <a:pt x="181" y="77"/>
                    </a:lnTo>
                    <a:lnTo>
                      <a:pt x="185" y="81"/>
                    </a:lnTo>
                    <a:lnTo>
                      <a:pt x="185" y="77"/>
                    </a:lnTo>
                    <a:lnTo>
                      <a:pt x="190" y="77"/>
                    </a:lnTo>
                    <a:lnTo>
                      <a:pt x="194" y="77"/>
                    </a:lnTo>
                    <a:lnTo>
                      <a:pt x="194" y="77"/>
                    </a:lnTo>
                    <a:lnTo>
                      <a:pt x="199" y="77"/>
                    </a:lnTo>
                    <a:lnTo>
                      <a:pt x="199" y="77"/>
                    </a:lnTo>
                    <a:lnTo>
                      <a:pt x="199" y="77"/>
                    </a:lnTo>
                    <a:lnTo>
                      <a:pt x="199" y="77"/>
                    </a:lnTo>
                    <a:lnTo>
                      <a:pt x="203" y="77"/>
                    </a:lnTo>
                    <a:lnTo>
                      <a:pt x="203" y="81"/>
                    </a:lnTo>
                    <a:lnTo>
                      <a:pt x="203" y="81"/>
                    </a:lnTo>
                    <a:lnTo>
                      <a:pt x="203" y="81"/>
                    </a:lnTo>
                    <a:lnTo>
                      <a:pt x="203" y="81"/>
                    </a:lnTo>
                    <a:lnTo>
                      <a:pt x="203" y="86"/>
                    </a:lnTo>
                    <a:lnTo>
                      <a:pt x="203" y="86"/>
                    </a:lnTo>
                    <a:lnTo>
                      <a:pt x="208" y="86"/>
                    </a:lnTo>
                    <a:lnTo>
                      <a:pt x="208" y="86"/>
                    </a:lnTo>
                    <a:lnTo>
                      <a:pt x="208" y="86"/>
                    </a:lnTo>
                    <a:lnTo>
                      <a:pt x="212" y="90"/>
                    </a:lnTo>
                    <a:lnTo>
                      <a:pt x="212" y="90"/>
                    </a:lnTo>
                    <a:lnTo>
                      <a:pt x="212" y="90"/>
                    </a:lnTo>
                    <a:lnTo>
                      <a:pt x="212" y="86"/>
                    </a:lnTo>
                    <a:lnTo>
                      <a:pt x="212" y="86"/>
                    </a:lnTo>
                    <a:lnTo>
                      <a:pt x="212" y="86"/>
                    </a:lnTo>
                    <a:lnTo>
                      <a:pt x="212" y="86"/>
                    </a:lnTo>
                    <a:lnTo>
                      <a:pt x="212" y="81"/>
                    </a:lnTo>
                    <a:lnTo>
                      <a:pt x="212" y="81"/>
                    </a:lnTo>
                    <a:lnTo>
                      <a:pt x="212" y="81"/>
                    </a:lnTo>
                    <a:lnTo>
                      <a:pt x="217" y="77"/>
                    </a:lnTo>
                    <a:lnTo>
                      <a:pt x="217" y="77"/>
                    </a:lnTo>
                    <a:lnTo>
                      <a:pt x="217" y="77"/>
                    </a:lnTo>
                    <a:lnTo>
                      <a:pt x="217" y="72"/>
                    </a:lnTo>
                    <a:lnTo>
                      <a:pt x="217" y="72"/>
                    </a:lnTo>
                    <a:lnTo>
                      <a:pt x="221" y="72"/>
                    </a:lnTo>
                    <a:lnTo>
                      <a:pt x="221" y="72"/>
                    </a:lnTo>
                    <a:lnTo>
                      <a:pt x="221" y="72"/>
                    </a:lnTo>
                    <a:lnTo>
                      <a:pt x="221" y="68"/>
                    </a:lnTo>
                    <a:lnTo>
                      <a:pt x="226" y="68"/>
                    </a:lnTo>
                    <a:lnTo>
                      <a:pt x="226" y="68"/>
                    </a:lnTo>
                    <a:lnTo>
                      <a:pt x="230" y="68"/>
                    </a:lnTo>
                    <a:lnTo>
                      <a:pt x="230" y="63"/>
                    </a:lnTo>
                    <a:lnTo>
                      <a:pt x="230" y="63"/>
                    </a:lnTo>
                    <a:lnTo>
                      <a:pt x="230" y="59"/>
                    </a:lnTo>
                    <a:lnTo>
                      <a:pt x="235" y="59"/>
                    </a:lnTo>
                    <a:lnTo>
                      <a:pt x="235" y="59"/>
                    </a:lnTo>
                    <a:lnTo>
                      <a:pt x="235" y="59"/>
                    </a:lnTo>
                    <a:lnTo>
                      <a:pt x="235" y="59"/>
                    </a:lnTo>
                    <a:lnTo>
                      <a:pt x="235" y="59"/>
                    </a:lnTo>
                    <a:lnTo>
                      <a:pt x="235" y="59"/>
                    </a:lnTo>
                    <a:lnTo>
                      <a:pt x="239" y="59"/>
                    </a:lnTo>
                    <a:lnTo>
                      <a:pt x="239" y="59"/>
                    </a:lnTo>
                    <a:lnTo>
                      <a:pt x="239" y="59"/>
                    </a:lnTo>
                    <a:lnTo>
                      <a:pt x="239" y="54"/>
                    </a:lnTo>
                    <a:lnTo>
                      <a:pt x="239" y="54"/>
                    </a:lnTo>
                    <a:lnTo>
                      <a:pt x="239" y="54"/>
                    </a:lnTo>
                    <a:lnTo>
                      <a:pt x="244" y="54"/>
                    </a:lnTo>
                    <a:lnTo>
                      <a:pt x="244" y="59"/>
                    </a:lnTo>
                    <a:lnTo>
                      <a:pt x="244" y="59"/>
                    </a:lnTo>
                    <a:lnTo>
                      <a:pt x="244" y="59"/>
                    </a:lnTo>
                    <a:lnTo>
                      <a:pt x="244" y="59"/>
                    </a:lnTo>
                    <a:lnTo>
                      <a:pt x="239" y="59"/>
                    </a:lnTo>
                    <a:lnTo>
                      <a:pt x="239" y="59"/>
                    </a:lnTo>
                    <a:lnTo>
                      <a:pt x="239" y="59"/>
                    </a:lnTo>
                    <a:lnTo>
                      <a:pt x="239" y="63"/>
                    </a:lnTo>
                    <a:lnTo>
                      <a:pt x="239" y="63"/>
                    </a:lnTo>
                    <a:lnTo>
                      <a:pt x="239" y="63"/>
                    </a:lnTo>
                    <a:lnTo>
                      <a:pt x="235" y="63"/>
                    </a:lnTo>
                    <a:lnTo>
                      <a:pt x="235" y="68"/>
                    </a:lnTo>
                    <a:lnTo>
                      <a:pt x="235" y="68"/>
                    </a:lnTo>
                    <a:lnTo>
                      <a:pt x="235" y="72"/>
                    </a:lnTo>
                    <a:lnTo>
                      <a:pt x="235" y="72"/>
                    </a:lnTo>
                    <a:lnTo>
                      <a:pt x="235" y="72"/>
                    </a:lnTo>
                    <a:lnTo>
                      <a:pt x="235" y="72"/>
                    </a:lnTo>
                    <a:lnTo>
                      <a:pt x="239" y="72"/>
                    </a:lnTo>
                    <a:lnTo>
                      <a:pt x="239" y="72"/>
                    </a:lnTo>
                    <a:lnTo>
                      <a:pt x="239" y="72"/>
                    </a:lnTo>
                    <a:lnTo>
                      <a:pt x="244" y="72"/>
                    </a:lnTo>
                    <a:lnTo>
                      <a:pt x="244" y="77"/>
                    </a:lnTo>
                    <a:lnTo>
                      <a:pt x="244" y="77"/>
                    </a:lnTo>
                    <a:lnTo>
                      <a:pt x="248" y="77"/>
                    </a:lnTo>
                    <a:lnTo>
                      <a:pt x="248" y="77"/>
                    </a:lnTo>
                    <a:lnTo>
                      <a:pt x="248" y="77"/>
                    </a:lnTo>
                    <a:lnTo>
                      <a:pt x="253" y="77"/>
                    </a:lnTo>
                    <a:lnTo>
                      <a:pt x="253" y="77"/>
                    </a:lnTo>
                    <a:lnTo>
                      <a:pt x="253" y="77"/>
                    </a:lnTo>
                    <a:lnTo>
                      <a:pt x="253" y="77"/>
                    </a:lnTo>
                    <a:lnTo>
                      <a:pt x="253" y="72"/>
                    </a:lnTo>
                    <a:lnTo>
                      <a:pt x="253" y="72"/>
                    </a:lnTo>
                    <a:lnTo>
                      <a:pt x="257" y="72"/>
                    </a:lnTo>
                    <a:lnTo>
                      <a:pt x="257" y="72"/>
                    </a:lnTo>
                    <a:lnTo>
                      <a:pt x="257" y="72"/>
                    </a:lnTo>
                    <a:lnTo>
                      <a:pt x="257" y="72"/>
                    </a:lnTo>
                    <a:lnTo>
                      <a:pt x="253" y="68"/>
                    </a:lnTo>
                    <a:lnTo>
                      <a:pt x="257" y="68"/>
                    </a:lnTo>
                    <a:lnTo>
                      <a:pt x="257" y="68"/>
                    </a:lnTo>
                    <a:lnTo>
                      <a:pt x="257" y="68"/>
                    </a:lnTo>
                    <a:lnTo>
                      <a:pt x="257" y="68"/>
                    </a:lnTo>
                    <a:lnTo>
                      <a:pt x="257" y="72"/>
                    </a:lnTo>
                    <a:lnTo>
                      <a:pt x="257" y="72"/>
                    </a:lnTo>
                    <a:lnTo>
                      <a:pt x="257" y="72"/>
                    </a:lnTo>
                    <a:lnTo>
                      <a:pt x="257" y="72"/>
                    </a:lnTo>
                    <a:lnTo>
                      <a:pt x="262" y="72"/>
                    </a:lnTo>
                    <a:lnTo>
                      <a:pt x="262" y="77"/>
                    </a:lnTo>
                    <a:lnTo>
                      <a:pt x="262" y="77"/>
                    </a:lnTo>
                    <a:lnTo>
                      <a:pt x="262" y="77"/>
                    </a:lnTo>
                    <a:lnTo>
                      <a:pt x="266" y="77"/>
                    </a:lnTo>
                    <a:lnTo>
                      <a:pt x="266" y="77"/>
                    </a:lnTo>
                    <a:lnTo>
                      <a:pt x="266" y="77"/>
                    </a:lnTo>
                    <a:lnTo>
                      <a:pt x="266" y="77"/>
                    </a:lnTo>
                    <a:lnTo>
                      <a:pt x="266" y="77"/>
                    </a:lnTo>
                    <a:lnTo>
                      <a:pt x="266" y="77"/>
                    </a:lnTo>
                    <a:lnTo>
                      <a:pt x="266" y="77"/>
                    </a:lnTo>
                    <a:lnTo>
                      <a:pt x="271" y="77"/>
                    </a:lnTo>
                    <a:lnTo>
                      <a:pt x="271" y="77"/>
                    </a:lnTo>
                    <a:lnTo>
                      <a:pt x="271" y="81"/>
                    </a:lnTo>
                    <a:lnTo>
                      <a:pt x="275" y="81"/>
                    </a:lnTo>
                    <a:lnTo>
                      <a:pt x="275" y="81"/>
                    </a:lnTo>
                    <a:lnTo>
                      <a:pt x="280" y="81"/>
                    </a:lnTo>
                    <a:lnTo>
                      <a:pt x="280" y="81"/>
                    </a:lnTo>
                    <a:lnTo>
                      <a:pt x="280" y="81"/>
                    </a:lnTo>
                    <a:lnTo>
                      <a:pt x="280" y="81"/>
                    </a:lnTo>
                    <a:lnTo>
                      <a:pt x="284" y="81"/>
                    </a:lnTo>
                    <a:lnTo>
                      <a:pt x="284" y="81"/>
                    </a:lnTo>
                    <a:lnTo>
                      <a:pt x="284" y="81"/>
                    </a:lnTo>
                    <a:lnTo>
                      <a:pt x="280" y="86"/>
                    </a:lnTo>
                    <a:lnTo>
                      <a:pt x="280" y="86"/>
                    </a:lnTo>
                    <a:lnTo>
                      <a:pt x="275" y="86"/>
                    </a:lnTo>
                    <a:lnTo>
                      <a:pt x="275" y="86"/>
                    </a:lnTo>
                    <a:lnTo>
                      <a:pt x="275" y="86"/>
                    </a:lnTo>
                    <a:lnTo>
                      <a:pt x="271" y="86"/>
                    </a:lnTo>
                    <a:lnTo>
                      <a:pt x="271" y="86"/>
                    </a:lnTo>
                    <a:lnTo>
                      <a:pt x="271" y="86"/>
                    </a:lnTo>
                    <a:lnTo>
                      <a:pt x="271" y="90"/>
                    </a:lnTo>
                    <a:lnTo>
                      <a:pt x="275" y="90"/>
                    </a:lnTo>
                    <a:lnTo>
                      <a:pt x="275" y="90"/>
                    </a:lnTo>
                    <a:lnTo>
                      <a:pt x="275" y="90"/>
                    </a:lnTo>
                    <a:lnTo>
                      <a:pt x="271" y="90"/>
                    </a:lnTo>
                    <a:lnTo>
                      <a:pt x="271" y="90"/>
                    </a:lnTo>
                    <a:lnTo>
                      <a:pt x="271" y="90"/>
                    </a:lnTo>
                    <a:lnTo>
                      <a:pt x="271" y="90"/>
                    </a:lnTo>
                    <a:lnTo>
                      <a:pt x="271" y="90"/>
                    </a:lnTo>
                    <a:lnTo>
                      <a:pt x="266" y="90"/>
                    </a:lnTo>
                    <a:lnTo>
                      <a:pt x="266" y="95"/>
                    </a:lnTo>
                    <a:lnTo>
                      <a:pt x="266" y="95"/>
                    </a:lnTo>
                    <a:lnTo>
                      <a:pt x="266" y="95"/>
                    </a:lnTo>
                    <a:lnTo>
                      <a:pt x="266" y="95"/>
                    </a:lnTo>
                    <a:lnTo>
                      <a:pt x="266" y="95"/>
                    </a:lnTo>
                    <a:lnTo>
                      <a:pt x="266" y="95"/>
                    </a:lnTo>
                    <a:lnTo>
                      <a:pt x="262" y="95"/>
                    </a:lnTo>
                    <a:lnTo>
                      <a:pt x="262" y="95"/>
                    </a:lnTo>
                    <a:lnTo>
                      <a:pt x="262" y="95"/>
                    </a:lnTo>
                    <a:lnTo>
                      <a:pt x="262" y="95"/>
                    </a:lnTo>
                    <a:lnTo>
                      <a:pt x="262" y="95"/>
                    </a:lnTo>
                    <a:lnTo>
                      <a:pt x="262" y="95"/>
                    </a:lnTo>
                    <a:lnTo>
                      <a:pt x="257" y="95"/>
                    </a:lnTo>
                    <a:lnTo>
                      <a:pt x="257" y="95"/>
                    </a:lnTo>
                    <a:lnTo>
                      <a:pt x="253" y="95"/>
                    </a:lnTo>
                    <a:lnTo>
                      <a:pt x="253" y="95"/>
                    </a:lnTo>
                    <a:lnTo>
                      <a:pt x="253" y="95"/>
                    </a:lnTo>
                    <a:lnTo>
                      <a:pt x="253" y="95"/>
                    </a:lnTo>
                    <a:lnTo>
                      <a:pt x="248" y="95"/>
                    </a:lnTo>
                    <a:lnTo>
                      <a:pt x="248" y="95"/>
                    </a:lnTo>
                    <a:lnTo>
                      <a:pt x="248" y="95"/>
                    </a:lnTo>
                    <a:lnTo>
                      <a:pt x="244" y="95"/>
                    </a:lnTo>
                    <a:lnTo>
                      <a:pt x="244" y="90"/>
                    </a:lnTo>
                    <a:lnTo>
                      <a:pt x="244" y="90"/>
                    </a:lnTo>
                    <a:lnTo>
                      <a:pt x="244" y="90"/>
                    </a:lnTo>
                    <a:lnTo>
                      <a:pt x="244" y="90"/>
                    </a:lnTo>
                    <a:lnTo>
                      <a:pt x="244" y="90"/>
                    </a:lnTo>
                    <a:lnTo>
                      <a:pt x="244" y="90"/>
                    </a:lnTo>
                    <a:lnTo>
                      <a:pt x="244" y="90"/>
                    </a:lnTo>
                    <a:lnTo>
                      <a:pt x="248" y="86"/>
                    </a:lnTo>
                    <a:lnTo>
                      <a:pt x="248" y="86"/>
                    </a:lnTo>
                    <a:lnTo>
                      <a:pt x="248" y="86"/>
                    </a:lnTo>
                    <a:lnTo>
                      <a:pt x="248" y="86"/>
                    </a:lnTo>
                    <a:lnTo>
                      <a:pt x="248" y="86"/>
                    </a:lnTo>
                    <a:lnTo>
                      <a:pt x="244" y="86"/>
                    </a:lnTo>
                    <a:lnTo>
                      <a:pt x="244" y="86"/>
                    </a:lnTo>
                    <a:lnTo>
                      <a:pt x="244" y="81"/>
                    </a:lnTo>
                    <a:lnTo>
                      <a:pt x="244" y="81"/>
                    </a:lnTo>
                    <a:lnTo>
                      <a:pt x="244" y="81"/>
                    </a:lnTo>
                    <a:lnTo>
                      <a:pt x="239" y="81"/>
                    </a:lnTo>
                    <a:lnTo>
                      <a:pt x="239" y="81"/>
                    </a:lnTo>
                    <a:lnTo>
                      <a:pt x="239" y="81"/>
                    </a:lnTo>
                    <a:lnTo>
                      <a:pt x="239" y="81"/>
                    </a:lnTo>
                    <a:lnTo>
                      <a:pt x="239" y="81"/>
                    </a:lnTo>
                    <a:lnTo>
                      <a:pt x="235" y="86"/>
                    </a:lnTo>
                    <a:lnTo>
                      <a:pt x="235" y="86"/>
                    </a:lnTo>
                    <a:lnTo>
                      <a:pt x="230" y="86"/>
                    </a:lnTo>
                    <a:lnTo>
                      <a:pt x="230" y="86"/>
                    </a:lnTo>
                    <a:lnTo>
                      <a:pt x="230" y="86"/>
                    </a:lnTo>
                    <a:lnTo>
                      <a:pt x="230" y="86"/>
                    </a:lnTo>
                    <a:lnTo>
                      <a:pt x="226" y="86"/>
                    </a:lnTo>
                    <a:lnTo>
                      <a:pt x="226" y="86"/>
                    </a:lnTo>
                    <a:lnTo>
                      <a:pt x="226" y="86"/>
                    </a:lnTo>
                    <a:lnTo>
                      <a:pt x="226" y="86"/>
                    </a:lnTo>
                    <a:lnTo>
                      <a:pt x="226" y="86"/>
                    </a:lnTo>
                    <a:lnTo>
                      <a:pt x="226" y="90"/>
                    </a:lnTo>
                    <a:lnTo>
                      <a:pt x="226" y="90"/>
                    </a:lnTo>
                    <a:lnTo>
                      <a:pt x="226" y="95"/>
                    </a:lnTo>
                    <a:lnTo>
                      <a:pt x="226" y="95"/>
                    </a:lnTo>
                    <a:lnTo>
                      <a:pt x="226" y="95"/>
                    </a:lnTo>
                    <a:lnTo>
                      <a:pt x="226" y="95"/>
                    </a:lnTo>
                    <a:lnTo>
                      <a:pt x="226" y="95"/>
                    </a:lnTo>
                    <a:lnTo>
                      <a:pt x="226" y="95"/>
                    </a:lnTo>
                    <a:lnTo>
                      <a:pt x="221" y="95"/>
                    </a:lnTo>
                    <a:lnTo>
                      <a:pt x="217" y="95"/>
                    </a:lnTo>
                    <a:lnTo>
                      <a:pt x="217" y="95"/>
                    </a:lnTo>
                    <a:lnTo>
                      <a:pt x="217" y="99"/>
                    </a:lnTo>
                    <a:lnTo>
                      <a:pt x="217" y="99"/>
                    </a:lnTo>
                    <a:lnTo>
                      <a:pt x="221" y="99"/>
                    </a:lnTo>
                    <a:lnTo>
                      <a:pt x="221" y="99"/>
                    </a:lnTo>
                    <a:lnTo>
                      <a:pt x="221" y="99"/>
                    </a:lnTo>
                    <a:lnTo>
                      <a:pt x="221" y="99"/>
                    </a:lnTo>
                    <a:lnTo>
                      <a:pt x="221" y="99"/>
                    </a:lnTo>
                    <a:lnTo>
                      <a:pt x="221" y="99"/>
                    </a:lnTo>
                    <a:lnTo>
                      <a:pt x="221" y="99"/>
                    </a:lnTo>
                    <a:lnTo>
                      <a:pt x="221" y="99"/>
                    </a:lnTo>
                    <a:lnTo>
                      <a:pt x="221" y="99"/>
                    </a:lnTo>
                    <a:lnTo>
                      <a:pt x="221" y="99"/>
                    </a:lnTo>
                    <a:lnTo>
                      <a:pt x="221" y="99"/>
                    </a:lnTo>
                    <a:lnTo>
                      <a:pt x="221" y="104"/>
                    </a:lnTo>
                    <a:lnTo>
                      <a:pt x="221" y="104"/>
                    </a:lnTo>
                    <a:lnTo>
                      <a:pt x="221" y="104"/>
                    </a:lnTo>
                    <a:lnTo>
                      <a:pt x="221" y="104"/>
                    </a:lnTo>
                    <a:lnTo>
                      <a:pt x="221" y="104"/>
                    </a:lnTo>
                    <a:lnTo>
                      <a:pt x="221" y="104"/>
                    </a:lnTo>
                    <a:lnTo>
                      <a:pt x="221" y="104"/>
                    </a:lnTo>
                    <a:lnTo>
                      <a:pt x="221" y="104"/>
                    </a:lnTo>
                    <a:lnTo>
                      <a:pt x="221" y="104"/>
                    </a:lnTo>
                    <a:lnTo>
                      <a:pt x="217" y="104"/>
                    </a:lnTo>
                    <a:lnTo>
                      <a:pt x="221" y="104"/>
                    </a:lnTo>
                    <a:lnTo>
                      <a:pt x="221" y="108"/>
                    </a:lnTo>
                    <a:lnTo>
                      <a:pt x="217" y="108"/>
                    </a:lnTo>
                    <a:lnTo>
                      <a:pt x="217" y="108"/>
                    </a:lnTo>
                    <a:lnTo>
                      <a:pt x="217" y="108"/>
                    </a:lnTo>
                    <a:lnTo>
                      <a:pt x="217" y="108"/>
                    </a:lnTo>
                    <a:lnTo>
                      <a:pt x="212" y="108"/>
                    </a:lnTo>
                    <a:lnTo>
                      <a:pt x="212" y="108"/>
                    </a:lnTo>
                    <a:lnTo>
                      <a:pt x="208" y="108"/>
                    </a:lnTo>
                    <a:lnTo>
                      <a:pt x="208" y="108"/>
                    </a:lnTo>
                    <a:lnTo>
                      <a:pt x="203" y="108"/>
                    </a:lnTo>
                    <a:lnTo>
                      <a:pt x="203" y="108"/>
                    </a:lnTo>
                    <a:lnTo>
                      <a:pt x="203" y="108"/>
                    </a:lnTo>
                    <a:lnTo>
                      <a:pt x="203" y="113"/>
                    </a:lnTo>
                    <a:lnTo>
                      <a:pt x="203" y="113"/>
                    </a:lnTo>
                    <a:lnTo>
                      <a:pt x="203" y="117"/>
                    </a:lnTo>
                    <a:lnTo>
                      <a:pt x="203" y="117"/>
                    </a:lnTo>
                    <a:lnTo>
                      <a:pt x="208" y="117"/>
                    </a:lnTo>
                    <a:lnTo>
                      <a:pt x="208" y="117"/>
                    </a:lnTo>
                    <a:lnTo>
                      <a:pt x="208" y="117"/>
                    </a:lnTo>
                    <a:lnTo>
                      <a:pt x="208" y="117"/>
                    </a:lnTo>
                    <a:lnTo>
                      <a:pt x="208" y="117"/>
                    </a:lnTo>
                    <a:lnTo>
                      <a:pt x="212" y="122"/>
                    </a:lnTo>
                    <a:lnTo>
                      <a:pt x="212" y="122"/>
                    </a:lnTo>
                    <a:lnTo>
                      <a:pt x="212" y="117"/>
                    </a:lnTo>
                    <a:lnTo>
                      <a:pt x="212" y="117"/>
                    </a:lnTo>
                    <a:lnTo>
                      <a:pt x="217" y="122"/>
                    </a:lnTo>
                    <a:lnTo>
                      <a:pt x="217" y="122"/>
                    </a:lnTo>
                    <a:lnTo>
                      <a:pt x="217" y="122"/>
                    </a:lnTo>
                    <a:lnTo>
                      <a:pt x="217" y="126"/>
                    </a:lnTo>
                    <a:lnTo>
                      <a:pt x="217" y="126"/>
                    </a:lnTo>
                    <a:lnTo>
                      <a:pt x="217" y="131"/>
                    </a:lnTo>
                    <a:lnTo>
                      <a:pt x="221" y="131"/>
                    </a:lnTo>
                    <a:lnTo>
                      <a:pt x="221" y="131"/>
                    </a:lnTo>
                    <a:lnTo>
                      <a:pt x="221" y="136"/>
                    </a:lnTo>
                    <a:lnTo>
                      <a:pt x="221" y="136"/>
                    </a:lnTo>
                    <a:lnTo>
                      <a:pt x="226" y="136"/>
                    </a:lnTo>
                    <a:lnTo>
                      <a:pt x="226" y="136"/>
                    </a:lnTo>
                    <a:lnTo>
                      <a:pt x="221" y="136"/>
                    </a:lnTo>
                    <a:lnTo>
                      <a:pt x="221" y="140"/>
                    </a:lnTo>
                    <a:lnTo>
                      <a:pt x="221" y="140"/>
                    </a:lnTo>
                    <a:lnTo>
                      <a:pt x="221" y="140"/>
                    </a:lnTo>
                    <a:lnTo>
                      <a:pt x="221" y="145"/>
                    </a:lnTo>
                    <a:lnTo>
                      <a:pt x="217" y="145"/>
                    </a:lnTo>
                    <a:lnTo>
                      <a:pt x="217" y="149"/>
                    </a:lnTo>
                    <a:lnTo>
                      <a:pt x="221" y="154"/>
                    </a:lnTo>
                    <a:lnTo>
                      <a:pt x="221" y="154"/>
                    </a:lnTo>
                    <a:lnTo>
                      <a:pt x="221" y="154"/>
                    </a:lnTo>
                    <a:lnTo>
                      <a:pt x="217" y="154"/>
                    </a:lnTo>
                    <a:lnTo>
                      <a:pt x="217" y="154"/>
                    </a:lnTo>
                    <a:lnTo>
                      <a:pt x="217" y="154"/>
                    </a:lnTo>
                    <a:lnTo>
                      <a:pt x="217" y="154"/>
                    </a:lnTo>
                    <a:lnTo>
                      <a:pt x="212" y="154"/>
                    </a:lnTo>
                    <a:lnTo>
                      <a:pt x="212" y="154"/>
                    </a:lnTo>
                    <a:lnTo>
                      <a:pt x="212" y="154"/>
                    </a:lnTo>
                    <a:lnTo>
                      <a:pt x="208" y="154"/>
                    </a:lnTo>
                    <a:lnTo>
                      <a:pt x="203" y="149"/>
                    </a:lnTo>
                    <a:lnTo>
                      <a:pt x="199" y="154"/>
                    </a:lnTo>
                    <a:lnTo>
                      <a:pt x="199" y="149"/>
                    </a:lnTo>
                    <a:lnTo>
                      <a:pt x="199" y="145"/>
                    </a:lnTo>
                    <a:lnTo>
                      <a:pt x="199" y="145"/>
                    </a:lnTo>
                    <a:lnTo>
                      <a:pt x="199" y="140"/>
                    </a:lnTo>
                    <a:lnTo>
                      <a:pt x="199" y="140"/>
                    </a:lnTo>
                    <a:lnTo>
                      <a:pt x="199" y="140"/>
                    </a:lnTo>
                    <a:lnTo>
                      <a:pt x="199" y="140"/>
                    </a:lnTo>
                    <a:lnTo>
                      <a:pt x="194" y="140"/>
                    </a:lnTo>
                    <a:lnTo>
                      <a:pt x="194" y="140"/>
                    </a:lnTo>
                    <a:lnTo>
                      <a:pt x="190" y="136"/>
                    </a:lnTo>
                    <a:lnTo>
                      <a:pt x="190" y="136"/>
                    </a:lnTo>
                    <a:lnTo>
                      <a:pt x="190" y="136"/>
                    </a:lnTo>
                    <a:lnTo>
                      <a:pt x="185" y="136"/>
                    </a:lnTo>
                    <a:lnTo>
                      <a:pt x="185" y="136"/>
                    </a:lnTo>
                    <a:lnTo>
                      <a:pt x="185" y="136"/>
                    </a:lnTo>
                    <a:lnTo>
                      <a:pt x="181" y="136"/>
                    </a:lnTo>
                    <a:lnTo>
                      <a:pt x="181" y="136"/>
                    </a:lnTo>
                    <a:lnTo>
                      <a:pt x="181" y="136"/>
                    </a:lnTo>
                    <a:lnTo>
                      <a:pt x="176" y="131"/>
                    </a:lnTo>
                    <a:lnTo>
                      <a:pt x="172" y="131"/>
                    </a:lnTo>
                    <a:lnTo>
                      <a:pt x="167" y="126"/>
                    </a:lnTo>
                    <a:lnTo>
                      <a:pt x="163" y="126"/>
                    </a:lnTo>
                    <a:lnTo>
                      <a:pt x="163" y="126"/>
                    </a:lnTo>
                    <a:lnTo>
                      <a:pt x="163" y="126"/>
                    </a:lnTo>
                    <a:lnTo>
                      <a:pt x="158" y="122"/>
                    </a:lnTo>
                    <a:lnTo>
                      <a:pt x="153" y="122"/>
                    </a:lnTo>
                    <a:lnTo>
                      <a:pt x="149" y="122"/>
                    </a:lnTo>
                    <a:lnTo>
                      <a:pt x="144" y="117"/>
                    </a:lnTo>
                    <a:lnTo>
                      <a:pt x="144" y="117"/>
                    </a:lnTo>
                    <a:lnTo>
                      <a:pt x="140" y="113"/>
                    </a:lnTo>
                    <a:lnTo>
                      <a:pt x="135" y="113"/>
                    </a:lnTo>
                    <a:lnTo>
                      <a:pt x="135" y="108"/>
                    </a:lnTo>
                    <a:lnTo>
                      <a:pt x="131" y="108"/>
                    </a:lnTo>
                    <a:lnTo>
                      <a:pt x="126" y="104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17" y="95"/>
                    </a:lnTo>
                    <a:lnTo>
                      <a:pt x="117" y="95"/>
                    </a:lnTo>
                    <a:lnTo>
                      <a:pt x="117" y="95"/>
                    </a:lnTo>
                    <a:lnTo>
                      <a:pt x="113" y="90"/>
                    </a:lnTo>
                    <a:lnTo>
                      <a:pt x="113" y="86"/>
                    </a:lnTo>
                    <a:lnTo>
                      <a:pt x="108" y="86"/>
                    </a:lnTo>
                    <a:lnTo>
                      <a:pt x="108" y="81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99" y="81"/>
                    </a:lnTo>
                    <a:lnTo>
                      <a:pt x="99" y="81"/>
                    </a:lnTo>
                    <a:lnTo>
                      <a:pt x="99" y="81"/>
                    </a:lnTo>
                    <a:lnTo>
                      <a:pt x="99" y="81"/>
                    </a:lnTo>
                    <a:lnTo>
                      <a:pt x="99" y="81"/>
                    </a:lnTo>
                    <a:lnTo>
                      <a:pt x="99" y="81"/>
                    </a:lnTo>
                    <a:lnTo>
                      <a:pt x="95" y="81"/>
                    </a:lnTo>
                    <a:lnTo>
                      <a:pt x="95" y="81"/>
                    </a:lnTo>
                    <a:lnTo>
                      <a:pt x="90" y="81"/>
                    </a:lnTo>
                    <a:lnTo>
                      <a:pt x="90" y="81"/>
                    </a:lnTo>
                    <a:lnTo>
                      <a:pt x="90" y="81"/>
                    </a:lnTo>
                    <a:lnTo>
                      <a:pt x="86" y="81"/>
                    </a:lnTo>
                    <a:lnTo>
                      <a:pt x="86" y="81"/>
                    </a:lnTo>
                    <a:lnTo>
                      <a:pt x="81" y="77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7" y="77"/>
                    </a:lnTo>
                    <a:lnTo>
                      <a:pt x="77" y="72"/>
                    </a:lnTo>
                    <a:lnTo>
                      <a:pt x="77" y="72"/>
                    </a:lnTo>
                    <a:lnTo>
                      <a:pt x="77" y="72"/>
                    </a:lnTo>
                    <a:lnTo>
                      <a:pt x="77" y="72"/>
                    </a:lnTo>
                    <a:lnTo>
                      <a:pt x="77" y="72"/>
                    </a:lnTo>
                    <a:lnTo>
                      <a:pt x="77" y="72"/>
                    </a:lnTo>
                    <a:lnTo>
                      <a:pt x="77" y="68"/>
                    </a:lnTo>
                    <a:lnTo>
                      <a:pt x="77" y="68"/>
                    </a:lnTo>
                    <a:lnTo>
                      <a:pt x="77" y="68"/>
                    </a:lnTo>
                    <a:lnTo>
                      <a:pt x="77" y="68"/>
                    </a:lnTo>
                    <a:lnTo>
                      <a:pt x="72" y="68"/>
                    </a:lnTo>
                    <a:lnTo>
                      <a:pt x="72" y="68"/>
                    </a:lnTo>
                    <a:lnTo>
                      <a:pt x="72" y="68"/>
                    </a:lnTo>
                    <a:lnTo>
                      <a:pt x="72" y="68"/>
                    </a:lnTo>
                    <a:lnTo>
                      <a:pt x="72" y="63"/>
                    </a:lnTo>
                    <a:lnTo>
                      <a:pt x="72" y="63"/>
                    </a:lnTo>
                    <a:lnTo>
                      <a:pt x="72" y="63"/>
                    </a:lnTo>
                    <a:lnTo>
                      <a:pt x="72" y="63"/>
                    </a:lnTo>
                    <a:lnTo>
                      <a:pt x="72" y="63"/>
                    </a:lnTo>
                    <a:lnTo>
                      <a:pt x="72" y="63"/>
                    </a:lnTo>
                    <a:lnTo>
                      <a:pt x="72" y="59"/>
                    </a:lnTo>
                    <a:lnTo>
                      <a:pt x="68" y="59"/>
                    </a:lnTo>
                    <a:lnTo>
                      <a:pt x="63" y="59"/>
                    </a:lnTo>
                    <a:lnTo>
                      <a:pt x="63" y="59"/>
                    </a:lnTo>
                    <a:lnTo>
                      <a:pt x="63" y="59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9" y="59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50" y="54"/>
                    </a:lnTo>
                    <a:lnTo>
                      <a:pt x="50" y="54"/>
                    </a:lnTo>
                    <a:lnTo>
                      <a:pt x="50" y="54"/>
                    </a:lnTo>
                    <a:lnTo>
                      <a:pt x="50" y="54"/>
                    </a:lnTo>
                    <a:lnTo>
                      <a:pt x="45" y="54"/>
                    </a:lnTo>
                    <a:lnTo>
                      <a:pt x="45" y="54"/>
                    </a:lnTo>
                    <a:lnTo>
                      <a:pt x="45" y="54"/>
                    </a:lnTo>
                    <a:lnTo>
                      <a:pt x="41" y="54"/>
                    </a:lnTo>
                    <a:lnTo>
                      <a:pt x="45" y="54"/>
                    </a:lnTo>
                    <a:lnTo>
                      <a:pt x="45" y="54"/>
                    </a:lnTo>
                    <a:lnTo>
                      <a:pt x="45" y="59"/>
                    </a:lnTo>
                    <a:lnTo>
                      <a:pt x="50" y="59"/>
                    </a:lnTo>
                    <a:lnTo>
                      <a:pt x="50" y="59"/>
                    </a:lnTo>
                    <a:lnTo>
                      <a:pt x="50" y="59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50" y="59"/>
                    </a:lnTo>
                    <a:lnTo>
                      <a:pt x="45" y="59"/>
                    </a:lnTo>
                    <a:lnTo>
                      <a:pt x="45" y="59"/>
                    </a:lnTo>
                    <a:lnTo>
                      <a:pt x="45" y="59"/>
                    </a:lnTo>
                    <a:lnTo>
                      <a:pt x="45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63"/>
                    </a:lnTo>
                    <a:lnTo>
                      <a:pt x="41" y="63"/>
                    </a:lnTo>
                    <a:lnTo>
                      <a:pt x="36" y="63"/>
                    </a:lnTo>
                    <a:lnTo>
                      <a:pt x="32" y="63"/>
                    </a:lnTo>
                    <a:lnTo>
                      <a:pt x="32" y="63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27" y="68"/>
                    </a:lnTo>
                    <a:lnTo>
                      <a:pt x="27" y="72"/>
                    </a:lnTo>
                    <a:lnTo>
                      <a:pt x="32" y="72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27" y="81"/>
                    </a:lnTo>
                    <a:lnTo>
                      <a:pt x="27" y="81"/>
                    </a:lnTo>
                    <a:lnTo>
                      <a:pt x="22" y="81"/>
                    </a:lnTo>
                    <a:lnTo>
                      <a:pt x="18" y="81"/>
                    </a:lnTo>
                    <a:lnTo>
                      <a:pt x="13" y="81"/>
                    </a:lnTo>
                    <a:lnTo>
                      <a:pt x="13" y="77"/>
                    </a:lnTo>
                    <a:lnTo>
                      <a:pt x="13" y="72"/>
                    </a:lnTo>
                    <a:lnTo>
                      <a:pt x="13" y="68"/>
                    </a:lnTo>
                    <a:lnTo>
                      <a:pt x="9" y="63"/>
                    </a:lnTo>
                    <a:lnTo>
                      <a:pt x="9" y="59"/>
                    </a:lnTo>
                    <a:lnTo>
                      <a:pt x="9" y="54"/>
                    </a:lnTo>
                    <a:lnTo>
                      <a:pt x="9" y="50"/>
                    </a:lnTo>
                    <a:lnTo>
                      <a:pt x="9" y="45"/>
                    </a:lnTo>
                    <a:lnTo>
                      <a:pt x="4" y="41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27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9" y="9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1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50" y="4"/>
                    </a:lnTo>
                    <a:lnTo>
                      <a:pt x="50" y="9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9" y="9"/>
                    </a:lnTo>
                    <a:lnTo>
                      <a:pt x="59" y="13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2" y="18"/>
                    </a:lnTo>
                    <a:lnTo>
                      <a:pt x="77" y="18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81" y="23"/>
                    </a:lnTo>
                    <a:lnTo>
                      <a:pt x="81" y="23"/>
                    </a:lnTo>
                    <a:lnTo>
                      <a:pt x="81" y="27"/>
                    </a:lnTo>
                    <a:lnTo>
                      <a:pt x="86" y="27"/>
                    </a:lnTo>
                    <a:lnTo>
                      <a:pt x="86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5" y="36"/>
                    </a:lnTo>
                    <a:lnTo>
                      <a:pt x="95" y="36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52" name="Freeform 173"/>
              <p:cNvSpPr>
                <a:spLocks/>
              </p:cNvSpPr>
              <p:nvPr/>
            </p:nvSpPr>
            <p:spPr bwMode="auto">
              <a:xfrm>
                <a:off x="2247901" y="2571751"/>
                <a:ext cx="365125" cy="358775"/>
              </a:xfrm>
              <a:custGeom>
                <a:avLst/>
                <a:gdLst>
                  <a:gd name="T0" fmla="*/ 81 w 230"/>
                  <a:gd name="T1" fmla="*/ 14 h 226"/>
                  <a:gd name="T2" fmla="*/ 90 w 230"/>
                  <a:gd name="T3" fmla="*/ 32 h 226"/>
                  <a:gd name="T4" fmla="*/ 131 w 230"/>
                  <a:gd name="T5" fmla="*/ 37 h 226"/>
                  <a:gd name="T6" fmla="*/ 167 w 230"/>
                  <a:gd name="T7" fmla="*/ 37 h 226"/>
                  <a:gd name="T8" fmla="*/ 172 w 230"/>
                  <a:gd name="T9" fmla="*/ 32 h 226"/>
                  <a:gd name="T10" fmla="*/ 194 w 230"/>
                  <a:gd name="T11" fmla="*/ 32 h 226"/>
                  <a:gd name="T12" fmla="*/ 185 w 230"/>
                  <a:gd name="T13" fmla="*/ 37 h 226"/>
                  <a:gd name="T14" fmla="*/ 190 w 230"/>
                  <a:gd name="T15" fmla="*/ 41 h 226"/>
                  <a:gd name="T16" fmla="*/ 194 w 230"/>
                  <a:gd name="T17" fmla="*/ 46 h 226"/>
                  <a:gd name="T18" fmla="*/ 199 w 230"/>
                  <a:gd name="T19" fmla="*/ 50 h 226"/>
                  <a:gd name="T20" fmla="*/ 208 w 230"/>
                  <a:gd name="T21" fmla="*/ 46 h 226"/>
                  <a:gd name="T22" fmla="*/ 212 w 230"/>
                  <a:gd name="T23" fmla="*/ 59 h 226"/>
                  <a:gd name="T24" fmla="*/ 203 w 230"/>
                  <a:gd name="T25" fmla="*/ 73 h 226"/>
                  <a:gd name="T26" fmla="*/ 226 w 230"/>
                  <a:gd name="T27" fmla="*/ 73 h 226"/>
                  <a:gd name="T28" fmla="*/ 226 w 230"/>
                  <a:gd name="T29" fmla="*/ 86 h 226"/>
                  <a:gd name="T30" fmla="*/ 217 w 230"/>
                  <a:gd name="T31" fmla="*/ 95 h 226"/>
                  <a:gd name="T32" fmla="*/ 221 w 230"/>
                  <a:gd name="T33" fmla="*/ 100 h 226"/>
                  <a:gd name="T34" fmla="*/ 212 w 230"/>
                  <a:gd name="T35" fmla="*/ 109 h 226"/>
                  <a:gd name="T36" fmla="*/ 208 w 230"/>
                  <a:gd name="T37" fmla="*/ 113 h 226"/>
                  <a:gd name="T38" fmla="*/ 212 w 230"/>
                  <a:gd name="T39" fmla="*/ 136 h 226"/>
                  <a:gd name="T40" fmla="*/ 212 w 230"/>
                  <a:gd name="T41" fmla="*/ 145 h 226"/>
                  <a:gd name="T42" fmla="*/ 199 w 230"/>
                  <a:gd name="T43" fmla="*/ 154 h 226"/>
                  <a:gd name="T44" fmla="*/ 181 w 230"/>
                  <a:gd name="T45" fmla="*/ 159 h 226"/>
                  <a:gd name="T46" fmla="*/ 167 w 230"/>
                  <a:gd name="T47" fmla="*/ 163 h 226"/>
                  <a:gd name="T48" fmla="*/ 154 w 230"/>
                  <a:gd name="T49" fmla="*/ 159 h 226"/>
                  <a:gd name="T50" fmla="*/ 140 w 230"/>
                  <a:gd name="T51" fmla="*/ 154 h 226"/>
                  <a:gd name="T52" fmla="*/ 149 w 230"/>
                  <a:gd name="T53" fmla="*/ 177 h 226"/>
                  <a:gd name="T54" fmla="*/ 158 w 230"/>
                  <a:gd name="T55" fmla="*/ 190 h 226"/>
                  <a:gd name="T56" fmla="*/ 158 w 230"/>
                  <a:gd name="T57" fmla="*/ 199 h 226"/>
                  <a:gd name="T58" fmla="*/ 149 w 230"/>
                  <a:gd name="T59" fmla="*/ 208 h 226"/>
                  <a:gd name="T60" fmla="*/ 136 w 230"/>
                  <a:gd name="T61" fmla="*/ 217 h 226"/>
                  <a:gd name="T62" fmla="*/ 127 w 230"/>
                  <a:gd name="T63" fmla="*/ 222 h 226"/>
                  <a:gd name="T64" fmla="*/ 113 w 230"/>
                  <a:gd name="T65" fmla="*/ 222 h 226"/>
                  <a:gd name="T66" fmla="*/ 104 w 230"/>
                  <a:gd name="T67" fmla="*/ 208 h 226"/>
                  <a:gd name="T68" fmla="*/ 99 w 230"/>
                  <a:gd name="T69" fmla="*/ 190 h 226"/>
                  <a:gd name="T70" fmla="*/ 90 w 230"/>
                  <a:gd name="T71" fmla="*/ 181 h 226"/>
                  <a:gd name="T72" fmla="*/ 95 w 230"/>
                  <a:gd name="T73" fmla="*/ 172 h 226"/>
                  <a:gd name="T74" fmla="*/ 90 w 230"/>
                  <a:gd name="T75" fmla="*/ 154 h 226"/>
                  <a:gd name="T76" fmla="*/ 90 w 230"/>
                  <a:gd name="T77" fmla="*/ 131 h 226"/>
                  <a:gd name="T78" fmla="*/ 90 w 230"/>
                  <a:gd name="T79" fmla="*/ 113 h 226"/>
                  <a:gd name="T80" fmla="*/ 63 w 230"/>
                  <a:gd name="T81" fmla="*/ 118 h 226"/>
                  <a:gd name="T82" fmla="*/ 50 w 230"/>
                  <a:gd name="T83" fmla="*/ 100 h 226"/>
                  <a:gd name="T84" fmla="*/ 36 w 230"/>
                  <a:gd name="T85" fmla="*/ 100 h 226"/>
                  <a:gd name="T86" fmla="*/ 18 w 230"/>
                  <a:gd name="T87" fmla="*/ 95 h 226"/>
                  <a:gd name="T88" fmla="*/ 14 w 230"/>
                  <a:gd name="T89" fmla="*/ 82 h 226"/>
                  <a:gd name="T90" fmla="*/ 9 w 230"/>
                  <a:gd name="T91" fmla="*/ 59 h 226"/>
                  <a:gd name="T92" fmla="*/ 0 w 230"/>
                  <a:gd name="T93" fmla="*/ 59 h 226"/>
                  <a:gd name="T94" fmla="*/ 9 w 230"/>
                  <a:gd name="T95" fmla="*/ 32 h 226"/>
                  <a:gd name="T96" fmla="*/ 32 w 230"/>
                  <a:gd name="T97" fmla="*/ 9 h 226"/>
                  <a:gd name="T98" fmla="*/ 27 w 230"/>
                  <a:gd name="T99" fmla="*/ 9 h 226"/>
                  <a:gd name="T100" fmla="*/ 32 w 230"/>
                  <a:gd name="T101" fmla="*/ 27 h 226"/>
                  <a:gd name="T102" fmla="*/ 23 w 230"/>
                  <a:gd name="T103" fmla="*/ 50 h 226"/>
                  <a:gd name="T104" fmla="*/ 36 w 230"/>
                  <a:gd name="T105" fmla="*/ 59 h 226"/>
                  <a:gd name="T106" fmla="*/ 36 w 230"/>
                  <a:gd name="T107" fmla="*/ 37 h 226"/>
                  <a:gd name="T108" fmla="*/ 50 w 230"/>
                  <a:gd name="T109" fmla="*/ 18 h 226"/>
                  <a:gd name="T110" fmla="*/ 63 w 230"/>
                  <a:gd name="T111" fmla="*/ 9 h 226"/>
                  <a:gd name="T112" fmla="*/ 63 w 230"/>
                  <a:gd name="T113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30" h="226">
                    <a:moveTo>
                      <a:pt x="68" y="9"/>
                    </a:moveTo>
                    <a:lnTo>
                      <a:pt x="68" y="9"/>
                    </a:lnTo>
                    <a:lnTo>
                      <a:pt x="68" y="9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81" y="14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23"/>
                    </a:lnTo>
                    <a:lnTo>
                      <a:pt x="90" y="23"/>
                    </a:lnTo>
                    <a:lnTo>
                      <a:pt x="90" y="23"/>
                    </a:lnTo>
                    <a:lnTo>
                      <a:pt x="90" y="27"/>
                    </a:lnTo>
                    <a:lnTo>
                      <a:pt x="90" y="27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5" y="32"/>
                    </a:lnTo>
                    <a:lnTo>
                      <a:pt x="99" y="32"/>
                    </a:lnTo>
                    <a:lnTo>
                      <a:pt x="108" y="32"/>
                    </a:lnTo>
                    <a:lnTo>
                      <a:pt x="113" y="32"/>
                    </a:lnTo>
                    <a:lnTo>
                      <a:pt x="127" y="32"/>
                    </a:lnTo>
                    <a:lnTo>
                      <a:pt x="127" y="32"/>
                    </a:lnTo>
                    <a:lnTo>
                      <a:pt x="127" y="32"/>
                    </a:lnTo>
                    <a:lnTo>
                      <a:pt x="127" y="32"/>
                    </a:lnTo>
                    <a:lnTo>
                      <a:pt x="131" y="37"/>
                    </a:lnTo>
                    <a:lnTo>
                      <a:pt x="136" y="37"/>
                    </a:lnTo>
                    <a:lnTo>
                      <a:pt x="136" y="41"/>
                    </a:lnTo>
                    <a:lnTo>
                      <a:pt x="140" y="41"/>
                    </a:lnTo>
                    <a:lnTo>
                      <a:pt x="145" y="41"/>
                    </a:lnTo>
                    <a:lnTo>
                      <a:pt x="145" y="41"/>
                    </a:lnTo>
                    <a:lnTo>
                      <a:pt x="145" y="41"/>
                    </a:lnTo>
                    <a:lnTo>
                      <a:pt x="149" y="41"/>
                    </a:lnTo>
                    <a:lnTo>
                      <a:pt x="158" y="37"/>
                    </a:lnTo>
                    <a:lnTo>
                      <a:pt x="167" y="37"/>
                    </a:lnTo>
                    <a:lnTo>
                      <a:pt x="167" y="32"/>
                    </a:lnTo>
                    <a:lnTo>
                      <a:pt x="167" y="32"/>
                    </a:lnTo>
                    <a:lnTo>
                      <a:pt x="167" y="32"/>
                    </a:lnTo>
                    <a:lnTo>
                      <a:pt x="163" y="32"/>
                    </a:lnTo>
                    <a:lnTo>
                      <a:pt x="158" y="32"/>
                    </a:lnTo>
                    <a:lnTo>
                      <a:pt x="158" y="32"/>
                    </a:lnTo>
                    <a:lnTo>
                      <a:pt x="158" y="32"/>
                    </a:lnTo>
                    <a:lnTo>
                      <a:pt x="167" y="32"/>
                    </a:lnTo>
                    <a:lnTo>
                      <a:pt x="172" y="32"/>
                    </a:lnTo>
                    <a:lnTo>
                      <a:pt x="176" y="27"/>
                    </a:lnTo>
                    <a:lnTo>
                      <a:pt x="181" y="27"/>
                    </a:lnTo>
                    <a:lnTo>
                      <a:pt x="181" y="27"/>
                    </a:lnTo>
                    <a:lnTo>
                      <a:pt x="185" y="27"/>
                    </a:lnTo>
                    <a:lnTo>
                      <a:pt x="194" y="32"/>
                    </a:lnTo>
                    <a:lnTo>
                      <a:pt x="199" y="27"/>
                    </a:lnTo>
                    <a:lnTo>
                      <a:pt x="199" y="32"/>
                    </a:lnTo>
                    <a:lnTo>
                      <a:pt x="199" y="32"/>
                    </a:lnTo>
                    <a:lnTo>
                      <a:pt x="194" y="32"/>
                    </a:lnTo>
                    <a:lnTo>
                      <a:pt x="190" y="32"/>
                    </a:lnTo>
                    <a:lnTo>
                      <a:pt x="185" y="32"/>
                    </a:lnTo>
                    <a:lnTo>
                      <a:pt x="181" y="32"/>
                    </a:lnTo>
                    <a:lnTo>
                      <a:pt x="185" y="32"/>
                    </a:lnTo>
                    <a:lnTo>
                      <a:pt x="185" y="37"/>
                    </a:lnTo>
                    <a:lnTo>
                      <a:pt x="185" y="37"/>
                    </a:lnTo>
                    <a:lnTo>
                      <a:pt x="185" y="37"/>
                    </a:lnTo>
                    <a:lnTo>
                      <a:pt x="185" y="37"/>
                    </a:lnTo>
                    <a:lnTo>
                      <a:pt x="185" y="37"/>
                    </a:lnTo>
                    <a:lnTo>
                      <a:pt x="185" y="41"/>
                    </a:lnTo>
                    <a:lnTo>
                      <a:pt x="185" y="41"/>
                    </a:lnTo>
                    <a:lnTo>
                      <a:pt x="185" y="41"/>
                    </a:lnTo>
                    <a:lnTo>
                      <a:pt x="185" y="41"/>
                    </a:lnTo>
                    <a:lnTo>
                      <a:pt x="185" y="41"/>
                    </a:lnTo>
                    <a:lnTo>
                      <a:pt x="185" y="41"/>
                    </a:lnTo>
                    <a:lnTo>
                      <a:pt x="185" y="41"/>
                    </a:lnTo>
                    <a:lnTo>
                      <a:pt x="190" y="41"/>
                    </a:lnTo>
                    <a:lnTo>
                      <a:pt x="190" y="41"/>
                    </a:lnTo>
                    <a:lnTo>
                      <a:pt x="190" y="46"/>
                    </a:lnTo>
                    <a:lnTo>
                      <a:pt x="190" y="46"/>
                    </a:lnTo>
                    <a:lnTo>
                      <a:pt x="190" y="46"/>
                    </a:lnTo>
                    <a:lnTo>
                      <a:pt x="194" y="46"/>
                    </a:lnTo>
                    <a:lnTo>
                      <a:pt x="194" y="46"/>
                    </a:lnTo>
                    <a:lnTo>
                      <a:pt x="194" y="46"/>
                    </a:lnTo>
                    <a:lnTo>
                      <a:pt x="194" y="46"/>
                    </a:lnTo>
                    <a:lnTo>
                      <a:pt x="194" y="46"/>
                    </a:lnTo>
                    <a:lnTo>
                      <a:pt x="194" y="46"/>
                    </a:lnTo>
                    <a:lnTo>
                      <a:pt x="194" y="46"/>
                    </a:lnTo>
                    <a:lnTo>
                      <a:pt x="194" y="46"/>
                    </a:lnTo>
                    <a:lnTo>
                      <a:pt x="194" y="46"/>
                    </a:lnTo>
                    <a:lnTo>
                      <a:pt x="194" y="46"/>
                    </a:lnTo>
                    <a:lnTo>
                      <a:pt x="194" y="46"/>
                    </a:lnTo>
                    <a:lnTo>
                      <a:pt x="199" y="46"/>
                    </a:lnTo>
                    <a:lnTo>
                      <a:pt x="199" y="46"/>
                    </a:lnTo>
                    <a:lnTo>
                      <a:pt x="199" y="50"/>
                    </a:lnTo>
                    <a:lnTo>
                      <a:pt x="199" y="50"/>
                    </a:lnTo>
                    <a:lnTo>
                      <a:pt x="199" y="50"/>
                    </a:lnTo>
                    <a:lnTo>
                      <a:pt x="199" y="50"/>
                    </a:lnTo>
                    <a:lnTo>
                      <a:pt x="203" y="50"/>
                    </a:lnTo>
                    <a:lnTo>
                      <a:pt x="203" y="50"/>
                    </a:lnTo>
                    <a:lnTo>
                      <a:pt x="203" y="50"/>
                    </a:lnTo>
                    <a:lnTo>
                      <a:pt x="203" y="46"/>
                    </a:lnTo>
                    <a:lnTo>
                      <a:pt x="203" y="46"/>
                    </a:lnTo>
                    <a:lnTo>
                      <a:pt x="203" y="46"/>
                    </a:lnTo>
                    <a:lnTo>
                      <a:pt x="208" y="46"/>
                    </a:lnTo>
                    <a:lnTo>
                      <a:pt x="208" y="50"/>
                    </a:lnTo>
                    <a:lnTo>
                      <a:pt x="208" y="50"/>
                    </a:lnTo>
                    <a:lnTo>
                      <a:pt x="212" y="55"/>
                    </a:lnTo>
                    <a:lnTo>
                      <a:pt x="217" y="55"/>
                    </a:lnTo>
                    <a:lnTo>
                      <a:pt x="217" y="55"/>
                    </a:lnTo>
                    <a:lnTo>
                      <a:pt x="217" y="59"/>
                    </a:lnTo>
                    <a:lnTo>
                      <a:pt x="212" y="59"/>
                    </a:lnTo>
                    <a:lnTo>
                      <a:pt x="212" y="59"/>
                    </a:lnTo>
                    <a:lnTo>
                      <a:pt x="212" y="59"/>
                    </a:lnTo>
                    <a:lnTo>
                      <a:pt x="212" y="64"/>
                    </a:lnTo>
                    <a:lnTo>
                      <a:pt x="212" y="64"/>
                    </a:lnTo>
                    <a:lnTo>
                      <a:pt x="212" y="64"/>
                    </a:lnTo>
                    <a:lnTo>
                      <a:pt x="212" y="68"/>
                    </a:lnTo>
                    <a:lnTo>
                      <a:pt x="208" y="68"/>
                    </a:lnTo>
                    <a:lnTo>
                      <a:pt x="208" y="73"/>
                    </a:lnTo>
                    <a:lnTo>
                      <a:pt x="203" y="73"/>
                    </a:lnTo>
                    <a:lnTo>
                      <a:pt x="203" y="73"/>
                    </a:lnTo>
                    <a:lnTo>
                      <a:pt x="203" y="73"/>
                    </a:lnTo>
                    <a:lnTo>
                      <a:pt x="208" y="73"/>
                    </a:lnTo>
                    <a:lnTo>
                      <a:pt x="208" y="73"/>
                    </a:lnTo>
                    <a:lnTo>
                      <a:pt x="212" y="73"/>
                    </a:lnTo>
                    <a:lnTo>
                      <a:pt x="217" y="73"/>
                    </a:lnTo>
                    <a:lnTo>
                      <a:pt x="217" y="73"/>
                    </a:lnTo>
                    <a:lnTo>
                      <a:pt x="221" y="73"/>
                    </a:lnTo>
                    <a:lnTo>
                      <a:pt x="221" y="73"/>
                    </a:lnTo>
                    <a:lnTo>
                      <a:pt x="226" y="73"/>
                    </a:lnTo>
                    <a:lnTo>
                      <a:pt x="226" y="73"/>
                    </a:lnTo>
                    <a:lnTo>
                      <a:pt x="230" y="73"/>
                    </a:lnTo>
                    <a:lnTo>
                      <a:pt x="230" y="77"/>
                    </a:lnTo>
                    <a:lnTo>
                      <a:pt x="230" y="77"/>
                    </a:lnTo>
                    <a:lnTo>
                      <a:pt x="230" y="77"/>
                    </a:lnTo>
                    <a:lnTo>
                      <a:pt x="230" y="77"/>
                    </a:lnTo>
                    <a:lnTo>
                      <a:pt x="230" y="82"/>
                    </a:lnTo>
                    <a:lnTo>
                      <a:pt x="230" y="82"/>
                    </a:lnTo>
                    <a:lnTo>
                      <a:pt x="226" y="82"/>
                    </a:lnTo>
                    <a:lnTo>
                      <a:pt x="226" y="86"/>
                    </a:lnTo>
                    <a:lnTo>
                      <a:pt x="221" y="86"/>
                    </a:lnTo>
                    <a:lnTo>
                      <a:pt x="221" y="86"/>
                    </a:lnTo>
                    <a:lnTo>
                      <a:pt x="221" y="86"/>
                    </a:lnTo>
                    <a:lnTo>
                      <a:pt x="221" y="86"/>
                    </a:lnTo>
                    <a:lnTo>
                      <a:pt x="217" y="91"/>
                    </a:lnTo>
                    <a:lnTo>
                      <a:pt x="217" y="91"/>
                    </a:lnTo>
                    <a:lnTo>
                      <a:pt x="217" y="91"/>
                    </a:lnTo>
                    <a:lnTo>
                      <a:pt x="217" y="91"/>
                    </a:lnTo>
                    <a:lnTo>
                      <a:pt x="217" y="95"/>
                    </a:lnTo>
                    <a:lnTo>
                      <a:pt x="217" y="95"/>
                    </a:lnTo>
                    <a:lnTo>
                      <a:pt x="217" y="95"/>
                    </a:lnTo>
                    <a:lnTo>
                      <a:pt x="217" y="100"/>
                    </a:lnTo>
                    <a:lnTo>
                      <a:pt x="217" y="100"/>
                    </a:lnTo>
                    <a:lnTo>
                      <a:pt x="217" y="100"/>
                    </a:lnTo>
                    <a:lnTo>
                      <a:pt x="221" y="100"/>
                    </a:lnTo>
                    <a:lnTo>
                      <a:pt x="221" y="100"/>
                    </a:lnTo>
                    <a:lnTo>
                      <a:pt x="221" y="100"/>
                    </a:lnTo>
                    <a:lnTo>
                      <a:pt x="221" y="100"/>
                    </a:lnTo>
                    <a:lnTo>
                      <a:pt x="221" y="100"/>
                    </a:lnTo>
                    <a:lnTo>
                      <a:pt x="221" y="100"/>
                    </a:lnTo>
                    <a:lnTo>
                      <a:pt x="221" y="104"/>
                    </a:lnTo>
                    <a:lnTo>
                      <a:pt x="217" y="104"/>
                    </a:lnTo>
                    <a:lnTo>
                      <a:pt x="217" y="104"/>
                    </a:lnTo>
                    <a:lnTo>
                      <a:pt x="217" y="104"/>
                    </a:lnTo>
                    <a:lnTo>
                      <a:pt x="212" y="104"/>
                    </a:lnTo>
                    <a:lnTo>
                      <a:pt x="212" y="104"/>
                    </a:lnTo>
                    <a:lnTo>
                      <a:pt x="212" y="109"/>
                    </a:lnTo>
                    <a:lnTo>
                      <a:pt x="212" y="109"/>
                    </a:lnTo>
                    <a:lnTo>
                      <a:pt x="212" y="109"/>
                    </a:lnTo>
                    <a:lnTo>
                      <a:pt x="208" y="109"/>
                    </a:lnTo>
                    <a:lnTo>
                      <a:pt x="208" y="109"/>
                    </a:lnTo>
                    <a:lnTo>
                      <a:pt x="208" y="109"/>
                    </a:lnTo>
                    <a:lnTo>
                      <a:pt x="208" y="109"/>
                    </a:lnTo>
                    <a:lnTo>
                      <a:pt x="208" y="113"/>
                    </a:lnTo>
                    <a:lnTo>
                      <a:pt x="208" y="113"/>
                    </a:lnTo>
                    <a:lnTo>
                      <a:pt x="208" y="113"/>
                    </a:lnTo>
                    <a:lnTo>
                      <a:pt x="208" y="118"/>
                    </a:lnTo>
                    <a:lnTo>
                      <a:pt x="208" y="118"/>
                    </a:lnTo>
                    <a:lnTo>
                      <a:pt x="208" y="118"/>
                    </a:lnTo>
                    <a:lnTo>
                      <a:pt x="203" y="122"/>
                    </a:lnTo>
                    <a:lnTo>
                      <a:pt x="203" y="122"/>
                    </a:lnTo>
                    <a:lnTo>
                      <a:pt x="203" y="122"/>
                    </a:lnTo>
                    <a:lnTo>
                      <a:pt x="208" y="127"/>
                    </a:lnTo>
                    <a:lnTo>
                      <a:pt x="208" y="131"/>
                    </a:lnTo>
                    <a:lnTo>
                      <a:pt x="212" y="136"/>
                    </a:lnTo>
                    <a:lnTo>
                      <a:pt x="212" y="136"/>
                    </a:lnTo>
                    <a:lnTo>
                      <a:pt x="212" y="136"/>
                    </a:lnTo>
                    <a:lnTo>
                      <a:pt x="217" y="141"/>
                    </a:lnTo>
                    <a:lnTo>
                      <a:pt x="217" y="141"/>
                    </a:lnTo>
                    <a:lnTo>
                      <a:pt x="217" y="141"/>
                    </a:lnTo>
                    <a:lnTo>
                      <a:pt x="217" y="145"/>
                    </a:lnTo>
                    <a:lnTo>
                      <a:pt x="212" y="145"/>
                    </a:lnTo>
                    <a:lnTo>
                      <a:pt x="212" y="145"/>
                    </a:lnTo>
                    <a:lnTo>
                      <a:pt x="212" y="145"/>
                    </a:lnTo>
                    <a:lnTo>
                      <a:pt x="208" y="145"/>
                    </a:lnTo>
                    <a:lnTo>
                      <a:pt x="208" y="150"/>
                    </a:lnTo>
                    <a:lnTo>
                      <a:pt x="208" y="150"/>
                    </a:lnTo>
                    <a:lnTo>
                      <a:pt x="208" y="150"/>
                    </a:lnTo>
                    <a:lnTo>
                      <a:pt x="208" y="150"/>
                    </a:lnTo>
                    <a:lnTo>
                      <a:pt x="203" y="150"/>
                    </a:lnTo>
                    <a:lnTo>
                      <a:pt x="203" y="150"/>
                    </a:lnTo>
                    <a:lnTo>
                      <a:pt x="203" y="154"/>
                    </a:lnTo>
                    <a:lnTo>
                      <a:pt x="199" y="154"/>
                    </a:lnTo>
                    <a:lnTo>
                      <a:pt x="199" y="154"/>
                    </a:lnTo>
                    <a:lnTo>
                      <a:pt x="194" y="159"/>
                    </a:lnTo>
                    <a:lnTo>
                      <a:pt x="190" y="159"/>
                    </a:lnTo>
                    <a:lnTo>
                      <a:pt x="190" y="159"/>
                    </a:lnTo>
                    <a:lnTo>
                      <a:pt x="185" y="159"/>
                    </a:lnTo>
                    <a:lnTo>
                      <a:pt x="181" y="159"/>
                    </a:lnTo>
                    <a:lnTo>
                      <a:pt x="181" y="159"/>
                    </a:lnTo>
                    <a:lnTo>
                      <a:pt x="181" y="159"/>
                    </a:lnTo>
                    <a:lnTo>
                      <a:pt x="181" y="159"/>
                    </a:lnTo>
                    <a:lnTo>
                      <a:pt x="176" y="159"/>
                    </a:lnTo>
                    <a:lnTo>
                      <a:pt x="176" y="163"/>
                    </a:lnTo>
                    <a:lnTo>
                      <a:pt x="176" y="168"/>
                    </a:lnTo>
                    <a:lnTo>
                      <a:pt x="176" y="168"/>
                    </a:lnTo>
                    <a:lnTo>
                      <a:pt x="172" y="168"/>
                    </a:lnTo>
                    <a:lnTo>
                      <a:pt x="172" y="168"/>
                    </a:lnTo>
                    <a:lnTo>
                      <a:pt x="172" y="163"/>
                    </a:lnTo>
                    <a:lnTo>
                      <a:pt x="167" y="163"/>
                    </a:lnTo>
                    <a:lnTo>
                      <a:pt x="167" y="163"/>
                    </a:lnTo>
                    <a:lnTo>
                      <a:pt x="167" y="163"/>
                    </a:lnTo>
                    <a:lnTo>
                      <a:pt x="163" y="163"/>
                    </a:lnTo>
                    <a:lnTo>
                      <a:pt x="163" y="163"/>
                    </a:lnTo>
                    <a:lnTo>
                      <a:pt x="163" y="163"/>
                    </a:lnTo>
                    <a:lnTo>
                      <a:pt x="158" y="163"/>
                    </a:lnTo>
                    <a:lnTo>
                      <a:pt x="158" y="163"/>
                    </a:lnTo>
                    <a:lnTo>
                      <a:pt x="154" y="163"/>
                    </a:lnTo>
                    <a:lnTo>
                      <a:pt x="154" y="159"/>
                    </a:lnTo>
                    <a:lnTo>
                      <a:pt x="154" y="159"/>
                    </a:lnTo>
                    <a:lnTo>
                      <a:pt x="154" y="159"/>
                    </a:lnTo>
                    <a:lnTo>
                      <a:pt x="154" y="159"/>
                    </a:lnTo>
                    <a:lnTo>
                      <a:pt x="149" y="159"/>
                    </a:lnTo>
                    <a:lnTo>
                      <a:pt x="145" y="159"/>
                    </a:lnTo>
                    <a:lnTo>
                      <a:pt x="145" y="159"/>
                    </a:lnTo>
                    <a:lnTo>
                      <a:pt x="145" y="159"/>
                    </a:lnTo>
                    <a:lnTo>
                      <a:pt x="145" y="154"/>
                    </a:lnTo>
                    <a:lnTo>
                      <a:pt x="145" y="154"/>
                    </a:lnTo>
                    <a:lnTo>
                      <a:pt x="140" y="154"/>
                    </a:lnTo>
                    <a:lnTo>
                      <a:pt x="140" y="154"/>
                    </a:lnTo>
                    <a:lnTo>
                      <a:pt x="145" y="159"/>
                    </a:lnTo>
                    <a:lnTo>
                      <a:pt x="145" y="159"/>
                    </a:lnTo>
                    <a:lnTo>
                      <a:pt x="145" y="163"/>
                    </a:lnTo>
                    <a:lnTo>
                      <a:pt x="149" y="168"/>
                    </a:lnTo>
                    <a:lnTo>
                      <a:pt x="154" y="168"/>
                    </a:lnTo>
                    <a:lnTo>
                      <a:pt x="149" y="172"/>
                    </a:lnTo>
                    <a:lnTo>
                      <a:pt x="149" y="172"/>
                    </a:lnTo>
                    <a:lnTo>
                      <a:pt x="149" y="177"/>
                    </a:lnTo>
                    <a:lnTo>
                      <a:pt x="154" y="181"/>
                    </a:lnTo>
                    <a:lnTo>
                      <a:pt x="154" y="181"/>
                    </a:lnTo>
                    <a:lnTo>
                      <a:pt x="154" y="186"/>
                    </a:lnTo>
                    <a:lnTo>
                      <a:pt x="154" y="186"/>
                    </a:lnTo>
                    <a:lnTo>
                      <a:pt x="154" y="190"/>
                    </a:lnTo>
                    <a:lnTo>
                      <a:pt x="154" y="190"/>
                    </a:lnTo>
                    <a:lnTo>
                      <a:pt x="154" y="190"/>
                    </a:lnTo>
                    <a:lnTo>
                      <a:pt x="158" y="190"/>
                    </a:lnTo>
                    <a:lnTo>
                      <a:pt x="158" y="190"/>
                    </a:lnTo>
                    <a:lnTo>
                      <a:pt x="163" y="190"/>
                    </a:lnTo>
                    <a:lnTo>
                      <a:pt x="167" y="190"/>
                    </a:lnTo>
                    <a:lnTo>
                      <a:pt x="167" y="190"/>
                    </a:lnTo>
                    <a:lnTo>
                      <a:pt x="167" y="195"/>
                    </a:lnTo>
                    <a:lnTo>
                      <a:pt x="163" y="195"/>
                    </a:lnTo>
                    <a:lnTo>
                      <a:pt x="163" y="195"/>
                    </a:lnTo>
                    <a:lnTo>
                      <a:pt x="163" y="195"/>
                    </a:lnTo>
                    <a:lnTo>
                      <a:pt x="158" y="199"/>
                    </a:lnTo>
                    <a:lnTo>
                      <a:pt x="158" y="199"/>
                    </a:lnTo>
                    <a:lnTo>
                      <a:pt x="154" y="199"/>
                    </a:lnTo>
                    <a:lnTo>
                      <a:pt x="154" y="199"/>
                    </a:lnTo>
                    <a:lnTo>
                      <a:pt x="154" y="199"/>
                    </a:lnTo>
                    <a:lnTo>
                      <a:pt x="154" y="199"/>
                    </a:lnTo>
                    <a:lnTo>
                      <a:pt x="154" y="204"/>
                    </a:lnTo>
                    <a:lnTo>
                      <a:pt x="154" y="208"/>
                    </a:lnTo>
                    <a:lnTo>
                      <a:pt x="149" y="208"/>
                    </a:lnTo>
                    <a:lnTo>
                      <a:pt x="149" y="208"/>
                    </a:lnTo>
                    <a:lnTo>
                      <a:pt x="149" y="208"/>
                    </a:lnTo>
                    <a:lnTo>
                      <a:pt x="145" y="208"/>
                    </a:lnTo>
                    <a:lnTo>
                      <a:pt x="145" y="208"/>
                    </a:lnTo>
                    <a:lnTo>
                      <a:pt x="145" y="213"/>
                    </a:lnTo>
                    <a:lnTo>
                      <a:pt x="145" y="213"/>
                    </a:lnTo>
                    <a:lnTo>
                      <a:pt x="140" y="213"/>
                    </a:lnTo>
                    <a:lnTo>
                      <a:pt x="140" y="213"/>
                    </a:lnTo>
                    <a:lnTo>
                      <a:pt x="140" y="213"/>
                    </a:lnTo>
                    <a:lnTo>
                      <a:pt x="136" y="217"/>
                    </a:lnTo>
                    <a:lnTo>
                      <a:pt x="136" y="217"/>
                    </a:lnTo>
                    <a:lnTo>
                      <a:pt x="136" y="217"/>
                    </a:lnTo>
                    <a:lnTo>
                      <a:pt x="131" y="222"/>
                    </a:lnTo>
                    <a:lnTo>
                      <a:pt x="131" y="222"/>
                    </a:lnTo>
                    <a:lnTo>
                      <a:pt x="131" y="222"/>
                    </a:lnTo>
                    <a:lnTo>
                      <a:pt x="127" y="226"/>
                    </a:lnTo>
                    <a:lnTo>
                      <a:pt x="127" y="226"/>
                    </a:lnTo>
                    <a:lnTo>
                      <a:pt x="127" y="222"/>
                    </a:lnTo>
                    <a:lnTo>
                      <a:pt x="127" y="222"/>
                    </a:lnTo>
                    <a:lnTo>
                      <a:pt x="127" y="222"/>
                    </a:lnTo>
                    <a:lnTo>
                      <a:pt x="127" y="217"/>
                    </a:lnTo>
                    <a:lnTo>
                      <a:pt x="127" y="217"/>
                    </a:lnTo>
                    <a:lnTo>
                      <a:pt x="122" y="217"/>
                    </a:lnTo>
                    <a:lnTo>
                      <a:pt x="122" y="217"/>
                    </a:lnTo>
                    <a:lnTo>
                      <a:pt x="122" y="222"/>
                    </a:lnTo>
                    <a:lnTo>
                      <a:pt x="117" y="222"/>
                    </a:lnTo>
                    <a:lnTo>
                      <a:pt x="117" y="222"/>
                    </a:lnTo>
                    <a:lnTo>
                      <a:pt x="117" y="222"/>
                    </a:lnTo>
                    <a:lnTo>
                      <a:pt x="113" y="222"/>
                    </a:lnTo>
                    <a:lnTo>
                      <a:pt x="113" y="222"/>
                    </a:lnTo>
                    <a:lnTo>
                      <a:pt x="113" y="222"/>
                    </a:lnTo>
                    <a:lnTo>
                      <a:pt x="108" y="217"/>
                    </a:lnTo>
                    <a:lnTo>
                      <a:pt x="104" y="213"/>
                    </a:lnTo>
                    <a:lnTo>
                      <a:pt x="104" y="213"/>
                    </a:lnTo>
                    <a:lnTo>
                      <a:pt x="104" y="213"/>
                    </a:lnTo>
                    <a:lnTo>
                      <a:pt x="104" y="208"/>
                    </a:lnTo>
                    <a:lnTo>
                      <a:pt x="104" y="208"/>
                    </a:lnTo>
                    <a:lnTo>
                      <a:pt x="104" y="208"/>
                    </a:lnTo>
                    <a:lnTo>
                      <a:pt x="104" y="204"/>
                    </a:lnTo>
                    <a:lnTo>
                      <a:pt x="99" y="204"/>
                    </a:lnTo>
                    <a:lnTo>
                      <a:pt x="99" y="199"/>
                    </a:lnTo>
                    <a:lnTo>
                      <a:pt x="99" y="199"/>
                    </a:lnTo>
                    <a:lnTo>
                      <a:pt x="99" y="199"/>
                    </a:lnTo>
                    <a:lnTo>
                      <a:pt x="99" y="195"/>
                    </a:lnTo>
                    <a:lnTo>
                      <a:pt x="99" y="195"/>
                    </a:lnTo>
                    <a:lnTo>
                      <a:pt x="99" y="195"/>
                    </a:lnTo>
                    <a:lnTo>
                      <a:pt x="99" y="190"/>
                    </a:lnTo>
                    <a:lnTo>
                      <a:pt x="99" y="190"/>
                    </a:lnTo>
                    <a:lnTo>
                      <a:pt x="99" y="190"/>
                    </a:lnTo>
                    <a:lnTo>
                      <a:pt x="95" y="190"/>
                    </a:lnTo>
                    <a:lnTo>
                      <a:pt x="95" y="186"/>
                    </a:lnTo>
                    <a:lnTo>
                      <a:pt x="95" y="186"/>
                    </a:lnTo>
                    <a:lnTo>
                      <a:pt x="95" y="186"/>
                    </a:lnTo>
                    <a:lnTo>
                      <a:pt x="90" y="186"/>
                    </a:lnTo>
                    <a:lnTo>
                      <a:pt x="90" y="186"/>
                    </a:lnTo>
                    <a:lnTo>
                      <a:pt x="90" y="181"/>
                    </a:lnTo>
                    <a:lnTo>
                      <a:pt x="90" y="181"/>
                    </a:lnTo>
                    <a:lnTo>
                      <a:pt x="90" y="181"/>
                    </a:lnTo>
                    <a:lnTo>
                      <a:pt x="86" y="181"/>
                    </a:lnTo>
                    <a:lnTo>
                      <a:pt x="86" y="181"/>
                    </a:lnTo>
                    <a:lnTo>
                      <a:pt x="86" y="181"/>
                    </a:lnTo>
                    <a:lnTo>
                      <a:pt x="95" y="177"/>
                    </a:lnTo>
                    <a:lnTo>
                      <a:pt x="95" y="172"/>
                    </a:lnTo>
                    <a:lnTo>
                      <a:pt x="95" y="172"/>
                    </a:lnTo>
                    <a:lnTo>
                      <a:pt x="95" y="172"/>
                    </a:lnTo>
                    <a:lnTo>
                      <a:pt x="99" y="172"/>
                    </a:lnTo>
                    <a:lnTo>
                      <a:pt x="95" y="172"/>
                    </a:lnTo>
                    <a:lnTo>
                      <a:pt x="95" y="168"/>
                    </a:lnTo>
                    <a:lnTo>
                      <a:pt x="95" y="163"/>
                    </a:lnTo>
                    <a:lnTo>
                      <a:pt x="90" y="163"/>
                    </a:lnTo>
                    <a:lnTo>
                      <a:pt x="90" y="163"/>
                    </a:lnTo>
                    <a:lnTo>
                      <a:pt x="90" y="159"/>
                    </a:lnTo>
                    <a:lnTo>
                      <a:pt x="90" y="154"/>
                    </a:lnTo>
                    <a:lnTo>
                      <a:pt x="90" y="154"/>
                    </a:lnTo>
                    <a:lnTo>
                      <a:pt x="90" y="154"/>
                    </a:lnTo>
                    <a:lnTo>
                      <a:pt x="90" y="150"/>
                    </a:lnTo>
                    <a:lnTo>
                      <a:pt x="90" y="150"/>
                    </a:lnTo>
                    <a:lnTo>
                      <a:pt x="90" y="145"/>
                    </a:lnTo>
                    <a:lnTo>
                      <a:pt x="90" y="141"/>
                    </a:lnTo>
                    <a:lnTo>
                      <a:pt x="90" y="136"/>
                    </a:lnTo>
                    <a:lnTo>
                      <a:pt x="90" y="136"/>
                    </a:lnTo>
                    <a:lnTo>
                      <a:pt x="90" y="131"/>
                    </a:lnTo>
                    <a:lnTo>
                      <a:pt x="90" y="131"/>
                    </a:lnTo>
                    <a:lnTo>
                      <a:pt x="95" y="131"/>
                    </a:lnTo>
                    <a:lnTo>
                      <a:pt x="95" y="127"/>
                    </a:lnTo>
                    <a:lnTo>
                      <a:pt x="95" y="122"/>
                    </a:lnTo>
                    <a:lnTo>
                      <a:pt x="95" y="122"/>
                    </a:lnTo>
                    <a:lnTo>
                      <a:pt x="99" y="122"/>
                    </a:lnTo>
                    <a:lnTo>
                      <a:pt x="95" y="118"/>
                    </a:lnTo>
                    <a:lnTo>
                      <a:pt x="95" y="118"/>
                    </a:lnTo>
                    <a:lnTo>
                      <a:pt x="95" y="118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90" y="118"/>
                    </a:lnTo>
                    <a:lnTo>
                      <a:pt x="86" y="118"/>
                    </a:lnTo>
                    <a:lnTo>
                      <a:pt x="81" y="118"/>
                    </a:lnTo>
                    <a:lnTo>
                      <a:pt x="77" y="118"/>
                    </a:lnTo>
                    <a:lnTo>
                      <a:pt x="72" y="118"/>
                    </a:lnTo>
                    <a:lnTo>
                      <a:pt x="68" y="118"/>
                    </a:lnTo>
                    <a:lnTo>
                      <a:pt x="68" y="118"/>
                    </a:lnTo>
                    <a:lnTo>
                      <a:pt x="63" y="118"/>
                    </a:lnTo>
                    <a:lnTo>
                      <a:pt x="63" y="118"/>
                    </a:lnTo>
                    <a:lnTo>
                      <a:pt x="63" y="118"/>
                    </a:lnTo>
                    <a:lnTo>
                      <a:pt x="63" y="118"/>
                    </a:lnTo>
                    <a:lnTo>
                      <a:pt x="63" y="118"/>
                    </a:lnTo>
                    <a:lnTo>
                      <a:pt x="59" y="113"/>
                    </a:lnTo>
                    <a:lnTo>
                      <a:pt x="59" y="109"/>
                    </a:lnTo>
                    <a:lnTo>
                      <a:pt x="54" y="109"/>
                    </a:lnTo>
                    <a:lnTo>
                      <a:pt x="54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45" y="100"/>
                    </a:lnTo>
                    <a:lnTo>
                      <a:pt x="45" y="100"/>
                    </a:lnTo>
                    <a:lnTo>
                      <a:pt x="45" y="100"/>
                    </a:lnTo>
                    <a:lnTo>
                      <a:pt x="41" y="100"/>
                    </a:lnTo>
                    <a:lnTo>
                      <a:pt x="41" y="100"/>
                    </a:lnTo>
                    <a:lnTo>
                      <a:pt x="41" y="100"/>
                    </a:lnTo>
                    <a:lnTo>
                      <a:pt x="36" y="100"/>
                    </a:lnTo>
                    <a:lnTo>
                      <a:pt x="36" y="100"/>
                    </a:lnTo>
                    <a:lnTo>
                      <a:pt x="32" y="100"/>
                    </a:lnTo>
                    <a:lnTo>
                      <a:pt x="27" y="100"/>
                    </a:lnTo>
                    <a:lnTo>
                      <a:pt x="27" y="100"/>
                    </a:lnTo>
                    <a:lnTo>
                      <a:pt x="23" y="100"/>
                    </a:lnTo>
                    <a:lnTo>
                      <a:pt x="23" y="100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4" y="91"/>
                    </a:lnTo>
                    <a:lnTo>
                      <a:pt x="14" y="91"/>
                    </a:lnTo>
                    <a:lnTo>
                      <a:pt x="14" y="91"/>
                    </a:lnTo>
                    <a:lnTo>
                      <a:pt x="14" y="91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4" y="73"/>
                    </a:lnTo>
                    <a:lnTo>
                      <a:pt x="14" y="73"/>
                    </a:lnTo>
                    <a:lnTo>
                      <a:pt x="9" y="68"/>
                    </a:lnTo>
                    <a:lnTo>
                      <a:pt x="9" y="64"/>
                    </a:lnTo>
                    <a:lnTo>
                      <a:pt x="9" y="59"/>
                    </a:lnTo>
                    <a:lnTo>
                      <a:pt x="9" y="59"/>
                    </a:lnTo>
                    <a:lnTo>
                      <a:pt x="5" y="59"/>
                    </a:lnTo>
                    <a:lnTo>
                      <a:pt x="5" y="59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0" y="50"/>
                    </a:lnTo>
                    <a:lnTo>
                      <a:pt x="5" y="50"/>
                    </a:lnTo>
                    <a:lnTo>
                      <a:pt x="5" y="50"/>
                    </a:lnTo>
                    <a:lnTo>
                      <a:pt x="5" y="46"/>
                    </a:lnTo>
                    <a:lnTo>
                      <a:pt x="9" y="41"/>
                    </a:lnTo>
                    <a:lnTo>
                      <a:pt x="9" y="37"/>
                    </a:lnTo>
                    <a:lnTo>
                      <a:pt x="9" y="32"/>
                    </a:lnTo>
                    <a:lnTo>
                      <a:pt x="14" y="27"/>
                    </a:lnTo>
                    <a:lnTo>
                      <a:pt x="14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8" y="18"/>
                    </a:lnTo>
                    <a:lnTo>
                      <a:pt x="23" y="18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2" y="9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7" y="18"/>
                    </a:lnTo>
                    <a:lnTo>
                      <a:pt x="32" y="18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32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7" y="41"/>
                    </a:lnTo>
                    <a:lnTo>
                      <a:pt x="23" y="46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7" y="55"/>
                    </a:lnTo>
                    <a:lnTo>
                      <a:pt x="27" y="55"/>
                    </a:lnTo>
                    <a:lnTo>
                      <a:pt x="27" y="55"/>
                    </a:lnTo>
                    <a:lnTo>
                      <a:pt x="27" y="55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32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41" y="55"/>
                    </a:lnTo>
                    <a:lnTo>
                      <a:pt x="41" y="50"/>
                    </a:lnTo>
                    <a:lnTo>
                      <a:pt x="41" y="46"/>
                    </a:lnTo>
                    <a:lnTo>
                      <a:pt x="41" y="46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37"/>
                    </a:lnTo>
                    <a:lnTo>
                      <a:pt x="36" y="32"/>
                    </a:lnTo>
                    <a:lnTo>
                      <a:pt x="32" y="32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6" y="27"/>
                    </a:lnTo>
                    <a:lnTo>
                      <a:pt x="36" y="23"/>
                    </a:lnTo>
                    <a:lnTo>
                      <a:pt x="41" y="23"/>
                    </a:lnTo>
                    <a:lnTo>
                      <a:pt x="45" y="18"/>
                    </a:lnTo>
                    <a:lnTo>
                      <a:pt x="50" y="18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63" y="14"/>
                    </a:lnTo>
                    <a:lnTo>
                      <a:pt x="63" y="14"/>
                    </a:lnTo>
                    <a:lnTo>
                      <a:pt x="68" y="14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5"/>
                    </a:lnTo>
                    <a:lnTo>
                      <a:pt x="59" y="5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8" y="5"/>
                    </a:lnTo>
                    <a:lnTo>
                      <a:pt x="68" y="5"/>
                    </a:lnTo>
                    <a:lnTo>
                      <a:pt x="68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53" name="Freeform 174"/>
              <p:cNvSpPr>
                <a:spLocks/>
              </p:cNvSpPr>
              <p:nvPr/>
            </p:nvSpPr>
            <p:spPr bwMode="auto">
              <a:xfrm>
                <a:off x="7016751" y="2212976"/>
                <a:ext cx="258763" cy="466725"/>
              </a:xfrm>
              <a:custGeom>
                <a:avLst/>
                <a:gdLst>
                  <a:gd name="T0" fmla="*/ 63 w 163"/>
                  <a:gd name="T1" fmla="*/ 5 h 294"/>
                  <a:gd name="T2" fmla="*/ 73 w 163"/>
                  <a:gd name="T3" fmla="*/ 14 h 294"/>
                  <a:gd name="T4" fmla="*/ 77 w 163"/>
                  <a:gd name="T5" fmla="*/ 23 h 294"/>
                  <a:gd name="T6" fmla="*/ 82 w 163"/>
                  <a:gd name="T7" fmla="*/ 27 h 294"/>
                  <a:gd name="T8" fmla="*/ 95 w 163"/>
                  <a:gd name="T9" fmla="*/ 32 h 294"/>
                  <a:gd name="T10" fmla="*/ 95 w 163"/>
                  <a:gd name="T11" fmla="*/ 41 h 294"/>
                  <a:gd name="T12" fmla="*/ 86 w 163"/>
                  <a:gd name="T13" fmla="*/ 46 h 294"/>
                  <a:gd name="T14" fmla="*/ 82 w 163"/>
                  <a:gd name="T15" fmla="*/ 55 h 294"/>
                  <a:gd name="T16" fmla="*/ 73 w 163"/>
                  <a:gd name="T17" fmla="*/ 77 h 294"/>
                  <a:gd name="T18" fmla="*/ 82 w 163"/>
                  <a:gd name="T19" fmla="*/ 95 h 294"/>
                  <a:gd name="T20" fmla="*/ 91 w 163"/>
                  <a:gd name="T21" fmla="*/ 109 h 294"/>
                  <a:gd name="T22" fmla="*/ 118 w 163"/>
                  <a:gd name="T23" fmla="*/ 131 h 294"/>
                  <a:gd name="T24" fmla="*/ 127 w 163"/>
                  <a:gd name="T25" fmla="*/ 140 h 294"/>
                  <a:gd name="T26" fmla="*/ 140 w 163"/>
                  <a:gd name="T27" fmla="*/ 154 h 294"/>
                  <a:gd name="T28" fmla="*/ 154 w 163"/>
                  <a:gd name="T29" fmla="*/ 177 h 294"/>
                  <a:gd name="T30" fmla="*/ 158 w 163"/>
                  <a:gd name="T31" fmla="*/ 199 h 294"/>
                  <a:gd name="T32" fmla="*/ 158 w 163"/>
                  <a:gd name="T33" fmla="*/ 208 h 294"/>
                  <a:gd name="T34" fmla="*/ 158 w 163"/>
                  <a:gd name="T35" fmla="*/ 222 h 294"/>
                  <a:gd name="T36" fmla="*/ 158 w 163"/>
                  <a:gd name="T37" fmla="*/ 235 h 294"/>
                  <a:gd name="T38" fmla="*/ 145 w 163"/>
                  <a:gd name="T39" fmla="*/ 249 h 294"/>
                  <a:gd name="T40" fmla="*/ 127 w 163"/>
                  <a:gd name="T41" fmla="*/ 253 h 294"/>
                  <a:gd name="T42" fmla="*/ 118 w 163"/>
                  <a:gd name="T43" fmla="*/ 253 h 294"/>
                  <a:gd name="T44" fmla="*/ 118 w 163"/>
                  <a:gd name="T45" fmla="*/ 258 h 294"/>
                  <a:gd name="T46" fmla="*/ 122 w 163"/>
                  <a:gd name="T47" fmla="*/ 267 h 294"/>
                  <a:gd name="T48" fmla="*/ 118 w 163"/>
                  <a:gd name="T49" fmla="*/ 272 h 294"/>
                  <a:gd name="T50" fmla="*/ 113 w 163"/>
                  <a:gd name="T51" fmla="*/ 276 h 294"/>
                  <a:gd name="T52" fmla="*/ 91 w 163"/>
                  <a:gd name="T53" fmla="*/ 290 h 294"/>
                  <a:gd name="T54" fmla="*/ 91 w 163"/>
                  <a:gd name="T55" fmla="*/ 263 h 294"/>
                  <a:gd name="T56" fmla="*/ 82 w 163"/>
                  <a:gd name="T57" fmla="*/ 258 h 294"/>
                  <a:gd name="T58" fmla="*/ 91 w 163"/>
                  <a:gd name="T59" fmla="*/ 249 h 294"/>
                  <a:gd name="T60" fmla="*/ 100 w 163"/>
                  <a:gd name="T61" fmla="*/ 244 h 294"/>
                  <a:gd name="T62" fmla="*/ 109 w 163"/>
                  <a:gd name="T63" fmla="*/ 249 h 294"/>
                  <a:gd name="T64" fmla="*/ 104 w 163"/>
                  <a:gd name="T65" fmla="*/ 235 h 294"/>
                  <a:gd name="T66" fmla="*/ 109 w 163"/>
                  <a:gd name="T67" fmla="*/ 231 h 294"/>
                  <a:gd name="T68" fmla="*/ 118 w 163"/>
                  <a:gd name="T69" fmla="*/ 226 h 294"/>
                  <a:gd name="T70" fmla="*/ 131 w 163"/>
                  <a:gd name="T71" fmla="*/ 217 h 294"/>
                  <a:gd name="T72" fmla="*/ 127 w 163"/>
                  <a:gd name="T73" fmla="*/ 195 h 294"/>
                  <a:gd name="T74" fmla="*/ 122 w 163"/>
                  <a:gd name="T75" fmla="*/ 177 h 294"/>
                  <a:gd name="T76" fmla="*/ 122 w 163"/>
                  <a:gd name="T77" fmla="*/ 163 h 294"/>
                  <a:gd name="T78" fmla="*/ 113 w 163"/>
                  <a:gd name="T79" fmla="*/ 149 h 294"/>
                  <a:gd name="T80" fmla="*/ 113 w 163"/>
                  <a:gd name="T81" fmla="*/ 145 h 294"/>
                  <a:gd name="T82" fmla="*/ 104 w 163"/>
                  <a:gd name="T83" fmla="*/ 136 h 294"/>
                  <a:gd name="T84" fmla="*/ 95 w 163"/>
                  <a:gd name="T85" fmla="*/ 127 h 294"/>
                  <a:gd name="T86" fmla="*/ 82 w 163"/>
                  <a:gd name="T87" fmla="*/ 109 h 294"/>
                  <a:gd name="T88" fmla="*/ 68 w 163"/>
                  <a:gd name="T89" fmla="*/ 100 h 294"/>
                  <a:gd name="T90" fmla="*/ 59 w 163"/>
                  <a:gd name="T91" fmla="*/ 91 h 294"/>
                  <a:gd name="T92" fmla="*/ 45 w 163"/>
                  <a:gd name="T93" fmla="*/ 77 h 294"/>
                  <a:gd name="T94" fmla="*/ 54 w 163"/>
                  <a:gd name="T95" fmla="*/ 73 h 294"/>
                  <a:gd name="T96" fmla="*/ 54 w 163"/>
                  <a:gd name="T97" fmla="*/ 64 h 294"/>
                  <a:gd name="T98" fmla="*/ 45 w 163"/>
                  <a:gd name="T99" fmla="*/ 59 h 294"/>
                  <a:gd name="T100" fmla="*/ 41 w 163"/>
                  <a:gd name="T101" fmla="*/ 50 h 294"/>
                  <a:gd name="T102" fmla="*/ 23 w 163"/>
                  <a:gd name="T103" fmla="*/ 50 h 294"/>
                  <a:gd name="T104" fmla="*/ 14 w 163"/>
                  <a:gd name="T105" fmla="*/ 32 h 294"/>
                  <a:gd name="T106" fmla="*/ 9 w 163"/>
                  <a:gd name="T107" fmla="*/ 32 h 294"/>
                  <a:gd name="T108" fmla="*/ 0 w 163"/>
                  <a:gd name="T109" fmla="*/ 18 h 294"/>
                  <a:gd name="T110" fmla="*/ 5 w 163"/>
                  <a:gd name="T111" fmla="*/ 14 h 294"/>
                  <a:gd name="T112" fmla="*/ 14 w 163"/>
                  <a:gd name="T113" fmla="*/ 14 h 294"/>
                  <a:gd name="T114" fmla="*/ 23 w 163"/>
                  <a:gd name="T115" fmla="*/ 14 h 294"/>
                  <a:gd name="T116" fmla="*/ 32 w 163"/>
                  <a:gd name="T117" fmla="*/ 9 h 294"/>
                  <a:gd name="T118" fmla="*/ 41 w 163"/>
                  <a:gd name="T119" fmla="*/ 9 h 294"/>
                  <a:gd name="T120" fmla="*/ 45 w 163"/>
                  <a:gd name="T121" fmla="*/ 0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63" h="294">
                    <a:moveTo>
                      <a:pt x="59" y="5"/>
                    </a:moveTo>
                    <a:lnTo>
                      <a:pt x="59" y="5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5"/>
                    </a:lnTo>
                    <a:lnTo>
                      <a:pt x="59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9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73" y="9"/>
                    </a:lnTo>
                    <a:lnTo>
                      <a:pt x="73" y="9"/>
                    </a:lnTo>
                    <a:lnTo>
                      <a:pt x="73" y="9"/>
                    </a:lnTo>
                    <a:lnTo>
                      <a:pt x="73" y="14"/>
                    </a:lnTo>
                    <a:lnTo>
                      <a:pt x="73" y="14"/>
                    </a:lnTo>
                    <a:lnTo>
                      <a:pt x="73" y="14"/>
                    </a:lnTo>
                    <a:lnTo>
                      <a:pt x="73" y="14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7" y="18"/>
                    </a:lnTo>
                    <a:lnTo>
                      <a:pt x="77" y="18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77" y="27"/>
                    </a:lnTo>
                    <a:lnTo>
                      <a:pt x="77" y="27"/>
                    </a:lnTo>
                    <a:lnTo>
                      <a:pt x="77" y="23"/>
                    </a:lnTo>
                    <a:lnTo>
                      <a:pt x="77" y="27"/>
                    </a:lnTo>
                    <a:lnTo>
                      <a:pt x="82" y="27"/>
                    </a:lnTo>
                    <a:lnTo>
                      <a:pt x="82" y="27"/>
                    </a:lnTo>
                    <a:lnTo>
                      <a:pt x="82" y="27"/>
                    </a:lnTo>
                    <a:lnTo>
                      <a:pt x="82" y="27"/>
                    </a:lnTo>
                    <a:lnTo>
                      <a:pt x="82" y="27"/>
                    </a:lnTo>
                    <a:lnTo>
                      <a:pt x="86" y="27"/>
                    </a:lnTo>
                    <a:lnTo>
                      <a:pt x="86" y="32"/>
                    </a:lnTo>
                    <a:lnTo>
                      <a:pt x="91" y="32"/>
                    </a:lnTo>
                    <a:lnTo>
                      <a:pt x="91" y="32"/>
                    </a:lnTo>
                    <a:lnTo>
                      <a:pt x="91" y="32"/>
                    </a:lnTo>
                    <a:lnTo>
                      <a:pt x="91" y="32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5" y="36"/>
                    </a:lnTo>
                    <a:lnTo>
                      <a:pt x="95" y="41"/>
                    </a:lnTo>
                    <a:lnTo>
                      <a:pt x="91" y="41"/>
                    </a:lnTo>
                    <a:lnTo>
                      <a:pt x="95" y="41"/>
                    </a:lnTo>
                    <a:lnTo>
                      <a:pt x="95" y="46"/>
                    </a:lnTo>
                    <a:lnTo>
                      <a:pt x="91" y="46"/>
                    </a:lnTo>
                    <a:lnTo>
                      <a:pt x="91" y="46"/>
                    </a:lnTo>
                    <a:lnTo>
                      <a:pt x="91" y="46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2" y="46"/>
                    </a:lnTo>
                    <a:lnTo>
                      <a:pt x="82" y="46"/>
                    </a:lnTo>
                    <a:lnTo>
                      <a:pt x="82" y="46"/>
                    </a:lnTo>
                    <a:lnTo>
                      <a:pt x="82" y="46"/>
                    </a:lnTo>
                    <a:lnTo>
                      <a:pt x="86" y="50"/>
                    </a:lnTo>
                    <a:lnTo>
                      <a:pt x="86" y="50"/>
                    </a:lnTo>
                    <a:lnTo>
                      <a:pt x="82" y="55"/>
                    </a:lnTo>
                    <a:lnTo>
                      <a:pt x="82" y="59"/>
                    </a:lnTo>
                    <a:lnTo>
                      <a:pt x="82" y="59"/>
                    </a:lnTo>
                    <a:lnTo>
                      <a:pt x="82" y="59"/>
                    </a:lnTo>
                    <a:lnTo>
                      <a:pt x="77" y="64"/>
                    </a:lnTo>
                    <a:lnTo>
                      <a:pt x="77" y="64"/>
                    </a:lnTo>
                    <a:lnTo>
                      <a:pt x="77" y="68"/>
                    </a:lnTo>
                    <a:lnTo>
                      <a:pt x="73" y="73"/>
                    </a:lnTo>
                    <a:lnTo>
                      <a:pt x="73" y="77"/>
                    </a:lnTo>
                    <a:lnTo>
                      <a:pt x="73" y="77"/>
                    </a:lnTo>
                    <a:lnTo>
                      <a:pt x="77" y="77"/>
                    </a:lnTo>
                    <a:lnTo>
                      <a:pt x="73" y="82"/>
                    </a:lnTo>
                    <a:lnTo>
                      <a:pt x="73" y="86"/>
                    </a:lnTo>
                    <a:lnTo>
                      <a:pt x="73" y="86"/>
                    </a:lnTo>
                    <a:lnTo>
                      <a:pt x="77" y="91"/>
                    </a:lnTo>
                    <a:lnTo>
                      <a:pt x="77" y="91"/>
                    </a:lnTo>
                    <a:lnTo>
                      <a:pt x="77" y="91"/>
                    </a:lnTo>
                    <a:lnTo>
                      <a:pt x="77" y="95"/>
                    </a:lnTo>
                    <a:lnTo>
                      <a:pt x="82" y="95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91" y="104"/>
                    </a:lnTo>
                    <a:lnTo>
                      <a:pt x="95" y="104"/>
                    </a:lnTo>
                    <a:lnTo>
                      <a:pt x="91" y="109"/>
                    </a:lnTo>
                    <a:lnTo>
                      <a:pt x="95" y="109"/>
                    </a:lnTo>
                    <a:lnTo>
                      <a:pt x="91" y="109"/>
                    </a:lnTo>
                    <a:lnTo>
                      <a:pt x="91" y="109"/>
                    </a:lnTo>
                    <a:lnTo>
                      <a:pt x="95" y="113"/>
                    </a:lnTo>
                    <a:lnTo>
                      <a:pt x="100" y="118"/>
                    </a:lnTo>
                    <a:lnTo>
                      <a:pt x="104" y="118"/>
                    </a:lnTo>
                    <a:lnTo>
                      <a:pt x="109" y="122"/>
                    </a:lnTo>
                    <a:lnTo>
                      <a:pt x="109" y="127"/>
                    </a:lnTo>
                    <a:lnTo>
                      <a:pt x="113" y="127"/>
                    </a:lnTo>
                    <a:lnTo>
                      <a:pt x="118" y="131"/>
                    </a:lnTo>
                    <a:lnTo>
                      <a:pt x="118" y="131"/>
                    </a:lnTo>
                    <a:lnTo>
                      <a:pt x="118" y="131"/>
                    </a:lnTo>
                    <a:lnTo>
                      <a:pt x="118" y="136"/>
                    </a:lnTo>
                    <a:lnTo>
                      <a:pt x="122" y="136"/>
                    </a:lnTo>
                    <a:lnTo>
                      <a:pt x="122" y="136"/>
                    </a:lnTo>
                    <a:lnTo>
                      <a:pt x="122" y="136"/>
                    </a:lnTo>
                    <a:lnTo>
                      <a:pt x="122" y="136"/>
                    </a:lnTo>
                    <a:lnTo>
                      <a:pt x="127" y="136"/>
                    </a:lnTo>
                    <a:lnTo>
                      <a:pt x="127" y="136"/>
                    </a:lnTo>
                    <a:lnTo>
                      <a:pt x="127" y="140"/>
                    </a:lnTo>
                    <a:lnTo>
                      <a:pt x="127" y="140"/>
                    </a:lnTo>
                    <a:lnTo>
                      <a:pt x="131" y="140"/>
                    </a:lnTo>
                    <a:lnTo>
                      <a:pt x="131" y="140"/>
                    </a:lnTo>
                    <a:lnTo>
                      <a:pt x="131" y="140"/>
                    </a:lnTo>
                    <a:lnTo>
                      <a:pt x="131" y="145"/>
                    </a:lnTo>
                    <a:lnTo>
                      <a:pt x="131" y="145"/>
                    </a:lnTo>
                    <a:lnTo>
                      <a:pt x="136" y="145"/>
                    </a:lnTo>
                    <a:lnTo>
                      <a:pt x="136" y="149"/>
                    </a:lnTo>
                    <a:lnTo>
                      <a:pt x="136" y="154"/>
                    </a:lnTo>
                    <a:lnTo>
                      <a:pt x="140" y="154"/>
                    </a:lnTo>
                    <a:lnTo>
                      <a:pt x="140" y="154"/>
                    </a:lnTo>
                    <a:lnTo>
                      <a:pt x="145" y="154"/>
                    </a:lnTo>
                    <a:lnTo>
                      <a:pt x="145" y="159"/>
                    </a:lnTo>
                    <a:lnTo>
                      <a:pt x="145" y="163"/>
                    </a:lnTo>
                    <a:lnTo>
                      <a:pt x="149" y="168"/>
                    </a:lnTo>
                    <a:lnTo>
                      <a:pt x="149" y="168"/>
                    </a:lnTo>
                    <a:lnTo>
                      <a:pt x="149" y="172"/>
                    </a:lnTo>
                    <a:lnTo>
                      <a:pt x="154" y="177"/>
                    </a:lnTo>
                    <a:lnTo>
                      <a:pt x="154" y="177"/>
                    </a:lnTo>
                    <a:lnTo>
                      <a:pt x="154" y="181"/>
                    </a:lnTo>
                    <a:lnTo>
                      <a:pt x="154" y="181"/>
                    </a:lnTo>
                    <a:lnTo>
                      <a:pt x="154" y="181"/>
                    </a:lnTo>
                    <a:lnTo>
                      <a:pt x="158" y="186"/>
                    </a:lnTo>
                    <a:lnTo>
                      <a:pt x="158" y="190"/>
                    </a:lnTo>
                    <a:lnTo>
                      <a:pt x="154" y="186"/>
                    </a:lnTo>
                    <a:lnTo>
                      <a:pt x="158" y="190"/>
                    </a:lnTo>
                    <a:lnTo>
                      <a:pt x="158" y="195"/>
                    </a:lnTo>
                    <a:lnTo>
                      <a:pt x="158" y="199"/>
                    </a:lnTo>
                    <a:lnTo>
                      <a:pt x="158" y="199"/>
                    </a:lnTo>
                    <a:lnTo>
                      <a:pt x="158" y="204"/>
                    </a:lnTo>
                    <a:lnTo>
                      <a:pt x="163" y="204"/>
                    </a:lnTo>
                    <a:lnTo>
                      <a:pt x="163" y="208"/>
                    </a:lnTo>
                    <a:lnTo>
                      <a:pt x="163" y="213"/>
                    </a:lnTo>
                    <a:lnTo>
                      <a:pt x="163" y="208"/>
                    </a:lnTo>
                    <a:lnTo>
                      <a:pt x="158" y="208"/>
                    </a:lnTo>
                    <a:lnTo>
                      <a:pt x="158" y="208"/>
                    </a:lnTo>
                    <a:lnTo>
                      <a:pt x="158" y="208"/>
                    </a:lnTo>
                    <a:lnTo>
                      <a:pt x="163" y="217"/>
                    </a:lnTo>
                    <a:lnTo>
                      <a:pt x="158" y="213"/>
                    </a:lnTo>
                    <a:lnTo>
                      <a:pt x="158" y="222"/>
                    </a:lnTo>
                    <a:lnTo>
                      <a:pt x="163" y="222"/>
                    </a:lnTo>
                    <a:lnTo>
                      <a:pt x="163" y="226"/>
                    </a:lnTo>
                    <a:lnTo>
                      <a:pt x="163" y="226"/>
                    </a:lnTo>
                    <a:lnTo>
                      <a:pt x="163" y="226"/>
                    </a:lnTo>
                    <a:lnTo>
                      <a:pt x="158" y="222"/>
                    </a:lnTo>
                    <a:lnTo>
                      <a:pt x="158" y="222"/>
                    </a:lnTo>
                    <a:lnTo>
                      <a:pt x="158" y="222"/>
                    </a:lnTo>
                    <a:lnTo>
                      <a:pt x="158" y="226"/>
                    </a:lnTo>
                    <a:lnTo>
                      <a:pt x="158" y="226"/>
                    </a:lnTo>
                    <a:lnTo>
                      <a:pt x="163" y="226"/>
                    </a:lnTo>
                    <a:lnTo>
                      <a:pt x="163" y="231"/>
                    </a:lnTo>
                    <a:lnTo>
                      <a:pt x="163" y="231"/>
                    </a:lnTo>
                    <a:lnTo>
                      <a:pt x="158" y="231"/>
                    </a:lnTo>
                    <a:lnTo>
                      <a:pt x="158" y="231"/>
                    </a:lnTo>
                    <a:lnTo>
                      <a:pt x="158" y="235"/>
                    </a:lnTo>
                    <a:lnTo>
                      <a:pt x="158" y="235"/>
                    </a:lnTo>
                    <a:lnTo>
                      <a:pt x="154" y="235"/>
                    </a:lnTo>
                    <a:lnTo>
                      <a:pt x="154" y="240"/>
                    </a:lnTo>
                    <a:lnTo>
                      <a:pt x="149" y="240"/>
                    </a:lnTo>
                    <a:lnTo>
                      <a:pt x="149" y="244"/>
                    </a:lnTo>
                    <a:lnTo>
                      <a:pt x="149" y="244"/>
                    </a:lnTo>
                    <a:lnTo>
                      <a:pt x="145" y="244"/>
                    </a:lnTo>
                    <a:lnTo>
                      <a:pt x="145" y="244"/>
                    </a:lnTo>
                    <a:lnTo>
                      <a:pt x="145" y="249"/>
                    </a:lnTo>
                    <a:lnTo>
                      <a:pt x="140" y="249"/>
                    </a:lnTo>
                    <a:lnTo>
                      <a:pt x="136" y="253"/>
                    </a:lnTo>
                    <a:lnTo>
                      <a:pt x="136" y="253"/>
                    </a:lnTo>
                    <a:lnTo>
                      <a:pt x="131" y="253"/>
                    </a:lnTo>
                    <a:lnTo>
                      <a:pt x="131" y="258"/>
                    </a:lnTo>
                    <a:lnTo>
                      <a:pt x="131" y="253"/>
                    </a:lnTo>
                    <a:lnTo>
                      <a:pt x="131" y="253"/>
                    </a:lnTo>
                    <a:lnTo>
                      <a:pt x="127" y="253"/>
                    </a:lnTo>
                    <a:lnTo>
                      <a:pt x="127" y="253"/>
                    </a:lnTo>
                    <a:lnTo>
                      <a:pt x="127" y="253"/>
                    </a:lnTo>
                    <a:lnTo>
                      <a:pt x="127" y="249"/>
                    </a:lnTo>
                    <a:lnTo>
                      <a:pt x="127" y="253"/>
                    </a:lnTo>
                    <a:lnTo>
                      <a:pt x="127" y="253"/>
                    </a:lnTo>
                    <a:lnTo>
                      <a:pt x="127" y="258"/>
                    </a:lnTo>
                    <a:lnTo>
                      <a:pt x="127" y="258"/>
                    </a:lnTo>
                    <a:lnTo>
                      <a:pt x="122" y="253"/>
                    </a:lnTo>
                    <a:lnTo>
                      <a:pt x="122" y="253"/>
                    </a:lnTo>
                    <a:lnTo>
                      <a:pt x="118" y="253"/>
                    </a:lnTo>
                    <a:lnTo>
                      <a:pt x="122" y="253"/>
                    </a:lnTo>
                    <a:lnTo>
                      <a:pt x="122" y="253"/>
                    </a:lnTo>
                    <a:lnTo>
                      <a:pt x="122" y="253"/>
                    </a:lnTo>
                    <a:lnTo>
                      <a:pt x="122" y="258"/>
                    </a:lnTo>
                    <a:lnTo>
                      <a:pt x="122" y="258"/>
                    </a:lnTo>
                    <a:lnTo>
                      <a:pt x="122" y="258"/>
                    </a:lnTo>
                    <a:lnTo>
                      <a:pt x="122" y="258"/>
                    </a:lnTo>
                    <a:lnTo>
                      <a:pt x="118" y="258"/>
                    </a:lnTo>
                    <a:lnTo>
                      <a:pt x="118" y="258"/>
                    </a:lnTo>
                    <a:lnTo>
                      <a:pt x="122" y="258"/>
                    </a:lnTo>
                    <a:lnTo>
                      <a:pt x="122" y="258"/>
                    </a:lnTo>
                    <a:lnTo>
                      <a:pt x="122" y="263"/>
                    </a:lnTo>
                    <a:lnTo>
                      <a:pt x="122" y="263"/>
                    </a:lnTo>
                    <a:lnTo>
                      <a:pt x="122" y="263"/>
                    </a:lnTo>
                    <a:lnTo>
                      <a:pt x="122" y="263"/>
                    </a:lnTo>
                    <a:lnTo>
                      <a:pt x="122" y="267"/>
                    </a:lnTo>
                    <a:lnTo>
                      <a:pt x="122" y="267"/>
                    </a:lnTo>
                    <a:lnTo>
                      <a:pt x="122" y="267"/>
                    </a:lnTo>
                    <a:lnTo>
                      <a:pt x="122" y="267"/>
                    </a:lnTo>
                    <a:lnTo>
                      <a:pt x="118" y="267"/>
                    </a:lnTo>
                    <a:lnTo>
                      <a:pt x="113" y="258"/>
                    </a:lnTo>
                    <a:lnTo>
                      <a:pt x="113" y="263"/>
                    </a:lnTo>
                    <a:lnTo>
                      <a:pt x="118" y="267"/>
                    </a:lnTo>
                    <a:lnTo>
                      <a:pt x="122" y="272"/>
                    </a:lnTo>
                    <a:lnTo>
                      <a:pt x="122" y="272"/>
                    </a:lnTo>
                    <a:lnTo>
                      <a:pt x="122" y="272"/>
                    </a:lnTo>
                    <a:lnTo>
                      <a:pt x="118" y="272"/>
                    </a:lnTo>
                    <a:lnTo>
                      <a:pt x="118" y="272"/>
                    </a:lnTo>
                    <a:lnTo>
                      <a:pt x="113" y="272"/>
                    </a:lnTo>
                    <a:lnTo>
                      <a:pt x="109" y="267"/>
                    </a:lnTo>
                    <a:lnTo>
                      <a:pt x="109" y="263"/>
                    </a:lnTo>
                    <a:lnTo>
                      <a:pt x="113" y="272"/>
                    </a:lnTo>
                    <a:lnTo>
                      <a:pt x="113" y="272"/>
                    </a:lnTo>
                    <a:lnTo>
                      <a:pt x="113" y="276"/>
                    </a:lnTo>
                    <a:lnTo>
                      <a:pt x="113" y="276"/>
                    </a:lnTo>
                    <a:lnTo>
                      <a:pt x="113" y="276"/>
                    </a:lnTo>
                    <a:lnTo>
                      <a:pt x="104" y="281"/>
                    </a:lnTo>
                    <a:lnTo>
                      <a:pt x="104" y="285"/>
                    </a:lnTo>
                    <a:lnTo>
                      <a:pt x="100" y="290"/>
                    </a:lnTo>
                    <a:lnTo>
                      <a:pt x="100" y="290"/>
                    </a:lnTo>
                    <a:lnTo>
                      <a:pt x="100" y="290"/>
                    </a:lnTo>
                    <a:lnTo>
                      <a:pt x="95" y="294"/>
                    </a:lnTo>
                    <a:lnTo>
                      <a:pt x="91" y="294"/>
                    </a:lnTo>
                    <a:lnTo>
                      <a:pt x="95" y="290"/>
                    </a:lnTo>
                    <a:lnTo>
                      <a:pt x="91" y="290"/>
                    </a:lnTo>
                    <a:lnTo>
                      <a:pt x="91" y="281"/>
                    </a:lnTo>
                    <a:lnTo>
                      <a:pt x="91" y="272"/>
                    </a:lnTo>
                    <a:lnTo>
                      <a:pt x="91" y="267"/>
                    </a:lnTo>
                    <a:lnTo>
                      <a:pt x="91" y="267"/>
                    </a:lnTo>
                    <a:lnTo>
                      <a:pt x="95" y="267"/>
                    </a:lnTo>
                    <a:lnTo>
                      <a:pt x="95" y="267"/>
                    </a:lnTo>
                    <a:lnTo>
                      <a:pt x="95" y="263"/>
                    </a:lnTo>
                    <a:lnTo>
                      <a:pt x="95" y="263"/>
                    </a:lnTo>
                    <a:lnTo>
                      <a:pt x="91" y="263"/>
                    </a:lnTo>
                    <a:lnTo>
                      <a:pt x="91" y="263"/>
                    </a:lnTo>
                    <a:lnTo>
                      <a:pt x="91" y="263"/>
                    </a:lnTo>
                    <a:lnTo>
                      <a:pt x="86" y="263"/>
                    </a:lnTo>
                    <a:lnTo>
                      <a:pt x="86" y="263"/>
                    </a:lnTo>
                    <a:lnTo>
                      <a:pt x="86" y="263"/>
                    </a:lnTo>
                    <a:lnTo>
                      <a:pt x="86" y="258"/>
                    </a:lnTo>
                    <a:lnTo>
                      <a:pt x="82" y="258"/>
                    </a:lnTo>
                    <a:lnTo>
                      <a:pt x="82" y="258"/>
                    </a:lnTo>
                    <a:lnTo>
                      <a:pt x="82" y="258"/>
                    </a:lnTo>
                    <a:lnTo>
                      <a:pt x="82" y="253"/>
                    </a:lnTo>
                    <a:lnTo>
                      <a:pt x="86" y="253"/>
                    </a:lnTo>
                    <a:lnTo>
                      <a:pt x="86" y="253"/>
                    </a:lnTo>
                    <a:lnTo>
                      <a:pt x="86" y="253"/>
                    </a:lnTo>
                    <a:lnTo>
                      <a:pt x="91" y="253"/>
                    </a:lnTo>
                    <a:lnTo>
                      <a:pt x="91" y="253"/>
                    </a:lnTo>
                    <a:lnTo>
                      <a:pt x="91" y="253"/>
                    </a:lnTo>
                    <a:lnTo>
                      <a:pt x="91" y="249"/>
                    </a:lnTo>
                    <a:lnTo>
                      <a:pt x="91" y="249"/>
                    </a:lnTo>
                    <a:lnTo>
                      <a:pt x="91" y="249"/>
                    </a:lnTo>
                    <a:lnTo>
                      <a:pt x="91" y="249"/>
                    </a:lnTo>
                    <a:lnTo>
                      <a:pt x="91" y="244"/>
                    </a:lnTo>
                    <a:lnTo>
                      <a:pt x="95" y="244"/>
                    </a:lnTo>
                    <a:lnTo>
                      <a:pt x="95" y="249"/>
                    </a:lnTo>
                    <a:lnTo>
                      <a:pt x="95" y="249"/>
                    </a:lnTo>
                    <a:lnTo>
                      <a:pt x="95" y="244"/>
                    </a:lnTo>
                    <a:lnTo>
                      <a:pt x="100" y="244"/>
                    </a:lnTo>
                    <a:lnTo>
                      <a:pt x="100" y="244"/>
                    </a:lnTo>
                    <a:lnTo>
                      <a:pt x="100" y="244"/>
                    </a:lnTo>
                    <a:lnTo>
                      <a:pt x="104" y="244"/>
                    </a:lnTo>
                    <a:lnTo>
                      <a:pt x="104" y="244"/>
                    </a:lnTo>
                    <a:lnTo>
                      <a:pt x="104" y="244"/>
                    </a:lnTo>
                    <a:lnTo>
                      <a:pt x="104" y="249"/>
                    </a:lnTo>
                    <a:lnTo>
                      <a:pt x="104" y="249"/>
                    </a:lnTo>
                    <a:lnTo>
                      <a:pt x="109" y="244"/>
                    </a:lnTo>
                    <a:lnTo>
                      <a:pt x="109" y="249"/>
                    </a:lnTo>
                    <a:lnTo>
                      <a:pt x="109" y="249"/>
                    </a:lnTo>
                    <a:lnTo>
                      <a:pt x="113" y="249"/>
                    </a:lnTo>
                    <a:lnTo>
                      <a:pt x="109" y="244"/>
                    </a:lnTo>
                    <a:lnTo>
                      <a:pt x="109" y="244"/>
                    </a:lnTo>
                    <a:lnTo>
                      <a:pt x="109" y="244"/>
                    </a:lnTo>
                    <a:lnTo>
                      <a:pt x="109" y="244"/>
                    </a:lnTo>
                    <a:lnTo>
                      <a:pt x="104" y="240"/>
                    </a:lnTo>
                    <a:lnTo>
                      <a:pt x="104" y="240"/>
                    </a:lnTo>
                    <a:lnTo>
                      <a:pt x="104" y="235"/>
                    </a:lnTo>
                    <a:lnTo>
                      <a:pt x="104" y="235"/>
                    </a:lnTo>
                    <a:lnTo>
                      <a:pt x="104" y="235"/>
                    </a:lnTo>
                    <a:lnTo>
                      <a:pt x="104" y="231"/>
                    </a:lnTo>
                    <a:lnTo>
                      <a:pt x="104" y="231"/>
                    </a:lnTo>
                    <a:lnTo>
                      <a:pt x="104" y="231"/>
                    </a:lnTo>
                    <a:lnTo>
                      <a:pt x="104" y="231"/>
                    </a:lnTo>
                    <a:lnTo>
                      <a:pt x="104" y="231"/>
                    </a:lnTo>
                    <a:lnTo>
                      <a:pt x="104" y="231"/>
                    </a:lnTo>
                    <a:lnTo>
                      <a:pt x="109" y="231"/>
                    </a:lnTo>
                    <a:lnTo>
                      <a:pt x="109" y="231"/>
                    </a:lnTo>
                    <a:lnTo>
                      <a:pt x="113" y="231"/>
                    </a:lnTo>
                    <a:lnTo>
                      <a:pt x="113" y="231"/>
                    </a:lnTo>
                    <a:lnTo>
                      <a:pt x="113" y="231"/>
                    </a:lnTo>
                    <a:lnTo>
                      <a:pt x="113" y="231"/>
                    </a:lnTo>
                    <a:lnTo>
                      <a:pt x="113" y="226"/>
                    </a:lnTo>
                    <a:lnTo>
                      <a:pt x="113" y="226"/>
                    </a:lnTo>
                    <a:lnTo>
                      <a:pt x="113" y="226"/>
                    </a:lnTo>
                    <a:lnTo>
                      <a:pt x="118" y="226"/>
                    </a:lnTo>
                    <a:lnTo>
                      <a:pt x="118" y="226"/>
                    </a:lnTo>
                    <a:lnTo>
                      <a:pt x="118" y="222"/>
                    </a:lnTo>
                    <a:lnTo>
                      <a:pt x="122" y="222"/>
                    </a:lnTo>
                    <a:lnTo>
                      <a:pt x="122" y="222"/>
                    </a:lnTo>
                    <a:lnTo>
                      <a:pt x="122" y="217"/>
                    </a:lnTo>
                    <a:lnTo>
                      <a:pt x="127" y="217"/>
                    </a:lnTo>
                    <a:lnTo>
                      <a:pt x="127" y="217"/>
                    </a:lnTo>
                    <a:lnTo>
                      <a:pt x="127" y="217"/>
                    </a:lnTo>
                    <a:lnTo>
                      <a:pt x="127" y="217"/>
                    </a:lnTo>
                    <a:lnTo>
                      <a:pt x="131" y="217"/>
                    </a:lnTo>
                    <a:lnTo>
                      <a:pt x="131" y="217"/>
                    </a:lnTo>
                    <a:lnTo>
                      <a:pt x="131" y="217"/>
                    </a:lnTo>
                    <a:lnTo>
                      <a:pt x="131" y="213"/>
                    </a:lnTo>
                    <a:lnTo>
                      <a:pt x="131" y="208"/>
                    </a:lnTo>
                    <a:lnTo>
                      <a:pt x="127" y="208"/>
                    </a:lnTo>
                    <a:lnTo>
                      <a:pt x="127" y="204"/>
                    </a:lnTo>
                    <a:lnTo>
                      <a:pt x="127" y="204"/>
                    </a:lnTo>
                    <a:lnTo>
                      <a:pt x="127" y="199"/>
                    </a:lnTo>
                    <a:lnTo>
                      <a:pt x="127" y="195"/>
                    </a:lnTo>
                    <a:lnTo>
                      <a:pt x="127" y="195"/>
                    </a:lnTo>
                    <a:lnTo>
                      <a:pt x="127" y="190"/>
                    </a:lnTo>
                    <a:lnTo>
                      <a:pt x="127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1"/>
                    </a:lnTo>
                    <a:lnTo>
                      <a:pt x="122" y="181"/>
                    </a:lnTo>
                    <a:lnTo>
                      <a:pt x="122" y="177"/>
                    </a:lnTo>
                    <a:lnTo>
                      <a:pt x="122" y="177"/>
                    </a:lnTo>
                    <a:lnTo>
                      <a:pt x="122" y="177"/>
                    </a:lnTo>
                    <a:lnTo>
                      <a:pt x="122" y="172"/>
                    </a:lnTo>
                    <a:lnTo>
                      <a:pt x="122" y="172"/>
                    </a:lnTo>
                    <a:lnTo>
                      <a:pt x="122" y="172"/>
                    </a:lnTo>
                    <a:lnTo>
                      <a:pt x="122" y="168"/>
                    </a:lnTo>
                    <a:lnTo>
                      <a:pt x="122" y="168"/>
                    </a:lnTo>
                    <a:lnTo>
                      <a:pt x="122" y="168"/>
                    </a:lnTo>
                    <a:lnTo>
                      <a:pt x="122" y="163"/>
                    </a:lnTo>
                    <a:lnTo>
                      <a:pt x="122" y="163"/>
                    </a:lnTo>
                    <a:lnTo>
                      <a:pt x="122" y="163"/>
                    </a:lnTo>
                    <a:lnTo>
                      <a:pt x="122" y="163"/>
                    </a:lnTo>
                    <a:lnTo>
                      <a:pt x="122" y="159"/>
                    </a:lnTo>
                    <a:lnTo>
                      <a:pt x="122" y="159"/>
                    </a:lnTo>
                    <a:lnTo>
                      <a:pt x="122" y="159"/>
                    </a:lnTo>
                    <a:lnTo>
                      <a:pt x="122" y="154"/>
                    </a:lnTo>
                    <a:lnTo>
                      <a:pt x="118" y="154"/>
                    </a:lnTo>
                    <a:lnTo>
                      <a:pt x="118" y="154"/>
                    </a:lnTo>
                    <a:lnTo>
                      <a:pt x="113" y="149"/>
                    </a:lnTo>
                    <a:lnTo>
                      <a:pt x="113" y="149"/>
                    </a:lnTo>
                    <a:lnTo>
                      <a:pt x="113" y="149"/>
                    </a:lnTo>
                    <a:lnTo>
                      <a:pt x="113" y="149"/>
                    </a:lnTo>
                    <a:lnTo>
                      <a:pt x="113" y="149"/>
                    </a:lnTo>
                    <a:lnTo>
                      <a:pt x="118" y="145"/>
                    </a:lnTo>
                    <a:lnTo>
                      <a:pt x="118" y="145"/>
                    </a:lnTo>
                    <a:lnTo>
                      <a:pt x="118" y="145"/>
                    </a:lnTo>
                    <a:lnTo>
                      <a:pt x="118" y="145"/>
                    </a:lnTo>
                    <a:lnTo>
                      <a:pt x="113" y="145"/>
                    </a:lnTo>
                    <a:lnTo>
                      <a:pt x="113" y="140"/>
                    </a:lnTo>
                    <a:lnTo>
                      <a:pt x="113" y="140"/>
                    </a:lnTo>
                    <a:lnTo>
                      <a:pt x="109" y="140"/>
                    </a:lnTo>
                    <a:lnTo>
                      <a:pt x="109" y="136"/>
                    </a:lnTo>
                    <a:lnTo>
                      <a:pt x="109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0" y="136"/>
                    </a:lnTo>
                    <a:lnTo>
                      <a:pt x="100" y="136"/>
                    </a:lnTo>
                    <a:lnTo>
                      <a:pt x="100" y="131"/>
                    </a:lnTo>
                    <a:lnTo>
                      <a:pt x="100" y="131"/>
                    </a:lnTo>
                    <a:lnTo>
                      <a:pt x="100" y="127"/>
                    </a:lnTo>
                    <a:lnTo>
                      <a:pt x="100" y="127"/>
                    </a:lnTo>
                    <a:lnTo>
                      <a:pt x="95" y="127"/>
                    </a:lnTo>
                    <a:lnTo>
                      <a:pt x="95" y="127"/>
                    </a:lnTo>
                    <a:lnTo>
                      <a:pt x="95" y="122"/>
                    </a:lnTo>
                    <a:lnTo>
                      <a:pt x="95" y="122"/>
                    </a:lnTo>
                    <a:lnTo>
                      <a:pt x="91" y="122"/>
                    </a:lnTo>
                    <a:lnTo>
                      <a:pt x="86" y="118"/>
                    </a:lnTo>
                    <a:lnTo>
                      <a:pt x="86" y="118"/>
                    </a:lnTo>
                    <a:lnTo>
                      <a:pt x="86" y="113"/>
                    </a:lnTo>
                    <a:lnTo>
                      <a:pt x="82" y="113"/>
                    </a:lnTo>
                    <a:lnTo>
                      <a:pt x="82" y="109"/>
                    </a:lnTo>
                    <a:lnTo>
                      <a:pt x="77" y="109"/>
                    </a:lnTo>
                    <a:lnTo>
                      <a:pt x="77" y="109"/>
                    </a:lnTo>
                    <a:lnTo>
                      <a:pt x="77" y="104"/>
                    </a:lnTo>
                    <a:lnTo>
                      <a:pt x="77" y="104"/>
                    </a:lnTo>
                    <a:lnTo>
                      <a:pt x="73" y="104"/>
                    </a:lnTo>
                    <a:lnTo>
                      <a:pt x="73" y="100"/>
                    </a:lnTo>
                    <a:lnTo>
                      <a:pt x="73" y="100"/>
                    </a:lnTo>
                    <a:lnTo>
                      <a:pt x="73" y="100"/>
                    </a:lnTo>
                    <a:lnTo>
                      <a:pt x="68" y="100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8" y="91"/>
                    </a:lnTo>
                    <a:lnTo>
                      <a:pt x="68" y="91"/>
                    </a:lnTo>
                    <a:lnTo>
                      <a:pt x="63" y="91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45" y="82"/>
                    </a:lnTo>
                    <a:lnTo>
                      <a:pt x="45" y="82"/>
                    </a:lnTo>
                    <a:lnTo>
                      <a:pt x="45" y="82"/>
                    </a:lnTo>
                    <a:lnTo>
                      <a:pt x="41" y="82"/>
                    </a:lnTo>
                    <a:lnTo>
                      <a:pt x="41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54" y="73"/>
                    </a:lnTo>
                    <a:lnTo>
                      <a:pt x="54" y="73"/>
                    </a:lnTo>
                    <a:lnTo>
                      <a:pt x="54" y="73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9" y="64"/>
                    </a:lnTo>
                    <a:lnTo>
                      <a:pt x="59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0" y="64"/>
                    </a:lnTo>
                    <a:lnTo>
                      <a:pt x="50" y="59"/>
                    </a:lnTo>
                    <a:lnTo>
                      <a:pt x="50" y="59"/>
                    </a:lnTo>
                    <a:lnTo>
                      <a:pt x="50" y="59"/>
                    </a:lnTo>
                    <a:lnTo>
                      <a:pt x="50" y="59"/>
                    </a:lnTo>
                    <a:lnTo>
                      <a:pt x="45" y="59"/>
                    </a:lnTo>
                    <a:lnTo>
                      <a:pt x="45" y="59"/>
                    </a:lnTo>
                    <a:lnTo>
                      <a:pt x="45" y="55"/>
                    </a:lnTo>
                    <a:lnTo>
                      <a:pt x="45" y="55"/>
                    </a:lnTo>
                    <a:lnTo>
                      <a:pt x="50" y="55"/>
                    </a:lnTo>
                    <a:lnTo>
                      <a:pt x="50" y="55"/>
                    </a:lnTo>
                    <a:lnTo>
                      <a:pt x="50" y="55"/>
                    </a:lnTo>
                    <a:lnTo>
                      <a:pt x="45" y="55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1" y="50"/>
                    </a:lnTo>
                    <a:lnTo>
                      <a:pt x="41" y="46"/>
                    </a:lnTo>
                    <a:lnTo>
                      <a:pt x="36" y="46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55"/>
                    </a:lnTo>
                    <a:lnTo>
                      <a:pt x="32" y="50"/>
                    </a:lnTo>
                    <a:lnTo>
                      <a:pt x="27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9" y="27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3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9"/>
                    </a:lnTo>
                    <a:lnTo>
                      <a:pt x="23" y="14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14"/>
                    </a:lnTo>
                    <a:lnTo>
                      <a:pt x="36" y="14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41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5"/>
                    </a:lnTo>
                    <a:lnTo>
                      <a:pt x="54" y="5"/>
                    </a:lnTo>
                    <a:lnTo>
                      <a:pt x="54" y="5"/>
                    </a:lnTo>
                    <a:lnTo>
                      <a:pt x="59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54" name="Freeform 175"/>
              <p:cNvSpPr>
                <a:spLocks noEditPoints="1"/>
              </p:cNvSpPr>
              <p:nvPr/>
            </p:nvSpPr>
            <p:spPr bwMode="auto">
              <a:xfrm>
                <a:off x="8810626" y="3470276"/>
                <a:ext cx="14288" cy="71438"/>
              </a:xfrm>
              <a:custGeom>
                <a:avLst/>
                <a:gdLst>
                  <a:gd name="T0" fmla="*/ 4 w 9"/>
                  <a:gd name="T1" fmla="*/ 31 h 45"/>
                  <a:gd name="T2" fmla="*/ 4 w 9"/>
                  <a:gd name="T3" fmla="*/ 31 h 45"/>
                  <a:gd name="T4" fmla="*/ 9 w 9"/>
                  <a:gd name="T5" fmla="*/ 36 h 45"/>
                  <a:gd name="T6" fmla="*/ 9 w 9"/>
                  <a:gd name="T7" fmla="*/ 36 h 45"/>
                  <a:gd name="T8" fmla="*/ 9 w 9"/>
                  <a:gd name="T9" fmla="*/ 36 h 45"/>
                  <a:gd name="T10" fmla="*/ 9 w 9"/>
                  <a:gd name="T11" fmla="*/ 36 h 45"/>
                  <a:gd name="T12" fmla="*/ 9 w 9"/>
                  <a:gd name="T13" fmla="*/ 36 h 45"/>
                  <a:gd name="T14" fmla="*/ 9 w 9"/>
                  <a:gd name="T15" fmla="*/ 40 h 45"/>
                  <a:gd name="T16" fmla="*/ 9 w 9"/>
                  <a:gd name="T17" fmla="*/ 40 h 45"/>
                  <a:gd name="T18" fmla="*/ 9 w 9"/>
                  <a:gd name="T19" fmla="*/ 40 h 45"/>
                  <a:gd name="T20" fmla="*/ 9 w 9"/>
                  <a:gd name="T21" fmla="*/ 40 h 45"/>
                  <a:gd name="T22" fmla="*/ 9 w 9"/>
                  <a:gd name="T23" fmla="*/ 45 h 45"/>
                  <a:gd name="T24" fmla="*/ 4 w 9"/>
                  <a:gd name="T25" fmla="*/ 40 h 45"/>
                  <a:gd name="T26" fmla="*/ 4 w 9"/>
                  <a:gd name="T27" fmla="*/ 45 h 45"/>
                  <a:gd name="T28" fmla="*/ 4 w 9"/>
                  <a:gd name="T29" fmla="*/ 45 h 45"/>
                  <a:gd name="T30" fmla="*/ 4 w 9"/>
                  <a:gd name="T31" fmla="*/ 40 h 45"/>
                  <a:gd name="T32" fmla="*/ 4 w 9"/>
                  <a:gd name="T33" fmla="*/ 40 h 45"/>
                  <a:gd name="T34" fmla="*/ 4 w 9"/>
                  <a:gd name="T35" fmla="*/ 40 h 45"/>
                  <a:gd name="T36" fmla="*/ 4 w 9"/>
                  <a:gd name="T37" fmla="*/ 36 h 45"/>
                  <a:gd name="T38" fmla="*/ 4 w 9"/>
                  <a:gd name="T39" fmla="*/ 36 h 45"/>
                  <a:gd name="T40" fmla="*/ 4 w 9"/>
                  <a:gd name="T41" fmla="*/ 31 h 45"/>
                  <a:gd name="T42" fmla="*/ 4 w 9"/>
                  <a:gd name="T43" fmla="*/ 36 h 45"/>
                  <a:gd name="T44" fmla="*/ 4 w 9"/>
                  <a:gd name="T45" fmla="*/ 36 h 45"/>
                  <a:gd name="T46" fmla="*/ 0 w 9"/>
                  <a:gd name="T47" fmla="*/ 31 h 45"/>
                  <a:gd name="T48" fmla="*/ 4 w 9"/>
                  <a:gd name="T49" fmla="*/ 31 h 45"/>
                  <a:gd name="T50" fmla="*/ 4 w 9"/>
                  <a:gd name="T51" fmla="*/ 27 h 45"/>
                  <a:gd name="T52" fmla="*/ 4 w 9"/>
                  <a:gd name="T53" fmla="*/ 27 h 45"/>
                  <a:gd name="T54" fmla="*/ 4 w 9"/>
                  <a:gd name="T55" fmla="*/ 31 h 45"/>
                  <a:gd name="T56" fmla="*/ 4 w 9"/>
                  <a:gd name="T57" fmla="*/ 31 h 45"/>
                  <a:gd name="T58" fmla="*/ 4 w 9"/>
                  <a:gd name="T59" fmla="*/ 4 h 45"/>
                  <a:gd name="T60" fmla="*/ 4 w 9"/>
                  <a:gd name="T61" fmla="*/ 4 h 45"/>
                  <a:gd name="T62" fmla="*/ 4 w 9"/>
                  <a:gd name="T63" fmla="*/ 13 h 45"/>
                  <a:gd name="T64" fmla="*/ 4 w 9"/>
                  <a:gd name="T65" fmla="*/ 13 h 45"/>
                  <a:gd name="T66" fmla="*/ 4 w 9"/>
                  <a:gd name="T67" fmla="*/ 13 h 45"/>
                  <a:gd name="T68" fmla="*/ 4 w 9"/>
                  <a:gd name="T69" fmla="*/ 9 h 45"/>
                  <a:gd name="T70" fmla="*/ 9 w 9"/>
                  <a:gd name="T71" fmla="*/ 9 h 45"/>
                  <a:gd name="T72" fmla="*/ 9 w 9"/>
                  <a:gd name="T73" fmla="*/ 9 h 45"/>
                  <a:gd name="T74" fmla="*/ 9 w 9"/>
                  <a:gd name="T75" fmla="*/ 9 h 45"/>
                  <a:gd name="T76" fmla="*/ 9 w 9"/>
                  <a:gd name="T77" fmla="*/ 9 h 45"/>
                  <a:gd name="T78" fmla="*/ 9 w 9"/>
                  <a:gd name="T79" fmla="*/ 9 h 45"/>
                  <a:gd name="T80" fmla="*/ 9 w 9"/>
                  <a:gd name="T81" fmla="*/ 13 h 45"/>
                  <a:gd name="T82" fmla="*/ 9 w 9"/>
                  <a:gd name="T83" fmla="*/ 13 h 45"/>
                  <a:gd name="T84" fmla="*/ 9 w 9"/>
                  <a:gd name="T85" fmla="*/ 18 h 45"/>
                  <a:gd name="T86" fmla="*/ 9 w 9"/>
                  <a:gd name="T87" fmla="*/ 18 h 45"/>
                  <a:gd name="T88" fmla="*/ 9 w 9"/>
                  <a:gd name="T89" fmla="*/ 18 h 45"/>
                  <a:gd name="T90" fmla="*/ 4 w 9"/>
                  <a:gd name="T91" fmla="*/ 22 h 45"/>
                  <a:gd name="T92" fmla="*/ 0 w 9"/>
                  <a:gd name="T93" fmla="*/ 22 h 45"/>
                  <a:gd name="T94" fmla="*/ 0 w 9"/>
                  <a:gd name="T95" fmla="*/ 22 h 45"/>
                  <a:gd name="T96" fmla="*/ 0 w 9"/>
                  <a:gd name="T97" fmla="*/ 22 h 45"/>
                  <a:gd name="T98" fmla="*/ 0 w 9"/>
                  <a:gd name="T99" fmla="*/ 22 h 45"/>
                  <a:gd name="T100" fmla="*/ 0 w 9"/>
                  <a:gd name="T101" fmla="*/ 18 h 45"/>
                  <a:gd name="T102" fmla="*/ 0 w 9"/>
                  <a:gd name="T103" fmla="*/ 18 h 45"/>
                  <a:gd name="T104" fmla="*/ 0 w 9"/>
                  <a:gd name="T105" fmla="*/ 13 h 45"/>
                  <a:gd name="T106" fmla="*/ 0 w 9"/>
                  <a:gd name="T107" fmla="*/ 4 h 45"/>
                  <a:gd name="T108" fmla="*/ 0 w 9"/>
                  <a:gd name="T109" fmla="*/ 4 h 45"/>
                  <a:gd name="T110" fmla="*/ 0 w 9"/>
                  <a:gd name="T111" fmla="*/ 0 h 45"/>
                  <a:gd name="T112" fmla="*/ 4 w 9"/>
                  <a:gd name="T113" fmla="*/ 0 h 45"/>
                  <a:gd name="T114" fmla="*/ 4 w 9"/>
                  <a:gd name="T115" fmla="*/ 4 h 45"/>
                  <a:gd name="T116" fmla="*/ 4 w 9"/>
                  <a:gd name="T117" fmla="*/ 4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" h="45">
                    <a:moveTo>
                      <a:pt x="4" y="31"/>
                    </a:moveTo>
                    <a:lnTo>
                      <a:pt x="4" y="31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40"/>
                    </a:lnTo>
                    <a:lnTo>
                      <a:pt x="9" y="40"/>
                    </a:lnTo>
                    <a:lnTo>
                      <a:pt x="9" y="40"/>
                    </a:lnTo>
                    <a:lnTo>
                      <a:pt x="9" y="40"/>
                    </a:lnTo>
                    <a:lnTo>
                      <a:pt x="9" y="45"/>
                    </a:lnTo>
                    <a:lnTo>
                      <a:pt x="4" y="40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1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1"/>
                    </a:lnTo>
                    <a:lnTo>
                      <a:pt x="4" y="31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31"/>
                    </a:lnTo>
                    <a:lnTo>
                      <a:pt x="4" y="31"/>
                    </a:lnTo>
                    <a:moveTo>
                      <a:pt x="4" y="4"/>
                    </a:moveTo>
                    <a:lnTo>
                      <a:pt x="4" y="4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55" name="Freeform 176"/>
              <p:cNvSpPr>
                <a:spLocks/>
              </p:cNvSpPr>
              <p:nvPr/>
            </p:nvSpPr>
            <p:spPr bwMode="auto">
              <a:xfrm>
                <a:off x="5438776" y="2378076"/>
                <a:ext cx="280988" cy="193675"/>
              </a:xfrm>
              <a:custGeom>
                <a:avLst/>
                <a:gdLst>
                  <a:gd name="T0" fmla="*/ 177 w 177"/>
                  <a:gd name="T1" fmla="*/ 36 h 122"/>
                  <a:gd name="T2" fmla="*/ 168 w 177"/>
                  <a:gd name="T3" fmla="*/ 45 h 122"/>
                  <a:gd name="T4" fmla="*/ 163 w 177"/>
                  <a:gd name="T5" fmla="*/ 55 h 122"/>
                  <a:gd name="T6" fmla="*/ 163 w 177"/>
                  <a:gd name="T7" fmla="*/ 64 h 122"/>
                  <a:gd name="T8" fmla="*/ 158 w 177"/>
                  <a:gd name="T9" fmla="*/ 68 h 122"/>
                  <a:gd name="T10" fmla="*/ 154 w 177"/>
                  <a:gd name="T11" fmla="*/ 68 h 122"/>
                  <a:gd name="T12" fmla="*/ 136 w 177"/>
                  <a:gd name="T13" fmla="*/ 73 h 122"/>
                  <a:gd name="T14" fmla="*/ 127 w 177"/>
                  <a:gd name="T15" fmla="*/ 77 h 122"/>
                  <a:gd name="T16" fmla="*/ 113 w 177"/>
                  <a:gd name="T17" fmla="*/ 86 h 122"/>
                  <a:gd name="T18" fmla="*/ 109 w 177"/>
                  <a:gd name="T19" fmla="*/ 91 h 122"/>
                  <a:gd name="T20" fmla="*/ 104 w 177"/>
                  <a:gd name="T21" fmla="*/ 95 h 122"/>
                  <a:gd name="T22" fmla="*/ 95 w 177"/>
                  <a:gd name="T23" fmla="*/ 95 h 122"/>
                  <a:gd name="T24" fmla="*/ 86 w 177"/>
                  <a:gd name="T25" fmla="*/ 95 h 122"/>
                  <a:gd name="T26" fmla="*/ 77 w 177"/>
                  <a:gd name="T27" fmla="*/ 104 h 122"/>
                  <a:gd name="T28" fmla="*/ 68 w 177"/>
                  <a:gd name="T29" fmla="*/ 104 h 122"/>
                  <a:gd name="T30" fmla="*/ 55 w 177"/>
                  <a:gd name="T31" fmla="*/ 109 h 122"/>
                  <a:gd name="T32" fmla="*/ 46 w 177"/>
                  <a:gd name="T33" fmla="*/ 113 h 122"/>
                  <a:gd name="T34" fmla="*/ 41 w 177"/>
                  <a:gd name="T35" fmla="*/ 118 h 122"/>
                  <a:gd name="T36" fmla="*/ 32 w 177"/>
                  <a:gd name="T37" fmla="*/ 122 h 122"/>
                  <a:gd name="T38" fmla="*/ 27 w 177"/>
                  <a:gd name="T39" fmla="*/ 122 h 122"/>
                  <a:gd name="T40" fmla="*/ 18 w 177"/>
                  <a:gd name="T41" fmla="*/ 118 h 122"/>
                  <a:gd name="T42" fmla="*/ 14 w 177"/>
                  <a:gd name="T43" fmla="*/ 109 h 122"/>
                  <a:gd name="T44" fmla="*/ 9 w 177"/>
                  <a:gd name="T45" fmla="*/ 100 h 122"/>
                  <a:gd name="T46" fmla="*/ 9 w 177"/>
                  <a:gd name="T47" fmla="*/ 91 h 122"/>
                  <a:gd name="T48" fmla="*/ 5 w 177"/>
                  <a:gd name="T49" fmla="*/ 86 h 122"/>
                  <a:gd name="T50" fmla="*/ 5 w 177"/>
                  <a:gd name="T51" fmla="*/ 77 h 122"/>
                  <a:gd name="T52" fmla="*/ 5 w 177"/>
                  <a:gd name="T53" fmla="*/ 77 h 122"/>
                  <a:gd name="T54" fmla="*/ 0 w 177"/>
                  <a:gd name="T55" fmla="*/ 68 h 122"/>
                  <a:gd name="T56" fmla="*/ 0 w 177"/>
                  <a:gd name="T57" fmla="*/ 68 h 122"/>
                  <a:gd name="T58" fmla="*/ 0 w 177"/>
                  <a:gd name="T59" fmla="*/ 55 h 122"/>
                  <a:gd name="T60" fmla="*/ 5 w 177"/>
                  <a:gd name="T61" fmla="*/ 45 h 122"/>
                  <a:gd name="T62" fmla="*/ 5 w 177"/>
                  <a:gd name="T63" fmla="*/ 45 h 122"/>
                  <a:gd name="T64" fmla="*/ 5 w 177"/>
                  <a:gd name="T65" fmla="*/ 41 h 122"/>
                  <a:gd name="T66" fmla="*/ 5 w 177"/>
                  <a:gd name="T67" fmla="*/ 36 h 122"/>
                  <a:gd name="T68" fmla="*/ 9 w 177"/>
                  <a:gd name="T69" fmla="*/ 32 h 122"/>
                  <a:gd name="T70" fmla="*/ 9 w 177"/>
                  <a:gd name="T71" fmla="*/ 32 h 122"/>
                  <a:gd name="T72" fmla="*/ 9 w 177"/>
                  <a:gd name="T73" fmla="*/ 27 h 122"/>
                  <a:gd name="T74" fmla="*/ 14 w 177"/>
                  <a:gd name="T75" fmla="*/ 32 h 122"/>
                  <a:gd name="T76" fmla="*/ 18 w 177"/>
                  <a:gd name="T77" fmla="*/ 32 h 122"/>
                  <a:gd name="T78" fmla="*/ 23 w 177"/>
                  <a:gd name="T79" fmla="*/ 32 h 122"/>
                  <a:gd name="T80" fmla="*/ 27 w 177"/>
                  <a:gd name="T81" fmla="*/ 32 h 122"/>
                  <a:gd name="T82" fmla="*/ 36 w 177"/>
                  <a:gd name="T83" fmla="*/ 32 h 122"/>
                  <a:gd name="T84" fmla="*/ 41 w 177"/>
                  <a:gd name="T85" fmla="*/ 32 h 122"/>
                  <a:gd name="T86" fmla="*/ 50 w 177"/>
                  <a:gd name="T87" fmla="*/ 32 h 122"/>
                  <a:gd name="T88" fmla="*/ 64 w 177"/>
                  <a:gd name="T89" fmla="*/ 32 h 122"/>
                  <a:gd name="T90" fmla="*/ 68 w 177"/>
                  <a:gd name="T91" fmla="*/ 32 h 122"/>
                  <a:gd name="T92" fmla="*/ 77 w 177"/>
                  <a:gd name="T93" fmla="*/ 41 h 122"/>
                  <a:gd name="T94" fmla="*/ 82 w 177"/>
                  <a:gd name="T95" fmla="*/ 36 h 122"/>
                  <a:gd name="T96" fmla="*/ 82 w 177"/>
                  <a:gd name="T97" fmla="*/ 27 h 122"/>
                  <a:gd name="T98" fmla="*/ 91 w 177"/>
                  <a:gd name="T99" fmla="*/ 18 h 122"/>
                  <a:gd name="T100" fmla="*/ 100 w 177"/>
                  <a:gd name="T101" fmla="*/ 14 h 122"/>
                  <a:gd name="T102" fmla="*/ 109 w 177"/>
                  <a:gd name="T103" fmla="*/ 5 h 122"/>
                  <a:gd name="T104" fmla="*/ 122 w 177"/>
                  <a:gd name="T105" fmla="*/ 5 h 122"/>
                  <a:gd name="T106" fmla="*/ 136 w 177"/>
                  <a:gd name="T107" fmla="*/ 0 h 122"/>
                  <a:gd name="T108" fmla="*/ 149 w 177"/>
                  <a:gd name="T109" fmla="*/ 0 h 122"/>
                  <a:gd name="T110" fmla="*/ 158 w 177"/>
                  <a:gd name="T111" fmla="*/ 5 h 122"/>
                  <a:gd name="T112" fmla="*/ 158 w 177"/>
                  <a:gd name="T113" fmla="*/ 9 h 122"/>
                  <a:gd name="T114" fmla="*/ 163 w 177"/>
                  <a:gd name="T115" fmla="*/ 14 h 122"/>
                  <a:gd name="T116" fmla="*/ 163 w 177"/>
                  <a:gd name="T117" fmla="*/ 18 h 122"/>
                  <a:gd name="T118" fmla="*/ 168 w 177"/>
                  <a:gd name="T119" fmla="*/ 27 h 122"/>
                  <a:gd name="T120" fmla="*/ 172 w 177"/>
                  <a:gd name="T121" fmla="*/ 32 h 122"/>
                  <a:gd name="T122" fmla="*/ 172 w 177"/>
                  <a:gd name="T123" fmla="*/ 36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7" h="122">
                    <a:moveTo>
                      <a:pt x="172" y="36"/>
                    </a:moveTo>
                    <a:lnTo>
                      <a:pt x="172" y="36"/>
                    </a:lnTo>
                    <a:lnTo>
                      <a:pt x="177" y="36"/>
                    </a:lnTo>
                    <a:lnTo>
                      <a:pt x="177" y="41"/>
                    </a:lnTo>
                    <a:lnTo>
                      <a:pt x="177" y="45"/>
                    </a:lnTo>
                    <a:lnTo>
                      <a:pt x="168" y="45"/>
                    </a:lnTo>
                    <a:lnTo>
                      <a:pt x="168" y="50"/>
                    </a:lnTo>
                    <a:lnTo>
                      <a:pt x="163" y="50"/>
                    </a:lnTo>
                    <a:lnTo>
                      <a:pt x="163" y="55"/>
                    </a:lnTo>
                    <a:lnTo>
                      <a:pt x="163" y="59"/>
                    </a:lnTo>
                    <a:lnTo>
                      <a:pt x="163" y="59"/>
                    </a:lnTo>
                    <a:lnTo>
                      <a:pt x="163" y="64"/>
                    </a:lnTo>
                    <a:lnTo>
                      <a:pt x="163" y="64"/>
                    </a:lnTo>
                    <a:lnTo>
                      <a:pt x="158" y="64"/>
                    </a:lnTo>
                    <a:lnTo>
                      <a:pt x="158" y="68"/>
                    </a:lnTo>
                    <a:lnTo>
                      <a:pt x="158" y="68"/>
                    </a:lnTo>
                    <a:lnTo>
                      <a:pt x="154" y="68"/>
                    </a:lnTo>
                    <a:lnTo>
                      <a:pt x="154" y="68"/>
                    </a:lnTo>
                    <a:lnTo>
                      <a:pt x="149" y="73"/>
                    </a:lnTo>
                    <a:lnTo>
                      <a:pt x="145" y="73"/>
                    </a:lnTo>
                    <a:lnTo>
                      <a:pt x="136" y="73"/>
                    </a:lnTo>
                    <a:lnTo>
                      <a:pt x="131" y="77"/>
                    </a:lnTo>
                    <a:lnTo>
                      <a:pt x="131" y="77"/>
                    </a:lnTo>
                    <a:lnTo>
                      <a:pt x="127" y="77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3" y="86"/>
                    </a:lnTo>
                    <a:lnTo>
                      <a:pt x="113" y="86"/>
                    </a:lnTo>
                    <a:lnTo>
                      <a:pt x="109" y="86"/>
                    </a:lnTo>
                    <a:lnTo>
                      <a:pt x="109" y="91"/>
                    </a:lnTo>
                    <a:lnTo>
                      <a:pt x="109" y="91"/>
                    </a:lnTo>
                    <a:lnTo>
                      <a:pt x="104" y="95"/>
                    </a:lnTo>
                    <a:lnTo>
                      <a:pt x="104" y="95"/>
                    </a:lnTo>
                    <a:lnTo>
                      <a:pt x="100" y="95"/>
                    </a:lnTo>
                    <a:lnTo>
                      <a:pt x="100" y="95"/>
                    </a:lnTo>
                    <a:lnTo>
                      <a:pt x="95" y="95"/>
                    </a:lnTo>
                    <a:lnTo>
                      <a:pt x="91" y="95"/>
                    </a:lnTo>
                    <a:lnTo>
                      <a:pt x="91" y="95"/>
                    </a:lnTo>
                    <a:lnTo>
                      <a:pt x="86" y="95"/>
                    </a:lnTo>
                    <a:lnTo>
                      <a:pt x="82" y="100"/>
                    </a:lnTo>
                    <a:lnTo>
                      <a:pt x="82" y="104"/>
                    </a:lnTo>
                    <a:lnTo>
                      <a:pt x="77" y="104"/>
                    </a:lnTo>
                    <a:lnTo>
                      <a:pt x="73" y="104"/>
                    </a:lnTo>
                    <a:lnTo>
                      <a:pt x="73" y="104"/>
                    </a:lnTo>
                    <a:lnTo>
                      <a:pt x="68" y="104"/>
                    </a:lnTo>
                    <a:lnTo>
                      <a:pt x="64" y="104"/>
                    </a:lnTo>
                    <a:lnTo>
                      <a:pt x="59" y="104"/>
                    </a:lnTo>
                    <a:lnTo>
                      <a:pt x="55" y="109"/>
                    </a:lnTo>
                    <a:lnTo>
                      <a:pt x="50" y="109"/>
                    </a:lnTo>
                    <a:lnTo>
                      <a:pt x="50" y="113"/>
                    </a:lnTo>
                    <a:lnTo>
                      <a:pt x="46" y="113"/>
                    </a:lnTo>
                    <a:lnTo>
                      <a:pt x="46" y="113"/>
                    </a:lnTo>
                    <a:lnTo>
                      <a:pt x="46" y="118"/>
                    </a:lnTo>
                    <a:lnTo>
                      <a:pt x="41" y="118"/>
                    </a:lnTo>
                    <a:lnTo>
                      <a:pt x="41" y="118"/>
                    </a:lnTo>
                    <a:lnTo>
                      <a:pt x="36" y="118"/>
                    </a:lnTo>
                    <a:lnTo>
                      <a:pt x="32" y="122"/>
                    </a:lnTo>
                    <a:lnTo>
                      <a:pt x="32" y="122"/>
                    </a:lnTo>
                    <a:lnTo>
                      <a:pt x="27" y="122"/>
                    </a:lnTo>
                    <a:lnTo>
                      <a:pt x="27" y="122"/>
                    </a:lnTo>
                    <a:lnTo>
                      <a:pt x="23" y="122"/>
                    </a:lnTo>
                    <a:lnTo>
                      <a:pt x="23" y="122"/>
                    </a:lnTo>
                    <a:lnTo>
                      <a:pt x="18" y="118"/>
                    </a:lnTo>
                    <a:lnTo>
                      <a:pt x="18" y="118"/>
                    </a:lnTo>
                    <a:lnTo>
                      <a:pt x="18" y="118"/>
                    </a:lnTo>
                    <a:lnTo>
                      <a:pt x="14" y="109"/>
                    </a:lnTo>
                    <a:lnTo>
                      <a:pt x="14" y="100"/>
                    </a:lnTo>
                    <a:lnTo>
                      <a:pt x="14" y="100"/>
                    </a:lnTo>
                    <a:lnTo>
                      <a:pt x="9" y="100"/>
                    </a:lnTo>
                    <a:lnTo>
                      <a:pt x="9" y="95"/>
                    </a:lnTo>
                    <a:lnTo>
                      <a:pt x="9" y="91"/>
                    </a:lnTo>
                    <a:lnTo>
                      <a:pt x="9" y="91"/>
                    </a:lnTo>
                    <a:lnTo>
                      <a:pt x="5" y="86"/>
                    </a:lnTo>
                    <a:lnTo>
                      <a:pt x="5" y="86"/>
                    </a:lnTo>
                    <a:lnTo>
                      <a:pt x="5" y="86"/>
                    </a:lnTo>
                    <a:lnTo>
                      <a:pt x="5" y="82"/>
                    </a:lnTo>
                    <a:lnTo>
                      <a:pt x="5" y="82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5" y="73"/>
                    </a:lnTo>
                    <a:lnTo>
                      <a:pt x="0" y="73"/>
                    </a:lnTo>
                    <a:lnTo>
                      <a:pt x="0" y="68"/>
                    </a:lnTo>
                    <a:lnTo>
                      <a:pt x="0" y="73"/>
                    </a:lnTo>
                    <a:lnTo>
                      <a:pt x="0" y="73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55"/>
                    </a:lnTo>
                    <a:lnTo>
                      <a:pt x="0" y="50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9" y="32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7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6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1" y="32"/>
                    </a:lnTo>
                    <a:lnTo>
                      <a:pt x="46" y="32"/>
                    </a:lnTo>
                    <a:lnTo>
                      <a:pt x="46" y="32"/>
                    </a:lnTo>
                    <a:lnTo>
                      <a:pt x="50" y="32"/>
                    </a:lnTo>
                    <a:lnTo>
                      <a:pt x="55" y="32"/>
                    </a:lnTo>
                    <a:lnTo>
                      <a:pt x="59" y="32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6"/>
                    </a:lnTo>
                    <a:lnTo>
                      <a:pt x="73" y="36"/>
                    </a:lnTo>
                    <a:lnTo>
                      <a:pt x="77" y="41"/>
                    </a:lnTo>
                    <a:lnTo>
                      <a:pt x="77" y="36"/>
                    </a:lnTo>
                    <a:lnTo>
                      <a:pt x="77" y="36"/>
                    </a:lnTo>
                    <a:lnTo>
                      <a:pt x="82" y="36"/>
                    </a:lnTo>
                    <a:lnTo>
                      <a:pt x="82" y="32"/>
                    </a:lnTo>
                    <a:lnTo>
                      <a:pt x="82" y="27"/>
                    </a:lnTo>
                    <a:lnTo>
                      <a:pt x="82" y="27"/>
                    </a:lnTo>
                    <a:lnTo>
                      <a:pt x="86" y="23"/>
                    </a:lnTo>
                    <a:lnTo>
                      <a:pt x="86" y="23"/>
                    </a:lnTo>
                    <a:lnTo>
                      <a:pt x="91" y="18"/>
                    </a:lnTo>
                    <a:lnTo>
                      <a:pt x="91" y="14"/>
                    </a:lnTo>
                    <a:lnTo>
                      <a:pt x="95" y="14"/>
                    </a:lnTo>
                    <a:lnTo>
                      <a:pt x="100" y="14"/>
                    </a:lnTo>
                    <a:lnTo>
                      <a:pt x="104" y="9"/>
                    </a:lnTo>
                    <a:lnTo>
                      <a:pt x="104" y="9"/>
                    </a:lnTo>
                    <a:lnTo>
                      <a:pt x="109" y="5"/>
                    </a:lnTo>
                    <a:lnTo>
                      <a:pt x="113" y="5"/>
                    </a:lnTo>
                    <a:lnTo>
                      <a:pt x="118" y="5"/>
                    </a:lnTo>
                    <a:lnTo>
                      <a:pt x="122" y="5"/>
                    </a:lnTo>
                    <a:lnTo>
                      <a:pt x="127" y="5"/>
                    </a:lnTo>
                    <a:lnTo>
                      <a:pt x="131" y="5"/>
                    </a:lnTo>
                    <a:lnTo>
                      <a:pt x="136" y="0"/>
                    </a:lnTo>
                    <a:lnTo>
                      <a:pt x="140" y="0"/>
                    </a:lnTo>
                    <a:lnTo>
                      <a:pt x="145" y="0"/>
                    </a:lnTo>
                    <a:lnTo>
                      <a:pt x="149" y="0"/>
                    </a:lnTo>
                    <a:lnTo>
                      <a:pt x="154" y="0"/>
                    </a:lnTo>
                    <a:lnTo>
                      <a:pt x="154" y="0"/>
                    </a:lnTo>
                    <a:lnTo>
                      <a:pt x="158" y="5"/>
                    </a:lnTo>
                    <a:lnTo>
                      <a:pt x="158" y="5"/>
                    </a:lnTo>
                    <a:lnTo>
                      <a:pt x="158" y="5"/>
                    </a:lnTo>
                    <a:lnTo>
                      <a:pt x="158" y="9"/>
                    </a:lnTo>
                    <a:lnTo>
                      <a:pt x="158" y="9"/>
                    </a:lnTo>
                    <a:lnTo>
                      <a:pt x="163" y="14"/>
                    </a:lnTo>
                    <a:lnTo>
                      <a:pt x="163" y="14"/>
                    </a:lnTo>
                    <a:lnTo>
                      <a:pt x="163" y="18"/>
                    </a:lnTo>
                    <a:lnTo>
                      <a:pt x="163" y="18"/>
                    </a:lnTo>
                    <a:lnTo>
                      <a:pt x="163" y="18"/>
                    </a:lnTo>
                    <a:lnTo>
                      <a:pt x="168" y="23"/>
                    </a:lnTo>
                    <a:lnTo>
                      <a:pt x="168" y="23"/>
                    </a:lnTo>
                    <a:lnTo>
                      <a:pt x="168" y="27"/>
                    </a:lnTo>
                    <a:lnTo>
                      <a:pt x="168" y="27"/>
                    </a:lnTo>
                    <a:lnTo>
                      <a:pt x="168" y="27"/>
                    </a:lnTo>
                    <a:lnTo>
                      <a:pt x="172" y="32"/>
                    </a:lnTo>
                    <a:lnTo>
                      <a:pt x="172" y="32"/>
                    </a:lnTo>
                    <a:lnTo>
                      <a:pt x="172" y="32"/>
                    </a:lnTo>
                    <a:lnTo>
                      <a:pt x="172" y="36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56" name="Freeform 177"/>
              <p:cNvSpPr>
                <a:spLocks noEditPoints="1"/>
              </p:cNvSpPr>
              <p:nvPr/>
            </p:nvSpPr>
            <p:spPr bwMode="auto">
              <a:xfrm>
                <a:off x="4714876" y="3613151"/>
                <a:ext cx="438150" cy="373063"/>
              </a:xfrm>
              <a:custGeom>
                <a:avLst/>
                <a:gdLst>
                  <a:gd name="T0" fmla="*/ 253 w 276"/>
                  <a:gd name="T1" fmla="*/ 4 h 235"/>
                  <a:gd name="T2" fmla="*/ 258 w 276"/>
                  <a:gd name="T3" fmla="*/ 23 h 235"/>
                  <a:gd name="T4" fmla="*/ 262 w 276"/>
                  <a:gd name="T5" fmla="*/ 32 h 235"/>
                  <a:gd name="T6" fmla="*/ 262 w 276"/>
                  <a:gd name="T7" fmla="*/ 50 h 235"/>
                  <a:gd name="T8" fmla="*/ 262 w 276"/>
                  <a:gd name="T9" fmla="*/ 72 h 235"/>
                  <a:gd name="T10" fmla="*/ 249 w 276"/>
                  <a:gd name="T11" fmla="*/ 68 h 235"/>
                  <a:gd name="T12" fmla="*/ 240 w 276"/>
                  <a:gd name="T13" fmla="*/ 86 h 235"/>
                  <a:gd name="T14" fmla="*/ 258 w 276"/>
                  <a:gd name="T15" fmla="*/ 95 h 235"/>
                  <a:gd name="T16" fmla="*/ 262 w 276"/>
                  <a:gd name="T17" fmla="*/ 86 h 235"/>
                  <a:gd name="T18" fmla="*/ 276 w 276"/>
                  <a:gd name="T19" fmla="*/ 90 h 235"/>
                  <a:gd name="T20" fmla="*/ 258 w 276"/>
                  <a:gd name="T21" fmla="*/ 127 h 235"/>
                  <a:gd name="T22" fmla="*/ 235 w 276"/>
                  <a:gd name="T23" fmla="*/ 154 h 235"/>
                  <a:gd name="T24" fmla="*/ 208 w 276"/>
                  <a:gd name="T25" fmla="*/ 185 h 235"/>
                  <a:gd name="T26" fmla="*/ 172 w 276"/>
                  <a:gd name="T27" fmla="*/ 212 h 235"/>
                  <a:gd name="T28" fmla="*/ 145 w 276"/>
                  <a:gd name="T29" fmla="*/ 221 h 235"/>
                  <a:gd name="T30" fmla="*/ 122 w 276"/>
                  <a:gd name="T31" fmla="*/ 221 h 235"/>
                  <a:gd name="T32" fmla="*/ 95 w 276"/>
                  <a:gd name="T33" fmla="*/ 221 h 235"/>
                  <a:gd name="T34" fmla="*/ 72 w 276"/>
                  <a:gd name="T35" fmla="*/ 226 h 235"/>
                  <a:gd name="T36" fmla="*/ 54 w 276"/>
                  <a:gd name="T37" fmla="*/ 235 h 235"/>
                  <a:gd name="T38" fmla="*/ 45 w 276"/>
                  <a:gd name="T39" fmla="*/ 231 h 235"/>
                  <a:gd name="T40" fmla="*/ 36 w 276"/>
                  <a:gd name="T41" fmla="*/ 226 h 235"/>
                  <a:gd name="T42" fmla="*/ 32 w 276"/>
                  <a:gd name="T43" fmla="*/ 221 h 235"/>
                  <a:gd name="T44" fmla="*/ 27 w 276"/>
                  <a:gd name="T45" fmla="*/ 221 h 235"/>
                  <a:gd name="T46" fmla="*/ 23 w 276"/>
                  <a:gd name="T47" fmla="*/ 208 h 235"/>
                  <a:gd name="T48" fmla="*/ 23 w 276"/>
                  <a:gd name="T49" fmla="*/ 199 h 235"/>
                  <a:gd name="T50" fmla="*/ 27 w 276"/>
                  <a:gd name="T51" fmla="*/ 176 h 235"/>
                  <a:gd name="T52" fmla="*/ 0 w 276"/>
                  <a:gd name="T53" fmla="*/ 122 h 235"/>
                  <a:gd name="T54" fmla="*/ 5 w 276"/>
                  <a:gd name="T55" fmla="*/ 117 h 235"/>
                  <a:gd name="T56" fmla="*/ 14 w 276"/>
                  <a:gd name="T57" fmla="*/ 108 h 235"/>
                  <a:gd name="T58" fmla="*/ 18 w 276"/>
                  <a:gd name="T59" fmla="*/ 117 h 235"/>
                  <a:gd name="T60" fmla="*/ 23 w 276"/>
                  <a:gd name="T61" fmla="*/ 122 h 235"/>
                  <a:gd name="T62" fmla="*/ 45 w 276"/>
                  <a:gd name="T63" fmla="*/ 127 h 235"/>
                  <a:gd name="T64" fmla="*/ 50 w 276"/>
                  <a:gd name="T65" fmla="*/ 122 h 235"/>
                  <a:gd name="T66" fmla="*/ 59 w 276"/>
                  <a:gd name="T67" fmla="*/ 99 h 235"/>
                  <a:gd name="T68" fmla="*/ 63 w 276"/>
                  <a:gd name="T69" fmla="*/ 50 h 235"/>
                  <a:gd name="T70" fmla="*/ 72 w 276"/>
                  <a:gd name="T71" fmla="*/ 72 h 235"/>
                  <a:gd name="T72" fmla="*/ 72 w 276"/>
                  <a:gd name="T73" fmla="*/ 81 h 235"/>
                  <a:gd name="T74" fmla="*/ 86 w 276"/>
                  <a:gd name="T75" fmla="*/ 86 h 235"/>
                  <a:gd name="T76" fmla="*/ 90 w 276"/>
                  <a:gd name="T77" fmla="*/ 81 h 235"/>
                  <a:gd name="T78" fmla="*/ 104 w 276"/>
                  <a:gd name="T79" fmla="*/ 72 h 235"/>
                  <a:gd name="T80" fmla="*/ 113 w 276"/>
                  <a:gd name="T81" fmla="*/ 59 h 235"/>
                  <a:gd name="T82" fmla="*/ 127 w 276"/>
                  <a:gd name="T83" fmla="*/ 63 h 235"/>
                  <a:gd name="T84" fmla="*/ 140 w 276"/>
                  <a:gd name="T85" fmla="*/ 68 h 235"/>
                  <a:gd name="T86" fmla="*/ 154 w 276"/>
                  <a:gd name="T87" fmla="*/ 63 h 235"/>
                  <a:gd name="T88" fmla="*/ 163 w 276"/>
                  <a:gd name="T89" fmla="*/ 50 h 235"/>
                  <a:gd name="T90" fmla="*/ 176 w 276"/>
                  <a:gd name="T91" fmla="*/ 41 h 235"/>
                  <a:gd name="T92" fmla="*/ 185 w 276"/>
                  <a:gd name="T93" fmla="*/ 23 h 235"/>
                  <a:gd name="T94" fmla="*/ 194 w 276"/>
                  <a:gd name="T95" fmla="*/ 18 h 235"/>
                  <a:gd name="T96" fmla="*/ 199 w 276"/>
                  <a:gd name="T97" fmla="*/ 13 h 235"/>
                  <a:gd name="T98" fmla="*/ 217 w 276"/>
                  <a:gd name="T99" fmla="*/ 0 h 235"/>
                  <a:gd name="T100" fmla="*/ 190 w 276"/>
                  <a:gd name="T101" fmla="*/ 127 h 235"/>
                  <a:gd name="T102" fmla="*/ 181 w 276"/>
                  <a:gd name="T103" fmla="*/ 136 h 235"/>
                  <a:gd name="T104" fmla="*/ 176 w 276"/>
                  <a:gd name="T105" fmla="*/ 140 h 235"/>
                  <a:gd name="T106" fmla="*/ 181 w 276"/>
                  <a:gd name="T107" fmla="*/ 149 h 235"/>
                  <a:gd name="T108" fmla="*/ 181 w 276"/>
                  <a:gd name="T109" fmla="*/ 154 h 235"/>
                  <a:gd name="T110" fmla="*/ 190 w 276"/>
                  <a:gd name="T111" fmla="*/ 158 h 235"/>
                  <a:gd name="T112" fmla="*/ 199 w 276"/>
                  <a:gd name="T113" fmla="*/ 149 h 235"/>
                  <a:gd name="T114" fmla="*/ 208 w 276"/>
                  <a:gd name="T115" fmla="*/ 145 h 235"/>
                  <a:gd name="T116" fmla="*/ 212 w 276"/>
                  <a:gd name="T117" fmla="*/ 136 h 235"/>
                  <a:gd name="T118" fmla="*/ 212 w 276"/>
                  <a:gd name="T119" fmla="*/ 127 h 235"/>
                  <a:gd name="T120" fmla="*/ 203 w 276"/>
                  <a:gd name="T121" fmla="*/ 122 h 235"/>
                  <a:gd name="T122" fmla="*/ 190 w 276"/>
                  <a:gd name="T123" fmla="*/ 127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6" h="235">
                    <a:moveTo>
                      <a:pt x="235" y="0"/>
                    </a:moveTo>
                    <a:lnTo>
                      <a:pt x="235" y="0"/>
                    </a:lnTo>
                    <a:lnTo>
                      <a:pt x="240" y="4"/>
                    </a:lnTo>
                    <a:lnTo>
                      <a:pt x="244" y="0"/>
                    </a:lnTo>
                    <a:lnTo>
                      <a:pt x="249" y="0"/>
                    </a:lnTo>
                    <a:lnTo>
                      <a:pt x="249" y="0"/>
                    </a:lnTo>
                    <a:lnTo>
                      <a:pt x="253" y="4"/>
                    </a:lnTo>
                    <a:lnTo>
                      <a:pt x="253" y="4"/>
                    </a:lnTo>
                    <a:lnTo>
                      <a:pt x="253" y="4"/>
                    </a:lnTo>
                    <a:lnTo>
                      <a:pt x="253" y="4"/>
                    </a:lnTo>
                    <a:lnTo>
                      <a:pt x="253" y="9"/>
                    </a:lnTo>
                    <a:lnTo>
                      <a:pt x="258" y="13"/>
                    </a:lnTo>
                    <a:lnTo>
                      <a:pt x="258" y="13"/>
                    </a:lnTo>
                    <a:lnTo>
                      <a:pt x="258" y="23"/>
                    </a:lnTo>
                    <a:lnTo>
                      <a:pt x="258" y="23"/>
                    </a:lnTo>
                    <a:lnTo>
                      <a:pt x="258" y="23"/>
                    </a:lnTo>
                    <a:lnTo>
                      <a:pt x="258" y="27"/>
                    </a:lnTo>
                    <a:lnTo>
                      <a:pt x="258" y="27"/>
                    </a:lnTo>
                    <a:lnTo>
                      <a:pt x="258" y="27"/>
                    </a:lnTo>
                    <a:lnTo>
                      <a:pt x="258" y="32"/>
                    </a:lnTo>
                    <a:lnTo>
                      <a:pt x="262" y="32"/>
                    </a:lnTo>
                    <a:lnTo>
                      <a:pt x="262" y="36"/>
                    </a:lnTo>
                    <a:lnTo>
                      <a:pt x="262" y="41"/>
                    </a:lnTo>
                    <a:lnTo>
                      <a:pt x="262" y="41"/>
                    </a:lnTo>
                    <a:lnTo>
                      <a:pt x="262" y="41"/>
                    </a:lnTo>
                    <a:lnTo>
                      <a:pt x="262" y="41"/>
                    </a:lnTo>
                    <a:lnTo>
                      <a:pt x="262" y="45"/>
                    </a:lnTo>
                    <a:lnTo>
                      <a:pt x="262" y="50"/>
                    </a:lnTo>
                    <a:lnTo>
                      <a:pt x="262" y="54"/>
                    </a:lnTo>
                    <a:lnTo>
                      <a:pt x="262" y="59"/>
                    </a:lnTo>
                    <a:lnTo>
                      <a:pt x="262" y="59"/>
                    </a:lnTo>
                    <a:lnTo>
                      <a:pt x="262" y="63"/>
                    </a:lnTo>
                    <a:lnTo>
                      <a:pt x="262" y="68"/>
                    </a:lnTo>
                    <a:lnTo>
                      <a:pt x="262" y="68"/>
                    </a:lnTo>
                    <a:lnTo>
                      <a:pt x="262" y="72"/>
                    </a:lnTo>
                    <a:lnTo>
                      <a:pt x="262" y="72"/>
                    </a:lnTo>
                    <a:lnTo>
                      <a:pt x="258" y="72"/>
                    </a:lnTo>
                    <a:lnTo>
                      <a:pt x="258" y="68"/>
                    </a:lnTo>
                    <a:lnTo>
                      <a:pt x="253" y="68"/>
                    </a:lnTo>
                    <a:lnTo>
                      <a:pt x="253" y="68"/>
                    </a:lnTo>
                    <a:lnTo>
                      <a:pt x="253" y="68"/>
                    </a:lnTo>
                    <a:lnTo>
                      <a:pt x="249" y="68"/>
                    </a:lnTo>
                    <a:lnTo>
                      <a:pt x="249" y="72"/>
                    </a:lnTo>
                    <a:lnTo>
                      <a:pt x="244" y="72"/>
                    </a:lnTo>
                    <a:lnTo>
                      <a:pt x="244" y="77"/>
                    </a:lnTo>
                    <a:lnTo>
                      <a:pt x="240" y="81"/>
                    </a:lnTo>
                    <a:lnTo>
                      <a:pt x="240" y="81"/>
                    </a:lnTo>
                    <a:lnTo>
                      <a:pt x="240" y="81"/>
                    </a:lnTo>
                    <a:lnTo>
                      <a:pt x="240" y="86"/>
                    </a:lnTo>
                    <a:lnTo>
                      <a:pt x="240" y="86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4" y="90"/>
                    </a:lnTo>
                    <a:lnTo>
                      <a:pt x="249" y="95"/>
                    </a:lnTo>
                    <a:lnTo>
                      <a:pt x="253" y="95"/>
                    </a:lnTo>
                    <a:lnTo>
                      <a:pt x="258" y="95"/>
                    </a:lnTo>
                    <a:lnTo>
                      <a:pt x="258" y="95"/>
                    </a:lnTo>
                    <a:lnTo>
                      <a:pt x="258" y="95"/>
                    </a:lnTo>
                    <a:lnTo>
                      <a:pt x="262" y="90"/>
                    </a:lnTo>
                    <a:lnTo>
                      <a:pt x="262" y="86"/>
                    </a:lnTo>
                    <a:lnTo>
                      <a:pt x="262" y="86"/>
                    </a:lnTo>
                    <a:lnTo>
                      <a:pt x="262" y="86"/>
                    </a:lnTo>
                    <a:lnTo>
                      <a:pt x="262" y="86"/>
                    </a:lnTo>
                    <a:lnTo>
                      <a:pt x="262" y="86"/>
                    </a:lnTo>
                    <a:lnTo>
                      <a:pt x="267" y="86"/>
                    </a:lnTo>
                    <a:lnTo>
                      <a:pt x="267" y="86"/>
                    </a:lnTo>
                    <a:lnTo>
                      <a:pt x="271" y="86"/>
                    </a:lnTo>
                    <a:lnTo>
                      <a:pt x="276" y="86"/>
                    </a:lnTo>
                    <a:lnTo>
                      <a:pt x="276" y="86"/>
                    </a:lnTo>
                    <a:lnTo>
                      <a:pt x="276" y="90"/>
                    </a:lnTo>
                    <a:lnTo>
                      <a:pt x="271" y="99"/>
                    </a:lnTo>
                    <a:lnTo>
                      <a:pt x="271" y="104"/>
                    </a:lnTo>
                    <a:lnTo>
                      <a:pt x="267" y="113"/>
                    </a:lnTo>
                    <a:lnTo>
                      <a:pt x="267" y="117"/>
                    </a:lnTo>
                    <a:lnTo>
                      <a:pt x="262" y="122"/>
                    </a:lnTo>
                    <a:lnTo>
                      <a:pt x="258" y="127"/>
                    </a:lnTo>
                    <a:lnTo>
                      <a:pt x="258" y="127"/>
                    </a:lnTo>
                    <a:lnTo>
                      <a:pt x="258" y="127"/>
                    </a:lnTo>
                    <a:lnTo>
                      <a:pt x="253" y="127"/>
                    </a:lnTo>
                    <a:lnTo>
                      <a:pt x="244" y="136"/>
                    </a:lnTo>
                    <a:lnTo>
                      <a:pt x="244" y="140"/>
                    </a:lnTo>
                    <a:lnTo>
                      <a:pt x="240" y="145"/>
                    </a:lnTo>
                    <a:lnTo>
                      <a:pt x="240" y="149"/>
                    </a:lnTo>
                    <a:lnTo>
                      <a:pt x="235" y="154"/>
                    </a:lnTo>
                    <a:lnTo>
                      <a:pt x="230" y="158"/>
                    </a:lnTo>
                    <a:lnTo>
                      <a:pt x="226" y="167"/>
                    </a:lnTo>
                    <a:lnTo>
                      <a:pt x="221" y="172"/>
                    </a:lnTo>
                    <a:lnTo>
                      <a:pt x="217" y="172"/>
                    </a:lnTo>
                    <a:lnTo>
                      <a:pt x="217" y="176"/>
                    </a:lnTo>
                    <a:lnTo>
                      <a:pt x="212" y="176"/>
                    </a:lnTo>
                    <a:lnTo>
                      <a:pt x="208" y="185"/>
                    </a:lnTo>
                    <a:lnTo>
                      <a:pt x="203" y="190"/>
                    </a:lnTo>
                    <a:lnTo>
                      <a:pt x="194" y="194"/>
                    </a:lnTo>
                    <a:lnTo>
                      <a:pt x="190" y="199"/>
                    </a:lnTo>
                    <a:lnTo>
                      <a:pt x="185" y="203"/>
                    </a:lnTo>
                    <a:lnTo>
                      <a:pt x="181" y="203"/>
                    </a:lnTo>
                    <a:lnTo>
                      <a:pt x="176" y="208"/>
                    </a:lnTo>
                    <a:lnTo>
                      <a:pt x="172" y="212"/>
                    </a:lnTo>
                    <a:lnTo>
                      <a:pt x="163" y="217"/>
                    </a:lnTo>
                    <a:lnTo>
                      <a:pt x="158" y="217"/>
                    </a:lnTo>
                    <a:lnTo>
                      <a:pt x="154" y="217"/>
                    </a:lnTo>
                    <a:lnTo>
                      <a:pt x="149" y="217"/>
                    </a:lnTo>
                    <a:lnTo>
                      <a:pt x="149" y="217"/>
                    </a:lnTo>
                    <a:lnTo>
                      <a:pt x="145" y="221"/>
                    </a:lnTo>
                    <a:lnTo>
                      <a:pt x="145" y="221"/>
                    </a:lnTo>
                    <a:lnTo>
                      <a:pt x="145" y="221"/>
                    </a:lnTo>
                    <a:lnTo>
                      <a:pt x="140" y="221"/>
                    </a:lnTo>
                    <a:lnTo>
                      <a:pt x="136" y="221"/>
                    </a:lnTo>
                    <a:lnTo>
                      <a:pt x="136" y="221"/>
                    </a:lnTo>
                    <a:lnTo>
                      <a:pt x="136" y="226"/>
                    </a:lnTo>
                    <a:lnTo>
                      <a:pt x="131" y="226"/>
                    </a:lnTo>
                    <a:lnTo>
                      <a:pt x="122" y="221"/>
                    </a:lnTo>
                    <a:lnTo>
                      <a:pt x="118" y="221"/>
                    </a:lnTo>
                    <a:lnTo>
                      <a:pt x="113" y="221"/>
                    </a:lnTo>
                    <a:lnTo>
                      <a:pt x="109" y="221"/>
                    </a:lnTo>
                    <a:lnTo>
                      <a:pt x="109" y="221"/>
                    </a:lnTo>
                    <a:lnTo>
                      <a:pt x="104" y="221"/>
                    </a:lnTo>
                    <a:lnTo>
                      <a:pt x="99" y="221"/>
                    </a:lnTo>
                    <a:lnTo>
                      <a:pt x="95" y="221"/>
                    </a:lnTo>
                    <a:lnTo>
                      <a:pt x="95" y="221"/>
                    </a:lnTo>
                    <a:lnTo>
                      <a:pt x="90" y="221"/>
                    </a:lnTo>
                    <a:lnTo>
                      <a:pt x="86" y="226"/>
                    </a:lnTo>
                    <a:lnTo>
                      <a:pt x="81" y="226"/>
                    </a:lnTo>
                    <a:lnTo>
                      <a:pt x="77" y="231"/>
                    </a:lnTo>
                    <a:lnTo>
                      <a:pt x="77" y="231"/>
                    </a:lnTo>
                    <a:lnTo>
                      <a:pt x="72" y="226"/>
                    </a:lnTo>
                    <a:lnTo>
                      <a:pt x="72" y="226"/>
                    </a:lnTo>
                    <a:lnTo>
                      <a:pt x="68" y="231"/>
                    </a:lnTo>
                    <a:lnTo>
                      <a:pt x="68" y="231"/>
                    </a:lnTo>
                    <a:lnTo>
                      <a:pt x="63" y="231"/>
                    </a:lnTo>
                    <a:lnTo>
                      <a:pt x="63" y="231"/>
                    </a:lnTo>
                    <a:lnTo>
                      <a:pt x="54" y="235"/>
                    </a:lnTo>
                    <a:lnTo>
                      <a:pt x="54" y="235"/>
                    </a:lnTo>
                    <a:lnTo>
                      <a:pt x="54" y="235"/>
                    </a:lnTo>
                    <a:lnTo>
                      <a:pt x="50" y="235"/>
                    </a:lnTo>
                    <a:lnTo>
                      <a:pt x="45" y="231"/>
                    </a:lnTo>
                    <a:lnTo>
                      <a:pt x="45" y="231"/>
                    </a:lnTo>
                    <a:lnTo>
                      <a:pt x="45" y="231"/>
                    </a:lnTo>
                    <a:lnTo>
                      <a:pt x="45" y="231"/>
                    </a:lnTo>
                    <a:lnTo>
                      <a:pt x="45" y="231"/>
                    </a:lnTo>
                    <a:lnTo>
                      <a:pt x="45" y="231"/>
                    </a:lnTo>
                    <a:lnTo>
                      <a:pt x="41" y="231"/>
                    </a:lnTo>
                    <a:lnTo>
                      <a:pt x="41" y="226"/>
                    </a:lnTo>
                    <a:lnTo>
                      <a:pt x="36" y="226"/>
                    </a:lnTo>
                    <a:lnTo>
                      <a:pt x="36" y="226"/>
                    </a:lnTo>
                    <a:lnTo>
                      <a:pt x="36" y="226"/>
                    </a:lnTo>
                    <a:lnTo>
                      <a:pt x="36" y="226"/>
                    </a:lnTo>
                    <a:lnTo>
                      <a:pt x="36" y="226"/>
                    </a:lnTo>
                    <a:lnTo>
                      <a:pt x="36" y="226"/>
                    </a:lnTo>
                    <a:lnTo>
                      <a:pt x="36" y="221"/>
                    </a:lnTo>
                    <a:lnTo>
                      <a:pt x="36" y="221"/>
                    </a:lnTo>
                    <a:lnTo>
                      <a:pt x="36" y="221"/>
                    </a:lnTo>
                    <a:lnTo>
                      <a:pt x="32" y="221"/>
                    </a:lnTo>
                    <a:lnTo>
                      <a:pt x="32" y="221"/>
                    </a:lnTo>
                    <a:lnTo>
                      <a:pt x="32" y="221"/>
                    </a:lnTo>
                    <a:lnTo>
                      <a:pt x="32" y="226"/>
                    </a:lnTo>
                    <a:lnTo>
                      <a:pt x="32" y="226"/>
                    </a:lnTo>
                    <a:lnTo>
                      <a:pt x="32" y="226"/>
                    </a:lnTo>
                    <a:lnTo>
                      <a:pt x="27" y="226"/>
                    </a:lnTo>
                    <a:lnTo>
                      <a:pt x="27" y="221"/>
                    </a:lnTo>
                    <a:lnTo>
                      <a:pt x="27" y="221"/>
                    </a:lnTo>
                    <a:lnTo>
                      <a:pt x="32" y="217"/>
                    </a:lnTo>
                    <a:lnTo>
                      <a:pt x="32" y="217"/>
                    </a:lnTo>
                    <a:lnTo>
                      <a:pt x="32" y="217"/>
                    </a:lnTo>
                    <a:lnTo>
                      <a:pt x="27" y="212"/>
                    </a:lnTo>
                    <a:lnTo>
                      <a:pt x="27" y="208"/>
                    </a:lnTo>
                    <a:lnTo>
                      <a:pt x="27" y="208"/>
                    </a:lnTo>
                    <a:lnTo>
                      <a:pt x="23" y="208"/>
                    </a:lnTo>
                    <a:lnTo>
                      <a:pt x="23" y="203"/>
                    </a:lnTo>
                    <a:lnTo>
                      <a:pt x="23" y="203"/>
                    </a:lnTo>
                    <a:lnTo>
                      <a:pt x="23" y="203"/>
                    </a:lnTo>
                    <a:lnTo>
                      <a:pt x="23" y="199"/>
                    </a:lnTo>
                    <a:lnTo>
                      <a:pt x="23" y="199"/>
                    </a:lnTo>
                    <a:lnTo>
                      <a:pt x="23" y="194"/>
                    </a:lnTo>
                    <a:lnTo>
                      <a:pt x="23" y="199"/>
                    </a:lnTo>
                    <a:lnTo>
                      <a:pt x="27" y="199"/>
                    </a:lnTo>
                    <a:lnTo>
                      <a:pt x="27" y="194"/>
                    </a:lnTo>
                    <a:lnTo>
                      <a:pt x="27" y="194"/>
                    </a:lnTo>
                    <a:lnTo>
                      <a:pt x="32" y="190"/>
                    </a:lnTo>
                    <a:lnTo>
                      <a:pt x="27" y="185"/>
                    </a:lnTo>
                    <a:lnTo>
                      <a:pt x="27" y="176"/>
                    </a:lnTo>
                    <a:lnTo>
                      <a:pt x="27" y="176"/>
                    </a:lnTo>
                    <a:lnTo>
                      <a:pt x="23" y="172"/>
                    </a:lnTo>
                    <a:lnTo>
                      <a:pt x="18" y="163"/>
                    </a:lnTo>
                    <a:lnTo>
                      <a:pt x="14" y="154"/>
                    </a:lnTo>
                    <a:lnTo>
                      <a:pt x="14" y="149"/>
                    </a:lnTo>
                    <a:lnTo>
                      <a:pt x="9" y="136"/>
                    </a:lnTo>
                    <a:lnTo>
                      <a:pt x="5" y="127"/>
                    </a:lnTo>
                    <a:lnTo>
                      <a:pt x="0" y="122"/>
                    </a:lnTo>
                    <a:lnTo>
                      <a:pt x="0" y="117"/>
                    </a:lnTo>
                    <a:lnTo>
                      <a:pt x="0" y="117"/>
                    </a:lnTo>
                    <a:lnTo>
                      <a:pt x="5" y="117"/>
                    </a:lnTo>
                    <a:lnTo>
                      <a:pt x="5" y="117"/>
                    </a:lnTo>
                    <a:lnTo>
                      <a:pt x="5" y="117"/>
                    </a:lnTo>
                    <a:lnTo>
                      <a:pt x="5" y="117"/>
                    </a:lnTo>
                    <a:lnTo>
                      <a:pt x="5" y="117"/>
                    </a:lnTo>
                    <a:lnTo>
                      <a:pt x="5" y="113"/>
                    </a:lnTo>
                    <a:lnTo>
                      <a:pt x="5" y="113"/>
                    </a:lnTo>
                    <a:lnTo>
                      <a:pt x="9" y="113"/>
                    </a:lnTo>
                    <a:lnTo>
                      <a:pt x="9" y="108"/>
                    </a:lnTo>
                    <a:lnTo>
                      <a:pt x="9" y="108"/>
                    </a:lnTo>
                    <a:lnTo>
                      <a:pt x="9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13"/>
                    </a:lnTo>
                    <a:lnTo>
                      <a:pt x="14" y="113"/>
                    </a:lnTo>
                    <a:lnTo>
                      <a:pt x="14" y="113"/>
                    </a:lnTo>
                    <a:lnTo>
                      <a:pt x="14" y="113"/>
                    </a:lnTo>
                    <a:lnTo>
                      <a:pt x="18" y="113"/>
                    </a:lnTo>
                    <a:lnTo>
                      <a:pt x="18" y="117"/>
                    </a:lnTo>
                    <a:lnTo>
                      <a:pt x="14" y="117"/>
                    </a:lnTo>
                    <a:lnTo>
                      <a:pt x="14" y="117"/>
                    </a:lnTo>
                    <a:lnTo>
                      <a:pt x="18" y="117"/>
                    </a:lnTo>
                    <a:lnTo>
                      <a:pt x="18" y="122"/>
                    </a:lnTo>
                    <a:lnTo>
                      <a:pt x="18" y="122"/>
                    </a:lnTo>
                    <a:lnTo>
                      <a:pt x="18" y="122"/>
                    </a:lnTo>
                    <a:lnTo>
                      <a:pt x="23" y="122"/>
                    </a:lnTo>
                    <a:lnTo>
                      <a:pt x="23" y="122"/>
                    </a:lnTo>
                    <a:lnTo>
                      <a:pt x="27" y="122"/>
                    </a:lnTo>
                    <a:lnTo>
                      <a:pt x="27" y="127"/>
                    </a:lnTo>
                    <a:lnTo>
                      <a:pt x="32" y="127"/>
                    </a:lnTo>
                    <a:lnTo>
                      <a:pt x="36" y="122"/>
                    </a:lnTo>
                    <a:lnTo>
                      <a:pt x="41" y="127"/>
                    </a:lnTo>
                    <a:lnTo>
                      <a:pt x="45" y="127"/>
                    </a:lnTo>
                    <a:lnTo>
                      <a:pt x="45" y="127"/>
                    </a:lnTo>
                    <a:lnTo>
                      <a:pt x="45" y="127"/>
                    </a:lnTo>
                    <a:lnTo>
                      <a:pt x="45" y="122"/>
                    </a:lnTo>
                    <a:lnTo>
                      <a:pt x="45" y="122"/>
                    </a:lnTo>
                    <a:lnTo>
                      <a:pt x="50" y="122"/>
                    </a:lnTo>
                    <a:lnTo>
                      <a:pt x="50" y="122"/>
                    </a:lnTo>
                    <a:lnTo>
                      <a:pt x="50" y="122"/>
                    </a:lnTo>
                    <a:lnTo>
                      <a:pt x="50" y="117"/>
                    </a:lnTo>
                    <a:lnTo>
                      <a:pt x="54" y="117"/>
                    </a:lnTo>
                    <a:lnTo>
                      <a:pt x="59" y="117"/>
                    </a:lnTo>
                    <a:lnTo>
                      <a:pt x="59" y="117"/>
                    </a:lnTo>
                    <a:lnTo>
                      <a:pt x="59" y="113"/>
                    </a:lnTo>
                    <a:lnTo>
                      <a:pt x="59" y="104"/>
                    </a:lnTo>
                    <a:lnTo>
                      <a:pt x="59" y="99"/>
                    </a:lnTo>
                    <a:lnTo>
                      <a:pt x="59" y="90"/>
                    </a:lnTo>
                    <a:lnTo>
                      <a:pt x="59" y="81"/>
                    </a:lnTo>
                    <a:lnTo>
                      <a:pt x="59" y="72"/>
                    </a:lnTo>
                    <a:lnTo>
                      <a:pt x="59" y="63"/>
                    </a:lnTo>
                    <a:lnTo>
                      <a:pt x="63" y="54"/>
                    </a:lnTo>
                    <a:lnTo>
                      <a:pt x="63" y="50"/>
                    </a:lnTo>
                    <a:lnTo>
                      <a:pt x="63" y="50"/>
                    </a:lnTo>
                    <a:lnTo>
                      <a:pt x="68" y="54"/>
                    </a:lnTo>
                    <a:lnTo>
                      <a:pt x="68" y="54"/>
                    </a:lnTo>
                    <a:lnTo>
                      <a:pt x="68" y="54"/>
                    </a:lnTo>
                    <a:lnTo>
                      <a:pt x="72" y="63"/>
                    </a:lnTo>
                    <a:lnTo>
                      <a:pt x="72" y="68"/>
                    </a:lnTo>
                    <a:lnTo>
                      <a:pt x="72" y="68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7" y="72"/>
                    </a:lnTo>
                    <a:lnTo>
                      <a:pt x="72" y="72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2" y="81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1"/>
                    </a:lnTo>
                    <a:lnTo>
                      <a:pt x="90" y="81"/>
                    </a:lnTo>
                    <a:lnTo>
                      <a:pt x="95" y="81"/>
                    </a:lnTo>
                    <a:lnTo>
                      <a:pt x="95" y="81"/>
                    </a:lnTo>
                    <a:lnTo>
                      <a:pt x="99" y="77"/>
                    </a:lnTo>
                    <a:lnTo>
                      <a:pt x="104" y="77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9" y="68"/>
                    </a:lnTo>
                    <a:lnTo>
                      <a:pt x="109" y="63"/>
                    </a:lnTo>
                    <a:lnTo>
                      <a:pt x="109" y="63"/>
                    </a:lnTo>
                    <a:lnTo>
                      <a:pt x="109" y="59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18" y="59"/>
                    </a:lnTo>
                    <a:lnTo>
                      <a:pt x="118" y="59"/>
                    </a:lnTo>
                    <a:lnTo>
                      <a:pt x="122" y="59"/>
                    </a:lnTo>
                    <a:lnTo>
                      <a:pt x="122" y="59"/>
                    </a:lnTo>
                    <a:lnTo>
                      <a:pt x="127" y="63"/>
                    </a:lnTo>
                    <a:lnTo>
                      <a:pt x="127" y="63"/>
                    </a:lnTo>
                    <a:lnTo>
                      <a:pt x="127" y="63"/>
                    </a:lnTo>
                    <a:lnTo>
                      <a:pt x="131" y="63"/>
                    </a:lnTo>
                    <a:lnTo>
                      <a:pt x="131" y="63"/>
                    </a:lnTo>
                    <a:lnTo>
                      <a:pt x="136" y="68"/>
                    </a:lnTo>
                    <a:lnTo>
                      <a:pt x="136" y="68"/>
                    </a:lnTo>
                    <a:lnTo>
                      <a:pt x="136" y="68"/>
                    </a:lnTo>
                    <a:lnTo>
                      <a:pt x="140" y="68"/>
                    </a:lnTo>
                    <a:lnTo>
                      <a:pt x="145" y="68"/>
                    </a:lnTo>
                    <a:lnTo>
                      <a:pt x="145" y="68"/>
                    </a:lnTo>
                    <a:lnTo>
                      <a:pt x="145" y="68"/>
                    </a:lnTo>
                    <a:lnTo>
                      <a:pt x="149" y="68"/>
                    </a:lnTo>
                    <a:lnTo>
                      <a:pt x="149" y="68"/>
                    </a:lnTo>
                    <a:lnTo>
                      <a:pt x="154" y="68"/>
                    </a:lnTo>
                    <a:lnTo>
                      <a:pt x="154" y="63"/>
                    </a:lnTo>
                    <a:lnTo>
                      <a:pt x="154" y="63"/>
                    </a:lnTo>
                    <a:lnTo>
                      <a:pt x="158" y="59"/>
                    </a:lnTo>
                    <a:lnTo>
                      <a:pt x="158" y="59"/>
                    </a:lnTo>
                    <a:lnTo>
                      <a:pt x="158" y="54"/>
                    </a:lnTo>
                    <a:lnTo>
                      <a:pt x="158" y="50"/>
                    </a:lnTo>
                    <a:lnTo>
                      <a:pt x="163" y="50"/>
                    </a:lnTo>
                    <a:lnTo>
                      <a:pt x="163" y="50"/>
                    </a:lnTo>
                    <a:lnTo>
                      <a:pt x="163" y="45"/>
                    </a:lnTo>
                    <a:lnTo>
                      <a:pt x="163" y="45"/>
                    </a:lnTo>
                    <a:lnTo>
                      <a:pt x="167" y="45"/>
                    </a:lnTo>
                    <a:lnTo>
                      <a:pt x="172" y="45"/>
                    </a:lnTo>
                    <a:lnTo>
                      <a:pt x="172" y="45"/>
                    </a:lnTo>
                    <a:lnTo>
                      <a:pt x="172" y="41"/>
                    </a:lnTo>
                    <a:lnTo>
                      <a:pt x="176" y="41"/>
                    </a:lnTo>
                    <a:lnTo>
                      <a:pt x="176" y="36"/>
                    </a:lnTo>
                    <a:lnTo>
                      <a:pt x="181" y="27"/>
                    </a:lnTo>
                    <a:lnTo>
                      <a:pt x="181" y="27"/>
                    </a:lnTo>
                    <a:lnTo>
                      <a:pt x="181" y="27"/>
                    </a:lnTo>
                    <a:lnTo>
                      <a:pt x="181" y="23"/>
                    </a:lnTo>
                    <a:lnTo>
                      <a:pt x="185" y="23"/>
                    </a:lnTo>
                    <a:lnTo>
                      <a:pt x="185" y="23"/>
                    </a:lnTo>
                    <a:lnTo>
                      <a:pt x="185" y="23"/>
                    </a:lnTo>
                    <a:lnTo>
                      <a:pt x="185" y="23"/>
                    </a:lnTo>
                    <a:lnTo>
                      <a:pt x="190" y="23"/>
                    </a:lnTo>
                    <a:lnTo>
                      <a:pt x="190" y="23"/>
                    </a:lnTo>
                    <a:lnTo>
                      <a:pt x="190" y="18"/>
                    </a:lnTo>
                    <a:lnTo>
                      <a:pt x="190" y="18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94" y="13"/>
                    </a:lnTo>
                    <a:lnTo>
                      <a:pt x="199" y="13"/>
                    </a:lnTo>
                    <a:lnTo>
                      <a:pt x="199" y="13"/>
                    </a:lnTo>
                    <a:lnTo>
                      <a:pt x="203" y="9"/>
                    </a:lnTo>
                    <a:lnTo>
                      <a:pt x="203" y="9"/>
                    </a:lnTo>
                    <a:lnTo>
                      <a:pt x="208" y="9"/>
                    </a:lnTo>
                    <a:lnTo>
                      <a:pt x="208" y="4"/>
                    </a:lnTo>
                    <a:lnTo>
                      <a:pt x="212" y="4"/>
                    </a:lnTo>
                    <a:lnTo>
                      <a:pt x="212" y="4"/>
                    </a:lnTo>
                    <a:lnTo>
                      <a:pt x="217" y="0"/>
                    </a:lnTo>
                    <a:lnTo>
                      <a:pt x="217" y="0"/>
                    </a:lnTo>
                    <a:lnTo>
                      <a:pt x="221" y="0"/>
                    </a:lnTo>
                    <a:lnTo>
                      <a:pt x="221" y="0"/>
                    </a:lnTo>
                    <a:lnTo>
                      <a:pt x="226" y="0"/>
                    </a:lnTo>
                    <a:lnTo>
                      <a:pt x="230" y="0"/>
                    </a:lnTo>
                    <a:lnTo>
                      <a:pt x="235" y="0"/>
                    </a:lnTo>
                    <a:moveTo>
                      <a:pt x="190" y="127"/>
                    </a:moveTo>
                    <a:lnTo>
                      <a:pt x="190" y="127"/>
                    </a:lnTo>
                    <a:lnTo>
                      <a:pt x="185" y="127"/>
                    </a:lnTo>
                    <a:lnTo>
                      <a:pt x="185" y="127"/>
                    </a:lnTo>
                    <a:lnTo>
                      <a:pt x="185" y="131"/>
                    </a:lnTo>
                    <a:lnTo>
                      <a:pt x="185" y="131"/>
                    </a:lnTo>
                    <a:lnTo>
                      <a:pt x="181" y="131"/>
                    </a:lnTo>
                    <a:lnTo>
                      <a:pt x="181" y="136"/>
                    </a:lnTo>
                    <a:lnTo>
                      <a:pt x="181" y="136"/>
                    </a:lnTo>
                    <a:lnTo>
                      <a:pt x="181" y="136"/>
                    </a:lnTo>
                    <a:lnTo>
                      <a:pt x="181" y="136"/>
                    </a:lnTo>
                    <a:lnTo>
                      <a:pt x="176" y="140"/>
                    </a:lnTo>
                    <a:lnTo>
                      <a:pt x="176" y="140"/>
                    </a:lnTo>
                    <a:lnTo>
                      <a:pt x="176" y="140"/>
                    </a:lnTo>
                    <a:lnTo>
                      <a:pt x="176" y="140"/>
                    </a:lnTo>
                    <a:lnTo>
                      <a:pt x="176" y="140"/>
                    </a:lnTo>
                    <a:lnTo>
                      <a:pt x="176" y="145"/>
                    </a:lnTo>
                    <a:lnTo>
                      <a:pt x="176" y="145"/>
                    </a:lnTo>
                    <a:lnTo>
                      <a:pt x="176" y="145"/>
                    </a:lnTo>
                    <a:lnTo>
                      <a:pt x="181" y="149"/>
                    </a:lnTo>
                    <a:lnTo>
                      <a:pt x="181" y="149"/>
                    </a:lnTo>
                    <a:lnTo>
                      <a:pt x="181" y="149"/>
                    </a:lnTo>
                    <a:lnTo>
                      <a:pt x="181" y="154"/>
                    </a:lnTo>
                    <a:lnTo>
                      <a:pt x="181" y="154"/>
                    </a:lnTo>
                    <a:lnTo>
                      <a:pt x="181" y="154"/>
                    </a:lnTo>
                    <a:lnTo>
                      <a:pt x="181" y="154"/>
                    </a:lnTo>
                    <a:lnTo>
                      <a:pt x="181" y="154"/>
                    </a:lnTo>
                    <a:lnTo>
                      <a:pt x="181" y="154"/>
                    </a:lnTo>
                    <a:lnTo>
                      <a:pt x="181" y="154"/>
                    </a:lnTo>
                    <a:lnTo>
                      <a:pt x="181" y="154"/>
                    </a:lnTo>
                    <a:lnTo>
                      <a:pt x="185" y="158"/>
                    </a:lnTo>
                    <a:lnTo>
                      <a:pt x="185" y="158"/>
                    </a:lnTo>
                    <a:lnTo>
                      <a:pt x="190" y="158"/>
                    </a:lnTo>
                    <a:lnTo>
                      <a:pt x="190" y="158"/>
                    </a:lnTo>
                    <a:lnTo>
                      <a:pt x="190" y="158"/>
                    </a:lnTo>
                    <a:lnTo>
                      <a:pt x="190" y="158"/>
                    </a:lnTo>
                    <a:lnTo>
                      <a:pt x="190" y="158"/>
                    </a:lnTo>
                    <a:lnTo>
                      <a:pt x="190" y="154"/>
                    </a:lnTo>
                    <a:lnTo>
                      <a:pt x="194" y="154"/>
                    </a:lnTo>
                    <a:lnTo>
                      <a:pt x="194" y="149"/>
                    </a:lnTo>
                    <a:lnTo>
                      <a:pt x="194" y="149"/>
                    </a:lnTo>
                    <a:lnTo>
                      <a:pt x="199" y="149"/>
                    </a:lnTo>
                    <a:lnTo>
                      <a:pt x="199" y="149"/>
                    </a:lnTo>
                    <a:lnTo>
                      <a:pt x="199" y="149"/>
                    </a:lnTo>
                    <a:lnTo>
                      <a:pt x="199" y="149"/>
                    </a:lnTo>
                    <a:lnTo>
                      <a:pt x="199" y="149"/>
                    </a:lnTo>
                    <a:lnTo>
                      <a:pt x="203" y="149"/>
                    </a:lnTo>
                    <a:lnTo>
                      <a:pt x="203" y="149"/>
                    </a:lnTo>
                    <a:lnTo>
                      <a:pt x="208" y="145"/>
                    </a:lnTo>
                    <a:lnTo>
                      <a:pt x="208" y="145"/>
                    </a:lnTo>
                    <a:lnTo>
                      <a:pt x="208" y="145"/>
                    </a:lnTo>
                    <a:lnTo>
                      <a:pt x="208" y="145"/>
                    </a:lnTo>
                    <a:lnTo>
                      <a:pt x="208" y="140"/>
                    </a:lnTo>
                    <a:lnTo>
                      <a:pt x="212" y="140"/>
                    </a:lnTo>
                    <a:lnTo>
                      <a:pt x="212" y="140"/>
                    </a:lnTo>
                    <a:lnTo>
                      <a:pt x="212" y="140"/>
                    </a:lnTo>
                    <a:lnTo>
                      <a:pt x="212" y="136"/>
                    </a:lnTo>
                    <a:lnTo>
                      <a:pt x="212" y="136"/>
                    </a:lnTo>
                    <a:lnTo>
                      <a:pt x="212" y="131"/>
                    </a:lnTo>
                    <a:lnTo>
                      <a:pt x="212" y="131"/>
                    </a:lnTo>
                    <a:lnTo>
                      <a:pt x="212" y="131"/>
                    </a:lnTo>
                    <a:lnTo>
                      <a:pt x="212" y="131"/>
                    </a:lnTo>
                    <a:lnTo>
                      <a:pt x="212" y="131"/>
                    </a:lnTo>
                    <a:lnTo>
                      <a:pt x="212" y="127"/>
                    </a:lnTo>
                    <a:lnTo>
                      <a:pt x="208" y="127"/>
                    </a:lnTo>
                    <a:lnTo>
                      <a:pt x="208" y="127"/>
                    </a:lnTo>
                    <a:lnTo>
                      <a:pt x="208" y="122"/>
                    </a:lnTo>
                    <a:lnTo>
                      <a:pt x="203" y="122"/>
                    </a:lnTo>
                    <a:lnTo>
                      <a:pt x="203" y="122"/>
                    </a:lnTo>
                    <a:lnTo>
                      <a:pt x="203" y="122"/>
                    </a:lnTo>
                    <a:lnTo>
                      <a:pt x="203" y="122"/>
                    </a:lnTo>
                    <a:lnTo>
                      <a:pt x="203" y="122"/>
                    </a:lnTo>
                    <a:lnTo>
                      <a:pt x="203" y="122"/>
                    </a:lnTo>
                    <a:lnTo>
                      <a:pt x="199" y="122"/>
                    </a:lnTo>
                    <a:lnTo>
                      <a:pt x="194" y="122"/>
                    </a:lnTo>
                    <a:lnTo>
                      <a:pt x="194" y="122"/>
                    </a:lnTo>
                    <a:lnTo>
                      <a:pt x="190" y="127"/>
                    </a:lnTo>
                    <a:lnTo>
                      <a:pt x="190" y="127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57" name="Freeform 178"/>
              <p:cNvSpPr>
                <a:spLocks/>
              </p:cNvSpPr>
              <p:nvPr/>
            </p:nvSpPr>
            <p:spPr bwMode="auto">
              <a:xfrm>
                <a:off x="4872038" y="3197226"/>
                <a:ext cx="323850" cy="293688"/>
              </a:xfrm>
              <a:custGeom>
                <a:avLst/>
                <a:gdLst>
                  <a:gd name="T0" fmla="*/ 168 w 204"/>
                  <a:gd name="T1" fmla="*/ 9 h 185"/>
                  <a:gd name="T2" fmla="*/ 172 w 204"/>
                  <a:gd name="T3" fmla="*/ 13 h 185"/>
                  <a:gd name="T4" fmla="*/ 181 w 204"/>
                  <a:gd name="T5" fmla="*/ 13 h 185"/>
                  <a:gd name="T6" fmla="*/ 190 w 204"/>
                  <a:gd name="T7" fmla="*/ 18 h 185"/>
                  <a:gd name="T8" fmla="*/ 195 w 204"/>
                  <a:gd name="T9" fmla="*/ 22 h 185"/>
                  <a:gd name="T10" fmla="*/ 199 w 204"/>
                  <a:gd name="T11" fmla="*/ 27 h 185"/>
                  <a:gd name="T12" fmla="*/ 199 w 204"/>
                  <a:gd name="T13" fmla="*/ 31 h 185"/>
                  <a:gd name="T14" fmla="*/ 204 w 204"/>
                  <a:gd name="T15" fmla="*/ 40 h 185"/>
                  <a:gd name="T16" fmla="*/ 199 w 204"/>
                  <a:gd name="T17" fmla="*/ 49 h 185"/>
                  <a:gd name="T18" fmla="*/ 199 w 204"/>
                  <a:gd name="T19" fmla="*/ 54 h 185"/>
                  <a:gd name="T20" fmla="*/ 199 w 204"/>
                  <a:gd name="T21" fmla="*/ 63 h 185"/>
                  <a:gd name="T22" fmla="*/ 199 w 204"/>
                  <a:gd name="T23" fmla="*/ 77 h 185"/>
                  <a:gd name="T24" fmla="*/ 195 w 204"/>
                  <a:gd name="T25" fmla="*/ 81 h 185"/>
                  <a:gd name="T26" fmla="*/ 190 w 204"/>
                  <a:gd name="T27" fmla="*/ 90 h 185"/>
                  <a:gd name="T28" fmla="*/ 190 w 204"/>
                  <a:gd name="T29" fmla="*/ 99 h 185"/>
                  <a:gd name="T30" fmla="*/ 190 w 204"/>
                  <a:gd name="T31" fmla="*/ 104 h 185"/>
                  <a:gd name="T32" fmla="*/ 190 w 204"/>
                  <a:gd name="T33" fmla="*/ 108 h 185"/>
                  <a:gd name="T34" fmla="*/ 195 w 204"/>
                  <a:gd name="T35" fmla="*/ 108 h 185"/>
                  <a:gd name="T36" fmla="*/ 177 w 204"/>
                  <a:gd name="T37" fmla="*/ 113 h 185"/>
                  <a:gd name="T38" fmla="*/ 163 w 204"/>
                  <a:gd name="T39" fmla="*/ 122 h 185"/>
                  <a:gd name="T40" fmla="*/ 145 w 204"/>
                  <a:gd name="T41" fmla="*/ 126 h 185"/>
                  <a:gd name="T42" fmla="*/ 145 w 204"/>
                  <a:gd name="T43" fmla="*/ 135 h 185"/>
                  <a:gd name="T44" fmla="*/ 127 w 204"/>
                  <a:gd name="T45" fmla="*/ 140 h 185"/>
                  <a:gd name="T46" fmla="*/ 118 w 204"/>
                  <a:gd name="T47" fmla="*/ 149 h 185"/>
                  <a:gd name="T48" fmla="*/ 104 w 204"/>
                  <a:gd name="T49" fmla="*/ 162 h 185"/>
                  <a:gd name="T50" fmla="*/ 82 w 204"/>
                  <a:gd name="T51" fmla="*/ 185 h 185"/>
                  <a:gd name="T52" fmla="*/ 64 w 204"/>
                  <a:gd name="T53" fmla="*/ 181 h 185"/>
                  <a:gd name="T54" fmla="*/ 50 w 204"/>
                  <a:gd name="T55" fmla="*/ 176 h 185"/>
                  <a:gd name="T56" fmla="*/ 32 w 204"/>
                  <a:gd name="T57" fmla="*/ 176 h 185"/>
                  <a:gd name="T58" fmla="*/ 10 w 204"/>
                  <a:gd name="T59" fmla="*/ 162 h 185"/>
                  <a:gd name="T60" fmla="*/ 0 w 204"/>
                  <a:gd name="T61" fmla="*/ 144 h 185"/>
                  <a:gd name="T62" fmla="*/ 0 w 204"/>
                  <a:gd name="T63" fmla="*/ 108 h 185"/>
                  <a:gd name="T64" fmla="*/ 10 w 204"/>
                  <a:gd name="T65" fmla="*/ 90 h 185"/>
                  <a:gd name="T66" fmla="*/ 37 w 204"/>
                  <a:gd name="T67" fmla="*/ 90 h 185"/>
                  <a:gd name="T68" fmla="*/ 37 w 204"/>
                  <a:gd name="T69" fmla="*/ 81 h 185"/>
                  <a:gd name="T70" fmla="*/ 37 w 204"/>
                  <a:gd name="T71" fmla="*/ 63 h 185"/>
                  <a:gd name="T72" fmla="*/ 37 w 204"/>
                  <a:gd name="T73" fmla="*/ 58 h 185"/>
                  <a:gd name="T74" fmla="*/ 37 w 204"/>
                  <a:gd name="T75" fmla="*/ 49 h 185"/>
                  <a:gd name="T76" fmla="*/ 46 w 204"/>
                  <a:gd name="T77" fmla="*/ 54 h 185"/>
                  <a:gd name="T78" fmla="*/ 50 w 204"/>
                  <a:gd name="T79" fmla="*/ 58 h 185"/>
                  <a:gd name="T80" fmla="*/ 59 w 204"/>
                  <a:gd name="T81" fmla="*/ 54 h 185"/>
                  <a:gd name="T82" fmla="*/ 59 w 204"/>
                  <a:gd name="T83" fmla="*/ 63 h 185"/>
                  <a:gd name="T84" fmla="*/ 73 w 204"/>
                  <a:gd name="T85" fmla="*/ 68 h 185"/>
                  <a:gd name="T86" fmla="*/ 86 w 204"/>
                  <a:gd name="T87" fmla="*/ 68 h 185"/>
                  <a:gd name="T88" fmla="*/ 91 w 204"/>
                  <a:gd name="T89" fmla="*/ 63 h 185"/>
                  <a:gd name="T90" fmla="*/ 95 w 204"/>
                  <a:gd name="T91" fmla="*/ 68 h 185"/>
                  <a:gd name="T92" fmla="*/ 104 w 204"/>
                  <a:gd name="T93" fmla="*/ 77 h 185"/>
                  <a:gd name="T94" fmla="*/ 113 w 204"/>
                  <a:gd name="T95" fmla="*/ 81 h 185"/>
                  <a:gd name="T96" fmla="*/ 118 w 204"/>
                  <a:gd name="T97" fmla="*/ 90 h 185"/>
                  <a:gd name="T98" fmla="*/ 127 w 204"/>
                  <a:gd name="T99" fmla="*/ 95 h 185"/>
                  <a:gd name="T100" fmla="*/ 136 w 204"/>
                  <a:gd name="T101" fmla="*/ 95 h 185"/>
                  <a:gd name="T102" fmla="*/ 136 w 204"/>
                  <a:gd name="T103" fmla="*/ 95 h 185"/>
                  <a:gd name="T104" fmla="*/ 136 w 204"/>
                  <a:gd name="T105" fmla="*/ 77 h 185"/>
                  <a:gd name="T106" fmla="*/ 131 w 204"/>
                  <a:gd name="T107" fmla="*/ 77 h 185"/>
                  <a:gd name="T108" fmla="*/ 127 w 204"/>
                  <a:gd name="T109" fmla="*/ 77 h 185"/>
                  <a:gd name="T110" fmla="*/ 118 w 204"/>
                  <a:gd name="T111" fmla="*/ 68 h 185"/>
                  <a:gd name="T112" fmla="*/ 113 w 204"/>
                  <a:gd name="T113" fmla="*/ 58 h 185"/>
                  <a:gd name="T114" fmla="*/ 118 w 204"/>
                  <a:gd name="T115" fmla="*/ 40 h 185"/>
                  <a:gd name="T116" fmla="*/ 118 w 204"/>
                  <a:gd name="T117" fmla="*/ 22 h 185"/>
                  <a:gd name="T118" fmla="*/ 122 w 204"/>
                  <a:gd name="T119" fmla="*/ 13 h 185"/>
                  <a:gd name="T120" fmla="*/ 127 w 204"/>
                  <a:gd name="T121" fmla="*/ 4 h 185"/>
                  <a:gd name="T122" fmla="*/ 154 w 204"/>
                  <a:gd name="T123" fmla="*/ 0 h 185"/>
                  <a:gd name="T124" fmla="*/ 159 w 204"/>
                  <a:gd name="T125" fmla="*/ 4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4" h="185">
                    <a:moveTo>
                      <a:pt x="159" y="4"/>
                    </a:moveTo>
                    <a:lnTo>
                      <a:pt x="159" y="4"/>
                    </a:lnTo>
                    <a:lnTo>
                      <a:pt x="163" y="4"/>
                    </a:lnTo>
                    <a:lnTo>
                      <a:pt x="168" y="4"/>
                    </a:lnTo>
                    <a:lnTo>
                      <a:pt x="168" y="9"/>
                    </a:lnTo>
                    <a:lnTo>
                      <a:pt x="168" y="9"/>
                    </a:lnTo>
                    <a:lnTo>
                      <a:pt x="168" y="9"/>
                    </a:lnTo>
                    <a:lnTo>
                      <a:pt x="172" y="9"/>
                    </a:lnTo>
                    <a:lnTo>
                      <a:pt x="172" y="13"/>
                    </a:lnTo>
                    <a:lnTo>
                      <a:pt x="172" y="13"/>
                    </a:lnTo>
                    <a:lnTo>
                      <a:pt x="172" y="13"/>
                    </a:lnTo>
                    <a:lnTo>
                      <a:pt x="172" y="13"/>
                    </a:lnTo>
                    <a:lnTo>
                      <a:pt x="177" y="13"/>
                    </a:lnTo>
                    <a:lnTo>
                      <a:pt x="177" y="13"/>
                    </a:lnTo>
                    <a:lnTo>
                      <a:pt x="177" y="13"/>
                    </a:lnTo>
                    <a:lnTo>
                      <a:pt x="177" y="13"/>
                    </a:lnTo>
                    <a:lnTo>
                      <a:pt x="177" y="13"/>
                    </a:lnTo>
                    <a:lnTo>
                      <a:pt x="181" y="13"/>
                    </a:lnTo>
                    <a:lnTo>
                      <a:pt x="181" y="18"/>
                    </a:lnTo>
                    <a:lnTo>
                      <a:pt x="181" y="18"/>
                    </a:lnTo>
                    <a:lnTo>
                      <a:pt x="186" y="18"/>
                    </a:lnTo>
                    <a:lnTo>
                      <a:pt x="186" y="18"/>
                    </a:lnTo>
                    <a:lnTo>
                      <a:pt x="186" y="18"/>
                    </a:lnTo>
                    <a:lnTo>
                      <a:pt x="190" y="18"/>
                    </a:lnTo>
                    <a:lnTo>
                      <a:pt x="190" y="22"/>
                    </a:lnTo>
                    <a:lnTo>
                      <a:pt x="195" y="22"/>
                    </a:lnTo>
                    <a:lnTo>
                      <a:pt x="195" y="22"/>
                    </a:lnTo>
                    <a:lnTo>
                      <a:pt x="195" y="22"/>
                    </a:lnTo>
                    <a:lnTo>
                      <a:pt x="195" y="22"/>
                    </a:lnTo>
                    <a:lnTo>
                      <a:pt x="195" y="22"/>
                    </a:lnTo>
                    <a:lnTo>
                      <a:pt x="195" y="27"/>
                    </a:lnTo>
                    <a:lnTo>
                      <a:pt x="195" y="27"/>
                    </a:lnTo>
                    <a:lnTo>
                      <a:pt x="195" y="27"/>
                    </a:lnTo>
                    <a:lnTo>
                      <a:pt x="195" y="27"/>
                    </a:lnTo>
                    <a:lnTo>
                      <a:pt x="195" y="27"/>
                    </a:lnTo>
                    <a:lnTo>
                      <a:pt x="199" y="27"/>
                    </a:lnTo>
                    <a:lnTo>
                      <a:pt x="199" y="27"/>
                    </a:lnTo>
                    <a:lnTo>
                      <a:pt x="199" y="27"/>
                    </a:lnTo>
                    <a:lnTo>
                      <a:pt x="199" y="27"/>
                    </a:lnTo>
                    <a:lnTo>
                      <a:pt x="199" y="31"/>
                    </a:lnTo>
                    <a:lnTo>
                      <a:pt x="199" y="31"/>
                    </a:lnTo>
                    <a:lnTo>
                      <a:pt x="199" y="31"/>
                    </a:lnTo>
                    <a:lnTo>
                      <a:pt x="199" y="36"/>
                    </a:lnTo>
                    <a:lnTo>
                      <a:pt x="204" y="36"/>
                    </a:lnTo>
                    <a:lnTo>
                      <a:pt x="204" y="36"/>
                    </a:lnTo>
                    <a:lnTo>
                      <a:pt x="204" y="40"/>
                    </a:lnTo>
                    <a:lnTo>
                      <a:pt x="204" y="40"/>
                    </a:lnTo>
                    <a:lnTo>
                      <a:pt x="204" y="40"/>
                    </a:lnTo>
                    <a:lnTo>
                      <a:pt x="204" y="45"/>
                    </a:lnTo>
                    <a:lnTo>
                      <a:pt x="204" y="45"/>
                    </a:lnTo>
                    <a:lnTo>
                      <a:pt x="204" y="49"/>
                    </a:lnTo>
                    <a:lnTo>
                      <a:pt x="199" y="49"/>
                    </a:lnTo>
                    <a:lnTo>
                      <a:pt x="199" y="49"/>
                    </a:lnTo>
                    <a:lnTo>
                      <a:pt x="199" y="49"/>
                    </a:lnTo>
                    <a:lnTo>
                      <a:pt x="199" y="49"/>
                    </a:lnTo>
                    <a:lnTo>
                      <a:pt x="199" y="49"/>
                    </a:lnTo>
                    <a:lnTo>
                      <a:pt x="199" y="49"/>
                    </a:lnTo>
                    <a:lnTo>
                      <a:pt x="199" y="54"/>
                    </a:lnTo>
                    <a:lnTo>
                      <a:pt x="199" y="54"/>
                    </a:lnTo>
                    <a:lnTo>
                      <a:pt x="199" y="54"/>
                    </a:lnTo>
                    <a:lnTo>
                      <a:pt x="199" y="58"/>
                    </a:lnTo>
                    <a:lnTo>
                      <a:pt x="199" y="58"/>
                    </a:lnTo>
                    <a:lnTo>
                      <a:pt x="199" y="63"/>
                    </a:lnTo>
                    <a:lnTo>
                      <a:pt x="199" y="63"/>
                    </a:lnTo>
                    <a:lnTo>
                      <a:pt x="199" y="63"/>
                    </a:lnTo>
                    <a:lnTo>
                      <a:pt x="199" y="63"/>
                    </a:lnTo>
                    <a:lnTo>
                      <a:pt x="199" y="68"/>
                    </a:lnTo>
                    <a:lnTo>
                      <a:pt x="199" y="68"/>
                    </a:lnTo>
                    <a:lnTo>
                      <a:pt x="199" y="72"/>
                    </a:lnTo>
                    <a:lnTo>
                      <a:pt x="199" y="77"/>
                    </a:lnTo>
                    <a:lnTo>
                      <a:pt x="199" y="77"/>
                    </a:lnTo>
                    <a:lnTo>
                      <a:pt x="199" y="77"/>
                    </a:lnTo>
                    <a:lnTo>
                      <a:pt x="204" y="77"/>
                    </a:lnTo>
                    <a:lnTo>
                      <a:pt x="199" y="77"/>
                    </a:lnTo>
                    <a:lnTo>
                      <a:pt x="199" y="77"/>
                    </a:lnTo>
                    <a:lnTo>
                      <a:pt x="199" y="81"/>
                    </a:lnTo>
                    <a:lnTo>
                      <a:pt x="195" y="81"/>
                    </a:lnTo>
                    <a:lnTo>
                      <a:pt x="195" y="81"/>
                    </a:lnTo>
                    <a:lnTo>
                      <a:pt x="190" y="81"/>
                    </a:lnTo>
                    <a:lnTo>
                      <a:pt x="190" y="86"/>
                    </a:lnTo>
                    <a:lnTo>
                      <a:pt x="190" y="86"/>
                    </a:lnTo>
                    <a:lnTo>
                      <a:pt x="190" y="86"/>
                    </a:lnTo>
                    <a:lnTo>
                      <a:pt x="190" y="90"/>
                    </a:lnTo>
                    <a:lnTo>
                      <a:pt x="190" y="90"/>
                    </a:lnTo>
                    <a:lnTo>
                      <a:pt x="190" y="90"/>
                    </a:lnTo>
                    <a:lnTo>
                      <a:pt x="190" y="95"/>
                    </a:lnTo>
                    <a:lnTo>
                      <a:pt x="190" y="95"/>
                    </a:lnTo>
                    <a:lnTo>
                      <a:pt x="190" y="95"/>
                    </a:lnTo>
                    <a:lnTo>
                      <a:pt x="190" y="99"/>
                    </a:lnTo>
                    <a:lnTo>
                      <a:pt x="190" y="99"/>
                    </a:lnTo>
                    <a:lnTo>
                      <a:pt x="186" y="99"/>
                    </a:lnTo>
                    <a:lnTo>
                      <a:pt x="186" y="99"/>
                    </a:lnTo>
                    <a:lnTo>
                      <a:pt x="186" y="99"/>
                    </a:lnTo>
                    <a:lnTo>
                      <a:pt x="190" y="99"/>
                    </a:lnTo>
                    <a:lnTo>
                      <a:pt x="190" y="104"/>
                    </a:lnTo>
                    <a:lnTo>
                      <a:pt x="190" y="104"/>
                    </a:lnTo>
                    <a:lnTo>
                      <a:pt x="190" y="104"/>
                    </a:lnTo>
                    <a:lnTo>
                      <a:pt x="186" y="104"/>
                    </a:lnTo>
                    <a:lnTo>
                      <a:pt x="190" y="104"/>
                    </a:lnTo>
                    <a:lnTo>
                      <a:pt x="190" y="104"/>
                    </a:lnTo>
                    <a:lnTo>
                      <a:pt x="190" y="104"/>
                    </a:lnTo>
                    <a:lnTo>
                      <a:pt x="190" y="108"/>
                    </a:lnTo>
                    <a:lnTo>
                      <a:pt x="190" y="108"/>
                    </a:lnTo>
                    <a:lnTo>
                      <a:pt x="190" y="108"/>
                    </a:lnTo>
                    <a:lnTo>
                      <a:pt x="190" y="108"/>
                    </a:lnTo>
                    <a:lnTo>
                      <a:pt x="190" y="108"/>
                    </a:lnTo>
                    <a:lnTo>
                      <a:pt x="195" y="108"/>
                    </a:lnTo>
                    <a:lnTo>
                      <a:pt x="195" y="108"/>
                    </a:lnTo>
                    <a:lnTo>
                      <a:pt x="195" y="108"/>
                    </a:lnTo>
                    <a:lnTo>
                      <a:pt x="190" y="108"/>
                    </a:lnTo>
                    <a:lnTo>
                      <a:pt x="190" y="108"/>
                    </a:lnTo>
                    <a:lnTo>
                      <a:pt x="186" y="113"/>
                    </a:lnTo>
                    <a:lnTo>
                      <a:pt x="177" y="113"/>
                    </a:lnTo>
                    <a:lnTo>
                      <a:pt x="177" y="113"/>
                    </a:lnTo>
                    <a:lnTo>
                      <a:pt x="177" y="117"/>
                    </a:lnTo>
                    <a:lnTo>
                      <a:pt x="172" y="117"/>
                    </a:lnTo>
                    <a:lnTo>
                      <a:pt x="168" y="117"/>
                    </a:lnTo>
                    <a:lnTo>
                      <a:pt x="168" y="117"/>
                    </a:lnTo>
                    <a:lnTo>
                      <a:pt x="168" y="117"/>
                    </a:lnTo>
                    <a:lnTo>
                      <a:pt x="163" y="122"/>
                    </a:lnTo>
                    <a:lnTo>
                      <a:pt x="159" y="122"/>
                    </a:lnTo>
                    <a:lnTo>
                      <a:pt x="154" y="122"/>
                    </a:lnTo>
                    <a:lnTo>
                      <a:pt x="150" y="122"/>
                    </a:lnTo>
                    <a:lnTo>
                      <a:pt x="150" y="122"/>
                    </a:lnTo>
                    <a:lnTo>
                      <a:pt x="145" y="126"/>
                    </a:lnTo>
                    <a:lnTo>
                      <a:pt x="145" y="126"/>
                    </a:lnTo>
                    <a:lnTo>
                      <a:pt x="145" y="126"/>
                    </a:lnTo>
                    <a:lnTo>
                      <a:pt x="145" y="126"/>
                    </a:lnTo>
                    <a:lnTo>
                      <a:pt x="145" y="131"/>
                    </a:lnTo>
                    <a:lnTo>
                      <a:pt x="145" y="131"/>
                    </a:lnTo>
                    <a:lnTo>
                      <a:pt x="145" y="131"/>
                    </a:lnTo>
                    <a:lnTo>
                      <a:pt x="145" y="135"/>
                    </a:lnTo>
                    <a:lnTo>
                      <a:pt x="145" y="140"/>
                    </a:lnTo>
                    <a:lnTo>
                      <a:pt x="145" y="140"/>
                    </a:lnTo>
                    <a:lnTo>
                      <a:pt x="141" y="140"/>
                    </a:lnTo>
                    <a:lnTo>
                      <a:pt x="136" y="140"/>
                    </a:lnTo>
                    <a:lnTo>
                      <a:pt x="131" y="140"/>
                    </a:lnTo>
                    <a:lnTo>
                      <a:pt x="127" y="140"/>
                    </a:lnTo>
                    <a:lnTo>
                      <a:pt x="122" y="144"/>
                    </a:lnTo>
                    <a:lnTo>
                      <a:pt x="122" y="144"/>
                    </a:lnTo>
                    <a:lnTo>
                      <a:pt x="118" y="144"/>
                    </a:lnTo>
                    <a:lnTo>
                      <a:pt x="118" y="144"/>
                    </a:lnTo>
                    <a:lnTo>
                      <a:pt x="118" y="149"/>
                    </a:lnTo>
                    <a:lnTo>
                      <a:pt x="118" y="149"/>
                    </a:lnTo>
                    <a:lnTo>
                      <a:pt x="118" y="153"/>
                    </a:lnTo>
                    <a:lnTo>
                      <a:pt x="118" y="153"/>
                    </a:lnTo>
                    <a:lnTo>
                      <a:pt x="118" y="153"/>
                    </a:lnTo>
                    <a:lnTo>
                      <a:pt x="109" y="158"/>
                    </a:lnTo>
                    <a:lnTo>
                      <a:pt x="104" y="158"/>
                    </a:lnTo>
                    <a:lnTo>
                      <a:pt x="104" y="162"/>
                    </a:lnTo>
                    <a:lnTo>
                      <a:pt x="100" y="167"/>
                    </a:lnTo>
                    <a:lnTo>
                      <a:pt x="95" y="167"/>
                    </a:lnTo>
                    <a:lnTo>
                      <a:pt x="95" y="172"/>
                    </a:lnTo>
                    <a:lnTo>
                      <a:pt x="91" y="176"/>
                    </a:lnTo>
                    <a:lnTo>
                      <a:pt x="86" y="181"/>
                    </a:lnTo>
                    <a:lnTo>
                      <a:pt x="82" y="185"/>
                    </a:lnTo>
                    <a:lnTo>
                      <a:pt x="77" y="185"/>
                    </a:lnTo>
                    <a:lnTo>
                      <a:pt x="73" y="181"/>
                    </a:lnTo>
                    <a:lnTo>
                      <a:pt x="73" y="181"/>
                    </a:lnTo>
                    <a:lnTo>
                      <a:pt x="68" y="181"/>
                    </a:lnTo>
                    <a:lnTo>
                      <a:pt x="68" y="181"/>
                    </a:lnTo>
                    <a:lnTo>
                      <a:pt x="64" y="181"/>
                    </a:lnTo>
                    <a:lnTo>
                      <a:pt x="64" y="181"/>
                    </a:lnTo>
                    <a:lnTo>
                      <a:pt x="59" y="181"/>
                    </a:lnTo>
                    <a:lnTo>
                      <a:pt x="59" y="181"/>
                    </a:lnTo>
                    <a:lnTo>
                      <a:pt x="55" y="181"/>
                    </a:lnTo>
                    <a:lnTo>
                      <a:pt x="55" y="176"/>
                    </a:lnTo>
                    <a:lnTo>
                      <a:pt x="50" y="176"/>
                    </a:lnTo>
                    <a:lnTo>
                      <a:pt x="50" y="176"/>
                    </a:lnTo>
                    <a:lnTo>
                      <a:pt x="46" y="172"/>
                    </a:lnTo>
                    <a:lnTo>
                      <a:pt x="41" y="172"/>
                    </a:lnTo>
                    <a:lnTo>
                      <a:pt x="37" y="172"/>
                    </a:lnTo>
                    <a:lnTo>
                      <a:pt x="37" y="172"/>
                    </a:lnTo>
                    <a:lnTo>
                      <a:pt x="32" y="176"/>
                    </a:lnTo>
                    <a:lnTo>
                      <a:pt x="28" y="176"/>
                    </a:lnTo>
                    <a:lnTo>
                      <a:pt x="23" y="176"/>
                    </a:lnTo>
                    <a:lnTo>
                      <a:pt x="19" y="172"/>
                    </a:lnTo>
                    <a:lnTo>
                      <a:pt x="19" y="167"/>
                    </a:lnTo>
                    <a:lnTo>
                      <a:pt x="14" y="167"/>
                    </a:lnTo>
                    <a:lnTo>
                      <a:pt x="10" y="162"/>
                    </a:lnTo>
                    <a:lnTo>
                      <a:pt x="10" y="158"/>
                    </a:lnTo>
                    <a:lnTo>
                      <a:pt x="5" y="158"/>
                    </a:lnTo>
                    <a:lnTo>
                      <a:pt x="5" y="158"/>
                    </a:lnTo>
                    <a:lnTo>
                      <a:pt x="5" y="158"/>
                    </a:lnTo>
                    <a:lnTo>
                      <a:pt x="0" y="149"/>
                    </a:lnTo>
                    <a:lnTo>
                      <a:pt x="0" y="144"/>
                    </a:lnTo>
                    <a:lnTo>
                      <a:pt x="0" y="140"/>
                    </a:lnTo>
                    <a:lnTo>
                      <a:pt x="0" y="135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0" y="117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99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5" y="90"/>
                    </a:lnTo>
                    <a:lnTo>
                      <a:pt x="10" y="90"/>
                    </a:lnTo>
                    <a:lnTo>
                      <a:pt x="14" y="90"/>
                    </a:lnTo>
                    <a:lnTo>
                      <a:pt x="19" y="90"/>
                    </a:lnTo>
                    <a:lnTo>
                      <a:pt x="23" y="90"/>
                    </a:lnTo>
                    <a:lnTo>
                      <a:pt x="32" y="90"/>
                    </a:lnTo>
                    <a:lnTo>
                      <a:pt x="32" y="90"/>
                    </a:lnTo>
                    <a:lnTo>
                      <a:pt x="37" y="90"/>
                    </a:lnTo>
                    <a:lnTo>
                      <a:pt x="37" y="90"/>
                    </a:lnTo>
                    <a:lnTo>
                      <a:pt x="37" y="86"/>
                    </a:lnTo>
                    <a:lnTo>
                      <a:pt x="37" y="86"/>
                    </a:lnTo>
                    <a:lnTo>
                      <a:pt x="37" y="86"/>
                    </a:lnTo>
                    <a:lnTo>
                      <a:pt x="37" y="81"/>
                    </a:lnTo>
                    <a:lnTo>
                      <a:pt x="37" y="81"/>
                    </a:lnTo>
                    <a:lnTo>
                      <a:pt x="37" y="77"/>
                    </a:lnTo>
                    <a:lnTo>
                      <a:pt x="37" y="77"/>
                    </a:lnTo>
                    <a:lnTo>
                      <a:pt x="37" y="72"/>
                    </a:lnTo>
                    <a:lnTo>
                      <a:pt x="37" y="68"/>
                    </a:lnTo>
                    <a:lnTo>
                      <a:pt x="37" y="68"/>
                    </a:lnTo>
                    <a:lnTo>
                      <a:pt x="37" y="63"/>
                    </a:lnTo>
                    <a:lnTo>
                      <a:pt x="37" y="63"/>
                    </a:lnTo>
                    <a:lnTo>
                      <a:pt x="37" y="63"/>
                    </a:lnTo>
                    <a:lnTo>
                      <a:pt x="37" y="58"/>
                    </a:lnTo>
                    <a:lnTo>
                      <a:pt x="37" y="58"/>
                    </a:lnTo>
                    <a:lnTo>
                      <a:pt x="37" y="58"/>
                    </a:lnTo>
                    <a:lnTo>
                      <a:pt x="37" y="58"/>
                    </a:lnTo>
                    <a:lnTo>
                      <a:pt x="37" y="58"/>
                    </a:lnTo>
                    <a:lnTo>
                      <a:pt x="37" y="54"/>
                    </a:lnTo>
                    <a:lnTo>
                      <a:pt x="37" y="49"/>
                    </a:lnTo>
                    <a:lnTo>
                      <a:pt x="37" y="49"/>
                    </a:lnTo>
                    <a:lnTo>
                      <a:pt x="37" y="49"/>
                    </a:lnTo>
                    <a:lnTo>
                      <a:pt x="37" y="49"/>
                    </a:lnTo>
                    <a:lnTo>
                      <a:pt x="41" y="49"/>
                    </a:lnTo>
                    <a:lnTo>
                      <a:pt x="41" y="49"/>
                    </a:lnTo>
                    <a:lnTo>
                      <a:pt x="41" y="49"/>
                    </a:lnTo>
                    <a:lnTo>
                      <a:pt x="41" y="54"/>
                    </a:lnTo>
                    <a:lnTo>
                      <a:pt x="46" y="54"/>
                    </a:lnTo>
                    <a:lnTo>
                      <a:pt x="46" y="54"/>
                    </a:lnTo>
                    <a:lnTo>
                      <a:pt x="46" y="58"/>
                    </a:lnTo>
                    <a:lnTo>
                      <a:pt x="41" y="58"/>
                    </a:lnTo>
                    <a:lnTo>
                      <a:pt x="46" y="58"/>
                    </a:lnTo>
                    <a:lnTo>
                      <a:pt x="46" y="58"/>
                    </a:lnTo>
                    <a:lnTo>
                      <a:pt x="46" y="58"/>
                    </a:lnTo>
                    <a:lnTo>
                      <a:pt x="50" y="58"/>
                    </a:lnTo>
                    <a:lnTo>
                      <a:pt x="50" y="58"/>
                    </a:lnTo>
                    <a:lnTo>
                      <a:pt x="50" y="58"/>
                    </a:lnTo>
                    <a:lnTo>
                      <a:pt x="55" y="58"/>
                    </a:lnTo>
                    <a:lnTo>
                      <a:pt x="55" y="54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9" y="58"/>
                    </a:lnTo>
                    <a:lnTo>
                      <a:pt x="59" y="58"/>
                    </a:lnTo>
                    <a:lnTo>
                      <a:pt x="59" y="63"/>
                    </a:lnTo>
                    <a:lnTo>
                      <a:pt x="59" y="63"/>
                    </a:lnTo>
                    <a:lnTo>
                      <a:pt x="64" y="63"/>
                    </a:lnTo>
                    <a:lnTo>
                      <a:pt x="64" y="63"/>
                    </a:lnTo>
                    <a:lnTo>
                      <a:pt x="64" y="63"/>
                    </a:lnTo>
                    <a:lnTo>
                      <a:pt x="64" y="63"/>
                    </a:lnTo>
                    <a:lnTo>
                      <a:pt x="68" y="68"/>
                    </a:lnTo>
                    <a:lnTo>
                      <a:pt x="73" y="68"/>
                    </a:lnTo>
                    <a:lnTo>
                      <a:pt x="73" y="68"/>
                    </a:lnTo>
                    <a:lnTo>
                      <a:pt x="73" y="68"/>
                    </a:lnTo>
                    <a:lnTo>
                      <a:pt x="77" y="68"/>
                    </a:lnTo>
                    <a:lnTo>
                      <a:pt x="77" y="68"/>
                    </a:lnTo>
                    <a:lnTo>
                      <a:pt x="82" y="68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91" y="68"/>
                    </a:lnTo>
                    <a:lnTo>
                      <a:pt x="91" y="63"/>
                    </a:lnTo>
                    <a:lnTo>
                      <a:pt x="91" y="63"/>
                    </a:lnTo>
                    <a:lnTo>
                      <a:pt x="91" y="63"/>
                    </a:lnTo>
                    <a:lnTo>
                      <a:pt x="91" y="63"/>
                    </a:lnTo>
                    <a:lnTo>
                      <a:pt x="91" y="63"/>
                    </a:lnTo>
                    <a:lnTo>
                      <a:pt x="95" y="68"/>
                    </a:lnTo>
                    <a:lnTo>
                      <a:pt x="95" y="68"/>
                    </a:lnTo>
                    <a:lnTo>
                      <a:pt x="95" y="72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0" y="77"/>
                    </a:lnTo>
                    <a:lnTo>
                      <a:pt x="100" y="77"/>
                    </a:lnTo>
                    <a:lnTo>
                      <a:pt x="104" y="77"/>
                    </a:lnTo>
                    <a:lnTo>
                      <a:pt x="109" y="77"/>
                    </a:lnTo>
                    <a:lnTo>
                      <a:pt x="109" y="77"/>
                    </a:lnTo>
                    <a:lnTo>
                      <a:pt x="113" y="81"/>
                    </a:lnTo>
                    <a:lnTo>
                      <a:pt x="113" y="81"/>
                    </a:lnTo>
                    <a:lnTo>
                      <a:pt x="113" y="81"/>
                    </a:lnTo>
                    <a:lnTo>
                      <a:pt x="113" y="81"/>
                    </a:lnTo>
                    <a:lnTo>
                      <a:pt x="113" y="86"/>
                    </a:lnTo>
                    <a:lnTo>
                      <a:pt x="113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90"/>
                    </a:lnTo>
                    <a:lnTo>
                      <a:pt x="122" y="90"/>
                    </a:lnTo>
                    <a:lnTo>
                      <a:pt x="122" y="95"/>
                    </a:lnTo>
                    <a:lnTo>
                      <a:pt x="122" y="95"/>
                    </a:lnTo>
                    <a:lnTo>
                      <a:pt x="122" y="95"/>
                    </a:lnTo>
                    <a:lnTo>
                      <a:pt x="127" y="95"/>
                    </a:lnTo>
                    <a:lnTo>
                      <a:pt x="127" y="95"/>
                    </a:lnTo>
                    <a:lnTo>
                      <a:pt x="127" y="95"/>
                    </a:lnTo>
                    <a:lnTo>
                      <a:pt x="131" y="95"/>
                    </a:lnTo>
                    <a:lnTo>
                      <a:pt x="131" y="95"/>
                    </a:lnTo>
                    <a:lnTo>
                      <a:pt x="131" y="95"/>
                    </a:lnTo>
                    <a:lnTo>
                      <a:pt x="131" y="95"/>
                    </a:lnTo>
                    <a:lnTo>
                      <a:pt x="136" y="95"/>
                    </a:lnTo>
                    <a:lnTo>
                      <a:pt x="136" y="95"/>
                    </a:lnTo>
                    <a:lnTo>
                      <a:pt x="136" y="95"/>
                    </a:lnTo>
                    <a:lnTo>
                      <a:pt x="136" y="99"/>
                    </a:lnTo>
                    <a:lnTo>
                      <a:pt x="136" y="99"/>
                    </a:lnTo>
                    <a:lnTo>
                      <a:pt x="136" y="95"/>
                    </a:lnTo>
                    <a:lnTo>
                      <a:pt x="136" y="95"/>
                    </a:lnTo>
                    <a:lnTo>
                      <a:pt x="136" y="90"/>
                    </a:lnTo>
                    <a:lnTo>
                      <a:pt x="136" y="90"/>
                    </a:lnTo>
                    <a:lnTo>
                      <a:pt x="136" y="86"/>
                    </a:lnTo>
                    <a:lnTo>
                      <a:pt x="136" y="81"/>
                    </a:lnTo>
                    <a:lnTo>
                      <a:pt x="136" y="77"/>
                    </a:lnTo>
                    <a:lnTo>
                      <a:pt x="136" y="77"/>
                    </a:lnTo>
                    <a:lnTo>
                      <a:pt x="136" y="72"/>
                    </a:lnTo>
                    <a:lnTo>
                      <a:pt x="136" y="72"/>
                    </a:lnTo>
                    <a:lnTo>
                      <a:pt x="136" y="72"/>
                    </a:lnTo>
                    <a:lnTo>
                      <a:pt x="131" y="72"/>
                    </a:lnTo>
                    <a:lnTo>
                      <a:pt x="131" y="72"/>
                    </a:lnTo>
                    <a:lnTo>
                      <a:pt x="131" y="77"/>
                    </a:lnTo>
                    <a:lnTo>
                      <a:pt x="131" y="77"/>
                    </a:lnTo>
                    <a:lnTo>
                      <a:pt x="131" y="77"/>
                    </a:lnTo>
                    <a:lnTo>
                      <a:pt x="131" y="77"/>
                    </a:lnTo>
                    <a:lnTo>
                      <a:pt x="131" y="77"/>
                    </a:lnTo>
                    <a:lnTo>
                      <a:pt x="131" y="77"/>
                    </a:lnTo>
                    <a:lnTo>
                      <a:pt x="127" y="77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22" y="72"/>
                    </a:lnTo>
                    <a:lnTo>
                      <a:pt x="118" y="72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13" y="68"/>
                    </a:lnTo>
                    <a:lnTo>
                      <a:pt x="113" y="63"/>
                    </a:lnTo>
                    <a:lnTo>
                      <a:pt x="113" y="63"/>
                    </a:lnTo>
                    <a:lnTo>
                      <a:pt x="113" y="63"/>
                    </a:lnTo>
                    <a:lnTo>
                      <a:pt x="113" y="58"/>
                    </a:lnTo>
                    <a:lnTo>
                      <a:pt x="113" y="58"/>
                    </a:lnTo>
                    <a:lnTo>
                      <a:pt x="113" y="54"/>
                    </a:lnTo>
                    <a:lnTo>
                      <a:pt x="118" y="49"/>
                    </a:lnTo>
                    <a:lnTo>
                      <a:pt x="118" y="49"/>
                    </a:lnTo>
                    <a:lnTo>
                      <a:pt x="118" y="45"/>
                    </a:lnTo>
                    <a:lnTo>
                      <a:pt x="118" y="40"/>
                    </a:lnTo>
                    <a:lnTo>
                      <a:pt x="118" y="40"/>
                    </a:lnTo>
                    <a:lnTo>
                      <a:pt x="118" y="36"/>
                    </a:lnTo>
                    <a:lnTo>
                      <a:pt x="118" y="36"/>
                    </a:lnTo>
                    <a:lnTo>
                      <a:pt x="118" y="31"/>
                    </a:lnTo>
                    <a:lnTo>
                      <a:pt x="118" y="27"/>
                    </a:lnTo>
                    <a:lnTo>
                      <a:pt x="118" y="27"/>
                    </a:lnTo>
                    <a:lnTo>
                      <a:pt x="118" y="22"/>
                    </a:lnTo>
                    <a:lnTo>
                      <a:pt x="113" y="18"/>
                    </a:lnTo>
                    <a:lnTo>
                      <a:pt x="113" y="18"/>
                    </a:lnTo>
                    <a:lnTo>
                      <a:pt x="118" y="18"/>
                    </a:lnTo>
                    <a:lnTo>
                      <a:pt x="118" y="13"/>
                    </a:lnTo>
                    <a:lnTo>
                      <a:pt x="118" y="13"/>
                    </a:lnTo>
                    <a:lnTo>
                      <a:pt x="122" y="13"/>
                    </a:lnTo>
                    <a:lnTo>
                      <a:pt x="122" y="13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7" y="4"/>
                    </a:lnTo>
                    <a:lnTo>
                      <a:pt x="127" y="4"/>
                    </a:lnTo>
                    <a:lnTo>
                      <a:pt x="131" y="0"/>
                    </a:lnTo>
                    <a:lnTo>
                      <a:pt x="141" y="0"/>
                    </a:lnTo>
                    <a:lnTo>
                      <a:pt x="145" y="0"/>
                    </a:lnTo>
                    <a:lnTo>
                      <a:pt x="150" y="0"/>
                    </a:lnTo>
                    <a:lnTo>
                      <a:pt x="154" y="0"/>
                    </a:lnTo>
                    <a:lnTo>
                      <a:pt x="154" y="0"/>
                    </a:lnTo>
                    <a:lnTo>
                      <a:pt x="154" y="0"/>
                    </a:lnTo>
                    <a:lnTo>
                      <a:pt x="159" y="0"/>
                    </a:lnTo>
                    <a:lnTo>
                      <a:pt x="159" y="4"/>
                    </a:lnTo>
                    <a:lnTo>
                      <a:pt x="159" y="4"/>
                    </a:lnTo>
                    <a:lnTo>
                      <a:pt x="159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58" name="Freeform 179"/>
              <p:cNvSpPr>
                <a:spLocks/>
              </p:cNvSpPr>
              <p:nvPr/>
            </p:nvSpPr>
            <p:spPr bwMode="auto">
              <a:xfrm>
                <a:off x="4959351" y="3419476"/>
                <a:ext cx="214313" cy="200025"/>
              </a:xfrm>
              <a:custGeom>
                <a:avLst/>
                <a:gdLst>
                  <a:gd name="T0" fmla="*/ 126 w 135"/>
                  <a:gd name="T1" fmla="*/ 18 h 126"/>
                  <a:gd name="T2" fmla="*/ 131 w 135"/>
                  <a:gd name="T3" fmla="*/ 18 h 126"/>
                  <a:gd name="T4" fmla="*/ 131 w 135"/>
                  <a:gd name="T5" fmla="*/ 22 h 126"/>
                  <a:gd name="T6" fmla="*/ 135 w 135"/>
                  <a:gd name="T7" fmla="*/ 32 h 126"/>
                  <a:gd name="T8" fmla="*/ 131 w 135"/>
                  <a:gd name="T9" fmla="*/ 45 h 126"/>
                  <a:gd name="T10" fmla="*/ 135 w 135"/>
                  <a:gd name="T11" fmla="*/ 50 h 126"/>
                  <a:gd name="T12" fmla="*/ 131 w 135"/>
                  <a:gd name="T13" fmla="*/ 54 h 126"/>
                  <a:gd name="T14" fmla="*/ 126 w 135"/>
                  <a:gd name="T15" fmla="*/ 59 h 126"/>
                  <a:gd name="T16" fmla="*/ 126 w 135"/>
                  <a:gd name="T17" fmla="*/ 63 h 126"/>
                  <a:gd name="T18" fmla="*/ 131 w 135"/>
                  <a:gd name="T19" fmla="*/ 63 h 126"/>
                  <a:gd name="T20" fmla="*/ 126 w 135"/>
                  <a:gd name="T21" fmla="*/ 68 h 126"/>
                  <a:gd name="T22" fmla="*/ 131 w 135"/>
                  <a:gd name="T23" fmla="*/ 77 h 126"/>
                  <a:gd name="T24" fmla="*/ 131 w 135"/>
                  <a:gd name="T25" fmla="*/ 81 h 126"/>
                  <a:gd name="T26" fmla="*/ 126 w 135"/>
                  <a:gd name="T27" fmla="*/ 90 h 126"/>
                  <a:gd name="T28" fmla="*/ 122 w 135"/>
                  <a:gd name="T29" fmla="*/ 95 h 126"/>
                  <a:gd name="T30" fmla="*/ 117 w 135"/>
                  <a:gd name="T31" fmla="*/ 104 h 126"/>
                  <a:gd name="T32" fmla="*/ 122 w 135"/>
                  <a:gd name="T33" fmla="*/ 104 h 126"/>
                  <a:gd name="T34" fmla="*/ 113 w 135"/>
                  <a:gd name="T35" fmla="*/ 117 h 126"/>
                  <a:gd name="T36" fmla="*/ 104 w 135"/>
                  <a:gd name="T37" fmla="*/ 122 h 126"/>
                  <a:gd name="T38" fmla="*/ 95 w 135"/>
                  <a:gd name="T39" fmla="*/ 122 h 126"/>
                  <a:gd name="T40" fmla="*/ 86 w 135"/>
                  <a:gd name="T41" fmla="*/ 126 h 126"/>
                  <a:gd name="T42" fmla="*/ 72 w 135"/>
                  <a:gd name="T43" fmla="*/ 122 h 126"/>
                  <a:gd name="T44" fmla="*/ 67 w 135"/>
                  <a:gd name="T45" fmla="*/ 122 h 126"/>
                  <a:gd name="T46" fmla="*/ 63 w 135"/>
                  <a:gd name="T47" fmla="*/ 117 h 126"/>
                  <a:gd name="T48" fmla="*/ 63 w 135"/>
                  <a:gd name="T49" fmla="*/ 117 h 126"/>
                  <a:gd name="T50" fmla="*/ 63 w 135"/>
                  <a:gd name="T51" fmla="*/ 113 h 126"/>
                  <a:gd name="T52" fmla="*/ 54 w 135"/>
                  <a:gd name="T53" fmla="*/ 113 h 126"/>
                  <a:gd name="T54" fmla="*/ 45 w 135"/>
                  <a:gd name="T55" fmla="*/ 108 h 126"/>
                  <a:gd name="T56" fmla="*/ 45 w 135"/>
                  <a:gd name="T57" fmla="*/ 104 h 126"/>
                  <a:gd name="T58" fmla="*/ 40 w 135"/>
                  <a:gd name="T59" fmla="*/ 99 h 126"/>
                  <a:gd name="T60" fmla="*/ 40 w 135"/>
                  <a:gd name="T61" fmla="*/ 95 h 126"/>
                  <a:gd name="T62" fmla="*/ 40 w 135"/>
                  <a:gd name="T63" fmla="*/ 90 h 126"/>
                  <a:gd name="T64" fmla="*/ 36 w 135"/>
                  <a:gd name="T65" fmla="*/ 90 h 126"/>
                  <a:gd name="T66" fmla="*/ 31 w 135"/>
                  <a:gd name="T67" fmla="*/ 81 h 126"/>
                  <a:gd name="T68" fmla="*/ 27 w 135"/>
                  <a:gd name="T69" fmla="*/ 81 h 126"/>
                  <a:gd name="T70" fmla="*/ 18 w 135"/>
                  <a:gd name="T71" fmla="*/ 72 h 126"/>
                  <a:gd name="T72" fmla="*/ 13 w 135"/>
                  <a:gd name="T73" fmla="*/ 63 h 126"/>
                  <a:gd name="T74" fmla="*/ 9 w 135"/>
                  <a:gd name="T75" fmla="*/ 59 h 126"/>
                  <a:gd name="T76" fmla="*/ 4 w 135"/>
                  <a:gd name="T77" fmla="*/ 50 h 126"/>
                  <a:gd name="T78" fmla="*/ 4 w 135"/>
                  <a:gd name="T79" fmla="*/ 45 h 126"/>
                  <a:gd name="T80" fmla="*/ 0 w 135"/>
                  <a:gd name="T81" fmla="*/ 41 h 126"/>
                  <a:gd name="T82" fmla="*/ 0 w 135"/>
                  <a:gd name="T83" fmla="*/ 41 h 126"/>
                  <a:gd name="T84" fmla="*/ 9 w 135"/>
                  <a:gd name="T85" fmla="*/ 41 h 126"/>
                  <a:gd name="T86" fmla="*/ 13 w 135"/>
                  <a:gd name="T87" fmla="*/ 41 h 126"/>
                  <a:gd name="T88" fmla="*/ 22 w 135"/>
                  <a:gd name="T89" fmla="*/ 45 h 126"/>
                  <a:gd name="T90" fmla="*/ 36 w 135"/>
                  <a:gd name="T91" fmla="*/ 36 h 126"/>
                  <a:gd name="T92" fmla="*/ 45 w 135"/>
                  <a:gd name="T93" fmla="*/ 27 h 126"/>
                  <a:gd name="T94" fmla="*/ 54 w 135"/>
                  <a:gd name="T95" fmla="*/ 18 h 126"/>
                  <a:gd name="T96" fmla="*/ 63 w 135"/>
                  <a:gd name="T97" fmla="*/ 13 h 126"/>
                  <a:gd name="T98" fmla="*/ 63 w 135"/>
                  <a:gd name="T99" fmla="*/ 4 h 126"/>
                  <a:gd name="T100" fmla="*/ 67 w 135"/>
                  <a:gd name="T101" fmla="*/ 4 h 126"/>
                  <a:gd name="T102" fmla="*/ 81 w 135"/>
                  <a:gd name="T103" fmla="*/ 0 h 126"/>
                  <a:gd name="T104" fmla="*/ 90 w 135"/>
                  <a:gd name="T105" fmla="*/ 0 h 126"/>
                  <a:gd name="T106" fmla="*/ 90 w 135"/>
                  <a:gd name="T107" fmla="*/ 4 h 126"/>
                  <a:gd name="T108" fmla="*/ 104 w 135"/>
                  <a:gd name="T109" fmla="*/ 4 h 126"/>
                  <a:gd name="T110" fmla="*/ 113 w 135"/>
                  <a:gd name="T111" fmla="*/ 9 h 126"/>
                  <a:gd name="T112" fmla="*/ 126 w 135"/>
                  <a:gd name="T113" fmla="*/ 1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5" h="126">
                    <a:moveTo>
                      <a:pt x="126" y="13"/>
                    </a:moveTo>
                    <a:lnTo>
                      <a:pt x="126" y="13"/>
                    </a:lnTo>
                    <a:lnTo>
                      <a:pt x="126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5" y="18"/>
                    </a:lnTo>
                    <a:lnTo>
                      <a:pt x="135" y="18"/>
                    </a:lnTo>
                    <a:lnTo>
                      <a:pt x="131" y="22"/>
                    </a:lnTo>
                    <a:lnTo>
                      <a:pt x="131" y="27"/>
                    </a:lnTo>
                    <a:lnTo>
                      <a:pt x="135" y="27"/>
                    </a:lnTo>
                    <a:lnTo>
                      <a:pt x="135" y="32"/>
                    </a:lnTo>
                    <a:lnTo>
                      <a:pt x="131" y="41"/>
                    </a:lnTo>
                    <a:lnTo>
                      <a:pt x="131" y="45"/>
                    </a:lnTo>
                    <a:lnTo>
                      <a:pt x="131" y="45"/>
                    </a:lnTo>
                    <a:lnTo>
                      <a:pt x="131" y="50"/>
                    </a:lnTo>
                    <a:lnTo>
                      <a:pt x="135" y="50"/>
                    </a:lnTo>
                    <a:lnTo>
                      <a:pt x="135" y="50"/>
                    </a:lnTo>
                    <a:lnTo>
                      <a:pt x="131" y="54"/>
                    </a:lnTo>
                    <a:lnTo>
                      <a:pt x="131" y="54"/>
                    </a:lnTo>
                    <a:lnTo>
                      <a:pt x="131" y="54"/>
                    </a:lnTo>
                    <a:lnTo>
                      <a:pt x="131" y="59"/>
                    </a:lnTo>
                    <a:lnTo>
                      <a:pt x="131" y="59"/>
                    </a:lnTo>
                    <a:lnTo>
                      <a:pt x="126" y="59"/>
                    </a:lnTo>
                    <a:lnTo>
                      <a:pt x="126" y="59"/>
                    </a:lnTo>
                    <a:lnTo>
                      <a:pt x="126" y="59"/>
                    </a:lnTo>
                    <a:lnTo>
                      <a:pt x="126" y="63"/>
                    </a:lnTo>
                    <a:lnTo>
                      <a:pt x="131" y="63"/>
                    </a:lnTo>
                    <a:lnTo>
                      <a:pt x="131" y="63"/>
                    </a:lnTo>
                    <a:lnTo>
                      <a:pt x="131" y="63"/>
                    </a:lnTo>
                    <a:lnTo>
                      <a:pt x="131" y="63"/>
                    </a:lnTo>
                    <a:lnTo>
                      <a:pt x="131" y="68"/>
                    </a:lnTo>
                    <a:lnTo>
                      <a:pt x="126" y="68"/>
                    </a:lnTo>
                    <a:lnTo>
                      <a:pt x="131" y="72"/>
                    </a:lnTo>
                    <a:lnTo>
                      <a:pt x="131" y="77"/>
                    </a:lnTo>
                    <a:lnTo>
                      <a:pt x="131" y="77"/>
                    </a:lnTo>
                    <a:lnTo>
                      <a:pt x="131" y="77"/>
                    </a:lnTo>
                    <a:lnTo>
                      <a:pt x="131" y="81"/>
                    </a:lnTo>
                    <a:lnTo>
                      <a:pt x="131" y="81"/>
                    </a:lnTo>
                    <a:lnTo>
                      <a:pt x="131" y="86"/>
                    </a:lnTo>
                    <a:lnTo>
                      <a:pt x="126" y="86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2" y="95"/>
                    </a:lnTo>
                    <a:lnTo>
                      <a:pt x="122" y="95"/>
                    </a:lnTo>
                    <a:lnTo>
                      <a:pt x="122" y="95"/>
                    </a:lnTo>
                    <a:lnTo>
                      <a:pt x="122" y="99"/>
                    </a:lnTo>
                    <a:lnTo>
                      <a:pt x="117" y="104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17" y="108"/>
                    </a:lnTo>
                    <a:lnTo>
                      <a:pt x="113" y="113"/>
                    </a:lnTo>
                    <a:lnTo>
                      <a:pt x="113" y="117"/>
                    </a:lnTo>
                    <a:lnTo>
                      <a:pt x="108" y="117"/>
                    </a:lnTo>
                    <a:lnTo>
                      <a:pt x="104" y="122"/>
                    </a:lnTo>
                    <a:lnTo>
                      <a:pt x="104" y="122"/>
                    </a:lnTo>
                    <a:lnTo>
                      <a:pt x="99" y="126"/>
                    </a:lnTo>
                    <a:lnTo>
                      <a:pt x="99" y="126"/>
                    </a:lnTo>
                    <a:lnTo>
                      <a:pt x="95" y="122"/>
                    </a:lnTo>
                    <a:lnTo>
                      <a:pt x="95" y="122"/>
                    </a:lnTo>
                    <a:lnTo>
                      <a:pt x="90" y="122"/>
                    </a:lnTo>
                    <a:lnTo>
                      <a:pt x="86" y="126"/>
                    </a:lnTo>
                    <a:lnTo>
                      <a:pt x="81" y="122"/>
                    </a:lnTo>
                    <a:lnTo>
                      <a:pt x="76" y="122"/>
                    </a:lnTo>
                    <a:lnTo>
                      <a:pt x="72" y="122"/>
                    </a:lnTo>
                    <a:lnTo>
                      <a:pt x="67" y="122"/>
                    </a:lnTo>
                    <a:lnTo>
                      <a:pt x="67" y="122"/>
                    </a:lnTo>
                    <a:lnTo>
                      <a:pt x="67" y="122"/>
                    </a:lnTo>
                    <a:lnTo>
                      <a:pt x="67" y="117"/>
                    </a:lnTo>
                    <a:lnTo>
                      <a:pt x="63" y="117"/>
                    </a:lnTo>
                    <a:lnTo>
                      <a:pt x="63" y="117"/>
                    </a:lnTo>
                    <a:lnTo>
                      <a:pt x="63" y="117"/>
                    </a:lnTo>
                    <a:lnTo>
                      <a:pt x="63" y="117"/>
                    </a:lnTo>
                    <a:lnTo>
                      <a:pt x="63" y="117"/>
                    </a:lnTo>
                    <a:lnTo>
                      <a:pt x="63" y="113"/>
                    </a:lnTo>
                    <a:lnTo>
                      <a:pt x="63" y="113"/>
                    </a:lnTo>
                    <a:lnTo>
                      <a:pt x="63" y="113"/>
                    </a:lnTo>
                    <a:lnTo>
                      <a:pt x="58" y="113"/>
                    </a:lnTo>
                    <a:lnTo>
                      <a:pt x="58" y="113"/>
                    </a:lnTo>
                    <a:lnTo>
                      <a:pt x="54" y="113"/>
                    </a:lnTo>
                    <a:lnTo>
                      <a:pt x="49" y="108"/>
                    </a:lnTo>
                    <a:lnTo>
                      <a:pt x="45" y="108"/>
                    </a:lnTo>
                    <a:lnTo>
                      <a:pt x="45" y="108"/>
                    </a:lnTo>
                    <a:lnTo>
                      <a:pt x="45" y="108"/>
                    </a:lnTo>
                    <a:lnTo>
                      <a:pt x="45" y="104"/>
                    </a:lnTo>
                    <a:lnTo>
                      <a:pt x="45" y="104"/>
                    </a:lnTo>
                    <a:lnTo>
                      <a:pt x="40" y="99"/>
                    </a:lnTo>
                    <a:lnTo>
                      <a:pt x="40" y="99"/>
                    </a:lnTo>
                    <a:lnTo>
                      <a:pt x="40" y="99"/>
                    </a:lnTo>
                    <a:lnTo>
                      <a:pt x="40" y="95"/>
                    </a:lnTo>
                    <a:lnTo>
                      <a:pt x="40" y="95"/>
                    </a:lnTo>
                    <a:lnTo>
                      <a:pt x="40" y="95"/>
                    </a:lnTo>
                    <a:lnTo>
                      <a:pt x="40" y="90"/>
                    </a:lnTo>
                    <a:lnTo>
                      <a:pt x="40" y="90"/>
                    </a:lnTo>
                    <a:lnTo>
                      <a:pt x="40" y="90"/>
                    </a:lnTo>
                    <a:lnTo>
                      <a:pt x="40" y="90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86"/>
                    </a:lnTo>
                    <a:lnTo>
                      <a:pt x="31" y="86"/>
                    </a:lnTo>
                    <a:lnTo>
                      <a:pt x="31" y="81"/>
                    </a:lnTo>
                    <a:lnTo>
                      <a:pt x="31" y="81"/>
                    </a:lnTo>
                    <a:lnTo>
                      <a:pt x="31" y="81"/>
                    </a:lnTo>
                    <a:lnTo>
                      <a:pt x="27" y="81"/>
                    </a:lnTo>
                    <a:lnTo>
                      <a:pt x="22" y="77"/>
                    </a:lnTo>
                    <a:lnTo>
                      <a:pt x="22" y="77"/>
                    </a:lnTo>
                    <a:lnTo>
                      <a:pt x="18" y="72"/>
                    </a:lnTo>
                    <a:lnTo>
                      <a:pt x="13" y="72"/>
                    </a:lnTo>
                    <a:lnTo>
                      <a:pt x="13" y="68"/>
                    </a:lnTo>
                    <a:lnTo>
                      <a:pt x="13" y="63"/>
                    </a:lnTo>
                    <a:lnTo>
                      <a:pt x="13" y="63"/>
                    </a:lnTo>
                    <a:lnTo>
                      <a:pt x="13" y="59"/>
                    </a:lnTo>
                    <a:lnTo>
                      <a:pt x="9" y="59"/>
                    </a:lnTo>
                    <a:lnTo>
                      <a:pt x="9" y="54"/>
                    </a:lnTo>
                    <a:lnTo>
                      <a:pt x="9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0" y="45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4" y="41"/>
                    </a:lnTo>
                    <a:lnTo>
                      <a:pt x="4" y="41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18" y="41"/>
                    </a:lnTo>
                    <a:lnTo>
                      <a:pt x="18" y="41"/>
                    </a:lnTo>
                    <a:lnTo>
                      <a:pt x="22" y="45"/>
                    </a:lnTo>
                    <a:lnTo>
                      <a:pt x="27" y="45"/>
                    </a:lnTo>
                    <a:lnTo>
                      <a:pt x="31" y="41"/>
                    </a:lnTo>
                    <a:lnTo>
                      <a:pt x="36" y="36"/>
                    </a:lnTo>
                    <a:lnTo>
                      <a:pt x="40" y="32"/>
                    </a:lnTo>
                    <a:lnTo>
                      <a:pt x="40" y="27"/>
                    </a:lnTo>
                    <a:lnTo>
                      <a:pt x="45" y="27"/>
                    </a:lnTo>
                    <a:lnTo>
                      <a:pt x="49" y="22"/>
                    </a:lnTo>
                    <a:lnTo>
                      <a:pt x="49" y="18"/>
                    </a:lnTo>
                    <a:lnTo>
                      <a:pt x="54" y="18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3" y="9"/>
                    </a:lnTo>
                    <a:lnTo>
                      <a:pt x="63" y="9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7" y="4"/>
                    </a:lnTo>
                    <a:lnTo>
                      <a:pt x="67" y="4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81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5" y="4"/>
                    </a:lnTo>
                    <a:lnTo>
                      <a:pt x="99" y="4"/>
                    </a:lnTo>
                    <a:lnTo>
                      <a:pt x="104" y="4"/>
                    </a:lnTo>
                    <a:lnTo>
                      <a:pt x="108" y="9"/>
                    </a:lnTo>
                    <a:lnTo>
                      <a:pt x="108" y="9"/>
                    </a:lnTo>
                    <a:lnTo>
                      <a:pt x="113" y="9"/>
                    </a:lnTo>
                    <a:lnTo>
                      <a:pt x="117" y="13"/>
                    </a:lnTo>
                    <a:lnTo>
                      <a:pt x="122" y="13"/>
                    </a:lnTo>
                    <a:lnTo>
                      <a:pt x="126" y="13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59" name="Freeform 180"/>
              <p:cNvSpPr>
                <a:spLocks/>
              </p:cNvSpPr>
              <p:nvPr/>
            </p:nvSpPr>
            <p:spPr bwMode="auto">
              <a:xfrm>
                <a:off x="4937126" y="186213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60" name="Freeform 181"/>
              <p:cNvSpPr>
                <a:spLocks/>
              </p:cNvSpPr>
              <p:nvPr/>
            </p:nvSpPr>
            <p:spPr bwMode="auto">
              <a:xfrm>
                <a:off x="4937126" y="186213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61" name="Freeform 182"/>
              <p:cNvSpPr>
                <a:spLocks/>
              </p:cNvSpPr>
              <p:nvPr/>
            </p:nvSpPr>
            <p:spPr bwMode="auto">
              <a:xfrm>
                <a:off x="4959351" y="1854201"/>
                <a:ext cx="6350" cy="7938"/>
              </a:xfrm>
              <a:custGeom>
                <a:avLst/>
                <a:gdLst>
                  <a:gd name="T0" fmla="*/ 4 w 4"/>
                  <a:gd name="T1" fmla="*/ 0 h 5"/>
                  <a:gd name="T2" fmla="*/ 4 w 4"/>
                  <a:gd name="T3" fmla="*/ 0 h 5"/>
                  <a:gd name="T4" fmla="*/ 0 w 4"/>
                  <a:gd name="T5" fmla="*/ 0 h 5"/>
                  <a:gd name="T6" fmla="*/ 0 w 4"/>
                  <a:gd name="T7" fmla="*/ 5 h 5"/>
                  <a:gd name="T8" fmla="*/ 0 w 4"/>
                  <a:gd name="T9" fmla="*/ 0 h 5"/>
                  <a:gd name="T10" fmla="*/ 0 w 4"/>
                  <a:gd name="T11" fmla="*/ 0 h 5"/>
                  <a:gd name="T12" fmla="*/ 0 w 4"/>
                  <a:gd name="T13" fmla="*/ 0 h 5"/>
                  <a:gd name="T14" fmla="*/ 0 w 4"/>
                  <a:gd name="T15" fmla="*/ 0 h 5"/>
                  <a:gd name="T16" fmla="*/ 0 w 4"/>
                  <a:gd name="T17" fmla="*/ 0 h 5"/>
                  <a:gd name="T18" fmla="*/ 4 w 4"/>
                  <a:gd name="T19" fmla="*/ 0 h 5"/>
                  <a:gd name="T20" fmla="*/ 4 w 4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5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62" name="Freeform 183"/>
              <p:cNvSpPr>
                <a:spLocks/>
              </p:cNvSpPr>
              <p:nvPr/>
            </p:nvSpPr>
            <p:spPr bwMode="auto">
              <a:xfrm>
                <a:off x="4959351" y="1854201"/>
                <a:ext cx="6350" cy="7938"/>
              </a:xfrm>
              <a:custGeom>
                <a:avLst/>
                <a:gdLst>
                  <a:gd name="T0" fmla="*/ 4 w 4"/>
                  <a:gd name="T1" fmla="*/ 0 h 5"/>
                  <a:gd name="T2" fmla="*/ 4 w 4"/>
                  <a:gd name="T3" fmla="*/ 0 h 5"/>
                  <a:gd name="T4" fmla="*/ 0 w 4"/>
                  <a:gd name="T5" fmla="*/ 0 h 5"/>
                  <a:gd name="T6" fmla="*/ 0 w 4"/>
                  <a:gd name="T7" fmla="*/ 5 h 5"/>
                  <a:gd name="T8" fmla="*/ 0 w 4"/>
                  <a:gd name="T9" fmla="*/ 0 h 5"/>
                  <a:gd name="T10" fmla="*/ 0 w 4"/>
                  <a:gd name="T11" fmla="*/ 0 h 5"/>
                  <a:gd name="T12" fmla="*/ 0 w 4"/>
                  <a:gd name="T13" fmla="*/ 0 h 5"/>
                  <a:gd name="T14" fmla="*/ 0 w 4"/>
                  <a:gd name="T15" fmla="*/ 0 h 5"/>
                  <a:gd name="T16" fmla="*/ 0 w 4"/>
                  <a:gd name="T17" fmla="*/ 0 h 5"/>
                  <a:gd name="T18" fmla="*/ 4 w 4"/>
                  <a:gd name="T19" fmla="*/ 0 h 5"/>
                  <a:gd name="T20" fmla="*/ 4 w 4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5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63" name="Freeform 184"/>
              <p:cNvSpPr>
                <a:spLocks/>
              </p:cNvSpPr>
              <p:nvPr/>
            </p:nvSpPr>
            <p:spPr bwMode="auto">
              <a:xfrm>
                <a:off x="4908551" y="1854201"/>
                <a:ext cx="7938" cy="0"/>
              </a:xfrm>
              <a:custGeom>
                <a:avLst/>
                <a:gdLst>
                  <a:gd name="T0" fmla="*/ 5 w 5"/>
                  <a:gd name="T1" fmla="*/ 5 w 5"/>
                  <a:gd name="T2" fmla="*/ 5 w 5"/>
                  <a:gd name="T3" fmla="*/ 5 w 5"/>
                  <a:gd name="T4" fmla="*/ 0 w 5"/>
                  <a:gd name="T5" fmla="*/ 0 w 5"/>
                  <a:gd name="T6" fmla="*/ 0 w 5"/>
                  <a:gd name="T7" fmla="*/ 0 w 5"/>
                  <a:gd name="T8" fmla="*/ 5 w 5"/>
                  <a:gd name="T9" fmla="*/ 5 w 5"/>
                  <a:gd name="T10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64" name="Freeform 185"/>
              <p:cNvSpPr>
                <a:spLocks/>
              </p:cNvSpPr>
              <p:nvPr/>
            </p:nvSpPr>
            <p:spPr bwMode="auto">
              <a:xfrm>
                <a:off x="4908551" y="1854201"/>
                <a:ext cx="7938" cy="0"/>
              </a:xfrm>
              <a:custGeom>
                <a:avLst/>
                <a:gdLst>
                  <a:gd name="T0" fmla="*/ 5 w 5"/>
                  <a:gd name="T1" fmla="*/ 5 w 5"/>
                  <a:gd name="T2" fmla="*/ 5 w 5"/>
                  <a:gd name="T3" fmla="*/ 5 w 5"/>
                  <a:gd name="T4" fmla="*/ 0 w 5"/>
                  <a:gd name="T5" fmla="*/ 0 w 5"/>
                  <a:gd name="T6" fmla="*/ 0 w 5"/>
                  <a:gd name="T7" fmla="*/ 0 w 5"/>
                  <a:gd name="T8" fmla="*/ 5 w 5"/>
                  <a:gd name="T9" fmla="*/ 5 w 5"/>
                  <a:gd name="T10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65" name="Freeform 186"/>
              <p:cNvSpPr>
                <a:spLocks/>
              </p:cNvSpPr>
              <p:nvPr/>
            </p:nvSpPr>
            <p:spPr bwMode="auto">
              <a:xfrm>
                <a:off x="4930776" y="1847851"/>
                <a:ext cx="6350" cy="6350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4 w 4"/>
                  <a:gd name="T5" fmla="*/ 4 h 4"/>
                  <a:gd name="T6" fmla="*/ 0 w 4"/>
                  <a:gd name="T7" fmla="*/ 4 h 4"/>
                  <a:gd name="T8" fmla="*/ 0 w 4"/>
                  <a:gd name="T9" fmla="*/ 4 h 4"/>
                  <a:gd name="T10" fmla="*/ 0 w 4"/>
                  <a:gd name="T11" fmla="*/ 0 h 4"/>
                  <a:gd name="T12" fmla="*/ 4 w 4"/>
                  <a:gd name="T13" fmla="*/ 4 h 4"/>
                  <a:gd name="T14" fmla="*/ 4 w 4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66" name="Freeform 187"/>
              <p:cNvSpPr>
                <a:spLocks/>
              </p:cNvSpPr>
              <p:nvPr/>
            </p:nvSpPr>
            <p:spPr bwMode="auto">
              <a:xfrm>
                <a:off x="4930776" y="1847851"/>
                <a:ext cx="6350" cy="6350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4 w 4"/>
                  <a:gd name="T5" fmla="*/ 4 h 4"/>
                  <a:gd name="T6" fmla="*/ 0 w 4"/>
                  <a:gd name="T7" fmla="*/ 4 h 4"/>
                  <a:gd name="T8" fmla="*/ 0 w 4"/>
                  <a:gd name="T9" fmla="*/ 4 h 4"/>
                  <a:gd name="T10" fmla="*/ 0 w 4"/>
                  <a:gd name="T11" fmla="*/ 0 h 4"/>
                  <a:gd name="T12" fmla="*/ 4 w 4"/>
                  <a:gd name="T13" fmla="*/ 4 h 4"/>
                  <a:gd name="T14" fmla="*/ 4 w 4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67" name="Freeform 188"/>
              <p:cNvSpPr>
                <a:spLocks/>
              </p:cNvSpPr>
              <p:nvPr/>
            </p:nvSpPr>
            <p:spPr bwMode="auto">
              <a:xfrm>
                <a:off x="4945063" y="1847851"/>
                <a:ext cx="6350" cy="6350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0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0 w 4"/>
                  <a:gd name="T11" fmla="*/ 0 h 4"/>
                  <a:gd name="T12" fmla="*/ 0 w 4"/>
                  <a:gd name="T13" fmla="*/ 0 h 4"/>
                  <a:gd name="T14" fmla="*/ 4 w 4"/>
                  <a:gd name="T15" fmla="*/ 0 h 4"/>
                  <a:gd name="T16" fmla="*/ 4 w 4"/>
                  <a:gd name="T17" fmla="*/ 0 h 4"/>
                  <a:gd name="T18" fmla="*/ 4 w 4"/>
                  <a:gd name="T19" fmla="*/ 0 h 4"/>
                  <a:gd name="T20" fmla="*/ 4 w 4"/>
                  <a:gd name="T21" fmla="*/ 0 h 4"/>
                  <a:gd name="T22" fmla="*/ 0 w 4"/>
                  <a:gd name="T2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68" name="Freeform 189"/>
              <p:cNvSpPr>
                <a:spLocks/>
              </p:cNvSpPr>
              <p:nvPr/>
            </p:nvSpPr>
            <p:spPr bwMode="auto">
              <a:xfrm>
                <a:off x="4945063" y="1847851"/>
                <a:ext cx="6350" cy="6350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0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0 w 4"/>
                  <a:gd name="T11" fmla="*/ 0 h 4"/>
                  <a:gd name="T12" fmla="*/ 0 w 4"/>
                  <a:gd name="T13" fmla="*/ 0 h 4"/>
                  <a:gd name="T14" fmla="*/ 4 w 4"/>
                  <a:gd name="T15" fmla="*/ 0 h 4"/>
                  <a:gd name="T16" fmla="*/ 4 w 4"/>
                  <a:gd name="T17" fmla="*/ 0 h 4"/>
                  <a:gd name="T18" fmla="*/ 4 w 4"/>
                  <a:gd name="T19" fmla="*/ 0 h 4"/>
                  <a:gd name="T20" fmla="*/ 4 w 4"/>
                  <a:gd name="T21" fmla="*/ 0 h 4"/>
                  <a:gd name="T22" fmla="*/ 0 w 4"/>
                  <a:gd name="T2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69" name="Freeform 190"/>
              <p:cNvSpPr>
                <a:spLocks/>
              </p:cNvSpPr>
              <p:nvPr/>
            </p:nvSpPr>
            <p:spPr bwMode="auto">
              <a:xfrm>
                <a:off x="4916488" y="1847851"/>
                <a:ext cx="6350" cy="0"/>
              </a:xfrm>
              <a:custGeom>
                <a:avLst/>
                <a:gdLst>
                  <a:gd name="T0" fmla="*/ 0 w 4"/>
                  <a:gd name="T1" fmla="*/ 0 w 4"/>
                  <a:gd name="T2" fmla="*/ 0 w 4"/>
                  <a:gd name="T3" fmla="*/ 0 w 4"/>
                  <a:gd name="T4" fmla="*/ 0 w 4"/>
                  <a:gd name="T5" fmla="*/ 0 w 4"/>
                  <a:gd name="T6" fmla="*/ 0 w 4"/>
                  <a:gd name="T7" fmla="*/ 4 w 4"/>
                  <a:gd name="T8" fmla="*/ 0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70" name="Freeform 191"/>
              <p:cNvSpPr>
                <a:spLocks/>
              </p:cNvSpPr>
              <p:nvPr/>
            </p:nvSpPr>
            <p:spPr bwMode="auto">
              <a:xfrm>
                <a:off x="4916488" y="1847851"/>
                <a:ext cx="6350" cy="0"/>
              </a:xfrm>
              <a:custGeom>
                <a:avLst/>
                <a:gdLst>
                  <a:gd name="T0" fmla="*/ 0 w 4"/>
                  <a:gd name="T1" fmla="*/ 0 w 4"/>
                  <a:gd name="T2" fmla="*/ 0 w 4"/>
                  <a:gd name="T3" fmla="*/ 0 w 4"/>
                  <a:gd name="T4" fmla="*/ 0 w 4"/>
                  <a:gd name="T5" fmla="*/ 0 w 4"/>
                  <a:gd name="T6" fmla="*/ 0 w 4"/>
                  <a:gd name="T7" fmla="*/ 4 w 4"/>
                  <a:gd name="T8" fmla="*/ 0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71" name="Freeform 192"/>
              <p:cNvSpPr>
                <a:spLocks/>
              </p:cNvSpPr>
              <p:nvPr/>
            </p:nvSpPr>
            <p:spPr bwMode="auto">
              <a:xfrm>
                <a:off x="4930776" y="1839914"/>
                <a:ext cx="0" cy="7938"/>
              </a:xfrm>
              <a:custGeom>
                <a:avLst/>
                <a:gdLst>
                  <a:gd name="T0" fmla="*/ 0 h 5"/>
                  <a:gd name="T1" fmla="*/ 0 h 5"/>
                  <a:gd name="T2" fmla="*/ 5 h 5"/>
                  <a:gd name="T3" fmla="*/ 5 h 5"/>
                  <a:gd name="T4" fmla="*/ 0 h 5"/>
                  <a:gd name="T5" fmla="*/ 0 h 5"/>
                  <a:gd name="T6" fmla="*/ 0 h 5"/>
                  <a:gd name="T7" fmla="*/ 0 h 5"/>
                  <a:gd name="T8" fmla="*/ 0 h 5"/>
                  <a:gd name="T9" fmla="*/ 0 h 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</a:cxnLst>
                <a:rect l="0" t="0" r="r" b="b"/>
                <a:pathLst>
                  <a:path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72" name="Freeform 193"/>
              <p:cNvSpPr>
                <a:spLocks/>
              </p:cNvSpPr>
              <p:nvPr/>
            </p:nvSpPr>
            <p:spPr bwMode="auto">
              <a:xfrm>
                <a:off x="4930776" y="1839914"/>
                <a:ext cx="0" cy="7938"/>
              </a:xfrm>
              <a:custGeom>
                <a:avLst/>
                <a:gdLst>
                  <a:gd name="T0" fmla="*/ 0 h 5"/>
                  <a:gd name="T1" fmla="*/ 0 h 5"/>
                  <a:gd name="T2" fmla="*/ 5 h 5"/>
                  <a:gd name="T3" fmla="*/ 5 h 5"/>
                  <a:gd name="T4" fmla="*/ 0 h 5"/>
                  <a:gd name="T5" fmla="*/ 0 h 5"/>
                  <a:gd name="T6" fmla="*/ 0 h 5"/>
                  <a:gd name="T7" fmla="*/ 0 h 5"/>
                  <a:gd name="T8" fmla="*/ 0 h 5"/>
                  <a:gd name="T9" fmla="*/ 0 h 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</a:cxnLst>
                <a:rect l="0" t="0" r="r" b="b"/>
                <a:pathLst>
                  <a:path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73" name="Freeform 194"/>
              <p:cNvSpPr>
                <a:spLocks/>
              </p:cNvSpPr>
              <p:nvPr/>
            </p:nvSpPr>
            <p:spPr bwMode="auto">
              <a:xfrm>
                <a:off x="4937126" y="1839914"/>
                <a:ext cx="0" cy="7938"/>
              </a:xfrm>
              <a:custGeom>
                <a:avLst/>
                <a:gdLst>
                  <a:gd name="T0" fmla="*/ 5 h 5"/>
                  <a:gd name="T1" fmla="*/ 5 h 5"/>
                  <a:gd name="T2" fmla="*/ 5 h 5"/>
                  <a:gd name="T3" fmla="*/ 5 h 5"/>
                  <a:gd name="T4" fmla="*/ 0 h 5"/>
                  <a:gd name="T5" fmla="*/ 0 h 5"/>
                  <a:gd name="T6" fmla="*/ 0 h 5"/>
                  <a:gd name="T7" fmla="*/ 0 h 5"/>
                  <a:gd name="T8" fmla="*/ 0 h 5"/>
                  <a:gd name="T9" fmla="*/ 5 h 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</a:cxnLst>
                <a:rect l="0" t="0" r="r" b="b"/>
                <a:pathLst>
                  <a:path h="5">
                    <a:moveTo>
                      <a:pt x="0" y="5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74" name="Freeform 195"/>
              <p:cNvSpPr>
                <a:spLocks/>
              </p:cNvSpPr>
              <p:nvPr/>
            </p:nvSpPr>
            <p:spPr bwMode="auto">
              <a:xfrm>
                <a:off x="4937126" y="1839914"/>
                <a:ext cx="0" cy="7938"/>
              </a:xfrm>
              <a:custGeom>
                <a:avLst/>
                <a:gdLst>
                  <a:gd name="T0" fmla="*/ 5 h 5"/>
                  <a:gd name="T1" fmla="*/ 5 h 5"/>
                  <a:gd name="T2" fmla="*/ 5 h 5"/>
                  <a:gd name="T3" fmla="*/ 5 h 5"/>
                  <a:gd name="T4" fmla="*/ 0 h 5"/>
                  <a:gd name="T5" fmla="*/ 0 h 5"/>
                  <a:gd name="T6" fmla="*/ 0 h 5"/>
                  <a:gd name="T7" fmla="*/ 0 h 5"/>
                  <a:gd name="T8" fmla="*/ 0 h 5"/>
                  <a:gd name="T9" fmla="*/ 5 h 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</a:cxnLst>
                <a:rect l="0" t="0" r="r" b="b"/>
                <a:pathLst>
                  <a:path h="5">
                    <a:moveTo>
                      <a:pt x="0" y="5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75" name="Freeform 196"/>
              <p:cNvSpPr>
                <a:spLocks/>
              </p:cNvSpPr>
              <p:nvPr/>
            </p:nvSpPr>
            <p:spPr bwMode="auto">
              <a:xfrm>
                <a:off x="4908551" y="1839914"/>
                <a:ext cx="7938" cy="0"/>
              </a:xfrm>
              <a:custGeom>
                <a:avLst/>
                <a:gdLst>
                  <a:gd name="T0" fmla="*/ 5 w 5"/>
                  <a:gd name="T1" fmla="*/ 5 w 5"/>
                  <a:gd name="T2" fmla="*/ 5 w 5"/>
                  <a:gd name="T3" fmla="*/ 0 w 5"/>
                  <a:gd name="T4" fmla="*/ 0 w 5"/>
                  <a:gd name="T5" fmla="*/ 5 w 5"/>
                  <a:gd name="T6" fmla="*/ 5 w 5"/>
                  <a:gd name="T7" fmla="*/ 5 w 5"/>
                  <a:gd name="T8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76" name="Freeform 197"/>
              <p:cNvSpPr>
                <a:spLocks/>
              </p:cNvSpPr>
              <p:nvPr/>
            </p:nvSpPr>
            <p:spPr bwMode="auto">
              <a:xfrm>
                <a:off x="4908551" y="1839914"/>
                <a:ext cx="7938" cy="0"/>
              </a:xfrm>
              <a:custGeom>
                <a:avLst/>
                <a:gdLst>
                  <a:gd name="T0" fmla="*/ 5 w 5"/>
                  <a:gd name="T1" fmla="*/ 5 w 5"/>
                  <a:gd name="T2" fmla="*/ 5 w 5"/>
                  <a:gd name="T3" fmla="*/ 0 w 5"/>
                  <a:gd name="T4" fmla="*/ 0 w 5"/>
                  <a:gd name="T5" fmla="*/ 5 w 5"/>
                  <a:gd name="T6" fmla="*/ 5 w 5"/>
                  <a:gd name="T7" fmla="*/ 5 w 5"/>
                  <a:gd name="T8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77" name="Freeform 198"/>
              <p:cNvSpPr>
                <a:spLocks/>
              </p:cNvSpPr>
              <p:nvPr/>
            </p:nvSpPr>
            <p:spPr bwMode="auto">
              <a:xfrm>
                <a:off x="4908551" y="183356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78" name="Freeform 199"/>
              <p:cNvSpPr>
                <a:spLocks/>
              </p:cNvSpPr>
              <p:nvPr/>
            </p:nvSpPr>
            <p:spPr bwMode="auto">
              <a:xfrm>
                <a:off x="4908551" y="183356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79" name="Freeform 200"/>
              <p:cNvSpPr>
                <a:spLocks/>
              </p:cNvSpPr>
              <p:nvPr/>
            </p:nvSpPr>
            <p:spPr bwMode="auto">
              <a:xfrm>
                <a:off x="4922838" y="183356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80" name="Freeform 201"/>
              <p:cNvSpPr>
                <a:spLocks/>
              </p:cNvSpPr>
              <p:nvPr/>
            </p:nvSpPr>
            <p:spPr bwMode="auto">
              <a:xfrm>
                <a:off x="4922838" y="183356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81" name="Freeform 202"/>
              <p:cNvSpPr>
                <a:spLocks/>
              </p:cNvSpPr>
              <p:nvPr/>
            </p:nvSpPr>
            <p:spPr bwMode="auto">
              <a:xfrm>
                <a:off x="4930776" y="1825626"/>
                <a:ext cx="6350" cy="7938"/>
              </a:xfrm>
              <a:custGeom>
                <a:avLst/>
                <a:gdLst>
                  <a:gd name="T0" fmla="*/ 4 w 4"/>
                  <a:gd name="T1" fmla="*/ 5 h 5"/>
                  <a:gd name="T2" fmla="*/ 4 w 4"/>
                  <a:gd name="T3" fmla="*/ 5 h 5"/>
                  <a:gd name="T4" fmla="*/ 0 w 4"/>
                  <a:gd name="T5" fmla="*/ 5 h 5"/>
                  <a:gd name="T6" fmla="*/ 0 w 4"/>
                  <a:gd name="T7" fmla="*/ 5 h 5"/>
                  <a:gd name="T8" fmla="*/ 0 w 4"/>
                  <a:gd name="T9" fmla="*/ 0 h 5"/>
                  <a:gd name="T10" fmla="*/ 4 w 4"/>
                  <a:gd name="T11" fmla="*/ 5 h 5"/>
                  <a:gd name="T12" fmla="*/ 4 w 4"/>
                  <a:gd name="T13" fmla="*/ 5 h 5"/>
                  <a:gd name="T14" fmla="*/ 4 w 4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4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82" name="Freeform 203"/>
              <p:cNvSpPr>
                <a:spLocks/>
              </p:cNvSpPr>
              <p:nvPr/>
            </p:nvSpPr>
            <p:spPr bwMode="auto">
              <a:xfrm>
                <a:off x="4930776" y="1825626"/>
                <a:ext cx="6350" cy="7938"/>
              </a:xfrm>
              <a:custGeom>
                <a:avLst/>
                <a:gdLst>
                  <a:gd name="T0" fmla="*/ 4 w 4"/>
                  <a:gd name="T1" fmla="*/ 5 h 5"/>
                  <a:gd name="T2" fmla="*/ 4 w 4"/>
                  <a:gd name="T3" fmla="*/ 5 h 5"/>
                  <a:gd name="T4" fmla="*/ 0 w 4"/>
                  <a:gd name="T5" fmla="*/ 5 h 5"/>
                  <a:gd name="T6" fmla="*/ 0 w 4"/>
                  <a:gd name="T7" fmla="*/ 5 h 5"/>
                  <a:gd name="T8" fmla="*/ 0 w 4"/>
                  <a:gd name="T9" fmla="*/ 0 h 5"/>
                  <a:gd name="T10" fmla="*/ 4 w 4"/>
                  <a:gd name="T11" fmla="*/ 5 h 5"/>
                  <a:gd name="T12" fmla="*/ 4 w 4"/>
                  <a:gd name="T13" fmla="*/ 5 h 5"/>
                  <a:gd name="T14" fmla="*/ 4 w 4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4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83" name="Freeform 204"/>
              <p:cNvSpPr>
                <a:spLocks/>
              </p:cNvSpPr>
              <p:nvPr/>
            </p:nvSpPr>
            <p:spPr bwMode="auto">
              <a:xfrm>
                <a:off x="4951413" y="1825626"/>
                <a:ext cx="7938" cy="0"/>
              </a:xfrm>
              <a:custGeom>
                <a:avLst/>
                <a:gdLst>
                  <a:gd name="T0" fmla="*/ 0 w 5"/>
                  <a:gd name="T1" fmla="*/ 0 w 5"/>
                  <a:gd name="T2" fmla="*/ 0 w 5"/>
                  <a:gd name="T3" fmla="*/ 0 w 5"/>
                  <a:gd name="T4" fmla="*/ 0 w 5"/>
                  <a:gd name="T5" fmla="*/ 0 w 5"/>
                  <a:gd name="T6" fmla="*/ 5 w 5"/>
                  <a:gd name="T7" fmla="*/ 5 w 5"/>
                  <a:gd name="T8" fmla="*/ 5 w 5"/>
                  <a:gd name="T9" fmla="*/ 0 w 5"/>
                  <a:gd name="T10" fmla="*/ 0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</a:cxnLst>
                <a:rect l="0" t="0" r="r" b="b"/>
                <a:pathLst>
                  <a:path w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06" name="Freeform 206"/>
              <p:cNvSpPr>
                <a:spLocks/>
              </p:cNvSpPr>
              <p:nvPr/>
            </p:nvSpPr>
            <p:spPr bwMode="auto">
              <a:xfrm>
                <a:off x="4951413" y="1825626"/>
                <a:ext cx="7938" cy="0"/>
              </a:xfrm>
              <a:custGeom>
                <a:avLst/>
                <a:gdLst>
                  <a:gd name="T0" fmla="*/ 0 w 5"/>
                  <a:gd name="T1" fmla="*/ 0 w 5"/>
                  <a:gd name="T2" fmla="*/ 0 w 5"/>
                  <a:gd name="T3" fmla="*/ 0 w 5"/>
                  <a:gd name="T4" fmla="*/ 0 w 5"/>
                  <a:gd name="T5" fmla="*/ 0 w 5"/>
                  <a:gd name="T6" fmla="*/ 5 w 5"/>
                  <a:gd name="T7" fmla="*/ 5 w 5"/>
                  <a:gd name="T8" fmla="*/ 5 w 5"/>
                  <a:gd name="T9" fmla="*/ 0 w 5"/>
                  <a:gd name="T10" fmla="*/ 0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</a:cxnLst>
                <a:rect l="0" t="0" r="r" b="b"/>
                <a:pathLst>
                  <a:path w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07" name="Freeform 207"/>
              <p:cNvSpPr>
                <a:spLocks/>
              </p:cNvSpPr>
              <p:nvPr/>
            </p:nvSpPr>
            <p:spPr bwMode="auto">
              <a:xfrm>
                <a:off x="4922838" y="1825626"/>
                <a:ext cx="7938" cy="0"/>
              </a:xfrm>
              <a:custGeom>
                <a:avLst/>
                <a:gdLst>
                  <a:gd name="T0" fmla="*/ 5 w 5"/>
                  <a:gd name="T1" fmla="*/ 5 w 5"/>
                  <a:gd name="T2" fmla="*/ 5 w 5"/>
                  <a:gd name="T3" fmla="*/ 5 w 5"/>
                  <a:gd name="T4" fmla="*/ 0 w 5"/>
                  <a:gd name="T5" fmla="*/ 0 w 5"/>
                  <a:gd name="T6" fmla="*/ 0 w 5"/>
                  <a:gd name="T7" fmla="*/ 0 w 5"/>
                  <a:gd name="T8" fmla="*/ 5 w 5"/>
                  <a:gd name="T9" fmla="*/ 5 w 5"/>
                  <a:gd name="T10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08" name="Freeform 208"/>
              <p:cNvSpPr>
                <a:spLocks/>
              </p:cNvSpPr>
              <p:nvPr/>
            </p:nvSpPr>
            <p:spPr bwMode="auto">
              <a:xfrm>
                <a:off x="4922838" y="1825626"/>
                <a:ext cx="7938" cy="0"/>
              </a:xfrm>
              <a:custGeom>
                <a:avLst/>
                <a:gdLst>
                  <a:gd name="T0" fmla="*/ 5 w 5"/>
                  <a:gd name="T1" fmla="*/ 5 w 5"/>
                  <a:gd name="T2" fmla="*/ 5 w 5"/>
                  <a:gd name="T3" fmla="*/ 5 w 5"/>
                  <a:gd name="T4" fmla="*/ 0 w 5"/>
                  <a:gd name="T5" fmla="*/ 0 w 5"/>
                  <a:gd name="T6" fmla="*/ 0 w 5"/>
                  <a:gd name="T7" fmla="*/ 0 w 5"/>
                  <a:gd name="T8" fmla="*/ 5 w 5"/>
                  <a:gd name="T9" fmla="*/ 5 w 5"/>
                  <a:gd name="T10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09" name="Freeform 209"/>
              <p:cNvSpPr>
                <a:spLocks/>
              </p:cNvSpPr>
              <p:nvPr/>
            </p:nvSpPr>
            <p:spPr bwMode="auto">
              <a:xfrm>
                <a:off x="4908551" y="182562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10" name="Freeform 210"/>
              <p:cNvSpPr>
                <a:spLocks/>
              </p:cNvSpPr>
              <p:nvPr/>
            </p:nvSpPr>
            <p:spPr bwMode="auto">
              <a:xfrm>
                <a:off x="4908551" y="182562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11" name="Freeform 211"/>
              <p:cNvSpPr>
                <a:spLocks/>
              </p:cNvSpPr>
              <p:nvPr/>
            </p:nvSpPr>
            <p:spPr bwMode="auto">
              <a:xfrm>
                <a:off x="4814888" y="1819276"/>
                <a:ext cx="7938" cy="6350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5 w 5"/>
                  <a:gd name="T5" fmla="*/ 4 h 4"/>
                  <a:gd name="T6" fmla="*/ 5 w 5"/>
                  <a:gd name="T7" fmla="*/ 4 h 4"/>
                  <a:gd name="T8" fmla="*/ 0 w 5"/>
                  <a:gd name="T9" fmla="*/ 4 h 4"/>
                  <a:gd name="T10" fmla="*/ 0 w 5"/>
                  <a:gd name="T11" fmla="*/ 4 h 4"/>
                  <a:gd name="T12" fmla="*/ 0 w 5"/>
                  <a:gd name="T13" fmla="*/ 0 h 4"/>
                  <a:gd name="T14" fmla="*/ 0 w 5"/>
                  <a:gd name="T15" fmla="*/ 0 h 4"/>
                  <a:gd name="T16" fmla="*/ 0 w 5"/>
                  <a:gd name="T17" fmla="*/ 0 h 4"/>
                  <a:gd name="T18" fmla="*/ 0 w 5"/>
                  <a:gd name="T19" fmla="*/ 0 h 4"/>
                  <a:gd name="T20" fmla="*/ 5 w 5"/>
                  <a:gd name="T21" fmla="*/ 0 h 4"/>
                  <a:gd name="T22" fmla="*/ 5 w 5"/>
                  <a:gd name="T2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12" name="Freeform 212"/>
              <p:cNvSpPr>
                <a:spLocks/>
              </p:cNvSpPr>
              <p:nvPr/>
            </p:nvSpPr>
            <p:spPr bwMode="auto">
              <a:xfrm>
                <a:off x="4814888" y="1819276"/>
                <a:ext cx="7938" cy="6350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5 w 5"/>
                  <a:gd name="T5" fmla="*/ 4 h 4"/>
                  <a:gd name="T6" fmla="*/ 5 w 5"/>
                  <a:gd name="T7" fmla="*/ 4 h 4"/>
                  <a:gd name="T8" fmla="*/ 0 w 5"/>
                  <a:gd name="T9" fmla="*/ 4 h 4"/>
                  <a:gd name="T10" fmla="*/ 0 w 5"/>
                  <a:gd name="T11" fmla="*/ 4 h 4"/>
                  <a:gd name="T12" fmla="*/ 0 w 5"/>
                  <a:gd name="T13" fmla="*/ 0 h 4"/>
                  <a:gd name="T14" fmla="*/ 0 w 5"/>
                  <a:gd name="T15" fmla="*/ 0 h 4"/>
                  <a:gd name="T16" fmla="*/ 0 w 5"/>
                  <a:gd name="T17" fmla="*/ 0 h 4"/>
                  <a:gd name="T18" fmla="*/ 0 w 5"/>
                  <a:gd name="T19" fmla="*/ 0 h 4"/>
                  <a:gd name="T20" fmla="*/ 5 w 5"/>
                  <a:gd name="T21" fmla="*/ 0 h 4"/>
                  <a:gd name="T22" fmla="*/ 5 w 5"/>
                  <a:gd name="T2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13" name="Freeform 213"/>
              <p:cNvSpPr>
                <a:spLocks/>
              </p:cNvSpPr>
              <p:nvPr/>
            </p:nvSpPr>
            <p:spPr bwMode="auto">
              <a:xfrm>
                <a:off x="4916488" y="1819276"/>
                <a:ext cx="6350" cy="6350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0 h 4"/>
                  <a:gd name="T4" fmla="*/ 4 w 4"/>
                  <a:gd name="T5" fmla="*/ 4 h 4"/>
                  <a:gd name="T6" fmla="*/ 4 w 4"/>
                  <a:gd name="T7" fmla="*/ 0 h 4"/>
                  <a:gd name="T8" fmla="*/ 0 w 4"/>
                  <a:gd name="T9" fmla="*/ 0 h 4"/>
                  <a:gd name="T10" fmla="*/ 0 w 4"/>
                  <a:gd name="T11" fmla="*/ 0 h 4"/>
                  <a:gd name="T12" fmla="*/ 0 w 4"/>
                  <a:gd name="T13" fmla="*/ 0 h 4"/>
                  <a:gd name="T14" fmla="*/ 0 w 4"/>
                  <a:gd name="T15" fmla="*/ 0 h 4"/>
                  <a:gd name="T16" fmla="*/ 0 w 4"/>
                  <a:gd name="T17" fmla="*/ 0 h 4"/>
                  <a:gd name="T18" fmla="*/ 0 w 4"/>
                  <a:gd name="T19" fmla="*/ 0 h 4"/>
                  <a:gd name="T20" fmla="*/ 4 w 4"/>
                  <a:gd name="T21" fmla="*/ 0 h 4"/>
                  <a:gd name="T22" fmla="*/ 4 w 4"/>
                  <a:gd name="T23" fmla="*/ 0 h 4"/>
                  <a:gd name="T24" fmla="*/ 4 w 4"/>
                  <a:gd name="T25" fmla="*/ 0 h 4"/>
                  <a:gd name="T26" fmla="*/ 4 w 4"/>
                  <a:gd name="T27" fmla="*/ 0 h 4"/>
                  <a:gd name="T28" fmla="*/ 4 w 4"/>
                  <a:gd name="T2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0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14" name="Freeform 214"/>
              <p:cNvSpPr>
                <a:spLocks/>
              </p:cNvSpPr>
              <p:nvPr/>
            </p:nvSpPr>
            <p:spPr bwMode="auto">
              <a:xfrm>
                <a:off x="4916488" y="1819276"/>
                <a:ext cx="6350" cy="6350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0 h 4"/>
                  <a:gd name="T4" fmla="*/ 4 w 4"/>
                  <a:gd name="T5" fmla="*/ 4 h 4"/>
                  <a:gd name="T6" fmla="*/ 4 w 4"/>
                  <a:gd name="T7" fmla="*/ 0 h 4"/>
                  <a:gd name="T8" fmla="*/ 0 w 4"/>
                  <a:gd name="T9" fmla="*/ 0 h 4"/>
                  <a:gd name="T10" fmla="*/ 0 w 4"/>
                  <a:gd name="T11" fmla="*/ 0 h 4"/>
                  <a:gd name="T12" fmla="*/ 0 w 4"/>
                  <a:gd name="T13" fmla="*/ 0 h 4"/>
                  <a:gd name="T14" fmla="*/ 0 w 4"/>
                  <a:gd name="T15" fmla="*/ 0 h 4"/>
                  <a:gd name="T16" fmla="*/ 0 w 4"/>
                  <a:gd name="T17" fmla="*/ 0 h 4"/>
                  <a:gd name="T18" fmla="*/ 0 w 4"/>
                  <a:gd name="T19" fmla="*/ 0 h 4"/>
                  <a:gd name="T20" fmla="*/ 4 w 4"/>
                  <a:gd name="T21" fmla="*/ 0 h 4"/>
                  <a:gd name="T22" fmla="*/ 4 w 4"/>
                  <a:gd name="T23" fmla="*/ 0 h 4"/>
                  <a:gd name="T24" fmla="*/ 4 w 4"/>
                  <a:gd name="T25" fmla="*/ 0 h 4"/>
                  <a:gd name="T26" fmla="*/ 4 w 4"/>
                  <a:gd name="T27" fmla="*/ 0 h 4"/>
                  <a:gd name="T28" fmla="*/ 4 w 4"/>
                  <a:gd name="T2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0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15" name="Freeform 215"/>
              <p:cNvSpPr>
                <a:spLocks/>
              </p:cNvSpPr>
              <p:nvPr/>
            </p:nvSpPr>
            <p:spPr bwMode="auto">
              <a:xfrm>
                <a:off x="4808538" y="1804989"/>
                <a:ext cx="6350" cy="6350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0 h 4"/>
                  <a:gd name="T4" fmla="*/ 4 w 4"/>
                  <a:gd name="T5" fmla="*/ 0 h 4"/>
                  <a:gd name="T6" fmla="*/ 4 w 4"/>
                  <a:gd name="T7" fmla="*/ 4 h 4"/>
                  <a:gd name="T8" fmla="*/ 4 w 4"/>
                  <a:gd name="T9" fmla="*/ 4 h 4"/>
                  <a:gd name="T10" fmla="*/ 4 w 4"/>
                  <a:gd name="T11" fmla="*/ 4 h 4"/>
                  <a:gd name="T12" fmla="*/ 4 w 4"/>
                  <a:gd name="T13" fmla="*/ 4 h 4"/>
                  <a:gd name="T14" fmla="*/ 4 w 4"/>
                  <a:gd name="T15" fmla="*/ 4 h 4"/>
                  <a:gd name="T16" fmla="*/ 4 w 4"/>
                  <a:gd name="T17" fmla="*/ 4 h 4"/>
                  <a:gd name="T18" fmla="*/ 0 w 4"/>
                  <a:gd name="T19" fmla="*/ 4 h 4"/>
                  <a:gd name="T20" fmla="*/ 0 w 4"/>
                  <a:gd name="T21" fmla="*/ 4 h 4"/>
                  <a:gd name="T22" fmla="*/ 0 w 4"/>
                  <a:gd name="T23" fmla="*/ 4 h 4"/>
                  <a:gd name="T24" fmla="*/ 0 w 4"/>
                  <a:gd name="T25" fmla="*/ 4 h 4"/>
                  <a:gd name="T26" fmla="*/ 0 w 4"/>
                  <a:gd name="T27" fmla="*/ 4 h 4"/>
                  <a:gd name="T28" fmla="*/ 0 w 4"/>
                  <a:gd name="T29" fmla="*/ 4 h 4"/>
                  <a:gd name="T30" fmla="*/ 0 w 4"/>
                  <a:gd name="T31" fmla="*/ 4 h 4"/>
                  <a:gd name="T32" fmla="*/ 0 w 4"/>
                  <a:gd name="T33" fmla="*/ 4 h 4"/>
                  <a:gd name="T34" fmla="*/ 0 w 4"/>
                  <a:gd name="T35" fmla="*/ 0 h 4"/>
                  <a:gd name="T36" fmla="*/ 0 w 4"/>
                  <a:gd name="T37" fmla="*/ 0 h 4"/>
                  <a:gd name="T38" fmla="*/ 0 w 4"/>
                  <a:gd name="T39" fmla="*/ 0 h 4"/>
                  <a:gd name="T40" fmla="*/ 0 w 4"/>
                  <a:gd name="T41" fmla="*/ 0 h 4"/>
                  <a:gd name="T42" fmla="*/ 0 w 4"/>
                  <a:gd name="T43" fmla="*/ 0 h 4"/>
                  <a:gd name="T44" fmla="*/ 0 w 4"/>
                  <a:gd name="T45" fmla="*/ 0 h 4"/>
                  <a:gd name="T46" fmla="*/ 0 w 4"/>
                  <a:gd name="T47" fmla="*/ 0 h 4"/>
                  <a:gd name="T48" fmla="*/ 4 w 4"/>
                  <a:gd name="T4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16" name="Freeform 216"/>
              <p:cNvSpPr>
                <a:spLocks/>
              </p:cNvSpPr>
              <p:nvPr/>
            </p:nvSpPr>
            <p:spPr bwMode="auto">
              <a:xfrm>
                <a:off x="4808538" y="1804989"/>
                <a:ext cx="6350" cy="6350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0 h 4"/>
                  <a:gd name="T4" fmla="*/ 4 w 4"/>
                  <a:gd name="T5" fmla="*/ 0 h 4"/>
                  <a:gd name="T6" fmla="*/ 4 w 4"/>
                  <a:gd name="T7" fmla="*/ 4 h 4"/>
                  <a:gd name="T8" fmla="*/ 4 w 4"/>
                  <a:gd name="T9" fmla="*/ 4 h 4"/>
                  <a:gd name="T10" fmla="*/ 4 w 4"/>
                  <a:gd name="T11" fmla="*/ 4 h 4"/>
                  <a:gd name="T12" fmla="*/ 4 w 4"/>
                  <a:gd name="T13" fmla="*/ 4 h 4"/>
                  <a:gd name="T14" fmla="*/ 4 w 4"/>
                  <a:gd name="T15" fmla="*/ 4 h 4"/>
                  <a:gd name="T16" fmla="*/ 4 w 4"/>
                  <a:gd name="T17" fmla="*/ 4 h 4"/>
                  <a:gd name="T18" fmla="*/ 0 w 4"/>
                  <a:gd name="T19" fmla="*/ 4 h 4"/>
                  <a:gd name="T20" fmla="*/ 0 w 4"/>
                  <a:gd name="T21" fmla="*/ 4 h 4"/>
                  <a:gd name="T22" fmla="*/ 0 w 4"/>
                  <a:gd name="T23" fmla="*/ 4 h 4"/>
                  <a:gd name="T24" fmla="*/ 0 w 4"/>
                  <a:gd name="T25" fmla="*/ 4 h 4"/>
                  <a:gd name="T26" fmla="*/ 0 w 4"/>
                  <a:gd name="T27" fmla="*/ 4 h 4"/>
                  <a:gd name="T28" fmla="*/ 0 w 4"/>
                  <a:gd name="T29" fmla="*/ 4 h 4"/>
                  <a:gd name="T30" fmla="*/ 0 w 4"/>
                  <a:gd name="T31" fmla="*/ 4 h 4"/>
                  <a:gd name="T32" fmla="*/ 0 w 4"/>
                  <a:gd name="T33" fmla="*/ 4 h 4"/>
                  <a:gd name="T34" fmla="*/ 0 w 4"/>
                  <a:gd name="T35" fmla="*/ 0 h 4"/>
                  <a:gd name="T36" fmla="*/ 0 w 4"/>
                  <a:gd name="T37" fmla="*/ 0 h 4"/>
                  <a:gd name="T38" fmla="*/ 0 w 4"/>
                  <a:gd name="T39" fmla="*/ 0 h 4"/>
                  <a:gd name="T40" fmla="*/ 0 w 4"/>
                  <a:gd name="T41" fmla="*/ 0 h 4"/>
                  <a:gd name="T42" fmla="*/ 0 w 4"/>
                  <a:gd name="T43" fmla="*/ 0 h 4"/>
                  <a:gd name="T44" fmla="*/ 0 w 4"/>
                  <a:gd name="T45" fmla="*/ 0 h 4"/>
                  <a:gd name="T46" fmla="*/ 0 w 4"/>
                  <a:gd name="T47" fmla="*/ 0 h 4"/>
                  <a:gd name="T48" fmla="*/ 4 w 4"/>
                  <a:gd name="T4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17" name="Freeform 217"/>
              <p:cNvSpPr>
                <a:spLocks/>
              </p:cNvSpPr>
              <p:nvPr/>
            </p:nvSpPr>
            <p:spPr bwMode="auto">
              <a:xfrm>
                <a:off x="4427538" y="136683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18" name="Freeform 218"/>
              <p:cNvSpPr>
                <a:spLocks/>
              </p:cNvSpPr>
              <p:nvPr/>
            </p:nvSpPr>
            <p:spPr bwMode="auto">
              <a:xfrm>
                <a:off x="4427538" y="136683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19" name="Freeform 219"/>
              <p:cNvSpPr>
                <a:spLocks/>
              </p:cNvSpPr>
              <p:nvPr/>
            </p:nvSpPr>
            <p:spPr bwMode="auto">
              <a:xfrm>
                <a:off x="4427538" y="1358901"/>
                <a:ext cx="7938" cy="0"/>
              </a:xfrm>
              <a:custGeom>
                <a:avLst/>
                <a:gdLst>
                  <a:gd name="T0" fmla="*/ 5 w 5"/>
                  <a:gd name="T1" fmla="*/ 5 w 5"/>
                  <a:gd name="T2" fmla="*/ 0 w 5"/>
                  <a:gd name="T3" fmla="*/ 0 w 5"/>
                  <a:gd name="T4" fmla="*/ 5 w 5"/>
                  <a:gd name="T5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20" name="Freeform 220"/>
              <p:cNvSpPr>
                <a:spLocks/>
              </p:cNvSpPr>
              <p:nvPr/>
            </p:nvSpPr>
            <p:spPr bwMode="auto">
              <a:xfrm>
                <a:off x="4427538" y="1358901"/>
                <a:ext cx="7938" cy="0"/>
              </a:xfrm>
              <a:custGeom>
                <a:avLst/>
                <a:gdLst>
                  <a:gd name="T0" fmla="*/ 5 w 5"/>
                  <a:gd name="T1" fmla="*/ 5 w 5"/>
                  <a:gd name="T2" fmla="*/ 0 w 5"/>
                  <a:gd name="T3" fmla="*/ 0 w 5"/>
                  <a:gd name="T4" fmla="*/ 5 w 5"/>
                  <a:gd name="T5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21" name="Freeform 221"/>
              <p:cNvSpPr>
                <a:spLocks/>
              </p:cNvSpPr>
              <p:nvPr/>
            </p:nvSpPr>
            <p:spPr bwMode="auto">
              <a:xfrm>
                <a:off x="4435476" y="1352551"/>
                <a:ext cx="14288" cy="6350"/>
              </a:xfrm>
              <a:custGeom>
                <a:avLst/>
                <a:gdLst>
                  <a:gd name="T0" fmla="*/ 4 w 9"/>
                  <a:gd name="T1" fmla="*/ 4 h 4"/>
                  <a:gd name="T2" fmla="*/ 4 w 9"/>
                  <a:gd name="T3" fmla="*/ 4 h 4"/>
                  <a:gd name="T4" fmla="*/ 0 w 9"/>
                  <a:gd name="T5" fmla="*/ 4 h 4"/>
                  <a:gd name="T6" fmla="*/ 0 w 9"/>
                  <a:gd name="T7" fmla="*/ 4 h 4"/>
                  <a:gd name="T8" fmla="*/ 4 w 9"/>
                  <a:gd name="T9" fmla="*/ 4 h 4"/>
                  <a:gd name="T10" fmla="*/ 4 w 9"/>
                  <a:gd name="T11" fmla="*/ 0 h 4"/>
                  <a:gd name="T12" fmla="*/ 9 w 9"/>
                  <a:gd name="T13" fmla="*/ 0 h 4"/>
                  <a:gd name="T14" fmla="*/ 4 w 9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22" name="Freeform 222"/>
              <p:cNvSpPr>
                <a:spLocks/>
              </p:cNvSpPr>
              <p:nvPr/>
            </p:nvSpPr>
            <p:spPr bwMode="auto">
              <a:xfrm>
                <a:off x="4435476" y="1352551"/>
                <a:ext cx="14288" cy="6350"/>
              </a:xfrm>
              <a:custGeom>
                <a:avLst/>
                <a:gdLst>
                  <a:gd name="T0" fmla="*/ 4 w 9"/>
                  <a:gd name="T1" fmla="*/ 4 h 4"/>
                  <a:gd name="T2" fmla="*/ 4 w 9"/>
                  <a:gd name="T3" fmla="*/ 4 h 4"/>
                  <a:gd name="T4" fmla="*/ 0 w 9"/>
                  <a:gd name="T5" fmla="*/ 4 h 4"/>
                  <a:gd name="T6" fmla="*/ 0 w 9"/>
                  <a:gd name="T7" fmla="*/ 4 h 4"/>
                  <a:gd name="T8" fmla="*/ 4 w 9"/>
                  <a:gd name="T9" fmla="*/ 4 h 4"/>
                  <a:gd name="T10" fmla="*/ 4 w 9"/>
                  <a:gd name="T11" fmla="*/ 0 h 4"/>
                  <a:gd name="T12" fmla="*/ 9 w 9"/>
                  <a:gd name="T13" fmla="*/ 0 h 4"/>
                  <a:gd name="T14" fmla="*/ 4 w 9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4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23" name="Freeform 223"/>
              <p:cNvSpPr>
                <a:spLocks/>
              </p:cNvSpPr>
              <p:nvPr/>
            </p:nvSpPr>
            <p:spPr bwMode="auto">
              <a:xfrm>
                <a:off x="4449763" y="1352551"/>
                <a:ext cx="6350" cy="0"/>
              </a:xfrm>
              <a:custGeom>
                <a:avLst/>
                <a:gdLst>
                  <a:gd name="T0" fmla="*/ 4 w 4"/>
                  <a:gd name="T1" fmla="*/ 4 w 4"/>
                  <a:gd name="T2" fmla="*/ 0 w 4"/>
                  <a:gd name="T3" fmla="*/ 0 w 4"/>
                  <a:gd name="T4" fmla="*/ 0 w 4"/>
                  <a:gd name="T5" fmla="*/ 0 w 4"/>
                  <a:gd name="T6" fmla="*/ 0 w 4"/>
                  <a:gd name="T7" fmla="*/ 4 w 4"/>
                  <a:gd name="T8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24" name="Freeform 224"/>
              <p:cNvSpPr>
                <a:spLocks/>
              </p:cNvSpPr>
              <p:nvPr/>
            </p:nvSpPr>
            <p:spPr bwMode="auto">
              <a:xfrm>
                <a:off x="4449763" y="1352551"/>
                <a:ext cx="6350" cy="0"/>
              </a:xfrm>
              <a:custGeom>
                <a:avLst/>
                <a:gdLst>
                  <a:gd name="T0" fmla="*/ 4 w 4"/>
                  <a:gd name="T1" fmla="*/ 4 w 4"/>
                  <a:gd name="T2" fmla="*/ 0 w 4"/>
                  <a:gd name="T3" fmla="*/ 0 w 4"/>
                  <a:gd name="T4" fmla="*/ 0 w 4"/>
                  <a:gd name="T5" fmla="*/ 0 w 4"/>
                  <a:gd name="T6" fmla="*/ 0 w 4"/>
                  <a:gd name="T7" fmla="*/ 4 w 4"/>
                  <a:gd name="T8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25" name="Freeform 225"/>
              <p:cNvSpPr>
                <a:spLocks/>
              </p:cNvSpPr>
              <p:nvPr/>
            </p:nvSpPr>
            <p:spPr bwMode="auto">
              <a:xfrm>
                <a:off x="4456113" y="1352551"/>
                <a:ext cx="7938" cy="0"/>
              </a:xfrm>
              <a:custGeom>
                <a:avLst/>
                <a:gdLst>
                  <a:gd name="T0" fmla="*/ 5 w 5"/>
                  <a:gd name="T1" fmla="*/ 5 w 5"/>
                  <a:gd name="T2" fmla="*/ 0 w 5"/>
                  <a:gd name="T3" fmla="*/ 0 w 5"/>
                  <a:gd name="T4" fmla="*/ 0 w 5"/>
                  <a:gd name="T5" fmla="*/ 5 w 5"/>
                  <a:gd name="T6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26" name="Freeform 226"/>
              <p:cNvSpPr>
                <a:spLocks/>
              </p:cNvSpPr>
              <p:nvPr/>
            </p:nvSpPr>
            <p:spPr bwMode="auto">
              <a:xfrm>
                <a:off x="4456113" y="1352551"/>
                <a:ext cx="7938" cy="0"/>
              </a:xfrm>
              <a:custGeom>
                <a:avLst/>
                <a:gdLst>
                  <a:gd name="T0" fmla="*/ 5 w 5"/>
                  <a:gd name="T1" fmla="*/ 5 w 5"/>
                  <a:gd name="T2" fmla="*/ 0 w 5"/>
                  <a:gd name="T3" fmla="*/ 0 w 5"/>
                  <a:gd name="T4" fmla="*/ 0 w 5"/>
                  <a:gd name="T5" fmla="*/ 5 w 5"/>
                  <a:gd name="T6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27" name="Freeform 227"/>
              <p:cNvSpPr>
                <a:spLocks/>
              </p:cNvSpPr>
              <p:nvPr/>
            </p:nvSpPr>
            <p:spPr bwMode="auto">
              <a:xfrm>
                <a:off x="4470401" y="135255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28" name="Freeform 228"/>
              <p:cNvSpPr>
                <a:spLocks/>
              </p:cNvSpPr>
              <p:nvPr/>
            </p:nvSpPr>
            <p:spPr bwMode="auto">
              <a:xfrm>
                <a:off x="4470401" y="135255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29" name="Freeform 229"/>
              <p:cNvSpPr>
                <a:spLocks/>
              </p:cNvSpPr>
              <p:nvPr/>
            </p:nvSpPr>
            <p:spPr bwMode="auto">
              <a:xfrm>
                <a:off x="2284413" y="2241551"/>
                <a:ext cx="14288" cy="14288"/>
              </a:xfrm>
              <a:custGeom>
                <a:avLst/>
                <a:gdLst>
                  <a:gd name="T0" fmla="*/ 0 w 9"/>
                  <a:gd name="T1" fmla="*/ 9 h 9"/>
                  <a:gd name="T2" fmla="*/ 0 w 9"/>
                  <a:gd name="T3" fmla="*/ 9 h 9"/>
                  <a:gd name="T4" fmla="*/ 0 w 9"/>
                  <a:gd name="T5" fmla="*/ 9 h 9"/>
                  <a:gd name="T6" fmla="*/ 0 w 9"/>
                  <a:gd name="T7" fmla="*/ 9 h 9"/>
                  <a:gd name="T8" fmla="*/ 4 w 9"/>
                  <a:gd name="T9" fmla="*/ 9 h 9"/>
                  <a:gd name="T10" fmla="*/ 4 w 9"/>
                  <a:gd name="T11" fmla="*/ 5 h 9"/>
                  <a:gd name="T12" fmla="*/ 4 w 9"/>
                  <a:gd name="T13" fmla="*/ 5 h 9"/>
                  <a:gd name="T14" fmla="*/ 4 w 9"/>
                  <a:gd name="T15" fmla="*/ 5 h 9"/>
                  <a:gd name="T16" fmla="*/ 9 w 9"/>
                  <a:gd name="T17" fmla="*/ 5 h 9"/>
                  <a:gd name="T18" fmla="*/ 9 w 9"/>
                  <a:gd name="T19" fmla="*/ 5 h 9"/>
                  <a:gd name="T20" fmla="*/ 9 w 9"/>
                  <a:gd name="T21" fmla="*/ 5 h 9"/>
                  <a:gd name="T22" fmla="*/ 9 w 9"/>
                  <a:gd name="T23" fmla="*/ 0 h 9"/>
                  <a:gd name="T24" fmla="*/ 9 w 9"/>
                  <a:gd name="T25" fmla="*/ 0 h 9"/>
                  <a:gd name="T26" fmla="*/ 9 w 9"/>
                  <a:gd name="T27" fmla="*/ 0 h 9"/>
                  <a:gd name="T28" fmla="*/ 9 w 9"/>
                  <a:gd name="T29" fmla="*/ 0 h 9"/>
                  <a:gd name="T30" fmla="*/ 9 w 9"/>
                  <a:gd name="T31" fmla="*/ 0 h 9"/>
                  <a:gd name="T32" fmla="*/ 9 w 9"/>
                  <a:gd name="T33" fmla="*/ 5 h 9"/>
                  <a:gd name="T34" fmla="*/ 4 w 9"/>
                  <a:gd name="T35" fmla="*/ 5 h 9"/>
                  <a:gd name="T36" fmla="*/ 4 w 9"/>
                  <a:gd name="T37" fmla="*/ 9 h 9"/>
                  <a:gd name="T38" fmla="*/ 0 w 9"/>
                  <a:gd name="T3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" h="9">
                    <a:moveTo>
                      <a:pt x="0" y="9"/>
                    </a:move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5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30" name="Freeform 230"/>
              <p:cNvSpPr>
                <a:spLocks/>
              </p:cNvSpPr>
              <p:nvPr/>
            </p:nvSpPr>
            <p:spPr bwMode="auto">
              <a:xfrm>
                <a:off x="2284413" y="2241551"/>
                <a:ext cx="14288" cy="14288"/>
              </a:xfrm>
              <a:custGeom>
                <a:avLst/>
                <a:gdLst>
                  <a:gd name="T0" fmla="*/ 0 w 9"/>
                  <a:gd name="T1" fmla="*/ 9 h 9"/>
                  <a:gd name="T2" fmla="*/ 0 w 9"/>
                  <a:gd name="T3" fmla="*/ 9 h 9"/>
                  <a:gd name="T4" fmla="*/ 0 w 9"/>
                  <a:gd name="T5" fmla="*/ 9 h 9"/>
                  <a:gd name="T6" fmla="*/ 0 w 9"/>
                  <a:gd name="T7" fmla="*/ 9 h 9"/>
                  <a:gd name="T8" fmla="*/ 4 w 9"/>
                  <a:gd name="T9" fmla="*/ 9 h 9"/>
                  <a:gd name="T10" fmla="*/ 4 w 9"/>
                  <a:gd name="T11" fmla="*/ 5 h 9"/>
                  <a:gd name="T12" fmla="*/ 4 w 9"/>
                  <a:gd name="T13" fmla="*/ 5 h 9"/>
                  <a:gd name="T14" fmla="*/ 4 w 9"/>
                  <a:gd name="T15" fmla="*/ 5 h 9"/>
                  <a:gd name="T16" fmla="*/ 9 w 9"/>
                  <a:gd name="T17" fmla="*/ 5 h 9"/>
                  <a:gd name="T18" fmla="*/ 9 w 9"/>
                  <a:gd name="T19" fmla="*/ 5 h 9"/>
                  <a:gd name="T20" fmla="*/ 9 w 9"/>
                  <a:gd name="T21" fmla="*/ 5 h 9"/>
                  <a:gd name="T22" fmla="*/ 9 w 9"/>
                  <a:gd name="T23" fmla="*/ 0 h 9"/>
                  <a:gd name="T24" fmla="*/ 9 w 9"/>
                  <a:gd name="T25" fmla="*/ 0 h 9"/>
                  <a:gd name="T26" fmla="*/ 9 w 9"/>
                  <a:gd name="T27" fmla="*/ 0 h 9"/>
                  <a:gd name="T28" fmla="*/ 9 w 9"/>
                  <a:gd name="T29" fmla="*/ 0 h 9"/>
                  <a:gd name="T30" fmla="*/ 9 w 9"/>
                  <a:gd name="T31" fmla="*/ 0 h 9"/>
                  <a:gd name="T32" fmla="*/ 9 w 9"/>
                  <a:gd name="T33" fmla="*/ 5 h 9"/>
                  <a:gd name="T34" fmla="*/ 4 w 9"/>
                  <a:gd name="T35" fmla="*/ 5 h 9"/>
                  <a:gd name="T36" fmla="*/ 4 w 9"/>
                  <a:gd name="T37" fmla="*/ 9 h 9"/>
                  <a:gd name="T38" fmla="*/ 0 w 9"/>
                  <a:gd name="T3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" h="9">
                    <a:moveTo>
                      <a:pt x="0" y="9"/>
                    </a:move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5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0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31" name="Freeform 231"/>
              <p:cNvSpPr>
                <a:spLocks/>
              </p:cNvSpPr>
              <p:nvPr/>
            </p:nvSpPr>
            <p:spPr bwMode="auto">
              <a:xfrm>
                <a:off x="2290763" y="2235201"/>
                <a:ext cx="7938" cy="6350"/>
              </a:xfrm>
              <a:custGeom>
                <a:avLst/>
                <a:gdLst>
                  <a:gd name="T0" fmla="*/ 5 w 5"/>
                  <a:gd name="T1" fmla="*/ 4 h 4"/>
                  <a:gd name="T2" fmla="*/ 5 w 5"/>
                  <a:gd name="T3" fmla="*/ 4 h 4"/>
                  <a:gd name="T4" fmla="*/ 5 w 5"/>
                  <a:gd name="T5" fmla="*/ 4 h 4"/>
                  <a:gd name="T6" fmla="*/ 0 w 5"/>
                  <a:gd name="T7" fmla="*/ 4 h 4"/>
                  <a:gd name="T8" fmla="*/ 0 w 5"/>
                  <a:gd name="T9" fmla="*/ 4 h 4"/>
                  <a:gd name="T10" fmla="*/ 0 w 5"/>
                  <a:gd name="T11" fmla="*/ 4 h 4"/>
                  <a:gd name="T12" fmla="*/ 0 w 5"/>
                  <a:gd name="T13" fmla="*/ 4 h 4"/>
                  <a:gd name="T14" fmla="*/ 0 w 5"/>
                  <a:gd name="T15" fmla="*/ 0 h 4"/>
                  <a:gd name="T16" fmla="*/ 0 w 5"/>
                  <a:gd name="T17" fmla="*/ 0 h 4"/>
                  <a:gd name="T18" fmla="*/ 0 w 5"/>
                  <a:gd name="T19" fmla="*/ 0 h 4"/>
                  <a:gd name="T20" fmla="*/ 0 w 5"/>
                  <a:gd name="T21" fmla="*/ 4 h 4"/>
                  <a:gd name="T22" fmla="*/ 5 w 5"/>
                  <a:gd name="T2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4">
                    <a:moveTo>
                      <a:pt x="5" y="4"/>
                    </a:moveTo>
                    <a:lnTo>
                      <a:pt x="5" y="4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32" name="Freeform 232"/>
              <p:cNvSpPr>
                <a:spLocks/>
              </p:cNvSpPr>
              <p:nvPr/>
            </p:nvSpPr>
            <p:spPr bwMode="auto">
              <a:xfrm>
                <a:off x="2290763" y="2235201"/>
                <a:ext cx="7938" cy="6350"/>
              </a:xfrm>
              <a:custGeom>
                <a:avLst/>
                <a:gdLst>
                  <a:gd name="T0" fmla="*/ 5 w 5"/>
                  <a:gd name="T1" fmla="*/ 4 h 4"/>
                  <a:gd name="T2" fmla="*/ 5 w 5"/>
                  <a:gd name="T3" fmla="*/ 4 h 4"/>
                  <a:gd name="T4" fmla="*/ 5 w 5"/>
                  <a:gd name="T5" fmla="*/ 4 h 4"/>
                  <a:gd name="T6" fmla="*/ 0 w 5"/>
                  <a:gd name="T7" fmla="*/ 4 h 4"/>
                  <a:gd name="T8" fmla="*/ 0 w 5"/>
                  <a:gd name="T9" fmla="*/ 4 h 4"/>
                  <a:gd name="T10" fmla="*/ 0 w 5"/>
                  <a:gd name="T11" fmla="*/ 4 h 4"/>
                  <a:gd name="T12" fmla="*/ 0 w 5"/>
                  <a:gd name="T13" fmla="*/ 4 h 4"/>
                  <a:gd name="T14" fmla="*/ 0 w 5"/>
                  <a:gd name="T15" fmla="*/ 0 h 4"/>
                  <a:gd name="T16" fmla="*/ 0 w 5"/>
                  <a:gd name="T17" fmla="*/ 0 h 4"/>
                  <a:gd name="T18" fmla="*/ 0 w 5"/>
                  <a:gd name="T19" fmla="*/ 0 h 4"/>
                  <a:gd name="T20" fmla="*/ 0 w 5"/>
                  <a:gd name="T21" fmla="*/ 4 h 4"/>
                  <a:gd name="T22" fmla="*/ 5 w 5"/>
                  <a:gd name="T2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4">
                    <a:moveTo>
                      <a:pt x="5" y="4"/>
                    </a:moveTo>
                    <a:lnTo>
                      <a:pt x="5" y="4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33" name="Freeform 233"/>
              <p:cNvSpPr>
                <a:spLocks/>
              </p:cNvSpPr>
              <p:nvPr/>
            </p:nvSpPr>
            <p:spPr bwMode="auto">
              <a:xfrm>
                <a:off x="2270126" y="2212976"/>
                <a:ext cx="6350" cy="22225"/>
              </a:xfrm>
              <a:custGeom>
                <a:avLst/>
                <a:gdLst>
                  <a:gd name="T0" fmla="*/ 4 w 4"/>
                  <a:gd name="T1" fmla="*/ 14 h 14"/>
                  <a:gd name="T2" fmla="*/ 4 w 4"/>
                  <a:gd name="T3" fmla="*/ 14 h 14"/>
                  <a:gd name="T4" fmla="*/ 4 w 4"/>
                  <a:gd name="T5" fmla="*/ 14 h 14"/>
                  <a:gd name="T6" fmla="*/ 0 w 4"/>
                  <a:gd name="T7" fmla="*/ 9 h 14"/>
                  <a:gd name="T8" fmla="*/ 0 w 4"/>
                  <a:gd name="T9" fmla="*/ 9 h 14"/>
                  <a:gd name="T10" fmla="*/ 0 w 4"/>
                  <a:gd name="T11" fmla="*/ 9 h 14"/>
                  <a:gd name="T12" fmla="*/ 0 w 4"/>
                  <a:gd name="T13" fmla="*/ 9 h 14"/>
                  <a:gd name="T14" fmla="*/ 0 w 4"/>
                  <a:gd name="T15" fmla="*/ 9 h 14"/>
                  <a:gd name="T16" fmla="*/ 0 w 4"/>
                  <a:gd name="T17" fmla="*/ 5 h 14"/>
                  <a:gd name="T18" fmla="*/ 0 w 4"/>
                  <a:gd name="T19" fmla="*/ 5 h 14"/>
                  <a:gd name="T20" fmla="*/ 0 w 4"/>
                  <a:gd name="T21" fmla="*/ 0 h 14"/>
                  <a:gd name="T22" fmla="*/ 0 w 4"/>
                  <a:gd name="T23" fmla="*/ 0 h 14"/>
                  <a:gd name="T24" fmla="*/ 0 w 4"/>
                  <a:gd name="T25" fmla="*/ 0 h 14"/>
                  <a:gd name="T26" fmla="*/ 0 w 4"/>
                  <a:gd name="T27" fmla="*/ 0 h 14"/>
                  <a:gd name="T28" fmla="*/ 0 w 4"/>
                  <a:gd name="T29" fmla="*/ 0 h 14"/>
                  <a:gd name="T30" fmla="*/ 0 w 4"/>
                  <a:gd name="T31" fmla="*/ 5 h 14"/>
                  <a:gd name="T32" fmla="*/ 0 w 4"/>
                  <a:gd name="T33" fmla="*/ 5 h 14"/>
                  <a:gd name="T34" fmla="*/ 0 w 4"/>
                  <a:gd name="T35" fmla="*/ 9 h 14"/>
                  <a:gd name="T36" fmla="*/ 4 w 4"/>
                  <a:gd name="T37" fmla="*/ 9 h 14"/>
                  <a:gd name="T38" fmla="*/ 4 w 4"/>
                  <a:gd name="T39" fmla="*/ 14 h 14"/>
                  <a:gd name="T40" fmla="*/ 4 w 4"/>
                  <a:gd name="T4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" h="14">
                    <a:moveTo>
                      <a:pt x="4" y="14"/>
                    </a:moveTo>
                    <a:lnTo>
                      <a:pt x="4" y="14"/>
                    </a:lnTo>
                    <a:lnTo>
                      <a:pt x="4" y="1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34" name="Freeform 234"/>
              <p:cNvSpPr>
                <a:spLocks/>
              </p:cNvSpPr>
              <p:nvPr/>
            </p:nvSpPr>
            <p:spPr bwMode="auto">
              <a:xfrm>
                <a:off x="2270126" y="2212976"/>
                <a:ext cx="6350" cy="22225"/>
              </a:xfrm>
              <a:custGeom>
                <a:avLst/>
                <a:gdLst>
                  <a:gd name="T0" fmla="*/ 4 w 4"/>
                  <a:gd name="T1" fmla="*/ 14 h 14"/>
                  <a:gd name="T2" fmla="*/ 4 w 4"/>
                  <a:gd name="T3" fmla="*/ 14 h 14"/>
                  <a:gd name="T4" fmla="*/ 4 w 4"/>
                  <a:gd name="T5" fmla="*/ 14 h 14"/>
                  <a:gd name="T6" fmla="*/ 0 w 4"/>
                  <a:gd name="T7" fmla="*/ 9 h 14"/>
                  <a:gd name="T8" fmla="*/ 0 w 4"/>
                  <a:gd name="T9" fmla="*/ 9 h 14"/>
                  <a:gd name="T10" fmla="*/ 0 w 4"/>
                  <a:gd name="T11" fmla="*/ 9 h 14"/>
                  <a:gd name="T12" fmla="*/ 0 w 4"/>
                  <a:gd name="T13" fmla="*/ 9 h 14"/>
                  <a:gd name="T14" fmla="*/ 0 w 4"/>
                  <a:gd name="T15" fmla="*/ 9 h 14"/>
                  <a:gd name="T16" fmla="*/ 0 w 4"/>
                  <a:gd name="T17" fmla="*/ 5 h 14"/>
                  <a:gd name="T18" fmla="*/ 0 w 4"/>
                  <a:gd name="T19" fmla="*/ 5 h 14"/>
                  <a:gd name="T20" fmla="*/ 0 w 4"/>
                  <a:gd name="T21" fmla="*/ 0 h 14"/>
                  <a:gd name="T22" fmla="*/ 0 w 4"/>
                  <a:gd name="T23" fmla="*/ 0 h 14"/>
                  <a:gd name="T24" fmla="*/ 0 w 4"/>
                  <a:gd name="T25" fmla="*/ 0 h 14"/>
                  <a:gd name="T26" fmla="*/ 0 w 4"/>
                  <a:gd name="T27" fmla="*/ 0 h 14"/>
                  <a:gd name="T28" fmla="*/ 0 w 4"/>
                  <a:gd name="T29" fmla="*/ 0 h 14"/>
                  <a:gd name="T30" fmla="*/ 0 w 4"/>
                  <a:gd name="T31" fmla="*/ 5 h 14"/>
                  <a:gd name="T32" fmla="*/ 0 w 4"/>
                  <a:gd name="T33" fmla="*/ 5 h 14"/>
                  <a:gd name="T34" fmla="*/ 0 w 4"/>
                  <a:gd name="T35" fmla="*/ 9 h 14"/>
                  <a:gd name="T36" fmla="*/ 4 w 4"/>
                  <a:gd name="T37" fmla="*/ 9 h 14"/>
                  <a:gd name="T38" fmla="*/ 4 w 4"/>
                  <a:gd name="T39" fmla="*/ 14 h 14"/>
                  <a:gd name="T40" fmla="*/ 4 w 4"/>
                  <a:gd name="T4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" h="14">
                    <a:moveTo>
                      <a:pt x="4" y="14"/>
                    </a:moveTo>
                    <a:lnTo>
                      <a:pt x="4" y="14"/>
                    </a:lnTo>
                    <a:lnTo>
                      <a:pt x="4" y="1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14"/>
                    </a:lnTo>
                    <a:lnTo>
                      <a:pt x="4" y="1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35" name="Freeform 235"/>
              <p:cNvSpPr>
                <a:spLocks/>
              </p:cNvSpPr>
              <p:nvPr/>
            </p:nvSpPr>
            <p:spPr bwMode="auto">
              <a:xfrm>
                <a:off x="2239963" y="2149476"/>
                <a:ext cx="15875" cy="28575"/>
              </a:xfrm>
              <a:custGeom>
                <a:avLst/>
                <a:gdLst>
                  <a:gd name="T0" fmla="*/ 5 w 10"/>
                  <a:gd name="T1" fmla="*/ 4 h 18"/>
                  <a:gd name="T2" fmla="*/ 5 w 10"/>
                  <a:gd name="T3" fmla="*/ 4 h 18"/>
                  <a:gd name="T4" fmla="*/ 5 w 10"/>
                  <a:gd name="T5" fmla="*/ 4 h 18"/>
                  <a:gd name="T6" fmla="*/ 10 w 10"/>
                  <a:gd name="T7" fmla="*/ 4 h 18"/>
                  <a:gd name="T8" fmla="*/ 10 w 10"/>
                  <a:gd name="T9" fmla="*/ 9 h 18"/>
                  <a:gd name="T10" fmla="*/ 10 w 10"/>
                  <a:gd name="T11" fmla="*/ 9 h 18"/>
                  <a:gd name="T12" fmla="*/ 10 w 10"/>
                  <a:gd name="T13" fmla="*/ 9 h 18"/>
                  <a:gd name="T14" fmla="*/ 10 w 10"/>
                  <a:gd name="T15" fmla="*/ 13 h 18"/>
                  <a:gd name="T16" fmla="*/ 10 w 10"/>
                  <a:gd name="T17" fmla="*/ 18 h 18"/>
                  <a:gd name="T18" fmla="*/ 10 w 10"/>
                  <a:gd name="T19" fmla="*/ 18 h 18"/>
                  <a:gd name="T20" fmla="*/ 10 w 10"/>
                  <a:gd name="T21" fmla="*/ 18 h 18"/>
                  <a:gd name="T22" fmla="*/ 10 w 10"/>
                  <a:gd name="T23" fmla="*/ 18 h 18"/>
                  <a:gd name="T24" fmla="*/ 5 w 10"/>
                  <a:gd name="T25" fmla="*/ 18 h 18"/>
                  <a:gd name="T26" fmla="*/ 5 w 10"/>
                  <a:gd name="T27" fmla="*/ 18 h 18"/>
                  <a:gd name="T28" fmla="*/ 10 w 10"/>
                  <a:gd name="T29" fmla="*/ 13 h 18"/>
                  <a:gd name="T30" fmla="*/ 10 w 10"/>
                  <a:gd name="T31" fmla="*/ 13 h 18"/>
                  <a:gd name="T32" fmla="*/ 10 w 10"/>
                  <a:gd name="T33" fmla="*/ 13 h 18"/>
                  <a:gd name="T34" fmla="*/ 10 w 10"/>
                  <a:gd name="T35" fmla="*/ 9 h 18"/>
                  <a:gd name="T36" fmla="*/ 10 w 10"/>
                  <a:gd name="T37" fmla="*/ 9 h 18"/>
                  <a:gd name="T38" fmla="*/ 10 w 10"/>
                  <a:gd name="T39" fmla="*/ 4 h 18"/>
                  <a:gd name="T40" fmla="*/ 5 w 10"/>
                  <a:gd name="T41" fmla="*/ 4 h 18"/>
                  <a:gd name="T42" fmla="*/ 5 w 10"/>
                  <a:gd name="T43" fmla="*/ 4 h 18"/>
                  <a:gd name="T44" fmla="*/ 5 w 10"/>
                  <a:gd name="T45" fmla="*/ 4 h 18"/>
                  <a:gd name="T46" fmla="*/ 0 w 10"/>
                  <a:gd name="T47" fmla="*/ 4 h 18"/>
                  <a:gd name="T48" fmla="*/ 5 w 10"/>
                  <a:gd name="T49" fmla="*/ 4 h 18"/>
                  <a:gd name="T50" fmla="*/ 5 w 10"/>
                  <a:gd name="T51" fmla="*/ 0 h 18"/>
                  <a:gd name="T52" fmla="*/ 5 w 10"/>
                  <a:gd name="T53" fmla="*/ 0 h 18"/>
                  <a:gd name="T54" fmla="*/ 5 w 10"/>
                  <a:gd name="T55" fmla="*/ 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" h="18">
                    <a:moveTo>
                      <a:pt x="5" y="4"/>
                    </a:moveTo>
                    <a:lnTo>
                      <a:pt x="5" y="4"/>
                    </a:lnTo>
                    <a:lnTo>
                      <a:pt x="5" y="4"/>
                    </a:lnTo>
                    <a:lnTo>
                      <a:pt x="10" y="4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13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36" name="Freeform 236"/>
              <p:cNvSpPr>
                <a:spLocks/>
              </p:cNvSpPr>
              <p:nvPr/>
            </p:nvSpPr>
            <p:spPr bwMode="auto">
              <a:xfrm>
                <a:off x="2239963" y="2149476"/>
                <a:ext cx="15875" cy="28575"/>
              </a:xfrm>
              <a:custGeom>
                <a:avLst/>
                <a:gdLst>
                  <a:gd name="T0" fmla="*/ 5 w 10"/>
                  <a:gd name="T1" fmla="*/ 4 h 18"/>
                  <a:gd name="T2" fmla="*/ 5 w 10"/>
                  <a:gd name="T3" fmla="*/ 4 h 18"/>
                  <a:gd name="T4" fmla="*/ 5 w 10"/>
                  <a:gd name="T5" fmla="*/ 4 h 18"/>
                  <a:gd name="T6" fmla="*/ 10 w 10"/>
                  <a:gd name="T7" fmla="*/ 4 h 18"/>
                  <a:gd name="T8" fmla="*/ 10 w 10"/>
                  <a:gd name="T9" fmla="*/ 9 h 18"/>
                  <a:gd name="T10" fmla="*/ 10 w 10"/>
                  <a:gd name="T11" fmla="*/ 9 h 18"/>
                  <a:gd name="T12" fmla="*/ 10 w 10"/>
                  <a:gd name="T13" fmla="*/ 9 h 18"/>
                  <a:gd name="T14" fmla="*/ 10 w 10"/>
                  <a:gd name="T15" fmla="*/ 13 h 18"/>
                  <a:gd name="T16" fmla="*/ 10 w 10"/>
                  <a:gd name="T17" fmla="*/ 18 h 18"/>
                  <a:gd name="T18" fmla="*/ 10 w 10"/>
                  <a:gd name="T19" fmla="*/ 18 h 18"/>
                  <a:gd name="T20" fmla="*/ 10 w 10"/>
                  <a:gd name="T21" fmla="*/ 18 h 18"/>
                  <a:gd name="T22" fmla="*/ 10 w 10"/>
                  <a:gd name="T23" fmla="*/ 18 h 18"/>
                  <a:gd name="T24" fmla="*/ 5 w 10"/>
                  <a:gd name="T25" fmla="*/ 18 h 18"/>
                  <a:gd name="T26" fmla="*/ 5 w 10"/>
                  <a:gd name="T27" fmla="*/ 18 h 18"/>
                  <a:gd name="T28" fmla="*/ 10 w 10"/>
                  <a:gd name="T29" fmla="*/ 13 h 18"/>
                  <a:gd name="T30" fmla="*/ 10 w 10"/>
                  <a:gd name="T31" fmla="*/ 13 h 18"/>
                  <a:gd name="T32" fmla="*/ 10 w 10"/>
                  <a:gd name="T33" fmla="*/ 13 h 18"/>
                  <a:gd name="T34" fmla="*/ 10 w 10"/>
                  <a:gd name="T35" fmla="*/ 9 h 18"/>
                  <a:gd name="T36" fmla="*/ 10 w 10"/>
                  <a:gd name="T37" fmla="*/ 9 h 18"/>
                  <a:gd name="T38" fmla="*/ 10 w 10"/>
                  <a:gd name="T39" fmla="*/ 4 h 18"/>
                  <a:gd name="T40" fmla="*/ 5 w 10"/>
                  <a:gd name="T41" fmla="*/ 4 h 18"/>
                  <a:gd name="T42" fmla="*/ 5 w 10"/>
                  <a:gd name="T43" fmla="*/ 4 h 18"/>
                  <a:gd name="T44" fmla="*/ 5 w 10"/>
                  <a:gd name="T45" fmla="*/ 4 h 18"/>
                  <a:gd name="T46" fmla="*/ 0 w 10"/>
                  <a:gd name="T47" fmla="*/ 4 h 18"/>
                  <a:gd name="T48" fmla="*/ 5 w 10"/>
                  <a:gd name="T49" fmla="*/ 4 h 18"/>
                  <a:gd name="T50" fmla="*/ 5 w 10"/>
                  <a:gd name="T51" fmla="*/ 0 h 18"/>
                  <a:gd name="T52" fmla="*/ 5 w 10"/>
                  <a:gd name="T53" fmla="*/ 0 h 18"/>
                  <a:gd name="T54" fmla="*/ 5 w 10"/>
                  <a:gd name="T55" fmla="*/ 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" h="18">
                    <a:moveTo>
                      <a:pt x="5" y="4"/>
                    </a:moveTo>
                    <a:lnTo>
                      <a:pt x="5" y="4"/>
                    </a:lnTo>
                    <a:lnTo>
                      <a:pt x="5" y="4"/>
                    </a:lnTo>
                    <a:lnTo>
                      <a:pt x="10" y="4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13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37" name="Freeform 237"/>
              <p:cNvSpPr>
                <a:spLocks/>
              </p:cNvSpPr>
              <p:nvPr/>
            </p:nvSpPr>
            <p:spPr bwMode="auto">
              <a:xfrm>
                <a:off x="2197101" y="2112964"/>
                <a:ext cx="28575" cy="7938"/>
              </a:xfrm>
              <a:custGeom>
                <a:avLst/>
                <a:gdLst>
                  <a:gd name="T0" fmla="*/ 9 w 18"/>
                  <a:gd name="T1" fmla="*/ 0 h 5"/>
                  <a:gd name="T2" fmla="*/ 9 w 18"/>
                  <a:gd name="T3" fmla="*/ 0 h 5"/>
                  <a:gd name="T4" fmla="*/ 9 w 18"/>
                  <a:gd name="T5" fmla="*/ 0 h 5"/>
                  <a:gd name="T6" fmla="*/ 9 w 18"/>
                  <a:gd name="T7" fmla="*/ 0 h 5"/>
                  <a:gd name="T8" fmla="*/ 14 w 18"/>
                  <a:gd name="T9" fmla="*/ 0 h 5"/>
                  <a:gd name="T10" fmla="*/ 14 w 18"/>
                  <a:gd name="T11" fmla="*/ 0 h 5"/>
                  <a:gd name="T12" fmla="*/ 18 w 18"/>
                  <a:gd name="T13" fmla="*/ 0 h 5"/>
                  <a:gd name="T14" fmla="*/ 18 w 18"/>
                  <a:gd name="T15" fmla="*/ 0 h 5"/>
                  <a:gd name="T16" fmla="*/ 18 w 18"/>
                  <a:gd name="T17" fmla="*/ 0 h 5"/>
                  <a:gd name="T18" fmla="*/ 14 w 18"/>
                  <a:gd name="T19" fmla="*/ 0 h 5"/>
                  <a:gd name="T20" fmla="*/ 5 w 18"/>
                  <a:gd name="T21" fmla="*/ 5 h 5"/>
                  <a:gd name="T22" fmla="*/ 5 w 18"/>
                  <a:gd name="T23" fmla="*/ 5 h 5"/>
                  <a:gd name="T24" fmla="*/ 0 w 18"/>
                  <a:gd name="T25" fmla="*/ 5 h 5"/>
                  <a:gd name="T26" fmla="*/ 0 w 18"/>
                  <a:gd name="T27" fmla="*/ 5 h 5"/>
                  <a:gd name="T28" fmla="*/ 0 w 18"/>
                  <a:gd name="T29" fmla="*/ 0 h 5"/>
                  <a:gd name="T30" fmla="*/ 0 w 18"/>
                  <a:gd name="T31" fmla="*/ 0 h 5"/>
                  <a:gd name="T32" fmla="*/ 0 w 18"/>
                  <a:gd name="T33" fmla="*/ 5 h 5"/>
                  <a:gd name="T34" fmla="*/ 5 w 18"/>
                  <a:gd name="T35" fmla="*/ 0 h 5"/>
                  <a:gd name="T36" fmla="*/ 5 w 18"/>
                  <a:gd name="T37" fmla="*/ 0 h 5"/>
                  <a:gd name="T38" fmla="*/ 5 w 18"/>
                  <a:gd name="T39" fmla="*/ 0 h 5"/>
                  <a:gd name="T40" fmla="*/ 5 w 18"/>
                  <a:gd name="T41" fmla="*/ 0 h 5"/>
                  <a:gd name="T42" fmla="*/ 5 w 18"/>
                  <a:gd name="T43" fmla="*/ 0 h 5"/>
                  <a:gd name="T44" fmla="*/ 9 w 18"/>
                  <a:gd name="T4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8" h="5">
                    <a:moveTo>
                      <a:pt x="9" y="0"/>
                    </a:move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38" name="Freeform 238"/>
              <p:cNvSpPr>
                <a:spLocks/>
              </p:cNvSpPr>
              <p:nvPr/>
            </p:nvSpPr>
            <p:spPr bwMode="auto">
              <a:xfrm>
                <a:off x="2197101" y="2112964"/>
                <a:ext cx="28575" cy="7938"/>
              </a:xfrm>
              <a:custGeom>
                <a:avLst/>
                <a:gdLst>
                  <a:gd name="T0" fmla="*/ 9 w 18"/>
                  <a:gd name="T1" fmla="*/ 0 h 5"/>
                  <a:gd name="T2" fmla="*/ 9 w 18"/>
                  <a:gd name="T3" fmla="*/ 0 h 5"/>
                  <a:gd name="T4" fmla="*/ 9 w 18"/>
                  <a:gd name="T5" fmla="*/ 0 h 5"/>
                  <a:gd name="T6" fmla="*/ 9 w 18"/>
                  <a:gd name="T7" fmla="*/ 0 h 5"/>
                  <a:gd name="T8" fmla="*/ 14 w 18"/>
                  <a:gd name="T9" fmla="*/ 0 h 5"/>
                  <a:gd name="T10" fmla="*/ 14 w 18"/>
                  <a:gd name="T11" fmla="*/ 0 h 5"/>
                  <a:gd name="T12" fmla="*/ 18 w 18"/>
                  <a:gd name="T13" fmla="*/ 0 h 5"/>
                  <a:gd name="T14" fmla="*/ 18 w 18"/>
                  <a:gd name="T15" fmla="*/ 0 h 5"/>
                  <a:gd name="T16" fmla="*/ 18 w 18"/>
                  <a:gd name="T17" fmla="*/ 0 h 5"/>
                  <a:gd name="T18" fmla="*/ 14 w 18"/>
                  <a:gd name="T19" fmla="*/ 0 h 5"/>
                  <a:gd name="T20" fmla="*/ 5 w 18"/>
                  <a:gd name="T21" fmla="*/ 5 h 5"/>
                  <a:gd name="T22" fmla="*/ 5 w 18"/>
                  <a:gd name="T23" fmla="*/ 5 h 5"/>
                  <a:gd name="T24" fmla="*/ 0 w 18"/>
                  <a:gd name="T25" fmla="*/ 5 h 5"/>
                  <a:gd name="T26" fmla="*/ 0 w 18"/>
                  <a:gd name="T27" fmla="*/ 5 h 5"/>
                  <a:gd name="T28" fmla="*/ 0 w 18"/>
                  <a:gd name="T29" fmla="*/ 0 h 5"/>
                  <a:gd name="T30" fmla="*/ 0 w 18"/>
                  <a:gd name="T31" fmla="*/ 0 h 5"/>
                  <a:gd name="T32" fmla="*/ 0 w 18"/>
                  <a:gd name="T33" fmla="*/ 5 h 5"/>
                  <a:gd name="T34" fmla="*/ 5 w 18"/>
                  <a:gd name="T35" fmla="*/ 0 h 5"/>
                  <a:gd name="T36" fmla="*/ 5 w 18"/>
                  <a:gd name="T37" fmla="*/ 0 h 5"/>
                  <a:gd name="T38" fmla="*/ 5 w 18"/>
                  <a:gd name="T39" fmla="*/ 0 h 5"/>
                  <a:gd name="T40" fmla="*/ 5 w 18"/>
                  <a:gd name="T41" fmla="*/ 0 h 5"/>
                  <a:gd name="T42" fmla="*/ 5 w 18"/>
                  <a:gd name="T43" fmla="*/ 0 h 5"/>
                  <a:gd name="T44" fmla="*/ 9 w 18"/>
                  <a:gd name="T4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8" h="5">
                    <a:moveTo>
                      <a:pt x="9" y="0"/>
                    </a:move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39" name="Freeform 239"/>
              <p:cNvSpPr>
                <a:spLocks/>
              </p:cNvSpPr>
              <p:nvPr/>
            </p:nvSpPr>
            <p:spPr bwMode="auto">
              <a:xfrm>
                <a:off x="2225676" y="2105026"/>
                <a:ext cx="22225" cy="36513"/>
              </a:xfrm>
              <a:custGeom>
                <a:avLst/>
                <a:gdLst>
                  <a:gd name="T0" fmla="*/ 5 w 14"/>
                  <a:gd name="T1" fmla="*/ 23 h 23"/>
                  <a:gd name="T2" fmla="*/ 5 w 14"/>
                  <a:gd name="T3" fmla="*/ 23 h 23"/>
                  <a:gd name="T4" fmla="*/ 5 w 14"/>
                  <a:gd name="T5" fmla="*/ 23 h 23"/>
                  <a:gd name="T6" fmla="*/ 5 w 14"/>
                  <a:gd name="T7" fmla="*/ 19 h 23"/>
                  <a:gd name="T8" fmla="*/ 5 w 14"/>
                  <a:gd name="T9" fmla="*/ 19 h 23"/>
                  <a:gd name="T10" fmla="*/ 5 w 14"/>
                  <a:gd name="T11" fmla="*/ 19 h 23"/>
                  <a:gd name="T12" fmla="*/ 9 w 14"/>
                  <a:gd name="T13" fmla="*/ 19 h 23"/>
                  <a:gd name="T14" fmla="*/ 9 w 14"/>
                  <a:gd name="T15" fmla="*/ 14 h 23"/>
                  <a:gd name="T16" fmla="*/ 9 w 14"/>
                  <a:gd name="T17" fmla="*/ 14 h 23"/>
                  <a:gd name="T18" fmla="*/ 9 w 14"/>
                  <a:gd name="T19" fmla="*/ 10 h 23"/>
                  <a:gd name="T20" fmla="*/ 9 w 14"/>
                  <a:gd name="T21" fmla="*/ 10 h 23"/>
                  <a:gd name="T22" fmla="*/ 9 w 14"/>
                  <a:gd name="T23" fmla="*/ 10 h 23"/>
                  <a:gd name="T24" fmla="*/ 9 w 14"/>
                  <a:gd name="T25" fmla="*/ 10 h 23"/>
                  <a:gd name="T26" fmla="*/ 5 w 14"/>
                  <a:gd name="T27" fmla="*/ 5 h 23"/>
                  <a:gd name="T28" fmla="*/ 0 w 14"/>
                  <a:gd name="T29" fmla="*/ 0 h 23"/>
                  <a:gd name="T30" fmla="*/ 0 w 14"/>
                  <a:gd name="T31" fmla="*/ 0 h 23"/>
                  <a:gd name="T32" fmla="*/ 0 w 14"/>
                  <a:gd name="T33" fmla="*/ 0 h 23"/>
                  <a:gd name="T34" fmla="*/ 5 w 14"/>
                  <a:gd name="T35" fmla="*/ 0 h 23"/>
                  <a:gd name="T36" fmla="*/ 5 w 14"/>
                  <a:gd name="T37" fmla="*/ 0 h 23"/>
                  <a:gd name="T38" fmla="*/ 5 w 14"/>
                  <a:gd name="T39" fmla="*/ 0 h 23"/>
                  <a:gd name="T40" fmla="*/ 9 w 14"/>
                  <a:gd name="T41" fmla="*/ 5 h 23"/>
                  <a:gd name="T42" fmla="*/ 9 w 14"/>
                  <a:gd name="T43" fmla="*/ 5 h 23"/>
                  <a:gd name="T44" fmla="*/ 9 w 14"/>
                  <a:gd name="T45" fmla="*/ 5 h 23"/>
                  <a:gd name="T46" fmla="*/ 9 w 14"/>
                  <a:gd name="T47" fmla="*/ 5 h 23"/>
                  <a:gd name="T48" fmla="*/ 9 w 14"/>
                  <a:gd name="T49" fmla="*/ 5 h 23"/>
                  <a:gd name="T50" fmla="*/ 9 w 14"/>
                  <a:gd name="T51" fmla="*/ 10 h 23"/>
                  <a:gd name="T52" fmla="*/ 9 w 14"/>
                  <a:gd name="T53" fmla="*/ 10 h 23"/>
                  <a:gd name="T54" fmla="*/ 14 w 14"/>
                  <a:gd name="T55" fmla="*/ 10 h 23"/>
                  <a:gd name="T56" fmla="*/ 14 w 14"/>
                  <a:gd name="T57" fmla="*/ 14 h 23"/>
                  <a:gd name="T58" fmla="*/ 9 w 14"/>
                  <a:gd name="T59" fmla="*/ 14 h 23"/>
                  <a:gd name="T60" fmla="*/ 9 w 14"/>
                  <a:gd name="T61" fmla="*/ 19 h 23"/>
                  <a:gd name="T62" fmla="*/ 5 w 14"/>
                  <a:gd name="T6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" h="23">
                    <a:moveTo>
                      <a:pt x="5" y="23"/>
                    </a:moveTo>
                    <a:lnTo>
                      <a:pt x="5" y="23"/>
                    </a:lnTo>
                    <a:lnTo>
                      <a:pt x="5" y="23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5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9" y="14"/>
                    </a:lnTo>
                    <a:lnTo>
                      <a:pt x="9" y="19"/>
                    </a:lnTo>
                    <a:lnTo>
                      <a:pt x="5" y="23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40" name="Freeform 240"/>
              <p:cNvSpPr>
                <a:spLocks/>
              </p:cNvSpPr>
              <p:nvPr/>
            </p:nvSpPr>
            <p:spPr bwMode="auto">
              <a:xfrm>
                <a:off x="2225676" y="2105026"/>
                <a:ext cx="22225" cy="36513"/>
              </a:xfrm>
              <a:custGeom>
                <a:avLst/>
                <a:gdLst>
                  <a:gd name="T0" fmla="*/ 5 w 14"/>
                  <a:gd name="T1" fmla="*/ 23 h 23"/>
                  <a:gd name="T2" fmla="*/ 5 w 14"/>
                  <a:gd name="T3" fmla="*/ 23 h 23"/>
                  <a:gd name="T4" fmla="*/ 5 w 14"/>
                  <a:gd name="T5" fmla="*/ 23 h 23"/>
                  <a:gd name="T6" fmla="*/ 5 w 14"/>
                  <a:gd name="T7" fmla="*/ 19 h 23"/>
                  <a:gd name="T8" fmla="*/ 5 w 14"/>
                  <a:gd name="T9" fmla="*/ 19 h 23"/>
                  <a:gd name="T10" fmla="*/ 5 w 14"/>
                  <a:gd name="T11" fmla="*/ 19 h 23"/>
                  <a:gd name="T12" fmla="*/ 9 w 14"/>
                  <a:gd name="T13" fmla="*/ 19 h 23"/>
                  <a:gd name="T14" fmla="*/ 9 w 14"/>
                  <a:gd name="T15" fmla="*/ 14 h 23"/>
                  <a:gd name="T16" fmla="*/ 9 w 14"/>
                  <a:gd name="T17" fmla="*/ 14 h 23"/>
                  <a:gd name="T18" fmla="*/ 9 w 14"/>
                  <a:gd name="T19" fmla="*/ 10 h 23"/>
                  <a:gd name="T20" fmla="*/ 9 w 14"/>
                  <a:gd name="T21" fmla="*/ 10 h 23"/>
                  <a:gd name="T22" fmla="*/ 9 w 14"/>
                  <a:gd name="T23" fmla="*/ 10 h 23"/>
                  <a:gd name="T24" fmla="*/ 9 w 14"/>
                  <a:gd name="T25" fmla="*/ 10 h 23"/>
                  <a:gd name="T26" fmla="*/ 5 w 14"/>
                  <a:gd name="T27" fmla="*/ 5 h 23"/>
                  <a:gd name="T28" fmla="*/ 0 w 14"/>
                  <a:gd name="T29" fmla="*/ 0 h 23"/>
                  <a:gd name="T30" fmla="*/ 0 w 14"/>
                  <a:gd name="T31" fmla="*/ 0 h 23"/>
                  <a:gd name="T32" fmla="*/ 0 w 14"/>
                  <a:gd name="T33" fmla="*/ 0 h 23"/>
                  <a:gd name="T34" fmla="*/ 5 w 14"/>
                  <a:gd name="T35" fmla="*/ 0 h 23"/>
                  <a:gd name="T36" fmla="*/ 5 w 14"/>
                  <a:gd name="T37" fmla="*/ 0 h 23"/>
                  <a:gd name="T38" fmla="*/ 5 w 14"/>
                  <a:gd name="T39" fmla="*/ 0 h 23"/>
                  <a:gd name="T40" fmla="*/ 9 w 14"/>
                  <a:gd name="T41" fmla="*/ 5 h 23"/>
                  <a:gd name="T42" fmla="*/ 9 w 14"/>
                  <a:gd name="T43" fmla="*/ 5 h 23"/>
                  <a:gd name="T44" fmla="*/ 9 w 14"/>
                  <a:gd name="T45" fmla="*/ 5 h 23"/>
                  <a:gd name="T46" fmla="*/ 9 w 14"/>
                  <a:gd name="T47" fmla="*/ 5 h 23"/>
                  <a:gd name="T48" fmla="*/ 9 w 14"/>
                  <a:gd name="T49" fmla="*/ 5 h 23"/>
                  <a:gd name="T50" fmla="*/ 9 w 14"/>
                  <a:gd name="T51" fmla="*/ 10 h 23"/>
                  <a:gd name="T52" fmla="*/ 9 w 14"/>
                  <a:gd name="T53" fmla="*/ 10 h 23"/>
                  <a:gd name="T54" fmla="*/ 14 w 14"/>
                  <a:gd name="T55" fmla="*/ 10 h 23"/>
                  <a:gd name="T56" fmla="*/ 14 w 14"/>
                  <a:gd name="T57" fmla="*/ 14 h 23"/>
                  <a:gd name="T58" fmla="*/ 9 w 14"/>
                  <a:gd name="T59" fmla="*/ 14 h 23"/>
                  <a:gd name="T60" fmla="*/ 9 w 14"/>
                  <a:gd name="T61" fmla="*/ 19 h 23"/>
                  <a:gd name="T62" fmla="*/ 5 w 14"/>
                  <a:gd name="T6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" h="23">
                    <a:moveTo>
                      <a:pt x="5" y="23"/>
                    </a:moveTo>
                    <a:lnTo>
                      <a:pt x="5" y="23"/>
                    </a:lnTo>
                    <a:lnTo>
                      <a:pt x="5" y="23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9" y="19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5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9" y="14"/>
                    </a:lnTo>
                    <a:lnTo>
                      <a:pt x="9" y="19"/>
                    </a:lnTo>
                    <a:lnTo>
                      <a:pt x="5" y="23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41" name="Freeform 241"/>
              <p:cNvSpPr>
                <a:spLocks/>
              </p:cNvSpPr>
              <p:nvPr/>
            </p:nvSpPr>
            <p:spPr bwMode="auto">
              <a:xfrm>
                <a:off x="2290763" y="2357439"/>
                <a:ext cx="14288" cy="6350"/>
              </a:xfrm>
              <a:custGeom>
                <a:avLst/>
                <a:gdLst>
                  <a:gd name="T0" fmla="*/ 9 w 9"/>
                  <a:gd name="T1" fmla="*/ 4 h 4"/>
                  <a:gd name="T2" fmla="*/ 9 w 9"/>
                  <a:gd name="T3" fmla="*/ 4 h 4"/>
                  <a:gd name="T4" fmla="*/ 9 w 9"/>
                  <a:gd name="T5" fmla="*/ 4 h 4"/>
                  <a:gd name="T6" fmla="*/ 5 w 9"/>
                  <a:gd name="T7" fmla="*/ 4 h 4"/>
                  <a:gd name="T8" fmla="*/ 0 w 9"/>
                  <a:gd name="T9" fmla="*/ 0 h 4"/>
                  <a:gd name="T10" fmla="*/ 0 w 9"/>
                  <a:gd name="T11" fmla="*/ 0 h 4"/>
                  <a:gd name="T12" fmla="*/ 0 w 9"/>
                  <a:gd name="T13" fmla="*/ 0 h 4"/>
                  <a:gd name="T14" fmla="*/ 5 w 9"/>
                  <a:gd name="T15" fmla="*/ 0 h 4"/>
                  <a:gd name="T16" fmla="*/ 5 w 9"/>
                  <a:gd name="T17" fmla="*/ 4 h 4"/>
                  <a:gd name="T18" fmla="*/ 9 w 9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4">
                    <a:moveTo>
                      <a:pt x="9" y="4"/>
                    </a:moveTo>
                    <a:lnTo>
                      <a:pt x="9" y="4"/>
                    </a:lnTo>
                    <a:lnTo>
                      <a:pt x="9" y="4"/>
                    </a:lnTo>
                    <a:lnTo>
                      <a:pt x="5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9" y="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42" name="Freeform 242"/>
              <p:cNvSpPr>
                <a:spLocks/>
              </p:cNvSpPr>
              <p:nvPr/>
            </p:nvSpPr>
            <p:spPr bwMode="auto">
              <a:xfrm>
                <a:off x="2290763" y="2357439"/>
                <a:ext cx="14288" cy="6350"/>
              </a:xfrm>
              <a:custGeom>
                <a:avLst/>
                <a:gdLst>
                  <a:gd name="T0" fmla="*/ 9 w 9"/>
                  <a:gd name="T1" fmla="*/ 4 h 4"/>
                  <a:gd name="T2" fmla="*/ 9 w 9"/>
                  <a:gd name="T3" fmla="*/ 4 h 4"/>
                  <a:gd name="T4" fmla="*/ 9 w 9"/>
                  <a:gd name="T5" fmla="*/ 4 h 4"/>
                  <a:gd name="T6" fmla="*/ 5 w 9"/>
                  <a:gd name="T7" fmla="*/ 4 h 4"/>
                  <a:gd name="T8" fmla="*/ 0 w 9"/>
                  <a:gd name="T9" fmla="*/ 0 h 4"/>
                  <a:gd name="T10" fmla="*/ 0 w 9"/>
                  <a:gd name="T11" fmla="*/ 0 h 4"/>
                  <a:gd name="T12" fmla="*/ 0 w 9"/>
                  <a:gd name="T13" fmla="*/ 0 h 4"/>
                  <a:gd name="T14" fmla="*/ 5 w 9"/>
                  <a:gd name="T15" fmla="*/ 0 h 4"/>
                  <a:gd name="T16" fmla="*/ 5 w 9"/>
                  <a:gd name="T17" fmla="*/ 4 h 4"/>
                  <a:gd name="T18" fmla="*/ 9 w 9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4">
                    <a:moveTo>
                      <a:pt x="9" y="4"/>
                    </a:moveTo>
                    <a:lnTo>
                      <a:pt x="9" y="4"/>
                    </a:lnTo>
                    <a:lnTo>
                      <a:pt x="9" y="4"/>
                    </a:lnTo>
                    <a:lnTo>
                      <a:pt x="5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9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43" name="Freeform 243"/>
              <p:cNvSpPr>
                <a:spLocks/>
              </p:cNvSpPr>
              <p:nvPr/>
            </p:nvSpPr>
            <p:spPr bwMode="auto">
              <a:xfrm>
                <a:off x="2563813" y="238601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44" name="Freeform 244"/>
              <p:cNvSpPr>
                <a:spLocks/>
              </p:cNvSpPr>
              <p:nvPr/>
            </p:nvSpPr>
            <p:spPr bwMode="auto">
              <a:xfrm>
                <a:off x="2563813" y="238601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45" name="Freeform 245"/>
              <p:cNvSpPr>
                <a:spLocks noEditPoints="1"/>
              </p:cNvSpPr>
              <p:nvPr/>
            </p:nvSpPr>
            <p:spPr bwMode="auto">
              <a:xfrm>
                <a:off x="2370138" y="2406651"/>
                <a:ext cx="193675" cy="173038"/>
              </a:xfrm>
              <a:custGeom>
                <a:avLst/>
                <a:gdLst>
                  <a:gd name="T0" fmla="*/ 18 w 122"/>
                  <a:gd name="T1" fmla="*/ 104 h 109"/>
                  <a:gd name="T2" fmla="*/ 18 w 122"/>
                  <a:gd name="T3" fmla="*/ 104 h 109"/>
                  <a:gd name="T4" fmla="*/ 18 w 122"/>
                  <a:gd name="T5" fmla="*/ 109 h 109"/>
                  <a:gd name="T6" fmla="*/ 13 w 122"/>
                  <a:gd name="T7" fmla="*/ 104 h 109"/>
                  <a:gd name="T8" fmla="*/ 18 w 122"/>
                  <a:gd name="T9" fmla="*/ 104 h 109"/>
                  <a:gd name="T10" fmla="*/ 13 w 122"/>
                  <a:gd name="T11" fmla="*/ 104 h 109"/>
                  <a:gd name="T12" fmla="*/ 13 w 122"/>
                  <a:gd name="T13" fmla="*/ 104 h 109"/>
                  <a:gd name="T14" fmla="*/ 13 w 122"/>
                  <a:gd name="T15" fmla="*/ 104 h 109"/>
                  <a:gd name="T16" fmla="*/ 13 w 122"/>
                  <a:gd name="T17" fmla="*/ 100 h 109"/>
                  <a:gd name="T18" fmla="*/ 18 w 122"/>
                  <a:gd name="T19" fmla="*/ 104 h 109"/>
                  <a:gd name="T20" fmla="*/ 18 w 122"/>
                  <a:gd name="T21" fmla="*/ 104 h 109"/>
                  <a:gd name="T22" fmla="*/ 9 w 122"/>
                  <a:gd name="T23" fmla="*/ 104 h 109"/>
                  <a:gd name="T24" fmla="*/ 9 w 122"/>
                  <a:gd name="T25" fmla="*/ 104 h 109"/>
                  <a:gd name="T26" fmla="*/ 4 w 122"/>
                  <a:gd name="T27" fmla="*/ 104 h 109"/>
                  <a:gd name="T28" fmla="*/ 4 w 122"/>
                  <a:gd name="T29" fmla="*/ 104 h 109"/>
                  <a:gd name="T30" fmla="*/ 0 w 122"/>
                  <a:gd name="T31" fmla="*/ 100 h 109"/>
                  <a:gd name="T32" fmla="*/ 0 w 122"/>
                  <a:gd name="T33" fmla="*/ 100 h 109"/>
                  <a:gd name="T34" fmla="*/ 0 w 122"/>
                  <a:gd name="T35" fmla="*/ 100 h 109"/>
                  <a:gd name="T36" fmla="*/ 4 w 122"/>
                  <a:gd name="T37" fmla="*/ 100 h 109"/>
                  <a:gd name="T38" fmla="*/ 4 w 122"/>
                  <a:gd name="T39" fmla="*/ 104 h 109"/>
                  <a:gd name="T40" fmla="*/ 4 w 122"/>
                  <a:gd name="T41" fmla="*/ 104 h 109"/>
                  <a:gd name="T42" fmla="*/ 9 w 122"/>
                  <a:gd name="T43" fmla="*/ 104 h 109"/>
                  <a:gd name="T44" fmla="*/ 122 w 122"/>
                  <a:gd name="T45" fmla="*/ 0 h 109"/>
                  <a:gd name="T46" fmla="*/ 122 w 122"/>
                  <a:gd name="T47" fmla="*/ 0 h 109"/>
                  <a:gd name="T48" fmla="*/ 122 w 122"/>
                  <a:gd name="T49" fmla="*/ 0 h 109"/>
                  <a:gd name="T50" fmla="*/ 122 w 122"/>
                  <a:gd name="T51" fmla="*/ 0 h 109"/>
                  <a:gd name="T52" fmla="*/ 122 w 122"/>
                  <a:gd name="T53" fmla="*/ 0 h 109"/>
                  <a:gd name="T54" fmla="*/ 122 w 122"/>
                  <a:gd name="T55" fmla="*/ 0 h 109"/>
                  <a:gd name="T56" fmla="*/ 122 w 122"/>
                  <a:gd name="T57" fmla="*/ 0 h 109"/>
                  <a:gd name="T58" fmla="*/ 122 w 122"/>
                  <a:gd name="T59" fmla="*/ 0 h 109"/>
                  <a:gd name="T60" fmla="*/ 122 w 122"/>
                  <a:gd name="T61" fmla="*/ 0 h 109"/>
                  <a:gd name="T62" fmla="*/ 122 w 122"/>
                  <a:gd name="T63" fmla="*/ 0 h 109"/>
                  <a:gd name="T64" fmla="*/ 117 w 122"/>
                  <a:gd name="T65" fmla="*/ 0 h 109"/>
                  <a:gd name="T66" fmla="*/ 117 w 122"/>
                  <a:gd name="T67" fmla="*/ 0 h 109"/>
                  <a:gd name="T68" fmla="*/ 117 w 122"/>
                  <a:gd name="T69" fmla="*/ 0 h 109"/>
                  <a:gd name="T70" fmla="*/ 117 w 122"/>
                  <a:gd name="T71" fmla="*/ 0 h 109"/>
                  <a:gd name="T72" fmla="*/ 117 w 122"/>
                  <a:gd name="T73" fmla="*/ 0 h 109"/>
                  <a:gd name="T74" fmla="*/ 117 w 122"/>
                  <a:gd name="T75" fmla="*/ 0 h 109"/>
                  <a:gd name="T76" fmla="*/ 117 w 122"/>
                  <a:gd name="T77" fmla="*/ 0 h 109"/>
                  <a:gd name="T78" fmla="*/ 117 w 122"/>
                  <a:gd name="T79" fmla="*/ 0 h 109"/>
                  <a:gd name="T80" fmla="*/ 117 w 122"/>
                  <a:gd name="T81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2" h="109">
                    <a:moveTo>
                      <a:pt x="18" y="104"/>
                    </a:moveTo>
                    <a:lnTo>
                      <a:pt x="18" y="104"/>
                    </a:lnTo>
                    <a:lnTo>
                      <a:pt x="18" y="109"/>
                    </a:lnTo>
                    <a:lnTo>
                      <a:pt x="13" y="104"/>
                    </a:lnTo>
                    <a:lnTo>
                      <a:pt x="18" y="104"/>
                    </a:lnTo>
                    <a:lnTo>
                      <a:pt x="13" y="104"/>
                    </a:lnTo>
                    <a:lnTo>
                      <a:pt x="13" y="104"/>
                    </a:lnTo>
                    <a:lnTo>
                      <a:pt x="13" y="104"/>
                    </a:lnTo>
                    <a:lnTo>
                      <a:pt x="13" y="100"/>
                    </a:lnTo>
                    <a:lnTo>
                      <a:pt x="18" y="104"/>
                    </a:lnTo>
                    <a:lnTo>
                      <a:pt x="18" y="104"/>
                    </a:lnTo>
                    <a:close/>
                    <a:moveTo>
                      <a:pt x="9" y="104"/>
                    </a:moveTo>
                    <a:lnTo>
                      <a:pt x="9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4" y="100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9" y="104"/>
                    </a:lnTo>
                    <a:close/>
                    <a:moveTo>
                      <a:pt x="122" y="0"/>
                    </a:move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close/>
                    <a:moveTo>
                      <a:pt x="117" y="0"/>
                    </a:moveTo>
                    <a:lnTo>
                      <a:pt x="11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46" name="Freeform 246"/>
              <p:cNvSpPr>
                <a:spLocks noEditPoints="1"/>
              </p:cNvSpPr>
              <p:nvPr/>
            </p:nvSpPr>
            <p:spPr bwMode="auto">
              <a:xfrm>
                <a:off x="2370138" y="2406651"/>
                <a:ext cx="193675" cy="173038"/>
              </a:xfrm>
              <a:custGeom>
                <a:avLst/>
                <a:gdLst>
                  <a:gd name="T0" fmla="*/ 18 w 122"/>
                  <a:gd name="T1" fmla="*/ 104 h 109"/>
                  <a:gd name="T2" fmla="*/ 18 w 122"/>
                  <a:gd name="T3" fmla="*/ 104 h 109"/>
                  <a:gd name="T4" fmla="*/ 18 w 122"/>
                  <a:gd name="T5" fmla="*/ 109 h 109"/>
                  <a:gd name="T6" fmla="*/ 13 w 122"/>
                  <a:gd name="T7" fmla="*/ 104 h 109"/>
                  <a:gd name="T8" fmla="*/ 18 w 122"/>
                  <a:gd name="T9" fmla="*/ 104 h 109"/>
                  <a:gd name="T10" fmla="*/ 13 w 122"/>
                  <a:gd name="T11" fmla="*/ 104 h 109"/>
                  <a:gd name="T12" fmla="*/ 13 w 122"/>
                  <a:gd name="T13" fmla="*/ 104 h 109"/>
                  <a:gd name="T14" fmla="*/ 13 w 122"/>
                  <a:gd name="T15" fmla="*/ 104 h 109"/>
                  <a:gd name="T16" fmla="*/ 13 w 122"/>
                  <a:gd name="T17" fmla="*/ 100 h 109"/>
                  <a:gd name="T18" fmla="*/ 18 w 122"/>
                  <a:gd name="T19" fmla="*/ 104 h 109"/>
                  <a:gd name="T20" fmla="*/ 18 w 122"/>
                  <a:gd name="T21" fmla="*/ 104 h 109"/>
                  <a:gd name="T22" fmla="*/ 9 w 122"/>
                  <a:gd name="T23" fmla="*/ 104 h 109"/>
                  <a:gd name="T24" fmla="*/ 9 w 122"/>
                  <a:gd name="T25" fmla="*/ 104 h 109"/>
                  <a:gd name="T26" fmla="*/ 4 w 122"/>
                  <a:gd name="T27" fmla="*/ 104 h 109"/>
                  <a:gd name="T28" fmla="*/ 4 w 122"/>
                  <a:gd name="T29" fmla="*/ 104 h 109"/>
                  <a:gd name="T30" fmla="*/ 0 w 122"/>
                  <a:gd name="T31" fmla="*/ 100 h 109"/>
                  <a:gd name="T32" fmla="*/ 0 w 122"/>
                  <a:gd name="T33" fmla="*/ 100 h 109"/>
                  <a:gd name="T34" fmla="*/ 0 w 122"/>
                  <a:gd name="T35" fmla="*/ 100 h 109"/>
                  <a:gd name="T36" fmla="*/ 4 w 122"/>
                  <a:gd name="T37" fmla="*/ 100 h 109"/>
                  <a:gd name="T38" fmla="*/ 4 w 122"/>
                  <a:gd name="T39" fmla="*/ 104 h 109"/>
                  <a:gd name="T40" fmla="*/ 4 w 122"/>
                  <a:gd name="T41" fmla="*/ 104 h 109"/>
                  <a:gd name="T42" fmla="*/ 9 w 122"/>
                  <a:gd name="T43" fmla="*/ 104 h 109"/>
                  <a:gd name="T44" fmla="*/ 122 w 122"/>
                  <a:gd name="T45" fmla="*/ 0 h 109"/>
                  <a:gd name="T46" fmla="*/ 122 w 122"/>
                  <a:gd name="T47" fmla="*/ 0 h 109"/>
                  <a:gd name="T48" fmla="*/ 122 w 122"/>
                  <a:gd name="T49" fmla="*/ 0 h 109"/>
                  <a:gd name="T50" fmla="*/ 122 w 122"/>
                  <a:gd name="T51" fmla="*/ 0 h 109"/>
                  <a:gd name="T52" fmla="*/ 122 w 122"/>
                  <a:gd name="T53" fmla="*/ 0 h 109"/>
                  <a:gd name="T54" fmla="*/ 122 w 122"/>
                  <a:gd name="T55" fmla="*/ 0 h 109"/>
                  <a:gd name="T56" fmla="*/ 122 w 122"/>
                  <a:gd name="T57" fmla="*/ 0 h 109"/>
                  <a:gd name="T58" fmla="*/ 122 w 122"/>
                  <a:gd name="T59" fmla="*/ 0 h 109"/>
                  <a:gd name="T60" fmla="*/ 122 w 122"/>
                  <a:gd name="T61" fmla="*/ 0 h 109"/>
                  <a:gd name="T62" fmla="*/ 122 w 122"/>
                  <a:gd name="T63" fmla="*/ 0 h 109"/>
                  <a:gd name="T64" fmla="*/ 117 w 122"/>
                  <a:gd name="T65" fmla="*/ 0 h 109"/>
                  <a:gd name="T66" fmla="*/ 117 w 122"/>
                  <a:gd name="T67" fmla="*/ 0 h 109"/>
                  <a:gd name="T68" fmla="*/ 117 w 122"/>
                  <a:gd name="T69" fmla="*/ 0 h 109"/>
                  <a:gd name="T70" fmla="*/ 117 w 122"/>
                  <a:gd name="T71" fmla="*/ 0 h 109"/>
                  <a:gd name="T72" fmla="*/ 117 w 122"/>
                  <a:gd name="T73" fmla="*/ 0 h 109"/>
                  <a:gd name="T74" fmla="*/ 117 w 122"/>
                  <a:gd name="T75" fmla="*/ 0 h 109"/>
                  <a:gd name="T76" fmla="*/ 117 w 122"/>
                  <a:gd name="T77" fmla="*/ 0 h 109"/>
                  <a:gd name="T78" fmla="*/ 117 w 122"/>
                  <a:gd name="T79" fmla="*/ 0 h 109"/>
                  <a:gd name="T80" fmla="*/ 117 w 122"/>
                  <a:gd name="T81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2" h="109">
                    <a:moveTo>
                      <a:pt x="18" y="104"/>
                    </a:moveTo>
                    <a:lnTo>
                      <a:pt x="18" y="104"/>
                    </a:lnTo>
                    <a:lnTo>
                      <a:pt x="18" y="109"/>
                    </a:lnTo>
                    <a:lnTo>
                      <a:pt x="13" y="104"/>
                    </a:lnTo>
                    <a:lnTo>
                      <a:pt x="18" y="104"/>
                    </a:lnTo>
                    <a:lnTo>
                      <a:pt x="13" y="104"/>
                    </a:lnTo>
                    <a:lnTo>
                      <a:pt x="13" y="104"/>
                    </a:lnTo>
                    <a:lnTo>
                      <a:pt x="13" y="104"/>
                    </a:lnTo>
                    <a:lnTo>
                      <a:pt x="13" y="100"/>
                    </a:lnTo>
                    <a:lnTo>
                      <a:pt x="18" y="104"/>
                    </a:lnTo>
                    <a:lnTo>
                      <a:pt x="18" y="104"/>
                    </a:lnTo>
                    <a:moveTo>
                      <a:pt x="9" y="104"/>
                    </a:moveTo>
                    <a:lnTo>
                      <a:pt x="9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4" y="100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9" y="104"/>
                    </a:lnTo>
                    <a:moveTo>
                      <a:pt x="122" y="0"/>
                    </a:move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2" y="0"/>
                    </a:lnTo>
                    <a:moveTo>
                      <a:pt x="117" y="0"/>
                    </a:moveTo>
                    <a:lnTo>
                      <a:pt x="11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17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47" name="Freeform 247"/>
              <p:cNvSpPr>
                <a:spLocks noEditPoints="1"/>
              </p:cNvSpPr>
              <p:nvPr/>
            </p:nvSpPr>
            <p:spPr bwMode="auto">
              <a:xfrm>
                <a:off x="2592388" y="2400301"/>
                <a:ext cx="6350" cy="28575"/>
              </a:xfrm>
              <a:custGeom>
                <a:avLst/>
                <a:gdLst>
                  <a:gd name="T0" fmla="*/ 0 w 4"/>
                  <a:gd name="T1" fmla="*/ 13 h 18"/>
                  <a:gd name="T2" fmla="*/ 0 w 4"/>
                  <a:gd name="T3" fmla="*/ 13 h 18"/>
                  <a:gd name="T4" fmla="*/ 0 w 4"/>
                  <a:gd name="T5" fmla="*/ 18 h 18"/>
                  <a:gd name="T6" fmla="*/ 0 w 4"/>
                  <a:gd name="T7" fmla="*/ 13 h 18"/>
                  <a:gd name="T8" fmla="*/ 0 w 4"/>
                  <a:gd name="T9" fmla="*/ 13 h 18"/>
                  <a:gd name="T10" fmla="*/ 0 w 4"/>
                  <a:gd name="T11" fmla="*/ 13 h 18"/>
                  <a:gd name="T12" fmla="*/ 0 w 4"/>
                  <a:gd name="T13" fmla="*/ 13 h 18"/>
                  <a:gd name="T14" fmla="*/ 0 w 4"/>
                  <a:gd name="T15" fmla="*/ 13 h 18"/>
                  <a:gd name="T16" fmla="*/ 0 w 4"/>
                  <a:gd name="T17" fmla="*/ 13 h 18"/>
                  <a:gd name="T18" fmla="*/ 0 w 4"/>
                  <a:gd name="T19" fmla="*/ 13 h 18"/>
                  <a:gd name="T20" fmla="*/ 0 w 4"/>
                  <a:gd name="T21" fmla="*/ 13 h 18"/>
                  <a:gd name="T22" fmla="*/ 0 w 4"/>
                  <a:gd name="T23" fmla="*/ 13 h 18"/>
                  <a:gd name="T24" fmla="*/ 0 w 4"/>
                  <a:gd name="T25" fmla="*/ 13 h 18"/>
                  <a:gd name="T26" fmla="*/ 0 w 4"/>
                  <a:gd name="T27" fmla="*/ 4 h 18"/>
                  <a:gd name="T28" fmla="*/ 0 w 4"/>
                  <a:gd name="T29" fmla="*/ 4 h 18"/>
                  <a:gd name="T30" fmla="*/ 0 w 4"/>
                  <a:gd name="T31" fmla="*/ 4 h 18"/>
                  <a:gd name="T32" fmla="*/ 0 w 4"/>
                  <a:gd name="T33" fmla="*/ 4 h 18"/>
                  <a:gd name="T34" fmla="*/ 0 w 4"/>
                  <a:gd name="T35" fmla="*/ 4 h 18"/>
                  <a:gd name="T36" fmla="*/ 0 w 4"/>
                  <a:gd name="T37" fmla="*/ 4 h 18"/>
                  <a:gd name="T38" fmla="*/ 0 w 4"/>
                  <a:gd name="T39" fmla="*/ 0 h 18"/>
                  <a:gd name="T40" fmla="*/ 0 w 4"/>
                  <a:gd name="T41" fmla="*/ 4 h 18"/>
                  <a:gd name="T42" fmla="*/ 0 w 4"/>
                  <a:gd name="T43" fmla="*/ 4 h 18"/>
                  <a:gd name="T44" fmla="*/ 4 w 4"/>
                  <a:gd name="T45" fmla="*/ 4 h 18"/>
                  <a:gd name="T46" fmla="*/ 0 w 4"/>
                  <a:gd name="T47" fmla="*/ 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" h="18">
                    <a:moveTo>
                      <a:pt x="0" y="13"/>
                    </a:moveTo>
                    <a:lnTo>
                      <a:pt x="0" y="13"/>
                    </a:lnTo>
                    <a:lnTo>
                      <a:pt x="0" y="1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close/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48" name="Freeform 248"/>
              <p:cNvSpPr>
                <a:spLocks noEditPoints="1"/>
              </p:cNvSpPr>
              <p:nvPr/>
            </p:nvSpPr>
            <p:spPr bwMode="auto">
              <a:xfrm>
                <a:off x="2592388" y="2400301"/>
                <a:ext cx="6350" cy="28575"/>
              </a:xfrm>
              <a:custGeom>
                <a:avLst/>
                <a:gdLst>
                  <a:gd name="T0" fmla="*/ 0 w 4"/>
                  <a:gd name="T1" fmla="*/ 13 h 18"/>
                  <a:gd name="T2" fmla="*/ 0 w 4"/>
                  <a:gd name="T3" fmla="*/ 13 h 18"/>
                  <a:gd name="T4" fmla="*/ 0 w 4"/>
                  <a:gd name="T5" fmla="*/ 18 h 18"/>
                  <a:gd name="T6" fmla="*/ 0 w 4"/>
                  <a:gd name="T7" fmla="*/ 13 h 18"/>
                  <a:gd name="T8" fmla="*/ 0 w 4"/>
                  <a:gd name="T9" fmla="*/ 13 h 18"/>
                  <a:gd name="T10" fmla="*/ 0 w 4"/>
                  <a:gd name="T11" fmla="*/ 13 h 18"/>
                  <a:gd name="T12" fmla="*/ 0 w 4"/>
                  <a:gd name="T13" fmla="*/ 13 h 18"/>
                  <a:gd name="T14" fmla="*/ 0 w 4"/>
                  <a:gd name="T15" fmla="*/ 13 h 18"/>
                  <a:gd name="T16" fmla="*/ 0 w 4"/>
                  <a:gd name="T17" fmla="*/ 13 h 18"/>
                  <a:gd name="T18" fmla="*/ 0 w 4"/>
                  <a:gd name="T19" fmla="*/ 13 h 18"/>
                  <a:gd name="T20" fmla="*/ 0 w 4"/>
                  <a:gd name="T21" fmla="*/ 13 h 18"/>
                  <a:gd name="T22" fmla="*/ 0 w 4"/>
                  <a:gd name="T23" fmla="*/ 13 h 18"/>
                  <a:gd name="T24" fmla="*/ 0 w 4"/>
                  <a:gd name="T25" fmla="*/ 13 h 18"/>
                  <a:gd name="T26" fmla="*/ 0 w 4"/>
                  <a:gd name="T27" fmla="*/ 4 h 18"/>
                  <a:gd name="T28" fmla="*/ 0 w 4"/>
                  <a:gd name="T29" fmla="*/ 4 h 18"/>
                  <a:gd name="T30" fmla="*/ 0 w 4"/>
                  <a:gd name="T31" fmla="*/ 4 h 18"/>
                  <a:gd name="T32" fmla="*/ 0 w 4"/>
                  <a:gd name="T33" fmla="*/ 4 h 18"/>
                  <a:gd name="T34" fmla="*/ 0 w 4"/>
                  <a:gd name="T35" fmla="*/ 4 h 18"/>
                  <a:gd name="T36" fmla="*/ 0 w 4"/>
                  <a:gd name="T37" fmla="*/ 4 h 18"/>
                  <a:gd name="T38" fmla="*/ 0 w 4"/>
                  <a:gd name="T39" fmla="*/ 0 h 18"/>
                  <a:gd name="T40" fmla="*/ 0 w 4"/>
                  <a:gd name="T41" fmla="*/ 4 h 18"/>
                  <a:gd name="T42" fmla="*/ 0 w 4"/>
                  <a:gd name="T43" fmla="*/ 4 h 18"/>
                  <a:gd name="T44" fmla="*/ 4 w 4"/>
                  <a:gd name="T45" fmla="*/ 4 h 18"/>
                  <a:gd name="T46" fmla="*/ 0 w 4"/>
                  <a:gd name="T47" fmla="*/ 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" h="18">
                    <a:moveTo>
                      <a:pt x="0" y="13"/>
                    </a:moveTo>
                    <a:lnTo>
                      <a:pt x="0" y="13"/>
                    </a:lnTo>
                    <a:lnTo>
                      <a:pt x="0" y="1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0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49" name="Freeform 249"/>
              <p:cNvSpPr>
                <a:spLocks/>
              </p:cNvSpPr>
              <p:nvPr/>
            </p:nvSpPr>
            <p:spPr bwMode="auto">
              <a:xfrm>
                <a:off x="2563813" y="2400301"/>
                <a:ext cx="6350" cy="0"/>
              </a:xfrm>
              <a:custGeom>
                <a:avLst/>
                <a:gdLst>
                  <a:gd name="T0" fmla="*/ 4 w 4"/>
                  <a:gd name="T1" fmla="*/ 4 w 4"/>
                  <a:gd name="T2" fmla="*/ 4 w 4"/>
                  <a:gd name="T3" fmla="*/ 0 w 4"/>
                  <a:gd name="T4" fmla="*/ 0 w 4"/>
                  <a:gd name="T5" fmla="*/ 0 w 4"/>
                  <a:gd name="T6" fmla="*/ 0 w 4"/>
                  <a:gd name="T7" fmla="*/ 0 w 4"/>
                  <a:gd name="T8" fmla="*/ 4 w 4"/>
                  <a:gd name="T9" fmla="*/ 4 w 4"/>
                  <a:gd name="T10" fmla="*/ 4 w 4"/>
                  <a:gd name="T11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  <a:cxn ang="0">
                    <a:pos x="T11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50" name="Freeform 250"/>
              <p:cNvSpPr>
                <a:spLocks/>
              </p:cNvSpPr>
              <p:nvPr/>
            </p:nvSpPr>
            <p:spPr bwMode="auto">
              <a:xfrm>
                <a:off x="2563813" y="2400301"/>
                <a:ext cx="6350" cy="0"/>
              </a:xfrm>
              <a:custGeom>
                <a:avLst/>
                <a:gdLst>
                  <a:gd name="T0" fmla="*/ 4 w 4"/>
                  <a:gd name="T1" fmla="*/ 4 w 4"/>
                  <a:gd name="T2" fmla="*/ 4 w 4"/>
                  <a:gd name="T3" fmla="*/ 0 w 4"/>
                  <a:gd name="T4" fmla="*/ 0 w 4"/>
                  <a:gd name="T5" fmla="*/ 0 w 4"/>
                  <a:gd name="T6" fmla="*/ 0 w 4"/>
                  <a:gd name="T7" fmla="*/ 0 w 4"/>
                  <a:gd name="T8" fmla="*/ 4 w 4"/>
                  <a:gd name="T9" fmla="*/ 4 w 4"/>
                  <a:gd name="T10" fmla="*/ 4 w 4"/>
                  <a:gd name="T11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  <a:cxn ang="0">
                    <a:pos x="T11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51" name="Freeform 251"/>
              <p:cNvSpPr>
                <a:spLocks/>
              </p:cNvSpPr>
              <p:nvPr/>
            </p:nvSpPr>
            <p:spPr bwMode="auto">
              <a:xfrm>
                <a:off x="2635251" y="2536826"/>
                <a:ext cx="6350" cy="14288"/>
              </a:xfrm>
              <a:custGeom>
                <a:avLst/>
                <a:gdLst>
                  <a:gd name="T0" fmla="*/ 4 w 4"/>
                  <a:gd name="T1" fmla="*/ 4 h 9"/>
                  <a:gd name="T2" fmla="*/ 4 w 4"/>
                  <a:gd name="T3" fmla="*/ 4 h 9"/>
                  <a:gd name="T4" fmla="*/ 0 w 4"/>
                  <a:gd name="T5" fmla="*/ 9 h 9"/>
                  <a:gd name="T6" fmla="*/ 0 w 4"/>
                  <a:gd name="T7" fmla="*/ 4 h 9"/>
                  <a:gd name="T8" fmla="*/ 0 w 4"/>
                  <a:gd name="T9" fmla="*/ 4 h 9"/>
                  <a:gd name="T10" fmla="*/ 0 w 4"/>
                  <a:gd name="T11" fmla="*/ 4 h 9"/>
                  <a:gd name="T12" fmla="*/ 0 w 4"/>
                  <a:gd name="T13" fmla="*/ 0 h 9"/>
                  <a:gd name="T14" fmla="*/ 4 w 4"/>
                  <a:gd name="T15" fmla="*/ 4 h 9"/>
                  <a:gd name="T16" fmla="*/ 4 w 4"/>
                  <a:gd name="T17" fmla="*/ 4 h 9"/>
                  <a:gd name="T18" fmla="*/ 4 w 4"/>
                  <a:gd name="T1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9">
                    <a:moveTo>
                      <a:pt x="4" y="4"/>
                    </a:moveTo>
                    <a:lnTo>
                      <a:pt x="4" y="4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52" name="Freeform 252"/>
              <p:cNvSpPr>
                <a:spLocks/>
              </p:cNvSpPr>
              <p:nvPr/>
            </p:nvSpPr>
            <p:spPr bwMode="auto">
              <a:xfrm>
                <a:off x="2635251" y="2536826"/>
                <a:ext cx="6350" cy="14288"/>
              </a:xfrm>
              <a:custGeom>
                <a:avLst/>
                <a:gdLst>
                  <a:gd name="T0" fmla="*/ 4 w 4"/>
                  <a:gd name="T1" fmla="*/ 4 h 9"/>
                  <a:gd name="T2" fmla="*/ 4 w 4"/>
                  <a:gd name="T3" fmla="*/ 4 h 9"/>
                  <a:gd name="T4" fmla="*/ 0 w 4"/>
                  <a:gd name="T5" fmla="*/ 9 h 9"/>
                  <a:gd name="T6" fmla="*/ 0 w 4"/>
                  <a:gd name="T7" fmla="*/ 4 h 9"/>
                  <a:gd name="T8" fmla="*/ 0 w 4"/>
                  <a:gd name="T9" fmla="*/ 4 h 9"/>
                  <a:gd name="T10" fmla="*/ 0 w 4"/>
                  <a:gd name="T11" fmla="*/ 4 h 9"/>
                  <a:gd name="T12" fmla="*/ 0 w 4"/>
                  <a:gd name="T13" fmla="*/ 0 h 9"/>
                  <a:gd name="T14" fmla="*/ 4 w 4"/>
                  <a:gd name="T15" fmla="*/ 4 h 9"/>
                  <a:gd name="T16" fmla="*/ 4 w 4"/>
                  <a:gd name="T17" fmla="*/ 4 h 9"/>
                  <a:gd name="T18" fmla="*/ 4 w 4"/>
                  <a:gd name="T1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9">
                    <a:moveTo>
                      <a:pt x="4" y="4"/>
                    </a:moveTo>
                    <a:lnTo>
                      <a:pt x="4" y="4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53" name="Freeform 253"/>
              <p:cNvSpPr>
                <a:spLocks/>
              </p:cNvSpPr>
              <p:nvPr/>
            </p:nvSpPr>
            <p:spPr bwMode="auto">
              <a:xfrm>
                <a:off x="2592388" y="2465389"/>
                <a:ext cx="6350" cy="14288"/>
              </a:xfrm>
              <a:custGeom>
                <a:avLst/>
                <a:gdLst>
                  <a:gd name="T0" fmla="*/ 4 w 4"/>
                  <a:gd name="T1" fmla="*/ 9 h 9"/>
                  <a:gd name="T2" fmla="*/ 4 w 4"/>
                  <a:gd name="T3" fmla="*/ 9 h 9"/>
                  <a:gd name="T4" fmla="*/ 0 w 4"/>
                  <a:gd name="T5" fmla="*/ 9 h 9"/>
                  <a:gd name="T6" fmla="*/ 0 w 4"/>
                  <a:gd name="T7" fmla="*/ 4 h 9"/>
                  <a:gd name="T8" fmla="*/ 0 w 4"/>
                  <a:gd name="T9" fmla="*/ 4 h 9"/>
                  <a:gd name="T10" fmla="*/ 0 w 4"/>
                  <a:gd name="T11" fmla="*/ 4 h 9"/>
                  <a:gd name="T12" fmla="*/ 0 w 4"/>
                  <a:gd name="T13" fmla="*/ 0 h 9"/>
                  <a:gd name="T14" fmla="*/ 4 w 4"/>
                  <a:gd name="T15" fmla="*/ 4 h 9"/>
                  <a:gd name="T16" fmla="*/ 4 w 4"/>
                  <a:gd name="T17" fmla="*/ 4 h 9"/>
                  <a:gd name="T18" fmla="*/ 4 w 4"/>
                  <a:gd name="T19" fmla="*/ 9 h 9"/>
                  <a:gd name="T20" fmla="*/ 4 w 4"/>
                  <a:gd name="T2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9">
                    <a:moveTo>
                      <a:pt x="4" y="9"/>
                    </a:moveTo>
                    <a:lnTo>
                      <a:pt x="4" y="9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9"/>
                    </a:lnTo>
                    <a:lnTo>
                      <a:pt x="4" y="9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54" name="Freeform 254"/>
              <p:cNvSpPr>
                <a:spLocks/>
              </p:cNvSpPr>
              <p:nvPr/>
            </p:nvSpPr>
            <p:spPr bwMode="auto">
              <a:xfrm>
                <a:off x="2592388" y="2465389"/>
                <a:ext cx="6350" cy="14288"/>
              </a:xfrm>
              <a:custGeom>
                <a:avLst/>
                <a:gdLst>
                  <a:gd name="T0" fmla="*/ 4 w 4"/>
                  <a:gd name="T1" fmla="*/ 9 h 9"/>
                  <a:gd name="T2" fmla="*/ 4 w 4"/>
                  <a:gd name="T3" fmla="*/ 9 h 9"/>
                  <a:gd name="T4" fmla="*/ 0 w 4"/>
                  <a:gd name="T5" fmla="*/ 9 h 9"/>
                  <a:gd name="T6" fmla="*/ 0 w 4"/>
                  <a:gd name="T7" fmla="*/ 4 h 9"/>
                  <a:gd name="T8" fmla="*/ 0 w 4"/>
                  <a:gd name="T9" fmla="*/ 4 h 9"/>
                  <a:gd name="T10" fmla="*/ 0 w 4"/>
                  <a:gd name="T11" fmla="*/ 4 h 9"/>
                  <a:gd name="T12" fmla="*/ 0 w 4"/>
                  <a:gd name="T13" fmla="*/ 0 h 9"/>
                  <a:gd name="T14" fmla="*/ 4 w 4"/>
                  <a:gd name="T15" fmla="*/ 4 h 9"/>
                  <a:gd name="T16" fmla="*/ 4 w 4"/>
                  <a:gd name="T17" fmla="*/ 4 h 9"/>
                  <a:gd name="T18" fmla="*/ 4 w 4"/>
                  <a:gd name="T19" fmla="*/ 9 h 9"/>
                  <a:gd name="T20" fmla="*/ 4 w 4"/>
                  <a:gd name="T2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9">
                    <a:moveTo>
                      <a:pt x="4" y="9"/>
                    </a:moveTo>
                    <a:lnTo>
                      <a:pt x="4" y="9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9"/>
                    </a:lnTo>
                    <a:lnTo>
                      <a:pt x="4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55" name="Freeform 255"/>
              <p:cNvSpPr>
                <a:spLocks/>
              </p:cNvSpPr>
              <p:nvPr/>
            </p:nvSpPr>
            <p:spPr bwMode="auto">
              <a:xfrm>
                <a:off x="2598738" y="2493964"/>
                <a:ext cx="7938" cy="14288"/>
              </a:xfrm>
              <a:custGeom>
                <a:avLst/>
                <a:gdLst>
                  <a:gd name="T0" fmla="*/ 5 w 5"/>
                  <a:gd name="T1" fmla="*/ 4 h 9"/>
                  <a:gd name="T2" fmla="*/ 5 w 5"/>
                  <a:gd name="T3" fmla="*/ 4 h 9"/>
                  <a:gd name="T4" fmla="*/ 5 w 5"/>
                  <a:gd name="T5" fmla="*/ 9 h 9"/>
                  <a:gd name="T6" fmla="*/ 5 w 5"/>
                  <a:gd name="T7" fmla="*/ 9 h 9"/>
                  <a:gd name="T8" fmla="*/ 5 w 5"/>
                  <a:gd name="T9" fmla="*/ 4 h 9"/>
                  <a:gd name="T10" fmla="*/ 0 w 5"/>
                  <a:gd name="T11" fmla="*/ 4 h 9"/>
                  <a:gd name="T12" fmla="*/ 0 w 5"/>
                  <a:gd name="T13" fmla="*/ 4 h 9"/>
                  <a:gd name="T14" fmla="*/ 0 w 5"/>
                  <a:gd name="T15" fmla="*/ 4 h 9"/>
                  <a:gd name="T16" fmla="*/ 5 w 5"/>
                  <a:gd name="T17" fmla="*/ 4 h 9"/>
                  <a:gd name="T18" fmla="*/ 0 w 5"/>
                  <a:gd name="T19" fmla="*/ 4 h 9"/>
                  <a:gd name="T20" fmla="*/ 0 w 5"/>
                  <a:gd name="T21" fmla="*/ 4 h 9"/>
                  <a:gd name="T22" fmla="*/ 0 w 5"/>
                  <a:gd name="T23" fmla="*/ 0 h 9"/>
                  <a:gd name="T24" fmla="*/ 0 w 5"/>
                  <a:gd name="T25" fmla="*/ 0 h 9"/>
                  <a:gd name="T26" fmla="*/ 0 w 5"/>
                  <a:gd name="T27" fmla="*/ 0 h 9"/>
                  <a:gd name="T28" fmla="*/ 0 w 5"/>
                  <a:gd name="T29" fmla="*/ 0 h 9"/>
                  <a:gd name="T30" fmla="*/ 5 w 5"/>
                  <a:gd name="T31" fmla="*/ 0 h 9"/>
                  <a:gd name="T32" fmla="*/ 5 w 5"/>
                  <a:gd name="T33" fmla="*/ 0 h 9"/>
                  <a:gd name="T34" fmla="*/ 5 w 5"/>
                  <a:gd name="T35" fmla="*/ 0 h 9"/>
                  <a:gd name="T36" fmla="*/ 5 w 5"/>
                  <a:gd name="T37" fmla="*/ 0 h 9"/>
                  <a:gd name="T38" fmla="*/ 5 w 5"/>
                  <a:gd name="T39" fmla="*/ 4 h 9"/>
                  <a:gd name="T40" fmla="*/ 5 w 5"/>
                  <a:gd name="T41" fmla="*/ 4 h 9"/>
                  <a:gd name="T42" fmla="*/ 5 w 5"/>
                  <a:gd name="T43" fmla="*/ 4 h 9"/>
                  <a:gd name="T44" fmla="*/ 5 w 5"/>
                  <a:gd name="T4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" h="9">
                    <a:moveTo>
                      <a:pt x="5" y="4"/>
                    </a:moveTo>
                    <a:lnTo>
                      <a:pt x="5" y="4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56" name="Freeform 256"/>
              <p:cNvSpPr>
                <a:spLocks/>
              </p:cNvSpPr>
              <p:nvPr/>
            </p:nvSpPr>
            <p:spPr bwMode="auto">
              <a:xfrm>
                <a:off x="2598738" y="2493964"/>
                <a:ext cx="7938" cy="14288"/>
              </a:xfrm>
              <a:custGeom>
                <a:avLst/>
                <a:gdLst>
                  <a:gd name="T0" fmla="*/ 5 w 5"/>
                  <a:gd name="T1" fmla="*/ 4 h 9"/>
                  <a:gd name="T2" fmla="*/ 5 w 5"/>
                  <a:gd name="T3" fmla="*/ 4 h 9"/>
                  <a:gd name="T4" fmla="*/ 5 w 5"/>
                  <a:gd name="T5" fmla="*/ 9 h 9"/>
                  <a:gd name="T6" fmla="*/ 5 w 5"/>
                  <a:gd name="T7" fmla="*/ 9 h 9"/>
                  <a:gd name="T8" fmla="*/ 5 w 5"/>
                  <a:gd name="T9" fmla="*/ 4 h 9"/>
                  <a:gd name="T10" fmla="*/ 0 w 5"/>
                  <a:gd name="T11" fmla="*/ 4 h 9"/>
                  <a:gd name="T12" fmla="*/ 0 w 5"/>
                  <a:gd name="T13" fmla="*/ 4 h 9"/>
                  <a:gd name="T14" fmla="*/ 0 w 5"/>
                  <a:gd name="T15" fmla="*/ 4 h 9"/>
                  <a:gd name="T16" fmla="*/ 5 w 5"/>
                  <a:gd name="T17" fmla="*/ 4 h 9"/>
                  <a:gd name="T18" fmla="*/ 0 w 5"/>
                  <a:gd name="T19" fmla="*/ 4 h 9"/>
                  <a:gd name="T20" fmla="*/ 0 w 5"/>
                  <a:gd name="T21" fmla="*/ 4 h 9"/>
                  <a:gd name="T22" fmla="*/ 0 w 5"/>
                  <a:gd name="T23" fmla="*/ 0 h 9"/>
                  <a:gd name="T24" fmla="*/ 0 w 5"/>
                  <a:gd name="T25" fmla="*/ 0 h 9"/>
                  <a:gd name="T26" fmla="*/ 0 w 5"/>
                  <a:gd name="T27" fmla="*/ 0 h 9"/>
                  <a:gd name="T28" fmla="*/ 0 w 5"/>
                  <a:gd name="T29" fmla="*/ 0 h 9"/>
                  <a:gd name="T30" fmla="*/ 5 w 5"/>
                  <a:gd name="T31" fmla="*/ 0 h 9"/>
                  <a:gd name="T32" fmla="*/ 5 w 5"/>
                  <a:gd name="T33" fmla="*/ 0 h 9"/>
                  <a:gd name="T34" fmla="*/ 5 w 5"/>
                  <a:gd name="T35" fmla="*/ 0 h 9"/>
                  <a:gd name="T36" fmla="*/ 5 w 5"/>
                  <a:gd name="T37" fmla="*/ 0 h 9"/>
                  <a:gd name="T38" fmla="*/ 5 w 5"/>
                  <a:gd name="T39" fmla="*/ 4 h 9"/>
                  <a:gd name="T40" fmla="*/ 5 w 5"/>
                  <a:gd name="T41" fmla="*/ 4 h 9"/>
                  <a:gd name="T42" fmla="*/ 5 w 5"/>
                  <a:gd name="T43" fmla="*/ 4 h 9"/>
                  <a:gd name="T44" fmla="*/ 5 w 5"/>
                  <a:gd name="T4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" h="9">
                    <a:moveTo>
                      <a:pt x="5" y="4"/>
                    </a:moveTo>
                    <a:lnTo>
                      <a:pt x="5" y="4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57" name="Freeform 257"/>
              <p:cNvSpPr>
                <a:spLocks/>
              </p:cNvSpPr>
              <p:nvPr/>
            </p:nvSpPr>
            <p:spPr bwMode="auto">
              <a:xfrm>
                <a:off x="2598738" y="2457451"/>
                <a:ext cx="7938" cy="0"/>
              </a:xfrm>
              <a:custGeom>
                <a:avLst/>
                <a:gdLst>
                  <a:gd name="T0" fmla="*/ 0 w 5"/>
                  <a:gd name="T1" fmla="*/ 0 w 5"/>
                  <a:gd name="T2" fmla="*/ 0 w 5"/>
                  <a:gd name="T3" fmla="*/ 0 w 5"/>
                  <a:gd name="T4" fmla="*/ 0 w 5"/>
                  <a:gd name="T5" fmla="*/ 0 w 5"/>
                  <a:gd name="T6" fmla="*/ 0 w 5"/>
                  <a:gd name="T7" fmla="*/ 5 w 5"/>
                  <a:gd name="T8" fmla="*/ 5 w 5"/>
                  <a:gd name="T9" fmla="*/ 0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</a:cxnLst>
                <a:rect l="0" t="0" r="r" b="b"/>
                <a:pathLst>
                  <a:path w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58" name="Freeform 258"/>
              <p:cNvSpPr>
                <a:spLocks/>
              </p:cNvSpPr>
              <p:nvPr/>
            </p:nvSpPr>
            <p:spPr bwMode="auto">
              <a:xfrm>
                <a:off x="2598738" y="2457451"/>
                <a:ext cx="7938" cy="0"/>
              </a:xfrm>
              <a:custGeom>
                <a:avLst/>
                <a:gdLst>
                  <a:gd name="T0" fmla="*/ 0 w 5"/>
                  <a:gd name="T1" fmla="*/ 0 w 5"/>
                  <a:gd name="T2" fmla="*/ 0 w 5"/>
                  <a:gd name="T3" fmla="*/ 0 w 5"/>
                  <a:gd name="T4" fmla="*/ 0 w 5"/>
                  <a:gd name="T5" fmla="*/ 0 w 5"/>
                  <a:gd name="T6" fmla="*/ 0 w 5"/>
                  <a:gd name="T7" fmla="*/ 5 w 5"/>
                  <a:gd name="T8" fmla="*/ 5 w 5"/>
                  <a:gd name="T9" fmla="*/ 0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</a:cxnLst>
                <a:rect l="0" t="0" r="r" b="b"/>
                <a:pathLst>
                  <a:path w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59" name="Freeform 259"/>
              <p:cNvSpPr>
                <a:spLocks/>
              </p:cNvSpPr>
              <p:nvPr/>
            </p:nvSpPr>
            <p:spPr bwMode="auto">
              <a:xfrm>
                <a:off x="2584451" y="2443164"/>
                <a:ext cx="7938" cy="14288"/>
              </a:xfrm>
              <a:custGeom>
                <a:avLst/>
                <a:gdLst>
                  <a:gd name="T0" fmla="*/ 5 w 5"/>
                  <a:gd name="T1" fmla="*/ 9 h 9"/>
                  <a:gd name="T2" fmla="*/ 5 w 5"/>
                  <a:gd name="T3" fmla="*/ 9 h 9"/>
                  <a:gd name="T4" fmla="*/ 5 w 5"/>
                  <a:gd name="T5" fmla="*/ 9 h 9"/>
                  <a:gd name="T6" fmla="*/ 5 w 5"/>
                  <a:gd name="T7" fmla="*/ 9 h 9"/>
                  <a:gd name="T8" fmla="*/ 0 w 5"/>
                  <a:gd name="T9" fmla="*/ 9 h 9"/>
                  <a:gd name="T10" fmla="*/ 5 w 5"/>
                  <a:gd name="T11" fmla="*/ 4 h 9"/>
                  <a:gd name="T12" fmla="*/ 5 w 5"/>
                  <a:gd name="T13" fmla="*/ 0 h 9"/>
                  <a:gd name="T14" fmla="*/ 5 w 5"/>
                  <a:gd name="T15" fmla="*/ 0 h 9"/>
                  <a:gd name="T16" fmla="*/ 5 w 5"/>
                  <a:gd name="T17" fmla="*/ 0 h 9"/>
                  <a:gd name="T18" fmla="*/ 5 w 5"/>
                  <a:gd name="T19" fmla="*/ 4 h 9"/>
                  <a:gd name="T20" fmla="*/ 5 w 5"/>
                  <a:gd name="T21" fmla="*/ 4 h 9"/>
                  <a:gd name="T22" fmla="*/ 5 w 5"/>
                  <a:gd name="T23" fmla="*/ 4 h 9"/>
                  <a:gd name="T24" fmla="*/ 5 w 5"/>
                  <a:gd name="T25" fmla="*/ 9 h 9"/>
                  <a:gd name="T26" fmla="*/ 5 w 5"/>
                  <a:gd name="T2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" h="9">
                    <a:moveTo>
                      <a:pt x="5" y="9"/>
                    </a:move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5" y="4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9"/>
                    </a:lnTo>
                    <a:lnTo>
                      <a:pt x="5" y="9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60" name="Freeform 260"/>
              <p:cNvSpPr>
                <a:spLocks/>
              </p:cNvSpPr>
              <p:nvPr/>
            </p:nvSpPr>
            <p:spPr bwMode="auto">
              <a:xfrm>
                <a:off x="2584451" y="2443164"/>
                <a:ext cx="7938" cy="14288"/>
              </a:xfrm>
              <a:custGeom>
                <a:avLst/>
                <a:gdLst>
                  <a:gd name="T0" fmla="*/ 5 w 5"/>
                  <a:gd name="T1" fmla="*/ 9 h 9"/>
                  <a:gd name="T2" fmla="*/ 5 w 5"/>
                  <a:gd name="T3" fmla="*/ 9 h 9"/>
                  <a:gd name="T4" fmla="*/ 5 w 5"/>
                  <a:gd name="T5" fmla="*/ 9 h 9"/>
                  <a:gd name="T6" fmla="*/ 5 w 5"/>
                  <a:gd name="T7" fmla="*/ 9 h 9"/>
                  <a:gd name="T8" fmla="*/ 0 w 5"/>
                  <a:gd name="T9" fmla="*/ 9 h 9"/>
                  <a:gd name="T10" fmla="*/ 5 w 5"/>
                  <a:gd name="T11" fmla="*/ 4 h 9"/>
                  <a:gd name="T12" fmla="*/ 5 w 5"/>
                  <a:gd name="T13" fmla="*/ 0 h 9"/>
                  <a:gd name="T14" fmla="*/ 5 w 5"/>
                  <a:gd name="T15" fmla="*/ 0 h 9"/>
                  <a:gd name="T16" fmla="*/ 5 w 5"/>
                  <a:gd name="T17" fmla="*/ 0 h 9"/>
                  <a:gd name="T18" fmla="*/ 5 w 5"/>
                  <a:gd name="T19" fmla="*/ 4 h 9"/>
                  <a:gd name="T20" fmla="*/ 5 w 5"/>
                  <a:gd name="T21" fmla="*/ 4 h 9"/>
                  <a:gd name="T22" fmla="*/ 5 w 5"/>
                  <a:gd name="T23" fmla="*/ 4 h 9"/>
                  <a:gd name="T24" fmla="*/ 5 w 5"/>
                  <a:gd name="T25" fmla="*/ 9 h 9"/>
                  <a:gd name="T26" fmla="*/ 5 w 5"/>
                  <a:gd name="T2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" h="9">
                    <a:moveTo>
                      <a:pt x="5" y="9"/>
                    </a:move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5" y="4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9"/>
                    </a:lnTo>
                    <a:lnTo>
                      <a:pt x="5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61" name="Freeform 261"/>
              <p:cNvSpPr>
                <a:spLocks/>
              </p:cNvSpPr>
              <p:nvPr/>
            </p:nvSpPr>
            <p:spPr bwMode="auto">
              <a:xfrm>
                <a:off x="2592388" y="2443164"/>
                <a:ext cx="14288" cy="6350"/>
              </a:xfrm>
              <a:custGeom>
                <a:avLst/>
                <a:gdLst>
                  <a:gd name="T0" fmla="*/ 4 w 9"/>
                  <a:gd name="T1" fmla="*/ 4 h 4"/>
                  <a:gd name="T2" fmla="*/ 4 w 9"/>
                  <a:gd name="T3" fmla="*/ 4 h 4"/>
                  <a:gd name="T4" fmla="*/ 4 w 9"/>
                  <a:gd name="T5" fmla="*/ 4 h 4"/>
                  <a:gd name="T6" fmla="*/ 0 w 9"/>
                  <a:gd name="T7" fmla="*/ 4 h 4"/>
                  <a:gd name="T8" fmla="*/ 0 w 9"/>
                  <a:gd name="T9" fmla="*/ 4 h 4"/>
                  <a:gd name="T10" fmla="*/ 4 w 9"/>
                  <a:gd name="T11" fmla="*/ 0 h 4"/>
                  <a:gd name="T12" fmla="*/ 4 w 9"/>
                  <a:gd name="T13" fmla="*/ 0 h 4"/>
                  <a:gd name="T14" fmla="*/ 4 w 9"/>
                  <a:gd name="T15" fmla="*/ 0 h 4"/>
                  <a:gd name="T16" fmla="*/ 4 w 9"/>
                  <a:gd name="T17" fmla="*/ 0 h 4"/>
                  <a:gd name="T18" fmla="*/ 4 w 9"/>
                  <a:gd name="T19" fmla="*/ 0 h 4"/>
                  <a:gd name="T20" fmla="*/ 4 w 9"/>
                  <a:gd name="T21" fmla="*/ 0 h 4"/>
                  <a:gd name="T22" fmla="*/ 4 w 9"/>
                  <a:gd name="T23" fmla="*/ 0 h 4"/>
                  <a:gd name="T24" fmla="*/ 9 w 9"/>
                  <a:gd name="T25" fmla="*/ 4 h 4"/>
                  <a:gd name="T26" fmla="*/ 4 w 9"/>
                  <a:gd name="T2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9" y="4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62" name="Freeform 262"/>
              <p:cNvSpPr>
                <a:spLocks/>
              </p:cNvSpPr>
              <p:nvPr/>
            </p:nvSpPr>
            <p:spPr bwMode="auto">
              <a:xfrm>
                <a:off x="2592388" y="2443164"/>
                <a:ext cx="14288" cy="6350"/>
              </a:xfrm>
              <a:custGeom>
                <a:avLst/>
                <a:gdLst>
                  <a:gd name="T0" fmla="*/ 4 w 9"/>
                  <a:gd name="T1" fmla="*/ 4 h 4"/>
                  <a:gd name="T2" fmla="*/ 4 w 9"/>
                  <a:gd name="T3" fmla="*/ 4 h 4"/>
                  <a:gd name="T4" fmla="*/ 4 w 9"/>
                  <a:gd name="T5" fmla="*/ 4 h 4"/>
                  <a:gd name="T6" fmla="*/ 0 w 9"/>
                  <a:gd name="T7" fmla="*/ 4 h 4"/>
                  <a:gd name="T8" fmla="*/ 0 w 9"/>
                  <a:gd name="T9" fmla="*/ 4 h 4"/>
                  <a:gd name="T10" fmla="*/ 4 w 9"/>
                  <a:gd name="T11" fmla="*/ 0 h 4"/>
                  <a:gd name="T12" fmla="*/ 4 w 9"/>
                  <a:gd name="T13" fmla="*/ 0 h 4"/>
                  <a:gd name="T14" fmla="*/ 4 w 9"/>
                  <a:gd name="T15" fmla="*/ 0 h 4"/>
                  <a:gd name="T16" fmla="*/ 4 w 9"/>
                  <a:gd name="T17" fmla="*/ 0 h 4"/>
                  <a:gd name="T18" fmla="*/ 4 w 9"/>
                  <a:gd name="T19" fmla="*/ 0 h 4"/>
                  <a:gd name="T20" fmla="*/ 4 w 9"/>
                  <a:gd name="T21" fmla="*/ 0 h 4"/>
                  <a:gd name="T22" fmla="*/ 4 w 9"/>
                  <a:gd name="T23" fmla="*/ 0 h 4"/>
                  <a:gd name="T24" fmla="*/ 9 w 9"/>
                  <a:gd name="T25" fmla="*/ 4 h 4"/>
                  <a:gd name="T26" fmla="*/ 4 w 9"/>
                  <a:gd name="T2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9" y="4"/>
                    </a:lnTo>
                    <a:lnTo>
                      <a:pt x="4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63" name="Freeform 263"/>
              <p:cNvSpPr>
                <a:spLocks/>
              </p:cNvSpPr>
              <p:nvPr/>
            </p:nvSpPr>
            <p:spPr bwMode="auto">
              <a:xfrm>
                <a:off x="2570163" y="2571751"/>
                <a:ext cx="7938" cy="7938"/>
              </a:xfrm>
              <a:custGeom>
                <a:avLst/>
                <a:gdLst>
                  <a:gd name="T0" fmla="*/ 5 w 5"/>
                  <a:gd name="T1" fmla="*/ 5 h 5"/>
                  <a:gd name="T2" fmla="*/ 5 w 5"/>
                  <a:gd name="T3" fmla="*/ 5 h 5"/>
                  <a:gd name="T4" fmla="*/ 0 w 5"/>
                  <a:gd name="T5" fmla="*/ 5 h 5"/>
                  <a:gd name="T6" fmla="*/ 0 w 5"/>
                  <a:gd name="T7" fmla="*/ 5 h 5"/>
                  <a:gd name="T8" fmla="*/ 0 w 5"/>
                  <a:gd name="T9" fmla="*/ 5 h 5"/>
                  <a:gd name="T10" fmla="*/ 5 w 5"/>
                  <a:gd name="T11" fmla="*/ 0 h 5"/>
                  <a:gd name="T12" fmla="*/ 5 w 5"/>
                  <a:gd name="T13" fmla="*/ 0 h 5"/>
                  <a:gd name="T14" fmla="*/ 5 w 5"/>
                  <a:gd name="T15" fmla="*/ 0 h 5"/>
                  <a:gd name="T16" fmla="*/ 5 w 5"/>
                  <a:gd name="T17" fmla="*/ 5 h 5"/>
                  <a:gd name="T18" fmla="*/ 5 w 5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5">
                    <a:moveTo>
                      <a:pt x="5" y="5"/>
                    </a:moveTo>
                    <a:lnTo>
                      <a:pt x="5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5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64" name="Freeform 264"/>
              <p:cNvSpPr>
                <a:spLocks/>
              </p:cNvSpPr>
              <p:nvPr/>
            </p:nvSpPr>
            <p:spPr bwMode="auto">
              <a:xfrm>
                <a:off x="2570163" y="2571751"/>
                <a:ext cx="7938" cy="7938"/>
              </a:xfrm>
              <a:custGeom>
                <a:avLst/>
                <a:gdLst>
                  <a:gd name="T0" fmla="*/ 5 w 5"/>
                  <a:gd name="T1" fmla="*/ 5 h 5"/>
                  <a:gd name="T2" fmla="*/ 5 w 5"/>
                  <a:gd name="T3" fmla="*/ 5 h 5"/>
                  <a:gd name="T4" fmla="*/ 0 w 5"/>
                  <a:gd name="T5" fmla="*/ 5 h 5"/>
                  <a:gd name="T6" fmla="*/ 0 w 5"/>
                  <a:gd name="T7" fmla="*/ 5 h 5"/>
                  <a:gd name="T8" fmla="*/ 0 w 5"/>
                  <a:gd name="T9" fmla="*/ 5 h 5"/>
                  <a:gd name="T10" fmla="*/ 5 w 5"/>
                  <a:gd name="T11" fmla="*/ 0 h 5"/>
                  <a:gd name="T12" fmla="*/ 5 w 5"/>
                  <a:gd name="T13" fmla="*/ 0 h 5"/>
                  <a:gd name="T14" fmla="*/ 5 w 5"/>
                  <a:gd name="T15" fmla="*/ 0 h 5"/>
                  <a:gd name="T16" fmla="*/ 5 w 5"/>
                  <a:gd name="T17" fmla="*/ 5 h 5"/>
                  <a:gd name="T18" fmla="*/ 5 w 5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5">
                    <a:moveTo>
                      <a:pt x="5" y="5"/>
                    </a:moveTo>
                    <a:lnTo>
                      <a:pt x="5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5"/>
                    </a:lnTo>
                    <a:lnTo>
                      <a:pt x="5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65" name="Freeform 265"/>
              <p:cNvSpPr>
                <a:spLocks noEditPoints="1"/>
              </p:cNvSpPr>
              <p:nvPr/>
            </p:nvSpPr>
            <p:spPr bwMode="auto">
              <a:xfrm>
                <a:off x="2563813" y="2414589"/>
                <a:ext cx="6350" cy="6350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4 w 4"/>
                  <a:gd name="T5" fmla="*/ 4 h 4"/>
                  <a:gd name="T6" fmla="*/ 4 w 4"/>
                  <a:gd name="T7" fmla="*/ 4 h 4"/>
                  <a:gd name="T8" fmla="*/ 4 w 4"/>
                  <a:gd name="T9" fmla="*/ 4 h 4"/>
                  <a:gd name="T10" fmla="*/ 4 w 4"/>
                  <a:gd name="T11" fmla="*/ 4 h 4"/>
                  <a:gd name="T12" fmla="*/ 4 w 4"/>
                  <a:gd name="T13" fmla="*/ 4 h 4"/>
                  <a:gd name="T14" fmla="*/ 4 w 4"/>
                  <a:gd name="T15" fmla="*/ 4 h 4"/>
                  <a:gd name="T16" fmla="*/ 4 w 4"/>
                  <a:gd name="T17" fmla="*/ 0 h 4"/>
                  <a:gd name="T18" fmla="*/ 4 w 4"/>
                  <a:gd name="T19" fmla="*/ 0 h 4"/>
                  <a:gd name="T20" fmla="*/ 4 w 4"/>
                  <a:gd name="T21" fmla="*/ 4 h 4"/>
                  <a:gd name="T22" fmla="*/ 4 w 4"/>
                  <a:gd name="T23" fmla="*/ 0 h 4"/>
                  <a:gd name="T24" fmla="*/ 0 w 4"/>
                  <a:gd name="T25" fmla="*/ 0 h 4"/>
                  <a:gd name="T26" fmla="*/ 0 w 4"/>
                  <a:gd name="T27" fmla="*/ 0 h 4"/>
                  <a:gd name="T28" fmla="*/ 0 w 4"/>
                  <a:gd name="T29" fmla="*/ 0 h 4"/>
                  <a:gd name="T30" fmla="*/ 0 w 4"/>
                  <a:gd name="T31" fmla="*/ 0 h 4"/>
                  <a:gd name="T32" fmla="*/ 0 w 4"/>
                  <a:gd name="T33" fmla="*/ 0 h 4"/>
                  <a:gd name="T34" fmla="*/ 0 w 4"/>
                  <a:gd name="T35" fmla="*/ 0 h 4"/>
                  <a:gd name="T36" fmla="*/ 4 w 4"/>
                  <a:gd name="T37" fmla="*/ 0 h 4"/>
                  <a:gd name="T38" fmla="*/ 4 w 4"/>
                  <a:gd name="T39" fmla="*/ 0 h 4"/>
                  <a:gd name="T40" fmla="*/ 4 w 4"/>
                  <a:gd name="T41" fmla="*/ 0 h 4"/>
                  <a:gd name="T42" fmla="*/ 4 w 4"/>
                  <a:gd name="T4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4" y="0"/>
                    </a:moveTo>
                    <a:lnTo>
                      <a:pt x="4" y="0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66" name="Freeform 266"/>
              <p:cNvSpPr>
                <a:spLocks noEditPoints="1"/>
              </p:cNvSpPr>
              <p:nvPr/>
            </p:nvSpPr>
            <p:spPr bwMode="auto">
              <a:xfrm>
                <a:off x="2563813" y="2414589"/>
                <a:ext cx="6350" cy="6350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4 w 4"/>
                  <a:gd name="T5" fmla="*/ 4 h 4"/>
                  <a:gd name="T6" fmla="*/ 4 w 4"/>
                  <a:gd name="T7" fmla="*/ 4 h 4"/>
                  <a:gd name="T8" fmla="*/ 4 w 4"/>
                  <a:gd name="T9" fmla="*/ 4 h 4"/>
                  <a:gd name="T10" fmla="*/ 4 w 4"/>
                  <a:gd name="T11" fmla="*/ 4 h 4"/>
                  <a:gd name="T12" fmla="*/ 4 w 4"/>
                  <a:gd name="T13" fmla="*/ 4 h 4"/>
                  <a:gd name="T14" fmla="*/ 4 w 4"/>
                  <a:gd name="T15" fmla="*/ 4 h 4"/>
                  <a:gd name="T16" fmla="*/ 4 w 4"/>
                  <a:gd name="T17" fmla="*/ 0 h 4"/>
                  <a:gd name="T18" fmla="*/ 4 w 4"/>
                  <a:gd name="T19" fmla="*/ 0 h 4"/>
                  <a:gd name="T20" fmla="*/ 4 w 4"/>
                  <a:gd name="T21" fmla="*/ 4 h 4"/>
                  <a:gd name="T22" fmla="*/ 4 w 4"/>
                  <a:gd name="T23" fmla="*/ 0 h 4"/>
                  <a:gd name="T24" fmla="*/ 0 w 4"/>
                  <a:gd name="T25" fmla="*/ 0 h 4"/>
                  <a:gd name="T26" fmla="*/ 0 w 4"/>
                  <a:gd name="T27" fmla="*/ 0 h 4"/>
                  <a:gd name="T28" fmla="*/ 0 w 4"/>
                  <a:gd name="T29" fmla="*/ 0 h 4"/>
                  <a:gd name="T30" fmla="*/ 0 w 4"/>
                  <a:gd name="T31" fmla="*/ 0 h 4"/>
                  <a:gd name="T32" fmla="*/ 0 w 4"/>
                  <a:gd name="T33" fmla="*/ 0 h 4"/>
                  <a:gd name="T34" fmla="*/ 0 w 4"/>
                  <a:gd name="T35" fmla="*/ 0 h 4"/>
                  <a:gd name="T36" fmla="*/ 4 w 4"/>
                  <a:gd name="T37" fmla="*/ 0 h 4"/>
                  <a:gd name="T38" fmla="*/ 4 w 4"/>
                  <a:gd name="T39" fmla="*/ 0 h 4"/>
                  <a:gd name="T40" fmla="*/ 4 w 4"/>
                  <a:gd name="T41" fmla="*/ 0 h 4"/>
                  <a:gd name="T42" fmla="*/ 4 w 4"/>
                  <a:gd name="T4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moveTo>
                      <a:pt x="4" y="0"/>
                    </a:moveTo>
                    <a:lnTo>
                      <a:pt x="4" y="0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67" name="Freeform 267"/>
              <p:cNvSpPr>
                <a:spLocks/>
              </p:cNvSpPr>
              <p:nvPr/>
            </p:nvSpPr>
            <p:spPr bwMode="auto">
              <a:xfrm>
                <a:off x="2598738" y="2514601"/>
                <a:ext cx="7938" cy="14288"/>
              </a:xfrm>
              <a:custGeom>
                <a:avLst/>
                <a:gdLst>
                  <a:gd name="T0" fmla="*/ 5 w 5"/>
                  <a:gd name="T1" fmla="*/ 5 h 9"/>
                  <a:gd name="T2" fmla="*/ 5 w 5"/>
                  <a:gd name="T3" fmla="*/ 5 h 9"/>
                  <a:gd name="T4" fmla="*/ 0 w 5"/>
                  <a:gd name="T5" fmla="*/ 9 h 9"/>
                  <a:gd name="T6" fmla="*/ 0 w 5"/>
                  <a:gd name="T7" fmla="*/ 5 h 9"/>
                  <a:gd name="T8" fmla="*/ 0 w 5"/>
                  <a:gd name="T9" fmla="*/ 5 h 9"/>
                  <a:gd name="T10" fmla="*/ 0 w 5"/>
                  <a:gd name="T11" fmla="*/ 5 h 9"/>
                  <a:gd name="T12" fmla="*/ 0 w 5"/>
                  <a:gd name="T13" fmla="*/ 0 h 9"/>
                  <a:gd name="T14" fmla="*/ 5 w 5"/>
                  <a:gd name="T15" fmla="*/ 0 h 9"/>
                  <a:gd name="T16" fmla="*/ 5 w 5"/>
                  <a:gd name="T17" fmla="*/ 0 h 9"/>
                  <a:gd name="T18" fmla="*/ 5 w 5"/>
                  <a:gd name="T19" fmla="*/ 0 h 9"/>
                  <a:gd name="T20" fmla="*/ 5 w 5"/>
                  <a:gd name="T21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9">
                    <a:moveTo>
                      <a:pt x="5" y="5"/>
                    </a:moveTo>
                    <a:lnTo>
                      <a:pt x="5" y="5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68" name="Freeform 268"/>
              <p:cNvSpPr>
                <a:spLocks/>
              </p:cNvSpPr>
              <p:nvPr/>
            </p:nvSpPr>
            <p:spPr bwMode="auto">
              <a:xfrm>
                <a:off x="2598738" y="2514601"/>
                <a:ext cx="7938" cy="14288"/>
              </a:xfrm>
              <a:custGeom>
                <a:avLst/>
                <a:gdLst>
                  <a:gd name="T0" fmla="*/ 5 w 5"/>
                  <a:gd name="T1" fmla="*/ 5 h 9"/>
                  <a:gd name="T2" fmla="*/ 5 w 5"/>
                  <a:gd name="T3" fmla="*/ 5 h 9"/>
                  <a:gd name="T4" fmla="*/ 0 w 5"/>
                  <a:gd name="T5" fmla="*/ 9 h 9"/>
                  <a:gd name="T6" fmla="*/ 0 w 5"/>
                  <a:gd name="T7" fmla="*/ 5 h 9"/>
                  <a:gd name="T8" fmla="*/ 0 w 5"/>
                  <a:gd name="T9" fmla="*/ 5 h 9"/>
                  <a:gd name="T10" fmla="*/ 0 w 5"/>
                  <a:gd name="T11" fmla="*/ 5 h 9"/>
                  <a:gd name="T12" fmla="*/ 0 w 5"/>
                  <a:gd name="T13" fmla="*/ 0 h 9"/>
                  <a:gd name="T14" fmla="*/ 5 w 5"/>
                  <a:gd name="T15" fmla="*/ 0 h 9"/>
                  <a:gd name="T16" fmla="*/ 5 w 5"/>
                  <a:gd name="T17" fmla="*/ 0 h 9"/>
                  <a:gd name="T18" fmla="*/ 5 w 5"/>
                  <a:gd name="T19" fmla="*/ 0 h 9"/>
                  <a:gd name="T20" fmla="*/ 5 w 5"/>
                  <a:gd name="T21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9">
                    <a:moveTo>
                      <a:pt x="5" y="5"/>
                    </a:moveTo>
                    <a:lnTo>
                      <a:pt x="5" y="5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69" name="Freeform 269"/>
              <p:cNvSpPr>
                <a:spLocks/>
              </p:cNvSpPr>
              <p:nvPr/>
            </p:nvSpPr>
            <p:spPr bwMode="auto">
              <a:xfrm>
                <a:off x="2563813" y="239236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70" name="Freeform 270"/>
              <p:cNvSpPr>
                <a:spLocks/>
              </p:cNvSpPr>
              <p:nvPr/>
            </p:nvSpPr>
            <p:spPr bwMode="auto">
              <a:xfrm>
                <a:off x="2563813" y="239236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71" name="Freeform 271"/>
              <p:cNvSpPr>
                <a:spLocks/>
              </p:cNvSpPr>
              <p:nvPr/>
            </p:nvSpPr>
            <p:spPr bwMode="auto">
              <a:xfrm>
                <a:off x="2578101" y="2428876"/>
                <a:ext cx="0" cy="6350"/>
              </a:xfrm>
              <a:custGeom>
                <a:avLst/>
                <a:gdLst>
                  <a:gd name="T0" fmla="*/ 4 h 4"/>
                  <a:gd name="T1" fmla="*/ 4 h 4"/>
                  <a:gd name="T2" fmla="*/ 4 h 4"/>
                  <a:gd name="T3" fmla="*/ 4 h 4"/>
                  <a:gd name="T4" fmla="*/ 4 h 4"/>
                  <a:gd name="T5" fmla="*/ 0 h 4"/>
                  <a:gd name="T6" fmla="*/ 0 h 4"/>
                  <a:gd name="T7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72" name="Freeform 272"/>
              <p:cNvSpPr>
                <a:spLocks/>
              </p:cNvSpPr>
              <p:nvPr/>
            </p:nvSpPr>
            <p:spPr bwMode="auto">
              <a:xfrm>
                <a:off x="2578101" y="2428876"/>
                <a:ext cx="0" cy="6350"/>
              </a:xfrm>
              <a:custGeom>
                <a:avLst/>
                <a:gdLst>
                  <a:gd name="T0" fmla="*/ 4 h 4"/>
                  <a:gd name="T1" fmla="*/ 4 h 4"/>
                  <a:gd name="T2" fmla="*/ 4 h 4"/>
                  <a:gd name="T3" fmla="*/ 4 h 4"/>
                  <a:gd name="T4" fmla="*/ 4 h 4"/>
                  <a:gd name="T5" fmla="*/ 0 h 4"/>
                  <a:gd name="T6" fmla="*/ 0 h 4"/>
                  <a:gd name="T7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73" name="Freeform 273"/>
              <p:cNvSpPr>
                <a:spLocks noEditPoints="1"/>
              </p:cNvSpPr>
              <p:nvPr/>
            </p:nvSpPr>
            <p:spPr bwMode="auto">
              <a:xfrm>
                <a:off x="2584451" y="2536826"/>
                <a:ext cx="7938" cy="20638"/>
              </a:xfrm>
              <a:custGeom>
                <a:avLst/>
                <a:gdLst>
                  <a:gd name="T0" fmla="*/ 0 w 5"/>
                  <a:gd name="T1" fmla="*/ 13 h 13"/>
                  <a:gd name="T2" fmla="*/ 0 w 5"/>
                  <a:gd name="T3" fmla="*/ 13 h 13"/>
                  <a:gd name="T4" fmla="*/ 0 w 5"/>
                  <a:gd name="T5" fmla="*/ 13 h 13"/>
                  <a:gd name="T6" fmla="*/ 0 w 5"/>
                  <a:gd name="T7" fmla="*/ 13 h 13"/>
                  <a:gd name="T8" fmla="*/ 0 w 5"/>
                  <a:gd name="T9" fmla="*/ 13 h 13"/>
                  <a:gd name="T10" fmla="*/ 0 w 5"/>
                  <a:gd name="T11" fmla="*/ 13 h 13"/>
                  <a:gd name="T12" fmla="*/ 0 w 5"/>
                  <a:gd name="T13" fmla="*/ 13 h 13"/>
                  <a:gd name="T14" fmla="*/ 0 w 5"/>
                  <a:gd name="T15" fmla="*/ 13 h 13"/>
                  <a:gd name="T16" fmla="*/ 0 w 5"/>
                  <a:gd name="T17" fmla="*/ 13 h 13"/>
                  <a:gd name="T18" fmla="*/ 0 w 5"/>
                  <a:gd name="T19" fmla="*/ 13 h 13"/>
                  <a:gd name="T20" fmla="*/ 0 w 5"/>
                  <a:gd name="T21" fmla="*/ 13 h 13"/>
                  <a:gd name="T22" fmla="*/ 0 w 5"/>
                  <a:gd name="T23" fmla="*/ 13 h 13"/>
                  <a:gd name="T24" fmla="*/ 0 w 5"/>
                  <a:gd name="T25" fmla="*/ 13 h 13"/>
                  <a:gd name="T26" fmla="*/ 0 w 5"/>
                  <a:gd name="T27" fmla="*/ 13 h 13"/>
                  <a:gd name="T28" fmla="*/ 0 w 5"/>
                  <a:gd name="T29" fmla="*/ 13 h 13"/>
                  <a:gd name="T30" fmla="*/ 0 w 5"/>
                  <a:gd name="T31" fmla="*/ 13 h 13"/>
                  <a:gd name="T32" fmla="*/ 0 w 5"/>
                  <a:gd name="T33" fmla="*/ 13 h 13"/>
                  <a:gd name="T34" fmla="*/ 5 w 5"/>
                  <a:gd name="T35" fmla="*/ 9 h 13"/>
                  <a:gd name="T36" fmla="*/ 5 w 5"/>
                  <a:gd name="T37" fmla="*/ 9 h 13"/>
                  <a:gd name="T38" fmla="*/ 5 w 5"/>
                  <a:gd name="T39" fmla="*/ 9 h 13"/>
                  <a:gd name="T40" fmla="*/ 5 w 5"/>
                  <a:gd name="T41" fmla="*/ 9 h 13"/>
                  <a:gd name="T42" fmla="*/ 5 w 5"/>
                  <a:gd name="T43" fmla="*/ 9 h 13"/>
                  <a:gd name="T44" fmla="*/ 5 w 5"/>
                  <a:gd name="T45" fmla="*/ 9 h 13"/>
                  <a:gd name="T46" fmla="*/ 5 w 5"/>
                  <a:gd name="T47" fmla="*/ 9 h 13"/>
                  <a:gd name="T48" fmla="*/ 5 w 5"/>
                  <a:gd name="T49" fmla="*/ 9 h 13"/>
                  <a:gd name="T50" fmla="*/ 5 w 5"/>
                  <a:gd name="T51" fmla="*/ 9 h 13"/>
                  <a:gd name="T52" fmla="*/ 5 w 5"/>
                  <a:gd name="T53" fmla="*/ 9 h 13"/>
                  <a:gd name="T54" fmla="*/ 5 w 5"/>
                  <a:gd name="T55" fmla="*/ 9 h 13"/>
                  <a:gd name="T56" fmla="*/ 5 w 5"/>
                  <a:gd name="T57" fmla="*/ 9 h 13"/>
                  <a:gd name="T58" fmla="*/ 5 w 5"/>
                  <a:gd name="T59" fmla="*/ 9 h 13"/>
                  <a:gd name="T60" fmla="*/ 5 w 5"/>
                  <a:gd name="T61" fmla="*/ 9 h 13"/>
                  <a:gd name="T62" fmla="*/ 5 w 5"/>
                  <a:gd name="T63" fmla="*/ 9 h 13"/>
                  <a:gd name="T64" fmla="*/ 5 w 5"/>
                  <a:gd name="T65" fmla="*/ 9 h 13"/>
                  <a:gd name="T66" fmla="*/ 5 w 5"/>
                  <a:gd name="T67" fmla="*/ 9 h 13"/>
                  <a:gd name="T68" fmla="*/ 5 w 5"/>
                  <a:gd name="T69" fmla="*/ 9 h 13"/>
                  <a:gd name="T70" fmla="*/ 5 w 5"/>
                  <a:gd name="T71" fmla="*/ 9 h 13"/>
                  <a:gd name="T72" fmla="*/ 5 w 5"/>
                  <a:gd name="T73" fmla="*/ 9 h 13"/>
                  <a:gd name="T74" fmla="*/ 5 w 5"/>
                  <a:gd name="T75" fmla="*/ 9 h 13"/>
                  <a:gd name="T76" fmla="*/ 5 w 5"/>
                  <a:gd name="T77" fmla="*/ 9 h 13"/>
                  <a:gd name="T78" fmla="*/ 5 w 5"/>
                  <a:gd name="T79" fmla="*/ 9 h 13"/>
                  <a:gd name="T80" fmla="*/ 5 w 5"/>
                  <a:gd name="T81" fmla="*/ 9 h 13"/>
                  <a:gd name="T82" fmla="*/ 5 w 5"/>
                  <a:gd name="T83" fmla="*/ 4 h 13"/>
                  <a:gd name="T84" fmla="*/ 5 w 5"/>
                  <a:gd name="T85" fmla="*/ 4 h 13"/>
                  <a:gd name="T86" fmla="*/ 5 w 5"/>
                  <a:gd name="T87" fmla="*/ 4 h 13"/>
                  <a:gd name="T88" fmla="*/ 5 w 5"/>
                  <a:gd name="T89" fmla="*/ 4 h 13"/>
                  <a:gd name="T90" fmla="*/ 5 w 5"/>
                  <a:gd name="T91" fmla="*/ 4 h 13"/>
                  <a:gd name="T92" fmla="*/ 5 w 5"/>
                  <a:gd name="T93" fmla="*/ 0 h 13"/>
                  <a:gd name="T94" fmla="*/ 5 w 5"/>
                  <a:gd name="T95" fmla="*/ 0 h 13"/>
                  <a:gd name="T96" fmla="*/ 5 w 5"/>
                  <a:gd name="T97" fmla="*/ 0 h 13"/>
                  <a:gd name="T98" fmla="*/ 5 w 5"/>
                  <a:gd name="T99" fmla="*/ 0 h 13"/>
                  <a:gd name="T100" fmla="*/ 5 w 5"/>
                  <a:gd name="T101" fmla="*/ 4 h 13"/>
                  <a:gd name="T102" fmla="*/ 5 w 5"/>
                  <a:gd name="T103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" h="13">
                    <a:moveTo>
                      <a:pt x="0" y="13"/>
                    </a:move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close/>
                    <a:moveTo>
                      <a:pt x="5" y="9"/>
                    </a:move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close/>
                    <a:moveTo>
                      <a:pt x="5" y="4"/>
                    </a:move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5" y="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74" name="Freeform 274"/>
              <p:cNvSpPr>
                <a:spLocks noEditPoints="1"/>
              </p:cNvSpPr>
              <p:nvPr/>
            </p:nvSpPr>
            <p:spPr bwMode="auto">
              <a:xfrm>
                <a:off x="2584451" y="2536826"/>
                <a:ext cx="7938" cy="20638"/>
              </a:xfrm>
              <a:custGeom>
                <a:avLst/>
                <a:gdLst>
                  <a:gd name="T0" fmla="*/ 0 w 5"/>
                  <a:gd name="T1" fmla="*/ 13 h 13"/>
                  <a:gd name="T2" fmla="*/ 0 w 5"/>
                  <a:gd name="T3" fmla="*/ 13 h 13"/>
                  <a:gd name="T4" fmla="*/ 0 w 5"/>
                  <a:gd name="T5" fmla="*/ 13 h 13"/>
                  <a:gd name="T6" fmla="*/ 0 w 5"/>
                  <a:gd name="T7" fmla="*/ 13 h 13"/>
                  <a:gd name="T8" fmla="*/ 0 w 5"/>
                  <a:gd name="T9" fmla="*/ 13 h 13"/>
                  <a:gd name="T10" fmla="*/ 0 w 5"/>
                  <a:gd name="T11" fmla="*/ 13 h 13"/>
                  <a:gd name="T12" fmla="*/ 0 w 5"/>
                  <a:gd name="T13" fmla="*/ 13 h 13"/>
                  <a:gd name="T14" fmla="*/ 0 w 5"/>
                  <a:gd name="T15" fmla="*/ 13 h 13"/>
                  <a:gd name="T16" fmla="*/ 0 w 5"/>
                  <a:gd name="T17" fmla="*/ 13 h 13"/>
                  <a:gd name="T18" fmla="*/ 0 w 5"/>
                  <a:gd name="T19" fmla="*/ 13 h 13"/>
                  <a:gd name="T20" fmla="*/ 0 w 5"/>
                  <a:gd name="T21" fmla="*/ 13 h 13"/>
                  <a:gd name="T22" fmla="*/ 0 w 5"/>
                  <a:gd name="T23" fmla="*/ 13 h 13"/>
                  <a:gd name="T24" fmla="*/ 0 w 5"/>
                  <a:gd name="T25" fmla="*/ 13 h 13"/>
                  <a:gd name="T26" fmla="*/ 0 w 5"/>
                  <a:gd name="T27" fmla="*/ 13 h 13"/>
                  <a:gd name="T28" fmla="*/ 0 w 5"/>
                  <a:gd name="T29" fmla="*/ 13 h 13"/>
                  <a:gd name="T30" fmla="*/ 0 w 5"/>
                  <a:gd name="T31" fmla="*/ 13 h 13"/>
                  <a:gd name="T32" fmla="*/ 0 w 5"/>
                  <a:gd name="T33" fmla="*/ 13 h 13"/>
                  <a:gd name="T34" fmla="*/ 5 w 5"/>
                  <a:gd name="T35" fmla="*/ 9 h 13"/>
                  <a:gd name="T36" fmla="*/ 5 w 5"/>
                  <a:gd name="T37" fmla="*/ 9 h 13"/>
                  <a:gd name="T38" fmla="*/ 5 w 5"/>
                  <a:gd name="T39" fmla="*/ 9 h 13"/>
                  <a:gd name="T40" fmla="*/ 5 w 5"/>
                  <a:gd name="T41" fmla="*/ 9 h 13"/>
                  <a:gd name="T42" fmla="*/ 5 w 5"/>
                  <a:gd name="T43" fmla="*/ 9 h 13"/>
                  <a:gd name="T44" fmla="*/ 5 w 5"/>
                  <a:gd name="T45" fmla="*/ 9 h 13"/>
                  <a:gd name="T46" fmla="*/ 5 w 5"/>
                  <a:gd name="T47" fmla="*/ 9 h 13"/>
                  <a:gd name="T48" fmla="*/ 5 w 5"/>
                  <a:gd name="T49" fmla="*/ 9 h 13"/>
                  <a:gd name="T50" fmla="*/ 5 w 5"/>
                  <a:gd name="T51" fmla="*/ 9 h 13"/>
                  <a:gd name="T52" fmla="*/ 5 w 5"/>
                  <a:gd name="T53" fmla="*/ 9 h 13"/>
                  <a:gd name="T54" fmla="*/ 5 w 5"/>
                  <a:gd name="T55" fmla="*/ 9 h 13"/>
                  <a:gd name="T56" fmla="*/ 5 w 5"/>
                  <a:gd name="T57" fmla="*/ 9 h 13"/>
                  <a:gd name="T58" fmla="*/ 5 w 5"/>
                  <a:gd name="T59" fmla="*/ 9 h 13"/>
                  <a:gd name="T60" fmla="*/ 5 w 5"/>
                  <a:gd name="T61" fmla="*/ 9 h 13"/>
                  <a:gd name="T62" fmla="*/ 5 w 5"/>
                  <a:gd name="T63" fmla="*/ 9 h 13"/>
                  <a:gd name="T64" fmla="*/ 5 w 5"/>
                  <a:gd name="T65" fmla="*/ 9 h 13"/>
                  <a:gd name="T66" fmla="*/ 5 w 5"/>
                  <a:gd name="T67" fmla="*/ 9 h 13"/>
                  <a:gd name="T68" fmla="*/ 5 w 5"/>
                  <a:gd name="T69" fmla="*/ 9 h 13"/>
                  <a:gd name="T70" fmla="*/ 5 w 5"/>
                  <a:gd name="T71" fmla="*/ 9 h 13"/>
                  <a:gd name="T72" fmla="*/ 5 w 5"/>
                  <a:gd name="T73" fmla="*/ 9 h 13"/>
                  <a:gd name="T74" fmla="*/ 5 w 5"/>
                  <a:gd name="T75" fmla="*/ 9 h 13"/>
                  <a:gd name="T76" fmla="*/ 5 w 5"/>
                  <a:gd name="T77" fmla="*/ 9 h 13"/>
                  <a:gd name="T78" fmla="*/ 5 w 5"/>
                  <a:gd name="T79" fmla="*/ 9 h 13"/>
                  <a:gd name="T80" fmla="*/ 5 w 5"/>
                  <a:gd name="T81" fmla="*/ 9 h 13"/>
                  <a:gd name="T82" fmla="*/ 5 w 5"/>
                  <a:gd name="T83" fmla="*/ 4 h 13"/>
                  <a:gd name="T84" fmla="*/ 5 w 5"/>
                  <a:gd name="T85" fmla="*/ 4 h 13"/>
                  <a:gd name="T86" fmla="*/ 5 w 5"/>
                  <a:gd name="T87" fmla="*/ 4 h 13"/>
                  <a:gd name="T88" fmla="*/ 5 w 5"/>
                  <a:gd name="T89" fmla="*/ 4 h 13"/>
                  <a:gd name="T90" fmla="*/ 5 w 5"/>
                  <a:gd name="T91" fmla="*/ 4 h 13"/>
                  <a:gd name="T92" fmla="*/ 5 w 5"/>
                  <a:gd name="T93" fmla="*/ 0 h 13"/>
                  <a:gd name="T94" fmla="*/ 5 w 5"/>
                  <a:gd name="T95" fmla="*/ 0 h 13"/>
                  <a:gd name="T96" fmla="*/ 5 w 5"/>
                  <a:gd name="T97" fmla="*/ 0 h 13"/>
                  <a:gd name="T98" fmla="*/ 5 w 5"/>
                  <a:gd name="T99" fmla="*/ 0 h 13"/>
                  <a:gd name="T100" fmla="*/ 5 w 5"/>
                  <a:gd name="T101" fmla="*/ 4 h 13"/>
                  <a:gd name="T102" fmla="*/ 5 w 5"/>
                  <a:gd name="T103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" h="13">
                    <a:moveTo>
                      <a:pt x="0" y="13"/>
                    </a:move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moveTo>
                      <a:pt x="5" y="9"/>
                    </a:move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moveTo>
                      <a:pt x="5" y="4"/>
                    </a:move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5" y="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75" name="Freeform 275"/>
              <p:cNvSpPr>
                <a:spLocks/>
              </p:cNvSpPr>
              <p:nvPr/>
            </p:nvSpPr>
            <p:spPr bwMode="auto">
              <a:xfrm>
                <a:off x="82551" y="2184401"/>
                <a:ext cx="6350" cy="7938"/>
              </a:xfrm>
              <a:custGeom>
                <a:avLst/>
                <a:gdLst>
                  <a:gd name="T0" fmla="*/ 4 w 4"/>
                  <a:gd name="T1" fmla="*/ 5 h 5"/>
                  <a:gd name="T2" fmla="*/ 4 w 4"/>
                  <a:gd name="T3" fmla="*/ 5 h 5"/>
                  <a:gd name="T4" fmla="*/ 4 w 4"/>
                  <a:gd name="T5" fmla="*/ 5 h 5"/>
                  <a:gd name="T6" fmla="*/ 0 w 4"/>
                  <a:gd name="T7" fmla="*/ 5 h 5"/>
                  <a:gd name="T8" fmla="*/ 4 w 4"/>
                  <a:gd name="T9" fmla="*/ 5 h 5"/>
                  <a:gd name="T10" fmla="*/ 4 w 4"/>
                  <a:gd name="T11" fmla="*/ 0 h 5"/>
                  <a:gd name="T12" fmla="*/ 4 w 4"/>
                  <a:gd name="T13" fmla="*/ 0 h 5"/>
                  <a:gd name="T14" fmla="*/ 4 w 4"/>
                  <a:gd name="T15" fmla="*/ 5 h 5"/>
                  <a:gd name="T16" fmla="*/ 4 w 4"/>
                  <a:gd name="T17" fmla="*/ 5 h 5"/>
                  <a:gd name="T18" fmla="*/ 4 w 4"/>
                  <a:gd name="T19" fmla="*/ 5 h 5"/>
                  <a:gd name="T20" fmla="*/ 4 w 4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4" y="5"/>
                    </a:lnTo>
                    <a:lnTo>
                      <a:pt x="4" y="5"/>
                    </a:lnTo>
                    <a:lnTo>
                      <a:pt x="0" y="5"/>
                    </a:lnTo>
                    <a:lnTo>
                      <a:pt x="4" y="5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76" name="Freeform 276"/>
              <p:cNvSpPr>
                <a:spLocks/>
              </p:cNvSpPr>
              <p:nvPr/>
            </p:nvSpPr>
            <p:spPr bwMode="auto">
              <a:xfrm>
                <a:off x="82551" y="2184401"/>
                <a:ext cx="6350" cy="7938"/>
              </a:xfrm>
              <a:custGeom>
                <a:avLst/>
                <a:gdLst>
                  <a:gd name="T0" fmla="*/ 4 w 4"/>
                  <a:gd name="T1" fmla="*/ 5 h 5"/>
                  <a:gd name="T2" fmla="*/ 4 w 4"/>
                  <a:gd name="T3" fmla="*/ 5 h 5"/>
                  <a:gd name="T4" fmla="*/ 4 w 4"/>
                  <a:gd name="T5" fmla="*/ 5 h 5"/>
                  <a:gd name="T6" fmla="*/ 0 w 4"/>
                  <a:gd name="T7" fmla="*/ 5 h 5"/>
                  <a:gd name="T8" fmla="*/ 4 w 4"/>
                  <a:gd name="T9" fmla="*/ 5 h 5"/>
                  <a:gd name="T10" fmla="*/ 4 w 4"/>
                  <a:gd name="T11" fmla="*/ 0 h 5"/>
                  <a:gd name="T12" fmla="*/ 4 w 4"/>
                  <a:gd name="T13" fmla="*/ 0 h 5"/>
                  <a:gd name="T14" fmla="*/ 4 w 4"/>
                  <a:gd name="T15" fmla="*/ 5 h 5"/>
                  <a:gd name="T16" fmla="*/ 4 w 4"/>
                  <a:gd name="T17" fmla="*/ 5 h 5"/>
                  <a:gd name="T18" fmla="*/ 4 w 4"/>
                  <a:gd name="T19" fmla="*/ 5 h 5"/>
                  <a:gd name="T20" fmla="*/ 4 w 4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4" y="5"/>
                    </a:lnTo>
                    <a:lnTo>
                      <a:pt x="4" y="5"/>
                    </a:lnTo>
                    <a:lnTo>
                      <a:pt x="0" y="5"/>
                    </a:lnTo>
                    <a:lnTo>
                      <a:pt x="4" y="5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77" name="Freeform 277"/>
              <p:cNvSpPr>
                <a:spLocks/>
              </p:cNvSpPr>
              <p:nvPr/>
            </p:nvSpPr>
            <p:spPr bwMode="auto">
              <a:xfrm>
                <a:off x="82551" y="2178051"/>
                <a:ext cx="14288" cy="6350"/>
              </a:xfrm>
              <a:custGeom>
                <a:avLst/>
                <a:gdLst>
                  <a:gd name="T0" fmla="*/ 4 w 9"/>
                  <a:gd name="T1" fmla="*/ 0 h 4"/>
                  <a:gd name="T2" fmla="*/ 4 w 9"/>
                  <a:gd name="T3" fmla="*/ 0 h 4"/>
                  <a:gd name="T4" fmla="*/ 4 w 9"/>
                  <a:gd name="T5" fmla="*/ 0 h 4"/>
                  <a:gd name="T6" fmla="*/ 9 w 9"/>
                  <a:gd name="T7" fmla="*/ 0 h 4"/>
                  <a:gd name="T8" fmla="*/ 9 w 9"/>
                  <a:gd name="T9" fmla="*/ 0 h 4"/>
                  <a:gd name="T10" fmla="*/ 9 w 9"/>
                  <a:gd name="T11" fmla="*/ 0 h 4"/>
                  <a:gd name="T12" fmla="*/ 9 w 9"/>
                  <a:gd name="T13" fmla="*/ 0 h 4"/>
                  <a:gd name="T14" fmla="*/ 9 w 9"/>
                  <a:gd name="T15" fmla="*/ 4 h 4"/>
                  <a:gd name="T16" fmla="*/ 9 w 9"/>
                  <a:gd name="T17" fmla="*/ 4 h 4"/>
                  <a:gd name="T18" fmla="*/ 4 w 9"/>
                  <a:gd name="T19" fmla="*/ 4 h 4"/>
                  <a:gd name="T20" fmla="*/ 0 w 9"/>
                  <a:gd name="T21" fmla="*/ 0 h 4"/>
                  <a:gd name="T22" fmla="*/ 0 w 9"/>
                  <a:gd name="T23" fmla="*/ 0 h 4"/>
                  <a:gd name="T24" fmla="*/ 0 w 9"/>
                  <a:gd name="T25" fmla="*/ 0 h 4"/>
                  <a:gd name="T26" fmla="*/ 4 w 9"/>
                  <a:gd name="T27" fmla="*/ 0 h 4"/>
                  <a:gd name="T28" fmla="*/ 4 w 9"/>
                  <a:gd name="T2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78" name="Freeform 278"/>
              <p:cNvSpPr>
                <a:spLocks/>
              </p:cNvSpPr>
              <p:nvPr/>
            </p:nvSpPr>
            <p:spPr bwMode="auto">
              <a:xfrm>
                <a:off x="82551" y="2178051"/>
                <a:ext cx="14288" cy="6350"/>
              </a:xfrm>
              <a:custGeom>
                <a:avLst/>
                <a:gdLst>
                  <a:gd name="T0" fmla="*/ 4 w 9"/>
                  <a:gd name="T1" fmla="*/ 0 h 4"/>
                  <a:gd name="T2" fmla="*/ 4 w 9"/>
                  <a:gd name="T3" fmla="*/ 0 h 4"/>
                  <a:gd name="T4" fmla="*/ 4 w 9"/>
                  <a:gd name="T5" fmla="*/ 0 h 4"/>
                  <a:gd name="T6" fmla="*/ 9 w 9"/>
                  <a:gd name="T7" fmla="*/ 0 h 4"/>
                  <a:gd name="T8" fmla="*/ 9 w 9"/>
                  <a:gd name="T9" fmla="*/ 0 h 4"/>
                  <a:gd name="T10" fmla="*/ 9 w 9"/>
                  <a:gd name="T11" fmla="*/ 0 h 4"/>
                  <a:gd name="T12" fmla="*/ 9 w 9"/>
                  <a:gd name="T13" fmla="*/ 0 h 4"/>
                  <a:gd name="T14" fmla="*/ 9 w 9"/>
                  <a:gd name="T15" fmla="*/ 4 h 4"/>
                  <a:gd name="T16" fmla="*/ 9 w 9"/>
                  <a:gd name="T17" fmla="*/ 4 h 4"/>
                  <a:gd name="T18" fmla="*/ 4 w 9"/>
                  <a:gd name="T19" fmla="*/ 4 h 4"/>
                  <a:gd name="T20" fmla="*/ 0 w 9"/>
                  <a:gd name="T21" fmla="*/ 0 h 4"/>
                  <a:gd name="T22" fmla="*/ 0 w 9"/>
                  <a:gd name="T23" fmla="*/ 0 h 4"/>
                  <a:gd name="T24" fmla="*/ 0 w 9"/>
                  <a:gd name="T25" fmla="*/ 0 h 4"/>
                  <a:gd name="T26" fmla="*/ 4 w 9"/>
                  <a:gd name="T27" fmla="*/ 0 h 4"/>
                  <a:gd name="T28" fmla="*/ 4 w 9"/>
                  <a:gd name="T2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79" name="Freeform 279"/>
              <p:cNvSpPr>
                <a:spLocks/>
              </p:cNvSpPr>
              <p:nvPr/>
            </p:nvSpPr>
            <p:spPr bwMode="auto">
              <a:xfrm>
                <a:off x="17463" y="2141539"/>
                <a:ext cx="7938" cy="7938"/>
              </a:xfrm>
              <a:custGeom>
                <a:avLst/>
                <a:gdLst>
                  <a:gd name="T0" fmla="*/ 5 w 5"/>
                  <a:gd name="T1" fmla="*/ 5 h 5"/>
                  <a:gd name="T2" fmla="*/ 5 w 5"/>
                  <a:gd name="T3" fmla="*/ 5 h 5"/>
                  <a:gd name="T4" fmla="*/ 0 w 5"/>
                  <a:gd name="T5" fmla="*/ 5 h 5"/>
                  <a:gd name="T6" fmla="*/ 0 w 5"/>
                  <a:gd name="T7" fmla="*/ 5 h 5"/>
                  <a:gd name="T8" fmla="*/ 0 w 5"/>
                  <a:gd name="T9" fmla="*/ 5 h 5"/>
                  <a:gd name="T10" fmla="*/ 5 w 5"/>
                  <a:gd name="T11" fmla="*/ 5 h 5"/>
                  <a:gd name="T12" fmla="*/ 5 w 5"/>
                  <a:gd name="T13" fmla="*/ 0 h 5"/>
                  <a:gd name="T14" fmla="*/ 5 w 5"/>
                  <a:gd name="T15" fmla="*/ 0 h 5"/>
                  <a:gd name="T16" fmla="*/ 5 w 5"/>
                  <a:gd name="T17" fmla="*/ 0 h 5"/>
                  <a:gd name="T18" fmla="*/ 5 w 5"/>
                  <a:gd name="T19" fmla="*/ 0 h 5"/>
                  <a:gd name="T20" fmla="*/ 5 w 5"/>
                  <a:gd name="T21" fmla="*/ 5 h 5"/>
                  <a:gd name="T22" fmla="*/ 5 w 5"/>
                  <a:gd name="T23" fmla="*/ 5 h 5"/>
                  <a:gd name="T24" fmla="*/ 5 w 5"/>
                  <a:gd name="T2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" h="5">
                    <a:moveTo>
                      <a:pt x="5" y="5"/>
                    </a:moveTo>
                    <a:lnTo>
                      <a:pt x="5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80" name="Freeform 280"/>
              <p:cNvSpPr>
                <a:spLocks/>
              </p:cNvSpPr>
              <p:nvPr/>
            </p:nvSpPr>
            <p:spPr bwMode="auto">
              <a:xfrm>
                <a:off x="17463" y="2141539"/>
                <a:ext cx="7938" cy="7938"/>
              </a:xfrm>
              <a:custGeom>
                <a:avLst/>
                <a:gdLst>
                  <a:gd name="T0" fmla="*/ 5 w 5"/>
                  <a:gd name="T1" fmla="*/ 5 h 5"/>
                  <a:gd name="T2" fmla="*/ 5 w 5"/>
                  <a:gd name="T3" fmla="*/ 5 h 5"/>
                  <a:gd name="T4" fmla="*/ 0 w 5"/>
                  <a:gd name="T5" fmla="*/ 5 h 5"/>
                  <a:gd name="T6" fmla="*/ 0 w 5"/>
                  <a:gd name="T7" fmla="*/ 5 h 5"/>
                  <a:gd name="T8" fmla="*/ 0 w 5"/>
                  <a:gd name="T9" fmla="*/ 5 h 5"/>
                  <a:gd name="T10" fmla="*/ 5 w 5"/>
                  <a:gd name="T11" fmla="*/ 5 h 5"/>
                  <a:gd name="T12" fmla="*/ 5 w 5"/>
                  <a:gd name="T13" fmla="*/ 0 h 5"/>
                  <a:gd name="T14" fmla="*/ 5 w 5"/>
                  <a:gd name="T15" fmla="*/ 0 h 5"/>
                  <a:gd name="T16" fmla="*/ 5 w 5"/>
                  <a:gd name="T17" fmla="*/ 0 h 5"/>
                  <a:gd name="T18" fmla="*/ 5 w 5"/>
                  <a:gd name="T19" fmla="*/ 0 h 5"/>
                  <a:gd name="T20" fmla="*/ 5 w 5"/>
                  <a:gd name="T21" fmla="*/ 5 h 5"/>
                  <a:gd name="T22" fmla="*/ 5 w 5"/>
                  <a:gd name="T23" fmla="*/ 5 h 5"/>
                  <a:gd name="T24" fmla="*/ 5 w 5"/>
                  <a:gd name="T2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" h="5">
                    <a:moveTo>
                      <a:pt x="5" y="5"/>
                    </a:moveTo>
                    <a:lnTo>
                      <a:pt x="5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81" name="Freeform 281"/>
              <p:cNvSpPr>
                <a:spLocks/>
              </p:cNvSpPr>
              <p:nvPr/>
            </p:nvSpPr>
            <p:spPr bwMode="auto">
              <a:xfrm>
                <a:off x="31751" y="2135189"/>
                <a:ext cx="14288" cy="14288"/>
              </a:xfrm>
              <a:custGeom>
                <a:avLst/>
                <a:gdLst>
                  <a:gd name="T0" fmla="*/ 9 w 9"/>
                  <a:gd name="T1" fmla="*/ 9 h 9"/>
                  <a:gd name="T2" fmla="*/ 9 w 9"/>
                  <a:gd name="T3" fmla="*/ 9 h 9"/>
                  <a:gd name="T4" fmla="*/ 5 w 9"/>
                  <a:gd name="T5" fmla="*/ 9 h 9"/>
                  <a:gd name="T6" fmla="*/ 5 w 9"/>
                  <a:gd name="T7" fmla="*/ 9 h 9"/>
                  <a:gd name="T8" fmla="*/ 5 w 9"/>
                  <a:gd name="T9" fmla="*/ 9 h 9"/>
                  <a:gd name="T10" fmla="*/ 5 w 9"/>
                  <a:gd name="T11" fmla="*/ 9 h 9"/>
                  <a:gd name="T12" fmla="*/ 0 w 9"/>
                  <a:gd name="T13" fmla="*/ 4 h 9"/>
                  <a:gd name="T14" fmla="*/ 0 w 9"/>
                  <a:gd name="T15" fmla="*/ 4 h 9"/>
                  <a:gd name="T16" fmla="*/ 5 w 9"/>
                  <a:gd name="T17" fmla="*/ 4 h 9"/>
                  <a:gd name="T18" fmla="*/ 9 w 9"/>
                  <a:gd name="T19" fmla="*/ 0 h 9"/>
                  <a:gd name="T20" fmla="*/ 9 w 9"/>
                  <a:gd name="T21" fmla="*/ 0 h 9"/>
                  <a:gd name="T22" fmla="*/ 9 w 9"/>
                  <a:gd name="T23" fmla="*/ 4 h 9"/>
                  <a:gd name="T24" fmla="*/ 9 w 9"/>
                  <a:gd name="T25" fmla="*/ 4 h 9"/>
                  <a:gd name="T26" fmla="*/ 9 w 9"/>
                  <a:gd name="T27" fmla="*/ 4 h 9"/>
                  <a:gd name="T28" fmla="*/ 9 w 9"/>
                  <a:gd name="T29" fmla="*/ 9 h 9"/>
                  <a:gd name="T30" fmla="*/ 9 w 9"/>
                  <a:gd name="T3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" h="9">
                    <a:moveTo>
                      <a:pt x="9" y="9"/>
                    </a:moveTo>
                    <a:lnTo>
                      <a:pt x="9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9"/>
                    </a:lnTo>
                    <a:lnTo>
                      <a:pt x="9" y="9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82" name="Freeform 282"/>
              <p:cNvSpPr>
                <a:spLocks/>
              </p:cNvSpPr>
              <p:nvPr/>
            </p:nvSpPr>
            <p:spPr bwMode="auto">
              <a:xfrm>
                <a:off x="31751" y="2135189"/>
                <a:ext cx="14288" cy="14288"/>
              </a:xfrm>
              <a:custGeom>
                <a:avLst/>
                <a:gdLst>
                  <a:gd name="T0" fmla="*/ 9 w 9"/>
                  <a:gd name="T1" fmla="*/ 9 h 9"/>
                  <a:gd name="T2" fmla="*/ 9 w 9"/>
                  <a:gd name="T3" fmla="*/ 9 h 9"/>
                  <a:gd name="T4" fmla="*/ 5 w 9"/>
                  <a:gd name="T5" fmla="*/ 9 h 9"/>
                  <a:gd name="T6" fmla="*/ 5 w 9"/>
                  <a:gd name="T7" fmla="*/ 9 h 9"/>
                  <a:gd name="T8" fmla="*/ 5 w 9"/>
                  <a:gd name="T9" fmla="*/ 9 h 9"/>
                  <a:gd name="T10" fmla="*/ 5 w 9"/>
                  <a:gd name="T11" fmla="*/ 9 h 9"/>
                  <a:gd name="T12" fmla="*/ 0 w 9"/>
                  <a:gd name="T13" fmla="*/ 4 h 9"/>
                  <a:gd name="T14" fmla="*/ 0 w 9"/>
                  <a:gd name="T15" fmla="*/ 4 h 9"/>
                  <a:gd name="T16" fmla="*/ 5 w 9"/>
                  <a:gd name="T17" fmla="*/ 4 h 9"/>
                  <a:gd name="T18" fmla="*/ 9 w 9"/>
                  <a:gd name="T19" fmla="*/ 0 h 9"/>
                  <a:gd name="T20" fmla="*/ 9 w 9"/>
                  <a:gd name="T21" fmla="*/ 0 h 9"/>
                  <a:gd name="T22" fmla="*/ 9 w 9"/>
                  <a:gd name="T23" fmla="*/ 4 h 9"/>
                  <a:gd name="T24" fmla="*/ 9 w 9"/>
                  <a:gd name="T25" fmla="*/ 4 h 9"/>
                  <a:gd name="T26" fmla="*/ 9 w 9"/>
                  <a:gd name="T27" fmla="*/ 4 h 9"/>
                  <a:gd name="T28" fmla="*/ 9 w 9"/>
                  <a:gd name="T29" fmla="*/ 9 h 9"/>
                  <a:gd name="T30" fmla="*/ 9 w 9"/>
                  <a:gd name="T3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" h="9">
                    <a:moveTo>
                      <a:pt x="9" y="9"/>
                    </a:moveTo>
                    <a:lnTo>
                      <a:pt x="9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9"/>
                    </a:lnTo>
                    <a:lnTo>
                      <a:pt x="9" y="9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1883" name="Freeform 283"/>
            <p:cNvSpPr>
              <a:spLocks noEditPoints="1"/>
            </p:cNvSpPr>
            <p:nvPr/>
          </p:nvSpPr>
          <p:spPr bwMode="auto">
            <a:xfrm>
              <a:off x="17463" y="447676"/>
              <a:ext cx="9136063" cy="4206875"/>
            </a:xfrm>
            <a:custGeom>
              <a:avLst/>
              <a:gdLst>
                <a:gd name="T0" fmla="*/ 1983 w 5755"/>
                <a:gd name="T1" fmla="*/ 68 h 2650"/>
                <a:gd name="T2" fmla="*/ 1812 w 5755"/>
                <a:gd name="T3" fmla="*/ 199 h 2650"/>
                <a:gd name="T4" fmla="*/ 1920 w 5755"/>
                <a:gd name="T5" fmla="*/ 348 h 2650"/>
                <a:gd name="T6" fmla="*/ 1906 w 5755"/>
                <a:gd name="T7" fmla="*/ 665 h 2650"/>
                <a:gd name="T8" fmla="*/ 1784 w 5755"/>
                <a:gd name="T9" fmla="*/ 696 h 2650"/>
                <a:gd name="T10" fmla="*/ 3370 w 5755"/>
                <a:gd name="T11" fmla="*/ 136 h 2650"/>
                <a:gd name="T12" fmla="*/ 2647 w 5755"/>
                <a:gd name="T13" fmla="*/ 479 h 2650"/>
                <a:gd name="T14" fmla="*/ 2571 w 5755"/>
                <a:gd name="T15" fmla="*/ 570 h 2650"/>
                <a:gd name="T16" fmla="*/ 1599 w 5755"/>
                <a:gd name="T17" fmla="*/ 100 h 2650"/>
                <a:gd name="T18" fmla="*/ 1604 w 5755"/>
                <a:gd name="T19" fmla="*/ 213 h 2650"/>
                <a:gd name="T20" fmla="*/ 1812 w 5755"/>
                <a:gd name="T21" fmla="*/ 104 h 2650"/>
                <a:gd name="T22" fmla="*/ 1843 w 5755"/>
                <a:gd name="T23" fmla="*/ 77 h 2650"/>
                <a:gd name="T24" fmla="*/ 4730 w 5755"/>
                <a:gd name="T25" fmla="*/ 1569 h 2650"/>
                <a:gd name="T26" fmla="*/ 4834 w 5755"/>
                <a:gd name="T27" fmla="*/ 841 h 2650"/>
                <a:gd name="T28" fmla="*/ 5286 w 5755"/>
                <a:gd name="T29" fmla="*/ 1714 h 2650"/>
                <a:gd name="T30" fmla="*/ 5240 w 5755"/>
                <a:gd name="T31" fmla="*/ 1736 h 2650"/>
                <a:gd name="T32" fmla="*/ 4875 w 5755"/>
                <a:gd name="T33" fmla="*/ 1759 h 2650"/>
                <a:gd name="T34" fmla="*/ 4689 w 5755"/>
                <a:gd name="T35" fmla="*/ 515 h 2650"/>
                <a:gd name="T36" fmla="*/ 4816 w 5755"/>
                <a:gd name="T37" fmla="*/ 1650 h 2650"/>
                <a:gd name="T38" fmla="*/ 2923 w 5755"/>
                <a:gd name="T39" fmla="*/ 882 h 2650"/>
                <a:gd name="T40" fmla="*/ 4504 w 5755"/>
                <a:gd name="T41" fmla="*/ 1216 h 2650"/>
                <a:gd name="T42" fmla="*/ 4590 w 5755"/>
                <a:gd name="T43" fmla="*/ 782 h 2650"/>
                <a:gd name="T44" fmla="*/ 4707 w 5755"/>
                <a:gd name="T45" fmla="*/ 317 h 2650"/>
                <a:gd name="T46" fmla="*/ 4856 w 5755"/>
                <a:gd name="T47" fmla="*/ 185 h 2650"/>
                <a:gd name="T48" fmla="*/ 3903 w 5755"/>
                <a:gd name="T49" fmla="*/ 154 h 2650"/>
                <a:gd name="T50" fmla="*/ 3542 w 5755"/>
                <a:gd name="T51" fmla="*/ 217 h 2650"/>
                <a:gd name="T52" fmla="*/ 2991 w 5755"/>
                <a:gd name="T53" fmla="*/ 262 h 2650"/>
                <a:gd name="T54" fmla="*/ 2914 w 5755"/>
                <a:gd name="T55" fmla="*/ 525 h 2650"/>
                <a:gd name="T56" fmla="*/ 2909 w 5755"/>
                <a:gd name="T57" fmla="*/ 565 h 2650"/>
                <a:gd name="T58" fmla="*/ 2747 w 5755"/>
                <a:gd name="T59" fmla="*/ 782 h 2650"/>
                <a:gd name="T60" fmla="*/ 3140 w 5755"/>
                <a:gd name="T61" fmla="*/ 733 h 2650"/>
                <a:gd name="T62" fmla="*/ 3013 w 5755"/>
                <a:gd name="T63" fmla="*/ 1004 h 2650"/>
                <a:gd name="T64" fmla="*/ 2796 w 5755"/>
                <a:gd name="T65" fmla="*/ 1488 h 2650"/>
                <a:gd name="T66" fmla="*/ 3357 w 5755"/>
                <a:gd name="T67" fmla="*/ 1700 h 2650"/>
                <a:gd name="T68" fmla="*/ 3542 w 5755"/>
                <a:gd name="T69" fmla="*/ 1081 h 2650"/>
                <a:gd name="T70" fmla="*/ 4197 w 5755"/>
                <a:gd name="T71" fmla="*/ 1144 h 2650"/>
                <a:gd name="T72" fmla="*/ 2869 w 5755"/>
                <a:gd name="T73" fmla="*/ 538 h 2650"/>
                <a:gd name="T74" fmla="*/ 1495 w 5755"/>
                <a:gd name="T75" fmla="*/ 1198 h 2650"/>
                <a:gd name="T76" fmla="*/ 2467 w 5755"/>
                <a:gd name="T77" fmla="*/ 204 h 2650"/>
                <a:gd name="T78" fmla="*/ 2141 w 5755"/>
                <a:gd name="T79" fmla="*/ 54 h 2650"/>
                <a:gd name="T80" fmla="*/ 2101 w 5755"/>
                <a:gd name="T81" fmla="*/ 344 h 2650"/>
                <a:gd name="T82" fmla="*/ 5128 w 5755"/>
                <a:gd name="T83" fmla="*/ 2559 h 2650"/>
                <a:gd name="T84" fmla="*/ 5475 w 5755"/>
                <a:gd name="T85" fmla="*/ 2071 h 2650"/>
                <a:gd name="T86" fmla="*/ 4915 w 5755"/>
                <a:gd name="T87" fmla="*/ 1863 h 2650"/>
                <a:gd name="T88" fmla="*/ 5015 w 5755"/>
                <a:gd name="T89" fmla="*/ 2374 h 2650"/>
                <a:gd name="T90" fmla="*/ 4522 w 5755"/>
                <a:gd name="T91" fmla="*/ 1691 h 2650"/>
                <a:gd name="T92" fmla="*/ 1608 w 5755"/>
                <a:gd name="T93" fmla="*/ 2518 h 2650"/>
                <a:gd name="T94" fmla="*/ 1613 w 5755"/>
                <a:gd name="T95" fmla="*/ 2541 h 2650"/>
                <a:gd name="T96" fmla="*/ 1464 w 5755"/>
                <a:gd name="T97" fmla="*/ 1352 h 2650"/>
                <a:gd name="T98" fmla="*/ 1188 w 5755"/>
                <a:gd name="T99" fmla="*/ 986 h 2650"/>
                <a:gd name="T100" fmla="*/ 1513 w 5755"/>
                <a:gd name="T101" fmla="*/ 805 h 2650"/>
                <a:gd name="T102" fmla="*/ 1658 w 5755"/>
                <a:gd name="T103" fmla="*/ 660 h 2650"/>
                <a:gd name="T104" fmla="*/ 1803 w 5755"/>
                <a:gd name="T105" fmla="*/ 389 h 2650"/>
                <a:gd name="T106" fmla="*/ 1667 w 5755"/>
                <a:gd name="T107" fmla="*/ 303 h 2650"/>
                <a:gd name="T108" fmla="*/ 1599 w 5755"/>
                <a:gd name="T109" fmla="*/ 249 h 2650"/>
                <a:gd name="T110" fmla="*/ 1093 w 5755"/>
                <a:gd name="T111" fmla="*/ 127 h 2650"/>
                <a:gd name="T112" fmla="*/ 655 w 5755"/>
                <a:gd name="T113" fmla="*/ 375 h 2650"/>
                <a:gd name="T114" fmla="*/ 971 w 5755"/>
                <a:gd name="T115" fmla="*/ 425 h 2650"/>
                <a:gd name="T116" fmla="*/ 804 w 5755"/>
                <a:gd name="T117" fmla="*/ 782 h 2650"/>
                <a:gd name="T118" fmla="*/ 1233 w 5755"/>
                <a:gd name="T119" fmla="*/ 1406 h 2650"/>
                <a:gd name="T120" fmla="*/ 1604 w 5755"/>
                <a:gd name="T121" fmla="*/ 2487 h 2650"/>
                <a:gd name="T122" fmla="*/ 1857 w 5755"/>
                <a:gd name="T123" fmla="*/ 2157 h 2650"/>
                <a:gd name="T124" fmla="*/ 1622 w 5755"/>
                <a:gd name="T125" fmla="*/ 1375 h 2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55" h="2650">
                  <a:moveTo>
                    <a:pt x="1870" y="109"/>
                  </a:moveTo>
                  <a:lnTo>
                    <a:pt x="1870" y="109"/>
                  </a:lnTo>
                  <a:lnTo>
                    <a:pt x="1875" y="104"/>
                  </a:lnTo>
                  <a:lnTo>
                    <a:pt x="1875" y="104"/>
                  </a:lnTo>
                  <a:lnTo>
                    <a:pt x="1879" y="104"/>
                  </a:lnTo>
                  <a:lnTo>
                    <a:pt x="1875" y="104"/>
                  </a:lnTo>
                  <a:lnTo>
                    <a:pt x="1870" y="109"/>
                  </a:lnTo>
                  <a:lnTo>
                    <a:pt x="1875" y="109"/>
                  </a:lnTo>
                  <a:lnTo>
                    <a:pt x="1879" y="109"/>
                  </a:lnTo>
                  <a:lnTo>
                    <a:pt x="1884" y="104"/>
                  </a:lnTo>
                  <a:lnTo>
                    <a:pt x="1884" y="109"/>
                  </a:lnTo>
                  <a:lnTo>
                    <a:pt x="1884" y="109"/>
                  </a:lnTo>
                  <a:lnTo>
                    <a:pt x="1888" y="109"/>
                  </a:lnTo>
                  <a:lnTo>
                    <a:pt x="1893" y="109"/>
                  </a:lnTo>
                  <a:lnTo>
                    <a:pt x="1893" y="109"/>
                  </a:lnTo>
                  <a:lnTo>
                    <a:pt x="1893" y="109"/>
                  </a:lnTo>
                  <a:lnTo>
                    <a:pt x="1893" y="109"/>
                  </a:lnTo>
                  <a:lnTo>
                    <a:pt x="1893" y="109"/>
                  </a:lnTo>
                  <a:lnTo>
                    <a:pt x="1893" y="109"/>
                  </a:lnTo>
                  <a:lnTo>
                    <a:pt x="1897" y="113"/>
                  </a:lnTo>
                  <a:lnTo>
                    <a:pt x="1897" y="113"/>
                  </a:lnTo>
                  <a:lnTo>
                    <a:pt x="1902" y="113"/>
                  </a:lnTo>
                  <a:lnTo>
                    <a:pt x="1911" y="113"/>
                  </a:lnTo>
                  <a:lnTo>
                    <a:pt x="1916" y="109"/>
                  </a:lnTo>
                  <a:lnTo>
                    <a:pt x="1916" y="109"/>
                  </a:lnTo>
                  <a:lnTo>
                    <a:pt x="1916" y="109"/>
                  </a:lnTo>
                  <a:lnTo>
                    <a:pt x="1920" y="113"/>
                  </a:lnTo>
                  <a:lnTo>
                    <a:pt x="1929" y="113"/>
                  </a:lnTo>
                  <a:lnTo>
                    <a:pt x="1934" y="109"/>
                  </a:lnTo>
                  <a:lnTo>
                    <a:pt x="1934" y="109"/>
                  </a:lnTo>
                  <a:lnTo>
                    <a:pt x="1934" y="109"/>
                  </a:lnTo>
                  <a:lnTo>
                    <a:pt x="1934" y="109"/>
                  </a:lnTo>
                  <a:lnTo>
                    <a:pt x="1934" y="109"/>
                  </a:lnTo>
                  <a:lnTo>
                    <a:pt x="1934" y="109"/>
                  </a:lnTo>
                  <a:lnTo>
                    <a:pt x="1934" y="109"/>
                  </a:lnTo>
                  <a:lnTo>
                    <a:pt x="1934" y="109"/>
                  </a:lnTo>
                  <a:lnTo>
                    <a:pt x="1934" y="109"/>
                  </a:lnTo>
                  <a:lnTo>
                    <a:pt x="1938" y="109"/>
                  </a:lnTo>
                  <a:lnTo>
                    <a:pt x="1938" y="109"/>
                  </a:lnTo>
                  <a:lnTo>
                    <a:pt x="1938" y="113"/>
                  </a:lnTo>
                  <a:lnTo>
                    <a:pt x="1938" y="113"/>
                  </a:lnTo>
                  <a:lnTo>
                    <a:pt x="1938" y="113"/>
                  </a:lnTo>
                  <a:lnTo>
                    <a:pt x="1938" y="113"/>
                  </a:lnTo>
                  <a:lnTo>
                    <a:pt x="1943" y="113"/>
                  </a:lnTo>
                  <a:lnTo>
                    <a:pt x="1943" y="113"/>
                  </a:lnTo>
                  <a:lnTo>
                    <a:pt x="1943" y="113"/>
                  </a:lnTo>
                  <a:lnTo>
                    <a:pt x="1943" y="113"/>
                  </a:lnTo>
                  <a:lnTo>
                    <a:pt x="1943" y="113"/>
                  </a:lnTo>
                  <a:lnTo>
                    <a:pt x="1943" y="113"/>
                  </a:lnTo>
                  <a:lnTo>
                    <a:pt x="1938" y="118"/>
                  </a:lnTo>
                  <a:lnTo>
                    <a:pt x="1938" y="118"/>
                  </a:lnTo>
                  <a:lnTo>
                    <a:pt x="1938" y="118"/>
                  </a:lnTo>
                  <a:lnTo>
                    <a:pt x="1938" y="118"/>
                  </a:lnTo>
                  <a:lnTo>
                    <a:pt x="1938" y="118"/>
                  </a:lnTo>
                  <a:lnTo>
                    <a:pt x="1947" y="118"/>
                  </a:lnTo>
                  <a:lnTo>
                    <a:pt x="1947" y="118"/>
                  </a:lnTo>
                  <a:lnTo>
                    <a:pt x="1956" y="118"/>
                  </a:lnTo>
                  <a:lnTo>
                    <a:pt x="1956" y="113"/>
                  </a:lnTo>
                  <a:lnTo>
                    <a:pt x="1961" y="113"/>
                  </a:lnTo>
                  <a:lnTo>
                    <a:pt x="1961" y="113"/>
                  </a:lnTo>
                  <a:lnTo>
                    <a:pt x="1970" y="113"/>
                  </a:lnTo>
                  <a:lnTo>
                    <a:pt x="1974" y="109"/>
                  </a:lnTo>
                  <a:lnTo>
                    <a:pt x="1979" y="109"/>
                  </a:lnTo>
                  <a:lnTo>
                    <a:pt x="1979" y="109"/>
                  </a:lnTo>
                  <a:lnTo>
                    <a:pt x="1979" y="104"/>
                  </a:lnTo>
                  <a:lnTo>
                    <a:pt x="1979" y="104"/>
                  </a:lnTo>
                  <a:lnTo>
                    <a:pt x="1979" y="104"/>
                  </a:lnTo>
                  <a:lnTo>
                    <a:pt x="1974" y="104"/>
                  </a:lnTo>
                  <a:lnTo>
                    <a:pt x="1974" y="104"/>
                  </a:lnTo>
                  <a:lnTo>
                    <a:pt x="1970" y="104"/>
                  </a:lnTo>
                  <a:lnTo>
                    <a:pt x="1970" y="104"/>
                  </a:lnTo>
                  <a:lnTo>
                    <a:pt x="1970" y="104"/>
                  </a:lnTo>
                  <a:lnTo>
                    <a:pt x="1970" y="104"/>
                  </a:lnTo>
                  <a:lnTo>
                    <a:pt x="1970" y="104"/>
                  </a:lnTo>
                  <a:lnTo>
                    <a:pt x="1970" y="104"/>
                  </a:lnTo>
                  <a:lnTo>
                    <a:pt x="1970" y="100"/>
                  </a:lnTo>
                  <a:lnTo>
                    <a:pt x="1970" y="100"/>
                  </a:lnTo>
                  <a:lnTo>
                    <a:pt x="1965" y="100"/>
                  </a:lnTo>
                  <a:lnTo>
                    <a:pt x="1965" y="100"/>
                  </a:lnTo>
                  <a:lnTo>
                    <a:pt x="1961" y="100"/>
                  </a:lnTo>
                  <a:lnTo>
                    <a:pt x="1961" y="100"/>
                  </a:lnTo>
                  <a:lnTo>
                    <a:pt x="1961" y="100"/>
                  </a:lnTo>
                  <a:lnTo>
                    <a:pt x="1956" y="100"/>
                  </a:lnTo>
                  <a:lnTo>
                    <a:pt x="1956" y="100"/>
                  </a:lnTo>
                  <a:lnTo>
                    <a:pt x="1952" y="100"/>
                  </a:lnTo>
                  <a:lnTo>
                    <a:pt x="1952" y="100"/>
                  </a:lnTo>
                  <a:lnTo>
                    <a:pt x="1947" y="100"/>
                  </a:lnTo>
                  <a:lnTo>
                    <a:pt x="1947" y="100"/>
                  </a:lnTo>
                  <a:lnTo>
                    <a:pt x="1947" y="95"/>
                  </a:lnTo>
                  <a:lnTo>
                    <a:pt x="1947" y="95"/>
                  </a:lnTo>
                  <a:lnTo>
                    <a:pt x="1952" y="95"/>
                  </a:lnTo>
                  <a:lnTo>
                    <a:pt x="1956" y="95"/>
                  </a:lnTo>
                  <a:lnTo>
                    <a:pt x="1956" y="95"/>
                  </a:lnTo>
                  <a:lnTo>
                    <a:pt x="1956" y="95"/>
                  </a:lnTo>
                  <a:lnTo>
                    <a:pt x="1956" y="95"/>
                  </a:lnTo>
                  <a:lnTo>
                    <a:pt x="1956" y="95"/>
                  </a:lnTo>
                  <a:lnTo>
                    <a:pt x="1956" y="95"/>
                  </a:lnTo>
                  <a:lnTo>
                    <a:pt x="1956" y="95"/>
                  </a:lnTo>
                  <a:lnTo>
                    <a:pt x="1956" y="95"/>
                  </a:lnTo>
                  <a:lnTo>
                    <a:pt x="1961" y="95"/>
                  </a:lnTo>
                  <a:lnTo>
                    <a:pt x="1961" y="95"/>
                  </a:lnTo>
                  <a:lnTo>
                    <a:pt x="1965" y="100"/>
                  </a:lnTo>
                  <a:lnTo>
                    <a:pt x="1965" y="100"/>
                  </a:lnTo>
                  <a:lnTo>
                    <a:pt x="1970" y="100"/>
                  </a:lnTo>
                  <a:lnTo>
                    <a:pt x="1979" y="100"/>
                  </a:lnTo>
                  <a:lnTo>
                    <a:pt x="1979" y="100"/>
                  </a:lnTo>
                  <a:lnTo>
                    <a:pt x="1983" y="100"/>
                  </a:lnTo>
                  <a:lnTo>
                    <a:pt x="1983" y="100"/>
                  </a:lnTo>
                  <a:lnTo>
                    <a:pt x="1988" y="95"/>
                  </a:lnTo>
                  <a:lnTo>
                    <a:pt x="1988" y="95"/>
                  </a:lnTo>
                  <a:lnTo>
                    <a:pt x="1992" y="95"/>
                  </a:lnTo>
                  <a:lnTo>
                    <a:pt x="1992" y="95"/>
                  </a:lnTo>
                  <a:lnTo>
                    <a:pt x="1997" y="90"/>
                  </a:lnTo>
                  <a:lnTo>
                    <a:pt x="1997" y="90"/>
                  </a:lnTo>
                  <a:lnTo>
                    <a:pt x="1997" y="90"/>
                  </a:lnTo>
                  <a:lnTo>
                    <a:pt x="2001" y="86"/>
                  </a:lnTo>
                  <a:lnTo>
                    <a:pt x="2006" y="86"/>
                  </a:lnTo>
                  <a:lnTo>
                    <a:pt x="2010" y="90"/>
                  </a:lnTo>
                  <a:lnTo>
                    <a:pt x="2010" y="90"/>
                  </a:lnTo>
                  <a:lnTo>
                    <a:pt x="2015" y="86"/>
                  </a:lnTo>
                  <a:lnTo>
                    <a:pt x="2019" y="86"/>
                  </a:lnTo>
                  <a:lnTo>
                    <a:pt x="2019" y="86"/>
                  </a:lnTo>
                  <a:lnTo>
                    <a:pt x="2019" y="86"/>
                  </a:lnTo>
                  <a:lnTo>
                    <a:pt x="2028" y="86"/>
                  </a:lnTo>
                  <a:lnTo>
                    <a:pt x="2033" y="81"/>
                  </a:lnTo>
                  <a:lnTo>
                    <a:pt x="2033" y="81"/>
                  </a:lnTo>
                  <a:lnTo>
                    <a:pt x="2033" y="81"/>
                  </a:lnTo>
                  <a:lnTo>
                    <a:pt x="2028" y="81"/>
                  </a:lnTo>
                  <a:lnTo>
                    <a:pt x="2024" y="77"/>
                  </a:lnTo>
                  <a:lnTo>
                    <a:pt x="2024" y="77"/>
                  </a:lnTo>
                  <a:lnTo>
                    <a:pt x="2028" y="77"/>
                  </a:lnTo>
                  <a:lnTo>
                    <a:pt x="2033" y="77"/>
                  </a:lnTo>
                  <a:lnTo>
                    <a:pt x="2037" y="77"/>
                  </a:lnTo>
                  <a:lnTo>
                    <a:pt x="2042" y="77"/>
                  </a:lnTo>
                  <a:lnTo>
                    <a:pt x="2047" y="77"/>
                  </a:lnTo>
                  <a:lnTo>
                    <a:pt x="2047" y="77"/>
                  </a:lnTo>
                  <a:lnTo>
                    <a:pt x="2047" y="77"/>
                  </a:lnTo>
                  <a:lnTo>
                    <a:pt x="2047" y="77"/>
                  </a:lnTo>
                  <a:lnTo>
                    <a:pt x="2042" y="72"/>
                  </a:lnTo>
                  <a:lnTo>
                    <a:pt x="2042" y="72"/>
                  </a:lnTo>
                  <a:lnTo>
                    <a:pt x="2037" y="72"/>
                  </a:lnTo>
                  <a:lnTo>
                    <a:pt x="2037" y="72"/>
                  </a:lnTo>
                  <a:lnTo>
                    <a:pt x="2037" y="72"/>
                  </a:lnTo>
                  <a:lnTo>
                    <a:pt x="2037" y="72"/>
                  </a:lnTo>
                  <a:lnTo>
                    <a:pt x="2033" y="68"/>
                  </a:lnTo>
                  <a:lnTo>
                    <a:pt x="2028" y="68"/>
                  </a:lnTo>
                  <a:lnTo>
                    <a:pt x="2024" y="72"/>
                  </a:lnTo>
                  <a:lnTo>
                    <a:pt x="2019" y="72"/>
                  </a:lnTo>
                  <a:lnTo>
                    <a:pt x="2019" y="72"/>
                  </a:lnTo>
                  <a:lnTo>
                    <a:pt x="2019" y="72"/>
                  </a:lnTo>
                  <a:lnTo>
                    <a:pt x="2019" y="68"/>
                  </a:lnTo>
                  <a:lnTo>
                    <a:pt x="2015" y="68"/>
                  </a:lnTo>
                  <a:lnTo>
                    <a:pt x="2015" y="68"/>
                  </a:lnTo>
                  <a:lnTo>
                    <a:pt x="2015" y="68"/>
                  </a:lnTo>
                  <a:lnTo>
                    <a:pt x="2019" y="68"/>
                  </a:lnTo>
                  <a:lnTo>
                    <a:pt x="2019" y="68"/>
                  </a:lnTo>
                  <a:lnTo>
                    <a:pt x="2024" y="68"/>
                  </a:lnTo>
                  <a:lnTo>
                    <a:pt x="2024" y="68"/>
                  </a:lnTo>
                  <a:lnTo>
                    <a:pt x="2033" y="68"/>
                  </a:lnTo>
                  <a:lnTo>
                    <a:pt x="2033" y="68"/>
                  </a:lnTo>
                  <a:lnTo>
                    <a:pt x="2037" y="68"/>
                  </a:lnTo>
                  <a:lnTo>
                    <a:pt x="2037" y="68"/>
                  </a:lnTo>
                  <a:lnTo>
                    <a:pt x="2042" y="68"/>
                  </a:lnTo>
                  <a:lnTo>
                    <a:pt x="2042" y="68"/>
                  </a:lnTo>
                  <a:lnTo>
                    <a:pt x="2042" y="68"/>
                  </a:lnTo>
                  <a:lnTo>
                    <a:pt x="2047" y="72"/>
                  </a:lnTo>
                  <a:lnTo>
                    <a:pt x="2051" y="72"/>
                  </a:lnTo>
                  <a:lnTo>
                    <a:pt x="2051" y="72"/>
                  </a:lnTo>
                  <a:lnTo>
                    <a:pt x="2056" y="68"/>
                  </a:lnTo>
                  <a:lnTo>
                    <a:pt x="2056" y="68"/>
                  </a:lnTo>
                  <a:lnTo>
                    <a:pt x="2051" y="68"/>
                  </a:lnTo>
                  <a:lnTo>
                    <a:pt x="2047" y="68"/>
                  </a:lnTo>
                  <a:lnTo>
                    <a:pt x="2047" y="68"/>
                  </a:lnTo>
                  <a:lnTo>
                    <a:pt x="2042" y="63"/>
                  </a:lnTo>
                  <a:lnTo>
                    <a:pt x="2042" y="63"/>
                  </a:lnTo>
                  <a:lnTo>
                    <a:pt x="2042" y="63"/>
                  </a:lnTo>
                  <a:lnTo>
                    <a:pt x="2042" y="63"/>
                  </a:lnTo>
                  <a:lnTo>
                    <a:pt x="2037" y="63"/>
                  </a:lnTo>
                  <a:lnTo>
                    <a:pt x="2037" y="63"/>
                  </a:lnTo>
                  <a:lnTo>
                    <a:pt x="2042" y="63"/>
                  </a:lnTo>
                  <a:lnTo>
                    <a:pt x="2047" y="63"/>
                  </a:lnTo>
                  <a:lnTo>
                    <a:pt x="2047" y="63"/>
                  </a:lnTo>
                  <a:lnTo>
                    <a:pt x="2051" y="63"/>
                  </a:lnTo>
                  <a:lnTo>
                    <a:pt x="2051" y="63"/>
                  </a:lnTo>
                  <a:lnTo>
                    <a:pt x="2056" y="63"/>
                  </a:lnTo>
                  <a:lnTo>
                    <a:pt x="2060" y="63"/>
                  </a:lnTo>
                  <a:lnTo>
                    <a:pt x="2065" y="63"/>
                  </a:lnTo>
                  <a:lnTo>
                    <a:pt x="2065" y="63"/>
                  </a:lnTo>
                  <a:lnTo>
                    <a:pt x="2065" y="63"/>
                  </a:lnTo>
                  <a:lnTo>
                    <a:pt x="2069" y="63"/>
                  </a:lnTo>
                  <a:lnTo>
                    <a:pt x="2069" y="63"/>
                  </a:lnTo>
                  <a:lnTo>
                    <a:pt x="2074" y="63"/>
                  </a:lnTo>
                  <a:lnTo>
                    <a:pt x="2074" y="63"/>
                  </a:lnTo>
                  <a:lnTo>
                    <a:pt x="2074" y="63"/>
                  </a:lnTo>
                  <a:lnTo>
                    <a:pt x="2074" y="59"/>
                  </a:lnTo>
                  <a:lnTo>
                    <a:pt x="2074" y="59"/>
                  </a:lnTo>
                  <a:lnTo>
                    <a:pt x="2074" y="59"/>
                  </a:lnTo>
                  <a:lnTo>
                    <a:pt x="2074" y="59"/>
                  </a:lnTo>
                  <a:lnTo>
                    <a:pt x="2069" y="59"/>
                  </a:lnTo>
                  <a:lnTo>
                    <a:pt x="2065" y="59"/>
                  </a:lnTo>
                  <a:lnTo>
                    <a:pt x="2065" y="59"/>
                  </a:lnTo>
                  <a:lnTo>
                    <a:pt x="2069" y="54"/>
                  </a:lnTo>
                  <a:lnTo>
                    <a:pt x="2069" y="54"/>
                  </a:lnTo>
                  <a:lnTo>
                    <a:pt x="2074" y="59"/>
                  </a:lnTo>
                  <a:lnTo>
                    <a:pt x="2078" y="59"/>
                  </a:lnTo>
                  <a:lnTo>
                    <a:pt x="2083" y="59"/>
                  </a:lnTo>
                  <a:lnTo>
                    <a:pt x="2083" y="59"/>
                  </a:lnTo>
                  <a:lnTo>
                    <a:pt x="2087" y="59"/>
                  </a:lnTo>
                  <a:lnTo>
                    <a:pt x="2092" y="59"/>
                  </a:lnTo>
                  <a:lnTo>
                    <a:pt x="2096" y="59"/>
                  </a:lnTo>
                  <a:lnTo>
                    <a:pt x="2096" y="59"/>
                  </a:lnTo>
                  <a:lnTo>
                    <a:pt x="2096" y="59"/>
                  </a:lnTo>
                  <a:lnTo>
                    <a:pt x="2096" y="59"/>
                  </a:lnTo>
                  <a:lnTo>
                    <a:pt x="2096" y="59"/>
                  </a:lnTo>
                  <a:lnTo>
                    <a:pt x="2105" y="54"/>
                  </a:lnTo>
                  <a:lnTo>
                    <a:pt x="2105" y="54"/>
                  </a:lnTo>
                  <a:lnTo>
                    <a:pt x="2105" y="54"/>
                  </a:lnTo>
                  <a:lnTo>
                    <a:pt x="2105" y="54"/>
                  </a:lnTo>
                  <a:lnTo>
                    <a:pt x="2105" y="54"/>
                  </a:lnTo>
                  <a:lnTo>
                    <a:pt x="2096" y="54"/>
                  </a:lnTo>
                  <a:lnTo>
                    <a:pt x="2096" y="54"/>
                  </a:lnTo>
                  <a:lnTo>
                    <a:pt x="2096" y="54"/>
                  </a:lnTo>
                  <a:lnTo>
                    <a:pt x="2096" y="54"/>
                  </a:lnTo>
                  <a:lnTo>
                    <a:pt x="2096" y="54"/>
                  </a:lnTo>
                  <a:lnTo>
                    <a:pt x="2096" y="54"/>
                  </a:lnTo>
                  <a:lnTo>
                    <a:pt x="2096" y="54"/>
                  </a:lnTo>
                  <a:lnTo>
                    <a:pt x="2101" y="54"/>
                  </a:lnTo>
                  <a:lnTo>
                    <a:pt x="2105" y="54"/>
                  </a:lnTo>
                  <a:lnTo>
                    <a:pt x="2114" y="50"/>
                  </a:lnTo>
                  <a:lnTo>
                    <a:pt x="2114" y="50"/>
                  </a:lnTo>
                  <a:lnTo>
                    <a:pt x="2114" y="45"/>
                  </a:lnTo>
                  <a:lnTo>
                    <a:pt x="2114" y="45"/>
                  </a:lnTo>
                  <a:lnTo>
                    <a:pt x="2114" y="45"/>
                  </a:lnTo>
                  <a:lnTo>
                    <a:pt x="2114" y="50"/>
                  </a:lnTo>
                  <a:lnTo>
                    <a:pt x="2114" y="50"/>
                  </a:lnTo>
                  <a:lnTo>
                    <a:pt x="2119" y="50"/>
                  </a:lnTo>
                  <a:lnTo>
                    <a:pt x="2119" y="50"/>
                  </a:lnTo>
                  <a:lnTo>
                    <a:pt x="2123" y="50"/>
                  </a:lnTo>
                  <a:lnTo>
                    <a:pt x="2123" y="50"/>
                  </a:lnTo>
                  <a:lnTo>
                    <a:pt x="2132" y="45"/>
                  </a:lnTo>
                  <a:lnTo>
                    <a:pt x="2137" y="45"/>
                  </a:lnTo>
                  <a:lnTo>
                    <a:pt x="2146" y="41"/>
                  </a:lnTo>
                  <a:lnTo>
                    <a:pt x="2159" y="41"/>
                  </a:lnTo>
                  <a:lnTo>
                    <a:pt x="2164" y="36"/>
                  </a:lnTo>
                  <a:lnTo>
                    <a:pt x="2173" y="36"/>
                  </a:lnTo>
                  <a:lnTo>
                    <a:pt x="2182" y="32"/>
                  </a:lnTo>
                  <a:lnTo>
                    <a:pt x="2182" y="32"/>
                  </a:lnTo>
                  <a:lnTo>
                    <a:pt x="2178" y="32"/>
                  </a:lnTo>
                  <a:lnTo>
                    <a:pt x="2173" y="32"/>
                  </a:lnTo>
                  <a:lnTo>
                    <a:pt x="2150" y="36"/>
                  </a:lnTo>
                  <a:lnTo>
                    <a:pt x="2146" y="36"/>
                  </a:lnTo>
                  <a:lnTo>
                    <a:pt x="2146" y="36"/>
                  </a:lnTo>
                  <a:lnTo>
                    <a:pt x="2146" y="32"/>
                  </a:lnTo>
                  <a:lnTo>
                    <a:pt x="2164" y="32"/>
                  </a:lnTo>
                  <a:lnTo>
                    <a:pt x="2164" y="32"/>
                  </a:lnTo>
                  <a:lnTo>
                    <a:pt x="2168" y="32"/>
                  </a:lnTo>
                  <a:lnTo>
                    <a:pt x="2168" y="32"/>
                  </a:lnTo>
                  <a:lnTo>
                    <a:pt x="2168" y="27"/>
                  </a:lnTo>
                  <a:lnTo>
                    <a:pt x="2173" y="27"/>
                  </a:lnTo>
                  <a:lnTo>
                    <a:pt x="2178" y="27"/>
                  </a:lnTo>
                  <a:lnTo>
                    <a:pt x="2182" y="27"/>
                  </a:lnTo>
                  <a:lnTo>
                    <a:pt x="2182" y="27"/>
                  </a:lnTo>
                  <a:lnTo>
                    <a:pt x="2182" y="27"/>
                  </a:lnTo>
                  <a:lnTo>
                    <a:pt x="2191" y="27"/>
                  </a:lnTo>
                  <a:lnTo>
                    <a:pt x="2191" y="27"/>
                  </a:lnTo>
                  <a:lnTo>
                    <a:pt x="2196" y="27"/>
                  </a:lnTo>
                  <a:lnTo>
                    <a:pt x="2200" y="27"/>
                  </a:lnTo>
                  <a:lnTo>
                    <a:pt x="2214" y="23"/>
                  </a:lnTo>
                  <a:lnTo>
                    <a:pt x="2214" y="23"/>
                  </a:lnTo>
                  <a:lnTo>
                    <a:pt x="2218" y="23"/>
                  </a:lnTo>
                  <a:lnTo>
                    <a:pt x="2223" y="23"/>
                  </a:lnTo>
                  <a:lnTo>
                    <a:pt x="2227" y="18"/>
                  </a:lnTo>
                  <a:lnTo>
                    <a:pt x="2227" y="18"/>
                  </a:lnTo>
                  <a:lnTo>
                    <a:pt x="2227" y="18"/>
                  </a:lnTo>
                  <a:lnTo>
                    <a:pt x="2227" y="18"/>
                  </a:lnTo>
                  <a:lnTo>
                    <a:pt x="2227" y="14"/>
                  </a:lnTo>
                  <a:lnTo>
                    <a:pt x="2227" y="14"/>
                  </a:lnTo>
                  <a:lnTo>
                    <a:pt x="2223" y="14"/>
                  </a:lnTo>
                  <a:lnTo>
                    <a:pt x="2214" y="14"/>
                  </a:lnTo>
                  <a:lnTo>
                    <a:pt x="2214" y="14"/>
                  </a:lnTo>
                  <a:lnTo>
                    <a:pt x="2218" y="14"/>
                  </a:lnTo>
                  <a:lnTo>
                    <a:pt x="2218" y="14"/>
                  </a:lnTo>
                  <a:lnTo>
                    <a:pt x="2214" y="14"/>
                  </a:lnTo>
                  <a:lnTo>
                    <a:pt x="2214" y="9"/>
                  </a:lnTo>
                  <a:lnTo>
                    <a:pt x="2214" y="9"/>
                  </a:lnTo>
                  <a:lnTo>
                    <a:pt x="2214" y="9"/>
                  </a:lnTo>
                  <a:lnTo>
                    <a:pt x="2214" y="9"/>
                  </a:lnTo>
                  <a:lnTo>
                    <a:pt x="2218" y="9"/>
                  </a:lnTo>
                  <a:lnTo>
                    <a:pt x="2218" y="9"/>
                  </a:lnTo>
                  <a:lnTo>
                    <a:pt x="2218" y="9"/>
                  </a:lnTo>
                  <a:lnTo>
                    <a:pt x="2214" y="9"/>
                  </a:lnTo>
                  <a:lnTo>
                    <a:pt x="2214" y="9"/>
                  </a:lnTo>
                  <a:lnTo>
                    <a:pt x="2209" y="9"/>
                  </a:lnTo>
                  <a:lnTo>
                    <a:pt x="2209" y="9"/>
                  </a:lnTo>
                  <a:lnTo>
                    <a:pt x="2209" y="9"/>
                  </a:lnTo>
                  <a:lnTo>
                    <a:pt x="2209" y="9"/>
                  </a:lnTo>
                  <a:lnTo>
                    <a:pt x="2209" y="9"/>
                  </a:lnTo>
                  <a:lnTo>
                    <a:pt x="2205" y="9"/>
                  </a:lnTo>
                  <a:lnTo>
                    <a:pt x="2205" y="9"/>
                  </a:lnTo>
                  <a:lnTo>
                    <a:pt x="2205" y="9"/>
                  </a:lnTo>
                  <a:lnTo>
                    <a:pt x="2205" y="9"/>
                  </a:lnTo>
                  <a:lnTo>
                    <a:pt x="2200" y="9"/>
                  </a:lnTo>
                  <a:lnTo>
                    <a:pt x="2200" y="9"/>
                  </a:lnTo>
                  <a:lnTo>
                    <a:pt x="2200" y="9"/>
                  </a:lnTo>
                  <a:lnTo>
                    <a:pt x="2200" y="9"/>
                  </a:lnTo>
                  <a:lnTo>
                    <a:pt x="2196" y="9"/>
                  </a:lnTo>
                  <a:lnTo>
                    <a:pt x="2191" y="9"/>
                  </a:lnTo>
                  <a:lnTo>
                    <a:pt x="2187" y="9"/>
                  </a:lnTo>
                  <a:lnTo>
                    <a:pt x="2187" y="9"/>
                  </a:lnTo>
                  <a:lnTo>
                    <a:pt x="2182" y="9"/>
                  </a:lnTo>
                  <a:lnTo>
                    <a:pt x="2178" y="9"/>
                  </a:lnTo>
                  <a:lnTo>
                    <a:pt x="2173" y="9"/>
                  </a:lnTo>
                  <a:lnTo>
                    <a:pt x="2173" y="9"/>
                  </a:lnTo>
                  <a:lnTo>
                    <a:pt x="2173" y="9"/>
                  </a:lnTo>
                  <a:lnTo>
                    <a:pt x="2191" y="9"/>
                  </a:lnTo>
                  <a:lnTo>
                    <a:pt x="2191" y="9"/>
                  </a:lnTo>
                  <a:lnTo>
                    <a:pt x="2196" y="5"/>
                  </a:lnTo>
                  <a:lnTo>
                    <a:pt x="2196" y="5"/>
                  </a:lnTo>
                  <a:lnTo>
                    <a:pt x="2196" y="5"/>
                  </a:lnTo>
                  <a:lnTo>
                    <a:pt x="2187" y="5"/>
                  </a:lnTo>
                  <a:lnTo>
                    <a:pt x="2187" y="5"/>
                  </a:lnTo>
                  <a:lnTo>
                    <a:pt x="2182" y="5"/>
                  </a:lnTo>
                  <a:lnTo>
                    <a:pt x="2182" y="5"/>
                  </a:lnTo>
                  <a:lnTo>
                    <a:pt x="2182" y="5"/>
                  </a:lnTo>
                  <a:lnTo>
                    <a:pt x="2178" y="5"/>
                  </a:lnTo>
                  <a:lnTo>
                    <a:pt x="2173" y="5"/>
                  </a:lnTo>
                  <a:lnTo>
                    <a:pt x="2168" y="5"/>
                  </a:lnTo>
                  <a:lnTo>
                    <a:pt x="2168" y="0"/>
                  </a:lnTo>
                  <a:lnTo>
                    <a:pt x="2168" y="0"/>
                  </a:lnTo>
                  <a:lnTo>
                    <a:pt x="2168" y="0"/>
                  </a:lnTo>
                  <a:lnTo>
                    <a:pt x="2159" y="0"/>
                  </a:lnTo>
                  <a:lnTo>
                    <a:pt x="2159" y="0"/>
                  </a:lnTo>
                  <a:lnTo>
                    <a:pt x="2155" y="5"/>
                  </a:lnTo>
                  <a:lnTo>
                    <a:pt x="2155" y="5"/>
                  </a:lnTo>
                  <a:lnTo>
                    <a:pt x="2155" y="5"/>
                  </a:lnTo>
                  <a:lnTo>
                    <a:pt x="2155" y="5"/>
                  </a:lnTo>
                  <a:lnTo>
                    <a:pt x="2155" y="5"/>
                  </a:lnTo>
                  <a:lnTo>
                    <a:pt x="2155" y="5"/>
                  </a:lnTo>
                  <a:lnTo>
                    <a:pt x="2155" y="5"/>
                  </a:lnTo>
                  <a:lnTo>
                    <a:pt x="2150" y="0"/>
                  </a:lnTo>
                  <a:lnTo>
                    <a:pt x="2150" y="0"/>
                  </a:lnTo>
                  <a:lnTo>
                    <a:pt x="2146" y="0"/>
                  </a:lnTo>
                  <a:lnTo>
                    <a:pt x="2137" y="5"/>
                  </a:lnTo>
                  <a:lnTo>
                    <a:pt x="2137" y="5"/>
                  </a:lnTo>
                  <a:lnTo>
                    <a:pt x="2137" y="5"/>
                  </a:lnTo>
                  <a:lnTo>
                    <a:pt x="2137" y="5"/>
                  </a:lnTo>
                  <a:lnTo>
                    <a:pt x="2137" y="5"/>
                  </a:lnTo>
                  <a:lnTo>
                    <a:pt x="2137" y="9"/>
                  </a:lnTo>
                  <a:lnTo>
                    <a:pt x="2137" y="9"/>
                  </a:lnTo>
                  <a:lnTo>
                    <a:pt x="2137" y="5"/>
                  </a:lnTo>
                  <a:lnTo>
                    <a:pt x="2132" y="5"/>
                  </a:lnTo>
                  <a:lnTo>
                    <a:pt x="2132" y="5"/>
                  </a:lnTo>
                  <a:lnTo>
                    <a:pt x="2132" y="5"/>
                  </a:lnTo>
                  <a:lnTo>
                    <a:pt x="2132" y="5"/>
                  </a:lnTo>
                  <a:lnTo>
                    <a:pt x="2128" y="0"/>
                  </a:lnTo>
                  <a:lnTo>
                    <a:pt x="2119" y="0"/>
                  </a:lnTo>
                  <a:lnTo>
                    <a:pt x="2105" y="0"/>
                  </a:lnTo>
                  <a:lnTo>
                    <a:pt x="2105" y="0"/>
                  </a:lnTo>
                  <a:lnTo>
                    <a:pt x="2105" y="5"/>
                  </a:lnTo>
                  <a:lnTo>
                    <a:pt x="2110" y="5"/>
                  </a:lnTo>
                  <a:lnTo>
                    <a:pt x="2110" y="5"/>
                  </a:lnTo>
                  <a:lnTo>
                    <a:pt x="2110" y="5"/>
                  </a:lnTo>
                  <a:lnTo>
                    <a:pt x="2114" y="9"/>
                  </a:lnTo>
                  <a:lnTo>
                    <a:pt x="2114" y="9"/>
                  </a:lnTo>
                  <a:lnTo>
                    <a:pt x="2110" y="9"/>
                  </a:lnTo>
                  <a:lnTo>
                    <a:pt x="2105" y="9"/>
                  </a:lnTo>
                  <a:lnTo>
                    <a:pt x="2105" y="9"/>
                  </a:lnTo>
                  <a:lnTo>
                    <a:pt x="2105" y="9"/>
                  </a:lnTo>
                  <a:lnTo>
                    <a:pt x="2105" y="9"/>
                  </a:lnTo>
                  <a:lnTo>
                    <a:pt x="2105" y="9"/>
                  </a:lnTo>
                  <a:lnTo>
                    <a:pt x="2105" y="5"/>
                  </a:lnTo>
                  <a:lnTo>
                    <a:pt x="2101" y="5"/>
                  </a:lnTo>
                  <a:lnTo>
                    <a:pt x="2101" y="5"/>
                  </a:lnTo>
                  <a:lnTo>
                    <a:pt x="2096" y="5"/>
                  </a:lnTo>
                  <a:lnTo>
                    <a:pt x="2092" y="5"/>
                  </a:lnTo>
                  <a:lnTo>
                    <a:pt x="2087" y="0"/>
                  </a:lnTo>
                  <a:lnTo>
                    <a:pt x="2083" y="0"/>
                  </a:lnTo>
                  <a:lnTo>
                    <a:pt x="2078" y="0"/>
                  </a:lnTo>
                  <a:lnTo>
                    <a:pt x="2078" y="0"/>
                  </a:lnTo>
                  <a:lnTo>
                    <a:pt x="2083" y="5"/>
                  </a:lnTo>
                  <a:lnTo>
                    <a:pt x="2083" y="5"/>
                  </a:lnTo>
                  <a:lnTo>
                    <a:pt x="2083" y="5"/>
                  </a:lnTo>
                  <a:lnTo>
                    <a:pt x="2083" y="5"/>
                  </a:lnTo>
                  <a:lnTo>
                    <a:pt x="2087" y="5"/>
                  </a:lnTo>
                  <a:lnTo>
                    <a:pt x="2087" y="5"/>
                  </a:lnTo>
                  <a:lnTo>
                    <a:pt x="2083" y="5"/>
                  </a:lnTo>
                  <a:lnTo>
                    <a:pt x="2078" y="5"/>
                  </a:lnTo>
                  <a:lnTo>
                    <a:pt x="2074" y="5"/>
                  </a:lnTo>
                  <a:lnTo>
                    <a:pt x="2069" y="5"/>
                  </a:lnTo>
                  <a:lnTo>
                    <a:pt x="2069" y="5"/>
                  </a:lnTo>
                  <a:lnTo>
                    <a:pt x="2069" y="5"/>
                  </a:lnTo>
                  <a:lnTo>
                    <a:pt x="2069" y="5"/>
                  </a:lnTo>
                  <a:lnTo>
                    <a:pt x="2069" y="9"/>
                  </a:lnTo>
                  <a:lnTo>
                    <a:pt x="2069" y="9"/>
                  </a:lnTo>
                  <a:lnTo>
                    <a:pt x="2065" y="5"/>
                  </a:lnTo>
                  <a:lnTo>
                    <a:pt x="2065" y="5"/>
                  </a:lnTo>
                  <a:lnTo>
                    <a:pt x="2060" y="5"/>
                  </a:lnTo>
                  <a:lnTo>
                    <a:pt x="2060" y="5"/>
                  </a:lnTo>
                  <a:lnTo>
                    <a:pt x="2056" y="5"/>
                  </a:lnTo>
                  <a:lnTo>
                    <a:pt x="2060" y="9"/>
                  </a:lnTo>
                  <a:lnTo>
                    <a:pt x="2060" y="9"/>
                  </a:lnTo>
                  <a:lnTo>
                    <a:pt x="2060" y="9"/>
                  </a:lnTo>
                  <a:lnTo>
                    <a:pt x="2056" y="9"/>
                  </a:lnTo>
                  <a:lnTo>
                    <a:pt x="2056" y="9"/>
                  </a:lnTo>
                  <a:lnTo>
                    <a:pt x="2051" y="9"/>
                  </a:lnTo>
                  <a:lnTo>
                    <a:pt x="2051" y="9"/>
                  </a:lnTo>
                  <a:lnTo>
                    <a:pt x="2051" y="9"/>
                  </a:lnTo>
                  <a:lnTo>
                    <a:pt x="2051" y="14"/>
                  </a:lnTo>
                  <a:lnTo>
                    <a:pt x="2056" y="14"/>
                  </a:lnTo>
                  <a:lnTo>
                    <a:pt x="2060" y="18"/>
                  </a:lnTo>
                  <a:lnTo>
                    <a:pt x="2065" y="18"/>
                  </a:lnTo>
                  <a:lnTo>
                    <a:pt x="2065" y="18"/>
                  </a:lnTo>
                  <a:lnTo>
                    <a:pt x="2065" y="18"/>
                  </a:lnTo>
                  <a:lnTo>
                    <a:pt x="2065" y="18"/>
                  </a:lnTo>
                  <a:lnTo>
                    <a:pt x="2060" y="18"/>
                  </a:lnTo>
                  <a:lnTo>
                    <a:pt x="2060" y="18"/>
                  </a:lnTo>
                  <a:lnTo>
                    <a:pt x="2060" y="18"/>
                  </a:lnTo>
                  <a:lnTo>
                    <a:pt x="2051" y="14"/>
                  </a:lnTo>
                  <a:lnTo>
                    <a:pt x="2047" y="14"/>
                  </a:lnTo>
                  <a:lnTo>
                    <a:pt x="2047" y="14"/>
                  </a:lnTo>
                  <a:lnTo>
                    <a:pt x="2047" y="14"/>
                  </a:lnTo>
                  <a:lnTo>
                    <a:pt x="2047" y="14"/>
                  </a:lnTo>
                  <a:lnTo>
                    <a:pt x="2042" y="14"/>
                  </a:lnTo>
                  <a:lnTo>
                    <a:pt x="2042" y="14"/>
                  </a:lnTo>
                  <a:lnTo>
                    <a:pt x="2047" y="14"/>
                  </a:lnTo>
                  <a:lnTo>
                    <a:pt x="2042" y="14"/>
                  </a:lnTo>
                  <a:lnTo>
                    <a:pt x="2042" y="14"/>
                  </a:lnTo>
                  <a:lnTo>
                    <a:pt x="2042" y="14"/>
                  </a:lnTo>
                  <a:lnTo>
                    <a:pt x="2042" y="14"/>
                  </a:lnTo>
                  <a:lnTo>
                    <a:pt x="2042" y="14"/>
                  </a:lnTo>
                  <a:lnTo>
                    <a:pt x="2037" y="9"/>
                  </a:lnTo>
                  <a:lnTo>
                    <a:pt x="2037" y="9"/>
                  </a:lnTo>
                  <a:lnTo>
                    <a:pt x="2033" y="9"/>
                  </a:lnTo>
                  <a:lnTo>
                    <a:pt x="2033" y="9"/>
                  </a:lnTo>
                  <a:lnTo>
                    <a:pt x="2033" y="9"/>
                  </a:lnTo>
                  <a:lnTo>
                    <a:pt x="2033" y="9"/>
                  </a:lnTo>
                  <a:lnTo>
                    <a:pt x="2028" y="9"/>
                  </a:lnTo>
                  <a:lnTo>
                    <a:pt x="2024" y="9"/>
                  </a:lnTo>
                  <a:lnTo>
                    <a:pt x="2019" y="9"/>
                  </a:lnTo>
                  <a:lnTo>
                    <a:pt x="2019" y="9"/>
                  </a:lnTo>
                  <a:lnTo>
                    <a:pt x="2015" y="9"/>
                  </a:lnTo>
                  <a:lnTo>
                    <a:pt x="2010" y="9"/>
                  </a:lnTo>
                  <a:lnTo>
                    <a:pt x="2010" y="14"/>
                  </a:lnTo>
                  <a:lnTo>
                    <a:pt x="2019" y="14"/>
                  </a:lnTo>
                  <a:lnTo>
                    <a:pt x="2019" y="14"/>
                  </a:lnTo>
                  <a:lnTo>
                    <a:pt x="2019" y="14"/>
                  </a:lnTo>
                  <a:lnTo>
                    <a:pt x="2019" y="14"/>
                  </a:lnTo>
                  <a:lnTo>
                    <a:pt x="2015" y="14"/>
                  </a:lnTo>
                  <a:lnTo>
                    <a:pt x="2015" y="14"/>
                  </a:lnTo>
                  <a:lnTo>
                    <a:pt x="2015" y="14"/>
                  </a:lnTo>
                  <a:lnTo>
                    <a:pt x="2010" y="14"/>
                  </a:lnTo>
                  <a:lnTo>
                    <a:pt x="2010" y="14"/>
                  </a:lnTo>
                  <a:lnTo>
                    <a:pt x="2010" y="14"/>
                  </a:lnTo>
                  <a:lnTo>
                    <a:pt x="2006" y="14"/>
                  </a:lnTo>
                  <a:lnTo>
                    <a:pt x="2006" y="14"/>
                  </a:lnTo>
                  <a:lnTo>
                    <a:pt x="2001" y="14"/>
                  </a:lnTo>
                  <a:lnTo>
                    <a:pt x="2001" y="14"/>
                  </a:lnTo>
                  <a:lnTo>
                    <a:pt x="2001" y="14"/>
                  </a:lnTo>
                  <a:lnTo>
                    <a:pt x="2001" y="14"/>
                  </a:lnTo>
                  <a:lnTo>
                    <a:pt x="2001" y="14"/>
                  </a:lnTo>
                  <a:lnTo>
                    <a:pt x="1997" y="14"/>
                  </a:lnTo>
                  <a:lnTo>
                    <a:pt x="1992" y="14"/>
                  </a:lnTo>
                  <a:lnTo>
                    <a:pt x="1988" y="14"/>
                  </a:lnTo>
                  <a:lnTo>
                    <a:pt x="1983" y="14"/>
                  </a:lnTo>
                  <a:lnTo>
                    <a:pt x="1983" y="14"/>
                  </a:lnTo>
                  <a:lnTo>
                    <a:pt x="1979" y="14"/>
                  </a:lnTo>
                  <a:lnTo>
                    <a:pt x="1974" y="14"/>
                  </a:lnTo>
                  <a:lnTo>
                    <a:pt x="1970" y="14"/>
                  </a:lnTo>
                  <a:lnTo>
                    <a:pt x="1965" y="14"/>
                  </a:lnTo>
                  <a:lnTo>
                    <a:pt x="1965" y="18"/>
                  </a:lnTo>
                  <a:lnTo>
                    <a:pt x="1961" y="18"/>
                  </a:lnTo>
                  <a:lnTo>
                    <a:pt x="1956" y="18"/>
                  </a:lnTo>
                  <a:lnTo>
                    <a:pt x="1956" y="18"/>
                  </a:lnTo>
                  <a:lnTo>
                    <a:pt x="1956" y="18"/>
                  </a:lnTo>
                  <a:lnTo>
                    <a:pt x="1956" y="18"/>
                  </a:lnTo>
                  <a:lnTo>
                    <a:pt x="1961" y="18"/>
                  </a:lnTo>
                  <a:lnTo>
                    <a:pt x="1965" y="18"/>
                  </a:lnTo>
                  <a:lnTo>
                    <a:pt x="1965" y="18"/>
                  </a:lnTo>
                  <a:lnTo>
                    <a:pt x="1965" y="18"/>
                  </a:lnTo>
                  <a:lnTo>
                    <a:pt x="1970" y="18"/>
                  </a:lnTo>
                  <a:lnTo>
                    <a:pt x="1970" y="18"/>
                  </a:lnTo>
                  <a:lnTo>
                    <a:pt x="1970" y="18"/>
                  </a:lnTo>
                  <a:lnTo>
                    <a:pt x="1961" y="23"/>
                  </a:lnTo>
                  <a:lnTo>
                    <a:pt x="1961" y="23"/>
                  </a:lnTo>
                  <a:lnTo>
                    <a:pt x="1961" y="23"/>
                  </a:lnTo>
                  <a:lnTo>
                    <a:pt x="1961" y="23"/>
                  </a:lnTo>
                  <a:lnTo>
                    <a:pt x="1979" y="23"/>
                  </a:lnTo>
                  <a:lnTo>
                    <a:pt x="1983" y="23"/>
                  </a:lnTo>
                  <a:lnTo>
                    <a:pt x="1983" y="23"/>
                  </a:lnTo>
                  <a:lnTo>
                    <a:pt x="1988" y="23"/>
                  </a:lnTo>
                  <a:lnTo>
                    <a:pt x="1988" y="23"/>
                  </a:lnTo>
                  <a:lnTo>
                    <a:pt x="1983" y="23"/>
                  </a:lnTo>
                  <a:lnTo>
                    <a:pt x="1979" y="23"/>
                  </a:lnTo>
                  <a:lnTo>
                    <a:pt x="1974" y="23"/>
                  </a:lnTo>
                  <a:lnTo>
                    <a:pt x="1970" y="23"/>
                  </a:lnTo>
                  <a:lnTo>
                    <a:pt x="1965" y="23"/>
                  </a:lnTo>
                  <a:lnTo>
                    <a:pt x="1965" y="23"/>
                  </a:lnTo>
                  <a:lnTo>
                    <a:pt x="1970" y="27"/>
                  </a:lnTo>
                  <a:lnTo>
                    <a:pt x="1970" y="27"/>
                  </a:lnTo>
                  <a:lnTo>
                    <a:pt x="1965" y="27"/>
                  </a:lnTo>
                  <a:lnTo>
                    <a:pt x="1961" y="27"/>
                  </a:lnTo>
                  <a:lnTo>
                    <a:pt x="1961" y="27"/>
                  </a:lnTo>
                  <a:lnTo>
                    <a:pt x="1961" y="27"/>
                  </a:lnTo>
                  <a:lnTo>
                    <a:pt x="1961" y="27"/>
                  </a:lnTo>
                  <a:lnTo>
                    <a:pt x="1961" y="32"/>
                  </a:lnTo>
                  <a:lnTo>
                    <a:pt x="1965" y="27"/>
                  </a:lnTo>
                  <a:lnTo>
                    <a:pt x="1983" y="32"/>
                  </a:lnTo>
                  <a:lnTo>
                    <a:pt x="1988" y="27"/>
                  </a:lnTo>
                  <a:lnTo>
                    <a:pt x="1997" y="27"/>
                  </a:lnTo>
                  <a:lnTo>
                    <a:pt x="2001" y="27"/>
                  </a:lnTo>
                  <a:lnTo>
                    <a:pt x="2001" y="27"/>
                  </a:lnTo>
                  <a:lnTo>
                    <a:pt x="2006" y="27"/>
                  </a:lnTo>
                  <a:lnTo>
                    <a:pt x="2001" y="27"/>
                  </a:lnTo>
                  <a:lnTo>
                    <a:pt x="1992" y="32"/>
                  </a:lnTo>
                  <a:lnTo>
                    <a:pt x="1988" y="32"/>
                  </a:lnTo>
                  <a:lnTo>
                    <a:pt x="1983" y="32"/>
                  </a:lnTo>
                  <a:lnTo>
                    <a:pt x="1979" y="32"/>
                  </a:lnTo>
                  <a:lnTo>
                    <a:pt x="1970" y="32"/>
                  </a:lnTo>
                  <a:lnTo>
                    <a:pt x="1961" y="32"/>
                  </a:lnTo>
                  <a:lnTo>
                    <a:pt x="1961" y="32"/>
                  </a:lnTo>
                  <a:lnTo>
                    <a:pt x="1961" y="32"/>
                  </a:lnTo>
                  <a:lnTo>
                    <a:pt x="1961" y="32"/>
                  </a:lnTo>
                  <a:lnTo>
                    <a:pt x="1961" y="32"/>
                  </a:lnTo>
                  <a:lnTo>
                    <a:pt x="1961" y="32"/>
                  </a:lnTo>
                  <a:lnTo>
                    <a:pt x="1961" y="36"/>
                  </a:lnTo>
                  <a:lnTo>
                    <a:pt x="1965" y="36"/>
                  </a:lnTo>
                  <a:lnTo>
                    <a:pt x="1965" y="36"/>
                  </a:lnTo>
                  <a:lnTo>
                    <a:pt x="1970" y="36"/>
                  </a:lnTo>
                  <a:lnTo>
                    <a:pt x="1970" y="36"/>
                  </a:lnTo>
                  <a:lnTo>
                    <a:pt x="1974" y="36"/>
                  </a:lnTo>
                  <a:lnTo>
                    <a:pt x="1988" y="32"/>
                  </a:lnTo>
                  <a:lnTo>
                    <a:pt x="1992" y="32"/>
                  </a:lnTo>
                  <a:lnTo>
                    <a:pt x="1992" y="32"/>
                  </a:lnTo>
                  <a:lnTo>
                    <a:pt x="2006" y="32"/>
                  </a:lnTo>
                  <a:lnTo>
                    <a:pt x="2015" y="32"/>
                  </a:lnTo>
                  <a:lnTo>
                    <a:pt x="2015" y="32"/>
                  </a:lnTo>
                  <a:lnTo>
                    <a:pt x="2001" y="32"/>
                  </a:lnTo>
                  <a:lnTo>
                    <a:pt x="1997" y="32"/>
                  </a:lnTo>
                  <a:lnTo>
                    <a:pt x="1992" y="32"/>
                  </a:lnTo>
                  <a:lnTo>
                    <a:pt x="1983" y="36"/>
                  </a:lnTo>
                  <a:lnTo>
                    <a:pt x="1979" y="36"/>
                  </a:lnTo>
                  <a:lnTo>
                    <a:pt x="1979" y="36"/>
                  </a:lnTo>
                  <a:lnTo>
                    <a:pt x="1979" y="36"/>
                  </a:lnTo>
                  <a:lnTo>
                    <a:pt x="1979" y="36"/>
                  </a:lnTo>
                  <a:lnTo>
                    <a:pt x="1979" y="41"/>
                  </a:lnTo>
                  <a:lnTo>
                    <a:pt x="1979" y="41"/>
                  </a:lnTo>
                  <a:lnTo>
                    <a:pt x="1983" y="41"/>
                  </a:lnTo>
                  <a:lnTo>
                    <a:pt x="1988" y="41"/>
                  </a:lnTo>
                  <a:lnTo>
                    <a:pt x="1988" y="41"/>
                  </a:lnTo>
                  <a:lnTo>
                    <a:pt x="1992" y="41"/>
                  </a:lnTo>
                  <a:lnTo>
                    <a:pt x="1997" y="41"/>
                  </a:lnTo>
                  <a:lnTo>
                    <a:pt x="1997" y="41"/>
                  </a:lnTo>
                  <a:lnTo>
                    <a:pt x="2001" y="41"/>
                  </a:lnTo>
                  <a:lnTo>
                    <a:pt x="2001" y="36"/>
                  </a:lnTo>
                  <a:lnTo>
                    <a:pt x="2006" y="36"/>
                  </a:lnTo>
                  <a:lnTo>
                    <a:pt x="2010" y="36"/>
                  </a:lnTo>
                  <a:lnTo>
                    <a:pt x="2015" y="36"/>
                  </a:lnTo>
                  <a:lnTo>
                    <a:pt x="2019" y="36"/>
                  </a:lnTo>
                  <a:lnTo>
                    <a:pt x="2015" y="36"/>
                  </a:lnTo>
                  <a:lnTo>
                    <a:pt x="2010" y="41"/>
                  </a:lnTo>
                  <a:lnTo>
                    <a:pt x="2006" y="41"/>
                  </a:lnTo>
                  <a:lnTo>
                    <a:pt x="2010" y="41"/>
                  </a:lnTo>
                  <a:lnTo>
                    <a:pt x="2010" y="41"/>
                  </a:lnTo>
                  <a:lnTo>
                    <a:pt x="2019" y="41"/>
                  </a:lnTo>
                  <a:lnTo>
                    <a:pt x="2024" y="41"/>
                  </a:lnTo>
                  <a:lnTo>
                    <a:pt x="2024" y="41"/>
                  </a:lnTo>
                  <a:lnTo>
                    <a:pt x="2037" y="36"/>
                  </a:lnTo>
                  <a:lnTo>
                    <a:pt x="2042" y="36"/>
                  </a:lnTo>
                  <a:lnTo>
                    <a:pt x="2042" y="36"/>
                  </a:lnTo>
                  <a:lnTo>
                    <a:pt x="2042" y="36"/>
                  </a:lnTo>
                  <a:lnTo>
                    <a:pt x="2047" y="36"/>
                  </a:lnTo>
                  <a:lnTo>
                    <a:pt x="2047" y="32"/>
                  </a:lnTo>
                  <a:lnTo>
                    <a:pt x="2051" y="32"/>
                  </a:lnTo>
                  <a:lnTo>
                    <a:pt x="2051" y="32"/>
                  </a:lnTo>
                  <a:lnTo>
                    <a:pt x="2051" y="32"/>
                  </a:lnTo>
                  <a:lnTo>
                    <a:pt x="2056" y="32"/>
                  </a:lnTo>
                  <a:lnTo>
                    <a:pt x="2056" y="32"/>
                  </a:lnTo>
                  <a:lnTo>
                    <a:pt x="2060" y="32"/>
                  </a:lnTo>
                  <a:lnTo>
                    <a:pt x="2065" y="32"/>
                  </a:lnTo>
                  <a:lnTo>
                    <a:pt x="2078" y="27"/>
                  </a:lnTo>
                  <a:lnTo>
                    <a:pt x="2074" y="27"/>
                  </a:lnTo>
                  <a:lnTo>
                    <a:pt x="2069" y="32"/>
                  </a:lnTo>
                  <a:lnTo>
                    <a:pt x="2060" y="32"/>
                  </a:lnTo>
                  <a:lnTo>
                    <a:pt x="2056" y="32"/>
                  </a:lnTo>
                  <a:lnTo>
                    <a:pt x="2056" y="36"/>
                  </a:lnTo>
                  <a:lnTo>
                    <a:pt x="2051" y="36"/>
                  </a:lnTo>
                  <a:lnTo>
                    <a:pt x="2051" y="36"/>
                  </a:lnTo>
                  <a:lnTo>
                    <a:pt x="2051" y="36"/>
                  </a:lnTo>
                  <a:lnTo>
                    <a:pt x="2056" y="36"/>
                  </a:lnTo>
                  <a:lnTo>
                    <a:pt x="2065" y="36"/>
                  </a:lnTo>
                  <a:lnTo>
                    <a:pt x="2065" y="36"/>
                  </a:lnTo>
                  <a:lnTo>
                    <a:pt x="2065" y="36"/>
                  </a:lnTo>
                  <a:lnTo>
                    <a:pt x="2065" y="36"/>
                  </a:lnTo>
                  <a:lnTo>
                    <a:pt x="2065" y="36"/>
                  </a:lnTo>
                  <a:lnTo>
                    <a:pt x="2060" y="36"/>
                  </a:lnTo>
                  <a:lnTo>
                    <a:pt x="2051" y="41"/>
                  </a:lnTo>
                  <a:lnTo>
                    <a:pt x="2037" y="41"/>
                  </a:lnTo>
                  <a:lnTo>
                    <a:pt x="2037" y="41"/>
                  </a:lnTo>
                  <a:lnTo>
                    <a:pt x="2033" y="41"/>
                  </a:lnTo>
                  <a:lnTo>
                    <a:pt x="2024" y="45"/>
                  </a:lnTo>
                  <a:lnTo>
                    <a:pt x="2006" y="45"/>
                  </a:lnTo>
                  <a:lnTo>
                    <a:pt x="2006" y="45"/>
                  </a:lnTo>
                  <a:lnTo>
                    <a:pt x="2001" y="45"/>
                  </a:lnTo>
                  <a:lnTo>
                    <a:pt x="2001" y="45"/>
                  </a:lnTo>
                  <a:lnTo>
                    <a:pt x="2001" y="45"/>
                  </a:lnTo>
                  <a:lnTo>
                    <a:pt x="2001" y="50"/>
                  </a:lnTo>
                  <a:lnTo>
                    <a:pt x="2006" y="50"/>
                  </a:lnTo>
                  <a:lnTo>
                    <a:pt x="2006" y="54"/>
                  </a:lnTo>
                  <a:lnTo>
                    <a:pt x="2006" y="54"/>
                  </a:lnTo>
                  <a:lnTo>
                    <a:pt x="2006" y="54"/>
                  </a:lnTo>
                  <a:lnTo>
                    <a:pt x="2006" y="54"/>
                  </a:lnTo>
                  <a:lnTo>
                    <a:pt x="2010" y="59"/>
                  </a:lnTo>
                  <a:lnTo>
                    <a:pt x="2010" y="59"/>
                  </a:lnTo>
                  <a:lnTo>
                    <a:pt x="2015" y="59"/>
                  </a:lnTo>
                  <a:lnTo>
                    <a:pt x="2010" y="59"/>
                  </a:lnTo>
                  <a:lnTo>
                    <a:pt x="2010" y="59"/>
                  </a:lnTo>
                  <a:lnTo>
                    <a:pt x="2006" y="59"/>
                  </a:lnTo>
                  <a:lnTo>
                    <a:pt x="2006" y="59"/>
                  </a:lnTo>
                  <a:lnTo>
                    <a:pt x="2001" y="59"/>
                  </a:lnTo>
                  <a:lnTo>
                    <a:pt x="2001" y="54"/>
                  </a:lnTo>
                  <a:lnTo>
                    <a:pt x="2001" y="54"/>
                  </a:lnTo>
                  <a:lnTo>
                    <a:pt x="1997" y="54"/>
                  </a:lnTo>
                  <a:lnTo>
                    <a:pt x="1997" y="50"/>
                  </a:lnTo>
                  <a:lnTo>
                    <a:pt x="1997" y="50"/>
                  </a:lnTo>
                  <a:lnTo>
                    <a:pt x="1997" y="50"/>
                  </a:lnTo>
                  <a:lnTo>
                    <a:pt x="1997" y="45"/>
                  </a:lnTo>
                  <a:lnTo>
                    <a:pt x="1992" y="45"/>
                  </a:lnTo>
                  <a:lnTo>
                    <a:pt x="1992" y="45"/>
                  </a:lnTo>
                  <a:lnTo>
                    <a:pt x="1988" y="45"/>
                  </a:lnTo>
                  <a:lnTo>
                    <a:pt x="1983" y="45"/>
                  </a:lnTo>
                  <a:lnTo>
                    <a:pt x="1974" y="41"/>
                  </a:lnTo>
                  <a:lnTo>
                    <a:pt x="1970" y="45"/>
                  </a:lnTo>
                  <a:lnTo>
                    <a:pt x="1965" y="45"/>
                  </a:lnTo>
                  <a:lnTo>
                    <a:pt x="1965" y="50"/>
                  </a:lnTo>
                  <a:lnTo>
                    <a:pt x="1961" y="50"/>
                  </a:lnTo>
                  <a:lnTo>
                    <a:pt x="1961" y="54"/>
                  </a:lnTo>
                  <a:lnTo>
                    <a:pt x="1961" y="54"/>
                  </a:lnTo>
                  <a:lnTo>
                    <a:pt x="1965" y="54"/>
                  </a:lnTo>
                  <a:lnTo>
                    <a:pt x="1970" y="54"/>
                  </a:lnTo>
                  <a:lnTo>
                    <a:pt x="1970" y="54"/>
                  </a:lnTo>
                  <a:lnTo>
                    <a:pt x="1970" y="59"/>
                  </a:lnTo>
                  <a:lnTo>
                    <a:pt x="1970" y="59"/>
                  </a:lnTo>
                  <a:lnTo>
                    <a:pt x="1970" y="63"/>
                  </a:lnTo>
                  <a:lnTo>
                    <a:pt x="1970" y="63"/>
                  </a:lnTo>
                  <a:lnTo>
                    <a:pt x="1970" y="63"/>
                  </a:lnTo>
                  <a:lnTo>
                    <a:pt x="1970" y="63"/>
                  </a:lnTo>
                  <a:lnTo>
                    <a:pt x="1970" y="68"/>
                  </a:lnTo>
                  <a:lnTo>
                    <a:pt x="1970" y="63"/>
                  </a:lnTo>
                  <a:lnTo>
                    <a:pt x="1965" y="63"/>
                  </a:lnTo>
                  <a:lnTo>
                    <a:pt x="1965" y="63"/>
                  </a:lnTo>
                  <a:lnTo>
                    <a:pt x="1965" y="63"/>
                  </a:lnTo>
                  <a:lnTo>
                    <a:pt x="1961" y="63"/>
                  </a:lnTo>
                  <a:lnTo>
                    <a:pt x="1961" y="63"/>
                  </a:lnTo>
                  <a:lnTo>
                    <a:pt x="1961" y="68"/>
                  </a:lnTo>
                  <a:lnTo>
                    <a:pt x="1961" y="68"/>
                  </a:lnTo>
                  <a:lnTo>
                    <a:pt x="1961" y="68"/>
                  </a:lnTo>
                  <a:lnTo>
                    <a:pt x="1965" y="68"/>
                  </a:lnTo>
                  <a:lnTo>
                    <a:pt x="1965" y="68"/>
                  </a:lnTo>
                  <a:lnTo>
                    <a:pt x="1974" y="68"/>
                  </a:lnTo>
                  <a:lnTo>
                    <a:pt x="1974" y="68"/>
                  </a:lnTo>
                  <a:lnTo>
                    <a:pt x="1979" y="68"/>
                  </a:lnTo>
                  <a:lnTo>
                    <a:pt x="1979" y="68"/>
                  </a:lnTo>
                  <a:lnTo>
                    <a:pt x="1983" y="68"/>
                  </a:lnTo>
                  <a:lnTo>
                    <a:pt x="1983" y="68"/>
                  </a:lnTo>
                  <a:lnTo>
                    <a:pt x="1983" y="68"/>
                  </a:lnTo>
                  <a:lnTo>
                    <a:pt x="1983" y="68"/>
                  </a:lnTo>
                  <a:lnTo>
                    <a:pt x="1983" y="68"/>
                  </a:lnTo>
                  <a:lnTo>
                    <a:pt x="1979" y="68"/>
                  </a:lnTo>
                  <a:lnTo>
                    <a:pt x="1979" y="68"/>
                  </a:lnTo>
                  <a:lnTo>
                    <a:pt x="1974" y="68"/>
                  </a:lnTo>
                  <a:lnTo>
                    <a:pt x="1970" y="68"/>
                  </a:lnTo>
                  <a:lnTo>
                    <a:pt x="1970" y="72"/>
                  </a:lnTo>
                  <a:lnTo>
                    <a:pt x="1965" y="72"/>
                  </a:lnTo>
                  <a:lnTo>
                    <a:pt x="1965" y="72"/>
                  </a:lnTo>
                  <a:lnTo>
                    <a:pt x="1965" y="68"/>
                  </a:lnTo>
                  <a:lnTo>
                    <a:pt x="1961" y="68"/>
                  </a:lnTo>
                  <a:lnTo>
                    <a:pt x="1956" y="68"/>
                  </a:lnTo>
                  <a:lnTo>
                    <a:pt x="1956" y="68"/>
                  </a:lnTo>
                  <a:lnTo>
                    <a:pt x="1952" y="68"/>
                  </a:lnTo>
                  <a:lnTo>
                    <a:pt x="1947" y="68"/>
                  </a:lnTo>
                  <a:lnTo>
                    <a:pt x="1943" y="68"/>
                  </a:lnTo>
                  <a:lnTo>
                    <a:pt x="1934" y="68"/>
                  </a:lnTo>
                  <a:lnTo>
                    <a:pt x="1934" y="72"/>
                  </a:lnTo>
                  <a:lnTo>
                    <a:pt x="1929" y="72"/>
                  </a:lnTo>
                  <a:lnTo>
                    <a:pt x="1925" y="72"/>
                  </a:lnTo>
                  <a:lnTo>
                    <a:pt x="1920" y="72"/>
                  </a:lnTo>
                  <a:lnTo>
                    <a:pt x="1920" y="77"/>
                  </a:lnTo>
                  <a:lnTo>
                    <a:pt x="1916" y="77"/>
                  </a:lnTo>
                  <a:lnTo>
                    <a:pt x="1916" y="81"/>
                  </a:lnTo>
                  <a:lnTo>
                    <a:pt x="1920" y="81"/>
                  </a:lnTo>
                  <a:lnTo>
                    <a:pt x="1925" y="81"/>
                  </a:lnTo>
                  <a:lnTo>
                    <a:pt x="1925" y="77"/>
                  </a:lnTo>
                  <a:lnTo>
                    <a:pt x="1934" y="77"/>
                  </a:lnTo>
                  <a:lnTo>
                    <a:pt x="1934" y="77"/>
                  </a:lnTo>
                  <a:lnTo>
                    <a:pt x="1929" y="81"/>
                  </a:lnTo>
                  <a:lnTo>
                    <a:pt x="1925" y="81"/>
                  </a:lnTo>
                  <a:lnTo>
                    <a:pt x="1934" y="81"/>
                  </a:lnTo>
                  <a:lnTo>
                    <a:pt x="1934" y="81"/>
                  </a:lnTo>
                  <a:lnTo>
                    <a:pt x="1938" y="81"/>
                  </a:lnTo>
                  <a:lnTo>
                    <a:pt x="1943" y="77"/>
                  </a:lnTo>
                  <a:lnTo>
                    <a:pt x="1947" y="72"/>
                  </a:lnTo>
                  <a:lnTo>
                    <a:pt x="1943" y="77"/>
                  </a:lnTo>
                  <a:lnTo>
                    <a:pt x="1947" y="77"/>
                  </a:lnTo>
                  <a:lnTo>
                    <a:pt x="1947" y="81"/>
                  </a:lnTo>
                  <a:lnTo>
                    <a:pt x="1947" y="81"/>
                  </a:lnTo>
                  <a:lnTo>
                    <a:pt x="1943" y="81"/>
                  </a:lnTo>
                  <a:lnTo>
                    <a:pt x="1943" y="81"/>
                  </a:lnTo>
                  <a:lnTo>
                    <a:pt x="1938" y="81"/>
                  </a:lnTo>
                  <a:lnTo>
                    <a:pt x="1934" y="81"/>
                  </a:lnTo>
                  <a:lnTo>
                    <a:pt x="1929" y="86"/>
                  </a:lnTo>
                  <a:lnTo>
                    <a:pt x="1929" y="86"/>
                  </a:lnTo>
                  <a:lnTo>
                    <a:pt x="1925" y="90"/>
                  </a:lnTo>
                  <a:lnTo>
                    <a:pt x="1925" y="90"/>
                  </a:lnTo>
                  <a:lnTo>
                    <a:pt x="1929" y="90"/>
                  </a:lnTo>
                  <a:lnTo>
                    <a:pt x="1934" y="90"/>
                  </a:lnTo>
                  <a:lnTo>
                    <a:pt x="1934" y="90"/>
                  </a:lnTo>
                  <a:lnTo>
                    <a:pt x="1938" y="90"/>
                  </a:lnTo>
                  <a:lnTo>
                    <a:pt x="1938" y="90"/>
                  </a:lnTo>
                  <a:lnTo>
                    <a:pt x="1943" y="90"/>
                  </a:lnTo>
                  <a:lnTo>
                    <a:pt x="1943" y="90"/>
                  </a:lnTo>
                  <a:lnTo>
                    <a:pt x="1956" y="86"/>
                  </a:lnTo>
                  <a:lnTo>
                    <a:pt x="1956" y="86"/>
                  </a:lnTo>
                  <a:lnTo>
                    <a:pt x="1956" y="86"/>
                  </a:lnTo>
                  <a:lnTo>
                    <a:pt x="1956" y="86"/>
                  </a:lnTo>
                  <a:lnTo>
                    <a:pt x="1952" y="86"/>
                  </a:lnTo>
                  <a:lnTo>
                    <a:pt x="1952" y="90"/>
                  </a:lnTo>
                  <a:lnTo>
                    <a:pt x="1943" y="90"/>
                  </a:lnTo>
                  <a:lnTo>
                    <a:pt x="1938" y="90"/>
                  </a:lnTo>
                  <a:lnTo>
                    <a:pt x="1938" y="95"/>
                  </a:lnTo>
                  <a:lnTo>
                    <a:pt x="1938" y="95"/>
                  </a:lnTo>
                  <a:lnTo>
                    <a:pt x="1934" y="95"/>
                  </a:lnTo>
                  <a:lnTo>
                    <a:pt x="1934" y="95"/>
                  </a:lnTo>
                  <a:lnTo>
                    <a:pt x="1929" y="95"/>
                  </a:lnTo>
                  <a:lnTo>
                    <a:pt x="1925" y="95"/>
                  </a:lnTo>
                  <a:lnTo>
                    <a:pt x="1925" y="95"/>
                  </a:lnTo>
                  <a:lnTo>
                    <a:pt x="1920" y="90"/>
                  </a:lnTo>
                  <a:lnTo>
                    <a:pt x="1920" y="90"/>
                  </a:lnTo>
                  <a:lnTo>
                    <a:pt x="1920" y="90"/>
                  </a:lnTo>
                  <a:lnTo>
                    <a:pt x="1920" y="86"/>
                  </a:lnTo>
                  <a:lnTo>
                    <a:pt x="1920" y="86"/>
                  </a:lnTo>
                  <a:lnTo>
                    <a:pt x="1916" y="86"/>
                  </a:lnTo>
                  <a:lnTo>
                    <a:pt x="1916" y="86"/>
                  </a:lnTo>
                  <a:lnTo>
                    <a:pt x="1911" y="81"/>
                  </a:lnTo>
                  <a:lnTo>
                    <a:pt x="1911" y="86"/>
                  </a:lnTo>
                  <a:lnTo>
                    <a:pt x="1906" y="86"/>
                  </a:lnTo>
                  <a:lnTo>
                    <a:pt x="1902" y="86"/>
                  </a:lnTo>
                  <a:lnTo>
                    <a:pt x="1902" y="86"/>
                  </a:lnTo>
                  <a:lnTo>
                    <a:pt x="1902" y="86"/>
                  </a:lnTo>
                  <a:lnTo>
                    <a:pt x="1902" y="90"/>
                  </a:lnTo>
                  <a:lnTo>
                    <a:pt x="1897" y="90"/>
                  </a:lnTo>
                  <a:lnTo>
                    <a:pt x="1897" y="90"/>
                  </a:lnTo>
                  <a:lnTo>
                    <a:pt x="1902" y="95"/>
                  </a:lnTo>
                  <a:lnTo>
                    <a:pt x="1902" y="95"/>
                  </a:lnTo>
                  <a:lnTo>
                    <a:pt x="1902" y="95"/>
                  </a:lnTo>
                  <a:lnTo>
                    <a:pt x="1902" y="95"/>
                  </a:lnTo>
                  <a:lnTo>
                    <a:pt x="1902" y="95"/>
                  </a:lnTo>
                  <a:lnTo>
                    <a:pt x="1902" y="95"/>
                  </a:lnTo>
                  <a:lnTo>
                    <a:pt x="1902" y="95"/>
                  </a:lnTo>
                  <a:lnTo>
                    <a:pt x="1897" y="95"/>
                  </a:lnTo>
                  <a:lnTo>
                    <a:pt x="1897" y="95"/>
                  </a:lnTo>
                  <a:lnTo>
                    <a:pt x="1893" y="95"/>
                  </a:lnTo>
                  <a:lnTo>
                    <a:pt x="1893" y="95"/>
                  </a:lnTo>
                  <a:lnTo>
                    <a:pt x="1888" y="95"/>
                  </a:lnTo>
                  <a:lnTo>
                    <a:pt x="1884" y="95"/>
                  </a:lnTo>
                  <a:lnTo>
                    <a:pt x="1884" y="95"/>
                  </a:lnTo>
                  <a:lnTo>
                    <a:pt x="1879" y="100"/>
                  </a:lnTo>
                  <a:lnTo>
                    <a:pt x="1870" y="100"/>
                  </a:lnTo>
                  <a:lnTo>
                    <a:pt x="1866" y="104"/>
                  </a:lnTo>
                  <a:lnTo>
                    <a:pt x="1861" y="104"/>
                  </a:lnTo>
                  <a:lnTo>
                    <a:pt x="1866" y="109"/>
                  </a:lnTo>
                  <a:lnTo>
                    <a:pt x="1870" y="109"/>
                  </a:lnTo>
                  <a:close/>
                  <a:moveTo>
                    <a:pt x="1988" y="298"/>
                  </a:moveTo>
                  <a:lnTo>
                    <a:pt x="1992" y="303"/>
                  </a:lnTo>
                  <a:lnTo>
                    <a:pt x="1992" y="303"/>
                  </a:lnTo>
                  <a:lnTo>
                    <a:pt x="1992" y="303"/>
                  </a:lnTo>
                  <a:lnTo>
                    <a:pt x="1997" y="303"/>
                  </a:lnTo>
                  <a:lnTo>
                    <a:pt x="1997" y="303"/>
                  </a:lnTo>
                  <a:lnTo>
                    <a:pt x="1997" y="298"/>
                  </a:lnTo>
                  <a:lnTo>
                    <a:pt x="1997" y="298"/>
                  </a:lnTo>
                  <a:lnTo>
                    <a:pt x="1992" y="294"/>
                  </a:lnTo>
                  <a:lnTo>
                    <a:pt x="1992" y="294"/>
                  </a:lnTo>
                  <a:lnTo>
                    <a:pt x="1992" y="294"/>
                  </a:lnTo>
                  <a:lnTo>
                    <a:pt x="1988" y="294"/>
                  </a:lnTo>
                  <a:lnTo>
                    <a:pt x="1983" y="294"/>
                  </a:lnTo>
                  <a:lnTo>
                    <a:pt x="1983" y="294"/>
                  </a:lnTo>
                  <a:lnTo>
                    <a:pt x="1983" y="294"/>
                  </a:lnTo>
                  <a:lnTo>
                    <a:pt x="1983" y="294"/>
                  </a:lnTo>
                  <a:lnTo>
                    <a:pt x="1983" y="294"/>
                  </a:lnTo>
                  <a:lnTo>
                    <a:pt x="1979" y="294"/>
                  </a:lnTo>
                  <a:lnTo>
                    <a:pt x="1974" y="294"/>
                  </a:lnTo>
                  <a:lnTo>
                    <a:pt x="1970" y="298"/>
                  </a:lnTo>
                  <a:lnTo>
                    <a:pt x="1970" y="298"/>
                  </a:lnTo>
                  <a:lnTo>
                    <a:pt x="1979" y="294"/>
                  </a:lnTo>
                  <a:lnTo>
                    <a:pt x="1979" y="294"/>
                  </a:lnTo>
                  <a:lnTo>
                    <a:pt x="1979" y="294"/>
                  </a:lnTo>
                  <a:lnTo>
                    <a:pt x="1979" y="289"/>
                  </a:lnTo>
                  <a:lnTo>
                    <a:pt x="1983" y="289"/>
                  </a:lnTo>
                  <a:lnTo>
                    <a:pt x="1983" y="289"/>
                  </a:lnTo>
                  <a:lnTo>
                    <a:pt x="1983" y="289"/>
                  </a:lnTo>
                  <a:lnTo>
                    <a:pt x="1979" y="285"/>
                  </a:lnTo>
                  <a:lnTo>
                    <a:pt x="1979" y="285"/>
                  </a:lnTo>
                  <a:lnTo>
                    <a:pt x="1979" y="285"/>
                  </a:lnTo>
                  <a:lnTo>
                    <a:pt x="1974" y="289"/>
                  </a:lnTo>
                  <a:lnTo>
                    <a:pt x="1974" y="289"/>
                  </a:lnTo>
                  <a:lnTo>
                    <a:pt x="1974" y="289"/>
                  </a:lnTo>
                  <a:lnTo>
                    <a:pt x="1970" y="289"/>
                  </a:lnTo>
                  <a:lnTo>
                    <a:pt x="1970" y="289"/>
                  </a:lnTo>
                  <a:lnTo>
                    <a:pt x="1970" y="289"/>
                  </a:lnTo>
                  <a:lnTo>
                    <a:pt x="1965" y="285"/>
                  </a:lnTo>
                  <a:lnTo>
                    <a:pt x="1965" y="285"/>
                  </a:lnTo>
                  <a:lnTo>
                    <a:pt x="1970" y="285"/>
                  </a:lnTo>
                  <a:lnTo>
                    <a:pt x="1970" y="285"/>
                  </a:lnTo>
                  <a:lnTo>
                    <a:pt x="1970" y="285"/>
                  </a:lnTo>
                  <a:lnTo>
                    <a:pt x="1974" y="285"/>
                  </a:lnTo>
                  <a:lnTo>
                    <a:pt x="1974" y="285"/>
                  </a:lnTo>
                  <a:lnTo>
                    <a:pt x="1979" y="285"/>
                  </a:lnTo>
                  <a:lnTo>
                    <a:pt x="1979" y="280"/>
                  </a:lnTo>
                  <a:lnTo>
                    <a:pt x="1974" y="280"/>
                  </a:lnTo>
                  <a:lnTo>
                    <a:pt x="1974" y="280"/>
                  </a:lnTo>
                  <a:lnTo>
                    <a:pt x="1974" y="276"/>
                  </a:lnTo>
                  <a:lnTo>
                    <a:pt x="1974" y="276"/>
                  </a:lnTo>
                  <a:lnTo>
                    <a:pt x="1970" y="276"/>
                  </a:lnTo>
                  <a:lnTo>
                    <a:pt x="1970" y="276"/>
                  </a:lnTo>
                  <a:lnTo>
                    <a:pt x="1970" y="276"/>
                  </a:lnTo>
                  <a:lnTo>
                    <a:pt x="1970" y="276"/>
                  </a:lnTo>
                  <a:lnTo>
                    <a:pt x="1970" y="276"/>
                  </a:lnTo>
                  <a:lnTo>
                    <a:pt x="1974" y="276"/>
                  </a:lnTo>
                  <a:lnTo>
                    <a:pt x="1974" y="276"/>
                  </a:lnTo>
                  <a:lnTo>
                    <a:pt x="1974" y="271"/>
                  </a:lnTo>
                  <a:lnTo>
                    <a:pt x="1974" y="271"/>
                  </a:lnTo>
                  <a:lnTo>
                    <a:pt x="1970" y="271"/>
                  </a:lnTo>
                  <a:lnTo>
                    <a:pt x="1970" y="276"/>
                  </a:lnTo>
                  <a:lnTo>
                    <a:pt x="1965" y="276"/>
                  </a:lnTo>
                  <a:lnTo>
                    <a:pt x="1965" y="276"/>
                  </a:lnTo>
                  <a:lnTo>
                    <a:pt x="1965" y="280"/>
                  </a:lnTo>
                  <a:lnTo>
                    <a:pt x="1965" y="280"/>
                  </a:lnTo>
                  <a:lnTo>
                    <a:pt x="1961" y="280"/>
                  </a:lnTo>
                  <a:lnTo>
                    <a:pt x="1961" y="276"/>
                  </a:lnTo>
                  <a:lnTo>
                    <a:pt x="1961" y="276"/>
                  </a:lnTo>
                  <a:lnTo>
                    <a:pt x="1965" y="276"/>
                  </a:lnTo>
                  <a:lnTo>
                    <a:pt x="1965" y="276"/>
                  </a:lnTo>
                  <a:lnTo>
                    <a:pt x="1965" y="276"/>
                  </a:lnTo>
                  <a:lnTo>
                    <a:pt x="1965" y="276"/>
                  </a:lnTo>
                  <a:lnTo>
                    <a:pt x="1961" y="276"/>
                  </a:lnTo>
                  <a:lnTo>
                    <a:pt x="1961" y="276"/>
                  </a:lnTo>
                  <a:lnTo>
                    <a:pt x="1961" y="276"/>
                  </a:lnTo>
                  <a:lnTo>
                    <a:pt x="1961" y="271"/>
                  </a:lnTo>
                  <a:lnTo>
                    <a:pt x="1961" y="271"/>
                  </a:lnTo>
                  <a:lnTo>
                    <a:pt x="1961" y="271"/>
                  </a:lnTo>
                  <a:lnTo>
                    <a:pt x="1956" y="276"/>
                  </a:lnTo>
                  <a:lnTo>
                    <a:pt x="1956" y="276"/>
                  </a:lnTo>
                  <a:lnTo>
                    <a:pt x="1952" y="276"/>
                  </a:lnTo>
                  <a:lnTo>
                    <a:pt x="1952" y="276"/>
                  </a:lnTo>
                  <a:lnTo>
                    <a:pt x="1952" y="276"/>
                  </a:lnTo>
                  <a:lnTo>
                    <a:pt x="1952" y="276"/>
                  </a:lnTo>
                  <a:lnTo>
                    <a:pt x="1956" y="276"/>
                  </a:lnTo>
                  <a:lnTo>
                    <a:pt x="1956" y="271"/>
                  </a:lnTo>
                  <a:lnTo>
                    <a:pt x="1961" y="271"/>
                  </a:lnTo>
                  <a:lnTo>
                    <a:pt x="1961" y="267"/>
                  </a:lnTo>
                  <a:lnTo>
                    <a:pt x="1956" y="267"/>
                  </a:lnTo>
                  <a:lnTo>
                    <a:pt x="1956" y="271"/>
                  </a:lnTo>
                  <a:lnTo>
                    <a:pt x="1956" y="271"/>
                  </a:lnTo>
                  <a:lnTo>
                    <a:pt x="1952" y="271"/>
                  </a:lnTo>
                  <a:lnTo>
                    <a:pt x="1952" y="271"/>
                  </a:lnTo>
                  <a:lnTo>
                    <a:pt x="1956" y="271"/>
                  </a:lnTo>
                  <a:lnTo>
                    <a:pt x="1952" y="271"/>
                  </a:lnTo>
                  <a:lnTo>
                    <a:pt x="1952" y="271"/>
                  </a:lnTo>
                  <a:lnTo>
                    <a:pt x="1952" y="271"/>
                  </a:lnTo>
                  <a:lnTo>
                    <a:pt x="1952" y="271"/>
                  </a:lnTo>
                  <a:lnTo>
                    <a:pt x="1952" y="271"/>
                  </a:lnTo>
                  <a:lnTo>
                    <a:pt x="1956" y="267"/>
                  </a:lnTo>
                  <a:lnTo>
                    <a:pt x="1952" y="267"/>
                  </a:lnTo>
                  <a:lnTo>
                    <a:pt x="1952" y="267"/>
                  </a:lnTo>
                  <a:lnTo>
                    <a:pt x="1956" y="267"/>
                  </a:lnTo>
                  <a:lnTo>
                    <a:pt x="1956" y="267"/>
                  </a:lnTo>
                  <a:lnTo>
                    <a:pt x="1961" y="267"/>
                  </a:lnTo>
                  <a:lnTo>
                    <a:pt x="1956" y="262"/>
                  </a:lnTo>
                  <a:lnTo>
                    <a:pt x="1956" y="262"/>
                  </a:lnTo>
                  <a:lnTo>
                    <a:pt x="1956" y="262"/>
                  </a:lnTo>
                  <a:lnTo>
                    <a:pt x="1952" y="262"/>
                  </a:lnTo>
                  <a:lnTo>
                    <a:pt x="1952" y="262"/>
                  </a:lnTo>
                  <a:lnTo>
                    <a:pt x="1952" y="262"/>
                  </a:lnTo>
                  <a:lnTo>
                    <a:pt x="1952" y="262"/>
                  </a:lnTo>
                  <a:lnTo>
                    <a:pt x="1947" y="262"/>
                  </a:lnTo>
                  <a:lnTo>
                    <a:pt x="1947" y="262"/>
                  </a:lnTo>
                  <a:lnTo>
                    <a:pt x="1947" y="262"/>
                  </a:lnTo>
                  <a:lnTo>
                    <a:pt x="1947" y="262"/>
                  </a:lnTo>
                  <a:lnTo>
                    <a:pt x="1947" y="262"/>
                  </a:lnTo>
                  <a:lnTo>
                    <a:pt x="1943" y="262"/>
                  </a:lnTo>
                  <a:lnTo>
                    <a:pt x="1947" y="258"/>
                  </a:lnTo>
                  <a:lnTo>
                    <a:pt x="1947" y="258"/>
                  </a:lnTo>
                  <a:lnTo>
                    <a:pt x="1943" y="258"/>
                  </a:lnTo>
                  <a:lnTo>
                    <a:pt x="1943" y="258"/>
                  </a:lnTo>
                  <a:lnTo>
                    <a:pt x="1938" y="258"/>
                  </a:lnTo>
                  <a:lnTo>
                    <a:pt x="1934" y="253"/>
                  </a:lnTo>
                  <a:lnTo>
                    <a:pt x="1934" y="253"/>
                  </a:lnTo>
                  <a:lnTo>
                    <a:pt x="1934" y="253"/>
                  </a:lnTo>
                  <a:lnTo>
                    <a:pt x="1938" y="253"/>
                  </a:lnTo>
                  <a:lnTo>
                    <a:pt x="1943" y="258"/>
                  </a:lnTo>
                  <a:lnTo>
                    <a:pt x="1943" y="258"/>
                  </a:lnTo>
                  <a:lnTo>
                    <a:pt x="1943" y="258"/>
                  </a:lnTo>
                  <a:lnTo>
                    <a:pt x="1943" y="258"/>
                  </a:lnTo>
                  <a:lnTo>
                    <a:pt x="1947" y="258"/>
                  </a:lnTo>
                  <a:lnTo>
                    <a:pt x="1947" y="258"/>
                  </a:lnTo>
                  <a:lnTo>
                    <a:pt x="1952" y="258"/>
                  </a:lnTo>
                  <a:lnTo>
                    <a:pt x="1952" y="258"/>
                  </a:lnTo>
                  <a:lnTo>
                    <a:pt x="1952" y="253"/>
                  </a:lnTo>
                  <a:lnTo>
                    <a:pt x="1956" y="253"/>
                  </a:lnTo>
                  <a:lnTo>
                    <a:pt x="1956" y="253"/>
                  </a:lnTo>
                  <a:lnTo>
                    <a:pt x="1952" y="253"/>
                  </a:lnTo>
                  <a:lnTo>
                    <a:pt x="1952" y="249"/>
                  </a:lnTo>
                  <a:lnTo>
                    <a:pt x="1952" y="249"/>
                  </a:lnTo>
                  <a:lnTo>
                    <a:pt x="1943" y="253"/>
                  </a:lnTo>
                  <a:lnTo>
                    <a:pt x="1943" y="253"/>
                  </a:lnTo>
                  <a:lnTo>
                    <a:pt x="1947" y="249"/>
                  </a:lnTo>
                  <a:lnTo>
                    <a:pt x="1952" y="249"/>
                  </a:lnTo>
                  <a:lnTo>
                    <a:pt x="1952" y="249"/>
                  </a:lnTo>
                  <a:lnTo>
                    <a:pt x="1956" y="249"/>
                  </a:lnTo>
                  <a:lnTo>
                    <a:pt x="1956" y="249"/>
                  </a:lnTo>
                  <a:lnTo>
                    <a:pt x="1961" y="249"/>
                  </a:lnTo>
                  <a:lnTo>
                    <a:pt x="1961" y="253"/>
                  </a:lnTo>
                  <a:lnTo>
                    <a:pt x="1961" y="249"/>
                  </a:lnTo>
                  <a:lnTo>
                    <a:pt x="1965" y="253"/>
                  </a:lnTo>
                  <a:lnTo>
                    <a:pt x="1970" y="253"/>
                  </a:lnTo>
                  <a:lnTo>
                    <a:pt x="1970" y="253"/>
                  </a:lnTo>
                  <a:lnTo>
                    <a:pt x="1970" y="253"/>
                  </a:lnTo>
                  <a:lnTo>
                    <a:pt x="1970" y="249"/>
                  </a:lnTo>
                  <a:lnTo>
                    <a:pt x="1970" y="249"/>
                  </a:lnTo>
                  <a:lnTo>
                    <a:pt x="1970" y="249"/>
                  </a:lnTo>
                  <a:lnTo>
                    <a:pt x="1970" y="249"/>
                  </a:lnTo>
                  <a:lnTo>
                    <a:pt x="1970" y="249"/>
                  </a:lnTo>
                  <a:lnTo>
                    <a:pt x="1965" y="244"/>
                  </a:lnTo>
                  <a:lnTo>
                    <a:pt x="1965" y="244"/>
                  </a:lnTo>
                  <a:lnTo>
                    <a:pt x="1961" y="244"/>
                  </a:lnTo>
                  <a:lnTo>
                    <a:pt x="1961" y="244"/>
                  </a:lnTo>
                  <a:lnTo>
                    <a:pt x="1961" y="244"/>
                  </a:lnTo>
                  <a:lnTo>
                    <a:pt x="1956" y="244"/>
                  </a:lnTo>
                  <a:lnTo>
                    <a:pt x="1956" y="244"/>
                  </a:lnTo>
                  <a:lnTo>
                    <a:pt x="1952" y="244"/>
                  </a:lnTo>
                  <a:lnTo>
                    <a:pt x="1947" y="244"/>
                  </a:lnTo>
                  <a:lnTo>
                    <a:pt x="1947" y="244"/>
                  </a:lnTo>
                  <a:lnTo>
                    <a:pt x="1947" y="244"/>
                  </a:lnTo>
                  <a:lnTo>
                    <a:pt x="1947" y="244"/>
                  </a:lnTo>
                  <a:lnTo>
                    <a:pt x="1952" y="240"/>
                  </a:lnTo>
                  <a:lnTo>
                    <a:pt x="1956" y="240"/>
                  </a:lnTo>
                  <a:lnTo>
                    <a:pt x="1956" y="240"/>
                  </a:lnTo>
                  <a:lnTo>
                    <a:pt x="1961" y="240"/>
                  </a:lnTo>
                  <a:lnTo>
                    <a:pt x="1961" y="240"/>
                  </a:lnTo>
                  <a:lnTo>
                    <a:pt x="1961" y="240"/>
                  </a:lnTo>
                  <a:lnTo>
                    <a:pt x="1961" y="240"/>
                  </a:lnTo>
                  <a:lnTo>
                    <a:pt x="1965" y="240"/>
                  </a:lnTo>
                  <a:lnTo>
                    <a:pt x="1965" y="240"/>
                  </a:lnTo>
                  <a:lnTo>
                    <a:pt x="1970" y="240"/>
                  </a:lnTo>
                  <a:lnTo>
                    <a:pt x="1970" y="240"/>
                  </a:lnTo>
                  <a:lnTo>
                    <a:pt x="1970" y="240"/>
                  </a:lnTo>
                  <a:lnTo>
                    <a:pt x="1970" y="240"/>
                  </a:lnTo>
                  <a:lnTo>
                    <a:pt x="1974" y="240"/>
                  </a:lnTo>
                  <a:lnTo>
                    <a:pt x="1974" y="240"/>
                  </a:lnTo>
                  <a:lnTo>
                    <a:pt x="1974" y="235"/>
                  </a:lnTo>
                  <a:lnTo>
                    <a:pt x="1974" y="235"/>
                  </a:lnTo>
                  <a:lnTo>
                    <a:pt x="1974" y="231"/>
                  </a:lnTo>
                  <a:lnTo>
                    <a:pt x="1974" y="231"/>
                  </a:lnTo>
                  <a:lnTo>
                    <a:pt x="1970" y="231"/>
                  </a:lnTo>
                  <a:lnTo>
                    <a:pt x="1970" y="231"/>
                  </a:lnTo>
                  <a:lnTo>
                    <a:pt x="1970" y="231"/>
                  </a:lnTo>
                  <a:lnTo>
                    <a:pt x="1965" y="231"/>
                  </a:lnTo>
                  <a:lnTo>
                    <a:pt x="1965" y="231"/>
                  </a:lnTo>
                  <a:lnTo>
                    <a:pt x="1965" y="231"/>
                  </a:lnTo>
                  <a:lnTo>
                    <a:pt x="1965" y="235"/>
                  </a:lnTo>
                  <a:lnTo>
                    <a:pt x="1965" y="235"/>
                  </a:lnTo>
                  <a:lnTo>
                    <a:pt x="1965" y="235"/>
                  </a:lnTo>
                  <a:lnTo>
                    <a:pt x="1965" y="235"/>
                  </a:lnTo>
                  <a:lnTo>
                    <a:pt x="1961" y="235"/>
                  </a:lnTo>
                  <a:lnTo>
                    <a:pt x="1961" y="235"/>
                  </a:lnTo>
                  <a:lnTo>
                    <a:pt x="1961" y="235"/>
                  </a:lnTo>
                  <a:lnTo>
                    <a:pt x="1956" y="235"/>
                  </a:lnTo>
                  <a:lnTo>
                    <a:pt x="1956" y="235"/>
                  </a:lnTo>
                  <a:lnTo>
                    <a:pt x="1956" y="235"/>
                  </a:lnTo>
                  <a:lnTo>
                    <a:pt x="1961" y="235"/>
                  </a:lnTo>
                  <a:lnTo>
                    <a:pt x="1961" y="235"/>
                  </a:lnTo>
                  <a:lnTo>
                    <a:pt x="1961" y="231"/>
                  </a:lnTo>
                  <a:lnTo>
                    <a:pt x="1961" y="231"/>
                  </a:lnTo>
                  <a:lnTo>
                    <a:pt x="1961" y="231"/>
                  </a:lnTo>
                  <a:lnTo>
                    <a:pt x="1961" y="231"/>
                  </a:lnTo>
                  <a:lnTo>
                    <a:pt x="1961" y="231"/>
                  </a:lnTo>
                  <a:lnTo>
                    <a:pt x="1956" y="231"/>
                  </a:lnTo>
                  <a:lnTo>
                    <a:pt x="1952" y="231"/>
                  </a:lnTo>
                  <a:lnTo>
                    <a:pt x="1952" y="231"/>
                  </a:lnTo>
                  <a:lnTo>
                    <a:pt x="1947" y="235"/>
                  </a:lnTo>
                  <a:lnTo>
                    <a:pt x="1947" y="235"/>
                  </a:lnTo>
                  <a:lnTo>
                    <a:pt x="1943" y="235"/>
                  </a:lnTo>
                  <a:lnTo>
                    <a:pt x="1947" y="231"/>
                  </a:lnTo>
                  <a:lnTo>
                    <a:pt x="1952" y="231"/>
                  </a:lnTo>
                  <a:lnTo>
                    <a:pt x="1956" y="231"/>
                  </a:lnTo>
                  <a:lnTo>
                    <a:pt x="1956" y="231"/>
                  </a:lnTo>
                  <a:lnTo>
                    <a:pt x="1961" y="231"/>
                  </a:lnTo>
                  <a:lnTo>
                    <a:pt x="1961" y="231"/>
                  </a:lnTo>
                  <a:lnTo>
                    <a:pt x="1961" y="231"/>
                  </a:lnTo>
                  <a:lnTo>
                    <a:pt x="1965" y="226"/>
                  </a:lnTo>
                  <a:lnTo>
                    <a:pt x="1965" y="226"/>
                  </a:lnTo>
                  <a:lnTo>
                    <a:pt x="1965" y="226"/>
                  </a:lnTo>
                  <a:lnTo>
                    <a:pt x="1970" y="226"/>
                  </a:lnTo>
                  <a:lnTo>
                    <a:pt x="1970" y="226"/>
                  </a:lnTo>
                  <a:lnTo>
                    <a:pt x="1970" y="226"/>
                  </a:lnTo>
                  <a:lnTo>
                    <a:pt x="1970" y="226"/>
                  </a:lnTo>
                  <a:lnTo>
                    <a:pt x="1970" y="226"/>
                  </a:lnTo>
                  <a:lnTo>
                    <a:pt x="1970" y="226"/>
                  </a:lnTo>
                  <a:lnTo>
                    <a:pt x="1965" y="222"/>
                  </a:lnTo>
                  <a:lnTo>
                    <a:pt x="1965" y="222"/>
                  </a:lnTo>
                  <a:lnTo>
                    <a:pt x="1965" y="222"/>
                  </a:lnTo>
                  <a:lnTo>
                    <a:pt x="1965" y="222"/>
                  </a:lnTo>
                  <a:lnTo>
                    <a:pt x="1965" y="222"/>
                  </a:lnTo>
                  <a:lnTo>
                    <a:pt x="1961" y="222"/>
                  </a:lnTo>
                  <a:lnTo>
                    <a:pt x="1961" y="222"/>
                  </a:lnTo>
                  <a:lnTo>
                    <a:pt x="1961" y="217"/>
                  </a:lnTo>
                  <a:lnTo>
                    <a:pt x="1956" y="217"/>
                  </a:lnTo>
                  <a:lnTo>
                    <a:pt x="1956" y="217"/>
                  </a:lnTo>
                  <a:lnTo>
                    <a:pt x="1952" y="222"/>
                  </a:lnTo>
                  <a:lnTo>
                    <a:pt x="1952" y="222"/>
                  </a:lnTo>
                  <a:lnTo>
                    <a:pt x="1947" y="222"/>
                  </a:lnTo>
                  <a:lnTo>
                    <a:pt x="1943" y="222"/>
                  </a:lnTo>
                  <a:lnTo>
                    <a:pt x="1943" y="226"/>
                  </a:lnTo>
                  <a:lnTo>
                    <a:pt x="1934" y="231"/>
                  </a:lnTo>
                  <a:lnTo>
                    <a:pt x="1929" y="231"/>
                  </a:lnTo>
                  <a:lnTo>
                    <a:pt x="1929" y="231"/>
                  </a:lnTo>
                  <a:lnTo>
                    <a:pt x="1938" y="226"/>
                  </a:lnTo>
                  <a:lnTo>
                    <a:pt x="1938" y="226"/>
                  </a:lnTo>
                  <a:lnTo>
                    <a:pt x="1938" y="222"/>
                  </a:lnTo>
                  <a:lnTo>
                    <a:pt x="1938" y="222"/>
                  </a:lnTo>
                  <a:lnTo>
                    <a:pt x="1938" y="222"/>
                  </a:lnTo>
                  <a:lnTo>
                    <a:pt x="1938" y="222"/>
                  </a:lnTo>
                  <a:lnTo>
                    <a:pt x="1934" y="226"/>
                  </a:lnTo>
                  <a:lnTo>
                    <a:pt x="1934" y="226"/>
                  </a:lnTo>
                  <a:lnTo>
                    <a:pt x="1934" y="226"/>
                  </a:lnTo>
                  <a:lnTo>
                    <a:pt x="1934" y="226"/>
                  </a:lnTo>
                  <a:lnTo>
                    <a:pt x="1929" y="226"/>
                  </a:lnTo>
                  <a:lnTo>
                    <a:pt x="1934" y="226"/>
                  </a:lnTo>
                  <a:lnTo>
                    <a:pt x="1934" y="226"/>
                  </a:lnTo>
                  <a:lnTo>
                    <a:pt x="1934" y="222"/>
                  </a:lnTo>
                  <a:lnTo>
                    <a:pt x="1938" y="222"/>
                  </a:lnTo>
                  <a:lnTo>
                    <a:pt x="1938" y="222"/>
                  </a:lnTo>
                  <a:lnTo>
                    <a:pt x="1943" y="222"/>
                  </a:lnTo>
                  <a:lnTo>
                    <a:pt x="1943" y="222"/>
                  </a:lnTo>
                  <a:lnTo>
                    <a:pt x="1947" y="222"/>
                  </a:lnTo>
                  <a:lnTo>
                    <a:pt x="1952" y="217"/>
                  </a:lnTo>
                  <a:lnTo>
                    <a:pt x="1952" y="217"/>
                  </a:lnTo>
                  <a:lnTo>
                    <a:pt x="1952" y="217"/>
                  </a:lnTo>
                  <a:lnTo>
                    <a:pt x="1952" y="213"/>
                  </a:lnTo>
                  <a:lnTo>
                    <a:pt x="1952" y="213"/>
                  </a:lnTo>
                  <a:lnTo>
                    <a:pt x="1952" y="213"/>
                  </a:lnTo>
                  <a:lnTo>
                    <a:pt x="1952" y="213"/>
                  </a:lnTo>
                  <a:lnTo>
                    <a:pt x="1952" y="213"/>
                  </a:lnTo>
                  <a:lnTo>
                    <a:pt x="1947" y="217"/>
                  </a:lnTo>
                  <a:lnTo>
                    <a:pt x="1943" y="217"/>
                  </a:lnTo>
                  <a:lnTo>
                    <a:pt x="1943" y="213"/>
                  </a:lnTo>
                  <a:lnTo>
                    <a:pt x="1938" y="213"/>
                  </a:lnTo>
                  <a:lnTo>
                    <a:pt x="1938" y="217"/>
                  </a:lnTo>
                  <a:lnTo>
                    <a:pt x="1934" y="217"/>
                  </a:lnTo>
                  <a:lnTo>
                    <a:pt x="1934" y="217"/>
                  </a:lnTo>
                  <a:lnTo>
                    <a:pt x="1929" y="217"/>
                  </a:lnTo>
                  <a:lnTo>
                    <a:pt x="1929" y="217"/>
                  </a:lnTo>
                  <a:lnTo>
                    <a:pt x="1934" y="217"/>
                  </a:lnTo>
                  <a:lnTo>
                    <a:pt x="1934" y="217"/>
                  </a:lnTo>
                  <a:lnTo>
                    <a:pt x="1938" y="213"/>
                  </a:lnTo>
                  <a:lnTo>
                    <a:pt x="1943" y="213"/>
                  </a:lnTo>
                  <a:lnTo>
                    <a:pt x="1943" y="213"/>
                  </a:lnTo>
                  <a:lnTo>
                    <a:pt x="1943" y="213"/>
                  </a:lnTo>
                  <a:lnTo>
                    <a:pt x="1947" y="213"/>
                  </a:lnTo>
                  <a:lnTo>
                    <a:pt x="1947" y="213"/>
                  </a:lnTo>
                  <a:lnTo>
                    <a:pt x="1952" y="213"/>
                  </a:lnTo>
                  <a:lnTo>
                    <a:pt x="1952" y="208"/>
                  </a:lnTo>
                  <a:lnTo>
                    <a:pt x="1952" y="208"/>
                  </a:lnTo>
                  <a:lnTo>
                    <a:pt x="1952" y="208"/>
                  </a:lnTo>
                  <a:lnTo>
                    <a:pt x="1952" y="208"/>
                  </a:lnTo>
                  <a:lnTo>
                    <a:pt x="1952" y="208"/>
                  </a:lnTo>
                  <a:lnTo>
                    <a:pt x="1952" y="204"/>
                  </a:lnTo>
                  <a:lnTo>
                    <a:pt x="1947" y="204"/>
                  </a:lnTo>
                  <a:lnTo>
                    <a:pt x="1947" y="204"/>
                  </a:lnTo>
                  <a:lnTo>
                    <a:pt x="1943" y="204"/>
                  </a:lnTo>
                  <a:lnTo>
                    <a:pt x="1943" y="204"/>
                  </a:lnTo>
                  <a:lnTo>
                    <a:pt x="1943" y="204"/>
                  </a:lnTo>
                  <a:lnTo>
                    <a:pt x="1943" y="204"/>
                  </a:lnTo>
                  <a:lnTo>
                    <a:pt x="1938" y="204"/>
                  </a:lnTo>
                  <a:lnTo>
                    <a:pt x="1934" y="204"/>
                  </a:lnTo>
                  <a:lnTo>
                    <a:pt x="1934" y="204"/>
                  </a:lnTo>
                  <a:lnTo>
                    <a:pt x="1934" y="204"/>
                  </a:lnTo>
                  <a:lnTo>
                    <a:pt x="1929" y="208"/>
                  </a:lnTo>
                  <a:lnTo>
                    <a:pt x="1929" y="208"/>
                  </a:lnTo>
                  <a:lnTo>
                    <a:pt x="1929" y="208"/>
                  </a:lnTo>
                  <a:lnTo>
                    <a:pt x="1929" y="208"/>
                  </a:lnTo>
                  <a:lnTo>
                    <a:pt x="1929" y="204"/>
                  </a:lnTo>
                  <a:lnTo>
                    <a:pt x="1929" y="204"/>
                  </a:lnTo>
                  <a:lnTo>
                    <a:pt x="1929" y="204"/>
                  </a:lnTo>
                  <a:lnTo>
                    <a:pt x="1929" y="204"/>
                  </a:lnTo>
                  <a:lnTo>
                    <a:pt x="1925" y="204"/>
                  </a:lnTo>
                  <a:lnTo>
                    <a:pt x="1925" y="204"/>
                  </a:lnTo>
                  <a:lnTo>
                    <a:pt x="1920" y="208"/>
                  </a:lnTo>
                  <a:lnTo>
                    <a:pt x="1929" y="204"/>
                  </a:lnTo>
                  <a:lnTo>
                    <a:pt x="1934" y="199"/>
                  </a:lnTo>
                  <a:lnTo>
                    <a:pt x="1934" y="199"/>
                  </a:lnTo>
                  <a:lnTo>
                    <a:pt x="1934" y="199"/>
                  </a:lnTo>
                  <a:lnTo>
                    <a:pt x="1929" y="199"/>
                  </a:lnTo>
                  <a:lnTo>
                    <a:pt x="1929" y="199"/>
                  </a:lnTo>
                  <a:lnTo>
                    <a:pt x="1925" y="199"/>
                  </a:lnTo>
                  <a:lnTo>
                    <a:pt x="1925" y="199"/>
                  </a:lnTo>
                  <a:lnTo>
                    <a:pt x="1925" y="204"/>
                  </a:lnTo>
                  <a:lnTo>
                    <a:pt x="1920" y="204"/>
                  </a:lnTo>
                  <a:lnTo>
                    <a:pt x="1916" y="204"/>
                  </a:lnTo>
                  <a:lnTo>
                    <a:pt x="1916" y="208"/>
                  </a:lnTo>
                  <a:lnTo>
                    <a:pt x="1911" y="208"/>
                  </a:lnTo>
                  <a:lnTo>
                    <a:pt x="1911" y="208"/>
                  </a:lnTo>
                  <a:lnTo>
                    <a:pt x="1911" y="208"/>
                  </a:lnTo>
                  <a:lnTo>
                    <a:pt x="1916" y="204"/>
                  </a:lnTo>
                  <a:lnTo>
                    <a:pt x="1916" y="204"/>
                  </a:lnTo>
                  <a:lnTo>
                    <a:pt x="1916" y="204"/>
                  </a:lnTo>
                  <a:lnTo>
                    <a:pt x="1916" y="204"/>
                  </a:lnTo>
                  <a:lnTo>
                    <a:pt x="1920" y="204"/>
                  </a:lnTo>
                  <a:lnTo>
                    <a:pt x="1920" y="199"/>
                  </a:lnTo>
                  <a:lnTo>
                    <a:pt x="1916" y="199"/>
                  </a:lnTo>
                  <a:lnTo>
                    <a:pt x="1916" y="199"/>
                  </a:lnTo>
                  <a:lnTo>
                    <a:pt x="1916" y="199"/>
                  </a:lnTo>
                  <a:lnTo>
                    <a:pt x="1920" y="199"/>
                  </a:lnTo>
                  <a:lnTo>
                    <a:pt x="1920" y="199"/>
                  </a:lnTo>
                  <a:lnTo>
                    <a:pt x="1925" y="199"/>
                  </a:lnTo>
                  <a:lnTo>
                    <a:pt x="1929" y="199"/>
                  </a:lnTo>
                  <a:lnTo>
                    <a:pt x="1929" y="199"/>
                  </a:lnTo>
                  <a:lnTo>
                    <a:pt x="1929" y="194"/>
                  </a:lnTo>
                  <a:lnTo>
                    <a:pt x="1929" y="194"/>
                  </a:lnTo>
                  <a:lnTo>
                    <a:pt x="1929" y="194"/>
                  </a:lnTo>
                  <a:lnTo>
                    <a:pt x="1929" y="194"/>
                  </a:lnTo>
                  <a:lnTo>
                    <a:pt x="1929" y="194"/>
                  </a:lnTo>
                  <a:lnTo>
                    <a:pt x="1929" y="194"/>
                  </a:lnTo>
                  <a:lnTo>
                    <a:pt x="1929" y="194"/>
                  </a:lnTo>
                  <a:lnTo>
                    <a:pt x="1925" y="194"/>
                  </a:lnTo>
                  <a:lnTo>
                    <a:pt x="1925" y="194"/>
                  </a:lnTo>
                  <a:lnTo>
                    <a:pt x="1920" y="194"/>
                  </a:lnTo>
                  <a:lnTo>
                    <a:pt x="1916" y="194"/>
                  </a:lnTo>
                  <a:lnTo>
                    <a:pt x="1911" y="199"/>
                  </a:lnTo>
                  <a:lnTo>
                    <a:pt x="1911" y="199"/>
                  </a:lnTo>
                  <a:lnTo>
                    <a:pt x="1906" y="199"/>
                  </a:lnTo>
                  <a:lnTo>
                    <a:pt x="1906" y="199"/>
                  </a:lnTo>
                  <a:lnTo>
                    <a:pt x="1911" y="199"/>
                  </a:lnTo>
                  <a:lnTo>
                    <a:pt x="1911" y="199"/>
                  </a:lnTo>
                  <a:lnTo>
                    <a:pt x="1916" y="194"/>
                  </a:lnTo>
                  <a:lnTo>
                    <a:pt x="1916" y="194"/>
                  </a:lnTo>
                  <a:lnTo>
                    <a:pt x="1920" y="194"/>
                  </a:lnTo>
                  <a:lnTo>
                    <a:pt x="1925" y="190"/>
                  </a:lnTo>
                  <a:lnTo>
                    <a:pt x="1929" y="190"/>
                  </a:lnTo>
                  <a:lnTo>
                    <a:pt x="1929" y="190"/>
                  </a:lnTo>
                  <a:lnTo>
                    <a:pt x="1929" y="190"/>
                  </a:lnTo>
                  <a:lnTo>
                    <a:pt x="1929" y="185"/>
                  </a:lnTo>
                  <a:lnTo>
                    <a:pt x="1929" y="185"/>
                  </a:lnTo>
                  <a:lnTo>
                    <a:pt x="1925" y="185"/>
                  </a:lnTo>
                  <a:lnTo>
                    <a:pt x="1925" y="185"/>
                  </a:lnTo>
                  <a:lnTo>
                    <a:pt x="1920" y="185"/>
                  </a:lnTo>
                  <a:lnTo>
                    <a:pt x="1920" y="185"/>
                  </a:lnTo>
                  <a:lnTo>
                    <a:pt x="1920" y="185"/>
                  </a:lnTo>
                  <a:lnTo>
                    <a:pt x="1920" y="181"/>
                  </a:lnTo>
                  <a:lnTo>
                    <a:pt x="1916" y="181"/>
                  </a:lnTo>
                  <a:lnTo>
                    <a:pt x="1916" y="181"/>
                  </a:lnTo>
                  <a:lnTo>
                    <a:pt x="1911" y="181"/>
                  </a:lnTo>
                  <a:lnTo>
                    <a:pt x="1906" y="181"/>
                  </a:lnTo>
                  <a:lnTo>
                    <a:pt x="1906" y="181"/>
                  </a:lnTo>
                  <a:lnTo>
                    <a:pt x="1902" y="181"/>
                  </a:lnTo>
                  <a:lnTo>
                    <a:pt x="1897" y="181"/>
                  </a:lnTo>
                  <a:lnTo>
                    <a:pt x="1897" y="181"/>
                  </a:lnTo>
                  <a:lnTo>
                    <a:pt x="1897" y="181"/>
                  </a:lnTo>
                  <a:lnTo>
                    <a:pt x="1897" y="185"/>
                  </a:lnTo>
                  <a:lnTo>
                    <a:pt x="1893" y="185"/>
                  </a:lnTo>
                  <a:lnTo>
                    <a:pt x="1893" y="185"/>
                  </a:lnTo>
                  <a:lnTo>
                    <a:pt x="1893" y="185"/>
                  </a:lnTo>
                  <a:lnTo>
                    <a:pt x="1897" y="185"/>
                  </a:lnTo>
                  <a:lnTo>
                    <a:pt x="1897" y="190"/>
                  </a:lnTo>
                  <a:lnTo>
                    <a:pt x="1902" y="190"/>
                  </a:lnTo>
                  <a:lnTo>
                    <a:pt x="1897" y="190"/>
                  </a:lnTo>
                  <a:lnTo>
                    <a:pt x="1897" y="190"/>
                  </a:lnTo>
                  <a:lnTo>
                    <a:pt x="1893" y="185"/>
                  </a:lnTo>
                  <a:lnTo>
                    <a:pt x="1893" y="185"/>
                  </a:lnTo>
                  <a:lnTo>
                    <a:pt x="1893" y="185"/>
                  </a:lnTo>
                  <a:lnTo>
                    <a:pt x="1893" y="185"/>
                  </a:lnTo>
                  <a:lnTo>
                    <a:pt x="1888" y="185"/>
                  </a:lnTo>
                  <a:lnTo>
                    <a:pt x="1888" y="185"/>
                  </a:lnTo>
                  <a:lnTo>
                    <a:pt x="1884" y="190"/>
                  </a:lnTo>
                  <a:lnTo>
                    <a:pt x="1884" y="190"/>
                  </a:lnTo>
                  <a:lnTo>
                    <a:pt x="1884" y="194"/>
                  </a:lnTo>
                  <a:lnTo>
                    <a:pt x="1884" y="194"/>
                  </a:lnTo>
                  <a:lnTo>
                    <a:pt x="1884" y="194"/>
                  </a:lnTo>
                  <a:lnTo>
                    <a:pt x="1884" y="194"/>
                  </a:lnTo>
                  <a:lnTo>
                    <a:pt x="1884" y="194"/>
                  </a:lnTo>
                  <a:lnTo>
                    <a:pt x="1884" y="194"/>
                  </a:lnTo>
                  <a:lnTo>
                    <a:pt x="1884" y="190"/>
                  </a:lnTo>
                  <a:lnTo>
                    <a:pt x="1884" y="190"/>
                  </a:lnTo>
                  <a:lnTo>
                    <a:pt x="1884" y="190"/>
                  </a:lnTo>
                  <a:lnTo>
                    <a:pt x="1884" y="185"/>
                  </a:lnTo>
                  <a:lnTo>
                    <a:pt x="1884" y="185"/>
                  </a:lnTo>
                  <a:lnTo>
                    <a:pt x="1884" y="185"/>
                  </a:lnTo>
                  <a:lnTo>
                    <a:pt x="1884" y="185"/>
                  </a:lnTo>
                  <a:lnTo>
                    <a:pt x="1879" y="185"/>
                  </a:lnTo>
                  <a:lnTo>
                    <a:pt x="1879" y="185"/>
                  </a:lnTo>
                  <a:lnTo>
                    <a:pt x="1879" y="185"/>
                  </a:lnTo>
                  <a:lnTo>
                    <a:pt x="1879" y="185"/>
                  </a:lnTo>
                  <a:lnTo>
                    <a:pt x="1879" y="185"/>
                  </a:lnTo>
                  <a:lnTo>
                    <a:pt x="1879" y="185"/>
                  </a:lnTo>
                  <a:lnTo>
                    <a:pt x="1879" y="185"/>
                  </a:lnTo>
                  <a:lnTo>
                    <a:pt x="1875" y="185"/>
                  </a:lnTo>
                  <a:lnTo>
                    <a:pt x="1875" y="185"/>
                  </a:lnTo>
                  <a:lnTo>
                    <a:pt x="1875" y="185"/>
                  </a:lnTo>
                  <a:lnTo>
                    <a:pt x="1875" y="190"/>
                  </a:lnTo>
                  <a:lnTo>
                    <a:pt x="1875" y="190"/>
                  </a:lnTo>
                  <a:lnTo>
                    <a:pt x="1875" y="185"/>
                  </a:lnTo>
                  <a:lnTo>
                    <a:pt x="1870" y="185"/>
                  </a:lnTo>
                  <a:lnTo>
                    <a:pt x="1870" y="190"/>
                  </a:lnTo>
                  <a:lnTo>
                    <a:pt x="1861" y="190"/>
                  </a:lnTo>
                  <a:lnTo>
                    <a:pt x="1861" y="190"/>
                  </a:lnTo>
                  <a:lnTo>
                    <a:pt x="1861" y="194"/>
                  </a:lnTo>
                  <a:lnTo>
                    <a:pt x="1861" y="194"/>
                  </a:lnTo>
                  <a:lnTo>
                    <a:pt x="1861" y="190"/>
                  </a:lnTo>
                  <a:lnTo>
                    <a:pt x="1861" y="190"/>
                  </a:lnTo>
                  <a:lnTo>
                    <a:pt x="1861" y="190"/>
                  </a:lnTo>
                  <a:lnTo>
                    <a:pt x="1861" y="190"/>
                  </a:lnTo>
                  <a:lnTo>
                    <a:pt x="1861" y="190"/>
                  </a:lnTo>
                  <a:lnTo>
                    <a:pt x="1861" y="190"/>
                  </a:lnTo>
                  <a:lnTo>
                    <a:pt x="1861" y="190"/>
                  </a:lnTo>
                  <a:lnTo>
                    <a:pt x="1861" y="190"/>
                  </a:lnTo>
                  <a:lnTo>
                    <a:pt x="1866" y="190"/>
                  </a:lnTo>
                  <a:lnTo>
                    <a:pt x="1866" y="190"/>
                  </a:lnTo>
                  <a:lnTo>
                    <a:pt x="1866" y="185"/>
                  </a:lnTo>
                  <a:lnTo>
                    <a:pt x="1866" y="185"/>
                  </a:lnTo>
                  <a:lnTo>
                    <a:pt x="1866" y="185"/>
                  </a:lnTo>
                  <a:lnTo>
                    <a:pt x="1870" y="185"/>
                  </a:lnTo>
                  <a:lnTo>
                    <a:pt x="1870" y="185"/>
                  </a:lnTo>
                  <a:lnTo>
                    <a:pt x="1870" y="181"/>
                  </a:lnTo>
                  <a:lnTo>
                    <a:pt x="1870" y="181"/>
                  </a:lnTo>
                  <a:lnTo>
                    <a:pt x="1861" y="185"/>
                  </a:lnTo>
                  <a:lnTo>
                    <a:pt x="1861" y="185"/>
                  </a:lnTo>
                  <a:lnTo>
                    <a:pt x="1866" y="181"/>
                  </a:lnTo>
                  <a:lnTo>
                    <a:pt x="1875" y="181"/>
                  </a:lnTo>
                  <a:lnTo>
                    <a:pt x="1879" y="181"/>
                  </a:lnTo>
                  <a:lnTo>
                    <a:pt x="1879" y="176"/>
                  </a:lnTo>
                  <a:lnTo>
                    <a:pt x="1879" y="176"/>
                  </a:lnTo>
                  <a:lnTo>
                    <a:pt x="1879" y="176"/>
                  </a:lnTo>
                  <a:lnTo>
                    <a:pt x="1879" y="176"/>
                  </a:lnTo>
                  <a:lnTo>
                    <a:pt x="1879" y="176"/>
                  </a:lnTo>
                  <a:lnTo>
                    <a:pt x="1879" y="176"/>
                  </a:lnTo>
                  <a:lnTo>
                    <a:pt x="1884" y="172"/>
                  </a:lnTo>
                  <a:lnTo>
                    <a:pt x="1884" y="172"/>
                  </a:lnTo>
                  <a:lnTo>
                    <a:pt x="1884" y="172"/>
                  </a:lnTo>
                  <a:lnTo>
                    <a:pt x="1884" y="172"/>
                  </a:lnTo>
                  <a:lnTo>
                    <a:pt x="1884" y="167"/>
                  </a:lnTo>
                  <a:lnTo>
                    <a:pt x="1884" y="167"/>
                  </a:lnTo>
                  <a:lnTo>
                    <a:pt x="1884" y="167"/>
                  </a:lnTo>
                  <a:lnTo>
                    <a:pt x="1884" y="163"/>
                  </a:lnTo>
                  <a:lnTo>
                    <a:pt x="1884" y="163"/>
                  </a:lnTo>
                  <a:lnTo>
                    <a:pt x="1884" y="163"/>
                  </a:lnTo>
                  <a:lnTo>
                    <a:pt x="1884" y="158"/>
                  </a:lnTo>
                  <a:lnTo>
                    <a:pt x="1884" y="158"/>
                  </a:lnTo>
                  <a:lnTo>
                    <a:pt x="1879" y="158"/>
                  </a:lnTo>
                  <a:lnTo>
                    <a:pt x="1875" y="158"/>
                  </a:lnTo>
                  <a:lnTo>
                    <a:pt x="1875" y="158"/>
                  </a:lnTo>
                  <a:lnTo>
                    <a:pt x="1870" y="158"/>
                  </a:lnTo>
                  <a:lnTo>
                    <a:pt x="1870" y="158"/>
                  </a:lnTo>
                  <a:lnTo>
                    <a:pt x="1866" y="158"/>
                  </a:lnTo>
                  <a:lnTo>
                    <a:pt x="1861" y="163"/>
                  </a:lnTo>
                  <a:lnTo>
                    <a:pt x="1857" y="163"/>
                  </a:lnTo>
                  <a:lnTo>
                    <a:pt x="1857" y="163"/>
                  </a:lnTo>
                  <a:lnTo>
                    <a:pt x="1857" y="163"/>
                  </a:lnTo>
                  <a:lnTo>
                    <a:pt x="1857" y="163"/>
                  </a:lnTo>
                  <a:lnTo>
                    <a:pt x="1857" y="163"/>
                  </a:lnTo>
                  <a:lnTo>
                    <a:pt x="1852" y="163"/>
                  </a:lnTo>
                  <a:lnTo>
                    <a:pt x="1848" y="163"/>
                  </a:lnTo>
                  <a:lnTo>
                    <a:pt x="1843" y="163"/>
                  </a:lnTo>
                  <a:lnTo>
                    <a:pt x="1834" y="167"/>
                  </a:lnTo>
                  <a:lnTo>
                    <a:pt x="1834" y="167"/>
                  </a:lnTo>
                  <a:lnTo>
                    <a:pt x="1839" y="172"/>
                  </a:lnTo>
                  <a:lnTo>
                    <a:pt x="1843" y="172"/>
                  </a:lnTo>
                  <a:lnTo>
                    <a:pt x="1843" y="172"/>
                  </a:lnTo>
                  <a:lnTo>
                    <a:pt x="1834" y="172"/>
                  </a:lnTo>
                  <a:lnTo>
                    <a:pt x="1834" y="172"/>
                  </a:lnTo>
                  <a:lnTo>
                    <a:pt x="1834" y="172"/>
                  </a:lnTo>
                  <a:lnTo>
                    <a:pt x="1830" y="172"/>
                  </a:lnTo>
                  <a:lnTo>
                    <a:pt x="1830" y="172"/>
                  </a:lnTo>
                  <a:lnTo>
                    <a:pt x="1830" y="172"/>
                  </a:lnTo>
                  <a:lnTo>
                    <a:pt x="1825" y="172"/>
                  </a:lnTo>
                  <a:lnTo>
                    <a:pt x="1825" y="176"/>
                  </a:lnTo>
                  <a:lnTo>
                    <a:pt x="1825" y="176"/>
                  </a:lnTo>
                  <a:lnTo>
                    <a:pt x="1825" y="176"/>
                  </a:lnTo>
                  <a:lnTo>
                    <a:pt x="1825" y="176"/>
                  </a:lnTo>
                  <a:lnTo>
                    <a:pt x="1825" y="176"/>
                  </a:lnTo>
                  <a:lnTo>
                    <a:pt x="1825" y="181"/>
                  </a:lnTo>
                  <a:lnTo>
                    <a:pt x="1825" y="181"/>
                  </a:lnTo>
                  <a:lnTo>
                    <a:pt x="1825" y="181"/>
                  </a:lnTo>
                  <a:lnTo>
                    <a:pt x="1825" y="181"/>
                  </a:lnTo>
                  <a:lnTo>
                    <a:pt x="1825" y="181"/>
                  </a:lnTo>
                  <a:lnTo>
                    <a:pt x="1830" y="181"/>
                  </a:lnTo>
                  <a:lnTo>
                    <a:pt x="1830" y="181"/>
                  </a:lnTo>
                  <a:lnTo>
                    <a:pt x="1830" y="181"/>
                  </a:lnTo>
                  <a:lnTo>
                    <a:pt x="1825" y="181"/>
                  </a:lnTo>
                  <a:lnTo>
                    <a:pt x="1825" y="181"/>
                  </a:lnTo>
                  <a:lnTo>
                    <a:pt x="1825" y="185"/>
                  </a:lnTo>
                  <a:lnTo>
                    <a:pt x="1825" y="185"/>
                  </a:lnTo>
                  <a:lnTo>
                    <a:pt x="1825" y="185"/>
                  </a:lnTo>
                  <a:lnTo>
                    <a:pt x="1825" y="185"/>
                  </a:lnTo>
                  <a:lnTo>
                    <a:pt x="1825" y="185"/>
                  </a:lnTo>
                  <a:lnTo>
                    <a:pt x="1825" y="185"/>
                  </a:lnTo>
                  <a:lnTo>
                    <a:pt x="1825" y="185"/>
                  </a:lnTo>
                  <a:lnTo>
                    <a:pt x="1821" y="185"/>
                  </a:lnTo>
                  <a:lnTo>
                    <a:pt x="1821" y="185"/>
                  </a:lnTo>
                  <a:lnTo>
                    <a:pt x="1821" y="185"/>
                  </a:lnTo>
                  <a:lnTo>
                    <a:pt x="1816" y="185"/>
                  </a:lnTo>
                  <a:lnTo>
                    <a:pt x="1812" y="185"/>
                  </a:lnTo>
                  <a:lnTo>
                    <a:pt x="1812" y="185"/>
                  </a:lnTo>
                  <a:lnTo>
                    <a:pt x="1807" y="185"/>
                  </a:lnTo>
                  <a:lnTo>
                    <a:pt x="1812" y="190"/>
                  </a:lnTo>
                  <a:lnTo>
                    <a:pt x="1812" y="190"/>
                  </a:lnTo>
                  <a:lnTo>
                    <a:pt x="1812" y="190"/>
                  </a:lnTo>
                  <a:lnTo>
                    <a:pt x="1812" y="190"/>
                  </a:lnTo>
                  <a:lnTo>
                    <a:pt x="1812" y="194"/>
                  </a:lnTo>
                  <a:lnTo>
                    <a:pt x="1812" y="194"/>
                  </a:lnTo>
                  <a:lnTo>
                    <a:pt x="1812" y="194"/>
                  </a:lnTo>
                  <a:lnTo>
                    <a:pt x="1812" y="194"/>
                  </a:lnTo>
                  <a:lnTo>
                    <a:pt x="1816" y="194"/>
                  </a:lnTo>
                  <a:lnTo>
                    <a:pt x="1816" y="194"/>
                  </a:lnTo>
                  <a:lnTo>
                    <a:pt x="1816" y="194"/>
                  </a:lnTo>
                  <a:lnTo>
                    <a:pt x="1812" y="194"/>
                  </a:lnTo>
                  <a:lnTo>
                    <a:pt x="1812" y="199"/>
                  </a:lnTo>
                  <a:lnTo>
                    <a:pt x="1812" y="199"/>
                  </a:lnTo>
                  <a:lnTo>
                    <a:pt x="1803" y="204"/>
                  </a:lnTo>
                  <a:lnTo>
                    <a:pt x="1803" y="204"/>
                  </a:lnTo>
                  <a:lnTo>
                    <a:pt x="1803" y="204"/>
                  </a:lnTo>
                  <a:lnTo>
                    <a:pt x="1803" y="204"/>
                  </a:lnTo>
                  <a:lnTo>
                    <a:pt x="1803" y="204"/>
                  </a:lnTo>
                  <a:lnTo>
                    <a:pt x="1803" y="204"/>
                  </a:lnTo>
                  <a:lnTo>
                    <a:pt x="1803" y="204"/>
                  </a:lnTo>
                  <a:lnTo>
                    <a:pt x="1803" y="204"/>
                  </a:lnTo>
                  <a:lnTo>
                    <a:pt x="1803" y="204"/>
                  </a:lnTo>
                  <a:lnTo>
                    <a:pt x="1798" y="204"/>
                  </a:lnTo>
                  <a:lnTo>
                    <a:pt x="1794" y="204"/>
                  </a:lnTo>
                  <a:lnTo>
                    <a:pt x="1789" y="204"/>
                  </a:lnTo>
                  <a:lnTo>
                    <a:pt x="1789" y="204"/>
                  </a:lnTo>
                  <a:lnTo>
                    <a:pt x="1784" y="204"/>
                  </a:lnTo>
                  <a:lnTo>
                    <a:pt x="1784" y="204"/>
                  </a:lnTo>
                  <a:lnTo>
                    <a:pt x="1784" y="204"/>
                  </a:lnTo>
                  <a:lnTo>
                    <a:pt x="1789" y="204"/>
                  </a:lnTo>
                  <a:lnTo>
                    <a:pt x="1794" y="204"/>
                  </a:lnTo>
                  <a:lnTo>
                    <a:pt x="1798" y="204"/>
                  </a:lnTo>
                  <a:lnTo>
                    <a:pt x="1803" y="199"/>
                  </a:lnTo>
                  <a:lnTo>
                    <a:pt x="1803" y="199"/>
                  </a:lnTo>
                  <a:lnTo>
                    <a:pt x="1807" y="199"/>
                  </a:lnTo>
                  <a:lnTo>
                    <a:pt x="1807" y="199"/>
                  </a:lnTo>
                  <a:lnTo>
                    <a:pt x="1807" y="194"/>
                  </a:lnTo>
                  <a:lnTo>
                    <a:pt x="1807" y="194"/>
                  </a:lnTo>
                  <a:lnTo>
                    <a:pt x="1803" y="194"/>
                  </a:lnTo>
                  <a:lnTo>
                    <a:pt x="1803" y="190"/>
                  </a:lnTo>
                  <a:lnTo>
                    <a:pt x="1803" y="190"/>
                  </a:lnTo>
                  <a:lnTo>
                    <a:pt x="1807" y="185"/>
                  </a:lnTo>
                  <a:lnTo>
                    <a:pt x="1807" y="185"/>
                  </a:lnTo>
                  <a:lnTo>
                    <a:pt x="1807" y="185"/>
                  </a:lnTo>
                  <a:lnTo>
                    <a:pt x="1812" y="181"/>
                  </a:lnTo>
                  <a:lnTo>
                    <a:pt x="1812" y="181"/>
                  </a:lnTo>
                  <a:lnTo>
                    <a:pt x="1816" y="176"/>
                  </a:lnTo>
                  <a:lnTo>
                    <a:pt x="1816" y="176"/>
                  </a:lnTo>
                  <a:lnTo>
                    <a:pt x="1816" y="176"/>
                  </a:lnTo>
                  <a:lnTo>
                    <a:pt x="1816" y="172"/>
                  </a:lnTo>
                  <a:lnTo>
                    <a:pt x="1816" y="172"/>
                  </a:lnTo>
                  <a:lnTo>
                    <a:pt x="1821" y="172"/>
                  </a:lnTo>
                  <a:lnTo>
                    <a:pt x="1821" y="172"/>
                  </a:lnTo>
                  <a:lnTo>
                    <a:pt x="1821" y="167"/>
                  </a:lnTo>
                  <a:lnTo>
                    <a:pt x="1830" y="163"/>
                  </a:lnTo>
                  <a:lnTo>
                    <a:pt x="1834" y="163"/>
                  </a:lnTo>
                  <a:lnTo>
                    <a:pt x="1839" y="163"/>
                  </a:lnTo>
                  <a:lnTo>
                    <a:pt x="1843" y="158"/>
                  </a:lnTo>
                  <a:lnTo>
                    <a:pt x="1848" y="158"/>
                  </a:lnTo>
                  <a:lnTo>
                    <a:pt x="1852" y="158"/>
                  </a:lnTo>
                  <a:lnTo>
                    <a:pt x="1852" y="158"/>
                  </a:lnTo>
                  <a:lnTo>
                    <a:pt x="1852" y="158"/>
                  </a:lnTo>
                  <a:lnTo>
                    <a:pt x="1852" y="158"/>
                  </a:lnTo>
                  <a:lnTo>
                    <a:pt x="1852" y="154"/>
                  </a:lnTo>
                  <a:lnTo>
                    <a:pt x="1843" y="154"/>
                  </a:lnTo>
                  <a:lnTo>
                    <a:pt x="1839" y="154"/>
                  </a:lnTo>
                  <a:lnTo>
                    <a:pt x="1834" y="154"/>
                  </a:lnTo>
                  <a:lnTo>
                    <a:pt x="1825" y="154"/>
                  </a:lnTo>
                  <a:lnTo>
                    <a:pt x="1825" y="154"/>
                  </a:lnTo>
                  <a:lnTo>
                    <a:pt x="1821" y="154"/>
                  </a:lnTo>
                  <a:lnTo>
                    <a:pt x="1816" y="158"/>
                  </a:lnTo>
                  <a:lnTo>
                    <a:pt x="1807" y="158"/>
                  </a:lnTo>
                  <a:lnTo>
                    <a:pt x="1807" y="158"/>
                  </a:lnTo>
                  <a:lnTo>
                    <a:pt x="1807" y="163"/>
                  </a:lnTo>
                  <a:lnTo>
                    <a:pt x="1807" y="163"/>
                  </a:lnTo>
                  <a:lnTo>
                    <a:pt x="1807" y="163"/>
                  </a:lnTo>
                  <a:lnTo>
                    <a:pt x="1803" y="163"/>
                  </a:lnTo>
                  <a:lnTo>
                    <a:pt x="1798" y="163"/>
                  </a:lnTo>
                  <a:lnTo>
                    <a:pt x="1798" y="163"/>
                  </a:lnTo>
                  <a:lnTo>
                    <a:pt x="1798" y="167"/>
                  </a:lnTo>
                  <a:lnTo>
                    <a:pt x="1794" y="167"/>
                  </a:lnTo>
                  <a:lnTo>
                    <a:pt x="1794" y="167"/>
                  </a:lnTo>
                  <a:lnTo>
                    <a:pt x="1789" y="167"/>
                  </a:lnTo>
                  <a:lnTo>
                    <a:pt x="1789" y="172"/>
                  </a:lnTo>
                  <a:lnTo>
                    <a:pt x="1784" y="172"/>
                  </a:lnTo>
                  <a:lnTo>
                    <a:pt x="1780" y="172"/>
                  </a:lnTo>
                  <a:lnTo>
                    <a:pt x="1780" y="176"/>
                  </a:lnTo>
                  <a:lnTo>
                    <a:pt x="1775" y="176"/>
                  </a:lnTo>
                  <a:lnTo>
                    <a:pt x="1775" y="176"/>
                  </a:lnTo>
                  <a:lnTo>
                    <a:pt x="1775" y="176"/>
                  </a:lnTo>
                  <a:lnTo>
                    <a:pt x="1775" y="181"/>
                  </a:lnTo>
                  <a:lnTo>
                    <a:pt x="1775" y="181"/>
                  </a:lnTo>
                  <a:lnTo>
                    <a:pt x="1775" y="181"/>
                  </a:lnTo>
                  <a:lnTo>
                    <a:pt x="1775" y="181"/>
                  </a:lnTo>
                  <a:lnTo>
                    <a:pt x="1775" y="181"/>
                  </a:lnTo>
                  <a:lnTo>
                    <a:pt x="1771" y="181"/>
                  </a:lnTo>
                  <a:lnTo>
                    <a:pt x="1766" y="185"/>
                  </a:lnTo>
                  <a:lnTo>
                    <a:pt x="1766" y="185"/>
                  </a:lnTo>
                  <a:lnTo>
                    <a:pt x="1766" y="185"/>
                  </a:lnTo>
                  <a:lnTo>
                    <a:pt x="1762" y="190"/>
                  </a:lnTo>
                  <a:lnTo>
                    <a:pt x="1762" y="190"/>
                  </a:lnTo>
                  <a:lnTo>
                    <a:pt x="1757" y="194"/>
                  </a:lnTo>
                  <a:lnTo>
                    <a:pt x="1757" y="194"/>
                  </a:lnTo>
                  <a:lnTo>
                    <a:pt x="1757" y="194"/>
                  </a:lnTo>
                  <a:lnTo>
                    <a:pt x="1762" y="194"/>
                  </a:lnTo>
                  <a:lnTo>
                    <a:pt x="1762" y="199"/>
                  </a:lnTo>
                  <a:lnTo>
                    <a:pt x="1766" y="199"/>
                  </a:lnTo>
                  <a:lnTo>
                    <a:pt x="1771" y="199"/>
                  </a:lnTo>
                  <a:lnTo>
                    <a:pt x="1775" y="199"/>
                  </a:lnTo>
                  <a:lnTo>
                    <a:pt x="1775" y="199"/>
                  </a:lnTo>
                  <a:lnTo>
                    <a:pt x="1775" y="204"/>
                  </a:lnTo>
                  <a:lnTo>
                    <a:pt x="1775" y="204"/>
                  </a:lnTo>
                  <a:lnTo>
                    <a:pt x="1780" y="204"/>
                  </a:lnTo>
                  <a:lnTo>
                    <a:pt x="1775" y="204"/>
                  </a:lnTo>
                  <a:lnTo>
                    <a:pt x="1771" y="204"/>
                  </a:lnTo>
                  <a:lnTo>
                    <a:pt x="1771" y="204"/>
                  </a:lnTo>
                  <a:lnTo>
                    <a:pt x="1766" y="204"/>
                  </a:lnTo>
                  <a:lnTo>
                    <a:pt x="1766" y="204"/>
                  </a:lnTo>
                  <a:lnTo>
                    <a:pt x="1766" y="204"/>
                  </a:lnTo>
                  <a:lnTo>
                    <a:pt x="1762" y="204"/>
                  </a:lnTo>
                  <a:lnTo>
                    <a:pt x="1757" y="204"/>
                  </a:lnTo>
                  <a:lnTo>
                    <a:pt x="1757" y="199"/>
                  </a:lnTo>
                  <a:lnTo>
                    <a:pt x="1753" y="199"/>
                  </a:lnTo>
                  <a:lnTo>
                    <a:pt x="1753" y="199"/>
                  </a:lnTo>
                  <a:lnTo>
                    <a:pt x="1753" y="204"/>
                  </a:lnTo>
                  <a:lnTo>
                    <a:pt x="1753" y="204"/>
                  </a:lnTo>
                  <a:lnTo>
                    <a:pt x="1753" y="208"/>
                  </a:lnTo>
                  <a:lnTo>
                    <a:pt x="1753" y="213"/>
                  </a:lnTo>
                  <a:lnTo>
                    <a:pt x="1753" y="213"/>
                  </a:lnTo>
                  <a:lnTo>
                    <a:pt x="1753" y="213"/>
                  </a:lnTo>
                  <a:lnTo>
                    <a:pt x="1753" y="213"/>
                  </a:lnTo>
                  <a:lnTo>
                    <a:pt x="1757" y="213"/>
                  </a:lnTo>
                  <a:lnTo>
                    <a:pt x="1757" y="217"/>
                  </a:lnTo>
                  <a:lnTo>
                    <a:pt x="1757" y="217"/>
                  </a:lnTo>
                  <a:lnTo>
                    <a:pt x="1757" y="217"/>
                  </a:lnTo>
                  <a:lnTo>
                    <a:pt x="1762" y="217"/>
                  </a:lnTo>
                  <a:lnTo>
                    <a:pt x="1762" y="217"/>
                  </a:lnTo>
                  <a:lnTo>
                    <a:pt x="1762" y="217"/>
                  </a:lnTo>
                  <a:lnTo>
                    <a:pt x="1766" y="217"/>
                  </a:lnTo>
                  <a:lnTo>
                    <a:pt x="1766" y="217"/>
                  </a:lnTo>
                  <a:lnTo>
                    <a:pt x="1766" y="217"/>
                  </a:lnTo>
                  <a:lnTo>
                    <a:pt x="1766" y="213"/>
                  </a:lnTo>
                  <a:lnTo>
                    <a:pt x="1766" y="213"/>
                  </a:lnTo>
                  <a:lnTo>
                    <a:pt x="1766" y="213"/>
                  </a:lnTo>
                  <a:lnTo>
                    <a:pt x="1771" y="213"/>
                  </a:lnTo>
                  <a:lnTo>
                    <a:pt x="1771" y="217"/>
                  </a:lnTo>
                  <a:lnTo>
                    <a:pt x="1771" y="213"/>
                  </a:lnTo>
                  <a:lnTo>
                    <a:pt x="1775" y="213"/>
                  </a:lnTo>
                  <a:lnTo>
                    <a:pt x="1775" y="213"/>
                  </a:lnTo>
                  <a:lnTo>
                    <a:pt x="1775" y="213"/>
                  </a:lnTo>
                  <a:lnTo>
                    <a:pt x="1771" y="217"/>
                  </a:lnTo>
                  <a:lnTo>
                    <a:pt x="1771" y="217"/>
                  </a:lnTo>
                  <a:lnTo>
                    <a:pt x="1771" y="217"/>
                  </a:lnTo>
                  <a:lnTo>
                    <a:pt x="1771" y="222"/>
                  </a:lnTo>
                  <a:lnTo>
                    <a:pt x="1771" y="222"/>
                  </a:lnTo>
                  <a:lnTo>
                    <a:pt x="1775" y="222"/>
                  </a:lnTo>
                  <a:lnTo>
                    <a:pt x="1780" y="222"/>
                  </a:lnTo>
                  <a:lnTo>
                    <a:pt x="1784" y="222"/>
                  </a:lnTo>
                  <a:lnTo>
                    <a:pt x="1784" y="222"/>
                  </a:lnTo>
                  <a:lnTo>
                    <a:pt x="1784" y="222"/>
                  </a:lnTo>
                  <a:lnTo>
                    <a:pt x="1784" y="222"/>
                  </a:lnTo>
                  <a:lnTo>
                    <a:pt x="1789" y="222"/>
                  </a:lnTo>
                  <a:lnTo>
                    <a:pt x="1794" y="226"/>
                  </a:lnTo>
                  <a:lnTo>
                    <a:pt x="1798" y="226"/>
                  </a:lnTo>
                  <a:lnTo>
                    <a:pt x="1803" y="226"/>
                  </a:lnTo>
                  <a:lnTo>
                    <a:pt x="1803" y="226"/>
                  </a:lnTo>
                  <a:lnTo>
                    <a:pt x="1803" y="226"/>
                  </a:lnTo>
                  <a:lnTo>
                    <a:pt x="1807" y="226"/>
                  </a:lnTo>
                  <a:lnTo>
                    <a:pt x="1807" y="226"/>
                  </a:lnTo>
                  <a:lnTo>
                    <a:pt x="1812" y="226"/>
                  </a:lnTo>
                  <a:lnTo>
                    <a:pt x="1812" y="226"/>
                  </a:lnTo>
                  <a:lnTo>
                    <a:pt x="1816" y="226"/>
                  </a:lnTo>
                  <a:lnTo>
                    <a:pt x="1821" y="231"/>
                  </a:lnTo>
                  <a:lnTo>
                    <a:pt x="1825" y="231"/>
                  </a:lnTo>
                  <a:lnTo>
                    <a:pt x="1825" y="231"/>
                  </a:lnTo>
                  <a:lnTo>
                    <a:pt x="1825" y="231"/>
                  </a:lnTo>
                  <a:lnTo>
                    <a:pt x="1825" y="226"/>
                  </a:lnTo>
                  <a:lnTo>
                    <a:pt x="1821" y="226"/>
                  </a:lnTo>
                  <a:lnTo>
                    <a:pt x="1821" y="226"/>
                  </a:lnTo>
                  <a:lnTo>
                    <a:pt x="1821" y="226"/>
                  </a:lnTo>
                  <a:lnTo>
                    <a:pt x="1821" y="226"/>
                  </a:lnTo>
                  <a:lnTo>
                    <a:pt x="1821" y="226"/>
                  </a:lnTo>
                  <a:lnTo>
                    <a:pt x="1821" y="226"/>
                  </a:lnTo>
                  <a:lnTo>
                    <a:pt x="1825" y="226"/>
                  </a:lnTo>
                  <a:lnTo>
                    <a:pt x="1830" y="226"/>
                  </a:lnTo>
                  <a:lnTo>
                    <a:pt x="1830" y="226"/>
                  </a:lnTo>
                  <a:lnTo>
                    <a:pt x="1834" y="226"/>
                  </a:lnTo>
                  <a:lnTo>
                    <a:pt x="1834" y="226"/>
                  </a:lnTo>
                  <a:lnTo>
                    <a:pt x="1834" y="226"/>
                  </a:lnTo>
                  <a:lnTo>
                    <a:pt x="1839" y="231"/>
                  </a:lnTo>
                  <a:lnTo>
                    <a:pt x="1839" y="231"/>
                  </a:lnTo>
                  <a:lnTo>
                    <a:pt x="1843" y="231"/>
                  </a:lnTo>
                  <a:lnTo>
                    <a:pt x="1843" y="231"/>
                  </a:lnTo>
                  <a:lnTo>
                    <a:pt x="1848" y="226"/>
                  </a:lnTo>
                  <a:lnTo>
                    <a:pt x="1848" y="226"/>
                  </a:lnTo>
                  <a:lnTo>
                    <a:pt x="1852" y="226"/>
                  </a:lnTo>
                  <a:lnTo>
                    <a:pt x="1852" y="226"/>
                  </a:lnTo>
                  <a:lnTo>
                    <a:pt x="1852" y="226"/>
                  </a:lnTo>
                  <a:lnTo>
                    <a:pt x="1852" y="222"/>
                  </a:lnTo>
                  <a:lnTo>
                    <a:pt x="1852" y="222"/>
                  </a:lnTo>
                  <a:lnTo>
                    <a:pt x="1852" y="222"/>
                  </a:lnTo>
                  <a:lnTo>
                    <a:pt x="1848" y="222"/>
                  </a:lnTo>
                  <a:lnTo>
                    <a:pt x="1848" y="222"/>
                  </a:lnTo>
                  <a:lnTo>
                    <a:pt x="1848" y="222"/>
                  </a:lnTo>
                  <a:lnTo>
                    <a:pt x="1852" y="217"/>
                  </a:lnTo>
                  <a:lnTo>
                    <a:pt x="1852" y="217"/>
                  </a:lnTo>
                  <a:lnTo>
                    <a:pt x="1857" y="217"/>
                  </a:lnTo>
                  <a:lnTo>
                    <a:pt x="1857" y="217"/>
                  </a:lnTo>
                  <a:lnTo>
                    <a:pt x="1857" y="217"/>
                  </a:lnTo>
                  <a:lnTo>
                    <a:pt x="1857" y="217"/>
                  </a:lnTo>
                  <a:lnTo>
                    <a:pt x="1857" y="222"/>
                  </a:lnTo>
                  <a:lnTo>
                    <a:pt x="1857" y="222"/>
                  </a:lnTo>
                  <a:lnTo>
                    <a:pt x="1857" y="222"/>
                  </a:lnTo>
                  <a:lnTo>
                    <a:pt x="1857" y="222"/>
                  </a:lnTo>
                  <a:lnTo>
                    <a:pt x="1857" y="222"/>
                  </a:lnTo>
                  <a:lnTo>
                    <a:pt x="1857" y="226"/>
                  </a:lnTo>
                  <a:lnTo>
                    <a:pt x="1857" y="226"/>
                  </a:lnTo>
                  <a:lnTo>
                    <a:pt x="1861" y="226"/>
                  </a:lnTo>
                  <a:lnTo>
                    <a:pt x="1861" y="226"/>
                  </a:lnTo>
                  <a:lnTo>
                    <a:pt x="1866" y="226"/>
                  </a:lnTo>
                  <a:lnTo>
                    <a:pt x="1861" y="226"/>
                  </a:lnTo>
                  <a:lnTo>
                    <a:pt x="1861" y="226"/>
                  </a:lnTo>
                  <a:lnTo>
                    <a:pt x="1861" y="231"/>
                  </a:lnTo>
                  <a:lnTo>
                    <a:pt x="1861" y="231"/>
                  </a:lnTo>
                  <a:lnTo>
                    <a:pt x="1861" y="231"/>
                  </a:lnTo>
                  <a:lnTo>
                    <a:pt x="1861" y="231"/>
                  </a:lnTo>
                  <a:lnTo>
                    <a:pt x="1861" y="231"/>
                  </a:lnTo>
                  <a:lnTo>
                    <a:pt x="1866" y="231"/>
                  </a:lnTo>
                  <a:lnTo>
                    <a:pt x="1866" y="231"/>
                  </a:lnTo>
                  <a:lnTo>
                    <a:pt x="1866" y="235"/>
                  </a:lnTo>
                  <a:lnTo>
                    <a:pt x="1866" y="235"/>
                  </a:lnTo>
                  <a:lnTo>
                    <a:pt x="1861" y="235"/>
                  </a:lnTo>
                  <a:lnTo>
                    <a:pt x="1861" y="235"/>
                  </a:lnTo>
                  <a:lnTo>
                    <a:pt x="1861" y="235"/>
                  </a:lnTo>
                  <a:lnTo>
                    <a:pt x="1861" y="235"/>
                  </a:lnTo>
                  <a:lnTo>
                    <a:pt x="1861" y="235"/>
                  </a:lnTo>
                  <a:lnTo>
                    <a:pt x="1861" y="235"/>
                  </a:lnTo>
                  <a:lnTo>
                    <a:pt x="1866" y="235"/>
                  </a:lnTo>
                  <a:lnTo>
                    <a:pt x="1866" y="235"/>
                  </a:lnTo>
                  <a:lnTo>
                    <a:pt x="1866" y="235"/>
                  </a:lnTo>
                  <a:lnTo>
                    <a:pt x="1870" y="235"/>
                  </a:lnTo>
                  <a:lnTo>
                    <a:pt x="1870" y="235"/>
                  </a:lnTo>
                  <a:lnTo>
                    <a:pt x="1870" y="235"/>
                  </a:lnTo>
                  <a:lnTo>
                    <a:pt x="1870" y="235"/>
                  </a:lnTo>
                  <a:lnTo>
                    <a:pt x="1870" y="235"/>
                  </a:lnTo>
                  <a:lnTo>
                    <a:pt x="1866" y="235"/>
                  </a:lnTo>
                  <a:lnTo>
                    <a:pt x="1866" y="240"/>
                  </a:lnTo>
                  <a:lnTo>
                    <a:pt x="1866" y="240"/>
                  </a:lnTo>
                  <a:lnTo>
                    <a:pt x="1866" y="240"/>
                  </a:lnTo>
                  <a:lnTo>
                    <a:pt x="1866" y="240"/>
                  </a:lnTo>
                  <a:lnTo>
                    <a:pt x="1866" y="240"/>
                  </a:lnTo>
                  <a:lnTo>
                    <a:pt x="1866" y="240"/>
                  </a:lnTo>
                  <a:lnTo>
                    <a:pt x="1870" y="240"/>
                  </a:lnTo>
                  <a:lnTo>
                    <a:pt x="1870" y="244"/>
                  </a:lnTo>
                  <a:lnTo>
                    <a:pt x="1870" y="244"/>
                  </a:lnTo>
                  <a:lnTo>
                    <a:pt x="1870" y="244"/>
                  </a:lnTo>
                  <a:lnTo>
                    <a:pt x="1870" y="244"/>
                  </a:lnTo>
                  <a:lnTo>
                    <a:pt x="1866" y="244"/>
                  </a:lnTo>
                  <a:lnTo>
                    <a:pt x="1866" y="249"/>
                  </a:lnTo>
                  <a:lnTo>
                    <a:pt x="1866" y="249"/>
                  </a:lnTo>
                  <a:lnTo>
                    <a:pt x="1861" y="249"/>
                  </a:lnTo>
                  <a:lnTo>
                    <a:pt x="1861" y="249"/>
                  </a:lnTo>
                  <a:lnTo>
                    <a:pt x="1857" y="249"/>
                  </a:lnTo>
                  <a:lnTo>
                    <a:pt x="1857" y="249"/>
                  </a:lnTo>
                  <a:lnTo>
                    <a:pt x="1857" y="249"/>
                  </a:lnTo>
                  <a:lnTo>
                    <a:pt x="1852" y="249"/>
                  </a:lnTo>
                  <a:lnTo>
                    <a:pt x="1852" y="249"/>
                  </a:lnTo>
                  <a:lnTo>
                    <a:pt x="1852" y="253"/>
                  </a:lnTo>
                  <a:lnTo>
                    <a:pt x="1852" y="253"/>
                  </a:lnTo>
                  <a:lnTo>
                    <a:pt x="1852" y="253"/>
                  </a:lnTo>
                  <a:lnTo>
                    <a:pt x="1852" y="253"/>
                  </a:lnTo>
                  <a:lnTo>
                    <a:pt x="1852" y="253"/>
                  </a:lnTo>
                  <a:lnTo>
                    <a:pt x="1857" y="253"/>
                  </a:lnTo>
                  <a:lnTo>
                    <a:pt x="1861" y="253"/>
                  </a:lnTo>
                  <a:lnTo>
                    <a:pt x="1866" y="249"/>
                  </a:lnTo>
                  <a:lnTo>
                    <a:pt x="1866" y="249"/>
                  </a:lnTo>
                  <a:lnTo>
                    <a:pt x="1870" y="249"/>
                  </a:lnTo>
                  <a:lnTo>
                    <a:pt x="1870" y="249"/>
                  </a:lnTo>
                  <a:lnTo>
                    <a:pt x="1870" y="249"/>
                  </a:lnTo>
                  <a:lnTo>
                    <a:pt x="1870" y="249"/>
                  </a:lnTo>
                  <a:lnTo>
                    <a:pt x="1875" y="249"/>
                  </a:lnTo>
                  <a:lnTo>
                    <a:pt x="1875" y="249"/>
                  </a:lnTo>
                  <a:lnTo>
                    <a:pt x="1879" y="249"/>
                  </a:lnTo>
                  <a:lnTo>
                    <a:pt x="1879" y="249"/>
                  </a:lnTo>
                  <a:lnTo>
                    <a:pt x="1879" y="249"/>
                  </a:lnTo>
                  <a:lnTo>
                    <a:pt x="1875" y="249"/>
                  </a:lnTo>
                  <a:lnTo>
                    <a:pt x="1875" y="249"/>
                  </a:lnTo>
                  <a:lnTo>
                    <a:pt x="1875" y="249"/>
                  </a:lnTo>
                  <a:lnTo>
                    <a:pt x="1875" y="249"/>
                  </a:lnTo>
                  <a:lnTo>
                    <a:pt x="1875" y="249"/>
                  </a:lnTo>
                  <a:lnTo>
                    <a:pt x="1875" y="249"/>
                  </a:lnTo>
                  <a:lnTo>
                    <a:pt x="1870" y="253"/>
                  </a:lnTo>
                  <a:lnTo>
                    <a:pt x="1870" y="253"/>
                  </a:lnTo>
                  <a:lnTo>
                    <a:pt x="1875" y="253"/>
                  </a:lnTo>
                  <a:lnTo>
                    <a:pt x="1875" y="253"/>
                  </a:lnTo>
                  <a:lnTo>
                    <a:pt x="1875" y="253"/>
                  </a:lnTo>
                  <a:lnTo>
                    <a:pt x="1875" y="253"/>
                  </a:lnTo>
                  <a:lnTo>
                    <a:pt x="1875" y="253"/>
                  </a:lnTo>
                  <a:lnTo>
                    <a:pt x="1875" y="253"/>
                  </a:lnTo>
                  <a:lnTo>
                    <a:pt x="1875" y="258"/>
                  </a:lnTo>
                  <a:lnTo>
                    <a:pt x="1875" y="258"/>
                  </a:lnTo>
                  <a:lnTo>
                    <a:pt x="1875" y="258"/>
                  </a:lnTo>
                  <a:lnTo>
                    <a:pt x="1875" y="258"/>
                  </a:lnTo>
                  <a:lnTo>
                    <a:pt x="1879" y="258"/>
                  </a:lnTo>
                  <a:lnTo>
                    <a:pt x="1879" y="258"/>
                  </a:lnTo>
                  <a:lnTo>
                    <a:pt x="1879" y="253"/>
                  </a:lnTo>
                  <a:lnTo>
                    <a:pt x="1879" y="253"/>
                  </a:lnTo>
                  <a:lnTo>
                    <a:pt x="1879" y="253"/>
                  </a:lnTo>
                  <a:lnTo>
                    <a:pt x="1884" y="253"/>
                  </a:lnTo>
                  <a:lnTo>
                    <a:pt x="1884" y="253"/>
                  </a:lnTo>
                  <a:lnTo>
                    <a:pt x="1884" y="258"/>
                  </a:lnTo>
                  <a:lnTo>
                    <a:pt x="1884" y="258"/>
                  </a:lnTo>
                  <a:lnTo>
                    <a:pt x="1879" y="258"/>
                  </a:lnTo>
                  <a:lnTo>
                    <a:pt x="1879" y="258"/>
                  </a:lnTo>
                  <a:lnTo>
                    <a:pt x="1879" y="258"/>
                  </a:lnTo>
                  <a:lnTo>
                    <a:pt x="1879" y="258"/>
                  </a:lnTo>
                  <a:lnTo>
                    <a:pt x="1879" y="262"/>
                  </a:lnTo>
                  <a:lnTo>
                    <a:pt x="1879" y="262"/>
                  </a:lnTo>
                  <a:lnTo>
                    <a:pt x="1879" y="262"/>
                  </a:lnTo>
                  <a:lnTo>
                    <a:pt x="1879" y="262"/>
                  </a:lnTo>
                  <a:lnTo>
                    <a:pt x="1884" y="262"/>
                  </a:lnTo>
                  <a:lnTo>
                    <a:pt x="1884" y="262"/>
                  </a:lnTo>
                  <a:lnTo>
                    <a:pt x="1884" y="262"/>
                  </a:lnTo>
                  <a:lnTo>
                    <a:pt x="1879" y="262"/>
                  </a:lnTo>
                  <a:lnTo>
                    <a:pt x="1884" y="267"/>
                  </a:lnTo>
                  <a:lnTo>
                    <a:pt x="1879" y="271"/>
                  </a:lnTo>
                  <a:lnTo>
                    <a:pt x="1879" y="271"/>
                  </a:lnTo>
                  <a:lnTo>
                    <a:pt x="1879" y="276"/>
                  </a:lnTo>
                  <a:lnTo>
                    <a:pt x="1879" y="280"/>
                  </a:lnTo>
                  <a:lnTo>
                    <a:pt x="1879" y="280"/>
                  </a:lnTo>
                  <a:lnTo>
                    <a:pt x="1879" y="280"/>
                  </a:lnTo>
                  <a:lnTo>
                    <a:pt x="1879" y="280"/>
                  </a:lnTo>
                  <a:lnTo>
                    <a:pt x="1875" y="285"/>
                  </a:lnTo>
                  <a:lnTo>
                    <a:pt x="1875" y="285"/>
                  </a:lnTo>
                  <a:lnTo>
                    <a:pt x="1870" y="285"/>
                  </a:lnTo>
                  <a:lnTo>
                    <a:pt x="1870" y="285"/>
                  </a:lnTo>
                  <a:lnTo>
                    <a:pt x="1866" y="289"/>
                  </a:lnTo>
                  <a:lnTo>
                    <a:pt x="1866" y="289"/>
                  </a:lnTo>
                  <a:lnTo>
                    <a:pt x="1861" y="289"/>
                  </a:lnTo>
                  <a:lnTo>
                    <a:pt x="1861" y="289"/>
                  </a:lnTo>
                  <a:lnTo>
                    <a:pt x="1861" y="294"/>
                  </a:lnTo>
                  <a:lnTo>
                    <a:pt x="1857" y="294"/>
                  </a:lnTo>
                  <a:lnTo>
                    <a:pt x="1857" y="294"/>
                  </a:lnTo>
                  <a:lnTo>
                    <a:pt x="1857" y="294"/>
                  </a:lnTo>
                  <a:lnTo>
                    <a:pt x="1852" y="294"/>
                  </a:lnTo>
                  <a:lnTo>
                    <a:pt x="1848" y="298"/>
                  </a:lnTo>
                  <a:lnTo>
                    <a:pt x="1839" y="298"/>
                  </a:lnTo>
                  <a:lnTo>
                    <a:pt x="1839" y="303"/>
                  </a:lnTo>
                  <a:lnTo>
                    <a:pt x="1839" y="303"/>
                  </a:lnTo>
                  <a:lnTo>
                    <a:pt x="1839" y="303"/>
                  </a:lnTo>
                  <a:lnTo>
                    <a:pt x="1839" y="303"/>
                  </a:lnTo>
                  <a:lnTo>
                    <a:pt x="1839" y="308"/>
                  </a:lnTo>
                  <a:lnTo>
                    <a:pt x="1839" y="308"/>
                  </a:lnTo>
                  <a:lnTo>
                    <a:pt x="1839" y="308"/>
                  </a:lnTo>
                  <a:lnTo>
                    <a:pt x="1839" y="312"/>
                  </a:lnTo>
                  <a:lnTo>
                    <a:pt x="1839" y="312"/>
                  </a:lnTo>
                  <a:lnTo>
                    <a:pt x="1839" y="312"/>
                  </a:lnTo>
                  <a:lnTo>
                    <a:pt x="1834" y="312"/>
                  </a:lnTo>
                  <a:lnTo>
                    <a:pt x="1834" y="312"/>
                  </a:lnTo>
                  <a:lnTo>
                    <a:pt x="1834" y="312"/>
                  </a:lnTo>
                  <a:lnTo>
                    <a:pt x="1830" y="312"/>
                  </a:lnTo>
                  <a:lnTo>
                    <a:pt x="1830" y="312"/>
                  </a:lnTo>
                  <a:lnTo>
                    <a:pt x="1825" y="317"/>
                  </a:lnTo>
                  <a:lnTo>
                    <a:pt x="1825" y="317"/>
                  </a:lnTo>
                  <a:lnTo>
                    <a:pt x="1825" y="317"/>
                  </a:lnTo>
                  <a:lnTo>
                    <a:pt x="1821" y="317"/>
                  </a:lnTo>
                  <a:lnTo>
                    <a:pt x="1821" y="317"/>
                  </a:lnTo>
                  <a:lnTo>
                    <a:pt x="1821" y="317"/>
                  </a:lnTo>
                  <a:lnTo>
                    <a:pt x="1816" y="317"/>
                  </a:lnTo>
                  <a:lnTo>
                    <a:pt x="1816" y="317"/>
                  </a:lnTo>
                  <a:lnTo>
                    <a:pt x="1816" y="317"/>
                  </a:lnTo>
                  <a:lnTo>
                    <a:pt x="1816" y="317"/>
                  </a:lnTo>
                  <a:lnTo>
                    <a:pt x="1812" y="317"/>
                  </a:lnTo>
                  <a:lnTo>
                    <a:pt x="1807" y="317"/>
                  </a:lnTo>
                  <a:lnTo>
                    <a:pt x="1807" y="317"/>
                  </a:lnTo>
                  <a:lnTo>
                    <a:pt x="1812" y="321"/>
                  </a:lnTo>
                  <a:lnTo>
                    <a:pt x="1812" y="321"/>
                  </a:lnTo>
                  <a:lnTo>
                    <a:pt x="1812" y="321"/>
                  </a:lnTo>
                  <a:lnTo>
                    <a:pt x="1812" y="321"/>
                  </a:lnTo>
                  <a:lnTo>
                    <a:pt x="1807" y="321"/>
                  </a:lnTo>
                  <a:lnTo>
                    <a:pt x="1807" y="321"/>
                  </a:lnTo>
                  <a:lnTo>
                    <a:pt x="1807" y="321"/>
                  </a:lnTo>
                  <a:lnTo>
                    <a:pt x="1807" y="326"/>
                  </a:lnTo>
                  <a:lnTo>
                    <a:pt x="1807" y="326"/>
                  </a:lnTo>
                  <a:lnTo>
                    <a:pt x="1807" y="326"/>
                  </a:lnTo>
                  <a:lnTo>
                    <a:pt x="1807" y="321"/>
                  </a:lnTo>
                  <a:lnTo>
                    <a:pt x="1807" y="321"/>
                  </a:lnTo>
                  <a:lnTo>
                    <a:pt x="1807" y="321"/>
                  </a:lnTo>
                  <a:lnTo>
                    <a:pt x="1807" y="321"/>
                  </a:lnTo>
                  <a:lnTo>
                    <a:pt x="1807" y="321"/>
                  </a:lnTo>
                  <a:lnTo>
                    <a:pt x="1807" y="317"/>
                  </a:lnTo>
                  <a:lnTo>
                    <a:pt x="1807" y="317"/>
                  </a:lnTo>
                  <a:lnTo>
                    <a:pt x="1807" y="317"/>
                  </a:lnTo>
                  <a:lnTo>
                    <a:pt x="1803" y="312"/>
                  </a:lnTo>
                  <a:lnTo>
                    <a:pt x="1798" y="312"/>
                  </a:lnTo>
                  <a:lnTo>
                    <a:pt x="1798" y="312"/>
                  </a:lnTo>
                  <a:lnTo>
                    <a:pt x="1794" y="312"/>
                  </a:lnTo>
                  <a:lnTo>
                    <a:pt x="1794" y="312"/>
                  </a:lnTo>
                  <a:lnTo>
                    <a:pt x="1794" y="312"/>
                  </a:lnTo>
                  <a:lnTo>
                    <a:pt x="1794" y="312"/>
                  </a:lnTo>
                  <a:lnTo>
                    <a:pt x="1789" y="312"/>
                  </a:lnTo>
                  <a:lnTo>
                    <a:pt x="1789" y="312"/>
                  </a:lnTo>
                  <a:lnTo>
                    <a:pt x="1789" y="312"/>
                  </a:lnTo>
                  <a:lnTo>
                    <a:pt x="1789" y="317"/>
                  </a:lnTo>
                  <a:lnTo>
                    <a:pt x="1789" y="317"/>
                  </a:lnTo>
                  <a:lnTo>
                    <a:pt x="1789" y="317"/>
                  </a:lnTo>
                  <a:lnTo>
                    <a:pt x="1780" y="317"/>
                  </a:lnTo>
                  <a:lnTo>
                    <a:pt x="1780" y="321"/>
                  </a:lnTo>
                  <a:lnTo>
                    <a:pt x="1775" y="321"/>
                  </a:lnTo>
                  <a:lnTo>
                    <a:pt x="1775" y="321"/>
                  </a:lnTo>
                  <a:lnTo>
                    <a:pt x="1775" y="321"/>
                  </a:lnTo>
                  <a:lnTo>
                    <a:pt x="1771" y="326"/>
                  </a:lnTo>
                  <a:lnTo>
                    <a:pt x="1771" y="326"/>
                  </a:lnTo>
                  <a:lnTo>
                    <a:pt x="1771" y="326"/>
                  </a:lnTo>
                  <a:lnTo>
                    <a:pt x="1771" y="326"/>
                  </a:lnTo>
                  <a:lnTo>
                    <a:pt x="1771" y="330"/>
                  </a:lnTo>
                  <a:lnTo>
                    <a:pt x="1771" y="330"/>
                  </a:lnTo>
                  <a:lnTo>
                    <a:pt x="1771" y="330"/>
                  </a:lnTo>
                  <a:lnTo>
                    <a:pt x="1771" y="330"/>
                  </a:lnTo>
                  <a:lnTo>
                    <a:pt x="1775" y="330"/>
                  </a:lnTo>
                  <a:lnTo>
                    <a:pt x="1775" y="330"/>
                  </a:lnTo>
                  <a:lnTo>
                    <a:pt x="1775" y="335"/>
                  </a:lnTo>
                  <a:lnTo>
                    <a:pt x="1775" y="335"/>
                  </a:lnTo>
                  <a:lnTo>
                    <a:pt x="1775" y="335"/>
                  </a:lnTo>
                  <a:lnTo>
                    <a:pt x="1780" y="335"/>
                  </a:lnTo>
                  <a:lnTo>
                    <a:pt x="1780" y="335"/>
                  </a:lnTo>
                  <a:lnTo>
                    <a:pt x="1780" y="335"/>
                  </a:lnTo>
                  <a:lnTo>
                    <a:pt x="1784" y="335"/>
                  </a:lnTo>
                  <a:lnTo>
                    <a:pt x="1784" y="335"/>
                  </a:lnTo>
                  <a:lnTo>
                    <a:pt x="1784" y="335"/>
                  </a:lnTo>
                  <a:lnTo>
                    <a:pt x="1789" y="335"/>
                  </a:lnTo>
                  <a:lnTo>
                    <a:pt x="1789" y="330"/>
                  </a:lnTo>
                  <a:lnTo>
                    <a:pt x="1794" y="330"/>
                  </a:lnTo>
                  <a:lnTo>
                    <a:pt x="1794" y="335"/>
                  </a:lnTo>
                  <a:lnTo>
                    <a:pt x="1794" y="330"/>
                  </a:lnTo>
                  <a:lnTo>
                    <a:pt x="1798" y="330"/>
                  </a:lnTo>
                  <a:lnTo>
                    <a:pt x="1803" y="330"/>
                  </a:lnTo>
                  <a:lnTo>
                    <a:pt x="1803" y="330"/>
                  </a:lnTo>
                  <a:lnTo>
                    <a:pt x="1803" y="330"/>
                  </a:lnTo>
                  <a:lnTo>
                    <a:pt x="1807" y="330"/>
                  </a:lnTo>
                  <a:lnTo>
                    <a:pt x="1807" y="330"/>
                  </a:lnTo>
                  <a:lnTo>
                    <a:pt x="1812" y="330"/>
                  </a:lnTo>
                  <a:lnTo>
                    <a:pt x="1812" y="330"/>
                  </a:lnTo>
                  <a:lnTo>
                    <a:pt x="1812" y="330"/>
                  </a:lnTo>
                  <a:lnTo>
                    <a:pt x="1812" y="326"/>
                  </a:lnTo>
                  <a:lnTo>
                    <a:pt x="1812" y="326"/>
                  </a:lnTo>
                  <a:lnTo>
                    <a:pt x="1812" y="326"/>
                  </a:lnTo>
                  <a:lnTo>
                    <a:pt x="1812" y="326"/>
                  </a:lnTo>
                  <a:lnTo>
                    <a:pt x="1812" y="326"/>
                  </a:lnTo>
                  <a:lnTo>
                    <a:pt x="1816" y="326"/>
                  </a:lnTo>
                  <a:lnTo>
                    <a:pt x="1816" y="326"/>
                  </a:lnTo>
                  <a:lnTo>
                    <a:pt x="1816" y="326"/>
                  </a:lnTo>
                  <a:lnTo>
                    <a:pt x="1816" y="326"/>
                  </a:lnTo>
                  <a:lnTo>
                    <a:pt x="1816" y="326"/>
                  </a:lnTo>
                  <a:lnTo>
                    <a:pt x="1816" y="330"/>
                  </a:lnTo>
                  <a:lnTo>
                    <a:pt x="1816" y="330"/>
                  </a:lnTo>
                  <a:lnTo>
                    <a:pt x="1816" y="330"/>
                  </a:lnTo>
                  <a:lnTo>
                    <a:pt x="1816" y="330"/>
                  </a:lnTo>
                  <a:lnTo>
                    <a:pt x="1816" y="330"/>
                  </a:lnTo>
                  <a:lnTo>
                    <a:pt x="1816" y="330"/>
                  </a:lnTo>
                  <a:lnTo>
                    <a:pt x="1816" y="335"/>
                  </a:lnTo>
                  <a:lnTo>
                    <a:pt x="1816" y="335"/>
                  </a:lnTo>
                  <a:lnTo>
                    <a:pt x="1816" y="335"/>
                  </a:lnTo>
                  <a:lnTo>
                    <a:pt x="1816" y="335"/>
                  </a:lnTo>
                  <a:lnTo>
                    <a:pt x="1816" y="335"/>
                  </a:lnTo>
                  <a:lnTo>
                    <a:pt x="1821" y="330"/>
                  </a:lnTo>
                  <a:lnTo>
                    <a:pt x="1821" y="330"/>
                  </a:lnTo>
                  <a:lnTo>
                    <a:pt x="1821" y="330"/>
                  </a:lnTo>
                  <a:lnTo>
                    <a:pt x="1821" y="330"/>
                  </a:lnTo>
                  <a:lnTo>
                    <a:pt x="1825" y="330"/>
                  </a:lnTo>
                  <a:lnTo>
                    <a:pt x="1825" y="330"/>
                  </a:lnTo>
                  <a:lnTo>
                    <a:pt x="1830" y="330"/>
                  </a:lnTo>
                  <a:lnTo>
                    <a:pt x="1830" y="330"/>
                  </a:lnTo>
                  <a:lnTo>
                    <a:pt x="1825" y="335"/>
                  </a:lnTo>
                  <a:lnTo>
                    <a:pt x="1825" y="335"/>
                  </a:lnTo>
                  <a:lnTo>
                    <a:pt x="1825" y="335"/>
                  </a:lnTo>
                  <a:lnTo>
                    <a:pt x="1825" y="335"/>
                  </a:lnTo>
                  <a:lnTo>
                    <a:pt x="1825" y="335"/>
                  </a:lnTo>
                  <a:lnTo>
                    <a:pt x="1825" y="339"/>
                  </a:lnTo>
                  <a:lnTo>
                    <a:pt x="1825" y="339"/>
                  </a:lnTo>
                  <a:lnTo>
                    <a:pt x="1825" y="344"/>
                  </a:lnTo>
                  <a:lnTo>
                    <a:pt x="1825" y="344"/>
                  </a:lnTo>
                  <a:lnTo>
                    <a:pt x="1825" y="344"/>
                  </a:lnTo>
                  <a:lnTo>
                    <a:pt x="1825" y="344"/>
                  </a:lnTo>
                  <a:lnTo>
                    <a:pt x="1825" y="344"/>
                  </a:lnTo>
                  <a:lnTo>
                    <a:pt x="1830" y="344"/>
                  </a:lnTo>
                  <a:lnTo>
                    <a:pt x="1830" y="344"/>
                  </a:lnTo>
                  <a:lnTo>
                    <a:pt x="1830" y="344"/>
                  </a:lnTo>
                  <a:lnTo>
                    <a:pt x="1830" y="344"/>
                  </a:lnTo>
                  <a:lnTo>
                    <a:pt x="1830" y="344"/>
                  </a:lnTo>
                  <a:lnTo>
                    <a:pt x="1830" y="348"/>
                  </a:lnTo>
                  <a:lnTo>
                    <a:pt x="1830" y="348"/>
                  </a:lnTo>
                  <a:lnTo>
                    <a:pt x="1830" y="348"/>
                  </a:lnTo>
                  <a:lnTo>
                    <a:pt x="1834" y="348"/>
                  </a:lnTo>
                  <a:lnTo>
                    <a:pt x="1834" y="348"/>
                  </a:lnTo>
                  <a:lnTo>
                    <a:pt x="1834" y="348"/>
                  </a:lnTo>
                  <a:lnTo>
                    <a:pt x="1834" y="348"/>
                  </a:lnTo>
                  <a:lnTo>
                    <a:pt x="1834" y="348"/>
                  </a:lnTo>
                  <a:lnTo>
                    <a:pt x="1834" y="353"/>
                  </a:lnTo>
                  <a:lnTo>
                    <a:pt x="1839" y="353"/>
                  </a:lnTo>
                  <a:lnTo>
                    <a:pt x="1834" y="353"/>
                  </a:lnTo>
                  <a:lnTo>
                    <a:pt x="1834" y="353"/>
                  </a:lnTo>
                  <a:lnTo>
                    <a:pt x="1834" y="353"/>
                  </a:lnTo>
                  <a:lnTo>
                    <a:pt x="1830" y="353"/>
                  </a:lnTo>
                  <a:lnTo>
                    <a:pt x="1830" y="353"/>
                  </a:lnTo>
                  <a:lnTo>
                    <a:pt x="1830" y="353"/>
                  </a:lnTo>
                  <a:lnTo>
                    <a:pt x="1825" y="353"/>
                  </a:lnTo>
                  <a:lnTo>
                    <a:pt x="1830" y="353"/>
                  </a:lnTo>
                  <a:lnTo>
                    <a:pt x="1830" y="357"/>
                  </a:lnTo>
                  <a:lnTo>
                    <a:pt x="1830" y="357"/>
                  </a:lnTo>
                  <a:lnTo>
                    <a:pt x="1830" y="362"/>
                  </a:lnTo>
                  <a:lnTo>
                    <a:pt x="1830" y="362"/>
                  </a:lnTo>
                  <a:lnTo>
                    <a:pt x="1834" y="362"/>
                  </a:lnTo>
                  <a:lnTo>
                    <a:pt x="1834" y="362"/>
                  </a:lnTo>
                  <a:lnTo>
                    <a:pt x="1834" y="362"/>
                  </a:lnTo>
                  <a:lnTo>
                    <a:pt x="1834" y="362"/>
                  </a:lnTo>
                  <a:lnTo>
                    <a:pt x="1834" y="362"/>
                  </a:lnTo>
                  <a:lnTo>
                    <a:pt x="1834" y="362"/>
                  </a:lnTo>
                  <a:lnTo>
                    <a:pt x="1839" y="366"/>
                  </a:lnTo>
                  <a:lnTo>
                    <a:pt x="1839" y="366"/>
                  </a:lnTo>
                  <a:lnTo>
                    <a:pt x="1839" y="366"/>
                  </a:lnTo>
                  <a:lnTo>
                    <a:pt x="1843" y="366"/>
                  </a:lnTo>
                  <a:lnTo>
                    <a:pt x="1843" y="366"/>
                  </a:lnTo>
                  <a:lnTo>
                    <a:pt x="1843" y="366"/>
                  </a:lnTo>
                  <a:lnTo>
                    <a:pt x="1848" y="366"/>
                  </a:lnTo>
                  <a:lnTo>
                    <a:pt x="1848" y="366"/>
                  </a:lnTo>
                  <a:lnTo>
                    <a:pt x="1848" y="371"/>
                  </a:lnTo>
                  <a:lnTo>
                    <a:pt x="1848" y="375"/>
                  </a:lnTo>
                  <a:lnTo>
                    <a:pt x="1848" y="375"/>
                  </a:lnTo>
                  <a:lnTo>
                    <a:pt x="1852" y="375"/>
                  </a:lnTo>
                  <a:lnTo>
                    <a:pt x="1852" y="375"/>
                  </a:lnTo>
                  <a:lnTo>
                    <a:pt x="1852" y="375"/>
                  </a:lnTo>
                  <a:lnTo>
                    <a:pt x="1857" y="380"/>
                  </a:lnTo>
                  <a:lnTo>
                    <a:pt x="1866" y="380"/>
                  </a:lnTo>
                  <a:lnTo>
                    <a:pt x="1866" y="380"/>
                  </a:lnTo>
                  <a:lnTo>
                    <a:pt x="1866" y="380"/>
                  </a:lnTo>
                  <a:lnTo>
                    <a:pt x="1870" y="380"/>
                  </a:lnTo>
                  <a:lnTo>
                    <a:pt x="1870" y="384"/>
                  </a:lnTo>
                  <a:lnTo>
                    <a:pt x="1875" y="384"/>
                  </a:lnTo>
                  <a:lnTo>
                    <a:pt x="1875" y="384"/>
                  </a:lnTo>
                  <a:lnTo>
                    <a:pt x="1875" y="384"/>
                  </a:lnTo>
                  <a:lnTo>
                    <a:pt x="1879" y="384"/>
                  </a:lnTo>
                  <a:lnTo>
                    <a:pt x="1879" y="384"/>
                  </a:lnTo>
                  <a:lnTo>
                    <a:pt x="1879" y="384"/>
                  </a:lnTo>
                  <a:lnTo>
                    <a:pt x="1879" y="384"/>
                  </a:lnTo>
                  <a:lnTo>
                    <a:pt x="1879" y="384"/>
                  </a:lnTo>
                  <a:lnTo>
                    <a:pt x="1884" y="380"/>
                  </a:lnTo>
                  <a:lnTo>
                    <a:pt x="1884" y="380"/>
                  </a:lnTo>
                  <a:lnTo>
                    <a:pt x="1884" y="380"/>
                  </a:lnTo>
                  <a:lnTo>
                    <a:pt x="1884" y="380"/>
                  </a:lnTo>
                  <a:lnTo>
                    <a:pt x="1884" y="380"/>
                  </a:lnTo>
                  <a:lnTo>
                    <a:pt x="1884" y="380"/>
                  </a:lnTo>
                  <a:lnTo>
                    <a:pt x="1884" y="380"/>
                  </a:lnTo>
                  <a:lnTo>
                    <a:pt x="1884" y="375"/>
                  </a:lnTo>
                  <a:lnTo>
                    <a:pt x="1884" y="375"/>
                  </a:lnTo>
                  <a:lnTo>
                    <a:pt x="1884" y="375"/>
                  </a:lnTo>
                  <a:lnTo>
                    <a:pt x="1879" y="371"/>
                  </a:lnTo>
                  <a:lnTo>
                    <a:pt x="1879" y="371"/>
                  </a:lnTo>
                  <a:lnTo>
                    <a:pt x="1879" y="371"/>
                  </a:lnTo>
                  <a:lnTo>
                    <a:pt x="1879" y="371"/>
                  </a:lnTo>
                  <a:lnTo>
                    <a:pt x="1879" y="366"/>
                  </a:lnTo>
                  <a:lnTo>
                    <a:pt x="1879" y="366"/>
                  </a:lnTo>
                  <a:lnTo>
                    <a:pt x="1875" y="366"/>
                  </a:lnTo>
                  <a:lnTo>
                    <a:pt x="1875" y="366"/>
                  </a:lnTo>
                  <a:lnTo>
                    <a:pt x="1875" y="362"/>
                  </a:lnTo>
                  <a:lnTo>
                    <a:pt x="1875" y="362"/>
                  </a:lnTo>
                  <a:lnTo>
                    <a:pt x="1875" y="362"/>
                  </a:lnTo>
                  <a:lnTo>
                    <a:pt x="1875" y="362"/>
                  </a:lnTo>
                  <a:lnTo>
                    <a:pt x="1875" y="362"/>
                  </a:lnTo>
                  <a:lnTo>
                    <a:pt x="1870" y="362"/>
                  </a:lnTo>
                  <a:lnTo>
                    <a:pt x="1870" y="362"/>
                  </a:lnTo>
                  <a:lnTo>
                    <a:pt x="1870" y="362"/>
                  </a:lnTo>
                  <a:lnTo>
                    <a:pt x="1870" y="357"/>
                  </a:lnTo>
                  <a:lnTo>
                    <a:pt x="1870" y="357"/>
                  </a:lnTo>
                  <a:lnTo>
                    <a:pt x="1870" y="353"/>
                  </a:lnTo>
                  <a:lnTo>
                    <a:pt x="1870" y="353"/>
                  </a:lnTo>
                  <a:lnTo>
                    <a:pt x="1870" y="348"/>
                  </a:lnTo>
                  <a:lnTo>
                    <a:pt x="1870" y="348"/>
                  </a:lnTo>
                  <a:lnTo>
                    <a:pt x="1870" y="348"/>
                  </a:lnTo>
                  <a:lnTo>
                    <a:pt x="1875" y="348"/>
                  </a:lnTo>
                  <a:lnTo>
                    <a:pt x="1875" y="353"/>
                  </a:lnTo>
                  <a:lnTo>
                    <a:pt x="1879" y="357"/>
                  </a:lnTo>
                  <a:lnTo>
                    <a:pt x="1879" y="357"/>
                  </a:lnTo>
                  <a:lnTo>
                    <a:pt x="1879" y="357"/>
                  </a:lnTo>
                  <a:lnTo>
                    <a:pt x="1879" y="357"/>
                  </a:lnTo>
                  <a:lnTo>
                    <a:pt x="1879" y="353"/>
                  </a:lnTo>
                  <a:lnTo>
                    <a:pt x="1879" y="353"/>
                  </a:lnTo>
                  <a:lnTo>
                    <a:pt x="1879" y="353"/>
                  </a:lnTo>
                  <a:lnTo>
                    <a:pt x="1884" y="353"/>
                  </a:lnTo>
                  <a:lnTo>
                    <a:pt x="1884" y="357"/>
                  </a:lnTo>
                  <a:lnTo>
                    <a:pt x="1884" y="357"/>
                  </a:lnTo>
                  <a:lnTo>
                    <a:pt x="1884" y="357"/>
                  </a:lnTo>
                  <a:lnTo>
                    <a:pt x="1884" y="357"/>
                  </a:lnTo>
                  <a:lnTo>
                    <a:pt x="1884" y="357"/>
                  </a:lnTo>
                  <a:lnTo>
                    <a:pt x="1884" y="362"/>
                  </a:lnTo>
                  <a:lnTo>
                    <a:pt x="1884" y="362"/>
                  </a:lnTo>
                  <a:lnTo>
                    <a:pt x="1888" y="362"/>
                  </a:lnTo>
                  <a:lnTo>
                    <a:pt x="1888" y="362"/>
                  </a:lnTo>
                  <a:lnTo>
                    <a:pt x="1888" y="362"/>
                  </a:lnTo>
                  <a:lnTo>
                    <a:pt x="1888" y="362"/>
                  </a:lnTo>
                  <a:lnTo>
                    <a:pt x="1888" y="362"/>
                  </a:lnTo>
                  <a:lnTo>
                    <a:pt x="1888" y="362"/>
                  </a:lnTo>
                  <a:lnTo>
                    <a:pt x="1888" y="362"/>
                  </a:lnTo>
                  <a:lnTo>
                    <a:pt x="1888" y="362"/>
                  </a:lnTo>
                  <a:lnTo>
                    <a:pt x="1888" y="362"/>
                  </a:lnTo>
                  <a:lnTo>
                    <a:pt x="1888" y="362"/>
                  </a:lnTo>
                  <a:lnTo>
                    <a:pt x="1888" y="362"/>
                  </a:lnTo>
                  <a:lnTo>
                    <a:pt x="1888" y="366"/>
                  </a:lnTo>
                  <a:lnTo>
                    <a:pt x="1893" y="366"/>
                  </a:lnTo>
                  <a:lnTo>
                    <a:pt x="1893" y="366"/>
                  </a:lnTo>
                  <a:lnTo>
                    <a:pt x="1893" y="366"/>
                  </a:lnTo>
                  <a:lnTo>
                    <a:pt x="1893" y="362"/>
                  </a:lnTo>
                  <a:lnTo>
                    <a:pt x="1893" y="362"/>
                  </a:lnTo>
                  <a:lnTo>
                    <a:pt x="1893" y="362"/>
                  </a:lnTo>
                  <a:lnTo>
                    <a:pt x="1893" y="366"/>
                  </a:lnTo>
                  <a:lnTo>
                    <a:pt x="1893" y="366"/>
                  </a:lnTo>
                  <a:lnTo>
                    <a:pt x="1893" y="366"/>
                  </a:lnTo>
                  <a:lnTo>
                    <a:pt x="1897" y="366"/>
                  </a:lnTo>
                  <a:lnTo>
                    <a:pt x="1897" y="366"/>
                  </a:lnTo>
                  <a:lnTo>
                    <a:pt x="1897" y="366"/>
                  </a:lnTo>
                  <a:lnTo>
                    <a:pt x="1897" y="366"/>
                  </a:lnTo>
                  <a:lnTo>
                    <a:pt x="1897" y="366"/>
                  </a:lnTo>
                  <a:lnTo>
                    <a:pt x="1897" y="371"/>
                  </a:lnTo>
                  <a:lnTo>
                    <a:pt x="1902" y="371"/>
                  </a:lnTo>
                  <a:lnTo>
                    <a:pt x="1902" y="371"/>
                  </a:lnTo>
                  <a:lnTo>
                    <a:pt x="1902" y="371"/>
                  </a:lnTo>
                  <a:lnTo>
                    <a:pt x="1902" y="371"/>
                  </a:lnTo>
                  <a:lnTo>
                    <a:pt x="1902" y="371"/>
                  </a:lnTo>
                  <a:lnTo>
                    <a:pt x="1902" y="366"/>
                  </a:lnTo>
                  <a:lnTo>
                    <a:pt x="1906" y="366"/>
                  </a:lnTo>
                  <a:lnTo>
                    <a:pt x="1906" y="366"/>
                  </a:lnTo>
                  <a:lnTo>
                    <a:pt x="1906" y="366"/>
                  </a:lnTo>
                  <a:lnTo>
                    <a:pt x="1906" y="366"/>
                  </a:lnTo>
                  <a:lnTo>
                    <a:pt x="1911" y="366"/>
                  </a:lnTo>
                  <a:lnTo>
                    <a:pt x="1911" y="366"/>
                  </a:lnTo>
                  <a:lnTo>
                    <a:pt x="1911" y="366"/>
                  </a:lnTo>
                  <a:lnTo>
                    <a:pt x="1911" y="366"/>
                  </a:lnTo>
                  <a:lnTo>
                    <a:pt x="1911" y="366"/>
                  </a:lnTo>
                  <a:lnTo>
                    <a:pt x="1911" y="362"/>
                  </a:lnTo>
                  <a:lnTo>
                    <a:pt x="1911" y="362"/>
                  </a:lnTo>
                  <a:lnTo>
                    <a:pt x="1911" y="362"/>
                  </a:lnTo>
                  <a:lnTo>
                    <a:pt x="1911" y="362"/>
                  </a:lnTo>
                  <a:lnTo>
                    <a:pt x="1911" y="362"/>
                  </a:lnTo>
                  <a:lnTo>
                    <a:pt x="1911" y="362"/>
                  </a:lnTo>
                  <a:lnTo>
                    <a:pt x="1911" y="357"/>
                  </a:lnTo>
                  <a:lnTo>
                    <a:pt x="1911" y="353"/>
                  </a:lnTo>
                  <a:lnTo>
                    <a:pt x="1916" y="353"/>
                  </a:lnTo>
                  <a:lnTo>
                    <a:pt x="1916" y="353"/>
                  </a:lnTo>
                  <a:lnTo>
                    <a:pt x="1916" y="353"/>
                  </a:lnTo>
                  <a:lnTo>
                    <a:pt x="1916" y="353"/>
                  </a:lnTo>
                  <a:lnTo>
                    <a:pt x="1916" y="357"/>
                  </a:lnTo>
                  <a:lnTo>
                    <a:pt x="1916" y="357"/>
                  </a:lnTo>
                  <a:lnTo>
                    <a:pt x="1916" y="362"/>
                  </a:lnTo>
                  <a:lnTo>
                    <a:pt x="1916" y="362"/>
                  </a:lnTo>
                  <a:lnTo>
                    <a:pt x="1916" y="362"/>
                  </a:lnTo>
                  <a:lnTo>
                    <a:pt x="1916" y="362"/>
                  </a:lnTo>
                  <a:lnTo>
                    <a:pt x="1916" y="362"/>
                  </a:lnTo>
                  <a:lnTo>
                    <a:pt x="1920" y="357"/>
                  </a:lnTo>
                  <a:lnTo>
                    <a:pt x="1920" y="357"/>
                  </a:lnTo>
                  <a:lnTo>
                    <a:pt x="1920" y="353"/>
                  </a:lnTo>
                  <a:lnTo>
                    <a:pt x="1920" y="353"/>
                  </a:lnTo>
                  <a:lnTo>
                    <a:pt x="1925" y="353"/>
                  </a:lnTo>
                  <a:lnTo>
                    <a:pt x="1925" y="353"/>
                  </a:lnTo>
                  <a:lnTo>
                    <a:pt x="1925" y="348"/>
                  </a:lnTo>
                  <a:lnTo>
                    <a:pt x="1925" y="348"/>
                  </a:lnTo>
                  <a:lnTo>
                    <a:pt x="1920" y="348"/>
                  </a:lnTo>
                  <a:lnTo>
                    <a:pt x="1920" y="348"/>
                  </a:lnTo>
                  <a:lnTo>
                    <a:pt x="1925" y="348"/>
                  </a:lnTo>
                  <a:lnTo>
                    <a:pt x="1925" y="348"/>
                  </a:lnTo>
                  <a:lnTo>
                    <a:pt x="1925" y="348"/>
                  </a:lnTo>
                  <a:lnTo>
                    <a:pt x="1920" y="348"/>
                  </a:lnTo>
                  <a:lnTo>
                    <a:pt x="1920" y="348"/>
                  </a:lnTo>
                  <a:lnTo>
                    <a:pt x="1920" y="348"/>
                  </a:lnTo>
                  <a:lnTo>
                    <a:pt x="1916" y="348"/>
                  </a:lnTo>
                  <a:lnTo>
                    <a:pt x="1916" y="348"/>
                  </a:lnTo>
                  <a:lnTo>
                    <a:pt x="1920" y="348"/>
                  </a:lnTo>
                  <a:lnTo>
                    <a:pt x="1920" y="344"/>
                  </a:lnTo>
                  <a:lnTo>
                    <a:pt x="1920" y="344"/>
                  </a:lnTo>
                  <a:lnTo>
                    <a:pt x="1920" y="344"/>
                  </a:lnTo>
                  <a:lnTo>
                    <a:pt x="1920" y="344"/>
                  </a:lnTo>
                  <a:lnTo>
                    <a:pt x="1916" y="344"/>
                  </a:lnTo>
                  <a:lnTo>
                    <a:pt x="1916" y="344"/>
                  </a:lnTo>
                  <a:lnTo>
                    <a:pt x="1916" y="339"/>
                  </a:lnTo>
                  <a:lnTo>
                    <a:pt x="1920" y="344"/>
                  </a:lnTo>
                  <a:lnTo>
                    <a:pt x="1920" y="344"/>
                  </a:lnTo>
                  <a:lnTo>
                    <a:pt x="1925" y="339"/>
                  </a:lnTo>
                  <a:lnTo>
                    <a:pt x="1925" y="339"/>
                  </a:lnTo>
                  <a:lnTo>
                    <a:pt x="1925" y="339"/>
                  </a:lnTo>
                  <a:lnTo>
                    <a:pt x="1920" y="339"/>
                  </a:lnTo>
                  <a:lnTo>
                    <a:pt x="1920" y="339"/>
                  </a:lnTo>
                  <a:lnTo>
                    <a:pt x="1920" y="339"/>
                  </a:lnTo>
                  <a:lnTo>
                    <a:pt x="1925" y="335"/>
                  </a:lnTo>
                  <a:lnTo>
                    <a:pt x="1925" y="335"/>
                  </a:lnTo>
                  <a:lnTo>
                    <a:pt x="1925" y="335"/>
                  </a:lnTo>
                  <a:lnTo>
                    <a:pt x="1920" y="335"/>
                  </a:lnTo>
                  <a:lnTo>
                    <a:pt x="1920" y="335"/>
                  </a:lnTo>
                  <a:lnTo>
                    <a:pt x="1920" y="335"/>
                  </a:lnTo>
                  <a:lnTo>
                    <a:pt x="1920" y="330"/>
                  </a:lnTo>
                  <a:lnTo>
                    <a:pt x="1920" y="330"/>
                  </a:lnTo>
                  <a:lnTo>
                    <a:pt x="1916" y="330"/>
                  </a:lnTo>
                  <a:lnTo>
                    <a:pt x="1916" y="330"/>
                  </a:lnTo>
                  <a:lnTo>
                    <a:pt x="1916" y="335"/>
                  </a:lnTo>
                  <a:lnTo>
                    <a:pt x="1916" y="335"/>
                  </a:lnTo>
                  <a:lnTo>
                    <a:pt x="1916" y="335"/>
                  </a:lnTo>
                  <a:lnTo>
                    <a:pt x="1916" y="330"/>
                  </a:lnTo>
                  <a:lnTo>
                    <a:pt x="1916" y="330"/>
                  </a:lnTo>
                  <a:lnTo>
                    <a:pt x="1916" y="330"/>
                  </a:lnTo>
                  <a:lnTo>
                    <a:pt x="1916" y="330"/>
                  </a:lnTo>
                  <a:lnTo>
                    <a:pt x="1916" y="330"/>
                  </a:lnTo>
                  <a:lnTo>
                    <a:pt x="1911" y="330"/>
                  </a:lnTo>
                  <a:lnTo>
                    <a:pt x="1911" y="330"/>
                  </a:lnTo>
                  <a:lnTo>
                    <a:pt x="1911" y="330"/>
                  </a:lnTo>
                  <a:lnTo>
                    <a:pt x="1911" y="330"/>
                  </a:lnTo>
                  <a:lnTo>
                    <a:pt x="1911" y="330"/>
                  </a:lnTo>
                  <a:lnTo>
                    <a:pt x="1911" y="326"/>
                  </a:lnTo>
                  <a:lnTo>
                    <a:pt x="1911" y="326"/>
                  </a:lnTo>
                  <a:lnTo>
                    <a:pt x="1911" y="326"/>
                  </a:lnTo>
                  <a:lnTo>
                    <a:pt x="1911" y="326"/>
                  </a:lnTo>
                  <a:lnTo>
                    <a:pt x="1911" y="326"/>
                  </a:lnTo>
                  <a:lnTo>
                    <a:pt x="1911" y="326"/>
                  </a:lnTo>
                  <a:lnTo>
                    <a:pt x="1911" y="326"/>
                  </a:lnTo>
                  <a:lnTo>
                    <a:pt x="1911" y="326"/>
                  </a:lnTo>
                  <a:lnTo>
                    <a:pt x="1911" y="326"/>
                  </a:lnTo>
                  <a:lnTo>
                    <a:pt x="1911" y="321"/>
                  </a:lnTo>
                  <a:lnTo>
                    <a:pt x="1911" y="321"/>
                  </a:lnTo>
                  <a:lnTo>
                    <a:pt x="1911" y="321"/>
                  </a:lnTo>
                  <a:lnTo>
                    <a:pt x="1911" y="321"/>
                  </a:lnTo>
                  <a:lnTo>
                    <a:pt x="1911" y="321"/>
                  </a:lnTo>
                  <a:lnTo>
                    <a:pt x="1911" y="321"/>
                  </a:lnTo>
                  <a:lnTo>
                    <a:pt x="1911" y="321"/>
                  </a:lnTo>
                  <a:lnTo>
                    <a:pt x="1911" y="317"/>
                  </a:lnTo>
                  <a:lnTo>
                    <a:pt x="1911" y="317"/>
                  </a:lnTo>
                  <a:lnTo>
                    <a:pt x="1911" y="317"/>
                  </a:lnTo>
                  <a:lnTo>
                    <a:pt x="1911" y="317"/>
                  </a:lnTo>
                  <a:lnTo>
                    <a:pt x="1911" y="317"/>
                  </a:lnTo>
                  <a:lnTo>
                    <a:pt x="1911" y="317"/>
                  </a:lnTo>
                  <a:lnTo>
                    <a:pt x="1911" y="317"/>
                  </a:lnTo>
                  <a:lnTo>
                    <a:pt x="1906" y="317"/>
                  </a:lnTo>
                  <a:lnTo>
                    <a:pt x="1906" y="317"/>
                  </a:lnTo>
                  <a:lnTo>
                    <a:pt x="1906" y="317"/>
                  </a:lnTo>
                  <a:lnTo>
                    <a:pt x="1906" y="317"/>
                  </a:lnTo>
                  <a:lnTo>
                    <a:pt x="1906" y="317"/>
                  </a:lnTo>
                  <a:lnTo>
                    <a:pt x="1906" y="312"/>
                  </a:lnTo>
                  <a:lnTo>
                    <a:pt x="1906" y="312"/>
                  </a:lnTo>
                  <a:lnTo>
                    <a:pt x="1906" y="312"/>
                  </a:lnTo>
                  <a:lnTo>
                    <a:pt x="1906" y="312"/>
                  </a:lnTo>
                  <a:lnTo>
                    <a:pt x="1906" y="312"/>
                  </a:lnTo>
                  <a:lnTo>
                    <a:pt x="1906" y="308"/>
                  </a:lnTo>
                  <a:lnTo>
                    <a:pt x="1906" y="308"/>
                  </a:lnTo>
                  <a:lnTo>
                    <a:pt x="1906" y="308"/>
                  </a:lnTo>
                  <a:lnTo>
                    <a:pt x="1906" y="308"/>
                  </a:lnTo>
                  <a:lnTo>
                    <a:pt x="1906" y="303"/>
                  </a:lnTo>
                  <a:lnTo>
                    <a:pt x="1906" y="303"/>
                  </a:lnTo>
                  <a:lnTo>
                    <a:pt x="1902" y="303"/>
                  </a:lnTo>
                  <a:lnTo>
                    <a:pt x="1902" y="303"/>
                  </a:lnTo>
                  <a:lnTo>
                    <a:pt x="1906" y="303"/>
                  </a:lnTo>
                  <a:lnTo>
                    <a:pt x="1906" y="303"/>
                  </a:lnTo>
                  <a:lnTo>
                    <a:pt x="1911" y="308"/>
                  </a:lnTo>
                  <a:lnTo>
                    <a:pt x="1911" y="308"/>
                  </a:lnTo>
                  <a:lnTo>
                    <a:pt x="1911" y="308"/>
                  </a:lnTo>
                  <a:lnTo>
                    <a:pt x="1916" y="312"/>
                  </a:lnTo>
                  <a:lnTo>
                    <a:pt x="1916" y="312"/>
                  </a:lnTo>
                  <a:lnTo>
                    <a:pt x="1916" y="312"/>
                  </a:lnTo>
                  <a:lnTo>
                    <a:pt x="1916" y="312"/>
                  </a:lnTo>
                  <a:lnTo>
                    <a:pt x="1920" y="308"/>
                  </a:lnTo>
                  <a:lnTo>
                    <a:pt x="1920" y="308"/>
                  </a:lnTo>
                  <a:lnTo>
                    <a:pt x="1916" y="308"/>
                  </a:lnTo>
                  <a:lnTo>
                    <a:pt x="1916" y="303"/>
                  </a:lnTo>
                  <a:lnTo>
                    <a:pt x="1916" y="303"/>
                  </a:lnTo>
                  <a:lnTo>
                    <a:pt x="1916" y="298"/>
                  </a:lnTo>
                  <a:lnTo>
                    <a:pt x="1920" y="298"/>
                  </a:lnTo>
                  <a:lnTo>
                    <a:pt x="1920" y="298"/>
                  </a:lnTo>
                  <a:lnTo>
                    <a:pt x="1920" y="303"/>
                  </a:lnTo>
                  <a:lnTo>
                    <a:pt x="1920" y="303"/>
                  </a:lnTo>
                  <a:lnTo>
                    <a:pt x="1920" y="303"/>
                  </a:lnTo>
                  <a:lnTo>
                    <a:pt x="1925" y="303"/>
                  </a:lnTo>
                  <a:lnTo>
                    <a:pt x="1925" y="303"/>
                  </a:lnTo>
                  <a:lnTo>
                    <a:pt x="1925" y="303"/>
                  </a:lnTo>
                  <a:lnTo>
                    <a:pt x="1925" y="298"/>
                  </a:lnTo>
                  <a:lnTo>
                    <a:pt x="1925" y="298"/>
                  </a:lnTo>
                  <a:lnTo>
                    <a:pt x="1925" y="298"/>
                  </a:lnTo>
                  <a:lnTo>
                    <a:pt x="1929" y="298"/>
                  </a:lnTo>
                  <a:lnTo>
                    <a:pt x="1929" y="298"/>
                  </a:lnTo>
                  <a:lnTo>
                    <a:pt x="1929" y="298"/>
                  </a:lnTo>
                  <a:lnTo>
                    <a:pt x="1929" y="298"/>
                  </a:lnTo>
                  <a:lnTo>
                    <a:pt x="1929" y="298"/>
                  </a:lnTo>
                  <a:lnTo>
                    <a:pt x="1929" y="298"/>
                  </a:lnTo>
                  <a:lnTo>
                    <a:pt x="1934" y="298"/>
                  </a:lnTo>
                  <a:lnTo>
                    <a:pt x="1929" y="298"/>
                  </a:lnTo>
                  <a:lnTo>
                    <a:pt x="1929" y="303"/>
                  </a:lnTo>
                  <a:lnTo>
                    <a:pt x="1934" y="303"/>
                  </a:lnTo>
                  <a:lnTo>
                    <a:pt x="1934" y="303"/>
                  </a:lnTo>
                  <a:lnTo>
                    <a:pt x="1934" y="308"/>
                  </a:lnTo>
                  <a:lnTo>
                    <a:pt x="1934" y="308"/>
                  </a:lnTo>
                  <a:lnTo>
                    <a:pt x="1934" y="308"/>
                  </a:lnTo>
                  <a:lnTo>
                    <a:pt x="1934" y="308"/>
                  </a:lnTo>
                  <a:lnTo>
                    <a:pt x="1938" y="308"/>
                  </a:lnTo>
                  <a:lnTo>
                    <a:pt x="1938" y="308"/>
                  </a:lnTo>
                  <a:lnTo>
                    <a:pt x="1938" y="308"/>
                  </a:lnTo>
                  <a:lnTo>
                    <a:pt x="1938" y="308"/>
                  </a:lnTo>
                  <a:lnTo>
                    <a:pt x="1938" y="308"/>
                  </a:lnTo>
                  <a:lnTo>
                    <a:pt x="1934" y="308"/>
                  </a:lnTo>
                  <a:lnTo>
                    <a:pt x="1934" y="312"/>
                  </a:lnTo>
                  <a:lnTo>
                    <a:pt x="1938" y="312"/>
                  </a:lnTo>
                  <a:lnTo>
                    <a:pt x="1938" y="312"/>
                  </a:lnTo>
                  <a:lnTo>
                    <a:pt x="1943" y="312"/>
                  </a:lnTo>
                  <a:lnTo>
                    <a:pt x="1947" y="308"/>
                  </a:lnTo>
                  <a:lnTo>
                    <a:pt x="1947" y="308"/>
                  </a:lnTo>
                  <a:lnTo>
                    <a:pt x="1952" y="308"/>
                  </a:lnTo>
                  <a:lnTo>
                    <a:pt x="1952" y="308"/>
                  </a:lnTo>
                  <a:lnTo>
                    <a:pt x="1956" y="303"/>
                  </a:lnTo>
                  <a:lnTo>
                    <a:pt x="1956" y="308"/>
                  </a:lnTo>
                  <a:lnTo>
                    <a:pt x="1952" y="308"/>
                  </a:lnTo>
                  <a:lnTo>
                    <a:pt x="1952" y="308"/>
                  </a:lnTo>
                  <a:lnTo>
                    <a:pt x="1947" y="308"/>
                  </a:lnTo>
                  <a:lnTo>
                    <a:pt x="1947" y="312"/>
                  </a:lnTo>
                  <a:lnTo>
                    <a:pt x="1943" y="312"/>
                  </a:lnTo>
                  <a:lnTo>
                    <a:pt x="1943" y="312"/>
                  </a:lnTo>
                  <a:lnTo>
                    <a:pt x="1938" y="312"/>
                  </a:lnTo>
                  <a:lnTo>
                    <a:pt x="1938" y="312"/>
                  </a:lnTo>
                  <a:lnTo>
                    <a:pt x="1938" y="317"/>
                  </a:lnTo>
                  <a:lnTo>
                    <a:pt x="1938" y="317"/>
                  </a:lnTo>
                  <a:lnTo>
                    <a:pt x="1938" y="317"/>
                  </a:lnTo>
                  <a:lnTo>
                    <a:pt x="1938" y="317"/>
                  </a:lnTo>
                  <a:lnTo>
                    <a:pt x="1938" y="317"/>
                  </a:lnTo>
                  <a:lnTo>
                    <a:pt x="1938" y="317"/>
                  </a:lnTo>
                  <a:lnTo>
                    <a:pt x="1938" y="321"/>
                  </a:lnTo>
                  <a:lnTo>
                    <a:pt x="1938" y="321"/>
                  </a:lnTo>
                  <a:lnTo>
                    <a:pt x="1938" y="326"/>
                  </a:lnTo>
                  <a:lnTo>
                    <a:pt x="1938" y="326"/>
                  </a:lnTo>
                  <a:lnTo>
                    <a:pt x="1938" y="326"/>
                  </a:lnTo>
                  <a:lnTo>
                    <a:pt x="1938" y="326"/>
                  </a:lnTo>
                  <a:lnTo>
                    <a:pt x="1943" y="326"/>
                  </a:lnTo>
                  <a:lnTo>
                    <a:pt x="1943" y="321"/>
                  </a:lnTo>
                  <a:lnTo>
                    <a:pt x="1947" y="321"/>
                  </a:lnTo>
                  <a:lnTo>
                    <a:pt x="1947" y="321"/>
                  </a:lnTo>
                  <a:lnTo>
                    <a:pt x="1943" y="326"/>
                  </a:lnTo>
                  <a:lnTo>
                    <a:pt x="1943" y="326"/>
                  </a:lnTo>
                  <a:lnTo>
                    <a:pt x="1943" y="326"/>
                  </a:lnTo>
                  <a:lnTo>
                    <a:pt x="1943" y="330"/>
                  </a:lnTo>
                  <a:lnTo>
                    <a:pt x="1943" y="326"/>
                  </a:lnTo>
                  <a:lnTo>
                    <a:pt x="1947" y="326"/>
                  </a:lnTo>
                  <a:lnTo>
                    <a:pt x="1947" y="330"/>
                  </a:lnTo>
                  <a:lnTo>
                    <a:pt x="1947" y="330"/>
                  </a:lnTo>
                  <a:lnTo>
                    <a:pt x="1947" y="330"/>
                  </a:lnTo>
                  <a:lnTo>
                    <a:pt x="1947" y="330"/>
                  </a:lnTo>
                  <a:lnTo>
                    <a:pt x="1947" y="330"/>
                  </a:lnTo>
                  <a:lnTo>
                    <a:pt x="1952" y="330"/>
                  </a:lnTo>
                  <a:lnTo>
                    <a:pt x="1952" y="330"/>
                  </a:lnTo>
                  <a:lnTo>
                    <a:pt x="1956" y="326"/>
                  </a:lnTo>
                  <a:lnTo>
                    <a:pt x="1956" y="321"/>
                  </a:lnTo>
                  <a:lnTo>
                    <a:pt x="1961" y="321"/>
                  </a:lnTo>
                  <a:lnTo>
                    <a:pt x="1956" y="317"/>
                  </a:lnTo>
                  <a:lnTo>
                    <a:pt x="1956" y="317"/>
                  </a:lnTo>
                  <a:lnTo>
                    <a:pt x="1956" y="317"/>
                  </a:lnTo>
                  <a:lnTo>
                    <a:pt x="1961" y="317"/>
                  </a:lnTo>
                  <a:lnTo>
                    <a:pt x="1961" y="317"/>
                  </a:lnTo>
                  <a:lnTo>
                    <a:pt x="1961" y="317"/>
                  </a:lnTo>
                  <a:lnTo>
                    <a:pt x="1961" y="317"/>
                  </a:lnTo>
                  <a:lnTo>
                    <a:pt x="1961" y="317"/>
                  </a:lnTo>
                  <a:lnTo>
                    <a:pt x="1961" y="317"/>
                  </a:lnTo>
                  <a:lnTo>
                    <a:pt x="1965" y="321"/>
                  </a:lnTo>
                  <a:lnTo>
                    <a:pt x="1965" y="317"/>
                  </a:lnTo>
                  <a:lnTo>
                    <a:pt x="1965" y="321"/>
                  </a:lnTo>
                  <a:lnTo>
                    <a:pt x="1970" y="321"/>
                  </a:lnTo>
                  <a:lnTo>
                    <a:pt x="1970" y="317"/>
                  </a:lnTo>
                  <a:lnTo>
                    <a:pt x="1974" y="317"/>
                  </a:lnTo>
                  <a:lnTo>
                    <a:pt x="1974" y="317"/>
                  </a:lnTo>
                  <a:lnTo>
                    <a:pt x="1974" y="317"/>
                  </a:lnTo>
                  <a:lnTo>
                    <a:pt x="1974" y="312"/>
                  </a:lnTo>
                  <a:lnTo>
                    <a:pt x="1974" y="312"/>
                  </a:lnTo>
                  <a:lnTo>
                    <a:pt x="1974" y="312"/>
                  </a:lnTo>
                  <a:lnTo>
                    <a:pt x="1974" y="312"/>
                  </a:lnTo>
                  <a:lnTo>
                    <a:pt x="1974" y="312"/>
                  </a:lnTo>
                  <a:lnTo>
                    <a:pt x="1974" y="312"/>
                  </a:lnTo>
                  <a:lnTo>
                    <a:pt x="1979" y="312"/>
                  </a:lnTo>
                  <a:lnTo>
                    <a:pt x="1979" y="312"/>
                  </a:lnTo>
                  <a:lnTo>
                    <a:pt x="1979" y="312"/>
                  </a:lnTo>
                  <a:lnTo>
                    <a:pt x="1979" y="312"/>
                  </a:lnTo>
                  <a:lnTo>
                    <a:pt x="1979" y="312"/>
                  </a:lnTo>
                  <a:lnTo>
                    <a:pt x="1979" y="308"/>
                  </a:lnTo>
                  <a:lnTo>
                    <a:pt x="1979" y="308"/>
                  </a:lnTo>
                  <a:lnTo>
                    <a:pt x="1979" y="308"/>
                  </a:lnTo>
                  <a:lnTo>
                    <a:pt x="1979" y="308"/>
                  </a:lnTo>
                  <a:lnTo>
                    <a:pt x="1979" y="303"/>
                  </a:lnTo>
                  <a:lnTo>
                    <a:pt x="1979" y="303"/>
                  </a:lnTo>
                  <a:lnTo>
                    <a:pt x="1983" y="303"/>
                  </a:lnTo>
                  <a:lnTo>
                    <a:pt x="1983" y="308"/>
                  </a:lnTo>
                  <a:lnTo>
                    <a:pt x="1983" y="308"/>
                  </a:lnTo>
                  <a:lnTo>
                    <a:pt x="1983" y="308"/>
                  </a:lnTo>
                  <a:lnTo>
                    <a:pt x="1988" y="308"/>
                  </a:lnTo>
                  <a:lnTo>
                    <a:pt x="1988" y="308"/>
                  </a:lnTo>
                  <a:lnTo>
                    <a:pt x="1992" y="308"/>
                  </a:lnTo>
                  <a:lnTo>
                    <a:pt x="1992" y="303"/>
                  </a:lnTo>
                  <a:lnTo>
                    <a:pt x="1988" y="303"/>
                  </a:lnTo>
                  <a:lnTo>
                    <a:pt x="1988" y="303"/>
                  </a:lnTo>
                  <a:lnTo>
                    <a:pt x="1988" y="298"/>
                  </a:lnTo>
                  <a:lnTo>
                    <a:pt x="1988" y="298"/>
                  </a:lnTo>
                  <a:close/>
                  <a:moveTo>
                    <a:pt x="1830" y="1587"/>
                  </a:moveTo>
                  <a:lnTo>
                    <a:pt x="1830" y="1587"/>
                  </a:lnTo>
                  <a:lnTo>
                    <a:pt x="1830" y="1582"/>
                  </a:lnTo>
                  <a:lnTo>
                    <a:pt x="1834" y="1582"/>
                  </a:lnTo>
                  <a:lnTo>
                    <a:pt x="1834" y="1582"/>
                  </a:lnTo>
                  <a:lnTo>
                    <a:pt x="1830" y="1582"/>
                  </a:lnTo>
                  <a:lnTo>
                    <a:pt x="1830" y="1582"/>
                  </a:lnTo>
                  <a:lnTo>
                    <a:pt x="1830" y="1582"/>
                  </a:lnTo>
                  <a:lnTo>
                    <a:pt x="1825" y="1578"/>
                  </a:lnTo>
                  <a:lnTo>
                    <a:pt x="1821" y="1578"/>
                  </a:lnTo>
                  <a:lnTo>
                    <a:pt x="1816" y="1578"/>
                  </a:lnTo>
                  <a:lnTo>
                    <a:pt x="1816" y="1578"/>
                  </a:lnTo>
                  <a:lnTo>
                    <a:pt x="1816" y="1578"/>
                  </a:lnTo>
                  <a:lnTo>
                    <a:pt x="1812" y="1582"/>
                  </a:lnTo>
                  <a:lnTo>
                    <a:pt x="1812" y="1582"/>
                  </a:lnTo>
                  <a:lnTo>
                    <a:pt x="1798" y="1578"/>
                  </a:lnTo>
                  <a:lnTo>
                    <a:pt x="1798" y="1578"/>
                  </a:lnTo>
                  <a:lnTo>
                    <a:pt x="1794" y="1582"/>
                  </a:lnTo>
                  <a:lnTo>
                    <a:pt x="1794" y="1582"/>
                  </a:lnTo>
                  <a:lnTo>
                    <a:pt x="1794" y="1587"/>
                  </a:lnTo>
                  <a:lnTo>
                    <a:pt x="1794" y="1587"/>
                  </a:lnTo>
                  <a:lnTo>
                    <a:pt x="1794" y="1587"/>
                  </a:lnTo>
                  <a:lnTo>
                    <a:pt x="1789" y="1587"/>
                  </a:lnTo>
                  <a:lnTo>
                    <a:pt x="1789" y="1587"/>
                  </a:lnTo>
                  <a:lnTo>
                    <a:pt x="1789" y="1592"/>
                  </a:lnTo>
                  <a:lnTo>
                    <a:pt x="1789" y="1596"/>
                  </a:lnTo>
                  <a:lnTo>
                    <a:pt x="1794" y="1596"/>
                  </a:lnTo>
                  <a:lnTo>
                    <a:pt x="1794" y="1596"/>
                  </a:lnTo>
                  <a:lnTo>
                    <a:pt x="1794" y="1596"/>
                  </a:lnTo>
                  <a:lnTo>
                    <a:pt x="1794" y="1596"/>
                  </a:lnTo>
                  <a:lnTo>
                    <a:pt x="1794" y="1596"/>
                  </a:lnTo>
                  <a:lnTo>
                    <a:pt x="1794" y="1596"/>
                  </a:lnTo>
                  <a:lnTo>
                    <a:pt x="1789" y="1596"/>
                  </a:lnTo>
                  <a:lnTo>
                    <a:pt x="1789" y="1601"/>
                  </a:lnTo>
                  <a:lnTo>
                    <a:pt x="1794" y="1601"/>
                  </a:lnTo>
                  <a:lnTo>
                    <a:pt x="1794" y="1605"/>
                  </a:lnTo>
                  <a:lnTo>
                    <a:pt x="1794" y="1610"/>
                  </a:lnTo>
                  <a:lnTo>
                    <a:pt x="1794" y="1610"/>
                  </a:lnTo>
                  <a:lnTo>
                    <a:pt x="1794" y="1610"/>
                  </a:lnTo>
                  <a:lnTo>
                    <a:pt x="1798" y="1610"/>
                  </a:lnTo>
                  <a:lnTo>
                    <a:pt x="1798" y="1610"/>
                  </a:lnTo>
                  <a:lnTo>
                    <a:pt x="1803" y="1610"/>
                  </a:lnTo>
                  <a:lnTo>
                    <a:pt x="1803" y="1610"/>
                  </a:lnTo>
                  <a:lnTo>
                    <a:pt x="1803" y="1610"/>
                  </a:lnTo>
                  <a:lnTo>
                    <a:pt x="1807" y="1610"/>
                  </a:lnTo>
                  <a:lnTo>
                    <a:pt x="1807" y="1610"/>
                  </a:lnTo>
                  <a:lnTo>
                    <a:pt x="1807" y="1610"/>
                  </a:lnTo>
                  <a:lnTo>
                    <a:pt x="1812" y="1610"/>
                  </a:lnTo>
                  <a:lnTo>
                    <a:pt x="1812" y="1610"/>
                  </a:lnTo>
                  <a:lnTo>
                    <a:pt x="1812" y="1605"/>
                  </a:lnTo>
                  <a:lnTo>
                    <a:pt x="1812" y="1605"/>
                  </a:lnTo>
                  <a:lnTo>
                    <a:pt x="1816" y="1605"/>
                  </a:lnTo>
                  <a:lnTo>
                    <a:pt x="1816" y="1605"/>
                  </a:lnTo>
                  <a:lnTo>
                    <a:pt x="1816" y="1605"/>
                  </a:lnTo>
                  <a:lnTo>
                    <a:pt x="1816" y="1605"/>
                  </a:lnTo>
                  <a:lnTo>
                    <a:pt x="1816" y="1605"/>
                  </a:lnTo>
                  <a:lnTo>
                    <a:pt x="1821" y="1605"/>
                  </a:lnTo>
                  <a:lnTo>
                    <a:pt x="1821" y="1605"/>
                  </a:lnTo>
                  <a:lnTo>
                    <a:pt x="1821" y="1605"/>
                  </a:lnTo>
                  <a:lnTo>
                    <a:pt x="1821" y="1605"/>
                  </a:lnTo>
                  <a:lnTo>
                    <a:pt x="1821" y="1605"/>
                  </a:lnTo>
                  <a:lnTo>
                    <a:pt x="1825" y="1601"/>
                  </a:lnTo>
                  <a:lnTo>
                    <a:pt x="1825" y="1601"/>
                  </a:lnTo>
                  <a:lnTo>
                    <a:pt x="1825" y="1601"/>
                  </a:lnTo>
                  <a:lnTo>
                    <a:pt x="1825" y="1601"/>
                  </a:lnTo>
                  <a:lnTo>
                    <a:pt x="1825" y="1601"/>
                  </a:lnTo>
                  <a:lnTo>
                    <a:pt x="1825" y="1596"/>
                  </a:lnTo>
                  <a:lnTo>
                    <a:pt x="1825" y="1596"/>
                  </a:lnTo>
                  <a:lnTo>
                    <a:pt x="1830" y="1596"/>
                  </a:lnTo>
                  <a:lnTo>
                    <a:pt x="1830" y="1592"/>
                  </a:lnTo>
                  <a:lnTo>
                    <a:pt x="1830" y="1592"/>
                  </a:lnTo>
                  <a:lnTo>
                    <a:pt x="1830" y="1592"/>
                  </a:lnTo>
                  <a:lnTo>
                    <a:pt x="1830" y="1587"/>
                  </a:lnTo>
                  <a:lnTo>
                    <a:pt x="1830" y="1587"/>
                  </a:lnTo>
                  <a:lnTo>
                    <a:pt x="1830" y="1587"/>
                  </a:lnTo>
                  <a:close/>
                  <a:moveTo>
                    <a:pt x="1920" y="651"/>
                  </a:moveTo>
                  <a:lnTo>
                    <a:pt x="1920" y="651"/>
                  </a:lnTo>
                  <a:lnTo>
                    <a:pt x="1920" y="647"/>
                  </a:lnTo>
                  <a:lnTo>
                    <a:pt x="1920" y="647"/>
                  </a:lnTo>
                  <a:lnTo>
                    <a:pt x="1925" y="647"/>
                  </a:lnTo>
                  <a:lnTo>
                    <a:pt x="1925" y="647"/>
                  </a:lnTo>
                  <a:lnTo>
                    <a:pt x="1925" y="647"/>
                  </a:lnTo>
                  <a:lnTo>
                    <a:pt x="1925" y="647"/>
                  </a:lnTo>
                  <a:lnTo>
                    <a:pt x="1925" y="647"/>
                  </a:lnTo>
                  <a:lnTo>
                    <a:pt x="1925" y="642"/>
                  </a:lnTo>
                  <a:lnTo>
                    <a:pt x="1925" y="642"/>
                  </a:lnTo>
                  <a:lnTo>
                    <a:pt x="1925" y="642"/>
                  </a:lnTo>
                  <a:lnTo>
                    <a:pt x="1925" y="642"/>
                  </a:lnTo>
                  <a:lnTo>
                    <a:pt x="1925" y="647"/>
                  </a:lnTo>
                  <a:lnTo>
                    <a:pt x="1925" y="647"/>
                  </a:lnTo>
                  <a:lnTo>
                    <a:pt x="1920" y="647"/>
                  </a:lnTo>
                  <a:lnTo>
                    <a:pt x="1920" y="647"/>
                  </a:lnTo>
                  <a:lnTo>
                    <a:pt x="1920" y="647"/>
                  </a:lnTo>
                  <a:lnTo>
                    <a:pt x="1916" y="647"/>
                  </a:lnTo>
                  <a:lnTo>
                    <a:pt x="1916" y="647"/>
                  </a:lnTo>
                  <a:lnTo>
                    <a:pt x="1916" y="647"/>
                  </a:lnTo>
                  <a:lnTo>
                    <a:pt x="1911" y="647"/>
                  </a:lnTo>
                  <a:lnTo>
                    <a:pt x="1911" y="647"/>
                  </a:lnTo>
                  <a:lnTo>
                    <a:pt x="1911" y="647"/>
                  </a:lnTo>
                  <a:lnTo>
                    <a:pt x="1911" y="647"/>
                  </a:lnTo>
                  <a:lnTo>
                    <a:pt x="1911" y="647"/>
                  </a:lnTo>
                  <a:lnTo>
                    <a:pt x="1911" y="647"/>
                  </a:lnTo>
                  <a:lnTo>
                    <a:pt x="1916" y="647"/>
                  </a:lnTo>
                  <a:lnTo>
                    <a:pt x="1916" y="647"/>
                  </a:lnTo>
                  <a:lnTo>
                    <a:pt x="1916" y="642"/>
                  </a:lnTo>
                  <a:lnTo>
                    <a:pt x="1916" y="642"/>
                  </a:lnTo>
                  <a:lnTo>
                    <a:pt x="1916" y="642"/>
                  </a:lnTo>
                  <a:lnTo>
                    <a:pt x="1916" y="642"/>
                  </a:lnTo>
                  <a:lnTo>
                    <a:pt x="1916" y="642"/>
                  </a:lnTo>
                  <a:lnTo>
                    <a:pt x="1916" y="642"/>
                  </a:lnTo>
                  <a:lnTo>
                    <a:pt x="1916" y="642"/>
                  </a:lnTo>
                  <a:lnTo>
                    <a:pt x="1916" y="642"/>
                  </a:lnTo>
                  <a:lnTo>
                    <a:pt x="1916" y="642"/>
                  </a:lnTo>
                  <a:lnTo>
                    <a:pt x="1916" y="642"/>
                  </a:lnTo>
                  <a:lnTo>
                    <a:pt x="1916" y="642"/>
                  </a:lnTo>
                  <a:lnTo>
                    <a:pt x="1911" y="642"/>
                  </a:lnTo>
                  <a:lnTo>
                    <a:pt x="1911" y="642"/>
                  </a:lnTo>
                  <a:lnTo>
                    <a:pt x="1916" y="638"/>
                  </a:lnTo>
                  <a:lnTo>
                    <a:pt x="1916" y="638"/>
                  </a:lnTo>
                  <a:lnTo>
                    <a:pt x="1916" y="638"/>
                  </a:lnTo>
                  <a:lnTo>
                    <a:pt x="1920" y="638"/>
                  </a:lnTo>
                  <a:lnTo>
                    <a:pt x="1920" y="638"/>
                  </a:lnTo>
                  <a:lnTo>
                    <a:pt x="1920" y="633"/>
                  </a:lnTo>
                  <a:lnTo>
                    <a:pt x="1925" y="633"/>
                  </a:lnTo>
                  <a:lnTo>
                    <a:pt x="1925" y="633"/>
                  </a:lnTo>
                  <a:lnTo>
                    <a:pt x="1925" y="633"/>
                  </a:lnTo>
                  <a:lnTo>
                    <a:pt x="1925" y="629"/>
                  </a:lnTo>
                  <a:lnTo>
                    <a:pt x="1920" y="629"/>
                  </a:lnTo>
                  <a:lnTo>
                    <a:pt x="1920" y="629"/>
                  </a:lnTo>
                  <a:lnTo>
                    <a:pt x="1920" y="629"/>
                  </a:lnTo>
                  <a:lnTo>
                    <a:pt x="1916" y="629"/>
                  </a:lnTo>
                  <a:lnTo>
                    <a:pt x="1916" y="629"/>
                  </a:lnTo>
                  <a:lnTo>
                    <a:pt x="1916" y="629"/>
                  </a:lnTo>
                  <a:lnTo>
                    <a:pt x="1911" y="629"/>
                  </a:lnTo>
                  <a:lnTo>
                    <a:pt x="1911" y="629"/>
                  </a:lnTo>
                  <a:lnTo>
                    <a:pt x="1911" y="629"/>
                  </a:lnTo>
                  <a:lnTo>
                    <a:pt x="1911" y="629"/>
                  </a:lnTo>
                  <a:lnTo>
                    <a:pt x="1911" y="629"/>
                  </a:lnTo>
                  <a:lnTo>
                    <a:pt x="1911" y="624"/>
                  </a:lnTo>
                  <a:lnTo>
                    <a:pt x="1911" y="624"/>
                  </a:lnTo>
                  <a:lnTo>
                    <a:pt x="1911" y="629"/>
                  </a:lnTo>
                  <a:lnTo>
                    <a:pt x="1911" y="629"/>
                  </a:lnTo>
                  <a:lnTo>
                    <a:pt x="1906" y="629"/>
                  </a:lnTo>
                  <a:lnTo>
                    <a:pt x="1906" y="629"/>
                  </a:lnTo>
                  <a:lnTo>
                    <a:pt x="1906" y="629"/>
                  </a:lnTo>
                  <a:lnTo>
                    <a:pt x="1906" y="629"/>
                  </a:lnTo>
                  <a:lnTo>
                    <a:pt x="1902" y="629"/>
                  </a:lnTo>
                  <a:lnTo>
                    <a:pt x="1902" y="629"/>
                  </a:lnTo>
                  <a:lnTo>
                    <a:pt x="1902" y="629"/>
                  </a:lnTo>
                  <a:lnTo>
                    <a:pt x="1902" y="629"/>
                  </a:lnTo>
                  <a:lnTo>
                    <a:pt x="1902" y="629"/>
                  </a:lnTo>
                  <a:lnTo>
                    <a:pt x="1902" y="633"/>
                  </a:lnTo>
                  <a:lnTo>
                    <a:pt x="1897" y="633"/>
                  </a:lnTo>
                  <a:lnTo>
                    <a:pt x="1897" y="633"/>
                  </a:lnTo>
                  <a:lnTo>
                    <a:pt x="1897" y="633"/>
                  </a:lnTo>
                  <a:lnTo>
                    <a:pt x="1897" y="633"/>
                  </a:lnTo>
                  <a:lnTo>
                    <a:pt x="1897" y="633"/>
                  </a:lnTo>
                  <a:lnTo>
                    <a:pt x="1897" y="633"/>
                  </a:lnTo>
                  <a:lnTo>
                    <a:pt x="1897" y="633"/>
                  </a:lnTo>
                  <a:lnTo>
                    <a:pt x="1897" y="633"/>
                  </a:lnTo>
                  <a:lnTo>
                    <a:pt x="1897" y="629"/>
                  </a:lnTo>
                  <a:lnTo>
                    <a:pt x="1902" y="629"/>
                  </a:lnTo>
                  <a:lnTo>
                    <a:pt x="1902" y="629"/>
                  </a:lnTo>
                  <a:lnTo>
                    <a:pt x="1902" y="629"/>
                  </a:lnTo>
                  <a:lnTo>
                    <a:pt x="1902" y="624"/>
                  </a:lnTo>
                  <a:lnTo>
                    <a:pt x="1902" y="624"/>
                  </a:lnTo>
                  <a:lnTo>
                    <a:pt x="1902" y="624"/>
                  </a:lnTo>
                  <a:lnTo>
                    <a:pt x="1902" y="629"/>
                  </a:lnTo>
                  <a:lnTo>
                    <a:pt x="1902" y="629"/>
                  </a:lnTo>
                  <a:lnTo>
                    <a:pt x="1897" y="629"/>
                  </a:lnTo>
                  <a:lnTo>
                    <a:pt x="1897" y="629"/>
                  </a:lnTo>
                  <a:lnTo>
                    <a:pt x="1897" y="629"/>
                  </a:lnTo>
                  <a:lnTo>
                    <a:pt x="1897" y="629"/>
                  </a:lnTo>
                  <a:lnTo>
                    <a:pt x="1897" y="624"/>
                  </a:lnTo>
                  <a:lnTo>
                    <a:pt x="1897" y="629"/>
                  </a:lnTo>
                  <a:lnTo>
                    <a:pt x="1893" y="629"/>
                  </a:lnTo>
                  <a:lnTo>
                    <a:pt x="1893" y="624"/>
                  </a:lnTo>
                  <a:lnTo>
                    <a:pt x="1888" y="629"/>
                  </a:lnTo>
                  <a:lnTo>
                    <a:pt x="1888" y="629"/>
                  </a:lnTo>
                  <a:lnTo>
                    <a:pt x="1893" y="624"/>
                  </a:lnTo>
                  <a:lnTo>
                    <a:pt x="1893" y="624"/>
                  </a:lnTo>
                  <a:lnTo>
                    <a:pt x="1893" y="624"/>
                  </a:lnTo>
                  <a:lnTo>
                    <a:pt x="1893" y="624"/>
                  </a:lnTo>
                  <a:lnTo>
                    <a:pt x="1893" y="624"/>
                  </a:lnTo>
                  <a:lnTo>
                    <a:pt x="1893" y="624"/>
                  </a:lnTo>
                  <a:lnTo>
                    <a:pt x="1888" y="624"/>
                  </a:lnTo>
                  <a:lnTo>
                    <a:pt x="1888" y="624"/>
                  </a:lnTo>
                  <a:lnTo>
                    <a:pt x="1893" y="619"/>
                  </a:lnTo>
                  <a:lnTo>
                    <a:pt x="1897" y="619"/>
                  </a:lnTo>
                  <a:lnTo>
                    <a:pt x="1897" y="619"/>
                  </a:lnTo>
                  <a:lnTo>
                    <a:pt x="1902" y="619"/>
                  </a:lnTo>
                  <a:lnTo>
                    <a:pt x="1902" y="615"/>
                  </a:lnTo>
                  <a:lnTo>
                    <a:pt x="1902" y="615"/>
                  </a:lnTo>
                  <a:lnTo>
                    <a:pt x="1897" y="615"/>
                  </a:lnTo>
                  <a:lnTo>
                    <a:pt x="1897" y="615"/>
                  </a:lnTo>
                  <a:lnTo>
                    <a:pt x="1897" y="615"/>
                  </a:lnTo>
                  <a:lnTo>
                    <a:pt x="1897" y="615"/>
                  </a:lnTo>
                  <a:lnTo>
                    <a:pt x="1893" y="615"/>
                  </a:lnTo>
                  <a:lnTo>
                    <a:pt x="1893" y="615"/>
                  </a:lnTo>
                  <a:lnTo>
                    <a:pt x="1893" y="615"/>
                  </a:lnTo>
                  <a:lnTo>
                    <a:pt x="1893" y="615"/>
                  </a:lnTo>
                  <a:lnTo>
                    <a:pt x="1893" y="615"/>
                  </a:lnTo>
                  <a:lnTo>
                    <a:pt x="1893" y="615"/>
                  </a:lnTo>
                  <a:lnTo>
                    <a:pt x="1893" y="615"/>
                  </a:lnTo>
                  <a:lnTo>
                    <a:pt x="1893" y="615"/>
                  </a:lnTo>
                  <a:lnTo>
                    <a:pt x="1888" y="615"/>
                  </a:lnTo>
                  <a:lnTo>
                    <a:pt x="1888" y="615"/>
                  </a:lnTo>
                  <a:lnTo>
                    <a:pt x="1888" y="619"/>
                  </a:lnTo>
                  <a:lnTo>
                    <a:pt x="1888" y="619"/>
                  </a:lnTo>
                  <a:lnTo>
                    <a:pt x="1884" y="619"/>
                  </a:lnTo>
                  <a:lnTo>
                    <a:pt x="1879" y="624"/>
                  </a:lnTo>
                  <a:lnTo>
                    <a:pt x="1879" y="624"/>
                  </a:lnTo>
                  <a:lnTo>
                    <a:pt x="1879" y="624"/>
                  </a:lnTo>
                  <a:lnTo>
                    <a:pt x="1879" y="619"/>
                  </a:lnTo>
                  <a:lnTo>
                    <a:pt x="1879" y="619"/>
                  </a:lnTo>
                  <a:lnTo>
                    <a:pt x="1879" y="619"/>
                  </a:lnTo>
                  <a:lnTo>
                    <a:pt x="1879" y="619"/>
                  </a:lnTo>
                  <a:lnTo>
                    <a:pt x="1884" y="619"/>
                  </a:lnTo>
                  <a:lnTo>
                    <a:pt x="1884" y="619"/>
                  </a:lnTo>
                  <a:lnTo>
                    <a:pt x="1884" y="619"/>
                  </a:lnTo>
                  <a:lnTo>
                    <a:pt x="1884" y="615"/>
                  </a:lnTo>
                  <a:lnTo>
                    <a:pt x="1884" y="615"/>
                  </a:lnTo>
                  <a:lnTo>
                    <a:pt x="1884" y="615"/>
                  </a:lnTo>
                  <a:lnTo>
                    <a:pt x="1888" y="610"/>
                  </a:lnTo>
                  <a:lnTo>
                    <a:pt x="1888" y="610"/>
                  </a:lnTo>
                  <a:lnTo>
                    <a:pt x="1893" y="610"/>
                  </a:lnTo>
                  <a:lnTo>
                    <a:pt x="1893" y="610"/>
                  </a:lnTo>
                  <a:lnTo>
                    <a:pt x="1893" y="606"/>
                  </a:lnTo>
                  <a:lnTo>
                    <a:pt x="1897" y="606"/>
                  </a:lnTo>
                  <a:lnTo>
                    <a:pt x="1897" y="606"/>
                  </a:lnTo>
                  <a:lnTo>
                    <a:pt x="1897" y="601"/>
                  </a:lnTo>
                  <a:lnTo>
                    <a:pt x="1897" y="601"/>
                  </a:lnTo>
                  <a:lnTo>
                    <a:pt x="1902" y="601"/>
                  </a:lnTo>
                  <a:lnTo>
                    <a:pt x="1902" y="601"/>
                  </a:lnTo>
                  <a:lnTo>
                    <a:pt x="1902" y="597"/>
                  </a:lnTo>
                  <a:lnTo>
                    <a:pt x="1906" y="597"/>
                  </a:lnTo>
                  <a:lnTo>
                    <a:pt x="1906" y="597"/>
                  </a:lnTo>
                  <a:lnTo>
                    <a:pt x="1906" y="597"/>
                  </a:lnTo>
                  <a:lnTo>
                    <a:pt x="1906" y="592"/>
                  </a:lnTo>
                  <a:lnTo>
                    <a:pt x="1906" y="592"/>
                  </a:lnTo>
                  <a:lnTo>
                    <a:pt x="1906" y="592"/>
                  </a:lnTo>
                  <a:lnTo>
                    <a:pt x="1906" y="592"/>
                  </a:lnTo>
                  <a:lnTo>
                    <a:pt x="1906" y="592"/>
                  </a:lnTo>
                  <a:lnTo>
                    <a:pt x="1906" y="592"/>
                  </a:lnTo>
                  <a:lnTo>
                    <a:pt x="1902" y="592"/>
                  </a:lnTo>
                  <a:lnTo>
                    <a:pt x="1906" y="592"/>
                  </a:lnTo>
                  <a:lnTo>
                    <a:pt x="1906" y="592"/>
                  </a:lnTo>
                  <a:lnTo>
                    <a:pt x="1906" y="592"/>
                  </a:lnTo>
                  <a:lnTo>
                    <a:pt x="1911" y="592"/>
                  </a:lnTo>
                  <a:lnTo>
                    <a:pt x="1911" y="592"/>
                  </a:lnTo>
                  <a:lnTo>
                    <a:pt x="1911" y="592"/>
                  </a:lnTo>
                  <a:lnTo>
                    <a:pt x="1911" y="588"/>
                  </a:lnTo>
                  <a:lnTo>
                    <a:pt x="1916" y="588"/>
                  </a:lnTo>
                  <a:lnTo>
                    <a:pt x="1916" y="588"/>
                  </a:lnTo>
                  <a:lnTo>
                    <a:pt x="1916" y="588"/>
                  </a:lnTo>
                  <a:lnTo>
                    <a:pt x="1916" y="588"/>
                  </a:lnTo>
                  <a:lnTo>
                    <a:pt x="1911" y="588"/>
                  </a:lnTo>
                  <a:lnTo>
                    <a:pt x="1911" y="588"/>
                  </a:lnTo>
                  <a:lnTo>
                    <a:pt x="1911" y="588"/>
                  </a:lnTo>
                  <a:lnTo>
                    <a:pt x="1911" y="588"/>
                  </a:lnTo>
                  <a:lnTo>
                    <a:pt x="1911" y="588"/>
                  </a:lnTo>
                  <a:lnTo>
                    <a:pt x="1911" y="588"/>
                  </a:lnTo>
                  <a:lnTo>
                    <a:pt x="1906" y="588"/>
                  </a:lnTo>
                  <a:lnTo>
                    <a:pt x="1902" y="588"/>
                  </a:lnTo>
                  <a:lnTo>
                    <a:pt x="1897" y="588"/>
                  </a:lnTo>
                  <a:lnTo>
                    <a:pt x="1897" y="588"/>
                  </a:lnTo>
                  <a:lnTo>
                    <a:pt x="1897" y="592"/>
                  </a:lnTo>
                  <a:lnTo>
                    <a:pt x="1893" y="592"/>
                  </a:lnTo>
                  <a:lnTo>
                    <a:pt x="1893" y="592"/>
                  </a:lnTo>
                  <a:lnTo>
                    <a:pt x="1893" y="592"/>
                  </a:lnTo>
                  <a:lnTo>
                    <a:pt x="1888" y="597"/>
                  </a:lnTo>
                  <a:lnTo>
                    <a:pt x="1888" y="597"/>
                  </a:lnTo>
                  <a:lnTo>
                    <a:pt x="1888" y="597"/>
                  </a:lnTo>
                  <a:lnTo>
                    <a:pt x="1888" y="597"/>
                  </a:lnTo>
                  <a:lnTo>
                    <a:pt x="1888" y="597"/>
                  </a:lnTo>
                  <a:lnTo>
                    <a:pt x="1888" y="601"/>
                  </a:lnTo>
                  <a:lnTo>
                    <a:pt x="1884" y="601"/>
                  </a:lnTo>
                  <a:lnTo>
                    <a:pt x="1884" y="601"/>
                  </a:lnTo>
                  <a:lnTo>
                    <a:pt x="1884" y="601"/>
                  </a:lnTo>
                  <a:lnTo>
                    <a:pt x="1884" y="601"/>
                  </a:lnTo>
                  <a:lnTo>
                    <a:pt x="1879" y="601"/>
                  </a:lnTo>
                  <a:lnTo>
                    <a:pt x="1884" y="601"/>
                  </a:lnTo>
                  <a:lnTo>
                    <a:pt x="1884" y="606"/>
                  </a:lnTo>
                  <a:lnTo>
                    <a:pt x="1884" y="606"/>
                  </a:lnTo>
                  <a:lnTo>
                    <a:pt x="1879" y="606"/>
                  </a:lnTo>
                  <a:lnTo>
                    <a:pt x="1879" y="606"/>
                  </a:lnTo>
                  <a:lnTo>
                    <a:pt x="1879" y="606"/>
                  </a:lnTo>
                  <a:lnTo>
                    <a:pt x="1879" y="606"/>
                  </a:lnTo>
                  <a:lnTo>
                    <a:pt x="1875" y="610"/>
                  </a:lnTo>
                  <a:lnTo>
                    <a:pt x="1870" y="615"/>
                  </a:lnTo>
                  <a:lnTo>
                    <a:pt x="1866" y="619"/>
                  </a:lnTo>
                  <a:lnTo>
                    <a:pt x="1866" y="619"/>
                  </a:lnTo>
                  <a:lnTo>
                    <a:pt x="1866" y="624"/>
                  </a:lnTo>
                  <a:lnTo>
                    <a:pt x="1866" y="624"/>
                  </a:lnTo>
                  <a:lnTo>
                    <a:pt x="1866" y="624"/>
                  </a:lnTo>
                  <a:lnTo>
                    <a:pt x="1861" y="624"/>
                  </a:lnTo>
                  <a:lnTo>
                    <a:pt x="1861" y="624"/>
                  </a:lnTo>
                  <a:lnTo>
                    <a:pt x="1861" y="624"/>
                  </a:lnTo>
                  <a:lnTo>
                    <a:pt x="1861" y="624"/>
                  </a:lnTo>
                  <a:lnTo>
                    <a:pt x="1857" y="624"/>
                  </a:lnTo>
                  <a:lnTo>
                    <a:pt x="1857" y="629"/>
                  </a:lnTo>
                  <a:lnTo>
                    <a:pt x="1857" y="629"/>
                  </a:lnTo>
                  <a:lnTo>
                    <a:pt x="1857" y="629"/>
                  </a:lnTo>
                  <a:lnTo>
                    <a:pt x="1857" y="629"/>
                  </a:lnTo>
                  <a:lnTo>
                    <a:pt x="1861" y="629"/>
                  </a:lnTo>
                  <a:lnTo>
                    <a:pt x="1861" y="629"/>
                  </a:lnTo>
                  <a:lnTo>
                    <a:pt x="1857" y="629"/>
                  </a:lnTo>
                  <a:lnTo>
                    <a:pt x="1857" y="633"/>
                  </a:lnTo>
                  <a:lnTo>
                    <a:pt x="1857" y="633"/>
                  </a:lnTo>
                  <a:lnTo>
                    <a:pt x="1857" y="633"/>
                  </a:lnTo>
                  <a:lnTo>
                    <a:pt x="1857" y="633"/>
                  </a:lnTo>
                  <a:lnTo>
                    <a:pt x="1857" y="633"/>
                  </a:lnTo>
                  <a:lnTo>
                    <a:pt x="1857" y="633"/>
                  </a:lnTo>
                  <a:lnTo>
                    <a:pt x="1857" y="633"/>
                  </a:lnTo>
                  <a:lnTo>
                    <a:pt x="1852" y="633"/>
                  </a:lnTo>
                  <a:lnTo>
                    <a:pt x="1852" y="633"/>
                  </a:lnTo>
                  <a:lnTo>
                    <a:pt x="1852" y="633"/>
                  </a:lnTo>
                  <a:lnTo>
                    <a:pt x="1852" y="633"/>
                  </a:lnTo>
                  <a:lnTo>
                    <a:pt x="1848" y="638"/>
                  </a:lnTo>
                  <a:lnTo>
                    <a:pt x="1848" y="638"/>
                  </a:lnTo>
                  <a:lnTo>
                    <a:pt x="1843" y="642"/>
                  </a:lnTo>
                  <a:lnTo>
                    <a:pt x="1843" y="642"/>
                  </a:lnTo>
                  <a:lnTo>
                    <a:pt x="1843" y="642"/>
                  </a:lnTo>
                  <a:lnTo>
                    <a:pt x="1843" y="642"/>
                  </a:lnTo>
                  <a:lnTo>
                    <a:pt x="1843" y="638"/>
                  </a:lnTo>
                  <a:lnTo>
                    <a:pt x="1843" y="638"/>
                  </a:lnTo>
                  <a:lnTo>
                    <a:pt x="1843" y="638"/>
                  </a:lnTo>
                  <a:lnTo>
                    <a:pt x="1843" y="638"/>
                  </a:lnTo>
                  <a:lnTo>
                    <a:pt x="1839" y="642"/>
                  </a:lnTo>
                  <a:lnTo>
                    <a:pt x="1839" y="642"/>
                  </a:lnTo>
                  <a:lnTo>
                    <a:pt x="1839" y="642"/>
                  </a:lnTo>
                  <a:lnTo>
                    <a:pt x="1839" y="642"/>
                  </a:lnTo>
                  <a:lnTo>
                    <a:pt x="1843" y="642"/>
                  </a:lnTo>
                  <a:lnTo>
                    <a:pt x="1843" y="642"/>
                  </a:lnTo>
                  <a:lnTo>
                    <a:pt x="1848" y="642"/>
                  </a:lnTo>
                  <a:lnTo>
                    <a:pt x="1848" y="642"/>
                  </a:lnTo>
                  <a:lnTo>
                    <a:pt x="1848" y="642"/>
                  </a:lnTo>
                  <a:lnTo>
                    <a:pt x="1848" y="642"/>
                  </a:lnTo>
                  <a:lnTo>
                    <a:pt x="1843" y="647"/>
                  </a:lnTo>
                  <a:lnTo>
                    <a:pt x="1843" y="647"/>
                  </a:lnTo>
                  <a:lnTo>
                    <a:pt x="1839" y="651"/>
                  </a:lnTo>
                  <a:lnTo>
                    <a:pt x="1830" y="651"/>
                  </a:lnTo>
                  <a:lnTo>
                    <a:pt x="1830" y="651"/>
                  </a:lnTo>
                  <a:lnTo>
                    <a:pt x="1830" y="656"/>
                  </a:lnTo>
                  <a:lnTo>
                    <a:pt x="1830" y="656"/>
                  </a:lnTo>
                  <a:lnTo>
                    <a:pt x="1830" y="656"/>
                  </a:lnTo>
                  <a:lnTo>
                    <a:pt x="1830" y="660"/>
                  </a:lnTo>
                  <a:lnTo>
                    <a:pt x="1830" y="660"/>
                  </a:lnTo>
                  <a:lnTo>
                    <a:pt x="1830" y="660"/>
                  </a:lnTo>
                  <a:lnTo>
                    <a:pt x="1834" y="660"/>
                  </a:lnTo>
                  <a:lnTo>
                    <a:pt x="1839" y="660"/>
                  </a:lnTo>
                  <a:lnTo>
                    <a:pt x="1839" y="660"/>
                  </a:lnTo>
                  <a:lnTo>
                    <a:pt x="1839" y="660"/>
                  </a:lnTo>
                  <a:lnTo>
                    <a:pt x="1843" y="656"/>
                  </a:lnTo>
                  <a:lnTo>
                    <a:pt x="1843" y="656"/>
                  </a:lnTo>
                  <a:lnTo>
                    <a:pt x="1843" y="660"/>
                  </a:lnTo>
                  <a:lnTo>
                    <a:pt x="1843" y="660"/>
                  </a:lnTo>
                  <a:lnTo>
                    <a:pt x="1848" y="660"/>
                  </a:lnTo>
                  <a:lnTo>
                    <a:pt x="1848" y="660"/>
                  </a:lnTo>
                  <a:lnTo>
                    <a:pt x="1852" y="660"/>
                  </a:lnTo>
                  <a:lnTo>
                    <a:pt x="1852" y="660"/>
                  </a:lnTo>
                  <a:lnTo>
                    <a:pt x="1861" y="660"/>
                  </a:lnTo>
                  <a:lnTo>
                    <a:pt x="1866" y="660"/>
                  </a:lnTo>
                  <a:lnTo>
                    <a:pt x="1866" y="660"/>
                  </a:lnTo>
                  <a:lnTo>
                    <a:pt x="1870" y="660"/>
                  </a:lnTo>
                  <a:lnTo>
                    <a:pt x="1870" y="660"/>
                  </a:lnTo>
                  <a:lnTo>
                    <a:pt x="1870" y="660"/>
                  </a:lnTo>
                  <a:lnTo>
                    <a:pt x="1875" y="660"/>
                  </a:lnTo>
                  <a:lnTo>
                    <a:pt x="1875" y="660"/>
                  </a:lnTo>
                  <a:lnTo>
                    <a:pt x="1875" y="656"/>
                  </a:lnTo>
                  <a:lnTo>
                    <a:pt x="1875" y="660"/>
                  </a:lnTo>
                  <a:lnTo>
                    <a:pt x="1875" y="660"/>
                  </a:lnTo>
                  <a:lnTo>
                    <a:pt x="1879" y="660"/>
                  </a:lnTo>
                  <a:lnTo>
                    <a:pt x="1879" y="656"/>
                  </a:lnTo>
                  <a:lnTo>
                    <a:pt x="1879" y="660"/>
                  </a:lnTo>
                  <a:lnTo>
                    <a:pt x="1879" y="660"/>
                  </a:lnTo>
                  <a:lnTo>
                    <a:pt x="1875" y="665"/>
                  </a:lnTo>
                  <a:lnTo>
                    <a:pt x="1875" y="665"/>
                  </a:lnTo>
                  <a:lnTo>
                    <a:pt x="1875" y="665"/>
                  </a:lnTo>
                  <a:lnTo>
                    <a:pt x="1875" y="665"/>
                  </a:lnTo>
                  <a:lnTo>
                    <a:pt x="1879" y="665"/>
                  </a:lnTo>
                  <a:lnTo>
                    <a:pt x="1879" y="665"/>
                  </a:lnTo>
                  <a:lnTo>
                    <a:pt x="1879" y="665"/>
                  </a:lnTo>
                  <a:lnTo>
                    <a:pt x="1884" y="665"/>
                  </a:lnTo>
                  <a:lnTo>
                    <a:pt x="1884" y="665"/>
                  </a:lnTo>
                  <a:lnTo>
                    <a:pt x="1884" y="665"/>
                  </a:lnTo>
                  <a:lnTo>
                    <a:pt x="1884" y="665"/>
                  </a:lnTo>
                  <a:lnTo>
                    <a:pt x="1884" y="660"/>
                  </a:lnTo>
                  <a:lnTo>
                    <a:pt x="1884" y="660"/>
                  </a:lnTo>
                  <a:lnTo>
                    <a:pt x="1888" y="660"/>
                  </a:lnTo>
                  <a:lnTo>
                    <a:pt x="1888" y="660"/>
                  </a:lnTo>
                  <a:lnTo>
                    <a:pt x="1888" y="660"/>
                  </a:lnTo>
                  <a:lnTo>
                    <a:pt x="1893" y="660"/>
                  </a:lnTo>
                  <a:lnTo>
                    <a:pt x="1893" y="660"/>
                  </a:lnTo>
                  <a:lnTo>
                    <a:pt x="1893" y="660"/>
                  </a:lnTo>
                  <a:lnTo>
                    <a:pt x="1893" y="660"/>
                  </a:lnTo>
                  <a:lnTo>
                    <a:pt x="1893" y="665"/>
                  </a:lnTo>
                  <a:lnTo>
                    <a:pt x="1888" y="665"/>
                  </a:lnTo>
                  <a:lnTo>
                    <a:pt x="1884" y="665"/>
                  </a:lnTo>
                  <a:lnTo>
                    <a:pt x="1884" y="669"/>
                  </a:lnTo>
                  <a:lnTo>
                    <a:pt x="1879" y="669"/>
                  </a:lnTo>
                  <a:lnTo>
                    <a:pt x="1879" y="669"/>
                  </a:lnTo>
                  <a:lnTo>
                    <a:pt x="1879" y="669"/>
                  </a:lnTo>
                  <a:lnTo>
                    <a:pt x="1875" y="669"/>
                  </a:lnTo>
                  <a:lnTo>
                    <a:pt x="1875" y="674"/>
                  </a:lnTo>
                  <a:lnTo>
                    <a:pt x="1870" y="674"/>
                  </a:lnTo>
                  <a:lnTo>
                    <a:pt x="1870" y="674"/>
                  </a:lnTo>
                  <a:lnTo>
                    <a:pt x="1870" y="674"/>
                  </a:lnTo>
                  <a:lnTo>
                    <a:pt x="1870" y="674"/>
                  </a:lnTo>
                  <a:lnTo>
                    <a:pt x="1870" y="674"/>
                  </a:lnTo>
                  <a:lnTo>
                    <a:pt x="1870" y="674"/>
                  </a:lnTo>
                  <a:lnTo>
                    <a:pt x="1875" y="674"/>
                  </a:lnTo>
                  <a:lnTo>
                    <a:pt x="1875" y="674"/>
                  </a:lnTo>
                  <a:lnTo>
                    <a:pt x="1875" y="674"/>
                  </a:lnTo>
                  <a:lnTo>
                    <a:pt x="1879" y="674"/>
                  </a:lnTo>
                  <a:lnTo>
                    <a:pt x="1879" y="674"/>
                  </a:lnTo>
                  <a:lnTo>
                    <a:pt x="1879" y="674"/>
                  </a:lnTo>
                  <a:lnTo>
                    <a:pt x="1879" y="674"/>
                  </a:lnTo>
                  <a:lnTo>
                    <a:pt x="1884" y="674"/>
                  </a:lnTo>
                  <a:lnTo>
                    <a:pt x="1884" y="674"/>
                  </a:lnTo>
                  <a:lnTo>
                    <a:pt x="1884" y="669"/>
                  </a:lnTo>
                  <a:lnTo>
                    <a:pt x="1888" y="665"/>
                  </a:lnTo>
                  <a:lnTo>
                    <a:pt x="1893" y="665"/>
                  </a:lnTo>
                  <a:lnTo>
                    <a:pt x="1893" y="665"/>
                  </a:lnTo>
                  <a:lnTo>
                    <a:pt x="1893" y="665"/>
                  </a:lnTo>
                  <a:lnTo>
                    <a:pt x="1893" y="665"/>
                  </a:lnTo>
                  <a:lnTo>
                    <a:pt x="1897" y="665"/>
                  </a:lnTo>
                  <a:lnTo>
                    <a:pt x="1897" y="665"/>
                  </a:lnTo>
                  <a:lnTo>
                    <a:pt x="1897" y="665"/>
                  </a:lnTo>
                  <a:lnTo>
                    <a:pt x="1893" y="665"/>
                  </a:lnTo>
                  <a:lnTo>
                    <a:pt x="1897" y="665"/>
                  </a:lnTo>
                  <a:lnTo>
                    <a:pt x="1897" y="665"/>
                  </a:lnTo>
                  <a:lnTo>
                    <a:pt x="1897" y="665"/>
                  </a:lnTo>
                  <a:lnTo>
                    <a:pt x="1897" y="665"/>
                  </a:lnTo>
                  <a:lnTo>
                    <a:pt x="1902" y="660"/>
                  </a:lnTo>
                  <a:lnTo>
                    <a:pt x="1902" y="660"/>
                  </a:lnTo>
                  <a:lnTo>
                    <a:pt x="1902" y="656"/>
                  </a:lnTo>
                  <a:lnTo>
                    <a:pt x="1906" y="660"/>
                  </a:lnTo>
                  <a:lnTo>
                    <a:pt x="1906" y="660"/>
                  </a:lnTo>
                  <a:lnTo>
                    <a:pt x="1906" y="660"/>
                  </a:lnTo>
                  <a:lnTo>
                    <a:pt x="1906" y="665"/>
                  </a:lnTo>
                  <a:lnTo>
                    <a:pt x="1906" y="665"/>
                  </a:lnTo>
                  <a:lnTo>
                    <a:pt x="1906" y="665"/>
                  </a:lnTo>
                  <a:lnTo>
                    <a:pt x="1906" y="665"/>
                  </a:lnTo>
                  <a:lnTo>
                    <a:pt x="1902" y="669"/>
                  </a:lnTo>
                  <a:lnTo>
                    <a:pt x="1897" y="674"/>
                  </a:lnTo>
                  <a:lnTo>
                    <a:pt x="1897" y="674"/>
                  </a:lnTo>
                  <a:lnTo>
                    <a:pt x="1897" y="674"/>
                  </a:lnTo>
                  <a:lnTo>
                    <a:pt x="1897" y="678"/>
                  </a:lnTo>
                  <a:lnTo>
                    <a:pt x="1897" y="678"/>
                  </a:lnTo>
                  <a:lnTo>
                    <a:pt x="1897" y="678"/>
                  </a:lnTo>
                  <a:lnTo>
                    <a:pt x="1897" y="678"/>
                  </a:lnTo>
                  <a:lnTo>
                    <a:pt x="1897" y="678"/>
                  </a:lnTo>
                  <a:lnTo>
                    <a:pt x="1902" y="674"/>
                  </a:lnTo>
                  <a:lnTo>
                    <a:pt x="1902" y="674"/>
                  </a:lnTo>
                  <a:lnTo>
                    <a:pt x="1906" y="674"/>
                  </a:lnTo>
                  <a:lnTo>
                    <a:pt x="1906" y="674"/>
                  </a:lnTo>
                  <a:lnTo>
                    <a:pt x="1906" y="674"/>
                  </a:lnTo>
                  <a:lnTo>
                    <a:pt x="1906" y="674"/>
                  </a:lnTo>
                  <a:lnTo>
                    <a:pt x="1906" y="674"/>
                  </a:lnTo>
                  <a:lnTo>
                    <a:pt x="1906" y="674"/>
                  </a:lnTo>
                  <a:lnTo>
                    <a:pt x="1906" y="674"/>
                  </a:lnTo>
                  <a:lnTo>
                    <a:pt x="1906" y="678"/>
                  </a:lnTo>
                  <a:lnTo>
                    <a:pt x="1902" y="678"/>
                  </a:lnTo>
                  <a:lnTo>
                    <a:pt x="1902" y="683"/>
                  </a:lnTo>
                  <a:lnTo>
                    <a:pt x="1902" y="683"/>
                  </a:lnTo>
                  <a:lnTo>
                    <a:pt x="1906" y="683"/>
                  </a:lnTo>
                  <a:lnTo>
                    <a:pt x="1906" y="678"/>
                  </a:lnTo>
                  <a:lnTo>
                    <a:pt x="1906" y="678"/>
                  </a:lnTo>
                  <a:lnTo>
                    <a:pt x="1906" y="678"/>
                  </a:lnTo>
                  <a:lnTo>
                    <a:pt x="1911" y="678"/>
                  </a:lnTo>
                  <a:lnTo>
                    <a:pt x="1911" y="683"/>
                  </a:lnTo>
                  <a:lnTo>
                    <a:pt x="1911" y="683"/>
                  </a:lnTo>
                  <a:lnTo>
                    <a:pt x="1911" y="683"/>
                  </a:lnTo>
                  <a:lnTo>
                    <a:pt x="1911" y="683"/>
                  </a:lnTo>
                  <a:lnTo>
                    <a:pt x="1911" y="678"/>
                  </a:lnTo>
                  <a:lnTo>
                    <a:pt x="1916" y="678"/>
                  </a:lnTo>
                  <a:lnTo>
                    <a:pt x="1916" y="674"/>
                  </a:lnTo>
                  <a:lnTo>
                    <a:pt x="1916" y="674"/>
                  </a:lnTo>
                  <a:lnTo>
                    <a:pt x="1916" y="674"/>
                  </a:lnTo>
                  <a:lnTo>
                    <a:pt x="1916" y="674"/>
                  </a:lnTo>
                  <a:lnTo>
                    <a:pt x="1925" y="665"/>
                  </a:lnTo>
                  <a:lnTo>
                    <a:pt x="1925" y="665"/>
                  </a:lnTo>
                  <a:lnTo>
                    <a:pt x="1925" y="665"/>
                  </a:lnTo>
                  <a:lnTo>
                    <a:pt x="1925" y="665"/>
                  </a:lnTo>
                  <a:lnTo>
                    <a:pt x="1925" y="660"/>
                  </a:lnTo>
                  <a:lnTo>
                    <a:pt x="1925" y="660"/>
                  </a:lnTo>
                  <a:lnTo>
                    <a:pt x="1925" y="660"/>
                  </a:lnTo>
                  <a:lnTo>
                    <a:pt x="1925" y="660"/>
                  </a:lnTo>
                  <a:lnTo>
                    <a:pt x="1925" y="660"/>
                  </a:lnTo>
                  <a:lnTo>
                    <a:pt x="1920" y="665"/>
                  </a:lnTo>
                  <a:lnTo>
                    <a:pt x="1920" y="665"/>
                  </a:lnTo>
                  <a:lnTo>
                    <a:pt x="1916" y="665"/>
                  </a:lnTo>
                  <a:lnTo>
                    <a:pt x="1916" y="665"/>
                  </a:lnTo>
                  <a:lnTo>
                    <a:pt x="1916" y="665"/>
                  </a:lnTo>
                  <a:lnTo>
                    <a:pt x="1916" y="665"/>
                  </a:lnTo>
                  <a:lnTo>
                    <a:pt x="1916" y="660"/>
                  </a:lnTo>
                  <a:lnTo>
                    <a:pt x="1920" y="660"/>
                  </a:lnTo>
                  <a:lnTo>
                    <a:pt x="1920" y="660"/>
                  </a:lnTo>
                  <a:lnTo>
                    <a:pt x="1920" y="656"/>
                  </a:lnTo>
                  <a:lnTo>
                    <a:pt x="1925" y="656"/>
                  </a:lnTo>
                  <a:lnTo>
                    <a:pt x="1925" y="656"/>
                  </a:lnTo>
                  <a:lnTo>
                    <a:pt x="1925" y="656"/>
                  </a:lnTo>
                  <a:lnTo>
                    <a:pt x="1925" y="656"/>
                  </a:lnTo>
                  <a:lnTo>
                    <a:pt x="1925" y="651"/>
                  </a:lnTo>
                  <a:lnTo>
                    <a:pt x="1920" y="656"/>
                  </a:lnTo>
                  <a:lnTo>
                    <a:pt x="1920" y="656"/>
                  </a:lnTo>
                  <a:lnTo>
                    <a:pt x="1911" y="660"/>
                  </a:lnTo>
                  <a:lnTo>
                    <a:pt x="1911" y="660"/>
                  </a:lnTo>
                  <a:lnTo>
                    <a:pt x="1911" y="660"/>
                  </a:lnTo>
                  <a:lnTo>
                    <a:pt x="1906" y="660"/>
                  </a:lnTo>
                  <a:lnTo>
                    <a:pt x="1906" y="660"/>
                  </a:lnTo>
                  <a:lnTo>
                    <a:pt x="1906" y="660"/>
                  </a:lnTo>
                  <a:lnTo>
                    <a:pt x="1906" y="660"/>
                  </a:lnTo>
                  <a:lnTo>
                    <a:pt x="1906" y="660"/>
                  </a:lnTo>
                  <a:lnTo>
                    <a:pt x="1911" y="656"/>
                  </a:lnTo>
                  <a:lnTo>
                    <a:pt x="1911" y="656"/>
                  </a:lnTo>
                  <a:lnTo>
                    <a:pt x="1911" y="656"/>
                  </a:lnTo>
                  <a:lnTo>
                    <a:pt x="1911" y="656"/>
                  </a:lnTo>
                  <a:lnTo>
                    <a:pt x="1911" y="656"/>
                  </a:lnTo>
                  <a:lnTo>
                    <a:pt x="1911" y="656"/>
                  </a:lnTo>
                  <a:lnTo>
                    <a:pt x="1911" y="656"/>
                  </a:lnTo>
                  <a:lnTo>
                    <a:pt x="1911" y="656"/>
                  </a:lnTo>
                  <a:lnTo>
                    <a:pt x="1911" y="656"/>
                  </a:lnTo>
                  <a:lnTo>
                    <a:pt x="1916" y="656"/>
                  </a:lnTo>
                  <a:lnTo>
                    <a:pt x="1916" y="656"/>
                  </a:lnTo>
                  <a:lnTo>
                    <a:pt x="1916" y="651"/>
                  </a:lnTo>
                  <a:lnTo>
                    <a:pt x="1916" y="651"/>
                  </a:lnTo>
                  <a:lnTo>
                    <a:pt x="1916" y="651"/>
                  </a:lnTo>
                  <a:lnTo>
                    <a:pt x="1920" y="651"/>
                  </a:lnTo>
                  <a:close/>
                  <a:moveTo>
                    <a:pt x="2358" y="23"/>
                  </a:moveTo>
                  <a:lnTo>
                    <a:pt x="2363" y="27"/>
                  </a:lnTo>
                  <a:lnTo>
                    <a:pt x="2363" y="27"/>
                  </a:lnTo>
                  <a:lnTo>
                    <a:pt x="2367" y="27"/>
                  </a:lnTo>
                  <a:lnTo>
                    <a:pt x="2367" y="23"/>
                  </a:lnTo>
                  <a:lnTo>
                    <a:pt x="2372" y="23"/>
                  </a:lnTo>
                  <a:lnTo>
                    <a:pt x="2372" y="18"/>
                  </a:lnTo>
                  <a:lnTo>
                    <a:pt x="2367" y="18"/>
                  </a:lnTo>
                  <a:lnTo>
                    <a:pt x="2363" y="14"/>
                  </a:lnTo>
                  <a:lnTo>
                    <a:pt x="2358" y="18"/>
                  </a:lnTo>
                  <a:lnTo>
                    <a:pt x="2354" y="18"/>
                  </a:lnTo>
                  <a:lnTo>
                    <a:pt x="2354" y="18"/>
                  </a:lnTo>
                  <a:lnTo>
                    <a:pt x="2349" y="18"/>
                  </a:lnTo>
                  <a:lnTo>
                    <a:pt x="2354" y="23"/>
                  </a:lnTo>
                  <a:lnTo>
                    <a:pt x="2358" y="23"/>
                  </a:lnTo>
                  <a:close/>
                  <a:moveTo>
                    <a:pt x="1870" y="95"/>
                  </a:moveTo>
                  <a:lnTo>
                    <a:pt x="1870" y="95"/>
                  </a:lnTo>
                  <a:lnTo>
                    <a:pt x="1875" y="90"/>
                  </a:lnTo>
                  <a:lnTo>
                    <a:pt x="1879" y="90"/>
                  </a:lnTo>
                  <a:lnTo>
                    <a:pt x="1879" y="90"/>
                  </a:lnTo>
                  <a:lnTo>
                    <a:pt x="1879" y="90"/>
                  </a:lnTo>
                  <a:lnTo>
                    <a:pt x="1879" y="90"/>
                  </a:lnTo>
                  <a:lnTo>
                    <a:pt x="1879" y="90"/>
                  </a:lnTo>
                  <a:lnTo>
                    <a:pt x="1879" y="90"/>
                  </a:lnTo>
                  <a:lnTo>
                    <a:pt x="1879" y="86"/>
                  </a:lnTo>
                  <a:lnTo>
                    <a:pt x="1879" y="86"/>
                  </a:lnTo>
                  <a:lnTo>
                    <a:pt x="1875" y="86"/>
                  </a:lnTo>
                  <a:lnTo>
                    <a:pt x="1875" y="86"/>
                  </a:lnTo>
                  <a:lnTo>
                    <a:pt x="1875" y="86"/>
                  </a:lnTo>
                  <a:lnTo>
                    <a:pt x="1870" y="86"/>
                  </a:lnTo>
                  <a:lnTo>
                    <a:pt x="1870" y="86"/>
                  </a:lnTo>
                  <a:lnTo>
                    <a:pt x="1870" y="86"/>
                  </a:lnTo>
                  <a:lnTo>
                    <a:pt x="1870" y="86"/>
                  </a:lnTo>
                  <a:lnTo>
                    <a:pt x="1866" y="90"/>
                  </a:lnTo>
                  <a:lnTo>
                    <a:pt x="1866" y="90"/>
                  </a:lnTo>
                  <a:lnTo>
                    <a:pt x="1866" y="90"/>
                  </a:lnTo>
                  <a:lnTo>
                    <a:pt x="1870" y="95"/>
                  </a:lnTo>
                  <a:close/>
                  <a:moveTo>
                    <a:pt x="1875" y="54"/>
                  </a:moveTo>
                  <a:lnTo>
                    <a:pt x="1875" y="54"/>
                  </a:lnTo>
                  <a:lnTo>
                    <a:pt x="1875" y="54"/>
                  </a:lnTo>
                  <a:lnTo>
                    <a:pt x="1875" y="54"/>
                  </a:lnTo>
                  <a:lnTo>
                    <a:pt x="1879" y="54"/>
                  </a:lnTo>
                  <a:lnTo>
                    <a:pt x="1884" y="54"/>
                  </a:lnTo>
                  <a:lnTo>
                    <a:pt x="1884" y="54"/>
                  </a:lnTo>
                  <a:lnTo>
                    <a:pt x="1884" y="54"/>
                  </a:lnTo>
                  <a:lnTo>
                    <a:pt x="1884" y="54"/>
                  </a:lnTo>
                  <a:lnTo>
                    <a:pt x="1884" y="54"/>
                  </a:lnTo>
                  <a:lnTo>
                    <a:pt x="1884" y="54"/>
                  </a:lnTo>
                  <a:lnTo>
                    <a:pt x="1884" y="54"/>
                  </a:lnTo>
                  <a:lnTo>
                    <a:pt x="1884" y="54"/>
                  </a:lnTo>
                  <a:lnTo>
                    <a:pt x="1884" y="54"/>
                  </a:lnTo>
                  <a:lnTo>
                    <a:pt x="1888" y="54"/>
                  </a:lnTo>
                  <a:lnTo>
                    <a:pt x="1888" y="54"/>
                  </a:lnTo>
                  <a:lnTo>
                    <a:pt x="1893" y="54"/>
                  </a:lnTo>
                  <a:lnTo>
                    <a:pt x="1897" y="54"/>
                  </a:lnTo>
                  <a:lnTo>
                    <a:pt x="1897" y="54"/>
                  </a:lnTo>
                  <a:lnTo>
                    <a:pt x="1897" y="54"/>
                  </a:lnTo>
                  <a:lnTo>
                    <a:pt x="1902" y="54"/>
                  </a:lnTo>
                  <a:lnTo>
                    <a:pt x="1906" y="54"/>
                  </a:lnTo>
                  <a:lnTo>
                    <a:pt x="1906" y="54"/>
                  </a:lnTo>
                  <a:lnTo>
                    <a:pt x="1906" y="54"/>
                  </a:lnTo>
                  <a:lnTo>
                    <a:pt x="1902" y="59"/>
                  </a:lnTo>
                  <a:lnTo>
                    <a:pt x="1897" y="59"/>
                  </a:lnTo>
                  <a:lnTo>
                    <a:pt x="1893" y="59"/>
                  </a:lnTo>
                  <a:lnTo>
                    <a:pt x="1888" y="59"/>
                  </a:lnTo>
                  <a:lnTo>
                    <a:pt x="1888" y="59"/>
                  </a:lnTo>
                  <a:lnTo>
                    <a:pt x="1884" y="59"/>
                  </a:lnTo>
                  <a:lnTo>
                    <a:pt x="1879" y="59"/>
                  </a:lnTo>
                  <a:lnTo>
                    <a:pt x="1875" y="59"/>
                  </a:lnTo>
                  <a:lnTo>
                    <a:pt x="1875" y="63"/>
                  </a:lnTo>
                  <a:lnTo>
                    <a:pt x="1875" y="63"/>
                  </a:lnTo>
                  <a:lnTo>
                    <a:pt x="1875" y="63"/>
                  </a:lnTo>
                  <a:lnTo>
                    <a:pt x="1875" y="63"/>
                  </a:lnTo>
                  <a:lnTo>
                    <a:pt x="1879" y="63"/>
                  </a:lnTo>
                  <a:lnTo>
                    <a:pt x="1879" y="63"/>
                  </a:lnTo>
                  <a:lnTo>
                    <a:pt x="1879" y="63"/>
                  </a:lnTo>
                  <a:lnTo>
                    <a:pt x="1875" y="63"/>
                  </a:lnTo>
                  <a:lnTo>
                    <a:pt x="1875" y="63"/>
                  </a:lnTo>
                  <a:lnTo>
                    <a:pt x="1875" y="63"/>
                  </a:lnTo>
                  <a:lnTo>
                    <a:pt x="1875" y="68"/>
                  </a:lnTo>
                  <a:lnTo>
                    <a:pt x="1875" y="68"/>
                  </a:lnTo>
                  <a:lnTo>
                    <a:pt x="1875" y="68"/>
                  </a:lnTo>
                  <a:lnTo>
                    <a:pt x="1875" y="68"/>
                  </a:lnTo>
                  <a:lnTo>
                    <a:pt x="1875" y="68"/>
                  </a:lnTo>
                  <a:lnTo>
                    <a:pt x="1879" y="68"/>
                  </a:lnTo>
                  <a:lnTo>
                    <a:pt x="1884" y="68"/>
                  </a:lnTo>
                  <a:lnTo>
                    <a:pt x="1884" y="68"/>
                  </a:lnTo>
                  <a:lnTo>
                    <a:pt x="1879" y="68"/>
                  </a:lnTo>
                  <a:lnTo>
                    <a:pt x="1875" y="72"/>
                  </a:lnTo>
                  <a:lnTo>
                    <a:pt x="1875" y="72"/>
                  </a:lnTo>
                  <a:lnTo>
                    <a:pt x="1875" y="72"/>
                  </a:lnTo>
                  <a:lnTo>
                    <a:pt x="1875" y="72"/>
                  </a:lnTo>
                  <a:lnTo>
                    <a:pt x="1875" y="72"/>
                  </a:lnTo>
                  <a:lnTo>
                    <a:pt x="1879" y="77"/>
                  </a:lnTo>
                  <a:lnTo>
                    <a:pt x="1879" y="77"/>
                  </a:lnTo>
                  <a:lnTo>
                    <a:pt x="1884" y="77"/>
                  </a:lnTo>
                  <a:lnTo>
                    <a:pt x="1888" y="77"/>
                  </a:lnTo>
                  <a:lnTo>
                    <a:pt x="1888" y="77"/>
                  </a:lnTo>
                  <a:lnTo>
                    <a:pt x="1893" y="77"/>
                  </a:lnTo>
                  <a:lnTo>
                    <a:pt x="1893" y="77"/>
                  </a:lnTo>
                  <a:lnTo>
                    <a:pt x="1893" y="77"/>
                  </a:lnTo>
                  <a:lnTo>
                    <a:pt x="1893" y="77"/>
                  </a:lnTo>
                  <a:lnTo>
                    <a:pt x="1893" y="72"/>
                  </a:lnTo>
                  <a:lnTo>
                    <a:pt x="1893" y="72"/>
                  </a:lnTo>
                  <a:lnTo>
                    <a:pt x="1893" y="72"/>
                  </a:lnTo>
                  <a:lnTo>
                    <a:pt x="1893" y="72"/>
                  </a:lnTo>
                  <a:lnTo>
                    <a:pt x="1897" y="77"/>
                  </a:lnTo>
                  <a:lnTo>
                    <a:pt x="1897" y="77"/>
                  </a:lnTo>
                  <a:lnTo>
                    <a:pt x="1897" y="77"/>
                  </a:lnTo>
                  <a:lnTo>
                    <a:pt x="1897" y="77"/>
                  </a:lnTo>
                  <a:lnTo>
                    <a:pt x="1897" y="77"/>
                  </a:lnTo>
                  <a:lnTo>
                    <a:pt x="1897" y="77"/>
                  </a:lnTo>
                  <a:lnTo>
                    <a:pt x="1897" y="77"/>
                  </a:lnTo>
                  <a:lnTo>
                    <a:pt x="1897" y="77"/>
                  </a:lnTo>
                  <a:lnTo>
                    <a:pt x="1897" y="77"/>
                  </a:lnTo>
                  <a:lnTo>
                    <a:pt x="1897" y="77"/>
                  </a:lnTo>
                  <a:lnTo>
                    <a:pt x="1902" y="72"/>
                  </a:lnTo>
                  <a:lnTo>
                    <a:pt x="1902" y="72"/>
                  </a:lnTo>
                  <a:lnTo>
                    <a:pt x="1902" y="72"/>
                  </a:lnTo>
                  <a:lnTo>
                    <a:pt x="1902" y="68"/>
                  </a:lnTo>
                  <a:lnTo>
                    <a:pt x="1902" y="68"/>
                  </a:lnTo>
                  <a:lnTo>
                    <a:pt x="1902" y="72"/>
                  </a:lnTo>
                  <a:lnTo>
                    <a:pt x="1902" y="72"/>
                  </a:lnTo>
                  <a:lnTo>
                    <a:pt x="1902" y="72"/>
                  </a:lnTo>
                  <a:lnTo>
                    <a:pt x="1902" y="77"/>
                  </a:lnTo>
                  <a:lnTo>
                    <a:pt x="1902" y="77"/>
                  </a:lnTo>
                  <a:lnTo>
                    <a:pt x="1906" y="77"/>
                  </a:lnTo>
                  <a:lnTo>
                    <a:pt x="1906" y="77"/>
                  </a:lnTo>
                  <a:lnTo>
                    <a:pt x="1906" y="77"/>
                  </a:lnTo>
                  <a:lnTo>
                    <a:pt x="1911" y="77"/>
                  </a:lnTo>
                  <a:lnTo>
                    <a:pt x="1911" y="72"/>
                  </a:lnTo>
                  <a:lnTo>
                    <a:pt x="1911" y="72"/>
                  </a:lnTo>
                  <a:lnTo>
                    <a:pt x="1916" y="72"/>
                  </a:lnTo>
                  <a:lnTo>
                    <a:pt x="1916" y="72"/>
                  </a:lnTo>
                  <a:lnTo>
                    <a:pt x="1916" y="72"/>
                  </a:lnTo>
                  <a:lnTo>
                    <a:pt x="1916" y="72"/>
                  </a:lnTo>
                  <a:lnTo>
                    <a:pt x="1916" y="72"/>
                  </a:lnTo>
                  <a:lnTo>
                    <a:pt x="1916" y="72"/>
                  </a:lnTo>
                  <a:lnTo>
                    <a:pt x="1920" y="72"/>
                  </a:lnTo>
                  <a:lnTo>
                    <a:pt x="1920" y="72"/>
                  </a:lnTo>
                  <a:lnTo>
                    <a:pt x="1920" y="72"/>
                  </a:lnTo>
                  <a:lnTo>
                    <a:pt x="1920" y="72"/>
                  </a:lnTo>
                  <a:lnTo>
                    <a:pt x="1920" y="72"/>
                  </a:lnTo>
                  <a:lnTo>
                    <a:pt x="1920" y="72"/>
                  </a:lnTo>
                  <a:lnTo>
                    <a:pt x="1920" y="68"/>
                  </a:lnTo>
                  <a:lnTo>
                    <a:pt x="1920" y="68"/>
                  </a:lnTo>
                  <a:lnTo>
                    <a:pt x="1920" y="68"/>
                  </a:lnTo>
                  <a:lnTo>
                    <a:pt x="1925" y="68"/>
                  </a:lnTo>
                  <a:lnTo>
                    <a:pt x="1925" y="68"/>
                  </a:lnTo>
                  <a:lnTo>
                    <a:pt x="1925" y="63"/>
                  </a:lnTo>
                  <a:lnTo>
                    <a:pt x="1929" y="63"/>
                  </a:lnTo>
                  <a:lnTo>
                    <a:pt x="1929" y="63"/>
                  </a:lnTo>
                  <a:lnTo>
                    <a:pt x="1934" y="63"/>
                  </a:lnTo>
                  <a:lnTo>
                    <a:pt x="1934" y="63"/>
                  </a:lnTo>
                  <a:lnTo>
                    <a:pt x="1934" y="63"/>
                  </a:lnTo>
                  <a:lnTo>
                    <a:pt x="1929" y="63"/>
                  </a:lnTo>
                  <a:lnTo>
                    <a:pt x="1929" y="68"/>
                  </a:lnTo>
                  <a:lnTo>
                    <a:pt x="1929" y="68"/>
                  </a:lnTo>
                  <a:lnTo>
                    <a:pt x="1925" y="68"/>
                  </a:lnTo>
                  <a:lnTo>
                    <a:pt x="1925" y="68"/>
                  </a:lnTo>
                  <a:lnTo>
                    <a:pt x="1925" y="68"/>
                  </a:lnTo>
                  <a:lnTo>
                    <a:pt x="1925" y="68"/>
                  </a:lnTo>
                  <a:lnTo>
                    <a:pt x="1929" y="68"/>
                  </a:lnTo>
                  <a:lnTo>
                    <a:pt x="1934" y="68"/>
                  </a:lnTo>
                  <a:lnTo>
                    <a:pt x="1934" y="68"/>
                  </a:lnTo>
                  <a:lnTo>
                    <a:pt x="1938" y="68"/>
                  </a:lnTo>
                  <a:lnTo>
                    <a:pt x="1938" y="63"/>
                  </a:lnTo>
                  <a:lnTo>
                    <a:pt x="1938" y="63"/>
                  </a:lnTo>
                  <a:lnTo>
                    <a:pt x="1943" y="63"/>
                  </a:lnTo>
                  <a:lnTo>
                    <a:pt x="1943" y="63"/>
                  </a:lnTo>
                  <a:lnTo>
                    <a:pt x="1943" y="63"/>
                  </a:lnTo>
                  <a:lnTo>
                    <a:pt x="1947" y="63"/>
                  </a:lnTo>
                  <a:lnTo>
                    <a:pt x="1956" y="63"/>
                  </a:lnTo>
                  <a:lnTo>
                    <a:pt x="1961" y="63"/>
                  </a:lnTo>
                  <a:lnTo>
                    <a:pt x="1961" y="59"/>
                  </a:lnTo>
                  <a:lnTo>
                    <a:pt x="1961" y="59"/>
                  </a:lnTo>
                  <a:lnTo>
                    <a:pt x="1965" y="59"/>
                  </a:lnTo>
                  <a:lnTo>
                    <a:pt x="1965" y="59"/>
                  </a:lnTo>
                  <a:lnTo>
                    <a:pt x="1965" y="54"/>
                  </a:lnTo>
                  <a:lnTo>
                    <a:pt x="1965" y="54"/>
                  </a:lnTo>
                  <a:lnTo>
                    <a:pt x="1961" y="54"/>
                  </a:lnTo>
                  <a:lnTo>
                    <a:pt x="1961" y="54"/>
                  </a:lnTo>
                  <a:lnTo>
                    <a:pt x="1956" y="59"/>
                  </a:lnTo>
                  <a:lnTo>
                    <a:pt x="1956" y="59"/>
                  </a:lnTo>
                  <a:lnTo>
                    <a:pt x="1956" y="54"/>
                  </a:lnTo>
                  <a:lnTo>
                    <a:pt x="1961" y="54"/>
                  </a:lnTo>
                  <a:lnTo>
                    <a:pt x="1961" y="54"/>
                  </a:lnTo>
                  <a:lnTo>
                    <a:pt x="1956" y="54"/>
                  </a:lnTo>
                  <a:lnTo>
                    <a:pt x="1956" y="54"/>
                  </a:lnTo>
                  <a:lnTo>
                    <a:pt x="1952" y="54"/>
                  </a:lnTo>
                  <a:lnTo>
                    <a:pt x="1952" y="54"/>
                  </a:lnTo>
                  <a:lnTo>
                    <a:pt x="1947" y="54"/>
                  </a:lnTo>
                  <a:lnTo>
                    <a:pt x="1947" y="54"/>
                  </a:lnTo>
                  <a:lnTo>
                    <a:pt x="1952" y="54"/>
                  </a:lnTo>
                  <a:lnTo>
                    <a:pt x="1952" y="54"/>
                  </a:lnTo>
                  <a:lnTo>
                    <a:pt x="1956" y="50"/>
                  </a:lnTo>
                  <a:lnTo>
                    <a:pt x="1956" y="50"/>
                  </a:lnTo>
                  <a:lnTo>
                    <a:pt x="1961" y="50"/>
                  </a:lnTo>
                  <a:lnTo>
                    <a:pt x="1961" y="45"/>
                  </a:lnTo>
                  <a:lnTo>
                    <a:pt x="1956" y="45"/>
                  </a:lnTo>
                  <a:lnTo>
                    <a:pt x="1956" y="45"/>
                  </a:lnTo>
                  <a:lnTo>
                    <a:pt x="1956" y="45"/>
                  </a:lnTo>
                  <a:lnTo>
                    <a:pt x="1956" y="45"/>
                  </a:lnTo>
                  <a:lnTo>
                    <a:pt x="1956" y="45"/>
                  </a:lnTo>
                  <a:lnTo>
                    <a:pt x="1961" y="45"/>
                  </a:lnTo>
                  <a:lnTo>
                    <a:pt x="1961" y="45"/>
                  </a:lnTo>
                  <a:lnTo>
                    <a:pt x="1961" y="41"/>
                  </a:lnTo>
                  <a:lnTo>
                    <a:pt x="1961" y="41"/>
                  </a:lnTo>
                  <a:lnTo>
                    <a:pt x="1961" y="41"/>
                  </a:lnTo>
                  <a:lnTo>
                    <a:pt x="1961" y="41"/>
                  </a:lnTo>
                  <a:lnTo>
                    <a:pt x="1961" y="41"/>
                  </a:lnTo>
                  <a:lnTo>
                    <a:pt x="1956" y="41"/>
                  </a:lnTo>
                  <a:lnTo>
                    <a:pt x="1956" y="41"/>
                  </a:lnTo>
                  <a:lnTo>
                    <a:pt x="1956" y="41"/>
                  </a:lnTo>
                  <a:lnTo>
                    <a:pt x="1952" y="41"/>
                  </a:lnTo>
                  <a:lnTo>
                    <a:pt x="1952" y="41"/>
                  </a:lnTo>
                  <a:lnTo>
                    <a:pt x="1952" y="41"/>
                  </a:lnTo>
                  <a:lnTo>
                    <a:pt x="1952" y="45"/>
                  </a:lnTo>
                  <a:lnTo>
                    <a:pt x="1952" y="45"/>
                  </a:lnTo>
                  <a:lnTo>
                    <a:pt x="1952" y="45"/>
                  </a:lnTo>
                  <a:lnTo>
                    <a:pt x="1952" y="45"/>
                  </a:lnTo>
                  <a:lnTo>
                    <a:pt x="1952" y="45"/>
                  </a:lnTo>
                  <a:lnTo>
                    <a:pt x="1947" y="45"/>
                  </a:lnTo>
                  <a:lnTo>
                    <a:pt x="1947" y="45"/>
                  </a:lnTo>
                  <a:lnTo>
                    <a:pt x="1947" y="45"/>
                  </a:lnTo>
                  <a:lnTo>
                    <a:pt x="1947" y="41"/>
                  </a:lnTo>
                  <a:lnTo>
                    <a:pt x="1947" y="41"/>
                  </a:lnTo>
                  <a:lnTo>
                    <a:pt x="1947" y="41"/>
                  </a:lnTo>
                  <a:lnTo>
                    <a:pt x="1952" y="41"/>
                  </a:lnTo>
                  <a:lnTo>
                    <a:pt x="1947" y="41"/>
                  </a:lnTo>
                  <a:lnTo>
                    <a:pt x="1952" y="41"/>
                  </a:lnTo>
                  <a:lnTo>
                    <a:pt x="1952" y="41"/>
                  </a:lnTo>
                  <a:lnTo>
                    <a:pt x="1952" y="41"/>
                  </a:lnTo>
                  <a:lnTo>
                    <a:pt x="1952" y="41"/>
                  </a:lnTo>
                  <a:lnTo>
                    <a:pt x="1952" y="36"/>
                  </a:lnTo>
                  <a:lnTo>
                    <a:pt x="1952" y="36"/>
                  </a:lnTo>
                  <a:lnTo>
                    <a:pt x="1952" y="36"/>
                  </a:lnTo>
                  <a:lnTo>
                    <a:pt x="1947" y="36"/>
                  </a:lnTo>
                  <a:lnTo>
                    <a:pt x="1947" y="36"/>
                  </a:lnTo>
                  <a:lnTo>
                    <a:pt x="1947" y="36"/>
                  </a:lnTo>
                  <a:lnTo>
                    <a:pt x="1943" y="36"/>
                  </a:lnTo>
                  <a:lnTo>
                    <a:pt x="1943" y="36"/>
                  </a:lnTo>
                  <a:lnTo>
                    <a:pt x="1943" y="36"/>
                  </a:lnTo>
                  <a:lnTo>
                    <a:pt x="1943" y="36"/>
                  </a:lnTo>
                  <a:lnTo>
                    <a:pt x="1943" y="36"/>
                  </a:lnTo>
                  <a:lnTo>
                    <a:pt x="1943" y="36"/>
                  </a:lnTo>
                  <a:lnTo>
                    <a:pt x="1943" y="32"/>
                  </a:lnTo>
                  <a:lnTo>
                    <a:pt x="1943" y="32"/>
                  </a:lnTo>
                  <a:lnTo>
                    <a:pt x="1943" y="27"/>
                  </a:lnTo>
                  <a:lnTo>
                    <a:pt x="1943" y="27"/>
                  </a:lnTo>
                  <a:lnTo>
                    <a:pt x="1943" y="27"/>
                  </a:lnTo>
                  <a:lnTo>
                    <a:pt x="1943" y="23"/>
                  </a:lnTo>
                  <a:lnTo>
                    <a:pt x="1943" y="23"/>
                  </a:lnTo>
                  <a:lnTo>
                    <a:pt x="1938" y="23"/>
                  </a:lnTo>
                  <a:lnTo>
                    <a:pt x="1938" y="23"/>
                  </a:lnTo>
                  <a:lnTo>
                    <a:pt x="1934" y="23"/>
                  </a:lnTo>
                  <a:lnTo>
                    <a:pt x="1929" y="23"/>
                  </a:lnTo>
                  <a:lnTo>
                    <a:pt x="1929" y="23"/>
                  </a:lnTo>
                  <a:lnTo>
                    <a:pt x="1929" y="23"/>
                  </a:lnTo>
                  <a:lnTo>
                    <a:pt x="1929" y="23"/>
                  </a:lnTo>
                  <a:lnTo>
                    <a:pt x="1929" y="23"/>
                  </a:lnTo>
                  <a:lnTo>
                    <a:pt x="1925" y="23"/>
                  </a:lnTo>
                  <a:lnTo>
                    <a:pt x="1925" y="23"/>
                  </a:lnTo>
                  <a:lnTo>
                    <a:pt x="1925" y="23"/>
                  </a:lnTo>
                  <a:lnTo>
                    <a:pt x="1929" y="23"/>
                  </a:lnTo>
                  <a:lnTo>
                    <a:pt x="1934" y="23"/>
                  </a:lnTo>
                  <a:lnTo>
                    <a:pt x="1934" y="27"/>
                  </a:lnTo>
                  <a:lnTo>
                    <a:pt x="1934" y="27"/>
                  </a:lnTo>
                  <a:lnTo>
                    <a:pt x="1934" y="27"/>
                  </a:lnTo>
                  <a:lnTo>
                    <a:pt x="1929" y="27"/>
                  </a:lnTo>
                  <a:lnTo>
                    <a:pt x="1929" y="27"/>
                  </a:lnTo>
                  <a:lnTo>
                    <a:pt x="1929" y="27"/>
                  </a:lnTo>
                  <a:lnTo>
                    <a:pt x="1925" y="27"/>
                  </a:lnTo>
                  <a:lnTo>
                    <a:pt x="1920" y="27"/>
                  </a:lnTo>
                  <a:lnTo>
                    <a:pt x="1920" y="27"/>
                  </a:lnTo>
                  <a:lnTo>
                    <a:pt x="1916" y="27"/>
                  </a:lnTo>
                  <a:lnTo>
                    <a:pt x="1911" y="27"/>
                  </a:lnTo>
                  <a:lnTo>
                    <a:pt x="1906" y="27"/>
                  </a:lnTo>
                  <a:lnTo>
                    <a:pt x="1906" y="32"/>
                  </a:lnTo>
                  <a:lnTo>
                    <a:pt x="1906" y="32"/>
                  </a:lnTo>
                  <a:lnTo>
                    <a:pt x="1911" y="32"/>
                  </a:lnTo>
                  <a:lnTo>
                    <a:pt x="1906" y="32"/>
                  </a:lnTo>
                  <a:lnTo>
                    <a:pt x="1911" y="36"/>
                  </a:lnTo>
                  <a:lnTo>
                    <a:pt x="1911" y="36"/>
                  </a:lnTo>
                  <a:lnTo>
                    <a:pt x="1911" y="36"/>
                  </a:lnTo>
                  <a:lnTo>
                    <a:pt x="1906" y="36"/>
                  </a:lnTo>
                  <a:lnTo>
                    <a:pt x="1906" y="36"/>
                  </a:lnTo>
                  <a:lnTo>
                    <a:pt x="1906" y="36"/>
                  </a:lnTo>
                  <a:lnTo>
                    <a:pt x="1906" y="32"/>
                  </a:lnTo>
                  <a:lnTo>
                    <a:pt x="1906" y="32"/>
                  </a:lnTo>
                  <a:lnTo>
                    <a:pt x="1902" y="32"/>
                  </a:lnTo>
                  <a:lnTo>
                    <a:pt x="1902" y="32"/>
                  </a:lnTo>
                  <a:lnTo>
                    <a:pt x="1897" y="32"/>
                  </a:lnTo>
                  <a:lnTo>
                    <a:pt x="1897" y="32"/>
                  </a:lnTo>
                  <a:lnTo>
                    <a:pt x="1893" y="36"/>
                  </a:lnTo>
                  <a:lnTo>
                    <a:pt x="1893" y="36"/>
                  </a:lnTo>
                  <a:lnTo>
                    <a:pt x="1893" y="36"/>
                  </a:lnTo>
                  <a:lnTo>
                    <a:pt x="1893" y="36"/>
                  </a:lnTo>
                  <a:lnTo>
                    <a:pt x="1893" y="36"/>
                  </a:lnTo>
                  <a:lnTo>
                    <a:pt x="1888" y="36"/>
                  </a:lnTo>
                  <a:lnTo>
                    <a:pt x="1888" y="36"/>
                  </a:lnTo>
                  <a:lnTo>
                    <a:pt x="1888" y="36"/>
                  </a:lnTo>
                  <a:lnTo>
                    <a:pt x="1888" y="36"/>
                  </a:lnTo>
                  <a:lnTo>
                    <a:pt x="1884" y="36"/>
                  </a:lnTo>
                  <a:lnTo>
                    <a:pt x="1884" y="36"/>
                  </a:lnTo>
                  <a:lnTo>
                    <a:pt x="1884" y="41"/>
                  </a:lnTo>
                  <a:lnTo>
                    <a:pt x="1884" y="41"/>
                  </a:lnTo>
                  <a:lnTo>
                    <a:pt x="1888" y="41"/>
                  </a:lnTo>
                  <a:lnTo>
                    <a:pt x="1888" y="41"/>
                  </a:lnTo>
                  <a:lnTo>
                    <a:pt x="1888" y="41"/>
                  </a:lnTo>
                  <a:lnTo>
                    <a:pt x="1888" y="41"/>
                  </a:lnTo>
                  <a:lnTo>
                    <a:pt x="1893" y="41"/>
                  </a:lnTo>
                  <a:lnTo>
                    <a:pt x="1897" y="41"/>
                  </a:lnTo>
                  <a:lnTo>
                    <a:pt x="1902" y="41"/>
                  </a:lnTo>
                  <a:lnTo>
                    <a:pt x="1902" y="41"/>
                  </a:lnTo>
                  <a:lnTo>
                    <a:pt x="1897" y="41"/>
                  </a:lnTo>
                  <a:lnTo>
                    <a:pt x="1897" y="41"/>
                  </a:lnTo>
                  <a:lnTo>
                    <a:pt x="1897" y="41"/>
                  </a:lnTo>
                  <a:lnTo>
                    <a:pt x="1897" y="41"/>
                  </a:lnTo>
                  <a:lnTo>
                    <a:pt x="1893" y="45"/>
                  </a:lnTo>
                  <a:lnTo>
                    <a:pt x="1893" y="45"/>
                  </a:lnTo>
                  <a:lnTo>
                    <a:pt x="1888" y="41"/>
                  </a:lnTo>
                  <a:lnTo>
                    <a:pt x="1884" y="41"/>
                  </a:lnTo>
                  <a:lnTo>
                    <a:pt x="1879" y="41"/>
                  </a:lnTo>
                  <a:lnTo>
                    <a:pt x="1875" y="41"/>
                  </a:lnTo>
                  <a:lnTo>
                    <a:pt x="1875" y="45"/>
                  </a:lnTo>
                  <a:lnTo>
                    <a:pt x="1875" y="45"/>
                  </a:lnTo>
                  <a:lnTo>
                    <a:pt x="1875" y="45"/>
                  </a:lnTo>
                  <a:lnTo>
                    <a:pt x="1875" y="50"/>
                  </a:lnTo>
                  <a:lnTo>
                    <a:pt x="1875" y="50"/>
                  </a:lnTo>
                  <a:lnTo>
                    <a:pt x="1875" y="50"/>
                  </a:lnTo>
                  <a:lnTo>
                    <a:pt x="1879" y="50"/>
                  </a:lnTo>
                  <a:lnTo>
                    <a:pt x="1879" y="50"/>
                  </a:lnTo>
                  <a:lnTo>
                    <a:pt x="1884" y="50"/>
                  </a:lnTo>
                  <a:lnTo>
                    <a:pt x="1888" y="50"/>
                  </a:lnTo>
                  <a:lnTo>
                    <a:pt x="1888" y="50"/>
                  </a:lnTo>
                  <a:lnTo>
                    <a:pt x="1888" y="50"/>
                  </a:lnTo>
                  <a:lnTo>
                    <a:pt x="1888" y="50"/>
                  </a:lnTo>
                  <a:lnTo>
                    <a:pt x="1879" y="50"/>
                  </a:lnTo>
                  <a:lnTo>
                    <a:pt x="1875" y="50"/>
                  </a:lnTo>
                  <a:lnTo>
                    <a:pt x="1875" y="50"/>
                  </a:lnTo>
                  <a:lnTo>
                    <a:pt x="1870" y="54"/>
                  </a:lnTo>
                  <a:lnTo>
                    <a:pt x="1870" y="54"/>
                  </a:lnTo>
                  <a:lnTo>
                    <a:pt x="1875" y="54"/>
                  </a:lnTo>
                  <a:close/>
                  <a:moveTo>
                    <a:pt x="1766" y="683"/>
                  </a:moveTo>
                  <a:lnTo>
                    <a:pt x="1766" y="683"/>
                  </a:lnTo>
                  <a:lnTo>
                    <a:pt x="1771" y="683"/>
                  </a:lnTo>
                  <a:lnTo>
                    <a:pt x="1775" y="683"/>
                  </a:lnTo>
                  <a:lnTo>
                    <a:pt x="1780" y="678"/>
                  </a:lnTo>
                  <a:lnTo>
                    <a:pt x="1775" y="678"/>
                  </a:lnTo>
                  <a:lnTo>
                    <a:pt x="1775" y="678"/>
                  </a:lnTo>
                  <a:lnTo>
                    <a:pt x="1775" y="678"/>
                  </a:lnTo>
                  <a:lnTo>
                    <a:pt x="1771" y="678"/>
                  </a:lnTo>
                  <a:lnTo>
                    <a:pt x="1766" y="678"/>
                  </a:lnTo>
                  <a:lnTo>
                    <a:pt x="1766" y="678"/>
                  </a:lnTo>
                  <a:lnTo>
                    <a:pt x="1762" y="678"/>
                  </a:lnTo>
                  <a:lnTo>
                    <a:pt x="1762" y="678"/>
                  </a:lnTo>
                  <a:lnTo>
                    <a:pt x="1757" y="678"/>
                  </a:lnTo>
                  <a:lnTo>
                    <a:pt x="1757" y="678"/>
                  </a:lnTo>
                  <a:lnTo>
                    <a:pt x="1757" y="678"/>
                  </a:lnTo>
                  <a:lnTo>
                    <a:pt x="1757" y="678"/>
                  </a:lnTo>
                  <a:lnTo>
                    <a:pt x="1757" y="678"/>
                  </a:lnTo>
                  <a:lnTo>
                    <a:pt x="1753" y="678"/>
                  </a:lnTo>
                  <a:lnTo>
                    <a:pt x="1753" y="678"/>
                  </a:lnTo>
                  <a:lnTo>
                    <a:pt x="1753" y="678"/>
                  </a:lnTo>
                  <a:lnTo>
                    <a:pt x="1753" y="678"/>
                  </a:lnTo>
                  <a:lnTo>
                    <a:pt x="1753" y="678"/>
                  </a:lnTo>
                  <a:lnTo>
                    <a:pt x="1753" y="678"/>
                  </a:lnTo>
                  <a:lnTo>
                    <a:pt x="1753" y="678"/>
                  </a:lnTo>
                  <a:lnTo>
                    <a:pt x="1753" y="674"/>
                  </a:lnTo>
                  <a:lnTo>
                    <a:pt x="1753" y="674"/>
                  </a:lnTo>
                  <a:lnTo>
                    <a:pt x="1753" y="674"/>
                  </a:lnTo>
                  <a:lnTo>
                    <a:pt x="1748" y="674"/>
                  </a:lnTo>
                  <a:lnTo>
                    <a:pt x="1753" y="669"/>
                  </a:lnTo>
                  <a:lnTo>
                    <a:pt x="1753" y="669"/>
                  </a:lnTo>
                  <a:lnTo>
                    <a:pt x="1753" y="665"/>
                  </a:lnTo>
                  <a:lnTo>
                    <a:pt x="1753" y="669"/>
                  </a:lnTo>
                  <a:lnTo>
                    <a:pt x="1748" y="669"/>
                  </a:lnTo>
                  <a:lnTo>
                    <a:pt x="1748" y="669"/>
                  </a:lnTo>
                  <a:lnTo>
                    <a:pt x="1748" y="674"/>
                  </a:lnTo>
                  <a:lnTo>
                    <a:pt x="1744" y="674"/>
                  </a:lnTo>
                  <a:lnTo>
                    <a:pt x="1744" y="674"/>
                  </a:lnTo>
                  <a:lnTo>
                    <a:pt x="1748" y="674"/>
                  </a:lnTo>
                  <a:lnTo>
                    <a:pt x="1748" y="674"/>
                  </a:lnTo>
                  <a:lnTo>
                    <a:pt x="1748" y="674"/>
                  </a:lnTo>
                  <a:lnTo>
                    <a:pt x="1748" y="678"/>
                  </a:lnTo>
                  <a:lnTo>
                    <a:pt x="1748" y="678"/>
                  </a:lnTo>
                  <a:lnTo>
                    <a:pt x="1753" y="678"/>
                  </a:lnTo>
                  <a:lnTo>
                    <a:pt x="1753" y="678"/>
                  </a:lnTo>
                  <a:lnTo>
                    <a:pt x="1753" y="678"/>
                  </a:lnTo>
                  <a:lnTo>
                    <a:pt x="1753" y="678"/>
                  </a:lnTo>
                  <a:lnTo>
                    <a:pt x="1753" y="678"/>
                  </a:lnTo>
                  <a:lnTo>
                    <a:pt x="1753" y="683"/>
                  </a:lnTo>
                  <a:lnTo>
                    <a:pt x="1753" y="683"/>
                  </a:lnTo>
                  <a:lnTo>
                    <a:pt x="1753" y="683"/>
                  </a:lnTo>
                  <a:lnTo>
                    <a:pt x="1757" y="683"/>
                  </a:lnTo>
                  <a:lnTo>
                    <a:pt x="1757" y="683"/>
                  </a:lnTo>
                  <a:lnTo>
                    <a:pt x="1757" y="683"/>
                  </a:lnTo>
                  <a:lnTo>
                    <a:pt x="1757" y="683"/>
                  </a:lnTo>
                  <a:lnTo>
                    <a:pt x="1757" y="683"/>
                  </a:lnTo>
                  <a:lnTo>
                    <a:pt x="1762" y="683"/>
                  </a:lnTo>
                  <a:lnTo>
                    <a:pt x="1762" y="683"/>
                  </a:lnTo>
                  <a:lnTo>
                    <a:pt x="1762" y="683"/>
                  </a:lnTo>
                  <a:lnTo>
                    <a:pt x="1762" y="683"/>
                  </a:lnTo>
                  <a:lnTo>
                    <a:pt x="1762" y="683"/>
                  </a:lnTo>
                  <a:lnTo>
                    <a:pt x="1762" y="683"/>
                  </a:lnTo>
                  <a:lnTo>
                    <a:pt x="1762" y="683"/>
                  </a:lnTo>
                  <a:lnTo>
                    <a:pt x="1762" y="683"/>
                  </a:lnTo>
                  <a:lnTo>
                    <a:pt x="1762" y="683"/>
                  </a:lnTo>
                  <a:lnTo>
                    <a:pt x="1762" y="687"/>
                  </a:lnTo>
                  <a:lnTo>
                    <a:pt x="1762" y="687"/>
                  </a:lnTo>
                  <a:lnTo>
                    <a:pt x="1762" y="687"/>
                  </a:lnTo>
                  <a:lnTo>
                    <a:pt x="1762" y="687"/>
                  </a:lnTo>
                  <a:lnTo>
                    <a:pt x="1762" y="687"/>
                  </a:lnTo>
                  <a:lnTo>
                    <a:pt x="1762" y="687"/>
                  </a:lnTo>
                  <a:lnTo>
                    <a:pt x="1766" y="687"/>
                  </a:lnTo>
                  <a:lnTo>
                    <a:pt x="1766" y="687"/>
                  </a:lnTo>
                  <a:lnTo>
                    <a:pt x="1766" y="687"/>
                  </a:lnTo>
                  <a:lnTo>
                    <a:pt x="1766" y="687"/>
                  </a:lnTo>
                  <a:lnTo>
                    <a:pt x="1766" y="687"/>
                  </a:lnTo>
                  <a:lnTo>
                    <a:pt x="1766" y="683"/>
                  </a:lnTo>
                  <a:close/>
                  <a:moveTo>
                    <a:pt x="1861" y="271"/>
                  </a:moveTo>
                  <a:lnTo>
                    <a:pt x="1866" y="271"/>
                  </a:lnTo>
                  <a:lnTo>
                    <a:pt x="1870" y="271"/>
                  </a:lnTo>
                  <a:lnTo>
                    <a:pt x="1875" y="271"/>
                  </a:lnTo>
                  <a:lnTo>
                    <a:pt x="1875" y="271"/>
                  </a:lnTo>
                  <a:lnTo>
                    <a:pt x="1875" y="271"/>
                  </a:lnTo>
                  <a:lnTo>
                    <a:pt x="1875" y="267"/>
                  </a:lnTo>
                  <a:lnTo>
                    <a:pt x="1875" y="267"/>
                  </a:lnTo>
                  <a:lnTo>
                    <a:pt x="1875" y="267"/>
                  </a:lnTo>
                  <a:lnTo>
                    <a:pt x="1875" y="267"/>
                  </a:lnTo>
                  <a:lnTo>
                    <a:pt x="1870" y="267"/>
                  </a:lnTo>
                  <a:lnTo>
                    <a:pt x="1870" y="267"/>
                  </a:lnTo>
                  <a:lnTo>
                    <a:pt x="1866" y="267"/>
                  </a:lnTo>
                  <a:lnTo>
                    <a:pt x="1861" y="267"/>
                  </a:lnTo>
                  <a:lnTo>
                    <a:pt x="1861" y="267"/>
                  </a:lnTo>
                  <a:lnTo>
                    <a:pt x="1861" y="267"/>
                  </a:lnTo>
                  <a:lnTo>
                    <a:pt x="1861" y="267"/>
                  </a:lnTo>
                  <a:lnTo>
                    <a:pt x="1861" y="267"/>
                  </a:lnTo>
                  <a:lnTo>
                    <a:pt x="1861" y="271"/>
                  </a:lnTo>
                  <a:lnTo>
                    <a:pt x="1861" y="271"/>
                  </a:lnTo>
                  <a:lnTo>
                    <a:pt x="1861" y="271"/>
                  </a:lnTo>
                  <a:close/>
                  <a:moveTo>
                    <a:pt x="1748" y="167"/>
                  </a:moveTo>
                  <a:lnTo>
                    <a:pt x="1757" y="167"/>
                  </a:lnTo>
                  <a:lnTo>
                    <a:pt x="1757" y="167"/>
                  </a:lnTo>
                  <a:lnTo>
                    <a:pt x="1762" y="167"/>
                  </a:lnTo>
                  <a:lnTo>
                    <a:pt x="1766" y="167"/>
                  </a:lnTo>
                  <a:lnTo>
                    <a:pt x="1766" y="167"/>
                  </a:lnTo>
                  <a:lnTo>
                    <a:pt x="1771" y="163"/>
                  </a:lnTo>
                  <a:lnTo>
                    <a:pt x="1775" y="163"/>
                  </a:lnTo>
                  <a:lnTo>
                    <a:pt x="1775" y="163"/>
                  </a:lnTo>
                  <a:lnTo>
                    <a:pt x="1775" y="163"/>
                  </a:lnTo>
                  <a:lnTo>
                    <a:pt x="1775" y="163"/>
                  </a:lnTo>
                  <a:lnTo>
                    <a:pt x="1780" y="158"/>
                  </a:lnTo>
                  <a:lnTo>
                    <a:pt x="1780" y="158"/>
                  </a:lnTo>
                  <a:lnTo>
                    <a:pt x="1784" y="158"/>
                  </a:lnTo>
                  <a:lnTo>
                    <a:pt x="1784" y="158"/>
                  </a:lnTo>
                  <a:lnTo>
                    <a:pt x="1789" y="158"/>
                  </a:lnTo>
                  <a:lnTo>
                    <a:pt x="1789" y="158"/>
                  </a:lnTo>
                  <a:lnTo>
                    <a:pt x="1789" y="154"/>
                  </a:lnTo>
                  <a:lnTo>
                    <a:pt x="1794" y="154"/>
                  </a:lnTo>
                  <a:lnTo>
                    <a:pt x="1798" y="154"/>
                  </a:lnTo>
                  <a:lnTo>
                    <a:pt x="1798" y="154"/>
                  </a:lnTo>
                  <a:lnTo>
                    <a:pt x="1803" y="149"/>
                  </a:lnTo>
                  <a:lnTo>
                    <a:pt x="1803" y="149"/>
                  </a:lnTo>
                  <a:lnTo>
                    <a:pt x="1798" y="149"/>
                  </a:lnTo>
                  <a:lnTo>
                    <a:pt x="1798" y="149"/>
                  </a:lnTo>
                  <a:lnTo>
                    <a:pt x="1794" y="149"/>
                  </a:lnTo>
                  <a:lnTo>
                    <a:pt x="1789" y="149"/>
                  </a:lnTo>
                  <a:lnTo>
                    <a:pt x="1784" y="149"/>
                  </a:lnTo>
                  <a:lnTo>
                    <a:pt x="1784" y="149"/>
                  </a:lnTo>
                  <a:lnTo>
                    <a:pt x="1784" y="145"/>
                  </a:lnTo>
                  <a:lnTo>
                    <a:pt x="1784" y="145"/>
                  </a:lnTo>
                  <a:lnTo>
                    <a:pt x="1780" y="145"/>
                  </a:lnTo>
                  <a:lnTo>
                    <a:pt x="1780" y="145"/>
                  </a:lnTo>
                  <a:lnTo>
                    <a:pt x="1775" y="145"/>
                  </a:lnTo>
                  <a:lnTo>
                    <a:pt x="1775" y="145"/>
                  </a:lnTo>
                  <a:lnTo>
                    <a:pt x="1771" y="145"/>
                  </a:lnTo>
                  <a:lnTo>
                    <a:pt x="1771" y="145"/>
                  </a:lnTo>
                  <a:lnTo>
                    <a:pt x="1766" y="145"/>
                  </a:lnTo>
                  <a:lnTo>
                    <a:pt x="1762" y="145"/>
                  </a:lnTo>
                  <a:lnTo>
                    <a:pt x="1757" y="145"/>
                  </a:lnTo>
                  <a:lnTo>
                    <a:pt x="1757" y="145"/>
                  </a:lnTo>
                  <a:lnTo>
                    <a:pt x="1757" y="145"/>
                  </a:lnTo>
                  <a:lnTo>
                    <a:pt x="1757" y="145"/>
                  </a:lnTo>
                  <a:lnTo>
                    <a:pt x="1757" y="145"/>
                  </a:lnTo>
                  <a:lnTo>
                    <a:pt x="1753" y="145"/>
                  </a:lnTo>
                  <a:lnTo>
                    <a:pt x="1753" y="145"/>
                  </a:lnTo>
                  <a:lnTo>
                    <a:pt x="1753" y="149"/>
                  </a:lnTo>
                  <a:lnTo>
                    <a:pt x="1753" y="149"/>
                  </a:lnTo>
                  <a:lnTo>
                    <a:pt x="1753" y="149"/>
                  </a:lnTo>
                  <a:lnTo>
                    <a:pt x="1753" y="149"/>
                  </a:lnTo>
                  <a:lnTo>
                    <a:pt x="1753" y="149"/>
                  </a:lnTo>
                  <a:lnTo>
                    <a:pt x="1753" y="149"/>
                  </a:lnTo>
                  <a:lnTo>
                    <a:pt x="1753" y="149"/>
                  </a:lnTo>
                  <a:lnTo>
                    <a:pt x="1748" y="149"/>
                  </a:lnTo>
                  <a:lnTo>
                    <a:pt x="1748" y="149"/>
                  </a:lnTo>
                  <a:lnTo>
                    <a:pt x="1748" y="149"/>
                  </a:lnTo>
                  <a:lnTo>
                    <a:pt x="1744" y="149"/>
                  </a:lnTo>
                  <a:lnTo>
                    <a:pt x="1744" y="149"/>
                  </a:lnTo>
                  <a:lnTo>
                    <a:pt x="1744" y="149"/>
                  </a:lnTo>
                  <a:lnTo>
                    <a:pt x="1744" y="154"/>
                  </a:lnTo>
                  <a:lnTo>
                    <a:pt x="1739" y="158"/>
                  </a:lnTo>
                  <a:lnTo>
                    <a:pt x="1735" y="158"/>
                  </a:lnTo>
                  <a:lnTo>
                    <a:pt x="1735" y="158"/>
                  </a:lnTo>
                  <a:lnTo>
                    <a:pt x="1730" y="163"/>
                  </a:lnTo>
                  <a:lnTo>
                    <a:pt x="1730" y="163"/>
                  </a:lnTo>
                  <a:lnTo>
                    <a:pt x="1730" y="163"/>
                  </a:lnTo>
                  <a:lnTo>
                    <a:pt x="1726" y="163"/>
                  </a:lnTo>
                  <a:lnTo>
                    <a:pt x="1726" y="167"/>
                  </a:lnTo>
                  <a:lnTo>
                    <a:pt x="1726" y="172"/>
                  </a:lnTo>
                  <a:lnTo>
                    <a:pt x="1721" y="172"/>
                  </a:lnTo>
                  <a:lnTo>
                    <a:pt x="1717" y="176"/>
                  </a:lnTo>
                  <a:lnTo>
                    <a:pt x="1717" y="181"/>
                  </a:lnTo>
                  <a:lnTo>
                    <a:pt x="1717" y="181"/>
                  </a:lnTo>
                  <a:lnTo>
                    <a:pt x="1721" y="181"/>
                  </a:lnTo>
                  <a:lnTo>
                    <a:pt x="1721" y="181"/>
                  </a:lnTo>
                  <a:lnTo>
                    <a:pt x="1726" y="181"/>
                  </a:lnTo>
                  <a:lnTo>
                    <a:pt x="1726" y="181"/>
                  </a:lnTo>
                  <a:lnTo>
                    <a:pt x="1730" y="176"/>
                  </a:lnTo>
                  <a:lnTo>
                    <a:pt x="1735" y="176"/>
                  </a:lnTo>
                  <a:lnTo>
                    <a:pt x="1739" y="172"/>
                  </a:lnTo>
                  <a:lnTo>
                    <a:pt x="1739" y="172"/>
                  </a:lnTo>
                  <a:lnTo>
                    <a:pt x="1744" y="172"/>
                  </a:lnTo>
                  <a:lnTo>
                    <a:pt x="1744" y="172"/>
                  </a:lnTo>
                  <a:lnTo>
                    <a:pt x="1744" y="172"/>
                  </a:lnTo>
                  <a:lnTo>
                    <a:pt x="1744" y="167"/>
                  </a:lnTo>
                  <a:lnTo>
                    <a:pt x="1744" y="167"/>
                  </a:lnTo>
                  <a:lnTo>
                    <a:pt x="1739" y="167"/>
                  </a:lnTo>
                  <a:lnTo>
                    <a:pt x="1739" y="167"/>
                  </a:lnTo>
                  <a:lnTo>
                    <a:pt x="1748" y="167"/>
                  </a:lnTo>
                  <a:lnTo>
                    <a:pt x="1748" y="167"/>
                  </a:lnTo>
                  <a:close/>
                  <a:moveTo>
                    <a:pt x="1843" y="262"/>
                  </a:moveTo>
                  <a:lnTo>
                    <a:pt x="1839" y="262"/>
                  </a:lnTo>
                  <a:lnTo>
                    <a:pt x="1834" y="267"/>
                  </a:lnTo>
                  <a:lnTo>
                    <a:pt x="1830" y="267"/>
                  </a:lnTo>
                  <a:lnTo>
                    <a:pt x="1830" y="271"/>
                  </a:lnTo>
                  <a:lnTo>
                    <a:pt x="1830" y="271"/>
                  </a:lnTo>
                  <a:lnTo>
                    <a:pt x="1825" y="276"/>
                  </a:lnTo>
                  <a:lnTo>
                    <a:pt x="1825" y="276"/>
                  </a:lnTo>
                  <a:lnTo>
                    <a:pt x="1825" y="276"/>
                  </a:lnTo>
                  <a:lnTo>
                    <a:pt x="1825" y="280"/>
                  </a:lnTo>
                  <a:lnTo>
                    <a:pt x="1825" y="280"/>
                  </a:lnTo>
                  <a:lnTo>
                    <a:pt x="1825" y="280"/>
                  </a:lnTo>
                  <a:lnTo>
                    <a:pt x="1830" y="280"/>
                  </a:lnTo>
                  <a:lnTo>
                    <a:pt x="1834" y="280"/>
                  </a:lnTo>
                  <a:lnTo>
                    <a:pt x="1834" y="280"/>
                  </a:lnTo>
                  <a:lnTo>
                    <a:pt x="1839" y="280"/>
                  </a:lnTo>
                  <a:lnTo>
                    <a:pt x="1843" y="280"/>
                  </a:lnTo>
                  <a:lnTo>
                    <a:pt x="1848" y="276"/>
                  </a:lnTo>
                  <a:lnTo>
                    <a:pt x="1848" y="276"/>
                  </a:lnTo>
                  <a:lnTo>
                    <a:pt x="1852" y="276"/>
                  </a:lnTo>
                  <a:lnTo>
                    <a:pt x="1852" y="271"/>
                  </a:lnTo>
                  <a:lnTo>
                    <a:pt x="1852" y="271"/>
                  </a:lnTo>
                  <a:lnTo>
                    <a:pt x="1857" y="267"/>
                  </a:lnTo>
                  <a:lnTo>
                    <a:pt x="1857" y="267"/>
                  </a:lnTo>
                  <a:lnTo>
                    <a:pt x="1857" y="267"/>
                  </a:lnTo>
                  <a:lnTo>
                    <a:pt x="1861" y="267"/>
                  </a:lnTo>
                  <a:lnTo>
                    <a:pt x="1861" y="262"/>
                  </a:lnTo>
                  <a:lnTo>
                    <a:pt x="1861" y="262"/>
                  </a:lnTo>
                  <a:lnTo>
                    <a:pt x="1861" y="262"/>
                  </a:lnTo>
                  <a:lnTo>
                    <a:pt x="1861" y="262"/>
                  </a:lnTo>
                  <a:lnTo>
                    <a:pt x="1857" y="262"/>
                  </a:lnTo>
                  <a:lnTo>
                    <a:pt x="1852" y="262"/>
                  </a:lnTo>
                  <a:lnTo>
                    <a:pt x="1852" y="262"/>
                  </a:lnTo>
                  <a:lnTo>
                    <a:pt x="1852" y="262"/>
                  </a:lnTo>
                  <a:lnTo>
                    <a:pt x="1852" y="262"/>
                  </a:lnTo>
                  <a:lnTo>
                    <a:pt x="1848" y="262"/>
                  </a:lnTo>
                  <a:lnTo>
                    <a:pt x="1843" y="262"/>
                  </a:lnTo>
                  <a:lnTo>
                    <a:pt x="1843" y="262"/>
                  </a:lnTo>
                  <a:lnTo>
                    <a:pt x="1843" y="262"/>
                  </a:lnTo>
                  <a:close/>
                  <a:moveTo>
                    <a:pt x="1780" y="696"/>
                  </a:moveTo>
                  <a:lnTo>
                    <a:pt x="1780" y="696"/>
                  </a:lnTo>
                  <a:lnTo>
                    <a:pt x="1784" y="696"/>
                  </a:lnTo>
                  <a:lnTo>
                    <a:pt x="1784" y="696"/>
                  </a:lnTo>
                  <a:lnTo>
                    <a:pt x="1784" y="696"/>
                  </a:lnTo>
                  <a:lnTo>
                    <a:pt x="1784" y="696"/>
                  </a:lnTo>
                  <a:lnTo>
                    <a:pt x="1789" y="696"/>
                  </a:lnTo>
                  <a:lnTo>
                    <a:pt x="1789" y="696"/>
                  </a:lnTo>
                  <a:lnTo>
                    <a:pt x="1789" y="696"/>
                  </a:lnTo>
                  <a:lnTo>
                    <a:pt x="1794" y="696"/>
                  </a:lnTo>
                  <a:lnTo>
                    <a:pt x="1798" y="696"/>
                  </a:lnTo>
                  <a:lnTo>
                    <a:pt x="1803" y="692"/>
                  </a:lnTo>
                  <a:lnTo>
                    <a:pt x="1803" y="692"/>
                  </a:lnTo>
                  <a:lnTo>
                    <a:pt x="1807" y="692"/>
                  </a:lnTo>
                  <a:lnTo>
                    <a:pt x="1807" y="692"/>
                  </a:lnTo>
                  <a:lnTo>
                    <a:pt x="1807" y="687"/>
                  </a:lnTo>
                  <a:lnTo>
                    <a:pt x="1807" y="687"/>
                  </a:lnTo>
                  <a:lnTo>
                    <a:pt x="1807" y="687"/>
                  </a:lnTo>
                  <a:lnTo>
                    <a:pt x="1807" y="687"/>
                  </a:lnTo>
                  <a:lnTo>
                    <a:pt x="1807" y="687"/>
                  </a:lnTo>
                  <a:lnTo>
                    <a:pt x="1807" y="687"/>
                  </a:lnTo>
                  <a:lnTo>
                    <a:pt x="1803" y="687"/>
                  </a:lnTo>
                  <a:lnTo>
                    <a:pt x="1803" y="687"/>
                  </a:lnTo>
                  <a:lnTo>
                    <a:pt x="1803" y="683"/>
                  </a:lnTo>
                  <a:lnTo>
                    <a:pt x="1803" y="683"/>
                  </a:lnTo>
                  <a:lnTo>
                    <a:pt x="1803" y="683"/>
                  </a:lnTo>
                  <a:lnTo>
                    <a:pt x="1798" y="683"/>
                  </a:lnTo>
                  <a:lnTo>
                    <a:pt x="1798" y="687"/>
                  </a:lnTo>
                  <a:lnTo>
                    <a:pt x="1798" y="687"/>
                  </a:lnTo>
                  <a:lnTo>
                    <a:pt x="1798" y="687"/>
                  </a:lnTo>
                  <a:lnTo>
                    <a:pt x="1794" y="692"/>
                  </a:lnTo>
                  <a:lnTo>
                    <a:pt x="1794" y="692"/>
                  </a:lnTo>
                  <a:lnTo>
                    <a:pt x="1798" y="692"/>
                  </a:lnTo>
                  <a:lnTo>
                    <a:pt x="1798" y="692"/>
                  </a:lnTo>
                  <a:lnTo>
                    <a:pt x="1794" y="692"/>
                  </a:lnTo>
                  <a:lnTo>
                    <a:pt x="1794" y="692"/>
                  </a:lnTo>
                  <a:lnTo>
                    <a:pt x="1789" y="692"/>
                  </a:lnTo>
                  <a:lnTo>
                    <a:pt x="1789" y="692"/>
                  </a:lnTo>
                  <a:lnTo>
                    <a:pt x="1789" y="692"/>
                  </a:lnTo>
                  <a:lnTo>
                    <a:pt x="1784" y="696"/>
                  </a:lnTo>
                  <a:lnTo>
                    <a:pt x="1784" y="692"/>
                  </a:lnTo>
                  <a:lnTo>
                    <a:pt x="1789" y="692"/>
                  </a:lnTo>
                  <a:lnTo>
                    <a:pt x="1789" y="692"/>
                  </a:lnTo>
                  <a:lnTo>
                    <a:pt x="1789" y="692"/>
                  </a:lnTo>
                  <a:lnTo>
                    <a:pt x="1789" y="692"/>
                  </a:lnTo>
                  <a:lnTo>
                    <a:pt x="1789" y="692"/>
                  </a:lnTo>
                  <a:lnTo>
                    <a:pt x="1789" y="692"/>
                  </a:lnTo>
                  <a:lnTo>
                    <a:pt x="1789" y="687"/>
                  </a:lnTo>
                  <a:lnTo>
                    <a:pt x="1789" y="687"/>
                  </a:lnTo>
                  <a:lnTo>
                    <a:pt x="1789" y="692"/>
                  </a:lnTo>
                  <a:lnTo>
                    <a:pt x="1789" y="692"/>
                  </a:lnTo>
                  <a:lnTo>
                    <a:pt x="1789" y="687"/>
                  </a:lnTo>
                  <a:lnTo>
                    <a:pt x="1794" y="687"/>
                  </a:lnTo>
                  <a:lnTo>
                    <a:pt x="1794" y="687"/>
                  </a:lnTo>
                  <a:lnTo>
                    <a:pt x="1798" y="687"/>
                  </a:lnTo>
                  <a:lnTo>
                    <a:pt x="1798" y="683"/>
                  </a:lnTo>
                  <a:lnTo>
                    <a:pt x="1798" y="683"/>
                  </a:lnTo>
                  <a:lnTo>
                    <a:pt x="1798" y="683"/>
                  </a:lnTo>
                  <a:lnTo>
                    <a:pt x="1803" y="683"/>
                  </a:lnTo>
                  <a:lnTo>
                    <a:pt x="1803" y="678"/>
                  </a:lnTo>
                  <a:lnTo>
                    <a:pt x="1807" y="674"/>
                  </a:lnTo>
                  <a:lnTo>
                    <a:pt x="1807" y="674"/>
                  </a:lnTo>
                  <a:lnTo>
                    <a:pt x="1807" y="674"/>
                  </a:lnTo>
                  <a:lnTo>
                    <a:pt x="1807" y="669"/>
                  </a:lnTo>
                  <a:lnTo>
                    <a:pt x="1807" y="669"/>
                  </a:lnTo>
                  <a:lnTo>
                    <a:pt x="1807" y="669"/>
                  </a:lnTo>
                  <a:lnTo>
                    <a:pt x="1803" y="669"/>
                  </a:lnTo>
                  <a:lnTo>
                    <a:pt x="1803" y="669"/>
                  </a:lnTo>
                  <a:lnTo>
                    <a:pt x="1798" y="674"/>
                  </a:lnTo>
                  <a:lnTo>
                    <a:pt x="1798" y="674"/>
                  </a:lnTo>
                  <a:lnTo>
                    <a:pt x="1798" y="674"/>
                  </a:lnTo>
                  <a:lnTo>
                    <a:pt x="1794" y="678"/>
                  </a:lnTo>
                  <a:lnTo>
                    <a:pt x="1789" y="683"/>
                  </a:lnTo>
                  <a:lnTo>
                    <a:pt x="1789" y="683"/>
                  </a:lnTo>
                  <a:lnTo>
                    <a:pt x="1784" y="687"/>
                  </a:lnTo>
                  <a:lnTo>
                    <a:pt x="1784" y="687"/>
                  </a:lnTo>
                  <a:lnTo>
                    <a:pt x="1780" y="687"/>
                  </a:lnTo>
                  <a:lnTo>
                    <a:pt x="1780" y="692"/>
                  </a:lnTo>
                  <a:lnTo>
                    <a:pt x="1780" y="696"/>
                  </a:lnTo>
                  <a:lnTo>
                    <a:pt x="1780" y="696"/>
                  </a:lnTo>
                  <a:close/>
                  <a:moveTo>
                    <a:pt x="1780" y="619"/>
                  </a:moveTo>
                  <a:lnTo>
                    <a:pt x="1780" y="619"/>
                  </a:lnTo>
                  <a:lnTo>
                    <a:pt x="1780" y="619"/>
                  </a:lnTo>
                  <a:lnTo>
                    <a:pt x="1780" y="624"/>
                  </a:lnTo>
                  <a:lnTo>
                    <a:pt x="1789" y="624"/>
                  </a:lnTo>
                  <a:lnTo>
                    <a:pt x="1789" y="629"/>
                  </a:lnTo>
                  <a:lnTo>
                    <a:pt x="1794" y="629"/>
                  </a:lnTo>
                  <a:lnTo>
                    <a:pt x="1798" y="629"/>
                  </a:lnTo>
                  <a:lnTo>
                    <a:pt x="1803" y="629"/>
                  </a:lnTo>
                  <a:lnTo>
                    <a:pt x="1803" y="629"/>
                  </a:lnTo>
                  <a:lnTo>
                    <a:pt x="1807" y="629"/>
                  </a:lnTo>
                  <a:lnTo>
                    <a:pt x="1807" y="629"/>
                  </a:lnTo>
                  <a:lnTo>
                    <a:pt x="1807" y="624"/>
                  </a:lnTo>
                  <a:lnTo>
                    <a:pt x="1803" y="624"/>
                  </a:lnTo>
                  <a:lnTo>
                    <a:pt x="1803" y="624"/>
                  </a:lnTo>
                  <a:lnTo>
                    <a:pt x="1798" y="619"/>
                  </a:lnTo>
                  <a:lnTo>
                    <a:pt x="1794" y="615"/>
                  </a:lnTo>
                  <a:lnTo>
                    <a:pt x="1789" y="615"/>
                  </a:lnTo>
                  <a:lnTo>
                    <a:pt x="1789" y="615"/>
                  </a:lnTo>
                  <a:lnTo>
                    <a:pt x="1784" y="615"/>
                  </a:lnTo>
                  <a:lnTo>
                    <a:pt x="1780" y="610"/>
                  </a:lnTo>
                  <a:lnTo>
                    <a:pt x="1775" y="610"/>
                  </a:lnTo>
                  <a:lnTo>
                    <a:pt x="1775" y="610"/>
                  </a:lnTo>
                  <a:lnTo>
                    <a:pt x="1771" y="610"/>
                  </a:lnTo>
                  <a:lnTo>
                    <a:pt x="1771" y="615"/>
                  </a:lnTo>
                  <a:lnTo>
                    <a:pt x="1780" y="619"/>
                  </a:lnTo>
                  <a:lnTo>
                    <a:pt x="1780" y="619"/>
                  </a:lnTo>
                  <a:close/>
                  <a:moveTo>
                    <a:pt x="1839" y="240"/>
                  </a:moveTo>
                  <a:lnTo>
                    <a:pt x="1834" y="240"/>
                  </a:lnTo>
                  <a:lnTo>
                    <a:pt x="1834" y="244"/>
                  </a:lnTo>
                  <a:lnTo>
                    <a:pt x="1834" y="244"/>
                  </a:lnTo>
                  <a:lnTo>
                    <a:pt x="1830" y="244"/>
                  </a:lnTo>
                  <a:lnTo>
                    <a:pt x="1830" y="244"/>
                  </a:lnTo>
                  <a:lnTo>
                    <a:pt x="1825" y="244"/>
                  </a:lnTo>
                  <a:lnTo>
                    <a:pt x="1825" y="244"/>
                  </a:lnTo>
                  <a:lnTo>
                    <a:pt x="1825" y="249"/>
                  </a:lnTo>
                  <a:lnTo>
                    <a:pt x="1825" y="249"/>
                  </a:lnTo>
                  <a:lnTo>
                    <a:pt x="1825" y="249"/>
                  </a:lnTo>
                  <a:lnTo>
                    <a:pt x="1825" y="249"/>
                  </a:lnTo>
                  <a:lnTo>
                    <a:pt x="1825" y="249"/>
                  </a:lnTo>
                  <a:lnTo>
                    <a:pt x="1825" y="249"/>
                  </a:lnTo>
                  <a:lnTo>
                    <a:pt x="1830" y="249"/>
                  </a:lnTo>
                  <a:lnTo>
                    <a:pt x="1830" y="249"/>
                  </a:lnTo>
                  <a:lnTo>
                    <a:pt x="1830" y="249"/>
                  </a:lnTo>
                  <a:lnTo>
                    <a:pt x="1834" y="244"/>
                  </a:lnTo>
                  <a:lnTo>
                    <a:pt x="1834" y="244"/>
                  </a:lnTo>
                  <a:lnTo>
                    <a:pt x="1839" y="244"/>
                  </a:lnTo>
                  <a:lnTo>
                    <a:pt x="1839" y="244"/>
                  </a:lnTo>
                  <a:lnTo>
                    <a:pt x="1839" y="244"/>
                  </a:lnTo>
                  <a:lnTo>
                    <a:pt x="1839" y="244"/>
                  </a:lnTo>
                  <a:lnTo>
                    <a:pt x="1843" y="240"/>
                  </a:lnTo>
                  <a:lnTo>
                    <a:pt x="1843" y="240"/>
                  </a:lnTo>
                  <a:lnTo>
                    <a:pt x="1843" y="240"/>
                  </a:lnTo>
                  <a:lnTo>
                    <a:pt x="1843" y="240"/>
                  </a:lnTo>
                  <a:lnTo>
                    <a:pt x="1843" y="240"/>
                  </a:lnTo>
                  <a:lnTo>
                    <a:pt x="1843" y="240"/>
                  </a:lnTo>
                  <a:lnTo>
                    <a:pt x="1843" y="240"/>
                  </a:lnTo>
                  <a:lnTo>
                    <a:pt x="1839" y="240"/>
                  </a:lnTo>
                  <a:lnTo>
                    <a:pt x="1839" y="240"/>
                  </a:lnTo>
                  <a:lnTo>
                    <a:pt x="1839" y="240"/>
                  </a:lnTo>
                  <a:lnTo>
                    <a:pt x="1839" y="240"/>
                  </a:lnTo>
                  <a:lnTo>
                    <a:pt x="1839" y="240"/>
                  </a:lnTo>
                  <a:lnTo>
                    <a:pt x="1839" y="240"/>
                  </a:lnTo>
                  <a:lnTo>
                    <a:pt x="1839" y="240"/>
                  </a:lnTo>
                  <a:close/>
                  <a:moveTo>
                    <a:pt x="2634" y="502"/>
                  </a:moveTo>
                  <a:lnTo>
                    <a:pt x="2634" y="502"/>
                  </a:lnTo>
                  <a:lnTo>
                    <a:pt x="2634" y="502"/>
                  </a:lnTo>
                  <a:lnTo>
                    <a:pt x="2638" y="502"/>
                  </a:lnTo>
                  <a:lnTo>
                    <a:pt x="2638" y="502"/>
                  </a:lnTo>
                  <a:lnTo>
                    <a:pt x="2638" y="502"/>
                  </a:lnTo>
                  <a:lnTo>
                    <a:pt x="2638" y="497"/>
                  </a:lnTo>
                  <a:lnTo>
                    <a:pt x="2638" y="497"/>
                  </a:lnTo>
                  <a:lnTo>
                    <a:pt x="2634" y="497"/>
                  </a:lnTo>
                  <a:lnTo>
                    <a:pt x="2634" y="497"/>
                  </a:lnTo>
                  <a:lnTo>
                    <a:pt x="2634" y="497"/>
                  </a:lnTo>
                  <a:lnTo>
                    <a:pt x="2634" y="497"/>
                  </a:lnTo>
                  <a:lnTo>
                    <a:pt x="2634" y="497"/>
                  </a:lnTo>
                  <a:lnTo>
                    <a:pt x="2634" y="497"/>
                  </a:lnTo>
                  <a:lnTo>
                    <a:pt x="2634" y="497"/>
                  </a:lnTo>
                  <a:lnTo>
                    <a:pt x="2634" y="493"/>
                  </a:lnTo>
                  <a:lnTo>
                    <a:pt x="2634" y="493"/>
                  </a:lnTo>
                  <a:lnTo>
                    <a:pt x="2634" y="493"/>
                  </a:lnTo>
                  <a:lnTo>
                    <a:pt x="2629" y="493"/>
                  </a:lnTo>
                  <a:lnTo>
                    <a:pt x="2629" y="493"/>
                  </a:lnTo>
                  <a:lnTo>
                    <a:pt x="2629" y="493"/>
                  </a:lnTo>
                  <a:lnTo>
                    <a:pt x="2625" y="493"/>
                  </a:lnTo>
                  <a:lnTo>
                    <a:pt x="2625" y="493"/>
                  </a:lnTo>
                  <a:lnTo>
                    <a:pt x="2625" y="493"/>
                  </a:lnTo>
                  <a:lnTo>
                    <a:pt x="2625" y="493"/>
                  </a:lnTo>
                  <a:lnTo>
                    <a:pt x="2625" y="493"/>
                  </a:lnTo>
                  <a:lnTo>
                    <a:pt x="2625" y="493"/>
                  </a:lnTo>
                  <a:lnTo>
                    <a:pt x="2625" y="493"/>
                  </a:lnTo>
                  <a:lnTo>
                    <a:pt x="2625" y="497"/>
                  </a:lnTo>
                  <a:lnTo>
                    <a:pt x="2625" y="497"/>
                  </a:lnTo>
                  <a:lnTo>
                    <a:pt x="2625" y="497"/>
                  </a:lnTo>
                  <a:lnTo>
                    <a:pt x="2625" y="497"/>
                  </a:lnTo>
                  <a:lnTo>
                    <a:pt x="2629" y="497"/>
                  </a:lnTo>
                  <a:lnTo>
                    <a:pt x="2629" y="497"/>
                  </a:lnTo>
                  <a:lnTo>
                    <a:pt x="2629" y="502"/>
                  </a:lnTo>
                  <a:lnTo>
                    <a:pt x="2629" y="502"/>
                  </a:lnTo>
                  <a:lnTo>
                    <a:pt x="2634" y="502"/>
                  </a:lnTo>
                  <a:lnTo>
                    <a:pt x="2634" y="502"/>
                  </a:lnTo>
                  <a:lnTo>
                    <a:pt x="2634" y="502"/>
                  </a:lnTo>
                  <a:lnTo>
                    <a:pt x="2634" y="502"/>
                  </a:lnTo>
                  <a:close/>
                  <a:moveTo>
                    <a:pt x="3298" y="271"/>
                  </a:moveTo>
                  <a:lnTo>
                    <a:pt x="3298" y="271"/>
                  </a:lnTo>
                  <a:lnTo>
                    <a:pt x="3302" y="276"/>
                  </a:lnTo>
                  <a:lnTo>
                    <a:pt x="3302" y="276"/>
                  </a:lnTo>
                  <a:lnTo>
                    <a:pt x="3302" y="276"/>
                  </a:lnTo>
                  <a:lnTo>
                    <a:pt x="3307" y="280"/>
                  </a:lnTo>
                  <a:lnTo>
                    <a:pt x="3311" y="276"/>
                  </a:lnTo>
                  <a:lnTo>
                    <a:pt x="3311" y="276"/>
                  </a:lnTo>
                  <a:lnTo>
                    <a:pt x="3316" y="276"/>
                  </a:lnTo>
                  <a:lnTo>
                    <a:pt x="3320" y="271"/>
                  </a:lnTo>
                  <a:lnTo>
                    <a:pt x="3320" y="271"/>
                  </a:lnTo>
                  <a:lnTo>
                    <a:pt x="3320" y="271"/>
                  </a:lnTo>
                  <a:lnTo>
                    <a:pt x="3320" y="271"/>
                  </a:lnTo>
                  <a:lnTo>
                    <a:pt x="3320" y="271"/>
                  </a:lnTo>
                  <a:lnTo>
                    <a:pt x="3320" y="271"/>
                  </a:lnTo>
                  <a:lnTo>
                    <a:pt x="3320" y="271"/>
                  </a:lnTo>
                  <a:lnTo>
                    <a:pt x="3320" y="271"/>
                  </a:lnTo>
                  <a:lnTo>
                    <a:pt x="3320" y="267"/>
                  </a:lnTo>
                  <a:lnTo>
                    <a:pt x="3316" y="267"/>
                  </a:lnTo>
                  <a:lnTo>
                    <a:pt x="3307" y="262"/>
                  </a:lnTo>
                  <a:lnTo>
                    <a:pt x="3302" y="262"/>
                  </a:lnTo>
                  <a:lnTo>
                    <a:pt x="3302" y="262"/>
                  </a:lnTo>
                  <a:lnTo>
                    <a:pt x="3302" y="267"/>
                  </a:lnTo>
                  <a:lnTo>
                    <a:pt x="3298" y="267"/>
                  </a:lnTo>
                  <a:lnTo>
                    <a:pt x="3298" y="267"/>
                  </a:lnTo>
                  <a:lnTo>
                    <a:pt x="3298" y="271"/>
                  </a:lnTo>
                  <a:lnTo>
                    <a:pt x="3298" y="271"/>
                  </a:lnTo>
                  <a:close/>
                  <a:moveTo>
                    <a:pt x="3587" y="199"/>
                  </a:moveTo>
                  <a:lnTo>
                    <a:pt x="3587" y="199"/>
                  </a:lnTo>
                  <a:lnTo>
                    <a:pt x="3596" y="199"/>
                  </a:lnTo>
                  <a:lnTo>
                    <a:pt x="3596" y="199"/>
                  </a:lnTo>
                  <a:lnTo>
                    <a:pt x="3596" y="199"/>
                  </a:lnTo>
                  <a:lnTo>
                    <a:pt x="3596" y="199"/>
                  </a:lnTo>
                  <a:lnTo>
                    <a:pt x="3601" y="194"/>
                  </a:lnTo>
                  <a:lnTo>
                    <a:pt x="3601" y="194"/>
                  </a:lnTo>
                  <a:lnTo>
                    <a:pt x="3596" y="194"/>
                  </a:lnTo>
                  <a:lnTo>
                    <a:pt x="3592" y="194"/>
                  </a:lnTo>
                  <a:lnTo>
                    <a:pt x="3587" y="194"/>
                  </a:lnTo>
                  <a:lnTo>
                    <a:pt x="3587" y="194"/>
                  </a:lnTo>
                  <a:lnTo>
                    <a:pt x="3587" y="194"/>
                  </a:lnTo>
                  <a:lnTo>
                    <a:pt x="3587" y="199"/>
                  </a:lnTo>
                  <a:lnTo>
                    <a:pt x="3587" y="199"/>
                  </a:lnTo>
                  <a:lnTo>
                    <a:pt x="3587" y="199"/>
                  </a:lnTo>
                  <a:lnTo>
                    <a:pt x="3587" y="199"/>
                  </a:lnTo>
                  <a:close/>
                  <a:moveTo>
                    <a:pt x="2625" y="488"/>
                  </a:moveTo>
                  <a:lnTo>
                    <a:pt x="2620" y="488"/>
                  </a:lnTo>
                  <a:lnTo>
                    <a:pt x="2620" y="488"/>
                  </a:lnTo>
                  <a:lnTo>
                    <a:pt x="2620" y="488"/>
                  </a:lnTo>
                  <a:lnTo>
                    <a:pt x="2620" y="488"/>
                  </a:lnTo>
                  <a:lnTo>
                    <a:pt x="2625" y="488"/>
                  </a:lnTo>
                  <a:lnTo>
                    <a:pt x="2625" y="488"/>
                  </a:lnTo>
                  <a:lnTo>
                    <a:pt x="2625" y="488"/>
                  </a:lnTo>
                  <a:lnTo>
                    <a:pt x="2625" y="488"/>
                  </a:lnTo>
                  <a:lnTo>
                    <a:pt x="2629" y="488"/>
                  </a:lnTo>
                  <a:lnTo>
                    <a:pt x="2629" y="484"/>
                  </a:lnTo>
                  <a:lnTo>
                    <a:pt x="2629" y="484"/>
                  </a:lnTo>
                  <a:lnTo>
                    <a:pt x="2629" y="484"/>
                  </a:lnTo>
                  <a:lnTo>
                    <a:pt x="2629" y="484"/>
                  </a:lnTo>
                  <a:lnTo>
                    <a:pt x="2629" y="484"/>
                  </a:lnTo>
                  <a:lnTo>
                    <a:pt x="2629" y="484"/>
                  </a:lnTo>
                  <a:lnTo>
                    <a:pt x="2629" y="484"/>
                  </a:lnTo>
                  <a:lnTo>
                    <a:pt x="2634" y="479"/>
                  </a:lnTo>
                  <a:lnTo>
                    <a:pt x="2634" y="479"/>
                  </a:lnTo>
                  <a:lnTo>
                    <a:pt x="2634" y="475"/>
                  </a:lnTo>
                  <a:lnTo>
                    <a:pt x="2634" y="475"/>
                  </a:lnTo>
                  <a:lnTo>
                    <a:pt x="2634" y="475"/>
                  </a:lnTo>
                  <a:lnTo>
                    <a:pt x="2634" y="475"/>
                  </a:lnTo>
                  <a:lnTo>
                    <a:pt x="2629" y="479"/>
                  </a:lnTo>
                  <a:lnTo>
                    <a:pt x="2625" y="479"/>
                  </a:lnTo>
                  <a:lnTo>
                    <a:pt x="2625" y="479"/>
                  </a:lnTo>
                  <a:lnTo>
                    <a:pt x="2625" y="479"/>
                  </a:lnTo>
                  <a:lnTo>
                    <a:pt x="2625" y="479"/>
                  </a:lnTo>
                  <a:lnTo>
                    <a:pt x="2625" y="479"/>
                  </a:lnTo>
                  <a:lnTo>
                    <a:pt x="2625" y="479"/>
                  </a:lnTo>
                  <a:lnTo>
                    <a:pt x="2625" y="484"/>
                  </a:lnTo>
                  <a:lnTo>
                    <a:pt x="2625" y="479"/>
                  </a:lnTo>
                  <a:lnTo>
                    <a:pt x="2625" y="479"/>
                  </a:lnTo>
                  <a:lnTo>
                    <a:pt x="2620" y="479"/>
                  </a:lnTo>
                  <a:lnTo>
                    <a:pt x="2620" y="479"/>
                  </a:lnTo>
                  <a:lnTo>
                    <a:pt x="2620" y="479"/>
                  </a:lnTo>
                  <a:lnTo>
                    <a:pt x="2620" y="484"/>
                  </a:lnTo>
                  <a:lnTo>
                    <a:pt x="2620" y="484"/>
                  </a:lnTo>
                  <a:lnTo>
                    <a:pt x="2620" y="484"/>
                  </a:lnTo>
                  <a:lnTo>
                    <a:pt x="2620" y="484"/>
                  </a:lnTo>
                  <a:lnTo>
                    <a:pt x="2620" y="484"/>
                  </a:lnTo>
                  <a:lnTo>
                    <a:pt x="2625" y="484"/>
                  </a:lnTo>
                  <a:lnTo>
                    <a:pt x="2620" y="484"/>
                  </a:lnTo>
                  <a:lnTo>
                    <a:pt x="2620" y="484"/>
                  </a:lnTo>
                  <a:lnTo>
                    <a:pt x="2620" y="484"/>
                  </a:lnTo>
                  <a:lnTo>
                    <a:pt x="2625" y="488"/>
                  </a:lnTo>
                  <a:lnTo>
                    <a:pt x="2625" y="488"/>
                  </a:lnTo>
                  <a:lnTo>
                    <a:pt x="2625" y="488"/>
                  </a:lnTo>
                  <a:lnTo>
                    <a:pt x="2625" y="488"/>
                  </a:lnTo>
                  <a:close/>
                  <a:moveTo>
                    <a:pt x="2936" y="280"/>
                  </a:moveTo>
                  <a:lnTo>
                    <a:pt x="2936" y="280"/>
                  </a:lnTo>
                  <a:lnTo>
                    <a:pt x="2936" y="280"/>
                  </a:lnTo>
                  <a:lnTo>
                    <a:pt x="2936" y="276"/>
                  </a:lnTo>
                  <a:lnTo>
                    <a:pt x="2941" y="276"/>
                  </a:lnTo>
                  <a:lnTo>
                    <a:pt x="2941" y="276"/>
                  </a:lnTo>
                  <a:lnTo>
                    <a:pt x="2946" y="276"/>
                  </a:lnTo>
                  <a:lnTo>
                    <a:pt x="2946" y="276"/>
                  </a:lnTo>
                  <a:lnTo>
                    <a:pt x="2946" y="276"/>
                  </a:lnTo>
                  <a:lnTo>
                    <a:pt x="2946" y="271"/>
                  </a:lnTo>
                  <a:lnTo>
                    <a:pt x="2946" y="271"/>
                  </a:lnTo>
                  <a:lnTo>
                    <a:pt x="2946" y="271"/>
                  </a:lnTo>
                  <a:lnTo>
                    <a:pt x="2946" y="271"/>
                  </a:lnTo>
                  <a:lnTo>
                    <a:pt x="2946" y="271"/>
                  </a:lnTo>
                  <a:lnTo>
                    <a:pt x="2946" y="271"/>
                  </a:lnTo>
                  <a:lnTo>
                    <a:pt x="2946" y="271"/>
                  </a:lnTo>
                  <a:lnTo>
                    <a:pt x="2941" y="267"/>
                  </a:lnTo>
                  <a:lnTo>
                    <a:pt x="2941" y="267"/>
                  </a:lnTo>
                  <a:lnTo>
                    <a:pt x="2941" y="271"/>
                  </a:lnTo>
                  <a:lnTo>
                    <a:pt x="2941" y="267"/>
                  </a:lnTo>
                  <a:lnTo>
                    <a:pt x="2941" y="267"/>
                  </a:lnTo>
                  <a:lnTo>
                    <a:pt x="2941" y="267"/>
                  </a:lnTo>
                  <a:lnTo>
                    <a:pt x="2941" y="271"/>
                  </a:lnTo>
                  <a:lnTo>
                    <a:pt x="2936" y="271"/>
                  </a:lnTo>
                  <a:lnTo>
                    <a:pt x="2936" y="271"/>
                  </a:lnTo>
                  <a:lnTo>
                    <a:pt x="2936" y="271"/>
                  </a:lnTo>
                  <a:lnTo>
                    <a:pt x="2936" y="271"/>
                  </a:lnTo>
                  <a:lnTo>
                    <a:pt x="2941" y="271"/>
                  </a:lnTo>
                  <a:lnTo>
                    <a:pt x="2936" y="271"/>
                  </a:lnTo>
                  <a:lnTo>
                    <a:pt x="2936" y="271"/>
                  </a:lnTo>
                  <a:lnTo>
                    <a:pt x="2936" y="271"/>
                  </a:lnTo>
                  <a:lnTo>
                    <a:pt x="2936" y="271"/>
                  </a:lnTo>
                  <a:lnTo>
                    <a:pt x="2932" y="276"/>
                  </a:lnTo>
                  <a:lnTo>
                    <a:pt x="2936" y="276"/>
                  </a:lnTo>
                  <a:lnTo>
                    <a:pt x="2932" y="276"/>
                  </a:lnTo>
                  <a:lnTo>
                    <a:pt x="2932" y="276"/>
                  </a:lnTo>
                  <a:lnTo>
                    <a:pt x="2932" y="276"/>
                  </a:lnTo>
                  <a:lnTo>
                    <a:pt x="2932" y="280"/>
                  </a:lnTo>
                  <a:lnTo>
                    <a:pt x="2932" y="280"/>
                  </a:lnTo>
                  <a:lnTo>
                    <a:pt x="2936" y="280"/>
                  </a:lnTo>
                  <a:close/>
                  <a:moveTo>
                    <a:pt x="3316" y="222"/>
                  </a:moveTo>
                  <a:lnTo>
                    <a:pt x="3316" y="222"/>
                  </a:lnTo>
                  <a:lnTo>
                    <a:pt x="3316" y="226"/>
                  </a:lnTo>
                  <a:lnTo>
                    <a:pt x="3320" y="226"/>
                  </a:lnTo>
                  <a:lnTo>
                    <a:pt x="3320" y="226"/>
                  </a:lnTo>
                  <a:lnTo>
                    <a:pt x="3320" y="226"/>
                  </a:lnTo>
                  <a:lnTo>
                    <a:pt x="3325" y="226"/>
                  </a:lnTo>
                  <a:lnTo>
                    <a:pt x="3330" y="226"/>
                  </a:lnTo>
                  <a:lnTo>
                    <a:pt x="3330" y="226"/>
                  </a:lnTo>
                  <a:lnTo>
                    <a:pt x="3334" y="226"/>
                  </a:lnTo>
                  <a:lnTo>
                    <a:pt x="3339" y="226"/>
                  </a:lnTo>
                  <a:lnTo>
                    <a:pt x="3339" y="226"/>
                  </a:lnTo>
                  <a:lnTo>
                    <a:pt x="3339" y="226"/>
                  </a:lnTo>
                  <a:lnTo>
                    <a:pt x="3339" y="226"/>
                  </a:lnTo>
                  <a:lnTo>
                    <a:pt x="3339" y="226"/>
                  </a:lnTo>
                  <a:lnTo>
                    <a:pt x="3343" y="226"/>
                  </a:lnTo>
                  <a:lnTo>
                    <a:pt x="3343" y="226"/>
                  </a:lnTo>
                  <a:lnTo>
                    <a:pt x="3343" y="231"/>
                  </a:lnTo>
                  <a:lnTo>
                    <a:pt x="3348" y="231"/>
                  </a:lnTo>
                  <a:lnTo>
                    <a:pt x="3352" y="231"/>
                  </a:lnTo>
                  <a:lnTo>
                    <a:pt x="3348" y="231"/>
                  </a:lnTo>
                  <a:lnTo>
                    <a:pt x="3348" y="231"/>
                  </a:lnTo>
                  <a:lnTo>
                    <a:pt x="3348" y="231"/>
                  </a:lnTo>
                  <a:lnTo>
                    <a:pt x="3348" y="235"/>
                  </a:lnTo>
                  <a:lnTo>
                    <a:pt x="3343" y="231"/>
                  </a:lnTo>
                  <a:lnTo>
                    <a:pt x="3343" y="235"/>
                  </a:lnTo>
                  <a:lnTo>
                    <a:pt x="3343" y="235"/>
                  </a:lnTo>
                  <a:lnTo>
                    <a:pt x="3348" y="235"/>
                  </a:lnTo>
                  <a:lnTo>
                    <a:pt x="3348" y="235"/>
                  </a:lnTo>
                  <a:lnTo>
                    <a:pt x="3343" y="235"/>
                  </a:lnTo>
                  <a:lnTo>
                    <a:pt x="3343" y="235"/>
                  </a:lnTo>
                  <a:lnTo>
                    <a:pt x="3348" y="240"/>
                  </a:lnTo>
                  <a:lnTo>
                    <a:pt x="3352" y="240"/>
                  </a:lnTo>
                  <a:lnTo>
                    <a:pt x="3357" y="240"/>
                  </a:lnTo>
                  <a:lnTo>
                    <a:pt x="3357" y="240"/>
                  </a:lnTo>
                  <a:lnTo>
                    <a:pt x="3361" y="240"/>
                  </a:lnTo>
                  <a:lnTo>
                    <a:pt x="3361" y="240"/>
                  </a:lnTo>
                  <a:lnTo>
                    <a:pt x="3361" y="240"/>
                  </a:lnTo>
                  <a:lnTo>
                    <a:pt x="3361" y="240"/>
                  </a:lnTo>
                  <a:lnTo>
                    <a:pt x="3366" y="240"/>
                  </a:lnTo>
                  <a:lnTo>
                    <a:pt x="3366" y="240"/>
                  </a:lnTo>
                  <a:lnTo>
                    <a:pt x="3370" y="240"/>
                  </a:lnTo>
                  <a:lnTo>
                    <a:pt x="3370" y="240"/>
                  </a:lnTo>
                  <a:lnTo>
                    <a:pt x="3370" y="240"/>
                  </a:lnTo>
                  <a:lnTo>
                    <a:pt x="3375" y="240"/>
                  </a:lnTo>
                  <a:lnTo>
                    <a:pt x="3375" y="240"/>
                  </a:lnTo>
                  <a:lnTo>
                    <a:pt x="3375" y="240"/>
                  </a:lnTo>
                  <a:lnTo>
                    <a:pt x="3375" y="240"/>
                  </a:lnTo>
                  <a:lnTo>
                    <a:pt x="3375" y="240"/>
                  </a:lnTo>
                  <a:lnTo>
                    <a:pt x="3375" y="240"/>
                  </a:lnTo>
                  <a:lnTo>
                    <a:pt x="3379" y="240"/>
                  </a:lnTo>
                  <a:lnTo>
                    <a:pt x="3384" y="240"/>
                  </a:lnTo>
                  <a:lnTo>
                    <a:pt x="3384" y="240"/>
                  </a:lnTo>
                  <a:lnTo>
                    <a:pt x="3379" y="240"/>
                  </a:lnTo>
                  <a:lnTo>
                    <a:pt x="3379" y="240"/>
                  </a:lnTo>
                  <a:lnTo>
                    <a:pt x="3379" y="240"/>
                  </a:lnTo>
                  <a:lnTo>
                    <a:pt x="3379" y="240"/>
                  </a:lnTo>
                  <a:lnTo>
                    <a:pt x="3379" y="240"/>
                  </a:lnTo>
                  <a:lnTo>
                    <a:pt x="3379" y="240"/>
                  </a:lnTo>
                  <a:lnTo>
                    <a:pt x="3384" y="240"/>
                  </a:lnTo>
                  <a:lnTo>
                    <a:pt x="3384" y="240"/>
                  </a:lnTo>
                  <a:lnTo>
                    <a:pt x="3388" y="240"/>
                  </a:lnTo>
                  <a:lnTo>
                    <a:pt x="3388" y="240"/>
                  </a:lnTo>
                  <a:lnTo>
                    <a:pt x="3388" y="240"/>
                  </a:lnTo>
                  <a:lnTo>
                    <a:pt x="3393" y="240"/>
                  </a:lnTo>
                  <a:lnTo>
                    <a:pt x="3393" y="240"/>
                  </a:lnTo>
                  <a:lnTo>
                    <a:pt x="3393" y="235"/>
                  </a:lnTo>
                  <a:lnTo>
                    <a:pt x="3388" y="235"/>
                  </a:lnTo>
                  <a:lnTo>
                    <a:pt x="3384" y="235"/>
                  </a:lnTo>
                  <a:lnTo>
                    <a:pt x="3384" y="235"/>
                  </a:lnTo>
                  <a:lnTo>
                    <a:pt x="3375" y="231"/>
                  </a:lnTo>
                  <a:lnTo>
                    <a:pt x="3370" y="226"/>
                  </a:lnTo>
                  <a:lnTo>
                    <a:pt x="3366" y="226"/>
                  </a:lnTo>
                  <a:lnTo>
                    <a:pt x="3361" y="222"/>
                  </a:lnTo>
                  <a:lnTo>
                    <a:pt x="3361" y="217"/>
                  </a:lnTo>
                  <a:lnTo>
                    <a:pt x="3357" y="217"/>
                  </a:lnTo>
                  <a:lnTo>
                    <a:pt x="3357" y="217"/>
                  </a:lnTo>
                  <a:lnTo>
                    <a:pt x="3357" y="217"/>
                  </a:lnTo>
                  <a:lnTo>
                    <a:pt x="3357" y="213"/>
                  </a:lnTo>
                  <a:lnTo>
                    <a:pt x="3357" y="213"/>
                  </a:lnTo>
                  <a:lnTo>
                    <a:pt x="3357" y="213"/>
                  </a:lnTo>
                  <a:lnTo>
                    <a:pt x="3352" y="208"/>
                  </a:lnTo>
                  <a:lnTo>
                    <a:pt x="3352" y="208"/>
                  </a:lnTo>
                  <a:lnTo>
                    <a:pt x="3352" y="208"/>
                  </a:lnTo>
                  <a:lnTo>
                    <a:pt x="3352" y="208"/>
                  </a:lnTo>
                  <a:lnTo>
                    <a:pt x="3352" y="208"/>
                  </a:lnTo>
                  <a:lnTo>
                    <a:pt x="3352" y="204"/>
                  </a:lnTo>
                  <a:lnTo>
                    <a:pt x="3352" y="204"/>
                  </a:lnTo>
                  <a:lnTo>
                    <a:pt x="3352" y="204"/>
                  </a:lnTo>
                  <a:lnTo>
                    <a:pt x="3352" y="204"/>
                  </a:lnTo>
                  <a:lnTo>
                    <a:pt x="3352" y="204"/>
                  </a:lnTo>
                  <a:lnTo>
                    <a:pt x="3352" y="199"/>
                  </a:lnTo>
                  <a:lnTo>
                    <a:pt x="3352" y="199"/>
                  </a:lnTo>
                  <a:lnTo>
                    <a:pt x="3357" y="199"/>
                  </a:lnTo>
                  <a:lnTo>
                    <a:pt x="3357" y="199"/>
                  </a:lnTo>
                  <a:lnTo>
                    <a:pt x="3357" y="199"/>
                  </a:lnTo>
                  <a:lnTo>
                    <a:pt x="3357" y="199"/>
                  </a:lnTo>
                  <a:lnTo>
                    <a:pt x="3357" y="194"/>
                  </a:lnTo>
                  <a:lnTo>
                    <a:pt x="3357" y="194"/>
                  </a:lnTo>
                  <a:lnTo>
                    <a:pt x="3357" y="194"/>
                  </a:lnTo>
                  <a:lnTo>
                    <a:pt x="3357" y="194"/>
                  </a:lnTo>
                  <a:lnTo>
                    <a:pt x="3357" y="194"/>
                  </a:lnTo>
                  <a:lnTo>
                    <a:pt x="3357" y="190"/>
                  </a:lnTo>
                  <a:lnTo>
                    <a:pt x="3352" y="190"/>
                  </a:lnTo>
                  <a:lnTo>
                    <a:pt x="3348" y="190"/>
                  </a:lnTo>
                  <a:lnTo>
                    <a:pt x="3343" y="190"/>
                  </a:lnTo>
                  <a:lnTo>
                    <a:pt x="3343" y="190"/>
                  </a:lnTo>
                  <a:lnTo>
                    <a:pt x="3339" y="190"/>
                  </a:lnTo>
                  <a:lnTo>
                    <a:pt x="3339" y="190"/>
                  </a:lnTo>
                  <a:lnTo>
                    <a:pt x="3334" y="190"/>
                  </a:lnTo>
                  <a:lnTo>
                    <a:pt x="3334" y="190"/>
                  </a:lnTo>
                  <a:lnTo>
                    <a:pt x="3334" y="190"/>
                  </a:lnTo>
                  <a:lnTo>
                    <a:pt x="3330" y="190"/>
                  </a:lnTo>
                  <a:lnTo>
                    <a:pt x="3330" y="190"/>
                  </a:lnTo>
                  <a:lnTo>
                    <a:pt x="3325" y="190"/>
                  </a:lnTo>
                  <a:lnTo>
                    <a:pt x="3325" y="194"/>
                  </a:lnTo>
                  <a:lnTo>
                    <a:pt x="3325" y="194"/>
                  </a:lnTo>
                  <a:lnTo>
                    <a:pt x="3325" y="194"/>
                  </a:lnTo>
                  <a:lnTo>
                    <a:pt x="3320" y="194"/>
                  </a:lnTo>
                  <a:lnTo>
                    <a:pt x="3320" y="194"/>
                  </a:lnTo>
                  <a:lnTo>
                    <a:pt x="3320" y="194"/>
                  </a:lnTo>
                  <a:lnTo>
                    <a:pt x="3325" y="199"/>
                  </a:lnTo>
                  <a:lnTo>
                    <a:pt x="3325" y="199"/>
                  </a:lnTo>
                  <a:lnTo>
                    <a:pt x="3325" y="199"/>
                  </a:lnTo>
                  <a:lnTo>
                    <a:pt x="3325" y="199"/>
                  </a:lnTo>
                  <a:lnTo>
                    <a:pt x="3325" y="199"/>
                  </a:lnTo>
                  <a:lnTo>
                    <a:pt x="3320" y="199"/>
                  </a:lnTo>
                  <a:lnTo>
                    <a:pt x="3320" y="199"/>
                  </a:lnTo>
                  <a:lnTo>
                    <a:pt x="3320" y="199"/>
                  </a:lnTo>
                  <a:lnTo>
                    <a:pt x="3320" y="204"/>
                  </a:lnTo>
                  <a:lnTo>
                    <a:pt x="3320" y="204"/>
                  </a:lnTo>
                  <a:lnTo>
                    <a:pt x="3320" y="204"/>
                  </a:lnTo>
                  <a:lnTo>
                    <a:pt x="3320" y="204"/>
                  </a:lnTo>
                  <a:lnTo>
                    <a:pt x="3320" y="204"/>
                  </a:lnTo>
                  <a:lnTo>
                    <a:pt x="3325" y="204"/>
                  </a:lnTo>
                  <a:lnTo>
                    <a:pt x="3325" y="204"/>
                  </a:lnTo>
                  <a:lnTo>
                    <a:pt x="3325" y="204"/>
                  </a:lnTo>
                  <a:lnTo>
                    <a:pt x="3325" y="208"/>
                  </a:lnTo>
                  <a:lnTo>
                    <a:pt x="3325" y="208"/>
                  </a:lnTo>
                  <a:lnTo>
                    <a:pt x="3325" y="208"/>
                  </a:lnTo>
                  <a:lnTo>
                    <a:pt x="3325" y="208"/>
                  </a:lnTo>
                  <a:lnTo>
                    <a:pt x="3325" y="208"/>
                  </a:lnTo>
                  <a:lnTo>
                    <a:pt x="3325" y="213"/>
                  </a:lnTo>
                  <a:lnTo>
                    <a:pt x="3325" y="213"/>
                  </a:lnTo>
                  <a:lnTo>
                    <a:pt x="3320" y="213"/>
                  </a:lnTo>
                  <a:lnTo>
                    <a:pt x="3320" y="213"/>
                  </a:lnTo>
                  <a:lnTo>
                    <a:pt x="3320" y="213"/>
                  </a:lnTo>
                  <a:lnTo>
                    <a:pt x="3320" y="213"/>
                  </a:lnTo>
                  <a:lnTo>
                    <a:pt x="3320" y="213"/>
                  </a:lnTo>
                  <a:lnTo>
                    <a:pt x="3316" y="213"/>
                  </a:lnTo>
                  <a:lnTo>
                    <a:pt x="3316" y="213"/>
                  </a:lnTo>
                  <a:lnTo>
                    <a:pt x="3316" y="213"/>
                  </a:lnTo>
                  <a:lnTo>
                    <a:pt x="3316" y="217"/>
                  </a:lnTo>
                  <a:lnTo>
                    <a:pt x="3311" y="217"/>
                  </a:lnTo>
                  <a:lnTo>
                    <a:pt x="3311" y="217"/>
                  </a:lnTo>
                  <a:lnTo>
                    <a:pt x="3316" y="222"/>
                  </a:lnTo>
                  <a:lnTo>
                    <a:pt x="3316" y="222"/>
                  </a:lnTo>
                  <a:close/>
                  <a:moveTo>
                    <a:pt x="3433" y="253"/>
                  </a:moveTo>
                  <a:lnTo>
                    <a:pt x="3429" y="253"/>
                  </a:lnTo>
                  <a:lnTo>
                    <a:pt x="3429" y="249"/>
                  </a:lnTo>
                  <a:lnTo>
                    <a:pt x="3424" y="249"/>
                  </a:lnTo>
                  <a:lnTo>
                    <a:pt x="3420" y="249"/>
                  </a:lnTo>
                  <a:lnTo>
                    <a:pt x="3420" y="244"/>
                  </a:lnTo>
                  <a:lnTo>
                    <a:pt x="3415" y="244"/>
                  </a:lnTo>
                  <a:lnTo>
                    <a:pt x="3415" y="244"/>
                  </a:lnTo>
                  <a:lnTo>
                    <a:pt x="3411" y="244"/>
                  </a:lnTo>
                  <a:lnTo>
                    <a:pt x="3411" y="244"/>
                  </a:lnTo>
                  <a:lnTo>
                    <a:pt x="3411" y="244"/>
                  </a:lnTo>
                  <a:lnTo>
                    <a:pt x="3406" y="244"/>
                  </a:lnTo>
                  <a:lnTo>
                    <a:pt x="3406" y="244"/>
                  </a:lnTo>
                  <a:lnTo>
                    <a:pt x="3406" y="244"/>
                  </a:lnTo>
                  <a:lnTo>
                    <a:pt x="3406" y="244"/>
                  </a:lnTo>
                  <a:lnTo>
                    <a:pt x="3406" y="244"/>
                  </a:lnTo>
                  <a:lnTo>
                    <a:pt x="3406" y="249"/>
                  </a:lnTo>
                  <a:lnTo>
                    <a:pt x="3411" y="249"/>
                  </a:lnTo>
                  <a:lnTo>
                    <a:pt x="3411" y="249"/>
                  </a:lnTo>
                  <a:lnTo>
                    <a:pt x="3411" y="249"/>
                  </a:lnTo>
                  <a:lnTo>
                    <a:pt x="3415" y="253"/>
                  </a:lnTo>
                  <a:lnTo>
                    <a:pt x="3415" y="253"/>
                  </a:lnTo>
                  <a:lnTo>
                    <a:pt x="3415" y="253"/>
                  </a:lnTo>
                  <a:lnTo>
                    <a:pt x="3415" y="253"/>
                  </a:lnTo>
                  <a:lnTo>
                    <a:pt x="3420" y="253"/>
                  </a:lnTo>
                  <a:lnTo>
                    <a:pt x="3420" y="253"/>
                  </a:lnTo>
                  <a:lnTo>
                    <a:pt x="3420" y="253"/>
                  </a:lnTo>
                  <a:lnTo>
                    <a:pt x="3424" y="253"/>
                  </a:lnTo>
                  <a:lnTo>
                    <a:pt x="3424" y="258"/>
                  </a:lnTo>
                  <a:lnTo>
                    <a:pt x="3424" y="258"/>
                  </a:lnTo>
                  <a:lnTo>
                    <a:pt x="3424" y="258"/>
                  </a:lnTo>
                  <a:lnTo>
                    <a:pt x="3429" y="258"/>
                  </a:lnTo>
                  <a:lnTo>
                    <a:pt x="3429" y="258"/>
                  </a:lnTo>
                  <a:lnTo>
                    <a:pt x="3429" y="258"/>
                  </a:lnTo>
                  <a:lnTo>
                    <a:pt x="3433" y="258"/>
                  </a:lnTo>
                  <a:lnTo>
                    <a:pt x="3433" y="258"/>
                  </a:lnTo>
                  <a:lnTo>
                    <a:pt x="3433" y="253"/>
                  </a:lnTo>
                  <a:lnTo>
                    <a:pt x="3433" y="253"/>
                  </a:lnTo>
                  <a:lnTo>
                    <a:pt x="3433" y="253"/>
                  </a:lnTo>
                  <a:lnTo>
                    <a:pt x="3433" y="253"/>
                  </a:lnTo>
                  <a:close/>
                  <a:moveTo>
                    <a:pt x="3501" y="185"/>
                  </a:moveTo>
                  <a:lnTo>
                    <a:pt x="3501" y="190"/>
                  </a:lnTo>
                  <a:lnTo>
                    <a:pt x="3501" y="190"/>
                  </a:lnTo>
                  <a:lnTo>
                    <a:pt x="3506" y="190"/>
                  </a:lnTo>
                  <a:lnTo>
                    <a:pt x="3506" y="190"/>
                  </a:lnTo>
                  <a:lnTo>
                    <a:pt x="3506" y="190"/>
                  </a:lnTo>
                  <a:lnTo>
                    <a:pt x="3506" y="190"/>
                  </a:lnTo>
                  <a:lnTo>
                    <a:pt x="3510" y="190"/>
                  </a:lnTo>
                  <a:lnTo>
                    <a:pt x="3510" y="190"/>
                  </a:lnTo>
                  <a:lnTo>
                    <a:pt x="3515" y="185"/>
                  </a:lnTo>
                  <a:lnTo>
                    <a:pt x="3519" y="185"/>
                  </a:lnTo>
                  <a:lnTo>
                    <a:pt x="3519" y="185"/>
                  </a:lnTo>
                  <a:lnTo>
                    <a:pt x="3519" y="185"/>
                  </a:lnTo>
                  <a:lnTo>
                    <a:pt x="3515" y="185"/>
                  </a:lnTo>
                  <a:lnTo>
                    <a:pt x="3515" y="185"/>
                  </a:lnTo>
                  <a:lnTo>
                    <a:pt x="3510" y="181"/>
                  </a:lnTo>
                  <a:lnTo>
                    <a:pt x="3510" y="181"/>
                  </a:lnTo>
                  <a:lnTo>
                    <a:pt x="3510" y="181"/>
                  </a:lnTo>
                  <a:lnTo>
                    <a:pt x="3506" y="181"/>
                  </a:lnTo>
                  <a:lnTo>
                    <a:pt x="3501" y="181"/>
                  </a:lnTo>
                  <a:lnTo>
                    <a:pt x="3501" y="181"/>
                  </a:lnTo>
                  <a:lnTo>
                    <a:pt x="3501" y="185"/>
                  </a:lnTo>
                  <a:lnTo>
                    <a:pt x="3501" y="185"/>
                  </a:lnTo>
                  <a:lnTo>
                    <a:pt x="3501" y="185"/>
                  </a:lnTo>
                  <a:close/>
                  <a:moveTo>
                    <a:pt x="3330" y="185"/>
                  </a:moveTo>
                  <a:lnTo>
                    <a:pt x="3330" y="190"/>
                  </a:lnTo>
                  <a:lnTo>
                    <a:pt x="3334" y="190"/>
                  </a:lnTo>
                  <a:lnTo>
                    <a:pt x="3334" y="190"/>
                  </a:lnTo>
                  <a:lnTo>
                    <a:pt x="3339" y="190"/>
                  </a:lnTo>
                  <a:lnTo>
                    <a:pt x="3339" y="190"/>
                  </a:lnTo>
                  <a:lnTo>
                    <a:pt x="3343" y="190"/>
                  </a:lnTo>
                  <a:lnTo>
                    <a:pt x="3348" y="190"/>
                  </a:lnTo>
                  <a:lnTo>
                    <a:pt x="3352" y="190"/>
                  </a:lnTo>
                  <a:lnTo>
                    <a:pt x="3352" y="190"/>
                  </a:lnTo>
                  <a:lnTo>
                    <a:pt x="3357" y="190"/>
                  </a:lnTo>
                  <a:lnTo>
                    <a:pt x="3357" y="190"/>
                  </a:lnTo>
                  <a:lnTo>
                    <a:pt x="3361" y="190"/>
                  </a:lnTo>
                  <a:lnTo>
                    <a:pt x="3361" y="185"/>
                  </a:lnTo>
                  <a:lnTo>
                    <a:pt x="3366" y="185"/>
                  </a:lnTo>
                  <a:lnTo>
                    <a:pt x="3366" y="185"/>
                  </a:lnTo>
                  <a:lnTo>
                    <a:pt x="3361" y="181"/>
                  </a:lnTo>
                  <a:lnTo>
                    <a:pt x="3361" y="181"/>
                  </a:lnTo>
                  <a:lnTo>
                    <a:pt x="3361" y="181"/>
                  </a:lnTo>
                  <a:lnTo>
                    <a:pt x="3361" y="181"/>
                  </a:lnTo>
                  <a:lnTo>
                    <a:pt x="3366" y="181"/>
                  </a:lnTo>
                  <a:lnTo>
                    <a:pt x="3366" y="181"/>
                  </a:lnTo>
                  <a:lnTo>
                    <a:pt x="3366" y="181"/>
                  </a:lnTo>
                  <a:lnTo>
                    <a:pt x="3366" y="181"/>
                  </a:lnTo>
                  <a:lnTo>
                    <a:pt x="3366" y="181"/>
                  </a:lnTo>
                  <a:lnTo>
                    <a:pt x="3366" y="181"/>
                  </a:lnTo>
                  <a:lnTo>
                    <a:pt x="3366" y="176"/>
                  </a:lnTo>
                  <a:lnTo>
                    <a:pt x="3361" y="176"/>
                  </a:lnTo>
                  <a:lnTo>
                    <a:pt x="3370" y="176"/>
                  </a:lnTo>
                  <a:lnTo>
                    <a:pt x="3370" y="172"/>
                  </a:lnTo>
                  <a:lnTo>
                    <a:pt x="3370" y="172"/>
                  </a:lnTo>
                  <a:lnTo>
                    <a:pt x="3370" y="172"/>
                  </a:lnTo>
                  <a:lnTo>
                    <a:pt x="3366" y="167"/>
                  </a:lnTo>
                  <a:lnTo>
                    <a:pt x="3366" y="167"/>
                  </a:lnTo>
                  <a:lnTo>
                    <a:pt x="3366" y="167"/>
                  </a:lnTo>
                  <a:lnTo>
                    <a:pt x="3370" y="167"/>
                  </a:lnTo>
                  <a:lnTo>
                    <a:pt x="3370" y="167"/>
                  </a:lnTo>
                  <a:lnTo>
                    <a:pt x="3370" y="167"/>
                  </a:lnTo>
                  <a:lnTo>
                    <a:pt x="3370" y="167"/>
                  </a:lnTo>
                  <a:lnTo>
                    <a:pt x="3370" y="167"/>
                  </a:lnTo>
                  <a:lnTo>
                    <a:pt x="3370" y="163"/>
                  </a:lnTo>
                  <a:lnTo>
                    <a:pt x="3370" y="163"/>
                  </a:lnTo>
                  <a:lnTo>
                    <a:pt x="3375" y="167"/>
                  </a:lnTo>
                  <a:lnTo>
                    <a:pt x="3375" y="167"/>
                  </a:lnTo>
                  <a:lnTo>
                    <a:pt x="3379" y="163"/>
                  </a:lnTo>
                  <a:lnTo>
                    <a:pt x="3379" y="163"/>
                  </a:lnTo>
                  <a:lnTo>
                    <a:pt x="3375" y="163"/>
                  </a:lnTo>
                  <a:lnTo>
                    <a:pt x="3375" y="163"/>
                  </a:lnTo>
                  <a:lnTo>
                    <a:pt x="3379" y="163"/>
                  </a:lnTo>
                  <a:lnTo>
                    <a:pt x="3379" y="163"/>
                  </a:lnTo>
                  <a:lnTo>
                    <a:pt x="3379" y="163"/>
                  </a:lnTo>
                  <a:lnTo>
                    <a:pt x="3379" y="163"/>
                  </a:lnTo>
                  <a:lnTo>
                    <a:pt x="3384" y="158"/>
                  </a:lnTo>
                  <a:lnTo>
                    <a:pt x="3384" y="158"/>
                  </a:lnTo>
                  <a:lnTo>
                    <a:pt x="3384" y="158"/>
                  </a:lnTo>
                  <a:lnTo>
                    <a:pt x="3379" y="158"/>
                  </a:lnTo>
                  <a:lnTo>
                    <a:pt x="3379" y="158"/>
                  </a:lnTo>
                  <a:lnTo>
                    <a:pt x="3379" y="158"/>
                  </a:lnTo>
                  <a:lnTo>
                    <a:pt x="3379" y="158"/>
                  </a:lnTo>
                  <a:lnTo>
                    <a:pt x="3384" y="158"/>
                  </a:lnTo>
                  <a:lnTo>
                    <a:pt x="3384" y="158"/>
                  </a:lnTo>
                  <a:lnTo>
                    <a:pt x="3384" y="154"/>
                  </a:lnTo>
                  <a:lnTo>
                    <a:pt x="3384" y="154"/>
                  </a:lnTo>
                  <a:lnTo>
                    <a:pt x="3384" y="154"/>
                  </a:lnTo>
                  <a:lnTo>
                    <a:pt x="3388" y="154"/>
                  </a:lnTo>
                  <a:lnTo>
                    <a:pt x="3388" y="154"/>
                  </a:lnTo>
                  <a:lnTo>
                    <a:pt x="3388" y="154"/>
                  </a:lnTo>
                  <a:lnTo>
                    <a:pt x="3388" y="154"/>
                  </a:lnTo>
                  <a:lnTo>
                    <a:pt x="3393" y="149"/>
                  </a:lnTo>
                  <a:lnTo>
                    <a:pt x="3402" y="145"/>
                  </a:lnTo>
                  <a:lnTo>
                    <a:pt x="3402" y="145"/>
                  </a:lnTo>
                  <a:lnTo>
                    <a:pt x="3406" y="145"/>
                  </a:lnTo>
                  <a:lnTo>
                    <a:pt x="3406" y="145"/>
                  </a:lnTo>
                  <a:lnTo>
                    <a:pt x="3411" y="145"/>
                  </a:lnTo>
                  <a:lnTo>
                    <a:pt x="3415" y="140"/>
                  </a:lnTo>
                  <a:lnTo>
                    <a:pt x="3420" y="140"/>
                  </a:lnTo>
                  <a:lnTo>
                    <a:pt x="3424" y="140"/>
                  </a:lnTo>
                  <a:lnTo>
                    <a:pt x="3429" y="136"/>
                  </a:lnTo>
                  <a:lnTo>
                    <a:pt x="3433" y="136"/>
                  </a:lnTo>
                  <a:lnTo>
                    <a:pt x="3433" y="136"/>
                  </a:lnTo>
                  <a:lnTo>
                    <a:pt x="3438" y="136"/>
                  </a:lnTo>
                  <a:lnTo>
                    <a:pt x="3438" y="136"/>
                  </a:lnTo>
                  <a:lnTo>
                    <a:pt x="3442" y="131"/>
                  </a:lnTo>
                  <a:lnTo>
                    <a:pt x="3442" y="131"/>
                  </a:lnTo>
                  <a:lnTo>
                    <a:pt x="3442" y="131"/>
                  </a:lnTo>
                  <a:lnTo>
                    <a:pt x="3447" y="127"/>
                  </a:lnTo>
                  <a:lnTo>
                    <a:pt x="3447" y="127"/>
                  </a:lnTo>
                  <a:lnTo>
                    <a:pt x="3447" y="127"/>
                  </a:lnTo>
                  <a:lnTo>
                    <a:pt x="3447" y="122"/>
                  </a:lnTo>
                  <a:lnTo>
                    <a:pt x="3447" y="122"/>
                  </a:lnTo>
                  <a:lnTo>
                    <a:pt x="3447" y="122"/>
                  </a:lnTo>
                  <a:lnTo>
                    <a:pt x="3447" y="122"/>
                  </a:lnTo>
                  <a:lnTo>
                    <a:pt x="3442" y="122"/>
                  </a:lnTo>
                  <a:lnTo>
                    <a:pt x="3438" y="118"/>
                  </a:lnTo>
                  <a:lnTo>
                    <a:pt x="3433" y="118"/>
                  </a:lnTo>
                  <a:lnTo>
                    <a:pt x="3429" y="118"/>
                  </a:lnTo>
                  <a:lnTo>
                    <a:pt x="3429" y="118"/>
                  </a:lnTo>
                  <a:lnTo>
                    <a:pt x="3429" y="118"/>
                  </a:lnTo>
                  <a:lnTo>
                    <a:pt x="3424" y="122"/>
                  </a:lnTo>
                  <a:lnTo>
                    <a:pt x="3420" y="122"/>
                  </a:lnTo>
                  <a:lnTo>
                    <a:pt x="3420" y="122"/>
                  </a:lnTo>
                  <a:lnTo>
                    <a:pt x="3415" y="127"/>
                  </a:lnTo>
                  <a:lnTo>
                    <a:pt x="3415" y="127"/>
                  </a:lnTo>
                  <a:lnTo>
                    <a:pt x="3415" y="127"/>
                  </a:lnTo>
                  <a:lnTo>
                    <a:pt x="3415" y="127"/>
                  </a:lnTo>
                  <a:lnTo>
                    <a:pt x="3415" y="127"/>
                  </a:lnTo>
                  <a:lnTo>
                    <a:pt x="3415" y="127"/>
                  </a:lnTo>
                  <a:lnTo>
                    <a:pt x="3411" y="127"/>
                  </a:lnTo>
                  <a:lnTo>
                    <a:pt x="3411" y="127"/>
                  </a:lnTo>
                  <a:lnTo>
                    <a:pt x="3411" y="131"/>
                  </a:lnTo>
                  <a:lnTo>
                    <a:pt x="3406" y="131"/>
                  </a:lnTo>
                  <a:lnTo>
                    <a:pt x="3406" y="131"/>
                  </a:lnTo>
                  <a:lnTo>
                    <a:pt x="3397" y="131"/>
                  </a:lnTo>
                  <a:lnTo>
                    <a:pt x="3393" y="136"/>
                  </a:lnTo>
                  <a:lnTo>
                    <a:pt x="3393" y="136"/>
                  </a:lnTo>
                  <a:lnTo>
                    <a:pt x="3388" y="136"/>
                  </a:lnTo>
                  <a:lnTo>
                    <a:pt x="3384" y="136"/>
                  </a:lnTo>
                  <a:lnTo>
                    <a:pt x="3379" y="136"/>
                  </a:lnTo>
                  <a:lnTo>
                    <a:pt x="3379" y="136"/>
                  </a:lnTo>
                  <a:lnTo>
                    <a:pt x="3375" y="136"/>
                  </a:lnTo>
                  <a:lnTo>
                    <a:pt x="3375" y="136"/>
                  </a:lnTo>
                  <a:lnTo>
                    <a:pt x="3375" y="136"/>
                  </a:lnTo>
                  <a:lnTo>
                    <a:pt x="3375" y="136"/>
                  </a:lnTo>
                  <a:lnTo>
                    <a:pt x="3375" y="136"/>
                  </a:lnTo>
                  <a:lnTo>
                    <a:pt x="3375" y="136"/>
                  </a:lnTo>
                  <a:lnTo>
                    <a:pt x="3375" y="140"/>
                  </a:lnTo>
                  <a:lnTo>
                    <a:pt x="3375" y="140"/>
                  </a:lnTo>
                  <a:lnTo>
                    <a:pt x="3370" y="136"/>
                  </a:lnTo>
                  <a:lnTo>
                    <a:pt x="3370" y="136"/>
                  </a:lnTo>
                  <a:lnTo>
                    <a:pt x="3366" y="136"/>
                  </a:lnTo>
                  <a:lnTo>
                    <a:pt x="3366" y="140"/>
                  </a:lnTo>
                  <a:lnTo>
                    <a:pt x="3366" y="140"/>
                  </a:lnTo>
                  <a:lnTo>
                    <a:pt x="3366" y="140"/>
                  </a:lnTo>
                  <a:lnTo>
                    <a:pt x="3361" y="140"/>
                  </a:lnTo>
                  <a:lnTo>
                    <a:pt x="3357" y="140"/>
                  </a:lnTo>
                  <a:lnTo>
                    <a:pt x="3357" y="140"/>
                  </a:lnTo>
                  <a:lnTo>
                    <a:pt x="3357" y="145"/>
                  </a:lnTo>
                  <a:lnTo>
                    <a:pt x="3352" y="145"/>
                  </a:lnTo>
                  <a:lnTo>
                    <a:pt x="3352" y="145"/>
                  </a:lnTo>
                  <a:lnTo>
                    <a:pt x="3348" y="145"/>
                  </a:lnTo>
                  <a:lnTo>
                    <a:pt x="3352" y="149"/>
                  </a:lnTo>
                  <a:lnTo>
                    <a:pt x="3352" y="149"/>
                  </a:lnTo>
                  <a:lnTo>
                    <a:pt x="3348" y="149"/>
                  </a:lnTo>
                  <a:lnTo>
                    <a:pt x="3348" y="149"/>
                  </a:lnTo>
                  <a:lnTo>
                    <a:pt x="3348" y="154"/>
                  </a:lnTo>
                  <a:lnTo>
                    <a:pt x="3348" y="154"/>
                  </a:lnTo>
                  <a:lnTo>
                    <a:pt x="3343" y="154"/>
                  </a:lnTo>
                  <a:lnTo>
                    <a:pt x="3343" y="154"/>
                  </a:lnTo>
                  <a:lnTo>
                    <a:pt x="3343" y="154"/>
                  </a:lnTo>
                  <a:lnTo>
                    <a:pt x="3339" y="154"/>
                  </a:lnTo>
                  <a:lnTo>
                    <a:pt x="3339" y="154"/>
                  </a:lnTo>
                  <a:lnTo>
                    <a:pt x="3339" y="154"/>
                  </a:lnTo>
                  <a:lnTo>
                    <a:pt x="3343" y="154"/>
                  </a:lnTo>
                  <a:lnTo>
                    <a:pt x="3339" y="158"/>
                  </a:lnTo>
                  <a:lnTo>
                    <a:pt x="3339" y="158"/>
                  </a:lnTo>
                  <a:lnTo>
                    <a:pt x="3339" y="158"/>
                  </a:lnTo>
                  <a:lnTo>
                    <a:pt x="3334" y="158"/>
                  </a:lnTo>
                  <a:lnTo>
                    <a:pt x="3334" y="154"/>
                  </a:lnTo>
                  <a:lnTo>
                    <a:pt x="3334" y="154"/>
                  </a:lnTo>
                  <a:lnTo>
                    <a:pt x="3334" y="158"/>
                  </a:lnTo>
                  <a:lnTo>
                    <a:pt x="3330" y="158"/>
                  </a:lnTo>
                  <a:lnTo>
                    <a:pt x="3334" y="158"/>
                  </a:lnTo>
                  <a:lnTo>
                    <a:pt x="3334" y="158"/>
                  </a:lnTo>
                  <a:lnTo>
                    <a:pt x="3334" y="158"/>
                  </a:lnTo>
                  <a:lnTo>
                    <a:pt x="3339" y="158"/>
                  </a:lnTo>
                  <a:lnTo>
                    <a:pt x="3339" y="158"/>
                  </a:lnTo>
                  <a:lnTo>
                    <a:pt x="3339" y="158"/>
                  </a:lnTo>
                  <a:lnTo>
                    <a:pt x="3339" y="163"/>
                  </a:lnTo>
                  <a:lnTo>
                    <a:pt x="3334" y="163"/>
                  </a:lnTo>
                  <a:lnTo>
                    <a:pt x="3334" y="167"/>
                  </a:lnTo>
                  <a:lnTo>
                    <a:pt x="3334" y="167"/>
                  </a:lnTo>
                  <a:lnTo>
                    <a:pt x="3334" y="167"/>
                  </a:lnTo>
                  <a:lnTo>
                    <a:pt x="3334" y="167"/>
                  </a:lnTo>
                  <a:lnTo>
                    <a:pt x="3339" y="167"/>
                  </a:lnTo>
                  <a:lnTo>
                    <a:pt x="3339" y="167"/>
                  </a:lnTo>
                  <a:lnTo>
                    <a:pt x="3343" y="167"/>
                  </a:lnTo>
                  <a:lnTo>
                    <a:pt x="3339" y="167"/>
                  </a:lnTo>
                  <a:lnTo>
                    <a:pt x="3334" y="172"/>
                  </a:lnTo>
                  <a:lnTo>
                    <a:pt x="3334" y="172"/>
                  </a:lnTo>
                  <a:lnTo>
                    <a:pt x="3334" y="176"/>
                  </a:lnTo>
                  <a:lnTo>
                    <a:pt x="3334" y="176"/>
                  </a:lnTo>
                  <a:lnTo>
                    <a:pt x="3330" y="176"/>
                  </a:lnTo>
                  <a:lnTo>
                    <a:pt x="3330" y="176"/>
                  </a:lnTo>
                  <a:lnTo>
                    <a:pt x="3330" y="181"/>
                  </a:lnTo>
                  <a:lnTo>
                    <a:pt x="3330" y="181"/>
                  </a:lnTo>
                  <a:lnTo>
                    <a:pt x="3330" y="181"/>
                  </a:lnTo>
                  <a:lnTo>
                    <a:pt x="3325" y="181"/>
                  </a:lnTo>
                  <a:lnTo>
                    <a:pt x="3325" y="181"/>
                  </a:lnTo>
                  <a:lnTo>
                    <a:pt x="3325" y="181"/>
                  </a:lnTo>
                  <a:lnTo>
                    <a:pt x="3325" y="181"/>
                  </a:lnTo>
                  <a:lnTo>
                    <a:pt x="3325" y="185"/>
                  </a:lnTo>
                  <a:lnTo>
                    <a:pt x="3330" y="185"/>
                  </a:lnTo>
                  <a:close/>
                  <a:moveTo>
                    <a:pt x="2950" y="271"/>
                  </a:moveTo>
                  <a:lnTo>
                    <a:pt x="2950" y="267"/>
                  </a:lnTo>
                  <a:lnTo>
                    <a:pt x="2955" y="267"/>
                  </a:lnTo>
                  <a:lnTo>
                    <a:pt x="2955" y="267"/>
                  </a:lnTo>
                  <a:lnTo>
                    <a:pt x="2955" y="267"/>
                  </a:lnTo>
                  <a:lnTo>
                    <a:pt x="2955" y="267"/>
                  </a:lnTo>
                  <a:lnTo>
                    <a:pt x="2959" y="267"/>
                  </a:lnTo>
                  <a:lnTo>
                    <a:pt x="2959" y="262"/>
                  </a:lnTo>
                  <a:lnTo>
                    <a:pt x="2959" y="262"/>
                  </a:lnTo>
                  <a:lnTo>
                    <a:pt x="2959" y="262"/>
                  </a:lnTo>
                  <a:lnTo>
                    <a:pt x="2964" y="262"/>
                  </a:lnTo>
                  <a:lnTo>
                    <a:pt x="2964" y="262"/>
                  </a:lnTo>
                  <a:lnTo>
                    <a:pt x="2964" y="262"/>
                  </a:lnTo>
                  <a:lnTo>
                    <a:pt x="2964" y="258"/>
                  </a:lnTo>
                  <a:lnTo>
                    <a:pt x="2964" y="258"/>
                  </a:lnTo>
                  <a:lnTo>
                    <a:pt x="2964" y="262"/>
                  </a:lnTo>
                  <a:lnTo>
                    <a:pt x="2959" y="262"/>
                  </a:lnTo>
                  <a:lnTo>
                    <a:pt x="2959" y="258"/>
                  </a:lnTo>
                  <a:lnTo>
                    <a:pt x="2959" y="258"/>
                  </a:lnTo>
                  <a:lnTo>
                    <a:pt x="2959" y="258"/>
                  </a:lnTo>
                  <a:lnTo>
                    <a:pt x="2959" y="258"/>
                  </a:lnTo>
                  <a:lnTo>
                    <a:pt x="2959" y="258"/>
                  </a:lnTo>
                  <a:lnTo>
                    <a:pt x="2959" y="258"/>
                  </a:lnTo>
                  <a:lnTo>
                    <a:pt x="2959" y="258"/>
                  </a:lnTo>
                  <a:lnTo>
                    <a:pt x="2959" y="258"/>
                  </a:lnTo>
                  <a:lnTo>
                    <a:pt x="2955" y="258"/>
                  </a:lnTo>
                  <a:lnTo>
                    <a:pt x="2955" y="262"/>
                  </a:lnTo>
                  <a:lnTo>
                    <a:pt x="2955" y="262"/>
                  </a:lnTo>
                  <a:lnTo>
                    <a:pt x="2955" y="262"/>
                  </a:lnTo>
                  <a:lnTo>
                    <a:pt x="2955" y="262"/>
                  </a:lnTo>
                  <a:lnTo>
                    <a:pt x="2955" y="262"/>
                  </a:lnTo>
                  <a:lnTo>
                    <a:pt x="2955" y="267"/>
                  </a:lnTo>
                  <a:lnTo>
                    <a:pt x="2955" y="262"/>
                  </a:lnTo>
                  <a:lnTo>
                    <a:pt x="2950" y="262"/>
                  </a:lnTo>
                  <a:lnTo>
                    <a:pt x="2950" y="267"/>
                  </a:lnTo>
                  <a:lnTo>
                    <a:pt x="2950" y="267"/>
                  </a:lnTo>
                  <a:lnTo>
                    <a:pt x="2950" y="267"/>
                  </a:lnTo>
                  <a:lnTo>
                    <a:pt x="2950" y="267"/>
                  </a:lnTo>
                  <a:lnTo>
                    <a:pt x="2950" y="267"/>
                  </a:lnTo>
                  <a:lnTo>
                    <a:pt x="2950" y="267"/>
                  </a:lnTo>
                  <a:lnTo>
                    <a:pt x="2950" y="267"/>
                  </a:lnTo>
                  <a:lnTo>
                    <a:pt x="2946" y="267"/>
                  </a:lnTo>
                  <a:lnTo>
                    <a:pt x="2946" y="267"/>
                  </a:lnTo>
                  <a:lnTo>
                    <a:pt x="2946" y="267"/>
                  </a:lnTo>
                  <a:lnTo>
                    <a:pt x="2950" y="271"/>
                  </a:lnTo>
                  <a:close/>
                  <a:moveTo>
                    <a:pt x="2557" y="353"/>
                  </a:moveTo>
                  <a:lnTo>
                    <a:pt x="2562" y="353"/>
                  </a:lnTo>
                  <a:lnTo>
                    <a:pt x="2562" y="353"/>
                  </a:lnTo>
                  <a:lnTo>
                    <a:pt x="2562" y="353"/>
                  </a:lnTo>
                  <a:lnTo>
                    <a:pt x="2562" y="348"/>
                  </a:lnTo>
                  <a:lnTo>
                    <a:pt x="2562" y="348"/>
                  </a:lnTo>
                  <a:lnTo>
                    <a:pt x="2557" y="348"/>
                  </a:lnTo>
                  <a:lnTo>
                    <a:pt x="2557" y="348"/>
                  </a:lnTo>
                  <a:lnTo>
                    <a:pt x="2557" y="348"/>
                  </a:lnTo>
                  <a:lnTo>
                    <a:pt x="2562" y="348"/>
                  </a:lnTo>
                  <a:lnTo>
                    <a:pt x="2562" y="348"/>
                  </a:lnTo>
                  <a:lnTo>
                    <a:pt x="2562" y="348"/>
                  </a:lnTo>
                  <a:lnTo>
                    <a:pt x="2562" y="348"/>
                  </a:lnTo>
                  <a:lnTo>
                    <a:pt x="2557" y="348"/>
                  </a:lnTo>
                  <a:lnTo>
                    <a:pt x="2557" y="348"/>
                  </a:lnTo>
                  <a:lnTo>
                    <a:pt x="2557" y="344"/>
                  </a:lnTo>
                  <a:lnTo>
                    <a:pt x="2557" y="344"/>
                  </a:lnTo>
                  <a:lnTo>
                    <a:pt x="2562" y="344"/>
                  </a:lnTo>
                  <a:lnTo>
                    <a:pt x="2562" y="344"/>
                  </a:lnTo>
                  <a:lnTo>
                    <a:pt x="2562" y="344"/>
                  </a:lnTo>
                  <a:lnTo>
                    <a:pt x="2562" y="344"/>
                  </a:lnTo>
                  <a:lnTo>
                    <a:pt x="2562" y="344"/>
                  </a:lnTo>
                  <a:lnTo>
                    <a:pt x="2562" y="344"/>
                  </a:lnTo>
                  <a:lnTo>
                    <a:pt x="2562" y="344"/>
                  </a:lnTo>
                  <a:lnTo>
                    <a:pt x="2557" y="344"/>
                  </a:lnTo>
                  <a:lnTo>
                    <a:pt x="2557" y="339"/>
                  </a:lnTo>
                  <a:lnTo>
                    <a:pt x="2557" y="339"/>
                  </a:lnTo>
                  <a:lnTo>
                    <a:pt x="2557" y="339"/>
                  </a:lnTo>
                  <a:lnTo>
                    <a:pt x="2552" y="339"/>
                  </a:lnTo>
                  <a:lnTo>
                    <a:pt x="2552" y="339"/>
                  </a:lnTo>
                  <a:lnTo>
                    <a:pt x="2552" y="339"/>
                  </a:lnTo>
                  <a:lnTo>
                    <a:pt x="2552" y="339"/>
                  </a:lnTo>
                  <a:lnTo>
                    <a:pt x="2552" y="339"/>
                  </a:lnTo>
                  <a:lnTo>
                    <a:pt x="2552" y="339"/>
                  </a:lnTo>
                  <a:lnTo>
                    <a:pt x="2552" y="339"/>
                  </a:lnTo>
                  <a:lnTo>
                    <a:pt x="2552" y="339"/>
                  </a:lnTo>
                  <a:lnTo>
                    <a:pt x="2552" y="339"/>
                  </a:lnTo>
                  <a:lnTo>
                    <a:pt x="2548" y="339"/>
                  </a:lnTo>
                  <a:lnTo>
                    <a:pt x="2548" y="339"/>
                  </a:lnTo>
                  <a:lnTo>
                    <a:pt x="2548" y="339"/>
                  </a:lnTo>
                  <a:lnTo>
                    <a:pt x="2548" y="335"/>
                  </a:lnTo>
                  <a:lnTo>
                    <a:pt x="2548" y="335"/>
                  </a:lnTo>
                  <a:lnTo>
                    <a:pt x="2548" y="335"/>
                  </a:lnTo>
                  <a:lnTo>
                    <a:pt x="2548" y="335"/>
                  </a:lnTo>
                  <a:lnTo>
                    <a:pt x="2548" y="335"/>
                  </a:lnTo>
                  <a:lnTo>
                    <a:pt x="2548" y="335"/>
                  </a:lnTo>
                  <a:lnTo>
                    <a:pt x="2548" y="330"/>
                  </a:lnTo>
                  <a:lnTo>
                    <a:pt x="2548" y="335"/>
                  </a:lnTo>
                  <a:lnTo>
                    <a:pt x="2548" y="330"/>
                  </a:lnTo>
                  <a:lnTo>
                    <a:pt x="2543" y="330"/>
                  </a:lnTo>
                  <a:lnTo>
                    <a:pt x="2543" y="330"/>
                  </a:lnTo>
                  <a:lnTo>
                    <a:pt x="2548" y="330"/>
                  </a:lnTo>
                  <a:lnTo>
                    <a:pt x="2548" y="330"/>
                  </a:lnTo>
                  <a:lnTo>
                    <a:pt x="2548" y="326"/>
                  </a:lnTo>
                  <a:lnTo>
                    <a:pt x="2552" y="326"/>
                  </a:lnTo>
                  <a:lnTo>
                    <a:pt x="2552" y="326"/>
                  </a:lnTo>
                  <a:lnTo>
                    <a:pt x="2552" y="326"/>
                  </a:lnTo>
                  <a:lnTo>
                    <a:pt x="2552" y="326"/>
                  </a:lnTo>
                  <a:lnTo>
                    <a:pt x="2548" y="326"/>
                  </a:lnTo>
                  <a:lnTo>
                    <a:pt x="2548" y="326"/>
                  </a:lnTo>
                  <a:lnTo>
                    <a:pt x="2543" y="330"/>
                  </a:lnTo>
                  <a:lnTo>
                    <a:pt x="2543" y="330"/>
                  </a:lnTo>
                  <a:lnTo>
                    <a:pt x="2543" y="330"/>
                  </a:lnTo>
                  <a:lnTo>
                    <a:pt x="2539" y="330"/>
                  </a:lnTo>
                  <a:lnTo>
                    <a:pt x="2539" y="330"/>
                  </a:lnTo>
                  <a:lnTo>
                    <a:pt x="2539" y="326"/>
                  </a:lnTo>
                  <a:lnTo>
                    <a:pt x="2539" y="326"/>
                  </a:lnTo>
                  <a:lnTo>
                    <a:pt x="2539" y="326"/>
                  </a:lnTo>
                  <a:lnTo>
                    <a:pt x="2539" y="326"/>
                  </a:lnTo>
                  <a:lnTo>
                    <a:pt x="2534" y="326"/>
                  </a:lnTo>
                  <a:lnTo>
                    <a:pt x="2534" y="321"/>
                  </a:lnTo>
                  <a:lnTo>
                    <a:pt x="2534" y="321"/>
                  </a:lnTo>
                  <a:lnTo>
                    <a:pt x="2530" y="326"/>
                  </a:lnTo>
                  <a:lnTo>
                    <a:pt x="2530" y="326"/>
                  </a:lnTo>
                  <a:lnTo>
                    <a:pt x="2530" y="326"/>
                  </a:lnTo>
                  <a:lnTo>
                    <a:pt x="2530" y="330"/>
                  </a:lnTo>
                  <a:lnTo>
                    <a:pt x="2530" y="330"/>
                  </a:lnTo>
                  <a:lnTo>
                    <a:pt x="2525" y="330"/>
                  </a:lnTo>
                  <a:lnTo>
                    <a:pt x="2525" y="330"/>
                  </a:lnTo>
                  <a:lnTo>
                    <a:pt x="2525" y="330"/>
                  </a:lnTo>
                  <a:lnTo>
                    <a:pt x="2525" y="330"/>
                  </a:lnTo>
                  <a:lnTo>
                    <a:pt x="2521" y="330"/>
                  </a:lnTo>
                  <a:lnTo>
                    <a:pt x="2521" y="330"/>
                  </a:lnTo>
                  <a:lnTo>
                    <a:pt x="2521" y="330"/>
                  </a:lnTo>
                  <a:lnTo>
                    <a:pt x="2521" y="330"/>
                  </a:lnTo>
                  <a:lnTo>
                    <a:pt x="2516" y="330"/>
                  </a:lnTo>
                  <a:lnTo>
                    <a:pt x="2516" y="330"/>
                  </a:lnTo>
                  <a:lnTo>
                    <a:pt x="2516" y="335"/>
                  </a:lnTo>
                  <a:lnTo>
                    <a:pt x="2516" y="335"/>
                  </a:lnTo>
                  <a:lnTo>
                    <a:pt x="2516" y="335"/>
                  </a:lnTo>
                  <a:lnTo>
                    <a:pt x="2516" y="335"/>
                  </a:lnTo>
                  <a:lnTo>
                    <a:pt x="2512" y="335"/>
                  </a:lnTo>
                  <a:lnTo>
                    <a:pt x="2512" y="330"/>
                  </a:lnTo>
                  <a:lnTo>
                    <a:pt x="2512" y="330"/>
                  </a:lnTo>
                  <a:lnTo>
                    <a:pt x="2507" y="330"/>
                  </a:lnTo>
                  <a:lnTo>
                    <a:pt x="2507" y="330"/>
                  </a:lnTo>
                  <a:lnTo>
                    <a:pt x="2507" y="330"/>
                  </a:lnTo>
                  <a:lnTo>
                    <a:pt x="2507" y="330"/>
                  </a:lnTo>
                  <a:lnTo>
                    <a:pt x="2507" y="335"/>
                  </a:lnTo>
                  <a:lnTo>
                    <a:pt x="2507" y="335"/>
                  </a:lnTo>
                  <a:lnTo>
                    <a:pt x="2507" y="335"/>
                  </a:lnTo>
                  <a:lnTo>
                    <a:pt x="2507" y="339"/>
                  </a:lnTo>
                  <a:lnTo>
                    <a:pt x="2507" y="339"/>
                  </a:lnTo>
                  <a:lnTo>
                    <a:pt x="2507" y="339"/>
                  </a:lnTo>
                  <a:lnTo>
                    <a:pt x="2507" y="339"/>
                  </a:lnTo>
                  <a:lnTo>
                    <a:pt x="2507" y="335"/>
                  </a:lnTo>
                  <a:lnTo>
                    <a:pt x="2503" y="335"/>
                  </a:lnTo>
                  <a:lnTo>
                    <a:pt x="2503" y="330"/>
                  </a:lnTo>
                  <a:lnTo>
                    <a:pt x="2503" y="330"/>
                  </a:lnTo>
                  <a:lnTo>
                    <a:pt x="2503" y="330"/>
                  </a:lnTo>
                  <a:lnTo>
                    <a:pt x="2498" y="330"/>
                  </a:lnTo>
                  <a:lnTo>
                    <a:pt x="2498" y="330"/>
                  </a:lnTo>
                  <a:lnTo>
                    <a:pt x="2498" y="330"/>
                  </a:lnTo>
                  <a:lnTo>
                    <a:pt x="2498" y="330"/>
                  </a:lnTo>
                  <a:lnTo>
                    <a:pt x="2494" y="330"/>
                  </a:lnTo>
                  <a:lnTo>
                    <a:pt x="2494" y="330"/>
                  </a:lnTo>
                  <a:lnTo>
                    <a:pt x="2494" y="330"/>
                  </a:lnTo>
                  <a:lnTo>
                    <a:pt x="2494" y="335"/>
                  </a:lnTo>
                  <a:lnTo>
                    <a:pt x="2489" y="335"/>
                  </a:lnTo>
                  <a:lnTo>
                    <a:pt x="2489" y="335"/>
                  </a:lnTo>
                  <a:lnTo>
                    <a:pt x="2489" y="335"/>
                  </a:lnTo>
                  <a:lnTo>
                    <a:pt x="2489" y="335"/>
                  </a:lnTo>
                  <a:lnTo>
                    <a:pt x="2489" y="335"/>
                  </a:lnTo>
                  <a:lnTo>
                    <a:pt x="2489" y="335"/>
                  </a:lnTo>
                  <a:lnTo>
                    <a:pt x="2489" y="335"/>
                  </a:lnTo>
                  <a:lnTo>
                    <a:pt x="2485" y="335"/>
                  </a:lnTo>
                  <a:lnTo>
                    <a:pt x="2485" y="330"/>
                  </a:lnTo>
                  <a:lnTo>
                    <a:pt x="2485" y="330"/>
                  </a:lnTo>
                  <a:lnTo>
                    <a:pt x="2485" y="330"/>
                  </a:lnTo>
                  <a:lnTo>
                    <a:pt x="2480" y="330"/>
                  </a:lnTo>
                  <a:lnTo>
                    <a:pt x="2480" y="330"/>
                  </a:lnTo>
                  <a:lnTo>
                    <a:pt x="2480" y="335"/>
                  </a:lnTo>
                  <a:lnTo>
                    <a:pt x="2480" y="335"/>
                  </a:lnTo>
                  <a:lnTo>
                    <a:pt x="2480" y="339"/>
                  </a:lnTo>
                  <a:lnTo>
                    <a:pt x="2480" y="339"/>
                  </a:lnTo>
                  <a:lnTo>
                    <a:pt x="2476" y="339"/>
                  </a:lnTo>
                  <a:lnTo>
                    <a:pt x="2476" y="339"/>
                  </a:lnTo>
                  <a:lnTo>
                    <a:pt x="2476" y="339"/>
                  </a:lnTo>
                  <a:lnTo>
                    <a:pt x="2476" y="339"/>
                  </a:lnTo>
                  <a:lnTo>
                    <a:pt x="2476" y="339"/>
                  </a:lnTo>
                  <a:lnTo>
                    <a:pt x="2476" y="339"/>
                  </a:lnTo>
                  <a:lnTo>
                    <a:pt x="2471" y="339"/>
                  </a:lnTo>
                  <a:lnTo>
                    <a:pt x="2471" y="339"/>
                  </a:lnTo>
                  <a:lnTo>
                    <a:pt x="2471" y="344"/>
                  </a:lnTo>
                  <a:lnTo>
                    <a:pt x="2471" y="344"/>
                  </a:lnTo>
                  <a:lnTo>
                    <a:pt x="2471" y="344"/>
                  </a:lnTo>
                  <a:lnTo>
                    <a:pt x="2471" y="344"/>
                  </a:lnTo>
                  <a:lnTo>
                    <a:pt x="2467" y="344"/>
                  </a:lnTo>
                  <a:lnTo>
                    <a:pt x="2467" y="344"/>
                  </a:lnTo>
                  <a:lnTo>
                    <a:pt x="2467" y="344"/>
                  </a:lnTo>
                  <a:lnTo>
                    <a:pt x="2467" y="344"/>
                  </a:lnTo>
                  <a:lnTo>
                    <a:pt x="2467" y="344"/>
                  </a:lnTo>
                  <a:lnTo>
                    <a:pt x="2467" y="344"/>
                  </a:lnTo>
                  <a:lnTo>
                    <a:pt x="2467" y="344"/>
                  </a:lnTo>
                  <a:lnTo>
                    <a:pt x="2467" y="344"/>
                  </a:lnTo>
                  <a:lnTo>
                    <a:pt x="2467" y="344"/>
                  </a:lnTo>
                  <a:lnTo>
                    <a:pt x="2467" y="339"/>
                  </a:lnTo>
                  <a:lnTo>
                    <a:pt x="2467" y="339"/>
                  </a:lnTo>
                  <a:lnTo>
                    <a:pt x="2467" y="339"/>
                  </a:lnTo>
                  <a:lnTo>
                    <a:pt x="2467" y="339"/>
                  </a:lnTo>
                  <a:lnTo>
                    <a:pt x="2467" y="339"/>
                  </a:lnTo>
                  <a:lnTo>
                    <a:pt x="2467" y="339"/>
                  </a:lnTo>
                  <a:lnTo>
                    <a:pt x="2467" y="339"/>
                  </a:lnTo>
                  <a:lnTo>
                    <a:pt x="2467" y="339"/>
                  </a:lnTo>
                  <a:lnTo>
                    <a:pt x="2462" y="339"/>
                  </a:lnTo>
                  <a:lnTo>
                    <a:pt x="2462" y="335"/>
                  </a:lnTo>
                  <a:lnTo>
                    <a:pt x="2467" y="339"/>
                  </a:lnTo>
                  <a:lnTo>
                    <a:pt x="2467" y="339"/>
                  </a:lnTo>
                  <a:lnTo>
                    <a:pt x="2467" y="335"/>
                  </a:lnTo>
                  <a:lnTo>
                    <a:pt x="2467" y="335"/>
                  </a:lnTo>
                  <a:lnTo>
                    <a:pt x="2467" y="335"/>
                  </a:lnTo>
                  <a:lnTo>
                    <a:pt x="2467" y="335"/>
                  </a:lnTo>
                  <a:lnTo>
                    <a:pt x="2467" y="335"/>
                  </a:lnTo>
                  <a:lnTo>
                    <a:pt x="2467" y="330"/>
                  </a:lnTo>
                  <a:lnTo>
                    <a:pt x="2467" y="330"/>
                  </a:lnTo>
                  <a:lnTo>
                    <a:pt x="2467" y="330"/>
                  </a:lnTo>
                  <a:lnTo>
                    <a:pt x="2467" y="330"/>
                  </a:lnTo>
                  <a:lnTo>
                    <a:pt x="2467" y="330"/>
                  </a:lnTo>
                  <a:lnTo>
                    <a:pt x="2462" y="326"/>
                  </a:lnTo>
                  <a:lnTo>
                    <a:pt x="2462" y="326"/>
                  </a:lnTo>
                  <a:lnTo>
                    <a:pt x="2462" y="326"/>
                  </a:lnTo>
                  <a:lnTo>
                    <a:pt x="2462" y="326"/>
                  </a:lnTo>
                  <a:lnTo>
                    <a:pt x="2458" y="326"/>
                  </a:lnTo>
                  <a:lnTo>
                    <a:pt x="2458" y="326"/>
                  </a:lnTo>
                  <a:lnTo>
                    <a:pt x="2458" y="321"/>
                  </a:lnTo>
                  <a:lnTo>
                    <a:pt x="2453" y="321"/>
                  </a:lnTo>
                  <a:lnTo>
                    <a:pt x="2453" y="321"/>
                  </a:lnTo>
                  <a:lnTo>
                    <a:pt x="2453" y="321"/>
                  </a:lnTo>
                  <a:lnTo>
                    <a:pt x="2449" y="326"/>
                  </a:lnTo>
                  <a:lnTo>
                    <a:pt x="2449" y="326"/>
                  </a:lnTo>
                  <a:lnTo>
                    <a:pt x="2449" y="326"/>
                  </a:lnTo>
                  <a:lnTo>
                    <a:pt x="2449" y="326"/>
                  </a:lnTo>
                  <a:lnTo>
                    <a:pt x="2453" y="326"/>
                  </a:lnTo>
                  <a:lnTo>
                    <a:pt x="2453" y="326"/>
                  </a:lnTo>
                  <a:lnTo>
                    <a:pt x="2453" y="326"/>
                  </a:lnTo>
                  <a:lnTo>
                    <a:pt x="2453" y="326"/>
                  </a:lnTo>
                  <a:lnTo>
                    <a:pt x="2458" y="326"/>
                  </a:lnTo>
                  <a:lnTo>
                    <a:pt x="2458" y="326"/>
                  </a:lnTo>
                  <a:lnTo>
                    <a:pt x="2458" y="326"/>
                  </a:lnTo>
                  <a:lnTo>
                    <a:pt x="2453" y="326"/>
                  </a:lnTo>
                  <a:lnTo>
                    <a:pt x="2453" y="326"/>
                  </a:lnTo>
                  <a:lnTo>
                    <a:pt x="2449" y="326"/>
                  </a:lnTo>
                  <a:lnTo>
                    <a:pt x="2449" y="326"/>
                  </a:lnTo>
                  <a:lnTo>
                    <a:pt x="2453" y="330"/>
                  </a:lnTo>
                  <a:lnTo>
                    <a:pt x="2453" y="330"/>
                  </a:lnTo>
                  <a:lnTo>
                    <a:pt x="2458" y="330"/>
                  </a:lnTo>
                  <a:lnTo>
                    <a:pt x="2458" y="330"/>
                  </a:lnTo>
                  <a:lnTo>
                    <a:pt x="2458" y="330"/>
                  </a:lnTo>
                  <a:lnTo>
                    <a:pt x="2453" y="335"/>
                  </a:lnTo>
                  <a:lnTo>
                    <a:pt x="2453" y="335"/>
                  </a:lnTo>
                  <a:lnTo>
                    <a:pt x="2453" y="335"/>
                  </a:lnTo>
                  <a:lnTo>
                    <a:pt x="2453" y="335"/>
                  </a:lnTo>
                  <a:lnTo>
                    <a:pt x="2453" y="335"/>
                  </a:lnTo>
                  <a:lnTo>
                    <a:pt x="2453" y="335"/>
                  </a:lnTo>
                  <a:lnTo>
                    <a:pt x="2453" y="330"/>
                  </a:lnTo>
                  <a:lnTo>
                    <a:pt x="2453" y="330"/>
                  </a:lnTo>
                  <a:lnTo>
                    <a:pt x="2453" y="330"/>
                  </a:lnTo>
                  <a:lnTo>
                    <a:pt x="2453" y="330"/>
                  </a:lnTo>
                  <a:lnTo>
                    <a:pt x="2449" y="330"/>
                  </a:lnTo>
                  <a:lnTo>
                    <a:pt x="2449" y="330"/>
                  </a:lnTo>
                  <a:lnTo>
                    <a:pt x="2449" y="330"/>
                  </a:lnTo>
                  <a:lnTo>
                    <a:pt x="2449" y="330"/>
                  </a:lnTo>
                  <a:lnTo>
                    <a:pt x="2449" y="330"/>
                  </a:lnTo>
                  <a:lnTo>
                    <a:pt x="2449" y="330"/>
                  </a:lnTo>
                  <a:lnTo>
                    <a:pt x="2449" y="330"/>
                  </a:lnTo>
                  <a:lnTo>
                    <a:pt x="2449" y="330"/>
                  </a:lnTo>
                  <a:lnTo>
                    <a:pt x="2444" y="330"/>
                  </a:lnTo>
                  <a:lnTo>
                    <a:pt x="2444" y="326"/>
                  </a:lnTo>
                  <a:lnTo>
                    <a:pt x="2444" y="326"/>
                  </a:lnTo>
                  <a:lnTo>
                    <a:pt x="2444" y="330"/>
                  </a:lnTo>
                  <a:lnTo>
                    <a:pt x="2444" y="330"/>
                  </a:lnTo>
                  <a:lnTo>
                    <a:pt x="2444" y="330"/>
                  </a:lnTo>
                  <a:lnTo>
                    <a:pt x="2444" y="330"/>
                  </a:lnTo>
                  <a:lnTo>
                    <a:pt x="2444" y="330"/>
                  </a:lnTo>
                  <a:lnTo>
                    <a:pt x="2444" y="330"/>
                  </a:lnTo>
                  <a:lnTo>
                    <a:pt x="2444" y="330"/>
                  </a:lnTo>
                  <a:lnTo>
                    <a:pt x="2444" y="330"/>
                  </a:lnTo>
                  <a:lnTo>
                    <a:pt x="2440" y="330"/>
                  </a:lnTo>
                  <a:lnTo>
                    <a:pt x="2440" y="330"/>
                  </a:lnTo>
                  <a:lnTo>
                    <a:pt x="2440" y="330"/>
                  </a:lnTo>
                  <a:lnTo>
                    <a:pt x="2440" y="330"/>
                  </a:lnTo>
                  <a:lnTo>
                    <a:pt x="2440" y="330"/>
                  </a:lnTo>
                  <a:lnTo>
                    <a:pt x="2440" y="330"/>
                  </a:lnTo>
                  <a:lnTo>
                    <a:pt x="2440" y="335"/>
                  </a:lnTo>
                  <a:lnTo>
                    <a:pt x="2440" y="335"/>
                  </a:lnTo>
                  <a:lnTo>
                    <a:pt x="2440" y="335"/>
                  </a:lnTo>
                  <a:lnTo>
                    <a:pt x="2440" y="335"/>
                  </a:lnTo>
                  <a:lnTo>
                    <a:pt x="2440" y="335"/>
                  </a:lnTo>
                  <a:lnTo>
                    <a:pt x="2440" y="335"/>
                  </a:lnTo>
                  <a:lnTo>
                    <a:pt x="2440" y="335"/>
                  </a:lnTo>
                  <a:lnTo>
                    <a:pt x="2444" y="335"/>
                  </a:lnTo>
                  <a:lnTo>
                    <a:pt x="2444" y="335"/>
                  </a:lnTo>
                  <a:lnTo>
                    <a:pt x="2444" y="335"/>
                  </a:lnTo>
                  <a:lnTo>
                    <a:pt x="2440" y="335"/>
                  </a:lnTo>
                  <a:lnTo>
                    <a:pt x="2440" y="339"/>
                  </a:lnTo>
                  <a:lnTo>
                    <a:pt x="2435" y="335"/>
                  </a:lnTo>
                  <a:lnTo>
                    <a:pt x="2435" y="335"/>
                  </a:lnTo>
                  <a:lnTo>
                    <a:pt x="2435" y="335"/>
                  </a:lnTo>
                  <a:lnTo>
                    <a:pt x="2435" y="335"/>
                  </a:lnTo>
                  <a:lnTo>
                    <a:pt x="2435" y="335"/>
                  </a:lnTo>
                  <a:lnTo>
                    <a:pt x="2435" y="335"/>
                  </a:lnTo>
                  <a:lnTo>
                    <a:pt x="2435" y="339"/>
                  </a:lnTo>
                  <a:lnTo>
                    <a:pt x="2435" y="339"/>
                  </a:lnTo>
                  <a:lnTo>
                    <a:pt x="2435" y="339"/>
                  </a:lnTo>
                  <a:lnTo>
                    <a:pt x="2435" y="339"/>
                  </a:lnTo>
                  <a:lnTo>
                    <a:pt x="2431" y="339"/>
                  </a:lnTo>
                  <a:lnTo>
                    <a:pt x="2431" y="339"/>
                  </a:lnTo>
                  <a:lnTo>
                    <a:pt x="2431" y="339"/>
                  </a:lnTo>
                  <a:lnTo>
                    <a:pt x="2426" y="339"/>
                  </a:lnTo>
                  <a:lnTo>
                    <a:pt x="2426" y="339"/>
                  </a:lnTo>
                  <a:lnTo>
                    <a:pt x="2431" y="339"/>
                  </a:lnTo>
                  <a:lnTo>
                    <a:pt x="2435" y="339"/>
                  </a:lnTo>
                  <a:lnTo>
                    <a:pt x="2435" y="344"/>
                  </a:lnTo>
                  <a:lnTo>
                    <a:pt x="2435" y="344"/>
                  </a:lnTo>
                  <a:lnTo>
                    <a:pt x="2440" y="339"/>
                  </a:lnTo>
                  <a:lnTo>
                    <a:pt x="2444" y="339"/>
                  </a:lnTo>
                  <a:lnTo>
                    <a:pt x="2449" y="339"/>
                  </a:lnTo>
                  <a:lnTo>
                    <a:pt x="2449" y="339"/>
                  </a:lnTo>
                  <a:lnTo>
                    <a:pt x="2449" y="339"/>
                  </a:lnTo>
                  <a:lnTo>
                    <a:pt x="2453" y="339"/>
                  </a:lnTo>
                  <a:lnTo>
                    <a:pt x="2453" y="339"/>
                  </a:lnTo>
                  <a:lnTo>
                    <a:pt x="2458" y="339"/>
                  </a:lnTo>
                  <a:lnTo>
                    <a:pt x="2458" y="344"/>
                  </a:lnTo>
                  <a:lnTo>
                    <a:pt x="2458" y="344"/>
                  </a:lnTo>
                  <a:lnTo>
                    <a:pt x="2458" y="344"/>
                  </a:lnTo>
                  <a:lnTo>
                    <a:pt x="2453" y="344"/>
                  </a:lnTo>
                  <a:lnTo>
                    <a:pt x="2453" y="344"/>
                  </a:lnTo>
                  <a:lnTo>
                    <a:pt x="2449" y="344"/>
                  </a:lnTo>
                  <a:lnTo>
                    <a:pt x="2449" y="348"/>
                  </a:lnTo>
                  <a:lnTo>
                    <a:pt x="2453" y="348"/>
                  </a:lnTo>
                  <a:lnTo>
                    <a:pt x="2453" y="348"/>
                  </a:lnTo>
                  <a:lnTo>
                    <a:pt x="2458" y="348"/>
                  </a:lnTo>
                  <a:lnTo>
                    <a:pt x="2458" y="348"/>
                  </a:lnTo>
                  <a:lnTo>
                    <a:pt x="2458" y="348"/>
                  </a:lnTo>
                  <a:lnTo>
                    <a:pt x="2458" y="348"/>
                  </a:lnTo>
                  <a:lnTo>
                    <a:pt x="2458" y="348"/>
                  </a:lnTo>
                  <a:lnTo>
                    <a:pt x="2458" y="348"/>
                  </a:lnTo>
                  <a:lnTo>
                    <a:pt x="2453" y="348"/>
                  </a:lnTo>
                  <a:lnTo>
                    <a:pt x="2449" y="348"/>
                  </a:lnTo>
                  <a:lnTo>
                    <a:pt x="2449" y="348"/>
                  </a:lnTo>
                  <a:lnTo>
                    <a:pt x="2449" y="348"/>
                  </a:lnTo>
                  <a:lnTo>
                    <a:pt x="2444" y="348"/>
                  </a:lnTo>
                  <a:lnTo>
                    <a:pt x="2444" y="348"/>
                  </a:lnTo>
                  <a:lnTo>
                    <a:pt x="2444" y="348"/>
                  </a:lnTo>
                  <a:lnTo>
                    <a:pt x="2444" y="348"/>
                  </a:lnTo>
                  <a:lnTo>
                    <a:pt x="2440" y="353"/>
                  </a:lnTo>
                  <a:lnTo>
                    <a:pt x="2440" y="348"/>
                  </a:lnTo>
                  <a:lnTo>
                    <a:pt x="2440" y="348"/>
                  </a:lnTo>
                  <a:lnTo>
                    <a:pt x="2440" y="348"/>
                  </a:lnTo>
                  <a:lnTo>
                    <a:pt x="2440" y="353"/>
                  </a:lnTo>
                  <a:lnTo>
                    <a:pt x="2440" y="353"/>
                  </a:lnTo>
                  <a:lnTo>
                    <a:pt x="2435" y="353"/>
                  </a:lnTo>
                  <a:lnTo>
                    <a:pt x="2435" y="353"/>
                  </a:lnTo>
                  <a:lnTo>
                    <a:pt x="2431" y="353"/>
                  </a:lnTo>
                  <a:lnTo>
                    <a:pt x="2431" y="353"/>
                  </a:lnTo>
                  <a:lnTo>
                    <a:pt x="2431" y="353"/>
                  </a:lnTo>
                  <a:lnTo>
                    <a:pt x="2431" y="353"/>
                  </a:lnTo>
                  <a:lnTo>
                    <a:pt x="2431" y="353"/>
                  </a:lnTo>
                  <a:lnTo>
                    <a:pt x="2431" y="353"/>
                  </a:lnTo>
                  <a:lnTo>
                    <a:pt x="2431" y="353"/>
                  </a:lnTo>
                  <a:lnTo>
                    <a:pt x="2431" y="353"/>
                  </a:lnTo>
                  <a:lnTo>
                    <a:pt x="2435" y="353"/>
                  </a:lnTo>
                  <a:lnTo>
                    <a:pt x="2435" y="353"/>
                  </a:lnTo>
                  <a:lnTo>
                    <a:pt x="2440" y="353"/>
                  </a:lnTo>
                  <a:lnTo>
                    <a:pt x="2444" y="353"/>
                  </a:lnTo>
                  <a:lnTo>
                    <a:pt x="2449" y="353"/>
                  </a:lnTo>
                  <a:lnTo>
                    <a:pt x="2449" y="357"/>
                  </a:lnTo>
                  <a:lnTo>
                    <a:pt x="2449" y="357"/>
                  </a:lnTo>
                  <a:lnTo>
                    <a:pt x="2449" y="357"/>
                  </a:lnTo>
                  <a:lnTo>
                    <a:pt x="2449" y="357"/>
                  </a:lnTo>
                  <a:lnTo>
                    <a:pt x="2449" y="357"/>
                  </a:lnTo>
                  <a:lnTo>
                    <a:pt x="2449" y="357"/>
                  </a:lnTo>
                  <a:lnTo>
                    <a:pt x="2449" y="357"/>
                  </a:lnTo>
                  <a:lnTo>
                    <a:pt x="2449" y="357"/>
                  </a:lnTo>
                  <a:lnTo>
                    <a:pt x="2453" y="357"/>
                  </a:lnTo>
                  <a:lnTo>
                    <a:pt x="2453" y="357"/>
                  </a:lnTo>
                  <a:lnTo>
                    <a:pt x="2458" y="357"/>
                  </a:lnTo>
                  <a:lnTo>
                    <a:pt x="2458" y="357"/>
                  </a:lnTo>
                  <a:lnTo>
                    <a:pt x="2458" y="357"/>
                  </a:lnTo>
                  <a:lnTo>
                    <a:pt x="2458" y="357"/>
                  </a:lnTo>
                  <a:lnTo>
                    <a:pt x="2458" y="357"/>
                  </a:lnTo>
                  <a:lnTo>
                    <a:pt x="2453" y="357"/>
                  </a:lnTo>
                  <a:lnTo>
                    <a:pt x="2453" y="362"/>
                  </a:lnTo>
                  <a:lnTo>
                    <a:pt x="2453" y="362"/>
                  </a:lnTo>
                  <a:lnTo>
                    <a:pt x="2453" y="362"/>
                  </a:lnTo>
                  <a:lnTo>
                    <a:pt x="2453" y="362"/>
                  </a:lnTo>
                  <a:lnTo>
                    <a:pt x="2453" y="362"/>
                  </a:lnTo>
                  <a:lnTo>
                    <a:pt x="2453" y="362"/>
                  </a:lnTo>
                  <a:lnTo>
                    <a:pt x="2449" y="362"/>
                  </a:lnTo>
                  <a:lnTo>
                    <a:pt x="2453" y="362"/>
                  </a:lnTo>
                  <a:lnTo>
                    <a:pt x="2458" y="362"/>
                  </a:lnTo>
                  <a:lnTo>
                    <a:pt x="2458" y="362"/>
                  </a:lnTo>
                  <a:lnTo>
                    <a:pt x="2458" y="362"/>
                  </a:lnTo>
                  <a:lnTo>
                    <a:pt x="2458" y="362"/>
                  </a:lnTo>
                  <a:lnTo>
                    <a:pt x="2458" y="362"/>
                  </a:lnTo>
                  <a:lnTo>
                    <a:pt x="2453" y="362"/>
                  </a:lnTo>
                  <a:lnTo>
                    <a:pt x="2453" y="362"/>
                  </a:lnTo>
                  <a:lnTo>
                    <a:pt x="2453" y="366"/>
                  </a:lnTo>
                  <a:lnTo>
                    <a:pt x="2453" y="366"/>
                  </a:lnTo>
                  <a:lnTo>
                    <a:pt x="2453" y="366"/>
                  </a:lnTo>
                  <a:lnTo>
                    <a:pt x="2449" y="366"/>
                  </a:lnTo>
                  <a:lnTo>
                    <a:pt x="2449" y="366"/>
                  </a:lnTo>
                  <a:lnTo>
                    <a:pt x="2449" y="366"/>
                  </a:lnTo>
                  <a:lnTo>
                    <a:pt x="2444" y="371"/>
                  </a:lnTo>
                  <a:lnTo>
                    <a:pt x="2444" y="371"/>
                  </a:lnTo>
                  <a:lnTo>
                    <a:pt x="2444" y="366"/>
                  </a:lnTo>
                  <a:lnTo>
                    <a:pt x="2444" y="366"/>
                  </a:lnTo>
                  <a:lnTo>
                    <a:pt x="2440" y="366"/>
                  </a:lnTo>
                  <a:lnTo>
                    <a:pt x="2440" y="366"/>
                  </a:lnTo>
                  <a:lnTo>
                    <a:pt x="2440" y="366"/>
                  </a:lnTo>
                  <a:lnTo>
                    <a:pt x="2440" y="371"/>
                  </a:lnTo>
                  <a:lnTo>
                    <a:pt x="2440" y="371"/>
                  </a:lnTo>
                  <a:lnTo>
                    <a:pt x="2440" y="371"/>
                  </a:lnTo>
                  <a:lnTo>
                    <a:pt x="2440" y="371"/>
                  </a:lnTo>
                  <a:lnTo>
                    <a:pt x="2444" y="371"/>
                  </a:lnTo>
                  <a:lnTo>
                    <a:pt x="2458" y="371"/>
                  </a:lnTo>
                  <a:lnTo>
                    <a:pt x="2458" y="371"/>
                  </a:lnTo>
                  <a:lnTo>
                    <a:pt x="2458" y="371"/>
                  </a:lnTo>
                  <a:lnTo>
                    <a:pt x="2462" y="371"/>
                  </a:lnTo>
                  <a:lnTo>
                    <a:pt x="2462" y="371"/>
                  </a:lnTo>
                  <a:lnTo>
                    <a:pt x="2462" y="371"/>
                  </a:lnTo>
                  <a:lnTo>
                    <a:pt x="2462" y="371"/>
                  </a:lnTo>
                  <a:lnTo>
                    <a:pt x="2462" y="371"/>
                  </a:lnTo>
                  <a:lnTo>
                    <a:pt x="2462" y="371"/>
                  </a:lnTo>
                  <a:lnTo>
                    <a:pt x="2462" y="371"/>
                  </a:lnTo>
                  <a:lnTo>
                    <a:pt x="2467" y="375"/>
                  </a:lnTo>
                  <a:lnTo>
                    <a:pt x="2467" y="375"/>
                  </a:lnTo>
                  <a:lnTo>
                    <a:pt x="2467" y="375"/>
                  </a:lnTo>
                  <a:lnTo>
                    <a:pt x="2467" y="375"/>
                  </a:lnTo>
                  <a:lnTo>
                    <a:pt x="2467" y="375"/>
                  </a:lnTo>
                  <a:lnTo>
                    <a:pt x="2467" y="375"/>
                  </a:lnTo>
                  <a:lnTo>
                    <a:pt x="2471" y="375"/>
                  </a:lnTo>
                  <a:lnTo>
                    <a:pt x="2471" y="375"/>
                  </a:lnTo>
                  <a:lnTo>
                    <a:pt x="2467" y="375"/>
                  </a:lnTo>
                  <a:lnTo>
                    <a:pt x="2467" y="375"/>
                  </a:lnTo>
                  <a:lnTo>
                    <a:pt x="2467" y="375"/>
                  </a:lnTo>
                  <a:lnTo>
                    <a:pt x="2467" y="375"/>
                  </a:lnTo>
                  <a:lnTo>
                    <a:pt x="2467" y="375"/>
                  </a:lnTo>
                  <a:lnTo>
                    <a:pt x="2467" y="375"/>
                  </a:lnTo>
                  <a:lnTo>
                    <a:pt x="2471" y="380"/>
                  </a:lnTo>
                  <a:lnTo>
                    <a:pt x="2471" y="380"/>
                  </a:lnTo>
                  <a:lnTo>
                    <a:pt x="2476" y="380"/>
                  </a:lnTo>
                  <a:lnTo>
                    <a:pt x="2480" y="380"/>
                  </a:lnTo>
                  <a:lnTo>
                    <a:pt x="2480" y="380"/>
                  </a:lnTo>
                  <a:lnTo>
                    <a:pt x="2489" y="380"/>
                  </a:lnTo>
                  <a:lnTo>
                    <a:pt x="2494" y="380"/>
                  </a:lnTo>
                  <a:lnTo>
                    <a:pt x="2494" y="380"/>
                  </a:lnTo>
                  <a:lnTo>
                    <a:pt x="2494" y="380"/>
                  </a:lnTo>
                  <a:lnTo>
                    <a:pt x="2494" y="380"/>
                  </a:lnTo>
                  <a:lnTo>
                    <a:pt x="2494" y="380"/>
                  </a:lnTo>
                  <a:lnTo>
                    <a:pt x="2494" y="380"/>
                  </a:lnTo>
                  <a:lnTo>
                    <a:pt x="2494" y="380"/>
                  </a:lnTo>
                  <a:lnTo>
                    <a:pt x="2498" y="380"/>
                  </a:lnTo>
                  <a:lnTo>
                    <a:pt x="2498" y="380"/>
                  </a:lnTo>
                  <a:lnTo>
                    <a:pt x="2498" y="380"/>
                  </a:lnTo>
                  <a:lnTo>
                    <a:pt x="2498" y="375"/>
                  </a:lnTo>
                  <a:lnTo>
                    <a:pt x="2498" y="375"/>
                  </a:lnTo>
                  <a:lnTo>
                    <a:pt x="2498" y="375"/>
                  </a:lnTo>
                  <a:lnTo>
                    <a:pt x="2498" y="375"/>
                  </a:lnTo>
                  <a:lnTo>
                    <a:pt x="2503" y="375"/>
                  </a:lnTo>
                  <a:lnTo>
                    <a:pt x="2503" y="375"/>
                  </a:lnTo>
                  <a:lnTo>
                    <a:pt x="2512" y="375"/>
                  </a:lnTo>
                  <a:lnTo>
                    <a:pt x="2512" y="375"/>
                  </a:lnTo>
                  <a:lnTo>
                    <a:pt x="2516" y="375"/>
                  </a:lnTo>
                  <a:lnTo>
                    <a:pt x="2516" y="371"/>
                  </a:lnTo>
                  <a:lnTo>
                    <a:pt x="2521" y="371"/>
                  </a:lnTo>
                  <a:lnTo>
                    <a:pt x="2521" y="371"/>
                  </a:lnTo>
                  <a:lnTo>
                    <a:pt x="2525" y="366"/>
                  </a:lnTo>
                  <a:lnTo>
                    <a:pt x="2530" y="366"/>
                  </a:lnTo>
                  <a:lnTo>
                    <a:pt x="2534" y="366"/>
                  </a:lnTo>
                  <a:lnTo>
                    <a:pt x="2534" y="366"/>
                  </a:lnTo>
                  <a:lnTo>
                    <a:pt x="2539" y="366"/>
                  </a:lnTo>
                  <a:lnTo>
                    <a:pt x="2539" y="366"/>
                  </a:lnTo>
                  <a:lnTo>
                    <a:pt x="2543" y="362"/>
                  </a:lnTo>
                  <a:lnTo>
                    <a:pt x="2543" y="362"/>
                  </a:lnTo>
                  <a:lnTo>
                    <a:pt x="2543" y="362"/>
                  </a:lnTo>
                  <a:lnTo>
                    <a:pt x="2548" y="362"/>
                  </a:lnTo>
                  <a:lnTo>
                    <a:pt x="2548" y="362"/>
                  </a:lnTo>
                  <a:lnTo>
                    <a:pt x="2548" y="362"/>
                  </a:lnTo>
                  <a:lnTo>
                    <a:pt x="2548" y="362"/>
                  </a:lnTo>
                  <a:lnTo>
                    <a:pt x="2548" y="357"/>
                  </a:lnTo>
                  <a:lnTo>
                    <a:pt x="2548" y="357"/>
                  </a:lnTo>
                  <a:lnTo>
                    <a:pt x="2548" y="357"/>
                  </a:lnTo>
                  <a:lnTo>
                    <a:pt x="2548" y="357"/>
                  </a:lnTo>
                  <a:lnTo>
                    <a:pt x="2552" y="357"/>
                  </a:lnTo>
                  <a:lnTo>
                    <a:pt x="2552" y="357"/>
                  </a:lnTo>
                  <a:lnTo>
                    <a:pt x="2552" y="357"/>
                  </a:lnTo>
                  <a:lnTo>
                    <a:pt x="2557" y="353"/>
                  </a:lnTo>
                  <a:lnTo>
                    <a:pt x="2557" y="353"/>
                  </a:lnTo>
                  <a:lnTo>
                    <a:pt x="2557" y="353"/>
                  </a:lnTo>
                  <a:lnTo>
                    <a:pt x="2557" y="353"/>
                  </a:lnTo>
                  <a:lnTo>
                    <a:pt x="2557" y="353"/>
                  </a:lnTo>
                  <a:lnTo>
                    <a:pt x="2557" y="353"/>
                  </a:lnTo>
                  <a:close/>
                  <a:moveTo>
                    <a:pt x="2562" y="158"/>
                  </a:moveTo>
                  <a:lnTo>
                    <a:pt x="2557" y="158"/>
                  </a:lnTo>
                  <a:lnTo>
                    <a:pt x="2557" y="158"/>
                  </a:lnTo>
                  <a:lnTo>
                    <a:pt x="2552" y="158"/>
                  </a:lnTo>
                  <a:lnTo>
                    <a:pt x="2552" y="158"/>
                  </a:lnTo>
                  <a:lnTo>
                    <a:pt x="2548" y="158"/>
                  </a:lnTo>
                  <a:lnTo>
                    <a:pt x="2548" y="163"/>
                  </a:lnTo>
                  <a:lnTo>
                    <a:pt x="2552" y="163"/>
                  </a:lnTo>
                  <a:lnTo>
                    <a:pt x="2552" y="163"/>
                  </a:lnTo>
                  <a:lnTo>
                    <a:pt x="2562" y="163"/>
                  </a:lnTo>
                  <a:lnTo>
                    <a:pt x="2566" y="163"/>
                  </a:lnTo>
                  <a:lnTo>
                    <a:pt x="2566" y="163"/>
                  </a:lnTo>
                  <a:lnTo>
                    <a:pt x="2562" y="163"/>
                  </a:lnTo>
                  <a:lnTo>
                    <a:pt x="2562" y="158"/>
                  </a:lnTo>
                  <a:lnTo>
                    <a:pt x="2562" y="158"/>
                  </a:lnTo>
                  <a:lnTo>
                    <a:pt x="2562" y="158"/>
                  </a:lnTo>
                  <a:close/>
                  <a:moveTo>
                    <a:pt x="2905" y="294"/>
                  </a:moveTo>
                  <a:lnTo>
                    <a:pt x="2909" y="294"/>
                  </a:lnTo>
                  <a:lnTo>
                    <a:pt x="2909" y="294"/>
                  </a:lnTo>
                  <a:lnTo>
                    <a:pt x="2914" y="294"/>
                  </a:lnTo>
                  <a:lnTo>
                    <a:pt x="2914" y="294"/>
                  </a:lnTo>
                  <a:lnTo>
                    <a:pt x="2914" y="294"/>
                  </a:lnTo>
                  <a:lnTo>
                    <a:pt x="2914" y="289"/>
                  </a:lnTo>
                  <a:lnTo>
                    <a:pt x="2914" y="289"/>
                  </a:lnTo>
                  <a:lnTo>
                    <a:pt x="2914" y="294"/>
                  </a:lnTo>
                  <a:lnTo>
                    <a:pt x="2918" y="294"/>
                  </a:lnTo>
                  <a:lnTo>
                    <a:pt x="2918" y="289"/>
                  </a:lnTo>
                  <a:lnTo>
                    <a:pt x="2923" y="289"/>
                  </a:lnTo>
                  <a:lnTo>
                    <a:pt x="2923" y="289"/>
                  </a:lnTo>
                  <a:lnTo>
                    <a:pt x="2923" y="289"/>
                  </a:lnTo>
                  <a:lnTo>
                    <a:pt x="2923" y="289"/>
                  </a:lnTo>
                  <a:lnTo>
                    <a:pt x="2923" y="289"/>
                  </a:lnTo>
                  <a:lnTo>
                    <a:pt x="2923" y="289"/>
                  </a:lnTo>
                  <a:lnTo>
                    <a:pt x="2927" y="289"/>
                  </a:lnTo>
                  <a:lnTo>
                    <a:pt x="2927" y="289"/>
                  </a:lnTo>
                  <a:lnTo>
                    <a:pt x="2927" y="285"/>
                  </a:lnTo>
                  <a:lnTo>
                    <a:pt x="2932" y="285"/>
                  </a:lnTo>
                  <a:lnTo>
                    <a:pt x="2927" y="285"/>
                  </a:lnTo>
                  <a:lnTo>
                    <a:pt x="2927" y="280"/>
                  </a:lnTo>
                  <a:lnTo>
                    <a:pt x="2927" y="280"/>
                  </a:lnTo>
                  <a:lnTo>
                    <a:pt x="2927" y="280"/>
                  </a:lnTo>
                  <a:lnTo>
                    <a:pt x="2927" y="280"/>
                  </a:lnTo>
                  <a:lnTo>
                    <a:pt x="2923" y="280"/>
                  </a:lnTo>
                  <a:lnTo>
                    <a:pt x="2923" y="285"/>
                  </a:lnTo>
                  <a:lnTo>
                    <a:pt x="2923" y="285"/>
                  </a:lnTo>
                  <a:lnTo>
                    <a:pt x="2923" y="285"/>
                  </a:lnTo>
                  <a:lnTo>
                    <a:pt x="2923" y="285"/>
                  </a:lnTo>
                  <a:lnTo>
                    <a:pt x="2923" y="285"/>
                  </a:lnTo>
                  <a:lnTo>
                    <a:pt x="2923" y="289"/>
                  </a:lnTo>
                  <a:lnTo>
                    <a:pt x="2918" y="289"/>
                  </a:lnTo>
                  <a:lnTo>
                    <a:pt x="2923" y="285"/>
                  </a:lnTo>
                  <a:lnTo>
                    <a:pt x="2923" y="285"/>
                  </a:lnTo>
                  <a:lnTo>
                    <a:pt x="2923" y="285"/>
                  </a:lnTo>
                  <a:lnTo>
                    <a:pt x="2923" y="280"/>
                  </a:lnTo>
                  <a:lnTo>
                    <a:pt x="2923" y="280"/>
                  </a:lnTo>
                  <a:lnTo>
                    <a:pt x="2923" y="280"/>
                  </a:lnTo>
                  <a:lnTo>
                    <a:pt x="2923" y="276"/>
                  </a:lnTo>
                  <a:lnTo>
                    <a:pt x="2923" y="276"/>
                  </a:lnTo>
                  <a:lnTo>
                    <a:pt x="2923" y="276"/>
                  </a:lnTo>
                  <a:lnTo>
                    <a:pt x="2923" y="276"/>
                  </a:lnTo>
                  <a:lnTo>
                    <a:pt x="2923" y="276"/>
                  </a:lnTo>
                  <a:lnTo>
                    <a:pt x="2923" y="276"/>
                  </a:lnTo>
                  <a:lnTo>
                    <a:pt x="2918" y="276"/>
                  </a:lnTo>
                  <a:lnTo>
                    <a:pt x="2918" y="276"/>
                  </a:lnTo>
                  <a:lnTo>
                    <a:pt x="2918" y="280"/>
                  </a:lnTo>
                  <a:lnTo>
                    <a:pt x="2918" y="280"/>
                  </a:lnTo>
                  <a:lnTo>
                    <a:pt x="2918" y="280"/>
                  </a:lnTo>
                  <a:lnTo>
                    <a:pt x="2918" y="280"/>
                  </a:lnTo>
                  <a:lnTo>
                    <a:pt x="2918" y="280"/>
                  </a:lnTo>
                  <a:lnTo>
                    <a:pt x="2918" y="285"/>
                  </a:lnTo>
                  <a:lnTo>
                    <a:pt x="2918" y="285"/>
                  </a:lnTo>
                  <a:lnTo>
                    <a:pt x="2914" y="289"/>
                  </a:lnTo>
                  <a:lnTo>
                    <a:pt x="2905" y="289"/>
                  </a:lnTo>
                  <a:lnTo>
                    <a:pt x="2905" y="294"/>
                  </a:lnTo>
                  <a:lnTo>
                    <a:pt x="2905" y="294"/>
                  </a:lnTo>
                  <a:lnTo>
                    <a:pt x="2905" y="294"/>
                  </a:lnTo>
                  <a:lnTo>
                    <a:pt x="2905" y="294"/>
                  </a:lnTo>
                  <a:close/>
                  <a:moveTo>
                    <a:pt x="2580" y="77"/>
                  </a:moveTo>
                  <a:lnTo>
                    <a:pt x="2589" y="77"/>
                  </a:lnTo>
                  <a:lnTo>
                    <a:pt x="2593" y="72"/>
                  </a:lnTo>
                  <a:lnTo>
                    <a:pt x="2593" y="72"/>
                  </a:lnTo>
                  <a:lnTo>
                    <a:pt x="2593" y="72"/>
                  </a:lnTo>
                  <a:lnTo>
                    <a:pt x="2589" y="68"/>
                  </a:lnTo>
                  <a:lnTo>
                    <a:pt x="2584" y="72"/>
                  </a:lnTo>
                  <a:lnTo>
                    <a:pt x="2580" y="72"/>
                  </a:lnTo>
                  <a:lnTo>
                    <a:pt x="2580" y="72"/>
                  </a:lnTo>
                  <a:lnTo>
                    <a:pt x="2580" y="77"/>
                  </a:lnTo>
                  <a:lnTo>
                    <a:pt x="2580" y="77"/>
                  </a:lnTo>
                  <a:close/>
                  <a:moveTo>
                    <a:pt x="2656" y="475"/>
                  </a:moveTo>
                  <a:lnTo>
                    <a:pt x="2656" y="475"/>
                  </a:lnTo>
                  <a:lnTo>
                    <a:pt x="2656" y="475"/>
                  </a:lnTo>
                  <a:lnTo>
                    <a:pt x="2656" y="475"/>
                  </a:lnTo>
                  <a:lnTo>
                    <a:pt x="2652" y="475"/>
                  </a:lnTo>
                  <a:lnTo>
                    <a:pt x="2652" y="475"/>
                  </a:lnTo>
                  <a:lnTo>
                    <a:pt x="2652" y="475"/>
                  </a:lnTo>
                  <a:lnTo>
                    <a:pt x="2652" y="475"/>
                  </a:lnTo>
                  <a:lnTo>
                    <a:pt x="2652" y="475"/>
                  </a:lnTo>
                  <a:lnTo>
                    <a:pt x="2652" y="475"/>
                  </a:lnTo>
                  <a:lnTo>
                    <a:pt x="2647" y="475"/>
                  </a:lnTo>
                  <a:lnTo>
                    <a:pt x="2647" y="479"/>
                  </a:lnTo>
                  <a:lnTo>
                    <a:pt x="2647" y="479"/>
                  </a:lnTo>
                  <a:lnTo>
                    <a:pt x="2647" y="479"/>
                  </a:lnTo>
                  <a:lnTo>
                    <a:pt x="2647" y="479"/>
                  </a:lnTo>
                  <a:lnTo>
                    <a:pt x="2652" y="479"/>
                  </a:lnTo>
                  <a:lnTo>
                    <a:pt x="2647" y="479"/>
                  </a:lnTo>
                  <a:lnTo>
                    <a:pt x="2647" y="479"/>
                  </a:lnTo>
                  <a:lnTo>
                    <a:pt x="2647" y="479"/>
                  </a:lnTo>
                  <a:lnTo>
                    <a:pt x="2643" y="479"/>
                  </a:lnTo>
                  <a:lnTo>
                    <a:pt x="2643" y="484"/>
                  </a:lnTo>
                  <a:lnTo>
                    <a:pt x="2643" y="484"/>
                  </a:lnTo>
                  <a:lnTo>
                    <a:pt x="2643" y="484"/>
                  </a:lnTo>
                  <a:lnTo>
                    <a:pt x="2643" y="484"/>
                  </a:lnTo>
                  <a:lnTo>
                    <a:pt x="2647" y="488"/>
                  </a:lnTo>
                  <a:lnTo>
                    <a:pt x="2647" y="488"/>
                  </a:lnTo>
                  <a:lnTo>
                    <a:pt x="2647" y="488"/>
                  </a:lnTo>
                  <a:lnTo>
                    <a:pt x="2643" y="488"/>
                  </a:lnTo>
                  <a:lnTo>
                    <a:pt x="2643" y="488"/>
                  </a:lnTo>
                  <a:lnTo>
                    <a:pt x="2643" y="488"/>
                  </a:lnTo>
                  <a:lnTo>
                    <a:pt x="2638" y="488"/>
                  </a:lnTo>
                  <a:lnTo>
                    <a:pt x="2638" y="488"/>
                  </a:lnTo>
                  <a:lnTo>
                    <a:pt x="2638" y="493"/>
                  </a:lnTo>
                  <a:lnTo>
                    <a:pt x="2638" y="493"/>
                  </a:lnTo>
                  <a:lnTo>
                    <a:pt x="2638" y="493"/>
                  </a:lnTo>
                  <a:lnTo>
                    <a:pt x="2638" y="493"/>
                  </a:lnTo>
                  <a:lnTo>
                    <a:pt x="2638" y="493"/>
                  </a:lnTo>
                  <a:lnTo>
                    <a:pt x="2638" y="493"/>
                  </a:lnTo>
                  <a:lnTo>
                    <a:pt x="2638" y="493"/>
                  </a:lnTo>
                  <a:lnTo>
                    <a:pt x="2638" y="497"/>
                  </a:lnTo>
                  <a:lnTo>
                    <a:pt x="2638" y="497"/>
                  </a:lnTo>
                  <a:lnTo>
                    <a:pt x="2638" y="497"/>
                  </a:lnTo>
                  <a:lnTo>
                    <a:pt x="2638" y="497"/>
                  </a:lnTo>
                  <a:lnTo>
                    <a:pt x="2638" y="497"/>
                  </a:lnTo>
                  <a:lnTo>
                    <a:pt x="2638" y="497"/>
                  </a:lnTo>
                  <a:lnTo>
                    <a:pt x="2638" y="502"/>
                  </a:lnTo>
                  <a:lnTo>
                    <a:pt x="2638" y="506"/>
                  </a:lnTo>
                  <a:lnTo>
                    <a:pt x="2634" y="506"/>
                  </a:lnTo>
                  <a:lnTo>
                    <a:pt x="2634" y="506"/>
                  </a:lnTo>
                  <a:lnTo>
                    <a:pt x="2638" y="506"/>
                  </a:lnTo>
                  <a:lnTo>
                    <a:pt x="2634" y="506"/>
                  </a:lnTo>
                  <a:lnTo>
                    <a:pt x="2634" y="506"/>
                  </a:lnTo>
                  <a:lnTo>
                    <a:pt x="2629" y="511"/>
                  </a:lnTo>
                  <a:lnTo>
                    <a:pt x="2629" y="511"/>
                  </a:lnTo>
                  <a:lnTo>
                    <a:pt x="2634" y="511"/>
                  </a:lnTo>
                  <a:lnTo>
                    <a:pt x="2634" y="511"/>
                  </a:lnTo>
                  <a:lnTo>
                    <a:pt x="2634" y="511"/>
                  </a:lnTo>
                  <a:lnTo>
                    <a:pt x="2634" y="511"/>
                  </a:lnTo>
                  <a:lnTo>
                    <a:pt x="2634" y="511"/>
                  </a:lnTo>
                  <a:lnTo>
                    <a:pt x="2638" y="511"/>
                  </a:lnTo>
                  <a:lnTo>
                    <a:pt x="2638" y="511"/>
                  </a:lnTo>
                  <a:lnTo>
                    <a:pt x="2643" y="511"/>
                  </a:lnTo>
                  <a:lnTo>
                    <a:pt x="2643" y="506"/>
                  </a:lnTo>
                  <a:lnTo>
                    <a:pt x="2643" y="511"/>
                  </a:lnTo>
                  <a:lnTo>
                    <a:pt x="2643" y="511"/>
                  </a:lnTo>
                  <a:lnTo>
                    <a:pt x="2643" y="511"/>
                  </a:lnTo>
                  <a:lnTo>
                    <a:pt x="2643" y="511"/>
                  </a:lnTo>
                  <a:lnTo>
                    <a:pt x="2638" y="515"/>
                  </a:lnTo>
                  <a:lnTo>
                    <a:pt x="2638" y="515"/>
                  </a:lnTo>
                  <a:lnTo>
                    <a:pt x="2638" y="520"/>
                  </a:lnTo>
                  <a:lnTo>
                    <a:pt x="2638" y="520"/>
                  </a:lnTo>
                  <a:lnTo>
                    <a:pt x="2638" y="520"/>
                  </a:lnTo>
                  <a:lnTo>
                    <a:pt x="2638" y="525"/>
                  </a:lnTo>
                  <a:lnTo>
                    <a:pt x="2638" y="525"/>
                  </a:lnTo>
                  <a:lnTo>
                    <a:pt x="2638" y="525"/>
                  </a:lnTo>
                  <a:lnTo>
                    <a:pt x="2638" y="525"/>
                  </a:lnTo>
                  <a:lnTo>
                    <a:pt x="2638" y="525"/>
                  </a:lnTo>
                  <a:lnTo>
                    <a:pt x="2638" y="529"/>
                  </a:lnTo>
                  <a:lnTo>
                    <a:pt x="2634" y="529"/>
                  </a:lnTo>
                  <a:lnTo>
                    <a:pt x="2634" y="529"/>
                  </a:lnTo>
                  <a:lnTo>
                    <a:pt x="2634" y="534"/>
                  </a:lnTo>
                  <a:lnTo>
                    <a:pt x="2634" y="534"/>
                  </a:lnTo>
                  <a:lnTo>
                    <a:pt x="2634" y="534"/>
                  </a:lnTo>
                  <a:lnTo>
                    <a:pt x="2634" y="534"/>
                  </a:lnTo>
                  <a:lnTo>
                    <a:pt x="2634" y="534"/>
                  </a:lnTo>
                  <a:lnTo>
                    <a:pt x="2634" y="534"/>
                  </a:lnTo>
                  <a:lnTo>
                    <a:pt x="2634" y="534"/>
                  </a:lnTo>
                  <a:lnTo>
                    <a:pt x="2638" y="534"/>
                  </a:lnTo>
                  <a:lnTo>
                    <a:pt x="2638" y="529"/>
                  </a:lnTo>
                  <a:lnTo>
                    <a:pt x="2638" y="525"/>
                  </a:lnTo>
                  <a:lnTo>
                    <a:pt x="2638" y="525"/>
                  </a:lnTo>
                  <a:lnTo>
                    <a:pt x="2638" y="525"/>
                  </a:lnTo>
                  <a:lnTo>
                    <a:pt x="2638" y="525"/>
                  </a:lnTo>
                  <a:lnTo>
                    <a:pt x="2638" y="525"/>
                  </a:lnTo>
                  <a:lnTo>
                    <a:pt x="2643" y="520"/>
                  </a:lnTo>
                  <a:lnTo>
                    <a:pt x="2643" y="520"/>
                  </a:lnTo>
                  <a:lnTo>
                    <a:pt x="2647" y="520"/>
                  </a:lnTo>
                  <a:lnTo>
                    <a:pt x="2643" y="520"/>
                  </a:lnTo>
                  <a:lnTo>
                    <a:pt x="2643" y="520"/>
                  </a:lnTo>
                  <a:lnTo>
                    <a:pt x="2643" y="525"/>
                  </a:lnTo>
                  <a:lnTo>
                    <a:pt x="2643" y="525"/>
                  </a:lnTo>
                  <a:lnTo>
                    <a:pt x="2643" y="525"/>
                  </a:lnTo>
                  <a:lnTo>
                    <a:pt x="2643" y="525"/>
                  </a:lnTo>
                  <a:lnTo>
                    <a:pt x="2643" y="525"/>
                  </a:lnTo>
                  <a:lnTo>
                    <a:pt x="2643" y="525"/>
                  </a:lnTo>
                  <a:lnTo>
                    <a:pt x="2643" y="525"/>
                  </a:lnTo>
                  <a:lnTo>
                    <a:pt x="2643" y="525"/>
                  </a:lnTo>
                  <a:lnTo>
                    <a:pt x="2647" y="525"/>
                  </a:lnTo>
                  <a:lnTo>
                    <a:pt x="2647" y="525"/>
                  </a:lnTo>
                  <a:lnTo>
                    <a:pt x="2647" y="520"/>
                  </a:lnTo>
                  <a:lnTo>
                    <a:pt x="2647" y="520"/>
                  </a:lnTo>
                  <a:lnTo>
                    <a:pt x="2647" y="520"/>
                  </a:lnTo>
                  <a:lnTo>
                    <a:pt x="2647" y="520"/>
                  </a:lnTo>
                  <a:lnTo>
                    <a:pt x="2647" y="520"/>
                  </a:lnTo>
                  <a:lnTo>
                    <a:pt x="2647" y="525"/>
                  </a:lnTo>
                  <a:lnTo>
                    <a:pt x="2652" y="525"/>
                  </a:lnTo>
                  <a:lnTo>
                    <a:pt x="2647" y="525"/>
                  </a:lnTo>
                  <a:lnTo>
                    <a:pt x="2647" y="525"/>
                  </a:lnTo>
                  <a:lnTo>
                    <a:pt x="2647" y="525"/>
                  </a:lnTo>
                  <a:lnTo>
                    <a:pt x="2647" y="529"/>
                  </a:lnTo>
                  <a:lnTo>
                    <a:pt x="2647" y="529"/>
                  </a:lnTo>
                  <a:lnTo>
                    <a:pt x="2647" y="529"/>
                  </a:lnTo>
                  <a:lnTo>
                    <a:pt x="2647" y="529"/>
                  </a:lnTo>
                  <a:lnTo>
                    <a:pt x="2647" y="534"/>
                  </a:lnTo>
                  <a:lnTo>
                    <a:pt x="2647" y="534"/>
                  </a:lnTo>
                  <a:lnTo>
                    <a:pt x="2647" y="534"/>
                  </a:lnTo>
                  <a:lnTo>
                    <a:pt x="2643" y="538"/>
                  </a:lnTo>
                  <a:lnTo>
                    <a:pt x="2643" y="543"/>
                  </a:lnTo>
                  <a:lnTo>
                    <a:pt x="2643" y="543"/>
                  </a:lnTo>
                  <a:lnTo>
                    <a:pt x="2638" y="543"/>
                  </a:lnTo>
                  <a:lnTo>
                    <a:pt x="2638" y="543"/>
                  </a:lnTo>
                  <a:lnTo>
                    <a:pt x="2643" y="543"/>
                  </a:lnTo>
                  <a:lnTo>
                    <a:pt x="2643" y="547"/>
                  </a:lnTo>
                  <a:lnTo>
                    <a:pt x="2643" y="547"/>
                  </a:lnTo>
                  <a:lnTo>
                    <a:pt x="2643" y="547"/>
                  </a:lnTo>
                  <a:lnTo>
                    <a:pt x="2643" y="547"/>
                  </a:lnTo>
                  <a:lnTo>
                    <a:pt x="2647" y="543"/>
                  </a:lnTo>
                  <a:lnTo>
                    <a:pt x="2647" y="547"/>
                  </a:lnTo>
                  <a:lnTo>
                    <a:pt x="2647" y="547"/>
                  </a:lnTo>
                  <a:lnTo>
                    <a:pt x="2652" y="547"/>
                  </a:lnTo>
                  <a:lnTo>
                    <a:pt x="2652" y="543"/>
                  </a:lnTo>
                  <a:lnTo>
                    <a:pt x="2652" y="543"/>
                  </a:lnTo>
                  <a:lnTo>
                    <a:pt x="2652" y="543"/>
                  </a:lnTo>
                  <a:lnTo>
                    <a:pt x="2656" y="547"/>
                  </a:lnTo>
                  <a:lnTo>
                    <a:pt x="2656" y="547"/>
                  </a:lnTo>
                  <a:lnTo>
                    <a:pt x="2656" y="547"/>
                  </a:lnTo>
                  <a:lnTo>
                    <a:pt x="2656" y="547"/>
                  </a:lnTo>
                  <a:lnTo>
                    <a:pt x="2656" y="547"/>
                  </a:lnTo>
                  <a:lnTo>
                    <a:pt x="2661" y="543"/>
                  </a:lnTo>
                  <a:lnTo>
                    <a:pt x="2661" y="543"/>
                  </a:lnTo>
                  <a:lnTo>
                    <a:pt x="2661" y="543"/>
                  </a:lnTo>
                  <a:lnTo>
                    <a:pt x="2661" y="543"/>
                  </a:lnTo>
                  <a:lnTo>
                    <a:pt x="2661" y="543"/>
                  </a:lnTo>
                  <a:lnTo>
                    <a:pt x="2665" y="543"/>
                  </a:lnTo>
                  <a:lnTo>
                    <a:pt x="2670" y="543"/>
                  </a:lnTo>
                  <a:lnTo>
                    <a:pt x="2670" y="543"/>
                  </a:lnTo>
                  <a:lnTo>
                    <a:pt x="2665" y="543"/>
                  </a:lnTo>
                  <a:lnTo>
                    <a:pt x="2665" y="547"/>
                  </a:lnTo>
                  <a:lnTo>
                    <a:pt x="2661" y="552"/>
                  </a:lnTo>
                  <a:lnTo>
                    <a:pt x="2661" y="552"/>
                  </a:lnTo>
                  <a:lnTo>
                    <a:pt x="2665" y="556"/>
                  </a:lnTo>
                  <a:lnTo>
                    <a:pt x="2665" y="556"/>
                  </a:lnTo>
                  <a:lnTo>
                    <a:pt x="2665" y="556"/>
                  </a:lnTo>
                  <a:lnTo>
                    <a:pt x="2670" y="556"/>
                  </a:lnTo>
                  <a:lnTo>
                    <a:pt x="2670" y="556"/>
                  </a:lnTo>
                  <a:lnTo>
                    <a:pt x="2670" y="556"/>
                  </a:lnTo>
                  <a:lnTo>
                    <a:pt x="2670" y="556"/>
                  </a:lnTo>
                  <a:lnTo>
                    <a:pt x="2670" y="556"/>
                  </a:lnTo>
                  <a:lnTo>
                    <a:pt x="2670" y="561"/>
                  </a:lnTo>
                  <a:lnTo>
                    <a:pt x="2670" y="561"/>
                  </a:lnTo>
                  <a:lnTo>
                    <a:pt x="2670" y="561"/>
                  </a:lnTo>
                  <a:lnTo>
                    <a:pt x="2670" y="565"/>
                  </a:lnTo>
                  <a:lnTo>
                    <a:pt x="2670" y="565"/>
                  </a:lnTo>
                  <a:lnTo>
                    <a:pt x="2670" y="565"/>
                  </a:lnTo>
                  <a:lnTo>
                    <a:pt x="2670" y="565"/>
                  </a:lnTo>
                  <a:lnTo>
                    <a:pt x="2670" y="565"/>
                  </a:lnTo>
                  <a:lnTo>
                    <a:pt x="2665" y="570"/>
                  </a:lnTo>
                  <a:lnTo>
                    <a:pt x="2665" y="570"/>
                  </a:lnTo>
                  <a:lnTo>
                    <a:pt x="2670" y="574"/>
                  </a:lnTo>
                  <a:lnTo>
                    <a:pt x="2670" y="574"/>
                  </a:lnTo>
                  <a:lnTo>
                    <a:pt x="2670" y="574"/>
                  </a:lnTo>
                  <a:lnTo>
                    <a:pt x="2670" y="574"/>
                  </a:lnTo>
                  <a:lnTo>
                    <a:pt x="2670" y="574"/>
                  </a:lnTo>
                  <a:lnTo>
                    <a:pt x="2670" y="574"/>
                  </a:lnTo>
                  <a:lnTo>
                    <a:pt x="2670" y="574"/>
                  </a:lnTo>
                  <a:lnTo>
                    <a:pt x="2665" y="570"/>
                  </a:lnTo>
                  <a:lnTo>
                    <a:pt x="2665" y="574"/>
                  </a:lnTo>
                  <a:lnTo>
                    <a:pt x="2665" y="574"/>
                  </a:lnTo>
                  <a:lnTo>
                    <a:pt x="2665" y="574"/>
                  </a:lnTo>
                  <a:lnTo>
                    <a:pt x="2661" y="574"/>
                  </a:lnTo>
                  <a:lnTo>
                    <a:pt x="2661" y="574"/>
                  </a:lnTo>
                  <a:lnTo>
                    <a:pt x="2661" y="574"/>
                  </a:lnTo>
                  <a:lnTo>
                    <a:pt x="2656" y="574"/>
                  </a:lnTo>
                  <a:lnTo>
                    <a:pt x="2656" y="574"/>
                  </a:lnTo>
                  <a:lnTo>
                    <a:pt x="2652" y="574"/>
                  </a:lnTo>
                  <a:lnTo>
                    <a:pt x="2652" y="579"/>
                  </a:lnTo>
                  <a:lnTo>
                    <a:pt x="2647" y="579"/>
                  </a:lnTo>
                  <a:lnTo>
                    <a:pt x="2647" y="579"/>
                  </a:lnTo>
                  <a:lnTo>
                    <a:pt x="2647" y="579"/>
                  </a:lnTo>
                  <a:lnTo>
                    <a:pt x="2647" y="579"/>
                  </a:lnTo>
                  <a:lnTo>
                    <a:pt x="2643" y="583"/>
                  </a:lnTo>
                  <a:lnTo>
                    <a:pt x="2643" y="583"/>
                  </a:lnTo>
                  <a:lnTo>
                    <a:pt x="2643" y="583"/>
                  </a:lnTo>
                  <a:lnTo>
                    <a:pt x="2643" y="583"/>
                  </a:lnTo>
                  <a:lnTo>
                    <a:pt x="2647" y="583"/>
                  </a:lnTo>
                  <a:lnTo>
                    <a:pt x="2647" y="583"/>
                  </a:lnTo>
                  <a:lnTo>
                    <a:pt x="2652" y="579"/>
                  </a:lnTo>
                  <a:lnTo>
                    <a:pt x="2652" y="579"/>
                  </a:lnTo>
                  <a:lnTo>
                    <a:pt x="2652" y="583"/>
                  </a:lnTo>
                  <a:lnTo>
                    <a:pt x="2652" y="583"/>
                  </a:lnTo>
                  <a:lnTo>
                    <a:pt x="2652" y="583"/>
                  </a:lnTo>
                  <a:lnTo>
                    <a:pt x="2652" y="583"/>
                  </a:lnTo>
                  <a:lnTo>
                    <a:pt x="2652" y="588"/>
                  </a:lnTo>
                  <a:lnTo>
                    <a:pt x="2652" y="588"/>
                  </a:lnTo>
                  <a:lnTo>
                    <a:pt x="2652" y="588"/>
                  </a:lnTo>
                  <a:lnTo>
                    <a:pt x="2652" y="588"/>
                  </a:lnTo>
                  <a:lnTo>
                    <a:pt x="2652" y="588"/>
                  </a:lnTo>
                  <a:lnTo>
                    <a:pt x="2652" y="592"/>
                  </a:lnTo>
                  <a:lnTo>
                    <a:pt x="2652" y="592"/>
                  </a:lnTo>
                  <a:lnTo>
                    <a:pt x="2647" y="592"/>
                  </a:lnTo>
                  <a:lnTo>
                    <a:pt x="2647" y="592"/>
                  </a:lnTo>
                  <a:lnTo>
                    <a:pt x="2643" y="597"/>
                  </a:lnTo>
                  <a:lnTo>
                    <a:pt x="2638" y="597"/>
                  </a:lnTo>
                  <a:lnTo>
                    <a:pt x="2634" y="597"/>
                  </a:lnTo>
                  <a:lnTo>
                    <a:pt x="2634" y="597"/>
                  </a:lnTo>
                  <a:lnTo>
                    <a:pt x="2634" y="601"/>
                  </a:lnTo>
                  <a:lnTo>
                    <a:pt x="2634" y="601"/>
                  </a:lnTo>
                  <a:lnTo>
                    <a:pt x="2634" y="601"/>
                  </a:lnTo>
                  <a:lnTo>
                    <a:pt x="2634" y="601"/>
                  </a:lnTo>
                  <a:lnTo>
                    <a:pt x="2634" y="601"/>
                  </a:lnTo>
                  <a:lnTo>
                    <a:pt x="2638" y="606"/>
                  </a:lnTo>
                  <a:lnTo>
                    <a:pt x="2638" y="606"/>
                  </a:lnTo>
                  <a:lnTo>
                    <a:pt x="2643" y="601"/>
                  </a:lnTo>
                  <a:lnTo>
                    <a:pt x="2643" y="601"/>
                  </a:lnTo>
                  <a:lnTo>
                    <a:pt x="2647" y="601"/>
                  </a:lnTo>
                  <a:lnTo>
                    <a:pt x="2647" y="606"/>
                  </a:lnTo>
                  <a:lnTo>
                    <a:pt x="2647" y="606"/>
                  </a:lnTo>
                  <a:lnTo>
                    <a:pt x="2647" y="606"/>
                  </a:lnTo>
                  <a:lnTo>
                    <a:pt x="2647" y="606"/>
                  </a:lnTo>
                  <a:lnTo>
                    <a:pt x="2647" y="606"/>
                  </a:lnTo>
                  <a:lnTo>
                    <a:pt x="2647" y="606"/>
                  </a:lnTo>
                  <a:lnTo>
                    <a:pt x="2652" y="606"/>
                  </a:lnTo>
                  <a:lnTo>
                    <a:pt x="2652" y="606"/>
                  </a:lnTo>
                  <a:lnTo>
                    <a:pt x="2652" y="606"/>
                  </a:lnTo>
                  <a:lnTo>
                    <a:pt x="2652" y="606"/>
                  </a:lnTo>
                  <a:lnTo>
                    <a:pt x="2656" y="610"/>
                  </a:lnTo>
                  <a:lnTo>
                    <a:pt x="2661" y="610"/>
                  </a:lnTo>
                  <a:lnTo>
                    <a:pt x="2661" y="610"/>
                  </a:lnTo>
                  <a:lnTo>
                    <a:pt x="2665" y="606"/>
                  </a:lnTo>
                  <a:lnTo>
                    <a:pt x="2665" y="606"/>
                  </a:lnTo>
                  <a:lnTo>
                    <a:pt x="2670" y="606"/>
                  </a:lnTo>
                  <a:lnTo>
                    <a:pt x="2670" y="606"/>
                  </a:lnTo>
                  <a:lnTo>
                    <a:pt x="2670" y="606"/>
                  </a:lnTo>
                  <a:lnTo>
                    <a:pt x="2674" y="601"/>
                  </a:lnTo>
                  <a:lnTo>
                    <a:pt x="2670" y="606"/>
                  </a:lnTo>
                  <a:lnTo>
                    <a:pt x="2670" y="606"/>
                  </a:lnTo>
                  <a:lnTo>
                    <a:pt x="2670" y="610"/>
                  </a:lnTo>
                  <a:lnTo>
                    <a:pt x="2665" y="610"/>
                  </a:lnTo>
                  <a:lnTo>
                    <a:pt x="2665" y="610"/>
                  </a:lnTo>
                  <a:lnTo>
                    <a:pt x="2661" y="615"/>
                  </a:lnTo>
                  <a:lnTo>
                    <a:pt x="2661" y="615"/>
                  </a:lnTo>
                  <a:lnTo>
                    <a:pt x="2661" y="615"/>
                  </a:lnTo>
                  <a:lnTo>
                    <a:pt x="2656" y="615"/>
                  </a:lnTo>
                  <a:lnTo>
                    <a:pt x="2652" y="610"/>
                  </a:lnTo>
                  <a:lnTo>
                    <a:pt x="2647" y="615"/>
                  </a:lnTo>
                  <a:lnTo>
                    <a:pt x="2647" y="615"/>
                  </a:lnTo>
                  <a:lnTo>
                    <a:pt x="2647" y="615"/>
                  </a:lnTo>
                  <a:lnTo>
                    <a:pt x="2643" y="619"/>
                  </a:lnTo>
                  <a:lnTo>
                    <a:pt x="2643" y="619"/>
                  </a:lnTo>
                  <a:lnTo>
                    <a:pt x="2643" y="619"/>
                  </a:lnTo>
                  <a:lnTo>
                    <a:pt x="2643" y="619"/>
                  </a:lnTo>
                  <a:lnTo>
                    <a:pt x="2638" y="624"/>
                  </a:lnTo>
                  <a:lnTo>
                    <a:pt x="2634" y="624"/>
                  </a:lnTo>
                  <a:lnTo>
                    <a:pt x="2634" y="624"/>
                  </a:lnTo>
                  <a:lnTo>
                    <a:pt x="2634" y="629"/>
                  </a:lnTo>
                  <a:lnTo>
                    <a:pt x="2634" y="629"/>
                  </a:lnTo>
                  <a:lnTo>
                    <a:pt x="2634" y="629"/>
                  </a:lnTo>
                  <a:lnTo>
                    <a:pt x="2629" y="633"/>
                  </a:lnTo>
                  <a:lnTo>
                    <a:pt x="2625" y="633"/>
                  </a:lnTo>
                  <a:lnTo>
                    <a:pt x="2625" y="633"/>
                  </a:lnTo>
                  <a:lnTo>
                    <a:pt x="2625" y="633"/>
                  </a:lnTo>
                  <a:lnTo>
                    <a:pt x="2625" y="633"/>
                  </a:lnTo>
                  <a:lnTo>
                    <a:pt x="2625" y="633"/>
                  </a:lnTo>
                  <a:lnTo>
                    <a:pt x="2629" y="633"/>
                  </a:lnTo>
                  <a:lnTo>
                    <a:pt x="2629" y="633"/>
                  </a:lnTo>
                  <a:lnTo>
                    <a:pt x="2629" y="633"/>
                  </a:lnTo>
                  <a:lnTo>
                    <a:pt x="2634" y="633"/>
                  </a:lnTo>
                  <a:lnTo>
                    <a:pt x="2634" y="633"/>
                  </a:lnTo>
                  <a:lnTo>
                    <a:pt x="2634" y="633"/>
                  </a:lnTo>
                  <a:lnTo>
                    <a:pt x="2638" y="633"/>
                  </a:lnTo>
                  <a:lnTo>
                    <a:pt x="2638" y="629"/>
                  </a:lnTo>
                  <a:lnTo>
                    <a:pt x="2643" y="629"/>
                  </a:lnTo>
                  <a:lnTo>
                    <a:pt x="2643" y="629"/>
                  </a:lnTo>
                  <a:lnTo>
                    <a:pt x="2643" y="629"/>
                  </a:lnTo>
                  <a:lnTo>
                    <a:pt x="2647" y="629"/>
                  </a:lnTo>
                  <a:lnTo>
                    <a:pt x="2647" y="629"/>
                  </a:lnTo>
                  <a:lnTo>
                    <a:pt x="2647" y="629"/>
                  </a:lnTo>
                  <a:lnTo>
                    <a:pt x="2647" y="629"/>
                  </a:lnTo>
                  <a:lnTo>
                    <a:pt x="2652" y="629"/>
                  </a:lnTo>
                  <a:lnTo>
                    <a:pt x="2652" y="633"/>
                  </a:lnTo>
                  <a:lnTo>
                    <a:pt x="2652" y="633"/>
                  </a:lnTo>
                  <a:lnTo>
                    <a:pt x="2656" y="629"/>
                  </a:lnTo>
                  <a:lnTo>
                    <a:pt x="2656" y="629"/>
                  </a:lnTo>
                  <a:lnTo>
                    <a:pt x="2656" y="624"/>
                  </a:lnTo>
                  <a:lnTo>
                    <a:pt x="2656" y="624"/>
                  </a:lnTo>
                  <a:lnTo>
                    <a:pt x="2665" y="624"/>
                  </a:lnTo>
                  <a:lnTo>
                    <a:pt x="2665" y="624"/>
                  </a:lnTo>
                  <a:lnTo>
                    <a:pt x="2665" y="624"/>
                  </a:lnTo>
                  <a:lnTo>
                    <a:pt x="2670" y="624"/>
                  </a:lnTo>
                  <a:lnTo>
                    <a:pt x="2670" y="624"/>
                  </a:lnTo>
                  <a:lnTo>
                    <a:pt x="2670" y="624"/>
                  </a:lnTo>
                  <a:lnTo>
                    <a:pt x="2674" y="624"/>
                  </a:lnTo>
                  <a:lnTo>
                    <a:pt x="2674" y="624"/>
                  </a:lnTo>
                  <a:lnTo>
                    <a:pt x="2679" y="624"/>
                  </a:lnTo>
                  <a:lnTo>
                    <a:pt x="2679" y="624"/>
                  </a:lnTo>
                  <a:lnTo>
                    <a:pt x="2679" y="624"/>
                  </a:lnTo>
                  <a:lnTo>
                    <a:pt x="2679" y="624"/>
                  </a:lnTo>
                  <a:lnTo>
                    <a:pt x="2679" y="624"/>
                  </a:lnTo>
                  <a:lnTo>
                    <a:pt x="2679" y="624"/>
                  </a:lnTo>
                  <a:lnTo>
                    <a:pt x="2684" y="624"/>
                  </a:lnTo>
                  <a:lnTo>
                    <a:pt x="2684" y="624"/>
                  </a:lnTo>
                  <a:lnTo>
                    <a:pt x="2684" y="624"/>
                  </a:lnTo>
                  <a:lnTo>
                    <a:pt x="2688" y="619"/>
                  </a:lnTo>
                  <a:lnTo>
                    <a:pt x="2688" y="619"/>
                  </a:lnTo>
                  <a:lnTo>
                    <a:pt x="2688" y="619"/>
                  </a:lnTo>
                  <a:lnTo>
                    <a:pt x="2693" y="619"/>
                  </a:lnTo>
                  <a:lnTo>
                    <a:pt x="2693" y="619"/>
                  </a:lnTo>
                  <a:lnTo>
                    <a:pt x="2693" y="619"/>
                  </a:lnTo>
                  <a:lnTo>
                    <a:pt x="2697" y="619"/>
                  </a:lnTo>
                  <a:lnTo>
                    <a:pt x="2702" y="619"/>
                  </a:lnTo>
                  <a:lnTo>
                    <a:pt x="2706" y="619"/>
                  </a:lnTo>
                  <a:lnTo>
                    <a:pt x="2711" y="624"/>
                  </a:lnTo>
                  <a:lnTo>
                    <a:pt x="2711" y="619"/>
                  </a:lnTo>
                  <a:lnTo>
                    <a:pt x="2715" y="619"/>
                  </a:lnTo>
                  <a:lnTo>
                    <a:pt x="2715" y="619"/>
                  </a:lnTo>
                  <a:lnTo>
                    <a:pt x="2720" y="619"/>
                  </a:lnTo>
                  <a:lnTo>
                    <a:pt x="2720" y="619"/>
                  </a:lnTo>
                  <a:lnTo>
                    <a:pt x="2720" y="619"/>
                  </a:lnTo>
                  <a:lnTo>
                    <a:pt x="2720" y="619"/>
                  </a:lnTo>
                  <a:lnTo>
                    <a:pt x="2724" y="615"/>
                  </a:lnTo>
                  <a:lnTo>
                    <a:pt x="2729" y="615"/>
                  </a:lnTo>
                  <a:lnTo>
                    <a:pt x="2729" y="615"/>
                  </a:lnTo>
                  <a:lnTo>
                    <a:pt x="2729" y="610"/>
                  </a:lnTo>
                  <a:lnTo>
                    <a:pt x="2729" y="610"/>
                  </a:lnTo>
                  <a:lnTo>
                    <a:pt x="2729" y="610"/>
                  </a:lnTo>
                  <a:lnTo>
                    <a:pt x="2724" y="610"/>
                  </a:lnTo>
                  <a:lnTo>
                    <a:pt x="2724" y="610"/>
                  </a:lnTo>
                  <a:lnTo>
                    <a:pt x="2720" y="610"/>
                  </a:lnTo>
                  <a:lnTo>
                    <a:pt x="2720" y="610"/>
                  </a:lnTo>
                  <a:lnTo>
                    <a:pt x="2720" y="610"/>
                  </a:lnTo>
                  <a:lnTo>
                    <a:pt x="2715" y="610"/>
                  </a:lnTo>
                  <a:lnTo>
                    <a:pt x="2715" y="610"/>
                  </a:lnTo>
                  <a:lnTo>
                    <a:pt x="2715" y="610"/>
                  </a:lnTo>
                  <a:lnTo>
                    <a:pt x="2715" y="606"/>
                  </a:lnTo>
                  <a:lnTo>
                    <a:pt x="2715" y="606"/>
                  </a:lnTo>
                  <a:lnTo>
                    <a:pt x="2720" y="606"/>
                  </a:lnTo>
                  <a:lnTo>
                    <a:pt x="2720" y="606"/>
                  </a:lnTo>
                  <a:lnTo>
                    <a:pt x="2720" y="606"/>
                  </a:lnTo>
                  <a:lnTo>
                    <a:pt x="2720" y="606"/>
                  </a:lnTo>
                  <a:lnTo>
                    <a:pt x="2720" y="606"/>
                  </a:lnTo>
                  <a:lnTo>
                    <a:pt x="2720" y="606"/>
                  </a:lnTo>
                  <a:lnTo>
                    <a:pt x="2724" y="601"/>
                  </a:lnTo>
                  <a:lnTo>
                    <a:pt x="2724" y="601"/>
                  </a:lnTo>
                  <a:lnTo>
                    <a:pt x="2724" y="601"/>
                  </a:lnTo>
                  <a:lnTo>
                    <a:pt x="2729" y="601"/>
                  </a:lnTo>
                  <a:lnTo>
                    <a:pt x="2729" y="601"/>
                  </a:lnTo>
                  <a:lnTo>
                    <a:pt x="2729" y="601"/>
                  </a:lnTo>
                  <a:lnTo>
                    <a:pt x="2729" y="601"/>
                  </a:lnTo>
                  <a:lnTo>
                    <a:pt x="2729" y="601"/>
                  </a:lnTo>
                  <a:lnTo>
                    <a:pt x="2729" y="601"/>
                  </a:lnTo>
                  <a:lnTo>
                    <a:pt x="2729" y="597"/>
                  </a:lnTo>
                  <a:lnTo>
                    <a:pt x="2733" y="597"/>
                  </a:lnTo>
                  <a:lnTo>
                    <a:pt x="2733" y="597"/>
                  </a:lnTo>
                  <a:lnTo>
                    <a:pt x="2733" y="597"/>
                  </a:lnTo>
                  <a:lnTo>
                    <a:pt x="2733" y="592"/>
                  </a:lnTo>
                  <a:lnTo>
                    <a:pt x="2733" y="592"/>
                  </a:lnTo>
                  <a:lnTo>
                    <a:pt x="2733" y="588"/>
                  </a:lnTo>
                  <a:lnTo>
                    <a:pt x="2733" y="588"/>
                  </a:lnTo>
                  <a:lnTo>
                    <a:pt x="2733" y="588"/>
                  </a:lnTo>
                  <a:lnTo>
                    <a:pt x="2733" y="583"/>
                  </a:lnTo>
                  <a:lnTo>
                    <a:pt x="2729" y="583"/>
                  </a:lnTo>
                  <a:lnTo>
                    <a:pt x="2729" y="583"/>
                  </a:lnTo>
                  <a:lnTo>
                    <a:pt x="2724" y="579"/>
                  </a:lnTo>
                  <a:lnTo>
                    <a:pt x="2724" y="579"/>
                  </a:lnTo>
                  <a:lnTo>
                    <a:pt x="2724" y="579"/>
                  </a:lnTo>
                  <a:lnTo>
                    <a:pt x="2720" y="579"/>
                  </a:lnTo>
                  <a:lnTo>
                    <a:pt x="2720" y="579"/>
                  </a:lnTo>
                  <a:lnTo>
                    <a:pt x="2720" y="579"/>
                  </a:lnTo>
                  <a:lnTo>
                    <a:pt x="2715" y="583"/>
                  </a:lnTo>
                  <a:lnTo>
                    <a:pt x="2715" y="583"/>
                  </a:lnTo>
                  <a:lnTo>
                    <a:pt x="2715" y="583"/>
                  </a:lnTo>
                  <a:lnTo>
                    <a:pt x="2715" y="583"/>
                  </a:lnTo>
                  <a:lnTo>
                    <a:pt x="2711" y="583"/>
                  </a:lnTo>
                  <a:lnTo>
                    <a:pt x="2711" y="579"/>
                  </a:lnTo>
                  <a:lnTo>
                    <a:pt x="2715" y="579"/>
                  </a:lnTo>
                  <a:lnTo>
                    <a:pt x="2715" y="579"/>
                  </a:lnTo>
                  <a:lnTo>
                    <a:pt x="2715" y="579"/>
                  </a:lnTo>
                  <a:lnTo>
                    <a:pt x="2715" y="574"/>
                  </a:lnTo>
                  <a:lnTo>
                    <a:pt x="2711" y="570"/>
                  </a:lnTo>
                  <a:lnTo>
                    <a:pt x="2706" y="565"/>
                  </a:lnTo>
                  <a:lnTo>
                    <a:pt x="2706" y="565"/>
                  </a:lnTo>
                  <a:lnTo>
                    <a:pt x="2702" y="565"/>
                  </a:lnTo>
                  <a:lnTo>
                    <a:pt x="2702" y="565"/>
                  </a:lnTo>
                  <a:lnTo>
                    <a:pt x="2706" y="565"/>
                  </a:lnTo>
                  <a:lnTo>
                    <a:pt x="2706" y="565"/>
                  </a:lnTo>
                  <a:lnTo>
                    <a:pt x="2711" y="565"/>
                  </a:lnTo>
                  <a:lnTo>
                    <a:pt x="2711" y="570"/>
                  </a:lnTo>
                  <a:lnTo>
                    <a:pt x="2711" y="570"/>
                  </a:lnTo>
                  <a:lnTo>
                    <a:pt x="2711" y="570"/>
                  </a:lnTo>
                  <a:lnTo>
                    <a:pt x="2711" y="570"/>
                  </a:lnTo>
                  <a:lnTo>
                    <a:pt x="2711" y="570"/>
                  </a:lnTo>
                  <a:lnTo>
                    <a:pt x="2711" y="565"/>
                  </a:lnTo>
                  <a:lnTo>
                    <a:pt x="2711" y="565"/>
                  </a:lnTo>
                  <a:lnTo>
                    <a:pt x="2711" y="561"/>
                  </a:lnTo>
                  <a:lnTo>
                    <a:pt x="2711" y="561"/>
                  </a:lnTo>
                  <a:lnTo>
                    <a:pt x="2711" y="561"/>
                  </a:lnTo>
                  <a:lnTo>
                    <a:pt x="2711" y="561"/>
                  </a:lnTo>
                  <a:lnTo>
                    <a:pt x="2711" y="556"/>
                  </a:lnTo>
                  <a:lnTo>
                    <a:pt x="2706" y="556"/>
                  </a:lnTo>
                  <a:lnTo>
                    <a:pt x="2706" y="552"/>
                  </a:lnTo>
                  <a:lnTo>
                    <a:pt x="2702" y="552"/>
                  </a:lnTo>
                  <a:lnTo>
                    <a:pt x="2702" y="552"/>
                  </a:lnTo>
                  <a:lnTo>
                    <a:pt x="2697" y="547"/>
                  </a:lnTo>
                  <a:lnTo>
                    <a:pt x="2697" y="547"/>
                  </a:lnTo>
                  <a:lnTo>
                    <a:pt x="2693" y="547"/>
                  </a:lnTo>
                  <a:lnTo>
                    <a:pt x="2693" y="543"/>
                  </a:lnTo>
                  <a:lnTo>
                    <a:pt x="2693" y="538"/>
                  </a:lnTo>
                  <a:lnTo>
                    <a:pt x="2693" y="534"/>
                  </a:lnTo>
                  <a:lnTo>
                    <a:pt x="2693" y="534"/>
                  </a:lnTo>
                  <a:lnTo>
                    <a:pt x="2688" y="529"/>
                  </a:lnTo>
                  <a:lnTo>
                    <a:pt x="2688" y="529"/>
                  </a:lnTo>
                  <a:lnTo>
                    <a:pt x="2688" y="529"/>
                  </a:lnTo>
                  <a:lnTo>
                    <a:pt x="2684" y="525"/>
                  </a:lnTo>
                  <a:lnTo>
                    <a:pt x="2679" y="525"/>
                  </a:lnTo>
                  <a:lnTo>
                    <a:pt x="2674" y="525"/>
                  </a:lnTo>
                  <a:lnTo>
                    <a:pt x="2674" y="525"/>
                  </a:lnTo>
                  <a:lnTo>
                    <a:pt x="2670" y="525"/>
                  </a:lnTo>
                  <a:lnTo>
                    <a:pt x="2665" y="525"/>
                  </a:lnTo>
                  <a:lnTo>
                    <a:pt x="2661" y="520"/>
                  </a:lnTo>
                  <a:lnTo>
                    <a:pt x="2661" y="520"/>
                  </a:lnTo>
                  <a:lnTo>
                    <a:pt x="2665" y="520"/>
                  </a:lnTo>
                  <a:lnTo>
                    <a:pt x="2665" y="525"/>
                  </a:lnTo>
                  <a:lnTo>
                    <a:pt x="2670" y="525"/>
                  </a:lnTo>
                  <a:lnTo>
                    <a:pt x="2670" y="520"/>
                  </a:lnTo>
                  <a:lnTo>
                    <a:pt x="2670" y="520"/>
                  </a:lnTo>
                  <a:lnTo>
                    <a:pt x="2674" y="520"/>
                  </a:lnTo>
                  <a:lnTo>
                    <a:pt x="2674" y="520"/>
                  </a:lnTo>
                  <a:lnTo>
                    <a:pt x="2679" y="520"/>
                  </a:lnTo>
                  <a:lnTo>
                    <a:pt x="2679" y="515"/>
                  </a:lnTo>
                  <a:lnTo>
                    <a:pt x="2674" y="515"/>
                  </a:lnTo>
                  <a:lnTo>
                    <a:pt x="2674" y="515"/>
                  </a:lnTo>
                  <a:lnTo>
                    <a:pt x="2670" y="515"/>
                  </a:lnTo>
                  <a:lnTo>
                    <a:pt x="2670" y="515"/>
                  </a:lnTo>
                  <a:lnTo>
                    <a:pt x="2670" y="515"/>
                  </a:lnTo>
                  <a:lnTo>
                    <a:pt x="2670" y="515"/>
                  </a:lnTo>
                  <a:lnTo>
                    <a:pt x="2674" y="515"/>
                  </a:lnTo>
                  <a:lnTo>
                    <a:pt x="2674" y="515"/>
                  </a:lnTo>
                  <a:lnTo>
                    <a:pt x="2679" y="515"/>
                  </a:lnTo>
                  <a:lnTo>
                    <a:pt x="2679" y="511"/>
                  </a:lnTo>
                  <a:lnTo>
                    <a:pt x="2679" y="511"/>
                  </a:lnTo>
                  <a:lnTo>
                    <a:pt x="2684" y="511"/>
                  </a:lnTo>
                  <a:lnTo>
                    <a:pt x="2684" y="506"/>
                  </a:lnTo>
                  <a:lnTo>
                    <a:pt x="2688" y="502"/>
                  </a:lnTo>
                  <a:lnTo>
                    <a:pt x="2688" y="502"/>
                  </a:lnTo>
                  <a:lnTo>
                    <a:pt x="2688" y="502"/>
                  </a:lnTo>
                  <a:lnTo>
                    <a:pt x="2688" y="497"/>
                  </a:lnTo>
                  <a:lnTo>
                    <a:pt x="2688" y="497"/>
                  </a:lnTo>
                  <a:lnTo>
                    <a:pt x="2693" y="497"/>
                  </a:lnTo>
                  <a:lnTo>
                    <a:pt x="2693" y="497"/>
                  </a:lnTo>
                  <a:lnTo>
                    <a:pt x="2693" y="497"/>
                  </a:lnTo>
                  <a:lnTo>
                    <a:pt x="2693" y="493"/>
                  </a:lnTo>
                  <a:lnTo>
                    <a:pt x="2688" y="493"/>
                  </a:lnTo>
                  <a:lnTo>
                    <a:pt x="2688" y="493"/>
                  </a:lnTo>
                  <a:lnTo>
                    <a:pt x="2688" y="493"/>
                  </a:lnTo>
                  <a:lnTo>
                    <a:pt x="2679" y="493"/>
                  </a:lnTo>
                  <a:lnTo>
                    <a:pt x="2674" y="493"/>
                  </a:lnTo>
                  <a:lnTo>
                    <a:pt x="2674" y="493"/>
                  </a:lnTo>
                  <a:lnTo>
                    <a:pt x="2674" y="493"/>
                  </a:lnTo>
                  <a:lnTo>
                    <a:pt x="2670" y="493"/>
                  </a:lnTo>
                  <a:lnTo>
                    <a:pt x="2670" y="493"/>
                  </a:lnTo>
                  <a:lnTo>
                    <a:pt x="2665" y="493"/>
                  </a:lnTo>
                  <a:lnTo>
                    <a:pt x="2665" y="493"/>
                  </a:lnTo>
                  <a:lnTo>
                    <a:pt x="2661" y="493"/>
                  </a:lnTo>
                  <a:lnTo>
                    <a:pt x="2661" y="493"/>
                  </a:lnTo>
                  <a:lnTo>
                    <a:pt x="2661" y="493"/>
                  </a:lnTo>
                  <a:lnTo>
                    <a:pt x="2665" y="488"/>
                  </a:lnTo>
                  <a:lnTo>
                    <a:pt x="2665" y="488"/>
                  </a:lnTo>
                  <a:lnTo>
                    <a:pt x="2665" y="488"/>
                  </a:lnTo>
                  <a:lnTo>
                    <a:pt x="2661" y="488"/>
                  </a:lnTo>
                  <a:lnTo>
                    <a:pt x="2661" y="488"/>
                  </a:lnTo>
                  <a:lnTo>
                    <a:pt x="2661" y="488"/>
                  </a:lnTo>
                  <a:lnTo>
                    <a:pt x="2665" y="484"/>
                  </a:lnTo>
                  <a:lnTo>
                    <a:pt x="2670" y="479"/>
                  </a:lnTo>
                  <a:lnTo>
                    <a:pt x="2674" y="479"/>
                  </a:lnTo>
                  <a:lnTo>
                    <a:pt x="2674" y="479"/>
                  </a:lnTo>
                  <a:lnTo>
                    <a:pt x="2674" y="479"/>
                  </a:lnTo>
                  <a:lnTo>
                    <a:pt x="2674" y="479"/>
                  </a:lnTo>
                  <a:lnTo>
                    <a:pt x="2674" y="475"/>
                  </a:lnTo>
                  <a:lnTo>
                    <a:pt x="2679" y="475"/>
                  </a:lnTo>
                  <a:lnTo>
                    <a:pt x="2679" y="475"/>
                  </a:lnTo>
                  <a:lnTo>
                    <a:pt x="2679" y="475"/>
                  </a:lnTo>
                  <a:lnTo>
                    <a:pt x="2674" y="475"/>
                  </a:lnTo>
                  <a:lnTo>
                    <a:pt x="2670" y="475"/>
                  </a:lnTo>
                  <a:lnTo>
                    <a:pt x="2670" y="475"/>
                  </a:lnTo>
                  <a:lnTo>
                    <a:pt x="2665" y="475"/>
                  </a:lnTo>
                  <a:lnTo>
                    <a:pt x="2661" y="475"/>
                  </a:lnTo>
                  <a:lnTo>
                    <a:pt x="2656" y="475"/>
                  </a:lnTo>
                  <a:lnTo>
                    <a:pt x="2656" y="475"/>
                  </a:lnTo>
                  <a:close/>
                  <a:moveTo>
                    <a:pt x="2620" y="592"/>
                  </a:moveTo>
                  <a:lnTo>
                    <a:pt x="2620" y="588"/>
                  </a:lnTo>
                  <a:lnTo>
                    <a:pt x="2620" y="583"/>
                  </a:lnTo>
                  <a:lnTo>
                    <a:pt x="2620" y="583"/>
                  </a:lnTo>
                  <a:lnTo>
                    <a:pt x="2625" y="583"/>
                  </a:lnTo>
                  <a:lnTo>
                    <a:pt x="2625" y="583"/>
                  </a:lnTo>
                  <a:lnTo>
                    <a:pt x="2625" y="579"/>
                  </a:lnTo>
                  <a:lnTo>
                    <a:pt x="2625" y="579"/>
                  </a:lnTo>
                  <a:lnTo>
                    <a:pt x="2625" y="574"/>
                  </a:lnTo>
                  <a:lnTo>
                    <a:pt x="2625" y="574"/>
                  </a:lnTo>
                  <a:lnTo>
                    <a:pt x="2625" y="574"/>
                  </a:lnTo>
                  <a:lnTo>
                    <a:pt x="2625" y="570"/>
                  </a:lnTo>
                  <a:lnTo>
                    <a:pt x="2625" y="570"/>
                  </a:lnTo>
                  <a:lnTo>
                    <a:pt x="2625" y="570"/>
                  </a:lnTo>
                  <a:lnTo>
                    <a:pt x="2625" y="570"/>
                  </a:lnTo>
                  <a:lnTo>
                    <a:pt x="2625" y="565"/>
                  </a:lnTo>
                  <a:lnTo>
                    <a:pt x="2625" y="565"/>
                  </a:lnTo>
                  <a:lnTo>
                    <a:pt x="2625" y="565"/>
                  </a:lnTo>
                  <a:lnTo>
                    <a:pt x="2620" y="561"/>
                  </a:lnTo>
                  <a:lnTo>
                    <a:pt x="2620" y="561"/>
                  </a:lnTo>
                  <a:lnTo>
                    <a:pt x="2620" y="561"/>
                  </a:lnTo>
                  <a:lnTo>
                    <a:pt x="2625" y="561"/>
                  </a:lnTo>
                  <a:lnTo>
                    <a:pt x="2625" y="561"/>
                  </a:lnTo>
                  <a:lnTo>
                    <a:pt x="2625" y="561"/>
                  </a:lnTo>
                  <a:lnTo>
                    <a:pt x="2625" y="561"/>
                  </a:lnTo>
                  <a:lnTo>
                    <a:pt x="2625" y="561"/>
                  </a:lnTo>
                  <a:lnTo>
                    <a:pt x="2625" y="561"/>
                  </a:lnTo>
                  <a:lnTo>
                    <a:pt x="2625" y="561"/>
                  </a:lnTo>
                  <a:lnTo>
                    <a:pt x="2629" y="561"/>
                  </a:lnTo>
                  <a:lnTo>
                    <a:pt x="2629" y="556"/>
                  </a:lnTo>
                  <a:lnTo>
                    <a:pt x="2629" y="556"/>
                  </a:lnTo>
                  <a:lnTo>
                    <a:pt x="2629" y="556"/>
                  </a:lnTo>
                  <a:lnTo>
                    <a:pt x="2629" y="556"/>
                  </a:lnTo>
                  <a:lnTo>
                    <a:pt x="2634" y="556"/>
                  </a:lnTo>
                  <a:lnTo>
                    <a:pt x="2634" y="552"/>
                  </a:lnTo>
                  <a:lnTo>
                    <a:pt x="2634" y="552"/>
                  </a:lnTo>
                  <a:lnTo>
                    <a:pt x="2634" y="552"/>
                  </a:lnTo>
                  <a:lnTo>
                    <a:pt x="2634" y="552"/>
                  </a:lnTo>
                  <a:lnTo>
                    <a:pt x="2634" y="552"/>
                  </a:lnTo>
                  <a:lnTo>
                    <a:pt x="2634" y="552"/>
                  </a:lnTo>
                  <a:lnTo>
                    <a:pt x="2634" y="552"/>
                  </a:lnTo>
                  <a:lnTo>
                    <a:pt x="2634" y="552"/>
                  </a:lnTo>
                  <a:lnTo>
                    <a:pt x="2634" y="552"/>
                  </a:lnTo>
                  <a:lnTo>
                    <a:pt x="2634" y="552"/>
                  </a:lnTo>
                  <a:lnTo>
                    <a:pt x="2634" y="552"/>
                  </a:lnTo>
                  <a:lnTo>
                    <a:pt x="2634" y="547"/>
                  </a:lnTo>
                  <a:lnTo>
                    <a:pt x="2634" y="547"/>
                  </a:lnTo>
                  <a:lnTo>
                    <a:pt x="2634" y="547"/>
                  </a:lnTo>
                  <a:lnTo>
                    <a:pt x="2629" y="547"/>
                  </a:lnTo>
                  <a:lnTo>
                    <a:pt x="2629" y="547"/>
                  </a:lnTo>
                  <a:lnTo>
                    <a:pt x="2629" y="547"/>
                  </a:lnTo>
                  <a:lnTo>
                    <a:pt x="2634" y="547"/>
                  </a:lnTo>
                  <a:lnTo>
                    <a:pt x="2634" y="547"/>
                  </a:lnTo>
                  <a:lnTo>
                    <a:pt x="2634" y="547"/>
                  </a:lnTo>
                  <a:lnTo>
                    <a:pt x="2629" y="543"/>
                  </a:lnTo>
                  <a:lnTo>
                    <a:pt x="2629" y="543"/>
                  </a:lnTo>
                  <a:lnTo>
                    <a:pt x="2629" y="538"/>
                  </a:lnTo>
                  <a:lnTo>
                    <a:pt x="2629" y="538"/>
                  </a:lnTo>
                  <a:lnTo>
                    <a:pt x="2625" y="538"/>
                  </a:lnTo>
                  <a:lnTo>
                    <a:pt x="2625" y="538"/>
                  </a:lnTo>
                  <a:lnTo>
                    <a:pt x="2625" y="538"/>
                  </a:lnTo>
                  <a:lnTo>
                    <a:pt x="2620" y="538"/>
                  </a:lnTo>
                  <a:lnTo>
                    <a:pt x="2616" y="538"/>
                  </a:lnTo>
                  <a:lnTo>
                    <a:pt x="2616" y="538"/>
                  </a:lnTo>
                  <a:lnTo>
                    <a:pt x="2616" y="538"/>
                  </a:lnTo>
                  <a:lnTo>
                    <a:pt x="2616" y="538"/>
                  </a:lnTo>
                  <a:lnTo>
                    <a:pt x="2616" y="543"/>
                  </a:lnTo>
                  <a:lnTo>
                    <a:pt x="2611" y="538"/>
                  </a:lnTo>
                  <a:lnTo>
                    <a:pt x="2611" y="538"/>
                  </a:lnTo>
                  <a:lnTo>
                    <a:pt x="2611" y="538"/>
                  </a:lnTo>
                  <a:lnTo>
                    <a:pt x="2616" y="538"/>
                  </a:lnTo>
                  <a:lnTo>
                    <a:pt x="2616" y="538"/>
                  </a:lnTo>
                  <a:lnTo>
                    <a:pt x="2616" y="538"/>
                  </a:lnTo>
                  <a:lnTo>
                    <a:pt x="2616" y="534"/>
                  </a:lnTo>
                  <a:lnTo>
                    <a:pt x="2611" y="534"/>
                  </a:lnTo>
                  <a:lnTo>
                    <a:pt x="2611" y="534"/>
                  </a:lnTo>
                  <a:lnTo>
                    <a:pt x="2611" y="534"/>
                  </a:lnTo>
                  <a:lnTo>
                    <a:pt x="2611" y="534"/>
                  </a:lnTo>
                  <a:lnTo>
                    <a:pt x="2611" y="538"/>
                  </a:lnTo>
                  <a:lnTo>
                    <a:pt x="2607" y="538"/>
                  </a:lnTo>
                  <a:lnTo>
                    <a:pt x="2607" y="538"/>
                  </a:lnTo>
                  <a:lnTo>
                    <a:pt x="2607" y="538"/>
                  </a:lnTo>
                  <a:lnTo>
                    <a:pt x="2607" y="538"/>
                  </a:lnTo>
                  <a:lnTo>
                    <a:pt x="2607" y="543"/>
                  </a:lnTo>
                  <a:lnTo>
                    <a:pt x="2607" y="543"/>
                  </a:lnTo>
                  <a:lnTo>
                    <a:pt x="2607" y="543"/>
                  </a:lnTo>
                  <a:lnTo>
                    <a:pt x="2607" y="543"/>
                  </a:lnTo>
                  <a:lnTo>
                    <a:pt x="2607" y="538"/>
                  </a:lnTo>
                  <a:lnTo>
                    <a:pt x="2607" y="538"/>
                  </a:lnTo>
                  <a:lnTo>
                    <a:pt x="2607" y="538"/>
                  </a:lnTo>
                  <a:lnTo>
                    <a:pt x="2607" y="538"/>
                  </a:lnTo>
                  <a:lnTo>
                    <a:pt x="2607" y="538"/>
                  </a:lnTo>
                  <a:lnTo>
                    <a:pt x="2607" y="538"/>
                  </a:lnTo>
                  <a:lnTo>
                    <a:pt x="2607" y="538"/>
                  </a:lnTo>
                  <a:lnTo>
                    <a:pt x="2607" y="538"/>
                  </a:lnTo>
                  <a:lnTo>
                    <a:pt x="2607" y="538"/>
                  </a:lnTo>
                  <a:lnTo>
                    <a:pt x="2602" y="538"/>
                  </a:lnTo>
                  <a:lnTo>
                    <a:pt x="2602" y="538"/>
                  </a:lnTo>
                  <a:lnTo>
                    <a:pt x="2602" y="538"/>
                  </a:lnTo>
                  <a:lnTo>
                    <a:pt x="2598" y="538"/>
                  </a:lnTo>
                  <a:lnTo>
                    <a:pt x="2598" y="538"/>
                  </a:lnTo>
                  <a:lnTo>
                    <a:pt x="2598" y="538"/>
                  </a:lnTo>
                  <a:lnTo>
                    <a:pt x="2598" y="538"/>
                  </a:lnTo>
                  <a:lnTo>
                    <a:pt x="2598" y="543"/>
                  </a:lnTo>
                  <a:lnTo>
                    <a:pt x="2593" y="543"/>
                  </a:lnTo>
                  <a:lnTo>
                    <a:pt x="2598" y="543"/>
                  </a:lnTo>
                  <a:lnTo>
                    <a:pt x="2593" y="543"/>
                  </a:lnTo>
                  <a:lnTo>
                    <a:pt x="2593" y="543"/>
                  </a:lnTo>
                  <a:lnTo>
                    <a:pt x="2593" y="547"/>
                  </a:lnTo>
                  <a:lnTo>
                    <a:pt x="2593" y="547"/>
                  </a:lnTo>
                  <a:lnTo>
                    <a:pt x="2589" y="547"/>
                  </a:lnTo>
                  <a:lnTo>
                    <a:pt x="2589" y="547"/>
                  </a:lnTo>
                  <a:lnTo>
                    <a:pt x="2593" y="547"/>
                  </a:lnTo>
                  <a:lnTo>
                    <a:pt x="2598" y="547"/>
                  </a:lnTo>
                  <a:lnTo>
                    <a:pt x="2598" y="547"/>
                  </a:lnTo>
                  <a:lnTo>
                    <a:pt x="2598" y="552"/>
                  </a:lnTo>
                  <a:lnTo>
                    <a:pt x="2598" y="552"/>
                  </a:lnTo>
                  <a:lnTo>
                    <a:pt x="2593" y="552"/>
                  </a:lnTo>
                  <a:lnTo>
                    <a:pt x="2593" y="552"/>
                  </a:lnTo>
                  <a:lnTo>
                    <a:pt x="2593" y="552"/>
                  </a:lnTo>
                  <a:lnTo>
                    <a:pt x="2589" y="552"/>
                  </a:lnTo>
                  <a:lnTo>
                    <a:pt x="2593" y="556"/>
                  </a:lnTo>
                  <a:lnTo>
                    <a:pt x="2593" y="556"/>
                  </a:lnTo>
                  <a:lnTo>
                    <a:pt x="2593" y="556"/>
                  </a:lnTo>
                  <a:lnTo>
                    <a:pt x="2589" y="556"/>
                  </a:lnTo>
                  <a:lnTo>
                    <a:pt x="2584" y="556"/>
                  </a:lnTo>
                  <a:lnTo>
                    <a:pt x="2584" y="556"/>
                  </a:lnTo>
                  <a:lnTo>
                    <a:pt x="2584" y="556"/>
                  </a:lnTo>
                  <a:lnTo>
                    <a:pt x="2584" y="556"/>
                  </a:lnTo>
                  <a:lnTo>
                    <a:pt x="2580" y="556"/>
                  </a:lnTo>
                  <a:lnTo>
                    <a:pt x="2580" y="552"/>
                  </a:lnTo>
                  <a:lnTo>
                    <a:pt x="2575" y="556"/>
                  </a:lnTo>
                  <a:lnTo>
                    <a:pt x="2575" y="556"/>
                  </a:lnTo>
                  <a:lnTo>
                    <a:pt x="2571" y="556"/>
                  </a:lnTo>
                  <a:lnTo>
                    <a:pt x="2571" y="556"/>
                  </a:lnTo>
                  <a:lnTo>
                    <a:pt x="2571" y="556"/>
                  </a:lnTo>
                  <a:lnTo>
                    <a:pt x="2571" y="556"/>
                  </a:lnTo>
                  <a:lnTo>
                    <a:pt x="2571" y="556"/>
                  </a:lnTo>
                  <a:lnTo>
                    <a:pt x="2571" y="556"/>
                  </a:lnTo>
                  <a:lnTo>
                    <a:pt x="2571" y="556"/>
                  </a:lnTo>
                  <a:lnTo>
                    <a:pt x="2571" y="556"/>
                  </a:lnTo>
                  <a:lnTo>
                    <a:pt x="2575" y="556"/>
                  </a:lnTo>
                  <a:lnTo>
                    <a:pt x="2571" y="561"/>
                  </a:lnTo>
                  <a:lnTo>
                    <a:pt x="2571" y="561"/>
                  </a:lnTo>
                  <a:lnTo>
                    <a:pt x="2571" y="561"/>
                  </a:lnTo>
                  <a:lnTo>
                    <a:pt x="2571" y="561"/>
                  </a:lnTo>
                  <a:lnTo>
                    <a:pt x="2575" y="561"/>
                  </a:lnTo>
                  <a:lnTo>
                    <a:pt x="2575" y="561"/>
                  </a:lnTo>
                  <a:lnTo>
                    <a:pt x="2575" y="561"/>
                  </a:lnTo>
                  <a:lnTo>
                    <a:pt x="2575" y="565"/>
                  </a:lnTo>
                  <a:lnTo>
                    <a:pt x="2575" y="565"/>
                  </a:lnTo>
                  <a:lnTo>
                    <a:pt x="2571" y="565"/>
                  </a:lnTo>
                  <a:lnTo>
                    <a:pt x="2571" y="565"/>
                  </a:lnTo>
                  <a:lnTo>
                    <a:pt x="2571" y="565"/>
                  </a:lnTo>
                  <a:lnTo>
                    <a:pt x="2571" y="565"/>
                  </a:lnTo>
                  <a:lnTo>
                    <a:pt x="2575" y="565"/>
                  </a:lnTo>
                  <a:lnTo>
                    <a:pt x="2571" y="565"/>
                  </a:lnTo>
                  <a:lnTo>
                    <a:pt x="2571" y="570"/>
                  </a:lnTo>
                  <a:lnTo>
                    <a:pt x="2571" y="570"/>
                  </a:lnTo>
                  <a:lnTo>
                    <a:pt x="2566" y="570"/>
                  </a:lnTo>
                  <a:lnTo>
                    <a:pt x="2566" y="570"/>
                  </a:lnTo>
                  <a:lnTo>
                    <a:pt x="2571" y="570"/>
                  </a:lnTo>
                  <a:lnTo>
                    <a:pt x="2566" y="570"/>
                  </a:lnTo>
                  <a:lnTo>
                    <a:pt x="2566" y="570"/>
                  </a:lnTo>
                  <a:lnTo>
                    <a:pt x="2571" y="570"/>
                  </a:lnTo>
                  <a:lnTo>
                    <a:pt x="2571" y="570"/>
                  </a:lnTo>
                  <a:lnTo>
                    <a:pt x="2571" y="570"/>
                  </a:lnTo>
                  <a:lnTo>
                    <a:pt x="2571" y="570"/>
                  </a:lnTo>
                  <a:lnTo>
                    <a:pt x="2571" y="574"/>
                  </a:lnTo>
                  <a:lnTo>
                    <a:pt x="2571" y="574"/>
                  </a:lnTo>
                  <a:lnTo>
                    <a:pt x="2575" y="574"/>
                  </a:lnTo>
                  <a:lnTo>
                    <a:pt x="2575" y="574"/>
                  </a:lnTo>
                  <a:lnTo>
                    <a:pt x="2575" y="574"/>
                  </a:lnTo>
                  <a:lnTo>
                    <a:pt x="2575" y="574"/>
                  </a:lnTo>
                  <a:lnTo>
                    <a:pt x="2575" y="574"/>
                  </a:lnTo>
                  <a:lnTo>
                    <a:pt x="2575" y="574"/>
                  </a:lnTo>
                  <a:lnTo>
                    <a:pt x="2575" y="574"/>
                  </a:lnTo>
                  <a:lnTo>
                    <a:pt x="2580" y="574"/>
                  </a:lnTo>
                  <a:lnTo>
                    <a:pt x="2584" y="574"/>
                  </a:lnTo>
                  <a:lnTo>
                    <a:pt x="2584" y="574"/>
                  </a:lnTo>
                  <a:lnTo>
                    <a:pt x="2584" y="574"/>
                  </a:lnTo>
                  <a:lnTo>
                    <a:pt x="2584" y="574"/>
                  </a:lnTo>
                  <a:lnTo>
                    <a:pt x="2580" y="574"/>
                  </a:lnTo>
                  <a:lnTo>
                    <a:pt x="2580" y="574"/>
                  </a:lnTo>
                  <a:lnTo>
                    <a:pt x="2580" y="574"/>
                  </a:lnTo>
                  <a:lnTo>
                    <a:pt x="2580" y="579"/>
                  </a:lnTo>
                  <a:lnTo>
                    <a:pt x="2575" y="579"/>
                  </a:lnTo>
                  <a:lnTo>
                    <a:pt x="2575" y="579"/>
                  </a:lnTo>
                  <a:lnTo>
                    <a:pt x="2575" y="579"/>
                  </a:lnTo>
                  <a:lnTo>
                    <a:pt x="2575" y="583"/>
                  </a:lnTo>
                  <a:lnTo>
                    <a:pt x="2575" y="583"/>
                  </a:lnTo>
                  <a:lnTo>
                    <a:pt x="2571" y="583"/>
                  </a:lnTo>
                  <a:lnTo>
                    <a:pt x="2566" y="588"/>
                  </a:lnTo>
                  <a:lnTo>
                    <a:pt x="2571" y="588"/>
                  </a:lnTo>
                  <a:lnTo>
                    <a:pt x="2571" y="588"/>
                  </a:lnTo>
                  <a:lnTo>
                    <a:pt x="2575" y="583"/>
                  </a:lnTo>
                  <a:lnTo>
                    <a:pt x="2575" y="583"/>
                  </a:lnTo>
                  <a:lnTo>
                    <a:pt x="2575" y="583"/>
                  </a:lnTo>
                  <a:lnTo>
                    <a:pt x="2575" y="588"/>
                  </a:lnTo>
                  <a:lnTo>
                    <a:pt x="2580" y="583"/>
                  </a:lnTo>
                  <a:lnTo>
                    <a:pt x="2580" y="583"/>
                  </a:lnTo>
                  <a:lnTo>
                    <a:pt x="2580" y="583"/>
                  </a:lnTo>
                  <a:lnTo>
                    <a:pt x="2584" y="583"/>
                  </a:lnTo>
                  <a:lnTo>
                    <a:pt x="2584" y="583"/>
                  </a:lnTo>
                  <a:lnTo>
                    <a:pt x="2580" y="588"/>
                  </a:lnTo>
                  <a:lnTo>
                    <a:pt x="2575" y="588"/>
                  </a:lnTo>
                  <a:lnTo>
                    <a:pt x="2571" y="588"/>
                  </a:lnTo>
                  <a:lnTo>
                    <a:pt x="2571" y="588"/>
                  </a:lnTo>
                  <a:lnTo>
                    <a:pt x="2571" y="588"/>
                  </a:lnTo>
                  <a:lnTo>
                    <a:pt x="2571" y="588"/>
                  </a:lnTo>
                  <a:lnTo>
                    <a:pt x="2566" y="588"/>
                  </a:lnTo>
                  <a:lnTo>
                    <a:pt x="2571" y="592"/>
                  </a:lnTo>
                  <a:lnTo>
                    <a:pt x="2571" y="592"/>
                  </a:lnTo>
                  <a:lnTo>
                    <a:pt x="2571" y="592"/>
                  </a:lnTo>
                  <a:lnTo>
                    <a:pt x="2566" y="592"/>
                  </a:lnTo>
                  <a:lnTo>
                    <a:pt x="2566" y="592"/>
                  </a:lnTo>
                  <a:lnTo>
                    <a:pt x="2566" y="592"/>
                  </a:lnTo>
                  <a:lnTo>
                    <a:pt x="2566" y="592"/>
                  </a:lnTo>
                  <a:lnTo>
                    <a:pt x="2562" y="592"/>
                  </a:lnTo>
                  <a:lnTo>
                    <a:pt x="2562" y="592"/>
                  </a:lnTo>
                  <a:lnTo>
                    <a:pt x="2562" y="592"/>
                  </a:lnTo>
                  <a:lnTo>
                    <a:pt x="2562" y="592"/>
                  </a:lnTo>
                  <a:lnTo>
                    <a:pt x="2562" y="597"/>
                  </a:lnTo>
                  <a:lnTo>
                    <a:pt x="2566" y="597"/>
                  </a:lnTo>
                  <a:lnTo>
                    <a:pt x="2566" y="597"/>
                  </a:lnTo>
                  <a:lnTo>
                    <a:pt x="2566" y="597"/>
                  </a:lnTo>
                  <a:lnTo>
                    <a:pt x="2566" y="597"/>
                  </a:lnTo>
                  <a:lnTo>
                    <a:pt x="2562" y="597"/>
                  </a:lnTo>
                  <a:lnTo>
                    <a:pt x="2562" y="597"/>
                  </a:lnTo>
                  <a:lnTo>
                    <a:pt x="2562" y="601"/>
                  </a:lnTo>
                  <a:lnTo>
                    <a:pt x="2562" y="601"/>
                  </a:lnTo>
                  <a:lnTo>
                    <a:pt x="2562" y="601"/>
                  </a:lnTo>
                  <a:lnTo>
                    <a:pt x="2562" y="601"/>
                  </a:lnTo>
                  <a:lnTo>
                    <a:pt x="2562" y="601"/>
                  </a:lnTo>
                  <a:lnTo>
                    <a:pt x="2571" y="601"/>
                  </a:lnTo>
                  <a:lnTo>
                    <a:pt x="2571" y="601"/>
                  </a:lnTo>
                  <a:lnTo>
                    <a:pt x="2566" y="601"/>
                  </a:lnTo>
                  <a:lnTo>
                    <a:pt x="2566" y="601"/>
                  </a:lnTo>
                  <a:lnTo>
                    <a:pt x="2566" y="601"/>
                  </a:lnTo>
                  <a:lnTo>
                    <a:pt x="2562" y="606"/>
                  </a:lnTo>
                  <a:lnTo>
                    <a:pt x="2562" y="606"/>
                  </a:lnTo>
                  <a:lnTo>
                    <a:pt x="2566" y="606"/>
                  </a:lnTo>
                  <a:lnTo>
                    <a:pt x="2566" y="606"/>
                  </a:lnTo>
                  <a:lnTo>
                    <a:pt x="2571" y="601"/>
                  </a:lnTo>
                  <a:lnTo>
                    <a:pt x="2571" y="601"/>
                  </a:lnTo>
                  <a:lnTo>
                    <a:pt x="2571" y="601"/>
                  </a:lnTo>
                  <a:lnTo>
                    <a:pt x="2571" y="606"/>
                  </a:lnTo>
                  <a:lnTo>
                    <a:pt x="2566" y="606"/>
                  </a:lnTo>
                  <a:lnTo>
                    <a:pt x="2566" y="606"/>
                  </a:lnTo>
                  <a:lnTo>
                    <a:pt x="2571" y="606"/>
                  </a:lnTo>
                  <a:lnTo>
                    <a:pt x="2571" y="606"/>
                  </a:lnTo>
                  <a:lnTo>
                    <a:pt x="2575" y="606"/>
                  </a:lnTo>
                  <a:lnTo>
                    <a:pt x="2575" y="606"/>
                  </a:lnTo>
                  <a:lnTo>
                    <a:pt x="2575" y="606"/>
                  </a:lnTo>
                  <a:lnTo>
                    <a:pt x="2580" y="606"/>
                  </a:lnTo>
                  <a:lnTo>
                    <a:pt x="2584" y="606"/>
                  </a:lnTo>
                  <a:lnTo>
                    <a:pt x="2584" y="606"/>
                  </a:lnTo>
                  <a:lnTo>
                    <a:pt x="2589" y="601"/>
                  </a:lnTo>
                  <a:lnTo>
                    <a:pt x="2589" y="601"/>
                  </a:lnTo>
                  <a:lnTo>
                    <a:pt x="2589" y="601"/>
                  </a:lnTo>
                  <a:lnTo>
                    <a:pt x="2589" y="601"/>
                  </a:lnTo>
                  <a:lnTo>
                    <a:pt x="2589" y="601"/>
                  </a:lnTo>
                  <a:lnTo>
                    <a:pt x="2589" y="601"/>
                  </a:lnTo>
                  <a:lnTo>
                    <a:pt x="2589" y="601"/>
                  </a:lnTo>
                  <a:lnTo>
                    <a:pt x="2589" y="601"/>
                  </a:lnTo>
                  <a:lnTo>
                    <a:pt x="2589" y="601"/>
                  </a:lnTo>
                  <a:lnTo>
                    <a:pt x="2589" y="601"/>
                  </a:lnTo>
                  <a:lnTo>
                    <a:pt x="2593" y="601"/>
                  </a:lnTo>
                  <a:lnTo>
                    <a:pt x="2593" y="601"/>
                  </a:lnTo>
                  <a:lnTo>
                    <a:pt x="2593" y="601"/>
                  </a:lnTo>
                  <a:lnTo>
                    <a:pt x="2598" y="597"/>
                  </a:lnTo>
                  <a:lnTo>
                    <a:pt x="2598" y="597"/>
                  </a:lnTo>
                  <a:lnTo>
                    <a:pt x="2598" y="597"/>
                  </a:lnTo>
                  <a:lnTo>
                    <a:pt x="2598" y="597"/>
                  </a:lnTo>
                  <a:lnTo>
                    <a:pt x="2602" y="597"/>
                  </a:lnTo>
                  <a:lnTo>
                    <a:pt x="2602" y="597"/>
                  </a:lnTo>
                  <a:lnTo>
                    <a:pt x="2602" y="597"/>
                  </a:lnTo>
                  <a:lnTo>
                    <a:pt x="2602" y="597"/>
                  </a:lnTo>
                  <a:lnTo>
                    <a:pt x="2607" y="597"/>
                  </a:lnTo>
                  <a:lnTo>
                    <a:pt x="2607" y="597"/>
                  </a:lnTo>
                  <a:lnTo>
                    <a:pt x="2607" y="592"/>
                  </a:lnTo>
                  <a:lnTo>
                    <a:pt x="2611" y="592"/>
                  </a:lnTo>
                  <a:lnTo>
                    <a:pt x="2611" y="592"/>
                  </a:lnTo>
                  <a:lnTo>
                    <a:pt x="2611" y="597"/>
                  </a:lnTo>
                  <a:lnTo>
                    <a:pt x="2611" y="592"/>
                  </a:lnTo>
                  <a:lnTo>
                    <a:pt x="2611" y="592"/>
                  </a:lnTo>
                  <a:lnTo>
                    <a:pt x="2611" y="592"/>
                  </a:lnTo>
                  <a:lnTo>
                    <a:pt x="2616" y="592"/>
                  </a:lnTo>
                  <a:lnTo>
                    <a:pt x="2616" y="592"/>
                  </a:lnTo>
                  <a:lnTo>
                    <a:pt x="2620" y="592"/>
                  </a:lnTo>
                  <a:lnTo>
                    <a:pt x="2616" y="592"/>
                  </a:lnTo>
                  <a:lnTo>
                    <a:pt x="2616" y="592"/>
                  </a:lnTo>
                  <a:lnTo>
                    <a:pt x="2620" y="592"/>
                  </a:lnTo>
                  <a:close/>
                  <a:moveTo>
                    <a:pt x="1730" y="253"/>
                  </a:moveTo>
                  <a:lnTo>
                    <a:pt x="1730" y="253"/>
                  </a:lnTo>
                  <a:lnTo>
                    <a:pt x="1730" y="253"/>
                  </a:lnTo>
                  <a:lnTo>
                    <a:pt x="1726" y="253"/>
                  </a:lnTo>
                  <a:lnTo>
                    <a:pt x="1726" y="258"/>
                  </a:lnTo>
                  <a:lnTo>
                    <a:pt x="1726" y="258"/>
                  </a:lnTo>
                  <a:lnTo>
                    <a:pt x="1726" y="258"/>
                  </a:lnTo>
                  <a:lnTo>
                    <a:pt x="1726" y="258"/>
                  </a:lnTo>
                  <a:lnTo>
                    <a:pt x="1726" y="258"/>
                  </a:lnTo>
                  <a:lnTo>
                    <a:pt x="1726" y="258"/>
                  </a:lnTo>
                  <a:lnTo>
                    <a:pt x="1726" y="262"/>
                  </a:lnTo>
                  <a:lnTo>
                    <a:pt x="1721" y="262"/>
                  </a:lnTo>
                  <a:lnTo>
                    <a:pt x="1726" y="262"/>
                  </a:lnTo>
                  <a:lnTo>
                    <a:pt x="1726" y="262"/>
                  </a:lnTo>
                  <a:lnTo>
                    <a:pt x="1726" y="262"/>
                  </a:lnTo>
                  <a:lnTo>
                    <a:pt x="1726" y="262"/>
                  </a:lnTo>
                  <a:lnTo>
                    <a:pt x="1726" y="262"/>
                  </a:lnTo>
                  <a:lnTo>
                    <a:pt x="1730" y="262"/>
                  </a:lnTo>
                  <a:lnTo>
                    <a:pt x="1730" y="258"/>
                  </a:lnTo>
                  <a:lnTo>
                    <a:pt x="1730" y="258"/>
                  </a:lnTo>
                  <a:lnTo>
                    <a:pt x="1730" y="258"/>
                  </a:lnTo>
                  <a:lnTo>
                    <a:pt x="1735" y="258"/>
                  </a:lnTo>
                  <a:lnTo>
                    <a:pt x="1735" y="253"/>
                  </a:lnTo>
                  <a:lnTo>
                    <a:pt x="1735" y="253"/>
                  </a:lnTo>
                  <a:lnTo>
                    <a:pt x="1735" y="253"/>
                  </a:lnTo>
                  <a:lnTo>
                    <a:pt x="1735" y="253"/>
                  </a:lnTo>
                  <a:lnTo>
                    <a:pt x="1735" y="253"/>
                  </a:lnTo>
                  <a:lnTo>
                    <a:pt x="1730" y="253"/>
                  </a:lnTo>
                  <a:close/>
                  <a:moveTo>
                    <a:pt x="696" y="289"/>
                  </a:moveTo>
                  <a:lnTo>
                    <a:pt x="696" y="289"/>
                  </a:lnTo>
                  <a:lnTo>
                    <a:pt x="700" y="289"/>
                  </a:lnTo>
                  <a:lnTo>
                    <a:pt x="696" y="294"/>
                  </a:lnTo>
                  <a:lnTo>
                    <a:pt x="696" y="294"/>
                  </a:lnTo>
                  <a:lnTo>
                    <a:pt x="700" y="294"/>
                  </a:lnTo>
                  <a:lnTo>
                    <a:pt x="700" y="289"/>
                  </a:lnTo>
                  <a:lnTo>
                    <a:pt x="700" y="289"/>
                  </a:lnTo>
                  <a:lnTo>
                    <a:pt x="705" y="289"/>
                  </a:lnTo>
                  <a:lnTo>
                    <a:pt x="705" y="289"/>
                  </a:lnTo>
                  <a:lnTo>
                    <a:pt x="709" y="289"/>
                  </a:lnTo>
                  <a:lnTo>
                    <a:pt x="709" y="289"/>
                  </a:lnTo>
                  <a:lnTo>
                    <a:pt x="709" y="289"/>
                  </a:lnTo>
                  <a:lnTo>
                    <a:pt x="709" y="289"/>
                  </a:lnTo>
                  <a:lnTo>
                    <a:pt x="714" y="285"/>
                  </a:lnTo>
                  <a:lnTo>
                    <a:pt x="714" y="285"/>
                  </a:lnTo>
                  <a:lnTo>
                    <a:pt x="714" y="285"/>
                  </a:lnTo>
                  <a:lnTo>
                    <a:pt x="718" y="285"/>
                  </a:lnTo>
                  <a:lnTo>
                    <a:pt x="718" y="285"/>
                  </a:lnTo>
                  <a:lnTo>
                    <a:pt x="718" y="285"/>
                  </a:lnTo>
                  <a:lnTo>
                    <a:pt x="718" y="285"/>
                  </a:lnTo>
                  <a:lnTo>
                    <a:pt x="714" y="285"/>
                  </a:lnTo>
                  <a:lnTo>
                    <a:pt x="714" y="280"/>
                  </a:lnTo>
                  <a:lnTo>
                    <a:pt x="714" y="280"/>
                  </a:lnTo>
                  <a:lnTo>
                    <a:pt x="714" y="280"/>
                  </a:lnTo>
                  <a:lnTo>
                    <a:pt x="714" y="280"/>
                  </a:lnTo>
                  <a:lnTo>
                    <a:pt x="714" y="280"/>
                  </a:lnTo>
                  <a:lnTo>
                    <a:pt x="714" y="280"/>
                  </a:lnTo>
                  <a:lnTo>
                    <a:pt x="714" y="280"/>
                  </a:lnTo>
                  <a:lnTo>
                    <a:pt x="709" y="280"/>
                  </a:lnTo>
                  <a:lnTo>
                    <a:pt x="709" y="280"/>
                  </a:lnTo>
                  <a:lnTo>
                    <a:pt x="705" y="280"/>
                  </a:lnTo>
                  <a:lnTo>
                    <a:pt x="705" y="285"/>
                  </a:lnTo>
                  <a:lnTo>
                    <a:pt x="700" y="280"/>
                  </a:lnTo>
                  <a:lnTo>
                    <a:pt x="700" y="280"/>
                  </a:lnTo>
                  <a:lnTo>
                    <a:pt x="696" y="280"/>
                  </a:lnTo>
                  <a:lnTo>
                    <a:pt x="696" y="285"/>
                  </a:lnTo>
                  <a:lnTo>
                    <a:pt x="696" y="285"/>
                  </a:lnTo>
                  <a:lnTo>
                    <a:pt x="696" y="285"/>
                  </a:lnTo>
                  <a:lnTo>
                    <a:pt x="696" y="289"/>
                  </a:lnTo>
                  <a:close/>
                  <a:moveTo>
                    <a:pt x="1419" y="149"/>
                  </a:moveTo>
                  <a:lnTo>
                    <a:pt x="1419" y="154"/>
                  </a:lnTo>
                  <a:lnTo>
                    <a:pt x="1419" y="154"/>
                  </a:lnTo>
                  <a:lnTo>
                    <a:pt x="1423" y="154"/>
                  </a:lnTo>
                  <a:lnTo>
                    <a:pt x="1423" y="158"/>
                  </a:lnTo>
                  <a:lnTo>
                    <a:pt x="1423" y="158"/>
                  </a:lnTo>
                  <a:lnTo>
                    <a:pt x="1423" y="158"/>
                  </a:lnTo>
                  <a:lnTo>
                    <a:pt x="1423" y="163"/>
                  </a:lnTo>
                  <a:lnTo>
                    <a:pt x="1423" y="163"/>
                  </a:lnTo>
                  <a:lnTo>
                    <a:pt x="1419" y="167"/>
                  </a:lnTo>
                  <a:lnTo>
                    <a:pt x="1419" y="167"/>
                  </a:lnTo>
                  <a:lnTo>
                    <a:pt x="1419" y="167"/>
                  </a:lnTo>
                  <a:lnTo>
                    <a:pt x="1419" y="167"/>
                  </a:lnTo>
                  <a:lnTo>
                    <a:pt x="1419" y="167"/>
                  </a:lnTo>
                  <a:lnTo>
                    <a:pt x="1423" y="167"/>
                  </a:lnTo>
                  <a:lnTo>
                    <a:pt x="1423" y="167"/>
                  </a:lnTo>
                  <a:lnTo>
                    <a:pt x="1428" y="167"/>
                  </a:lnTo>
                  <a:lnTo>
                    <a:pt x="1432" y="167"/>
                  </a:lnTo>
                  <a:lnTo>
                    <a:pt x="1441" y="163"/>
                  </a:lnTo>
                  <a:lnTo>
                    <a:pt x="1441" y="163"/>
                  </a:lnTo>
                  <a:lnTo>
                    <a:pt x="1441" y="163"/>
                  </a:lnTo>
                  <a:lnTo>
                    <a:pt x="1441" y="163"/>
                  </a:lnTo>
                  <a:lnTo>
                    <a:pt x="1441" y="163"/>
                  </a:lnTo>
                  <a:lnTo>
                    <a:pt x="1446" y="163"/>
                  </a:lnTo>
                  <a:lnTo>
                    <a:pt x="1450" y="163"/>
                  </a:lnTo>
                  <a:lnTo>
                    <a:pt x="1455" y="163"/>
                  </a:lnTo>
                  <a:lnTo>
                    <a:pt x="1455" y="163"/>
                  </a:lnTo>
                  <a:lnTo>
                    <a:pt x="1455" y="163"/>
                  </a:lnTo>
                  <a:lnTo>
                    <a:pt x="1459" y="163"/>
                  </a:lnTo>
                  <a:lnTo>
                    <a:pt x="1464" y="158"/>
                  </a:lnTo>
                  <a:lnTo>
                    <a:pt x="1468" y="158"/>
                  </a:lnTo>
                  <a:lnTo>
                    <a:pt x="1473" y="154"/>
                  </a:lnTo>
                  <a:lnTo>
                    <a:pt x="1473" y="154"/>
                  </a:lnTo>
                  <a:lnTo>
                    <a:pt x="1477" y="154"/>
                  </a:lnTo>
                  <a:lnTo>
                    <a:pt x="1477" y="154"/>
                  </a:lnTo>
                  <a:lnTo>
                    <a:pt x="1482" y="154"/>
                  </a:lnTo>
                  <a:lnTo>
                    <a:pt x="1486" y="149"/>
                  </a:lnTo>
                  <a:lnTo>
                    <a:pt x="1495" y="149"/>
                  </a:lnTo>
                  <a:lnTo>
                    <a:pt x="1495" y="145"/>
                  </a:lnTo>
                  <a:lnTo>
                    <a:pt x="1500" y="145"/>
                  </a:lnTo>
                  <a:lnTo>
                    <a:pt x="1513" y="145"/>
                  </a:lnTo>
                  <a:lnTo>
                    <a:pt x="1522" y="140"/>
                  </a:lnTo>
                  <a:lnTo>
                    <a:pt x="1527" y="140"/>
                  </a:lnTo>
                  <a:lnTo>
                    <a:pt x="1536" y="140"/>
                  </a:lnTo>
                  <a:lnTo>
                    <a:pt x="1541" y="140"/>
                  </a:lnTo>
                  <a:lnTo>
                    <a:pt x="1541" y="140"/>
                  </a:lnTo>
                  <a:lnTo>
                    <a:pt x="1550" y="136"/>
                  </a:lnTo>
                  <a:lnTo>
                    <a:pt x="1550" y="136"/>
                  </a:lnTo>
                  <a:lnTo>
                    <a:pt x="1550" y="136"/>
                  </a:lnTo>
                  <a:lnTo>
                    <a:pt x="1550" y="136"/>
                  </a:lnTo>
                  <a:lnTo>
                    <a:pt x="1554" y="136"/>
                  </a:lnTo>
                  <a:lnTo>
                    <a:pt x="1554" y="136"/>
                  </a:lnTo>
                  <a:lnTo>
                    <a:pt x="1554" y="136"/>
                  </a:lnTo>
                  <a:lnTo>
                    <a:pt x="1554" y="131"/>
                  </a:lnTo>
                  <a:lnTo>
                    <a:pt x="1554" y="131"/>
                  </a:lnTo>
                  <a:lnTo>
                    <a:pt x="1554" y="127"/>
                  </a:lnTo>
                  <a:lnTo>
                    <a:pt x="1550" y="127"/>
                  </a:lnTo>
                  <a:lnTo>
                    <a:pt x="1550" y="122"/>
                  </a:lnTo>
                  <a:lnTo>
                    <a:pt x="1550" y="122"/>
                  </a:lnTo>
                  <a:lnTo>
                    <a:pt x="1550" y="122"/>
                  </a:lnTo>
                  <a:lnTo>
                    <a:pt x="1545" y="122"/>
                  </a:lnTo>
                  <a:lnTo>
                    <a:pt x="1545" y="122"/>
                  </a:lnTo>
                  <a:lnTo>
                    <a:pt x="1541" y="122"/>
                  </a:lnTo>
                  <a:lnTo>
                    <a:pt x="1541" y="122"/>
                  </a:lnTo>
                  <a:lnTo>
                    <a:pt x="1536" y="122"/>
                  </a:lnTo>
                  <a:lnTo>
                    <a:pt x="1532" y="122"/>
                  </a:lnTo>
                  <a:lnTo>
                    <a:pt x="1532" y="122"/>
                  </a:lnTo>
                  <a:lnTo>
                    <a:pt x="1532" y="122"/>
                  </a:lnTo>
                  <a:lnTo>
                    <a:pt x="1532" y="122"/>
                  </a:lnTo>
                  <a:lnTo>
                    <a:pt x="1532" y="122"/>
                  </a:lnTo>
                  <a:lnTo>
                    <a:pt x="1532" y="122"/>
                  </a:lnTo>
                  <a:lnTo>
                    <a:pt x="1532" y="122"/>
                  </a:lnTo>
                  <a:lnTo>
                    <a:pt x="1532" y="122"/>
                  </a:lnTo>
                  <a:lnTo>
                    <a:pt x="1532" y="122"/>
                  </a:lnTo>
                  <a:lnTo>
                    <a:pt x="1532" y="122"/>
                  </a:lnTo>
                  <a:lnTo>
                    <a:pt x="1527" y="122"/>
                  </a:lnTo>
                  <a:lnTo>
                    <a:pt x="1527" y="122"/>
                  </a:lnTo>
                  <a:lnTo>
                    <a:pt x="1527" y="122"/>
                  </a:lnTo>
                  <a:lnTo>
                    <a:pt x="1527" y="122"/>
                  </a:lnTo>
                  <a:lnTo>
                    <a:pt x="1532" y="122"/>
                  </a:lnTo>
                  <a:lnTo>
                    <a:pt x="1527" y="118"/>
                  </a:lnTo>
                  <a:lnTo>
                    <a:pt x="1527" y="118"/>
                  </a:lnTo>
                  <a:lnTo>
                    <a:pt x="1522" y="118"/>
                  </a:lnTo>
                  <a:lnTo>
                    <a:pt x="1522" y="113"/>
                  </a:lnTo>
                  <a:lnTo>
                    <a:pt x="1522" y="113"/>
                  </a:lnTo>
                  <a:lnTo>
                    <a:pt x="1522" y="113"/>
                  </a:lnTo>
                  <a:lnTo>
                    <a:pt x="1518" y="113"/>
                  </a:lnTo>
                  <a:lnTo>
                    <a:pt x="1509" y="113"/>
                  </a:lnTo>
                  <a:lnTo>
                    <a:pt x="1500" y="113"/>
                  </a:lnTo>
                  <a:lnTo>
                    <a:pt x="1486" y="113"/>
                  </a:lnTo>
                  <a:lnTo>
                    <a:pt x="1486" y="113"/>
                  </a:lnTo>
                  <a:lnTo>
                    <a:pt x="1486" y="113"/>
                  </a:lnTo>
                  <a:lnTo>
                    <a:pt x="1486" y="113"/>
                  </a:lnTo>
                  <a:lnTo>
                    <a:pt x="1486" y="113"/>
                  </a:lnTo>
                  <a:lnTo>
                    <a:pt x="1482" y="122"/>
                  </a:lnTo>
                  <a:lnTo>
                    <a:pt x="1482" y="122"/>
                  </a:lnTo>
                  <a:lnTo>
                    <a:pt x="1482" y="122"/>
                  </a:lnTo>
                  <a:lnTo>
                    <a:pt x="1482" y="122"/>
                  </a:lnTo>
                  <a:lnTo>
                    <a:pt x="1482" y="122"/>
                  </a:lnTo>
                  <a:lnTo>
                    <a:pt x="1482" y="122"/>
                  </a:lnTo>
                  <a:lnTo>
                    <a:pt x="1477" y="127"/>
                  </a:lnTo>
                  <a:lnTo>
                    <a:pt x="1473" y="127"/>
                  </a:lnTo>
                  <a:lnTo>
                    <a:pt x="1464" y="127"/>
                  </a:lnTo>
                  <a:lnTo>
                    <a:pt x="1459" y="131"/>
                  </a:lnTo>
                  <a:lnTo>
                    <a:pt x="1459" y="131"/>
                  </a:lnTo>
                  <a:lnTo>
                    <a:pt x="1455" y="131"/>
                  </a:lnTo>
                  <a:lnTo>
                    <a:pt x="1455" y="136"/>
                  </a:lnTo>
                  <a:lnTo>
                    <a:pt x="1455" y="136"/>
                  </a:lnTo>
                  <a:lnTo>
                    <a:pt x="1455" y="136"/>
                  </a:lnTo>
                  <a:lnTo>
                    <a:pt x="1455" y="136"/>
                  </a:lnTo>
                  <a:lnTo>
                    <a:pt x="1455" y="136"/>
                  </a:lnTo>
                  <a:lnTo>
                    <a:pt x="1455" y="136"/>
                  </a:lnTo>
                  <a:lnTo>
                    <a:pt x="1455" y="136"/>
                  </a:lnTo>
                  <a:lnTo>
                    <a:pt x="1450" y="136"/>
                  </a:lnTo>
                  <a:lnTo>
                    <a:pt x="1450" y="136"/>
                  </a:lnTo>
                  <a:lnTo>
                    <a:pt x="1446" y="136"/>
                  </a:lnTo>
                  <a:lnTo>
                    <a:pt x="1446" y="136"/>
                  </a:lnTo>
                  <a:lnTo>
                    <a:pt x="1446" y="136"/>
                  </a:lnTo>
                  <a:lnTo>
                    <a:pt x="1446" y="140"/>
                  </a:lnTo>
                  <a:lnTo>
                    <a:pt x="1441" y="140"/>
                  </a:lnTo>
                  <a:lnTo>
                    <a:pt x="1441" y="140"/>
                  </a:lnTo>
                  <a:lnTo>
                    <a:pt x="1441" y="140"/>
                  </a:lnTo>
                  <a:lnTo>
                    <a:pt x="1441" y="140"/>
                  </a:lnTo>
                  <a:lnTo>
                    <a:pt x="1441" y="140"/>
                  </a:lnTo>
                  <a:lnTo>
                    <a:pt x="1437" y="140"/>
                  </a:lnTo>
                  <a:lnTo>
                    <a:pt x="1437" y="140"/>
                  </a:lnTo>
                  <a:lnTo>
                    <a:pt x="1432" y="145"/>
                  </a:lnTo>
                  <a:lnTo>
                    <a:pt x="1432" y="145"/>
                  </a:lnTo>
                  <a:lnTo>
                    <a:pt x="1428" y="145"/>
                  </a:lnTo>
                  <a:lnTo>
                    <a:pt x="1428" y="145"/>
                  </a:lnTo>
                  <a:lnTo>
                    <a:pt x="1423" y="145"/>
                  </a:lnTo>
                  <a:lnTo>
                    <a:pt x="1423" y="145"/>
                  </a:lnTo>
                  <a:lnTo>
                    <a:pt x="1423" y="145"/>
                  </a:lnTo>
                  <a:lnTo>
                    <a:pt x="1423" y="145"/>
                  </a:lnTo>
                  <a:lnTo>
                    <a:pt x="1423" y="149"/>
                  </a:lnTo>
                  <a:lnTo>
                    <a:pt x="1423" y="149"/>
                  </a:lnTo>
                  <a:lnTo>
                    <a:pt x="1419" y="149"/>
                  </a:lnTo>
                  <a:lnTo>
                    <a:pt x="1419" y="149"/>
                  </a:lnTo>
                  <a:lnTo>
                    <a:pt x="1419" y="149"/>
                  </a:lnTo>
                  <a:lnTo>
                    <a:pt x="1419" y="149"/>
                  </a:lnTo>
                  <a:lnTo>
                    <a:pt x="1419" y="149"/>
                  </a:lnTo>
                  <a:lnTo>
                    <a:pt x="1414" y="149"/>
                  </a:lnTo>
                  <a:lnTo>
                    <a:pt x="1414" y="149"/>
                  </a:lnTo>
                  <a:lnTo>
                    <a:pt x="1414" y="149"/>
                  </a:lnTo>
                  <a:lnTo>
                    <a:pt x="1419" y="149"/>
                  </a:lnTo>
                  <a:close/>
                  <a:moveTo>
                    <a:pt x="36" y="1085"/>
                  </a:moveTo>
                  <a:lnTo>
                    <a:pt x="36" y="1085"/>
                  </a:lnTo>
                  <a:lnTo>
                    <a:pt x="36" y="1081"/>
                  </a:lnTo>
                  <a:lnTo>
                    <a:pt x="36" y="1081"/>
                  </a:lnTo>
                  <a:lnTo>
                    <a:pt x="36" y="1081"/>
                  </a:lnTo>
                  <a:lnTo>
                    <a:pt x="36" y="1076"/>
                  </a:lnTo>
                  <a:lnTo>
                    <a:pt x="36" y="1076"/>
                  </a:lnTo>
                  <a:lnTo>
                    <a:pt x="32" y="1081"/>
                  </a:lnTo>
                  <a:lnTo>
                    <a:pt x="32" y="1081"/>
                  </a:lnTo>
                  <a:lnTo>
                    <a:pt x="32" y="1081"/>
                  </a:lnTo>
                  <a:lnTo>
                    <a:pt x="32" y="1081"/>
                  </a:lnTo>
                  <a:lnTo>
                    <a:pt x="32" y="1085"/>
                  </a:lnTo>
                  <a:lnTo>
                    <a:pt x="32" y="1085"/>
                  </a:lnTo>
                  <a:lnTo>
                    <a:pt x="32" y="1085"/>
                  </a:lnTo>
                  <a:lnTo>
                    <a:pt x="32" y="1085"/>
                  </a:lnTo>
                  <a:lnTo>
                    <a:pt x="32" y="1085"/>
                  </a:lnTo>
                  <a:lnTo>
                    <a:pt x="32" y="1085"/>
                  </a:lnTo>
                  <a:lnTo>
                    <a:pt x="32" y="1085"/>
                  </a:lnTo>
                  <a:lnTo>
                    <a:pt x="32" y="1085"/>
                  </a:lnTo>
                  <a:lnTo>
                    <a:pt x="32" y="1085"/>
                  </a:lnTo>
                  <a:lnTo>
                    <a:pt x="36" y="1085"/>
                  </a:lnTo>
                  <a:lnTo>
                    <a:pt x="36" y="1090"/>
                  </a:lnTo>
                  <a:lnTo>
                    <a:pt x="36" y="1085"/>
                  </a:lnTo>
                  <a:lnTo>
                    <a:pt x="36" y="1085"/>
                  </a:lnTo>
                  <a:lnTo>
                    <a:pt x="36" y="1085"/>
                  </a:lnTo>
                  <a:lnTo>
                    <a:pt x="36" y="1085"/>
                  </a:lnTo>
                  <a:lnTo>
                    <a:pt x="36" y="1085"/>
                  </a:lnTo>
                  <a:lnTo>
                    <a:pt x="36" y="1085"/>
                  </a:lnTo>
                  <a:close/>
                  <a:moveTo>
                    <a:pt x="50" y="1094"/>
                  </a:moveTo>
                  <a:lnTo>
                    <a:pt x="50" y="1099"/>
                  </a:lnTo>
                  <a:lnTo>
                    <a:pt x="50" y="1099"/>
                  </a:lnTo>
                  <a:lnTo>
                    <a:pt x="50" y="1099"/>
                  </a:lnTo>
                  <a:lnTo>
                    <a:pt x="50" y="1099"/>
                  </a:lnTo>
                  <a:lnTo>
                    <a:pt x="50" y="1103"/>
                  </a:lnTo>
                  <a:lnTo>
                    <a:pt x="50" y="1103"/>
                  </a:lnTo>
                  <a:lnTo>
                    <a:pt x="50" y="1103"/>
                  </a:lnTo>
                  <a:lnTo>
                    <a:pt x="50" y="1103"/>
                  </a:lnTo>
                  <a:lnTo>
                    <a:pt x="54" y="1103"/>
                  </a:lnTo>
                  <a:lnTo>
                    <a:pt x="54" y="1103"/>
                  </a:lnTo>
                  <a:lnTo>
                    <a:pt x="59" y="1103"/>
                  </a:lnTo>
                  <a:lnTo>
                    <a:pt x="59" y="1103"/>
                  </a:lnTo>
                  <a:lnTo>
                    <a:pt x="59" y="1099"/>
                  </a:lnTo>
                  <a:lnTo>
                    <a:pt x="59" y="1099"/>
                  </a:lnTo>
                  <a:lnTo>
                    <a:pt x="59" y="1099"/>
                  </a:lnTo>
                  <a:lnTo>
                    <a:pt x="54" y="1099"/>
                  </a:lnTo>
                  <a:lnTo>
                    <a:pt x="54" y="1099"/>
                  </a:lnTo>
                  <a:lnTo>
                    <a:pt x="54" y="1099"/>
                  </a:lnTo>
                  <a:lnTo>
                    <a:pt x="54" y="1099"/>
                  </a:lnTo>
                  <a:lnTo>
                    <a:pt x="54" y="1094"/>
                  </a:lnTo>
                  <a:lnTo>
                    <a:pt x="50" y="1094"/>
                  </a:lnTo>
                  <a:lnTo>
                    <a:pt x="50" y="1094"/>
                  </a:lnTo>
                  <a:lnTo>
                    <a:pt x="50" y="1094"/>
                  </a:lnTo>
                  <a:close/>
                  <a:moveTo>
                    <a:pt x="1672" y="72"/>
                  </a:moveTo>
                  <a:lnTo>
                    <a:pt x="1676" y="72"/>
                  </a:lnTo>
                  <a:lnTo>
                    <a:pt x="1676" y="77"/>
                  </a:lnTo>
                  <a:lnTo>
                    <a:pt x="1676" y="77"/>
                  </a:lnTo>
                  <a:lnTo>
                    <a:pt x="1676" y="77"/>
                  </a:lnTo>
                  <a:lnTo>
                    <a:pt x="1685" y="77"/>
                  </a:lnTo>
                  <a:lnTo>
                    <a:pt x="1690" y="77"/>
                  </a:lnTo>
                  <a:lnTo>
                    <a:pt x="1690" y="77"/>
                  </a:lnTo>
                  <a:lnTo>
                    <a:pt x="1694" y="77"/>
                  </a:lnTo>
                  <a:lnTo>
                    <a:pt x="1694" y="77"/>
                  </a:lnTo>
                  <a:lnTo>
                    <a:pt x="1699" y="72"/>
                  </a:lnTo>
                  <a:lnTo>
                    <a:pt x="1699" y="72"/>
                  </a:lnTo>
                  <a:lnTo>
                    <a:pt x="1703" y="72"/>
                  </a:lnTo>
                  <a:lnTo>
                    <a:pt x="1703" y="72"/>
                  </a:lnTo>
                  <a:lnTo>
                    <a:pt x="1703" y="72"/>
                  </a:lnTo>
                  <a:lnTo>
                    <a:pt x="1703" y="72"/>
                  </a:lnTo>
                  <a:lnTo>
                    <a:pt x="1703" y="72"/>
                  </a:lnTo>
                  <a:lnTo>
                    <a:pt x="1703" y="72"/>
                  </a:lnTo>
                  <a:lnTo>
                    <a:pt x="1699" y="68"/>
                  </a:lnTo>
                  <a:lnTo>
                    <a:pt x="1699" y="68"/>
                  </a:lnTo>
                  <a:lnTo>
                    <a:pt x="1699" y="68"/>
                  </a:lnTo>
                  <a:lnTo>
                    <a:pt x="1699" y="68"/>
                  </a:lnTo>
                  <a:lnTo>
                    <a:pt x="1703" y="68"/>
                  </a:lnTo>
                  <a:lnTo>
                    <a:pt x="1708" y="68"/>
                  </a:lnTo>
                  <a:lnTo>
                    <a:pt x="1712" y="68"/>
                  </a:lnTo>
                  <a:lnTo>
                    <a:pt x="1717" y="68"/>
                  </a:lnTo>
                  <a:lnTo>
                    <a:pt x="1717" y="68"/>
                  </a:lnTo>
                  <a:lnTo>
                    <a:pt x="1717" y="68"/>
                  </a:lnTo>
                  <a:lnTo>
                    <a:pt x="1717" y="68"/>
                  </a:lnTo>
                  <a:lnTo>
                    <a:pt x="1712" y="63"/>
                  </a:lnTo>
                  <a:lnTo>
                    <a:pt x="1708" y="63"/>
                  </a:lnTo>
                  <a:lnTo>
                    <a:pt x="1708" y="63"/>
                  </a:lnTo>
                  <a:lnTo>
                    <a:pt x="1703" y="63"/>
                  </a:lnTo>
                  <a:lnTo>
                    <a:pt x="1690" y="63"/>
                  </a:lnTo>
                  <a:lnTo>
                    <a:pt x="1685" y="68"/>
                  </a:lnTo>
                  <a:lnTo>
                    <a:pt x="1685" y="68"/>
                  </a:lnTo>
                  <a:lnTo>
                    <a:pt x="1681" y="68"/>
                  </a:lnTo>
                  <a:lnTo>
                    <a:pt x="1681" y="68"/>
                  </a:lnTo>
                  <a:lnTo>
                    <a:pt x="1681" y="68"/>
                  </a:lnTo>
                  <a:lnTo>
                    <a:pt x="1681" y="68"/>
                  </a:lnTo>
                  <a:lnTo>
                    <a:pt x="1681" y="68"/>
                  </a:lnTo>
                  <a:lnTo>
                    <a:pt x="1676" y="68"/>
                  </a:lnTo>
                  <a:lnTo>
                    <a:pt x="1676" y="68"/>
                  </a:lnTo>
                  <a:lnTo>
                    <a:pt x="1676" y="68"/>
                  </a:lnTo>
                  <a:lnTo>
                    <a:pt x="1676" y="72"/>
                  </a:lnTo>
                  <a:lnTo>
                    <a:pt x="1676" y="72"/>
                  </a:lnTo>
                  <a:lnTo>
                    <a:pt x="1672" y="72"/>
                  </a:lnTo>
                  <a:lnTo>
                    <a:pt x="1672" y="72"/>
                  </a:lnTo>
                  <a:lnTo>
                    <a:pt x="1672" y="72"/>
                  </a:lnTo>
                  <a:lnTo>
                    <a:pt x="1672" y="72"/>
                  </a:lnTo>
                  <a:lnTo>
                    <a:pt x="1672" y="72"/>
                  </a:lnTo>
                  <a:lnTo>
                    <a:pt x="1672" y="72"/>
                  </a:lnTo>
                  <a:close/>
                  <a:moveTo>
                    <a:pt x="1550" y="90"/>
                  </a:moveTo>
                  <a:lnTo>
                    <a:pt x="1554" y="90"/>
                  </a:lnTo>
                  <a:lnTo>
                    <a:pt x="1559" y="90"/>
                  </a:lnTo>
                  <a:lnTo>
                    <a:pt x="1559" y="90"/>
                  </a:lnTo>
                  <a:lnTo>
                    <a:pt x="1559" y="90"/>
                  </a:lnTo>
                  <a:lnTo>
                    <a:pt x="1559" y="90"/>
                  </a:lnTo>
                  <a:lnTo>
                    <a:pt x="1563" y="90"/>
                  </a:lnTo>
                  <a:lnTo>
                    <a:pt x="1563" y="90"/>
                  </a:lnTo>
                  <a:lnTo>
                    <a:pt x="1568" y="86"/>
                  </a:lnTo>
                  <a:lnTo>
                    <a:pt x="1572" y="86"/>
                  </a:lnTo>
                  <a:lnTo>
                    <a:pt x="1572" y="86"/>
                  </a:lnTo>
                  <a:lnTo>
                    <a:pt x="1572" y="86"/>
                  </a:lnTo>
                  <a:lnTo>
                    <a:pt x="1568" y="90"/>
                  </a:lnTo>
                  <a:lnTo>
                    <a:pt x="1568" y="90"/>
                  </a:lnTo>
                  <a:lnTo>
                    <a:pt x="1568" y="90"/>
                  </a:lnTo>
                  <a:lnTo>
                    <a:pt x="1568" y="90"/>
                  </a:lnTo>
                  <a:lnTo>
                    <a:pt x="1563" y="95"/>
                  </a:lnTo>
                  <a:lnTo>
                    <a:pt x="1563" y="95"/>
                  </a:lnTo>
                  <a:lnTo>
                    <a:pt x="1563" y="95"/>
                  </a:lnTo>
                  <a:lnTo>
                    <a:pt x="1568" y="95"/>
                  </a:lnTo>
                  <a:lnTo>
                    <a:pt x="1568" y="95"/>
                  </a:lnTo>
                  <a:lnTo>
                    <a:pt x="1572" y="95"/>
                  </a:lnTo>
                  <a:lnTo>
                    <a:pt x="1572" y="90"/>
                  </a:lnTo>
                  <a:lnTo>
                    <a:pt x="1577" y="90"/>
                  </a:lnTo>
                  <a:lnTo>
                    <a:pt x="1577" y="90"/>
                  </a:lnTo>
                  <a:lnTo>
                    <a:pt x="1577" y="90"/>
                  </a:lnTo>
                  <a:lnTo>
                    <a:pt x="1577" y="90"/>
                  </a:lnTo>
                  <a:lnTo>
                    <a:pt x="1577" y="90"/>
                  </a:lnTo>
                  <a:lnTo>
                    <a:pt x="1577" y="90"/>
                  </a:lnTo>
                  <a:lnTo>
                    <a:pt x="1577" y="90"/>
                  </a:lnTo>
                  <a:lnTo>
                    <a:pt x="1581" y="90"/>
                  </a:lnTo>
                  <a:lnTo>
                    <a:pt x="1581" y="90"/>
                  </a:lnTo>
                  <a:lnTo>
                    <a:pt x="1581" y="86"/>
                  </a:lnTo>
                  <a:lnTo>
                    <a:pt x="1581" y="86"/>
                  </a:lnTo>
                  <a:lnTo>
                    <a:pt x="1586" y="86"/>
                  </a:lnTo>
                  <a:lnTo>
                    <a:pt x="1586" y="86"/>
                  </a:lnTo>
                  <a:lnTo>
                    <a:pt x="1586" y="86"/>
                  </a:lnTo>
                  <a:lnTo>
                    <a:pt x="1586" y="86"/>
                  </a:lnTo>
                  <a:lnTo>
                    <a:pt x="1586" y="90"/>
                  </a:lnTo>
                  <a:lnTo>
                    <a:pt x="1581" y="90"/>
                  </a:lnTo>
                  <a:lnTo>
                    <a:pt x="1581" y="90"/>
                  </a:lnTo>
                  <a:lnTo>
                    <a:pt x="1586" y="90"/>
                  </a:lnTo>
                  <a:lnTo>
                    <a:pt x="1586" y="90"/>
                  </a:lnTo>
                  <a:lnTo>
                    <a:pt x="1586" y="90"/>
                  </a:lnTo>
                  <a:lnTo>
                    <a:pt x="1590" y="86"/>
                  </a:lnTo>
                  <a:lnTo>
                    <a:pt x="1590" y="86"/>
                  </a:lnTo>
                  <a:lnTo>
                    <a:pt x="1595" y="86"/>
                  </a:lnTo>
                  <a:lnTo>
                    <a:pt x="1595" y="86"/>
                  </a:lnTo>
                  <a:lnTo>
                    <a:pt x="1595" y="86"/>
                  </a:lnTo>
                  <a:lnTo>
                    <a:pt x="1595" y="86"/>
                  </a:lnTo>
                  <a:lnTo>
                    <a:pt x="1595" y="86"/>
                  </a:lnTo>
                  <a:lnTo>
                    <a:pt x="1595" y="86"/>
                  </a:lnTo>
                  <a:lnTo>
                    <a:pt x="1599" y="86"/>
                  </a:lnTo>
                  <a:lnTo>
                    <a:pt x="1599" y="86"/>
                  </a:lnTo>
                  <a:lnTo>
                    <a:pt x="1599" y="86"/>
                  </a:lnTo>
                  <a:lnTo>
                    <a:pt x="1604" y="81"/>
                  </a:lnTo>
                  <a:lnTo>
                    <a:pt x="1604" y="81"/>
                  </a:lnTo>
                  <a:lnTo>
                    <a:pt x="1604" y="81"/>
                  </a:lnTo>
                  <a:lnTo>
                    <a:pt x="1608" y="81"/>
                  </a:lnTo>
                  <a:lnTo>
                    <a:pt x="1608" y="81"/>
                  </a:lnTo>
                  <a:lnTo>
                    <a:pt x="1608" y="81"/>
                  </a:lnTo>
                  <a:lnTo>
                    <a:pt x="1613" y="81"/>
                  </a:lnTo>
                  <a:lnTo>
                    <a:pt x="1613" y="81"/>
                  </a:lnTo>
                  <a:lnTo>
                    <a:pt x="1613" y="81"/>
                  </a:lnTo>
                  <a:lnTo>
                    <a:pt x="1613" y="81"/>
                  </a:lnTo>
                  <a:lnTo>
                    <a:pt x="1608" y="81"/>
                  </a:lnTo>
                  <a:lnTo>
                    <a:pt x="1604" y="86"/>
                  </a:lnTo>
                  <a:lnTo>
                    <a:pt x="1604" y="86"/>
                  </a:lnTo>
                  <a:lnTo>
                    <a:pt x="1604" y="86"/>
                  </a:lnTo>
                  <a:lnTo>
                    <a:pt x="1599" y="86"/>
                  </a:lnTo>
                  <a:lnTo>
                    <a:pt x="1599" y="86"/>
                  </a:lnTo>
                  <a:lnTo>
                    <a:pt x="1599" y="86"/>
                  </a:lnTo>
                  <a:lnTo>
                    <a:pt x="1604" y="90"/>
                  </a:lnTo>
                  <a:lnTo>
                    <a:pt x="1604" y="90"/>
                  </a:lnTo>
                  <a:lnTo>
                    <a:pt x="1604" y="90"/>
                  </a:lnTo>
                  <a:lnTo>
                    <a:pt x="1604" y="90"/>
                  </a:lnTo>
                  <a:lnTo>
                    <a:pt x="1608" y="90"/>
                  </a:lnTo>
                  <a:lnTo>
                    <a:pt x="1608" y="86"/>
                  </a:lnTo>
                  <a:lnTo>
                    <a:pt x="1608" y="86"/>
                  </a:lnTo>
                  <a:lnTo>
                    <a:pt x="1613" y="86"/>
                  </a:lnTo>
                  <a:lnTo>
                    <a:pt x="1613" y="86"/>
                  </a:lnTo>
                  <a:lnTo>
                    <a:pt x="1613" y="86"/>
                  </a:lnTo>
                  <a:lnTo>
                    <a:pt x="1617" y="86"/>
                  </a:lnTo>
                  <a:lnTo>
                    <a:pt x="1622" y="86"/>
                  </a:lnTo>
                  <a:lnTo>
                    <a:pt x="1626" y="86"/>
                  </a:lnTo>
                  <a:lnTo>
                    <a:pt x="1626" y="81"/>
                  </a:lnTo>
                  <a:lnTo>
                    <a:pt x="1626" y="81"/>
                  </a:lnTo>
                  <a:lnTo>
                    <a:pt x="1626" y="81"/>
                  </a:lnTo>
                  <a:lnTo>
                    <a:pt x="1626" y="81"/>
                  </a:lnTo>
                  <a:lnTo>
                    <a:pt x="1626" y="81"/>
                  </a:lnTo>
                  <a:lnTo>
                    <a:pt x="1631" y="81"/>
                  </a:lnTo>
                  <a:lnTo>
                    <a:pt x="1631" y="81"/>
                  </a:lnTo>
                  <a:lnTo>
                    <a:pt x="1631" y="81"/>
                  </a:lnTo>
                  <a:lnTo>
                    <a:pt x="1631" y="81"/>
                  </a:lnTo>
                  <a:lnTo>
                    <a:pt x="1635" y="81"/>
                  </a:lnTo>
                  <a:lnTo>
                    <a:pt x="1635" y="81"/>
                  </a:lnTo>
                  <a:lnTo>
                    <a:pt x="1635" y="77"/>
                  </a:lnTo>
                  <a:lnTo>
                    <a:pt x="1635" y="77"/>
                  </a:lnTo>
                  <a:lnTo>
                    <a:pt x="1635" y="77"/>
                  </a:lnTo>
                  <a:lnTo>
                    <a:pt x="1635" y="77"/>
                  </a:lnTo>
                  <a:lnTo>
                    <a:pt x="1644" y="72"/>
                  </a:lnTo>
                  <a:lnTo>
                    <a:pt x="1644" y="72"/>
                  </a:lnTo>
                  <a:lnTo>
                    <a:pt x="1644" y="72"/>
                  </a:lnTo>
                  <a:lnTo>
                    <a:pt x="1649" y="72"/>
                  </a:lnTo>
                  <a:lnTo>
                    <a:pt x="1649" y="72"/>
                  </a:lnTo>
                  <a:lnTo>
                    <a:pt x="1644" y="72"/>
                  </a:lnTo>
                  <a:lnTo>
                    <a:pt x="1644" y="72"/>
                  </a:lnTo>
                  <a:lnTo>
                    <a:pt x="1644" y="68"/>
                  </a:lnTo>
                  <a:lnTo>
                    <a:pt x="1644" y="68"/>
                  </a:lnTo>
                  <a:lnTo>
                    <a:pt x="1640" y="68"/>
                  </a:lnTo>
                  <a:lnTo>
                    <a:pt x="1640" y="68"/>
                  </a:lnTo>
                  <a:lnTo>
                    <a:pt x="1635" y="72"/>
                  </a:lnTo>
                  <a:lnTo>
                    <a:pt x="1635" y="72"/>
                  </a:lnTo>
                  <a:lnTo>
                    <a:pt x="1635" y="72"/>
                  </a:lnTo>
                  <a:lnTo>
                    <a:pt x="1635" y="72"/>
                  </a:lnTo>
                  <a:lnTo>
                    <a:pt x="1635" y="72"/>
                  </a:lnTo>
                  <a:lnTo>
                    <a:pt x="1635" y="72"/>
                  </a:lnTo>
                  <a:lnTo>
                    <a:pt x="1635" y="72"/>
                  </a:lnTo>
                  <a:lnTo>
                    <a:pt x="1635" y="72"/>
                  </a:lnTo>
                  <a:lnTo>
                    <a:pt x="1631" y="72"/>
                  </a:lnTo>
                  <a:lnTo>
                    <a:pt x="1631" y="72"/>
                  </a:lnTo>
                  <a:lnTo>
                    <a:pt x="1631" y="72"/>
                  </a:lnTo>
                  <a:lnTo>
                    <a:pt x="1631" y="72"/>
                  </a:lnTo>
                  <a:lnTo>
                    <a:pt x="1626" y="72"/>
                  </a:lnTo>
                  <a:lnTo>
                    <a:pt x="1617" y="72"/>
                  </a:lnTo>
                  <a:lnTo>
                    <a:pt x="1613" y="72"/>
                  </a:lnTo>
                  <a:lnTo>
                    <a:pt x="1613" y="72"/>
                  </a:lnTo>
                  <a:lnTo>
                    <a:pt x="1608" y="72"/>
                  </a:lnTo>
                  <a:lnTo>
                    <a:pt x="1604" y="72"/>
                  </a:lnTo>
                  <a:lnTo>
                    <a:pt x="1595" y="77"/>
                  </a:lnTo>
                  <a:lnTo>
                    <a:pt x="1595" y="77"/>
                  </a:lnTo>
                  <a:lnTo>
                    <a:pt x="1595" y="77"/>
                  </a:lnTo>
                  <a:lnTo>
                    <a:pt x="1590" y="77"/>
                  </a:lnTo>
                  <a:lnTo>
                    <a:pt x="1590" y="77"/>
                  </a:lnTo>
                  <a:lnTo>
                    <a:pt x="1581" y="81"/>
                  </a:lnTo>
                  <a:lnTo>
                    <a:pt x="1581" y="81"/>
                  </a:lnTo>
                  <a:lnTo>
                    <a:pt x="1577" y="81"/>
                  </a:lnTo>
                  <a:lnTo>
                    <a:pt x="1572" y="81"/>
                  </a:lnTo>
                  <a:lnTo>
                    <a:pt x="1572" y="81"/>
                  </a:lnTo>
                  <a:lnTo>
                    <a:pt x="1563" y="81"/>
                  </a:lnTo>
                  <a:lnTo>
                    <a:pt x="1563" y="81"/>
                  </a:lnTo>
                  <a:lnTo>
                    <a:pt x="1559" y="81"/>
                  </a:lnTo>
                  <a:lnTo>
                    <a:pt x="1554" y="86"/>
                  </a:lnTo>
                  <a:lnTo>
                    <a:pt x="1550" y="86"/>
                  </a:lnTo>
                  <a:lnTo>
                    <a:pt x="1550" y="86"/>
                  </a:lnTo>
                  <a:lnTo>
                    <a:pt x="1554" y="86"/>
                  </a:lnTo>
                  <a:lnTo>
                    <a:pt x="1554" y="86"/>
                  </a:lnTo>
                  <a:lnTo>
                    <a:pt x="1554" y="86"/>
                  </a:lnTo>
                  <a:lnTo>
                    <a:pt x="1554" y="86"/>
                  </a:lnTo>
                  <a:lnTo>
                    <a:pt x="1554" y="86"/>
                  </a:lnTo>
                  <a:lnTo>
                    <a:pt x="1554" y="86"/>
                  </a:lnTo>
                  <a:lnTo>
                    <a:pt x="1554" y="86"/>
                  </a:lnTo>
                  <a:lnTo>
                    <a:pt x="1554" y="86"/>
                  </a:lnTo>
                  <a:lnTo>
                    <a:pt x="1550" y="90"/>
                  </a:lnTo>
                  <a:lnTo>
                    <a:pt x="1550" y="90"/>
                  </a:lnTo>
                  <a:lnTo>
                    <a:pt x="1550" y="90"/>
                  </a:lnTo>
                  <a:lnTo>
                    <a:pt x="1550" y="90"/>
                  </a:lnTo>
                  <a:lnTo>
                    <a:pt x="1550" y="90"/>
                  </a:lnTo>
                  <a:lnTo>
                    <a:pt x="1550" y="90"/>
                  </a:lnTo>
                  <a:lnTo>
                    <a:pt x="1550" y="90"/>
                  </a:lnTo>
                  <a:close/>
                  <a:moveTo>
                    <a:pt x="1644" y="104"/>
                  </a:moveTo>
                  <a:lnTo>
                    <a:pt x="1640" y="104"/>
                  </a:lnTo>
                  <a:lnTo>
                    <a:pt x="1640" y="104"/>
                  </a:lnTo>
                  <a:lnTo>
                    <a:pt x="1640" y="104"/>
                  </a:lnTo>
                  <a:lnTo>
                    <a:pt x="1640" y="104"/>
                  </a:lnTo>
                  <a:lnTo>
                    <a:pt x="1644" y="104"/>
                  </a:lnTo>
                  <a:lnTo>
                    <a:pt x="1644" y="100"/>
                  </a:lnTo>
                  <a:lnTo>
                    <a:pt x="1644" y="100"/>
                  </a:lnTo>
                  <a:lnTo>
                    <a:pt x="1644" y="100"/>
                  </a:lnTo>
                  <a:lnTo>
                    <a:pt x="1640" y="100"/>
                  </a:lnTo>
                  <a:lnTo>
                    <a:pt x="1640" y="100"/>
                  </a:lnTo>
                  <a:lnTo>
                    <a:pt x="1640" y="100"/>
                  </a:lnTo>
                  <a:lnTo>
                    <a:pt x="1640" y="100"/>
                  </a:lnTo>
                  <a:lnTo>
                    <a:pt x="1644" y="100"/>
                  </a:lnTo>
                  <a:lnTo>
                    <a:pt x="1644" y="100"/>
                  </a:lnTo>
                  <a:lnTo>
                    <a:pt x="1644" y="95"/>
                  </a:lnTo>
                  <a:lnTo>
                    <a:pt x="1644" y="95"/>
                  </a:lnTo>
                  <a:lnTo>
                    <a:pt x="1640" y="95"/>
                  </a:lnTo>
                  <a:lnTo>
                    <a:pt x="1640" y="95"/>
                  </a:lnTo>
                  <a:lnTo>
                    <a:pt x="1640" y="95"/>
                  </a:lnTo>
                  <a:lnTo>
                    <a:pt x="1631" y="95"/>
                  </a:lnTo>
                  <a:lnTo>
                    <a:pt x="1631" y="90"/>
                  </a:lnTo>
                  <a:lnTo>
                    <a:pt x="1635" y="90"/>
                  </a:lnTo>
                  <a:lnTo>
                    <a:pt x="1635" y="90"/>
                  </a:lnTo>
                  <a:lnTo>
                    <a:pt x="1635" y="90"/>
                  </a:lnTo>
                  <a:lnTo>
                    <a:pt x="1635" y="90"/>
                  </a:lnTo>
                  <a:lnTo>
                    <a:pt x="1635" y="90"/>
                  </a:lnTo>
                  <a:lnTo>
                    <a:pt x="1635" y="90"/>
                  </a:lnTo>
                  <a:lnTo>
                    <a:pt x="1635" y="90"/>
                  </a:lnTo>
                  <a:lnTo>
                    <a:pt x="1635" y="86"/>
                  </a:lnTo>
                  <a:lnTo>
                    <a:pt x="1631" y="86"/>
                  </a:lnTo>
                  <a:lnTo>
                    <a:pt x="1631" y="86"/>
                  </a:lnTo>
                  <a:lnTo>
                    <a:pt x="1622" y="86"/>
                  </a:lnTo>
                  <a:lnTo>
                    <a:pt x="1617" y="90"/>
                  </a:lnTo>
                  <a:lnTo>
                    <a:pt x="1617" y="90"/>
                  </a:lnTo>
                  <a:lnTo>
                    <a:pt x="1617" y="90"/>
                  </a:lnTo>
                  <a:lnTo>
                    <a:pt x="1617" y="90"/>
                  </a:lnTo>
                  <a:lnTo>
                    <a:pt x="1617" y="90"/>
                  </a:lnTo>
                  <a:lnTo>
                    <a:pt x="1617" y="90"/>
                  </a:lnTo>
                  <a:lnTo>
                    <a:pt x="1622" y="90"/>
                  </a:lnTo>
                  <a:lnTo>
                    <a:pt x="1622" y="90"/>
                  </a:lnTo>
                  <a:lnTo>
                    <a:pt x="1622" y="95"/>
                  </a:lnTo>
                  <a:lnTo>
                    <a:pt x="1622" y="95"/>
                  </a:lnTo>
                  <a:lnTo>
                    <a:pt x="1613" y="90"/>
                  </a:lnTo>
                  <a:lnTo>
                    <a:pt x="1613" y="90"/>
                  </a:lnTo>
                  <a:lnTo>
                    <a:pt x="1613" y="90"/>
                  </a:lnTo>
                  <a:lnTo>
                    <a:pt x="1608" y="90"/>
                  </a:lnTo>
                  <a:lnTo>
                    <a:pt x="1604" y="90"/>
                  </a:lnTo>
                  <a:lnTo>
                    <a:pt x="1604" y="95"/>
                  </a:lnTo>
                  <a:lnTo>
                    <a:pt x="1604" y="95"/>
                  </a:lnTo>
                  <a:lnTo>
                    <a:pt x="1604" y="95"/>
                  </a:lnTo>
                  <a:lnTo>
                    <a:pt x="1599" y="95"/>
                  </a:lnTo>
                  <a:lnTo>
                    <a:pt x="1599" y="95"/>
                  </a:lnTo>
                  <a:lnTo>
                    <a:pt x="1599" y="95"/>
                  </a:lnTo>
                  <a:lnTo>
                    <a:pt x="1604" y="95"/>
                  </a:lnTo>
                  <a:lnTo>
                    <a:pt x="1608" y="95"/>
                  </a:lnTo>
                  <a:lnTo>
                    <a:pt x="1613" y="95"/>
                  </a:lnTo>
                  <a:lnTo>
                    <a:pt x="1613" y="100"/>
                  </a:lnTo>
                  <a:lnTo>
                    <a:pt x="1608" y="100"/>
                  </a:lnTo>
                  <a:lnTo>
                    <a:pt x="1604" y="100"/>
                  </a:lnTo>
                  <a:lnTo>
                    <a:pt x="1599" y="100"/>
                  </a:lnTo>
                  <a:lnTo>
                    <a:pt x="1595" y="100"/>
                  </a:lnTo>
                  <a:lnTo>
                    <a:pt x="1595" y="100"/>
                  </a:lnTo>
                  <a:lnTo>
                    <a:pt x="1590" y="100"/>
                  </a:lnTo>
                  <a:lnTo>
                    <a:pt x="1590" y="100"/>
                  </a:lnTo>
                  <a:lnTo>
                    <a:pt x="1590" y="100"/>
                  </a:lnTo>
                  <a:lnTo>
                    <a:pt x="1590" y="100"/>
                  </a:lnTo>
                  <a:lnTo>
                    <a:pt x="1595" y="100"/>
                  </a:lnTo>
                  <a:lnTo>
                    <a:pt x="1599" y="100"/>
                  </a:lnTo>
                  <a:lnTo>
                    <a:pt x="1608" y="100"/>
                  </a:lnTo>
                  <a:lnTo>
                    <a:pt x="1608" y="100"/>
                  </a:lnTo>
                  <a:lnTo>
                    <a:pt x="1608" y="100"/>
                  </a:lnTo>
                  <a:lnTo>
                    <a:pt x="1604" y="100"/>
                  </a:lnTo>
                  <a:lnTo>
                    <a:pt x="1604" y="100"/>
                  </a:lnTo>
                  <a:lnTo>
                    <a:pt x="1595" y="104"/>
                  </a:lnTo>
                  <a:lnTo>
                    <a:pt x="1595" y="104"/>
                  </a:lnTo>
                  <a:lnTo>
                    <a:pt x="1586" y="104"/>
                  </a:lnTo>
                  <a:lnTo>
                    <a:pt x="1586" y="104"/>
                  </a:lnTo>
                  <a:lnTo>
                    <a:pt x="1581" y="104"/>
                  </a:lnTo>
                  <a:lnTo>
                    <a:pt x="1581" y="104"/>
                  </a:lnTo>
                  <a:lnTo>
                    <a:pt x="1581" y="104"/>
                  </a:lnTo>
                  <a:lnTo>
                    <a:pt x="1577" y="104"/>
                  </a:lnTo>
                  <a:lnTo>
                    <a:pt x="1577" y="104"/>
                  </a:lnTo>
                  <a:lnTo>
                    <a:pt x="1577" y="104"/>
                  </a:lnTo>
                  <a:lnTo>
                    <a:pt x="1577" y="104"/>
                  </a:lnTo>
                  <a:lnTo>
                    <a:pt x="1577" y="104"/>
                  </a:lnTo>
                  <a:lnTo>
                    <a:pt x="1577" y="104"/>
                  </a:lnTo>
                  <a:lnTo>
                    <a:pt x="1577" y="109"/>
                  </a:lnTo>
                  <a:lnTo>
                    <a:pt x="1581" y="109"/>
                  </a:lnTo>
                  <a:lnTo>
                    <a:pt x="1581" y="109"/>
                  </a:lnTo>
                  <a:lnTo>
                    <a:pt x="1581" y="109"/>
                  </a:lnTo>
                  <a:lnTo>
                    <a:pt x="1586" y="113"/>
                  </a:lnTo>
                  <a:lnTo>
                    <a:pt x="1586" y="113"/>
                  </a:lnTo>
                  <a:lnTo>
                    <a:pt x="1586" y="113"/>
                  </a:lnTo>
                  <a:lnTo>
                    <a:pt x="1590" y="109"/>
                  </a:lnTo>
                  <a:lnTo>
                    <a:pt x="1590" y="109"/>
                  </a:lnTo>
                  <a:lnTo>
                    <a:pt x="1590" y="109"/>
                  </a:lnTo>
                  <a:lnTo>
                    <a:pt x="1590" y="109"/>
                  </a:lnTo>
                  <a:lnTo>
                    <a:pt x="1590" y="109"/>
                  </a:lnTo>
                  <a:lnTo>
                    <a:pt x="1590" y="109"/>
                  </a:lnTo>
                  <a:lnTo>
                    <a:pt x="1590" y="109"/>
                  </a:lnTo>
                  <a:lnTo>
                    <a:pt x="1590" y="113"/>
                  </a:lnTo>
                  <a:lnTo>
                    <a:pt x="1590" y="113"/>
                  </a:lnTo>
                  <a:lnTo>
                    <a:pt x="1590" y="113"/>
                  </a:lnTo>
                  <a:lnTo>
                    <a:pt x="1595" y="113"/>
                  </a:lnTo>
                  <a:lnTo>
                    <a:pt x="1599" y="109"/>
                  </a:lnTo>
                  <a:lnTo>
                    <a:pt x="1599" y="109"/>
                  </a:lnTo>
                  <a:lnTo>
                    <a:pt x="1604" y="109"/>
                  </a:lnTo>
                  <a:lnTo>
                    <a:pt x="1604" y="109"/>
                  </a:lnTo>
                  <a:lnTo>
                    <a:pt x="1604" y="109"/>
                  </a:lnTo>
                  <a:lnTo>
                    <a:pt x="1604" y="109"/>
                  </a:lnTo>
                  <a:lnTo>
                    <a:pt x="1604" y="109"/>
                  </a:lnTo>
                  <a:lnTo>
                    <a:pt x="1604" y="109"/>
                  </a:lnTo>
                  <a:lnTo>
                    <a:pt x="1604" y="109"/>
                  </a:lnTo>
                  <a:lnTo>
                    <a:pt x="1608" y="109"/>
                  </a:lnTo>
                  <a:lnTo>
                    <a:pt x="1608" y="104"/>
                  </a:lnTo>
                  <a:lnTo>
                    <a:pt x="1613" y="104"/>
                  </a:lnTo>
                  <a:lnTo>
                    <a:pt x="1613" y="104"/>
                  </a:lnTo>
                  <a:lnTo>
                    <a:pt x="1613" y="104"/>
                  </a:lnTo>
                  <a:lnTo>
                    <a:pt x="1613" y="109"/>
                  </a:lnTo>
                  <a:lnTo>
                    <a:pt x="1613" y="109"/>
                  </a:lnTo>
                  <a:lnTo>
                    <a:pt x="1617" y="104"/>
                  </a:lnTo>
                  <a:lnTo>
                    <a:pt x="1617" y="104"/>
                  </a:lnTo>
                  <a:lnTo>
                    <a:pt x="1617" y="109"/>
                  </a:lnTo>
                  <a:lnTo>
                    <a:pt x="1613" y="109"/>
                  </a:lnTo>
                  <a:lnTo>
                    <a:pt x="1608" y="109"/>
                  </a:lnTo>
                  <a:lnTo>
                    <a:pt x="1608" y="109"/>
                  </a:lnTo>
                  <a:lnTo>
                    <a:pt x="1608" y="109"/>
                  </a:lnTo>
                  <a:lnTo>
                    <a:pt x="1608" y="109"/>
                  </a:lnTo>
                  <a:lnTo>
                    <a:pt x="1604" y="109"/>
                  </a:lnTo>
                  <a:lnTo>
                    <a:pt x="1604" y="113"/>
                  </a:lnTo>
                  <a:lnTo>
                    <a:pt x="1604" y="113"/>
                  </a:lnTo>
                  <a:lnTo>
                    <a:pt x="1604" y="113"/>
                  </a:lnTo>
                  <a:lnTo>
                    <a:pt x="1608" y="113"/>
                  </a:lnTo>
                  <a:lnTo>
                    <a:pt x="1613" y="113"/>
                  </a:lnTo>
                  <a:lnTo>
                    <a:pt x="1613" y="113"/>
                  </a:lnTo>
                  <a:lnTo>
                    <a:pt x="1617" y="113"/>
                  </a:lnTo>
                  <a:lnTo>
                    <a:pt x="1617" y="109"/>
                  </a:lnTo>
                  <a:lnTo>
                    <a:pt x="1617" y="109"/>
                  </a:lnTo>
                  <a:lnTo>
                    <a:pt x="1617" y="109"/>
                  </a:lnTo>
                  <a:lnTo>
                    <a:pt x="1622" y="109"/>
                  </a:lnTo>
                  <a:lnTo>
                    <a:pt x="1622" y="113"/>
                  </a:lnTo>
                  <a:lnTo>
                    <a:pt x="1622" y="113"/>
                  </a:lnTo>
                  <a:lnTo>
                    <a:pt x="1622" y="113"/>
                  </a:lnTo>
                  <a:lnTo>
                    <a:pt x="1626" y="113"/>
                  </a:lnTo>
                  <a:lnTo>
                    <a:pt x="1626" y="113"/>
                  </a:lnTo>
                  <a:lnTo>
                    <a:pt x="1631" y="113"/>
                  </a:lnTo>
                  <a:lnTo>
                    <a:pt x="1635" y="109"/>
                  </a:lnTo>
                  <a:lnTo>
                    <a:pt x="1635" y="113"/>
                  </a:lnTo>
                  <a:lnTo>
                    <a:pt x="1635" y="113"/>
                  </a:lnTo>
                  <a:lnTo>
                    <a:pt x="1631" y="113"/>
                  </a:lnTo>
                  <a:lnTo>
                    <a:pt x="1631" y="113"/>
                  </a:lnTo>
                  <a:lnTo>
                    <a:pt x="1626" y="113"/>
                  </a:lnTo>
                  <a:lnTo>
                    <a:pt x="1622" y="113"/>
                  </a:lnTo>
                  <a:lnTo>
                    <a:pt x="1622" y="113"/>
                  </a:lnTo>
                  <a:lnTo>
                    <a:pt x="1622" y="113"/>
                  </a:lnTo>
                  <a:lnTo>
                    <a:pt x="1617" y="113"/>
                  </a:lnTo>
                  <a:lnTo>
                    <a:pt x="1613" y="113"/>
                  </a:lnTo>
                  <a:lnTo>
                    <a:pt x="1613" y="113"/>
                  </a:lnTo>
                  <a:lnTo>
                    <a:pt x="1604" y="113"/>
                  </a:lnTo>
                  <a:lnTo>
                    <a:pt x="1599" y="118"/>
                  </a:lnTo>
                  <a:lnTo>
                    <a:pt x="1595" y="118"/>
                  </a:lnTo>
                  <a:lnTo>
                    <a:pt x="1590" y="118"/>
                  </a:lnTo>
                  <a:lnTo>
                    <a:pt x="1590" y="118"/>
                  </a:lnTo>
                  <a:lnTo>
                    <a:pt x="1590" y="118"/>
                  </a:lnTo>
                  <a:lnTo>
                    <a:pt x="1590" y="118"/>
                  </a:lnTo>
                  <a:lnTo>
                    <a:pt x="1590" y="122"/>
                  </a:lnTo>
                  <a:lnTo>
                    <a:pt x="1590" y="122"/>
                  </a:lnTo>
                  <a:lnTo>
                    <a:pt x="1590" y="122"/>
                  </a:lnTo>
                  <a:lnTo>
                    <a:pt x="1595" y="122"/>
                  </a:lnTo>
                  <a:lnTo>
                    <a:pt x="1599" y="122"/>
                  </a:lnTo>
                  <a:lnTo>
                    <a:pt x="1608" y="122"/>
                  </a:lnTo>
                  <a:lnTo>
                    <a:pt x="1617" y="122"/>
                  </a:lnTo>
                  <a:lnTo>
                    <a:pt x="1622" y="122"/>
                  </a:lnTo>
                  <a:lnTo>
                    <a:pt x="1622" y="122"/>
                  </a:lnTo>
                  <a:lnTo>
                    <a:pt x="1626" y="118"/>
                  </a:lnTo>
                  <a:lnTo>
                    <a:pt x="1626" y="118"/>
                  </a:lnTo>
                  <a:lnTo>
                    <a:pt x="1631" y="118"/>
                  </a:lnTo>
                  <a:lnTo>
                    <a:pt x="1631" y="118"/>
                  </a:lnTo>
                  <a:lnTo>
                    <a:pt x="1640" y="118"/>
                  </a:lnTo>
                  <a:lnTo>
                    <a:pt x="1649" y="118"/>
                  </a:lnTo>
                  <a:lnTo>
                    <a:pt x="1649" y="118"/>
                  </a:lnTo>
                  <a:lnTo>
                    <a:pt x="1653" y="118"/>
                  </a:lnTo>
                  <a:lnTo>
                    <a:pt x="1653" y="118"/>
                  </a:lnTo>
                  <a:lnTo>
                    <a:pt x="1649" y="118"/>
                  </a:lnTo>
                  <a:lnTo>
                    <a:pt x="1649" y="118"/>
                  </a:lnTo>
                  <a:lnTo>
                    <a:pt x="1649" y="118"/>
                  </a:lnTo>
                  <a:lnTo>
                    <a:pt x="1649" y="118"/>
                  </a:lnTo>
                  <a:lnTo>
                    <a:pt x="1653" y="118"/>
                  </a:lnTo>
                  <a:lnTo>
                    <a:pt x="1653" y="118"/>
                  </a:lnTo>
                  <a:lnTo>
                    <a:pt x="1658" y="118"/>
                  </a:lnTo>
                  <a:lnTo>
                    <a:pt x="1658" y="118"/>
                  </a:lnTo>
                  <a:lnTo>
                    <a:pt x="1663" y="118"/>
                  </a:lnTo>
                  <a:lnTo>
                    <a:pt x="1663" y="118"/>
                  </a:lnTo>
                  <a:lnTo>
                    <a:pt x="1663" y="118"/>
                  </a:lnTo>
                  <a:lnTo>
                    <a:pt x="1667" y="118"/>
                  </a:lnTo>
                  <a:lnTo>
                    <a:pt x="1672" y="118"/>
                  </a:lnTo>
                  <a:lnTo>
                    <a:pt x="1676" y="118"/>
                  </a:lnTo>
                  <a:lnTo>
                    <a:pt x="1681" y="118"/>
                  </a:lnTo>
                  <a:lnTo>
                    <a:pt x="1681" y="118"/>
                  </a:lnTo>
                  <a:lnTo>
                    <a:pt x="1690" y="113"/>
                  </a:lnTo>
                  <a:lnTo>
                    <a:pt x="1690" y="113"/>
                  </a:lnTo>
                  <a:lnTo>
                    <a:pt x="1694" y="109"/>
                  </a:lnTo>
                  <a:lnTo>
                    <a:pt x="1699" y="109"/>
                  </a:lnTo>
                  <a:lnTo>
                    <a:pt x="1699" y="109"/>
                  </a:lnTo>
                  <a:lnTo>
                    <a:pt x="1699" y="104"/>
                  </a:lnTo>
                  <a:lnTo>
                    <a:pt x="1699" y="104"/>
                  </a:lnTo>
                  <a:lnTo>
                    <a:pt x="1699" y="104"/>
                  </a:lnTo>
                  <a:lnTo>
                    <a:pt x="1699" y="104"/>
                  </a:lnTo>
                  <a:lnTo>
                    <a:pt x="1699" y="104"/>
                  </a:lnTo>
                  <a:lnTo>
                    <a:pt x="1699" y="100"/>
                  </a:lnTo>
                  <a:lnTo>
                    <a:pt x="1694" y="100"/>
                  </a:lnTo>
                  <a:lnTo>
                    <a:pt x="1694" y="100"/>
                  </a:lnTo>
                  <a:lnTo>
                    <a:pt x="1690" y="104"/>
                  </a:lnTo>
                  <a:lnTo>
                    <a:pt x="1690" y="104"/>
                  </a:lnTo>
                  <a:lnTo>
                    <a:pt x="1690" y="104"/>
                  </a:lnTo>
                  <a:lnTo>
                    <a:pt x="1690" y="104"/>
                  </a:lnTo>
                  <a:lnTo>
                    <a:pt x="1690" y="104"/>
                  </a:lnTo>
                  <a:lnTo>
                    <a:pt x="1690" y="104"/>
                  </a:lnTo>
                  <a:lnTo>
                    <a:pt x="1690" y="104"/>
                  </a:lnTo>
                  <a:lnTo>
                    <a:pt x="1685" y="104"/>
                  </a:lnTo>
                  <a:lnTo>
                    <a:pt x="1685" y="104"/>
                  </a:lnTo>
                  <a:lnTo>
                    <a:pt x="1685" y="109"/>
                  </a:lnTo>
                  <a:lnTo>
                    <a:pt x="1681" y="109"/>
                  </a:lnTo>
                  <a:lnTo>
                    <a:pt x="1685" y="104"/>
                  </a:lnTo>
                  <a:lnTo>
                    <a:pt x="1685" y="104"/>
                  </a:lnTo>
                  <a:lnTo>
                    <a:pt x="1685" y="104"/>
                  </a:lnTo>
                  <a:lnTo>
                    <a:pt x="1685" y="104"/>
                  </a:lnTo>
                  <a:lnTo>
                    <a:pt x="1685" y="104"/>
                  </a:lnTo>
                  <a:lnTo>
                    <a:pt x="1685" y="104"/>
                  </a:lnTo>
                  <a:lnTo>
                    <a:pt x="1681" y="104"/>
                  </a:lnTo>
                  <a:lnTo>
                    <a:pt x="1681" y="104"/>
                  </a:lnTo>
                  <a:lnTo>
                    <a:pt x="1676" y="104"/>
                  </a:lnTo>
                  <a:lnTo>
                    <a:pt x="1676" y="104"/>
                  </a:lnTo>
                  <a:lnTo>
                    <a:pt x="1676" y="104"/>
                  </a:lnTo>
                  <a:lnTo>
                    <a:pt x="1676" y="104"/>
                  </a:lnTo>
                  <a:lnTo>
                    <a:pt x="1681" y="104"/>
                  </a:lnTo>
                  <a:lnTo>
                    <a:pt x="1681" y="104"/>
                  </a:lnTo>
                  <a:lnTo>
                    <a:pt x="1681" y="100"/>
                  </a:lnTo>
                  <a:lnTo>
                    <a:pt x="1685" y="100"/>
                  </a:lnTo>
                  <a:lnTo>
                    <a:pt x="1685" y="100"/>
                  </a:lnTo>
                  <a:lnTo>
                    <a:pt x="1685" y="100"/>
                  </a:lnTo>
                  <a:lnTo>
                    <a:pt x="1681" y="100"/>
                  </a:lnTo>
                  <a:lnTo>
                    <a:pt x="1681" y="100"/>
                  </a:lnTo>
                  <a:lnTo>
                    <a:pt x="1681" y="100"/>
                  </a:lnTo>
                  <a:lnTo>
                    <a:pt x="1681" y="100"/>
                  </a:lnTo>
                  <a:lnTo>
                    <a:pt x="1681" y="100"/>
                  </a:lnTo>
                  <a:lnTo>
                    <a:pt x="1681" y="100"/>
                  </a:lnTo>
                  <a:lnTo>
                    <a:pt x="1681" y="100"/>
                  </a:lnTo>
                  <a:lnTo>
                    <a:pt x="1685" y="100"/>
                  </a:lnTo>
                  <a:lnTo>
                    <a:pt x="1685" y="95"/>
                  </a:lnTo>
                  <a:lnTo>
                    <a:pt x="1685" y="95"/>
                  </a:lnTo>
                  <a:lnTo>
                    <a:pt x="1685" y="95"/>
                  </a:lnTo>
                  <a:lnTo>
                    <a:pt x="1685" y="95"/>
                  </a:lnTo>
                  <a:lnTo>
                    <a:pt x="1685" y="95"/>
                  </a:lnTo>
                  <a:lnTo>
                    <a:pt x="1690" y="90"/>
                  </a:lnTo>
                  <a:lnTo>
                    <a:pt x="1690" y="90"/>
                  </a:lnTo>
                  <a:lnTo>
                    <a:pt x="1690" y="90"/>
                  </a:lnTo>
                  <a:lnTo>
                    <a:pt x="1690" y="90"/>
                  </a:lnTo>
                  <a:lnTo>
                    <a:pt x="1690" y="90"/>
                  </a:lnTo>
                  <a:lnTo>
                    <a:pt x="1694" y="90"/>
                  </a:lnTo>
                  <a:lnTo>
                    <a:pt x="1694" y="90"/>
                  </a:lnTo>
                  <a:lnTo>
                    <a:pt x="1694" y="90"/>
                  </a:lnTo>
                  <a:lnTo>
                    <a:pt x="1694" y="90"/>
                  </a:lnTo>
                  <a:lnTo>
                    <a:pt x="1694" y="90"/>
                  </a:lnTo>
                  <a:lnTo>
                    <a:pt x="1694" y="86"/>
                  </a:lnTo>
                  <a:lnTo>
                    <a:pt x="1690" y="86"/>
                  </a:lnTo>
                  <a:lnTo>
                    <a:pt x="1690" y="86"/>
                  </a:lnTo>
                  <a:lnTo>
                    <a:pt x="1685" y="86"/>
                  </a:lnTo>
                  <a:lnTo>
                    <a:pt x="1685" y="90"/>
                  </a:lnTo>
                  <a:lnTo>
                    <a:pt x="1676" y="90"/>
                  </a:lnTo>
                  <a:lnTo>
                    <a:pt x="1676" y="90"/>
                  </a:lnTo>
                  <a:lnTo>
                    <a:pt x="1672" y="90"/>
                  </a:lnTo>
                  <a:lnTo>
                    <a:pt x="1667" y="95"/>
                  </a:lnTo>
                  <a:lnTo>
                    <a:pt x="1667" y="95"/>
                  </a:lnTo>
                  <a:lnTo>
                    <a:pt x="1667" y="95"/>
                  </a:lnTo>
                  <a:lnTo>
                    <a:pt x="1667" y="95"/>
                  </a:lnTo>
                  <a:lnTo>
                    <a:pt x="1667" y="95"/>
                  </a:lnTo>
                  <a:lnTo>
                    <a:pt x="1667" y="95"/>
                  </a:lnTo>
                  <a:lnTo>
                    <a:pt x="1672" y="95"/>
                  </a:lnTo>
                  <a:lnTo>
                    <a:pt x="1672" y="100"/>
                  </a:lnTo>
                  <a:lnTo>
                    <a:pt x="1672" y="100"/>
                  </a:lnTo>
                  <a:lnTo>
                    <a:pt x="1672" y="100"/>
                  </a:lnTo>
                  <a:lnTo>
                    <a:pt x="1667" y="100"/>
                  </a:lnTo>
                  <a:lnTo>
                    <a:pt x="1667" y="100"/>
                  </a:lnTo>
                  <a:lnTo>
                    <a:pt x="1663" y="100"/>
                  </a:lnTo>
                  <a:lnTo>
                    <a:pt x="1663" y="104"/>
                  </a:lnTo>
                  <a:lnTo>
                    <a:pt x="1663" y="104"/>
                  </a:lnTo>
                  <a:lnTo>
                    <a:pt x="1663" y="104"/>
                  </a:lnTo>
                  <a:lnTo>
                    <a:pt x="1663" y="109"/>
                  </a:lnTo>
                  <a:lnTo>
                    <a:pt x="1663" y="109"/>
                  </a:lnTo>
                  <a:lnTo>
                    <a:pt x="1663" y="109"/>
                  </a:lnTo>
                  <a:lnTo>
                    <a:pt x="1658" y="109"/>
                  </a:lnTo>
                  <a:lnTo>
                    <a:pt x="1658" y="109"/>
                  </a:lnTo>
                  <a:lnTo>
                    <a:pt x="1649" y="109"/>
                  </a:lnTo>
                  <a:lnTo>
                    <a:pt x="1644" y="104"/>
                  </a:lnTo>
                  <a:lnTo>
                    <a:pt x="1644" y="104"/>
                  </a:lnTo>
                  <a:close/>
                  <a:moveTo>
                    <a:pt x="506" y="398"/>
                  </a:moveTo>
                  <a:lnTo>
                    <a:pt x="506" y="398"/>
                  </a:lnTo>
                  <a:lnTo>
                    <a:pt x="511" y="398"/>
                  </a:lnTo>
                  <a:lnTo>
                    <a:pt x="511" y="398"/>
                  </a:lnTo>
                  <a:lnTo>
                    <a:pt x="506" y="398"/>
                  </a:lnTo>
                  <a:lnTo>
                    <a:pt x="506" y="398"/>
                  </a:lnTo>
                  <a:lnTo>
                    <a:pt x="501" y="398"/>
                  </a:lnTo>
                  <a:lnTo>
                    <a:pt x="501" y="398"/>
                  </a:lnTo>
                  <a:lnTo>
                    <a:pt x="501" y="398"/>
                  </a:lnTo>
                  <a:lnTo>
                    <a:pt x="497" y="398"/>
                  </a:lnTo>
                  <a:lnTo>
                    <a:pt x="497" y="402"/>
                  </a:lnTo>
                  <a:lnTo>
                    <a:pt x="497" y="402"/>
                  </a:lnTo>
                  <a:lnTo>
                    <a:pt x="497" y="402"/>
                  </a:lnTo>
                  <a:lnTo>
                    <a:pt x="497" y="402"/>
                  </a:lnTo>
                  <a:lnTo>
                    <a:pt x="492" y="402"/>
                  </a:lnTo>
                  <a:lnTo>
                    <a:pt x="492" y="402"/>
                  </a:lnTo>
                  <a:lnTo>
                    <a:pt x="492" y="402"/>
                  </a:lnTo>
                  <a:lnTo>
                    <a:pt x="488" y="402"/>
                  </a:lnTo>
                  <a:lnTo>
                    <a:pt x="488" y="402"/>
                  </a:lnTo>
                  <a:lnTo>
                    <a:pt x="488" y="402"/>
                  </a:lnTo>
                  <a:lnTo>
                    <a:pt x="488" y="407"/>
                  </a:lnTo>
                  <a:lnTo>
                    <a:pt x="483" y="407"/>
                  </a:lnTo>
                  <a:lnTo>
                    <a:pt x="483" y="407"/>
                  </a:lnTo>
                  <a:lnTo>
                    <a:pt x="479" y="407"/>
                  </a:lnTo>
                  <a:lnTo>
                    <a:pt x="479" y="407"/>
                  </a:lnTo>
                  <a:lnTo>
                    <a:pt x="479" y="407"/>
                  </a:lnTo>
                  <a:lnTo>
                    <a:pt x="479" y="407"/>
                  </a:lnTo>
                  <a:lnTo>
                    <a:pt x="483" y="407"/>
                  </a:lnTo>
                  <a:lnTo>
                    <a:pt x="483" y="407"/>
                  </a:lnTo>
                  <a:lnTo>
                    <a:pt x="488" y="407"/>
                  </a:lnTo>
                  <a:lnTo>
                    <a:pt x="488" y="407"/>
                  </a:lnTo>
                  <a:lnTo>
                    <a:pt x="488" y="407"/>
                  </a:lnTo>
                  <a:lnTo>
                    <a:pt x="492" y="407"/>
                  </a:lnTo>
                  <a:lnTo>
                    <a:pt x="492" y="402"/>
                  </a:lnTo>
                  <a:lnTo>
                    <a:pt x="497" y="402"/>
                  </a:lnTo>
                  <a:lnTo>
                    <a:pt x="501" y="402"/>
                  </a:lnTo>
                  <a:lnTo>
                    <a:pt x="506" y="402"/>
                  </a:lnTo>
                  <a:lnTo>
                    <a:pt x="506" y="398"/>
                  </a:lnTo>
                  <a:close/>
                  <a:moveTo>
                    <a:pt x="1581" y="2451"/>
                  </a:moveTo>
                  <a:lnTo>
                    <a:pt x="1586" y="2455"/>
                  </a:lnTo>
                  <a:lnTo>
                    <a:pt x="1586" y="2455"/>
                  </a:lnTo>
                  <a:lnTo>
                    <a:pt x="1590" y="2460"/>
                  </a:lnTo>
                  <a:lnTo>
                    <a:pt x="1590" y="2460"/>
                  </a:lnTo>
                  <a:lnTo>
                    <a:pt x="1590" y="2460"/>
                  </a:lnTo>
                  <a:lnTo>
                    <a:pt x="1595" y="2460"/>
                  </a:lnTo>
                  <a:lnTo>
                    <a:pt x="1595" y="2460"/>
                  </a:lnTo>
                  <a:lnTo>
                    <a:pt x="1595" y="2460"/>
                  </a:lnTo>
                  <a:lnTo>
                    <a:pt x="1595" y="2460"/>
                  </a:lnTo>
                  <a:lnTo>
                    <a:pt x="1595" y="2460"/>
                  </a:lnTo>
                  <a:lnTo>
                    <a:pt x="1595" y="2455"/>
                  </a:lnTo>
                  <a:lnTo>
                    <a:pt x="1595" y="2455"/>
                  </a:lnTo>
                  <a:lnTo>
                    <a:pt x="1595" y="2455"/>
                  </a:lnTo>
                  <a:lnTo>
                    <a:pt x="1590" y="2455"/>
                  </a:lnTo>
                  <a:lnTo>
                    <a:pt x="1590" y="2455"/>
                  </a:lnTo>
                  <a:lnTo>
                    <a:pt x="1590" y="2451"/>
                  </a:lnTo>
                  <a:lnTo>
                    <a:pt x="1590" y="2451"/>
                  </a:lnTo>
                  <a:lnTo>
                    <a:pt x="1590" y="2451"/>
                  </a:lnTo>
                  <a:lnTo>
                    <a:pt x="1586" y="2446"/>
                  </a:lnTo>
                  <a:lnTo>
                    <a:pt x="1586" y="2446"/>
                  </a:lnTo>
                  <a:lnTo>
                    <a:pt x="1586" y="2446"/>
                  </a:lnTo>
                  <a:lnTo>
                    <a:pt x="1586" y="2446"/>
                  </a:lnTo>
                  <a:lnTo>
                    <a:pt x="1586" y="2442"/>
                  </a:lnTo>
                  <a:lnTo>
                    <a:pt x="1586" y="2442"/>
                  </a:lnTo>
                  <a:lnTo>
                    <a:pt x="1586" y="2442"/>
                  </a:lnTo>
                  <a:lnTo>
                    <a:pt x="1586" y="2442"/>
                  </a:lnTo>
                  <a:lnTo>
                    <a:pt x="1586" y="2442"/>
                  </a:lnTo>
                  <a:lnTo>
                    <a:pt x="1586" y="2437"/>
                  </a:lnTo>
                  <a:lnTo>
                    <a:pt x="1581" y="2437"/>
                  </a:lnTo>
                  <a:lnTo>
                    <a:pt x="1581" y="2437"/>
                  </a:lnTo>
                  <a:lnTo>
                    <a:pt x="1581" y="2437"/>
                  </a:lnTo>
                  <a:lnTo>
                    <a:pt x="1581" y="2437"/>
                  </a:lnTo>
                  <a:lnTo>
                    <a:pt x="1581" y="2442"/>
                  </a:lnTo>
                  <a:lnTo>
                    <a:pt x="1581" y="2442"/>
                  </a:lnTo>
                  <a:lnTo>
                    <a:pt x="1581" y="2442"/>
                  </a:lnTo>
                  <a:lnTo>
                    <a:pt x="1581" y="2442"/>
                  </a:lnTo>
                  <a:lnTo>
                    <a:pt x="1577" y="2442"/>
                  </a:lnTo>
                  <a:lnTo>
                    <a:pt x="1577" y="2442"/>
                  </a:lnTo>
                  <a:lnTo>
                    <a:pt x="1577" y="2446"/>
                  </a:lnTo>
                  <a:lnTo>
                    <a:pt x="1577" y="2446"/>
                  </a:lnTo>
                  <a:lnTo>
                    <a:pt x="1577" y="2446"/>
                  </a:lnTo>
                  <a:lnTo>
                    <a:pt x="1581" y="2451"/>
                  </a:lnTo>
                  <a:lnTo>
                    <a:pt x="1581" y="2451"/>
                  </a:lnTo>
                  <a:lnTo>
                    <a:pt x="1581" y="2451"/>
                  </a:lnTo>
                  <a:close/>
                  <a:moveTo>
                    <a:pt x="1595" y="2446"/>
                  </a:moveTo>
                  <a:lnTo>
                    <a:pt x="1595" y="2446"/>
                  </a:lnTo>
                  <a:lnTo>
                    <a:pt x="1595" y="2446"/>
                  </a:lnTo>
                  <a:lnTo>
                    <a:pt x="1595" y="2451"/>
                  </a:lnTo>
                  <a:lnTo>
                    <a:pt x="1595" y="2451"/>
                  </a:lnTo>
                  <a:lnTo>
                    <a:pt x="1599" y="2451"/>
                  </a:lnTo>
                  <a:lnTo>
                    <a:pt x="1604" y="2451"/>
                  </a:lnTo>
                  <a:lnTo>
                    <a:pt x="1604" y="2446"/>
                  </a:lnTo>
                  <a:lnTo>
                    <a:pt x="1604" y="2446"/>
                  </a:lnTo>
                  <a:lnTo>
                    <a:pt x="1604" y="2446"/>
                  </a:lnTo>
                  <a:lnTo>
                    <a:pt x="1604" y="2442"/>
                  </a:lnTo>
                  <a:lnTo>
                    <a:pt x="1599" y="2442"/>
                  </a:lnTo>
                  <a:lnTo>
                    <a:pt x="1599" y="2442"/>
                  </a:lnTo>
                  <a:lnTo>
                    <a:pt x="1595" y="2442"/>
                  </a:lnTo>
                  <a:lnTo>
                    <a:pt x="1595" y="2442"/>
                  </a:lnTo>
                  <a:lnTo>
                    <a:pt x="1595" y="2442"/>
                  </a:lnTo>
                  <a:lnTo>
                    <a:pt x="1595" y="2442"/>
                  </a:lnTo>
                  <a:lnTo>
                    <a:pt x="1595" y="2442"/>
                  </a:lnTo>
                  <a:lnTo>
                    <a:pt x="1595" y="2446"/>
                  </a:lnTo>
                  <a:lnTo>
                    <a:pt x="1595" y="2446"/>
                  </a:lnTo>
                  <a:close/>
                  <a:moveTo>
                    <a:pt x="1577" y="2419"/>
                  </a:moveTo>
                  <a:lnTo>
                    <a:pt x="1577" y="2419"/>
                  </a:lnTo>
                  <a:lnTo>
                    <a:pt x="1577" y="2419"/>
                  </a:lnTo>
                  <a:lnTo>
                    <a:pt x="1577" y="2414"/>
                  </a:lnTo>
                  <a:lnTo>
                    <a:pt x="1577" y="2414"/>
                  </a:lnTo>
                  <a:lnTo>
                    <a:pt x="1577" y="2414"/>
                  </a:lnTo>
                  <a:lnTo>
                    <a:pt x="1577" y="2410"/>
                  </a:lnTo>
                  <a:lnTo>
                    <a:pt x="1577" y="2410"/>
                  </a:lnTo>
                  <a:lnTo>
                    <a:pt x="1572" y="2410"/>
                  </a:lnTo>
                  <a:lnTo>
                    <a:pt x="1572" y="2410"/>
                  </a:lnTo>
                  <a:lnTo>
                    <a:pt x="1572" y="2405"/>
                  </a:lnTo>
                  <a:lnTo>
                    <a:pt x="1572" y="2405"/>
                  </a:lnTo>
                  <a:lnTo>
                    <a:pt x="1572" y="2405"/>
                  </a:lnTo>
                  <a:lnTo>
                    <a:pt x="1572" y="2405"/>
                  </a:lnTo>
                  <a:lnTo>
                    <a:pt x="1572" y="2405"/>
                  </a:lnTo>
                  <a:lnTo>
                    <a:pt x="1572" y="2405"/>
                  </a:lnTo>
                  <a:lnTo>
                    <a:pt x="1572" y="2405"/>
                  </a:lnTo>
                  <a:lnTo>
                    <a:pt x="1572" y="2401"/>
                  </a:lnTo>
                  <a:lnTo>
                    <a:pt x="1572" y="2401"/>
                  </a:lnTo>
                  <a:lnTo>
                    <a:pt x="1572" y="2401"/>
                  </a:lnTo>
                  <a:lnTo>
                    <a:pt x="1572" y="2401"/>
                  </a:lnTo>
                  <a:lnTo>
                    <a:pt x="1572" y="2396"/>
                  </a:lnTo>
                  <a:lnTo>
                    <a:pt x="1568" y="2396"/>
                  </a:lnTo>
                  <a:lnTo>
                    <a:pt x="1568" y="2392"/>
                  </a:lnTo>
                  <a:lnTo>
                    <a:pt x="1563" y="2392"/>
                  </a:lnTo>
                  <a:lnTo>
                    <a:pt x="1559" y="2392"/>
                  </a:lnTo>
                  <a:lnTo>
                    <a:pt x="1559" y="2392"/>
                  </a:lnTo>
                  <a:lnTo>
                    <a:pt x="1559" y="2392"/>
                  </a:lnTo>
                  <a:lnTo>
                    <a:pt x="1559" y="2396"/>
                  </a:lnTo>
                  <a:lnTo>
                    <a:pt x="1563" y="2396"/>
                  </a:lnTo>
                  <a:lnTo>
                    <a:pt x="1563" y="2396"/>
                  </a:lnTo>
                  <a:lnTo>
                    <a:pt x="1563" y="2396"/>
                  </a:lnTo>
                  <a:lnTo>
                    <a:pt x="1563" y="2401"/>
                  </a:lnTo>
                  <a:lnTo>
                    <a:pt x="1563" y="2401"/>
                  </a:lnTo>
                  <a:lnTo>
                    <a:pt x="1563" y="2401"/>
                  </a:lnTo>
                  <a:lnTo>
                    <a:pt x="1563" y="2405"/>
                  </a:lnTo>
                  <a:lnTo>
                    <a:pt x="1563" y="2405"/>
                  </a:lnTo>
                  <a:lnTo>
                    <a:pt x="1563" y="2405"/>
                  </a:lnTo>
                  <a:lnTo>
                    <a:pt x="1563" y="2410"/>
                  </a:lnTo>
                  <a:lnTo>
                    <a:pt x="1568" y="2414"/>
                  </a:lnTo>
                  <a:lnTo>
                    <a:pt x="1568" y="2419"/>
                  </a:lnTo>
                  <a:lnTo>
                    <a:pt x="1568" y="2419"/>
                  </a:lnTo>
                  <a:lnTo>
                    <a:pt x="1568" y="2419"/>
                  </a:lnTo>
                  <a:lnTo>
                    <a:pt x="1568" y="2419"/>
                  </a:lnTo>
                  <a:lnTo>
                    <a:pt x="1572" y="2423"/>
                  </a:lnTo>
                  <a:lnTo>
                    <a:pt x="1572" y="2423"/>
                  </a:lnTo>
                  <a:lnTo>
                    <a:pt x="1572" y="2423"/>
                  </a:lnTo>
                  <a:lnTo>
                    <a:pt x="1577" y="2423"/>
                  </a:lnTo>
                  <a:lnTo>
                    <a:pt x="1577" y="2423"/>
                  </a:lnTo>
                  <a:lnTo>
                    <a:pt x="1577" y="2423"/>
                  </a:lnTo>
                  <a:lnTo>
                    <a:pt x="1577" y="2419"/>
                  </a:lnTo>
                  <a:close/>
                  <a:moveTo>
                    <a:pt x="592" y="384"/>
                  </a:moveTo>
                  <a:lnTo>
                    <a:pt x="592" y="384"/>
                  </a:lnTo>
                  <a:lnTo>
                    <a:pt x="592" y="380"/>
                  </a:lnTo>
                  <a:lnTo>
                    <a:pt x="596" y="380"/>
                  </a:lnTo>
                  <a:lnTo>
                    <a:pt x="596" y="380"/>
                  </a:lnTo>
                  <a:lnTo>
                    <a:pt x="596" y="380"/>
                  </a:lnTo>
                  <a:lnTo>
                    <a:pt x="592" y="380"/>
                  </a:lnTo>
                  <a:lnTo>
                    <a:pt x="592" y="380"/>
                  </a:lnTo>
                  <a:lnTo>
                    <a:pt x="587" y="380"/>
                  </a:lnTo>
                  <a:lnTo>
                    <a:pt x="583" y="380"/>
                  </a:lnTo>
                  <a:lnTo>
                    <a:pt x="583" y="380"/>
                  </a:lnTo>
                  <a:lnTo>
                    <a:pt x="583" y="380"/>
                  </a:lnTo>
                  <a:lnTo>
                    <a:pt x="578" y="380"/>
                  </a:lnTo>
                  <a:lnTo>
                    <a:pt x="574" y="384"/>
                  </a:lnTo>
                  <a:lnTo>
                    <a:pt x="574" y="384"/>
                  </a:lnTo>
                  <a:lnTo>
                    <a:pt x="569" y="384"/>
                  </a:lnTo>
                  <a:lnTo>
                    <a:pt x="569" y="384"/>
                  </a:lnTo>
                  <a:lnTo>
                    <a:pt x="569" y="384"/>
                  </a:lnTo>
                  <a:lnTo>
                    <a:pt x="565" y="389"/>
                  </a:lnTo>
                  <a:lnTo>
                    <a:pt x="565" y="389"/>
                  </a:lnTo>
                  <a:lnTo>
                    <a:pt x="565" y="389"/>
                  </a:lnTo>
                  <a:lnTo>
                    <a:pt x="565" y="389"/>
                  </a:lnTo>
                  <a:lnTo>
                    <a:pt x="569" y="389"/>
                  </a:lnTo>
                  <a:lnTo>
                    <a:pt x="569" y="389"/>
                  </a:lnTo>
                  <a:lnTo>
                    <a:pt x="574" y="389"/>
                  </a:lnTo>
                  <a:lnTo>
                    <a:pt x="574" y="389"/>
                  </a:lnTo>
                  <a:lnTo>
                    <a:pt x="578" y="384"/>
                  </a:lnTo>
                  <a:lnTo>
                    <a:pt x="578" y="384"/>
                  </a:lnTo>
                  <a:lnTo>
                    <a:pt x="583" y="389"/>
                  </a:lnTo>
                  <a:lnTo>
                    <a:pt x="583" y="389"/>
                  </a:lnTo>
                  <a:lnTo>
                    <a:pt x="587" y="384"/>
                  </a:lnTo>
                  <a:lnTo>
                    <a:pt x="592" y="389"/>
                  </a:lnTo>
                  <a:lnTo>
                    <a:pt x="592" y="389"/>
                  </a:lnTo>
                  <a:lnTo>
                    <a:pt x="592" y="384"/>
                  </a:lnTo>
                  <a:lnTo>
                    <a:pt x="592" y="384"/>
                  </a:lnTo>
                  <a:lnTo>
                    <a:pt x="592" y="384"/>
                  </a:lnTo>
                  <a:lnTo>
                    <a:pt x="592" y="384"/>
                  </a:lnTo>
                  <a:close/>
                  <a:moveTo>
                    <a:pt x="1726" y="95"/>
                  </a:moveTo>
                  <a:lnTo>
                    <a:pt x="1726" y="95"/>
                  </a:lnTo>
                  <a:lnTo>
                    <a:pt x="1726" y="95"/>
                  </a:lnTo>
                  <a:lnTo>
                    <a:pt x="1726" y="95"/>
                  </a:lnTo>
                  <a:lnTo>
                    <a:pt x="1721" y="100"/>
                  </a:lnTo>
                  <a:lnTo>
                    <a:pt x="1721" y="100"/>
                  </a:lnTo>
                  <a:lnTo>
                    <a:pt x="1721" y="100"/>
                  </a:lnTo>
                  <a:lnTo>
                    <a:pt x="1730" y="100"/>
                  </a:lnTo>
                  <a:lnTo>
                    <a:pt x="1730" y="100"/>
                  </a:lnTo>
                  <a:lnTo>
                    <a:pt x="1735" y="100"/>
                  </a:lnTo>
                  <a:lnTo>
                    <a:pt x="1735" y="100"/>
                  </a:lnTo>
                  <a:lnTo>
                    <a:pt x="1735" y="100"/>
                  </a:lnTo>
                  <a:lnTo>
                    <a:pt x="1735" y="100"/>
                  </a:lnTo>
                  <a:lnTo>
                    <a:pt x="1735" y="95"/>
                  </a:lnTo>
                  <a:lnTo>
                    <a:pt x="1735" y="95"/>
                  </a:lnTo>
                  <a:lnTo>
                    <a:pt x="1735" y="95"/>
                  </a:lnTo>
                  <a:lnTo>
                    <a:pt x="1735" y="95"/>
                  </a:lnTo>
                  <a:lnTo>
                    <a:pt x="1735" y="95"/>
                  </a:lnTo>
                  <a:lnTo>
                    <a:pt x="1730" y="95"/>
                  </a:lnTo>
                  <a:lnTo>
                    <a:pt x="1730" y="95"/>
                  </a:lnTo>
                  <a:lnTo>
                    <a:pt x="1730" y="95"/>
                  </a:lnTo>
                  <a:lnTo>
                    <a:pt x="1730" y="95"/>
                  </a:lnTo>
                  <a:lnTo>
                    <a:pt x="1735" y="95"/>
                  </a:lnTo>
                  <a:lnTo>
                    <a:pt x="1730" y="95"/>
                  </a:lnTo>
                  <a:lnTo>
                    <a:pt x="1730" y="95"/>
                  </a:lnTo>
                  <a:lnTo>
                    <a:pt x="1726" y="95"/>
                  </a:lnTo>
                  <a:lnTo>
                    <a:pt x="1726" y="95"/>
                  </a:lnTo>
                  <a:close/>
                  <a:moveTo>
                    <a:pt x="63" y="1126"/>
                  </a:moveTo>
                  <a:lnTo>
                    <a:pt x="63" y="1126"/>
                  </a:lnTo>
                  <a:lnTo>
                    <a:pt x="63" y="1126"/>
                  </a:lnTo>
                  <a:lnTo>
                    <a:pt x="63" y="1121"/>
                  </a:lnTo>
                  <a:lnTo>
                    <a:pt x="63" y="1121"/>
                  </a:lnTo>
                  <a:lnTo>
                    <a:pt x="59" y="1117"/>
                  </a:lnTo>
                  <a:lnTo>
                    <a:pt x="54" y="1112"/>
                  </a:lnTo>
                  <a:lnTo>
                    <a:pt x="54" y="1112"/>
                  </a:lnTo>
                  <a:lnTo>
                    <a:pt x="54" y="1117"/>
                  </a:lnTo>
                  <a:lnTo>
                    <a:pt x="54" y="1117"/>
                  </a:lnTo>
                  <a:lnTo>
                    <a:pt x="50" y="1121"/>
                  </a:lnTo>
                  <a:lnTo>
                    <a:pt x="50" y="1121"/>
                  </a:lnTo>
                  <a:lnTo>
                    <a:pt x="50" y="1126"/>
                  </a:lnTo>
                  <a:lnTo>
                    <a:pt x="50" y="1126"/>
                  </a:lnTo>
                  <a:lnTo>
                    <a:pt x="45" y="1130"/>
                  </a:lnTo>
                  <a:lnTo>
                    <a:pt x="45" y="1139"/>
                  </a:lnTo>
                  <a:lnTo>
                    <a:pt x="45" y="1139"/>
                  </a:lnTo>
                  <a:lnTo>
                    <a:pt x="45" y="1144"/>
                  </a:lnTo>
                  <a:lnTo>
                    <a:pt x="45" y="1144"/>
                  </a:lnTo>
                  <a:lnTo>
                    <a:pt x="50" y="1139"/>
                  </a:lnTo>
                  <a:lnTo>
                    <a:pt x="50" y="1139"/>
                  </a:lnTo>
                  <a:lnTo>
                    <a:pt x="54" y="1135"/>
                  </a:lnTo>
                  <a:lnTo>
                    <a:pt x="59" y="1135"/>
                  </a:lnTo>
                  <a:lnTo>
                    <a:pt x="63" y="1130"/>
                  </a:lnTo>
                  <a:lnTo>
                    <a:pt x="68" y="1130"/>
                  </a:lnTo>
                  <a:lnTo>
                    <a:pt x="68" y="1130"/>
                  </a:lnTo>
                  <a:lnTo>
                    <a:pt x="63" y="1126"/>
                  </a:lnTo>
                  <a:close/>
                  <a:moveTo>
                    <a:pt x="538" y="393"/>
                  </a:moveTo>
                  <a:lnTo>
                    <a:pt x="533" y="393"/>
                  </a:lnTo>
                  <a:lnTo>
                    <a:pt x="533" y="393"/>
                  </a:lnTo>
                  <a:lnTo>
                    <a:pt x="533" y="393"/>
                  </a:lnTo>
                  <a:lnTo>
                    <a:pt x="533" y="393"/>
                  </a:lnTo>
                  <a:lnTo>
                    <a:pt x="533" y="393"/>
                  </a:lnTo>
                  <a:lnTo>
                    <a:pt x="533" y="393"/>
                  </a:lnTo>
                  <a:lnTo>
                    <a:pt x="533" y="393"/>
                  </a:lnTo>
                  <a:lnTo>
                    <a:pt x="533" y="393"/>
                  </a:lnTo>
                  <a:lnTo>
                    <a:pt x="529" y="393"/>
                  </a:lnTo>
                  <a:lnTo>
                    <a:pt x="529" y="393"/>
                  </a:lnTo>
                  <a:lnTo>
                    <a:pt x="529" y="393"/>
                  </a:lnTo>
                  <a:lnTo>
                    <a:pt x="524" y="393"/>
                  </a:lnTo>
                  <a:lnTo>
                    <a:pt x="524" y="393"/>
                  </a:lnTo>
                  <a:lnTo>
                    <a:pt x="524" y="393"/>
                  </a:lnTo>
                  <a:lnTo>
                    <a:pt x="524" y="393"/>
                  </a:lnTo>
                  <a:lnTo>
                    <a:pt x="524" y="393"/>
                  </a:lnTo>
                  <a:lnTo>
                    <a:pt x="524" y="393"/>
                  </a:lnTo>
                  <a:lnTo>
                    <a:pt x="524" y="398"/>
                  </a:lnTo>
                  <a:lnTo>
                    <a:pt x="524" y="398"/>
                  </a:lnTo>
                  <a:lnTo>
                    <a:pt x="524" y="398"/>
                  </a:lnTo>
                  <a:lnTo>
                    <a:pt x="524" y="398"/>
                  </a:lnTo>
                  <a:lnTo>
                    <a:pt x="524" y="398"/>
                  </a:lnTo>
                  <a:lnTo>
                    <a:pt x="524" y="398"/>
                  </a:lnTo>
                  <a:lnTo>
                    <a:pt x="524" y="398"/>
                  </a:lnTo>
                  <a:lnTo>
                    <a:pt x="524" y="398"/>
                  </a:lnTo>
                  <a:lnTo>
                    <a:pt x="524" y="398"/>
                  </a:lnTo>
                  <a:lnTo>
                    <a:pt x="520" y="398"/>
                  </a:lnTo>
                  <a:lnTo>
                    <a:pt x="520" y="398"/>
                  </a:lnTo>
                  <a:lnTo>
                    <a:pt x="515" y="398"/>
                  </a:lnTo>
                  <a:lnTo>
                    <a:pt x="515" y="398"/>
                  </a:lnTo>
                  <a:lnTo>
                    <a:pt x="511" y="402"/>
                  </a:lnTo>
                  <a:lnTo>
                    <a:pt x="511" y="402"/>
                  </a:lnTo>
                  <a:lnTo>
                    <a:pt x="506" y="402"/>
                  </a:lnTo>
                  <a:lnTo>
                    <a:pt x="506" y="402"/>
                  </a:lnTo>
                  <a:lnTo>
                    <a:pt x="506" y="402"/>
                  </a:lnTo>
                  <a:lnTo>
                    <a:pt x="501" y="402"/>
                  </a:lnTo>
                  <a:lnTo>
                    <a:pt x="501" y="402"/>
                  </a:lnTo>
                  <a:lnTo>
                    <a:pt x="506" y="402"/>
                  </a:lnTo>
                  <a:lnTo>
                    <a:pt x="506" y="402"/>
                  </a:lnTo>
                  <a:lnTo>
                    <a:pt x="506" y="402"/>
                  </a:lnTo>
                  <a:lnTo>
                    <a:pt x="506" y="402"/>
                  </a:lnTo>
                  <a:lnTo>
                    <a:pt x="506" y="402"/>
                  </a:lnTo>
                  <a:lnTo>
                    <a:pt x="511" y="402"/>
                  </a:lnTo>
                  <a:lnTo>
                    <a:pt x="511" y="402"/>
                  </a:lnTo>
                  <a:lnTo>
                    <a:pt x="511" y="402"/>
                  </a:lnTo>
                  <a:lnTo>
                    <a:pt x="511" y="402"/>
                  </a:lnTo>
                  <a:lnTo>
                    <a:pt x="515" y="402"/>
                  </a:lnTo>
                  <a:lnTo>
                    <a:pt x="515" y="402"/>
                  </a:lnTo>
                  <a:lnTo>
                    <a:pt x="520" y="402"/>
                  </a:lnTo>
                  <a:lnTo>
                    <a:pt x="520" y="402"/>
                  </a:lnTo>
                  <a:lnTo>
                    <a:pt x="520" y="402"/>
                  </a:lnTo>
                  <a:lnTo>
                    <a:pt x="524" y="398"/>
                  </a:lnTo>
                  <a:lnTo>
                    <a:pt x="529" y="398"/>
                  </a:lnTo>
                  <a:lnTo>
                    <a:pt x="529" y="398"/>
                  </a:lnTo>
                  <a:lnTo>
                    <a:pt x="529" y="398"/>
                  </a:lnTo>
                  <a:lnTo>
                    <a:pt x="529" y="398"/>
                  </a:lnTo>
                  <a:lnTo>
                    <a:pt x="529" y="398"/>
                  </a:lnTo>
                  <a:lnTo>
                    <a:pt x="529" y="398"/>
                  </a:lnTo>
                  <a:lnTo>
                    <a:pt x="529" y="398"/>
                  </a:lnTo>
                  <a:lnTo>
                    <a:pt x="529" y="398"/>
                  </a:lnTo>
                  <a:lnTo>
                    <a:pt x="533" y="393"/>
                  </a:lnTo>
                  <a:lnTo>
                    <a:pt x="538" y="393"/>
                  </a:lnTo>
                  <a:lnTo>
                    <a:pt x="538" y="393"/>
                  </a:lnTo>
                  <a:lnTo>
                    <a:pt x="538" y="393"/>
                  </a:lnTo>
                  <a:lnTo>
                    <a:pt x="538" y="393"/>
                  </a:lnTo>
                  <a:close/>
                  <a:moveTo>
                    <a:pt x="1739" y="86"/>
                  </a:moveTo>
                  <a:lnTo>
                    <a:pt x="1739" y="86"/>
                  </a:lnTo>
                  <a:lnTo>
                    <a:pt x="1739" y="86"/>
                  </a:lnTo>
                  <a:lnTo>
                    <a:pt x="1744" y="81"/>
                  </a:lnTo>
                  <a:lnTo>
                    <a:pt x="1744" y="81"/>
                  </a:lnTo>
                  <a:lnTo>
                    <a:pt x="1744" y="81"/>
                  </a:lnTo>
                  <a:lnTo>
                    <a:pt x="1744" y="81"/>
                  </a:lnTo>
                  <a:lnTo>
                    <a:pt x="1744" y="81"/>
                  </a:lnTo>
                  <a:lnTo>
                    <a:pt x="1744" y="81"/>
                  </a:lnTo>
                  <a:lnTo>
                    <a:pt x="1744" y="81"/>
                  </a:lnTo>
                  <a:lnTo>
                    <a:pt x="1744" y="77"/>
                  </a:lnTo>
                  <a:lnTo>
                    <a:pt x="1744" y="77"/>
                  </a:lnTo>
                  <a:lnTo>
                    <a:pt x="1744" y="77"/>
                  </a:lnTo>
                  <a:lnTo>
                    <a:pt x="1744" y="77"/>
                  </a:lnTo>
                  <a:lnTo>
                    <a:pt x="1744" y="72"/>
                  </a:lnTo>
                  <a:lnTo>
                    <a:pt x="1744" y="72"/>
                  </a:lnTo>
                  <a:lnTo>
                    <a:pt x="1739" y="72"/>
                  </a:lnTo>
                  <a:lnTo>
                    <a:pt x="1739" y="72"/>
                  </a:lnTo>
                  <a:lnTo>
                    <a:pt x="1739" y="77"/>
                  </a:lnTo>
                  <a:lnTo>
                    <a:pt x="1739" y="77"/>
                  </a:lnTo>
                  <a:lnTo>
                    <a:pt x="1739" y="77"/>
                  </a:lnTo>
                  <a:lnTo>
                    <a:pt x="1735" y="77"/>
                  </a:lnTo>
                  <a:lnTo>
                    <a:pt x="1735" y="81"/>
                  </a:lnTo>
                  <a:lnTo>
                    <a:pt x="1735" y="81"/>
                  </a:lnTo>
                  <a:lnTo>
                    <a:pt x="1735" y="86"/>
                  </a:lnTo>
                  <a:lnTo>
                    <a:pt x="1735" y="86"/>
                  </a:lnTo>
                  <a:lnTo>
                    <a:pt x="1739" y="86"/>
                  </a:lnTo>
                  <a:close/>
                  <a:moveTo>
                    <a:pt x="1694" y="122"/>
                  </a:moveTo>
                  <a:lnTo>
                    <a:pt x="1699" y="118"/>
                  </a:lnTo>
                  <a:lnTo>
                    <a:pt x="1699" y="118"/>
                  </a:lnTo>
                  <a:lnTo>
                    <a:pt x="1699" y="118"/>
                  </a:lnTo>
                  <a:lnTo>
                    <a:pt x="1703" y="118"/>
                  </a:lnTo>
                  <a:lnTo>
                    <a:pt x="1703" y="118"/>
                  </a:lnTo>
                  <a:lnTo>
                    <a:pt x="1703" y="118"/>
                  </a:lnTo>
                  <a:lnTo>
                    <a:pt x="1703" y="118"/>
                  </a:lnTo>
                  <a:lnTo>
                    <a:pt x="1703" y="118"/>
                  </a:lnTo>
                  <a:lnTo>
                    <a:pt x="1703" y="113"/>
                  </a:lnTo>
                  <a:lnTo>
                    <a:pt x="1703" y="113"/>
                  </a:lnTo>
                  <a:lnTo>
                    <a:pt x="1703" y="113"/>
                  </a:lnTo>
                  <a:lnTo>
                    <a:pt x="1703" y="113"/>
                  </a:lnTo>
                  <a:lnTo>
                    <a:pt x="1699" y="113"/>
                  </a:lnTo>
                  <a:lnTo>
                    <a:pt x="1699" y="113"/>
                  </a:lnTo>
                  <a:lnTo>
                    <a:pt x="1694" y="113"/>
                  </a:lnTo>
                  <a:lnTo>
                    <a:pt x="1694" y="113"/>
                  </a:lnTo>
                  <a:lnTo>
                    <a:pt x="1690" y="118"/>
                  </a:lnTo>
                  <a:lnTo>
                    <a:pt x="1690" y="118"/>
                  </a:lnTo>
                  <a:lnTo>
                    <a:pt x="1690" y="118"/>
                  </a:lnTo>
                  <a:lnTo>
                    <a:pt x="1690" y="118"/>
                  </a:lnTo>
                  <a:lnTo>
                    <a:pt x="1690" y="118"/>
                  </a:lnTo>
                  <a:lnTo>
                    <a:pt x="1690" y="118"/>
                  </a:lnTo>
                  <a:lnTo>
                    <a:pt x="1690" y="122"/>
                  </a:lnTo>
                  <a:lnTo>
                    <a:pt x="1694" y="122"/>
                  </a:lnTo>
                  <a:close/>
                  <a:moveTo>
                    <a:pt x="1653" y="145"/>
                  </a:moveTo>
                  <a:lnTo>
                    <a:pt x="1658" y="145"/>
                  </a:lnTo>
                  <a:lnTo>
                    <a:pt x="1658" y="145"/>
                  </a:lnTo>
                  <a:lnTo>
                    <a:pt x="1658" y="145"/>
                  </a:lnTo>
                  <a:lnTo>
                    <a:pt x="1653" y="145"/>
                  </a:lnTo>
                  <a:lnTo>
                    <a:pt x="1653" y="140"/>
                  </a:lnTo>
                  <a:lnTo>
                    <a:pt x="1653" y="140"/>
                  </a:lnTo>
                  <a:lnTo>
                    <a:pt x="1653" y="140"/>
                  </a:lnTo>
                  <a:lnTo>
                    <a:pt x="1640" y="140"/>
                  </a:lnTo>
                  <a:lnTo>
                    <a:pt x="1640" y="140"/>
                  </a:lnTo>
                  <a:lnTo>
                    <a:pt x="1640" y="140"/>
                  </a:lnTo>
                  <a:lnTo>
                    <a:pt x="1635" y="140"/>
                  </a:lnTo>
                  <a:lnTo>
                    <a:pt x="1631" y="145"/>
                  </a:lnTo>
                  <a:lnTo>
                    <a:pt x="1631" y="145"/>
                  </a:lnTo>
                  <a:lnTo>
                    <a:pt x="1631" y="145"/>
                  </a:lnTo>
                  <a:lnTo>
                    <a:pt x="1635" y="145"/>
                  </a:lnTo>
                  <a:lnTo>
                    <a:pt x="1635" y="149"/>
                  </a:lnTo>
                  <a:lnTo>
                    <a:pt x="1635" y="149"/>
                  </a:lnTo>
                  <a:lnTo>
                    <a:pt x="1631" y="149"/>
                  </a:lnTo>
                  <a:lnTo>
                    <a:pt x="1635" y="154"/>
                  </a:lnTo>
                  <a:lnTo>
                    <a:pt x="1631" y="154"/>
                  </a:lnTo>
                  <a:lnTo>
                    <a:pt x="1635" y="154"/>
                  </a:lnTo>
                  <a:lnTo>
                    <a:pt x="1635" y="154"/>
                  </a:lnTo>
                  <a:lnTo>
                    <a:pt x="1635" y="154"/>
                  </a:lnTo>
                  <a:lnTo>
                    <a:pt x="1635" y="154"/>
                  </a:lnTo>
                  <a:lnTo>
                    <a:pt x="1640" y="154"/>
                  </a:lnTo>
                  <a:lnTo>
                    <a:pt x="1640" y="154"/>
                  </a:lnTo>
                  <a:lnTo>
                    <a:pt x="1640" y="154"/>
                  </a:lnTo>
                  <a:lnTo>
                    <a:pt x="1644" y="149"/>
                  </a:lnTo>
                  <a:lnTo>
                    <a:pt x="1649" y="149"/>
                  </a:lnTo>
                  <a:lnTo>
                    <a:pt x="1649" y="149"/>
                  </a:lnTo>
                  <a:lnTo>
                    <a:pt x="1653" y="145"/>
                  </a:lnTo>
                  <a:lnTo>
                    <a:pt x="1653" y="145"/>
                  </a:lnTo>
                  <a:close/>
                  <a:moveTo>
                    <a:pt x="1717" y="104"/>
                  </a:moveTo>
                  <a:lnTo>
                    <a:pt x="1726" y="104"/>
                  </a:lnTo>
                  <a:lnTo>
                    <a:pt x="1726" y="104"/>
                  </a:lnTo>
                  <a:lnTo>
                    <a:pt x="1721" y="109"/>
                  </a:lnTo>
                  <a:lnTo>
                    <a:pt x="1717" y="109"/>
                  </a:lnTo>
                  <a:lnTo>
                    <a:pt x="1721" y="109"/>
                  </a:lnTo>
                  <a:lnTo>
                    <a:pt x="1726" y="109"/>
                  </a:lnTo>
                  <a:lnTo>
                    <a:pt x="1726" y="109"/>
                  </a:lnTo>
                  <a:lnTo>
                    <a:pt x="1730" y="109"/>
                  </a:lnTo>
                  <a:lnTo>
                    <a:pt x="1730" y="109"/>
                  </a:lnTo>
                  <a:lnTo>
                    <a:pt x="1735" y="109"/>
                  </a:lnTo>
                  <a:lnTo>
                    <a:pt x="1735" y="109"/>
                  </a:lnTo>
                  <a:lnTo>
                    <a:pt x="1735" y="109"/>
                  </a:lnTo>
                  <a:lnTo>
                    <a:pt x="1735" y="104"/>
                  </a:lnTo>
                  <a:lnTo>
                    <a:pt x="1735" y="104"/>
                  </a:lnTo>
                  <a:lnTo>
                    <a:pt x="1735" y="104"/>
                  </a:lnTo>
                  <a:lnTo>
                    <a:pt x="1735" y="104"/>
                  </a:lnTo>
                  <a:lnTo>
                    <a:pt x="1735" y="100"/>
                  </a:lnTo>
                  <a:lnTo>
                    <a:pt x="1735" y="100"/>
                  </a:lnTo>
                  <a:lnTo>
                    <a:pt x="1735" y="100"/>
                  </a:lnTo>
                  <a:lnTo>
                    <a:pt x="1726" y="100"/>
                  </a:lnTo>
                  <a:lnTo>
                    <a:pt x="1721" y="100"/>
                  </a:lnTo>
                  <a:lnTo>
                    <a:pt x="1717" y="100"/>
                  </a:lnTo>
                  <a:lnTo>
                    <a:pt x="1717" y="104"/>
                  </a:lnTo>
                  <a:lnTo>
                    <a:pt x="1717" y="104"/>
                  </a:lnTo>
                  <a:lnTo>
                    <a:pt x="1717" y="104"/>
                  </a:lnTo>
                  <a:lnTo>
                    <a:pt x="1721" y="104"/>
                  </a:lnTo>
                  <a:lnTo>
                    <a:pt x="1717" y="104"/>
                  </a:lnTo>
                  <a:lnTo>
                    <a:pt x="1717" y="104"/>
                  </a:lnTo>
                  <a:close/>
                  <a:moveTo>
                    <a:pt x="1604" y="213"/>
                  </a:moveTo>
                  <a:lnTo>
                    <a:pt x="1604" y="213"/>
                  </a:lnTo>
                  <a:lnTo>
                    <a:pt x="1604" y="213"/>
                  </a:lnTo>
                  <a:lnTo>
                    <a:pt x="1608" y="217"/>
                  </a:lnTo>
                  <a:lnTo>
                    <a:pt x="1608" y="217"/>
                  </a:lnTo>
                  <a:lnTo>
                    <a:pt x="1608" y="213"/>
                  </a:lnTo>
                  <a:lnTo>
                    <a:pt x="1613" y="213"/>
                  </a:lnTo>
                  <a:lnTo>
                    <a:pt x="1613" y="213"/>
                  </a:lnTo>
                  <a:lnTo>
                    <a:pt x="1613" y="208"/>
                  </a:lnTo>
                  <a:lnTo>
                    <a:pt x="1617" y="208"/>
                  </a:lnTo>
                  <a:lnTo>
                    <a:pt x="1617" y="208"/>
                  </a:lnTo>
                  <a:lnTo>
                    <a:pt x="1617" y="208"/>
                  </a:lnTo>
                  <a:lnTo>
                    <a:pt x="1613" y="208"/>
                  </a:lnTo>
                  <a:lnTo>
                    <a:pt x="1613" y="208"/>
                  </a:lnTo>
                  <a:lnTo>
                    <a:pt x="1613" y="204"/>
                  </a:lnTo>
                  <a:lnTo>
                    <a:pt x="1613" y="204"/>
                  </a:lnTo>
                  <a:lnTo>
                    <a:pt x="1613" y="204"/>
                  </a:lnTo>
                  <a:lnTo>
                    <a:pt x="1613" y="204"/>
                  </a:lnTo>
                  <a:lnTo>
                    <a:pt x="1613" y="204"/>
                  </a:lnTo>
                  <a:lnTo>
                    <a:pt x="1608" y="204"/>
                  </a:lnTo>
                  <a:lnTo>
                    <a:pt x="1608" y="204"/>
                  </a:lnTo>
                  <a:lnTo>
                    <a:pt x="1608" y="199"/>
                  </a:lnTo>
                  <a:lnTo>
                    <a:pt x="1608" y="199"/>
                  </a:lnTo>
                  <a:lnTo>
                    <a:pt x="1608" y="199"/>
                  </a:lnTo>
                  <a:lnTo>
                    <a:pt x="1608" y="194"/>
                  </a:lnTo>
                  <a:lnTo>
                    <a:pt x="1608" y="194"/>
                  </a:lnTo>
                  <a:lnTo>
                    <a:pt x="1604" y="194"/>
                  </a:lnTo>
                  <a:lnTo>
                    <a:pt x="1604" y="199"/>
                  </a:lnTo>
                  <a:lnTo>
                    <a:pt x="1604" y="199"/>
                  </a:lnTo>
                  <a:lnTo>
                    <a:pt x="1604" y="199"/>
                  </a:lnTo>
                  <a:lnTo>
                    <a:pt x="1604" y="199"/>
                  </a:lnTo>
                  <a:lnTo>
                    <a:pt x="1604" y="199"/>
                  </a:lnTo>
                  <a:lnTo>
                    <a:pt x="1604" y="199"/>
                  </a:lnTo>
                  <a:lnTo>
                    <a:pt x="1604" y="199"/>
                  </a:lnTo>
                  <a:lnTo>
                    <a:pt x="1599" y="194"/>
                  </a:lnTo>
                  <a:lnTo>
                    <a:pt x="1599" y="194"/>
                  </a:lnTo>
                  <a:lnTo>
                    <a:pt x="1599" y="194"/>
                  </a:lnTo>
                  <a:lnTo>
                    <a:pt x="1599" y="190"/>
                  </a:lnTo>
                  <a:lnTo>
                    <a:pt x="1599" y="185"/>
                  </a:lnTo>
                  <a:lnTo>
                    <a:pt x="1599" y="185"/>
                  </a:lnTo>
                  <a:lnTo>
                    <a:pt x="1604" y="185"/>
                  </a:lnTo>
                  <a:lnTo>
                    <a:pt x="1604" y="185"/>
                  </a:lnTo>
                  <a:lnTo>
                    <a:pt x="1608" y="185"/>
                  </a:lnTo>
                  <a:lnTo>
                    <a:pt x="1608" y="181"/>
                  </a:lnTo>
                  <a:lnTo>
                    <a:pt x="1608" y="181"/>
                  </a:lnTo>
                  <a:lnTo>
                    <a:pt x="1613" y="181"/>
                  </a:lnTo>
                  <a:lnTo>
                    <a:pt x="1613" y="181"/>
                  </a:lnTo>
                  <a:lnTo>
                    <a:pt x="1613" y="181"/>
                  </a:lnTo>
                  <a:lnTo>
                    <a:pt x="1613" y="181"/>
                  </a:lnTo>
                  <a:lnTo>
                    <a:pt x="1613" y="176"/>
                  </a:lnTo>
                  <a:lnTo>
                    <a:pt x="1617" y="172"/>
                  </a:lnTo>
                  <a:lnTo>
                    <a:pt x="1617" y="172"/>
                  </a:lnTo>
                  <a:lnTo>
                    <a:pt x="1617" y="172"/>
                  </a:lnTo>
                  <a:lnTo>
                    <a:pt x="1622" y="163"/>
                  </a:lnTo>
                  <a:lnTo>
                    <a:pt x="1626" y="163"/>
                  </a:lnTo>
                  <a:lnTo>
                    <a:pt x="1626" y="163"/>
                  </a:lnTo>
                  <a:lnTo>
                    <a:pt x="1626" y="158"/>
                  </a:lnTo>
                  <a:lnTo>
                    <a:pt x="1626" y="158"/>
                  </a:lnTo>
                  <a:lnTo>
                    <a:pt x="1626" y="158"/>
                  </a:lnTo>
                  <a:lnTo>
                    <a:pt x="1631" y="158"/>
                  </a:lnTo>
                  <a:lnTo>
                    <a:pt x="1631" y="158"/>
                  </a:lnTo>
                  <a:lnTo>
                    <a:pt x="1631" y="158"/>
                  </a:lnTo>
                  <a:lnTo>
                    <a:pt x="1631" y="154"/>
                  </a:lnTo>
                  <a:lnTo>
                    <a:pt x="1631" y="154"/>
                  </a:lnTo>
                  <a:lnTo>
                    <a:pt x="1631" y="154"/>
                  </a:lnTo>
                  <a:lnTo>
                    <a:pt x="1631" y="154"/>
                  </a:lnTo>
                  <a:lnTo>
                    <a:pt x="1631" y="149"/>
                  </a:lnTo>
                  <a:lnTo>
                    <a:pt x="1626" y="149"/>
                  </a:lnTo>
                  <a:lnTo>
                    <a:pt x="1626" y="149"/>
                  </a:lnTo>
                  <a:lnTo>
                    <a:pt x="1626" y="149"/>
                  </a:lnTo>
                  <a:lnTo>
                    <a:pt x="1622" y="149"/>
                  </a:lnTo>
                  <a:lnTo>
                    <a:pt x="1622" y="149"/>
                  </a:lnTo>
                  <a:lnTo>
                    <a:pt x="1622" y="145"/>
                  </a:lnTo>
                  <a:lnTo>
                    <a:pt x="1622" y="145"/>
                  </a:lnTo>
                  <a:lnTo>
                    <a:pt x="1617" y="145"/>
                  </a:lnTo>
                  <a:lnTo>
                    <a:pt x="1617" y="145"/>
                  </a:lnTo>
                  <a:lnTo>
                    <a:pt x="1617" y="145"/>
                  </a:lnTo>
                  <a:lnTo>
                    <a:pt x="1617" y="149"/>
                  </a:lnTo>
                  <a:lnTo>
                    <a:pt x="1617" y="149"/>
                  </a:lnTo>
                  <a:lnTo>
                    <a:pt x="1613" y="149"/>
                  </a:lnTo>
                  <a:lnTo>
                    <a:pt x="1613" y="149"/>
                  </a:lnTo>
                  <a:lnTo>
                    <a:pt x="1613" y="149"/>
                  </a:lnTo>
                  <a:lnTo>
                    <a:pt x="1613" y="149"/>
                  </a:lnTo>
                  <a:lnTo>
                    <a:pt x="1608" y="149"/>
                  </a:lnTo>
                  <a:lnTo>
                    <a:pt x="1604" y="158"/>
                  </a:lnTo>
                  <a:lnTo>
                    <a:pt x="1599" y="158"/>
                  </a:lnTo>
                  <a:lnTo>
                    <a:pt x="1599" y="158"/>
                  </a:lnTo>
                  <a:lnTo>
                    <a:pt x="1599" y="158"/>
                  </a:lnTo>
                  <a:lnTo>
                    <a:pt x="1599" y="158"/>
                  </a:lnTo>
                  <a:lnTo>
                    <a:pt x="1599" y="158"/>
                  </a:lnTo>
                  <a:lnTo>
                    <a:pt x="1599" y="163"/>
                  </a:lnTo>
                  <a:lnTo>
                    <a:pt x="1595" y="163"/>
                  </a:lnTo>
                  <a:lnTo>
                    <a:pt x="1595" y="163"/>
                  </a:lnTo>
                  <a:lnTo>
                    <a:pt x="1595" y="167"/>
                  </a:lnTo>
                  <a:lnTo>
                    <a:pt x="1590" y="167"/>
                  </a:lnTo>
                  <a:lnTo>
                    <a:pt x="1590" y="172"/>
                  </a:lnTo>
                  <a:lnTo>
                    <a:pt x="1590" y="172"/>
                  </a:lnTo>
                  <a:lnTo>
                    <a:pt x="1590" y="172"/>
                  </a:lnTo>
                  <a:lnTo>
                    <a:pt x="1590" y="172"/>
                  </a:lnTo>
                  <a:lnTo>
                    <a:pt x="1590" y="172"/>
                  </a:lnTo>
                  <a:lnTo>
                    <a:pt x="1590" y="172"/>
                  </a:lnTo>
                  <a:lnTo>
                    <a:pt x="1586" y="172"/>
                  </a:lnTo>
                  <a:lnTo>
                    <a:pt x="1581" y="172"/>
                  </a:lnTo>
                  <a:lnTo>
                    <a:pt x="1581" y="176"/>
                  </a:lnTo>
                  <a:lnTo>
                    <a:pt x="1581" y="176"/>
                  </a:lnTo>
                  <a:lnTo>
                    <a:pt x="1581" y="176"/>
                  </a:lnTo>
                  <a:lnTo>
                    <a:pt x="1581" y="172"/>
                  </a:lnTo>
                  <a:lnTo>
                    <a:pt x="1577" y="172"/>
                  </a:lnTo>
                  <a:lnTo>
                    <a:pt x="1577" y="172"/>
                  </a:lnTo>
                  <a:lnTo>
                    <a:pt x="1581" y="172"/>
                  </a:lnTo>
                  <a:lnTo>
                    <a:pt x="1581" y="167"/>
                  </a:lnTo>
                  <a:lnTo>
                    <a:pt x="1586" y="167"/>
                  </a:lnTo>
                  <a:lnTo>
                    <a:pt x="1590" y="163"/>
                  </a:lnTo>
                  <a:lnTo>
                    <a:pt x="1590" y="163"/>
                  </a:lnTo>
                  <a:lnTo>
                    <a:pt x="1590" y="158"/>
                  </a:lnTo>
                  <a:lnTo>
                    <a:pt x="1590" y="158"/>
                  </a:lnTo>
                  <a:lnTo>
                    <a:pt x="1590" y="158"/>
                  </a:lnTo>
                  <a:lnTo>
                    <a:pt x="1590" y="158"/>
                  </a:lnTo>
                  <a:lnTo>
                    <a:pt x="1590" y="158"/>
                  </a:lnTo>
                  <a:lnTo>
                    <a:pt x="1590" y="158"/>
                  </a:lnTo>
                  <a:lnTo>
                    <a:pt x="1595" y="158"/>
                  </a:lnTo>
                  <a:lnTo>
                    <a:pt x="1595" y="154"/>
                  </a:lnTo>
                  <a:lnTo>
                    <a:pt x="1595" y="154"/>
                  </a:lnTo>
                  <a:lnTo>
                    <a:pt x="1595" y="154"/>
                  </a:lnTo>
                  <a:lnTo>
                    <a:pt x="1590" y="154"/>
                  </a:lnTo>
                  <a:lnTo>
                    <a:pt x="1590" y="154"/>
                  </a:lnTo>
                  <a:lnTo>
                    <a:pt x="1590" y="154"/>
                  </a:lnTo>
                  <a:lnTo>
                    <a:pt x="1590" y="149"/>
                  </a:lnTo>
                  <a:lnTo>
                    <a:pt x="1590" y="149"/>
                  </a:lnTo>
                  <a:lnTo>
                    <a:pt x="1586" y="149"/>
                  </a:lnTo>
                  <a:lnTo>
                    <a:pt x="1586" y="149"/>
                  </a:lnTo>
                  <a:lnTo>
                    <a:pt x="1581" y="149"/>
                  </a:lnTo>
                  <a:lnTo>
                    <a:pt x="1581" y="149"/>
                  </a:lnTo>
                  <a:lnTo>
                    <a:pt x="1581" y="154"/>
                  </a:lnTo>
                  <a:lnTo>
                    <a:pt x="1581" y="154"/>
                  </a:lnTo>
                  <a:lnTo>
                    <a:pt x="1581" y="154"/>
                  </a:lnTo>
                  <a:lnTo>
                    <a:pt x="1581" y="154"/>
                  </a:lnTo>
                  <a:lnTo>
                    <a:pt x="1577" y="154"/>
                  </a:lnTo>
                  <a:lnTo>
                    <a:pt x="1577" y="154"/>
                  </a:lnTo>
                  <a:lnTo>
                    <a:pt x="1572" y="158"/>
                  </a:lnTo>
                  <a:lnTo>
                    <a:pt x="1568" y="158"/>
                  </a:lnTo>
                  <a:lnTo>
                    <a:pt x="1563" y="158"/>
                  </a:lnTo>
                  <a:lnTo>
                    <a:pt x="1563" y="158"/>
                  </a:lnTo>
                  <a:lnTo>
                    <a:pt x="1563" y="158"/>
                  </a:lnTo>
                  <a:lnTo>
                    <a:pt x="1563" y="158"/>
                  </a:lnTo>
                  <a:lnTo>
                    <a:pt x="1563" y="158"/>
                  </a:lnTo>
                  <a:lnTo>
                    <a:pt x="1563" y="158"/>
                  </a:lnTo>
                  <a:lnTo>
                    <a:pt x="1568" y="158"/>
                  </a:lnTo>
                  <a:lnTo>
                    <a:pt x="1568" y="158"/>
                  </a:lnTo>
                  <a:lnTo>
                    <a:pt x="1563" y="158"/>
                  </a:lnTo>
                  <a:lnTo>
                    <a:pt x="1563" y="158"/>
                  </a:lnTo>
                  <a:lnTo>
                    <a:pt x="1559" y="158"/>
                  </a:lnTo>
                  <a:lnTo>
                    <a:pt x="1559" y="158"/>
                  </a:lnTo>
                  <a:lnTo>
                    <a:pt x="1559" y="158"/>
                  </a:lnTo>
                  <a:lnTo>
                    <a:pt x="1559" y="158"/>
                  </a:lnTo>
                  <a:lnTo>
                    <a:pt x="1559" y="158"/>
                  </a:lnTo>
                  <a:lnTo>
                    <a:pt x="1563" y="158"/>
                  </a:lnTo>
                  <a:lnTo>
                    <a:pt x="1568" y="154"/>
                  </a:lnTo>
                  <a:lnTo>
                    <a:pt x="1572" y="154"/>
                  </a:lnTo>
                  <a:lnTo>
                    <a:pt x="1572" y="154"/>
                  </a:lnTo>
                  <a:lnTo>
                    <a:pt x="1572" y="154"/>
                  </a:lnTo>
                  <a:lnTo>
                    <a:pt x="1568" y="149"/>
                  </a:lnTo>
                  <a:lnTo>
                    <a:pt x="1568" y="149"/>
                  </a:lnTo>
                  <a:lnTo>
                    <a:pt x="1563" y="149"/>
                  </a:lnTo>
                  <a:lnTo>
                    <a:pt x="1563" y="145"/>
                  </a:lnTo>
                  <a:lnTo>
                    <a:pt x="1559" y="145"/>
                  </a:lnTo>
                  <a:lnTo>
                    <a:pt x="1559" y="149"/>
                  </a:lnTo>
                  <a:lnTo>
                    <a:pt x="1554" y="149"/>
                  </a:lnTo>
                  <a:lnTo>
                    <a:pt x="1554" y="149"/>
                  </a:lnTo>
                  <a:lnTo>
                    <a:pt x="1550" y="149"/>
                  </a:lnTo>
                  <a:lnTo>
                    <a:pt x="1550" y="149"/>
                  </a:lnTo>
                  <a:lnTo>
                    <a:pt x="1550" y="149"/>
                  </a:lnTo>
                  <a:lnTo>
                    <a:pt x="1550" y="154"/>
                  </a:lnTo>
                  <a:lnTo>
                    <a:pt x="1550" y="154"/>
                  </a:lnTo>
                  <a:lnTo>
                    <a:pt x="1550" y="149"/>
                  </a:lnTo>
                  <a:lnTo>
                    <a:pt x="1545" y="149"/>
                  </a:lnTo>
                  <a:lnTo>
                    <a:pt x="1541" y="154"/>
                  </a:lnTo>
                  <a:lnTo>
                    <a:pt x="1541" y="154"/>
                  </a:lnTo>
                  <a:lnTo>
                    <a:pt x="1536" y="154"/>
                  </a:lnTo>
                  <a:lnTo>
                    <a:pt x="1536" y="154"/>
                  </a:lnTo>
                  <a:lnTo>
                    <a:pt x="1541" y="149"/>
                  </a:lnTo>
                  <a:lnTo>
                    <a:pt x="1545" y="149"/>
                  </a:lnTo>
                  <a:lnTo>
                    <a:pt x="1545" y="149"/>
                  </a:lnTo>
                  <a:lnTo>
                    <a:pt x="1550" y="149"/>
                  </a:lnTo>
                  <a:lnTo>
                    <a:pt x="1550" y="149"/>
                  </a:lnTo>
                  <a:lnTo>
                    <a:pt x="1550" y="145"/>
                  </a:lnTo>
                  <a:lnTo>
                    <a:pt x="1554" y="145"/>
                  </a:lnTo>
                  <a:lnTo>
                    <a:pt x="1554" y="145"/>
                  </a:lnTo>
                  <a:lnTo>
                    <a:pt x="1554" y="145"/>
                  </a:lnTo>
                  <a:lnTo>
                    <a:pt x="1559" y="140"/>
                  </a:lnTo>
                  <a:lnTo>
                    <a:pt x="1559" y="140"/>
                  </a:lnTo>
                  <a:lnTo>
                    <a:pt x="1559" y="140"/>
                  </a:lnTo>
                  <a:lnTo>
                    <a:pt x="1559" y="140"/>
                  </a:lnTo>
                  <a:lnTo>
                    <a:pt x="1554" y="140"/>
                  </a:lnTo>
                  <a:lnTo>
                    <a:pt x="1545" y="140"/>
                  </a:lnTo>
                  <a:lnTo>
                    <a:pt x="1532" y="140"/>
                  </a:lnTo>
                  <a:lnTo>
                    <a:pt x="1522" y="145"/>
                  </a:lnTo>
                  <a:lnTo>
                    <a:pt x="1518" y="145"/>
                  </a:lnTo>
                  <a:lnTo>
                    <a:pt x="1513" y="145"/>
                  </a:lnTo>
                  <a:lnTo>
                    <a:pt x="1504" y="149"/>
                  </a:lnTo>
                  <a:lnTo>
                    <a:pt x="1500" y="149"/>
                  </a:lnTo>
                  <a:lnTo>
                    <a:pt x="1495" y="149"/>
                  </a:lnTo>
                  <a:lnTo>
                    <a:pt x="1495" y="149"/>
                  </a:lnTo>
                  <a:lnTo>
                    <a:pt x="1495" y="149"/>
                  </a:lnTo>
                  <a:lnTo>
                    <a:pt x="1495" y="154"/>
                  </a:lnTo>
                  <a:lnTo>
                    <a:pt x="1495" y="154"/>
                  </a:lnTo>
                  <a:lnTo>
                    <a:pt x="1495" y="154"/>
                  </a:lnTo>
                  <a:lnTo>
                    <a:pt x="1495" y="154"/>
                  </a:lnTo>
                  <a:lnTo>
                    <a:pt x="1491" y="154"/>
                  </a:lnTo>
                  <a:lnTo>
                    <a:pt x="1486" y="154"/>
                  </a:lnTo>
                  <a:lnTo>
                    <a:pt x="1482" y="158"/>
                  </a:lnTo>
                  <a:lnTo>
                    <a:pt x="1482" y="158"/>
                  </a:lnTo>
                  <a:lnTo>
                    <a:pt x="1477" y="158"/>
                  </a:lnTo>
                  <a:lnTo>
                    <a:pt x="1477" y="163"/>
                  </a:lnTo>
                  <a:lnTo>
                    <a:pt x="1473" y="163"/>
                  </a:lnTo>
                  <a:lnTo>
                    <a:pt x="1473" y="163"/>
                  </a:lnTo>
                  <a:lnTo>
                    <a:pt x="1473" y="163"/>
                  </a:lnTo>
                  <a:lnTo>
                    <a:pt x="1477" y="163"/>
                  </a:lnTo>
                  <a:lnTo>
                    <a:pt x="1477" y="163"/>
                  </a:lnTo>
                  <a:lnTo>
                    <a:pt x="1482" y="163"/>
                  </a:lnTo>
                  <a:lnTo>
                    <a:pt x="1486" y="163"/>
                  </a:lnTo>
                  <a:lnTo>
                    <a:pt x="1482" y="167"/>
                  </a:lnTo>
                  <a:lnTo>
                    <a:pt x="1477" y="167"/>
                  </a:lnTo>
                  <a:lnTo>
                    <a:pt x="1473" y="167"/>
                  </a:lnTo>
                  <a:lnTo>
                    <a:pt x="1473" y="167"/>
                  </a:lnTo>
                  <a:lnTo>
                    <a:pt x="1473" y="167"/>
                  </a:lnTo>
                  <a:lnTo>
                    <a:pt x="1477" y="167"/>
                  </a:lnTo>
                  <a:lnTo>
                    <a:pt x="1477" y="167"/>
                  </a:lnTo>
                  <a:lnTo>
                    <a:pt x="1482" y="167"/>
                  </a:lnTo>
                  <a:lnTo>
                    <a:pt x="1486" y="167"/>
                  </a:lnTo>
                  <a:lnTo>
                    <a:pt x="1504" y="167"/>
                  </a:lnTo>
                  <a:lnTo>
                    <a:pt x="1504" y="167"/>
                  </a:lnTo>
                  <a:lnTo>
                    <a:pt x="1504" y="167"/>
                  </a:lnTo>
                  <a:lnTo>
                    <a:pt x="1504" y="172"/>
                  </a:lnTo>
                  <a:lnTo>
                    <a:pt x="1500" y="172"/>
                  </a:lnTo>
                  <a:lnTo>
                    <a:pt x="1500" y="167"/>
                  </a:lnTo>
                  <a:lnTo>
                    <a:pt x="1495" y="167"/>
                  </a:lnTo>
                  <a:lnTo>
                    <a:pt x="1495" y="167"/>
                  </a:lnTo>
                  <a:lnTo>
                    <a:pt x="1495" y="172"/>
                  </a:lnTo>
                  <a:lnTo>
                    <a:pt x="1495" y="172"/>
                  </a:lnTo>
                  <a:lnTo>
                    <a:pt x="1495" y="172"/>
                  </a:lnTo>
                  <a:lnTo>
                    <a:pt x="1495" y="172"/>
                  </a:lnTo>
                  <a:lnTo>
                    <a:pt x="1491" y="172"/>
                  </a:lnTo>
                  <a:lnTo>
                    <a:pt x="1491" y="172"/>
                  </a:lnTo>
                  <a:lnTo>
                    <a:pt x="1482" y="172"/>
                  </a:lnTo>
                  <a:lnTo>
                    <a:pt x="1477" y="172"/>
                  </a:lnTo>
                  <a:lnTo>
                    <a:pt x="1473" y="172"/>
                  </a:lnTo>
                  <a:lnTo>
                    <a:pt x="1468" y="172"/>
                  </a:lnTo>
                  <a:lnTo>
                    <a:pt x="1464" y="176"/>
                  </a:lnTo>
                  <a:lnTo>
                    <a:pt x="1464" y="176"/>
                  </a:lnTo>
                  <a:lnTo>
                    <a:pt x="1459" y="176"/>
                  </a:lnTo>
                  <a:lnTo>
                    <a:pt x="1459" y="176"/>
                  </a:lnTo>
                  <a:lnTo>
                    <a:pt x="1459" y="181"/>
                  </a:lnTo>
                  <a:lnTo>
                    <a:pt x="1468" y="181"/>
                  </a:lnTo>
                  <a:lnTo>
                    <a:pt x="1473" y="185"/>
                  </a:lnTo>
                  <a:lnTo>
                    <a:pt x="1473" y="185"/>
                  </a:lnTo>
                  <a:lnTo>
                    <a:pt x="1473" y="185"/>
                  </a:lnTo>
                  <a:lnTo>
                    <a:pt x="1477" y="185"/>
                  </a:lnTo>
                  <a:lnTo>
                    <a:pt x="1482" y="185"/>
                  </a:lnTo>
                  <a:lnTo>
                    <a:pt x="1486" y="185"/>
                  </a:lnTo>
                  <a:lnTo>
                    <a:pt x="1491" y="185"/>
                  </a:lnTo>
                  <a:lnTo>
                    <a:pt x="1495" y="185"/>
                  </a:lnTo>
                  <a:lnTo>
                    <a:pt x="1495" y="185"/>
                  </a:lnTo>
                  <a:lnTo>
                    <a:pt x="1500" y="185"/>
                  </a:lnTo>
                  <a:lnTo>
                    <a:pt x="1500" y="185"/>
                  </a:lnTo>
                  <a:lnTo>
                    <a:pt x="1504" y="185"/>
                  </a:lnTo>
                  <a:lnTo>
                    <a:pt x="1504" y="185"/>
                  </a:lnTo>
                  <a:lnTo>
                    <a:pt x="1509" y="190"/>
                  </a:lnTo>
                  <a:lnTo>
                    <a:pt x="1513" y="194"/>
                  </a:lnTo>
                  <a:lnTo>
                    <a:pt x="1513" y="194"/>
                  </a:lnTo>
                  <a:lnTo>
                    <a:pt x="1513" y="194"/>
                  </a:lnTo>
                  <a:lnTo>
                    <a:pt x="1509" y="194"/>
                  </a:lnTo>
                  <a:lnTo>
                    <a:pt x="1504" y="194"/>
                  </a:lnTo>
                  <a:lnTo>
                    <a:pt x="1504" y="194"/>
                  </a:lnTo>
                  <a:lnTo>
                    <a:pt x="1500" y="194"/>
                  </a:lnTo>
                  <a:lnTo>
                    <a:pt x="1500" y="194"/>
                  </a:lnTo>
                  <a:lnTo>
                    <a:pt x="1495" y="194"/>
                  </a:lnTo>
                  <a:lnTo>
                    <a:pt x="1491" y="190"/>
                  </a:lnTo>
                  <a:lnTo>
                    <a:pt x="1491" y="190"/>
                  </a:lnTo>
                  <a:lnTo>
                    <a:pt x="1486" y="190"/>
                  </a:lnTo>
                  <a:lnTo>
                    <a:pt x="1482" y="190"/>
                  </a:lnTo>
                  <a:lnTo>
                    <a:pt x="1473" y="190"/>
                  </a:lnTo>
                  <a:lnTo>
                    <a:pt x="1459" y="190"/>
                  </a:lnTo>
                  <a:lnTo>
                    <a:pt x="1455" y="190"/>
                  </a:lnTo>
                  <a:lnTo>
                    <a:pt x="1450" y="190"/>
                  </a:lnTo>
                  <a:lnTo>
                    <a:pt x="1450" y="190"/>
                  </a:lnTo>
                  <a:lnTo>
                    <a:pt x="1450" y="194"/>
                  </a:lnTo>
                  <a:lnTo>
                    <a:pt x="1446" y="194"/>
                  </a:lnTo>
                  <a:lnTo>
                    <a:pt x="1446" y="194"/>
                  </a:lnTo>
                  <a:lnTo>
                    <a:pt x="1446" y="194"/>
                  </a:lnTo>
                  <a:lnTo>
                    <a:pt x="1446" y="199"/>
                  </a:lnTo>
                  <a:lnTo>
                    <a:pt x="1446" y="199"/>
                  </a:lnTo>
                  <a:lnTo>
                    <a:pt x="1446" y="204"/>
                  </a:lnTo>
                  <a:lnTo>
                    <a:pt x="1446" y="204"/>
                  </a:lnTo>
                  <a:lnTo>
                    <a:pt x="1441" y="204"/>
                  </a:lnTo>
                  <a:lnTo>
                    <a:pt x="1441" y="204"/>
                  </a:lnTo>
                  <a:lnTo>
                    <a:pt x="1446" y="204"/>
                  </a:lnTo>
                  <a:lnTo>
                    <a:pt x="1446" y="208"/>
                  </a:lnTo>
                  <a:lnTo>
                    <a:pt x="1450" y="208"/>
                  </a:lnTo>
                  <a:lnTo>
                    <a:pt x="1455" y="208"/>
                  </a:lnTo>
                  <a:lnTo>
                    <a:pt x="1459" y="208"/>
                  </a:lnTo>
                  <a:lnTo>
                    <a:pt x="1464" y="208"/>
                  </a:lnTo>
                  <a:lnTo>
                    <a:pt x="1464" y="208"/>
                  </a:lnTo>
                  <a:lnTo>
                    <a:pt x="1468" y="213"/>
                  </a:lnTo>
                  <a:lnTo>
                    <a:pt x="1468" y="213"/>
                  </a:lnTo>
                  <a:lnTo>
                    <a:pt x="1464" y="213"/>
                  </a:lnTo>
                  <a:lnTo>
                    <a:pt x="1464" y="213"/>
                  </a:lnTo>
                  <a:lnTo>
                    <a:pt x="1459" y="217"/>
                  </a:lnTo>
                  <a:lnTo>
                    <a:pt x="1459" y="217"/>
                  </a:lnTo>
                  <a:lnTo>
                    <a:pt x="1455" y="222"/>
                  </a:lnTo>
                  <a:lnTo>
                    <a:pt x="1455" y="222"/>
                  </a:lnTo>
                  <a:lnTo>
                    <a:pt x="1455" y="222"/>
                  </a:lnTo>
                  <a:lnTo>
                    <a:pt x="1459" y="222"/>
                  </a:lnTo>
                  <a:lnTo>
                    <a:pt x="1459" y="222"/>
                  </a:lnTo>
                  <a:lnTo>
                    <a:pt x="1459" y="222"/>
                  </a:lnTo>
                  <a:lnTo>
                    <a:pt x="1464" y="222"/>
                  </a:lnTo>
                  <a:lnTo>
                    <a:pt x="1473" y="226"/>
                  </a:lnTo>
                  <a:lnTo>
                    <a:pt x="1477" y="226"/>
                  </a:lnTo>
                  <a:lnTo>
                    <a:pt x="1477" y="222"/>
                  </a:lnTo>
                  <a:lnTo>
                    <a:pt x="1482" y="222"/>
                  </a:lnTo>
                  <a:lnTo>
                    <a:pt x="1482" y="226"/>
                  </a:lnTo>
                  <a:lnTo>
                    <a:pt x="1486" y="226"/>
                  </a:lnTo>
                  <a:lnTo>
                    <a:pt x="1491" y="226"/>
                  </a:lnTo>
                  <a:lnTo>
                    <a:pt x="1500" y="222"/>
                  </a:lnTo>
                  <a:lnTo>
                    <a:pt x="1504" y="222"/>
                  </a:lnTo>
                  <a:lnTo>
                    <a:pt x="1509" y="222"/>
                  </a:lnTo>
                  <a:lnTo>
                    <a:pt x="1513" y="222"/>
                  </a:lnTo>
                  <a:lnTo>
                    <a:pt x="1513" y="222"/>
                  </a:lnTo>
                  <a:lnTo>
                    <a:pt x="1522" y="222"/>
                  </a:lnTo>
                  <a:lnTo>
                    <a:pt x="1527" y="222"/>
                  </a:lnTo>
                  <a:lnTo>
                    <a:pt x="1527" y="222"/>
                  </a:lnTo>
                  <a:lnTo>
                    <a:pt x="1532" y="217"/>
                  </a:lnTo>
                  <a:lnTo>
                    <a:pt x="1536" y="217"/>
                  </a:lnTo>
                  <a:lnTo>
                    <a:pt x="1541" y="217"/>
                  </a:lnTo>
                  <a:lnTo>
                    <a:pt x="1541" y="213"/>
                  </a:lnTo>
                  <a:lnTo>
                    <a:pt x="1545" y="213"/>
                  </a:lnTo>
                  <a:lnTo>
                    <a:pt x="1545" y="213"/>
                  </a:lnTo>
                  <a:lnTo>
                    <a:pt x="1545" y="213"/>
                  </a:lnTo>
                  <a:lnTo>
                    <a:pt x="1545" y="213"/>
                  </a:lnTo>
                  <a:lnTo>
                    <a:pt x="1545" y="217"/>
                  </a:lnTo>
                  <a:lnTo>
                    <a:pt x="1545" y="217"/>
                  </a:lnTo>
                  <a:lnTo>
                    <a:pt x="1545" y="217"/>
                  </a:lnTo>
                  <a:lnTo>
                    <a:pt x="1541" y="217"/>
                  </a:lnTo>
                  <a:lnTo>
                    <a:pt x="1541" y="217"/>
                  </a:lnTo>
                  <a:lnTo>
                    <a:pt x="1545" y="217"/>
                  </a:lnTo>
                  <a:lnTo>
                    <a:pt x="1545" y="217"/>
                  </a:lnTo>
                  <a:lnTo>
                    <a:pt x="1545" y="217"/>
                  </a:lnTo>
                  <a:lnTo>
                    <a:pt x="1550" y="222"/>
                  </a:lnTo>
                  <a:lnTo>
                    <a:pt x="1550" y="222"/>
                  </a:lnTo>
                  <a:lnTo>
                    <a:pt x="1554" y="222"/>
                  </a:lnTo>
                  <a:lnTo>
                    <a:pt x="1554" y="222"/>
                  </a:lnTo>
                  <a:lnTo>
                    <a:pt x="1554" y="222"/>
                  </a:lnTo>
                  <a:lnTo>
                    <a:pt x="1550" y="222"/>
                  </a:lnTo>
                  <a:lnTo>
                    <a:pt x="1550" y="222"/>
                  </a:lnTo>
                  <a:lnTo>
                    <a:pt x="1550" y="226"/>
                  </a:lnTo>
                  <a:lnTo>
                    <a:pt x="1554" y="226"/>
                  </a:lnTo>
                  <a:lnTo>
                    <a:pt x="1554" y="226"/>
                  </a:lnTo>
                  <a:lnTo>
                    <a:pt x="1559" y="226"/>
                  </a:lnTo>
                  <a:lnTo>
                    <a:pt x="1559" y="226"/>
                  </a:lnTo>
                  <a:lnTo>
                    <a:pt x="1559" y="226"/>
                  </a:lnTo>
                  <a:lnTo>
                    <a:pt x="1563" y="226"/>
                  </a:lnTo>
                  <a:lnTo>
                    <a:pt x="1568" y="226"/>
                  </a:lnTo>
                  <a:lnTo>
                    <a:pt x="1572" y="226"/>
                  </a:lnTo>
                  <a:lnTo>
                    <a:pt x="1572" y="226"/>
                  </a:lnTo>
                  <a:lnTo>
                    <a:pt x="1572" y="226"/>
                  </a:lnTo>
                  <a:lnTo>
                    <a:pt x="1577" y="226"/>
                  </a:lnTo>
                  <a:lnTo>
                    <a:pt x="1577" y="226"/>
                  </a:lnTo>
                  <a:lnTo>
                    <a:pt x="1581" y="226"/>
                  </a:lnTo>
                  <a:lnTo>
                    <a:pt x="1586" y="226"/>
                  </a:lnTo>
                  <a:lnTo>
                    <a:pt x="1586" y="222"/>
                  </a:lnTo>
                  <a:lnTo>
                    <a:pt x="1590" y="222"/>
                  </a:lnTo>
                  <a:lnTo>
                    <a:pt x="1590" y="222"/>
                  </a:lnTo>
                  <a:lnTo>
                    <a:pt x="1590" y="222"/>
                  </a:lnTo>
                  <a:lnTo>
                    <a:pt x="1590" y="222"/>
                  </a:lnTo>
                  <a:lnTo>
                    <a:pt x="1586" y="222"/>
                  </a:lnTo>
                  <a:lnTo>
                    <a:pt x="1586" y="222"/>
                  </a:lnTo>
                  <a:lnTo>
                    <a:pt x="1590" y="222"/>
                  </a:lnTo>
                  <a:lnTo>
                    <a:pt x="1590" y="222"/>
                  </a:lnTo>
                  <a:lnTo>
                    <a:pt x="1590" y="222"/>
                  </a:lnTo>
                  <a:lnTo>
                    <a:pt x="1590" y="222"/>
                  </a:lnTo>
                  <a:lnTo>
                    <a:pt x="1590" y="217"/>
                  </a:lnTo>
                  <a:lnTo>
                    <a:pt x="1590" y="217"/>
                  </a:lnTo>
                  <a:lnTo>
                    <a:pt x="1590" y="217"/>
                  </a:lnTo>
                  <a:lnTo>
                    <a:pt x="1590" y="217"/>
                  </a:lnTo>
                  <a:lnTo>
                    <a:pt x="1590" y="217"/>
                  </a:lnTo>
                  <a:lnTo>
                    <a:pt x="1586" y="217"/>
                  </a:lnTo>
                  <a:lnTo>
                    <a:pt x="1581" y="217"/>
                  </a:lnTo>
                  <a:lnTo>
                    <a:pt x="1581" y="217"/>
                  </a:lnTo>
                  <a:lnTo>
                    <a:pt x="1577" y="222"/>
                  </a:lnTo>
                  <a:lnTo>
                    <a:pt x="1577" y="222"/>
                  </a:lnTo>
                  <a:lnTo>
                    <a:pt x="1577" y="222"/>
                  </a:lnTo>
                  <a:lnTo>
                    <a:pt x="1581" y="217"/>
                  </a:lnTo>
                  <a:lnTo>
                    <a:pt x="1581" y="217"/>
                  </a:lnTo>
                  <a:lnTo>
                    <a:pt x="1581" y="217"/>
                  </a:lnTo>
                  <a:lnTo>
                    <a:pt x="1581" y="217"/>
                  </a:lnTo>
                  <a:lnTo>
                    <a:pt x="1581" y="217"/>
                  </a:lnTo>
                  <a:lnTo>
                    <a:pt x="1581" y="217"/>
                  </a:lnTo>
                  <a:lnTo>
                    <a:pt x="1581" y="213"/>
                  </a:lnTo>
                  <a:lnTo>
                    <a:pt x="1581" y="213"/>
                  </a:lnTo>
                  <a:lnTo>
                    <a:pt x="1581" y="213"/>
                  </a:lnTo>
                  <a:lnTo>
                    <a:pt x="1581" y="213"/>
                  </a:lnTo>
                  <a:lnTo>
                    <a:pt x="1581" y="213"/>
                  </a:lnTo>
                  <a:lnTo>
                    <a:pt x="1586" y="213"/>
                  </a:lnTo>
                  <a:lnTo>
                    <a:pt x="1586" y="213"/>
                  </a:lnTo>
                  <a:lnTo>
                    <a:pt x="1586" y="217"/>
                  </a:lnTo>
                  <a:lnTo>
                    <a:pt x="1586" y="217"/>
                  </a:lnTo>
                  <a:lnTo>
                    <a:pt x="1590" y="217"/>
                  </a:lnTo>
                  <a:lnTo>
                    <a:pt x="1590" y="217"/>
                  </a:lnTo>
                  <a:lnTo>
                    <a:pt x="1590" y="217"/>
                  </a:lnTo>
                  <a:lnTo>
                    <a:pt x="1590" y="213"/>
                  </a:lnTo>
                  <a:lnTo>
                    <a:pt x="1590" y="213"/>
                  </a:lnTo>
                  <a:lnTo>
                    <a:pt x="1590" y="213"/>
                  </a:lnTo>
                  <a:lnTo>
                    <a:pt x="1590" y="213"/>
                  </a:lnTo>
                  <a:lnTo>
                    <a:pt x="1595" y="213"/>
                  </a:lnTo>
                  <a:lnTo>
                    <a:pt x="1595" y="213"/>
                  </a:lnTo>
                  <a:lnTo>
                    <a:pt x="1599" y="213"/>
                  </a:lnTo>
                  <a:lnTo>
                    <a:pt x="1599" y="213"/>
                  </a:lnTo>
                  <a:lnTo>
                    <a:pt x="1599" y="213"/>
                  </a:lnTo>
                  <a:lnTo>
                    <a:pt x="1599" y="213"/>
                  </a:lnTo>
                  <a:lnTo>
                    <a:pt x="1599" y="213"/>
                  </a:lnTo>
                  <a:lnTo>
                    <a:pt x="1599" y="213"/>
                  </a:lnTo>
                  <a:lnTo>
                    <a:pt x="1604" y="213"/>
                  </a:lnTo>
                  <a:lnTo>
                    <a:pt x="1604" y="213"/>
                  </a:lnTo>
                  <a:lnTo>
                    <a:pt x="1604" y="213"/>
                  </a:lnTo>
                  <a:lnTo>
                    <a:pt x="1604" y="213"/>
                  </a:lnTo>
                  <a:lnTo>
                    <a:pt x="1604" y="213"/>
                  </a:lnTo>
                  <a:lnTo>
                    <a:pt x="1604" y="213"/>
                  </a:lnTo>
                  <a:close/>
                  <a:moveTo>
                    <a:pt x="1617" y="235"/>
                  </a:moveTo>
                  <a:lnTo>
                    <a:pt x="1617" y="235"/>
                  </a:lnTo>
                  <a:lnTo>
                    <a:pt x="1617" y="235"/>
                  </a:lnTo>
                  <a:lnTo>
                    <a:pt x="1622" y="235"/>
                  </a:lnTo>
                  <a:lnTo>
                    <a:pt x="1622" y="235"/>
                  </a:lnTo>
                  <a:lnTo>
                    <a:pt x="1622" y="240"/>
                  </a:lnTo>
                  <a:lnTo>
                    <a:pt x="1622" y="240"/>
                  </a:lnTo>
                  <a:lnTo>
                    <a:pt x="1626" y="240"/>
                  </a:lnTo>
                  <a:lnTo>
                    <a:pt x="1631" y="240"/>
                  </a:lnTo>
                  <a:lnTo>
                    <a:pt x="1631" y="240"/>
                  </a:lnTo>
                  <a:lnTo>
                    <a:pt x="1635" y="240"/>
                  </a:lnTo>
                  <a:lnTo>
                    <a:pt x="1640" y="240"/>
                  </a:lnTo>
                  <a:lnTo>
                    <a:pt x="1640" y="240"/>
                  </a:lnTo>
                  <a:lnTo>
                    <a:pt x="1644" y="235"/>
                  </a:lnTo>
                  <a:lnTo>
                    <a:pt x="1644" y="235"/>
                  </a:lnTo>
                  <a:lnTo>
                    <a:pt x="1644" y="235"/>
                  </a:lnTo>
                  <a:lnTo>
                    <a:pt x="1649" y="235"/>
                  </a:lnTo>
                  <a:lnTo>
                    <a:pt x="1649" y="235"/>
                  </a:lnTo>
                  <a:lnTo>
                    <a:pt x="1649" y="235"/>
                  </a:lnTo>
                  <a:lnTo>
                    <a:pt x="1649" y="235"/>
                  </a:lnTo>
                  <a:lnTo>
                    <a:pt x="1649" y="235"/>
                  </a:lnTo>
                  <a:lnTo>
                    <a:pt x="1649" y="235"/>
                  </a:lnTo>
                  <a:lnTo>
                    <a:pt x="1649" y="235"/>
                  </a:lnTo>
                  <a:lnTo>
                    <a:pt x="1649" y="235"/>
                  </a:lnTo>
                  <a:lnTo>
                    <a:pt x="1649" y="235"/>
                  </a:lnTo>
                  <a:lnTo>
                    <a:pt x="1649" y="231"/>
                  </a:lnTo>
                  <a:lnTo>
                    <a:pt x="1649" y="231"/>
                  </a:lnTo>
                  <a:lnTo>
                    <a:pt x="1649" y="231"/>
                  </a:lnTo>
                  <a:lnTo>
                    <a:pt x="1649" y="226"/>
                  </a:lnTo>
                  <a:lnTo>
                    <a:pt x="1649" y="226"/>
                  </a:lnTo>
                  <a:lnTo>
                    <a:pt x="1649" y="222"/>
                  </a:lnTo>
                  <a:lnTo>
                    <a:pt x="1649" y="222"/>
                  </a:lnTo>
                  <a:lnTo>
                    <a:pt x="1649" y="222"/>
                  </a:lnTo>
                  <a:lnTo>
                    <a:pt x="1649" y="222"/>
                  </a:lnTo>
                  <a:lnTo>
                    <a:pt x="1644" y="217"/>
                  </a:lnTo>
                  <a:lnTo>
                    <a:pt x="1644" y="217"/>
                  </a:lnTo>
                  <a:lnTo>
                    <a:pt x="1644" y="217"/>
                  </a:lnTo>
                  <a:lnTo>
                    <a:pt x="1644" y="217"/>
                  </a:lnTo>
                  <a:lnTo>
                    <a:pt x="1644" y="217"/>
                  </a:lnTo>
                  <a:lnTo>
                    <a:pt x="1644" y="217"/>
                  </a:lnTo>
                  <a:lnTo>
                    <a:pt x="1644" y="217"/>
                  </a:lnTo>
                  <a:lnTo>
                    <a:pt x="1644" y="217"/>
                  </a:lnTo>
                  <a:lnTo>
                    <a:pt x="1644" y="217"/>
                  </a:lnTo>
                  <a:lnTo>
                    <a:pt x="1644" y="217"/>
                  </a:lnTo>
                  <a:lnTo>
                    <a:pt x="1644" y="217"/>
                  </a:lnTo>
                  <a:lnTo>
                    <a:pt x="1644" y="217"/>
                  </a:lnTo>
                  <a:lnTo>
                    <a:pt x="1644" y="217"/>
                  </a:lnTo>
                  <a:lnTo>
                    <a:pt x="1644" y="213"/>
                  </a:lnTo>
                  <a:lnTo>
                    <a:pt x="1644" y="213"/>
                  </a:lnTo>
                  <a:lnTo>
                    <a:pt x="1640" y="217"/>
                  </a:lnTo>
                  <a:lnTo>
                    <a:pt x="1640" y="217"/>
                  </a:lnTo>
                  <a:lnTo>
                    <a:pt x="1640" y="217"/>
                  </a:lnTo>
                  <a:lnTo>
                    <a:pt x="1635" y="217"/>
                  </a:lnTo>
                  <a:lnTo>
                    <a:pt x="1635" y="217"/>
                  </a:lnTo>
                  <a:lnTo>
                    <a:pt x="1635" y="217"/>
                  </a:lnTo>
                  <a:lnTo>
                    <a:pt x="1635" y="217"/>
                  </a:lnTo>
                  <a:lnTo>
                    <a:pt x="1635" y="222"/>
                  </a:lnTo>
                  <a:lnTo>
                    <a:pt x="1635" y="222"/>
                  </a:lnTo>
                  <a:lnTo>
                    <a:pt x="1631" y="222"/>
                  </a:lnTo>
                  <a:lnTo>
                    <a:pt x="1631" y="222"/>
                  </a:lnTo>
                  <a:lnTo>
                    <a:pt x="1631" y="217"/>
                  </a:lnTo>
                  <a:lnTo>
                    <a:pt x="1631" y="217"/>
                  </a:lnTo>
                  <a:lnTo>
                    <a:pt x="1631" y="217"/>
                  </a:lnTo>
                  <a:lnTo>
                    <a:pt x="1631" y="222"/>
                  </a:lnTo>
                  <a:lnTo>
                    <a:pt x="1631" y="222"/>
                  </a:lnTo>
                  <a:lnTo>
                    <a:pt x="1631" y="222"/>
                  </a:lnTo>
                  <a:lnTo>
                    <a:pt x="1631" y="222"/>
                  </a:lnTo>
                  <a:lnTo>
                    <a:pt x="1631" y="222"/>
                  </a:lnTo>
                  <a:lnTo>
                    <a:pt x="1626" y="222"/>
                  </a:lnTo>
                  <a:lnTo>
                    <a:pt x="1626" y="222"/>
                  </a:lnTo>
                  <a:lnTo>
                    <a:pt x="1626" y="222"/>
                  </a:lnTo>
                  <a:lnTo>
                    <a:pt x="1626" y="222"/>
                  </a:lnTo>
                  <a:lnTo>
                    <a:pt x="1626" y="222"/>
                  </a:lnTo>
                  <a:lnTo>
                    <a:pt x="1626" y="222"/>
                  </a:lnTo>
                  <a:lnTo>
                    <a:pt x="1622" y="226"/>
                  </a:lnTo>
                  <a:lnTo>
                    <a:pt x="1617" y="226"/>
                  </a:lnTo>
                  <a:lnTo>
                    <a:pt x="1617" y="226"/>
                  </a:lnTo>
                  <a:lnTo>
                    <a:pt x="1613" y="226"/>
                  </a:lnTo>
                  <a:lnTo>
                    <a:pt x="1613" y="226"/>
                  </a:lnTo>
                  <a:lnTo>
                    <a:pt x="1608" y="226"/>
                  </a:lnTo>
                  <a:lnTo>
                    <a:pt x="1608" y="226"/>
                  </a:lnTo>
                  <a:lnTo>
                    <a:pt x="1608" y="231"/>
                  </a:lnTo>
                  <a:lnTo>
                    <a:pt x="1608" y="231"/>
                  </a:lnTo>
                  <a:lnTo>
                    <a:pt x="1608" y="231"/>
                  </a:lnTo>
                  <a:lnTo>
                    <a:pt x="1608" y="231"/>
                  </a:lnTo>
                  <a:lnTo>
                    <a:pt x="1613" y="231"/>
                  </a:lnTo>
                  <a:lnTo>
                    <a:pt x="1613" y="231"/>
                  </a:lnTo>
                  <a:lnTo>
                    <a:pt x="1613" y="231"/>
                  </a:lnTo>
                  <a:lnTo>
                    <a:pt x="1613" y="231"/>
                  </a:lnTo>
                  <a:lnTo>
                    <a:pt x="1613" y="231"/>
                  </a:lnTo>
                  <a:lnTo>
                    <a:pt x="1613" y="231"/>
                  </a:lnTo>
                  <a:lnTo>
                    <a:pt x="1613" y="231"/>
                  </a:lnTo>
                  <a:lnTo>
                    <a:pt x="1613" y="231"/>
                  </a:lnTo>
                  <a:lnTo>
                    <a:pt x="1613" y="231"/>
                  </a:lnTo>
                  <a:lnTo>
                    <a:pt x="1613" y="231"/>
                  </a:lnTo>
                  <a:lnTo>
                    <a:pt x="1613" y="231"/>
                  </a:lnTo>
                  <a:lnTo>
                    <a:pt x="1613" y="231"/>
                  </a:lnTo>
                  <a:lnTo>
                    <a:pt x="1617" y="231"/>
                  </a:lnTo>
                  <a:lnTo>
                    <a:pt x="1617" y="231"/>
                  </a:lnTo>
                  <a:lnTo>
                    <a:pt x="1617" y="231"/>
                  </a:lnTo>
                  <a:lnTo>
                    <a:pt x="1617" y="231"/>
                  </a:lnTo>
                  <a:lnTo>
                    <a:pt x="1617" y="231"/>
                  </a:lnTo>
                  <a:lnTo>
                    <a:pt x="1617" y="231"/>
                  </a:lnTo>
                  <a:lnTo>
                    <a:pt x="1617" y="235"/>
                  </a:lnTo>
                  <a:close/>
                  <a:moveTo>
                    <a:pt x="1771" y="131"/>
                  </a:moveTo>
                  <a:lnTo>
                    <a:pt x="1771" y="131"/>
                  </a:lnTo>
                  <a:lnTo>
                    <a:pt x="1775" y="131"/>
                  </a:lnTo>
                  <a:lnTo>
                    <a:pt x="1775" y="136"/>
                  </a:lnTo>
                  <a:lnTo>
                    <a:pt x="1775" y="136"/>
                  </a:lnTo>
                  <a:lnTo>
                    <a:pt x="1775" y="136"/>
                  </a:lnTo>
                  <a:lnTo>
                    <a:pt x="1780" y="136"/>
                  </a:lnTo>
                  <a:lnTo>
                    <a:pt x="1780" y="136"/>
                  </a:lnTo>
                  <a:lnTo>
                    <a:pt x="1784" y="136"/>
                  </a:lnTo>
                  <a:lnTo>
                    <a:pt x="1784" y="136"/>
                  </a:lnTo>
                  <a:lnTo>
                    <a:pt x="1784" y="136"/>
                  </a:lnTo>
                  <a:lnTo>
                    <a:pt x="1789" y="136"/>
                  </a:lnTo>
                  <a:lnTo>
                    <a:pt x="1789" y="131"/>
                  </a:lnTo>
                  <a:lnTo>
                    <a:pt x="1789" y="131"/>
                  </a:lnTo>
                  <a:lnTo>
                    <a:pt x="1789" y="131"/>
                  </a:lnTo>
                  <a:lnTo>
                    <a:pt x="1789" y="131"/>
                  </a:lnTo>
                  <a:lnTo>
                    <a:pt x="1794" y="131"/>
                  </a:lnTo>
                  <a:lnTo>
                    <a:pt x="1794" y="131"/>
                  </a:lnTo>
                  <a:lnTo>
                    <a:pt x="1794" y="127"/>
                  </a:lnTo>
                  <a:lnTo>
                    <a:pt x="1794" y="127"/>
                  </a:lnTo>
                  <a:lnTo>
                    <a:pt x="1794" y="127"/>
                  </a:lnTo>
                  <a:lnTo>
                    <a:pt x="1798" y="127"/>
                  </a:lnTo>
                  <a:lnTo>
                    <a:pt x="1798" y="127"/>
                  </a:lnTo>
                  <a:lnTo>
                    <a:pt x="1798" y="122"/>
                  </a:lnTo>
                  <a:lnTo>
                    <a:pt x="1798" y="122"/>
                  </a:lnTo>
                  <a:lnTo>
                    <a:pt x="1798" y="122"/>
                  </a:lnTo>
                  <a:lnTo>
                    <a:pt x="1798" y="118"/>
                  </a:lnTo>
                  <a:lnTo>
                    <a:pt x="1798" y="118"/>
                  </a:lnTo>
                  <a:lnTo>
                    <a:pt x="1798" y="118"/>
                  </a:lnTo>
                  <a:lnTo>
                    <a:pt x="1794" y="118"/>
                  </a:lnTo>
                  <a:lnTo>
                    <a:pt x="1794" y="118"/>
                  </a:lnTo>
                  <a:lnTo>
                    <a:pt x="1784" y="118"/>
                  </a:lnTo>
                  <a:lnTo>
                    <a:pt x="1780" y="118"/>
                  </a:lnTo>
                  <a:lnTo>
                    <a:pt x="1780" y="118"/>
                  </a:lnTo>
                  <a:lnTo>
                    <a:pt x="1775" y="122"/>
                  </a:lnTo>
                  <a:lnTo>
                    <a:pt x="1775" y="122"/>
                  </a:lnTo>
                  <a:lnTo>
                    <a:pt x="1771" y="122"/>
                  </a:lnTo>
                  <a:lnTo>
                    <a:pt x="1771" y="122"/>
                  </a:lnTo>
                  <a:lnTo>
                    <a:pt x="1771" y="122"/>
                  </a:lnTo>
                  <a:lnTo>
                    <a:pt x="1766" y="127"/>
                  </a:lnTo>
                  <a:lnTo>
                    <a:pt x="1766" y="127"/>
                  </a:lnTo>
                  <a:lnTo>
                    <a:pt x="1766" y="127"/>
                  </a:lnTo>
                  <a:lnTo>
                    <a:pt x="1762" y="127"/>
                  </a:lnTo>
                  <a:lnTo>
                    <a:pt x="1762" y="127"/>
                  </a:lnTo>
                  <a:lnTo>
                    <a:pt x="1766" y="127"/>
                  </a:lnTo>
                  <a:lnTo>
                    <a:pt x="1766" y="127"/>
                  </a:lnTo>
                  <a:lnTo>
                    <a:pt x="1766" y="127"/>
                  </a:lnTo>
                  <a:lnTo>
                    <a:pt x="1766" y="127"/>
                  </a:lnTo>
                  <a:lnTo>
                    <a:pt x="1766" y="127"/>
                  </a:lnTo>
                  <a:lnTo>
                    <a:pt x="1766" y="127"/>
                  </a:lnTo>
                  <a:lnTo>
                    <a:pt x="1766" y="127"/>
                  </a:lnTo>
                  <a:lnTo>
                    <a:pt x="1766" y="131"/>
                  </a:lnTo>
                  <a:lnTo>
                    <a:pt x="1771" y="131"/>
                  </a:lnTo>
                  <a:close/>
                  <a:moveTo>
                    <a:pt x="1572" y="100"/>
                  </a:moveTo>
                  <a:lnTo>
                    <a:pt x="1572" y="100"/>
                  </a:lnTo>
                  <a:lnTo>
                    <a:pt x="1577" y="100"/>
                  </a:lnTo>
                  <a:lnTo>
                    <a:pt x="1577" y="100"/>
                  </a:lnTo>
                  <a:lnTo>
                    <a:pt x="1586" y="95"/>
                  </a:lnTo>
                  <a:lnTo>
                    <a:pt x="1590" y="95"/>
                  </a:lnTo>
                  <a:lnTo>
                    <a:pt x="1595" y="95"/>
                  </a:lnTo>
                  <a:lnTo>
                    <a:pt x="1595" y="90"/>
                  </a:lnTo>
                  <a:lnTo>
                    <a:pt x="1599" y="90"/>
                  </a:lnTo>
                  <a:lnTo>
                    <a:pt x="1595" y="90"/>
                  </a:lnTo>
                  <a:lnTo>
                    <a:pt x="1595" y="90"/>
                  </a:lnTo>
                  <a:lnTo>
                    <a:pt x="1595" y="90"/>
                  </a:lnTo>
                  <a:lnTo>
                    <a:pt x="1590" y="95"/>
                  </a:lnTo>
                  <a:lnTo>
                    <a:pt x="1586" y="95"/>
                  </a:lnTo>
                  <a:lnTo>
                    <a:pt x="1581" y="95"/>
                  </a:lnTo>
                  <a:lnTo>
                    <a:pt x="1577" y="95"/>
                  </a:lnTo>
                  <a:lnTo>
                    <a:pt x="1572" y="95"/>
                  </a:lnTo>
                  <a:lnTo>
                    <a:pt x="1572" y="95"/>
                  </a:lnTo>
                  <a:lnTo>
                    <a:pt x="1568" y="100"/>
                  </a:lnTo>
                  <a:lnTo>
                    <a:pt x="1568" y="100"/>
                  </a:lnTo>
                  <a:lnTo>
                    <a:pt x="1568" y="100"/>
                  </a:lnTo>
                  <a:lnTo>
                    <a:pt x="1568" y="100"/>
                  </a:lnTo>
                  <a:lnTo>
                    <a:pt x="1572" y="100"/>
                  </a:lnTo>
                  <a:close/>
                  <a:moveTo>
                    <a:pt x="1852" y="81"/>
                  </a:moveTo>
                  <a:lnTo>
                    <a:pt x="1848" y="81"/>
                  </a:lnTo>
                  <a:lnTo>
                    <a:pt x="1843" y="81"/>
                  </a:lnTo>
                  <a:lnTo>
                    <a:pt x="1839" y="81"/>
                  </a:lnTo>
                  <a:lnTo>
                    <a:pt x="1839" y="81"/>
                  </a:lnTo>
                  <a:lnTo>
                    <a:pt x="1834" y="81"/>
                  </a:lnTo>
                  <a:lnTo>
                    <a:pt x="1834" y="81"/>
                  </a:lnTo>
                  <a:lnTo>
                    <a:pt x="1830" y="81"/>
                  </a:lnTo>
                  <a:lnTo>
                    <a:pt x="1825" y="81"/>
                  </a:lnTo>
                  <a:lnTo>
                    <a:pt x="1825" y="81"/>
                  </a:lnTo>
                  <a:lnTo>
                    <a:pt x="1825" y="81"/>
                  </a:lnTo>
                  <a:lnTo>
                    <a:pt x="1825" y="81"/>
                  </a:lnTo>
                  <a:lnTo>
                    <a:pt x="1825" y="86"/>
                  </a:lnTo>
                  <a:lnTo>
                    <a:pt x="1825" y="86"/>
                  </a:lnTo>
                  <a:lnTo>
                    <a:pt x="1839" y="86"/>
                  </a:lnTo>
                  <a:lnTo>
                    <a:pt x="1843" y="86"/>
                  </a:lnTo>
                  <a:lnTo>
                    <a:pt x="1843" y="86"/>
                  </a:lnTo>
                  <a:lnTo>
                    <a:pt x="1848" y="86"/>
                  </a:lnTo>
                  <a:lnTo>
                    <a:pt x="1848" y="86"/>
                  </a:lnTo>
                  <a:lnTo>
                    <a:pt x="1852" y="86"/>
                  </a:lnTo>
                  <a:lnTo>
                    <a:pt x="1852" y="86"/>
                  </a:lnTo>
                  <a:lnTo>
                    <a:pt x="1857" y="81"/>
                  </a:lnTo>
                  <a:lnTo>
                    <a:pt x="1852" y="81"/>
                  </a:lnTo>
                  <a:lnTo>
                    <a:pt x="1852" y="81"/>
                  </a:lnTo>
                  <a:lnTo>
                    <a:pt x="1852" y="81"/>
                  </a:lnTo>
                  <a:close/>
                  <a:moveTo>
                    <a:pt x="1816" y="90"/>
                  </a:moveTo>
                  <a:lnTo>
                    <a:pt x="1812" y="95"/>
                  </a:lnTo>
                  <a:lnTo>
                    <a:pt x="1807" y="95"/>
                  </a:lnTo>
                  <a:lnTo>
                    <a:pt x="1807" y="95"/>
                  </a:lnTo>
                  <a:lnTo>
                    <a:pt x="1807" y="95"/>
                  </a:lnTo>
                  <a:lnTo>
                    <a:pt x="1807" y="95"/>
                  </a:lnTo>
                  <a:lnTo>
                    <a:pt x="1803" y="95"/>
                  </a:lnTo>
                  <a:lnTo>
                    <a:pt x="1803" y="95"/>
                  </a:lnTo>
                  <a:lnTo>
                    <a:pt x="1803" y="95"/>
                  </a:lnTo>
                  <a:lnTo>
                    <a:pt x="1807" y="95"/>
                  </a:lnTo>
                  <a:lnTo>
                    <a:pt x="1807" y="95"/>
                  </a:lnTo>
                  <a:lnTo>
                    <a:pt x="1803" y="95"/>
                  </a:lnTo>
                  <a:lnTo>
                    <a:pt x="1803" y="95"/>
                  </a:lnTo>
                  <a:lnTo>
                    <a:pt x="1803" y="95"/>
                  </a:lnTo>
                  <a:lnTo>
                    <a:pt x="1803" y="95"/>
                  </a:lnTo>
                  <a:lnTo>
                    <a:pt x="1798" y="95"/>
                  </a:lnTo>
                  <a:lnTo>
                    <a:pt x="1798" y="95"/>
                  </a:lnTo>
                  <a:lnTo>
                    <a:pt x="1798" y="95"/>
                  </a:lnTo>
                  <a:lnTo>
                    <a:pt x="1798" y="95"/>
                  </a:lnTo>
                  <a:lnTo>
                    <a:pt x="1803" y="100"/>
                  </a:lnTo>
                  <a:lnTo>
                    <a:pt x="1803" y="100"/>
                  </a:lnTo>
                  <a:lnTo>
                    <a:pt x="1807" y="100"/>
                  </a:lnTo>
                  <a:lnTo>
                    <a:pt x="1807" y="100"/>
                  </a:lnTo>
                  <a:lnTo>
                    <a:pt x="1807" y="100"/>
                  </a:lnTo>
                  <a:lnTo>
                    <a:pt x="1807" y="100"/>
                  </a:lnTo>
                  <a:lnTo>
                    <a:pt x="1803" y="100"/>
                  </a:lnTo>
                  <a:lnTo>
                    <a:pt x="1803" y="104"/>
                  </a:lnTo>
                  <a:lnTo>
                    <a:pt x="1803" y="104"/>
                  </a:lnTo>
                  <a:lnTo>
                    <a:pt x="1803" y="104"/>
                  </a:lnTo>
                  <a:lnTo>
                    <a:pt x="1803" y="104"/>
                  </a:lnTo>
                  <a:lnTo>
                    <a:pt x="1803" y="104"/>
                  </a:lnTo>
                  <a:lnTo>
                    <a:pt x="1807" y="109"/>
                  </a:lnTo>
                  <a:lnTo>
                    <a:pt x="1812" y="104"/>
                  </a:lnTo>
                  <a:lnTo>
                    <a:pt x="1812" y="104"/>
                  </a:lnTo>
                  <a:lnTo>
                    <a:pt x="1812" y="109"/>
                  </a:lnTo>
                  <a:lnTo>
                    <a:pt x="1816" y="109"/>
                  </a:lnTo>
                  <a:lnTo>
                    <a:pt x="1821" y="109"/>
                  </a:lnTo>
                  <a:lnTo>
                    <a:pt x="1821" y="109"/>
                  </a:lnTo>
                  <a:lnTo>
                    <a:pt x="1821" y="109"/>
                  </a:lnTo>
                  <a:lnTo>
                    <a:pt x="1825" y="104"/>
                  </a:lnTo>
                  <a:lnTo>
                    <a:pt x="1825" y="104"/>
                  </a:lnTo>
                  <a:lnTo>
                    <a:pt x="1825" y="104"/>
                  </a:lnTo>
                  <a:lnTo>
                    <a:pt x="1825" y="109"/>
                  </a:lnTo>
                  <a:lnTo>
                    <a:pt x="1825" y="109"/>
                  </a:lnTo>
                  <a:lnTo>
                    <a:pt x="1825" y="113"/>
                  </a:lnTo>
                  <a:lnTo>
                    <a:pt x="1825" y="113"/>
                  </a:lnTo>
                  <a:lnTo>
                    <a:pt x="1825" y="118"/>
                  </a:lnTo>
                  <a:lnTo>
                    <a:pt x="1825" y="118"/>
                  </a:lnTo>
                  <a:lnTo>
                    <a:pt x="1821" y="118"/>
                  </a:lnTo>
                  <a:lnTo>
                    <a:pt x="1821" y="118"/>
                  </a:lnTo>
                  <a:lnTo>
                    <a:pt x="1821" y="118"/>
                  </a:lnTo>
                  <a:lnTo>
                    <a:pt x="1821" y="118"/>
                  </a:lnTo>
                  <a:lnTo>
                    <a:pt x="1816" y="122"/>
                  </a:lnTo>
                  <a:lnTo>
                    <a:pt x="1812" y="122"/>
                  </a:lnTo>
                  <a:lnTo>
                    <a:pt x="1812" y="122"/>
                  </a:lnTo>
                  <a:lnTo>
                    <a:pt x="1812" y="122"/>
                  </a:lnTo>
                  <a:lnTo>
                    <a:pt x="1812" y="127"/>
                  </a:lnTo>
                  <a:lnTo>
                    <a:pt x="1812" y="127"/>
                  </a:lnTo>
                  <a:lnTo>
                    <a:pt x="1812" y="127"/>
                  </a:lnTo>
                  <a:lnTo>
                    <a:pt x="1812" y="127"/>
                  </a:lnTo>
                  <a:lnTo>
                    <a:pt x="1812" y="127"/>
                  </a:lnTo>
                  <a:lnTo>
                    <a:pt x="1812" y="127"/>
                  </a:lnTo>
                  <a:lnTo>
                    <a:pt x="1807" y="127"/>
                  </a:lnTo>
                  <a:lnTo>
                    <a:pt x="1807" y="131"/>
                  </a:lnTo>
                  <a:lnTo>
                    <a:pt x="1807" y="131"/>
                  </a:lnTo>
                  <a:lnTo>
                    <a:pt x="1803" y="136"/>
                  </a:lnTo>
                  <a:lnTo>
                    <a:pt x="1803" y="136"/>
                  </a:lnTo>
                  <a:lnTo>
                    <a:pt x="1807" y="136"/>
                  </a:lnTo>
                  <a:lnTo>
                    <a:pt x="1807" y="136"/>
                  </a:lnTo>
                  <a:lnTo>
                    <a:pt x="1807" y="136"/>
                  </a:lnTo>
                  <a:lnTo>
                    <a:pt x="1807" y="136"/>
                  </a:lnTo>
                  <a:lnTo>
                    <a:pt x="1807" y="136"/>
                  </a:lnTo>
                  <a:lnTo>
                    <a:pt x="1807" y="136"/>
                  </a:lnTo>
                  <a:lnTo>
                    <a:pt x="1812" y="136"/>
                  </a:lnTo>
                  <a:lnTo>
                    <a:pt x="1812" y="136"/>
                  </a:lnTo>
                  <a:lnTo>
                    <a:pt x="1816" y="136"/>
                  </a:lnTo>
                  <a:lnTo>
                    <a:pt x="1816" y="136"/>
                  </a:lnTo>
                  <a:lnTo>
                    <a:pt x="1812" y="136"/>
                  </a:lnTo>
                  <a:lnTo>
                    <a:pt x="1812" y="136"/>
                  </a:lnTo>
                  <a:lnTo>
                    <a:pt x="1812" y="136"/>
                  </a:lnTo>
                  <a:lnTo>
                    <a:pt x="1816" y="136"/>
                  </a:lnTo>
                  <a:lnTo>
                    <a:pt x="1816" y="140"/>
                  </a:lnTo>
                  <a:lnTo>
                    <a:pt x="1816" y="140"/>
                  </a:lnTo>
                  <a:lnTo>
                    <a:pt x="1821" y="140"/>
                  </a:lnTo>
                  <a:lnTo>
                    <a:pt x="1821" y="140"/>
                  </a:lnTo>
                  <a:lnTo>
                    <a:pt x="1825" y="140"/>
                  </a:lnTo>
                  <a:lnTo>
                    <a:pt x="1825" y="140"/>
                  </a:lnTo>
                  <a:lnTo>
                    <a:pt x="1830" y="140"/>
                  </a:lnTo>
                  <a:lnTo>
                    <a:pt x="1830" y="136"/>
                  </a:lnTo>
                  <a:lnTo>
                    <a:pt x="1830" y="136"/>
                  </a:lnTo>
                  <a:lnTo>
                    <a:pt x="1830" y="136"/>
                  </a:lnTo>
                  <a:lnTo>
                    <a:pt x="1830" y="136"/>
                  </a:lnTo>
                  <a:lnTo>
                    <a:pt x="1830" y="136"/>
                  </a:lnTo>
                  <a:lnTo>
                    <a:pt x="1830" y="136"/>
                  </a:lnTo>
                  <a:lnTo>
                    <a:pt x="1834" y="136"/>
                  </a:lnTo>
                  <a:lnTo>
                    <a:pt x="1834" y="136"/>
                  </a:lnTo>
                  <a:lnTo>
                    <a:pt x="1834" y="136"/>
                  </a:lnTo>
                  <a:lnTo>
                    <a:pt x="1834" y="136"/>
                  </a:lnTo>
                  <a:lnTo>
                    <a:pt x="1834" y="136"/>
                  </a:lnTo>
                  <a:lnTo>
                    <a:pt x="1834" y="136"/>
                  </a:lnTo>
                  <a:lnTo>
                    <a:pt x="1834" y="136"/>
                  </a:lnTo>
                  <a:lnTo>
                    <a:pt x="1834" y="136"/>
                  </a:lnTo>
                  <a:lnTo>
                    <a:pt x="1839" y="136"/>
                  </a:lnTo>
                  <a:lnTo>
                    <a:pt x="1839" y="136"/>
                  </a:lnTo>
                  <a:lnTo>
                    <a:pt x="1839" y="136"/>
                  </a:lnTo>
                  <a:lnTo>
                    <a:pt x="1839" y="136"/>
                  </a:lnTo>
                  <a:lnTo>
                    <a:pt x="1839" y="136"/>
                  </a:lnTo>
                  <a:lnTo>
                    <a:pt x="1834" y="140"/>
                  </a:lnTo>
                  <a:lnTo>
                    <a:pt x="1834" y="140"/>
                  </a:lnTo>
                  <a:lnTo>
                    <a:pt x="1834" y="140"/>
                  </a:lnTo>
                  <a:lnTo>
                    <a:pt x="1834" y="140"/>
                  </a:lnTo>
                  <a:lnTo>
                    <a:pt x="1834" y="140"/>
                  </a:lnTo>
                  <a:lnTo>
                    <a:pt x="1834" y="140"/>
                  </a:lnTo>
                  <a:lnTo>
                    <a:pt x="1834" y="140"/>
                  </a:lnTo>
                  <a:lnTo>
                    <a:pt x="1839" y="140"/>
                  </a:lnTo>
                  <a:lnTo>
                    <a:pt x="1843" y="140"/>
                  </a:lnTo>
                  <a:lnTo>
                    <a:pt x="1848" y="145"/>
                  </a:lnTo>
                  <a:lnTo>
                    <a:pt x="1848" y="145"/>
                  </a:lnTo>
                  <a:lnTo>
                    <a:pt x="1848" y="145"/>
                  </a:lnTo>
                  <a:lnTo>
                    <a:pt x="1852" y="140"/>
                  </a:lnTo>
                  <a:lnTo>
                    <a:pt x="1852" y="140"/>
                  </a:lnTo>
                  <a:lnTo>
                    <a:pt x="1852" y="145"/>
                  </a:lnTo>
                  <a:lnTo>
                    <a:pt x="1857" y="140"/>
                  </a:lnTo>
                  <a:lnTo>
                    <a:pt x="1857" y="140"/>
                  </a:lnTo>
                  <a:lnTo>
                    <a:pt x="1857" y="145"/>
                  </a:lnTo>
                  <a:lnTo>
                    <a:pt x="1857" y="145"/>
                  </a:lnTo>
                  <a:lnTo>
                    <a:pt x="1861" y="145"/>
                  </a:lnTo>
                  <a:lnTo>
                    <a:pt x="1861" y="145"/>
                  </a:lnTo>
                  <a:lnTo>
                    <a:pt x="1861" y="140"/>
                  </a:lnTo>
                  <a:lnTo>
                    <a:pt x="1861" y="140"/>
                  </a:lnTo>
                  <a:lnTo>
                    <a:pt x="1866" y="140"/>
                  </a:lnTo>
                  <a:lnTo>
                    <a:pt x="1866" y="145"/>
                  </a:lnTo>
                  <a:lnTo>
                    <a:pt x="1866" y="145"/>
                  </a:lnTo>
                  <a:lnTo>
                    <a:pt x="1866" y="145"/>
                  </a:lnTo>
                  <a:lnTo>
                    <a:pt x="1866" y="145"/>
                  </a:lnTo>
                  <a:lnTo>
                    <a:pt x="1866" y="140"/>
                  </a:lnTo>
                  <a:lnTo>
                    <a:pt x="1866" y="140"/>
                  </a:lnTo>
                  <a:lnTo>
                    <a:pt x="1870" y="145"/>
                  </a:lnTo>
                  <a:lnTo>
                    <a:pt x="1870" y="145"/>
                  </a:lnTo>
                  <a:lnTo>
                    <a:pt x="1870" y="145"/>
                  </a:lnTo>
                  <a:lnTo>
                    <a:pt x="1870" y="145"/>
                  </a:lnTo>
                  <a:lnTo>
                    <a:pt x="1875" y="145"/>
                  </a:lnTo>
                  <a:lnTo>
                    <a:pt x="1879" y="145"/>
                  </a:lnTo>
                  <a:lnTo>
                    <a:pt x="1879" y="145"/>
                  </a:lnTo>
                  <a:lnTo>
                    <a:pt x="1884" y="145"/>
                  </a:lnTo>
                  <a:lnTo>
                    <a:pt x="1884" y="140"/>
                  </a:lnTo>
                  <a:lnTo>
                    <a:pt x="1884" y="140"/>
                  </a:lnTo>
                  <a:lnTo>
                    <a:pt x="1888" y="140"/>
                  </a:lnTo>
                  <a:lnTo>
                    <a:pt x="1888" y="140"/>
                  </a:lnTo>
                  <a:lnTo>
                    <a:pt x="1888" y="140"/>
                  </a:lnTo>
                  <a:lnTo>
                    <a:pt x="1888" y="140"/>
                  </a:lnTo>
                  <a:lnTo>
                    <a:pt x="1888" y="136"/>
                  </a:lnTo>
                  <a:lnTo>
                    <a:pt x="1888" y="136"/>
                  </a:lnTo>
                  <a:lnTo>
                    <a:pt x="1888" y="140"/>
                  </a:lnTo>
                  <a:lnTo>
                    <a:pt x="1888" y="140"/>
                  </a:lnTo>
                  <a:lnTo>
                    <a:pt x="1888" y="140"/>
                  </a:lnTo>
                  <a:lnTo>
                    <a:pt x="1893" y="140"/>
                  </a:lnTo>
                  <a:lnTo>
                    <a:pt x="1888" y="140"/>
                  </a:lnTo>
                  <a:lnTo>
                    <a:pt x="1888" y="140"/>
                  </a:lnTo>
                  <a:lnTo>
                    <a:pt x="1888" y="140"/>
                  </a:lnTo>
                  <a:lnTo>
                    <a:pt x="1888" y="145"/>
                  </a:lnTo>
                  <a:lnTo>
                    <a:pt x="1888" y="145"/>
                  </a:lnTo>
                  <a:lnTo>
                    <a:pt x="1888" y="145"/>
                  </a:lnTo>
                  <a:lnTo>
                    <a:pt x="1888" y="145"/>
                  </a:lnTo>
                  <a:lnTo>
                    <a:pt x="1888" y="145"/>
                  </a:lnTo>
                  <a:lnTo>
                    <a:pt x="1893" y="145"/>
                  </a:lnTo>
                  <a:lnTo>
                    <a:pt x="1893" y="145"/>
                  </a:lnTo>
                  <a:lnTo>
                    <a:pt x="1897" y="145"/>
                  </a:lnTo>
                  <a:lnTo>
                    <a:pt x="1897" y="145"/>
                  </a:lnTo>
                  <a:lnTo>
                    <a:pt x="1897" y="145"/>
                  </a:lnTo>
                  <a:lnTo>
                    <a:pt x="1902" y="145"/>
                  </a:lnTo>
                  <a:lnTo>
                    <a:pt x="1906" y="145"/>
                  </a:lnTo>
                  <a:lnTo>
                    <a:pt x="1916" y="145"/>
                  </a:lnTo>
                  <a:lnTo>
                    <a:pt x="1916" y="145"/>
                  </a:lnTo>
                  <a:lnTo>
                    <a:pt x="1916" y="145"/>
                  </a:lnTo>
                  <a:lnTo>
                    <a:pt x="1916" y="145"/>
                  </a:lnTo>
                  <a:lnTo>
                    <a:pt x="1920" y="140"/>
                  </a:lnTo>
                  <a:lnTo>
                    <a:pt x="1920" y="140"/>
                  </a:lnTo>
                  <a:lnTo>
                    <a:pt x="1920" y="140"/>
                  </a:lnTo>
                  <a:lnTo>
                    <a:pt x="1920" y="140"/>
                  </a:lnTo>
                  <a:lnTo>
                    <a:pt x="1920" y="140"/>
                  </a:lnTo>
                  <a:lnTo>
                    <a:pt x="1920" y="140"/>
                  </a:lnTo>
                  <a:lnTo>
                    <a:pt x="1920" y="140"/>
                  </a:lnTo>
                  <a:lnTo>
                    <a:pt x="1920" y="140"/>
                  </a:lnTo>
                  <a:lnTo>
                    <a:pt x="1920" y="140"/>
                  </a:lnTo>
                  <a:lnTo>
                    <a:pt x="1929" y="140"/>
                  </a:lnTo>
                  <a:lnTo>
                    <a:pt x="1929" y="140"/>
                  </a:lnTo>
                  <a:lnTo>
                    <a:pt x="1929" y="140"/>
                  </a:lnTo>
                  <a:lnTo>
                    <a:pt x="1929" y="140"/>
                  </a:lnTo>
                  <a:lnTo>
                    <a:pt x="1929" y="140"/>
                  </a:lnTo>
                  <a:lnTo>
                    <a:pt x="1929" y="140"/>
                  </a:lnTo>
                  <a:lnTo>
                    <a:pt x="1925" y="140"/>
                  </a:lnTo>
                  <a:lnTo>
                    <a:pt x="1925" y="140"/>
                  </a:lnTo>
                  <a:lnTo>
                    <a:pt x="1920" y="140"/>
                  </a:lnTo>
                  <a:lnTo>
                    <a:pt x="1920" y="136"/>
                  </a:lnTo>
                  <a:lnTo>
                    <a:pt x="1920" y="136"/>
                  </a:lnTo>
                  <a:lnTo>
                    <a:pt x="1929" y="136"/>
                  </a:lnTo>
                  <a:lnTo>
                    <a:pt x="1934" y="136"/>
                  </a:lnTo>
                  <a:lnTo>
                    <a:pt x="1934" y="136"/>
                  </a:lnTo>
                  <a:lnTo>
                    <a:pt x="1934" y="131"/>
                  </a:lnTo>
                  <a:lnTo>
                    <a:pt x="1938" y="131"/>
                  </a:lnTo>
                  <a:lnTo>
                    <a:pt x="1938" y="131"/>
                  </a:lnTo>
                  <a:lnTo>
                    <a:pt x="1938" y="131"/>
                  </a:lnTo>
                  <a:lnTo>
                    <a:pt x="1934" y="131"/>
                  </a:lnTo>
                  <a:lnTo>
                    <a:pt x="1929" y="131"/>
                  </a:lnTo>
                  <a:lnTo>
                    <a:pt x="1929" y="131"/>
                  </a:lnTo>
                  <a:lnTo>
                    <a:pt x="1934" y="127"/>
                  </a:lnTo>
                  <a:lnTo>
                    <a:pt x="1934" y="127"/>
                  </a:lnTo>
                  <a:lnTo>
                    <a:pt x="1934" y="127"/>
                  </a:lnTo>
                  <a:lnTo>
                    <a:pt x="1934" y="127"/>
                  </a:lnTo>
                  <a:lnTo>
                    <a:pt x="1934" y="127"/>
                  </a:lnTo>
                  <a:lnTo>
                    <a:pt x="1929" y="127"/>
                  </a:lnTo>
                  <a:lnTo>
                    <a:pt x="1925" y="127"/>
                  </a:lnTo>
                  <a:lnTo>
                    <a:pt x="1925" y="127"/>
                  </a:lnTo>
                  <a:lnTo>
                    <a:pt x="1925" y="127"/>
                  </a:lnTo>
                  <a:lnTo>
                    <a:pt x="1929" y="127"/>
                  </a:lnTo>
                  <a:lnTo>
                    <a:pt x="1925" y="122"/>
                  </a:lnTo>
                  <a:lnTo>
                    <a:pt x="1925" y="122"/>
                  </a:lnTo>
                  <a:lnTo>
                    <a:pt x="1920" y="122"/>
                  </a:lnTo>
                  <a:lnTo>
                    <a:pt x="1916" y="122"/>
                  </a:lnTo>
                  <a:lnTo>
                    <a:pt x="1916" y="122"/>
                  </a:lnTo>
                  <a:lnTo>
                    <a:pt x="1911" y="122"/>
                  </a:lnTo>
                  <a:lnTo>
                    <a:pt x="1906" y="122"/>
                  </a:lnTo>
                  <a:lnTo>
                    <a:pt x="1902" y="122"/>
                  </a:lnTo>
                  <a:lnTo>
                    <a:pt x="1902" y="122"/>
                  </a:lnTo>
                  <a:lnTo>
                    <a:pt x="1902" y="122"/>
                  </a:lnTo>
                  <a:lnTo>
                    <a:pt x="1897" y="122"/>
                  </a:lnTo>
                  <a:lnTo>
                    <a:pt x="1893" y="122"/>
                  </a:lnTo>
                  <a:lnTo>
                    <a:pt x="1893" y="122"/>
                  </a:lnTo>
                  <a:lnTo>
                    <a:pt x="1888" y="122"/>
                  </a:lnTo>
                  <a:lnTo>
                    <a:pt x="1884" y="127"/>
                  </a:lnTo>
                  <a:lnTo>
                    <a:pt x="1879" y="127"/>
                  </a:lnTo>
                  <a:lnTo>
                    <a:pt x="1875" y="127"/>
                  </a:lnTo>
                  <a:lnTo>
                    <a:pt x="1875" y="127"/>
                  </a:lnTo>
                  <a:lnTo>
                    <a:pt x="1875" y="127"/>
                  </a:lnTo>
                  <a:lnTo>
                    <a:pt x="1875" y="127"/>
                  </a:lnTo>
                  <a:lnTo>
                    <a:pt x="1870" y="127"/>
                  </a:lnTo>
                  <a:lnTo>
                    <a:pt x="1870" y="127"/>
                  </a:lnTo>
                  <a:lnTo>
                    <a:pt x="1870" y="127"/>
                  </a:lnTo>
                  <a:lnTo>
                    <a:pt x="1866" y="127"/>
                  </a:lnTo>
                  <a:lnTo>
                    <a:pt x="1866" y="122"/>
                  </a:lnTo>
                  <a:lnTo>
                    <a:pt x="1866" y="122"/>
                  </a:lnTo>
                  <a:lnTo>
                    <a:pt x="1861" y="127"/>
                  </a:lnTo>
                  <a:lnTo>
                    <a:pt x="1861" y="127"/>
                  </a:lnTo>
                  <a:lnTo>
                    <a:pt x="1861" y="122"/>
                  </a:lnTo>
                  <a:lnTo>
                    <a:pt x="1861" y="122"/>
                  </a:lnTo>
                  <a:lnTo>
                    <a:pt x="1857" y="122"/>
                  </a:lnTo>
                  <a:lnTo>
                    <a:pt x="1852" y="122"/>
                  </a:lnTo>
                  <a:lnTo>
                    <a:pt x="1852" y="122"/>
                  </a:lnTo>
                  <a:lnTo>
                    <a:pt x="1852" y="122"/>
                  </a:lnTo>
                  <a:lnTo>
                    <a:pt x="1852" y="122"/>
                  </a:lnTo>
                  <a:lnTo>
                    <a:pt x="1852" y="122"/>
                  </a:lnTo>
                  <a:lnTo>
                    <a:pt x="1852" y="122"/>
                  </a:lnTo>
                  <a:lnTo>
                    <a:pt x="1848" y="122"/>
                  </a:lnTo>
                  <a:lnTo>
                    <a:pt x="1848" y="122"/>
                  </a:lnTo>
                  <a:lnTo>
                    <a:pt x="1848" y="122"/>
                  </a:lnTo>
                  <a:lnTo>
                    <a:pt x="1848" y="127"/>
                  </a:lnTo>
                  <a:lnTo>
                    <a:pt x="1848" y="127"/>
                  </a:lnTo>
                  <a:lnTo>
                    <a:pt x="1848" y="122"/>
                  </a:lnTo>
                  <a:lnTo>
                    <a:pt x="1843" y="122"/>
                  </a:lnTo>
                  <a:lnTo>
                    <a:pt x="1843" y="122"/>
                  </a:lnTo>
                  <a:lnTo>
                    <a:pt x="1843" y="122"/>
                  </a:lnTo>
                  <a:lnTo>
                    <a:pt x="1848" y="122"/>
                  </a:lnTo>
                  <a:lnTo>
                    <a:pt x="1848" y="122"/>
                  </a:lnTo>
                  <a:lnTo>
                    <a:pt x="1852" y="118"/>
                  </a:lnTo>
                  <a:lnTo>
                    <a:pt x="1852" y="118"/>
                  </a:lnTo>
                  <a:lnTo>
                    <a:pt x="1852" y="118"/>
                  </a:lnTo>
                  <a:lnTo>
                    <a:pt x="1848" y="118"/>
                  </a:lnTo>
                  <a:lnTo>
                    <a:pt x="1848" y="118"/>
                  </a:lnTo>
                  <a:lnTo>
                    <a:pt x="1848" y="118"/>
                  </a:lnTo>
                  <a:lnTo>
                    <a:pt x="1848" y="118"/>
                  </a:lnTo>
                  <a:lnTo>
                    <a:pt x="1848" y="113"/>
                  </a:lnTo>
                  <a:lnTo>
                    <a:pt x="1848" y="113"/>
                  </a:lnTo>
                  <a:lnTo>
                    <a:pt x="1848" y="113"/>
                  </a:lnTo>
                  <a:lnTo>
                    <a:pt x="1848" y="113"/>
                  </a:lnTo>
                  <a:lnTo>
                    <a:pt x="1843" y="113"/>
                  </a:lnTo>
                  <a:lnTo>
                    <a:pt x="1843" y="113"/>
                  </a:lnTo>
                  <a:lnTo>
                    <a:pt x="1843" y="113"/>
                  </a:lnTo>
                  <a:lnTo>
                    <a:pt x="1839" y="109"/>
                  </a:lnTo>
                  <a:lnTo>
                    <a:pt x="1839" y="109"/>
                  </a:lnTo>
                  <a:lnTo>
                    <a:pt x="1839" y="109"/>
                  </a:lnTo>
                  <a:lnTo>
                    <a:pt x="1843" y="109"/>
                  </a:lnTo>
                  <a:lnTo>
                    <a:pt x="1848" y="113"/>
                  </a:lnTo>
                  <a:lnTo>
                    <a:pt x="1857" y="113"/>
                  </a:lnTo>
                  <a:lnTo>
                    <a:pt x="1861" y="113"/>
                  </a:lnTo>
                  <a:lnTo>
                    <a:pt x="1861" y="109"/>
                  </a:lnTo>
                  <a:lnTo>
                    <a:pt x="1861" y="109"/>
                  </a:lnTo>
                  <a:lnTo>
                    <a:pt x="1861" y="109"/>
                  </a:lnTo>
                  <a:lnTo>
                    <a:pt x="1848" y="104"/>
                  </a:lnTo>
                  <a:lnTo>
                    <a:pt x="1843" y="104"/>
                  </a:lnTo>
                  <a:lnTo>
                    <a:pt x="1843" y="104"/>
                  </a:lnTo>
                  <a:lnTo>
                    <a:pt x="1843" y="104"/>
                  </a:lnTo>
                  <a:lnTo>
                    <a:pt x="1843" y="104"/>
                  </a:lnTo>
                  <a:lnTo>
                    <a:pt x="1848" y="104"/>
                  </a:lnTo>
                  <a:lnTo>
                    <a:pt x="1848" y="104"/>
                  </a:lnTo>
                  <a:lnTo>
                    <a:pt x="1848" y="104"/>
                  </a:lnTo>
                  <a:lnTo>
                    <a:pt x="1852" y="104"/>
                  </a:lnTo>
                  <a:lnTo>
                    <a:pt x="1852" y="104"/>
                  </a:lnTo>
                  <a:lnTo>
                    <a:pt x="1852" y="104"/>
                  </a:lnTo>
                  <a:lnTo>
                    <a:pt x="1852" y="104"/>
                  </a:lnTo>
                  <a:lnTo>
                    <a:pt x="1852" y="104"/>
                  </a:lnTo>
                  <a:lnTo>
                    <a:pt x="1852" y="104"/>
                  </a:lnTo>
                  <a:lnTo>
                    <a:pt x="1848" y="100"/>
                  </a:lnTo>
                  <a:lnTo>
                    <a:pt x="1848" y="100"/>
                  </a:lnTo>
                  <a:lnTo>
                    <a:pt x="1843" y="100"/>
                  </a:lnTo>
                  <a:lnTo>
                    <a:pt x="1839" y="104"/>
                  </a:lnTo>
                  <a:lnTo>
                    <a:pt x="1834" y="104"/>
                  </a:lnTo>
                  <a:lnTo>
                    <a:pt x="1834" y="100"/>
                  </a:lnTo>
                  <a:lnTo>
                    <a:pt x="1825" y="104"/>
                  </a:lnTo>
                  <a:lnTo>
                    <a:pt x="1825" y="104"/>
                  </a:lnTo>
                  <a:lnTo>
                    <a:pt x="1825" y="104"/>
                  </a:lnTo>
                  <a:lnTo>
                    <a:pt x="1825" y="104"/>
                  </a:lnTo>
                  <a:lnTo>
                    <a:pt x="1830" y="104"/>
                  </a:lnTo>
                  <a:lnTo>
                    <a:pt x="1830" y="100"/>
                  </a:lnTo>
                  <a:lnTo>
                    <a:pt x="1834" y="100"/>
                  </a:lnTo>
                  <a:lnTo>
                    <a:pt x="1834" y="100"/>
                  </a:lnTo>
                  <a:lnTo>
                    <a:pt x="1834" y="100"/>
                  </a:lnTo>
                  <a:lnTo>
                    <a:pt x="1834" y="100"/>
                  </a:lnTo>
                  <a:lnTo>
                    <a:pt x="1834" y="100"/>
                  </a:lnTo>
                  <a:lnTo>
                    <a:pt x="1834" y="100"/>
                  </a:lnTo>
                  <a:lnTo>
                    <a:pt x="1834" y="100"/>
                  </a:lnTo>
                  <a:lnTo>
                    <a:pt x="1834" y="95"/>
                  </a:lnTo>
                  <a:lnTo>
                    <a:pt x="1830" y="95"/>
                  </a:lnTo>
                  <a:lnTo>
                    <a:pt x="1830" y="95"/>
                  </a:lnTo>
                  <a:lnTo>
                    <a:pt x="1830" y="95"/>
                  </a:lnTo>
                  <a:lnTo>
                    <a:pt x="1825" y="95"/>
                  </a:lnTo>
                  <a:lnTo>
                    <a:pt x="1825" y="95"/>
                  </a:lnTo>
                  <a:lnTo>
                    <a:pt x="1821" y="95"/>
                  </a:lnTo>
                  <a:lnTo>
                    <a:pt x="1816" y="90"/>
                  </a:lnTo>
                  <a:lnTo>
                    <a:pt x="1816" y="90"/>
                  </a:lnTo>
                  <a:lnTo>
                    <a:pt x="1816" y="90"/>
                  </a:lnTo>
                  <a:close/>
                  <a:moveTo>
                    <a:pt x="1766" y="68"/>
                  </a:moveTo>
                  <a:lnTo>
                    <a:pt x="1771" y="68"/>
                  </a:lnTo>
                  <a:lnTo>
                    <a:pt x="1775" y="68"/>
                  </a:lnTo>
                  <a:lnTo>
                    <a:pt x="1784" y="68"/>
                  </a:lnTo>
                  <a:lnTo>
                    <a:pt x="1784" y="68"/>
                  </a:lnTo>
                  <a:lnTo>
                    <a:pt x="1784" y="68"/>
                  </a:lnTo>
                  <a:lnTo>
                    <a:pt x="1784" y="68"/>
                  </a:lnTo>
                  <a:lnTo>
                    <a:pt x="1784" y="68"/>
                  </a:lnTo>
                  <a:lnTo>
                    <a:pt x="1784" y="68"/>
                  </a:lnTo>
                  <a:lnTo>
                    <a:pt x="1784" y="68"/>
                  </a:lnTo>
                  <a:lnTo>
                    <a:pt x="1789" y="68"/>
                  </a:lnTo>
                  <a:lnTo>
                    <a:pt x="1789" y="68"/>
                  </a:lnTo>
                  <a:lnTo>
                    <a:pt x="1794" y="68"/>
                  </a:lnTo>
                  <a:lnTo>
                    <a:pt x="1794" y="68"/>
                  </a:lnTo>
                  <a:lnTo>
                    <a:pt x="1794" y="72"/>
                  </a:lnTo>
                  <a:lnTo>
                    <a:pt x="1794" y="72"/>
                  </a:lnTo>
                  <a:lnTo>
                    <a:pt x="1794" y="72"/>
                  </a:lnTo>
                  <a:lnTo>
                    <a:pt x="1794" y="72"/>
                  </a:lnTo>
                  <a:lnTo>
                    <a:pt x="1794" y="72"/>
                  </a:lnTo>
                  <a:lnTo>
                    <a:pt x="1794" y="72"/>
                  </a:lnTo>
                  <a:lnTo>
                    <a:pt x="1794" y="77"/>
                  </a:lnTo>
                  <a:lnTo>
                    <a:pt x="1794" y="77"/>
                  </a:lnTo>
                  <a:lnTo>
                    <a:pt x="1794" y="77"/>
                  </a:lnTo>
                  <a:lnTo>
                    <a:pt x="1798" y="77"/>
                  </a:lnTo>
                  <a:lnTo>
                    <a:pt x="1803" y="77"/>
                  </a:lnTo>
                  <a:lnTo>
                    <a:pt x="1803" y="77"/>
                  </a:lnTo>
                  <a:lnTo>
                    <a:pt x="1807" y="77"/>
                  </a:lnTo>
                  <a:lnTo>
                    <a:pt x="1807" y="77"/>
                  </a:lnTo>
                  <a:lnTo>
                    <a:pt x="1807" y="72"/>
                  </a:lnTo>
                  <a:lnTo>
                    <a:pt x="1807" y="72"/>
                  </a:lnTo>
                  <a:lnTo>
                    <a:pt x="1812" y="72"/>
                  </a:lnTo>
                  <a:lnTo>
                    <a:pt x="1812" y="72"/>
                  </a:lnTo>
                  <a:lnTo>
                    <a:pt x="1812" y="68"/>
                  </a:lnTo>
                  <a:lnTo>
                    <a:pt x="1807" y="68"/>
                  </a:lnTo>
                  <a:lnTo>
                    <a:pt x="1812" y="68"/>
                  </a:lnTo>
                  <a:lnTo>
                    <a:pt x="1812" y="68"/>
                  </a:lnTo>
                  <a:lnTo>
                    <a:pt x="1812" y="68"/>
                  </a:lnTo>
                  <a:lnTo>
                    <a:pt x="1812" y="68"/>
                  </a:lnTo>
                  <a:lnTo>
                    <a:pt x="1812" y="68"/>
                  </a:lnTo>
                  <a:lnTo>
                    <a:pt x="1816" y="68"/>
                  </a:lnTo>
                  <a:lnTo>
                    <a:pt x="1816" y="63"/>
                  </a:lnTo>
                  <a:lnTo>
                    <a:pt x="1816" y="63"/>
                  </a:lnTo>
                  <a:lnTo>
                    <a:pt x="1816" y="63"/>
                  </a:lnTo>
                  <a:lnTo>
                    <a:pt x="1816" y="63"/>
                  </a:lnTo>
                  <a:lnTo>
                    <a:pt x="1816" y="63"/>
                  </a:lnTo>
                  <a:lnTo>
                    <a:pt x="1816" y="59"/>
                  </a:lnTo>
                  <a:lnTo>
                    <a:pt x="1812" y="59"/>
                  </a:lnTo>
                  <a:lnTo>
                    <a:pt x="1807" y="59"/>
                  </a:lnTo>
                  <a:lnTo>
                    <a:pt x="1807" y="59"/>
                  </a:lnTo>
                  <a:lnTo>
                    <a:pt x="1812" y="59"/>
                  </a:lnTo>
                  <a:lnTo>
                    <a:pt x="1812" y="59"/>
                  </a:lnTo>
                  <a:lnTo>
                    <a:pt x="1812" y="59"/>
                  </a:lnTo>
                  <a:lnTo>
                    <a:pt x="1812" y="59"/>
                  </a:lnTo>
                  <a:lnTo>
                    <a:pt x="1812" y="59"/>
                  </a:lnTo>
                  <a:lnTo>
                    <a:pt x="1812" y="59"/>
                  </a:lnTo>
                  <a:lnTo>
                    <a:pt x="1812" y="54"/>
                  </a:lnTo>
                  <a:lnTo>
                    <a:pt x="1807" y="54"/>
                  </a:lnTo>
                  <a:lnTo>
                    <a:pt x="1807" y="54"/>
                  </a:lnTo>
                  <a:lnTo>
                    <a:pt x="1807" y="54"/>
                  </a:lnTo>
                  <a:lnTo>
                    <a:pt x="1803" y="54"/>
                  </a:lnTo>
                  <a:lnTo>
                    <a:pt x="1803" y="59"/>
                  </a:lnTo>
                  <a:lnTo>
                    <a:pt x="1803" y="59"/>
                  </a:lnTo>
                  <a:lnTo>
                    <a:pt x="1798" y="59"/>
                  </a:lnTo>
                  <a:lnTo>
                    <a:pt x="1798" y="59"/>
                  </a:lnTo>
                  <a:lnTo>
                    <a:pt x="1798" y="59"/>
                  </a:lnTo>
                  <a:lnTo>
                    <a:pt x="1798" y="59"/>
                  </a:lnTo>
                  <a:lnTo>
                    <a:pt x="1798" y="59"/>
                  </a:lnTo>
                  <a:lnTo>
                    <a:pt x="1798" y="54"/>
                  </a:lnTo>
                  <a:lnTo>
                    <a:pt x="1798" y="54"/>
                  </a:lnTo>
                  <a:lnTo>
                    <a:pt x="1803" y="54"/>
                  </a:lnTo>
                  <a:lnTo>
                    <a:pt x="1803" y="54"/>
                  </a:lnTo>
                  <a:lnTo>
                    <a:pt x="1803" y="54"/>
                  </a:lnTo>
                  <a:lnTo>
                    <a:pt x="1803" y="54"/>
                  </a:lnTo>
                  <a:lnTo>
                    <a:pt x="1803" y="50"/>
                  </a:lnTo>
                  <a:lnTo>
                    <a:pt x="1803" y="50"/>
                  </a:lnTo>
                  <a:lnTo>
                    <a:pt x="1803" y="50"/>
                  </a:lnTo>
                  <a:lnTo>
                    <a:pt x="1798" y="50"/>
                  </a:lnTo>
                  <a:lnTo>
                    <a:pt x="1798" y="50"/>
                  </a:lnTo>
                  <a:lnTo>
                    <a:pt x="1789" y="50"/>
                  </a:lnTo>
                  <a:lnTo>
                    <a:pt x="1784" y="50"/>
                  </a:lnTo>
                  <a:lnTo>
                    <a:pt x="1784" y="50"/>
                  </a:lnTo>
                  <a:lnTo>
                    <a:pt x="1780" y="50"/>
                  </a:lnTo>
                  <a:lnTo>
                    <a:pt x="1780" y="50"/>
                  </a:lnTo>
                  <a:lnTo>
                    <a:pt x="1780" y="50"/>
                  </a:lnTo>
                  <a:lnTo>
                    <a:pt x="1775" y="54"/>
                  </a:lnTo>
                  <a:lnTo>
                    <a:pt x="1775" y="54"/>
                  </a:lnTo>
                  <a:lnTo>
                    <a:pt x="1780" y="54"/>
                  </a:lnTo>
                  <a:lnTo>
                    <a:pt x="1780" y="54"/>
                  </a:lnTo>
                  <a:lnTo>
                    <a:pt x="1784" y="54"/>
                  </a:lnTo>
                  <a:lnTo>
                    <a:pt x="1780" y="54"/>
                  </a:lnTo>
                  <a:lnTo>
                    <a:pt x="1780" y="54"/>
                  </a:lnTo>
                  <a:lnTo>
                    <a:pt x="1775" y="54"/>
                  </a:lnTo>
                  <a:lnTo>
                    <a:pt x="1775" y="59"/>
                  </a:lnTo>
                  <a:lnTo>
                    <a:pt x="1775" y="59"/>
                  </a:lnTo>
                  <a:lnTo>
                    <a:pt x="1775" y="59"/>
                  </a:lnTo>
                  <a:lnTo>
                    <a:pt x="1780" y="59"/>
                  </a:lnTo>
                  <a:lnTo>
                    <a:pt x="1784" y="54"/>
                  </a:lnTo>
                  <a:lnTo>
                    <a:pt x="1789" y="54"/>
                  </a:lnTo>
                  <a:lnTo>
                    <a:pt x="1789" y="54"/>
                  </a:lnTo>
                  <a:lnTo>
                    <a:pt x="1789" y="54"/>
                  </a:lnTo>
                  <a:lnTo>
                    <a:pt x="1789" y="54"/>
                  </a:lnTo>
                  <a:lnTo>
                    <a:pt x="1789" y="54"/>
                  </a:lnTo>
                  <a:lnTo>
                    <a:pt x="1784" y="59"/>
                  </a:lnTo>
                  <a:lnTo>
                    <a:pt x="1780" y="59"/>
                  </a:lnTo>
                  <a:lnTo>
                    <a:pt x="1780" y="59"/>
                  </a:lnTo>
                  <a:lnTo>
                    <a:pt x="1784" y="59"/>
                  </a:lnTo>
                  <a:lnTo>
                    <a:pt x="1789" y="59"/>
                  </a:lnTo>
                  <a:lnTo>
                    <a:pt x="1789" y="59"/>
                  </a:lnTo>
                  <a:lnTo>
                    <a:pt x="1789" y="59"/>
                  </a:lnTo>
                  <a:lnTo>
                    <a:pt x="1784" y="59"/>
                  </a:lnTo>
                  <a:lnTo>
                    <a:pt x="1780" y="59"/>
                  </a:lnTo>
                  <a:lnTo>
                    <a:pt x="1780" y="59"/>
                  </a:lnTo>
                  <a:lnTo>
                    <a:pt x="1784" y="63"/>
                  </a:lnTo>
                  <a:lnTo>
                    <a:pt x="1784" y="63"/>
                  </a:lnTo>
                  <a:lnTo>
                    <a:pt x="1780" y="63"/>
                  </a:lnTo>
                  <a:lnTo>
                    <a:pt x="1780" y="63"/>
                  </a:lnTo>
                  <a:lnTo>
                    <a:pt x="1775" y="63"/>
                  </a:lnTo>
                  <a:lnTo>
                    <a:pt x="1771" y="63"/>
                  </a:lnTo>
                  <a:lnTo>
                    <a:pt x="1771" y="63"/>
                  </a:lnTo>
                  <a:lnTo>
                    <a:pt x="1771" y="63"/>
                  </a:lnTo>
                  <a:lnTo>
                    <a:pt x="1766" y="63"/>
                  </a:lnTo>
                  <a:lnTo>
                    <a:pt x="1766" y="63"/>
                  </a:lnTo>
                  <a:lnTo>
                    <a:pt x="1766" y="63"/>
                  </a:lnTo>
                  <a:lnTo>
                    <a:pt x="1766" y="63"/>
                  </a:lnTo>
                  <a:lnTo>
                    <a:pt x="1766" y="68"/>
                  </a:lnTo>
                  <a:lnTo>
                    <a:pt x="1766" y="68"/>
                  </a:lnTo>
                  <a:close/>
                  <a:moveTo>
                    <a:pt x="1739" y="100"/>
                  </a:moveTo>
                  <a:lnTo>
                    <a:pt x="1739" y="100"/>
                  </a:lnTo>
                  <a:lnTo>
                    <a:pt x="1744" y="104"/>
                  </a:lnTo>
                  <a:lnTo>
                    <a:pt x="1744" y="104"/>
                  </a:lnTo>
                  <a:lnTo>
                    <a:pt x="1744" y="104"/>
                  </a:lnTo>
                  <a:lnTo>
                    <a:pt x="1739" y="104"/>
                  </a:lnTo>
                  <a:lnTo>
                    <a:pt x="1739" y="104"/>
                  </a:lnTo>
                  <a:lnTo>
                    <a:pt x="1739" y="104"/>
                  </a:lnTo>
                  <a:lnTo>
                    <a:pt x="1739" y="104"/>
                  </a:lnTo>
                  <a:lnTo>
                    <a:pt x="1739" y="104"/>
                  </a:lnTo>
                  <a:lnTo>
                    <a:pt x="1739" y="104"/>
                  </a:lnTo>
                  <a:lnTo>
                    <a:pt x="1739" y="109"/>
                  </a:lnTo>
                  <a:lnTo>
                    <a:pt x="1739" y="109"/>
                  </a:lnTo>
                  <a:lnTo>
                    <a:pt x="1739" y="109"/>
                  </a:lnTo>
                  <a:lnTo>
                    <a:pt x="1739" y="109"/>
                  </a:lnTo>
                  <a:lnTo>
                    <a:pt x="1739" y="109"/>
                  </a:lnTo>
                  <a:lnTo>
                    <a:pt x="1739" y="109"/>
                  </a:lnTo>
                  <a:lnTo>
                    <a:pt x="1739" y="109"/>
                  </a:lnTo>
                  <a:lnTo>
                    <a:pt x="1739" y="109"/>
                  </a:lnTo>
                  <a:lnTo>
                    <a:pt x="1739" y="109"/>
                  </a:lnTo>
                  <a:lnTo>
                    <a:pt x="1735" y="109"/>
                  </a:lnTo>
                  <a:lnTo>
                    <a:pt x="1735" y="109"/>
                  </a:lnTo>
                  <a:lnTo>
                    <a:pt x="1735" y="109"/>
                  </a:lnTo>
                  <a:lnTo>
                    <a:pt x="1735" y="109"/>
                  </a:lnTo>
                  <a:lnTo>
                    <a:pt x="1730" y="109"/>
                  </a:lnTo>
                  <a:lnTo>
                    <a:pt x="1730" y="109"/>
                  </a:lnTo>
                  <a:lnTo>
                    <a:pt x="1730" y="109"/>
                  </a:lnTo>
                  <a:lnTo>
                    <a:pt x="1726" y="109"/>
                  </a:lnTo>
                  <a:lnTo>
                    <a:pt x="1721" y="113"/>
                  </a:lnTo>
                  <a:lnTo>
                    <a:pt x="1721" y="113"/>
                  </a:lnTo>
                  <a:lnTo>
                    <a:pt x="1717" y="113"/>
                  </a:lnTo>
                  <a:lnTo>
                    <a:pt x="1717" y="113"/>
                  </a:lnTo>
                  <a:lnTo>
                    <a:pt x="1721" y="113"/>
                  </a:lnTo>
                  <a:lnTo>
                    <a:pt x="1730" y="113"/>
                  </a:lnTo>
                  <a:lnTo>
                    <a:pt x="1735" y="113"/>
                  </a:lnTo>
                  <a:lnTo>
                    <a:pt x="1739" y="113"/>
                  </a:lnTo>
                  <a:lnTo>
                    <a:pt x="1748" y="113"/>
                  </a:lnTo>
                  <a:lnTo>
                    <a:pt x="1753" y="113"/>
                  </a:lnTo>
                  <a:lnTo>
                    <a:pt x="1753" y="113"/>
                  </a:lnTo>
                  <a:lnTo>
                    <a:pt x="1748" y="113"/>
                  </a:lnTo>
                  <a:lnTo>
                    <a:pt x="1748" y="113"/>
                  </a:lnTo>
                  <a:lnTo>
                    <a:pt x="1748" y="113"/>
                  </a:lnTo>
                  <a:lnTo>
                    <a:pt x="1744" y="113"/>
                  </a:lnTo>
                  <a:lnTo>
                    <a:pt x="1739" y="118"/>
                  </a:lnTo>
                  <a:lnTo>
                    <a:pt x="1735" y="118"/>
                  </a:lnTo>
                  <a:lnTo>
                    <a:pt x="1735" y="118"/>
                  </a:lnTo>
                  <a:lnTo>
                    <a:pt x="1730" y="118"/>
                  </a:lnTo>
                  <a:lnTo>
                    <a:pt x="1735" y="118"/>
                  </a:lnTo>
                  <a:lnTo>
                    <a:pt x="1735" y="118"/>
                  </a:lnTo>
                  <a:lnTo>
                    <a:pt x="1735" y="118"/>
                  </a:lnTo>
                  <a:lnTo>
                    <a:pt x="1735" y="122"/>
                  </a:lnTo>
                  <a:lnTo>
                    <a:pt x="1730" y="122"/>
                  </a:lnTo>
                  <a:lnTo>
                    <a:pt x="1730" y="122"/>
                  </a:lnTo>
                  <a:lnTo>
                    <a:pt x="1730" y="122"/>
                  </a:lnTo>
                  <a:lnTo>
                    <a:pt x="1730" y="122"/>
                  </a:lnTo>
                  <a:lnTo>
                    <a:pt x="1730" y="122"/>
                  </a:lnTo>
                  <a:lnTo>
                    <a:pt x="1730" y="122"/>
                  </a:lnTo>
                  <a:lnTo>
                    <a:pt x="1735" y="127"/>
                  </a:lnTo>
                  <a:lnTo>
                    <a:pt x="1739" y="122"/>
                  </a:lnTo>
                  <a:lnTo>
                    <a:pt x="1739" y="122"/>
                  </a:lnTo>
                  <a:lnTo>
                    <a:pt x="1739" y="122"/>
                  </a:lnTo>
                  <a:lnTo>
                    <a:pt x="1739" y="127"/>
                  </a:lnTo>
                  <a:lnTo>
                    <a:pt x="1739" y="127"/>
                  </a:lnTo>
                  <a:lnTo>
                    <a:pt x="1744" y="127"/>
                  </a:lnTo>
                  <a:lnTo>
                    <a:pt x="1744" y="127"/>
                  </a:lnTo>
                  <a:lnTo>
                    <a:pt x="1744" y="127"/>
                  </a:lnTo>
                  <a:lnTo>
                    <a:pt x="1748" y="127"/>
                  </a:lnTo>
                  <a:lnTo>
                    <a:pt x="1748" y="127"/>
                  </a:lnTo>
                  <a:lnTo>
                    <a:pt x="1753" y="127"/>
                  </a:lnTo>
                  <a:lnTo>
                    <a:pt x="1753" y="127"/>
                  </a:lnTo>
                  <a:lnTo>
                    <a:pt x="1753" y="122"/>
                  </a:lnTo>
                  <a:lnTo>
                    <a:pt x="1753" y="122"/>
                  </a:lnTo>
                  <a:lnTo>
                    <a:pt x="1753" y="122"/>
                  </a:lnTo>
                  <a:lnTo>
                    <a:pt x="1753" y="122"/>
                  </a:lnTo>
                  <a:lnTo>
                    <a:pt x="1753" y="122"/>
                  </a:lnTo>
                  <a:lnTo>
                    <a:pt x="1753" y="122"/>
                  </a:lnTo>
                  <a:lnTo>
                    <a:pt x="1753" y="122"/>
                  </a:lnTo>
                  <a:lnTo>
                    <a:pt x="1753" y="122"/>
                  </a:lnTo>
                  <a:lnTo>
                    <a:pt x="1757" y="122"/>
                  </a:lnTo>
                  <a:lnTo>
                    <a:pt x="1757" y="122"/>
                  </a:lnTo>
                  <a:lnTo>
                    <a:pt x="1757" y="122"/>
                  </a:lnTo>
                  <a:lnTo>
                    <a:pt x="1757" y="122"/>
                  </a:lnTo>
                  <a:lnTo>
                    <a:pt x="1762" y="118"/>
                  </a:lnTo>
                  <a:lnTo>
                    <a:pt x="1766" y="118"/>
                  </a:lnTo>
                  <a:lnTo>
                    <a:pt x="1766" y="118"/>
                  </a:lnTo>
                  <a:lnTo>
                    <a:pt x="1766" y="118"/>
                  </a:lnTo>
                  <a:lnTo>
                    <a:pt x="1766" y="118"/>
                  </a:lnTo>
                  <a:lnTo>
                    <a:pt x="1766" y="118"/>
                  </a:lnTo>
                  <a:lnTo>
                    <a:pt x="1771" y="113"/>
                  </a:lnTo>
                  <a:lnTo>
                    <a:pt x="1771" y="113"/>
                  </a:lnTo>
                  <a:lnTo>
                    <a:pt x="1766" y="113"/>
                  </a:lnTo>
                  <a:lnTo>
                    <a:pt x="1766" y="113"/>
                  </a:lnTo>
                  <a:lnTo>
                    <a:pt x="1771" y="113"/>
                  </a:lnTo>
                  <a:lnTo>
                    <a:pt x="1771" y="113"/>
                  </a:lnTo>
                  <a:lnTo>
                    <a:pt x="1775" y="113"/>
                  </a:lnTo>
                  <a:lnTo>
                    <a:pt x="1775" y="109"/>
                  </a:lnTo>
                  <a:lnTo>
                    <a:pt x="1775" y="109"/>
                  </a:lnTo>
                  <a:lnTo>
                    <a:pt x="1775" y="109"/>
                  </a:lnTo>
                  <a:lnTo>
                    <a:pt x="1780" y="109"/>
                  </a:lnTo>
                  <a:lnTo>
                    <a:pt x="1780" y="109"/>
                  </a:lnTo>
                  <a:lnTo>
                    <a:pt x="1780" y="104"/>
                  </a:lnTo>
                  <a:lnTo>
                    <a:pt x="1780" y="104"/>
                  </a:lnTo>
                  <a:lnTo>
                    <a:pt x="1780" y="104"/>
                  </a:lnTo>
                  <a:lnTo>
                    <a:pt x="1784" y="104"/>
                  </a:lnTo>
                  <a:lnTo>
                    <a:pt x="1784" y="104"/>
                  </a:lnTo>
                  <a:lnTo>
                    <a:pt x="1784" y="104"/>
                  </a:lnTo>
                  <a:lnTo>
                    <a:pt x="1784" y="100"/>
                  </a:lnTo>
                  <a:lnTo>
                    <a:pt x="1784" y="100"/>
                  </a:lnTo>
                  <a:lnTo>
                    <a:pt x="1784" y="100"/>
                  </a:lnTo>
                  <a:lnTo>
                    <a:pt x="1784" y="100"/>
                  </a:lnTo>
                  <a:lnTo>
                    <a:pt x="1784" y="100"/>
                  </a:lnTo>
                  <a:lnTo>
                    <a:pt x="1784" y="100"/>
                  </a:lnTo>
                  <a:lnTo>
                    <a:pt x="1784" y="100"/>
                  </a:lnTo>
                  <a:lnTo>
                    <a:pt x="1784" y="95"/>
                  </a:lnTo>
                  <a:lnTo>
                    <a:pt x="1780" y="95"/>
                  </a:lnTo>
                  <a:lnTo>
                    <a:pt x="1780" y="95"/>
                  </a:lnTo>
                  <a:lnTo>
                    <a:pt x="1775" y="100"/>
                  </a:lnTo>
                  <a:lnTo>
                    <a:pt x="1775" y="100"/>
                  </a:lnTo>
                  <a:lnTo>
                    <a:pt x="1775" y="100"/>
                  </a:lnTo>
                  <a:lnTo>
                    <a:pt x="1771" y="100"/>
                  </a:lnTo>
                  <a:lnTo>
                    <a:pt x="1771" y="100"/>
                  </a:lnTo>
                  <a:lnTo>
                    <a:pt x="1771" y="95"/>
                  </a:lnTo>
                  <a:lnTo>
                    <a:pt x="1771" y="95"/>
                  </a:lnTo>
                  <a:lnTo>
                    <a:pt x="1766" y="95"/>
                  </a:lnTo>
                  <a:lnTo>
                    <a:pt x="1766" y="95"/>
                  </a:lnTo>
                  <a:lnTo>
                    <a:pt x="1762" y="95"/>
                  </a:lnTo>
                  <a:lnTo>
                    <a:pt x="1757" y="100"/>
                  </a:lnTo>
                  <a:lnTo>
                    <a:pt x="1757" y="100"/>
                  </a:lnTo>
                  <a:lnTo>
                    <a:pt x="1757" y="100"/>
                  </a:lnTo>
                  <a:lnTo>
                    <a:pt x="1757" y="100"/>
                  </a:lnTo>
                  <a:lnTo>
                    <a:pt x="1757" y="100"/>
                  </a:lnTo>
                  <a:lnTo>
                    <a:pt x="1762" y="100"/>
                  </a:lnTo>
                  <a:lnTo>
                    <a:pt x="1762" y="100"/>
                  </a:lnTo>
                  <a:lnTo>
                    <a:pt x="1762" y="104"/>
                  </a:lnTo>
                  <a:lnTo>
                    <a:pt x="1762" y="104"/>
                  </a:lnTo>
                  <a:lnTo>
                    <a:pt x="1762" y="104"/>
                  </a:lnTo>
                  <a:lnTo>
                    <a:pt x="1757" y="104"/>
                  </a:lnTo>
                  <a:lnTo>
                    <a:pt x="1757" y="104"/>
                  </a:lnTo>
                  <a:lnTo>
                    <a:pt x="1757" y="104"/>
                  </a:lnTo>
                  <a:lnTo>
                    <a:pt x="1757" y="104"/>
                  </a:lnTo>
                  <a:lnTo>
                    <a:pt x="1757" y="104"/>
                  </a:lnTo>
                  <a:lnTo>
                    <a:pt x="1757" y="104"/>
                  </a:lnTo>
                  <a:lnTo>
                    <a:pt x="1762" y="104"/>
                  </a:lnTo>
                  <a:lnTo>
                    <a:pt x="1757" y="104"/>
                  </a:lnTo>
                  <a:lnTo>
                    <a:pt x="1757" y="104"/>
                  </a:lnTo>
                  <a:lnTo>
                    <a:pt x="1757" y="104"/>
                  </a:lnTo>
                  <a:lnTo>
                    <a:pt x="1757" y="104"/>
                  </a:lnTo>
                  <a:lnTo>
                    <a:pt x="1757" y="104"/>
                  </a:lnTo>
                  <a:lnTo>
                    <a:pt x="1753" y="109"/>
                  </a:lnTo>
                  <a:lnTo>
                    <a:pt x="1757" y="109"/>
                  </a:lnTo>
                  <a:lnTo>
                    <a:pt x="1757" y="109"/>
                  </a:lnTo>
                  <a:lnTo>
                    <a:pt x="1753" y="109"/>
                  </a:lnTo>
                  <a:lnTo>
                    <a:pt x="1753" y="109"/>
                  </a:lnTo>
                  <a:lnTo>
                    <a:pt x="1753" y="109"/>
                  </a:lnTo>
                  <a:lnTo>
                    <a:pt x="1753" y="109"/>
                  </a:lnTo>
                  <a:lnTo>
                    <a:pt x="1753" y="109"/>
                  </a:lnTo>
                  <a:lnTo>
                    <a:pt x="1748" y="104"/>
                  </a:lnTo>
                  <a:lnTo>
                    <a:pt x="1748" y="104"/>
                  </a:lnTo>
                  <a:lnTo>
                    <a:pt x="1748" y="104"/>
                  </a:lnTo>
                  <a:lnTo>
                    <a:pt x="1753" y="100"/>
                  </a:lnTo>
                  <a:lnTo>
                    <a:pt x="1753" y="100"/>
                  </a:lnTo>
                  <a:lnTo>
                    <a:pt x="1753" y="100"/>
                  </a:lnTo>
                  <a:lnTo>
                    <a:pt x="1753" y="100"/>
                  </a:lnTo>
                  <a:lnTo>
                    <a:pt x="1748" y="100"/>
                  </a:lnTo>
                  <a:lnTo>
                    <a:pt x="1748" y="100"/>
                  </a:lnTo>
                  <a:lnTo>
                    <a:pt x="1748" y="100"/>
                  </a:lnTo>
                  <a:lnTo>
                    <a:pt x="1744" y="100"/>
                  </a:lnTo>
                  <a:lnTo>
                    <a:pt x="1744" y="100"/>
                  </a:lnTo>
                  <a:lnTo>
                    <a:pt x="1739" y="100"/>
                  </a:lnTo>
                  <a:close/>
                  <a:moveTo>
                    <a:pt x="1925" y="167"/>
                  </a:moveTo>
                  <a:lnTo>
                    <a:pt x="1925" y="167"/>
                  </a:lnTo>
                  <a:lnTo>
                    <a:pt x="1920" y="163"/>
                  </a:lnTo>
                  <a:lnTo>
                    <a:pt x="1916" y="163"/>
                  </a:lnTo>
                  <a:lnTo>
                    <a:pt x="1906" y="163"/>
                  </a:lnTo>
                  <a:lnTo>
                    <a:pt x="1906" y="163"/>
                  </a:lnTo>
                  <a:lnTo>
                    <a:pt x="1902" y="163"/>
                  </a:lnTo>
                  <a:lnTo>
                    <a:pt x="1902" y="163"/>
                  </a:lnTo>
                  <a:lnTo>
                    <a:pt x="1897" y="158"/>
                  </a:lnTo>
                  <a:lnTo>
                    <a:pt x="1897" y="158"/>
                  </a:lnTo>
                  <a:lnTo>
                    <a:pt x="1893" y="158"/>
                  </a:lnTo>
                  <a:lnTo>
                    <a:pt x="1893" y="158"/>
                  </a:lnTo>
                  <a:lnTo>
                    <a:pt x="1893" y="158"/>
                  </a:lnTo>
                  <a:lnTo>
                    <a:pt x="1893" y="163"/>
                  </a:lnTo>
                  <a:lnTo>
                    <a:pt x="1888" y="163"/>
                  </a:lnTo>
                  <a:lnTo>
                    <a:pt x="1888" y="163"/>
                  </a:lnTo>
                  <a:lnTo>
                    <a:pt x="1888" y="163"/>
                  </a:lnTo>
                  <a:lnTo>
                    <a:pt x="1888" y="163"/>
                  </a:lnTo>
                  <a:lnTo>
                    <a:pt x="1888" y="163"/>
                  </a:lnTo>
                  <a:lnTo>
                    <a:pt x="1888" y="167"/>
                  </a:lnTo>
                  <a:lnTo>
                    <a:pt x="1888" y="167"/>
                  </a:lnTo>
                  <a:lnTo>
                    <a:pt x="1888" y="167"/>
                  </a:lnTo>
                  <a:lnTo>
                    <a:pt x="1888" y="167"/>
                  </a:lnTo>
                  <a:lnTo>
                    <a:pt x="1888" y="167"/>
                  </a:lnTo>
                  <a:lnTo>
                    <a:pt x="1888" y="167"/>
                  </a:lnTo>
                  <a:lnTo>
                    <a:pt x="1888" y="167"/>
                  </a:lnTo>
                  <a:lnTo>
                    <a:pt x="1888" y="172"/>
                  </a:lnTo>
                  <a:lnTo>
                    <a:pt x="1888" y="172"/>
                  </a:lnTo>
                  <a:lnTo>
                    <a:pt x="1888" y="172"/>
                  </a:lnTo>
                  <a:lnTo>
                    <a:pt x="1888" y="176"/>
                  </a:lnTo>
                  <a:lnTo>
                    <a:pt x="1888" y="176"/>
                  </a:lnTo>
                  <a:lnTo>
                    <a:pt x="1888" y="176"/>
                  </a:lnTo>
                  <a:lnTo>
                    <a:pt x="1888" y="176"/>
                  </a:lnTo>
                  <a:lnTo>
                    <a:pt x="1893" y="176"/>
                  </a:lnTo>
                  <a:lnTo>
                    <a:pt x="1893" y="176"/>
                  </a:lnTo>
                  <a:lnTo>
                    <a:pt x="1902" y="176"/>
                  </a:lnTo>
                  <a:lnTo>
                    <a:pt x="1902" y="176"/>
                  </a:lnTo>
                  <a:lnTo>
                    <a:pt x="1906" y="176"/>
                  </a:lnTo>
                  <a:lnTo>
                    <a:pt x="1916" y="176"/>
                  </a:lnTo>
                  <a:lnTo>
                    <a:pt x="1920" y="181"/>
                  </a:lnTo>
                  <a:lnTo>
                    <a:pt x="1925" y="181"/>
                  </a:lnTo>
                  <a:lnTo>
                    <a:pt x="1925" y="176"/>
                  </a:lnTo>
                  <a:lnTo>
                    <a:pt x="1925" y="176"/>
                  </a:lnTo>
                  <a:lnTo>
                    <a:pt x="1925" y="176"/>
                  </a:lnTo>
                  <a:lnTo>
                    <a:pt x="1925" y="176"/>
                  </a:lnTo>
                  <a:lnTo>
                    <a:pt x="1929" y="176"/>
                  </a:lnTo>
                  <a:lnTo>
                    <a:pt x="1929" y="176"/>
                  </a:lnTo>
                  <a:lnTo>
                    <a:pt x="1925" y="172"/>
                  </a:lnTo>
                  <a:lnTo>
                    <a:pt x="1925" y="172"/>
                  </a:lnTo>
                  <a:lnTo>
                    <a:pt x="1929" y="172"/>
                  </a:lnTo>
                  <a:lnTo>
                    <a:pt x="1929" y="172"/>
                  </a:lnTo>
                  <a:lnTo>
                    <a:pt x="1929" y="172"/>
                  </a:lnTo>
                  <a:lnTo>
                    <a:pt x="1925" y="167"/>
                  </a:lnTo>
                  <a:lnTo>
                    <a:pt x="1925" y="167"/>
                  </a:lnTo>
                  <a:lnTo>
                    <a:pt x="1925" y="167"/>
                  </a:lnTo>
                  <a:lnTo>
                    <a:pt x="1925" y="167"/>
                  </a:lnTo>
                  <a:close/>
                  <a:moveTo>
                    <a:pt x="1825" y="77"/>
                  </a:moveTo>
                  <a:lnTo>
                    <a:pt x="1825" y="77"/>
                  </a:lnTo>
                  <a:lnTo>
                    <a:pt x="1825" y="77"/>
                  </a:lnTo>
                  <a:lnTo>
                    <a:pt x="1825" y="77"/>
                  </a:lnTo>
                  <a:lnTo>
                    <a:pt x="1821" y="77"/>
                  </a:lnTo>
                  <a:lnTo>
                    <a:pt x="1821" y="77"/>
                  </a:lnTo>
                  <a:lnTo>
                    <a:pt x="1825" y="77"/>
                  </a:lnTo>
                  <a:lnTo>
                    <a:pt x="1825" y="77"/>
                  </a:lnTo>
                  <a:lnTo>
                    <a:pt x="1830" y="77"/>
                  </a:lnTo>
                  <a:lnTo>
                    <a:pt x="1834" y="77"/>
                  </a:lnTo>
                  <a:lnTo>
                    <a:pt x="1839" y="77"/>
                  </a:lnTo>
                  <a:lnTo>
                    <a:pt x="1839" y="77"/>
                  </a:lnTo>
                  <a:lnTo>
                    <a:pt x="1839" y="77"/>
                  </a:lnTo>
                  <a:lnTo>
                    <a:pt x="1843" y="77"/>
                  </a:lnTo>
                  <a:lnTo>
                    <a:pt x="1843" y="77"/>
                  </a:lnTo>
                  <a:lnTo>
                    <a:pt x="1848" y="77"/>
                  </a:lnTo>
                  <a:lnTo>
                    <a:pt x="1848" y="77"/>
                  </a:lnTo>
                  <a:lnTo>
                    <a:pt x="1848" y="77"/>
                  </a:lnTo>
                  <a:lnTo>
                    <a:pt x="1848" y="72"/>
                  </a:lnTo>
                  <a:lnTo>
                    <a:pt x="1848" y="72"/>
                  </a:lnTo>
                  <a:lnTo>
                    <a:pt x="1848" y="72"/>
                  </a:lnTo>
                  <a:lnTo>
                    <a:pt x="1852" y="72"/>
                  </a:lnTo>
                  <a:lnTo>
                    <a:pt x="1852" y="72"/>
                  </a:lnTo>
                  <a:lnTo>
                    <a:pt x="1852" y="72"/>
                  </a:lnTo>
                  <a:lnTo>
                    <a:pt x="1852" y="72"/>
                  </a:lnTo>
                  <a:lnTo>
                    <a:pt x="1852" y="68"/>
                  </a:lnTo>
                  <a:lnTo>
                    <a:pt x="1852" y="68"/>
                  </a:lnTo>
                  <a:lnTo>
                    <a:pt x="1852" y="68"/>
                  </a:lnTo>
                  <a:lnTo>
                    <a:pt x="1848" y="68"/>
                  </a:lnTo>
                  <a:lnTo>
                    <a:pt x="1848" y="68"/>
                  </a:lnTo>
                  <a:lnTo>
                    <a:pt x="1848" y="68"/>
                  </a:lnTo>
                  <a:lnTo>
                    <a:pt x="1848" y="68"/>
                  </a:lnTo>
                  <a:lnTo>
                    <a:pt x="1848" y="68"/>
                  </a:lnTo>
                  <a:lnTo>
                    <a:pt x="1848" y="63"/>
                  </a:lnTo>
                  <a:lnTo>
                    <a:pt x="1848" y="63"/>
                  </a:lnTo>
                  <a:lnTo>
                    <a:pt x="1843" y="63"/>
                  </a:lnTo>
                  <a:lnTo>
                    <a:pt x="1843" y="63"/>
                  </a:lnTo>
                  <a:lnTo>
                    <a:pt x="1843" y="63"/>
                  </a:lnTo>
                  <a:lnTo>
                    <a:pt x="1839" y="63"/>
                  </a:lnTo>
                  <a:lnTo>
                    <a:pt x="1834" y="63"/>
                  </a:lnTo>
                  <a:lnTo>
                    <a:pt x="1834" y="63"/>
                  </a:lnTo>
                  <a:lnTo>
                    <a:pt x="1834" y="63"/>
                  </a:lnTo>
                  <a:lnTo>
                    <a:pt x="1834" y="63"/>
                  </a:lnTo>
                  <a:lnTo>
                    <a:pt x="1830" y="63"/>
                  </a:lnTo>
                  <a:lnTo>
                    <a:pt x="1830" y="63"/>
                  </a:lnTo>
                  <a:lnTo>
                    <a:pt x="1830" y="68"/>
                  </a:lnTo>
                  <a:lnTo>
                    <a:pt x="1825" y="68"/>
                  </a:lnTo>
                  <a:lnTo>
                    <a:pt x="1825" y="68"/>
                  </a:lnTo>
                  <a:lnTo>
                    <a:pt x="1825" y="68"/>
                  </a:lnTo>
                  <a:lnTo>
                    <a:pt x="1825" y="68"/>
                  </a:lnTo>
                  <a:lnTo>
                    <a:pt x="1825" y="68"/>
                  </a:lnTo>
                  <a:lnTo>
                    <a:pt x="1825" y="68"/>
                  </a:lnTo>
                  <a:lnTo>
                    <a:pt x="1825" y="68"/>
                  </a:lnTo>
                  <a:lnTo>
                    <a:pt x="1825" y="68"/>
                  </a:lnTo>
                  <a:lnTo>
                    <a:pt x="1825" y="72"/>
                  </a:lnTo>
                  <a:lnTo>
                    <a:pt x="1825" y="72"/>
                  </a:lnTo>
                  <a:lnTo>
                    <a:pt x="1830" y="72"/>
                  </a:lnTo>
                  <a:lnTo>
                    <a:pt x="1830" y="72"/>
                  </a:lnTo>
                  <a:lnTo>
                    <a:pt x="1830" y="72"/>
                  </a:lnTo>
                  <a:lnTo>
                    <a:pt x="1830" y="72"/>
                  </a:lnTo>
                  <a:lnTo>
                    <a:pt x="1830" y="72"/>
                  </a:lnTo>
                  <a:lnTo>
                    <a:pt x="1825" y="72"/>
                  </a:lnTo>
                  <a:lnTo>
                    <a:pt x="1825" y="72"/>
                  </a:lnTo>
                  <a:lnTo>
                    <a:pt x="1821" y="72"/>
                  </a:lnTo>
                  <a:lnTo>
                    <a:pt x="1821" y="72"/>
                  </a:lnTo>
                  <a:lnTo>
                    <a:pt x="1821" y="77"/>
                  </a:lnTo>
                  <a:lnTo>
                    <a:pt x="1825" y="77"/>
                  </a:lnTo>
                  <a:close/>
                  <a:moveTo>
                    <a:pt x="1604" y="2518"/>
                  </a:moveTo>
                  <a:lnTo>
                    <a:pt x="1599" y="2514"/>
                  </a:lnTo>
                  <a:lnTo>
                    <a:pt x="1599" y="2514"/>
                  </a:lnTo>
                  <a:lnTo>
                    <a:pt x="1595" y="2514"/>
                  </a:lnTo>
                  <a:lnTo>
                    <a:pt x="1595" y="2514"/>
                  </a:lnTo>
                  <a:lnTo>
                    <a:pt x="1599" y="2514"/>
                  </a:lnTo>
                  <a:lnTo>
                    <a:pt x="1599" y="2518"/>
                  </a:lnTo>
                  <a:lnTo>
                    <a:pt x="1599" y="2518"/>
                  </a:lnTo>
                  <a:lnTo>
                    <a:pt x="1599" y="2523"/>
                  </a:lnTo>
                  <a:lnTo>
                    <a:pt x="1604" y="2527"/>
                  </a:lnTo>
                  <a:lnTo>
                    <a:pt x="1604" y="2527"/>
                  </a:lnTo>
                  <a:lnTo>
                    <a:pt x="1604" y="2527"/>
                  </a:lnTo>
                  <a:lnTo>
                    <a:pt x="1608" y="2523"/>
                  </a:lnTo>
                  <a:lnTo>
                    <a:pt x="1608" y="2523"/>
                  </a:lnTo>
                  <a:lnTo>
                    <a:pt x="1604" y="2518"/>
                  </a:lnTo>
                  <a:lnTo>
                    <a:pt x="1604" y="2518"/>
                  </a:lnTo>
                  <a:close/>
                  <a:moveTo>
                    <a:pt x="1708" y="172"/>
                  </a:moveTo>
                  <a:lnTo>
                    <a:pt x="1708" y="172"/>
                  </a:lnTo>
                  <a:lnTo>
                    <a:pt x="1708" y="172"/>
                  </a:lnTo>
                  <a:lnTo>
                    <a:pt x="1712" y="172"/>
                  </a:lnTo>
                  <a:lnTo>
                    <a:pt x="1712" y="172"/>
                  </a:lnTo>
                  <a:lnTo>
                    <a:pt x="1712" y="167"/>
                  </a:lnTo>
                  <a:lnTo>
                    <a:pt x="1717" y="167"/>
                  </a:lnTo>
                  <a:lnTo>
                    <a:pt x="1717" y="167"/>
                  </a:lnTo>
                  <a:lnTo>
                    <a:pt x="1717" y="167"/>
                  </a:lnTo>
                  <a:lnTo>
                    <a:pt x="1717" y="167"/>
                  </a:lnTo>
                  <a:lnTo>
                    <a:pt x="1712" y="167"/>
                  </a:lnTo>
                  <a:lnTo>
                    <a:pt x="1708" y="167"/>
                  </a:lnTo>
                  <a:lnTo>
                    <a:pt x="1708" y="167"/>
                  </a:lnTo>
                  <a:lnTo>
                    <a:pt x="1708" y="167"/>
                  </a:lnTo>
                  <a:lnTo>
                    <a:pt x="1708" y="167"/>
                  </a:lnTo>
                  <a:lnTo>
                    <a:pt x="1712" y="167"/>
                  </a:lnTo>
                  <a:lnTo>
                    <a:pt x="1712" y="163"/>
                  </a:lnTo>
                  <a:lnTo>
                    <a:pt x="1712" y="163"/>
                  </a:lnTo>
                  <a:lnTo>
                    <a:pt x="1712" y="163"/>
                  </a:lnTo>
                  <a:lnTo>
                    <a:pt x="1712" y="163"/>
                  </a:lnTo>
                  <a:lnTo>
                    <a:pt x="1712" y="163"/>
                  </a:lnTo>
                  <a:lnTo>
                    <a:pt x="1712" y="163"/>
                  </a:lnTo>
                  <a:lnTo>
                    <a:pt x="1712" y="163"/>
                  </a:lnTo>
                  <a:lnTo>
                    <a:pt x="1712" y="158"/>
                  </a:lnTo>
                  <a:lnTo>
                    <a:pt x="1712" y="158"/>
                  </a:lnTo>
                  <a:lnTo>
                    <a:pt x="1712" y="158"/>
                  </a:lnTo>
                  <a:lnTo>
                    <a:pt x="1708" y="158"/>
                  </a:lnTo>
                  <a:lnTo>
                    <a:pt x="1708" y="158"/>
                  </a:lnTo>
                  <a:lnTo>
                    <a:pt x="1708" y="158"/>
                  </a:lnTo>
                  <a:lnTo>
                    <a:pt x="1703" y="163"/>
                  </a:lnTo>
                  <a:lnTo>
                    <a:pt x="1703" y="158"/>
                  </a:lnTo>
                  <a:lnTo>
                    <a:pt x="1703" y="158"/>
                  </a:lnTo>
                  <a:lnTo>
                    <a:pt x="1703" y="158"/>
                  </a:lnTo>
                  <a:lnTo>
                    <a:pt x="1703" y="158"/>
                  </a:lnTo>
                  <a:lnTo>
                    <a:pt x="1703" y="158"/>
                  </a:lnTo>
                  <a:lnTo>
                    <a:pt x="1708" y="158"/>
                  </a:lnTo>
                  <a:lnTo>
                    <a:pt x="1717" y="154"/>
                  </a:lnTo>
                  <a:lnTo>
                    <a:pt x="1721" y="154"/>
                  </a:lnTo>
                  <a:lnTo>
                    <a:pt x="1721" y="154"/>
                  </a:lnTo>
                  <a:lnTo>
                    <a:pt x="1726" y="154"/>
                  </a:lnTo>
                  <a:lnTo>
                    <a:pt x="1726" y="154"/>
                  </a:lnTo>
                  <a:lnTo>
                    <a:pt x="1726" y="154"/>
                  </a:lnTo>
                  <a:lnTo>
                    <a:pt x="1721" y="154"/>
                  </a:lnTo>
                  <a:lnTo>
                    <a:pt x="1721" y="154"/>
                  </a:lnTo>
                  <a:lnTo>
                    <a:pt x="1721" y="154"/>
                  </a:lnTo>
                  <a:lnTo>
                    <a:pt x="1721" y="154"/>
                  </a:lnTo>
                  <a:lnTo>
                    <a:pt x="1721" y="149"/>
                  </a:lnTo>
                  <a:lnTo>
                    <a:pt x="1721" y="149"/>
                  </a:lnTo>
                  <a:lnTo>
                    <a:pt x="1726" y="149"/>
                  </a:lnTo>
                  <a:lnTo>
                    <a:pt x="1726" y="149"/>
                  </a:lnTo>
                  <a:lnTo>
                    <a:pt x="1726" y="149"/>
                  </a:lnTo>
                  <a:lnTo>
                    <a:pt x="1730" y="149"/>
                  </a:lnTo>
                  <a:lnTo>
                    <a:pt x="1730" y="149"/>
                  </a:lnTo>
                  <a:lnTo>
                    <a:pt x="1730" y="149"/>
                  </a:lnTo>
                  <a:lnTo>
                    <a:pt x="1730" y="149"/>
                  </a:lnTo>
                  <a:lnTo>
                    <a:pt x="1730" y="149"/>
                  </a:lnTo>
                  <a:lnTo>
                    <a:pt x="1735" y="145"/>
                  </a:lnTo>
                  <a:lnTo>
                    <a:pt x="1735" y="145"/>
                  </a:lnTo>
                  <a:lnTo>
                    <a:pt x="1735" y="145"/>
                  </a:lnTo>
                  <a:lnTo>
                    <a:pt x="1730" y="145"/>
                  </a:lnTo>
                  <a:lnTo>
                    <a:pt x="1730" y="145"/>
                  </a:lnTo>
                  <a:lnTo>
                    <a:pt x="1730" y="145"/>
                  </a:lnTo>
                  <a:lnTo>
                    <a:pt x="1726" y="145"/>
                  </a:lnTo>
                  <a:lnTo>
                    <a:pt x="1726" y="145"/>
                  </a:lnTo>
                  <a:lnTo>
                    <a:pt x="1721" y="145"/>
                  </a:lnTo>
                  <a:lnTo>
                    <a:pt x="1721" y="145"/>
                  </a:lnTo>
                  <a:lnTo>
                    <a:pt x="1717" y="145"/>
                  </a:lnTo>
                  <a:lnTo>
                    <a:pt x="1712" y="145"/>
                  </a:lnTo>
                  <a:lnTo>
                    <a:pt x="1712" y="145"/>
                  </a:lnTo>
                  <a:lnTo>
                    <a:pt x="1708" y="140"/>
                  </a:lnTo>
                  <a:lnTo>
                    <a:pt x="1708" y="140"/>
                  </a:lnTo>
                  <a:lnTo>
                    <a:pt x="1703" y="145"/>
                  </a:lnTo>
                  <a:lnTo>
                    <a:pt x="1703" y="145"/>
                  </a:lnTo>
                  <a:lnTo>
                    <a:pt x="1703" y="145"/>
                  </a:lnTo>
                  <a:lnTo>
                    <a:pt x="1708" y="145"/>
                  </a:lnTo>
                  <a:lnTo>
                    <a:pt x="1708" y="145"/>
                  </a:lnTo>
                  <a:lnTo>
                    <a:pt x="1708" y="145"/>
                  </a:lnTo>
                  <a:lnTo>
                    <a:pt x="1703" y="145"/>
                  </a:lnTo>
                  <a:lnTo>
                    <a:pt x="1703" y="145"/>
                  </a:lnTo>
                  <a:lnTo>
                    <a:pt x="1703" y="145"/>
                  </a:lnTo>
                  <a:lnTo>
                    <a:pt x="1699" y="145"/>
                  </a:lnTo>
                  <a:lnTo>
                    <a:pt x="1694" y="145"/>
                  </a:lnTo>
                  <a:lnTo>
                    <a:pt x="1694" y="145"/>
                  </a:lnTo>
                  <a:lnTo>
                    <a:pt x="1694" y="145"/>
                  </a:lnTo>
                  <a:lnTo>
                    <a:pt x="1694" y="145"/>
                  </a:lnTo>
                  <a:lnTo>
                    <a:pt x="1694" y="145"/>
                  </a:lnTo>
                  <a:lnTo>
                    <a:pt x="1694" y="149"/>
                  </a:lnTo>
                  <a:lnTo>
                    <a:pt x="1694" y="149"/>
                  </a:lnTo>
                  <a:lnTo>
                    <a:pt x="1694" y="149"/>
                  </a:lnTo>
                  <a:lnTo>
                    <a:pt x="1694" y="149"/>
                  </a:lnTo>
                  <a:lnTo>
                    <a:pt x="1694" y="149"/>
                  </a:lnTo>
                  <a:lnTo>
                    <a:pt x="1694" y="149"/>
                  </a:lnTo>
                  <a:lnTo>
                    <a:pt x="1694" y="149"/>
                  </a:lnTo>
                  <a:lnTo>
                    <a:pt x="1690" y="149"/>
                  </a:lnTo>
                  <a:lnTo>
                    <a:pt x="1690" y="149"/>
                  </a:lnTo>
                  <a:lnTo>
                    <a:pt x="1690" y="149"/>
                  </a:lnTo>
                  <a:lnTo>
                    <a:pt x="1685" y="149"/>
                  </a:lnTo>
                  <a:lnTo>
                    <a:pt x="1685" y="149"/>
                  </a:lnTo>
                  <a:lnTo>
                    <a:pt x="1685" y="149"/>
                  </a:lnTo>
                  <a:lnTo>
                    <a:pt x="1685" y="149"/>
                  </a:lnTo>
                  <a:lnTo>
                    <a:pt x="1685" y="149"/>
                  </a:lnTo>
                  <a:lnTo>
                    <a:pt x="1685" y="149"/>
                  </a:lnTo>
                  <a:lnTo>
                    <a:pt x="1685" y="154"/>
                  </a:lnTo>
                  <a:lnTo>
                    <a:pt x="1685" y="154"/>
                  </a:lnTo>
                  <a:lnTo>
                    <a:pt x="1690" y="154"/>
                  </a:lnTo>
                  <a:lnTo>
                    <a:pt x="1690" y="154"/>
                  </a:lnTo>
                  <a:lnTo>
                    <a:pt x="1694" y="154"/>
                  </a:lnTo>
                  <a:lnTo>
                    <a:pt x="1694" y="154"/>
                  </a:lnTo>
                  <a:lnTo>
                    <a:pt x="1694" y="154"/>
                  </a:lnTo>
                  <a:lnTo>
                    <a:pt x="1694" y="154"/>
                  </a:lnTo>
                  <a:lnTo>
                    <a:pt x="1694" y="154"/>
                  </a:lnTo>
                  <a:lnTo>
                    <a:pt x="1690" y="154"/>
                  </a:lnTo>
                  <a:lnTo>
                    <a:pt x="1690" y="154"/>
                  </a:lnTo>
                  <a:lnTo>
                    <a:pt x="1690" y="154"/>
                  </a:lnTo>
                  <a:lnTo>
                    <a:pt x="1690" y="154"/>
                  </a:lnTo>
                  <a:lnTo>
                    <a:pt x="1690" y="154"/>
                  </a:lnTo>
                  <a:lnTo>
                    <a:pt x="1685" y="154"/>
                  </a:lnTo>
                  <a:lnTo>
                    <a:pt x="1685" y="154"/>
                  </a:lnTo>
                  <a:lnTo>
                    <a:pt x="1685" y="154"/>
                  </a:lnTo>
                  <a:lnTo>
                    <a:pt x="1685" y="154"/>
                  </a:lnTo>
                  <a:lnTo>
                    <a:pt x="1685" y="154"/>
                  </a:lnTo>
                  <a:lnTo>
                    <a:pt x="1690" y="154"/>
                  </a:lnTo>
                  <a:lnTo>
                    <a:pt x="1690" y="158"/>
                  </a:lnTo>
                  <a:lnTo>
                    <a:pt x="1685" y="158"/>
                  </a:lnTo>
                  <a:lnTo>
                    <a:pt x="1685" y="158"/>
                  </a:lnTo>
                  <a:lnTo>
                    <a:pt x="1685" y="158"/>
                  </a:lnTo>
                  <a:lnTo>
                    <a:pt x="1685" y="158"/>
                  </a:lnTo>
                  <a:lnTo>
                    <a:pt x="1685" y="158"/>
                  </a:lnTo>
                  <a:lnTo>
                    <a:pt x="1685" y="158"/>
                  </a:lnTo>
                  <a:lnTo>
                    <a:pt x="1685" y="158"/>
                  </a:lnTo>
                  <a:lnTo>
                    <a:pt x="1685" y="158"/>
                  </a:lnTo>
                  <a:lnTo>
                    <a:pt x="1681" y="163"/>
                  </a:lnTo>
                  <a:lnTo>
                    <a:pt x="1681" y="163"/>
                  </a:lnTo>
                  <a:lnTo>
                    <a:pt x="1676" y="163"/>
                  </a:lnTo>
                  <a:lnTo>
                    <a:pt x="1672" y="163"/>
                  </a:lnTo>
                  <a:lnTo>
                    <a:pt x="1672" y="163"/>
                  </a:lnTo>
                  <a:lnTo>
                    <a:pt x="1667" y="163"/>
                  </a:lnTo>
                  <a:lnTo>
                    <a:pt x="1667" y="163"/>
                  </a:lnTo>
                  <a:lnTo>
                    <a:pt x="1672" y="158"/>
                  </a:lnTo>
                  <a:lnTo>
                    <a:pt x="1672" y="158"/>
                  </a:lnTo>
                  <a:lnTo>
                    <a:pt x="1672" y="158"/>
                  </a:lnTo>
                  <a:lnTo>
                    <a:pt x="1672" y="158"/>
                  </a:lnTo>
                  <a:lnTo>
                    <a:pt x="1672" y="158"/>
                  </a:lnTo>
                  <a:lnTo>
                    <a:pt x="1672" y="158"/>
                  </a:lnTo>
                  <a:lnTo>
                    <a:pt x="1672" y="154"/>
                  </a:lnTo>
                  <a:lnTo>
                    <a:pt x="1672" y="154"/>
                  </a:lnTo>
                  <a:lnTo>
                    <a:pt x="1667" y="154"/>
                  </a:lnTo>
                  <a:lnTo>
                    <a:pt x="1667" y="154"/>
                  </a:lnTo>
                  <a:lnTo>
                    <a:pt x="1663" y="154"/>
                  </a:lnTo>
                  <a:lnTo>
                    <a:pt x="1663" y="158"/>
                  </a:lnTo>
                  <a:lnTo>
                    <a:pt x="1658" y="158"/>
                  </a:lnTo>
                  <a:lnTo>
                    <a:pt x="1658" y="158"/>
                  </a:lnTo>
                  <a:lnTo>
                    <a:pt x="1658" y="158"/>
                  </a:lnTo>
                  <a:lnTo>
                    <a:pt x="1658" y="158"/>
                  </a:lnTo>
                  <a:lnTo>
                    <a:pt x="1653" y="163"/>
                  </a:lnTo>
                  <a:lnTo>
                    <a:pt x="1653" y="163"/>
                  </a:lnTo>
                  <a:lnTo>
                    <a:pt x="1658" y="167"/>
                  </a:lnTo>
                  <a:lnTo>
                    <a:pt x="1658" y="167"/>
                  </a:lnTo>
                  <a:lnTo>
                    <a:pt x="1658" y="167"/>
                  </a:lnTo>
                  <a:lnTo>
                    <a:pt x="1658" y="167"/>
                  </a:lnTo>
                  <a:lnTo>
                    <a:pt x="1658" y="167"/>
                  </a:lnTo>
                  <a:lnTo>
                    <a:pt x="1658" y="167"/>
                  </a:lnTo>
                  <a:lnTo>
                    <a:pt x="1658" y="167"/>
                  </a:lnTo>
                  <a:lnTo>
                    <a:pt x="1658" y="167"/>
                  </a:lnTo>
                  <a:lnTo>
                    <a:pt x="1663" y="167"/>
                  </a:lnTo>
                  <a:lnTo>
                    <a:pt x="1663" y="167"/>
                  </a:lnTo>
                  <a:lnTo>
                    <a:pt x="1663" y="172"/>
                  </a:lnTo>
                  <a:lnTo>
                    <a:pt x="1663" y="172"/>
                  </a:lnTo>
                  <a:lnTo>
                    <a:pt x="1663" y="172"/>
                  </a:lnTo>
                  <a:lnTo>
                    <a:pt x="1663" y="172"/>
                  </a:lnTo>
                  <a:lnTo>
                    <a:pt x="1663" y="172"/>
                  </a:lnTo>
                  <a:lnTo>
                    <a:pt x="1663" y="172"/>
                  </a:lnTo>
                  <a:lnTo>
                    <a:pt x="1663" y="176"/>
                  </a:lnTo>
                  <a:lnTo>
                    <a:pt x="1663" y="176"/>
                  </a:lnTo>
                  <a:lnTo>
                    <a:pt x="1663" y="181"/>
                  </a:lnTo>
                  <a:lnTo>
                    <a:pt x="1663" y="181"/>
                  </a:lnTo>
                  <a:lnTo>
                    <a:pt x="1663" y="185"/>
                  </a:lnTo>
                  <a:lnTo>
                    <a:pt x="1663" y="185"/>
                  </a:lnTo>
                  <a:lnTo>
                    <a:pt x="1663" y="185"/>
                  </a:lnTo>
                  <a:lnTo>
                    <a:pt x="1663" y="185"/>
                  </a:lnTo>
                  <a:lnTo>
                    <a:pt x="1663" y="185"/>
                  </a:lnTo>
                  <a:lnTo>
                    <a:pt x="1663" y="185"/>
                  </a:lnTo>
                  <a:lnTo>
                    <a:pt x="1663" y="190"/>
                  </a:lnTo>
                  <a:lnTo>
                    <a:pt x="1667" y="190"/>
                  </a:lnTo>
                  <a:lnTo>
                    <a:pt x="1667" y="190"/>
                  </a:lnTo>
                  <a:lnTo>
                    <a:pt x="1667" y="190"/>
                  </a:lnTo>
                  <a:lnTo>
                    <a:pt x="1672" y="185"/>
                  </a:lnTo>
                  <a:lnTo>
                    <a:pt x="1672" y="185"/>
                  </a:lnTo>
                  <a:lnTo>
                    <a:pt x="1676" y="185"/>
                  </a:lnTo>
                  <a:lnTo>
                    <a:pt x="1676" y="185"/>
                  </a:lnTo>
                  <a:lnTo>
                    <a:pt x="1676" y="181"/>
                  </a:lnTo>
                  <a:lnTo>
                    <a:pt x="1676" y="181"/>
                  </a:lnTo>
                  <a:lnTo>
                    <a:pt x="1681" y="181"/>
                  </a:lnTo>
                  <a:lnTo>
                    <a:pt x="1681" y="181"/>
                  </a:lnTo>
                  <a:lnTo>
                    <a:pt x="1681" y="181"/>
                  </a:lnTo>
                  <a:lnTo>
                    <a:pt x="1681" y="181"/>
                  </a:lnTo>
                  <a:lnTo>
                    <a:pt x="1681" y="181"/>
                  </a:lnTo>
                  <a:lnTo>
                    <a:pt x="1681" y="181"/>
                  </a:lnTo>
                  <a:lnTo>
                    <a:pt x="1676" y="181"/>
                  </a:lnTo>
                  <a:lnTo>
                    <a:pt x="1676" y="181"/>
                  </a:lnTo>
                  <a:lnTo>
                    <a:pt x="1676" y="181"/>
                  </a:lnTo>
                  <a:lnTo>
                    <a:pt x="1685" y="185"/>
                  </a:lnTo>
                  <a:lnTo>
                    <a:pt x="1685" y="185"/>
                  </a:lnTo>
                  <a:lnTo>
                    <a:pt x="1690" y="185"/>
                  </a:lnTo>
                  <a:lnTo>
                    <a:pt x="1690" y="181"/>
                  </a:lnTo>
                  <a:lnTo>
                    <a:pt x="1690" y="181"/>
                  </a:lnTo>
                  <a:lnTo>
                    <a:pt x="1694" y="181"/>
                  </a:lnTo>
                  <a:lnTo>
                    <a:pt x="1699" y="181"/>
                  </a:lnTo>
                  <a:lnTo>
                    <a:pt x="1699" y="181"/>
                  </a:lnTo>
                  <a:lnTo>
                    <a:pt x="1699" y="176"/>
                  </a:lnTo>
                  <a:lnTo>
                    <a:pt x="1699" y="176"/>
                  </a:lnTo>
                  <a:lnTo>
                    <a:pt x="1699" y="176"/>
                  </a:lnTo>
                  <a:lnTo>
                    <a:pt x="1703" y="176"/>
                  </a:lnTo>
                  <a:lnTo>
                    <a:pt x="1703" y="176"/>
                  </a:lnTo>
                  <a:lnTo>
                    <a:pt x="1703" y="176"/>
                  </a:lnTo>
                  <a:lnTo>
                    <a:pt x="1703" y="176"/>
                  </a:lnTo>
                  <a:lnTo>
                    <a:pt x="1703" y="172"/>
                  </a:lnTo>
                  <a:lnTo>
                    <a:pt x="1703" y="172"/>
                  </a:lnTo>
                  <a:lnTo>
                    <a:pt x="1703" y="172"/>
                  </a:lnTo>
                  <a:lnTo>
                    <a:pt x="1708" y="172"/>
                  </a:lnTo>
                  <a:close/>
                  <a:moveTo>
                    <a:pt x="1848" y="45"/>
                  </a:moveTo>
                  <a:lnTo>
                    <a:pt x="1848" y="45"/>
                  </a:lnTo>
                  <a:lnTo>
                    <a:pt x="1848" y="45"/>
                  </a:lnTo>
                  <a:lnTo>
                    <a:pt x="1848" y="45"/>
                  </a:lnTo>
                  <a:lnTo>
                    <a:pt x="1848" y="45"/>
                  </a:lnTo>
                  <a:lnTo>
                    <a:pt x="1848" y="45"/>
                  </a:lnTo>
                  <a:lnTo>
                    <a:pt x="1848" y="45"/>
                  </a:lnTo>
                  <a:lnTo>
                    <a:pt x="1852" y="45"/>
                  </a:lnTo>
                  <a:lnTo>
                    <a:pt x="1852" y="45"/>
                  </a:lnTo>
                  <a:lnTo>
                    <a:pt x="1852" y="45"/>
                  </a:lnTo>
                  <a:lnTo>
                    <a:pt x="1852" y="45"/>
                  </a:lnTo>
                  <a:lnTo>
                    <a:pt x="1857" y="41"/>
                  </a:lnTo>
                  <a:lnTo>
                    <a:pt x="1857" y="41"/>
                  </a:lnTo>
                  <a:lnTo>
                    <a:pt x="1857" y="41"/>
                  </a:lnTo>
                  <a:lnTo>
                    <a:pt x="1857" y="41"/>
                  </a:lnTo>
                  <a:lnTo>
                    <a:pt x="1857" y="41"/>
                  </a:lnTo>
                  <a:lnTo>
                    <a:pt x="1857" y="41"/>
                  </a:lnTo>
                  <a:lnTo>
                    <a:pt x="1852" y="41"/>
                  </a:lnTo>
                  <a:lnTo>
                    <a:pt x="1852" y="41"/>
                  </a:lnTo>
                  <a:lnTo>
                    <a:pt x="1848" y="41"/>
                  </a:lnTo>
                  <a:lnTo>
                    <a:pt x="1848" y="41"/>
                  </a:lnTo>
                  <a:lnTo>
                    <a:pt x="1848" y="41"/>
                  </a:lnTo>
                  <a:lnTo>
                    <a:pt x="1848" y="41"/>
                  </a:lnTo>
                  <a:lnTo>
                    <a:pt x="1843" y="41"/>
                  </a:lnTo>
                  <a:lnTo>
                    <a:pt x="1843" y="41"/>
                  </a:lnTo>
                  <a:lnTo>
                    <a:pt x="1843" y="41"/>
                  </a:lnTo>
                  <a:lnTo>
                    <a:pt x="1848" y="45"/>
                  </a:lnTo>
                  <a:close/>
                  <a:moveTo>
                    <a:pt x="4906" y="1610"/>
                  </a:moveTo>
                  <a:lnTo>
                    <a:pt x="4911" y="1610"/>
                  </a:lnTo>
                  <a:lnTo>
                    <a:pt x="4915" y="1610"/>
                  </a:lnTo>
                  <a:lnTo>
                    <a:pt x="4915" y="1610"/>
                  </a:lnTo>
                  <a:lnTo>
                    <a:pt x="4915" y="1610"/>
                  </a:lnTo>
                  <a:lnTo>
                    <a:pt x="4915" y="1610"/>
                  </a:lnTo>
                  <a:lnTo>
                    <a:pt x="4915" y="1610"/>
                  </a:lnTo>
                  <a:lnTo>
                    <a:pt x="4915" y="1610"/>
                  </a:lnTo>
                  <a:lnTo>
                    <a:pt x="4915" y="1605"/>
                  </a:lnTo>
                  <a:lnTo>
                    <a:pt x="4911" y="1605"/>
                  </a:lnTo>
                  <a:lnTo>
                    <a:pt x="4911" y="1605"/>
                  </a:lnTo>
                  <a:lnTo>
                    <a:pt x="4906" y="1605"/>
                  </a:lnTo>
                  <a:lnTo>
                    <a:pt x="4906" y="1605"/>
                  </a:lnTo>
                  <a:lnTo>
                    <a:pt x="4906" y="1610"/>
                  </a:lnTo>
                  <a:lnTo>
                    <a:pt x="4906" y="1610"/>
                  </a:lnTo>
                  <a:lnTo>
                    <a:pt x="4906" y="1610"/>
                  </a:lnTo>
                  <a:lnTo>
                    <a:pt x="4906" y="1610"/>
                  </a:lnTo>
                  <a:close/>
                  <a:moveTo>
                    <a:pt x="4920" y="1533"/>
                  </a:moveTo>
                  <a:lnTo>
                    <a:pt x="4920" y="1533"/>
                  </a:lnTo>
                  <a:lnTo>
                    <a:pt x="4924" y="1533"/>
                  </a:lnTo>
                  <a:lnTo>
                    <a:pt x="4924" y="1533"/>
                  </a:lnTo>
                  <a:lnTo>
                    <a:pt x="4924" y="1528"/>
                  </a:lnTo>
                  <a:lnTo>
                    <a:pt x="4924" y="1524"/>
                  </a:lnTo>
                  <a:lnTo>
                    <a:pt x="4924" y="1524"/>
                  </a:lnTo>
                  <a:lnTo>
                    <a:pt x="4924" y="1524"/>
                  </a:lnTo>
                  <a:lnTo>
                    <a:pt x="4924" y="1524"/>
                  </a:lnTo>
                  <a:lnTo>
                    <a:pt x="4920" y="1524"/>
                  </a:lnTo>
                  <a:lnTo>
                    <a:pt x="4920" y="1528"/>
                  </a:lnTo>
                  <a:lnTo>
                    <a:pt x="4920" y="1533"/>
                  </a:lnTo>
                  <a:close/>
                  <a:moveTo>
                    <a:pt x="4924" y="1546"/>
                  </a:moveTo>
                  <a:lnTo>
                    <a:pt x="4920" y="1546"/>
                  </a:lnTo>
                  <a:lnTo>
                    <a:pt x="4920" y="1551"/>
                  </a:lnTo>
                  <a:lnTo>
                    <a:pt x="4920" y="1551"/>
                  </a:lnTo>
                  <a:lnTo>
                    <a:pt x="4920" y="1551"/>
                  </a:lnTo>
                  <a:lnTo>
                    <a:pt x="4915" y="1551"/>
                  </a:lnTo>
                  <a:lnTo>
                    <a:pt x="4915" y="1551"/>
                  </a:lnTo>
                  <a:lnTo>
                    <a:pt x="4915" y="1555"/>
                  </a:lnTo>
                  <a:lnTo>
                    <a:pt x="4915" y="1555"/>
                  </a:lnTo>
                  <a:lnTo>
                    <a:pt x="4915" y="1560"/>
                  </a:lnTo>
                  <a:lnTo>
                    <a:pt x="4911" y="1560"/>
                  </a:lnTo>
                  <a:lnTo>
                    <a:pt x="4911" y="1560"/>
                  </a:lnTo>
                  <a:lnTo>
                    <a:pt x="4911" y="1560"/>
                  </a:lnTo>
                  <a:lnTo>
                    <a:pt x="4911" y="1555"/>
                  </a:lnTo>
                  <a:lnTo>
                    <a:pt x="4911" y="1555"/>
                  </a:lnTo>
                  <a:lnTo>
                    <a:pt x="4911" y="1555"/>
                  </a:lnTo>
                  <a:lnTo>
                    <a:pt x="4911" y="1555"/>
                  </a:lnTo>
                  <a:lnTo>
                    <a:pt x="4911" y="1551"/>
                  </a:lnTo>
                  <a:lnTo>
                    <a:pt x="4915" y="1551"/>
                  </a:lnTo>
                  <a:lnTo>
                    <a:pt x="4915" y="1546"/>
                  </a:lnTo>
                  <a:lnTo>
                    <a:pt x="4915" y="1546"/>
                  </a:lnTo>
                  <a:lnTo>
                    <a:pt x="4915" y="1542"/>
                  </a:lnTo>
                  <a:lnTo>
                    <a:pt x="4915" y="1542"/>
                  </a:lnTo>
                  <a:lnTo>
                    <a:pt x="4915" y="1537"/>
                  </a:lnTo>
                  <a:lnTo>
                    <a:pt x="4911" y="1537"/>
                  </a:lnTo>
                  <a:lnTo>
                    <a:pt x="4911" y="1537"/>
                  </a:lnTo>
                  <a:lnTo>
                    <a:pt x="4911" y="1537"/>
                  </a:lnTo>
                  <a:lnTo>
                    <a:pt x="4915" y="1533"/>
                  </a:lnTo>
                  <a:lnTo>
                    <a:pt x="4915" y="1533"/>
                  </a:lnTo>
                  <a:lnTo>
                    <a:pt x="4915" y="1528"/>
                  </a:lnTo>
                  <a:lnTo>
                    <a:pt x="4915" y="1533"/>
                  </a:lnTo>
                  <a:lnTo>
                    <a:pt x="4911" y="1533"/>
                  </a:lnTo>
                  <a:lnTo>
                    <a:pt x="4911" y="1537"/>
                  </a:lnTo>
                  <a:lnTo>
                    <a:pt x="4906" y="1537"/>
                  </a:lnTo>
                  <a:lnTo>
                    <a:pt x="4906" y="1542"/>
                  </a:lnTo>
                  <a:lnTo>
                    <a:pt x="4906" y="1542"/>
                  </a:lnTo>
                  <a:lnTo>
                    <a:pt x="4906" y="1542"/>
                  </a:lnTo>
                  <a:lnTo>
                    <a:pt x="4906" y="1546"/>
                  </a:lnTo>
                  <a:lnTo>
                    <a:pt x="4906" y="1551"/>
                  </a:lnTo>
                  <a:lnTo>
                    <a:pt x="4906" y="1551"/>
                  </a:lnTo>
                  <a:lnTo>
                    <a:pt x="4906" y="1555"/>
                  </a:lnTo>
                  <a:lnTo>
                    <a:pt x="4906" y="1560"/>
                  </a:lnTo>
                  <a:lnTo>
                    <a:pt x="4906" y="1560"/>
                  </a:lnTo>
                  <a:lnTo>
                    <a:pt x="4906" y="1560"/>
                  </a:lnTo>
                  <a:lnTo>
                    <a:pt x="4906" y="1560"/>
                  </a:lnTo>
                  <a:lnTo>
                    <a:pt x="4906" y="1564"/>
                  </a:lnTo>
                  <a:lnTo>
                    <a:pt x="4906" y="1564"/>
                  </a:lnTo>
                  <a:lnTo>
                    <a:pt x="4906" y="1569"/>
                  </a:lnTo>
                  <a:lnTo>
                    <a:pt x="4911" y="1569"/>
                  </a:lnTo>
                  <a:lnTo>
                    <a:pt x="4911" y="1569"/>
                  </a:lnTo>
                  <a:lnTo>
                    <a:pt x="4911" y="1573"/>
                  </a:lnTo>
                  <a:lnTo>
                    <a:pt x="4911" y="1573"/>
                  </a:lnTo>
                  <a:lnTo>
                    <a:pt x="4911" y="1578"/>
                  </a:lnTo>
                  <a:lnTo>
                    <a:pt x="4911" y="1578"/>
                  </a:lnTo>
                  <a:lnTo>
                    <a:pt x="4911" y="1582"/>
                  </a:lnTo>
                  <a:lnTo>
                    <a:pt x="4911" y="1582"/>
                  </a:lnTo>
                  <a:lnTo>
                    <a:pt x="4911" y="1582"/>
                  </a:lnTo>
                  <a:lnTo>
                    <a:pt x="4915" y="1582"/>
                  </a:lnTo>
                  <a:lnTo>
                    <a:pt x="4915" y="1592"/>
                  </a:lnTo>
                  <a:lnTo>
                    <a:pt x="4915" y="1592"/>
                  </a:lnTo>
                  <a:lnTo>
                    <a:pt x="4920" y="1592"/>
                  </a:lnTo>
                  <a:lnTo>
                    <a:pt x="4920" y="1596"/>
                  </a:lnTo>
                  <a:lnTo>
                    <a:pt x="4924" y="1596"/>
                  </a:lnTo>
                  <a:lnTo>
                    <a:pt x="4920" y="1592"/>
                  </a:lnTo>
                  <a:lnTo>
                    <a:pt x="4920" y="1592"/>
                  </a:lnTo>
                  <a:lnTo>
                    <a:pt x="4915" y="1587"/>
                  </a:lnTo>
                  <a:lnTo>
                    <a:pt x="4915" y="1582"/>
                  </a:lnTo>
                  <a:lnTo>
                    <a:pt x="4915" y="1573"/>
                  </a:lnTo>
                  <a:lnTo>
                    <a:pt x="4915" y="1573"/>
                  </a:lnTo>
                  <a:lnTo>
                    <a:pt x="4915" y="1573"/>
                  </a:lnTo>
                  <a:lnTo>
                    <a:pt x="4915" y="1569"/>
                  </a:lnTo>
                  <a:lnTo>
                    <a:pt x="4915" y="1569"/>
                  </a:lnTo>
                  <a:lnTo>
                    <a:pt x="4915" y="1569"/>
                  </a:lnTo>
                  <a:lnTo>
                    <a:pt x="4915" y="1564"/>
                  </a:lnTo>
                  <a:lnTo>
                    <a:pt x="4915" y="1564"/>
                  </a:lnTo>
                  <a:lnTo>
                    <a:pt x="4920" y="1569"/>
                  </a:lnTo>
                  <a:lnTo>
                    <a:pt x="4920" y="1569"/>
                  </a:lnTo>
                  <a:lnTo>
                    <a:pt x="4924" y="1569"/>
                  </a:lnTo>
                  <a:lnTo>
                    <a:pt x="4924" y="1569"/>
                  </a:lnTo>
                  <a:lnTo>
                    <a:pt x="4929" y="1573"/>
                  </a:lnTo>
                  <a:lnTo>
                    <a:pt x="4929" y="1569"/>
                  </a:lnTo>
                  <a:lnTo>
                    <a:pt x="4929" y="1569"/>
                  </a:lnTo>
                  <a:lnTo>
                    <a:pt x="4929" y="1569"/>
                  </a:lnTo>
                  <a:lnTo>
                    <a:pt x="4929" y="1569"/>
                  </a:lnTo>
                  <a:lnTo>
                    <a:pt x="4929" y="1569"/>
                  </a:lnTo>
                  <a:lnTo>
                    <a:pt x="4929" y="1564"/>
                  </a:lnTo>
                  <a:lnTo>
                    <a:pt x="4924" y="1564"/>
                  </a:lnTo>
                  <a:lnTo>
                    <a:pt x="4924" y="1564"/>
                  </a:lnTo>
                  <a:lnTo>
                    <a:pt x="4920" y="1560"/>
                  </a:lnTo>
                  <a:lnTo>
                    <a:pt x="4920" y="1560"/>
                  </a:lnTo>
                  <a:lnTo>
                    <a:pt x="4920" y="1560"/>
                  </a:lnTo>
                  <a:lnTo>
                    <a:pt x="4920" y="1555"/>
                  </a:lnTo>
                  <a:lnTo>
                    <a:pt x="4924" y="1555"/>
                  </a:lnTo>
                  <a:lnTo>
                    <a:pt x="4929" y="1555"/>
                  </a:lnTo>
                  <a:lnTo>
                    <a:pt x="4929" y="1551"/>
                  </a:lnTo>
                  <a:lnTo>
                    <a:pt x="4929" y="1546"/>
                  </a:lnTo>
                  <a:lnTo>
                    <a:pt x="4929" y="1546"/>
                  </a:lnTo>
                  <a:lnTo>
                    <a:pt x="4929" y="1546"/>
                  </a:lnTo>
                  <a:lnTo>
                    <a:pt x="4929" y="1542"/>
                  </a:lnTo>
                  <a:lnTo>
                    <a:pt x="4924" y="1542"/>
                  </a:lnTo>
                  <a:lnTo>
                    <a:pt x="4924" y="1546"/>
                  </a:lnTo>
                  <a:close/>
                  <a:moveTo>
                    <a:pt x="4902" y="1587"/>
                  </a:moveTo>
                  <a:lnTo>
                    <a:pt x="4906" y="1587"/>
                  </a:lnTo>
                  <a:lnTo>
                    <a:pt x="4906" y="1587"/>
                  </a:lnTo>
                  <a:lnTo>
                    <a:pt x="4906" y="1592"/>
                  </a:lnTo>
                  <a:lnTo>
                    <a:pt x="4906" y="1592"/>
                  </a:lnTo>
                  <a:lnTo>
                    <a:pt x="4906" y="1592"/>
                  </a:lnTo>
                  <a:lnTo>
                    <a:pt x="4911" y="1592"/>
                  </a:lnTo>
                  <a:lnTo>
                    <a:pt x="4911" y="1592"/>
                  </a:lnTo>
                  <a:lnTo>
                    <a:pt x="4911" y="1592"/>
                  </a:lnTo>
                  <a:lnTo>
                    <a:pt x="4911" y="1596"/>
                  </a:lnTo>
                  <a:lnTo>
                    <a:pt x="4911" y="1592"/>
                  </a:lnTo>
                  <a:lnTo>
                    <a:pt x="4911" y="1592"/>
                  </a:lnTo>
                  <a:lnTo>
                    <a:pt x="4911" y="1592"/>
                  </a:lnTo>
                  <a:lnTo>
                    <a:pt x="4911" y="1592"/>
                  </a:lnTo>
                  <a:lnTo>
                    <a:pt x="4911" y="1592"/>
                  </a:lnTo>
                  <a:lnTo>
                    <a:pt x="4911" y="1592"/>
                  </a:lnTo>
                  <a:lnTo>
                    <a:pt x="4906" y="1587"/>
                  </a:lnTo>
                  <a:lnTo>
                    <a:pt x="4911" y="1587"/>
                  </a:lnTo>
                  <a:lnTo>
                    <a:pt x="4906" y="1582"/>
                  </a:lnTo>
                  <a:lnTo>
                    <a:pt x="4906" y="1582"/>
                  </a:lnTo>
                  <a:lnTo>
                    <a:pt x="4906" y="1582"/>
                  </a:lnTo>
                  <a:lnTo>
                    <a:pt x="4906" y="1582"/>
                  </a:lnTo>
                  <a:lnTo>
                    <a:pt x="4906" y="1582"/>
                  </a:lnTo>
                  <a:lnTo>
                    <a:pt x="4902" y="1582"/>
                  </a:lnTo>
                  <a:lnTo>
                    <a:pt x="4902" y="1582"/>
                  </a:lnTo>
                  <a:lnTo>
                    <a:pt x="4902" y="1587"/>
                  </a:lnTo>
                  <a:lnTo>
                    <a:pt x="4902" y="1587"/>
                  </a:lnTo>
                  <a:close/>
                  <a:moveTo>
                    <a:pt x="4947" y="1619"/>
                  </a:moveTo>
                  <a:lnTo>
                    <a:pt x="4951" y="1619"/>
                  </a:lnTo>
                  <a:lnTo>
                    <a:pt x="4951" y="1619"/>
                  </a:lnTo>
                  <a:lnTo>
                    <a:pt x="4956" y="1619"/>
                  </a:lnTo>
                  <a:lnTo>
                    <a:pt x="4956" y="1619"/>
                  </a:lnTo>
                  <a:lnTo>
                    <a:pt x="4956" y="1619"/>
                  </a:lnTo>
                  <a:lnTo>
                    <a:pt x="4956" y="1619"/>
                  </a:lnTo>
                  <a:lnTo>
                    <a:pt x="4956" y="1619"/>
                  </a:lnTo>
                  <a:lnTo>
                    <a:pt x="4956" y="1614"/>
                  </a:lnTo>
                  <a:lnTo>
                    <a:pt x="4956" y="1614"/>
                  </a:lnTo>
                  <a:lnTo>
                    <a:pt x="4956" y="1614"/>
                  </a:lnTo>
                  <a:lnTo>
                    <a:pt x="4956" y="1614"/>
                  </a:lnTo>
                  <a:lnTo>
                    <a:pt x="4956" y="1614"/>
                  </a:lnTo>
                  <a:lnTo>
                    <a:pt x="4956" y="1610"/>
                  </a:lnTo>
                  <a:lnTo>
                    <a:pt x="4956" y="1610"/>
                  </a:lnTo>
                  <a:lnTo>
                    <a:pt x="4951" y="1610"/>
                  </a:lnTo>
                  <a:lnTo>
                    <a:pt x="4951" y="1610"/>
                  </a:lnTo>
                  <a:lnTo>
                    <a:pt x="4951" y="1614"/>
                  </a:lnTo>
                  <a:lnTo>
                    <a:pt x="4947" y="1614"/>
                  </a:lnTo>
                  <a:lnTo>
                    <a:pt x="4947" y="1614"/>
                  </a:lnTo>
                  <a:lnTo>
                    <a:pt x="4947" y="1619"/>
                  </a:lnTo>
                  <a:close/>
                  <a:moveTo>
                    <a:pt x="4929" y="1637"/>
                  </a:moveTo>
                  <a:lnTo>
                    <a:pt x="4924" y="1637"/>
                  </a:lnTo>
                  <a:lnTo>
                    <a:pt x="4915" y="1637"/>
                  </a:lnTo>
                  <a:lnTo>
                    <a:pt x="4915" y="1637"/>
                  </a:lnTo>
                  <a:lnTo>
                    <a:pt x="4911" y="1641"/>
                  </a:lnTo>
                  <a:lnTo>
                    <a:pt x="4911" y="1646"/>
                  </a:lnTo>
                  <a:lnTo>
                    <a:pt x="4911" y="1646"/>
                  </a:lnTo>
                  <a:lnTo>
                    <a:pt x="4911" y="1646"/>
                  </a:lnTo>
                  <a:lnTo>
                    <a:pt x="4911" y="1650"/>
                  </a:lnTo>
                  <a:lnTo>
                    <a:pt x="4911" y="1650"/>
                  </a:lnTo>
                  <a:lnTo>
                    <a:pt x="4911" y="1646"/>
                  </a:lnTo>
                  <a:lnTo>
                    <a:pt x="4915" y="1646"/>
                  </a:lnTo>
                  <a:lnTo>
                    <a:pt x="4915" y="1646"/>
                  </a:lnTo>
                  <a:lnTo>
                    <a:pt x="4915" y="1641"/>
                  </a:lnTo>
                  <a:lnTo>
                    <a:pt x="4915" y="1641"/>
                  </a:lnTo>
                  <a:lnTo>
                    <a:pt x="4915" y="1641"/>
                  </a:lnTo>
                  <a:lnTo>
                    <a:pt x="4915" y="1641"/>
                  </a:lnTo>
                  <a:lnTo>
                    <a:pt x="4920" y="1641"/>
                  </a:lnTo>
                  <a:lnTo>
                    <a:pt x="4920" y="1641"/>
                  </a:lnTo>
                  <a:lnTo>
                    <a:pt x="4920" y="1646"/>
                  </a:lnTo>
                  <a:lnTo>
                    <a:pt x="4920" y="1646"/>
                  </a:lnTo>
                  <a:lnTo>
                    <a:pt x="4924" y="1646"/>
                  </a:lnTo>
                  <a:lnTo>
                    <a:pt x="4924" y="1646"/>
                  </a:lnTo>
                  <a:lnTo>
                    <a:pt x="4924" y="1646"/>
                  </a:lnTo>
                  <a:lnTo>
                    <a:pt x="4929" y="1646"/>
                  </a:lnTo>
                  <a:lnTo>
                    <a:pt x="4929" y="1641"/>
                  </a:lnTo>
                  <a:lnTo>
                    <a:pt x="4929" y="1641"/>
                  </a:lnTo>
                  <a:lnTo>
                    <a:pt x="4929" y="1641"/>
                  </a:lnTo>
                  <a:lnTo>
                    <a:pt x="4929" y="1641"/>
                  </a:lnTo>
                  <a:lnTo>
                    <a:pt x="4929" y="1646"/>
                  </a:lnTo>
                  <a:lnTo>
                    <a:pt x="4929" y="1646"/>
                  </a:lnTo>
                  <a:lnTo>
                    <a:pt x="4929" y="1646"/>
                  </a:lnTo>
                  <a:lnTo>
                    <a:pt x="4933" y="1646"/>
                  </a:lnTo>
                  <a:lnTo>
                    <a:pt x="4933" y="1646"/>
                  </a:lnTo>
                  <a:lnTo>
                    <a:pt x="4938" y="1646"/>
                  </a:lnTo>
                  <a:lnTo>
                    <a:pt x="4938" y="1646"/>
                  </a:lnTo>
                  <a:lnTo>
                    <a:pt x="4938" y="1646"/>
                  </a:lnTo>
                  <a:lnTo>
                    <a:pt x="4938" y="1646"/>
                  </a:lnTo>
                  <a:lnTo>
                    <a:pt x="4938" y="1646"/>
                  </a:lnTo>
                  <a:lnTo>
                    <a:pt x="4942" y="1646"/>
                  </a:lnTo>
                  <a:lnTo>
                    <a:pt x="4942" y="1646"/>
                  </a:lnTo>
                  <a:lnTo>
                    <a:pt x="4947" y="1646"/>
                  </a:lnTo>
                  <a:lnTo>
                    <a:pt x="4947" y="1646"/>
                  </a:lnTo>
                  <a:lnTo>
                    <a:pt x="4947" y="1646"/>
                  </a:lnTo>
                  <a:lnTo>
                    <a:pt x="4947" y="1646"/>
                  </a:lnTo>
                  <a:lnTo>
                    <a:pt x="4951" y="1650"/>
                  </a:lnTo>
                  <a:lnTo>
                    <a:pt x="4956" y="1650"/>
                  </a:lnTo>
                  <a:lnTo>
                    <a:pt x="4956" y="1655"/>
                  </a:lnTo>
                  <a:lnTo>
                    <a:pt x="4960" y="1655"/>
                  </a:lnTo>
                  <a:lnTo>
                    <a:pt x="4965" y="1650"/>
                  </a:lnTo>
                  <a:lnTo>
                    <a:pt x="4965" y="1650"/>
                  </a:lnTo>
                  <a:lnTo>
                    <a:pt x="4960" y="1646"/>
                  </a:lnTo>
                  <a:lnTo>
                    <a:pt x="4960" y="1646"/>
                  </a:lnTo>
                  <a:lnTo>
                    <a:pt x="4960" y="1646"/>
                  </a:lnTo>
                  <a:lnTo>
                    <a:pt x="4960" y="1646"/>
                  </a:lnTo>
                  <a:lnTo>
                    <a:pt x="4960" y="1641"/>
                  </a:lnTo>
                  <a:lnTo>
                    <a:pt x="4960" y="1641"/>
                  </a:lnTo>
                  <a:lnTo>
                    <a:pt x="4956" y="1637"/>
                  </a:lnTo>
                  <a:lnTo>
                    <a:pt x="4956" y="1637"/>
                  </a:lnTo>
                  <a:lnTo>
                    <a:pt x="4951" y="1637"/>
                  </a:lnTo>
                  <a:lnTo>
                    <a:pt x="4947" y="1637"/>
                  </a:lnTo>
                  <a:lnTo>
                    <a:pt x="4942" y="1637"/>
                  </a:lnTo>
                  <a:lnTo>
                    <a:pt x="4942" y="1632"/>
                  </a:lnTo>
                  <a:lnTo>
                    <a:pt x="4942" y="1632"/>
                  </a:lnTo>
                  <a:lnTo>
                    <a:pt x="4938" y="1632"/>
                  </a:lnTo>
                  <a:lnTo>
                    <a:pt x="4938" y="1632"/>
                  </a:lnTo>
                  <a:lnTo>
                    <a:pt x="4938" y="1632"/>
                  </a:lnTo>
                  <a:lnTo>
                    <a:pt x="4938" y="1637"/>
                  </a:lnTo>
                  <a:lnTo>
                    <a:pt x="4933" y="1637"/>
                  </a:lnTo>
                  <a:lnTo>
                    <a:pt x="4933" y="1637"/>
                  </a:lnTo>
                  <a:lnTo>
                    <a:pt x="4933" y="1637"/>
                  </a:lnTo>
                  <a:lnTo>
                    <a:pt x="4933" y="1637"/>
                  </a:lnTo>
                  <a:lnTo>
                    <a:pt x="4933" y="1637"/>
                  </a:lnTo>
                  <a:lnTo>
                    <a:pt x="4929" y="1637"/>
                  </a:lnTo>
                  <a:lnTo>
                    <a:pt x="4929" y="1637"/>
                  </a:lnTo>
                  <a:close/>
                  <a:moveTo>
                    <a:pt x="4938" y="1818"/>
                  </a:moveTo>
                  <a:lnTo>
                    <a:pt x="4942" y="1818"/>
                  </a:lnTo>
                  <a:lnTo>
                    <a:pt x="4947" y="1822"/>
                  </a:lnTo>
                  <a:lnTo>
                    <a:pt x="4951" y="1818"/>
                  </a:lnTo>
                  <a:lnTo>
                    <a:pt x="4951" y="1818"/>
                  </a:lnTo>
                  <a:lnTo>
                    <a:pt x="4956" y="1818"/>
                  </a:lnTo>
                  <a:lnTo>
                    <a:pt x="4956" y="1813"/>
                  </a:lnTo>
                  <a:lnTo>
                    <a:pt x="4956" y="1813"/>
                  </a:lnTo>
                  <a:lnTo>
                    <a:pt x="4956" y="1813"/>
                  </a:lnTo>
                  <a:lnTo>
                    <a:pt x="4956" y="1813"/>
                  </a:lnTo>
                  <a:lnTo>
                    <a:pt x="4956" y="1813"/>
                  </a:lnTo>
                  <a:lnTo>
                    <a:pt x="4951" y="1809"/>
                  </a:lnTo>
                  <a:lnTo>
                    <a:pt x="4951" y="1809"/>
                  </a:lnTo>
                  <a:lnTo>
                    <a:pt x="4951" y="1809"/>
                  </a:lnTo>
                  <a:lnTo>
                    <a:pt x="4951" y="1809"/>
                  </a:lnTo>
                  <a:lnTo>
                    <a:pt x="4947" y="1813"/>
                  </a:lnTo>
                  <a:lnTo>
                    <a:pt x="4947" y="1813"/>
                  </a:lnTo>
                  <a:lnTo>
                    <a:pt x="4947" y="1809"/>
                  </a:lnTo>
                  <a:lnTo>
                    <a:pt x="4942" y="1813"/>
                  </a:lnTo>
                  <a:lnTo>
                    <a:pt x="4942" y="1813"/>
                  </a:lnTo>
                  <a:lnTo>
                    <a:pt x="4942" y="1809"/>
                  </a:lnTo>
                  <a:lnTo>
                    <a:pt x="4938" y="1809"/>
                  </a:lnTo>
                  <a:lnTo>
                    <a:pt x="4938" y="1809"/>
                  </a:lnTo>
                  <a:lnTo>
                    <a:pt x="4938" y="1809"/>
                  </a:lnTo>
                  <a:lnTo>
                    <a:pt x="4938" y="1809"/>
                  </a:lnTo>
                  <a:lnTo>
                    <a:pt x="4938" y="1809"/>
                  </a:lnTo>
                  <a:lnTo>
                    <a:pt x="4938" y="1809"/>
                  </a:lnTo>
                  <a:lnTo>
                    <a:pt x="4938" y="1813"/>
                  </a:lnTo>
                  <a:lnTo>
                    <a:pt x="4938" y="1818"/>
                  </a:lnTo>
                  <a:close/>
                  <a:moveTo>
                    <a:pt x="4703" y="1646"/>
                  </a:moveTo>
                  <a:lnTo>
                    <a:pt x="4703" y="1646"/>
                  </a:lnTo>
                  <a:lnTo>
                    <a:pt x="4703" y="1646"/>
                  </a:lnTo>
                  <a:lnTo>
                    <a:pt x="4707" y="1641"/>
                  </a:lnTo>
                  <a:lnTo>
                    <a:pt x="4707" y="1641"/>
                  </a:lnTo>
                  <a:lnTo>
                    <a:pt x="4707" y="1641"/>
                  </a:lnTo>
                  <a:lnTo>
                    <a:pt x="4707" y="1641"/>
                  </a:lnTo>
                  <a:lnTo>
                    <a:pt x="4707" y="1637"/>
                  </a:lnTo>
                  <a:lnTo>
                    <a:pt x="4707" y="1637"/>
                  </a:lnTo>
                  <a:lnTo>
                    <a:pt x="4707" y="1637"/>
                  </a:lnTo>
                  <a:lnTo>
                    <a:pt x="4707" y="1637"/>
                  </a:lnTo>
                  <a:lnTo>
                    <a:pt x="4707" y="1637"/>
                  </a:lnTo>
                  <a:lnTo>
                    <a:pt x="4712" y="1637"/>
                  </a:lnTo>
                  <a:lnTo>
                    <a:pt x="4712" y="1632"/>
                  </a:lnTo>
                  <a:lnTo>
                    <a:pt x="4712" y="1632"/>
                  </a:lnTo>
                  <a:lnTo>
                    <a:pt x="4712" y="1628"/>
                  </a:lnTo>
                  <a:lnTo>
                    <a:pt x="4712" y="1628"/>
                  </a:lnTo>
                  <a:lnTo>
                    <a:pt x="4712" y="1628"/>
                  </a:lnTo>
                  <a:lnTo>
                    <a:pt x="4712" y="1628"/>
                  </a:lnTo>
                  <a:lnTo>
                    <a:pt x="4712" y="1628"/>
                  </a:lnTo>
                  <a:lnTo>
                    <a:pt x="4712" y="1628"/>
                  </a:lnTo>
                  <a:lnTo>
                    <a:pt x="4712" y="1628"/>
                  </a:lnTo>
                  <a:lnTo>
                    <a:pt x="4716" y="1623"/>
                  </a:lnTo>
                  <a:lnTo>
                    <a:pt x="4716" y="1623"/>
                  </a:lnTo>
                  <a:lnTo>
                    <a:pt x="4712" y="1619"/>
                  </a:lnTo>
                  <a:lnTo>
                    <a:pt x="4712" y="1619"/>
                  </a:lnTo>
                  <a:lnTo>
                    <a:pt x="4712" y="1619"/>
                  </a:lnTo>
                  <a:lnTo>
                    <a:pt x="4712" y="1619"/>
                  </a:lnTo>
                  <a:lnTo>
                    <a:pt x="4712" y="1619"/>
                  </a:lnTo>
                  <a:lnTo>
                    <a:pt x="4712" y="1614"/>
                  </a:lnTo>
                  <a:lnTo>
                    <a:pt x="4712" y="1614"/>
                  </a:lnTo>
                  <a:lnTo>
                    <a:pt x="4712" y="1614"/>
                  </a:lnTo>
                  <a:lnTo>
                    <a:pt x="4712" y="1614"/>
                  </a:lnTo>
                  <a:lnTo>
                    <a:pt x="4712" y="1614"/>
                  </a:lnTo>
                  <a:lnTo>
                    <a:pt x="4712" y="1610"/>
                  </a:lnTo>
                  <a:lnTo>
                    <a:pt x="4712" y="1610"/>
                  </a:lnTo>
                  <a:lnTo>
                    <a:pt x="4712" y="1610"/>
                  </a:lnTo>
                  <a:lnTo>
                    <a:pt x="4712" y="1610"/>
                  </a:lnTo>
                  <a:lnTo>
                    <a:pt x="4716" y="1610"/>
                  </a:lnTo>
                  <a:lnTo>
                    <a:pt x="4716" y="1605"/>
                  </a:lnTo>
                  <a:lnTo>
                    <a:pt x="4716" y="1605"/>
                  </a:lnTo>
                  <a:lnTo>
                    <a:pt x="4716" y="1605"/>
                  </a:lnTo>
                  <a:lnTo>
                    <a:pt x="4716" y="1605"/>
                  </a:lnTo>
                  <a:lnTo>
                    <a:pt x="4716" y="1601"/>
                  </a:lnTo>
                  <a:lnTo>
                    <a:pt x="4716" y="1601"/>
                  </a:lnTo>
                  <a:lnTo>
                    <a:pt x="4716" y="1601"/>
                  </a:lnTo>
                  <a:lnTo>
                    <a:pt x="4716" y="1596"/>
                  </a:lnTo>
                  <a:lnTo>
                    <a:pt x="4716" y="1596"/>
                  </a:lnTo>
                  <a:lnTo>
                    <a:pt x="4716" y="1601"/>
                  </a:lnTo>
                  <a:lnTo>
                    <a:pt x="4721" y="1601"/>
                  </a:lnTo>
                  <a:lnTo>
                    <a:pt x="4721" y="1601"/>
                  </a:lnTo>
                  <a:lnTo>
                    <a:pt x="4721" y="1601"/>
                  </a:lnTo>
                  <a:lnTo>
                    <a:pt x="4721" y="1601"/>
                  </a:lnTo>
                  <a:lnTo>
                    <a:pt x="4725" y="1601"/>
                  </a:lnTo>
                  <a:lnTo>
                    <a:pt x="4725" y="1596"/>
                  </a:lnTo>
                  <a:lnTo>
                    <a:pt x="4725" y="1596"/>
                  </a:lnTo>
                  <a:lnTo>
                    <a:pt x="4730" y="1592"/>
                  </a:lnTo>
                  <a:lnTo>
                    <a:pt x="4730" y="1592"/>
                  </a:lnTo>
                  <a:lnTo>
                    <a:pt x="4735" y="1592"/>
                  </a:lnTo>
                  <a:lnTo>
                    <a:pt x="4735" y="1592"/>
                  </a:lnTo>
                  <a:lnTo>
                    <a:pt x="4735" y="1592"/>
                  </a:lnTo>
                  <a:lnTo>
                    <a:pt x="4735" y="1587"/>
                  </a:lnTo>
                  <a:lnTo>
                    <a:pt x="4730" y="1582"/>
                  </a:lnTo>
                  <a:lnTo>
                    <a:pt x="4730" y="1578"/>
                  </a:lnTo>
                  <a:lnTo>
                    <a:pt x="4730" y="1569"/>
                  </a:lnTo>
                  <a:lnTo>
                    <a:pt x="4735" y="1569"/>
                  </a:lnTo>
                  <a:lnTo>
                    <a:pt x="4735" y="1560"/>
                  </a:lnTo>
                  <a:lnTo>
                    <a:pt x="4735" y="1560"/>
                  </a:lnTo>
                  <a:lnTo>
                    <a:pt x="4739" y="1560"/>
                  </a:lnTo>
                  <a:lnTo>
                    <a:pt x="4739" y="1560"/>
                  </a:lnTo>
                  <a:lnTo>
                    <a:pt x="4739" y="1560"/>
                  </a:lnTo>
                  <a:lnTo>
                    <a:pt x="4739" y="1555"/>
                  </a:lnTo>
                  <a:lnTo>
                    <a:pt x="4739" y="1555"/>
                  </a:lnTo>
                  <a:lnTo>
                    <a:pt x="4739" y="1555"/>
                  </a:lnTo>
                  <a:lnTo>
                    <a:pt x="4739" y="1555"/>
                  </a:lnTo>
                  <a:lnTo>
                    <a:pt x="4744" y="1555"/>
                  </a:lnTo>
                  <a:lnTo>
                    <a:pt x="4744" y="1560"/>
                  </a:lnTo>
                  <a:lnTo>
                    <a:pt x="4744" y="1560"/>
                  </a:lnTo>
                  <a:lnTo>
                    <a:pt x="4748" y="1560"/>
                  </a:lnTo>
                  <a:lnTo>
                    <a:pt x="4753" y="1560"/>
                  </a:lnTo>
                  <a:lnTo>
                    <a:pt x="4757" y="1560"/>
                  </a:lnTo>
                  <a:lnTo>
                    <a:pt x="4757" y="1555"/>
                  </a:lnTo>
                  <a:lnTo>
                    <a:pt x="4757" y="1555"/>
                  </a:lnTo>
                  <a:lnTo>
                    <a:pt x="4757" y="1555"/>
                  </a:lnTo>
                  <a:lnTo>
                    <a:pt x="4753" y="1551"/>
                  </a:lnTo>
                  <a:lnTo>
                    <a:pt x="4748" y="1546"/>
                  </a:lnTo>
                  <a:lnTo>
                    <a:pt x="4744" y="1542"/>
                  </a:lnTo>
                  <a:lnTo>
                    <a:pt x="4744" y="1542"/>
                  </a:lnTo>
                  <a:lnTo>
                    <a:pt x="4739" y="1537"/>
                  </a:lnTo>
                  <a:lnTo>
                    <a:pt x="4739" y="1537"/>
                  </a:lnTo>
                  <a:lnTo>
                    <a:pt x="4739" y="1537"/>
                  </a:lnTo>
                  <a:lnTo>
                    <a:pt x="4735" y="1533"/>
                  </a:lnTo>
                  <a:lnTo>
                    <a:pt x="4739" y="1533"/>
                  </a:lnTo>
                  <a:lnTo>
                    <a:pt x="4739" y="1533"/>
                  </a:lnTo>
                  <a:lnTo>
                    <a:pt x="4739" y="1533"/>
                  </a:lnTo>
                  <a:lnTo>
                    <a:pt x="4739" y="1533"/>
                  </a:lnTo>
                  <a:lnTo>
                    <a:pt x="4739" y="1528"/>
                  </a:lnTo>
                  <a:lnTo>
                    <a:pt x="4739" y="1528"/>
                  </a:lnTo>
                  <a:lnTo>
                    <a:pt x="4739" y="1528"/>
                  </a:lnTo>
                  <a:lnTo>
                    <a:pt x="4739" y="1524"/>
                  </a:lnTo>
                  <a:lnTo>
                    <a:pt x="4735" y="1524"/>
                  </a:lnTo>
                  <a:lnTo>
                    <a:pt x="4735" y="1519"/>
                  </a:lnTo>
                  <a:lnTo>
                    <a:pt x="4735" y="1519"/>
                  </a:lnTo>
                  <a:lnTo>
                    <a:pt x="4735" y="1519"/>
                  </a:lnTo>
                  <a:lnTo>
                    <a:pt x="4735" y="1519"/>
                  </a:lnTo>
                  <a:lnTo>
                    <a:pt x="4735" y="1519"/>
                  </a:lnTo>
                  <a:lnTo>
                    <a:pt x="4735" y="1519"/>
                  </a:lnTo>
                  <a:lnTo>
                    <a:pt x="4735" y="1515"/>
                  </a:lnTo>
                  <a:lnTo>
                    <a:pt x="4730" y="1515"/>
                  </a:lnTo>
                  <a:lnTo>
                    <a:pt x="4735" y="1515"/>
                  </a:lnTo>
                  <a:lnTo>
                    <a:pt x="4735" y="1515"/>
                  </a:lnTo>
                  <a:lnTo>
                    <a:pt x="4735" y="1515"/>
                  </a:lnTo>
                  <a:lnTo>
                    <a:pt x="4730" y="1515"/>
                  </a:lnTo>
                  <a:lnTo>
                    <a:pt x="4730" y="1515"/>
                  </a:lnTo>
                  <a:lnTo>
                    <a:pt x="4730" y="1510"/>
                  </a:lnTo>
                  <a:lnTo>
                    <a:pt x="4725" y="1510"/>
                  </a:lnTo>
                  <a:lnTo>
                    <a:pt x="4725" y="1510"/>
                  </a:lnTo>
                  <a:lnTo>
                    <a:pt x="4730" y="1506"/>
                  </a:lnTo>
                  <a:lnTo>
                    <a:pt x="4725" y="1506"/>
                  </a:lnTo>
                  <a:lnTo>
                    <a:pt x="4725" y="1501"/>
                  </a:lnTo>
                  <a:lnTo>
                    <a:pt x="4721" y="1501"/>
                  </a:lnTo>
                  <a:lnTo>
                    <a:pt x="4721" y="1501"/>
                  </a:lnTo>
                  <a:lnTo>
                    <a:pt x="4725" y="1501"/>
                  </a:lnTo>
                  <a:lnTo>
                    <a:pt x="4725" y="1501"/>
                  </a:lnTo>
                  <a:lnTo>
                    <a:pt x="4730" y="1501"/>
                  </a:lnTo>
                  <a:lnTo>
                    <a:pt x="4730" y="1501"/>
                  </a:lnTo>
                  <a:lnTo>
                    <a:pt x="4730" y="1501"/>
                  </a:lnTo>
                  <a:lnTo>
                    <a:pt x="4730" y="1501"/>
                  </a:lnTo>
                  <a:lnTo>
                    <a:pt x="4730" y="1501"/>
                  </a:lnTo>
                  <a:lnTo>
                    <a:pt x="4735" y="1501"/>
                  </a:lnTo>
                  <a:lnTo>
                    <a:pt x="4735" y="1501"/>
                  </a:lnTo>
                  <a:lnTo>
                    <a:pt x="4735" y="1501"/>
                  </a:lnTo>
                  <a:lnTo>
                    <a:pt x="4735" y="1501"/>
                  </a:lnTo>
                  <a:lnTo>
                    <a:pt x="4735" y="1497"/>
                  </a:lnTo>
                  <a:lnTo>
                    <a:pt x="4730" y="1497"/>
                  </a:lnTo>
                  <a:lnTo>
                    <a:pt x="4730" y="1497"/>
                  </a:lnTo>
                  <a:lnTo>
                    <a:pt x="4730" y="1497"/>
                  </a:lnTo>
                  <a:lnTo>
                    <a:pt x="4730" y="1492"/>
                  </a:lnTo>
                  <a:lnTo>
                    <a:pt x="4730" y="1492"/>
                  </a:lnTo>
                  <a:lnTo>
                    <a:pt x="4730" y="1492"/>
                  </a:lnTo>
                  <a:lnTo>
                    <a:pt x="4730" y="1492"/>
                  </a:lnTo>
                  <a:lnTo>
                    <a:pt x="4730" y="1488"/>
                  </a:lnTo>
                  <a:lnTo>
                    <a:pt x="4735" y="1488"/>
                  </a:lnTo>
                  <a:lnTo>
                    <a:pt x="4735" y="1488"/>
                  </a:lnTo>
                  <a:lnTo>
                    <a:pt x="4735" y="1488"/>
                  </a:lnTo>
                  <a:lnTo>
                    <a:pt x="4739" y="1488"/>
                  </a:lnTo>
                  <a:lnTo>
                    <a:pt x="4739" y="1488"/>
                  </a:lnTo>
                  <a:lnTo>
                    <a:pt x="4744" y="1488"/>
                  </a:lnTo>
                  <a:lnTo>
                    <a:pt x="4744" y="1488"/>
                  </a:lnTo>
                  <a:lnTo>
                    <a:pt x="4748" y="1488"/>
                  </a:lnTo>
                  <a:lnTo>
                    <a:pt x="4748" y="1488"/>
                  </a:lnTo>
                  <a:lnTo>
                    <a:pt x="4748" y="1488"/>
                  </a:lnTo>
                  <a:lnTo>
                    <a:pt x="4748" y="1483"/>
                  </a:lnTo>
                  <a:lnTo>
                    <a:pt x="4748" y="1483"/>
                  </a:lnTo>
                  <a:lnTo>
                    <a:pt x="4744" y="1483"/>
                  </a:lnTo>
                  <a:lnTo>
                    <a:pt x="4739" y="1479"/>
                  </a:lnTo>
                  <a:lnTo>
                    <a:pt x="4744" y="1474"/>
                  </a:lnTo>
                  <a:lnTo>
                    <a:pt x="4744" y="1474"/>
                  </a:lnTo>
                  <a:lnTo>
                    <a:pt x="4744" y="1474"/>
                  </a:lnTo>
                  <a:lnTo>
                    <a:pt x="4748" y="1474"/>
                  </a:lnTo>
                  <a:lnTo>
                    <a:pt x="4748" y="1474"/>
                  </a:lnTo>
                  <a:lnTo>
                    <a:pt x="4753" y="1474"/>
                  </a:lnTo>
                  <a:lnTo>
                    <a:pt x="4757" y="1474"/>
                  </a:lnTo>
                  <a:lnTo>
                    <a:pt x="4757" y="1469"/>
                  </a:lnTo>
                  <a:lnTo>
                    <a:pt x="4757" y="1469"/>
                  </a:lnTo>
                  <a:lnTo>
                    <a:pt x="4757" y="1469"/>
                  </a:lnTo>
                  <a:lnTo>
                    <a:pt x="4757" y="1469"/>
                  </a:lnTo>
                  <a:lnTo>
                    <a:pt x="4757" y="1465"/>
                  </a:lnTo>
                  <a:lnTo>
                    <a:pt x="4757" y="1465"/>
                  </a:lnTo>
                  <a:lnTo>
                    <a:pt x="4757" y="1465"/>
                  </a:lnTo>
                  <a:lnTo>
                    <a:pt x="4753" y="1465"/>
                  </a:lnTo>
                  <a:lnTo>
                    <a:pt x="4753" y="1465"/>
                  </a:lnTo>
                  <a:lnTo>
                    <a:pt x="4753" y="1465"/>
                  </a:lnTo>
                  <a:lnTo>
                    <a:pt x="4748" y="1465"/>
                  </a:lnTo>
                  <a:lnTo>
                    <a:pt x="4748" y="1460"/>
                  </a:lnTo>
                  <a:lnTo>
                    <a:pt x="4748" y="1460"/>
                  </a:lnTo>
                  <a:lnTo>
                    <a:pt x="4744" y="1460"/>
                  </a:lnTo>
                  <a:lnTo>
                    <a:pt x="4744" y="1460"/>
                  </a:lnTo>
                  <a:lnTo>
                    <a:pt x="4744" y="1456"/>
                  </a:lnTo>
                  <a:lnTo>
                    <a:pt x="4739" y="1456"/>
                  </a:lnTo>
                  <a:lnTo>
                    <a:pt x="4739" y="1456"/>
                  </a:lnTo>
                  <a:lnTo>
                    <a:pt x="4739" y="1460"/>
                  </a:lnTo>
                  <a:lnTo>
                    <a:pt x="4735" y="1460"/>
                  </a:lnTo>
                  <a:lnTo>
                    <a:pt x="4735" y="1460"/>
                  </a:lnTo>
                  <a:lnTo>
                    <a:pt x="4735" y="1460"/>
                  </a:lnTo>
                  <a:lnTo>
                    <a:pt x="4735" y="1460"/>
                  </a:lnTo>
                  <a:lnTo>
                    <a:pt x="4739" y="1456"/>
                  </a:lnTo>
                  <a:lnTo>
                    <a:pt x="4739" y="1456"/>
                  </a:lnTo>
                  <a:lnTo>
                    <a:pt x="4735" y="1456"/>
                  </a:lnTo>
                  <a:lnTo>
                    <a:pt x="4735" y="1451"/>
                  </a:lnTo>
                  <a:lnTo>
                    <a:pt x="4735" y="1456"/>
                  </a:lnTo>
                  <a:lnTo>
                    <a:pt x="4735" y="1456"/>
                  </a:lnTo>
                  <a:lnTo>
                    <a:pt x="4725" y="1456"/>
                  </a:lnTo>
                  <a:lnTo>
                    <a:pt x="4730" y="1456"/>
                  </a:lnTo>
                  <a:lnTo>
                    <a:pt x="4730" y="1456"/>
                  </a:lnTo>
                  <a:lnTo>
                    <a:pt x="4730" y="1451"/>
                  </a:lnTo>
                  <a:lnTo>
                    <a:pt x="4730" y="1451"/>
                  </a:lnTo>
                  <a:lnTo>
                    <a:pt x="4730" y="1447"/>
                  </a:lnTo>
                  <a:lnTo>
                    <a:pt x="4730" y="1447"/>
                  </a:lnTo>
                  <a:lnTo>
                    <a:pt x="4730" y="1447"/>
                  </a:lnTo>
                  <a:lnTo>
                    <a:pt x="4730" y="1442"/>
                  </a:lnTo>
                  <a:lnTo>
                    <a:pt x="4730" y="1442"/>
                  </a:lnTo>
                  <a:lnTo>
                    <a:pt x="4725" y="1442"/>
                  </a:lnTo>
                  <a:lnTo>
                    <a:pt x="4725" y="1442"/>
                  </a:lnTo>
                  <a:lnTo>
                    <a:pt x="4721" y="1442"/>
                  </a:lnTo>
                  <a:lnTo>
                    <a:pt x="4721" y="1438"/>
                  </a:lnTo>
                  <a:lnTo>
                    <a:pt x="4721" y="1438"/>
                  </a:lnTo>
                  <a:lnTo>
                    <a:pt x="4721" y="1433"/>
                  </a:lnTo>
                  <a:lnTo>
                    <a:pt x="4721" y="1433"/>
                  </a:lnTo>
                  <a:lnTo>
                    <a:pt x="4721" y="1433"/>
                  </a:lnTo>
                  <a:lnTo>
                    <a:pt x="4716" y="1433"/>
                  </a:lnTo>
                  <a:lnTo>
                    <a:pt x="4716" y="1438"/>
                  </a:lnTo>
                  <a:lnTo>
                    <a:pt x="4716" y="1442"/>
                  </a:lnTo>
                  <a:lnTo>
                    <a:pt x="4712" y="1442"/>
                  </a:lnTo>
                  <a:lnTo>
                    <a:pt x="4712" y="1442"/>
                  </a:lnTo>
                  <a:lnTo>
                    <a:pt x="4712" y="1442"/>
                  </a:lnTo>
                  <a:lnTo>
                    <a:pt x="4712" y="1438"/>
                  </a:lnTo>
                  <a:lnTo>
                    <a:pt x="4712" y="1438"/>
                  </a:lnTo>
                  <a:lnTo>
                    <a:pt x="4712" y="1433"/>
                  </a:lnTo>
                  <a:lnTo>
                    <a:pt x="4712" y="1433"/>
                  </a:lnTo>
                  <a:lnTo>
                    <a:pt x="4712" y="1433"/>
                  </a:lnTo>
                  <a:lnTo>
                    <a:pt x="4707" y="1442"/>
                  </a:lnTo>
                  <a:lnTo>
                    <a:pt x="4707" y="1442"/>
                  </a:lnTo>
                  <a:lnTo>
                    <a:pt x="4703" y="1451"/>
                  </a:lnTo>
                  <a:lnTo>
                    <a:pt x="4703" y="1456"/>
                  </a:lnTo>
                  <a:lnTo>
                    <a:pt x="4703" y="1456"/>
                  </a:lnTo>
                  <a:lnTo>
                    <a:pt x="4698" y="1460"/>
                  </a:lnTo>
                  <a:lnTo>
                    <a:pt x="4698" y="1460"/>
                  </a:lnTo>
                  <a:lnTo>
                    <a:pt x="4698" y="1465"/>
                  </a:lnTo>
                  <a:lnTo>
                    <a:pt x="4698" y="1465"/>
                  </a:lnTo>
                  <a:lnTo>
                    <a:pt x="4694" y="1465"/>
                  </a:lnTo>
                  <a:lnTo>
                    <a:pt x="4694" y="1465"/>
                  </a:lnTo>
                  <a:lnTo>
                    <a:pt x="4694" y="1460"/>
                  </a:lnTo>
                  <a:lnTo>
                    <a:pt x="4694" y="1465"/>
                  </a:lnTo>
                  <a:lnTo>
                    <a:pt x="4689" y="1465"/>
                  </a:lnTo>
                  <a:lnTo>
                    <a:pt x="4694" y="1469"/>
                  </a:lnTo>
                  <a:lnTo>
                    <a:pt x="4694" y="1469"/>
                  </a:lnTo>
                  <a:lnTo>
                    <a:pt x="4694" y="1469"/>
                  </a:lnTo>
                  <a:lnTo>
                    <a:pt x="4694" y="1474"/>
                  </a:lnTo>
                  <a:lnTo>
                    <a:pt x="4694" y="1474"/>
                  </a:lnTo>
                  <a:lnTo>
                    <a:pt x="4694" y="1474"/>
                  </a:lnTo>
                  <a:lnTo>
                    <a:pt x="4689" y="1474"/>
                  </a:lnTo>
                  <a:lnTo>
                    <a:pt x="4689" y="1479"/>
                  </a:lnTo>
                  <a:lnTo>
                    <a:pt x="4685" y="1479"/>
                  </a:lnTo>
                  <a:lnTo>
                    <a:pt x="4685" y="1474"/>
                  </a:lnTo>
                  <a:lnTo>
                    <a:pt x="4685" y="1474"/>
                  </a:lnTo>
                  <a:lnTo>
                    <a:pt x="4685" y="1474"/>
                  </a:lnTo>
                  <a:lnTo>
                    <a:pt x="4680" y="1474"/>
                  </a:lnTo>
                  <a:lnTo>
                    <a:pt x="4680" y="1479"/>
                  </a:lnTo>
                  <a:lnTo>
                    <a:pt x="4680" y="1479"/>
                  </a:lnTo>
                  <a:lnTo>
                    <a:pt x="4676" y="1479"/>
                  </a:lnTo>
                  <a:lnTo>
                    <a:pt x="4676" y="1483"/>
                  </a:lnTo>
                  <a:lnTo>
                    <a:pt x="4671" y="1483"/>
                  </a:lnTo>
                  <a:lnTo>
                    <a:pt x="4671" y="1483"/>
                  </a:lnTo>
                  <a:lnTo>
                    <a:pt x="4667" y="1483"/>
                  </a:lnTo>
                  <a:lnTo>
                    <a:pt x="4667" y="1483"/>
                  </a:lnTo>
                  <a:lnTo>
                    <a:pt x="4667" y="1483"/>
                  </a:lnTo>
                  <a:lnTo>
                    <a:pt x="4667" y="1488"/>
                  </a:lnTo>
                  <a:lnTo>
                    <a:pt x="4667" y="1488"/>
                  </a:lnTo>
                  <a:lnTo>
                    <a:pt x="4667" y="1488"/>
                  </a:lnTo>
                  <a:lnTo>
                    <a:pt x="4667" y="1492"/>
                  </a:lnTo>
                  <a:lnTo>
                    <a:pt x="4662" y="1497"/>
                  </a:lnTo>
                  <a:lnTo>
                    <a:pt x="4658" y="1501"/>
                  </a:lnTo>
                  <a:lnTo>
                    <a:pt x="4658" y="1506"/>
                  </a:lnTo>
                  <a:lnTo>
                    <a:pt x="4653" y="1510"/>
                  </a:lnTo>
                  <a:lnTo>
                    <a:pt x="4653" y="1510"/>
                  </a:lnTo>
                  <a:lnTo>
                    <a:pt x="4653" y="1510"/>
                  </a:lnTo>
                  <a:lnTo>
                    <a:pt x="4649" y="1515"/>
                  </a:lnTo>
                  <a:lnTo>
                    <a:pt x="4649" y="1515"/>
                  </a:lnTo>
                  <a:lnTo>
                    <a:pt x="4635" y="1519"/>
                  </a:lnTo>
                  <a:lnTo>
                    <a:pt x="4631" y="1519"/>
                  </a:lnTo>
                  <a:lnTo>
                    <a:pt x="4626" y="1519"/>
                  </a:lnTo>
                  <a:lnTo>
                    <a:pt x="4626" y="1519"/>
                  </a:lnTo>
                  <a:lnTo>
                    <a:pt x="4626" y="1524"/>
                  </a:lnTo>
                  <a:lnTo>
                    <a:pt x="4626" y="1524"/>
                  </a:lnTo>
                  <a:lnTo>
                    <a:pt x="4626" y="1528"/>
                  </a:lnTo>
                  <a:lnTo>
                    <a:pt x="4626" y="1528"/>
                  </a:lnTo>
                  <a:lnTo>
                    <a:pt x="4626" y="1528"/>
                  </a:lnTo>
                  <a:lnTo>
                    <a:pt x="4622" y="1528"/>
                  </a:lnTo>
                  <a:lnTo>
                    <a:pt x="4622" y="1528"/>
                  </a:lnTo>
                  <a:lnTo>
                    <a:pt x="4622" y="1528"/>
                  </a:lnTo>
                  <a:lnTo>
                    <a:pt x="4622" y="1528"/>
                  </a:lnTo>
                  <a:lnTo>
                    <a:pt x="4622" y="1528"/>
                  </a:lnTo>
                  <a:lnTo>
                    <a:pt x="4622" y="1533"/>
                  </a:lnTo>
                  <a:lnTo>
                    <a:pt x="4622" y="1533"/>
                  </a:lnTo>
                  <a:lnTo>
                    <a:pt x="4622" y="1533"/>
                  </a:lnTo>
                  <a:lnTo>
                    <a:pt x="4622" y="1537"/>
                  </a:lnTo>
                  <a:lnTo>
                    <a:pt x="4622" y="1537"/>
                  </a:lnTo>
                  <a:lnTo>
                    <a:pt x="4622" y="1542"/>
                  </a:lnTo>
                  <a:lnTo>
                    <a:pt x="4622" y="1542"/>
                  </a:lnTo>
                  <a:lnTo>
                    <a:pt x="4617" y="1542"/>
                  </a:lnTo>
                  <a:lnTo>
                    <a:pt x="4617" y="1546"/>
                  </a:lnTo>
                  <a:lnTo>
                    <a:pt x="4617" y="1546"/>
                  </a:lnTo>
                  <a:lnTo>
                    <a:pt x="4622" y="1546"/>
                  </a:lnTo>
                  <a:lnTo>
                    <a:pt x="4622" y="1546"/>
                  </a:lnTo>
                  <a:lnTo>
                    <a:pt x="4622" y="1546"/>
                  </a:lnTo>
                  <a:lnTo>
                    <a:pt x="4622" y="1546"/>
                  </a:lnTo>
                  <a:lnTo>
                    <a:pt x="4617" y="1546"/>
                  </a:lnTo>
                  <a:lnTo>
                    <a:pt x="4617" y="1546"/>
                  </a:lnTo>
                  <a:lnTo>
                    <a:pt x="4613" y="1546"/>
                  </a:lnTo>
                  <a:lnTo>
                    <a:pt x="4613" y="1546"/>
                  </a:lnTo>
                  <a:lnTo>
                    <a:pt x="4608" y="1542"/>
                  </a:lnTo>
                  <a:lnTo>
                    <a:pt x="4608" y="1542"/>
                  </a:lnTo>
                  <a:lnTo>
                    <a:pt x="4603" y="1542"/>
                  </a:lnTo>
                  <a:lnTo>
                    <a:pt x="4603" y="1542"/>
                  </a:lnTo>
                  <a:lnTo>
                    <a:pt x="4603" y="1542"/>
                  </a:lnTo>
                  <a:lnTo>
                    <a:pt x="4599" y="1542"/>
                  </a:lnTo>
                  <a:lnTo>
                    <a:pt x="4599" y="1542"/>
                  </a:lnTo>
                  <a:lnTo>
                    <a:pt x="4594" y="1537"/>
                  </a:lnTo>
                  <a:lnTo>
                    <a:pt x="4594" y="1537"/>
                  </a:lnTo>
                  <a:lnTo>
                    <a:pt x="4594" y="1537"/>
                  </a:lnTo>
                  <a:lnTo>
                    <a:pt x="4590" y="1537"/>
                  </a:lnTo>
                  <a:lnTo>
                    <a:pt x="4590" y="1537"/>
                  </a:lnTo>
                  <a:lnTo>
                    <a:pt x="4585" y="1542"/>
                  </a:lnTo>
                  <a:lnTo>
                    <a:pt x="4585" y="1542"/>
                  </a:lnTo>
                  <a:lnTo>
                    <a:pt x="4585" y="1546"/>
                  </a:lnTo>
                  <a:lnTo>
                    <a:pt x="4585" y="1546"/>
                  </a:lnTo>
                  <a:lnTo>
                    <a:pt x="4581" y="1551"/>
                  </a:lnTo>
                  <a:lnTo>
                    <a:pt x="4585" y="1551"/>
                  </a:lnTo>
                  <a:lnTo>
                    <a:pt x="4585" y="1551"/>
                  </a:lnTo>
                  <a:lnTo>
                    <a:pt x="4585" y="1551"/>
                  </a:lnTo>
                  <a:lnTo>
                    <a:pt x="4585" y="1551"/>
                  </a:lnTo>
                  <a:lnTo>
                    <a:pt x="4585" y="1551"/>
                  </a:lnTo>
                  <a:lnTo>
                    <a:pt x="4581" y="1555"/>
                  </a:lnTo>
                  <a:lnTo>
                    <a:pt x="4581" y="1555"/>
                  </a:lnTo>
                  <a:lnTo>
                    <a:pt x="4581" y="1560"/>
                  </a:lnTo>
                  <a:lnTo>
                    <a:pt x="4581" y="1564"/>
                  </a:lnTo>
                  <a:lnTo>
                    <a:pt x="4581" y="1569"/>
                  </a:lnTo>
                  <a:lnTo>
                    <a:pt x="4585" y="1569"/>
                  </a:lnTo>
                  <a:lnTo>
                    <a:pt x="4585" y="1573"/>
                  </a:lnTo>
                  <a:lnTo>
                    <a:pt x="4585" y="1573"/>
                  </a:lnTo>
                  <a:lnTo>
                    <a:pt x="4585" y="1573"/>
                  </a:lnTo>
                  <a:lnTo>
                    <a:pt x="4585" y="1573"/>
                  </a:lnTo>
                  <a:lnTo>
                    <a:pt x="4585" y="1573"/>
                  </a:lnTo>
                  <a:lnTo>
                    <a:pt x="4585" y="1578"/>
                  </a:lnTo>
                  <a:lnTo>
                    <a:pt x="4585" y="1578"/>
                  </a:lnTo>
                  <a:lnTo>
                    <a:pt x="4585" y="1578"/>
                  </a:lnTo>
                  <a:lnTo>
                    <a:pt x="4585" y="1582"/>
                  </a:lnTo>
                  <a:lnTo>
                    <a:pt x="4585" y="1582"/>
                  </a:lnTo>
                  <a:lnTo>
                    <a:pt x="4585" y="1587"/>
                  </a:lnTo>
                  <a:lnTo>
                    <a:pt x="4585" y="1587"/>
                  </a:lnTo>
                  <a:lnTo>
                    <a:pt x="4585" y="1587"/>
                  </a:lnTo>
                  <a:lnTo>
                    <a:pt x="4590" y="1587"/>
                  </a:lnTo>
                  <a:lnTo>
                    <a:pt x="4590" y="1592"/>
                  </a:lnTo>
                  <a:lnTo>
                    <a:pt x="4590" y="1592"/>
                  </a:lnTo>
                  <a:lnTo>
                    <a:pt x="4590" y="1592"/>
                  </a:lnTo>
                  <a:lnTo>
                    <a:pt x="4585" y="1592"/>
                  </a:lnTo>
                  <a:lnTo>
                    <a:pt x="4590" y="1592"/>
                  </a:lnTo>
                  <a:lnTo>
                    <a:pt x="4590" y="1592"/>
                  </a:lnTo>
                  <a:lnTo>
                    <a:pt x="4590" y="1592"/>
                  </a:lnTo>
                  <a:lnTo>
                    <a:pt x="4594" y="1596"/>
                  </a:lnTo>
                  <a:lnTo>
                    <a:pt x="4594" y="1596"/>
                  </a:lnTo>
                  <a:lnTo>
                    <a:pt x="4599" y="1596"/>
                  </a:lnTo>
                  <a:lnTo>
                    <a:pt x="4599" y="1601"/>
                  </a:lnTo>
                  <a:lnTo>
                    <a:pt x="4599" y="1601"/>
                  </a:lnTo>
                  <a:lnTo>
                    <a:pt x="4599" y="1605"/>
                  </a:lnTo>
                  <a:lnTo>
                    <a:pt x="4599" y="1605"/>
                  </a:lnTo>
                  <a:lnTo>
                    <a:pt x="4599" y="1610"/>
                  </a:lnTo>
                  <a:lnTo>
                    <a:pt x="4599" y="1610"/>
                  </a:lnTo>
                  <a:lnTo>
                    <a:pt x="4599" y="1614"/>
                  </a:lnTo>
                  <a:lnTo>
                    <a:pt x="4603" y="1614"/>
                  </a:lnTo>
                  <a:lnTo>
                    <a:pt x="4603" y="1614"/>
                  </a:lnTo>
                  <a:lnTo>
                    <a:pt x="4603" y="1619"/>
                  </a:lnTo>
                  <a:lnTo>
                    <a:pt x="4603" y="1628"/>
                  </a:lnTo>
                  <a:lnTo>
                    <a:pt x="4603" y="1637"/>
                  </a:lnTo>
                  <a:lnTo>
                    <a:pt x="4603" y="1637"/>
                  </a:lnTo>
                  <a:lnTo>
                    <a:pt x="4603" y="1637"/>
                  </a:lnTo>
                  <a:lnTo>
                    <a:pt x="4603" y="1637"/>
                  </a:lnTo>
                  <a:lnTo>
                    <a:pt x="4608" y="1637"/>
                  </a:lnTo>
                  <a:lnTo>
                    <a:pt x="4608" y="1632"/>
                  </a:lnTo>
                  <a:lnTo>
                    <a:pt x="4613" y="1637"/>
                  </a:lnTo>
                  <a:lnTo>
                    <a:pt x="4613" y="1637"/>
                  </a:lnTo>
                  <a:lnTo>
                    <a:pt x="4613" y="1637"/>
                  </a:lnTo>
                  <a:lnTo>
                    <a:pt x="4613" y="1637"/>
                  </a:lnTo>
                  <a:lnTo>
                    <a:pt x="4617" y="1632"/>
                  </a:lnTo>
                  <a:lnTo>
                    <a:pt x="4613" y="1637"/>
                  </a:lnTo>
                  <a:lnTo>
                    <a:pt x="4613" y="1637"/>
                  </a:lnTo>
                  <a:lnTo>
                    <a:pt x="4613" y="1637"/>
                  </a:lnTo>
                  <a:lnTo>
                    <a:pt x="4617" y="1637"/>
                  </a:lnTo>
                  <a:lnTo>
                    <a:pt x="4617" y="1637"/>
                  </a:lnTo>
                  <a:lnTo>
                    <a:pt x="4622" y="1637"/>
                  </a:lnTo>
                  <a:lnTo>
                    <a:pt x="4622" y="1637"/>
                  </a:lnTo>
                  <a:lnTo>
                    <a:pt x="4626" y="1637"/>
                  </a:lnTo>
                  <a:lnTo>
                    <a:pt x="4626" y="1637"/>
                  </a:lnTo>
                  <a:lnTo>
                    <a:pt x="4631" y="1637"/>
                  </a:lnTo>
                  <a:lnTo>
                    <a:pt x="4631" y="1632"/>
                  </a:lnTo>
                  <a:lnTo>
                    <a:pt x="4631" y="1637"/>
                  </a:lnTo>
                  <a:lnTo>
                    <a:pt x="4631" y="1637"/>
                  </a:lnTo>
                  <a:lnTo>
                    <a:pt x="4631" y="1637"/>
                  </a:lnTo>
                  <a:lnTo>
                    <a:pt x="4631" y="1641"/>
                  </a:lnTo>
                  <a:lnTo>
                    <a:pt x="4631" y="1646"/>
                  </a:lnTo>
                  <a:lnTo>
                    <a:pt x="4631" y="1646"/>
                  </a:lnTo>
                  <a:lnTo>
                    <a:pt x="4631" y="1646"/>
                  </a:lnTo>
                  <a:lnTo>
                    <a:pt x="4631" y="1646"/>
                  </a:lnTo>
                  <a:lnTo>
                    <a:pt x="4635" y="1646"/>
                  </a:lnTo>
                  <a:lnTo>
                    <a:pt x="4635" y="1646"/>
                  </a:lnTo>
                  <a:lnTo>
                    <a:pt x="4640" y="1641"/>
                  </a:lnTo>
                  <a:lnTo>
                    <a:pt x="4640" y="1646"/>
                  </a:lnTo>
                  <a:lnTo>
                    <a:pt x="4644" y="1646"/>
                  </a:lnTo>
                  <a:lnTo>
                    <a:pt x="4649" y="1641"/>
                  </a:lnTo>
                  <a:lnTo>
                    <a:pt x="4653" y="1641"/>
                  </a:lnTo>
                  <a:lnTo>
                    <a:pt x="4653" y="1637"/>
                  </a:lnTo>
                  <a:lnTo>
                    <a:pt x="4658" y="1641"/>
                  </a:lnTo>
                  <a:lnTo>
                    <a:pt x="4658" y="1641"/>
                  </a:lnTo>
                  <a:lnTo>
                    <a:pt x="4658" y="1641"/>
                  </a:lnTo>
                  <a:lnTo>
                    <a:pt x="4662" y="1641"/>
                  </a:lnTo>
                  <a:lnTo>
                    <a:pt x="4662" y="1641"/>
                  </a:lnTo>
                  <a:lnTo>
                    <a:pt x="4662" y="1641"/>
                  </a:lnTo>
                  <a:lnTo>
                    <a:pt x="4662" y="1641"/>
                  </a:lnTo>
                  <a:lnTo>
                    <a:pt x="4662" y="1641"/>
                  </a:lnTo>
                  <a:lnTo>
                    <a:pt x="4662" y="1646"/>
                  </a:lnTo>
                  <a:lnTo>
                    <a:pt x="4662" y="1646"/>
                  </a:lnTo>
                  <a:lnTo>
                    <a:pt x="4667" y="1646"/>
                  </a:lnTo>
                  <a:lnTo>
                    <a:pt x="4667" y="1646"/>
                  </a:lnTo>
                  <a:lnTo>
                    <a:pt x="4671" y="1641"/>
                  </a:lnTo>
                  <a:lnTo>
                    <a:pt x="4671" y="1641"/>
                  </a:lnTo>
                  <a:lnTo>
                    <a:pt x="4671" y="1641"/>
                  </a:lnTo>
                  <a:lnTo>
                    <a:pt x="4671" y="1646"/>
                  </a:lnTo>
                  <a:lnTo>
                    <a:pt x="4671" y="1646"/>
                  </a:lnTo>
                  <a:lnTo>
                    <a:pt x="4676" y="1641"/>
                  </a:lnTo>
                  <a:lnTo>
                    <a:pt x="4676" y="1641"/>
                  </a:lnTo>
                  <a:lnTo>
                    <a:pt x="4676" y="1646"/>
                  </a:lnTo>
                  <a:lnTo>
                    <a:pt x="4676" y="1646"/>
                  </a:lnTo>
                  <a:lnTo>
                    <a:pt x="4676" y="1646"/>
                  </a:lnTo>
                  <a:lnTo>
                    <a:pt x="4676" y="1646"/>
                  </a:lnTo>
                  <a:lnTo>
                    <a:pt x="4676" y="1646"/>
                  </a:lnTo>
                  <a:lnTo>
                    <a:pt x="4680" y="1646"/>
                  </a:lnTo>
                  <a:lnTo>
                    <a:pt x="4680" y="1646"/>
                  </a:lnTo>
                  <a:lnTo>
                    <a:pt x="4680" y="1650"/>
                  </a:lnTo>
                  <a:lnTo>
                    <a:pt x="4680" y="1659"/>
                  </a:lnTo>
                  <a:lnTo>
                    <a:pt x="4680" y="1659"/>
                  </a:lnTo>
                  <a:lnTo>
                    <a:pt x="4680" y="1659"/>
                  </a:lnTo>
                  <a:lnTo>
                    <a:pt x="4689" y="1655"/>
                  </a:lnTo>
                  <a:lnTo>
                    <a:pt x="4703" y="1650"/>
                  </a:lnTo>
                  <a:lnTo>
                    <a:pt x="4703" y="1646"/>
                  </a:lnTo>
                  <a:close/>
                  <a:moveTo>
                    <a:pt x="4707" y="1745"/>
                  </a:moveTo>
                  <a:lnTo>
                    <a:pt x="4707" y="1745"/>
                  </a:lnTo>
                  <a:lnTo>
                    <a:pt x="4707" y="1745"/>
                  </a:lnTo>
                  <a:lnTo>
                    <a:pt x="4707" y="1745"/>
                  </a:lnTo>
                  <a:lnTo>
                    <a:pt x="4703" y="1741"/>
                  </a:lnTo>
                  <a:lnTo>
                    <a:pt x="4703" y="1741"/>
                  </a:lnTo>
                  <a:lnTo>
                    <a:pt x="4698" y="1745"/>
                  </a:lnTo>
                  <a:lnTo>
                    <a:pt x="4698" y="1745"/>
                  </a:lnTo>
                  <a:lnTo>
                    <a:pt x="4698" y="1750"/>
                  </a:lnTo>
                  <a:lnTo>
                    <a:pt x="4698" y="1754"/>
                  </a:lnTo>
                  <a:lnTo>
                    <a:pt x="4694" y="1754"/>
                  </a:lnTo>
                  <a:lnTo>
                    <a:pt x="4694" y="1754"/>
                  </a:lnTo>
                  <a:lnTo>
                    <a:pt x="4694" y="1754"/>
                  </a:lnTo>
                  <a:lnTo>
                    <a:pt x="4694" y="1754"/>
                  </a:lnTo>
                  <a:lnTo>
                    <a:pt x="4694" y="1754"/>
                  </a:lnTo>
                  <a:lnTo>
                    <a:pt x="4694" y="1754"/>
                  </a:lnTo>
                  <a:lnTo>
                    <a:pt x="4698" y="1754"/>
                  </a:lnTo>
                  <a:lnTo>
                    <a:pt x="4698" y="1754"/>
                  </a:lnTo>
                  <a:lnTo>
                    <a:pt x="4703" y="1759"/>
                  </a:lnTo>
                  <a:lnTo>
                    <a:pt x="4707" y="1754"/>
                  </a:lnTo>
                  <a:lnTo>
                    <a:pt x="4703" y="1754"/>
                  </a:lnTo>
                  <a:lnTo>
                    <a:pt x="4703" y="1754"/>
                  </a:lnTo>
                  <a:lnTo>
                    <a:pt x="4707" y="1750"/>
                  </a:lnTo>
                  <a:lnTo>
                    <a:pt x="4707" y="1745"/>
                  </a:lnTo>
                  <a:close/>
                  <a:moveTo>
                    <a:pt x="4680" y="1754"/>
                  </a:moveTo>
                  <a:lnTo>
                    <a:pt x="4680" y="1754"/>
                  </a:lnTo>
                  <a:lnTo>
                    <a:pt x="4680" y="1754"/>
                  </a:lnTo>
                  <a:lnTo>
                    <a:pt x="4680" y="1754"/>
                  </a:lnTo>
                  <a:lnTo>
                    <a:pt x="4680" y="1754"/>
                  </a:lnTo>
                  <a:lnTo>
                    <a:pt x="4680" y="1754"/>
                  </a:lnTo>
                  <a:lnTo>
                    <a:pt x="4685" y="1750"/>
                  </a:lnTo>
                  <a:lnTo>
                    <a:pt x="4685" y="1750"/>
                  </a:lnTo>
                  <a:lnTo>
                    <a:pt x="4689" y="1750"/>
                  </a:lnTo>
                  <a:lnTo>
                    <a:pt x="4689" y="1745"/>
                  </a:lnTo>
                  <a:lnTo>
                    <a:pt x="4689" y="1745"/>
                  </a:lnTo>
                  <a:lnTo>
                    <a:pt x="4689" y="1745"/>
                  </a:lnTo>
                  <a:lnTo>
                    <a:pt x="4689" y="1741"/>
                  </a:lnTo>
                  <a:lnTo>
                    <a:pt x="4689" y="1741"/>
                  </a:lnTo>
                  <a:lnTo>
                    <a:pt x="4685" y="1741"/>
                  </a:lnTo>
                  <a:lnTo>
                    <a:pt x="4685" y="1741"/>
                  </a:lnTo>
                  <a:lnTo>
                    <a:pt x="4680" y="1741"/>
                  </a:lnTo>
                  <a:lnTo>
                    <a:pt x="4680" y="1741"/>
                  </a:lnTo>
                  <a:lnTo>
                    <a:pt x="4680" y="1741"/>
                  </a:lnTo>
                  <a:lnTo>
                    <a:pt x="4676" y="1741"/>
                  </a:lnTo>
                  <a:lnTo>
                    <a:pt x="4671" y="1741"/>
                  </a:lnTo>
                  <a:lnTo>
                    <a:pt x="4671" y="1741"/>
                  </a:lnTo>
                  <a:lnTo>
                    <a:pt x="4671" y="1741"/>
                  </a:lnTo>
                  <a:lnTo>
                    <a:pt x="4671" y="1741"/>
                  </a:lnTo>
                  <a:lnTo>
                    <a:pt x="4671" y="1741"/>
                  </a:lnTo>
                  <a:lnTo>
                    <a:pt x="4671" y="1741"/>
                  </a:lnTo>
                  <a:lnTo>
                    <a:pt x="4671" y="1745"/>
                  </a:lnTo>
                  <a:lnTo>
                    <a:pt x="4671" y="1745"/>
                  </a:lnTo>
                  <a:lnTo>
                    <a:pt x="4676" y="1745"/>
                  </a:lnTo>
                  <a:lnTo>
                    <a:pt x="4676" y="1745"/>
                  </a:lnTo>
                  <a:lnTo>
                    <a:pt x="4676" y="1750"/>
                  </a:lnTo>
                  <a:lnTo>
                    <a:pt x="4680" y="1750"/>
                  </a:lnTo>
                  <a:lnTo>
                    <a:pt x="4680" y="1750"/>
                  </a:lnTo>
                  <a:lnTo>
                    <a:pt x="4680" y="1750"/>
                  </a:lnTo>
                  <a:lnTo>
                    <a:pt x="4680" y="1754"/>
                  </a:lnTo>
                  <a:lnTo>
                    <a:pt x="4680" y="1754"/>
                  </a:lnTo>
                  <a:close/>
                  <a:moveTo>
                    <a:pt x="4960" y="1582"/>
                  </a:moveTo>
                  <a:lnTo>
                    <a:pt x="4960" y="1582"/>
                  </a:lnTo>
                  <a:lnTo>
                    <a:pt x="4960" y="1582"/>
                  </a:lnTo>
                  <a:lnTo>
                    <a:pt x="4960" y="1582"/>
                  </a:lnTo>
                  <a:lnTo>
                    <a:pt x="4960" y="1582"/>
                  </a:lnTo>
                  <a:lnTo>
                    <a:pt x="4960" y="1582"/>
                  </a:lnTo>
                  <a:lnTo>
                    <a:pt x="4965" y="1587"/>
                  </a:lnTo>
                  <a:lnTo>
                    <a:pt x="4965" y="1582"/>
                  </a:lnTo>
                  <a:lnTo>
                    <a:pt x="4965" y="1582"/>
                  </a:lnTo>
                  <a:lnTo>
                    <a:pt x="4965" y="1582"/>
                  </a:lnTo>
                  <a:lnTo>
                    <a:pt x="4965" y="1582"/>
                  </a:lnTo>
                  <a:lnTo>
                    <a:pt x="4965" y="1582"/>
                  </a:lnTo>
                  <a:lnTo>
                    <a:pt x="4960" y="1578"/>
                  </a:lnTo>
                  <a:lnTo>
                    <a:pt x="4960" y="1578"/>
                  </a:lnTo>
                  <a:lnTo>
                    <a:pt x="4960" y="1578"/>
                  </a:lnTo>
                  <a:lnTo>
                    <a:pt x="4960" y="1578"/>
                  </a:lnTo>
                  <a:lnTo>
                    <a:pt x="4965" y="1582"/>
                  </a:lnTo>
                  <a:lnTo>
                    <a:pt x="4965" y="1582"/>
                  </a:lnTo>
                  <a:lnTo>
                    <a:pt x="4965" y="1582"/>
                  </a:lnTo>
                  <a:lnTo>
                    <a:pt x="4969" y="1582"/>
                  </a:lnTo>
                  <a:lnTo>
                    <a:pt x="4969" y="1582"/>
                  </a:lnTo>
                  <a:lnTo>
                    <a:pt x="4969" y="1582"/>
                  </a:lnTo>
                  <a:lnTo>
                    <a:pt x="4969" y="1582"/>
                  </a:lnTo>
                  <a:lnTo>
                    <a:pt x="4974" y="1582"/>
                  </a:lnTo>
                  <a:lnTo>
                    <a:pt x="4974" y="1582"/>
                  </a:lnTo>
                  <a:lnTo>
                    <a:pt x="4974" y="1582"/>
                  </a:lnTo>
                  <a:lnTo>
                    <a:pt x="4974" y="1578"/>
                  </a:lnTo>
                  <a:lnTo>
                    <a:pt x="4974" y="1578"/>
                  </a:lnTo>
                  <a:lnTo>
                    <a:pt x="4969" y="1578"/>
                  </a:lnTo>
                  <a:lnTo>
                    <a:pt x="4969" y="1578"/>
                  </a:lnTo>
                  <a:lnTo>
                    <a:pt x="4965" y="1578"/>
                  </a:lnTo>
                  <a:lnTo>
                    <a:pt x="4965" y="1578"/>
                  </a:lnTo>
                  <a:lnTo>
                    <a:pt x="4960" y="1578"/>
                  </a:lnTo>
                  <a:lnTo>
                    <a:pt x="4960" y="1578"/>
                  </a:lnTo>
                  <a:lnTo>
                    <a:pt x="4960" y="1578"/>
                  </a:lnTo>
                  <a:lnTo>
                    <a:pt x="4956" y="1578"/>
                  </a:lnTo>
                  <a:lnTo>
                    <a:pt x="4956" y="1578"/>
                  </a:lnTo>
                  <a:lnTo>
                    <a:pt x="4956" y="1578"/>
                  </a:lnTo>
                  <a:lnTo>
                    <a:pt x="4956" y="1578"/>
                  </a:lnTo>
                  <a:lnTo>
                    <a:pt x="4956" y="1582"/>
                  </a:lnTo>
                  <a:lnTo>
                    <a:pt x="4956" y="1582"/>
                  </a:lnTo>
                  <a:lnTo>
                    <a:pt x="4960" y="1582"/>
                  </a:lnTo>
                  <a:close/>
                  <a:moveTo>
                    <a:pt x="3908" y="140"/>
                  </a:moveTo>
                  <a:lnTo>
                    <a:pt x="3908" y="140"/>
                  </a:lnTo>
                  <a:lnTo>
                    <a:pt x="3908" y="140"/>
                  </a:lnTo>
                  <a:lnTo>
                    <a:pt x="3908" y="145"/>
                  </a:lnTo>
                  <a:lnTo>
                    <a:pt x="3912" y="145"/>
                  </a:lnTo>
                  <a:lnTo>
                    <a:pt x="3917" y="145"/>
                  </a:lnTo>
                  <a:lnTo>
                    <a:pt x="3917" y="145"/>
                  </a:lnTo>
                  <a:lnTo>
                    <a:pt x="3921" y="145"/>
                  </a:lnTo>
                  <a:lnTo>
                    <a:pt x="3926" y="145"/>
                  </a:lnTo>
                  <a:lnTo>
                    <a:pt x="3921" y="145"/>
                  </a:lnTo>
                  <a:lnTo>
                    <a:pt x="3926" y="140"/>
                  </a:lnTo>
                  <a:lnTo>
                    <a:pt x="3926" y="140"/>
                  </a:lnTo>
                  <a:lnTo>
                    <a:pt x="3926" y="140"/>
                  </a:lnTo>
                  <a:lnTo>
                    <a:pt x="3926" y="140"/>
                  </a:lnTo>
                  <a:lnTo>
                    <a:pt x="3921" y="140"/>
                  </a:lnTo>
                  <a:lnTo>
                    <a:pt x="3921" y="140"/>
                  </a:lnTo>
                  <a:lnTo>
                    <a:pt x="3917" y="140"/>
                  </a:lnTo>
                  <a:lnTo>
                    <a:pt x="3908" y="136"/>
                  </a:lnTo>
                  <a:lnTo>
                    <a:pt x="3908" y="140"/>
                  </a:lnTo>
                  <a:lnTo>
                    <a:pt x="3908" y="140"/>
                  </a:lnTo>
                  <a:lnTo>
                    <a:pt x="3908" y="140"/>
                  </a:lnTo>
                  <a:lnTo>
                    <a:pt x="3908" y="140"/>
                  </a:lnTo>
                  <a:lnTo>
                    <a:pt x="3908" y="140"/>
                  </a:lnTo>
                  <a:lnTo>
                    <a:pt x="3908" y="140"/>
                  </a:lnTo>
                  <a:close/>
                  <a:moveTo>
                    <a:pt x="4893" y="787"/>
                  </a:moveTo>
                  <a:lnTo>
                    <a:pt x="4893" y="787"/>
                  </a:lnTo>
                  <a:lnTo>
                    <a:pt x="4893" y="782"/>
                  </a:lnTo>
                  <a:lnTo>
                    <a:pt x="4888" y="782"/>
                  </a:lnTo>
                  <a:lnTo>
                    <a:pt x="4888" y="778"/>
                  </a:lnTo>
                  <a:lnTo>
                    <a:pt x="4888" y="778"/>
                  </a:lnTo>
                  <a:lnTo>
                    <a:pt x="4893" y="778"/>
                  </a:lnTo>
                  <a:lnTo>
                    <a:pt x="4893" y="778"/>
                  </a:lnTo>
                  <a:lnTo>
                    <a:pt x="4893" y="778"/>
                  </a:lnTo>
                  <a:lnTo>
                    <a:pt x="4893" y="773"/>
                  </a:lnTo>
                  <a:lnTo>
                    <a:pt x="4893" y="773"/>
                  </a:lnTo>
                  <a:lnTo>
                    <a:pt x="4893" y="769"/>
                  </a:lnTo>
                  <a:lnTo>
                    <a:pt x="4893" y="769"/>
                  </a:lnTo>
                  <a:lnTo>
                    <a:pt x="4888" y="769"/>
                  </a:lnTo>
                  <a:lnTo>
                    <a:pt x="4888" y="764"/>
                  </a:lnTo>
                  <a:lnTo>
                    <a:pt x="4888" y="764"/>
                  </a:lnTo>
                  <a:lnTo>
                    <a:pt x="4888" y="764"/>
                  </a:lnTo>
                  <a:lnTo>
                    <a:pt x="4888" y="764"/>
                  </a:lnTo>
                  <a:lnTo>
                    <a:pt x="4893" y="764"/>
                  </a:lnTo>
                  <a:lnTo>
                    <a:pt x="4893" y="764"/>
                  </a:lnTo>
                  <a:lnTo>
                    <a:pt x="4893" y="764"/>
                  </a:lnTo>
                  <a:lnTo>
                    <a:pt x="4893" y="760"/>
                  </a:lnTo>
                  <a:lnTo>
                    <a:pt x="4888" y="760"/>
                  </a:lnTo>
                  <a:lnTo>
                    <a:pt x="4888" y="755"/>
                  </a:lnTo>
                  <a:lnTo>
                    <a:pt x="4884" y="751"/>
                  </a:lnTo>
                  <a:lnTo>
                    <a:pt x="4884" y="751"/>
                  </a:lnTo>
                  <a:lnTo>
                    <a:pt x="4884" y="751"/>
                  </a:lnTo>
                  <a:lnTo>
                    <a:pt x="4884" y="746"/>
                  </a:lnTo>
                  <a:lnTo>
                    <a:pt x="4884" y="746"/>
                  </a:lnTo>
                  <a:lnTo>
                    <a:pt x="4879" y="746"/>
                  </a:lnTo>
                  <a:lnTo>
                    <a:pt x="4879" y="742"/>
                  </a:lnTo>
                  <a:lnTo>
                    <a:pt x="4875" y="737"/>
                  </a:lnTo>
                  <a:lnTo>
                    <a:pt x="4870" y="737"/>
                  </a:lnTo>
                  <a:lnTo>
                    <a:pt x="4866" y="733"/>
                  </a:lnTo>
                  <a:lnTo>
                    <a:pt x="4866" y="733"/>
                  </a:lnTo>
                  <a:lnTo>
                    <a:pt x="4861" y="728"/>
                  </a:lnTo>
                  <a:lnTo>
                    <a:pt x="4861" y="728"/>
                  </a:lnTo>
                  <a:lnTo>
                    <a:pt x="4856" y="723"/>
                  </a:lnTo>
                  <a:lnTo>
                    <a:pt x="4852" y="719"/>
                  </a:lnTo>
                  <a:lnTo>
                    <a:pt x="4852" y="714"/>
                  </a:lnTo>
                  <a:lnTo>
                    <a:pt x="4852" y="719"/>
                  </a:lnTo>
                  <a:lnTo>
                    <a:pt x="4847" y="719"/>
                  </a:lnTo>
                  <a:lnTo>
                    <a:pt x="4847" y="714"/>
                  </a:lnTo>
                  <a:lnTo>
                    <a:pt x="4847" y="714"/>
                  </a:lnTo>
                  <a:lnTo>
                    <a:pt x="4843" y="714"/>
                  </a:lnTo>
                  <a:lnTo>
                    <a:pt x="4843" y="714"/>
                  </a:lnTo>
                  <a:lnTo>
                    <a:pt x="4843" y="719"/>
                  </a:lnTo>
                  <a:lnTo>
                    <a:pt x="4843" y="719"/>
                  </a:lnTo>
                  <a:lnTo>
                    <a:pt x="4847" y="723"/>
                  </a:lnTo>
                  <a:lnTo>
                    <a:pt x="4852" y="723"/>
                  </a:lnTo>
                  <a:lnTo>
                    <a:pt x="4852" y="719"/>
                  </a:lnTo>
                  <a:lnTo>
                    <a:pt x="4852" y="719"/>
                  </a:lnTo>
                  <a:lnTo>
                    <a:pt x="4852" y="719"/>
                  </a:lnTo>
                  <a:lnTo>
                    <a:pt x="4852" y="719"/>
                  </a:lnTo>
                  <a:lnTo>
                    <a:pt x="4852" y="723"/>
                  </a:lnTo>
                  <a:lnTo>
                    <a:pt x="4856" y="723"/>
                  </a:lnTo>
                  <a:lnTo>
                    <a:pt x="4856" y="728"/>
                  </a:lnTo>
                  <a:lnTo>
                    <a:pt x="4856" y="728"/>
                  </a:lnTo>
                  <a:lnTo>
                    <a:pt x="4852" y="728"/>
                  </a:lnTo>
                  <a:lnTo>
                    <a:pt x="4852" y="728"/>
                  </a:lnTo>
                  <a:lnTo>
                    <a:pt x="4852" y="728"/>
                  </a:lnTo>
                  <a:lnTo>
                    <a:pt x="4852" y="728"/>
                  </a:lnTo>
                  <a:lnTo>
                    <a:pt x="4852" y="728"/>
                  </a:lnTo>
                  <a:lnTo>
                    <a:pt x="4847" y="728"/>
                  </a:lnTo>
                  <a:lnTo>
                    <a:pt x="4847" y="728"/>
                  </a:lnTo>
                  <a:lnTo>
                    <a:pt x="4843" y="723"/>
                  </a:lnTo>
                  <a:lnTo>
                    <a:pt x="4843" y="723"/>
                  </a:lnTo>
                  <a:lnTo>
                    <a:pt x="4843" y="723"/>
                  </a:lnTo>
                  <a:lnTo>
                    <a:pt x="4843" y="723"/>
                  </a:lnTo>
                  <a:lnTo>
                    <a:pt x="4838" y="723"/>
                  </a:lnTo>
                  <a:lnTo>
                    <a:pt x="4838" y="723"/>
                  </a:lnTo>
                  <a:lnTo>
                    <a:pt x="4838" y="723"/>
                  </a:lnTo>
                  <a:lnTo>
                    <a:pt x="4838" y="723"/>
                  </a:lnTo>
                  <a:lnTo>
                    <a:pt x="4843" y="728"/>
                  </a:lnTo>
                  <a:lnTo>
                    <a:pt x="4843" y="728"/>
                  </a:lnTo>
                  <a:lnTo>
                    <a:pt x="4843" y="728"/>
                  </a:lnTo>
                  <a:lnTo>
                    <a:pt x="4843" y="728"/>
                  </a:lnTo>
                  <a:lnTo>
                    <a:pt x="4843" y="733"/>
                  </a:lnTo>
                  <a:lnTo>
                    <a:pt x="4843" y="733"/>
                  </a:lnTo>
                  <a:lnTo>
                    <a:pt x="4843" y="733"/>
                  </a:lnTo>
                  <a:lnTo>
                    <a:pt x="4843" y="733"/>
                  </a:lnTo>
                  <a:lnTo>
                    <a:pt x="4843" y="733"/>
                  </a:lnTo>
                  <a:lnTo>
                    <a:pt x="4843" y="733"/>
                  </a:lnTo>
                  <a:lnTo>
                    <a:pt x="4843" y="737"/>
                  </a:lnTo>
                  <a:lnTo>
                    <a:pt x="4843" y="737"/>
                  </a:lnTo>
                  <a:lnTo>
                    <a:pt x="4847" y="742"/>
                  </a:lnTo>
                  <a:lnTo>
                    <a:pt x="4847" y="742"/>
                  </a:lnTo>
                  <a:lnTo>
                    <a:pt x="4847" y="742"/>
                  </a:lnTo>
                  <a:lnTo>
                    <a:pt x="4847" y="746"/>
                  </a:lnTo>
                  <a:lnTo>
                    <a:pt x="4847" y="746"/>
                  </a:lnTo>
                  <a:lnTo>
                    <a:pt x="4847" y="746"/>
                  </a:lnTo>
                  <a:lnTo>
                    <a:pt x="4847" y="746"/>
                  </a:lnTo>
                  <a:lnTo>
                    <a:pt x="4847" y="751"/>
                  </a:lnTo>
                  <a:lnTo>
                    <a:pt x="4852" y="751"/>
                  </a:lnTo>
                  <a:lnTo>
                    <a:pt x="4852" y="751"/>
                  </a:lnTo>
                  <a:lnTo>
                    <a:pt x="4852" y="751"/>
                  </a:lnTo>
                  <a:lnTo>
                    <a:pt x="4852" y="751"/>
                  </a:lnTo>
                  <a:lnTo>
                    <a:pt x="4856" y="751"/>
                  </a:lnTo>
                  <a:lnTo>
                    <a:pt x="4856" y="755"/>
                  </a:lnTo>
                  <a:lnTo>
                    <a:pt x="4861" y="755"/>
                  </a:lnTo>
                  <a:lnTo>
                    <a:pt x="4861" y="760"/>
                  </a:lnTo>
                  <a:lnTo>
                    <a:pt x="4861" y="760"/>
                  </a:lnTo>
                  <a:lnTo>
                    <a:pt x="4861" y="760"/>
                  </a:lnTo>
                  <a:lnTo>
                    <a:pt x="4861" y="760"/>
                  </a:lnTo>
                  <a:lnTo>
                    <a:pt x="4861" y="764"/>
                  </a:lnTo>
                  <a:lnTo>
                    <a:pt x="4861" y="764"/>
                  </a:lnTo>
                  <a:lnTo>
                    <a:pt x="4861" y="769"/>
                  </a:lnTo>
                  <a:lnTo>
                    <a:pt x="4866" y="769"/>
                  </a:lnTo>
                  <a:lnTo>
                    <a:pt x="4866" y="773"/>
                  </a:lnTo>
                  <a:lnTo>
                    <a:pt x="4866" y="773"/>
                  </a:lnTo>
                  <a:lnTo>
                    <a:pt x="4866" y="778"/>
                  </a:lnTo>
                  <a:lnTo>
                    <a:pt x="4866" y="778"/>
                  </a:lnTo>
                  <a:lnTo>
                    <a:pt x="4866" y="782"/>
                  </a:lnTo>
                  <a:lnTo>
                    <a:pt x="4866" y="782"/>
                  </a:lnTo>
                  <a:lnTo>
                    <a:pt x="4866" y="787"/>
                  </a:lnTo>
                  <a:lnTo>
                    <a:pt x="4866" y="787"/>
                  </a:lnTo>
                  <a:lnTo>
                    <a:pt x="4861" y="791"/>
                  </a:lnTo>
                  <a:lnTo>
                    <a:pt x="4861" y="791"/>
                  </a:lnTo>
                  <a:lnTo>
                    <a:pt x="4866" y="796"/>
                  </a:lnTo>
                  <a:lnTo>
                    <a:pt x="4866" y="796"/>
                  </a:lnTo>
                  <a:lnTo>
                    <a:pt x="4866" y="800"/>
                  </a:lnTo>
                  <a:lnTo>
                    <a:pt x="4866" y="800"/>
                  </a:lnTo>
                  <a:lnTo>
                    <a:pt x="4861" y="805"/>
                  </a:lnTo>
                  <a:lnTo>
                    <a:pt x="4861" y="805"/>
                  </a:lnTo>
                  <a:lnTo>
                    <a:pt x="4861" y="805"/>
                  </a:lnTo>
                  <a:lnTo>
                    <a:pt x="4856" y="809"/>
                  </a:lnTo>
                  <a:lnTo>
                    <a:pt x="4852" y="809"/>
                  </a:lnTo>
                  <a:lnTo>
                    <a:pt x="4852" y="809"/>
                  </a:lnTo>
                  <a:lnTo>
                    <a:pt x="4852" y="814"/>
                  </a:lnTo>
                  <a:lnTo>
                    <a:pt x="4852" y="814"/>
                  </a:lnTo>
                  <a:lnTo>
                    <a:pt x="4852" y="814"/>
                  </a:lnTo>
                  <a:lnTo>
                    <a:pt x="4852" y="814"/>
                  </a:lnTo>
                  <a:lnTo>
                    <a:pt x="4847" y="814"/>
                  </a:lnTo>
                  <a:lnTo>
                    <a:pt x="4847" y="814"/>
                  </a:lnTo>
                  <a:lnTo>
                    <a:pt x="4847" y="809"/>
                  </a:lnTo>
                  <a:lnTo>
                    <a:pt x="4843" y="809"/>
                  </a:lnTo>
                  <a:lnTo>
                    <a:pt x="4843" y="809"/>
                  </a:lnTo>
                  <a:lnTo>
                    <a:pt x="4843" y="805"/>
                  </a:lnTo>
                  <a:lnTo>
                    <a:pt x="4843" y="805"/>
                  </a:lnTo>
                  <a:lnTo>
                    <a:pt x="4843" y="805"/>
                  </a:lnTo>
                  <a:lnTo>
                    <a:pt x="4843" y="805"/>
                  </a:lnTo>
                  <a:lnTo>
                    <a:pt x="4843" y="800"/>
                  </a:lnTo>
                  <a:lnTo>
                    <a:pt x="4843" y="800"/>
                  </a:lnTo>
                  <a:lnTo>
                    <a:pt x="4843" y="800"/>
                  </a:lnTo>
                  <a:lnTo>
                    <a:pt x="4843" y="800"/>
                  </a:lnTo>
                  <a:lnTo>
                    <a:pt x="4838" y="800"/>
                  </a:lnTo>
                  <a:lnTo>
                    <a:pt x="4838" y="805"/>
                  </a:lnTo>
                  <a:lnTo>
                    <a:pt x="4838" y="805"/>
                  </a:lnTo>
                  <a:lnTo>
                    <a:pt x="4843" y="809"/>
                  </a:lnTo>
                  <a:lnTo>
                    <a:pt x="4843" y="814"/>
                  </a:lnTo>
                  <a:lnTo>
                    <a:pt x="4843" y="818"/>
                  </a:lnTo>
                  <a:lnTo>
                    <a:pt x="4843" y="823"/>
                  </a:lnTo>
                  <a:lnTo>
                    <a:pt x="4843" y="827"/>
                  </a:lnTo>
                  <a:lnTo>
                    <a:pt x="4843" y="827"/>
                  </a:lnTo>
                  <a:lnTo>
                    <a:pt x="4843" y="827"/>
                  </a:lnTo>
                  <a:lnTo>
                    <a:pt x="4843" y="832"/>
                  </a:lnTo>
                  <a:lnTo>
                    <a:pt x="4843" y="832"/>
                  </a:lnTo>
                  <a:lnTo>
                    <a:pt x="4847" y="836"/>
                  </a:lnTo>
                  <a:lnTo>
                    <a:pt x="4847" y="836"/>
                  </a:lnTo>
                  <a:lnTo>
                    <a:pt x="4847" y="841"/>
                  </a:lnTo>
                  <a:lnTo>
                    <a:pt x="4843" y="841"/>
                  </a:lnTo>
                  <a:lnTo>
                    <a:pt x="4843" y="841"/>
                  </a:lnTo>
                  <a:lnTo>
                    <a:pt x="4843" y="841"/>
                  </a:lnTo>
                  <a:lnTo>
                    <a:pt x="4838" y="841"/>
                  </a:lnTo>
                  <a:lnTo>
                    <a:pt x="4838" y="841"/>
                  </a:lnTo>
                  <a:lnTo>
                    <a:pt x="4834" y="841"/>
                  </a:lnTo>
                  <a:lnTo>
                    <a:pt x="4834" y="841"/>
                  </a:lnTo>
                  <a:lnTo>
                    <a:pt x="4834" y="836"/>
                  </a:lnTo>
                  <a:lnTo>
                    <a:pt x="4834" y="836"/>
                  </a:lnTo>
                  <a:lnTo>
                    <a:pt x="4834" y="836"/>
                  </a:lnTo>
                  <a:lnTo>
                    <a:pt x="4829" y="841"/>
                  </a:lnTo>
                  <a:lnTo>
                    <a:pt x="4825" y="841"/>
                  </a:lnTo>
                  <a:lnTo>
                    <a:pt x="4820" y="841"/>
                  </a:lnTo>
                  <a:lnTo>
                    <a:pt x="4820" y="841"/>
                  </a:lnTo>
                  <a:lnTo>
                    <a:pt x="4816" y="846"/>
                  </a:lnTo>
                  <a:lnTo>
                    <a:pt x="4816" y="846"/>
                  </a:lnTo>
                  <a:lnTo>
                    <a:pt x="4816" y="846"/>
                  </a:lnTo>
                  <a:lnTo>
                    <a:pt x="4811" y="846"/>
                  </a:lnTo>
                  <a:lnTo>
                    <a:pt x="4811" y="846"/>
                  </a:lnTo>
                  <a:lnTo>
                    <a:pt x="4811" y="846"/>
                  </a:lnTo>
                  <a:lnTo>
                    <a:pt x="4807" y="846"/>
                  </a:lnTo>
                  <a:lnTo>
                    <a:pt x="4807" y="846"/>
                  </a:lnTo>
                  <a:lnTo>
                    <a:pt x="4802" y="846"/>
                  </a:lnTo>
                  <a:lnTo>
                    <a:pt x="4802" y="846"/>
                  </a:lnTo>
                  <a:lnTo>
                    <a:pt x="4798" y="846"/>
                  </a:lnTo>
                  <a:lnTo>
                    <a:pt x="4798" y="846"/>
                  </a:lnTo>
                  <a:lnTo>
                    <a:pt x="4798" y="850"/>
                  </a:lnTo>
                  <a:lnTo>
                    <a:pt x="4798" y="855"/>
                  </a:lnTo>
                  <a:lnTo>
                    <a:pt x="4798" y="855"/>
                  </a:lnTo>
                  <a:lnTo>
                    <a:pt x="4793" y="855"/>
                  </a:lnTo>
                  <a:lnTo>
                    <a:pt x="4793" y="859"/>
                  </a:lnTo>
                  <a:lnTo>
                    <a:pt x="4793" y="859"/>
                  </a:lnTo>
                  <a:lnTo>
                    <a:pt x="4793" y="864"/>
                  </a:lnTo>
                  <a:lnTo>
                    <a:pt x="4793" y="864"/>
                  </a:lnTo>
                  <a:lnTo>
                    <a:pt x="4789" y="864"/>
                  </a:lnTo>
                  <a:lnTo>
                    <a:pt x="4789" y="864"/>
                  </a:lnTo>
                  <a:lnTo>
                    <a:pt x="4789" y="868"/>
                  </a:lnTo>
                  <a:lnTo>
                    <a:pt x="4789" y="868"/>
                  </a:lnTo>
                  <a:lnTo>
                    <a:pt x="4789" y="868"/>
                  </a:lnTo>
                  <a:lnTo>
                    <a:pt x="4784" y="868"/>
                  </a:lnTo>
                  <a:lnTo>
                    <a:pt x="4784" y="868"/>
                  </a:lnTo>
                  <a:lnTo>
                    <a:pt x="4784" y="873"/>
                  </a:lnTo>
                  <a:lnTo>
                    <a:pt x="4784" y="873"/>
                  </a:lnTo>
                  <a:lnTo>
                    <a:pt x="4784" y="873"/>
                  </a:lnTo>
                  <a:lnTo>
                    <a:pt x="4789" y="877"/>
                  </a:lnTo>
                  <a:lnTo>
                    <a:pt x="4789" y="877"/>
                  </a:lnTo>
                  <a:lnTo>
                    <a:pt x="4789" y="877"/>
                  </a:lnTo>
                  <a:lnTo>
                    <a:pt x="4789" y="877"/>
                  </a:lnTo>
                  <a:lnTo>
                    <a:pt x="4793" y="877"/>
                  </a:lnTo>
                  <a:lnTo>
                    <a:pt x="4793" y="877"/>
                  </a:lnTo>
                  <a:lnTo>
                    <a:pt x="4793" y="877"/>
                  </a:lnTo>
                  <a:lnTo>
                    <a:pt x="4793" y="877"/>
                  </a:lnTo>
                  <a:lnTo>
                    <a:pt x="4798" y="877"/>
                  </a:lnTo>
                  <a:lnTo>
                    <a:pt x="4798" y="877"/>
                  </a:lnTo>
                  <a:lnTo>
                    <a:pt x="4807" y="877"/>
                  </a:lnTo>
                  <a:lnTo>
                    <a:pt x="4807" y="877"/>
                  </a:lnTo>
                  <a:lnTo>
                    <a:pt x="4807" y="877"/>
                  </a:lnTo>
                  <a:lnTo>
                    <a:pt x="4807" y="877"/>
                  </a:lnTo>
                  <a:lnTo>
                    <a:pt x="4807" y="873"/>
                  </a:lnTo>
                  <a:lnTo>
                    <a:pt x="4807" y="868"/>
                  </a:lnTo>
                  <a:lnTo>
                    <a:pt x="4807" y="868"/>
                  </a:lnTo>
                  <a:lnTo>
                    <a:pt x="4807" y="868"/>
                  </a:lnTo>
                  <a:lnTo>
                    <a:pt x="4811" y="873"/>
                  </a:lnTo>
                  <a:lnTo>
                    <a:pt x="4811" y="868"/>
                  </a:lnTo>
                  <a:lnTo>
                    <a:pt x="4816" y="868"/>
                  </a:lnTo>
                  <a:lnTo>
                    <a:pt x="4816" y="868"/>
                  </a:lnTo>
                  <a:lnTo>
                    <a:pt x="4820" y="868"/>
                  </a:lnTo>
                  <a:lnTo>
                    <a:pt x="4820" y="868"/>
                  </a:lnTo>
                  <a:lnTo>
                    <a:pt x="4820" y="868"/>
                  </a:lnTo>
                  <a:lnTo>
                    <a:pt x="4820" y="868"/>
                  </a:lnTo>
                  <a:lnTo>
                    <a:pt x="4825" y="864"/>
                  </a:lnTo>
                  <a:lnTo>
                    <a:pt x="4825" y="864"/>
                  </a:lnTo>
                  <a:lnTo>
                    <a:pt x="4829" y="864"/>
                  </a:lnTo>
                  <a:lnTo>
                    <a:pt x="4829" y="864"/>
                  </a:lnTo>
                  <a:lnTo>
                    <a:pt x="4829" y="864"/>
                  </a:lnTo>
                  <a:lnTo>
                    <a:pt x="4829" y="859"/>
                  </a:lnTo>
                  <a:lnTo>
                    <a:pt x="4829" y="859"/>
                  </a:lnTo>
                  <a:lnTo>
                    <a:pt x="4834" y="859"/>
                  </a:lnTo>
                  <a:lnTo>
                    <a:pt x="4834" y="859"/>
                  </a:lnTo>
                  <a:lnTo>
                    <a:pt x="4834" y="859"/>
                  </a:lnTo>
                  <a:lnTo>
                    <a:pt x="4838" y="859"/>
                  </a:lnTo>
                  <a:lnTo>
                    <a:pt x="4838" y="859"/>
                  </a:lnTo>
                  <a:lnTo>
                    <a:pt x="4843" y="859"/>
                  </a:lnTo>
                  <a:lnTo>
                    <a:pt x="4843" y="859"/>
                  </a:lnTo>
                  <a:lnTo>
                    <a:pt x="4847" y="859"/>
                  </a:lnTo>
                  <a:lnTo>
                    <a:pt x="4847" y="859"/>
                  </a:lnTo>
                  <a:lnTo>
                    <a:pt x="4847" y="859"/>
                  </a:lnTo>
                  <a:lnTo>
                    <a:pt x="4852" y="859"/>
                  </a:lnTo>
                  <a:lnTo>
                    <a:pt x="4852" y="864"/>
                  </a:lnTo>
                  <a:lnTo>
                    <a:pt x="4852" y="864"/>
                  </a:lnTo>
                  <a:lnTo>
                    <a:pt x="4852" y="864"/>
                  </a:lnTo>
                  <a:lnTo>
                    <a:pt x="4847" y="868"/>
                  </a:lnTo>
                  <a:lnTo>
                    <a:pt x="4847" y="868"/>
                  </a:lnTo>
                  <a:lnTo>
                    <a:pt x="4852" y="868"/>
                  </a:lnTo>
                  <a:lnTo>
                    <a:pt x="4852" y="873"/>
                  </a:lnTo>
                  <a:lnTo>
                    <a:pt x="4852" y="873"/>
                  </a:lnTo>
                  <a:lnTo>
                    <a:pt x="4856" y="877"/>
                  </a:lnTo>
                  <a:lnTo>
                    <a:pt x="4856" y="877"/>
                  </a:lnTo>
                  <a:lnTo>
                    <a:pt x="4861" y="882"/>
                  </a:lnTo>
                  <a:lnTo>
                    <a:pt x="4861" y="882"/>
                  </a:lnTo>
                  <a:lnTo>
                    <a:pt x="4866" y="882"/>
                  </a:lnTo>
                  <a:lnTo>
                    <a:pt x="4870" y="882"/>
                  </a:lnTo>
                  <a:lnTo>
                    <a:pt x="4870" y="877"/>
                  </a:lnTo>
                  <a:lnTo>
                    <a:pt x="4870" y="868"/>
                  </a:lnTo>
                  <a:lnTo>
                    <a:pt x="4870" y="868"/>
                  </a:lnTo>
                  <a:lnTo>
                    <a:pt x="4870" y="864"/>
                  </a:lnTo>
                  <a:lnTo>
                    <a:pt x="4875" y="864"/>
                  </a:lnTo>
                  <a:lnTo>
                    <a:pt x="4875" y="864"/>
                  </a:lnTo>
                  <a:lnTo>
                    <a:pt x="4875" y="864"/>
                  </a:lnTo>
                  <a:lnTo>
                    <a:pt x="4875" y="864"/>
                  </a:lnTo>
                  <a:lnTo>
                    <a:pt x="4875" y="859"/>
                  </a:lnTo>
                  <a:lnTo>
                    <a:pt x="4870" y="859"/>
                  </a:lnTo>
                  <a:lnTo>
                    <a:pt x="4866" y="859"/>
                  </a:lnTo>
                  <a:lnTo>
                    <a:pt x="4866" y="855"/>
                  </a:lnTo>
                  <a:lnTo>
                    <a:pt x="4866" y="850"/>
                  </a:lnTo>
                  <a:lnTo>
                    <a:pt x="4866" y="850"/>
                  </a:lnTo>
                  <a:lnTo>
                    <a:pt x="4866" y="850"/>
                  </a:lnTo>
                  <a:lnTo>
                    <a:pt x="4866" y="850"/>
                  </a:lnTo>
                  <a:lnTo>
                    <a:pt x="4866" y="850"/>
                  </a:lnTo>
                  <a:lnTo>
                    <a:pt x="4866" y="850"/>
                  </a:lnTo>
                  <a:lnTo>
                    <a:pt x="4870" y="850"/>
                  </a:lnTo>
                  <a:lnTo>
                    <a:pt x="4870" y="855"/>
                  </a:lnTo>
                  <a:lnTo>
                    <a:pt x="4870" y="855"/>
                  </a:lnTo>
                  <a:lnTo>
                    <a:pt x="4870" y="855"/>
                  </a:lnTo>
                  <a:lnTo>
                    <a:pt x="4870" y="855"/>
                  </a:lnTo>
                  <a:lnTo>
                    <a:pt x="4870" y="855"/>
                  </a:lnTo>
                  <a:lnTo>
                    <a:pt x="4870" y="855"/>
                  </a:lnTo>
                  <a:lnTo>
                    <a:pt x="4870" y="855"/>
                  </a:lnTo>
                  <a:lnTo>
                    <a:pt x="4875" y="855"/>
                  </a:lnTo>
                  <a:lnTo>
                    <a:pt x="4875" y="855"/>
                  </a:lnTo>
                  <a:lnTo>
                    <a:pt x="4875" y="855"/>
                  </a:lnTo>
                  <a:lnTo>
                    <a:pt x="4875" y="855"/>
                  </a:lnTo>
                  <a:lnTo>
                    <a:pt x="4879" y="855"/>
                  </a:lnTo>
                  <a:lnTo>
                    <a:pt x="4879" y="855"/>
                  </a:lnTo>
                  <a:lnTo>
                    <a:pt x="4875" y="859"/>
                  </a:lnTo>
                  <a:lnTo>
                    <a:pt x="4875" y="859"/>
                  </a:lnTo>
                  <a:lnTo>
                    <a:pt x="4879" y="859"/>
                  </a:lnTo>
                  <a:lnTo>
                    <a:pt x="4884" y="855"/>
                  </a:lnTo>
                  <a:lnTo>
                    <a:pt x="4884" y="855"/>
                  </a:lnTo>
                  <a:lnTo>
                    <a:pt x="4888" y="855"/>
                  </a:lnTo>
                  <a:lnTo>
                    <a:pt x="4888" y="855"/>
                  </a:lnTo>
                  <a:lnTo>
                    <a:pt x="4893" y="859"/>
                  </a:lnTo>
                  <a:lnTo>
                    <a:pt x="4893" y="855"/>
                  </a:lnTo>
                  <a:lnTo>
                    <a:pt x="4893" y="850"/>
                  </a:lnTo>
                  <a:lnTo>
                    <a:pt x="4893" y="850"/>
                  </a:lnTo>
                  <a:lnTo>
                    <a:pt x="4893" y="850"/>
                  </a:lnTo>
                  <a:lnTo>
                    <a:pt x="4893" y="846"/>
                  </a:lnTo>
                  <a:lnTo>
                    <a:pt x="4893" y="846"/>
                  </a:lnTo>
                  <a:lnTo>
                    <a:pt x="4893" y="846"/>
                  </a:lnTo>
                  <a:lnTo>
                    <a:pt x="4897" y="846"/>
                  </a:lnTo>
                  <a:lnTo>
                    <a:pt x="4897" y="846"/>
                  </a:lnTo>
                  <a:lnTo>
                    <a:pt x="4897" y="850"/>
                  </a:lnTo>
                  <a:lnTo>
                    <a:pt x="4897" y="850"/>
                  </a:lnTo>
                  <a:lnTo>
                    <a:pt x="4902" y="855"/>
                  </a:lnTo>
                  <a:lnTo>
                    <a:pt x="4902" y="855"/>
                  </a:lnTo>
                  <a:lnTo>
                    <a:pt x="4902" y="855"/>
                  </a:lnTo>
                  <a:lnTo>
                    <a:pt x="4902" y="855"/>
                  </a:lnTo>
                  <a:lnTo>
                    <a:pt x="4902" y="855"/>
                  </a:lnTo>
                  <a:lnTo>
                    <a:pt x="4902" y="855"/>
                  </a:lnTo>
                  <a:lnTo>
                    <a:pt x="4902" y="850"/>
                  </a:lnTo>
                  <a:lnTo>
                    <a:pt x="4902" y="850"/>
                  </a:lnTo>
                  <a:lnTo>
                    <a:pt x="4902" y="846"/>
                  </a:lnTo>
                  <a:lnTo>
                    <a:pt x="4902" y="846"/>
                  </a:lnTo>
                  <a:lnTo>
                    <a:pt x="4902" y="846"/>
                  </a:lnTo>
                  <a:lnTo>
                    <a:pt x="4902" y="841"/>
                  </a:lnTo>
                  <a:lnTo>
                    <a:pt x="4902" y="841"/>
                  </a:lnTo>
                  <a:lnTo>
                    <a:pt x="4902" y="841"/>
                  </a:lnTo>
                  <a:lnTo>
                    <a:pt x="4906" y="841"/>
                  </a:lnTo>
                  <a:lnTo>
                    <a:pt x="4906" y="846"/>
                  </a:lnTo>
                  <a:lnTo>
                    <a:pt x="4911" y="846"/>
                  </a:lnTo>
                  <a:lnTo>
                    <a:pt x="4911" y="841"/>
                  </a:lnTo>
                  <a:lnTo>
                    <a:pt x="4906" y="841"/>
                  </a:lnTo>
                  <a:lnTo>
                    <a:pt x="4906" y="841"/>
                  </a:lnTo>
                  <a:lnTo>
                    <a:pt x="4906" y="841"/>
                  </a:lnTo>
                  <a:lnTo>
                    <a:pt x="4906" y="841"/>
                  </a:lnTo>
                  <a:lnTo>
                    <a:pt x="4906" y="836"/>
                  </a:lnTo>
                  <a:lnTo>
                    <a:pt x="4906" y="836"/>
                  </a:lnTo>
                  <a:lnTo>
                    <a:pt x="4906" y="836"/>
                  </a:lnTo>
                  <a:lnTo>
                    <a:pt x="4906" y="836"/>
                  </a:lnTo>
                  <a:lnTo>
                    <a:pt x="4906" y="832"/>
                  </a:lnTo>
                  <a:lnTo>
                    <a:pt x="4906" y="832"/>
                  </a:lnTo>
                  <a:lnTo>
                    <a:pt x="4906" y="832"/>
                  </a:lnTo>
                  <a:lnTo>
                    <a:pt x="4906" y="832"/>
                  </a:lnTo>
                  <a:lnTo>
                    <a:pt x="4911" y="836"/>
                  </a:lnTo>
                  <a:lnTo>
                    <a:pt x="4911" y="836"/>
                  </a:lnTo>
                  <a:lnTo>
                    <a:pt x="4911" y="836"/>
                  </a:lnTo>
                  <a:lnTo>
                    <a:pt x="4911" y="836"/>
                  </a:lnTo>
                  <a:lnTo>
                    <a:pt x="4911" y="841"/>
                  </a:lnTo>
                  <a:lnTo>
                    <a:pt x="4911" y="841"/>
                  </a:lnTo>
                  <a:lnTo>
                    <a:pt x="4911" y="841"/>
                  </a:lnTo>
                  <a:lnTo>
                    <a:pt x="4911" y="846"/>
                  </a:lnTo>
                  <a:lnTo>
                    <a:pt x="4911" y="846"/>
                  </a:lnTo>
                  <a:lnTo>
                    <a:pt x="4911" y="846"/>
                  </a:lnTo>
                  <a:lnTo>
                    <a:pt x="4915" y="850"/>
                  </a:lnTo>
                  <a:lnTo>
                    <a:pt x="4915" y="850"/>
                  </a:lnTo>
                  <a:lnTo>
                    <a:pt x="4915" y="846"/>
                  </a:lnTo>
                  <a:lnTo>
                    <a:pt x="4915" y="846"/>
                  </a:lnTo>
                  <a:lnTo>
                    <a:pt x="4915" y="846"/>
                  </a:lnTo>
                  <a:lnTo>
                    <a:pt x="4920" y="841"/>
                  </a:lnTo>
                  <a:lnTo>
                    <a:pt x="4920" y="841"/>
                  </a:lnTo>
                  <a:lnTo>
                    <a:pt x="4920" y="841"/>
                  </a:lnTo>
                  <a:lnTo>
                    <a:pt x="4920" y="841"/>
                  </a:lnTo>
                  <a:lnTo>
                    <a:pt x="4915" y="836"/>
                  </a:lnTo>
                  <a:lnTo>
                    <a:pt x="4915" y="836"/>
                  </a:lnTo>
                  <a:lnTo>
                    <a:pt x="4915" y="832"/>
                  </a:lnTo>
                  <a:lnTo>
                    <a:pt x="4915" y="832"/>
                  </a:lnTo>
                  <a:lnTo>
                    <a:pt x="4920" y="832"/>
                  </a:lnTo>
                  <a:lnTo>
                    <a:pt x="4920" y="832"/>
                  </a:lnTo>
                  <a:lnTo>
                    <a:pt x="4915" y="827"/>
                  </a:lnTo>
                  <a:lnTo>
                    <a:pt x="4911" y="823"/>
                  </a:lnTo>
                  <a:lnTo>
                    <a:pt x="4911" y="823"/>
                  </a:lnTo>
                  <a:lnTo>
                    <a:pt x="4911" y="823"/>
                  </a:lnTo>
                  <a:lnTo>
                    <a:pt x="4906" y="818"/>
                  </a:lnTo>
                  <a:lnTo>
                    <a:pt x="4906" y="818"/>
                  </a:lnTo>
                  <a:lnTo>
                    <a:pt x="4906" y="818"/>
                  </a:lnTo>
                  <a:lnTo>
                    <a:pt x="4906" y="814"/>
                  </a:lnTo>
                  <a:lnTo>
                    <a:pt x="4906" y="809"/>
                  </a:lnTo>
                  <a:lnTo>
                    <a:pt x="4906" y="809"/>
                  </a:lnTo>
                  <a:lnTo>
                    <a:pt x="4906" y="809"/>
                  </a:lnTo>
                  <a:lnTo>
                    <a:pt x="4906" y="805"/>
                  </a:lnTo>
                  <a:lnTo>
                    <a:pt x="4906" y="805"/>
                  </a:lnTo>
                  <a:lnTo>
                    <a:pt x="4906" y="805"/>
                  </a:lnTo>
                  <a:lnTo>
                    <a:pt x="4902" y="796"/>
                  </a:lnTo>
                  <a:lnTo>
                    <a:pt x="4897" y="791"/>
                  </a:lnTo>
                  <a:lnTo>
                    <a:pt x="4893" y="787"/>
                  </a:lnTo>
                  <a:close/>
                  <a:moveTo>
                    <a:pt x="4748" y="1754"/>
                  </a:moveTo>
                  <a:lnTo>
                    <a:pt x="4748" y="1754"/>
                  </a:lnTo>
                  <a:lnTo>
                    <a:pt x="4748" y="1754"/>
                  </a:lnTo>
                  <a:lnTo>
                    <a:pt x="4748" y="1754"/>
                  </a:lnTo>
                  <a:lnTo>
                    <a:pt x="4748" y="1754"/>
                  </a:lnTo>
                  <a:lnTo>
                    <a:pt x="4748" y="1754"/>
                  </a:lnTo>
                  <a:lnTo>
                    <a:pt x="4748" y="1754"/>
                  </a:lnTo>
                  <a:lnTo>
                    <a:pt x="4748" y="1750"/>
                  </a:lnTo>
                  <a:lnTo>
                    <a:pt x="4748" y="1750"/>
                  </a:lnTo>
                  <a:lnTo>
                    <a:pt x="4748" y="1750"/>
                  </a:lnTo>
                  <a:lnTo>
                    <a:pt x="4748" y="1750"/>
                  </a:lnTo>
                  <a:lnTo>
                    <a:pt x="4748" y="1745"/>
                  </a:lnTo>
                  <a:lnTo>
                    <a:pt x="4748" y="1745"/>
                  </a:lnTo>
                  <a:lnTo>
                    <a:pt x="4748" y="1745"/>
                  </a:lnTo>
                  <a:lnTo>
                    <a:pt x="4744" y="1745"/>
                  </a:lnTo>
                  <a:lnTo>
                    <a:pt x="4744" y="1745"/>
                  </a:lnTo>
                  <a:lnTo>
                    <a:pt x="4744" y="1745"/>
                  </a:lnTo>
                  <a:lnTo>
                    <a:pt x="4744" y="1745"/>
                  </a:lnTo>
                  <a:lnTo>
                    <a:pt x="4744" y="1745"/>
                  </a:lnTo>
                  <a:lnTo>
                    <a:pt x="4744" y="1745"/>
                  </a:lnTo>
                  <a:lnTo>
                    <a:pt x="4739" y="1745"/>
                  </a:lnTo>
                  <a:lnTo>
                    <a:pt x="4739" y="1745"/>
                  </a:lnTo>
                  <a:lnTo>
                    <a:pt x="4739" y="1745"/>
                  </a:lnTo>
                  <a:lnTo>
                    <a:pt x="4739" y="1745"/>
                  </a:lnTo>
                  <a:lnTo>
                    <a:pt x="4735" y="1745"/>
                  </a:lnTo>
                  <a:lnTo>
                    <a:pt x="4735" y="1745"/>
                  </a:lnTo>
                  <a:lnTo>
                    <a:pt x="4735" y="1745"/>
                  </a:lnTo>
                  <a:lnTo>
                    <a:pt x="4735" y="1741"/>
                  </a:lnTo>
                  <a:lnTo>
                    <a:pt x="4735" y="1741"/>
                  </a:lnTo>
                  <a:lnTo>
                    <a:pt x="4730" y="1741"/>
                  </a:lnTo>
                  <a:lnTo>
                    <a:pt x="4730" y="1741"/>
                  </a:lnTo>
                  <a:lnTo>
                    <a:pt x="4725" y="1741"/>
                  </a:lnTo>
                  <a:lnTo>
                    <a:pt x="4725" y="1741"/>
                  </a:lnTo>
                  <a:lnTo>
                    <a:pt x="4725" y="1745"/>
                  </a:lnTo>
                  <a:lnTo>
                    <a:pt x="4730" y="1745"/>
                  </a:lnTo>
                  <a:lnTo>
                    <a:pt x="4730" y="1750"/>
                  </a:lnTo>
                  <a:lnTo>
                    <a:pt x="4730" y="1750"/>
                  </a:lnTo>
                  <a:lnTo>
                    <a:pt x="4730" y="1750"/>
                  </a:lnTo>
                  <a:lnTo>
                    <a:pt x="4735" y="1750"/>
                  </a:lnTo>
                  <a:lnTo>
                    <a:pt x="4735" y="1750"/>
                  </a:lnTo>
                  <a:lnTo>
                    <a:pt x="4735" y="1750"/>
                  </a:lnTo>
                  <a:lnTo>
                    <a:pt x="4735" y="1750"/>
                  </a:lnTo>
                  <a:lnTo>
                    <a:pt x="4730" y="1750"/>
                  </a:lnTo>
                  <a:lnTo>
                    <a:pt x="4730" y="1754"/>
                  </a:lnTo>
                  <a:lnTo>
                    <a:pt x="4730" y="1754"/>
                  </a:lnTo>
                  <a:lnTo>
                    <a:pt x="4725" y="1754"/>
                  </a:lnTo>
                  <a:lnTo>
                    <a:pt x="4725" y="1750"/>
                  </a:lnTo>
                  <a:lnTo>
                    <a:pt x="4725" y="1750"/>
                  </a:lnTo>
                  <a:lnTo>
                    <a:pt x="4725" y="1750"/>
                  </a:lnTo>
                  <a:lnTo>
                    <a:pt x="4725" y="1750"/>
                  </a:lnTo>
                  <a:lnTo>
                    <a:pt x="4725" y="1745"/>
                  </a:lnTo>
                  <a:lnTo>
                    <a:pt x="4721" y="1745"/>
                  </a:lnTo>
                  <a:lnTo>
                    <a:pt x="4721" y="1745"/>
                  </a:lnTo>
                  <a:lnTo>
                    <a:pt x="4716" y="1745"/>
                  </a:lnTo>
                  <a:lnTo>
                    <a:pt x="4716" y="1745"/>
                  </a:lnTo>
                  <a:lnTo>
                    <a:pt x="4716" y="1745"/>
                  </a:lnTo>
                  <a:lnTo>
                    <a:pt x="4712" y="1750"/>
                  </a:lnTo>
                  <a:lnTo>
                    <a:pt x="4712" y="1750"/>
                  </a:lnTo>
                  <a:lnTo>
                    <a:pt x="4712" y="1750"/>
                  </a:lnTo>
                  <a:lnTo>
                    <a:pt x="4712" y="1750"/>
                  </a:lnTo>
                  <a:lnTo>
                    <a:pt x="4707" y="1750"/>
                  </a:lnTo>
                  <a:lnTo>
                    <a:pt x="4707" y="1754"/>
                  </a:lnTo>
                  <a:lnTo>
                    <a:pt x="4707" y="1754"/>
                  </a:lnTo>
                  <a:lnTo>
                    <a:pt x="4707" y="1759"/>
                  </a:lnTo>
                  <a:lnTo>
                    <a:pt x="4707" y="1759"/>
                  </a:lnTo>
                  <a:lnTo>
                    <a:pt x="4712" y="1759"/>
                  </a:lnTo>
                  <a:lnTo>
                    <a:pt x="4712" y="1759"/>
                  </a:lnTo>
                  <a:lnTo>
                    <a:pt x="4712" y="1759"/>
                  </a:lnTo>
                  <a:lnTo>
                    <a:pt x="4716" y="1759"/>
                  </a:lnTo>
                  <a:lnTo>
                    <a:pt x="4716" y="1759"/>
                  </a:lnTo>
                  <a:lnTo>
                    <a:pt x="4716" y="1759"/>
                  </a:lnTo>
                  <a:lnTo>
                    <a:pt x="4716" y="1759"/>
                  </a:lnTo>
                  <a:lnTo>
                    <a:pt x="4721" y="1759"/>
                  </a:lnTo>
                  <a:lnTo>
                    <a:pt x="4721" y="1759"/>
                  </a:lnTo>
                  <a:lnTo>
                    <a:pt x="4725" y="1759"/>
                  </a:lnTo>
                  <a:lnTo>
                    <a:pt x="4725" y="1759"/>
                  </a:lnTo>
                  <a:lnTo>
                    <a:pt x="4725" y="1759"/>
                  </a:lnTo>
                  <a:lnTo>
                    <a:pt x="4730" y="1754"/>
                  </a:lnTo>
                  <a:lnTo>
                    <a:pt x="4730" y="1754"/>
                  </a:lnTo>
                  <a:lnTo>
                    <a:pt x="4735" y="1754"/>
                  </a:lnTo>
                  <a:lnTo>
                    <a:pt x="4735" y="1754"/>
                  </a:lnTo>
                  <a:lnTo>
                    <a:pt x="4739" y="1754"/>
                  </a:lnTo>
                  <a:lnTo>
                    <a:pt x="4739" y="1754"/>
                  </a:lnTo>
                  <a:lnTo>
                    <a:pt x="4739" y="1754"/>
                  </a:lnTo>
                  <a:lnTo>
                    <a:pt x="4739" y="1754"/>
                  </a:lnTo>
                  <a:lnTo>
                    <a:pt x="4739" y="1754"/>
                  </a:lnTo>
                  <a:lnTo>
                    <a:pt x="4744" y="1754"/>
                  </a:lnTo>
                  <a:lnTo>
                    <a:pt x="4744" y="1754"/>
                  </a:lnTo>
                  <a:lnTo>
                    <a:pt x="4744" y="1754"/>
                  </a:lnTo>
                  <a:lnTo>
                    <a:pt x="4744" y="1754"/>
                  </a:lnTo>
                  <a:lnTo>
                    <a:pt x="4744" y="1754"/>
                  </a:lnTo>
                  <a:lnTo>
                    <a:pt x="4744" y="1754"/>
                  </a:lnTo>
                  <a:lnTo>
                    <a:pt x="4744" y="1754"/>
                  </a:lnTo>
                  <a:lnTo>
                    <a:pt x="4744" y="1754"/>
                  </a:lnTo>
                  <a:lnTo>
                    <a:pt x="4744" y="1754"/>
                  </a:lnTo>
                  <a:lnTo>
                    <a:pt x="4748" y="1754"/>
                  </a:lnTo>
                  <a:close/>
                  <a:moveTo>
                    <a:pt x="4816" y="1750"/>
                  </a:moveTo>
                  <a:lnTo>
                    <a:pt x="4816" y="1745"/>
                  </a:lnTo>
                  <a:lnTo>
                    <a:pt x="4816" y="1745"/>
                  </a:lnTo>
                  <a:lnTo>
                    <a:pt x="4816" y="1741"/>
                  </a:lnTo>
                  <a:lnTo>
                    <a:pt x="4816" y="1741"/>
                  </a:lnTo>
                  <a:lnTo>
                    <a:pt x="4816" y="1741"/>
                  </a:lnTo>
                  <a:lnTo>
                    <a:pt x="4816" y="1741"/>
                  </a:lnTo>
                  <a:lnTo>
                    <a:pt x="4816" y="1745"/>
                  </a:lnTo>
                  <a:lnTo>
                    <a:pt x="4816" y="1745"/>
                  </a:lnTo>
                  <a:lnTo>
                    <a:pt x="4816" y="1745"/>
                  </a:lnTo>
                  <a:lnTo>
                    <a:pt x="4811" y="1745"/>
                  </a:lnTo>
                  <a:lnTo>
                    <a:pt x="4811" y="1750"/>
                  </a:lnTo>
                  <a:lnTo>
                    <a:pt x="4811" y="1750"/>
                  </a:lnTo>
                  <a:lnTo>
                    <a:pt x="4811" y="1750"/>
                  </a:lnTo>
                  <a:lnTo>
                    <a:pt x="4807" y="1750"/>
                  </a:lnTo>
                  <a:lnTo>
                    <a:pt x="4807" y="1750"/>
                  </a:lnTo>
                  <a:lnTo>
                    <a:pt x="4807" y="1750"/>
                  </a:lnTo>
                  <a:lnTo>
                    <a:pt x="4807" y="1754"/>
                  </a:lnTo>
                  <a:lnTo>
                    <a:pt x="4802" y="1754"/>
                  </a:lnTo>
                  <a:lnTo>
                    <a:pt x="4802" y="1750"/>
                  </a:lnTo>
                  <a:lnTo>
                    <a:pt x="4802" y="1750"/>
                  </a:lnTo>
                  <a:lnTo>
                    <a:pt x="4798" y="1750"/>
                  </a:lnTo>
                  <a:lnTo>
                    <a:pt x="4798" y="1750"/>
                  </a:lnTo>
                  <a:lnTo>
                    <a:pt x="4798" y="1750"/>
                  </a:lnTo>
                  <a:lnTo>
                    <a:pt x="4798" y="1750"/>
                  </a:lnTo>
                  <a:lnTo>
                    <a:pt x="4793" y="1750"/>
                  </a:lnTo>
                  <a:lnTo>
                    <a:pt x="4793" y="1750"/>
                  </a:lnTo>
                  <a:lnTo>
                    <a:pt x="4793" y="1750"/>
                  </a:lnTo>
                  <a:lnTo>
                    <a:pt x="4793" y="1750"/>
                  </a:lnTo>
                  <a:lnTo>
                    <a:pt x="4789" y="1750"/>
                  </a:lnTo>
                  <a:lnTo>
                    <a:pt x="4789" y="1750"/>
                  </a:lnTo>
                  <a:lnTo>
                    <a:pt x="4789" y="1750"/>
                  </a:lnTo>
                  <a:lnTo>
                    <a:pt x="4784" y="1750"/>
                  </a:lnTo>
                  <a:lnTo>
                    <a:pt x="4784" y="1745"/>
                  </a:lnTo>
                  <a:lnTo>
                    <a:pt x="4780" y="1745"/>
                  </a:lnTo>
                  <a:lnTo>
                    <a:pt x="4780" y="1745"/>
                  </a:lnTo>
                  <a:lnTo>
                    <a:pt x="4780" y="1745"/>
                  </a:lnTo>
                  <a:lnTo>
                    <a:pt x="4775" y="1745"/>
                  </a:lnTo>
                  <a:lnTo>
                    <a:pt x="4775" y="1745"/>
                  </a:lnTo>
                  <a:lnTo>
                    <a:pt x="4775" y="1745"/>
                  </a:lnTo>
                  <a:lnTo>
                    <a:pt x="4775" y="1745"/>
                  </a:lnTo>
                  <a:lnTo>
                    <a:pt x="4771" y="1745"/>
                  </a:lnTo>
                  <a:lnTo>
                    <a:pt x="4771" y="1745"/>
                  </a:lnTo>
                  <a:lnTo>
                    <a:pt x="4766" y="1745"/>
                  </a:lnTo>
                  <a:lnTo>
                    <a:pt x="4766" y="1750"/>
                  </a:lnTo>
                  <a:lnTo>
                    <a:pt x="4766" y="1750"/>
                  </a:lnTo>
                  <a:lnTo>
                    <a:pt x="4762" y="1750"/>
                  </a:lnTo>
                  <a:lnTo>
                    <a:pt x="4762" y="1750"/>
                  </a:lnTo>
                  <a:lnTo>
                    <a:pt x="4762" y="1750"/>
                  </a:lnTo>
                  <a:lnTo>
                    <a:pt x="4762" y="1750"/>
                  </a:lnTo>
                  <a:lnTo>
                    <a:pt x="4762" y="1750"/>
                  </a:lnTo>
                  <a:lnTo>
                    <a:pt x="4762" y="1754"/>
                  </a:lnTo>
                  <a:lnTo>
                    <a:pt x="4762" y="1754"/>
                  </a:lnTo>
                  <a:lnTo>
                    <a:pt x="4762" y="1754"/>
                  </a:lnTo>
                  <a:lnTo>
                    <a:pt x="4762" y="1754"/>
                  </a:lnTo>
                  <a:lnTo>
                    <a:pt x="4766" y="1754"/>
                  </a:lnTo>
                  <a:lnTo>
                    <a:pt x="4766" y="1754"/>
                  </a:lnTo>
                  <a:lnTo>
                    <a:pt x="4771" y="1754"/>
                  </a:lnTo>
                  <a:lnTo>
                    <a:pt x="4775" y="1754"/>
                  </a:lnTo>
                  <a:lnTo>
                    <a:pt x="4780" y="1754"/>
                  </a:lnTo>
                  <a:lnTo>
                    <a:pt x="4780" y="1759"/>
                  </a:lnTo>
                  <a:lnTo>
                    <a:pt x="4784" y="1759"/>
                  </a:lnTo>
                  <a:lnTo>
                    <a:pt x="4784" y="1759"/>
                  </a:lnTo>
                  <a:lnTo>
                    <a:pt x="4784" y="1759"/>
                  </a:lnTo>
                  <a:lnTo>
                    <a:pt x="4784" y="1759"/>
                  </a:lnTo>
                  <a:lnTo>
                    <a:pt x="4789" y="1759"/>
                  </a:lnTo>
                  <a:lnTo>
                    <a:pt x="4789" y="1754"/>
                  </a:lnTo>
                  <a:lnTo>
                    <a:pt x="4789" y="1754"/>
                  </a:lnTo>
                  <a:lnTo>
                    <a:pt x="4793" y="1754"/>
                  </a:lnTo>
                  <a:lnTo>
                    <a:pt x="4793" y="1759"/>
                  </a:lnTo>
                  <a:lnTo>
                    <a:pt x="4793" y="1759"/>
                  </a:lnTo>
                  <a:lnTo>
                    <a:pt x="4793" y="1759"/>
                  </a:lnTo>
                  <a:lnTo>
                    <a:pt x="4798" y="1759"/>
                  </a:lnTo>
                  <a:lnTo>
                    <a:pt x="4802" y="1754"/>
                  </a:lnTo>
                  <a:lnTo>
                    <a:pt x="4802" y="1754"/>
                  </a:lnTo>
                  <a:lnTo>
                    <a:pt x="4807" y="1754"/>
                  </a:lnTo>
                  <a:lnTo>
                    <a:pt x="4807" y="1754"/>
                  </a:lnTo>
                  <a:lnTo>
                    <a:pt x="4807" y="1754"/>
                  </a:lnTo>
                  <a:lnTo>
                    <a:pt x="4811" y="1754"/>
                  </a:lnTo>
                  <a:lnTo>
                    <a:pt x="4811" y="1754"/>
                  </a:lnTo>
                  <a:lnTo>
                    <a:pt x="4811" y="1754"/>
                  </a:lnTo>
                  <a:lnTo>
                    <a:pt x="4816" y="1750"/>
                  </a:lnTo>
                  <a:lnTo>
                    <a:pt x="4816" y="1750"/>
                  </a:lnTo>
                  <a:lnTo>
                    <a:pt x="4816" y="1750"/>
                  </a:lnTo>
                  <a:lnTo>
                    <a:pt x="4816" y="1750"/>
                  </a:lnTo>
                  <a:lnTo>
                    <a:pt x="4816" y="1750"/>
                  </a:lnTo>
                  <a:close/>
                  <a:moveTo>
                    <a:pt x="4974" y="1723"/>
                  </a:moveTo>
                  <a:lnTo>
                    <a:pt x="4969" y="1723"/>
                  </a:lnTo>
                  <a:lnTo>
                    <a:pt x="4969" y="1723"/>
                  </a:lnTo>
                  <a:lnTo>
                    <a:pt x="4969" y="1727"/>
                  </a:lnTo>
                  <a:lnTo>
                    <a:pt x="4969" y="1727"/>
                  </a:lnTo>
                  <a:lnTo>
                    <a:pt x="4969" y="1727"/>
                  </a:lnTo>
                  <a:lnTo>
                    <a:pt x="4965" y="1727"/>
                  </a:lnTo>
                  <a:lnTo>
                    <a:pt x="4965" y="1727"/>
                  </a:lnTo>
                  <a:lnTo>
                    <a:pt x="4965" y="1732"/>
                  </a:lnTo>
                  <a:lnTo>
                    <a:pt x="4965" y="1732"/>
                  </a:lnTo>
                  <a:lnTo>
                    <a:pt x="4965" y="1732"/>
                  </a:lnTo>
                  <a:lnTo>
                    <a:pt x="4960" y="1736"/>
                  </a:lnTo>
                  <a:lnTo>
                    <a:pt x="4960" y="1736"/>
                  </a:lnTo>
                  <a:lnTo>
                    <a:pt x="4960" y="1736"/>
                  </a:lnTo>
                  <a:lnTo>
                    <a:pt x="4960" y="1736"/>
                  </a:lnTo>
                  <a:lnTo>
                    <a:pt x="4960" y="1741"/>
                  </a:lnTo>
                  <a:lnTo>
                    <a:pt x="4960" y="1741"/>
                  </a:lnTo>
                  <a:lnTo>
                    <a:pt x="4960" y="1741"/>
                  </a:lnTo>
                  <a:lnTo>
                    <a:pt x="4960" y="1741"/>
                  </a:lnTo>
                  <a:lnTo>
                    <a:pt x="4965" y="1741"/>
                  </a:lnTo>
                  <a:lnTo>
                    <a:pt x="4965" y="1741"/>
                  </a:lnTo>
                  <a:lnTo>
                    <a:pt x="4965" y="1741"/>
                  </a:lnTo>
                  <a:lnTo>
                    <a:pt x="4965" y="1741"/>
                  </a:lnTo>
                  <a:lnTo>
                    <a:pt x="4965" y="1741"/>
                  </a:lnTo>
                  <a:lnTo>
                    <a:pt x="4965" y="1736"/>
                  </a:lnTo>
                  <a:lnTo>
                    <a:pt x="4965" y="1736"/>
                  </a:lnTo>
                  <a:lnTo>
                    <a:pt x="4969" y="1736"/>
                  </a:lnTo>
                  <a:lnTo>
                    <a:pt x="4969" y="1736"/>
                  </a:lnTo>
                  <a:lnTo>
                    <a:pt x="4969" y="1732"/>
                  </a:lnTo>
                  <a:lnTo>
                    <a:pt x="4969" y="1727"/>
                  </a:lnTo>
                  <a:lnTo>
                    <a:pt x="4974" y="1727"/>
                  </a:lnTo>
                  <a:lnTo>
                    <a:pt x="4974" y="1723"/>
                  </a:lnTo>
                  <a:close/>
                  <a:moveTo>
                    <a:pt x="5317" y="1637"/>
                  </a:moveTo>
                  <a:lnTo>
                    <a:pt x="5317" y="1637"/>
                  </a:lnTo>
                  <a:lnTo>
                    <a:pt x="5322" y="1641"/>
                  </a:lnTo>
                  <a:lnTo>
                    <a:pt x="5322" y="1641"/>
                  </a:lnTo>
                  <a:lnTo>
                    <a:pt x="5326" y="1646"/>
                  </a:lnTo>
                  <a:lnTo>
                    <a:pt x="5331" y="1650"/>
                  </a:lnTo>
                  <a:lnTo>
                    <a:pt x="5331" y="1650"/>
                  </a:lnTo>
                  <a:lnTo>
                    <a:pt x="5331" y="1650"/>
                  </a:lnTo>
                  <a:lnTo>
                    <a:pt x="5331" y="1650"/>
                  </a:lnTo>
                  <a:lnTo>
                    <a:pt x="5335" y="1650"/>
                  </a:lnTo>
                  <a:lnTo>
                    <a:pt x="5335" y="1650"/>
                  </a:lnTo>
                  <a:lnTo>
                    <a:pt x="5335" y="1655"/>
                  </a:lnTo>
                  <a:lnTo>
                    <a:pt x="5340" y="1655"/>
                  </a:lnTo>
                  <a:lnTo>
                    <a:pt x="5340" y="1664"/>
                  </a:lnTo>
                  <a:lnTo>
                    <a:pt x="5344" y="1664"/>
                  </a:lnTo>
                  <a:lnTo>
                    <a:pt x="5344" y="1668"/>
                  </a:lnTo>
                  <a:lnTo>
                    <a:pt x="5344" y="1668"/>
                  </a:lnTo>
                  <a:lnTo>
                    <a:pt x="5344" y="1673"/>
                  </a:lnTo>
                  <a:lnTo>
                    <a:pt x="5344" y="1673"/>
                  </a:lnTo>
                  <a:lnTo>
                    <a:pt x="5344" y="1677"/>
                  </a:lnTo>
                  <a:lnTo>
                    <a:pt x="5344" y="1677"/>
                  </a:lnTo>
                  <a:lnTo>
                    <a:pt x="5344" y="1677"/>
                  </a:lnTo>
                  <a:lnTo>
                    <a:pt x="5344" y="1682"/>
                  </a:lnTo>
                  <a:lnTo>
                    <a:pt x="5349" y="1677"/>
                  </a:lnTo>
                  <a:lnTo>
                    <a:pt x="5349" y="1677"/>
                  </a:lnTo>
                  <a:lnTo>
                    <a:pt x="5349" y="1677"/>
                  </a:lnTo>
                  <a:lnTo>
                    <a:pt x="5349" y="1673"/>
                  </a:lnTo>
                  <a:lnTo>
                    <a:pt x="5349" y="1673"/>
                  </a:lnTo>
                  <a:lnTo>
                    <a:pt x="5349" y="1668"/>
                  </a:lnTo>
                  <a:lnTo>
                    <a:pt x="5349" y="1668"/>
                  </a:lnTo>
                  <a:lnTo>
                    <a:pt x="5349" y="1664"/>
                  </a:lnTo>
                  <a:lnTo>
                    <a:pt x="5340" y="1655"/>
                  </a:lnTo>
                  <a:lnTo>
                    <a:pt x="5340" y="1650"/>
                  </a:lnTo>
                  <a:lnTo>
                    <a:pt x="5335" y="1650"/>
                  </a:lnTo>
                  <a:lnTo>
                    <a:pt x="5335" y="1646"/>
                  </a:lnTo>
                  <a:lnTo>
                    <a:pt x="5335" y="1646"/>
                  </a:lnTo>
                  <a:lnTo>
                    <a:pt x="5331" y="1646"/>
                  </a:lnTo>
                  <a:lnTo>
                    <a:pt x="5326" y="1641"/>
                  </a:lnTo>
                  <a:lnTo>
                    <a:pt x="5326" y="1641"/>
                  </a:lnTo>
                  <a:lnTo>
                    <a:pt x="5322" y="1641"/>
                  </a:lnTo>
                  <a:lnTo>
                    <a:pt x="5322" y="1637"/>
                  </a:lnTo>
                  <a:lnTo>
                    <a:pt x="5317" y="1637"/>
                  </a:lnTo>
                  <a:lnTo>
                    <a:pt x="5317" y="1637"/>
                  </a:lnTo>
                  <a:lnTo>
                    <a:pt x="5317" y="1632"/>
                  </a:lnTo>
                  <a:lnTo>
                    <a:pt x="5313" y="1632"/>
                  </a:lnTo>
                  <a:lnTo>
                    <a:pt x="5313" y="1632"/>
                  </a:lnTo>
                  <a:lnTo>
                    <a:pt x="5313" y="1637"/>
                  </a:lnTo>
                  <a:lnTo>
                    <a:pt x="5313" y="1637"/>
                  </a:lnTo>
                  <a:lnTo>
                    <a:pt x="5313" y="1637"/>
                  </a:lnTo>
                  <a:lnTo>
                    <a:pt x="5317" y="1637"/>
                  </a:lnTo>
                  <a:close/>
                  <a:moveTo>
                    <a:pt x="4649" y="1714"/>
                  </a:moveTo>
                  <a:lnTo>
                    <a:pt x="4644" y="1714"/>
                  </a:lnTo>
                  <a:lnTo>
                    <a:pt x="4644" y="1718"/>
                  </a:lnTo>
                  <a:lnTo>
                    <a:pt x="4640" y="1718"/>
                  </a:lnTo>
                  <a:lnTo>
                    <a:pt x="4644" y="1718"/>
                  </a:lnTo>
                  <a:lnTo>
                    <a:pt x="4649" y="1723"/>
                  </a:lnTo>
                  <a:lnTo>
                    <a:pt x="4649" y="1723"/>
                  </a:lnTo>
                  <a:lnTo>
                    <a:pt x="4649" y="1723"/>
                  </a:lnTo>
                  <a:lnTo>
                    <a:pt x="4649" y="1723"/>
                  </a:lnTo>
                  <a:lnTo>
                    <a:pt x="4649" y="1723"/>
                  </a:lnTo>
                  <a:lnTo>
                    <a:pt x="4653" y="1723"/>
                  </a:lnTo>
                  <a:lnTo>
                    <a:pt x="4658" y="1723"/>
                  </a:lnTo>
                  <a:lnTo>
                    <a:pt x="4658" y="1718"/>
                  </a:lnTo>
                  <a:lnTo>
                    <a:pt x="4662" y="1718"/>
                  </a:lnTo>
                  <a:lnTo>
                    <a:pt x="4662" y="1718"/>
                  </a:lnTo>
                  <a:lnTo>
                    <a:pt x="4662" y="1718"/>
                  </a:lnTo>
                  <a:lnTo>
                    <a:pt x="4667" y="1718"/>
                  </a:lnTo>
                  <a:lnTo>
                    <a:pt x="4667" y="1718"/>
                  </a:lnTo>
                  <a:lnTo>
                    <a:pt x="4662" y="1714"/>
                  </a:lnTo>
                  <a:lnTo>
                    <a:pt x="4649" y="1714"/>
                  </a:lnTo>
                  <a:close/>
                  <a:moveTo>
                    <a:pt x="5376" y="1705"/>
                  </a:moveTo>
                  <a:lnTo>
                    <a:pt x="5376" y="1705"/>
                  </a:lnTo>
                  <a:lnTo>
                    <a:pt x="5376" y="1709"/>
                  </a:lnTo>
                  <a:lnTo>
                    <a:pt x="5381" y="1709"/>
                  </a:lnTo>
                  <a:lnTo>
                    <a:pt x="5381" y="1714"/>
                  </a:lnTo>
                  <a:lnTo>
                    <a:pt x="5381" y="1714"/>
                  </a:lnTo>
                  <a:lnTo>
                    <a:pt x="5381" y="1714"/>
                  </a:lnTo>
                  <a:lnTo>
                    <a:pt x="5385" y="1718"/>
                  </a:lnTo>
                  <a:lnTo>
                    <a:pt x="5381" y="1718"/>
                  </a:lnTo>
                  <a:lnTo>
                    <a:pt x="5381" y="1723"/>
                  </a:lnTo>
                  <a:lnTo>
                    <a:pt x="5385" y="1723"/>
                  </a:lnTo>
                  <a:lnTo>
                    <a:pt x="5385" y="1723"/>
                  </a:lnTo>
                  <a:lnTo>
                    <a:pt x="5385" y="1727"/>
                  </a:lnTo>
                  <a:lnTo>
                    <a:pt x="5390" y="1727"/>
                  </a:lnTo>
                  <a:lnTo>
                    <a:pt x="5390" y="1727"/>
                  </a:lnTo>
                  <a:lnTo>
                    <a:pt x="5390" y="1727"/>
                  </a:lnTo>
                  <a:lnTo>
                    <a:pt x="5390" y="1723"/>
                  </a:lnTo>
                  <a:lnTo>
                    <a:pt x="5394" y="1723"/>
                  </a:lnTo>
                  <a:lnTo>
                    <a:pt x="5394" y="1723"/>
                  </a:lnTo>
                  <a:lnTo>
                    <a:pt x="5394" y="1723"/>
                  </a:lnTo>
                  <a:lnTo>
                    <a:pt x="5394" y="1723"/>
                  </a:lnTo>
                  <a:lnTo>
                    <a:pt x="5394" y="1718"/>
                  </a:lnTo>
                  <a:lnTo>
                    <a:pt x="5394" y="1718"/>
                  </a:lnTo>
                  <a:lnTo>
                    <a:pt x="5394" y="1714"/>
                  </a:lnTo>
                  <a:lnTo>
                    <a:pt x="5394" y="1714"/>
                  </a:lnTo>
                  <a:lnTo>
                    <a:pt x="5390" y="1714"/>
                  </a:lnTo>
                  <a:lnTo>
                    <a:pt x="5390" y="1714"/>
                  </a:lnTo>
                  <a:lnTo>
                    <a:pt x="5390" y="1709"/>
                  </a:lnTo>
                  <a:lnTo>
                    <a:pt x="5390" y="1709"/>
                  </a:lnTo>
                  <a:lnTo>
                    <a:pt x="5385" y="1705"/>
                  </a:lnTo>
                  <a:lnTo>
                    <a:pt x="5385" y="1705"/>
                  </a:lnTo>
                  <a:lnTo>
                    <a:pt x="5385" y="1705"/>
                  </a:lnTo>
                  <a:lnTo>
                    <a:pt x="5385" y="1705"/>
                  </a:lnTo>
                  <a:lnTo>
                    <a:pt x="5385" y="1700"/>
                  </a:lnTo>
                  <a:lnTo>
                    <a:pt x="5381" y="1700"/>
                  </a:lnTo>
                  <a:lnTo>
                    <a:pt x="5381" y="1696"/>
                  </a:lnTo>
                  <a:lnTo>
                    <a:pt x="5381" y="1696"/>
                  </a:lnTo>
                  <a:lnTo>
                    <a:pt x="5376" y="1696"/>
                  </a:lnTo>
                  <a:lnTo>
                    <a:pt x="5376" y="1696"/>
                  </a:lnTo>
                  <a:lnTo>
                    <a:pt x="5376" y="1696"/>
                  </a:lnTo>
                  <a:lnTo>
                    <a:pt x="5376" y="1696"/>
                  </a:lnTo>
                  <a:lnTo>
                    <a:pt x="5376" y="1700"/>
                  </a:lnTo>
                  <a:lnTo>
                    <a:pt x="5376" y="1705"/>
                  </a:lnTo>
                  <a:lnTo>
                    <a:pt x="5376" y="1705"/>
                  </a:lnTo>
                  <a:close/>
                  <a:moveTo>
                    <a:pt x="5471" y="1768"/>
                  </a:moveTo>
                  <a:lnTo>
                    <a:pt x="5471" y="1772"/>
                  </a:lnTo>
                  <a:lnTo>
                    <a:pt x="5471" y="1777"/>
                  </a:lnTo>
                  <a:lnTo>
                    <a:pt x="5475" y="1781"/>
                  </a:lnTo>
                  <a:lnTo>
                    <a:pt x="5475" y="1781"/>
                  </a:lnTo>
                  <a:lnTo>
                    <a:pt x="5475" y="1786"/>
                  </a:lnTo>
                  <a:lnTo>
                    <a:pt x="5480" y="1790"/>
                  </a:lnTo>
                  <a:lnTo>
                    <a:pt x="5480" y="1790"/>
                  </a:lnTo>
                  <a:lnTo>
                    <a:pt x="5480" y="1786"/>
                  </a:lnTo>
                  <a:lnTo>
                    <a:pt x="5480" y="1786"/>
                  </a:lnTo>
                  <a:lnTo>
                    <a:pt x="5480" y="1781"/>
                  </a:lnTo>
                  <a:lnTo>
                    <a:pt x="5480" y="1781"/>
                  </a:lnTo>
                  <a:lnTo>
                    <a:pt x="5480" y="1777"/>
                  </a:lnTo>
                  <a:lnTo>
                    <a:pt x="5480" y="1777"/>
                  </a:lnTo>
                  <a:lnTo>
                    <a:pt x="5475" y="1772"/>
                  </a:lnTo>
                  <a:lnTo>
                    <a:pt x="5475" y="1772"/>
                  </a:lnTo>
                  <a:lnTo>
                    <a:pt x="5475" y="1772"/>
                  </a:lnTo>
                  <a:lnTo>
                    <a:pt x="5475" y="1772"/>
                  </a:lnTo>
                  <a:lnTo>
                    <a:pt x="5475" y="1768"/>
                  </a:lnTo>
                  <a:lnTo>
                    <a:pt x="5475" y="1768"/>
                  </a:lnTo>
                  <a:lnTo>
                    <a:pt x="5475" y="1768"/>
                  </a:lnTo>
                  <a:lnTo>
                    <a:pt x="5471" y="1759"/>
                  </a:lnTo>
                  <a:lnTo>
                    <a:pt x="5471" y="1759"/>
                  </a:lnTo>
                  <a:lnTo>
                    <a:pt x="5471" y="1759"/>
                  </a:lnTo>
                  <a:lnTo>
                    <a:pt x="5471" y="1759"/>
                  </a:lnTo>
                  <a:lnTo>
                    <a:pt x="5471" y="1759"/>
                  </a:lnTo>
                  <a:lnTo>
                    <a:pt x="5471" y="1763"/>
                  </a:lnTo>
                  <a:lnTo>
                    <a:pt x="5471" y="1763"/>
                  </a:lnTo>
                  <a:lnTo>
                    <a:pt x="5471" y="1768"/>
                  </a:lnTo>
                  <a:close/>
                  <a:moveTo>
                    <a:pt x="5240" y="1623"/>
                  </a:moveTo>
                  <a:lnTo>
                    <a:pt x="5240" y="1623"/>
                  </a:lnTo>
                  <a:lnTo>
                    <a:pt x="5240" y="1623"/>
                  </a:lnTo>
                  <a:lnTo>
                    <a:pt x="5240" y="1623"/>
                  </a:lnTo>
                  <a:lnTo>
                    <a:pt x="5245" y="1623"/>
                  </a:lnTo>
                  <a:lnTo>
                    <a:pt x="5250" y="1623"/>
                  </a:lnTo>
                  <a:lnTo>
                    <a:pt x="5250" y="1623"/>
                  </a:lnTo>
                  <a:lnTo>
                    <a:pt x="5250" y="1623"/>
                  </a:lnTo>
                  <a:lnTo>
                    <a:pt x="5250" y="1619"/>
                  </a:lnTo>
                  <a:lnTo>
                    <a:pt x="5254" y="1619"/>
                  </a:lnTo>
                  <a:lnTo>
                    <a:pt x="5254" y="1619"/>
                  </a:lnTo>
                  <a:lnTo>
                    <a:pt x="5254" y="1619"/>
                  </a:lnTo>
                  <a:lnTo>
                    <a:pt x="5254" y="1619"/>
                  </a:lnTo>
                  <a:lnTo>
                    <a:pt x="5254" y="1619"/>
                  </a:lnTo>
                  <a:lnTo>
                    <a:pt x="5254" y="1619"/>
                  </a:lnTo>
                  <a:lnTo>
                    <a:pt x="5254" y="1619"/>
                  </a:lnTo>
                  <a:lnTo>
                    <a:pt x="5254" y="1619"/>
                  </a:lnTo>
                  <a:lnTo>
                    <a:pt x="5250" y="1619"/>
                  </a:lnTo>
                  <a:lnTo>
                    <a:pt x="5245" y="1619"/>
                  </a:lnTo>
                  <a:lnTo>
                    <a:pt x="5240" y="1619"/>
                  </a:lnTo>
                  <a:lnTo>
                    <a:pt x="5240" y="1619"/>
                  </a:lnTo>
                  <a:lnTo>
                    <a:pt x="5240" y="1619"/>
                  </a:lnTo>
                  <a:lnTo>
                    <a:pt x="5240" y="1623"/>
                  </a:lnTo>
                  <a:lnTo>
                    <a:pt x="5236" y="1623"/>
                  </a:lnTo>
                  <a:lnTo>
                    <a:pt x="5236" y="1623"/>
                  </a:lnTo>
                  <a:lnTo>
                    <a:pt x="5240" y="1623"/>
                  </a:lnTo>
                  <a:lnTo>
                    <a:pt x="5240" y="1623"/>
                  </a:lnTo>
                  <a:close/>
                  <a:moveTo>
                    <a:pt x="5421" y="1754"/>
                  </a:moveTo>
                  <a:lnTo>
                    <a:pt x="5421" y="1750"/>
                  </a:lnTo>
                  <a:lnTo>
                    <a:pt x="5417" y="1750"/>
                  </a:lnTo>
                  <a:lnTo>
                    <a:pt x="5417" y="1750"/>
                  </a:lnTo>
                  <a:lnTo>
                    <a:pt x="5417" y="1754"/>
                  </a:lnTo>
                  <a:lnTo>
                    <a:pt x="5412" y="1754"/>
                  </a:lnTo>
                  <a:lnTo>
                    <a:pt x="5412" y="1754"/>
                  </a:lnTo>
                  <a:lnTo>
                    <a:pt x="5412" y="1759"/>
                  </a:lnTo>
                  <a:lnTo>
                    <a:pt x="5412" y="1759"/>
                  </a:lnTo>
                  <a:lnTo>
                    <a:pt x="5412" y="1759"/>
                  </a:lnTo>
                  <a:lnTo>
                    <a:pt x="5412" y="1759"/>
                  </a:lnTo>
                  <a:lnTo>
                    <a:pt x="5417" y="1759"/>
                  </a:lnTo>
                  <a:lnTo>
                    <a:pt x="5417" y="1759"/>
                  </a:lnTo>
                  <a:lnTo>
                    <a:pt x="5417" y="1759"/>
                  </a:lnTo>
                  <a:lnTo>
                    <a:pt x="5417" y="1763"/>
                  </a:lnTo>
                  <a:lnTo>
                    <a:pt x="5417" y="1763"/>
                  </a:lnTo>
                  <a:lnTo>
                    <a:pt x="5421" y="1763"/>
                  </a:lnTo>
                  <a:lnTo>
                    <a:pt x="5421" y="1763"/>
                  </a:lnTo>
                  <a:lnTo>
                    <a:pt x="5421" y="1763"/>
                  </a:lnTo>
                  <a:lnTo>
                    <a:pt x="5421" y="1763"/>
                  </a:lnTo>
                  <a:lnTo>
                    <a:pt x="5421" y="1763"/>
                  </a:lnTo>
                  <a:lnTo>
                    <a:pt x="5421" y="1759"/>
                  </a:lnTo>
                  <a:lnTo>
                    <a:pt x="5421" y="1759"/>
                  </a:lnTo>
                  <a:lnTo>
                    <a:pt x="5421" y="1754"/>
                  </a:lnTo>
                  <a:lnTo>
                    <a:pt x="5421" y="1754"/>
                  </a:lnTo>
                  <a:close/>
                  <a:moveTo>
                    <a:pt x="5408" y="1727"/>
                  </a:moveTo>
                  <a:lnTo>
                    <a:pt x="5408" y="1732"/>
                  </a:lnTo>
                  <a:lnTo>
                    <a:pt x="5412" y="1736"/>
                  </a:lnTo>
                  <a:lnTo>
                    <a:pt x="5417" y="1736"/>
                  </a:lnTo>
                  <a:lnTo>
                    <a:pt x="5417" y="1736"/>
                  </a:lnTo>
                  <a:lnTo>
                    <a:pt x="5417" y="1736"/>
                  </a:lnTo>
                  <a:lnTo>
                    <a:pt x="5417" y="1736"/>
                  </a:lnTo>
                  <a:lnTo>
                    <a:pt x="5417" y="1741"/>
                  </a:lnTo>
                  <a:lnTo>
                    <a:pt x="5421" y="1736"/>
                  </a:lnTo>
                  <a:lnTo>
                    <a:pt x="5421" y="1736"/>
                  </a:lnTo>
                  <a:lnTo>
                    <a:pt x="5417" y="1736"/>
                  </a:lnTo>
                  <a:lnTo>
                    <a:pt x="5417" y="1736"/>
                  </a:lnTo>
                  <a:lnTo>
                    <a:pt x="5417" y="1736"/>
                  </a:lnTo>
                  <a:lnTo>
                    <a:pt x="5417" y="1732"/>
                  </a:lnTo>
                  <a:lnTo>
                    <a:pt x="5412" y="1732"/>
                  </a:lnTo>
                  <a:lnTo>
                    <a:pt x="5412" y="1727"/>
                  </a:lnTo>
                  <a:lnTo>
                    <a:pt x="5412" y="1727"/>
                  </a:lnTo>
                  <a:lnTo>
                    <a:pt x="5408" y="1723"/>
                  </a:lnTo>
                  <a:lnTo>
                    <a:pt x="5408" y="1723"/>
                  </a:lnTo>
                  <a:lnTo>
                    <a:pt x="5403" y="1723"/>
                  </a:lnTo>
                  <a:lnTo>
                    <a:pt x="5403" y="1723"/>
                  </a:lnTo>
                  <a:lnTo>
                    <a:pt x="5403" y="1723"/>
                  </a:lnTo>
                  <a:lnTo>
                    <a:pt x="5403" y="1723"/>
                  </a:lnTo>
                  <a:lnTo>
                    <a:pt x="5408" y="1727"/>
                  </a:lnTo>
                  <a:close/>
                  <a:moveTo>
                    <a:pt x="5268" y="1700"/>
                  </a:moveTo>
                  <a:lnTo>
                    <a:pt x="5268" y="1700"/>
                  </a:lnTo>
                  <a:lnTo>
                    <a:pt x="5272" y="1700"/>
                  </a:lnTo>
                  <a:lnTo>
                    <a:pt x="5272" y="1705"/>
                  </a:lnTo>
                  <a:lnTo>
                    <a:pt x="5277" y="1709"/>
                  </a:lnTo>
                  <a:lnTo>
                    <a:pt x="5277" y="1709"/>
                  </a:lnTo>
                  <a:lnTo>
                    <a:pt x="5281" y="1709"/>
                  </a:lnTo>
                  <a:lnTo>
                    <a:pt x="5281" y="1709"/>
                  </a:lnTo>
                  <a:lnTo>
                    <a:pt x="5286" y="1709"/>
                  </a:lnTo>
                  <a:lnTo>
                    <a:pt x="5286" y="1709"/>
                  </a:lnTo>
                  <a:lnTo>
                    <a:pt x="5286" y="1714"/>
                  </a:lnTo>
                  <a:lnTo>
                    <a:pt x="5286" y="1714"/>
                  </a:lnTo>
                  <a:lnTo>
                    <a:pt x="5290" y="1714"/>
                  </a:lnTo>
                  <a:lnTo>
                    <a:pt x="5295" y="1714"/>
                  </a:lnTo>
                  <a:lnTo>
                    <a:pt x="5299" y="1714"/>
                  </a:lnTo>
                  <a:lnTo>
                    <a:pt x="5299" y="1709"/>
                  </a:lnTo>
                  <a:lnTo>
                    <a:pt x="5304" y="1709"/>
                  </a:lnTo>
                  <a:lnTo>
                    <a:pt x="5304" y="1709"/>
                  </a:lnTo>
                  <a:lnTo>
                    <a:pt x="5304" y="1709"/>
                  </a:lnTo>
                  <a:lnTo>
                    <a:pt x="5308" y="1709"/>
                  </a:lnTo>
                  <a:lnTo>
                    <a:pt x="5308" y="1705"/>
                  </a:lnTo>
                  <a:lnTo>
                    <a:pt x="5313" y="1705"/>
                  </a:lnTo>
                  <a:lnTo>
                    <a:pt x="5313" y="1705"/>
                  </a:lnTo>
                  <a:lnTo>
                    <a:pt x="5313" y="1705"/>
                  </a:lnTo>
                  <a:lnTo>
                    <a:pt x="5317" y="1705"/>
                  </a:lnTo>
                  <a:lnTo>
                    <a:pt x="5317" y="1700"/>
                  </a:lnTo>
                  <a:lnTo>
                    <a:pt x="5317" y="1700"/>
                  </a:lnTo>
                  <a:lnTo>
                    <a:pt x="5317" y="1700"/>
                  </a:lnTo>
                  <a:lnTo>
                    <a:pt x="5317" y="1696"/>
                  </a:lnTo>
                  <a:lnTo>
                    <a:pt x="5322" y="1696"/>
                  </a:lnTo>
                  <a:lnTo>
                    <a:pt x="5322" y="1696"/>
                  </a:lnTo>
                  <a:lnTo>
                    <a:pt x="5326" y="1696"/>
                  </a:lnTo>
                  <a:lnTo>
                    <a:pt x="5326" y="1696"/>
                  </a:lnTo>
                  <a:lnTo>
                    <a:pt x="5331" y="1696"/>
                  </a:lnTo>
                  <a:lnTo>
                    <a:pt x="5331" y="1691"/>
                  </a:lnTo>
                  <a:lnTo>
                    <a:pt x="5331" y="1691"/>
                  </a:lnTo>
                  <a:lnTo>
                    <a:pt x="5331" y="1686"/>
                  </a:lnTo>
                  <a:lnTo>
                    <a:pt x="5331" y="1686"/>
                  </a:lnTo>
                  <a:lnTo>
                    <a:pt x="5331" y="1686"/>
                  </a:lnTo>
                  <a:lnTo>
                    <a:pt x="5331" y="1686"/>
                  </a:lnTo>
                  <a:lnTo>
                    <a:pt x="5335" y="1682"/>
                  </a:lnTo>
                  <a:lnTo>
                    <a:pt x="5335" y="1682"/>
                  </a:lnTo>
                  <a:lnTo>
                    <a:pt x="5335" y="1682"/>
                  </a:lnTo>
                  <a:lnTo>
                    <a:pt x="5335" y="1677"/>
                  </a:lnTo>
                  <a:lnTo>
                    <a:pt x="5335" y="1677"/>
                  </a:lnTo>
                  <a:lnTo>
                    <a:pt x="5335" y="1673"/>
                  </a:lnTo>
                  <a:lnTo>
                    <a:pt x="5335" y="1673"/>
                  </a:lnTo>
                  <a:lnTo>
                    <a:pt x="5340" y="1668"/>
                  </a:lnTo>
                  <a:lnTo>
                    <a:pt x="5335" y="1668"/>
                  </a:lnTo>
                  <a:lnTo>
                    <a:pt x="5335" y="1668"/>
                  </a:lnTo>
                  <a:lnTo>
                    <a:pt x="5335" y="1668"/>
                  </a:lnTo>
                  <a:lnTo>
                    <a:pt x="5331" y="1668"/>
                  </a:lnTo>
                  <a:lnTo>
                    <a:pt x="5331" y="1668"/>
                  </a:lnTo>
                  <a:lnTo>
                    <a:pt x="5331" y="1668"/>
                  </a:lnTo>
                  <a:lnTo>
                    <a:pt x="5326" y="1668"/>
                  </a:lnTo>
                  <a:lnTo>
                    <a:pt x="5326" y="1668"/>
                  </a:lnTo>
                  <a:lnTo>
                    <a:pt x="5326" y="1668"/>
                  </a:lnTo>
                  <a:lnTo>
                    <a:pt x="5322" y="1668"/>
                  </a:lnTo>
                  <a:lnTo>
                    <a:pt x="5322" y="1668"/>
                  </a:lnTo>
                  <a:lnTo>
                    <a:pt x="5322" y="1668"/>
                  </a:lnTo>
                  <a:lnTo>
                    <a:pt x="5326" y="1677"/>
                  </a:lnTo>
                  <a:lnTo>
                    <a:pt x="5326" y="1677"/>
                  </a:lnTo>
                  <a:lnTo>
                    <a:pt x="5326" y="1682"/>
                  </a:lnTo>
                  <a:lnTo>
                    <a:pt x="5322" y="1682"/>
                  </a:lnTo>
                  <a:lnTo>
                    <a:pt x="5322" y="1682"/>
                  </a:lnTo>
                  <a:lnTo>
                    <a:pt x="5317" y="1682"/>
                  </a:lnTo>
                  <a:lnTo>
                    <a:pt x="5317" y="1682"/>
                  </a:lnTo>
                  <a:lnTo>
                    <a:pt x="5313" y="1686"/>
                  </a:lnTo>
                  <a:lnTo>
                    <a:pt x="5313" y="1686"/>
                  </a:lnTo>
                  <a:lnTo>
                    <a:pt x="5313" y="1691"/>
                  </a:lnTo>
                  <a:lnTo>
                    <a:pt x="5313" y="1696"/>
                  </a:lnTo>
                  <a:lnTo>
                    <a:pt x="5308" y="1696"/>
                  </a:lnTo>
                  <a:lnTo>
                    <a:pt x="5308" y="1696"/>
                  </a:lnTo>
                  <a:lnTo>
                    <a:pt x="5308" y="1696"/>
                  </a:lnTo>
                  <a:lnTo>
                    <a:pt x="5308" y="1696"/>
                  </a:lnTo>
                  <a:lnTo>
                    <a:pt x="5304" y="1696"/>
                  </a:lnTo>
                  <a:lnTo>
                    <a:pt x="5304" y="1696"/>
                  </a:lnTo>
                  <a:lnTo>
                    <a:pt x="5299" y="1696"/>
                  </a:lnTo>
                  <a:lnTo>
                    <a:pt x="5299" y="1696"/>
                  </a:lnTo>
                  <a:lnTo>
                    <a:pt x="5299" y="1696"/>
                  </a:lnTo>
                  <a:lnTo>
                    <a:pt x="5295" y="1691"/>
                  </a:lnTo>
                  <a:lnTo>
                    <a:pt x="5295" y="1691"/>
                  </a:lnTo>
                  <a:lnTo>
                    <a:pt x="5295" y="1686"/>
                  </a:lnTo>
                  <a:lnTo>
                    <a:pt x="5295" y="1686"/>
                  </a:lnTo>
                  <a:lnTo>
                    <a:pt x="5299" y="1686"/>
                  </a:lnTo>
                  <a:lnTo>
                    <a:pt x="5299" y="1686"/>
                  </a:lnTo>
                  <a:lnTo>
                    <a:pt x="5295" y="1682"/>
                  </a:lnTo>
                  <a:lnTo>
                    <a:pt x="5295" y="1686"/>
                  </a:lnTo>
                  <a:lnTo>
                    <a:pt x="5295" y="1686"/>
                  </a:lnTo>
                  <a:lnTo>
                    <a:pt x="5295" y="1696"/>
                  </a:lnTo>
                  <a:lnTo>
                    <a:pt x="5290" y="1696"/>
                  </a:lnTo>
                  <a:lnTo>
                    <a:pt x="5290" y="1696"/>
                  </a:lnTo>
                  <a:lnTo>
                    <a:pt x="5286" y="1696"/>
                  </a:lnTo>
                  <a:lnTo>
                    <a:pt x="5286" y="1696"/>
                  </a:lnTo>
                  <a:lnTo>
                    <a:pt x="5281" y="1696"/>
                  </a:lnTo>
                  <a:lnTo>
                    <a:pt x="5281" y="1696"/>
                  </a:lnTo>
                  <a:lnTo>
                    <a:pt x="5277" y="1696"/>
                  </a:lnTo>
                  <a:lnTo>
                    <a:pt x="5277" y="1696"/>
                  </a:lnTo>
                  <a:lnTo>
                    <a:pt x="5272" y="1696"/>
                  </a:lnTo>
                  <a:lnTo>
                    <a:pt x="5272" y="1696"/>
                  </a:lnTo>
                  <a:lnTo>
                    <a:pt x="5272" y="1696"/>
                  </a:lnTo>
                  <a:lnTo>
                    <a:pt x="5268" y="1696"/>
                  </a:lnTo>
                  <a:lnTo>
                    <a:pt x="5268" y="1696"/>
                  </a:lnTo>
                  <a:lnTo>
                    <a:pt x="5268" y="1696"/>
                  </a:lnTo>
                  <a:lnTo>
                    <a:pt x="5263" y="1696"/>
                  </a:lnTo>
                  <a:lnTo>
                    <a:pt x="5263" y="1700"/>
                  </a:lnTo>
                  <a:lnTo>
                    <a:pt x="5268" y="1700"/>
                  </a:lnTo>
                  <a:lnTo>
                    <a:pt x="5268" y="1700"/>
                  </a:lnTo>
                  <a:close/>
                  <a:moveTo>
                    <a:pt x="5096" y="1736"/>
                  </a:moveTo>
                  <a:lnTo>
                    <a:pt x="5096" y="1736"/>
                  </a:lnTo>
                  <a:lnTo>
                    <a:pt x="5096" y="1736"/>
                  </a:lnTo>
                  <a:lnTo>
                    <a:pt x="5096" y="1732"/>
                  </a:lnTo>
                  <a:lnTo>
                    <a:pt x="5096" y="1732"/>
                  </a:lnTo>
                  <a:lnTo>
                    <a:pt x="5091" y="1732"/>
                  </a:lnTo>
                  <a:lnTo>
                    <a:pt x="5087" y="1732"/>
                  </a:lnTo>
                  <a:lnTo>
                    <a:pt x="5082" y="1732"/>
                  </a:lnTo>
                  <a:lnTo>
                    <a:pt x="5082" y="1736"/>
                  </a:lnTo>
                  <a:lnTo>
                    <a:pt x="5082" y="1736"/>
                  </a:lnTo>
                  <a:lnTo>
                    <a:pt x="5078" y="1741"/>
                  </a:lnTo>
                  <a:lnTo>
                    <a:pt x="5073" y="1750"/>
                  </a:lnTo>
                  <a:lnTo>
                    <a:pt x="5073" y="1754"/>
                  </a:lnTo>
                  <a:lnTo>
                    <a:pt x="5073" y="1754"/>
                  </a:lnTo>
                  <a:lnTo>
                    <a:pt x="5078" y="1754"/>
                  </a:lnTo>
                  <a:lnTo>
                    <a:pt x="5078" y="1754"/>
                  </a:lnTo>
                  <a:lnTo>
                    <a:pt x="5082" y="1754"/>
                  </a:lnTo>
                  <a:lnTo>
                    <a:pt x="5087" y="1750"/>
                  </a:lnTo>
                  <a:lnTo>
                    <a:pt x="5091" y="1750"/>
                  </a:lnTo>
                  <a:lnTo>
                    <a:pt x="5091" y="1745"/>
                  </a:lnTo>
                  <a:lnTo>
                    <a:pt x="5096" y="1741"/>
                  </a:lnTo>
                  <a:lnTo>
                    <a:pt x="5096" y="1736"/>
                  </a:lnTo>
                  <a:close/>
                  <a:moveTo>
                    <a:pt x="5060" y="1610"/>
                  </a:moveTo>
                  <a:lnTo>
                    <a:pt x="5055" y="1610"/>
                  </a:lnTo>
                  <a:lnTo>
                    <a:pt x="5051" y="1610"/>
                  </a:lnTo>
                  <a:lnTo>
                    <a:pt x="5046" y="1610"/>
                  </a:lnTo>
                  <a:lnTo>
                    <a:pt x="5046" y="1610"/>
                  </a:lnTo>
                  <a:lnTo>
                    <a:pt x="5046" y="1610"/>
                  </a:lnTo>
                  <a:lnTo>
                    <a:pt x="5051" y="1614"/>
                  </a:lnTo>
                  <a:lnTo>
                    <a:pt x="5055" y="1614"/>
                  </a:lnTo>
                  <a:lnTo>
                    <a:pt x="5060" y="1614"/>
                  </a:lnTo>
                  <a:lnTo>
                    <a:pt x="5060" y="1614"/>
                  </a:lnTo>
                  <a:lnTo>
                    <a:pt x="5060" y="1614"/>
                  </a:lnTo>
                  <a:lnTo>
                    <a:pt x="5064" y="1614"/>
                  </a:lnTo>
                  <a:lnTo>
                    <a:pt x="5064" y="1614"/>
                  </a:lnTo>
                  <a:lnTo>
                    <a:pt x="5069" y="1614"/>
                  </a:lnTo>
                  <a:lnTo>
                    <a:pt x="5069" y="1614"/>
                  </a:lnTo>
                  <a:lnTo>
                    <a:pt x="5069" y="1614"/>
                  </a:lnTo>
                  <a:lnTo>
                    <a:pt x="5069" y="1614"/>
                  </a:lnTo>
                  <a:lnTo>
                    <a:pt x="5060" y="1614"/>
                  </a:lnTo>
                  <a:lnTo>
                    <a:pt x="5060" y="1610"/>
                  </a:lnTo>
                  <a:close/>
                  <a:moveTo>
                    <a:pt x="5015" y="1714"/>
                  </a:moveTo>
                  <a:lnTo>
                    <a:pt x="5015" y="1709"/>
                  </a:lnTo>
                  <a:lnTo>
                    <a:pt x="5015" y="1718"/>
                  </a:lnTo>
                  <a:lnTo>
                    <a:pt x="5015" y="1718"/>
                  </a:lnTo>
                  <a:lnTo>
                    <a:pt x="5015" y="1718"/>
                  </a:lnTo>
                  <a:lnTo>
                    <a:pt x="5019" y="1718"/>
                  </a:lnTo>
                  <a:lnTo>
                    <a:pt x="5019" y="1718"/>
                  </a:lnTo>
                  <a:lnTo>
                    <a:pt x="5019" y="1714"/>
                  </a:lnTo>
                  <a:lnTo>
                    <a:pt x="5024" y="1714"/>
                  </a:lnTo>
                  <a:lnTo>
                    <a:pt x="5024" y="1714"/>
                  </a:lnTo>
                  <a:lnTo>
                    <a:pt x="5024" y="1709"/>
                  </a:lnTo>
                  <a:lnTo>
                    <a:pt x="5019" y="1709"/>
                  </a:lnTo>
                  <a:lnTo>
                    <a:pt x="5019" y="1709"/>
                  </a:lnTo>
                  <a:lnTo>
                    <a:pt x="5019" y="1705"/>
                  </a:lnTo>
                  <a:lnTo>
                    <a:pt x="5015" y="1705"/>
                  </a:lnTo>
                  <a:lnTo>
                    <a:pt x="5015" y="1705"/>
                  </a:lnTo>
                  <a:lnTo>
                    <a:pt x="5015" y="1705"/>
                  </a:lnTo>
                  <a:lnTo>
                    <a:pt x="5015" y="1709"/>
                  </a:lnTo>
                  <a:lnTo>
                    <a:pt x="5015" y="1709"/>
                  </a:lnTo>
                  <a:lnTo>
                    <a:pt x="5015" y="1709"/>
                  </a:lnTo>
                  <a:lnTo>
                    <a:pt x="5015" y="1714"/>
                  </a:lnTo>
                  <a:close/>
                  <a:moveTo>
                    <a:pt x="5028" y="1696"/>
                  </a:moveTo>
                  <a:lnTo>
                    <a:pt x="5028" y="1691"/>
                  </a:lnTo>
                  <a:lnTo>
                    <a:pt x="5028" y="1691"/>
                  </a:lnTo>
                  <a:lnTo>
                    <a:pt x="5028" y="1691"/>
                  </a:lnTo>
                  <a:lnTo>
                    <a:pt x="5028" y="1691"/>
                  </a:lnTo>
                  <a:lnTo>
                    <a:pt x="5028" y="1691"/>
                  </a:lnTo>
                  <a:lnTo>
                    <a:pt x="5024" y="1691"/>
                  </a:lnTo>
                  <a:lnTo>
                    <a:pt x="5024" y="1691"/>
                  </a:lnTo>
                  <a:lnTo>
                    <a:pt x="5024" y="1691"/>
                  </a:lnTo>
                  <a:lnTo>
                    <a:pt x="5024" y="1691"/>
                  </a:lnTo>
                  <a:lnTo>
                    <a:pt x="5019" y="1696"/>
                  </a:lnTo>
                  <a:lnTo>
                    <a:pt x="5019" y="1696"/>
                  </a:lnTo>
                  <a:lnTo>
                    <a:pt x="5019" y="1696"/>
                  </a:lnTo>
                  <a:lnTo>
                    <a:pt x="5019" y="1696"/>
                  </a:lnTo>
                  <a:lnTo>
                    <a:pt x="5019" y="1700"/>
                  </a:lnTo>
                  <a:lnTo>
                    <a:pt x="5019" y="1700"/>
                  </a:lnTo>
                  <a:lnTo>
                    <a:pt x="5019" y="1700"/>
                  </a:lnTo>
                  <a:lnTo>
                    <a:pt x="5019" y="1700"/>
                  </a:lnTo>
                  <a:lnTo>
                    <a:pt x="5019" y="1700"/>
                  </a:lnTo>
                  <a:lnTo>
                    <a:pt x="5015" y="1705"/>
                  </a:lnTo>
                  <a:lnTo>
                    <a:pt x="5019" y="1705"/>
                  </a:lnTo>
                  <a:lnTo>
                    <a:pt x="5019" y="1705"/>
                  </a:lnTo>
                  <a:lnTo>
                    <a:pt x="5019" y="1705"/>
                  </a:lnTo>
                  <a:lnTo>
                    <a:pt x="5019" y="1709"/>
                  </a:lnTo>
                  <a:lnTo>
                    <a:pt x="5019" y="1709"/>
                  </a:lnTo>
                  <a:lnTo>
                    <a:pt x="5024" y="1709"/>
                  </a:lnTo>
                  <a:lnTo>
                    <a:pt x="5024" y="1709"/>
                  </a:lnTo>
                  <a:lnTo>
                    <a:pt x="5024" y="1709"/>
                  </a:lnTo>
                  <a:lnTo>
                    <a:pt x="5028" y="1709"/>
                  </a:lnTo>
                  <a:lnTo>
                    <a:pt x="5028" y="1705"/>
                  </a:lnTo>
                  <a:lnTo>
                    <a:pt x="5028" y="1705"/>
                  </a:lnTo>
                  <a:lnTo>
                    <a:pt x="5028" y="1705"/>
                  </a:lnTo>
                  <a:lnTo>
                    <a:pt x="5028" y="1705"/>
                  </a:lnTo>
                  <a:lnTo>
                    <a:pt x="5028" y="1700"/>
                  </a:lnTo>
                  <a:lnTo>
                    <a:pt x="5028" y="1700"/>
                  </a:lnTo>
                  <a:lnTo>
                    <a:pt x="5028" y="1696"/>
                  </a:lnTo>
                  <a:lnTo>
                    <a:pt x="5028" y="1696"/>
                  </a:lnTo>
                  <a:lnTo>
                    <a:pt x="5028" y="1696"/>
                  </a:lnTo>
                  <a:close/>
                  <a:moveTo>
                    <a:pt x="5236" y="2107"/>
                  </a:moveTo>
                  <a:lnTo>
                    <a:pt x="5236" y="2111"/>
                  </a:lnTo>
                  <a:lnTo>
                    <a:pt x="5236" y="2111"/>
                  </a:lnTo>
                  <a:lnTo>
                    <a:pt x="5236" y="2111"/>
                  </a:lnTo>
                  <a:lnTo>
                    <a:pt x="5236" y="2111"/>
                  </a:lnTo>
                  <a:lnTo>
                    <a:pt x="5236" y="2111"/>
                  </a:lnTo>
                  <a:lnTo>
                    <a:pt x="5231" y="2116"/>
                  </a:lnTo>
                  <a:lnTo>
                    <a:pt x="5231" y="2116"/>
                  </a:lnTo>
                  <a:lnTo>
                    <a:pt x="5227" y="2121"/>
                  </a:lnTo>
                  <a:lnTo>
                    <a:pt x="5227" y="2121"/>
                  </a:lnTo>
                  <a:lnTo>
                    <a:pt x="5227" y="2121"/>
                  </a:lnTo>
                  <a:lnTo>
                    <a:pt x="5227" y="2125"/>
                  </a:lnTo>
                  <a:lnTo>
                    <a:pt x="5222" y="2125"/>
                  </a:lnTo>
                  <a:lnTo>
                    <a:pt x="5222" y="2130"/>
                  </a:lnTo>
                  <a:lnTo>
                    <a:pt x="5222" y="2130"/>
                  </a:lnTo>
                  <a:lnTo>
                    <a:pt x="5222" y="2130"/>
                  </a:lnTo>
                  <a:lnTo>
                    <a:pt x="5222" y="2130"/>
                  </a:lnTo>
                  <a:lnTo>
                    <a:pt x="5227" y="2125"/>
                  </a:lnTo>
                  <a:lnTo>
                    <a:pt x="5236" y="2116"/>
                  </a:lnTo>
                  <a:lnTo>
                    <a:pt x="5236" y="2116"/>
                  </a:lnTo>
                  <a:lnTo>
                    <a:pt x="5236" y="2111"/>
                  </a:lnTo>
                  <a:lnTo>
                    <a:pt x="5236" y="2111"/>
                  </a:lnTo>
                  <a:lnTo>
                    <a:pt x="5236" y="2107"/>
                  </a:lnTo>
                  <a:close/>
                  <a:moveTo>
                    <a:pt x="5046" y="1592"/>
                  </a:moveTo>
                  <a:lnTo>
                    <a:pt x="5046" y="1592"/>
                  </a:lnTo>
                  <a:lnTo>
                    <a:pt x="5046" y="1592"/>
                  </a:lnTo>
                  <a:lnTo>
                    <a:pt x="5046" y="1592"/>
                  </a:lnTo>
                  <a:lnTo>
                    <a:pt x="5051" y="1596"/>
                  </a:lnTo>
                  <a:lnTo>
                    <a:pt x="5051" y="1592"/>
                  </a:lnTo>
                  <a:lnTo>
                    <a:pt x="5051" y="1596"/>
                  </a:lnTo>
                  <a:lnTo>
                    <a:pt x="5051" y="1601"/>
                  </a:lnTo>
                  <a:lnTo>
                    <a:pt x="5055" y="1601"/>
                  </a:lnTo>
                  <a:lnTo>
                    <a:pt x="5055" y="1601"/>
                  </a:lnTo>
                  <a:lnTo>
                    <a:pt x="5055" y="1601"/>
                  </a:lnTo>
                  <a:lnTo>
                    <a:pt x="5060" y="1601"/>
                  </a:lnTo>
                  <a:lnTo>
                    <a:pt x="5060" y="1601"/>
                  </a:lnTo>
                  <a:lnTo>
                    <a:pt x="5060" y="1601"/>
                  </a:lnTo>
                  <a:lnTo>
                    <a:pt x="5060" y="1596"/>
                  </a:lnTo>
                  <a:lnTo>
                    <a:pt x="5055" y="1596"/>
                  </a:lnTo>
                  <a:lnTo>
                    <a:pt x="5055" y="1596"/>
                  </a:lnTo>
                  <a:lnTo>
                    <a:pt x="5051" y="1592"/>
                  </a:lnTo>
                  <a:lnTo>
                    <a:pt x="5051" y="1592"/>
                  </a:lnTo>
                  <a:lnTo>
                    <a:pt x="5051" y="1592"/>
                  </a:lnTo>
                  <a:lnTo>
                    <a:pt x="5051" y="1592"/>
                  </a:lnTo>
                  <a:lnTo>
                    <a:pt x="5046" y="1592"/>
                  </a:lnTo>
                  <a:lnTo>
                    <a:pt x="5046" y="1592"/>
                  </a:lnTo>
                  <a:lnTo>
                    <a:pt x="5046" y="1592"/>
                  </a:lnTo>
                  <a:lnTo>
                    <a:pt x="5046" y="1592"/>
                  </a:lnTo>
                  <a:close/>
                  <a:moveTo>
                    <a:pt x="4974" y="1592"/>
                  </a:moveTo>
                  <a:lnTo>
                    <a:pt x="4974" y="1596"/>
                  </a:lnTo>
                  <a:lnTo>
                    <a:pt x="4974" y="1596"/>
                  </a:lnTo>
                  <a:lnTo>
                    <a:pt x="4974" y="1596"/>
                  </a:lnTo>
                  <a:lnTo>
                    <a:pt x="4969" y="1601"/>
                  </a:lnTo>
                  <a:lnTo>
                    <a:pt x="4969" y="1601"/>
                  </a:lnTo>
                  <a:lnTo>
                    <a:pt x="4969" y="1601"/>
                  </a:lnTo>
                  <a:lnTo>
                    <a:pt x="4969" y="1601"/>
                  </a:lnTo>
                  <a:lnTo>
                    <a:pt x="4969" y="1605"/>
                  </a:lnTo>
                  <a:lnTo>
                    <a:pt x="4965" y="1605"/>
                  </a:lnTo>
                  <a:lnTo>
                    <a:pt x="4969" y="1605"/>
                  </a:lnTo>
                  <a:lnTo>
                    <a:pt x="4969" y="1605"/>
                  </a:lnTo>
                  <a:lnTo>
                    <a:pt x="4969" y="1605"/>
                  </a:lnTo>
                  <a:lnTo>
                    <a:pt x="4969" y="1605"/>
                  </a:lnTo>
                  <a:lnTo>
                    <a:pt x="4974" y="1605"/>
                  </a:lnTo>
                  <a:lnTo>
                    <a:pt x="4978" y="1610"/>
                  </a:lnTo>
                  <a:lnTo>
                    <a:pt x="4983" y="1610"/>
                  </a:lnTo>
                  <a:lnTo>
                    <a:pt x="4983" y="1610"/>
                  </a:lnTo>
                  <a:lnTo>
                    <a:pt x="4983" y="1610"/>
                  </a:lnTo>
                  <a:lnTo>
                    <a:pt x="4983" y="1614"/>
                  </a:lnTo>
                  <a:lnTo>
                    <a:pt x="4983" y="1619"/>
                  </a:lnTo>
                  <a:lnTo>
                    <a:pt x="4987" y="1619"/>
                  </a:lnTo>
                  <a:lnTo>
                    <a:pt x="4987" y="1619"/>
                  </a:lnTo>
                  <a:lnTo>
                    <a:pt x="4987" y="1623"/>
                  </a:lnTo>
                  <a:lnTo>
                    <a:pt x="4987" y="1623"/>
                  </a:lnTo>
                  <a:lnTo>
                    <a:pt x="4992" y="1623"/>
                  </a:lnTo>
                  <a:lnTo>
                    <a:pt x="4992" y="1623"/>
                  </a:lnTo>
                  <a:lnTo>
                    <a:pt x="4997" y="1623"/>
                  </a:lnTo>
                  <a:lnTo>
                    <a:pt x="5001" y="1623"/>
                  </a:lnTo>
                  <a:lnTo>
                    <a:pt x="5001" y="1623"/>
                  </a:lnTo>
                  <a:lnTo>
                    <a:pt x="5006" y="1623"/>
                  </a:lnTo>
                  <a:lnTo>
                    <a:pt x="5010" y="1623"/>
                  </a:lnTo>
                  <a:lnTo>
                    <a:pt x="5010" y="1623"/>
                  </a:lnTo>
                  <a:lnTo>
                    <a:pt x="5015" y="1623"/>
                  </a:lnTo>
                  <a:lnTo>
                    <a:pt x="5019" y="1619"/>
                  </a:lnTo>
                  <a:lnTo>
                    <a:pt x="5019" y="1619"/>
                  </a:lnTo>
                  <a:lnTo>
                    <a:pt x="5019" y="1623"/>
                  </a:lnTo>
                  <a:lnTo>
                    <a:pt x="5015" y="1623"/>
                  </a:lnTo>
                  <a:lnTo>
                    <a:pt x="5015" y="1623"/>
                  </a:lnTo>
                  <a:lnTo>
                    <a:pt x="5019" y="1623"/>
                  </a:lnTo>
                  <a:lnTo>
                    <a:pt x="5019" y="1628"/>
                  </a:lnTo>
                  <a:lnTo>
                    <a:pt x="5019" y="1628"/>
                  </a:lnTo>
                  <a:lnTo>
                    <a:pt x="5015" y="1628"/>
                  </a:lnTo>
                  <a:lnTo>
                    <a:pt x="5015" y="1628"/>
                  </a:lnTo>
                  <a:lnTo>
                    <a:pt x="5015" y="1628"/>
                  </a:lnTo>
                  <a:lnTo>
                    <a:pt x="5015" y="1632"/>
                  </a:lnTo>
                  <a:lnTo>
                    <a:pt x="5015" y="1632"/>
                  </a:lnTo>
                  <a:lnTo>
                    <a:pt x="5010" y="1628"/>
                  </a:lnTo>
                  <a:lnTo>
                    <a:pt x="5010" y="1628"/>
                  </a:lnTo>
                  <a:lnTo>
                    <a:pt x="5010" y="1628"/>
                  </a:lnTo>
                  <a:lnTo>
                    <a:pt x="5006" y="1628"/>
                  </a:lnTo>
                  <a:lnTo>
                    <a:pt x="5006" y="1628"/>
                  </a:lnTo>
                  <a:lnTo>
                    <a:pt x="5006" y="1628"/>
                  </a:lnTo>
                  <a:lnTo>
                    <a:pt x="5001" y="1628"/>
                  </a:lnTo>
                  <a:lnTo>
                    <a:pt x="5001" y="1632"/>
                  </a:lnTo>
                  <a:lnTo>
                    <a:pt x="4997" y="1632"/>
                  </a:lnTo>
                  <a:lnTo>
                    <a:pt x="4997" y="1632"/>
                  </a:lnTo>
                  <a:lnTo>
                    <a:pt x="4992" y="1632"/>
                  </a:lnTo>
                  <a:lnTo>
                    <a:pt x="4987" y="1632"/>
                  </a:lnTo>
                  <a:lnTo>
                    <a:pt x="4987" y="1632"/>
                  </a:lnTo>
                  <a:lnTo>
                    <a:pt x="4983" y="1632"/>
                  </a:lnTo>
                  <a:lnTo>
                    <a:pt x="4983" y="1632"/>
                  </a:lnTo>
                  <a:lnTo>
                    <a:pt x="4983" y="1637"/>
                  </a:lnTo>
                  <a:lnTo>
                    <a:pt x="4983" y="1637"/>
                  </a:lnTo>
                  <a:lnTo>
                    <a:pt x="4987" y="1637"/>
                  </a:lnTo>
                  <a:lnTo>
                    <a:pt x="4987" y="1637"/>
                  </a:lnTo>
                  <a:lnTo>
                    <a:pt x="4987" y="1637"/>
                  </a:lnTo>
                  <a:lnTo>
                    <a:pt x="4992" y="1641"/>
                  </a:lnTo>
                  <a:lnTo>
                    <a:pt x="4997" y="1646"/>
                  </a:lnTo>
                  <a:lnTo>
                    <a:pt x="4997" y="1646"/>
                  </a:lnTo>
                  <a:lnTo>
                    <a:pt x="4997" y="1650"/>
                  </a:lnTo>
                  <a:lnTo>
                    <a:pt x="4997" y="1655"/>
                  </a:lnTo>
                  <a:lnTo>
                    <a:pt x="4997" y="1655"/>
                  </a:lnTo>
                  <a:lnTo>
                    <a:pt x="4997" y="1659"/>
                  </a:lnTo>
                  <a:lnTo>
                    <a:pt x="4997" y="1659"/>
                  </a:lnTo>
                  <a:lnTo>
                    <a:pt x="4997" y="1659"/>
                  </a:lnTo>
                  <a:lnTo>
                    <a:pt x="5001" y="1659"/>
                  </a:lnTo>
                  <a:lnTo>
                    <a:pt x="5001" y="1659"/>
                  </a:lnTo>
                  <a:lnTo>
                    <a:pt x="5006" y="1659"/>
                  </a:lnTo>
                  <a:lnTo>
                    <a:pt x="5006" y="1659"/>
                  </a:lnTo>
                  <a:lnTo>
                    <a:pt x="5006" y="1659"/>
                  </a:lnTo>
                  <a:lnTo>
                    <a:pt x="5006" y="1655"/>
                  </a:lnTo>
                  <a:lnTo>
                    <a:pt x="5006" y="1655"/>
                  </a:lnTo>
                  <a:lnTo>
                    <a:pt x="5006" y="1655"/>
                  </a:lnTo>
                  <a:lnTo>
                    <a:pt x="5010" y="1650"/>
                  </a:lnTo>
                  <a:lnTo>
                    <a:pt x="5010" y="1650"/>
                  </a:lnTo>
                  <a:lnTo>
                    <a:pt x="5010" y="1646"/>
                  </a:lnTo>
                  <a:lnTo>
                    <a:pt x="5010" y="1646"/>
                  </a:lnTo>
                  <a:lnTo>
                    <a:pt x="5010" y="1646"/>
                  </a:lnTo>
                  <a:lnTo>
                    <a:pt x="5015" y="1641"/>
                  </a:lnTo>
                  <a:lnTo>
                    <a:pt x="5015" y="1641"/>
                  </a:lnTo>
                  <a:lnTo>
                    <a:pt x="5015" y="1641"/>
                  </a:lnTo>
                  <a:lnTo>
                    <a:pt x="5015" y="1641"/>
                  </a:lnTo>
                  <a:lnTo>
                    <a:pt x="5015" y="1641"/>
                  </a:lnTo>
                  <a:lnTo>
                    <a:pt x="5015" y="1641"/>
                  </a:lnTo>
                  <a:lnTo>
                    <a:pt x="5015" y="1646"/>
                  </a:lnTo>
                  <a:lnTo>
                    <a:pt x="5015" y="1646"/>
                  </a:lnTo>
                  <a:lnTo>
                    <a:pt x="5015" y="1650"/>
                  </a:lnTo>
                  <a:lnTo>
                    <a:pt x="5015" y="1650"/>
                  </a:lnTo>
                  <a:lnTo>
                    <a:pt x="5015" y="1650"/>
                  </a:lnTo>
                  <a:lnTo>
                    <a:pt x="5015" y="1655"/>
                  </a:lnTo>
                  <a:lnTo>
                    <a:pt x="5015" y="1655"/>
                  </a:lnTo>
                  <a:lnTo>
                    <a:pt x="5015" y="1655"/>
                  </a:lnTo>
                  <a:lnTo>
                    <a:pt x="5019" y="1655"/>
                  </a:lnTo>
                  <a:lnTo>
                    <a:pt x="5019" y="1655"/>
                  </a:lnTo>
                  <a:lnTo>
                    <a:pt x="5019" y="1655"/>
                  </a:lnTo>
                  <a:lnTo>
                    <a:pt x="5019" y="1655"/>
                  </a:lnTo>
                  <a:lnTo>
                    <a:pt x="5019" y="1655"/>
                  </a:lnTo>
                  <a:lnTo>
                    <a:pt x="5019" y="1659"/>
                  </a:lnTo>
                  <a:lnTo>
                    <a:pt x="5024" y="1659"/>
                  </a:lnTo>
                  <a:lnTo>
                    <a:pt x="5024" y="1659"/>
                  </a:lnTo>
                  <a:lnTo>
                    <a:pt x="5024" y="1659"/>
                  </a:lnTo>
                  <a:lnTo>
                    <a:pt x="5028" y="1659"/>
                  </a:lnTo>
                  <a:lnTo>
                    <a:pt x="5028" y="1659"/>
                  </a:lnTo>
                  <a:lnTo>
                    <a:pt x="5028" y="1659"/>
                  </a:lnTo>
                  <a:lnTo>
                    <a:pt x="5033" y="1659"/>
                  </a:lnTo>
                  <a:lnTo>
                    <a:pt x="5033" y="1659"/>
                  </a:lnTo>
                  <a:lnTo>
                    <a:pt x="5028" y="1659"/>
                  </a:lnTo>
                  <a:lnTo>
                    <a:pt x="5028" y="1659"/>
                  </a:lnTo>
                  <a:lnTo>
                    <a:pt x="5028" y="1659"/>
                  </a:lnTo>
                  <a:lnTo>
                    <a:pt x="5028" y="1664"/>
                  </a:lnTo>
                  <a:lnTo>
                    <a:pt x="5037" y="1668"/>
                  </a:lnTo>
                  <a:lnTo>
                    <a:pt x="5037" y="1668"/>
                  </a:lnTo>
                  <a:lnTo>
                    <a:pt x="5042" y="1668"/>
                  </a:lnTo>
                  <a:lnTo>
                    <a:pt x="5042" y="1668"/>
                  </a:lnTo>
                  <a:lnTo>
                    <a:pt x="5046" y="1668"/>
                  </a:lnTo>
                  <a:lnTo>
                    <a:pt x="5051" y="1673"/>
                  </a:lnTo>
                  <a:lnTo>
                    <a:pt x="5055" y="1673"/>
                  </a:lnTo>
                  <a:lnTo>
                    <a:pt x="5055" y="1673"/>
                  </a:lnTo>
                  <a:lnTo>
                    <a:pt x="5060" y="1673"/>
                  </a:lnTo>
                  <a:lnTo>
                    <a:pt x="5060" y="1677"/>
                  </a:lnTo>
                  <a:lnTo>
                    <a:pt x="5064" y="1677"/>
                  </a:lnTo>
                  <a:lnTo>
                    <a:pt x="5069" y="1677"/>
                  </a:lnTo>
                  <a:lnTo>
                    <a:pt x="5069" y="1677"/>
                  </a:lnTo>
                  <a:lnTo>
                    <a:pt x="5069" y="1677"/>
                  </a:lnTo>
                  <a:lnTo>
                    <a:pt x="5069" y="1677"/>
                  </a:lnTo>
                  <a:lnTo>
                    <a:pt x="5069" y="1682"/>
                  </a:lnTo>
                  <a:lnTo>
                    <a:pt x="5073" y="1682"/>
                  </a:lnTo>
                  <a:lnTo>
                    <a:pt x="5073" y="1682"/>
                  </a:lnTo>
                  <a:lnTo>
                    <a:pt x="5073" y="1682"/>
                  </a:lnTo>
                  <a:lnTo>
                    <a:pt x="5073" y="1682"/>
                  </a:lnTo>
                  <a:lnTo>
                    <a:pt x="5082" y="1686"/>
                  </a:lnTo>
                  <a:lnTo>
                    <a:pt x="5082" y="1686"/>
                  </a:lnTo>
                  <a:lnTo>
                    <a:pt x="5082" y="1686"/>
                  </a:lnTo>
                  <a:lnTo>
                    <a:pt x="5082" y="1686"/>
                  </a:lnTo>
                  <a:lnTo>
                    <a:pt x="5082" y="1691"/>
                  </a:lnTo>
                  <a:lnTo>
                    <a:pt x="5087" y="1691"/>
                  </a:lnTo>
                  <a:lnTo>
                    <a:pt x="5087" y="1691"/>
                  </a:lnTo>
                  <a:lnTo>
                    <a:pt x="5087" y="1691"/>
                  </a:lnTo>
                  <a:lnTo>
                    <a:pt x="5087" y="1696"/>
                  </a:lnTo>
                  <a:lnTo>
                    <a:pt x="5087" y="1696"/>
                  </a:lnTo>
                  <a:lnTo>
                    <a:pt x="5087" y="1696"/>
                  </a:lnTo>
                  <a:lnTo>
                    <a:pt x="5087" y="1696"/>
                  </a:lnTo>
                  <a:lnTo>
                    <a:pt x="5087" y="1696"/>
                  </a:lnTo>
                  <a:lnTo>
                    <a:pt x="5087" y="1696"/>
                  </a:lnTo>
                  <a:lnTo>
                    <a:pt x="5091" y="1696"/>
                  </a:lnTo>
                  <a:lnTo>
                    <a:pt x="5087" y="1696"/>
                  </a:lnTo>
                  <a:lnTo>
                    <a:pt x="5087" y="1700"/>
                  </a:lnTo>
                  <a:lnTo>
                    <a:pt x="5087" y="1700"/>
                  </a:lnTo>
                  <a:lnTo>
                    <a:pt x="5091" y="1700"/>
                  </a:lnTo>
                  <a:lnTo>
                    <a:pt x="5091" y="1700"/>
                  </a:lnTo>
                  <a:lnTo>
                    <a:pt x="5091" y="1700"/>
                  </a:lnTo>
                  <a:lnTo>
                    <a:pt x="5091" y="1705"/>
                  </a:lnTo>
                  <a:lnTo>
                    <a:pt x="5091" y="1709"/>
                  </a:lnTo>
                  <a:lnTo>
                    <a:pt x="5091" y="1714"/>
                  </a:lnTo>
                  <a:lnTo>
                    <a:pt x="5096" y="1714"/>
                  </a:lnTo>
                  <a:lnTo>
                    <a:pt x="5096" y="1714"/>
                  </a:lnTo>
                  <a:lnTo>
                    <a:pt x="5096" y="1718"/>
                  </a:lnTo>
                  <a:lnTo>
                    <a:pt x="5096" y="1718"/>
                  </a:lnTo>
                  <a:lnTo>
                    <a:pt x="5096" y="1723"/>
                  </a:lnTo>
                  <a:lnTo>
                    <a:pt x="5096" y="1723"/>
                  </a:lnTo>
                  <a:lnTo>
                    <a:pt x="5091" y="1723"/>
                  </a:lnTo>
                  <a:lnTo>
                    <a:pt x="5091" y="1723"/>
                  </a:lnTo>
                  <a:lnTo>
                    <a:pt x="5096" y="1727"/>
                  </a:lnTo>
                  <a:lnTo>
                    <a:pt x="5096" y="1727"/>
                  </a:lnTo>
                  <a:lnTo>
                    <a:pt x="5100" y="1727"/>
                  </a:lnTo>
                  <a:lnTo>
                    <a:pt x="5100" y="1727"/>
                  </a:lnTo>
                  <a:lnTo>
                    <a:pt x="5100" y="1727"/>
                  </a:lnTo>
                  <a:lnTo>
                    <a:pt x="5100" y="1727"/>
                  </a:lnTo>
                  <a:lnTo>
                    <a:pt x="5100" y="1727"/>
                  </a:lnTo>
                  <a:lnTo>
                    <a:pt x="5096" y="1727"/>
                  </a:lnTo>
                  <a:lnTo>
                    <a:pt x="5096" y="1727"/>
                  </a:lnTo>
                  <a:lnTo>
                    <a:pt x="5096" y="1727"/>
                  </a:lnTo>
                  <a:lnTo>
                    <a:pt x="5096" y="1727"/>
                  </a:lnTo>
                  <a:lnTo>
                    <a:pt x="5096" y="1732"/>
                  </a:lnTo>
                  <a:lnTo>
                    <a:pt x="5096" y="1732"/>
                  </a:lnTo>
                  <a:lnTo>
                    <a:pt x="5096" y="1732"/>
                  </a:lnTo>
                  <a:lnTo>
                    <a:pt x="5096" y="1732"/>
                  </a:lnTo>
                  <a:lnTo>
                    <a:pt x="5096" y="1736"/>
                  </a:lnTo>
                  <a:lnTo>
                    <a:pt x="5100" y="1736"/>
                  </a:lnTo>
                  <a:lnTo>
                    <a:pt x="5100" y="1736"/>
                  </a:lnTo>
                  <a:lnTo>
                    <a:pt x="5100" y="1736"/>
                  </a:lnTo>
                  <a:lnTo>
                    <a:pt x="5100" y="1736"/>
                  </a:lnTo>
                  <a:lnTo>
                    <a:pt x="5096" y="1741"/>
                  </a:lnTo>
                  <a:lnTo>
                    <a:pt x="5096" y="1741"/>
                  </a:lnTo>
                  <a:lnTo>
                    <a:pt x="5096" y="1745"/>
                  </a:lnTo>
                  <a:lnTo>
                    <a:pt x="5096" y="1745"/>
                  </a:lnTo>
                  <a:lnTo>
                    <a:pt x="5096" y="1750"/>
                  </a:lnTo>
                  <a:lnTo>
                    <a:pt x="5096" y="1750"/>
                  </a:lnTo>
                  <a:lnTo>
                    <a:pt x="5096" y="1750"/>
                  </a:lnTo>
                  <a:lnTo>
                    <a:pt x="5096" y="1750"/>
                  </a:lnTo>
                  <a:lnTo>
                    <a:pt x="5096" y="1750"/>
                  </a:lnTo>
                  <a:lnTo>
                    <a:pt x="5100" y="1745"/>
                  </a:lnTo>
                  <a:lnTo>
                    <a:pt x="5100" y="1745"/>
                  </a:lnTo>
                  <a:lnTo>
                    <a:pt x="5100" y="1745"/>
                  </a:lnTo>
                  <a:lnTo>
                    <a:pt x="5100" y="1745"/>
                  </a:lnTo>
                  <a:lnTo>
                    <a:pt x="5100" y="1750"/>
                  </a:lnTo>
                  <a:lnTo>
                    <a:pt x="5105" y="1750"/>
                  </a:lnTo>
                  <a:lnTo>
                    <a:pt x="5105" y="1750"/>
                  </a:lnTo>
                  <a:lnTo>
                    <a:pt x="5109" y="1745"/>
                  </a:lnTo>
                  <a:lnTo>
                    <a:pt x="5109" y="1745"/>
                  </a:lnTo>
                  <a:lnTo>
                    <a:pt x="5114" y="1745"/>
                  </a:lnTo>
                  <a:lnTo>
                    <a:pt x="5114" y="1745"/>
                  </a:lnTo>
                  <a:lnTo>
                    <a:pt x="5114" y="1745"/>
                  </a:lnTo>
                  <a:lnTo>
                    <a:pt x="5114" y="1745"/>
                  </a:lnTo>
                  <a:lnTo>
                    <a:pt x="5114" y="1750"/>
                  </a:lnTo>
                  <a:lnTo>
                    <a:pt x="5114" y="1750"/>
                  </a:lnTo>
                  <a:lnTo>
                    <a:pt x="5114" y="1750"/>
                  </a:lnTo>
                  <a:lnTo>
                    <a:pt x="5114" y="1750"/>
                  </a:lnTo>
                  <a:lnTo>
                    <a:pt x="5119" y="1759"/>
                  </a:lnTo>
                  <a:lnTo>
                    <a:pt x="5123" y="1759"/>
                  </a:lnTo>
                  <a:lnTo>
                    <a:pt x="5123" y="1763"/>
                  </a:lnTo>
                  <a:lnTo>
                    <a:pt x="5123" y="1768"/>
                  </a:lnTo>
                  <a:lnTo>
                    <a:pt x="5128" y="1768"/>
                  </a:lnTo>
                  <a:lnTo>
                    <a:pt x="5132" y="1772"/>
                  </a:lnTo>
                  <a:lnTo>
                    <a:pt x="5132" y="1772"/>
                  </a:lnTo>
                  <a:lnTo>
                    <a:pt x="5132" y="1772"/>
                  </a:lnTo>
                  <a:lnTo>
                    <a:pt x="5137" y="1768"/>
                  </a:lnTo>
                  <a:lnTo>
                    <a:pt x="5137" y="1772"/>
                  </a:lnTo>
                  <a:lnTo>
                    <a:pt x="5137" y="1772"/>
                  </a:lnTo>
                  <a:lnTo>
                    <a:pt x="5141" y="1772"/>
                  </a:lnTo>
                  <a:lnTo>
                    <a:pt x="5146" y="1772"/>
                  </a:lnTo>
                  <a:lnTo>
                    <a:pt x="5150" y="1772"/>
                  </a:lnTo>
                  <a:lnTo>
                    <a:pt x="5150" y="1772"/>
                  </a:lnTo>
                  <a:lnTo>
                    <a:pt x="5150" y="1772"/>
                  </a:lnTo>
                  <a:lnTo>
                    <a:pt x="5155" y="1772"/>
                  </a:lnTo>
                  <a:lnTo>
                    <a:pt x="5155" y="1772"/>
                  </a:lnTo>
                  <a:lnTo>
                    <a:pt x="5155" y="1772"/>
                  </a:lnTo>
                  <a:lnTo>
                    <a:pt x="5159" y="1772"/>
                  </a:lnTo>
                  <a:lnTo>
                    <a:pt x="5164" y="1768"/>
                  </a:lnTo>
                  <a:lnTo>
                    <a:pt x="5168" y="1768"/>
                  </a:lnTo>
                  <a:lnTo>
                    <a:pt x="5168" y="1768"/>
                  </a:lnTo>
                  <a:lnTo>
                    <a:pt x="5168" y="1763"/>
                  </a:lnTo>
                  <a:lnTo>
                    <a:pt x="5168" y="1763"/>
                  </a:lnTo>
                  <a:lnTo>
                    <a:pt x="5168" y="1763"/>
                  </a:lnTo>
                  <a:lnTo>
                    <a:pt x="5168" y="1759"/>
                  </a:lnTo>
                  <a:lnTo>
                    <a:pt x="5168" y="1759"/>
                  </a:lnTo>
                  <a:lnTo>
                    <a:pt x="5168" y="1754"/>
                  </a:lnTo>
                  <a:lnTo>
                    <a:pt x="5164" y="1754"/>
                  </a:lnTo>
                  <a:lnTo>
                    <a:pt x="5164" y="1754"/>
                  </a:lnTo>
                  <a:lnTo>
                    <a:pt x="5164" y="1754"/>
                  </a:lnTo>
                  <a:lnTo>
                    <a:pt x="5159" y="1754"/>
                  </a:lnTo>
                  <a:lnTo>
                    <a:pt x="5155" y="1754"/>
                  </a:lnTo>
                  <a:lnTo>
                    <a:pt x="5155" y="1754"/>
                  </a:lnTo>
                  <a:lnTo>
                    <a:pt x="5155" y="1750"/>
                  </a:lnTo>
                  <a:lnTo>
                    <a:pt x="5155" y="1750"/>
                  </a:lnTo>
                  <a:lnTo>
                    <a:pt x="5150" y="1750"/>
                  </a:lnTo>
                  <a:lnTo>
                    <a:pt x="5155" y="1750"/>
                  </a:lnTo>
                  <a:lnTo>
                    <a:pt x="5155" y="1750"/>
                  </a:lnTo>
                  <a:lnTo>
                    <a:pt x="5155" y="1750"/>
                  </a:lnTo>
                  <a:lnTo>
                    <a:pt x="5155" y="1750"/>
                  </a:lnTo>
                  <a:lnTo>
                    <a:pt x="5155" y="1754"/>
                  </a:lnTo>
                  <a:lnTo>
                    <a:pt x="5155" y="1754"/>
                  </a:lnTo>
                  <a:lnTo>
                    <a:pt x="5159" y="1750"/>
                  </a:lnTo>
                  <a:lnTo>
                    <a:pt x="5159" y="1750"/>
                  </a:lnTo>
                  <a:lnTo>
                    <a:pt x="5164" y="1754"/>
                  </a:lnTo>
                  <a:lnTo>
                    <a:pt x="5164" y="1754"/>
                  </a:lnTo>
                  <a:lnTo>
                    <a:pt x="5168" y="1754"/>
                  </a:lnTo>
                  <a:lnTo>
                    <a:pt x="5168" y="1750"/>
                  </a:lnTo>
                  <a:lnTo>
                    <a:pt x="5173" y="1750"/>
                  </a:lnTo>
                  <a:lnTo>
                    <a:pt x="5177" y="1750"/>
                  </a:lnTo>
                  <a:lnTo>
                    <a:pt x="5177" y="1750"/>
                  </a:lnTo>
                  <a:lnTo>
                    <a:pt x="5177" y="1745"/>
                  </a:lnTo>
                  <a:lnTo>
                    <a:pt x="5177" y="1745"/>
                  </a:lnTo>
                  <a:lnTo>
                    <a:pt x="5177" y="1745"/>
                  </a:lnTo>
                  <a:lnTo>
                    <a:pt x="5177" y="1745"/>
                  </a:lnTo>
                  <a:lnTo>
                    <a:pt x="5177" y="1745"/>
                  </a:lnTo>
                  <a:lnTo>
                    <a:pt x="5182" y="1745"/>
                  </a:lnTo>
                  <a:lnTo>
                    <a:pt x="5182" y="1745"/>
                  </a:lnTo>
                  <a:lnTo>
                    <a:pt x="5182" y="1745"/>
                  </a:lnTo>
                  <a:lnTo>
                    <a:pt x="5182" y="1745"/>
                  </a:lnTo>
                  <a:lnTo>
                    <a:pt x="5182" y="1745"/>
                  </a:lnTo>
                  <a:lnTo>
                    <a:pt x="5182" y="1736"/>
                  </a:lnTo>
                  <a:lnTo>
                    <a:pt x="5177" y="1736"/>
                  </a:lnTo>
                  <a:lnTo>
                    <a:pt x="5182" y="1736"/>
                  </a:lnTo>
                  <a:lnTo>
                    <a:pt x="5182" y="1736"/>
                  </a:lnTo>
                  <a:lnTo>
                    <a:pt x="5182" y="1736"/>
                  </a:lnTo>
                  <a:lnTo>
                    <a:pt x="5182" y="1741"/>
                  </a:lnTo>
                  <a:lnTo>
                    <a:pt x="5182" y="1741"/>
                  </a:lnTo>
                  <a:lnTo>
                    <a:pt x="5186" y="1741"/>
                  </a:lnTo>
                  <a:lnTo>
                    <a:pt x="5186" y="1741"/>
                  </a:lnTo>
                  <a:lnTo>
                    <a:pt x="5191" y="1741"/>
                  </a:lnTo>
                  <a:lnTo>
                    <a:pt x="5191" y="1741"/>
                  </a:lnTo>
                  <a:lnTo>
                    <a:pt x="5191" y="1741"/>
                  </a:lnTo>
                  <a:lnTo>
                    <a:pt x="5191" y="1741"/>
                  </a:lnTo>
                  <a:lnTo>
                    <a:pt x="5191" y="1741"/>
                  </a:lnTo>
                  <a:lnTo>
                    <a:pt x="5191" y="1736"/>
                  </a:lnTo>
                  <a:lnTo>
                    <a:pt x="5195" y="1736"/>
                  </a:lnTo>
                  <a:lnTo>
                    <a:pt x="5195" y="1736"/>
                  </a:lnTo>
                  <a:lnTo>
                    <a:pt x="5195" y="1741"/>
                  </a:lnTo>
                  <a:lnTo>
                    <a:pt x="5200" y="1741"/>
                  </a:lnTo>
                  <a:lnTo>
                    <a:pt x="5200" y="1741"/>
                  </a:lnTo>
                  <a:lnTo>
                    <a:pt x="5200" y="1741"/>
                  </a:lnTo>
                  <a:lnTo>
                    <a:pt x="5200" y="1741"/>
                  </a:lnTo>
                  <a:lnTo>
                    <a:pt x="5200" y="1741"/>
                  </a:lnTo>
                  <a:lnTo>
                    <a:pt x="5204" y="1745"/>
                  </a:lnTo>
                  <a:lnTo>
                    <a:pt x="5204" y="1745"/>
                  </a:lnTo>
                  <a:lnTo>
                    <a:pt x="5204" y="1745"/>
                  </a:lnTo>
                  <a:lnTo>
                    <a:pt x="5209" y="1745"/>
                  </a:lnTo>
                  <a:lnTo>
                    <a:pt x="5209" y="1745"/>
                  </a:lnTo>
                  <a:lnTo>
                    <a:pt x="5213" y="1745"/>
                  </a:lnTo>
                  <a:lnTo>
                    <a:pt x="5213" y="1745"/>
                  </a:lnTo>
                  <a:lnTo>
                    <a:pt x="5213" y="1745"/>
                  </a:lnTo>
                  <a:lnTo>
                    <a:pt x="5218" y="1750"/>
                  </a:lnTo>
                  <a:lnTo>
                    <a:pt x="5218" y="1750"/>
                  </a:lnTo>
                  <a:lnTo>
                    <a:pt x="5218" y="1750"/>
                  </a:lnTo>
                  <a:lnTo>
                    <a:pt x="5218" y="1750"/>
                  </a:lnTo>
                  <a:lnTo>
                    <a:pt x="5222" y="1754"/>
                  </a:lnTo>
                  <a:lnTo>
                    <a:pt x="5222" y="1754"/>
                  </a:lnTo>
                  <a:lnTo>
                    <a:pt x="5222" y="1759"/>
                  </a:lnTo>
                  <a:lnTo>
                    <a:pt x="5222" y="1759"/>
                  </a:lnTo>
                  <a:lnTo>
                    <a:pt x="5227" y="1763"/>
                  </a:lnTo>
                  <a:lnTo>
                    <a:pt x="5227" y="1768"/>
                  </a:lnTo>
                  <a:lnTo>
                    <a:pt x="5227" y="1768"/>
                  </a:lnTo>
                  <a:lnTo>
                    <a:pt x="5231" y="1772"/>
                  </a:lnTo>
                  <a:lnTo>
                    <a:pt x="5231" y="1772"/>
                  </a:lnTo>
                  <a:lnTo>
                    <a:pt x="5231" y="1768"/>
                  </a:lnTo>
                  <a:lnTo>
                    <a:pt x="5231" y="1772"/>
                  </a:lnTo>
                  <a:lnTo>
                    <a:pt x="5231" y="1772"/>
                  </a:lnTo>
                  <a:lnTo>
                    <a:pt x="5231" y="1777"/>
                  </a:lnTo>
                  <a:lnTo>
                    <a:pt x="5231" y="1777"/>
                  </a:lnTo>
                  <a:lnTo>
                    <a:pt x="5236" y="1781"/>
                  </a:lnTo>
                  <a:lnTo>
                    <a:pt x="5236" y="1781"/>
                  </a:lnTo>
                  <a:lnTo>
                    <a:pt x="5236" y="1786"/>
                  </a:lnTo>
                  <a:lnTo>
                    <a:pt x="5240" y="1790"/>
                  </a:lnTo>
                  <a:lnTo>
                    <a:pt x="5240" y="1790"/>
                  </a:lnTo>
                  <a:lnTo>
                    <a:pt x="5240" y="1790"/>
                  </a:lnTo>
                  <a:lnTo>
                    <a:pt x="5240" y="1790"/>
                  </a:lnTo>
                  <a:lnTo>
                    <a:pt x="5245" y="1790"/>
                  </a:lnTo>
                  <a:lnTo>
                    <a:pt x="5245" y="1795"/>
                  </a:lnTo>
                  <a:lnTo>
                    <a:pt x="5250" y="1795"/>
                  </a:lnTo>
                  <a:lnTo>
                    <a:pt x="5250" y="1795"/>
                  </a:lnTo>
                  <a:lnTo>
                    <a:pt x="5250" y="1795"/>
                  </a:lnTo>
                  <a:lnTo>
                    <a:pt x="5254" y="1795"/>
                  </a:lnTo>
                  <a:lnTo>
                    <a:pt x="5254" y="1795"/>
                  </a:lnTo>
                  <a:lnTo>
                    <a:pt x="5254" y="1795"/>
                  </a:lnTo>
                  <a:lnTo>
                    <a:pt x="5259" y="1795"/>
                  </a:lnTo>
                  <a:lnTo>
                    <a:pt x="5259" y="1795"/>
                  </a:lnTo>
                  <a:lnTo>
                    <a:pt x="5259" y="1795"/>
                  </a:lnTo>
                  <a:lnTo>
                    <a:pt x="5263" y="1795"/>
                  </a:lnTo>
                  <a:lnTo>
                    <a:pt x="5268" y="1800"/>
                  </a:lnTo>
                  <a:lnTo>
                    <a:pt x="5272" y="1800"/>
                  </a:lnTo>
                  <a:lnTo>
                    <a:pt x="5272" y="1800"/>
                  </a:lnTo>
                  <a:lnTo>
                    <a:pt x="5277" y="1800"/>
                  </a:lnTo>
                  <a:lnTo>
                    <a:pt x="5277" y="1800"/>
                  </a:lnTo>
                  <a:lnTo>
                    <a:pt x="5277" y="1804"/>
                  </a:lnTo>
                  <a:lnTo>
                    <a:pt x="5277" y="1804"/>
                  </a:lnTo>
                  <a:lnTo>
                    <a:pt x="5277" y="1804"/>
                  </a:lnTo>
                  <a:lnTo>
                    <a:pt x="5281" y="1804"/>
                  </a:lnTo>
                  <a:lnTo>
                    <a:pt x="5286" y="1804"/>
                  </a:lnTo>
                  <a:lnTo>
                    <a:pt x="5286" y="1804"/>
                  </a:lnTo>
                  <a:lnTo>
                    <a:pt x="5286" y="1804"/>
                  </a:lnTo>
                  <a:lnTo>
                    <a:pt x="5290" y="1804"/>
                  </a:lnTo>
                  <a:lnTo>
                    <a:pt x="5290" y="1804"/>
                  </a:lnTo>
                  <a:lnTo>
                    <a:pt x="5290" y="1804"/>
                  </a:lnTo>
                  <a:lnTo>
                    <a:pt x="5286" y="1800"/>
                  </a:lnTo>
                  <a:lnTo>
                    <a:pt x="5286" y="1800"/>
                  </a:lnTo>
                  <a:lnTo>
                    <a:pt x="5286" y="1800"/>
                  </a:lnTo>
                  <a:lnTo>
                    <a:pt x="5290" y="1800"/>
                  </a:lnTo>
                  <a:lnTo>
                    <a:pt x="5290" y="1800"/>
                  </a:lnTo>
                  <a:lnTo>
                    <a:pt x="5295" y="1795"/>
                  </a:lnTo>
                  <a:lnTo>
                    <a:pt x="5290" y="1800"/>
                  </a:lnTo>
                  <a:lnTo>
                    <a:pt x="5290" y="1795"/>
                  </a:lnTo>
                  <a:lnTo>
                    <a:pt x="5286" y="1795"/>
                  </a:lnTo>
                  <a:lnTo>
                    <a:pt x="5286" y="1795"/>
                  </a:lnTo>
                  <a:lnTo>
                    <a:pt x="5286" y="1795"/>
                  </a:lnTo>
                  <a:lnTo>
                    <a:pt x="5281" y="1795"/>
                  </a:lnTo>
                  <a:lnTo>
                    <a:pt x="5281" y="1795"/>
                  </a:lnTo>
                  <a:lnTo>
                    <a:pt x="5281" y="1790"/>
                  </a:lnTo>
                  <a:lnTo>
                    <a:pt x="5277" y="1790"/>
                  </a:lnTo>
                  <a:lnTo>
                    <a:pt x="5277" y="1790"/>
                  </a:lnTo>
                  <a:lnTo>
                    <a:pt x="5277" y="1790"/>
                  </a:lnTo>
                  <a:lnTo>
                    <a:pt x="5277" y="1786"/>
                  </a:lnTo>
                  <a:lnTo>
                    <a:pt x="5281" y="1786"/>
                  </a:lnTo>
                  <a:lnTo>
                    <a:pt x="5281" y="1786"/>
                  </a:lnTo>
                  <a:lnTo>
                    <a:pt x="5281" y="1786"/>
                  </a:lnTo>
                  <a:lnTo>
                    <a:pt x="5281" y="1786"/>
                  </a:lnTo>
                  <a:lnTo>
                    <a:pt x="5281" y="1786"/>
                  </a:lnTo>
                  <a:lnTo>
                    <a:pt x="5281" y="1781"/>
                  </a:lnTo>
                  <a:lnTo>
                    <a:pt x="5277" y="1781"/>
                  </a:lnTo>
                  <a:lnTo>
                    <a:pt x="5272" y="1781"/>
                  </a:lnTo>
                  <a:lnTo>
                    <a:pt x="5272" y="1781"/>
                  </a:lnTo>
                  <a:lnTo>
                    <a:pt x="5268" y="1781"/>
                  </a:lnTo>
                  <a:lnTo>
                    <a:pt x="5268" y="1777"/>
                  </a:lnTo>
                  <a:lnTo>
                    <a:pt x="5268" y="1777"/>
                  </a:lnTo>
                  <a:lnTo>
                    <a:pt x="5272" y="1772"/>
                  </a:lnTo>
                  <a:lnTo>
                    <a:pt x="5272" y="1772"/>
                  </a:lnTo>
                  <a:lnTo>
                    <a:pt x="5272" y="1772"/>
                  </a:lnTo>
                  <a:lnTo>
                    <a:pt x="5268" y="1768"/>
                  </a:lnTo>
                  <a:lnTo>
                    <a:pt x="5268" y="1768"/>
                  </a:lnTo>
                  <a:lnTo>
                    <a:pt x="5263" y="1772"/>
                  </a:lnTo>
                  <a:lnTo>
                    <a:pt x="5263" y="1772"/>
                  </a:lnTo>
                  <a:lnTo>
                    <a:pt x="5259" y="1772"/>
                  </a:lnTo>
                  <a:lnTo>
                    <a:pt x="5259" y="1768"/>
                  </a:lnTo>
                  <a:lnTo>
                    <a:pt x="5259" y="1763"/>
                  </a:lnTo>
                  <a:lnTo>
                    <a:pt x="5259" y="1763"/>
                  </a:lnTo>
                  <a:lnTo>
                    <a:pt x="5254" y="1759"/>
                  </a:lnTo>
                  <a:lnTo>
                    <a:pt x="5254" y="1759"/>
                  </a:lnTo>
                  <a:lnTo>
                    <a:pt x="5254" y="1759"/>
                  </a:lnTo>
                  <a:lnTo>
                    <a:pt x="5254" y="1754"/>
                  </a:lnTo>
                  <a:lnTo>
                    <a:pt x="5254" y="1750"/>
                  </a:lnTo>
                  <a:lnTo>
                    <a:pt x="5254" y="1750"/>
                  </a:lnTo>
                  <a:lnTo>
                    <a:pt x="5250" y="1745"/>
                  </a:lnTo>
                  <a:lnTo>
                    <a:pt x="5250" y="1745"/>
                  </a:lnTo>
                  <a:lnTo>
                    <a:pt x="5250" y="1745"/>
                  </a:lnTo>
                  <a:lnTo>
                    <a:pt x="5245" y="1741"/>
                  </a:lnTo>
                  <a:lnTo>
                    <a:pt x="5245" y="1741"/>
                  </a:lnTo>
                  <a:lnTo>
                    <a:pt x="5245" y="1736"/>
                  </a:lnTo>
                  <a:lnTo>
                    <a:pt x="5240" y="1736"/>
                  </a:lnTo>
                  <a:lnTo>
                    <a:pt x="5240" y="1736"/>
                  </a:lnTo>
                  <a:lnTo>
                    <a:pt x="5240" y="1732"/>
                  </a:lnTo>
                  <a:lnTo>
                    <a:pt x="5236" y="1723"/>
                  </a:lnTo>
                  <a:lnTo>
                    <a:pt x="5236" y="1723"/>
                  </a:lnTo>
                  <a:lnTo>
                    <a:pt x="5236" y="1723"/>
                  </a:lnTo>
                  <a:lnTo>
                    <a:pt x="5240" y="1718"/>
                  </a:lnTo>
                  <a:lnTo>
                    <a:pt x="5245" y="1723"/>
                  </a:lnTo>
                  <a:lnTo>
                    <a:pt x="5250" y="1718"/>
                  </a:lnTo>
                  <a:lnTo>
                    <a:pt x="5254" y="1718"/>
                  </a:lnTo>
                  <a:lnTo>
                    <a:pt x="5254" y="1718"/>
                  </a:lnTo>
                  <a:lnTo>
                    <a:pt x="5254" y="1718"/>
                  </a:lnTo>
                  <a:lnTo>
                    <a:pt x="5254" y="1714"/>
                  </a:lnTo>
                  <a:lnTo>
                    <a:pt x="5254" y="1714"/>
                  </a:lnTo>
                  <a:lnTo>
                    <a:pt x="5254" y="1709"/>
                  </a:lnTo>
                  <a:lnTo>
                    <a:pt x="5254" y="1709"/>
                  </a:lnTo>
                  <a:lnTo>
                    <a:pt x="5250" y="1709"/>
                  </a:lnTo>
                  <a:lnTo>
                    <a:pt x="5250" y="1705"/>
                  </a:lnTo>
                  <a:lnTo>
                    <a:pt x="5250" y="1705"/>
                  </a:lnTo>
                  <a:lnTo>
                    <a:pt x="5250" y="1705"/>
                  </a:lnTo>
                  <a:lnTo>
                    <a:pt x="5245" y="1705"/>
                  </a:lnTo>
                  <a:lnTo>
                    <a:pt x="5245" y="1705"/>
                  </a:lnTo>
                  <a:lnTo>
                    <a:pt x="5245" y="1705"/>
                  </a:lnTo>
                  <a:lnTo>
                    <a:pt x="5240" y="1705"/>
                  </a:lnTo>
                  <a:lnTo>
                    <a:pt x="5231" y="1696"/>
                  </a:lnTo>
                  <a:lnTo>
                    <a:pt x="5227" y="1696"/>
                  </a:lnTo>
                  <a:lnTo>
                    <a:pt x="5222" y="1696"/>
                  </a:lnTo>
                  <a:lnTo>
                    <a:pt x="5222" y="1691"/>
                  </a:lnTo>
                  <a:lnTo>
                    <a:pt x="5218" y="1691"/>
                  </a:lnTo>
                  <a:lnTo>
                    <a:pt x="5222" y="1686"/>
                  </a:lnTo>
                  <a:lnTo>
                    <a:pt x="5222" y="1682"/>
                  </a:lnTo>
                  <a:lnTo>
                    <a:pt x="5222" y="1677"/>
                  </a:lnTo>
                  <a:lnTo>
                    <a:pt x="5213" y="1668"/>
                  </a:lnTo>
                  <a:lnTo>
                    <a:pt x="5213" y="1668"/>
                  </a:lnTo>
                  <a:lnTo>
                    <a:pt x="5209" y="1668"/>
                  </a:lnTo>
                  <a:lnTo>
                    <a:pt x="5209" y="1668"/>
                  </a:lnTo>
                  <a:lnTo>
                    <a:pt x="5209" y="1664"/>
                  </a:lnTo>
                  <a:lnTo>
                    <a:pt x="5204" y="1664"/>
                  </a:lnTo>
                  <a:lnTo>
                    <a:pt x="5204" y="1664"/>
                  </a:lnTo>
                  <a:lnTo>
                    <a:pt x="5204" y="1659"/>
                  </a:lnTo>
                  <a:lnTo>
                    <a:pt x="5200" y="1659"/>
                  </a:lnTo>
                  <a:lnTo>
                    <a:pt x="5200" y="1659"/>
                  </a:lnTo>
                  <a:lnTo>
                    <a:pt x="5200" y="1659"/>
                  </a:lnTo>
                  <a:lnTo>
                    <a:pt x="5200" y="1659"/>
                  </a:lnTo>
                  <a:lnTo>
                    <a:pt x="5200" y="1655"/>
                  </a:lnTo>
                  <a:lnTo>
                    <a:pt x="5195" y="1659"/>
                  </a:lnTo>
                  <a:lnTo>
                    <a:pt x="5195" y="1659"/>
                  </a:lnTo>
                  <a:lnTo>
                    <a:pt x="5195" y="1655"/>
                  </a:lnTo>
                  <a:lnTo>
                    <a:pt x="5191" y="1655"/>
                  </a:lnTo>
                  <a:lnTo>
                    <a:pt x="5191" y="1655"/>
                  </a:lnTo>
                  <a:lnTo>
                    <a:pt x="5191" y="1655"/>
                  </a:lnTo>
                  <a:lnTo>
                    <a:pt x="5186" y="1650"/>
                  </a:lnTo>
                  <a:lnTo>
                    <a:pt x="5186" y="1650"/>
                  </a:lnTo>
                  <a:lnTo>
                    <a:pt x="5182" y="1650"/>
                  </a:lnTo>
                  <a:lnTo>
                    <a:pt x="5177" y="1646"/>
                  </a:lnTo>
                  <a:lnTo>
                    <a:pt x="5177" y="1646"/>
                  </a:lnTo>
                  <a:lnTo>
                    <a:pt x="5173" y="1646"/>
                  </a:lnTo>
                  <a:lnTo>
                    <a:pt x="5168" y="1646"/>
                  </a:lnTo>
                  <a:lnTo>
                    <a:pt x="5164" y="1641"/>
                  </a:lnTo>
                  <a:lnTo>
                    <a:pt x="5159" y="1637"/>
                  </a:lnTo>
                  <a:lnTo>
                    <a:pt x="5159" y="1637"/>
                  </a:lnTo>
                  <a:lnTo>
                    <a:pt x="5155" y="1637"/>
                  </a:lnTo>
                  <a:lnTo>
                    <a:pt x="5155" y="1637"/>
                  </a:lnTo>
                  <a:lnTo>
                    <a:pt x="5155" y="1637"/>
                  </a:lnTo>
                  <a:lnTo>
                    <a:pt x="5146" y="1632"/>
                  </a:lnTo>
                  <a:lnTo>
                    <a:pt x="5141" y="1632"/>
                  </a:lnTo>
                  <a:lnTo>
                    <a:pt x="5137" y="1632"/>
                  </a:lnTo>
                  <a:lnTo>
                    <a:pt x="5137" y="1628"/>
                  </a:lnTo>
                  <a:lnTo>
                    <a:pt x="5137" y="1628"/>
                  </a:lnTo>
                  <a:lnTo>
                    <a:pt x="5137" y="1628"/>
                  </a:lnTo>
                  <a:lnTo>
                    <a:pt x="5128" y="1628"/>
                  </a:lnTo>
                  <a:lnTo>
                    <a:pt x="5128" y="1628"/>
                  </a:lnTo>
                  <a:lnTo>
                    <a:pt x="5128" y="1628"/>
                  </a:lnTo>
                  <a:lnTo>
                    <a:pt x="5128" y="1628"/>
                  </a:lnTo>
                  <a:lnTo>
                    <a:pt x="5123" y="1628"/>
                  </a:lnTo>
                  <a:lnTo>
                    <a:pt x="5119" y="1628"/>
                  </a:lnTo>
                  <a:lnTo>
                    <a:pt x="5114" y="1623"/>
                  </a:lnTo>
                  <a:lnTo>
                    <a:pt x="5109" y="1619"/>
                  </a:lnTo>
                  <a:lnTo>
                    <a:pt x="5109" y="1619"/>
                  </a:lnTo>
                  <a:lnTo>
                    <a:pt x="5109" y="1619"/>
                  </a:lnTo>
                  <a:lnTo>
                    <a:pt x="5105" y="1619"/>
                  </a:lnTo>
                  <a:lnTo>
                    <a:pt x="5105" y="1614"/>
                  </a:lnTo>
                  <a:lnTo>
                    <a:pt x="5100" y="1614"/>
                  </a:lnTo>
                  <a:lnTo>
                    <a:pt x="5100" y="1614"/>
                  </a:lnTo>
                  <a:lnTo>
                    <a:pt x="5091" y="1610"/>
                  </a:lnTo>
                  <a:lnTo>
                    <a:pt x="5091" y="1610"/>
                  </a:lnTo>
                  <a:lnTo>
                    <a:pt x="5087" y="1605"/>
                  </a:lnTo>
                  <a:lnTo>
                    <a:pt x="5087" y="1605"/>
                  </a:lnTo>
                  <a:lnTo>
                    <a:pt x="5082" y="1610"/>
                  </a:lnTo>
                  <a:lnTo>
                    <a:pt x="5078" y="1610"/>
                  </a:lnTo>
                  <a:lnTo>
                    <a:pt x="5073" y="1614"/>
                  </a:lnTo>
                  <a:lnTo>
                    <a:pt x="5073" y="1614"/>
                  </a:lnTo>
                  <a:lnTo>
                    <a:pt x="5073" y="1614"/>
                  </a:lnTo>
                  <a:lnTo>
                    <a:pt x="5073" y="1619"/>
                  </a:lnTo>
                  <a:lnTo>
                    <a:pt x="5073" y="1619"/>
                  </a:lnTo>
                  <a:lnTo>
                    <a:pt x="5073" y="1619"/>
                  </a:lnTo>
                  <a:lnTo>
                    <a:pt x="5069" y="1623"/>
                  </a:lnTo>
                  <a:lnTo>
                    <a:pt x="5064" y="1623"/>
                  </a:lnTo>
                  <a:lnTo>
                    <a:pt x="5060" y="1623"/>
                  </a:lnTo>
                  <a:lnTo>
                    <a:pt x="5060" y="1623"/>
                  </a:lnTo>
                  <a:lnTo>
                    <a:pt x="5060" y="1628"/>
                  </a:lnTo>
                  <a:lnTo>
                    <a:pt x="5060" y="1628"/>
                  </a:lnTo>
                  <a:lnTo>
                    <a:pt x="5060" y="1632"/>
                  </a:lnTo>
                  <a:lnTo>
                    <a:pt x="5055" y="1632"/>
                  </a:lnTo>
                  <a:lnTo>
                    <a:pt x="5055" y="1632"/>
                  </a:lnTo>
                  <a:lnTo>
                    <a:pt x="5051" y="1637"/>
                  </a:lnTo>
                  <a:lnTo>
                    <a:pt x="5051" y="1637"/>
                  </a:lnTo>
                  <a:lnTo>
                    <a:pt x="5046" y="1641"/>
                  </a:lnTo>
                  <a:lnTo>
                    <a:pt x="5046" y="1646"/>
                  </a:lnTo>
                  <a:lnTo>
                    <a:pt x="5046" y="1646"/>
                  </a:lnTo>
                  <a:lnTo>
                    <a:pt x="5042" y="1646"/>
                  </a:lnTo>
                  <a:lnTo>
                    <a:pt x="5042" y="1646"/>
                  </a:lnTo>
                  <a:lnTo>
                    <a:pt x="5037" y="1646"/>
                  </a:lnTo>
                  <a:lnTo>
                    <a:pt x="5037" y="1646"/>
                  </a:lnTo>
                  <a:lnTo>
                    <a:pt x="5033" y="1646"/>
                  </a:lnTo>
                  <a:lnTo>
                    <a:pt x="5033" y="1641"/>
                  </a:lnTo>
                  <a:lnTo>
                    <a:pt x="5033" y="1641"/>
                  </a:lnTo>
                  <a:lnTo>
                    <a:pt x="5033" y="1637"/>
                  </a:lnTo>
                  <a:lnTo>
                    <a:pt x="5033" y="1637"/>
                  </a:lnTo>
                  <a:lnTo>
                    <a:pt x="5033" y="1637"/>
                  </a:lnTo>
                  <a:lnTo>
                    <a:pt x="5033" y="1637"/>
                  </a:lnTo>
                  <a:lnTo>
                    <a:pt x="5028" y="1632"/>
                  </a:lnTo>
                  <a:lnTo>
                    <a:pt x="5028" y="1632"/>
                  </a:lnTo>
                  <a:lnTo>
                    <a:pt x="5028" y="1628"/>
                  </a:lnTo>
                  <a:lnTo>
                    <a:pt x="5028" y="1628"/>
                  </a:lnTo>
                  <a:lnTo>
                    <a:pt x="5028" y="1628"/>
                  </a:lnTo>
                  <a:lnTo>
                    <a:pt x="5028" y="1628"/>
                  </a:lnTo>
                  <a:lnTo>
                    <a:pt x="5028" y="1632"/>
                  </a:lnTo>
                  <a:lnTo>
                    <a:pt x="5028" y="1637"/>
                  </a:lnTo>
                  <a:lnTo>
                    <a:pt x="5024" y="1632"/>
                  </a:lnTo>
                  <a:lnTo>
                    <a:pt x="5024" y="1623"/>
                  </a:lnTo>
                  <a:lnTo>
                    <a:pt x="5024" y="1623"/>
                  </a:lnTo>
                  <a:lnTo>
                    <a:pt x="5024" y="1619"/>
                  </a:lnTo>
                  <a:lnTo>
                    <a:pt x="5024" y="1619"/>
                  </a:lnTo>
                  <a:lnTo>
                    <a:pt x="5024" y="1614"/>
                  </a:lnTo>
                  <a:lnTo>
                    <a:pt x="5019" y="1614"/>
                  </a:lnTo>
                  <a:lnTo>
                    <a:pt x="5024" y="1610"/>
                  </a:lnTo>
                  <a:lnTo>
                    <a:pt x="5024" y="1610"/>
                  </a:lnTo>
                  <a:lnTo>
                    <a:pt x="5024" y="1605"/>
                  </a:lnTo>
                  <a:lnTo>
                    <a:pt x="5024" y="1605"/>
                  </a:lnTo>
                  <a:lnTo>
                    <a:pt x="5024" y="1605"/>
                  </a:lnTo>
                  <a:lnTo>
                    <a:pt x="5024" y="1601"/>
                  </a:lnTo>
                  <a:lnTo>
                    <a:pt x="5024" y="1601"/>
                  </a:lnTo>
                  <a:lnTo>
                    <a:pt x="5019" y="1596"/>
                  </a:lnTo>
                  <a:lnTo>
                    <a:pt x="5019" y="1596"/>
                  </a:lnTo>
                  <a:lnTo>
                    <a:pt x="5024" y="1592"/>
                  </a:lnTo>
                  <a:lnTo>
                    <a:pt x="5019" y="1592"/>
                  </a:lnTo>
                  <a:lnTo>
                    <a:pt x="5019" y="1592"/>
                  </a:lnTo>
                  <a:lnTo>
                    <a:pt x="5019" y="1592"/>
                  </a:lnTo>
                  <a:lnTo>
                    <a:pt x="5015" y="1592"/>
                  </a:lnTo>
                  <a:lnTo>
                    <a:pt x="5010" y="1592"/>
                  </a:lnTo>
                  <a:lnTo>
                    <a:pt x="5006" y="1587"/>
                  </a:lnTo>
                  <a:lnTo>
                    <a:pt x="5006" y="1587"/>
                  </a:lnTo>
                  <a:lnTo>
                    <a:pt x="5001" y="1582"/>
                  </a:lnTo>
                  <a:lnTo>
                    <a:pt x="4997" y="1582"/>
                  </a:lnTo>
                  <a:lnTo>
                    <a:pt x="4992" y="1582"/>
                  </a:lnTo>
                  <a:lnTo>
                    <a:pt x="4992" y="1582"/>
                  </a:lnTo>
                  <a:lnTo>
                    <a:pt x="4987" y="1587"/>
                  </a:lnTo>
                  <a:lnTo>
                    <a:pt x="4987" y="1587"/>
                  </a:lnTo>
                  <a:lnTo>
                    <a:pt x="4987" y="1587"/>
                  </a:lnTo>
                  <a:lnTo>
                    <a:pt x="4983" y="1587"/>
                  </a:lnTo>
                  <a:lnTo>
                    <a:pt x="4983" y="1592"/>
                  </a:lnTo>
                  <a:lnTo>
                    <a:pt x="4983" y="1592"/>
                  </a:lnTo>
                  <a:lnTo>
                    <a:pt x="4974" y="1592"/>
                  </a:lnTo>
                  <a:lnTo>
                    <a:pt x="4974" y="1592"/>
                  </a:lnTo>
                  <a:lnTo>
                    <a:pt x="4974" y="1592"/>
                  </a:lnTo>
                  <a:close/>
                  <a:moveTo>
                    <a:pt x="4825" y="1686"/>
                  </a:moveTo>
                  <a:lnTo>
                    <a:pt x="4825" y="1686"/>
                  </a:lnTo>
                  <a:lnTo>
                    <a:pt x="4825" y="1686"/>
                  </a:lnTo>
                  <a:lnTo>
                    <a:pt x="4825" y="1686"/>
                  </a:lnTo>
                  <a:lnTo>
                    <a:pt x="4825" y="1686"/>
                  </a:lnTo>
                  <a:lnTo>
                    <a:pt x="4829" y="1682"/>
                  </a:lnTo>
                  <a:lnTo>
                    <a:pt x="4825" y="1682"/>
                  </a:lnTo>
                  <a:lnTo>
                    <a:pt x="4825" y="1682"/>
                  </a:lnTo>
                  <a:lnTo>
                    <a:pt x="4825" y="1682"/>
                  </a:lnTo>
                  <a:lnTo>
                    <a:pt x="4825" y="1682"/>
                  </a:lnTo>
                  <a:lnTo>
                    <a:pt x="4825" y="1682"/>
                  </a:lnTo>
                  <a:lnTo>
                    <a:pt x="4825" y="1677"/>
                  </a:lnTo>
                  <a:lnTo>
                    <a:pt x="4825" y="1677"/>
                  </a:lnTo>
                  <a:lnTo>
                    <a:pt x="4825" y="1673"/>
                  </a:lnTo>
                  <a:lnTo>
                    <a:pt x="4825" y="1673"/>
                  </a:lnTo>
                  <a:lnTo>
                    <a:pt x="4825" y="1673"/>
                  </a:lnTo>
                  <a:lnTo>
                    <a:pt x="4825" y="1673"/>
                  </a:lnTo>
                  <a:lnTo>
                    <a:pt x="4825" y="1673"/>
                  </a:lnTo>
                  <a:lnTo>
                    <a:pt x="4825" y="1673"/>
                  </a:lnTo>
                  <a:lnTo>
                    <a:pt x="4829" y="1673"/>
                  </a:lnTo>
                  <a:lnTo>
                    <a:pt x="4829" y="1673"/>
                  </a:lnTo>
                  <a:lnTo>
                    <a:pt x="4829" y="1668"/>
                  </a:lnTo>
                  <a:lnTo>
                    <a:pt x="4825" y="1668"/>
                  </a:lnTo>
                  <a:lnTo>
                    <a:pt x="4825" y="1664"/>
                  </a:lnTo>
                  <a:lnTo>
                    <a:pt x="4825" y="1664"/>
                  </a:lnTo>
                  <a:lnTo>
                    <a:pt x="4825" y="1668"/>
                  </a:lnTo>
                  <a:lnTo>
                    <a:pt x="4820" y="1668"/>
                  </a:lnTo>
                  <a:lnTo>
                    <a:pt x="4820" y="1673"/>
                  </a:lnTo>
                  <a:lnTo>
                    <a:pt x="4820" y="1677"/>
                  </a:lnTo>
                  <a:lnTo>
                    <a:pt x="4820" y="1677"/>
                  </a:lnTo>
                  <a:lnTo>
                    <a:pt x="4820" y="1677"/>
                  </a:lnTo>
                  <a:lnTo>
                    <a:pt x="4820" y="1682"/>
                  </a:lnTo>
                  <a:lnTo>
                    <a:pt x="4820" y="1682"/>
                  </a:lnTo>
                  <a:lnTo>
                    <a:pt x="4820" y="1682"/>
                  </a:lnTo>
                  <a:lnTo>
                    <a:pt x="4816" y="1686"/>
                  </a:lnTo>
                  <a:lnTo>
                    <a:pt x="4816" y="1686"/>
                  </a:lnTo>
                  <a:lnTo>
                    <a:pt x="4816" y="1686"/>
                  </a:lnTo>
                  <a:lnTo>
                    <a:pt x="4816" y="1686"/>
                  </a:lnTo>
                  <a:lnTo>
                    <a:pt x="4816" y="1691"/>
                  </a:lnTo>
                  <a:lnTo>
                    <a:pt x="4816" y="1691"/>
                  </a:lnTo>
                  <a:lnTo>
                    <a:pt x="4816" y="1691"/>
                  </a:lnTo>
                  <a:lnTo>
                    <a:pt x="4820" y="1691"/>
                  </a:lnTo>
                  <a:lnTo>
                    <a:pt x="4820" y="1691"/>
                  </a:lnTo>
                  <a:lnTo>
                    <a:pt x="4820" y="1691"/>
                  </a:lnTo>
                  <a:lnTo>
                    <a:pt x="4820" y="1691"/>
                  </a:lnTo>
                  <a:lnTo>
                    <a:pt x="4820" y="1686"/>
                  </a:lnTo>
                  <a:lnTo>
                    <a:pt x="4820" y="1686"/>
                  </a:lnTo>
                  <a:lnTo>
                    <a:pt x="4825" y="1686"/>
                  </a:lnTo>
                  <a:close/>
                  <a:moveTo>
                    <a:pt x="4843" y="1750"/>
                  </a:moveTo>
                  <a:lnTo>
                    <a:pt x="4843" y="1750"/>
                  </a:lnTo>
                  <a:lnTo>
                    <a:pt x="4856" y="1750"/>
                  </a:lnTo>
                  <a:lnTo>
                    <a:pt x="4856" y="1745"/>
                  </a:lnTo>
                  <a:lnTo>
                    <a:pt x="4856" y="1745"/>
                  </a:lnTo>
                  <a:lnTo>
                    <a:pt x="4852" y="1745"/>
                  </a:lnTo>
                  <a:lnTo>
                    <a:pt x="4852" y="1745"/>
                  </a:lnTo>
                  <a:lnTo>
                    <a:pt x="4847" y="1745"/>
                  </a:lnTo>
                  <a:lnTo>
                    <a:pt x="4847" y="1745"/>
                  </a:lnTo>
                  <a:lnTo>
                    <a:pt x="4847" y="1745"/>
                  </a:lnTo>
                  <a:lnTo>
                    <a:pt x="4847" y="1745"/>
                  </a:lnTo>
                  <a:lnTo>
                    <a:pt x="4843" y="1745"/>
                  </a:lnTo>
                  <a:lnTo>
                    <a:pt x="4843" y="1745"/>
                  </a:lnTo>
                  <a:lnTo>
                    <a:pt x="4843" y="1745"/>
                  </a:lnTo>
                  <a:lnTo>
                    <a:pt x="4843" y="1745"/>
                  </a:lnTo>
                  <a:lnTo>
                    <a:pt x="4843" y="1750"/>
                  </a:lnTo>
                  <a:lnTo>
                    <a:pt x="4843" y="1750"/>
                  </a:lnTo>
                  <a:close/>
                  <a:moveTo>
                    <a:pt x="4825" y="1329"/>
                  </a:moveTo>
                  <a:lnTo>
                    <a:pt x="4820" y="1325"/>
                  </a:lnTo>
                  <a:lnTo>
                    <a:pt x="4820" y="1325"/>
                  </a:lnTo>
                  <a:lnTo>
                    <a:pt x="4816" y="1320"/>
                  </a:lnTo>
                  <a:lnTo>
                    <a:pt x="4816" y="1320"/>
                  </a:lnTo>
                  <a:lnTo>
                    <a:pt x="4816" y="1320"/>
                  </a:lnTo>
                  <a:lnTo>
                    <a:pt x="4811" y="1320"/>
                  </a:lnTo>
                  <a:lnTo>
                    <a:pt x="4811" y="1320"/>
                  </a:lnTo>
                  <a:lnTo>
                    <a:pt x="4811" y="1320"/>
                  </a:lnTo>
                  <a:lnTo>
                    <a:pt x="4811" y="1320"/>
                  </a:lnTo>
                  <a:lnTo>
                    <a:pt x="4811" y="1325"/>
                  </a:lnTo>
                  <a:lnTo>
                    <a:pt x="4811" y="1329"/>
                  </a:lnTo>
                  <a:lnTo>
                    <a:pt x="4811" y="1329"/>
                  </a:lnTo>
                  <a:lnTo>
                    <a:pt x="4811" y="1334"/>
                  </a:lnTo>
                  <a:lnTo>
                    <a:pt x="4811" y="1329"/>
                  </a:lnTo>
                  <a:lnTo>
                    <a:pt x="4816" y="1325"/>
                  </a:lnTo>
                  <a:lnTo>
                    <a:pt x="4816" y="1325"/>
                  </a:lnTo>
                  <a:lnTo>
                    <a:pt x="4816" y="1325"/>
                  </a:lnTo>
                  <a:lnTo>
                    <a:pt x="4816" y="1329"/>
                  </a:lnTo>
                  <a:lnTo>
                    <a:pt x="4820" y="1329"/>
                  </a:lnTo>
                  <a:lnTo>
                    <a:pt x="4820" y="1329"/>
                  </a:lnTo>
                  <a:lnTo>
                    <a:pt x="4820" y="1329"/>
                  </a:lnTo>
                  <a:lnTo>
                    <a:pt x="4820" y="1329"/>
                  </a:lnTo>
                  <a:lnTo>
                    <a:pt x="4820" y="1329"/>
                  </a:lnTo>
                  <a:lnTo>
                    <a:pt x="4820" y="1334"/>
                  </a:lnTo>
                  <a:lnTo>
                    <a:pt x="4825" y="1334"/>
                  </a:lnTo>
                  <a:lnTo>
                    <a:pt x="4825" y="1334"/>
                  </a:lnTo>
                  <a:lnTo>
                    <a:pt x="4825" y="1334"/>
                  </a:lnTo>
                  <a:lnTo>
                    <a:pt x="4825" y="1329"/>
                  </a:lnTo>
                  <a:close/>
                  <a:moveTo>
                    <a:pt x="4870" y="1741"/>
                  </a:moveTo>
                  <a:lnTo>
                    <a:pt x="4870" y="1736"/>
                  </a:lnTo>
                  <a:lnTo>
                    <a:pt x="4875" y="1736"/>
                  </a:lnTo>
                  <a:lnTo>
                    <a:pt x="4875" y="1741"/>
                  </a:lnTo>
                  <a:lnTo>
                    <a:pt x="4875" y="1741"/>
                  </a:lnTo>
                  <a:lnTo>
                    <a:pt x="4879" y="1741"/>
                  </a:lnTo>
                  <a:lnTo>
                    <a:pt x="4879" y="1736"/>
                  </a:lnTo>
                  <a:lnTo>
                    <a:pt x="4879" y="1736"/>
                  </a:lnTo>
                  <a:lnTo>
                    <a:pt x="4884" y="1736"/>
                  </a:lnTo>
                  <a:lnTo>
                    <a:pt x="4884" y="1736"/>
                  </a:lnTo>
                  <a:lnTo>
                    <a:pt x="4884" y="1736"/>
                  </a:lnTo>
                  <a:lnTo>
                    <a:pt x="4884" y="1736"/>
                  </a:lnTo>
                  <a:lnTo>
                    <a:pt x="4884" y="1732"/>
                  </a:lnTo>
                  <a:lnTo>
                    <a:pt x="4884" y="1732"/>
                  </a:lnTo>
                  <a:lnTo>
                    <a:pt x="4879" y="1732"/>
                  </a:lnTo>
                  <a:lnTo>
                    <a:pt x="4879" y="1736"/>
                  </a:lnTo>
                  <a:lnTo>
                    <a:pt x="4875" y="1736"/>
                  </a:lnTo>
                  <a:lnTo>
                    <a:pt x="4875" y="1736"/>
                  </a:lnTo>
                  <a:lnTo>
                    <a:pt x="4870" y="1732"/>
                  </a:lnTo>
                  <a:lnTo>
                    <a:pt x="4870" y="1736"/>
                  </a:lnTo>
                  <a:lnTo>
                    <a:pt x="4866" y="1736"/>
                  </a:lnTo>
                  <a:lnTo>
                    <a:pt x="4866" y="1741"/>
                  </a:lnTo>
                  <a:lnTo>
                    <a:pt x="4870" y="1741"/>
                  </a:lnTo>
                  <a:lnTo>
                    <a:pt x="4870" y="1741"/>
                  </a:lnTo>
                  <a:close/>
                  <a:moveTo>
                    <a:pt x="4861" y="1614"/>
                  </a:moveTo>
                  <a:lnTo>
                    <a:pt x="4861" y="1614"/>
                  </a:lnTo>
                  <a:lnTo>
                    <a:pt x="4866" y="1614"/>
                  </a:lnTo>
                  <a:lnTo>
                    <a:pt x="4866" y="1614"/>
                  </a:lnTo>
                  <a:lnTo>
                    <a:pt x="4870" y="1614"/>
                  </a:lnTo>
                  <a:lnTo>
                    <a:pt x="4866" y="1614"/>
                  </a:lnTo>
                  <a:lnTo>
                    <a:pt x="4866" y="1614"/>
                  </a:lnTo>
                  <a:lnTo>
                    <a:pt x="4866" y="1614"/>
                  </a:lnTo>
                  <a:lnTo>
                    <a:pt x="4866" y="1610"/>
                  </a:lnTo>
                  <a:lnTo>
                    <a:pt x="4866" y="1610"/>
                  </a:lnTo>
                  <a:lnTo>
                    <a:pt x="4866" y="1610"/>
                  </a:lnTo>
                  <a:lnTo>
                    <a:pt x="4866" y="1610"/>
                  </a:lnTo>
                  <a:lnTo>
                    <a:pt x="4866" y="1610"/>
                  </a:lnTo>
                  <a:lnTo>
                    <a:pt x="4861" y="1610"/>
                  </a:lnTo>
                  <a:lnTo>
                    <a:pt x="4856" y="1610"/>
                  </a:lnTo>
                  <a:lnTo>
                    <a:pt x="4852" y="1610"/>
                  </a:lnTo>
                  <a:lnTo>
                    <a:pt x="4852" y="1610"/>
                  </a:lnTo>
                  <a:lnTo>
                    <a:pt x="4852" y="1610"/>
                  </a:lnTo>
                  <a:lnTo>
                    <a:pt x="4852" y="1614"/>
                  </a:lnTo>
                  <a:lnTo>
                    <a:pt x="4852" y="1619"/>
                  </a:lnTo>
                  <a:lnTo>
                    <a:pt x="4852" y="1619"/>
                  </a:lnTo>
                  <a:lnTo>
                    <a:pt x="4856" y="1619"/>
                  </a:lnTo>
                  <a:lnTo>
                    <a:pt x="4861" y="1614"/>
                  </a:lnTo>
                  <a:close/>
                  <a:moveTo>
                    <a:pt x="4852" y="1365"/>
                  </a:moveTo>
                  <a:lnTo>
                    <a:pt x="4852" y="1365"/>
                  </a:lnTo>
                  <a:lnTo>
                    <a:pt x="4852" y="1361"/>
                  </a:lnTo>
                  <a:lnTo>
                    <a:pt x="4852" y="1361"/>
                  </a:lnTo>
                  <a:lnTo>
                    <a:pt x="4852" y="1356"/>
                  </a:lnTo>
                  <a:lnTo>
                    <a:pt x="4847" y="1356"/>
                  </a:lnTo>
                  <a:lnTo>
                    <a:pt x="4847" y="1356"/>
                  </a:lnTo>
                  <a:lnTo>
                    <a:pt x="4847" y="1356"/>
                  </a:lnTo>
                  <a:lnTo>
                    <a:pt x="4847" y="1356"/>
                  </a:lnTo>
                  <a:lnTo>
                    <a:pt x="4847" y="1356"/>
                  </a:lnTo>
                  <a:lnTo>
                    <a:pt x="4847" y="1352"/>
                  </a:lnTo>
                  <a:lnTo>
                    <a:pt x="4847" y="1347"/>
                  </a:lnTo>
                  <a:lnTo>
                    <a:pt x="4843" y="1347"/>
                  </a:lnTo>
                  <a:lnTo>
                    <a:pt x="4843" y="1343"/>
                  </a:lnTo>
                  <a:lnTo>
                    <a:pt x="4843" y="1343"/>
                  </a:lnTo>
                  <a:lnTo>
                    <a:pt x="4843" y="1343"/>
                  </a:lnTo>
                  <a:lnTo>
                    <a:pt x="4838" y="1343"/>
                  </a:lnTo>
                  <a:lnTo>
                    <a:pt x="4838" y="1343"/>
                  </a:lnTo>
                  <a:lnTo>
                    <a:pt x="4838" y="1343"/>
                  </a:lnTo>
                  <a:lnTo>
                    <a:pt x="4834" y="1343"/>
                  </a:lnTo>
                  <a:lnTo>
                    <a:pt x="4834" y="1343"/>
                  </a:lnTo>
                  <a:lnTo>
                    <a:pt x="4834" y="1343"/>
                  </a:lnTo>
                  <a:lnTo>
                    <a:pt x="4834" y="1338"/>
                  </a:lnTo>
                  <a:lnTo>
                    <a:pt x="4834" y="1338"/>
                  </a:lnTo>
                  <a:lnTo>
                    <a:pt x="4834" y="1338"/>
                  </a:lnTo>
                  <a:lnTo>
                    <a:pt x="4834" y="1343"/>
                  </a:lnTo>
                  <a:lnTo>
                    <a:pt x="4834" y="1343"/>
                  </a:lnTo>
                  <a:lnTo>
                    <a:pt x="4834" y="1347"/>
                  </a:lnTo>
                  <a:lnTo>
                    <a:pt x="4834" y="1352"/>
                  </a:lnTo>
                  <a:lnTo>
                    <a:pt x="4838" y="1352"/>
                  </a:lnTo>
                  <a:lnTo>
                    <a:pt x="4838" y="1352"/>
                  </a:lnTo>
                  <a:lnTo>
                    <a:pt x="4838" y="1352"/>
                  </a:lnTo>
                  <a:lnTo>
                    <a:pt x="4843" y="1352"/>
                  </a:lnTo>
                  <a:lnTo>
                    <a:pt x="4843" y="1356"/>
                  </a:lnTo>
                  <a:lnTo>
                    <a:pt x="4843" y="1356"/>
                  </a:lnTo>
                  <a:lnTo>
                    <a:pt x="4843" y="1356"/>
                  </a:lnTo>
                  <a:lnTo>
                    <a:pt x="4843" y="1361"/>
                  </a:lnTo>
                  <a:lnTo>
                    <a:pt x="4843" y="1365"/>
                  </a:lnTo>
                  <a:lnTo>
                    <a:pt x="4843" y="1365"/>
                  </a:lnTo>
                  <a:lnTo>
                    <a:pt x="4843" y="1365"/>
                  </a:lnTo>
                  <a:lnTo>
                    <a:pt x="4843" y="1365"/>
                  </a:lnTo>
                  <a:lnTo>
                    <a:pt x="4847" y="1370"/>
                  </a:lnTo>
                  <a:lnTo>
                    <a:pt x="4847" y="1370"/>
                  </a:lnTo>
                  <a:lnTo>
                    <a:pt x="4847" y="1370"/>
                  </a:lnTo>
                  <a:lnTo>
                    <a:pt x="4847" y="1365"/>
                  </a:lnTo>
                  <a:lnTo>
                    <a:pt x="4847" y="1361"/>
                  </a:lnTo>
                  <a:lnTo>
                    <a:pt x="4847" y="1365"/>
                  </a:lnTo>
                  <a:lnTo>
                    <a:pt x="4847" y="1365"/>
                  </a:lnTo>
                  <a:lnTo>
                    <a:pt x="4852" y="1365"/>
                  </a:lnTo>
                  <a:lnTo>
                    <a:pt x="4852" y="1365"/>
                  </a:lnTo>
                  <a:lnTo>
                    <a:pt x="4852" y="1365"/>
                  </a:lnTo>
                  <a:lnTo>
                    <a:pt x="4852" y="1365"/>
                  </a:lnTo>
                  <a:close/>
                  <a:moveTo>
                    <a:pt x="4807" y="1370"/>
                  </a:moveTo>
                  <a:lnTo>
                    <a:pt x="4807" y="1370"/>
                  </a:lnTo>
                  <a:lnTo>
                    <a:pt x="4807" y="1370"/>
                  </a:lnTo>
                  <a:lnTo>
                    <a:pt x="4807" y="1370"/>
                  </a:lnTo>
                  <a:lnTo>
                    <a:pt x="4802" y="1375"/>
                  </a:lnTo>
                  <a:lnTo>
                    <a:pt x="4802" y="1375"/>
                  </a:lnTo>
                  <a:lnTo>
                    <a:pt x="4802" y="1379"/>
                  </a:lnTo>
                  <a:lnTo>
                    <a:pt x="4807" y="1384"/>
                  </a:lnTo>
                  <a:lnTo>
                    <a:pt x="4807" y="1384"/>
                  </a:lnTo>
                  <a:lnTo>
                    <a:pt x="4811" y="1384"/>
                  </a:lnTo>
                  <a:lnTo>
                    <a:pt x="4811" y="1384"/>
                  </a:lnTo>
                  <a:lnTo>
                    <a:pt x="4811" y="1384"/>
                  </a:lnTo>
                  <a:lnTo>
                    <a:pt x="4816" y="1388"/>
                  </a:lnTo>
                  <a:lnTo>
                    <a:pt x="4816" y="1388"/>
                  </a:lnTo>
                  <a:lnTo>
                    <a:pt x="4816" y="1393"/>
                  </a:lnTo>
                  <a:lnTo>
                    <a:pt x="4820" y="1388"/>
                  </a:lnTo>
                  <a:lnTo>
                    <a:pt x="4820" y="1388"/>
                  </a:lnTo>
                  <a:lnTo>
                    <a:pt x="4820" y="1388"/>
                  </a:lnTo>
                  <a:lnTo>
                    <a:pt x="4820" y="1388"/>
                  </a:lnTo>
                  <a:lnTo>
                    <a:pt x="4820" y="1388"/>
                  </a:lnTo>
                  <a:lnTo>
                    <a:pt x="4820" y="1384"/>
                  </a:lnTo>
                  <a:lnTo>
                    <a:pt x="4820" y="1384"/>
                  </a:lnTo>
                  <a:lnTo>
                    <a:pt x="4816" y="1379"/>
                  </a:lnTo>
                  <a:lnTo>
                    <a:pt x="4816" y="1379"/>
                  </a:lnTo>
                  <a:lnTo>
                    <a:pt x="4816" y="1379"/>
                  </a:lnTo>
                  <a:lnTo>
                    <a:pt x="4816" y="1375"/>
                  </a:lnTo>
                  <a:lnTo>
                    <a:pt x="4816" y="1375"/>
                  </a:lnTo>
                  <a:lnTo>
                    <a:pt x="4816" y="1370"/>
                  </a:lnTo>
                  <a:lnTo>
                    <a:pt x="4820" y="1370"/>
                  </a:lnTo>
                  <a:lnTo>
                    <a:pt x="4820" y="1365"/>
                  </a:lnTo>
                  <a:lnTo>
                    <a:pt x="4820" y="1361"/>
                  </a:lnTo>
                  <a:lnTo>
                    <a:pt x="4820" y="1361"/>
                  </a:lnTo>
                  <a:lnTo>
                    <a:pt x="4820" y="1356"/>
                  </a:lnTo>
                  <a:lnTo>
                    <a:pt x="4820" y="1356"/>
                  </a:lnTo>
                  <a:lnTo>
                    <a:pt x="4820" y="1356"/>
                  </a:lnTo>
                  <a:lnTo>
                    <a:pt x="4820" y="1352"/>
                  </a:lnTo>
                  <a:lnTo>
                    <a:pt x="4816" y="1352"/>
                  </a:lnTo>
                  <a:lnTo>
                    <a:pt x="4816" y="1352"/>
                  </a:lnTo>
                  <a:lnTo>
                    <a:pt x="4811" y="1352"/>
                  </a:lnTo>
                  <a:lnTo>
                    <a:pt x="4811" y="1352"/>
                  </a:lnTo>
                  <a:lnTo>
                    <a:pt x="4811" y="1352"/>
                  </a:lnTo>
                  <a:lnTo>
                    <a:pt x="4811" y="1356"/>
                  </a:lnTo>
                  <a:lnTo>
                    <a:pt x="4811" y="1356"/>
                  </a:lnTo>
                  <a:lnTo>
                    <a:pt x="4811" y="1361"/>
                  </a:lnTo>
                  <a:lnTo>
                    <a:pt x="4811" y="1361"/>
                  </a:lnTo>
                  <a:lnTo>
                    <a:pt x="4807" y="1361"/>
                  </a:lnTo>
                  <a:lnTo>
                    <a:pt x="4811" y="1361"/>
                  </a:lnTo>
                  <a:lnTo>
                    <a:pt x="4811" y="1365"/>
                  </a:lnTo>
                  <a:lnTo>
                    <a:pt x="4811" y="1370"/>
                  </a:lnTo>
                  <a:lnTo>
                    <a:pt x="4811" y="1370"/>
                  </a:lnTo>
                  <a:lnTo>
                    <a:pt x="4807" y="1370"/>
                  </a:lnTo>
                  <a:close/>
                  <a:moveTo>
                    <a:pt x="4829" y="1375"/>
                  </a:moveTo>
                  <a:lnTo>
                    <a:pt x="4829" y="1375"/>
                  </a:lnTo>
                  <a:lnTo>
                    <a:pt x="4829" y="1375"/>
                  </a:lnTo>
                  <a:lnTo>
                    <a:pt x="4829" y="1379"/>
                  </a:lnTo>
                  <a:lnTo>
                    <a:pt x="4829" y="1379"/>
                  </a:lnTo>
                  <a:lnTo>
                    <a:pt x="4834" y="1379"/>
                  </a:lnTo>
                  <a:lnTo>
                    <a:pt x="4838" y="1379"/>
                  </a:lnTo>
                  <a:lnTo>
                    <a:pt x="4838" y="1379"/>
                  </a:lnTo>
                  <a:lnTo>
                    <a:pt x="4838" y="1375"/>
                  </a:lnTo>
                  <a:lnTo>
                    <a:pt x="4838" y="1375"/>
                  </a:lnTo>
                  <a:lnTo>
                    <a:pt x="4843" y="1375"/>
                  </a:lnTo>
                  <a:lnTo>
                    <a:pt x="4843" y="1375"/>
                  </a:lnTo>
                  <a:lnTo>
                    <a:pt x="4843" y="1375"/>
                  </a:lnTo>
                  <a:lnTo>
                    <a:pt x="4843" y="1375"/>
                  </a:lnTo>
                  <a:lnTo>
                    <a:pt x="4843" y="1370"/>
                  </a:lnTo>
                  <a:lnTo>
                    <a:pt x="4838" y="1370"/>
                  </a:lnTo>
                  <a:lnTo>
                    <a:pt x="4838" y="1370"/>
                  </a:lnTo>
                  <a:lnTo>
                    <a:pt x="4838" y="1370"/>
                  </a:lnTo>
                  <a:lnTo>
                    <a:pt x="4838" y="1365"/>
                  </a:lnTo>
                  <a:lnTo>
                    <a:pt x="4838" y="1365"/>
                  </a:lnTo>
                  <a:lnTo>
                    <a:pt x="4834" y="1370"/>
                  </a:lnTo>
                  <a:lnTo>
                    <a:pt x="4834" y="1370"/>
                  </a:lnTo>
                  <a:lnTo>
                    <a:pt x="4834" y="1370"/>
                  </a:lnTo>
                  <a:lnTo>
                    <a:pt x="4829" y="1375"/>
                  </a:lnTo>
                  <a:lnTo>
                    <a:pt x="4829" y="1375"/>
                  </a:lnTo>
                  <a:close/>
                  <a:moveTo>
                    <a:pt x="4825" y="1361"/>
                  </a:moveTo>
                  <a:lnTo>
                    <a:pt x="4825" y="1361"/>
                  </a:lnTo>
                  <a:lnTo>
                    <a:pt x="4825" y="1365"/>
                  </a:lnTo>
                  <a:lnTo>
                    <a:pt x="4820" y="1370"/>
                  </a:lnTo>
                  <a:lnTo>
                    <a:pt x="4820" y="1370"/>
                  </a:lnTo>
                  <a:lnTo>
                    <a:pt x="4820" y="1375"/>
                  </a:lnTo>
                  <a:lnTo>
                    <a:pt x="4820" y="1379"/>
                  </a:lnTo>
                  <a:lnTo>
                    <a:pt x="4820" y="1384"/>
                  </a:lnTo>
                  <a:lnTo>
                    <a:pt x="4820" y="1384"/>
                  </a:lnTo>
                  <a:lnTo>
                    <a:pt x="4820" y="1384"/>
                  </a:lnTo>
                  <a:lnTo>
                    <a:pt x="4825" y="1379"/>
                  </a:lnTo>
                  <a:lnTo>
                    <a:pt x="4825" y="1375"/>
                  </a:lnTo>
                  <a:lnTo>
                    <a:pt x="4825" y="1370"/>
                  </a:lnTo>
                  <a:lnTo>
                    <a:pt x="4825" y="1370"/>
                  </a:lnTo>
                  <a:lnTo>
                    <a:pt x="4825" y="1365"/>
                  </a:lnTo>
                  <a:lnTo>
                    <a:pt x="4829" y="1365"/>
                  </a:lnTo>
                  <a:lnTo>
                    <a:pt x="4829" y="1365"/>
                  </a:lnTo>
                  <a:lnTo>
                    <a:pt x="4829" y="1361"/>
                  </a:lnTo>
                  <a:lnTo>
                    <a:pt x="4829" y="1361"/>
                  </a:lnTo>
                  <a:lnTo>
                    <a:pt x="4829" y="1356"/>
                  </a:lnTo>
                  <a:lnTo>
                    <a:pt x="4829" y="1352"/>
                  </a:lnTo>
                  <a:lnTo>
                    <a:pt x="4829" y="1352"/>
                  </a:lnTo>
                  <a:lnTo>
                    <a:pt x="4829" y="1347"/>
                  </a:lnTo>
                  <a:lnTo>
                    <a:pt x="4829" y="1347"/>
                  </a:lnTo>
                  <a:lnTo>
                    <a:pt x="4829" y="1347"/>
                  </a:lnTo>
                  <a:lnTo>
                    <a:pt x="4829" y="1343"/>
                  </a:lnTo>
                  <a:lnTo>
                    <a:pt x="4825" y="1347"/>
                  </a:lnTo>
                  <a:lnTo>
                    <a:pt x="4825" y="1347"/>
                  </a:lnTo>
                  <a:lnTo>
                    <a:pt x="4825" y="1347"/>
                  </a:lnTo>
                  <a:lnTo>
                    <a:pt x="4825" y="1347"/>
                  </a:lnTo>
                  <a:lnTo>
                    <a:pt x="4825" y="1352"/>
                  </a:lnTo>
                  <a:lnTo>
                    <a:pt x="4825" y="1356"/>
                  </a:lnTo>
                  <a:lnTo>
                    <a:pt x="4825" y="1361"/>
                  </a:lnTo>
                  <a:close/>
                  <a:moveTo>
                    <a:pt x="4721" y="1067"/>
                  </a:moveTo>
                  <a:lnTo>
                    <a:pt x="4721" y="1067"/>
                  </a:lnTo>
                  <a:lnTo>
                    <a:pt x="4721" y="1067"/>
                  </a:lnTo>
                  <a:lnTo>
                    <a:pt x="4716" y="1063"/>
                  </a:lnTo>
                  <a:lnTo>
                    <a:pt x="4716" y="1063"/>
                  </a:lnTo>
                  <a:lnTo>
                    <a:pt x="4716" y="1063"/>
                  </a:lnTo>
                  <a:lnTo>
                    <a:pt x="4712" y="1063"/>
                  </a:lnTo>
                  <a:lnTo>
                    <a:pt x="4712" y="1063"/>
                  </a:lnTo>
                  <a:lnTo>
                    <a:pt x="4712" y="1063"/>
                  </a:lnTo>
                  <a:lnTo>
                    <a:pt x="4712" y="1063"/>
                  </a:lnTo>
                  <a:lnTo>
                    <a:pt x="4707" y="1067"/>
                  </a:lnTo>
                  <a:lnTo>
                    <a:pt x="4707" y="1067"/>
                  </a:lnTo>
                  <a:lnTo>
                    <a:pt x="4707" y="1067"/>
                  </a:lnTo>
                  <a:lnTo>
                    <a:pt x="4707" y="1072"/>
                  </a:lnTo>
                  <a:lnTo>
                    <a:pt x="4707" y="1072"/>
                  </a:lnTo>
                  <a:lnTo>
                    <a:pt x="4703" y="1076"/>
                  </a:lnTo>
                  <a:lnTo>
                    <a:pt x="4703" y="1081"/>
                  </a:lnTo>
                  <a:lnTo>
                    <a:pt x="4703" y="1094"/>
                  </a:lnTo>
                  <a:lnTo>
                    <a:pt x="4703" y="1094"/>
                  </a:lnTo>
                  <a:lnTo>
                    <a:pt x="4703" y="1099"/>
                  </a:lnTo>
                  <a:lnTo>
                    <a:pt x="4703" y="1099"/>
                  </a:lnTo>
                  <a:lnTo>
                    <a:pt x="4703" y="1103"/>
                  </a:lnTo>
                  <a:lnTo>
                    <a:pt x="4703" y="1103"/>
                  </a:lnTo>
                  <a:lnTo>
                    <a:pt x="4703" y="1108"/>
                  </a:lnTo>
                  <a:lnTo>
                    <a:pt x="4703" y="1108"/>
                  </a:lnTo>
                  <a:lnTo>
                    <a:pt x="4703" y="1108"/>
                  </a:lnTo>
                  <a:lnTo>
                    <a:pt x="4707" y="1108"/>
                  </a:lnTo>
                  <a:lnTo>
                    <a:pt x="4707" y="1112"/>
                  </a:lnTo>
                  <a:lnTo>
                    <a:pt x="4712" y="1117"/>
                  </a:lnTo>
                  <a:lnTo>
                    <a:pt x="4712" y="1117"/>
                  </a:lnTo>
                  <a:lnTo>
                    <a:pt x="4712" y="1117"/>
                  </a:lnTo>
                  <a:lnTo>
                    <a:pt x="4712" y="1117"/>
                  </a:lnTo>
                  <a:lnTo>
                    <a:pt x="4716" y="1121"/>
                  </a:lnTo>
                  <a:lnTo>
                    <a:pt x="4716" y="1121"/>
                  </a:lnTo>
                  <a:lnTo>
                    <a:pt x="4716" y="1121"/>
                  </a:lnTo>
                  <a:lnTo>
                    <a:pt x="4721" y="1126"/>
                  </a:lnTo>
                  <a:lnTo>
                    <a:pt x="4721" y="1126"/>
                  </a:lnTo>
                  <a:lnTo>
                    <a:pt x="4721" y="1130"/>
                  </a:lnTo>
                  <a:lnTo>
                    <a:pt x="4725" y="1130"/>
                  </a:lnTo>
                  <a:lnTo>
                    <a:pt x="4725" y="1126"/>
                  </a:lnTo>
                  <a:lnTo>
                    <a:pt x="4721" y="1126"/>
                  </a:lnTo>
                  <a:lnTo>
                    <a:pt x="4721" y="1121"/>
                  </a:lnTo>
                  <a:lnTo>
                    <a:pt x="4721" y="1121"/>
                  </a:lnTo>
                  <a:lnTo>
                    <a:pt x="4721" y="1117"/>
                  </a:lnTo>
                  <a:lnTo>
                    <a:pt x="4721" y="1117"/>
                  </a:lnTo>
                  <a:lnTo>
                    <a:pt x="4725" y="1112"/>
                  </a:lnTo>
                  <a:lnTo>
                    <a:pt x="4725" y="1108"/>
                  </a:lnTo>
                  <a:lnTo>
                    <a:pt x="4725" y="1108"/>
                  </a:lnTo>
                  <a:lnTo>
                    <a:pt x="4725" y="1103"/>
                  </a:lnTo>
                  <a:lnTo>
                    <a:pt x="4725" y="1099"/>
                  </a:lnTo>
                  <a:lnTo>
                    <a:pt x="4725" y="1094"/>
                  </a:lnTo>
                  <a:lnTo>
                    <a:pt x="4725" y="1090"/>
                  </a:lnTo>
                  <a:lnTo>
                    <a:pt x="4721" y="1085"/>
                  </a:lnTo>
                  <a:lnTo>
                    <a:pt x="4721" y="1085"/>
                  </a:lnTo>
                  <a:lnTo>
                    <a:pt x="4725" y="1081"/>
                  </a:lnTo>
                  <a:lnTo>
                    <a:pt x="4721" y="1076"/>
                  </a:lnTo>
                  <a:lnTo>
                    <a:pt x="4721" y="1076"/>
                  </a:lnTo>
                  <a:lnTo>
                    <a:pt x="4721" y="1072"/>
                  </a:lnTo>
                  <a:lnTo>
                    <a:pt x="4721" y="1072"/>
                  </a:lnTo>
                  <a:lnTo>
                    <a:pt x="4721" y="1067"/>
                  </a:lnTo>
                  <a:lnTo>
                    <a:pt x="4721" y="1067"/>
                  </a:lnTo>
                  <a:close/>
                  <a:moveTo>
                    <a:pt x="4730" y="1388"/>
                  </a:moveTo>
                  <a:lnTo>
                    <a:pt x="4730" y="1388"/>
                  </a:lnTo>
                  <a:lnTo>
                    <a:pt x="4730" y="1388"/>
                  </a:lnTo>
                  <a:lnTo>
                    <a:pt x="4730" y="1388"/>
                  </a:lnTo>
                  <a:lnTo>
                    <a:pt x="4725" y="1388"/>
                  </a:lnTo>
                  <a:lnTo>
                    <a:pt x="4725" y="1393"/>
                  </a:lnTo>
                  <a:lnTo>
                    <a:pt x="4721" y="1393"/>
                  </a:lnTo>
                  <a:lnTo>
                    <a:pt x="4721" y="1397"/>
                  </a:lnTo>
                  <a:lnTo>
                    <a:pt x="4721" y="1397"/>
                  </a:lnTo>
                  <a:lnTo>
                    <a:pt x="4721" y="1397"/>
                  </a:lnTo>
                  <a:lnTo>
                    <a:pt x="4716" y="1402"/>
                  </a:lnTo>
                  <a:lnTo>
                    <a:pt x="4716" y="1406"/>
                  </a:lnTo>
                  <a:lnTo>
                    <a:pt x="4716" y="1406"/>
                  </a:lnTo>
                  <a:lnTo>
                    <a:pt x="4721" y="1406"/>
                  </a:lnTo>
                  <a:lnTo>
                    <a:pt x="4721" y="1402"/>
                  </a:lnTo>
                  <a:lnTo>
                    <a:pt x="4721" y="1402"/>
                  </a:lnTo>
                  <a:lnTo>
                    <a:pt x="4721" y="1402"/>
                  </a:lnTo>
                  <a:lnTo>
                    <a:pt x="4721" y="1402"/>
                  </a:lnTo>
                  <a:lnTo>
                    <a:pt x="4721" y="1402"/>
                  </a:lnTo>
                  <a:lnTo>
                    <a:pt x="4725" y="1402"/>
                  </a:lnTo>
                  <a:lnTo>
                    <a:pt x="4725" y="1397"/>
                  </a:lnTo>
                  <a:lnTo>
                    <a:pt x="4730" y="1397"/>
                  </a:lnTo>
                  <a:lnTo>
                    <a:pt x="4730" y="1397"/>
                  </a:lnTo>
                  <a:lnTo>
                    <a:pt x="4730" y="1393"/>
                  </a:lnTo>
                  <a:lnTo>
                    <a:pt x="4730" y="1393"/>
                  </a:lnTo>
                  <a:lnTo>
                    <a:pt x="4735" y="1388"/>
                  </a:lnTo>
                  <a:lnTo>
                    <a:pt x="4735" y="1388"/>
                  </a:lnTo>
                  <a:lnTo>
                    <a:pt x="4735" y="1388"/>
                  </a:lnTo>
                  <a:lnTo>
                    <a:pt x="4739" y="1388"/>
                  </a:lnTo>
                  <a:lnTo>
                    <a:pt x="4739" y="1384"/>
                  </a:lnTo>
                  <a:lnTo>
                    <a:pt x="4739" y="1379"/>
                  </a:lnTo>
                  <a:lnTo>
                    <a:pt x="4739" y="1375"/>
                  </a:lnTo>
                  <a:lnTo>
                    <a:pt x="4739" y="1375"/>
                  </a:lnTo>
                  <a:lnTo>
                    <a:pt x="4744" y="1375"/>
                  </a:lnTo>
                  <a:lnTo>
                    <a:pt x="4744" y="1375"/>
                  </a:lnTo>
                  <a:lnTo>
                    <a:pt x="4748" y="1370"/>
                  </a:lnTo>
                  <a:lnTo>
                    <a:pt x="4748" y="1370"/>
                  </a:lnTo>
                  <a:lnTo>
                    <a:pt x="4748" y="1370"/>
                  </a:lnTo>
                  <a:lnTo>
                    <a:pt x="4748" y="1365"/>
                  </a:lnTo>
                  <a:lnTo>
                    <a:pt x="4748" y="1365"/>
                  </a:lnTo>
                  <a:lnTo>
                    <a:pt x="4753" y="1365"/>
                  </a:lnTo>
                  <a:lnTo>
                    <a:pt x="4753" y="1365"/>
                  </a:lnTo>
                  <a:lnTo>
                    <a:pt x="4753" y="1365"/>
                  </a:lnTo>
                  <a:lnTo>
                    <a:pt x="4753" y="1361"/>
                  </a:lnTo>
                  <a:lnTo>
                    <a:pt x="4753" y="1361"/>
                  </a:lnTo>
                  <a:lnTo>
                    <a:pt x="4753" y="1356"/>
                  </a:lnTo>
                  <a:lnTo>
                    <a:pt x="4753" y="1352"/>
                  </a:lnTo>
                  <a:lnTo>
                    <a:pt x="4753" y="1352"/>
                  </a:lnTo>
                  <a:lnTo>
                    <a:pt x="4753" y="1352"/>
                  </a:lnTo>
                  <a:lnTo>
                    <a:pt x="4748" y="1347"/>
                  </a:lnTo>
                  <a:lnTo>
                    <a:pt x="4753" y="1347"/>
                  </a:lnTo>
                  <a:lnTo>
                    <a:pt x="4748" y="1347"/>
                  </a:lnTo>
                  <a:lnTo>
                    <a:pt x="4748" y="1343"/>
                  </a:lnTo>
                  <a:lnTo>
                    <a:pt x="4748" y="1347"/>
                  </a:lnTo>
                  <a:lnTo>
                    <a:pt x="4748" y="1352"/>
                  </a:lnTo>
                  <a:lnTo>
                    <a:pt x="4748" y="1352"/>
                  </a:lnTo>
                  <a:lnTo>
                    <a:pt x="4748" y="1356"/>
                  </a:lnTo>
                  <a:lnTo>
                    <a:pt x="4748" y="1356"/>
                  </a:lnTo>
                  <a:lnTo>
                    <a:pt x="4748" y="1356"/>
                  </a:lnTo>
                  <a:lnTo>
                    <a:pt x="4748" y="1361"/>
                  </a:lnTo>
                  <a:lnTo>
                    <a:pt x="4748" y="1361"/>
                  </a:lnTo>
                  <a:lnTo>
                    <a:pt x="4748" y="1365"/>
                  </a:lnTo>
                  <a:lnTo>
                    <a:pt x="4744" y="1365"/>
                  </a:lnTo>
                  <a:lnTo>
                    <a:pt x="4744" y="1365"/>
                  </a:lnTo>
                  <a:lnTo>
                    <a:pt x="4744" y="1365"/>
                  </a:lnTo>
                  <a:lnTo>
                    <a:pt x="4744" y="1370"/>
                  </a:lnTo>
                  <a:lnTo>
                    <a:pt x="4739" y="1370"/>
                  </a:lnTo>
                  <a:lnTo>
                    <a:pt x="4739" y="1370"/>
                  </a:lnTo>
                  <a:lnTo>
                    <a:pt x="4739" y="1375"/>
                  </a:lnTo>
                  <a:lnTo>
                    <a:pt x="4735" y="1379"/>
                  </a:lnTo>
                  <a:lnTo>
                    <a:pt x="4730" y="1388"/>
                  </a:lnTo>
                  <a:close/>
                  <a:moveTo>
                    <a:pt x="4549" y="158"/>
                  </a:moveTo>
                  <a:lnTo>
                    <a:pt x="4549" y="158"/>
                  </a:lnTo>
                  <a:lnTo>
                    <a:pt x="4549" y="158"/>
                  </a:lnTo>
                  <a:lnTo>
                    <a:pt x="4554" y="158"/>
                  </a:lnTo>
                  <a:lnTo>
                    <a:pt x="4558" y="158"/>
                  </a:lnTo>
                  <a:lnTo>
                    <a:pt x="4558" y="158"/>
                  </a:lnTo>
                  <a:lnTo>
                    <a:pt x="4567" y="163"/>
                  </a:lnTo>
                  <a:lnTo>
                    <a:pt x="4567" y="158"/>
                  </a:lnTo>
                  <a:lnTo>
                    <a:pt x="4567" y="158"/>
                  </a:lnTo>
                  <a:lnTo>
                    <a:pt x="4567" y="158"/>
                  </a:lnTo>
                  <a:lnTo>
                    <a:pt x="4567" y="158"/>
                  </a:lnTo>
                  <a:lnTo>
                    <a:pt x="4567" y="158"/>
                  </a:lnTo>
                  <a:lnTo>
                    <a:pt x="4567" y="158"/>
                  </a:lnTo>
                  <a:lnTo>
                    <a:pt x="4563" y="158"/>
                  </a:lnTo>
                  <a:lnTo>
                    <a:pt x="4563" y="154"/>
                  </a:lnTo>
                  <a:lnTo>
                    <a:pt x="4563" y="154"/>
                  </a:lnTo>
                  <a:lnTo>
                    <a:pt x="4549" y="154"/>
                  </a:lnTo>
                  <a:lnTo>
                    <a:pt x="4549" y="154"/>
                  </a:lnTo>
                  <a:lnTo>
                    <a:pt x="4549" y="154"/>
                  </a:lnTo>
                  <a:lnTo>
                    <a:pt x="4549" y="158"/>
                  </a:lnTo>
                  <a:lnTo>
                    <a:pt x="4549" y="158"/>
                  </a:lnTo>
                  <a:close/>
                  <a:moveTo>
                    <a:pt x="4893" y="515"/>
                  </a:moveTo>
                  <a:lnTo>
                    <a:pt x="4888" y="511"/>
                  </a:lnTo>
                  <a:lnTo>
                    <a:pt x="4888" y="511"/>
                  </a:lnTo>
                  <a:lnTo>
                    <a:pt x="4888" y="515"/>
                  </a:lnTo>
                  <a:lnTo>
                    <a:pt x="4893" y="515"/>
                  </a:lnTo>
                  <a:lnTo>
                    <a:pt x="4893" y="520"/>
                  </a:lnTo>
                  <a:lnTo>
                    <a:pt x="4888" y="520"/>
                  </a:lnTo>
                  <a:lnTo>
                    <a:pt x="4888" y="520"/>
                  </a:lnTo>
                  <a:lnTo>
                    <a:pt x="4888" y="520"/>
                  </a:lnTo>
                  <a:lnTo>
                    <a:pt x="4888" y="525"/>
                  </a:lnTo>
                  <a:lnTo>
                    <a:pt x="4888" y="525"/>
                  </a:lnTo>
                  <a:lnTo>
                    <a:pt x="4893" y="525"/>
                  </a:lnTo>
                  <a:lnTo>
                    <a:pt x="4893" y="525"/>
                  </a:lnTo>
                  <a:lnTo>
                    <a:pt x="4897" y="525"/>
                  </a:lnTo>
                  <a:lnTo>
                    <a:pt x="4897" y="525"/>
                  </a:lnTo>
                  <a:lnTo>
                    <a:pt x="4893" y="525"/>
                  </a:lnTo>
                  <a:lnTo>
                    <a:pt x="4897" y="525"/>
                  </a:lnTo>
                  <a:lnTo>
                    <a:pt x="4897" y="525"/>
                  </a:lnTo>
                  <a:lnTo>
                    <a:pt x="4897" y="520"/>
                  </a:lnTo>
                  <a:lnTo>
                    <a:pt x="4897" y="515"/>
                  </a:lnTo>
                  <a:lnTo>
                    <a:pt x="4893" y="515"/>
                  </a:lnTo>
                  <a:lnTo>
                    <a:pt x="4893" y="515"/>
                  </a:lnTo>
                  <a:close/>
                  <a:moveTo>
                    <a:pt x="4825" y="1786"/>
                  </a:moveTo>
                  <a:lnTo>
                    <a:pt x="4829" y="1786"/>
                  </a:lnTo>
                  <a:lnTo>
                    <a:pt x="4829" y="1786"/>
                  </a:lnTo>
                  <a:lnTo>
                    <a:pt x="4834" y="1786"/>
                  </a:lnTo>
                  <a:lnTo>
                    <a:pt x="4834" y="1786"/>
                  </a:lnTo>
                  <a:lnTo>
                    <a:pt x="4838" y="1786"/>
                  </a:lnTo>
                  <a:lnTo>
                    <a:pt x="4838" y="1781"/>
                  </a:lnTo>
                  <a:lnTo>
                    <a:pt x="4843" y="1781"/>
                  </a:lnTo>
                  <a:lnTo>
                    <a:pt x="4843" y="1781"/>
                  </a:lnTo>
                  <a:lnTo>
                    <a:pt x="4847" y="1777"/>
                  </a:lnTo>
                  <a:lnTo>
                    <a:pt x="4847" y="1772"/>
                  </a:lnTo>
                  <a:lnTo>
                    <a:pt x="4847" y="1772"/>
                  </a:lnTo>
                  <a:lnTo>
                    <a:pt x="4852" y="1768"/>
                  </a:lnTo>
                  <a:lnTo>
                    <a:pt x="4856" y="1768"/>
                  </a:lnTo>
                  <a:lnTo>
                    <a:pt x="4866" y="1763"/>
                  </a:lnTo>
                  <a:lnTo>
                    <a:pt x="4866" y="1763"/>
                  </a:lnTo>
                  <a:lnTo>
                    <a:pt x="4866" y="1763"/>
                  </a:lnTo>
                  <a:lnTo>
                    <a:pt x="4866" y="1763"/>
                  </a:lnTo>
                  <a:lnTo>
                    <a:pt x="4870" y="1763"/>
                  </a:lnTo>
                  <a:lnTo>
                    <a:pt x="4870" y="1763"/>
                  </a:lnTo>
                  <a:lnTo>
                    <a:pt x="4875" y="1759"/>
                  </a:lnTo>
                  <a:lnTo>
                    <a:pt x="4875" y="1759"/>
                  </a:lnTo>
                  <a:lnTo>
                    <a:pt x="4879" y="1759"/>
                  </a:lnTo>
                  <a:lnTo>
                    <a:pt x="4879" y="1759"/>
                  </a:lnTo>
                  <a:lnTo>
                    <a:pt x="4879" y="1759"/>
                  </a:lnTo>
                  <a:lnTo>
                    <a:pt x="4884" y="1754"/>
                  </a:lnTo>
                  <a:lnTo>
                    <a:pt x="4884" y="1754"/>
                  </a:lnTo>
                  <a:lnTo>
                    <a:pt x="4888" y="1754"/>
                  </a:lnTo>
                  <a:lnTo>
                    <a:pt x="4893" y="1750"/>
                  </a:lnTo>
                  <a:lnTo>
                    <a:pt x="4893" y="1750"/>
                  </a:lnTo>
                  <a:lnTo>
                    <a:pt x="4893" y="1750"/>
                  </a:lnTo>
                  <a:lnTo>
                    <a:pt x="4888" y="1750"/>
                  </a:lnTo>
                  <a:lnTo>
                    <a:pt x="4888" y="1745"/>
                  </a:lnTo>
                  <a:lnTo>
                    <a:pt x="4884" y="1750"/>
                  </a:lnTo>
                  <a:lnTo>
                    <a:pt x="4884" y="1750"/>
                  </a:lnTo>
                  <a:lnTo>
                    <a:pt x="4884" y="1750"/>
                  </a:lnTo>
                  <a:lnTo>
                    <a:pt x="4879" y="1750"/>
                  </a:lnTo>
                  <a:lnTo>
                    <a:pt x="4879" y="1750"/>
                  </a:lnTo>
                  <a:lnTo>
                    <a:pt x="4875" y="1750"/>
                  </a:lnTo>
                  <a:lnTo>
                    <a:pt x="4870" y="1750"/>
                  </a:lnTo>
                  <a:lnTo>
                    <a:pt x="4866" y="1750"/>
                  </a:lnTo>
                  <a:lnTo>
                    <a:pt x="4856" y="1754"/>
                  </a:lnTo>
                  <a:lnTo>
                    <a:pt x="4856" y="1754"/>
                  </a:lnTo>
                  <a:lnTo>
                    <a:pt x="4856" y="1754"/>
                  </a:lnTo>
                  <a:lnTo>
                    <a:pt x="4852" y="1754"/>
                  </a:lnTo>
                  <a:lnTo>
                    <a:pt x="4852" y="1759"/>
                  </a:lnTo>
                  <a:lnTo>
                    <a:pt x="4847" y="1759"/>
                  </a:lnTo>
                  <a:lnTo>
                    <a:pt x="4847" y="1763"/>
                  </a:lnTo>
                  <a:lnTo>
                    <a:pt x="4843" y="1763"/>
                  </a:lnTo>
                  <a:lnTo>
                    <a:pt x="4843" y="1763"/>
                  </a:lnTo>
                  <a:lnTo>
                    <a:pt x="4838" y="1768"/>
                  </a:lnTo>
                  <a:lnTo>
                    <a:pt x="4834" y="1768"/>
                  </a:lnTo>
                  <a:lnTo>
                    <a:pt x="4829" y="1768"/>
                  </a:lnTo>
                  <a:lnTo>
                    <a:pt x="4825" y="1772"/>
                  </a:lnTo>
                  <a:lnTo>
                    <a:pt x="4825" y="1777"/>
                  </a:lnTo>
                  <a:lnTo>
                    <a:pt x="4825" y="1777"/>
                  </a:lnTo>
                  <a:lnTo>
                    <a:pt x="4825" y="1781"/>
                  </a:lnTo>
                  <a:lnTo>
                    <a:pt x="4825" y="1781"/>
                  </a:lnTo>
                  <a:lnTo>
                    <a:pt x="4825" y="1781"/>
                  </a:lnTo>
                  <a:lnTo>
                    <a:pt x="4825" y="1781"/>
                  </a:lnTo>
                  <a:lnTo>
                    <a:pt x="4825" y="1786"/>
                  </a:lnTo>
                  <a:lnTo>
                    <a:pt x="4825" y="1786"/>
                  </a:lnTo>
                  <a:lnTo>
                    <a:pt x="4825" y="1786"/>
                  </a:lnTo>
                  <a:lnTo>
                    <a:pt x="4825" y="1786"/>
                  </a:lnTo>
                  <a:lnTo>
                    <a:pt x="4825" y="1786"/>
                  </a:lnTo>
                  <a:close/>
                  <a:moveTo>
                    <a:pt x="4707" y="1650"/>
                  </a:moveTo>
                  <a:lnTo>
                    <a:pt x="4707" y="1646"/>
                  </a:lnTo>
                  <a:lnTo>
                    <a:pt x="4707" y="1646"/>
                  </a:lnTo>
                  <a:lnTo>
                    <a:pt x="4707" y="1646"/>
                  </a:lnTo>
                  <a:lnTo>
                    <a:pt x="4707" y="1646"/>
                  </a:lnTo>
                  <a:lnTo>
                    <a:pt x="4707" y="1641"/>
                  </a:lnTo>
                  <a:lnTo>
                    <a:pt x="4707" y="1641"/>
                  </a:lnTo>
                  <a:lnTo>
                    <a:pt x="4707" y="1646"/>
                  </a:lnTo>
                  <a:lnTo>
                    <a:pt x="4703" y="1646"/>
                  </a:lnTo>
                  <a:lnTo>
                    <a:pt x="4703" y="1650"/>
                  </a:lnTo>
                  <a:lnTo>
                    <a:pt x="4703" y="1650"/>
                  </a:lnTo>
                  <a:lnTo>
                    <a:pt x="4703" y="1655"/>
                  </a:lnTo>
                  <a:lnTo>
                    <a:pt x="4703" y="1659"/>
                  </a:lnTo>
                  <a:lnTo>
                    <a:pt x="4703" y="1659"/>
                  </a:lnTo>
                  <a:lnTo>
                    <a:pt x="4707" y="1655"/>
                  </a:lnTo>
                  <a:lnTo>
                    <a:pt x="4707" y="1655"/>
                  </a:lnTo>
                  <a:lnTo>
                    <a:pt x="4707" y="1650"/>
                  </a:lnTo>
                  <a:lnTo>
                    <a:pt x="4707" y="1650"/>
                  </a:lnTo>
                  <a:close/>
                  <a:moveTo>
                    <a:pt x="4744" y="1772"/>
                  </a:moveTo>
                  <a:lnTo>
                    <a:pt x="4748" y="1772"/>
                  </a:lnTo>
                  <a:lnTo>
                    <a:pt x="4748" y="1772"/>
                  </a:lnTo>
                  <a:lnTo>
                    <a:pt x="4753" y="1777"/>
                  </a:lnTo>
                  <a:lnTo>
                    <a:pt x="4753" y="1777"/>
                  </a:lnTo>
                  <a:lnTo>
                    <a:pt x="4753" y="1777"/>
                  </a:lnTo>
                  <a:lnTo>
                    <a:pt x="4757" y="1777"/>
                  </a:lnTo>
                  <a:lnTo>
                    <a:pt x="4757" y="1777"/>
                  </a:lnTo>
                  <a:lnTo>
                    <a:pt x="4762" y="1777"/>
                  </a:lnTo>
                  <a:lnTo>
                    <a:pt x="4762" y="1781"/>
                  </a:lnTo>
                  <a:lnTo>
                    <a:pt x="4762" y="1781"/>
                  </a:lnTo>
                  <a:lnTo>
                    <a:pt x="4762" y="1786"/>
                  </a:lnTo>
                  <a:lnTo>
                    <a:pt x="4766" y="1786"/>
                  </a:lnTo>
                  <a:lnTo>
                    <a:pt x="4766" y="1786"/>
                  </a:lnTo>
                  <a:lnTo>
                    <a:pt x="4771" y="1786"/>
                  </a:lnTo>
                  <a:lnTo>
                    <a:pt x="4771" y="1786"/>
                  </a:lnTo>
                  <a:lnTo>
                    <a:pt x="4771" y="1786"/>
                  </a:lnTo>
                  <a:lnTo>
                    <a:pt x="4775" y="1786"/>
                  </a:lnTo>
                  <a:lnTo>
                    <a:pt x="4775" y="1781"/>
                  </a:lnTo>
                  <a:lnTo>
                    <a:pt x="4775" y="1781"/>
                  </a:lnTo>
                  <a:lnTo>
                    <a:pt x="4775" y="1777"/>
                  </a:lnTo>
                  <a:lnTo>
                    <a:pt x="4775" y="1777"/>
                  </a:lnTo>
                  <a:lnTo>
                    <a:pt x="4775" y="1777"/>
                  </a:lnTo>
                  <a:lnTo>
                    <a:pt x="4771" y="1772"/>
                  </a:lnTo>
                  <a:lnTo>
                    <a:pt x="4771" y="1772"/>
                  </a:lnTo>
                  <a:lnTo>
                    <a:pt x="4771" y="1772"/>
                  </a:lnTo>
                  <a:lnTo>
                    <a:pt x="4771" y="1772"/>
                  </a:lnTo>
                  <a:lnTo>
                    <a:pt x="4766" y="1772"/>
                  </a:lnTo>
                  <a:lnTo>
                    <a:pt x="4766" y="1772"/>
                  </a:lnTo>
                  <a:lnTo>
                    <a:pt x="4766" y="1772"/>
                  </a:lnTo>
                  <a:lnTo>
                    <a:pt x="4766" y="1768"/>
                  </a:lnTo>
                  <a:lnTo>
                    <a:pt x="4766" y="1768"/>
                  </a:lnTo>
                  <a:lnTo>
                    <a:pt x="4762" y="1768"/>
                  </a:lnTo>
                  <a:lnTo>
                    <a:pt x="4762" y="1768"/>
                  </a:lnTo>
                  <a:lnTo>
                    <a:pt x="4762" y="1763"/>
                  </a:lnTo>
                  <a:lnTo>
                    <a:pt x="4762" y="1768"/>
                  </a:lnTo>
                  <a:lnTo>
                    <a:pt x="4762" y="1768"/>
                  </a:lnTo>
                  <a:lnTo>
                    <a:pt x="4757" y="1768"/>
                  </a:lnTo>
                  <a:lnTo>
                    <a:pt x="4753" y="1768"/>
                  </a:lnTo>
                  <a:lnTo>
                    <a:pt x="4753" y="1768"/>
                  </a:lnTo>
                  <a:lnTo>
                    <a:pt x="4748" y="1768"/>
                  </a:lnTo>
                  <a:lnTo>
                    <a:pt x="4748" y="1768"/>
                  </a:lnTo>
                  <a:lnTo>
                    <a:pt x="4744" y="1768"/>
                  </a:lnTo>
                  <a:lnTo>
                    <a:pt x="4744" y="1768"/>
                  </a:lnTo>
                  <a:lnTo>
                    <a:pt x="4744" y="1772"/>
                  </a:lnTo>
                  <a:lnTo>
                    <a:pt x="4744" y="1772"/>
                  </a:lnTo>
                  <a:close/>
                  <a:moveTo>
                    <a:pt x="4893" y="1655"/>
                  </a:moveTo>
                  <a:lnTo>
                    <a:pt x="4897" y="1650"/>
                  </a:lnTo>
                  <a:lnTo>
                    <a:pt x="4897" y="1650"/>
                  </a:lnTo>
                  <a:lnTo>
                    <a:pt x="4902" y="1650"/>
                  </a:lnTo>
                  <a:lnTo>
                    <a:pt x="4902" y="1646"/>
                  </a:lnTo>
                  <a:lnTo>
                    <a:pt x="4902" y="1646"/>
                  </a:lnTo>
                  <a:lnTo>
                    <a:pt x="4897" y="1646"/>
                  </a:lnTo>
                  <a:lnTo>
                    <a:pt x="4897" y="1646"/>
                  </a:lnTo>
                  <a:lnTo>
                    <a:pt x="4897" y="1646"/>
                  </a:lnTo>
                  <a:lnTo>
                    <a:pt x="4897" y="1641"/>
                  </a:lnTo>
                  <a:lnTo>
                    <a:pt x="4897" y="1641"/>
                  </a:lnTo>
                  <a:lnTo>
                    <a:pt x="4893" y="1641"/>
                  </a:lnTo>
                  <a:lnTo>
                    <a:pt x="4893" y="1641"/>
                  </a:lnTo>
                  <a:lnTo>
                    <a:pt x="4888" y="1641"/>
                  </a:lnTo>
                  <a:lnTo>
                    <a:pt x="4884" y="1641"/>
                  </a:lnTo>
                  <a:lnTo>
                    <a:pt x="4884" y="1641"/>
                  </a:lnTo>
                  <a:lnTo>
                    <a:pt x="4879" y="1641"/>
                  </a:lnTo>
                  <a:lnTo>
                    <a:pt x="4879" y="1641"/>
                  </a:lnTo>
                  <a:lnTo>
                    <a:pt x="4879" y="1641"/>
                  </a:lnTo>
                  <a:lnTo>
                    <a:pt x="4879" y="1646"/>
                  </a:lnTo>
                  <a:lnTo>
                    <a:pt x="4879" y="1646"/>
                  </a:lnTo>
                  <a:lnTo>
                    <a:pt x="4879" y="1650"/>
                  </a:lnTo>
                  <a:lnTo>
                    <a:pt x="4884" y="1650"/>
                  </a:lnTo>
                  <a:lnTo>
                    <a:pt x="4884" y="1650"/>
                  </a:lnTo>
                  <a:lnTo>
                    <a:pt x="4884" y="1650"/>
                  </a:lnTo>
                  <a:lnTo>
                    <a:pt x="4888" y="1655"/>
                  </a:lnTo>
                  <a:lnTo>
                    <a:pt x="4888" y="1655"/>
                  </a:lnTo>
                  <a:lnTo>
                    <a:pt x="4893" y="1655"/>
                  </a:lnTo>
                  <a:lnTo>
                    <a:pt x="4893" y="1655"/>
                  </a:lnTo>
                  <a:lnTo>
                    <a:pt x="4893" y="1655"/>
                  </a:lnTo>
                  <a:lnTo>
                    <a:pt x="4893" y="1655"/>
                  </a:lnTo>
                  <a:close/>
                  <a:moveTo>
                    <a:pt x="4879" y="642"/>
                  </a:moveTo>
                  <a:lnTo>
                    <a:pt x="4884" y="642"/>
                  </a:lnTo>
                  <a:lnTo>
                    <a:pt x="4884" y="647"/>
                  </a:lnTo>
                  <a:lnTo>
                    <a:pt x="4884" y="647"/>
                  </a:lnTo>
                  <a:lnTo>
                    <a:pt x="4884" y="651"/>
                  </a:lnTo>
                  <a:lnTo>
                    <a:pt x="4884" y="647"/>
                  </a:lnTo>
                  <a:lnTo>
                    <a:pt x="4884" y="647"/>
                  </a:lnTo>
                  <a:lnTo>
                    <a:pt x="4884" y="642"/>
                  </a:lnTo>
                  <a:lnTo>
                    <a:pt x="4884" y="642"/>
                  </a:lnTo>
                  <a:lnTo>
                    <a:pt x="4884" y="638"/>
                  </a:lnTo>
                  <a:lnTo>
                    <a:pt x="4884" y="638"/>
                  </a:lnTo>
                  <a:lnTo>
                    <a:pt x="4884" y="638"/>
                  </a:lnTo>
                  <a:lnTo>
                    <a:pt x="4888" y="638"/>
                  </a:lnTo>
                  <a:lnTo>
                    <a:pt x="4888" y="638"/>
                  </a:lnTo>
                  <a:lnTo>
                    <a:pt x="4888" y="633"/>
                  </a:lnTo>
                  <a:lnTo>
                    <a:pt x="4888" y="633"/>
                  </a:lnTo>
                  <a:lnTo>
                    <a:pt x="4888" y="629"/>
                  </a:lnTo>
                  <a:lnTo>
                    <a:pt x="4893" y="629"/>
                  </a:lnTo>
                  <a:lnTo>
                    <a:pt x="4893" y="629"/>
                  </a:lnTo>
                  <a:lnTo>
                    <a:pt x="4893" y="629"/>
                  </a:lnTo>
                  <a:lnTo>
                    <a:pt x="4893" y="629"/>
                  </a:lnTo>
                  <a:lnTo>
                    <a:pt x="4893" y="624"/>
                  </a:lnTo>
                  <a:lnTo>
                    <a:pt x="4893" y="624"/>
                  </a:lnTo>
                  <a:lnTo>
                    <a:pt x="4893" y="624"/>
                  </a:lnTo>
                  <a:lnTo>
                    <a:pt x="4893" y="624"/>
                  </a:lnTo>
                  <a:lnTo>
                    <a:pt x="4888" y="624"/>
                  </a:lnTo>
                  <a:lnTo>
                    <a:pt x="4888" y="624"/>
                  </a:lnTo>
                  <a:lnTo>
                    <a:pt x="4888" y="629"/>
                  </a:lnTo>
                  <a:lnTo>
                    <a:pt x="4888" y="633"/>
                  </a:lnTo>
                  <a:lnTo>
                    <a:pt x="4884" y="633"/>
                  </a:lnTo>
                  <a:lnTo>
                    <a:pt x="4884" y="629"/>
                  </a:lnTo>
                  <a:lnTo>
                    <a:pt x="4879" y="629"/>
                  </a:lnTo>
                  <a:lnTo>
                    <a:pt x="4884" y="629"/>
                  </a:lnTo>
                  <a:lnTo>
                    <a:pt x="4884" y="633"/>
                  </a:lnTo>
                  <a:lnTo>
                    <a:pt x="4884" y="633"/>
                  </a:lnTo>
                  <a:lnTo>
                    <a:pt x="4884" y="633"/>
                  </a:lnTo>
                  <a:lnTo>
                    <a:pt x="4884" y="638"/>
                  </a:lnTo>
                  <a:lnTo>
                    <a:pt x="4884" y="638"/>
                  </a:lnTo>
                  <a:lnTo>
                    <a:pt x="4879" y="642"/>
                  </a:lnTo>
                  <a:lnTo>
                    <a:pt x="4879" y="642"/>
                  </a:lnTo>
                  <a:close/>
                  <a:moveTo>
                    <a:pt x="4802" y="886"/>
                  </a:moveTo>
                  <a:lnTo>
                    <a:pt x="4802" y="886"/>
                  </a:lnTo>
                  <a:lnTo>
                    <a:pt x="4802" y="882"/>
                  </a:lnTo>
                  <a:lnTo>
                    <a:pt x="4802" y="882"/>
                  </a:lnTo>
                  <a:lnTo>
                    <a:pt x="4798" y="886"/>
                  </a:lnTo>
                  <a:lnTo>
                    <a:pt x="4798" y="886"/>
                  </a:lnTo>
                  <a:lnTo>
                    <a:pt x="4798" y="886"/>
                  </a:lnTo>
                  <a:lnTo>
                    <a:pt x="4798" y="886"/>
                  </a:lnTo>
                  <a:lnTo>
                    <a:pt x="4793" y="886"/>
                  </a:lnTo>
                  <a:lnTo>
                    <a:pt x="4793" y="882"/>
                  </a:lnTo>
                  <a:lnTo>
                    <a:pt x="4789" y="882"/>
                  </a:lnTo>
                  <a:lnTo>
                    <a:pt x="4789" y="882"/>
                  </a:lnTo>
                  <a:lnTo>
                    <a:pt x="4784" y="877"/>
                  </a:lnTo>
                  <a:lnTo>
                    <a:pt x="4784" y="877"/>
                  </a:lnTo>
                  <a:lnTo>
                    <a:pt x="4784" y="877"/>
                  </a:lnTo>
                  <a:lnTo>
                    <a:pt x="4780" y="882"/>
                  </a:lnTo>
                  <a:lnTo>
                    <a:pt x="4780" y="882"/>
                  </a:lnTo>
                  <a:lnTo>
                    <a:pt x="4784" y="882"/>
                  </a:lnTo>
                  <a:lnTo>
                    <a:pt x="4784" y="886"/>
                  </a:lnTo>
                  <a:lnTo>
                    <a:pt x="4780" y="886"/>
                  </a:lnTo>
                  <a:lnTo>
                    <a:pt x="4780" y="886"/>
                  </a:lnTo>
                  <a:lnTo>
                    <a:pt x="4780" y="886"/>
                  </a:lnTo>
                  <a:lnTo>
                    <a:pt x="4780" y="886"/>
                  </a:lnTo>
                  <a:lnTo>
                    <a:pt x="4780" y="886"/>
                  </a:lnTo>
                  <a:lnTo>
                    <a:pt x="4775" y="891"/>
                  </a:lnTo>
                  <a:lnTo>
                    <a:pt x="4775" y="891"/>
                  </a:lnTo>
                  <a:lnTo>
                    <a:pt x="4775" y="891"/>
                  </a:lnTo>
                  <a:lnTo>
                    <a:pt x="4775" y="891"/>
                  </a:lnTo>
                  <a:lnTo>
                    <a:pt x="4775" y="891"/>
                  </a:lnTo>
                  <a:lnTo>
                    <a:pt x="4775" y="891"/>
                  </a:lnTo>
                  <a:lnTo>
                    <a:pt x="4775" y="891"/>
                  </a:lnTo>
                  <a:lnTo>
                    <a:pt x="4775" y="891"/>
                  </a:lnTo>
                  <a:lnTo>
                    <a:pt x="4775" y="895"/>
                  </a:lnTo>
                  <a:lnTo>
                    <a:pt x="4775" y="895"/>
                  </a:lnTo>
                  <a:lnTo>
                    <a:pt x="4780" y="895"/>
                  </a:lnTo>
                  <a:lnTo>
                    <a:pt x="4780" y="900"/>
                  </a:lnTo>
                  <a:lnTo>
                    <a:pt x="4780" y="900"/>
                  </a:lnTo>
                  <a:lnTo>
                    <a:pt x="4784" y="900"/>
                  </a:lnTo>
                  <a:lnTo>
                    <a:pt x="4784" y="900"/>
                  </a:lnTo>
                  <a:lnTo>
                    <a:pt x="4780" y="900"/>
                  </a:lnTo>
                  <a:lnTo>
                    <a:pt x="4780" y="900"/>
                  </a:lnTo>
                  <a:lnTo>
                    <a:pt x="4775" y="900"/>
                  </a:lnTo>
                  <a:lnTo>
                    <a:pt x="4780" y="900"/>
                  </a:lnTo>
                  <a:lnTo>
                    <a:pt x="4780" y="900"/>
                  </a:lnTo>
                  <a:lnTo>
                    <a:pt x="4780" y="900"/>
                  </a:lnTo>
                  <a:lnTo>
                    <a:pt x="4780" y="904"/>
                  </a:lnTo>
                  <a:lnTo>
                    <a:pt x="4784" y="904"/>
                  </a:lnTo>
                  <a:lnTo>
                    <a:pt x="4784" y="904"/>
                  </a:lnTo>
                  <a:lnTo>
                    <a:pt x="4784" y="909"/>
                  </a:lnTo>
                  <a:lnTo>
                    <a:pt x="4784" y="904"/>
                  </a:lnTo>
                  <a:lnTo>
                    <a:pt x="4784" y="904"/>
                  </a:lnTo>
                  <a:lnTo>
                    <a:pt x="4784" y="904"/>
                  </a:lnTo>
                  <a:lnTo>
                    <a:pt x="4789" y="904"/>
                  </a:lnTo>
                  <a:lnTo>
                    <a:pt x="4789" y="904"/>
                  </a:lnTo>
                  <a:lnTo>
                    <a:pt x="4789" y="904"/>
                  </a:lnTo>
                  <a:lnTo>
                    <a:pt x="4789" y="904"/>
                  </a:lnTo>
                  <a:lnTo>
                    <a:pt x="4793" y="904"/>
                  </a:lnTo>
                  <a:lnTo>
                    <a:pt x="4789" y="904"/>
                  </a:lnTo>
                  <a:lnTo>
                    <a:pt x="4789" y="900"/>
                  </a:lnTo>
                  <a:lnTo>
                    <a:pt x="4789" y="900"/>
                  </a:lnTo>
                  <a:lnTo>
                    <a:pt x="4789" y="900"/>
                  </a:lnTo>
                  <a:lnTo>
                    <a:pt x="4789" y="900"/>
                  </a:lnTo>
                  <a:lnTo>
                    <a:pt x="4789" y="900"/>
                  </a:lnTo>
                  <a:lnTo>
                    <a:pt x="4784" y="900"/>
                  </a:lnTo>
                  <a:lnTo>
                    <a:pt x="4784" y="900"/>
                  </a:lnTo>
                  <a:lnTo>
                    <a:pt x="4784" y="895"/>
                  </a:lnTo>
                  <a:lnTo>
                    <a:pt x="4784" y="895"/>
                  </a:lnTo>
                  <a:lnTo>
                    <a:pt x="4784" y="895"/>
                  </a:lnTo>
                  <a:lnTo>
                    <a:pt x="4784" y="895"/>
                  </a:lnTo>
                  <a:lnTo>
                    <a:pt x="4789" y="895"/>
                  </a:lnTo>
                  <a:lnTo>
                    <a:pt x="4789" y="900"/>
                  </a:lnTo>
                  <a:lnTo>
                    <a:pt x="4793" y="900"/>
                  </a:lnTo>
                  <a:lnTo>
                    <a:pt x="4793" y="904"/>
                  </a:lnTo>
                  <a:lnTo>
                    <a:pt x="4793" y="904"/>
                  </a:lnTo>
                  <a:lnTo>
                    <a:pt x="4793" y="904"/>
                  </a:lnTo>
                  <a:lnTo>
                    <a:pt x="4798" y="904"/>
                  </a:lnTo>
                  <a:lnTo>
                    <a:pt x="4798" y="909"/>
                  </a:lnTo>
                  <a:lnTo>
                    <a:pt x="4798" y="913"/>
                  </a:lnTo>
                  <a:lnTo>
                    <a:pt x="4798" y="913"/>
                  </a:lnTo>
                  <a:lnTo>
                    <a:pt x="4798" y="913"/>
                  </a:lnTo>
                  <a:lnTo>
                    <a:pt x="4793" y="918"/>
                  </a:lnTo>
                  <a:lnTo>
                    <a:pt x="4793" y="918"/>
                  </a:lnTo>
                  <a:lnTo>
                    <a:pt x="4798" y="918"/>
                  </a:lnTo>
                  <a:lnTo>
                    <a:pt x="4798" y="922"/>
                  </a:lnTo>
                  <a:lnTo>
                    <a:pt x="4798" y="922"/>
                  </a:lnTo>
                  <a:lnTo>
                    <a:pt x="4798" y="922"/>
                  </a:lnTo>
                  <a:lnTo>
                    <a:pt x="4802" y="922"/>
                  </a:lnTo>
                  <a:lnTo>
                    <a:pt x="4802" y="927"/>
                  </a:lnTo>
                  <a:lnTo>
                    <a:pt x="4802" y="927"/>
                  </a:lnTo>
                  <a:lnTo>
                    <a:pt x="4802" y="931"/>
                  </a:lnTo>
                  <a:lnTo>
                    <a:pt x="4802" y="931"/>
                  </a:lnTo>
                  <a:lnTo>
                    <a:pt x="4802" y="931"/>
                  </a:lnTo>
                  <a:lnTo>
                    <a:pt x="4802" y="931"/>
                  </a:lnTo>
                  <a:lnTo>
                    <a:pt x="4802" y="931"/>
                  </a:lnTo>
                  <a:lnTo>
                    <a:pt x="4807" y="931"/>
                  </a:lnTo>
                  <a:lnTo>
                    <a:pt x="4811" y="936"/>
                  </a:lnTo>
                  <a:lnTo>
                    <a:pt x="4811" y="936"/>
                  </a:lnTo>
                  <a:lnTo>
                    <a:pt x="4811" y="931"/>
                  </a:lnTo>
                  <a:lnTo>
                    <a:pt x="4807" y="931"/>
                  </a:lnTo>
                  <a:lnTo>
                    <a:pt x="4807" y="931"/>
                  </a:lnTo>
                  <a:lnTo>
                    <a:pt x="4807" y="927"/>
                  </a:lnTo>
                  <a:lnTo>
                    <a:pt x="4807" y="927"/>
                  </a:lnTo>
                  <a:lnTo>
                    <a:pt x="4807" y="927"/>
                  </a:lnTo>
                  <a:lnTo>
                    <a:pt x="4807" y="922"/>
                  </a:lnTo>
                  <a:lnTo>
                    <a:pt x="4807" y="922"/>
                  </a:lnTo>
                  <a:lnTo>
                    <a:pt x="4807" y="922"/>
                  </a:lnTo>
                  <a:lnTo>
                    <a:pt x="4807" y="922"/>
                  </a:lnTo>
                  <a:lnTo>
                    <a:pt x="4811" y="927"/>
                  </a:lnTo>
                  <a:lnTo>
                    <a:pt x="4811" y="927"/>
                  </a:lnTo>
                  <a:lnTo>
                    <a:pt x="4807" y="927"/>
                  </a:lnTo>
                  <a:lnTo>
                    <a:pt x="4807" y="927"/>
                  </a:lnTo>
                  <a:lnTo>
                    <a:pt x="4807" y="927"/>
                  </a:lnTo>
                  <a:lnTo>
                    <a:pt x="4811" y="931"/>
                  </a:lnTo>
                  <a:lnTo>
                    <a:pt x="4811" y="931"/>
                  </a:lnTo>
                  <a:lnTo>
                    <a:pt x="4811" y="936"/>
                  </a:lnTo>
                  <a:lnTo>
                    <a:pt x="4811" y="936"/>
                  </a:lnTo>
                  <a:lnTo>
                    <a:pt x="4811" y="936"/>
                  </a:lnTo>
                  <a:lnTo>
                    <a:pt x="4811" y="936"/>
                  </a:lnTo>
                  <a:lnTo>
                    <a:pt x="4811" y="936"/>
                  </a:lnTo>
                  <a:lnTo>
                    <a:pt x="4816" y="936"/>
                  </a:lnTo>
                  <a:lnTo>
                    <a:pt x="4816" y="931"/>
                  </a:lnTo>
                  <a:lnTo>
                    <a:pt x="4816" y="931"/>
                  </a:lnTo>
                  <a:lnTo>
                    <a:pt x="4816" y="927"/>
                  </a:lnTo>
                  <a:lnTo>
                    <a:pt x="4816" y="927"/>
                  </a:lnTo>
                  <a:lnTo>
                    <a:pt x="4820" y="931"/>
                  </a:lnTo>
                  <a:lnTo>
                    <a:pt x="4820" y="931"/>
                  </a:lnTo>
                  <a:lnTo>
                    <a:pt x="4820" y="922"/>
                  </a:lnTo>
                  <a:lnTo>
                    <a:pt x="4820" y="922"/>
                  </a:lnTo>
                  <a:lnTo>
                    <a:pt x="4816" y="918"/>
                  </a:lnTo>
                  <a:lnTo>
                    <a:pt x="4816" y="918"/>
                  </a:lnTo>
                  <a:lnTo>
                    <a:pt x="4816" y="913"/>
                  </a:lnTo>
                  <a:lnTo>
                    <a:pt x="4816" y="913"/>
                  </a:lnTo>
                  <a:lnTo>
                    <a:pt x="4816" y="909"/>
                  </a:lnTo>
                  <a:lnTo>
                    <a:pt x="4816" y="909"/>
                  </a:lnTo>
                  <a:lnTo>
                    <a:pt x="4816" y="904"/>
                  </a:lnTo>
                  <a:lnTo>
                    <a:pt x="4816" y="900"/>
                  </a:lnTo>
                  <a:lnTo>
                    <a:pt x="4816" y="900"/>
                  </a:lnTo>
                  <a:lnTo>
                    <a:pt x="4816" y="900"/>
                  </a:lnTo>
                  <a:lnTo>
                    <a:pt x="4811" y="895"/>
                  </a:lnTo>
                  <a:lnTo>
                    <a:pt x="4811" y="895"/>
                  </a:lnTo>
                  <a:lnTo>
                    <a:pt x="4811" y="895"/>
                  </a:lnTo>
                  <a:lnTo>
                    <a:pt x="4811" y="895"/>
                  </a:lnTo>
                  <a:lnTo>
                    <a:pt x="4811" y="895"/>
                  </a:lnTo>
                  <a:lnTo>
                    <a:pt x="4811" y="891"/>
                  </a:lnTo>
                  <a:lnTo>
                    <a:pt x="4811" y="891"/>
                  </a:lnTo>
                  <a:lnTo>
                    <a:pt x="4807" y="891"/>
                  </a:lnTo>
                  <a:lnTo>
                    <a:pt x="4802" y="891"/>
                  </a:lnTo>
                  <a:lnTo>
                    <a:pt x="4802" y="891"/>
                  </a:lnTo>
                  <a:lnTo>
                    <a:pt x="4802" y="886"/>
                  </a:lnTo>
                  <a:lnTo>
                    <a:pt x="4802" y="886"/>
                  </a:lnTo>
                  <a:close/>
                  <a:moveTo>
                    <a:pt x="4870" y="665"/>
                  </a:moveTo>
                  <a:lnTo>
                    <a:pt x="4866" y="665"/>
                  </a:lnTo>
                  <a:lnTo>
                    <a:pt x="4866" y="660"/>
                  </a:lnTo>
                  <a:lnTo>
                    <a:pt x="4866" y="656"/>
                  </a:lnTo>
                  <a:lnTo>
                    <a:pt x="4866" y="656"/>
                  </a:lnTo>
                  <a:lnTo>
                    <a:pt x="4866" y="651"/>
                  </a:lnTo>
                  <a:lnTo>
                    <a:pt x="4861" y="651"/>
                  </a:lnTo>
                  <a:lnTo>
                    <a:pt x="4861" y="656"/>
                  </a:lnTo>
                  <a:lnTo>
                    <a:pt x="4861" y="660"/>
                  </a:lnTo>
                  <a:lnTo>
                    <a:pt x="4861" y="660"/>
                  </a:lnTo>
                  <a:lnTo>
                    <a:pt x="4861" y="660"/>
                  </a:lnTo>
                  <a:lnTo>
                    <a:pt x="4861" y="660"/>
                  </a:lnTo>
                  <a:lnTo>
                    <a:pt x="4856" y="660"/>
                  </a:lnTo>
                  <a:lnTo>
                    <a:pt x="4847" y="660"/>
                  </a:lnTo>
                  <a:lnTo>
                    <a:pt x="4847" y="660"/>
                  </a:lnTo>
                  <a:lnTo>
                    <a:pt x="4847" y="660"/>
                  </a:lnTo>
                  <a:lnTo>
                    <a:pt x="4843" y="660"/>
                  </a:lnTo>
                  <a:lnTo>
                    <a:pt x="4843" y="660"/>
                  </a:lnTo>
                  <a:lnTo>
                    <a:pt x="4843" y="656"/>
                  </a:lnTo>
                  <a:lnTo>
                    <a:pt x="4838" y="656"/>
                  </a:lnTo>
                  <a:lnTo>
                    <a:pt x="4834" y="656"/>
                  </a:lnTo>
                  <a:lnTo>
                    <a:pt x="4829" y="651"/>
                  </a:lnTo>
                  <a:lnTo>
                    <a:pt x="4825" y="651"/>
                  </a:lnTo>
                  <a:lnTo>
                    <a:pt x="4820" y="647"/>
                  </a:lnTo>
                  <a:lnTo>
                    <a:pt x="4811" y="642"/>
                  </a:lnTo>
                  <a:lnTo>
                    <a:pt x="4802" y="638"/>
                  </a:lnTo>
                  <a:lnTo>
                    <a:pt x="4798" y="638"/>
                  </a:lnTo>
                  <a:lnTo>
                    <a:pt x="4798" y="638"/>
                  </a:lnTo>
                  <a:lnTo>
                    <a:pt x="4798" y="633"/>
                  </a:lnTo>
                  <a:lnTo>
                    <a:pt x="4798" y="638"/>
                  </a:lnTo>
                  <a:lnTo>
                    <a:pt x="4798" y="638"/>
                  </a:lnTo>
                  <a:lnTo>
                    <a:pt x="4798" y="638"/>
                  </a:lnTo>
                  <a:lnTo>
                    <a:pt x="4793" y="638"/>
                  </a:lnTo>
                  <a:lnTo>
                    <a:pt x="4793" y="638"/>
                  </a:lnTo>
                  <a:lnTo>
                    <a:pt x="4798" y="638"/>
                  </a:lnTo>
                  <a:lnTo>
                    <a:pt x="4798" y="642"/>
                  </a:lnTo>
                  <a:lnTo>
                    <a:pt x="4798" y="642"/>
                  </a:lnTo>
                  <a:lnTo>
                    <a:pt x="4802" y="647"/>
                  </a:lnTo>
                  <a:lnTo>
                    <a:pt x="4802" y="647"/>
                  </a:lnTo>
                  <a:lnTo>
                    <a:pt x="4807" y="651"/>
                  </a:lnTo>
                  <a:lnTo>
                    <a:pt x="4811" y="656"/>
                  </a:lnTo>
                  <a:lnTo>
                    <a:pt x="4811" y="656"/>
                  </a:lnTo>
                  <a:lnTo>
                    <a:pt x="4811" y="660"/>
                  </a:lnTo>
                  <a:lnTo>
                    <a:pt x="4816" y="665"/>
                  </a:lnTo>
                  <a:lnTo>
                    <a:pt x="4816" y="665"/>
                  </a:lnTo>
                  <a:lnTo>
                    <a:pt x="4816" y="669"/>
                  </a:lnTo>
                  <a:lnTo>
                    <a:pt x="4820" y="674"/>
                  </a:lnTo>
                  <a:lnTo>
                    <a:pt x="4820" y="674"/>
                  </a:lnTo>
                  <a:lnTo>
                    <a:pt x="4825" y="678"/>
                  </a:lnTo>
                  <a:lnTo>
                    <a:pt x="4825" y="678"/>
                  </a:lnTo>
                  <a:lnTo>
                    <a:pt x="4825" y="683"/>
                  </a:lnTo>
                  <a:lnTo>
                    <a:pt x="4825" y="683"/>
                  </a:lnTo>
                  <a:lnTo>
                    <a:pt x="4820" y="683"/>
                  </a:lnTo>
                  <a:lnTo>
                    <a:pt x="4820" y="683"/>
                  </a:lnTo>
                  <a:lnTo>
                    <a:pt x="4816" y="683"/>
                  </a:lnTo>
                  <a:lnTo>
                    <a:pt x="4816" y="683"/>
                  </a:lnTo>
                  <a:lnTo>
                    <a:pt x="4811" y="678"/>
                  </a:lnTo>
                  <a:lnTo>
                    <a:pt x="4811" y="678"/>
                  </a:lnTo>
                  <a:lnTo>
                    <a:pt x="4811" y="683"/>
                  </a:lnTo>
                  <a:lnTo>
                    <a:pt x="4811" y="683"/>
                  </a:lnTo>
                  <a:lnTo>
                    <a:pt x="4811" y="683"/>
                  </a:lnTo>
                  <a:lnTo>
                    <a:pt x="4816" y="687"/>
                  </a:lnTo>
                  <a:lnTo>
                    <a:pt x="4816" y="687"/>
                  </a:lnTo>
                  <a:lnTo>
                    <a:pt x="4816" y="687"/>
                  </a:lnTo>
                  <a:lnTo>
                    <a:pt x="4816" y="692"/>
                  </a:lnTo>
                  <a:lnTo>
                    <a:pt x="4816" y="692"/>
                  </a:lnTo>
                  <a:lnTo>
                    <a:pt x="4811" y="692"/>
                  </a:lnTo>
                  <a:lnTo>
                    <a:pt x="4811" y="692"/>
                  </a:lnTo>
                  <a:lnTo>
                    <a:pt x="4811" y="696"/>
                  </a:lnTo>
                  <a:lnTo>
                    <a:pt x="4811" y="696"/>
                  </a:lnTo>
                  <a:lnTo>
                    <a:pt x="4816" y="696"/>
                  </a:lnTo>
                  <a:lnTo>
                    <a:pt x="4816" y="701"/>
                  </a:lnTo>
                  <a:lnTo>
                    <a:pt x="4816" y="701"/>
                  </a:lnTo>
                  <a:lnTo>
                    <a:pt x="4820" y="705"/>
                  </a:lnTo>
                  <a:lnTo>
                    <a:pt x="4820" y="705"/>
                  </a:lnTo>
                  <a:lnTo>
                    <a:pt x="4825" y="705"/>
                  </a:lnTo>
                  <a:lnTo>
                    <a:pt x="4825" y="710"/>
                  </a:lnTo>
                  <a:lnTo>
                    <a:pt x="4825" y="710"/>
                  </a:lnTo>
                  <a:lnTo>
                    <a:pt x="4829" y="714"/>
                  </a:lnTo>
                  <a:lnTo>
                    <a:pt x="4829" y="714"/>
                  </a:lnTo>
                  <a:lnTo>
                    <a:pt x="4829" y="714"/>
                  </a:lnTo>
                  <a:lnTo>
                    <a:pt x="4829" y="719"/>
                  </a:lnTo>
                  <a:lnTo>
                    <a:pt x="4834" y="719"/>
                  </a:lnTo>
                  <a:lnTo>
                    <a:pt x="4834" y="719"/>
                  </a:lnTo>
                  <a:lnTo>
                    <a:pt x="4834" y="719"/>
                  </a:lnTo>
                  <a:lnTo>
                    <a:pt x="4834" y="714"/>
                  </a:lnTo>
                  <a:lnTo>
                    <a:pt x="4834" y="714"/>
                  </a:lnTo>
                  <a:lnTo>
                    <a:pt x="4834" y="714"/>
                  </a:lnTo>
                  <a:lnTo>
                    <a:pt x="4834" y="710"/>
                  </a:lnTo>
                  <a:lnTo>
                    <a:pt x="4834" y="710"/>
                  </a:lnTo>
                  <a:lnTo>
                    <a:pt x="4838" y="710"/>
                  </a:lnTo>
                  <a:lnTo>
                    <a:pt x="4838" y="710"/>
                  </a:lnTo>
                  <a:lnTo>
                    <a:pt x="4843" y="710"/>
                  </a:lnTo>
                  <a:lnTo>
                    <a:pt x="4843" y="710"/>
                  </a:lnTo>
                  <a:lnTo>
                    <a:pt x="4843" y="710"/>
                  </a:lnTo>
                  <a:lnTo>
                    <a:pt x="4843" y="710"/>
                  </a:lnTo>
                  <a:lnTo>
                    <a:pt x="4838" y="705"/>
                  </a:lnTo>
                  <a:lnTo>
                    <a:pt x="4834" y="705"/>
                  </a:lnTo>
                  <a:lnTo>
                    <a:pt x="4829" y="705"/>
                  </a:lnTo>
                  <a:lnTo>
                    <a:pt x="4829" y="705"/>
                  </a:lnTo>
                  <a:lnTo>
                    <a:pt x="4829" y="705"/>
                  </a:lnTo>
                  <a:lnTo>
                    <a:pt x="4825" y="701"/>
                  </a:lnTo>
                  <a:lnTo>
                    <a:pt x="4825" y="701"/>
                  </a:lnTo>
                  <a:lnTo>
                    <a:pt x="4820" y="701"/>
                  </a:lnTo>
                  <a:lnTo>
                    <a:pt x="4820" y="701"/>
                  </a:lnTo>
                  <a:lnTo>
                    <a:pt x="4820" y="696"/>
                  </a:lnTo>
                  <a:lnTo>
                    <a:pt x="4820" y="696"/>
                  </a:lnTo>
                  <a:lnTo>
                    <a:pt x="4820" y="696"/>
                  </a:lnTo>
                  <a:lnTo>
                    <a:pt x="4820" y="696"/>
                  </a:lnTo>
                  <a:lnTo>
                    <a:pt x="4825" y="696"/>
                  </a:lnTo>
                  <a:lnTo>
                    <a:pt x="4825" y="696"/>
                  </a:lnTo>
                  <a:lnTo>
                    <a:pt x="4825" y="696"/>
                  </a:lnTo>
                  <a:lnTo>
                    <a:pt x="4829" y="696"/>
                  </a:lnTo>
                  <a:lnTo>
                    <a:pt x="4834" y="701"/>
                  </a:lnTo>
                  <a:lnTo>
                    <a:pt x="4834" y="692"/>
                  </a:lnTo>
                  <a:lnTo>
                    <a:pt x="4843" y="692"/>
                  </a:lnTo>
                  <a:lnTo>
                    <a:pt x="4847" y="696"/>
                  </a:lnTo>
                  <a:lnTo>
                    <a:pt x="4856" y="696"/>
                  </a:lnTo>
                  <a:lnTo>
                    <a:pt x="4861" y="701"/>
                  </a:lnTo>
                  <a:lnTo>
                    <a:pt x="4866" y="701"/>
                  </a:lnTo>
                  <a:lnTo>
                    <a:pt x="4870" y="701"/>
                  </a:lnTo>
                  <a:lnTo>
                    <a:pt x="4870" y="701"/>
                  </a:lnTo>
                  <a:lnTo>
                    <a:pt x="4870" y="701"/>
                  </a:lnTo>
                  <a:lnTo>
                    <a:pt x="4870" y="701"/>
                  </a:lnTo>
                  <a:lnTo>
                    <a:pt x="4866" y="696"/>
                  </a:lnTo>
                  <a:lnTo>
                    <a:pt x="4866" y="696"/>
                  </a:lnTo>
                  <a:lnTo>
                    <a:pt x="4866" y="692"/>
                  </a:lnTo>
                  <a:lnTo>
                    <a:pt x="4866" y="692"/>
                  </a:lnTo>
                  <a:lnTo>
                    <a:pt x="4866" y="687"/>
                  </a:lnTo>
                  <a:lnTo>
                    <a:pt x="4866" y="683"/>
                  </a:lnTo>
                  <a:lnTo>
                    <a:pt x="4870" y="683"/>
                  </a:lnTo>
                  <a:lnTo>
                    <a:pt x="4870" y="683"/>
                  </a:lnTo>
                  <a:lnTo>
                    <a:pt x="4875" y="683"/>
                  </a:lnTo>
                  <a:lnTo>
                    <a:pt x="4875" y="683"/>
                  </a:lnTo>
                  <a:lnTo>
                    <a:pt x="4875" y="678"/>
                  </a:lnTo>
                  <a:lnTo>
                    <a:pt x="4879" y="678"/>
                  </a:lnTo>
                  <a:lnTo>
                    <a:pt x="4879" y="678"/>
                  </a:lnTo>
                  <a:lnTo>
                    <a:pt x="4879" y="678"/>
                  </a:lnTo>
                  <a:lnTo>
                    <a:pt x="4879" y="678"/>
                  </a:lnTo>
                  <a:lnTo>
                    <a:pt x="4879" y="674"/>
                  </a:lnTo>
                  <a:lnTo>
                    <a:pt x="4884" y="674"/>
                  </a:lnTo>
                  <a:lnTo>
                    <a:pt x="4884" y="674"/>
                  </a:lnTo>
                  <a:lnTo>
                    <a:pt x="4884" y="674"/>
                  </a:lnTo>
                  <a:lnTo>
                    <a:pt x="4884" y="674"/>
                  </a:lnTo>
                  <a:lnTo>
                    <a:pt x="4884" y="674"/>
                  </a:lnTo>
                  <a:lnTo>
                    <a:pt x="4884" y="669"/>
                  </a:lnTo>
                  <a:lnTo>
                    <a:pt x="4884" y="669"/>
                  </a:lnTo>
                  <a:lnTo>
                    <a:pt x="4884" y="669"/>
                  </a:lnTo>
                  <a:lnTo>
                    <a:pt x="4884" y="674"/>
                  </a:lnTo>
                  <a:lnTo>
                    <a:pt x="4884" y="674"/>
                  </a:lnTo>
                  <a:lnTo>
                    <a:pt x="4879" y="674"/>
                  </a:lnTo>
                  <a:lnTo>
                    <a:pt x="4879" y="674"/>
                  </a:lnTo>
                  <a:lnTo>
                    <a:pt x="4875" y="669"/>
                  </a:lnTo>
                  <a:lnTo>
                    <a:pt x="4875" y="669"/>
                  </a:lnTo>
                  <a:lnTo>
                    <a:pt x="4870" y="665"/>
                  </a:lnTo>
                  <a:lnTo>
                    <a:pt x="4870" y="665"/>
                  </a:lnTo>
                  <a:close/>
                  <a:moveTo>
                    <a:pt x="4689" y="515"/>
                  </a:moveTo>
                  <a:lnTo>
                    <a:pt x="4694" y="515"/>
                  </a:lnTo>
                  <a:lnTo>
                    <a:pt x="4694" y="520"/>
                  </a:lnTo>
                  <a:lnTo>
                    <a:pt x="4698" y="520"/>
                  </a:lnTo>
                  <a:lnTo>
                    <a:pt x="4703" y="525"/>
                  </a:lnTo>
                  <a:lnTo>
                    <a:pt x="4707" y="529"/>
                  </a:lnTo>
                  <a:lnTo>
                    <a:pt x="4707" y="529"/>
                  </a:lnTo>
                  <a:lnTo>
                    <a:pt x="4712" y="534"/>
                  </a:lnTo>
                  <a:lnTo>
                    <a:pt x="4712" y="538"/>
                  </a:lnTo>
                  <a:lnTo>
                    <a:pt x="4716" y="538"/>
                  </a:lnTo>
                  <a:lnTo>
                    <a:pt x="4721" y="543"/>
                  </a:lnTo>
                  <a:lnTo>
                    <a:pt x="4721" y="543"/>
                  </a:lnTo>
                  <a:lnTo>
                    <a:pt x="4730" y="556"/>
                  </a:lnTo>
                  <a:lnTo>
                    <a:pt x="4735" y="561"/>
                  </a:lnTo>
                  <a:lnTo>
                    <a:pt x="4735" y="561"/>
                  </a:lnTo>
                  <a:lnTo>
                    <a:pt x="4739" y="565"/>
                  </a:lnTo>
                  <a:lnTo>
                    <a:pt x="4739" y="570"/>
                  </a:lnTo>
                  <a:lnTo>
                    <a:pt x="4744" y="574"/>
                  </a:lnTo>
                  <a:lnTo>
                    <a:pt x="4744" y="574"/>
                  </a:lnTo>
                  <a:lnTo>
                    <a:pt x="4744" y="574"/>
                  </a:lnTo>
                  <a:lnTo>
                    <a:pt x="4748" y="579"/>
                  </a:lnTo>
                  <a:lnTo>
                    <a:pt x="4753" y="579"/>
                  </a:lnTo>
                  <a:lnTo>
                    <a:pt x="4757" y="588"/>
                  </a:lnTo>
                  <a:lnTo>
                    <a:pt x="4762" y="588"/>
                  </a:lnTo>
                  <a:lnTo>
                    <a:pt x="4762" y="592"/>
                  </a:lnTo>
                  <a:lnTo>
                    <a:pt x="4762" y="592"/>
                  </a:lnTo>
                  <a:lnTo>
                    <a:pt x="4762" y="597"/>
                  </a:lnTo>
                  <a:lnTo>
                    <a:pt x="4766" y="597"/>
                  </a:lnTo>
                  <a:lnTo>
                    <a:pt x="4766" y="601"/>
                  </a:lnTo>
                  <a:lnTo>
                    <a:pt x="4771" y="601"/>
                  </a:lnTo>
                  <a:lnTo>
                    <a:pt x="4771" y="601"/>
                  </a:lnTo>
                  <a:lnTo>
                    <a:pt x="4775" y="606"/>
                  </a:lnTo>
                  <a:lnTo>
                    <a:pt x="4775" y="610"/>
                  </a:lnTo>
                  <a:lnTo>
                    <a:pt x="4780" y="615"/>
                  </a:lnTo>
                  <a:lnTo>
                    <a:pt x="4784" y="624"/>
                  </a:lnTo>
                  <a:lnTo>
                    <a:pt x="4789" y="624"/>
                  </a:lnTo>
                  <a:lnTo>
                    <a:pt x="4789" y="624"/>
                  </a:lnTo>
                  <a:lnTo>
                    <a:pt x="4789" y="624"/>
                  </a:lnTo>
                  <a:lnTo>
                    <a:pt x="4793" y="629"/>
                  </a:lnTo>
                  <a:lnTo>
                    <a:pt x="4793" y="624"/>
                  </a:lnTo>
                  <a:lnTo>
                    <a:pt x="4793" y="624"/>
                  </a:lnTo>
                  <a:lnTo>
                    <a:pt x="4789" y="619"/>
                  </a:lnTo>
                  <a:lnTo>
                    <a:pt x="4789" y="615"/>
                  </a:lnTo>
                  <a:lnTo>
                    <a:pt x="4789" y="615"/>
                  </a:lnTo>
                  <a:lnTo>
                    <a:pt x="4784" y="610"/>
                  </a:lnTo>
                  <a:lnTo>
                    <a:pt x="4784" y="610"/>
                  </a:lnTo>
                  <a:lnTo>
                    <a:pt x="4789" y="610"/>
                  </a:lnTo>
                  <a:lnTo>
                    <a:pt x="4789" y="610"/>
                  </a:lnTo>
                  <a:lnTo>
                    <a:pt x="4789" y="610"/>
                  </a:lnTo>
                  <a:lnTo>
                    <a:pt x="4789" y="610"/>
                  </a:lnTo>
                  <a:lnTo>
                    <a:pt x="4793" y="610"/>
                  </a:lnTo>
                  <a:lnTo>
                    <a:pt x="4793" y="610"/>
                  </a:lnTo>
                  <a:lnTo>
                    <a:pt x="4798" y="615"/>
                  </a:lnTo>
                  <a:lnTo>
                    <a:pt x="4802" y="615"/>
                  </a:lnTo>
                  <a:lnTo>
                    <a:pt x="4802" y="615"/>
                  </a:lnTo>
                  <a:lnTo>
                    <a:pt x="4807" y="619"/>
                  </a:lnTo>
                  <a:lnTo>
                    <a:pt x="4811" y="624"/>
                  </a:lnTo>
                  <a:lnTo>
                    <a:pt x="4807" y="624"/>
                  </a:lnTo>
                  <a:lnTo>
                    <a:pt x="4807" y="619"/>
                  </a:lnTo>
                  <a:lnTo>
                    <a:pt x="4807" y="619"/>
                  </a:lnTo>
                  <a:lnTo>
                    <a:pt x="4807" y="619"/>
                  </a:lnTo>
                  <a:lnTo>
                    <a:pt x="4807" y="615"/>
                  </a:lnTo>
                  <a:lnTo>
                    <a:pt x="4807" y="615"/>
                  </a:lnTo>
                  <a:lnTo>
                    <a:pt x="4802" y="610"/>
                  </a:lnTo>
                  <a:lnTo>
                    <a:pt x="4798" y="610"/>
                  </a:lnTo>
                  <a:lnTo>
                    <a:pt x="4798" y="606"/>
                  </a:lnTo>
                  <a:lnTo>
                    <a:pt x="4798" y="606"/>
                  </a:lnTo>
                  <a:lnTo>
                    <a:pt x="4793" y="606"/>
                  </a:lnTo>
                  <a:lnTo>
                    <a:pt x="4793" y="610"/>
                  </a:lnTo>
                  <a:lnTo>
                    <a:pt x="4793" y="606"/>
                  </a:lnTo>
                  <a:lnTo>
                    <a:pt x="4789" y="606"/>
                  </a:lnTo>
                  <a:lnTo>
                    <a:pt x="4784" y="601"/>
                  </a:lnTo>
                  <a:lnTo>
                    <a:pt x="4780" y="597"/>
                  </a:lnTo>
                  <a:lnTo>
                    <a:pt x="4780" y="597"/>
                  </a:lnTo>
                  <a:lnTo>
                    <a:pt x="4780" y="597"/>
                  </a:lnTo>
                  <a:lnTo>
                    <a:pt x="4780" y="597"/>
                  </a:lnTo>
                  <a:lnTo>
                    <a:pt x="4775" y="597"/>
                  </a:lnTo>
                  <a:lnTo>
                    <a:pt x="4775" y="597"/>
                  </a:lnTo>
                  <a:lnTo>
                    <a:pt x="4771" y="592"/>
                  </a:lnTo>
                  <a:lnTo>
                    <a:pt x="4771" y="592"/>
                  </a:lnTo>
                  <a:lnTo>
                    <a:pt x="4766" y="588"/>
                  </a:lnTo>
                  <a:lnTo>
                    <a:pt x="4762" y="583"/>
                  </a:lnTo>
                  <a:lnTo>
                    <a:pt x="4762" y="583"/>
                  </a:lnTo>
                  <a:lnTo>
                    <a:pt x="4753" y="570"/>
                  </a:lnTo>
                  <a:lnTo>
                    <a:pt x="4753" y="565"/>
                  </a:lnTo>
                  <a:lnTo>
                    <a:pt x="4753" y="561"/>
                  </a:lnTo>
                  <a:lnTo>
                    <a:pt x="4753" y="561"/>
                  </a:lnTo>
                  <a:lnTo>
                    <a:pt x="4753" y="561"/>
                  </a:lnTo>
                  <a:lnTo>
                    <a:pt x="4757" y="561"/>
                  </a:lnTo>
                  <a:lnTo>
                    <a:pt x="4757" y="561"/>
                  </a:lnTo>
                  <a:lnTo>
                    <a:pt x="4762" y="561"/>
                  </a:lnTo>
                  <a:lnTo>
                    <a:pt x="4762" y="561"/>
                  </a:lnTo>
                  <a:lnTo>
                    <a:pt x="4766" y="561"/>
                  </a:lnTo>
                  <a:lnTo>
                    <a:pt x="4771" y="561"/>
                  </a:lnTo>
                  <a:lnTo>
                    <a:pt x="4771" y="565"/>
                  </a:lnTo>
                  <a:lnTo>
                    <a:pt x="4775" y="565"/>
                  </a:lnTo>
                  <a:lnTo>
                    <a:pt x="4780" y="565"/>
                  </a:lnTo>
                  <a:lnTo>
                    <a:pt x="4780" y="570"/>
                  </a:lnTo>
                  <a:lnTo>
                    <a:pt x="4784" y="570"/>
                  </a:lnTo>
                  <a:lnTo>
                    <a:pt x="4780" y="565"/>
                  </a:lnTo>
                  <a:lnTo>
                    <a:pt x="4780" y="565"/>
                  </a:lnTo>
                  <a:lnTo>
                    <a:pt x="4775" y="565"/>
                  </a:lnTo>
                  <a:lnTo>
                    <a:pt x="4771" y="561"/>
                  </a:lnTo>
                  <a:lnTo>
                    <a:pt x="4766" y="561"/>
                  </a:lnTo>
                  <a:lnTo>
                    <a:pt x="4766" y="556"/>
                  </a:lnTo>
                  <a:lnTo>
                    <a:pt x="4762" y="556"/>
                  </a:lnTo>
                  <a:lnTo>
                    <a:pt x="4762" y="552"/>
                  </a:lnTo>
                  <a:lnTo>
                    <a:pt x="4757" y="552"/>
                  </a:lnTo>
                  <a:lnTo>
                    <a:pt x="4753" y="547"/>
                  </a:lnTo>
                  <a:lnTo>
                    <a:pt x="4744" y="538"/>
                  </a:lnTo>
                  <a:lnTo>
                    <a:pt x="4735" y="538"/>
                  </a:lnTo>
                  <a:lnTo>
                    <a:pt x="4721" y="525"/>
                  </a:lnTo>
                  <a:lnTo>
                    <a:pt x="4721" y="520"/>
                  </a:lnTo>
                  <a:lnTo>
                    <a:pt x="4716" y="520"/>
                  </a:lnTo>
                  <a:lnTo>
                    <a:pt x="4716" y="520"/>
                  </a:lnTo>
                  <a:lnTo>
                    <a:pt x="4716" y="520"/>
                  </a:lnTo>
                  <a:lnTo>
                    <a:pt x="4712" y="515"/>
                  </a:lnTo>
                  <a:lnTo>
                    <a:pt x="4712" y="515"/>
                  </a:lnTo>
                  <a:lnTo>
                    <a:pt x="4712" y="515"/>
                  </a:lnTo>
                  <a:lnTo>
                    <a:pt x="4707" y="515"/>
                  </a:lnTo>
                  <a:lnTo>
                    <a:pt x="4707" y="511"/>
                  </a:lnTo>
                  <a:lnTo>
                    <a:pt x="4703" y="511"/>
                  </a:lnTo>
                  <a:lnTo>
                    <a:pt x="4698" y="506"/>
                  </a:lnTo>
                  <a:lnTo>
                    <a:pt x="4694" y="502"/>
                  </a:lnTo>
                  <a:lnTo>
                    <a:pt x="4694" y="502"/>
                  </a:lnTo>
                  <a:lnTo>
                    <a:pt x="4694" y="497"/>
                  </a:lnTo>
                  <a:lnTo>
                    <a:pt x="4694" y="497"/>
                  </a:lnTo>
                  <a:lnTo>
                    <a:pt x="4694" y="497"/>
                  </a:lnTo>
                  <a:lnTo>
                    <a:pt x="4689" y="493"/>
                  </a:lnTo>
                  <a:lnTo>
                    <a:pt x="4685" y="488"/>
                  </a:lnTo>
                  <a:lnTo>
                    <a:pt x="4680" y="488"/>
                  </a:lnTo>
                  <a:lnTo>
                    <a:pt x="4680" y="484"/>
                  </a:lnTo>
                  <a:lnTo>
                    <a:pt x="4680" y="484"/>
                  </a:lnTo>
                  <a:lnTo>
                    <a:pt x="4671" y="479"/>
                  </a:lnTo>
                  <a:lnTo>
                    <a:pt x="4667" y="475"/>
                  </a:lnTo>
                  <a:lnTo>
                    <a:pt x="4667" y="475"/>
                  </a:lnTo>
                  <a:lnTo>
                    <a:pt x="4662" y="475"/>
                  </a:lnTo>
                  <a:lnTo>
                    <a:pt x="4662" y="470"/>
                  </a:lnTo>
                  <a:lnTo>
                    <a:pt x="4662" y="470"/>
                  </a:lnTo>
                  <a:lnTo>
                    <a:pt x="4662" y="470"/>
                  </a:lnTo>
                  <a:lnTo>
                    <a:pt x="4658" y="470"/>
                  </a:lnTo>
                  <a:lnTo>
                    <a:pt x="4653" y="466"/>
                  </a:lnTo>
                  <a:lnTo>
                    <a:pt x="4649" y="466"/>
                  </a:lnTo>
                  <a:lnTo>
                    <a:pt x="4653" y="466"/>
                  </a:lnTo>
                  <a:lnTo>
                    <a:pt x="4653" y="466"/>
                  </a:lnTo>
                  <a:lnTo>
                    <a:pt x="4653" y="466"/>
                  </a:lnTo>
                  <a:lnTo>
                    <a:pt x="4649" y="466"/>
                  </a:lnTo>
                  <a:lnTo>
                    <a:pt x="4653" y="470"/>
                  </a:lnTo>
                  <a:lnTo>
                    <a:pt x="4658" y="470"/>
                  </a:lnTo>
                  <a:lnTo>
                    <a:pt x="4662" y="475"/>
                  </a:lnTo>
                  <a:lnTo>
                    <a:pt x="4662" y="475"/>
                  </a:lnTo>
                  <a:lnTo>
                    <a:pt x="4662" y="475"/>
                  </a:lnTo>
                  <a:lnTo>
                    <a:pt x="4662" y="475"/>
                  </a:lnTo>
                  <a:lnTo>
                    <a:pt x="4662" y="479"/>
                  </a:lnTo>
                  <a:lnTo>
                    <a:pt x="4662" y="479"/>
                  </a:lnTo>
                  <a:lnTo>
                    <a:pt x="4662" y="479"/>
                  </a:lnTo>
                  <a:lnTo>
                    <a:pt x="4667" y="479"/>
                  </a:lnTo>
                  <a:lnTo>
                    <a:pt x="4667" y="484"/>
                  </a:lnTo>
                  <a:lnTo>
                    <a:pt x="4667" y="484"/>
                  </a:lnTo>
                  <a:lnTo>
                    <a:pt x="4667" y="484"/>
                  </a:lnTo>
                  <a:lnTo>
                    <a:pt x="4667" y="484"/>
                  </a:lnTo>
                  <a:lnTo>
                    <a:pt x="4662" y="484"/>
                  </a:lnTo>
                  <a:lnTo>
                    <a:pt x="4662" y="484"/>
                  </a:lnTo>
                  <a:lnTo>
                    <a:pt x="4658" y="484"/>
                  </a:lnTo>
                  <a:lnTo>
                    <a:pt x="4658" y="484"/>
                  </a:lnTo>
                  <a:lnTo>
                    <a:pt x="4662" y="484"/>
                  </a:lnTo>
                  <a:lnTo>
                    <a:pt x="4662" y="488"/>
                  </a:lnTo>
                  <a:lnTo>
                    <a:pt x="4667" y="493"/>
                  </a:lnTo>
                  <a:lnTo>
                    <a:pt x="4671" y="497"/>
                  </a:lnTo>
                  <a:lnTo>
                    <a:pt x="4676" y="502"/>
                  </a:lnTo>
                  <a:lnTo>
                    <a:pt x="4676" y="502"/>
                  </a:lnTo>
                  <a:lnTo>
                    <a:pt x="4676" y="502"/>
                  </a:lnTo>
                  <a:lnTo>
                    <a:pt x="4676" y="506"/>
                  </a:lnTo>
                  <a:lnTo>
                    <a:pt x="4685" y="511"/>
                  </a:lnTo>
                  <a:lnTo>
                    <a:pt x="4685" y="515"/>
                  </a:lnTo>
                  <a:lnTo>
                    <a:pt x="4689" y="515"/>
                  </a:lnTo>
                  <a:lnTo>
                    <a:pt x="4689" y="515"/>
                  </a:lnTo>
                  <a:lnTo>
                    <a:pt x="4689" y="515"/>
                  </a:lnTo>
                  <a:lnTo>
                    <a:pt x="4689" y="515"/>
                  </a:lnTo>
                  <a:close/>
                  <a:moveTo>
                    <a:pt x="4748" y="1248"/>
                  </a:moveTo>
                  <a:lnTo>
                    <a:pt x="4744" y="1248"/>
                  </a:lnTo>
                  <a:lnTo>
                    <a:pt x="4744" y="1248"/>
                  </a:lnTo>
                  <a:lnTo>
                    <a:pt x="4744" y="1248"/>
                  </a:lnTo>
                  <a:lnTo>
                    <a:pt x="4739" y="1248"/>
                  </a:lnTo>
                  <a:lnTo>
                    <a:pt x="4739" y="1248"/>
                  </a:lnTo>
                  <a:lnTo>
                    <a:pt x="4739" y="1243"/>
                  </a:lnTo>
                  <a:lnTo>
                    <a:pt x="4739" y="1243"/>
                  </a:lnTo>
                  <a:lnTo>
                    <a:pt x="4735" y="1243"/>
                  </a:lnTo>
                  <a:lnTo>
                    <a:pt x="4735" y="1243"/>
                  </a:lnTo>
                  <a:lnTo>
                    <a:pt x="4735" y="1243"/>
                  </a:lnTo>
                  <a:lnTo>
                    <a:pt x="4735" y="1248"/>
                  </a:lnTo>
                  <a:lnTo>
                    <a:pt x="4735" y="1248"/>
                  </a:lnTo>
                  <a:lnTo>
                    <a:pt x="4739" y="1252"/>
                  </a:lnTo>
                  <a:lnTo>
                    <a:pt x="4739" y="1252"/>
                  </a:lnTo>
                  <a:lnTo>
                    <a:pt x="4739" y="1252"/>
                  </a:lnTo>
                  <a:lnTo>
                    <a:pt x="4739" y="1252"/>
                  </a:lnTo>
                  <a:lnTo>
                    <a:pt x="4744" y="1261"/>
                  </a:lnTo>
                  <a:lnTo>
                    <a:pt x="4744" y="1261"/>
                  </a:lnTo>
                  <a:lnTo>
                    <a:pt x="4744" y="1266"/>
                  </a:lnTo>
                  <a:lnTo>
                    <a:pt x="4744" y="1266"/>
                  </a:lnTo>
                  <a:lnTo>
                    <a:pt x="4744" y="1271"/>
                  </a:lnTo>
                  <a:lnTo>
                    <a:pt x="4748" y="1275"/>
                  </a:lnTo>
                  <a:lnTo>
                    <a:pt x="4748" y="1275"/>
                  </a:lnTo>
                  <a:lnTo>
                    <a:pt x="4748" y="1275"/>
                  </a:lnTo>
                  <a:lnTo>
                    <a:pt x="4748" y="1275"/>
                  </a:lnTo>
                  <a:lnTo>
                    <a:pt x="4753" y="1275"/>
                  </a:lnTo>
                  <a:lnTo>
                    <a:pt x="4753" y="1280"/>
                  </a:lnTo>
                  <a:lnTo>
                    <a:pt x="4753" y="1280"/>
                  </a:lnTo>
                  <a:lnTo>
                    <a:pt x="4753" y="1280"/>
                  </a:lnTo>
                  <a:lnTo>
                    <a:pt x="4757" y="1280"/>
                  </a:lnTo>
                  <a:lnTo>
                    <a:pt x="4757" y="1280"/>
                  </a:lnTo>
                  <a:lnTo>
                    <a:pt x="4757" y="1280"/>
                  </a:lnTo>
                  <a:lnTo>
                    <a:pt x="4757" y="1280"/>
                  </a:lnTo>
                  <a:lnTo>
                    <a:pt x="4757" y="1275"/>
                  </a:lnTo>
                  <a:lnTo>
                    <a:pt x="4757" y="1271"/>
                  </a:lnTo>
                  <a:lnTo>
                    <a:pt x="4757" y="1275"/>
                  </a:lnTo>
                  <a:lnTo>
                    <a:pt x="4757" y="1275"/>
                  </a:lnTo>
                  <a:lnTo>
                    <a:pt x="4757" y="1275"/>
                  </a:lnTo>
                  <a:lnTo>
                    <a:pt x="4762" y="1275"/>
                  </a:lnTo>
                  <a:lnTo>
                    <a:pt x="4762" y="1275"/>
                  </a:lnTo>
                  <a:lnTo>
                    <a:pt x="4762" y="1280"/>
                  </a:lnTo>
                  <a:lnTo>
                    <a:pt x="4762" y="1280"/>
                  </a:lnTo>
                  <a:lnTo>
                    <a:pt x="4757" y="1284"/>
                  </a:lnTo>
                  <a:lnTo>
                    <a:pt x="4757" y="1284"/>
                  </a:lnTo>
                  <a:lnTo>
                    <a:pt x="4757" y="1289"/>
                  </a:lnTo>
                  <a:lnTo>
                    <a:pt x="4757" y="1289"/>
                  </a:lnTo>
                  <a:lnTo>
                    <a:pt x="4762" y="1293"/>
                  </a:lnTo>
                  <a:lnTo>
                    <a:pt x="4762" y="1293"/>
                  </a:lnTo>
                  <a:lnTo>
                    <a:pt x="4762" y="1293"/>
                  </a:lnTo>
                  <a:lnTo>
                    <a:pt x="4766" y="1293"/>
                  </a:lnTo>
                  <a:lnTo>
                    <a:pt x="4766" y="1293"/>
                  </a:lnTo>
                  <a:lnTo>
                    <a:pt x="4771" y="1298"/>
                  </a:lnTo>
                  <a:lnTo>
                    <a:pt x="4771" y="1298"/>
                  </a:lnTo>
                  <a:lnTo>
                    <a:pt x="4775" y="1298"/>
                  </a:lnTo>
                  <a:lnTo>
                    <a:pt x="4775" y="1298"/>
                  </a:lnTo>
                  <a:lnTo>
                    <a:pt x="4775" y="1293"/>
                  </a:lnTo>
                  <a:lnTo>
                    <a:pt x="4775" y="1293"/>
                  </a:lnTo>
                  <a:lnTo>
                    <a:pt x="4775" y="1293"/>
                  </a:lnTo>
                  <a:lnTo>
                    <a:pt x="4780" y="1293"/>
                  </a:lnTo>
                  <a:lnTo>
                    <a:pt x="4780" y="1293"/>
                  </a:lnTo>
                  <a:lnTo>
                    <a:pt x="4780" y="1293"/>
                  </a:lnTo>
                  <a:lnTo>
                    <a:pt x="4784" y="1293"/>
                  </a:lnTo>
                  <a:lnTo>
                    <a:pt x="4789" y="1298"/>
                  </a:lnTo>
                  <a:lnTo>
                    <a:pt x="4793" y="1298"/>
                  </a:lnTo>
                  <a:lnTo>
                    <a:pt x="4793" y="1302"/>
                  </a:lnTo>
                  <a:lnTo>
                    <a:pt x="4793" y="1302"/>
                  </a:lnTo>
                  <a:lnTo>
                    <a:pt x="4793" y="1302"/>
                  </a:lnTo>
                  <a:lnTo>
                    <a:pt x="4793" y="1307"/>
                  </a:lnTo>
                  <a:lnTo>
                    <a:pt x="4798" y="1307"/>
                  </a:lnTo>
                  <a:lnTo>
                    <a:pt x="4798" y="1307"/>
                  </a:lnTo>
                  <a:lnTo>
                    <a:pt x="4798" y="1302"/>
                  </a:lnTo>
                  <a:lnTo>
                    <a:pt x="4793" y="1298"/>
                  </a:lnTo>
                  <a:lnTo>
                    <a:pt x="4793" y="1298"/>
                  </a:lnTo>
                  <a:lnTo>
                    <a:pt x="4793" y="1298"/>
                  </a:lnTo>
                  <a:lnTo>
                    <a:pt x="4793" y="1298"/>
                  </a:lnTo>
                  <a:lnTo>
                    <a:pt x="4793" y="1293"/>
                  </a:lnTo>
                  <a:lnTo>
                    <a:pt x="4793" y="1293"/>
                  </a:lnTo>
                  <a:lnTo>
                    <a:pt x="4793" y="1293"/>
                  </a:lnTo>
                  <a:lnTo>
                    <a:pt x="4793" y="1293"/>
                  </a:lnTo>
                  <a:lnTo>
                    <a:pt x="4793" y="1293"/>
                  </a:lnTo>
                  <a:lnTo>
                    <a:pt x="4793" y="1293"/>
                  </a:lnTo>
                  <a:lnTo>
                    <a:pt x="4798" y="1293"/>
                  </a:lnTo>
                  <a:lnTo>
                    <a:pt x="4798" y="1298"/>
                  </a:lnTo>
                  <a:lnTo>
                    <a:pt x="4798" y="1298"/>
                  </a:lnTo>
                  <a:lnTo>
                    <a:pt x="4807" y="1302"/>
                  </a:lnTo>
                  <a:lnTo>
                    <a:pt x="4807" y="1302"/>
                  </a:lnTo>
                  <a:lnTo>
                    <a:pt x="4807" y="1302"/>
                  </a:lnTo>
                  <a:lnTo>
                    <a:pt x="4807" y="1307"/>
                  </a:lnTo>
                  <a:lnTo>
                    <a:pt x="4807" y="1307"/>
                  </a:lnTo>
                  <a:lnTo>
                    <a:pt x="4811" y="1307"/>
                  </a:lnTo>
                  <a:lnTo>
                    <a:pt x="4811" y="1307"/>
                  </a:lnTo>
                  <a:lnTo>
                    <a:pt x="4816" y="1311"/>
                  </a:lnTo>
                  <a:lnTo>
                    <a:pt x="4816" y="1311"/>
                  </a:lnTo>
                  <a:lnTo>
                    <a:pt x="4816" y="1311"/>
                  </a:lnTo>
                  <a:lnTo>
                    <a:pt x="4820" y="1311"/>
                  </a:lnTo>
                  <a:lnTo>
                    <a:pt x="4820" y="1311"/>
                  </a:lnTo>
                  <a:lnTo>
                    <a:pt x="4820" y="1311"/>
                  </a:lnTo>
                  <a:lnTo>
                    <a:pt x="4820" y="1311"/>
                  </a:lnTo>
                  <a:lnTo>
                    <a:pt x="4820" y="1316"/>
                  </a:lnTo>
                  <a:lnTo>
                    <a:pt x="4820" y="1316"/>
                  </a:lnTo>
                  <a:lnTo>
                    <a:pt x="4825" y="1320"/>
                  </a:lnTo>
                  <a:lnTo>
                    <a:pt x="4825" y="1316"/>
                  </a:lnTo>
                  <a:lnTo>
                    <a:pt x="4825" y="1307"/>
                  </a:lnTo>
                  <a:lnTo>
                    <a:pt x="4825" y="1307"/>
                  </a:lnTo>
                  <a:lnTo>
                    <a:pt x="4820" y="1307"/>
                  </a:lnTo>
                  <a:lnTo>
                    <a:pt x="4820" y="1307"/>
                  </a:lnTo>
                  <a:lnTo>
                    <a:pt x="4820" y="1307"/>
                  </a:lnTo>
                  <a:lnTo>
                    <a:pt x="4816" y="1307"/>
                  </a:lnTo>
                  <a:lnTo>
                    <a:pt x="4816" y="1307"/>
                  </a:lnTo>
                  <a:lnTo>
                    <a:pt x="4816" y="1302"/>
                  </a:lnTo>
                  <a:lnTo>
                    <a:pt x="4816" y="1302"/>
                  </a:lnTo>
                  <a:lnTo>
                    <a:pt x="4816" y="1302"/>
                  </a:lnTo>
                  <a:lnTo>
                    <a:pt x="4811" y="1298"/>
                  </a:lnTo>
                  <a:lnTo>
                    <a:pt x="4811" y="1298"/>
                  </a:lnTo>
                  <a:lnTo>
                    <a:pt x="4811" y="1293"/>
                  </a:lnTo>
                  <a:lnTo>
                    <a:pt x="4816" y="1293"/>
                  </a:lnTo>
                  <a:lnTo>
                    <a:pt x="4816" y="1293"/>
                  </a:lnTo>
                  <a:lnTo>
                    <a:pt x="4816" y="1293"/>
                  </a:lnTo>
                  <a:lnTo>
                    <a:pt x="4811" y="1293"/>
                  </a:lnTo>
                  <a:lnTo>
                    <a:pt x="4811" y="1293"/>
                  </a:lnTo>
                  <a:lnTo>
                    <a:pt x="4811" y="1293"/>
                  </a:lnTo>
                  <a:lnTo>
                    <a:pt x="4807" y="1289"/>
                  </a:lnTo>
                  <a:lnTo>
                    <a:pt x="4807" y="1289"/>
                  </a:lnTo>
                  <a:lnTo>
                    <a:pt x="4807" y="1289"/>
                  </a:lnTo>
                  <a:lnTo>
                    <a:pt x="4807" y="1289"/>
                  </a:lnTo>
                  <a:lnTo>
                    <a:pt x="4807" y="1289"/>
                  </a:lnTo>
                  <a:lnTo>
                    <a:pt x="4807" y="1289"/>
                  </a:lnTo>
                  <a:lnTo>
                    <a:pt x="4807" y="1293"/>
                  </a:lnTo>
                  <a:lnTo>
                    <a:pt x="4807" y="1293"/>
                  </a:lnTo>
                  <a:lnTo>
                    <a:pt x="4802" y="1293"/>
                  </a:lnTo>
                  <a:lnTo>
                    <a:pt x="4802" y="1293"/>
                  </a:lnTo>
                  <a:lnTo>
                    <a:pt x="4802" y="1293"/>
                  </a:lnTo>
                  <a:lnTo>
                    <a:pt x="4802" y="1293"/>
                  </a:lnTo>
                  <a:lnTo>
                    <a:pt x="4802" y="1289"/>
                  </a:lnTo>
                  <a:lnTo>
                    <a:pt x="4798" y="1289"/>
                  </a:lnTo>
                  <a:lnTo>
                    <a:pt x="4798" y="1284"/>
                  </a:lnTo>
                  <a:lnTo>
                    <a:pt x="4798" y="1284"/>
                  </a:lnTo>
                  <a:lnTo>
                    <a:pt x="4793" y="1284"/>
                  </a:lnTo>
                  <a:lnTo>
                    <a:pt x="4793" y="1284"/>
                  </a:lnTo>
                  <a:lnTo>
                    <a:pt x="4789" y="1284"/>
                  </a:lnTo>
                  <a:lnTo>
                    <a:pt x="4789" y="1284"/>
                  </a:lnTo>
                  <a:lnTo>
                    <a:pt x="4789" y="1284"/>
                  </a:lnTo>
                  <a:lnTo>
                    <a:pt x="4784" y="1284"/>
                  </a:lnTo>
                  <a:lnTo>
                    <a:pt x="4784" y="1289"/>
                  </a:lnTo>
                  <a:lnTo>
                    <a:pt x="4784" y="1289"/>
                  </a:lnTo>
                  <a:lnTo>
                    <a:pt x="4789" y="1289"/>
                  </a:lnTo>
                  <a:lnTo>
                    <a:pt x="4789" y="1289"/>
                  </a:lnTo>
                  <a:lnTo>
                    <a:pt x="4789" y="1289"/>
                  </a:lnTo>
                  <a:lnTo>
                    <a:pt x="4789" y="1293"/>
                  </a:lnTo>
                  <a:lnTo>
                    <a:pt x="4784" y="1293"/>
                  </a:lnTo>
                  <a:lnTo>
                    <a:pt x="4784" y="1293"/>
                  </a:lnTo>
                  <a:lnTo>
                    <a:pt x="4780" y="1289"/>
                  </a:lnTo>
                  <a:lnTo>
                    <a:pt x="4780" y="1289"/>
                  </a:lnTo>
                  <a:lnTo>
                    <a:pt x="4780" y="1289"/>
                  </a:lnTo>
                  <a:lnTo>
                    <a:pt x="4780" y="1289"/>
                  </a:lnTo>
                  <a:lnTo>
                    <a:pt x="4780" y="1284"/>
                  </a:lnTo>
                  <a:lnTo>
                    <a:pt x="4775" y="1280"/>
                  </a:lnTo>
                  <a:lnTo>
                    <a:pt x="4775" y="1280"/>
                  </a:lnTo>
                  <a:lnTo>
                    <a:pt x="4775" y="1275"/>
                  </a:lnTo>
                  <a:lnTo>
                    <a:pt x="4775" y="1275"/>
                  </a:lnTo>
                  <a:lnTo>
                    <a:pt x="4775" y="1275"/>
                  </a:lnTo>
                  <a:lnTo>
                    <a:pt x="4775" y="1275"/>
                  </a:lnTo>
                  <a:lnTo>
                    <a:pt x="4771" y="1271"/>
                  </a:lnTo>
                  <a:lnTo>
                    <a:pt x="4766" y="1266"/>
                  </a:lnTo>
                  <a:lnTo>
                    <a:pt x="4766" y="1266"/>
                  </a:lnTo>
                  <a:lnTo>
                    <a:pt x="4766" y="1261"/>
                  </a:lnTo>
                  <a:lnTo>
                    <a:pt x="4766" y="1261"/>
                  </a:lnTo>
                  <a:lnTo>
                    <a:pt x="4766" y="1261"/>
                  </a:lnTo>
                  <a:lnTo>
                    <a:pt x="4766" y="1261"/>
                  </a:lnTo>
                  <a:lnTo>
                    <a:pt x="4771" y="1257"/>
                  </a:lnTo>
                  <a:lnTo>
                    <a:pt x="4771" y="1257"/>
                  </a:lnTo>
                  <a:lnTo>
                    <a:pt x="4771" y="1257"/>
                  </a:lnTo>
                  <a:lnTo>
                    <a:pt x="4771" y="1252"/>
                  </a:lnTo>
                  <a:lnTo>
                    <a:pt x="4766" y="1252"/>
                  </a:lnTo>
                  <a:lnTo>
                    <a:pt x="4766" y="1252"/>
                  </a:lnTo>
                  <a:lnTo>
                    <a:pt x="4771" y="1248"/>
                  </a:lnTo>
                  <a:lnTo>
                    <a:pt x="4771" y="1248"/>
                  </a:lnTo>
                  <a:lnTo>
                    <a:pt x="4775" y="1248"/>
                  </a:lnTo>
                  <a:lnTo>
                    <a:pt x="4775" y="1243"/>
                  </a:lnTo>
                  <a:lnTo>
                    <a:pt x="4775" y="1243"/>
                  </a:lnTo>
                  <a:lnTo>
                    <a:pt x="4775" y="1239"/>
                  </a:lnTo>
                  <a:lnTo>
                    <a:pt x="4780" y="1234"/>
                  </a:lnTo>
                  <a:lnTo>
                    <a:pt x="4780" y="1230"/>
                  </a:lnTo>
                  <a:lnTo>
                    <a:pt x="4780" y="1225"/>
                  </a:lnTo>
                  <a:lnTo>
                    <a:pt x="4780" y="1225"/>
                  </a:lnTo>
                  <a:lnTo>
                    <a:pt x="4775" y="1225"/>
                  </a:lnTo>
                  <a:lnTo>
                    <a:pt x="4775" y="1225"/>
                  </a:lnTo>
                  <a:lnTo>
                    <a:pt x="4775" y="1225"/>
                  </a:lnTo>
                  <a:lnTo>
                    <a:pt x="4775" y="1221"/>
                  </a:lnTo>
                  <a:lnTo>
                    <a:pt x="4775" y="1221"/>
                  </a:lnTo>
                  <a:lnTo>
                    <a:pt x="4771" y="1221"/>
                  </a:lnTo>
                  <a:lnTo>
                    <a:pt x="4771" y="1221"/>
                  </a:lnTo>
                  <a:lnTo>
                    <a:pt x="4771" y="1216"/>
                  </a:lnTo>
                  <a:lnTo>
                    <a:pt x="4771" y="1216"/>
                  </a:lnTo>
                  <a:lnTo>
                    <a:pt x="4771" y="1212"/>
                  </a:lnTo>
                  <a:lnTo>
                    <a:pt x="4766" y="1207"/>
                  </a:lnTo>
                  <a:lnTo>
                    <a:pt x="4766" y="1207"/>
                  </a:lnTo>
                  <a:lnTo>
                    <a:pt x="4771" y="1203"/>
                  </a:lnTo>
                  <a:lnTo>
                    <a:pt x="4771" y="1203"/>
                  </a:lnTo>
                  <a:lnTo>
                    <a:pt x="4766" y="1198"/>
                  </a:lnTo>
                  <a:lnTo>
                    <a:pt x="4766" y="1198"/>
                  </a:lnTo>
                  <a:lnTo>
                    <a:pt x="4766" y="1198"/>
                  </a:lnTo>
                  <a:lnTo>
                    <a:pt x="4766" y="1198"/>
                  </a:lnTo>
                  <a:lnTo>
                    <a:pt x="4766" y="1203"/>
                  </a:lnTo>
                  <a:lnTo>
                    <a:pt x="4766" y="1203"/>
                  </a:lnTo>
                  <a:lnTo>
                    <a:pt x="4762" y="1203"/>
                  </a:lnTo>
                  <a:lnTo>
                    <a:pt x="4762" y="1203"/>
                  </a:lnTo>
                  <a:lnTo>
                    <a:pt x="4757" y="1203"/>
                  </a:lnTo>
                  <a:lnTo>
                    <a:pt x="4757" y="1203"/>
                  </a:lnTo>
                  <a:lnTo>
                    <a:pt x="4748" y="1198"/>
                  </a:lnTo>
                  <a:lnTo>
                    <a:pt x="4748" y="1198"/>
                  </a:lnTo>
                  <a:lnTo>
                    <a:pt x="4744" y="1198"/>
                  </a:lnTo>
                  <a:lnTo>
                    <a:pt x="4744" y="1198"/>
                  </a:lnTo>
                  <a:lnTo>
                    <a:pt x="4744" y="1198"/>
                  </a:lnTo>
                  <a:lnTo>
                    <a:pt x="4744" y="1198"/>
                  </a:lnTo>
                  <a:lnTo>
                    <a:pt x="4739" y="1198"/>
                  </a:lnTo>
                  <a:lnTo>
                    <a:pt x="4739" y="1198"/>
                  </a:lnTo>
                  <a:lnTo>
                    <a:pt x="4739" y="1203"/>
                  </a:lnTo>
                  <a:lnTo>
                    <a:pt x="4739" y="1203"/>
                  </a:lnTo>
                  <a:lnTo>
                    <a:pt x="4739" y="1207"/>
                  </a:lnTo>
                  <a:lnTo>
                    <a:pt x="4739" y="1216"/>
                  </a:lnTo>
                  <a:lnTo>
                    <a:pt x="4739" y="1221"/>
                  </a:lnTo>
                  <a:lnTo>
                    <a:pt x="4739" y="1221"/>
                  </a:lnTo>
                  <a:lnTo>
                    <a:pt x="4744" y="1221"/>
                  </a:lnTo>
                  <a:lnTo>
                    <a:pt x="4744" y="1225"/>
                  </a:lnTo>
                  <a:lnTo>
                    <a:pt x="4744" y="1230"/>
                  </a:lnTo>
                  <a:lnTo>
                    <a:pt x="4744" y="1230"/>
                  </a:lnTo>
                  <a:lnTo>
                    <a:pt x="4744" y="1234"/>
                  </a:lnTo>
                  <a:lnTo>
                    <a:pt x="4744" y="1239"/>
                  </a:lnTo>
                  <a:lnTo>
                    <a:pt x="4744" y="1239"/>
                  </a:lnTo>
                  <a:lnTo>
                    <a:pt x="4744" y="1243"/>
                  </a:lnTo>
                  <a:lnTo>
                    <a:pt x="4748" y="1243"/>
                  </a:lnTo>
                  <a:lnTo>
                    <a:pt x="4748" y="1248"/>
                  </a:lnTo>
                  <a:lnTo>
                    <a:pt x="4748" y="1248"/>
                  </a:lnTo>
                  <a:lnTo>
                    <a:pt x="4748" y="1248"/>
                  </a:lnTo>
                  <a:close/>
                  <a:moveTo>
                    <a:pt x="4816" y="886"/>
                  </a:moveTo>
                  <a:lnTo>
                    <a:pt x="4816" y="886"/>
                  </a:lnTo>
                  <a:lnTo>
                    <a:pt x="4811" y="886"/>
                  </a:lnTo>
                  <a:lnTo>
                    <a:pt x="4811" y="891"/>
                  </a:lnTo>
                  <a:lnTo>
                    <a:pt x="4811" y="891"/>
                  </a:lnTo>
                  <a:lnTo>
                    <a:pt x="4816" y="886"/>
                  </a:lnTo>
                  <a:lnTo>
                    <a:pt x="4816" y="886"/>
                  </a:lnTo>
                  <a:lnTo>
                    <a:pt x="4816" y="886"/>
                  </a:lnTo>
                  <a:lnTo>
                    <a:pt x="4816" y="891"/>
                  </a:lnTo>
                  <a:lnTo>
                    <a:pt x="4816" y="891"/>
                  </a:lnTo>
                  <a:lnTo>
                    <a:pt x="4820" y="891"/>
                  </a:lnTo>
                  <a:lnTo>
                    <a:pt x="4820" y="891"/>
                  </a:lnTo>
                  <a:lnTo>
                    <a:pt x="4820" y="891"/>
                  </a:lnTo>
                  <a:lnTo>
                    <a:pt x="4820" y="891"/>
                  </a:lnTo>
                  <a:lnTo>
                    <a:pt x="4820" y="895"/>
                  </a:lnTo>
                  <a:lnTo>
                    <a:pt x="4820" y="895"/>
                  </a:lnTo>
                  <a:lnTo>
                    <a:pt x="4820" y="895"/>
                  </a:lnTo>
                  <a:lnTo>
                    <a:pt x="4825" y="895"/>
                  </a:lnTo>
                  <a:lnTo>
                    <a:pt x="4825" y="895"/>
                  </a:lnTo>
                  <a:lnTo>
                    <a:pt x="4825" y="895"/>
                  </a:lnTo>
                  <a:lnTo>
                    <a:pt x="4825" y="900"/>
                  </a:lnTo>
                  <a:lnTo>
                    <a:pt x="4829" y="900"/>
                  </a:lnTo>
                  <a:lnTo>
                    <a:pt x="4829" y="900"/>
                  </a:lnTo>
                  <a:lnTo>
                    <a:pt x="4829" y="900"/>
                  </a:lnTo>
                  <a:lnTo>
                    <a:pt x="4829" y="900"/>
                  </a:lnTo>
                  <a:lnTo>
                    <a:pt x="4829" y="895"/>
                  </a:lnTo>
                  <a:lnTo>
                    <a:pt x="4829" y="895"/>
                  </a:lnTo>
                  <a:lnTo>
                    <a:pt x="4829" y="895"/>
                  </a:lnTo>
                  <a:lnTo>
                    <a:pt x="4829" y="895"/>
                  </a:lnTo>
                  <a:lnTo>
                    <a:pt x="4829" y="891"/>
                  </a:lnTo>
                  <a:lnTo>
                    <a:pt x="4829" y="886"/>
                  </a:lnTo>
                  <a:lnTo>
                    <a:pt x="4834" y="886"/>
                  </a:lnTo>
                  <a:lnTo>
                    <a:pt x="4834" y="886"/>
                  </a:lnTo>
                  <a:lnTo>
                    <a:pt x="4838" y="886"/>
                  </a:lnTo>
                  <a:lnTo>
                    <a:pt x="4838" y="886"/>
                  </a:lnTo>
                  <a:lnTo>
                    <a:pt x="4843" y="886"/>
                  </a:lnTo>
                  <a:lnTo>
                    <a:pt x="4847" y="891"/>
                  </a:lnTo>
                  <a:lnTo>
                    <a:pt x="4843" y="886"/>
                  </a:lnTo>
                  <a:lnTo>
                    <a:pt x="4843" y="886"/>
                  </a:lnTo>
                  <a:lnTo>
                    <a:pt x="4843" y="882"/>
                  </a:lnTo>
                  <a:lnTo>
                    <a:pt x="4843" y="882"/>
                  </a:lnTo>
                  <a:lnTo>
                    <a:pt x="4847" y="877"/>
                  </a:lnTo>
                  <a:lnTo>
                    <a:pt x="4847" y="877"/>
                  </a:lnTo>
                  <a:lnTo>
                    <a:pt x="4847" y="877"/>
                  </a:lnTo>
                  <a:lnTo>
                    <a:pt x="4847" y="873"/>
                  </a:lnTo>
                  <a:lnTo>
                    <a:pt x="4843" y="873"/>
                  </a:lnTo>
                  <a:lnTo>
                    <a:pt x="4843" y="873"/>
                  </a:lnTo>
                  <a:lnTo>
                    <a:pt x="4843" y="868"/>
                  </a:lnTo>
                  <a:lnTo>
                    <a:pt x="4838" y="868"/>
                  </a:lnTo>
                  <a:lnTo>
                    <a:pt x="4838" y="868"/>
                  </a:lnTo>
                  <a:lnTo>
                    <a:pt x="4834" y="868"/>
                  </a:lnTo>
                  <a:lnTo>
                    <a:pt x="4834" y="868"/>
                  </a:lnTo>
                  <a:lnTo>
                    <a:pt x="4829" y="868"/>
                  </a:lnTo>
                  <a:lnTo>
                    <a:pt x="4829" y="868"/>
                  </a:lnTo>
                  <a:lnTo>
                    <a:pt x="4829" y="868"/>
                  </a:lnTo>
                  <a:lnTo>
                    <a:pt x="4825" y="868"/>
                  </a:lnTo>
                  <a:lnTo>
                    <a:pt x="4825" y="868"/>
                  </a:lnTo>
                  <a:lnTo>
                    <a:pt x="4829" y="873"/>
                  </a:lnTo>
                  <a:lnTo>
                    <a:pt x="4829" y="873"/>
                  </a:lnTo>
                  <a:lnTo>
                    <a:pt x="4829" y="873"/>
                  </a:lnTo>
                  <a:lnTo>
                    <a:pt x="4825" y="877"/>
                  </a:lnTo>
                  <a:lnTo>
                    <a:pt x="4825" y="877"/>
                  </a:lnTo>
                  <a:lnTo>
                    <a:pt x="4825" y="877"/>
                  </a:lnTo>
                  <a:lnTo>
                    <a:pt x="4825" y="877"/>
                  </a:lnTo>
                  <a:lnTo>
                    <a:pt x="4820" y="877"/>
                  </a:lnTo>
                  <a:lnTo>
                    <a:pt x="4820" y="877"/>
                  </a:lnTo>
                  <a:lnTo>
                    <a:pt x="4816" y="873"/>
                  </a:lnTo>
                  <a:lnTo>
                    <a:pt x="4816" y="873"/>
                  </a:lnTo>
                  <a:lnTo>
                    <a:pt x="4816" y="873"/>
                  </a:lnTo>
                  <a:lnTo>
                    <a:pt x="4816" y="877"/>
                  </a:lnTo>
                  <a:lnTo>
                    <a:pt x="4816" y="877"/>
                  </a:lnTo>
                  <a:lnTo>
                    <a:pt x="4816" y="877"/>
                  </a:lnTo>
                  <a:lnTo>
                    <a:pt x="4816" y="882"/>
                  </a:lnTo>
                  <a:lnTo>
                    <a:pt x="4816" y="882"/>
                  </a:lnTo>
                  <a:lnTo>
                    <a:pt x="4816" y="882"/>
                  </a:lnTo>
                  <a:lnTo>
                    <a:pt x="4816" y="886"/>
                  </a:lnTo>
                  <a:close/>
                  <a:moveTo>
                    <a:pt x="4875" y="651"/>
                  </a:moveTo>
                  <a:lnTo>
                    <a:pt x="4879" y="651"/>
                  </a:lnTo>
                  <a:lnTo>
                    <a:pt x="4879" y="651"/>
                  </a:lnTo>
                  <a:lnTo>
                    <a:pt x="4879" y="651"/>
                  </a:lnTo>
                  <a:lnTo>
                    <a:pt x="4879" y="651"/>
                  </a:lnTo>
                  <a:lnTo>
                    <a:pt x="4875" y="651"/>
                  </a:lnTo>
                  <a:lnTo>
                    <a:pt x="4870" y="647"/>
                  </a:lnTo>
                  <a:lnTo>
                    <a:pt x="4870" y="647"/>
                  </a:lnTo>
                  <a:lnTo>
                    <a:pt x="4870" y="656"/>
                  </a:lnTo>
                  <a:lnTo>
                    <a:pt x="4870" y="656"/>
                  </a:lnTo>
                  <a:lnTo>
                    <a:pt x="4870" y="656"/>
                  </a:lnTo>
                  <a:lnTo>
                    <a:pt x="4870" y="656"/>
                  </a:lnTo>
                  <a:lnTo>
                    <a:pt x="4875" y="656"/>
                  </a:lnTo>
                  <a:lnTo>
                    <a:pt x="4875" y="660"/>
                  </a:lnTo>
                  <a:lnTo>
                    <a:pt x="4870" y="660"/>
                  </a:lnTo>
                  <a:lnTo>
                    <a:pt x="4875" y="665"/>
                  </a:lnTo>
                  <a:lnTo>
                    <a:pt x="4875" y="665"/>
                  </a:lnTo>
                  <a:lnTo>
                    <a:pt x="4875" y="665"/>
                  </a:lnTo>
                  <a:lnTo>
                    <a:pt x="4875" y="665"/>
                  </a:lnTo>
                  <a:lnTo>
                    <a:pt x="4875" y="660"/>
                  </a:lnTo>
                  <a:lnTo>
                    <a:pt x="4875" y="660"/>
                  </a:lnTo>
                  <a:lnTo>
                    <a:pt x="4875" y="656"/>
                  </a:lnTo>
                  <a:lnTo>
                    <a:pt x="4875" y="656"/>
                  </a:lnTo>
                  <a:lnTo>
                    <a:pt x="4875" y="651"/>
                  </a:lnTo>
                  <a:close/>
                  <a:moveTo>
                    <a:pt x="4847" y="1325"/>
                  </a:moveTo>
                  <a:lnTo>
                    <a:pt x="4847" y="1325"/>
                  </a:lnTo>
                  <a:lnTo>
                    <a:pt x="4847" y="1325"/>
                  </a:lnTo>
                  <a:lnTo>
                    <a:pt x="4847" y="1325"/>
                  </a:lnTo>
                  <a:lnTo>
                    <a:pt x="4847" y="1320"/>
                  </a:lnTo>
                  <a:lnTo>
                    <a:pt x="4847" y="1320"/>
                  </a:lnTo>
                  <a:lnTo>
                    <a:pt x="4843" y="1320"/>
                  </a:lnTo>
                  <a:lnTo>
                    <a:pt x="4843" y="1316"/>
                  </a:lnTo>
                  <a:lnTo>
                    <a:pt x="4838" y="1320"/>
                  </a:lnTo>
                  <a:lnTo>
                    <a:pt x="4834" y="1320"/>
                  </a:lnTo>
                  <a:lnTo>
                    <a:pt x="4829" y="1320"/>
                  </a:lnTo>
                  <a:lnTo>
                    <a:pt x="4829" y="1320"/>
                  </a:lnTo>
                  <a:lnTo>
                    <a:pt x="4829" y="1325"/>
                  </a:lnTo>
                  <a:lnTo>
                    <a:pt x="4834" y="1325"/>
                  </a:lnTo>
                  <a:lnTo>
                    <a:pt x="4834" y="1329"/>
                  </a:lnTo>
                  <a:lnTo>
                    <a:pt x="4834" y="1329"/>
                  </a:lnTo>
                  <a:lnTo>
                    <a:pt x="4838" y="1329"/>
                  </a:lnTo>
                  <a:lnTo>
                    <a:pt x="4838" y="1329"/>
                  </a:lnTo>
                  <a:lnTo>
                    <a:pt x="4838" y="1334"/>
                  </a:lnTo>
                  <a:lnTo>
                    <a:pt x="4838" y="1334"/>
                  </a:lnTo>
                  <a:lnTo>
                    <a:pt x="4838" y="1334"/>
                  </a:lnTo>
                  <a:lnTo>
                    <a:pt x="4843" y="1334"/>
                  </a:lnTo>
                  <a:lnTo>
                    <a:pt x="4843" y="1334"/>
                  </a:lnTo>
                  <a:lnTo>
                    <a:pt x="4843" y="1334"/>
                  </a:lnTo>
                  <a:lnTo>
                    <a:pt x="4843" y="1338"/>
                  </a:lnTo>
                  <a:lnTo>
                    <a:pt x="4843" y="1338"/>
                  </a:lnTo>
                  <a:lnTo>
                    <a:pt x="4843" y="1338"/>
                  </a:lnTo>
                  <a:lnTo>
                    <a:pt x="4843" y="1343"/>
                  </a:lnTo>
                  <a:lnTo>
                    <a:pt x="4847" y="1343"/>
                  </a:lnTo>
                  <a:lnTo>
                    <a:pt x="4847" y="1343"/>
                  </a:lnTo>
                  <a:lnTo>
                    <a:pt x="4847" y="1347"/>
                  </a:lnTo>
                  <a:lnTo>
                    <a:pt x="4852" y="1347"/>
                  </a:lnTo>
                  <a:lnTo>
                    <a:pt x="4852" y="1347"/>
                  </a:lnTo>
                  <a:lnTo>
                    <a:pt x="4856" y="1347"/>
                  </a:lnTo>
                  <a:lnTo>
                    <a:pt x="4856" y="1347"/>
                  </a:lnTo>
                  <a:lnTo>
                    <a:pt x="4856" y="1347"/>
                  </a:lnTo>
                  <a:lnTo>
                    <a:pt x="4856" y="1347"/>
                  </a:lnTo>
                  <a:lnTo>
                    <a:pt x="4856" y="1347"/>
                  </a:lnTo>
                  <a:lnTo>
                    <a:pt x="4856" y="1343"/>
                  </a:lnTo>
                  <a:lnTo>
                    <a:pt x="4856" y="1343"/>
                  </a:lnTo>
                  <a:lnTo>
                    <a:pt x="4856" y="1343"/>
                  </a:lnTo>
                  <a:lnTo>
                    <a:pt x="4856" y="1343"/>
                  </a:lnTo>
                  <a:lnTo>
                    <a:pt x="4852" y="1343"/>
                  </a:lnTo>
                  <a:lnTo>
                    <a:pt x="4852" y="1338"/>
                  </a:lnTo>
                  <a:lnTo>
                    <a:pt x="4852" y="1338"/>
                  </a:lnTo>
                  <a:lnTo>
                    <a:pt x="4852" y="1338"/>
                  </a:lnTo>
                  <a:lnTo>
                    <a:pt x="4852" y="1334"/>
                  </a:lnTo>
                  <a:lnTo>
                    <a:pt x="4852" y="1334"/>
                  </a:lnTo>
                  <a:lnTo>
                    <a:pt x="4852" y="1329"/>
                  </a:lnTo>
                  <a:lnTo>
                    <a:pt x="4852" y="1329"/>
                  </a:lnTo>
                  <a:lnTo>
                    <a:pt x="4852" y="1325"/>
                  </a:lnTo>
                  <a:lnTo>
                    <a:pt x="4852" y="1325"/>
                  </a:lnTo>
                  <a:lnTo>
                    <a:pt x="4847" y="1325"/>
                  </a:lnTo>
                  <a:close/>
                  <a:moveTo>
                    <a:pt x="4807" y="1338"/>
                  </a:moveTo>
                  <a:lnTo>
                    <a:pt x="4802" y="1338"/>
                  </a:lnTo>
                  <a:lnTo>
                    <a:pt x="4802" y="1338"/>
                  </a:lnTo>
                  <a:lnTo>
                    <a:pt x="4798" y="1338"/>
                  </a:lnTo>
                  <a:lnTo>
                    <a:pt x="4798" y="1338"/>
                  </a:lnTo>
                  <a:lnTo>
                    <a:pt x="4798" y="1334"/>
                  </a:lnTo>
                  <a:lnTo>
                    <a:pt x="4793" y="1334"/>
                  </a:lnTo>
                  <a:lnTo>
                    <a:pt x="4793" y="1334"/>
                  </a:lnTo>
                  <a:lnTo>
                    <a:pt x="4789" y="1334"/>
                  </a:lnTo>
                  <a:lnTo>
                    <a:pt x="4789" y="1334"/>
                  </a:lnTo>
                  <a:lnTo>
                    <a:pt x="4789" y="1334"/>
                  </a:lnTo>
                  <a:lnTo>
                    <a:pt x="4789" y="1334"/>
                  </a:lnTo>
                  <a:lnTo>
                    <a:pt x="4793" y="1338"/>
                  </a:lnTo>
                  <a:lnTo>
                    <a:pt x="4793" y="1338"/>
                  </a:lnTo>
                  <a:lnTo>
                    <a:pt x="4793" y="1338"/>
                  </a:lnTo>
                  <a:lnTo>
                    <a:pt x="4793" y="1343"/>
                  </a:lnTo>
                  <a:lnTo>
                    <a:pt x="4793" y="1347"/>
                  </a:lnTo>
                  <a:lnTo>
                    <a:pt x="4793" y="1352"/>
                  </a:lnTo>
                  <a:lnTo>
                    <a:pt x="4793" y="1352"/>
                  </a:lnTo>
                  <a:lnTo>
                    <a:pt x="4793" y="1356"/>
                  </a:lnTo>
                  <a:lnTo>
                    <a:pt x="4793" y="1356"/>
                  </a:lnTo>
                  <a:lnTo>
                    <a:pt x="4793" y="1356"/>
                  </a:lnTo>
                  <a:lnTo>
                    <a:pt x="4793" y="1361"/>
                  </a:lnTo>
                  <a:lnTo>
                    <a:pt x="4793" y="1361"/>
                  </a:lnTo>
                  <a:lnTo>
                    <a:pt x="4793" y="1361"/>
                  </a:lnTo>
                  <a:lnTo>
                    <a:pt x="4793" y="1361"/>
                  </a:lnTo>
                  <a:lnTo>
                    <a:pt x="4798" y="1361"/>
                  </a:lnTo>
                  <a:lnTo>
                    <a:pt x="4798" y="1361"/>
                  </a:lnTo>
                  <a:lnTo>
                    <a:pt x="4798" y="1356"/>
                  </a:lnTo>
                  <a:lnTo>
                    <a:pt x="4802" y="1356"/>
                  </a:lnTo>
                  <a:lnTo>
                    <a:pt x="4807" y="1356"/>
                  </a:lnTo>
                  <a:lnTo>
                    <a:pt x="4807" y="1356"/>
                  </a:lnTo>
                  <a:lnTo>
                    <a:pt x="4807" y="1352"/>
                  </a:lnTo>
                  <a:lnTo>
                    <a:pt x="4807" y="1352"/>
                  </a:lnTo>
                  <a:lnTo>
                    <a:pt x="4807" y="1352"/>
                  </a:lnTo>
                  <a:lnTo>
                    <a:pt x="4807" y="1352"/>
                  </a:lnTo>
                  <a:lnTo>
                    <a:pt x="4811" y="1347"/>
                  </a:lnTo>
                  <a:lnTo>
                    <a:pt x="4811" y="1347"/>
                  </a:lnTo>
                  <a:lnTo>
                    <a:pt x="4811" y="1347"/>
                  </a:lnTo>
                  <a:lnTo>
                    <a:pt x="4811" y="1343"/>
                  </a:lnTo>
                  <a:lnTo>
                    <a:pt x="4811" y="1343"/>
                  </a:lnTo>
                  <a:lnTo>
                    <a:pt x="4811" y="1343"/>
                  </a:lnTo>
                  <a:lnTo>
                    <a:pt x="4811" y="1338"/>
                  </a:lnTo>
                  <a:lnTo>
                    <a:pt x="4811" y="1338"/>
                  </a:lnTo>
                  <a:lnTo>
                    <a:pt x="4807" y="1343"/>
                  </a:lnTo>
                  <a:lnTo>
                    <a:pt x="4807" y="1343"/>
                  </a:lnTo>
                  <a:lnTo>
                    <a:pt x="4807" y="1338"/>
                  </a:lnTo>
                  <a:lnTo>
                    <a:pt x="4807" y="1338"/>
                  </a:lnTo>
                  <a:close/>
                  <a:moveTo>
                    <a:pt x="4843" y="1569"/>
                  </a:moveTo>
                  <a:lnTo>
                    <a:pt x="4847" y="1569"/>
                  </a:lnTo>
                  <a:lnTo>
                    <a:pt x="4847" y="1569"/>
                  </a:lnTo>
                  <a:lnTo>
                    <a:pt x="4852" y="1569"/>
                  </a:lnTo>
                  <a:lnTo>
                    <a:pt x="4852" y="1569"/>
                  </a:lnTo>
                  <a:lnTo>
                    <a:pt x="4852" y="1564"/>
                  </a:lnTo>
                  <a:lnTo>
                    <a:pt x="4852" y="1564"/>
                  </a:lnTo>
                  <a:lnTo>
                    <a:pt x="4856" y="1564"/>
                  </a:lnTo>
                  <a:lnTo>
                    <a:pt x="4856" y="1560"/>
                  </a:lnTo>
                  <a:lnTo>
                    <a:pt x="4856" y="1560"/>
                  </a:lnTo>
                  <a:lnTo>
                    <a:pt x="4861" y="1555"/>
                  </a:lnTo>
                  <a:lnTo>
                    <a:pt x="4861" y="1555"/>
                  </a:lnTo>
                  <a:lnTo>
                    <a:pt x="4861" y="1551"/>
                  </a:lnTo>
                  <a:lnTo>
                    <a:pt x="4866" y="1546"/>
                  </a:lnTo>
                  <a:lnTo>
                    <a:pt x="4866" y="1546"/>
                  </a:lnTo>
                  <a:lnTo>
                    <a:pt x="4866" y="1546"/>
                  </a:lnTo>
                  <a:lnTo>
                    <a:pt x="4866" y="1546"/>
                  </a:lnTo>
                  <a:lnTo>
                    <a:pt x="4866" y="1542"/>
                  </a:lnTo>
                  <a:lnTo>
                    <a:pt x="4866" y="1542"/>
                  </a:lnTo>
                  <a:lnTo>
                    <a:pt x="4861" y="1542"/>
                  </a:lnTo>
                  <a:lnTo>
                    <a:pt x="4861" y="1542"/>
                  </a:lnTo>
                  <a:lnTo>
                    <a:pt x="4861" y="1542"/>
                  </a:lnTo>
                  <a:lnTo>
                    <a:pt x="4856" y="1546"/>
                  </a:lnTo>
                  <a:lnTo>
                    <a:pt x="4856" y="1546"/>
                  </a:lnTo>
                  <a:lnTo>
                    <a:pt x="4856" y="1546"/>
                  </a:lnTo>
                  <a:lnTo>
                    <a:pt x="4856" y="1546"/>
                  </a:lnTo>
                  <a:lnTo>
                    <a:pt x="4856" y="1551"/>
                  </a:lnTo>
                  <a:lnTo>
                    <a:pt x="4856" y="1551"/>
                  </a:lnTo>
                  <a:lnTo>
                    <a:pt x="4852" y="1551"/>
                  </a:lnTo>
                  <a:lnTo>
                    <a:pt x="4852" y="1555"/>
                  </a:lnTo>
                  <a:lnTo>
                    <a:pt x="4843" y="1560"/>
                  </a:lnTo>
                  <a:lnTo>
                    <a:pt x="4843" y="1560"/>
                  </a:lnTo>
                  <a:lnTo>
                    <a:pt x="4834" y="1555"/>
                  </a:lnTo>
                  <a:lnTo>
                    <a:pt x="4829" y="1555"/>
                  </a:lnTo>
                  <a:lnTo>
                    <a:pt x="4829" y="1555"/>
                  </a:lnTo>
                  <a:lnTo>
                    <a:pt x="4825" y="1555"/>
                  </a:lnTo>
                  <a:lnTo>
                    <a:pt x="4825" y="1560"/>
                  </a:lnTo>
                  <a:lnTo>
                    <a:pt x="4825" y="1560"/>
                  </a:lnTo>
                  <a:lnTo>
                    <a:pt x="4825" y="1560"/>
                  </a:lnTo>
                  <a:lnTo>
                    <a:pt x="4820" y="1555"/>
                  </a:lnTo>
                  <a:lnTo>
                    <a:pt x="4820" y="1555"/>
                  </a:lnTo>
                  <a:lnTo>
                    <a:pt x="4816" y="1555"/>
                  </a:lnTo>
                  <a:lnTo>
                    <a:pt x="4811" y="1555"/>
                  </a:lnTo>
                  <a:lnTo>
                    <a:pt x="4807" y="1555"/>
                  </a:lnTo>
                  <a:lnTo>
                    <a:pt x="4802" y="1555"/>
                  </a:lnTo>
                  <a:lnTo>
                    <a:pt x="4802" y="1555"/>
                  </a:lnTo>
                  <a:lnTo>
                    <a:pt x="4802" y="1555"/>
                  </a:lnTo>
                  <a:lnTo>
                    <a:pt x="4802" y="1551"/>
                  </a:lnTo>
                  <a:lnTo>
                    <a:pt x="4802" y="1551"/>
                  </a:lnTo>
                  <a:lnTo>
                    <a:pt x="4798" y="1551"/>
                  </a:lnTo>
                  <a:lnTo>
                    <a:pt x="4798" y="1551"/>
                  </a:lnTo>
                  <a:lnTo>
                    <a:pt x="4798" y="1551"/>
                  </a:lnTo>
                  <a:lnTo>
                    <a:pt x="4798" y="1551"/>
                  </a:lnTo>
                  <a:lnTo>
                    <a:pt x="4793" y="1551"/>
                  </a:lnTo>
                  <a:lnTo>
                    <a:pt x="4793" y="1551"/>
                  </a:lnTo>
                  <a:lnTo>
                    <a:pt x="4793" y="1551"/>
                  </a:lnTo>
                  <a:lnTo>
                    <a:pt x="4793" y="1551"/>
                  </a:lnTo>
                  <a:lnTo>
                    <a:pt x="4789" y="1551"/>
                  </a:lnTo>
                  <a:lnTo>
                    <a:pt x="4789" y="1551"/>
                  </a:lnTo>
                  <a:lnTo>
                    <a:pt x="4789" y="1555"/>
                  </a:lnTo>
                  <a:lnTo>
                    <a:pt x="4789" y="1555"/>
                  </a:lnTo>
                  <a:lnTo>
                    <a:pt x="4789" y="1555"/>
                  </a:lnTo>
                  <a:lnTo>
                    <a:pt x="4784" y="1555"/>
                  </a:lnTo>
                  <a:lnTo>
                    <a:pt x="4784" y="1560"/>
                  </a:lnTo>
                  <a:lnTo>
                    <a:pt x="4784" y="1560"/>
                  </a:lnTo>
                  <a:lnTo>
                    <a:pt x="4784" y="1560"/>
                  </a:lnTo>
                  <a:lnTo>
                    <a:pt x="4780" y="1560"/>
                  </a:lnTo>
                  <a:lnTo>
                    <a:pt x="4780" y="1555"/>
                  </a:lnTo>
                  <a:lnTo>
                    <a:pt x="4780" y="1555"/>
                  </a:lnTo>
                  <a:lnTo>
                    <a:pt x="4780" y="1555"/>
                  </a:lnTo>
                  <a:lnTo>
                    <a:pt x="4780" y="1560"/>
                  </a:lnTo>
                  <a:lnTo>
                    <a:pt x="4780" y="1560"/>
                  </a:lnTo>
                  <a:lnTo>
                    <a:pt x="4775" y="1560"/>
                  </a:lnTo>
                  <a:lnTo>
                    <a:pt x="4775" y="1560"/>
                  </a:lnTo>
                  <a:lnTo>
                    <a:pt x="4775" y="1564"/>
                  </a:lnTo>
                  <a:lnTo>
                    <a:pt x="4775" y="1564"/>
                  </a:lnTo>
                  <a:lnTo>
                    <a:pt x="4775" y="1569"/>
                  </a:lnTo>
                  <a:lnTo>
                    <a:pt x="4771" y="1569"/>
                  </a:lnTo>
                  <a:lnTo>
                    <a:pt x="4771" y="1573"/>
                  </a:lnTo>
                  <a:lnTo>
                    <a:pt x="4775" y="1573"/>
                  </a:lnTo>
                  <a:lnTo>
                    <a:pt x="4771" y="1578"/>
                  </a:lnTo>
                  <a:lnTo>
                    <a:pt x="4771" y="1578"/>
                  </a:lnTo>
                  <a:lnTo>
                    <a:pt x="4771" y="1578"/>
                  </a:lnTo>
                  <a:lnTo>
                    <a:pt x="4771" y="1578"/>
                  </a:lnTo>
                  <a:lnTo>
                    <a:pt x="4771" y="1587"/>
                  </a:lnTo>
                  <a:lnTo>
                    <a:pt x="4771" y="1592"/>
                  </a:lnTo>
                  <a:lnTo>
                    <a:pt x="4771" y="1592"/>
                  </a:lnTo>
                  <a:lnTo>
                    <a:pt x="4771" y="1592"/>
                  </a:lnTo>
                  <a:lnTo>
                    <a:pt x="4771" y="1592"/>
                  </a:lnTo>
                  <a:lnTo>
                    <a:pt x="4771" y="1592"/>
                  </a:lnTo>
                  <a:lnTo>
                    <a:pt x="4771" y="1592"/>
                  </a:lnTo>
                  <a:lnTo>
                    <a:pt x="4766" y="1596"/>
                  </a:lnTo>
                  <a:lnTo>
                    <a:pt x="4762" y="1601"/>
                  </a:lnTo>
                  <a:lnTo>
                    <a:pt x="4762" y="1605"/>
                  </a:lnTo>
                  <a:lnTo>
                    <a:pt x="4762" y="1605"/>
                  </a:lnTo>
                  <a:lnTo>
                    <a:pt x="4762" y="1610"/>
                  </a:lnTo>
                  <a:lnTo>
                    <a:pt x="4762" y="1610"/>
                  </a:lnTo>
                  <a:lnTo>
                    <a:pt x="4762" y="1614"/>
                  </a:lnTo>
                  <a:lnTo>
                    <a:pt x="4762" y="1614"/>
                  </a:lnTo>
                  <a:lnTo>
                    <a:pt x="4762" y="1619"/>
                  </a:lnTo>
                  <a:lnTo>
                    <a:pt x="4762" y="1619"/>
                  </a:lnTo>
                  <a:lnTo>
                    <a:pt x="4762" y="1623"/>
                  </a:lnTo>
                  <a:lnTo>
                    <a:pt x="4762" y="1623"/>
                  </a:lnTo>
                  <a:lnTo>
                    <a:pt x="4757" y="1628"/>
                  </a:lnTo>
                  <a:lnTo>
                    <a:pt x="4757" y="1628"/>
                  </a:lnTo>
                  <a:lnTo>
                    <a:pt x="4757" y="1628"/>
                  </a:lnTo>
                  <a:lnTo>
                    <a:pt x="4753" y="1628"/>
                  </a:lnTo>
                  <a:lnTo>
                    <a:pt x="4753" y="1632"/>
                  </a:lnTo>
                  <a:lnTo>
                    <a:pt x="4753" y="1632"/>
                  </a:lnTo>
                  <a:lnTo>
                    <a:pt x="4753" y="1632"/>
                  </a:lnTo>
                  <a:lnTo>
                    <a:pt x="4753" y="1632"/>
                  </a:lnTo>
                  <a:lnTo>
                    <a:pt x="4753" y="1637"/>
                  </a:lnTo>
                  <a:lnTo>
                    <a:pt x="4753" y="1637"/>
                  </a:lnTo>
                  <a:lnTo>
                    <a:pt x="4753" y="1641"/>
                  </a:lnTo>
                  <a:lnTo>
                    <a:pt x="4753" y="1641"/>
                  </a:lnTo>
                  <a:lnTo>
                    <a:pt x="4753" y="1646"/>
                  </a:lnTo>
                  <a:lnTo>
                    <a:pt x="4753" y="1646"/>
                  </a:lnTo>
                  <a:lnTo>
                    <a:pt x="4757" y="1646"/>
                  </a:lnTo>
                  <a:lnTo>
                    <a:pt x="4762" y="1646"/>
                  </a:lnTo>
                  <a:lnTo>
                    <a:pt x="4762" y="1646"/>
                  </a:lnTo>
                  <a:lnTo>
                    <a:pt x="4762" y="1646"/>
                  </a:lnTo>
                  <a:lnTo>
                    <a:pt x="4766" y="1646"/>
                  </a:lnTo>
                  <a:lnTo>
                    <a:pt x="4766" y="1650"/>
                  </a:lnTo>
                  <a:lnTo>
                    <a:pt x="4766" y="1650"/>
                  </a:lnTo>
                  <a:lnTo>
                    <a:pt x="4766" y="1650"/>
                  </a:lnTo>
                  <a:lnTo>
                    <a:pt x="4766" y="1650"/>
                  </a:lnTo>
                  <a:lnTo>
                    <a:pt x="4766" y="1655"/>
                  </a:lnTo>
                  <a:lnTo>
                    <a:pt x="4766" y="1659"/>
                  </a:lnTo>
                  <a:lnTo>
                    <a:pt x="4766" y="1659"/>
                  </a:lnTo>
                  <a:lnTo>
                    <a:pt x="4766" y="1664"/>
                  </a:lnTo>
                  <a:lnTo>
                    <a:pt x="4766" y="1668"/>
                  </a:lnTo>
                  <a:lnTo>
                    <a:pt x="4766" y="1668"/>
                  </a:lnTo>
                  <a:lnTo>
                    <a:pt x="4762" y="1673"/>
                  </a:lnTo>
                  <a:lnTo>
                    <a:pt x="4762" y="1677"/>
                  </a:lnTo>
                  <a:lnTo>
                    <a:pt x="4762" y="1677"/>
                  </a:lnTo>
                  <a:lnTo>
                    <a:pt x="4762" y="1682"/>
                  </a:lnTo>
                  <a:lnTo>
                    <a:pt x="4762" y="1682"/>
                  </a:lnTo>
                  <a:lnTo>
                    <a:pt x="4762" y="1686"/>
                  </a:lnTo>
                  <a:lnTo>
                    <a:pt x="4762" y="1686"/>
                  </a:lnTo>
                  <a:lnTo>
                    <a:pt x="4762" y="1691"/>
                  </a:lnTo>
                  <a:lnTo>
                    <a:pt x="4766" y="1691"/>
                  </a:lnTo>
                  <a:lnTo>
                    <a:pt x="4766" y="1691"/>
                  </a:lnTo>
                  <a:lnTo>
                    <a:pt x="4766" y="1691"/>
                  </a:lnTo>
                  <a:lnTo>
                    <a:pt x="4771" y="1691"/>
                  </a:lnTo>
                  <a:lnTo>
                    <a:pt x="4771" y="1691"/>
                  </a:lnTo>
                  <a:lnTo>
                    <a:pt x="4771" y="1691"/>
                  </a:lnTo>
                  <a:lnTo>
                    <a:pt x="4775" y="1691"/>
                  </a:lnTo>
                  <a:lnTo>
                    <a:pt x="4775" y="1691"/>
                  </a:lnTo>
                  <a:lnTo>
                    <a:pt x="4775" y="1691"/>
                  </a:lnTo>
                  <a:lnTo>
                    <a:pt x="4780" y="1691"/>
                  </a:lnTo>
                  <a:lnTo>
                    <a:pt x="4780" y="1686"/>
                  </a:lnTo>
                  <a:lnTo>
                    <a:pt x="4780" y="1686"/>
                  </a:lnTo>
                  <a:lnTo>
                    <a:pt x="4775" y="1682"/>
                  </a:lnTo>
                  <a:lnTo>
                    <a:pt x="4775" y="1682"/>
                  </a:lnTo>
                  <a:lnTo>
                    <a:pt x="4775" y="1677"/>
                  </a:lnTo>
                  <a:lnTo>
                    <a:pt x="4780" y="1673"/>
                  </a:lnTo>
                  <a:lnTo>
                    <a:pt x="4780" y="1668"/>
                  </a:lnTo>
                  <a:lnTo>
                    <a:pt x="4780" y="1664"/>
                  </a:lnTo>
                  <a:lnTo>
                    <a:pt x="4780" y="1659"/>
                  </a:lnTo>
                  <a:lnTo>
                    <a:pt x="4780" y="1655"/>
                  </a:lnTo>
                  <a:lnTo>
                    <a:pt x="4780" y="1650"/>
                  </a:lnTo>
                  <a:lnTo>
                    <a:pt x="4780" y="1650"/>
                  </a:lnTo>
                  <a:lnTo>
                    <a:pt x="4780" y="1646"/>
                  </a:lnTo>
                  <a:lnTo>
                    <a:pt x="4780" y="1641"/>
                  </a:lnTo>
                  <a:lnTo>
                    <a:pt x="4780" y="1641"/>
                  </a:lnTo>
                  <a:lnTo>
                    <a:pt x="4780" y="1637"/>
                  </a:lnTo>
                  <a:lnTo>
                    <a:pt x="4780" y="1637"/>
                  </a:lnTo>
                  <a:lnTo>
                    <a:pt x="4780" y="1632"/>
                  </a:lnTo>
                  <a:lnTo>
                    <a:pt x="4784" y="1632"/>
                  </a:lnTo>
                  <a:lnTo>
                    <a:pt x="4784" y="1632"/>
                  </a:lnTo>
                  <a:lnTo>
                    <a:pt x="4789" y="1628"/>
                  </a:lnTo>
                  <a:lnTo>
                    <a:pt x="4789" y="1628"/>
                  </a:lnTo>
                  <a:lnTo>
                    <a:pt x="4793" y="1632"/>
                  </a:lnTo>
                  <a:lnTo>
                    <a:pt x="4793" y="1632"/>
                  </a:lnTo>
                  <a:lnTo>
                    <a:pt x="4793" y="1637"/>
                  </a:lnTo>
                  <a:lnTo>
                    <a:pt x="4793" y="1637"/>
                  </a:lnTo>
                  <a:lnTo>
                    <a:pt x="4793" y="1641"/>
                  </a:lnTo>
                  <a:lnTo>
                    <a:pt x="4793" y="1641"/>
                  </a:lnTo>
                  <a:lnTo>
                    <a:pt x="4789" y="1646"/>
                  </a:lnTo>
                  <a:lnTo>
                    <a:pt x="4789" y="1646"/>
                  </a:lnTo>
                  <a:lnTo>
                    <a:pt x="4789" y="1646"/>
                  </a:lnTo>
                  <a:lnTo>
                    <a:pt x="4789" y="1650"/>
                  </a:lnTo>
                  <a:lnTo>
                    <a:pt x="4798" y="1655"/>
                  </a:lnTo>
                  <a:lnTo>
                    <a:pt x="4798" y="1659"/>
                  </a:lnTo>
                  <a:lnTo>
                    <a:pt x="4798" y="1659"/>
                  </a:lnTo>
                  <a:lnTo>
                    <a:pt x="4802" y="1659"/>
                  </a:lnTo>
                  <a:lnTo>
                    <a:pt x="4802" y="1659"/>
                  </a:lnTo>
                  <a:lnTo>
                    <a:pt x="4802" y="1664"/>
                  </a:lnTo>
                  <a:lnTo>
                    <a:pt x="4798" y="1664"/>
                  </a:lnTo>
                  <a:lnTo>
                    <a:pt x="4798" y="1664"/>
                  </a:lnTo>
                  <a:lnTo>
                    <a:pt x="4798" y="1668"/>
                  </a:lnTo>
                  <a:lnTo>
                    <a:pt x="4798" y="1673"/>
                  </a:lnTo>
                  <a:lnTo>
                    <a:pt x="4798" y="1673"/>
                  </a:lnTo>
                  <a:lnTo>
                    <a:pt x="4802" y="1673"/>
                  </a:lnTo>
                  <a:lnTo>
                    <a:pt x="4802" y="1673"/>
                  </a:lnTo>
                  <a:lnTo>
                    <a:pt x="4807" y="1673"/>
                  </a:lnTo>
                  <a:lnTo>
                    <a:pt x="4807" y="1673"/>
                  </a:lnTo>
                  <a:lnTo>
                    <a:pt x="4807" y="1673"/>
                  </a:lnTo>
                  <a:lnTo>
                    <a:pt x="4807" y="1673"/>
                  </a:lnTo>
                  <a:lnTo>
                    <a:pt x="4807" y="1668"/>
                  </a:lnTo>
                  <a:lnTo>
                    <a:pt x="4811" y="1668"/>
                  </a:lnTo>
                  <a:lnTo>
                    <a:pt x="4811" y="1668"/>
                  </a:lnTo>
                  <a:lnTo>
                    <a:pt x="4816" y="1668"/>
                  </a:lnTo>
                  <a:lnTo>
                    <a:pt x="4820" y="1668"/>
                  </a:lnTo>
                  <a:lnTo>
                    <a:pt x="4820" y="1668"/>
                  </a:lnTo>
                  <a:lnTo>
                    <a:pt x="4820" y="1668"/>
                  </a:lnTo>
                  <a:lnTo>
                    <a:pt x="4820" y="1664"/>
                  </a:lnTo>
                  <a:lnTo>
                    <a:pt x="4820" y="1664"/>
                  </a:lnTo>
                  <a:lnTo>
                    <a:pt x="4820" y="1664"/>
                  </a:lnTo>
                  <a:lnTo>
                    <a:pt x="4825" y="1664"/>
                  </a:lnTo>
                  <a:lnTo>
                    <a:pt x="4825" y="1664"/>
                  </a:lnTo>
                  <a:lnTo>
                    <a:pt x="4825" y="1664"/>
                  </a:lnTo>
                  <a:lnTo>
                    <a:pt x="4825" y="1659"/>
                  </a:lnTo>
                  <a:lnTo>
                    <a:pt x="4825" y="1659"/>
                  </a:lnTo>
                  <a:lnTo>
                    <a:pt x="4825" y="1659"/>
                  </a:lnTo>
                  <a:lnTo>
                    <a:pt x="4820" y="1659"/>
                  </a:lnTo>
                  <a:lnTo>
                    <a:pt x="4820" y="1659"/>
                  </a:lnTo>
                  <a:lnTo>
                    <a:pt x="4820" y="1659"/>
                  </a:lnTo>
                  <a:lnTo>
                    <a:pt x="4820" y="1659"/>
                  </a:lnTo>
                  <a:lnTo>
                    <a:pt x="4820" y="1659"/>
                  </a:lnTo>
                  <a:lnTo>
                    <a:pt x="4820" y="1659"/>
                  </a:lnTo>
                  <a:lnTo>
                    <a:pt x="4820" y="1655"/>
                  </a:lnTo>
                  <a:lnTo>
                    <a:pt x="4820" y="1655"/>
                  </a:lnTo>
                  <a:lnTo>
                    <a:pt x="4816" y="1655"/>
                  </a:lnTo>
                  <a:lnTo>
                    <a:pt x="4816" y="1650"/>
                  </a:lnTo>
                  <a:lnTo>
                    <a:pt x="4816" y="1650"/>
                  </a:lnTo>
                  <a:lnTo>
                    <a:pt x="4816" y="1650"/>
                  </a:lnTo>
                  <a:lnTo>
                    <a:pt x="4811" y="1650"/>
                  </a:lnTo>
                  <a:lnTo>
                    <a:pt x="4811" y="1650"/>
                  </a:lnTo>
                  <a:lnTo>
                    <a:pt x="4811" y="1650"/>
                  </a:lnTo>
                  <a:lnTo>
                    <a:pt x="4811" y="1650"/>
                  </a:lnTo>
                  <a:lnTo>
                    <a:pt x="4816" y="1646"/>
                  </a:lnTo>
                  <a:lnTo>
                    <a:pt x="4816" y="1641"/>
                  </a:lnTo>
                  <a:lnTo>
                    <a:pt x="4816" y="1641"/>
                  </a:lnTo>
                  <a:lnTo>
                    <a:pt x="4816" y="1641"/>
                  </a:lnTo>
                  <a:lnTo>
                    <a:pt x="4816" y="1637"/>
                  </a:lnTo>
                  <a:lnTo>
                    <a:pt x="4816" y="1637"/>
                  </a:lnTo>
                  <a:lnTo>
                    <a:pt x="4816" y="1637"/>
                  </a:lnTo>
                  <a:lnTo>
                    <a:pt x="4816" y="1637"/>
                  </a:lnTo>
                  <a:lnTo>
                    <a:pt x="4811" y="1632"/>
                  </a:lnTo>
                  <a:lnTo>
                    <a:pt x="4811" y="1632"/>
                  </a:lnTo>
                  <a:lnTo>
                    <a:pt x="4807" y="1628"/>
                  </a:lnTo>
                  <a:lnTo>
                    <a:pt x="4807" y="1623"/>
                  </a:lnTo>
                  <a:lnTo>
                    <a:pt x="4807" y="1623"/>
                  </a:lnTo>
                  <a:lnTo>
                    <a:pt x="4807" y="1623"/>
                  </a:lnTo>
                  <a:lnTo>
                    <a:pt x="4802" y="1619"/>
                  </a:lnTo>
                  <a:lnTo>
                    <a:pt x="4802" y="1619"/>
                  </a:lnTo>
                  <a:lnTo>
                    <a:pt x="4802" y="1619"/>
                  </a:lnTo>
                  <a:lnTo>
                    <a:pt x="4798" y="1614"/>
                  </a:lnTo>
                  <a:lnTo>
                    <a:pt x="4798" y="1614"/>
                  </a:lnTo>
                  <a:lnTo>
                    <a:pt x="4798" y="1614"/>
                  </a:lnTo>
                  <a:lnTo>
                    <a:pt x="4798" y="1614"/>
                  </a:lnTo>
                  <a:lnTo>
                    <a:pt x="4802" y="1614"/>
                  </a:lnTo>
                  <a:lnTo>
                    <a:pt x="4802" y="1614"/>
                  </a:lnTo>
                  <a:lnTo>
                    <a:pt x="4802" y="1614"/>
                  </a:lnTo>
                  <a:lnTo>
                    <a:pt x="4807" y="1614"/>
                  </a:lnTo>
                  <a:lnTo>
                    <a:pt x="4807" y="1614"/>
                  </a:lnTo>
                  <a:lnTo>
                    <a:pt x="4807" y="1610"/>
                  </a:lnTo>
                  <a:lnTo>
                    <a:pt x="4811" y="1610"/>
                  </a:lnTo>
                  <a:lnTo>
                    <a:pt x="4816" y="1610"/>
                  </a:lnTo>
                  <a:lnTo>
                    <a:pt x="4816" y="1605"/>
                  </a:lnTo>
                  <a:lnTo>
                    <a:pt x="4820" y="1605"/>
                  </a:lnTo>
                  <a:lnTo>
                    <a:pt x="4820" y="1601"/>
                  </a:lnTo>
                  <a:lnTo>
                    <a:pt x="4825" y="1596"/>
                  </a:lnTo>
                  <a:lnTo>
                    <a:pt x="4825" y="1596"/>
                  </a:lnTo>
                  <a:lnTo>
                    <a:pt x="4825" y="1596"/>
                  </a:lnTo>
                  <a:lnTo>
                    <a:pt x="4825" y="1596"/>
                  </a:lnTo>
                  <a:lnTo>
                    <a:pt x="4829" y="1592"/>
                  </a:lnTo>
                  <a:lnTo>
                    <a:pt x="4829" y="1596"/>
                  </a:lnTo>
                  <a:lnTo>
                    <a:pt x="4829" y="1596"/>
                  </a:lnTo>
                  <a:lnTo>
                    <a:pt x="4834" y="1596"/>
                  </a:lnTo>
                  <a:lnTo>
                    <a:pt x="4834" y="1596"/>
                  </a:lnTo>
                  <a:lnTo>
                    <a:pt x="4834" y="1596"/>
                  </a:lnTo>
                  <a:lnTo>
                    <a:pt x="4834" y="1592"/>
                  </a:lnTo>
                  <a:lnTo>
                    <a:pt x="4834" y="1592"/>
                  </a:lnTo>
                  <a:lnTo>
                    <a:pt x="4834" y="1587"/>
                  </a:lnTo>
                  <a:lnTo>
                    <a:pt x="4834" y="1587"/>
                  </a:lnTo>
                  <a:lnTo>
                    <a:pt x="4829" y="1587"/>
                  </a:lnTo>
                  <a:lnTo>
                    <a:pt x="4829" y="1587"/>
                  </a:lnTo>
                  <a:lnTo>
                    <a:pt x="4825" y="1587"/>
                  </a:lnTo>
                  <a:lnTo>
                    <a:pt x="4825" y="1592"/>
                  </a:lnTo>
                  <a:lnTo>
                    <a:pt x="4825" y="1592"/>
                  </a:lnTo>
                  <a:lnTo>
                    <a:pt x="4825" y="1592"/>
                  </a:lnTo>
                  <a:lnTo>
                    <a:pt x="4825" y="1592"/>
                  </a:lnTo>
                  <a:lnTo>
                    <a:pt x="4820" y="1592"/>
                  </a:lnTo>
                  <a:lnTo>
                    <a:pt x="4820" y="1592"/>
                  </a:lnTo>
                  <a:lnTo>
                    <a:pt x="4816" y="1592"/>
                  </a:lnTo>
                  <a:lnTo>
                    <a:pt x="4811" y="1592"/>
                  </a:lnTo>
                  <a:lnTo>
                    <a:pt x="4811" y="1592"/>
                  </a:lnTo>
                  <a:lnTo>
                    <a:pt x="4811" y="1596"/>
                  </a:lnTo>
                  <a:lnTo>
                    <a:pt x="4811" y="1596"/>
                  </a:lnTo>
                  <a:lnTo>
                    <a:pt x="4807" y="1596"/>
                  </a:lnTo>
                  <a:lnTo>
                    <a:pt x="4807" y="1596"/>
                  </a:lnTo>
                  <a:lnTo>
                    <a:pt x="4807" y="1596"/>
                  </a:lnTo>
                  <a:lnTo>
                    <a:pt x="4802" y="1592"/>
                  </a:lnTo>
                  <a:lnTo>
                    <a:pt x="4802" y="1592"/>
                  </a:lnTo>
                  <a:lnTo>
                    <a:pt x="4802" y="1592"/>
                  </a:lnTo>
                  <a:lnTo>
                    <a:pt x="4802" y="1596"/>
                  </a:lnTo>
                  <a:lnTo>
                    <a:pt x="4798" y="1601"/>
                  </a:lnTo>
                  <a:lnTo>
                    <a:pt x="4798" y="1601"/>
                  </a:lnTo>
                  <a:lnTo>
                    <a:pt x="4793" y="1605"/>
                  </a:lnTo>
                  <a:lnTo>
                    <a:pt x="4793" y="1605"/>
                  </a:lnTo>
                  <a:lnTo>
                    <a:pt x="4793" y="1605"/>
                  </a:lnTo>
                  <a:lnTo>
                    <a:pt x="4789" y="1605"/>
                  </a:lnTo>
                  <a:lnTo>
                    <a:pt x="4789" y="1605"/>
                  </a:lnTo>
                  <a:lnTo>
                    <a:pt x="4789" y="1605"/>
                  </a:lnTo>
                  <a:lnTo>
                    <a:pt x="4784" y="1601"/>
                  </a:lnTo>
                  <a:lnTo>
                    <a:pt x="4784" y="1596"/>
                  </a:lnTo>
                  <a:lnTo>
                    <a:pt x="4784" y="1596"/>
                  </a:lnTo>
                  <a:lnTo>
                    <a:pt x="4780" y="1596"/>
                  </a:lnTo>
                  <a:lnTo>
                    <a:pt x="4780" y="1592"/>
                  </a:lnTo>
                  <a:lnTo>
                    <a:pt x="4775" y="1587"/>
                  </a:lnTo>
                  <a:lnTo>
                    <a:pt x="4775" y="1587"/>
                  </a:lnTo>
                  <a:lnTo>
                    <a:pt x="4775" y="1582"/>
                  </a:lnTo>
                  <a:lnTo>
                    <a:pt x="4775" y="1582"/>
                  </a:lnTo>
                  <a:lnTo>
                    <a:pt x="4775" y="1578"/>
                  </a:lnTo>
                  <a:lnTo>
                    <a:pt x="4775" y="1578"/>
                  </a:lnTo>
                  <a:lnTo>
                    <a:pt x="4775" y="1573"/>
                  </a:lnTo>
                  <a:lnTo>
                    <a:pt x="4780" y="1573"/>
                  </a:lnTo>
                  <a:lnTo>
                    <a:pt x="4780" y="1569"/>
                  </a:lnTo>
                  <a:lnTo>
                    <a:pt x="4780" y="1569"/>
                  </a:lnTo>
                  <a:lnTo>
                    <a:pt x="4780" y="1569"/>
                  </a:lnTo>
                  <a:lnTo>
                    <a:pt x="4784" y="1564"/>
                  </a:lnTo>
                  <a:lnTo>
                    <a:pt x="4784" y="1564"/>
                  </a:lnTo>
                  <a:lnTo>
                    <a:pt x="4789" y="1564"/>
                  </a:lnTo>
                  <a:lnTo>
                    <a:pt x="4793" y="1569"/>
                  </a:lnTo>
                  <a:lnTo>
                    <a:pt x="4793" y="1569"/>
                  </a:lnTo>
                  <a:lnTo>
                    <a:pt x="4802" y="1564"/>
                  </a:lnTo>
                  <a:lnTo>
                    <a:pt x="4802" y="1564"/>
                  </a:lnTo>
                  <a:lnTo>
                    <a:pt x="4802" y="1564"/>
                  </a:lnTo>
                  <a:lnTo>
                    <a:pt x="4807" y="1569"/>
                  </a:lnTo>
                  <a:lnTo>
                    <a:pt x="4807" y="1569"/>
                  </a:lnTo>
                  <a:lnTo>
                    <a:pt x="4811" y="1564"/>
                  </a:lnTo>
                  <a:lnTo>
                    <a:pt x="4816" y="1564"/>
                  </a:lnTo>
                  <a:lnTo>
                    <a:pt x="4825" y="1564"/>
                  </a:lnTo>
                  <a:lnTo>
                    <a:pt x="4829" y="1564"/>
                  </a:lnTo>
                  <a:lnTo>
                    <a:pt x="4829" y="1564"/>
                  </a:lnTo>
                  <a:lnTo>
                    <a:pt x="4829" y="1569"/>
                  </a:lnTo>
                  <a:lnTo>
                    <a:pt x="4834" y="1569"/>
                  </a:lnTo>
                  <a:lnTo>
                    <a:pt x="4834" y="1569"/>
                  </a:lnTo>
                  <a:lnTo>
                    <a:pt x="4838" y="1569"/>
                  </a:lnTo>
                  <a:lnTo>
                    <a:pt x="4838" y="1569"/>
                  </a:lnTo>
                  <a:lnTo>
                    <a:pt x="4843" y="1569"/>
                  </a:lnTo>
                  <a:close/>
                  <a:moveTo>
                    <a:pt x="4780" y="1307"/>
                  </a:moveTo>
                  <a:lnTo>
                    <a:pt x="4775" y="1307"/>
                  </a:lnTo>
                  <a:lnTo>
                    <a:pt x="4775" y="1307"/>
                  </a:lnTo>
                  <a:lnTo>
                    <a:pt x="4775" y="1302"/>
                  </a:lnTo>
                  <a:lnTo>
                    <a:pt x="4771" y="1302"/>
                  </a:lnTo>
                  <a:lnTo>
                    <a:pt x="4771" y="1302"/>
                  </a:lnTo>
                  <a:lnTo>
                    <a:pt x="4771" y="1302"/>
                  </a:lnTo>
                  <a:lnTo>
                    <a:pt x="4766" y="1302"/>
                  </a:lnTo>
                  <a:lnTo>
                    <a:pt x="4766" y="1302"/>
                  </a:lnTo>
                  <a:lnTo>
                    <a:pt x="4766" y="1302"/>
                  </a:lnTo>
                  <a:lnTo>
                    <a:pt x="4762" y="1302"/>
                  </a:lnTo>
                  <a:lnTo>
                    <a:pt x="4762" y="1302"/>
                  </a:lnTo>
                  <a:lnTo>
                    <a:pt x="4762" y="1302"/>
                  </a:lnTo>
                  <a:lnTo>
                    <a:pt x="4757" y="1302"/>
                  </a:lnTo>
                  <a:lnTo>
                    <a:pt x="4757" y="1302"/>
                  </a:lnTo>
                  <a:lnTo>
                    <a:pt x="4757" y="1302"/>
                  </a:lnTo>
                  <a:lnTo>
                    <a:pt x="4757" y="1302"/>
                  </a:lnTo>
                  <a:lnTo>
                    <a:pt x="4757" y="1302"/>
                  </a:lnTo>
                  <a:lnTo>
                    <a:pt x="4757" y="1302"/>
                  </a:lnTo>
                  <a:lnTo>
                    <a:pt x="4757" y="1302"/>
                  </a:lnTo>
                  <a:lnTo>
                    <a:pt x="4762" y="1307"/>
                  </a:lnTo>
                  <a:lnTo>
                    <a:pt x="4762" y="1307"/>
                  </a:lnTo>
                  <a:lnTo>
                    <a:pt x="4762" y="1307"/>
                  </a:lnTo>
                  <a:lnTo>
                    <a:pt x="4762" y="1307"/>
                  </a:lnTo>
                  <a:lnTo>
                    <a:pt x="4762" y="1307"/>
                  </a:lnTo>
                  <a:lnTo>
                    <a:pt x="4766" y="1311"/>
                  </a:lnTo>
                  <a:lnTo>
                    <a:pt x="4766" y="1316"/>
                  </a:lnTo>
                  <a:lnTo>
                    <a:pt x="4766" y="1316"/>
                  </a:lnTo>
                  <a:lnTo>
                    <a:pt x="4766" y="1316"/>
                  </a:lnTo>
                  <a:lnTo>
                    <a:pt x="4766" y="1316"/>
                  </a:lnTo>
                  <a:lnTo>
                    <a:pt x="4771" y="1316"/>
                  </a:lnTo>
                  <a:lnTo>
                    <a:pt x="4771" y="1320"/>
                  </a:lnTo>
                  <a:lnTo>
                    <a:pt x="4771" y="1320"/>
                  </a:lnTo>
                  <a:lnTo>
                    <a:pt x="4771" y="1320"/>
                  </a:lnTo>
                  <a:lnTo>
                    <a:pt x="4771" y="1325"/>
                  </a:lnTo>
                  <a:lnTo>
                    <a:pt x="4775" y="1325"/>
                  </a:lnTo>
                  <a:lnTo>
                    <a:pt x="4775" y="1325"/>
                  </a:lnTo>
                  <a:lnTo>
                    <a:pt x="4775" y="1325"/>
                  </a:lnTo>
                  <a:lnTo>
                    <a:pt x="4775" y="1325"/>
                  </a:lnTo>
                  <a:lnTo>
                    <a:pt x="4775" y="1325"/>
                  </a:lnTo>
                  <a:lnTo>
                    <a:pt x="4775" y="1325"/>
                  </a:lnTo>
                  <a:lnTo>
                    <a:pt x="4780" y="1325"/>
                  </a:lnTo>
                  <a:lnTo>
                    <a:pt x="4780" y="1325"/>
                  </a:lnTo>
                  <a:lnTo>
                    <a:pt x="4780" y="1325"/>
                  </a:lnTo>
                  <a:lnTo>
                    <a:pt x="4780" y="1325"/>
                  </a:lnTo>
                  <a:lnTo>
                    <a:pt x="4780" y="1325"/>
                  </a:lnTo>
                  <a:lnTo>
                    <a:pt x="4780" y="1320"/>
                  </a:lnTo>
                  <a:lnTo>
                    <a:pt x="4780" y="1320"/>
                  </a:lnTo>
                  <a:lnTo>
                    <a:pt x="4780" y="1320"/>
                  </a:lnTo>
                  <a:lnTo>
                    <a:pt x="4780" y="1316"/>
                  </a:lnTo>
                  <a:lnTo>
                    <a:pt x="4780" y="1316"/>
                  </a:lnTo>
                  <a:lnTo>
                    <a:pt x="4780" y="1311"/>
                  </a:lnTo>
                  <a:lnTo>
                    <a:pt x="4780" y="1311"/>
                  </a:lnTo>
                  <a:lnTo>
                    <a:pt x="4780" y="1307"/>
                  </a:lnTo>
                  <a:lnTo>
                    <a:pt x="4780" y="1307"/>
                  </a:lnTo>
                  <a:close/>
                  <a:moveTo>
                    <a:pt x="4820" y="1673"/>
                  </a:moveTo>
                  <a:lnTo>
                    <a:pt x="4820" y="1668"/>
                  </a:lnTo>
                  <a:lnTo>
                    <a:pt x="4820" y="1673"/>
                  </a:lnTo>
                  <a:lnTo>
                    <a:pt x="4816" y="1673"/>
                  </a:lnTo>
                  <a:lnTo>
                    <a:pt x="4811" y="1673"/>
                  </a:lnTo>
                  <a:lnTo>
                    <a:pt x="4811" y="1673"/>
                  </a:lnTo>
                  <a:lnTo>
                    <a:pt x="4811" y="1677"/>
                  </a:lnTo>
                  <a:lnTo>
                    <a:pt x="4811" y="1682"/>
                  </a:lnTo>
                  <a:lnTo>
                    <a:pt x="4811" y="1682"/>
                  </a:lnTo>
                  <a:lnTo>
                    <a:pt x="4811" y="1686"/>
                  </a:lnTo>
                  <a:lnTo>
                    <a:pt x="4811" y="1686"/>
                  </a:lnTo>
                  <a:lnTo>
                    <a:pt x="4811" y="1686"/>
                  </a:lnTo>
                  <a:lnTo>
                    <a:pt x="4811" y="1686"/>
                  </a:lnTo>
                  <a:lnTo>
                    <a:pt x="4816" y="1686"/>
                  </a:lnTo>
                  <a:lnTo>
                    <a:pt x="4816" y="1686"/>
                  </a:lnTo>
                  <a:lnTo>
                    <a:pt x="4816" y="1686"/>
                  </a:lnTo>
                  <a:lnTo>
                    <a:pt x="4816" y="1686"/>
                  </a:lnTo>
                  <a:lnTo>
                    <a:pt x="4816" y="1682"/>
                  </a:lnTo>
                  <a:lnTo>
                    <a:pt x="4816" y="1682"/>
                  </a:lnTo>
                  <a:lnTo>
                    <a:pt x="4820" y="1677"/>
                  </a:lnTo>
                  <a:lnTo>
                    <a:pt x="4820" y="1673"/>
                  </a:lnTo>
                  <a:close/>
                  <a:moveTo>
                    <a:pt x="4875" y="1397"/>
                  </a:moveTo>
                  <a:lnTo>
                    <a:pt x="4875" y="1393"/>
                  </a:lnTo>
                  <a:lnTo>
                    <a:pt x="4875" y="1393"/>
                  </a:lnTo>
                  <a:lnTo>
                    <a:pt x="4870" y="1388"/>
                  </a:lnTo>
                  <a:lnTo>
                    <a:pt x="4870" y="1388"/>
                  </a:lnTo>
                  <a:lnTo>
                    <a:pt x="4870" y="1384"/>
                  </a:lnTo>
                  <a:lnTo>
                    <a:pt x="4870" y="1384"/>
                  </a:lnTo>
                  <a:lnTo>
                    <a:pt x="4866" y="1384"/>
                  </a:lnTo>
                  <a:lnTo>
                    <a:pt x="4866" y="1384"/>
                  </a:lnTo>
                  <a:lnTo>
                    <a:pt x="4866" y="1379"/>
                  </a:lnTo>
                  <a:lnTo>
                    <a:pt x="4861" y="1379"/>
                  </a:lnTo>
                  <a:lnTo>
                    <a:pt x="4856" y="1375"/>
                  </a:lnTo>
                  <a:lnTo>
                    <a:pt x="4856" y="1375"/>
                  </a:lnTo>
                  <a:lnTo>
                    <a:pt x="4856" y="1379"/>
                  </a:lnTo>
                  <a:lnTo>
                    <a:pt x="4861" y="1384"/>
                  </a:lnTo>
                  <a:lnTo>
                    <a:pt x="4861" y="1388"/>
                  </a:lnTo>
                  <a:lnTo>
                    <a:pt x="4861" y="1393"/>
                  </a:lnTo>
                  <a:lnTo>
                    <a:pt x="4856" y="1393"/>
                  </a:lnTo>
                  <a:lnTo>
                    <a:pt x="4856" y="1388"/>
                  </a:lnTo>
                  <a:lnTo>
                    <a:pt x="4856" y="1388"/>
                  </a:lnTo>
                  <a:lnTo>
                    <a:pt x="4856" y="1393"/>
                  </a:lnTo>
                  <a:lnTo>
                    <a:pt x="4852" y="1393"/>
                  </a:lnTo>
                  <a:lnTo>
                    <a:pt x="4852" y="1393"/>
                  </a:lnTo>
                  <a:lnTo>
                    <a:pt x="4852" y="1393"/>
                  </a:lnTo>
                  <a:lnTo>
                    <a:pt x="4847" y="1393"/>
                  </a:lnTo>
                  <a:lnTo>
                    <a:pt x="4847" y="1393"/>
                  </a:lnTo>
                  <a:lnTo>
                    <a:pt x="4847" y="1393"/>
                  </a:lnTo>
                  <a:lnTo>
                    <a:pt x="4847" y="1397"/>
                  </a:lnTo>
                  <a:lnTo>
                    <a:pt x="4847" y="1402"/>
                  </a:lnTo>
                  <a:lnTo>
                    <a:pt x="4847" y="1402"/>
                  </a:lnTo>
                  <a:lnTo>
                    <a:pt x="4843" y="1397"/>
                  </a:lnTo>
                  <a:lnTo>
                    <a:pt x="4843" y="1397"/>
                  </a:lnTo>
                  <a:lnTo>
                    <a:pt x="4843" y="1402"/>
                  </a:lnTo>
                  <a:lnTo>
                    <a:pt x="4838" y="1402"/>
                  </a:lnTo>
                  <a:lnTo>
                    <a:pt x="4838" y="1402"/>
                  </a:lnTo>
                  <a:lnTo>
                    <a:pt x="4838" y="1406"/>
                  </a:lnTo>
                  <a:lnTo>
                    <a:pt x="4838" y="1406"/>
                  </a:lnTo>
                  <a:lnTo>
                    <a:pt x="4838" y="1406"/>
                  </a:lnTo>
                  <a:lnTo>
                    <a:pt x="4834" y="1411"/>
                  </a:lnTo>
                  <a:lnTo>
                    <a:pt x="4834" y="1411"/>
                  </a:lnTo>
                  <a:lnTo>
                    <a:pt x="4834" y="1411"/>
                  </a:lnTo>
                  <a:lnTo>
                    <a:pt x="4834" y="1411"/>
                  </a:lnTo>
                  <a:lnTo>
                    <a:pt x="4834" y="1411"/>
                  </a:lnTo>
                  <a:lnTo>
                    <a:pt x="4834" y="1406"/>
                  </a:lnTo>
                  <a:lnTo>
                    <a:pt x="4834" y="1406"/>
                  </a:lnTo>
                  <a:lnTo>
                    <a:pt x="4834" y="1402"/>
                  </a:lnTo>
                  <a:lnTo>
                    <a:pt x="4829" y="1402"/>
                  </a:lnTo>
                  <a:lnTo>
                    <a:pt x="4829" y="1397"/>
                  </a:lnTo>
                  <a:lnTo>
                    <a:pt x="4825" y="1397"/>
                  </a:lnTo>
                  <a:lnTo>
                    <a:pt x="4825" y="1397"/>
                  </a:lnTo>
                  <a:lnTo>
                    <a:pt x="4825" y="1397"/>
                  </a:lnTo>
                  <a:lnTo>
                    <a:pt x="4825" y="1397"/>
                  </a:lnTo>
                  <a:lnTo>
                    <a:pt x="4825" y="1402"/>
                  </a:lnTo>
                  <a:lnTo>
                    <a:pt x="4820" y="1402"/>
                  </a:lnTo>
                  <a:lnTo>
                    <a:pt x="4820" y="1402"/>
                  </a:lnTo>
                  <a:lnTo>
                    <a:pt x="4820" y="1402"/>
                  </a:lnTo>
                  <a:lnTo>
                    <a:pt x="4820" y="1402"/>
                  </a:lnTo>
                  <a:lnTo>
                    <a:pt x="4816" y="1402"/>
                  </a:lnTo>
                  <a:lnTo>
                    <a:pt x="4816" y="1406"/>
                  </a:lnTo>
                  <a:lnTo>
                    <a:pt x="4816" y="1406"/>
                  </a:lnTo>
                  <a:lnTo>
                    <a:pt x="4820" y="1406"/>
                  </a:lnTo>
                  <a:lnTo>
                    <a:pt x="4816" y="1411"/>
                  </a:lnTo>
                  <a:lnTo>
                    <a:pt x="4816" y="1411"/>
                  </a:lnTo>
                  <a:lnTo>
                    <a:pt x="4811" y="1411"/>
                  </a:lnTo>
                  <a:lnTo>
                    <a:pt x="4811" y="1411"/>
                  </a:lnTo>
                  <a:lnTo>
                    <a:pt x="4807" y="1411"/>
                  </a:lnTo>
                  <a:lnTo>
                    <a:pt x="4807" y="1411"/>
                  </a:lnTo>
                  <a:lnTo>
                    <a:pt x="4807" y="1415"/>
                  </a:lnTo>
                  <a:lnTo>
                    <a:pt x="4802" y="1415"/>
                  </a:lnTo>
                  <a:lnTo>
                    <a:pt x="4802" y="1415"/>
                  </a:lnTo>
                  <a:lnTo>
                    <a:pt x="4802" y="1420"/>
                  </a:lnTo>
                  <a:lnTo>
                    <a:pt x="4802" y="1424"/>
                  </a:lnTo>
                  <a:lnTo>
                    <a:pt x="4802" y="1429"/>
                  </a:lnTo>
                  <a:lnTo>
                    <a:pt x="4802" y="1429"/>
                  </a:lnTo>
                  <a:lnTo>
                    <a:pt x="4802" y="1433"/>
                  </a:lnTo>
                  <a:lnTo>
                    <a:pt x="4802" y="1433"/>
                  </a:lnTo>
                  <a:lnTo>
                    <a:pt x="4802" y="1433"/>
                  </a:lnTo>
                  <a:lnTo>
                    <a:pt x="4807" y="1433"/>
                  </a:lnTo>
                  <a:lnTo>
                    <a:pt x="4807" y="1433"/>
                  </a:lnTo>
                  <a:lnTo>
                    <a:pt x="4807" y="1433"/>
                  </a:lnTo>
                  <a:lnTo>
                    <a:pt x="4807" y="1429"/>
                  </a:lnTo>
                  <a:lnTo>
                    <a:pt x="4807" y="1424"/>
                  </a:lnTo>
                  <a:lnTo>
                    <a:pt x="4811" y="1420"/>
                  </a:lnTo>
                  <a:lnTo>
                    <a:pt x="4811" y="1420"/>
                  </a:lnTo>
                  <a:lnTo>
                    <a:pt x="4811" y="1420"/>
                  </a:lnTo>
                  <a:lnTo>
                    <a:pt x="4811" y="1415"/>
                  </a:lnTo>
                  <a:lnTo>
                    <a:pt x="4816" y="1415"/>
                  </a:lnTo>
                  <a:lnTo>
                    <a:pt x="4816" y="1420"/>
                  </a:lnTo>
                  <a:lnTo>
                    <a:pt x="4816" y="1420"/>
                  </a:lnTo>
                  <a:lnTo>
                    <a:pt x="4816" y="1420"/>
                  </a:lnTo>
                  <a:lnTo>
                    <a:pt x="4820" y="1420"/>
                  </a:lnTo>
                  <a:lnTo>
                    <a:pt x="4820" y="1420"/>
                  </a:lnTo>
                  <a:lnTo>
                    <a:pt x="4820" y="1420"/>
                  </a:lnTo>
                  <a:lnTo>
                    <a:pt x="4820" y="1420"/>
                  </a:lnTo>
                  <a:lnTo>
                    <a:pt x="4820" y="1420"/>
                  </a:lnTo>
                  <a:lnTo>
                    <a:pt x="4820" y="1420"/>
                  </a:lnTo>
                  <a:lnTo>
                    <a:pt x="4820" y="1420"/>
                  </a:lnTo>
                  <a:lnTo>
                    <a:pt x="4825" y="1420"/>
                  </a:lnTo>
                  <a:lnTo>
                    <a:pt x="4825" y="1424"/>
                  </a:lnTo>
                  <a:lnTo>
                    <a:pt x="4825" y="1424"/>
                  </a:lnTo>
                  <a:lnTo>
                    <a:pt x="4829" y="1420"/>
                  </a:lnTo>
                  <a:lnTo>
                    <a:pt x="4829" y="1420"/>
                  </a:lnTo>
                  <a:lnTo>
                    <a:pt x="4829" y="1415"/>
                  </a:lnTo>
                  <a:lnTo>
                    <a:pt x="4829" y="1415"/>
                  </a:lnTo>
                  <a:lnTo>
                    <a:pt x="4829" y="1415"/>
                  </a:lnTo>
                  <a:lnTo>
                    <a:pt x="4829" y="1415"/>
                  </a:lnTo>
                  <a:lnTo>
                    <a:pt x="4829" y="1415"/>
                  </a:lnTo>
                  <a:lnTo>
                    <a:pt x="4834" y="1415"/>
                  </a:lnTo>
                  <a:lnTo>
                    <a:pt x="4834" y="1415"/>
                  </a:lnTo>
                  <a:lnTo>
                    <a:pt x="4838" y="1420"/>
                  </a:lnTo>
                  <a:lnTo>
                    <a:pt x="4838" y="1420"/>
                  </a:lnTo>
                  <a:lnTo>
                    <a:pt x="4838" y="1424"/>
                  </a:lnTo>
                  <a:lnTo>
                    <a:pt x="4843" y="1424"/>
                  </a:lnTo>
                  <a:lnTo>
                    <a:pt x="4843" y="1424"/>
                  </a:lnTo>
                  <a:lnTo>
                    <a:pt x="4843" y="1429"/>
                  </a:lnTo>
                  <a:lnTo>
                    <a:pt x="4838" y="1429"/>
                  </a:lnTo>
                  <a:lnTo>
                    <a:pt x="4838" y="1429"/>
                  </a:lnTo>
                  <a:lnTo>
                    <a:pt x="4838" y="1429"/>
                  </a:lnTo>
                  <a:lnTo>
                    <a:pt x="4838" y="1433"/>
                  </a:lnTo>
                  <a:lnTo>
                    <a:pt x="4838" y="1433"/>
                  </a:lnTo>
                  <a:lnTo>
                    <a:pt x="4838" y="1433"/>
                  </a:lnTo>
                  <a:lnTo>
                    <a:pt x="4838" y="1438"/>
                  </a:lnTo>
                  <a:lnTo>
                    <a:pt x="4838" y="1442"/>
                  </a:lnTo>
                  <a:lnTo>
                    <a:pt x="4843" y="1442"/>
                  </a:lnTo>
                  <a:lnTo>
                    <a:pt x="4843" y="1447"/>
                  </a:lnTo>
                  <a:lnTo>
                    <a:pt x="4847" y="1451"/>
                  </a:lnTo>
                  <a:lnTo>
                    <a:pt x="4852" y="1451"/>
                  </a:lnTo>
                  <a:lnTo>
                    <a:pt x="4856" y="1456"/>
                  </a:lnTo>
                  <a:lnTo>
                    <a:pt x="4856" y="1456"/>
                  </a:lnTo>
                  <a:lnTo>
                    <a:pt x="4856" y="1456"/>
                  </a:lnTo>
                  <a:lnTo>
                    <a:pt x="4861" y="1456"/>
                  </a:lnTo>
                  <a:lnTo>
                    <a:pt x="4861" y="1451"/>
                  </a:lnTo>
                  <a:lnTo>
                    <a:pt x="4861" y="1451"/>
                  </a:lnTo>
                  <a:lnTo>
                    <a:pt x="4861" y="1451"/>
                  </a:lnTo>
                  <a:lnTo>
                    <a:pt x="4861" y="1451"/>
                  </a:lnTo>
                  <a:lnTo>
                    <a:pt x="4861" y="1456"/>
                  </a:lnTo>
                  <a:lnTo>
                    <a:pt x="4861" y="1456"/>
                  </a:lnTo>
                  <a:lnTo>
                    <a:pt x="4861" y="1456"/>
                  </a:lnTo>
                  <a:lnTo>
                    <a:pt x="4861" y="1460"/>
                  </a:lnTo>
                  <a:lnTo>
                    <a:pt x="4866" y="1460"/>
                  </a:lnTo>
                  <a:lnTo>
                    <a:pt x="4866" y="1460"/>
                  </a:lnTo>
                  <a:lnTo>
                    <a:pt x="4870" y="1456"/>
                  </a:lnTo>
                  <a:lnTo>
                    <a:pt x="4870" y="1451"/>
                  </a:lnTo>
                  <a:lnTo>
                    <a:pt x="4870" y="1447"/>
                  </a:lnTo>
                  <a:lnTo>
                    <a:pt x="4866" y="1442"/>
                  </a:lnTo>
                  <a:lnTo>
                    <a:pt x="4866" y="1442"/>
                  </a:lnTo>
                  <a:lnTo>
                    <a:pt x="4866" y="1442"/>
                  </a:lnTo>
                  <a:lnTo>
                    <a:pt x="4866" y="1438"/>
                  </a:lnTo>
                  <a:lnTo>
                    <a:pt x="4861" y="1438"/>
                  </a:lnTo>
                  <a:lnTo>
                    <a:pt x="4861" y="1438"/>
                  </a:lnTo>
                  <a:lnTo>
                    <a:pt x="4866" y="1433"/>
                  </a:lnTo>
                  <a:lnTo>
                    <a:pt x="4866" y="1433"/>
                  </a:lnTo>
                  <a:lnTo>
                    <a:pt x="4866" y="1429"/>
                  </a:lnTo>
                  <a:lnTo>
                    <a:pt x="4866" y="1429"/>
                  </a:lnTo>
                  <a:lnTo>
                    <a:pt x="4866" y="1429"/>
                  </a:lnTo>
                  <a:lnTo>
                    <a:pt x="4866" y="1424"/>
                  </a:lnTo>
                  <a:lnTo>
                    <a:pt x="4870" y="1424"/>
                  </a:lnTo>
                  <a:lnTo>
                    <a:pt x="4870" y="1424"/>
                  </a:lnTo>
                  <a:lnTo>
                    <a:pt x="4870" y="1429"/>
                  </a:lnTo>
                  <a:lnTo>
                    <a:pt x="4870" y="1433"/>
                  </a:lnTo>
                  <a:lnTo>
                    <a:pt x="4875" y="1433"/>
                  </a:lnTo>
                  <a:lnTo>
                    <a:pt x="4875" y="1433"/>
                  </a:lnTo>
                  <a:lnTo>
                    <a:pt x="4875" y="1438"/>
                  </a:lnTo>
                  <a:lnTo>
                    <a:pt x="4875" y="1442"/>
                  </a:lnTo>
                  <a:lnTo>
                    <a:pt x="4875" y="1442"/>
                  </a:lnTo>
                  <a:lnTo>
                    <a:pt x="4879" y="1447"/>
                  </a:lnTo>
                  <a:lnTo>
                    <a:pt x="4879" y="1442"/>
                  </a:lnTo>
                  <a:lnTo>
                    <a:pt x="4879" y="1438"/>
                  </a:lnTo>
                  <a:lnTo>
                    <a:pt x="4875" y="1433"/>
                  </a:lnTo>
                  <a:lnTo>
                    <a:pt x="4879" y="1433"/>
                  </a:lnTo>
                  <a:lnTo>
                    <a:pt x="4879" y="1433"/>
                  </a:lnTo>
                  <a:lnTo>
                    <a:pt x="4879" y="1433"/>
                  </a:lnTo>
                  <a:lnTo>
                    <a:pt x="4884" y="1429"/>
                  </a:lnTo>
                  <a:lnTo>
                    <a:pt x="4884" y="1424"/>
                  </a:lnTo>
                  <a:lnTo>
                    <a:pt x="4884" y="1424"/>
                  </a:lnTo>
                  <a:lnTo>
                    <a:pt x="4884" y="1420"/>
                  </a:lnTo>
                  <a:lnTo>
                    <a:pt x="4884" y="1420"/>
                  </a:lnTo>
                  <a:lnTo>
                    <a:pt x="4879" y="1415"/>
                  </a:lnTo>
                  <a:lnTo>
                    <a:pt x="4879" y="1415"/>
                  </a:lnTo>
                  <a:lnTo>
                    <a:pt x="4879" y="1415"/>
                  </a:lnTo>
                  <a:lnTo>
                    <a:pt x="4879" y="1411"/>
                  </a:lnTo>
                  <a:lnTo>
                    <a:pt x="4879" y="1406"/>
                  </a:lnTo>
                  <a:lnTo>
                    <a:pt x="4879" y="1406"/>
                  </a:lnTo>
                  <a:lnTo>
                    <a:pt x="4875" y="1406"/>
                  </a:lnTo>
                  <a:lnTo>
                    <a:pt x="4875" y="1402"/>
                  </a:lnTo>
                  <a:lnTo>
                    <a:pt x="4875" y="1402"/>
                  </a:lnTo>
                  <a:lnTo>
                    <a:pt x="4875" y="1402"/>
                  </a:lnTo>
                  <a:lnTo>
                    <a:pt x="4870" y="1397"/>
                  </a:lnTo>
                  <a:lnTo>
                    <a:pt x="4870" y="1397"/>
                  </a:lnTo>
                  <a:lnTo>
                    <a:pt x="4875" y="1397"/>
                  </a:lnTo>
                  <a:lnTo>
                    <a:pt x="4875" y="1397"/>
                  </a:lnTo>
                  <a:close/>
                  <a:moveTo>
                    <a:pt x="4829" y="1610"/>
                  </a:moveTo>
                  <a:lnTo>
                    <a:pt x="4829" y="1610"/>
                  </a:lnTo>
                  <a:lnTo>
                    <a:pt x="4829" y="1610"/>
                  </a:lnTo>
                  <a:lnTo>
                    <a:pt x="4829" y="1610"/>
                  </a:lnTo>
                  <a:lnTo>
                    <a:pt x="4834" y="1605"/>
                  </a:lnTo>
                  <a:lnTo>
                    <a:pt x="4834" y="1605"/>
                  </a:lnTo>
                  <a:lnTo>
                    <a:pt x="4834" y="1605"/>
                  </a:lnTo>
                  <a:lnTo>
                    <a:pt x="4834" y="1605"/>
                  </a:lnTo>
                  <a:lnTo>
                    <a:pt x="4838" y="1605"/>
                  </a:lnTo>
                  <a:lnTo>
                    <a:pt x="4838" y="1605"/>
                  </a:lnTo>
                  <a:lnTo>
                    <a:pt x="4838" y="1601"/>
                  </a:lnTo>
                  <a:lnTo>
                    <a:pt x="4834" y="1601"/>
                  </a:lnTo>
                  <a:lnTo>
                    <a:pt x="4834" y="1601"/>
                  </a:lnTo>
                  <a:lnTo>
                    <a:pt x="4834" y="1601"/>
                  </a:lnTo>
                  <a:lnTo>
                    <a:pt x="4829" y="1605"/>
                  </a:lnTo>
                  <a:lnTo>
                    <a:pt x="4829" y="1601"/>
                  </a:lnTo>
                  <a:lnTo>
                    <a:pt x="4829" y="1601"/>
                  </a:lnTo>
                  <a:lnTo>
                    <a:pt x="4829" y="1601"/>
                  </a:lnTo>
                  <a:lnTo>
                    <a:pt x="4829" y="1601"/>
                  </a:lnTo>
                  <a:lnTo>
                    <a:pt x="4825" y="1601"/>
                  </a:lnTo>
                  <a:lnTo>
                    <a:pt x="4825" y="1601"/>
                  </a:lnTo>
                  <a:lnTo>
                    <a:pt x="4825" y="1601"/>
                  </a:lnTo>
                  <a:lnTo>
                    <a:pt x="4825" y="1605"/>
                  </a:lnTo>
                  <a:lnTo>
                    <a:pt x="4825" y="1610"/>
                  </a:lnTo>
                  <a:lnTo>
                    <a:pt x="4825" y="1610"/>
                  </a:lnTo>
                  <a:lnTo>
                    <a:pt x="4829" y="1605"/>
                  </a:lnTo>
                  <a:lnTo>
                    <a:pt x="4829" y="1605"/>
                  </a:lnTo>
                  <a:lnTo>
                    <a:pt x="4829" y="1601"/>
                  </a:lnTo>
                  <a:lnTo>
                    <a:pt x="4829" y="1605"/>
                  </a:lnTo>
                  <a:lnTo>
                    <a:pt x="4829" y="1610"/>
                  </a:lnTo>
                  <a:lnTo>
                    <a:pt x="4829" y="1610"/>
                  </a:lnTo>
                  <a:close/>
                  <a:moveTo>
                    <a:pt x="1694" y="59"/>
                  </a:moveTo>
                  <a:lnTo>
                    <a:pt x="1699" y="59"/>
                  </a:lnTo>
                  <a:lnTo>
                    <a:pt x="1703" y="59"/>
                  </a:lnTo>
                  <a:lnTo>
                    <a:pt x="1703" y="63"/>
                  </a:lnTo>
                  <a:lnTo>
                    <a:pt x="1708" y="63"/>
                  </a:lnTo>
                  <a:lnTo>
                    <a:pt x="1708" y="63"/>
                  </a:lnTo>
                  <a:lnTo>
                    <a:pt x="1708" y="59"/>
                  </a:lnTo>
                  <a:lnTo>
                    <a:pt x="1712" y="59"/>
                  </a:lnTo>
                  <a:lnTo>
                    <a:pt x="1712" y="59"/>
                  </a:lnTo>
                  <a:lnTo>
                    <a:pt x="1712" y="59"/>
                  </a:lnTo>
                  <a:lnTo>
                    <a:pt x="1712" y="63"/>
                  </a:lnTo>
                  <a:lnTo>
                    <a:pt x="1712" y="63"/>
                  </a:lnTo>
                  <a:lnTo>
                    <a:pt x="1717" y="63"/>
                  </a:lnTo>
                  <a:lnTo>
                    <a:pt x="1717" y="63"/>
                  </a:lnTo>
                  <a:lnTo>
                    <a:pt x="1721" y="63"/>
                  </a:lnTo>
                  <a:lnTo>
                    <a:pt x="1721" y="63"/>
                  </a:lnTo>
                  <a:lnTo>
                    <a:pt x="1726" y="63"/>
                  </a:lnTo>
                  <a:lnTo>
                    <a:pt x="1726" y="63"/>
                  </a:lnTo>
                  <a:lnTo>
                    <a:pt x="1726" y="63"/>
                  </a:lnTo>
                  <a:lnTo>
                    <a:pt x="1726" y="59"/>
                  </a:lnTo>
                  <a:lnTo>
                    <a:pt x="1730" y="59"/>
                  </a:lnTo>
                  <a:lnTo>
                    <a:pt x="1730" y="59"/>
                  </a:lnTo>
                  <a:lnTo>
                    <a:pt x="1730" y="59"/>
                  </a:lnTo>
                  <a:lnTo>
                    <a:pt x="1730" y="59"/>
                  </a:lnTo>
                  <a:lnTo>
                    <a:pt x="1730" y="59"/>
                  </a:lnTo>
                  <a:lnTo>
                    <a:pt x="1730" y="59"/>
                  </a:lnTo>
                  <a:lnTo>
                    <a:pt x="1730" y="59"/>
                  </a:lnTo>
                  <a:lnTo>
                    <a:pt x="1730" y="54"/>
                  </a:lnTo>
                  <a:lnTo>
                    <a:pt x="1730" y="54"/>
                  </a:lnTo>
                  <a:lnTo>
                    <a:pt x="1726" y="54"/>
                  </a:lnTo>
                  <a:lnTo>
                    <a:pt x="1726" y="54"/>
                  </a:lnTo>
                  <a:lnTo>
                    <a:pt x="1721" y="54"/>
                  </a:lnTo>
                  <a:lnTo>
                    <a:pt x="1721" y="54"/>
                  </a:lnTo>
                  <a:lnTo>
                    <a:pt x="1717" y="54"/>
                  </a:lnTo>
                  <a:lnTo>
                    <a:pt x="1712" y="54"/>
                  </a:lnTo>
                  <a:lnTo>
                    <a:pt x="1712" y="59"/>
                  </a:lnTo>
                  <a:lnTo>
                    <a:pt x="1708" y="59"/>
                  </a:lnTo>
                  <a:lnTo>
                    <a:pt x="1703" y="59"/>
                  </a:lnTo>
                  <a:lnTo>
                    <a:pt x="1699" y="59"/>
                  </a:lnTo>
                  <a:lnTo>
                    <a:pt x="1694" y="59"/>
                  </a:lnTo>
                  <a:lnTo>
                    <a:pt x="1694" y="59"/>
                  </a:lnTo>
                  <a:lnTo>
                    <a:pt x="1690" y="59"/>
                  </a:lnTo>
                  <a:lnTo>
                    <a:pt x="1690" y="59"/>
                  </a:lnTo>
                  <a:lnTo>
                    <a:pt x="1690" y="59"/>
                  </a:lnTo>
                  <a:lnTo>
                    <a:pt x="1694" y="59"/>
                  </a:lnTo>
                  <a:close/>
                  <a:moveTo>
                    <a:pt x="4102" y="1433"/>
                  </a:moveTo>
                  <a:lnTo>
                    <a:pt x="4102" y="1429"/>
                  </a:lnTo>
                  <a:lnTo>
                    <a:pt x="4102" y="1429"/>
                  </a:lnTo>
                  <a:lnTo>
                    <a:pt x="4102" y="1429"/>
                  </a:lnTo>
                  <a:lnTo>
                    <a:pt x="4102" y="1424"/>
                  </a:lnTo>
                  <a:lnTo>
                    <a:pt x="4102" y="1424"/>
                  </a:lnTo>
                  <a:lnTo>
                    <a:pt x="4102" y="1424"/>
                  </a:lnTo>
                  <a:lnTo>
                    <a:pt x="4098" y="1420"/>
                  </a:lnTo>
                  <a:lnTo>
                    <a:pt x="4098" y="1420"/>
                  </a:lnTo>
                  <a:lnTo>
                    <a:pt x="4098" y="1415"/>
                  </a:lnTo>
                  <a:lnTo>
                    <a:pt x="4093" y="1411"/>
                  </a:lnTo>
                  <a:lnTo>
                    <a:pt x="4093" y="1411"/>
                  </a:lnTo>
                  <a:lnTo>
                    <a:pt x="4093" y="1411"/>
                  </a:lnTo>
                  <a:lnTo>
                    <a:pt x="4093" y="1411"/>
                  </a:lnTo>
                  <a:lnTo>
                    <a:pt x="4093" y="1411"/>
                  </a:lnTo>
                  <a:lnTo>
                    <a:pt x="4093" y="1411"/>
                  </a:lnTo>
                  <a:lnTo>
                    <a:pt x="4093" y="1406"/>
                  </a:lnTo>
                  <a:lnTo>
                    <a:pt x="4088" y="1402"/>
                  </a:lnTo>
                  <a:lnTo>
                    <a:pt x="4088" y="1402"/>
                  </a:lnTo>
                  <a:lnTo>
                    <a:pt x="4084" y="1402"/>
                  </a:lnTo>
                  <a:lnTo>
                    <a:pt x="4084" y="1402"/>
                  </a:lnTo>
                  <a:lnTo>
                    <a:pt x="4084" y="1402"/>
                  </a:lnTo>
                  <a:lnTo>
                    <a:pt x="4079" y="1393"/>
                  </a:lnTo>
                  <a:lnTo>
                    <a:pt x="4075" y="1388"/>
                  </a:lnTo>
                  <a:lnTo>
                    <a:pt x="4075" y="1388"/>
                  </a:lnTo>
                  <a:lnTo>
                    <a:pt x="4070" y="1384"/>
                  </a:lnTo>
                  <a:lnTo>
                    <a:pt x="4070" y="1384"/>
                  </a:lnTo>
                  <a:lnTo>
                    <a:pt x="4066" y="1384"/>
                  </a:lnTo>
                  <a:lnTo>
                    <a:pt x="4066" y="1388"/>
                  </a:lnTo>
                  <a:lnTo>
                    <a:pt x="4066" y="1388"/>
                  </a:lnTo>
                  <a:lnTo>
                    <a:pt x="4070" y="1388"/>
                  </a:lnTo>
                  <a:lnTo>
                    <a:pt x="4070" y="1388"/>
                  </a:lnTo>
                  <a:lnTo>
                    <a:pt x="4075" y="1388"/>
                  </a:lnTo>
                  <a:lnTo>
                    <a:pt x="4075" y="1393"/>
                  </a:lnTo>
                  <a:lnTo>
                    <a:pt x="4075" y="1393"/>
                  </a:lnTo>
                  <a:lnTo>
                    <a:pt x="4075" y="1393"/>
                  </a:lnTo>
                  <a:lnTo>
                    <a:pt x="4075" y="1393"/>
                  </a:lnTo>
                  <a:lnTo>
                    <a:pt x="4075" y="1393"/>
                  </a:lnTo>
                  <a:lnTo>
                    <a:pt x="4070" y="1393"/>
                  </a:lnTo>
                  <a:lnTo>
                    <a:pt x="4070" y="1388"/>
                  </a:lnTo>
                  <a:lnTo>
                    <a:pt x="4070" y="1393"/>
                  </a:lnTo>
                  <a:lnTo>
                    <a:pt x="4070" y="1397"/>
                  </a:lnTo>
                  <a:lnTo>
                    <a:pt x="4070" y="1397"/>
                  </a:lnTo>
                  <a:lnTo>
                    <a:pt x="4070" y="1402"/>
                  </a:lnTo>
                  <a:lnTo>
                    <a:pt x="4070" y="1402"/>
                  </a:lnTo>
                  <a:lnTo>
                    <a:pt x="4070" y="1406"/>
                  </a:lnTo>
                  <a:lnTo>
                    <a:pt x="4070" y="1406"/>
                  </a:lnTo>
                  <a:lnTo>
                    <a:pt x="4070" y="1406"/>
                  </a:lnTo>
                  <a:lnTo>
                    <a:pt x="4066" y="1411"/>
                  </a:lnTo>
                  <a:lnTo>
                    <a:pt x="4066" y="1415"/>
                  </a:lnTo>
                  <a:lnTo>
                    <a:pt x="4066" y="1420"/>
                  </a:lnTo>
                  <a:lnTo>
                    <a:pt x="4066" y="1420"/>
                  </a:lnTo>
                  <a:lnTo>
                    <a:pt x="4066" y="1420"/>
                  </a:lnTo>
                  <a:lnTo>
                    <a:pt x="4066" y="1415"/>
                  </a:lnTo>
                  <a:lnTo>
                    <a:pt x="4066" y="1415"/>
                  </a:lnTo>
                  <a:lnTo>
                    <a:pt x="4066" y="1420"/>
                  </a:lnTo>
                  <a:lnTo>
                    <a:pt x="4066" y="1424"/>
                  </a:lnTo>
                  <a:lnTo>
                    <a:pt x="4066" y="1429"/>
                  </a:lnTo>
                  <a:lnTo>
                    <a:pt x="4070" y="1442"/>
                  </a:lnTo>
                  <a:lnTo>
                    <a:pt x="4070" y="1447"/>
                  </a:lnTo>
                  <a:lnTo>
                    <a:pt x="4075" y="1451"/>
                  </a:lnTo>
                  <a:lnTo>
                    <a:pt x="4075" y="1456"/>
                  </a:lnTo>
                  <a:lnTo>
                    <a:pt x="4079" y="1460"/>
                  </a:lnTo>
                  <a:lnTo>
                    <a:pt x="4084" y="1460"/>
                  </a:lnTo>
                  <a:lnTo>
                    <a:pt x="4084" y="1460"/>
                  </a:lnTo>
                  <a:lnTo>
                    <a:pt x="4088" y="1456"/>
                  </a:lnTo>
                  <a:lnTo>
                    <a:pt x="4098" y="1456"/>
                  </a:lnTo>
                  <a:lnTo>
                    <a:pt x="4098" y="1456"/>
                  </a:lnTo>
                  <a:lnTo>
                    <a:pt x="4102" y="1451"/>
                  </a:lnTo>
                  <a:lnTo>
                    <a:pt x="4102" y="1451"/>
                  </a:lnTo>
                  <a:lnTo>
                    <a:pt x="4102" y="1447"/>
                  </a:lnTo>
                  <a:lnTo>
                    <a:pt x="4102" y="1447"/>
                  </a:lnTo>
                  <a:lnTo>
                    <a:pt x="4107" y="1442"/>
                  </a:lnTo>
                  <a:lnTo>
                    <a:pt x="4107" y="1438"/>
                  </a:lnTo>
                  <a:lnTo>
                    <a:pt x="4107" y="1433"/>
                  </a:lnTo>
                  <a:lnTo>
                    <a:pt x="4102" y="1433"/>
                  </a:lnTo>
                  <a:close/>
                  <a:moveTo>
                    <a:pt x="2833" y="782"/>
                  </a:moveTo>
                  <a:lnTo>
                    <a:pt x="2833" y="782"/>
                  </a:lnTo>
                  <a:lnTo>
                    <a:pt x="2833" y="787"/>
                  </a:lnTo>
                  <a:lnTo>
                    <a:pt x="2833" y="787"/>
                  </a:lnTo>
                  <a:lnTo>
                    <a:pt x="2833" y="787"/>
                  </a:lnTo>
                  <a:lnTo>
                    <a:pt x="2833" y="787"/>
                  </a:lnTo>
                  <a:lnTo>
                    <a:pt x="2833" y="787"/>
                  </a:lnTo>
                  <a:lnTo>
                    <a:pt x="2833" y="787"/>
                  </a:lnTo>
                  <a:lnTo>
                    <a:pt x="2833" y="787"/>
                  </a:lnTo>
                  <a:lnTo>
                    <a:pt x="2833" y="787"/>
                  </a:lnTo>
                  <a:lnTo>
                    <a:pt x="2833" y="791"/>
                  </a:lnTo>
                  <a:lnTo>
                    <a:pt x="2833" y="791"/>
                  </a:lnTo>
                  <a:lnTo>
                    <a:pt x="2833" y="791"/>
                  </a:lnTo>
                  <a:lnTo>
                    <a:pt x="2833" y="791"/>
                  </a:lnTo>
                  <a:lnTo>
                    <a:pt x="2837" y="791"/>
                  </a:lnTo>
                  <a:lnTo>
                    <a:pt x="2837" y="791"/>
                  </a:lnTo>
                  <a:lnTo>
                    <a:pt x="2833" y="796"/>
                  </a:lnTo>
                  <a:lnTo>
                    <a:pt x="2833" y="796"/>
                  </a:lnTo>
                  <a:lnTo>
                    <a:pt x="2833" y="796"/>
                  </a:lnTo>
                  <a:lnTo>
                    <a:pt x="2837" y="796"/>
                  </a:lnTo>
                  <a:lnTo>
                    <a:pt x="2837" y="796"/>
                  </a:lnTo>
                  <a:lnTo>
                    <a:pt x="2842" y="800"/>
                  </a:lnTo>
                  <a:lnTo>
                    <a:pt x="2842" y="796"/>
                  </a:lnTo>
                  <a:lnTo>
                    <a:pt x="2842" y="796"/>
                  </a:lnTo>
                  <a:lnTo>
                    <a:pt x="2842" y="791"/>
                  </a:lnTo>
                  <a:lnTo>
                    <a:pt x="2842" y="791"/>
                  </a:lnTo>
                  <a:lnTo>
                    <a:pt x="2842" y="787"/>
                  </a:lnTo>
                  <a:lnTo>
                    <a:pt x="2842" y="787"/>
                  </a:lnTo>
                  <a:lnTo>
                    <a:pt x="2846" y="782"/>
                  </a:lnTo>
                  <a:lnTo>
                    <a:pt x="2846" y="782"/>
                  </a:lnTo>
                  <a:lnTo>
                    <a:pt x="2846" y="778"/>
                  </a:lnTo>
                  <a:lnTo>
                    <a:pt x="2846" y="778"/>
                  </a:lnTo>
                  <a:lnTo>
                    <a:pt x="2846" y="773"/>
                  </a:lnTo>
                  <a:lnTo>
                    <a:pt x="2846" y="773"/>
                  </a:lnTo>
                  <a:lnTo>
                    <a:pt x="2846" y="773"/>
                  </a:lnTo>
                  <a:lnTo>
                    <a:pt x="2846" y="769"/>
                  </a:lnTo>
                  <a:lnTo>
                    <a:pt x="2846" y="769"/>
                  </a:lnTo>
                  <a:lnTo>
                    <a:pt x="2846" y="769"/>
                  </a:lnTo>
                  <a:lnTo>
                    <a:pt x="2842" y="769"/>
                  </a:lnTo>
                  <a:lnTo>
                    <a:pt x="2842" y="769"/>
                  </a:lnTo>
                  <a:lnTo>
                    <a:pt x="2842" y="769"/>
                  </a:lnTo>
                  <a:lnTo>
                    <a:pt x="2842" y="773"/>
                  </a:lnTo>
                  <a:lnTo>
                    <a:pt x="2842" y="773"/>
                  </a:lnTo>
                  <a:lnTo>
                    <a:pt x="2842" y="773"/>
                  </a:lnTo>
                  <a:lnTo>
                    <a:pt x="2842" y="773"/>
                  </a:lnTo>
                  <a:lnTo>
                    <a:pt x="2842" y="773"/>
                  </a:lnTo>
                  <a:lnTo>
                    <a:pt x="2842" y="773"/>
                  </a:lnTo>
                  <a:lnTo>
                    <a:pt x="2837" y="773"/>
                  </a:lnTo>
                  <a:lnTo>
                    <a:pt x="2837" y="773"/>
                  </a:lnTo>
                  <a:lnTo>
                    <a:pt x="2837" y="773"/>
                  </a:lnTo>
                  <a:lnTo>
                    <a:pt x="2837" y="773"/>
                  </a:lnTo>
                  <a:lnTo>
                    <a:pt x="2833" y="778"/>
                  </a:lnTo>
                  <a:lnTo>
                    <a:pt x="2833" y="778"/>
                  </a:lnTo>
                  <a:lnTo>
                    <a:pt x="2833" y="778"/>
                  </a:lnTo>
                  <a:lnTo>
                    <a:pt x="2833" y="778"/>
                  </a:lnTo>
                  <a:lnTo>
                    <a:pt x="2833" y="782"/>
                  </a:lnTo>
                  <a:lnTo>
                    <a:pt x="2833" y="782"/>
                  </a:lnTo>
                  <a:lnTo>
                    <a:pt x="2833" y="782"/>
                  </a:lnTo>
                  <a:lnTo>
                    <a:pt x="2833" y="782"/>
                  </a:lnTo>
                  <a:lnTo>
                    <a:pt x="2833" y="782"/>
                  </a:lnTo>
                  <a:lnTo>
                    <a:pt x="2833" y="782"/>
                  </a:lnTo>
                  <a:close/>
                  <a:moveTo>
                    <a:pt x="2936" y="868"/>
                  </a:moveTo>
                  <a:lnTo>
                    <a:pt x="2936" y="868"/>
                  </a:lnTo>
                  <a:lnTo>
                    <a:pt x="2936" y="868"/>
                  </a:lnTo>
                  <a:lnTo>
                    <a:pt x="2936" y="868"/>
                  </a:lnTo>
                  <a:lnTo>
                    <a:pt x="2941" y="859"/>
                  </a:lnTo>
                  <a:lnTo>
                    <a:pt x="2941" y="859"/>
                  </a:lnTo>
                  <a:lnTo>
                    <a:pt x="2941" y="859"/>
                  </a:lnTo>
                  <a:lnTo>
                    <a:pt x="2941" y="859"/>
                  </a:lnTo>
                  <a:lnTo>
                    <a:pt x="2941" y="855"/>
                  </a:lnTo>
                  <a:lnTo>
                    <a:pt x="2941" y="855"/>
                  </a:lnTo>
                  <a:lnTo>
                    <a:pt x="2936" y="859"/>
                  </a:lnTo>
                  <a:lnTo>
                    <a:pt x="2936" y="859"/>
                  </a:lnTo>
                  <a:lnTo>
                    <a:pt x="2936" y="859"/>
                  </a:lnTo>
                  <a:lnTo>
                    <a:pt x="2936" y="859"/>
                  </a:lnTo>
                  <a:lnTo>
                    <a:pt x="2932" y="859"/>
                  </a:lnTo>
                  <a:lnTo>
                    <a:pt x="2932" y="859"/>
                  </a:lnTo>
                  <a:lnTo>
                    <a:pt x="2927" y="859"/>
                  </a:lnTo>
                  <a:lnTo>
                    <a:pt x="2927" y="859"/>
                  </a:lnTo>
                  <a:lnTo>
                    <a:pt x="2927" y="859"/>
                  </a:lnTo>
                  <a:lnTo>
                    <a:pt x="2927" y="859"/>
                  </a:lnTo>
                  <a:lnTo>
                    <a:pt x="2923" y="859"/>
                  </a:lnTo>
                  <a:lnTo>
                    <a:pt x="2923" y="859"/>
                  </a:lnTo>
                  <a:lnTo>
                    <a:pt x="2918" y="864"/>
                  </a:lnTo>
                  <a:lnTo>
                    <a:pt x="2918" y="859"/>
                  </a:lnTo>
                  <a:lnTo>
                    <a:pt x="2914" y="864"/>
                  </a:lnTo>
                  <a:lnTo>
                    <a:pt x="2914" y="864"/>
                  </a:lnTo>
                  <a:lnTo>
                    <a:pt x="2914" y="864"/>
                  </a:lnTo>
                  <a:lnTo>
                    <a:pt x="2909" y="864"/>
                  </a:lnTo>
                  <a:lnTo>
                    <a:pt x="2909" y="859"/>
                  </a:lnTo>
                  <a:lnTo>
                    <a:pt x="2905" y="859"/>
                  </a:lnTo>
                  <a:lnTo>
                    <a:pt x="2905" y="859"/>
                  </a:lnTo>
                  <a:lnTo>
                    <a:pt x="2905" y="859"/>
                  </a:lnTo>
                  <a:lnTo>
                    <a:pt x="2905" y="859"/>
                  </a:lnTo>
                  <a:lnTo>
                    <a:pt x="2905" y="859"/>
                  </a:lnTo>
                  <a:lnTo>
                    <a:pt x="2900" y="859"/>
                  </a:lnTo>
                  <a:lnTo>
                    <a:pt x="2900" y="859"/>
                  </a:lnTo>
                  <a:lnTo>
                    <a:pt x="2900" y="859"/>
                  </a:lnTo>
                  <a:lnTo>
                    <a:pt x="2900" y="864"/>
                  </a:lnTo>
                  <a:lnTo>
                    <a:pt x="2896" y="859"/>
                  </a:lnTo>
                  <a:lnTo>
                    <a:pt x="2896" y="859"/>
                  </a:lnTo>
                  <a:lnTo>
                    <a:pt x="2896" y="859"/>
                  </a:lnTo>
                  <a:lnTo>
                    <a:pt x="2896" y="859"/>
                  </a:lnTo>
                  <a:lnTo>
                    <a:pt x="2896" y="859"/>
                  </a:lnTo>
                  <a:lnTo>
                    <a:pt x="2891" y="859"/>
                  </a:lnTo>
                  <a:lnTo>
                    <a:pt x="2891" y="864"/>
                  </a:lnTo>
                  <a:lnTo>
                    <a:pt x="2891" y="864"/>
                  </a:lnTo>
                  <a:lnTo>
                    <a:pt x="2891" y="868"/>
                  </a:lnTo>
                  <a:lnTo>
                    <a:pt x="2891" y="868"/>
                  </a:lnTo>
                  <a:lnTo>
                    <a:pt x="2896" y="868"/>
                  </a:lnTo>
                  <a:lnTo>
                    <a:pt x="2896" y="868"/>
                  </a:lnTo>
                  <a:lnTo>
                    <a:pt x="2896" y="868"/>
                  </a:lnTo>
                  <a:lnTo>
                    <a:pt x="2900" y="868"/>
                  </a:lnTo>
                  <a:lnTo>
                    <a:pt x="2900" y="868"/>
                  </a:lnTo>
                  <a:lnTo>
                    <a:pt x="2900" y="873"/>
                  </a:lnTo>
                  <a:lnTo>
                    <a:pt x="2905" y="873"/>
                  </a:lnTo>
                  <a:lnTo>
                    <a:pt x="2905" y="873"/>
                  </a:lnTo>
                  <a:lnTo>
                    <a:pt x="2905" y="873"/>
                  </a:lnTo>
                  <a:lnTo>
                    <a:pt x="2905" y="873"/>
                  </a:lnTo>
                  <a:lnTo>
                    <a:pt x="2909" y="877"/>
                  </a:lnTo>
                  <a:lnTo>
                    <a:pt x="2914" y="877"/>
                  </a:lnTo>
                  <a:lnTo>
                    <a:pt x="2914" y="877"/>
                  </a:lnTo>
                  <a:lnTo>
                    <a:pt x="2918" y="877"/>
                  </a:lnTo>
                  <a:lnTo>
                    <a:pt x="2918" y="877"/>
                  </a:lnTo>
                  <a:lnTo>
                    <a:pt x="2918" y="882"/>
                  </a:lnTo>
                  <a:lnTo>
                    <a:pt x="2923" y="882"/>
                  </a:lnTo>
                  <a:lnTo>
                    <a:pt x="2923" y="886"/>
                  </a:lnTo>
                  <a:lnTo>
                    <a:pt x="2927" y="886"/>
                  </a:lnTo>
                  <a:lnTo>
                    <a:pt x="2927" y="886"/>
                  </a:lnTo>
                  <a:lnTo>
                    <a:pt x="2927" y="886"/>
                  </a:lnTo>
                  <a:lnTo>
                    <a:pt x="2932" y="886"/>
                  </a:lnTo>
                  <a:lnTo>
                    <a:pt x="2932" y="886"/>
                  </a:lnTo>
                  <a:lnTo>
                    <a:pt x="2936" y="886"/>
                  </a:lnTo>
                  <a:lnTo>
                    <a:pt x="2936" y="886"/>
                  </a:lnTo>
                  <a:lnTo>
                    <a:pt x="2932" y="886"/>
                  </a:lnTo>
                  <a:lnTo>
                    <a:pt x="2936" y="882"/>
                  </a:lnTo>
                  <a:lnTo>
                    <a:pt x="2936" y="882"/>
                  </a:lnTo>
                  <a:lnTo>
                    <a:pt x="2936" y="882"/>
                  </a:lnTo>
                  <a:lnTo>
                    <a:pt x="2936" y="882"/>
                  </a:lnTo>
                  <a:lnTo>
                    <a:pt x="2936" y="882"/>
                  </a:lnTo>
                  <a:lnTo>
                    <a:pt x="2936" y="877"/>
                  </a:lnTo>
                  <a:lnTo>
                    <a:pt x="2936" y="877"/>
                  </a:lnTo>
                  <a:lnTo>
                    <a:pt x="2936" y="877"/>
                  </a:lnTo>
                  <a:lnTo>
                    <a:pt x="2936" y="877"/>
                  </a:lnTo>
                  <a:lnTo>
                    <a:pt x="2936" y="877"/>
                  </a:lnTo>
                  <a:lnTo>
                    <a:pt x="2936" y="877"/>
                  </a:lnTo>
                  <a:lnTo>
                    <a:pt x="2932" y="873"/>
                  </a:lnTo>
                  <a:lnTo>
                    <a:pt x="2932" y="873"/>
                  </a:lnTo>
                  <a:lnTo>
                    <a:pt x="2932" y="873"/>
                  </a:lnTo>
                  <a:lnTo>
                    <a:pt x="2932" y="873"/>
                  </a:lnTo>
                  <a:lnTo>
                    <a:pt x="2936" y="868"/>
                  </a:lnTo>
                  <a:close/>
                  <a:moveTo>
                    <a:pt x="2828" y="809"/>
                  </a:moveTo>
                  <a:lnTo>
                    <a:pt x="2828" y="809"/>
                  </a:lnTo>
                  <a:lnTo>
                    <a:pt x="2828" y="809"/>
                  </a:lnTo>
                  <a:lnTo>
                    <a:pt x="2824" y="809"/>
                  </a:lnTo>
                  <a:lnTo>
                    <a:pt x="2824" y="809"/>
                  </a:lnTo>
                  <a:lnTo>
                    <a:pt x="2824" y="809"/>
                  </a:lnTo>
                  <a:lnTo>
                    <a:pt x="2824" y="809"/>
                  </a:lnTo>
                  <a:lnTo>
                    <a:pt x="2824" y="814"/>
                  </a:lnTo>
                  <a:lnTo>
                    <a:pt x="2824" y="814"/>
                  </a:lnTo>
                  <a:lnTo>
                    <a:pt x="2828" y="814"/>
                  </a:lnTo>
                  <a:lnTo>
                    <a:pt x="2828" y="814"/>
                  </a:lnTo>
                  <a:lnTo>
                    <a:pt x="2828" y="818"/>
                  </a:lnTo>
                  <a:lnTo>
                    <a:pt x="2828" y="818"/>
                  </a:lnTo>
                  <a:lnTo>
                    <a:pt x="2828" y="818"/>
                  </a:lnTo>
                  <a:lnTo>
                    <a:pt x="2828" y="823"/>
                  </a:lnTo>
                  <a:lnTo>
                    <a:pt x="2828" y="823"/>
                  </a:lnTo>
                  <a:lnTo>
                    <a:pt x="2828" y="823"/>
                  </a:lnTo>
                  <a:lnTo>
                    <a:pt x="2828" y="823"/>
                  </a:lnTo>
                  <a:lnTo>
                    <a:pt x="2828" y="827"/>
                  </a:lnTo>
                  <a:lnTo>
                    <a:pt x="2828" y="827"/>
                  </a:lnTo>
                  <a:lnTo>
                    <a:pt x="2828" y="827"/>
                  </a:lnTo>
                  <a:lnTo>
                    <a:pt x="2828" y="827"/>
                  </a:lnTo>
                  <a:lnTo>
                    <a:pt x="2828" y="827"/>
                  </a:lnTo>
                  <a:lnTo>
                    <a:pt x="2828" y="832"/>
                  </a:lnTo>
                  <a:lnTo>
                    <a:pt x="2828" y="827"/>
                  </a:lnTo>
                  <a:lnTo>
                    <a:pt x="2828" y="832"/>
                  </a:lnTo>
                  <a:lnTo>
                    <a:pt x="2828" y="832"/>
                  </a:lnTo>
                  <a:lnTo>
                    <a:pt x="2828" y="832"/>
                  </a:lnTo>
                  <a:lnTo>
                    <a:pt x="2828" y="832"/>
                  </a:lnTo>
                  <a:lnTo>
                    <a:pt x="2828" y="832"/>
                  </a:lnTo>
                  <a:lnTo>
                    <a:pt x="2828" y="836"/>
                  </a:lnTo>
                  <a:lnTo>
                    <a:pt x="2828" y="841"/>
                  </a:lnTo>
                  <a:lnTo>
                    <a:pt x="2828" y="841"/>
                  </a:lnTo>
                  <a:lnTo>
                    <a:pt x="2828" y="841"/>
                  </a:lnTo>
                  <a:lnTo>
                    <a:pt x="2833" y="846"/>
                  </a:lnTo>
                  <a:lnTo>
                    <a:pt x="2833" y="846"/>
                  </a:lnTo>
                  <a:lnTo>
                    <a:pt x="2833" y="846"/>
                  </a:lnTo>
                  <a:lnTo>
                    <a:pt x="2833" y="846"/>
                  </a:lnTo>
                  <a:lnTo>
                    <a:pt x="2837" y="846"/>
                  </a:lnTo>
                  <a:lnTo>
                    <a:pt x="2837" y="846"/>
                  </a:lnTo>
                  <a:lnTo>
                    <a:pt x="2837" y="841"/>
                  </a:lnTo>
                  <a:lnTo>
                    <a:pt x="2837" y="841"/>
                  </a:lnTo>
                  <a:lnTo>
                    <a:pt x="2837" y="841"/>
                  </a:lnTo>
                  <a:lnTo>
                    <a:pt x="2837" y="841"/>
                  </a:lnTo>
                  <a:lnTo>
                    <a:pt x="2842" y="841"/>
                  </a:lnTo>
                  <a:lnTo>
                    <a:pt x="2842" y="841"/>
                  </a:lnTo>
                  <a:lnTo>
                    <a:pt x="2842" y="841"/>
                  </a:lnTo>
                  <a:lnTo>
                    <a:pt x="2846" y="841"/>
                  </a:lnTo>
                  <a:lnTo>
                    <a:pt x="2846" y="841"/>
                  </a:lnTo>
                  <a:lnTo>
                    <a:pt x="2846" y="836"/>
                  </a:lnTo>
                  <a:lnTo>
                    <a:pt x="2846" y="836"/>
                  </a:lnTo>
                  <a:lnTo>
                    <a:pt x="2846" y="827"/>
                  </a:lnTo>
                  <a:lnTo>
                    <a:pt x="2846" y="823"/>
                  </a:lnTo>
                  <a:lnTo>
                    <a:pt x="2846" y="823"/>
                  </a:lnTo>
                  <a:lnTo>
                    <a:pt x="2846" y="823"/>
                  </a:lnTo>
                  <a:lnTo>
                    <a:pt x="2846" y="818"/>
                  </a:lnTo>
                  <a:lnTo>
                    <a:pt x="2851" y="818"/>
                  </a:lnTo>
                  <a:lnTo>
                    <a:pt x="2851" y="818"/>
                  </a:lnTo>
                  <a:lnTo>
                    <a:pt x="2851" y="814"/>
                  </a:lnTo>
                  <a:lnTo>
                    <a:pt x="2851" y="814"/>
                  </a:lnTo>
                  <a:lnTo>
                    <a:pt x="2846" y="809"/>
                  </a:lnTo>
                  <a:lnTo>
                    <a:pt x="2846" y="809"/>
                  </a:lnTo>
                  <a:lnTo>
                    <a:pt x="2846" y="809"/>
                  </a:lnTo>
                  <a:lnTo>
                    <a:pt x="2846" y="805"/>
                  </a:lnTo>
                  <a:lnTo>
                    <a:pt x="2846" y="805"/>
                  </a:lnTo>
                  <a:lnTo>
                    <a:pt x="2846" y="805"/>
                  </a:lnTo>
                  <a:lnTo>
                    <a:pt x="2846" y="805"/>
                  </a:lnTo>
                  <a:lnTo>
                    <a:pt x="2846" y="805"/>
                  </a:lnTo>
                  <a:lnTo>
                    <a:pt x="2846" y="805"/>
                  </a:lnTo>
                  <a:lnTo>
                    <a:pt x="2846" y="805"/>
                  </a:lnTo>
                  <a:lnTo>
                    <a:pt x="2846" y="805"/>
                  </a:lnTo>
                  <a:lnTo>
                    <a:pt x="2842" y="800"/>
                  </a:lnTo>
                  <a:lnTo>
                    <a:pt x="2842" y="800"/>
                  </a:lnTo>
                  <a:lnTo>
                    <a:pt x="2842" y="800"/>
                  </a:lnTo>
                  <a:lnTo>
                    <a:pt x="2842" y="800"/>
                  </a:lnTo>
                  <a:lnTo>
                    <a:pt x="2842" y="800"/>
                  </a:lnTo>
                  <a:lnTo>
                    <a:pt x="2837" y="805"/>
                  </a:lnTo>
                  <a:lnTo>
                    <a:pt x="2837" y="805"/>
                  </a:lnTo>
                  <a:lnTo>
                    <a:pt x="2833" y="805"/>
                  </a:lnTo>
                  <a:lnTo>
                    <a:pt x="2833" y="809"/>
                  </a:lnTo>
                  <a:lnTo>
                    <a:pt x="2828" y="809"/>
                  </a:lnTo>
                  <a:lnTo>
                    <a:pt x="2828" y="809"/>
                  </a:lnTo>
                  <a:close/>
                  <a:moveTo>
                    <a:pt x="4287" y="1320"/>
                  </a:moveTo>
                  <a:lnTo>
                    <a:pt x="4287" y="1320"/>
                  </a:lnTo>
                  <a:lnTo>
                    <a:pt x="4287" y="1320"/>
                  </a:lnTo>
                  <a:lnTo>
                    <a:pt x="4287" y="1320"/>
                  </a:lnTo>
                  <a:lnTo>
                    <a:pt x="4287" y="1316"/>
                  </a:lnTo>
                  <a:lnTo>
                    <a:pt x="4287" y="1316"/>
                  </a:lnTo>
                  <a:lnTo>
                    <a:pt x="4287" y="1316"/>
                  </a:lnTo>
                  <a:lnTo>
                    <a:pt x="4287" y="1316"/>
                  </a:lnTo>
                  <a:lnTo>
                    <a:pt x="4287" y="1311"/>
                  </a:lnTo>
                  <a:lnTo>
                    <a:pt x="4287" y="1311"/>
                  </a:lnTo>
                  <a:lnTo>
                    <a:pt x="4287" y="1311"/>
                  </a:lnTo>
                  <a:lnTo>
                    <a:pt x="4287" y="1311"/>
                  </a:lnTo>
                  <a:lnTo>
                    <a:pt x="4283" y="1311"/>
                  </a:lnTo>
                  <a:lnTo>
                    <a:pt x="4283" y="1316"/>
                  </a:lnTo>
                  <a:lnTo>
                    <a:pt x="4283" y="1316"/>
                  </a:lnTo>
                  <a:lnTo>
                    <a:pt x="4283" y="1320"/>
                  </a:lnTo>
                  <a:lnTo>
                    <a:pt x="4283" y="1320"/>
                  </a:lnTo>
                  <a:lnTo>
                    <a:pt x="4283" y="1325"/>
                  </a:lnTo>
                  <a:lnTo>
                    <a:pt x="4283" y="1325"/>
                  </a:lnTo>
                  <a:lnTo>
                    <a:pt x="4283" y="1325"/>
                  </a:lnTo>
                  <a:lnTo>
                    <a:pt x="4283" y="1329"/>
                  </a:lnTo>
                  <a:lnTo>
                    <a:pt x="4283" y="1329"/>
                  </a:lnTo>
                  <a:lnTo>
                    <a:pt x="4283" y="1329"/>
                  </a:lnTo>
                  <a:lnTo>
                    <a:pt x="4283" y="1334"/>
                  </a:lnTo>
                  <a:lnTo>
                    <a:pt x="4283" y="1334"/>
                  </a:lnTo>
                  <a:lnTo>
                    <a:pt x="4283" y="1334"/>
                  </a:lnTo>
                  <a:lnTo>
                    <a:pt x="4287" y="1334"/>
                  </a:lnTo>
                  <a:lnTo>
                    <a:pt x="4283" y="1334"/>
                  </a:lnTo>
                  <a:lnTo>
                    <a:pt x="4283" y="1334"/>
                  </a:lnTo>
                  <a:lnTo>
                    <a:pt x="4283" y="1338"/>
                  </a:lnTo>
                  <a:lnTo>
                    <a:pt x="4283" y="1338"/>
                  </a:lnTo>
                  <a:lnTo>
                    <a:pt x="4283" y="1338"/>
                  </a:lnTo>
                  <a:lnTo>
                    <a:pt x="4283" y="1343"/>
                  </a:lnTo>
                  <a:lnTo>
                    <a:pt x="4283" y="1343"/>
                  </a:lnTo>
                  <a:lnTo>
                    <a:pt x="4283" y="1343"/>
                  </a:lnTo>
                  <a:lnTo>
                    <a:pt x="4283" y="1343"/>
                  </a:lnTo>
                  <a:lnTo>
                    <a:pt x="4283" y="1347"/>
                  </a:lnTo>
                  <a:lnTo>
                    <a:pt x="4283" y="1347"/>
                  </a:lnTo>
                  <a:lnTo>
                    <a:pt x="4287" y="1352"/>
                  </a:lnTo>
                  <a:lnTo>
                    <a:pt x="4287" y="1347"/>
                  </a:lnTo>
                  <a:lnTo>
                    <a:pt x="4287" y="1347"/>
                  </a:lnTo>
                  <a:lnTo>
                    <a:pt x="4287" y="1343"/>
                  </a:lnTo>
                  <a:lnTo>
                    <a:pt x="4287" y="1343"/>
                  </a:lnTo>
                  <a:lnTo>
                    <a:pt x="4287" y="1343"/>
                  </a:lnTo>
                  <a:lnTo>
                    <a:pt x="4287" y="1343"/>
                  </a:lnTo>
                  <a:lnTo>
                    <a:pt x="4287" y="1338"/>
                  </a:lnTo>
                  <a:lnTo>
                    <a:pt x="4287" y="1338"/>
                  </a:lnTo>
                  <a:lnTo>
                    <a:pt x="4287" y="1338"/>
                  </a:lnTo>
                  <a:lnTo>
                    <a:pt x="4287" y="1338"/>
                  </a:lnTo>
                  <a:lnTo>
                    <a:pt x="4287" y="1334"/>
                  </a:lnTo>
                  <a:lnTo>
                    <a:pt x="4287" y="1334"/>
                  </a:lnTo>
                  <a:lnTo>
                    <a:pt x="4287" y="1329"/>
                  </a:lnTo>
                  <a:lnTo>
                    <a:pt x="4287" y="1329"/>
                  </a:lnTo>
                  <a:lnTo>
                    <a:pt x="4287" y="1325"/>
                  </a:lnTo>
                  <a:lnTo>
                    <a:pt x="4287" y="1320"/>
                  </a:lnTo>
                  <a:close/>
                  <a:moveTo>
                    <a:pt x="4341" y="1243"/>
                  </a:moveTo>
                  <a:lnTo>
                    <a:pt x="4341" y="1243"/>
                  </a:lnTo>
                  <a:lnTo>
                    <a:pt x="4341" y="1239"/>
                  </a:lnTo>
                  <a:lnTo>
                    <a:pt x="4341" y="1239"/>
                  </a:lnTo>
                  <a:lnTo>
                    <a:pt x="4341" y="1234"/>
                  </a:lnTo>
                  <a:lnTo>
                    <a:pt x="4341" y="1234"/>
                  </a:lnTo>
                  <a:lnTo>
                    <a:pt x="4341" y="1234"/>
                  </a:lnTo>
                  <a:lnTo>
                    <a:pt x="4341" y="1234"/>
                  </a:lnTo>
                  <a:lnTo>
                    <a:pt x="4346" y="1234"/>
                  </a:lnTo>
                  <a:lnTo>
                    <a:pt x="4346" y="1239"/>
                  </a:lnTo>
                  <a:lnTo>
                    <a:pt x="4346" y="1239"/>
                  </a:lnTo>
                  <a:lnTo>
                    <a:pt x="4346" y="1239"/>
                  </a:lnTo>
                  <a:lnTo>
                    <a:pt x="4346" y="1243"/>
                  </a:lnTo>
                  <a:lnTo>
                    <a:pt x="4351" y="1243"/>
                  </a:lnTo>
                  <a:lnTo>
                    <a:pt x="4351" y="1248"/>
                  </a:lnTo>
                  <a:lnTo>
                    <a:pt x="4351" y="1248"/>
                  </a:lnTo>
                  <a:lnTo>
                    <a:pt x="4355" y="1248"/>
                  </a:lnTo>
                  <a:lnTo>
                    <a:pt x="4355" y="1248"/>
                  </a:lnTo>
                  <a:lnTo>
                    <a:pt x="4355" y="1248"/>
                  </a:lnTo>
                  <a:lnTo>
                    <a:pt x="4360" y="1248"/>
                  </a:lnTo>
                  <a:lnTo>
                    <a:pt x="4355" y="1248"/>
                  </a:lnTo>
                  <a:lnTo>
                    <a:pt x="4355" y="1252"/>
                  </a:lnTo>
                  <a:lnTo>
                    <a:pt x="4355" y="1257"/>
                  </a:lnTo>
                  <a:lnTo>
                    <a:pt x="4355" y="1257"/>
                  </a:lnTo>
                  <a:lnTo>
                    <a:pt x="4355" y="1261"/>
                  </a:lnTo>
                  <a:lnTo>
                    <a:pt x="4360" y="1261"/>
                  </a:lnTo>
                  <a:lnTo>
                    <a:pt x="4364" y="1271"/>
                  </a:lnTo>
                  <a:lnTo>
                    <a:pt x="4364" y="1275"/>
                  </a:lnTo>
                  <a:lnTo>
                    <a:pt x="4364" y="1275"/>
                  </a:lnTo>
                  <a:lnTo>
                    <a:pt x="4364" y="1284"/>
                  </a:lnTo>
                  <a:lnTo>
                    <a:pt x="4364" y="1284"/>
                  </a:lnTo>
                  <a:lnTo>
                    <a:pt x="4369" y="1284"/>
                  </a:lnTo>
                  <a:lnTo>
                    <a:pt x="4369" y="1289"/>
                  </a:lnTo>
                  <a:lnTo>
                    <a:pt x="4369" y="1284"/>
                  </a:lnTo>
                  <a:lnTo>
                    <a:pt x="4369" y="1289"/>
                  </a:lnTo>
                  <a:lnTo>
                    <a:pt x="4369" y="1289"/>
                  </a:lnTo>
                  <a:lnTo>
                    <a:pt x="4369" y="1293"/>
                  </a:lnTo>
                  <a:lnTo>
                    <a:pt x="4373" y="1298"/>
                  </a:lnTo>
                  <a:lnTo>
                    <a:pt x="4373" y="1298"/>
                  </a:lnTo>
                  <a:lnTo>
                    <a:pt x="4373" y="1302"/>
                  </a:lnTo>
                  <a:lnTo>
                    <a:pt x="4373" y="1307"/>
                  </a:lnTo>
                  <a:lnTo>
                    <a:pt x="4373" y="1307"/>
                  </a:lnTo>
                  <a:lnTo>
                    <a:pt x="4373" y="1298"/>
                  </a:lnTo>
                  <a:lnTo>
                    <a:pt x="4373" y="1302"/>
                  </a:lnTo>
                  <a:lnTo>
                    <a:pt x="4373" y="1302"/>
                  </a:lnTo>
                  <a:lnTo>
                    <a:pt x="4378" y="1307"/>
                  </a:lnTo>
                  <a:lnTo>
                    <a:pt x="4378" y="1311"/>
                  </a:lnTo>
                  <a:lnTo>
                    <a:pt x="4382" y="1311"/>
                  </a:lnTo>
                  <a:lnTo>
                    <a:pt x="4382" y="1316"/>
                  </a:lnTo>
                  <a:lnTo>
                    <a:pt x="4382" y="1320"/>
                  </a:lnTo>
                  <a:lnTo>
                    <a:pt x="4387" y="1320"/>
                  </a:lnTo>
                  <a:lnTo>
                    <a:pt x="4387" y="1325"/>
                  </a:lnTo>
                  <a:lnTo>
                    <a:pt x="4387" y="1325"/>
                  </a:lnTo>
                  <a:lnTo>
                    <a:pt x="4387" y="1329"/>
                  </a:lnTo>
                  <a:lnTo>
                    <a:pt x="4387" y="1329"/>
                  </a:lnTo>
                  <a:lnTo>
                    <a:pt x="4387" y="1334"/>
                  </a:lnTo>
                  <a:lnTo>
                    <a:pt x="4387" y="1334"/>
                  </a:lnTo>
                  <a:lnTo>
                    <a:pt x="4387" y="1334"/>
                  </a:lnTo>
                  <a:lnTo>
                    <a:pt x="4387" y="1334"/>
                  </a:lnTo>
                  <a:lnTo>
                    <a:pt x="4387" y="1334"/>
                  </a:lnTo>
                  <a:lnTo>
                    <a:pt x="4387" y="1334"/>
                  </a:lnTo>
                  <a:lnTo>
                    <a:pt x="4387" y="1338"/>
                  </a:lnTo>
                  <a:lnTo>
                    <a:pt x="4387" y="1338"/>
                  </a:lnTo>
                  <a:lnTo>
                    <a:pt x="4387" y="1338"/>
                  </a:lnTo>
                  <a:lnTo>
                    <a:pt x="4387" y="1343"/>
                  </a:lnTo>
                  <a:lnTo>
                    <a:pt x="4387" y="1343"/>
                  </a:lnTo>
                  <a:lnTo>
                    <a:pt x="4387" y="1343"/>
                  </a:lnTo>
                  <a:lnTo>
                    <a:pt x="4387" y="1343"/>
                  </a:lnTo>
                  <a:lnTo>
                    <a:pt x="4391" y="1343"/>
                  </a:lnTo>
                  <a:lnTo>
                    <a:pt x="4391" y="1343"/>
                  </a:lnTo>
                  <a:lnTo>
                    <a:pt x="4391" y="1343"/>
                  </a:lnTo>
                  <a:lnTo>
                    <a:pt x="4391" y="1347"/>
                  </a:lnTo>
                  <a:lnTo>
                    <a:pt x="4391" y="1347"/>
                  </a:lnTo>
                  <a:lnTo>
                    <a:pt x="4391" y="1347"/>
                  </a:lnTo>
                  <a:lnTo>
                    <a:pt x="4391" y="1352"/>
                  </a:lnTo>
                  <a:lnTo>
                    <a:pt x="4391" y="1352"/>
                  </a:lnTo>
                  <a:lnTo>
                    <a:pt x="4391" y="1352"/>
                  </a:lnTo>
                  <a:lnTo>
                    <a:pt x="4391" y="1356"/>
                  </a:lnTo>
                  <a:lnTo>
                    <a:pt x="4391" y="1356"/>
                  </a:lnTo>
                  <a:lnTo>
                    <a:pt x="4387" y="1361"/>
                  </a:lnTo>
                  <a:lnTo>
                    <a:pt x="4387" y="1365"/>
                  </a:lnTo>
                  <a:lnTo>
                    <a:pt x="4387" y="1365"/>
                  </a:lnTo>
                  <a:lnTo>
                    <a:pt x="4387" y="1365"/>
                  </a:lnTo>
                  <a:lnTo>
                    <a:pt x="4387" y="1370"/>
                  </a:lnTo>
                  <a:lnTo>
                    <a:pt x="4387" y="1375"/>
                  </a:lnTo>
                  <a:lnTo>
                    <a:pt x="4391" y="1375"/>
                  </a:lnTo>
                  <a:lnTo>
                    <a:pt x="4391" y="1379"/>
                  </a:lnTo>
                  <a:lnTo>
                    <a:pt x="4391" y="1375"/>
                  </a:lnTo>
                  <a:lnTo>
                    <a:pt x="4391" y="1375"/>
                  </a:lnTo>
                  <a:lnTo>
                    <a:pt x="4391" y="1384"/>
                  </a:lnTo>
                  <a:lnTo>
                    <a:pt x="4391" y="1388"/>
                  </a:lnTo>
                  <a:lnTo>
                    <a:pt x="4391" y="1388"/>
                  </a:lnTo>
                  <a:lnTo>
                    <a:pt x="4387" y="1393"/>
                  </a:lnTo>
                  <a:lnTo>
                    <a:pt x="4387" y="1397"/>
                  </a:lnTo>
                  <a:lnTo>
                    <a:pt x="4387" y="1402"/>
                  </a:lnTo>
                  <a:lnTo>
                    <a:pt x="4387" y="1406"/>
                  </a:lnTo>
                  <a:lnTo>
                    <a:pt x="4387" y="1411"/>
                  </a:lnTo>
                  <a:lnTo>
                    <a:pt x="4391" y="1415"/>
                  </a:lnTo>
                  <a:lnTo>
                    <a:pt x="4391" y="1415"/>
                  </a:lnTo>
                  <a:lnTo>
                    <a:pt x="4391" y="1415"/>
                  </a:lnTo>
                  <a:lnTo>
                    <a:pt x="4391" y="1411"/>
                  </a:lnTo>
                  <a:lnTo>
                    <a:pt x="4391" y="1411"/>
                  </a:lnTo>
                  <a:lnTo>
                    <a:pt x="4396" y="1411"/>
                  </a:lnTo>
                  <a:lnTo>
                    <a:pt x="4396" y="1411"/>
                  </a:lnTo>
                  <a:lnTo>
                    <a:pt x="4396" y="1411"/>
                  </a:lnTo>
                  <a:lnTo>
                    <a:pt x="4396" y="1415"/>
                  </a:lnTo>
                  <a:lnTo>
                    <a:pt x="4400" y="1415"/>
                  </a:lnTo>
                  <a:lnTo>
                    <a:pt x="4400" y="1420"/>
                  </a:lnTo>
                  <a:lnTo>
                    <a:pt x="4405" y="1420"/>
                  </a:lnTo>
                  <a:lnTo>
                    <a:pt x="4405" y="1424"/>
                  </a:lnTo>
                  <a:lnTo>
                    <a:pt x="4405" y="1424"/>
                  </a:lnTo>
                  <a:lnTo>
                    <a:pt x="4405" y="1424"/>
                  </a:lnTo>
                  <a:lnTo>
                    <a:pt x="4405" y="1424"/>
                  </a:lnTo>
                  <a:lnTo>
                    <a:pt x="4409" y="1424"/>
                  </a:lnTo>
                  <a:lnTo>
                    <a:pt x="4409" y="1429"/>
                  </a:lnTo>
                  <a:lnTo>
                    <a:pt x="4409" y="1429"/>
                  </a:lnTo>
                  <a:lnTo>
                    <a:pt x="4414" y="1429"/>
                  </a:lnTo>
                  <a:lnTo>
                    <a:pt x="4414" y="1429"/>
                  </a:lnTo>
                  <a:lnTo>
                    <a:pt x="4414" y="1433"/>
                  </a:lnTo>
                  <a:lnTo>
                    <a:pt x="4414" y="1433"/>
                  </a:lnTo>
                  <a:lnTo>
                    <a:pt x="4414" y="1433"/>
                  </a:lnTo>
                  <a:lnTo>
                    <a:pt x="4414" y="1433"/>
                  </a:lnTo>
                  <a:lnTo>
                    <a:pt x="4414" y="1438"/>
                  </a:lnTo>
                  <a:lnTo>
                    <a:pt x="4418" y="1442"/>
                  </a:lnTo>
                  <a:lnTo>
                    <a:pt x="4423" y="1447"/>
                  </a:lnTo>
                  <a:lnTo>
                    <a:pt x="4423" y="1451"/>
                  </a:lnTo>
                  <a:lnTo>
                    <a:pt x="4427" y="1451"/>
                  </a:lnTo>
                  <a:lnTo>
                    <a:pt x="4427" y="1456"/>
                  </a:lnTo>
                  <a:lnTo>
                    <a:pt x="4427" y="1460"/>
                  </a:lnTo>
                  <a:lnTo>
                    <a:pt x="4427" y="1465"/>
                  </a:lnTo>
                  <a:lnTo>
                    <a:pt x="4432" y="1474"/>
                  </a:lnTo>
                  <a:lnTo>
                    <a:pt x="4436" y="1483"/>
                  </a:lnTo>
                  <a:lnTo>
                    <a:pt x="4436" y="1488"/>
                  </a:lnTo>
                  <a:lnTo>
                    <a:pt x="4436" y="1492"/>
                  </a:lnTo>
                  <a:lnTo>
                    <a:pt x="4436" y="1497"/>
                  </a:lnTo>
                  <a:lnTo>
                    <a:pt x="4436" y="1497"/>
                  </a:lnTo>
                  <a:lnTo>
                    <a:pt x="4436" y="1497"/>
                  </a:lnTo>
                  <a:lnTo>
                    <a:pt x="4436" y="1497"/>
                  </a:lnTo>
                  <a:lnTo>
                    <a:pt x="4436" y="1501"/>
                  </a:lnTo>
                  <a:lnTo>
                    <a:pt x="4441" y="1501"/>
                  </a:lnTo>
                  <a:lnTo>
                    <a:pt x="4441" y="1506"/>
                  </a:lnTo>
                  <a:lnTo>
                    <a:pt x="4445" y="1506"/>
                  </a:lnTo>
                  <a:lnTo>
                    <a:pt x="4445" y="1510"/>
                  </a:lnTo>
                  <a:lnTo>
                    <a:pt x="4450" y="1515"/>
                  </a:lnTo>
                  <a:lnTo>
                    <a:pt x="4450" y="1515"/>
                  </a:lnTo>
                  <a:lnTo>
                    <a:pt x="4445" y="1519"/>
                  </a:lnTo>
                  <a:lnTo>
                    <a:pt x="4450" y="1519"/>
                  </a:lnTo>
                  <a:lnTo>
                    <a:pt x="4450" y="1519"/>
                  </a:lnTo>
                  <a:lnTo>
                    <a:pt x="4450" y="1524"/>
                  </a:lnTo>
                  <a:lnTo>
                    <a:pt x="4454" y="1524"/>
                  </a:lnTo>
                  <a:lnTo>
                    <a:pt x="4459" y="1528"/>
                  </a:lnTo>
                  <a:lnTo>
                    <a:pt x="4463" y="1533"/>
                  </a:lnTo>
                  <a:lnTo>
                    <a:pt x="4468" y="1537"/>
                  </a:lnTo>
                  <a:lnTo>
                    <a:pt x="4472" y="1537"/>
                  </a:lnTo>
                  <a:lnTo>
                    <a:pt x="4477" y="1542"/>
                  </a:lnTo>
                  <a:lnTo>
                    <a:pt x="4486" y="1546"/>
                  </a:lnTo>
                  <a:lnTo>
                    <a:pt x="4486" y="1546"/>
                  </a:lnTo>
                  <a:lnTo>
                    <a:pt x="4486" y="1546"/>
                  </a:lnTo>
                  <a:lnTo>
                    <a:pt x="4486" y="1551"/>
                  </a:lnTo>
                  <a:lnTo>
                    <a:pt x="4486" y="1551"/>
                  </a:lnTo>
                  <a:lnTo>
                    <a:pt x="4491" y="1546"/>
                  </a:lnTo>
                  <a:lnTo>
                    <a:pt x="4491" y="1546"/>
                  </a:lnTo>
                  <a:lnTo>
                    <a:pt x="4495" y="1546"/>
                  </a:lnTo>
                  <a:lnTo>
                    <a:pt x="4495" y="1546"/>
                  </a:lnTo>
                  <a:lnTo>
                    <a:pt x="4495" y="1546"/>
                  </a:lnTo>
                  <a:lnTo>
                    <a:pt x="4495" y="1542"/>
                  </a:lnTo>
                  <a:lnTo>
                    <a:pt x="4495" y="1546"/>
                  </a:lnTo>
                  <a:lnTo>
                    <a:pt x="4495" y="1546"/>
                  </a:lnTo>
                  <a:lnTo>
                    <a:pt x="4495" y="1546"/>
                  </a:lnTo>
                  <a:lnTo>
                    <a:pt x="4495" y="1546"/>
                  </a:lnTo>
                  <a:lnTo>
                    <a:pt x="4500" y="1546"/>
                  </a:lnTo>
                  <a:lnTo>
                    <a:pt x="4500" y="1551"/>
                  </a:lnTo>
                  <a:lnTo>
                    <a:pt x="4500" y="1546"/>
                  </a:lnTo>
                  <a:lnTo>
                    <a:pt x="4500" y="1546"/>
                  </a:lnTo>
                  <a:lnTo>
                    <a:pt x="4500" y="1546"/>
                  </a:lnTo>
                  <a:lnTo>
                    <a:pt x="4500" y="1542"/>
                  </a:lnTo>
                  <a:lnTo>
                    <a:pt x="4495" y="1533"/>
                  </a:lnTo>
                  <a:lnTo>
                    <a:pt x="4491" y="1524"/>
                  </a:lnTo>
                  <a:lnTo>
                    <a:pt x="4491" y="1524"/>
                  </a:lnTo>
                  <a:lnTo>
                    <a:pt x="4486" y="1519"/>
                  </a:lnTo>
                  <a:lnTo>
                    <a:pt x="4486" y="1519"/>
                  </a:lnTo>
                  <a:lnTo>
                    <a:pt x="4486" y="1519"/>
                  </a:lnTo>
                  <a:lnTo>
                    <a:pt x="4486" y="1510"/>
                  </a:lnTo>
                  <a:lnTo>
                    <a:pt x="4486" y="1510"/>
                  </a:lnTo>
                  <a:lnTo>
                    <a:pt x="4486" y="1506"/>
                  </a:lnTo>
                  <a:lnTo>
                    <a:pt x="4482" y="1501"/>
                  </a:lnTo>
                  <a:lnTo>
                    <a:pt x="4482" y="1501"/>
                  </a:lnTo>
                  <a:lnTo>
                    <a:pt x="4482" y="1497"/>
                  </a:lnTo>
                  <a:lnTo>
                    <a:pt x="4486" y="1488"/>
                  </a:lnTo>
                  <a:lnTo>
                    <a:pt x="4482" y="1483"/>
                  </a:lnTo>
                  <a:lnTo>
                    <a:pt x="4482" y="1479"/>
                  </a:lnTo>
                  <a:lnTo>
                    <a:pt x="4477" y="1469"/>
                  </a:lnTo>
                  <a:lnTo>
                    <a:pt x="4477" y="1469"/>
                  </a:lnTo>
                  <a:lnTo>
                    <a:pt x="4472" y="1465"/>
                  </a:lnTo>
                  <a:lnTo>
                    <a:pt x="4472" y="1465"/>
                  </a:lnTo>
                  <a:lnTo>
                    <a:pt x="4472" y="1465"/>
                  </a:lnTo>
                  <a:lnTo>
                    <a:pt x="4468" y="1460"/>
                  </a:lnTo>
                  <a:lnTo>
                    <a:pt x="4463" y="1451"/>
                  </a:lnTo>
                  <a:lnTo>
                    <a:pt x="4463" y="1451"/>
                  </a:lnTo>
                  <a:lnTo>
                    <a:pt x="4459" y="1451"/>
                  </a:lnTo>
                  <a:lnTo>
                    <a:pt x="4454" y="1447"/>
                  </a:lnTo>
                  <a:lnTo>
                    <a:pt x="4450" y="1442"/>
                  </a:lnTo>
                  <a:lnTo>
                    <a:pt x="4445" y="1438"/>
                  </a:lnTo>
                  <a:lnTo>
                    <a:pt x="4445" y="1438"/>
                  </a:lnTo>
                  <a:lnTo>
                    <a:pt x="4445" y="1438"/>
                  </a:lnTo>
                  <a:lnTo>
                    <a:pt x="4441" y="1438"/>
                  </a:lnTo>
                  <a:lnTo>
                    <a:pt x="4436" y="1438"/>
                  </a:lnTo>
                  <a:lnTo>
                    <a:pt x="4436" y="1438"/>
                  </a:lnTo>
                  <a:lnTo>
                    <a:pt x="4432" y="1433"/>
                  </a:lnTo>
                  <a:lnTo>
                    <a:pt x="4432" y="1433"/>
                  </a:lnTo>
                  <a:lnTo>
                    <a:pt x="4427" y="1433"/>
                  </a:lnTo>
                  <a:lnTo>
                    <a:pt x="4427" y="1433"/>
                  </a:lnTo>
                  <a:lnTo>
                    <a:pt x="4427" y="1433"/>
                  </a:lnTo>
                  <a:lnTo>
                    <a:pt x="4423" y="1429"/>
                  </a:lnTo>
                  <a:lnTo>
                    <a:pt x="4423" y="1424"/>
                  </a:lnTo>
                  <a:lnTo>
                    <a:pt x="4423" y="1424"/>
                  </a:lnTo>
                  <a:lnTo>
                    <a:pt x="4423" y="1420"/>
                  </a:lnTo>
                  <a:lnTo>
                    <a:pt x="4423" y="1424"/>
                  </a:lnTo>
                  <a:lnTo>
                    <a:pt x="4427" y="1424"/>
                  </a:lnTo>
                  <a:lnTo>
                    <a:pt x="4423" y="1424"/>
                  </a:lnTo>
                  <a:lnTo>
                    <a:pt x="4423" y="1424"/>
                  </a:lnTo>
                  <a:lnTo>
                    <a:pt x="4427" y="1424"/>
                  </a:lnTo>
                  <a:lnTo>
                    <a:pt x="4427" y="1424"/>
                  </a:lnTo>
                  <a:lnTo>
                    <a:pt x="4427" y="1429"/>
                  </a:lnTo>
                  <a:lnTo>
                    <a:pt x="4427" y="1433"/>
                  </a:lnTo>
                  <a:lnTo>
                    <a:pt x="4432" y="1433"/>
                  </a:lnTo>
                  <a:lnTo>
                    <a:pt x="4427" y="1429"/>
                  </a:lnTo>
                  <a:lnTo>
                    <a:pt x="4427" y="1429"/>
                  </a:lnTo>
                  <a:lnTo>
                    <a:pt x="4423" y="1411"/>
                  </a:lnTo>
                  <a:lnTo>
                    <a:pt x="4423" y="1411"/>
                  </a:lnTo>
                  <a:lnTo>
                    <a:pt x="4423" y="1406"/>
                  </a:lnTo>
                  <a:lnTo>
                    <a:pt x="4423" y="1406"/>
                  </a:lnTo>
                  <a:lnTo>
                    <a:pt x="4423" y="1411"/>
                  </a:lnTo>
                  <a:lnTo>
                    <a:pt x="4418" y="1411"/>
                  </a:lnTo>
                  <a:lnTo>
                    <a:pt x="4418" y="1406"/>
                  </a:lnTo>
                  <a:lnTo>
                    <a:pt x="4418" y="1406"/>
                  </a:lnTo>
                  <a:lnTo>
                    <a:pt x="4418" y="1406"/>
                  </a:lnTo>
                  <a:lnTo>
                    <a:pt x="4414" y="1397"/>
                  </a:lnTo>
                  <a:lnTo>
                    <a:pt x="4414" y="1393"/>
                  </a:lnTo>
                  <a:lnTo>
                    <a:pt x="4414" y="1393"/>
                  </a:lnTo>
                  <a:lnTo>
                    <a:pt x="4414" y="1393"/>
                  </a:lnTo>
                  <a:lnTo>
                    <a:pt x="4405" y="1393"/>
                  </a:lnTo>
                  <a:lnTo>
                    <a:pt x="4405" y="1393"/>
                  </a:lnTo>
                  <a:lnTo>
                    <a:pt x="4405" y="1393"/>
                  </a:lnTo>
                  <a:lnTo>
                    <a:pt x="4405" y="1393"/>
                  </a:lnTo>
                  <a:lnTo>
                    <a:pt x="4405" y="1388"/>
                  </a:lnTo>
                  <a:lnTo>
                    <a:pt x="4400" y="1384"/>
                  </a:lnTo>
                  <a:lnTo>
                    <a:pt x="4400" y="1384"/>
                  </a:lnTo>
                  <a:lnTo>
                    <a:pt x="4400" y="1379"/>
                  </a:lnTo>
                  <a:lnTo>
                    <a:pt x="4400" y="1375"/>
                  </a:lnTo>
                  <a:lnTo>
                    <a:pt x="4400" y="1375"/>
                  </a:lnTo>
                  <a:lnTo>
                    <a:pt x="4400" y="1370"/>
                  </a:lnTo>
                  <a:lnTo>
                    <a:pt x="4400" y="1370"/>
                  </a:lnTo>
                  <a:lnTo>
                    <a:pt x="4400" y="1365"/>
                  </a:lnTo>
                  <a:lnTo>
                    <a:pt x="4405" y="1361"/>
                  </a:lnTo>
                  <a:lnTo>
                    <a:pt x="4405" y="1356"/>
                  </a:lnTo>
                  <a:lnTo>
                    <a:pt x="4405" y="1352"/>
                  </a:lnTo>
                  <a:lnTo>
                    <a:pt x="4405" y="1347"/>
                  </a:lnTo>
                  <a:lnTo>
                    <a:pt x="4405" y="1343"/>
                  </a:lnTo>
                  <a:lnTo>
                    <a:pt x="4409" y="1343"/>
                  </a:lnTo>
                  <a:lnTo>
                    <a:pt x="4409" y="1338"/>
                  </a:lnTo>
                  <a:lnTo>
                    <a:pt x="4409" y="1338"/>
                  </a:lnTo>
                  <a:lnTo>
                    <a:pt x="4409" y="1334"/>
                  </a:lnTo>
                  <a:lnTo>
                    <a:pt x="4409" y="1329"/>
                  </a:lnTo>
                  <a:lnTo>
                    <a:pt x="4409" y="1325"/>
                  </a:lnTo>
                  <a:lnTo>
                    <a:pt x="4409" y="1325"/>
                  </a:lnTo>
                  <a:lnTo>
                    <a:pt x="4409" y="1316"/>
                  </a:lnTo>
                  <a:lnTo>
                    <a:pt x="4409" y="1316"/>
                  </a:lnTo>
                  <a:lnTo>
                    <a:pt x="4405" y="1316"/>
                  </a:lnTo>
                  <a:lnTo>
                    <a:pt x="4409" y="1311"/>
                  </a:lnTo>
                  <a:lnTo>
                    <a:pt x="4409" y="1311"/>
                  </a:lnTo>
                  <a:lnTo>
                    <a:pt x="4409" y="1307"/>
                  </a:lnTo>
                  <a:lnTo>
                    <a:pt x="4414" y="1307"/>
                  </a:lnTo>
                  <a:lnTo>
                    <a:pt x="4418" y="1307"/>
                  </a:lnTo>
                  <a:lnTo>
                    <a:pt x="4418" y="1307"/>
                  </a:lnTo>
                  <a:lnTo>
                    <a:pt x="4423" y="1307"/>
                  </a:lnTo>
                  <a:lnTo>
                    <a:pt x="4423" y="1311"/>
                  </a:lnTo>
                  <a:lnTo>
                    <a:pt x="4423" y="1311"/>
                  </a:lnTo>
                  <a:lnTo>
                    <a:pt x="4423" y="1311"/>
                  </a:lnTo>
                  <a:lnTo>
                    <a:pt x="4423" y="1316"/>
                  </a:lnTo>
                  <a:lnTo>
                    <a:pt x="4423" y="1316"/>
                  </a:lnTo>
                  <a:lnTo>
                    <a:pt x="4423" y="1320"/>
                  </a:lnTo>
                  <a:lnTo>
                    <a:pt x="4423" y="1325"/>
                  </a:lnTo>
                  <a:lnTo>
                    <a:pt x="4423" y="1325"/>
                  </a:lnTo>
                  <a:lnTo>
                    <a:pt x="4427" y="1325"/>
                  </a:lnTo>
                  <a:lnTo>
                    <a:pt x="4427" y="1325"/>
                  </a:lnTo>
                  <a:lnTo>
                    <a:pt x="4432" y="1325"/>
                  </a:lnTo>
                  <a:lnTo>
                    <a:pt x="4436" y="1325"/>
                  </a:lnTo>
                  <a:lnTo>
                    <a:pt x="4441" y="1325"/>
                  </a:lnTo>
                  <a:lnTo>
                    <a:pt x="4441" y="1325"/>
                  </a:lnTo>
                  <a:lnTo>
                    <a:pt x="4441" y="1325"/>
                  </a:lnTo>
                  <a:lnTo>
                    <a:pt x="4445" y="1325"/>
                  </a:lnTo>
                  <a:lnTo>
                    <a:pt x="4445" y="1329"/>
                  </a:lnTo>
                  <a:lnTo>
                    <a:pt x="4450" y="1329"/>
                  </a:lnTo>
                  <a:lnTo>
                    <a:pt x="4450" y="1329"/>
                  </a:lnTo>
                  <a:lnTo>
                    <a:pt x="4450" y="1329"/>
                  </a:lnTo>
                  <a:lnTo>
                    <a:pt x="4450" y="1334"/>
                  </a:lnTo>
                  <a:lnTo>
                    <a:pt x="4450" y="1334"/>
                  </a:lnTo>
                  <a:lnTo>
                    <a:pt x="4454" y="1334"/>
                  </a:lnTo>
                  <a:lnTo>
                    <a:pt x="4454" y="1334"/>
                  </a:lnTo>
                  <a:lnTo>
                    <a:pt x="4454" y="1334"/>
                  </a:lnTo>
                  <a:lnTo>
                    <a:pt x="4454" y="1334"/>
                  </a:lnTo>
                  <a:lnTo>
                    <a:pt x="4459" y="1338"/>
                  </a:lnTo>
                  <a:lnTo>
                    <a:pt x="4459" y="1338"/>
                  </a:lnTo>
                  <a:lnTo>
                    <a:pt x="4459" y="1343"/>
                  </a:lnTo>
                  <a:lnTo>
                    <a:pt x="4463" y="1343"/>
                  </a:lnTo>
                  <a:lnTo>
                    <a:pt x="4463" y="1343"/>
                  </a:lnTo>
                  <a:lnTo>
                    <a:pt x="4463" y="1343"/>
                  </a:lnTo>
                  <a:lnTo>
                    <a:pt x="4463" y="1343"/>
                  </a:lnTo>
                  <a:lnTo>
                    <a:pt x="4463" y="1343"/>
                  </a:lnTo>
                  <a:lnTo>
                    <a:pt x="4463" y="1347"/>
                  </a:lnTo>
                  <a:lnTo>
                    <a:pt x="4468" y="1347"/>
                  </a:lnTo>
                  <a:lnTo>
                    <a:pt x="4463" y="1352"/>
                  </a:lnTo>
                  <a:lnTo>
                    <a:pt x="4468" y="1352"/>
                  </a:lnTo>
                  <a:lnTo>
                    <a:pt x="4468" y="1356"/>
                  </a:lnTo>
                  <a:lnTo>
                    <a:pt x="4468" y="1361"/>
                  </a:lnTo>
                  <a:lnTo>
                    <a:pt x="4468" y="1361"/>
                  </a:lnTo>
                  <a:lnTo>
                    <a:pt x="4472" y="1356"/>
                  </a:lnTo>
                  <a:lnTo>
                    <a:pt x="4472" y="1356"/>
                  </a:lnTo>
                  <a:lnTo>
                    <a:pt x="4472" y="1356"/>
                  </a:lnTo>
                  <a:lnTo>
                    <a:pt x="4472" y="1352"/>
                  </a:lnTo>
                  <a:lnTo>
                    <a:pt x="4477" y="1356"/>
                  </a:lnTo>
                  <a:lnTo>
                    <a:pt x="4477" y="1356"/>
                  </a:lnTo>
                  <a:lnTo>
                    <a:pt x="4477" y="1361"/>
                  </a:lnTo>
                  <a:lnTo>
                    <a:pt x="4477" y="1361"/>
                  </a:lnTo>
                  <a:lnTo>
                    <a:pt x="4477" y="1361"/>
                  </a:lnTo>
                  <a:lnTo>
                    <a:pt x="4477" y="1365"/>
                  </a:lnTo>
                  <a:lnTo>
                    <a:pt x="4477" y="1365"/>
                  </a:lnTo>
                  <a:lnTo>
                    <a:pt x="4477" y="1365"/>
                  </a:lnTo>
                  <a:lnTo>
                    <a:pt x="4477" y="1365"/>
                  </a:lnTo>
                  <a:lnTo>
                    <a:pt x="4482" y="1365"/>
                  </a:lnTo>
                  <a:lnTo>
                    <a:pt x="4482" y="1365"/>
                  </a:lnTo>
                  <a:lnTo>
                    <a:pt x="4482" y="1365"/>
                  </a:lnTo>
                  <a:lnTo>
                    <a:pt x="4482" y="1365"/>
                  </a:lnTo>
                  <a:lnTo>
                    <a:pt x="4486" y="1365"/>
                  </a:lnTo>
                  <a:lnTo>
                    <a:pt x="4491" y="1370"/>
                  </a:lnTo>
                  <a:lnTo>
                    <a:pt x="4491" y="1370"/>
                  </a:lnTo>
                  <a:lnTo>
                    <a:pt x="4495" y="1370"/>
                  </a:lnTo>
                  <a:lnTo>
                    <a:pt x="4495" y="1375"/>
                  </a:lnTo>
                  <a:lnTo>
                    <a:pt x="4495" y="1375"/>
                  </a:lnTo>
                  <a:lnTo>
                    <a:pt x="4495" y="1375"/>
                  </a:lnTo>
                  <a:lnTo>
                    <a:pt x="4500" y="1375"/>
                  </a:lnTo>
                  <a:lnTo>
                    <a:pt x="4500" y="1375"/>
                  </a:lnTo>
                  <a:lnTo>
                    <a:pt x="4500" y="1375"/>
                  </a:lnTo>
                  <a:lnTo>
                    <a:pt x="4504" y="1375"/>
                  </a:lnTo>
                  <a:lnTo>
                    <a:pt x="4504" y="1375"/>
                  </a:lnTo>
                  <a:lnTo>
                    <a:pt x="4504" y="1379"/>
                  </a:lnTo>
                  <a:lnTo>
                    <a:pt x="4504" y="1379"/>
                  </a:lnTo>
                  <a:lnTo>
                    <a:pt x="4500" y="1379"/>
                  </a:lnTo>
                  <a:lnTo>
                    <a:pt x="4500" y="1379"/>
                  </a:lnTo>
                  <a:lnTo>
                    <a:pt x="4500" y="1384"/>
                  </a:lnTo>
                  <a:lnTo>
                    <a:pt x="4500" y="1393"/>
                  </a:lnTo>
                  <a:lnTo>
                    <a:pt x="4500" y="1402"/>
                  </a:lnTo>
                  <a:lnTo>
                    <a:pt x="4504" y="1402"/>
                  </a:lnTo>
                  <a:lnTo>
                    <a:pt x="4500" y="1406"/>
                  </a:lnTo>
                  <a:lnTo>
                    <a:pt x="4504" y="1406"/>
                  </a:lnTo>
                  <a:lnTo>
                    <a:pt x="4509" y="1402"/>
                  </a:lnTo>
                  <a:lnTo>
                    <a:pt x="4509" y="1402"/>
                  </a:lnTo>
                  <a:lnTo>
                    <a:pt x="4509" y="1402"/>
                  </a:lnTo>
                  <a:lnTo>
                    <a:pt x="4513" y="1397"/>
                  </a:lnTo>
                  <a:lnTo>
                    <a:pt x="4513" y="1393"/>
                  </a:lnTo>
                  <a:lnTo>
                    <a:pt x="4522" y="1388"/>
                  </a:lnTo>
                  <a:lnTo>
                    <a:pt x="4522" y="1388"/>
                  </a:lnTo>
                  <a:lnTo>
                    <a:pt x="4522" y="1388"/>
                  </a:lnTo>
                  <a:lnTo>
                    <a:pt x="4522" y="1384"/>
                  </a:lnTo>
                  <a:lnTo>
                    <a:pt x="4522" y="1384"/>
                  </a:lnTo>
                  <a:lnTo>
                    <a:pt x="4518" y="1375"/>
                  </a:lnTo>
                  <a:lnTo>
                    <a:pt x="4518" y="1379"/>
                  </a:lnTo>
                  <a:lnTo>
                    <a:pt x="4522" y="1384"/>
                  </a:lnTo>
                  <a:lnTo>
                    <a:pt x="4527" y="1384"/>
                  </a:lnTo>
                  <a:lnTo>
                    <a:pt x="4527" y="1384"/>
                  </a:lnTo>
                  <a:lnTo>
                    <a:pt x="4531" y="1384"/>
                  </a:lnTo>
                  <a:lnTo>
                    <a:pt x="4531" y="1384"/>
                  </a:lnTo>
                  <a:lnTo>
                    <a:pt x="4531" y="1384"/>
                  </a:lnTo>
                  <a:lnTo>
                    <a:pt x="4527" y="1379"/>
                  </a:lnTo>
                  <a:lnTo>
                    <a:pt x="4522" y="1375"/>
                  </a:lnTo>
                  <a:lnTo>
                    <a:pt x="4522" y="1370"/>
                  </a:lnTo>
                  <a:lnTo>
                    <a:pt x="4527" y="1379"/>
                  </a:lnTo>
                  <a:lnTo>
                    <a:pt x="4531" y="1379"/>
                  </a:lnTo>
                  <a:lnTo>
                    <a:pt x="4531" y="1379"/>
                  </a:lnTo>
                  <a:lnTo>
                    <a:pt x="4531" y="1379"/>
                  </a:lnTo>
                  <a:lnTo>
                    <a:pt x="4531" y="1379"/>
                  </a:lnTo>
                  <a:lnTo>
                    <a:pt x="4531" y="1375"/>
                  </a:lnTo>
                  <a:lnTo>
                    <a:pt x="4531" y="1375"/>
                  </a:lnTo>
                  <a:lnTo>
                    <a:pt x="4531" y="1375"/>
                  </a:lnTo>
                  <a:lnTo>
                    <a:pt x="4531" y="1375"/>
                  </a:lnTo>
                  <a:lnTo>
                    <a:pt x="4531" y="1370"/>
                  </a:lnTo>
                  <a:lnTo>
                    <a:pt x="4531" y="1370"/>
                  </a:lnTo>
                  <a:lnTo>
                    <a:pt x="4527" y="1370"/>
                  </a:lnTo>
                  <a:lnTo>
                    <a:pt x="4527" y="1370"/>
                  </a:lnTo>
                  <a:lnTo>
                    <a:pt x="4531" y="1370"/>
                  </a:lnTo>
                  <a:lnTo>
                    <a:pt x="4531" y="1370"/>
                  </a:lnTo>
                  <a:lnTo>
                    <a:pt x="4531" y="1370"/>
                  </a:lnTo>
                  <a:lnTo>
                    <a:pt x="4531" y="1370"/>
                  </a:lnTo>
                  <a:lnTo>
                    <a:pt x="4531" y="1365"/>
                  </a:lnTo>
                  <a:lnTo>
                    <a:pt x="4531" y="1365"/>
                  </a:lnTo>
                  <a:lnTo>
                    <a:pt x="4531" y="1365"/>
                  </a:lnTo>
                  <a:lnTo>
                    <a:pt x="4527" y="1365"/>
                  </a:lnTo>
                  <a:lnTo>
                    <a:pt x="4531" y="1365"/>
                  </a:lnTo>
                  <a:lnTo>
                    <a:pt x="4531" y="1365"/>
                  </a:lnTo>
                  <a:lnTo>
                    <a:pt x="4536" y="1370"/>
                  </a:lnTo>
                  <a:lnTo>
                    <a:pt x="4536" y="1370"/>
                  </a:lnTo>
                  <a:lnTo>
                    <a:pt x="4536" y="1365"/>
                  </a:lnTo>
                  <a:lnTo>
                    <a:pt x="4536" y="1365"/>
                  </a:lnTo>
                  <a:lnTo>
                    <a:pt x="4536" y="1361"/>
                  </a:lnTo>
                  <a:lnTo>
                    <a:pt x="4536" y="1365"/>
                  </a:lnTo>
                  <a:lnTo>
                    <a:pt x="4536" y="1365"/>
                  </a:lnTo>
                  <a:lnTo>
                    <a:pt x="4536" y="1365"/>
                  </a:lnTo>
                  <a:lnTo>
                    <a:pt x="4540" y="1365"/>
                  </a:lnTo>
                  <a:lnTo>
                    <a:pt x="4540" y="1365"/>
                  </a:lnTo>
                  <a:lnTo>
                    <a:pt x="4540" y="1370"/>
                  </a:lnTo>
                  <a:lnTo>
                    <a:pt x="4540" y="1365"/>
                  </a:lnTo>
                  <a:lnTo>
                    <a:pt x="4545" y="1365"/>
                  </a:lnTo>
                  <a:lnTo>
                    <a:pt x="4545" y="1365"/>
                  </a:lnTo>
                  <a:lnTo>
                    <a:pt x="4549" y="1361"/>
                  </a:lnTo>
                  <a:lnTo>
                    <a:pt x="4554" y="1361"/>
                  </a:lnTo>
                  <a:lnTo>
                    <a:pt x="4554" y="1356"/>
                  </a:lnTo>
                  <a:lnTo>
                    <a:pt x="4554" y="1356"/>
                  </a:lnTo>
                  <a:lnTo>
                    <a:pt x="4558" y="1356"/>
                  </a:lnTo>
                  <a:lnTo>
                    <a:pt x="4558" y="1356"/>
                  </a:lnTo>
                  <a:lnTo>
                    <a:pt x="4558" y="1352"/>
                  </a:lnTo>
                  <a:lnTo>
                    <a:pt x="4563" y="1352"/>
                  </a:lnTo>
                  <a:lnTo>
                    <a:pt x="4563" y="1347"/>
                  </a:lnTo>
                  <a:lnTo>
                    <a:pt x="4567" y="1347"/>
                  </a:lnTo>
                  <a:lnTo>
                    <a:pt x="4567" y="1347"/>
                  </a:lnTo>
                  <a:lnTo>
                    <a:pt x="4567" y="1343"/>
                  </a:lnTo>
                  <a:lnTo>
                    <a:pt x="4567" y="1343"/>
                  </a:lnTo>
                  <a:lnTo>
                    <a:pt x="4572" y="1343"/>
                  </a:lnTo>
                  <a:lnTo>
                    <a:pt x="4572" y="1343"/>
                  </a:lnTo>
                  <a:lnTo>
                    <a:pt x="4572" y="1338"/>
                  </a:lnTo>
                  <a:lnTo>
                    <a:pt x="4567" y="1338"/>
                  </a:lnTo>
                  <a:lnTo>
                    <a:pt x="4567" y="1338"/>
                  </a:lnTo>
                  <a:lnTo>
                    <a:pt x="4567" y="1334"/>
                  </a:lnTo>
                  <a:lnTo>
                    <a:pt x="4567" y="1334"/>
                  </a:lnTo>
                  <a:lnTo>
                    <a:pt x="4567" y="1334"/>
                  </a:lnTo>
                  <a:lnTo>
                    <a:pt x="4572" y="1338"/>
                  </a:lnTo>
                  <a:lnTo>
                    <a:pt x="4572" y="1338"/>
                  </a:lnTo>
                  <a:lnTo>
                    <a:pt x="4572" y="1338"/>
                  </a:lnTo>
                  <a:lnTo>
                    <a:pt x="4572" y="1334"/>
                  </a:lnTo>
                  <a:lnTo>
                    <a:pt x="4567" y="1334"/>
                  </a:lnTo>
                  <a:lnTo>
                    <a:pt x="4567" y="1325"/>
                  </a:lnTo>
                  <a:lnTo>
                    <a:pt x="4572" y="1329"/>
                  </a:lnTo>
                  <a:lnTo>
                    <a:pt x="4567" y="1320"/>
                  </a:lnTo>
                  <a:lnTo>
                    <a:pt x="4567" y="1320"/>
                  </a:lnTo>
                  <a:lnTo>
                    <a:pt x="4567" y="1320"/>
                  </a:lnTo>
                  <a:lnTo>
                    <a:pt x="4572" y="1320"/>
                  </a:lnTo>
                  <a:lnTo>
                    <a:pt x="4572" y="1325"/>
                  </a:lnTo>
                  <a:lnTo>
                    <a:pt x="4572" y="1320"/>
                  </a:lnTo>
                  <a:lnTo>
                    <a:pt x="4572" y="1316"/>
                  </a:lnTo>
                  <a:lnTo>
                    <a:pt x="4567" y="1316"/>
                  </a:lnTo>
                  <a:lnTo>
                    <a:pt x="4567" y="1311"/>
                  </a:lnTo>
                  <a:lnTo>
                    <a:pt x="4567" y="1311"/>
                  </a:lnTo>
                  <a:lnTo>
                    <a:pt x="4567" y="1307"/>
                  </a:lnTo>
                  <a:lnTo>
                    <a:pt x="4567" y="1302"/>
                  </a:lnTo>
                  <a:lnTo>
                    <a:pt x="4563" y="1298"/>
                  </a:lnTo>
                  <a:lnTo>
                    <a:pt x="4567" y="1302"/>
                  </a:lnTo>
                  <a:lnTo>
                    <a:pt x="4567" y="1298"/>
                  </a:lnTo>
                  <a:lnTo>
                    <a:pt x="4563" y="1293"/>
                  </a:lnTo>
                  <a:lnTo>
                    <a:pt x="4563" y="1293"/>
                  </a:lnTo>
                  <a:lnTo>
                    <a:pt x="4563" y="1293"/>
                  </a:lnTo>
                  <a:lnTo>
                    <a:pt x="4563" y="1289"/>
                  </a:lnTo>
                  <a:lnTo>
                    <a:pt x="4563" y="1289"/>
                  </a:lnTo>
                  <a:lnTo>
                    <a:pt x="4558" y="1284"/>
                  </a:lnTo>
                  <a:lnTo>
                    <a:pt x="4558" y="1280"/>
                  </a:lnTo>
                  <a:lnTo>
                    <a:pt x="4558" y="1280"/>
                  </a:lnTo>
                  <a:lnTo>
                    <a:pt x="4554" y="1275"/>
                  </a:lnTo>
                  <a:lnTo>
                    <a:pt x="4554" y="1271"/>
                  </a:lnTo>
                  <a:lnTo>
                    <a:pt x="4554" y="1266"/>
                  </a:lnTo>
                  <a:lnTo>
                    <a:pt x="4549" y="1266"/>
                  </a:lnTo>
                  <a:lnTo>
                    <a:pt x="4549" y="1266"/>
                  </a:lnTo>
                  <a:lnTo>
                    <a:pt x="4545" y="1266"/>
                  </a:lnTo>
                  <a:lnTo>
                    <a:pt x="4545" y="1261"/>
                  </a:lnTo>
                  <a:lnTo>
                    <a:pt x="4545" y="1257"/>
                  </a:lnTo>
                  <a:lnTo>
                    <a:pt x="4540" y="1257"/>
                  </a:lnTo>
                  <a:lnTo>
                    <a:pt x="4540" y="1257"/>
                  </a:lnTo>
                  <a:lnTo>
                    <a:pt x="4540" y="1252"/>
                  </a:lnTo>
                  <a:lnTo>
                    <a:pt x="4540" y="1252"/>
                  </a:lnTo>
                  <a:lnTo>
                    <a:pt x="4540" y="1252"/>
                  </a:lnTo>
                  <a:lnTo>
                    <a:pt x="4536" y="1252"/>
                  </a:lnTo>
                  <a:lnTo>
                    <a:pt x="4536" y="1252"/>
                  </a:lnTo>
                  <a:lnTo>
                    <a:pt x="4536" y="1248"/>
                  </a:lnTo>
                  <a:lnTo>
                    <a:pt x="4536" y="1248"/>
                  </a:lnTo>
                  <a:lnTo>
                    <a:pt x="4531" y="1248"/>
                  </a:lnTo>
                  <a:lnTo>
                    <a:pt x="4531" y="1248"/>
                  </a:lnTo>
                  <a:lnTo>
                    <a:pt x="4531" y="1248"/>
                  </a:lnTo>
                  <a:lnTo>
                    <a:pt x="4531" y="1248"/>
                  </a:lnTo>
                  <a:lnTo>
                    <a:pt x="4527" y="1248"/>
                  </a:lnTo>
                  <a:lnTo>
                    <a:pt x="4527" y="1243"/>
                  </a:lnTo>
                  <a:lnTo>
                    <a:pt x="4527" y="1243"/>
                  </a:lnTo>
                  <a:lnTo>
                    <a:pt x="4527" y="1243"/>
                  </a:lnTo>
                  <a:lnTo>
                    <a:pt x="4522" y="1239"/>
                  </a:lnTo>
                  <a:lnTo>
                    <a:pt x="4518" y="1239"/>
                  </a:lnTo>
                  <a:lnTo>
                    <a:pt x="4518" y="1234"/>
                  </a:lnTo>
                  <a:lnTo>
                    <a:pt x="4513" y="1230"/>
                  </a:lnTo>
                  <a:lnTo>
                    <a:pt x="4509" y="1230"/>
                  </a:lnTo>
                  <a:lnTo>
                    <a:pt x="4504" y="1225"/>
                  </a:lnTo>
                  <a:lnTo>
                    <a:pt x="4500" y="1221"/>
                  </a:lnTo>
                  <a:lnTo>
                    <a:pt x="4500" y="1221"/>
                  </a:lnTo>
                  <a:lnTo>
                    <a:pt x="4504" y="1221"/>
                  </a:lnTo>
                  <a:lnTo>
                    <a:pt x="4500" y="1221"/>
                  </a:lnTo>
                  <a:lnTo>
                    <a:pt x="4504" y="1216"/>
                  </a:lnTo>
                  <a:lnTo>
                    <a:pt x="4500" y="1216"/>
                  </a:lnTo>
                  <a:lnTo>
                    <a:pt x="4495" y="1212"/>
                  </a:lnTo>
                  <a:lnTo>
                    <a:pt x="4495" y="1212"/>
                  </a:lnTo>
                  <a:lnTo>
                    <a:pt x="4495" y="1212"/>
                  </a:lnTo>
                  <a:lnTo>
                    <a:pt x="4491" y="1207"/>
                  </a:lnTo>
                  <a:lnTo>
                    <a:pt x="4486" y="1207"/>
                  </a:lnTo>
                  <a:lnTo>
                    <a:pt x="4486" y="1203"/>
                  </a:lnTo>
                  <a:lnTo>
                    <a:pt x="4486" y="1203"/>
                  </a:lnTo>
                  <a:lnTo>
                    <a:pt x="4486" y="1203"/>
                  </a:lnTo>
                  <a:lnTo>
                    <a:pt x="4482" y="1198"/>
                  </a:lnTo>
                  <a:lnTo>
                    <a:pt x="4482" y="1198"/>
                  </a:lnTo>
                  <a:lnTo>
                    <a:pt x="4482" y="1194"/>
                  </a:lnTo>
                  <a:lnTo>
                    <a:pt x="4486" y="1189"/>
                  </a:lnTo>
                  <a:lnTo>
                    <a:pt x="4482" y="1189"/>
                  </a:lnTo>
                  <a:lnTo>
                    <a:pt x="4482" y="1189"/>
                  </a:lnTo>
                  <a:lnTo>
                    <a:pt x="4482" y="1185"/>
                  </a:lnTo>
                  <a:lnTo>
                    <a:pt x="4486" y="1180"/>
                  </a:lnTo>
                  <a:lnTo>
                    <a:pt x="4486" y="1176"/>
                  </a:lnTo>
                  <a:lnTo>
                    <a:pt x="4486" y="1176"/>
                  </a:lnTo>
                  <a:lnTo>
                    <a:pt x="4491" y="1171"/>
                  </a:lnTo>
                  <a:lnTo>
                    <a:pt x="4491" y="1171"/>
                  </a:lnTo>
                  <a:lnTo>
                    <a:pt x="4491" y="1171"/>
                  </a:lnTo>
                  <a:lnTo>
                    <a:pt x="4491" y="1167"/>
                  </a:lnTo>
                  <a:lnTo>
                    <a:pt x="4495" y="1162"/>
                  </a:lnTo>
                  <a:lnTo>
                    <a:pt x="4495" y="1162"/>
                  </a:lnTo>
                  <a:lnTo>
                    <a:pt x="4491" y="1158"/>
                  </a:lnTo>
                  <a:lnTo>
                    <a:pt x="4491" y="1158"/>
                  </a:lnTo>
                  <a:lnTo>
                    <a:pt x="4491" y="1158"/>
                  </a:lnTo>
                  <a:lnTo>
                    <a:pt x="4491" y="1158"/>
                  </a:lnTo>
                  <a:lnTo>
                    <a:pt x="4495" y="1158"/>
                  </a:lnTo>
                  <a:lnTo>
                    <a:pt x="4495" y="1158"/>
                  </a:lnTo>
                  <a:lnTo>
                    <a:pt x="4495" y="1158"/>
                  </a:lnTo>
                  <a:lnTo>
                    <a:pt x="4495" y="1158"/>
                  </a:lnTo>
                  <a:lnTo>
                    <a:pt x="4495" y="1158"/>
                  </a:lnTo>
                  <a:lnTo>
                    <a:pt x="4500" y="1158"/>
                  </a:lnTo>
                  <a:lnTo>
                    <a:pt x="4500" y="1158"/>
                  </a:lnTo>
                  <a:lnTo>
                    <a:pt x="4500" y="1158"/>
                  </a:lnTo>
                  <a:lnTo>
                    <a:pt x="4504" y="1158"/>
                  </a:lnTo>
                  <a:lnTo>
                    <a:pt x="4504" y="1153"/>
                  </a:lnTo>
                  <a:lnTo>
                    <a:pt x="4500" y="1153"/>
                  </a:lnTo>
                  <a:lnTo>
                    <a:pt x="4504" y="1153"/>
                  </a:lnTo>
                  <a:lnTo>
                    <a:pt x="4504" y="1148"/>
                  </a:lnTo>
                  <a:lnTo>
                    <a:pt x="4504" y="1148"/>
                  </a:lnTo>
                  <a:lnTo>
                    <a:pt x="4504" y="1148"/>
                  </a:lnTo>
                  <a:lnTo>
                    <a:pt x="4509" y="1148"/>
                  </a:lnTo>
                  <a:lnTo>
                    <a:pt x="4509" y="1148"/>
                  </a:lnTo>
                  <a:lnTo>
                    <a:pt x="4509" y="1144"/>
                  </a:lnTo>
                  <a:lnTo>
                    <a:pt x="4513" y="1144"/>
                  </a:lnTo>
                  <a:lnTo>
                    <a:pt x="4513" y="1144"/>
                  </a:lnTo>
                  <a:lnTo>
                    <a:pt x="4513" y="1144"/>
                  </a:lnTo>
                  <a:lnTo>
                    <a:pt x="4513" y="1144"/>
                  </a:lnTo>
                  <a:lnTo>
                    <a:pt x="4513" y="1144"/>
                  </a:lnTo>
                  <a:lnTo>
                    <a:pt x="4518" y="1144"/>
                  </a:lnTo>
                  <a:lnTo>
                    <a:pt x="4518" y="1144"/>
                  </a:lnTo>
                  <a:lnTo>
                    <a:pt x="4518" y="1144"/>
                  </a:lnTo>
                  <a:lnTo>
                    <a:pt x="4518" y="1144"/>
                  </a:lnTo>
                  <a:lnTo>
                    <a:pt x="4518" y="1144"/>
                  </a:lnTo>
                  <a:lnTo>
                    <a:pt x="4518" y="1139"/>
                  </a:lnTo>
                  <a:lnTo>
                    <a:pt x="4518" y="1139"/>
                  </a:lnTo>
                  <a:lnTo>
                    <a:pt x="4518" y="1139"/>
                  </a:lnTo>
                  <a:lnTo>
                    <a:pt x="4518" y="1139"/>
                  </a:lnTo>
                  <a:lnTo>
                    <a:pt x="4518" y="1139"/>
                  </a:lnTo>
                  <a:lnTo>
                    <a:pt x="4518" y="1139"/>
                  </a:lnTo>
                  <a:lnTo>
                    <a:pt x="4518" y="1139"/>
                  </a:lnTo>
                  <a:lnTo>
                    <a:pt x="4522" y="1139"/>
                  </a:lnTo>
                  <a:lnTo>
                    <a:pt x="4522" y="1144"/>
                  </a:lnTo>
                  <a:lnTo>
                    <a:pt x="4522" y="1144"/>
                  </a:lnTo>
                  <a:lnTo>
                    <a:pt x="4522" y="1144"/>
                  </a:lnTo>
                  <a:lnTo>
                    <a:pt x="4527" y="1144"/>
                  </a:lnTo>
                  <a:lnTo>
                    <a:pt x="4527" y="1144"/>
                  </a:lnTo>
                  <a:lnTo>
                    <a:pt x="4527" y="1144"/>
                  </a:lnTo>
                  <a:lnTo>
                    <a:pt x="4531" y="1144"/>
                  </a:lnTo>
                  <a:lnTo>
                    <a:pt x="4531" y="1144"/>
                  </a:lnTo>
                  <a:lnTo>
                    <a:pt x="4531" y="1148"/>
                  </a:lnTo>
                  <a:lnTo>
                    <a:pt x="4531" y="1148"/>
                  </a:lnTo>
                  <a:lnTo>
                    <a:pt x="4531" y="1148"/>
                  </a:lnTo>
                  <a:lnTo>
                    <a:pt x="4536" y="1148"/>
                  </a:lnTo>
                  <a:lnTo>
                    <a:pt x="4536" y="1144"/>
                  </a:lnTo>
                  <a:lnTo>
                    <a:pt x="4536" y="1144"/>
                  </a:lnTo>
                  <a:lnTo>
                    <a:pt x="4536" y="1139"/>
                  </a:lnTo>
                  <a:lnTo>
                    <a:pt x="4536" y="1139"/>
                  </a:lnTo>
                  <a:lnTo>
                    <a:pt x="4536" y="1144"/>
                  </a:lnTo>
                  <a:lnTo>
                    <a:pt x="4540" y="1144"/>
                  </a:lnTo>
                  <a:lnTo>
                    <a:pt x="4540" y="1144"/>
                  </a:lnTo>
                  <a:lnTo>
                    <a:pt x="4540" y="1144"/>
                  </a:lnTo>
                  <a:lnTo>
                    <a:pt x="4540" y="1144"/>
                  </a:lnTo>
                  <a:lnTo>
                    <a:pt x="4545" y="1144"/>
                  </a:lnTo>
                  <a:lnTo>
                    <a:pt x="4545" y="1148"/>
                  </a:lnTo>
                  <a:lnTo>
                    <a:pt x="4540" y="1148"/>
                  </a:lnTo>
                  <a:lnTo>
                    <a:pt x="4540" y="1148"/>
                  </a:lnTo>
                  <a:lnTo>
                    <a:pt x="4540" y="1153"/>
                  </a:lnTo>
                  <a:lnTo>
                    <a:pt x="4540" y="1153"/>
                  </a:lnTo>
                  <a:lnTo>
                    <a:pt x="4540" y="1158"/>
                  </a:lnTo>
                  <a:lnTo>
                    <a:pt x="4540" y="1158"/>
                  </a:lnTo>
                  <a:lnTo>
                    <a:pt x="4545" y="1158"/>
                  </a:lnTo>
                  <a:lnTo>
                    <a:pt x="4545" y="1158"/>
                  </a:lnTo>
                  <a:lnTo>
                    <a:pt x="4545" y="1162"/>
                  </a:lnTo>
                  <a:lnTo>
                    <a:pt x="4545" y="1162"/>
                  </a:lnTo>
                  <a:lnTo>
                    <a:pt x="4549" y="1167"/>
                  </a:lnTo>
                  <a:lnTo>
                    <a:pt x="4549" y="1167"/>
                  </a:lnTo>
                  <a:lnTo>
                    <a:pt x="4549" y="1167"/>
                  </a:lnTo>
                  <a:lnTo>
                    <a:pt x="4549" y="1167"/>
                  </a:lnTo>
                  <a:lnTo>
                    <a:pt x="4549" y="1167"/>
                  </a:lnTo>
                  <a:lnTo>
                    <a:pt x="4549" y="1167"/>
                  </a:lnTo>
                  <a:lnTo>
                    <a:pt x="4549" y="1167"/>
                  </a:lnTo>
                  <a:lnTo>
                    <a:pt x="4549" y="1171"/>
                  </a:lnTo>
                  <a:lnTo>
                    <a:pt x="4554" y="1171"/>
                  </a:lnTo>
                  <a:lnTo>
                    <a:pt x="4558" y="1171"/>
                  </a:lnTo>
                  <a:lnTo>
                    <a:pt x="4558" y="1167"/>
                  </a:lnTo>
                  <a:lnTo>
                    <a:pt x="4558" y="1167"/>
                  </a:lnTo>
                  <a:lnTo>
                    <a:pt x="4558" y="1167"/>
                  </a:lnTo>
                  <a:lnTo>
                    <a:pt x="4558" y="1167"/>
                  </a:lnTo>
                  <a:lnTo>
                    <a:pt x="4554" y="1162"/>
                  </a:lnTo>
                  <a:lnTo>
                    <a:pt x="4554" y="1162"/>
                  </a:lnTo>
                  <a:lnTo>
                    <a:pt x="4554" y="1162"/>
                  </a:lnTo>
                  <a:lnTo>
                    <a:pt x="4554" y="1158"/>
                  </a:lnTo>
                  <a:lnTo>
                    <a:pt x="4554" y="1158"/>
                  </a:lnTo>
                  <a:lnTo>
                    <a:pt x="4549" y="1158"/>
                  </a:lnTo>
                  <a:lnTo>
                    <a:pt x="4549" y="1158"/>
                  </a:lnTo>
                  <a:lnTo>
                    <a:pt x="4549" y="1153"/>
                  </a:lnTo>
                  <a:lnTo>
                    <a:pt x="4554" y="1153"/>
                  </a:lnTo>
                  <a:lnTo>
                    <a:pt x="4554" y="1153"/>
                  </a:lnTo>
                  <a:lnTo>
                    <a:pt x="4554" y="1148"/>
                  </a:lnTo>
                  <a:lnTo>
                    <a:pt x="4554" y="1148"/>
                  </a:lnTo>
                  <a:lnTo>
                    <a:pt x="4554" y="1148"/>
                  </a:lnTo>
                  <a:lnTo>
                    <a:pt x="4554" y="1148"/>
                  </a:lnTo>
                  <a:lnTo>
                    <a:pt x="4554" y="1148"/>
                  </a:lnTo>
                  <a:lnTo>
                    <a:pt x="4554" y="1148"/>
                  </a:lnTo>
                  <a:lnTo>
                    <a:pt x="4558" y="1148"/>
                  </a:lnTo>
                  <a:lnTo>
                    <a:pt x="4558" y="1148"/>
                  </a:lnTo>
                  <a:lnTo>
                    <a:pt x="4558" y="1148"/>
                  </a:lnTo>
                  <a:lnTo>
                    <a:pt x="4563" y="1144"/>
                  </a:lnTo>
                  <a:lnTo>
                    <a:pt x="4563" y="1144"/>
                  </a:lnTo>
                  <a:lnTo>
                    <a:pt x="4563" y="1144"/>
                  </a:lnTo>
                  <a:lnTo>
                    <a:pt x="4563" y="1144"/>
                  </a:lnTo>
                  <a:lnTo>
                    <a:pt x="4563" y="1144"/>
                  </a:lnTo>
                  <a:lnTo>
                    <a:pt x="4563" y="1144"/>
                  </a:lnTo>
                  <a:lnTo>
                    <a:pt x="4567" y="1144"/>
                  </a:lnTo>
                  <a:lnTo>
                    <a:pt x="4567" y="1144"/>
                  </a:lnTo>
                  <a:lnTo>
                    <a:pt x="4572" y="1144"/>
                  </a:lnTo>
                  <a:lnTo>
                    <a:pt x="4572" y="1144"/>
                  </a:lnTo>
                  <a:lnTo>
                    <a:pt x="4572" y="1139"/>
                  </a:lnTo>
                  <a:lnTo>
                    <a:pt x="4572" y="1139"/>
                  </a:lnTo>
                  <a:lnTo>
                    <a:pt x="4572" y="1139"/>
                  </a:lnTo>
                  <a:lnTo>
                    <a:pt x="4576" y="1139"/>
                  </a:lnTo>
                  <a:lnTo>
                    <a:pt x="4576" y="1139"/>
                  </a:lnTo>
                  <a:lnTo>
                    <a:pt x="4576" y="1135"/>
                  </a:lnTo>
                  <a:lnTo>
                    <a:pt x="4576" y="1135"/>
                  </a:lnTo>
                  <a:lnTo>
                    <a:pt x="4576" y="1139"/>
                  </a:lnTo>
                  <a:lnTo>
                    <a:pt x="4581" y="1139"/>
                  </a:lnTo>
                  <a:lnTo>
                    <a:pt x="4581" y="1139"/>
                  </a:lnTo>
                  <a:lnTo>
                    <a:pt x="4581" y="1139"/>
                  </a:lnTo>
                  <a:lnTo>
                    <a:pt x="4581" y="1139"/>
                  </a:lnTo>
                  <a:lnTo>
                    <a:pt x="4581" y="1135"/>
                  </a:lnTo>
                  <a:lnTo>
                    <a:pt x="4581" y="1135"/>
                  </a:lnTo>
                  <a:lnTo>
                    <a:pt x="4581" y="1135"/>
                  </a:lnTo>
                  <a:lnTo>
                    <a:pt x="4581" y="1135"/>
                  </a:lnTo>
                  <a:lnTo>
                    <a:pt x="4581" y="1135"/>
                  </a:lnTo>
                  <a:lnTo>
                    <a:pt x="4581" y="1135"/>
                  </a:lnTo>
                  <a:lnTo>
                    <a:pt x="4585" y="1139"/>
                  </a:lnTo>
                  <a:lnTo>
                    <a:pt x="4585" y="1139"/>
                  </a:lnTo>
                  <a:lnTo>
                    <a:pt x="4585" y="1139"/>
                  </a:lnTo>
                  <a:lnTo>
                    <a:pt x="4585" y="1135"/>
                  </a:lnTo>
                  <a:lnTo>
                    <a:pt x="4590" y="1135"/>
                  </a:lnTo>
                  <a:lnTo>
                    <a:pt x="4590" y="1135"/>
                  </a:lnTo>
                  <a:lnTo>
                    <a:pt x="4590" y="1135"/>
                  </a:lnTo>
                  <a:lnTo>
                    <a:pt x="4590" y="1135"/>
                  </a:lnTo>
                  <a:lnTo>
                    <a:pt x="4590" y="1135"/>
                  </a:lnTo>
                  <a:lnTo>
                    <a:pt x="4590" y="1130"/>
                  </a:lnTo>
                  <a:lnTo>
                    <a:pt x="4594" y="1130"/>
                  </a:lnTo>
                  <a:lnTo>
                    <a:pt x="4594" y="1130"/>
                  </a:lnTo>
                  <a:lnTo>
                    <a:pt x="4594" y="1130"/>
                  </a:lnTo>
                  <a:lnTo>
                    <a:pt x="4594" y="1130"/>
                  </a:lnTo>
                  <a:lnTo>
                    <a:pt x="4599" y="1130"/>
                  </a:lnTo>
                  <a:lnTo>
                    <a:pt x="4599" y="1130"/>
                  </a:lnTo>
                  <a:lnTo>
                    <a:pt x="4599" y="1130"/>
                  </a:lnTo>
                  <a:lnTo>
                    <a:pt x="4599" y="1130"/>
                  </a:lnTo>
                  <a:lnTo>
                    <a:pt x="4599" y="1126"/>
                  </a:lnTo>
                  <a:lnTo>
                    <a:pt x="4599" y="1126"/>
                  </a:lnTo>
                  <a:lnTo>
                    <a:pt x="4599" y="1126"/>
                  </a:lnTo>
                  <a:lnTo>
                    <a:pt x="4599" y="1121"/>
                  </a:lnTo>
                  <a:lnTo>
                    <a:pt x="4594" y="1121"/>
                  </a:lnTo>
                  <a:lnTo>
                    <a:pt x="4594" y="1117"/>
                  </a:lnTo>
                  <a:lnTo>
                    <a:pt x="4594" y="1117"/>
                  </a:lnTo>
                  <a:lnTo>
                    <a:pt x="4594" y="1117"/>
                  </a:lnTo>
                  <a:lnTo>
                    <a:pt x="4594" y="1117"/>
                  </a:lnTo>
                  <a:lnTo>
                    <a:pt x="4594" y="1117"/>
                  </a:lnTo>
                  <a:lnTo>
                    <a:pt x="4594" y="1112"/>
                  </a:lnTo>
                  <a:lnTo>
                    <a:pt x="4594" y="1112"/>
                  </a:lnTo>
                  <a:lnTo>
                    <a:pt x="4594" y="1112"/>
                  </a:lnTo>
                  <a:lnTo>
                    <a:pt x="4594" y="1112"/>
                  </a:lnTo>
                  <a:lnTo>
                    <a:pt x="4594" y="1112"/>
                  </a:lnTo>
                  <a:lnTo>
                    <a:pt x="4594" y="1112"/>
                  </a:lnTo>
                  <a:lnTo>
                    <a:pt x="4594" y="1112"/>
                  </a:lnTo>
                  <a:lnTo>
                    <a:pt x="4594" y="1112"/>
                  </a:lnTo>
                  <a:lnTo>
                    <a:pt x="4599" y="1117"/>
                  </a:lnTo>
                  <a:lnTo>
                    <a:pt x="4599" y="1117"/>
                  </a:lnTo>
                  <a:lnTo>
                    <a:pt x="4599" y="1117"/>
                  </a:lnTo>
                  <a:lnTo>
                    <a:pt x="4603" y="1121"/>
                  </a:lnTo>
                  <a:lnTo>
                    <a:pt x="4603" y="1121"/>
                  </a:lnTo>
                  <a:lnTo>
                    <a:pt x="4608" y="1121"/>
                  </a:lnTo>
                  <a:lnTo>
                    <a:pt x="4608" y="1121"/>
                  </a:lnTo>
                  <a:lnTo>
                    <a:pt x="4603" y="1126"/>
                  </a:lnTo>
                  <a:lnTo>
                    <a:pt x="4603" y="1126"/>
                  </a:lnTo>
                  <a:lnTo>
                    <a:pt x="4603" y="1126"/>
                  </a:lnTo>
                  <a:lnTo>
                    <a:pt x="4608" y="1126"/>
                  </a:lnTo>
                  <a:lnTo>
                    <a:pt x="4608" y="1126"/>
                  </a:lnTo>
                  <a:lnTo>
                    <a:pt x="4613" y="1126"/>
                  </a:lnTo>
                  <a:lnTo>
                    <a:pt x="4613" y="1126"/>
                  </a:lnTo>
                  <a:lnTo>
                    <a:pt x="4613" y="1126"/>
                  </a:lnTo>
                  <a:lnTo>
                    <a:pt x="4613" y="1126"/>
                  </a:lnTo>
                  <a:lnTo>
                    <a:pt x="4613" y="1126"/>
                  </a:lnTo>
                  <a:lnTo>
                    <a:pt x="4613" y="1121"/>
                  </a:lnTo>
                  <a:lnTo>
                    <a:pt x="4613" y="1121"/>
                  </a:lnTo>
                  <a:lnTo>
                    <a:pt x="4608" y="1121"/>
                  </a:lnTo>
                  <a:lnTo>
                    <a:pt x="4613" y="1121"/>
                  </a:lnTo>
                  <a:lnTo>
                    <a:pt x="4613" y="1121"/>
                  </a:lnTo>
                  <a:lnTo>
                    <a:pt x="4613" y="1121"/>
                  </a:lnTo>
                  <a:lnTo>
                    <a:pt x="4617" y="1121"/>
                  </a:lnTo>
                  <a:lnTo>
                    <a:pt x="4613" y="1121"/>
                  </a:lnTo>
                  <a:lnTo>
                    <a:pt x="4613" y="1121"/>
                  </a:lnTo>
                  <a:lnTo>
                    <a:pt x="4613" y="1117"/>
                  </a:lnTo>
                  <a:lnTo>
                    <a:pt x="4617" y="1117"/>
                  </a:lnTo>
                  <a:lnTo>
                    <a:pt x="4617" y="1117"/>
                  </a:lnTo>
                  <a:lnTo>
                    <a:pt x="4617" y="1121"/>
                  </a:lnTo>
                  <a:lnTo>
                    <a:pt x="4622" y="1121"/>
                  </a:lnTo>
                  <a:lnTo>
                    <a:pt x="4622" y="1121"/>
                  </a:lnTo>
                  <a:lnTo>
                    <a:pt x="4622" y="1117"/>
                  </a:lnTo>
                  <a:lnTo>
                    <a:pt x="4622" y="1117"/>
                  </a:lnTo>
                  <a:lnTo>
                    <a:pt x="4622" y="1117"/>
                  </a:lnTo>
                  <a:lnTo>
                    <a:pt x="4626" y="1117"/>
                  </a:lnTo>
                  <a:lnTo>
                    <a:pt x="4626" y="1117"/>
                  </a:lnTo>
                  <a:lnTo>
                    <a:pt x="4626" y="1117"/>
                  </a:lnTo>
                  <a:lnTo>
                    <a:pt x="4631" y="1117"/>
                  </a:lnTo>
                  <a:lnTo>
                    <a:pt x="4631" y="1117"/>
                  </a:lnTo>
                  <a:lnTo>
                    <a:pt x="4631" y="1117"/>
                  </a:lnTo>
                  <a:lnTo>
                    <a:pt x="4631" y="1117"/>
                  </a:lnTo>
                  <a:lnTo>
                    <a:pt x="4635" y="1117"/>
                  </a:lnTo>
                  <a:lnTo>
                    <a:pt x="4635" y="1117"/>
                  </a:lnTo>
                  <a:lnTo>
                    <a:pt x="4640" y="1112"/>
                  </a:lnTo>
                  <a:lnTo>
                    <a:pt x="4640" y="1112"/>
                  </a:lnTo>
                  <a:lnTo>
                    <a:pt x="4640" y="1112"/>
                  </a:lnTo>
                  <a:lnTo>
                    <a:pt x="4640" y="1112"/>
                  </a:lnTo>
                  <a:lnTo>
                    <a:pt x="4640" y="1112"/>
                  </a:lnTo>
                  <a:lnTo>
                    <a:pt x="4644" y="1112"/>
                  </a:lnTo>
                  <a:lnTo>
                    <a:pt x="4644" y="1112"/>
                  </a:lnTo>
                  <a:lnTo>
                    <a:pt x="4644" y="1112"/>
                  </a:lnTo>
                  <a:lnTo>
                    <a:pt x="4644" y="1108"/>
                  </a:lnTo>
                  <a:lnTo>
                    <a:pt x="4644" y="1108"/>
                  </a:lnTo>
                  <a:lnTo>
                    <a:pt x="4644" y="1108"/>
                  </a:lnTo>
                  <a:lnTo>
                    <a:pt x="4644" y="1103"/>
                  </a:lnTo>
                  <a:lnTo>
                    <a:pt x="4644" y="1103"/>
                  </a:lnTo>
                  <a:lnTo>
                    <a:pt x="4644" y="1103"/>
                  </a:lnTo>
                  <a:lnTo>
                    <a:pt x="4644" y="1103"/>
                  </a:lnTo>
                  <a:lnTo>
                    <a:pt x="4649" y="1103"/>
                  </a:lnTo>
                  <a:lnTo>
                    <a:pt x="4649" y="1103"/>
                  </a:lnTo>
                  <a:lnTo>
                    <a:pt x="4649" y="1099"/>
                  </a:lnTo>
                  <a:lnTo>
                    <a:pt x="4649" y="1099"/>
                  </a:lnTo>
                  <a:lnTo>
                    <a:pt x="4649" y="1099"/>
                  </a:lnTo>
                  <a:lnTo>
                    <a:pt x="4653" y="1099"/>
                  </a:lnTo>
                  <a:lnTo>
                    <a:pt x="4653" y="1099"/>
                  </a:lnTo>
                  <a:lnTo>
                    <a:pt x="4653" y="1094"/>
                  </a:lnTo>
                  <a:lnTo>
                    <a:pt x="4653" y="1094"/>
                  </a:lnTo>
                  <a:lnTo>
                    <a:pt x="4653" y="1099"/>
                  </a:lnTo>
                  <a:lnTo>
                    <a:pt x="4653" y="1099"/>
                  </a:lnTo>
                  <a:lnTo>
                    <a:pt x="4658" y="1099"/>
                  </a:lnTo>
                  <a:lnTo>
                    <a:pt x="4658" y="1094"/>
                  </a:lnTo>
                  <a:lnTo>
                    <a:pt x="4658" y="1094"/>
                  </a:lnTo>
                  <a:lnTo>
                    <a:pt x="4653" y="1094"/>
                  </a:lnTo>
                  <a:lnTo>
                    <a:pt x="4658" y="1094"/>
                  </a:lnTo>
                  <a:lnTo>
                    <a:pt x="4658" y="1094"/>
                  </a:lnTo>
                  <a:lnTo>
                    <a:pt x="4658" y="1094"/>
                  </a:lnTo>
                  <a:lnTo>
                    <a:pt x="4658" y="1090"/>
                  </a:lnTo>
                  <a:lnTo>
                    <a:pt x="4658" y="1090"/>
                  </a:lnTo>
                  <a:lnTo>
                    <a:pt x="4662" y="1090"/>
                  </a:lnTo>
                  <a:lnTo>
                    <a:pt x="4662" y="1090"/>
                  </a:lnTo>
                  <a:lnTo>
                    <a:pt x="4662" y="1085"/>
                  </a:lnTo>
                  <a:lnTo>
                    <a:pt x="4662" y="1085"/>
                  </a:lnTo>
                  <a:lnTo>
                    <a:pt x="4662" y="1081"/>
                  </a:lnTo>
                  <a:lnTo>
                    <a:pt x="4658" y="1081"/>
                  </a:lnTo>
                  <a:lnTo>
                    <a:pt x="4658" y="1081"/>
                  </a:lnTo>
                  <a:lnTo>
                    <a:pt x="4658" y="1081"/>
                  </a:lnTo>
                  <a:lnTo>
                    <a:pt x="4658" y="1081"/>
                  </a:lnTo>
                  <a:lnTo>
                    <a:pt x="4658" y="1081"/>
                  </a:lnTo>
                  <a:lnTo>
                    <a:pt x="4662" y="1081"/>
                  </a:lnTo>
                  <a:lnTo>
                    <a:pt x="4658" y="1081"/>
                  </a:lnTo>
                  <a:lnTo>
                    <a:pt x="4662" y="1076"/>
                  </a:lnTo>
                  <a:lnTo>
                    <a:pt x="4662" y="1076"/>
                  </a:lnTo>
                  <a:lnTo>
                    <a:pt x="4662" y="1076"/>
                  </a:lnTo>
                  <a:lnTo>
                    <a:pt x="4667" y="1076"/>
                  </a:lnTo>
                  <a:lnTo>
                    <a:pt x="4667" y="1076"/>
                  </a:lnTo>
                  <a:lnTo>
                    <a:pt x="4671" y="1076"/>
                  </a:lnTo>
                  <a:lnTo>
                    <a:pt x="4671" y="1076"/>
                  </a:lnTo>
                  <a:lnTo>
                    <a:pt x="4671" y="1072"/>
                  </a:lnTo>
                  <a:lnTo>
                    <a:pt x="4667" y="1072"/>
                  </a:lnTo>
                  <a:lnTo>
                    <a:pt x="4667" y="1072"/>
                  </a:lnTo>
                  <a:lnTo>
                    <a:pt x="4671" y="1072"/>
                  </a:lnTo>
                  <a:lnTo>
                    <a:pt x="4671" y="1072"/>
                  </a:lnTo>
                  <a:lnTo>
                    <a:pt x="4671" y="1072"/>
                  </a:lnTo>
                  <a:lnTo>
                    <a:pt x="4671" y="1067"/>
                  </a:lnTo>
                  <a:lnTo>
                    <a:pt x="4671" y="1067"/>
                  </a:lnTo>
                  <a:lnTo>
                    <a:pt x="4671" y="1067"/>
                  </a:lnTo>
                  <a:lnTo>
                    <a:pt x="4671" y="1063"/>
                  </a:lnTo>
                  <a:lnTo>
                    <a:pt x="4676" y="1067"/>
                  </a:lnTo>
                  <a:lnTo>
                    <a:pt x="4676" y="1063"/>
                  </a:lnTo>
                  <a:lnTo>
                    <a:pt x="4676" y="1063"/>
                  </a:lnTo>
                  <a:lnTo>
                    <a:pt x="4676" y="1063"/>
                  </a:lnTo>
                  <a:lnTo>
                    <a:pt x="4671" y="1063"/>
                  </a:lnTo>
                  <a:lnTo>
                    <a:pt x="4671" y="1058"/>
                  </a:lnTo>
                  <a:lnTo>
                    <a:pt x="4676" y="1058"/>
                  </a:lnTo>
                  <a:lnTo>
                    <a:pt x="4676" y="1058"/>
                  </a:lnTo>
                  <a:lnTo>
                    <a:pt x="4676" y="1058"/>
                  </a:lnTo>
                  <a:lnTo>
                    <a:pt x="4680" y="1063"/>
                  </a:lnTo>
                  <a:lnTo>
                    <a:pt x="4680" y="1063"/>
                  </a:lnTo>
                  <a:lnTo>
                    <a:pt x="4680" y="1063"/>
                  </a:lnTo>
                  <a:lnTo>
                    <a:pt x="4680" y="1058"/>
                  </a:lnTo>
                  <a:lnTo>
                    <a:pt x="4676" y="1058"/>
                  </a:lnTo>
                  <a:lnTo>
                    <a:pt x="4676" y="1054"/>
                  </a:lnTo>
                  <a:lnTo>
                    <a:pt x="4676" y="1054"/>
                  </a:lnTo>
                  <a:lnTo>
                    <a:pt x="4676" y="1049"/>
                  </a:lnTo>
                  <a:lnTo>
                    <a:pt x="4676" y="1049"/>
                  </a:lnTo>
                  <a:lnTo>
                    <a:pt x="4676" y="1049"/>
                  </a:lnTo>
                  <a:lnTo>
                    <a:pt x="4671" y="1049"/>
                  </a:lnTo>
                  <a:lnTo>
                    <a:pt x="4671" y="1049"/>
                  </a:lnTo>
                  <a:lnTo>
                    <a:pt x="4671" y="1049"/>
                  </a:lnTo>
                  <a:lnTo>
                    <a:pt x="4667" y="1044"/>
                  </a:lnTo>
                  <a:lnTo>
                    <a:pt x="4671" y="1049"/>
                  </a:lnTo>
                  <a:lnTo>
                    <a:pt x="4671" y="1049"/>
                  </a:lnTo>
                  <a:lnTo>
                    <a:pt x="4671" y="1049"/>
                  </a:lnTo>
                  <a:lnTo>
                    <a:pt x="4671" y="1049"/>
                  </a:lnTo>
                  <a:lnTo>
                    <a:pt x="4676" y="1044"/>
                  </a:lnTo>
                  <a:lnTo>
                    <a:pt x="4676" y="1044"/>
                  </a:lnTo>
                  <a:lnTo>
                    <a:pt x="4676" y="1044"/>
                  </a:lnTo>
                  <a:lnTo>
                    <a:pt x="4680" y="1040"/>
                  </a:lnTo>
                  <a:lnTo>
                    <a:pt x="4676" y="1040"/>
                  </a:lnTo>
                  <a:lnTo>
                    <a:pt x="4676" y="1040"/>
                  </a:lnTo>
                  <a:lnTo>
                    <a:pt x="4676" y="1040"/>
                  </a:lnTo>
                  <a:lnTo>
                    <a:pt x="4676" y="1035"/>
                  </a:lnTo>
                  <a:lnTo>
                    <a:pt x="4676" y="1035"/>
                  </a:lnTo>
                  <a:lnTo>
                    <a:pt x="4671" y="1035"/>
                  </a:lnTo>
                  <a:lnTo>
                    <a:pt x="4671" y="1035"/>
                  </a:lnTo>
                  <a:lnTo>
                    <a:pt x="4671" y="1035"/>
                  </a:lnTo>
                  <a:lnTo>
                    <a:pt x="4671" y="1031"/>
                  </a:lnTo>
                  <a:lnTo>
                    <a:pt x="4671" y="1035"/>
                  </a:lnTo>
                  <a:lnTo>
                    <a:pt x="4671" y="1035"/>
                  </a:lnTo>
                  <a:lnTo>
                    <a:pt x="4671" y="1031"/>
                  </a:lnTo>
                  <a:lnTo>
                    <a:pt x="4671" y="1031"/>
                  </a:lnTo>
                  <a:lnTo>
                    <a:pt x="4676" y="1031"/>
                  </a:lnTo>
                  <a:lnTo>
                    <a:pt x="4676" y="1031"/>
                  </a:lnTo>
                  <a:lnTo>
                    <a:pt x="4676" y="1035"/>
                  </a:lnTo>
                  <a:lnTo>
                    <a:pt x="4676" y="1035"/>
                  </a:lnTo>
                  <a:lnTo>
                    <a:pt x="4676" y="1035"/>
                  </a:lnTo>
                  <a:lnTo>
                    <a:pt x="4676" y="1035"/>
                  </a:lnTo>
                  <a:lnTo>
                    <a:pt x="4676" y="1035"/>
                  </a:lnTo>
                  <a:lnTo>
                    <a:pt x="4680" y="1035"/>
                  </a:lnTo>
                  <a:lnTo>
                    <a:pt x="4680" y="1035"/>
                  </a:lnTo>
                  <a:lnTo>
                    <a:pt x="4680" y="1031"/>
                  </a:lnTo>
                  <a:lnTo>
                    <a:pt x="4680" y="1031"/>
                  </a:lnTo>
                  <a:lnTo>
                    <a:pt x="4680" y="1026"/>
                  </a:lnTo>
                  <a:lnTo>
                    <a:pt x="4680" y="1026"/>
                  </a:lnTo>
                  <a:lnTo>
                    <a:pt x="4680" y="1022"/>
                  </a:lnTo>
                  <a:lnTo>
                    <a:pt x="4680" y="1022"/>
                  </a:lnTo>
                  <a:lnTo>
                    <a:pt x="4680" y="1017"/>
                  </a:lnTo>
                  <a:lnTo>
                    <a:pt x="4680" y="1017"/>
                  </a:lnTo>
                  <a:lnTo>
                    <a:pt x="4680" y="1017"/>
                  </a:lnTo>
                  <a:lnTo>
                    <a:pt x="4680" y="1013"/>
                  </a:lnTo>
                  <a:lnTo>
                    <a:pt x="4680" y="1013"/>
                  </a:lnTo>
                  <a:lnTo>
                    <a:pt x="4680" y="1013"/>
                  </a:lnTo>
                  <a:lnTo>
                    <a:pt x="4680" y="1008"/>
                  </a:lnTo>
                  <a:lnTo>
                    <a:pt x="4680" y="1008"/>
                  </a:lnTo>
                  <a:lnTo>
                    <a:pt x="4680" y="1008"/>
                  </a:lnTo>
                  <a:lnTo>
                    <a:pt x="4680" y="1008"/>
                  </a:lnTo>
                  <a:lnTo>
                    <a:pt x="4680" y="1008"/>
                  </a:lnTo>
                  <a:lnTo>
                    <a:pt x="4680" y="1008"/>
                  </a:lnTo>
                  <a:lnTo>
                    <a:pt x="4685" y="1008"/>
                  </a:lnTo>
                  <a:lnTo>
                    <a:pt x="4685" y="1004"/>
                  </a:lnTo>
                  <a:lnTo>
                    <a:pt x="4685" y="1004"/>
                  </a:lnTo>
                  <a:lnTo>
                    <a:pt x="4685" y="999"/>
                  </a:lnTo>
                  <a:lnTo>
                    <a:pt x="4685" y="999"/>
                  </a:lnTo>
                  <a:lnTo>
                    <a:pt x="4685" y="1004"/>
                  </a:lnTo>
                  <a:lnTo>
                    <a:pt x="4689" y="1004"/>
                  </a:lnTo>
                  <a:lnTo>
                    <a:pt x="4689" y="999"/>
                  </a:lnTo>
                  <a:lnTo>
                    <a:pt x="4694" y="999"/>
                  </a:lnTo>
                  <a:lnTo>
                    <a:pt x="4689" y="999"/>
                  </a:lnTo>
                  <a:lnTo>
                    <a:pt x="4689" y="995"/>
                  </a:lnTo>
                  <a:lnTo>
                    <a:pt x="4685" y="995"/>
                  </a:lnTo>
                  <a:lnTo>
                    <a:pt x="4685" y="995"/>
                  </a:lnTo>
                  <a:lnTo>
                    <a:pt x="4689" y="990"/>
                  </a:lnTo>
                  <a:lnTo>
                    <a:pt x="4689" y="990"/>
                  </a:lnTo>
                  <a:lnTo>
                    <a:pt x="4689" y="990"/>
                  </a:lnTo>
                  <a:lnTo>
                    <a:pt x="4685" y="990"/>
                  </a:lnTo>
                  <a:lnTo>
                    <a:pt x="4689" y="990"/>
                  </a:lnTo>
                  <a:lnTo>
                    <a:pt x="4689" y="986"/>
                  </a:lnTo>
                  <a:lnTo>
                    <a:pt x="4685" y="986"/>
                  </a:lnTo>
                  <a:lnTo>
                    <a:pt x="4685" y="986"/>
                  </a:lnTo>
                  <a:lnTo>
                    <a:pt x="4680" y="986"/>
                  </a:lnTo>
                  <a:lnTo>
                    <a:pt x="4680" y="981"/>
                  </a:lnTo>
                  <a:lnTo>
                    <a:pt x="4685" y="981"/>
                  </a:lnTo>
                  <a:lnTo>
                    <a:pt x="4685" y="981"/>
                  </a:lnTo>
                  <a:lnTo>
                    <a:pt x="4685" y="981"/>
                  </a:lnTo>
                  <a:lnTo>
                    <a:pt x="4685" y="981"/>
                  </a:lnTo>
                  <a:lnTo>
                    <a:pt x="4689" y="986"/>
                  </a:lnTo>
                  <a:lnTo>
                    <a:pt x="4689" y="986"/>
                  </a:lnTo>
                  <a:lnTo>
                    <a:pt x="4689" y="977"/>
                  </a:lnTo>
                  <a:lnTo>
                    <a:pt x="4685" y="977"/>
                  </a:lnTo>
                  <a:lnTo>
                    <a:pt x="4685" y="972"/>
                  </a:lnTo>
                  <a:lnTo>
                    <a:pt x="4685" y="977"/>
                  </a:lnTo>
                  <a:lnTo>
                    <a:pt x="4685" y="977"/>
                  </a:lnTo>
                  <a:lnTo>
                    <a:pt x="4680" y="977"/>
                  </a:lnTo>
                  <a:lnTo>
                    <a:pt x="4680" y="977"/>
                  </a:lnTo>
                  <a:lnTo>
                    <a:pt x="4680" y="977"/>
                  </a:lnTo>
                  <a:lnTo>
                    <a:pt x="4685" y="972"/>
                  </a:lnTo>
                  <a:lnTo>
                    <a:pt x="4685" y="968"/>
                  </a:lnTo>
                  <a:lnTo>
                    <a:pt x="4685" y="968"/>
                  </a:lnTo>
                  <a:lnTo>
                    <a:pt x="4685" y="968"/>
                  </a:lnTo>
                  <a:lnTo>
                    <a:pt x="4680" y="968"/>
                  </a:lnTo>
                  <a:lnTo>
                    <a:pt x="4680" y="968"/>
                  </a:lnTo>
                  <a:lnTo>
                    <a:pt x="4671" y="963"/>
                  </a:lnTo>
                  <a:lnTo>
                    <a:pt x="4671" y="963"/>
                  </a:lnTo>
                  <a:lnTo>
                    <a:pt x="4671" y="963"/>
                  </a:lnTo>
                  <a:lnTo>
                    <a:pt x="4667" y="963"/>
                  </a:lnTo>
                  <a:lnTo>
                    <a:pt x="4667" y="963"/>
                  </a:lnTo>
                  <a:lnTo>
                    <a:pt x="4662" y="963"/>
                  </a:lnTo>
                  <a:lnTo>
                    <a:pt x="4658" y="963"/>
                  </a:lnTo>
                  <a:lnTo>
                    <a:pt x="4653" y="963"/>
                  </a:lnTo>
                  <a:lnTo>
                    <a:pt x="4653" y="963"/>
                  </a:lnTo>
                  <a:lnTo>
                    <a:pt x="4653" y="963"/>
                  </a:lnTo>
                  <a:lnTo>
                    <a:pt x="4653" y="963"/>
                  </a:lnTo>
                  <a:lnTo>
                    <a:pt x="4653" y="963"/>
                  </a:lnTo>
                  <a:lnTo>
                    <a:pt x="4658" y="959"/>
                  </a:lnTo>
                  <a:lnTo>
                    <a:pt x="4658" y="959"/>
                  </a:lnTo>
                  <a:lnTo>
                    <a:pt x="4662" y="959"/>
                  </a:lnTo>
                  <a:lnTo>
                    <a:pt x="4662" y="959"/>
                  </a:lnTo>
                  <a:lnTo>
                    <a:pt x="4662" y="959"/>
                  </a:lnTo>
                  <a:lnTo>
                    <a:pt x="4662" y="954"/>
                  </a:lnTo>
                  <a:lnTo>
                    <a:pt x="4667" y="954"/>
                  </a:lnTo>
                  <a:lnTo>
                    <a:pt x="4667" y="950"/>
                  </a:lnTo>
                  <a:lnTo>
                    <a:pt x="4671" y="950"/>
                  </a:lnTo>
                  <a:lnTo>
                    <a:pt x="4671" y="950"/>
                  </a:lnTo>
                  <a:lnTo>
                    <a:pt x="4671" y="950"/>
                  </a:lnTo>
                  <a:lnTo>
                    <a:pt x="4676" y="950"/>
                  </a:lnTo>
                  <a:lnTo>
                    <a:pt x="4671" y="945"/>
                  </a:lnTo>
                  <a:lnTo>
                    <a:pt x="4671" y="945"/>
                  </a:lnTo>
                  <a:lnTo>
                    <a:pt x="4667" y="940"/>
                  </a:lnTo>
                  <a:lnTo>
                    <a:pt x="4662" y="936"/>
                  </a:lnTo>
                  <a:lnTo>
                    <a:pt x="4658" y="936"/>
                  </a:lnTo>
                  <a:lnTo>
                    <a:pt x="4653" y="931"/>
                  </a:lnTo>
                  <a:lnTo>
                    <a:pt x="4653" y="931"/>
                  </a:lnTo>
                  <a:lnTo>
                    <a:pt x="4649" y="931"/>
                  </a:lnTo>
                  <a:lnTo>
                    <a:pt x="4649" y="931"/>
                  </a:lnTo>
                  <a:lnTo>
                    <a:pt x="4644" y="927"/>
                  </a:lnTo>
                  <a:lnTo>
                    <a:pt x="4644" y="927"/>
                  </a:lnTo>
                  <a:lnTo>
                    <a:pt x="4640" y="927"/>
                  </a:lnTo>
                  <a:lnTo>
                    <a:pt x="4640" y="931"/>
                  </a:lnTo>
                  <a:lnTo>
                    <a:pt x="4635" y="931"/>
                  </a:lnTo>
                  <a:lnTo>
                    <a:pt x="4635" y="927"/>
                  </a:lnTo>
                  <a:lnTo>
                    <a:pt x="4635" y="927"/>
                  </a:lnTo>
                  <a:lnTo>
                    <a:pt x="4640" y="927"/>
                  </a:lnTo>
                  <a:lnTo>
                    <a:pt x="4644" y="927"/>
                  </a:lnTo>
                  <a:lnTo>
                    <a:pt x="4644" y="927"/>
                  </a:lnTo>
                  <a:lnTo>
                    <a:pt x="4649" y="927"/>
                  </a:lnTo>
                  <a:lnTo>
                    <a:pt x="4653" y="931"/>
                  </a:lnTo>
                  <a:lnTo>
                    <a:pt x="4653" y="931"/>
                  </a:lnTo>
                  <a:lnTo>
                    <a:pt x="4658" y="931"/>
                  </a:lnTo>
                  <a:lnTo>
                    <a:pt x="4658" y="931"/>
                  </a:lnTo>
                  <a:lnTo>
                    <a:pt x="4662" y="931"/>
                  </a:lnTo>
                  <a:lnTo>
                    <a:pt x="4667" y="931"/>
                  </a:lnTo>
                  <a:lnTo>
                    <a:pt x="4667" y="931"/>
                  </a:lnTo>
                  <a:lnTo>
                    <a:pt x="4667" y="931"/>
                  </a:lnTo>
                  <a:lnTo>
                    <a:pt x="4667" y="927"/>
                  </a:lnTo>
                  <a:lnTo>
                    <a:pt x="4662" y="927"/>
                  </a:lnTo>
                  <a:lnTo>
                    <a:pt x="4662" y="927"/>
                  </a:lnTo>
                  <a:lnTo>
                    <a:pt x="4658" y="922"/>
                  </a:lnTo>
                  <a:lnTo>
                    <a:pt x="4658" y="922"/>
                  </a:lnTo>
                  <a:lnTo>
                    <a:pt x="4653" y="922"/>
                  </a:lnTo>
                  <a:lnTo>
                    <a:pt x="4653" y="918"/>
                  </a:lnTo>
                  <a:lnTo>
                    <a:pt x="4653" y="918"/>
                  </a:lnTo>
                  <a:lnTo>
                    <a:pt x="4653" y="918"/>
                  </a:lnTo>
                  <a:lnTo>
                    <a:pt x="4644" y="918"/>
                  </a:lnTo>
                  <a:lnTo>
                    <a:pt x="4644" y="913"/>
                  </a:lnTo>
                  <a:lnTo>
                    <a:pt x="4640" y="913"/>
                  </a:lnTo>
                  <a:lnTo>
                    <a:pt x="4640" y="909"/>
                  </a:lnTo>
                  <a:lnTo>
                    <a:pt x="4640" y="909"/>
                  </a:lnTo>
                  <a:lnTo>
                    <a:pt x="4635" y="904"/>
                  </a:lnTo>
                  <a:lnTo>
                    <a:pt x="4631" y="900"/>
                  </a:lnTo>
                  <a:lnTo>
                    <a:pt x="4626" y="895"/>
                  </a:lnTo>
                  <a:lnTo>
                    <a:pt x="4626" y="895"/>
                  </a:lnTo>
                  <a:lnTo>
                    <a:pt x="4626" y="891"/>
                  </a:lnTo>
                  <a:lnTo>
                    <a:pt x="4622" y="886"/>
                  </a:lnTo>
                  <a:lnTo>
                    <a:pt x="4617" y="882"/>
                  </a:lnTo>
                  <a:lnTo>
                    <a:pt x="4617" y="882"/>
                  </a:lnTo>
                  <a:lnTo>
                    <a:pt x="4613" y="882"/>
                  </a:lnTo>
                  <a:lnTo>
                    <a:pt x="4608" y="877"/>
                  </a:lnTo>
                  <a:lnTo>
                    <a:pt x="4603" y="877"/>
                  </a:lnTo>
                  <a:lnTo>
                    <a:pt x="4599" y="877"/>
                  </a:lnTo>
                  <a:lnTo>
                    <a:pt x="4599" y="873"/>
                  </a:lnTo>
                  <a:lnTo>
                    <a:pt x="4599" y="873"/>
                  </a:lnTo>
                  <a:lnTo>
                    <a:pt x="4594" y="873"/>
                  </a:lnTo>
                  <a:lnTo>
                    <a:pt x="4594" y="868"/>
                  </a:lnTo>
                  <a:lnTo>
                    <a:pt x="4594" y="868"/>
                  </a:lnTo>
                  <a:lnTo>
                    <a:pt x="4594" y="864"/>
                  </a:lnTo>
                  <a:lnTo>
                    <a:pt x="4594" y="864"/>
                  </a:lnTo>
                  <a:lnTo>
                    <a:pt x="4594" y="859"/>
                  </a:lnTo>
                  <a:lnTo>
                    <a:pt x="4594" y="859"/>
                  </a:lnTo>
                  <a:lnTo>
                    <a:pt x="4599" y="859"/>
                  </a:lnTo>
                  <a:lnTo>
                    <a:pt x="4599" y="855"/>
                  </a:lnTo>
                  <a:lnTo>
                    <a:pt x="4599" y="855"/>
                  </a:lnTo>
                  <a:lnTo>
                    <a:pt x="4599" y="855"/>
                  </a:lnTo>
                  <a:lnTo>
                    <a:pt x="4599" y="855"/>
                  </a:lnTo>
                  <a:lnTo>
                    <a:pt x="4599" y="850"/>
                  </a:lnTo>
                  <a:lnTo>
                    <a:pt x="4599" y="850"/>
                  </a:lnTo>
                  <a:lnTo>
                    <a:pt x="4603" y="850"/>
                  </a:lnTo>
                  <a:lnTo>
                    <a:pt x="4599" y="850"/>
                  </a:lnTo>
                  <a:lnTo>
                    <a:pt x="4599" y="850"/>
                  </a:lnTo>
                  <a:lnTo>
                    <a:pt x="4599" y="846"/>
                  </a:lnTo>
                  <a:lnTo>
                    <a:pt x="4599" y="846"/>
                  </a:lnTo>
                  <a:lnTo>
                    <a:pt x="4599" y="846"/>
                  </a:lnTo>
                  <a:lnTo>
                    <a:pt x="4599" y="846"/>
                  </a:lnTo>
                  <a:lnTo>
                    <a:pt x="4599" y="846"/>
                  </a:lnTo>
                  <a:lnTo>
                    <a:pt x="4599" y="846"/>
                  </a:lnTo>
                  <a:lnTo>
                    <a:pt x="4599" y="846"/>
                  </a:lnTo>
                  <a:lnTo>
                    <a:pt x="4603" y="846"/>
                  </a:lnTo>
                  <a:lnTo>
                    <a:pt x="4603" y="846"/>
                  </a:lnTo>
                  <a:lnTo>
                    <a:pt x="4603" y="846"/>
                  </a:lnTo>
                  <a:lnTo>
                    <a:pt x="4603" y="846"/>
                  </a:lnTo>
                  <a:lnTo>
                    <a:pt x="4603" y="846"/>
                  </a:lnTo>
                  <a:lnTo>
                    <a:pt x="4603" y="841"/>
                  </a:lnTo>
                  <a:lnTo>
                    <a:pt x="4603" y="841"/>
                  </a:lnTo>
                  <a:lnTo>
                    <a:pt x="4603" y="841"/>
                  </a:lnTo>
                  <a:lnTo>
                    <a:pt x="4603" y="841"/>
                  </a:lnTo>
                  <a:lnTo>
                    <a:pt x="4608" y="841"/>
                  </a:lnTo>
                  <a:lnTo>
                    <a:pt x="4608" y="836"/>
                  </a:lnTo>
                  <a:lnTo>
                    <a:pt x="4603" y="836"/>
                  </a:lnTo>
                  <a:lnTo>
                    <a:pt x="4603" y="836"/>
                  </a:lnTo>
                  <a:lnTo>
                    <a:pt x="4603" y="836"/>
                  </a:lnTo>
                  <a:lnTo>
                    <a:pt x="4603" y="836"/>
                  </a:lnTo>
                  <a:lnTo>
                    <a:pt x="4608" y="836"/>
                  </a:lnTo>
                  <a:lnTo>
                    <a:pt x="4608" y="836"/>
                  </a:lnTo>
                  <a:lnTo>
                    <a:pt x="4608" y="836"/>
                  </a:lnTo>
                  <a:lnTo>
                    <a:pt x="4613" y="832"/>
                  </a:lnTo>
                  <a:lnTo>
                    <a:pt x="4613" y="832"/>
                  </a:lnTo>
                  <a:lnTo>
                    <a:pt x="4617" y="827"/>
                  </a:lnTo>
                  <a:lnTo>
                    <a:pt x="4617" y="827"/>
                  </a:lnTo>
                  <a:lnTo>
                    <a:pt x="4622" y="827"/>
                  </a:lnTo>
                  <a:lnTo>
                    <a:pt x="4622" y="827"/>
                  </a:lnTo>
                  <a:lnTo>
                    <a:pt x="4622" y="827"/>
                  </a:lnTo>
                  <a:lnTo>
                    <a:pt x="4622" y="832"/>
                  </a:lnTo>
                  <a:lnTo>
                    <a:pt x="4622" y="832"/>
                  </a:lnTo>
                  <a:lnTo>
                    <a:pt x="4626" y="832"/>
                  </a:lnTo>
                  <a:lnTo>
                    <a:pt x="4626" y="827"/>
                  </a:lnTo>
                  <a:lnTo>
                    <a:pt x="4626" y="827"/>
                  </a:lnTo>
                  <a:lnTo>
                    <a:pt x="4626" y="827"/>
                  </a:lnTo>
                  <a:lnTo>
                    <a:pt x="4626" y="827"/>
                  </a:lnTo>
                  <a:lnTo>
                    <a:pt x="4622" y="827"/>
                  </a:lnTo>
                  <a:lnTo>
                    <a:pt x="4622" y="823"/>
                  </a:lnTo>
                  <a:lnTo>
                    <a:pt x="4626" y="823"/>
                  </a:lnTo>
                  <a:lnTo>
                    <a:pt x="4622" y="818"/>
                  </a:lnTo>
                  <a:lnTo>
                    <a:pt x="4622" y="818"/>
                  </a:lnTo>
                  <a:lnTo>
                    <a:pt x="4622" y="818"/>
                  </a:lnTo>
                  <a:lnTo>
                    <a:pt x="4622" y="818"/>
                  </a:lnTo>
                  <a:lnTo>
                    <a:pt x="4617" y="818"/>
                  </a:lnTo>
                  <a:lnTo>
                    <a:pt x="4617" y="818"/>
                  </a:lnTo>
                  <a:lnTo>
                    <a:pt x="4613" y="818"/>
                  </a:lnTo>
                  <a:lnTo>
                    <a:pt x="4613" y="818"/>
                  </a:lnTo>
                  <a:lnTo>
                    <a:pt x="4613" y="818"/>
                  </a:lnTo>
                  <a:lnTo>
                    <a:pt x="4613" y="818"/>
                  </a:lnTo>
                  <a:lnTo>
                    <a:pt x="4608" y="818"/>
                  </a:lnTo>
                  <a:lnTo>
                    <a:pt x="4608" y="818"/>
                  </a:lnTo>
                  <a:lnTo>
                    <a:pt x="4603" y="818"/>
                  </a:lnTo>
                  <a:lnTo>
                    <a:pt x="4603" y="818"/>
                  </a:lnTo>
                  <a:lnTo>
                    <a:pt x="4599" y="818"/>
                  </a:lnTo>
                  <a:lnTo>
                    <a:pt x="4594" y="814"/>
                  </a:lnTo>
                  <a:lnTo>
                    <a:pt x="4590" y="814"/>
                  </a:lnTo>
                  <a:lnTo>
                    <a:pt x="4585" y="814"/>
                  </a:lnTo>
                  <a:lnTo>
                    <a:pt x="4585" y="814"/>
                  </a:lnTo>
                  <a:lnTo>
                    <a:pt x="4585" y="814"/>
                  </a:lnTo>
                  <a:lnTo>
                    <a:pt x="4585" y="818"/>
                  </a:lnTo>
                  <a:lnTo>
                    <a:pt x="4585" y="818"/>
                  </a:lnTo>
                  <a:lnTo>
                    <a:pt x="4585" y="818"/>
                  </a:lnTo>
                  <a:lnTo>
                    <a:pt x="4581" y="823"/>
                  </a:lnTo>
                  <a:lnTo>
                    <a:pt x="4581" y="823"/>
                  </a:lnTo>
                  <a:lnTo>
                    <a:pt x="4581" y="823"/>
                  </a:lnTo>
                  <a:lnTo>
                    <a:pt x="4581" y="827"/>
                  </a:lnTo>
                  <a:lnTo>
                    <a:pt x="4576" y="827"/>
                  </a:lnTo>
                  <a:lnTo>
                    <a:pt x="4576" y="827"/>
                  </a:lnTo>
                  <a:lnTo>
                    <a:pt x="4572" y="827"/>
                  </a:lnTo>
                  <a:lnTo>
                    <a:pt x="4567" y="823"/>
                  </a:lnTo>
                  <a:lnTo>
                    <a:pt x="4567" y="823"/>
                  </a:lnTo>
                  <a:lnTo>
                    <a:pt x="4567" y="823"/>
                  </a:lnTo>
                  <a:lnTo>
                    <a:pt x="4563" y="818"/>
                  </a:lnTo>
                  <a:lnTo>
                    <a:pt x="4563" y="818"/>
                  </a:lnTo>
                  <a:lnTo>
                    <a:pt x="4567" y="818"/>
                  </a:lnTo>
                  <a:lnTo>
                    <a:pt x="4563" y="814"/>
                  </a:lnTo>
                  <a:lnTo>
                    <a:pt x="4563" y="814"/>
                  </a:lnTo>
                  <a:lnTo>
                    <a:pt x="4563" y="814"/>
                  </a:lnTo>
                  <a:lnTo>
                    <a:pt x="4563" y="814"/>
                  </a:lnTo>
                  <a:lnTo>
                    <a:pt x="4558" y="809"/>
                  </a:lnTo>
                  <a:lnTo>
                    <a:pt x="4558" y="809"/>
                  </a:lnTo>
                  <a:lnTo>
                    <a:pt x="4554" y="809"/>
                  </a:lnTo>
                  <a:lnTo>
                    <a:pt x="4554" y="809"/>
                  </a:lnTo>
                  <a:lnTo>
                    <a:pt x="4545" y="809"/>
                  </a:lnTo>
                  <a:lnTo>
                    <a:pt x="4540" y="805"/>
                  </a:lnTo>
                  <a:lnTo>
                    <a:pt x="4536" y="805"/>
                  </a:lnTo>
                  <a:lnTo>
                    <a:pt x="4531" y="800"/>
                  </a:lnTo>
                  <a:lnTo>
                    <a:pt x="4531" y="800"/>
                  </a:lnTo>
                  <a:lnTo>
                    <a:pt x="4531" y="796"/>
                  </a:lnTo>
                  <a:lnTo>
                    <a:pt x="4531" y="791"/>
                  </a:lnTo>
                  <a:lnTo>
                    <a:pt x="4531" y="787"/>
                  </a:lnTo>
                  <a:lnTo>
                    <a:pt x="4531" y="787"/>
                  </a:lnTo>
                  <a:lnTo>
                    <a:pt x="4536" y="787"/>
                  </a:lnTo>
                  <a:lnTo>
                    <a:pt x="4540" y="791"/>
                  </a:lnTo>
                  <a:lnTo>
                    <a:pt x="4540" y="791"/>
                  </a:lnTo>
                  <a:lnTo>
                    <a:pt x="4545" y="787"/>
                  </a:lnTo>
                  <a:lnTo>
                    <a:pt x="4545" y="787"/>
                  </a:lnTo>
                  <a:lnTo>
                    <a:pt x="4545" y="787"/>
                  </a:lnTo>
                  <a:lnTo>
                    <a:pt x="4549" y="787"/>
                  </a:lnTo>
                  <a:lnTo>
                    <a:pt x="4549" y="787"/>
                  </a:lnTo>
                  <a:lnTo>
                    <a:pt x="4549" y="787"/>
                  </a:lnTo>
                  <a:lnTo>
                    <a:pt x="4549" y="782"/>
                  </a:lnTo>
                  <a:lnTo>
                    <a:pt x="4549" y="778"/>
                  </a:lnTo>
                  <a:lnTo>
                    <a:pt x="4549" y="778"/>
                  </a:lnTo>
                  <a:lnTo>
                    <a:pt x="4549" y="778"/>
                  </a:lnTo>
                  <a:lnTo>
                    <a:pt x="4549" y="773"/>
                  </a:lnTo>
                  <a:lnTo>
                    <a:pt x="4554" y="769"/>
                  </a:lnTo>
                  <a:lnTo>
                    <a:pt x="4558" y="764"/>
                  </a:lnTo>
                  <a:lnTo>
                    <a:pt x="4558" y="764"/>
                  </a:lnTo>
                  <a:lnTo>
                    <a:pt x="4558" y="760"/>
                  </a:lnTo>
                  <a:lnTo>
                    <a:pt x="4558" y="755"/>
                  </a:lnTo>
                  <a:lnTo>
                    <a:pt x="4558" y="755"/>
                  </a:lnTo>
                  <a:lnTo>
                    <a:pt x="4563" y="755"/>
                  </a:lnTo>
                  <a:lnTo>
                    <a:pt x="4563" y="751"/>
                  </a:lnTo>
                  <a:lnTo>
                    <a:pt x="4563" y="751"/>
                  </a:lnTo>
                  <a:lnTo>
                    <a:pt x="4567" y="751"/>
                  </a:lnTo>
                  <a:lnTo>
                    <a:pt x="4567" y="751"/>
                  </a:lnTo>
                  <a:lnTo>
                    <a:pt x="4572" y="751"/>
                  </a:lnTo>
                  <a:lnTo>
                    <a:pt x="4572" y="751"/>
                  </a:lnTo>
                  <a:lnTo>
                    <a:pt x="4572" y="751"/>
                  </a:lnTo>
                  <a:lnTo>
                    <a:pt x="4572" y="751"/>
                  </a:lnTo>
                  <a:lnTo>
                    <a:pt x="4572" y="751"/>
                  </a:lnTo>
                  <a:lnTo>
                    <a:pt x="4576" y="755"/>
                  </a:lnTo>
                  <a:lnTo>
                    <a:pt x="4581" y="755"/>
                  </a:lnTo>
                  <a:lnTo>
                    <a:pt x="4581" y="760"/>
                  </a:lnTo>
                  <a:lnTo>
                    <a:pt x="4581" y="760"/>
                  </a:lnTo>
                  <a:lnTo>
                    <a:pt x="4581" y="760"/>
                  </a:lnTo>
                  <a:lnTo>
                    <a:pt x="4581" y="760"/>
                  </a:lnTo>
                  <a:lnTo>
                    <a:pt x="4581" y="764"/>
                  </a:lnTo>
                  <a:lnTo>
                    <a:pt x="4581" y="769"/>
                  </a:lnTo>
                  <a:lnTo>
                    <a:pt x="4581" y="769"/>
                  </a:lnTo>
                  <a:lnTo>
                    <a:pt x="4581" y="773"/>
                  </a:lnTo>
                  <a:lnTo>
                    <a:pt x="4581" y="773"/>
                  </a:lnTo>
                  <a:lnTo>
                    <a:pt x="4581" y="773"/>
                  </a:lnTo>
                  <a:lnTo>
                    <a:pt x="4581" y="778"/>
                  </a:lnTo>
                  <a:lnTo>
                    <a:pt x="4581" y="778"/>
                  </a:lnTo>
                  <a:lnTo>
                    <a:pt x="4581" y="778"/>
                  </a:lnTo>
                  <a:lnTo>
                    <a:pt x="4576" y="778"/>
                  </a:lnTo>
                  <a:lnTo>
                    <a:pt x="4581" y="778"/>
                  </a:lnTo>
                  <a:lnTo>
                    <a:pt x="4581" y="778"/>
                  </a:lnTo>
                  <a:lnTo>
                    <a:pt x="4581" y="782"/>
                  </a:lnTo>
                  <a:lnTo>
                    <a:pt x="4581" y="782"/>
                  </a:lnTo>
                  <a:lnTo>
                    <a:pt x="4585" y="782"/>
                  </a:lnTo>
                  <a:lnTo>
                    <a:pt x="4590" y="782"/>
                  </a:lnTo>
                  <a:lnTo>
                    <a:pt x="4590" y="782"/>
                  </a:lnTo>
                  <a:lnTo>
                    <a:pt x="4590" y="782"/>
                  </a:lnTo>
                  <a:lnTo>
                    <a:pt x="4585" y="782"/>
                  </a:lnTo>
                  <a:lnTo>
                    <a:pt x="4585" y="782"/>
                  </a:lnTo>
                  <a:lnTo>
                    <a:pt x="4590" y="787"/>
                  </a:lnTo>
                  <a:lnTo>
                    <a:pt x="4585" y="791"/>
                  </a:lnTo>
                  <a:lnTo>
                    <a:pt x="4585" y="791"/>
                  </a:lnTo>
                  <a:lnTo>
                    <a:pt x="4581" y="791"/>
                  </a:lnTo>
                  <a:lnTo>
                    <a:pt x="4585" y="791"/>
                  </a:lnTo>
                  <a:lnTo>
                    <a:pt x="4585" y="796"/>
                  </a:lnTo>
                  <a:lnTo>
                    <a:pt x="4585" y="796"/>
                  </a:lnTo>
                  <a:lnTo>
                    <a:pt x="4585" y="791"/>
                  </a:lnTo>
                  <a:lnTo>
                    <a:pt x="4585" y="791"/>
                  </a:lnTo>
                  <a:lnTo>
                    <a:pt x="4590" y="791"/>
                  </a:lnTo>
                  <a:lnTo>
                    <a:pt x="4590" y="791"/>
                  </a:lnTo>
                  <a:lnTo>
                    <a:pt x="4590" y="791"/>
                  </a:lnTo>
                  <a:lnTo>
                    <a:pt x="4590" y="791"/>
                  </a:lnTo>
                  <a:lnTo>
                    <a:pt x="4590" y="787"/>
                  </a:lnTo>
                  <a:lnTo>
                    <a:pt x="4590" y="787"/>
                  </a:lnTo>
                  <a:lnTo>
                    <a:pt x="4594" y="787"/>
                  </a:lnTo>
                  <a:lnTo>
                    <a:pt x="4594" y="787"/>
                  </a:lnTo>
                  <a:lnTo>
                    <a:pt x="4594" y="787"/>
                  </a:lnTo>
                  <a:lnTo>
                    <a:pt x="4594" y="787"/>
                  </a:lnTo>
                  <a:lnTo>
                    <a:pt x="4594" y="787"/>
                  </a:lnTo>
                  <a:lnTo>
                    <a:pt x="4594" y="787"/>
                  </a:lnTo>
                  <a:lnTo>
                    <a:pt x="4594" y="782"/>
                  </a:lnTo>
                  <a:lnTo>
                    <a:pt x="4594" y="782"/>
                  </a:lnTo>
                  <a:lnTo>
                    <a:pt x="4603" y="773"/>
                  </a:lnTo>
                  <a:lnTo>
                    <a:pt x="4603" y="773"/>
                  </a:lnTo>
                  <a:lnTo>
                    <a:pt x="4603" y="773"/>
                  </a:lnTo>
                  <a:lnTo>
                    <a:pt x="4608" y="773"/>
                  </a:lnTo>
                  <a:lnTo>
                    <a:pt x="4608" y="773"/>
                  </a:lnTo>
                  <a:lnTo>
                    <a:pt x="4608" y="773"/>
                  </a:lnTo>
                  <a:lnTo>
                    <a:pt x="4608" y="773"/>
                  </a:lnTo>
                  <a:lnTo>
                    <a:pt x="4613" y="769"/>
                  </a:lnTo>
                  <a:lnTo>
                    <a:pt x="4613" y="769"/>
                  </a:lnTo>
                  <a:lnTo>
                    <a:pt x="4613" y="769"/>
                  </a:lnTo>
                  <a:lnTo>
                    <a:pt x="4613" y="769"/>
                  </a:lnTo>
                  <a:lnTo>
                    <a:pt x="4617" y="769"/>
                  </a:lnTo>
                  <a:lnTo>
                    <a:pt x="4617" y="769"/>
                  </a:lnTo>
                  <a:lnTo>
                    <a:pt x="4622" y="764"/>
                  </a:lnTo>
                  <a:lnTo>
                    <a:pt x="4622" y="764"/>
                  </a:lnTo>
                  <a:lnTo>
                    <a:pt x="4622" y="764"/>
                  </a:lnTo>
                  <a:lnTo>
                    <a:pt x="4622" y="769"/>
                  </a:lnTo>
                  <a:lnTo>
                    <a:pt x="4622" y="769"/>
                  </a:lnTo>
                  <a:lnTo>
                    <a:pt x="4626" y="769"/>
                  </a:lnTo>
                  <a:lnTo>
                    <a:pt x="4626" y="773"/>
                  </a:lnTo>
                  <a:lnTo>
                    <a:pt x="4631" y="773"/>
                  </a:lnTo>
                  <a:lnTo>
                    <a:pt x="4631" y="773"/>
                  </a:lnTo>
                  <a:lnTo>
                    <a:pt x="4631" y="773"/>
                  </a:lnTo>
                  <a:lnTo>
                    <a:pt x="4631" y="769"/>
                  </a:lnTo>
                  <a:lnTo>
                    <a:pt x="4631" y="769"/>
                  </a:lnTo>
                  <a:lnTo>
                    <a:pt x="4631" y="773"/>
                  </a:lnTo>
                  <a:lnTo>
                    <a:pt x="4635" y="773"/>
                  </a:lnTo>
                  <a:lnTo>
                    <a:pt x="4635" y="773"/>
                  </a:lnTo>
                  <a:lnTo>
                    <a:pt x="4640" y="773"/>
                  </a:lnTo>
                  <a:lnTo>
                    <a:pt x="4640" y="778"/>
                  </a:lnTo>
                  <a:lnTo>
                    <a:pt x="4644" y="778"/>
                  </a:lnTo>
                  <a:lnTo>
                    <a:pt x="4644" y="778"/>
                  </a:lnTo>
                  <a:lnTo>
                    <a:pt x="4644" y="787"/>
                  </a:lnTo>
                  <a:lnTo>
                    <a:pt x="4644" y="787"/>
                  </a:lnTo>
                  <a:lnTo>
                    <a:pt x="4649" y="791"/>
                  </a:lnTo>
                  <a:lnTo>
                    <a:pt x="4649" y="791"/>
                  </a:lnTo>
                  <a:lnTo>
                    <a:pt x="4653" y="791"/>
                  </a:lnTo>
                  <a:lnTo>
                    <a:pt x="4653" y="791"/>
                  </a:lnTo>
                  <a:lnTo>
                    <a:pt x="4653" y="791"/>
                  </a:lnTo>
                  <a:lnTo>
                    <a:pt x="4649" y="791"/>
                  </a:lnTo>
                  <a:lnTo>
                    <a:pt x="4649" y="791"/>
                  </a:lnTo>
                  <a:lnTo>
                    <a:pt x="4649" y="791"/>
                  </a:lnTo>
                  <a:lnTo>
                    <a:pt x="4649" y="796"/>
                  </a:lnTo>
                  <a:lnTo>
                    <a:pt x="4649" y="796"/>
                  </a:lnTo>
                  <a:lnTo>
                    <a:pt x="4649" y="800"/>
                  </a:lnTo>
                  <a:lnTo>
                    <a:pt x="4649" y="800"/>
                  </a:lnTo>
                  <a:lnTo>
                    <a:pt x="4644" y="800"/>
                  </a:lnTo>
                  <a:lnTo>
                    <a:pt x="4649" y="805"/>
                  </a:lnTo>
                  <a:lnTo>
                    <a:pt x="4649" y="800"/>
                  </a:lnTo>
                  <a:lnTo>
                    <a:pt x="4653" y="805"/>
                  </a:lnTo>
                  <a:lnTo>
                    <a:pt x="4653" y="800"/>
                  </a:lnTo>
                  <a:lnTo>
                    <a:pt x="4653" y="800"/>
                  </a:lnTo>
                  <a:lnTo>
                    <a:pt x="4653" y="805"/>
                  </a:lnTo>
                  <a:lnTo>
                    <a:pt x="4653" y="805"/>
                  </a:lnTo>
                  <a:lnTo>
                    <a:pt x="4653" y="805"/>
                  </a:lnTo>
                  <a:lnTo>
                    <a:pt x="4653" y="805"/>
                  </a:lnTo>
                  <a:lnTo>
                    <a:pt x="4653" y="805"/>
                  </a:lnTo>
                  <a:lnTo>
                    <a:pt x="4658" y="809"/>
                  </a:lnTo>
                  <a:lnTo>
                    <a:pt x="4662" y="809"/>
                  </a:lnTo>
                  <a:lnTo>
                    <a:pt x="4662" y="809"/>
                  </a:lnTo>
                  <a:lnTo>
                    <a:pt x="4662" y="809"/>
                  </a:lnTo>
                  <a:lnTo>
                    <a:pt x="4662" y="809"/>
                  </a:lnTo>
                  <a:lnTo>
                    <a:pt x="4662" y="809"/>
                  </a:lnTo>
                  <a:lnTo>
                    <a:pt x="4662" y="805"/>
                  </a:lnTo>
                  <a:lnTo>
                    <a:pt x="4662" y="805"/>
                  </a:lnTo>
                  <a:lnTo>
                    <a:pt x="4662" y="805"/>
                  </a:lnTo>
                  <a:lnTo>
                    <a:pt x="4667" y="805"/>
                  </a:lnTo>
                  <a:lnTo>
                    <a:pt x="4671" y="805"/>
                  </a:lnTo>
                  <a:lnTo>
                    <a:pt x="4671" y="809"/>
                  </a:lnTo>
                  <a:lnTo>
                    <a:pt x="4671" y="809"/>
                  </a:lnTo>
                  <a:lnTo>
                    <a:pt x="4671" y="805"/>
                  </a:lnTo>
                  <a:lnTo>
                    <a:pt x="4676" y="805"/>
                  </a:lnTo>
                  <a:lnTo>
                    <a:pt x="4680" y="805"/>
                  </a:lnTo>
                  <a:lnTo>
                    <a:pt x="4680" y="805"/>
                  </a:lnTo>
                  <a:lnTo>
                    <a:pt x="4680" y="805"/>
                  </a:lnTo>
                  <a:lnTo>
                    <a:pt x="4680" y="809"/>
                  </a:lnTo>
                  <a:lnTo>
                    <a:pt x="4680" y="809"/>
                  </a:lnTo>
                  <a:lnTo>
                    <a:pt x="4680" y="809"/>
                  </a:lnTo>
                  <a:lnTo>
                    <a:pt x="4680" y="809"/>
                  </a:lnTo>
                  <a:lnTo>
                    <a:pt x="4680" y="809"/>
                  </a:lnTo>
                  <a:lnTo>
                    <a:pt x="4680" y="809"/>
                  </a:lnTo>
                  <a:lnTo>
                    <a:pt x="4685" y="814"/>
                  </a:lnTo>
                  <a:lnTo>
                    <a:pt x="4685" y="814"/>
                  </a:lnTo>
                  <a:lnTo>
                    <a:pt x="4689" y="818"/>
                  </a:lnTo>
                  <a:lnTo>
                    <a:pt x="4689" y="818"/>
                  </a:lnTo>
                  <a:lnTo>
                    <a:pt x="4689" y="818"/>
                  </a:lnTo>
                  <a:lnTo>
                    <a:pt x="4689" y="818"/>
                  </a:lnTo>
                  <a:lnTo>
                    <a:pt x="4694" y="823"/>
                  </a:lnTo>
                  <a:lnTo>
                    <a:pt x="4694" y="823"/>
                  </a:lnTo>
                  <a:lnTo>
                    <a:pt x="4694" y="823"/>
                  </a:lnTo>
                  <a:lnTo>
                    <a:pt x="4694" y="823"/>
                  </a:lnTo>
                  <a:lnTo>
                    <a:pt x="4694" y="823"/>
                  </a:lnTo>
                  <a:lnTo>
                    <a:pt x="4694" y="827"/>
                  </a:lnTo>
                  <a:lnTo>
                    <a:pt x="4694" y="827"/>
                  </a:lnTo>
                  <a:lnTo>
                    <a:pt x="4689" y="823"/>
                  </a:lnTo>
                  <a:lnTo>
                    <a:pt x="4689" y="823"/>
                  </a:lnTo>
                  <a:lnTo>
                    <a:pt x="4689" y="823"/>
                  </a:lnTo>
                  <a:lnTo>
                    <a:pt x="4685" y="823"/>
                  </a:lnTo>
                  <a:lnTo>
                    <a:pt x="4685" y="823"/>
                  </a:lnTo>
                  <a:lnTo>
                    <a:pt x="4685" y="823"/>
                  </a:lnTo>
                  <a:lnTo>
                    <a:pt x="4685" y="827"/>
                  </a:lnTo>
                  <a:lnTo>
                    <a:pt x="4685" y="827"/>
                  </a:lnTo>
                  <a:lnTo>
                    <a:pt x="4685" y="827"/>
                  </a:lnTo>
                  <a:lnTo>
                    <a:pt x="4685" y="827"/>
                  </a:lnTo>
                  <a:lnTo>
                    <a:pt x="4689" y="827"/>
                  </a:lnTo>
                  <a:lnTo>
                    <a:pt x="4689" y="827"/>
                  </a:lnTo>
                  <a:lnTo>
                    <a:pt x="4689" y="827"/>
                  </a:lnTo>
                  <a:lnTo>
                    <a:pt x="4689" y="832"/>
                  </a:lnTo>
                  <a:lnTo>
                    <a:pt x="4694" y="832"/>
                  </a:lnTo>
                  <a:lnTo>
                    <a:pt x="4694" y="832"/>
                  </a:lnTo>
                  <a:lnTo>
                    <a:pt x="4694" y="836"/>
                  </a:lnTo>
                  <a:lnTo>
                    <a:pt x="4694" y="836"/>
                  </a:lnTo>
                  <a:lnTo>
                    <a:pt x="4694" y="841"/>
                  </a:lnTo>
                  <a:lnTo>
                    <a:pt x="4698" y="841"/>
                  </a:lnTo>
                  <a:lnTo>
                    <a:pt x="4698" y="841"/>
                  </a:lnTo>
                  <a:lnTo>
                    <a:pt x="4698" y="841"/>
                  </a:lnTo>
                  <a:lnTo>
                    <a:pt x="4698" y="841"/>
                  </a:lnTo>
                  <a:lnTo>
                    <a:pt x="4698" y="846"/>
                  </a:lnTo>
                  <a:lnTo>
                    <a:pt x="4703" y="846"/>
                  </a:lnTo>
                  <a:lnTo>
                    <a:pt x="4703" y="846"/>
                  </a:lnTo>
                  <a:lnTo>
                    <a:pt x="4703" y="846"/>
                  </a:lnTo>
                  <a:lnTo>
                    <a:pt x="4703" y="850"/>
                  </a:lnTo>
                  <a:lnTo>
                    <a:pt x="4703" y="850"/>
                  </a:lnTo>
                  <a:lnTo>
                    <a:pt x="4703" y="850"/>
                  </a:lnTo>
                  <a:lnTo>
                    <a:pt x="4703" y="850"/>
                  </a:lnTo>
                  <a:lnTo>
                    <a:pt x="4703" y="850"/>
                  </a:lnTo>
                  <a:lnTo>
                    <a:pt x="4703" y="850"/>
                  </a:lnTo>
                  <a:lnTo>
                    <a:pt x="4703" y="850"/>
                  </a:lnTo>
                  <a:lnTo>
                    <a:pt x="4703" y="850"/>
                  </a:lnTo>
                  <a:lnTo>
                    <a:pt x="4703" y="855"/>
                  </a:lnTo>
                  <a:lnTo>
                    <a:pt x="4703" y="855"/>
                  </a:lnTo>
                  <a:lnTo>
                    <a:pt x="4703" y="859"/>
                  </a:lnTo>
                  <a:lnTo>
                    <a:pt x="4703" y="859"/>
                  </a:lnTo>
                  <a:lnTo>
                    <a:pt x="4703" y="864"/>
                  </a:lnTo>
                  <a:lnTo>
                    <a:pt x="4707" y="864"/>
                  </a:lnTo>
                  <a:lnTo>
                    <a:pt x="4707" y="864"/>
                  </a:lnTo>
                  <a:lnTo>
                    <a:pt x="4707" y="868"/>
                  </a:lnTo>
                  <a:lnTo>
                    <a:pt x="4712" y="864"/>
                  </a:lnTo>
                  <a:lnTo>
                    <a:pt x="4712" y="864"/>
                  </a:lnTo>
                  <a:lnTo>
                    <a:pt x="4712" y="868"/>
                  </a:lnTo>
                  <a:lnTo>
                    <a:pt x="4712" y="868"/>
                  </a:lnTo>
                  <a:lnTo>
                    <a:pt x="4712" y="868"/>
                  </a:lnTo>
                  <a:lnTo>
                    <a:pt x="4712" y="868"/>
                  </a:lnTo>
                  <a:lnTo>
                    <a:pt x="4712" y="868"/>
                  </a:lnTo>
                  <a:lnTo>
                    <a:pt x="4707" y="868"/>
                  </a:lnTo>
                  <a:lnTo>
                    <a:pt x="4707" y="868"/>
                  </a:lnTo>
                  <a:lnTo>
                    <a:pt x="4707" y="873"/>
                  </a:lnTo>
                  <a:lnTo>
                    <a:pt x="4712" y="873"/>
                  </a:lnTo>
                  <a:lnTo>
                    <a:pt x="4712" y="873"/>
                  </a:lnTo>
                  <a:lnTo>
                    <a:pt x="4716" y="877"/>
                  </a:lnTo>
                  <a:lnTo>
                    <a:pt x="4716" y="877"/>
                  </a:lnTo>
                  <a:lnTo>
                    <a:pt x="4716" y="877"/>
                  </a:lnTo>
                  <a:lnTo>
                    <a:pt x="4716" y="873"/>
                  </a:lnTo>
                  <a:lnTo>
                    <a:pt x="4716" y="873"/>
                  </a:lnTo>
                  <a:lnTo>
                    <a:pt x="4716" y="873"/>
                  </a:lnTo>
                  <a:lnTo>
                    <a:pt x="4716" y="873"/>
                  </a:lnTo>
                  <a:lnTo>
                    <a:pt x="4721" y="873"/>
                  </a:lnTo>
                  <a:lnTo>
                    <a:pt x="4721" y="868"/>
                  </a:lnTo>
                  <a:lnTo>
                    <a:pt x="4721" y="868"/>
                  </a:lnTo>
                  <a:lnTo>
                    <a:pt x="4721" y="868"/>
                  </a:lnTo>
                  <a:lnTo>
                    <a:pt x="4721" y="868"/>
                  </a:lnTo>
                  <a:lnTo>
                    <a:pt x="4721" y="868"/>
                  </a:lnTo>
                  <a:lnTo>
                    <a:pt x="4721" y="873"/>
                  </a:lnTo>
                  <a:lnTo>
                    <a:pt x="4725" y="873"/>
                  </a:lnTo>
                  <a:lnTo>
                    <a:pt x="4725" y="873"/>
                  </a:lnTo>
                  <a:lnTo>
                    <a:pt x="4725" y="868"/>
                  </a:lnTo>
                  <a:lnTo>
                    <a:pt x="4725" y="868"/>
                  </a:lnTo>
                  <a:lnTo>
                    <a:pt x="4725" y="868"/>
                  </a:lnTo>
                  <a:lnTo>
                    <a:pt x="4725" y="868"/>
                  </a:lnTo>
                  <a:lnTo>
                    <a:pt x="4725" y="864"/>
                  </a:lnTo>
                  <a:lnTo>
                    <a:pt x="4725" y="864"/>
                  </a:lnTo>
                  <a:lnTo>
                    <a:pt x="4725" y="864"/>
                  </a:lnTo>
                  <a:lnTo>
                    <a:pt x="4725" y="864"/>
                  </a:lnTo>
                  <a:lnTo>
                    <a:pt x="4730" y="868"/>
                  </a:lnTo>
                  <a:lnTo>
                    <a:pt x="4730" y="868"/>
                  </a:lnTo>
                  <a:lnTo>
                    <a:pt x="4730" y="864"/>
                  </a:lnTo>
                  <a:lnTo>
                    <a:pt x="4725" y="864"/>
                  </a:lnTo>
                  <a:lnTo>
                    <a:pt x="4725" y="864"/>
                  </a:lnTo>
                  <a:lnTo>
                    <a:pt x="4725" y="864"/>
                  </a:lnTo>
                  <a:lnTo>
                    <a:pt x="4725" y="864"/>
                  </a:lnTo>
                  <a:lnTo>
                    <a:pt x="4730" y="864"/>
                  </a:lnTo>
                  <a:lnTo>
                    <a:pt x="4730" y="859"/>
                  </a:lnTo>
                  <a:lnTo>
                    <a:pt x="4730" y="859"/>
                  </a:lnTo>
                  <a:lnTo>
                    <a:pt x="4735" y="864"/>
                  </a:lnTo>
                  <a:lnTo>
                    <a:pt x="4735" y="864"/>
                  </a:lnTo>
                  <a:lnTo>
                    <a:pt x="4735" y="864"/>
                  </a:lnTo>
                  <a:lnTo>
                    <a:pt x="4739" y="864"/>
                  </a:lnTo>
                  <a:lnTo>
                    <a:pt x="4739" y="864"/>
                  </a:lnTo>
                  <a:lnTo>
                    <a:pt x="4739" y="864"/>
                  </a:lnTo>
                  <a:lnTo>
                    <a:pt x="4739" y="859"/>
                  </a:lnTo>
                  <a:lnTo>
                    <a:pt x="4739" y="859"/>
                  </a:lnTo>
                  <a:lnTo>
                    <a:pt x="4739" y="859"/>
                  </a:lnTo>
                  <a:lnTo>
                    <a:pt x="4739" y="859"/>
                  </a:lnTo>
                  <a:lnTo>
                    <a:pt x="4744" y="859"/>
                  </a:lnTo>
                  <a:lnTo>
                    <a:pt x="4744" y="859"/>
                  </a:lnTo>
                  <a:lnTo>
                    <a:pt x="4748" y="859"/>
                  </a:lnTo>
                  <a:lnTo>
                    <a:pt x="4748" y="855"/>
                  </a:lnTo>
                  <a:lnTo>
                    <a:pt x="4748" y="855"/>
                  </a:lnTo>
                  <a:lnTo>
                    <a:pt x="4748" y="850"/>
                  </a:lnTo>
                  <a:lnTo>
                    <a:pt x="4748" y="846"/>
                  </a:lnTo>
                  <a:lnTo>
                    <a:pt x="4744" y="841"/>
                  </a:lnTo>
                  <a:lnTo>
                    <a:pt x="4744" y="836"/>
                  </a:lnTo>
                  <a:lnTo>
                    <a:pt x="4744" y="836"/>
                  </a:lnTo>
                  <a:lnTo>
                    <a:pt x="4744" y="841"/>
                  </a:lnTo>
                  <a:lnTo>
                    <a:pt x="4744" y="841"/>
                  </a:lnTo>
                  <a:lnTo>
                    <a:pt x="4739" y="836"/>
                  </a:lnTo>
                  <a:lnTo>
                    <a:pt x="4739" y="836"/>
                  </a:lnTo>
                  <a:lnTo>
                    <a:pt x="4739" y="836"/>
                  </a:lnTo>
                  <a:lnTo>
                    <a:pt x="4739" y="832"/>
                  </a:lnTo>
                  <a:lnTo>
                    <a:pt x="4739" y="832"/>
                  </a:lnTo>
                  <a:lnTo>
                    <a:pt x="4739" y="832"/>
                  </a:lnTo>
                  <a:lnTo>
                    <a:pt x="4735" y="827"/>
                  </a:lnTo>
                  <a:lnTo>
                    <a:pt x="4735" y="823"/>
                  </a:lnTo>
                  <a:lnTo>
                    <a:pt x="4730" y="823"/>
                  </a:lnTo>
                  <a:lnTo>
                    <a:pt x="4730" y="818"/>
                  </a:lnTo>
                  <a:lnTo>
                    <a:pt x="4725" y="814"/>
                  </a:lnTo>
                  <a:lnTo>
                    <a:pt x="4716" y="805"/>
                  </a:lnTo>
                  <a:lnTo>
                    <a:pt x="4712" y="800"/>
                  </a:lnTo>
                  <a:lnTo>
                    <a:pt x="4703" y="796"/>
                  </a:lnTo>
                  <a:lnTo>
                    <a:pt x="4694" y="787"/>
                  </a:lnTo>
                  <a:lnTo>
                    <a:pt x="4694" y="787"/>
                  </a:lnTo>
                  <a:lnTo>
                    <a:pt x="4694" y="787"/>
                  </a:lnTo>
                  <a:lnTo>
                    <a:pt x="4689" y="787"/>
                  </a:lnTo>
                  <a:lnTo>
                    <a:pt x="4689" y="787"/>
                  </a:lnTo>
                  <a:lnTo>
                    <a:pt x="4685" y="782"/>
                  </a:lnTo>
                  <a:lnTo>
                    <a:pt x="4680" y="778"/>
                  </a:lnTo>
                  <a:lnTo>
                    <a:pt x="4680" y="778"/>
                  </a:lnTo>
                  <a:lnTo>
                    <a:pt x="4676" y="778"/>
                  </a:lnTo>
                  <a:lnTo>
                    <a:pt x="4676" y="778"/>
                  </a:lnTo>
                  <a:lnTo>
                    <a:pt x="4676" y="778"/>
                  </a:lnTo>
                  <a:lnTo>
                    <a:pt x="4671" y="778"/>
                  </a:lnTo>
                  <a:lnTo>
                    <a:pt x="4671" y="773"/>
                  </a:lnTo>
                  <a:lnTo>
                    <a:pt x="4671" y="773"/>
                  </a:lnTo>
                  <a:lnTo>
                    <a:pt x="4676" y="773"/>
                  </a:lnTo>
                  <a:lnTo>
                    <a:pt x="4676" y="773"/>
                  </a:lnTo>
                  <a:lnTo>
                    <a:pt x="4671" y="769"/>
                  </a:lnTo>
                  <a:lnTo>
                    <a:pt x="4671" y="769"/>
                  </a:lnTo>
                  <a:lnTo>
                    <a:pt x="4671" y="764"/>
                  </a:lnTo>
                  <a:lnTo>
                    <a:pt x="4671" y="764"/>
                  </a:lnTo>
                  <a:lnTo>
                    <a:pt x="4671" y="760"/>
                  </a:lnTo>
                  <a:lnTo>
                    <a:pt x="4676" y="760"/>
                  </a:lnTo>
                  <a:lnTo>
                    <a:pt x="4676" y="760"/>
                  </a:lnTo>
                  <a:lnTo>
                    <a:pt x="4680" y="760"/>
                  </a:lnTo>
                  <a:lnTo>
                    <a:pt x="4680" y="760"/>
                  </a:lnTo>
                  <a:lnTo>
                    <a:pt x="4680" y="755"/>
                  </a:lnTo>
                  <a:lnTo>
                    <a:pt x="4680" y="755"/>
                  </a:lnTo>
                  <a:lnTo>
                    <a:pt x="4680" y="755"/>
                  </a:lnTo>
                  <a:lnTo>
                    <a:pt x="4685" y="751"/>
                  </a:lnTo>
                  <a:lnTo>
                    <a:pt x="4685" y="751"/>
                  </a:lnTo>
                  <a:lnTo>
                    <a:pt x="4685" y="746"/>
                  </a:lnTo>
                  <a:lnTo>
                    <a:pt x="4685" y="746"/>
                  </a:lnTo>
                  <a:lnTo>
                    <a:pt x="4689" y="742"/>
                  </a:lnTo>
                  <a:lnTo>
                    <a:pt x="4689" y="742"/>
                  </a:lnTo>
                  <a:lnTo>
                    <a:pt x="4685" y="737"/>
                  </a:lnTo>
                  <a:lnTo>
                    <a:pt x="4685" y="733"/>
                  </a:lnTo>
                  <a:lnTo>
                    <a:pt x="4680" y="733"/>
                  </a:lnTo>
                  <a:lnTo>
                    <a:pt x="4680" y="728"/>
                  </a:lnTo>
                  <a:lnTo>
                    <a:pt x="4680" y="728"/>
                  </a:lnTo>
                  <a:lnTo>
                    <a:pt x="4680" y="728"/>
                  </a:lnTo>
                  <a:lnTo>
                    <a:pt x="4680" y="723"/>
                  </a:lnTo>
                  <a:lnTo>
                    <a:pt x="4680" y="723"/>
                  </a:lnTo>
                  <a:lnTo>
                    <a:pt x="4680" y="719"/>
                  </a:lnTo>
                  <a:lnTo>
                    <a:pt x="4680" y="719"/>
                  </a:lnTo>
                  <a:lnTo>
                    <a:pt x="4680" y="719"/>
                  </a:lnTo>
                  <a:lnTo>
                    <a:pt x="4680" y="714"/>
                  </a:lnTo>
                  <a:lnTo>
                    <a:pt x="4680" y="714"/>
                  </a:lnTo>
                  <a:lnTo>
                    <a:pt x="4680" y="714"/>
                  </a:lnTo>
                  <a:lnTo>
                    <a:pt x="4685" y="714"/>
                  </a:lnTo>
                  <a:lnTo>
                    <a:pt x="4685" y="714"/>
                  </a:lnTo>
                  <a:lnTo>
                    <a:pt x="4685" y="714"/>
                  </a:lnTo>
                  <a:lnTo>
                    <a:pt x="4685" y="714"/>
                  </a:lnTo>
                  <a:lnTo>
                    <a:pt x="4685" y="710"/>
                  </a:lnTo>
                  <a:lnTo>
                    <a:pt x="4680" y="705"/>
                  </a:lnTo>
                  <a:lnTo>
                    <a:pt x="4680" y="705"/>
                  </a:lnTo>
                  <a:lnTo>
                    <a:pt x="4685" y="705"/>
                  </a:lnTo>
                  <a:lnTo>
                    <a:pt x="4685" y="705"/>
                  </a:lnTo>
                  <a:lnTo>
                    <a:pt x="4685" y="705"/>
                  </a:lnTo>
                  <a:lnTo>
                    <a:pt x="4685" y="705"/>
                  </a:lnTo>
                  <a:lnTo>
                    <a:pt x="4685" y="701"/>
                  </a:lnTo>
                  <a:lnTo>
                    <a:pt x="4689" y="701"/>
                  </a:lnTo>
                  <a:lnTo>
                    <a:pt x="4685" y="696"/>
                  </a:lnTo>
                  <a:lnTo>
                    <a:pt x="4685" y="696"/>
                  </a:lnTo>
                  <a:lnTo>
                    <a:pt x="4689" y="692"/>
                  </a:lnTo>
                  <a:lnTo>
                    <a:pt x="4689" y="692"/>
                  </a:lnTo>
                  <a:lnTo>
                    <a:pt x="4689" y="692"/>
                  </a:lnTo>
                  <a:lnTo>
                    <a:pt x="4689" y="692"/>
                  </a:lnTo>
                  <a:lnTo>
                    <a:pt x="4689" y="696"/>
                  </a:lnTo>
                  <a:lnTo>
                    <a:pt x="4689" y="696"/>
                  </a:lnTo>
                  <a:lnTo>
                    <a:pt x="4694" y="696"/>
                  </a:lnTo>
                  <a:lnTo>
                    <a:pt x="4694" y="696"/>
                  </a:lnTo>
                  <a:lnTo>
                    <a:pt x="4694" y="692"/>
                  </a:lnTo>
                  <a:lnTo>
                    <a:pt x="4694" y="692"/>
                  </a:lnTo>
                  <a:lnTo>
                    <a:pt x="4694" y="692"/>
                  </a:lnTo>
                  <a:lnTo>
                    <a:pt x="4698" y="701"/>
                  </a:lnTo>
                  <a:lnTo>
                    <a:pt x="4703" y="701"/>
                  </a:lnTo>
                  <a:lnTo>
                    <a:pt x="4703" y="701"/>
                  </a:lnTo>
                  <a:lnTo>
                    <a:pt x="4707" y="701"/>
                  </a:lnTo>
                  <a:lnTo>
                    <a:pt x="4707" y="701"/>
                  </a:lnTo>
                  <a:lnTo>
                    <a:pt x="4712" y="701"/>
                  </a:lnTo>
                  <a:lnTo>
                    <a:pt x="4712" y="701"/>
                  </a:lnTo>
                  <a:lnTo>
                    <a:pt x="4712" y="701"/>
                  </a:lnTo>
                  <a:lnTo>
                    <a:pt x="4716" y="701"/>
                  </a:lnTo>
                  <a:lnTo>
                    <a:pt x="4716" y="701"/>
                  </a:lnTo>
                  <a:lnTo>
                    <a:pt x="4721" y="701"/>
                  </a:lnTo>
                  <a:lnTo>
                    <a:pt x="4721" y="701"/>
                  </a:lnTo>
                  <a:lnTo>
                    <a:pt x="4725" y="696"/>
                  </a:lnTo>
                  <a:lnTo>
                    <a:pt x="4725" y="696"/>
                  </a:lnTo>
                  <a:lnTo>
                    <a:pt x="4730" y="687"/>
                  </a:lnTo>
                  <a:lnTo>
                    <a:pt x="4730" y="687"/>
                  </a:lnTo>
                  <a:lnTo>
                    <a:pt x="4730" y="683"/>
                  </a:lnTo>
                  <a:lnTo>
                    <a:pt x="4730" y="678"/>
                  </a:lnTo>
                  <a:lnTo>
                    <a:pt x="4730" y="678"/>
                  </a:lnTo>
                  <a:lnTo>
                    <a:pt x="4730" y="674"/>
                  </a:lnTo>
                  <a:lnTo>
                    <a:pt x="4730" y="674"/>
                  </a:lnTo>
                  <a:lnTo>
                    <a:pt x="4730" y="665"/>
                  </a:lnTo>
                  <a:lnTo>
                    <a:pt x="4730" y="665"/>
                  </a:lnTo>
                  <a:lnTo>
                    <a:pt x="4730" y="665"/>
                  </a:lnTo>
                  <a:lnTo>
                    <a:pt x="4730" y="660"/>
                  </a:lnTo>
                  <a:lnTo>
                    <a:pt x="4730" y="660"/>
                  </a:lnTo>
                  <a:lnTo>
                    <a:pt x="4730" y="656"/>
                  </a:lnTo>
                  <a:lnTo>
                    <a:pt x="4730" y="651"/>
                  </a:lnTo>
                  <a:lnTo>
                    <a:pt x="4730" y="651"/>
                  </a:lnTo>
                  <a:lnTo>
                    <a:pt x="4730" y="651"/>
                  </a:lnTo>
                  <a:lnTo>
                    <a:pt x="4730" y="642"/>
                  </a:lnTo>
                  <a:lnTo>
                    <a:pt x="4735" y="638"/>
                  </a:lnTo>
                  <a:lnTo>
                    <a:pt x="4735" y="633"/>
                  </a:lnTo>
                  <a:lnTo>
                    <a:pt x="4735" y="633"/>
                  </a:lnTo>
                  <a:lnTo>
                    <a:pt x="4735" y="624"/>
                  </a:lnTo>
                  <a:lnTo>
                    <a:pt x="4730" y="624"/>
                  </a:lnTo>
                  <a:lnTo>
                    <a:pt x="4730" y="619"/>
                  </a:lnTo>
                  <a:lnTo>
                    <a:pt x="4730" y="615"/>
                  </a:lnTo>
                  <a:lnTo>
                    <a:pt x="4725" y="615"/>
                  </a:lnTo>
                  <a:lnTo>
                    <a:pt x="4725" y="610"/>
                  </a:lnTo>
                  <a:lnTo>
                    <a:pt x="4725" y="610"/>
                  </a:lnTo>
                  <a:lnTo>
                    <a:pt x="4725" y="601"/>
                  </a:lnTo>
                  <a:lnTo>
                    <a:pt x="4725" y="597"/>
                  </a:lnTo>
                  <a:lnTo>
                    <a:pt x="4725" y="592"/>
                  </a:lnTo>
                  <a:lnTo>
                    <a:pt x="4725" y="592"/>
                  </a:lnTo>
                  <a:lnTo>
                    <a:pt x="4725" y="588"/>
                  </a:lnTo>
                  <a:lnTo>
                    <a:pt x="4725" y="588"/>
                  </a:lnTo>
                  <a:lnTo>
                    <a:pt x="4725" y="583"/>
                  </a:lnTo>
                  <a:lnTo>
                    <a:pt x="4725" y="583"/>
                  </a:lnTo>
                  <a:lnTo>
                    <a:pt x="4725" y="579"/>
                  </a:lnTo>
                  <a:lnTo>
                    <a:pt x="4721" y="574"/>
                  </a:lnTo>
                  <a:lnTo>
                    <a:pt x="4721" y="570"/>
                  </a:lnTo>
                  <a:lnTo>
                    <a:pt x="4716" y="570"/>
                  </a:lnTo>
                  <a:lnTo>
                    <a:pt x="4716" y="570"/>
                  </a:lnTo>
                  <a:lnTo>
                    <a:pt x="4716" y="570"/>
                  </a:lnTo>
                  <a:lnTo>
                    <a:pt x="4716" y="565"/>
                  </a:lnTo>
                  <a:lnTo>
                    <a:pt x="4716" y="565"/>
                  </a:lnTo>
                  <a:lnTo>
                    <a:pt x="4712" y="565"/>
                  </a:lnTo>
                  <a:lnTo>
                    <a:pt x="4712" y="565"/>
                  </a:lnTo>
                  <a:lnTo>
                    <a:pt x="4712" y="556"/>
                  </a:lnTo>
                  <a:lnTo>
                    <a:pt x="4707" y="556"/>
                  </a:lnTo>
                  <a:lnTo>
                    <a:pt x="4707" y="556"/>
                  </a:lnTo>
                  <a:lnTo>
                    <a:pt x="4703" y="552"/>
                  </a:lnTo>
                  <a:lnTo>
                    <a:pt x="4703" y="552"/>
                  </a:lnTo>
                  <a:lnTo>
                    <a:pt x="4703" y="547"/>
                  </a:lnTo>
                  <a:lnTo>
                    <a:pt x="4703" y="547"/>
                  </a:lnTo>
                  <a:lnTo>
                    <a:pt x="4703" y="547"/>
                  </a:lnTo>
                  <a:lnTo>
                    <a:pt x="4703" y="547"/>
                  </a:lnTo>
                  <a:lnTo>
                    <a:pt x="4694" y="538"/>
                  </a:lnTo>
                  <a:lnTo>
                    <a:pt x="4689" y="534"/>
                  </a:lnTo>
                  <a:lnTo>
                    <a:pt x="4689" y="534"/>
                  </a:lnTo>
                  <a:lnTo>
                    <a:pt x="4685" y="529"/>
                  </a:lnTo>
                  <a:lnTo>
                    <a:pt x="4685" y="525"/>
                  </a:lnTo>
                  <a:lnTo>
                    <a:pt x="4680" y="525"/>
                  </a:lnTo>
                  <a:lnTo>
                    <a:pt x="4680" y="520"/>
                  </a:lnTo>
                  <a:lnTo>
                    <a:pt x="4680" y="515"/>
                  </a:lnTo>
                  <a:lnTo>
                    <a:pt x="4680" y="515"/>
                  </a:lnTo>
                  <a:lnTo>
                    <a:pt x="4680" y="511"/>
                  </a:lnTo>
                  <a:lnTo>
                    <a:pt x="4676" y="511"/>
                  </a:lnTo>
                  <a:lnTo>
                    <a:pt x="4676" y="506"/>
                  </a:lnTo>
                  <a:lnTo>
                    <a:pt x="4676" y="506"/>
                  </a:lnTo>
                  <a:lnTo>
                    <a:pt x="4671" y="506"/>
                  </a:lnTo>
                  <a:lnTo>
                    <a:pt x="4671" y="506"/>
                  </a:lnTo>
                  <a:lnTo>
                    <a:pt x="4667" y="502"/>
                  </a:lnTo>
                  <a:lnTo>
                    <a:pt x="4667" y="502"/>
                  </a:lnTo>
                  <a:lnTo>
                    <a:pt x="4667" y="497"/>
                  </a:lnTo>
                  <a:lnTo>
                    <a:pt x="4662" y="497"/>
                  </a:lnTo>
                  <a:lnTo>
                    <a:pt x="4658" y="493"/>
                  </a:lnTo>
                  <a:lnTo>
                    <a:pt x="4653" y="493"/>
                  </a:lnTo>
                  <a:lnTo>
                    <a:pt x="4653" y="493"/>
                  </a:lnTo>
                  <a:lnTo>
                    <a:pt x="4653" y="493"/>
                  </a:lnTo>
                  <a:lnTo>
                    <a:pt x="4658" y="493"/>
                  </a:lnTo>
                  <a:lnTo>
                    <a:pt x="4658" y="488"/>
                  </a:lnTo>
                  <a:lnTo>
                    <a:pt x="4658" y="488"/>
                  </a:lnTo>
                  <a:lnTo>
                    <a:pt x="4653" y="488"/>
                  </a:lnTo>
                  <a:lnTo>
                    <a:pt x="4653" y="488"/>
                  </a:lnTo>
                  <a:lnTo>
                    <a:pt x="4649" y="484"/>
                  </a:lnTo>
                  <a:lnTo>
                    <a:pt x="4649" y="484"/>
                  </a:lnTo>
                  <a:lnTo>
                    <a:pt x="4640" y="484"/>
                  </a:lnTo>
                  <a:lnTo>
                    <a:pt x="4631" y="479"/>
                  </a:lnTo>
                  <a:lnTo>
                    <a:pt x="4626" y="475"/>
                  </a:lnTo>
                  <a:lnTo>
                    <a:pt x="4626" y="475"/>
                  </a:lnTo>
                  <a:lnTo>
                    <a:pt x="4617" y="470"/>
                  </a:lnTo>
                  <a:lnTo>
                    <a:pt x="4617" y="470"/>
                  </a:lnTo>
                  <a:lnTo>
                    <a:pt x="4617" y="470"/>
                  </a:lnTo>
                  <a:lnTo>
                    <a:pt x="4613" y="475"/>
                  </a:lnTo>
                  <a:lnTo>
                    <a:pt x="4608" y="475"/>
                  </a:lnTo>
                  <a:lnTo>
                    <a:pt x="4603" y="470"/>
                  </a:lnTo>
                  <a:lnTo>
                    <a:pt x="4603" y="470"/>
                  </a:lnTo>
                  <a:lnTo>
                    <a:pt x="4603" y="475"/>
                  </a:lnTo>
                  <a:lnTo>
                    <a:pt x="4603" y="475"/>
                  </a:lnTo>
                  <a:lnTo>
                    <a:pt x="4608" y="475"/>
                  </a:lnTo>
                  <a:lnTo>
                    <a:pt x="4613" y="479"/>
                  </a:lnTo>
                  <a:lnTo>
                    <a:pt x="4613" y="484"/>
                  </a:lnTo>
                  <a:lnTo>
                    <a:pt x="4613" y="484"/>
                  </a:lnTo>
                  <a:lnTo>
                    <a:pt x="4613" y="488"/>
                  </a:lnTo>
                  <a:lnTo>
                    <a:pt x="4613" y="488"/>
                  </a:lnTo>
                  <a:lnTo>
                    <a:pt x="4613" y="488"/>
                  </a:lnTo>
                  <a:lnTo>
                    <a:pt x="4613" y="484"/>
                  </a:lnTo>
                  <a:lnTo>
                    <a:pt x="4613" y="484"/>
                  </a:lnTo>
                  <a:lnTo>
                    <a:pt x="4608" y="479"/>
                  </a:lnTo>
                  <a:lnTo>
                    <a:pt x="4608" y="479"/>
                  </a:lnTo>
                  <a:lnTo>
                    <a:pt x="4608" y="479"/>
                  </a:lnTo>
                  <a:lnTo>
                    <a:pt x="4608" y="479"/>
                  </a:lnTo>
                  <a:lnTo>
                    <a:pt x="4608" y="479"/>
                  </a:lnTo>
                  <a:lnTo>
                    <a:pt x="4608" y="484"/>
                  </a:lnTo>
                  <a:lnTo>
                    <a:pt x="4608" y="484"/>
                  </a:lnTo>
                  <a:lnTo>
                    <a:pt x="4603" y="488"/>
                  </a:lnTo>
                  <a:lnTo>
                    <a:pt x="4599" y="488"/>
                  </a:lnTo>
                  <a:lnTo>
                    <a:pt x="4599" y="488"/>
                  </a:lnTo>
                  <a:lnTo>
                    <a:pt x="4599" y="488"/>
                  </a:lnTo>
                  <a:lnTo>
                    <a:pt x="4599" y="488"/>
                  </a:lnTo>
                  <a:lnTo>
                    <a:pt x="4599" y="484"/>
                  </a:lnTo>
                  <a:lnTo>
                    <a:pt x="4599" y="479"/>
                  </a:lnTo>
                  <a:lnTo>
                    <a:pt x="4599" y="479"/>
                  </a:lnTo>
                  <a:lnTo>
                    <a:pt x="4599" y="479"/>
                  </a:lnTo>
                  <a:lnTo>
                    <a:pt x="4594" y="479"/>
                  </a:lnTo>
                  <a:lnTo>
                    <a:pt x="4594" y="479"/>
                  </a:lnTo>
                  <a:lnTo>
                    <a:pt x="4590" y="479"/>
                  </a:lnTo>
                  <a:lnTo>
                    <a:pt x="4590" y="475"/>
                  </a:lnTo>
                  <a:lnTo>
                    <a:pt x="4590" y="475"/>
                  </a:lnTo>
                  <a:lnTo>
                    <a:pt x="4590" y="475"/>
                  </a:lnTo>
                  <a:lnTo>
                    <a:pt x="4590" y="475"/>
                  </a:lnTo>
                  <a:lnTo>
                    <a:pt x="4590" y="475"/>
                  </a:lnTo>
                  <a:lnTo>
                    <a:pt x="4585" y="475"/>
                  </a:lnTo>
                  <a:lnTo>
                    <a:pt x="4585" y="475"/>
                  </a:lnTo>
                  <a:lnTo>
                    <a:pt x="4585" y="479"/>
                  </a:lnTo>
                  <a:lnTo>
                    <a:pt x="4590" y="479"/>
                  </a:lnTo>
                  <a:lnTo>
                    <a:pt x="4590" y="479"/>
                  </a:lnTo>
                  <a:lnTo>
                    <a:pt x="4590" y="484"/>
                  </a:lnTo>
                  <a:lnTo>
                    <a:pt x="4590" y="484"/>
                  </a:lnTo>
                  <a:lnTo>
                    <a:pt x="4590" y="484"/>
                  </a:lnTo>
                  <a:lnTo>
                    <a:pt x="4590" y="484"/>
                  </a:lnTo>
                  <a:lnTo>
                    <a:pt x="4585" y="484"/>
                  </a:lnTo>
                  <a:lnTo>
                    <a:pt x="4585" y="479"/>
                  </a:lnTo>
                  <a:lnTo>
                    <a:pt x="4581" y="479"/>
                  </a:lnTo>
                  <a:lnTo>
                    <a:pt x="4576" y="475"/>
                  </a:lnTo>
                  <a:lnTo>
                    <a:pt x="4576" y="470"/>
                  </a:lnTo>
                  <a:lnTo>
                    <a:pt x="4576" y="470"/>
                  </a:lnTo>
                  <a:lnTo>
                    <a:pt x="4572" y="470"/>
                  </a:lnTo>
                  <a:lnTo>
                    <a:pt x="4572" y="470"/>
                  </a:lnTo>
                  <a:lnTo>
                    <a:pt x="4572" y="470"/>
                  </a:lnTo>
                  <a:lnTo>
                    <a:pt x="4567" y="470"/>
                  </a:lnTo>
                  <a:lnTo>
                    <a:pt x="4563" y="470"/>
                  </a:lnTo>
                  <a:lnTo>
                    <a:pt x="4554" y="470"/>
                  </a:lnTo>
                  <a:lnTo>
                    <a:pt x="4554" y="470"/>
                  </a:lnTo>
                  <a:lnTo>
                    <a:pt x="4554" y="470"/>
                  </a:lnTo>
                  <a:lnTo>
                    <a:pt x="4549" y="466"/>
                  </a:lnTo>
                  <a:lnTo>
                    <a:pt x="4549" y="466"/>
                  </a:lnTo>
                  <a:lnTo>
                    <a:pt x="4549" y="466"/>
                  </a:lnTo>
                  <a:lnTo>
                    <a:pt x="4549" y="461"/>
                  </a:lnTo>
                  <a:lnTo>
                    <a:pt x="4549" y="461"/>
                  </a:lnTo>
                  <a:lnTo>
                    <a:pt x="4554" y="457"/>
                  </a:lnTo>
                  <a:lnTo>
                    <a:pt x="4549" y="452"/>
                  </a:lnTo>
                  <a:lnTo>
                    <a:pt x="4549" y="452"/>
                  </a:lnTo>
                  <a:lnTo>
                    <a:pt x="4554" y="448"/>
                  </a:lnTo>
                  <a:lnTo>
                    <a:pt x="4554" y="448"/>
                  </a:lnTo>
                  <a:lnTo>
                    <a:pt x="4554" y="443"/>
                  </a:lnTo>
                  <a:lnTo>
                    <a:pt x="4554" y="443"/>
                  </a:lnTo>
                  <a:lnTo>
                    <a:pt x="4554" y="439"/>
                  </a:lnTo>
                  <a:lnTo>
                    <a:pt x="4554" y="439"/>
                  </a:lnTo>
                  <a:lnTo>
                    <a:pt x="4554" y="434"/>
                  </a:lnTo>
                  <a:lnTo>
                    <a:pt x="4554" y="430"/>
                  </a:lnTo>
                  <a:lnTo>
                    <a:pt x="4554" y="430"/>
                  </a:lnTo>
                  <a:lnTo>
                    <a:pt x="4554" y="430"/>
                  </a:lnTo>
                  <a:lnTo>
                    <a:pt x="4554" y="421"/>
                  </a:lnTo>
                  <a:lnTo>
                    <a:pt x="4554" y="421"/>
                  </a:lnTo>
                  <a:lnTo>
                    <a:pt x="4554" y="416"/>
                  </a:lnTo>
                  <a:lnTo>
                    <a:pt x="4554" y="416"/>
                  </a:lnTo>
                  <a:lnTo>
                    <a:pt x="4554" y="416"/>
                  </a:lnTo>
                  <a:lnTo>
                    <a:pt x="4554" y="411"/>
                  </a:lnTo>
                  <a:lnTo>
                    <a:pt x="4554" y="411"/>
                  </a:lnTo>
                  <a:lnTo>
                    <a:pt x="4554" y="411"/>
                  </a:lnTo>
                  <a:lnTo>
                    <a:pt x="4554" y="407"/>
                  </a:lnTo>
                  <a:lnTo>
                    <a:pt x="4558" y="402"/>
                  </a:lnTo>
                  <a:lnTo>
                    <a:pt x="4558" y="402"/>
                  </a:lnTo>
                  <a:lnTo>
                    <a:pt x="4549" y="398"/>
                  </a:lnTo>
                  <a:lnTo>
                    <a:pt x="4549" y="393"/>
                  </a:lnTo>
                  <a:lnTo>
                    <a:pt x="4549" y="393"/>
                  </a:lnTo>
                  <a:lnTo>
                    <a:pt x="4554" y="389"/>
                  </a:lnTo>
                  <a:lnTo>
                    <a:pt x="4554" y="389"/>
                  </a:lnTo>
                  <a:lnTo>
                    <a:pt x="4554" y="384"/>
                  </a:lnTo>
                  <a:lnTo>
                    <a:pt x="4549" y="380"/>
                  </a:lnTo>
                  <a:lnTo>
                    <a:pt x="4549" y="375"/>
                  </a:lnTo>
                  <a:lnTo>
                    <a:pt x="4554" y="375"/>
                  </a:lnTo>
                  <a:lnTo>
                    <a:pt x="4558" y="371"/>
                  </a:lnTo>
                  <a:lnTo>
                    <a:pt x="4563" y="371"/>
                  </a:lnTo>
                  <a:lnTo>
                    <a:pt x="4563" y="371"/>
                  </a:lnTo>
                  <a:lnTo>
                    <a:pt x="4567" y="371"/>
                  </a:lnTo>
                  <a:lnTo>
                    <a:pt x="4572" y="371"/>
                  </a:lnTo>
                  <a:lnTo>
                    <a:pt x="4585" y="366"/>
                  </a:lnTo>
                  <a:lnTo>
                    <a:pt x="4585" y="366"/>
                  </a:lnTo>
                  <a:lnTo>
                    <a:pt x="4590" y="371"/>
                  </a:lnTo>
                  <a:lnTo>
                    <a:pt x="4590" y="371"/>
                  </a:lnTo>
                  <a:lnTo>
                    <a:pt x="4594" y="371"/>
                  </a:lnTo>
                  <a:lnTo>
                    <a:pt x="4594" y="371"/>
                  </a:lnTo>
                  <a:lnTo>
                    <a:pt x="4594" y="366"/>
                  </a:lnTo>
                  <a:lnTo>
                    <a:pt x="4594" y="366"/>
                  </a:lnTo>
                  <a:lnTo>
                    <a:pt x="4599" y="366"/>
                  </a:lnTo>
                  <a:lnTo>
                    <a:pt x="4603" y="366"/>
                  </a:lnTo>
                  <a:lnTo>
                    <a:pt x="4608" y="366"/>
                  </a:lnTo>
                  <a:lnTo>
                    <a:pt x="4613" y="366"/>
                  </a:lnTo>
                  <a:lnTo>
                    <a:pt x="4613" y="366"/>
                  </a:lnTo>
                  <a:lnTo>
                    <a:pt x="4613" y="362"/>
                  </a:lnTo>
                  <a:lnTo>
                    <a:pt x="4622" y="366"/>
                  </a:lnTo>
                  <a:lnTo>
                    <a:pt x="4622" y="366"/>
                  </a:lnTo>
                  <a:lnTo>
                    <a:pt x="4626" y="366"/>
                  </a:lnTo>
                  <a:lnTo>
                    <a:pt x="4622" y="362"/>
                  </a:lnTo>
                  <a:lnTo>
                    <a:pt x="4622" y="362"/>
                  </a:lnTo>
                  <a:lnTo>
                    <a:pt x="4622" y="362"/>
                  </a:lnTo>
                  <a:lnTo>
                    <a:pt x="4617" y="362"/>
                  </a:lnTo>
                  <a:lnTo>
                    <a:pt x="4617" y="362"/>
                  </a:lnTo>
                  <a:lnTo>
                    <a:pt x="4622" y="362"/>
                  </a:lnTo>
                  <a:lnTo>
                    <a:pt x="4622" y="362"/>
                  </a:lnTo>
                  <a:lnTo>
                    <a:pt x="4622" y="362"/>
                  </a:lnTo>
                  <a:lnTo>
                    <a:pt x="4622" y="362"/>
                  </a:lnTo>
                  <a:lnTo>
                    <a:pt x="4622" y="362"/>
                  </a:lnTo>
                  <a:lnTo>
                    <a:pt x="4617" y="357"/>
                  </a:lnTo>
                  <a:lnTo>
                    <a:pt x="4617" y="357"/>
                  </a:lnTo>
                  <a:lnTo>
                    <a:pt x="4622" y="357"/>
                  </a:lnTo>
                  <a:lnTo>
                    <a:pt x="4622" y="357"/>
                  </a:lnTo>
                  <a:lnTo>
                    <a:pt x="4631" y="357"/>
                  </a:lnTo>
                  <a:lnTo>
                    <a:pt x="4631" y="357"/>
                  </a:lnTo>
                  <a:lnTo>
                    <a:pt x="4635" y="357"/>
                  </a:lnTo>
                  <a:lnTo>
                    <a:pt x="4640" y="357"/>
                  </a:lnTo>
                  <a:lnTo>
                    <a:pt x="4640" y="357"/>
                  </a:lnTo>
                  <a:lnTo>
                    <a:pt x="4640" y="357"/>
                  </a:lnTo>
                  <a:lnTo>
                    <a:pt x="4640" y="357"/>
                  </a:lnTo>
                  <a:lnTo>
                    <a:pt x="4640" y="357"/>
                  </a:lnTo>
                  <a:lnTo>
                    <a:pt x="4644" y="357"/>
                  </a:lnTo>
                  <a:lnTo>
                    <a:pt x="4644" y="357"/>
                  </a:lnTo>
                  <a:lnTo>
                    <a:pt x="4640" y="357"/>
                  </a:lnTo>
                  <a:lnTo>
                    <a:pt x="4640" y="357"/>
                  </a:lnTo>
                  <a:lnTo>
                    <a:pt x="4640" y="357"/>
                  </a:lnTo>
                  <a:lnTo>
                    <a:pt x="4644" y="357"/>
                  </a:lnTo>
                  <a:lnTo>
                    <a:pt x="4644" y="357"/>
                  </a:lnTo>
                  <a:lnTo>
                    <a:pt x="4649" y="357"/>
                  </a:lnTo>
                  <a:lnTo>
                    <a:pt x="4658" y="362"/>
                  </a:lnTo>
                  <a:lnTo>
                    <a:pt x="4658" y="362"/>
                  </a:lnTo>
                  <a:lnTo>
                    <a:pt x="4662" y="362"/>
                  </a:lnTo>
                  <a:lnTo>
                    <a:pt x="4662" y="362"/>
                  </a:lnTo>
                  <a:lnTo>
                    <a:pt x="4662" y="362"/>
                  </a:lnTo>
                  <a:lnTo>
                    <a:pt x="4662" y="362"/>
                  </a:lnTo>
                  <a:lnTo>
                    <a:pt x="4658" y="362"/>
                  </a:lnTo>
                  <a:lnTo>
                    <a:pt x="4658" y="362"/>
                  </a:lnTo>
                  <a:lnTo>
                    <a:pt x="4653" y="366"/>
                  </a:lnTo>
                  <a:lnTo>
                    <a:pt x="4662" y="371"/>
                  </a:lnTo>
                  <a:lnTo>
                    <a:pt x="4667" y="366"/>
                  </a:lnTo>
                  <a:lnTo>
                    <a:pt x="4667" y="366"/>
                  </a:lnTo>
                  <a:lnTo>
                    <a:pt x="4667" y="366"/>
                  </a:lnTo>
                  <a:lnTo>
                    <a:pt x="4667" y="366"/>
                  </a:lnTo>
                  <a:lnTo>
                    <a:pt x="4671" y="366"/>
                  </a:lnTo>
                  <a:lnTo>
                    <a:pt x="4671" y="366"/>
                  </a:lnTo>
                  <a:lnTo>
                    <a:pt x="4676" y="366"/>
                  </a:lnTo>
                  <a:lnTo>
                    <a:pt x="4676" y="366"/>
                  </a:lnTo>
                  <a:lnTo>
                    <a:pt x="4676" y="362"/>
                  </a:lnTo>
                  <a:lnTo>
                    <a:pt x="4676" y="362"/>
                  </a:lnTo>
                  <a:lnTo>
                    <a:pt x="4680" y="362"/>
                  </a:lnTo>
                  <a:lnTo>
                    <a:pt x="4676" y="362"/>
                  </a:lnTo>
                  <a:lnTo>
                    <a:pt x="4680" y="357"/>
                  </a:lnTo>
                  <a:lnTo>
                    <a:pt x="4685" y="362"/>
                  </a:lnTo>
                  <a:lnTo>
                    <a:pt x="4685" y="362"/>
                  </a:lnTo>
                  <a:lnTo>
                    <a:pt x="4689" y="362"/>
                  </a:lnTo>
                  <a:lnTo>
                    <a:pt x="4689" y="357"/>
                  </a:lnTo>
                  <a:lnTo>
                    <a:pt x="4689" y="357"/>
                  </a:lnTo>
                  <a:lnTo>
                    <a:pt x="4694" y="357"/>
                  </a:lnTo>
                  <a:lnTo>
                    <a:pt x="4694" y="357"/>
                  </a:lnTo>
                  <a:lnTo>
                    <a:pt x="4694" y="357"/>
                  </a:lnTo>
                  <a:lnTo>
                    <a:pt x="4698" y="357"/>
                  </a:lnTo>
                  <a:lnTo>
                    <a:pt x="4694" y="357"/>
                  </a:lnTo>
                  <a:lnTo>
                    <a:pt x="4694" y="353"/>
                  </a:lnTo>
                  <a:lnTo>
                    <a:pt x="4689" y="353"/>
                  </a:lnTo>
                  <a:lnTo>
                    <a:pt x="4685" y="353"/>
                  </a:lnTo>
                  <a:lnTo>
                    <a:pt x="4680" y="353"/>
                  </a:lnTo>
                  <a:lnTo>
                    <a:pt x="4680" y="353"/>
                  </a:lnTo>
                  <a:lnTo>
                    <a:pt x="4680" y="353"/>
                  </a:lnTo>
                  <a:lnTo>
                    <a:pt x="4676" y="353"/>
                  </a:lnTo>
                  <a:lnTo>
                    <a:pt x="4676" y="353"/>
                  </a:lnTo>
                  <a:lnTo>
                    <a:pt x="4676" y="348"/>
                  </a:lnTo>
                  <a:lnTo>
                    <a:pt x="4676" y="348"/>
                  </a:lnTo>
                  <a:lnTo>
                    <a:pt x="4671" y="348"/>
                  </a:lnTo>
                  <a:lnTo>
                    <a:pt x="4671" y="348"/>
                  </a:lnTo>
                  <a:lnTo>
                    <a:pt x="4671" y="344"/>
                  </a:lnTo>
                  <a:lnTo>
                    <a:pt x="4671" y="344"/>
                  </a:lnTo>
                  <a:lnTo>
                    <a:pt x="4667" y="335"/>
                  </a:lnTo>
                  <a:lnTo>
                    <a:pt x="4667" y="335"/>
                  </a:lnTo>
                  <a:lnTo>
                    <a:pt x="4667" y="330"/>
                  </a:lnTo>
                  <a:lnTo>
                    <a:pt x="4667" y="330"/>
                  </a:lnTo>
                  <a:lnTo>
                    <a:pt x="4667" y="326"/>
                  </a:lnTo>
                  <a:lnTo>
                    <a:pt x="4662" y="321"/>
                  </a:lnTo>
                  <a:lnTo>
                    <a:pt x="4662" y="321"/>
                  </a:lnTo>
                  <a:lnTo>
                    <a:pt x="4662" y="317"/>
                  </a:lnTo>
                  <a:lnTo>
                    <a:pt x="4662" y="312"/>
                  </a:lnTo>
                  <a:lnTo>
                    <a:pt x="4662" y="312"/>
                  </a:lnTo>
                  <a:lnTo>
                    <a:pt x="4662" y="312"/>
                  </a:lnTo>
                  <a:lnTo>
                    <a:pt x="4658" y="312"/>
                  </a:lnTo>
                  <a:lnTo>
                    <a:pt x="4662" y="308"/>
                  </a:lnTo>
                  <a:lnTo>
                    <a:pt x="4662" y="308"/>
                  </a:lnTo>
                  <a:lnTo>
                    <a:pt x="4662" y="308"/>
                  </a:lnTo>
                  <a:lnTo>
                    <a:pt x="4667" y="308"/>
                  </a:lnTo>
                  <a:lnTo>
                    <a:pt x="4667" y="308"/>
                  </a:lnTo>
                  <a:lnTo>
                    <a:pt x="4671" y="308"/>
                  </a:lnTo>
                  <a:lnTo>
                    <a:pt x="4671" y="308"/>
                  </a:lnTo>
                  <a:lnTo>
                    <a:pt x="4676" y="303"/>
                  </a:lnTo>
                  <a:lnTo>
                    <a:pt x="4676" y="303"/>
                  </a:lnTo>
                  <a:lnTo>
                    <a:pt x="4676" y="303"/>
                  </a:lnTo>
                  <a:lnTo>
                    <a:pt x="4676" y="303"/>
                  </a:lnTo>
                  <a:lnTo>
                    <a:pt x="4680" y="303"/>
                  </a:lnTo>
                  <a:lnTo>
                    <a:pt x="4685" y="303"/>
                  </a:lnTo>
                  <a:lnTo>
                    <a:pt x="4685" y="308"/>
                  </a:lnTo>
                  <a:lnTo>
                    <a:pt x="4685" y="303"/>
                  </a:lnTo>
                  <a:lnTo>
                    <a:pt x="4685" y="303"/>
                  </a:lnTo>
                  <a:lnTo>
                    <a:pt x="4689" y="303"/>
                  </a:lnTo>
                  <a:lnTo>
                    <a:pt x="4689" y="303"/>
                  </a:lnTo>
                  <a:lnTo>
                    <a:pt x="4689" y="303"/>
                  </a:lnTo>
                  <a:lnTo>
                    <a:pt x="4689" y="303"/>
                  </a:lnTo>
                  <a:lnTo>
                    <a:pt x="4694" y="308"/>
                  </a:lnTo>
                  <a:lnTo>
                    <a:pt x="4694" y="308"/>
                  </a:lnTo>
                  <a:lnTo>
                    <a:pt x="4698" y="312"/>
                  </a:lnTo>
                  <a:lnTo>
                    <a:pt x="4698" y="312"/>
                  </a:lnTo>
                  <a:lnTo>
                    <a:pt x="4698" y="312"/>
                  </a:lnTo>
                  <a:lnTo>
                    <a:pt x="4703" y="317"/>
                  </a:lnTo>
                  <a:lnTo>
                    <a:pt x="4703" y="317"/>
                  </a:lnTo>
                  <a:lnTo>
                    <a:pt x="4707" y="317"/>
                  </a:lnTo>
                  <a:lnTo>
                    <a:pt x="4707" y="317"/>
                  </a:lnTo>
                  <a:lnTo>
                    <a:pt x="4707" y="317"/>
                  </a:lnTo>
                  <a:lnTo>
                    <a:pt x="4707" y="317"/>
                  </a:lnTo>
                  <a:lnTo>
                    <a:pt x="4707" y="317"/>
                  </a:lnTo>
                  <a:lnTo>
                    <a:pt x="4712" y="317"/>
                  </a:lnTo>
                  <a:lnTo>
                    <a:pt x="4712" y="321"/>
                  </a:lnTo>
                  <a:lnTo>
                    <a:pt x="4716" y="321"/>
                  </a:lnTo>
                  <a:lnTo>
                    <a:pt x="4716" y="321"/>
                  </a:lnTo>
                  <a:lnTo>
                    <a:pt x="4716" y="326"/>
                  </a:lnTo>
                  <a:lnTo>
                    <a:pt x="4716" y="321"/>
                  </a:lnTo>
                  <a:lnTo>
                    <a:pt x="4716" y="321"/>
                  </a:lnTo>
                  <a:lnTo>
                    <a:pt x="4716" y="321"/>
                  </a:lnTo>
                  <a:lnTo>
                    <a:pt x="4721" y="321"/>
                  </a:lnTo>
                  <a:lnTo>
                    <a:pt x="4721" y="317"/>
                  </a:lnTo>
                  <a:lnTo>
                    <a:pt x="4721" y="317"/>
                  </a:lnTo>
                  <a:lnTo>
                    <a:pt x="4716" y="303"/>
                  </a:lnTo>
                  <a:lnTo>
                    <a:pt x="4716" y="303"/>
                  </a:lnTo>
                  <a:lnTo>
                    <a:pt x="4716" y="303"/>
                  </a:lnTo>
                  <a:lnTo>
                    <a:pt x="4721" y="303"/>
                  </a:lnTo>
                  <a:lnTo>
                    <a:pt x="4721" y="303"/>
                  </a:lnTo>
                  <a:lnTo>
                    <a:pt x="4721" y="303"/>
                  </a:lnTo>
                  <a:lnTo>
                    <a:pt x="4721" y="298"/>
                  </a:lnTo>
                  <a:lnTo>
                    <a:pt x="4721" y="298"/>
                  </a:lnTo>
                  <a:lnTo>
                    <a:pt x="4725" y="303"/>
                  </a:lnTo>
                  <a:lnTo>
                    <a:pt x="4725" y="303"/>
                  </a:lnTo>
                  <a:lnTo>
                    <a:pt x="4725" y="303"/>
                  </a:lnTo>
                  <a:lnTo>
                    <a:pt x="4725" y="303"/>
                  </a:lnTo>
                  <a:lnTo>
                    <a:pt x="4725" y="303"/>
                  </a:lnTo>
                  <a:lnTo>
                    <a:pt x="4725" y="303"/>
                  </a:lnTo>
                  <a:lnTo>
                    <a:pt x="4725" y="298"/>
                  </a:lnTo>
                  <a:lnTo>
                    <a:pt x="4721" y="298"/>
                  </a:lnTo>
                  <a:lnTo>
                    <a:pt x="4721" y="298"/>
                  </a:lnTo>
                  <a:lnTo>
                    <a:pt x="4716" y="298"/>
                  </a:lnTo>
                  <a:lnTo>
                    <a:pt x="4712" y="294"/>
                  </a:lnTo>
                  <a:lnTo>
                    <a:pt x="4712" y="294"/>
                  </a:lnTo>
                  <a:lnTo>
                    <a:pt x="4707" y="289"/>
                  </a:lnTo>
                  <a:lnTo>
                    <a:pt x="4707" y="289"/>
                  </a:lnTo>
                  <a:lnTo>
                    <a:pt x="4707" y="289"/>
                  </a:lnTo>
                  <a:lnTo>
                    <a:pt x="4707" y="289"/>
                  </a:lnTo>
                  <a:lnTo>
                    <a:pt x="4703" y="285"/>
                  </a:lnTo>
                  <a:lnTo>
                    <a:pt x="4703" y="285"/>
                  </a:lnTo>
                  <a:lnTo>
                    <a:pt x="4703" y="285"/>
                  </a:lnTo>
                  <a:lnTo>
                    <a:pt x="4707" y="280"/>
                  </a:lnTo>
                  <a:lnTo>
                    <a:pt x="4712" y="280"/>
                  </a:lnTo>
                  <a:lnTo>
                    <a:pt x="4712" y="280"/>
                  </a:lnTo>
                  <a:lnTo>
                    <a:pt x="4716" y="280"/>
                  </a:lnTo>
                  <a:lnTo>
                    <a:pt x="4721" y="285"/>
                  </a:lnTo>
                  <a:lnTo>
                    <a:pt x="4725" y="285"/>
                  </a:lnTo>
                  <a:lnTo>
                    <a:pt x="4725" y="285"/>
                  </a:lnTo>
                  <a:lnTo>
                    <a:pt x="4725" y="285"/>
                  </a:lnTo>
                  <a:lnTo>
                    <a:pt x="4725" y="285"/>
                  </a:lnTo>
                  <a:lnTo>
                    <a:pt x="4725" y="285"/>
                  </a:lnTo>
                  <a:lnTo>
                    <a:pt x="4725" y="285"/>
                  </a:lnTo>
                  <a:lnTo>
                    <a:pt x="4725" y="285"/>
                  </a:lnTo>
                  <a:lnTo>
                    <a:pt x="4721" y="285"/>
                  </a:lnTo>
                  <a:lnTo>
                    <a:pt x="4721" y="285"/>
                  </a:lnTo>
                  <a:lnTo>
                    <a:pt x="4716" y="285"/>
                  </a:lnTo>
                  <a:lnTo>
                    <a:pt x="4716" y="285"/>
                  </a:lnTo>
                  <a:lnTo>
                    <a:pt x="4721" y="289"/>
                  </a:lnTo>
                  <a:lnTo>
                    <a:pt x="4725" y="294"/>
                  </a:lnTo>
                  <a:lnTo>
                    <a:pt x="4730" y="294"/>
                  </a:lnTo>
                  <a:lnTo>
                    <a:pt x="4730" y="298"/>
                  </a:lnTo>
                  <a:lnTo>
                    <a:pt x="4735" y="298"/>
                  </a:lnTo>
                  <a:lnTo>
                    <a:pt x="4735" y="303"/>
                  </a:lnTo>
                  <a:lnTo>
                    <a:pt x="4735" y="303"/>
                  </a:lnTo>
                  <a:lnTo>
                    <a:pt x="4739" y="303"/>
                  </a:lnTo>
                  <a:lnTo>
                    <a:pt x="4739" y="303"/>
                  </a:lnTo>
                  <a:lnTo>
                    <a:pt x="4739" y="303"/>
                  </a:lnTo>
                  <a:lnTo>
                    <a:pt x="4744" y="308"/>
                  </a:lnTo>
                  <a:lnTo>
                    <a:pt x="4744" y="308"/>
                  </a:lnTo>
                  <a:lnTo>
                    <a:pt x="4744" y="312"/>
                  </a:lnTo>
                  <a:lnTo>
                    <a:pt x="4744" y="312"/>
                  </a:lnTo>
                  <a:lnTo>
                    <a:pt x="4748" y="312"/>
                  </a:lnTo>
                  <a:lnTo>
                    <a:pt x="4748" y="312"/>
                  </a:lnTo>
                  <a:lnTo>
                    <a:pt x="4748" y="317"/>
                  </a:lnTo>
                  <a:lnTo>
                    <a:pt x="4748" y="317"/>
                  </a:lnTo>
                  <a:lnTo>
                    <a:pt x="4744" y="317"/>
                  </a:lnTo>
                  <a:lnTo>
                    <a:pt x="4744" y="321"/>
                  </a:lnTo>
                  <a:lnTo>
                    <a:pt x="4744" y="321"/>
                  </a:lnTo>
                  <a:lnTo>
                    <a:pt x="4744" y="326"/>
                  </a:lnTo>
                  <a:lnTo>
                    <a:pt x="4744" y="326"/>
                  </a:lnTo>
                  <a:lnTo>
                    <a:pt x="4744" y="330"/>
                  </a:lnTo>
                  <a:lnTo>
                    <a:pt x="4748" y="330"/>
                  </a:lnTo>
                  <a:lnTo>
                    <a:pt x="4748" y="330"/>
                  </a:lnTo>
                  <a:lnTo>
                    <a:pt x="4748" y="335"/>
                  </a:lnTo>
                  <a:lnTo>
                    <a:pt x="4748" y="339"/>
                  </a:lnTo>
                  <a:lnTo>
                    <a:pt x="4748" y="339"/>
                  </a:lnTo>
                  <a:lnTo>
                    <a:pt x="4748" y="344"/>
                  </a:lnTo>
                  <a:lnTo>
                    <a:pt x="4748" y="344"/>
                  </a:lnTo>
                  <a:lnTo>
                    <a:pt x="4753" y="353"/>
                  </a:lnTo>
                  <a:lnTo>
                    <a:pt x="4757" y="357"/>
                  </a:lnTo>
                  <a:lnTo>
                    <a:pt x="4757" y="357"/>
                  </a:lnTo>
                  <a:lnTo>
                    <a:pt x="4757" y="362"/>
                  </a:lnTo>
                  <a:lnTo>
                    <a:pt x="4757" y="362"/>
                  </a:lnTo>
                  <a:lnTo>
                    <a:pt x="4757" y="366"/>
                  </a:lnTo>
                  <a:lnTo>
                    <a:pt x="4757" y="366"/>
                  </a:lnTo>
                  <a:lnTo>
                    <a:pt x="4757" y="371"/>
                  </a:lnTo>
                  <a:lnTo>
                    <a:pt x="4757" y="371"/>
                  </a:lnTo>
                  <a:lnTo>
                    <a:pt x="4757" y="375"/>
                  </a:lnTo>
                  <a:lnTo>
                    <a:pt x="4757" y="375"/>
                  </a:lnTo>
                  <a:lnTo>
                    <a:pt x="4757" y="375"/>
                  </a:lnTo>
                  <a:lnTo>
                    <a:pt x="4753" y="375"/>
                  </a:lnTo>
                  <a:lnTo>
                    <a:pt x="4753" y="380"/>
                  </a:lnTo>
                  <a:lnTo>
                    <a:pt x="4753" y="380"/>
                  </a:lnTo>
                  <a:lnTo>
                    <a:pt x="4748" y="380"/>
                  </a:lnTo>
                  <a:lnTo>
                    <a:pt x="4748" y="380"/>
                  </a:lnTo>
                  <a:lnTo>
                    <a:pt x="4748" y="380"/>
                  </a:lnTo>
                  <a:lnTo>
                    <a:pt x="4748" y="380"/>
                  </a:lnTo>
                  <a:lnTo>
                    <a:pt x="4753" y="380"/>
                  </a:lnTo>
                  <a:lnTo>
                    <a:pt x="4753" y="384"/>
                  </a:lnTo>
                  <a:lnTo>
                    <a:pt x="4753" y="384"/>
                  </a:lnTo>
                  <a:lnTo>
                    <a:pt x="4757" y="384"/>
                  </a:lnTo>
                  <a:lnTo>
                    <a:pt x="4762" y="389"/>
                  </a:lnTo>
                  <a:lnTo>
                    <a:pt x="4762" y="393"/>
                  </a:lnTo>
                  <a:lnTo>
                    <a:pt x="4762" y="393"/>
                  </a:lnTo>
                  <a:lnTo>
                    <a:pt x="4762" y="398"/>
                  </a:lnTo>
                  <a:lnTo>
                    <a:pt x="4762" y="398"/>
                  </a:lnTo>
                  <a:lnTo>
                    <a:pt x="4762" y="402"/>
                  </a:lnTo>
                  <a:lnTo>
                    <a:pt x="4775" y="411"/>
                  </a:lnTo>
                  <a:lnTo>
                    <a:pt x="4780" y="416"/>
                  </a:lnTo>
                  <a:lnTo>
                    <a:pt x="4789" y="425"/>
                  </a:lnTo>
                  <a:lnTo>
                    <a:pt x="4789" y="430"/>
                  </a:lnTo>
                  <a:lnTo>
                    <a:pt x="4798" y="434"/>
                  </a:lnTo>
                  <a:lnTo>
                    <a:pt x="4807" y="443"/>
                  </a:lnTo>
                  <a:lnTo>
                    <a:pt x="4820" y="452"/>
                  </a:lnTo>
                  <a:lnTo>
                    <a:pt x="4825" y="457"/>
                  </a:lnTo>
                  <a:lnTo>
                    <a:pt x="4843" y="470"/>
                  </a:lnTo>
                  <a:lnTo>
                    <a:pt x="4847" y="470"/>
                  </a:lnTo>
                  <a:lnTo>
                    <a:pt x="4852" y="475"/>
                  </a:lnTo>
                  <a:lnTo>
                    <a:pt x="4852" y="475"/>
                  </a:lnTo>
                  <a:lnTo>
                    <a:pt x="4856" y="479"/>
                  </a:lnTo>
                  <a:lnTo>
                    <a:pt x="4861" y="479"/>
                  </a:lnTo>
                  <a:lnTo>
                    <a:pt x="4870" y="488"/>
                  </a:lnTo>
                  <a:lnTo>
                    <a:pt x="4879" y="497"/>
                  </a:lnTo>
                  <a:lnTo>
                    <a:pt x="4884" y="497"/>
                  </a:lnTo>
                  <a:lnTo>
                    <a:pt x="4884" y="502"/>
                  </a:lnTo>
                  <a:lnTo>
                    <a:pt x="4888" y="502"/>
                  </a:lnTo>
                  <a:lnTo>
                    <a:pt x="4888" y="502"/>
                  </a:lnTo>
                  <a:lnTo>
                    <a:pt x="4893" y="506"/>
                  </a:lnTo>
                  <a:lnTo>
                    <a:pt x="4893" y="506"/>
                  </a:lnTo>
                  <a:lnTo>
                    <a:pt x="4893" y="506"/>
                  </a:lnTo>
                  <a:lnTo>
                    <a:pt x="4893" y="502"/>
                  </a:lnTo>
                  <a:lnTo>
                    <a:pt x="4893" y="497"/>
                  </a:lnTo>
                  <a:lnTo>
                    <a:pt x="4893" y="497"/>
                  </a:lnTo>
                  <a:lnTo>
                    <a:pt x="4893" y="493"/>
                  </a:lnTo>
                  <a:lnTo>
                    <a:pt x="4893" y="493"/>
                  </a:lnTo>
                  <a:lnTo>
                    <a:pt x="4893" y="488"/>
                  </a:lnTo>
                  <a:lnTo>
                    <a:pt x="4888" y="484"/>
                  </a:lnTo>
                  <a:lnTo>
                    <a:pt x="4888" y="479"/>
                  </a:lnTo>
                  <a:lnTo>
                    <a:pt x="4888" y="475"/>
                  </a:lnTo>
                  <a:lnTo>
                    <a:pt x="4884" y="475"/>
                  </a:lnTo>
                  <a:lnTo>
                    <a:pt x="4879" y="470"/>
                  </a:lnTo>
                  <a:lnTo>
                    <a:pt x="4879" y="470"/>
                  </a:lnTo>
                  <a:lnTo>
                    <a:pt x="4879" y="466"/>
                  </a:lnTo>
                  <a:lnTo>
                    <a:pt x="4875" y="466"/>
                  </a:lnTo>
                  <a:lnTo>
                    <a:pt x="4875" y="466"/>
                  </a:lnTo>
                  <a:lnTo>
                    <a:pt x="4870" y="466"/>
                  </a:lnTo>
                  <a:lnTo>
                    <a:pt x="4875" y="466"/>
                  </a:lnTo>
                  <a:lnTo>
                    <a:pt x="4875" y="466"/>
                  </a:lnTo>
                  <a:lnTo>
                    <a:pt x="4875" y="466"/>
                  </a:lnTo>
                  <a:lnTo>
                    <a:pt x="4879" y="466"/>
                  </a:lnTo>
                  <a:lnTo>
                    <a:pt x="4879" y="466"/>
                  </a:lnTo>
                  <a:lnTo>
                    <a:pt x="4879" y="461"/>
                  </a:lnTo>
                  <a:lnTo>
                    <a:pt x="4879" y="457"/>
                  </a:lnTo>
                  <a:lnTo>
                    <a:pt x="4884" y="457"/>
                  </a:lnTo>
                  <a:lnTo>
                    <a:pt x="4888" y="461"/>
                  </a:lnTo>
                  <a:lnTo>
                    <a:pt x="4888" y="461"/>
                  </a:lnTo>
                  <a:lnTo>
                    <a:pt x="4884" y="457"/>
                  </a:lnTo>
                  <a:lnTo>
                    <a:pt x="4884" y="457"/>
                  </a:lnTo>
                  <a:lnTo>
                    <a:pt x="4879" y="457"/>
                  </a:lnTo>
                  <a:lnTo>
                    <a:pt x="4879" y="452"/>
                  </a:lnTo>
                  <a:lnTo>
                    <a:pt x="4875" y="452"/>
                  </a:lnTo>
                  <a:lnTo>
                    <a:pt x="4875" y="452"/>
                  </a:lnTo>
                  <a:lnTo>
                    <a:pt x="4870" y="448"/>
                  </a:lnTo>
                  <a:lnTo>
                    <a:pt x="4870" y="443"/>
                  </a:lnTo>
                  <a:lnTo>
                    <a:pt x="4866" y="443"/>
                  </a:lnTo>
                  <a:lnTo>
                    <a:pt x="4866" y="439"/>
                  </a:lnTo>
                  <a:lnTo>
                    <a:pt x="4866" y="439"/>
                  </a:lnTo>
                  <a:lnTo>
                    <a:pt x="4866" y="434"/>
                  </a:lnTo>
                  <a:lnTo>
                    <a:pt x="4866" y="434"/>
                  </a:lnTo>
                  <a:lnTo>
                    <a:pt x="4866" y="430"/>
                  </a:lnTo>
                  <a:lnTo>
                    <a:pt x="4870" y="430"/>
                  </a:lnTo>
                  <a:lnTo>
                    <a:pt x="4875" y="434"/>
                  </a:lnTo>
                  <a:lnTo>
                    <a:pt x="4879" y="430"/>
                  </a:lnTo>
                  <a:lnTo>
                    <a:pt x="4879" y="430"/>
                  </a:lnTo>
                  <a:lnTo>
                    <a:pt x="4879" y="430"/>
                  </a:lnTo>
                  <a:lnTo>
                    <a:pt x="4879" y="425"/>
                  </a:lnTo>
                  <a:lnTo>
                    <a:pt x="4875" y="425"/>
                  </a:lnTo>
                  <a:lnTo>
                    <a:pt x="4870" y="421"/>
                  </a:lnTo>
                  <a:lnTo>
                    <a:pt x="4866" y="421"/>
                  </a:lnTo>
                  <a:lnTo>
                    <a:pt x="4866" y="421"/>
                  </a:lnTo>
                  <a:lnTo>
                    <a:pt x="4861" y="416"/>
                  </a:lnTo>
                  <a:lnTo>
                    <a:pt x="4856" y="411"/>
                  </a:lnTo>
                  <a:lnTo>
                    <a:pt x="4852" y="411"/>
                  </a:lnTo>
                  <a:lnTo>
                    <a:pt x="4852" y="407"/>
                  </a:lnTo>
                  <a:lnTo>
                    <a:pt x="4847" y="402"/>
                  </a:lnTo>
                  <a:lnTo>
                    <a:pt x="4847" y="402"/>
                  </a:lnTo>
                  <a:lnTo>
                    <a:pt x="4847" y="398"/>
                  </a:lnTo>
                  <a:lnTo>
                    <a:pt x="4847" y="398"/>
                  </a:lnTo>
                  <a:lnTo>
                    <a:pt x="4847" y="398"/>
                  </a:lnTo>
                  <a:lnTo>
                    <a:pt x="4843" y="393"/>
                  </a:lnTo>
                  <a:lnTo>
                    <a:pt x="4843" y="393"/>
                  </a:lnTo>
                  <a:lnTo>
                    <a:pt x="4843" y="393"/>
                  </a:lnTo>
                  <a:lnTo>
                    <a:pt x="4847" y="393"/>
                  </a:lnTo>
                  <a:lnTo>
                    <a:pt x="4847" y="393"/>
                  </a:lnTo>
                  <a:lnTo>
                    <a:pt x="4847" y="393"/>
                  </a:lnTo>
                  <a:lnTo>
                    <a:pt x="4847" y="393"/>
                  </a:lnTo>
                  <a:lnTo>
                    <a:pt x="4847" y="393"/>
                  </a:lnTo>
                  <a:lnTo>
                    <a:pt x="4847" y="398"/>
                  </a:lnTo>
                  <a:lnTo>
                    <a:pt x="4847" y="398"/>
                  </a:lnTo>
                  <a:lnTo>
                    <a:pt x="4856" y="402"/>
                  </a:lnTo>
                  <a:lnTo>
                    <a:pt x="4856" y="402"/>
                  </a:lnTo>
                  <a:lnTo>
                    <a:pt x="4861" y="402"/>
                  </a:lnTo>
                  <a:lnTo>
                    <a:pt x="4856" y="398"/>
                  </a:lnTo>
                  <a:lnTo>
                    <a:pt x="4856" y="398"/>
                  </a:lnTo>
                  <a:lnTo>
                    <a:pt x="4856" y="398"/>
                  </a:lnTo>
                  <a:lnTo>
                    <a:pt x="4852" y="393"/>
                  </a:lnTo>
                  <a:lnTo>
                    <a:pt x="4847" y="393"/>
                  </a:lnTo>
                  <a:lnTo>
                    <a:pt x="4847" y="389"/>
                  </a:lnTo>
                  <a:lnTo>
                    <a:pt x="4843" y="389"/>
                  </a:lnTo>
                  <a:lnTo>
                    <a:pt x="4843" y="389"/>
                  </a:lnTo>
                  <a:lnTo>
                    <a:pt x="4843" y="389"/>
                  </a:lnTo>
                  <a:lnTo>
                    <a:pt x="4838" y="389"/>
                  </a:lnTo>
                  <a:lnTo>
                    <a:pt x="4838" y="389"/>
                  </a:lnTo>
                  <a:lnTo>
                    <a:pt x="4838" y="384"/>
                  </a:lnTo>
                  <a:lnTo>
                    <a:pt x="4834" y="384"/>
                  </a:lnTo>
                  <a:lnTo>
                    <a:pt x="4829" y="384"/>
                  </a:lnTo>
                  <a:lnTo>
                    <a:pt x="4829" y="380"/>
                  </a:lnTo>
                  <a:lnTo>
                    <a:pt x="4825" y="380"/>
                  </a:lnTo>
                  <a:lnTo>
                    <a:pt x="4825" y="380"/>
                  </a:lnTo>
                  <a:lnTo>
                    <a:pt x="4825" y="375"/>
                  </a:lnTo>
                  <a:lnTo>
                    <a:pt x="4825" y="375"/>
                  </a:lnTo>
                  <a:lnTo>
                    <a:pt x="4825" y="371"/>
                  </a:lnTo>
                  <a:lnTo>
                    <a:pt x="4820" y="371"/>
                  </a:lnTo>
                  <a:lnTo>
                    <a:pt x="4820" y="371"/>
                  </a:lnTo>
                  <a:lnTo>
                    <a:pt x="4816" y="366"/>
                  </a:lnTo>
                  <a:lnTo>
                    <a:pt x="4811" y="366"/>
                  </a:lnTo>
                  <a:lnTo>
                    <a:pt x="4811" y="366"/>
                  </a:lnTo>
                  <a:lnTo>
                    <a:pt x="4811" y="366"/>
                  </a:lnTo>
                  <a:lnTo>
                    <a:pt x="4811" y="371"/>
                  </a:lnTo>
                  <a:lnTo>
                    <a:pt x="4811" y="371"/>
                  </a:lnTo>
                  <a:lnTo>
                    <a:pt x="4811" y="371"/>
                  </a:lnTo>
                  <a:lnTo>
                    <a:pt x="4811" y="371"/>
                  </a:lnTo>
                  <a:lnTo>
                    <a:pt x="4807" y="371"/>
                  </a:lnTo>
                  <a:lnTo>
                    <a:pt x="4807" y="371"/>
                  </a:lnTo>
                  <a:lnTo>
                    <a:pt x="4802" y="371"/>
                  </a:lnTo>
                  <a:lnTo>
                    <a:pt x="4802" y="366"/>
                  </a:lnTo>
                  <a:lnTo>
                    <a:pt x="4798" y="366"/>
                  </a:lnTo>
                  <a:lnTo>
                    <a:pt x="4793" y="362"/>
                  </a:lnTo>
                  <a:lnTo>
                    <a:pt x="4793" y="357"/>
                  </a:lnTo>
                  <a:lnTo>
                    <a:pt x="4789" y="353"/>
                  </a:lnTo>
                  <a:lnTo>
                    <a:pt x="4789" y="353"/>
                  </a:lnTo>
                  <a:lnTo>
                    <a:pt x="4789" y="348"/>
                  </a:lnTo>
                  <a:lnTo>
                    <a:pt x="4789" y="348"/>
                  </a:lnTo>
                  <a:lnTo>
                    <a:pt x="4789" y="348"/>
                  </a:lnTo>
                  <a:lnTo>
                    <a:pt x="4789" y="348"/>
                  </a:lnTo>
                  <a:lnTo>
                    <a:pt x="4784" y="344"/>
                  </a:lnTo>
                  <a:lnTo>
                    <a:pt x="4784" y="344"/>
                  </a:lnTo>
                  <a:lnTo>
                    <a:pt x="4784" y="344"/>
                  </a:lnTo>
                  <a:lnTo>
                    <a:pt x="4784" y="344"/>
                  </a:lnTo>
                  <a:lnTo>
                    <a:pt x="4784" y="344"/>
                  </a:lnTo>
                  <a:lnTo>
                    <a:pt x="4780" y="339"/>
                  </a:lnTo>
                  <a:lnTo>
                    <a:pt x="4775" y="335"/>
                  </a:lnTo>
                  <a:lnTo>
                    <a:pt x="4775" y="335"/>
                  </a:lnTo>
                  <a:lnTo>
                    <a:pt x="4771" y="330"/>
                  </a:lnTo>
                  <a:lnTo>
                    <a:pt x="4771" y="330"/>
                  </a:lnTo>
                  <a:lnTo>
                    <a:pt x="4771" y="330"/>
                  </a:lnTo>
                  <a:lnTo>
                    <a:pt x="4771" y="330"/>
                  </a:lnTo>
                  <a:lnTo>
                    <a:pt x="4771" y="330"/>
                  </a:lnTo>
                  <a:lnTo>
                    <a:pt x="4771" y="330"/>
                  </a:lnTo>
                  <a:lnTo>
                    <a:pt x="4771" y="330"/>
                  </a:lnTo>
                  <a:lnTo>
                    <a:pt x="4775" y="330"/>
                  </a:lnTo>
                  <a:lnTo>
                    <a:pt x="4775" y="330"/>
                  </a:lnTo>
                  <a:lnTo>
                    <a:pt x="4780" y="330"/>
                  </a:lnTo>
                  <a:lnTo>
                    <a:pt x="4780" y="330"/>
                  </a:lnTo>
                  <a:lnTo>
                    <a:pt x="4775" y="326"/>
                  </a:lnTo>
                  <a:lnTo>
                    <a:pt x="4780" y="326"/>
                  </a:lnTo>
                  <a:lnTo>
                    <a:pt x="4780" y="326"/>
                  </a:lnTo>
                  <a:lnTo>
                    <a:pt x="4780" y="326"/>
                  </a:lnTo>
                  <a:lnTo>
                    <a:pt x="4784" y="330"/>
                  </a:lnTo>
                  <a:lnTo>
                    <a:pt x="4789" y="330"/>
                  </a:lnTo>
                  <a:lnTo>
                    <a:pt x="4789" y="330"/>
                  </a:lnTo>
                  <a:lnTo>
                    <a:pt x="4789" y="330"/>
                  </a:lnTo>
                  <a:lnTo>
                    <a:pt x="4789" y="326"/>
                  </a:lnTo>
                  <a:lnTo>
                    <a:pt x="4784" y="326"/>
                  </a:lnTo>
                  <a:lnTo>
                    <a:pt x="4784" y="326"/>
                  </a:lnTo>
                  <a:lnTo>
                    <a:pt x="4784" y="326"/>
                  </a:lnTo>
                  <a:lnTo>
                    <a:pt x="4784" y="321"/>
                  </a:lnTo>
                  <a:lnTo>
                    <a:pt x="4784" y="321"/>
                  </a:lnTo>
                  <a:lnTo>
                    <a:pt x="4784" y="321"/>
                  </a:lnTo>
                  <a:lnTo>
                    <a:pt x="4784" y="317"/>
                  </a:lnTo>
                  <a:lnTo>
                    <a:pt x="4789" y="317"/>
                  </a:lnTo>
                  <a:lnTo>
                    <a:pt x="4789" y="317"/>
                  </a:lnTo>
                  <a:lnTo>
                    <a:pt x="4789" y="317"/>
                  </a:lnTo>
                  <a:lnTo>
                    <a:pt x="4793" y="321"/>
                  </a:lnTo>
                  <a:lnTo>
                    <a:pt x="4793" y="321"/>
                  </a:lnTo>
                  <a:lnTo>
                    <a:pt x="4798" y="326"/>
                  </a:lnTo>
                  <a:lnTo>
                    <a:pt x="4798" y="326"/>
                  </a:lnTo>
                  <a:lnTo>
                    <a:pt x="4802" y="326"/>
                  </a:lnTo>
                  <a:lnTo>
                    <a:pt x="4802" y="326"/>
                  </a:lnTo>
                  <a:lnTo>
                    <a:pt x="4802" y="326"/>
                  </a:lnTo>
                  <a:lnTo>
                    <a:pt x="4802" y="326"/>
                  </a:lnTo>
                  <a:lnTo>
                    <a:pt x="4798" y="317"/>
                  </a:lnTo>
                  <a:lnTo>
                    <a:pt x="4798" y="317"/>
                  </a:lnTo>
                  <a:lnTo>
                    <a:pt x="4802" y="312"/>
                  </a:lnTo>
                  <a:lnTo>
                    <a:pt x="4802" y="312"/>
                  </a:lnTo>
                  <a:lnTo>
                    <a:pt x="4802" y="312"/>
                  </a:lnTo>
                  <a:lnTo>
                    <a:pt x="4807" y="312"/>
                  </a:lnTo>
                  <a:lnTo>
                    <a:pt x="4811" y="312"/>
                  </a:lnTo>
                  <a:lnTo>
                    <a:pt x="4811" y="312"/>
                  </a:lnTo>
                  <a:lnTo>
                    <a:pt x="4816" y="308"/>
                  </a:lnTo>
                  <a:lnTo>
                    <a:pt x="4816" y="308"/>
                  </a:lnTo>
                  <a:lnTo>
                    <a:pt x="4825" y="312"/>
                  </a:lnTo>
                  <a:lnTo>
                    <a:pt x="4829" y="312"/>
                  </a:lnTo>
                  <a:lnTo>
                    <a:pt x="4829" y="312"/>
                  </a:lnTo>
                  <a:lnTo>
                    <a:pt x="4829" y="317"/>
                  </a:lnTo>
                  <a:lnTo>
                    <a:pt x="4834" y="317"/>
                  </a:lnTo>
                  <a:lnTo>
                    <a:pt x="4834" y="317"/>
                  </a:lnTo>
                  <a:lnTo>
                    <a:pt x="4834" y="317"/>
                  </a:lnTo>
                  <a:lnTo>
                    <a:pt x="4838" y="317"/>
                  </a:lnTo>
                  <a:lnTo>
                    <a:pt x="4843" y="317"/>
                  </a:lnTo>
                  <a:lnTo>
                    <a:pt x="4843" y="317"/>
                  </a:lnTo>
                  <a:lnTo>
                    <a:pt x="4843" y="317"/>
                  </a:lnTo>
                  <a:lnTo>
                    <a:pt x="4838" y="312"/>
                  </a:lnTo>
                  <a:lnTo>
                    <a:pt x="4834" y="312"/>
                  </a:lnTo>
                  <a:lnTo>
                    <a:pt x="4834" y="312"/>
                  </a:lnTo>
                  <a:lnTo>
                    <a:pt x="4834" y="308"/>
                  </a:lnTo>
                  <a:lnTo>
                    <a:pt x="4834" y="308"/>
                  </a:lnTo>
                  <a:lnTo>
                    <a:pt x="4834" y="308"/>
                  </a:lnTo>
                  <a:lnTo>
                    <a:pt x="4834" y="303"/>
                  </a:lnTo>
                  <a:lnTo>
                    <a:pt x="4834" y="298"/>
                  </a:lnTo>
                  <a:lnTo>
                    <a:pt x="4834" y="298"/>
                  </a:lnTo>
                  <a:lnTo>
                    <a:pt x="4834" y="298"/>
                  </a:lnTo>
                  <a:lnTo>
                    <a:pt x="4834" y="298"/>
                  </a:lnTo>
                  <a:lnTo>
                    <a:pt x="4834" y="298"/>
                  </a:lnTo>
                  <a:lnTo>
                    <a:pt x="4834" y="298"/>
                  </a:lnTo>
                  <a:lnTo>
                    <a:pt x="4834" y="294"/>
                  </a:lnTo>
                  <a:lnTo>
                    <a:pt x="4834" y="294"/>
                  </a:lnTo>
                  <a:lnTo>
                    <a:pt x="4834" y="294"/>
                  </a:lnTo>
                  <a:lnTo>
                    <a:pt x="4834" y="294"/>
                  </a:lnTo>
                  <a:lnTo>
                    <a:pt x="4834" y="294"/>
                  </a:lnTo>
                  <a:lnTo>
                    <a:pt x="4834" y="294"/>
                  </a:lnTo>
                  <a:lnTo>
                    <a:pt x="4834" y="289"/>
                  </a:lnTo>
                  <a:lnTo>
                    <a:pt x="4834" y="289"/>
                  </a:lnTo>
                  <a:lnTo>
                    <a:pt x="4834" y="289"/>
                  </a:lnTo>
                  <a:lnTo>
                    <a:pt x="4834" y="289"/>
                  </a:lnTo>
                  <a:lnTo>
                    <a:pt x="4834" y="289"/>
                  </a:lnTo>
                  <a:lnTo>
                    <a:pt x="4829" y="289"/>
                  </a:lnTo>
                  <a:lnTo>
                    <a:pt x="4829" y="289"/>
                  </a:lnTo>
                  <a:lnTo>
                    <a:pt x="4829" y="289"/>
                  </a:lnTo>
                  <a:lnTo>
                    <a:pt x="4834" y="289"/>
                  </a:lnTo>
                  <a:lnTo>
                    <a:pt x="4834" y="289"/>
                  </a:lnTo>
                  <a:lnTo>
                    <a:pt x="4834" y="285"/>
                  </a:lnTo>
                  <a:lnTo>
                    <a:pt x="4829" y="280"/>
                  </a:lnTo>
                  <a:lnTo>
                    <a:pt x="4834" y="280"/>
                  </a:lnTo>
                  <a:lnTo>
                    <a:pt x="4834" y="280"/>
                  </a:lnTo>
                  <a:lnTo>
                    <a:pt x="4834" y="280"/>
                  </a:lnTo>
                  <a:lnTo>
                    <a:pt x="4834" y="280"/>
                  </a:lnTo>
                  <a:lnTo>
                    <a:pt x="4834" y="276"/>
                  </a:lnTo>
                  <a:lnTo>
                    <a:pt x="4834" y="276"/>
                  </a:lnTo>
                  <a:lnTo>
                    <a:pt x="4834" y="276"/>
                  </a:lnTo>
                  <a:lnTo>
                    <a:pt x="4838" y="276"/>
                  </a:lnTo>
                  <a:lnTo>
                    <a:pt x="4834" y="271"/>
                  </a:lnTo>
                  <a:lnTo>
                    <a:pt x="4838" y="271"/>
                  </a:lnTo>
                  <a:lnTo>
                    <a:pt x="4838" y="271"/>
                  </a:lnTo>
                  <a:lnTo>
                    <a:pt x="4838" y="271"/>
                  </a:lnTo>
                  <a:lnTo>
                    <a:pt x="4838" y="267"/>
                  </a:lnTo>
                  <a:lnTo>
                    <a:pt x="4838" y="267"/>
                  </a:lnTo>
                  <a:lnTo>
                    <a:pt x="4838" y="262"/>
                  </a:lnTo>
                  <a:lnTo>
                    <a:pt x="4838" y="262"/>
                  </a:lnTo>
                  <a:lnTo>
                    <a:pt x="4843" y="262"/>
                  </a:lnTo>
                  <a:lnTo>
                    <a:pt x="4843" y="262"/>
                  </a:lnTo>
                  <a:lnTo>
                    <a:pt x="4838" y="262"/>
                  </a:lnTo>
                  <a:lnTo>
                    <a:pt x="4838" y="262"/>
                  </a:lnTo>
                  <a:lnTo>
                    <a:pt x="4834" y="258"/>
                  </a:lnTo>
                  <a:lnTo>
                    <a:pt x="4834" y="258"/>
                  </a:lnTo>
                  <a:lnTo>
                    <a:pt x="4834" y="258"/>
                  </a:lnTo>
                  <a:lnTo>
                    <a:pt x="4834" y="258"/>
                  </a:lnTo>
                  <a:lnTo>
                    <a:pt x="4838" y="258"/>
                  </a:lnTo>
                  <a:lnTo>
                    <a:pt x="4838" y="258"/>
                  </a:lnTo>
                  <a:lnTo>
                    <a:pt x="4838" y="258"/>
                  </a:lnTo>
                  <a:lnTo>
                    <a:pt x="4838" y="258"/>
                  </a:lnTo>
                  <a:lnTo>
                    <a:pt x="4838" y="258"/>
                  </a:lnTo>
                  <a:lnTo>
                    <a:pt x="4838" y="258"/>
                  </a:lnTo>
                  <a:lnTo>
                    <a:pt x="4838" y="262"/>
                  </a:lnTo>
                  <a:lnTo>
                    <a:pt x="4843" y="262"/>
                  </a:lnTo>
                  <a:lnTo>
                    <a:pt x="4843" y="262"/>
                  </a:lnTo>
                  <a:lnTo>
                    <a:pt x="4847" y="262"/>
                  </a:lnTo>
                  <a:lnTo>
                    <a:pt x="4852" y="262"/>
                  </a:lnTo>
                  <a:lnTo>
                    <a:pt x="4866" y="262"/>
                  </a:lnTo>
                  <a:lnTo>
                    <a:pt x="4866" y="262"/>
                  </a:lnTo>
                  <a:lnTo>
                    <a:pt x="4866" y="262"/>
                  </a:lnTo>
                  <a:lnTo>
                    <a:pt x="4866" y="262"/>
                  </a:lnTo>
                  <a:lnTo>
                    <a:pt x="4866" y="258"/>
                  </a:lnTo>
                  <a:lnTo>
                    <a:pt x="4866" y="258"/>
                  </a:lnTo>
                  <a:lnTo>
                    <a:pt x="4861" y="258"/>
                  </a:lnTo>
                  <a:lnTo>
                    <a:pt x="4861" y="253"/>
                  </a:lnTo>
                  <a:lnTo>
                    <a:pt x="4861" y="253"/>
                  </a:lnTo>
                  <a:lnTo>
                    <a:pt x="4856" y="253"/>
                  </a:lnTo>
                  <a:lnTo>
                    <a:pt x="4852" y="253"/>
                  </a:lnTo>
                  <a:lnTo>
                    <a:pt x="4852" y="253"/>
                  </a:lnTo>
                  <a:lnTo>
                    <a:pt x="4847" y="249"/>
                  </a:lnTo>
                  <a:lnTo>
                    <a:pt x="4847" y="249"/>
                  </a:lnTo>
                  <a:lnTo>
                    <a:pt x="4847" y="249"/>
                  </a:lnTo>
                  <a:lnTo>
                    <a:pt x="4847" y="249"/>
                  </a:lnTo>
                  <a:lnTo>
                    <a:pt x="4843" y="249"/>
                  </a:lnTo>
                  <a:lnTo>
                    <a:pt x="4838" y="244"/>
                  </a:lnTo>
                  <a:lnTo>
                    <a:pt x="4838" y="244"/>
                  </a:lnTo>
                  <a:lnTo>
                    <a:pt x="4834" y="244"/>
                  </a:lnTo>
                  <a:lnTo>
                    <a:pt x="4829" y="244"/>
                  </a:lnTo>
                  <a:lnTo>
                    <a:pt x="4829" y="244"/>
                  </a:lnTo>
                  <a:lnTo>
                    <a:pt x="4834" y="244"/>
                  </a:lnTo>
                  <a:lnTo>
                    <a:pt x="4834" y="244"/>
                  </a:lnTo>
                  <a:lnTo>
                    <a:pt x="4834" y="244"/>
                  </a:lnTo>
                  <a:lnTo>
                    <a:pt x="4829" y="244"/>
                  </a:lnTo>
                  <a:lnTo>
                    <a:pt x="4829" y="244"/>
                  </a:lnTo>
                  <a:lnTo>
                    <a:pt x="4829" y="244"/>
                  </a:lnTo>
                  <a:lnTo>
                    <a:pt x="4825" y="244"/>
                  </a:lnTo>
                  <a:lnTo>
                    <a:pt x="4825" y="244"/>
                  </a:lnTo>
                  <a:lnTo>
                    <a:pt x="4825" y="240"/>
                  </a:lnTo>
                  <a:lnTo>
                    <a:pt x="4825" y="240"/>
                  </a:lnTo>
                  <a:lnTo>
                    <a:pt x="4825" y="240"/>
                  </a:lnTo>
                  <a:lnTo>
                    <a:pt x="4820" y="240"/>
                  </a:lnTo>
                  <a:lnTo>
                    <a:pt x="4816" y="235"/>
                  </a:lnTo>
                  <a:lnTo>
                    <a:pt x="4816" y="235"/>
                  </a:lnTo>
                  <a:lnTo>
                    <a:pt x="4811" y="235"/>
                  </a:lnTo>
                  <a:lnTo>
                    <a:pt x="4811" y="235"/>
                  </a:lnTo>
                  <a:lnTo>
                    <a:pt x="4811" y="235"/>
                  </a:lnTo>
                  <a:lnTo>
                    <a:pt x="4807" y="231"/>
                  </a:lnTo>
                  <a:lnTo>
                    <a:pt x="4802" y="231"/>
                  </a:lnTo>
                  <a:lnTo>
                    <a:pt x="4802" y="231"/>
                  </a:lnTo>
                  <a:lnTo>
                    <a:pt x="4802" y="231"/>
                  </a:lnTo>
                  <a:lnTo>
                    <a:pt x="4802" y="231"/>
                  </a:lnTo>
                  <a:lnTo>
                    <a:pt x="4802" y="231"/>
                  </a:lnTo>
                  <a:lnTo>
                    <a:pt x="4802" y="231"/>
                  </a:lnTo>
                  <a:lnTo>
                    <a:pt x="4798" y="231"/>
                  </a:lnTo>
                  <a:lnTo>
                    <a:pt x="4793" y="231"/>
                  </a:lnTo>
                  <a:lnTo>
                    <a:pt x="4789" y="226"/>
                  </a:lnTo>
                  <a:lnTo>
                    <a:pt x="4784" y="226"/>
                  </a:lnTo>
                  <a:lnTo>
                    <a:pt x="4784" y="226"/>
                  </a:lnTo>
                  <a:lnTo>
                    <a:pt x="4780" y="226"/>
                  </a:lnTo>
                  <a:lnTo>
                    <a:pt x="4780" y="226"/>
                  </a:lnTo>
                  <a:lnTo>
                    <a:pt x="4780" y="226"/>
                  </a:lnTo>
                  <a:lnTo>
                    <a:pt x="4780" y="226"/>
                  </a:lnTo>
                  <a:lnTo>
                    <a:pt x="4775" y="226"/>
                  </a:lnTo>
                  <a:lnTo>
                    <a:pt x="4775" y="231"/>
                  </a:lnTo>
                  <a:lnTo>
                    <a:pt x="4775" y="231"/>
                  </a:lnTo>
                  <a:lnTo>
                    <a:pt x="4775" y="231"/>
                  </a:lnTo>
                  <a:lnTo>
                    <a:pt x="4775" y="226"/>
                  </a:lnTo>
                  <a:lnTo>
                    <a:pt x="4771" y="226"/>
                  </a:lnTo>
                  <a:lnTo>
                    <a:pt x="4771" y="226"/>
                  </a:lnTo>
                  <a:lnTo>
                    <a:pt x="4766" y="226"/>
                  </a:lnTo>
                  <a:lnTo>
                    <a:pt x="4766" y="226"/>
                  </a:lnTo>
                  <a:lnTo>
                    <a:pt x="4766" y="226"/>
                  </a:lnTo>
                  <a:lnTo>
                    <a:pt x="4766" y="226"/>
                  </a:lnTo>
                  <a:lnTo>
                    <a:pt x="4766" y="226"/>
                  </a:lnTo>
                  <a:lnTo>
                    <a:pt x="4762" y="231"/>
                  </a:lnTo>
                  <a:lnTo>
                    <a:pt x="4762" y="231"/>
                  </a:lnTo>
                  <a:lnTo>
                    <a:pt x="4757" y="231"/>
                  </a:lnTo>
                  <a:lnTo>
                    <a:pt x="4757" y="231"/>
                  </a:lnTo>
                  <a:lnTo>
                    <a:pt x="4762" y="231"/>
                  </a:lnTo>
                  <a:lnTo>
                    <a:pt x="4762" y="226"/>
                  </a:lnTo>
                  <a:lnTo>
                    <a:pt x="4766" y="226"/>
                  </a:lnTo>
                  <a:lnTo>
                    <a:pt x="4766" y="226"/>
                  </a:lnTo>
                  <a:lnTo>
                    <a:pt x="4771" y="226"/>
                  </a:lnTo>
                  <a:lnTo>
                    <a:pt x="4771" y="226"/>
                  </a:lnTo>
                  <a:lnTo>
                    <a:pt x="4775" y="226"/>
                  </a:lnTo>
                  <a:lnTo>
                    <a:pt x="4780" y="226"/>
                  </a:lnTo>
                  <a:lnTo>
                    <a:pt x="4780" y="226"/>
                  </a:lnTo>
                  <a:lnTo>
                    <a:pt x="4780" y="222"/>
                  </a:lnTo>
                  <a:lnTo>
                    <a:pt x="4775" y="222"/>
                  </a:lnTo>
                  <a:lnTo>
                    <a:pt x="4771" y="222"/>
                  </a:lnTo>
                  <a:lnTo>
                    <a:pt x="4771" y="222"/>
                  </a:lnTo>
                  <a:lnTo>
                    <a:pt x="4766" y="222"/>
                  </a:lnTo>
                  <a:lnTo>
                    <a:pt x="4766" y="222"/>
                  </a:lnTo>
                  <a:lnTo>
                    <a:pt x="4766" y="222"/>
                  </a:lnTo>
                  <a:lnTo>
                    <a:pt x="4766" y="222"/>
                  </a:lnTo>
                  <a:lnTo>
                    <a:pt x="4766" y="222"/>
                  </a:lnTo>
                  <a:lnTo>
                    <a:pt x="4766" y="222"/>
                  </a:lnTo>
                  <a:lnTo>
                    <a:pt x="4771" y="222"/>
                  </a:lnTo>
                  <a:lnTo>
                    <a:pt x="4775" y="222"/>
                  </a:lnTo>
                  <a:lnTo>
                    <a:pt x="4775" y="222"/>
                  </a:lnTo>
                  <a:lnTo>
                    <a:pt x="4784" y="226"/>
                  </a:lnTo>
                  <a:lnTo>
                    <a:pt x="4789" y="226"/>
                  </a:lnTo>
                  <a:lnTo>
                    <a:pt x="4793" y="226"/>
                  </a:lnTo>
                  <a:lnTo>
                    <a:pt x="4798" y="226"/>
                  </a:lnTo>
                  <a:lnTo>
                    <a:pt x="4798" y="226"/>
                  </a:lnTo>
                  <a:lnTo>
                    <a:pt x="4798" y="222"/>
                  </a:lnTo>
                  <a:lnTo>
                    <a:pt x="4798" y="222"/>
                  </a:lnTo>
                  <a:lnTo>
                    <a:pt x="4798" y="217"/>
                  </a:lnTo>
                  <a:lnTo>
                    <a:pt x="4798" y="217"/>
                  </a:lnTo>
                  <a:lnTo>
                    <a:pt x="4798" y="217"/>
                  </a:lnTo>
                  <a:lnTo>
                    <a:pt x="4798" y="213"/>
                  </a:lnTo>
                  <a:lnTo>
                    <a:pt x="4798" y="213"/>
                  </a:lnTo>
                  <a:lnTo>
                    <a:pt x="4793" y="208"/>
                  </a:lnTo>
                  <a:lnTo>
                    <a:pt x="4793" y="208"/>
                  </a:lnTo>
                  <a:lnTo>
                    <a:pt x="4789" y="208"/>
                  </a:lnTo>
                  <a:lnTo>
                    <a:pt x="4789" y="208"/>
                  </a:lnTo>
                  <a:lnTo>
                    <a:pt x="4789" y="204"/>
                  </a:lnTo>
                  <a:lnTo>
                    <a:pt x="4784" y="204"/>
                  </a:lnTo>
                  <a:lnTo>
                    <a:pt x="4780" y="204"/>
                  </a:lnTo>
                  <a:lnTo>
                    <a:pt x="4780" y="204"/>
                  </a:lnTo>
                  <a:lnTo>
                    <a:pt x="4775" y="204"/>
                  </a:lnTo>
                  <a:lnTo>
                    <a:pt x="4771" y="199"/>
                  </a:lnTo>
                  <a:lnTo>
                    <a:pt x="4771" y="199"/>
                  </a:lnTo>
                  <a:lnTo>
                    <a:pt x="4766" y="199"/>
                  </a:lnTo>
                  <a:lnTo>
                    <a:pt x="4771" y="199"/>
                  </a:lnTo>
                  <a:lnTo>
                    <a:pt x="4771" y="199"/>
                  </a:lnTo>
                  <a:lnTo>
                    <a:pt x="4771" y="199"/>
                  </a:lnTo>
                  <a:lnTo>
                    <a:pt x="4771" y="194"/>
                  </a:lnTo>
                  <a:lnTo>
                    <a:pt x="4766" y="194"/>
                  </a:lnTo>
                  <a:lnTo>
                    <a:pt x="4766" y="194"/>
                  </a:lnTo>
                  <a:lnTo>
                    <a:pt x="4766" y="194"/>
                  </a:lnTo>
                  <a:lnTo>
                    <a:pt x="4766" y="194"/>
                  </a:lnTo>
                  <a:lnTo>
                    <a:pt x="4766" y="194"/>
                  </a:lnTo>
                  <a:lnTo>
                    <a:pt x="4766" y="194"/>
                  </a:lnTo>
                  <a:lnTo>
                    <a:pt x="4771" y="194"/>
                  </a:lnTo>
                  <a:lnTo>
                    <a:pt x="4775" y="194"/>
                  </a:lnTo>
                  <a:lnTo>
                    <a:pt x="4775" y="194"/>
                  </a:lnTo>
                  <a:lnTo>
                    <a:pt x="4775" y="194"/>
                  </a:lnTo>
                  <a:lnTo>
                    <a:pt x="4775" y="194"/>
                  </a:lnTo>
                  <a:lnTo>
                    <a:pt x="4775" y="194"/>
                  </a:lnTo>
                  <a:lnTo>
                    <a:pt x="4771" y="194"/>
                  </a:lnTo>
                  <a:lnTo>
                    <a:pt x="4771" y="190"/>
                  </a:lnTo>
                  <a:lnTo>
                    <a:pt x="4775" y="194"/>
                  </a:lnTo>
                  <a:lnTo>
                    <a:pt x="4775" y="194"/>
                  </a:lnTo>
                  <a:lnTo>
                    <a:pt x="4780" y="194"/>
                  </a:lnTo>
                  <a:lnTo>
                    <a:pt x="4780" y="194"/>
                  </a:lnTo>
                  <a:lnTo>
                    <a:pt x="4780" y="199"/>
                  </a:lnTo>
                  <a:lnTo>
                    <a:pt x="4780" y="199"/>
                  </a:lnTo>
                  <a:lnTo>
                    <a:pt x="4780" y="199"/>
                  </a:lnTo>
                  <a:lnTo>
                    <a:pt x="4780" y="199"/>
                  </a:lnTo>
                  <a:lnTo>
                    <a:pt x="4784" y="199"/>
                  </a:lnTo>
                  <a:lnTo>
                    <a:pt x="4784" y="199"/>
                  </a:lnTo>
                  <a:lnTo>
                    <a:pt x="4789" y="204"/>
                  </a:lnTo>
                  <a:lnTo>
                    <a:pt x="4789" y="204"/>
                  </a:lnTo>
                  <a:lnTo>
                    <a:pt x="4789" y="204"/>
                  </a:lnTo>
                  <a:lnTo>
                    <a:pt x="4793" y="204"/>
                  </a:lnTo>
                  <a:lnTo>
                    <a:pt x="4793" y="204"/>
                  </a:lnTo>
                  <a:lnTo>
                    <a:pt x="4793" y="204"/>
                  </a:lnTo>
                  <a:lnTo>
                    <a:pt x="4798" y="204"/>
                  </a:lnTo>
                  <a:lnTo>
                    <a:pt x="4798" y="208"/>
                  </a:lnTo>
                  <a:lnTo>
                    <a:pt x="4802" y="208"/>
                  </a:lnTo>
                  <a:lnTo>
                    <a:pt x="4807" y="204"/>
                  </a:lnTo>
                  <a:lnTo>
                    <a:pt x="4807" y="204"/>
                  </a:lnTo>
                  <a:lnTo>
                    <a:pt x="4807" y="204"/>
                  </a:lnTo>
                  <a:lnTo>
                    <a:pt x="4807" y="204"/>
                  </a:lnTo>
                  <a:lnTo>
                    <a:pt x="4811" y="204"/>
                  </a:lnTo>
                  <a:lnTo>
                    <a:pt x="4816" y="204"/>
                  </a:lnTo>
                  <a:lnTo>
                    <a:pt x="4820" y="204"/>
                  </a:lnTo>
                  <a:lnTo>
                    <a:pt x="4825" y="204"/>
                  </a:lnTo>
                  <a:lnTo>
                    <a:pt x="4829" y="208"/>
                  </a:lnTo>
                  <a:lnTo>
                    <a:pt x="4834" y="208"/>
                  </a:lnTo>
                  <a:lnTo>
                    <a:pt x="4834" y="208"/>
                  </a:lnTo>
                  <a:lnTo>
                    <a:pt x="4838" y="208"/>
                  </a:lnTo>
                  <a:lnTo>
                    <a:pt x="4838" y="208"/>
                  </a:lnTo>
                  <a:lnTo>
                    <a:pt x="4843" y="213"/>
                  </a:lnTo>
                  <a:lnTo>
                    <a:pt x="4843" y="213"/>
                  </a:lnTo>
                  <a:lnTo>
                    <a:pt x="4847" y="213"/>
                  </a:lnTo>
                  <a:lnTo>
                    <a:pt x="4847" y="213"/>
                  </a:lnTo>
                  <a:lnTo>
                    <a:pt x="4847" y="213"/>
                  </a:lnTo>
                  <a:lnTo>
                    <a:pt x="4847" y="213"/>
                  </a:lnTo>
                  <a:lnTo>
                    <a:pt x="4852" y="213"/>
                  </a:lnTo>
                  <a:lnTo>
                    <a:pt x="4852" y="213"/>
                  </a:lnTo>
                  <a:lnTo>
                    <a:pt x="4856" y="213"/>
                  </a:lnTo>
                  <a:lnTo>
                    <a:pt x="4861" y="213"/>
                  </a:lnTo>
                  <a:lnTo>
                    <a:pt x="4866" y="213"/>
                  </a:lnTo>
                  <a:lnTo>
                    <a:pt x="4870" y="217"/>
                  </a:lnTo>
                  <a:lnTo>
                    <a:pt x="4870" y="217"/>
                  </a:lnTo>
                  <a:lnTo>
                    <a:pt x="4875" y="217"/>
                  </a:lnTo>
                  <a:lnTo>
                    <a:pt x="4875" y="217"/>
                  </a:lnTo>
                  <a:lnTo>
                    <a:pt x="4875" y="217"/>
                  </a:lnTo>
                  <a:lnTo>
                    <a:pt x="4875" y="213"/>
                  </a:lnTo>
                  <a:lnTo>
                    <a:pt x="4875" y="213"/>
                  </a:lnTo>
                  <a:lnTo>
                    <a:pt x="4875" y="213"/>
                  </a:lnTo>
                  <a:lnTo>
                    <a:pt x="4875" y="213"/>
                  </a:lnTo>
                  <a:lnTo>
                    <a:pt x="4875" y="213"/>
                  </a:lnTo>
                  <a:lnTo>
                    <a:pt x="4875" y="213"/>
                  </a:lnTo>
                  <a:lnTo>
                    <a:pt x="4879" y="217"/>
                  </a:lnTo>
                  <a:lnTo>
                    <a:pt x="4879" y="217"/>
                  </a:lnTo>
                  <a:lnTo>
                    <a:pt x="4884" y="217"/>
                  </a:lnTo>
                  <a:lnTo>
                    <a:pt x="4884" y="217"/>
                  </a:lnTo>
                  <a:lnTo>
                    <a:pt x="4884" y="217"/>
                  </a:lnTo>
                  <a:lnTo>
                    <a:pt x="4884" y="213"/>
                  </a:lnTo>
                  <a:lnTo>
                    <a:pt x="4879" y="213"/>
                  </a:lnTo>
                  <a:lnTo>
                    <a:pt x="4879" y="213"/>
                  </a:lnTo>
                  <a:lnTo>
                    <a:pt x="4879" y="213"/>
                  </a:lnTo>
                  <a:lnTo>
                    <a:pt x="4879" y="213"/>
                  </a:lnTo>
                  <a:lnTo>
                    <a:pt x="4884" y="213"/>
                  </a:lnTo>
                  <a:lnTo>
                    <a:pt x="4884" y="213"/>
                  </a:lnTo>
                  <a:lnTo>
                    <a:pt x="4884" y="213"/>
                  </a:lnTo>
                  <a:lnTo>
                    <a:pt x="4884" y="213"/>
                  </a:lnTo>
                  <a:lnTo>
                    <a:pt x="4884" y="213"/>
                  </a:lnTo>
                  <a:lnTo>
                    <a:pt x="4884" y="213"/>
                  </a:lnTo>
                  <a:lnTo>
                    <a:pt x="4879" y="213"/>
                  </a:lnTo>
                  <a:lnTo>
                    <a:pt x="4879" y="213"/>
                  </a:lnTo>
                  <a:lnTo>
                    <a:pt x="4875" y="213"/>
                  </a:lnTo>
                  <a:lnTo>
                    <a:pt x="4875" y="213"/>
                  </a:lnTo>
                  <a:lnTo>
                    <a:pt x="4875" y="208"/>
                  </a:lnTo>
                  <a:lnTo>
                    <a:pt x="4875" y="208"/>
                  </a:lnTo>
                  <a:lnTo>
                    <a:pt x="4870" y="208"/>
                  </a:lnTo>
                  <a:lnTo>
                    <a:pt x="4870" y="208"/>
                  </a:lnTo>
                  <a:lnTo>
                    <a:pt x="4870" y="208"/>
                  </a:lnTo>
                  <a:lnTo>
                    <a:pt x="4870" y="208"/>
                  </a:lnTo>
                  <a:lnTo>
                    <a:pt x="4870" y="208"/>
                  </a:lnTo>
                  <a:lnTo>
                    <a:pt x="4866" y="208"/>
                  </a:lnTo>
                  <a:lnTo>
                    <a:pt x="4866" y="208"/>
                  </a:lnTo>
                  <a:lnTo>
                    <a:pt x="4866" y="208"/>
                  </a:lnTo>
                  <a:lnTo>
                    <a:pt x="4866" y="208"/>
                  </a:lnTo>
                  <a:lnTo>
                    <a:pt x="4866" y="208"/>
                  </a:lnTo>
                  <a:lnTo>
                    <a:pt x="4870" y="208"/>
                  </a:lnTo>
                  <a:lnTo>
                    <a:pt x="4870" y="204"/>
                  </a:lnTo>
                  <a:lnTo>
                    <a:pt x="4870" y="204"/>
                  </a:lnTo>
                  <a:lnTo>
                    <a:pt x="4870" y="204"/>
                  </a:lnTo>
                  <a:lnTo>
                    <a:pt x="4870" y="204"/>
                  </a:lnTo>
                  <a:lnTo>
                    <a:pt x="4866" y="199"/>
                  </a:lnTo>
                  <a:lnTo>
                    <a:pt x="4861" y="199"/>
                  </a:lnTo>
                  <a:lnTo>
                    <a:pt x="4861" y="199"/>
                  </a:lnTo>
                  <a:lnTo>
                    <a:pt x="4861" y="199"/>
                  </a:lnTo>
                  <a:lnTo>
                    <a:pt x="4861" y="199"/>
                  </a:lnTo>
                  <a:lnTo>
                    <a:pt x="4856" y="199"/>
                  </a:lnTo>
                  <a:lnTo>
                    <a:pt x="4861" y="199"/>
                  </a:lnTo>
                  <a:lnTo>
                    <a:pt x="4861" y="199"/>
                  </a:lnTo>
                  <a:lnTo>
                    <a:pt x="4856" y="194"/>
                  </a:lnTo>
                  <a:lnTo>
                    <a:pt x="4856" y="194"/>
                  </a:lnTo>
                  <a:lnTo>
                    <a:pt x="4856" y="194"/>
                  </a:lnTo>
                  <a:lnTo>
                    <a:pt x="4852" y="194"/>
                  </a:lnTo>
                  <a:lnTo>
                    <a:pt x="4852" y="194"/>
                  </a:lnTo>
                  <a:lnTo>
                    <a:pt x="4852" y="194"/>
                  </a:lnTo>
                  <a:lnTo>
                    <a:pt x="4847" y="194"/>
                  </a:lnTo>
                  <a:lnTo>
                    <a:pt x="4843" y="194"/>
                  </a:lnTo>
                  <a:lnTo>
                    <a:pt x="4843" y="194"/>
                  </a:lnTo>
                  <a:lnTo>
                    <a:pt x="4847" y="194"/>
                  </a:lnTo>
                  <a:lnTo>
                    <a:pt x="4847" y="194"/>
                  </a:lnTo>
                  <a:lnTo>
                    <a:pt x="4852" y="194"/>
                  </a:lnTo>
                  <a:lnTo>
                    <a:pt x="4852" y="194"/>
                  </a:lnTo>
                  <a:lnTo>
                    <a:pt x="4852" y="194"/>
                  </a:lnTo>
                  <a:lnTo>
                    <a:pt x="4852" y="194"/>
                  </a:lnTo>
                  <a:lnTo>
                    <a:pt x="4856" y="194"/>
                  </a:lnTo>
                  <a:lnTo>
                    <a:pt x="4856" y="194"/>
                  </a:lnTo>
                  <a:lnTo>
                    <a:pt x="4856" y="194"/>
                  </a:lnTo>
                  <a:lnTo>
                    <a:pt x="4856" y="194"/>
                  </a:lnTo>
                  <a:lnTo>
                    <a:pt x="4861" y="194"/>
                  </a:lnTo>
                  <a:lnTo>
                    <a:pt x="4861" y="194"/>
                  </a:lnTo>
                  <a:lnTo>
                    <a:pt x="4861" y="194"/>
                  </a:lnTo>
                  <a:lnTo>
                    <a:pt x="4866" y="194"/>
                  </a:lnTo>
                  <a:lnTo>
                    <a:pt x="4866" y="194"/>
                  </a:lnTo>
                  <a:lnTo>
                    <a:pt x="4861" y="194"/>
                  </a:lnTo>
                  <a:lnTo>
                    <a:pt x="4861" y="190"/>
                  </a:lnTo>
                  <a:lnTo>
                    <a:pt x="4856" y="190"/>
                  </a:lnTo>
                  <a:lnTo>
                    <a:pt x="4852" y="190"/>
                  </a:lnTo>
                  <a:lnTo>
                    <a:pt x="4852" y="190"/>
                  </a:lnTo>
                  <a:lnTo>
                    <a:pt x="4852" y="190"/>
                  </a:lnTo>
                  <a:lnTo>
                    <a:pt x="4852" y="190"/>
                  </a:lnTo>
                  <a:lnTo>
                    <a:pt x="4856" y="190"/>
                  </a:lnTo>
                  <a:lnTo>
                    <a:pt x="4856" y="190"/>
                  </a:lnTo>
                  <a:lnTo>
                    <a:pt x="4861" y="190"/>
                  </a:lnTo>
                  <a:lnTo>
                    <a:pt x="4861" y="190"/>
                  </a:lnTo>
                  <a:lnTo>
                    <a:pt x="4866" y="190"/>
                  </a:lnTo>
                  <a:lnTo>
                    <a:pt x="4866" y="190"/>
                  </a:lnTo>
                  <a:lnTo>
                    <a:pt x="4861" y="190"/>
                  </a:lnTo>
                  <a:lnTo>
                    <a:pt x="4861" y="185"/>
                  </a:lnTo>
                  <a:lnTo>
                    <a:pt x="4856" y="185"/>
                  </a:lnTo>
                  <a:lnTo>
                    <a:pt x="4856" y="185"/>
                  </a:lnTo>
                  <a:lnTo>
                    <a:pt x="4856" y="185"/>
                  </a:lnTo>
                  <a:lnTo>
                    <a:pt x="4856" y="185"/>
                  </a:lnTo>
                  <a:lnTo>
                    <a:pt x="4856" y="185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6" y="181"/>
                  </a:lnTo>
                  <a:lnTo>
                    <a:pt x="4852" y="181"/>
                  </a:lnTo>
                  <a:lnTo>
                    <a:pt x="4852" y="181"/>
                  </a:lnTo>
                  <a:lnTo>
                    <a:pt x="4852" y="181"/>
                  </a:lnTo>
                  <a:lnTo>
                    <a:pt x="4852" y="181"/>
                  </a:lnTo>
                  <a:lnTo>
                    <a:pt x="4852" y="181"/>
                  </a:lnTo>
                  <a:lnTo>
                    <a:pt x="4852" y="181"/>
                  </a:lnTo>
                  <a:lnTo>
                    <a:pt x="4852" y="181"/>
                  </a:lnTo>
                  <a:lnTo>
                    <a:pt x="4852" y="181"/>
                  </a:lnTo>
                  <a:lnTo>
                    <a:pt x="4852" y="181"/>
                  </a:lnTo>
                  <a:lnTo>
                    <a:pt x="4852" y="181"/>
                  </a:lnTo>
                  <a:lnTo>
                    <a:pt x="4847" y="181"/>
                  </a:lnTo>
                  <a:lnTo>
                    <a:pt x="4847" y="181"/>
                  </a:lnTo>
                  <a:lnTo>
                    <a:pt x="4847" y="181"/>
                  </a:lnTo>
                  <a:lnTo>
                    <a:pt x="4847" y="181"/>
                  </a:lnTo>
                  <a:lnTo>
                    <a:pt x="4847" y="181"/>
                  </a:lnTo>
                  <a:lnTo>
                    <a:pt x="4847" y="181"/>
                  </a:lnTo>
                  <a:lnTo>
                    <a:pt x="4843" y="181"/>
                  </a:lnTo>
                  <a:lnTo>
                    <a:pt x="4843" y="181"/>
                  </a:lnTo>
                  <a:lnTo>
                    <a:pt x="4843" y="181"/>
                  </a:lnTo>
                  <a:lnTo>
                    <a:pt x="4843" y="181"/>
                  </a:lnTo>
                  <a:lnTo>
                    <a:pt x="4834" y="176"/>
                  </a:lnTo>
                  <a:lnTo>
                    <a:pt x="4829" y="176"/>
                  </a:lnTo>
                  <a:lnTo>
                    <a:pt x="4825" y="176"/>
                  </a:lnTo>
                  <a:lnTo>
                    <a:pt x="4820" y="172"/>
                  </a:lnTo>
                  <a:lnTo>
                    <a:pt x="4816" y="172"/>
                  </a:lnTo>
                  <a:lnTo>
                    <a:pt x="4811" y="172"/>
                  </a:lnTo>
                  <a:lnTo>
                    <a:pt x="4811" y="172"/>
                  </a:lnTo>
                  <a:lnTo>
                    <a:pt x="4807" y="172"/>
                  </a:lnTo>
                  <a:lnTo>
                    <a:pt x="4802" y="172"/>
                  </a:lnTo>
                  <a:lnTo>
                    <a:pt x="4802" y="172"/>
                  </a:lnTo>
                  <a:lnTo>
                    <a:pt x="4802" y="172"/>
                  </a:lnTo>
                  <a:lnTo>
                    <a:pt x="4807" y="172"/>
                  </a:lnTo>
                  <a:lnTo>
                    <a:pt x="4807" y="172"/>
                  </a:lnTo>
                  <a:lnTo>
                    <a:pt x="4807" y="172"/>
                  </a:lnTo>
                  <a:lnTo>
                    <a:pt x="4807" y="172"/>
                  </a:lnTo>
                  <a:lnTo>
                    <a:pt x="4802" y="176"/>
                  </a:lnTo>
                  <a:lnTo>
                    <a:pt x="4802" y="176"/>
                  </a:lnTo>
                  <a:lnTo>
                    <a:pt x="4802" y="172"/>
                  </a:lnTo>
                  <a:lnTo>
                    <a:pt x="4802" y="172"/>
                  </a:lnTo>
                  <a:lnTo>
                    <a:pt x="4802" y="176"/>
                  </a:lnTo>
                  <a:lnTo>
                    <a:pt x="4802" y="176"/>
                  </a:lnTo>
                  <a:lnTo>
                    <a:pt x="4807" y="176"/>
                  </a:lnTo>
                  <a:lnTo>
                    <a:pt x="4807" y="176"/>
                  </a:lnTo>
                  <a:lnTo>
                    <a:pt x="4802" y="176"/>
                  </a:lnTo>
                  <a:lnTo>
                    <a:pt x="4802" y="176"/>
                  </a:lnTo>
                  <a:lnTo>
                    <a:pt x="4802" y="176"/>
                  </a:lnTo>
                  <a:lnTo>
                    <a:pt x="4798" y="172"/>
                  </a:lnTo>
                  <a:lnTo>
                    <a:pt x="4798" y="172"/>
                  </a:lnTo>
                  <a:lnTo>
                    <a:pt x="4798" y="172"/>
                  </a:lnTo>
                  <a:lnTo>
                    <a:pt x="4793" y="172"/>
                  </a:lnTo>
                  <a:lnTo>
                    <a:pt x="4793" y="172"/>
                  </a:lnTo>
                  <a:lnTo>
                    <a:pt x="4793" y="172"/>
                  </a:lnTo>
                  <a:lnTo>
                    <a:pt x="4793" y="172"/>
                  </a:lnTo>
                  <a:lnTo>
                    <a:pt x="4789" y="176"/>
                  </a:lnTo>
                  <a:lnTo>
                    <a:pt x="4784" y="176"/>
                  </a:lnTo>
                  <a:lnTo>
                    <a:pt x="4789" y="176"/>
                  </a:lnTo>
                  <a:lnTo>
                    <a:pt x="4789" y="176"/>
                  </a:lnTo>
                  <a:lnTo>
                    <a:pt x="4789" y="176"/>
                  </a:lnTo>
                  <a:lnTo>
                    <a:pt x="4789" y="176"/>
                  </a:lnTo>
                  <a:lnTo>
                    <a:pt x="4789" y="176"/>
                  </a:lnTo>
                  <a:lnTo>
                    <a:pt x="4793" y="176"/>
                  </a:lnTo>
                  <a:lnTo>
                    <a:pt x="4793" y="176"/>
                  </a:lnTo>
                  <a:lnTo>
                    <a:pt x="4798" y="176"/>
                  </a:lnTo>
                  <a:lnTo>
                    <a:pt x="4798" y="176"/>
                  </a:lnTo>
                  <a:lnTo>
                    <a:pt x="4802" y="176"/>
                  </a:lnTo>
                  <a:lnTo>
                    <a:pt x="4802" y="181"/>
                  </a:lnTo>
                  <a:lnTo>
                    <a:pt x="4802" y="181"/>
                  </a:lnTo>
                  <a:lnTo>
                    <a:pt x="4802" y="181"/>
                  </a:lnTo>
                  <a:lnTo>
                    <a:pt x="4802" y="181"/>
                  </a:lnTo>
                  <a:lnTo>
                    <a:pt x="4807" y="181"/>
                  </a:lnTo>
                  <a:lnTo>
                    <a:pt x="4807" y="181"/>
                  </a:lnTo>
                  <a:lnTo>
                    <a:pt x="4811" y="181"/>
                  </a:lnTo>
                  <a:lnTo>
                    <a:pt x="4811" y="185"/>
                  </a:lnTo>
                  <a:lnTo>
                    <a:pt x="4816" y="185"/>
                  </a:lnTo>
                  <a:lnTo>
                    <a:pt x="4816" y="185"/>
                  </a:lnTo>
                  <a:lnTo>
                    <a:pt x="4816" y="185"/>
                  </a:lnTo>
                  <a:lnTo>
                    <a:pt x="4816" y="185"/>
                  </a:lnTo>
                  <a:lnTo>
                    <a:pt x="4816" y="185"/>
                  </a:lnTo>
                  <a:lnTo>
                    <a:pt x="4816" y="185"/>
                  </a:lnTo>
                  <a:lnTo>
                    <a:pt x="4811" y="185"/>
                  </a:lnTo>
                  <a:lnTo>
                    <a:pt x="4807" y="185"/>
                  </a:lnTo>
                  <a:lnTo>
                    <a:pt x="4807" y="185"/>
                  </a:lnTo>
                  <a:lnTo>
                    <a:pt x="4807" y="185"/>
                  </a:lnTo>
                  <a:lnTo>
                    <a:pt x="4811" y="185"/>
                  </a:lnTo>
                  <a:lnTo>
                    <a:pt x="4811" y="185"/>
                  </a:lnTo>
                  <a:lnTo>
                    <a:pt x="4807" y="185"/>
                  </a:lnTo>
                  <a:lnTo>
                    <a:pt x="4807" y="185"/>
                  </a:lnTo>
                  <a:lnTo>
                    <a:pt x="4807" y="185"/>
                  </a:lnTo>
                  <a:lnTo>
                    <a:pt x="4802" y="181"/>
                  </a:lnTo>
                  <a:lnTo>
                    <a:pt x="4802" y="181"/>
                  </a:lnTo>
                  <a:lnTo>
                    <a:pt x="4798" y="181"/>
                  </a:lnTo>
                  <a:lnTo>
                    <a:pt x="4798" y="181"/>
                  </a:lnTo>
                  <a:lnTo>
                    <a:pt x="4798" y="181"/>
                  </a:lnTo>
                  <a:lnTo>
                    <a:pt x="4793" y="181"/>
                  </a:lnTo>
                  <a:lnTo>
                    <a:pt x="4793" y="181"/>
                  </a:lnTo>
                  <a:lnTo>
                    <a:pt x="4789" y="176"/>
                  </a:lnTo>
                  <a:lnTo>
                    <a:pt x="4789" y="176"/>
                  </a:lnTo>
                  <a:lnTo>
                    <a:pt x="4784" y="176"/>
                  </a:lnTo>
                  <a:lnTo>
                    <a:pt x="4784" y="176"/>
                  </a:lnTo>
                  <a:lnTo>
                    <a:pt x="4780" y="172"/>
                  </a:lnTo>
                  <a:lnTo>
                    <a:pt x="4780" y="172"/>
                  </a:lnTo>
                  <a:lnTo>
                    <a:pt x="4775" y="172"/>
                  </a:lnTo>
                  <a:lnTo>
                    <a:pt x="4775" y="172"/>
                  </a:lnTo>
                  <a:lnTo>
                    <a:pt x="4771" y="172"/>
                  </a:lnTo>
                  <a:lnTo>
                    <a:pt x="4771" y="172"/>
                  </a:lnTo>
                  <a:lnTo>
                    <a:pt x="4771" y="172"/>
                  </a:lnTo>
                  <a:lnTo>
                    <a:pt x="4771" y="172"/>
                  </a:lnTo>
                  <a:lnTo>
                    <a:pt x="4771" y="172"/>
                  </a:lnTo>
                  <a:lnTo>
                    <a:pt x="4771" y="172"/>
                  </a:lnTo>
                  <a:lnTo>
                    <a:pt x="4766" y="167"/>
                  </a:lnTo>
                  <a:lnTo>
                    <a:pt x="4766" y="167"/>
                  </a:lnTo>
                  <a:lnTo>
                    <a:pt x="4766" y="167"/>
                  </a:lnTo>
                  <a:lnTo>
                    <a:pt x="4762" y="167"/>
                  </a:lnTo>
                  <a:lnTo>
                    <a:pt x="4735" y="163"/>
                  </a:lnTo>
                  <a:lnTo>
                    <a:pt x="4730" y="163"/>
                  </a:lnTo>
                  <a:lnTo>
                    <a:pt x="4730" y="163"/>
                  </a:lnTo>
                  <a:lnTo>
                    <a:pt x="4725" y="163"/>
                  </a:lnTo>
                  <a:lnTo>
                    <a:pt x="4725" y="163"/>
                  </a:lnTo>
                  <a:lnTo>
                    <a:pt x="4725" y="163"/>
                  </a:lnTo>
                  <a:lnTo>
                    <a:pt x="4725" y="163"/>
                  </a:lnTo>
                  <a:lnTo>
                    <a:pt x="4725" y="163"/>
                  </a:lnTo>
                  <a:lnTo>
                    <a:pt x="4725" y="163"/>
                  </a:lnTo>
                  <a:lnTo>
                    <a:pt x="4721" y="158"/>
                  </a:lnTo>
                  <a:lnTo>
                    <a:pt x="4712" y="158"/>
                  </a:lnTo>
                  <a:lnTo>
                    <a:pt x="4707" y="158"/>
                  </a:lnTo>
                  <a:lnTo>
                    <a:pt x="4712" y="158"/>
                  </a:lnTo>
                  <a:lnTo>
                    <a:pt x="4716" y="158"/>
                  </a:lnTo>
                  <a:lnTo>
                    <a:pt x="4721" y="163"/>
                  </a:lnTo>
                  <a:lnTo>
                    <a:pt x="4721" y="163"/>
                  </a:lnTo>
                  <a:lnTo>
                    <a:pt x="4721" y="163"/>
                  </a:lnTo>
                  <a:lnTo>
                    <a:pt x="4721" y="163"/>
                  </a:lnTo>
                  <a:lnTo>
                    <a:pt x="4716" y="158"/>
                  </a:lnTo>
                  <a:lnTo>
                    <a:pt x="4716" y="158"/>
                  </a:lnTo>
                  <a:lnTo>
                    <a:pt x="4712" y="158"/>
                  </a:lnTo>
                  <a:lnTo>
                    <a:pt x="4707" y="158"/>
                  </a:lnTo>
                  <a:lnTo>
                    <a:pt x="4707" y="158"/>
                  </a:lnTo>
                  <a:lnTo>
                    <a:pt x="4703" y="158"/>
                  </a:lnTo>
                  <a:lnTo>
                    <a:pt x="4703" y="158"/>
                  </a:lnTo>
                  <a:lnTo>
                    <a:pt x="4707" y="158"/>
                  </a:lnTo>
                  <a:lnTo>
                    <a:pt x="4707" y="158"/>
                  </a:lnTo>
                  <a:lnTo>
                    <a:pt x="4703" y="158"/>
                  </a:lnTo>
                  <a:lnTo>
                    <a:pt x="4698" y="154"/>
                  </a:lnTo>
                  <a:lnTo>
                    <a:pt x="4694" y="154"/>
                  </a:lnTo>
                  <a:lnTo>
                    <a:pt x="4689" y="154"/>
                  </a:lnTo>
                  <a:lnTo>
                    <a:pt x="4689" y="154"/>
                  </a:lnTo>
                  <a:lnTo>
                    <a:pt x="4689" y="154"/>
                  </a:lnTo>
                  <a:lnTo>
                    <a:pt x="4689" y="154"/>
                  </a:lnTo>
                  <a:lnTo>
                    <a:pt x="4685" y="154"/>
                  </a:lnTo>
                  <a:lnTo>
                    <a:pt x="4680" y="154"/>
                  </a:lnTo>
                  <a:lnTo>
                    <a:pt x="4680" y="154"/>
                  </a:lnTo>
                  <a:lnTo>
                    <a:pt x="4667" y="149"/>
                  </a:lnTo>
                  <a:lnTo>
                    <a:pt x="4662" y="149"/>
                  </a:lnTo>
                  <a:lnTo>
                    <a:pt x="4662" y="149"/>
                  </a:lnTo>
                  <a:lnTo>
                    <a:pt x="4662" y="149"/>
                  </a:lnTo>
                  <a:lnTo>
                    <a:pt x="4658" y="149"/>
                  </a:lnTo>
                  <a:lnTo>
                    <a:pt x="4653" y="149"/>
                  </a:lnTo>
                  <a:lnTo>
                    <a:pt x="4649" y="149"/>
                  </a:lnTo>
                  <a:lnTo>
                    <a:pt x="4640" y="149"/>
                  </a:lnTo>
                  <a:lnTo>
                    <a:pt x="4635" y="149"/>
                  </a:lnTo>
                  <a:lnTo>
                    <a:pt x="4626" y="149"/>
                  </a:lnTo>
                  <a:lnTo>
                    <a:pt x="4622" y="145"/>
                  </a:lnTo>
                  <a:lnTo>
                    <a:pt x="4622" y="145"/>
                  </a:lnTo>
                  <a:lnTo>
                    <a:pt x="4617" y="145"/>
                  </a:lnTo>
                  <a:lnTo>
                    <a:pt x="4617" y="149"/>
                  </a:lnTo>
                  <a:lnTo>
                    <a:pt x="4613" y="149"/>
                  </a:lnTo>
                  <a:lnTo>
                    <a:pt x="4608" y="149"/>
                  </a:lnTo>
                  <a:lnTo>
                    <a:pt x="4603" y="149"/>
                  </a:lnTo>
                  <a:lnTo>
                    <a:pt x="4599" y="149"/>
                  </a:lnTo>
                  <a:lnTo>
                    <a:pt x="4594" y="149"/>
                  </a:lnTo>
                  <a:lnTo>
                    <a:pt x="4594" y="149"/>
                  </a:lnTo>
                  <a:lnTo>
                    <a:pt x="4599" y="149"/>
                  </a:lnTo>
                  <a:lnTo>
                    <a:pt x="4594" y="149"/>
                  </a:lnTo>
                  <a:lnTo>
                    <a:pt x="4590" y="149"/>
                  </a:lnTo>
                  <a:lnTo>
                    <a:pt x="4590" y="149"/>
                  </a:lnTo>
                  <a:lnTo>
                    <a:pt x="4581" y="149"/>
                  </a:lnTo>
                  <a:lnTo>
                    <a:pt x="4572" y="149"/>
                  </a:lnTo>
                  <a:lnTo>
                    <a:pt x="4567" y="149"/>
                  </a:lnTo>
                  <a:lnTo>
                    <a:pt x="4567" y="149"/>
                  </a:lnTo>
                  <a:lnTo>
                    <a:pt x="4572" y="154"/>
                  </a:lnTo>
                  <a:lnTo>
                    <a:pt x="4572" y="154"/>
                  </a:lnTo>
                  <a:lnTo>
                    <a:pt x="4576" y="158"/>
                  </a:lnTo>
                  <a:lnTo>
                    <a:pt x="4576" y="158"/>
                  </a:lnTo>
                  <a:lnTo>
                    <a:pt x="4576" y="158"/>
                  </a:lnTo>
                  <a:lnTo>
                    <a:pt x="4581" y="158"/>
                  </a:lnTo>
                  <a:lnTo>
                    <a:pt x="4590" y="163"/>
                  </a:lnTo>
                  <a:lnTo>
                    <a:pt x="4594" y="163"/>
                  </a:lnTo>
                  <a:lnTo>
                    <a:pt x="4599" y="163"/>
                  </a:lnTo>
                  <a:lnTo>
                    <a:pt x="4599" y="167"/>
                  </a:lnTo>
                  <a:lnTo>
                    <a:pt x="4603" y="172"/>
                  </a:lnTo>
                  <a:lnTo>
                    <a:pt x="4599" y="172"/>
                  </a:lnTo>
                  <a:lnTo>
                    <a:pt x="4594" y="172"/>
                  </a:lnTo>
                  <a:lnTo>
                    <a:pt x="4590" y="172"/>
                  </a:lnTo>
                  <a:lnTo>
                    <a:pt x="4585" y="167"/>
                  </a:lnTo>
                  <a:lnTo>
                    <a:pt x="4581" y="167"/>
                  </a:lnTo>
                  <a:lnTo>
                    <a:pt x="4572" y="167"/>
                  </a:lnTo>
                  <a:lnTo>
                    <a:pt x="4572" y="167"/>
                  </a:lnTo>
                  <a:lnTo>
                    <a:pt x="4572" y="167"/>
                  </a:lnTo>
                  <a:lnTo>
                    <a:pt x="4563" y="163"/>
                  </a:lnTo>
                  <a:lnTo>
                    <a:pt x="4558" y="163"/>
                  </a:lnTo>
                  <a:lnTo>
                    <a:pt x="4558" y="163"/>
                  </a:lnTo>
                  <a:lnTo>
                    <a:pt x="4554" y="158"/>
                  </a:lnTo>
                  <a:lnTo>
                    <a:pt x="4554" y="158"/>
                  </a:lnTo>
                  <a:lnTo>
                    <a:pt x="4549" y="158"/>
                  </a:lnTo>
                  <a:lnTo>
                    <a:pt x="4549" y="163"/>
                  </a:lnTo>
                  <a:lnTo>
                    <a:pt x="4549" y="163"/>
                  </a:lnTo>
                  <a:lnTo>
                    <a:pt x="4549" y="163"/>
                  </a:lnTo>
                  <a:lnTo>
                    <a:pt x="4540" y="167"/>
                  </a:lnTo>
                  <a:lnTo>
                    <a:pt x="4540" y="163"/>
                  </a:lnTo>
                  <a:lnTo>
                    <a:pt x="4527" y="167"/>
                  </a:lnTo>
                  <a:lnTo>
                    <a:pt x="4522" y="163"/>
                  </a:lnTo>
                  <a:lnTo>
                    <a:pt x="4518" y="163"/>
                  </a:lnTo>
                  <a:lnTo>
                    <a:pt x="4518" y="167"/>
                  </a:lnTo>
                  <a:lnTo>
                    <a:pt x="4513" y="167"/>
                  </a:lnTo>
                  <a:lnTo>
                    <a:pt x="4513" y="167"/>
                  </a:lnTo>
                  <a:lnTo>
                    <a:pt x="4509" y="167"/>
                  </a:lnTo>
                  <a:lnTo>
                    <a:pt x="4504" y="167"/>
                  </a:lnTo>
                  <a:lnTo>
                    <a:pt x="4504" y="167"/>
                  </a:lnTo>
                  <a:lnTo>
                    <a:pt x="4504" y="172"/>
                  </a:lnTo>
                  <a:lnTo>
                    <a:pt x="4504" y="172"/>
                  </a:lnTo>
                  <a:lnTo>
                    <a:pt x="4509" y="176"/>
                  </a:lnTo>
                  <a:lnTo>
                    <a:pt x="4509" y="176"/>
                  </a:lnTo>
                  <a:lnTo>
                    <a:pt x="4513" y="181"/>
                  </a:lnTo>
                  <a:lnTo>
                    <a:pt x="4518" y="181"/>
                  </a:lnTo>
                  <a:lnTo>
                    <a:pt x="4518" y="181"/>
                  </a:lnTo>
                  <a:lnTo>
                    <a:pt x="4518" y="181"/>
                  </a:lnTo>
                  <a:lnTo>
                    <a:pt x="4522" y="185"/>
                  </a:lnTo>
                  <a:lnTo>
                    <a:pt x="4522" y="190"/>
                  </a:lnTo>
                  <a:lnTo>
                    <a:pt x="4522" y="190"/>
                  </a:lnTo>
                  <a:lnTo>
                    <a:pt x="4522" y="185"/>
                  </a:lnTo>
                  <a:lnTo>
                    <a:pt x="4522" y="185"/>
                  </a:lnTo>
                  <a:lnTo>
                    <a:pt x="4518" y="181"/>
                  </a:lnTo>
                  <a:lnTo>
                    <a:pt x="4513" y="181"/>
                  </a:lnTo>
                  <a:lnTo>
                    <a:pt x="4509" y="181"/>
                  </a:lnTo>
                  <a:lnTo>
                    <a:pt x="4509" y="181"/>
                  </a:lnTo>
                  <a:lnTo>
                    <a:pt x="4500" y="176"/>
                  </a:lnTo>
                  <a:lnTo>
                    <a:pt x="4500" y="172"/>
                  </a:lnTo>
                  <a:lnTo>
                    <a:pt x="4495" y="172"/>
                  </a:lnTo>
                  <a:lnTo>
                    <a:pt x="4491" y="172"/>
                  </a:lnTo>
                  <a:lnTo>
                    <a:pt x="4482" y="172"/>
                  </a:lnTo>
                  <a:lnTo>
                    <a:pt x="4477" y="167"/>
                  </a:lnTo>
                  <a:lnTo>
                    <a:pt x="4477" y="167"/>
                  </a:lnTo>
                  <a:lnTo>
                    <a:pt x="4472" y="167"/>
                  </a:lnTo>
                  <a:lnTo>
                    <a:pt x="4472" y="163"/>
                  </a:lnTo>
                  <a:lnTo>
                    <a:pt x="4468" y="163"/>
                  </a:lnTo>
                  <a:lnTo>
                    <a:pt x="4468" y="163"/>
                  </a:lnTo>
                  <a:lnTo>
                    <a:pt x="4463" y="163"/>
                  </a:lnTo>
                  <a:lnTo>
                    <a:pt x="4463" y="158"/>
                  </a:lnTo>
                  <a:lnTo>
                    <a:pt x="4459" y="158"/>
                  </a:lnTo>
                  <a:lnTo>
                    <a:pt x="4454" y="158"/>
                  </a:lnTo>
                  <a:lnTo>
                    <a:pt x="4454" y="154"/>
                  </a:lnTo>
                  <a:lnTo>
                    <a:pt x="4445" y="154"/>
                  </a:lnTo>
                  <a:lnTo>
                    <a:pt x="4436" y="154"/>
                  </a:lnTo>
                  <a:lnTo>
                    <a:pt x="4427" y="154"/>
                  </a:lnTo>
                  <a:lnTo>
                    <a:pt x="4423" y="154"/>
                  </a:lnTo>
                  <a:lnTo>
                    <a:pt x="4414" y="154"/>
                  </a:lnTo>
                  <a:lnTo>
                    <a:pt x="4405" y="154"/>
                  </a:lnTo>
                  <a:lnTo>
                    <a:pt x="4405" y="154"/>
                  </a:lnTo>
                  <a:lnTo>
                    <a:pt x="4400" y="154"/>
                  </a:lnTo>
                  <a:lnTo>
                    <a:pt x="4396" y="158"/>
                  </a:lnTo>
                  <a:lnTo>
                    <a:pt x="4391" y="158"/>
                  </a:lnTo>
                  <a:lnTo>
                    <a:pt x="4391" y="158"/>
                  </a:lnTo>
                  <a:lnTo>
                    <a:pt x="4387" y="163"/>
                  </a:lnTo>
                  <a:lnTo>
                    <a:pt x="4382" y="163"/>
                  </a:lnTo>
                  <a:lnTo>
                    <a:pt x="4373" y="158"/>
                  </a:lnTo>
                  <a:lnTo>
                    <a:pt x="4373" y="158"/>
                  </a:lnTo>
                  <a:lnTo>
                    <a:pt x="4373" y="158"/>
                  </a:lnTo>
                  <a:lnTo>
                    <a:pt x="4364" y="158"/>
                  </a:lnTo>
                  <a:lnTo>
                    <a:pt x="4360" y="154"/>
                  </a:lnTo>
                  <a:lnTo>
                    <a:pt x="4355" y="154"/>
                  </a:lnTo>
                  <a:lnTo>
                    <a:pt x="4355" y="154"/>
                  </a:lnTo>
                  <a:lnTo>
                    <a:pt x="4351" y="154"/>
                  </a:lnTo>
                  <a:lnTo>
                    <a:pt x="4351" y="158"/>
                  </a:lnTo>
                  <a:lnTo>
                    <a:pt x="4351" y="158"/>
                  </a:lnTo>
                  <a:lnTo>
                    <a:pt x="4351" y="154"/>
                  </a:lnTo>
                  <a:lnTo>
                    <a:pt x="4351" y="154"/>
                  </a:lnTo>
                  <a:lnTo>
                    <a:pt x="4351" y="154"/>
                  </a:lnTo>
                  <a:lnTo>
                    <a:pt x="4346" y="154"/>
                  </a:lnTo>
                  <a:lnTo>
                    <a:pt x="4346" y="154"/>
                  </a:lnTo>
                  <a:lnTo>
                    <a:pt x="4341" y="154"/>
                  </a:lnTo>
                  <a:lnTo>
                    <a:pt x="4341" y="154"/>
                  </a:lnTo>
                  <a:lnTo>
                    <a:pt x="4337" y="154"/>
                  </a:lnTo>
                  <a:lnTo>
                    <a:pt x="4337" y="154"/>
                  </a:lnTo>
                  <a:lnTo>
                    <a:pt x="4332" y="154"/>
                  </a:lnTo>
                  <a:lnTo>
                    <a:pt x="4328" y="154"/>
                  </a:lnTo>
                  <a:lnTo>
                    <a:pt x="4328" y="154"/>
                  </a:lnTo>
                  <a:lnTo>
                    <a:pt x="4323" y="149"/>
                  </a:lnTo>
                  <a:lnTo>
                    <a:pt x="4323" y="149"/>
                  </a:lnTo>
                  <a:lnTo>
                    <a:pt x="4323" y="149"/>
                  </a:lnTo>
                  <a:lnTo>
                    <a:pt x="4323" y="149"/>
                  </a:lnTo>
                  <a:lnTo>
                    <a:pt x="4328" y="149"/>
                  </a:lnTo>
                  <a:lnTo>
                    <a:pt x="4332" y="149"/>
                  </a:lnTo>
                  <a:lnTo>
                    <a:pt x="4332" y="149"/>
                  </a:lnTo>
                  <a:lnTo>
                    <a:pt x="4328" y="145"/>
                  </a:lnTo>
                  <a:lnTo>
                    <a:pt x="4328" y="145"/>
                  </a:lnTo>
                  <a:lnTo>
                    <a:pt x="4323" y="145"/>
                  </a:lnTo>
                  <a:lnTo>
                    <a:pt x="4319" y="145"/>
                  </a:lnTo>
                  <a:lnTo>
                    <a:pt x="4310" y="145"/>
                  </a:lnTo>
                  <a:lnTo>
                    <a:pt x="4305" y="140"/>
                  </a:lnTo>
                  <a:lnTo>
                    <a:pt x="4296" y="145"/>
                  </a:lnTo>
                  <a:lnTo>
                    <a:pt x="4296" y="145"/>
                  </a:lnTo>
                  <a:lnTo>
                    <a:pt x="4292" y="145"/>
                  </a:lnTo>
                  <a:lnTo>
                    <a:pt x="4296" y="145"/>
                  </a:lnTo>
                  <a:lnTo>
                    <a:pt x="4296" y="149"/>
                  </a:lnTo>
                  <a:lnTo>
                    <a:pt x="4296" y="154"/>
                  </a:lnTo>
                  <a:lnTo>
                    <a:pt x="4296" y="154"/>
                  </a:lnTo>
                  <a:lnTo>
                    <a:pt x="4292" y="154"/>
                  </a:lnTo>
                  <a:lnTo>
                    <a:pt x="4292" y="154"/>
                  </a:lnTo>
                  <a:lnTo>
                    <a:pt x="4287" y="154"/>
                  </a:lnTo>
                  <a:lnTo>
                    <a:pt x="4287" y="154"/>
                  </a:lnTo>
                  <a:lnTo>
                    <a:pt x="4287" y="154"/>
                  </a:lnTo>
                  <a:lnTo>
                    <a:pt x="4287" y="154"/>
                  </a:lnTo>
                  <a:lnTo>
                    <a:pt x="4283" y="154"/>
                  </a:lnTo>
                  <a:lnTo>
                    <a:pt x="4283" y="154"/>
                  </a:lnTo>
                  <a:lnTo>
                    <a:pt x="4283" y="154"/>
                  </a:lnTo>
                  <a:lnTo>
                    <a:pt x="4287" y="154"/>
                  </a:lnTo>
                  <a:lnTo>
                    <a:pt x="4287" y="154"/>
                  </a:lnTo>
                  <a:lnTo>
                    <a:pt x="4292" y="149"/>
                  </a:lnTo>
                  <a:lnTo>
                    <a:pt x="4287" y="149"/>
                  </a:lnTo>
                  <a:lnTo>
                    <a:pt x="4287" y="149"/>
                  </a:lnTo>
                  <a:lnTo>
                    <a:pt x="4283" y="149"/>
                  </a:lnTo>
                  <a:lnTo>
                    <a:pt x="4283" y="145"/>
                  </a:lnTo>
                  <a:lnTo>
                    <a:pt x="4283" y="145"/>
                  </a:lnTo>
                  <a:lnTo>
                    <a:pt x="4283" y="145"/>
                  </a:lnTo>
                  <a:lnTo>
                    <a:pt x="4287" y="149"/>
                  </a:lnTo>
                  <a:lnTo>
                    <a:pt x="4287" y="149"/>
                  </a:lnTo>
                  <a:lnTo>
                    <a:pt x="4287" y="149"/>
                  </a:lnTo>
                  <a:lnTo>
                    <a:pt x="4292" y="149"/>
                  </a:lnTo>
                  <a:lnTo>
                    <a:pt x="4292" y="149"/>
                  </a:lnTo>
                  <a:lnTo>
                    <a:pt x="4292" y="149"/>
                  </a:lnTo>
                  <a:lnTo>
                    <a:pt x="4292" y="149"/>
                  </a:lnTo>
                  <a:lnTo>
                    <a:pt x="4292" y="145"/>
                  </a:lnTo>
                  <a:lnTo>
                    <a:pt x="4292" y="145"/>
                  </a:lnTo>
                  <a:lnTo>
                    <a:pt x="4287" y="145"/>
                  </a:lnTo>
                  <a:lnTo>
                    <a:pt x="4274" y="145"/>
                  </a:lnTo>
                  <a:lnTo>
                    <a:pt x="4274" y="149"/>
                  </a:lnTo>
                  <a:lnTo>
                    <a:pt x="4269" y="149"/>
                  </a:lnTo>
                  <a:lnTo>
                    <a:pt x="4269" y="149"/>
                  </a:lnTo>
                  <a:lnTo>
                    <a:pt x="4269" y="149"/>
                  </a:lnTo>
                  <a:lnTo>
                    <a:pt x="4269" y="145"/>
                  </a:lnTo>
                  <a:lnTo>
                    <a:pt x="4269" y="145"/>
                  </a:lnTo>
                  <a:lnTo>
                    <a:pt x="4269" y="145"/>
                  </a:lnTo>
                  <a:lnTo>
                    <a:pt x="4274" y="145"/>
                  </a:lnTo>
                  <a:lnTo>
                    <a:pt x="4278" y="145"/>
                  </a:lnTo>
                  <a:lnTo>
                    <a:pt x="4283" y="145"/>
                  </a:lnTo>
                  <a:lnTo>
                    <a:pt x="4283" y="145"/>
                  </a:lnTo>
                  <a:lnTo>
                    <a:pt x="4278" y="140"/>
                  </a:lnTo>
                  <a:lnTo>
                    <a:pt x="4274" y="140"/>
                  </a:lnTo>
                  <a:lnTo>
                    <a:pt x="4274" y="140"/>
                  </a:lnTo>
                  <a:lnTo>
                    <a:pt x="4269" y="140"/>
                  </a:lnTo>
                  <a:lnTo>
                    <a:pt x="4260" y="140"/>
                  </a:lnTo>
                  <a:lnTo>
                    <a:pt x="4260" y="140"/>
                  </a:lnTo>
                  <a:lnTo>
                    <a:pt x="4251" y="140"/>
                  </a:lnTo>
                  <a:lnTo>
                    <a:pt x="4251" y="140"/>
                  </a:lnTo>
                  <a:lnTo>
                    <a:pt x="4238" y="140"/>
                  </a:lnTo>
                  <a:lnTo>
                    <a:pt x="4229" y="140"/>
                  </a:lnTo>
                  <a:lnTo>
                    <a:pt x="4224" y="140"/>
                  </a:lnTo>
                  <a:lnTo>
                    <a:pt x="4219" y="140"/>
                  </a:lnTo>
                  <a:lnTo>
                    <a:pt x="4219" y="140"/>
                  </a:lnTo>
                  <a:lnTo>
                    <a:pt x="4219" y="140"/>
                  </a:lnTo>
                  <a:lnTo>
                    <a:pt x="4219" y="140"/>
                  </a:lnTo>
                  <a:lnTo>
                    <a:pt x="4224" y="145"/>
                  </a:lnTo>
                  <a:lnTo>
                    <a:pt x="4229" y="145"/>
                  </a:lnTo>
                  <a:lnTo>
                    <a:pt x="4229" y="145"/>
                  </a:lnTo>
                  <a:lnTo>
                    <a:pt x="4229" y="149"/>
                  </a:lnTo>
                  <a:lnTo>
                    <a:pt x="4224" y="149"/>
                  </a:lnTo>
                  <a:lnTo>
                    <a:pt x="4219" y="149"/>
                  </a:lnTo>
                  <a:lnTo>
                    <a:pt x="4219" y="149"/>
                  </a:lnTo>
                  <a:lnTo>
                    <a:pt x="4219" y="154"/>
                  </a:lnTo>
                  <a:lnTo>
                    <a:pt x="4219" y="154"/>
                  </a:lnTo>
                  <a:lnTo>
                    <a:pt x="4224" y="154"/>
                  </a:lnTo>
                  <a:lnTo>
                    <a:pt x="4224" y="154"/>
                  </a:lnTo>
                  <a:lnTo>
                    <a:pt x="4224" y="154"/>
                  </a:lnTo>
                  <a:lnTo>
                    <a:pt x="4224" y="154"/>
                  </a:lnTo>
                  <a:lnTo>
                    <a:pt x="4229" y="154"/>
                  </a:lnTo>
                  <a:lnTo>
                    <a:pt x="4233" y="154"/>
                  </a:lnTo>
                  <a:lnTo>
                    <a:pt x="4229" y="154"/>
                  </a:lnTo>
                  <a:lnTo>
                    <a:pt x="4229" y="154"/>
                  </a:lnTo>
                  <a:lnTo>
                    <a:pt x="4233" y="158"/>
                  </a:lnTo>
                  <a:lnTo>
                    <a:pt x="4229" y="158"/>
                  </a:lnTo>
                  <a:lnTo>
                    <a:pt x="4233" y="158"/>
                  </a:lnTo>
                  <a:lnTo>
                    <a:pt x="4233" y="158"/>
                  </a:lnTo>
                  <a:lnTo>
                    <a:pt x="4238" y="163"/>
                  </a:lnTo>
                  <a:lnTo>
                    <a:pt x="4247" y="163"/>
                  </a:lnTo>
                  <a:lnTo>
                    <a:pt x="4247" y="163"/>
                  </a:lnTo>
                  <a:lnTo>
                    <a:pt x="4242" y="167"/>
                  </a:lnTo>
                  <a:lnTo>
                    <a:pt x="4242" y="167"/>
                  </a:lnTo>
                  <a:lnTo>
                    <a:pt x="4242" y="167"/>
                  </a:lnTo>
                  <a:lnTo>
                    <a:pt x="4238" y="163"/>
                  </a:lnTo>
                  <a:lnTo>
                    <a:pt x="4233" y="163"/>
                  </a:lnTo>
                  <a:lnTo>
                    <a:pt x="4229" y="163"/>
                  </a:lnTo>
                  <a:lnTo>
                    <a:pt x="4233" y="167"/>
                  </a:lnTo>
                  <a:lnTo>
                    <a:pt x="4229" y="163"/>
                  </a:lnTo>
                  <a:lnTo>
                    <a:pt x="4229" y="163"/>
                  </a:lnTo>
                  <a:lnTo>
                    <a:pt x="4229" y="167"/>
                  </a:lnTo>
                  <a:lnTo>
                    <a:pt x="4229" y="167"/>
                  </a:lnTo>
                  <a:lnTo>
                    <a:pt x="4229" y="167"/>
                  </a:lnTo>
                  <a:lnTo>
                    <a:pt x="4229" y="167"/>
                  </a:lnTo>
                  <a:lnTo>
                    <a:pt x="4229" y="167"/>
                  </a:lnTo>
                  <a:lnTo>
                    <a:pt x="4233" y="167"/>
                  </a:lnTo>
                  <a:lnTo>
                    <a:pt x="4233" y="167"/>
                  </a:lnTo>
                  <a:lnTo>
                    <a:pt x="4233" y="167"/>
                  </a:lnTo>
                  <a:lnTo>
                    <a:pt x="4233" y="172"/>
                  </a:lnTo>
                  <a:lnTo>
                    <a:pt x="4233" y="172"/>
                  </a:lnTo>
                  <a:lnTo>
                    <a:pt x="4233" y="172"/>
                  </a:lnTo>
                  <a:lnTo>
                    <a:pt x="4233" y="172"/>
                  </a:lnTo>
                  <a:lnTo>
                    <a:pt x="4233" y="172"/>
                  </a:lnTo>
                  <a:lnTo>
                    <a:pt x="4233" y="172"/>
                  </a:lnTo>
                  <a:lnTo>
                    <a:pt x="4238" y="172"/>
                  </a:lnTo>
                  <a:lnTo>
                    <a:pt x="4238" y="172"/>
                  </a:lnTo>
                  <a:lnTo>
                    <a:pt x="4233" y="172"/>
                  </a:lnTo>
                  <a:lnTo>
                    <a:pt x="4233" y="172"/>
                  </a:lnTo>
                  <a:lnTo>
                    <a:pt x="4229" y="172"/>
                  </a:lnTo>
                  <a:lnTo>
                    <a:pt x="4224" y="172"/>
                  </a:lnTo>
                  <a:lnTo>
                    <a:pt x="4219" y="167"/>
                  </a:lnTo>
                  <a:lnTo>
                    <a:pt x="4210" y="167"/>
                  </a:lnTo>
                  <a:lnTo>
                    <a:pt x="4206" y="167"/>
                  </a:lnTo>
                  <a:lnTo>
                    <a:pt x="4206" y="167"/>
                  </a:lnTo>
                  <a:lnTo>
                    <a:pt x="4201" y="167"/>
                  </a:lnTo>
                  <a:lnTo>
                    <a:pt x="4201" y="167"/>
                  </a:lnTo>
                  <a:lnTo>
                    <a:pt x="4197" y="167"/>
                  </a:lnTo>
                  <a:lnTo>
                    <a:pt x="4197" y="172"/>
                  </a:lnTo>
                  <a:lnTo>
                    <a:pt x="4197" y="172"/>
                  </a:lnTo>
                  <a:lnTo>
                    <a:pt x="4192" y="172"/>
                  </a:lnTo>
                  <a:lnTo>
                    <a:pt x="4188" y="172"/>
                  </a:lnTo>
                  <a:lnTo>
                    <a:pt x="4183" y="172"/>
                  </a:lnTo>
                  <a:lnTo>
                    <a:pt x="4179" y="172"/>
                  </a:lnTo>
                  <a:lnTo>
                    <a:pt x="4170" y="167"/>
                  </a:lnTo>
                  <a:lnTo>
                    <a:pt x="4170" y="167"/>
                  </a:lnTo>
                  <a:lnTo>
                    <a:pt x="4170" y="167"/>
                  </a:lnTo>
                  <a:lnTo>
                    <a:pt x="4165" y="167"/>
                  </a:lnTo>
                  <a:lnTo>
                    <a:pt x="4165" y="163"/>
                  </a:lnTo>
                  <a:lnTo>
                    <a:pt x="4165" y="167"/>
                  </a:lnTo>
                  <a:lnTo>
                    <a:pt x="4165" y="167"/>
                  </a:lnTo>
                  <a:lnTo>
                    <a:pt x="4170" y="172"/>
                  </a:lnTo>
                  <a:lnTo>
                    <a:pt x="4170" y="172"/>
                  </a:lnTo>
                  <a:lnTo>
                    <a:pt x="4174" y="176"/>
                  </a:lnTo>
                  <a:lnTo>
                    <a:pt x="4174" y="176"/>
                  </a:lnTo>
                  <a:lnTo>
                    <a:pt x="4174" y="176"/>
                  </a:lnTo>
                  <a:lnTo>
                    <a:pt x="4174" y="176"/>
                  </a:lnTo>
                  <a:lnTo>
                    <a:pt x="4174" y="181"/>
                  </a:lnTo>
                  <a:lnTo>
                    <a:pt x="4179" y="185"/>
                  </a:lnTo>
                  <a:lnTo>
                    <a:pt x="4179" y="185"/>
                  </a:lnTo>
                  <a:lnTo>
                    <a:pt x="4179" y="185"/>
                  </a:lnTo>
                  <a:lnTo>
                    <a:pt x="4179" y="185"/>
                  </a:lnTo>
                  <a:lnTo>
                    <a:pt x="4179" y="185"/>
                  </a:lnTo>
                  <a:lnTo>
                    <a:pt x="4174" y="185"/>
                  </a:lnTo>
                  <a:lnTo>
                    <a:pt x="4170" y="185"/>
                  </a:lnTo>
                  <a:lnTo>
                    <a:pt x="4170" y="181"/>
                  </a:lnTo>
                  <a:lnTo>
                    <a:pt x="4170" y="185"/>
                  </a:lnTo>
                  <a:lnTo>
                    <a:pt x="4170" y="185"/>
                  </a:lnTo>
                  <a:lnTo>
                    <a:pt x="4165" y="185"/>
                  </a:lnTo>
                  <a:lnTo>
                    <a:pt x="4161" y="181"/>
                  </a:lnTo>
                  <a:lnTo>
                    <a:pt x="4156" y="181"/>
                  </a:lnTo>
                  <a:lnTo>
                    <a:pt x="4147" y="176"/>
                  </a:lnTo>
                  <a:lnTo>
                    <a:pt x="4143" y="176"/>
                  </a:lnTo>
                  <a:lnTo>
                    <a:pt x="4138" y="172"/>
                  </a:lnTo>
                  <a:lnTo>
                    <a:pt x="4138" y="172"/>
                  </a:lnTo>
                  <a:lnTo>
                    <a:pt x="4134" y="172"/>
                  </a:lnTo>
                  <a:lnTo>
                    <a:pt x="4134" y="172"/>
                  </a:lnTo>
                  <a:lnTo>
                    <a:pt x="4138" y="172"/>
                  </a:lnTo>
                  <a:lnTo>
                    <a:pt x="4138" y="172"/>
                  </a:lnTo>
                  <a:lnTo>
                    <a:pt x="4134" y="167"/>
                  </a:lnTo>
                  <a:lnTo>
                    <a:pt x="4134" y="167"/>
                  </a:lnTo>
                  <a:lnTo>
                    <a:pt x="4129" y="167"/>
                  </a:lnTo>
                  <a:lnTo>
                    <a:pt x="4134" y="167"/>
                  </a:lnTo>
                  <a:lnTo>
                    <a:pt x="4134" y="172"/>
                  </a:lnTo>
                  <a:lnTo>
                    <a:pt x="4134" y="172"/>
                  </a:lnTo>
                  <a:lnTo>
                    <a:pt x="4134" y="172"/>
                  </a:lnTo>
                  <a:lnTo>
                    <a:pt x="4120" y="167"/>
                  </a:lnTo>
                  <a:lnTo>
                    <a:pt x="4111" y="163"/>
                  </a:lnTo>
                  <a:lnTo>
                    <a:pt x="4111" y="163"/>
                  </a:lnTo>
                  <a:lnTo>
                    <a:pt x="4107" y="163"/>
                  </a:lnTo>
                  <a:lnTo>
                    <a:pt x="4107" y="163"/>
                  </a:lnTo>
                  <a:lnTo>
                    <a:pt x="4111" y="163"/>
                  </a:lnTo>
                  <a:lnTo>
                    <a:pt x="4116" y="163"/>
                  </a:lnTo>
                  <a:lnTo>
                    <a:pt x="4125" y="167"/>
                  </a:lnTo>
                  <a:lnTo>
                    <a:pt x="4129" y="167"/>
                  </a:lnTo>
                  <a:lnTo>
                    <a:pt x="4129" y="163"/>
                  </a:lnTo>
                  <a:lnTo>
                    <a:pt x="4125" y="163"/>
                  </a:lnTo>
                  <a:lnTo>
                    <a:pt x="4120" y="158"/>
                  </a:lnTo>
                  <a:lnTo>
                    <a:pt x="4120" y="158"/>
                  </a:lnTo>
                  <a:lnTo>
                    <a:pt x="4111" y="158"/>
                  </a:lnTo>
                  <a:lnTo>
                    <a:pt x="4111" y="158"/>
                  </a:lnTo>
                  <a:lnTo>
                    <a:pt x="4111" y="158"/>
                  </a:lnTo>
                  <a:lnTo>
                    <a:pt x="4111" y="158"/>
                  </a:lnTo>
                  <a:lnTo>
                    <a:pt x="4111" y="158"/>
                  </a:lnTo>
                  <a:lnTo>
                    <a:pt x="4116" y="154"/>
                  </a:lnTo>
                  <a:lnTo>
                    <a:pt x="4116" y="154"/>
                  </a:lnTo>
                  <a:lnTo>
                    <a:pt x="4111" y="154"/>
                  </a:lnTo>
                  <a:lnTo>
                    <a:pt x="4107" y="154"/>
                  </a:lnTo>
                  <a:lnTo>
                    <a:pt x="4107" y="154"/>
                  </a:lnTo>
                  <a:lnTo>
                    <a:pt x="4102" y="154"/>
                  </a:lnTo>
                  <a:lnTo>
                    <a:pt x="4102" y="149"/>
                  </a:lnTo>
                  <a:lnTo>
                    <a:pt x="4102" y="149"/>
                  </a:lnTo>
                  <a:lnTo>
                    <a:pt x="4107" y="149"/>
                  </a:lnTo>
                  <a:lnTo>
                    <a:pt x="4102" y="149"/>
                  </a:lnTo>
                  <a:lnTo>
                    <a:pt x="4102" y="149"/>
                  </a:lnTo>
                  <a:lnTo>
                    <a:pt x="4102" y="149"/>
                  </a:lnTo>
                  <a:lnTo>
                    <a:pt x="4102" y="149"/>
                  </a:lnTo>
                  <a:lnTo>
                    <a:pt x="4098" y="149"/>
                  </a:lnTo>
                  <a:lnTo>
                    <a:pt x="4098" y="145"/>
                  </a:lnTo>
                  <a:lnTo>
                    <a:pt x="4093" y="145"/>
                  </a:lnTo>
                  <a:lnTo>
                    <a:pt x="4093" y="145"/>
                  </a:lnTo>
                  <a:lnTo>
                    <a:pt x="4093" y="145"/>
                  </a:lnTo>
                  <a:lnTo>
                    <a:pt x="4088" y="145"/>
                  </a:lnTo>
                  <a:lnTo>
                    <a:pt x="4088" y="145"/>
                  </a:lnTo>
                  <a:lnTo>
                    <a:pt x="4088" y="145"/>
                  </a:lnTo>
                  <a:lnTo>
                    <a:pt x="4084" y="145"/>
                  </a:lnTo>
                  <a:lnTo>
                    <a:pt x="4084" y="145"/>
                  </a:lnTo>
                  <a:lnTo>
                    <a:pt x="4079" y="145"/>
                  </a:lnTo>
                  <a:lnTo>
                    <a:pt x="4075" y="145"/>
                  </a:lnTo>
                  <a:lnTo>
                    <a:pt x="4075" y="145"/>
                  </a:lnTo>
                  <a:lnTo>
                    <a:pt x="4075" y="145"/>
                  </a:lnTo>
                  <a:lnTo>
                    <a:pt x="4075" y="145"/>
                  </a:lnTo>
                  <a:lnTo>
                    <a:pt x="4070" y="145"/>
                  </a:lnTo>
                  <a:lnTo>
                    <a:pt x="4070" y="145"/>
                  </a:lnTo>
                  <a:lnTo>
                    <a:pt x="4070" y="145"/>
                  </a:lnTo>
                  <a:lnTo>
                    <a:pt x="4070" y="145"/>
                  </a:lnTo>
                  <a:lnTo>
                    <a:pt x="4066" y="145"/>
                  </a:lnTo>
                  <a:lnTo>
                    <a:pt x="4066" y="145"/>
                  </a:lnTo>
                  <a:lnTo>
                    <a:pt x="4066" y="145"/>
                  </a:lnTo>
                  <a:lnTo>
                    <a:pt x="4066" y="145"/>
                  </a:lnTo>
                  <a:lnTo>
                    <a:pt x="4061" y="145"/>
                  </a:lnTo>
                  <a:lnTo>
                    <a:pt x="4061" y="145"/>
                  </a:lnTo>
                  <a:lnTo>
                    <a:pt x="4061" y="145"/>
                  </a:lnTo>
                  <a:lnTo>
                    <a:pt x="4061" y="145"/>
                  </a:lnTo>
                  <a:lnTo>
                    <a:pt x="4048" y="140"/>
                  </a:lnTo>
                  <a:lnTo>
                    <a:pt x="4043" y="140"/>
                  </a:lnTo>
                  <a:lnTo>
                    <a:pt x="4043" y="140"/>
                  </a:lnTo>
                  <a:lnTo>
                    <a:pt x="4039" y="145"/>
                  </a:lnTo>
                  <a:lnTo>
                    <a:pt x="4039" y="145"/>
                  </a:lnTo>
                  <a:lnTo>
                    <a:pt x="4039" y="145"/>
                  </a:lnTo>
                  <a:lnTo>
                    <a:pt x="4039" y="145"/>
                  </a:lnTo>
                  <a:lnTo>
                    <a:pt x="4039" y="145"/>
                  </a:lnTo>
                  <a:lnTo>
                    <a:pt x="4039" y="145"/>
                  </a:lnTo>
                  <a:lnTo>
                    <a:pt x="4039" y="149"/>
                  </a:lnTo>
                  <a:lnTo>
                    <a:pt x="4043" y="149"/>
                  </a:lnTo>
                  <a:lnTo>
                    <a:pt x="4043" y="149"/>
                  </a:lnTo>
                  <a:lnTo>
                    <a:pt x="4048" y="149"/>
                  </a:lnTo>
                  <a:lnTo>
                    <a:pt x="4048" y="154"/>
                  </a:lnTo>
                  <a:lnTo>
                    <a:pt x="4048" y="154"/>
                  </a:lnTo>
                  <a:lnTo>
                    <a:pt x="4048" y="154"/>
                  </a:lnTo>
                  <a:lnTo>
                    <a:pt x="4048" y="154"/>
                  </a:lnTo>
                  <a:lnTo>
                    <a:pt x="4048" y="154"/>
                  </a:lnTo>
                  <a:lnTo>
                    <a:pt x="4048" y="154"/>
                  </a:lnTo>
                  <a:lnTo>
                    <a:pt x="4048" y="158"/>
                  </a:lnTo>
                  <a:lnTo>
                    <a:pt x="4048" y="158"/>
                  </a:lnTo>
                  <a:lnTo>
                    <a:pt x="4043" y="154"/>
                  </a:lnTo>
                  <a:lnTo>
                    <a:pt x="4043" y="154"/>
                  </a:lnTo>
                  <a:lnTo>
                    <a:pt x="4043" y="158"/>
                  </a:lnTo>
                  <a:lnTo>
                    <a:pt x="4048" y="158"/>
                  </a:lnTo>
                  <a:lnTo>
                    <a:pt x="4048" y="158"/>
                  </a:lnTo>
                  <a:lnTo>
                    <a:pt x="4048" y="158"/>
                  </a:lnTo>
                  <a:lnTo>
                    <a:pt x="4043" y="158"/>
                  </a:lnTo>
                  <a:lnTo>
                    <a:pt x="4043" y="158"/>
                  </a:lnTo>
                  <a:lnTo>
                    <a:pt x="4039" y="158"/>
                  </a:lnTo>
                  <a:lnTo>
                    <a:pt x="4039" y="158"/>
                  </a:lnTo>
                  <a:lnTo>
                    <a:pt x="4034" y="158"/>
                  </a:lnTo>
                  <a:lnTo>
                    <a:pt x="4030" y="158"/>
                  </a:lnTo>
                  <a:lnTo>
                    <a:pt x="4030" y="158"/>
                  </a:lnTo>
                  <a:lnTo>
                    <a:pt x="4025" y="158"/>
                  </a:lnTo>
                  <a:lnTo>
                    <a:pt x="4016" y="158"/>
                  </a:lnTo>
                  <a:lnTo>
                    <a:pt x="4016" y="158"/>
                  </a:lnTo>
                  <a:lnTo>
                    <a:pt x="4012" y="158"/>
                  </a:lnTo>
                  <a:lnTo>
                    <a:pt x="4003" y="158"/>
                  </a:lnTo>
                  <a:lnTo>
                    <a:pt x="3998" y="154"/>
                  </a:lnTo>
                  <a:lnTo>
                    <a:pt x="3994" y="154"/>
                  </a:lnTo>
                  <a:lnTo>
                    <a:pt x="3994" y="149"/>
                  </a:lnTo>
                  <a:lnTo>
                    <a:pt x="3994" y="149"/>
                  </a:lnTo>
                  <a:lnTo>
                    <a:pt x="3998" y="149"/>
                  </a:lnTo>
                  <a:lnTo>
                    <a:pt x="3994" y="149"/>
                  </a:lnTo>
                  <a:lnTo>
                    <a:pt x="3994" y="149"/>
                  </a:lnTo>
                  <a:lnTo>
                    <a:pt x="3989" y="149"/>
                  </a:lnTo>
                  <a:lnTo>
                    <a:pt x="3980" y="149"/>
                  </a:lnTo>
                  <a:lnTo>
                    <a:pt x="3967" y="149"/>
                  </a:lnTo>
                  <a:lnTo>
                    <a:pt x="3957" y="149"/>
                  </a:lnTo>
                  <a:lnTo>
                    <a:pt x="3953" y="154"/>
                  </a:lnTo>
                  <a:lnTo>
                    <a:pt x="3948" y="154"/>
                  </a:lnTo>
                  <a:lnTo>
                    <a:pt x="3944" y="154"/>
                  </a:lnTo>
                  <a:lnTo>
                    <a:pt x="3944" y="154"/>
                  </a:lnTo>
                  <a:lnTo>
                    <a:pt x="3944" y="154"/>
                  </a:lnTo>
                  <a:lnTo>
                    <a:pt x="3948" y="158"/>
                  </a:lnTo>
                  <a:lnTo>
                    <a:pt x="3948" y="158"/>
                  </a:lnTo>
                  <a:lnTo>
                    <a:pt x="3948" y="158"/>
                  </a:lnTo>
                  <a:lnTo>
                    <a:pt x="3948" y="158"/>
                  </a:lnTo>
                  <a:lnTo>
                    <a:pt x="3948" y="158"/>
                  </a:lnTo>
                  <a:lnTo>
                    <a:pt x="3948" y="158"/>
                  </a:lnTo>
                  <a:lnTo>
                    <a:pt x="3948" y="158"/>
                  </a:lnTo>
                  <a:lnTo>
                    <a:pt x="3953" y="163"/>
                  </a:lnTo>
                  <a:lnTo>
                    <a:pt x="3953" y="163"/>
                  </a:lnTo>
                  <a:lnTo>
                    <a:pt x="3953" y="163"/>
                  </a:lnTo>
                  <a:lnTo>
                    <a:pt x="3953" y="167"/>
                  </a:lnTo>
                  <a:lnTo>
                    <a:pt x="3953" y="167"/>
                  </a:lnTo>
                  <a:lnTo>
                    <a:pt x="3957" y="167"/>
                  </a:lnTo>
                  <a:lnTo>
                    <a:pt x="3957" y="167"/>
                  </a:lnTo>
                  <a:lnTo>
                    <a:pt x="3962" y="167"/>
                  </a:lnTo>
                  <a:lnTo>
                    <a:pt x="3962" y="167"/>
                  </a:lnTo>
                  <a:lnTo>
                    <a:pt x="3962" y="172"/>
                  </a:lnTo>
                  <a:lnTo>
                    <a:pt x="3957" y="172"/>
                  </a:lnTo>
                  <a:lnTo>
                    <a:pt x="3957" y="167"/>
                  </a:lnTo>
                  <a:lnTo>
                    <a:pt x="3953" y="167"/>
                  </a:lnTo>
                  <a:lnTo>
                    <a:pt x="3953" y="167"/>
                  </a:lnTo>
                  <a:lnTo>
                    <a:pt x="3953" y="167"/>
                  </a:lnTo>
                  <a:lnTo>
                    <a:pt x="3953" y="163"/>
                  </a:lnTo>
                  <a:lnTo>
                    <a:pt x="3953" y="163"/>
                  </a:lnTo>
                  <a:lnTo>
                    <a:pt x="3948" y="163"/>
                  </a:lnTo>
                  <a:lnTo>
                    <a:pt x="3944" y="158"/>
                  </a:lnTo>
                  <a:lnTo>
                    <a:pt x="3944" y="158"/>
                  </a:lnTo>
                  <a:lnTo>
                    <a:pt x="3939" y="154"/>
                  </a:lnTo>
                  <a:lnTo>
                    <a:pt x="3939" y="154"/>
                  </a:lnTo>
                  <a:lnTo>
                    <a:pt x="3939" y="154"/>
                  </a:lnTo>
                  <a:lnTo>
                    <a:pt x="3935" y="149"/>
                  </a:lnTo>
                  <a:lnTo>
                    <a:pt x="3935" y="149"/>
                  </a:lnTo>
                  <a:lnTo>
                    <a:pt x="3930" y="149"/>
                  </a:lnTo>
                  <a:lnTo>
                    <a:pt x="3926" y="149"/>
                  </a:lnTo>
                  <a:lnTo>
                    <a:pt x="3926" y="149"/>
                  </a:lnTo>
                  <a:lnTo>
                    <a:pt x="3930" y="149"/>
                  </a:lnTo>
                  <a:lnTo>
                    <a:pt x="3930" y="149"/>
                  </a:lnTo>
                  <a:lnTo>
                    <a:pt x="3930" y="149"/>
                  </a:lnTo>
                  <a:lnTo>
                    <a:pt x="3926" y="154"/>
                  </a:lnTo>
                  <a:lnTo>
                    <a:pt x="3926" y="154"/>
                  </a:lnTo>
                  <a:lnTo>
                    <a:pt x="3921" y="154"/>
                  </a:lnTo>
                  <a:lnTo>
                    <a:pt x="3917" y="149"/>
                  </a:lnTo>
                  <a:lnTo>
                    <a:pt x="3912" y="149"/>
                  </a:lnTo>
                  <a:lnTo>
                    <a:pt x="3912" y="149"/>
                  </a:lnTo>
                  <a:lnTo>
                    <a:pt x="3912" y="149"/>
                  </a:lnTo>
                  <a:lnTo>
                    <a:pt x="3912" y="149"/>
                  </a:lnTo>
                  <a:lnTo>
                    <a:pt x="3912" y="145"/>
                  </a:lnTo>
                  <a:lnTo>
                    <a:pt x="3908" y="149"/>
                  </a:lnTo>
                  <a:lnTo>
                    <a:pt x="3908" y="149"/>
                  </a:lnTo>
                  <a:lnTo>
                    <a:pt x="3908" y="149"/>
                  </a:lnTo>
                  <a:lnTo>
                    <a:pt x="3899" y="149"/>
                  </a:lnTo>
                  <a:lnTo>
                    <a:pt x="3899" y="149"/>
                  </a:lnTo>
                  <a:lnTo>
                    <a:pt x="3899" y="149"/>
                  </a:lnTo>
                  <a:lnTo>
                    <a:pt x="3899" y="149"/>
                  </a:lnTo>
                  <a:lnTo>
                    <a:pt x="3899" y="154"/>
                  </a:lnTo>
                  <a:lnTo>
                    <a:pt x="3899" y="154"/>
                  </a:lnTo>
                  <a:lnTo>
                    <a:pt x="3903" y="154"/>
                  </a:lnTo>
                  <a:lnTo>
                    <a:pt x="3903" y="154"/>
                  </a:lnTo>
                  <a:lnTo>
                    <a:pt x="3908" y="154"/>
                  </a:lnTo>
                  <a:lnTo>
                    <a:pt x="3908" y="154"/>
                  </a:lnTo>
                  <a:lnTo>
                    <a:pt x="3912" y="154"/>
                  </a:lnTo>
                  <a:lnTo>
                    <a:pt x="3912" y="154"/>
                  </a:lnTo>
                  <a:lnTo>
                    <a:pt x="3912" y="154"/>
                  </a:lnTo>
                  <a:lnTo>
                    <a:pt x="3908" y="154"/>
                  </a:lnTo>
                  <a:lnTo>
                    <a:pt x="3908" y="158"/>
                  </a:lnTo>
                  <a:lnTo>
                    <a:pt x="3903" y="158"/>
                  </a:lnTo>
                  <a:lnTo>
                    <a:pt x="3903" y="158"/>
                  </a:lnTo>
                  <a:lnTo>
                    <a:pt x="3903" y="158"/>
                  </a:lnTo>
                  <a:lnTo>
                    <a:pt x="3903" y="158"/>
                  </a:lnTo>
                  <a:lnTo>
                    <a:pt x="3899" y="163"/>
                  </a:lnTo>
                  <a:lnTo>
                    <a:pt x="3894" y="163"/>
                  </a:lnTo>
                  <a:lnTo>
                    <a:pt x="3894" y="163"/>
                  </a:lnTo>
                  <a:lnTo>
                    <a:pt x="3894" y="163"/>
                  </a:lnTo>
                  <a:lnTo>
                    <a:pt x="3894" y="163"/>
                  </a:lnTo>
                  <a:lnTo>
                    <a:pt x="3894" y="163"/>
                  </a:lnTo>
                  <a:lnTo>
                    <a:pt x="3890" y="167"/>
                  </a:lnTo>
                  <a:lnTo>
                    <a:pt x="3885" y="167"/>
                  </a:lnTo>
                  <a:lnTo>
                    <a:pt x="3881" y="167"/>
                  </a:lnTo>
                  <a:lnTo>
                    <a:pt x="3881" y="167"/>
                  </a:lnTo>
                  <a:lnTo>
                    <a:pt x="3881" y="167"/>
                  </a:lnTo>
                  <a:lnTo>
                    <a:pt x="3881" y="167"/>
                  </a:lnTo>
                  <a:lnTo>
                    <a:pt x="3881" y="172"/>
                  </a:lnTo>
                  <a:lnTo>
                    <a:pt x="3876" y="172"/>
                  </a:lnTo>
                  <a:lnTo>
                    <a:pt x="3876" y="172"/>
                  </a:lnTo>
                  <a:lnTo>
                    <a:pt x="3872" y="172"/>
                  </a:lnTo>
                  <a:lnTo>
                    <a:pt x="3876" y="172"/>
                  </a:lnTo>
                  <a:lnTo>
                    <a:pt x="3876" y="172"/>
                  </a:lnTo>
                  <a:lnTo>
                    <a:pt x="3872" y="163"/>
                  </a:lnTo>
                  <a:lnTo>
                    <a:pt x="3876" y="163"/>
                  </a:lnTo>
                  <a:lnTo>
                    <a:pt x="3881" y="163"/>
                  </a:lnTo>
                  <a:lnTo>
                    <a:pt x="3876" y="158"/>
                  </a:lnTo>
                  <a:lnTo>
                    <a:pt x="3881" y="158"/>
                  </a:lnTo>
                  <a:lnTo>
                    <a:pt x="3885" y="158"/>
                  </a:lnTo>
                  <a:lnTo>
                    <a:pt x="3885" y="154"/>
                  </a:lnTo>
                  <a:lnTo>
                    <a:pt x="3890" y="149"/>
                  </a:lnTo>
                  <a:lnTo>
                    <a:pt x="3890" y="149"/>
                  </a:lnTo>
                  <a:lnTo>
                    <a:pt x="3894" y="145"/>
                  </a:lnTo>
                  <a:lnTo>
                    <a:pt x="3894" y="145"/>
                  </a:lnTo>
                  <a:lnTo>
                    <a:pt x="3894" y="145"/>
                  </a:lnTo>
                  <a:lnTo>
                    <a:pt x="3890" y="145"/>
                  </a:lnTo>
                  <a:lnTo>
                    <a:pt x="3890" y="145"/>
                  </a:lnTo>
                  <a:lnTo>
                    <a:pt x="3894" y="140"/>
                  </a:lnTo>
                  <a:lnTo>
                    <a:pt x="3894" y="140"/>
                  </a:lnTo>
                  <a:lnTo>
                    <a:pt x="3894" y="140"/>
                  </a:lnTo>
                  <a:lnTo>
                    <a:pt x="3899" y="136"/>
                  </a:lnTo>
                  <a:lnTo>
                    <a:pt x="3903" y="136"/>
                  </a:lnTo>
                  <a:lnTo>
                    <a:pt x="3903" y="131"/>
                  </a:lnTo>
                  <a:lnTo>
                    <a:pt x="3908" y="131"/>
                  </a:lnTo>
                  <a:lnTo>
                    <a:pt x="3908" y="122"/>
                  </a:lnTo>
                  <a:lnTo>
                    <a:pt x="3903" y="122"/>
                  </a:lnTo>
                  <a:lnTo>
                    <a:pt x="3903" y="122"/>
                  </a:lnTo>
                  <a:lnTo>
                    <a:pt x="3899" y="122"/>
                  </a:lnTo>
                  <a:lnTo>
                    <a:pt x="3894" y="118"/>
                  </a:lnTo>
                  <a:lnTo>
                    <a:pt x="3894" y="118"/>
                  </a:lnTo>
                  <a:lnTo>
                    <a:pt x="3894" y="118"/>
                  </a:lnTo>
                  <a:lnTo>
                    <a:pt x="3890" y="118"/>
                  </a:lnTo>
                  <a:lnTo>
                    <a:pt x="3885" y="118"/>
                  </a:lnTo>
                  <a:lnTo>
                    <a:pt x="3885" y="113"/>
                  </a:lnTo>
                  <a:lnTo>
                    <a:pt x="3885" y="113"/>
                  </a:lnTo>
                  <a:lnTo>
                    <a:pt x="3885" y="113"/>
                  </a:lnTo>
                  <a:lnTo>
                    <a:pt x="3894" y="118"/>
                  </a:lnTo>
                  <a:lnTo>
                    <a:pt x="3894" y="118"/>
                  </a:lnTo>
                  <a:lnTo>
                    <a:pt x="3899" y="118"/>
                  </a:lnTo>
                  <a:lnTo>
                    <a:pt x="3899" y="118"/>
                  </a:lnTo>
                  <a:lnTo>
                    <a:pt x="3899" y="118"/>
                  </a:lnTo>
                  <a:lnTo>
                    <a:pt x="3899" y="118"/>
                  </a:lnTo>
                  <a:lnTo>
                    <a:pt x="3899" y="118"/>
                  </a:lnTo>
                  <a:lnTo>
                    <a:pt x="3899" y="118"/>
                  </a:lnTo>
                  <a:lnTo>
                    <a:pt x="3899" y="113"/>
                  </a:lnTo>
                  <a:lnTo>
                    <a:pt x="3894" y="113"/>
                  </a:lnTo>
                  <a:lnTo>
                    <a:pt x="3894" y="113"/>
                  </a:lnTo>
                  <a:lnTo>
                    <a:pt x="3885" y="109"/>
                  </a:lnTo>
                  <a:lnTo>
                    <a:pt x="3885" y="109"/>
                  </a:lnTo>
                  <a:lnTo>
                    <a:pt x="3881" y="109"/>
                  </a:lnTo>
                  <a:lnTo>
                    <a:pt x="3881" y="109"/>
                  </a:lnTo>
                  <a:lnTo>
                    <a:pt x="3881" y="109"/>
                  </a:lnTo>
                  <a:lnTo>
                    <a:pt x="3881" y="109"/>
                  </a:lnTo>
                  <a:lnTo>
                    <a:pt x="3885" y="109"/>
                  </a:lnTo>
                  <a:lnTo>
                    <a:pt x="3885" y="109"/>
                  </a:lnTo>
                  <a:lnTo>
                    <a:pt x="3885" y="109"/>
                  </a:lnTo>
                  <a:lnTo>
                    <a:pt x="3881" y="113"/>
                  </a:lnTo>
                  <a:lnTo>
                    <a:pt x="3881" y="113"/>
                  </a:lnTo>
                  <a:lnTo>
                    <a:pt x="3881" y="113"/>
                  </a:lnTo>
                  <a:lnTo>
                    <a:pt x="3881" y="109"/>
                  </a:lnTo>
                  <a:lnTo>
                    <a:pt x="3881" y="109"/>
                  </a:lnTo>
                  <a:lnTo>
                    <a:pt x="3876" y="109"/>
                  </a:lnTo>
                  <a:lnTo>
                    <a:pt x="3872" y="104"/>
                  </a:lnTo>
                  <a:lnTo>
                    <a:pt x="3872" y="104"/>
                  </a:lnTo>
                  <a:lnTo>
                    <a:pt x="3872" y="104"/>
                  </a:lnTo>
                  <a:lnTo>
                    <a:pt x="3867" y="104"/>
                  </a:lnTo>
                  <a:lnTo>
                    <a:pt x="3867" y="109"/>
                  </a:lnTo>
                  <a:lnTo>
                    <a:pt x="3867" y="104"/>
                  </a:lnTo>
                  <a:lnTo>
                    <a:pt x="3867" y="104"/>
                  </a:lnTo>
                  <a:lnTo>
                    <a:pt x="3863" y="104"/>
                  </a:lnTo>
                  <a:lnTo>
                    <a:pt x="3863" y="104"/>
                  </a:lnTo>
                  <a:lnTo>
                    <a:pt x="3858" y="104"/>
                  </a:lnTo>
                  <a:lnTo>
                    <a:pt x="3858" y="100"/>
                  </a:lnTo>
                  <a:lnTo>
                    <a:pt x="3854" y="100"/>
                  </a:lnTo>
                  <a:lnTo>
                    <a:pt x="3845" y="100"/>
                  </a:lnTo>
                  <a:lnTo>
                    <a:pt x="3840" y="104"/>
                  </a:lnTo>
                  <a:lnTo>
                    <a:pt x="3835" y="104"/>
                  </a:lnTo>
                  <a:lnTo>
                    <a:pt x="3831" y="104"/>
                  </a:lnTo>
                  <a:lnTo>
                    <a:pt x="3826" y="104"/>
                  </a:lnTo>
                  <a:lnTo>
                    <a:pt x="3826" y="104"/>
                  </a:lnTo>
                  <a:lnTo>
                    <a:pt x="3822" y="104"/>
                  </a:lnTo>
                  <a:lnTo>
                    <a:pt x="3826" y="104"/>
                  </a:lnTo>
                  <a:lnTo>
                    <a:pt x="3826" y="104"/>
                  </a:lnTo>
                  <a:lnTo>
                    <a:pt x="3826" y="109"/>
                  </a:lnTo>
                  <a:lnTo>
                    <a:pt x="3826" y="109"/>
                  </a:lnTo>
                  <a:lnTo>
                    <a:pt x="3817" y="109"/>
                  </a:lnTo>
                  <a:lnTo>
                    <a:pt x="3817" y="109"/>
                  </a:lnTo>
                  <a:lnTo>
                    <a:pt x="3817" y="109"/>
                  </a:lnTo>
                  <a:lnTo>
                    <a:pt x="3813" y="109"/>
                  </a:lnTo>
                  <a:lnTo>
                    <a:pt x="3813" y="109"/>
                  </a:lnTo>
                  <a:lnTo>
                    <a:pt x="3813" y="109"/>
                  </a:lnTo>
                  <a:lnTo>
                    <a:pt x="3813" y="109"/>
                  </a:lnTo>
                  <a:lnTo>
                    <a:pt x="3813" y="104"/>
                  </a:lnTo>
                  <a:lnTo>
                    <a:pt x="3813" y="104"/>
                  </a:lnTo>
                  <a:lnTo>
                    <a:pt x="3813" y="100"/>
                  </a:lnTo>
                  <a:lnTo>
                    <a:pt x="3813" y="100"/>
                  </a:lnTo>
                  <a:lnTo>
                    <a:pt x="3808" y="100"/>
                  </a:lnTo>
                  <a:lnTo>
                    <a:pt x="3804" y="100"/>
                  </a:lnTo>
                  <a:lnTo>
                    <a:pt x="3804" y="100"/>
                  </a:lnTo>
                  <a:lnTo>
                    <a:pt x="3799" y="100"/>
                  </a:lnTo>
                  <a:lnTo>
                    <a:pt x="3799" y="100"/>
                  </a:lnTo>
                  <a:lnTo>
                    <a:pt x="3799" y="100"/>
                  </a:lnTo>
                  <a:lnTo>
                    <a:pt x="3795" y="100"/>
                  </a:lnTo>
                  <a:lnTo>
                    <a:pt x="3795" y="100"/>
                  </a:lnTo>
                  <a:lnTo>
                    <a:pt x="3790" y="100"/>
                  </a:lnTo>
                  <a:lnTo>
                    <a:pt x="3781" y="100"/>
                  </a:lnTo>
                  <a:lnTo>
                    <a:pt x="3781" y="100"/>
                  </a:lnTo>
                  <a:lnTo>
                    <a:pt x="3786" y="100"/>
                  </a:lnTo>
                  <a:lnTo>
                    <a:pt x="3790" y="95"/>
                  </a:lnTo>
                  <a:lnTo>
                    <a:pt x="3790" y="95"/>
                  </a:lnTo>
                  <a:lnTo>
                    <a:pt x="3790" y="95"/>
                  </a:lnTo>
                  <a:lnTo>
                    <a:pt x="3790" y="90"/>
                  </a:lnTo>
                  <a:lnTo>
                    <a:pt x="3790" y="90"/>
                  </a:lnTo>
                  <a:lnTo>
                    <a:pt x="3786" y="90"/>
                  </a:lnTo>
                  <a:lnTo>
                    <a:pt x="3781" y="90"/>
                  </a:lnTo>
                  <a:lnTo>
                    <a:pt x="3777" y="90"/>
                  </a:lnTo>
                  <a:lnTo>
                    <a:pt x="3777" y="90"/>
                  </a:lnTo>
                  <a:lnTo>
                    <a:pt x="3768" y="86"/>
                  </a:lnTo>
                  <a:lnTo>
                    <a:pt x="3768" y="90"/>
                  </a:lnTo>
                  <a:lnTo>
                    <a:pt x="3763" y="90"/>
                  </a:lnTo>
                  <a:lnTo>
                    <a:pt x="3763" y="90"/>
                  </a:lnTo>
                  <a:lnTo>
                    <a:pt x="3759" y="90"/>
                  </a:lnTo>
                  <a:lnTo>
                    <a:pt x="3759" y="95"/>
                  </a:lnTo>
                  <a:lnTo>
                    <a:pt x="3754" y="100"/>
                  </a:lnTo>
                  <a:lnTo>
                    <a:pt x="3754" y="100"/>
                  </a:lnTo>
                  <a:lnTo>
                    <a:pt x="3754" y="104"/>
                  </a:lnTo>
                  <a:lnTo>
                    <a:pt x="3754" y="104"/>
                  </a:lnTo>
                  <a:lnTo>
                    <a:pt x="3754" y="104"/>
                  </a:lnTo>
                  <a:lnTo>
                    <a:pt x="3754" y="104"/>
                  </a:lnTo>
                  <a:lnTo>
                    <a:pt x="3759" y="109"/>
                  </a:lnTo>
                  <a:lnTo>
                    <a:pt x="3759" y="109"/>
                  </a:lnTo>
                  <a:lnTo>
                    <a:pt x="3759" y="109"/>
                  </a:lnTo>
                  <a:lnTo>
                    <a:pt x="3759" y="109"/>
                  </a:lnTo>
                  <a:lnTo>
                    <a:pt x="3763" y="109"/>
                  </a:lnTo>
                  <a:lnTo>
                    <a:pt x="3763" y="109"/>
                  </a:lnTo>
                  <a:lnTo>
                    <a:pt x="3768" y="113"/>
                  </a:lnTo>
                  <a:lnTo>
                    <a:pt x="3768" y="113"/>
                  </a:lnTo>
                  <a:lnTo>
                    <a:pt x="3763" y="113"/>
                  </a:lnTo>
                  <a:lnTo>
                    <a:pt x="3763" y="113"/>
                  </a:lnTo>
                  <a:lnTo>
                    <a:pt x="3759" y="113"/>
                  </a:lnTo>
                  <a:lnTo>
                    <a:pt x="3754" y="113"/>
                  </a:lnTo>
                  <a:lnTo>
                    <a:pt x="3750" y="113"/>
                  </a:lnTo>
                  <a:lnTo>
                    <a:pt x="3750" y="113"/>
                  </a:lnTo>
                  <a:lnTo>
                    <a:pt x="3741" y="113"/>
                  </a:lnTo>
                  <a:lnTo>
                    <a:pt x="3741" y="113"/>
                  </a:lnTo>
                  <a:lnTo>
                    <a:pt x="3745" y="113"/>
                  </a:lnTo>
                  <a:lnTo>
                    <a:pt x="3745" y="113"/>
                  </a:lnTo>
                  <a:lnTo>
                    <a:pt x="3750" y="118"/>
                  </a:lnTo>
                  <a:lnTo>
                    <a:pt x="3754" y="118"/>
                  </a:lnTo>
                  <a:lnTo>
                    <a:pt x="3759" y="118"/>
                  </a:lnTo>
                  <a:lnTo>
                    <a:pt x="3763" y="122"/>
                  </a:lnTo>
                  <a:lnTo>
                    <a:pt x="3763" y="122"/>
                  </a:lnTo>
                  <a:lnTo>
                    <a:pt x="3763" y="122"/>
                  </a:lnTo>
                  <a:lnTo>
                    <a:pt x="3763" y="127"/>
                  </a:lnTo>
                  <a:lnTo>
                    <a:pt x="3759" y="127"/>
                  </a:lnTo>
                  <a:lnTo>
                    <a:pt x="3759" y="122"/>
                  </a:lnTo>
                  <a:lnTo>
                    <a:pt x="3759" y="122"/>
                  </a:lnTo>
                  <a:lnTo>
                    <a:pt x="3759" y="122"/>
                  </a:lnTo>
                  <a:lnTo>
                    <a:pt x="3759" y="118"/>
                  </a:lnTo>
                  <a:lnTo>
                    <a:pt x="3759" y="118"/>
                  </a:lnTo>
                  <a:lnTo>
                    <a:pt x="3754" y="118"/>
                  </a:lnTo>
                  <a:lnTo>
                    <a:pt x="3750" y="118"/>
                  </a:lnTo>
                  <a:lnTo>
                    <a:pt x="3750" y="118"/>
                  </a:lnTo>
                  <a:lnTo>
                    <a:pt x="3745" y="118"/>
                  </a:lnTo>
                  <a:lnTo>
                    <a:pt x="3745" y="118"/>
                  </a:lnTo>
                  <a:lnTo>
                    <a:pt x="3741" y="118"/>
                  </a:lnTo>
                  <a:lnTo>
                    <a:pt x="3741" y="118"/>
                  </a:lnTo>
                  <a:lnTo>
                    <a:pt x="3741" y="118"/>
                  </a:lnTo>
                  <a:lnTo>
                    <a:pt x="3741" y="122"/>
                  </a:lnTo>
                  <a:lnTo>
                    <a:pt x="3736" y="122"/>
                  </a:lnTo>
                  <a:lnTo>
                    <a:pt x="3741" y="122"/>
                  </a:lnTo>
                  <a:lnTo>
                    <a:pt x="3736" y="122"/>
                  </a:lnTo>
                  <a:lnTo>
                    <a:pt x="3736" y="122"/>
                  </a:lnTo>
                  <a:lnTo>
                    <a:pt x="3736" y="122"/>
                  </a:lnTo>
                  <a:lnTo>
                    <a:pt x="3732" y="122"/>
                  </a:lnTo>
                  <a:lnTo>
                    <a:pt x="3732" y="127"/>
                  </a:lnTo>
                  <a:lnTo>
                    <a:pt x="3732" y="122"/>
                  </a:lnTo>
                  <a:lnTo>
                    <a:pt x="3727" y="122"/>
                  </a:lnTo>
                  <a:lnTo>
                    <a:pt x="3727" y="122"/>
                  </a:lnTo>
                  <a:lnTo>
                    <a:pt x="3723" y="122"/>
                  </a:lnTo>
                  <a:lnTo>
                    <a:pt x="3723" y="127"/>
                  </a:lnTo>
                  <a:lnTo>
                    <a:pt x="3723" y="127"/>
                  </a:lnTo>
                  <a:lnTo>
                    <a:pt x="3723" y="122"/>
                  </a:lnTo>
                  <a:lnTo>
                    <a:pt x="3723" y="122"/>
                  </a:lnTo>
                  <a:lnTo>
                    <a:pt x="3718" y="122"/>
                  </a:lnTo>
                  <a:lnTo>
                    <a:pt x="3718" y="122"/>
                  </a:lnTo>
                  <a:lnTo>
                    <a:pt x="3714" y="122"/>
                  </a:lnTo>
                  <a:lnTo>
                    <a:pt x="3714" y="122"/>
                  </a:lnTo>
                  <a:lnTo>
                    <a:pt x="3704" y="122"/>
                  </a:lnTo>
                  <a:lnTo>
                    <a:pt x="3704" y="122"/>
                  </a:lnTo>
                  <a:lnTo>
                    <a:pt x="3704" y="122"/>
                  </a:lnTo>
                  <a:lnTo>
                    <a:pt x="3704" y="122"/>
                  </a:lnTo>
                  <a:lnTo>
                    <a:pt x="3700" y="122"/>
                  </a:lnTo>
                  <a:lnTo>
                    <a:pt x="3700" y="122"/>
                  </a:lnTo>
                  <a:lnTo>
                    <a:pt x="3695" y="122"/>
                  </a:lnTo>
                  <a:lnTo>
                    <a:pt x="3695" y="122"/>
                  </a:lnTo>
                  <a:lnTo>
                    <a:pt x="3695" y="122"/>
                  </a:lnTo>
                  <a:lnTo>
                    <a:pt x="3691" y="122"/>
                  </a:lnTo>
                  <a:lnTo>
                    <a:pt x="3691" y="127"/>
                  </a:lnTo>
                  <a:lnTo>
                    <a:pt x="3695" y="127"/>
                  </a:lnTo>
                  <a:lnTo>
                    <a:pt x="3695" y="127"/>
                  </a:lnTo>
                  <a:lnTo>
                    <a:pt x="3695" y="127"/>
                  </a:lnTo>
                  <a:lnTo>
                    <a:pt x="3695" y="127"/>
                  </a:lnTo>
                  <a:lnTo>
                    <a:pt x="3695" y="127"/>
                  </a:lnTo>
                  <a:lnTo>
                    <a:pt x="3700" y="127"/>
                  </a:lnTo>
                  <a:lnTo>
                    <a:pt x="3700" y="127"/>
                  </a:lnTo>
                  <a:lnTo>
                    <a:pt x="3700" y="127"/>
                  </a:lnTo>
                  <a:lnTo>
                    <a:pt x="3700" y="127"/>
                  </a:lnTo>
                  <a:lnTo>
                    <a:pt x="3704" y="127"/>
                  </a:lnTo>
                  <a:lnTo>
                    <a:pt x="3704" y="127"/>
                  </a:lnTo>
                  <a:lnTo>
                    <a:pt x="3700" y="127"/>
                  </a:lnTo>
                  <a:lnTo>
                    <a:pt x="3695" y="127"/>
                  </a:lnTo>
                  <a:lnTo>
                    <a:pt x="3691" y="131"/>
                  </a:lnTo>
                  <a:lnTo>
                    <a:pt x="3686" y="131"/>
                  </a:lnTo>
                  <a:lnTo>
                    <a:pt x="3686" y="131"/>
                  </a:lnTo>
                  <a:lnTo>
                    <a:pt x="3682" y="131"/>
                  </a:lnTo>
                  <a:lnTo>
                    <a:pt x="3673" y="136"/>
                  </a:lnTo>
                  <a:lnTo>
                    <a:pt x="3668" y="136"/>
                  </a:lnTo>
                  <a:lnTo>
                    <a:pt x="3668" y="136"/>
                  </a:lnTo>
                  <a:lnTo>
                    <a:pt x="3664" y="140"/>
                  </a:lnTo>
                  <a:lnTo>
                    <a:pt x="3664" y="140"/>
                  </a:lnTo>
                  <a:lnTo>
                    <a:pt x="3655" y="145"/>
                  </a:lnTo>
                  <a:lnTo>
                    <a:pt x="3650" y="140"/>
                  </a:lnTo>
                  <a:lnTo>
                    <a:pt x="3650" y="145"/>
                  </a:lnTo>
                  <a:lnTo>
                    <a:pt x="3650" y="145"/>
                  </a:lnTo>
                  <a:lnTo>
                    <a:pt x="3650" y="145"/>
                  </a:lnTo>
                  <a:lnTo>
                    <a:pt x="3650" y="145"/>
                  </a:lnTo>
                  <a:lnTo>
                    <a:pt x="3655" y="145"/>
                  </a:lnTo>
                  <a:lnTo>
                    <a:pt x="3655" y="145"/>
                  </a:lnTo>
                  <a:lnTo>
                    <a:pt x="3655" y="145"/>
                  </a:lnTo>
                  <a:lnTo>
                    <a:pt x="3655" y="149"/>
                  </a:lnTo>
                  <a:lnTo>
                    <a:pt x="3655" y="149"/>
                  </a:lnTo>
                  <a:lnTo>
                    <a:pt x="3655" y="154"/>
                  </a:lnTo>
                  <a:lnTo>
                    <a:pt x="3646" y="149"/>
                  </a:lnTo>
                  <a:lnTo>
                    <a:pt x="3646" y="149"/>
                  </a:lnTo>
                  <a:lnTo>
                    <a:pt x="3646" y="149"/>
                  </a:lnTo>
                  <a:lnTo>
                    <a:pt x="3646" y="149"/>
                  </a:lnTo>
                  <a:lnTo>
                    <a:pt x="3646" y="154"/>
                  </a:lnTo>
                  <a:lnTo>
                    <a:pt x="3650" y="154"/>
                  </a:lnTo>
                  <a:lnTo>
                    <a:pt x="3650" y="154"/>
                  </a:lnTo>
                  <a:lnTo>
                    <a:pt x="3655" y="154"/>
                  </a:lnTo>
                  <a:lnTo>
                    <a:pt x="3659" y="154"/>
                  </a:lnTo>
                  <a:lnTo>
                    <a:pt x="3664" y="158"/>
                  </a:lnTo>
                  <a:lnTo>
                    <a:pt x="3664" y="158"/>
                  </a:lnTo>
                  <a:lnTo>
                    <a:pt x="3659" y="158"/>
                  </a:lnTo>
                  <a:lnTo>
                    <a:pt x="3659" y="158"/>
                  </a:lnTo>
                  <a:lnTo>
                    <a:pt x="3655" y="158"/>
                  </a:lnTo>
                  <a:lnTo>
                    <a:pt x="3655" y="158"/>
                  </a:lnTo>
                  <a:lnTo>
                    <a:pt x="3650" y="158"/>
                  </a:lnTo>
                  <a:lnTo>
                    <a:pt x="3650" y="158"/>
                  </a:lnTo>
                  <a:lnTo>
                    <a:pt x="3655" y="158"/>
                  </a:lnTo>
                  <a:lnTo>
                    <a:pt x="3659" y="158"/>
                  </a:lnTo>
                  <a:lnTo>
                    <a:pt x="3659" y="158"/>
                  </a:lnTo>
                  <a:lnTo>
                    <a:pt x="3673" y="167"/>
                  </a:lnTo>
                  <a:lnTo>
                    <a:pt x="3673" y="167"/>
                  </a:lnTo>
                  <a:lnTo>
                    <a:pt x="3673" y="167"/>
                  </a:lnTo>
                  <a:lnTo>
                    <a:pt x="3677" y="167"/>
                  </a:lnTo>
                  <a:lnTo>
                    <a:pt x="3673" y="167"/>
                  </a:lnTo>
                  <a:lnTo>
                    <a:pt x="3673" y="167"/>
                  </a:lnTo>
                  <a:lnTo>
                    <a:pt x="3673" y="172"/>
                  </a:lnTo>
                  <a:lnTo>
                    <a:pt x="3668" y="172"/>
                  </a:lnTo>
                  <a:lnTo>
                    <a:pt x="3664" y="172"/>
                  </a:lnTo>
                  <a:lnTo>
                    <a:pt x="3664" y="172"/>
                  </a:lnTo>
                  <a:lnTo>
                    <a:pt x="3664" y="172"/>
                  </a:lnTo>
                  <a:lnTo>
                    <a:pt x="3664" y="176"/>
                  </a:lnTo>
                  <a:lnTo>
                    <a:pt x="3664" y="176"/>
                  </a:lnTo>
                  <a:lnTo>
                    <a:pt x="3668" y="176"/>
                  </a:lnTo>
                  <a:lnTo>
                    <a:pt x="3668" y="176"/>
                  </a:lnTo>
                  <a:lnTo>
                    <a:pt x="3677" y="181"/>
                  </a:lnTo>
                  <a:lnTo>
                    <a:pt x="3677" y="181"/>
                  </a:lnTo>
                  <a:lnTo>
                    <a:pt x="3677" y="181"/>
                  </a:lnTo>
                  <a:lnTo>
                    <a:pt x="3673" y="181"/>
                  </a:lnTo>
                  <a:lnTo>
                    <a:pt x="3668" y="176"/>
                  </a:lnTo>
                  <a:lnTo>
                    <a:pt x="3664" y="176"/>
                  </a:lnTo>
                  <a:lnTo>
                    <a:pt x="3664" y="176"/>
                  </a:lnTo>
                  <a:lnTo>
                    <a:pt x="3664" y="176"/>
                  </a:lnTo>
                  <a:lnTo>
                    <a:pt x="3664" y="176"/>
                  </a:lnTo>
                  <a:lnTo>
                    <a:pt x="3664" y="172"/>
                  </a:lnTo>
                  <a:lnTo>
                    <a:pt x="3664" y="172"/>
                  </a:lnTo>
                  <a:lnTo>
                    <a:pt x="3668" y="172"/>
                  </a:lnTo>
                  <a:lnTo>
                    <a:pt x="3668" y="167"/>
                  </a:lnTo>
                  <a:lnTo>
                    <a:pt x="3668" y="167"/>
                  </a:lnTo>
                  <a:lnTo>
                    <a:pt x="3668" y="167"/>
                  </a:lnTo>
                  <a:lnTo>
                    <a:pt x="3668" y="167"/>
                  </a:lnTo>
                  <a:lnTo>
                    <a:pt x="3664" y="167"/>
                  </a:lnTo>
                  <a:lnTo>
                    <a:pt x="3659" y="167"/>
                  </a:lnTo>
                  <a:lnTo>
                    <a:pt x="3655" y="167"/>
                  </a:lnTo>
                  <a:lnTo>
                    <a:pt x="3655" y="167"/>
                  </a:lnTo>
                  <a:lnTo>
                    <a:pt x="3655" y="172"/>
                  </a:lnTo>
                  <a:lnTo>
                    <a:pt x="3650" y="172"/>
                  </a:lnTo>
                  <a:lnTo>
                    <a:pt x="3646" y="167"/>
                  </a:lnTo>
                  <a:lnTo>
                    <a:pt x="3646" y="172"/>
                  </a:lnTo>
                  <a:lnTo>
                    <a:pt x="3637" y="172"/>
                  </a:lnTo>
                  <a:lnTo>
                    <a:pt x="3637" y="172"/>
                  </a:lnTo>
                  <a:lnTo>
                    <a:pt x="3619" y="172"/>
                  </a:lnTo>
                  <a:lnTo>
                    <a:pt x="3614" y="172"/>
                  </a:lnTo>
                  <a:lnTo>
                    <a:pt x="3610" y="176"/>
                  </a:lnTo>
                  <a:lnTo>
                    <a:pt x="3610" y="176"/>
                  </a:lnTo>
                  <a:lnTo>
                    <a:pt x="3610" y="176"/>
                  </a:lnTo>
                  <a:lnTo>
                    <a:pt x="3610" y="176"/>
                  </a:lnTo>
                  <a:lnTo>
                    <a:pt x="3610" y="181"/>
                  </a:lnTo>
                  <a:lnTo>
                    <a:pt x="3610" y="181"/>
                  </a:lnTo>
                  <a:lnTo>
                    <a:pt x="3610" y="181"/>
                  </a:lnTo>
                  <a:lnTo>
                    <a:pt x="3614" y="181"/>
                  </a:lnTo>
                  <a:lnTo>
                    <a:pt x="3614" y="185"/>
                  </a:lnTo>
                  <a:lnTo>
                    <a:pt x="3614" y="185"/>
                  </a:lnTo>
                  <a:lnTo>
                    <a:pt x="3619" y="185"/>
                  </a:lnTo>
                  <a:lnTo>
                    <a:pt x="3619" y="185"/>
                  </a:lnTo>
                  <a:lnTo>
                    <a:pt x="3619" y="190"/>
                  </a:lnTo>
                  <a:lnTo>
                    <a:pt x="3619" y="190"/>
                  </a:lnTo>
                  <a:lnTo>
                    <a:pt x="3619" y="190"/>
                  </a:lnTo>
                  <a:lnTo>
                    <a:pt x="3623" y="190"/>
                  </a:lnTo>
                  <a:lnTo>
                    <a:pt x="3623" y="194"/>
                  </a:lnTo>
                  <a:lnTo>
                    <a:pt x="3623" y="194"/>
                  </a:lnTo>
                  <a:lnTo>
                    <a:pt x="3628" y="194"/>
                  </a:lnTo>
                  <a:lnTo>
                    <a:pt x="3632" y="199"/>
                  </a:lnTo>
                  <a:lnTo>
                    <a:pt x="3637" y="194"/>
                  </a:lnTo>
                  <a:lnTo>
                    <a:pt x="3637" y="199"/>
                  </a:lnTo>
                  <a:lnTo>
                    <a:pt x="3641" y="199"/>
                  </a:lnTo>
                  <a:lnTo>
                    <a:pt x="3641" y="199"/>
                  </a:lnTo>
                  <a:lnTo>
                    <a:pt x="3646" y="199"/>
                  </a:lnTo>
                  <a:lnTo>
                    <a:pt x="3646" y="199"/>
                  </a:lnTo>
                  <a:lnTo>
                    <a:pt x="3646" y="204"/>
                  </a:lnTo>
                  <a:lnTo>
                    <a:pt x="3655" y="204"/>
                  </a:lnTo>
                  <a:lnTo>
                    <a:pt x="3655" y="204"/>
                  </a:lnTo>
                  <a:lnTo>
                    <a:pt x="3659" y="204"/>
                  </a:lnTo>
                  <a:lnTo>
                    <a:pt x="3659" y="204"/>
                  </a:lnTo>
                  <a:lnTo>
                    <a:pt x="3664" y="208"/>
                  </a:lnTo>
                  <a:lnTo>
                    <a:pt x="3668" y="208"/>
                  </a:lnTo>
                  <a:lnTo>
                    <a:pt x="3668" y="208"/>
                  </a:lnTo>
                  <a:lnTo>
                    <a:pt x="3668" y="208"/>
                  </a:lnTo>
                  <a:lnTo>
                    <a:pt x="3668" y="213"/>
                  </a:lnTo>
                  <a:lnTo>
                    <a:pt x="3668" y="213"/>
                  </a:lnTo>
                  <a:lnTo>
                    <a:pt x="3668" y="217"/>
                  </a:lnTo>
                  <a:lnTo>
                    <a:pt x="3668" y="217"/>
                  </a:lnTo>
                  <a:lnTo>
                    <a:pt x="3673" y="222"/>
                  </a:lnTo>
                  <a:lnTo>
                    <a:pt x="3677" y="226"/>
                  </a:lnTo>
                  <a:lnTo>
                    <a:pt x="3682" y="226"/>
                  </a:lnTo>
                  <a:lnTo>
                    <a:pt x="3682" y="226"/>
                  </a:lnTo>
                  <a:lnTo>
                    <a:pt x="3686" y="231"/>
                  </a:lnTo>
                  <a:lnTo>
                    <a:pt x="3686" y="231"/>
                  </a:lnTo>
                  <a:lnTo>
                    <a:pt x="3686" y="231"/>
                  </a:lnTo>
                  <a:lnTo>
                    <a:pt x="3682" y="231"/>
                  </a:lnTo>
                  <a:lnTo>
                    <a:pt x="3682" y="235"/>
                  </a:lnTo>
                  <a:lnTo>
                    <a:pt x="3682" y="235"/>
                  </a:lnTo>
                  <a:lnTo>
                    <a:pt x="3682" y="235"/>
                  </a:lnTo>
                  <a:lnTo>
                    <a:pt x="3682" y="235"/>
                  </a:lnTo>
                  <a:lnTo>
                    <a:pt x="3682" y="235"/>
                  </a:lnTo>
                  <a:lnTo>
                    <a:pt x="3682" y="235"/>
                  </a:lnTo>
                  <a:lnTo>
                    <a:pt x="3682" y="235"/>
                  </a:lnTo>
                  <a:lnTo>
                    <a:pt x="3677" y="235"/>
                  </a:lnTo>
                  <a:lnTo>
                    <a:pt x="3677" y="235"/>
                  </a:lnTo>
                  <a:lnTo>
                    <a:pt x="3677" y="235"/>
                  </a:lnTo>
                  <a:lnTo>
                    <a:pt x="3677" y="231"/>
                  </a:lnTo>
                  <a:lnTo>
                    <a:pt x="3677" y="226"/>
                  </a:lnTo>
                  <a:lnTo>
                    <a:pt x="3673" y="226"/>
                  </a:lnTo>
                  <a:lnTo>
                    <a:pt x="3673" y="222"/>
                  </a:lnTo>
                  <a:lnTo>
                    <a:pt x="3673" y="222"/>
                  </a:lnTo>
                  <a:lnTo>
                    <a:pt x="3668" y="222"/>
                  </a:lnTo>
                  <a:lnTo>
                    <a:pt x="3668" y="222"/>
                  </a:lnTo>
                  <a:lnTo>
                    <a:pt x="3668" y="222"/>
                  </a:lnTo>
                  <a:lnTo>
                    <a:pt x="3668" y="226"/>
                  </a:lnTo>
                  <a:lnTo>
                    <a:pt x="3668" y="231"/>
                  </a:lnTo>
                  <a:lnTo>
                    <a:pt x="3668" y="231"/>
                  </a:lnTo>
                  <a:lnTo>
                    <a:pt x="3668" y="231"/>
                  </a:lnTo>
                  <a:lnTo>
                    <a:pt x="3668" y="231"/>
                  </a:lnTo>
                  <a:lnTo>
                    <a:pt x="3668" y="231"/>
                  </a:lnTo>
                  <a:lnTo>
                    <a:pt x="3668" y="226"/>
                  </a:lnTo>
                  <a:lnTo>
                    <a:pt x="3664" y="226"/>
                  </a:lnTo>
                  <a:lnTo>
                    <a:pt x="3664" y="226"/>
                  </a:lnTo>
                  <a:lnTo>
                    <a:pt x="3664" y="222"/>
                  </a:lnTo>
                  <a:lnTo>
                    <a:pt x="3659" y="222"/>
                  </a:lnTo>
                  <a:lnTo>
                    <a:pt x="3659" y="222"/>
                  </a:lnTo>
                  <a:lnTo>
                    <a:pt x="3659" y="217"/>
                  </a:lnTo>
                  <a:lnTo>
                    <a:pt x="3659" y="217"/>
                  </a:lnTo>
                  <a:lnTo>
                    <a:pt x="3659" y="217"/>
                  </a:lnTo>
                  <a:lnTo>
                    <a:pt x="3664" y="213"/>
                  </a:lnTo>
                  <a:lnTo>
                    <a:pt x="3664" y="213"/>
                  </a:lnTo>
                  <a:lnTo>
                    <a:pt x="3664" y="208"/>
                  </a:lnTo>
                  <a:lnTo>
                    <a:pt x="3664" y="208"/>
                  </a:lnTo>
                  <a:lnTo>
                    <a:pt x="3664" y="208"/>
                  </a:lnTo>
                  <a:lnTo>
                    <a:pt x="3659" y="208"/>
                  </a:lnTo>
                  <a:lnTo>
                    <a:pt x="3659" y="208"/>
                  </a:lnTo>
                  <a:lnTo>
                    <a:pt x="3655" y="208"/>
                  </a:lnTo>
                  <a:lnTo>
                    <a:pt x="3655" y="208"/>
                  </a:lnTo>
                  <a:lnTo>
                    <a:pt x="3650" y="208"/>
                  </a:lnTo>
                  <a:lnTo>
                    <a:pt x="3646" y="208"/>
                  </a:lnTo>
                  <a:lnTo>
                    <a:pt x="3641" y="208"/>
                  </a:lnTo>
                  <a:lnTo>
                    <a:pt x="3632" y="204"/>
                  </a:lnTo>
                  <a:lnTo>
                    <a:pt x="3632" y="204"/>
                  </a:lnTo>
                  <a:lnTo>
                    <a:pt x="3632" y="204"/>
                  </a:lnTo>
                  <a:lnTo>
                    <a:pt x="3628" y="204"/>
                  </a:lnTo>
                  <a:lnTo>
                    <a:pt x="3628" y="199"/>
                  </a:lnTo>
                  <a:lnTo>
                    <a:pt x="3619" y="199"/>
                  </a:lnTo>
                  <a:lnTo>
                    <a:pt x="3614" y="199"/>
                  </a:lnTo>
                  <a:lnTo>
                    <a:pt x="3601" y="199"/>
                  </a:lnTo>
                  <a:lnTo>
                    <a:pt x="3601" y="199"/>
                  </a:lnTo>
                  <a:lnTo>
                    <a:pt x="3596" y="199"/>
                  </a:lnTo>
                  <a:lnTo>
                    <a:pt x="3596" y="199"/>
                  </a:lnTo>
                  <a:lnTo>
                    <a:pt x="3596" y="204"/>
                  </a:lnTo>
                  <a:lnTo>
                    <a:pt x="3592" y="204"/>
                  </a:lnTo>
                  <a:lnTo>
                    <a:pt x="3596" y="204"/>
                  </a:lnTo>
                  <a:lnTo>
                    <a:pt x="3596" y="204"/>
                  </a:lnTo>
                  <a:lnTo>
                    <a:pt x="3596" y="204"/>
                  </a:lnTo>
                  <a:lnTo>
                    <a:pt x="3596" y="204"/>
                  </a:lnTo>
                  <a:lnTo>
                    <a:pt x="3601" y="204"/>
                  </a:lnTo>
                  <a:lnTo>
                    <a:pt x="3601" y="204"/>
                  </a:lnTo>
                  <a:lnTo>
                    <a:pt x="3605" y="208"/>
                  </a:lnTo>
                  <a:lnTo>
                    <a:pt x="3605" y="208"/>
                  </a:lnTo>
                  <a:lnTo>
                    <a:pt x="3601" y="208"/>
                  </a:lnTo>
                  <a:lnTo>
                    <a:pt x="3601" y="208"/>
                  </a:lnTo>
                  <a:lnTo>
                    <a:pt x="3592" y="204"/>
                  </a:lnTo>
                  <a:lnTo>
                    <a:pt x="3592" y="204"/>
                  </a:lnTo>
                  <a:lnTo>
                    <a:pt x="3587" y="208"/>
                  </a:lnTo>
                  <a:lnTo>
                    <a:pt x="3583" y="208"/>
                  </a:lnTo>
                  <a:lnTo>
                    <a:pt x="3583" y="208"/>
                  </a:lnTo>
                  <a:lnTo>
                    <a:pt x="3583" y="208"/>
                  </a:lnTo>
                  <a:lnTo>
                    <a:pt x="3587" y="213"/>
                  </a:lnTo>
                  <a:lnTo>
                    <a:pt x="3587" y="213"/>
                  </a:lnTo>
                  <a:lnTo>
                    <a:pt x="3592" y="213"/>
                  </a:lnTo>
                  <a:lnTo>
                    <a:pt x="3596" y="217"/>
                  </a:lnTo>
                  <a:lnTo>
                    <a:pt x="3601" y="217"/>
                  </a:lnTo>
                  <a:lnTo>
                    <a:pt x="3605" y="217"/>
                  </a:lnTo>
                  <a:lnTo>
                    <a:pt x="3610" y="217"/>
                  </a:lnTo>
                  <a:lnTo>
                    <a:pt x="3610" y="217"/>
                  </a:lnTo>
                  <a:lnTo>
                    <a:pt x="3614" y="217"/>
                  </a:lnTo>
                  <a:lnTo>
                    <a:pt x="3619" y="222"/>
                  </a:lnTo>
                  <a:lnTo>
                    <a:pt x="3619" y="222"/>
                  </a:lnTo>
                  <a:lnTo>
                    <a:pt x="3623" y="222"/>
                  </a:lnTo>
                  <a:lnTo>
                    <a:pt x="3623" y="222"/>
                  </a:lnTo>
                  <a:lnTo>
                    <a:pt x="3623" y="222"/>
                  </a:lnTo>
                  <a:lnTo>
                    <a:pt x="3623" y="222"/>
                  </a:lnTo>
                  <a:lnTo>
                    <a:pt x="3628" y="222"/>
                  </a:lnTo>
                  <a:lnTo>
                    <a:pt x="3628" y="222"/>
                  </a:lnTo>
                  <a:lnTo>
                    <a:pt x="3628" y="226"/>
                  </a:lnTo>
                  <a:lnTo>
                    <a:pt x="3623" y="226"/>
                  </a:lnTo>
                  <a:lnTo>
                    <a:pt x="3619" y="226"/>
                  </a:lnTo>
                  <a:lnTo>
                    <a:pt x="3614" y="222"/>
                  </a:lnTo>
                  <a:lnTo>
                    <a:pt x="3610" y="222"/>
                  </a:lnTo>
                  <a:lnTo>
                    <a:pt x="3601" y="222"/>
                  </a:lnTo>
                  <a:lnTo>
                    <a:pt x="3601" y="222"/>
                  </a:lnTo>
                  <a:lnTo>
                    <a:pt x="3601" y="222"/>
                  </a:lnTo>
                  <a:lnTo>
                    <a:pt x="3592" y="222"/>
                  </a:lnTo>
                  <a:lnTo>
                    <a:pt x="3587" y="222"/>
                  </a:lnTo>
                  <a:lnTo>
                    <a:pt x="3583" y="217"/>
                  </a:lnTo>
                  <a:lnTo>
                    <a:pt x="3583" y="217"/>
                  </a:lnTo>
                  <a:lnTo>
                    <a:pt x="3578" y="217"/>
                  </a:lnTo>
                  <a:lnTo>
                    <a:pt x="3583" y="217"/>
                  </a:lnTo>
                  <a:lnTo>
                    <a:pt x="3583" y="217"/>
                  </a:lnTo>
                  <a:lnTo>
                    <a:pt x="3578" y="213"/>
                  </a:lnTo>
                  <a:lnTo>
                    <a:pt x="3573" y="208"/>
                  </a:lnTo>
                  <a:lnTo>
                    <a:pt x="3573" y="208"/>
                  </a:lnTo>
                  <a:lnTo>
                    <a:pt x="3573" y="208"/>
                  </a:lnTo>
                  <a:lnTo>
                    <a:pt x="3573" y="204"/>
                  </a:lnTo>
                  <a:lnTo>
                    <a:pt x="3573" y="204"/>
                  </a:lnTo>
                  <a:lnTo>
                    <a:pt x="3573" y="204"/>
                  </a:lnTo>
                  <a:lnTo>
                    <a:pt x="3573" y="199"/>
                  </a:lnTo>
                  <a:lnTo>
                    <a:pt x="3573" y="199"/>
                  </a:lnTo>
                  <a:lnTo>
                    <a:pt x="3573" y="199"/>
                  </a:lnTo>
                  <a:lnTo>
                    <a:pt x="3569" y="199"/>
                  </a:lnTo>
                  <a:lnTo>
                    <a:pt x="3569" y="199"/>
                  </a:lnTo>
                  <a:lnTo>
                    <a:pt x="3569" y="194"/>
                  </a:lnTo>
                  <a:lnTo>
                    <a:pt x="3564" y="194"/>
                  </a:lnTo>
                  <a:lnTo>
                    <a:pt x="3564" y="190"/>
                  </a:lnTo>
                  <a:lnTo>
                    <a:pt x="3560" y="190"/>
                  </a:lnTo>
                  <a:lnTo>
                    <a:pt x="3560" y="190"/>
                  </a:lnTo>
                  <a:lnTo>
                    <a:pt x="3555" y="190"/>
                  </a:lnTo>
                  <a:lnTo>
                    <a:pt x="3555" y="190"/>
                  </a:lnTo>
                  <a:lnTo>
                    <a:pt x="3560" y="194"/>
                  </a:lnTo>
                  <a:lnTo>
                    <a:pt x="3560" y="194"/>
                  </a:lnTo>
                  <a:lnTo>
                    <a:pt x="3564" y="194"/>
                  </a:lnTo>
                  <a:lnTo>
                    <a:pt x="3564" y="199"/>
                  </a:lnTo>
                  <a:lnTo>
                    <a:pt x="3569" y="204"/>
                  </a:lnTo>
                  <a:lnTo>
                    <a:pt x="3569" y="204"/>
                  </a:lnTo>
                  <a:lnTo>
                    <a:pt x="3569" y="204"/>
                  </a:lnTo>
                  <a:lnTo>
                    <a:pt x="3564" y="204"/>
                  </a:lnTo>
                  <a:lnTo>
                    <a:pt x="3564" y="208"/>
                  </a:lnTo>
                  <a:lnTo>
                    <a:pt x="3564" y="208"/>
                  </a:lnTo>
                  <a:lnTo>
                    <a:pt x="3560" y="208"/>
                  </a:lnTo>
                  <a:lnTo>
                    <a:pt x="3555" y="208"/>
                  </a:lnTo>
                  <a:lnTo>
                    <a:pt x="3555" y="217"/>
                  </a:lnTo>
                  <a:lnTo>
                    <a:pt x="3555" y="217"/>
                  </a:lnTo>
                  <a:lnTo>
                    <a:pt x="3560" y="222"/>
                  </a:lnTo>
                  <a:lnTo>
                    <a:pt x="3564" y="222"/>
                  </a:lnTo>
                  <a:lnTo>
                    <a:pt x="3564" y="222"/>
                  </a:lnTo>
                  <a:lnTo>
                    <a:pt x="3569" y="226"/>
                  </a:lnTo>
                  <a:lnTo>
                    <a:pt x="3578" y="231"/>
                  </a:lnTo>
                  <a:lnTo>
                    <a:pt x="3583" y="235"/>
                  </a:lnTo>
                  <a:lnTo>
                    <a:pt x="3583" y="235"/>
                  </a:lnTo>
                  <a:lnTo>
                    <a:pt x="3578" y="240"/>
                  </a:lnTo>
                  <a:lnTo>
                    <a:pt x="3578" y="240"/>
                  </a:lnTo>
                  <a:lnTo>
                    <a:pt x="3583" y="249"/>
                  </a:lnTo>
                  <a:lnTo>
                    <a:pt x="3583" y="249"/>
                  </a:lnTo>
                  <a:lnTo>
                    <a:pt x="3583" y="253"/>
                  </a:lnTo>
                  <a:lnTo>
                    <a:pt x="3587" y="253"/>
                  </a:lnTo>
                  <a:lnTo>
                    <a:pt x="3592" y="253"/>
                  </a:lnTo>
                  <a:lnTo>
                    <a:pt x="3592" y="258"/>
                  </a:lnTo>
                  <a:lnTo>
                    <a:pt x="3592" y="258"/>
                  </a:lnTo>
                  <a:lnTo>
                    <a:pt x="3596" y="262"/>
                  </a:lnTo>
                  <a:lnTo>
                    <a:pt x="3596" y="258"/>
                  </a:lnTo>
                  <a:lnTo>
                    <a:pt x="3605" y="262"/>
                  </a:lnTo>
                  <a:lnTo>
                    <a:pt x="3605" y="258"/>
                  </a:lnTo>
                  <a:lnTo>
                    <a:pt x="3610" y="258"/>
                  </a:lnTo>
                  <a:lnTo>
                    <a:pt x="3610" y="258"/>
                  </a:lnTo>
                  <a:lnTo>
                    <a:pt x="3614" y="258"/>
                  </a:lnTo>
                  <a:lnTo>
                    <a:pt x="3623" y="258"/>
                  </a:lnTo>
                  <a:lnTo>
                    <a:pt x="3632" y="262"/>
                  </a:lnTo>
                  <a:lnTo>
                    <a:pt x="3637" y="262"/>
                  </a:lnTo>
                  <a:lnTo>
                    <a:pt x="3637" y="262"/>
                  </a:lnTo>
                  <a:lnTo>
                    <a:pt x="3641" y="267"/>
                  </a:lnTo>
                  <a:lnTo>
                    <a:pt x="3646" y="271"/>
                  </a:lnTo>
                  <a:lnTo>
                    <a:pt x="3650" y="271"/>
                  </a:lnTo>
                  <a:lnTo>
                    <a:pt x="3650" y="276"/>
                  </a:lnTo>
                  <a:lnTo>
                    <a:pt x="3650" y="276"/>
                  </a:lnTo>
                  <a:lnTo>
                    <a:pt x="3646" y="276"/>
                  </a:lnTo>
                  <a:lnTo>
                    <a:pt x="3646" y="276"/>
                  </a:lnTo>
                  <a:lnTo>
                    <a:pt x="3646" y="280"/>
                  </a:lnTo>
                  <a:lnTo>
                    <a:pt x="3650" y="280"/>
                  </a:lnTo>
                  <a:lnTo>
                    <a:pt x="3650" y="285"/>
                  </a:lnTo>
                  <a:lnTo>
                    <a:pt x="3659" y="285"/>
                  </a:lnTo>
                  <a:lnTo>
                    <a:pt x="3664" y="285"/>
                  </a:lnTo>
                  <a:lnTo>
                    <a:pt x="3668" y="285"/>
                  </a:lnTo>
                  <a:lnTo>
                    <a:pt x="3668" y="285"/>
                  </a:lnTo>
                  <a:lnTo>
                    <a:pt x="3668" y="285"/>
                  </a:lnTo>
                  <a:lnTo>
                    <a:pt x="3664" y="285"/>
                  </a:lnTo>
                  <a:lnTo>
                    <a:pt x="3659" y="285"/>
                  </a:lnTo>
                  <a:lnTo>
                    <a:pt x="3655" y="285"/>
                  </a:lnTo>
                  <a:lnTo>
                    <a:pt x="3655" y="285"/>
                  </a:lnTo>
                  <a:lnTo>
                    <a:pt x="3655" y="285"/>
                  </a:lnTo>
                  <a:lnTo>
                    <a:pt x="3650" y="285"/>
                  </a:lnTo>
                  <a:lnTo>
                    <a:pt x="3650" y="285"/>
                  </a:lnTo>
                  <a:lnTo>
                    <a:pt x="3646" y="285"/>
                  </a:lnTo>
                  <a:lnTo>
                    <a:pt x="3646" y="280"/>
                  </a:lnTo>
                  <a:lnTo>
                    <a:pt x="3641" y="271"/>
                  </a:lnTo>
                  <a:lnTo>
                    <a:pt x="3637" y="271"/>
                  </a:lnTo>
                  <a:lnTo>
                    <a:pt x="3637" y="267"/>
                  </a:lnTo>
                  <a:lnTo>
                    <a:pt x="3628" y="267"/>
                  </a:lnTo>
                  <a:lnTo>
                    <a:pt x="3628" y="262"/>
                  </a:lnTo>
                  <a:lnTo>
                    <a:pt x="3623" y="262"/>
                  </a:lnTo>
                  <a:lnTo>
                    <a:pt x="3623" y="262"/>
                  </a:lnTo>
                  <a:lnTo>
                    <a:pt x="3619" y="262"/>
                  </a:lnTo>
                  <a:lnTo>
                    <a:pt x="3614" y="262"/>
                  </a:lnTo>
                  <a:lnTo>
                    <a:pt x="3610" y="262"/>
                  </a:lnTo>
                  <a:lnTo>
                    <a:pt x="3605" y="267"/>
                  </a:lnTo>
                  <a:lnTo>
                    <a:pt x="3605" y="267"/>
                  </a:lnTo>
                  <a:lnTo>
                    <a:pt x="3605" y="271"/>
                  </a:lnTo>
                  <a:lnTo>
                    <a:pt x="3610" y="276"/>
                  </a:lnTo>
                  <a:lnTo>
                    <a:pt x="3614" y="276"/>
                  </a:lnTo>
                  <a:lnTo>
                    <a:pt x="3614" y="280"/>
                  </a:lnTo>
                  <a:lnTo>
                    <a:pt x="3619" y="280"/>
                  </a:lnTo>
                  <a:lnTo>
                    <a:pt x="3619" y="280"/>
                  </a:lnTo>
                  <a:lnTo>
                    <a:pt x="3619" y="285"/>
                  </a:lnTo>
                  <a:lnTo>
                    <a:pt x="3619" y="285"/>
                  </a:lnTo>
                  <a:lnTo>
                    <a:pt x="3614" y="289"/>
                  </a:lnTo>
                  <a:lnTo>
                    <a:pt x="3614" y="294"/>
                  </a:lnTo>
                  <a:lnTo>
                    <a:pt x="3619" y="298"/>
                  </a:lnTo>
                  <a:lnTo>
                    <a:pt x="3619" y="298"/>
                  </a:lnTo>
                  <a:lnTo>
                    <a:pt x="3614" y="303"/>
                  </a:lnTo>
                  <a:lnTo>
                    <a:pt x="3614" y="303"/>
                  </a:lnTo>
                  <a:lnTo>
                    <a:pt x="3605" y="308"/>
                  </a:lnTo>
                  <a:lnTo>
                    <a:pt x="3605" y="308"/>
                  </a:lnTo>
                  <a:lnTo>
                    <a:pt x="3605" y="312"/>
                  </a:lnTo>
                  <a:lnTo>
                    <a:pt x="3605" y="312"/>
                  </a:lnTo>
                  <a:lnTo>
                    <a:pt x="3601" y="317"/>
                  </a:lnTo>
                  <a:lnTo>
                    <a:pt x="3596" y="312"/>
                  </a:lnTo>
                  <a:lnTo>
                    <a:pt x="3596" y="312"/>
                  </a:lnTo>
                  <a:lnTo>
                    <a:pt x="3592" y="312"/>
                  </a:lnTo>
                  <a:lnTo>
                    <a:pt x="3583" y="312"/>
                  </a:lnTo>
                  <a:lnTo>
                    <a:pt x="3578" y="312"/>
                  </a:lnTo>
                  <a:lnTo>
                    <a:pt x="3573" y="312"/>
                  </a:lnTo>
                  <a:lnTo>
                    <a:pt x="3569" y="312"/>
                  </a:lnTo>
                  <a:lnTo>
                    <a:pt x="3569" y="308"/>
                  </a:lnTo>
                  <a:lnTo>
                    <a:pt x="3564" y="308"/>
                  </a:lnTo>
                  <a:lnTo>
                    <a:pt x="3564" y="308"/>
                  </a:lnTo>
                  <a:lnTo>
                    <a:pt x="3564" y="308"/>
                  </a:lnTo>
                  <a:lnTo>
                    <a:pt x="3564" y="308"/>
                  </a:lnTo>
                  <a:lnTo>
                    <a:pt x="3564" y="308"/>
                  </a:lnTo>
                  <a:lnTo>
                    <a:pt x="3564" y="303"/>
                  </a:lnTo>
                  <a:lnTo>
                    <a:pt x="3569" y="303"/>
                  </a:lnTo>
                  <a:lnTo>
                    <a:pt x="3573" y="303"/>
                  </a:lnTo>
                  <a:lnTo>
                    <a:pt x="3573" y="303"/>
                  </a:lnTo>
                  <a:lnTo>
                    <a:pt x="3573" y="308"/>
                  </a:lnTo>
                  <a:lnTo>
                    <a:pt x="3578" y="308"/>
                  </a:lnTo>
                  <a:lnTo>
                    <a:pt x="3583" y="308"/>
                  </a:lnTo>
                  <a:lnTo>
                    <a:pt x="3583" y="308"/>
                  </a:lnTo>
                  <a:lnTo>
                    <a:pt x="3583" y="308"/>
                  </a:lnTo>
                  <a:lnTo>
                    <a:pt x="3583" y="308"/>
                  </a:lnTo>
                  <a:lnTo>
                    <a:pt x="3583" y="308"/>
                  </a:lnTo>
                  <a:lnTo>
                    <a:pt x="3583" y="308"/>
                  </a:lnTo>
                  <a:lnTo>
                    <a:pt x="3583" y="308"/>
                  </a:lnTo>
                  <a:lnTo>
                    <a:pt x="3583" y="308"/>
                  </a:lnTo>
                  <a:lnTo>
                    <a:pt x="3583" y="308"/>
                  </a:lnTo>
                  <a:lnTo>
                    <a:pt x="3587" y="312"/>
                  </a:lnTo>
                  <a:lnTo>
                    <a:pt x="3587" y="308"/>
                  </a:lnTo>
                  <a:lnTo>
                    <a:pt x="3587" y="308"/>
                  </a:lnTo>
                  <a:lnTo>
                    <a:pt x="3592" y="308"/>
                  </a:lnTo>
                  <a:lnTo>
                    <a:pt x="3592" y="308"/>
                  </a:lnTo>
                  <a:lnTo>
                    <a:pt x="3592" y="303"/>
                  </a:lnTo>
                  <a:lnTo>
                    <a:pt x="3592" y="303"/>
                  </a:lnTo>
                  <a:lnTo>
                    <a:pt x="3587" y="303"/>
                  </a:lnTo>
                  <a:lnTo>
                    <a:pt x="3592" y="303"/>
                  </a:lnTo>
                  <a:lnTo>
                    <a:pt x="3592" y="298"/>
                  </a:lnTo>
                  <a:lnTo>
                    <a:pt x="3596" y="289"/>
                  </a:lnTo>
                  <a:lnTo>
                    <a:pt x="3601" y="285"/>
                  </a:lnTo>
                  <a:lnTo>
                    <a:pt x="3601" y="285"/>
                  </a:lnTo>
                  <a:lnTo>
                    <a:pt x="3601" y="285"/>
                  </a:lnTo>
                  <a:lnTo>
                    <a:pt x="3596" y="280"/>
                  </a:lnTo>
                  <a:lnTo>
                    <a:pt x="3596" y="280"/>
                  </a:lnTo>
                  <a:lnTo>
                    <a:pt x="3596" y="276"/>
                  </a:lnTo>
                  <a:lnTo>
                    <a:pt x="3596" y="276"/>
                  </a:lnTo>
                  <a:lnTo>
                    <a:pt x="3596" y="271"/>
                  </a:lnTo>
                  <a:lnTo>
                    <a:pt x="3596" y="271"/>
                  </a:lnTo>
                  <a:lnTo>
                    <a:pt x="3596" y="271"/>
                  </a:lnTo>
                  <a:lnTo>
                    <a:pt x="3596" y="271"/>
                  </a:lnTo>
                  <a:lnTo>
                    <a:pt x="3592" y="267"/>
                  </a:lnTo>
                  <a:lnTo>
                    <a:pt x="3583" y="267"/>
                  </a:lnTo>
                  <a:lnTo>
                    <a:pt x="3583" y="267"/>
                  </a:lnTo>
                  <a:lnTo>
                    <a:pt x="3578" y="262"/>
                  </a:lnTo>
                  <a:lnTo>
                    <a:pt x="3578" y="262"/>
                  </a:lnTo>
                  <a:lnTo>
                    <a:pt x="3578" y="262"/>
                  </a:lnTo>
                  <a:lnTo>
                    <a:pt x="3573" y="258"/>
                  </a:lnTo>
                  <a:lnTo>
                    <a:pt x="3573" y="253"/>
                  </a:lnTo>
                  <a:lnTo>
                    <a:pt x="3569" y="249"/>
                  </a:lnTo>
                  <a:lnTo>
                    <a:pt x="3564" y="240"/>
                  </a:lnTo>
                  <a:lnTo>
                    <a:pt x="3564" y="240"/>
                  </a:lnTo>
                  <a:lnTo>
                    <a:pt x="3564" y="240"/>
                  </a:lnTo>
                  <a:lnTo>
                    <a:pt x="3564" y="235"/>
                  </a:lnTo>
                  <a:lnTo>
                    <a:pt x="3564" y="235"/>
                  </a:lnTo>
                  <a:lnTo>
                    <a:pt x="3560" y="231"/>
                  </a:lnTo>
                  <a:lnTo>
                    <a:pt x="3555" y="226"/>
                  </a:lnTo>
                  <a:lnTo>
                    <a:pt x="3555" y="222"/>
                  </a:lnTo>
                  <a:lnTo>
                    <a:pt x="3546" y="222"/>
                  </a:lnTo>
                  <a:lnTo>
                    <a:pt x="3542" y="217"/>
                  </a:lnTo>
                  <a:lnTo>
                    <a:pt x="3542" y="217"/>
                  </a:lnTo>
                  <a:lnTo>
                    <a:pt x="3542" y="217"/>
                  </a:lnTo>
                  <a:lnTo>
                    <a:pt x="3542" y="217"/>
                  </a:lnTo>
                  <a:lnTo>
                    <a:pt x="3542" y="213"/>
                  </a:lnTo>
                  <a:lnTo>
                    <a:pt x="3542" y="213"/>
                  </a:lnTo>
                  <a:lnTo>
                    <a:pt x="3542" y="208"/>
                  </a:lnTo>
                  <a:lnTo>
                    <a:pt x="3542" y="208"/>
                  </a:lnTo>
                  <a:lnTo>
                    <a:pt x="3542" y="204"/>
                  </a:lnTo>
                  <a:lnTo>
                    <a:pt x="3542" y="199"/>
                  </a:lnTo>
                  <a:lnTo>
                    <a:pt x="3537" y="194"/>
                  </a:lnTo>
                  <a:lnTo>
                    <a:pt x="3533" y="194"/>
                  </a:lnTo>
                  <a:lnTo>
                    <a:pt x="3533" y="194"/>
                  </a:lnTo>
                  <a:lnTo>
                    <a:pt x="3528" y="194"/>
                  </a:lnTo>
                  <a:lnTo>
                    <a:pt x="3528" y="194"/>
                  </a:lnTo>
                  <a:lnTo>
                    <a:pt x="3524" y="190"/>
                  </a:lnTo>
                  <a:lnTo>
                    <a:pt x="3519" y="190"/>
                  </a:lnTo>
                  <a:lnTo>
                    <a:pt x="3510" y="194"/>
                  </a:lnTo>
                  <a:lnTo>
                    <a:pt x="3506" y="194"/>
                  </a:lnTo>
                  <a:lnTo>
                    <a:pt x="3506" y="194"/>
                  </a:lnTo>
                  <a:lnTo>
                    <a:pt x="3501" y="194"/>
                  </a:lnTo>
                  <a:lnTo>
                    <a:pt x="3501" y="194"/>
                  </a:lnTo>
                  <a:lnTo>
                    <a:pt x="3501" y="190"/>
                  </a:lnTo>
                  <a:lnTo>
                    <a:pt x="3501" y="190"/>
                  </a:lnTo>
                  <a:lnTo>
                    <a:pt x="3501" y="190"/>
                  </a:lnTo>
                  <a:lnTo>
                    <a:pt x="3501" y="190"/>
                  </a:lnTo>
                  <a:lnTo>
                    <a:pt x="3497" y="190"/>
                  </a:lnTo>
                  <a:lnTo>
                    <a:pt x="3497" y="199"/>
                  </a:lnTo>
                  <a:lnTo>
                    <a:pt x="3497" y="204"/>
                  </a:lnTo>
                  <a:lnTo>
                    <a:pt x="3501" y="208"/>
                  </a:lnTo>
                  <a:lnTo>
                    <a:pt x="3501" y="213"/>
                  </a:lnTo>
                  <a:lnTo>
                    <a:pt x="3501" y="217"/>
                  </a:lnTo>
                  <a:lnTo>
                    <a:pt x="3497" y="217"/>
                  </a:lnTo>
                  <a:lnTo>
                    <a:pt x="3497" y="222"/>
                  </a:lnTo>
                  <a:lnTo>
                    <a:pt x="3492" y="222"/>
                  </a:lnTo>
                  <a:lnTo>
                    <a:pt x="3492" y="222"/>
                  </a:lnTo>
                  <a:lnTo>
                    <a:pt x="3492" y="226"/>
                  </a:lnTo>
                  <a:lnTo>
                    <a:pt x="3488" y="226"/>
                  </a:lnTo>
                  <a:lnTo>
                    <a:pt x="3492" y="226"/>
                  </a:lnTo>
                  <a:lnTo>
                    <a:pt x="3492" y="226"/>
                  </a:lnTo>
                  <a:lnTo>
                    <a:pt x="3492" y="231"/>
                  </a:lnTo>
                  <a:lnTo>
                    <a:pt x="3492" y="231"/>
                  </a:lnTo>
                  <a:lnTo>
                    <a:pt x="3492" y="231"/>
                  </a:lnTo>
                  <a:lnTo>
                    <a:pt x="3492" y="231"/>
                  </a:lnTo>
                  <a:lnTo>
                    <a:pt x="3497" y="231"/>
                  </a:lnTo>
                  <a:lnTo>
                    <a:pt x="3497" y="231"/>
                  </a:lnTo>
                  <a:lnTo>
                    <a:pt x="3497" y="231"/>
                  </a:lnTo>
                  <a:lnTo>
                    <a:pt x="3501" y="235"/>
                  </a:lnTo>
                  <a:lnTo>
                    <a:pt x="3501" y="240"/>
                  </a:lnTo>
                  <a:lnTo>
                    <a:pt x="3506" y="240"/>
                  </a:lnTo>
                  <a:lnTo>
                    <a:pt x="3506" y="244"/>
                  </a:lnTo>
                  <a:lnTo>
                    <a:pt x="3506" y="244"/>
                  </a:lnTo>
                  <a:lnTo>
                    <a:pt x="3506" y="244"/>
                  </a:lnTo>
                  <a:lnTo>
                    <a:pt x="3506" y="249"/>
                  </a:lnTo>
                  <a:lnTo>
                    <a:pt x="3506" y="249"/>
                  </a:lnTo>
                  <a:lnTo>
                    <a:pt x="3506" y="249"/>
                  </a:lnTo>
                  <a:lnTo>
                    <a:pt x="3506" y="249"/>
                  </a:lnTo>
                  <a:lnTo>
                    <a:pt x="3506" y="253"/>
                  </a:lnTo>
                  <a:lnTo>
                    <a:pt x="3506" y="253"/>
                  </a:lnTo>
                  <a:lnTo>
                    <a:pt x="3506" y="253"/>
                  </a:lnTo>
                  <a:lnTo>
                    <a:pt x="3510" y="258"/>
                  </a:lnTo>
                  <a:lnTo>
                    <a:pt x="3510" y="253"/>
                  </a:lnTo>
                  <a:lnTo>
                    <a:pt x="3510" y="253"/>
                  </a:lnTo>
                  <a:lnTo>
                    <a:pt x="3510" y="253"/>
                  </a:lnTo>
                  <a:lnTo>
                    <a:pt x="3515" y="253"/>
                  </a:lnTo>
                  <a:lnTo>
                    <a:pt x="3519" y="258"/>
                  </a:lnTo>
                  <a:lnTo>
                    <a:pt x="3524" y="258"/>
                  </a:lnTo>
                  <a:lnTo>
                    <a:pt x="3524" y="258"/>
                  </a:lnTo>
                  <a:lnTo>
                    <a:pt x="3528" y="262"/>
                  </a:lnTo>
                  <a:lnTo>
                    <a:pt x="3533" y="262"/>
                  </a:lnTo>
                  <a:lnTo>
                    <a:pt x="3533" y="267"/>
                  </a:lnTo>
                  <a:lnTo>
                    <a:pt x="3537" y="267"/>
                  </a:lnTo>
                  <a:lnTo>
                    <a:pt x="3537" y="267"/>
                  </a:lnTo>
                  <a:lnTo>
                    <a:pt x="3537" y="267"/>
                  </a:lnTo>
                  <a:lnTo>
                    <a:pt x="3542" y="267"/>
                  </a:lnTo>
                  <a:lnTo>
                    <a:pt x="3542" y="267"/>
                  </a:lnTo>
                  <a:lnTo>
                    <a:pt x="3542" y="271"/>
                  </a:lnTo>
                  <a:lnTo>
                    <a:pt x="3542" y="276"/>
                  </a:lnTo>
                  <a:lnTo>
                    <a:pt x="3537" y="276"/>
                  </a:lnTo>
                  <a:lnTo>
                    <a:pt x="3537" y="276"/>
                  </a:lnTo>
                  <a:lnTo>
                    <a:pt x="3528" y="276"/>
                  </a:lnTo>
                  <a:lnTo>
                    <a:pt x="3528" y="271"/>
                  </a:lnTo>
                  <a:lnTo>
                    <a:pt x="3519" y="271"/>
                  </a:lnTo>
                  <a:lnTo>
                    <a:pt x="3519" y="267"/>
                  </a:lnTo>
                  <a:lnTo>
                    <a:pt x="3515" y="267"/>
                  </a:lnTo>
                  <a:lnTo>
                    <a:pt x="3510" y="267"/>
                  </a:lnTo>
                  <a:lnTo>
                    <a:pt x="3506" y="267"/>
                  </a:lnTo>
                  <a:lnTo>
                    <a:pt x="3501" y="267"/>
                  </a:lnTo>
                  <a:lnTo>
                    <a:pt x="3501" y="262"/>
                  </a:lnTo>
                  <a:lnTo>
                    <a:pt x="3497" y="262"/>
                  </a:lnTo>
                  <a:lnTo>
                    <a:pt x="3497" y="262"/>
                  </a:lnTo>
                  <a:lnTo>
                    <a:pt x="3492" y="262"/>
                  </a:lnTo>
                  <a:lnTo>
                    <a:pt x="3488" y="262"/>
                  </a:lnTo>
                  <a:lnTo>
                    <a:pt x="3488" y="262"/>
                  </a:lnTo>
                  <a:lnTo>
                    <a:pt x="3483" y="258"/>
                  </a:lnTo>
                  <a:lnTo>
                    <a:pt x="3479" y="258"/>
                  </a:lnTo>
                  <a:lnTo>
                    <a:pt x="3470" y="253"/>
                  </a:lnTo>
                  <a:lnTo>
                    <a:pt x="3461" y="253"/>
                  </a:lnTo>
                  <a:lnTo>
                    <a:pt x="3447" y="253"/>
                  </a:lnTo>
                  <a:lnTo>
                    <a:pt x="3438" y="253"/>
                  </a:lnTo>
                  <a:lnTo>
                    <a:pt x="3438" y="253"/>
                  </a:lnTo>
                  <a:lnTo>
                    <a:pt x="3438" y="253"/>
                  </a:lnTo>
                  <a:lnTo>
                    <a:pt x="3433" y="258"/>
                  </a:lnTo>
                  <a:lnTo>
                    <a:pt x="3433" y="258"/>
                  </a:lnTo>
                  <a:lnTo>
                    <a:pt x="3433" y="258"/>
                  </a:lnTo>
                  <a:lnTo>
                    <a:pt x="3433" y="262"/>
                  </a:lnTo>
                  <a:lnTo>
                    <a:pt x="3442" y="267"/>
                  </a:lnTo>
                  <a:lnTo>
                    <a:pt x="3442" y="267"/>
                  </a:lnTo>
                  <a:lnTo>
                    <a:pt x="3447" y="267"/>
                  </a:lnTo>
                  <a:lnTo>
                    <a:pt x="3447" y="271"/>
                  </a:lnTo>
                  <a:lnTo>
                    <a:pt x="3447" y="271"/>
                  </a:lnTo>
                  <a:lnTo>
                    <a:pt x="3442" y="276"/>
                  </a:lnTo>
                  <a:lnTo>
                    <a:pt x="3438" y="276"/>
                  </a:lnTo>
                  <a:lnTo>
                    <a:pt x="3438" y="276"/>
                  </a:lnTo>
                  <a:lnTo>
                    <a:pt x="3438" y="276"/>
                  </a:lnTo>
                  <a:lnTo>
                    <a:pt x="3438" y="280"/>
                  </a:lnTo>
                  <a:lnTo>
                    <a:pt x="3438" y="280"/>
                  </a:lnTo>
                  <a:lnTo>
                    <a:pt x="3438" y="280"/>
                  </a:lnTo>
                  <a:lnTo>
                    <a:pt x="3438" y="280"/>
                  </a:lnTo>
                  <a:lnTo>
                    <a:pt x="3438" y="280"/>
                  </a:lnTo>
                  <a:lnTo>
                    <a:pt x="3438" y="280"/>
                  </a:lnTo>
                  <a:lnTo>
                    <a:pt x="3438" y="280"/>
                  </a:lnTo>
                  <a:lnTo>
                    <a:pt x="3433" y="280"/>
                  </a:lnTo>
                  <a:lnTo>
                    <a:pt x="3429" y="280"/>
                  </a:lnTo>
                  <a:lnTo>
                    <a:pt x="3429" y="276"/>
                  </a:lnTo>
                  <a:lnTo>
                    <a:pt x="3429" y="276"/>
                  </a:lnTo>
                  <a:lnTo>
                    <a:pt x="3429" y="276"/>
                  </a:lnTo>
                  <a:lnTo>
                    <a:pt x="3429" y="276"/>
                  </a:lnTo>
                  <a:lnTo>
                    <a:pt x="3429" y="271"/>
                  </a:lnTo>
                  <a:lnTo>
                    <a:pt x="3424" y="271"/>
                  </a:lnTo>
                  <a:lnTo>
                    <a:pt x="3424" y="271"/>
                  </a:lnTo>
                  <a:lnTo>
                    <a:pt x="3424" y="271"/>
                  </a:lnTo>
                  <a:lnTo>
                    <a:pt x="3424" y="271"/>
                  </a:lnTo>
                  <a:lnTo>
                    <a:pt x="3415" y="271"/>
                  </a:lnTo>
                  <a:lnTo>
                    <a:pt x="3415" y="271"/>
                  </a:lnTo>
                  <a:lnTo>
                    <a:pt x="3415" y="271"/>
                  </a:lnTo>
                  <a:lnTo>
                    <a:pt x="3411" y="276"/>
                  </a:lnTo>
                  <a:lnTo>
                    <a:pt x="3406" y="280"/>
                  </a:lnTo>
                  <a:lnTo>
                    <a:pt x="3402" y="280"/>
                  </a:lnTo>
                  <a:lnTo>
                    <a:pt x="3402" y="276"/>
                  </a:lnTo>
                  <a:lnTo>
                    <a:pt x="3397" y="276"/>
                  </a:lnTo>
                  <a:lnTo>
                    <a:pt x="3393" y="276"/>
                  </a:lnTo>
                  <a:lnTo>
                    <a:pt x="3393" y="276"/>
                  </a:lnTo>
                  <a:lnTo>
                    <a:pt x="3388" y="280"/>
                  </a:lnTo>
                  <a:lnTo>
                    <a:pt x="3388" y="280"/>
                  </a:lnTo>
                  <a:lnTo>
                    <a:pt x="3384" y="280"/>
                  </a:lnTo>
                  <a:lnTo>
                    <a:pt x="3384" y="285"/>
                  </a:lnTo>
                  <a:lnTo>
                    <a:pt x="3384" y="285"/>
                  </a:lnTo>
                  <a:lnTo>
                    <a:pt x="3379" y="285"/>
                  </a:lnTo>
                  <a:lnTo>
                    <a:pt x="3379" y="285"/>
                  </a:lnTo>
                  <a:lnTo>
                    <a:pt x="3379" y="285"/>
                  </a:lnTo>
                  <a:lnTo>
                    <a:pt x="3375" y="285"/>
                  </a:lnTo>
                  <a:lnTo>
                    <a:pt x="3375" y="285"/>
                  </a:lnTo>
                  <a:lnTo>
                    <a:pt x="3375" y="285"/>
                  </a:lnTo>
                  <a:lnTo>
                    <a:pt x="3370" y="285"/>
                  </a:lnTo>
                  <a:lnTo>
                    <a:pt x="3370" y="285"/>
                  </a:lnTo>
                  <a:lnTo>
                    <a:pt x="3366" y="285"/>
                  </a:lnTo>
                  <a:lnTo>
                    <a:pt x="3366" y="285"/>
                  </a:lnTo>
                  <a:lnTo>
                    <a:pt x="3366" y="285"/>
                  </a:lnTo>
                  <a:lnTo>
                    <a:pt x="3366" y="285"/>
                  </a:lnTo>
                  <a:lnTo>
                    <a:pt x="3366" y="285"/>
                  </a:lnTo>
                  <a:lnTo>
                    <a:pt x="3366" y="285"/>
                  </a:lnTo>
                  <a:lnTo>
                    <a:pt x="3366" y="285"/>
                  </a:lnTo>
                  <a:lnTo>
                    <a:pt x="3370" y="285"/>
                  </a:lnTo>
                  <a:lnTo>
                    <a:pt x="3370" y="280"/>
                  </a:lnTo>
                  <a:lnTo>
                    <a:pt x="3370" y="280"/>
                  </a:lnTo>
                  <a:lnTo>
                    <a:pt x="3366" y="280"/>
                  </a:lnTo>
                  <a:lnTo>
                    <a:pt x="3366" y="276"/>
                  </a:lnTo>
                  <a:lnTo>
                    <a:pt x="3366" y="276"/>
                  </a:lnTo>
                  <a:lnTo>
                    <a:pt x="3366" y="276"/>
                  </a:lnTo>
                  <a:lnTo>
                    <a:pt x="3366" y="276"/>
                  </a:lnTo>
                  <a:lnTo>
                    <a:pt x="3366" y="276"/>
                  </a:lnTo>
                  <a:lnTo>
                    <a:pt x="3366" y="276"/>
                  </a:lnTo>
                  <a:lnTo>
                    <a:pt x="3366" y="271"/>
                  </a:lnTo>
                  <a:lnTo>
                    <a:pt x="3366" y="271"/>
                  </a:lnTo>
                  <a:lnTo>
                    <a:pt x="3370" y="271"/>
                  </a:lnTo>
                  <a:lnTo>
                    <a:pt x="3370" y="271"/>
                  </a:lnTo>
                  <a:lnTo>
                    <a:pt x="3370" y="271"/>
                  </a:lnTo>
                  <a:lnTo>
                    <a:pt x="3366" y="271"/>
                  </a:lnTo>
                  <a:lnTo>
                    <a:pt x="3361" y="271"/>
                  </a:lnTo>
                  <a:lnTo>
                    <a:pt x="3352" y="276"/>
                  </a:lnTo>
                  <a:lnTo>
                    <a:pt x="3352" y="280"/>
                  </a:lnTo>
                  <a:lnTo>
                    <a:pt x="3352" y="280"/>
                  </a:lnTo>
                  <a:lnTo>
                    <a:pt x="3352" y="280"/>
                  </a:lnTo>
                  <a:lnTo>
                    <a:pt x="3357" y="280"/>
                  </a:lnTo>
                  <a:lnTo>
                    <a:pt x="3357" y="280"/>
                  </a:lnTo>
                  <a:lnTo>
                    <a:pt x="3357" y="285"/>
                  </a:lnTo>
                  <a:lnTo>
                    <a:pt x="3352" y="285"/>
                  </a:lnTo>
                  <a:lnTo>
                    <a:pt x="3352" y="285"/>
                  </a:lnTo>
                  <a:lnTo>
                    <a:pt x="3352" y="285"/>
                  </a:lnTo>
                  <a:lnTo>
                    <a:pt x="3352" y="285"/>
                  </a:lnTo>
                  <a:lnTo>
                    <a:pt x="3352" y="285"/>
                  </a:lnTo>
                  <a:lnTo>
                    <a:pt x="3352" y="285"/>
                  </a:lnTo>
                  <a:lnTo>
                    <a:pt x="3352" y="280"/>
                  </a:lnTo>
                  <a:lnTo>
                    <a:pt x="3348" y="280"/>
                  </a:lnTo>
                  <a:lnTo>
                    <a:pt x="3348" y="280"/>
                  </a:lnTo>
                  <a:lnTo>
                    <a:pt x="3348" y="280"/>
                  </a:lnTo>
                  <a:lnTo>
                    <a:pt x="3343" y="280"/>
                  </a:lnTo>
                  <a:lnTo>
                    <a:pt x="3339" y="285"/>
                  </a:lnTo>
                  <a:lnTo>
                    <a:pt x="3339" y="285"/>
                  </a:lnTo>
                  <a:lnTo>
                    <a:pt x="3334" y="285"/>
                  </a:lnTo>
                  <a:lnTo>
                    <a:pt x="3334" y="285"/>
                  </a:lnTo>
                  <a:lnTo>
                    <a:pt x="3330" y="289"/>
                  </a:lnTo>
                  <a:lnTo>
                    <a:pt x="3330" y="289"/>
                  </a:lnTo>
                  <a:lnTo>
                    <a:pt x="3325" y="289"/>
                  </a:lnTo>
                  <a:lnTo>
                    <a:pt x="3320" y="294"/>
                  </a:lnTo>
                  <a:lnTo>
                    <a:pt x="3316" y="294"/>
                  </a:lnTo>
                  <a:lnTo>
                    <a:pt x="3316" y="294"/>
                  </a:lnTo>
                  <a:lnTo>
                    <a:pt x="3311" y="294"/>
                  </a:lnTo>
                  <a:lnTo>
                    <a:pt x="3311" y="294"/>
                  </a:lnTo>
                  <a:lnTo>
                    <a:pt x="3316" y="294"/>
                  </a:lnTo>
                  <a:lnTo>
                    <a:pt x="3316" y="298"/>
                  </a:lnTo>
                  <a:lnTo>
                    <a:pt x="3316" y="298"/>
                  </a:lnTo>
                  <a:lnTo>
                    <a:pt x="3316" y="298"/>
                  </a:lnTo>
                  <a:lnTo>
                    <a:pt x="3311" y="298"/>
                  </a:lnTo>
                  <a:lnTo>
                    <a:pt x="3307" y="298"/>
                  </a:lnTo>
                  <a:lnTo>
                    <a:pt x="3307" y="303"/>
                  </a:lnTo>
                  <a:lnTo>
                    <a:pt x="3307" y="303"/>
                  </a:lnTo>
                  <a:lnTo>
                    <a:pt x="3307" y="303"/>
                  </a:lnTo>
                  <a:lnTo>
                    <a:pt x="3307" y="308"/>
                  </a:lnTo>
                  <a:lnTo>
                    <a:pt x="3307" y="312"/>
                  </a:lnTo>
                  <a:lnTo>
                    <a:pt x="3307" y="312"/>
                  </a:lnTo>
                  <a:lnTo>
                    <a:pt x="3307" y="312"/>
                  </a:lnTo>
                  <a:lnTo>
                    <a:pt x="3298" y="317"/>
                  </a:lnTo>
                  <a:lnTo>
                    <a:pt x="3293" y="317"/>
                  </a:lnTo>
                  <a:lnTo>
                    <a:pt x="3293" y="317"/>
                  </a:lnTo>
                  <a:lnTo>
                    <a:pt x="3293" y="317"/>
                  </a:lnTo>
                  <a:lnTo>
                    <a:pt x="3293" y="317"/>
                  </a:lnTo>
                  <a:lnTo>
                    <a:pt x="3289" y="317"/>
                  </a:lnTo>
                  <a:lnTo>
                    <a:pt x="3289" y="317"/>
                  </a:lnTo>
                  <a:lnTo>
                    <a:pt x="3284" y="312"/>
                  </a:lnTo>
                  <a:lnTo>
                    <a:pt x="3284" y="312"/>
                  </a:lnTo>
                  <a:lnTo>
                    <a:pt x="3280" y="308"/>
                  </a:lnTo>
                  <a:lnTo>
                    <a:pt x="3275" y="308"/>
                  </a:lnTo>
                  <a:lnTo>
                    <a:pt x="3271" y="308"/>
                  </a:lnTo>
                  <a:lnTo>
                    <a:pt x="3271" y="303"/>
                  </a:lnTo>
                  <a:lnTo>
                    <a:pt x="3271" y="303"/>
                  </a:lnTo>
                  <a:lnTo>
                    <a:pt x="3275" y="298"/>
                  </a:lnTo>
                  <a:lnTo>
                    <a:pt x="3275" y="298"/>
                  </a:lnTo>
                  <a:lnTo>
                    <a:pt x="3284" y="298"/>
                  </a:lnTo>
                  <a:lnTo>
                    <a:pt x="3284" y="294"/>
                  </a:lnTo>
                  <a:lnTo>
                    <a:pt x="3289" y="294"/>
                  </a:lnTo>
                  <a:lnTo>
                    <a:pt x="3289" y="294"/>
                  </a:lnTo>
                  <a:lnTo>
                    <a:pt x="3284" y="289"/>
                  </a:lnTo>
                  <a:lnTo>
                    <a:pt x="3280" y="289"/>
                  </a:lnTo>
                  <a:lnTo>
                    <a:pt x="3275" y="285"/>
                  </a:lnTo>
                  <a:lnTo>
                    <a:pt x="3271" y="285"/>
                  </a:lnTo>
                  <a:lnTo>
                    <a:pt x="3266" y="280"/>
                  </a:lnTo>
                  <a:lnTo>
                    <a:pt x="3257" y="285"/>
                  </a:lnTo>
                  <a:lnTo>
                    <a:pt x="3253" y="285"/>
                  </a:lnTo>
                  <a:lnTo>
                    <a:pt x="3248" y="280"/>
                  </a:lnTo>
                  <a:lnTo>
                    <a:pt x="3244" y="280"/>
                  </a:lnTo>
                  <a:lnTo>
                    <a:pt x="3244" y="280"/>
                  </a:lnTo>
                  <a:lnTo>
                    <a:pt x="3244" y="280"/>
                  </a:lnTo>
                  <a:lnTo>
                    <a:pt x="3244" y="280"/>
                  </a:lnTo>
                  <a:lnTo>
                    <a:pt x="3257" y="289"/>
                  </a:lnTo>
                  <a:lnTo>
                    <a:pt x="3257" y="289"/>
                  </a:lnTo>
                  <a:lnTo>
                    <a:pt x="3257" y="289"/>
                  </a:lnTo>
                  <a:lnTo>
                    <a:pt x="3257" y="289"/>
                  </a:lnTo>
                  <a:lnTo>
                    <a:pt x="3257" y="294"/>
                  </a:lnTo>
                  <a:lnTo>
                    <a:pt x="3257" y="294"/>
                  </a:lnTo>
                  <a:lnTo>
                    <a:pt x="3257" y="298"/>
                  </a:lnTo>
                  <a:lnTo>
                    <a:pt x="3257" y="303"/>
                  </a:lnTo>
                  <a:lnTo>
                    <a:pt x="3257" y="308"/>
                  </a:lnTo>
                  <a:lnTo>
                    <a:pt x="3257" y="308"/>
                  </a:lnTo>
                  <a:lnTo>
                    <a:pt x="3262" y="308"/>
                  </a:lnTo>
                  <a:lnTo>
                    <a:pt x="3262" y="308"/>
                  </a:lnTo>
                  <a:lnTo>
                    <a:pt x="3266" y="312"/>
                  </a:lnTo>
                  <a:lnTo>
                    <a:pt x="3266" y="312"/>
                  </a:lnTo>
                  <a:lnTo>
                    <a:pt x="3266" y="312"/>
                  </a:lnTo>
                  <a:lnTo>
                    <a:pt x="3271" y="317"/>
                  </a:lnTo>
                  <a:lnTo>
                    <a:pt x="3271" y="317"/>
                  </a:lnTo>
                  <a:lnTo>
                    <a:pt x="3271" y="321"/>
                  </a:lnTo>
                  <a:lnTo>
                    <a:pt x="3271" y="321"/>
                  </a:lnTo>
                  <a:lnTo>
                    <a:pt x="3271" y="326"/>
                  </a:lnTo>
                  <a:lnTo>
                    <a:pt x="3271" y="330"/>
                  </a:lnTo>
                  <a:lnTo>
                    <a:pt x="3271" y="330"/>
                  </a:lnTo>
                  <a:lnTo>
                    <a:pt x="3271" y="330"/>
                  </a:lnTo>
                  <a:lnTo>
                    <a:pt x="3271" y="330"/>
                  </a:lnTo>
                  <a:lnTo>
                    <a:pt x="3266" y="330"/>
                  </a:lnTo>
                  <a:lnTo>
                    <a:pt x="3266" y="330"/>
                  </a:lnTo>
                  <a:lnTo>
                    <a:pt x="3266" y="330"/>
                  </a:lnTo>
                  <a:lnTo>
                    <a:pt x="3262" y="330"/>
                  </a:lnTo>
                  <a:lnTo>
                    <a:pt x="3262" y="330"/>
                  </a:lnTo>
                  <a:lnTo>
                    <a:pt x="3262" y="326"/>
                  </a:lnTo>
                  <a:lnTo>
                    <a:pt x="3262" y="326"/>
                  </a:lnTo>
                  <a:lnTo>
                    <a:pt x="3262" y="326"/>
                  </a:lnTo>
                  <a:lnTo>
                    <a:pt x="3262" y="326"/>
                  </a:lnTo>
                  <a:lnTo>
                    <a:pt x="3257" y="326"/>
                  </a:lnTo>
                  <a:lnTo>
                    <a:pt x="3253" y="326"/>
                  </a:lnTo>
                  <a:lnTo>
                    <a:pt x="3253" y="326"/>
                  </a:lnTo>
                  <a:lnTo>
                    <a:pt x="3248" y="326"/>
                  </a:lnTo>
                  <a:lnTo>
                    <a:pt x="3248" y="321"/>
                  </a:lnTo>
                  <a:lnTo>
                    <a:pt x="3244" y="321"/>
                  </a:lnTo>
                  <a:lnTo>
                    <a:pt x="3244" y="321"/>
                  </a:lnTo>
                  <a:lnTo>
                    <a:pt x="3244" y="321"/>
                  </a:lnTo>
                  <a:lnTo>
                    <a:pt x="3239" y="326"/>
                  </a:lnTo>
                  <a:lnTo>
                    <a:pt x="3239" y="330"/>
                  </a:lnTo>
                  <a:lnTo>
                    <a:pt x="3235" y="330"/>
                  </a:lnTo>
                  <a:lnTo>
                    <a:pt x="3230" y="330"/>
                  </a:lnTo>
                  <a:lnTo>
                    <a:pt x="3230" y="335"/>
                  </a:lnTo>
                  <a:lnTo>
                    <a:pt x="3226" y="335"/>
                  </a:lnTo>
                  <a:lnTo>
                    <a:pt x="3226" y="335"/>
                  </a:lnTo>
                  <a:lnTo>
                    <a:pt x="3221" y="339"/>
                  </a:lnTo>
                  <a:lnTo>
                    <a:pt x="3221" y="339"/>
                  </a:lnTo>
                  <a:lnTo>
                    <a:pt x="3221" y="344"/>
                  </a:lnTo>
                  <a:lnTo>
                    <a:pt x="3221" y="344"/>
                  </a:lnTo>
                  <a:lnTo>
                    <a:pt x="3221" y="348"/>
                  </a:lnTo>
                  <a:lnTo>
                    <a:pt x="3226" y="348"/>
                  </a:lnTo>
                  <a:lnTo>
                    <a:pt x="3230" y="353"/>
                  </a:lnTo>
                  <a:lnTo>
                    <a:pt x="3230" y="353"/>
                  </a:lnTo>
                  <a:lnTo>
                    <a:pt x="3230" y="353"/>
                  </a:lnTo>
                  <a:lnTo>
                    <a:pt x="3230" y="357"/>
                  </a:lnTo>
                  <a:lnTo>
                    <a:pt x="3230" y="353"/>
                  </a:lnTo>
                  <a:lnTo>
                    <a:pt x="3226" y="357"/>
                  </a:lnTo>
                  <a:lnTo>
                    <a:pt x="3226" y="357"/>
                  </a:lnTo>
                  <a:lnTo>
                    <a:pt x="3226" y="357"/>
                  </a:lnTo>
                  <a:lnTo>
                    <a:pt x="3226" y="357"/>
                  </a:lnTo>
                  <a:lnTo>
                    <a:pt x="3221" y="357"/>
                  </a:lnTo>
                  <a:lnTo>
                    <a:pt x="3217" y="357"/>
                  </a:lnTo>
                  <a:lnTo>
                    <a:pt x="3208" y="357"/>
                  </a:lnTo>
                  <a:lnTo>
                    <a:pt x="3208" y="357"/>
                  </a:lnTo>
                  <a:lnTo>
                    <a:pt x="3208" y="353"/>
                  </a:lnTo>
                  <a:lnTo>
                    <a:pt x="3208" y="353"/>
                  </a:lnTo>
                  <a:lnTo>
                    <a:pt x="3203" y="353"/>
                  </a:lnTo>
                  <a:lnTo>
                    <a:pt x="3203" y="353"/>
                  </a:lnTo>
                  <a:lnTo>
                    <a:pt x="3203" y="353"/>
                  </a:lnTo>
                  <a:lnTo>
                    <a:pt x="3194" y="348"/>
                  </a:lnTo>
                  <a:lnTo>
                    <a:pt x="3189" y="348"/>
                  </a:lnTo>
                  <a:lnTo>
                    <a:pt x="3189" y="348"/>
                  </a:lnTo>
                  <a:lnTo>
                    <a:pt x="3185" y="348"/>
                  </a:lnTo>
                  <a:lnTo>
                    <a:pt x="3185" y="353"/>
                  </a:lnTo>
                  <a:lnTo>
                    <a:pt x="3185" y="353"/>
                  </a:lnTo>
                  <a:lnTo>
                    <a:pt x="3180" y="353"/>
                  </a:lnTo>
                  <a:lnTo>
                    <a:pt x="3185" y="353"/>
                  </a:lnTo>
                  <a:lnTo>
                    <a:pt x="3185" y="357"/>
                  </a:lnTo>
                  <a:lnTo>
                    <a:pt x="3185" y="357"/>
                  </a:lnTo>
                  <a:lnTo>
                    <a:pt x="3185" y="357"/>
                  </a:lnTo>
                  <a:lnTo>
                    <a:pt x="3189" y="362"/>
                  </a:lnTo>
                  <a:lnTo>
                    <a:pt x="3194" y="362"/>
                  </a:lnTo>
                  <a:lnTo>
                    <a:pt x="3194" y="362"/>
                  </a:lnTo>
                  <a:lnTo>
                    <a:pt x="3199" y="362"/>
                  </a:lnTo>
                  <a:lnTo>
                    <a:pt x="3199" y="362"/>
                  </a:lnTo>
                  <a:lnTo>
                    <a:pt x="3203" y="362"/>
                  </a:lnTo>
                  <a:lnTo>
                    <a:pt x="3203" y="366"/>
                  </a:lnTo>
                  <a:lnTo>
                    <a:pt x="3203" y="366"/>
                  </a:lnTo>
                  <a:lnTo>
                    <a:pt x="3208" y="366"/>
                  </a:lnTo>
                  <a:lnTo>
                    <a:pt x="3208" y="371"/>
                  </a:lnTo>
                  <a:lnTo>
                    <a:pt x="3203" y="371"/>
                  </a:lnTo>
                  <a:lnTo>
                    <a:pt x="3203" y="371"/>
                  </a:lnTo>
                  <a:lnTo>
                    <a:pt x="3199" y="375"/>
                  </a:lnTo>
                  <a:lnTo>
                    <a:pt x="3199" y="375"/>
                  </a:lnTo>
                  <a:lnTo>
                    <a:pt x="3194" y="371"/>
                  </a:lnTo>
                  <a:lnTo>
                    <a:pt x="3189" y="371"/>
                  </a:lnTo>
                  <a:lnTo>
                    <a:pt x="3185" y="371"/>
                  </a:lnTo>
                  <a:lnTo>
                    <a:pt x="3185" y="371"/>
                  </a:lnTo>
                  <a:lnTo>
                    <a:pt x="3180" y="366"/>
                  </a:lnTo>
                  <a:lnTo>
                    <a:pt x="3176" y="366"/>
                  </a:lnTo>
                  <a:lnTo>
                    <a:pt x="3176" y="362"/>
                  </a:lnTo>
                  <a:lnTo>
                    <a:pt x="3171" y="366"/>
                  </a:lnTo>
                  <a:lnTo>
                    <a:pt x="3171" y="362"/>
                  </a:lnTo>
                  <a:lnTo>
                    <a:pt x="3167" y="362"/>
                  </a:lnTo>
                  <a:lnTo>
                    <a:pt x="3162" y="362"/>
                  </a:lnTo>
                  <a:lnTo>
                    <a:pt x="3162" y="357"/>
                  </a:lnTo>
                  <a:lnTo>
                    <a:pt x="3162" y="357"/>
                  </a:lnTo>
                  <a:lnTo>
                    <a:pt x="3162" y="357"/>
                  </a:lnTo>
                  <a:lnTo>
                    <a:pt x="3162" y="357"/>
                  </a:lnTo>
                  <a:lnTo>
                    <a:pt x="3162" y="353"/>
                  </a:lnTo>
                  <a:lnTo>
                    <a:pt x="3162" y="353"/>
                  </a:lnTo>
                  <a:lnTo>
                    <a:pt x="3158" y="348"/>
                  </a:lnTo>
                  <a:lnTo>
                    <a:pt x="3158" y="348"/>
                  </a:lnTo>
                  <a:lnTo>
                    <a:pt x="3153" y="344"/>
                  </a:lnTo>
                  <a:lnTo>
                    <a:pt x="3158" y="344"/>
                  </a:lnTo>
                  <a:lnTo>
                    <a:pt x="3158" y="344"/>
                  </a:lnTo>
                  <a:lnTo>
                    <a:pt x="3158" y="339"/>
                  </a:lnTo>
                  <a:lnTo>
                    <a:pt x="3158" y="339"/>
                  </a:lnTo>
                  <a:lnTo>
                    <a:pt x="3158" y="339"/>
                  </a:lnTo>
                  <a:lnTo>
                    <a:pt x="3158" y="335"/>
                  </a:lnTo>
                  <a:lnTo>
                    <a:pt x="3158" y="335"/>
                  </a:lnTo>
                  <a:lnTo>
                    <a:pt x="3153" y="335"/>
                  </a:lnTo>
                  <a:lnTo>
                    <a:pt x="3153" y="330"/>
                  </a:lnTo>
                  <a:lnTo>
                    <a:pt x="3149" y="330"/>
                  </a:lnTo>
                  <a:lnTo>
                    <a:pt x="3140" y="326"/>
                  </a:lnTo>
                  <a:lnTo>
                    <a:pt x="3140" y="326"/>
                  </a:lnTo>
                  <a:lnTo>
                    <a:pt x="3140" y="326"/>
                  </a:lnTo>
                  <a:lnTo>
                    <a:pt x="3140" y="326"/>
                  </a:lnTo>
                  <a:lnTo>
                    <a:pt x="3140" y="326"/>
                  </a:lnTo>
                  <a:lnTo>
                    <a:pt x="3140" y="326"/>
                  </a:lnTo>
                  <a:lnTo>
                    <a:pt x="3140" y="326"/>
                  </a:lnTo>
                  <a:lnTo>
                    <a:pt x="3140" y="326"/>
                  </a:lnTo>
                  <a:lnTo>
                    <a:pt x="3135" y="326"/>
                  </a:lnTo>
                  <a:lnTo>
                    <a:pt x="3135" y="321"/>
                  </a:lnTo>
                  <a:lnTo>
                    <a:pt x="3135" y="321"/>
                  </a:lnTo>
                  <a:lnTo>
                    <a:pt x="3135" y="321"/>
                  </a:lnTo>
                  <a:lnTo>
                    <a:pt x="3131" y="321"/>
                  </a:lnTo>
                  <a:lnTo>
                    <a:pt x="3131" y="321"/>
                  </a:lnTo>
                  <a:lnTo>
                    <a:pt x="3131" y="321"/>
                  </a:lnTo>
                  <a:lnTo>
                    <a:pt x="3126" y="317"/>
                  </a:lnTo>
                  <a:lnTo>
                    <a:pt x="3126" y="317"/>
                  </a:lnTo>
                  <a:lnTo>
                    <a:pt x="3126" y="317"/>
                  </a:lnTo>
                  <a:lnTo>
                    <a:pt x="3122" y="312"/>
                  </a:lnTo>
                  <a:lnTo>
                    <a:pt x="3122" y="312"/>
                  </a:lnTo>
                  <a:lnTo>
                    <a:pt x="3117" y="312"/>
                  </a:lnTo>
                  <a:lnTo>
                    <a:pt x="3117" y="312"/>
                  </a:lnTo>
                  <a:lnTo>
                    <a:pt x="3122" y="312"/>
                  </a:lnTo>
                  <a:lnTo>
                    <a:pt x="3131" y="312"/>
                  </a:lnTo>
                  <a:lnTo>
                    <a:pt x="3131" y="312"/>
                  </a:lnTo>
                  <a:lnTo>
                    <a:pt x="3131" y="317"/>
                  </a:lnTo>
                  <a:lnTo>
                    <a:pt x="3131" y="317"/>
                  </a:lnTo>
                  <a:lnTo>
                    <a:pt x="3131" y="317"/>
                  </a:lnTo>
                  <a:lnTo>
                    <a:pt x="3135" y="321"/>
                  </a:lnTo>
                  <a:lnTo>
                    <a:pt x="3140" y="321"/>
                  </a:lnTo>
                  <a:lnTo>
                    <a:pt x="3140" y="321"/>
                  </a:lnTo>
                  <a:lnTo>
                    <a:pt x="3140" y="321"/>
                  </a:lnTo>
                  <a:lnTo>
                    <a:pt x="3144" y="321"/>
                  </a:lnTo>
                  <a:lnTo>
                    <a:pt x="3144" y="321"/>
                  </a:lnTo>
                  <a:lnTo>
                    <a:pt x="3149" y="321"/>
                  </a:lnTo>
                  <a:lnTo>
                    <a:pt x="3149" y="321"/>
                  </a:lnTo>
                  <a:lnTo>
                    <a:pt x="3149" y="321"/>
                  </a:lnTo>
                  <a:lnTo>
                    <a:pt x="3149" y="321"/>
                  </a:lnTo>
                  <a:lnTo>
                    <a:pt x="3153" y="321"/>
                  </a:lnTo>
                  <a:lnTo>
                    <a:pt x="3153" y="321"/>
                  </a:lnTo>
                  <a:lnTo>
                    <a:pt x="3162" y="326"/>
                  </a:lnTo>
                  <a:lnTo>
                    <a:pt x="3162" y="326"/>
                  </a:lnTo>
                  <a:lnTo>
                    <a:pt x="3176" y="326"/>
                  </a:lnTo>
                  <a:lnTo>
                    <a:pt x="3180" y="326"/>
                  </a:lnTo>
                  <a:lnTo>
                    <a:pt x="3180" y="326"/>
                  </a:lnTo>
                  <a:lnTo>
                    <a:pt x="3185" y="330"/>
                  </a:lnTo>
                  <a:lnTo>
                    <a:pt x="3189" y="330"/>
                  </a:lnTo>
                  <a:lnTo>
                    <a:pt x="3194" y="330"/>
                  </a:lnTo>
                  <a:lnTo>
                    <a:pt x="3199" y="330"/>
                  </a:lnTo>
                  <a:lnTo>
                    <a:pt x="3203" y="330"/>
                  </a:lnTo>
                  <a:lnTo>
                    <a:pt x="3212" y="330"/>
                  </a:lnTo>
                  <a:lnTo>
                    <a:pt x="3221" y="326"/>
                  </a:lnTo>
                  <a:lnTo>
                    <a:pt x="3226" y="326"/>
                  </a:lnTo>
                  <a:lnTo>
                    <a:pt x="3230" y="317"/>
                  </a:lnTo>
                  <a:lnTo>
                    <a:pt x="3230" y="317"/>
                  </a:lnTo>
                  <a:lnTo>
                    <a:pt x="3230" y="312"/>
                  </a:lnTo>
                  <a:lnTo>
                    <a:pt x="3230" y="308"/>
                  </a:lnTo>
                  <a:lnTo>
                    <a:pt x="3230" y="308"/>
                  </a:lnTo>
                  <a:lnTo>
                    <a:pt x="3226" y="308"/>
                  </a:lnTo>
                  <a:lnTo>
                    <a:pt x="3226" y="308"/>
                  </a:lnTo>
                  <a:lnTo>
                    <a:pt x="3226" y="303"/>
                  </a:lnTo>
                  <a:lnTo>
                    <a:pt x="3221" y="298"/>
                  </a:lnTo>
                  <a:lnTo>
                    <a:pt x="3221" y="298"/>
                  </a:lnTo>
                  <a:lnTo>
                    <a:pt x="3217" y="298"/>
                  </a:lnTo>
                  <a:lnTo>
                    <a:pt x="3217" y="298"/>
                  </a:lnTo>
                  <a:lnTo>
                    <a:pt x="3217" y="298"/>
                  </a:lnTo>
                  <a:lnTo>
                    <a:pt x="3212" y="294"/>
                  </a:lnTo>
                  <a:lnTo>
                    <a:pt x="3208" y="294"/>
                  </a:lnTo>
                  <a:lnTo>
                    <a:pt x="3208" y="294"/>
                  </a:lnTo>
                  <a:lnTo>
                    <a:pt x="3208" y="294"/>
                  </a:lnTo>
                  <a:lnTo>
                    <a:pt x="3208" y="289"/>
                  </a:lnTo>
                  <a:lnTo>
                    <a:pt x="3208" y="294"/>
                  </a:lnTo>
                  <a:lnTo>
                    <a:pt x="3208" y="294"/>
                  </a:lnTo>
                  <a:lnTo>
                    <a:pt x="3203" y="294"/>
                  </a:lnTo>
                  <a:lnTo>
                    <a:pt x="3194" y="289"/>
                  </a:lnTo>
                  <a:lnTo>
                    <a:pt x="3194" y="289"/>
                  </a:lnTo>
                  <a:lnTo>
                    <a:pt x="3194" y="289"/>
                  </a:lnTo>
                  <a:lnTo>
                    <a:pt x="3189" y="289"/>
                  </a:lnTo>
                  <a:lnTo>
                    <a:pt x="3189" y="289"/>
                  </a:lnTo>
                  <a:lnTo>
                    <a:pt x="3180" y="280"/>
                  </a:lnTo>
                  <a:lnTo>
                    <a:pt x="3162" y="276"/>
                  </a:lnTo>
                  <a:lnTo>
                    <a:pt x="3153" y="271"/>
                  </a:lnTo>
                  <a:lnTo>
                    <a:pt x="3149" y="271"/>
                  </a:lnTo>
                  <a:lnTo>
                    <a:pt x="3149" y="271"/>
                  </a:lnTo>
                  <a:lnTo>
                    <a:pt x="3144" y="271"/>
                  </a:lnTo>
                  <a:lnTo>
                    <a:pt x="3144" y="271"/>
                  </a:lnTo>
                  <a:lnTo>
                    <a:pt x="3144" y="271"/>
                  </a:lnTo>
                  <a:lnTo>
                    <a:pt x="3135" y="271"/>
                  </a:lnTo>
                  <a:lnTo>
                    <a:pt x="3135" y="271"/>
                  </a:lnTo>
                  <a:lnTo>
                    <a:pt x="3131" y="271"/>
                  </a:lnTo>
                  <a:lnTo>
                    <a:pt x="3126" y="271"/>
                  </a:lnTo>
                  <a:lnTo>
                    <a:pt x="3126" y="276"/>
                  </a:lnTo>
                  <a:lnTo>
                    <a:pt x="3126" y="276"/>
                  </a:lnTo>
                  <a:lnTo>
                    <a:pt x="3122" y="276"/>
                  </a:lnTo>
                  <a:lnTo>
                    <a:pt x="3122" y="276"/>
                  </a:lnTo>
                  <a:lnTo>
                    <a:pt x="3126" y="276"/>
                  </a:lnTo>
                  <a:lnTo>
                    <a:pt x="3126" y="271"/>
                  </a:lnTo>
                  <a:lnTo>
                    <a:pt x="3126" y="271"/>
                  </a:lnTo>
                  <a:lnTo>
                    <a:pt x="3126" y="271"/>
                  </a:lnTo>
                  <a:lnTo>
                    <a:pt x="3126" y="271"/>
                  </a:lnTo>
                  <a:lnTo>
                    <a:pt x="3126" y="271"/>
                  </a:lnTo>
                  <a:lnTo>
                    <a:pt x="3122" y="271"/>
                  </a:lnTo>
                  <a:lnTo>
                    <a:pt x="3122" y="271"/>
                  </a:lnTo>
                  <a:lnTo>
                    <a:pt x="3122" y="271"/>
                  </a:lnTo>
                  <a:lnTo>
                    <a:pt x="3122" y="271"/>
                  </a:lnTo>
                  <a:lnTo>
                    <a:pt x="3122" y="267"/>
                  </a:lnTo>
                  <a:lnTo>
                    <a:pt x="3117" y="267"/>
                  </a:lnTo>
                  <a:lnTo>
                    <a:pt x="3117" y="267"/>
                  </a:lnTo>
                  <a:lnTo>
                    <a:pt x="3113" y="267"/>
                  </a:lnTo>
                  <a:lnTo>
                    <a:pt x="3113" y="267"/>
                  </a:lnTo>
                  <a:lnTo>
                    <a:pt x="3108" y="267"/>
                  </a:lnTo>
                  <a:lnTo>
                    <a:pt x="3108" y="267"/>
                  </a:lnTo>
                  <a:lnTo>
                    <a:pt x="3108" y="267"/>
                  </a:lnTo>
                  <a:lnTo>
                    <a:pt x="3117" y="267"/>
                  </a:lnTo>
                  <a:lnTo>
                    <a:pt x="3117" y="267"/>
                  </a:lnTo>
                  <a:lnTo>
                    <a:pt x="3117" y="267"/>
                  </a:lnTo>
                  <a:lnTo>
                    <a:pt x="3117" y="267"/>
                  </a:lnTo>
                  <a:lnTo>
                    <a:pt x="3117" y="262"/>
                  </a:lnTo>
                  <a:lnTo>
                    <a:pt x="3117" y="262"/>
                  </a:lnTo>
                  <a:lnTo>
                    <a:pt x="3113" y="262"/>
                  </a:lnTo>
                  <a:lnTo>
                    <a:pt x="3113" y="262"/>
                  </a:lnTo>
                  <a:lnTo>
                    <a:pt x="3108" y="258"/>
                  </a:lnTo>
                  <a:lnTo>
                    <a:pt x="3108" y="262"/>
                  </a:lnTo>
                  <a:lnTo>
                    <a:pt x="3108" y="262"/>
                  </a:lnTo>
                  <a:lnTo>
                    <a:pt x="3108" y="262"/>
                  </a:lnTo>
                  <a:lnTo>
                    <a:pt x="3104" y="262"/>
                  </a:lnTo>
                  <a:lnTo>
                    <a:pt x="3104" y="262"/>
                  </a:lnTo>
                  <a:lnTo>
                    <a:pt x="3104" y="262"/>
                  </a:lnTo>
                  <a:lnTo>
                    <a:pt x="3104" y="267"/>
                  </a:lnTo>
                  <a:lnTo>
                    <a:pt x="3099" y="267"/>
                  </a:lnTo>
                  <a:lnTo>
                    <a:pt x="3095" y="262"/>
                  </a:lnTo>
                  <a:lnTo>
                    <a:pt x="3095" y="262"/>
                  </a:lnTo>
                  <a:lnTo>
                    <a:pt x="3090" y="262"/>
                  </a:lnTo>
                  <a:lnTo>
                    <a:pt x="3090" y="262"/>
                  </a:lnTo>
                  <a:lnTo>
                    <a:pt x="3090" y="262"/>
                  </a:lnTo>
                  <a:lnTo>
                    <a:pt x="3090" y="262"/>
                  </a:lnTo>
                  <a:lnTo>
                    <a:pt x="3090" y="262"/>
                  </a:lnTo>
                  <a:lnTo>
                    <a:pt x="3090" y="262"/>
                  </a:lnTo>
                  <a:lnTo>
                    <a:pt x="3086" y="262"/>
                  </a:lnTo>
                  <a:lnTo>
                    <a:pt x="3086" y="262"/>
                  </a:lnTo>
                  <a:lnTo>
                    <a:pt x="3086" y="262"/>
                  </a:lnTo>
                  <a:lnTo>
                    <a:pt x="3086" y="267"/>
                  </a:lnTo>
                  <a:lnTo>
                    <a:pt x="3086" y="262"/>
                  </a:lnTo>
                  <a:lnTo>
                    <a:pt x="3081" y="262"/>
                  </a:lnTo>
                  <a:lnTo>
                    <a:pt x="3081" y="262"/>
                  </a:lnTo>
                  <a:lnTo>
                    <a:pt x="3081" y="262"/>
                  </a:lnTo>
                  <a:lnTo>
                    <a:pt x="3081" y="262"/>
                  </a:lnTo>
                  <a:lnTo>
                    <a:pt x="3081" y="262"/>
                  </a:lnTo>
                  <a:lnTo>
                    <a:pt x="3081" y="262"/>
                  </a:lnTo>
                  <a:lnTo>
                    <a:pt x="3081" y="258"/>
                  </a:lnTo>
                  <a:lnTo>
                    <a:pt x="3068" y="258"/>
                  </a:lnTo>
                  <a:lnTo>
                    <a:pt x="3068" y="258"/>
                  </a:lnTo>
                  <a:lnTo>
                    <a:pt x="3081" y="258"/>
                  </a:lnTo>
                  <a:lnTo>
                    <a:pt x="3086" y="258"/>
                  </a:lnTo>
                  <a:lnTo>
                    <a:pt x="3090" y="253"/>
                  </a:lnTo>
                  <a:lnTo>
                    <a:pt x="3095" y="253"/>
                  </a:lnTo>
                  <a:lnTo>
                    <a:pt x="3095" y="253"/>
                  </a:lnTo>
                  <a:lnTo>
                    <a:pt x="3095" y="253"/>
                  </a:lnTo>
                  <a:lnTo>
                    <a:pt x="3090" y="249"/>
                  </a:lnTo>
                  <a:lnTo>
                    <a:pt x="3086" y="249"/>
                  </a:lnTo>
                  <a:lnTo>
                    <a:pt x="3086" y="249"/>
                  </a:lnTo>
                  <a:lnTo>
                    <a:pt x="3086" y="249"/>
                  </a:lnTo>
                  <a:lnTo>
                    <a:pt x="3086" y="249"/>
                  </a:lnTo>
                  <a:lnTo>
                    <a:pt x="3081" y="244"/>
                  </a:lnTo>
                  <a:lnTo>
                    <a:pt x="3081" y="244"/>
                  </a:lnTo>
                  <a:lnTo>
                    <a:pt x="3077" y="249"/>
                  </a:lnTo>
                  <a:lnTo>
                    <a:pt x="3077" y="249"/>
                  </a:lnTo>
                  <a:lnTo>
                    <a:pt x="3077" y="249"/>
                  </a:lnTo>
                  <a:lnTo>
                    <a:pt x="3077" y="244"/>
                  </a:lnTo>
                  <a:lnTo>
                    <a:pt x="3072" y="244"/>
                  </a:lnTo>
                  <a:lnTo>
                    <a:pt x="3072" y="244"/>
                  </a:lnTo>
                  <a:lnTo>
                    <a:pt x="3072" y="244"/>
                  </a:lnTo>
                  <a:lnTo>
                    <a:pt x="3072" y="244"/>
                  </a:lnTo>
                  <a:lnTo>
                    <a:pt x="3068" y="244"/>
                  </a:lnTo>
                  <a:lnTo>
                    <a:pt x="3068" y="244"/>
                  </a:lnTo>
                  <a:lnTo>
                    <a:pt x="3063" y="244"/>
                  </a:lnTo>
                  <a:lnTo>
                    <a:pt x="3063" y="249"/>
                  </a:lnTo>
                  <a:lnTo>
                    <a:pt x="3063" y="249"/>
                  </a:lnTo>
                  <a:lnTo>
                    <a:pt x="3063" y="253"/>
                  </a:lnTo>
                  <a:lnTo>
                    <a:pt x="3063" y="253"/>
                  </a:lnTo>
                  <a:lnTo>
                    <a:pt x="3063" y="253"/>
                  </a:lnTo>
                  <a:lnTo>
                    <a:pt x="3063" y="253"/>
                  </a:lnTo>
                  <a:lnTo>
                    <a:pt x="3063" y="253"/>
                  </a:lnTo>
                  <a:lnTo>
                    <a:pt x="3063" y="253"/>
                  </a:lnTo>
                  <a:lnTo>
                    <a:pt x="3058" y="249"/>
                  </a:lnTo>
                  <a:lnTo>
                    <a:pt x="3063" y="249"/>
                  </a:lnTo>
                  <a:lnTo>
                    <a:pt x="3058" y="244"/>
                  </a:lnTo>
                  <a:lnTo>
                    <a:pt x="3058" y="249"/>
                  </a:lnTo>
                  <a:lnTo>
                    <a:pt x="3058" y="249"/>
                  </a:lnTo>
                  <a:lnTo>
                    <a:pt x="3058" y="244"/>
                  </a:lnTo>
                  <a:lnTo>
                    <a:pt x="3058" y="244"/>
                  </a:lnTo>
                  <a:lnTo>
                    <a:pt x="3063" y="244"/>
                  </a:lnTo>
                  <a:lnTo>
                    <a:pt x="3063" y="244"/>
                  </a:lnTo>
                  <a:lnTo>
                    <a:pt x="3063" y="240"/>
                  </a:lnTo>
                  <a:lnTo>
                    <a:pt x="3058" y="240"/>
                  </a:lnTo>
                  <a:lnTo>
                    <a:pt x="3054" y="240"/>
                  </a:lnTo>
                  <a:lnTo>
                    <a:pt x="3054" y="240"/>
                  </a:lnTo>
                  <a:lnTo>
                    <a:pt x="3054" y="240"/>
                  </a:lnTo>
                  <a:lnTo>
                    <a:pt x="3049" y="240"/>
                  </a:lnTo>
                  <a:lnTo>
                    <a:pt x="3049" y="240"/>
                  </a:lnTo>
                  <a:lnTo>
                    <a:pt x="3049" y="244"/>
                  </a:lnTo>
                  <a:lnTo>
                    <a:pt x="3054" y="244"/>
                  </a:lnTo>
                  <a:lnTo>
                    <a:pt x="3054" y="244"/>
                  </a:lnTo>
                  <a:lnTo>
                    <a:pt x="3049" y="244"/>
                  </a:lnTo>
                  <a:lnTo>
                    <a:pt x="3049" y="244"/>
                  </a:lnTo>
                  <a:lnTo>
                    <a:pt x="3049" y="249"/>
                  </a:lnTo>
                  <a:lnTo>
                    <a:pt x="3049" y="249"/>
                  </a:lnTo>
                  <a:lnTo>
                    <a:pt x="3045" y="249"/>
                  </a:lnTo>
                  <a:lnTo>
                    <a:pt x="3045" y="253"/>
                  </a:lnTo>
                  <a:lnTo>
                    <a:pt x="3045" y="253"/>
                  </a:lnTo>
                  <a:lnTo>
                    <a:pt x="3040" y="253"/>
                  </a:lnTo>
                  <a:lnTo>
                    <a:pt x="3040" y="249"/>
                  </a:lnTo>
                  <a:lnTo>
                    <a:pt x="3045" y="249"/>
                  </a:lnTo>
                  <a:lnTo>
                    <a:pt x="3040" y="249"/>
                  </a:lnTo>
                  <a:lnTo>
                    <a:pt x="3040" y="249"/>
                  </a:lnTo>
                  <a:lnTo>
                    <a:pt x="3045" y="244"/>
                  </a:lnTo>
                  <a:lnTo>
                    <a:pt x="3045" y="244"/>
                  </a:lnTo>
                  <a:lnTo>
                    <a:pt x="3040" y="244"/>
                  </a:lnTo>
                  <a:lnTo>
                    <a:pt x="3040" y="244"/>
                  </a:lnTo>
                  <a:lnTo>
                    <a:pt x="3036" y="244"/>
                  </a:lnTo>
                  <a:lnTo>
                    <a:pt x="3036" y="249"/>
                  </a:lnTo>
                  <a:lnTo>
                    <a:pt x="3031" y="253"/>
                  </a:lnTo>
                  <a:lnTo>
                    <a:pt x="3031" y="258"/>
                  </a:lnTo>
                  <a:lnTo>
                    <a:pt x="3027" y="258"/>
                  </a:lnTo>
                  <a:lnTo>
                    <a:pt x="3027" y="258"/>
                  </a:lnTo>
                  <a:lnTo>
                    <a:pt x="3027" y="258"/>
                  </a:lnTo>
                  <a:lnTo>
                    <a:pt x="3027" y="258"/>
                  </a:lnTo>
                  <a:lnTo>
                    <a:pt x="3027" y="253"/>
                  </a:lnTo>
                  <a:lnTo>
                    <a:pt x="3027" y="249"/>
                  </a:lnTo>
                  <a:lnTo>
                    <a:pt x="3027" y="249"/>
                  </a:lnTo>
                  <a:lnTo>
                    <a:pt x="3031" y="249"/>
                  </a:lnTo>
                  <a:lnTo>
                    <a:pt x="3031" y="244"/>
                  </a:lnTo>
                  <a:lnTo>
                    <a:pt x="3031" y="244"/>
                  </a:lnTo>
                  <a:lnTo>
                    <a:pt x="3031" y="244"/>
                  </a:lnTo>
                  <a:lnTo>
                    <a:pt x="3031" y="244"/>
                  </a:lnTo>
                  <a:lnTo>
                    <a:pt x="3031" y="244"/>
                  </a:lnTo>
                  <a:lnTo>
                    <a:pt x="3031" y="244"/>
                  </a:lnTo>
                  <a:lnTo>
                    <a:pt x="3027" y="244"/>
                  </a:lnTo>
                  <a:lnTo>
                    <a:pt x="3027" y="244"/>
                  </a:lnTo>
                  <a:lnTo>
                    <a:pt x="3027" y="244"/>
                  </a:lnTo>
                  <a:lnTo>
                    <a:pt x="3027" y="244"/>
                  </a:lnTo>
                  <a:lnTo>
                    <a:pt x="3027" y="244"/>
                  </a:lnTo>
                  <a:lnTo>
                    <a:pt x="3022" y="244"/>
                  </a:lnTo>
                  <a:lnTo>
                    <a:pt x="3022" y="240"/>
                  </a:lnTo>
                  <a:lnTo>
                    <a:pt x="3022" y="240"/>
                  </a:lnTo>
                  <a:lnTo>
                    <a:pt x="3018" y="240"/>
                  </a:lnTo>
                  <a:lnTo>
                    <a:pt x="3018" y="244"/>
                  </a:lnTo>
                  <a:lnTo>
                    <a:pt x="3013" y="244"/>
                  </a:lnTo>
                  <a:lnTo>
                    <a:pt x="3013" y="244"/>
                  </a:lnTo>
                  <a:lnTo>
                    <a:pt x="3018" y="244"/>
                  </a:lnTo>
                  <a:lnTo>
                    <a:pt x="3018" y="249"/>
                  </a:lnTo>
                  <a:lnTo>
                    <a:pt x="3018" y="249"/>
                  </a:lnTo>
                  <a:lnTo>
                    <a:pt x="3018" y="249"/>
                  </a:lnTo>
                  <a:lnTo>
                    <a:pt x="3013" y="253"/>
                  </a:lnTo>
                  <a:lnTo>
                    <a:pt x="3013" y="253"/>
                  </a:lnTo>
                  <a:lnTo>
                    <a:pt x="3009" y="253"/>
                  </a:lnTo>
                  <a:lnTo>
                    <a:pt x="3004" y="258"/>
                  </a:lnTo>
                  <a:lnTo>
                    <a:pt x="3004" y="258"/>
                  </a:lnTo>
                  <a:lnTo>
                    <a:pt x="3004" y="258"/>
                  </a:lnTo>
                  <a:lnTo>
                    <a:pt x="3004" y="258"/>
                  </a:lnTo>
                  <a:lnTo>
                    <a:pt x="3009" y="258"/>
                  </a:lnTo>
                  <a:lnTo>
                    <a:pt x="3009" y="262"/>
                  </a:lnTo>
                  <a:lnTo>
                    <a:pt x="3004" y="262"/>
                  </a:lnTo>
                  <a:lnTo>
                    <a:pt x="3004" y="258"/>
                  </a:lnTo>
                  <a:lnTo>
                    <a:pt x="3004" y="258"/>
                  </a:lnTo>
                  <a:lnTo>
                    <a:pt x="3000" y="258"/>
                  </a:lnTo>
                  <a:lnTo>
                    <a:pt x="3000" y="253"/>
                  </a:lnTo>
                  <a:lnTo>
                    <a:pt x="3000" y="253"/>
                  </a:lnTo>
                  <a:lnTo>
                    <a:pt x="3000" y="253"/>
                  </a:lnTo>
                  <a:lnTo>
                    <a:pt x="2995" y="253"/>
                  </a:lnTo>
                  <a:lnTo>
                    <a:pt x="2995" y="253"/>
                  </a:lnTo>
                  <a:lnTo>
                    <a:pt x="2995" y="253"/>
                  </a:lnTo>
                  <a:lnTo>
                    <a:pt x="2991" y="253"/>
                  </a:lnTo>
                  <a:lnTo>
                    <a:pt x="2991" y="253"/>
                  </a:lnTo>
                  <a:lnTo>
                    <a:pt x="2991" y="253"/>
                  </a:lnTo>
                  <a:lnTo>
                    <a:pt x="2986" y="258"/>
                  </a:lnTo>
                  <a:lnTo>
                    <a:pt x="2986" y="258"/>
                  </a:lnTo>
                  <a:lnTo>
                    <a:pt x="2982" y="258"/>
                  </a:lnTo>
                  <a:lnTo>
                    <a:pt x="2982" y="258"/>
                  </a:lnTo>
                  <a:lnTo>
                    <a:pt x="2982" y="258"/>
                  </a:lnTo>
                  <a:lnTo>
                    <a:pt x="2986" y="258"/>
                  </a:lnTo>
                  <a:lnTo>
                    <a:pt x="2991" y="258"/>
                  </a:lnTo>
                  <a:lnTo>
                    <a:pt x="2991" y="262"/>
                  </a:lnTo>
                  <a:lnTo>
                    <a:pt x="2991" y="262"/>
                  </a:lnTo>
                  <a:lnTo>
                    <a:pt x="2991" y="262"/>
                  </a:lnTo>
                  <a:lnTo>
                    <a:pt x="2991" y="262"/>
                  </a:lnTo>
                  <a:lnTo>
                    <a:pt x="2986" y="262"/>
                  </a:lnTo>
                  <a:lnTo>
                    <a:pt x="2986" y="262"/>
                  </a:lnTo>
                  <a:lnTo>
                    <a:pt x="2982" y="262"/>
                  </a:lnTo>
                  <a:lnTo>
                    <a:pt x="2982" y="262"/>
                  </a:lnTo>
                  <a:lnTo>
                    <a:pt x="2982" y="262"/>
                  </a:lnTo>
                  <a:lnTo>
                    <a:pt x="2982" y="262"/>
                  </a:lnTo>
                  <a:lnTo>
                    <a:pt x="2977" y="262"/>
                  </a:lnTo>
                  <a:lnTo>
                    <a:pt x="2977" y="262"/>
                  </a:lnTo>
                  <a:lnTo>
                    <a:pt x="2973" y="262"/>
                  </a:lnTo>
                  <a:lnTo>
                    <a:pt x="2973" y="267"/>
                  </a:lnTo>
                  <a:lnTo>
                    <a:pt x="2977" y="267"/>
                  </a:lnTo>
                  <a:lnTo>
                    <a:pt x="2977" y="267"/>
                  </a:lnTo>
                  <a:lnTo>
                    <a:pt x="2977" y="271"/>
                  </a:lnTo>
                  <a:lnTo>
                    <a:pt x="2977" y="271"/>
                  </a:lnTo>
                  <a:lnTo>
                    <a:pt x="2973" y="267"/>
                  </a:lnTo>
                  <a:lnTo>
                    <a:pt x="2973" y="271"/>
                  </a:lnTo>
                  <a:lnTo>
                    <a:pt x="2973" y="271"/>
                  </a:lnTo>
                  <a:lnTo>
                    <a:pt x="2968" y="271"/>
                  </a:lnTo>
                  <a:lnTo>
                    <a:pt x="2968" y="271"/>
                  </a:lnTo>
                  <a:lnTo>
                    <a:pt x="2973" y="271"/>
                  </a:lnTo>
                  <a:lnTo>
                    <a:pt x="2973" y="267"/>
                  </a:lnTo>
                  <a:lnTo>
                    <a:pt x="2973" y="267"/>
                  </a:lnTo>
                  <a:lnTo>
                    <a:pt x="2973" y="262"/>
                  </a:lnTo>
                  <a:lnTo>
                    <a:pt x="2973" y="262"/>
                  </a:lnTo>
                  <a:lnTo>
                    <a:pt x="2973" y="262"/>
                  </a:lnTo>
                  <a:lnTo>
                    <a:pt x="2973" y="262"/>
                  </a:lnTo>
                  <a:lnTo>
                    <a:pt x="2968" y="262"/>
                  </a:lnTo>
                  <a:lnTo>
                    <a:pt x="2968" y="262"/>
                  </a:lnTo>
                  <a:lnTo>
                    <a:pt x="2968" y="262"/>
                  </a:lnTo>
                  <a:lnTo>
                    <a:pt x="2968" y="267"/>
                  </a:lnTo>
                  <a:lnTo>
                    <a:pt x="2968" y="271"/>
                  </a:lnTo>
                  <a:lnTo>
                    <a:pt x="2964" y="271"/>
                  </a:lnTo>
                  <a:lnTo>
                    <a:pt x="2964" y="271"/>
                  </a:lnTo>
                  <a:lnTo>
                    <a:pt x="2964" y="267"/>
                  </a:lnTo>
                  <a:lnTo>
                    <a:pt x="2964" y="267"/>
                  </a:lnTo>
                  <a:lnTo>
                    <a:pt x="2964" y="262"/>
                  </a:lnTo>
                  <a:lnTo>
                    <a:pt x="2959" y="267"/>
                  </a:lnTo>
                  <a:lnTo>
                    <a:pt x="2959" y="267"/>
                  </a:lnTo>
                  <a:lnTo>
                    <a:pt x="2959" y="267"/>
                  </a:lnTo>
                  <a:lnTo>
                    <a:pt x="2959" y="267"/>
                  </a:lnTo>
                  <a:lnTo>
                    <a:pt x="2959" y="267"/>
                  </a:lnTo>
                  <a:lnTo>
                    <a:pt x="2955" y="271"/>
                  </a:lnTo>
                  <a:lnTo>
                    <a:pt x="2955" y="271"/>
                  </a:lnTo>
                  <a:lnTo>
                    <a:pt x="2955" y="271"/>
                  </a:lnTo>
                  <a:lnTo>
                    <a:pt x="2955" y="271"/>
                  </a:lnTo>
                  <a:lnTo>
                    <a:pt x="2955" y="271"/>
                  </a:lnTo>
                  <a:lnTo>
                    <a:pt x="2955" y="271"/>
                  </a:lnTo>
                  <a:lnTo>
                    <a:pt x="2955" y="271"/>
                  </a:lnTo>
                  <a:lnTo>
                    <a:pt x="2955" y="271"/>
                  </a:lnTo>
                  <a:lnTo>
                    <a:pt x="2955" y="271"/>
                  </a:lnTo>
                  <a:lnTo>
                    <a:pt x="2950" y="271"/>
                  </a:lnTo>
                  <a:lnTo>
                    <a:pt x="2950" y="271"/>
                  </a:lnTo>
                  <a:lnTo>
                    <a:pt x="2950" y="271"/>
                  </a:lnTo>
                  <a:lnTo>
                    <a:pt x="2950" y="271"/>
                  </a:lnTo>
                  <a:lnTo>
                    <a:pt x="2950" y="271"/>
                  </a:lnTo>
                  <a:lnTo>
                    <a:pt x="2946" y="271"/>
                  </a:lnTo>
                  <a:lnTo>
                    <a:pt x="2946" y="276"/>
                  </a:lnTo>
                  <a:lnTo>
                    <a:pt x="2946" y="276"/>
                  </a:lnTo>
                  <a:lnTo>
                    <a:pt x="2946" y="276"/>
                  </a:lnTo>
                  <a:lnTo>
                    <a:pt x="2941" y="276"/>
                  </a:lnTo>
                  <a:lnTo>
                    <a:pt x="2941" y="280"/>
                  </a:lnTo>
                  <a:lnTo>
                    <a:pt x="2941" y="280"/>
                  </a:lnTo>
                  <a:lnTo>
                    <a:pt x="2941" y="285"/>
                  </a:lnTo>
                  <a:lnTo>
                    <a:pt x="2936" y="285"/>
                  </a:lnTo>
                  <a:lnTo>
                    <a:pt x="2932" y="285"/>
                  </a:lnTo>
                  <a:lnTo>
                    <a:pt x="2932" y="285"/>
                  </a:lnTo>
                  <a:lnTo>
                    <a:pt x="2932" y="289"/>
                  </a:lnTo>
                  <a:lnTo>
                    <a:pt x="2927" y="289"/>
                  </a:lnTo>
                  <a:lnTo>
                    <a:pt x="2932" y="289"/>
                  </a:lnTo>
                  <a:lnTo>
                    <a:pt x="2932" y="289"/>
                  </a:lnTo>
                  <a:lnTo>
                    <a:pt x="2936" y="289"/>
                  </a:lnTo>
                  <a:lnTo>
                    <a:pt x="2941" y="289"/>
                  </a:lnTo>
                  <a:lnTo>
                    <a:pt x="2941" y="289"/>
                  </a:lnTo>
                  <a:lnTo>
                    <a:pt x="2941" y="289"/>
                  </a:lnTo>
                  <a:lnTo>
                    <a:pt x="2941" y="289"/>
                  </a:lnTo>
                  <a:lnTo>
                    <a:pt x="2941" y="289"/>
                  </a:lnTo>
                  <a:lnTo>
                    <a:pt x="2941" y="289"/>
                  </a:lnTo>
                  <a:lnTo>
                    <a:pt x="2941" y="289"/>
                  </a:lnTo>
                  <a:lnTo>
                    <a:pt x="2936" y="289"/>
                  </a:lnTo>
                  <a:lnTo>
                    <a:pt x="2936" y="289"/>
                  </a:lnTo>
                  <a:lnTo>
                    <a:pt x="2932" y="289"/>
                  </a:lnTo>
                  <a:lnTo>
                    <a:pt x="2932" y="289"/>
                  </a:lnTo>
                  <a:lnTo>
                    <a:pt x="2927" y="289"/>
                  </a:lnTo>
                  <a:lnTo>
                    <a:pt x="2927" y="294"/>
                  </a:lnTo>
                  <a:lnTo>
                    <a:pt x="2927" y="294"/>
                  </a:lnTo>
                  <a:lnTo>
                    <a:pt x="2927" y="294"/>
                  </a:lnTo>
                  <a:lnTo>
                    <a:pt x="2927" y="298"/>
                  </a:lnTo>
                  <a:lnTo>
                    <a:pt x="2927" y="298"/>
                  </a:lnTo>
                  <a:lnTo>
                    <a:pt x="2927" y="298"/>
                  </a:lnTo>
                  <a:lnTo>
                    <a:pt x="2927" y="298"/>
                  </a:lnTo>
                  <a:lnTo>
                    <a:pt x="2927" y="298"/>
                  </a:lnTo>
                  <a:lnTo>
                    <a:pt x="2927" y="298"/>
                  </a:lnTo>
                  <a:lnTo>
                    <a:pt x="2927" y="298"/>
                  </a:lnTo>
                  <a:lnTo>
                    <a:pt x="2927" y="298"/>
                  </a:lnTo>
                  <a:lnTo>
                    <a:pt x="2923" y="294"/>
                  </a:lnTo>
                  <a:lnTo>
                    <a:pt x="2923" y="294"/>
                  </a:lnTo>
                  <a:lnTo>
                    <a:pt x="2923" y="294"/>
                  </a:lnTo>
                  <a:lnTo>
                    <a:pt x="2923" y="294"/>
                  </a:lnTo>
                  <a:lnTo>
                    <a:pt x="2918" y="294"/>
                  </a:lnTo>
                  <a:lnTo>
                    <a:pt x="2918" y="298"/>
                  </a:lnTo>
                  <a:lnTo>
                    <a:pt x="2914" y="298"/>
                  </a:lnTo>
                  <a:lnTo>
                    <a:pt x="2914" y="298"/>
                  </a:lnTo>
                  <a:lnTo>
                    <a:pt x="2918" y="298"/>
                  </a:lnTo>
                  <a:lnTo>
                    <a:pt x="2918" y="298"/>
                  </a:lnTo>
                  <a:lnTo>
                    <a:pt x="2918" y="298"/>
                  </a:lnTo>
                  <a:lnTo>
                    <a:pt x="2918" y="298"/>
                  </a:lnTo>
                  <a:lnTo>
                    <a:pt x="2918" y="298"/>
                  </a:lnTo>
                  <a:lnTo>
                    <a:pt x="2914" y="298"/>
                  </a:lnTo>
                  <a:lnTo>
                    <a:pt x="2914" y="298"/>
                  </a:lnTo>
                  <a:lnTo>
                    <a:pt x="2914" y="298"/>
                  </a:lnTo>
                  <a:lnTo>
                    <a:pt x="2909" y="303"/>
                  </a:lnTo>
                  <a:lnTo>
                    <a:pt x="2909" y="303"/>
                  </a:lnTo>
                  <a:lnTo>
                    <a:pt x="2909" y="303"/>
                  </a:lnTo>
                  <a:lnTo>
                    <a:pt x="2909" y="303"/>
                  </a:lnTo>
                  <a:lnTo>
                    <a:pt x="2914" y="303"/>
                  </a:lnTo>
                  <a:lnTo>
                    <a:pt x="2914" y="303"/>
                  </a:lnTo>
                  <a:lnTo>
                    <a:pt x="2918" y="303"/>
                  </a:lnTo>
                  <a:lnTo>
                    <a:pt x="2914" y="303"/>
                  </a:lnTo>
                  <a:lnTo>
                    <a:pt x="2914" y="303"/>
                  </a:lnTo>
                  <a:lnTo>
                    <a:pt x="2914" y="308"/>
                  </a:lnTo>
                  <a:lnTo>
                    <a:pt x="2918" y="308"/>
                  </a:lnTo>
                  <a:lnTo>
                    <a:pt x="2918" y="308"/>
                  </a:lnTo>
                  <a:lnTo>
                    <a:pt x="2918" y="308"/>
                  </a:lnTo>
                  <a:lnTo>
                    <a:pt x="2923" y="308"/>
                  </a:lnTo>
                  <a:lnTo>
                    <a:pt x="2918" y="308"/>
                  </a:lnTo>
                  <a:lnTo>
                    <a:pt x="2918" y="312"/>
                  </a:lnTo>
                  <a:lnTo>
                    <a:pt x="2918" y="312"/>
                  </a:lnTo>
                  <a:lnTo>
                    <a:pt x="2918" y="308"/>
                  </a:lnTo>
                  <a:lnTo>
                    <a:pt x="2918" y="308"/>
                  </a:lnTo>
                  <a:lnTo>
                    <a:pt x="2914" y="308"/>
                  </a:lnTo>
                  <a:lnTo>
                    <a:pt x="2914" y="308"/>
                  </a:lnTo>
                  <a:lnTo>
                    <a:pt x="2914" y="308"/>
                  </a:lnTo>
                  <a:lnTo>
                    <a:pt x="2909" y="308"/>
                  </a:lnTo>
                  <a:lnTo>
                    <a:pt x="2909" y="312"/>
                  </a:lnTo>
                  <a:lnTo>
                    <a:pt x="2909" y="312"/>
                  </a:lnTo>
                  <a:lnTo>
                    <a:pt x="2905" y="312"/>
                  </a:lnTo>
                  <a:lnTo>
                    <a:pt x="2905" y="312"/>
                  </a:lnTo>
                  <a:lnTo>
                    <a:pt x="2905" y="312"/>
                  </a:lnTo>
                  <a:lnTo>
                    <a:pt x="2909" y="312"/>
                  </a:lnTo>
                  <a:lnTo>
                    <a:pt x="2909" y="312"/>
                  </a:lnTo>
                  <a:lnTo>
                    <a:pt x="2918" y="312"/>
                  </a:lnTo>
                  <a:lnTo>
                    <a:pt x="2918" y="312"/>
                  </a:lnTo>
                  <a:lnTo>
                    <a:pt x="2918" y="312"/>
                  </a:lnTo>
                  <a:lnTo>
                    <a:pt x="2909" y="312"/>
                  </a:lnTo>
                  <a:lnTo>
                    <a:pt x="2909" y="312"/>
                  </a:lnTo>
                  <a:lnTo>
                    <a:pt x="2905" y="317"/>
                  </a:lnTo>
                  <a:lnTo>
                    <a:pt x="2905" y="312"/>
                  </a:lnTo>
                  <a:lnTo>
                    <a:pt x="2905" y="317"/>
                  </a:lnTo>
                  <a:lnTo>
                    <a:pt x="2900" y="317"/>
                  </a:lnTo>
                  <a:lnTo>
                    <a:pt x="2900" y="317"/>
                  </a:lnTo>
                  <a:lnTo>
                    <a:pt x="2900" y="317"/>
                  </a:lnTo>
                  <a:lnTo>
                    <a:pt x="2900" y="317"/>
                  </a:lnTo>
                  <a:lnTo>
                    <a:pt x="2896" y="317"/>
                  </a:lnTo>
                  <a:lnTo>
                    <a:pt x="2896" y="321"/>
                  </a:lnTo>
                  <a:lnTo>
                    <a:pt x="2896" y="321"/>
                  </a:lnTo>
                  <a:lnTo>
                    <a:pt x="2900" y="321"/>
                  </a:lnTo>
                  <a:lnTo>
                    <a:pt x="2900" y="321"/>
                  </a:lnTo>
                  <a:lnTo>
                    <a:pt x="2900" y="321"/>
                  </a:lnTo>
                  <a:lnTo>
                    <a:pt x="2896" y="321"/>
                  </a:lnTo>
                  <a:lnTo>
                    <a:pt x="2896" y="321"/>
                  </a:lnTo>
                  <a:lnTo>
                    <a:pt x="2896" y="321"/>
                  </a:lnTo>
                  <a:lnTo>
                    <a:pt x="2891" y="321"/>
                  </a:lnTo>
                  <a:lnTo>
                    <a:pt x="2891" y="326"/>
                  </a:lnTo>
                  <a:lnTo>
                    <a:pt x="2891" y="326"/>
                  </a:lnTo>
                  <a:lnTo>
                    <a:pt x="2891" y="326"/>
                  </a:lnTo>
                  <a:lnTo>
                    <a:pt x="2891" y="330"/>
                  </a:lnTo>
                  <a:lnTo>
                    <a:pt x="2891" y="330"/>
                  </a:lnTo>
                  <a:lnTo>
                    <a:pt x="2896" y="330"/>
                  </a:lnTo>
                  <a:lnTo>
                    <a:pt x="2896" y="330"/>
                  </a:lnTo>
                  <a:lnTo>
                    <a:pt x="2896" y="330"/>
                  </a:lnTo>
                  <a:lnTo>
                    <a:pt x="2896" y="330"/>
                  </a:lnTo>
                  <a:lnTo>
                    <a:pt x="2900" y="330"/>
                  </a:lnTo>
                  <a:lnTo>
                    <a:pt x="2900" y="330"/>
                  </a:lnTo>
                  <a:lnTo>
                    <a:pt x="2900" y="330"/>
                  </a:lnTo>
                  <a:lnTo>
                    <a:pt x="2900" y="330"/>
                  </a:lnTo>
                  <a:lnTo>
                    <a:pt x="2896" y="335"/>
                  </a:lnTo>
                  <a:lnTo>
                    <a:pt x="2896" y="335"/>
                  </a:lnTo>
                  <a:lnTo>
                    <a:pt x="2887" y="335"/>
                  </a:lnTo>
                  <a:lnTo>
                    <a:pt x="2887" y="335"/>
                  </a:lnTo>
                  <a:lnTo>
                    <a:pt x="2891" y="335"/>
                  </a:lnTo>
                  <a:lnTo>
                    <a:pt x="2891" y="335"/>
                  </a:lnTo>
                  <a:lnTo>
                    <a:pt x="2891" y="339"/>
                  </a:lnTo>
                  <a:lnTo>
                    <a:pt x="2887" y="339"/>
                  </a:lnTo>
                  <a:lnTo>
                    <a:pt x="2887" y="339"/>
                  </a:lnTo>
                  <a:lnTo>
                    <a:pt x="2887" y="339"/>
                  </a:lnTo>
                  <a:lnTo>
                    <a:pt x="2882" y="344"/>
                  </a:lnTo>
                  <a:lnTo>
                    <a:pt x="2882" y="344"/>
                  </a:lnTo>
                  <a:lnTo>
                    <a:pt x="2878" y="344"/>
                  </a:lnTo>
                  <a:lnTo>
                    <a:pt x="2878" y="348"/>
                  </a:lnTo>
                  <a:lnTo>
                    <a:pt x="2878" y="348"/>
                  </a:lnTo>
                  <a:lnTo>
                    <a:pt x="2878" y="348"/>
                  </a:lnTo>
                  <a:lnTo>
                    <a:pt x="2882" y="348"/>
                  </a:lnTo>
                  <a:lnTo>
                    <a:pt x="2882" y="348"/>
                  </a:lnTo>
                  <a:lnTo>
                    <a:pt x="2882" y="353"/>
                  </a:lnTo>
                  <a:lnTo>
                    <a:pt x="2882" y="353"/>
                  </a:lnTo>
                  <a:lnTo>
                    <a:pt x="2882" y="353"/>
                  </a:lnTo>
                  <a:lnTo>
                    <a:pt x="2887" y="348"/>
                  </a:lnTo>
                  <a:lnTo>
                    <a:pt x="2887" y="348"/>
                  </a:lnTo>
                  <a:lnTo>
                    <a:pt x="2887" y="348"/>
                  </a:lnTo>
                  <a:lnTo>
                    <a:pt x="2887" y="353"/>
                  </a:lnTo>
                  <a:lnTo>
                    <a:pt x="2882" y="353"/>
                  </a:lnTo>
                  <a:lnTo>
                    <a:pt x="2882" y="353"/>
                  </a:lnTo>
                  <a:lnTo>
                    <a:pt x="2882" y="353"/>
                  </a:lnTo>
                  <a:lnTo>
                    <a:pt x="2878" y="353"/>
                  </a:lnTo>
                  <a:lnTo>
                    <a:pt x="2873" y="357"/>
                  </a:lnTo>
                  <a:lnTo>
                    <a:pt x="2869" y="357"/>
                  </a:lnTo>
                  <a:lnTo>
                    <a:pt x="2869" y="357"/>
                  </a:lnTo>
                  <a:lnTo>
                    <a:pt x="2869" y="357"/>
                  </a:lnTo>
                  <a:lnTo>
                    <a:pt x="2869" y="357"/>
                  </a:lnTo>
                  <a:lnTo>
                    <a:pt x="2873" y="357"/>
                  </a:lnTo>
                  <a:lnTo>
                    <a:pt x="2873" y="357"/>
                  </a:lnTo>
                  <a:lnTo>
                    <a:pt x="2873" y="362"/>
                  </a:lnTo>
                  <a:lnTo>
                    <a:pt x="2869" y="362"/>
                  </a:lnTo>
                  <a:lnTo>
                    <a:pt x="2869" y="362"/>
                  </a:lnTo>
                  <a:lnTo>
                    <a:pt x="2864" y="362"/>
                  </a:lnTo>
                  <a:lnTo>
                    <a:pt x="2864" y="362"/>
                  </a:lnTo>
                  <a:lnTo>
                    <a:pt x="2864" y="366"/>
                  </a:lnTo>
                  <a:lnTo>
                    <a:pt x="2860" y="366"/>
                  </a:lnTo>
                  <a:lnTo>
                    <a:pt x="2855" y="371"/>
                  </a:lnTo>
                  <a:lnTo>
                    <a:pt x="2851" y="371"/>
                  </a:lnTo>
                  <a:lnTo>
                    <a:pt x="2851" y="375"/>
                  </a:lnTo>
                  <a:lnTo>
                    <a:pt x="2851" y="375"/>
                  </a:lnTo>
                  <a:lnTo>
                    <a:pt x="2851" y="375"/>
                  </a:lnTo>
                  <a:lnTo>
                    <a:pt x="2846" y="375"/>
                  </a:lnTo>
                  <a:lnTo>
                    <a:pt x="2846" y="380"/>
                  </a:lnTo>
                  <a:lnTo>
                    <a:pt x="2846" y="380"/>
                  </a:lnTo>
                  <a:lnTo>
                    <a:pt x="2846" y="380"/>
                  </a:lnTo>
                  <a:lnTo>
                    <a:pt x="2851" y="380"/>
                  </a:lnTo>
                  <a:lnTo>
                    <a:pt x="2851" y="380"/>
                  </a:lnTo>
                  <a:lnTo>
                    <a:pt x="2851" y="380"/>
                  </a:lnTo>
                  <a:lnTo>
                    <a:pt x="2851" y="384"/>
                  </a:lnTo>
                  <a:lnTo>
                    <a:pt x="2855" y="384"/>
                  </a:lnTo>
                  <a:lnTo>
                    <a:pt x="2855" y="380"/>
                  </a:lnTo>
                  <a:lnTo>
                    <a:pt x="2864" y="380"/>
                  </a:lnTo>
                  <a:lnTo>
                    <a:pt x="2864" y="375"/>
                  </a:lnTo>
                  <a:lnTo>
                    <a:pt x="2864" y="375"/>
                  </a:lnTo>
                  <a:lnTo>
                    <a:pt x="2864" y="375"/>
                  </a:lnTo>
                  <a:lnTo>
                    <a:pt x="2864" y="375"/>
                  </a:lnTo>
                  <a:lnTo>
                    <a:pt x="2869" y="375"/>
                  </a:lnTo>
                  <a:lnTo>
                    <a:pt x="2869" y="371"/>
                  </a:lnTo>
                  <a:lnTo>
                    <a:pt x="2869" y="375"/>
                  </a:lnTo>
                  <a:lnTo>
                    <a:pt x="2873" y="375"/>
                  </a:lnTo>
                  <a:lnTo>
                    <a:pt x="2869" y="375"/>
                  </a:lnTo>
                  <a:lnTo>
                    <a:pt x="2869" y="375"/>
                  </a:lnTo>
                  <a:lnTo>
                    <a:pt x="2869" y="375"/>
                  </a:lnTo>
                  <a:lnTo>
                    <a:pt x="2869" y="375"/>
                  </a:lnTo>
                  <a:lnTo>
                    <a:pt x="2869" y="375"/>
                  </a:lnTo>
                  <a:lnTo>
                    <a:pt x="2869" y="375"/>
                  </a:lnTo>
                  <a:lnTo>
                    <a:pt x="2869" y="380"/>
                  </a:lnTo>
                  <a:lnTo>
                    <a:pt x="2869" y="380"/>
                  </a:lnTo>
                  <a:lnTo>
                    <a:pt x="2864" y="380"/>
                  </a:lnTo>
                  <a:lnTo>
                    <a:pt x="2864" y="380"/>
                  </a:lnTo>
                  <a:lnTo>
                    <a:pt x="2860" y="380"/>
                  </a:lnTo>
                  <a:lnTo>
                    <a:pt x="2860" y="380"/>
                  </a:lnTo>
                  <a:lnTo>
                    <a:pt x="2860" y="384"/>
                  </a:lnTo>
                  <a:lnTo>
                    <a:pt x="2864" y="384"/>
                  </a:lnTo>
                  <a:lnTo>
                    <a:pt x="2860" y="384"/>
                  </a:lnTo>
                  <a:lnTo>
                    <a:pt x="2860" y="384"/>
                  </a:lnTo>
                  <a:lnTo>
                    <a:pt x="2855" y="384"/>
                  </a:lnTo>
                  <a:lnTo>
                    <a:pt x="2855" y="384"/>
                  </a:lnTo>
                  <a:lnTo>
                    <a:pt x="2855" y="384"/>
                  </a:lnTo>
                  <a:lnTo>
                    <a:pt x="2851" y="384"/>
                  </a:lnTo>
                  <a:lnTo>
                    <a:pt x="2851" y="384"/>
                  </a:lnTo>
                  <a:lnTo>
                    <a:pt x="2851" y="384"/>
                  </a:lnTo>
                  <a:lnTo>
                    <a:pt x="2851" y="384"/>
                  </a:lnTo>
                  <a:lnTo>
                    <a:pt x="2851" y="384"/>
                  </a:lnTo>
                  <a:lnTo>
                    <a:pt x="2851" y="380"/>
                  </a:lnTo>
                  <a:lnTo>
                    <a:pt x="2846" y="380"/>
                  </a:lnTo>
                  <a:lnTo>
                    <a:pt x="2846" y="380"/>
                  </a:lnTo>
                  <a:lnTo>
                    <a:pt x="2846" y="380"/>
                  </a:lnTo>
                  <a:lnTo>
                    <a:pt x="2842" y="384"/>
                  </a:lnTo>
                  <a:lnTo>
                    <a:pt x="2842" y="384"/>
                  </a:lnTo>
                  <a:lnTo>
                    <a:pt x="2842" y="384"/>
                  </a:lnTo>
                  <a:lnTo>
                    <a:pt x="2842" y="380"/>
                  </a:lnTo>
                  <a:lnTo>
                    <a:pt x="2842" y="380"/>
                  </a:lnTo>
                  <a:lnTo>
                    <a:pt x="2837" y="380"/>
                  </a:lnTo>
                  <a:lnTo>
                    <a:pt x="2837" y="380"/>
                  </a:lnTo>
                  <a:lnTo>
                    <a:pt x="2833" y="380"/>
                  </a:lnTo>
                  <a:lnTo>
                    <a:pt x="2833" y="384"/>
                  </a:lnTo>
                  <a:lnTo>
                    <a:pt x="2833" y="384"/>
                  </a:lnTo>
                  <a:lnTo>
                    <a:pt x="2833" y="384"/>
                  </a:lnTo>
                  <a:lnTo>
                    <a:pt x="2833" y="384"/>
                  </a:lnTo>
                  <a:lnTo>
                    <a:pt x="2833" y="384"/>
                  </a:lnTo>
                  <a:lnTo>
                    <a:pt x="2837" y="384"/>
                  </a:lnTo>
                  <a:lnTo>
                    <a:pt x="2837" y="384"/>
                  </a:lnTo>
                  <a:lnTo>
                    <a:pt x="2833" y="384"/>
                  </a:lnTo>
                  <a:lnTo>
                    <a:pt x="2833" y="389"/>
                  </a:lnTo>
                  <a:lnTo>
                    <a:pt x="2828" y="389"/>
                  </a:lnTo>
                  <a:lnTo>
                    <a:pt x="2828" y="389"/>
                  </a:lnTo>
                  <a:lnTo>
                    <a:pt x="2828" y="389"/>
                  </a:lnTo>
                  <a:lnTo>
                    <a:pt x="2833" y="393"/>
                  </a:lnTo>
                  <a:lnTo>
                    <a:pt x="2833" y="393"/>
                  </a:lnTo>
                  <a:lnTo>
                    <a:pt x="2837" y="393"/>
                  </a:lnTo>
                  <a:lnTo>
                    <a:pt x="2833" y="393"/>
                  </a:lnTo>
                  <a:lnTo>
                    <a:pt x="2828" y="393"/>
                  </a:lnTo>
                  <a:lnTo>
                    <a:pt x="2828" y="389"/>
                  </a:lnTo>
                  <a:lnTo>
                    <a:pt x="2824" y="389"/>
                  </a:lnTo>
                  <a:lnTo>
                    <a:pt x="2824" y="389"/>
                  </a:lnTo>
                  <a:lnTo>
                    <a:pt x="2824" y="389"/>
                  </a:lnTo>
                  <a:lnTo>
                    <a:pt x="2824" y="389"/>
                  </a:lnTo>
                  <a:lnTo>
                    <a:pt x="2819" y="393"/>
                  </a:lnTo>
                  <a:lnTo>
                    <a:pt x="2815" y="393"/>
                  </a:lnTo>
                  <a:lnTo>
                    <a:pt x="2815" y="393"/>
                  </a:lnTo>
                  <a:lnTo>
                    <a:pt x="2815" y="393"/>
                  </a:lnTo>
                  <a:lnTo>
                    <a:pt x="2810" y="398"/>
                  </a:lnTo>
                  <a:lnTo>
                    <a:pt x="2810" y="398"/>
                  </a:lnTo>
                  <a:lnTo>
                    <a:pt x="2810" y="398"/>
                  </a:lnTo>
                  <a:lnTo>
                    <a:pt x="2815" y="398"/>
                  </a:lnTo>
                  <a:lnTo>
                    <a:pt x="2815" y="398"/>
                  </a:lnTo>
                  <a:lnTo>
                    <a:pt x="2819" y="398"/>
                  </a:lnTo>
                  <a:lnTo>
                    <a:pt x="2819" y="398"/>
                  </a:lnTo>
                  <a:lnTo>
                    <a:pt x="2828" y="398"/>
                  </a:lnTo>
                  <a:lnTo>
                    <a:pt x="2828" y="398"/>
                  </a:lnTo>
                  <a:lnTo>
                    <a:pt x="2824" y="398"/>
                  </a:lnTo>
                  <a:lnTo>
                    <a:pt x="2819" y="398"/>
                  </a:lnTo>
                  <a:lnTo>
                    <a:pt x="2819" y="398"/>
                  </a:lnTo>
                  <a:lnTo>
                    <a:pt x="2819" y="398"/>
                  </a:lnTo>
                  <a:lnTo>
                    <a:pt x="2824" y="398"/>
                  </a:lnTo>
                  <a:lnTo>
                    <a:pt x="2824" y="402"/>
                  </a:lnTo>
                  <a:lnTo>
                    <a:pt x="2824" y="402"/>
                  </a:lnTo>
                  <a:lnTo>
                    <a:pt x="2819" y="402"/>
                  </a:lnTo>
                  <a:lnTo>
                    <a:pt x="2819" y="398"/>
                  </a:lnTo>
                  <a:lnTo>
                    <a:pt x="2815" y="398"/>
                  </a:lnTo>
                  <a:lnTo>
                    <a:pt x="2810" y="398"/>
                  </a:lnTo>
                  <a:lnTo>
                    <a:pt x="2810" y="398"/>
                  </a:lnTo>
                  <a:lnTo>
                    <a:pt x="2805" y="398"/>
                  </a:lnTo>
                  <a:lnTo>
                    <a:pt x="2805" y="398"/>
                  </a:lnTo>
                  <a:lnTo>
                    <a:pt x="2805" y="398"/>
                  </a:lnTo>
                  <a:lnTo>
                    <a:pt x="2805" y="402"/>
                  </a:lnTo>
                  <a:lnTo>
                    <a:pt x="2805" y="402"/>
                  </a:lnTo>
                  <a:lnTo>
                    <a:pt x="2801" y="402"/>
                  </a:lnTo>
                  <a:lnTo>
                    <a:pt x="2801" y="402"/>
                  </a:lnTo>
                  <a:lnTo>
                    <a:pt x="2805" y="402"/>
                  </a:lnTo>
                  <a:lnTo>
                    <a:pt x="2805" y="402"/>
                  </a:lnTo>
                  <a:lnTo>
                    <a:pt x="2810" y="402"/>
                  </a:lnTo>
                  <a:lnTo>
                    <a:pt x="2810" y="402"/>
                  </a:lnTo>
                  <a:lnTo>
                    <a:pt x="2810" y="402"/>
                  </a:lnTo>
                  <a:lnTo>
                    <a:pt x="2805" y="402"/>
                  </a:lnTo>
                  <a:lnTo>
                    <a:pt x="2801" y="402"/>
                  </a:lnTo>
                  <a:lnTo>
                    <a:pt x="2801" y="402"/>
                  </a:lnTo>
                  <a:lnTo>
                    <a:pt x="2801" y="402"/>
                  </a:lnTo>
                  <a:lnTo>
                    <a:pt x="2801" y="402"/>
                  </a:lnTo>
                  <a:lnTo>
                    <a:pt x="2796" y="402"/>
                  </a:lnTo>
                  <a:lnTo>
                    <a:pt x="2796" y="402"/>
                  </a:lnTo>
                  <a:lnTo>
                    <a:pt x="2796" y="407"/>
                  </a:lnTo>
                  <a:lnTo>
                    <a:pt x="2796" y="407"/>
                  </a:lnTo>
                  <a:lnTo>
                    <a:pt x="2792" y="407"/>
                  </a:lnTo>
                  <a:lnTo>
                    <a:pt x="2792" y="407"/>
                  </a:lnTo>
                  <a:lnTo>
                    <a:pt x="2792" y="407"/>
                  </a:lnTo>
                  <a:lnTo>
                    <a:pt x="2792" y="407"/>
                  </a:lnTo>
                  <a:lnTo>
                    <a:pt x="2792" y="407"/>
                  </a:lnTo>
                  <a:lnTo>
                    <a:pt x="2787" y="411"/>
                  </a:lnTo>
                  <a:lnTo>
                    <a:pt x="2792" y="411"/>
                  </a:lnTo>
                  <a:lnTo>
                    <a:pt x="2792" y="411"/>
                  </a:lnTo>
                  <a:lnTo>
                    <a:pt x="2792" y="411"/>
                  </a:lnTo>
                  <a:lnTo>
                    <a:pt x="2796" y="411"/>
                  </a:lnTo>
                  <a:lnTo>
                    <a:pt x="2801" y="416"/>
                  </a:lnTo>
                  <a:lnTo>
                    <a:pt x="2805" y="416"/>
                  </a:lnTo>
                  <a:lnTo>
                    <a:pt x="2810" y="411"/>
                  </a:lnTo>
                  <a:lnTo>
                    <a:pt x="2810" y="411"/>
                  </a:lnTo>
                  <a:lnTo>
                    <a:pt x="2805" y="416"/>
                  </a:lnTo>
                  <a:lnTo>
                    <a:pt x="2801" y="416"/>
                  </a:lnTo>
                  <a:lnTo>
                    <a:pt x="2796" y="416"/>
                  </a:lnTo>
                  <a:lnTo>
                    <a:pt x="2792" y="411"/>
                  </a:lnTo>
                  <a:lnTo>
                    <a:pt x="2787" y="411"/>
                  </a:lnTo>
                  <a:lnTo>
                    <a:pt x="2787" y="411"/>
                  </a:lnTo>
                  <a:lnTo>
                    <a:pt x="2787" y="411"/>
                  </a:lnTo>
                  <a:lnTo>
                    <a:pt x="2787" y="416"/>
                  </a:lnTo>
                  <a:lnTo>
                    <a:pt x="2787" y="416"/>
                  </a:lnTo>
                  <a:lnTo>
                    <a:pt x="2787" y="416"/>
                  </a:lnTo>
                  <a:lnTo>
                    <a:pt x="2787" y="416"/>
                  </a:lnTo>
                  <a:lnTo>
                    <a:pt x="2792" y="421"/>
                  </a:lnTo>
                  <a:lnTo>
                    <a:pt x="2792" y="421"/>
                  </a:lnTo>
                  <a:lnTo>
                    <a:pt x="2792" y="421"/>
                  </a:lnTo>
                  <a:lnTo>
                    <a:pt x="2792" y="421"/>
                  </a:lnTo>
                  <a:lnTo>
                    <a:pt x="2792" y="421"/>
                  </a:lnTo>
                  <a:lnTo>
                    <a:pt x="2787" y="421"/>
                  </a:lnTo>
                  <a:lnTo>
                    <a:pt x="2787" y="421"/>
                  </a:lnTo>
                  <a:lnTo>
                    <a:pt x="2787" y="425"/>
                  </a:lnTo>
                  <a:lnTo>
                    <a:pt x="2787" y="425"/>
                  </a:lnTo>
                  <a:lnTo>
                    <a:pt x="2792" y="430"/>
                  </a:lnTo>
                  <a:lnTo>
                    <a:pt x="2792" y="430"/>
                  </a:lnTo>
                  <a:lnTo>
                    <a:pt x="2796" y="425"/>
                  </a:lnTo>
                  <a:lnTo>
                    <a:pt x="2801" y="425"/>
                  </a:lnTo>
                  <a:lnTo>
                    <a:pt x="2805" y="430"/>
                  </a:lnTo>
                  <a:lnTo>
                    <a:pt x="2805" y="425"/>
                  </a:lnTo>
                  <a:lnTo>
                    <a:pt x="2805" y="425"/>
                  </a:lnTo>
                  <a:lnTo>
                    <a:pt x="2810" y="425"/>
                  </a:lnTo>
                  <a:lnTo>
                    <a:pt x="2810" y="425"/>
                  </a:lnTo>
                  <a:lnTo>
                    <a:pt x="2810" y="425"/>
                  </a:lnTo>
                  <a:lnTo>
                    <a:pt x="2810" y="425"/>
                  </a:lnTo>
                  <a:lnTo>
                    <a:pt x="2810" y="425"/>
                  </a:lnTo>
                  <a:lnTo>
                    <a:pt x="2815" y="425"/>
                  </a:lnTo>
                  <a:lnTo>
                    <a:pt x="2815" y="425"/>
                  </a:lnTo>
                  <a:lnTo>
                    <a:pt x="2819" y="425"/>
                  </a:lnTo>
                  <a:lnTo>
                    <a:pt x="2819" y="425"/>
                  </a:lnTo>
                  <a:lnTo>
                    <a:pt x="2819" y="425"/>
                  </a:lnTo>
                  <a:lnTo>
                    <a:pt x="2819" y="425"/>
                  </a:lnTo>
                  <a:lnTo>
                    <a:pt x="2819" y="421"/>
                  </a:lnTo>
                  <a:lnTo>
                    <a:pt x="2819" y="421"/>
                  </a:lnTo>
                  <a:lnTo>
                    <a:pt x="2819" y="425"/>
                  </a:lnTo>
                  <a:lnTo>
                    <a:pt x="2819" y="425"/>
                  </a:lnTo>
                  <a:lnTo>
                    <a:pt x="2819" y="425"/>
                  </a:lnTo>
                  <a:lnTo>
                    <a:pt x="2819" y="425"/>
                  </a:lnTo>
                  <a:lnTo>
                    <a:pt x="2815" y="430"/>
                  </a:lnTo>
                  <a:lnTo>
                    <a:pt x="2815" y="430"/>
                  </a:lnTo>
                  <a:lnTo>
                    <a:pt x="2815" y="430"/>
                  </a:lnTo>
                  <a:lnTo>
                    <a:pt x="2815" y="430"/>
                  </a:lnTo>
                  <a:lnTo>
                    <a:pt x="2815" y="430"/>
                  </a:lnTo>
                  <a:lnTo>
                    <a:pt x="2815" y="430"/>
                  </a:lnTo>
                  <a:lnTo>
                    <a:pt x="2810" y="430"/>
                  </a:lnTo>
                  <a:lnTo>
                    <a:pt x="2810" y="425"/>
                  </a:lnTo>
                  <a:lnTo>
                    <a:pt x="2810" y="430"/>
                  </a:lnTo>
                  <a:lnTo>
                    <a:pt x="2805" y="430"/>
                  </a:lnTo>
                  <a:lnTo>
                    <a:pt x="2805" y="430"/>
                  </a:lnTo>
                  <a:lnTo>
                    <a:pt x="2801" y="430"/>
                  </a:lnTo>
                  <a:lnTo>
                    <a:pt x="2792" y="430"/>
                  </a:lnTo>
                  <a:lnTo>
                    <a:pt x="2792" y="430"/>
                  </a:lnTo>
                  <a:lnTo>
                    <a:pt x="2787" y="430"/>
                  </a:lnTo>
                  <a:lnTo>
                    <a:pt x="2787" y="430"/>
                  </a:lnTo>
                  <a:lnTo>
                    <a:pt x="2787" y="430"/>
                  </a:lnTo>
                  <a:lnTo>
                    <a:pt x="2787" y="430"/>
                  </a:lnTo>
                  <a:lnTo>
                    <a:pt x="2787" y="434"/>
                  </a:lnTo>
                  <a:lnTo>
                    <a:pt x="2787" y="434"/>
                  </a:lnTo>
                  <a:lnTo>
                    <a:pt x="2787" y="439"/>
                  </a:lnTo>
                  <a:lnTo>
                    <a:pt x="2792" y="439"/>
                  </a:lnTo>
                  <a:lnTo>
                    <a:pt x="2792" y="439"/>
                  </a:lnTo>
                  <a:lnTo>
                    <a:pt x="2796" y="434"/>
                  </a:lnTo>
                  <a:lnTo>
                    <a:pt x="2796" y="434"/>
                  </a:lnTo>
                  <a:lnTo>
                    <a:pt x="2792" y="439"/>
                  </a:lnTo>
                  <a:lnTo>
                    <a:pt x="2787" y="439"/>
                  </a:lnTo>
                  <a:lnTo>
                    <a:pt x="2787" y="439"/>
                  </a:lnTo>
                  <a:lnTo>
                    <a:pt x="2787" y="443"/>
                  </a:lnTo>
                  <a:lnTo>
                    <a:pt x="2792" y="443"/>
                  </a:lnTo>
                  <a:lnTo>
                    <a:pt x="2792" y="448"/>
                  </a:lnTo>
                  <a:lnTo>
                    <a:pt x="2792" y="448"/>
                  </a:lnTo>
                  <a:lnTo>
                    <a:pt x="2796" y="448"/>
                  </a:lnTo>
                  <a:lnTo>
                    <a:pt x="2796" y="448"/>
                  </a:lnTo>
                  <a:lnTo>
                    <a:pt x="2792" y="448"/>
                  </a:lnTo>
                  <a:lnTo>
                    <a:pt x="2792" y="448"/>
                  </a:lnTo>
                  <a:lnTo>
                    <a:pt x="2792" y="448"/>
                  </a:lnTo>
                  <a:lnTo>
                    <a:pt x="2787" y="448"/>
                  </a:lnTo>
                  <a:lnTo>
                    <a:pt x="2787" y="448"/>
                  </a:lnTo>
                  <a:lnTo>
                    <a:pt x="2787" y="448"/>
                  </a:lnTo>
                  <a:lnTo>
                    <a:pt x="2787" y="452"/>
                  </a:lnTo>
                  <a:lnTo>
                    <a:pt x="2787" y="452"/>
                  </a:lnTo>
                  <a:lnTo>
                    <a:pt x="2787" y="452"/>
                  </a:lnTo>
                  <a:lnTo>
                    <a:pt x="2787" y="457"/>
                  </a:lnTo>
                  <a:lnTo>
                    <a:pt x="2787" y="457"/>
                  </a:lnTo>
                  <a:lnTo>
                    <a:pt x="2787" y="457"/>
                  </a:lnTo>
                  <a:lnTo>
                    <a:pt x="2787" y="457"/>
                  </a:lnTo>
                  <a:lnTo>
                    <a:pt x="2787" y="452"/>
                  </a:lnTo>
                  <a:lnTo>
                    <a:pt x="2792" y="452"/>
                  </a:lnTo>
                  <a:lnTo>
                    <a:pt x="2792" y="452"/>
                  </a:lnTo>
                  <a:lnTo>
                    <a:pt x="2792" y="452"/>
                  </a:lnTo>
                  <a:lnTo>
                    <a:pt x="2796" y="448"/>
                  </a:lnTo>
                  <a:lnTo>
                    <a:pt x="2796" y="448"/>
                  </a:lnTo>
                  <a:lnTo>
                    <a:pt x="2796" y="448"/>
                  </a:lnTo>
                  <a:lnTo>
                    <a:pt x="2796" y="448"/>
                  </a:lnTo>
                  <a:lnTo>
                    <a:pt x="2801" y="443"/>
                  </a:lnTo>
                  <a:lnTo>
                    <a:pt x="2801" y="443"/>
                  </a:lnTo>
                  <a:lnTo>
                    <a:pt x="2801" y="443"/>
                  </a:lnTo>
                  <a:lnTo>
                    <a:pt x="2805" y="439"/>
                  </a:lnTo>
                  <a:lnTo>
                    <a:pt x="2810" y="439"/>
                  </a:lnTo>
                  <a:lnTo>
                    <a:pt x="2815" y="439"/>
                  </a:lnTo>
                  <a:lnTo>
                    <a:pt x="2815" y="439"/>
                  </a:lnTo>
                  <a:lnTo>
                    <a:pt x="2810" y="439"/>
                  </a:lnTo>
                  <a:lnTo>
                    <a:pt x="2810" y="439"/>
                  </a:lnTo>
                  <a:lnTo>
                    <a:pt x="2810" y="443"/>
                  </a:lnTo>
                  <a:lnTo>
                    <a:pt x="2805" y="448"/>
                  </a:lnTo>
                  <a:lnTo>
                    <a:pt x="2805" y="443"/>
                  </a:lnTo>
                  <a:lnTo>
                    <a:pt x="2805" y="443"/>
                  </a:lnTo>
                  <a:lnTo>
                    <a:pt x="2805" y="443"/>
                  </a:lnTo>
                  <a:lnTo>
                    <a:pt x="2805" y="443"/>
                  </a:lnTo>
                  <a:lnTo>
                    <a:pt x="2801" y="443"/>
                  </a:lnTo>
                  <a:lnTo>
                    <a:pt x="2801" y="448"/>
                  </a:lnTo>
                  <a:lnTo>
                    <a:pt x="2801" y="448"/>
                  </a:lnTo>
                  <a:lnTo>
                    <a:pt x="2801" y="448"/>
                  </a:lnTo>
                  <a:lnTo>
                    <a:pt x="2801" y="448"/>
                  </a:lnTo>
                  <a:lnTo>
                    <a:pt x="2796" y="452"/>
                  </a:lnTo>
                  <a:lnTo>
                    <a:pt x="2796" y="452"/>
                  </a:lnTo>
                  <a:lnTo>
                    <a:pt x="2796" y="452"/>
                  </a:lnTo>
                  <a:lnTo>
                    <a:pt x="2796" y="452"/>
                  </a:lnTo>
                  <a:lnTo>
                    <a:pt x="2801" y="452"/>
                  </a:lnTo>
                  <a:lnTo>
                    <a:pt x="2801" y="452"/>
                  </a:lnTo>
                  <a:lnTo>
                    <a:pt x="2801" y="452"/>
                  </a:lnTo>
                  <a:lnTo>
                    <a:pt x="2801" y="452"/>
                  </a:lnTo>
                  <a:lnTo>
                    <a:pt x="2801" y="452"/>
                  </a:lnTo>
                  <a:lnTo>
                    <a:pt x="2796" y="452"/>
                  </a:lnTo>
                  <a:lnTo>
                    <a:pt x="2796" y="457"/>
                  </a:lnTo>
                  <a:lnTo>
                    <a:pt x="2792" y="457"/>
                  </a:lnTo>
                  <a:lnTo>
                    <a:pt x="2792" y="452"/>
                  </a:lnTo>
                  <a:lnTo>
                    <a:pt x="2792" y="452"/>
                  </a:lnTo>
                  <a:lnTo>
                    <a:pt x="2792" y="457"/>
                  </a:lnTo>
                  <a:lnTo>
                    <a:pt x="2792" y="457"/>
                  </a:lnTo>
                  <a:lnTo>
                    <a:pt x="2787" y="457"/>
                  </a:lnTo>
                  <a:lnTo>
                    <a:pt x="2787" y="457"/>
                  </a:lnTo>
                  <a:lnTo>
                    <a:pt x="2787" y="461"/>
                  </a:lnTo>
                  <a:lnTo>
                    <a:pt x="2787" y="466"/>
                  </a:lnTo>
                  <a:lnTo>
                    <a:pt x="2792" y="466"/>
                  </a:lnTo>
                  <a:lnTo>
                    <a:pt x="2792" y="466"/>
                  </a:lnTo>
                  <a:lnTo>
                    <a:pt x="2792" y="461"/>
                  </a:lnTo>
                  <a:lnTo>
                    <a:pt x="2796" y="461"/>
                  </a:lnTo>
                  <a:lnTo>
                    <a:pt x="2796" y="461"/>
                  </a:lnTo>
                  <a:lnTo>
                    <a:pt x="2796" y="461"/>
                  </a:lnTo>
                  <a:lnTo>
                    <a:pt x="2801" y="461"/>
                  </a:lnTo>
                  <a:lnTo>
                    <a:pt x="2801" y="457"/>
                  </a:lnTo>
                  <a:lnTo>
                    <a:pt x="2801" y="457"/>
                  </a:lnTo>
                  <a:lnTo>
                    <a:pt x="2805" y="457"/>
                  </a:lnTo>
                  <a:lnTo>
                    <a:pt x="2805" y="457"/>
                  </a:lnTo>
                  <a:lnTo>
                    <a:pt x="2805" y="457"/>
                  </a:lnTo>
                  <a:lnTo>
                    <a:pt x="2801" y="461"/>
                  </a:lnTo>
                  <a:lnTo>
                    <a:pt x="2801" y="461"/>
                  </a:lnTo>
                  <a:lnTo>
                    <a:pt x="2796" y="461"/>
                  </a:lnTo>
                  <a:lnTo>
                    <a:pt x="2796" y="461"/>
                  </a:lnTo>
                  <a:lnTo>
                    <a:pt x="2796" y="466"/>
                  </a:lnTo>
                  <a:lnTo>
                    <a:pt x="2796" y="466"/>
                  </a:lnTo>
                  <a:lnTo>
                    <a:pt x="2796" y="466"/>
                  </a:lnTo>
                  <a:lnTo>
                    <a:pt x="2796" y="466"/>
                  </a:lnTo>
                  <a:lnTo>
                    <a:pt x="2801" y="466"/>
                  </a:lnTo>
                  <a:lnTo>
                    <a:pt x="2801" y="470"/>
                  </a:lnTo>
                  <a:lnTo>
                    <a:pt x="2805" y="466"/>
                  </a:lnTo>
                  <a:lnTo>
                    <a:pt x="2805" y="466"/>
                  </a:lnTo>
                  <a:lnTo>
                    <a:pt x="2801" y="470"/>
                  </a:lnTo>
                  <a:lnTo>
                    <a:pt x="2801" y="470"/>
                  </a:lnTo>
                  <a:lnTo>
                    <a:pt x="2801" y="470"/>
                  </a:lnTo>
                  <a:lnTo>
                    <a:pt x="2796" y="470"/>
                  </a:lnTo>
                  <a:lnTo>
                    <a:pt x="2792" y="466"/>
                  </a:lnTo>
                  <a:lnTo>
                    <a:pt x="2792" y="466"/>
                  </a:lnTo>
                  <a:lnTo>
                    <a:pt x="2792" y="470"/>
                  </a:lnTo>
                  <a:lnTo>
                    <a:pt x="2792" y="475"/>
                  </a:lnTo>
                  <a:lnTo>
                    <a:pt x="2792" y="475"/>
                  </a:lnTo>
                  <a:lnTo>
                    <a:pt x="2796" y="475"/>
                  </a:lnTo>
                  <a:lnTo>
                    <a:pt x="2796" y="479"/>
                  </a:lnTo>
                  <a:lnTo>
                    <a:pt x="2801" y="479"/>
                  </a:lnTo>
                  <a:lnTo>
                    <a:pt x="2805" y="479"/>
                  </a:lnTo>
                  <a:lnTo>
                    <a:pt x="2805" y="479"/>
                  </a:lnTo>
                  <a:lnTo>
                    <a:pt x="2805" y="479"/>
                  </a:lnTo>
                  <a:lnTo>
                    <a:pt x="2805" y="479"/>
                  </a:lnTo>
                  <a:lnTo>
                    <a:pt x="2805" y="484"/>
                  </a:lnTo>
                  <a:lnTo>
                    <a:pt x="2810" y="484"/>
                  </a:lnTo>
                  <a:lnTo>
                    <a:pt x="2805" y="484"/>
                  </a:lnTo>
                  <a:lnTo>
                    <a:pt x="2805" y="484"/>
                  </a:lnTo>
                  <a:lnTo>
                    <a:pt x="2805" y="484"/>
                  </a:lnTo>
                  <a:lnTo>
                    <a:pt x="2810" y="484"/>
                  </a:lnTo>
                  <a:lnTo>
                    <a:pt x="2810" y="484"/>
                  </a:lnTo>
                  <a:lnTo>
                    <a:pt x="2810" y="484"/>
                  </a:lnTo>
                  <a:lnTo>
                    <a:pt x="2810" y="484"/>
                  </a:lnTo>
                  <a:lnTo>
                    <a:pt x="2810" y="484"/>
                  </a:lnTo>
                  <a:lnTo>
                    <a:pt x="2810" y="484"/>
                  </a:lnTo>
                  <a:lnTo>
                    <a:pt x="2810" y="484"/>
                  </a:lnTo>
                  <a:lnTo>
                    <a:pt x="2810" y="484"/>
                  </a:lnTo>
                  <a:lnTo>
                    <a:pt x="2810" y="484"/>
                  </a:lnTo>
                  <a:lnTo>
                    <a:pt x="2810" y="484"/>
                  </a:lnTo>
                  <a:lnTo>
                    <a:pt x="2815" y="484"/>
                  </a:lnTo>
                  <a:lnTo>
                    <a:pt x="2819" y="484"/>
                  </a:lnTo>
                  <a:lnTo>
                    <a:pt x="2824" y="484"/>
                  </a:lnTo>
                  <a:lnTo>
                    <a:pt x="2828" y="484"/>
                  </a:lnTo>
                  <a:lnTo>
                    <a:pt x="2828" y="484"/>
                  </a:lnTo>
                  <a:lnTo>
                    <a:pt x="2828" y="484"/>
                  </a:lnTo>
                  <a:lnTo>
                    <a:pt x="2833" y="479"/>
                  </a:lnTo>
                  <a:lnTo>
                    <a:pt x="2837" y="475"/>
                  </a:lnTo>
                  <a:lnTo>
                    <a:pt x="2842" y="475"/>
                  </a:lnTo>
                  <a:lnTo>
                    <a:pt x="2842" y="475"/>
                  </a:lnTo>
                  <a:lnTo>
                    <a:pt x="2842" y="470"/>
                  </a:lnTo>
                  <a:lnTo>
                    <a:pt x="2842" y="470"/>
                  </a:lnTo>
                  <a:lnTo>
                    <a:pt x="2846" y="470"/>
                  </a:lnTo>
                  <a:lnTo>
                    <a:pt x="2842" y="470"/>
                  </a:lnTo>
                  <a:lnTo>
                    <a:pt x="2846" y="470"/>
                  </a:lnTo>
                  <a:lnTo>
                    <a:pt x="2846" y="470"/>
                  </a:lnTo>
                  <a:lnTo>
                    <a:pt x="2846" y="470"/>
                  </a:lnTo>
                  <a:lnTo>
                    <a:pt x="2851" y="466"/>
                  </a:lnTo>
                  <a:lnTo>
                    <a:pt x="2846" y="466"/>
                  </a:lnTo>
                  <a:lnTo>
                    <a:pt x="2846" y="466"/>
                  </a:lnTo>
                  <a:lnTo>
                    <a:pt x="2846" y="466"/>
                  </a:lnTo>
                  <a:lnTo>
                    <a:pt x="2851" y="466"/>
                  </a:lnTo>
                  <a:lnTo>
                    <a:pt x="2851" y="470"/>
                  </a:lnTo>
                  <a:lnTo>
                    <a:pt x="2851" y="470"/>
                  </a:lnTo>
                  <a:lnTo>
                    <a:pt x="2855" y="466"/>
                  </a:lnTo>
                  <a:lnTo>
                    <a:pt x="2855" y="466"/>
                  </a:lnTo>
                  <a:lnTo>
                    <a:pt x="2855" y="466"/>
                  </a:lnTo>
                  <a:lnTo>
                    <a:pt x="2855" y="466"/>
                  </a:lnTo>
                  <a:lnTo>
                    <a:pt x="2860" y="461"/>
                  </a:lnTo>
                  <a:lnTo>
                    <a:pt x="2860" y="461"/>
                  </a:lnTo>
                  <a:lnTo>
                    <a:pt x="2860" y="461"/>
                  </a:lnTo>
                  <a:lnTo>
                    <a:pt x="2860" y="461"/>
                  </a:lnTo>
                  <a:lnTo>
                    <a:pt x="2860" y="457"/>
                  </a:lnTo>
                  <a:lnTo>
                    <a:pt x="2860" y="457"/>
                  </a:lnTo>
                  <a:lnTo>
                    <a:pt x="2860" y="457"/>
                  </a:lnTo>
                  <a:lnTo>
                    <a:pt x="2860" y="457"/>
                  </a:lnTo>
                  <a:lnTo>
                    <a:pt x="2860" y="452"/>
                  </a:lnTo>
                  <a:lnTo>
                    <a:pt x="2860" y="457"/>
                  </a:lnTo>
                  <a:lnTo>
                    <a:pt x="2860" y="457"/>
                  </a:lnTo>
                  <a:lnTo>
                    <a:pt x="2860" y="461"/>
                  </a:lnTo>
                  <a:lnTo>
                    <a:pt x="2860" y="461"/>
                  </a:lnTo>
                  <a:lnTo>
                    <a:pt x="2864" y="461"/>
                  </a:lnTo>
                  <a:lnTo>
                    <a:pt x="2864" y="466"/>
                  </a:lnTo>
                  <a:lnTo>
                    <a:pt x="2864" y="466"/>
                  </a:lnTo>
                  <a:lnTo>
                    <a:pt x="2864" y="466"/>
                  </a:lnTo>
                  <a:lnTo>
                    <a:pt x="2869" y="466"/>
                  </a:lnTo>
                  <a:lnTo>
                    <a:pt x="2869" y="466"/>
                  </a:lnTo>
                  <a:lnTo>
                    <a:pt x="2869" y="466"/>
                  </a:lnTo>
                  <a:lnTo>
                    <a:pt x="2873" y="466"/>
                  </a:lnTo>
                  <a:lnTo>
                    <a:pt x="2873" y="466"/>
                  </a:lnTo>
                  <a:lnTo>
                    <a:pt x="2869" y="466"/>
                  </a:lnTo>
                  <a:lnTo>
                    <a:pt x="2869" y="466"/>
                  </a:lnTo>
                  <a:lnTo>
                    <a:pt x="2869" y="466"/>
                  </a:lnTo>
                  <a:lnTo>
                    <a:pt x="2869" y="466"/>
                  </a:lnTo>
                  <a:lnTo>
                    <a:pt x="2869" y="470"/>
                  </a:lnTo>
                  <a:lnTo>
                    <a:pt x="2869" y="470"/>
                  </a:lnTo>
                  <a:lnTo>
                    <a:pt x="2869" y="475"/>
                  </a:lnTo>
                  <a:lnTo>
                    <a:pt x="2869" y="479"/>
                  </a:lnTo>
                  <a:lnTo>
                    <a:pt x="2869" y="479"/>
                  </a:lnTo>
                  <a:lnTo>
                    <a:pt x="2869" y="479"/>
                  </a:lnTo>
                  <a:lnTo>
                    <a:pt x="2869" y="479"/>
                  </a:lnTo>
                  <a:lnTo>
                    <a:pt x="2873" y="479"/>
                  </a:lnTo>
                  <a:lnTo>
                    <a:pt x="2873" y="484"/>
                  </a:lnTo>
                  <a:lnTo>
                    <a:pt x="2873" y="488"/>
                  </a:lnTo>
                  <a:lnTo>
                    <a:pt x="2878" y="488"/>
                  </a:lnTo>
                  <a:lnTo>
                    <a:pt x="2878" y="493"/>
                  </a:lnTo>
                  <a:lnTo>
                    <a:pt x="2878" y="493"/>
                  </a:lnTo>
                  <a:lnTo>
                    <a:pt x="2878" y="493"/>
                  </a:lnTo>
                  <a:lnTo>
                    <a:pt x="2878" y="493"/>
                  </a:lnTo>
                  <a:lnTo>
                    <a:pt x="2878" y="497"/>
                  </a:lnTo>
                  <a:lnTo>
                    <a:pt x="2878" y="497"/>
                  </a:lnTo>
                  <a:lnTo>
                    <a:pt x="2882" y="497"/>
                  </a:lnTo>
                  <a:lnTo>
                    <a:pt x="2882" y="502"/>
                  </a:lnTo>
                  <a:lnTo>
                    <a:pt x="2887" y="506"/>
                  </a:lnTo>
                  <a:lnTo>
                    <a:pt x="2887" y="506"/>
                  </a:lnTo>
                  <a:lnTo>
                    <a:pt x="2891" y="511"/>
                  </a:lnTo>
                  <a:lnTo>
                    <a:pt x="2891" y="511"/>
                  </a:lnTo>
                  <a:lnTo>
                    <a:pt x="2891" y="511"/>
                  </a:lnTo>
                  <a:lnTo>
                    <a:pt x="2891" y="515"/>
                  </a:lnTo>
                  <a:lnTo>
                    <a:pt x="2891" y="515"/>
                  </a:lnTo>
                  <a:lnTo>
                    <a:pt x="2891" y="515"/>
                  </a:lnTo>
                  <a:lnTo>
                    <a:pt x="2891" y="515"/>
                  </a:lnTo>
                  <a:lnTo>
                    <a:pt x="2891" y="515"/>
                  </a:lnTo>
                  <a:lnTo>
                    <a:pt x="2891" y="515"/>
                  </a:lnTo>
                  <a:lnTo>
                    <a:pt x="2891" y="520"/>
                  </a:lnTo>
                  <a:lnTo>
                    <a:pt x="2891" y="520"/>
                  </a:lnTo>
                  <a:lnTo>
                    <a:pt x="2891" y="520"/>
                  </a:lnTo>
                  <a:lnTo>
                    <a:pt x="2887" y="520"/>
                  </a:lnTo>
                  <a:lnTo>
                    <a:pt x="2887" y="520"/>
                  </a:lnTo>
                  <a:lnTo>
                    <a:pt x="2887" y="520"/>
                  </a:lnTo>
                  <a:lnTo>
                    <a:pt x="2887" y="520"/>
                  </a:lnTo>
                  <a:lnTo>
                    <a:pt x="2891" y="525"/>
                  </a:lnTo>
                  <a:lnTo>
                    <a:pt x="2891" y="529"/>
                  </a:lnTo>
                  <a:lnTo>
                    <a:pt x="2896" y="529"/>
                  </a:lnTo>
                  <a:lnTo>
                    <a:pt x="2896" y="529"/>
                  </a:lnTo>
                  <a:lnTo>
                    <a:pt x="2896" y="529"/>
                  </a:lnTo>
                  <a:lnTo>
                    <a:pt x="2891" y="534"/>
                  </a:lnTo>
                  <a:lnTo>
                    <a:pt x="2891" y="534"/>
                  </a:lnTo>
                  <a:lnTo>
                    <a:pt x="2891" y="534"/>
                  </a:lnTo>
                  <a:lnTo>
                    <a:pt x="2900" y="538"/>
                  </a:lnTo>
                  <a:lnTo>
                    <a:pt x="2905" y="534"/>
                  </a:lnTo>
                  <a:lnTo>
                    <a:pt x="2909" y="534"/>
                  </a:lnTo>
                  <a:lnTo>
                    <a:pt x="2909" y="534"/>
                  </a:lnTo>
                  <a:lnTo>
                    <a:pt x="2914" y="534"/>
                  </a:lnTo>
                  <a:lnTo>
                    <a:pt x="2914" y="529"/>
                  </a:lnTo>
                  <a:lnTo>
                    <a:pt x="2909" y="529"/>
                  </a:lnTo>
                  <a:lnTo>
                    <a:pt x="2909" y="529"/>
                  </a:lnTo>
                  <a:lnTo>
                    <a:pt x="2914" y="525"/>
                  </a:lnTo>
                  <a:lnTo>
                    <a:pt x="2914" y="525"/>
                  </a:lnTo>
                  <a:lnTo>
                    <a:pt x="2914" y="525"/>
                  </a:lnTo>
                  <a:lnTo>
                    <a:pt x="2914" y="525"/>
                  </a:lnTo>
                  <a:lnTo>
                    <a:pt x="2918" y="525"/>
                  </a:lnTo>
                  <a:lnTo>
                    <a:pt x="2918" y="525"/>
                  </a:lnTo>
                  <a:lnTo>
                    <a:pt x="2918" y="520"/>
                  </a:lnTo>
                  <a:lnTo>
                    <a:pt x="2918" y="520"/>
                  </a:lnTo>
                  <a:lnTo>
                    <a:pt x="2923" y="520"/>
                  </a:lnTo>
                  <a:lnTo>
                    <a:pt x="2927" y="520"/>
                  </a:lnTo>
                  <a:lnTo>
                    <a:pt x="2927" y="520"/>
                  </a:lnTo>
                  <a:lnTo>
                    <a:pt x="2932" y="520"/>
                  </a:lnTo>
                  <a:lnTo>
                    <a:pt x="2932" y="520"/>
                  </a:lnTo>
                  <a:lnTo>
                    <a:pt x="2932" y="520"/>
                  </a:lnTo>
                  <a:lnTo>
                    <a:pt x="2936" y="520"/>
                  </a:lnTo>
                  <a:lnTo>
                    <a:pt x="2936" y="520"/>
                  </a:lnTo>
                  <a:lnTo>
                    <a:pt x="2936" y="515"/>
                  </a:lnTo>
                  <a:lnTo>
                    <a:pt x="2936" y="511"/>
                  </a:lnTo>
                  <a:lnTo>
                    <a:pt x="2941" y="511"/>
                  </a:lnTo>
                  <a:lnTo>
                    <a:pt x="2941" y="506"/>
                  </a:lnTo>
                  <a:lnTo>
                    <a:pt x="2941" y="506"/>
                  </a:lnTo>
                  <a:lnTo>
                    <a:pt x="2941" y="502"/>
                  </a:lnTo>
                  <a:lnTo>
                    <a:pt x="2941" y="502"/>
                  </a:lnTo>
                  <a:lnTo>
                    <a:pt x="2941" y="502"/>
                  </a:lnTo>
                  <a:lnTo>
                    <a:pt x="2941" y="502"/>
                  </a:lnTo>
                  <a:lnTo>
                    <a:pt x="2941" y="497"/>
                  </a:lnTo>
                  <a:lnTo>
                    <a:pt x="2941" y="497"/>
                  </a:lnTo>
                  <a:lnTo>
                    <a:pt x="2941" y="493"/>
                  </a:lnTo>
                  <a:lnTo>
                    <a:pt x="2941" y="493"/>
                  </a:lnTo>
                  <a:lnTo>
                    <a:pt x="2941" y="493"/>
                  </a:lnTo>
                  <a:lnTo>
                    <a:pt x="2941" y="488"/>
                  </a:lnTo>
                  <a:lnTo>
                    <a:pt x="2941" y="488"/>
                  </a:lnTo>
                  <a:lnTo>
                    <a:pt x="2946" y="488"/>
                  </a:lnTo>
                  <a:lnTo>
                    <a:pt x="2941" y="484"/>
                  </a:lnTo>
                  <a:lnTo>
                    <a:pt x="2946" y="484"/>
                  </a:lnTo>
                  <a:lnTo>
                    <a:pt x="2946" y="479"/>
                  </a:lnTo>
                  <a:lnTo>
                    <a:pt x="2941" y="479"/>
                  </a:lnTo>
                  <a:lnTo>
                    <a:pt x="2946" y="479"/>
                  </a:lnTo>
                  <a:lnTo>
                    <a:pt x="2946" y="475"/>
                  </a:lnTo>
                  <a:lnTo>
                    <a:pt x="2946" y="475"/>
                  </a:lnTo>
                  <a:lnTo>
                    <a:pt x="2941" y="475"/>
                  </a:lnTo>
                  <a:lnTo>
                    <a:pt x="2941" y="475"/>
                  </a:lnTo>
                  <a:lnTo>
                    <a:pt x="2936" y="475"/>
                  </a:lnTo>
                  <a:lnTo>
                    <a:pt x="2936" y="475"/>
                  </a:lnTo>
                  <a:lnTo>
                    <a:pt x="2936" y="475"/>
                  </a:lnTo>
                  <a:lnTo>
                    <a:pt x="2936" y="475"/>
                  </a:lnTo>
                  <a:lnTo>
                    <a:pt x="2941" y="475"/>
                  </a:lnTo>
                  <a:lnTo>
                    <a:pt x="2946" y="475"/>
                  </a:lnTo>
                  <a:lnTo>
                    <a:pt x="2950" y="475"/>
                  </a:lnTo>
                  <a:lnTo>
                    <a:pt x="2950" y="470"/>
                  </a:lnTo>
                  <a:lnTo>
                    <a:pt x="2955" y="470"/>
                  </a:lnTo>
                  <a:lnTo>
                    <a:pt x="2955" y="470"/>
                  </a:lnTo>
                  <a:lnTo>
                    <a:pt x="2955" y="466"/>
                  </a:lnTo>
                  <a:lnTo>
                    <a:pt x="2959" y="470"/>
                  </a:lnTo>
                  <a:lnTo>
                    <a:pt x="2959" y="466"/>
                  </a:lnTo>
                  <a:lnTo>
                    <a:pt x="2959" y="466"/>
                  </a:lnTo>
                  <a:lnTo>
                    <a:pt x="2964" y="466"/>
                  </a:lnTo>
                  <a:lnTo>
                    <a:pt x="2964" y="466"/>
                  </a:lnTo>
                  <a:lnTo>
                    <a:pt x="2964" y="466"/>
                  </a:lnTo>
                  <a:lnTo>
                    <a:pt x="2964" y="461"/>
                  </a:lnTo>
                  <a:lnTo>
                    <a:pt x="2968" y="461"/>
                  </a:lnTo>
                  <a:lnTo>
                    <a:pt x="2968" y="461"/>
                  </a:lnTo>
                  <a:lnTo>
                    <a:pt x="2968" y="461"/>
                  </a:lnTo>
                  <a:lnTo>
                    <a:pt x="2968" y="461"/>
                  </a:lnTo>
                  <a:lnTo>
                    <a:pt x="2964" y="461"/>
                  </a:lnTo>
                  <a:lnTo>
                    <a:pt x="2964" y="461"/>
                  </a:lnTo>
                  <a:lnTo>
                    <a:pt x="2964" y="461"/>
                  </a:lnTo>
                  <a:lnTo>
                    <a:pt x="2964" y="461"/>
                  </a:lnTo>
                  <a:lnTo>
                    <a:pt x="2964" y="461"/>
                  </a:lnTo>
                  <a:lnTo>
                    <a:pt x="2959" y="461"/>
                  </a:lnTo>
                  <a:lnTo>
                    <a:pt x="2959" y="461"/>
                  </a:lnTo>
                  <a:lnTo>
                    <a:pt x="2959" y="461"/>
                  </a:lnTo>
                  <a:lnTo>
                    <a:pt x="2955" y="461"/>
                  </a:lnTo>
                  <a:lnTo>
                    <a:pt x="2955" y="461"/>
                  </a:lnTo>
                  <a:lnTo>
                    <a:pt x="2950" y="461"/>
                  </a:lnTo>
                  <a:lnTo>
                    <a:pt x="2950" y="461"/>
                  </a:lnTo>
                  <a:lnTo>
                    <a:pt x="2950" y="461"/>
                  </a:lnTo>
                  <a:lnTo>
                    <a:pt x="2946" y="461"/>
                  </a:lnTo>
                  <a:lnTo>
                    <a:pt x="2946" y="461"/>
                  </a:lnTo>
                  <a:lnTo>
                    <a:pt x="2941" y="461"/>
                  </a:lnTo>
                  <a:lnTo>
                    <a:pt x="2941" y="457"/>
                  </a:lnTo>
                  <a:lnTo>
                    <a:pt x="2936" y="461"/>
                  </a:lnTo>
                  <a:lnTo>
                    <a:pt x="2932" y="457"/>
                  </a:lnTo>
                  <a:lnTo>
                    <a:pt x="2936" y="457"/>
                  </a:lnTo>
                  <a:lnTo>
                    <a:pt x="2941" y="457"/>
                  </a:lnTo>
                  <a:lnTo>
                    <a:pt x="2941" y="457"/>
                  </a:lnTo>
                  <a:lnTo>
                    <a:pt x="2941" y="457"/>
                  </a:lnTo>
                  <a:lnTo>
                    <a:pt x="2941" y="457"/>
                  </a:lnTo>
                  <a:lnTo>
                    <a:pt x="2946" y="457"/>
                  </a:lnTo>
                  <a:lnTo>
                    <a:pt x="2946" y="457"/>
                  </a:lnTo>
                  <a:lnTo>
                    <a:pt x="2946" y="457"/>
                  </a:lnTo>
                  <a:lnTo>
                    <a:pt x="2950" y="457"/>
                  </a:lnTo>
                  <a:lnTo>
                    <a:pt x="2950" y="457"/>
                  </a:lnTo>
                  <a:lnTo>
                    <a:pt x="2955" y="457"/>
                  </a:lnTo>
                  <a:lnTo>
                    <a:pt x="2955" y="457"/>
                  </a:lnTo>
                  <a:lnTo>
                    <a:pt x="2955" y="457"/>
                  </a:lnTo>
                  <a:lnTo>
                    <a:pt x="2955" y="457"/>
                  </a:lnTo>
                  <a:lnTo>
                    <a:pt x="2955" y="457"/>
                  </a:lnTo>
                  <a:lnTo>
                    <a:pt x="2955" y="457"/>
                  </a:lnTo>
                  <a:lnTo>
                    <a:pt x="2955" y="461"/>
                  </a:lnTo>
                  <a:lnTo>
                    <a:pt x="2959" y="461"/>
                  </a:lnTo>
                  <a:lnTo>
                    <a:pt x="2959" y="461"/>
                  </a:lnTo>
                  <a:lnTo>
                    <a:pt x="2964" y="461"/>
                  </a:lnTo>
                  <a:lnTo>
                    <a:pt x="2964" y="461"/>
                  </a:lnTo>
                  <a:lnTo>
                    <a:pt x="2964" y="461"/>
                  </a:lnTo>
                  <a:lnTo>
                    <a:pt x="2964" y="457"/>
                  </a:lnTo>
                  <a:lnTo>
                    <a:pt x="2964" y="457"/>
                  </a:lnTo>
                  <a:lnTo>
                    <a:pt x="2968" y="457"/>
                  </a:lnTo>
                  <a:lnTo>
                    <a:pt x="2968" y="457"/>
                  </a:lnTo>
                  <a:lnTo>
                    <a:pt x="2968" y="457"/>
                  </a:lnTo>
                  <a:lnTo>
                    <a:pt x="2973" y="452"/>
                  </a:lnTo>
                  <a:lnTo>
                    <a:pt x="2973" y="452"/>
                  </a:lnTo>
                  <a:lnTo>
                    <a:pt x="2973" y="452"/>
                  </a:lnTo>
                  <a:lnTo>
                    <a:pt x="2973" y="448"/>
                  </a:lnTo>
                  <a:lnTo>
                    <a:pt x="2973" y="448"/>
                  </a:lnTo>
                  <a:lnTo>
                    <a:pt x="2968" y="448"/>
                  </a:lnTo>
                  <a:lnTo>
                    <a:pt x="2968" y="448"/>
                  </a:lnTo>
                  <a:lnTo>
                    <a:pt x="2968" y="448"/>
                  </a:lnTo>
                  <a:lnTo>
                    <a:pt x="2964" y="448"/>
                  </a:lnTo>
                  <a:lnTo>
                    <a:pt x="2964" y="443"/>
                  </a:lnTo>
                  <a:lnTo>
                    <a:pt x="2964" y="443"/>
                  </a:lnTo>
                  <a:lnTo>
                    <a:pt x="2964" y="443"/>
                  </a:lnTo>
                  <a:lnTo>
                    <a:pt x="2959" y="439"/>
                  </a:lnTo>
                  <a:lnTo>
                    <a:pt x="2959" y="439"/>
                  </a:lnTo>
                  <a:lnTo>
                    <a:pt x="2959" y="439"/>
                  </a:lnTo>
                  <a:lnTo>
                    <a:pt x="2955" y="439"/>
                  </a:lnTo>
                  <a:lnTo>
                    <a:pt x="2955" y="439"/>
                  </a:lnTo>
                  <a:lnTo>
                    <a:pt x="2955" y="439"/>
                  </a:lnTo>
                  <a:lnTo>
                    <a:pt x="2955" y="439"/>
                  </a:lnTo>
                  <a:lnTo>
                    <a:pt x="2955" y="439"/>
                  </a:lnTo>
                  <a:lnTo>
                    <a:pt x="2950" y="439"/>
                  </a:lnTo>
                  <a:lnTo>
                    <a:pt x="2950" y="439"/>
                  </a:lnTo>
                  <a:lnTo>
                    <a:pt x="2950" y="439"/>
                  </a:lnTo>
                  <a:lnTo>
                    <a:pt x="2950" y="434"/>
                  </a:lnTo>
                  <a:lnTo>
                    <a:pt x="2950" y="434"/>
                  </a:lnTo>
                  <a:lnTo>
                    <a:pt x="2950" y="434"/>
                  </a:lnTo>
                  <a:lnTo>
                    <a:pt x="2946" y="430"/>
                  </a:lnTo>
                  <a:lnTo>
                    <a:pt x="2946" y="430"/>
                  </a:lnTo>
                  <a:lnTo>
                    <a:pt x="2946" y="425"/>
                  </a:lnTo>
                  <a:lnTo>
                    <a:pt x="2946" y="425"/>
                  </a:lnTo>
                  <a:lnTo>
                    <a:pt x="2946" y="425"/>
                  </a:lnTo>
                  <a:lnTo>
                    <a:pt x="2946" y="425"/>
                  </a:lnTo>
                  <a:lnTo>
                    <a:pt x="2946" y="425"/>
                  </a:lnTo>
                  <a:lnTo>
                    <a:pt x="2946" y="421"/>
                  </a:lnTo>
                  <a:lnTo>
                    <a:pt x="2946" y="421"/>
                  </a:lnTo>
                  <a:lnTo>
                    <a:pt x="2946" y="421"/>
                  </a:lnTo>
                  <a:lnTo>
                    <a:pt x="2946" y="421"/>
                  </a:lnTo>
                  <a:lnTo>
                    <a:pt x="2946" y="416"/>
                  </a:lnTo>
                  <a:lnTo>
                    <a:pt x="2946" y="416"/>
                  </a:lnTo>
                  <a:lnTo>
                    <a:pt x="2950" y="416"/>
                  </a:lnTo>
                  <a:lnTo>
                    <a:pt x="2950" y="416"/>
                  </a:lnTo>
                  <a:lnTo>
                    <a:pt x="2950" y="416"/>
                  </a:lnTo>
                  <a:lnTo>
                    <a:pt x="2950" y="416"/>
                  </a:lnTo>
                  <a:lnTo>
                    <a:pt x="2950" y="411"/>
                  </a:lnTo>
                  <a:lnTo>
                    <a:pt x="2950" y="411"/>
                  </a:lnTo>
                  <a:lnTo>
                    <a:pt x="2950" y="411"/>
                  </a:lnTo>
                  <a:lnTo>
                    <a:pt x="2950" y="407"/>
                  </a:lnTo>
                  <a:lnTo>
                    <a:pt x="2950" y="407"/>
                  </a:lnTo>
                  <a:lnTo>
                    <a:pt x="2950" y="407"/>
                  </a:lnTo>
                  <a:lnTo>
                    <a:pt x="2950" y="407"/>
                  </a:lnTo>
                  <a:lnTo>
                    <a:pt x="2950" y="402"/>
                  </a:lnTo>
                  <a:lnTo>
                    <a:pt x="2946" y="402"/>
                  </a:lnTo>
                  <a:lnTo>
                    <a:pt x="2946" y="402"/>
                  </a:lnTo>
                  <a:lnTo>
                    <a:pt x="2950" y="402"/>
                  </a:lnTo>
                  <a:lnTo>
                    <a:pt x="2950" y="402"/>
                  </a:lnTo>
                  <a:lnTo>
                    <a:pt x="2950" y="402"/>
                  </a:lnTo>
                  <a:lnTo>
                    <a:pt x="2950" y="402"/>
                  </a:lnTo>
                  <a:lnTo>
                    <a:pt x="2950" y="402"/>
                  </a:lnTo>
                  <a:lnTo>
                    <a:pt x="2955" y="402"/>
                  </a:lnTo>
                  <a:lnTo>
                    <a:pt x="2955" y="398"/>
                  </a:lnTo>
                  <a:lnTo>
                    <a:pt x="2955" y="398"/>
                  </a:lnTo>
                  <a:lnTo>
                    <a:pt x="2955" y="398"/>
                  </a:lnTo>
                  <a:lnTo>
                    <a:pt x="2955" y="398"/>
                  </a:lnTo>
                  <a:lnTo>
                    <a:pt x="2955" y="398"/>
                  </a:lnTo>
                  <a:lnTo>
                    <a:pt x="2955" y="398"/>
                  </a:lnTo>
                  <a:lnTo>
                    <a:pt x="2955" y="398"/>
                  </a:lnTo>
                  <a:lnTo>
                    <a:pt x="2955" y="398"/>
                  </a:lnTo>
                  <a:lnTo>
                    <a:pt x="2955" y="393"/>
                  </a:lnTo>
                  <a:lnTo>
                    <a:pt x="2955" y="393"/>
                  </a:lnTo>
                  <a:lnTo>
                    <a:pt x="2955" y="393"/>
                  </a:lnTo>
                  <a:lnTo>
                    <a:pt x="2955" y="393"/>
                  </a:lnTo>
                  <a:lnTo>
                    <a:pt x="2955" y="393"/>
                  </a:lnTo>
                  <a:lnTo>
                    <a:pt x="2955" y="393"/>
                  </a:lnTo>
                  <a:lnTo>
                    <a:pt x="2955" y="398"/>
                  </a:lnTo>
                  <a:lnTo>
                    <a:pt x="2959" y="398"/>
                  </a:lnTo>
                  <a:lnTo>
                    <a:pt x="2959" y="393"/>
                  </a:lnTo>
                  <a:lnTo>
                    <a:pt x="2959" y="393"/>
                  </a:lnTo>
                  <a:lnTo>
                    <a:pt x="2959" y="393"/>
                  </a:lnTo>
                  <a:lnTo>
                    <a:pt x="2959" y="393"/>
                  </a:lnTo>
                  <a:lnTo>
                    <a:pt x="2959" y="393"/>
                  </a:lnTo>
                  <a:lnTo>
                    <a:pt x="2959" y="393"/>
                  </a:lnTo>
                  <a:lnTo>
                    <a:pt x="2959" y="393"/>
                  </a:lnTo>
                  <a:lnTo>
                    <a:pt x="2959" y="393"/>
                  </a:lnTo>
                  <a:lnTo>
                    <a:pt x="2959" y="393"/>
                  </a:lnTo>
                  <a:lnTo>
                    <a:pt x="2964" y="389"/>
                  </a:lnTo>
                  <a:lnTo>
                    <a:pt x="2964" y="389"/>
                  </a:lnTo>
                  <a:lnTo>
                    <a:pt x="2964" y="389"/>
                  </a:lnTo>
                  <a:lnTo>
                    <a:pt x="2964" y="389"/>
                  </a:lnTo>
                  <a:lnTo>
                    <a:pt x="2964" y="389"/>
                  </a:lnTo>
                  <a:lnTo>
                    <a:pt x="2964" y="389"/>
                  </a:lnTo>
                  <a:lnTo>
                    <a:pt x="2964" y="389"/>
                  </a:lnTo>
                  <a:lnTo>
                    <a:pt x="2964" y="389"/>
                  </a:lnTo>
                  <a:lnTo>
                    <a:pt x="2964" y="389"/>
                  </a:lnTo>
                  <a:lnTo>
                    <a:pt x="2964" y="389"/>
                  </a:lnTo>
                  <a:lnTo>
                    <a:pt x="2968" y="389"/>
                  </a:lnTo>
                  <a:lnTo>
                    <a:pt x="2968" y="384"/>
                  </a:lnTo>
                  <a:lnTo>
                    <a:pt x="2973" y="384"/>
                  </a:lnTo>
                  <a:lnTo>
                    <a:pt x="2973" y="384"/>
                  </a:lnTo>
                  <a:lnTo>
                    <a:pt x="2973" y="384"/>
                  </a:lnTo>
                  <a:lnTo>
                    <a:pt x="2973" y="384"/>
                  </a:lnTo>
                  <a:lnTo>
                    <a:pt x="2973" y="384"/>
                  </a:lnTo>
                  <a:lnTo>
                    <a:pt x="2973" y="384"/>
                  </a:lnTo>
                  <a:lnTo>
                    <a:pt x="2977" y="384"/>
                  </a:lnTo>
                  <a:lnTo>
                    <a:pt x="2977" y="384"/>
                  </a:lnTo>
                  <a:lnTo>
                    <a:pt x="2977" y="380"/>
                  </a:lnTo>
                  <a:lnTo>
                    <a:pt x="2977" y="380"/>
                  </a:lnTo>
                  <a:lnTo>
                    <a:pt x="2982" y="380"/>
                  </a:lnTo>
                  <a:lnTo>
                    <a:pt x="2982" y="380"/>
                  </a:lnTo>
                  <a:lnTo>
                    <a:pt x="2986" y="375"/>
                  </a:lnTo>
                  <a:lnTo>
                    <a:pt x="2986" y="375"/>
                  </a:lnTo>
                  <a:lnTo>
                    <a:pt x="2991" y="375"/>
                  </a:lnTo>
                  <a:lnTo>
                    <a:pt x="2991" y="371"/>
                  </a:lnTo>
                  <a:lnTo>
                    <a:pt x="2995" y="366"/>
                  </a:lnTo>
                  <a:lnTo>
                    <a:pt x="2995" y="366"/>
                  </a:lnTo>
                  <a:lnTo>
                    <a:pt x="2995" y="366"/>
                  </a:lnTo>
                  <a:lnTo>
                    <a:pt x="2995" y="366"/>
                  </a:lnTo>
                  <a:lnTo>
                    <a:pt x="2995" y="362"/>
                  </a:lnTo>
                  <a:lnTo>
                    <a:pt x="2995" y="362"/>
                  </a:lnTo>
                  <a:lnTo>
                    <a:pt x="2995" y="357"/>
                  </a:lnTo>
                  <a:lnTo>
                    <a:pt x="2991" y="357"/>
                  </a:lnTo>
                  <a:lnTo>
                    <a:pt x="2991" y="357"/>
                  </a:lnTo>
                  <a:lnTo>
                    <a:pt x="2991" y="357"/>
                  </a:lnTo>
                  <a:lnTo>
                    <a:pt x="2995" y="357"/>
                  </a:lnTo>
                  <a:lnTo>
                    <a:pt x="2995" y="353"/>
                  </a:lnTo>
                  <a:lnTo>
                    <a:pt x="2995" y="353"/>
                  </a:lnTo>
                  <a:lnTo>
                    <a:pt x="2995" y="353"/>
                  </a:lnTo>
                  <a:lnTo>
                    <a:pt x="2995" y="348"/>
                  </a:lnTo>
                  <a:lnTo>
                    <a:pt x="2995" y="348"/>
                  </a:lnTo>
                  <a:lnTo>
                    <a:pt x="2995" y="348"/>
                  </a:lnTo>
                  <a:lnTo>
                    <a:pt x="2995" y="348"/>
                  </a:lnTo>
                  <a:lnTo>
                    <a:pt x="2995" y="348"/>
                  </a:lnTo>
                  <a:lnTo>
                    <a:pt x="2995" y="348"/>
                  </a:lnTo>
                  <a:lnTo>
                    <a:pt x="2995" y="348"/>
                  </a:lnTo>
                  <a:lnTo>
                    <a:pt x="2995" y="348"/>
                  </a:lnTo>
                  <a:lnTo>
                    <a:pt x="2995" y="348"/>
                  </a:lnTo>
                  <a:lnTo>
                    <a:pt x="2995" y="348"/>
                  </a:lnTo>
                  <a:lnTo>
                    <a:pt x="2995" y="348"/>
                  </a:lnTo>
                  <a:lnTo>
                    <a:pt x="2995" y="348"/>
                  </a:lnTo>
                  <a:lnTo>
                    <a:pt x="2995" y="348"/>
                  </a:lnTo>
                  <a:lnTo>
                    <a:pt x="2995" y="348"/>
                  </a:lnTo>
                  <a:lnTo>
                    <a:pt x="3000" y="348"/>
                  </a:lnTo>
                  <a:lnTo>
                    <a:pt x="3000" y="348"/>
                  </a:lnTo>
                  <a:lnTo>
                    <a:pt x="3000" y="344"/>
                  </a:lnTo>
                  <a:lnTo>
                    <a:pt x="3000" y="344"/>
                  </a:lnTo>
                  <a:lnTo>
                    <a:pt x="3000" y="344"/>
                  </a:lnTo>
                  <a:lnTo>
                    <a:pt x="3000" y="344"/>
                  </a:lnTo>
                  <a:lnTo>
                    <a:pt x="3004" y="344"/>
                  </a:lnTo>
                  <a:lnTo>
                    <a:pt x="3004" y="344"/>
                  </a:lnTo>
                  <a:lnTo>
                    <a:pt x="3000" y="344"/>
                  </a:lnTo>
                  <a:lnTo>
                    <a:pt x="3000" y="344"/>
                  </a:lnTo>
                  <a:lnTo>
                    <a:pt x="3004" y="344"/>
                  </a:lnTo>
                  <a:lnTo>
                    <a:pt x="3004" y="344"/>
                  </a:lnTo>
                  <a:lnTo>
                    <a:pt x="3004" y="339"/>
                  </a:lnTo>
                  <a:lnTo>
                    <a:pt x="3004" y="339"/>
                  </a:lnTo>
                  <a:lnTo>
                    <a:pt x="3004" y="339"/>
                  </a:lnTo>
                  <a:lnTo>
                    <a:pt x="3004" y="339"/>
                  </a:lnTo>
                  <a:lnTo>
                    <a:pt x="3004" y="339"/>
                  </a:lnTo>
                  <a:lnTo>
                    <a:pt x="3004" y="339"/>
                  </a:lnTo>
                  <a:lnTo>
                    <a:pt x="3009" y="339"/>
                  </a:lnTo>
                  <a:lnTo>
                    <a:pt x="3009" y="339"/>
                  </a:lnTo>
                  <a:lnTo>
                    <a:pt x="3009" y="339"/>
                  </a:lnTo>
                  <a:lnTo>
                    <a:pt x="3013" y="339"/>
                  </a:lnTo>
                  <a:lnTo>
                    <a:pt x="3013" y="339"/>
                  </a:lnTo>
                  <a:lnTo>
                    <a:pt x="3013" y="339"/>
                  </a:lnTo>
                  <a:lnTo>
                    <a:pt x="3013" y="339"/>
                  </a:lnTo>
                  <a:lnTo>
                    <a:pt x="3018" y="339"/>
                  </a:lnTo>
                  <a:lnTo>
                    <a:pt x="3018" y="339"/>
                  </a:lnTo>
                  <a:lnTo>
                    <a:pt x="3022" y="339"/>
                  </a:lnTo>
                  <a:lnTo>
                    <a:pt x="3022" y="339"/>
                  </a:lnTo>
                  <a:lnTo>
                    <a:pt x="3027" y="339"/>
                  </a:lnTo>
                  <a:lnTo>
                    <a:pt x="3027" y="339"/>
                  </a:lnTo>
                  <a:lnTo>
                    <a:pt x="3031" y="339"/>
                  </a:lnTo>
                  <a:lnTo>
                    <a:pt x="3031" y="339"/>
                  </a:lnTo>
                  <a:lnTo>
                    <a:pt x="3031" y="339"/>
                  </a:lnTo>
                  <a:lnTo>
                    <a:pt x="3031" y="339"/>
                  </a:lnTo>
                  <a:lnTo>
                    <a:pt x="3031" y="339"/>
                  </a:lnTo>
                  <a:lnTo>
                    <a:pt x="3031" y="339"/>
                  </a:lnTo>
                  <a:lnTo>
                    <a:pt x="3031" y="339"/>
                  </a:lnTo>
                  <a:lnTo>
                    <a:pt x="3036" y="344"/>
                  </a:lnTo>
                  <a:lnTo>
                    <a:pt x="3036" y="344"/>
                  </a:lnTo>
                  <a:lnTo>
                    <a:pt x="3040" y="344"/>
                  </a:lnTo>
                  <a:lnTo>
                    <a:pt x="3040" y="344"/>
                  </a:lnTo>
                  <a:lnTo>
                    <a:pt x="3040" y="348"/>
                  </a:lnTo>
                  <a:lnTo>
                    <a:pt x="3040" y="348"/>
                  </a:lnTo>
                  <a:lnTo>
                    <a:pt x="3040" y="353"/>
                  </a:lnTo>
                  <a:lnTo>
                    <a:pt x="3045" y="353"/>
                  </a:lnTo>
                  <a:lnTo>
                    <a:pt x="3045" y="353"/>
                  </a:lnTo>
                  <a:lnTo>
                    <a:pt x="3045" y="353"/>
                  </a:lnTo>
                  <a:lnTo>
                    <a:pt x="3040" y="353"/>
                  </a:lnTo>
                  <a:lnTo>
                    <a:pt x="3040" y="353"/>
                  </a:lnTo>
                  <a:lnTo>
                    <a:pt x="3045" y="357"/>
                  </a:lnTo>
                  <a:lnTo>
                    <a:pt x="3045" y="357"/>
                  </a:lnTo>
                  <a:lnTo>
                    <a:pt x="3040" y="357"/>
                  </a:lnTo>
                  <a:lnTo>
                    <a:pt x="3040" y="357"/>
                  </a:lnTo>
                  <a:lnTo>
                    <a:pt x="3040" y="357"/>
                  </a:lnTo>
                  <a:lnTo>
                    <a:pt x="3036" y="357"/>
                  </a:lnTo>
                  <a:lnTo>
                    <a:pt x="3036" y="357"/>
                  </a:lnTo>
                  <a:lnTo>
                    <a:pt x="3036" y="357"/>
                  </a:lnTo>
                  <a:lnTo>
                    <a:pt x="3036" y="357"/>
                  </a:lnTo>
                  <a:lnTo>
                    <a:pt x="3031" y="362"/>
                  </a:lnTo>
                  <a:lnTo>
                    <a:pt x="3031" y="362"/>
                  </a:lnTo>
                  <a:lnTo>
                    <a:pt x="3027" y="366"/>
                  </a:lnTo>
                  <a:lnTo>
                    <a:pt x="3027" y="366"/>
                  </a:lnTo>
                  <a:lnTo>
                    <a:pt x="3027" y="366"/>
                  </a:lnTo>
                  <a:lnTo>
                    <a:pt x="3022" y="371"/>
                  </a:lnTo>
                  <a:lnTo>
                    <a:pt x="3022" y="371"/>
                  </a:lnTo>
                  <a:lnTo>
                    <a:pt x="3022" y="371"/>
                  </a:lnTo>
                  <a:lnTo>
                    <a:pt x="3018" y="375"/>
                  </a:lnTo>
                  <a:lnTo>
                    <a:pt x="3018" y="375"/>
                  </a:lnTo>
                  <a:lnTo>
                    <a:pt x="3018" y="375"/>
                  </a:lnTo>
                  <a:lnTo>
                    <a:pt x="3013" y="380"/>
                  </a:lnTo>
                  <a:lnTo>
                    <a:pt x="3013" y="380"/>
                  </a:lnTo>
                  <a:lnTo>
                    <a:pt x="3013" y="380"/>
                  </a:lnTo>
                  <a:lnTo>
                    <a:pt x="3009" y="384"/>
                  </a:lnTo>
                  <a:lnTo>
                    <a:pt x="3009" y="384"/>
                  </a:lnTo>
                  <a:lnTo>
                    <a:pt x="3009" y="384"/>
                  </a:lnTo>
                  <a:lnTo>
                    <a:pt x="3009" y="384"/>
                  </a:lnTo>
                  <a:lnTo>
                    <a:pt x="3009" y="384"/>
                  </a:lnTo>
                  <a:lnTo>
                    <a:pt x="3009" y="384"/>
                  </a:lnTo>
                  <a:lnTo>
                    <a:pt x="3009" y="384"/>
                  </a:lnTo>
                  <a:lnTo>
                    <a:pt x="3009" y="384"/>
                  </a:lnTo>
                  <a:lnTo>
                    <a:pt x="3009" y="384"/>
                  </a:lnTo>
                  <a:lnTo>
                    <a:pt x="3009" y="389"/>
                  </a:lnTo>
                  <a:lnTo>
                    <a:pt x="3004" y="389"/>
                  </a:lnTo>
                  <a:lnTo>
                    <a:pt x="3004" y="389"/>
                  </a:lnTo>
                  <a:lnTo>
                    <a:pt x="3000" y="389"/>
                  </a:lnTo>
                  <a:lnTo>
                    <a:pt x="3000" y="389"/>
                  </a:lnTo>
                  <a:lnTo>
                    <a:pt x="3000" y="389"/>
                  </a:lnTo>
                  <a:lnTo>
                    <a:pt x="3000" y="389"/>
                  </a:lnTo>
                  <a:lnTo>
                    <a:pt x="3000" y="393"/>
                  </a:lnTo>
                  <a:lnTo>
                    <a:pt x="3000" y="393"/>
                  </a:lnTo>
                  <a:lnTo>
                    <a:pt x="2995" y="398"/>
                  </a:lnTo>
                  <a:lnTo>
                    <a:pt x="2995" y="398"/>
                  </a:lnTo>
                  <a:lnTo>
                    <a:pt x="2995" y="398"/>
                  </a:lnTo>
                  <a:lnTo>
                    <a:pt x="2995" y="398"/>
                  </a:lnTo>
                  <a:lnTo>
                    <a:pt x="2995" y="402"/>
                  </a:lnTo>
                  <a:lnTo>
                    <a:pt x="2995" y="402"/>
                  </a:lnTo>
                  <a:lnTo>
                    <a:pt x="3000" y="402"/>
                  </a:lnTo>
                  <a:lnTo>
                    <a:pt x="3000" y="407"/>
                  </a:lnTo>
                  <a:lnTo>
                    <a:pt x="3000" y="407"/>
                  </a:lnTo>
                  <a:lnTo>
                    <a:pt x="3000" y="407"/>
                  </a:lnTo>
                  <a:lnTo>
                    <a:pt x="3000" y="411"/>
                  </a:lnTo>
                  <a:lnTo>
                    <a:pt x="3000" y="411"/>
                  </a:lnTo>
                  <a:lnTo>
                    <a:pt x="3000" y="416"/>
                  </a:lnTo>
                  <a:lnTo>
                    <a:pt x="3004" y="416"/>
                  </a:lnTo>
                  <a:lnTo>
                    <a:pt x="3004" y="416"/>
                  </a:lnTo>
                  <a:lnTo>
                    <a:pt x="3004" y="416"/>
                  </a:lnTo>
                  <a:lnTo>
                    <a:pt x="3004" y="421"/>
                  </a:lnTo>
                  <a:lnTo>
                    <a:pt x="3004" y="421"/>
                  </a:lnTo>
                  <a:lnTo>
                    <a:pt x="3004" y="421"/>
                  </a:lnTo>
                  <a:lnTo>
                    <a:pt x="3004" y="421"/>
                  </a:lnTo>
                  <a:lnTo>
                    <a:pt x="3004" y="421"/>
                  </a:lnTo>
                  <a:lnTo>
                    <a:pt x="3004" y="421"/>
                  </a:lnTo>
                  <a:lnTo>
                    <a:pt x="3004" y="421"/>
                  </a:lnTo>
                  <a:lnTo>
                    <a:pt x="3004" y="421"/>
                  </a:lnTo>
                  <a:lnTo>
                    <a:pt x="3004" y="421"/>
                  </a:lnTo>
                  <a:lnTo>
                    <a:pt x="3004" y="421"/>
                  </a:lnTo>
                  <a:lnTo>
                    <a:pt x="3004" y="425"/>
                  </a:lnTo>
                  <a:lnTo>
                    <a:pt x="3004" y="425"/>
                  </a:lnTo>
                  <a:lnTo>
                    <a:pt x="3004" y="425"/>
                  </a:lnTo>
                  <a:lnTo>
                    <a:pt x="3000" y="430"/>
                  </a:lnTo>
                  <a:lnTo>
                    <a:pt x="3000" y="430"/>
                  </a:lnTo>
                  <a:lnTo>
                    <a:pt x="3000" y="434"/>
                  </a:lnTo>
                  <a:lnTo>
                    <a:pt x="3004" y="434"/>
                  </a:lnTo>
                  <a:lnTo>
                    <a:pt x="3004" y="434"/>
                  </a:lnTo>
                  <a:lnTo>
                    <a:pt x="3004" y="434"/>
                  </a:lnTo>
                  <a:lnTo>
                    <a:pt x="3004" y="439"/>
                  </a:lnTo>
                  <a:lnTo>
                    <a:pt x="3004" y="439"/>
                  </a:lnTo>
                  <a:lnTo>
                    <a:pt x="3004" y="439"/>
                  </a:lnTo>
                  <a:lnTo>
                    <a:pt x="3009" y="439"/>
                  </a:lnTo>
                  <a:lnTo>
                    <a:pt x="3009" y="439"/>
                  </a:lnTo>
                  <a:lnTo>
                    <a:pt x="3009" y="439"/>
                  </a:lnTo>
                  <a:lnTo>
                    <a:pt x="3009" y="439"/>
                  </a:lnTo>
                  <a:lnTo>
                    <a:pt x="3013" y="439"/>
                  </a:lnTo>
                  <a:lnTo>
                    <a:pt x="3018" y="443"/>
                  </a:lnTo>
                  <a:lnTo>
                    <a:pt x="3018" y="439"/>
                  </a:lnTo>
                  <a:lnTo>
                    <a:pt x="3018" y="443"/>
                  </a:lnTo>
                  <a:lnTo>
                    <a:pt x="3018" y="443"/>
                  </a:lnTo>
                  <a:lnTo>
                    <a:pt x="3018" y="443"/>
                  </a:lnTo>
                  <a:lnTo>
                    <a:pt x="3018" y="443"/>
                  </a:lnTo>
                  <a:lnTo>
                    <a:pt x="3018" y="443"/>
                  </a:lnTo>
                  <a:lnTo>
                    <a:pt x="3018" y="443"/>
                  </a:lnTo>
                  <a:lnTo>
                    <a:pt x="3018" y="443"/>
                  </a:lnTo>
                  <a:lnTo>
                    <a:pt x="3018" y="443"/>
                  </a:lnTo>
                  <a:lnTo>
                    <a:pt x="3018" y="443"/>
                  </a:lnTo>
                  <a:lnTo>
                    <a:pt x="3018" y="443"/>
                  </a:lnTo>
                  <a:lnTo>
                    <a:pt x="3018" y="443"/>
                  </a:lnTo>
                  <a:lnTo>
                    <a:pt x="3018" y="448"/>
                  </a:lnTo>
                  <a:lnTo>
                    <a:pt x="3018" y="448"/>
                  </a:lnTo>
                  <a:lnTo>
                    <a:pt x="3018" y="448"/>
                  </a:lnTo>
                  <a:lnTo>
                    <a:pt x="3022" y="448"/>
                  </a:lnTo>
                  <a:lnTo>
                    <a:pt x="3022" y="448"/>
                  </a:lnTo>
                  <a:lnTo>
                    <a:pt x="3022" y="448"/>
                  </a:lnTo>
                  <a:lnTo>
                    <a:pt x="3022" y="448"/>
                  </a:lnTo>
                  <a:lnTo>
                    <a:pt x="3022" y="448"/>
                  </a:lnTo>
                  <a:lnTo>
                    <a:pt x="3022" y="443"/>
                  </a:lnTo>
                  <a:lnTo>
                    <a:pt x="3022" y="443"/>
                  </a:lnTo>
                  <a:lnTo>
                    <a:pt x="3022" y="443"/>
                  </a:lnTo>
                  <a:lnTo>
                    <a:pt x="3027" y="448"/>
                  </a:lnTo>
                  <a:lnTo>
                    <a:pt x="3027" y="448"/>
                  </a:lnTo>
                  <a:lnTo>
                    <a:pt x="3027" y="448"/>
                  </a:lnTo>
                  <a:lnTo>
                    <a:pt x="3027" y="448"/>
                  </a:lnTo>
                  <a:lnTo>
                    <a:pt x="3027" y="448"/>
                  </a:lnTo>
                  <a:lnTo>
                    <a:pt x="3027" y="448"/>
                  </a:lnTo>
                  <a:lnTo>
                    <a:pt x="3027" y="452"/>
                  </a:lnTo>
                  <a:lnTo>
                    <a:pt x="3027" y="452"/>
                  </a:lnTo>
                  <a:lnTo>
                    <a:pt x="3027" y="452"/>
                  </a:lnTo>
                  <a:lnTo>
                    <a:pt x="3027" y="452"/>
                  </a:lnTo>
                  <a:lnTo>
                    <a:pt x="3031" y="448"/>
                  </a:lnTo>
                  <a:lnTo>
                    <a:pt x="3031" y="448"/>
                  </a:lnTo>
                  <a:lnTo>
                    <a:pt x="3031" y="448"/>
                  </a:lnTo>
                  <a:lnTo>
                    <a:pt x="3036" y="448"/>
                  </a:lnTo>
                  <a:lnTo>
                    <a:pt x="3040" y="448"/>
                  </a:lnTo>
                  <a:lnTo>
                    <a:pt x="3040" y="448"/>
                  </a:lnTo>
                  <a:lnTo>
                    <a:pt x="3045" y="448"/>
                  </a:lnTo>
                  <a:lnTo>
                    <a:pt x="3045" y="448"/>
                  </a:lnTo>
                  <a:lnTo>
                    <a:pt x="3045" y="448"/>
                  </a:lnTo>
                  <a:lnTo>
                    <a:pt x="3049" y="443"/>
                  </a:lnTo>
                  <a:lnTo>
                    <a:pt x="3049" y="443"/>
                  </a:lnTo>
                  <a:lnTo>
                    <a:pt x="3054" y="443"/>
                  </a:lnTo>
                  <a:lnTo>
                    <a:pt x="3054" y="443"/>
                  </a:lnTo>
                  <a:lnTo>
                    <a:pt x="3058" y="443"/>
                  </a:lnTo>
                  <a:lnTo>
                    <a:pt x="3058" y="443"/>
                  </a:lnTo>
                  <a:lnTo>
                    <a:pt x="3058" y="443"/>
                  </a:lnTo>
                  <a:lnTo>
                    <a:pt x="3058" y="443"/>
                  </a:lnTo>
                  <a:lnTo>
                    <a:pt x="3063" y="443"/>
                  </a:lnTo>
                  <a:lnTo>
                    <a:pt x="3063" y="443"/>
                  </a:lnTo>
                  <a:lnTo>
                    <a:pt x="3063" y="443"/>
                  </a:lnTo>
                  <a:lnTo>
                    <a:pt x="3063" y="443"/>
                  </a:lnTo>
                  <a:lnTo>
                    <a:pt x="3063" y="439"/>
                  </a:lnTo>
                  <a:lnTo>
                    <a:pt x="3063" y="439"/>
                  </a:lnTo>
                  <a:lnTo>
                    <a:pt x="3063" y="439"/>
                  </a:lnTo>
                  <a:lnTo>
                    <a:pt x="3063" y="439"/>
                  </a:lnTo>
                  <a:lnTo>
                    <a:pt x="3068" y="439"/>
                  </a:lnTo>
                  <a:lnTo>
                    <a:pt x="3068" y="439"/>
                  </a:lnTo>
                  <a:lnTo>
                    <a:pt x="3068" y="439"/>
                  </a:lnTo>
                  <a:lnTo>
                    <a:pt x="3068" y="439"/>
                  </a:lnTo>
                  <a:lnTo>
                    <a:pt x="3072" y="434"/>
                  </a:lnTo>
                  <a:lnTo>
                    <a:pt x="3072" y="434"/>
                  </a:lnTo>
                  <a:lnTo>
                    <a:pt x="3072" y="434"/>
                  </a:lnTo>
                  <a:lnTo>
                    <a:pt x="3072" y="439"/>
                  </a:lnTo>
                  <a:lnTo>
                    <a:pt x="3072" y="439"/>
                  </a:lnTo>
                  <a:lnTo>
                    <a:pt x="3072" y="439"/>
                  </a:lnTo>
                  <a:lnTo>
                    <a:pt x="3072" y="439"/>
                  </a:lnTo>
                  <a:lnTo>
                    <a:pt x="3072" y="439"/>
                  </a:lnTo>
                  <a:lnTo>
                    <a:pt x="3077" y="439"/>
                  </a:lnTo>
                  <a:lnTo>
                    <a:pt x="3077" y="439"/>
                  </a:lnTo>
                  <a:lnTo>
                    <a:pt x="3081" y="439"/>
                  </a:lnTo>
                  <a:lnTo>
                    <a:pt x="3081" y="439"/>
                  </a:lnTo>
                  <a:lnTo>
                    <a:pt x="3081" y="439"/>
                  </a:lnTo>
                  <a:lnTo>
                    <a:pt x="3086" y="439"/>
                  </a:lnTo>
                  <a:lnTo>
                    <a:pt x="3086" y="439"/>
                  </a:lnTo>
                  <a:lnTo>
                    <a:pt x="3086" y="439"/>
                  </a:lnTo>
                  <a:lnTo>
                    <a:pt x="3086" y="439"/>
                  </a:lnTo>
                  <a:lnTo>
                    <a:pt x="3090" y="439"/>
                  </a:lnTo>
                  <a:lnTo>
                    <a:pt x="3095" y="434"/>
                  </a:lnTo>
                  <a:lnTo>
                    <a:pt x="3095" y="434"/>
                  </a:lnTo>
                  <a:lnTo>
                    <a:pt x="3099" y="434"/>
                  </a:lnTo>
                  <a:lnTo>
                    <a:pt x="3099" y="439"/>
                  </a:lnTo>
                  <a:lnTo>
                    <a:pt x="3099" y="439"/>
                  </a:lnTo>
                  <a:lnTo>
                    <a:pt x="3095" y="439"/>
                  </a:lnTo>
                  <a:lnTo>
                    <a:pt x="3095" y="439"/>
                  </a:lnTo>
                  <a:lnTo>
                    <a:pt x="3099" y="439"/>
                  </a:lnTo>
                  <a:lnTo>
                    <a:pt x="3099" y="443"/>
                  </a:lnTo>
                  <a:lnTo>
                    <a:pt x="3104" y="443"/>
                  </a:lnTo>
                  <a:lnTo>
                    <a:pt x="3108" y="443"/>
                  </a:lnTo>
                  <a:lnTo>
                    <a:pt x="3113" y="443"/>
                  </a:lnTo>
                  <a:lnTo>
                    <a:pt x="3113" y="443"/>
                  </a:lnTo>
                  <a:lnTo>
                    <a:pt x="3117" y="443"/>
                  </a:lnTo>
                  <a:lnTo>
                    <a:pt x="3117" y="448"/>
                  </a:lnTo>
                  <a:lnTo>
                    <a:pt x="3117" y="448"/>
                  </a:lnTo>
                  <a:lnTo>
                    <a:pt x="3122" y="448"/>
                  </a:lnTo>
                  <a:lnTo>
                    <a:pt x="3122" y="448"/>
                  </a:lnTo>
                  <a:lnTo>
                    <a:pt x="3122" y="448"/>
                  </a:lnTo>
                  <a:lnTo>
                    <a:pt x="3113" y="448"/>
                  </a:lnTo>
                  <a:lnTo>
                    <a:pt x="3108" y="448"/>
                  </a:lnTo>
                  <a:lnTo>
                    <a:pt x="3104" y="448"/>
                  </a:lnTo>
                  <a:lnTo>
                    <a:pt x="3104" y="448"/>
                  </a:lnTo>
                  <a:lnTo>
                    <a:pt x="3104" y="448"/>
                  </a:lnTo>
                  <a:lnTo>
                    <a:pt x="3104" y="452"/>
                  </a:lnTo>
                  <a:lnTo>
                    <a:pt x="3104" y="452"/>
                  </a:lnTo>
                  <a:lnTo>
                    <a:pt x="3104" y="452"/>
                  </a:lnTo>
                  <a:lnTo>
                    <a:pt x="3099" y="452"/>
                  </a:lnTo>
                  <a:lnTo>
                    <a:pt x="3099" y="452"/>
                  </a:lnTo>
                  <a:lnTo>
                    <a:pt x="3099" y="452"/>
                  </a:lnTo>
                  <a:lnTo>
                    <a:pt x="3099" y="452"/>
                  </a:lnTo>
                  <a:lnTo>
                    <a:pt x="3095" y="452"/>
                  </a:lnTo>
                  <a:lnTo>
                    <a:pt x="3095" y="452"/>
                  </a:lnTo>
                  <a:lnTo>
                    <a:pt x="3095" y="452"/>
                  </a:lnTo>
                  <a:lnTo>
                    <a:pt x="3095" y="452"/>
                  </a:lnTo>
                  <a:lnTo>
                    <a:pt x="3090" y="452"/>
                  </a:lnTo>
                  <a:lnTo>
                    <a:pt x="3095" y="452"/>
                  </a:lnTo>
                  <a:lnTo>
                    <a:pt x="3095" y="457"/>
                  </a:lnTo>
                  <a:lnTo>
                    <a:pt x="3095" y="457"/>
                  </a:lnTo>
                  <a:lnTo>
                    <a:pt x="3095" y="457"/>
                  </a:lnTo>
                  <a:lnTo>
                    <a:pt x="3090" y="457"/>
                  </a:lnTo>
                  <a:lnTo>
                    <a:pt x="3086" y="457"/>
                  </a:lnTo>
                  <a:lnTo>
                    <a:pt x="3081" y="457"/>
                  </a:lnTo>
                  <a:lnTo>
                    <a:pt x="3077" y="457"/>
                  </a:lnTo>
                  <a:lnTo>
                    <a:pt x="3072" y="457"/>
                  </a:lnTo>
                  <a:lnTo>
                    <a:pt x="3072" y="457"/>
                  </a:lnTo>
                  <a:lnTo>
                    <a:pt x="3063" y="457"/>
                  </a:lnTo>
                  <a:lnTo>
                    <a:pt x="3058" y="457"/>
                  </a:lnTo>
                  <a:lnTo>
                    <a:pt x="3058" y="452"/>
                  </a:lnTo>
                  <a:lnTo>
                    <a:pt x="3058" y="457"/>
                  </a:lnTo>
                  <a:lnTo>
                    <a:pt x="3058" y="457"/>
                  </a:lnTo>
                  <a:lnTo>
                    <a:pt x="3058" y="457"/>
                  </a:lnTo>
                  <a:lnTo>
                    <a:pt x="3049" y="457"/>
                  </a:lnTo>
                  <a:lnTo>
                    <a:pt x="3045" y="457"/>
                  </a:lnTo>
                  <a:lnTo>
                    <a:pt x="3045" y="457"/>
                  </a:lnTo>
                  <a:lnTo>
                    <a:pt x="3040" y="461"/>
                  </a:lnTo>
                  <a:lnTo>
                    <a:pt x="3040" y="461"/>
                  </a:lnTo>
                  <a:lnTo>
                    <a:pt x="3040" y="461"/>
                  </a:lnTo>
                  <a:lnTo>
                    <a:pt x="3036" y="461"/>
                  </a:lnTo>
                  <a:lnTo>
                    <a:pt x="3036" y="461"/>
                  </a:lnTo>
                  <a:lnTo>
                    <a:pt x="3031" y="461"/>
                  </a:lnTo>
                  <a:lnTo>
                    <a:pt x="3031" y="466"/>
                  </a:lnTo>
                  <a:lnTo>
                    <a:pt x="3031" y="466"/>
                  </a:lnTo>
                  <a:lnTo>
                    <a:pt x="3031" y="466"/>
                  </a:lnTo>
                  <a:lnTo>
                    <a:pt x="3036" y="466"/>
                  </a:lnTo>
                  <a:lnTo>
                    <a:pt x="3031" y="466"/>
                  </a:lnTo>
                  <a:lnTo>
                    <a:pt x="3031" y="470"/>
                  </a:lnTo>
                  <a:lnTo>
                    <a:pt x="3036" y="470"/>
                  </a:lnTo>
                  <a:lnTo>
                    <a:pt x="3036" y="470"/>
                  </a:lnTo>
                  <a:lnTo>
                    <a:pt x="3036" y="470"/>
                  </a:lnTo>
                  <a:lnTo>
                    <a:pt x="3036" y="470"/>
                  </a:lnTo>
                  <a:lnTo>
                    <a:pt x="3036" y="470"/>
                  </a:lnTo>
                  <a:lnTo>
                    <a:pt x="3036" y="470"/>
                  </a:lnTo>
                  <a:lnTo>
                    <a:pt x="3036" y="475"/>
                  </a:lnTo>
                  <a:lnTo>
                    <a:pt x="3036" y="475"/>
                  </a:lnTo>
                  <a:lnTo>
                    <a:pt x="3036" y="475"/>
                  </a:lnTo>
                  <a:lnTo>
                    <a:pt x="3036" y="479"/>
                  </a:lnTo>
                  <a:lnTo>
                    <a:pt x="3040" y="479"/>
                  </a:lnTo>
                  <a:lnTo>
                    <a:pt x="3040" y="479"/>
                  </a:lnTo>
                  <a:lnTo>
                    <a:pt x="3045" y="479"/>
                  </a:lnTo>
                  <a:lnTo>
                    <a:pt x="3045" y="479"/>
                  </a:lnTo>
                  <a:lnTo>
                    <a:pt x="3045" y="479"/>
                  </a:lnTo>
                  <a:lnTo>
                    <a:pt x="3045" y="479"/>
                  </a:lnTo>
                  <a:lnTo>
                    <a:pt x="3045" y="479"/>
                  </a:lnTo>
                  <a:lnTo>
                    <a:pt x="3049" y="479"/>
                  </a:lnTo>
                  <a:lnTo>
                    <a:pt x="3049" y="479"/>
                  </a:lnTo>
                  <a:lnTo>
                    <a:pt x="3049" y="479"/>
                  </a:lnTo>
                  <a:lnTo>
                    <a:pt x="3049" y="479"/>
                  </a:lnTo>
                  <a:lnTo>
                    <a:pt x="3049" y="484"/>
                  </a:lnTo>
                  <a:lnTo>
                    <a:pt x="3045" y="488"/>
                  </a:lnTo>
                  <a:lnTo>
                    <a:pt x="3045" y="488"/>
                  </a:lnTo>
                  <a:lnTo>
                    <a:pt x="3045" y="488"/>
                  </a:lnTo>
                  <a:lnTo>
                    <a:pt x="3049" y="493"/>
                  </a:lnTo>
                  <a:lnTo>
                    <a:pt x="3049" y="497"/>
                  </a:lnTo>
                  <a:lnTo>
                    <a:pt x="3049" y="497"/>
                  </a:lnTo>
                  <a:lnTo>
                    <a:pt x="3049" y="502"/>
                  </a:lnTo>
                  <a:lnTo>
                    <a:pt x="3045" y="502"/>
                  </a:lnTo>
                  <a:lnTo>
                    <a:pt x="3045" y="502"/>
                  </a:lnTo>
                  <a:lnTo>
                    <a:pt x="3040" y="506"/>
                  </a:lnTo>
                  <a:lnTo>
                    <a:pt x="3036" y="502"/>
                  </a:lnTo>
                  <a:lnTo>
                    <a:pt x="3031" y="497"/>
                  </a:lnTo>
                  <a:lnTo>
                    <a:pt x="3031" y="497"/>
                  </a:lnTo>
                  <a:lnTo>
                    <a:pt x="3027" y="493"/>
                  </a:lnTo>
                  <a:lnTo>
                    <a:pt x="3022" y="493"/>
                  </a:lnTo>
                  <a:lnTo>
                    <a:pt x="3022" y="493"/>
                  </a:lnTo>
                  <a:lnTo>
                    <a:pt x="3018" y="493"/>
                  </a:lnTo>
                  <a:lnTo>
                    <a:pt x="3013" y="493"/>
                  </a:lnTo>
                  <a:lnTo>
                    <a:pt x="3013" y="493"/>
                  </a:lnTo>
                  <a:lnTo>
                    <a:pt x="3009" y="497"/>
                  </a:lnTo>
                  <a:lnTo>
                    <a:pt x="3009" y="502"/>
                  </a:lnTo>
                  <a:lnTo>
                    <a:pt x="3009" y="502"/>
                  </a:lnTo>
                  <a:lnTo>
                    <a:pt x="3009" y="506"/>
                  </a:lnTo>
                  <a:lnTo>
                    <a:pt x="3009" y="506"/>
                  </a:lnTo>
                  <a:lnTo>
                    <a:pt x="3004" y="506"/>
                  </a:lnTo>
                  <a:lnTo>
                    <a:pt x="3004" y="511"/>
                  </a:lnTo>
                  <a:lnTo>
                    <a:pt x="3004" y="520"/>
                  </a:lnTo>
                  <a:lnTo>
                    <a:pt x="3004" y="520"/>
                  </a:lnTo>
                  <a:lnTo>
                    <a:pt x="3004" y="525"/>
                  </a:lnTo>
                  <a:lnTo>
                    <a:pt x="3004" y="529"/>
                  </a:lnTo>
                  <a:lnTo>
                    <a:pt x="3009" y="529"/>
                  </a:lnTo>
                  <a:lnTo>
                    <a:pt x="3009" y="534"/>
                  </a:lnTo>
                  <a:lnTo>
                    <a:pt x="3009" y="534"/>
                  </a:lnTo>
                  <a:lnTo>
                    <a:pt x="3009" y="538"/>
                  </a:lnTo>
                  <a:lnTo>
                    <a:pt x="3009" y="538"/>
                  </a:lnTo>
                  <a:lnTo>
                    <a:pt x="3009" y="543"/>
                  </a:lnTo>
                  <a:lnTo>
                    <a:pt x="3004" y="543"/>
                  </a:lnTo>
                  <a:lnTo>
                    <a:pt x="3004" y="543"/>
                  </a:lnTo>
                  <a:lnTo>
                    <a:pt x="3004" y="543"/>
                  </a:lnTo>
                  <a:lnTo>
                    <a:pt x="3000" y="543"/>
                  </a:lnTo>
                  <a:lnTo>
                    <a:pt x="3000" y="543"/>
                  </a:lnTo>
                  <a:lnTo>
                    <a:pt x="3004" y="538"/>
                  </a:lnTo>
                  <a:lnTo>
                    <a:pt x="3004" y="534"/>
                  </a:lnTo>
                  <a:lnTo>
                    <a:pt x="3009" y="534"/>
                  </a:lnTo>
                  <a:lnTo>
                    <a:pt x="3009" y="534"/>
                  </a:lnTo>
                  <a:lnTo>
                    <a:pt x="3009" y="529"/>
                  </a:lnTo>
                  <a:lnTo>
                    <a:pt x="3009" y="529"/>
                  </a:lnTo>
                  <a:lnTo>
                    <a:pt x="3004" y="534"/>
                  </a:lnTo>
                  <a:lnTo>
                    <a:pt x="3004" y="534"/>
                  </a:lnTo>
                  <a:lnTo>
                    <a:pt x="3004" y="538"/>
                  </a:lnTo>
                  <a:lnTo>
                    <a:pt x="3004" y="538"/>
                  </a:lnTo>
                  <a:lnTo>
                    <a:pt x="3000" y="538"/>
                  </a:lnTo>
                  <a:lnTo>
                    <a:pt x="3000" y="543"/>
                  </a:lnTo>
                  <a:lnTo>
                    <a:pt x="3000" y="543"/>
                  </a:lnTo>
                  <a:lnTo>
                    <a:pt x="2995" y="543"/>
                  </a:lnTo>
                  <a:lnTo>
                    <a:pt x="2991" y="543"/>
                  </a:lnTo>
                  <a:lnTo>
                    <a:pt x="2991" y="547"/>
                  </a:lnTo>
                  <a:lnTo>
                    <a:pt x="2991" y="547"/>
                  </a:lnTo>
                  <a:lnTo>
                    <a:pt x="2991" y="547"/>
                  </a:lnTo>
                  <a:lnTo>
                    <a:pt x="2991" y="552"/>
                  </a:lnTo>
                  <a:lnTo>
                    <a:pt x="2986" y="552"/>
                  </a:lnTo>
                  <a:lnTo>
                    <a:pt x="2986" y="552"/>
                  </a:lnTo>
                  <a:lnTo>
                    <a:pt x="2986" y="552"/>
                  </a:lnTo>
                  <a:lnTo>
                    <a:pt x="2977" y="556"/>
                  </a:lnTo>
                  <a:lnTo>
                    <a:pt x="2977" y="556"/>
                  </a:lnTo>
                  <a:lnTo>
                    <a:pt x="2973" y="552"/>
                  </a:lnTo>
                  <a:lnTo>
                    <a:pt x="2973" y="552"/>
                  </a:lnTo>
                  <a:lnTo>
                    <a:pt x="2973" y="547"/>
                  </a:lnTo>
                  <a:lnTo>
                    <a:pt x="2973" y="547"/>
                  </a:lnTo>
                  <a:lnTo>
                    <a:pt x="2973" y="547"/>
                  </a:lnTo>
                  <a:lnTo>
                    <a:pt x="2977" y="547"/>
                  </a:lnTo>
                  <a:lnTo>
                    <a:pt x="2977" y="547"/>
                  </a:lnTo>
                  <a:lnTo>
                    <a:pt x="2973" y="547"/>
                  </a:lnTo>
                  <a:lnTo>
                    <a:pt x="2968" y="547"/>
                  </a:lnTo>
                  <a:lnTo>
                    <a:pt x="2964" y="547"/>
                  </a:lnTo>
                  <a:lnTo>
                    <a:pt x="2964" y="547"/>
                  </a:lnTo>
                  <a:lnTo>
                    <a:pt x="2955" y="547"/>
                  </a:lnTo>
                  <a:lnTo>
                    <a:pt x="2950" y="547"/>
                  </a:lnTo>
                  <a:lnTo>
                    <a:pt x="2950" y="552"/>
                  </a:lnTo>
                  <a:lnTo>
                    <a:pt x="2946" y="552"/>
                  </a:lnTo>
                  <a:lnTo>
                    <a:pt x="2941" y="552"/>
                  </a:lnTo>
                  <a:lnTo>
                    <a:pt x="2941" y="556"/>
                  </a:lnTo>
                  <a:lnTo>
                    <a:pt x="2941" y="556"/>
                  </a:lnTo>
                  <a:lnTo>
                    <a:pt x="2941" y="556"/>
                  </a:lnTo>
                  <a:lnTo>
                    <a:pt x="2936" y="556"/>
                  </a:lnTo>
                  <a:lnTo>
                    <a:pt x="2936" y="556"/>
                  </a:lnTo>
                  <a:lnTo>
                    <a:pt x="2927" y="561"/>
                  </a:lnTo>
                  <a:lnTo>
                    <a:pt x="2918" y="561"/>
                  </a:lnTo>
                  <a:lnTo>
                    <a:pt x="2914" y="561"/>
                  </a:lnTo>
                  <a:lnTo>
                    <a:pt x="2914" y="561"/>
                  </a:lnTo>
                  <a:lnTo>
                    <a:pt x="2914" y="561"/>
                  </a:lnTo>
                  <a:lnTo>
                    <a:pt x="2909" y="561"/>
                  </a:lnTo>
                  <a:lnTo>
                    <a:pt x="2905" y="561"/>
                  </a:lnTo>
                  <a:lnTo>
                    <a:pt x="2905" y="561"/>
                  </a:lnTo>
                  <a:lnTo>
                    <a:pt x="2905" y="561"/>
                  </a:lnTo>
                  <a:lnTo>
                    <a:pt x="2909" y="561"/>
                  </a:lnTo>
                  <a:lnTo>
                    <a:pt x="2909" y="561"/>
                  </a:lnTo>
                  <a:lnTo>
                    <a:pt x="2909" y="561"/>
                  </a:lnTo>
                  <a:lnTo>
                    <a:pt x="2909" y="565"/>
                  </a:lnTo>
                  <a:lnTo>
                    <a:pt x="2909" y="565"/>
                  </a:lnTo>
                  <a:lnTo>
                    <a:pt x="2909" y="565"/>
                  </a:lnTo>
                  <a:lnTo>
                    <a:pt x="2914" y="565"/>
                  </a:lnTo>
                  <a:lnTo>
                    <a:pt x="2918" y="565"/>
                  </a:lnTo>
                  <a:lnTo>
                    <a:pt x="2918" y="565"/>
                  </a:lnTo>
                  <a:lnTo>
                    <a:pt x="2918" y="565"/>
                  </a:lnTo>
                  <a:lnTo>
                    <a:pt x="2918" y="570"/>
                  </a:lnTo>
                  <a:lnTo>
                    <a:pt x="2918" y="570"/>
                  </a:lnTo>
                  <a:lnTo>
                    <a:pt x="2914" y="570"/>
                  </a:lnTo>
                  <a:lnTo>
                    <a:pt x="2914" y="565"/>
                  </a:lnTo>
                  <a:lnTo>
                    <a:pt x="2909" y="565"/>
                  </a:lnTo>
                  <a:lnTo>
                    <a:pt x="2909" y="565"/>
                  </a:lnTo>
                  <a:lnTo>
                    <a:pt x="2909" y="565"/>
                  </a:lnTo>
                  <a:lnTo>
                    <a:pt x="2905" y="561"/>
                  </a:lnTo>
                  <a:lnTo>
                    <a:pt x="2905" y="561"/>
                  </a:lnTo>
                  <a:lnTo>
                    <a:pt x="2900" y="561"/>
                  </a:lnTo>
                  <a:lnTo>
                    <a:pt x="2896" y="556"/>
                  </a:lnTo>
                  <a:lnTo>
                    <a:pt x="2896" y="552"/>
                  </a:lnTo>
                  <a:lnTo>
                    <a:pt x="2891" y="552"/>
                  </a:lnTo>
                  <a:lnTo>
                    <a:pt x="2891" y="552"/>
                  </a:lnTo>
                  <a:lnTo>
                    <a:pt x="2887" y="552"/>
                  </a:lnTo>
                  <a:lnTo>
                    <a:pt x="2887" y="556"/>
                  </a:lnTo>
                  <a:lnTo>
                    <a:pt x="2887" y="556"/>
                  </a:lnTo>
                  <a:lnTo>
                    <a:pt x="2882" y="556"/>
                  </a:lnTo>
                  <a:lnTo>
                    <a:pt x="2882" y="556"/>
                  </a:lnTo>
                  <a:lnTo>
                    <a:pt x="2878" y="561"/>
                  </a:lnTo>
                  <a:lnTo>
                    <a:pt x="2878" y="561"/>
                  </a:lnTo>
                  <a:lnTo>
                    <a:pt x="2873" y="561"/>
                  </a:lnTo>
                  <a:lnTo>
                    <a:pt x="2873" y="561"/>
                  </a:lnTo>
                  <a:lnTo>
                    <a:pt x="2869" y="561"/>
                  </a:lnTo>
                  <a:lnTo>
                    <a:pt x="2864" y="561"/>
                  </a:lnTo>
                  <a:lnTo>
                    <a:pt x="2864" y="561"/>
                  </a:lnTo>
                  <a:lnTo>
                    <a:pt x="2864" y="561"/>
                  </a:lnTo>
                  <a:lnTo>
                    <a:pt x="2869" y="556"/>
                  </a:lnTo>
                  <a:lnTo>
                    <a:pt x="2869" y="556"/>
                  </a:lnTo>
                  <a:lnTo>
                    <a:pt x="2869" y="556"/>
                  </a:lnTo>
                  <a:lnTo>
                    <a:pt x="2864" y="556"/>
                  </a:lnTo>
                  <a:lnTo>
                    <a:pt x="2864" y="556"/>
                  </a:lnTo>
                  <a:lnTo>
                    <a:pt x="2860" y="552"/>
                  </a:lnTo>
                  <a:lnTo>
                    <a:pt x="2855" y="552"/>
                  </a:lnTo>
                  <a:lnTo>
                    <a:pt x="2855" y="552"/>
                  </a:lnTo>
                  <a:lnTo>
                    <a:pt x="2855" y="552"/>
                  </a:lnTo>
                  <a:lnTo>
                    <a:pt x="2851" y="552"/>
                  </a:lnTo>
                  <a:lnTo>
                    <a:pt x="2851" y="552"/>
                  </a:lnTo>
                  <a:lnTo>
                    <a:pt x="2855" y="552"/>
                  </a:lnTo>
                  <a:lnTo>
                    <a:pt x="2851" y="547"/>
                  </a:lnTo>
                  <a:lnTo>
                    <a:pt x="2851" y="547"/>
                  </a:lnTo>
                  <a:lnTo>
                    <a:pt x="2851" y="547"/>
                  </a:lnTo>
                  <a:lnTo>
                    <a:pt x="2851" y="547"/>
                  </a:lnTo>
                  <a:lnTo>
                    <a:pt x="2851" y="543"/>
                  </a:lnTo>
                  <a:lnTo>
                    <a:pt x="2851" y="543"/>
                  </a:lnTo>
                  <a:lnTo>
                    <a:pt x="2846" y="543"/>
                  </a:lnTo>
                  <a:lnTo>
                    <a:pt x="2846" y="543"/>
                  </a:lnTo>
                  <a:lnTo>
                    <a:pt x="2846" y="543"/>
                  </a:lnTo>
                  <a:lnTo>
                    <a:pt x="2846" y="543"/>
                  </a:lnTo>
                  <a:lnTo>
                    <a:pt x="2846" y="543"/>
                  </a:lnTo>
                  <a:lnTo>
                    <a:pt x="2846" y="538"/>
                  </a:lnTo>
                  <a:lnTo>
                    <a:pt x="2846" y="538"/>
                  </a:lnTo>
                  <a:lnTo>
                    <a:pt x="2846" y="538"/>
                  </a:lnTo>
                  <a:lnTo>
                    <a:pt x="2846" y="534"/>
                  </a:lnTo>
                  <a:lnTo>
                    <a:pt x="2846" y="534"/>
                  </a:lnTo>
                  <a:lnTo>
                    <a:pt x="2846" y="534"/>
                  </a:lnTo>
                  <a:lnTo>
                    <a:pt x="2851" y="529"/>
                  </a:lnTo>
                  <a:lnTo>
                    <a:pt x="2851" y="529"/>
                  </a:lnTo>
                  <a:lnTo>
                    <a:pt x="2851" y="529"/>
                  </a:lnTo>
                  <a:lnTo>
                    <a:pt x="2851" y="529"/>
                  </a:lnTo>
                  <a:lnTo>
                    <a:pt x="2855" y="529"/>
                  </a:lnTo>
                  <a:lnTo>
                    <a:pt x="2851" y="529"/>
                  </a:lnTo>
                  <a:lnTo>
                    <a:pt x="2851" y="529"/>
                  </a:lnTo>
                  <a:lnTo>
                    <a:pt x="2851" y="525"/>
                  </a:lnTo>
                  <a:lnTo>
                    <a:pt x="2855" y="525"/>
                  </a:lnTo>
                  <a:lnTo>
                    <a:pt x="2855" y="525"/>
                  </a:lnTo>
                  <a:lnTo>
                    <a:pt x="2855" y="525"/>
                  </a:lnTo>
                  <a:lnTo>
                    <a:pt x="2855" y="525"/>
                  </a:lnTo>
                  <a:lnTo>
                    <a:pt x="2855" y="520"/>
                  </a:lnTo>
                  <a:lnTo>
                    <a:pt x="2860" y="520"/>
                  </a:lnTo>
                  <a:lnTo>
                    <a:pt x="2860" y="520"/>
                  </a:lnTo>
                  <a:lnTo>
                    <a:pt x="2860" y="520"/>
                  </a:lnTo>
                  <a:lnTo>
                    <a:pt x="2860" y="520"/>
                  </a:lnTo>
                  <a:lnTo>
                    <a:pt x="2864" y="520"/>
                  </a:lnTo>
                  <a:lnTo>
                    <a:pt x="2864" y="520"/>
                  </a:lnTo>
                  <a:lnTo>
                    <a:pt x="2864" y="515"/>
                  </a:lnTo>
                  <a:lnTo>
                    <a:pt x="2864" y="515"/>
                  </a:lnTo>
                  <a:lnTo>
                    <a:pt x="2864" y="515"/>
                  </a:lnTo>
                  <a:lnTo>
                    <a:pt x="2864" y="515"/>
                  </a:lnTo>
                  <a:lnTo>
                    <a:pt x="2860" y="515"/>
                  </a:lnTo>
                  <a:lnTo>
                    <a:pt x="2860" y="515"/>
                  </a:lnTo>
                  <a:lnTo>
                    <a:pt x="2855" y="511"/>
                  </a:lnTo>
                  <a:lnTo>
                    <a:pt x="2855" y="511"/>
                  </a:lnTo>
                  <a:lnTo>
                    <a:pt x="2855" y="506"/>
                  </a:lnTo>
                  <a:lnTo>
                    <a:pt x="2855" y="506"/>
                  </a:lnTo>
                  <a:lnTo>
                    <a:pt x="2855" y="506"/>
                  </a:lnTo>
                  <a:lnTo>
                    <a:pt x="2860" y="502"/>
                  </a:lnTo>
                  <a:lnTo>
                    <a:pt x="2860" y="502"/>
                  </a:lnTo>
                  <a:lnTo>
                    <a:pt x="2860" y="497"/>
                  </a:lnTo>
                  <a:lnTo>
                    <a:pt x="2860" y="497"/>
                  </a:lnTo>
                  <a:lnTo>
                    <a:pt x="2860" y="493"/>
                  </a:lnTo>
                  <a:lnTo>
                    <a:pt x="2860" y="493"/>
                  </a:lnTo>
                  <a:lnTo>
                    <a:pt x="2860" y="493"/>
                  </a:lnTo>
                  <a:lnTo>
                    <a:pt x="2860" y="493"/>
                  </a:lnTo>
                  <a:lnTo>
                    <a:pt x="2860" y="493"/>
                  </a:lnTo>
                  <a:lnTo>
                    <a:pt x="2855" y="493"/>
                  </a:lnTo>
                  <a:lnTo>
                    <a:pt x="2851" y="493"/>
                  </a:lnTo>
                  <a:lnTo>
                    <a:pt x="2851" y="497"/>
                  </a:lnTo>
                  <a:lnTo>
                    <a:pt x="2846" y="502"/>
                  </a:lnTo>
                  <a:lnTo>
                    <a:pt x="2846" y="502"/>
                  </a:lnTo>
                  <a:lnTo>
                    <a:pt x="2842" y="502"/>
                  </a:lnTo>
                  <a:lnTo>
                    <a:pt x="2842" y="502"/>
                  </a:lnTo>
                  <a:lnTo>
                    <a:pt x="2837" y="502"/>
                  </a:lnTo>
                  <a:lnTo>
                    <a:pt x="2837" y="502"/>
                  </a:lnTo>
                  <a:lnTo>
                    <a:pt x="2833" y="502"/>
                  </a:lnTo>
                  <a:lnTo>
                    <a:pt x="2833" y="506"/>
                  </a:lnTo>
                  <a:lnTo>
                    <a:pt x="2828" y="506"/>
                  </a:lnTo>
                  <a:lnTo>
                    <a:pt x="2828" y="506"/>
                  </a:lnTo>
                  <a:lnTo>
                    <a:pt x="2828" y="511"/>
                  </a:lnTo>
                  <a:lnTo>
                    <a:pt x="2828" y="511"/>
                  </a:lnTo>
                  <a:lnTo>
                    <a:pt x="2833" y="511"/>
                  </a:lnTo>
                  <a:lnTo>
                    <a:pt x="2833" y="511"/>
                  </a:lnTo>
                  <a:lnTo>
                    <a:pt x="2837" y="511"/>
                  </a:lnTo>
                  <a:lnTo>
                    <a:pt x="2837" y="506"/>
                  </a:lnTo>
                  <a:lnTo>
                    <a:pt x="2837" y="506"/>
                  </a:lnTo>
                  <a:lnTo>
                    <a:pt x="2842" y="506"/>
                  </a:lnTo>
                  <a:lnTo>
                    <a:pt x="2842" y="506"/>
                  </a:lnTo>
                  <a:lnTo>
                    <a:pt x="2842" y="511"/>
                  </a:lnTo>
                  <a:lnTo>
                    <a:pt x="2842" y="511"/>
                  </a:lnTo>
                  <a:lnTo>
                    <a:pt x="2842" y="511"/>
                  </a:lnTo>
                  <a:lnTo>
                    <a:pt x="2842" y="511"/>
                  </a:lnTo>
                  <a:lnTo>
                    <a:pt x="2837" y="511"/>
                  </a:lnTo>
                  <a:lnTo>
                    <a:pt x="2837" y="511"/>
                  </a:lnTo>
                  <a:lnTo>
                    <a:pt x="2837" y="511"/>
                  </a:lnTo>
                  <a:lnTo>
                    <a:pt x="2837" y="515"/>
                  </a:lnTo>
                  <a:lnTo>
                    <a:pt x="2833" y="515"/>
                  </a:lnTo>
                  <a:lnTo>
                    <a:pt x="2833" y="515"/>
                  </a:lnTo>
                  <a:lnTo>
                    <a:pt x="2833" y="515"/>
                  </a:lnTo>
                  <a:lnTo>
                    <a:pt x="2833" y="515"/>
                  </a:lnTo>
                  <a:lnTo>
                    <a:pt x="2828" y="511"/>
                  </a:lnTo>
                  <a:lnTo>
                    <a:pt x="2828" y="511"/>
                  </a:lnTo>
                  <a:lnTo>
                    <a:pt x="2828" y="511"/>
                  </a:lnTo>
                  <a:lnTo>
                    <a:pt x="2828" y="520"/>
                  </a:lnTo>
                  <a:lnTo>
                    <a:pt x="2828" y="520"/>
                  </a:lnTo>
                  <a:lnTo>
                    <a:pt x="2828" y="525"/>
                  </a:lnTo>
                  <a:lnTo>
                    <a:pt x="2828" y="525"/>
                  </a:lnTo>
                  <a:lnTo>
                    <a:pt x="2828" y="534"/>
                  </a:lnTo>
                  <a:lnTo>
                    <a:pt x="2828" y="534"/>
                  </a:lnTo>
                  <a:lnTo>
                    <a:pt x="2833" y="534"/>
                  </a:lnTo>
                  <a:lnTo>
                    <a:pt x="2833" y="538"/>
                  </a:lnTo>
                  <a:lnTo>
                    <a:pt x="2833" y="538"/>
                  </a:lnTo>
                  <a:lnTo>
                    <a:pt x="2833" y="538"/>
                  </a:lnTo>
                  <a:lnTo>
                    <a:pt x="2833" y="543"/>
                  </a:lnTo>
                  <a:lnTo>
                    <a:pt x="2833" y="543"/>
                  </a:lnTo>
                  <a:lnTo>
                    <a:pt x="2833" y="547"/>
                  </a:lnTo>
                  <a:lnTo>
                    <a:pt x="2837" y="547"/>
                  </a:lnTo>
                  <a:lnTo>
                    <a:pt x="2837" y="552"/>
                  </a:lnTo>
                  <a:lnTo>
                    <a:pt x="2837" y="552"/>
                  </a:lnTo>
                  <a:lnTo>
                    <a:pt x="2837" y="552"/>
                  </a:lnTo>
                  <a:lnTo>
                    <a:pt x="2837" y="552"/>
                  </a:lnTo>
                  <a:lnTo>
                    <a:pt x="2833" y="556"/>
                  </a:lnTo>
                  <a:lnTo>
                    <a:pt x="2833" y="556"/>
                  </a:lnTo>
                  <a:lnTo>
                    <a:pt x="2833" y="556"/>
                  </a:lnTo>
                  <a:lnTo>
                    <a:pt x="2833" y="556"/>
                  </a:lnTo>
                  <a:lnTo>
                    <a:pt x="2837" y="556"/>
                  </a:lnTo>
                  <a:lnTo>
                    <a:pt x="2837" y="556"/>
                  </a:lnTo>
                  <a:lnTo>
                    <a:pt x="2837" y="556"/>
                  </a:lnTo>
                  <a:lnTo>
                    <a:pt x="2837" y="561"/>
                  </a:lnTo>
                  <a:lnTo>
                    <a:pt x="2837" y="561"/>
                  </a:lnTo>
                  <a:lnTo>
                    <a:pt x="2837" y="561"/>
                  </a:lnTo>
                  <a:lnTo>
                    <a:pt x="2842" y="565"/>
                  </a:lnTo>
                  <a:lnTo>
                    <a:pt x="2842" y="565"/>
                  </a:lnTo>
                  <a:lnTo>
                    <a:pt x="2842" y="565"/>
                  </a:lnTo>
                  <a:lnTo>
                    <a:pt x="2846" y="570"/>
                  </a:lnTo>
                  <a:lnTo>
                    <a:pt x="2851" y="570"/>
                  </a:lnTo>
                  <a:lnTo>
                    <a:pt x="2846" y="570"/>
                  </a:lnTo>
                  <a:lnTo>
                    <a:pt x="2846" y="570"/>
                  </a:lnTo>
                  <a:lnTo>
                    <a:pt x="2842" y="565"/>
                  </a:lnTo>
                  <a:lnTo>
                    <a:pt x="2842" y="565"/>
                  </a:lnTo>
                  <a:lnTo>
                    <a:pt x="2837" y="565"/>
                  </a:lnTo>
                  <a:lnTo>
                    <a:pt x="2833" y="565"/>
                  </a:lnTo>
                  <a:lnTo>
                    <a:pt x="2833" y="565"/>
                  </a:lnTo>
                  <a:lnTo>
                    <a:pt x="2833" y="565"/>
                  </a:lnTo>
                  <a:lnTo>
                    <a:pt x="2833" y="570"/>
                  </a:lnTo>
                  <a:lnTo>
                    <a:pt x="2833" y="570"/>
                  </a:lnTo>
                  <a:lnTo>
                    <a:pt x="2833" y="574"/>
                  </a:lnTo>
                  <a:lnTo>
                    <a:pt x="2833" y="570"/>
                  </a:lnTo>
                  <a:lnTo>
                    <a:pt x="2833" y="570"/>
                  </a:lnTo>
                  <a:lnTo>
                    <a:pt x="2828" y="570"/>
                  </a:lnTo>
                  <a:lnTo>
                    <a:pt x="2828" y="570"/>
                  </a:lnTo>
                  <a:lnTo>
                    <a:pt x="2828" y="570"/>
                  </a:lnTo>
                  <a:lnTo>
                    <a:pt x="2828" y="570"/>
                  </a:lnTo>
                  <a:lnTo>
                    <a:pt x="2828" y="574"/>
                  </a:lnTo>
                  <a:lnTo>
                    <a:pt x="2824" y="570"/>
                  </a:lnTo>
                  <a:lnTo>
                    <a:pt x="2828" y="570"/>
                  </a:lnTo>
                  <a:lnTo>
                    <a:pt x="2824" y="565"/>
                  </a:lnTo>
                  <a:lnTo>
                    <a:pt x="2819" y="565"/>
                  </a:lnTo>
                  <a:lnTo>
                    <a:pt x="2815" y="565"/>
                  </a:lnTo>
                  <a:lnTo>
                    <a:pt x="2815" y="570"/>
                  </a:lnTo>
                  <a:lnTo>
                    <a:pt x="2810" y="570"/>
                  </a:lnTo>
                  <a:lnTo>
                    <a:pt x="2810" y="570"/>
                  </a:lnTo>
                  <a:lnTo>
                    <a:pt x="2810" y="574"/>
                  </a:lnTo>
                  <a:lnTo>
                    <a:pt x="2810" y="574"/>
                  </a:lnTo>
                  <a:lnTo>
                    <a:pt x="2815" y="574"/>
                  </a:lnTo>
                  <a:lnTo>
                    <a:pt x="2810" y="574"/>
                  </a:lnTo>
                  <a:lnTo>
                    <a:pt x="2810" y="574"/>
                  </a:lnTo>
                  <a:lnTo>
                    <a:pt x="2810" y="574"/>
                  </a:lnTo>
                  <a:lnTo>
                    <a:pt x="2805" y="570"/>
                  </a:lnTo>
                  <a:lnTo>
                    <a:pt x="2805" y="574"/>
                  </a:lnTo>
                  <a:lnTo>
                    <a:pt x="2801" y="574"/>
                  </a:lnTo>
                  <a:lnTo>
                    <a:pt x="2796" y="574"/>
                  </a:lnTo>
                  <a:lnTo>
                    <a:pt x="2792" y="574"/>
                  </a:lnTo>
                  <a:lnTo>
                    <a:pt x="2787" y="574"/>
                  </a:lnTo>
                  <a:lnTo>
                    <a:pt x="2787" y="574"/>
                  </a:lnTo>
                  <a:lnTo>
                    <a:pt x="2787" y="579"/>
                  </a:lnTo>
                  <a:lnTo>
                    <a:pt x="2783" y="579"/>
                  </a:lnTo>
                  <a:lnTo>
                    <a:pt x="2778" y="583"/>
                  </a:lnTo>
                  <a:lnTo>
                    <a:pt x="2778" y="583"/>
                  </a:lnTo>
                  <a:lnTo>
                    <a:pt x="2778" y="583"/>
                  </a:lnTo>
                  <a:lnTo>
                    <a:pt x="2778" y="583"/>
                  </a:lnTo>
                  <a:lnTo>
                    <a:pt x="2778" y="583"/>
                  </a:lnTo>
                  <a:lnTo>
                    <a:pt x="2774" y="592"/>
                  </a:lnTo>
                  <a:lnTo>
                    <a:pt x="2774" y="592"/>
                  </a:lnTo>
                  <a:lnTo>
                    <a:pt x="2774" y="597"/>
                  </a:lnTo>
                  <a:lnTo>
                    <a:pt x="2769" y="597"/>
                  </a:lnTo>
                  <a:lnTo>
                    <a:pt x="2769" y="597"/>
                  </a:lnTo>
                  <a:lnTo>
                    <a:pt x="2769" y="597"/>
                  </a:lnTo>
                  <a:lnTo>
                    <a:pt x="2765" y="601"/>
                  </a:lnTo>
                  <a:lnTo>
                    <a:pt x="2765" y="601"/>
                  </a:lnTo>
                  <a:lnTo>
                    <a:pt x="2765" y="601"/>
                  </a:lnTo>
                  <a:lnTo>
                    <a:pt x="2769" y="606"/>
                  </a:lnTo>
                  <a:lnTo>
                    <a:pt x="2769" y="606"/>
                  </a:lnTo>
                  <a:lnTo>
                    <a:pt x="2769" y="606"/>
                  </a:lnTo>
                  <a:lnTo>
                    <a:pt x="2765" y="606"/>
                  </a:lnTo>
                  <a:lnTo>
                    <a:pt x="2769" y="606"/>
                  </a:lnTo>
                  <a:lnTo>
                    <a:pt x="2769" y="606"/>
                  </a:lnTo>
                  <a:lnTo>
                    <a:pt x="2769" y="610"/>
                  </a:lnTo>
                  <a:lnTo>
                    <a:pt x="2769" y="610"/>
                  </a:lnTo>
                  <a:lnTo>
                    <a:pt x="2769" y="610"/>
                  </a:lnTo>
                  <a:lnTo>
                    <a:pt x="2769" y="610"/>
                  </a:lnTo>
                  <a:lnTo>
                    <a:pt x="2765" y="606"/>
                  </a:lnTo>
                  <a:lnTo>
                    <a:pt x="2760" y="606"/>
                  </a:lnTo>
                  <a:lnTo>
                    <a:pt x="2760" y="606"/>
                  </a:lnTo>
                  <a:lnTo>
                    <a:pt x="2760" y="606"/>
                  </a:lnTo>
                  <a:lnTo>
                    <a:pt x="2760" y="606"/>
                  </a:lnTo>
                  <a:lnTo>
                    <a:pt x="2760" y="610"/>
                  </a:lnTo>
                  <a:lnTo>
                    <a:pt x="2760" y="610"/>
                  </a:lnTo>
                  <a:lnTo>
                    <a:pt x="2760" y="610"/>
                  </a:lnTo>
                  <a:lnTo>
                    <a:pt x="2765" y="610"/>
                  </a:lnTo>
                  <a:lnTo>
                    <a:pt x="2765" y="610"/>
                  </a:lnTo>
                  <a:lnTo>
                    <a:pt x="2769" y="610"/>
                  </a:lnTo>
                  <a:lnTo>
                    <a:pt x="2769" y="610"/>
                  </a:lnTo>
                  <a:lnTo>
                    <a:pt x="2769" y="610"/>
                  </a:lnTo>
                  <a:lnTo>
                    <a:pt x="2765" y="610"/>
                  </a:lnTo>
                  <a:lnTo>
                    <a:pt x="2765" y="610"/>
                  </a:lnTo>
                  <a:lnTo>
                    <a:pt x="2760" y="610"/>
                  </a:lnTo>
                  <a:lnTo>
                    <a:pt x="2760" y="610"/>
                  </a:lnTo>
                  <a:lnTo>
                    <a:pt x="2756" y="610"/>
                  </a:lnTo>
                  <a:lnTo>
                    <a:pt x="2756" y="610"/>
                  </a:lnTo>
                  <a:lnTo>
                    <a:pt x="2756" y="610"/>
                  </a:lnTo>
                  <a:lnTo>
                    <a:pt x="2751" y="610"/>
                  </a:lnTo>
                  <a:lnTo>
                    <a:pt x="2742" y="615"/>
                  </a:lnTo>
                  <a:lnTo>
                    <a:pt x="2742" y="615"/>
                  </a:lnTo>
                  <a:lnTo>
                    <a:pt x="2733" y="619"/>
                  </a:lnTo>
                  <a:lnTo>
                    <a:pt x="2733" y="619"/>
                  </a:lnTo>
                  <a:lnTo>
                    <a:pt x="2733" y="619"/>
                  </a:lnTo>
                  <a:lnTo>
                    <a:pt x="2729" y="619"/>
                  </a:lnTo>
                  <a:lnTo>
                    <a:pt x="2729" y="624"/>
                  </a:lnTo>
                  <a:lnTo>
                    <a:pt x="2729" y="633"/>
                  </a:lnTo>
                  <a:lnTo>
                    <a:pt x="2729" y="633"/>
                  </a:lnTo>
                  <a:lnTo>
                    <a:pt x="2729" y="633"/>
                  </a:lnTo>
                  <a:lnTo>
                    <a:pt x="2729" y="633"/>
                  </a:lnTo>
                  <a:lnTo>
                    <a:pt x="2729" y="633"/>
                  </a:lnTo>
                  <a:lnTo>
                    <a:pt x="2724" y="638"/>
                  </a:lnTo>
                  <a:lnTo>
                    <a:pt x="2720" y="638"/>
                  </a:lnTo>
                  <a:lnTo>
                    <a:pt x="2715" y="638"/>
                  </a:lnTo>
                  <a:lnTo>
                    <a:pt x="2711" y="642"/>
                  </a:lnTo>
                  <a:lnTo>
                    <a:pt x="2706" y="642"/>
                  </a:lnTo>
                  <a:lnTo>
                    <a:pt x="2706" y="647"/>
                  </a:lnTo>
                  <a:lnTo>
                    <a:pt x="2706" y="647"/>
                  </a:lnTo>
                  <a:lnTo>
                    <a:pt x="2711" y="647"/>
                  </a:lnTo>
                  <a:lnTo>
                    <a:pt x="2711" y="647"/>
                  </a:lnTo>
                  <a:lnTo>
                    <a:pt x="2711" y="647"/>
                  </a:lnTo>
                  <a:lnTo>
                    <a:pt x="2706" y="647"/>
                  </a:lnTo>
                  <a:lnTo>
                    <a:pt x="2706" y="647"/>
                  </a:lnTo>
                  <a:lnTo>
                    <a:pt x="2702" y="651"/>
                  </a:lnTo>
                  <a:lnTo>
                    <a:pt x="2697" y="647"/>
                  </a:lnTo>
                  <a:lnTo>
                    <a:pt x="2693" y="647"/>
                  </a:lnTo>
                  <a:lnTo>
                    <a:pt x="2693" y="647"/>
                  </a:lnTo>
                  <a:lnTo>
                    <a:pt x="2688" y="647"/>
                  </a:lnTo>
                  <a:lnTo>
                    <a:pt x="2688" y="647"/>
                  </a:lnTo>
                  <a:lnTo>
                    <a:pt x="2688" y="647"/>
                  </a:lnTo>
                  <a:lnTo>
                    <a:pt x="2688" y="642"/>
                  </a:lnTo>
                  <a:lnTo>
                    <a:pt x="2688" y="642"/>
                  </a:lnTo>
                  <a:lnTo>
                    <a:pt x="2688" y="642"/>
                  </a:lnTo>
                  <a:lnTo>
                    <a:pt x="2684" y="642"/>
                  </a:lnTo>
                  <a:lnTo>
                    <a:pt x="2679" y="642"/>
                  </a:lnTo>
                  <a:lnTo>
                    <a:pt x="2679" y="642"/>
                  </a:lnTo>
                  <a:lnTo>
                    <a:pt x="2679" y="642"/>
                  </a:lnTo>
                  <a:lnTo>
                    <a:pt x="2679" y="642"/>
                  </a:lnTo>
                  <a:lnTo>
                    <a:pt x="2679" y="647"/>
                  </a:lnTo>
                  <a:lnTo>
                    <a:pt x="2679" y="651"/>
                  </a:lnTo>
                  <a:lnTo>
                    <a:pt x="2684" y="651"/>
                  </a:lnTo>
                  <a:lnTo>
                    <a:pt x="2684" y="660"/>
                  </a:lnTo>
                  <a:lnTo>
                    <a:pt x="2684" y="660"/>
                  </a:lnTo>
                  <a:lnTo>
                    <a:pt x="2684" y="660"/>
                  </a:lnTo>
                  <a:lnTo>
                    <a:pt x="2684" y="660"/>
                  </a:lnTo>
                  <a:lnTo>
                    <a:pt x="2679" y="660"/>
                  </a:lnTo>
                  <a:lnTo>
                    <a:pt x="2679" y="660"/>
                  </a:lnTo>
                  <a:lnTo>
                    <a:pt x="2679" y="660"/>
                  </a:lnTo>
                  <a:lnTo>
                    <a:pt x="2674" y="660"/>
                  </a:lnTo>
                  <a:lnTo>
                    <a:pt x="2674" y="665"/>
                  </a:lnTo>
                  <a:lnTo>
                    <a:pt x="2674" y="660"/>
                  </a:lnTo>
                  <a:lnTo>
                    <a:pt x="2670" y="660"/>
                  </a:lnTo>
                  <a:lnTo>
                    <a:pt x="2665" y="665"/>
                  </a:lnTo>
                  <a:lnTo>
                    <a:pt x="2665" y="660"/>
                  </a:lnTo>
                  <a:lnTo>
                    <a:pt x="2661" y="660"/>
                  </a:lnTo>
                  <a:lnTo>
                    <a:pt x="2656" y="656"/>
                  </a:lnTo>
                  <a:lnTo>
                    <a:pt x="2652" y="660"/>
                  </a:lnTo>
                  <a:lnTo>
                    <a:pt x="2652" y="660"/>
                  </a:lnTo>
                  <a:lnTo>
                    <a:pt x="2652" y="660"/>
                  </a:lnTo>
                  <a:lnTo>
                    <a:pt x="2647" y="660"/>
                  </a:lnTo>
                  <a:lnTo>
                    <a:pt x="2643" y="660"/>
                  </a:lnTo>
                  <a:lnTo>
                    <a:pt x="2638" y="660"/>
                  </a:lnTo>
                  <a:lnTo>
                    <a:pt x="2634" y="665"/>
                  </a:lnTo>
                  <a:lnTo>
                    <a:pt x="2634" y="665"/>
                  </a:lnTo>
                  <a:lnTo>
                    <a:pt x="2634" y="665"/>
                  </a:lnTo>
                  <a:lnTo>
                    <a:pt x="2634" y="665"/>
                  </a:lnTo>
                  <a:lnTo>
                    <a:pt x="2638" y="665"/>
                  </a:lnTo>
                  <a:lnTo>
                    <a:pt x="2638" y="665"/>
                  </a:lnTo>
                  <a:lnTo>
                    <a:pt x="2638" y="665"/>
                  </a:lnTo>
                  <a:lnTo>
                    <a:pt x="2638" y="665"/>
                  </a:lnTo>
                  <a:lnTo>
                    <a:pt x="2643" y="665"/>
                  </a:lnTo>
                  <a:lnTo>
                    <a:pt x="2643" y="669"/>
                  </a:lnTo>
                  <a:lnTo>
                    <a:pt x="2638" y="669"/>
                  </a:lnTo>
                  <a:lnTo>
                    <a:pt x="2638" y="669"/>
                  </a:lnTo>
                  <a:lnTo>
                    <a:pt x="2638" y="669"/>
                  </a:lnTo>
                  <a:lnTo>
                    <a:pt x="2638" y="669"/>
                  </a:lnTo>
                  <a:lnTo>
                    <a:pt x="2638" y="669"/>
                  </a:lnTo>
                  <a:lnTo>
                    <a:pt x="2638" y="669"/>
                  </a:lnTo>
                  <a:lnTo>
                    <a:pt x="2638" y="669"/>
                  </a:lnTo>
                  <a:lnTo>
                    <a:pt x="2638" y="669"/>
                  </a:lnTo>
                  <a:lnTo>
                    <a:pt x="2638" y="669"/>
                  </a:lnTo>
                  <a:lnTo>
                    <a:pt x="2638" y="669"/>
                  </a:lnTo>
                  <a:lnTo>
                    <a:pt x="2634" y="674"/>
                  </a:lnTo>
                  <a:lnTo>
                    <a:pt x="2634" y="674"/>
                  </a:lnTo>
                  <a:lnTo>
                    <a:pt x="2638" y="674"/>
                  </a:lnTo>
                  <a:lnTo>
                    <a:pt x="2638" y="674"/>
                  </a:lnTo>
                  <a:lnTo>
                    <a:pt x="2638" y="678"/>
                  </a:lnTo>
                  <a:lnTo>
                    <a:pt x="2643" y="678"/>
                  </a:lnTo>
                  <a:lnTo>
                    <a:pt x="2643" y="678"/>
                  </a:lnTo>
                  <a:lnTo>
                    <a:pt x="2647" y="678"/>
                  </a:lnTo>
                  <a:lnTo>
                    <a:pt x="2652" y="678"/>
                  </a:lnTo>
                  <a:lnTo>
                    <a:pt x="2652" y="678"/>
                  </a:lnTo>
                  <a:lnTo>
                    <a:pt x="2652" y="678"/>
                  </a:lnTo>
                  <a:lnTo>
                    <a:pt x="2656" y="678"/>
                  </a:lnTo>
                  <a:lnTo>
                    <a:pt x="2656" y="678"/>
                  </a:lnTo>
                  <a:lnTo>
                    <a:pt x="2656" y="678"/>
                  </a:lnTo>
                  <a:lnTo>
                    <a:pt x="2656" y="678"/>
                  </a:lnTo>
                  <a:lnTo>
                    <a:pt x="2656" y="683"/>
                  </a:lnTo>
                  <a:lnTo>
                    <a:pt x="2661" y="683"/>
                  </a:lnTo>
                  <a:lnTo>
                    <a:pt x="2661" y="683"/>
                  </a:lnTo>
                  <a:lnTo>
                    <a:pt x="2661" y="678"/>
                  </a:lnTo>
                  <a:lnTo>
                    <a:pt x="2661" y="683"/>
                  </a:lnTo>
                  <a:lnTo>
                    <a:pt x="2661" y="683"/>
                  </a:lnTo>
                  <a:lnTo>
                    <a:pt x="2661" y="683"/>
                  </a:lnTo>
                  <a:lnTo>
                    <a:pt x="2665" y="683"/>
                  </a:lnTo>
                  <a:lnTo>
                    <a:pt x="2665" y="683"/>
                  </a:lnTo>
                  <a:lnTo>
                    <a:pt x="2665" y="683"/>
                  </a:lnTo>
                  <a:lnTo>
                    <a:pt x="2665" y="683"/>
                  </a:lnTo>
                  <a:lnTo>
                    <a:pt x="2665" y="683"/>
                  </a:lnTo>
                  <a:lnTo>
                    <a:pt x="2665" y="687"/>
                  </a:lnTo>
                  <a:lnTo>
                    <a:pt x="2665" y="687"/>
                  </a:lnTo>
                  <a:lnTo>
                    <a:pt x="2665" y="687"/>
                  </a:lnTo>
                  <a:lnTo>
                    <a:pt x="2670" y="687"/>
                  </a:lnTo>
                  <a:lnTo>
                    <a:pt x="2674" y="687"/>
                  </a:lnTo>
                  <a:lnTo>
                    <a:pt x="2679" y="687"/>
                  </a:lnTo>
                  <a:lnTo>
                    <a:pt x="2674" y="687"/>
                  </a:lnTo>
                  <a:lnTo>
                    <a:pt x="2674" y="687"/>
                  </a:lnTo>
                  <a:lnTo>
                    <a:pt x="2674" y="687"/>
                  </a:lnTo>
                  <a:lnTo>
                    <a:pt x="2670" y="687"/>
                  </a:lnTo>
                  <a:lnTo>
                    <a:pt x="2670" y="687"/>
                  </a:lnTo>
                  <a:lnTo>
                    <a:pt x="2670" y="687"/>
                  </a:lnTo>
                  <a:lnTo>
                    <a:pt x="2670" y="692"/>
                  </a:lnTo>
                  <a:lnTo>
                    <a:pt x="2670" y="692"/>
                  </a:lnTo>
                  <a:lnTo>
                    <a:pt x="2674" y="692"/>
                  </a:lnTo>
                  <a:lnTo>
                    <a:pt x="2670" y="692"/>
                  </a:lnTo>
                  <a:lnTo>
                    <a:pt x="2670" y="696"/>
                  </a:lnTo>
                  <a:lnTo>
                    <a:pt x="2670" y="696"/>
                  </a:lnTo>
                  <a:lnTo>
                    <a:pt x="2674" y="696"/>
                  </a:lnTo>
                  <a:lnTo>
                    <a:pt x="2674" y="701"/>
                  </a:lnTo>
                  <a:lnTo>
                    <a:pt x="2684" y="705"/>
                  </a:lnTo>
                  <a:lnTo>
                    <a:pt x="2684" y="705"/>
                  </a:lnTo>
                  <a:lnTo>
                    <a:pt x="2684" y="705"/>
                  </a:lnTo>
                  <a:lnTo>
                    <a:pt x="2684" y="705"/>
                  </a:lnTo>
                  <a:lnTo>
                    <a:pt x="2684" y="705"/>
                  </a:lnTo>
                  <a:lnTo>
                    <a:pt x="2684" y="705"/>
                  </a:lnTo>
                  <a:lnTo>
                    <a:pt x="2684" y="714"/>
                  </a:lnTo>
                  <a:lnTo>
                    <a:pt x="2684" y="714"/>
                  </a:lnTo>
                  <a:lnTo>
                    <a:pt x="2688" y="714"/>
                  </a:lnTo>
                  <a:lnTo>
                    <a:pt x="2688" y="714"/>
                  </a:lnTo>
                  <a:lnTo>
                    <a:pt x="2684" y="714"/>
                  </a:lnTo>
                  <a:lnTo>
                    <a:pt x="2684" y="714"/>
                  </a:lnTo>
                  <a:lnTo>
                    <a:pt x="2684" y="714"/>
                  </a:lnTo>
                  <a:lnTo>
                    <a:pt x="2684" y="719"/>
                  </a:lnTo>
                  <a:lnTo>
                    <a:pt x="2688" y="719"/>
                  </a:lnTo>
                  <a:lnTo>
                    <a:pt x="2688" y="723"/>
                  </a:lnTo>
                  <a:lnTo>
                    <a:pt x="2688" y="723"/>
                  </a:lnTo>
                  <a:lnTo>
                    <a:pt x="2693" y="728"/>
                  </a:lnTo>
                  <a:lnTo>
                    <a:pt x="2693" y="728"/>
                  </a:lnTo>
                  <a:lnTo>
                    <a:pt x="2693" y="728"/>
                  </a:lnTo>
                  <a:lnTo>
                    <a:pt x="2693" y="728"/>
                  </a:lnTo>
                  <a:lnTo>
                    <a:pt x="2693" y="728"/>
                  </a:lnTo>
                  <a:lnTo>
                    <a:pt x="2688" y="723"/>
                  </a:lnTo>
                  <a:lnTo>
                    <a:pt x="2688" y="723"/>
                  </a:lnTo>
                  <a:lnTo>
                    <a:pt x="2688" y="723"/>
                  </a:lnTo>
                  <a:lnTo>
                    <a:pt x="2684" y="719"/>
                  </a:lnTo>
                  <a:lnTo>
                    <a:pt x="2684" y="723"/>
                  </a:lnTo>
                  <a:lnTo>
                    <a:pt x="2684" y="728"/>
                  </a:lnTo>
                  <a:lnTo>
                    <a:pt x="2684" y="737"/>
                  </a:lnTo>
                  <a:lnTo>
                    <a:pt x="2684" y="737"/>
                  </a:lnTo>
                  <a:lnTo>
                    <a:pt x="2684" y="737"/>
                  </a:lnTo>
                  <a:lnTo>
                    <a:pt x="2684" y="733"/>
                  </a:lnTo>
                  <a:lnTo>
                    <a:pt x="2684" y="737"/>
                  </a:lnTo>
                  <a:lnTo>
                    <a:pt x="2684" y="737"/>
                  </a:lnTo>
                  <a:lnTo>
                    <a:pt x="2684" y="737"/>
                  </a:lnTo>
                  <a:lnTo>
                    <a:pt x="2679" y="751"/>
                  </a:lnTo>
                  <a:lnTo>
                    <a:pt x="2674" y="755"/>
                  </a:lnTo>
                  <a:lnTo>
                    <a:pt x="2674" y="760"/>
                  </a:lnTo>
                  <a:lnTo>
                    <a:pt x="2670" y="760"/>
                  </a:lnTo>
                  <a:lnTo>
                    <a:pt x="2670" y="760"/>
                  </a:lnTo>
                  <a:lnTo>
                    <a:pt x="2670" y="760"/>
                  </a:lnTo>
                  <a:lnTo>
                    <a:pt x="2665" y="760"/>
                  </a:lnTo>
                  <a:lnTo>
                    <a:pt x="2661" y="760"/>
                  </a:lnTo>
                  <a:lnTo>
                    <a:pt x="2661" y="760"/>
                  </a:lnTo>
                  <a:lnTo>
                    <a:pt x="2656" y="760"/>
                  </a:lnTo>
                  <a:lnTo>
                    <a:pt x="2652" y="760"/>
                  </a:lnTo>
                  <a:lnTo>
                    <a:pt x="2652" y="760"/>
                  </a:lnTo>
                  <a:lnTo>
                    <a:pt x="2647" y="760"/>
                  </a:lnTo>
                  <a:lnTo>
                    <a:pt x="2647" y="760"/>
                  </a:lnTo>
                  <a:lnTo>
                    <a:pt x="2643" y="760"/>
                  </a:lnTo>
                  <a:lnTo>
                    <a:pt x="2643" y="760"/>
                  </a:lnTo>
                  <a:lnTo>
                    <a:pt x="2638" y="760"/>
                  </a:lnTo>
                  <a:lnTo>
                    <a:pt x="2638" y="760"/>
                  </a:lnTo>
                  <a:lnTo>
                    <a:pt x="2634" y="760"/>
                  </a:lnTo>
                  <a:lnTo>
                    <a:pt x="2629" y="760"/>
                  </a:lnTo>
                  <a:lnTo>
                    <a:pt x="2620" y="760"/>
                  </a:lnTo>
                  <a:lnTo>
                    <a:pt x="2616" y="755"/>
                  </a:lnTo>
                  <a:lnTo>
                    <a:pt x="2611" y="755"/>
                  </a:lnTo>
                  <a:lnTo>
                    <a:pt x="2611" y="755"/>
                  </a:lnTo>
                  <a:lnTo>
                    <a:pt x="2607" y="755"/>
                  </a:lnTo>
                  <a:lnTo>
                    <a:pt x="2602" y="755"/>
                  </a:lnTo>
                  <a:lnTo>
                    <a:pt x="2602" y="755"/>
                  </a:lnTo>
                  <a:lnTo>
                    <a:pt x="2598" y="755"/>
                  </a:lnTo>
                  <a:lnTo>
                    <a:pt x="2593" y="755"/>
                  </a:lnTo>
                  <a:lnTo>
                    <a:pt x="2593" y="755"/>
                  </a:lnTo>
                  <a:lnTo>
                    <a:pt x="2589" y="755"/>
                  </a:lnTo>
                  <a:lnTo>
                    <a:pt x="2584" y="755"/>
                  </a:lnTo>
                  <a:lnTo>
                    <a:pt x="2584" y="755"/>
                  </a:lnTo>
                  <a:lnTo>
                    <a:pt x="2584" y="755"/>
                  </a:lnTo>
                  <a:lnTo>
                    <a:pt x="2580" y="751"/>
                  </a:lnTo>
                  <a:lnTo>
                    <a:pt x="2580" y="755"/>
                  </a:lnTo>
                  <a:lnTo>
                    <a:pt x="2575" y="755"/>
                  </a:lnTo>
                  <a:lnTo>
                    <a:pt x="2575" y="755"/>
                  </a:lnTo>
                  <a:lnTo>
                    <a:pt x="2571" y="755"/>
                  </a:lnTo>
                  <a:lnTo>
                    <a:pt x="2571" y="755"/>
                  </a:lnTo>
                  <a:lnTo>
                    <a:pt x="2571" y="755"/>
                  </a:lnTo>
                  <a:lnTo>
                    <a:pt x="2571" y="760"/>
                  </a:lnTo>
                  <a:lnTo>
                    <a:pt x="2571" y="760"/>
                  </a:lnTo>
                  <a:lnTo>
                    <a:pt x="2571" y="760"/>
                  </a:lnTo>
                  <a:lnTo>
                    <a:pt x="2566" y="760"/>
                  </a:lnTo>
                  <a:lnTo>
                    <a:pt x="2566" y="760"/>
                  </a:lnTo>
                  <a:lnTo>
                    <a:pt x="2562" y="760"/>
                  </a:lnTo>
                  <a:lnTo>
                    <a:pt x="2562" y="764"/>
                  </a:lnTo>
                  <a:lnTo>
                    <a:pt x="2557" y="764"/>
                  </a:lnTo>
                  <a:lnTo>
                    <a:pt x="2557" y="764"/>
                  </a:lnTo>
                  <a:lnTo>
                    <a:pt x="2557" y="764"/>
                  </a:lnTo>
                  <a:lnTo>
                    <a:pt x="2557" y="769"/>
                  </a:lnTo>
                  <a:lnTo>
                    <a:pt x="2557" y="769"/>
                  </a:lnTo>
                  <a:lnTo>
                    <a:pt x="2557" y="769"/>
                  </a:lnTo>
                  <a:lnTo>
                    <a:pt x="2557" y="769"/>
                  </a:lnTo>
                  <a:lnTo>
                    <a:pt x="2562" y="769"/>
                  </a:lnTo>
                  <a:lnTo>
                    <a:pt x="2562" y="773"/>
                  </a:lnTo>
                  <a:lnTo>
                    <a:pt x="2557" y="773"/>
                  </a:lnTo>
                  <a:lnTo>
                    <a:pt x="2557" y="773"/>
                  </a:lnTo>
                  <a:lnTo>
                    <a:pt x="2562" y="773"/>
                  </a:lnTo>
                  <a:lnTo>
                    <a:pt x="2562" y="773"/>
                  </a:lnTo>
                  <a:lnTo>
                    <a:pt x="2562" y="773"/>
                  </a:lnTo>
                  <a:lnTo>
                    <a:pt x="2562" y="773"/>
                  </a:lnTo>
                  <a:lnTo>
                    <a:pt x="2562" y="778"/>
                  </a:lnTo>
                  <a:lnTo>
                    <a:pt x="2562" y="778"/>
                  </a:lnTo>
                  <a:lnTo>
                    <a:pt x="2562" y="778"/>
                  </a:lnTo>
                  <a:lnTo>
                    <a:pt x="2562" y="778"/>
                  </a:lnTo>
                  <a:lnTo>
                    <a:pt x="2562" y="778"/>
                  </a:lnTo>
                  <a:lnTo>
                    <a:pt x="2562" y="782"/>
                  </a:lnTo>
                  <a:lnTo>
                    <a:pt x="2562" y="782"/>
                  </a:lnTo>
                  <a:lnTo>
                    <a:pt x="2562" y="782"/>
                  </a:lnTo>
                  <a:lnTo>
                    <a:pt x="2562" y="782"/>
                  </a:lnTo>
                  <a:lnTo>
                    <a:pt x="2562" y="782"/>
                  </a:lnTo>
                  <a:lnTo>
                    <a:pt x="2562" y="787"/>
                  </a:lnTo>
                  <a:lnTo>
                    <a:pt x="2562" y="787"/>
                  </a:lnTo>
                  <a:lnTo>
                    <a:pt x="2562" y="787"/>
                  </a:lnTo>
                  <a:lnTo>
                    <a:pt x="2562" y="787"/>
                  </a:lnTo>
                  <a:lnTo>
                    <a:pt x="2562" y="791"/>
                  </a:lnTo>
                  <a:lnTo>
                    <a:pt x="2562" y="791"/>
                  </a:lnTo>
                  <a:lnTo>
                    <a:pt x="2562" y="791"/>
                  </a:lnTo>
                  <a:lnTo>
                    <a:pt x="2562" y="791"/>
                  </a:lnTo>
                  <a:lnTo>
                    <a:pt x="2562" y="796"/>
                  </a:lnTo>
                  <a:lnTo>
                    <a:pt x="2562" y="800"/>
                  </a:lnTo>
                  <a:lnTo>
                    <a:pt x="2562" y="800"/>
                  </a:lnTo>
                  <a:lnTo>
                    <a:pt x="2562" y="805"/>
                  </a:lnTo>
                  <a:lnTo>
                    <a:pt x="2562" y="805"/>
                  </a:lnTo>
                  <a:lnTo>
                    <a:pt x="2562" y="805"/>
                  </a:lnTo>
                  <a:lnTo>
                    <a:pt x="2562" y="809"/>
                  </a:lnTo>
                  <a:lnTo>
                    <a:pt x="2562" y="809"/>
                  </a:lnTo>
                  <a:lnTo>
                    <a:pt x="2562" y="814"/>
                  </a:lnTo>
                  <a:lnTo>
                    <a:pt x="2557" y="818"/>
                  </a:lnTo>
                  <a:lnTo>
                    <a:pt x="2557" y="818"/>
                  </a:lnTo>
                  <a:lnTo>
                    <a:pt x="2557" y="818"/>
                  </a:lnTo>
                  <a:lnTo>
                    <a:pt x="2557" y="823"/>
                  </a:lnTo>
                  <a:lnTo>
                    <a:pt x="2552" y="827"/>
                  </a:lnTo>
                  <a:lnTo>
                    <a:pt x="2552" y="832"/>
                  </a:lnTo>
                  <a:lnTo>
                    <a:pt x="2548" y="832"/>
                  </a:lnTo>
                  <a:lnTo>
                    <a:pt x="2548" y="836"/>
                  </a:lnTo>
                  <a:lnTo>
                    <a:pt x="2548" y="836"/>
                  </a:lnTo>
                  <a:lnTo>
                    <a:pt x="2548" y="836"/>
                  </a:lnTo>
                  <a:lnTo>
                    <a:pt x="2548" y="836"/>
                  </a:lnTo>
                  <a:lnTo>
                    <a:pt x="2548" y="841"/>
                  </a:lnTo>
                  <a:lnTo>
                    <a:pt x="2548" y="841"/>
                  </a:lnTo>
                  <a:lnTo>
                    <a:pt x="2543" y="846"/>
                  </a:lnTo>
                  <a:lnTo>
                    <a:pt x="2543" y="846"/>
                  </a:lnTo>
                  <a:lnTo>
                    <a:pt x="2543" y="846"/>
                  </a:lnTo>
                  <a:lnTo>
                    <a:pt x="2548" y="846"/>
                  </a:lnTo>
                  <a:lnTo>
                    <a:pt x="2548" y="846"/>
                  </a:lnTo>
                  <a:lnTo>
                    <a:pt x="2548" y="846"/>
                  </a:lnTo>
                  <a:lnTo>
                    <a:pt x="2552" y="846"/>
                  </a:lnTo>
                  <a:lnTo>
                    <a:pt x="2552" y="846"/>
                  </a:lnTo>
                  <a:lnTo>
                    <a:pt x="2552" y="841"/>
                  </a:lnTo>
                  <a:lnTo>
                    <a:pt x="2557" y="841"/>
                  </a:lnTo>
                  <a:lnTo>
                    <a:pt x="2557" y="841"/>
                  </a:lnTo>
                  <a:lnTo>
                    <a:pt x="2552" y="841"/>
                  </a:lnTo>
                  <a:lnTo>
                    <a:pt x="2552" y="846"/>
                  </a:lnTo>
                  <a:lnTo>
                    <a:pt x="2552" y="846"/>
                  </a:lnTo>
                  <a:lnTo>
                    <a:pt x="2552" y="846"/>
                  </a:lnTo>
                  <a:lnTo>
                    <a:pt x="2552" y="846"/>
                  </a:lnTo>
                  <a:lnTo>
                    <a:pt x="2548" y="846"/>
                  </a:lnTo>
                  <a:lnTo>
                    <a:pt x="2548" y="850"/>
                  </a:lnTo>
                  <a:lnTo>
                    <a:pt x="2548" y="850"/>
                  </a:lnTo>
                  <a:lnTo>
                    <a:pt x="2548" y="850"/>
                  </a:lnTo>
                  <a:lnTo>
                    <a:pt x="2548" y="855"/>
                  </a:lnTo>
                  <a:lnTo>
                    <a:pt x="2552" y="850"/>
                  </a:lnTo>
                  <a:lnTo>
                    <a:pt x="2552" y="850"/>
                  </a:lnTo>
                  <a:lnTo>
                    <a:pt x="2552" y="850"/>
                  </a:lnTo>
                  <a:lnTo>
                    <a:pt x="2557" y="850"/>
                  </a:lnTo>
                  <a:lnTo>
                    <a:pt x="2557" y="850"/>
                  </a:lnTo>
                  <a:lnTo>
                    <a:pt x="2557" y="855"/>
                  </a:lnTo>
                  <a:lnTo>
                    <a:pt x="2552" y="850"/>
                  </a:lnTo>
                  <a:lnTo>
                    <a:pt x="2557" y="855"/>
                  </a:lnTo>
                  <a:lnTo>
                    <a:pt x="2552" y="859"/>
                  </a:lnTo>
                  <a:lnTo>
                    <a:pt x="2552" y="864"/>
                  </a:lnTo>
                  <a:lnTo>
                    <a:pt x="2552" y="864"/>
                  </a:lnTo>
                  <a:lnTo>
                    <a:pt x="2552" y="864"/>
                  </a:lnTo>
                  <a:lnTo>
                    <a:pt x="2552" y="868"/>
                  </a:lnTo>
                  <a:lnTo>
                    <a:pt x="2552" y="873"/>
                  </a:lnTo>
                  <a:lnTo>
                    <a:pt x="2552" y="877"/>
                  </a:lnTo>
                  <a:lnTo>
                    <a:pt x="2548" y="877"/>
                  </a:lnTo>
                  <a:lnTo>
                    <a:pt x="2552" y="877"/>
                  </a:lnTo>
                  <a:lnTo>
                    <a:pt x="2552" y="877"/>
                  </a:lnTo>
                  <a:lnTo>
                    <a:pt x="2552" y="877"/>
                  </a:lnTo>
                  <a:lnTo>
                    <a:pt x="2557" y="877"/>
                  </a:lnTo>
                  <a:lnTo>
                    <a:pt x="2557" y="877"/>
                  </a:lnTo>
                  <a:lnTo>
                    <a:pt x="2562" y="877"/>
                  </a:lnTo>
                  <a:lnTo>
                    <a:pt x="2566" y="882"/>
                  </a:lnTo>
                  <a:lnTo>
                    <a:pt x="2566" y="882"/>
                  </a:lnTo>
                  <a:lnTo>
                    <a:pt x="2575" y="877"/>
                  </a:lnTo>
                  <a:lnTo>
                    <a:pt x="2575" y="877"/>
                  </a:lnTo>
                  <a:lnTo>
                    <a:pt x="2580" y="877"/>
                  </a:lnTo>
                  <a:lnTo>
                    <a:pt x="2584" y="877"/>
                  </a:lnTo>
                  <a:lnTo>
                    <a:pt x="2584" y="877"/>
                  </a:lnTo>
                  <a:lnTo>
                    <a:pt x="2584" y="873"/>
                  </a:lnTo>
                  <a:lnTo>
                    <a:pt x="2584" y="877"/>
                  </a:lnTo>
                  <a:lnTo>
                    <a:pt x="2584" y="877"/>
                  </a:lnTo>
                  <a:lnTo>
                    <a:pt x="2589" y="882"/>
                  </a:lnTo>
                  <a:lnTo>
                    <a:pt x="2589" y="882"/>
                  </a:lnTo>
                  <a:lnTo>
                    <a:pt x="2593" y="882"/>
                  </a:lnTo>
                  <a:lnTo>
                    <a:pt x="2593" y="882"/>
                  </a:lnTo>
                  <a:lnTo>
                    <a:pt x="2593" y="882"/>
                  </a:lnTo>
                  <a:lnTo>
                    <a:pt x="2593" y="882"/>
                  </a:lnTo>
                  <a:lnTo>
                    <a:pt x="2589" y="886"/>
                  </a:lnTo>
                  <a:lnTo>
                    <a:pt x="2589" y="886"/>
                  </a:lnTo>
                  <a:lnTo>
                    <a:pt x="2593" y="886"/>
                  </a:lnTo>
                  <a:lnTo>
                    <a:pt x="2593" y="886"/>
                  </a:lnTo>
                  <a:lnTo>
                    <a:pt x="2593" y="891"/>
                  </a:lnTo>
                  <a:lnTo>
                    <a:pt x="2593" y="891"/>
                  </a:lnTo>
                  <a:lnTo>
                    <a:pt x="2593" y="891"/>
                  </a:lnTo>
                  <a:lnTo>
                    <a:pt x="2598" y="895"/>
                  </a:lnTo>
                  <a:lnTo>
                    <a:pt x="2598" y="895"/>
                  </a:lnTo>
                  <a:lnTo>
                    <a:pt x="2598" y="895"/>
                  </a:lnTo>
                  <a:lnTo>
                    <a:pt x="2602" y="900"/>
                  </a:lnTo>
                  <a:lnTo>
                    <a:pt x="2602" y="900"/>
                  </a:lnTo>
                  <a:lnTo>
                    <a:pt x="2607" y="895"/>
                  </a:lnTo>
                  <a:lnTo>
                    <a:pt x="2607" y="895"/>
                  </a:lnTo>
                  <a:lnTo>
                    <a:pt x="2607" y="895"/>
                  </a:lnTo>
                  <a:lnTo>
                    <a:pt x="2607" y="895"/>
                  </a:lnTo>
                  <a:lnTo>
                    <a:pt x="2607" y="895"/>
                  </a:lnTo>
                  <a:lnTo>
                    <a:pt x="2607" y="895"/>
                  </a:lnTo>
                  <a:lnTo>
                    <a:pt x="2607" y="891"/>
                  </a:lnTo>
                  <a:lnTo>
                    <a:pt x="2611" y="891"/>
                  </a:lnTo>
                  <a:lnTo>
                    <a:pt x="2616" y="891"/>
                  </a:lnTo>
                  <a:lnTo>
                    <a:pt x="2616" y="891"/>
                  </a:lnTo>
                  <a:lnTo>
                    <a:pt x="2620" y="886"/>
                  </a:lnTo>
                  <a:lnTo>
                    <a:pt x="2620" y="886"/>
                  </a:lnTo>
                  <a:lnTo>
                    <a:pt x="2625" y="886"/>
                  </a:lnTo>
                  <a:lnTo>
                    <a:pt x="2634" y="886"/>
                  </a:lnTo>
                  <a:lnTo>
                    <a:pt x="2634" y="886"/>
                  </a:lnTo>
                  <a:lnTo>
                    <a:pt x="2638" y="886"/>
                  </a:lnTo>
                  <a:lnTo>
                    <a:pt x="2643" y="886"/>
                  </a:lnTo>
                  <a:lnTo>
                    <a:pt x="2643" y="886"/>
                  </a:lnTo>
                  <a:lnTo>
                    <a:pt x="2647" y="886"/>
                  </a:lnTo>
                  <a:lnTo>
                    <a:pt x="2647" y="886"/>
                  </a:lnTo>
                  <a:lnTo>
                    <a:pt x="2652" y="886"/>
                  </a:lnTo>
                  <a:lnTo>
                    <a:pt x="2652" y="882"/>
                  </a:lnTo>
                  <a:lnTo>
                    <a:pt x="2652" y="882"/>
                  </a:lnTo>
                  <a:lnTo>
                    <a:pt x="2656" y="882"/>
                  </a:lnTo>
                  <a:lnTo>
                    <a:pt x="2656" y="886"/>
                  </a:lnTo>
                  <a:lnTo>
                    <a:pt x="2661" y="886"/>
                  </a:lnTo>
                  <a:lnTo>
                    <a:pt x="2661" y="882"/>
                  </a:lnTo>
                  <a:lnTo>
                    <a:pt x="2665" y="877"/>
                  </a:lnTo>
                  <a:lnTo>
                    <a:pt x="2665" y="873"/>
                  </a:lnTo>
                  <a:lnTo>
                    <a:pt x="2674" y="868"/>
                  </a:lnTo>
                  <a:lnTo>
                    <a:pt x="2679" y="868"/>
                  </a:lnTo>
                  <a:lnTo>
                    <a:pt x="2679" y="868"/>
                  </a:lnTo>
                  <a:lnTo>
                    <a:pt x="2684" y="868"/>
                  </a:lnTo>
                  <a:lnTo>
                    <a:pt x="2684" y="868"/>
                  </a:lnTo>
                  <a:lnTo>
                    <a:pt x="2679" y="868"/>
                  </a:lnTo>
                  <a:lnTo>
                    <a:pt x="2679" y="868"/>
                  </a:lnTo>
                  <a:lnTo>
                    <a:pt x="2684" y="864"/>
                  </a:lnTo>
                  <a:lnTo>
                    <a:pt x="2684" y="864"/>
                  </a:lnTo>
                  <a:lnTo>
                    <a:pt x="2684" y="864"/>
                  </a:lnTo>
                  <a:lnTo>
                    <a:pt x="2684" y="859"/>
                  </a:lnTo>
                  <a:lnTo>
                    <a:pt x="2684" y="859"/>
                  </a:lnTo>
                  <a:lnTo>
                    <a:pt x="2688" y="855"/>
                  </a:lnTo>
                  <a:lnTo>
                    <a:pt x="2688" y="855"/>
                  </a:lnTo>
                  <a:lnTo>
                    <a:pt x="2693" y="850"/>
                  </a:lnTo>
                  <a:lnTo>
                    <a:pt x="2697" y="850"/>
                  </a:lnTo>
                  <a:lnTo>
                    <a:pt x="2697" y="846"/>
                  </a:lnTo>
                  <a:lnTo>
                    <a:pt x="2697" y="846"/>
                  </a:lnTo>
                  <a:lnTo>
                    <a:pt x="2693" y="846"/>
                  </a:lnTo>
                  <a:lnTo>
                    <a:pt x="2693" y="846"/>
                  </a:lnTo>
                  <a:lnTo>
                    <a:pt x="2693" y="841"/>
                  </a:lnTo>
                  <a:lnTo>
                    <a:pt x="2688" y="836"/>
                  </a:lnTo>
                  <a:lnTo>
                    <a:pt x="2688" y="832"/>
                  </a:lnTo>
                  <a:lnTo>
                    <a:pt x="2693" y="827"/>
                  </a:lnTo>
                  <a:lnTo>
                    <a:pt x="2697" y="823"/>
                  </a:lnTo>
                  <a:lnTo>
                    <a:pt x="2697" y="823"/>
                  </a:lnTo>
                  <a:lnTo>
                    <a:pt x="2702" y="818"/>
                  </a:lnTo>
                  <a:lnTo>
                    <a:pt x="2706" y="814"/>
                  </a:lnTo>
                  <a:lnTo>
                    <a:pt x="2706" y="814"/>
                  </a:lnTo>
                  <a:lnTo>
                    <a:pt x="2706" y="814"/>
                  </a:lnTo>
                  <a:lnTo>
                    <a:pt x="2706" y="814"/>
                  </a:lnTo>
                  <a:lnTo>
                    <a:pt x="2711" y="809"/>
                  </a:lnTo>
                  <a:lnTo>
                    <a:pt x="2711" y="809"/>
                  </a:lnTo>
                  <a:lnTo>
                    <a:pt x="2711" y="809"/>
                  </a:lnTo>
                  <a:lnTo>
                    <a:pt x="2706" y="809"/>
                  </a:lnTo>
                  <a:lnTo>
                    <a:pt x="2711" y="809"/>
                  </a:lnTo>
                  <a:lnTo>
                    <a:pt x="2711" y="805"/>
                  </a:lnTo>
                  <a:lnTo>
                    <a:pt x="2715" y="805"/>
                  </a:lnTo>
                  <a:lnTo>
                    <a:pt x="2720" y="800"/>
                  </a:lnTo>
                  <a:lnTo>
                    <a:pt x="2729" y="800"/>
                  </a:lnTo>
                  <a:lnTo>
                    <a:pt x="2729" y="800"/>
                  </a:lnTo>
                  <a:lnTo>
                    <a:pt x="2733" y="796"/>
                  </a:lnTo>
                  <a:lnTo>
                    <a:pt x="2742" y="791"/>
                  </a:lnTo>
                  <a:lnTo>
                    <a:pt x="2747" y="791"/>
                  </a:lnTo>
                  <a:lnTo>
                    <a:pt x="2747" y="787"/>
                  </a:lnTo>
                  <a:lnTo>
                    <a:pt x="2747" y="787"/>
                  </a:lnTo>
                  <a:lnTo>
                    <a:pt x="2747" y="787"/>
                  </a:lnTo>
                  <a:lnTo>
                    <a:pt x="2747" y="782"/>
                  </a:lnTo>
                  <a:lnTo>
                    <a:pt x="2747" y="782"/>
                  </a:lnTo>
                  <a:lnTo>
                    <a:pt x="2747" y="782"/>
                  </a:lnTo>
                  <a:lnTo>
                    <a:pt x="2747" y="782"/>
                  </a:lnTo>
                  <a:lnTo>
                    <a:pt x="2751" y="782"/>
                  </a:lnTo>
                  <a:lnTo>
                    <a:pt x="2747" y="782"/>
                  </a:lnTo>
                  <a:lnTo>
                    <a:pt x="2747" y="778"/>
                  </a:lnTo>
                  <a:lnTo>
                    <a:pt x="2747" y="778"/>
                  </a:lnTo>
                  <a:lnTo>
                    <a:pt x="2747" y="778"/>
                  </a:lnTo>
                  <a:lnTo>
                    <a:pt x="2747" y="778"/>
                  </a:lnTo>
                  <a:lnTo>
                    <a:pt x="2747" y="773"/>
                  </a:lnTo>
                  <a:lnTo>
                    <a:pt x="2747" y="769"/>
                  </a:lnTo>
                  <a:lnTo>
                    <a:pt x="2747" y="769"/>
                  </a:lnTo>
                  <a:lnTo>
                    <a:pt x="2747" y="764"/>
                  </a:lnTo>
                  <a:lnTo>
                    <a:pt x="2756" y="760"/>
                  </a:lnTo>
                  <a:lnTo>
                    <a:pt x="2760" y="760"/>
                  </a:lnTo>
                  <a:lnTo>
                    <a:pt x="2760" y="760"/>
                  </a:lnTo>
                  <a:lnTo>
                    <a:pt x="2760" y="755"/>
                  </a:lnTo>
                  <a:lnTo>
                    <a:pt x="2760" y="755"/>
                  </a:lnTo>
                  <a:lnTo>
                    <a:pt x="2760" y="760"/>
                  </a:lnTo>
                  <a:lnTo>
                    <a:pt x="2765" y="760"/>
                  </a:lnTo>
                  <a:lnTo>
                    <a:pt x="2765" y="760"/>
                  </a:lnTo>
                  <a:lnTo>
                    <a:pt x="2765" y="760"/>
                  </a:lnTo>
                  <a:lnTo>
                    <a:pt x="2765" y="760"/>
                  </a:lnTo>
                  <a:lnTo>
                    <a:pt x="2769" y="760"/>
                  </a:lnTo>
                  <a:lnTo>
                    <a:pt x="2769" y="760"/>
                  </a:lnTo>
                  <a:lnTo>
                    <a:pt x="2774" y="760"/>
                  </a:lnTo>
                  <a:lnTo>
                    <a:pt x="2774" y="760"/>
                  </a:lnTo>
                  <a:lnTo>
                    <a:pt x="2774" y="760"/>
                  </a:lnTo>
                  <a:lnTo>
                    <a:pt x="2774" y="760"/>
                  </a:lnTo>
                  <a:lnTo>
                    <a:pt x="2774" y="760"/>
                  </a:lnTo>
                  <a:lnTo>
                    <a:pt x="2774" y="760"/>
                  </a:lnTo>
                  <a:lnTo>
                    <a:pt x="2774" y="760"/>
                  </a:lnTo>
                  <a:lnTo>
                    <a:pt x="2778" y="760"/>
                  </a:lnTo>
                  <a:lnTo>
                    <a:pt x="2778" y="760"/>
                  </a:lnTo>
                  <a:lnTo>
                    <a:pt x="2778" y="760"/>
                  </a:lnTo>
                  <a:lnTo>
                    <a:pt x="2778" y="760"/>
                  </a:lnTo>
                  <a:lnTo>
                    <a:pt x="2778" y="760"/>
                  </a:lnTo>
                  <a:lnTo>
                    <a:pt x="2783" y="760"/>
                  </a:lnTo>
                  <a:lnTo>
                    <a:pt x="2783" y="764"/>
                  </a:lnTo>
                  <a:lnTo>
                    <a:pt x="2787" y="764"/>
                  </a:lnTo>
                  <a:lnTo>
                    <a:pt x="2787" y="764"/>
                  </a:lnTo>
                  <a:lnTo>
                    <a:pt x="2792" y="764"/>
                  </a:lnTo>
                  <a:lnTo>
                    <a:pt x="2792" y="769"/>
                  </a:lnTo>
                  <a:lnTo>
                    <a:pt x="2796" y="764"/>
                  </a:lnTo>
                  <a:lnTo>
                    <a:pt x="2796" y="764"/>
                  </a:lnTo>
                  <a:lnTo>
                    <a:pt x="2801" y="764"/>
                  </a:lnTo>
                  <a:lnTo>
                    <a:pt x="2801" y="764"/>
                  </a:lnTo>
                  <a:lnTo>
                    <a:pt x="2801" y="760"/>
                  </a:lnTo>
                  <a:lnTo>
                    <a:pt x="2801" y="760"/>
                  </a:lnTo>
                  <a:lnTo>
                    <a:pt x="2805" y="760"/>
                  </a:lnTo>
                  <a:lnTo>
                    <a:pt x="2810" y="755"/>
                  </a:lnTo>
                  <a:lnTo>
                    <a:pt x="2810" y="755"/>
                  </a:lnTo>
                  <a:lnTo>
                    <a:pt x="2815" y="755"/>
                  </a:lnTo>
                  <a:lnTo>
                    <a:pt x="2819" y="755"/>
                  </a:lnTo>
                  <a:lnTo>
                    <a:pt x="2824" y="751"/>
                  </a:lnTo>
                  <a:lnTo>
                    <a:pt x="2824" y="751"/>
                  </a:lnTo>
                  <a:lnTo>
                    <a:pt x="2828" y="746"/>
                  </a:lnTo>
                  <a:lnTo>
                    <a:pt x="2833" y="742"/>
                  </a:lnTo>
                  <a:lnTo>
                    <a:pt x="2833" y="742"/>
                  </a:lnTo>
                  <a:lnTo>
                    <a:pt x="2837" y="742"/>
                  </a:lnTo>
                  <a:lnTo>
                    <a:pt x="2842" y="742"/>
                  </a:lnTo>
                  <a:lnTo>
                    <a:pt x="2842" y="742"/>
                  </a:lnTo>
                  <a:lnTo>
                    <a:pt x="2851" y="746"/>
                  </a:lnTo>
                  <a:lnTo>
                    <a:pt x="2855" y="751"/>
                  </a:lnTo>
                  <a:lnTo>
                    <a:pt x="2855" y="751"/>
                  </a:lnTo>
                  <a:lnTo>
                    <a:pt x="2855" y="751"/>
                  </a:lnTo>
                  <a:lnTo>
                    <a:pt x="2860" y="760"/>
                  </a:lnTo>
                  <a:lnTo>
                    <a:pt x="2860" y="760"/>
                  </a:lnTo>
                  <a:lnTo>
                    <a:pt x="2860" y="764"/>
                  </a:lnTo>
                  <a:lnTo>
                    <a:pt x="2860" y="764"/>
                  </a:lnTo>
                  <a:lnTo>
                    <a:pt x="2860" y="769"/>
                  </a:lnTo>
                  <a:lnTo>
                    <a:pt x="2860" y="769"/>
                  </a:lnTo>
                  <a:lnTo>
                    <a:pt x="2860" y="769"/>
                  </a:lnTo>
                  <a:lnTo>
                    <a:pt x="2864" y="769"/>
                  </a:lnTo>
                  <a:lnTo>
                    <a:pt x="2864" y="769"/>
                  </a:lnTo>
                  <a:lnTo>
                    <a:pt x="2864" y="769"/>
                  </a:lnTo>
                  <a:lnTo>
                    <a:pt x="2864" y="773"/>
                  </a:lnTo>
                  <a:lnTo>
                    <a:pt x="2864" y="773"/>
                  </a:lnTo>
                  <a:lnTo>
                    <a:pt x="2869" y="773"/>
                  </a:lnTo>
                  <a:lnTo>
                    <a:pt x="2869" y="778"/>
                  </a:lnTo>
                  <a:lnTo>
                    <a:pt x="2869" y="778"/>
                  </a:lnTo>
                  <a:lnTo>
                    <a:pt x="2869" y="778"/>
                  </a:lnTo>
                  <a:lnTo>
                    <a:pt x="2869" y="778"/>
                  </a:lnTo>
                  <a:lnTo>
                    <a:pt x="2869" y="778"/>
                  </a:lnTo>
                  <a:lnTo>
                    <a:pt x="2869" y="778"/>
                  </a:lnTo>
                  <a:lnTo>
                    <a:pt x="2873" y="778"/>
                  </a:lnTo>
                  <a:lnTo>
                    <a:pt x="2873" y="778"/>
                  </a:lnTo>
                  <a:lnTo>
                    <a:pt x="2878" y="782"/>
                  </a:lnTo>
                  <a:lnTo>
                    <a:pt x="2878" y="782"/>
                  </a:lnTo>
                  <a:lnTo>
                    <a:pt x="2882" y="787"/>
                  </a:lnTo>
                  <a:lnTo>
                    <a:pt x="2887" y="787"/>
                  </a:lnTo>
                  <a:lnTo>
                    <a:pt x="2887" y="791"/>
                  </a:lnTo>
                  <a:lnTo>
                    <a:pt x="2891" y="796"/>
                  </a:lnTo>
                  <a:lnTo>
                    <a:pt x="2896" y="796"/>
                  </a:lnTo>
                  <a:lnTo>
                    <a:pt x="2900" y="800"/>
                  </a:lnTo>
                  <a:lnTo>
                    <a:pt x="2900" y="800"/>
                  </a:lnTo>
                  <a:lnTo>
                    <a:pt x="2900" y="800"/>
                  </a:lnTo>
                  <a:lnTo>
                    <a:pt x="2900" y="800"/>
                  </a:lnTo>
                  <a:lnTo>
                    <a:pt x="2905" y="800"/>
                  </a:lnTo>
                  <a:lnTo>
                    <a:pt x="2905" y="800"/>
                  </a:lnTo>
                  <a:lnTo>
                    <a:pt x="2909" y="800"/>
                  </a:lnTo>
                  <a:lnTo>
                    <a:pt x="2909" y="800"/>
                  </a:lnTo>
                  <a:lnTo>
                    <a:pt x="2909" y="800"/>
                  </a:lnTo>
                  <a:lnTo>
                    <a:pt x="2914" y="805"/>
                  </a:lnTo>
                  <a:lnTo>
                    <a:pt x="2914" y="809"/>
                  </a:lnTo>
                  <a:lnTo>
                    <a:pt x="2914" y="809"/>
                  </a:lnTo>
                  <a:lnTo>
                    <a:pt x="2918" y="809"/>
                  </a:lnTo>
                  <a:lnTo>
                    <a:pt x="2918" y="809"/>
                  </a:lnTo>
                  <a:lnTo>
                    <a:pt x="2918" y="809"/>
                  </a:lnTo>
                  <a:lnTo>
                    <a:pt x="2918" y="809"/>
                  </a:lnTo>
                  <a:lnTo>
                    <a:pt x="2923" y="809"/>
                  </a:lnTo>
                  <a:lnTo>
                    <a:pt x="2923" y="809"/>
                  </a:lnTo>
                  <a:lnTo>
                    <a:pt x="2918" y="814"/>
                  </a:lnTo>
                  <a:lnTo>
                    <a:pt x="2923" y="814"/>
                  </a:lnTo>
                  <a:lnTo>
                    <a:pt x="2923" y="814"/>
                  </a:lnTo>
                  <a:lnTo>
                    <a:pt x="2923" y="814"/>
                  </a:lnTo>
                  <a:lnTo>
                    <a:pt x="2923" y="814"/>
                  </a:lnTo>
                  <a:lnTo>
                    <a:pt x="2927" y="814"/>
                  </a:lnTo>
                  <a:lnTo>
                    <a:pt x="2927" y="814"/>
                  </a:lnTo>
                  <a:lnTo>
                    <a:pt x="2927" y="814"/>
                  </a:lnTo>
                  <a:lnTo>
                    <a:pt x="2932" y="814"/>
                  </a:lnTo>
                  <a:lnTo>
                    <a:pt x="2932" y="818"/>
                  </a:lnTo>
                  <a:lnTo>
                    <a:pt x="2932" y="818"/>
                  </a:lnTo>
                  <a:lnTo>
                    <a:pt x="2932" y="818"/>
                  </a:lnTo>
                  <a:lnTo>
                    <a:pt x="2932" y="818"/>
                  </a:lnTo>
                  <a:lnTo>
                    <a:pt x="2936" y="823"/>
                  </a:lnTo>
                  <a:lnTo>
                    <a:pt x="2936" y="823"/>
                  </a:lnTo>
                  <a:lnTo>
                    <a:pt x="2941" y="823"/>
                  </a:lnTo>
                  <a:lnTo>
                    <a:pt x="2941" y="823"/>
                  </a:lnTo>
                  <a:lnTo>
                    <a:pt x="2941" y="827"/>
                  </a:lnTo>
                  <a:lnTo>
                    <a:pt x="2946" y="832"/>
                  </a:lnTo>
                  <a:lnTo>
                    <a:pt x="2946" y="836"/>
                  </a:lnTo>
                  <a:lnTo>
                    <a:pt x="2950" y="841"/>
                  </a:lnTo>
                  <a:lnTo>
                    <a:pt x="2950" y="841"/>
                  </a:lnTo>
                  <a:lnTo>
                    <a:pt x="2950" y="846"/>
                  </a:lnTo>
                  <a:lnTo>
                    <a:pt x="2950" y="846"/>
                  </a:lnTo>
                  <a:lnTo>
                    <a:pt x="2950" y="850"/>
                  </a:lnTo>
                  <a:lnTo>
                    <a:pt x="2946" y="850"/>
                  </a:lnTo>
                  <a:lnTo>
                    <a:pt x="2946" y="850"/>
                  </a:lnTo>
                  <a:lnTo>
                    <a:pt x="2946" y="850"/>
                  </a:lnTo>
                  <a:lnTo>
                    <a:pt x="2946" y="855"/>
                  </a:lnTo>
                  <a:lnTo>
                    <a:pt x="2946" y="855"/>
                  </a:lnTo>
                  <a:lnTo>
                    <a:pt x="2941" y="859"/>
                  </a:lnTo>
                  <a:lnTo>
                    <a:pt x="2941" y="859"/>
                  </a:lnTo>
                  <a:lnTo>
                    <a:pt x="2941" y="859"/>
                  </a:lnTo>
                  <a:lnTo>
                    <a:pt x="2946" y="864"/>
                  </a:lnTo>
                  <a:lnTo>
                    <a:pt x="2950" y="864"/>
                  </a:lnTo>
                  <a:lnTo>
                    <a:pt x="2950" y="864"/>
                  </a:lnTo>
                  <a:lnTo>
                    <a:pt x="2950" y="859"/>
                  </a:lnTo>
                  <a:lnTo>
                    <a:pt x="2950" y="859"/>
                  </a:lnTo>
                  <a:lnTo>
                    <a:pt x="2955" y="855"/>
                  </a:lnTo>
                  <a:lnTo>
                    <a:pt x="2955" y="855"/>
                  </a:lnTo>
                  <a:lnTo>
                    <a:pt x="2955" y="850"/>
                  </a:lnTo>
                  <a:lnTo>
                    <a:pt x="2959" y="846"/>
                  </a:lnTo>
                  <a:lnTo>
                    <a:pt x="2959" y="846"/>
                  </a:lnTo>
                  <a:lnTo>
                    <a:pt x="2964" y="846"/>
                  </a:lnTo>
                  <a:lnTo>
                    <a:pt x="2964" y="846"/>
                  </a:lnTo>
                  <a:lnTo>
                    <a:pt x="2964" y="841"/>
                  </a:lnTo>
                  <a:lnTo>
                    <a:pt x="2964" y="841"/>
                  </a:lnTo>
                  <a:lnTo>
                    <a:pt x="2964" y="836"/>
                  </a:lnTo>
                  <a:lnTo>
                    <a:pt x="2964" y="832"/>
                  </a:lnTo>
                  <a:lnTo>
                    <a:pt x="2959" y="832"/>
                  </a:lnTo>
                  <a:lnTo>
                    <a:pt x="2955" y="832"/>
                  </a:lnTo>
                  <a:lnTo>
                    <a:pt x="2955" y="827"/>
                  </a:lnTo>
                  <a:lnTo>
                    <a:pt x="2955" y="827"/>
                  </a:lnTo>
                  <a:lnTo>
                    <a:pt x="2959" y="823"/>
                  </a:lnTo>
                  <a:lnTo>
                    <a:pt x="2959" y="818"/>
                  </a:lnTo>
                  <a:lnTo>
                    <a:pt x="2959" y="814"/>
                  </a:lnTo>
                  <a:lnTo>
                    <a:pt x="2964" y="814"/>
                  </a:lnTo>
                  <a:lnTo>
                    <a:pt x="2964" y="814"/>
                  </a:lnTo>
                  <a:lnTo>
                    <a:pt x="2964" y="814"/>
                  </a:lnTo>
                  <a:lnTo>
                    <a:pt x="2968" y="814"/>
                  </a:lnTo>
                  <a:lnTo>
                    <a:pt x="2968" y="818"/>
                  </a:lnTo>
                  <a:lnTo>
                    <a:pt x="2968" y="818"/>
                  </a:lnTo>
                  <a:lnTo>
                    <a:pt x="2968" y="818"/>
                  </a:lnTo>
                  <a:lnTo>
                    <a:pt x="2977" y="818"/>
                  </a:lnTo>
                  <a:lnTo>
                    <a:pt x="2977" y="827"/>
                  </a:lnTo>
                  <a:lnTo>
                    <a:pt x="2982" y="827"/>
                  </a:lnTo>
                  <a:lnTo>
                    <a:pt x="2982" y="827"/>
                  </a:lnTo>
                  <a:lnTo>
                    <a:pt x="2986" y="827"/>
                  </a:lnTo>
                  <a:lnTo>
                    <a:pt x="2986" y="823"/>
                  </a:lnTo>
                  <a:lnTo>
                    <a:pt x="2986" y="823"/>
                  </a:lnTo>
                  <a:lnTo>
                    <a:pt x="2986" y="818"/>
                  </a:lnTo>
                  <a:lnTo>
                    <a:pt x="2982" y="818"/>
                  </a:lnTo>
                  <a:lnTo>
                    <a:pt x="2977" y="814"/>
                  </a:lnTo>
                  <a:lnTo>
                    <a:pt x="2977" y="814"/>
                  </a:lnTo>
                  <a:lnTo>
                    <a:pt x="2968" y="809"/>
                  </a:lnTo>
                  <a:lnTo>
                    <a:pt x="2968" y="805"/>
                  </a:lnTo>
                  <a:lnTo>
                    <a:pt x="2964" y="805"/>
                  </a:lnTo>
                  <a:lnTo>
                    <a:pt x="2955" y="800"/>
                  </a:lnTo>
                  <a:lnTo>
                    <a:pt x="2946" y="796"/>
                  </a:lnTo>
                  <a:lnTo>
                    <a:pt x="2946" y="796"/>
                  </a:lnTo>
                  <a:lnTo>
                    <a:pt x="2946" y="796"/>
                  </a:lnTo>
                  <a:lnTo>
                    <a:pt x="2946" y="791"/>
                  </a:lnTo>
                  <a:lnTo>
                    <a:pt x="2950" y="791"/>
                  </a:lnTo>
                  <a:lnTo>
                    <a:pt x="2950" y="791"/>
                  </a:lnTo>
                  <a:lnTo>
                    <a:pt x="2950" y="787"/>
                  </a:lnTo>
                  <a:lnTo>
                    <a:pt x="2946" y="787"/>
                  </a:lnTo>
                  <a:lnTo>
                    <a:pt x="2946" y="787"/>
                  </a:lnTo>
                  <a:lnTo>
                    <a:pt x="2936" y="787"/>
                  </a:lnTo>
                  <a:lnTo>
                    <a:pt x="2932" y="787"/>
                  </a:lnTo>
                  <a:lnTo>
                    <a:pt x="2927" y="787"/>
                  </a:lnTo>
                  <a:lnTo>
                    <a:pt x="2923" y="782"/>
                  </a:lnTo>
                  <a:lnTo>
                    <a:pt x="2918" y="778"/>
                  </a:lnTo>
                  <a:lnTo>
                    <a:pt x="2914" y="773"/>
                  </a:lnTo>
                  <a:lnTo>
                    <a:pt x="2914" y="769"/>
                  </a:lnTo>
                  <a:lnTo>
                    <a:pt x="2909" y="764"/>
                  </a:lnTo>
                  <a:lnTo>
                    <a:pt x="2909" y="760"/>
                  </a:lnTo>
                  <a:lnTo>
                    <a:pt x="2909" y="755"/>
                  </a:lnTo>
                  <a:lnTo>
                    <a:pt x="2905" y="755"/>
                  </a:lnTo>
                  <a:lnTo>
                    <a:pt x="2905" y="755"/>
                  </a:lnTo>
                  <a:lnTo>
                    <a:pt x="2896" y="751"/>
                  </a:lnTo>
                  <a:lnTo>
                    <a:pt x="2896" y="751"/>
                  </a:lnTo>
                  <a:lnTo>
                    <a:pt x="2891" y="746"/>
                  </a:lnTo>
                  <a:lnTo>
                    <a:pt x="2891" y="746"/>
                  </a:lnTo>
                  <a:lnTo>
                    <a:pt x="2887" y="742"/>
                  </a:lnTo>
                  <a:lnTo>
                    <a:pt x="2887" y="737"/>
                  </a:lnTo>
                  <a:lnTo>
                    <a:pt x="2887" y="733"/>
                  </a:lnTo>
                  <a:lnTo>
                    <a:pt x="2887" y="733"/>
                  </a:lnTo>
                  <a:lnTo>
                    <a:pt x="2887" y="733"/>
                  </a:lnTo>
                  <a:lnTo>
                    <a:pt x="2891" y="733"/>
                  </a:lnTo>
                  <a:lnTo>
                    <a:pt x="2891" y="733"/>
                  </a:lnTo>
                  <a:lnTo>
                    <a:pt x="2891" y="733"/>
                  </a:lnTo>
                  <a:lnTo>
                    <a:pt x="2887" y="728"/>
                  </a:lnTo>
                  <a:lnTo>
                    <a:pt x="2887" y="728"/>
                  </a:lnTo>
                  <a:lnTo>
                    <a:pt x="2887" y="728"/>
                  </a:lnTo>
                  <a:lnTo>
                    <a:pt x="2887" y="723"/>
                  </a:lnTo>
                  <a:lnTo>
                    <a:pt x="2887" y="723"/>
                  </a:lnTo>
                  <a:lnTo>
                    <a:pt x="2887" y="723"/>
                  </a:lnTo>
                  <a:lnTo>
                    <a:pt x="2891" y="719"/>
                  </a:lnTo>
                  <a:lnTo>
                    <a:pt x="2891" y="719"/>
                  </a:lnTo>
                  <a:lnTo>
                    <a:pt x="2891" y="723"/>
                  </a:lnTo>
                  <a:lnTo>
                    <a:pt x="2891" y="723"/>
                  </a:lnTo>
                  <a:lnTo>
                    <a:pt x="2891" y="719"/>
                  </a:lnTo>
                  <a:lnTo>
                    <a:pt x="2896" y="719"/>
                  </a:lnTo>
                  <a:lnTo>
                    <a:pt x="2896" y="719"/>
                  </a:lnTo>
                  <a:lnTo>
                    <a:pt x="2900" y="719"/>
                  </a:lnTo>
                  <a:lnTo>
                    <a:pt x="2900" y="719"/>
                  </a:lnTo>
                  <a:lnTo>
                    <a:pt x="2900" y="714"/>
                  </a:lnTo>
                  <a:lnTo>
                    <a:pt x="2900" y="714"/>
                  </a:lnTo>
                  <a:lnTo>
                    <a:pt x="2905" y="719"/>
                  </a:lnTo>
                  <a:lnTo>
                    <a:pt x="2905" y="714"/>
                  </a:lnTo>
                  <a:lnTo>
                    <a:pt x="2909" y="714"/>
                  </a:lnTo>
                  <a:lnTo>
                    <a:pt x="2909" y="719"/>
                  </a:lnTo>
                  <a:lnTo>
                    <a:pt x="2909" y="719"/>
                  </a:lnTo>
                  <a:lnTo>
                    <a:pt x="2909" y="719"/>
                  </a:lnTo>
                  <a:lnTo>
                    <a:pt x="2905" y="719"/>
                  </a:lnTo>
                  <a:lnTo>
                    <a:pt x="2905" y="723"/>
                  </a:lnTo>
                  <a:lnTo>
                    <a:pt x="2909" y="728"/>
                  </a:lnTo>
                  <a:lnTo>
                    <a:pt x="2909" y="728"/>
                  </a:lnTo>
                  <a:lnTo>
                    <a:pt x="2909" y="728"/>
                  </a:lnTo>
                  <a:lnTo>
                    <a:pt x="2909" y="733"/>
                  </a:lnTo>
                  <a:lnTo>
                    <a:pt x="2909" y="733"/>
                  </a:lnTo>
                  <a:lnTo>
                    <a:pt x="2914" y="733"/>
                  </a:lnTo>
                  <a:lnTo>
                    <a:pt x="2914" y="733"/>
                  </a:lnTo>
                  <a:lnTo>
                    <a:pt x="2914" y="733"/>
                  </a:lnTo>
                  <a:lnTo>
                    <a:pt x="2914" y="733"/>
                  </a:lnTo>
                  <a:lnTo>
                    <a:pt x="2918" y="728"/>
                  </a:lnTo>
                  <a:lnTo>
                    <a:pt x="2918" y="723"/>
                  </a:lnTo>
                  <a:lnTo>
                    <a:pt x="2918" y="723"/>
                  </a:lnTo>
                  <a:lnTo>
                    <a:pt x="2918" y="723"/>
                  </a:lnTo>
                  <a:lnTo>
                    <a:pt x="2923" y="723"/>
                  </a:lnTo>
                  <a:lnTo>
                    <a:pt x="2923" y="728"/>
                  </a:lnTo>
                  <a:lnTo>
                    <a:pt x="2927" y="728"/>
                  </a:lnTo>
                  <a:lnTo>
                    <a:pt x="2927" y="733"/>
                  </a:lnTo>
                  <a:lnTo>
                    <a:pt x="2927" y="733"/>
                  </a:lnTo>
                  <a:lnTo>
                    <a:pt x="2927" y="737"/>
                  </a:lnTo>
                  <a:lnTo>
                    <a:pt x="2927" y="737"/>
                  </a:lnTo>
                  <a:lnTo>
                    <a:pt x="2932" y="742"/>
                  </a:lnTo>
                  <a:lnTo>
                    <a:pt x="2936" y="742"/>
                  </a:lnTo>
                  <a:lnTo>
                    <a:pt x="2936" y="746"/>
                  </a:lnTo>
                  <a:lnTo>
                    <a:pt x="2936" y="742"/>
                  </a:lnTo>
                  <a:lnTo>
                    <a:pt x="2932" y="746"/>
                  </a:lnTo>
                  <a:lnTo>
                    <a:pt x="2932" y="746"/>
                  </a:lnTo>
                  <a:lnTo>
                    <a:pt x="2932" y="746"/>
                  </a:lnTo>
                  <a:lnTo>
                    <a:pt x="2932" y="746"/>
                  </a:lnTo>
                  <a:lnTo>
                    <a:pt x="2932" y="746"/>
                  </a:lnTo>
                  <a:lnTo>
                    <a:pt x="2936" y="751"/>
                  </a:lnTo>
                  <a:lnTo>
                    <a:pt x="2941" y="751"/>
                  </a:lnTo>
                  <a:lnTo>
                    <a:pt x="2941" y="755"/>
                  </a:lnTo>
                  <a:lnTo>
                    <a:pt x="2946" y="755"/>
                  </a:lnTo>
                  <a:lnTo>
                    <a:pt x="2946" y="755"/>
                  </a:lnTo>
                  <a:lnTo>
                    <a:pt x="2946" y="755"/>
                  </a:lnTo>
                  <a:lnTo>
                    <a:pt x="2946" y="760"/>
                  </a:lnTo>
                  <a:lnTo>
                    <a:pt x="2946" y="760"/>
                  </a:lnTo>
                  <a:lnTo>
                    <a:pt x="2946" y="760"/>
                  </a:lnTo>
                  <a:lnTo>
                    <a:pt x="2950" y="760"/>
                  </a:lnTo>
                  <a:lnTo>
                    <a:pt x="2950" y="760"/>
                  </a:lnTo>
                  <a:lnTo>
                    <a:pt x="2955" y="760"/>
                  </a:lnTo>
                  <a:lnTo>
                    <a:pt x="2959" y="760"/>
                  </a:lnTo>
                  <a:lnTo>
                    <a:pt x="2964" y="764"/>
                  </a:lnTo>
                  <a:lnTo>
                    <a:pt x="2964" y="764"/>
                  </a:lnTo>
                  <a:lnTo>
                    <a:pt x="2968" y="769"/>
                  </a:lnTo>
                  <a:lnTo>
                    <a:pt x="2968" y="769"/>
                  </a:lnTo>
                  <a:lnTo>
                    <a:pt x="2973" y="769"/>
                  </a:lnTo>
                  <a:lnTo>
                    <a:pt x="2973" y="769"/>
                  </a:lnTo>
                  <a:lnTo>
                    <a:pt x="2964" y="769"/>
                  </a:lnTo>
                  <a:lnTo>
                    <a:pt x="2964" y="769"/>
                  </a:lnTo>
                  <a:lnTo>
                    <a:pt x="2959" y="769"/>
                  </a:lnTo>
                  <a:lnTo>
                    <a:pt x="2964" y="769"/>
                  </a:lnTo>
                  <a:lnTo>
                    <a:pt x="2968" y="773"/>
                  </a:lnTo>
                  <a:lnTo>
                    <a:pt x="2973" y="773"/>
                  </a:lnTo>
                  <a:lnTo>
                    <a:pt x="2977" y="773"/>
                  </a:lnTo>
                  <a:lnTo>
                    <a:pt x="2982" y="778"/>
                  </a:lnTo>
                  <a:lnTo>
                    <a:pt x="2986" y="778"/>
                  </a:lnTo>
                  <a:lnTo>
                    <a:pt x="2986" y="778"/>
                  </a:lnTo>
                  <a:lnTo>
                    <a:pt x="2986" y="778"/>
                  </a:lnTo>
                  <a:lnTo>
                    <a:pt x="2986" y="778"/>
                  </a:lnTo>
                  <a:lnTo>
                    <a:pt x="2986" y="778"/>
                  </a:lnTo>
                  <a:lnTo>
                    <a:pt x="2986" y="778"/>
                  </a:lnTo>
                  <a:lnTo>
                    <a:pt x="2986" y="778"/>
                  </a:lnTo>
                  <a:lnTo>
                    <a:pt x="2991" y="782"/>
                  </a:lnTo>
                  <a:lnTo>
                    <a:pt x="2995" y="787"/>
                  </a:lnTo>
                  <a:lnTo>
                    <a:pt x="2995" y="787"/>
                  </a:lnTo>
                  <a:lnTo>
                    <a:pt x="2995" y="787"/>
                  </a:lnTo>
                  <a:lnTo>
                    <a:pt x="3000" y="791"/>
                  </a:lnTo>
                  <a:lnTo>
                    <a:pt x="3000" y="791"/>
                  </a:lnTo>
                  <a:lnTo>
                    <a:pt x="3000" y="791"/>
                  </a:lnTo>
                  <a:lnTo>
                    <a:pt x="3000" y="796"/>
                  </a:lnTo>
                  <a:lnTo>
                    <a:pt x="3000" y="796"/>
                  </a:lnTo>
                  <a:lnTo>
                    <a:pt x="3000" y="796"/>
                  </a:lnTo>
                  <a:lnTo>
                    <a:pt x="3000" y="800"/>
                  </a:lnTo>
                  <a:lnTo>
                    <a:pt x="3000" y="800"/>
                  </a:lnTo>
                  <a:lnTo>
                    <a:pt x="3000" y="805"/>
                  </a:lnTo>
                  <a:lnTo>
                    <a:pt x="3000" y="805"/>
                  </a:lnTo>
                  <a:lnTo>
                    <a:pt x="3000" y="809"/>
                  </a:lnTo>
                  <a:lnTo>
                    <a:pt x="3000" y="814"/>
                  </a:lnTo>
                  <a:lnTo>
                    <a:pt x="3000" y="814"/>
                  </a:lnTo>
                  <a:lnTo>
                    <a:pt x="3000" y="814"/>
                  </a:lnTo>
                  <a:lnTo>
                    <a:pt x="3000" y="818"/>
                  </a:lnTo>
                  <a:lnTo>
                    <a:pt x="3000" y="818"/>
                  </a:lnTo>
                  <a:lnTo>
                    <a:pt x="3000" y="818"/>
                  </a:lnTo>
                  <a:lnTo>
                    <a:pt x="3000" y="818"/>
                  </a:lnTo>
                  <a:lnTo>
                    <a:pt x="3000" y="818"/>
                  </a:lnTo>
                  <a:lnTo>
                    <a:pt x="3000" y="818"/>
                  </a:lnTo>
                  <a:lnTo>
                    <a:pt x="3000" y="818"/>
                  </a:lnTo>
                  <a:lnTo>
                    <a:pt x="3000" y="818"/>
                  </a:lnTo>
                  <a:lnTo>
                    <a:pt x="3009" y="823"/>
                  </a:lnTo>
                  <a:lnTo>
                    <a:pt x="3009" y="827"/>
                  </a:lnTo>
                  <a:lnTo>
                    <a:pt x="3009" y="827"/>
                  </a:lnTo>
                  <a:lnTo>
                    <a:pt x="3009" y="827"/>
                  </a:lnTo>
                  <a:lnTo>
                    <a:pt x="3013" y="832"/>
                  </a:lnTo>
                  <a:lnTo>
                    <a:pt x="3013" y="832"/>
                  </a:lnTo>
                  <a:lnTo>
                    <a:pt x="3013" y="836"/>
                  </a:lnTo>
                  <a:lnTo>
                    <a:pt x="3018" y="836"/>
                  </a:lnTo>
                  <a:lnTo>
                    <a:pt x="3018" y="841"/>
                  </a:lnTo>
                  <a:lnTo>
                    <a:pt x="3022" y="841"/>
                  </a:lnTo>
                  <a:lnTo>
                    <a:pt x="3022" y="841"/>
                  </a:lnTo>
                  <a:lnTo>
                    <a:pt x="3022" y="841"/>
                  </a:lnTo>
                  <a:lnTo>
                    <a:pt x="3027" y="841"/>
                  </a:lnTo>
                  <a:lnTo>
                    <a:pt x="3027" y="841"/>
                  </a:lnTo>
                  <a:lnTo>
                    <a:pt x="3027" y="841"/>
                  </a:lnTo>
                  <a:lnTo>
                    <a:pt x="3027" y="841"/>
                  </a:lnTo>
                  <a:lnTo>
                    <a:pt x="3027" y="841"/>
                  </a:lnTo>
                  <a:lnTo>
                    <a:pt x="3027" y="846"/>
                  </a:lnTo>
                  <a:lnTo>
                    <a:pt x="3027" y="846"/>
                  </a:lnTo>
                  <a:lnTo>
                    <a:pt x="3027" y="846"/>
                  </a:lnTo>
                  <a:lnTo>
                    <a:pt x="3022" y="846"/>
                  </a:lnTo>
                  <a:lnTo>
                    <a:pt x="3022" y="846"/>
                  </a:lnTo>
                  <a:lnTo>
                    <a:pt x="3022" y="846"/>
                  </a:lnTo>
                  <a:lnTo>
                    <a:pt x="3022" y="846"/>
                  </a:lnTo>
                  <a:lnTo>
                    <a:pt x="3022" y="846"/>
                  </a:lnTo>
                  <a:lnTo>
                    <a:pt x="3027" y="850"/>
                  </a:lnTo>
                  <a:lnTo>
                    <a:pt x="3027" y="850"/>
                  </a:lnTo>
                  <a:lnTo>
                    <a:pt x="3027" y="855"/>
                  </a:lnTo>
                  <a:lnTo>
                    <a:pt x="3031" y="855"/>
                  </a:lnTo>
                  <a:lnTo>
                    <a:pt x="3031" y="855"/>
                  </a:lnTo>
                  <a:lnTo>
                    <a:pt x="3031" y="855"/>
                  </a:lnTo>
                  <a:lnTo>
                    <a:pt x="3031" y="855"/>
                  </a:lnTo>
                  <a:lnTo>
                    <a:pt x="3031" y="855"/>
                  </a:lnTo>
                  <a:lnTo>
                    <a:pt x="3031" y="855"/>
                  </a:lnTo>
                  <a:lnTo>
                    <a:pt x="3036" y="855"/>
                  </a:lnTo>
                  <a:lnTo>
                    <a:pt x="3036" y="855"/>
                  </a:lnTo>
                  <a:lnTo>
                    <a:pt x="3036" y="855"/>
                  </a:lnTo>
                  <a:lnTo>
                    <a:pt x="3036" y="855"/>
                  </a:lnTo>
                  <a:lnTo>
                    <a:pt x="3040" y="855"/>
                  </a:lnTo>
                  <a:lnTo>
                    <a:pt x="3040" y="855"/>
                  </a:lnTo>
                  <a:lnTo>
                    <a:pt x="3045" y="855"/>
                  </a:lnTo>
                  <a:lnTo>
                    <a:pt x="3049" y="855"/>
                  </a:lnTo>
                  <a:lnTo>
                    <a:pt x="3049" y="855"/>
                  </a:lnTo>
                  <a:lnTo>
                    <a:pt x="3049" y="855"/>
                  </a:lnTo>
                  <a:lnTo>
                    <a:pt x="3054" y="855"/>
                  </a:lnTo>
                  <a:lnTo>
                    <a:pt x="3054" y="855"/>
                  </a:lnTo>
                  <a:lnTo>
                    <a:pt x="3054" y="855"/>
                  </a:lnTo>
                  <a:lnTo>
                    <a:pt x="3054" y="859"/>
                  </a:lnTo>
                  <a:lnTo>
                    <a:pt x="3058" y="859"/>
                  </a:lnTo>
                  <a:lnTo>
                    <a:pt x="3058" y="859"/>
                  </a:lnTo>
                  <a:lnTo>
                    <a:pt x="3058" y="859"/>
                  </a:lnTo>
                  <a:lnTo>
                    <a:pt x="3058" y="859"/>
                  </a:lnTo>
                  <a:lnTo>
                    <a:pt x="3063" y="859"/>
                  </a:lnTo>
                  <a:lnTo>
                    <a:pt x="3063" y="859"/>
                  </a:lnTo>
                  <a:lnTo>
                    <a:pt x="3063" y="859"/>
                  </a:lnTo>
                  <a:lnTo>
                    <a:pt x="3058" y="859"/>
                  </a:lnTo>
                  <a:lnTo>
                    <a:pt x="3058" y="859"/>
                  </a:lnTo>
                  <a:lnTo>
                    <a:pt x="3058" y="859"/>
                  </a:lnTo>
                  <a:lnTo>
                    <a:pt x="3058" y="859"/>
                  </a:lnTo>
                  <a:lnTo>
                    <a:pt x="3058" y="864"/>
                  </a:lnTo>
                  <a:lnTo>
                    <a:pt x="3058" y="864"/>
                  </a:lnTo>
                  <a:lnTo>
                    <a:pt x="3054" y="864"/>
                  </a:lnTo>
                  <a:lnTo>
                    <a:pt x="3054" y="859"/>
                  </a:lnTo>
                  <a:lnTo>
                    <a:pt x="3049" y="859"/>
                  </a:lnTo>
                  <a:lnTo>
                    <a:pt x="3045" y="859"/>
                  </a:lnTo>
                  <a:lnTo>
                    <a:pt x="3040" y="855"/>
                  </a:lnTo>
                  <a:lnTo>
                    <a:pt x="3040" y="855"/>
                  </a:lnTo>
                  <a:lnTo>
                    <a:pt x="3040" y="855"/>
                  </a:lnTo>
                  <a:lnTo>
                    <a:pt x="3036" y="859"/>
                  </a:lnTo>
                  <a:lnTo>
                    <a:pt x="3036" y="859"/>
                  </a:lnTo>
                  <a:lnTo>
                    <a:pt x="3036" y="859"/>
                  </a:lnTo>
                  <a:lnTo>
                    <a:pt x="3031" y="859"/>
                  </a:lnTo>
                  <a:lnTo>
                    <a:pt x="3031" y="859"/>
                  </a:lnTo>
                  <a:lnTo>
                    <a:pt x="3031" y="864"/>
                  </a:lnTo>
                  <a:lnTo>
                    <a:pt x="3031" y="864"/>
                  </a:lnTo>
                  <a:lnTo>
                    <a:pt x="3031" y="864"/>
                  </a:lnTo>
                  <a:lnTo>
                    <a:pt x="3031" y="864"/>
                  </a:lnTo>
                  <a:lnTo>
                    <a:pt x="3031" y="864"/>
                  </a:lnTo>
                  <a:lnTo>
                    <a:pt x="3031" y="868"/>
                  </a:lnTo>
                  <a:lnTo>
                    <a:pt x="3036" y="868"/>
                  </a:lnTo>
                  <a:lnTo>
                    <a:pt x="3036" y="868"/>
                  </a:lnTo>
                  <a:lnTo>
                    <a:pt x="3040" y="873"/>
                  </a:lnTo>
                  <a:lnTo>
                    <a:pt x="3040" y="873"/>
                  </a:lnTo>
                  <a:lnTo>
                    <a:pt x="3036" y="877"/>
                  </a:lnTo>
                  <a:lnTo>
                    <a:pt x="3036" y="877"/>
                  </a:lnTo>
                  <a:lnTo>
                    <a:pt x="3040" y="882"/>
                  </a:lnTo>
                  <a:lnTo>
                    <a:pt x="3040" y="886"/>
                  </a:lnTo>
                  <a:lnTo>
                    <a:pt x="3045" y="886"/>
                  </a:lnTo>
                  <a:lnTo>
                    <a:pt x="3045" y="882"/>
                  </a:lnTo>
                  <a:lnTo>
                    <a:pt x="3045" y="882"/>
                  </a:lnTo>
                  <a:lnTo>
                    <a:pt x="3045" y="882"/>
                  </a:lnTo>
                  <a:lnTo>
                    <a:pt x="3045" y="882"/>
                  </a:lnTo>
                  <a:lnTo>
                    <a:pt x="3045" y="882"/>
                  </a:lnTo>
                  <a:lnTo>
                    <a:pt x="3045" y="882"/>
                  </a:lnTo>
                  <a:lnTo>
                    <a:pt x="3049" y="882"/>
                  </a:lnTo>
                  <a:lnTo>
                    <a:pt x="3049" y="886"/>
                  </a:lnTo>
                  <a:lnTo>
                    <a:pt x="3049" y="886"/>
                  </a:lnTo>
                  <a:lnTo>
                    <a:pt x="3049" y="891"/>
                  </a:lnTo>
                  <a:lnTo>
                    <a:pt x="3049" y="891"/>
                  </a:lnTo>
                  <a:lnTo>
                    <a:pt x="3054" y="891"/>
                  </a:lnTo>
                  <a:lnTo>
                    <a:pt x="3054" y="886"/>
                  </a:lnTo>
                  <a:lnTo>
                    <a:pt x="3054" y="886"/>
                  </a:lnTo>
                  <a:lnTo>
                    <a:pt x="3054" y="886"/>
                  </a:lnTo>
                  <a:lnTo>
                    <a:pt x="3058" y="886"/>
                  </a:lnTo>
                  <a:lnTo>
                    <a:pt x="3058" y="886"/>
                  </a:lnTo>
                  <a:lnTo>
                    <a:pt x="3058" y="891"/>
                  </a:lnTo>
                  <a:lnTo>
                    <a:pt x="3063" y="891"/>
                  </a:lnTo>
                  <a:lnTo>
                    <a:pt x="3063" y="891"/>
                  </a:lnTo>
                  <a:lnTo>
                    <a:pt x="3063" y="891"/>
                  </a:lnTo>
                  <a:lnTo>
                    <a:pt x="3063" y="891"/>
                  </a:lnTo>
                  <a:lnTo>
                    <a:pt x="3063" y="886"/>
                  </a:lnTo>
                  <a:lnTo>
                    <a:pt x="3063" y="886"/>
                  </a:lnTo>
                  <a:lnTo>
                    <a:pt x="3063" y="882"/>
                  </a:lnTo>
                  <a:lnTo>
                    <a:pt x="3058" y="882"/>
                  </a:lnTo>
                  <a:lnTo>
                    <a:pt x="3058" y="873"/>
                  </a:lnTo>
                  <a:lnTo>
                    <a:pt x="3054" y="873"/>
                  </a:lnTo>
                  <a:lnTo>
                    <a:pt x="3054" y="868"/>
                  </a:lnTo>
                  <a:lnTo>
                    <a:pt x="3054" y="868"/>
                  </a:lnTo>
                  <a:lnTo>
                    <a:pt x="3058" y="868"/>
                  </a:lnTo>
                  <a:lnTo>
                    <a:pt x="3058" y="873"/>
                  </a:lnTo>
                  <a:lnTo>
                    <a:pt x="3058" y="873"/>
                  </a:lnTo>
                  <a:lnTo>
                    <a:pt x="3063" y="873"/>
                  </a:lnTo>
                  <a:lnTo>
                    <a:pt x="3063" y="873"/>
                  </a:lnTo>
                  <a:lnTo>
                    <a:pt x="3063" y="873"/>
                  </a:lnTo>
                  <a:lnTo>
                    <a:pt x="3063" y="873"/>
                  </a:lnTo>
                  <a:lnTo>
                    <a:pt x="3063" y="873"/>
                  </a:lnTo>
                  <a:lnTo>
                    <a:pt x="3068" y="873"/>
                  </a:lnTo>
                  <a:lnTo>
                    <a:pt x="3068" y="873"/>
                  </a:lnTo>
                  <a:lnTo>
                    <a:pt x="3068" y="873"/>
                  </a:lnTo>
                  <a:lnTo>
                    <a:pt x="3068" y="868"/>
                  </a:lnTo>
                  <a:lnTo>
                    <a:pt x="3068" y="868"/>
                  </a:lnTo>
                  <a:lnTo>
                    <a:pt x="3063" y="868"/>
                  </a:lnTo>
                  <a:lnTo>
                    <a:pt x="3063" y="868"/>
                  </a:lnTo>
                  <a:lnTo>
                    <a:pt x="3063" y="868"/>
                  </a:lnTo>
                  <a:lnTo>
                    <a:pt x="3063" y="868"/>
                  </a:lnTo>
                  <a:lnTo>
                    <a:pt x="3063" y="864"/>
                  </a:lnTo>
                  <a:lnTo>
                    <a:pt x="3058" y="864"/>
                  </a:lnTo>
                  <a:lnTo>
                    <a:pt x="3058" y="864"/>
                  </a:lnTo>
                  <a:lnTo>
                    <a:pt x="3058" y="864"/>
                  </a:lnTo>
                  <a:lnTo>
                    <a:pt x="3058" y="864"/>
                  </a:lnTo>
                  <a:lnTo>
                    <a:pt x="3063" y="864"/>
                  </a:lnTo>
                  <a:lnTo>
                    <a:pt x="3068" y="864"/>
                  </a:lnTo>
                  <a:lnTo>
                    <a:pt x="3068" y="859"/>
                  </a:lnTo>
                  <a:lnTo>
                    <a:pt x="3068" y="859"/>
                  </a:lnTo>
                  <a:lnTo>
                    <a:pt x="3068" y="859"/>
                  </a:lnTo>
                  <a:lnTo>
                    <a:pt x="3072" y="864"/>
                  </a:lnTo>
                  <a:lnTo>
                    <a:pt x="3072" y="864"/>
                  </a:lnTo>
                  <a:lnTo>
                    <a:pt x="3077" y="868"/>
                  </a:lnTo>
                  <a:lnTo>
                    <a:pt x="3077" y="868"/>
                  </a:lnTo>
                  <a:lnTo>
                    <a:pt x="3077" y="868"/>
                  </a:lnTo>
                  <a:lnTo>
                    <a:pt x="3077" y="864"/>
                  </a:lnTo>
                  <a:lnTo>
                    <a:pt x="3077" y="864"/>
                  </a:lnTo>
                  <a:lnTo>
                    <a:pt x="3077" y="864"/>
                  </a:lnTo>
                  <a:lnTo>
                    <a:pt x="3077" y="859"/>
                  </a:lnTo>
                  <a:lnTo>
                    <a:pt x="3077" y="859"/>
                  </a:lnTo>
                  <a:lnTo>
                    <a:pt x="3072" y="855"/>
                  </a:lnTo>
                  <a:lnTo>
                    <a:pt x="3072" y="855"/>
                  </a:lnTo>
                  <a:lnTo>
                    <a:pt x="3068" y="855"/>
                  </a:lnTo>
                  <a:lnTo>
                    <a:pt x="3068" y="850"/>
                  </a:lnTo>
                  <a:lnTo>
                    <a:pt x="3063" y="850"/>
                  </a:lnTo>
                  <a:lnTo>
                    <a:pt x="3063" y="850"/>
                  </a:lnTo>
                  <a:lnTo>
                    <a:pt x="3058" y="850"/>
                  </a:lnTo>
                  <a:lnTo>
                    <a:pt x="3058" y="846"/>
                  </a:lnTo>
                  <a:lnTo>
                    <a:pt x="3054" y="846"/>
                  </a:lnTo>
                  <a:lnTo>
                    <a:pt x="3054" y="846"/>
                  </a:lnTo>
                  <a:lnTo>
                    <a:pt x="3054" y="846"/>
                  </a:lnTo>
                  <a:lnTo>
                    <a:pt x="3049" y="846"/>
                  </a:lnTo>
                  <a:lnTo>
                    <a:pt x="3049" y="846"/>
                  </a:lnTo>
                  <a:lnTo>
                    <a:pt x="3054" y="846"/>
                  </a:lnTo>
                  <a:lnTo>
                    <a:pt x="3054" y="846"/>
                  </a:lnTo>
                  <a:lnTo>
                    <a:pt x="3058" y="846"/>
                  </a:lnTo>
                  <a:lnTo>
                    <a:pt x="3058" y="841"/>
                  </a:lnTo>
                  <a:lnTo>
                    <a:pt x="3058" y="841"/>
                  </a:lnTo>
                  <a:lnTo>
                    <a:pt x="3058" y="841"/>
                  </a:lnTo>
                  <a:lnTo>
                    <a:pt x="3054" y="841"/>
                  </a:lnTo>
                  <a:lnTo>
                    <a:pt x="3054" y="836"/>
                  </a:lnTo>
                  <a:lnTo>
                    <a:pt x="3054" y="836"/>
                  </a:lnTo>
                  <a:lnTo>
                    <a:pt x="3058" y="836"/>
                  </a:lnTo>
                  <a:lnTo>
                    <a:pt x="3058" y="836"/>
                  </a:lnTo>
                  <a:lnTo>
                    <a:pt x="3058" y="836"/>
                  </a:lnTo>
                  <a:lnTo>
                    <a:pt x="3058" y="841"/>
                  </a:lnTo>
                  <a:lnTo>
                    <a:pt x="3058" y="841"/>
                  </a:lnTo>
                  <a:lnTo>
                    <a:pt x="3063" y="841"/>
                  </a:lnTo>
                  <a:lnTo>
                    <a:pt x="3063" y="841"/>
                  </a:lnTo>
                  <a:lnTo>
                    <a:pt x="3063" y="836"/>
                  </a:lnTo>
                  <a:lnTo>
                    <a:pt x="3063" y="836"/>
                  </a:lnTo>
                  <a:lnTo>
                    <a:pt x="3058" y="832"/>
                  </a:lnTo>
                  <a:lnTo>
                    <a:pt x="3058" y="832"/>
                  </a:lnTo>
                  <a:lnTo>
                    <a:pt x="3054" y="832"/>
                  </a:lnTo>
                  <a:lnTo>
                    <a:pt x="3054" y="827"/>
                  </a:lnTo>
                  <a:lnTo>
                    <a:pt x="3049" y="823"/>
                  </a:lnTo>
                  <a:lnTo>
                    <a:pt x="3049" y="823"/>
                  </a:lnTo>
                  <a:lnTo>
                    <a:pt x="3049" y="818"/>
                  </a:lnTo>
                  <a:lnTo>
                    <a:pt x="3049" y="818"/>
                  </a:lnTo>
                  <a:lnTo>
                    <a:pt x="3049" y="814"/>
                  </a:lnTo>
                  <a:lnTo>
                    <a:pt x="3049" y="814"/>
                  </a:lnTo>
                  <a:lnTo>
                    <a:pt x="3054" y="814"/>
                  </a:lnTo>
                  <a:lnTo>
                    <a:pt x="3054" y="814"/>
                  </a:lnTo>
                  <a:lnTo>
                    <a:pt x="3054" y="814"/>
                  </a:lnTo>
                  <a:lnTo>
                    <a:pt x="3054" y="814"/>
                  </a:lnTo>
                  <a:lnTo>
                    <a:pt x="3054" y="814"/>
                  </a:lnTo>
                  <a:lnTo>
                    <a:pt x="3054" y="818"/>
                  </a:lnTo>
                  <a:lnTo>
                    <a:pt x="3058" y="818"/>
                  </a:lnTo>
                  <a:lnTo>
                    <a:pt x="3063" y="818"/>
                  </a:lnTo>
                  <a:lnTo>
                    <a:pt x="3063" y="823"/>
                  </a:lnTo>
                  <a:lnTo>
                    <a:pt x="3063" y="823"/>
                  </a:lnTo>
                  <a:lnTo>
                    <a:pt x="3068" y="823"/>
                  </a:lnTo>
                  <a:lnTo>
                    <a:pt x="3068" y="823"/>
                  </a:lnTo>
                  <a:lnTo>
                    <a:pt x="3068" y="823"/>
                  </a:lnTo>
                  <a:lnTo>
                    <a:pt x="3063" y="823"/>
                  </a:lnTo>
                  <a:lnTo>
                    <a:pt x="3063" y="823"/>
                  </a:lnTo>
                  <a:lnTo>
                    <a:pt x="3063" y="818"/>
                  </a:lnTo>
                  <a:lnTo>
                    <a:pt x="3063" y="818"/>
                  </a:lnTo>
                  <a:lnTo>
                    <a:pt x="3068" y="818"/>
                  </a:lnTo>
                  <a:lnTo>
                    <a:pt x="3068" y="823"/>
                  </a:lnTo>
                  <a:lnTo>
                    <a:pt x="3072" y="823"/>
                  </a:lnTo>
                  <a:lnTo>
                    <a:pt x="3072" y="823"/>
                  </a:lnTo>
                  <a:lnTo>
                    <a:pt x="3072" y="823"/>
                  </a:lnTo>
                  <a:lnTo>
                    <a:pt x="3072" y="823"/>
                  </a:lnTo>
                  <a:lnTo>
                    <a:pt x="3072" y="823"/>
                  </a:lnTo>
                  <a:lnTo>
                    <a:pt x="3068" y="818"/>
                  </a:lnTo>
                  <a:lnTo>
                    <a:pt x="3068" y="818"/>
                  </a:lnTo>
                  <a:lnTo>
                    <a:pt x="3068" y="818"/>
                  </a:lnTo>
                  <a:lnTo>
                    <a:pt x="3068" y="818"/>
                  </a:lnTo>
                  <a:lnTo>
                    <a:pt x="3072" y="818"/>
                  </a:lnTo>
                  <a:lnTo>
                    <a:pt x="3072" y="818"/>
                  </a:lnTo>
                  <a:lnTo>
                    <a:pt x="3072" y="818"/>
                  </a:lnTo>
                  <a:lnTo>
                    <a:pt x="3077" y="818"/>
                  </a:lnTo>
                  <a:lnTo>
                    <a:pt x="3077" y="823"/>
                  </a:lnTo>
                  <a:lnTo>
                    <a:pt x="3077" y="818"/>
                  </a:lnTo>
                  <a:lnTo>
                    <a:pt x="3077" y="818"/>
                  </a:lnTo>
                  <a:lnTo>
                    <a:pt x="3072" y="814"/>
                  </a:lnTo>
                  <a:lnTo>
                    <a:pt x="3072" y="814"/>
                  </a:lnTo>
                  <a:lnTo>
                    <a:pt x="3068" y="814"/>
                  </a:lnTo>
                  <a:lnTo>
                    <a:pt x="3068" y="814"/>
                  </a:lnTo>
                  <a:lnTo>
                    <a:pt x="3068" y="814"/>
                  </a:lnTo>
                  <a:lnTo>
                    <a:pt x="3068" y="814"/>
                  </a:lnTo>
                  <a:lnTo>
                    <a:pt x="3068" y="809"/>
                  </a:lnTo>
                  <a:lnTo>
                    <a:pt x="3068" y="809"/>
                  </a:lnTo>
                  <a:lnTo>
                    <a:pt x="3072" y="809"/>
                  </a:lnTo>
                  <a:lnTo>
                    <a:pt x="3072" y="809"/>
                  </a:lnTo>
                  <a:lnTo>
                    <a:pt x="3077" y="809"/>
                  </a:lnTo>
                  <a:lnTo>
                    <a:pt x="3077" y="805"/>
                  </a:lnTo>
                  <a:lnTo>
                    <a:pt x="3077" y="805"/>
                  </a:lnTo>
                  <a:lnTo>
                    <a:pt x="3081" y="805"/>
                  </a:lnTo>
                  <a:lnTo>
                    <a:pt x="3081" y="809"/>
                  </a:lnTo>
                  <a:lnTo>
                    <a:pt x="3086" y="809"/>
                  </a:lnTo>
                  <a:lnTo>
                    <a:pt x="3086" y="805"/>
                  </a:lnTo>
                  <a:lnTo>
                    <a:pt x="3090" y="805"/>
                  </a:lnTo>
                  <a:lnTo>
                    <a:pt x="3090" y="805"/>
                  </a:lnTo>
                  <a:lnTo>
                    <a:pt x="3090" y="805"/>
                  </a:lnTo>
                  <a:lnTo>
                    <a:pt x="3095" y="805"/>
                  </a:lnTo>
                  <a:lnTo>
                    <a:pt x="3099" y="809"/>
                  </a:lnTo>
                  <a:lnTo>
                    <a:pt x="3104" y="809"/>
                  </a:lnTo>
                  <a:lnTo>
                    <a:pt x="3104" y="809"/>
                  </a:lnTo>
                  <a:lnTo>
                    <a:pt x="3104" y="809"/>
                  </a:lnTo>
                  <a:lnTo>
                    <a:pt x="3104" y="814"/>
                  </a:lnTo>
                  <a:lnTo>
                    <a:pt x="3108" y="814"/>
                  </a:lnTo>
                  <a:lnTo>
                    <a:pt x="3108" y="814"/>
                  </a:lnTo>
                  <a:lnTo>
                    <a:pt x="3113" y="809"/>
                  </a:lnTo>
                  <a:lnTo>
                    <a:pt x="3113" y="809"/>
                  </a:lnTo>
                  <a:lnTo>
                    <a:pt x="3113" y="814"/>
                  </a:lnTo>
                  <a:lnTo>
                    <a:pt x="3108" y="814"/>
                  </a:lnTo>
                  <a:lnTo>
                    <a:pt x="3108" y="814"/>
                  </a:lnTo>
                  <a:lnTo>
                    <a:pt x="3108" y="818"/>
                  </a:lnTo>
                  <a:lnTo>
                    <a:pt x="3108" y="818"/>
                  </a:lnTo>
                  <a:lnTo>
                    <a:pt x="3108" y="818"/>
                  </a:lnTo>
                  <a:lnTo>
                    <a:pt x="3108" y="823"/>
                  </a:lnTo>
                  <a:lnTo>
                    <a:pt x="3108" y="823"/>
                  </a:lnTo>
                  <a:lnTo>
                    <a:pt x="3108" y="823"/>
                  </a:lnTo>
                  <a:lnTo>
                    <a:pt x="3108" y="823"/>
                  </a:lnTo>
                  <a:lnTo>
                    <a:pt x="3108" y="818"/>
                  </a:lnTo>
                  <a:lnTo>
                    <a:pt x="3113" y="814"/>
                  </a:lnTo>
                  <a:lnTo>
                    <a:pt x="3117" y="814"/>
                  </a:lnTo>
                  <a:lnTo>
                    <a:pt x="3122" y="809"/>
                  </a:lnTo>
                  <a:lnTo>
                    <a:pt x="3126" y="809"/>
                  </a:lnTo>
                  <a:lnTo>
                    <a:pt x="3126" y="805"/>
                  </a:lnTo>
                  <a:lnTo>
                    <a:pt x="3131" y="805"/>
                  </a:lnTo>
                  <a:lnTo>
                    <a:pt x="3131" y="805"/>
                  </a:lnTo>
                  <a:lnTo>
                    <a:pt x="3135" y="805"/>
                  </a:lnTo>
                  <a:lnTo>
                    <a:pt x="3135" y="805"/>
                  </a:lnTo>
                  <a:lnTo>
                    <a:pt x="3140" y="805"/>
                  </a:lnTo>
                  <a:lnTo>
                    <a:pt x="3144" y="805"/>
                  </a:lnTo>
                  <a:lnTo>
                    <a:pt x="3149" y="805"/>
                  </a:lnTo>
                  <a:lnTo>
                    <a:pt x="3149" y="805"/>
                  </a:lnTo>
                  <a:lnTo>
                    <a:pt x="3149" y="800"/>
                  </a:lnTo>
                  <a:lnTo>
                    <a:pt x="3149" y="800"/>
                  </a:lnTo>
                  <a:lnTo>
                    <a:pt x="3149" y="800"/>
                  </a:lnTo>
                  <a:lnTo>
                    <a:pt x="3140" y="796"/>
                  </a:lnTo>
                  <a:lnTo>
                    <a:pt x="3135" y="796"/>
                  </a:lnTo>
                  <a:lnTo>
                    <a:pt x="3131" y="791"/>
                  </a:lnTo>
                  <a:lnTo>
                    <a:pt x="3131" y="787"/>
                  </a:lnTo>
                  <a:lnTo>
                    <a:pt x="3131" y="787"/>
                  </a:lnTo>
                  <a:lnTo>
                    <a:pt x="3131" y="787"/>
                  </a:lnTo>
                  <a:lnTo>
                    <a:pt x="3126" y="782"/>
                  </a:lnTo>
                  <a:lnTo>
                    <a:pt x="3126" y="778"/>
                  </a:lnTo>
                  <a:lnTo>
                    <a:pt x="3126" y="778"/>
                  </a:lnTo>
                  <a:lnTo>
                    <a:pt x="3122" y="778"/>
                  </a:lnTo>
                  <a:lnTo>
                    <a:pt x="3126" y="773"/>
                  </a:lnTo>
                  <a:lnTo>
                    <a:pt x="3126" y="773"/>
                  </a:lnTo>
                  <a:lnTo>
                    <a:pt x="3126" y="773"/>
                  </a:lnTo>
                  <a:lnTo>
                    <a:pt x="3126" y="764"/>
                  </a:lnTo>
                  <a:lnTo>
                    <a:pt x="3126" y="764"/>
                  </a:lnTo>
                  <a:lnTo>
                    <a:pt x="3131" y="764"/>
                  </a:lnTo>
                  <a:lnTo>
                    <a:pt x="3131" y="760"/>
                  </a:lnTo>
                  <a:lnTo>
                    <a:pt x="3131" y="760"/>
                  </a:lnTo>
                  <a:lnTo>
                    <a:pt x="3135" y="760"/>
                  </a:lnTo>
                  <a:lnTo>
                    <a:pt x="3135" y="760"/>
                  </a:lnTo>
                  <a:lnTo>
                    <a:pt x="3135" y="755"/>
                  </a:lnTo>
                  <a:lnTo>
                    <a:pt x="3135" y="751"/>
                  </a:lnTo>
                  <a:lnTo>
                    <a:pt x="3135" y="751"/>
                  </a:lnTo>
                  <a:lnTo>
                    <a:pt x="3140" y="746"/>
                  </a:lnTo>
                  <a:lnTo>
                    <a:pt x="3135" y="742"/>
                  </a:lnTo>
                  <a:lnTo>
                    <a:pt x="3140" y="742"/>
                  </a:lnTo>
                  <a:lnTo>
                    <a:pt x="3140" y="737"/>
                  </a:lnTo>
                  <a:lnTo>
                    <a:pt x="3140" y="737"/>
                  </a:lnTo>
                  <a:lnTo>
                    <a:pt x="3140" y="737"/>
                  </a:lnTo>
                  <a:lnTo>
                    <a:pt x="3140" y="737"/>
                  </a:lnTo>
                  <a:lnTo>
                    <a:pt x="3140" y="737"/>
                  </a:lnTo>
                  <a:lnTo>
                    <a:pt x="3140" y="733"/>
                  </a:lnTo>
                  <a:lnTo>
                    <a:pt x="3140" y="733"/>
                  </a:lnTo>
                  <a:lnTo>
                    <a:pt x="3140" y="733"/>
                  </a:lnTo>
                  <a:lnTo>
                    <a:pt x="3140" y="733"/>
                  </a:lnTo>
                  <a:lnTo>
                    <a:pt x="3140" y="728"/>
                  </a:lnTo>
                  <a:lnTo>
                    <a:pt x="3140" y="728"/>
                  </a:lnTo>
                  <a:lnTo>
                    <a:pt x="3144" y="728"/>
                  </a:lnTo>
                  <a:lnTo>
                    <a:pt x="3140" y="733"/>
                  </a:lnTo>
                  <a:lnTo>
                    <a:pt x="3144" y="733"/>
                  </a:lnTo>
                  <a:lnTo>
                    <a:pt x="3144" y="733"/>
                  </a:lnTo>
                  <a:lnTo>
                    <a:pt x="3144" y="733"/>
                  </a:lnTo>
                  <a:lnTo>
                    <a:pt x="3149" y="733"/>
                  </a:lnTo>
                  <a:lnTo>
                    <a:pt x="3149" y="733"/>
                  </a:lnTo>
                  <a:lnTo>
                    <a:pt x="3149" y="728"/>
                  </a:lnTo>
                  <a:lnTo>
                    <a:pt x="3149" y="728"/>
                  </a:lnTo>
                  <a:lnTo>
                    <a:pt x="3149" y="723"/>
                  </a:lnTo>
                  <a:lnTo>
                    <a:pt x="3153" y="723"/>
                  </a:lnTo>
                  <a:lnTo>
                    <a:pt x="3153" y="723"/>
                  </a:lnTo>
                  <a:lnTo>
                    <a:pt x="3149" y="719"/>
                  </a:lnTo>
                  <a:lnTo>
                    <a:pt x="3149" y="719"/>
                  </a:lnTo>
                  <a:lnTo>
                    <a:pt x="3149" y="714"/>
                  </a:lnTo>
                  <a:lnTo>
                    <a:pt x="3149" y="714"/>
                  </a:lnTo>
                  <a:lnTo>
                    <a:pt x="3149" y="714"/>
                  </a:lnTo>
                  <a:lnTo>
                    <a:pt x="3153" y="714"/>
                  </a:lnTo>
                  <a:lnTo>
                    <a:pt x="3153" y="714"/>
                  </a:lnTo>
                  <a:lnTo>
                    <a:pt x="3153" y="714"/>
                  </a:lnTo>
                  <a:lnTo>
                    <a:pt x="3158" y="714"/>
                  </a:lnTo>
                  <a:lnTo>
                    <a:pt x="3158" y="714"/>
                  </a:lnTo>
                  <a:lnTo>
                    <a:pt x="3162" y="710"/>
                  </a:lnTo>
                  <a:lnTo>
                    <a:pt x="3162" y="710"/>
                  </a:lnTo>
                  <a:lnTo>
                    <a:pt x="3162" y="705"/>
                  </a:lnTo>
                  <a:lnTo>
                    <a:pt x="3162" y="705"/>
                  </a:lnTo>
                  <a:lnTo>
                    <a:pt x="3162" y="701"/>
                  </a:lnTo>
                  <a:lnTo>
                    <a:pt x="3162" y="701"/>
                  </a:lnTo>
                  <a:lnTo>
                    <a:pt x="3167" y="701"/>
                  </a:lnTo>
                  <a:lnTo>
                    <a:pt x="3171" y="696"/>
                  </a:lnTo>
                  <a:lnTo>
                    <a:pt x="3171" y="696"/>
                  </a:lnTo>
                  <a:lnTo>
                    <a:pt x="3171" y="696"/>
                  </a:lnTo>
                  <a:lnTo>
                    <a:pt x="3176" y="696"/>
                  </a:lnTo>
                  <a:lnTo>
                    <a:pt x="3176" y="696"/>
                  </a:lnTo>
                  <a:lnTo>
                    <a:pt x="3176" y="696"/>
                  </a:lnTo>
                  <a:lnTo>
                    <a:pt x="3176" y="696"/>
                  </a:lnTo>
                  <a:lnTo>
                    <a:pt x="3180" y="696"/>
                  </a:lnTo>
                  <a:lnTo>
                    <a:pt x="3180" y="696"/>
                  </a:lnTo>
                  <a:lnTo>
                    <a:pt x="3180" y="696"/>
                  </a:lnTo>
                  <a:lnTo>
                    <a:pt x="3180" y="692"/>
                  </a:lnTo>
                  <a:lnTo>
                    <a:pt x="3180" y="692"/>
                  </a:lnTo>
                  <a:lnTo>
                    <a:pt x="3180" y="687"/>
                  </a:lnTo>
                  <a:lnTo>
                    <a:pt x="3176" y="687"/>
                  </a:lnTo>
                  <a:lnTo>
                    <a:pt x="3180" y="687"/>
                  </a:lnTo>
                  <a:lnTo>
                    <a:pt x="3180" y="687"/>
                  </a:lnTo>
                  <a:lnTo>
                    <a:pt x="3180" y="692"/>
                  </a:lnTo>
                  <a:lnTo>
                    <a:pt x="3180" y="692"/>
                  </a:lnTo>
                  <a:lnTo>
                    <a:pt x="3180" y="696"/>
                  </a:lnTo>
                  <a:lnTo>
                    <a:pt x="3180" y="696"/>
                  </a:lnTo>
                  <a:lnTo>
                    <a:pt x="3185" y="696"/>
                  </a:lnTo>
                  <a:lnTo>
                    <a:pt x="3185" y="696"/>
                  </a:lnTo>
                  <a:lnTo>
                    <a:pt x="3189" y="701"/>
                  </a:lnTo>
                  <a:lnTo>
                    <a:pt x="3189" y="696"/>
                  </a:lnTo>
                  <a:lnTo>
                    <a:pt x="3189" y="696"/>
                  </a:lnTo>
                  <a:lnTo>
                    <a:pt x="3189" y="701"/>
                  </a:lnTo>
                  <a:lnTo>
                    <a:pt x="3189" y="701"/>
                  </a:lnTo>
                  <a:lnTo>
                    <a:pt x="3185" y="701"/>
                  </a:lnTo>
                  <a:lnTo>
                    <a:pt x="3180" y="701"/>
                  </a:lnTo>
                  <a:lnTo>
                    <a:pt x="3180" y="701"/>
                  </a:lnTo>
                  <a:lnTo>
                    <a:pt x="3176" y="701"/>
                  </a:lnTo>
                  <a:lnTo>
                    <a:pt x="3176" y="701"/>
                  </a:lnTo>
                  <a:lnTo>
                    <a:pt x="3180" y="701"/>
                  </a:lnTo>
                  <a:lnTo>
                    <a:pt x="3180" y="701"/>
                  </a:lnTo>
                  <a:lnTo>
                    <a:pt x="3185" y="701"/>
                  </a:lnTo>
                  <a:lnTo>
                    <a:pt x="3185" y="701"/>
                  </a:lnTo>
                  <a:lnTo>
                    <a:pt x="3185" y="701"/>
                  </a:lnTo>
                  <a:lnTo>
                    <a:pt x="3180" y="701"/>
                  </a:lnTo>
                  <a:lnTo>
                    <a:pt x="3180" y="705"/>
                  </a:lnTo>
                  <a:lnTo>
                    <a:pt x="3180" y="705"/>
                  </a:lnTo>
                  <a:lnTo>
                    <a:pt x="3180" y="705"/>
                  </a:lnTo>
                  <a:lnTo>
                    <a:pt x="3180" y="705"/>
                  </a:lnTo>
                  <a:lnTo>
                    <a:pt x="3185" y="705"/>
                  </a:lnTo>
                  <a:lnTo>
                    <a:pt x="3189" y="705"/>
                  </a:lnTo>
                  <a:lnTo>
                    <a:pt x="3189" y="710"/>
                  </a:lnTo>
                  <a:lnTo>
                    <a:pt x="3194" y="705"/>
                  </a:lnTo>
                  <a:lnTo>
                    <a:pt x="3199" y="705"/>
                  </a:lnTo>
                  <a:lnTo>
                    <a:pt x="3203" y="705"/>
                  </a:lnTo>
                  <a:lnTo>
                    <a:pt x="3203" y="705"/>
                  </a:lnTo>
                  <a:lnTo>
                    <a:pt x="3208" y="710"/>
                  </a:lnTo>
                  <a:lnTo>
                    <a:pt x="3208" y="710"/>
                  </a:lnTo>
                  <a:lnTo>
                    <a:pt x="3208" y="705"/>
                  </a:lnTo>
                  <a:lnTo>
                    <a:pt x="3208" y="710"/>
                  </a:lnTo>
                  <a:lnTo>
                    <a:pt x="3208" y="710"/>
                  </a:lnTo>
                  <a:lnTo>
                    <a:pt x="3208" y="714"/>
                  </a:lnTo>
                  <a:lnTo>
                    <a:pt x="3203" y="714"/>
                  </a:lnTo>
                  <a:lnTo>
                    <a:pt x="3203" y="714"/>
                  </a:lnTo>
                  <a:lnTo>
                    <a:pt x="3199" y="719"/>
                  </a:lnTo>
                  <a:lnTo>
                    <a:pt x="3194" y="719"/>
                  </a:lnTo>
                  <a:lnTo>
                    <a:pt x="3194" y="723"/>
                  </a:lnTo>
                  <a:lnTo>
                    <a:pt x="3194" y="723"/>
                  </a:lnTo>
                  <a:lnTo>
                    <a:pt x="3199" y="723"/>
                  </a:lnTo>
                  <a:lnTo>
                    <a:pt x="3199" y="723"/>
                  </a:lnTo>
                  <a:lnTo>
                    <a:pt x="3203" y="723"/>
                  </a:lnTo>
                  <a:lnTo>
                    <a:pt x="3203" y="723"/>
                  </a:lnTo>
                  <a:lnTo>
                    <a:pt x="3208" y="723"/>
                  </a:lnTo>
                  <a:lnTo>
                    <a:pt x="3212" y="728"/>
                  </a:lnTo>
                  <a:lnTo>
                    <a:pt x="3212" y="728"/>
                  </a:lnTo>
                  <a:lnTo>
                    <a:pt x="3212" y="728"/>
                  </a:lnTo>
                  <a:lnTo>
                    <a:pt x="3212" y="733"/>
                  </a:lnTo>
                  <a:lnTo>
                    <a:pt x="3212" y="737"/>
                  </a:lnTo>
                  <a:lnTo>
                    <a:pt x="3208" y="737"/>
                  </a:lnTo>
                  <a:lnTo>
                    <a:pt x="3208" y="737"/>
                  </a:lnTo>
                  <a:lnTo>
                    <a:pt x="3212" y="737"/>
                  </a:lnTo>
                  <a:lnTo>
                    <a:pt x="3217" y="742"/>
                  </a:lnTo>
                  <a:lnTo>
                    <a:pt x="3217" y="742"/>
                  </a:lnTo>
                  <a:lnTo>
                    <a:pt x="3221" y="737"/>
                  </a:lnTo>
                  <a:lnTo>
                    <a:pt x="3221" y="737"/>
                  </a:lnTo>
                  <a:lnTo>
                    <a:pt x="3226" y="733"/>
                  </a:lnTo>
                  <a:lnTo>
                    <a:pt x="3230" y="733"/>
                  </a:lnTo>
                  <a:lnTo>
                    <a:pt x="3230" y="733"/>
                  </a:lnTo>
                  <a:lnTo>
                    <a:pt x="3235" y="733"/>
                  </a:lnTo>
                  <a:lnTo>
                    <a:pt x="3235" y="728"/>
                  </a:lnTo>
                  <a:lnTo>
                    <a:pt x="3239" y="728"/>
                  </a:lnTo>
                  <a:lnTo>
                    <a:pt x="3239" y="728"/>
                  </a:lnTo>
                  <a:lnTo>
                    <a:pt x="3239" y="723"/>
                  </a:lnTo>
                  <a:lnTo>
                    <a:pt x="3244" y="728"/>
                  </a:lnTo>
                  <a:lnTo>
                    <a:pt x="3244" y="728"/>
                  </a:lnTo>
                  <a:lnTo>
                    <a:pt x="3244" y="728"/>
                  </a:lnTo>
                  <a:lnTo>
                    <a:pt x="3244" y="728"/>
                  </a:lnTo>
                  <a:lnTo>
                    <a:pt x="3248" y="728"/>
                  </a:lnTo>
                  <a:lnTo>
                    <a:pt x="3253" y="728"/>
                  </a:lnTo>
                  <a:lnTo>
                    <a:pt x="3253" y="728"/>
                  </a:lnTo>
                  <a:lnTo>
                    <a:pt x="3253" y="723"/>
                  </a:lnTo>
                  <a:lnTo>
                    <a:pt x="3253" y="723"/>
                  </a:lnTo>
                  <a:lnTo>
                    <a:pt x="3253" y="723"/>
                  </a:lnTo>
                  <a:lnTo>
                    <a:pt x="3253" y="719"/>
                  </a:lnTo>
                  <a:lnTo>
                    <a:pt x="3253" y="719"/>
                  </a:lnTo>
                  <a:lnTo>
                    <a:pt x="3248" y="719"/>
                  </a:lnTo>
                  <a:lnTo>
                    <a:pt x="3248" y="719"/>
                  </a:lnTo>
                  <a:lnTo>
                    <a:pt x="3248" y="719"/>
                  </a:lnTo>
                  <a:lnTo>
                    <a:pt x="3248" y="719"/>
                  </a:lnTo>
                  <a:lnTo>
                    <a:pt x="3244" y="719"/>
                  </a:lnTo>
                  <a:lnTo>
                    <a:pt x="3244" y="719"/>
                  </a:lnTo>
                  <a:lnTo>
                    <a:pt x="3239" y="723"/>
                  </a:lnTo>
                  <a:lnTo>
                    <a:pt x="3239" y="723"/>
                  </a:lnTo>
                  <a:lnTo>
                    <a:pt x="3235" y="719"/>
                  </a:lnTo>
                  <a:lnTo>
                    <a:pt x="3235" y="719"/>
                  </a:lnTo>
                  <a:lnTo>
                    <a:pt x="3230" y="714"/>
                  </a:lnTo>
                  <a:lnTo>
                    <a:pt x="3230" y="710"/>
                  </a:lnTo>
                  <a:lnTo>
                    <a:pt x="3226" y="710"/>
                  </a:lnTo>
                  <a:lnTo>
                    <a:pt x="3226" y="710"/>
                  </a:lnTo>
                  <a:lnTo>
                    <a:pt x="3226" y="705"/>
                  </a:lnTo>
                  <a:lnTo>
                    <a:pt x="3230" y="705"/>
                  </a:lnTo>
                  <a:lnTo>
                    <a:pt x="3230" y="705"/>
                  </a:lnTo>
                  <a:lnTo>
                    <a:pt x="3230" y="701"/>
                  </a:lnTo>
                  <a:lnTo>
                    <a:pt x="3235" y="701"/>
                  </a:lnTo>
                  <a:lnTo>
                    <a:pt x="3235" y="701"/>
                  </a:lnTo>
                  <a:lnTo>
                    <a:pt x="3235" y="705"/>
                  </a:lnTo>
                  <a:lnTo>
                    <a:pt x="3230" y="705"/>
                  </a:lnTo>
                  <a:lnTo>
                    <a:pt x="3230" y="705"/>
                  </a:lnTo>
                  <a:lnTo>
                    <a:pt x="3230" y="705"/>
                  </a:lnTo>
                  <a:lnTo>
                    <a:pt x="3230" y="705"/>
                  </a:lnTo>
                  <a:lnTo>
                    <a:pt x="3230" y="705"/>
                  </a:lnTo>
                  <a:lnTo>
                    <a:pt x="3235" y="705"/>
                  </a:lnTo>
                  <a:lnTo>
                    <a:pt x="3235" y="701"/>
                  </a:lnTo>
                  <a:lnTo>
                    <a:pt x="3239" y="696"/>
                  </a:lnTo>
                  <a:lnTo>
                    <a:pt x="3244" y="696"/>
                  </a:lnTo>
                  <a:lnTo>
                    <a:pt x="3244" y="696"/>
                  </a:lnTo>
                  <a:lnTo>
                    <a:pt x="3248" y="696"/>
                  </a:lnTo>
                  <a:lnTo>
                    <a:pt x="3248" y="696"/>
                  </a:lnTo>
                  <a:lnTo>
                    <a:pt x="3253" y="696"/>
                  </a:lnTo>
                  <a:lnTo>
                    <a:pt x="3253" y="696"/>
                  </a:lnTo>
                  <a:lnTo>
                    <a:pt x="3253" y="696"/>
                  </a:lnTo>
                  <a:lnTo>
                    <a:pt x="3257" y="692"/>
                  </a:lnTo>
                  <a:lnTo>
                    <a:pt x="3257" y="692"/>
                  </a:lnTo>
                  <a:lnTo>
                    <a:pt x="3262" y="692"/>
                  </a:lnTo>
                  <a:lnTo>
                    <a:pt x="3262" y="692"/>
                  </a:lnTo>
                  <a:lnTo>
                    <a:pt x="3266" y="687"/>
                  </a:lnTo>
                  <a:lnTo>
                    <a:pt x="3266" y="687"/>
                  </a:lnTo>
                  <a:lnTo>
                    <a:pt x="3275" y="687"/>
                  </a:lnTo>
                  <a:lnTo>
                    <a:pt x="3275" y="687"/>
                  </a:lnTo>
                  <a:lnTo>
                    <a:pt x="3280" y="687"/>
                  </a:lnTo>
                  <a:lnTo>
                    <a:pt x="3280" y="683"/>
                  </a:lnTo>
                  <a:lnTo>
                    <a:pt x="3280" y="683"/>
                  </a:lnTo>
                  <a:lnTo>
                    <a:pt x="3280" y="683"/>
                  </a:lnTo>
                  <a:lnTo>
                    <a:pt x="3280" y="687"/>
                  </a:lnTo>
                  <a:lnTo>
                    <a:pt x="3280" y="687"/>
                  </a:lnTo>
                  <a:lnTo>
                    <a:pt x="3280" y="687"/>
                  </a:lnTo>
                  <a:lnTo>
                    <a:pt x="3284" y="687"/>
                  </a:lnTo>
                  <a:lnTo>
                    <a:pt x="3284" y="683"/>
                  </a:lnTo>
                  <a:lnTo>
                    <a:pt x="3289" y="683"/>
                  </a:lnTo>
                  <a:lnTo>
                    <a:pt x="3289" y="687"/>
                  </a:lnTo>
                  <a:lnTo>
                    <a:pt x="3289" y="687"/>
                  </a:lnTo>
                  <a:lnTo>
                    <a:pt x="3289" y="687"/>
                  </a:lnTo>
                  <a:lnTo>
                    <a:pt x="3289" y="687"/>
                  </a:lnTo>
                  <a:lnTo>
                    <a:pt x="3289" y="687"/>
                  </a:lnTo>
                  <a:lnTo>
                    <a:pt x="3284" y="692"/>
                  </a:lnTo>
                  <a:lnTo>
                    <a:pt x="3280" y="692"/>
                  </a:lnTo>
                  <a:lnTo>
                    <a:pt x="3280" y="692"/>
                  </a:lnTo>
                  <a:lnTo>
                    <a:pt x="3280" y="696"/>
                  </a:lnTo>
                  <a:lnTo>
                    <a:pt x="3280" y="696"/>
                  </a:lnTo>
                  <a:lnTo>
                    <a:pt x="3275" y="696"/>
                  </a:lnTo>
                  <a:lnTo>
                    <a:pt x="3275" y="696"/>
                  </a:lnTo>
                  <a:lnTo>
                    <a:pt x="3275" y="696"/>
                  </a:lnTo>
                  <a:lnTo>
                    <a:pt x="3271" y="696"/>
                  </a:lnTo>
                  <a:lnTo>
                    <a:pt x="3271" y="696"/>
                  </a:lnTo>
                  <a:lnTo>
                    <a:pt x="3271" y="696"/>
                  </a:lnTo>
                  <a:lnTo>
                    <a:pt x="3271" y="696"/>
                  </a:lnTo>
                  <a:lnTo>
                    <a:pt x="3271" y="701"/>
                  </a:lnTo>
                  <a:lnTo>
                    <a:pt x="3271" y="701"/>
                  </a:lnTo>
                  <a:lnTo>
                    <a:pt x="3275" y="701"/>
                  </a:lnTo>
                  <a:lnTo>
                    <a:pt x="3280" y="705"/>
                  </a:lnTo>
                  <a:lnTo>
                    <a:pt x="3280" y="705"/>
                  </a:lnTo>
                  <a:lnTo>
                    <a:pt x="3280" y="705"/>
                  </a:lnTo>
                  <a:lnTo>
                    <a:pt x="3280" y="705"/>
                  </a:lnTo>
                  <a:lnTo>
                    <a:pt x="3275" y="705"/>
                  </a:lnTo>
                  <a:lnTo>
                    <a:pt x="3275" y="710"/>
                  </a:lnTo>
                  <a:lnTo>
                    <a:pt x="3275" y="710"/>
                  </a:lnTo>
                  <a:lnTo>
                    <a:pt x="3275" y="710"/>
                  </a:lnTo>
                  <a:lnTo>
                    <a:pt x="3275" y="710"/>
                  </a:lnTo>
                  <a:lnTo>
                    <a:pt x="3275" y="705"/>
                  </a:lnTo>
                  <a:lnTo>
                    <a:pt x="3275" y="710"/>
                  </a:lnTo>
                  <a:lnTo>
                    <a:pt x="3271" y="710"/>
                  </a:lnTo>
                  <a:lnTo>
                    <a:pt x="3271" y="714"/>
                  </a:lnTo>
                  <a:lnTo>
                    <a:pt x="3271" y="714"/>
                  </a:lnTo>
                  <a:lnTo>
                    <a:pt x="3271" y="719"/>
                  </a:lnTo>
                  <a:lnTo>
                    <a:pt x="3271" y="719"/>
                  </a:lnTo>
                  <a:lnTo>
                    <a:pt x="3271" y="719"/>
                  </a:lnTo>
                  <a:lnTo>
                    <a:pt x="3271" y="719"/>
                  </a:lnTo>
                  <a:lnTo>
                    <a:pt x="3271" y="719"/>
                  </a:lnTo>
                  <a:lnTo>
                    <a:pt x="3266" y="723"/>
                  </a:lnTo>
                  <a:lnTo>
                    <a:pt x="3266" y="723"/>
                  </a:lnTo>
                  <a:lnTo>
                    <a:pt x="3262" y="723"/>
                  </a:lnTo>
                  <a:lnTo>
                    <a:pt x="3262" y="719"/>
                  </a:lnTo>
                  <a:lnTo>
                    <a:pt x="3257" y="719"/>
                  </a:lnTo>
                  <a:lnTo>
                    <a:pt x="3257" y="719"/>
                  </a:lnTo>
                  <a:lnTo>
                    <a:pt x="3257" y="719"/>
                  </a:lnTo>
                  <a:lnTo>
                    <a:pt x="3257" y="719"/>
                  </a:lnTo>
                  <a:lnTo>
                    <a:pt x="3257" y="719"/>
                  </a:lnTo>
                  <a:lnTo>
                    <a:pt x="3262" y="723"/>
                  </a:lnTo>
                  <a:lnTo>
                    <a:pt x="3262" y="723"/>
                  </a:lnTo>
                  <a:lnTo>
                    <a:pt x="3257" y="723"/>
                  </a:lnTo>
                  <a:lnTo>
                    <a:pt x="3257" y="723"/>
                  </a:lnTo>
                  <a:lnTo>
                    <a:pt x="3257" y="723"/>
                  </a:lnTo>
                  <a:lnTo>
                    <a:pt x="3262" y="728"/>
                  </a:lnTo>
                  <a:lnTo>
                    <a:pt x="3266" y="728"/>
                  </a:lnTo>
                  <a:lnTo>
                    <a:pt x="3266" y="728"/>
                  </a:lnTo>
                  <a:lnTo>
                    <a:pt x="3266" y="733"/>
                  </a:lnTo>
                  <a:lnTo>
                    <a:pt x="3271" y="733"/>
                  </a:lnTo>
                  <a:lnTo>
                    <a:pt x="3271" y="733"/>
                  </a:lnTo>
                  <a:lnTo>
                    <a:pt x="3271" y="733"/>
                  </a:lnTo>
                  <a:lnTo>
                    <a:pt x="3275" y="733"/>
                  </a:lnTo>
                  <a:lnTo>
                    <a:pt x="3275" y="733"/>
                  </a:lnTo>
                  <a:lnTo>
                    <a:pt x="3280" y="737"/>
                  </a:lnTo>
                  <a:lnTo>
                    <a:pt x="3284" y="737"/>
                  </a:lnTo>
                  <a:lnTo>
                    <a:pt x="3289" y="742"/>
                  </a:lnTo>
                  <a:lnTo>
                    <a:pt x="3289" y="742"/>
                  </a:lnTo>
                  <a:lnTo>
                    <a:pt x="3302" y="746"/>
                  </a:lnTo>
                  <a:lnTo>
                    <a:pt x="3302" y="751"/>
                  </a:lnTo>
                  <a:lnTo>
                    <a:pt x="3311" y="755"/>
                  </a:lnTo>
                  <a:lnTo>
                    <a:pt x="3311" y="755"/>
                  </a:lnTo>
                  <a:lnTo>
                    <a:pt x="3316" y="760"/>
                  </a:lnTo>
                  <a:lnTo>
                    <a:pt x="3320" y="760"/>
                  </a:lnTo>
                  <a:lnTo>
                    <a:pt x="3320" y="760"/>
                  </a:lnTo>
                  <a:lnTo>
                    <a:pt x="3325" y="764"/>
                  </a:lnTo>
                  <a:lnTo>
                    <a:pt x="3330" y="764"/>
                  </a:lnTo>
                  <a:lnTo>
                    <a:pt x="3334" y="769"/>
                  </a:lnTo>
                  <a:lnTo>
                    <a:pt x="3339" y="769"/>
                  </a:lnTo>
                  <a:lnTo>
                    <a:pt x="3339" y="769"/>
                  </a:lnTo>
                  <a:lnTo>
                    <a:pt x="3339" y="773"/>
                  </a:lnTo>
                  <a:lnTo>
                    <a:pt x="3343" y="778"/>
                  </a:lnTo>
                  <a:lnTo>
                    <a:pt x="3343" y="782"/>
                  </a:lnTo>
                  <a:lnTo>
                    <a:pt x="3343" y="787"/>
                  </a:lnTo>
                  <a:lnTo>
                    <a:pt x="3343" y="787"/>
                  </a:lnTo>
                  <a:lnTo>
                    <a:pt x="3343" y="787"/>
                  </a:lnTo>
                  <a:lnTo>
                    <a:pt x="3343" y="791"/>
                  </a:lnTo>
                  <a:lnTo>
                    <a:pt x="3339" y="796"/>
                  </a:lnTo>
                  <a:lnTo>
                    <a:pt x="3334" y="796"/>
                  </a:lnTo>
                  <a:lnTo>
                    <a:pt x="3334" y="796"/>
                  </a:lnTo>
                  <a:lnTo>
                    <a:pt x="3334" y="800"/>
                  </a:lnTo>
                  <a:lnTo>
                    <a:pt x="3330" y="800"/>
                  </a:lnTo>
                  <a:lnTo>
                    <a:pt x="3325" y="805"/>
                  </a:lnTo>
                  <a:lnTo>
                    <a:pt x="3320" y="805"/>
                  </a:lnTo>
                  <a:lnTo>
                    <a:pt x="3320" y="800"/>
                  </a:lnTo>
                  <a:lnTo>
                    <a:pt x="3320" y="805"/>
                  </a:lnTo>
                  <a:lnTo>
                    <a:pt x="3316" y="800"/>
                  </a:lnTo>
                  <a:lnTo>
                    <a:pt x="3311" y="800"/>
                  </a:lnTo>
                  <a:lnTo>
                    <a:pt x="3302" y="800"/>
                  </a:lnTo>
                  <a:lnTo>
                    <a:pt x="3298" y="805"/>
                  </a:lnTo>
                  <a:lnTo>
                    <a:pt x="3293" y="805"/>
                  </a:lnTo>
                  <a:lnTo>
                    <a:pt x="3289" y="800"/>
                  </a:lnTo>
                  <a:lnTo>
                    <a:pt x="3284" y="800"/>
                  </a:lnTo>
                  <a:lnTo>
                    <a:pt x="3280" y="800"/>
                  </a:lnTo>
                  <a:lnTo>
                    <a:pt x="3275" y="800"/>
                  </a:lnTo>
                  <a:lnTo>
                    <a:pt x="3271" y="796"/>
                  </a:lnTo>
                  <a:lnTo>
                    <a:pt x="3271" y="796"/>
                  </a:lnTo>
                  <a:lnTo>
                    <a:pt x="3266" y="796"/>
                  </a:lnTo>
                  <a:lnTo>
                    <a:pt x="3266" y="796"/>
                  </a:lnTo>
                  <a:lnTo>
                    <a:pt x="3266" y="796"/>
                  </a:lnTo>
                  <a:lnTo>
                    <a:pt x="3262" y="796"/>
                  </a:lnTo>
                  <a:lnTo>
                    <a:pt x="3262" y="796"/>
                  </a:lnTo>
                  <a:lnTo>
                    <a:pt x="3257" y="796"/>
                  </a:lnTo>
                  <a:lnTo>
                    <a:pt x="3257" y="791"/>
                  </a:lnTo>
                  <a:lnTo>
                    <a:pt x="3257" y="791"/>
                  </a:lnTo>
                  <a:lnTo>
                    <a:pt x="3253" y="791"/>
                  </a:lnTo>
                  <a:lnTo>
                    <a:pt x="3248" y="791"/>
                  </a:lnTo>
                  <a:lnTo>
                    <a:pt x="3244" y="791"/>
                  </a:lnTo>
                  <a:lnTo>
                    <a:pt x="3244" y="787"/>
                  </a:lnTo>
                  <a:lnTo>
                    <a:pt x="3244" y="787"/>
                  </a:lnTo>
                  <a:lnTo>
                    <a:pt x="3244" y="787"/>
                  </a:lnTo>
                  <a:lnTo>
                    <a:pt x="3244" y="782"/>
                  </a:lnTo>
                  <a:lnTo>
                    <a:pt x="3244" y="782"/>
                  </a:lnTo>
                  <a:lnTo>
                    <a:pt x="3239" y="782"/>
                  </a:lnTo>
                  <a:lnTo>
                    <a:pt x="3235" y="787"/>
                  </a:lnTo>
                  <a:lnTo>
                    <a:pt x="3226" y="787"/>
                  </a:lnTo>
                  <a:lnTo>
                    <a:pt x="3217" y="782"/>
                  </a:lnTo>
                  <a:lnTo>
                    <a:pt x="3212" y="787"/>
                  </a:lnTo>
                  <a:lnTo>
                    <a:pt x="3208" y="787"/>
                  </a:lnTo>
                  <a:lnTo>
                    <a:pt x="3203" y="787"/>
                  </a:lnTo>
                  <a:lnTo>
                    <a:pt x="3199" y="791"/>
                  </a:lnTo>
                  <a:lnTo>
                    <a:pt x="3194" y="791"/>
                  </a:lnTo>
                  <a:lnTo>
                    <a:pt x="3185" y="796"/>
                  </a:lnTo>
                  <a:lnTo>
                    <a:pt x="3185" y="800"/>
                  </a:lnTo>
                  <a:lnTo>
                    <a:pt x="3185" y="800"/>
                  </a:lnTo>
                  <a:lnTo>
                    <a:pt x="3176" y="800"/>
                  </a:lnTo>
                  <a:lnTo>
                    <a:pt x="3171" y="800"/>
                  </a:lnTo>
                  <a:lnTo>
                    <a:pt x="3162" y="800"/>
                  </a:lnTo>
                  <a:lnTo>
                    <a:pt x="3153" y="800"/>
                  </a:lnTo>
                  <a:lnTo>
                    <a:pt x="3149" y="800"/>
                  </a:lnTo>
                  <a:lnTo>
                    <a:pt x="3149" y="800"/>
                  </a:lnTo>
                  <a:lnTo>
                    <a:pt x="3149" y="800"/>
                  </a:lnTo>
                  <a:lnTo>
                    <a:pt x="3149" y="805"/>
                  </a:lnTo>
                  <a:lnTo>
                    <a:pt x="3149" y="805"/>
                  </a:lnTo>
                  <a:lnTo>
                    <a:pt x="3149" y="805"/>
                  </a:lnTo>
                  <a:lnTo>
                    <a:pt x="3153" y="805"/>
                  </a:lnTo>
                  <a:lnTo>
                    <a:pt x="3153" y="809"/>
                  </a:lnTo>
                  <a:lnTo>
                    <a:pt x="3162" y="809"/>
                  </a:lnTo>
                  <a:lnTo>
                    <a:pt x="3162" y="809"/>
                  </a:lnTo>
                  <a:lnTo>
                    <a:pt x="3162" y="809"/>
                  </a:lnTo>
                  <a:lnTo>
                    <a:pt x="3158" y="809"/>
                  </a:lnTo>
                  <a:lnTo>
                    <a:pt x="3149" y="809"/>
                  </a:lnTo>
                  <a:lnTo>
                    <a:pt x="3149" y="809"/>
                  </a:lnTo>
                  <a:lnTo>
                    <a:pt x="3144" y="814"/>
                  </a:lnTo>
                  <a:lnTo>
                    <a:pt x="3149" y="814"/>
                  </a:lnTo>
                  <a:lnTo>
                    <a:pt x="3149" y="814"/>
                  </a:lnTo>
                  <a:lnTo>
                    <a:pt x="3149" y="814"/>
                  </a:lnTo>
                  <a:lnTo>
                    <a:pt x="3149" y="814"/>
                  </a:lnTo>
                  <a:lnTo>
                    <a:pt x="3149" y="814"/>
                  </a:lnTo>
                  <a:lnTo>
                    <a:pt x="3144" y="814"/>
                  </a:lnTo>
                  <a:lnTo>
                    <a:pt x="3144" y="814"/>
                  </a:lnTo>
                  <a:lnTo>
                    <a:pt x="3140" y="814"/>
                  </a:lnTo>
                  <a:lnTo>
                    <a:pt x="3135" y="818"/>
                  </a:lnTo>
                  <a:lnTo>
                    <a:pt x="3135" y="814"/>
                  </a:lnTo>
                  <a:lnTo>
                    <a:pt x="3135" y="814"/>
                  </a:lnTo>
                  <a:lnTo>
                    <a:pt x="3135" y="814"/>
                  </a:lnTo>
                  <a:lnTo>
                    <a:pt x="3135" y="814"/>
                  </a:lnTo>
                  <a:lnTo>
                    <a:pt x="3131" y="814"/>
                  </a:lnTo>
                  <a:lnTo>
                    <a:pt x="3131" y="814"/>
                  </a:lnTo>
                  <a:lnTo>
                    <a:pt x="3131" y="814"/>
                  </a:lnTo>
                  <a:lnTo>
                    <a:pt x="3131" y="814"/>
                  </a:lnTo>
                  <a:lnTo>
                    <a:pt x="3131" y="818"/>
                  </a:lnTo>
                  <a:lnTo>
                    <a:pt x="3131" y="818"/>
                  </a:lnTo>
                  <a:lnTo>
                    <a:pt x="3126" y="818"/>
                  </a:lnTo>
                  <a:lnTo>
                    <a:pt x="3122" y="818"/>
                  </a:lnTo>
                  <a:lnTo>
                    <a:pt x="3122" y="814"/>
                  </a:lnTo>
                  <a:lnTo>
                    <a:pt x="3122" y="814"/>
                  </a:lnTo>
                  <a:lnTo>
                    <a:pt x="3122" y="814"/>
                  </a:lnTo>
                  <a:lnTo>
                    <a:pt x="3117" y="814"/>
                  </a:lnTo>
                  <a:lnTo>
                    <a:pt x="3113" y="814"/>
                  </a:lnTo>
                  <a:lnTo>
                    <a:pt x="3113" y="818"/>
                  </a:lnTo>
                  <a:lnTo>
                    <a:pt x="3108" y="823"/>
                  </a:lnTo>
                  <a:lnTo>
                    <a:pt x="3108" y="823"/>
                  </a:lnTo>
                  <a:lnTo>
                    <a:pt x="3108" y="827"/>
                  </a:lnTo>
                  <a:lnTo>
                    <a:pt x="3108" y="832"/>
                  </a:lnTo>
                  <a:lnTo>
                    <a:pt x="3104" y="832"/>
                  </a:lnTo>
                  <a:lnTo>
                    <a:pt x="3104" y="832"/>
                  </a:lnTo>
                  <a:lnTo>
                    <a:pt x="3108" y="832"/>
                  </a:lnTo>
                  <a:lnTo>
                    <a:pt x="3108" y="832"/>
                  </a:lnTo>
                  <a:lnTo>
                    <a:pt x="3113" y="832"/>
                  </a:lnTo>
                  <a:lnTo>
                    <a:pt x="3117" y="832"/>
                  </a:lnTo>
                  <a:lnTo>
                    <a:pt x="3117" y="832"/>
                  </a:lnTo>
                  <a:lnTo>
                    <a:pt x="3117" y="832"/>
                  </a:lnTo>
                  <a:lnTo>
                    <a:pt x="3117" y="836"/>
                  </a:lnTo>
                  <a:lnTo>
                    <a:pt x="3117" y="836"/>
                  </a:lnTo>
                  <a:lnTo>
                    <a:pt x="3117" y="836"/>
                  </a:lnTo>
                  <a:lnTo>
                    <a:pt x="3117" y="836"/>
                  </a:lnTo>
                  <a:lnTo>
                    <a:pt x="3117" y="841"/>
                  </a:lnTo>
                  <a:lnTo>
                    <a:pt x="3117" y="841"/>
                  </a:lnTo>
                  <a:lnTo>
                    <a:pt x="3117" y="841"/>
                  </a:lnTo>
                  <a:lnTo>
                    <a:pt x="3117" y="841"/>
                  </a:lnTo>
                  <a:lnTo>
                    <a:pt x="3117" y="846"/>
                  </a:lnTo>
                  <a:lnTo>
                    <a:pt x="3122" y="846"/>
                  </a:lnTo>
                  <a:lnTo>
                    <a:pt x="3122" y="846"/>
                  </a:lnTo>
                  <a:lnTo>
                    <a:pt x="3122" y="846"/>
                  </a:lnTo>
                  <a:lnTo>
                    <a:pt x="3122" y="846"/>
                  </a:lnTo>
                  <a:lnTo>
                    <a:pt x="3117" y="846"/>
                  </a:lnTo>
                  <a:lnTo>
                    <a:pt x="3117" y="846"/>
                  </a:lnTo>
                  <a:lnTo>
                    <a:pt x="3117" y="850"/>
                  </a:lnTo>
                  <a:lnTo>
                    <a:pt x="3117" y="850"/>
                  </a:lnTo>
                  <a:lnTo>
                    <a:pt x="3117" y="850"/>
                  </a:lnTo>
                  <a:lnTo>
                    <a:pt x="3122" y="850"/>
                  </a:lnTo>
                  <a:lnTo>
                    <a:pt x="3122" y="855"/>
                  </a:lnTo>
                  <a:lnTo>
                    <a:pt x="3122" y="855"/>
                  </a:lnTo>
                  <a:lnTo>
                    <a:pt x="3122" y="855"/>
                  </a:lnTo>
                  <a:lnTo>
                    <a:pt x="3122" y="855"/>
                  </a:lnTo>
                  <a:lnTo>
                    <a:pt x="3117" y="855"/>
                  </a:lnTo>
                  <a:lnTo>
                    <a:pt x="3117" y="855"/>
                  </a:lnTo>
                  <a:lnTo>
                    <a:pt x="3117" y="855"/>
                  </a:lnTo>
                  <a:lnTo>
                    <a:pt x="3117" y="855"/>
                  </a:lnTo>
                  <a:lnTo>
                    <a:pt x="3117" y="855"/>
                  </a:lnTo>
                  <a:lnTo>
                    <a:pt x="3117" y="855"/>
                  </a:lnTo>
                  <a:lnTo>
                    <a:pt x="3117" y="850"/>
                  </a:lnTo>
                  <a:lnTo>
                    <a:pt x="3113" y="850"/>
                  </a:lnTo>
                  <a:lnTo>
                    <a:pt x="3113" y="850"/>
                  </a:lnTo>
                  <a:lnTo>
                    <a:pt x="3113" y="850"/>
                  </a:lnTo>
                  <a:lnTo>
                    <a:pt x="3113" y="850"/>
                  </a:lnTo>
                  <a:lnTo>
                    <a:pt x="3113" y="850"/>
                  </a:lnTo>
                  <a:lnTo>
                    <a:pt x="3113" y="855"/>
                  </a:lnTo>
                  <a:lnTo>
                    <a:pt x="3113" y="855"/>
                  </a:lnTo>
                  <a:lnTo>
                    <a:pt x="3113" y="855"/>
                  </a:lnTo>
                  <a:lnTo>
                    <a:pt x="3113" y="855"/>
                  </a:lnTo>
                  <a:lnTo>
                    <a:pt x="3113" y="855"/>
                  </a:lnTo>
                  <a:lnTo>
                    <a:pt x="3113" y="859"/>
                  </a:lnTo>
                  <a:lnTo>
                    <a:pt x="3113" y="859"/>
                  </a:lnTo>
                  <a:lnTo>
                    <a:pt x="3117" y="859"/>
                  </a:lnTo>
                  <a:lnTo>
                    <a:pt x="3117" y="859"/>
                  </a:lnTo>
                  <a:lnTo>
                    <a:pt x="3117" y="859"/>
                  </a:lnTo>
                  <a:lnTo>
                    <a:pt x="3117" y="859"/>
                  </a:lnTo>
                  <a:lnTo>
                    <a:pt x="3122" y="859"/>
                  </a:lnTo>
                  <a:lnTo>
                    <a:pt x="3122" y="859"/>
                  </a:lnTo>
                  <a:lnTo>
                    <a:pt x="3126" y="859"/>
                  </a:lnTo>
                  <a:lnTo>
                    <a:pt x="3126" y="859"/>
                  </a:lnTo>
                  <a:lnTo>
                    <a:pt x="3126" y="864"/>
                  </a:lnTo>
                  <a:lnTo>
                    <a:pt x="3126" y="868"/>
                  </a:lnTo>
                  <a:lnTo>
                    <a:pt x="3122" y="868"/>
                  </a:lnTo>
                  <a:lnTo>
                    <a:pt x="3122" y="868"/>
                  </a:lnTo>
                  <a:lnTo>
                    <a:pt x="3126" y="868"/>
                  </a:lnTo>
                  <a:lnTo>
                    <a:pt x="3126" y="873"/>
                  </a:lnTo>
                  <a:lnTo>
                    <a:pt x="3126" y="873"/>
                  </a:lnTo>
                  <a:lnTo>
                    <a:pt x="3126" y="873"/>
                  </a:lnTo>
                  <a:lnTo>
                    <a:pt x="3131" y="873"/>
                  </a:lnTo>
                  <a:lnTo>
                    <a:pt x="3131" y="873"/>
                  </a:lnTo>
                  <a:lnTo>
                    <a:pt x="3131" y="877"/>
                  </a:lnTo>
                  <a:lnTo>
                    <a:pt x="3131" y="877"/>
                  </a:lnTo>
                  <a:lnTo>
                    <a:pt x="3131" y="877"/>
                  </a:lnTo>
                  <a:lnTo>
                    <a:pt x="3126" y="877"/>
                  </a:lnTo>
                  <a:lnTo>
                    <a:pt x="3126" y="877"/>
                  </a:lnTo>
                  <a:lnTo>
                    <a:pt x="3126" y="882"/>
                  </a:lnTo>
                  <a:lnTo>
                    <a:pt x="3131" y="882"/>
                  </a:lnTo>
                  <a:lnTo>
                    <a:pt x="3131" y="877"/>
                  </a:lnTo>
                  <a:lnTo>
                    <a:pt x="3135" y="882"/>
                  </a:lnTo>
                  <a:lnTo>
                    <a:pt x="3140" y="877"/>
                  </a:lnTo>
                  <a:lnTo>
                    <a:pt x="3144" y="877"/>
                  </a:lnTo>
                  <a:lnTo>
                    <a:pt x="3144" y="882"/>
                  </a:lnTo>
                  <a:lnTo>
                    <a:pt x="3140" y="882"/>
                  </a:lnTo>
                  <a:lnTo>
                    <a:pt x="3140" y="882"/>
                  </a:lnTo>
                  <a:lnTo>
                    <a:pt x="3140" y="882"/>
                  </a:lnTo>
                  <a:lnTo>
                    <a:pt x="3135" y="882"/>
                  </a:lnTo>
                  <a:lnTo>
                    <a:pt x="3131" y="886"/>
                  </a:lnTo>
                  <a:lnTo>
                    <a:pt x="3131" y="886"/>
                  </a:lnTo>
                  <a:lnTo>
                    <a:pt x="3131" y="886"/>
                  </a:lnTo>
                  <a:lnTo>
                    <a:pt x="3131" y="886"/>
                  </a:lnTo>
                  <a:lnTo>
                    <a:pt x="3135" y="886"/>
                  </a:lnTo>
                  <a:lnTo>
                    <a:pt x="3135" y="886"/>
                  </a:lnTo>
                  <a:lnTo>
                    <a:pt x="3140" y="886"/>
                  </a:lnTo>
                  <a:lnTo>
                    <a:pt x="3140" y="886"/>
                  </a:lnTo>
                  <a:lnTo>
                    <a:pt x="3140" y="886"/>
                  </a:lnTo>
                  <a:lnTo>
                    <a:pt x="3140" y="886"/>
                  </a:lnTo>
                  <a:lnTo>
                    <a:pt x="3144" y="886"/>
                  </a:lnTo>
                  <a:lnTo>
                    <a:pt x="3144" y="882"/>
                  </a:lnTo>
                  <a:lnTo>
                    <a:pt x="3149" y="882"/>
                  </a:lnTo>
                  <a:lnTo>
                    <a:pt x="3153" y="886"/>
                  </a:lnTo>
                  <a:lnTo>
                    <a:pt x="3153" y="886"/>
                  </a:lnTo>
                  <a:lnTo>
                    <a:pt x="3153" y="886"/>
                  </a:lnTo>
                  <a:lnTo>
                    <a:pt x="3153" y="886"/>
                  </a:lnTo>
                  <a:lnTo>
                    <a:pt x="3158" y="886"/>
                  </a:lnTo>
                  <a:lnTo>
                    <a:pt x="3158" y="886"/>
                  </a:lnTo>
                  <a:lnTo>
                    <a:pt x="3158" y="886"/>
                  </a:lnTo>
                  <a:lnTo>
                    <a:pt x="3158" y="886"/>
                  </a:lnTo>
                  <a:lnTo>
                    <a:pt x="3158" y="891"/>
                  </a:lnTo>
                  <a:lnTo>
                    <a:pt x="3162" y="891"/>
                  </a:lnTo>
                  <a:lnTo>
                    <a:pt x="3162" y="895"/>
                  </a:lnTo>
                  <a:lnTo>
                    <a:pt x="3167" y="895"/>
                  </a:lnTo>
                  <a:lnTo>
                    <a:pt x="3171" y="895"/>
                  </a:lnTo>
                  <a:lnTo>
                    <a:pt x="3176" y="895"/>
                  </a:lnTo>
                  <a:lnTo>
                    <a:pt x="3176" y="891"/>
                  </a:lnTo>
                  <a:lnTo>
                    <a:pt x="3176" y="891"/>
                  </a:lnTo>
                  <a:lnTo>
                    <a:pt x="3180" y="895"/>
                  </a:lnTo>
                  <a:lnTo>
                    <a:pt x="3180" y="891"/>
                  </a:lnTo>
                  <a:lnTo>
                    <a:pt x="3180" y="891"/>
                  </a:lnTo>
                  <a:lnTo>
                    <a:pt x="3180" y="891"/>
                  </a:lnTo>
                  <a:lnTo>
                    <a:pt x="3180" y="886"/>
                  </a:lnTo>
                  <a:lnTo>
                    <a:pt x="3180" y="882"/>
                  </a:lnTo>
                  <a:lnTo>
                    <a:pt x="3180" y="882"/>
                  </a:lnTo>
                  <a:lnTo>
                    <a:pt x="3185" y="882"/>
                  </a:lnTo>
                  <a:lnTo>
                    <a:pt x="3189" y="882"/>
                  </a:lnTo>
                  <a:lnTo>
                    <a:pt x="3194" y="882"/>
                  </a:lnTo>
                  <a:lnTo>
                    <a:pt x="3199" y="886"/>
                  </a:lnTo>
                  <a:lnTo>
                    <a:pt x="3203" y="886"/>
                  </a:lnTo>
                  <a:lnTo>
                    <a:pt x="3208" y="891"/>
                  </a:lnTo>
                  <a:lnTo>
                    <a:pt x="3208" y="891"/>
                  </a:lnTo>
                  <a:lnTo>
                    <a:pt x="3212" y="895"/>
                  </a:lnTo>
                  <a:lnTo>
                    <a:pt x="3212" y="895"/>
                  </a:lnTo>
                  <a:lnTo>
                    <a:pt x="3217" y="895"/>
                  </a:lnTo>
                  <a:lnTo>
                    <a:pt x="3221" y="895"/>
                  </a:lnTo>
                  <a:lnTo>
                    <a:pt x="3221" y="895"/>
                  </a:lnTo>
                  <a:lnTo>
                    <a:pt x="3230" y="895"/>
                  </a:lnTo>
                  <a:lnTo>
                    <a:pt x="3230" y="895"/>
                  </a:lnTo>
                  <a:lnTo>
                    <a:pt x="3230" y="895"/>
                  </a:lnTo>
                  <a:lnTo>
                    <a:pt x="3235" y="891"/>
                  </a:lnTo>
                  <a:lnTo>
                    <a:pt x="3239" y="891"/>
                  </a:lnTo>
                  <a:lnTo>
                    <a:pt x="3239" y="886"/>
                  </a:lnTo>
                  <a:lnTo>
                    <a:pt x="3244" y="882"/>
                  </a:lnTo>
                  <a:lnTo>
                    <a:pt x="3248" y="882"/>
                  </a:lnTo>
                  <a:lnTo>
                    <a:pt x="3248" y="882"/>
                  </a:lnTo>
                  <a:lnTo>
                    <a:pt x="3253" y="882"/>
                  </a:lnTo>
                  <a:lnTo>
                    <a:pt x="3253" y="886"/>
                  </a:lnTo>
                  <a:lnTo>
                    <a:pt x="3257" y="886"/>
                  </a:lnTo>
                  <a:lnTo>
                    <a:pt x="3262" y="886"/>
                  </a:lnTo>
                  <a:lnTo>
                    <a:pt x="3262" y="886"/>
                  </a:lnTo>
                  <a:lnTo>
                    <a:pt x="3262" y="882"/>
                  </a:lnTo>
                  <a:lnTo>
                    <a:pt x="3262" y="882"/>
                  </a:lnTo>
                  <a:lnTo>
                    <a:pt x="3266" y="882"/>
                  </a:lnTo>
                  <a:lnTo>
                    <a:pt x="3266" y="882"/>
                  </a:lnTo>
                  <a:lnTo>
                    <a:pt x="3266" y="882"/>
                  </a:lnTo>
                  <a:lnTo>
                    <a:pt x="3271" y="882"/>
                  </a:lnTo>
                  <a:lnTo>
                    <a:pt x="3271" y="882"/>
                  </a:lnTo>
                  <a:lnTo>
                    <a:pt x="3271" y="882"/>
                  </a:lnTo>
                  <a:lnTo>
                    <a:pt x="3271" y="886"/>
                  </a:lnTo>
                  <a:lnTo>
                    <a:pt x="3271" y="886"/>
                  </a:lnTo>
                  <a:lnTo>
                    <a:pt x="3266" y="891"/>
                  </a:lnTo>
                  <a:lnTo>
                    <a:pt x="3266" y="891"/>
                  </a:lnTo>
                  <a:lnTo>
                    <a:pt x="3266" y="895"/>
                  </a:lnTo>
                  <a:lnTo>
                    <a:pt x="3271" y="895"/>
                  </a:lnTo>
                  <a:lnTo>
                    <a:pt x="3266" y="900"/>
                  </a:lnTo>
                  <a:lnTo>
                    <a:pt x="3266" y="900"/>
                  </a:lnTo>
                  <a:lnTo>
                    <a:pt x="3266" y="904"/>
                  </a:lnTo>
                  <a:lnTo>
                    <a:pt x="3271" y="909"/>
                  </a:lnTo>
                  <a:lnTo>
                    <a:pt x="3271" y="909"/>
                  </a:lnTo>
                  <a:lnTo>
                    <a:pt x="3271" y="909"/>
                  </a:lnTo>
                  <a:lnTo>
                    <a:pt x="3271" y="913"/>
                  </a:lnTo>
                  <a:lnTo>
                    <a:pt x="3271" y="913"/>
                  </a:lnTo>
                  <a:lnTo>
                    <a:pt x="3271" y="918"/>
                  </a:lnTo>
                  <a:lnTo>
                    <a:pt x="3271" y="918"/>
                  </a:lnTo>
                  <a:lnTo>
                    <a:pt x="3271" y="922"/>
                  </a:lnTo>
                  <a:lnTo>
                    <a:pt x="3271" y="922"/>
                  </a:lnTo>
                  <a:lnTo>
                    <a:pt x="3271" y="927"/>
                  </a:lnTo>
                  <a:lnTo>
                    <a:pt x="3271" y="927"/>
                  </a:lnTo>
                  <a:lnTo>
                    <a:pt x="3266" y="931"/>
                  </a:lnTo>
                  <a:lnTo>
                    <a:pt x="3266" y="936"/>
                  </a:lnTo>
                  <a:lnTo>
                    <a:pt x="3266" y="936"/>
                  </a:lnTo>
                  <a:lnTo>
                    <a:pt x="3262" y="945"/>
                  </a:lnTo>
                  <a:lnTo>
                    <a:pt x="3262" y="945"/>
                  </a:lnTo>
                  <a:lnTo>
                    <a:pt x="3262" y="950"/>
                  </a:lnTo>
                  <a:lnTo>
                    <a:pt x="3262" y="950"/>
                  </a:lnTo>
                  <a:lnTo>
                    <a:pt x="3262" y="954"/>
                  </a:lnTo>
                  <a:lnTo>
                    <a:pt x="3262" y="954"/>
                  </a:lnTo>
                  <a:lnTo>
                    <a:pt x="3262" y="959"/>
                  </a:lnTo>
                  <a:lnTo>
                    <a:pt x="3257" y="963"/>
                  </a:lnTo>
                  <a:lnTo>
                    <a:pt x="3257" y="968"/>
                  </a:lnTo>
                  <a:lnTo>
                    <a:pt x="3257" y="977"/>
                  </a:lnTo>
                  <a:lnTo>
                    <a:pt x="3253" y="981"/>
                  </a:lnTo>
                  <a:lnTo>
                    <a:pt x="3253" y="981"/>
                  </a:lnTo>
                  <a:lnTo>
                    <a:pt x="3253" y="981"/>
                  </a:lnTo>
                  <a:lnTo>
                    <a:pt x="3248" y="986"/>
                  </a:lnTo>
                  <a:lnTo>
                    <a:pt x="3248" y="986"/>
                  </a:lnTo>
                  <a:lnTo>
                    <a:pt x="3244" y="990"/>
                  </a:lnTo>
                  <a:lnTo>
                    <a:pt x="3239" y="990"/>
                  </a:lnTo>
                  <a:lnTo>
                    <a:pt x="3235" y="990"/>
                  </a:lnTo>
                  <a:lnTo>
                    <a:pt x="3235" y="990"/>
                  </a:lnTo>
                  <a:lnTo>
                    <a:pt x="3235" y="990"/>
                  </a:lnTo>
                  <a:lnTo>
                    <a:pt x="3230" y="990"/>
                  </a:lnTo>
                  <a:lnTo>
                    <a:pt x="3230" y="990"/>
                  </a:lnTo>
                  <a:lnTo>
                    <a:pt x="3226" y="990"/>
                  </a:lnTo>
                  <a:lnTo>
                    <a:pt x="3226" y="990"/>
                  </a:lnTo>
                  <a:lnTo>
                    <a:pt x="3226" y="990"/>
                  </a:lnTo>
                  <a:lnTo>
                    <a:pt x="3221" y="990"/>
                  </a:lnTo>
                  <a:lnTo>
                    <a:pt x="3217" y="986"/>
                  </a:lnTo>
                  <a:lnTo>
                    <a:pt x="3217" y="986"/>
                  </a:lnTo>
                  <a:lnTo>
                    <a:pt x="3217" y="986"/>
                  </a:lnTo>
                  <a:lnTo>
                    <a:pt x="3217" y="986"/>
                  </a:lnTo>
                  <a:lnTo>
                    <a:pt x="3217" y="990"/>
                  </a:lnTo>
                  <a:lnTo>
                    <a:pt x="3217" y="990"/>
                  </a:lnTo>
                  <a:lnTo>
                    <a:pt x="3217" y="990"/>
                  </a:lnTo>
                  <a:lnTo>
                    <a:pt x="3217" y="990"/>
                  </a:lnTo>
                  <a:lnTo>
                    <a:pt x="3212" y="986"/>
                  </a:lnTo>
                  <a:lnTo>
                    <a:pt x="3212" y="986"/>
                  </a:lnTo>
                  <a:lnTo>
                    <a:pt x="3208" y="986"/>
                  </a:lnTo>
                  <a:lnTo>
                    <a:pt x="3212" y="986"/>
                  </a:lnTo>
                  <a:lnTo>
                    <a:pt x="3212" y="981"/>
                  </a:lnTo>
                  <a:lnTo>
                    <a:pt x="3217" y="986"/>
                  </a:lnTo>
                  <a:lnTo>
                    <a:pt x="3217" y="986"/>
                  </a:lnTo>
                  <a:lnTo>
                    <a:pt x="3212" y="981"/>
                  </a:lnTo>
                  <a:lnTo>
                    <a:pt x="3212" y="981"/>
                  </a:lnTo>
                  <a:lnTo>
                    <a:pt x="3212" y="981"/>
                  </a:lnTo>
                  <a:lnTo>
                    <a:pt x="3208" y="981"/>
                  </a:lnTo>
                  <a:lnTo>
                    <a:pt x="3203" y="981"/>
                  </a:lnTo>
                  <a:lnTo>
                    <a:pt x="3199" y="981"/>
                  </a:lnTo>
                  <a:lnTo>
                    <a:pt x="3199" y="981"/>
                  </a:lnTo>
                  <a:lnTo>
                    <a:pt x="3199" y="981"/>
                  </a:lnTo>
                  <a:lnTo>
                    <a:pt x="3199" y="981"/>
                  </a:lnTo>
                  <a:lnTo>
                    <a:pt x="3199" y="981"/>
                  </a:lnTo>
                  <a:lnTo>
                    <a:pt x="3194" y="986"/>
                  </a:lnTo>
                  <a:lnTo>
                    <a:pt x="3194" y="986"/>
                  </a:lnTo>
                  <a:lnTo>
                    <a:pt x="3189" y="986"/>
                  </a:lnTo>
                  <a:lnTo>
                    <a:pt x="3194" y="981"/>
                  </a:lnTo>
                  <a:lnTo>
                    <a:pt x="3194" y="981"/>
                  </a:lnTo>
                  <a:lnTo>
                    <a:pt x="3189" y="981"/>
                  </a:lnTo>
                  <a:lnTo>
                    <a:pt x="3185" y="986"/>
                  </a:lnTo>
                  <a:lnTo>
                    <a:pt x="3185" y="986"/>
                  </a:lnTo>
                  <a:lnTo>
                    <a:pt x="3185" y="986"/>
                  </a:lnTo>
                  <a:lnTo>
                    <a:pt x="3185" y="986"/>
                  </a:lnTo>
                  <a:lnTo>
                    <a:pt x="3185" y="986"/>
                  </a:lnTo>
                  <a:lnTo>
                    <a:pt x="3180" y="986"/>
                  </a:lnTo>
                  <a:lnTo>
                    <a:pt x="3180" y="986"/>
                  </a:lnTo>
                  <a:lnTo>
                    <a:pt x="3180" y="986"/>
                  </a:lnTo>
                  <a:lnTo>
                    <a:pt x="3176" y="990"/>
                  </a:lnTo>
                  <a:lnTo>
                    <a:pt x="3171" y="995"/>
                  </a:lnTo>
                  <a:lnTo>
                    <a:pt x="3171" y="995"/>
                  </a:lnTo>
                  <a:lnTo>
                    <a:pt x="3167" y="995"/>
                  </a:lnTo>
                  <a:lnTo>
                    <a:pt x="3167" y="995"/>
                  </a:lnTo>
                  <a:lnTo>
                    <a:pt x="3162" y="995"/>
                  </a:lnTo>
                  <a:lnTo>
                    <a:pt x="3162" y="995"/>
                  </a:lnTo>
                  <a:lnTo>
                    <a:pt x="3158" y="990"/>
                  </a:lnTo>
                  <a:lnTo>
                    <a:pt x="3149" y="990"/>
                  </a:lnTo>
                  <a:lnTo>
                    <a:pt x="3144" y="990"/>
                  </a:lnTo>
                  <a:lnTo>
                    <a:pt x="3140" y="990"/>
                  </a:lnTo>
                  <a:lnTo>
                    <a:pt x="3140" y="990"/>
                  </a:lnTo>
                  <a:lnTo>
                    <a:pt x="3135" y="986"/>
                  </a:lnTo>
                  <a:lnTo>
                    <a:pt x="3126" y="986"/>
                  </a:lnTo>
                  <a:lnTo>
                    <a:pt x="3122" y="981"/>
                  </a:lnTo>
                  <a:lnTo>
                    <a:pt x="3113" y="981"/>
                  </a:lnTo>
                  <a:lnTo>
                    <a:pt x="3104" y="981"/>
                  </a:lnTo>
                  <a:lnTo>
                    <a:pt x="3104" y="981"/>
                  </a:lnTo>
                  <a:lnTo>
                    <a:pt x="3099" y="981"/>
                  </a:lnTo>
                  <a:lnTo>
                    <a:pt x="3099" y="981"/>
                  </a:lnTo>
                  <a:lnTo>
                    <a:pt x="3099" y="977"/>
                  </a:lnTo>
                  <a:lnTo>
                    <a:pt x="3099" y="977"/>
                  </a:lnTo>
                  <a:lnTo>
                    <a:pt x="3095" y="972"/>
                  </a:lnTo>
                  <a:lnTo>
                    <a:pt x="3095" y="972"/>
                  </a:lnTo>
                  <a:lnTo>
                    <a:pt x="3090" y="972"/>
                  </a:lnTo>
                  <a:lnTo>
                    <a:pt x="3086" y="972"/>
                  </a:lnTo>
                  <a:lnTo>
                    <a:pt x="3081" y="972"/>
                  </a:lnTo>
                  <a:lnTo>
                    <a:pt x="3081" y="972"/>
                  </a:lnTo>
                  <a:lnTo>
                    <a:pt x="3077" y="972"/>
                  </a:lnTo>
                  <a:lnTo>
                    <a:pt x="3068" y="972"/>
                  </a:lnTo>
                  <a:lnTo>
                    <a:pt x="3068" y="968"/>
                  </a:lnTo>
                  <a:lnTo>
                    <a:pt x="3068" y="968"/>
                  </a:lnTo>
                  <a:lnTo>
                    <a:pt x="3068" y="968"/>
                  </a:lnTo>
                  <a:lnTo>
                    <a:pt x="3068" y="963"/>
                  </a:lnTo>
                  <a:lnTo>
                    <a:pt x="3063" y="963"/>
                  </a:lnTo>
                  <a:lnTo>
                    <a:pt x="3058" y="959"/>
                  </a:lnTo>
                  <a:lnTo>
                    <a:pt x="3058" y="959"/>
                  </a:lnTo>
                  <a:lnTo>
                    <a:pt x="3054" y="959"/>
                  </a:lnTo>
                  <a:lnTo>
                    <a:pt x="3049" y="959"/>
                  </a:lnTo>
                  <a:lnTo>
                    <a:pt x="3045" y="959"/>
                  </a:lnTo>
                  <a:lnTo>
                    <a:pt x="3045" y="959"/>
                  </a:lnTo>
                  <a:lnTo>
                    <a:pt x="3040" y="959"/>
                  </a:lnTo>
                  <a:lnTo>
                    <a:pt x="3040" y="959"/>
                  </a:lnTo>
                  <a:lnTo>
                    <a:pt x="3036" y="959"/>
                  </a:lnTo>
                  <a:lnTo>
                    <a:pt x="3031" y="959"/>
                  </a:lnTo>
                  <a:lnTo>
                    <a:pt x="3027" y="963"/>
                  </a:lnTo>
                  <a:lnTo>
                    <a:pt x="3022" y="968"/>
                  </a:lnTo>
                  <a:lnTo>
                    <a:pt x="3018" y="972"/>
                  </a:lnTo>
                  <a:lnTo>
                    <a:pt x="3018" y="972"/>
                  </a:lnTo>
                  <a:lnTo>
                    <a:pt x="3018" y="977"/>
                  </a:lnTo>
                  <a:lnTo>
                    <a:pt x="3013" y="977"/>
                  </a:lnTo>
                  <a:lnTo>
                    <a:pt x="3018" y="981"/>
                  </a:lnTo>
                  <a:lnTo>
                    <a:pt x="3018" y="986"/>
                  </a:lnTo>
                  <a:lnTo>
                    <a:pt x="3018" y="986"/>
                  </a:lnTo>
                  <a:lnTo>
                    <a:pt x="3018" y="990"/>
                  </a:lnTo>
                  <a:lnTo>
                    <a:pt x="3018" y="990"/>
                  </a:lnTo>
                  <a:lnTo>
                    <a:pt x="3018" y="995"/>
                  </a:lnTo>
                  <a:lnTo>
                    <a:pt x="3018" y="995"/>
                  </a:lnTo>
                  <a:lnTo>
                    <a:pt x="3013" y="1004"/>
                  </a:lnTo>
                  <a:lnTo>
                    <a:pt x="3009" y="1004"/>
                  </a:lnTo>
                  <a:lnTo>
                    <a:pt x="3004" y="1008"/>
                  </a:lnTo>
                  <a:lnTo>
                    <a:pt x="3004" y="1008"/>
                  </a:lnTo>
                  <a:lnTo>
                    <a:pt x="3000" y="1008"/>
                  </a:lnTo>
                  <a:lnTo>
                    <a:pt x="2995" y="1004"/>
                  </a:lnTo>
                  <a:lnTo>
                    <a:pt x="2986" y="999"/>
                  </a:lnTo>
                  <a:lnTo>
                    <a:pt x="2982" y="995"/>
                  </a:lnTo>
                  <a:lnTo>
                    <a:pt x="2982" y="995"/>
                  </a:lnTo>
                  <a:lnTo>
                    <a:pt x="2973" y="990"/>
                  </a:lnTo>
                  <a:lnTo>
                    <a:pt x="2964" y="990"/>
                  </a:lnTo>
                  <a:lnTo>
                    <a:pt x="2959" y="990"/>
                  </a:lnTo>
                  <a:lnTo>
                    <a:pt x="2955" y="990"/>
                  </a:lnTo>
                  <a:lnTo>
                    <a:pt x="2950" y="986"/>
                  </a:lnTo>
                  <a:lnTo>
                    <a:pt x="2946" y="986"/>
                  </a:lnTo>
                  <a:lnTo>
                    <a:pt x="2946" y="986"/>
                  </a:lnTo>
                  <a:lnTo>
                    <a:pt x="2941" y="981"/>
                  </a:lnTo>
                  <a:lnTo>
                    <a:pt x="2941" y="977"/>
                  </a:lnTo>
                  <a:lnTo>
                    <a:pt x="2941" y="977"/>
                  </a:lnTo>
                  <a:lnTo>
                    <a:pt x="2941" y="972"/>
                  </a:lnTo>
                  <a:lnTo>
                    <a:pt x="2936" y="968"/>
                  </a:lnTo>
                  <a:lnTo>
                    <a:pt x="2936" y="968"/>
                  </a:lnTo>
                  <a:lnTo>
                    <a:pt x="2927" y="963"/>
                  </a:lnTo>
                  <a:lnTo>
                    <a:pt x="2923" y="963"/>
                  </a:lnTo>
                  <a:lnTo>
                    <a:pt x="2923" y="963"/>
                  </a:lnTo>
                  <a:lnTo>
                    <a:pt x="2918" y="963"/>
                  </a:lnTo>
                  <a:lnTo>
                    <a:pt x="2914" y="959"/>
                  </a:lnTo>
                  <a:lnTo>
                    <a:pt x="2914" y="959"/>
                  </a:lnTo>
                  <a:lnTo>
                    <a:pt x="2909" y="959"/>
                  </a:lnTo>
                  <a:lnTo>
                    <a:pt x="2905" y="959"/>
                  </a:lnTo>
                  <a:lnTo>
                    <a:pt x="2905" y="959"/>
                  </a:lnTo>
                  <a:lnTo>
                    <a:pt x="2896" y="959"/>
                  </a:lnTo>
                  <a:lnTo>
                    <a:pt x="2891" y="959"/>
                  </a:lnTo>
                  <a:lnTo>
                    <a:pt x="2891" y="959"/>
                  </a:lnTo>
                  <a:lnTo>
                    <a:pt x="2882" y="954"/>
                  </a:lnTo>
                  <a:lnTo>
                    <a:pt x="2878" y="954"/>
                  </a:lnTo>
                  <a:lnTo>
                    <a:pt x="2878" y="954"/>
                  </a:lnTo>
                  <a:lnTo>
                    <a:pt x="2873" y="950"/>
                  </a:lnTo>
                  <a:lnTo>
                    <a:pt x="2873" y="954"/>
                  </a:lnTo>
                  <a:lnTo>
                    <a:pt x="2873" y="950"/>
                  </a:lnTo>
                  <a:lnTo>
                    <a:pt x="2873" y="950"/>
                  </a:lnTo>
                  <a:lnTo>
                    <a:pt x="2873" y="950"/>
                  </a:lnTo>
                  <a:lnTo>
                    <a:pt x="2873" y="950"/>
                  </a:lnTo>
                  <a:lnTo>
                    <a:pt x="2873" y="950"/>
                  </a:lnTo>
                  <a:lnTo>
                    <a:pt x="2873" y="950"/>
                  </a:lnTo>
                  <a:lnTo>
                    <a:pt x="2869" y="945"/>
                  </a:lnTo>
                  <a:lnTo>
                    <a:pt x="2869" y="945"/>
                  </a:lnTo>
                  <a:lnTo>
                    <a:pt x="2869" y="945"/>
                  </a:lnTo>
                  <a:lnTo>
                    <a:pt x="2864" y="945"/>
                  </a:lnTo>
                  <a:lnTo>
                    <a:pt x="2864" y="945"/>
                  </a:lnTo>
                  <a:lnTo>
                    <a:pt x="2864" y="945"/>
                  </a:lnTo>
                  <a:lnTo>
                    <a:pt x="2864" y="945"/>
                  </a:lnTo>
                  <a:lnTo>
                    <a:pt x="2860" y="945"/>
                  </a:lnTo>
                  <a:lnTo>
                    <a:pt x="2860" y="940"/>
                  </a:lnTo>
                  <a:lnTo>
                    <a:pt x="2855" y="940"/>
                  </a:lnTo>
                  <a:lnTo>
                    <a:pt x="2855" y="936"/>
                  </a:lnTo>
                  <a:lnTo>
                    <a:pt x="2855" y="936"/>
                  </a:lnTo>
                  <a:lnTo>
                    <a:pt x="2855" y="931"/>
                  </a:lnTo>
                  <a:lnTo>
                    <a:pt x="2855" y="931"/>
                  </a:lnTo>
                  <a:lnTo>
                    <a:pt x="2855" y="931"/>
                  </a:lnTo>
                  <a:lnTo>
                    <a:pt x="2860" y="927"/>
                  </a:lnTo>
                  <a:lnTo>
                    <a:pt x="2864" y="922"/>
                  </a:lnTo>
                  <a:lnTo>
                    <a:pt x="2869" y="922"/>
                  </a:lnTo>
                  <a:lnTo>
                    <a:pt x="2869" y="918"/>
                  </a:lnTo>
                  <a:lnTo>
                    <a:pt x="2869" y="913"/>
                  </a:lnTo>
                  <a:lnTo>
                    <a:pt x="2869" y="913"/>
                  </a:lnTo>
                  <a:lnTo>
                    <a:pt x="2869" y="909"/>
                  </a:lnTo>
                  <a:lnTo>
                    <a:pt x="2869" y="909"/>
                  </a:lnTo>
                  <a:lnTo>
                    <a:pt x="2869" y="904"/>
                  </a:lnTo>
                  <a:lnTo>
                    <a:pt x="2864" y="904"/>
                  </a:lnTo>
                  <a:lnTo>
                    <a:pt x="2864" y="904"/>
                  </a:lnTo>
                  <a:lnTo>
                    <a:pt x="2864" y="900"/>
                  </a:lnTo>
                  <a:lnTo>
                    <a:pt x="2860" y="900"/>
                  </a:lnTo>
                  <a:lnTo>
                    <a:pt x="2860" y="895"/>
                  </a:lnTo>
                  <a:lnTo>
                    <a:pt x="2860" y="895"/>
                  </a:lnTo>
                  <a:lnTo>
                    <a:pt x="2860" y="895"/>
                  </a:lnTo>
                  <a:lnTo>
                    <a:pt x="2864" y="891"/>
                  </a:lnTo>
                  <a:lnTo>
                    <a:pt x="2864" y="891"/>
                  </a:lnTo>
                  <a:lnTo>
                    <a:pt x="2869" y="886"/>
                  </a:lnTo>
                  <a:lnTo>
                    <a:pt x="2869" y="882"/>
                  </a:lnTo>
                  <a:lnTo>
                    <a:pt x="2869" y="882"/>
                  </a:lnTo>
                  <a:lnTo>
                    <a:pt x="2869" y="882"/>
                  </a:lnTo>
                  <a:lnTo>
                    <a:pt x="2869" y="882"/>
                  </a:lnTo>
                  <a:lnTo>
                    <a:pt x="2869" y="882"/>
                  </a:lnTo>
                  <a:lnTo>
                    <a:pt x="2864" y="882"/>
                  </a:lnTo>
                  <a:lnTo>
                    <a:pt x="2860" y="882"/>
                  </a:lnTo>
                  <a:lnTo>
                    <a:pt x="2860" y="886"/>
                  </a:lnTo>
                  <a:lnTo>
                    <a:pt x="2860" y="886"/>
                  </a:lnTo>
                  <a:lnTo>
                    <a:pt x="2855" y="886"/>
                  </a:lnTo>
                  <a:lnTo>
                    <a:pt x="2860" y="882"/>
                  </a:lnTo>
                  <a:lnTo>
                    <a:pt x="2855" y="882"/>
                  </a:lnTo>
                  <a:lnTo>
                    <a:pt x="2855" y="877"/>
                  </a:lnTo>
                  <a:lnTo>
                    <a:pt x="2855" y="877"/>
                  </a:lnTo>
                  <a:lnTo>
                    <a:pt x="2851" y="877"/>
                  </a:lnTo>
                  <a:lnTo>
                    <a:pt x="2851" y="877"/>
                  </a:lnTo>
                  <a:lnTo>
                    <a:pt x="2851" y="877"/>
                  </a:lnTo>
                  <a:lnTo>
                    <a:pt x="2851" y="877"/>
                  </a:lnTo>
                  <a:lnTo>
                    <a:pt x="2851" y="877"/>
                  </a:lnTo>
                  <a:lnTo>
                    <a:pt x="2851" y="877"/>
                  </a:lnTo>
                  <a:lnTo>
                    <a:pt x="2851" y="877"/>
                  </a:lnTo>
                  <a:lnTo>
                    <a:pt x="2851" y="877"/>
                  </a:lnTo>
                  <a:lnTo>
                    <a:pt x="2851" y="873"/>
                  </a:lnTo>
                  <a:lnTo>
                    <a:pt x="2846" y="873"/>
                  </a:lnTo>
                  <a:lnTo>
                    <a:pt x="2837" y="877"/>
                  </a:lnTo>
                  <a:lnTo>
                    <a:pt x="2837" y="877"/>
                  </a:lnTo>
                  <a:lnTo>
                    <a:pt x="2833" y="882"/>
                  </a:lnTo>
                  <a:lnTo>
                    <a:pt x="2828" y="882"/>
                  </a:lnTo>
                  <a:lnTo>
                    <a:pt x="2824" y="882"/>
                  </a:lnTo>
                  <a:lnTo>
                    <a:pt x="2819" y="882"/>
                  </a:lnTo>
                  <a:lnTo>
                    <a:pt x="2819" y="882"/>
                  </a:lnTo>
                  <a:lnTo>
                    <a:pt x="2815" y="882"/>
                  </a:lnTo>
                  <a:lnTo>
                    <a:pt x="2810" y="882"/>
                  </a:lnTo>
                  <a:lnTo>
                    <a:pt x="2810" y="877"/>
                  </a:lnTo>
                  <a:lnTo>
                    <a:pt x="2810" y="882"/>
                  </a:lnTo>
                  <a:lnTo>
                    <a:pt x="2805" y="882"/>
                  </a:lnTo>
                  <a:lnTo>
                    <a:pt x="2805" y="882"/>
                  </a:lnTo>
                  <a:lnTo>
                    <a:pt x="2796" y="882"/>
                  </a:lnTo>
                  <a:lnTo>
                    <a:pt x="2796" y="877"/>
                  </a:lnTo>
                  <a:lnTo>
                    <a:pt x="2792" y="882"/>
                  </a:lnTo>
                  <a:lnTo>
                    <a:pt x="2792" y="882"/>
                  </a:lnTo>
                  <a:lnTo>
                    <a:pt x="2792" y="882"/>
                  </a:lnTo>
                  <a:lnTo>
                    <a:pt x="2783" y="886"/>
                  </a:lnTo>
                  <a:lnTo>
                    <a:pt x="2778" y="886"/>
                  </a:lnTo>
                  <a:lnTo>
                    <a:pt x="2778" y="886"/>
                  </a:lnTo>
                  <a:lnTo>
                    <a:pt x="2774" y="886"/>
                  </a:lnTo>
                  <a:lnTo>
                    <a:pt x="2774" y="886"/>
                  </a:lnTo>
                  <a:lnTo>
                    <a:pt x="2769" y="882"/>
                  </a:lnTo>
                  <a:lnTo>
                    <a:pt x="2769" y="882"/>
                  </a:lnTo>
                  <a:lnTo>
                    <a:pt x="2751" y="882"/>
                  </a:lnTo>
                  <a:lnTo>
                    <a:pt x="2751" y="886"/>
                  </a:lnTo>
                  <a:lnTo>
                    <a:pt x="2742" y="886"/>
                  </a:lnTo>
                  <a:lnTo>
                    <a:pt x="2738" y="886"/>
                  </a:lnTo>
                  <a:lnTo>
                    <a:pt x="2733" y="886"/>
                  </a:lnTo>
                  <a:lnTo>
                    <a:pt x="2729" y="886"/>
                  </a:lnTo>
                  <a:lnTo>
                    <a:pt x="2724" y="891"/>
                  </a:lnTo>
                  <a:lnTo>
                    <a:pt x="2711" y="891"/>
                  </a:lnTo>
                  <a:lnTo>
                    <a:pt x="2706" y="891"/>
                  </a:lnTo>
                  <a:lnTo>
                    <a:pt x="2706" y="891"/>
                  </a:lnTo>
                  <a:lnTo>
                    <a:pt x="2702" y="895"/>
                  </a:lnTo>
                  <a:lnTo>
                    <a:pt x="2697" y="895"/>
                  </a:lnTo>
                  <a:lnTo>
                    <a:pt x="2693" y="900"/>
                  </a:lnTo>
                  <a:lnTo>
                    <a:pt x="2693" y="900"/>
                  </a:lnTo>
                  <a:lnTo>
                    <a:pt x="2693" y="904"/>
                  </a:lnTo>
                  <a:lnTo>
                    <a:pt x="2688" y="904"/>
                  </a:lnTo>
                  <a:lnTo>
                    <a:pt x="2688" y="900"/>
                  </a:lnTo>
                  <a:lnTo>
                    <a:pt x="2684" y="900"/>
                  </a:lnTo>
                  <a:lnTo>
                    <a:pt x="2679" y="904"/>
                  </a:lnTo>
                  <a:lnTo>
                    <a:pt x="2674" y="909"/>
                  </a:lnTo>
                  <a:lnTo>
                    <a:pt x="2674" y="909"/>
                  </a:lnTo>
                  <a:lnTo>
                    <a:pt x="2670" y="913"/>
                  </a:lnTo>
                  <a:lnTo>
                    <a:pt x="2670" y="913"/>
                  </a:lnTo>
                  <a:lnTo>
                    <a:pt x="2665" y="913"/>
                  </a:lnTo>
                  <a:lnTo>
                    <a:pt x="2661" y="918"/>
                  </a:lnTo>
                  <a:lnTo>
                    <a:pt x="2661" y="918"/>
                  </a:lnTo>
                  <a:lnTo>
                    <a:pt x="2656" y="918"/>
                  </a:lnTo>
                  <a:lnTo>
                    <a:pt x="2652" y="913"/>
                  </a:lnTo>
                  <a:lnTo>
                    <a:pt x="2647" y="918"/>
                  </a:lnTo>
                  <a:lnTo>
                    <a:pt x="2647" y="913"/>
                  </a:lnTo>
                  <a:lnTo>
                    <a:pt x="2647" y="913"/>
                  </a:lnTo>
                  <a:lnTo>
                    <a:pt x="2647" y="913"/>
                  </a:lnTo>
                  <a:lnTo>
                    <a:pt x="2643" y="913"/>
                  </a:lnTo>
                  <a:lnTo>
                    <a:pt x="2643" y="913"/>
                  </a:lnTo>
                  <a:lnTo>
                    <a:pt x="2643" y="909"/>
                  </a:lnTo>
                  <a:lnTo>
                    <a:pt x="2643" y="909"/>
                  </a:lnTo>
                  <a:lnTo>
                    <a:pt x="2643" y="913"/>
                  </a:lnTo>
                  <a:lnTo>
                    <a:pt x="2638" y="913"/>
                  </a:lnTo>
                  <a:lnTo>
                    <a:pt x="2638" y="913"/>
                  </a:lnTo>
                  <a:lnTo>
                    <a:pt x="2634" y="913"/>
                  </a:lnTo>
                  <a:lnTo>
                    <a:pt x="2634" y="913"/>
                  </a:lnTo>
                  <a:lnTo>
                    <a:pt x="2629" y="913"/>
                  </a:lnTo>
                  <a:lnTo>
                    <a:pt x="2629" y="913"/>
                  </a:lnTo>
                  <a:lnTo>
                    <a:pt x="2620" y="913"/>
                  </a:lnTo>
                  <a:lnTo>
                    <a:pt x="2616" y="913"/>
                  </a:lnTo>
                  <a:lnTo>
                    <a:pt x="2616" y="913"/>
                  </a:lnTo>
                  <a:lnTo>
                    <a:pt x="2611" y="909"/>
                  </a:lnTo>
                  <a:lnTo>
                    <a:pt x="2607" y="904"/>
                  </a:lnTo>
                  <a:lnTo>
                    <a:pt x="2607" y="904"/>
                  </a:lnTo>
                  <a:lnTo>
                    <a:pt x="2607" y="900"/>
                  </a:lnTo>
                  <a:lnTo>
                    <a:pt x="2607" y="900"/>
                  </a:lnTo>
                  <a:lnTo>
                    <a:pt x="2607" y="900"/>
                  </a:lnTo>
                  <a:lnTo>
                    <a:pt x="2602" y="900"/>
                  </a:lnTo>
                  <a:lnTo>
                    <a:pt x="2602" y="900"/>
                  </a:lnTo>
                  <a:lnTo>
                    <a:pt x="2598" y="904"/>
                  </a:lnTo>
                  <a:lnTo>
                    <a:pt x="2598" y="904"/>
                  </a:lnTo>
                  <a:lnTo>
                    <a:pt x="2598" y="904"/>
                  </a:lnTo>
                  <a:lnTo>
                    <a:pt x="2589" y="922"/>
                  </a:lnTo>
                  <a:lnTo>
                    <a:pt x="2580" y="931"/>
                  </a:lnTo>
                  <a:lnTo>
                    <a:pt x="2580" y="936"/>
                  </a:lnTo>
                  <a:lnTo>
                    <a:pt x="2575" y="940"/>
                  </a:lnTo>
                  <a:lnTo>
                    <a:pt x="2566" y="945"/>
                  </a:lnTo>
                  <a:lnTo>
                    <a:pt x="2557" y="950"/>
                  </a:lnTo>
                  <a:lnTo>
                    <a:pt x="2552" y="950"/>
                  </a:lnTo>
                  <a:lnTo>
                    <a:pt x="2552" y="950"/>
                  </a:lnTo>
                  <a:lnTo>
                    <a:pt x="2548" y="954"/>
                  </a:lnTo>
                  <a:lnTo>
                    <a:pt x="2539" y="963"/>
                  </a:lnTo>
                  <a:lnTo>
                    <a:pt x="2539" y="963"/>
                  </a:lnTo>
                  <a:lnTo>
                    <a:pt x="2539" y="968"/>
                  </a:lnTo>
                  <a:lnTo>
                    <a:pt x="2534" y="972"/>
                  </a:lnTo>
                  <a:lnTo>
                    <a:pt x="2530" y="977"/>
                  </a:lnTo>
                  <a:lnTo>
                    <a:pt x="2530" y="986"/>
                  </a:lnTo>
                  <a:lnTo>
                    <a:pt x="2525" y="990"/>
                  </a:lnTo>
                  <a:lnTo>
                    <a:pt x="2525" y="995"/>
                  </a:lnTo>
                  <a:lnTo>
                    <a:pt x="2525" y="999"/>
                  </a:lnTo>
                  <a:lnTo>
                    <a:pt x="2525" y="999"/>
                  </a:lnTo>
                  <a:lnTo>
                    <a:pt x="2525" y="999"/>
                  </a:lnTo>
                  <a:lnTo>
                    <a:pt x="2530" y="1004"/>
                  </a:lnTo>
                  <a:lnTo>
                    <a:pt x="2530" y="1004"/>
                  </a:lnTo>
                  <a:lnTo>
                    <a:pt x="2530" y="1008"/>
                  </a:lnTo>
                  <a:lnTo>
                    <a:pt x="2525" y="1013"/>
                  </a:lnTo>
                  <a:lnTo>
                    <a:pt x="2525" y="1013"/>
                  </a:lnTo>
                  <a:lnTo>
                    <a:pt x="2521" y="1017"/>
                  </a:lnTo>
                  <a:lnTo>
                    <a:pt x="2521" y="1022"/>
                  </a:lnTo>
                  <a:lnTo>
                    <a:pt x="2512" y="1026"/>
                  </a:lnTo>
                  <a:lnTo>
                    <a:pt x="2512" y="1031"/>
                  </a:lnTo>
                  <a:lnTo>
                    <a:pt x="2503" y="1035"/>
                  </a:lnTo>
                  <a:lnTo>
                    <a:pt x="2498" y="1040"/>
                  </a:lnTo>
                  <a:lnTo>
                    <a:pt x="2498" y="1040"/>
                  </a:lnTo>
                  <a:lnTo>
                    <a:pt x="2494" y="1044"/>
                  </a:lnTo>
                  <a:lnTo>
                    <a:pt x="2489" y="1044"/>
                  </a:lnTo>
                  <a:lnTo>
                    <a:pt x="2480" y="1049"/>
                  </a:lnTo>
                  <a:lnTo>
                    <a:pt x="2476" y="1049"/>
                  </a:lnTo>
                  <a:lnTo>
                    <a:pt x="2471" y="1049"/>
                  </a:lnTo>
                  <a:lnTo>
                    <a:pt x="2471" y="1054"/>
                  </a:lnTo>
                  <a:lnTo>
                    <a:pt x="2467" y="1054"/>
                  </a:lnTo>
                  <a:lnTo>
                    <a:pt x="2467" y="1058"/>
                  </a:lnTo>
                  <a:lnTo>
                    <a:pt x="2462" y="1063"/>
                  </a:lnTo>
                  <a:lnTo>
                    <a:pt x="2462" y="1072"/>
                  </a:lnTo>
                  <a:lnTo>
                    <a:pt x="2458" y="1072"/>
                  </a:lnTo>
                  <a:lnTo>
                    <a:pt x="2458" y="1072"/>
                  </a:lnTo>
                  <a:lnTo>
                    <a:pt x="2453" y="1076"/>
                  </a:lnTo>
                  <a:lnTo>
                    <a:pt x="2449" y="1076"/>
                  </a:lnTo>
                  <a:lnTo>
                    <a:pt x="2444" y="1081"/>
                  </a:lnTo>
                  <a:lnTo>
                    <a:pt x="2444" y="1081"/>
                  </a:lnTo>
                  <a:lnTo>
                    <a:pt x="2444" y="1081"/>
                  </a:lnTo>
                  <a:lnTo>
                    <a:pt x="2444" y="1085"/>
                  </a:lnTo>
                  <a:lnTo>
                    <a:pt x="2440" y="1090"/>
                  </a:lnTo>
                  <a:lnTo>
                    <a:pt x="2440" y="1094"/>
                  </a:lnTo>
                  <a:lnTo>
                    <a:pt x="2435" y="1099"/>
                  </a:lnTo>
                  <a:lnTo>
                    <a:pt x="2435" y="1099"/>
                  </a:lnTo>
                  <a:lnTo>
                    <a:pt x="2435" y="1108"/>
                  </a:lnTo>
                  <a:lnTo>
                    <a:pt x="2435" y="1108"/>
                  </a:lnTo>
                  <a:lnTo>
                    <a:pt x="2431" y="1112"/>
                  </a:lnTo>
                  <a:lnTo>
                    <a:pt x="2431" y="1112"/>
                  </a:lnTo>
                  <a:lnTo>
                    <a:pt x="2421" y="1121"/>
                  </a:lnTo>
                  <a:lnTo>
                    <a:pt x="2417" y="1126"/>
                  </a:lnTo>
                  <a:lnTo>
                    <a:pt x="2417" y="1126"/>
                  </a:lnTo>
                  <a:lnTo>
                    <a:pt x="2417" y="1126"/>
                  </a:lnTo>
                  <a:lnTo>
                    <a:pt x="2412" y="1130"/>
                  </a:lnTo>
                  <a:lnTo>
                    <a:pt x="2417" y="1130"/>
                  </a:lnTo>
                  <a:lnTo>
                    <a:pt x="2417" y="1126"/>
                  </a:lnTo>
                  <a:lnTo>
                    <a:pt x="2417" y="1126"/>
                  </a:lnTo>
                  <a:lnTo>
                    <a:pt x="2417" y="1126"/>
                  </a:lnTo>
                  <a:lnTo>
                    <a:pt x="2417" y="1126"/>
                  </a:lnTo>
                  <a:lnTo>
                    <a:pt x="2417" y="1130"/>
                  </a:lnTo>
                  <a:lnTo>
                    <a:pt x="2412" y="1135"/>
                  </a:lnTo>
                  <a:lnTo>
                    <a:pt x="2412" y="1139"/>
                  </a:lnTo>
                  <a:lnTo>
                    <a:pt x="2408" y="1139"/>
                  </a:lnTo>
                  <a:lnTo>
                    <a:pt x="2412" y="1139"/>
                  </a:lnTo>
                  <a:lnTo>
                    <a:pt x="2408" y="1144"/>
                  </a:lnTo>
                  <a:lnTo>
                    <a:pt x="2408" y="1144"/>
                  </a:lnTo>
                  <a:lnTo>
                    <a:pt x="2408" y="1148"/>
                  </a:lnTo>
                  <a:lnTo>
                    <a:pt x="2403" y="1153"/>
                  </a:lnTo>
                  <a:lnTo>
                    <a:pt x="2399" y="1158"/>
                  </a:lnTo>
                  <a:lnTo>
                    <a:pt x="2399" y="1158"/>
                  </a:lnTo>
                  <a:lnTo>
                    <a:pt x="2394" y="1162"/>
                  </a:lnTo>
                  <a:lnTo>
                    <a:pt x="2394" y="1171"/>
                  </a:lnTo>
                  <a:lnTo>
                    <a:pt x="2390" y="1180"/>
                  </a:lnTo>
                  <a:lnTo>
                    <a:pt x="2394" y="1185"/>
                  </a:lnTo>
                  <a:lnTo>
                    <a:pt x="2394" y="1180"/>
                  </a:lnTo>
                  <a:lnTo>
                    <a:pt x="2394" y="1180"/>
                  </a:lnTo>
                  <a:lnTo>
                    <a:pt x="2394" y="1176"/>
                  </a:lnTo>
                  <a:lnTo>
                    <a:pt x="2394" y="1180"/>
                  </a:lnTo>
                  <a:lnTo>
                    <a:pt x="2399" y="1185"/>
                  </a:lnTo>
                  <a:lnTo>
                    <a:pt x="2399" y="1185"/>
                  </a:lnTo>
                  <a:lnTo>
                    <a:pt x="2399" y="1189"/>
                  </a:lnTo>
                  <a:lnTo>
                    <a:pt x="2403" y="1185"/>
                  </a:lnTo>
                  <a:lnTo>
                    <a:pt x="2403" y="1185"/>
                  </a:lnTo>
                  <a:lnTo>
                    <a:pt x="2403" y="1185"/>
                  </a:lnTo>
                  <a:lnTo>
                    <a:pt x="2403" y="1185"/>
                  </a:lnTo>
                  <a:lnTo>
                    <a:pt x="2403" y="1189"/>
                  </a:lnTo>
                  <a:lnTo>
                    <a:pt x="2408" y="1194"/>
                  </a:lnTo>
                  <a:lnTo>
                    <a:pt x="2403" y="1198"/>
                  </a:lnTo>
                  <a:lnTo>
                    <a:pt x="2403" y="1198"/>
                  </a:lnTo>
                  <a:lnTo>
                    <a:pt x="2403" y="1203"/>
                  </a:lnTo>
                  <a:lnTo>
                    <a:pt x="2403" y="1207"/>
                  </a:lnTo>
                  <a:lnTo>
                    <a:pt x="2403" y="1207"/>
                  </a:lnTo>
                  <a:lnTo>
                    <a:pt x="2403" y="1212"/>
                  </a:lnTo>
                  <a:lnTo>
                    <a:pt x="2399" y="1212"/>
                  </a:lnTo>
                  <a:lnTo>
                    <a:pt x="2399" y="1212"/>
                  </a:lnTo>
                  <a:lnTo>
                    <a:pt x="2399" y="1212"/>
                  </a:lnTo>
                  <a:lnTo>
                    <a:pt x="2403" y="1216"/>
                  </a:lnTo>
                  <a:lnTo>
                    <a:pt x="2403" y="1216"/>
                  </a:lnTo>
                  <a:lnTo>
                    <a:pt x="2403" y="1221"/>
                  </a:lnTo>
                  <a:lnTo>
                    <a:pt x="2408" y="1225"/>
                  </a:lnTo>
                  <a:lnTo>
                    <a:pt x="2408" y="1234"/>
                  </a:lnTo>
                  <a:lnTo>
                    <a:pt x="2408" y="1239"/>
                  </a:lnTo>
                  <a:lnTo>
                    <a:pt x="2403" y="1243"/>
                  </a:lnTo>
                  <a:lnTo>
                    <a:pt x="2403" y="1252"/>
                  </a:lnTo>
                  <a:lnTo>
                    <a:pt x="2399" y="1257"/>
                  </a:lnTo>
                  <a:lnTo>
                    <a:pt x="2399" y="1261"/>
                  </a:lnTo>
                  <a:lnTo>
                    <a:pt x="2399" y="1266"/>
                  </a:lnTo>
                  <a:lnTo>
                    <a:pt x="2394" y="1271"/>
                  </a:lnTo>
                  <a:lnTo>
                    <a:pt x="2394" y="1275"/>
                  </a:lnTo>
                  <a:lnTo>
                    <a:pt x="2394" y="1280"/>
                  </a:lnTo>
                  <a:lnTo>
                    <a:pt x="2390" y="1289"/>
                  </a:lnTo>
                  <a:lnTo>
                    <a:pt x="2385" y="1293"/>
                  </a:lnTo>
                  <a:lnTo>
                    <a:pt x="2381" y="1298"/>
                  </a:lnTo>
                  <a:lnTo>
                    <a:pt x="2376" y="1298"/>
                  </a:lnTo>
                  <a:lnTo>
                    <a:pt x="2381" y="1298"/>
                  </a:lnTo>
                  <a:lnTo>
                    <a:pt x="2381" y="1298"/>
                  </a:lnTo>
                  <a:lnTo>
                    <a:pt x="2381" y="1298"/>
                  </a:lnTo>
                  <a:lnTo>
                    <a:pt x="2381" y="1298"/>
                  </a:lnTo>
                  <a:lnTo>
                    <a:pt x="2385" y="1298"/>
                  </a:lnTo>
                  <a:lnTo>
                    <a:pt x="2385" y="1302"/>
                  </a:lnTo>
                  <a:lnTo>
                    <a:pt x="2385" y="1302"/>
                  </a:lnTo>
                  <a:lnTo>
                    <a:pt x="2390" y="1307"/>
                  </a:lnTo>
                  <a:lnTo>
                    <a:pt x="2390" y="1311"/>
                  </a:lnTo>
                  <a:lnTo>
                    <a:pt x="2390" y="1311"/>
                  </a:lnTo>
                  <a:lnTo>
                    <a:pt x="2390" y="1311"/>
                  </a:lnTo>
                  <a:lnTo>
                    <a:pt x="2394" y="1311"/>
                  </a:lnTo>
                  <a:lnTo>
                    <a:pt x="2394" y="1311"/>
                  </a:lnTo>
                  <a:lnTo>
                    <a:pt x="2394" y="1311"/>
                  </a:lnTo>
                  <a:lnTo>
                    <a:pt x="2390" y="1311"/>
                  </a:lnTo>
                  <a:lnTo>
                    <a:pt x="2390" y="1316"/>
                  </a:lnTo>
                  <a:lnTo>
                    <a:pt x="2390" y="1316"/>
                  </a:lnTo>
                  <a:lnTo>
                    <a:pt x="2394" y="1316"/>
                  </a:lnTo>
                  <a:lnTo>
                    <a:pt x="2394" y="1316"/>
                  </a:lnTo>
                  <a:lnTo>
                    <a:pt x="2394" y="1320"/>
                  </a:lnTo>
                  <a:lnTo>
                    <a:pt x="2394" y="1320"/>
                  </a:lnTo>
                  <a:lnTo>
                    <a:pt x="2394" y="1325"/>
                  </a:lnTo>
                  <a:lnTo>
                    <a:pt x="2399" y="1325"/>
                  </a:lnTo>
                  <a:lnTo>
                    <a:pt x="2399" y="1320"/>
                  </a:lnTo>
                  <a:lnTo>
                    <a:pt x="2408" y="1320"/>
                  </a:lnTo>
                  <a:lnTo>
                    <a:pt x="2412" y="1320"/>
                  </a:lnTo>
                  <a:lnTo>
                    <a:pt x="2412" y="1320"/>
                  </a:lnTo>
                  <a:lnTo>
                    <a:pt x="2412" y="1320"/>
                  </a:lnTo>
                  <a:lnTo>
                    <a:pt x="2412" y="1320"/>
                  </a:lnTo>
                  <a:lnTo>
                    <a:pt x="2408" y="1320"/>
                  </a:lnTo>
                  <a:lnTo>
                    <a:pt x="2408" y="1325"/>
                  </a:lnTo>
                  <a:lnTo>
                    <a:pt x="2403" y="1325"/>
                  </a:lnTo>
                  <a:lnTo>
                    <a:pt x="2399" y="1325"/>
                  </a:lnTo>
                  <a:lnTo>
                    <a:pt x="2399" y="1325"/>
                  </a:lnTo>
                  <a:lnTo>
                    <a:pt x="2399" y="1325"/>
                  </a:lnTo>
                  <a:lnTo>
                    <a:pt x="2399" y="1325"/>
                  </a:lnTo>
                  <a:lnTo>
                    <a:pt x="2394" y="1325"/>
                  </a:lnTo>
                  <a:lnTo>
                    <a:pt x="2394" y="1325"/>
                  </a:lnTo>
                  <a:lnTo>
                    <a:pt x="2394" y="1325"/>
                  </a:lnTo>
                  <a:lnTo>
                    <a:pt x="2394" y="1320"/>
                  </a:lnTo>
                  <a:lnTo>
                    <a:pt x="2390" y="1320"/>
                  </a:lnTo>
                  <a:lnTo>
                    <a:pt x="2390" y="1325"/>
                  </a:lnTo>
                  <a:lnTo>
                    <a:pt x="2390" y="1325"/>
                  </a:lnTo>
                  <a:lnTo>
                    <a:pt x="2390" y="1329"/>
                  </a:lnTo>
                  <a:lnTo>
                    <a:pt x="2390" y="1329"/>
                  </a:lnTo>
                  <a:lnTo>
                    <a:pt x="2390" y="1329"/>
                  </a:lnTo>
                  <a:lnTo>
                    <a:pt x="2390" y="1334"/>
                  </a:lnTo>
                  <a:lnTo>
                    <a:pt x="2390" y="1338"/>
                  </a:lnTo>
                  <a:lnTo>
                    <a:pt x="2390" y="1338"/>
                  </a:lnTo>
                  <a:lnTo>
                    <a:pt x="2390" y="1338"/>
                  </a:lnTo>
                  <a:lnTo>
                    <a:pt x="2390" y="1338"/>
                  </a:lnTo>
                  <a:lnTo>
                    <a:pt x="2390" y="1338"/>
                  </a:lnTo>
                  <a:lnTo>
                    <a:pt x="2390" y="1338"/>
                  </a:lnTo>
                  <a:lnTo>
                    <a:pt x="2390" y="1338"/>
                  </a:lnTo>
                  <a:lnTo>
                    <a:pt x="2394" y="1334"/>
                  </a:lnTo>
                  <a:lnTo>
                    <a:pt x="2394" y="1338"/>
                  </a:lnTo>
                  <a:lnTo>
                    <a:pt x="2394" y="1338"/>
                  </a:lnTo>
                  <a:lnTo>
                    <a:pt x="2394" y="1338"/>
                  </a:lnTo>
                  <a:lnTo>
                    <a:pt x="2394" y="1338"/>
                  </a:lnTo>
                  <a:lnTo>
                    <a:pt x="2394" y="1338"/>
                  </a:lnTo>
                  <a:lnTo>
                    <a:pt x="2394" y="1338"/>
                  </a:lnTo>
                  <a:lnTo>
                    <a:pt x="2390" y="1338"/>
                  </a:lnTo>
                  <a:lnTo>
                    <a:pt x="2390" y="1338"/>
                  </a:lnTo>
                  <a:lnTo>
                    <a:pt x="2390" y="1338"/>
                  </a:lnTo>
                  <a:lnTo>
                    <a:pt x="2390" y="1343"/>
                  </a:lnTo>
                  <a:lnTo>
                    <a:pt x="2390" y="1343"/>
                  </a:lnTo>
                  <a:lnTo>
                    <a:pt x="2394" y="1347"/>
                  </a:lnTo>
                  <a:lnTo>
                    <a:pt x="2399" y="1343"/>
                  </a:lnTo>
                  <a:lnTo>
                    <a:pt x="2399" y="1343"/>
                  </a:lnTo>
                  <a:lnTo>
                    <a:pt x="2399" y="1347"/>
                  </a:lnTo>
                  <a:lnTo>
                    <a:pt x="2399" y="1347"/>
                  </a:lnTo>
                  <a:lnTo>
                    <a:pt x="2394" y="1347"/>
                  </a:lnTo>
                  <a:lnTo>
                    <a:pt x="2399" y="1352"/>
                  </a:lnTo>
                  <a:lnTo>
                    <a:pt x="2399" y="1352"/>
                  </a:lnTo>
                  <a:lnTo>
                    <a:pt x="2403" y="1352"/>
                  </a:lnTo>
                  <a:lnTo>
                    <a:pt x="2403" y="1352"/>
                  </a:lnTo>
                  <a:lnTo>
                    <a:pt x="2403" y="1352"/>
                  </a:lnTo>
                  <a:lnTo>
                    <a:pt x="2403" y="1352"/>
                  </a:lnTo>
                  <a:lnTo>
                    <a:pt x="2403" y="1352"/>
                  </a:lnTo>
                  <a:lnTo>
                    <a:pt x="2408" y="1352"/>
                  </a:lnTo>
                  <a:lnTo>
                    <a:pt x="2412" y="1352"/>
                  </a:lnTo>
                  <a:lnTo>
                    <a:pt x="2412" y="1352"/>
                  </a:lnTo>
                  <a:lnTo>
                    <a:pt x="2417" y="1352"/>
                  </a:lnTo>
                  <a:lnTo>
                    <a:pt x="2417" y="1352"/>
                  </a:lnTo>
                  <a:lnTo>
                    <a:pt x="2417" y="1352"/>
                  </a:lnTo>
                  <a:lnTo>
                    <a:pt x="2417" y="1352"/>
                  </a:lnTo>
                  <a:lnTo>
                    <a:pt x="2417" y="1352"/>
                  </a:lnTo>
                  <a:lnTo>
                    <a:pt x="2417" y="1352"/>
                  </a:lnTo>
                  <a:lnTo>
                    <a:pt x="2417" y="1352"/>
                  </a:lnTo>
                  <a:lnTo>
                    <a:pt x="2412" y="1352"/>
                  </a:lnTo>
                  <a:lnTo>
                    <a:pt x="2412" y="1352"/>
                  </a:lnTo>
                  <a:lnTo>
                    <a:pt x="2412" y="1352"/>
                  </a:lnTo>
                  <a:lnTo>
                    <a:pt x="2412" y="1356"/>
                  </a:lnTo>
                  <a:lnTo>
                    <a:pt x="2412" y="1356"/>
                  </a:lnTo>
                  <a:lnTo>
                    <a:pt x="2412" y="1356"/>
                  </a:lnTo>
                  <a:lnTo>
                    <a:pt x="2412" y="1356"/>
                  </a:lnTo>
                  <a:lnTo>
                    <a:pt x="2417" y="1356"/>
                  </a:lnTo>
                  <a:lnTo>
                    <a:pt x="2417" y="1356"/>
                  </a:lnTo>
                  <a:lnTo>
                    <a:pt x="2417" y="1356"/>
                  </a:lnTo>
                  <a:lnTo>
                    <a:pt x="2417" y="1356"/>
                  </a:lnTo>
                  <a:lnTo>
                    <a:pt x="2417" y="1356"/>
                  </a:lnTo>
                  <a:lnTo>
                    <a:pt x="2412" y="1361"/>
                  </a:lnTo>
                  <a:lnTo>
                    <a:pt x="2412" y="1361"/>
                  </a:lnTo>
                  <a:lnTo>
                    <a:pt x="2412" y="1361"/>
                  </a:lnTo>
                  <a:lnTo>
                    <a:pt x="2412" y="1361"/>
                  </a:lnTo>
                  <a:lnTo>
                    <a:pt x="2412" y="1361"/>
                  </a:lnTo>
                  <a:lnTo>
                    <a:pt x="2412" y="1361"/>
                  </a:lnTo>
                  <a:lnTo>
                    <a:pt x="2412" y="1361"/>
                  </a:lnTo>
                  <a:lnTo>
                    <a:pt x="2412" y="1365"/>
                  </a:lnTo>
                  <a:lnTo>
                    <a:pt x="2412" y="1365"/>
                  </a:lnTo>
                  <a:lnTo>
                    <a:pt x="2412" y="1365"/>
                  </a:lnTo>
                  <a:lnTo>
                    <a:pt x="2412" y="1365"/>
                  </a:lnTo>
                  <a:lnTo>
                    <a:pt x="2417" y="1365"/>
                  </a:lnTo>
                  <a:lnTo>
                    <a:pt x="2417" y="1370"/>
                  </a:lnTo>
                  <a:lnTo>
                    <a:pt x="2417" y="1370"/>
                  </a:lnTo>
                  <a:lnTo>
                    <a:pt x="2417" y="1365"/>
                  </a:lnTo>
                  <a:lnTo>
                    <a:pt x="2417" y="1365"/>
                  </a:lnTo>
                  <a:lnTo>
                    <a:pt x="2417" y="1370"/>
                  </a:lnTo>
                  <a:lnTo>
                    <a:pt x="2417" y="1370"/>
                  </a:lnTo>
                  <a:lnTo>
                    <a:pt x="2417" y="1370"/>
                  </a:lnTo>
                  <a:lnTo>
                    <a:pt x="2417" y="1370"/>
                  </a:lnTo>
                  <a:lnTo>
                    <a:pt x="2421" y="1370"/>
                  </a:lnTo>
                  <a:lnTo>
                    <a:pt x="2421" y="1370"/>
                  </a:lnTo>
                  <a:lnTo>
                    <a:pt x="2421" y="1370"/>
                  </a:lnTo>
                  <a:lnTo>
                    <a:pt x="2421" y="1370"/>
                  </a:lnTo>
                  <a:lnTo>
                    <a:pt x="2421" y="1370"/>
                  </a:lnTo>
                  <a:lnTo>
                    <a:pt x="2421" y="1370"/>
                  </a:lnTo>
                  <a:lnTo>
                    <a:pt x="2426" y="1375"/>
                  </a:lnTo>
                  <a:lnTo>
                    <a:pt x="2426" y="1375"/>
                  </a:lnTo>
                  <a:lnTo>
                    <a:pt x="2426" y="1375"/>
                  </a:lnTo>
                  <a:lnTo>
                    <a:pt x="2426" y="1375"/>
                  </a:lnTo>
                  <a:lnTo>
                    <a:pt x="2426" y="1375"/>
                  </a:lnTo>
                  <a:lnTo>
                    <a:pt x="2426" y="1379"/>
                  </a:lnTo>
                  <a:lnTo>
                    <a:pt x="2431" y="1384"/>
                  </a:lnTo>
                  <a:lnTo>
                    <a:pt x="2435" y="1384"/>
                  </a:lnTo>
                  <a:lnTo>
                    <a:pt x="2435" y="1384"/>
                  </a:lnTo>
                  <a:lnTo>
                    <a:pt x="2435" y="1384"/>
                  </a:lnTo>
                  <a:lnTo>
                    <a:pt x="2435" y="1384"/>
                  </a:lnTo>
                  <a:lnTo>
                    <a:pt x="2435" y="1388"/>
                  </a:lnTo>
                  <a:lnTo>
                    <a:pt x="2435" y="1388"/>
                  </a:lnTo>
                  <a:lnTo>
                    <a:pt x="2440" y="1388"/>
                  </a:lnTo>
                  <a:lnTo>
                    <a:pt x="2440" y="1388"/>
                  </a:lnTo>
                  <a:lnTo>
                    <a:pt x="2440" y="1388"/>
                  </a:lnTo>
                  <a:lnTo>
                    <a:pt x="2440" y="1388"/>
                  </a:lnTo>
                  <a:lnTo>
                    <a:pt x="2440" y="1388"/>
                  </a:lnTo>
                  <a:lnTo>
                    <a:pt x="2440" y="1393"/>
                  </a:lnTo>
                  <a:lnTo>
                    <a:pt x="2440" y="1393"/>
                  </a:lnTo>
                  <a:lnTo>
                    <a:pt x="2440" y="1397"/>
                  </a:lnTo>
                  <a:lnTo>
                    <a:pt x="2444" y="1397"/>
                  </a:lnTo>
                  <a:lnTo>
                    <a:pt x="2444" y="1397"/>
                  </a:lnTo>
                  <a:lnTo>
                    <a:pt x="2444" y="1402"/>
                  </a:lnTo>
                  <a:lnTo>
                    <a:pt x="2444" y="1402"/>
                  </a:lnTo>
                  <a:lnTo>
                    <a:pt x="2449" y="1402"/>
                  </a:lnTo>
                  <a:lnTo>
                    <a:pt x="2449" y="1402"/>
                  </a:lnTo>
                  <a:lnTo>
                    <a:pt x="2449" y="1406"/>
                  </a:lnTo>
                  <a:lnTo>
                    <a:pt x="2449" y="1406"/>
                  </a:lnTo>
                  <a:lnTo>
                    <a:pt x="2449" y="1406"/>
                  </a:lnTo>
                  <a:lnTo>
                    <a:pt x="2449" y="1406"/>
                  </a:lnTo>
                  <a:lnTo>
                    <a:pt x="2453" y="1411"/>
                  </a:lnTo>
                  <a:lnTo>
                    <a:pt x="2453" y="1411"/>
                  </a:lnTo>
                  <a:lnTo>
                    <a:pt x="2449" y="1411"/>
                  </a:lnTo>
                  <a:lnTo>
                    <a:pt x="2449" y="1411"/>
                  </a:lnTo>
                  <a:lnTo>
                    <a:pt x="2449" y="1411"/>
                  </a:lnTo>
                  <a:lnTo>
                    <a:pt x="2449" y="1415"/>
                  </a:lnTo>
                  <a:lnTo>
                    <a:pt x="2449" y="1415"/>
                  </a:lnTo>
                  <a:lnTo>
                    <a:pt x="2453" y="1415"/>
                  </a:lnTo>
                  <a:lnTo>
                    <a:pt x="2453" y="1415"/>
                  </a:lnTo>
                  <a:lnTo>
                    <a:pt x="2453" y="1411"/>
                  </a:lnTo>
                  <a:lnTo>
                    <a:pt x="2453" y="1415"/>
                  </a:lnTo>
                  <a:lnTo>
                    <a:pt x="2453" y="1415"/>
                  </a:lnTo>
                  <a:lnTo>
                    <a:pt x="2453" y="1415"/>
                  </a:lnTo>
                  <a:lnTo>
                    <a:pt x="2453" y="1415"/>
                  </a:lnTo>
                  <a:lnTo>
                    <a:pt x="2449" y="1415"/>
                  </a:lnTo>
                  <a:lnTo>
                    <a:pt x="2449" y="1415"/>
                  </a:lnTo>
                  <a:lnTo>
                    <a:pt x="2449" y="1415"/>
                  </a:lnTo>
                  <a:lnTo>
                    <a:pt x="2449" y="1415"/>
                  </a:lnTo>
                  <a:lnTo>
                    <a:pt x="2449" y="1420"/>
                  </a:lnTo>
                  <a:lnTo>
                    <a:pt x="2449" y="1420"/>
                  </a:lnTo>
                  <a:lnTo>
                    <a:pt x="2453" y="1420"/>
                  </a:lnTo>
                  <a:lnTo>
                    <a:pt x="2453" y="1424"/>
                  </a:lnTo>
                  <a:lnTo>
                    <a:pt x="2453" y="1424"/>
                  </a:lnTo>
                  <a:lnTo>
                    <a:pt x="2453" y="1429"/>
                  </a:lnTo>
                  <a:lnTo>
                    <a:pt x="2453" y="1429"/>
                  </a:lnTo>
                  <a:lnTo>
                    <a:pt x="2458" y="1429"/>
                  </a:lnTo>
                  <a:lnTo>
                    <a:pt x="2458" y="1429"/>
                  </a:lnTo>
                  <a:lnTo>
                    <a:pt x="2458" y="1429"/>
                  </a:lnTo>
                  <a:lnTo>
                    <a:pt x="2462" y="1429"/>
                  </a:lnTo>
                  <a:lnTo>
                    <a:pt x="2462" y="1429"/>
                  </a:lnTo>
                  <a:lnTo>
                    <a:pt x="2462" y="1433"/>
                  </a:lnTo>
                  <a:lnTo>
                    <a:pt x="2462" y="1433"/>
                  </a:lnTo>
                  <a:lnTo>
                    <a:pt x="2462" y="1438"/>
                  </a:lnTo>
                  <a:lnTo>
                    <a:pt x="2462" y="1438"/>
                  </a:lnTo>
                  <a:lnTo>
                    <a:pt x="2462" y="1438"/>
                  </a:lnTo>
                  <a:lnTo>
                    <a:pt x="2471" y="1442"/>
                  </a:lnTo>
                  <a:lnTo>
                    <a:pt x="2476" y="1442"/>
                  </a:lnTo>
                  <a:lnTo>
                    <a:pt x="2476" y="1447"/>
                  </a:lnTo>
                  <a:lnTo>
                    <a:pt x="2476" y="1447"/>
                  </a:lnTo>
                  <a:lnTo>
                    <a:pt x="2480" y="1451"/>
                  </a:lnTo>
                  <a:lnTo>
                    <a:pt x="2485" y="1451"/>
                  </a:lnTo>
                  <a:lnTo>
                    <a:pt x="2489" y="1456"/>
                  </a:lnTo>
                  <a:lnTo>
                    <a:pt x="2489" y="1456"/>
                  </a:lnTo>
                  <a:lnTo>
                    <a:pt x="2494" y="1456"/>
                  </a:lnTo>
                  <a:lnTo>
                    <a:pt x="2494" y="1460"/>
                  </a:lnTo>
                  <a:lnTo>
                    <a:pt x="2498" y="1460"/>
                  </a:lnTo>
                  <a:lnTo>
                    <a:pt x="2498" y="1460"/>
                  </a:lnTo>
                  <a:lnTo>
                    <a:pt x="2512" y="1474"/>
                  </a:lnTo>
                  <a:lnTo>
                    <a:pt x="2516" y="1479"/>
                  </a:lnTo>
                  <a:lnTo>
                    <a:pt x="2521" y="1479"/>
                  </a:lnTo>
                  <a:lnTo>
                    <a:pt x="2534" y="1488"/>
                  </a:lnTo>
                  <a:lnTo>
                    <a:pt x="2539" y="1492"/>
                  </a:lnTo>
                  <a:lnTo>
                    <a:pt x="2543" y="1492"/>
                  </a:lnTo>
                  <a:lnTo>
                    <a:pt x="2548" y="1492"/>
                  </a:lnTo>
                  <a:lnTo>
                    <a:pt x="2548" y="1492"/>
                  </a:lnTo>
                  <a:lnTo>
                    <a:pt x="2552" y="1492"/>
                  </a:lnTo>
                  <a:lnTo>
                    <a:pt x="2557" y="1492"/>
                  </a:lnTo>
                  <a:lnTo>
                    <a:pt x="2557" y="1488"/>
                  </a:lnTo>
                  <a:lnTo>
                    <a:pt x="2557" y="1488"/>
                  </a:lnTo>
                  <a:lnTo>
                    <a:pt x="2562" y="1488"/>
                  </a:lnTo>
                  <a:lnTo>
                    <a:pt x="2571" y="1483"/>
                  </a:lnTo>
                  <a:lnTo>
                    <a:pt x="2575" y="1483"/>
                  </a:lnTo>
                  <a:lnTo>
                    <a:pt x="2580" y="1479"/>
                  </a:lnTo>
                  <a:lnTo>
                    <a:pt x="2589" y="1479"/>
                  </a:lnTo>
                  <a:lnTo>
                    <a:pt x="2589" y="1479"/>
                  </a:lnTo>
                  <a:lnTo>
                    <a:pt x="2584" y="1479"/>
                  </a:lnTo>
                  <a:lnTo>
                    <a:pt x="2584" y="1479"/>
                  </a:lnTo>
                  <a:lnTo>
                    <a:pt x="2584" y="1479"/>
                  </a:lnTo>
                  <a:lnTo>
                    <a:pt x="2584" y="1479"/>
                  </a:lnTo>
                  <a:lnTo>
                    <a:pt x="2589" y="1479"/>
                  </a:lnTo>
                  <a:lnTo>
                    <a:pt x="2593" y="1479"/>
                  </a:lnTo>
                  <a:lnTo>
                    <a:pt x="2593" y="1479"/>
                  </a:lnTo>
                  <a:lnTo>
                    <a:pt x="2598" y="1479"/>
                  </a:lnTo>
                  <a:lnTo>
                    <a:pt x="2607" y="1479"/>
                  </a:lnTo>
                  <a:lnTo>
                    <a:pt x="2607" y="1479"/>
                  </a:lnTo>
                  <a:lnTo>
                    <a:pt x="2607" y="1479"/>
                  </a:lnTo>
                  <a:lnTo>
                    <a:pt x="2598" y="1479"/>
                  </a:lnTo>
                  <a:lnTo>
                    <a:pt x="2598" y="1479"/>
                  </a:lnTo>
                  <a:lnTo>
                    <a:pt x="2602" y="1474"/>
                  </a:lnTo>
                  <a:lnTo>
                    <a:pt x="2607" y="1474"/>
                  </a:lnTo>
                  <a:lnTo>
                    <a:pt x="2607" y="1479"/>
                  </a:lnTo>
                  <a:lnTo>
                    <a:pt x="2611" y="1479"/>
                  </a:lnTo>
                  <a:lnTo>
                    <a:pt x="2620" y="1479"/>
                  </a:lnTo>
                  <a:lnTo>
                    <a:pt x="2620" y="1479"/>
                  </a:lnTo>
                  <a:lnTo>
                    <a:pt x="2620" y="1474"/>
                  </a:lnTo>
                  <a:lnTo>
                    <a:pt x="2620" y="1474"/>
                  </a:lnTo>
                  <a:lnTo>
                    <a:pt x="2625" y="1474"/>
                  </a:lnTo>
                  <a:lnTo>
                    <a:pt x="2625" y="1479"/>
                  </a:lnTo>
                  <a:lnTo>
                    <a:pt x="2625" y="1479"/>
                  </a:lnTo>
                  <a:lnTo>
                    <a:pt x="2625" y="1479"/>
                  </a:lnTo>
                  <a:lnTo>
                    <a:pt x="2625" y="1479"/>
                  </a:lnTo>
                  <a:lnTo>
                    <a:pt x="2625" y="1479"/>
                  </a:lnTo>
                  <a:lnTo>
                    <a:pt x="2620" y="1479"/>
                  </a:lnTo>
                  <a:lnTo>
                    <a:pt x="2620" y="1479"/>
                  </a:lnTo>
                  <a:lnTo>
                    <a:pt x="2625" y="1479"/>
                  </a:lnTo>
                  <a:lnTo>
                    <a:pt x="2625" y="1479"/>
                  </a:lnTo>
                  <a:lnTo>
                    <a:pt x="2625" y="1483"/>
                  </a:lnTo>
                  <a:lnTo>
                    <a:pt x="2629" y="1483"/>
                  </a:lnTo>
                  <a:lnTo>
                    <a:pt x="2638" y="1483"/>
                  </a:lnTo>
                  <a:lnTo>
                    <a:pt x="2638" y="1483"/>
                  </a:lnTo>
                  <a:lnTo>
                    <a:pt x="2643" y="1488"/>
                  </a:lnTo>
                  <a:lnTo>
                    <a:pt x="2643" y="1488"/>
                  </a:lnTo>
                  <a:lnTo>
                    <a:pt x="2647" y="1483"/>
                  </a:lnTo>
                  <a:lnTo>
                    <a:pt x="2647" y="1483"/>
                  </a:lnTo>
                  <a:lnTo>
                    <a:pt x="2652" y="1483"/>
                  </a:lnTo>
                  <a:lnTo>
                    <a:pt x="2661" y="1479"/>
                  </a:lnTo>
                  <a:lnTo>
                    <a:pt x="2665" y="1479"/>
                  </a:lnTo>
                  <a:lnTo>
                    <a:pt x="2665" y="1474"/>
                  </a:lnTo>
                  <a:lnTo>
                    <a:pt x="2670" y="1474"/>
                  </a:lnTo>
                  <a:lnTo>
                    <a:pt x="2670" y="1474"/>
                  </a:lnTo>
                  <a:lnTo>
                    <a:pt x="2674" y="1469"/>
                  </a:lnTo>
                  <a:lnTo>
                    <a:pt x="2684" y="1469"/>
                  </a:lnTo>
                  <a:lnTo>
                    <a:pt x="2688" y="1469"/>
                  </a:lnTo>
                  <a:lnTo>
                    <a:pt x="2693" y="1469"/>
                  </a:lnTo>
                  <a:lnTo>
                    <a:pt x="2693" y="1465"/>
                  </a:lnTo>
                  <a:lnTo>
                    <a:pt x="2697" y="1465"/>
                  </a:lnTo>
                  <a:lnTo>
                    <a:pt x="2697" y="1465"/>
                  </a:lnTo>
                  <a:lnTo>
                    <a:pt x="2697" y="1460"/>
                  </a:lnTo>
                  <a:lnTo>
                    <a:pt x="2697" y="1460"/>
                  </a:lnTo>
                  <a:lnTo>
                    <a:pt x="2702" y="1460"/>
                  </a:lnTo>
                  <a:lnTo>
                    <a:pt x="2706" y="1460"/>
                  </a:lnTo>
                  <a:lnTo>
                    <a:pt x="2711" y="1460"/>
                  </a:lnTo>
                  <a:lnTo>
                    <a:pt x="2720" y="1456"/>
                  </a:lnTo>
                  <a:lnTo>
                    <a:pt x="2724" y="1456"/>
                  </a:lnTo>
                  <a:lnTo>
                    <a:pt x="2729" y="1456"/>
                  </a:lnTo>
                  <a:lnTo>
                    <a:pt x="2738" y="1456"/>
                  </a:lnTo>
                  <a:lnTo>
                    <a:pt x="2738" y="1451"/>
                  </a:lnTo>
                  <a:lnTo>
                    <a:pt x="2738" y="1451"/>
                  </a:lnTo>
                  <a:lnTo>
                    <a:pt x="2742" y="1451"/>
                  </a:lnTo>
                  <a:lnTo>
                    <a:pt x="2742" y="1451"/>
                  </a:lnTo>
                  <a:lnTo>
                    <a:pt x="2742" y="1456"/>
                  </a:lnTo>
                  <a:lnTo>
                    <a:pt x="2738" y="1456"/>
                  </a:lnTo>
                  <a:lnTo>
                    <a:pt x="2738" y="1456"/>
                  </a:lnTo>
                  <a:lnTo>
                    <a:pt x="2738" y="1456"/>
                  </a:lnTo>
                  <a:lnTo>
                    <a:pt x="2751" y="1456"/>
                  </a:lnTo>
                  <a:lnTo>
                    <a:pt x="2756" y="1456"/>
                  </a:lnTo>
                  <a:lnTo>
                    <a:pt x="2760" y="1460"/>
                  </a:lnTo>
                  <a:lnTo>
                    <a:pt x="2765" y="1465"/>
                  </a:lnTo>
                  <a:lnTo>
                    <a:pt x="2765" y="1465"/>
                  </a:lnTo>
                  <a:lnTo>
                    <a:pt x="2765" y="1469"/>
                  </a:lnTo>
                  <a:lnTo>
                    <a:pt x="2769" y="1469"/>
                  </a:lnTo>
                  <a:lnTo>
                    <a:pt x="2769" y="1469"/>
                  </a:lnTo>
                  <a:lnTo>
                    <a:pt x="2769" y="1469"/>
                  </a:lnTo>
                  <a:lnTo>
                    <a:pt x="2769" y="1469"/>
                  </a:lnTo>
                  <a:lnTo>
                    <a:pt x="2769" y="1469"/>
                  </a:lnTo>
                  <a:lnTo>
                    <a:pt x="2769" y="1469"/>
                  </a:lnTo>
                  <a:lnTo>
                    <a:pt x="2769" y="1469"/>
                  </a:lnTo>
                  <a:lnTo>
                    <a:pt x="2769" y="1469"/>
                  </a:lnTo>
                  <a:lnTo>
                    <a:pt x="2774" y="1469"/>
                  </a:lnTo>
                  <a:lnTo>
                    <a:pt x="2774" y="1469"/>
                  </a:lnTo>
                  <a:lnTo>
                    <a:pt x="2774" y="1469"/>
                  </a:lnTo>
                  <a:lnTo>
                    <a:pt x="2769" y="1469"/>
                  </a:lnTo>
                  <a:lnTo>
                    <a:pt x="2769" y="1469"/>
                  </a:lnTo>
                  <a:lnTo>
                    <a:pt x="2769" y="1474"/>
                  </a:lnTo>
                  <a:lnTo>
                    <a:pt x="2769" y="1474"/>
                  </a:lnTo>
                  <a:lnTo>
                    <a:pt x="2774" y="1474"/>
                  </a:lnTo>
                  <a:lnTo>
                    <a:pt x="2774" y="1474"/>
                  </a:lnTo>
                  <a:lnTo>
                    <a:pt x="2774" y="1474"/>
                  </a:lnTo>
                  <a:lnTo>
                    <a:pt x="2774" y="1474"/>
                  </a:lnTo>
                  <a:lnTo>
                    <a:pt x="2774" y="1474"/>
                  </a:lnTo>
                  <a:lnTo>
                    <a:pt x="2774" y="1474"/>
                  </a:lnTo>
                  <a:lnTo>
                    <a:pt x="2774" y="1479"/>
                  </a:lnTo>
                  <a:lnTo>
                    <a:pt x="2774" y="1479"/>
                  </a:lnTo>
                  <a:lnTo>
                    <a:pt x="2774" y="1479"/>
                  </a:lnTo>
                  <a:lnTo>
                    <a:pt x="2774" y="1479"/>
                  </a:lnTo>
                  <a:lnTo>
                    <a:pt x="2774" y="1479"/>
                  </a:lnTo>
                  <a:lnTo>
                    <a:pt x="2774" y="1479"/>
                  </a:lnTo>
                  <a:lnTo>
                    <a:pt x="2774" y="1479"/>
                  </a:lnTo>
                  <a:lnTo>
                    <a:pt x="2774" y="1483"/>
                  </a:lnTo>
                  <a:lnTo>
                    <a:pt x="2774" y="1483"/>
                  </a:lnTo>
                  <a:lnTo>
                    <a:pt x="2774" y="1488"/>
                  </a:lnTo>
                  <a:lnTo>
                    <a:pt x="2774" y="1488"/>
                  </a:lnTo>
                  <a:lnTo>
                    <a:pt x="2778" y="1492"/>
                  </a:lnTo>
                  <a:lnTo>
                    <a:pt x="2783" y="1492"/>
                  </a:lnTo>
                  <a:lnTo>
                    <a:pt x="2783" y="1497"/>
                  </a:lnTo>
                  <a:lnTo>
                    <a:pt x="2783" y="1497"/>
                  </a:lnTo>
                  <a:lnTo>
                    <a:pt x="2787" y="1497"/>
                  </a:lnTo>
                  <a:lnTo>
                    <a:pt x="2787" y="1497"/>
                  </a:lnTo>
                  <a:lnTo>
                    <a:pt x="2787" y="1492"/>
                  </a:lnTo>
                  <a:lnTo>
                    <a:pt x="2787" y="1492"/>
                  </a:lnTo>
                  <a:lnTo>
                    <a:pt x="2787" y="1492"/>
                  </a:lnTo>
                  <a:lnTo>
                    <a:pt x="2787" y="1497"/>
                  </a:lnTo>
                  <a:lnTo>
                    <a:pt x="2787" y="1497"/>
                  </a:lnTo>
                  <a:lnTo>
                    <a:pt x="2787" y="1497"/>
                  </a:lnTo>
                  <a:lnTo>
                    <a:pt x="2792" y="1497"/>
                  </a:lnTo>
                  <a:lnTo>
                    <a:pt x="2792" y="1497"/>
                  </a:lnTo>
                  <a:lnTo>
                    <a:pt x="2792" y="1497"/>
                  </a:lnTo>
                  <a:lnTo>
                    <a:pt x="2792" y="1492"/>
                  </a:lnTo>
                  <a:lnTo>
                    <a:pt x="2792" y="1492"/>
                  </a:lnTo>
                  <a:lnTo>
                    <a:pt x="2792" y="1492"/>
                  </a:lnTo>
                  <a:lnTo>
                    <a:pt x="2792" y="1497"/>
                  </a:lnTo>
                  <a:lnTo>
                    <a:pt x="2796" y="1492"/>
                  </a:lnTo>
                  <a:lnTo>
                    <a:pt x="2796" y="1492"/>
                  </a:lnTo>
                  <a:lnTo>
                    <a:pt x="2796" y="1492"/>
                  </a:lnTo>
                  <a:lnTo>
                    <a:pt x="2796" y="1492"/>
                  </a:lnTo>
                  <a:lnTo>
                    <a:pt x="2796" y="1488"/>
                  </a:lnTo>
                  <a:lnTo>
                    <a:pt x="2796" y="1488"/>
                  </a:lnTo>
                  <a:lnTo>
                    <a:pt x="2796" y="1488"/>
                  </a:lnTo>
                  <a:lnTo>
                    <a:pt x="2796" y="1488"/>
                  </a:lnTo>
                  <a:lnTo>
                    <a:pt x="2796" y="1488"/>
                  </a:lnTo>
                  <a:lnTo>
                    <a:pt x="2796" y="1492"/>
                  </a:lnTo>
                  <a:lnTo>
                    <a:pt x="2796" y="1492"/>
                  </a:lnTo>
                  <a:lnTo>
                    <a:pt x="2801" y="1492"/>
                  </a:lnTo>
                  <a:lnTo>
                    <a:pt x="2801" y="1492"/>
                  </a:lnTo>
                  <a:lnTo>
                    <a:pt x="2801" y="1492"/>
                  </a:lnTo>
                  <a:lnTo>
                    <a:pt x="2801" y="1488"/>
                  </a:lnTo>
                  <a:lnTo>
                    <a:pt x="2801" y="1488"/>
                  </a:lnTo>
                  <a:lnTo>
                    <a:pt x="2801" y="1488"/>
                  </a:lnTo>
                  <a:lnTo>
                    <a:pt x="2801" y="1488"/>
                  </a:lnTo>
                  <a:lnTo>
                    <a:pt x="2805" y="1488"/>
                  </a:lnTo>
                  <a:lnTo>
                    <a:pt x="2805" y="1492"/>
                  </a:lnTo>
                  <a:lnTo>
                    <a:pt x="2810" y="1492"/>
                  </a:lnTo>
                  <a:lnTo>
                    <a:pt x="2810" y="1488"/>
                  </a:lnTo>
                  <a:lnTo>
                    <a:pt x="2810" y="1488"/>
                  </a:lnTo>
                  <a:lnTo>
                    <a:pt x="2810" y="1488"/>
                  </a:lnTo>
                  <a:lnTo>
                    <a:pt x="2810" y="1492"/>
                  </a:lnTo>
                  <a:lnTo>
                    <a:pt x="2810" y="1492"/>
                  </a:lnTo>
                  <a:lnTo>
                    <a:pt x="2815" y="1492"/>
                  </a:lnTo>
                  <a:lnTo>
                    <a:pt x="2819" y="1492"/>
                  </a:lnTo>
                  <a:lnTo>
                    <a:pt x="2824" y="1492"/>
                  </a:lnTo>
                  <a:lnTo>
                    <a:pt x="2824" y="1488"/>
                  </a:lnTo>
                  <a:lnTo>
                    <a:pt x="2824" y="1483"/>
                  </a:lnTo>
                  <a:lnTo>
                    <a:pt x="2824" y="1483"/>
                  </a:lnTo>
                  <a:lnTo>
                    <a:pt x="2824" y="1483"/>
                  </a:lnTo>
                  <a:lnTo>
                    <a:pt x="2824" y="1488"/>
                  </a:lnTo>
                  <a:lnTo>
                    <a:pt x="2824" y="1488"/>
                  </a:lnTo>
                  <a:lnTo>
                    <a:pt x="2828" y="1488"/>
                  </a:lnTo>
                  <a:lnTo>
                    <a:pt x="2828" y="1488"/>
                  </a:lnTo>
                  <a:lnTo>
                    <a:pt x="2828" y="1488"/>
                  </a:lnTo>
                  <a:lnTo>
                    <a:pt x="2828" y="1488"/>
                  </a:lnTo>
                  <a:lnTo>
                    <a:pt x="2828" y="1488"/>
                  </a:lnTo>
                  <a:lnTo>
                    <a:pt x="2828" y="1492"/>
                  </a:lnTo>
                  <a:lnTo>
                    <a:pt x="2828" y="1492"/>
                  </a:lnTo>
                  <a:lnTo>
                    <a:pt x="2828" y="1492"/>
                  </a:lnTo>
                  <a:lnTo>
                    <a:pt x="2828" y="1492"/>
                  </a:lnTo>
                  <a:lnTo>
                    <a:pt x="2828" y="1488"/>
                  </a:lnTo>
                  <a:lnTo>
                    <a:pt x="2828" y="1488"/>
                  </a:lnTo>
                  <a:lnTo>
                    <a:pt x="2833" y="1492"/>
                  </a:lnTo>
                  <a:lnTo>
                    <a:pt x="2833" y="1492"/>
                  </a:lnTo>
                  <a:lnTo>
                    <a:pt x="2833" y="1492"/>
                  </a:lnTo>
                  <a:lnTo>
                    <a:pt x="2833" y="1492"/>
                  </a:lnTo>
                  <a:lnTo>
                    <a:pt x="2833" y="1492"/>
                  </a:lnTo>
                  <a:lnTo>
                    <a:pt x="2833" y="1492"/>
                  </a:lnTo>
                  <a:lnTo>
                    <a:pt x="2833" y="1492"/>
                  </a:lnTo>
                  <a:lnTo>
                    <a:pt x="2833" y="1497"/>
                  </a:lnTo>
                  <a:lnTo>
                    <a:pt x="2833" y="1497"/>
                  </a:lnTo>
                  <a:lnTo>
                    <a:pt x="2837" y="1501"/>
                  </a:lnTo>
                  <a:lnTo>
                    <a:pt x="2837" y="1501"/>
                  </a:lnTo>
                  <a:lnTo>
                    <a:pt x="2842" y="1501"/>
                  </a:lnTo>
                  <a:lnTo>
                    <a:pt x="2842" y="1501"/>
                  </a:lnTo>
                  <a:lnTo>
                    <a:pt x="2842" y="1501"/>
                  </a:lnTo>
                  <a:lnTo>
                    <a:pt x="2842" y="1501"/>
                  </a:lnTo>
                  <a:lnTo>
                    <a:pt x="2842" y="1501"/>
                  </a:lnTo>
                  <a:lnTo>
                    <a:pt x="2842" y="1501"/>
                  </a:lnTo>
                  <a:lnTo>
                    <a:pt x="2842" y="1501"/>
                  </a:lnTo>
                  <a:lnTo>
                    <a:pt x="2842" y="1501"/>
                  </a:lnTo>
                  <a:lnTo>
                    <a:pt x="2846" y="1501"/>
                  </a:lnTo>
                  <a:lnTo>
                    <a:pt x="2846" y="1501"/>
                  </a:lnTo>
                  <a:lnTo>
                    <a:pt x="2846" y="1501"/>
                  </a:lnTo>
                  <a:lnTo>
                    <a:pt x="2846" y="1501"/>
                  </a:lnTo>
                  <a:lnTo>
                    <a:pt x="2846" y="1501"/>
                  </a:lnTo>
                  <a:lnTo>
                    <a:pt x="2846" y="1501"/>
                  </a:lnTo>
                  <a:lnTo>
                    <a:pt x="2846" y="1501"/>
                  </a:lnTo>
                  <a:lnTo>
                    <a:pt x="2846" y="1501"/>
                  </a:lnTo>
                  <a:lnTo>
                    <a:pt x="2846" y="1506"/>
                  </a:lnTo>
                  <a:lnTo>
                    <a:pt x="2846" y="1501"/>
                  </a:lnTo>
                  <a:lnTo>
                    <a:pt x="2846" y="1506"/>
                  </a:lnTo>
                  <a:lnTo>
                    <a:pt x="2846" y="1506"/>
                  </a:lnTo>
                  <a:lnTo>
                    <a:pt x="2846" y="1506"/>
                  </a:lnTo>
                  <a:lnTo>
                    <a:pt x="2846" y="1510"/>
                  </a:lnTo>
                  <a:lnTo>
                    <a:pt x="2851" y="1506"/>
                  </a:lnTo>
                  <a:lnTo>
                    <a:pt x="2846" y="1510"/>
                  </a:lnTo>
                  <a:lnTo>
                    <a:pt x="2851" y="1515"/>
                  </a:lnTo>
                  <a:lnTo>
                    <a:pt x="2851" y="1515"/>
                  </a:lnTo>
                  <a:lnTo>
                    <a:pt x="2851" y="1519"/>
                  </a:lnTo>
                  <a:lnTo>
                    <a:pt x="2851" y="1519"/>
                  </a:lnTo>
                  <a:lnTo>
                    <a:pt x="2851" y="1524"/>
                  </a:lnTo>
                  <a:lnTo>
                    <a:pt x="2851" y="1528"/>
                  </a:lnTo>
                  <a:lnTo>
                    <a:pt x="2851" y="1533"/>
                  </a:lnTo>
                  <a:lnTo>
                    <a:pt x="2851" y="1537"/>
                  </a:lnTo>
                  <a:lnTo>
                    <a:pt x="2851" y="1542"/>
                  </a:lnTo>
                  <a:lnTo>
                    <a:pt x="2846" y="1542"/>
                  </a:lnTo>
                  <a:lnTo>
                    <a:pt x="2846" y="1546"/>
                  </a:lnTo>
                  <a:lnTo>
                    <a:pt x="2846" y="1546"/>
                  </a:lnTo>
                  <a:lnTo>
                    <a:pt x="2846" y="1546"/>
                  </a:lnTo>
                  <a:lnTo>
                    <a:pt x="2842" y="1551"/>
                  </a:lnTo>
                  <a:lnTo>
                    <a:pt x="2842" y="1551"/>
                  </a:lnTo>
                  <a:lnTo>
                    <a:pt x="2842" y="1555"/>
                  </a:lnTo>
                  <a:lnTo>
                    <a:pt x="2842" y="1555"/>
                  </a:lnTo>
                  <a:lnTo>
                    <a:pt x="2846" y="1555"/>
                  </a:lnTo>
                  <a:lnTo>
                    <a:pt x="2846" y="1555"/>
                  </a:lnTo>
                  <a:lnTo>
                    <a:pt x="2846" y="1555"/>
                  </a:lnTo>
                  <a:lnTo>
                    <a:pt x="2846" y="1555"/>
                  </a:lnTo>
                  <a:lnTo>
                    <a:pt x="2846" y="1560"/>
                  </a:lnTo>
                  <a:lnTo>
                    <a:pt x="2846" y="1564"/>
                  </a:lnTo>
                  <a:lnTo>
                    <a:pt x="2846" y="1564"/>
                  </a:lnTo>
                  <a:lnTo>
                    <a:pt x="2846" y="1564"/>
                  </a:lnTo>
                  <a:lnTo>
                    <a:pt x="2846" y="1564"/>
                  </a:lnTo>
                  <a:lnTo>
                    <a:pt x="2846" y="1564"/>
                  </a:lnTo>
                  <a:lnTo>
                    <a:pt x="2842" y="1564"/>
                  </a:lnTo>
                  <a:lnTo>
                    <a:pt x="2842" y="1564"/>
                  </a:lnTo>
                  <a:lnTo>
                    <a:pt x="2842" y="1564"/>
                  </a:lnTo>
                  <a:lnTo>
                    <a:pt x="2842" y="1569"/>
                  </a:lnTo>
                  <a:lnTo>
                    <a:pt x="2842" y="1569"/>
                  </a:lnTo>
                  <a:lnTo>
                    <a:pt x="2846" y="1569"/>
                  </a:lnTo>
                  <a:lnTo>
                    <a:pt x="2851" y="1573"/>
                  </a:lnTo>
                  <a:lnTo>
                    <a:pt x="2851" y="1573"/>
                  </a:lnTo>
                  <a:lnTo>
                    <a:pt x="2851" y="1573"/>
                  </a:lnTo>
                  <a:lnTo>
                    <a:pt x="2851" y="1573"/>
                  </a:lnTo>
                  <a:lnTo>
                    <a:pt x="2851" y="1573"/>
                  </a:lnTo>
                  <a:lnTo>
                    <a:pt x="2846" y="1573"/>
                  </a:lnTo>
                  <a:lnTo>
                    <a:pt x="2846" y="1573"/>
                  </a:lnTo>
                  <a:lnTo>
                    <a:pt x="2842" y="1573"/>
                  </a:lnTo>
                  <a:lnTo>
                    <a:pt x="2842" y="1573"/>
                  </a:lnTo>
                  <a:lnTo>
                    <a:pt x="2842" y="1573"/>
                  </a:lnTo>
                  <a:lnTo>
                    <a:pt x="2842" y="1569"/>
                  </a:lnTo>
                  <a:lnTo>
                    <a:pt x="2842" y="1569"/>
                  </a:lnTo>
                  <a:lnTo>
                    <a:pt x="2842" y="1569"/>
                  </a:lnTo>
                  <a:lnTo>
                    <a:pt x="2842" y="1573"/>
                  </a:lnTo>
                  <a:lnTo>
                    <a:pt x="2842" y="1578"/>
                  </a:lnTo>
                  <a:lnTo>
                    <a:pt x="2842" y="1582"/>
                  </a:lnTo>
                  <a:lnTo>
                    <a:pt x="2837" y="1587"/>
                  </a:lnTo>
                  <a:lnTo>
                    <a:pt x="2837" y="1587"/>
                  </a:lnTo>
                  <a:lnTo>
                    <a:pt x="2837" y="1587"/>
                  </a:lnTo>
                  <a:lnTo>
                    <a:pt x="2837" y="1587"/>
                  </a:lnTo>
                  <a:lnTo>
                    <a:pt x="2833" y="1587"/>
                  </a:lnTo>
                  <a:lnTo>
                    <a:pt x="2833" y="1587"/>
                  </a:lnTo>
                  <a:lnTo>
                    <a:pt x="2833" y="1587"/>
                  </a:lnTo>
                  <a:lnTo>
                    <a:pt x="2828" y="1587"/>
                  </a:lnTo>
                  <a:lnTo>
                    <a:pt x="2833" y="1592"/>
                  </a:lnTo>
                  <a:lnTo>
                    <a:pt x="2833" y="1592"/>
                  </a:lnTo>
                  <a:lnTo>
                    <a:pt x="2833" y="1596"/>
                  </a:lnTo>
                  <a:lnTo>
                    <a:pt x="2833" y="1596"/>
                  </a:lnTo>
                  <a:lnTo>
                    <a:pt x="2837" y="1601"/>
                  </a:lnTo>
                  <a:lnTo>
                    <a:pt x="2837" y="1601"/>
                  </a:lnTo>
                  <a:lnTo>
                    <a:pt x="2842" y="1601"/>
                  </a:lnTo>
                  <a:lnTo>
                    <a:pt x="2842" y="1601"/>
                  </a:lnTo>
                  <a:lnTo>
                    <a:pt x="2842" y="1601"/>
                  </a:lnTo>
                  <a:lnTo>
                    <a:pt x="2842" y="1601"/>
                  </a:lnTo>
                  <a:lnTo>
                    <a:pt x="2842" y="1605"/>
                  </a:lnTo>
                  <a:lnTo>
                    <a:pt x="2842" y="1605"/>
                  </a:lnTo>
                  <a:lnTo>
                    <a:pt x="2842" y="1605"/>
                  </a:lnTo>
                  <a:lnTo>
                    <a:pt x="2842" y="1605"/>
                  </a:lnTo>
                  <a:lnTo>
                    <a:pt x="2842" y="1605"/>
                  </a:lnTo>
                  <a:lnTo>
                    <a:pt x="2842" y="1605"/>
                  </a:lnTo>
                  <a:lnTo>
                    <a:pt x="2846" y="1605"/>
                  </a:lnTo>
                  <a:lnTo>
                    <a:pt x="2842" y="1605"/>
                  </a:lnTo>
                  <a:lnTo>
                    <a:pt x="2842" y="1605"/>
                  </a:lnTo>
                  <a:lnTo>
                    <a:pt x="2842" y="1605"/>
                  </a:lnTo>
                  <a:lnTo>
                    <a:pt x="2837" y="1601"/>
                  </a:lnTo>
                  <a:lnTo>
                    <a:pt x="2837" y="1601"/>
                  </a:lnTo>
                  <a:lnTo>
                    <a:pt x="2837" y="1605"/>
                  </a:lnTo>
                  <a:lnTo>
                    <a:pt x="2842" y="1610"/>
                  </a:lnTo>
                  <a:lnTo>
                    <a:pt x="2842" y="1610"/>
                  </a:lnTo>
                  <a:lnTo>
                    <a:pt x="2842" y="1610"/>
                  </a:lnTo>
                  <a:lnTo>
                    <a:pt x="2842" y="1610"/>
                  </a:lnTo>
                  <a:lnTo>
                    <a:pt x="2842" y="1610"/>
                  </a:lnTo>
                  <a:lnTo>
                    <a:pt x="2842" y="1614"/>
                  </a:lnTo>
                  <a:lnTo>
                    <a:pt x="2842" y="1614"/>
                  </a:lnTo>
                  <a:lnTo>
                    <a:pt x="2842" y="1610"/>
                  </a:lnTo>
                  <a:lnTo>
                    <a:pt x="2842" y="1610"/>
                  </a:lnTo>
                  <a:lnTo>
                    <a:pt x="2842" y="1614"/>
                  </a:lnTo>
                  <a:lnTo>
                    <a:pt x="2842" y="1614"/>
                  </a:lnTo>
                  <a:lnTo>
                    <a:pt x="2846" y="1619"/>
                  </a:lnTo>
                  <a:lnTo>
                    <a:pt x="2846" y="1619"/>
                  </a:lnTo>
                  <a:lnTo>
                    <a:pt x="2846" y="1619"/>
                  </a:lnTo>
                  <a:lnTo>
                    <a:pt x="2846" y="1619"/>
                  </a:lnTo>
                  <a:lnTo>
                    <a:pt x="2846" y="1623"/>
                  </a:lnTo>
                  <a:lnTo>
                    <a:pt x="2851" y="1623"/>
                  </a:lnTo>
                  <a:lnTo>
                    <a:pt x="2851" y="1623"/>
                  </a:lnTo>
                  <a:lnTo>
                    <a:pt x="2851" y="1623"/>
                  </a:lnTo>
                  <a:lnTo>
                    <a:pt x="2855" y="1623"/>
                  </a:lnTo>
                  <a:lnTo>
                    <a:pt x="2855" y="1623"/>
                  </a:lnTo>
                  <a:lnTo>
                    <a:pt x="2851" y="1623"/>
                  </a:lnTo>
                  <a:lnTo>
                    <a:pt x="2851" y="1623"/>
                  </a:lnTo>
                  <a:lnTo>
                    <a:pt x="2846" y="1623"/>
                  </a:lnTo>
                  <a:lnTo>
                    <a:pt x="2846" y="1623"/>
                  </a:lnTo>
                  <a:lnTo>
                    <a:pt x="2851" y="1628"/>
                  </a:lnTo>
                  <a:lnTo>
                    <a:pt x="2860" y="1632"/>
                  </a:lnTo>
                  <a:lnTo>
                    <a:pt x="2864" y="1637"/>
                  </a:lnTo>
                  <a:lnTo>
                    <a:pt x="2864" y="1641"/>
                  </a:lnTo>
                  <a:lnTo>
                    <a:pt x="2869" y="1641"/>
                  </a:lnTo>
                  <a:lnTo>
                    <a:pt x="2869" y="1646"/>
                  </a:lnTo>
                  <a:lnTo>
                    <a:pt x="2869" y="1646"/>
                  </a:lnTo>
                  <a:lnTo>
                    <a:pt x="2873" y="1650"/>
                  </a:lnTo>
                  <a:lnTo>
                    <a:pt x="2878" y="1655"/>
                  </a:lnTo>
                  <a:lnTo>
                    <a:pt x="2878" y="1655"/>
                  </a:lnTo>
                  <a:lnTo>
                    <a:pt x="2882" y="1659"/>
                  </a:lnTo>
                  <a:lnTo>
                    <a:pt x="2882" y="1664"/>
                  </a:lnTo>
                  <a:lnTo>
                    <a:pt x="2882" y="1664"/>
                  </a:lnTo>
                  <a:lnTo>
                    <a:pt x="2882" y="1664"/>
                  </a:lnTo>
                  <a:lnTo>
                    <a:pt x="2882" y="1664"/>
                  </a:lnTo>
                  <a:lnTo>
                    <a:pt x="2887" y="1668"/>
                  </a:lnTo>
                  <a:lnTo>
                    <a:pt x="2887" y="1668"/>
                  </a:lnTo>
                  <a:lnTo>
                    <a:pt x="2887" y="1668"/>
                  </a:lnTo>
                  <a:lnTo>
                    <a:pt x="2887" y="1668"/>
                  </a:lnTo>
                  <a:lnTo>
                    <a:pt x="2887" y="1668"/>
                  </a:lnTo>
                  <a:lnTo>
                    <a:pt x="2891" y="1673"/>
                  </a:lnTo>
                  <a:lnTo>
                    <a:pt x="2891" y="1677"/>
                  </a:lnTo>
                  <a:lnTo>
                    <a:pt x="2891" y="1677"/>
                  </a:lnTo>
                  <a:lnTo>
                    <a:pt x="2891" y="1682"/>
                  </a:lnTo>
                  <a:lnTo>
                    <a:pt x="2891" y="1682"/>
                  </a:lnTo>
                  <a:lnTo>
                    <a:pt x="2891" y="1682"/>
                  </a:lnTo>
                  <a:lnTo>
                    <a:pt x="2891" y="1682"/>
                  </a:lnTo>
                  <a:lnTo>
                    <a:pt x="2891" y="1686"/>
                  </a:lnTo>
                  <a:lnTo>
                    <a:pt x="2891" y="1686"/>
                  </a:lnTo>
                  <a:lnTo>
                    <a:pt x="2896" y="1686"/>
                  </a:lnTo>
                  <a:lnTo>
                    <a:pt x="2896" y="1686"/>
                  </a:lnTo>
                  <a:lnTo>
                    <a:pt x="2896" y="1686"/>
                  </a:lnTo>
                  <a:lnTo>
                    <a:pt x="2900" y="1686"/>
                  </a:lnTo>
                  <a:lnTo>
                    <a:pt x="2900" y="1686"/>
                  </a:lnTo>
                  <a:lnTo>
                    <a:pt x="2900" y="1686"/>
                  </a:lnTo>
                  <a:lnTo>
                    <a:pt x="2905" y="1686"/>
                  </a:lnTo>
                  <a:lnTo>
                    <a:pt x="2905" y="1686"/>
                  </a:lnTo>
                  <a:lnTo>
                    <a:pt x="2905" y="1686"/>
                  </a:lnTo>
                  <a:lnTo>
                    <a:pt x="2900" y="1686"/>
                  </a:lnTo>
                  <a:lnTo>
                    <a:pt x="2896" y="1691"/>
                  </a:lnTo>
                  <a:lnTo>
                    <a:pt x="2896" y="1691"/>
                  </a:lnTo>
                  <a:lnTo>
                    <a:pt x="2891" y="1691"/>
                  </a:lnTo>
                  <a:lnTo>
                    <a:pt x="2891" y="1691"/>
                  </a:lnTo>
                  <a:lnTo>
                    <a:pt x="2891" y="1691"/>
                  </a:lnTo>
                  <a:lnTo>
                    <a:pt x="2896" y="1696"/>
                  </a:lnTo>
                  <a:lnTo>
                    <a:pt x="2896" y="1700"/>
                  </a:lnTo>
                  <a:lnTo>
                    <a:pt x="2900" y="1705"/>
                  </a:lnTo>
                  <a:lnTo>
                    <a:pt x="2900" y="1714"/>
                  </a:lnTo>
                  <a:lnTo>
                    <a:pt x="2905" y="1723"/>
                  </a:lnTo>
                  <a:lnTo>
                    <a:pt x="2909" y="1732"/>
                  </a:lnTo>
                  <a:lnTo>
                    <a:pt x="2909" y="1736"/>
                  </a:lnTo>
                  <a:lnTo>
                    <a:pt x="2909" y="1736"/>
                  </a:lnTo>
                  <a:lnTo>
                    <a:pt x="2909" y="1736"/>
                  </a:lnTo>
                  <a:lnTo>
                    <a:pt x="2909" y="1741"/>
                  </a:lnTo>
                  <a:lnTo>
                    <a:pt x="2905" y="1745"/>
                  </a:lnTo>
                  <a:lnTo>
                    <a:pt x="2905" y="1745"/>
                  </a:lnTo>
                  <a:lnTo>
                    <a:pt x="2905" y="1745"/>
                  </a:lnTo>
                  <a:lnTo>
                    <a:pt x="2905" y="1745"/>
                  </a:lnTo>
                  <a:lnTo>
                    <a:pt x="2905" y="1745"/>
                  </a:lnTo>
                  <a:lnTo>
                    <a:pt x="2905" y="1745"/>
                  </a:lnTo>
                  <a:lnTo>
                    <a:pt x="2905" y="1745"/>
                  </a:lnTo>
                  <a:lnTo>
                    <a:pt x="2905" y="1750"/>
                  </a:lnTo>
                  <a:lnTo>
                    <a:pt x="2909" y="1754"/>
                  </a:lnTo>
                  <a:lnTo>
                    <a:pt x="2909" y="1754"/>
                  </a:lnTo>
                  <a:lnTo>
                    <a:pt x="2909" y="1759"/>
                  </a:lnTo>
                  <a:lnTo>
                    <a:pt x="2909" y="1759"/>
                  </a:lnTo>
                  <a:lnTo>
                    <a:pt x="2909" y="1763"/>
                  </a:lnTo>
                  <a:lnTo>
                    <a:pt x="2914" y="1768"/>
                  </a:lnTo>
                  <a:lnTo>
                    <a:pt x="2914" y="1772"/>
                  </a:lnTo>
                  <a:lnTo>
                    <a:pt x="2914" y="1772"/>
                  </a:lnTo>
                  <a:lnTo>
                    <a:pt x="2918" y="1777"/>
                  </a:lnTo>
                  <a:lnTo>
                    <a:pt x="2918" y="1777"/>
                  </a:lnTo>
                  <a:lnTo>
                    <a:pt x="2918" y="1781"/>
                  </a:lnTo>
                  <a:lnTo>
                    <a:pt x="2918" y="1781"/>
                  </a:lnTo>
                  <a:lnTo>
                    <a:pt x="2918" y="1790"/>
                  </a:lnTo>
                  <a:lnTo>
                    <a:pt x="2918" y="1800"/>
                  </a:lnTo>
                  <a:lnTo>
                    <a:pt x="2918" y="1804"/>
                  </a:lnTo>
                  <a:lnTo>
                    <a:pt x="2914" y="1809"/>
                  </a:lnTo>
                  <a:lnTo>
                    <a:pt x="2914" y="1813"/>
                  </a:lnTo>
                  <a:lnTo>
                    <a:pt x="2909" y="1813"/>
                  </a:lnTo>
                  <a:lnTo>
                    <a:pt x="2905" y="1818"/>
                  </a:lnTo>
                  <a:lnTo>
                    <a:pt x="2905" y="1822"/>
                  </a:lnTo>
                  <a:lnTo>
                    <a:pt x="2896" y="1827"/>
                  </a:lnTo>
                  <a:lnTo>
                    <a:pt x="2896" y="1836"/>
                  </a:lnTo>
                  <a:lnTo>
                    <a:pt x="2896" y="1840"/>
                  </a:lnTo>
                  <a:lnTo>
                    <a:pt x="2891" y="1849"/>
                  </a:lnTo>
                  <a:lnTo>
                    <a:pt x="2887" y="1863"/>
                  </a:lnTo>
                  <a:lnTo>
                    <a:pt x="2887" y="1867"/>
                  </a:lnTo>
                  <a:lnTo>
                    <a:pt x="2887" y="1872"/>
                  </a:lnTo>
                  <a:lnTo>
                    <a:pt x="2887" y="1872"/>
                  </a:lnTo>
                  <a:lnTo>
                    <a:pt x="2882" y="1872"/>
                  </a:lnTo>
                  <a:lnTo>
                    <a:pt x="2882" y="1872"/>
                  </a:lnTo>
                  <a:lnTo>
                    <a:pt x="2882" y="1876"/>
                  </a:lnTo>
                  <a:lnTo>
                    <a:pt x="2882" y="1876"/>
                  </a:lnTo>
                  <a:lnTo>
                    <a:pt x="2882" y="1885"/>
                  </a:lnTo>
                  <a:lnTo>
                    <a:pt x="2882" y="1890"/>
                  </a:lnTo>
                  <a:lnTo>
                    <a:pt x="2882" y="1894"/>
                  </a:lnTo>
                  <a:lnTo>
                    <a:pt x="2882" y="1899"/>
                  </a:lnTo>
                  <a:lnTo>
                    <a:pt x="2882" y="1904"/>
                  </a:lnTo>
                  <a:lnTo>
                    <a:pt x="2882" y="1908"/>
                  </a:lnTo>
                  <a:lnTo>
                    <a:pt x="2882" y="1913"/>
                  </a:lnTo>
                  <a:lnTo>
                    <a:pt x="2887" y="1917"/>
                  </a:lnTo>
                  <a:lnTo>
                    <a:pt x="2887" y="1922"/>
                  </a:lnTo>
                  <a:lnTo>
                    <a:pt x="2887" y="1926"/>
                  </a:lnTo>
                  <a:lnTo>
                    <a:pt x="2891" y="1926"/>
                  </a:lnTo>
                  <a:lnTo>
                    <a:pt x="2896" y="1931"/>
                  </a:lnTo>
                  <a:lnTo>
                    <a:pt x="2905" y="1953"/>
                  </a:lnTo>
                  <a:lnTo>
                    <a:pt x="2905" y="1953"/>
                  </a:lnTo>
                  <a:lnTo>
                    <a:pt x="2909" y="1962"/>
                  </a:lnTo>
                  <a:lnTo>
                    <a:pt x="2909" y="1967"/>
                  </a:lnTo>
                  <a:lnTo>
                    <a:pt x="2918" y="1980"/>
                  </a:lnTo>
                  <a:lnTo>
                    <a:pt x="2918" y="1980"/>
                  </a:lnTo>
                  <a:lnTo>
                    <a:pt x="2918" y="1985"/>
                  </a:lnTo>
                  <a:lnTo>
                    <a:pt x="2927" y="1994"/>
                  </a:lnTo>
                  <a:lnTo>
                    <a:pt x="2927" y="1998"/>
                  </a:lnTo>
                  <a:lnTo>
                    <a:pt x="2927" y="2003"/>
                  </a:lnTo>
                  <a:lnTo>
                    <a:pt x="2927" y="2003"/>
                  </a:lnTo>
                  <a:lnTo>
                    <a:pt x="2927" y="2007"/>
                  </a:lnTo>
                  <a:lnTo>
                    <a:pt x="2927" y="2007"/>
                  </a:lnTo>
                  <a:lnTo>
                    <a:pt x="2927" y="2007"/>
                  </a:lnTo>
                  <a:lnTo>
                    <a:pt x="2927" y="2007"/>
                  </a:lnTo>
                  <a:lnTo>
                    <a:pt x="2927" y="2007"/>
                  </a:lnTo>
                  <a:lnTo>
                    <a:pt x="2927" y="2012"/>
                  </a:lnTo>
                  <a:lnTo>
                    <a:pt x="2927" y="2017"/>
                  </a:lnTo>
                  <a:lnTo>
                    <a:pt x="2927" y="2021"/>
                  </a:lnTo>
                  <a:lnTo>
                    <a:pt x="2927" y="2026"/>
                  </a:lnTo>
                  <a:lnTo>
                    <a:pt x="2927" y="2030"/>
                  </a:lnTo>
                  <a:lnTo>
                    <a:pt x="2932" y="2039"/>
                  </a:lnTo>
                  <a:lnTo>
                    <a:pt x="2932" y="2044"/>
                  </a:lnTo>
                  <a:lnTo>
                    <a:pt x="2932" y="2048"/>
                  </a:lnTo>
                  <a:lnTo>
                    <a:pt x="2932" y="2048"/>
                  </a:lnTo>
                  <a:lnTo>
                    <a:pt x="2932" y="2053"/>
                  </a:lnTo>
                  <a:lnTo>
                    <a:pt x="2932" y="2057"/>
                  </a:lnTo>
                  <a:lnTo>
                    <a:pt x="2932" y="2057"/>
                  </a:lnTo>
                  <a:lnTo>
                    <a:pt x="2936" y="2062"/>
                  </a:lnTo>
                  <a:lnTo>
                    <a:pt x="2936" y="2071"/>
                  </a:lnTo>
                  <a:lnTo>
                    <a:pt x="2936" y="2071"/>
                  </a:lnTo>
                  <a:lnTo>
                    <a:pt x="2936" y="2075"/>
                  </a:lnTo>
                  <a:lnTo>
                    <a:pt x="2941" y="2075"/>
                  </a:lnTo>
                  <a:lnTo>
                    <a:pt x="2936" y="2075"/>
                  </a:lnTo>
                  <a:lnTo>
                    <a:pt x="2936" y="2080"/>
                  </a:lnTo>
                  <a:lnTo>
                    <a:pt x="2941" y="2084"/>
                  </a:lnTo>
                  <a:lnTo>
                    <a:pt x="2941" y="2089"/>
                  </a:lnTo>
                  <a:lnTo>
                    <a:pt x="2941" y="2089"/>
                  </a:lnTo>
                  <a:lnTo>
                    <a:pt x="2946" y="2102"/>
                  </a:lnTo>
                  <a:lnTo>
                    <a:pt x="2950" y="2107"/>
                  </a:lnTo>
                  <a:lnTo>
                    <a:pt x="2955" y="2107"/>
                  </a:lnTo>
                  <a:lnTo>
                    <a:pt x="2959" y="2111"/>
                  </a:lnTo>
                  <a:lnTo>
                    <a:pt x="2959" y="2111"/>
                  </a:lnTo>
                  <a:lnTo>
                    <a:pt x="2959" y="2116"/>
                  </a:lnTo>
                  <a:lnTo>
                    <a:pt x="2964" y="2121"/>
                  </a:lnTo>
                  <a:lnTo>
                    <a:pt x="2968" y="2130"/>
                  </a:lnTo>
                  <a:lnTo>
                    <a:pt x="2973" y="2143"/>
                  </a:lnTo>
                  <a:lnTo>
                    <a:pt x="2973" y="2148"/>
                  </a:lnTo>
                  <a:lnTo>
                    <a:pt x="2977" y="2157"/>
                  </a:lnTo>
                  <a:lnTo>
                    <a:pt x="2982" y="2166"/>
                  </a:lnTo>
                  <a:lnTo>
                    <a:pt x="2986" y="2170"/>
                  </a:lnTo>
                  <a:lnTo>
                    <a:pt x="2986" y="2170"/>
                  </a:lnTo>
                  <a:lnTo>
                    <a:pt x="2986" y="2179"/>
                  </a:lnTo>
                  <a:lnTo>
                    <a:pt x="2991" y="2184"/>
                  </a:lnTo>
                  <a:lnTo>
                    <a:pt x="2986" y="2188"/>
                  </a:lnTo>
                  <a:lnTo>
                    <a:pt x="2986" y="2188"/>
                  </a:lnTo>
                  <a:lnTo>
                    <a:pt x="2986" y="2193"/>
                  </a:lnTo>
                  <a:lnTo>
                    <a:pt x="2982" y="2193"/>
                  </a:lnTo>
                  <a:lnTo>
                    <a:pt x="2982" y="2188"/>
                  </a:lnTo>
                  <a:lnTo>
                    <a:pt x="2982" y="2193"/>
                  </a:lnTo>
                  <a:lnTo>
                    <a:pt x="2982" y="2193"/>
                  </a:lnTo>
                  <a:lnTo>
                    <a:pt x="2982" y="2197"/>
                  </a:lnTo>
                  <a:lnTo>
                    <a:pt x="2982" y="2197"/>
                  </a:lnTo>
                  <a:lnTo>
                    <a:pt x="2982" y="2197"/>
                  </a:lnTo>
                  <a:lnTo>
                    <a:pt x="2982" y="2202"/>
                  </a:lnTo>
                  <a:lnTo>
                    <a:pt x="2986" y="2202"/>
                  </a:lnTo>
                  <a:lnTo>
                    <a:pt x="2986" y="2202"/>
                  </a:lnTo>
                  <a:lnTo>
                    <a:pt x="2986" y="2206"/>
                  </a:lnTo>
                  <a:lnTo>
                    <a:pt x="2991" y="2211"/>
                  </a:lnTo>
                  <a:lnTo>
                    <a:pt x="2991" y="2211"/>
                  </a:lnTo>
                  <a:lnTo>
                    <a:pt x="2991" y="2211"/>
                  </a:lnTo>
                  <a:lnTo>
                    <a:pt x="2986" y="2215"/>
                  </a:lnTo>
                  <a:lnTo>
                    <a:pt x="2986" y="2215"/>
                  </a:lnTo>
                  <a:lnTo>
                    <a:pt x="2986" y="2220"/>
                  </a:lnTo>
                  <a:lnTo>
                    <a:pt x="2991" y="2220"/>
                  </a:lnTo>
                  <a:lnTo>
                    <a:pt x="2991" y="2220"/>
                  </a:lnTo>
                  <a:lnTo>
                    <a:pt x="2991" y="2220"/>
                  </a:lnTo>
                  <a:lnTo>
                    <a:pt x="2991" y="2215"/>
                  </a:lnTo>
                  <a:lnTo>
                    <a:pt x="2991" y="2215"/>
                  </a:lnTo>
                  <a:lnTo>
                    <a:pt x="2991" y="2215"/>
                  </a:lnTo>
                  <a:lnTo>
                    <a:pt x="2995" y="2215"/>
                  </a:lnTo>
                  <a:lnTo>
                    <a:pt x="2995" y="2215"/>
                  </a:lnTo>
                  <a:lnTo>
                    <a:pt x="2995" y="2215"/>
                  </a:lnTo>
                  <a:lnTo>
                    <a:pt x="2995" y="2220"/>
                  </a:lnTo>
                  <a:lnTo>
                    <a:pt x="2995" y="2220"/>
                  </a:lnTo>
                  <a:lnTo>
                    <a:pt x="2995" y="2220"/>
                  </a:lnTo>
                  <a:lnTo>
                    <a:pt x="2995" y="2220"/>
                  </a:lnTo>
                  <a:lnTo>
                    <a:pt x="2995" y="2220"/>
                  </a:lnTo>
                  <a:lnTo>
                    <a:pt x="2995" y="2220"/>
                  </a:lnTo>
                  <a:lnTo>
                    <a:pt x="3000" y="2220"/>
                  </a:lnTo>
                  <a:lnTo>
                    <a:pt x="3000" y="2225"/>
                  </a:lnTo>
                  <a:lnTo>
                    <a:pt x="3004" y="2225"/>
                  </a:lnTo>
                  <a:lnTo>
                    <a:pt x="3004" y="2225"/>
                  </a:lnTo>
                  <a:lnTo>
                    <a:pt x="3004" y="2225"/>
                  </a:lnTo>
                  <a:lnTo>
                    <a:pt x="3004" y="2225"/>
                  </a:lnTo>
                  <a:lnTo>
                    <a:pt x="3004" y="2225"/>
                  </a:lnTo>
                  <a:lnTo>
                    <a:pt x="3004" y="2225"/>
                  </a:lnTo>
                  <a:lnTo>
                    <a:pt x="3009" y="2229"/>
                  </a:lnTo>
                  <a:lnTo>
                    <a:pt x="3013" y="2229"/>
                  </a:lnTo>
                  <a:lnTo>
                    <a:pt x="3013" y="2229"/>
                  </a:lnTo>
                  <a:lnTo>
                    <a:pt x="3013" y="2229"/>
                  </a:lnTo>
                  <a:lnTo>
                    <a:pt x="3022" y="2225"/>
                  </a:lnTo>
                  <a:lnTo>
                    <a:pt x="3022" y="2225"/>
                  </a:lnTo>
                  <a:lnTo>
                    <a:pt x="3027" y="2225"/>
                  </a:lnTo>
                  <a:lnTo>
                    <a:pt x="3027" y="2225"/>
                  </a:lnTo>
                  <a:lnTo>
                    <a:pt x="3031" y="2220"/>
                  </a:lnTo>
                  <a:lnTo>
                    <a:pt x="3031" y="2220"/>
                  </a:lnTo>
                  <a:lnTo>
                    <a:pt x="3036" y="2225"/>
                  </a:lnTo>
                  <a:lnTo>
                    <a:pt x="3036" y="2225"/>
                  </a:lnTo>
                  <a:lnTo>
                    <a:pt x="3040" y="2220"/>
                  </a:lnTo>
                  <a:lnTo>
                    <a:pt x="3045" y="2220"/>
                  </a:lnTo>
                  <a:lnTo>
                    <a:pt x="3049" y="2215"/>
                  </a:lnTo>
                  <a:lnTo>
                    <a:pt x="3054" y="2215"/>
                  </a:lnTo>
                  <a:lnTo>
                    <a:pt x="3054" y="2215"/>
                  </a:lnTo>
                  <a:lnTo>
                    <a:pt x="3058" y="2215"/>
                  </a:lnTo>
                  <a:lnTo>
                    <a:pt x="3063" y="2215"/>
                  </a:lnTo>
                  <a:lnTo>
                    <a:pt x="3068" y="2215"/>
                  </a:lnTo>
                  <a:lnTo>
                    <a:pt x="3068" y="2215"/>
                  </a:lnTo>
                  <a:lnTo>
                    <a:pt x="3072" y="2215"/>
                  </a:lnTo>
                  <a:lnTo>
                    <a:pt x="3077" y="2215"/>
                  </a:lnTo>
                  <a:lnTo>
                    <a:pt x="3081" y="2215"/>
                  </a:lnTo>
                  <a:lnTo>
                    <a:pt x="3090" y="2220"/>
                  </a:lnTo>
                  <a:lnTo>
                    <a:pt x="3095" y="2220"/>
                  </a:lnTo>
                  <a:lnTo>
                    <a:pt x="3095" y="2215"/>
                  </a:lnTo>
                  <a:lnTo>
                    <a:pt x="3095" y="2215"/>
                  </a:lnTo>
                  <a:lnTo>
                    <a:pt x="3099" y="2215"/>
                  </a:lnTo>
                  <a:lnTo>
                    <a:pt x="3104" y="2215"/>
                  </a:lnTo>
                  <a:lnTo>
                    <a:pt x="3104" y="2215"/>
                  </a:lnTo>
                  <a:lnTo>
                    <a:pt x="3104" y="2215"/>
                  </a:lnTo>
                  <a:lnTo>
                    <a:pt x="3108" y="2211"/>
                  </a:lnTo>
                  <a:lnTo>
                    <a:pt x="3108" y="2211"/>
                  </a:lnTo>
                  <a:lnTo>
                    <a:pt x="3113" y="2211"/>
                  </a:lnTo>
                  <a:lnTo>
                    <a:pt x="3117" y="2211"/>
                  </a:lnTo>
                  <a:lnTo>
                    <a:pt x="3122" y="2211"/>
                  </a:lnTo>
                  <a:lnTo>
                    <a:pt x="3131" y="2206"/>
                  </a:lnTo>
                  <a:lnTo>
                    <a:pt x="3135" y="2202"/>
                  </a:lnTo>
                  <a:lnTo>
                    <a:pt x="3140" y="2197"/>
                  </a:lnTo>
                  <a:lnTo>
                    <a:pt x="3144" y="2197"/>
                  </a:lnTo>
                  <a:lnTo>
                    <a:pt x="3149" y="2193"/>
                  </a:lnTo>
                  <a:lnTo>
                    <a:pt x="3153" y="2188"/>
                  </a:lnTo>
                  <a:lnTo>
                    <a:pt x="3162" y="2184"/>
                  </a:lnTo>
                  <a:lnTo>
                    <a:pt x="3167" y="2179"/>
                  </a:lnTo>
                  <a:lnTo>
                    <a:pt x="3171" y="2170"/>
                  </a:lnTo>
                  <a:lnTo>
                    <a:pt x="3176" y="2170"/>
                  </a:lnTo>
                  <a:lnTo>
                    <a:pt x="3176" y="2166"/>
                  </a:lnTo>
                  <a:lnTo>
                    <a:pt x="3180" y="2166"/>
                  </a:lnTo>
                  <a:lnTo>
                    <a:pt x="3185" y="2161"/>
                  </a:lnTo>
                  <a:lnTo>
                    <a:pt x="3189" y="2152"/>
                  </a:lnTo>
                  <a:lnTo>
                    <a:pt x="3194" y="2148"/>
                  </a:lnTo>
                  <a:lnTo>
                    <a:pt x="3199" y="2143"/>
                  </a:lnTo>
                  <a:lnTo>
                    <a:pt x="3199" y="2139"/>
                  </a:lnTo>
                  <a:lnTo>
                    <a:pt x="3203" y="2134"/>
                  </a:lnTo>
                  <a:lnTo>
                    <a:pt x="3203" y="2130"/>
                  </a:lnTo>
                  <a:lnTo>
                    <a:pt x="3212" y="2121"/>
                  </a:lnTo>
                  <a:lnTo>
                    <a:pt x="3217" y="2121"/>
                  </a:lnTo>
                  <a:lnTo>
                    <a:pt x="3217" y="2121"/>
                  </a:lnTo>
                  <a:lnTo>
                    <a:pt x="3217" y="2121"/>
                  </a:lnTo>
                  <a:lnTo>
                    <a:pt x="3221" y="2116"/>
                  </a:lnTo>
                  <a:lnTo>
                    <a:pt x="3226" y="2111"/>
                  </a:lnTo>
                  <a:lnTo>
                    <a:pt x="3226" y="2107"/>
                  </a:lnTo>
                  <a:lnTo>
                    <a:pt x="3230" y="2098"/>
                  </a:lnTo>
                  <a:lnTo>
                    <a:pt x="3230" y="2093"/>
                  </a:lnTo>
                  <a:lnTo>
                    <a:pt x="3235" y="2084"/>
                  </a:lnTo>
                  <a:lnTo>
                    <a:pt x="3235" y="2080"/>
                  </a:lnTo>
                  <a:lnTo>
                    <a:pt x="3235" y="2080"/>
                  </a:lnTo>
                  <a:lnTo>
                    <a:pt x="3235" y="2071"/>
                  </a:lnTo>
                  <a:lnTo>
                    <a:pt x="3235" y="2066"/>
                  </a:lnTo>
                  <a:lnTo>
                    <a:pt x="3235" y="2066"/>
                  </a:lnTo>
                  <a:lnTo>
                    <a:pt x="3235" y="2066"/>
                  </a:lnTo>
                  <a:lnTo>
                    <a:pt x="3235" y="2071"/>
                  </a:lnTo>
                  <a:lnTo>
                    <a:pt x="3235" y="2071"/>
                  </a:lnTo>
                  <a:lnTo>
                    <a:pt x="3235" y="2071"/>
                  </a:lnTo>
                  <a:lnTo>
                    <a:pt x="3230" y="2071"/>
                  </a:lnTo>
                  <a:lnTo>
                    <a:pt x="3230" y="2066"/>
                  </a:lnTo>
                  <a:lnTo>
                    <a:pt x="3230" y="2066"/>
                  </a:lnTo>
                  <a:lnTo>
                    <a:pt x="3230" y="2062"/>
                  </a:lnTo>
                  <a:lnTo>
                    <a:pt x="3235" y="2062"/>
                  </a:lnTo>
                  <a:lnTo>
                    <a:pt x="3235" y="2057"/>
                  </a:lnTo>
                  <a:lnTo>
                    <a:pt x="3239" y="2057"/>
                  </a:lnTo>
                  <a:lnTo>
                    <a:pt x="3244" y="2053"/>
                  </a:lnTo>
                  <a:lnTo>
                    <a:pt x="3248" y="2053"/>
                  </a:lnTo>
                  <a:lnTo>
                    <a:pt x="3253" y="2048"/>
                  </a:lnTo>
                  <a:lnTo>
                    <a:pt x="3266" y="2044"/>
                  </a:lnTo>
                  <a:lnTo>
                    <a:pt x="3271" y="2039"/>
                  </a:lnTo>
                  <a:lnTo>
                    <a:pt x="3275" y="2039"/>
                  </a:lnTo>
                  <a:lnTo>
                    <a:pt x="3275" y="2035"/>
                  </a:lnTo>
                  <a:lnTo>
                    <a:pt x="3280" y="2030"/>
                  </a:lnTo>
                  <a:lnTo>
                    <a:pt x="3280" y="2030"/>
                  </a:lnTo>
                  <a:lnTo>
                    <a:pt x="3284" y="2026"/>
                  </a:lnTo>
                  <a:lnTo>
                    <a:pt x="3284" y="2026"/>
                  </a:lnTo>
                  <a:lnTo>
                    <a:pt x="3284" y="2026"/>
                  </a:lnTo>
                  <a:lnTo>
                    <a:pt x="3280" y="2026"/>
                  </a:lnTo>
                  <a:lnTo>
                    <a:pt x="3280" y="2026"/>
                  </a:lnTo>
                  <a:lnTo>
                    <a:pt x="3280" y="2026"/>
                  </a:lnTo>
                  <a:lnTo>
                    <a:pt x="3280" y="2021"/>
                  </a:lnTo>
                  <a:lnTo>
                    <a:pt x="3284" y="2012"/>
                  </a:lnTo>
                  <a:lnTo>
                    <a:pt x="3284" y="2007"/>
                  </a:lnTo>
                  <a:lnTo>
                    <a:pt x="3284" y="2007"/>
                  </a:lnTo>
                  <a:lnTo>
                    <a:pt x="3284" y="2003"/>
                  </a:lnTo>
                  <a:lnTo>
                    <a:pt x="3284" y="1998"/>
                  </a:lnTo>
                  <a:lnTo>
                    <a:pt x="3284" y="1998"/>
                  </a:lnTo>
                  <a:lnTo>
                    <a:pt x="3284" y="1994"/>
                  </a:lnTo>
                  <a:lnTo>
                    <a:pt x="3284" y="1994"/>
                  </a:lnTo>
                  <a:lnTo>
                    <a:pt x="3284" y="1994"/>
                  </a:lnTo>
                  <a:lnTo>
                    <a:pt x="3284" y="1994"/>
                  </a:lnTo>
                  <a:lnTo>
                    <a:pt x="3284" y="1994"/>
                  </a:lnTo>
                  <a:lnTo>
                    <a:pt x="3284" y="1998"/>
                  </a:lnTo>
                  <a:lnTo>
                    <a:pt x="3284" y="1998"/>
                  </a:lnTo>
                  <a:lnTo>
                    <a:pt x="3284" y="1998"/>
                  </a:lnTo>
                  <a:lnTo>
                    <a:pt x="3280" y="1998"/>
                  </a:lnTo>
                  <a:lnTo>
                    <a:pt x="3280" y="1994"/>
                  </a:lnTo>
                  <a:lnTo>
                    <a:pt x="3280" y="1989"/>
                  </a:lnTo>
                  <a:lnTo>
                    <a:pt x="3280" y="1985"/>
                  </a:lnTo>
                  <a:lnTo>
                    <a:pt x="3280" y="1985"/>
                  </a:lnTo>
                  <a:lnTo>
                    <a:pt x="3280" y="1980"/>
                  </a:lnTo>
                  <a:lnTo>
                    <a:pt x="3280" y="1976"/>
                  </a:lnTo>
                  <a:lnTo>
                    <a:pt x="3275" y="1967"/>
                  </a:lnTo>
                  <a:lnTo>
                    <a:pt x="3275" y="1967"/>
                  </a:lnTo>
                  <a:lnTo>
                    <a:pt x="3275" y="1962"/>
                  </a:lnTo>
                  <a:lnTo>
                    <a:pt x="3271" y="1962"/>
                  </a:lnTo>
                  <a:lnTo>
                    <a:pt x="3271" y="1962"/>
                  </a:lnTo>
                  <a:lnTo>
                    <a:pt x="3275" y="1953"/>
                  </a:lnTo>
                  <a:lnTo>
                    <a:pt x="3275" y="1953"/>
                  </a:lnTo>
                  <a:lnTo>
                    <a:pt x="3275" y="1949"/>
                  </a:lnTo>
                  <a:lnTo>
                    <a:pt x="3275" y="1949"/>
                  </a:lnTo>
                  <a:lnTo>
                    <a:pt x="3271" y="1949"/>
                  </a:lnTo>
                  <a:lnTo>
                    <a:pt x="3275" y="1949"/>
                  </a:lnTo>
                  <a:lnTo>
                    <a:pt x="3275" y="1949"/>
                  </a:lnTo>
                  <a:lnTo>
                    <a:pt x="3275" y="1949"/>
                  </a:lnTo>
                  <a:lnTo>
                    <a:pt x="3280" y="1949"/>
                  </a:lnTo>
                  <a:lnTo>
                    <a:pt x="3284" y="1944"/>
                  </a:lnTo>
                  <a:lnTo>
                    <a:pt x="3289" y="1935"/>
                  </a:lnTo>
                  <a:lnTo>
                    <a:pt x="3293" y="1935"/>
                  </a:lnTo>
                  <a:lnTo>
                    <a:pt x="3298" y="1931"/>
                  </a:lnTo>
                  <a:lnTo>
                    <a:pt x="3298" y="1931"/>
                  </a:lnTo>
                  <a:lnTo>
                    <a:pt x="3298" y="1931"/>
                  </a:lnTo>
                  <a:lnTo>
                    <a:pt x="3302" y="1931"/>
                  </a:lnTo>
                  <a:lnTo>
                    <a:pt x="3302" y="1931"/>
                  </a:lnTo>
                  <a:lnTo>
                    <a:pt x="3302" y="1931"/>
                  </a:lnTo>
                  <a:lnTo>
                    <a:pt x="3302" y="1931"/>
                  </a:lnTo>
                  <a:lnTo>
                    <a:pt x="3302" y="1931"/>
                  </a:lnTo>
                  <a:lnTo>
                    <a:pt x="3307" y="1926"/>
                  </a:lnTo>
                  <a:lnTo>
                    <a:pt x="3307" y="1926"/>
                  </a:lnTo>
                  <a:lnTo>
                    <a:pt x="3311" y="1922"/>
                  </a:lnTo>
                  <a:lnTo>
                    <a:pt x="3311" y="1917"/>
                  </a:lnTo>
                  <a:lnTo>
                    <a:pt x="3311" y="1917"/>
                  </a:lnTo>
                  <a:lnTo>
                    <a:pt x="3316" y="1917"/>
                  </a:lnTo>
                  <a:lnTo>
                    <a:pt x="3316" y="1913"/>
                  </a:lnTo>
                  <a:lnTo>
                    <a:pt x="3316" y="1913"/>
                  </a:lnTo>
                  <a:lnTo>
                    <a:pt x="3320" y="1913"/>
                  </a:lnTo>
                  <a:lnTo>
                    <a:pt x="3325" y="1908"/>
                  </a:lnTo>
                  <a:lnTo>
                    <a:pt x="3330" y="1904"/>
                  </a:lnTo>
                  <a:lnTo>
                    <a:pt x="3334" y="1904"/>
                  </a:lnTo>
                  <a:lnTo>
                    <a:pt x="3334" y="1904"/>
                  </a:lnTo>
                  <a:lnTo>
                    <a:pt x="3334" y="1904"/>
                  </a:lnTo>
                  <a:lnTo>
                    <a:pt x="3339" y="1899"/>
                  </a:lnTo>
                  <a:lnTo>
                    <a:pt x="3343" y="1899"/>
                  </a:lnTo>
                  <a:lnTo>
                    <a:pt x="3343" y="1899"/>
                  </a:lnTo>
                  <a:lnTo>
                    <a:pt x="3343" y="1899"/>
                  </a:lnTo>
                  <a:lnTo>
                    <a:pt x="3348" y="1899"/>
                  </a:lnTo>
                  <a:lnTo>
                    <a:pt x="3348" y="1899"/>
                  </a:lnTo>
                  <a:lnTo>
                    <a:pt x="3348" y="1899"/>
                  </a:lnTo>
                  <a:lnTo>
                    <a:pt x="3352" y="1894"/>
                  </a:lnTo>
                  <a:lnTo>
                    <a:pt x="3352" y="1894"/>
                  </a:lnTo>
                  <a:lnTo>
                    <a:pt x="3357" y="1894"/>
                  </a:lnTo>
                  <a:lnTo>
                    <a:pt x="3361" y="1890"/>
                  </a:lnTo>
                  <a:lnTo>
                    <a:pt x="3366" y="1885"/>
                  </a:lnTo>
                  <a:lnTo>
                    <a:pt x="3366" y="1885"/>
                  </a:lnTo>
                  <a:lnTo>
                    <a:pt x="3366" y="1885"/>
                  </a:lnTo>
                  <a:lnTo>
                    <a:pt x="3366" y="1881"/>
                  </a:lnTo>
                  <a:lnTo>
                    <a:pt x="3370" y="1881"/>
                  </a:lnTo>
                  <a:lnTo>
                    <a:pt x="3370" y="1881"/>
                  </a:lnTo>
                  <a:lnTo>
                    <a:pt x="3370" y="1881"/>
                  </a:lnTo>
                  <a:lnTo>
                    <a:pt x="3370" y="1876"/>
                  </a:lnTo>
                  <a:lnTo>
                    <a:pt x="3370" y="1876"/>
                  </a:lnTo>
                  <a:lnTo>
                    <a:pt x="3375" y="1872"/>
                  </a:lnTo>
                  <a:lnTo>
                    <a:pt x="3379" y="1867"/>
                  </a:lnTo>
                  <a:lnTo>
                    <a:pt x="3379" y="1863"/>
                  </a:lnTo>
                  <a:lnTo>
                    <a:pt x="3379" y="1863"/>
                  </a:lnTo>
                  <a:lnTo>
                    <a:pt x="3379" y="1863"/>
                  </a:lnTo>
                  <a:lnTo>
                    <a:pt x="3379" y="1863"/>
                  </a:lnTo>
                  <a:lnTo>
                    <a:pt x="3379" y="1863"/>
                  </a:lnTo>
                  <a:lnTo>
                    <a:pt x="3379" y="1858"/>
                  </a:lnTo>
                  <a:lnTo>
                    <a:pt x="3384" y="1858"/>
                  </a:lnTo>
                  <a:lnTo>
                    <a:pt x="3384" y="1858"/>
                  </a:lnTo>
                  <a:lnTo>
                    <a:pt x="3384" y="1854"/>
                  </a:lnTo>
                  <a:lnTo>
                    <a:pt x="3384" y="1854"/>
                  </a:lnTo>
                  <a:lnTo>
                    <a:pt x="3384" y="1854"/>
                  </a:lnTo>
                  <a:lnTo>
                    <a:pt x="3384" y="1849"/>
                  </a:lnTo>
                  <a:lnTo>
                    <a:pt x="3384" y="1849"/>
                  </a:lnTo>
                  <a:lnTo>
                    <a:pt x="3384" y="1849"/>
                  </a:lnTo>
                  <a:lnTo>
                    <a:pt x="3384" y="1849"/>
                  </a:lnTo>
                  <a:lnTo>
                    <a:pt x="3384" y="1849"/>
                  </a:lnTo>
                  <a:lnTo>
                    <a:pt x="3379" y="1849"/>
                  </a:lnTo>
                  <a:lnTo>
                    <a:pt x="3379" y="1849"/>
                  </a:lnTo>
                  <a:lnTo>
                    <a:pt x="3379" y="1849"/>
                  </a:lnTo>
                  <a:lnTo>
                    <a:pt x="3384" y="1845"/>
                  </a:lnTo>
                  <a:lnTo>
                    <a:pt x="3384" y="1845"/>
                  </a:lnTo>
                  <a:lnTo>
                    <a:pt x="3384" y="1845"/>
                  </a:lnTo>
                  <a:lnTo>
                    <a:pt x="3379" y="1845"/>
                  </a:lnTo>
                  <a:lnTo>
                    <a:pt x="3379" y="1845"/>
                  </a:lnTo>
                  <a:lnTo>
                    <a:pt x="3379" y="1836"/>
                  </a:lnTo>
                  <a:lnTo>
                    <a:pt x="3379" y="1831"/>
                  </a:lnTo>
                  <a:lnTo>
                    <a:pt x="3379" y="1831"/>
                  </a:lnTo>
                  <a:lnTo>
                    <a:pt x="3379" y="1831"/>
                  </a:lnTo>
                  <a:lnTo>
                    <a:pt x="3379" y="1827"/>
                  </a:lnTo>
                  <a:lnTo>
                    <a:pt x="3379" y="1827"/>
                  </a:lnTo>
                  <a:lnTo>
                    <a:pt x="3379" y="1827"/>
                  </a:lnTo>
                  <a:lnTo>
                    <a:pt x="3379" y="1822"/>
                  </a:lnTo>
                  <a:lnTo>
                    <a:pt x="3379" y="1822"/>
                  </a:lnTo>
                  <a:lnTo>
                    <a:pt x="3379" y="1822"/>
                  </a:lnTo>
                  <a:lnTo>
                    <a:pt x="3379" y="1822"/>
                  </a:lnTo>
                  <a:lnTo>
                    <a:pt x="3379" y="1822"/>
                  </a:lnTo>
                  <a:lnTo>
                    <a:pt x="3379" y="1818"/>
                  </a:lnTo>
                  <a:lnTo>
                    <a:pt x="3379" y="1818"/>
                  </a:lnTo>
                  <a:lnTo>
                    <a:pt x="3384" y="1818"/>
                  </a:lnTo>
                  <a:lnTo>
                    <a:pt x="3384" y="1813"/>
                  </a:lnTo>
                  <a:lnTo>
                    <a:pt x="3379" y="1813"/>
                  </a:lnTo>
                  <a:lnTo>
                    <a:pt x="3379" y="1813"/>
                  </a:lnTo>
                  <a:lnTo>
                    <a:pt x="3379" y="1809"/>
                  </a:lnTo>
                  <a:lnTo>
                    <a:pt x="3379" y="1809"/>
                  </a:lnTo>
                  <a:lnTo>
                    <a:pt x="3379" y="1804"/>
                  </a:lnTo>
                  <a:lnTo>
                    <a:pt x="3379" y="1804"/>
                  </a:lnTo>
                  <a:lnTo>
                    <a:pt x="3379" y="1800"/>
                  </a:lnTo>
                  <a:lnTo>
                    <a:pt x="3379" y="1800"/>
                  </a:lnTo>
                  <a:lnTo>
                    <a:pt x="3379" y="1795"/>
                  </a:lnTo>
                  <a:lnTo>
                    <a:pt x="3379" y="1790"/>
                  </a:lnTo>
                  <a:lnTo>
                    <a:pt x="3379" y="1790"/>
                  </a:lnTo>
                  <a:lnTo>
                    <a:pt x="3379" y="1790"/>
                  </a:lnTo>
                  <a:lnTo>
                    <a:pt x="3379" y="1786"/>
                  </a:lnTo>
                  <a:lnTo>
                    <a:pt x="3384" y="1786"/>
                  </a:lnTo>
                  <a:lnTo>
                    <a:pt x="3384" y="1786"/>
                  </a:lnTo>
                  <a:lnTo>
                    <a:pt x="3384" y="1786"/>
                  </a:lnTo>
                  <a:lnTo>
                    <a:pt x="3384" y="1781"/>
                  </a:lnTo>
                  <a:lnTo>
                    <a:pt x="3384" y="1781"/>
                  </a:lnTo>
                  <a:lnTo>
                    <a:pt x="3384" y="1781"/>
                  </a:lnTo>
                  <a:lnTo>
                    <a:pt x="3384" y="1777"/>
                  </a:lnTo>
                  <a:lnTo>
                    <a:pt x="3384" y="1777"/>
                  </a:lnTo>
                  <a:lnTo>
                    <a:pt x="3384" y="1777"/>
                  </a:lnTo>
                  <a:lnTo>
                    <a:pt x="3379" y="1772"/>
                  </a:lnTo>
                  <a:lnTo>
                    <a:pt x="3379" y="1772"/>
                  </a:lnTo>
                  <a:lnTo>
                    <a:pt x="3379" y="1772"/>
                  </a:lnTo>
                  <a:lnTo>
                    <a:pt x="3379" y="1772"/>
                  </a:lnTo>
                  <a:lnTo>
                    <a:pt x="3379" y="1768"/>
                  </a:lnTo>
                  <a:lnTo>
                    <a:pt x="3375" y="1768"/>
                  </a:lnTo>
                  <a:lnTo>
                    <a:pt x="3375" y="1768"/>
                  </a:lnTo>
                  <a:lnTo>
                    <a:pt x="3375" y="1768"/>
                  </a:lnTo>
                  <a:lnTo>
                    <a:pt x="3375" y="1768"/>
                  </a:lnTo>
                  <a:lnTo>
                    <a:pt x="3370" y="1763"/>
                  </a:lnTo>
                  <a:lnTo>
                    <a:pt x="3370" y="1763"/>
                  </a:lnTo>
                  <a:lnTo>
                    <a:pt x="3370" y="1763"/>
                  </a:lnTo>
                  <a:lnTo>
                    <a:pt x="3370" y="1763"/>
                  </a:lnTo>
                  <a:lnTo>
                    <a:pt x="3370" y="1759"/>
                  </a:lnTo>
                  <a:lnTo>
                    <a:pt x="3370" y="1759"/>
                  </a:lnTo>
                  <a:lnTo>
                    <a:pt x="3366" y="1754"/>
                  </a:lnTo>
                  <a:lnTo>
                    <a:pt x="3370" y="1750"/>
                  </a:lnTo>
                  <a:lnTo>
                    <a:pt x="3366" y="1745"/>
                  </a:lnTo>
                  <a:lnTo>
                    <a:pt x="3366" y="1745"/>
                  </a:lnTo>
                  <a:lnTo>
                    <a:pt x="3366" y="1745"/>
                  </a:lnTo>
                  <a:lnTo>
                    <a:pt x="3366" y="1741"/>
                  </a:lnTo>
                  <a:lnTo>
                    <a:pt x="3361" y="1736"/>
                  </a:lnTo>
                  <a:lnTo>
                    <a:pt x="3361" y="1732"/>
                  </a:lnTo>
                  <a:lnTo>
                    <a:pt x="3361" y="1732"/>
                  </a:lnTo>
                  <a:lnTo>
                    <a:pt x="3366" y="1727"/>
                  </a:lnTo>
                  <a:lnTo>
                    <a:pt x="3366" y="1723"/>
                  </a:lnTo>
                  <a:lnTo>
                    <a:pt x="3361" y="1723"/>
                  </a:lnTo>
                  <a:lnTo>
                    <a:pt x="3361" y="1723"/>
                  </a:lnTo>
                  <a:lnTo>
                    <a:pt x="3361" y="1718"/>
                  </a:lnTo>
                  <a:lnTo>
                    <a:pt x="3366" y="1714"/>
                  </a:lnTo>
                  <a:lnTo>
                    <a:pt x="3366" y="1714"/>
                  </a:lnTo>
                  <a:lnTo>
                    <a:pt x="3366" y="1709"/>
                  </a:lnTo>
                  <a:lnTo>
                    <a:pt x="3366" y="1709"/>
                  </a:lnTo>
                  <a:lnTo>
                    <a:pt x="3366" y="1705"/>
                  </a:lnTo>
                  <a:lnTo>
                    <a:pt x="3361" y="1705"/>
                  </a:lnTo>
                  <a:lnTo>
                    <a:pt x="3361" y="1700"/>
                  </a:lnTo>
                  <a:lnTo>
                    <a:pt x="3361" y="1700"/>
                  </a:lnTo>
                  <a:lnTo>
                    <a:pt x="3361" y="1700"/>
                  </a:lnTo>
                  <a:lnTo>
                    <a:pt x="3357" y="1700"/>
                  </a:lnTo>
                  <a:lnTo>
                    <a:pt x="3357" y="1696"/>
                  </a:lnTo>
                  <a:lnTo>
                    <a:pt x="3357" y="1691"/>
                  </a:lnTo>
                  <a:lnTo>
                    <a:pt x="3357" y="1691"/>
                  </a:lnTo>
                  <a:lnTo>
                    <a:pt x="3357" y="1686"/>
                  </a:lnTo>
                  <a:lnTo>
                    <a:pt x="3357" y="1682"/>
                  </a:lnTo>
                  <a:lnTo>
                    <a:pt x="3357" y="1682"/>
                  </a:lnTo>
                  <a:lnTo>
                    <a:pt x="3361" y="1673"/>
                  </a:lnTo>
                  <a:lnTo>
                    <a:pt x="3361" y="1673"/>
                  </a:lnTo>
                  <a:lnTo>
                    <a:pt x="3361" y="1673"/>
                  </a:lnTo>
                  <a:lnTo>
                    <a:pt x="3361" y="1668"/>
                  </a:lnTo>
                  <a:lnTo>
                    <a:pt x="3361" y="1664"/>
                  </a:lnTo>
                  <a:lnTo>
                    <a:pt x="3361" y="1664"/>
                  </a:lnTo>
                  <a:lnTo>
                    <a:pt x="3361" y="1664"/>
                  </a:lnTo>
                  <a:lnTo>
                    <a:pt x="3366" y="1664"/>
                  </a:lnTo>
                  <a:lnTo>
                    <a:pt x="3366" y="1664"/>
                  </a:lnTo>
                  <a:lnTo>
                    <a:pt x="3366" y="1659"/>
                  </a:lnTo>
                  <a:lnTo>
                    <a:pt x="3370" y="1655"/>
                  </a:lnTo>
                  <a:lnTo>
                    <a:pt x="3370" y="1655"/>
                  </a:lnTo>
                  <a:lnTo>
                    <a:pt x="3370" y="1655"/>
                  </a:lnTo>
                  <a:lnTo>
                    <a:pt x="3370" y="1650"/>
                  </a:lnTo>
                  <a:lnTo>
                    <a:pt x="3370" y="1650"/>
                  </a:lnTo>
                  <a:lnTo>
                    <a:pt x="3370" y="1650"/>
                  </a:lnTo>
                  <a:lnTo>
                    <a:pt x="3375" y="1646"/>
                  </a:lnTo>
                  <a:lnTo>
                    <a:pt x="3375" y="1641"/>
                  </a:lnTo>
                  <a:lnTo>
                    <a:pt x="3375" y="1641"/>
                  </a:lnTo>
                  <a:lnTo>
                    <a:pt x="3375" y="1641"/>
                  </a:lnTo>
                  <a:lnTo>
                    <a:pt x="3375" y="1641"/>
                  </a:lnTo>
                  <a:lnTo>
                    <a:pt x="3379" y="1637"/>
                  </a:lnTo>
                  <a:lnTo>
                    <a:pt x="3379" y="1637"/>
                  </a:lnTo>
                  <a:lnTo>
                    <a:pt x="3379" y="1632"/>
                  </a:lnTo>
                  <a:lnTo>
                    <a:pt x="3379" y="1628"/>
                  </a:lnTo>
                  <a:lnTo>
                    <a:pt x="3379" y="1628"/>
                  </a:lnTo>
                  <a:lnTo>
                    <a:pt x="3384" y="1628"/>
                  </a:lnTo>
                  <a:lnTo>
                    <a:pt x="3384" y="1623"/>
                  </a:lnTo>
                  <a:lnTo>
                    <a:pt x="3388" y="1623"/>
                  </a:lnTo>
                  <a:lnTo>
                    <a:pt x="3393" y="1623"/>
                  </a:lnTo>
                  <a:lnTo>
                    <a:pt x="3393" y="1619"/>
                  </a:lnTo>
                  <a:lnTo>
                    <a:pt x="3393" y="1619"/>
                  </a:lnTo>
                  <a:lnTo>
                    <a:pt x="3393" y="1619"/>
                  </a:lnTo>
                  <a:lnTo>
                    <a:pt x="3393" y="1614"/>
                  </a:lnTo>
                  <a:lnTo>
                    <a:pt x="3393" y="1614"/>
                  </a:lnTo>
                  <a:lnTo>
                    <a:pt x="3393" y="1614"/>
                  </a:lnTo>
                  <a:lnTo>
                    <a:pt x="3393" y="1614"/>
                  </a:lnTo>
                  <a:lnTo>
                    <a:pt x="3393" y="1614"/>
                  </a:lnTo>
                  <a:lnTo>
                    <a:pt x="3393" y="1614"/>
                  </a:lnTo>
                  <a:lnTo>
                    <a:pt x="3397" y="1614"/>
                  </a:lnTo>
                  <a:lnTo>
                    <a:pt x="3397" y="1614"/>
                  </a:lnTo>
                  <a:lnTo>
                    <a:pt x="3397" y="1614"/>
                  </a:lnTo>
                  <a:lnTo>
                    <a:pt x="3402" y="1610"/>
                  </a:lnTo>
                  <a:lnTo>
                    <a:pt x="3402" y="1610"/>
                  </a:lnTo>
                  <a:lnTo>
                    <a:pt x="3406" y="1605"/>
                  </a:lnTo>
                  <a:lnTo>
                    <a:pt x="3406" y="1605"/>
                  </a:lnTo>
                  <a:lnTo>
                    <a:pt x="3411" y="1601"/>
                  </a:lnTo>
                  <a:lnTo>
                    <a:pt x="3411" y="1596"/>
                  </a:lnTo>
                  <a:lnTo>
                    <a:pt x="3411" y="1596"/>
                  </a:lnTo>
                  <a:lnTo>
                    <a:pt x="3411" y="1596"/>
                  </a:lnTo>
                  <a:lnTo>
                    <a:pt x="3415" y="1592"/>
                  </a:lnTo>
                  <a:lnTo>
                    <a:pt x="3415" y="1592"/>
                  </a:lnTo>
                  <a:lnTo>
                    <a:pt x="3420" y="1587"/>
                  </a:lnTo>
                  <a:lnTo>
                    <a:pt x="3420" y="1582"/>
                  </a:lnTo>
                  <a:lnTo>
                    <a:pt x="3420" y="1582"/>
                  </a:lnTo>
                  <a:lnTo>
                    <a:pt x="3424" y="1582"/>
                  </a:lnTo>
                  <a:lnTo>
                    <a:pt x="3424" y="1578"/>
                  </a:lnTo>
                  <a:lnTo>
                    <a:pt x="3438" y="1564"/>
                  </a:lnTo>
                  <a:lnTo>
                    <a:pt x="3442" y="1560"/>
                  </a:lnTo>
                  <a:lnTo>
                    <a:pt x="3447" y="1555"/>
                  </a:lnTo>
                  <a:lnTo>
                    <a:pt x="3451" y="1551"/>
                  </a:lnTo>
                  <a:lnTo>
                    <a:pt x="3465" y="1542"/>
                  </a:lnTo>
                  <a:lnTo>
                    <a:pt x="3479" y="1533"/>
                  </a:lnTo>
                  <a:lnTo>
                    <a:pt x="3483" y="1528"/>
                  </a:lnTo>
                  <a:lnTo>
                    <a:pt x="3497" y="1515"/>
                  </a:lnTo>
                  <a:lnTo>
                    <a:pt x="3506" y="1501"/>
                  </a:lnTo>
                  <a:lnTo>
                    <a:pt x="3515" y="1492"/>
                  </a:lnTo>
                  <a:lnTo>
                    <a:pt x="3519" y="1483"/>
                  </a:lnTo>
                  <a:lnTo>
                    <a:pt x="3528" y="1469"/>
                  </a:lnTo>
                  <a:lnTo>
                    <a:pt x="3533" y="1460"/>
                  </a:lnTo>
                  <a:lnTo>
                    <a:pt x="3533" y="1456"/>
                  </a:lnTo>
                  <a:lnTo>
                    <a:pt x="3537" y="1447"/>
                  </a:lnTo>
                  <a:lnTo>
                    <a:pt x="3537" y="1442"/>
                  </a:lnTo>
                  <a:lnTo>
                    <a:pt x="3542" y="1438"/>
                  </a:lnTo>
                  <a:lnTo>
                    <a:pt x="3542" y="1433"/>
                  </a:lnTo>
                  <a:lnTo>
                    <a:pt x="3546" y="1429"/>
                  </a:lnTo>
                  <a:lnTo>
                    <a:pt x="3546" y="1424"/>
                  </a:lnTo>
                  <a:lnTo>
                    <a:pt x="3551" y="1420"/>
                  </a:lnTo>
                  <a:lnTo>
                    <a:pt x="3555" y="1415"/>
                  </a:lnTo>
                  <a:lnTo>
                    <a:pt x="3555" y="1411"/>
                  </a:lnTo>
                  <a:lnTo>
                    <a:pt x="3555" y="1406"/>
                  </a:lnTo>
                  <a:lnTo>
                    <a:pt x="3560" y="1402"/>
                  </a:lnTo>
                  <a:lnTo>
                    <a:pt x="3560" y="1402"/>
                  </a:lnTo>
                  <a:lnTo>
                    <a:pt x="3560" y="1397"/>
                  </a:lnTo>
                  <a:lnTo>
                    <a:pt x="3560" y="1393"/>
                  </a:lnTo>
                  <a:lnTo>
                    <a:pt x="3564" y="1388"/>
                  </a:lnTo>
                  <a:lnTo>
                    <a:pt x="3564" y="1379"/>
                  </a:lnTo>
                  <a:lnTo>
                    <a:pt x="3564" y="1379"/>
                  </a:lnTo>
                  <a:lnTo>
                    <a:pt x="3564" y="1379"/>
                  </a:lnTo>
                  <a:lnTo>
                    <a:pt x="3569" y="1379"/>
                  </a:lnTo>
                  <a:lnTo>
                    <a:pt x="3569" y="1379"/>
                  </a:lnTo>
                  <a:lnTo>
                    <a:pt x="3569" y="1379"/>
                  </a:lnTo>
                  <a:lnTo>
                    <a:pt x="3569" y="1379"/>
                  </a:lnTo>
                  <a:lnTo>
                    <a:pt x="3569" y="1379"/>
                  </a:lnTo>
                  <a:lnTo>
                    <a:pt x="3569" y="1375"/>
                  </a:lnTo>
                  <a:lnTo>
                    <a:pt x="3569" y="1375"/>
                  </a:lnTo>
                  <a:lnTo>
                    <a:pt x="3569" y="1375"/>
                  </a:lnTo>
                  <a:lnTo>
                    <a:pt x="3569" y="1379"/>
                  </a:lnTo>
                  <a:lnTo>
                    <a:pt x="3564" y="1379"/>
                  </a:lnTo>
                  <a:lnTo>
                    <a:pt x="3564" y="1379"/>
                  </a:lnTo>
                  <a:lnTo>
                    <a:pt x="3564" y="1379"/>
                  </a:lnTo>
                  <a:lnTo>
                    <a:pt x="3564" y="1375"/>
                  </a:lnTo>
                  <a:lnTo>
                    <a:pt x="3564" y="1375"/>
                  </a:lnTo>
                  <a:lnTo>
                    <a:pt x="3564" y="1375"/>
                  </a:lnTo>
                  <a:lnTo>
                    <a:pt x="3564" y="1375"/>
                  </a:lnTo>
                  <a:lnTo>
                    <a:pt x="3564" y="1365"/>
                  </a:lnTo>
                  <a:lnTo>
                    <a:pt x="3564" y="1361"/>
                  </a:lnTo>
                  <a:lnTo>
                    <a:pt x="3564" y="1356"/>
                  </a:lnTo>
                  <a:lnTo>
                    <a:pt x="3569" y="1356"/>
                  </a:lnTo>
                  <a:lnTo>
                    <a:pt x="3569" y="1352"/>
                  </a:lnTo>
                  <a:lnTo>
                    <a:pt x="3569" y="1352"/>
                  </a:lnTo>
                  <a:lnTo>
                    <a:pt x="3564" y="1352"/>
                  </a:lnTo>
                  <a:lnTo>
                    <a:pt x="3560" y="1347"/>
                  </a:lnTo>
                  <a:lnTo>
                    <a:pt x="3555" y="1347"/>
                  </a:lnTo>
                  <a:lnTo>
                    <a:pt x="3555" y="1352"/>
                  </a:lnTo>
                  <a:lnTo>
                    <a:pt x="3555" y="1352"/>
                  </a:lnTo>
                  <a:lnTo>
                    <a:pt x="3546" y="1356"/>
                  </a:lnTo>
                  <a:lnTo>
                    <a:pt x="3542" y="1356"/>
                  </a:lnTo>
                  <a:lnTo>
                    <a:pt x="3537" y="1361"/>
                  </a:lnTo>
                  <a:lnTo>
                    <a:pt x="3528" y="1361"/>
                  </a:lnTo>
                  <a:lnTo>
                    <a:pt x="3528" y="1361"/>
                  </a:lnTo>
                  <a:lnTo>
                    <a:pt x="3528" y="1361"/>
                  </a:lnTo>
                  <a:lnTo>
                    <a:pt x="3524" y="1361"/>
                  </a:lnTo>
                  <a:lnTo>
                    <a:pt x="3519" y="1361"/>
                  </a:lnTo>
                  <a:lnTo>
                    <a:pt x="3519" y="1361"/>
                  </a:lnTo>
                  <a:lnTo>
                    <a:pt x="3510" y="1365"/>
                  </a:lnTo>
                  <a:lnTo>
                    <a:pt x="3506" y="1365"/>
                  </a:lnTo>
                  <a:lnTo>
                    <a:pt x="3501" y="1365"/>
                  </a:lnTo>
                  <a:lnTo>
                    <a:pt x="3501" y="1365"/>
                  </a:lnTo>
                  <a:lnTo>
                    <a:pt x="3497" y="1365"/>
                  </a:lnTo>
                  <a:lnTo>
                    <a:pt x="3492" y="1370"/>
                  </a:lnTo>
                  <a:lnTo>
                    <a:pt x="3488" y="1375"/>
                  </a:lnTo>
                  <a:lnTo>
                    <a:pt x="3483" y="1375"/>
                  </a:lnTo>
                  <a:lnTo>
                    <a:pt x="3483" y="1370"/>
                  </a:lnTo>
                  <a:lnTo>
                    <a:pt x="3479" y="1370"/>
                  </a:lnTo>
                  <a:lnTo>
                    <a:pt x="3474" y="1370"/>
                  </a:lnTo>
                  <a:lnTo>
                    <a:pt x="3474" y="1370"/>
                  </a:lnTo>
                  <a:lnTo>
                    <a:pt x="3465" y="1375"/>
                  </a:lnTo>
                  <a:lnTo>
                    <a:pt x="3461" y="1379"/>
                  </a:lnTo>
                  <a:lnTo>
                    <a:pt x="3451" y="1379"/>
                  </a:lnTo>
                  <a:lnTo>
                    <a:pt x="3447" y="1379"/>
                  </a:lnTo>
                  <a:lnTo>
                    <a:pt x="3447" y="1375"/>
                  </a:lnTo>
                  <a:lnTo>
                    <a:pt x="3438" y="1370"/>
                  </a:lnTo>
                  <a:lnTo>
                    <a:pt x="3438" y="1365"/>
                  </a:lnTo>
                  <a:lnTo>
                    <a:pt x="3433" y="1361"/>
                  </a:lnTo>
                  <a:lnTo>
                    <a:pt x="3429" y="1356"/>
                  </a:lnTo>
                  <a:lnTo>
                    <a:pt x="3429" y="1356"/>
                  </a:lnTo>
                  <a:lnTo>
                    <a:pt x="3424" y="1356"/>
                  </a:lnTo>
                  <a:lnTo>
                    <a:pt x="3424" y="1356"/>
                  </a:lnTo>
                  <a:lnTo>
                    <a:pt x="3420" y="1356"/>
                  </a:lnTo>
                  <a:lnTo>
                    <a:pt x="3420" y="1356"/>
                  </a:lnTo>
                  <a:lnTo>
                    <a:pt x="3415" y="1356"/>
                  </a:lnTo>
                  <a:lnTo>
                    <a:pt x="3415" y="1356"/>
                  </a:lnTo>
                  <a:lnTo>
                    <a:pt x="3415" y="1356"/>
                  </a:lnTo>
                  <a:lnTo>
                    <a:pt x="3420" y="1356"/>
                  </a:lnTo>
                  <a:lnTo>
                    <a:pt x="3420" y="1352"/>
                  </a:lnTo>
                  <a:lnTo>
                    <a:pt x="3424" y="1352"/>
                  </a:lnTo>
                  <a:lnTo>
                    <a:pt x="3429" y="1347"/>
                  </a:lnTo>
                  <a:lnTo>
                    <a:pt x="3429" y="1347"/>
                  </a:lnTo>
                  <a:lnTo>
                    <a:pt x="3429" y="1347"/>
                  </a:lnTo>
                  <a:lnTo>
                    <a:pt x="3429" y="1347"/>
                  </a:lnTo>
                  <a:lnTo>
                    <a:pt x="3429" y="1343"/>
                  </a:lnTo>
                  <a:lnTo>
                    <a:pt x="3429" y="1338"/>
                  </a:lnTo>
                  <a:lnTo>
                    <a:pt x="3424" y="1338"/>
                  </a:lnTo>
                  <a:lnTo>
                    <a:pt x="3424" y="1334"/>
                  </a:lnTo>
                  <a:lnTo>
                    <a:pt x="3424" y="1334"/>
                  </a:lnTo>
                  <a:lnTo>
                    <a:pt x="3424" y="1334"/>
                  </a:lnTo>
                  <a:lnTo>
                    <a:pt x="3424" y="1334"/>
                  </a:lnTo>
                  <a:lnTo>
                    <a:pt x="3420" y="1334"/>
                  </a:lnTo>
                  <a:lnTo>
                    <a:pt x="3420" y="1329"/>
                  </a:lnTo>
                  <a:lnTo>
                    <a:pt x="3415" y="1325"/>
                  </a:lnTo>
                  <a:lnTo>
                    <a:pt x="3411" y="1325"/>
                  </a:lnTo>
                  <a:lnTo>
                    <a:pt x="3411" y="1325"/>
                  </a:lnTo>
                  <a:lnTo>
                    <a:pt x="3411" y="1320"/>
                  </a:lnTo>
                  <a:lnTo>
                    <a:pt x="3397" y="1311"/>
                  </a:lnTo>
                  <a:lnTo>
                    <a:pt x="3397" y="1307"/>
                  </a:lnTo>
                  <a:lnTo>
                    <a:pt x="3388" y="1298"/>
                  </a:lnTo>
                  <a:lnTo>
                    <a:pt x="3384" y="1298"/>
                  </a:lnTo>
                  <a:lnTo>
                    <a:pt x="3379" y="1293"/>
                  </a:lnTo>
                  <a:lnTo>
                    <a:pt x="3379" y="1293"/>
                  </a:lnTo>
                  <a:lnTo>
                    <a:pt x="3379" y="1293"/>
                  </a:lnTo>
                  <a:lnTo>
                    <a:pt x="3375" y="1293"/>
                  </a:lnTo>
                  <a:lnTo>
                    <a:pt x="3375" y="1293"/>
                  </a:lnTo>
                  <a:lnTo>
                    <a:pt x="3370" y="1289"/>
                  </a:lnTo>
                  <a:lnTo>
                    <a:pt x="3370" y="1289"/>
                  </a:lnTo>
                  <a:lnTo>
                    <a:pt x="3370" y="1284"/>
                  </a:lnTo>
                  <a:lnTo>
                    <a:pt x="3370" y="1284"/>
                  </a:lnTo>
                  <a:lnTo>
                    <a:pt x="3366" y="1284"/>
                  </a:lnTo>
                  <a:lnTo>
                    <a:pt x="3366" y="1284"/>
                  </a:lnTo>
                  <a:lnTo>
                    <a:pt x="3366" y="1289"/>
                  </a:lnTo>
                  <a:lnTo>
                    <a:pt x="3366" y="1289"/>
                  </a:lnTo>
                  <a:lnTo>
                    <a:pt x="3366" y="1289"/>
                  </a:lnTo>
                  <a:lnTo>
                    <a:pt x="3366" y="1289"/>
                  </a:lnTo>
                  <a:lnTo>
                    <a:pt x="3366" y="1289"/>
                  </a:lnTo>
                  <a:lnTo>
                    <a:pt x="3361" y="1284"/>
                  </a:lnTo>
                  <a:lnTo>
                    <a:pt x="3361" y="1284"/>
                  </a:lnTo>
                  <a:lnTo>
                    <a:pt x="3361" y="1284"/>
                  </a:lnTo>
                  <a:lnTo>
                    <a:pt x="3357" y="1280"/>
                  </a:lnTo>
                  <a:lnTo>
                    <a:pt x="3357" y="1275"/>
                  </a:lnTo>
                  <a:lnTo>
                    <a:pt x="3357" y="1271"/>
                  </a:lnTo>
                  <a:lnTo>
                    <a:pt x="3352" y="1261"/>
                  </a:lnTo>
                  <a:lnTo>
                    <a:pt x="3352" y="1252"/>
                  </a:lnTo>
                  <a:lnTo>
                    <a:pt x="3348" y="1248"/>
                  </a:lnTo>
                  <a:lnTo>
                    <a:pt x="3343" y="1234"/>
                  </a:lnTo>
                  <a:lnTo>
                    <a:pt x="3343" y="1234"/>
                  </a:lnTo>
                  <a:lnTo>
                    <a:pt x="3339" y="1230"/>
                  </a:lnTo>
                  <a:lnTo>
                    <a:pt x="3339" y="1230"/>
                  </a:lnTo>
                  <a:lnTo>
                    <a:pt x="3334" y="1230"/>
                  </a:lnTo>
                  <a:lnTo>
                    <a:pt x="3334" y="1230"/>
                  </a:lnTo>
                  <a:lnTo>
                    <a:pt x="3334" y="1230"/>
                  </a:lnTo>
                  <a:lnTo>
                    <a:pt x="3334" y="1230"/>
                  </a:lnTo>
                  <a:lnTo>
                    <a:pt x="3330" y="1225"/>
                  </a:lnTo>
                  <a:lnTo>
                    <a:pt x="3325" y="1221"/>
                  </a:lnTo>
                  <a:lnTo>
                    <a:pt x="3325" y="1221"/>
                  </a:lnTo>
                  <a:lnTo>
                    <a:pt x="3325" y="1221"/>
                  </a:lnTo>
                  <a:lnTo>
                    <a:pt x="3320" y="1221"/>
                  </a:lnTo>
                  <a:lnTo>
                    <a:pt x="3320" y="1216"/>
                  </a:lnTo>
                  <a:lnTo>
                    <a:pt x="3316" y="1207"/>
                  </a:lnTo>
                  <a:lnTo>
                    <a:pt x="3316" y="1203"/>
                  </a:lnTo>
                  <a:lnTo>
                    <a:pt x="3316" y="1198"/>
                  </a:lnTo>
                  <a:lnTo>
                    <a:pt x="3316" y="1189"/>
                  </a:lnTo>
                  <a:lnTo>
                    <a:pt x="3316" y="1189"/>
                  </a:lnTo>
                  <a:lnTo>
                    <a:pt x="3316" y="1185"/>
                  </a:lnTo>
                  <a:lnTo>
                    <a:pt x="3316" y="1180"/>
                  </a:lnTo>
                  <a:lnTo>
                    <a:pt x="3316" y="1180"/>
                  </a:lnTo>
                  <a:lnTo>
                    <a:pt x="3316" y="1176"/>
                  </a:lnTo>
                  <a:lnTo>
                    <a:pt x="3316" y="1180"/>
                  </a:lnTo>
                  <a:lnTo>
                    <a:pt x="3316" y="1180"/>
                  </a:lnTo>
                  <a:lnTo>
                    <a:pt x="3316" y="1180"/>
                  </a:lnTo>
                  <a:lnTo>
                    <a:pt x="3316" y="1176"/>
                  </a:lnTo>
                  <a:lnTo>
                    <a:pt x="3316" y="1176"/>
                  </a:lnTo>
                  <a:lnTo>
                    <a:pt x="3311" y="1176"/>
                  </a:lnTo>
                  <a:lnTo>
                    <a:pt x="3311" y="1167"/>
                  </a:lnTo>
                  <a:lnTo>
                    <a:pt x="3307" y="1167"/>
                  </a:lnTo>
                  <a:lnTo>
                    <a:pt x="3307" y="1162"/>
                  </a:lnTo>
                  <a:lnTo>
                    <a:pt x="3307" y="1162"/>
                  </a:lnTo>
                  <a:lnTo>
                    <a:pt x="3307" y="1158"/>
                  </a:lnTo>
                  <a:lnTo>
                    <a:pt x="3298" y="1153"/>
                  </a:lnTo>
                  <a:lnTo>
                    <a:pt x="3298" y="1148"/>
                  </a:lnTo>
                  <a:lnTo>
                    <a:pt x="3289" y="1148"/>
                  </a:lnTo>
                  <a:lnTo>
                    <a:pt x="3289" y="1144"/>
                  </a:lnTo>
                  <a:lnTo>
                    <a:pt x="3289" y="1144"/>
                  </a:lnTo>
                  <a:lnTo>
                    <a:pt x="3289" y="1144"/>
                  </a:lnTo>
                  <a:lnTo>
                    <a:pt x="3284" y="1135"/>
                  </a:lnTo>
                  <a:lnTo>
                    <a:pt x="3284" y="1135"/>
                  </a:lnTo>
                  <a:lnTo>
                    <a:pt x="3284" y="1126"/>
                  </a:lnTo>
                  <a:lnTo>
                    <a:pt x="3284" y="1126"/>
                  </a:lnTo>
                  <a:lnTo>
                    <a:pt x="3284" y="1126"/>
                  </a:lnTo>
                  <a:lnTo>
                    <a:pt x="3284" y="1126"/>
                  </a:lnTo>
                  <a:lnTo>
                    <a:pt x="3284" y="1126"/>
                  </a:lnTo>
                  <a:lnTo>
                    <a:pt x="3289" y="1126"/>
                  </a:lnTo>
                  <a:lnTo>
                    <a:pt x="3284" y="1121"/>
                  </a:lnTo>
                  <a:lnTo>
                    <a:pt x="3280" y="1121"/>
                  </a:lnTo>
                  <a:lnTo>
                    <a:pt x="3280" y="1117"/>
                  </a:lnTo>
                  <a:lnTo>
                    <a:pt x="3275" y="1112"/>
                  </a:lnTo>
                  <a:lnTo>
                    <a:pt x="3271" y="1103"/>
                  </a:lnTo>
                  <a:lnTo>
                    <a:pt x="3266" y="1094"/>
                  </a:lnTo>
                  <a:lnTo>
                    <a:pt x="3266" y="1090"/>
                  </a:lnTo>
                  <a:lnTo>
                    <a:pt x="3262" y="1085"/>
                  </a:lnTo>
                  <a:lnTo>
                    <a:pt x="3253" y="1076"/>
                  </a:lnTo>
                  <a:lnTo>
                    <a:pt x="3253" y="1072"/>
                  </a:lnTo>
                  <a:lnTo>
                    <a:pt x="3253" y="1067"/>
                  </a:lnTo>
                  <a:lnTo>
                    <a:pt x="3248" y="1063"/>
                  </a:lnTo>
                  <a:lnTo>
                    <a:pt x="3248" y="1063"/>
                  </a:lnTo>
                  <a:lnTo>
                    <a:pt x="3248" y="1063"/>
                  </a:lnTo>
                  <a:lnTo>
                    <a:pt x="3248" y="1058"/>
                  </a:lnTo>
                  <a:lnTo>
                    <a:pt x="3244" y="1054"/>
                  </a:lnTo>
                  <a:lnTo>
                    <a:pt x="3244" y="1054"/>
                  </a:lnTo>
                  <a:lnTo>
                    <a:pt x="3244" y="1049"/>
                  </a:lnTo>
                  <a:lnTo>
                    <a:pt x="3244" y="1049"/>
                  </a:lnTo>
                  <a:lnTo>
                    <a:pt x="3239" y="1049"/>
                  </a:lnTo>
                  <a:lnTo>
                    <a:pt x="3239" y="1044"/>
                  </a:lnTo>
                  <a:lnTo>
                    <a:pt x="3235" y="1040"/>
                  </a:lnTo>
                  <a:lnTo>
                    <a:pt x="3230" y="1035"/>
                  </a:lnTo>
                  <a:lnTo>
                    <a:pt x="3230" y="1035"/>
                  </a:lnTo>
                  <a:lnTo>
                    <a:pt x="3230" y="1035"/>
                  </a:lnTo>
                  <a:lnTo>
                    <a:pt x="3230" y="1035"/>
                  </a:lnTo>
                  <a:lnTo>
                    <a:pt x="3226" y="1031"/>
                  </a:lnTo>
                  <a:lnTo>
                    <a:pt x="3226" y="1031"/>
                  </a:lnTo>
                  <a:lnTo>
                    <a:pt x="3226" y="1026"/>
                  </a:lnTo>
                  <a:lnTo>
                    <a:pt x="3226" y="1022"/>
                  </a:lnTo>
                  <a:lnTo>
                    <a:pt x="3226" y="1022"/>
                  </a:lnTo>
                  <a:lnTo>
                    <a:pt x="3221" y="1017"/>
                  </a:lnTo>
                  <a:lnTo>
                    <a:pt x="3221" y="1017"/>
                  </a:lnTo>
                  <a:lnTo>
                    <a:pt x="3221" y="1017"/>
                  </a:lnTo>
                  <a:lnTo>
                    <a:pt x="3226" y="1013"/>
                  </a:lnTo>
                  <a:lnTo>
                    <a:pt x="3221" y="1013"/>
                  </a:lnTo>
                  <a:lnTo>
                    <a:pt x="3226" y="1013"/>
                  </a:lnTo>
                  <a:lnTo>
                    <a:pt x="3226" y="1013"/>
                  </a:lnTo>
                  <a:lnTo>
                    <a:pt x="3226" y="1022"/>
                  </a:lnTo>
                  <a:lnTo>
                    <a:pt x="3230" y="1022"/>
                  </a:lnTo>
                  <a:lnTo>
                    <a:pt x="3230" y="1022"/>
                  </a:lnTo>
                  <a:lnTo>
                    <a:pt x="3230" y="1022"/>
                  </a:lnTo>
                  <a:lnTo>
                    <a:pt x="3235" y="1026"/>
                  </a:lnTo>
                  <a:lnTo>
                    <a:pt x="3235" y="1031"/>
                  </a:lnTo>
                  <a:lnTo>
                    <a:pt x="3235" y="1035"/>
                  </a:lnTo>
                  <a:lnTo>
                    <a:pt x="3239" y="1035"/>
                  </a:lnTo>
                  <a:lnTo>
                    <a:pt x="3239" y="1035"/>
                  </a:lnTo>
                  <a:lnTo>
                    <a:pt x="3239" y="1040"/>
                  </a:lnTo>
                  <a:lnTo>
                    <a:pt x="3244" y="1044"/>
                  </a:lnTo>
                  <a:lnTo>
                    <a:pt x="3248" y="1049"/>
                  </a:lnTo>
                  <a:lnTo>
                    <a:pt x="3253" y="1054"/>
                  </a:lnTo>
                  <a:lnTo>
                    <a:pt x="3257" y="1054"/>
                  </a:lnTo>
                  <a:lnTo>
                    <a:pt x="3257" y="1049"/>
                  </a:lnTo>
                  <a:lnTo>
                    <a:pt x="3257" y="1049"/>
                  </a:lnTo>
                  <a:lnTo>
                    <a:pt x="3257" y="1044"/>
                  </a:lnTo>
                  <a:lnTo>
                    <a:pt x="3257" y="1040"/>
                  </a:lnTo>
                  <a:lnTo>
                    <a:pt x="3262" y="1035"/>
                  </a:lnTo>
                  <a:lnTo>
                    <a:pt x="3262" y="1022"/>
                  </a:lnTo>
                  <a:lnTo>
                    <a:pt x="3262" y="1022"/>
                  </a:lnTo>
                  <a:lnTo>
                    <a:pt x="3262" y="1022"/>
                  </a:lnTo>
                  <a:lnTo>
                    <a:pt x="3266" y="1017"/>
                  </a:lnTo>
                  <a:lnTo>
                    <a:pt x="3266" y="1022"/>
                  </a:lnTo>
                  <a:lnTo>
                    <a:pt x="3266" y="1022"/>
                  </a:lnTo>
                  <a:lnTo>
                    <a:pt x="3262" y="1035"/>
                  </a:lnTo>
                  <a:lnTo>
                    <a:pt x="3262" y="1040"/>
                  </a:lnTo>
                  <a:lnTo>
                    <a:pt x="3262" y="1044"/>
                  </a:lnTo>
                  <a:lnTo>
                    <a:pt x="3262" y="1044"/>
                  </a:lnTo>
                  <a:lnTo>
                    <a:pt x="3262" y="1049"/>
                  </a:lnTo>
                  <a:lnTo>
                    <a:pt x="3262" y="1044"/>
                  </a:lnTo>
                  <a:lnTo>
                    <a:pt x="3266" y="1044"/>
                  </a:lnTo>
                  <a:lnTo>
                    <a:pt x="3271" y="1044"/>
                  </a:lnTo>
                  <a:lnTo>
                    <a:pt x="3271" y="1049"/>
                  </a:lnTo>
                  <a:lnTo>
                    <a:pt x="3275" y="1054"/>
                  </a:lnTo>
                  <a:lnTo>
                    <a:pt x="3280" y="1058"/>
                  </a:lnTo>
                  <a:lnTo>
                    <a:pt x="3280" y="1063"/>
                  </a:lnTo>
                  <a:lnTo>
                    <a:pt x="3284" y="1067"/>
                  </a:lnTo>
                  <a:lnTo>
                    <a:pt x="3289" y="1067"/>
                  </a:lnTo>
                  <a:lnTo>
                    <a:pt x="3289" y="1072"/>
                  </a:lnTo>
                  <a:lnTo>
                    <a:pt x="3289" y="1076"/>
                  </a:lnTo>
                  <a:lnTo>
                    <a:pt x="3298" y="1085"/>
                  </a:lnTo>
                  <a:lnTo>
                    <a:pt x="3298" y="1085"/>
                  </a:lnTo>
                  <a:lnTo>
                    <a:pt x="3298" y="1085"/>
                  </a:lnTo>
                  <a:lnTo>
                    <a:pt x="3302" y="1090"/>
                  </a:lnTo>
                  <a:lnTo>
                    <a:pt x="3302" y="1090"/>
                  </a:lnTo>
                  <a:lnTo>
                    <a:pt x="3302" y="1094"/>
                  </a:lnTo>
                  <a:lnTo>
                    <a:pt x="3307" y="1099"/>
                  </a:lnTo>
                  <a:lnTo>
                    <a:pt x="3311" y="1103"/>
                  </a:lnTo>
                  <a:lnTo>
                    <a:pt x="3311" y="1103"/>
                  </a:lnTo>
                  <a:lnTo>
                    <a:pt x="3311" y="1103"/>
                  </a:lnTo>
                  <a:lnTo>
                    <a:pt x="3311" y="1108"/>
                  </a:lnTo>
                  <a:lnTo>
                    <a:pt x="3307" y="1108"/>
                  </a:lnTo>
                  <a:lnTo>
                    <a:pt x="3311" y="1112"/>
                  </a:lnTo>
                  <a:lnTo>
                    <a:pt x="3316" y="1112"/>
                  </a:lnTo>
                  <a:lnTo>
                    <a:pt x="3316" y="1117"/>
                  </a:lnTo>
                  <a:lnTo>
                    <a:pt x="3316" y="1117"/>
                  </a:lnTo>
                  <a:lnTo>
                    <a:pt x="3320" y="1117"/>
                  </a:lnTo>
                  <a:lnTo>
                    <a:pt x="3320" y="1121"/>
                  </a:lnTo>
                  <a:lnTo>
                    <a:pt x="3320" y="1121"/>
                  </a:lnTo>
                  <a:lnTo>
                    <a:pt x="3325" y="1121"/>
                  </a:lnTo>
                  <a:lnTo>
                    <a:pt x="3325" y="1121"/>
                  </a:lnTo>
                  <a:lnTo>
                    <a:pt x="3330" y="1126"/>
                  </a:lnTo>
                  <a:lnTo>
                    <a:pt x="3334" y="1130"/>
                  </a:lnTo>
                  <a:lnTo>
                    <a:pt x="3334" y="1130"/>
                  </a:lnTo>
                  <a:lnTo>
                    <a:pt x="3339" y="1135"/>
                  </a:lnTo>
                  <a:lnTo>
                    <a:pt x="3339" y="1139"/>
                  </a:lnTo>
                  <a:lnTo>
                    <a:pt x="3339" y="1139"/>
                  </a:lnTo>
                  <a:lnTo>
                    <a:pt x="3339" y="1144"/>
                  </a:lnTo>
                  <a:lnTo>
                    <a:pt x="3343" y="1144"/>
                  </a:lnTo>
                  <a:lnTo>
                    <a:pt x="3339" y="1144"/>
                  </a:lnTo>
                  <a:lnTo>
                    <a:pt x="3343" y="1144"/>
                  </a:lnTo>
                  <a:lnTo>
                    <a:pt x="3343" y="1144"/>
                  </a:lnTo>
                  <a:lnTo>
                    <a:pt x="3343" y="1148"/>
                  </a:lnTo>
                  <a:lnTo>
                    <a:pt x="3343" y="1148"/>
                  </a:lnTo>
                  <a:lnTo>
                    <a:pt x="3343" y="1153"/>
                  </a:lnTo>
                  <a:lnTo>
                    <a:pt x="3343" y="1153"/>
                  </a:lnTo>
                  <a:lnTo>
                    <a:pt x="3343" y="1158"/>
                  </a:lnTo>
                  <a:lnTo>
                    <a:pt x="3343" y="1162"/>
                  </a:lnTo>
                  <a:lnTo>
                    <a:pt x="3343" y="1162"/>
                  </a:lnTo>
                  <a:lnTo>
                    <a:pt x="3343" y="1167"/>
                  </a:lnTo>
                  <a:lnTo>
                    <a:pt x="3348" y="1167"/>
                  </a:lnTo>
                  <a:lnTo>
                    <a:pt x="3348" y="1171"/>
                  </a:lnTo>
                  <a:lnTo>
                    <a:pt x="3348" y="1171"/>
                  </a:lnTo>
                  <a:lnTo>
                    <a:pt x="3348" y="1176"/>
                  </a:lnTo>
                  <a:lnTo>
                    <a:pt x="3352" y="1180"/>
                  </a:lnTo>
                  <a:lnTo>
                    <a:pt x="3352" y="1185"/>
                  </a:lnTo>
                  <a:lnTo>
                    <a:pt x="3357" y="1189"/>
                  </a:lnTo>
                  <a:lnTo>
                    <a:pt x="3357" y="1189"/>
                  </a:lnTo>
                  <a:lnTo>
                    <a:pt x="3361" y="1194"/>
                  </a:lnTo>
                  <a:lnTo>
                    <a:pt x="3366" y="1194"/>
                  </a:lnTo>
                  <a:lnTo>
                    <a:pt x="3370" y="1198"/>
                  </a:lnTo>
                  <a:lnTo>
                    <a:pt x="3375" y="1203"/>
                  </a:lnTo>
                  <a:lnTo>
                    <a:pt x="3379" y="1203"/>
                  </a:lnTo>
                  <a:lnTo>
                    <a:pt x="3379" y="1203"/>
                  </a:lnTo>
                  <a:lnTo>
                    <a:pt x="3379" y="1203"/>
                  </a:lnTo>
                  <a:lnTo>
                    <a:pt x="3379" y="1207"/>
                  </a:lnTo>
                  <a:lnTo>
                    <a:pt x="3379" y="1207"/>
                  </a:lnTo>
                  <a:lnTo>
                    <a:pt x="3384" y="1216"/>
                  </a:lnTo>
                  <a:lnTo>
                    <a:pt x="3384" y="1216"/>
                  </a:lnTo>
                  <a:lnTo>
                    <a:pt x="3384" y="1221"/>
                  </a:lnTo>
                  <a:lnTo>
                    <a:pt x="3388" y="1221"/>
                  </a:lnTo>
                  <a:lnTo>
                    <a:pt x="3388" y="1221"/>
                  </a:lnTo>
                  <a:lnTo>
                    <a:pt x="3388" y="1225"/>
                  </a:lnTo>
                  <a:lnTo>
                    <a:pt x="3393" y="1230"/>
                  </a:lnTo>
                  <a:lnTo>
                    <a:pt x="3393" y="1234"/>
                  </a:lnTo>
                  <a:lnTo>
                    <a:pt x="3397" y="1239"/>
                  </a:lnTo>
                  <a:lnTo>
                    <a:pt x="3402" y="1243"/>
                  </a:lnTo>
                  <a:lnTo>
                    <a:pt x="3406" y="1248"/>
                  </a:lnTo>
                  <a:lnTo>
                    <a:pt x="3406" y="1248"/>
                  </a:lnTo>
                  <a:lnTo>
                    <a:pt x="3406" y="1252"/>
                  </a:lnTo>
                  <a:lnTo>
                    <a:pt x="3411" y="1252"/>
                  </a:lnTo>
                  <a:lnTo>
                    <a:pt x="3411" y="1257"/>
                  </a:lnTo>
                  <a:lnTo>
                    <a:pt x="3411" y="1257"/>
                  </a:lnTo>
                  <a:lnTo>
                    <a:pt x="3411" y="1257"/>
                  </a:lnTo>
                  <a:lnTo>
                    <a:pt x="3415" y="1261"/>
                  </a:lnTo>
                  <a:lnTo>
                    <a:pt x="3415" y="1261"/>
                  </a:lnTo>
                  <a:lnTo>
                    <a:pt x="3415" y="1261"/>
                  </a:lnTo>
                  <a:lnTo>
                    <a:pt x="3415" y="1266"/>
                  </a:lnTo>
                  <a:lnTo>
                    <a:pt x="3415" y="1266"/>
                  </a:lnTo>
                  <a:lnTo>
                    <a:pt x="3415" y="1271"/>
                  </a:lnTo>
                  <a:lnTo>
                    <a:pt x="3415" y="1280"/>
                  </a:lnTo>
                  <a:lnTo>
                    <a:pt x="3415" y="1284"/>
                  </a:lnTo>
                  <a:lnTo>
                    <a:pt x="3415" y="1284"/>
                  </a:lnTo>
                  <a:lnTo>
                    <a:pt x="3415" y="1289"/>
                  </a:lnTo>
                  <a:lnTo>
                    <a:pt x="3415" y="1289"/>
                  </a:lnTo>
                  <a:lnTo>
                    <a:pt x="3415" y="1284"/>
                  </a:lnTo>
                  <a:lnTo>
                    <a:pt x="3415" y="1289"/>
                  </a:lnTo>
                  <a:lnTo>
                    <a:pt x="3420" y="1289"/>
                  </a:lnTo>
                  <a:lnTo>
                    <a:pt x="3420" y="1293"/>
                  </a:lnTo>
                  <a:lnTo>
                    <a:pt x="3420" y="1293"/>
                  </a:lnTo>
                  <a:lnTo>
                    <a:pt x="3420" y="1293"/>
                  </a:lnTo>
                  <a:lnTo>
                    <a:pt x="3420" y="1293"/>
                  </a:lnTo>
                  <a:lnTo>
                    <a:pt x="3420" y="1298"/>
                  </a:lnTo>
                  <a:lnTo>
                    <a:pt x="3420" y="1298"/>
                  </a:lnTo>
                  <a:lnTo>
                    <a:pt x="3420" y="1302"/>
                  </a:lnTo>
                  <a:lnTo>
                    <a:pt x="3420" y="1302"/>
                  </a:lnTo>
                  <a:lnTo>
                    <a:pt x="3420" y="1302"/>
                  </a:lnTo>
                  <a:lnTo>
                    <a:pt x="3424" y="1307"/>
                  </a:lnTo>
                  <a:lnTo>
                    <a:pt x="3424" y="1307"/>
                  </a:lnTo>
                  <a:lnTo>
                    <a:pt x="3424" y="1311"/>
                  </a:lnTo>
                  <a:lnTo>
                    <a:pt x="3424" y="1316"/>
                  </a:lnTo>
                  <a:lnTo>
                    <a:pt x="3429" y="1316"/>
                  </a:lnTo>
                  <a:lnTo>
                    <a:pt x="3429" y="1316"/>
                  </a:lnTo>
                  <a:lnTo>
                    <a:pt x="3429" y="1325"/>
                  </a:lnTo>
                  <a:lnTo>
                    <a:pt x="3433" y="1334"/>
                  </a:lnTo>
                  <a:lnTo>
                    <a:pt x="3433" y="1334"/>
                  </a:lnTo>
                  <a:lnTo>
                    <a:pt x="3433" y="1334"/>
                  </a:lnTo>
                  <a:lnTo>
                    <a:pt x="3438" y="1338"/>
                  </a:lnTo>
                  <a:lnTo>
                    <a:pt x="3438" y="1338"/>
                  </a:lnTo>
                  <a:lnTo>
                    <a:pt x="3442" y="1338"/>
                  </a:lnTo>
                  <a:lnTo>
                    <a:pt x="3442" y="1338"/>
                  </a:lnTo>
                  <a:lnTo>
                    <a:pt x="3447" y="1338"/>
                  </a:lnTo>
                  <a:lnTo>
                    <a:pt x="3447" y="1338"/>
                  </a:lnTo>
                  <a:lnTo>
                    <a:pt x="3451" y="1334"/>
                  </a:lnTo>
                  <a:lnTo>
                    <a:pt x="3456" y="1334"/>
                  </a:lnTo>
                  <a:lnTo>
                    <a:pt x="3456" y="1334"/>
                  </a:lnTo>
                  <a:lnTo>
                    <a:pt x="3461" y="1334"/>
                  </a:lnTo>
                  <a:lnTo>
                    <a:pt x="3461" y="1329"/>
                  </a:lnTo>
                  <a:lnTo>
                    <a:pt x="3461" y="1329"/>
                  </a:lnTo>
                  <a:lnTo>
                    <a:pt x="3465" y="1329"/>
                  </a:lnTo>
                  <a:lnTo>
                    <a:pt x="3465" y="1325"/>
                  </a:lnTo>
                  <a:lnTo>
                    <a:pt x="3470" y="1325"/>
                  </a:lnTo>
                  <a:lnTo>
                    <a:pt x="3474" y="1320"/>
                  </a:lnTo>
                  <a:lnTo>
                    <a:pt x="3479" y="1320"/>
                  </a:lnTo>
                  <a:lnTo>
                    <a:pt x="3483" y="1320"/>
                  </a:lnTo>
                  <a:lnTo>
                    <a:pt x="3488" y="1320"/>
                  </a:lnTo>
                  <a:lnTo>
                    <a:pt x="3488" y="1320"/>
                  </a:lnTo>
                  <a:lnTo>
                    <a:pt x="3492" y="1320"/>
                  </a:lnTo>
                  <a:lnTo>
                    <a:pt x="3497" y="1320"/>
                  </a:lnTo>
                  <a:lnTo>
                    <a:pt x="3497" y="1316"/>
                  </a:lnTo>
                  <a:lnTo>
                    <a:pt x="3501" y="1311"/>
                  </a:lnTo>
                  <a:lnTo>
                    <a:pt x="3506" y="1311"/>
                  </a:lnTo>
                  <a:lnTo>
                    <a:pt x="3506" y="1311"/>
                  </a:lnTo>
                  <a:lnTo>
                    <a:pt x="3510" y="1311"/>
                  </a:lnTo>
                  <a:lnTo>
                    <a:pt x="3515" y="1311"/>
                  </a:lnTo>
                  <a:lnTo>
                    <a:pt x="3515" y="1311"/>
                  </a:lnTo>
                  <a:lnTo>
                    <a:pt x="3519" y="1311"/>
                  </a:lnTo>
                  <a:lnTo>
                    <a:pt x="3519" y="1311"/>
                  </a:lnTo>
                  <a:lnTo>
                    <a:pt x="3524" y="1307"/>
                  </a:lnTo>
                  <a:lnTo>
                    <a:pt x="3524" y="1307"/>
                  </a:lnTo>
                  <a:lnTo>
                    <a:pt x="3524" y="1302"/>
                  </a:lnTo>
                  <a:lnTo>
                    <a:pt x="3528" y="1302"/>
                  </a:lnTo>
                  <a:lnTo>
                    <a:pt x="3528" y="1302"/>
                  </a:lnTo>
                  <a:lnTo>
                    <a:pt x="3533" y="1298"/>
                  </a:lnTo>
                  <a:lnTo>
                    <a:pt x="3533" y="1298"/>
                  </a:lnTo>
                  <a:lnTo>
                    <a:pt x="3542" y="1293"/>
                  </a:lnTo>
                  <a:lnTo>
                    <a:pt x="3546" y="1293"/>
                  </a:lnTo>
                  <a:lnTo>
                    <a:pt x="3546" y="1293"/>
                  </a:lnTo>
                  <a:lnTo>
                    <a:pt x="3551" y="1289"/>
                  </a:lnTo>
                  <a:lnTo>
                    <a:pt x="3560" y="1289"/>
                  </a:lnTo>
                  <a:lnTo>
                    <a:pt x="3564" y="1289"/>
                  </a:lnTo>
                  <a:lnTo>
                    <a:pt x="3569" y="1284"/>
                  </a:lnTo>
                  <a:lnTo>
                    <a:pt x="3569" y="1284"/>
                  </a:lnTo>
                  <a:lnTo>
                    <a:pt x="3573" y="1284"/>
                  </a:lnTo>
                  <a:lnTo>
                    <a:pt x="3573" y="1284"/>
                  </a:lnTo>
                  <a:lnTo>
                    <a:pt x="3573" y="1280"/>
                  </a:lnTo>
                  <a:lnTo>
                    <a:pt x="3578" y="1280"/>
                  </a:lnTo>
                  <a:lnTo>
                    <a:pt x="3578" y="1280"/>
                  </a:lnTo>
                  <a:lnTo>
                    <a:pt x="3578" y="1275"/>
                  </a:lnTo>
                  <a:lnTo>
                    <a:pt x="3578" y="1275"/>
                  </a:lnTo>
                  <a:lnTo>
                    <a:pt x="3578" y="1271"/>
                  </a:lnTo>
                  <a:lnTo>
                    <a:pt x="3578" y="1266"/>
                  </a:lnTo>
                  <a:lnTo>
                    <a:pt x="3583" y="1266"/>
                  </a:lnTo>
                  <a:lnTo>
                    <a:pt x="3583" y="1261"/>
                  </a:lnTo>
                  <a:lnTo>
                    <a:pt x="3592" y="1261"/>
                  </a:lnTo>
                  <a:lnTo>
                    <a:pt x="3596" y="1257"/>
                  </a:lnTo>
                  <a:lnTo>
                    <a:pt x="3601" y="1257"/>
                  </a:lnTo>
                  <a:lnTo>
                    <a:pt x="3605" y="1257"/>
                  </a:lnTo>
                  <a:lnTo>
                    <a:pt x="3605" y="1252"/>
                  </a:lnTo>
                  <a:lnTo>
                    <a:pt x="3610" y="1252"/>
                  </a:lnTo>
                  <a:lnTo>
                    <a:pt x="3614" y="1252"/>
                  </a:lnTo>
                  <a:lnTo>
                    <a:pt x="3619" y="1252"/>
                  </a:lnTo>
                  <a:lnTo>
                    <a:pt x="3619" y="1252"/>
                  </a:lnTo>
                  <a:lnTo>
                    <a:pt x="3619" y="1252"/>
                  </a:lnTo>
                  <a:lnTo>
                    <a:pt x="3628" y="1252"/>
                  </a:lnTo>
                  <a:lnTo>
                    <a:pt x="3628" y="1248"/>
                  </a:lnTo>
                  <a:lnTo>
                    <a:pt x="3628" y="1248"/>
                  </a:lnTo>
                  <a:lnTo>
                    <a:pt x="3628" y="1243"/>
                  </a:lnTo>
                  <a:lnTo>
                    <a:pt x="3628" y="1243"/>
                  </a:lnTo>
                  <a:lnTo>
                    <a:pt x="3628" y="1243"/>
                  </a:lnTo>
                  <a:lnTo>
                    <a:pt x="3628" y="1243"/>
                  </a:lnTo>
                  <a:lnTo>
                    <a:pt x="3632" y="1234"/>
                  </a:lnTo>
                  <a:lnTo>
                    <a:pt x="3632" y="1234"/>
                  </a:lnTo>
                  <a:lnTo>
                    <a:pt x="3641" y="1234"/>
                  </a:lnTo>
                  <a:lnTo>
                    <a:pt x="3646" y="1234"/>
                  </a:lnTo>
                  <a:lnTo>
                    <a:pt x="3646" y="1234"/>
                  </a:lnTo>
                  <a:lnTo>
                    <a:pt x="3650" y="1230"/>
                  </a:lnTo>
                  <a:lnTo>
                    <a:pt x="3650" y="1221"/>
                  </a:lnTo>
                  <a:lnTo>
                    <a:pt x="3655" y="1221"/>
                  </a:lnTo>
                  <a:lnTo>
                    <a:pt x="3655" y="1216"/>
                  </a:lnTo>
                  <a:lnTo>
                    <a:pt x="3659" y="1216"/>
                  </a:lnTo>
                  <a:lnTo>
                    <a:pt x="3664" y="1216"/>
                  </a:lnTo>
                  <a:lnTo>
                    <a:pt x="3668" y="1216"/>
                  </a:lnTo>
                  <a:lnTo>
                    <a:pt x="3668" y="1216"/>
                  </a:lnTo>
                  <a:lnTo>
                    <a:pt x="3668" y="1212"/>
                  </a:lnTo>
                  <a:lnTo>
                    <a:pt x="3668" y="1212"/>
                  </a:lnTo>
                  <a:lnTo>
                    <a:pt x="3668" y="1207"/>
                  </a:lnTo>
                  <a:lnTo>
                    <a:pt x="3668" y="1207"/>
                  </a:lnTo>
                  <a:lnTo>
                    <a:pt x="3668" y="1203"/>
                  </a:lnTo>
                  <a:lnTo>
                    <a:pt x="3664" y="1203"/>
                  </a:lnTo>
                  <a:lnTo>
                    <a:pt x="3668" y="1198"/>
                  </a:lnTo>
                  <a:lnTo>
                    <a:pt x="3668" y="1194"/>
                  </a:lnTo>
                  <a:lnTo>
                    <a:pt x="3668" y="1194"/>
                  </a:lnTo>
                  <a:lnTo>
                    <a:pt x="3668" y="1189"/>
                  </a:lnTo>
                  <a:lnTo>
                    <a:pt x="3668" y="1189"/>
                  </a:lnTo>
                  <a:lnTo>
                    <a:pt x="3668" y="1185"/>
                  </a:lnTo>
                  <a:lnTo>
                    <a:pt x="3673" y="1185"/>
                  </a:lnTo>
                  <a:lnTo>
                    <a:pt x="3673" y="1185"/>
                  </a:lnTo>
                  <a:lnTo>
                    <a:pt x="3673" y="1185"/>
                  </a:lnTo>
                  <a:lnTo>
                    <a:pt x="3673" y="1185"/>
                  </a:lnTo>
                  <a:lnTo>
                    <a:pt x="3673" y="1189"/>
                  </a:lnTo>
                  <a:lnTo>
                    <a:pt x="3677" y="1189"/>
                  </a:lnTo>
                  <a:lnTo>
                    <a:pt x="3677" y="1189"/>
                  </a:lnTo>
                  <a:lnTo>
                    <a:pt x="3677" y="1185"/>
                  </a:lnTo>
                  <a:lnTo>
                    <a:pt x="3682" y="1180"/>
                  </a:lnTo>
                  <a:lnTo>
                    <a:pt x="3682" y="1176"/>
                  </a:lnTo>
                  <a:lnTo>
                    <a:pt x="3686" y="1171"/>
                  </a:lnTo>
                  <a:lnTo>
                    <a:pt x="3691" y="1167"/>
                  </a:lnTo>
                  <a:lnTo>
                    <a:pt x="3691" y="1167"/>
                  </a:lnTo>
                  <a:lnTo>
                    <a:pt x="3691" y="1162"/>
                  </a:lnTo>
                  <a:lnTo>
                    <a:pt x="3695" y="1158"/>
                  </a:lnTo>
                  <a:lnTo>
                    <a:pt x="3695" y="1158"/>
                  </a:lnTo>
                  <a:lnTo>
                    <a:pt x="3695" y="1153"/>
                  </a:lnTo>
                  <a:lnTo>
                    <a:pt x="3695" y="1148"/>
                  </a:lnTo>
                  <a:lnTo>
                    <a:pt x="3695" y="1148"/>
                  </a:lnTo>
                  <a:lnTo>
                    <a:pt x="3695" y="1148"/>
                  </a:lnTo>
                  <a:lnTo>
                    <a:pt x="3691" y="1144"/>
                  </a:lnTo>
                  <a:lnTo>
                    <a:pt x="3691" y="1144"/>
                  </a:lnTo>
                  <a:lnTo>
                    <a:pt x="3686" y="1144"/>
                  </a:lnTo>
                  <a:lnTo>
                    <a:pt x="3686" y="1139"/>
                  </a:lnTo>
                  <a:lnTo>
                    <a:pt x="3682" y="1139"/>
                  </a:lnTo>
                  <a:lnTo>
                    <a:pt x="3682" y="1135"/>
                  </a:lnTo>
                  <a:lnTo>
                    <a:pt x="3677" y="1135"/>
                  </a:lnTo>
                  <a:lnTo>
                    <a:pt x="3677" y="1130"/>
                  </a:lnTo>
                  <a:lnTo>
                    <a:pt x="3677" y="1130"/>
                  </a:lnTo>
                  <a:lnTo>
                    <a:pt x="3673" y="1126"/>
                  </a:lnTo>
                  <a:lnTo>
                    <a:pt x="3673" y="1126"/>
                  </a:lnTo>
                  <a:lnTo>
                    <a:pt x="3668" y="1126"/>
                  </a:lnTo>
                  <a:lnTo>
                    <a:pt x="3668" y="1126"/>
                  </a:lnTo>
                  <a:lnTo>
                    <a:pt x="3668" y="1126"/>
                  </a:lnTo>
                  <a:lnTo>
                    <a:pt x="3664" y="1126"/>
                  </a:lnTo>
                  <a:lnTo>
                    <a:pt x="3659" y="1121"/>
                  </a:lnTo>
                  <a:lnTo>
                    <a:pt x="3655" y="1121"/>
                  </a:lnTo>
                  <a:lnTo>
                    <a:pt x="3646" y="1121"/>
                  </a:lnTo>
                  <a:lnTo>
                    <a:pt x="3646" y="1121"/>
                  </a:lnTo>
                  <a:lnTo>
                    <a:pt x="3641" y="1117"/>
                  </a:lnTo>
                  <a:lnTo>
                    <a:pt x="3641" y="1112"/>
                  </a:lnTo>
                  <a:lnTo>
                    <a:pt x="3637" y="1112"/>
                  </a:lnTo>
                  <a:lnTo>
                    <a:pt x="3632" y="1103"/>
                  </a:lnTo>
                  <a:lnTo>
                    <a:pt x="3632" y="1099"/>
                  </a:lnTo>
                  <a:lnTo>
                    <a:pt x="3632" y="1099"/>
                  </a:lnTo>
                  <a:lnTo>
                    <a:pt x="3628" y="1090"/>
                  </a:lnTo>
                  <a:lnTo>
                    <a:pt x="3628" y="1090"/>
                  </a:lnTo>
                  <a:lnTo>
                    <a:pt x="3628" y="1085"/>
                  </a:lnTo>
                  <a:lnTo>
                    <a:pt x="3628" y="1085"/>
                  </a:lnTo>
                  <a:lnTo>
                    <a:pt x="3628" y="1085"/>
                  </a:lnTo>
                  <a:lnTo>
                    <a:pt x="3628" y="1081"/>
                  </a:lnTo>
                  <a:lnTo>
                    <a:pt x="3628" y="1076"/>
                  </a:lnTo>
                  <a:lnTo>
                    <a:pt x="3628" y="1076"/>
                  </a:lnTo>
                  <a:lnTo>
                    <a:pt x="3628" y="1076"/>
                  </a:lnTo>
                  <a:lnTo>
                    <a:pt x="3628" y="1076"/>
                  </a:lnTo>
                  <a:lnTo>
                    <a:pt x="3628" y="1076"/>
                  </a:lnTo>
                  <a:lnTo>
                    <a:pt x="3628" y="1076"/>
                  </a:lnTo>
                  <a:lnTo>
                    <a:pt x="3623" y="1076"/>
                  </a:lnTo>
                  <a:lnTo>
                    <a:pt x="3623" y="1076"/>
                  </a:lnTo>
                  <a:lnTo>
                    <a:pt x="3623" y="1076"/>
                  </a:lnTo>
                  <a:lnTo>
                    <a:pt x="3623" y="1081"/>
                  </a:lnTo>
                  <a:lnTo>
                    <a:pt x="3623" y="1081"/>
                  </a:lnTo>
                  <a:lnTo>
                    <a:pt x="3623" y="1081"/>
                  </a:lnTo>
                  <a:lnTo>
                    <a:pt x="3623" y="1085"/>
                  </a:lnTo>
                  <a:lnTo>
                    <a:pt x="3614" y="1090"/>
                  </a:lnTo>
                  <a:lnTo>
                    <a:pt x="3614" y="1094"/>
                  </a:lnTo>
                  <a:lnTo>
                    <a:pt x="3614" y="1094"/>
                  </a:lnTo>
                  <a:lnTo>
                    <a:pt x="3614" y="1094"/>
                  </a:lnTo>
                  <a:lnTo>
                    <a:pt x="3610" y="1099"/>
                  </a:lnTo>
                  <a:lnTo>
                    <a:pt x="3605" y="1103"/>
                  </a:lnTo>
                  <a:lnTo>
                    <a:pt x="3601" y="1108"/>
                  </a:lnTo>
                  <a:lnTo>
                    <a:pt x="3601" y="1108"/>
                  </a:lnTo>
                  <a:lnTo>
                    <a:pt x="3601" y="1108"/>
                  </a:lnTo>
                  <a:lnTo>
                    <a:pt x="3601" y="1108"/>
                  </a:lnTo>
                  <a:lnTo>
                    <a:pt x="3601" y="1112"/>
                  </a:lnTo>
                  <a:lnTo>
                    <a:pt x="3601" y="1112"/>
                  </a:lnTo>
                  <a:lnTo>
                    <a:pt x="3601" y="1112"/>
                  </a:lnTo>
                  <a:lnTo>
                    <a:pt x="3596" y="1117"/>
                  </a:lnTo>
                  <a:lnTo>
                    <a:pt x="3596" y="1117"/>
                  </a:lnTo>
                  <a:lnTo>
                    <a:pt x="3592" y="1117"/>
                  </a:lnTo>
                  <a:lnTo>
                    <a:pt x="3592" y="1117"/>
                  </a:lnTo>
                  <a:lnTo>
                    <a:pt x="3583" y="1117"/>
                  </a:lnTo>
                  <a:lnTo>
                    <a:pt x="3578" y="1117"/>
                  </a:lnTo>
                  <a:lnTo>
                    <a:pt x="3569" y="1117"/>
                  </a:lnTo>
                  <a:lnTo>
                    <a:pt x="3569" y="1117"/>
                  </a:lnTo>
                  <a:lnTo>
                    <a:pt x="3564" y="1121"/>
                  </a:lnTo>
                  <a:lnTo>
                    <a:pt x="3560" y="1121"/>
                  </a:lnTo>
                  <a:lnTo>
                    <a:pt x="3560" y="1121"/>
                  </a:lnTo>
                  <a:lnTo>
                    <a:pt x="3555" y="1121"/>
                  </a:lnTo>
                  <a:lnTo>
                    <a:pt x="3555" y="1117"/>
                  </a:lnTo>
                  <a:lnTo>
                    <a:pt x="3555" y="1117"/>
                  </a:lnTo>
                  <a:lnTo>
                    <a:pt x="3555" y="1117"/>
                  </a:lnTo>
                  <a:lnTo>
                    <a:pt x="3555" y="1117"/>
                  </a:lnTo>
                  <a:lnTo>
                    <a:pt x="3551" y="1117"/>
                  </a:lnTo>
                  <a:lnTo>
                    <a:pt x="3551" y="1112"/>
                  </a:lnTo>
                  <a:lnTo>
                    <a:pt x="3551" y="1117"/>
                  </a:lnTo>
                  <a:lnTo>
                    <a:pt x="3551" y="1117"/>
                  </a:lnTo>
                  <a:lnTo>
                    <a:pt x="3551" y="1112"/>
                  </a:lnTo>
                  <a:lnTo>
                    <a:pt x="3551" y="1112"/>
                  </a:lnTo>
                  <a:lnTo>
                    <a:pt x="3546" y="1112"/>
                  </a:lnTo>
                  <a:lnTo>
                    <a:pt x="3546" y="1112"/>
                  </a:lnTo>
                  <a:lnTo>
                    <a:pt x="3551" y="1112"/>
                  </a:lnTo>
                  <a:lnTo>
                    <a:pt x="3546" y="1108"/>
                  </a:lnTo>
                  <a:lnTo>
                    <a:pt x="3546" y="1108"/>
                  </a:lnTo>
                  <a:lnTo>
                    <a:pt x="3546" y="1108"/>
                  </a:lnTo>
                  <a:lnTo>
                    <a:pt x="3546" y="1108"/>
                  </a:lnTo>
                  <a:lnTo>
                    <a:pt x="3546" y="1108"/>
                  </a:lnTo>
                  <a:lnTo>
                    <a:pt x="3551" y="1103"/>
                  </a:lnTo>
                  <a:lnTo>
                    <a:pt x="3551" y="1103"/>
                  </a:lnTo>
                  <a:lnTo>
                    <a:pt x="3551" y="1099"/>
                  </a:lnTo>
                  <a:lnTo>
                    <a:pt x="3551" y="1099"/>
                  </a:lnTo>
                  <a:lnTo>
                    <a:pt x="3551" y="1094"/>
                  </a:lnTo>
                  <a:lnTo>
                    <a:pt x="3546" y="1094"/>
                  </a:lnTo>
                  <a:lnTo>
                    <a:pt x="3546" y="1094"/>
                  </a:lnTo>
                  <a:lnTo>
                    <a:pt x="3546" y="1090"/>
                  </a:lnTo>
                  <a:lnTo>
                    <a:pt x="3546" y="1090"/>
                  </a:lnTo>
                  <a:lnTo>
                    <a:pt x="3546" y="1085"/>
                  </a:lnTo>
                  <a:lnTo>
                    <a:pt x="3546" y="1085"/>
                  </a:lnTo>
                  <a:lnTo>
                    <a:pt x="3546" y="1081"/>
                  </a:lnTo>
                  <a:lnTo>
                    <a:pt x="3542" y="1081"/>
                  </a:lnTo>
                  <a:lnTo>
                    <a:pt x="3542" y="1081"/>
                  </a:lnTo>
                  <a:lnTo>
                    <a:pt x="3537" y="1081"/>
                  </a:lnTo>
                  <a:lnTo>
                    <a:pt x="3537" y="1090"/>
                  </a:lnTo>
                  <a:lnTo>
                    <a:pt x="3537" y="1090"/>
                  </a:lnTo>
                  <a:lnTo>
                    <a:pt x="3537" y="1094"/>
                  </a:lnTo>
                  <a:lnTo>
                    <a:pt x="3537" y="1094"/>
                  </a:lnTo>
                  <a:lnTo>
                    <a:pt x="3537" y="1094"/>
                  </a:lnTo>
                  <a:lnTo>
                    <a:pt x="3537" y="1099"/>
                  </a:lnTo>
                  <a:lnTo>
                    <a:pt x="3537" y="1103"/>
                  </a:lnTo>
                  <a:lnTo>
                    <a:pt x="3537" y="1103"/>
                  </a:lnTo>
                  <a:lnTo>
                    <a:pt x="3537" y="1103"/>
                  </a:lnTo>
                  <a:lnTo>
                    <a:pt x="3537" y="1103"/>
                  </a:lnTo>
                  <a:lnTo>
                    <a:pt x="3537" y="1103"/>
                  </a:lnTo>
                  <a:lnTo>
                    <a:pt x="3533" y="1099"/>
                  </a:lnTo>
                  <a:lnTo>
                    <a:pt x="3533" y="1094"/>
                  </a:lnTo>
                  <a:lnTo>
                    <a:pt x="3528" y="1094"/>
                  </a:lnTo>
                  <a:lnTo>
                    <a:pt x="3528" y="1090"/>
                  </a:lnTo>
                  <a:lnTo>
                    <a:pt x="3528" y="1090"/>
                  </a:lnTo>
                  <a:lnTo>
                    <a:pt x="3524" y="1085"/>
                  </a:lnTo>
                  <a:lnTo>
                    <a:pt x="3524" y="1085"/>
                  </a:lnTo>
                  <a:lnTo>
                    <a:pt x="3524" y="1085"/>
                  </a:lnTo>
                  <a:lnTo>
                    <a:pt x="3524" y="1081"/>
                  </a:lnTo>
                  <a:lnTo>
                    <a:pt x="3524" y="1081"/>
                  </a:lnTo>
                  <a:lnTo>
                    <a:pt x="3524" y="1081"/>
                  </a:lnTo>
                  <a:lnTo>
                    <a:pt x="3524" y="1081"/>
                  </a:lnTo>
                  <a:lnTo>
                    <a:pt x="3524" y="1081"/>
                  </a:lnTo>
                  <a:lnTo>
                    <a:pt x="3524" y="1076"/>
                  </a:lnTo>
                  <a:lnTo>
                    <a:pt x="3524" y="1076"/>
                  </a:lnTo>
                  <a:lnTo>
                    <a:pt x="3524" y="1076"/>
                  </a:lnTo>
                  <a:lnTo>
                    <a:pt x="3519" y="1072"/>
                  </a:lnTo>
                  <a:lnTo>
                    <a:pt x="3519" y="1072"/>
                  </a:lnTo>
                  <a:lnTo>
                    <a:pt x="3519" y="1072"/>
                  </a:lnTo>
                  <a:lnTo>
                    <a:pt x="3519" y="1072"/>
                  </a:lnTo>
                  <a:lnTo>
                    <a:pt x="3519" y="1072"/>
                  </a:lnTo>
                  <a:lnTo>
                    <a:pt x="3524" y="1072"/>
                  </a:lnTo>
                  <a:lnTo>
                    <a:pt x="3524" y="1072"/>
                  </a:lnTo>
                  <a:lnTo>
                    <a:pt x="3519" y="1067"/>
                  </a:lnTo>
                  <a:lnTo>
                    <a:pt x="3515" y="1063"/>
                  </a:lnTo>
                  <a:lnTo>
                    <a:pt x="3510" y="1063"/>
                  </a:lnTo>
                  <a:lnTo>
                    <a:pt x="3510" y="1063"/>
                  </a:lnTo>
                  <a:lnTo>
                    <a:pt x="3506" y="1058"/>
                  </a:lnTo>
                  <a:lnTo>
                    <a:pt x="3506" y="1054"/>
                  </a:lnTo>
                  <a:lnTo>
                    <a:pt x="3506" y="1054"/>
                  </a:lnTo>
                  <a:lnTo>
                    <a:pt x="3506" y="1054"/>
                  </a:lnTo>
                  <a:lnTo>
                    <a:pt x="3501" y="1054"/>
                  </a:lnTo>
                  <a:lnTo>
                    <a:pt x="3501" y="1054"/>
                  </a:lnTo>
                  <a:lnTo>
                    <a:pt x="3497" y="1049"/>
                  </a:lnTo>
                  <a:lnTo>
                    <a:pt x="3497" y="1049"/>
                  </a:lnTo>
                  <a:lnTo>
                    <a:pt x="3497" y="1049"/>
                  </a:lnTo>
                  <a:lnTo>
                    <a:pt x="3497" y="1049"/>
                  </a:lnTo>
                  <a:lnTo>
                    <a:pt x="3497" y="1044"/>
                  </a:lnTo>
                  <a:lnTo>
                    <a:pt x="3492" y="1044"/>
                  </a:lnTo>
                  <a:lnTo>
                    <a:pt x="3492" y="1040"/>
                  </a:lnTo>
                  <a:lnTo>
                    <a:pt x="3492" y="1035"/>
                  </a:lnTo>
                  <a:lnTo>
                    <a:pt x="3488" y="1035"/>
                  </a:lnTo>
                  <a:lnTo>
                    <a:pt x="3488" y="1035"/>
                  </a:lnTo>
                  <a:lnTo>
                    <a:pt x="3488" y="1031"/>
                  </a:lnTo>
                  <a:lnTo>
                    <a:pt x="3488" y="1031"/>
                  </a:lnTo>
                  <a:lnTo>
                    <a:pt x="3488" y="1026"/>
                  </a:lnTo>
                  <a:lnTo>
                    <a:pt x="3483" y="1026"/>
                  </a:lnTo>
                  <a:lnTo>
                    <a:pt x="3483" y="1022"/>
                  </a:lnTo>
                  <a:lnTo>
                    <a:pt x="3483" y="1022"/>
                  </a:lnTo>
                  <a:lnTo>
                    <a:pt x="3483" y="1022"/>
                  </a:lnTo>
                  <a:lnTo>
                    <a:pt x="3479" y="1017"/>
                  </a:lnTo>
                  <a:lnTo>
                    <a:pt x="3479" y="1017"/>
                  </a:lnTo>
                  <a:lnTo>
                    <a:pt x="3479" y="1017"/>
                  </a:lnTo>
                  <a:lnTo>
                    <a:pt x="3474" y="1017"/>
                  </a:lnTo>
                  <a:lnTo>
                    <a:pt x="3474" y="1017"/>
                  </a:lnTo>
                  <a:lnTo>
                    <a:pt x="3479" y="1017"/>
                  </a:lnTo>
                  <a:lnTo>
                    <a:pt x="3479" y="1013"/>
                  </a:lnTo>
                  <a:lnTo>
                    <a:pt x="3479" y="1017"/>
                  </a:lnTo>
                  <a:lnTo>
                    <a:pt x="3483" y="1017"/>
                  </a:lnTo>
                  <a:lnTo>
                    <a:pt x="3483" y="1017"/>
                  </a:lnTo>
                  <a:lnTo>
                    <a:pt x="3483" y="1013"/>
                  </a:lnTo>
                  <a:lnTo>
                    <a:pt x="3479" y="1013"/>
                  </a:lnTo>
                  <a:lnTo>
                    <a:pt x="3479" y="1013"/>
                  </a:lnTo>
                  <a:lnTo>
                    <a:pt x="3479" y="1008"/>
                  </a:lnTo>
                  <a:lnTo>
                    <a:pt x="3479" y="1008"/>
                  </a:lnTo>
                  <a:lnTo>
                    <a:pt x="3479" y="1008"/>
                  </a:lnTo>
                  <a:lnTo>
                    <a:pt x="3479" y="1008"/>
                  </a:lnTo>
                  <a:lnTo>
                    <a:pt x="3479" y="1008"/>
                  </a:lnTo>
                  <a:lnTo>
                    <a:pt x="3483" y="1008"/>
                  </a:lnTo>
                  <a:lnTo>
                    <a:pt x="3488" y="1008"/>
                  </a:lnTo>
                  <a:lnTo>
                    <a:pt x="3488" y="1008"/>
                  </a:lnTo>
                  <a:lnTo>
                    <a:pt x="3488" y="1008"/>
                  </a:lnTo>
                  <a:lnTo>
                    <a:pt x="3488" y="1008"/>
                  </a:lnTo>
                  <a:lnTo>
                    <a:pt x="3492" y="1008"/>
                  </a:lnTo>
                  <a:lnTo>
                    <a:pt x="3492" y="1008"/>
                  </a:lnTo>
                  <a:lnTo>
                    <a:pt x="3492" y="1004"/>
                  </a:lnTo>
                  <a:lnTo>
                    <a:pt x="3492" y="1004"/>
                  </a:lnTo>
                  <a:lnTo>
                    <a:pt x="3492" y="999"/>
                  </a:lnTo>
                  <a:lnTo>
                    <a:pt x="3492" y="999"/>
                  </a:lnTo>
                  <a:lnTo>
                    <a:pt x="3492" y="999"/>
                  </a:lnTo>
                  <a:lnTo>
                    <a:pt x="3492" y="999"/>
                  </a:lnTo>
                  <a:lnTo>
                    <a:pt x="3497" y="999"/>
                  </a:lnTo>
                  <a:lnTo>
                    <a:pt x="3497" y="999"/>
                  </a:lnTo>
                  <a:lnTo>
                    <a:pt x="3497" y="999"/>
                  </a:lnTo>
                  <a:lnTo>
                    <a:pt x="3497" y="999"/>
                  </a:lnTo>
                  <a:lnTo>
                    <a:pt x="3497" y="999"/>
                  </a:lnTo>
                  <a:lnTo>
                    <a:pt x="3497" y="999"/>
                  </a:lnTo>
                  <a:lnTo>
                    <a:pt x="3492" y="999"/>
                  </a:lnTo>
                  <a:lnTo>
                    <a:pt x="3497" y="999"/>
                  </a:lnTo>
                  <a:lnTo>
                    <a:pt x="3497" y="999"/>
                  </a:lnTo>
                  <a:lnTo>
                    <a:pt x="3501" y="1004"/>
                  </a:lnTo>
                  <a:lnTo>
                    <a:pt x="3506" y="1008"/>
                  </a:lnTo>
                  <a:lnTo>
                    <a:pt x="3510" y="1004"/>
                  </a:lnTo>
                  <a:lnTo>
                    <a:pt x="3510" y="1004"/>
                  </a:lnTo>
                  <a:lnTo>
                    <a:pt x="3515" y="1008"/>
                  </a:lnTo>
                  <a:lnTo>
                    <a:pt x="3515" y="1008"/>
                  </a:lnTo>
                  <a:lnTo>
                    <a:pt x="3515" y="1008"/>
                  </a:lnTo>
                  <a:lnTo>
                    <a:pt x="3519" y="1013"/>
                  </a:lnTo>
                  <a:lnTo>
                    <a:pt x="3524" y="1017"/>
                  </a:lnTo>
                  <a:lnTo>
                    <a:pt x="3524" y="1017"/>
                  </a:lnTo>
                  <a:lnTo>
                    <a:pt x="3524" y="1017"/>
                  </a:lnTo>
                  <a:lnTo>
                    <a:pt x="3524" y="1022"/>
                  </a:lnTo>
                  <a:lnTo>
                    <a:pt x="3524" y="1022"/>
                  </a:lnTo>
                  <a:lnTo>
                    <a:pt x="3528" y="1022"/>
                  </a:lnTo>
                  <a:lnTo>
                    <a:pt x="3528" y="1026"/>
                  </a:lnTo>
                  <a:lnTo>
                    <a:pt x="3528" y="1026"/>
                  </a:lnTo>
                  <a:lnTo>
                    <a:pt x="3528" y="1026"/>
                  </a:lnTo>
                  <a:lnTo>
                    <a:pt x="3528" y="1026"/>
                  </a:lnTo>
                  <a:lnTo>
                    <a:pt x="3533" y="1031"/>
                  </a:lnTo>
                  <a:lnTo>
                    <a:pt x="3533" y="1031"/>
                  </a:lnTo>
                  <a:lnTo>
                    <a:pt x="3533" y="1035"/>
                  </a:lnTo>
                  <a:lnTo>
                    <a:pt x="3533" y="1035"/>
                  </a:lnTo>
                  <a:lnTo>
                    <a:pt x="3537" y="1040"/>
                  </a:lnTo>
                  <a:lnTo>
                    <a:pt x="3537" y="1040"/>
                  </a:lnTo>
                  <a:lnTo>
                    <a:pt x="3542" y="1044"/>
                  </a:lnTo>
                  <a:lnTo>
                    <a:pt x="3542" y="1049"/>
                  </a:lnTo>
                  <a:lnTo>
                    <a:pt x="3546" y="1049"/>
                  </a:lnTo>
                  <a:lnTo>
                    <a:pt x="3546" y="1049"/>
                  </a:lnTo>
                  <a:lnTo>
                    <a:pt x="3551" y="1049"/>
                  </a:lnTo>
                  <a:lnTo>
                    <a:pt x="3555" y="1049"/>
                  </a:lnTo>
                  <a:lnTo>
                    <a:pt x="3560" y="1054"/>
                  </a:lnTo>
                  <a:lnTo>
                    <a:pt x="3560" y="1054"/>
                  </a:lnTo>
                  <a:lnTo>
                    <a:pt x="3560" y="1054"/>
                  </a:lnTo>
                  <a:lnTo>
                    <a:pt x="3564" y="1058"/>
                  </a:lnTo>
                  <a:lnTo>
                    <a:pt x="3569" y="1063"/>
                  </a:lnTo>
                  <a:lnTo>
                    <a:pt x="3573" y="1063"/>
                  </a:lnTo>
                  <a:lnTo>
                    <a:pt x="3578" y="1063"/>
                  </a:lnTo>
                  <a:lnTo>
                    <a:pt x="3578" y="1067"/>
                  </a:lnTo>
                  <a:lnTo>
                    <a:pt x="3583" y="1067"/>
                  </a:lnTo>
                  <a:lnTo>
                    <a:pt x="3583" y="1067"/>
                  </a:lnTo>
                  <a:lnTo>
                    <a:pt x="3587" y="1067"/>
                  </a:lnTo>
                  <a:lnTo>
                    <a:pt x="3592" y="1067"/>
                  </a:lnTo>
                  <a:lnTo>
                    <a:pt x="3596" y="1072"/>
                  </a:lnTo>
                  <a:lnTo>
                    <a:pt x="3596" y="1072"/>
                  </a:lnTo>
                  <a:lnTo>
                    <a:pt x="3601" y="1072"/>
                  </a:lnTo>
                  <a:lnTo>
                    <a:pt x="3601" y="1072"/>
                  </a:lnTo>
                  <a:lnTo>
                    <a:pt x="3605" y="1067"/>
                  </a:lnTo>
                  <a:lnTo>
                    <a:pt x="3610" y="1067"/>
                  </a:lnTo>
                  <a:lnTo>
                    <a:pt x="3610" y="1067"/>
                  </a:lnTo>
                  <a:lnTo>
                    <a:pt x="3610" y="1067"/>
                  </a:lnTo>
                  <a:lnTo>
                    <a:pt x="3614" y="1063"/>
                  </a:lnTo>
                  <a:lnTo>
                    <a:pt x="3614" y="1063"/>
                  </a:lnTo>
                  <a:lnTo>
                    <a:pt x="3619" y="1063"/>
                  </a:lnTo>
                  <a:lnTo>
                    <a:pt x="3619" y="1058"/>
                  </a:lnTo>
                  <a:lnTo>
                    <a:pt x="3623" y="1058"/>
                  </a:lnTo>
                  <a:lnTo>
                    <a:pt x="3623" y="1058"/>
                  </a:lnTo>
                  <a:lnTo>
                    <a:pt x="3632" y="1058"/>
                  </a:lnTo>
                  <a:lnTo>
                    <a:pt x="3632" y="1058"/>
                  </a:lnTo>
                  <a:lnTo>
                    <a:pt x="3632" y="1063"/>
                  </a:lnTo>
                  <a:lnTo>
                    <a:pt x="3637" y="1063"/>
                  </a:lnTo>
                  <a:lnTo>
                    <a:pt x="3637" y="1067"/>
                  </a:lnTo>
                  <a:lnTo>
                    <a:pt x="3637" y="1067"/>
                  </a:lnTo>
                  <a:lnTo>
                    <a:pt x="3641" y="1072"/>
                  </a:lnTo>
                  <a:lnTo>
                    <a:pt x="3641" y="1076"/>
                  </a:lnTo>
                  <a:lnTo>
                    <a:pt x="3641" y="1081"/>
                  </a:lnTo>
                  <a:lnTo>
                    <a:pt x="3641" y="1081"/>
                  </a:lnTo>
                  <a:lnTo>
                    <a:pt x="3646" y="1085"/>
                  </a:lnTo>
                  <a:lnTo>
                    <a:pt x="3650" y="1085"/>
                  </a:lnTo>
                  <a:lnTo>
                    <a:pt x="3655" y="1085"/>
                  </a:lnTo>
                  <a:lnTo>
                    <a:pt x="3655" y="1085"/>
                  </a:lnTo>
                  <a:lnTo>
                    <a:pt x="3655" y="1090"/>
                  </a:lnTo>
                  <a:lnTo>
                    <a:pt x="3659" y="1090"/>
                  </a:lnTo>
                  <a:lnTo>
                    <a:pt x="3659" y="1090"/>
                  </a:lnTo>
                  <a:lnTo>
                    <a:pt x="3664" y="1090"/>
                  </a:lnTo>
                  <a:lnTo>
                    <a:pt x="3668" y="1090"/>
                  </a:lnTo>
                  <a:lnTo>
                    <a:pt x="3673" y="1090"/>
                  </a:lnTo>
                  <a:lnTo>
                    <a:pt x="3677" y="1090"/>
                  </a:lnTo>
                  <a:lnTo>
                    <a:pt x="3682" y="1090"/>
                  </a:lnTo>
                  <a:lnTo>
                    <a:pt x="3682" y="1090"/>
                  </a:lnTo>
                  <a:lnTo>
                    <a:pt x="3686" y="1090"/>
                  </a:lnTo>
                  <a:lnTo>
                    <a:pt x="3686" y="1094"/>
                  </a:lnTo>
                  <a:lnTo>
                    <a:pt x="3691" y="1090"/>
                  </a:lnTo>
                  <a:lnTo>
                    <a:pt x="3695" y="1094"/>
                  </a:lnTo>
                  <a:lnTo>
                    <a:pt x="3700" y="1090"/>
                  </a:lnTo>
                  <a:lnTo>
                    <a:pt x="3700" y="1090"/>
                  </a:lnTo>
                  <a:lnTo>
                    <a:pt x="3700" y="1094"/>
                  </a:lnTo>
                  <a:lnTo>
                    <a:pt x="3700" y="1094"/>
                  </a:lnTo>
                  <a:lnTo>
                    <a:pt x="3709" y="1094"/>
                  </a:lnTo>
                  <a:lnTo>
                    <a:pt x="3714" y="1094"/>
                  </a:lnTo>
                  <a:lnTo>
                    <a:pt x="3714" y="1099"/>
                  </a:lnTo>
                  <a:lnTo>
                    <a:pt x="3718" y="1094"/>
                  </a:lnTo>
                  <a:lnTo>
                    <a:pt x="3718" y="1094"/>
                  </a:lnTo>
                  <a:lnTo>
                    <a:pt x="3718" y="1094"/>
                  </a:lnTo>
                  <a:lnTo>
                    <a:pt x="3723" y="1094"/>
                  </a:lnTo>
                  <a:lnTo>
                    <a:pt x="3727" y="1094"/>
                  </a:lnTo>
                  <a:lnTo>
                    <a:pt x="3727" y="1094"/>
                  </a:lnTo>
                  <a:lnTo>
                    <a:pt x="3727" y="1094"/>
                  </a:lnTo>
                  <a:lnTo>
                    <a:pt x="3727" y="1094"/>
                  </a:lnTo>
                  <a:lnTo>
                    <a:pt x="3732" y="1094"/>
                  </a:lnTo>
                  <a:lnTo>
                    <a:pt x="3732" y="1094"/>
                  </a:lnTo>
                  <a:lnTo>
                    <a:pt x="3732" y="1094"/>
                  </a:lnTo>
                  <a:lnTo>
                    <a:pt x="3732" y="1094"/>
                  </a:lnTo>
                  <a:lnTo>
                    <a:pt x="3736" y="1094"/>
                  </a:lnTo>
                  <a:lnTo>
                    <a:pt x="3741" y="1094"/>
                  </a:lnTo>
                  <a:lnTo>
                    <a:pt x="3745" y="1094"/>
                  </a:lnTo>
                  <a:lnTo>
                    <a:pt x="3745" y="1094"/>
                  </a:lnTo>
                  <a:lnTo>
                    <a:pt x="3750" y="1094"/>
                  </a:lnTo>
                  <a:lnTo>
                    <a:pt x="3750" y="1094"/>
                  </a:lnTo>
                  <a:lnTo>
                    <a:pt x="3750" y="1090"/>
                  </a:lnTo>
                  <a:lnTo>
                    <a:pt x="3754" y="1090"/>
                  </a:lnTo>
                  <a:lnTo>
                    <a:pt x="3754" y="1090"/>
                  </a:lnTo>
                  <a:lnTo>
                    <a:pt x="3759" y="1090"/>
                  </a:lnTo>
                  <a:lnTo>
                    <a:pt x="3759" y="1090"/>
                  </a:lnTo>
                  <a:lnTo>
                    <a:pt x="3759" y="1090"/>
                  </a:lnTo>
                  <a:lnTo>
                    <a:pt x="3759" y="1090"/>
                  </a:lnTo>
                  <a:lnTo>
                    <a:pt x="3768" y="1094"/>
                  </a:lnTo>
                  <a:lnTo>
                    <a:pt x="3768" y="1094"/>
                  </a:lnTo>
                  <a:lnTo>
                    <a:pt x="3768" y="1094"/>
                  </a:lnTo>
                  <a:lnTo>
                    <a:pt x="3772" y="1090"/>
                  </a:lnTo>
                  <a:lnTo>
                    <a:pt x="3777" y="1090"/>
                  </a:lnTo>
                  <a:lnTo>
                    <a:pt x="3781" y="1090"/>
                  </a:lnTo>
                  <a:lnTo>
                    <a:pt x="3786" y="1090"/>
                  </a:lnTo>
                  <a:lnTo>
                    <a:pt x="3790" y="1090"/>
                  </a:lnTo>
                  <a:lnTo>
                    <a:pt x="3795" y="1090"/>
                  </a:lnTo>
                  <a:lnTo>
                    <a:pt x="3795" y="1090"/>
                  </a:lnTo>
                  <a:lnTo>
                    <a:pt x="3795" y="1090"/>
                  </a:lnTo>
                  <a:lnTo>
                    <a:pt x="3799" y="1090"/>
                  </a:lnTo>
                  <a:lnTo>
                    <a:pt x="3795" y="1090"/>
                  </a:lnTo>
                  <a:lnTo>
                    <a:pt x="3795" y="1085"/>
                  </a:lnTo>
                  <a:lnTo>
                    <a:pt x="3790" y="1090"/>
                  </a:lnTo>
                  <a:lnTo>
                    <a:pt x="3795" y="1085"/>
                  </a:lnTo>
                  <a:lnTo>
                    <a:pt x="3795" y="1085"/>
                  </a:lnTo>
                  <a:lnTo>
                    <a:pt x="3795" y="1085"/>
                  </a:lnTo>
                  <a:lnTo>
                    <a:pt x="3795" y="1085"/>
                  </a:lnTo>
                  <a:lnTo>
                    <a:pt x="3799" y="1090"/>
                  </a:lnTo>
                  <a:lnTo>
                    <a:pt x="3799" y="1090"/>
                  </a:lnTo>
                  <a:lnTo>
                    <a:pt x="3804" y="1094"/>
                  </a:lnTo>
                  <a:lnTo>
                    <a:pt x="3804" y="1094"/>
                  </a:lnTo>
                  <a:lnTo>
                    <a:pt x="3804" y="1099"/>
                  </a:lnTo>
                  <a:lnTo>
                    <a:pt x="3804" y="1099"/>
                  </a:lnTo>
                  <a:lnTo>
                    <a:pt x="3813" y="1099"/>
                  </a:lnTo>
                  <a:lnTo>
                    <a:pt x="3813" y="1103"/>
                  </a:lnTo>
                  <a:lnTo>
                    <a:pt x="3817" y="1108"/>
                  </a:lnTo>
                  <a:lnTo>
                    <a:pt x="3817" y="1112"/>
                  </a:lnTo>
                  <a:lnTo>
                    <a:pt x="3817" y="1112"/>
                  </a:lnTo>
                  <a:lnTo>
                    <a:pt x="3817" y="1112"/>
                  </a:lnTo>
                  <a:lnTo>
                    <a:pt x="3817" y="1117"/>
                  </a:lnTo>
                  <a:lnTo>
                    <a:pt x="3817" y="1117"/>
                  </a:lnTo>
                  <a:lnTo>
                    <a:pt x="3817" y="1117"/>
                  </a:lnTo>
                  <a:lnTo>
                    <a:pt x="3822" y="1117"/>
                  </a:lnTo>
                  <a:lnTo>
                    <a:pt x="3822" y="1117"/>
                  </a:lnTo>
                  <a:lnTo>
                    <a:pt x="3822" y="1117"/>
                  </a:lnTo>
                  <a:lnTo>
                    <a:pt x="3822" y="1117"/>
                  </a:lnTo>
                  <a:lnTo>
                    <a:pt x="3822" y="1121"/>
                  </a:lnTo>
                  <a:lnTo>
                    <a:pt x="3826" y="1117"/>
                  </a:lnTo>
                  <a:lnTo>
                    <a:pt x="3826" y="1117"/>
                  </a:lnTo>
                  <a:lnTo>
                    <a:pt x="3826" y="1117"/>
                  </a:lnTo>
                  <a:lnTo>
                    <a:pt x="3831" y="1117"/>
                  </a:lnTo>
                  <a:lnTo>
                    <a:pt x="3831" y="1117"/>
                  </a:lnTo>
                  <a:lnTo>
                    <a:pt x="3831" y="1121"/>
                  </a:lnTo>
                  <a:lnTo>
                    <a:pt x="3831" y="1121"/>
                  </a:lnTo>
                  <a:lnTo>
                    <a:pt x="3831" y="1121"/>
                  </a:lnTo>
                  <a:lnTo>
                    <a:pt x="3831" y="1117"/>
                  </a:lnTo>
                  <a:lnTo>
                    <a:pt x="3831" y="1121"/>
                  </a:lnTo>
                  <a:lnTo>
                    <a:pt x="3835" y="1121"/>
                  </a:lnTo>
                  <a:lnTo>
                    <a:pt x="3835" y="1121"/>
                  </a:lnTo>
                  <a:lnTo>
                    <a:pt x="3835" y="1121"/>
                  </a:lnTo>
                  <a:lnTo>
                    <a:pt x="3835" y="1121"/>
                  </a:lnTo>
                  <a:lnTo>
                    <a:pt x="3840" y="1121"/>
                  </a:lnTo>
                  <a:lnTo>
                    <a:pt x="3840" y="1117"/>
                  </a:lnTo>
                  <a:lnTo>
                    <a:pt x="3840" y="1121"/>
                  </a:lnTo>
                  <a:lnTo>
                    <a:pt x="3835" y="1121"/>
                  </a:lnTo>
                  <a:lnTo>
                    <a:pt x="3835" y="1126"/>
                  </a:lnTo>
                  <a:lnTo>
                    <a:pt x="3840" y="1126"/>
                  </a:lnTo>
                  <a:lnTo>
                    <a:pt x="3840" y="1130"/>
                  </a:lnTo>
                  <a:lnTo>
                    <a:pt x="3845" y="1135"/>
                  </a:lnTo>
                  <a:lnTo>
                    <a:pt x="3854" y="1139"/>
                  </a:lnTo>
                  <a:lnTo>
                    <a:pt x="3863" y="1139"/>
                  </a:lnTo>
                  <a:lnTo>
                    <a:pt x="3863" y="1139"/>
                  </a:lnTo>
                  <a:lnTo>
                    <a:pt x="3863" y="1135"/>
                  </a:lnTo>
                  <a:lnTo>
                    <a:pt x="3867" y="1135"/>
                  </a:lnTo>
                  <a:lnTo>
                    <a:pt x="3867" y="1135"/>
                  </a:lnTo>
                  <a:lnTo>
                    <a:pt x="3872" y="1135"/>
                  </a:lnTo>
                  <a:lnTo>
                    <a:pt x="3872" y="1135"/>
                  </a:lnTo>
                  <a:lnTo>
                    <a:pt x="3872" y="1135"/>
                  </a:lnTo>
                  <a:lnTo>
                    <a:pt x="3872" y="1135"/>
                  </a:lnTo>
                  <a:lnTo>
                    <a:pt x="3872" y="1130"/>
                  </a:lnTo>
                  <a:lnTo>
                    <a:pt x="3872" y="1130"/>
                  </a:lnTo>
                  <a:lnTo>
                    <a:pt x="3872" y="1135"/>
                  </a:lnTo>
                  <a:lnTo>
                    <a:pt x="3876" y="1135"/>
                  </a:lnTo>
                  <a:lnTo>
                    <a:pt x="3872" y="1135"/>
                  </a:lnTo>
                  <a:lnTo>
                    <a:pt x="3872" y="1139"/>
                  </a:lnTo>
                  <a:lnTo>
                    <a:pt x="3872" y="1144"/>
                  </a:lnTo>
                  <a:lnTo>
                    <a:pt x="3867" y="1144"/>
                  </a:lnTo>
                  <a:lnTo>
                    <a:pt x="3867" y="1144"/>
                  </a:lnTo>
                  <a:lnTo>
                    <a:pt x="3863" y="1144"/>
                  </a:lnTo>
                  <a:lnTo>
                    <a:pt x="3863" y="1144"/>
                  </a:lnTo>
                  <a:lnTo>
                    <a:pt x="3863" y="1144"/>
                  </a:lnTo>
                  <a:lnTo>
                    <a:pt x="3858" y="1144"/>
                  </a:lnTo>
                  <a:lnTo>
                    <a:pt x="3854" y="1148"/>
                  </a:lnTo>
                  <a:lnTo>
                    <a:pt x="3854" y="1148"/>
                  </a:lnTo>
                  <a:lnTo>
                    <a:pt x="3854" y="1148"/>
                  </a:lnTo>
                  <a:lnTo>
                    <a:pt x="3854" y="1144"/>
                  </a:lnTo>
                  <a:lnTo>
                    <a:pt x="3849" y="1144"/>
                  </a:lnTo>
                  <a:lnTo>
                    <a:pt x="3849" y="1148"/>
                  </a:lnTo>
                  <a:lnTo>
                    <a:pt x="3849" y="1148"/>
                  </a:lnTo>
                  <a:lnTo>
                    <a:pt x="3849" y="1148"/>
                  </a:lnTo>
                  <a:lnTo>
                    <a:pt x="3854" y="1153"/>
                  </a:lnTo>
                  <a:lnTo>
                    <a:pt x="3858" y="1158"/>
                  </a:lnTo>
                  <a:lnTo>
                    <a:pt x="3863" y="1158"/>
                  </a:lnTo>
                  <a:lnTo>
                    <a:pt x="3867" y="1162"/>
                  </a:lnTo>
                  <a:lnTo>
                    <a:pt x="3872" y="1171"/>
                  </a:lnTo>
                  <a:lnTo>
                    <a:pt x="3872" y="1171"/>
                  </a:lnTo>
                  <a:lnTo>
                    <a:pt x="3881" y="1176"/>
                  </a:lnTo>
                  <a:lnTo>
                    <a:pt x="3885" y="1176"/>
                  </a:lnTo>
                  <a:lnTo>
                    <a:pt x="3885" y="1176"/>
                  </a:lnTo>
                  <a:lnTo>
                    <a:pt x="3890" y="1176"/>
                  </a:lnTo>
                  <a:lnTo>
                    <a:pt x="3894" y="1176"/>
                  </a:lnTo>
                  <a:lnTo>
                    <a:pt x="3899" y="1171"/>
                  </a:lnTo>
                  <a:lnTo>
                    <a:pt x="3903" y="1171"/>
                  </a:lnTo>
                  <a:lnTo>
                    <a:pt x="3908" y="1167"/>
                  </a:lnTo>
                  <a:lnTo>
                    <a:pt x="3908" y="1162"/>
                  </a:lnTo>
                  <a:lnTo>
                    <a:pt x="3908" y="1158"/>
                  </a:lnTo>
                  <a:lnTo>
                    <a:pt x="3908" y="1158"/>
                  </a:lnTo>
                  <a:lnTo>
                    <a:pt x="3908" y="1158"/>
                  </a:lnTo>
                  <a:lnTo>
                    <a:pt x="3903" y="1158"/>
                  </a:lnTo>
                  <a:lnTo>
                    <a:pt x="3903" y="1158"/>
                  </a:lnTo>
                  <a:lnTo>
                    <a:pt x="3903" y="1158"/>
                  </a:lnTo>
                  <a:lnTo>
                    <a:pt x="3903" y="1153"/>
                  </a:lnTo>
                  <a:lnTo>
                    <a:pt x="3903" y="1153"/>
                  </a:lnTo>
                  <a:lnTo>
                    <a:pt x="3908" y="1153"/>
                  </a:lnTo>
                  <a:lnTo>
                    <a:pt x="3908" y="1153"/>
                  </a:lnTo>
                  <a:lnTo>
                    <a:pt x="3908" y="1148"/>
                  </a:lnTo>
                  <a:lnTo>
                    <a:pt x="3903" y="1148"/>
                  </a:lnTo>
                  <a:lnTo>
                    <a:pt x="3903" y="1148"/>
                  </a:lnTo>
                  <a:lnTo>
                    <a:pt x="3908" y="1148"/>
                  </a:lnTo>
                  <a:lnTo>
                    <a:pt x="3908" y="1148"/>
                  </a:lnTo>
                  <a:lnTo>
                    <a:pt x="3912" y="1148"/>
                  </a:lnTo>
                  <a:lnTo>
                    <a:pt x="3912" y="1148"/>
                  </a:lnTo>
                  <a:lnTo>
                    <a:pt x="3917" y="1148"/>
                  </a:lnTo>
                  <a:lnTo>
                    <a:pt x="3912" y="1148"/>
                  </a:lnTo>
                  <a:lnTo>
                    <a:pt x="3912" y="1148"/>
                  </a:lnTo>
                  <a:lnTo>
                    <a:pt x="3912" y="1148"/>
                  </a:lnTo>
                  <a:lnTo>
                    <a:pt x="3912" y="1153"/>
                  </a:lnTo>
                  <a:lnTo>
                    <a:pt x="3912" y="1153"/>
                  </a:lnTo>
                  <a:lnTo>
                    <a:pt x="3912" y="1153"/>
                  </a:lnTo>
                  <a:lnTo>
                    <a:pt x="3912" y="1153"/>
                  </a:lnTo>
                  <a:lnTo>
                    <a:pt x="3912" y="1153"/>
                  </a:lnTo>
                  <a:lnTo>
                    <a:pt x="3912" y="1158"/>
                  </a:lnTo>
                  <a:lnTo>
                    <a:pt x="3917" y="1158"/>
                  </a:lnTo>
                  <a:lnTo>
                    <a:pt x="3921" y="1158"/>
                  </a:lnTo>
                  <a:lnTo>
                    <a:pt x="3921" y="1158"/>
                  </a:lnTo>
                  <a:lnTo>
                    <a:pt x="3921" y="1158"/>
                  </a:lnTo>
                  <a:lnTo>
                    <a:pt x="3917" y="1158"/>
                  </a:lnTo>
                  <a:lnTo>
                    <a:pt x="3917" y="1162"/>
                  </a:lnTo>
                  <a:lnTo>
                    <a:pt x="3912" y="1162"/>
                  </a:lnTo>
                  <a:lnTo>
                    <a:pt x="3917" y="1162"/>
                  </a:lnTo>
                  <a:lnTo>
                    <a:pt x="3917" y="1162"/>
                  </a:lnTo>
                  <a:lnTo>
                    <a:pt x="3917" y="1162"/>
                  </a:lnTo>
                  <a:lnTo>
                    <a:pt x="3917" y="1167"/>
                  </a:lnTo>
                  <a:lnTo>
                    <a:pt x="3917" y="1167"/>
                  </a:lnTo>
                  <a:lnTo>
                    <a:pt x="3917" y="1171"/>
                  </a:lnTo>
                  <a:lnTo>
                    <a:pt x="3917" y="1171"/>
                  </a:lnTo>
                  <a:lnTo>
                    <a:pt x="3917" y="1171"/>
                  </a:lnTo>
                  <a:lnTo>
                    <a:pt x="3921" y="1171"/>
                  </a:lnTo>
                  <a:lnTo>
                    <a:pt x="3921" y="1176"/>
                  </a:lnTo>
                  <a:lnTo>
                    <a:pt x="3921" y="1176"/>
                  </a:lnTo>
                  <a:lnTo>
                    <a:pt x="3921" y="1180"/>
                  </a:lnTo>
                  <a:lnTo>
                    <a:pt x="3921" y="1189"/>
                  </a:lnTo>
                  <a:lnTo>
                    <a:pt x="3921" y="1194"/>
                  </a:lnTo>
                  <a:lnTo>
                    <a:pt x="3921" y="1194"/>
                  </a:lnTo>
                  <a:lnTo>
                    <a:pt x="3921" y="1194"/>
                  </a:lnTo>
                  <a:lnTo>
                    <a:pt x="3921" y="1198"/>
                  </a:lnTo>
                  <a:lnTo>
                    <a:pt x="3921" y="1198"/>
                  </a:lnTo>
                  <a:lnTo>
                    <a:pt x="3921" y="1203"/>
                  </a:lnTo>
                  <a:lnTo>
                    <a:pt x="3921" y="1203"/>
                  </a:lnTo>
                  <a:lnTo>
                    <a:pt x="3921" y="1203"/>
                  </a:lnTo>
                  <a:lnTo>
                    <a:pt x="3926" y="1203"/>
                  </a:lnTo>
                  <a:lnTo>
                    <a:pt x="3926" y="1203"/>
                  </a:lnTo>
                  <a:lnTo>
                    <a:pt x="3926" y="1207"/>
                  </a:lnTo>
                  <a:lnTo>
                    <a:pt x="3926" y="1207"/>
                  </a:lnTo>
                  <a:lnTo>
                    <a:pt x="3926" y="1207"/>
                  </a:lnTo>
                  <a:lnTo>
                    <a:pt x="3926" y="1212"/>
                  </a:lnTo>
                  <a:lnTo>
                    <a:pt x="3926" y="1212"/>
                  </a:lnTo>
                  <a:lnTo>
                    <a:pt x="3926" y="1207"/>
                  </a:lnTo>
                  <a:lnTo>
                    <a:pt x="3926" y="1212"/>
                  </a:lnTo>
                  <a:lnTo>
                    <a:pt x="3926" y="1212"/>
                  </a:lnTo>
                  <a:lnTo>
                    <a:pt x="3926" y="1216"/>
                  </a:lnTo>
                  <a:lnTo>
                    <a:pt x="3926" y="1216"/>
                  </a:lnTo>
                  <a:lnTo>
                    <a:pt x="3926" y="1216"/>
                  </a:lnTo>
                  <a:lnTo>
                    <a:pt x="3926" y="1216"/>
                  </a:lnTo>
                  <a:lnTo>
                    <a:pt x="3930" y="1221"/>
                  </a:lnTo>
                  <a:lnTo>
                    <a:pt x="3930" y="1225"/>
                  </a:lnTo>
                  <a:lnTo>
                    <a:pt x="3930" y="1225"/>
                  </a:lnTo>
                  <a:lnTo>
                    <a:pt x="3930" y="1230"/>
                  </a:lnTo>
                  <a:lnTo>
                    <a:pt x="3935" y="1234"/>
                  </a:lnTo>
                  <a:lnTo>
                    <a:pt x="3935" y="1239"/>
                  </a:lnTo>
                  <a:lnTo>
                    <a:pt x="3935" y="1243"/>
                  </a:lnTo>
                  <a:lnTo>
                    <a:pt x="3939" y="1257"/>
                  </a:lnTo>
                  <a:lnTo>
                    <a:pt x="3944" y="1266"/>
                  </a:lnTo>
                  <a:lnTo>
                    <a:pt x="3944" y="1266"/>
                  </a:lnTo>
                  <a:lnTo>
                    <a:pt x="3948" y="1271"/>
                  </a:lnTo>
                  <a:lnTo>
                    <a:pt x="3948" y="1275"/>
                  </a:lnTo>
                  <a:lnTo>
                    <a:pt x="3948" y="1275"/>
                  </a:lnTo>
                  <a:lnTo>
                    <a:pt x="3948" y="1275"/>
                  </a:lnTo>
                  <a:lnTo>
                    <a:pt x="3948" y="1275"/>
                  </a:lnTo>
                  <a:lnTo>
                    <a:pt x="3948" y="1275"/>
                  </a:lnTo>
                  <a:lnTo>
                    <a:pt x="3953" y="1280"/>
                  </a:lnTo>
                  <a:lnTo>
                    <a:pt x="3953" y="1280"/>
                  </a:lnTo>
                  <a:lnTo>
                    <a:pt x="3948" y="1280"/>
                  </a:lnTo>
                  <a:lnTo>
                    <a:pt x="3953" y="1280"/>
                  </a:lnTo>
                  <a:lnTo>
                    <a:pt x="3953" y="1284"/>
                  </a:lnTo>
                  <a:lnTo>
                    <a:pt x="3957" y="1289"/>
                  </a:lnTo>
                  <a:lnTo>
                    <a:pt x="3957" y="1289"/>
                  </a:lnTo>
                  <a:lnTo>
                    <a:pt x="3957" y="1293"/>
                  </a:lnTo>
                  <a:lnTo>
                    <a:pt x="3962" y="1293"/>
                  </a:lnTo>
                  <a:lnTo>
                    <a:pt x="3962" y="1293"/>
                  </a:lnTo>
                  <a:lnTo>
                    <a:pt x="3962" y="1298"/>
                  </a:lnTo>
                  <a:lnTo>
                    <a:pt x="3962" y="1298"/>
                  </a:lnTo>
                  <a:lnTo>
                    <a:pt x="3967" y="1302"/>
                  </a:lnTo>
                  <a:lnTo>
                    <a:pt x="3967" y="1302"/>
                  </a:lnTo>
                  <a:lnTo>
                    <a:pt x="3967" y="1307"/>
                  </a:lnTo>
                  <a:lnTo>
                    <a:pt x="3967" y="1307"/>
                  </a:lnTo>
                  <a:lnTo>
                    <a:pt x="3971" y="1311"/>
                  </a:lnTo>
                  <a:lnTo>
                    <a:pt x="3971" y="1316"/>
                  </a:lnTo>
                  <a:lnTo>
                    <a:pt x="3971" y="1316"/>
                  </a:lnTo>
                  <a:lnTo>
                    <a:pt x="3971" y="1325"/>
                  </a:lnTo>
                  <a:lnTo>
                    <a:pt x="3971" y="1325"/>
                  </a:lnTo>
                  <a:lnTo>
                    <a:pt x="3976" y="1329"/>
                  </a:lnTo>
                  <a:lnTo>
                    <a:pt x="3976" y="1334"/>
                  </a:lnTo>
                  <a:lnTo>
                    <a:pt x="3980" y="1343"/>
                  </a:lnTo>
                  <a:lnTo>
                    <a:pt x="3980" y="1343"/>
                  </a:lnTo>
                  <a:lnTo>
                    <a:pt x="3985" y="1343"/>
                  </a:lnTo>
                  <a:lnTo>
                    <a:pt x="3985" y="1347"/>
                  </a:lnTo>
                  <a:lnTo>
                    <a:pt x="3989" y="1352"/>
                  </a:lnTo>
                  <a:lnTo>
                    <a:pt x="3989" y="1356"/>
                  </a:lnTo>
                  <a:lnTo>
                    <a:pt x="3994" y="1356"/>
                  </a:lnTo>
                  <a:lnTo>
                    <a:pt x="3994" y="1361"/>
                  </a:lnTo>
                  <a:lnTo>
                    <a:pt x="3998" y="1365"/>
                  </a:lnTo>
                  <a:lnTo>
                    <a:pt x="3998" y="1375"/>
                  </a:lnTo>
                  <a:lnTo>
                    <a:pt x="3998" y="1375"/>
                  </a:lnTo>
                  <a:lnTo>
                    <a:pt x="4003" y="1379"/>
                  </a:lnTo>
                  <a:lnTo>
                    <a:pt x="4003" y="1379"/>
                  </a:lnTo>
                  <a:lnTo>
                    <a:pt x="4003" y="1379"/>
                  </a:lnTo>
                  <a:lnTo>
                    <a:pt x="4003" y="1384"/>
                  </a:lnTo>
                  <a:lnTo>
                    <a:pt x="4003" y="1384"/>
                  </a:lnTo>
                  <a:lnTo>
                    <a:pt x="4003" y="1384"/>
                  </a:lnTo>
                  <a:lnTo>
                    <a:pt x="4007" y="1393"/>
                  </a:lnTo>
                  <a:lnTo>
                    <a:pt x="4007" y="1393"/>
                  </a:lnTo>
                  <a:lnTo>
                    <a:pt x="4007" y="1393"/>
                  </a:lnTo>
                  <a:lnTo>
                    <a:pt x="4007" y="1388"/>
                  </a:lnTo>
                  <a:lnTo>
                    <a:pt x="4007" y="1388"/>
                  </a:lnTo>
                  <a:lnTo>
                    <a:pt x="4003" y="1384"/>
                  </a:lnTo>
                  <a:lnTo>
                    <a:pt x="4003" y="1384"/>
                  </a:lnTo>
                  <a:lnTo>
                    <a:pt x="4003" y="1388"/>
                  </a:lnTo>
                  <a:lnTo>
                    <a:pt x="4007" y="1393"/>
                  </a:lnTo>
                  <a:lnTo>
                    <a:pt x="4007" y="1397"/>
                  </a:lnTo>
                  <a:lnTo>
                    <a:pt x="4007" y="1397"/>
                  </a:lnTo>
                  <a:lnTo>
                    <a:pt x="4007" y="1397"/>
                  </a:lnTo>
                  <a:lnTo>
                    <a:pt x="4007" y="1397"/>
                  </a:lnTo>
                  <a:lnTo>
                    <a:pt x="4007" y="1402"/>
                  </a:lnTo>
                  <a:lnTo>
                    <a:pt x="4012" y="1402"/>
                  </a:lnTo>
                  <a:lnTo>
                    <a:pt x="4012" y="1406"/>
                  </a:lnTo>
                  <a:lnTo>
                    <a:pt x="4016" y="1415"/>
                  </a:lnTo>
                  <a:lnTo>
                    <a:pt x="4021" y="1415"/>
                  </a:lnTo>
                  <a:lnTo>
                    <a:pt x="4025" y="1420"/>
                  </a:lnTo>
                  <a:lnTo>
                    <a:pt x="4030" y="1420"/>
                  </a:lnTo>
                  <a:lnTo>
                    <a:pt x="4030" y="1420"/>
                  </a:lnTo>
                  <a:lnTo>
                    <a:pt x="4030" y="1415"/>
                  </a:lnTo>
                  <a:lnTo>
                    <a:pt x="4039" y="1415"/>
                  </a:lnTo>
                  <a:lnTo>
                    <a:pt x="4039" y="1411"/>
                  </a:lnTo>
                  <a:lnTo>
                    <a:pt x="4039" y="1406"/>
                  </a:lnTo>
                  <a:lnTo>
                    <a:pt x="4039" y="1402"/>
                  </a:lnTo>
                  <a:lnTo>
                    <a:pt x="4039" y="1402"/>
                  </a:lnTo>
                  <a:lnTo>
                    <a:pt x="4043" y="1402"/>
                  </a:lnTo>
                  <a:lnTo>
                    <a:pt x="4052" y="1397"/>
                  </a:lnTo>
                  <a:lnTo>
                    <a:pt x="4057" y="1397"/>
                  </a:lnTo>
                  <a:lnTo>
                    <a:pt x="4061" y="1397"/>
                  </a:lnTo>
                  <a:lnTo>
                    <a:pt x="4057" y="1397"/>
                  </a:lnTo>
                  <a:lnTo>
                    <a:pt x="4057" y="1397"/>
                  </a:lnTo>
                  <a:lnTo>
                    <a:pt x="4052" y="1397"/>
                  </a:lnTo>
                  <a:lnTo>
                    <a:pt x="4052" y="1397"/>
                  </a:lnTo>
                  <a:lnTo>
                    <a:pt x="4052" y="1393"/>
                  </a:lnTo>
                  <a:lnTo>
                    <a:pt x="4052" y="1393"/>
                  </a:lnTo>
                  <a:lnTo>
                    <a:pt x="4052" y="1393"/>
                  </a:lnTo>
                  <a:lnTo>
                    <a:pt x="4052" y="1388"/>
                  </a:lnTo>
                  <a:lnTo>
                    <a:pt x="4057" y="1384"/>
                  </a:lnTo>
                  <a:lnTo>
                    <a:pt x="4057" y="1379"/>
                  </a:lnTo>
                  <a:lnTo>
                    <a:pt x="4057" y="1379"/>
                  </a:lnTo>
                  <a:lnTo>
                    <a:pt x="4057" y="1375"/>
                  </a:lnTo>
                  <a:lnTo>
                    <a:pt x="4061" y="1375"/>
                  </a:lnTo>
                  <a:lnTo>
                    <a:pt x="4061" y="1375"/>
                  </a:lnTo>
                  <a:lnTo>
                    <a:pt x="4061" y="1375"/>
                  </a:lnTo>
                  <a:lnTo>
                    <a:pt x="4061" y="1375"/>
                  </a:lnTo>
                  <a:lnTo>
                    <a:pt x="4066" y="1375"/>
                  </a:lnTo>
                  <a:lnTo>
                    <a:pt x="4066" y="1365"/>
                  </a:lnTo>
                  <a:lnTo>
                    <a:pt x="4061" y="1361"/>
                  </a:lnTo>
                  <a:lnTo>
                    <a:pt x="4061" y="1356"/>
                  </a:lnTo>
                  <a:lnTo>
                    <a:pt x="4061" y="1356"/>
                  </a:lnTo>
                  <a:lnTo>
                    <a:pt x="4061" y="1356"/>
                  </a:lnTo>
                  <a:lnTo>
                    <a:pt x="4061" y="1356"/>
                  </a:lnTo>
                  <a:lnTo>
                    <a:pt x="4061" y="1352"/>
                  </a:lnTo>
                  <a:lnTo>
                    <a:pt x="4061" y="1352"/>
                  </a:lnTo>
                  <a:lnTo>
                    <a:pt x="4061" y="1347"/>
                  </a:lnTo>
                  <a:lnTo>
                    <a:pt x="4061" y="1343"/>
                  </a:lnTo>
                  <a:lnTo>
                    <a:pt x="4066" y="1338"/>
                  </a:lnTo>
                  <a:lnTo>
                    <a:pt x="4066" y="1338"/>
                  </a:lnTo>
                  <a:lnTo>
                    <a:pt x="4066" y="1334"/>
                  </a:lnTo>
                  <a:lnTo>
                    <a:pt x="4066" y="1329"/>
                  </a:lnTo>
                  <a:lnTo>
                    <a:pt x="4066" y="1316"/>
                  </a:lnTo>
                  <a:lnTo>
                    <a:pt x="4066" y="1316"/>
                  </a:lnTo>
                  <a:lnTo>
                    <a:pt x="4061" y="1316"/>
                  </a:lnTo>
                  <a:lnTo>
                    <a:pt x="4061" y="1311"/>
                  </a:lnTo>
                  <a:lnTo>
                    <a:pt x="4066" y="1311"/>
                  </a:lnTo>
                  <a:lnTo>
                    <a:pt x="4066" y="1311"/>
                  </a:lnTo>
                  <a:lnTo>
                    <a:pt x="4066" y="1316"/>
                  </a:lnTo>
                  <a:lnTo>
                    <a:pt x="4066" y="1316"/>
                  </a:lnTo>
                  <a:lnTo>
                    <a:pt x="4066" y="1311"/>
                  </a:lnTo>
                  <a:lnTo>
                    <a:pt x="4066" y="1307"/>
                  </a:lnTo>
                  <a:lnTo>
                    <a:pt x="4066" y="1307"/>
                  </a:lnTo>
                  <a:lnTo>
                    <a:pt x="4061" y="1302"/>
                  </a:lnTo>
                  <a:lnTo>
                    <a:pt x="4061" y="1302"/>
                  </a:lnTo>
                  <a:lnTo>
                    <a:pt x="4061" y="1298"/>
                  </a:lnTo>
                  <a:lnTo>
                    <a:pt x="4061" y="1298"/>
                  </a:lnTo>
                  <a:lnTo>
                    <a:pt x="4061" y="1293"/>
                  </a:lnTo>
                  <a:lnTo>
                    <a:pt x="4061" y="1293"/>
                  </a:lnTo>
                  <a:lnTo>
                    <a:pt x="4061" y="1289"/>
                  </a:lnTo>
                  <a:lnTo>
                    <a:pt x="4057" y="1284"/>
                  </a:lnTo>
                  <a:lnTo>
                    <a:pt x="4057" y="1280"/>
                  </a:lnTo>
                  <a:lnTo>
                    <a:pt x="4061" y="1271"/>
                  </a:lnTo>
                  <a:lnTo>
                    <a:pt x="4061" y="1271"/>
                  </a:lnTo>
                  <a:lnTo>
                    <a:pt x="4066" y="1266"/>
                  </a:lnTo>
                  <a:lnTo>
                    <a:pt x="4066" y="1266"/>
                  </a:lnTo>
                  <a:lnTo>
                    <a:pt x="4070" y="1266"/>
                  </a:lnTo>
                  <a:lnTo>
                    <a:pt x="4070" y="1271"/>
                  </a:lnTo>
                  <a:lnTo>
                    <a:pt x="4070" y="1271"/>
                  </a:lnTo>
                  <a:lnTo>
                    <a:pt x="4070" y="1271"/>
                  </a:lnTo>
                  <a:lnTo>
                    <a:pt x="4075" y="1271"/>
                  </a:lnTo>
                  <a:lnTo>
                    <a:pt x="4075" y="1271"/>
                  </a:lnTo>
                  <a:lnTo>
                    <a:pt x="4075" y="1266"/>
                  </a:lnTo>
                  <a:lnTo>
                    <a:pt x="4075" y="1266"/>
                  </a:lnTo>
                  <a:lnTo>
                    <a:pt x="4075" y="1261"/>
                  </a:lnTo>
                  <a:lnTo>
                    <a:pt x="4075" y="1257"/>
                  </a:lnTo>
                  <a:lnTo>
                    <a:pt x="4079" y="1257"/>
                  </a:lnTo>
                  <a:lnTo>
                    <a:pt x="4084" y="1257"/>
                  </a:lnTo>
                  <a:lnTo>
                    <a:pt x="4084" y="1257"/>
                  </a:lnTo>
                  <a:lnTo>
                    <a:pt x="4093" y="1257"/>
                  </a:lnTo>
                  <a:lnTo>
                    <a:pt x="4093" y="1252"/>
                  </a:lnTo>
                  <a:lnTo>
                    <a:pt x="4093" y="1252"/>
                  </a:lnTo>
                  <a:lnTo>
                    <a:pt x="4093" y="1252"/>
                  </a:lnTo>
                  <a:lnTo>
                    <a:pt x="4093" y="1248"/>
                  </a:lnTo>
                  <a:lnTo>
                    <a:pt x="4093" y="1248"/>
                  </a:lnTo>
                  <a:lnTo>
                    <a:pt x="4093" y="1248"/>
                  </a:lnTo>
                  <a:lnTo>
                    <a:pt x="4093" y="1248"/>
                  </a:lnTo>
                  <a:lnTo>
                    <a:pt x="4093" y="1248"/>
                  </a:lnTo>
                  <a:lnTo>
                    <a:pt x="4093" y="1243"/>
                  </a:lnTo>
                  <a:lnTo>
                    <a:pt x="4098" y="1239"/>
                  </a:lnTo>
                  <a:lnTo>
                    <a:pt x="4102" y="1234"/>
                  </a:lnTo>
                  <a:lnTo>
                    <a:pt x="4107" y="1234"/>
                  </a:lnTo>
                  <a:lnTo>
                    <a:pt x="4107" y="1230"/>
                  </a:lnTo>
                  <a:lnTo>
                    <a:pt x="4111" y="1225"/>
                  </a:lnTo>
                  <a:lnTo>
                    <a:pt x="4111" y="1225"/>
                  </a:lnTo>
                  <a:lnTo>
                    <a:pt x="4120" y="1221"/>
                  </a:lnTo>
                  <a:lnTo>
                    <a:pt x="4120" y="1216"/>
                  </a:lnTo>
                  <a:lnTo>
                    <a:pt x="4125" y="1212"/>
                  </a:lnTo>
                  <a:lnTo>
                    <a:pt x="4125" y="1207"/>
                  </a:lnTo>
                  <a:lnTo>
                    <a:pt x="4129" y="1207"/>
                  </a:lnTo>
                  <a:lnTo>
                    <a:pt x="4129" y="1207"/>
                  </a:lnTo>
                  <a:lnTo>
                    <a:pt x="4129" y="1203"/>
                  </a:lnTo>
                  <a:lnTo>
                    <a:pt x="4134" y="1198"/>
                  </a:lnTo>
                  <a:lnTo>
                    <a:pt x="4138" y="1194"/>
                  </a:lnTo>
                  <a:lnTo>
                    <a:pt x="4138" y="1194"/>
                  </a:lnTo>
                  <a:lnTo>
                    <a:pt x="4138" y="1194"/>
                  </a:lnTo>
                  <a:lnTo>
                    <a:pt x="4134" y="1194"/>
                  </a:lnTo>
                  <a:lnTo>
                    <a:pt x="4134" y="1194"/>
                  </a:lnTo>
                  <a:lnTo>
                    <a:pt x="4134" y="1194"/>
                  </a:lnTo>
                  <a:lnTo>
                    <a:pt x="4134" y="1189"/>
                  </a:lnTo>
                  <a:lnTo>
                    <a:pt x="4138" y="1189"/>
                  </a:lnTo>
                  <a:lnTo>
                    <a:pt x="4138" y="1189"/>
                  </a:lnTo>
                  <a:lnTo>
                    <a:pt x="4138" y="1189"/>
                  </a:lnTo>
                  <a:lnTo>
                    <a:pt x="4138" y="1189"/>
                  </a:lnTo>
                  <a:lnTo>
                    <a:pt x="4138" y="1194"/>
                  </a:lnTo>
                  <a:lnTo>
                    <a:pt x="4138" y="1194"/>
                  </a:lnTo>
                  <a:lnTo>
                    <a:pt x="4138" y="1194"/>
                  </a:lnTo>
                  <a:lnTo>
                    <a:pt x="4143" y="1189"/>
                  </a:lnTo>
                  <a:lnTo>
                    <a:pt x="4152" y="1189"/>
                  </a:lnTo>
                  <a:lnTo>
                    <a:pt x="4152" y="1189"/>
                  </a:lnTo>
                  <a:lnTo>
                    <a:pt x="4152" y="1189"/>
                  </a:lnTo>
                  <a:lnTo>
                    <a:pt x="4152" y="1185"/>
                  </a:lnTo>
                  <a:lnTo>
                    <a:pt x="4152" y="1185"/>
                  </a:lnTo>
                  <a:lnTo>
                    <a:pt x="4152" y="1185"/>
                  </a:lnTo>
                  <a:lnTo>
                    <a:pt x="4152" y="1185"/>
                  </a:lnTo>
                  <a:lnTo>
                    <a:pt x="4152" y="1185"/>
                  </a:lnTo>
                  <a:lnTo>
                    <a:pt x="4152" y="1185"/>
                  </a:lnTo>
                  <a:lnTo>
                    <a:pt x="4156" y="1180"/>
                  </a:lnTo>
                  <a:lnTo>
                    <a:pt x="4156" y="1180"/>
                  </a:lnTo>
                  <a:lnTo>
                    <a:pt x="4156" y="1176"/>
                  </a:lnTo>
                  <a:lnTo>
                    <a:pt x="4156" y="1176"/>
                  </a:lnTo>
                  <a:lnTo>
                    <a:pt x="4161" y="1176"/>
                  </a:lnTo>
                  <a:lnTo>
                    <a:pt x="4161" y="1171"/>
                  </a:lnTo>
                  <a:lnTo>
                    <a:pt x="4161" y="1171"/>
                  </a:lnTo>
                  <a:lnTo>
                    <a:pt x="4156" y="1167"/>
                  </a:lnTo>
                  <a:lnTo>
                    <a:pt x="4156" y="1167"/>
                  </a:lnTo>
                  <a:lnTo>
                    <a:pt x="4156" y="1162"/>
                  </a:lnTo>
                  <a:lnTo>
                    <a:pt x="4156" y="1158"/>
                  </a:lnTo>
                  <a:lnTo>
                    <a:pt x="4161" y="1158"/>
                  </a:lnTo>
                  <a:lnTo>
                    <a:pt x="4161" y="1158"/>
                  </a:lnTo>
                  <a:lnTo>
                    <a:pt x="4170" y="1153"/>
                  </a:lnTo>
                  <a:lnTo>
                    <a:pt x="4170" y="1153"/>
                  </a:lnTo>
                  <a:lnTo>
                    <a:pt x="4170" y="1148"/>
                  </a:lnTo>
                  <a:lnTo>
                    <a:pt x="4174" y="1148"/>
                  </a:lnTo>
                  <a:lnTo>
                    <a:pt x="4174" y="1144"/>
                  </a:lnTo>
                  <a:lnTo>
                    <a:pt x="4174" y="1144"/>
                  </a:lnTo>
                  <a:lnTo>
                    <a:pt x="4174" y="1144"/>
                  </a:lnTo>
                  <a:lnTo>
                    <a:pt x="4170" y="1144"/>
                  </a:lnTo>
                  <a:lnTo>
                    <a:pt x="4170" y="1139"/>
                  </a:lnTo>
                  <a:lnTo>
                    <a:pt x="4170" y="1139"/>
                  </a:lnTo>
                  <a:lnTo>
                    <a:pt x="4170" y="1139"/>
                  </a:lnTo>
                  <a:lnTo>
                    <a:pt x="4174" y="1144"/>
                  </a:lnTo>
                  <a:lnTo>
                    <a:pt x="4174" y="1144"/>
                  </a:lnTo>
                  <a:lnTo>
                    <a:pt x="4174" y="1144"/>
                  </a:lnTo>
                  <a:lnTo>
                    <a:pt x="4174" y="1148"/>
                  </a:lnTo>
                  <a:lnTo>
                    <a:pt x="4174" y="1153"/>
                  </a:lnTo>
                  <a:lnTo>
                    <a:pt x="4174" y="1153"/>
                  </a:lnTo>
                  <a:lnTo>
                    <a:pt x="4179" y="1153"/>
                  </a:lnTo>
                  <a:lnTo>
                    <a:pt x="4179" y="1153"/>
                  </a:lnTo>
                  <a:lnTo>
                    <a:pt x="4179" y="1153"/>
                  </a:lnTo>
                  <a:lnTo>
                    <a:pt x="4179" y="1153"/>
                  </a:lnTo>
                  <a:lnTo>
                    <a:pt x="4179" y="1153"/>
                  </a:lnTo>
                  <a:lnTo>
                    <a:pt x="4183" y="1153"/>
                  </a:lnTo>
                  <a:lnTo>
                    <a:pt x="4183" y="1153"/>
                  </a:lnTo>
                  <a:lnTo>
                    <a:pt x="4183" y="1148"/>
                  </a:lnTo>
                  <a:lnTo>
                    <a:pt x="4183" y="1144"/>
                  </a:lnTo>
                  <a:lnTo>
                    <a:pt x="4183" y="1144"/>
                  </a:lnTo>
                  <a:lnTo>
                    <a:pt x="4183" y="1144"/>
                  </a:lnTo>
                  <a:lnTo>
                    <a:pt x="4183" y="1144"/>
                  </a:lnTo>
                  <a:lnTo>
                    <a:pt x="4183" y="1144"/>
                  </a:lnTo>
                  <a:lnTo>
                    <a:pt x="4183" y="1153"/>
                  </a:lnTo>
                  <a:lnTo>
                    <a:pt x="4183" y="1153"/>
                  </a:lnTo>
                  <a:lnTo>
                    <a:pt x="4183" y="1153"/>
                  </a:lnTo>
                  <a:lnTo>
                    <a:pt x="4188" y="1153"/>
                  </a:lnTo>
                  <a:lnTo>
                    <a:pt x="4188" y="1153"/>
                  </a:lnTo>
                  <a:lnTo>
                    <a:pt x="4188" y="1153"/>
                  </a:lnTo>
                  <a:lnTo>
                    <a:pt x="4188" y="1153"/>
                  </a:lnTo>
                  <a:lnTo>
                    <a:pt x="4188" y="1153"/>
                  </a:lnTo>
                  <a:lnTo>
                    <a:pt x="4192" y="1153"/>
                  </a:lnTo>
                  <a:lnTo>
                    <a:pt x="4192" y="1153"/>
                  </a:lnTo>
                  <a:lnTo>
                    <a:pt x="4188" y="1148"/>
                  </a:lnTo>
                  <a:lnTo>
                    <a:pt x="4188" y="1148"/>
                  </a:lnTo>
                  <a:lnTo>
                    <a:pt x="4188" y="1148"/>
                  </a:lnTo>
                  <a:lnTo>
                    <a:pt x="4188" y="1144"/>
                  </a:lnTo>
                  <a:lnTo>
                    <a:pt x="4192" y="1144"/>
                  </a:lnTo>
                  <a:lnTo>
                    <a:pt x="4192" y="1148"/>
                  </a:lnTo>
                  <a:lnTo>
                    <a:pt x="4192" y="1148"/>
                  </a:lnTo>
                  <a:lnTo>
                    <a:pt x="4192" y="1153"/>
                  </a:lnTo>
                  <a:lnTo>
                    <a:pt x="4197" y="1153"/>
                  </a:lnTo>
                  <a:lnTo>
                    <a:pt x="4197" y="1153"/>
                  </a:lnTo>
                  <a:lnTo>
                    <a:pt x="4197" y="1148"/>
                  </a:lnTo>
                  <a:lnTo>
                    <a:pt x="4197" y="1148"/>
                  </a:lnTo>
                  <a:lnTo>
                    <a:pt x="4197" y="1144"/>
                  </a:lnTo>
                  <a:lnTo>
                    <a:pt x="4197" y="1144"/>
                  </a:lnTo>
                  <a:lnTo>
                    <a:pt x="4197" y="1139"/>
                  </a:lnTo>
                  <a:lnTo>
                    <a:pt x="4197" y="1144"/>
                  </a:lnTo>
                  <a:lnTo>
                    <a:pt x="4197" y="1148"/>
                  </a:lnTo>
                  <a:lnTo>
                    <a:pt x="4201" y="1148"/>
                  </a:lnTo>
                  <a:lnTo>
                    <a:pt x="4201" y="1148"/>
                  </a:lnTo>
                  <a:lnTo>
                    <a:pt x="4201" y="1148"/>
                  </a:lnTo>
                  <a:lnTo>
                    <a:pt x="4201" y="1148"/>
                  </a:lnTo>
                  <a:lnTo>
                    <a:pt x="4201" y="1144"/>
                  </a:lnTo>
                  <a:lnTo>
                    <a:pt x="4201" y="1144"/>
                  </a:lnTo>
                  <a:lnTo>
                    <a:pt x="4201" y="1144"/>
                  </a:lnTo>
                  <a:lnTo>
                    <a:pt x="4201" y="1139"/>
                  </a:lnTo>
                  <a:lnTo>
                    <a:pt x="4201" y="1139"/>
                  </a:lnTo>
                  <a:lnTo>
                    <a:pt x="4201" y="1135"/>
                  </a:lnTo>
                  <a:lnTo>
                    <a:pt x="4201" y="1139"/>
                  </a:lnTo>
                  <a:lnTo>
                    <a:pt x="4201" y="1144"/>
                  </a:lnTo>
                  <a:lnTo>
                    <a:pt x="4206" y="1144"/>
                  </a:lnTo>
                  <a:lnTo>
                    <a:pt x="4206" y="1144"/>
                  </a:lnTo>
                  <a:lnTo>
                    <a:pt x="4206" y="1144"/>
                  </a:lnTo>
                  <a:lnTo>
                    <a:pt x="4206" y="1144"/>
                  </a:lnTo>
                  <a:lnTo>
                    <a:pt x="4210" y="1144"/>
                  </a:lnTo>
                  <a:lnTo>
                    <a:pt x="4206" y="1144"/>
                  </a:lnTo>
                  <a:lnTo>
                    <a:pt x="4206" y="1148"/>
                  </a:lnTo>
                  <a:lnTo>
                    <a:pt x="4206" y="1148"/>
                  </a:lnTo>
                  <a:lnTo>
                    <a:pt x="4210" y="1148"/>
                  </a:lnTo>
                  <a:lnTo>
                    <a:pt x="4210" y="1148"/>
                  </a:lnTo>
                  <a:lnTo>
                    <a:pt x="4210" y="1148"/>
                  </a:lnTo>
                  <a:lnTo>
                    <a:pt x="4210" y="1148"/>
                  </a:lnTo>
                  <a:lnTo>
                    <a:pt x="4210" y="1144"/>
                  </a:lnTo>
                  <a:lnTo>
                    <a:pt x="4215" y="1144"/>
                  </a:lnTo>
                  <a:lnTo>
                    <a:pt x="4215" y="1139"/>
                  </a:lnTo>
                  <a:lnTo>
                    <a:pt x="4215" y="1139"/>
                  </a:lnTo>
                  <a:lnTo>
                    <a:pt x="4215" y="1139"/>
                  </a:lnTo>
                  <a:lnTo>
                    <a:pt x="4215" y="1135"/>
                  </a:lnTo>
                  <a:lnTo>
                    <a:pt x="4210" y="1135"/>
                  </a:lnTo>
                  <a:lnTo>
                    <a:pt x="4210" y="1135"/>
                  </a:lnTo>
                  <a:lnTo>
                    <a:pt x="4210" y="1135"/>
                  </a:lnTo>
                  <a:lnTo>
                    <a:pt x="4210" y="1130"/>
                  </a:lnTo>
                  <a:lnTo>
                    <a:pt x="4210" y="1130"/>
                  </a:lnTo>
                  <a:lnTo>
                    <a:pt x="4210" y="1130"/>
                  </a:lnTo>
                  <a:lnTo>
                    <a:pt x="4210" y="1130"/>
                  </a:lnTo>
                  <a:lnTo>
                    <a:pt x="4210" y="1126"/>
                  </a:lnTo>
                  <a:lnTo>
                    <a:pt x="4210" y="1126"/>
                  </a:lnTo>
                  <a:lnTo>
                    <a:pt x="4210" y="1126"/>
                  </a:lnTo>
                  <a:lnTo>
                    <a:pt x="4210" y="1126"/>
                  </a:lnTo>
                  <a:lnTo>
                    <a:pt x="4210" y="1121"/>
                  </a:lnTo>
                  <a:lnTo>
                    <a:pt x="4210" y="1121"/>
                  </a:lnTo>
                  <a:lnTo>
                    <a:pt x="4210" y="1121"/>
                  </a:lnTo>
                  <a:lnTo>
                    <a:pt x="4210" y="1121"/>
                  </a:lnTo>
                  <a:lnTo>
                    <a:pt x="4206" y="1117"/>
                  </a:lnTo>
                  <a:lnTo>
                    <a:pt x="4206" y="1117"/>
                  </a:lnTo>
                  <a:lnTo>
                    <a:pt x="4206" y="1117"/>
                  </a:lnTo>
                  <a:lnTo>
                    <a:pt x="4210" y="1117"/>
                  </a:lnTo>
                  <a:lnTo>
                    <a:pt x="4210" y="1117"/>
                  </a:lnTo>
                  <a:lnTo>
                    <a:pt x="4210" y="1117"/>
                  </a:lnTo>
                  <a:lnTo>
                    <a:pt x="4210" y="1117"/>
                  </a:lnTo>
                  <a:lnTo>
                    <a:pt x="4210" y="1112"/>
                  </a:lnTo>
                  <a:lnTo>
                    <a:pt x="4210" y="1117"/>
                  </a:lnTo>
                  <a:lnTo>
                    <a:pt x="4210" y="1117"/>
                  </a:lnTo>
                  <a:lnTo>
                    <a:pt x="4210" y="1121"/>
                  </a:lnTo>
                  <a:lnTo>
                    <a:pt x="4210" y="1126"/>
                  </a:lnTo>
                  <a:lnTo>
                    <a:pt x="4210" y="1126"/>
                  </a:lnTo>
                  <a:lnTo>
                    <a:pt x="4215" y="1130"/>
                  </a:lnTo>
                  <a:lnTo>
                    <a:pt x="4219" y="1135"/>
                  </a:lnTo>
                  <a:lnTo>
                    <a:pt x="4224" y="1135"/>
                  </a:lnTo>
                  <a:lnTo>
                    <a:pt x="4224" y="1130"/>
                  </a:lnTo>
                  <a:lnTo>
                    <a:pt x="4224" y="1130"/>
                  </a:lnTo>
                  <a:lnTo>
                    <a:pt x="4224" y="1130"/>
                  </a:lnTo>
                  <a:lnTo>
                    <a:pt x="4229" y="1126"/>
                  </a:lnTo>
                  <a:lnTo>
                    <a:pt x="4229" y="1130"/>
                  </a:lnTo>
                  <a:lnTo>
                    <a:pt x="4229" y="1130"/>
                  </a:lnTo>
                  <a:lnTo>
                    <a:pt x="4233" y="1135"/>
                  </a:lnTo>
                  <a:lnTo>
                    <a:pt x="4233" y="1135"/>
                  </a:lnTo>
                  <a:lnTo>
                    <a:pt x="4233" y="1139"/>
                  </a:lnTo>
                  <a:lnTo>
                    <a:pt x="4233" y="1139"/>
                  </a:lnTo>
                  <a:lnTo>
                    <a:pt x="4238" y="1139"/>
                  </a:lnTo>
                  <a:lnTo>
                    <a:pt x="4238" y="1139"/>
                  </a:lnTo>
                  <a:lnTo>
                    <a:pt x="4238" y="1139"/>
                  </a:lnTo>
                  <a:lnTo>
                    <a:pt x="4238" y="1144"/>
                  </a:lnTo>
                  <a:lnTo>
                    <a:pt x="4238" y="1148"/>
                  </a:lnTo>
                  <a:lnTo>
                    <a:pt x="4242" y="1153"/>
                  </a:lnTo>
                  <a:lnTo>
                    <a:pt x="4242" y="1153"/>
                  </a:lnTo>
                  <a:lnTo>
                    <a:pt x="4242" y="1162"/>
                  </a:lnTo>
                  <a:lnTo>
                    <a:pt x="4247" y="1167"/>
                  </a:lnTo>
                  <a:lnTo>
                    <a:pt x="4247" y="1167"/>
                  </a:lnTo>
                  <a:lnTo>
                    <a:pt x="4251" y="1167"/>
                  </a:lnTo>
                  <a:lnTo>
                    <a:pt x="4251" y="1167"/>
                  </a:lnTo>
                  <a:lnTo>
                    <a:pt x="4251" y="1171"/>
                  </a:lnTo>
                  <a:lnTo>
                    <a:pt x="4256" y="1176"/>
                  </a:lnTo>
                  <a:lnTo>
                    <a:pt x="4260" y="1176"/>
                  </a:lnTo>
                  <a:lnTo>
                    <a:pt x="4260" y="1176"/>
                  </a:lnTo>
                  <a:lnTo>
                    <a:pt x="4256" y="1171"/>
                  </a:lnTo>
                  <a:lnTo>
                    <a:pt x="4256" y="1171"/>
                  </a:lnTo>
                  <a:lnTo>
                    <a:pt x="4260" y="1176"/>
                  </a:lnTo>
                  <a:lnTo>
                    <a:pt x="4260" y="1176"/>
                  </a:lnTo>
                  <a:lnTo>
                    <a:pt x="4260" y="1176"/>
                  </a:lnTo>
                  <a:lnTo>
                    <a:pt x="4260" y="1176"/>
                  </a:lnTo>
                  <a:lnTo>
                    <a:pt x="4260" y="1180"/>
                  </a:lnTo>
                  <a:lnTo>
                    <a:pt x="4260" y="1180"/>
                  </a:lnTo>
                  <a:lnTo>
                    <a:pt x="4260" y="1180"/>
                  </a:lnTo>
                  <a:lnTo>
                    <a:pt x="4260" y="1180"/>
                  </a:lnTo>
                  <a:lnTo>
                    <a:pt x="4265" y="1176"/>
                  </a:lnTo>
                  <a:lnTo>
                    <a:pt x="4265" y="1176"/>
                  </a:lnTo>
                  <a:lnTo>
                    <a:pt x="4265" y="1176"/>
                  </a:lnTo>
                  <a:lnTo>
                    <a:pt x="4265" y="1176"/>
                  </a:lnTo>
                  <a:lnTo>
                    <a:pt x="4265" y="1180"/>
                  </a:lnTo>
                  <a:lnTo>
                    <a:pt x="4265" y="1180"/>
                  </a:lnTo>
                  <a:lnTo>
                    <a:pt x="4265" y="1180"/>
                  </a:lnTo>
                  <a:lnTo>
                    <a:pt x="4265" y="1180"/>
                  </a:lnTo>
                  <a:lnTo>
                    <a:pt x="4265" y="1180"/>
                  </a:lnTo>
                  <a:lnTo>
                    <a:pt x="4269" y="1185"/>
                  </a:lnTo>
                  <a:lnTo>
                    <a:pt x="4269" y="1185"/>
                  </a:lnTo>
                  <a:lnTo>
                    <a:pt x="4269" y="1185"/>
                  </a:lnTo>
                  <a:lnTo>
                    <a:pt x="4265" y="1185"/>
                  </a:lnTo>
                  <a:lnTo>
                    <a:pt x="4269" y="1180"/>
                  </a:lnTo>
                  <a:lnTo>
                    <a:pt x="4269" y="1180"/>
                  </a:lnTo>
                  <a:lnTo>
                    <a:pt x="4269" y="1185"/>
                  </a:lnTo>
                  <a:lnTo>
                    <a:pt x="4274" y="1185"/>
                  </a:lnTo>
                  <a:lnTo>
                    <a:pt x="4274" y="1185"/>
                  </a:lnTo>
                  <a:lnTo>
                    <a:pt x="4278" y="1185"/>
                  </a:lnTo>
                  <a:lnTo>
                    <a:pt x="4278" y="1185"/>
                  </a:lnTo>
                  <a:lnTo>
                    <a:pt x="4274" y="1189"/>
                  </a:lnTo>
                  <a:lnTo>
                    <a:pt x="4278" y="1189"/>
                  </a:lnTo>
                  <a:lnTo>
                    <a:pt x="4278" y="1189"/>
                  </a:lnTo>
                  <a:lnTo>
                    <a:pt x="4278" y="1189"/>
                  </a:lnTo>
                  <a:lnTo>
                    <a:pt x="4278" y="1189"/>
                  </a:lnTo>
                  <a:lnTo>
                    <a:pt x="4278" y="1194"/>
                  </a:lnTo>
                  <a:lnTo>
                    <a:pt x="4283" y="1194"/>
                  </a:lnTo>
                  <a:lnTo>
                    <a:pt x="4283" y="1194"/>
                  </a:lnTo>
                  <a:lnTo>
                    <a:pt x="4283" y="1194"/>
                  </a:lnTo>
                  <a:lnTo>
                    <a:pt x="4283" y="1198"/>
                  </a:lnTo>
                  <a:lnTo>
                    <a:pt x="4283" y="1198"/>
                  </a:lnTo>
                  <a:lnTo>
                    <a:pt x="4283" y="1198"/>
                  </a:lnTo>
                  <a:lnTo>
                    <a:pt x="4278" y="1198"/>
                  </a:lnTo>
                  <a:lnTo>
                    <a:pt x="4278" y="1194"/>
                  </a:lnTo>
                  <a:lnTo>
                    <a:pt x="4274" y="1194"/>
                  </a:lnTo>
                  <a:lnTo>
                    <a:pt x="4274" y="1194"/>
                  </a:lnTo>
                  <a:lnTo>
                    <a:pt x="4278" y="1198"/>
                  </a:lnTo>
                  <a:lnTo>
                    <a:pt x="4278" y="1203"/>
                  </a:lnTo>
                  <a:lnTo>
                    <a:pt x="4283" y="1203"/>
                  </a:lnTo>
                  <a:lnTo>
                    <a:pt x="4283" y="1203"/>
                  </a:lnTo>
                  <a:lnTo>
                    <a:pt x="4283" y="1203"/>
                  </a:lnTo>
                  <a:lnTo>
                    <a:pt x="4283" y="1203"/>
                  </a:lnTo>
                  <a:lnTo>
                    <a:pt x="4283" y="1198"/>
                  </a:lnTo>
                  <a:lnTo>
                    <a:pt x="4283" y="1198"/>
                  </a:lnTo>
                  <a:lnTo>
                    <a:pt x="4283" y="1198"/>
                  </a:lnTo>
                  <a:lnTo>
                    <a:pt x="4283" y="1198"/>
                  </a:lnTo>
                  <a:lnTo>
                    <a:pt x="4287" y="1198"/>
                  </a:lnTo>
                  <a:lnTo>
                    <a:pt x="4287" y="1203"/>
                  </a:lnTo>
                  <a:lnTo>
                    <a:pt x="4287" y="1207"/>
                  </a:lnTo>
                  <a:lnTo>
                    <a:pt x="4292" y="1207"/>
                  </a:lnTo>
                  <a:lnTo>
                    <a:pt x="4287" y="1207"/>
                  </a:lnTo>
                  <a:lnTo>
                    <a:pt x="4292" y="1212"/>
                  </a:lnTo>
                  <a:lnTo>
                    <a:pt x="4292" y="1212"/>
                  </a:lnTo>
                  <a:lnTo>
                    <a:pt x="4296" y="1216"/>
                  </a:lnTo>
                  <a:lnTo>
                    <a:pt x="4296" y="1225"/>
                  </a:lnTo>
                  <a:lnTo>
                    <a:pt x="4301" y="1230"/>
                  </a:lnTo>
                  <a:lnTo>
                    <a:pt x="4301" y="1230"/>
                  </a:lnTo>
                  <a:lnTo>
                    <a:pt x="4301" y="1234"/>
                  </a:lnTo>
                  <a:lnTo>
                    <a:pt x="4301" y="1239"/>
                  </a:lnTo>
                  <a:lnTo>
                    <a:pt x="4301" y="1239"/>
                  </a:lnTo>
                  <a:lnTo>
                    <a:pt x="4301" y="1243"/>
                  </a:lnTo>
                  <a:lnTo>
                    <a:pt x="4301" y="1243"/>
                  </a:lnTo>
                  <a:lnTo>
                    <a:pt x="4301" y="1248"/>
                  </a:lnTo>
                  <a:lnTo>
                    <a:pt x="4301" y="1248"/>
                  </a:lnTo>
                  <a:lnTo>
                    <a:pt x="4301" y="1252"/>
                  </a:lnTo>
                  <a:lnTo>
                    <a:pt x="4301" y="1257"/>
                  </a:lnTo>
                  <a:lnTo>
                    <a:pt x="4301" y="1261"/>
                  </a:lnTo>
                  <a:lnTo>
                    <a:pt x="4301" y="1261"/>
                  </a:lnTo>
                  <a:lnTo>
                    <a:pt x="4301" y="1261"/>
                  </a:lnTo>
                  <a:lnTo>
                    <a:pt x="4305" y="1257"/>
                  </a:lnTo>
                  <a:lnTo>
                    <a:pt x="4305" y="1257"/>
                  </a:lnTo>
                  <a:lnTo>
                    <a:pt x="4305" y="1257"/>
                  </a:lnTo>
                  <a:lnTo>
                    <a:pt x="4305" y="1252"/>
                  </a:lnTo>
                  <a:lnTo>
                    <a:pt x="4305" y="1252"/>
                  </a:lnTo>
                  <a:lnTo>
                    <a:pt x="4305" y="1252"/>
                  </a:lnTo>
                  <a:lnTo>
                    <a:pt x="4305" y="1252"/>
                  </a:lnTo>
                  <a:lnTo>
                    <a:pt x="4305" y="1252"/>
                  </a:lnTo>
                  <a:lnTo>
                    <a:pt x="4305" y="1257"/>
                  </a:lnTo>
                  <a:lnTo>
                    <a:pt x="4305" y="1257"/>
                  </a:lnTo>
                  <a:lnTo>
                    <a:pt x="4305" y="1261"/>
                  </a:lnTo>
                  <a:lnTo>
                    <a:pt x="4305" y="1261"/>
                  </a:lnTo>
                  <a:lnTo>
                    <a:pt x="4305" y="1261"/>
                  </a:lnTo>
                  <a:lnTo>
                    <a:pt x="4310" y="1261"/>
                  </a:lnTo>
                  <a:lnTo>
                    <a:pt x="4310" y="1261"/>
                  </a:lnTo>
                  <a:lnTo>
                    <a:pt x="4310" y="1257"/>
                  </a:lnTo>
                  <a:lnTo>
                    <a:pt x="4310" y="1257"/>
                  </a:lnTo>
                  <a:lnTo>
                    <a:pt x="4310" y="1257"/>
                  </a:lnTo>
                  <a:lnTo>
                    <a:pt x="4310" y="1261"/>
                  </a:lnTo>
                  <a:lnTo>
                    <a:pt x="4310" y="1261"/>
                  </a:lnTo>
                  <a:lnTo>
                    <a:pt x="4310" y="1261"/>
                  </a:lnTo>
                  <a:lnTo>
                    <a:pt x="4314" y="1266"/>
                  </a:lnTo>
                  <a:lnTo>
                    <a:pt x="4314" y="1266"/>
                  </a:lnTo>
                  <a:lnTo>
                    <a:pt x="4314" y="1266"/>
                  </a:lnTo>
                  <a:lnTo>
                    <a:pt x="4319" y="1261"/>
                  </a:lnTo>
                  <a:lnTo>
                    <a:pt x="4319" y="1261"/>
                  </a:lnTo>
                  <a:lnTo>
                    <a:pt x="4319" y="1257"/>
                  </a:lnTo>
                  <a:lnTo>
                    <a:pt x="4319" y="1261"/>
                  </a:lnTo>
                  <a:lnTo>
                    <a:pt x="4319" y="1261"/>
                  </a:lnTo>
                  <a:lnTo>
                    <a:pt x="4319" y="1266"/>
                  </a:lnTo>
                  <a:lnTo>
                    <a:pt x="4319" y="1266"/>
                  </a:lnTo>
                  <a:lnTo>
                    <a:pt x="4319" y="1266"/>
                  </a:lnTo>
                  <a:lnTo>
                    <a:pt x="4323" y="1266"/>
                  </a:lnTo>
                  <a:lnTo>
                    <a:pt x="4323" y="1261"/>
                  </a:lnTo>
                  <a:lnTo>
                    <a:pt x="4323" y="1261"/>
                  </a:lnTo>
                  <a:lnTo>
                    <a:pt x="4323" y="1257"/>
                  </a:lnTo>
                  <a:lnTo>
                    <a:pt x="4328" y="1257"/>
                  </a:lnTo>
                  <a:lnTo>
                    <a:pt x="4328" y="1257"/>
                  </a:lnTo>
                  <a:lnTo>
                    <a:pt x="4328" y="1252"/>
                  </a:lnTo>
                  <a:lnTo>
                    <a:pt x="4328" y="1252"/>
                  </a:lnTo>
                  <a:lnTo>
                    <a:pt x="4332" y="1252"/>
                  </a:lnTo>
                  <a:lnTo>
                    <a:pt x="4332" y="1252"/>
                  </a:lnTo>
                  <a:lnTo>
                    <a:pt x="4332" y="1252"/>
                  </a:lnTo>
                  <a:lnTo>
                    <a:pt x="4332" y="1248"/>
                  </a:lnTo>
                  <a:lnTo>
                    <a:pt x="4332" y="1248"/>
                  </a:lnTo>
                  <a:lnTo>
                    <a:pt x="4332" y="1243"/>
                  </a:lnTo>
                  <a:lnTo>
                    <a:pt x="4332" y="1243"/>
                  </a:lnTo>
                  <a:lnTo>
                    <a:pt x="4332" y="1243"/>
                  </a:lnTo>
                  <a:lnTo>
                    <a:pt x="4332" y="1248"/>
                  </a:lnTo>
                  <a:lnTo>
                    <a:pt x="4332" y="1248"/>
                  </a:lnTo>
                  <a:lnTo>
                    <a:pt x="4332" y="1252"/>
                  </a:lnTo>
                  <a:lnTo>
                    <a:pt x="4337" y="1252"/>
                  </a:lnTo>
                  <a:lnTo>
                    <a:pt x="4337" y="1252"/>
                  </a:lnTo>
                  <a:lnTo>
                    <a:pt x="4337" y="1248"/>
                  </a:lnTo>
                  <a:lnTo>
                    <a:pt x="4341" y="1248"/>
                  </a:lnTo>
                  <a:lnTo>
                    <a:pt x="4341" y="1243"/>
                  </a:lnTo>
                  <a:close/>
                  <a:moveTo>
                    <a:pt x="3555" y="877"/>
                  </a:moveTo>
                  <a:lnTo>
                    <a:pt x="3551" y="877"/>
                  </a:lnTo>
                  <a:lnTo>
                    <a:pt x="3551" y="877"/>
                  </a:lnTo>
                  <a:lnTo>
                    <a:pt x="3551" y="877"/>
                  </a:lnTo>
                  <a:lnTo>
                    <a:pt x="3551" y="877"/>
                  </a:lnTo>
                  <a:lnTo>
                    <a:pt x="3551" y="873"/>
                  </a:lnTo>
                  <a:lnTo>
                    <a:pt x="3551" y="873"/>
                  </a:lnTo>
                  <a:lnTo>
                    <a:pt x="3542" y="877"/>
                  </a:lnTo>
                  <a:lnTo>
                    <a:pt x="3524" y="882"/>
                  </a:lnTo>
                  <a:lnTo>
                    <a:pt x="3519" y="882"/>
                  </a:lnTo>
                  <a:lnTo>
                    <a:pt x="3510" y="877"/>
                  </a:lnTo>
                  <a:lnTo>
                    <a:pt x="3506" y="877"/>
                  </a:lnTo>
                  <a:lnTo>
                    <a:pt x="3497" y="873"/>
                  </a:lnTo>
                  <a:lnTo>
                    <a:pt x="3497" y="873"/>
                  </a:lnTo>
                  <a:lnTo>
                    <a:pt x="3492" y="868"/>
                  </a:lnTo>
                  <a:lnTo>
                    <a:pt x="3492" y="868"/>
                  </a:lnTo>
                  <a:lnTo>
                    <a:pt x="3492" y="868"/>
                  </a:lnTo>
                  <a:lnTo>
                    <a:pt x="3488" y="868"/>
                  </a:lnTo>
                  <a:lnTo>
                    <a:pt x="3483" y="864"/>
                  </a:lnTo>
                  <a:lnTo>
                    <a:pt x="3479" y="864"/>
                  </a:lnTo>
                  <a:lnTo>
                    <a:pt x="3479" y="864"/>
                  </a:lnTo>
                  <a:lnTo>
                    <a:pt x="3474" y="864"/>
                  </a:lnTo>
                  <a:lnTo>
                    <a:pt x="3474" y="864"/>
                  </a:lnTo>
                  <a:lnTo>
                    <a:pt x="3470" y="859"/>
                  </a:lnTo>
                  <a:lnTo>
                    <a:pt x="3470" y="859"/>
                  </a:lnTo>
                  <a:lnTo>
                    <a:pt x="3470" y="855"/>
                  </a:lnTo>
                  <a:lnTo>
                    <a:pt x="3470" y="855"/>
                  </a:lnTo>
                  <a:lnTo>
                    <a:pt x="3465" y="850"/>
                  </a:lnTo>
                  <a:lnTo>
                    <a:pt x="3465" y="846"/>
                  </a:lnTo>
                  <a:lnTo>
                    <a:pt x="3465" y="841"/>
                  </a:lnTo>
                  <a:lnTo>
                    <a:pt x="3465" y="841"/>
                  </a:lnTo>
                  <a:lnTo>
                    <a:pt x="3465" y="836"/>
                  </a:lnTo>
                  <a:lnTo>
                    <a:pt x="3465" y="836"/>
                  </a:lnTo>
                  <a:lnTo>
                    <a:pt x="3465" y="836"/>
                  </a:lnTo>
                  <a:lnTo>
                    <a:pt x="3470" y="836"/>
                  </a:lnTo>
                  <a:lnTo>
                    <a:pt x="3470" y="836"/>
                  </a:lnTo>
                  <a:lnTo>
                    <a:pt x="3470" y="836"/>
                  </a:lnTo>
                  <a:lnTo>
                    <a:pt x="3470" y="836"/>
                  </a:lnTo>
                  <a:lnTo>
                    <a:pt x="3470" y="836"/>
                  </a:lnTo>
                  <a:lnTo>
                    <a:pt x="3470" y="832"/>
                  </a:lnTo>
                  <a:lnTo>
                    <a:pt x="3470" y="832"/>
                  </a:lnTo>
                  <a:lnTo>
                    <a:pt x="3470" y="832"/>
                  </a:lnTo>
                  <a:lnTo>
                    <a:pt x="3470" y="827"/>
                  </a:lnTo>
                  <a:lnTo>
                    <a:pt x="3470" y="827"/>
                  </a:lnTo>
                  <a:lnTo>
                    <a:pt x="3470" y="827"/>
                  </a:lnTo>
                  <a:lnTo>
                    <a:pt x="3470" y="823"/>
                  </a:lnTo>
                  <a:lnTo>
                    <a:pt x="3470" y="818"/>
                  </a:lnTo>
                  <a:lnTo>
                    <a:pt x="3470" y="814"/>
                  </a:lnTo>
                  <a:lnTo>
                    <a:pt x="3474" y="814"/>
                  </a:lnTo>
                  <a:lnTo>
                    <a:pt x="3474" y="814"/>
                  </a:lnTo>
                  <a:lnTo>
                    <a:pt x="3479" y="814"/>
                  </a:lnTo>
                  <a:lnTo>
                    <a:pt x="3479" y="814"/>
                  </a:lnTo>
                  <a:lnTo>
                    <a:pt x="3483" y="814"/>
                  </a:lnTo>
                  <a:lnTo>
                    <a:pt x="3483" y="809"/>
                  </a:lnTo>
                  <a:lnTo>
                    <a:pt x="3483" y="809"/>
                  </a:lnTo>
                  <a:lnTo>
                    <a:pt x="3479" y="809"/>
                  </a:lnTo>
                  <a:lnTo>
                    <a:pt x="3479" y="809"/>
                  </a:lnTo>
                  <a:lnTo>
                    <a:pt x="3479" y="805"/>
                  </a:lnTo>
                  <a:lnTo>
                    <a:pt x="3474" y="805"/>
                  </a:lnTo>
                  <a:lnTo>
                    <a:pt x="3474" y="805"/>
                  </a:lnTo>
                  <a:lnTo>
                    <a:pt x="3474" y="805"/>
                  </a:lnTo>
                  <a:lnTo>
                    <a:pt x="3470" y="805"/>
                  </a:lnTo>
                  <a:lnTo>
                    <a:pt x="3470" y="805"/>
                  </a:lnTo>
                  <a:lnTo>
                    <a:pt x="3465" y="800"/>
                  </a:lnTo>
                  <a:lnTo>
                    <a:pt x="3461" y="796"/>
                  </a:lnTo>
                  <a:lnTo>
                    <a:pt x="3461" y="796"/>
                  </a:lnTo>
                  <a:lnTo>
                    <a:pt x="3461" y="796"/>
                  </a:lnTo>
                  <a:lnTo>
                    <a:pt x="3461" y="791"/>
                  </a:lnTo>
                  <a:lnTo>
                    <a:pt x="3456" y="787"/>
                  </a:lnTo>
                  <a:lnTo>
                    <a:pt x="3451" y="787"/>
                  </a:lnTo>
                  <a:lnTo>
                    <a:pt x="3451" y="782"/>
                  </a:lnTo>
                  <a:lnTo>
                    <a:pt x="3447" y="782"/>
                  </a:lnTo>
                  <a:lnTo>
                    <a:pt x="3447" y="782"/>
                  </a:lnTo>
                  <a:lnTo>
                    <a:pt x="3447" y="782"/>
                  </a:lnTo>
                  <a:lnTo>
                    <a:pt x="3447" y="778"/>
                  </a:lnTo>
                  <a:lnTo>
                    <a:pt x="3442" y="778"/>
                  </a:lnTo>
                  <a:lnTo>
                    <a:pt x="3442" y="773"/>
                  </a:lnTo>
                  <a:lnTo>
                    <a:pt x="3433" y="769"/>
                  </a:lnTo>
                  <a:lnTo>
                    <a:pt x="3433" y="769"/>
                  </a:lnTo>
                  <a:lnTo>
                    <a:pt x="3433" y="769"/>
                  </a:lnTo>
                  <a:lnTo>
                    <a:pt x="3433" y="764"/>
                  </a:lnTo>
                  <a:lnTo>
                    <a:pt x="3433" y="764"/>
                  </a:lnTo>
                  <a:lnTo>
                    <a:pt x="3429" y="764"/>
                  </a:lnTo>
                  <a:lnTo>
                    <a:pt x="3429" y="764"/>
                  </a:lnTo>
                  <a:lnTo>
                    <a:pt x="3429" y="760"/>
                  </a:lnTo>
                  <a:lnTo>
                    <a:pt x="3429" y="760"/>
                  </a:lnTo>
                  <a:lnTo>
                    <a:pt x="3429" y="755"/>
                  </a:lnTo>
                  <a:lnTo>
                    <a:pt x="3429" y="755"/>
                  </a:lnTo>
                  <a:lnTo>
                    <a:pt x="3429" y="751"/>
                  </a:lnTo>
                  <a:lnTo>
                    <a:pt x="3429" y="751"/>
                  </a:lnTo>
                  <a:lnTo>
                    <a:pt x="3429" y="746"/>
                  </a:lnTo>
                  <a:lnTo>
                    <a:pt x="3429" y="746"/>
                  </a:lnTo>
                  <a:lnTo>
                    <a:pt x="3429" y="746"/>
                  </a:lnTo>
                  <a:lnTo>
                    <a:pt x="3424" y="751"/>
                  </a:lnTo>
                  <a:lnTo>
                    <a:pt x="3424" y="746"/>
                  </a:lnTo>
                  <a:lnTo>
                    <a:pt x="3424" y="742"/>
                  </a:lnTo>
                  <a:lnTo>
                    <a:pt x="3420" y="742"/>
                  </a:lnTo>
                  <a:lnTo>
                    <a:pt x="3420" y="742"/>
                  </a:lnTo>
                  <a:lnTo>
                    <a:pt x="3420" y="737"/>
                  </a:lnTo>
                  <a:lnTo>
                    <a:pt x="3415" y="737"/>
                  </a:lnTo>
                  <a:lnTo>
                    <a:pt x="3415" y="737"/>
                  </a:lnTo>
                  <a:lnTo>
                    <a:pt x="3411" y="737"/>
                  </a:lnTo>
                  <a:lnTo>
                    <a:pt x="3411" y="737"/>
                  </a:lnTo>
                  <a:lnTo>
                    <a:pt x="3411" y="733"/>
                  </a:lnTo>
                  <a:lnTo>
                    <a:pt x="3411" y="733"/>
                  </a:lnTo>
                  <a:lnTo>
                    <a:pt x="3411" y="733"/>
                  </a:lnTo>
                  <a:lnTo>
                    <a:pt x="3411" y="728"/>
                  </a:lnTo>
                  <a:lnTo>
                    <a:pt x="3415" y="728"/>
                  </a:lnTo>
                  <a:lnTo>
                    <a:pt x="3415" y="728"/>
                  </a:lnTo>
                  <a:lnTo>
                    <a:pt x="3415" y="728"/>
                  </a:lnTo>
                  <a:lnTo>
                    <a:pt x="3415" y="728"/>
                  </a:lnTo>
                  <a:lnTo>
                    <a:pt x="3415" y="728"/>
                  </a:lnTo>
                  <a:lnTo>
                    <a:pt x="3415" y="728"/>
                  </a:lnTo>
                  <a:lnTo>
                    <a:pt x="3415" y="723"/>
                  </a:lnTo>
                  <a:lnTo>
                    <a:pt x="3415" y="723"/>
                  </a:lnTo>
                  <a:lnTo>
                    <a:pt x="3415" y="723"/>
                  </a:lnTo>
                  <a:lnTo>
                    <a:pt x="3420" y="719"/>
                  </a:lnTo>
                  <a:lnTo>
                    <a:pt x="3420" y="719"/>
                  </a:lnTo>
                  <a:lnTo>
                    <a:pt x="3420" y="714"/>
                  </a:lnTo>
                  <a:lnTo>
                    <a:pt x="3420" y="714"/>
                  </a:lnTo>
                  <a:lnTo>
                    <a:pt x="3420" y="714"/>
                  </a:lnTo>
                  <a:lnTo>
                    <a:pt x="3420" y="714"/>
                  </a:lnTo>
                  <a:lnTo>
                    <a:pt x="3420" y="714"/>
                  </a:lnTo>
                  <a:lnTo>
                    <a:pt x="3420" y="714"/>
                  </a:lnTo>
                  <a:lnTo>
                    <a:pt x="3420" y="710"/>
                  </a:lnTo>
                  <a:lnTo>
                    <a:pt x="3420" y="710"/>
                  </a:lnTo>
                  <a:lnTo>
                    <a:pt x="3420" y="710"/>
                  </a:lnTo>
                  <a:lnTo>
                    <a:pt x="3420" y="714"/>
                  </a:lnTo>
                  <a:lnTo>
                    <a:pt x="3420" y="714"/>
                  </a:lnTo>
                  <a:lnTo>
                    <a:pt x="3420" y="710"/>
                  </a:lnTo>
                  <a:lnTo>
                    <a:pt x="3420" y="710"/>
                  </a:lnTo>
                  <a:lnTo>
                    <a:pt x="3424" y="710"/>
                  </a:lnTo>
                  <a:lnTo>
                    <a:pt x="3424" y="710"/>
                  </a:lnTo>
                  <a:lnTo>
                    <a:pt x="3424" y="710"/>
                  </a:lnTo>
                  <a:lnTo>
                    <a:pt x="3429" y="710"/>
                  </a:lnTo>
                  <a:lnTo>
                    <a:pt x="3429" y="710"/>
                  </a:lnTo>
                  <a:lnTo>
                    <a:pt x="3433" y="705"/>
                  </a:lnTo>
                  <a:lnTo>
                    <a:pt x="3433" y="705"/>
                  </a:lnTo>
                  <a:lnTo>
                    <a:pt x="3433" y="705"/>
                  </a:lnTo>
                  <a:lnTo>
                    <a:pt x="3433" y="705"/>
                  </a:lnTo>
                  <a:lnTo>
                    <a:pt x="3433" y="705"/>
                  </a:lnTo>
                  <a:lnTo>
                    <a:pt x="3438" y="705"/>
                  </a:lnTo>
                  <a:lnTo>
                    <a:pt x="3438" y="705"/>
                  </a:lnTo>
                  <a:lnTo>
                    <a:pt x="3433" y="705"/>
                  </a:lnTo>
                  <a:lnTo>
                    <a:pt x="3433" y="705"/>
                  </a:lnTo>
                  <a:lnTo>
                    <a:pt x="3433" y="705"/>
                  </a:lnTo>
                  <a:lnTo>
                    <a:pt x="3433" y="705"/>
                  </a:lnTo>
                  <a:lnTo>
                    <a:pt x="3438" y="705"/>
                  </a:lnTo>
                  <a:lnTo>
                    <a:pt x="3438" y="701"/>
                  </a:lnTo>
                  <a:lnTo>
                    <a:pt x="3438" y="701"/>
                  </a:lnTo>
                  <a:lnTo>
                    <a:pt x="3438" y="701"/>
                  </a:lnTo>
                  <a:lnTo>
                    <a:pt x="3442" y="701"/>
                  </a:lnTo>
                  <a:lnTo>
                    <a:pt x="3442" y="696"/>
                  </a:lnTo>
                  <a:lnTo>
                    <a:pt x="3442" y="696"/>
                  </a:lnTo>
                  <a:lnTo>
                    <a:pt x="3442" y="696"/>
                  </a:lnTo>
                  <a:lnTo>
                    <a:pt x="3442" y="696"/>
                  </a:lnTo>
                  <a:lnTo>
                    <a:pt x="3442" y="696"/>
                  </a:lnTo>
                  <a:lnTo>
                    <a:pt x="3442" y="696"/>
                  </a:lnTo>
                  <a:lnTo>
                    <a:pt x="3442" y="696"/>
                  </a:lnTo>
                  <a:lnTo>
                    <a:pt x="3447" y="696"/>
                  </a:lnTo>
                  <a:lnTo>
                    <a:pt x="3447" y="692"/>
                  </a:lnTo>
                  <a:lnTo>
                    <a:pt x="3447" y="692"/>
                  </a:lnTo>
                  <a:lnTo>
                    <a:pt x="3451" y="692"/>
                  </a:lnTo>
                  <a:lnTo>
                    <a:pt x="3451" y="692"/>
                  </a:lnTo>
                  <a:lnTo>
                    <a:pt x="3451" y="692"/>
                  </a:lnTo>
                  <a:lnTo>
                    <a:pt x="3456" y="687"/>
                  </a:lnTo>
                  <a:lnTo>
                    <a:pt x="3456" y="687"/>
                  </a:lnTo>
                  <a:lnTo>
                    <a:pt x="3456" y="687"/>
                  </a:lnTo>
                  <a:lnTo>
                    <a:pt x="3461" y="687"/>
                  </a:lnTo>
                  <a:lnTo>
                    <a:pt x="3461" y="687"/>
                  </a:lnTo>
                  <a:lnTo>
                    <a:pt x="3461" y="687"/>
                  </a:lnTo>
                  <a:lnTo>
                    <a:pt x="3461" y="687"/>
                  </a:lnTo>
                  <a:lnTo>
                    <a:pt x="3465" y="683"/>
                  </a:lnTo>
                  <a:lnTo>
                    <a:pt x="3465" y="683"/>
                  </a:lnTo>
                  <a:lnTo>
                    <a:pt x="3470" y="683"/>
                  </a:lnTo>
                  <a:lnTo>
                    <a:pt x="3474" y="683"/>
                  </a:lnTo>
                  <a:lnTo>
                    <a:pt x="3474" y="683"/>
                  </a:lnTo>
                  <a:lnTo>
                    <a:pt x="3474" y="687"/>
                  </a:lnTo>
                  <a:lnTo>
                    <a:pt x="3479" y="687"/>
                  </a:lnTo>
                  <a:lnTo>
                    <a:pt x="3479" y="687"/>
                  </a:lnTo>
                  <a:lnTo>
                    <a:pt x="3483" y="687"/>
                  </a:lnTo>
                  <a:lnTo>
                    <a:pt x="3483" y="687"/>
                  </a:lnTo>
                  <a:lnTo>
                    <a:pt x="3483" y="687"/>
                  </a:lnTo>
                  <a:lnTo>
                    <a:pt x="3483" y="687"/>
                  </a:lnTo>
                  <a:lnTo>
                    <a:pt x="3488" y="687"/>
                  </a:lnTo>
                  <a:lnTo>
                    <a:pt x="3488" y="687"/>
                  </a:lnTo>
                  <a:lnTo>
                    <a:pt x="3488" y="683"/>
                  </a:lnTo>
                  <a:lnTo>
                    <a:pt x="3492" y="687"/>
                  </a:lnTo>
                  <a:lnTo>
                    <a:pt x="3492" y="687"/>
                  </a:lnTo>
                  <a:lnTo>
                    <a:pt x="3497" y="687"/>
                  </a:lnTo>
                  <a:lnTo>
                    <a:pt x="3497" y="687"/>
                  </a:lnTo>
                  <a:lnTo>
                    <a:pt x="3497" y="687"/>
                  </a:lnTo>
                  <a:lnTo>
                    <a:pt x="3497" y="692"/>
                  </a:lnTo>
                  <a:lnTo>
                    <a:pt x="3497" y="692"/>
                  </a:lnTo>
                  <a:lnTo>
                    <a:pt x="3497" y="692"/>
                  </a:lnTo>
                  <a:lnTo>
                    <a:pt x="3497" y="696"/>
                  </a:lnTo>
                  <a:lnTo>
                    <a:pt x="3501" y="696"/>
                  </a:lnTo>
                  <a:lnTo>
                    <a:pt x="3501" y="701"/>
                  </a:lnTo>
                  <a:lnTo>
                    <a:pt x="3501" y="705"/>
                  </a:lnTo>
                  <a:lnTo>
                    <a:pt x="3497" y="710"/>
                  </a:lnTo>
                  <a:lnTo>
                    <a:pt x="3497" y="710"/>
                  </a:lnTo>
                  <a:lnTo>
                    <a:pt x="3501" y="714"/>
                  </a:lnTo>
                  <a:lnTo>
                    <a:pt x="3506" y="714"/>
                  </a:lnTo>
                  <a:lnTo>
                    <a:pt x="3506" y="714"/>
                  </a:lnTo>
                  <a:lnTo>
                    <a:pt x="3506" y="714"/>
                  </a:lnTo>
                  <a:lnTo>
                    <a:pt x="3501" y="714"/>
                  </a:lnTo>
                  <a:lnTo>
                    <a:pt x="3501" y="714"/>
                  </a:lnTo>
                  <a:lnTo>
                    <a:pt x="3497" y="714"/>
                  </a:lnTo>
                  <a:lnTo>
                    <a:pt x="3492" y="714"/>
                  </a:lnTo>
                  <a:lnTo>
                    <a:pt x="3488" y="714"/>
                  </a:lnTo>
                  <a:lnTo>
                    <a:pt x="3483" y="714"/>
                  </a:lnTo>
                  <a:lnTo>
                    <a:pt x="3479" y="714"/>
                  </a:lnTo>
                  <a:lnTo>
                    <a:pt x="3479" y="714"/>
                  </a:lnTo>
                  <a:lnTo>
                    <a:pt x="3479" y="719"/>
                  </a:lnTo>
                  <a:lnTo>
                    <a:pt x="3479" y="719"/>
                  </a:lnTo>
                  <a:lnTo>
                    <a:pt x="3479" y="719"/>
                  </a:lnTo>
                  <a:lnTo>
                    <a:pt x="3474" y="723"/>
                  </a:lnTo>
                  <a:lnTo>
                    <a:pt x="3474" y="723"/>
                  </a:lnTo>
                  <a:lnTo>
                    <a:pt x="3474" y="723"/>
                  </a:lnTo>
                  <a:lnTo>
                    <a:pt x="3474" y="728"/>
                  </a:lnTo>
                  <a:lnTo>
                    <a:pt x="3474" y="728"/>
                  </a:lnTo>
                  <a:lnTo>
                    <a:pt x="3479" y="728"/>
                  </a:lnTo>
                  <a:lnTo>
                    <a:pt x="3479" y="728"/>
                  </a:lnTo>
                  <a:lnTo>
                    <a:pt x="3483" y="733"/>
                  </a:lnTo>
                  <a:lnTo>
                    <a:pt x="3483" y="733"/>
                  </a:lnTo>
                  <a:lnTo>
                    <a:pt x="3483" y="733"/>
                  </a:lnTo>
                  <a:lnTo>
                    <a:pt x="3483" y="733"/>
                  </a:lnTo>
                  <a:lnTo>
                    <a:pt x="3483" y="733"/>
                  </a:lnTo>
                  <a:lnTo>
                    <a:pt x="3479" y="733"/>
                  </a:lnTo>
                  <a:lnTo>
                    <a:pt x="3479" y="733"/>
                  </a:lnTo>
                  <a:lnTo>
                    <a:pt x="3479" y="733"/>
                  </a:lnTo>
                  <a:lnTo>
                    <a:pt x="3479" y="733"/>
                  </a:lnTo>
                  <a:lnTo>
                    <a:pt x="3474" y="728"/>
                  </a:lnTo>
                  <a:lnTo>
                    <a:pt x="3470" y="728"/>
                  </a:lnTo>
                  <a:lnTo>
                    <a:pt x="3465" y="733"/>
                  </a:lnTo>
                  <a:lnTo>
                    <a:pt x="3465" y="733"/>
                  </a:lnTo>
                  <a:lnTo>
                    <a:pt x="3465" y="733"/>
                  </a:lnTo>
                  <a:lnTo>
                    <a:pt x="3465" y="733"/>
                  </a:lnTo>
                  <a:lnTo>
                    <a:pt x="3465" y="733"/>
                  </a:lnTo>
                  <a:lnTo>
                    <a:pt x="3465" y="737"/>
                  </a:lnTo>
                  <a:lnTo>
                    <a:pt x="3465" y="737"/>
                  </a:lnTo>
                  <a:lnTo>
                    <a:pt x="3470" y="737"/>
                  </a:lnTo>
                  <a:lnTo>
                    <a:pt x="3474" y="737"/>
                  </a:lnTo>
                  <a:lnTo>
                    <a:pt x="3474" y="737"/>
                  </a:lnTo>
                  <a:lnTo>
                    <a:pt x="3474" y="737"/>
                  </a:lnTo>
                  <a:lnTo>
                    <a:pt x="3479" y="742"/>
                  </a:lnTo>
                  <a:lnTo>
                    <a:pt x="3479" y="746"/>
                  </a:lnTo>
                  <a:lnTo>
                    <a:pt x="3483" y="751"/>
                  </a:lnTo>
                  <a:lnTo>
                    <a:pt x="3483" y="751"/>
                  </a:lnTo>
                  <a:lnTo>
                    <a:pt x="3483" y="751"/>
                  </a:lnTo>
                  <a:lnTo>
                    <a:pt x="3483" y="751"/>
                  </a:lnTo>
                  <a:lnTo>
                    <a:pt x="3488" y="751"/>
                  </a:lnTo>
                  <a:lnTo>
                    <a:pt x="3488" y="755"/>
                  </a:lnTo>
                  <a:lnTo>
                    <a:pt x="3488" y="755"/>
                  </a:lnTo>
                  <a:lnTo>
                    <a:pt x="3488" y="760"/>
                  </a:lnTo>
                  <a:lnTo>
                    <a:pt x="3488" y="760"/>
                  </a:lnTo>
                  <a:lnTo>
                    <a:pt x="3488" y="760"/>
                  </a:lnTo>
                  <a:lnTo>
                    <a:pt x="3492" y="760"/>
                  </a:lnTo>
                  <a:lnTo>
                    <a:pt x="3492" y="760"/>
                  </a:lnTo>
                  <a:lnTo>
                    <a:pt x="3497" y="760"/>
                  </a:lnTo>
                  <a:lnTo>
                    <a:pt x="3497" y="760"/>
                  </a:lnTo>
                  <a:lnTo>
                    <a:pt x="3497" y="764"/>
                  </a:lnTo>
                  <a:lnTo>
                    <a:pt x="3497" y="764"/>
                  </a:lnTo>
                  <a:lnTo>
                    <a:pt x="3497" y="764"/>
                  </a:lnTo>
                  <a:lnTo>
                    <a:pt x="3497" y="764"/>
                  </a:lnTo>
                  <a:lnTo>
                    <a:pt x="3501" y="764"/>
                  </a:lnTo>
                  <a:lnTo>
                    <a:pt x="3501" y="764"/>
                  </a:lnTo>
                  <a:lnTo>
                    <a:pt x="3501" y="764"/>
                  </a:lnTo>
                  <a:lnTo>
                    <a:pt x="3506" y="764"/>
                  </a:lnTo>
                  <a:lnTo>
                    <a:pt x="3506" y="764"/>
                  </a:lnTo>
                  <a:lnTo>
                    <a:pt x="3506" y="764"/>
                  </a:lnTo>
                  <a:lnTo>
                    <a:pt x="3506" y="764"/>
                  </a:lnTo>
                  <a:lnTo>
                    <a:pt x="3510" y="764"/>
                  </a:lnTo>
                  <a:lnTo>
                    <a:pt x="3510" y="769"/>
                  </a:lnTo>
                  <a:lnTo>
                    <a:pt x="3510" y="773"/>
                  </a:lnTo>
                  <a:lnTo>
                    <a:pt x="3510" y="773"/>
                  </a:lnTo>
                  <a:lnTo>
                    <a:pt x="3510" y="773"/>
                  </a:lnTo>
                  <a:lnTo>
                    <a:pt x="3510" y="778"/>
                  </a:lnTo>
                  <a:lnTo>
                    <a:pt x="3510" y="778"/>
                  </a:lnTo>
                  <a:lnTo>
                    <a:pt x="3510" y="782"/>
                  </a:lnTo>
                  <a:lnTo>
                    <a:pt x="3510" y="782"/>
                  </a:lnTo>
                  <a:lnTo>
                    <a:pt x="3515" y="787"/>
                  </a:lnTo>
                  <a:lnTo>
                    <a:pt x="3515" y="791"/>
                  </a:lnTo>
                  <a:lnTo>
                    <a:pt x="3519" y="796"/>
                  </a:lnTo>
                  <a:lnTo>
                    <a:pt x="3519" y="796"/>
                  </a:lnTo>
                  <a:lnTo>
                    <a:pt x="3519" y="796"/>
                  </a:lnTo>
                  <a:lnTo>
                    <a:pt x="3519" y="791"/>
                  </a:lnTo>
                  <a:lnTo>
                    <a:pt x="3519" y="787"/>
                  </a:lnTo>
                  <a:lnTo>
                    <a:pt x="3519" y="787"/>
                  </a:lnTo>
                  <a:lnTo>
                    <a:pt x="3515" y="787"/>
                  </a:lnTo>
                  <a:lnTo>
                    <a:pt x="3515" y="782"/>
                  </a:lnTo>
                  <a:lnTo>
                    <a:pt x="3519" y="778"/>
                  </a:lnTo>
                  <a:lnTo>
                    <a:pt x="3519" y="778"/>
                  </a:lnTo>
                  <a:lnTo>
                    <a:pt x="3519" y="778"/>
                  </a:lnTo>
                  <a:lnTo>
                    <a:pt x="3519" y="778"/>
                  </a:lnTo>
                  <a:lnTo>
                    <a:pt x="3524" y="778"/>
                  </a:lnTo>
                  <a:lnTo>
                    <a:pt x="3528" y="778"/>
                  </a:lnTo>
                  <a:lnTo>
                    <a:pt x="3528" y="778"/>
                  </a:lnTo>
                  <a:lnTo>
                    <a:pt x="3528" y="778"/>
                  </a:lnTo>
                  <a:lnTo>
                    <a:pt x="3528" y="778"/>
                  </a:lnTo>
                  <a:lnTo>
                    <a:pt x="3533" y="782"/>
                  </a:lnTo>
                  <a:lnTo>
                    <a:pt x="3533" y="782"/>
                  </a:lnTo>
                  <a:lnTo>
                    <a:pt x="3533" y="787"/>
                  </a:lnTo>
                  <a:lnTo>
                    <a:pt x="3537" y="787"/>
                  </a:lnTo>
                  <a:lnTo>
                    <a:pt x="3537" y="791"/>
                  </a:lnTo>
                  <a:lnTo>
                    <a:pt x="3542" y="791"/>
                  </a:lnTo>
                  <a:lnTo>
                    <a:pt x="3546" y="796"/>
                  </a:lnTo>
                  <a:lnTo>
                    <a:pt x="3546" y="796"/>
                  </a:lnTo>
                  <a:lnTo>
                    <a:pt x="3546" y="796"/>
                  </a:lnTo>
                  <a:lnTo>
                    <a:pt x="3546" y="796"/>
                  </a:lnTo>
                  <a:lnTo>
                    <a:pt x="3546" y="800"/>
                  </a:lnTo>
                  <a:lnTo>
                    <a:pt x="3546" y="800"/>
                  </a:lnTo>
                  <a:lnTo>
                    <a:pt x="3546" y="800"/>
                  </a:lnTo>
                  <a:lnTo>
                    <a:pt x="3546" y="800"/>
                  </a:lnTo>
                  <a:lnTo>
                    <a:pt x="3546" y="800"/>
                  </a:lnTo>
                  <a:lnTo>
                    <a:pt x="3542" y="800"/>
                  </a:lnTo>
                  <a:lnTo>
                    <a:pt x="3542" y="800"/>
                  </a:lnTo>
                  <a:lnTo>
                    <a:pt x="3542" y="800"/>
                  </a:lnTo>
                  <a:lnTo>
                    <a:pt x="3546" y="805"/>
                  </a:lnTo>
                  <a:lnTo>
                    <a:pt x="3542" y="805"/>
                  </a:lnTo>
                  <a:lnTo>
                    <a:pt x="3542" y="805"/>
                  </a:lnTo>
                  <a:lnTo>
                    <a:pt x="3542" y="805"/>
                  </a:lnTo>
                  <a:lnTo>
                    <a:pt x="3542" y="805"/>
                  </a:lnTo>
                  <a:lnTo>
                    <a:pt x="3537" y="805"/>
                  </a:lnTo>
                  <a:lnTo>
                    <a:pt x="3533" y="805"/>
                  </a:lnTo>
                  <a:lnTo>
                    <a:pt x="3533" y="800"/>
                  </a:lnTo>
                  <a:lnTo>
                    <a:pt x="3533" y="800"/>
                  </a:lnTo>
                  <a:lnTo>
                    <a:pt x="3528" y="800"/>
                  </a:lnTo>
                  <a:lnTo>
                    <a:pt x="3528" y="800"/>
                  </a:lnTo>
                  <a:lnTo>
                    <a:pt x="3528" y="800"/>
                  </a:lnTo>
                  <a:lnTo>
                    <a:pt x="3524" y="800"/>
                  </a:lnTo>
                  <a:lnTo>
                    <a:pt x="3524" y="800"/>
                  </a:lnTo>
                  <a:lnTo>
                    <a:pt x="3524" y="800"/>
                  </a:lnTo>
                  <a:lnTo>
                    <a:pt x="3524" y="800"/>
                  </a:lnTo>
                  <a:lnTo>
                    <a:pt x="3519" y="796"/>
                  </a:lnTo>
                  <a:lnTo>
                    <a:pt x="3519" y="800"/>
                  </a:lnTo>
                  <a:lnTo>
                    <a:pt x="3519" y="805"/>
                  </a:lnTo>
                  <a:lnTo>
                    <a:pt x="3519" y="805"/>
                  </a:lnTo>
                  <a:lnTo>
                    <a:pt x="3519" y="809"/>
                  </a:lnTo>
                  <a:lnTo>
                    <a:pt x="3519" y="814"/>
                  </a:lnTo>
                  <a:lnTo>
                    <a:pt x="3524" y="814"/>
                  </a:lnTo>
                  <a:lnTo>
                    <a:pt x="3524" y="818"/>
                  </a:lnTo>
                  <a:lnTo>
                    <a:pt x="3524" y="818"/>
                  </a:lnTo>
                  <a:lnTo>
                    <a:pt x="3528" y="823"/>
                  </a:lnTo>
                  <a:lnTo>
                    <a:pt x="3524" y="818"/>
                  </a:lnTo>
                  <a:lnTo>
                    <a:pt x="3524" y="818"/>
                  </a:lnTo>
                  <a:lnTo>
                    <a:pt x="3528" y="818"/>
                  </a:lnTo>
                  <a:lnTo>
                    <a:pt x="3528" y="818"/>
                  </a:lnTo>
                  <a:lnTo>
                    <a:pt x="3533" y="818"/>
                  </a:lnTo>
                  <a:lnTo>
                    <a:pt x="3533" y="818"/>
                  </a:lnTo>
                  <a:lnTo>
                    <a:pt x="3533" y="818"/>
                  </a:lnTo>
                  <a:lnTo>
                    <a:pt x="3533" y="818"/>
                  </a:lnTo>
                  <a:lnTo>
                    <a:pt x="3533" y="823"/>
                  </a:lnTo>
                  <a:lnTo>
                    <a:pt x="3533" y="823"/>
                  </a:lnTo>
                  <a:lnTo>
                    <a:pt x="3537" y="823"/>
                  </a:lnTo>
                  <a:lnTo>
                    <a:pt x="3537" y="823"/>
                  </a:lnTo>
                  <a:lnTo>
                    <a:pt x="3537" y="823"/>
                  </a:lnTo>
                  <a:lnTo>
                    <a:pt x="3537" y="827"/>
                  </a:lnTo>
                  <a:lnTo>
                    <a:pt x="3533" y="827"/>
                  </a:lnTo>
                  <a:lnTo>
                    <a:pt x="3533" y="823"/>
                  </a:lnTo>
                  <a:lnTo>
                    <a:pt x="3533" y="823"/>
                  </a:lnTo>
                  <a:lnTo>
                    <a:pt x="3528" y="827"/>
                  </a:lnTo>
                  <a:lnTo>
                    <a:pt x="3528" y="827"/>
                  </a:lnTo>
                  <a:lnTo>
                    <a:pt x="3533" y="832"/>
                  </a:lnTo>
                  <a:lnTo>
                    <a:pt x="3533" y="827"/>
                  </a:lnTo>
                  <a:lnTo>
                    <a:pt x="3533" y="827"/>
                  </a:lnTo>
                  <a:lnTo>
                    <a:pt x="3533" y="827"/>
                  </a:lnTo>
                  <a:lnTo>
                    <a:pt x="3537" y="832"/>
                  </a:lnTo>
                  <a:lnTo>
                    <a:pt x="3537" y="832"/>
                  </a:lnTo>
                  <a:lnTo>
                    <a:pt x="3537" y="832"/>
                  </a:lnTo>
                  <a:lnTo>
                    <a:pt x="3542" y="832"/>
                  </a:lnTo>
                  <a:lnTo>
                    <a:pt x="3542" y="832"/>
                  </a:lnTo>
                  <a:lnTo>
                    <a:pt x="3542" y="832"/>
                  </a:lnTo>
                  <a:lnTo>
                    <a:pt x="3542" y="836"/>
                  </a:lnTo>
                  <a:lnTo>
                    <a:pt x="3542" y="836"/>
                  </a:lnTo>
                  <a:lnTo>
                    <a:pt x="3546" y="836"/>
                  </a:lnTo>
                  <a:lnTo>
                    <a:pt x="3546" y="841"/>
                  </a:lnTo>
                  <a:lnTo>
                    <a:pt x="3546" y="841"/>
                  </a:lnTo>
                  <a:lnTo>
                    <a:pt x="3546" y="846"/>
                  </a:lnTo>
                  <a:lnTo>
                    <a:pt x="3546" y="846"/>
                  </a:lnTo>
                  <a:lnTo>
                    <a:pt x="3546" y="850"/>
                  </a:lnTo>
                  <a:lnTo>
                    <a:pt x="3546" y="855"/>
                  </a:lnTo>
                  <a:lnTo>
                    <a:pt x="3546" y="855"/>
                  </a:lnTo>
                  <a:lnTo>
                    <a:pt x="3546" y="859"/>
                  </a:lnTo>
                  <a:lnTo>
                    <a:pt x="3551" y="864"/>
                  </a:lnTo>
                  <a:lnTo>
                    <a:pt x="3551" y="868"/>
                  </a:lnTo>
                  <a:lnTo>
                    <a:pt x="3551" y="868"/>
                  </a:lnTo>
                  <a:lnTo>
                    <a:pt x="3555" y="873"/>
                  </a:lnTo>
                  <a:lnTo>
                    <a:pt x="3555" y="877"/>
                  </a:lnTo>
                  <a:lnTo>
                    <a:pt x="3555" y="877"/>
                  </a:lnTo>
                  <a:lnTo>
                    <a:pt x="3555" y="877"/>
                  </a:lnTo>
                  <a:close/>
                  <a:moveTo>
                    <a:pt x="2747" y="823"/>
                  </a:moveTo>
                  <a:lnTo>
                    <a:pt x="2742" y="827"/>
                  </a:lnTo>
                  <a:lnTo>
                    <a:pt x="2738" y="827"/>
                  </a:lnTo>
                  <a:lnTo>
                    <a:pt x="2733" y="832"/>
                  </a:lnTo>
                  <a:lnTo>
                    <a:pt x="2733" y="832"/>
                  </a:lnTo>
                  <a:lnTo>
                    <a:pt x="2733" y="832"/>
                  </a:lnTo>
                  <a:lnTo>
                    <a:pt x="2733" y="832"/>
                  </a:lnTo>
                  <a:lnTo>
                    <a:pt x="2733" y="832"/>
                  </a:lnTo>
                  <a:lnTo>
                    <a:pt x="2738" y="832"/>
                  </a:lnTo>
                  <a:lnTo>
                    <a:pt x="2738" y="832"/>
                  </a:lnTo>
                  <a:lnTo>
                    <a:pt x="2738" y="832"/>
                  </a:lnTo>
                  <a:lnTo>
                    <a:pt x="2738" y="832"/>
                  </a:lnTo>
                  <a:lnTo>
                    <a:pt x="2738" y="836"/>
                  </a:lnTo>
                  <a:lnTo>
                    <a:pt x="2738" y="836"/>
                  </a:lnTo>
                  <a:lnTo>
                    <a:pt x="2742" y="836"/>
                  </a:lnTo>
                  <a:lnTo>
                    <a:pt x="2742" y="836"/>
                  </a:lnTo>
                  <a:lnTo>
                    <a:pt x="2747" y="836"/>
                  </a:lnTo>
                  <a:lnTo>
                    <a:pt x="2747" y="836"/>
                  </a:lnTo>
                  <a:lnTo>
                    <a:pt x="2747" y="832"/>
                  </a:lnTo>
                  <a:lnTo>
                    <a:pt x="2747" y="832"/>
                  </a:lnTo>
                  <a:lnTo>
                    <a:pt x="2751" y="832"/>
                  </a:lnTo>
                  <a:lnTo>
                    <a:pt x="2751" y="832"/>
                  </a:lnTo>
                  <a:lnTo>
                    <a:pt x="2751" y="827"/>
                  </a:lnTo>
                  <a:lnTo>
                    <a:pt x="2747" y="827"/>
                  </a:lnTo>
                  <a:lnTo>
                    <a:pt x="2747" y="827"/>
                  </a:lnTo>
                  <a:lnTo>
                    <a:pt x="2747" y="827"/>
                  </a:lnTo>
                  <a:lnTo>
                    <a:pt x="2747" y="827"/>
                  </a:lnTo>
                  <a:lnTo>
                    <a:pt x="2747" y="827"/>
                  </a:lnTo>
                  <a:lnTo>
                    <a:pt x="2747" y="827"/>
                  </a:lnTo>
                  <a:lnTo>
                    <a:pt x="2747" y="827"/>
                  </a:lnTo>
                  <a:lnTo>
                    <a:pt x="2747" y="827"/>
                  </a:lnTo>
                  <a:lnTo>
                    <a:pt x="2747" y="827"/>
                  </a:lnTo>
                  <a:lnTo>
                    <a:pt x="2747" y="823"/>
                  </a:lnTo>
                  <a:lnTo>
                    <a:pt x="2747" y="823"/>
                  </a:lnTo>
                  <a:close/>
                  <a:moveTo>
                    <a:pt x="2869" y="529"/>
                  </a:moveTo>
                  <a:lnTo>
                    <a:pt x="2869" y="529"/>
                  </a:lnTo>
                  <a:lnTo>
                    <a:pt x="2869" y="529"/>
                  </a:lnTo>
                  <a:lnTo>
                    <a:pt x="2864" y="529"/>
                  </a:lnTo>
                  <a:lnTo>
                    <a:pt x="2869" y="529"/>
                  </a:lnTo>
                  <a:lnTo>
                    <a:pt x="2869" y="529"/>
                  </a:lnTo>
                  <a:lnTo>
                    <a:pt x="2869" y="534"/>
                  </a:lnTo>
                  <a:lnTo>
                    <a:pt x="2869" y="534"/>
                  </a:lnTo>
                  <a:lnTo>
                    <a:pt x="2869" y="534"/>
                  </a:lnTo>
                  <a:lnTo>
                    <a:pt x="2869" y="534"/>
                  </a:lnTo>
                  <a:lnTo>
                    <a:pt x="2869" y="538"/>
                  </a:lnTo>
                  <a:lnTo>
                    <a:pt x="2869" y="538"/>
                  </a:lnTo>
                  <a:lnTo>
                    <a:pt x="2869" y="538"/>
                  </a:lnTo>
                  <a:lnTo>
                    <a:pt x="2873" y="538"/>
                  </a:lnTo>
                  <a:lnTo>
                    <a:pt x="2873" y="538"/>
                  </a:lnTo>
                  <a:lnTo>
                    <a:pt x="2878" y="538"/>
                  </a:lnTo>
                  <a:lnTo>
                    <a:pt x="2878" y="543"/>
                  </a:lnTo>
                  <a:lnTo>
                    <a:pt x="2878" y="543"/>
                  </a:lnTo>
                  <a:lnTo>
                    <a:pt x="2878" y="543"/>
                  </a:lnTo>
                  <a:lnTo>
                    <a:pt x="2878" y="543"/>
                  </a:lnTo>
                  <a:lnTo>
                    <a:pt x="2878" y="547"/>
                  </a:lnTo>
                  <a:lnTo>
                    <a:pt x="2882" y="547"/>
                  </a:lnTo>
                  <a:lnTo>
                    <a:pt x="2882" y="543"/>
                  </a:lnTo>
                  <a:lnTo>
                    <a:pt x="2882" y="543"/>
                  </a:lnTo>
                  <a:lnTo>
                    <a:pt x="2882" y="543"/>
                  </a:lnTo>
                  <a:lnTo>
                    <a:pt x="2882" y="538"/>
                  </a:lnTo>
                  <a:lnTo>
                    <a:pt x="2887" y="538"/>
                  </a:lnTo>
                  <a:lnTo>
                    <a:pt x="2887" y="538"/>
                  </a:lnTo>
                  <a:lnTo>
                    <a:pt x="2887" y="534"/>
                  </a:lnTo>
                  <a:lnTo>
                    <a:pt x="2882" y="534"/>
                  </a:lnTo>
                  <a:lnTo>
                    <a:pt x="2882" y="534"/>
                  </a:lnTo>
                  <a:lnTo>
                    <a:pt x="2882" y="534"/>
                  </a:lnTo>
                  <a:lnTo>
                    <a:pt x="2887" y="534"/>
                  </a:lnTo>
                  <a:lnTo>
                    <a:pt x="2887" y="529"/>
                  </a:lnTo>
                  <a:lnTo>
                    <a:pt x="2887" y="529"/>
                  </a:lnTo>
                  <a:lnTo>
                    <a:pt x="2887" y="529"/>
                  </a:lnTo>
                  <a:lnTo>
                    <a:pt x="2887" y="529"/>
                  </a:lnTo>
                  <a:lnTo>
                    <a:pt x="2887" y="529"/>
                  </a:lnTo>
                  <a:lnTo>
                    <a:pt x="2887" y="525"/>
                  </a:lnTo>
                  <a:lnTo>
                    <a:pt x="2887" y="525"/>
                  </a:lnTo>
                  <a:lnTo>
                    <a:pt x="2887" y="525"/>
                  </a:lnTo>
                  <a:lnTo>
                    <a:pt x="2887" y="525"/>
                  </a:lnTo>
                  <a:lnTo>
                    <a:pt x="2887" y="525"/>
                  </a:lnTo>
                  <a:lnTo>
                    <a:pt x="2887" y="520"/>
                  </a:lnTo>
                  <a:lnTo>
                    <a:pt x="2887" y="520"/>
                  </a:lnTo>
                  <a:lnTo>
                    <a:pt x="2882" y="520"/>
                  </a:lnTo>
                  <a:lnTo>
                    <a:pt x="2882" y="525"/>
                  </a:lnTo>
                  <a:lnTo>
                    <a:pt x="2878" y="525"/>
                  </a:lnTo>
                  <a:lnTo>
                    <a:pt x="2878" y="525"/>
                  </a:lnTo>
                  <a:lnTo>
                    <a:pt x="2878" y="525"/>
                  </a:lnTo>
                  <a:lnTo>
                    <a:pt x="2878" y="529"/>
                  </a:lnTo>
                  <a:lnTo>
                    <a:pt x="2878" y="529"/>
                  </a:lnTo>
                  <a:lnTo>
                    <a:pt x="2878" y="529"/>
                  </a:lnTo>
                  <a:lnTo>
                    <a:pt x="2878" y="529"/>
                  </a:lnTo>
                  <a:lnTo>
                    <a:pt x="2878" y="529"/>
                  </a:lnTo>
                  <a:lnTo>
                    <a:pt x="2878" y="529"/>
                  </a:lnTo>
                  <a:lnTo>
                    <a:pt x="2878" y="529"/>
                  </a:lnTo>
                  <a:lnTo>
                    <a:pt x="2878" y="525"/>
                  </a:lnTo>
                  <a:lnTo>
                    <a:pt x="2873" y="525"/>
                  </a:lnTo>
                  <a:lnTo>
                    <a:pt x="2873" y="525"/>
                  </a:lnTo>
                  <a:lnTo>
                    <a:pt x="2873" y="525"/>
                  </a:lnTo>
                  <a:lnTo>
                    <a:pt x="2873" y="525"/>
                  </a:lnTo>
                  <a:lnTo>
                    <a:pt x="2869" y="529"/>
                  </a:lnTo>
                  <a:lnTo>
                    <a:pt x="2869" y="529"/>
                  </a:lnTo>
                  <a:close/>
                  <a:moveTo>
                    <a:pt x="2864" y="534"/>
                  </a:moveTo>
                  <a:lnTo>
                    <a:pt x="2864" y="534"/>
                  </a:lnTo>
                  <a:lnTo>
                    <a:pt x="2860" y="529"/>
                  </a:lnTo>
                  <a:lnTo>
                    <a:pt x="2860" y="529"/>
                  </a:lnTo>
                  <a:lnTo>
                    <a:pt x="2860" y="534"/>
                  </a:lnTo>
                  <a:lnTo>
                    <a:pt x="2860" y="534"/>
                  </a:lnTo>
                  <a:lnTo>
                    <a:pt x="2860" y="534"/>
                  </a:lnTo>
                  <a:lnTo>
                    <a:pt x="2855" y="529"/>
                  </a:lnTo>
                  <a:lnTo>
                    <a:pt x="2851" y="534"/>
                  </a:lnTo>
                  <a:lnTo>
                    <a:pt x="2851" y="534"/>
                  </a:lnTo>
                  <a:lnTo>
                    <a:pt x="2851" y="538"/>
                  </a:lnTo>
                  <a:lnTo>
                    <a:pt x="2851" y="538"/>
                  </a:lnTo>
                  <a:lnTo>
                    <a:pt x="2851" y="538"/>
                  </a:lnTo>
                  <a:lnTo>
                    <a:pt x="2851" y="538"/>
                  </a:lnTo>
                  <a:lnTo>
                    <a:pt x="2855" y="543"/>
                  </a:lnTo>
                  <a:lnTo>
                    <a:pt x="2860" y="543"/>
                  </a:lnTo>
                  <a:lnTo>
                    <a:pt x="2860" y="543"/>
                  </a:lnTo>
                  <a:lnTo>
                    <a:pt x="2864" y="538"/>
                  </a:lnTo>
                  <a:lnTo>
                    <a:pt x="2864" y="538"/>
                  </a:lnTo>
                  <a:lnTo>
                    <a:pt x="2864" y="538"/>
                  </a:lnTo>
                  <a:lnTo>
                    <a:pt x="2864" y="538"/>
                  </a:lnTo>
                  <a:lnTo>
                    <a:pt x="2864" y="534"/>
                  </a:lnTo>
                  <a:close/>
                  <a:moveTo>
                    <a:pt x="3077" y="850"/>
                  </a:moveTo>
                  <a:lnTo>
                    <a:pt x="3077" y="850"/>
                  </a:lnTo>
                  <a:lnTo>
                    <a:pt x="3077" y="850"/>
                  </a:lnTo>
                  <a:lnTo>
                    <a:pt x="3077" y="850"/>
                  </a:lnTo>
                  <a:lnTo>
                    <a:pt x="3072" y="850"/>
                  </a:lnTo>
                  <a:lnTo>
                    <a:pt x="3068" y="846"/>
                  </a:lnTo>
                  <a:lnTo>
                    <a:pt x="3068" y="846"/>
                  </a:lnTo>
                  <a:lnTo>
                    <a:pt x="3068" y="846"/>
                  </a:lnTo>
                  <a:lnTo>
                    <a:pt x="3068" y="846"/>
                  </a:lnTo>
                  <a:lnTo>
                    <a:pt x="3063" y="846"/>
                  </a:lnTo>
                  <a:lnTo>
                    <a:pt x="3063" y="841"/>
                  </a:lnTo>
                  <a:lnTo>
                    <a:pt x="3063" y="841"/>
                  </a:lnTo>
                  <a:lnTo>
                    <a:pt x="3058" y="841"/>
                  </a:lnTo>
                  <a:lnTo>
                    <a:pt x="3058" y="846"/>
                  </a:lnTo>
                  <a:lnTo>
                    <a:pt x="3054" y="846"/>
                  </a:lnTo>
                  <a:lnTo>
                    <a:pt x="3054" y="846"/>
                  </a:lnTo>
                  <a:lnTo>
                    <a:pt x="3058" y="846"/>
                  </a:lnTo>
                  <a:lnTo>
                    <a:pt x="3058" y="846"/>
                  </a:lnTo>
                  <a:lnTo>
                    <a:pt x="3058" y="846"/>
                  </a:lnTo>
                  <a:lnTo>
                    <a:pt x="3063" y="846"/>
                  </a:lnTo>
                  <a:lnTo>
                    <a:pt x="3063" y="846"/>
                  </a:lnTo>
                  <a:lnTo>
                    <a:pt x="3068" y="850"/>
                  </a:lnTo>
                  <a:lnTo>
                    <a:pt x="3068" y="850"/>
                  </a:lnTo>
                  <a:lnTo>
                    <a:pt x="3068" y="850"/>
                  </a:lnTo>
                  <a:lnTo>
                    <a:pt x="3068" y="850"/>
                  </a:lnTo>
                  <a:lnTo>
                    <a:pt x="3068" y="855"/>
                  </a:lnTo>
                  <a:lnTo>
                    <a:pt x="3072" y="855"/>
                  </a:lnTo>
                  <a:lnTo>
                    <a:pt x="3072" y="855"/>
                  </a:lnTo>
                  <a:lnTo>
                    <a:pt x="3077" y="855"/>
                  </a:lnTo>
                  <a:lnTo>
                    <a:pt x="3077" y="855"/>
                  </a:lnTo>
                  <a:lnTo>
                    <a:pt x="3077" y="855"/>
                  </a:lnTo>
                  <a:lnTo>
                    <a:pt x="3077" y="855"/>
                  </a:lnTo>
                  <a:lnTo>
                    <a:pt x="3077" y="855"/>
                  </a:lnTo>
                  <a:lnTo>
                    <a:pt x="3077" y="859"/>
                  </a:lnTo>
                  <a:lnTo>
                    <a:pt x="3077" y="859"/>
                  </a:lnTo>
                  <a:lnTo>
                    <a:pt x="3077" y="859"/>
                  </a:lnTo>
                  <a:lnTo>
                    <a:pt x="3081" y="859"/>
                  </a:lnTo>
                  <a:lnTo>
                    <a:pt x="3081" y="859"/>
                  </a:lnTo>
                  <a:lnTo>
                    <a:pt x="3081" y="859"/>
                  </a:lnTo>
                  <a:lnTo>
                    <a:pt x="3081" y="859"/>
                  </a:lnTo>
                  <a:lnTo>
                    <a:pt x="3081" y="864"/>
                  </a:lnTo>
                  <a:lnTo>
                    <a:pt x="3081" y="864"/>
                  </a:lnTo>
                  <a:lnTo>
                    <a:pt x="3081" y="864"/>
                  </a:lnTo>
                  <a:lnTo>
                    <a:pt x="3086" y="859"/>
                  </a:lnTo>
                  <a:lnTo>
                    <a:pt x="3086" y="859"/>
                  </a:lnTo>
                  <a:lnTo>
                    <a:pt x="3086" y="859"/>
                  </a:lnTo>
                  <a:lnTo>
                    <a:pt x="3081" y="859"/>
                  </a:lnTo>
                  <a:lnTo>
                    <a:pt x="3081" y="859"/>
                  </a:lnTo>
                  <a:lnTo>
                    <a:pt x="3077" y="859"/>
                  </a:lnTo>
                  <a:lnTo>
                    <a:pt x="3077" y="855"/>
                  </a:lnTo>
                  <a:lnTo>
                    <a:pt x="3077" y="855"/>
                  </a:lnTo>
                  <a:lnTo>
                    <a:pt x="3077" y="850"/>
                  </a:lnTo>
                  <a:lnTo>
                    <a:pt x="3077" y="850"/>
                  </a:lnTo>
                  <a:close/>
                  <a:moveTo>
                    <a:pt x="3072" y="909"/>
                  </a:moveTo>
                  <a:lnTo>
                    <a:pt x="3072" y="909"/>
                  </a:lnTo>
                  <a:lnTo>
                    <a:pt x="3072" y="909"/>
                  </a:lnTo>
                  <a:lnTo>
                    <a:pt x="3072" y="909"/>
                  </a:lnTo>
                  <a:lnTo>
                    <a:pt x="3072" y="913"/>
                  </a:lnTo>
                  <a:lnTo>
                    <a:pt x="3072" y="913"/>
                  </a:lnTo>
                  <a:lnTo>
                    <a:pt x="3072" y="913"/>
                  </a:lnTo>
                  <a:lnTo>
                    <a:pt x="3072" y="913"/>
                  </a:lnTo>
                  <a:lnTo>
                    <a:pt x="3077" y="913"/>
                  </a:lnTo>
                  <a:lnTo>
                    <a:pt x="3077" y="913"/>
                  </a:lnTo>
                  <a:lnTo>
                    <a:pt x="3086" y="913"/>
                  </a:lnTo>
                  <a:lnTo>
                    <a:pt x="3086" y="913"/>
                  </a:lnTo>
                  <a:lnTo>
                    <a:pt x="3090" y="918"/>
                  </a:lnTo>
                  <a:lnTo>
                    <a:pt x="3090" y="918"/>
                  </a:lnTo>
                  <a:lnTo>
                    <a:pt x="3090" y="918"/>
                  </a:lnTo>
                  <a:lnTo>
                    <a:pt x="3090" y="918"/>
                  </a:lnTo>
                  <a:lnTo>
                    <a:pt x="3090" y="918"/>
                  </a:lnTo>
                  <a:lnTo>
                    <a:pt x="3099" y="918"/>
                  </a:lnTo>
                  <a:lnTo>
                    <a:pt x="3104" y="918"/>
                  </a:lnTo>
                  <a:lnTo>
                    <a:pt x="3108" y="918"/>
                  </a:lnTo>
                  <a:lnTo>
                    <a:pt x="3113" y="918"/>
                  </a:lnTo>
                  <a:lnTo>
                    <a:pt x="3113" y="918"/>
                  </a:lnTo>
                  <a:lnTo>
                    <a:pt x="3113" y="918"/>
                  </a:lnTo>
                  <a:lnTo>
                    <a:pt x="3113" y="918"/>
                  </a:lnTo>
                  <a:lnTo>
                    <a:pt x="3113" y="913"/>
                  </a:lnTo>
                  <a:lnTo>
                    <a:pt x="3113" y="913"/>
                  </a:lnTo>
                  <a:lnTo>
                    <a:pt x="3117" y="913"/>
                  </a:lnTo>
                  <a:lnTo>
                    <a:pt x="3113" y="913"/>
                  </a:lnTo>
                  <a:lnTo>
                    <a:pt x="3113" y="913"/>
                  </a:lnTo>
                  <a:lnTo>
                    <a:pt x="3113" y="913"/>
                  </a:lnTo>
                  <a:lnTo>
                    <a:pt x="3108" y="913"/>
                  </a:lnTo>
                  <a:lnTo>
                    <a:pt x="3108" y="913"/>
                  </a:lnTo>
                  <a:lnTo>
                    <a:pt x="3108" y="913"/>
                  </a:lnTo>
                  <a:lnTo>
                    <a:pt x="3108" y="913"/>
                  </a:lnTo>
                  <a:lnTo>
                    <a:pt x="3108" y="913"/>
                  </a:lnTo>
                  <a:lnTo>
                    <a:pt x="3108" y="913"/>
                  </a:lnTo>
                  <a:lnTo>
                    <a:pt x="3104" y="909"/>
                  </a:lnTo>
                  <a:lnTo>
                    <a:pt x="3104" y="913"/>
                  </a:lnTo>
                  <a:lnTo>
                    <a:pt x="3104" y="913"/>
                  </a:lnTo>
                  <a:lnTo>
                    <a:pt x="3099" y="913"/>
                  </a:lnTo>
                  <a:lnTo>
                    <a:pt x="3095" y="909"/>
                  </a:lnTo>
                  <a:lnTo>
                    <a:pt x="3095" y="909"/>
                  </a:lnTo>
                  <a:lnTo>
                    <a:pt x="3090" y="909"/>
                  </a:lnTo>
                  <a:lnTo>
                    <a:pt x="3086" y="909"/>
                  </a:lnTo>
                  <a:lnTo>
                    <a:pt x="3086" y="909"/>
                  </a:lnTo>
                  <a:lnTo>
                    <a:pt x="3086" y="909"/>
                  </a:lnTo>
                  <a:lnTo>
                    <a:pt x="3086" y="909"/>
                  </a:lnTo>
                  <a:lnTo>
                    <a:pt x="3081" y="909"/>
                  </a:lnTo>
                  <a:lnTo>
                    <a:pt x="3081" y="909"/>
                  </a:lnTo>
                  <a:lnTo>
                    <a:pt x="3081" y="909"/>
                  </a:lnTo>
                  <a:lnTo>
                    <a:pt x="3081" y="909"/>
                  </a:lnTo>
                  <a:lnTo>
                    <a:pt x="3081" y="909"/>
                  </a:lnTo>
                  <a:lnTo>
                    <a:pt x="3081" y="909"/>
                  </a:lnTo>
                  <a:lnTo>
                    <a:pt x="3081" y="909"/>
                  </a:lnTo>
                  <a:lnTo>
                    <a:pt x="3081" y="909"/>
                  </a:lnTo>
                  <a:lnTo>
                    <a:pt x="3081" y="909"/>
                  </a:lnTo>
                  <a:lnTo>
                    <a:pt x="3081" y="904"/>
                  </a:lnTo>
                  <a:lnTo>
                    <a:pt x="3081" y="904"/>
                  </a:lnTo>
                  <a:lnTo>
                    <a:pt x="3077" y="909"/>
                  </a:lnTo>
                  <a:lnTo>
                    <a:pt x="3077" y="909"/>
                  </a:lnTo>
                  <a:lnTo>
                    <a:pt x="3077" y="909"/>
                  </a:lnTo>
                  <a:lnTo>
                    <a:pt x="3077" y="909"/>
                  </a:lnTo>
                  <a:lnTo>
                    <a:pt x="3072" y="909"/>
                  </a:lnTo>
                  <a:lnTo>
                    <a:pt x="3072" y="904"/>
                  </a:lnTo>
                  <a:lnTo>
                    <a:pt x="3072" y="904"/>
                  </a:lnTo>
                  <a:lnTo>
                    <a:pt x="3072" y="904"/>
                  </a:lnTo>
                  <a:lnTo>
                    <a:pt x="3072" y="909"/>
                  </a:lnTo>
                  <a:lnTo>
                    <a:pt x="3072" y="909"/>
                  </a:lnTo>
                  <a:lnTo>
                    <a:pt x="3072" y="909"/>
                  </a:lnTo>
                  <a:close/>
                  <a:moveTo>
                    <a:pt x="3244" y="904"/>
                  </a:moveTo>
                  <a:lnTo>
                    <a:pt x="3248" y="904"/>
                  </a:lnTo>
                  <a:lnTo>
                    <a:pt x="3244" y="904"/>
                  </a:lnTo>
                  <a:lnTo>
                    <a:pt x="3244" y="904"/>
                  </a:lnTo>
                  <a:lnTo>
                    <a:pt x="3239" y="904"/>
                  </a:lnTo>
                  <a:lnTo>
                    <a:pt x="3239" y="909"/>
                  </a:lnTo>
                  <a:lnTo>
                    <a:pt x="3230" y="909"/>
                  </a:lnTo>
                  <a:lnTo>
                    <a:pt x="3230" y="909"/>
                  </a:lnTo>
                  <a:lnTo>
                    <a:pt x="3226" y="909"/>
                  </a:lnTo>
                  <a:lnTo>
                    <a:pt x="3226" y="909"/>
                  </a:lnTo>
                  <a:lnTo>
                    <a:pt x="3221" y="909"/>
                  </a:lnTo>
                  <a:lnTo>
                    <a:pt x="3221" y="913"/>
                  </a:lnTo>
                  <a:lnTo>
                    <a:pt x="3221" y="913"/>
                  </a:lnTo>
                  <a:lnTo>
                    <a:pt x="3221" y="913"/>
                  </a:lnTo>
                  <a:lnTo>
                    <a:pt x="3217" y="913"/>
                  </a:lnTo>
                  <a:lnTo>
                    <a:pt x="3217" y="913"/>
                  </a:lnTo>
                  <a:lnTo>
                    <a:pt x="3217" y="913"/>
                  </a:lnTo>
                  <a:lnTo>
                    <a:pt x="3217" y="913"/>
                  </a:lnTo>
                  <a:lnTo>
                    <a:pt x="3212" y="913"/>
                  </a:lnTo>
                  <a:lnTo>
                    <a:pt x="3212" y="913"/>
                  </a:lnTo>
                  <a:lnTo>
                    <a:pt x="3212" y="918"/>
                  </a:lnTo>
                  <a:lnTo>
                    <a:pt x="3212" y="922"/>
                  </a:lnTo>
                  <a:lnTo>
                    <a:pt x="3217" y="922"/>
                  </a:lnTo>
                  <a:lnTo>
                    <a:pt x="3217" y="922"/>
                  </a:lnTo>
                  <a:lnTo>
                    <a:pt x="3217" y="922"/>
                  </a:lnTo>
                  <a:lnTo>
                    <a:pt x="3221" y="922"/>
                  </a:lnTo>
                  <a:lnTo>
                    <a:pt x="3221" y="922"/>
                  </a:lnTo>
                  <a:lnTo>
                    <a:pt x="3221" y="922"/>
                  </a:lnTo>
                  <a:lnTo>
                    <a:pt x="3221" y="922"/>
                  </a:lnTo>
                  <a:lnTo>
                    <a:pt x="3226" y="922"/>
                  </a:lnTo>
                  <a:lnTo>
                    <a:pt x="3226" y="922"/>
                  </a:lnTo>
                  <a:lnTo>
                    <a:pt x="3226" y="922"/>
                  </a:lnTo>
                  <a:lnTo>
                    <a:pt x="3226" y="922"/>
                  </a:lnTo>
                  <a:lnTo>
                    <a:pt x="3226" y="922"/>
                  </a:lnTo>
                  <a:lnTo>
                    <a:pt x="3226" y="922"/>
                  </a:lnTo>
                  <a:lnTo>
                    <a:pt x="3230" y="922"/>
                  </a:lnTo>
                  <a:lnTo>
                    <a:pt x="3230" y="922"/>
                  </a:lnTo>
                  <a:lnTo>
                    <a:pt x="3230" y="918"/>
                  </a:lnTo>
                  <a:lnTo>
                    <a:pt x="3235" y="918"/>
                  </a:lnTo>
                  <a:lnTo>
                    <a:pt x="3235" y="918"/>
                  </a:lnTo>
                  <a:lnTo>
                    <a:pt x="3235" y="918"/>
                  </a:lnTo>
                  <a:lnTo>
                    <a:pt x="3239" y="918"/>
                  </a:lnTo>
                  <a:lnTo>
                    <a:pt x="3239" y="918"/>
                  </a:lnTo>
                  <a:lnTo>
                    <a:pt x="3239" y="913"/>
                  </a:lnTo>
                  <a:lnTo>
                    <a:pt x="3239" y="913"/>
                  </a:lnTo>
                  <a:lnTo>
                    <a:pt x="3239" y="913"/>
                  </a:lnTo>
                  <a:lnTo>
                    <a:pt x="3239" y="913"/>
                  </a:lnTo>
                  <a:lnTo>
                    <a:pt x="3239" y="909"/>
                  </a:lnTo>
                  <a:lnTo>
                    <a:pt x="3244" y="904"/>
                  </a:lnTo>
                  <a:close/>
                  <a:moveTo>
                    <a:pt x="1369" y="1221"/>
                  </a:moveTo>
                  <a:lnTo>
                    <a:pt x="1373" y="1221"/>
                  </a:lnTo>
                  <a:lnTo>
                    <a:pt x="1373" y="1225"/>
                  </a:lnTo>
                  <a:lnTo>
                    <a:pt x="1373" y="1225"/>
                  </a:lnTo>
                  <a:lnTo>
                    <a:pt x="1378" y="1225"/>
                  </a:lnTo>
                  <a:lnTo>
                    <a:pt x="1378" y="1221"/>
                  </a:lnTo>
                  <a:lnTo>
                    <a:pt x="1378" y="1221"/>
                  </a:lnTo>
                  <a:lnTo>
                    <a:pt x="1378" y="1216"/>
                  </a:lnTo>
                  <a:lnTo>
                    <a:pt x="1373" y="1216"/>
                  </a:lnTo>
                  <a:lnTo>
                    <a:pt x="1369" y="1216"/>
                  </a:lnTo>
                  <a:lnTo>
                    <a:pt x="1369" y="1212"/>
                  </a:lnTo>
                  <a:lnTo>
                    <a:pt x="1369" y="1212"/>
                  </a:lnTo>
                  <a:lnTo>
                    <a:pt x="1364" y="1212"/>
                  </a:lnTo>
                  <a:lnTo>
                    <a:pt x="1364" y="1212"/>
                  </a:lnTo>
                  <a:lnTo>
                    <a:pt x="1364" y="1212"/>
                  </a:lnTo>
                  <a:lnTo>
                    <a:pt x="1360" y="1212"/>
                  </a:lnTo>
                  <a:lnTo>
                    <a:pt x="1360" y="1212"/>
                  </a:lnTo>
                  <a:lnTo>
                    <a:pt x="1351" y="1212"/>
                  </a:lnTo>
                  <a:lnTo>
                    <a:pt x="1351" y="1212"/>
                  </a:lnTo>
                  <a:lnTo>
                    <a:pt x="1351" y="1212"/>
                  </a:lnTo>
                  <a:lnTo>
                    <a:pt x="1346" y="1212"/>
                  </a:lnTo>
                  <a:lnTo>
                    <a:pt x="1346" y="1212"/>
                  </a:lnTo>
                  <a:lnTo>
                    <a:pt x="1346" y="1212"/>
                  </a:lnTo>
                  <a:lnTo>
                    <a:pt x="1342" y="1212"/>
                  </a:lnTo>
                  <a:lnTo>
                    <a:pt x="1342" y="1216"/>
                  </a:lnTo>
                  <a:lnTo>
                    <a:pt x="1342" y="1216"/>
                  </a:lnTo>
                  <a:lnTo>
                    <a:pt x="1346" y="1216"/>
                  </a:lnTo>
                  <a:lnTo>
                    <a:pt x="1346" y="1216"/>
                  </a:lnTo>
                  <a:lnTo>
                    <a:pt x="1351" y="1221"/>
                  </a:lnTo>
                  <a:lnTo>
                    <a:pt x="1351" y="1221"/>
                  </a:lnTo>
                  <a:lnTo>
                    <a:pt x="1351" y="1221"/>
                  </a:lnTo>
                  <a:lnTo>
                    <a:pt x="1351" y="1221"/>
                  </a:lnTo>
                  <a:lnTo>
                    <a:pt x="1355" y="1225"/>
                  </a:lnTo>
                  <a:lnTo>
                    <a:pt x="1355" y="1225"/>
                  </a:lnTo>
                  <a:lnTo>
                    <a:pt x="1360" y="1225"/>
                  </a:lnTo>
                  <a:lnTo>
                    <a:pt x="1360" y="1225"/>
                  </a:lnTo>
                  <a:lnTo>
                    <a:pt x="1360" y="1225"/>
                  </a:lnTo>
                  <a:lnTo>
                    <a:pt x="1360" y="1225"/>
                  </a:lnTo>
                  <a:lnTo>
                    <a:pt x="1364" y="1225"/>
                  </a:lnTo>
                  <a:lnTo>
                    <a:pt x="1364" y="1221"/>
                  </a:lnTo>
                  <a:lnTo>
                    <a:pt x="1364" y="1225"/>
                  </a:lnTo>
                  <a:lnTo>
                    <a:pt x="1364" y="1225"/>
                  </a:lnTo>
                  <a:lnTo>
                    <a:pt x="1369" y="1221"/>
                  </a:lnTo>
                  <a:lnTo>
                    <a:pt x="1369" y="1221"/>
                  </a:lnTo>
                  <a:lnTo>
                    <a:pt x="1369" y="1221"/>
                  </a:lnTo>
                  <a:lnTo>
                    <a:pt x="1369" y="1221"/>
                  </a:lnTo>
                  <a:lnTo>
                    <a:pt x="1369" y="1221"/>
                  </a:lnTo>
                  <a:lnTo>
                    <a:pt x="1369" y="1221"/>
                  </a:lnTo>
                  <a:close/>
                  <a:moveTo>
                    <a:pt x="1373" y="1090"/>
                  </a:moveTo>
                  <a:lnTo>
                    <a:pt x="1369" y="1090"/>
                  </a:lnTo>
                  <a:lnTo>
                    <a:pt x="1373" y="1090"/>
                  </a:lnTo>
                  <a:lnTo>
                    <a:pt x="1373" y="1094"/>
                  </a:lnTo>
                  <a:lnTo>
                    <a:pt x="1373" y="1094"/>
                  </a:lnTo>
                  <a:lnTo>
                    <a:pt x="1373" y="1094"/>
                  </a:lnTo>
                  <a:lnTo>
                    <a:pt x="1373" y="1094"/>
                  </a:lnTo>
                  <a:lnTo>
                    <a:pt x="1373" y="1094"/>
                  </a:lnTo>
                  <a:lnTo>
                    <a:pt x="1373" y="1099"/>
                  </a:lnTo>
                  <a:lnTo>
                    <a:pt x="1378" y="1094"/>
                  </a:lnTo>
                  <a:lnTo>
                    <a:pt x="1378" y="1094"/>
                  </a:lnTo>
                  <a:lnTo>
                    <a:pt x="1378" y="1094"/>
                  </a:lnTo>
                  <a:lnTo>
                    <a:pt x="1382" y="1094"/>
                  </a:lnTo>
                  <a:lnTo>
                    <a:pt x="1382" y="1094"/>
                  </a:lnTo>
                  <a:lnTo>
                    <a:pt x="1382" y="1090"/>
                  </a:lnTo>
                  <a:lnTo>
                    <a:pt x="1382" y="1090"/>
                  </a:lnTo>
                  <a:lnTo>
                    <a:pt x="1382" y="1085"/>
                  </a:lnTo>
                  <a:lnTo>
                    <a:pt x="1382" y="1085"/>
                  </a:lnTo>
                  <a:lnTo>
                    <a:pt x="1382" y="1081"/>
                  </a:lnTo>
                  <a:lnTo>
                    <a:pt x="1382" y="1081"/>
                  </a:lnTo>
                  <a:lnTo>
                    <a:pt x="1378" y="1081"/>
                  </a:lnTo>
                  <a:lnTo>
                    <a:pt x="1378" y="1081"/>
                  </a:lnTo>
                  <a:lnTo>
                    <a:pt x="1378" y="1081"/>
                  </a:lnTo>
                  <a:lnTo>
                    <a:pt x="1378" y="1081"/>
                  </a:lnTo>
                  <a:lnTo>
                    <a:pt x="1378" y="1085"/>
                  </a:lnTo>
                  <a:lnTo>
                    <a:pt x="1373" y="1090"/>
                  </a:lnTo>
                  <a:lnTo>
                    <a:pt x="1373" y="1090"/>
                  </a:lnTo>
                  <a:lnTo>
                    <a:pt x="1373" y="1090"/>
                  </a:lnTo>
                  <a:lnTo>
                    <a:pt x="1373" y="1090"/>
                  </a:lnTo>
                  <a:lnTo>
                    <a:pt x="1373" y="1090"/>
                  </a:lnTo>
                  <a:lnTo>
                    <a:pt x="1373" y="1090"/>
                  </a:lnTo>
                  <a:close/>
                  <a:moveTo>
                    <a:pt x="1279" y="1148"/>
                  </a:moveTo>
                  <a:lnTo>
                    <a:pt x="1279" y="1148"/>
                  </a:lnTo>
                  <a:lnTo>
                    <a:pt x="1274" y="1148"/>
                  </a:lnTo>
                  <a:lnTo>
                    <a:pt x="1274" y="1148"/>
                  </a:lnTo>
                  <a:lnTo>
                    <a:pt x="1279" y="1148"/>
                  </a:lnTo>
                  <a:lnTo>
                    <a:pt x="1279" y="1148"/>
                  </a:lnTo>
                  <a:lnTo>
                    <a:pt x="1279" y="1148"/>
                  </a:lnTo>
                  <a:lnTo>
                    <a:pt x="1279" y="1148"/>
                  </a:lnTo>
                  <a:lnTo>
                    <a:pt x="1283" y="1148"/>
                  </a:lnTo>
                  <a:lnTo>
                    <a:pt x="1288" y="1148"/>
                  </a:lnTo>
                  <a:lnTo>
                    <a:pt x="1288" y="1148"/>
                  </a:lnTo>
                  <a:lnTo>
                    <a:pt x="1288" y="1144"/>
                  </a:lnTo>
                  <a:lnTo>
                    <a:pt x="1288" y="1144"/>
                  </a:lnTo>
                  <a:lnTo>
                    <a:pt x="1283" y="1139"/>
                  </a:lnTo>
                  <a:lnTo>
                    <a:pt x="1283" y="1139"/>
                  </a:lnTo>
                  <a:lnTo>
                    <a:pt x="1283" y="1139"/>
                  </a:lnTo>
                  <a:lnTo>
                    <a:pt x="1279" y="1144"/>
                  </a:lnTo>
                  <a:lnTo>
                    <a:pt x="1279" y="1144"/>
                  </a:lnTo>
                  <a:lnTo>
                    <a:pt x="1279" y="1148"/>
                  </a:lnTo>
                  <a:lnTo>
                    <a:pt x="1279" y="1148"/>
                  </a:lnTo>
                  <a:lnTo>
                    <a:pt x="1279" y="1148"/>
                  </a:lnTo>
                  <a:close/>
                  <a:moveTo>
                    <a:pt x="1405" y="1185"/>
                  </a:moveTo>
                  <a:lnTo>
                    <a:pt x="1405" y="1185"/>
                  </a:lnTo>
                  <a:lnTo>
                    <a:pt x="1410" y="1185"/>
                  </a:lnTo>
                  <a:lnTo>
                    <a:pt x="1410" y="1185"/>
                  </a:lnTo>
                  <a:lnTo>
                    <a:pt x="1414" y="1180"/>
                  </a:lnTo>
                  <a:lnTo>
                    <a:pt x="1419" y="1180"/>
                  </a:lnTo>
                  <a:lnTo>
                    <a:pt x="1419" y="1180"/>
                  </a:lnTo>
                  <a:lnTo>
                    <a:pt x="1419" y="1180"/>
                  </a:lnTo>
                  <a:lnTo>
                    <a:pt x="1423" y="1180"/>
                  </a:lnTo>
                  <a:lnTo>
                    <a:pt x="1423" y="1180"/>
                  </a:lnTo>
                  <a:lnTo>
                    <a:pt x="1423" y="1176"/>
                  </a:lnTo>
                  <a:lnTo>
                    <a:pt x="1423" y="1176"/>
                  </a:lnTo>
                  <a:lnTo>
                    <a:pt x="1423" y="1176"/>
                  </a:lnTo>
                  <a:lnTo>
                    <a:pt x="1419" y="1176"/>
                  </a:lnTo>
                  <a:lnTo>
                    <a:pt x="1419" y="1176"/>
                  </a:lnTo>
                  <a:lnTo>
                    <a:pt x="1419" y="1176"/>
                  </a:lnTo>
                  <a:lnTo>
                    <a:pt x="1414" y="1171"/>
                  </a:lnTo>
                  <a:lnTo>
                    <a:pt x="1414" y="1171"/>
                  </a:lnTo>
                  <a:lnTo>
                    <a:pt x="1410" y="1171"/>
                  </a:lnTo>
                  <a:lnTo>
                    <a:pt x="1410" y="1171"/>
                  </a:lnTo>
                  <a:lnTo>
                    <a:pt x="1405" y="1167"/>
                  </a:lnTo>
                  <a:lnTo>
                    <a:pt x="1405" y="1167"/>
                  </a:lnTo>
                  <a:lnTo>
                    <a:pt x="1400" y="1167"/>
                  </a:lnTo>
                  <a:lnTo>
                    <a:pt x="1400" y="1167"/>
                  </a:lnTo>
                  <a:lnTo>
                    <a:pt x="1396" y="1167"/>
                  </a:lnTo>
                  <a:lnTo>
                    <a:pt x="1396" y="1167"/>
                  </a:lnTo>
                  <a:lnTo>
                    <a:pt x="1396" y="1167"/>
                  </a:lnTo>
                  <a:lnTo>
                    <a:pt x="1396" y="1167"/>
                  </a:lnTo>
                  <a:lnTo>
                    <a:pt x="1400" y="1167"/>
                  </a:lnTo>
                  <a:lnTo>
                    <a:pt x="1400" y="1167"/>
                  </a:lnTo>
                  <a:lnTo>
                    <a:pt x="1400" y="1162"/>
                  </a:lnTo>
                  <a:lnTo>
                    <a:pt x="1400" y="1162"/>
                  </a:lnTo>
                  <a:lnTo>
                    <a:pt x="1400" y="1162"/>
                  </a:lnTo>
                  <a:lnTo>
                    <a:pt x="1400" y="1162"/>
                  </a:lnTo>
                  <a:lnTo>
                    <a:pt x="1396" y="1162"/>
                  </a:lnTo>
                  <a:lnTo>
                    <a:pt x="1391" y="1162"/>
                  </a:lnTo>
                  <a:lnTo>
                    <a:pt x="1391" y="1158"/>
                  </a:lnTo>
                  <a:lnTo>
                    <a:pt x="1387" y="1158"/>
                  </a:lnTo>
                  <a:lnTo>
                    <a:pt x="1387" y="1158"/>
                  </a:lnTo>
                  <a:lnTo>
                    <a:pt x="1382" y="1158"/>
                  </a:lnTo>
                  <a:lnTo>
                    <a:pt x="1382" y="1158"/>
                  </a:lnTo>
                  <a:lnTo>
                    <a:pt x="1382" y="1153"/>
                  </a:lnTo>
                  <a:lnTo>
                    <a:pt x="1382" y="1153"/>
                  </a:lnTo>
                  <a:lnTo>
                    <a:pt x="1382" y="1158"/>
                  </a:lnTo>
                  <a:lnTo>
                    <a:pt x="1382" y="1153"/>
                  </a:lnTo>
                  <a:lnTo>
                    <a:pt x="1382" y="1153"/>
                  </a:lnTo>
                  <a:lnTo>
                    <a:pt x="1382" y="1153"/>
                  </a:lnTo>
                  <a:lnTo>
                    <a:pt x="1378" y="1148"/>
                  </a:lnTo>
                  <a:lnTo>
                    <a:pt x="1378" y="1153"/>
                  </a:lnTo>
                  <a:lnTo>
                    <a:pt x="1378" y="1153"/>
                  </a:lnTo>
                  <a:lnTo>
                    <a:pt x="1373" y="1153"/>
                  </a:lnTo>
                  <a:lnTo>
                    <a:pt x="1373" y="1153"/>
                  </a:lnTo>
                  <a:lnTo>
                    <a:pt x="1373" y="1148"/>
                  </a:lnTo>
                  <a:lnTo>
                    <a:pt x="1378" y="1148"/>
                  </a:lnTo>
                  <a:lnTo>
                    <a:pt x="1378" y="1148"/>
                  </a:lnTo>
                  <a:lnTo>
                    <a:pt x="1378" y="1148"/>
                  </a:lnTo>
                  <a:lnTo>
                    <a:pt x="1378" y="1148"/>
                  </a:lnTo>
                  <a:lnTo>
                    <a:pt x="1373" y="1148"/>
                  </a:lnTo>
                  <a:lnTo>
                    <a:pt x="1373" y="1148"/>
                  </a:lnTo>
                  <a:lnTo>
                    <a:pt x="1373" y="1144"/>
                  </a:lnTo>
                  <a:lnTo>
                    <a:pt x="1373" y="1144"/>
                  </a:lnTo>
                  <a:lnTo>
                    <a:pt x="1373" y="1144"/>
                  </a:lnTo>
                  <a:lnTo>
                    <a:pt x="1373" y="1144"/>
                  </a:lnTo>
                  <a:lnTo>
                    <a:pt x="1373" y="1148"/>
                  </a:lnTo>
                  <a:lnTo>
                    <a:pt x="1373" y="1148"/>
                  </a:lnTo>
                  <a:lnTo>
                    <a:pt x="1369" y="1144"/>
                  </a:lnTo>
                  <a:lnTo>
                    <a:pt x="1369" y="1144"/>
                  </a:lnTo>
                  <a:lnTo>
                    <a:pt x="1364" y="1144"/>
                  </a:lnTo>
                  <a:lnTo>
                    <a:pt x="1364" y="1139"/>
                  </a:lnTo>
                  <a:lnTo>
                    <a:pt x="1355" y="1135"/>
                  </a:lnTo>
                  <a:lnTo>
                    <a:pt x="1355" y="1135"/>
                  </a:lnTo>
                  <a:lnTo>
                    <a:pt x="1355" y="1135"/>
                  </a:lnTo>
                  <a:lnTo>
                    <a:pt x="1351" y="1135"/>
                  </a:lnTo>
                  <a:lnTo>
                    <a:pt x="1351" y="1135"/>
                  </a:lnTo>
                  <a:lnTo>
                    <a:pt x="1346" y="1135"/>
                  </a:lnTo>
                  <a:lnTo>
                    <a:pt x="1346" y="1135"/>
                  </a:lnTo>
                  <a:lnTo>
                    <a:pt x="1346" y="1130"/>
                  </a:lnTo>
                  <a:lnTo>
                    <a:pt x="1342" y="1130"/>
                  </a:lnTo>
                  <a:lnTo>
                    <a:pt x="1342" y="1130"/>
                  </a:lnTo>
                  <a:lnTo>
                    <a:pt x="1342" y="1126"/>
                  </a:lnTo>
                  <a:lnTo>
                    <a:pt x="1337" y="1126"/>
                  </a:lnTo>
                  <a:lnTo>
                    <a:pt x="1337" y="1121"/>
                  </a:lnTo>
                  <a:lnTo>
                    <a:pt x="1337" y="1126"/>
                  </a:lnTo>
                  <a:lnTo>
                    <a:pt x="1337" y="1121"/>
                  </a:lnTo>
                  <a:lnTo>
                    <a:pt x="1333" y="1121"/>
                  </a:lnTo>
                  <a:lnTo>
                    <a:pt x="1333" y="1121"/>
                  </a:lnTo>
                  <a:lnTo>
                    <a:pt x="1333" y="1121"/>
                  </a:lnTo>
                  <a:lnTo>
                    <a:pt x="1328" y="1121"/>
                  </a:lnTo>
                  <a:lnTo>
                    <a:pt x="1328" y="1121"/>
                  </a:lnTo>
                  <a:lnTo>
                    <a:pt x="1328" y="1121"/>
                  </a:lnTo>
                  <a:lnTo>
                    <a:pt x="1328" y="1121"/>
                  </a:lnTo>
                  <a:lnTo>
                    <a:pt x="1324" y="1117"/>
                  </a:lnTo>
                  <a:lnTo>
                    <a:pt x="1319" y="1117"/>
                  </a:lnTo>
                  <a:lnTo>
                    <a:pt x="1319" y="1121"/>
                  </a:lnTo>
                  <a:lnTo>
                    <a:pt x="1315" y="1121"/>
                  </a:lnTo>
                  <a:lnTo>
                    <a:pt x="1315" y="1117"/>
                  </a:lnTo>
                  <a:lnTo>
                    <a:pt x="1315" y="1117"/>
                  </a:lnTo>
                  <a:lnTo>
                    <a:pt x="1315" y="1117"/>
                  </a:lnTo>
                  <a:lnTo>
                    <a:pt x="1310" y="1117"/>
                  </a:lnTo>
                  <a:lnTo>
                    <a:pt x="1306" y="1117"/>
                  </a:lnTo>
                  <a:lnTo>
                    <a:pt x="1301" y="1117"/>
                  </a:lnTo>
                  <a:lnTo>
                    <a:pt x="1297" y="1117"/>
                  </a:lnTo>
                  <a:lnTo>
                    <a:pt x="1292" y="1117"/>
                  </a:lnTo>
                  <a:lnTo>
                    <a:pt x="1292" y="1117"/>
                  </a:lnTo>
                  <a:lnTo>
                    <a:pt x="1283" y="1121"/>
                  </a:lnTo>
                  <a:lnTo>
                    <a:pt x="1283" y="1121"/>
                  </a:lnTo>
                  <a:lnTo>
                    <a:pt x="1265" y="1126"/>
                  </a:lnTo>
                  <a:lnTo>
                    <a:pt x="1265" y="1126"/>
                  </a:lnTo>
                  <a:lnTo>
                    <a:pt x="1260" y="1130"/>
                  </a:lnTo>
                  <a:lnTo>
                    <a:pt x="1260" y="1130"/>
                  </a:lnTo>
                  <a:lnTo>
                    <a:pt x="1260" y="1135"/>
                  </a:lnTo>
                  <a:lnTo>
                    <a:pt x="1260" y="1135"/>
                  </a:lnTo>
                  <a:lnTo>
                    <a:pt x="1256" y="1139"/>
                  </a:lnTo>
                  <a:lnTo>
                    <a:pt x="1256" y="1139"/>
                  </a:lnTo>
                  <a:lnTo>
                    <a:pt x="1256" y="1139"/>
                  </a:lnTo>
                  <a:lnTo>
                    <a:pt x="1256" y="1139"/>
                  </a:lnTo>
                  <a:lnTo>
                    <a:pt x="1247" y="1139"/>
                  </a:lnTo>
                  <a:lnTo>
                    <a:pt x="1247" y="1139"/>
                  </a:lnTo>
                  <a:lnTo>
                    <a:pt x="1251" y="1139"/>
                  </a:lnTo>
                  <a:lnTo>
                    <a:pt x="1251" y="1139"/>
                  </a:lnTo>
                  <a:lnTo>
                    <a:pt x="1251" y="1139"/>
                  </a:lnTo>
                  <a:lnTo>
                    <a:pt x="1251" y="1139"/>
                  </a:lnTo>
                  <a:lnTo>
                    <a:pt x="1256" y="1139"/>
                  </a:lnTo>
                  <a:lnTo>
                    <a:pt x="1256" y="1139"/>
                  </a:lnTo>
                  <a:lnTo>
                    <a:pt x="1256" y="1139"/>
                  </a:lnTo>
                  <a:lnTo>
                    <a:pt x="1256" y="1144"/>
                  </a:lnTo>
                  <a:lnTo>
                    <a:pt x="1256" y="1144"/>
                  </a:lnTo>
                  <a:lnTo>
                    <a:pt x="1260" y="1139"/>
                  </a:lnTo>
                  <a:lnTo>
                    <a:pt x="1260" y="1139"/>
                  </a:lnTo>
                  <a:lnTo>
                    <a:pt x="1265" y="1139"/>
                  </a:lnTo>
                  <a:lnTo>
                    <a:pt x="1265" y="1139"/>
                  </a:lnTo>
                  <a:lnTo>
                    <a:pt x="1265" y="1135"/>
                  </a:lnTo>
                  <a:lnTo>
                    <a:pt x="1265" y="1135"/>
                  </a:lnTo>
                  <a:lnTo>
                    <a:pt x="1265" y="1135"/>
                  </a:lnTo>
                  <a:lnTo>
                    <a:pt x="1269" y="1135"/>
                  </a:lnTo>
                  <a:lnTo>
                    <a:pt x="1269" y="1135"/>
                  </a:lnTo>
                  <a:lnTo>
                    <a:pt x="1274" y="1135"/>
                  </a:lnTo>
                  <a:lnTo>
                    <a:pt x="1274" y="1135"/>
                  </a:lnTo>
                  <a:lnTo>
                    <a:pt x="1274" y="1135"/>
                  </a:lnTo>
                  <a:lnTo>
                    <a:pt x="1274" y="1135"/>
                  </a:lnTo>
                  <a:lnTo>
                    <a:pt x="1279" y="1135"/>
                  </a:lnTo>
                  <a:lnTo>
                    <a:pt x="1279" y="1130"/>
                  </a:lnTo>
                  <a:lnTo>
                    <a:pt x="1279" y="1130"/>
                  </a:lnTo>
                  <a:lnTo>
                    <a:pt x="1283" y="1130"/>
                  </a:lnTo>
                  <a:lnTo>
                    <a:pt x="1283" y="1130"/>
                  </a:lnTo>
                  <a:lnTo>
                    <a:pt x="1288" y="1126"/>
                  </a:lnTo>
                  <a:lnTo>
                    <a:pt x="1288" y="1126"/>
                  </a:lnTo>
                  <a:lnTo>
                    <a:pt x="1288" y="1126"/>
                  </a:lnTo>
                  <a:lnTo>
                    <a:pt x="1301" y="1126"/>
                  </a:lnTo>
                  <a:lnTo>
                    <a:pt x="1306" y="1126"/>
                  </a:lnTo>
                  <a:lnTo>
                    <a:pt x="1306" y="1126"/>
                  </a:lnTo>
                  <a:lnTo>
                    <a:pt x="1306" y="1126"/>
                  </a:lnTo>
                  <a:lnTo>
                    <a:pt x="1306" y="1130"/>
                  </a:lnTo>
                  <a:lnTo>
                    <a:pt x="1306" y="1130"/>
                  </a:lnTo>
                  <a:lnTo>
                    <a:pt x="1306" y="1130"/>
                  </a:lnTo>
                  <a:lnTo>
                    <a:pt x="1306" y="1130"/>
                  </a:lnTo>
                  <a:lnTo>
                    <a:pt x="1301" y="1130"/>
                  </a:lnTo>
                  <a:lnTo>
                    <a:pt x="1297" y="1130"/>
                  </a:lnTo>
                  <a:lnTo>
                    <a:pt x="1301" y="1135"/>
                  </a:lnTo>
                  <a:lnTo>
                    <a:pt x="1301" y="1135"/>
                  </a:lnTo>
                  <a:lnTo>
                    <a:pt x="1301" y="1135"/>
                  </a:lnTo>
                  <a:lnTo>
                    <a:pt x="1310" y="1135"/>
                  </a:lnTo>
                  <a:lnTo>
                    <a:pt x="1310" y="1139"/>
                  </a:lnTo>
                  <a:lnTo>
                    <a:pt x="1310" y="1139"/>
                  </a:lnTo>
                  <a:lnTo>
                    <a:pt x="1310" y="1139"/>
                  </a:lnTo>
                  <a:lnTo>
                    <a:pt x="1310" y="1135"/>
                  </a:lnTo>
                  <a:lnTo>
                    <a:pt x="1315" y="1135"/>
                  </a:lnTo>
                  <a:lnTo>
                    <a:pt x="1315" y="1135"/>
                  </a:lnTo>
                  <a:lnTo>
                    <a:pt x="1315" y="1139"/>
                  </a:lnTo>
                  <a:lnTo>
                    <a:pt x="1315" y="1139"/>
                  </a:lnTo>
                  <a:lnTo>
                    <a:pt x="1315" y="1139"/>
                  </a:lnTo>
                  <a:lnTo>
                    <a:pt x="1315" y="1139"/>
                  </a:lnTo>
                  <a:lnTo>
                    <a:pt x="1324" y="1139"/>
                  </a:lnTo>
                  <a:lnTo>
                    <a:pt x="1324" y="1139"/>
                  </a:lnTo>
                  <a:lnTo>
                    <a:pt x="1324" y="1139"/>
                  </a:lnTo>
                  <a:lnTo>
                    <a:pt x="1324" y="1139"/>
                  </a:lnTo>
                  <a:lnTo>
                    <a:pt x="1324" y="1144"/>
                  </a:lnTo>
                  <a:lnTo>
                    <a:pt x="1328" y="1144"/>
                  </a:lnTo>
                  <a:lnTo>
                    <a:pt x="1328" y="1144"/>
                  </a:lnTo>
                  <a:lnTo>
                    <a:pt x="1333" y="1144"/>
                  </a:lnTo>
                  <a:lnTo>
                    <a:pt x="1342" y="1148"/>
                  </a:lnTo>
                  <a:lnTo>
                    <a:pt x="1342" y="1148"/>
                  </a:lnTo>
                  <a:lnTo>
                    <a:pt x="1342" y="1148"/>
                  </a:lnTo>
                  <a:lnTo>
                    <a:pt x="1351" y="1148"/>
                  </a:lnTo>
                  <a:lnTo>
                    <a:pt x="1351" y="1148"/>
                  </a:lnTo>
                  <a:lnTo>
                    <a:pt x="1351" y="1153"/>
                  </a:lnTo>
                  <a:lnTo>
                    <a:pt x="1351" y="1153"/>
                  </a:lnTo>
                  <a:lnTo>
                    <a:pt x="1351" y="1158"/>
                  </a:lnTo>
                  <a:lnTo>
                    <a:pt x="1351" y="1162"/>
                  </a:lnTo>
                  <a:lnTo>
                    <a:pt x="1351" y="1162"/>
                  </a:lnTo>
                  <a:lnTo>
                    <a:pt x="1355" y="1162"/>
                  </a:lnTo>
                  <a:lnTo>
                    <a:pt x="1355" y="1162"/>
                  </a:lnTo>
                  <a:lnTo>
                    <a:pt x="1355" y="1167"/>
                  </a:lnTo>
                  <a:lnTo>
                    <a:pt x="1360" y="1167"/>
                  </a:lnTo>
                  <a:lnTo>
                    <a:pt x="1360" y="1167"/>
                  </a:lnTo>
                  <a:lnTo>
                    <a:pt x="1364" y="1167"/>
                  </a:lnTo>
                  <a:lnTo>
                    <a:pt x="1369" y="1167"/>
                  </a:lnTo>
                  <a:lnTo>
                    <a:pt x="1369" y="1167"/>
                  </a:lnTo>
                  <a:lnTo>
                    <a:pt x="1373" y="1171"/>
                  </a:lnTo>
                  <a:lnTo>
                    <a:pt x="1373" y="1171"/>
                  </a:lnTo>
                  <a:lnTo>
                    <a:pt x="1373" y="1171"/>
                  </a:lnTo>
                  <a:lnTo>
                    <a:pt x="1373" y="1171"/>
                  </a:lnTo>
                  <a:lnTo>
                    <a:pt x="1373" y="1171"/>
                  </a:lnTo>
                  <a:lnTo>
                    <a:pt x="1373" y="1176"/>
                  </a:lnTo>
                  <a:lnTo>
                    <a:pt x="1373" y="1176"/>
                  </a:lnTo>
                  <a:lnTo>
                    <a:pt x="1369" y="1176"/>
                  </a:lnTo>
                  <a:lnTo>
                    <a:pt x="1364" y="1180"/>
                  </a:lnTo>
                  <a:lnTo>
                    <a:pt x="1360" y="1185"/>
                  </a:lnTo>
                  <a:lnTo>
                    <a:pt x="1364" y="1185"/>
                  </a:lnTo>
                  <a:lnTo>
                    <a:pt x="1369" y="1185"/>
                  </a:lnTo>
                  <a:lnTo>
                    <a:pt x="1373" y="1185"/>
                  </a:lnTo>
                  <a:lnTo>
                    <a:pt x="1373" y="1185"/>
                  </a:lnTo>
                  <a:lnTo>
                    <a:pt x="1378" y="1185"/>
                  </a:lnTo>
                  <a:lnTo>
                    <a:pt x="1382" y="1185"/>
                  </a:lnTo>
                  <a:lnTo>
                    <a:pt x="1387" y="1180"/>
                  </a:lnTo>
                  <a:lnTo>
                    <a:pt x="1387" y="1180"/>
                  </a:lnTo>
                  <a:lnTo>
                    <a:pt x="1396" y="1185"/>
                  </a:lnTo>
                  <a:lnTo>
                    <a:pt x="1396" y="1185"/>
                  </a:lnTo>
                  <a:lnTo>
                    <a:pt x="1396" y="1185"/>
                  </a:lnTo>
                  <a:lnTo>
                    <a:pt x="1400" y="1185"/>
                  </a:lnTo>
                  <a:lnTo>
                    <a:pt x="1405" y="1185"/>
                  </a:lnTo>
                  <a:lnTo>
                    <a:pt x="1405" y="1185"/>
                  </a:lnTo>
                  <a:lnTo>
                    <a:pt x="1405" y="1180"/>
                  </a:lnTo>
                  <a:lnTo>
                    <a:pt x="1405" y="1185"/>
                  </a:lnTo>
                  <a:lnTo>
                    <a:pt x="1405" y="1185"/>
                  </a:lnTo>
                  <a:lnTo>
                    <a:pt x="1405" y="1185"/>
                  </a:lnTo>
                  <a:close/>
                  <a:moveTo>
                    <a:pt x="2964" y="502"/>
                  </a:moveTo>
                  <a:lnTo>
                    <a:pt x="2964" y="502"/>
                  </a:lnTo>
                  <a:lnTo>
                    <a:pt x="2968" y="502"/>
                  </a:lnTo>
                  <a:lnTo>
                    <a:pt x="2964" y="506"/>
                  </a:lnTo>
                  <a:lnTo>
                    <a:pt x="2964" y="506"/>
                  </a:lnTo>
                  <a:lnTo>
                    <a:pt x="2964" y="506"/>
                  </a:lnTo>
                  <a:lnTo>
                    <a:pt x="2968" y="506"/>
                  </a:lnTo>
                  <a:lnTo>
                    <a:pt x="2968" y="502"/>
                  </a:lnTo>
                  <a:lnTo>
                    <a:pt x="2968" y="502"/>
                  </a:lnTo>
                  <a:lnTo>
                    <a:pt x="2968" y="502"/>
                  </a:lnTo>
                  <a:lnTo>
                    <a:pt x="2973" y="502"/>
                  </a:lnTo>
                  <a:lnTo>
                    <a:pt x="2973" y="497"/>
                  </a:lnTo>
                  <a:lnTo>
                    <a:pt x="2973" y="497"/>
                  </a:lnTo>
                  <a:lnTo>
                    <a:pt x="2973" y="497"/>
                  </a:lnTo>
                  <a:lnTo>
                    <a:pt x="2973" y="497"/>
                  </a:lnTo>
                  <a:lnTo>
                    <a:pt x="2973" y="497"/>
                  </a:lnTo>
                  <a:lnTo>
                    <a:pt x="2973" y="493"/>
                  </a:lnTo>
                  <a:lnTo>
                    <a:pt x="2973" y="493"/>
                  </a:lnTo>
                  <a:lnTo>
                    <a:pt x="2973" y="493"/>
                  </a:lnTo>
                  <a:lnTo>
                    <a:pt x="2973" y="488"/>
                  </a:lnTo>
                  <a:lnTo>
                    <a:pt x="2977" y="488"/>
                  </a:lnTo>
                  <a:lnTo>
                    <a:pt x="2973" y="488"/>
                  </a:lnTo>
                  <a:lnTo>
                    <a:pt x="2973" y="488"/>
                  </a:lnTo>
                  <a:lnTo>
                    <a:pt x="2973" y="488"/>
                  </a:lnTo>
                  <a:lnTo>
                    <a:pt x="2973" y="488"/>
                  </a:lnTo>
                  <a:lnTo>
                    <a:pt x="2973" y="488"/>
                  </a:lnTo>
                  <a:lnTo>
                    <a:pt x="2968" y="488"/>
                  </a:lnTo>
                  <a:lnTo>
                    <a:pt x="2968" y="488"/>
                  </a:lnTo>
                  <a:lnTo>
                    <a:pt x="2964" y="493"/>
                  </a:lnTo>
                  <a:lnTo>
                    <a:pt x="2964" y="493"/>
                  </a:lnTo>
                  <a:lnTo>
                    <a:pt x="2964" y="493"/>
                  </a:lnTo>
                  <a:lnTo>
                    <a:pt x="2964" y="497"/>
                  </a:lnTo>
                  <a:lnTo>
                    <a:pt x="2964" y="497"/>
                  </a:lnTo>
                  <a:lnTo>
                    <a:pt x="2964" y="502"/>
                  </a:lnTo>
                  <a:lnTo>
                    <a:pt x="2964" y="502"/>
                  </a:lnTo>
                  <a:close/>
                  <a:moveTo>
                    <a:pt x="1455" y="1225"/>
                  </a:moveTo>
                  <a:lnTo>
                    <a:pt x="1455" y="1230"/>
                  </a:lnTo>
                  <a:lnTo>
                    <a:pt x="1459" y="1230"/>
                  </a:lnTo>
                  <a:lnTo>
                    <a:pt x="1459" y="1230"/>
                  </a:lnTo>
                  <a:lnTo>
                    <a:pt x="1459" y="1230"/>
                  </a:lnTo>
                  <a:lnTo>
                    <a:pt x="1459" y="1230"/>
                  </a:lnTo>
                  <a:lnTo>
                    <a:pt x="1464" y="1225"/>
                  </a:lnTo>
                  <a:lnTo>
                    <a:pt x="1464" y="1221"/>
                  </a:lnTo>
                  <a:lnTo>
                    <a:pt x="1468" y="1221"/>
                  </a:lnTo>
                  <a:lnTo>
                    <a:pt x="1468" y="1221"/>
                  </a:lnTo>
                  <a:lnTo>
                    <a:pt x="1468" y="1216"/>
                  </a:lnTo>
                  <a:lnTo>
                    <a:pt x="1468" y="1216"/>
                  </a:lnTo>
                  <a:lnTo>
                    <a:pt x="1468" y="1216"/>
                  </a:lnTo>
                  <a:lnTo>
                    <a:pt x="1473" y="1216"/>
                  </a:lnTo>
                  <a:lnTo>
                    <a:pt x="1473" y="1216"/>
                  </a:lnTo>
                  <a:lnTo>
                    <a:pt x="1477" y="1216"/>
                  </a:lnTo>
                  <a:lnTo>
                    <a:pt x="1477" y="1221"/>
                  </a:lnTo>
                  <a:lnTo>
                    <a:pt x="1482" y="1221"/>
                  </a:lnTo>
                  <a:lnTo>
                    <a:pt x="1482" y="1216"/>
                  </a:lnTo>
                  <a:lnTo>
                    <a:pt x="1486" y="1216"/>
                  </a:lnTo>
                  <a:lnTo>
                    <a:pt x="1486" y="1216"/>
                  </a:lnTo>
                  <a:lnTo>
                    <a:pt x="1486" y="1216"/>
                  </a:lnTo>
                  <a:lnTo>
                    <a:pt x="1491" y="1216"/>
                  </a:lnTo>
                  <a:lnTo>
                    <a:pt x="1491" y="1216"/>
                  </a:lnTo>
                  <a:lnTo>
                    <a:pt x="1495" y="1216"/>
                  </a:lnTo>
                  <a:lnTo>
                    <a:pt x="1495" y="1216"/>
                  </a:lnTo>
                  <a:lnTo>
                    <a:pt x="1500" y="1216"/>
                  </a:lnTo>
                  <a:lnTo>
                    <a:pt x="1500" y="1216"/>
                  </a:lnTo>
                  <a:lnTo>
                    <a:pt x="1504" y="1216"/>
                  </a:lnTo>
                  <a:lnTo>
                    <a:pt x="1504" y="1216"/>
                  </a:lnTo>
                  <a:lnTo>
                    <a:pt x="1504" y="1221"/>
                  </a:lnTo>
                  <a:lnTo>
                    <a:pt x="1509" y="1221"/>
                  </a:lnTo>
                  <a:lnTo>
                    <a:pt x="1509" y="1221"/>
                  </a:lnTo>
                  <a:lnTo>
                    <a:pt x="1509" y="1221"/>
                  </a:lnTo>
                  <a:lnTo>
                    <a:pt x="1509" y="1216"/>
                  </a:lnTo>
                  <a:lnTo>
                    <a:pt x="1509" y="1216"/>
                  </a:lnTo>
                  <a:lnTo>
                    <a:pt x="1513" y="1216"/>
                  </a:lnTo>
                  <a:lnTo>
                    <a:pt x="1513" y="1216"/>
                  </a:lnTo>
                  <a:lnTo>
                    <a:pt x="1513" y="1212"/>
                  </a:lnTo>
                  <a:lnTo>
                    <a:pt x="1513" y="1212"/>
                  </a:lnTo>
                  <a:lnTo>
                    <a:pt x="1513" y="1212"/>
                  </a:lnTo>
                  <a:lnTo>
                    <a:pt x="1513" y="1212"/>
                  </a:lnTo>
                  <a:lnTo>
                    <a:pt x="1509" y="1207"/>
                  </a:lnTo>
                  <a:lnTo>
                    <a:pt x="1504" y="1203"/>
                  </a:lnTo>
                  <a:lnTo>
                    <a:pt x="1504" y="1203"/>
                  </a:lnTo>
                  <a:lnTo>
                    <a:pt x="1504" y="1203"/>
                  </a:lnTo>
                  <a:lnTo>
                    <a:pt x="1500" y="1203"/>
                  </a:lnTo>
                  <a:lnTo>
                    <a:pt x="1500" y="1203"/>
                  </a:lnTo>
                  <a:lnTo>
                    <a:pt x="1495" y="1203"/>
                  </a:lnTo>
                  <a:lnTo>
                    <a:pt x="1495" y="1203"/>
                  </a:lnTo>
                  <a:lnTo>
                    <a:pt x="1495" y="1203"/>
                  </a:lnTo>
                  <a:lnTo>
                    <a:pt x="1495" y="1198"/>
                  </a:lnTo>
                  <a:lnTo>
                    <a:pt x="1495" y="1198"/>
                  </a:lnTo>
                  <a:lnTo>
                    <a:pt x="1500" y="1203"/>
                  </a:lnTo>
                  <a:lnTo>
                    <a:pt x="1500" y="1198"/>
                  </a:lnTo>
                  <a:lnTo>
                    <a:pt x="1500" y="1198"/>
                  </a:lnTo>
                  <a:lnTo>
                    <a:pt x="1500" y="1198"/>
                  </a:lnTo>
                  <a:lnTo>
                    <a:pt x="1495" y="1198"/>
                  </a:lnTo>
                  <a:lnTo>
                    <a:pt x="1491" y="1198"/>
                  </a:lnTo>
                  <a:lnTo>
                    <a:pt x="1491" y="1194"/>
                  </a:lnTo>
                  <a:lnTo>
                    <a:pt x="1491" y="1194"/>
                  </a:lnTo>
                  <a:lnTo>
                    <a:pt x="1491" y="1189"/>
                  </a:lnTo>
                  <a:lnTo>
                    <a:pt x="1491" y="1189"/>
                  </a:lnTo>
                  <a:lnTo>
                    <a:pt x="1486" y="1194"/>
                  </a:lnTo>
                  <a:lnTo>
                    <a:pt x="1486" y="1194"/>
                  </a:lnTo>
                  <a:lnTo>
                    <a:pt x="1486" y="1189"/>
                  </a:lnTo>
                  <a:lnTo>
                    <a:pt x="1482" y="1189"/>
                  </a:lnTo>
                  <a:lnTo>
                    <a:pt x="1482" y="1189"/>
                  </a:lnTo>
                  <a:lnTo>
                    <a:pt x="1482" y="1189"/>
                  </a:lnTo>
                  <a:lnTo>
                    <a:pt x="1477" y="1189"/>
                  </a:lnTo>
                  <a:lnTo>
                    <a:pt x="1477" y="1189"/>
                  </a:lnTo>
                  <a:lnTo>
                    <a:pt x="1477" y="1185"/>
                  </a:lnTo>
                  <a:lnTo>
                    <a:pt x="1477" y="1185"/>
                  </a:lnTo>
                  <a:lnTo>
                    <a:pt x="1473" y="1185"/>
                  </a:lnTo>
                  <a:lnTo>
                    <a:pt x="1468" y="1189"/>
                  </a:lnTo>
                  <a:lnTo>
                    <a:pt x="1468" y="1189"/>
                  </a:lnTo>
                  <a:lnTo>
                    <a:pt x="1468" y="1185"/>
                  </a:lnTo>
                  <a:lnTo>
                    <a:pt x="1464" y="1185"/>
                  </a:lnTo>
                  <a:lnTo>
                    <a:pt x="1464" y="1185"/>
                  </a:lnTo>
                  <a:lnTo>
                    <a:pt x="1464" y="1185"/>
                  </a:lnTo>
                  <a:lnTo>
                    <a:pt x="1464" y="1189"/>
                  </a:lnTo>
                  <a:lnTo>
                    <a:pt x="1459" y="1189"/>
                  </a:lnTo>
                  <a:lnTo>
                    <a:pt x="1459" y="1189"/>
                  </a:lnTo>
                  <a:lnTo>
                    <a:pt x="1459" y="1189"/>
                  </a:lnTo>
                  <a:lnTo>
                    <a:pt x="1459" y="1189"/>
                  </a:lnTo>
                  <a:lnTo>
                    <a:pt x="1455" y="1189"/>
                  </a:lnTo>
                  <a:lnTo>
                    <a:pt x="1450" y="1189"/>
                  </a:lnTo>
                  <a:lnTo>
                    <a:pt x="1446" y="1185"/>
                  </a:lnTo>
                  <a:lnTo>
                    <a:pt x="1441" y="1185"/>
                  </a:lnTo>
                  <a:lnTo>
                    <a:pt x="1437" y="1185"/>
                  </a:lnTo>
                  <a:lnTo>
                    <a:pt x="1437" y="1185"/>
                  </a:lnTo>
                  <a:lnTo>
                    <a:pt x="1437" y="1185"/>
                  </a:lnTo>
                  <a:lnTo>
                    <a:pt x="1432" y="1189"/>
                  </a:lnTo>
                  <a:lnTo>
                    <a:pt x="1432" y="1189"/>
                  </a:lnTo>
                  <a:lnTo>
                    <a:pt x="1432" y="1189"/>
                  </a:lnTo>
                  <a:lnTo>
                    <a:pt x="1432" y="1189"/>
                  </a:lnTo>
                  <a:lnTo>
                    <a:pt x="1437" y="1189"/>
                  </a:lnTo>
                  <a:lnTo>
                    <a:pt x="1441" y="1194"/>
                  </a:lnTo>
                  <a:lnTo>
                    <a:pt x="1446" y="1194"/>
                  </a:lnTo>
                  <a:lnTo>
                    <a:pt x="1441" y="1198"/>
                  </a:lnTo>
                  <a:lnTo>
                    <a:pt x="1441" y="1198"/>
                  </a:lnTo>
                  <a:lnTo>
                    <a:pt x="1441" y="1203"/>
                  </a:lnTo>
                  <a:lnTo>
                    <a:pt x="1441" y="1203"/>
                  </a:lnTo>
                  <a:lnTo>
                    <a:pt x="1441" y="1207"/>
                  </a:lnTo>
                  <a:lnTo>
                    <a:pt x="1446" y="1207"/>
                  </a:lnTo>
                  <a:lnTo>
                    <a:pt x="1446" y="1212"/>
                  </a:lnTo>
                  <a:lnTo>
                    <a:pt x="1446" y="1212"/>
                  </a:lnTo>
                  <a:lnTo>
                    <a:pt x="1446" y="1212"/>
                  </a:lnTo>
                  <a:lnTo>
                    <a:pt x="1446" y="1212"/>
                  </a:lnTo>
                  <a:lnTo>
                    <a:pt x="1441" y="1212"/>
                  </a:lnTo>
                  <a:lnTo>
                    <a:pt x="1441" y="1212"/>
                  </a:lnTo>
                  <a:lnTo>
                    <a:pt x="1441" y="1212"/>
                  </a:lnTo>
                  <a:lnTo>
                    <a:pt x="1441" y="1212"/>
                  </a:lnTo>
                  <a:lnTo>
                    <a:pt x="1437" y="1216"/>
                  </a:lnTo>
                  <a:lnTo>
                    <a:pt x="1437" y="1212"/>
                  </a:lnTo>
                  <a:lnTo>
                    <a:pt x="1423" y="1212"/>
                  </a:lnTo>
                  <a:lnTo>
                    <a:pt x="1423" y="1212"/>
                  </a:lnTo>
                  <a:lnTo>
                    <a:pt x="1419" y="1212"/>
                  </a:lnTo>
                  <a:lnTo>
                    <a:pt x="1419" y="1212"/>
                  </a:lnTo>
                  <a:lnTo>
                    <a:pt x="1419" y="1212"/>
                  </a:lnTo>
                  <a:lnTo>
                    <a:pt x="1414" y="1207"/>
                  </a:lnTo>
                  <a:lnTo>
                    <a:pt x="1414" y="1207"/>
                  </a:lnTo>
                  <a:lnTo>
                    <a:pt x="1414" y="1212"/>
                  </a:lnTo>
                  <a:lnTo>
                    <a:pt x="1410" y="1212"/>
                  </a:lnTo>
                  <a:lnTo>
                    <a:pt x="1410" y="1216"/>
                  </a:lnTo>
                  <a:lnTo>
                    <a:pt x="1410" y="1216"/>
                  </a:lnTo>
                  <a:lnTo>
                    <a:pt x="1414" y="1216"/>
                  </a:lnTo>
                  <a:lnTo>
                    <a:pt x="1414" y="1216"/>
                  </a:lnTo>
                  <a:lnTo>
                    <a:pt x="1419" y="1221"/>
                  </a:lnTo>
                  <a:lnTo>
                    <a:pt x="1419" y="1221"/>
                  </a:lnTo>
                  <a:lnTo>
                    <a:pt x="1419" y="1221"/>
                  </a:lnTo>
                  <a:lnTo>
                    <a:pt x="1419" y="1221"/>
                  </a:lnTo>
                  <a:lnTo>
                    <a:pt x="1423" y="1216"/>
                  </a:lnTo>
                  <a:lnTo>
                    <a:pt x="1423" y="1216"/>
                  </a:lnTo>
                  <a:lnTo>
                    <a:pt x="1428" y="1216"/>
                  </a:lnTo>
                  <a:lnTo>
                    <a:pt x="1428" y="1216"/>
                  </a:lnTo>
                  <a:lnTo>
                    <a:pt x="1428" y="1216"/>
                  </a:lnTo>
                  <a:lnTo>
                    <a:pt x="1432" y="1216"/>
                  </a:lnTo>
                  <a:lnTo>
                    <a:pt x="1437" y="1221"/>
                  </a:lnTo>
                  <a:lnTo>
                    <a:pt x="1437" y="1221"/>
                  </a:lnTo>
                  <a:lnTo>
                    <a:pt x="1441" y="1221"/>
                  </a:lnTo>
                  <a:lnTo>
                    <a:pt x="1441" y="1221"/>
                  </a:lnTo>
                  <a:lnTo>
                    <a:pt x="1441" y="1221"/>
                  </a:lnTo>
                  <a:lnTo>
                    <a:pt x="1441" y="1216"/>
                  </a:lnTo>
                  <a:lnTo>
                    <a:pt x="1450" y="1216"/>
                  </a:lnTo>
                  <a:lnTo>
                    <a:pt x="1450" y="1221"/>
                  </a:lnTo>
                  <a:lnTo>
                    <a:pt x="1450" y="1221"/>
                  </a:lnTo>
                  <a:lnTo>
                    <a:pt x="1455" y="1221"/>
                  </a:lnTo>
                  <a:lnTo>
                    <a:pt x="1455" y="1221"/>
                  </a:lnTo>
                  <a:lnTo>
                    <a:pt x="1455" y="1221"/>
                  </a:lnTo>
                  <a:lnTo>
                    <a:pt x="1455" y="1225"/>
                  </a:lnTo>
                  <a:lnTo>
                    <a:pt x="1455" y="1225"/>
                  </a:lnTo>
                  <a:lnTo>
                    <a:pt x="1455" y="1225"/>
                  </a:lnTo>
                  <a:lnTo>
                    <a:pt x="1455" y="1225"/>
                  </a:lnTo>
                  <a:close/>
                  <a:moveTo>
                    <a:pt x="1563" y="782"/>
                  </a:moveTo>
                  <a:lnTo>
                    <a:pt x="1563" y="782"/>
                  </a:lnTo>
                  <a:lnTo>
                    <a:pt x="1572" y="782"/>
                  </a:lnTo>
                  <a:lnTo>
                    <a:pt x="1572" y="778"/>
                  </a:lnTo>
                  <a:lnTo>
                    <a:pt x="1572" y="778"/>
                  </a:lnTo>
                  <a:lnTo>
                    <a:pt x="1577" y="778"/>
                  </a:lnTo>
                  <a:lnTo>
                    <a:pt x="1577" y="778"/>
                  </a:lnTo>
                  <a:lnTo>
                    <a:pt x="1586" y="773"/>
                  </a:lnTo>
                  <a:lnTo>
                    <a:pt x="1586" y="778"/>
                  </a:lnTo>
                  <a:lnTo>
                    <a:pt x="1581" y="778"/>
                  </a:lnTo>
                  <a:lnTo>
                    <a:pt x="1581" y="773"/>
                  </a:lnTo>
                  <a:lnTo>
                    <a:pt x="1581" y="773"/>
                  </a:lnTo>
                  <a:lnTo>
                    <a:pt x="1581" y="778"/>
                  </a:lnTo>
                  <a:lnTo>
                    <a:pt x="1577" y="778"/>
                  </a:lnTo>
                  <a:lnTo>
                    <a:pt x="1577" y="778"/>
                  </a:lnTo>
                  <a:lnTo>
                    <a:pt x="1577" y="778"/>
                  </a:lnTo>
                  <a:lnTo>
                    <a:pt x="1572" y="778"/>
                  </a:lnTo>
                  <a:lnTo>
                    <a:pt x="1577" y="778"/>
                  </a:lnTo>
                  <a:lnTo>
                    <a:pt x="1577" y="773"/>
                  </a:lnTo>
                  <a:lnTo>
                    <a:pt x="1581" y="773"/>
                  </a:lnTo>
                  <a:lnTo>
                    <a:pt x="1581" y="773"/>
                  </a:lnTo>
                  <a:lnTo>
                    <a:pt x="1577" y="773"/>
                  </a:lnTo>
                  <a:lnTo>
                    <a:pt x="1572" y="778"/>
                  </a:lnTo>
                  <a:lnTo>
                    <a:pt x="1572" y="778"/>
                  </a:lnTo>
                  <a:lnTo>
                    <a:pt x="1568" y="778"/>
                  </a:lnTo>
                  <a:lnTo>
                    <a:pt x="1568" y="778"/>
                  </a:lnTo>
                  <a:lnTo>
                    <a:pt x="1563" y="778"/>
                  </a:lnTo>
                  <a:lnTo>
                    <a:pt x="1563" y="778"/>
                  </a:lnTo>
                  <a:lnTo>
                    <a:pt x="1563" y="778"/>
                  </a:lnTo>
                  <a:lnTo>
                    <a:pt x="1563" y="778"/>
                  </a:lnTo>
                  <a:lnTo>
                    <a:pt x="1563" y="778"/>
                  </a:lnTo>
                  <a:lnTo>
                    <a:pt x="1559" y="778"/>
                  </a:lnTo>
                  <a:lnTo>
                    <a:pt x="1559" y="778"/>
                  </a:lnTo>
                  <a:lnTo>
                    <a:pt x="1559" y="778"/>
                  </a:lnTo>
                  <a:lnTo>
                    <a:pt x="1559" y="778"/>
                  </a:lnTo>
                  <a:lnTo>
                    <a:pt x="1559" y="778"/>
                  </a:lnTo>
                  <a:lnTo>
                    <a:pt x="1559" y="778"/>
                  </a:lnTo>
                  <a:lnTo>
                    <a:pt x="1554" y="778"/>
                  </a:lnTo>
                  <a:lnTo>
                    <a:pt x="1554" y="778"/>
                  </a:lnTo>
                  <a:lnTo>
                    <a:pt x="1550" y="782"/>
                  </a:lnTo>
                  <a:lnTo>
                    <a:pt x="1550" y="782"/>
                  </a:lnTo>
                  <a:lnTo>
                    <a:pt x="1550" y="782"/>
                  </a:lnTo>
                  <a:lnTo>
                    <a:pt x="1550" y="782"/>
                  </a:lnTo>
                  <a:lnTo>
                    <a:pt x="1550" y="782"/>
                  </a:lnTo>
                  <a:lnTo>
                    <a:pt x="1554" y="782"/>
                  </a:lnTo>
                  <a:lnTo>
                    <a:pt x="1554" y="782"/>
                  </a:lnTo>
                  <a:lnTo>
                    <a:pt x="1554" y="782"/>
                  </a:lnTo>
                  <a:lnTo>
                    <a:pt x="1554" y="782"/>
                  </a:lnTo>
                  <a:lnTo>
                    <a:pt x="1550" y="782"/>
                  </a:lnTo>
                  <a:lnTo>
                    <a:pt x="1554" y="782"/>
                  </a:lnTo>
                  <a:lnTo>
                    <a:pt x="1554" y="782"/>
                  </a:lnTo>
                  <a:lnTo>
                    <a:pt x="1563" y="782"/>
                  </a:lnTo>
                  <a:lnTo>
                    <a:pt x="1563" y="782"/>
                  </a:lnTo>
                  <a:close/>
                  <a:moveTo>
                    <a:pt x="2449" y="240"/>
                  </a:moveTo>
                  <a:lnTo>
                    <a:pt x="2453" y="240"/>
                  </a:lnTo>
                  <a:lnTo>
                    <a:pt x="2453" y="240"/>
                  </a:lnTo>
                  <a:lnTo>
                    <a:pt x="2453" y="240"/>
                  </a:lnTo>
                  <a:lnTo>
                    <a:pt x="2453" y="240"/>
                  </a:lnTo>
                  <a:lnTo>
                    <a:pt x="2449" y="240"/>
                  </a:lnTo>
                  <a:lnTo>
                    <a:pt x="2449" y="235"/>
                  </a:lnTo>
                  <a:lnTo>
                    <a:pt x="2449" y="235"/>
                  </a:lnTo>
                  <a:lnTo>
                    <a:pt x="2449" y="235"/>
                  </a:lnTo>
                  <a:lnTo>
                    <a:pt x="2440" y="240"/>
                  </a:lnTo>
                  <a:lnTo>
                    <a:pt x="2440" y="240"/>
                  </a:lnTo>
                  <a:lnTo>
                    <a:pt x="2435" y="240"/>
                  </a:lnTo>
                  <a:lnTo>
                    <a:pt x="2431" y="240"/>
                  </a:lnTo>
                  <a:lnTo>
                    <a:pt x="2431" y="240"/>
                  </a:lnTo>
                  <a:lnTo>
                    <a:pt x="2426" y="240"/>
                  </a:lnTo>
                  <a:lnTo>
                    <a:pt x="2426" y="240"/>
                  </a:lnTo>
                  <a:lnTo>
                    <a:pt x="2426" y="240"/>
                  </a:lnTo>
                  <a:lnTo>
                    <a:pt x="2426" y="240"/>
                  </a:lnTo>
                  <a:lnTo>
                    <a:pt x="2421" y="244"/>
                  </a:lnTo>
                  <a:lnTo>
                    <a:pt x="2421" y="244"/>
                  </a:lnTo>
                  <a:lnTo>
                    <a:pt x="2421" y="244"/>
                  </a:lnTo>
                  <a:lnTo>
                    <a:pt x="2417" y="244"/>
                  </a:lnTo>
                  <a:lnTo>
                    <a:pt x="2417" y="244"/>
                  </a:lnTo>
                  <a:lnTo>
                    <a:pt x="2417" y="244"/>
                  </a:lnTo>
                  <a:lnTo>
                    <a:pt x="2421" y="249"/>
                  </a:lnTo>
                  <a:lnTo>
                    <a:pt x="2421" y="244"/>
                  </a:lnTo>
                  <a:lnTo>
                    <a:pt x="2431" y="244"/>
                  </a:lnTo>
                  <a:lnTo>
                    <a:pt x="2435" y="244"/>
                  </a:lnTo>
                  <a:lnTo>
                    <a:pt x="2440" y="244"/>
                  </a:lnTo>
                  <a:lnTo>
                    <a:pt x="2440" y="249"/>
                  </a:lnTo>
                  <a:lnTo>
                    <a:pt x="2440" y="249"/>
                  </a:lnTo>
                  <a:lnTo>
                    <a:pt x="2440" y="244"/>
                  </a:lnTo>
                  <a:lnTo>
                    <a:pt x="2444" y="244"/>
                  </a:lnTo>
                  <a:lnTo>
                    <a:pt x="2444" y="244"/>
                  </a:lnTo>
                  <a:lnTo>
                    <a:pt x="2449" y="244"/>
                  </a:lnTo>
                  <a:lnTo>
                    <a:pt x="2449" y="244"/>
                  </a:lnTo>
                  <a:lnTo>
                    <a:pt x="2449" y="244"/>
                  </a:lnTo>
                  <a:lnTo>
                    <a:pt x="2449" y="240"/>
                  </a:lnTo>
                  <a:lnTo>
                    <a:pt x="2449" y="240"/>
                  </a:lnTo>
                  <a:lnTo>
                    <a:pt x="2449" y="240"/>
                  </a:lnTo>
                  <a:lnTo>
                    <a:pt x="2449" y="240"/>
                  </a:lnTo>
                  <a:close/>
                  <a:moveTo>
                    <a:pt x="2833" y="1515"/>
                  </a:moveTo>
                  <a:lnTo>
                    <a:pt x="2833" y="1510"/>
                  </a:lnTo>
                  <a:lnTo>
                    <a:pt x="2833" y="1506"/>
                  </a:lnTo>
                  <a:lnTo>
                    <a:pt x="2833" y="1506"/>
                  </a:lnTo>
                  <a:lnTo>
                    <a:pt x="2833" y="1506"/>
                  </a:lnTo>
                  <a:lnTo>
                    <a:pt x="2833" y="1506"/>
                  </a:lnTo>
                  <a:lnTo>
                    <a:pt x="2833" y="1506"/>
                  </a:lnTo>
                  <a:lnTo>
                    <a:pt x="2828" y="1506"/>
                  </a:lnTo>
                  <a:lnTo>
                    <a:pt x="2828" y="1506"/>
                  </a:lnTo>
                  <a:lnTo>
                    <a:pt x="2828" y="1510"/>
                  </a:lnTo>
                  <a:lnTo>
                    <a:pt x="2828" y="1510"/>
                  </a:lnTo>
                  <a:lnTo>
                    <a:pt x="2828" y="1510"/>
                  </a:lnTo>
                  <a:lnTo>
                    <a:pt x="2824" y="1510"/>
                  </a:lnTo>
                  <a:lnTo>
                    <a:pt x="2824" y="1510"/>
                  </a:lnTo>
                  <a:lnTo>
                    <a:pt x="2824" y="1515"/>
                  </a:lnTo>
                  <a:lnTo>
                    <a:pt x="2824" y="1515"/>
                  </a:lnTo>
                  <a:lnTo>
                    <a:pt x="2828" y="1515"/>
                  </a:lnTo>
                  <a:lnTo>
                    <a:pt x="2828" y="1515"/>
                  </a:lnTo>
                  <a:lnTo>
                    <a:pt x="2828" y="1515"/>
                  </a:lnTo>
                  <a:lnTo>
                    <a:pt x="2833" y="1515"/>
                  </a:lnTo>
                  <a:close/>
                  <a:moveTo>
                    <a:pt x="3546" y="1858"/>
                  </a:moveTo>
                  <a:lnTo>
                    <a:pt x="3546" y="1854"/>
                  </a:lnTo>
                  <a:lnTo>
                    <a:pt x="3546" y="1849"/>
                  </a:lnTo>
                  <a:lnTo>
                    <a:pt x="3546" y="1840"/>
                  </a:lnTo>
                  <a:lnTo>
                    <a:pt x="3546" y="1836"/>
                  </a:lnTo>
                  <a:lnTo>
                    <a:pt x="3542" y="1827"/>
                  </a:lnTo>
                  <a:lnTo>
                    <a:pt x="3542" y="1822"/>
                  </a:lnTo>
                  <a:lnTo>
                    <a:pt x="3542" y="1822"/>
                  </a:lnTo>
                  <a:lnTo>
                    <a:pt x="3542" y="1822"/>
                  </a:lnTo>
                  <a:lnTo>
                    <a:pt x="3537" y="1818"/>
                  </a:lnTo>
                  <a:lnTo>
                    <a:pt x="3537" y="1813"/>
                  </a:lnTo>
                  <a:lnTo>
                    <a:pt x="3537" y="1813"/>
                  </a:lnTo>
                  <a:lnTo>
                    <a:pt x="3537" y="1809"/>
                  </a:lnTo>
                  <a:lnTo>
                    <a:pt x="3533" y="1809"/>
                  </a:lnTo>
                  <a:lnTo>
                    <a:pt x="3533" y="1809"/>
                  </a:lnTo>
                  <a:lnTo>
                    <a:pt x="3533" y="1804"/>
                  </a:lnTo>
                  <a:lnTo>
                    <a:pt x="3533" y="1804"/>
                  </a:lnTo>
                  <a:lnTo>
                    <a:pt x="3533" y="1804"/>
                  </a:lnTo>
                  <a:lnTo>
                    <a:pt x="3528" y="1809"/>
                  </a:lnTo>
                  <a:lnTo>
                    <a:pt x="3528" y="1813"/>
                  </a:lnTo>
                  <a:lnTo>
                    <a:pt x="3524" y="1813"/>
                  </a:lnTo>
                  <a:lnTo>
                    <a:pt x="3524" y="1813"/>
                  </a:lnTo>
                  <a:lnTo>
                    <a:pt x="3524" y="1813"/>
                  </a:lnTo>
                  <a:lnTo>
                    <a:pt x="3524" y="1813"/>
                  </a:lnTo>
                  <a:lnTo>
                    <a:pt x="3524" y="1818"/>
                  </a:lnTo>
                  <a:lnTo>
                    <a:pt x="3524" y="1818"/>
                  </a:lnTo>
                  <a:lnTo>
                    <a:pt x="3524" y="1822"/>
                  </a:lnTo>
                  <a:lnTo>
                    <a:pt x="3524" y="1827"/>
                  </a:lnTo>
                  <a:lnTo>
                    <a:pt x="3519" y="1831"/>
                  </a:lnTo>
                  <a:lnTo>
                    <a:pt x="3519" y="1831"/>
                  </a:lnTo>
                  <a:lnTo>
                    <a:pt x="3515" y="1831"/>
                  </a:lnTo>
                  <a:lnTo>
                    <a:pt x="3515" y="1836"/>
                  </a:lnTo>
                  <a:lnTo>
                    <a:pt x="3515" y="1836"/>
                  </a:lnTo>
                  <a:lnTo>
                    <a:pt x="3510" y="1836"/>
                  </a:lnTo>
                  <a:lnTo>
                    <a:pt x="3510" y="1836"/>
                  </a:lnTo>
                  <a:lnTo>
                    <a:pt x="3510" y="1836"/>
                  </a:lnTo>
                  <a:lnTo>
                    <a:pt x="3510" y="1836"/>
                  </a:lnTo>
                  <a:lnTo>
                    <a:pt x="3506" y="1836"/>
                  </a:lnTo>
                  <a:lnTo>
                    <a:pt x="3506" y="1836"/>
                  </a:lnTo>
                  <a:lnTo>
                    <a:pt x="3506" y="1836"/>
                  </a:lnTo>
                  <a:lnTo>
                    <a:pt x="3506" y="1840"/>
                  </a:lnTo>
                  <a:lnTo>
                    <a:pt x="3510" y="1840"/>
                  </a:lnTo>
                  <a:lnTo>
                    <a:pt x="3510" y="1840"/>
                  </a:lnTo>
                  <a:lnTo>
                    <a:pt x="3506" y="1840"/>
                  </a:lnTo>
                  <a:lnTo>
                    <a:pt x="3506" y="1845"/>
                  </a:lnTo>
                  <a:lnTo>
                    <a:pt x="3506" y="1849"/>
                  </a:lnTo>
                  <a:lnTo>
                    <a:pt x="3506" y="1854"/>
                  </a:lnTo>
                  <a:lnTo>
                    <a:pt x="3506" y="1854"/>
                  </a:lnTo>
                  <a:lnTo>
                    <a:pt x="3506" y="1854"/>
                  </a:lnTo>
                  <a:lnTo>
                    <a:pt x="3506" y="1854"/>
                  </a:lnTo>
                  <a:lnTo>
                    <a:pt x="3501" y="1854"/>
                  </a:lnTo>
                  <a:lnTo>
                    <a:pt x="3501" y="1854"/>
                  </a:lnTo>
                  <a:lnTo>
                    <a:pt x="3501" y="1858"/>
                  </a:lnTo>
                  <a:lnTo>
                    <a:pt x="3501" y="1858"/>
                  </a:lnTo>
                  <a:lnTo>
                    <a:pt x="3497" y="1858"/>
                  </a:lnTo>
                  <a:lnTo>
                    <a:pt x="3497" y="1858"/>
                  </a:lnTo>
                  <a:lnTo>
                    <a:pt x="3497" y="1858"/>
                  </a:lnTo>
                  <a:lnTo>
                    <a:pt x="3497" y="1858"/>
                  </a:lnTo>
                  <a:lnTo>
                    <a:pt x="3497" y="1858"/>
                  </a:lnTo>
                  <a:lnTo>
                    <a:pt x="3497" y="1854"/>
                  </a:lnTo>
                  <a:lnTo>
                    <a:pt x="3497" y="1854"/>
                  </a:lnTo>
                  <a:lnTo>
                    <a:pt x="3497" y="1854"/>
                  </a:lnTo>
                  <a:lnTo>
                    <a:pt x="3497" y="1854"/>
                  </a:lnTo>
                  <a:lnTo>
                    <a:pt x="3497" y="1858"/>
                  </a:lnTo>
                  <a:lnTo>
                    <a:pt x="3497" y="1858"/>
                  </a:lnTo>
                  <a:lnTo>
                    <a:pt x="3492" y="1863"/>
                  </a:lnTo>
                  <a:lnTo>
                    <a:pt x="3492" y="1863"/>
                  </a:lnTo>
                  <a:lnTo>
                    <a:pt x="3492" y="1863"/>
                  </a:lnTo>
                  <a:lnTo>
                    <a:pt x="3492" y="1863"/>
                  </a:lnTo>
                  <a:lnTo>
                    <a:pt x="3492" y="1867"/>
                  </a:lnTo>
                  <a:lnTo>
                    <a:pt x="3492" y="1867"/>
                  </a:lnTo>
                  <a:lnTo>
                    <a:pt x="3492" y="1867"/>
                  </a:lnTo>
                  <a:lnTo>
                    <a:pt x="3492" y="1867"/>
                  </a:lnTo>
                  <a:lnTo>
                    <a:pt x="3492" y="1867"/>
                  </a:lnTo>
                  <a:lnTo>
                    <a:pt x="3492" y="1867"/>
                  </a:lnTo>
                  <a:lnTo>
                    <a:pt x="3488" y="1863"/>
                  </a:lnTo>
                  <a:lnTo>
                    <a:pt x="3488" y="1863"/>
                  </a:lnTo>
                  <a:lnTo>
                    <a:pt x="3488" y="1863"/>
                  </a:lnTo>
                  <a:lnTo>
                    <a:pt x="3483" y="1867"/>
                  </a:lnTo>
                  <a:lnTo>
                    <a:pt x="3479" y="1872"/>
                  </a:lnTo>
                  <a:lnTo>
                    <a:pt x="3479" y="1872"/>
                  </a:lnTo>
                  <a:lnTo>
                    <a:pt x="3479" y="1872"/>
                  </a:lnTo>
                  <a:lnTo>
                    <a:pt x="3479" y="1876"/>
                  </a:lnTo>
                  <a:lnTo>
                    <a:pt x="3479" y="1876"/>
                  </a:lnTo>
                  <a:lnTo>
                    <a:pt x="3479" y="1876"/>
                  </a:lnTo>
                  <a:lnTo>
                    <a:pt x="3479" y="1876"/>
                  </a:lnTo>
                  <a:lnTo>
                    <a:pt x="3479" y="1876"/>
                  </a:lnTo>
                  <a:lnTo>
                    <a:pt x="3479" y="1876"/>
                  </a:lnTo>
                  <a:lnTo>
                    <a:pt x="3474" y="1876"/>
                  </a:lnTo>
                  <a:lnTo>
                    <a:pt x="3474" y="1872"/>
                  </a:lnTo>
                  <a:lnTo>
                    <a:pt x="3474" y="1876"/>
                  </a:lnTo>
                  <a:lnTo>
                    <a:pt x="3470" y="1876"/>
                  </a:lnTo>
                  <a:lnTo>
                    <a:pt x="3465" y="1876"/>
                  </a:lnTo>
                  <a:lnTo>
                    <a:pt x="3465" y="1876"/>
                  </a:lnTo>
                  <a:lnTo>
                    <a:pt x="3465" y="1876"/>
                  </a:lnTo>
                  <a:lnTo>
                    <a:pt x="3465" y="1876"/>
                  </a:lnTo>
                  <a:lnTo>
                    <a:pt x="3465" y="1881"/>
                  </a:lnTo>
                  <a:lnTo>
                    <a:pt x="3465" y="1876"/>
                  </a:lnTo>
                  <a:lnTo>
                    <a:pt x="3465" y="1876"/>
                  </a:lnTo>
                  <a:lnTo>
                    <a:pt x="3461" y="1881"/>
                  </a:lnTo>
                  <a:lnTo>
                    <a:pt x="3461" y="1881"/>
                  </a:lnTo>
                  <a:lnTo>
                    <a:pt x="3461" y="1876"/>
                  </a:lnTo>
                  <a:lnTo>
                    <a:pt x="3461" y="1876"/>
                  </a:lnTo>
                  <a:lnTo>
                    <a:pt x="3456" y="1876"/>
                  </a:lnTo>
                  <a:lnTo>
                    <a:pt x="3456" y="1881"/>
                  </a:lnTo>
                  <a:lnTo>
                    <a:pt x="3451" y="1881"/>
                  </a:lnTo>
                  <a:lnTo>
                    <a:pt x="3451" y="1881"/>
                  </a:lnTo>
                  <a:lnTo>
                    <a:pt x="3447" y="1881"/>
                  </a:lnTo>
                  <a:lnTo>
                    <a:pt x="3447" y="1881"/>
                  </a:lnTo>
                  <a:lnTo>
                    <a:pt x="3442" y="1885"/>
                  </a:lnTo>
                  <a:lnTo>
                    <a:pt x="3442" y="1885"/>
                  </a:lnTo>
                  <a:lnTo>
                    <a:pt x="3442" y="1885"/>
                  </a:lnTo>
                  <a:lnTo>
                    <a:pt x="3442" y="1890"/>
                  </a:lnTo>
                  <a:lnTo>
                    <a:pt x="3442" y="1890"/>
                  </a:lnTo>
                  <a:lnTo>
                    <a:pt x="3433" y="1904"/>
                  </a:lnTo>
                  <a:lnTo>
                    <a:pt x="3433" y="1908"/>
                  </a:lnTo>
                  <a:lnTo>
                    <a:pt x="3433" y="1913"/>
                  </a:lnTo>
                  <a:lnTo>
                    <a:pt x="3433" y="1913"/>
                  </a:lnTo>
                  <a:lnTo>
                    <a:pt x="3433" y="1917"/>
                  </a:lnTo>
                  <a:lnTo>
                    <a:pt x="3433" y="1922"/>
                  </a:lnTo>
                  <a:lnTo>
                    <a:pt x="3438" y="1926"/>
                  </a:lnTo>
                  <a:lnTo>
                    <a:pt x="3438" y="1926"/>
                  </a:lnTo>
                  <a:lnTo>
                    <a:pt x="3438" y="1931"/>
                  </a:lnTo>
                  <a:lnTo>
                    <a:pt x="3438" y="1931"/>
                  </a:lnTo>
                  <a:lnTo>
                    <a:pt x="3438" y="1935"/>
                  </a:lnTo>
                  <a:lnTo>
                    <a:pt x="3438" y="1935"/>
                  </a:lnTo>
                  <a:lnTo>
                    <a:pt x="3438" y="1940"/>
                  </a:lnTo>
                  <a:lnTo>
                    <a:pt x="3442" y="1944"/>
                  </a:lnTo>
                  <a:lnTo>
                    <a:pt x="3442" y="1944"/>
                  </a:lnTo>
                  <a:lnTo>
                    <a:pt x="3438" y="1949"/>
                  </a:lnTo>
                  <a:lnTo>
                    <a:pt x="3438" y="1953"/>
                  </a:lnTo>
                  <a:lnTo>
                    <a:pt x="3438" y="1953"/>
                  </a:lnTo>
                  <a:lnTo>
                    <a:pt x="3438" y="1958"/>
                  </a:lnTo>
                  <a:lnTo>
                    <a:pt x="3433" y="1962"/>
                  </a:lnTo>
                  <a:lnTo>
                    <a:pt x="3433" y="1967"/>
                  </a:lnTo>
                  <a:lnTo>
                    <a:pt x="3433" y="1967"/>
                  </a:lnTo>
                  <a:lnTo>
                    <a:pt x="3429" y="1971"/>
                  </a:lnTo>
                  <a:lnTo>
                    <a:pt x="3429" y="1976"/>
                  </a:lnTo>
                  <a:lnTo>
                    <a:pt x="3424" y="1976"/>
                  </a:lnTo>
                  <a:lnTo>
                    <a:pt x="3424" y="1976"/>
                  </a:lnTo>
                  <a:lnTo>
                    <a:pt x="3424" y="1980"/>
                  </a:lnTo>
                  <a:lnTo>
                    <a:pt x="3420" y="1980"/>
                  </a:lnTo>
                  <a:lnTo>
                    <a:pt x="3420" y="1985"/>
                  </a:lnTo>
                  <a:lnTo>
                    <a:pt x="3420" y="1985"/>
                  </a:lnTo>
                  <a:lnTo>
                    <a:pt x="3420" y="1985"/>
                  </a:lnTo>
                  <a:lnTo>
                    <a:pt x="3420" y="1989"/>
                  </a:lnTo>
                  <a:lnTo>
                    <a:pt x="3415" y="1989"/>
                  </a:lnTo>
                  <a:lnTo>
                    <a:pt x="3415" y="1989"/>
                  </a:lnTo>
                  <a:lnTo>
                    <a:pt x="3415" y="1994"/>
                  </a:lnTo>
                  <a:lnTo>
                    <a:pt x="3415" y="1998"/>
                  </a:lnTo>
                  <a:lnTo>
                    <a:pt x="3415" y="1998"/>
                  </a:lnTo>
                  <a:lnTo>
                    <a:pt x="3415" y="2003"/>
                  </a:lnTo>
                  <a:lnTo>
                    <a:pt x="3415" y="2007"/>
                  </a:lnTo>
                  <a:lnTo>
                    <a:pt x="3415" y="2007"/>
                  </a:lnTo>
                  <a:lnTo>
                    <a:pt x="3420" y="2012"/>
                  </a:lnTo>
                  <a:lnTo>
                    <a:pt x="3420" y="2017"/>
                  </a:lnTo>
                  <a:lnTo>
                    <a:pt x="3420" y="2017"/>
                  </a:lnTo>
                  <a:lnTo>
                    <a:pt x="3420" y="2021"/>
                  </a:lnTo>
                  <a:lnTo>
                    <a:pt x="3420" y="2021"/>
                  </a:lnTo>
                  <a:lnTo>
                    <a:pt x="3420" y="2021"/>
                  </a:lnTo>
                  <a:lnTo>
                    <a:pt x="3420" y="2026"/>
                  </a:lnTo>
                  <a:lnTo>
                    <a:pt x="3420" y="2030"/>
                  </a:lnTo>
                  <a:lnTo>
                    <a:pt x="3420" y="2030"/>
                  </a:lnTo>
                  <a:lnTo>
                    <a:pt x="3420" y="2035"/>
                  </a:lnTo>
                  <a:lnTo>
                    <a:pt x="3420" y="2035"/>
                  </a:lnTo>
                  <a:lnTo>
                    <a:pt x="3420" y="2039"/>
                  </a:lnTo>
                  <a:lnTo>
                    <a:pt x="3424" y="2044"/>
                  </a:lnTo>
                  <a:lnTo>
                    <a:pt x="3424" y="2044"/>
                  </a:lnTo>
                  <a:lnTo>
                    <a:pt x="3424" y="2048"/>
                  </a:lnTo>
                  <a:lnTo>
                    <a:pt x="3424" y="2048"/>
                  </a:lnTo>
                  <a:lnTo>
                    <a:pt x="3424" y="2048"/>
                  </a:lnTo>
                  <a:lnTo>
                    <a:pt x="3424" y="2048"/>
                  </a:lnTo>
                  <a:lnTo>
                    <a:pt x="3429" y="2053"/>
                  </a:lnTo>
                  <a:lnTo>
                    <a:pt x="3429" y="2053"/>
                  </a:lnTo>
                  <a:lnTo>
                    <a:pt x="3429" y="2053"/>
                  </a:lnTo>
                  <a:lnTo>
                    <a:pt x="3429" y="2053"/>
                  </a:lnTo>
                  <a:lnTo>
                    <a:pt x="3433" y="2053"/>
                  </a:lnTo>
                  <a:lnTo>
                    <a:pt x="3438" y="2057"/>
                  </a:lnTo>
                  <a:lnTo>
                    <a:pt x="3442" y="2057"/>
                  </a:lnTo>
                  <a:lnTo>
                    <a:pt x="3442" y="2062"/>
                  </a:lnTo>
                  <a:lnTo>
                    <a:pt x="3447" y="2062"/>
                  </a:lnTo>
                  <a:lnTo>
                    <a:pt x="3447" y="2057"/>
                  </a:lnTo>
                  <a:lnTo>
                    <a:pt x="3451" y="2057"/>
                  </a:lnTo>
                  <a:lnTo>
                    <a:pt x="3456" y="2057"/>
                  </a:lnTo>
                  <a:lnTo>
                    <a:pt x="3461" y="2053"/>
                  </a:lnTo>
                  <a:lnTo>
                    <a:pt x="3465" y="2053"/>
                  </a:lnTo>
                  <a:lnTo>
                    <a:pt x="3465" y="2053"/>
                  </a:lnTo>
                  <a:lnTo>
                    <a:pt x="3470" y="2053"/>
                  </a:lnTo>
                  <a:lnTo>
                    <a:pt x="3474" y="2048"/>
                  </a:lnTo>
                  <a:lnTo>
                    <a:pt x="3474" y="2048"/>
                  </a:lnTo>
                  <a:lnTo>
                    <a:pt x="3479" y="2044"/>
                  </a:lnTo>
                  <a:lnTo>
                    <a:pt x="3479" y="2039"/>
                  </a:lnTo>
                  <a:lnTo>
                    <a:pt x="3479" y="2039"/>
                  </a:lnTo>
                  <a:lnTo>
                    <a:pt x="3479" y="2035"/>
                  </a:lnTo>
                  <a:lnTo>
                    <a:pt x="3483" y="2035"/>
                  </a:lnTo>
                  <a:lnTo>
                    <a:pt x="3483" y="2035"/>
                  </a:lnTo>
                  <a:lnTo>
                    <a:pt x="3483" y="2030"/>
                  </a:lnTo>
                  <a:lnTo>
                    <a:pt x="3488" y="2026"/>
                  </a:lnTo>
                  <a:lnTo>
                    <a:pt x="3488" y="2026"/>
                  </a:lnTo>
                  <a:lnTo>
                    <a:pt x="3488" y="2017"/>
                  </a:lnTo>
                  <a:lnTo>
                    <a:pt x="3492" y="2012"/>
                  </a:lnTo>
                  <a:lnTo>
                    <a:pt x="3492" y="2007"/>
                  </a:lnTo>
                  <a:lnTo>
                    <a:pt x="3492" y="2003"/>
                  </a:lnTo>
                  <a:lnTo>
                    <a:pt x="3497" y="1998"/>
                  </a:lnTo>
                  <a:lnTo>
                    <a:pt x="3501" y="1989"/>
                  </a:lnTo>
                  <a:lnTo>
                    <a:pt x="3506" y="1980"/>
                  </a:lnTo>
                  <a:lnTo>
                    <a:pt x="3506" y="1971"/>
                  </a:lnTo>
                  <a:lnTo>
                    <a:pt x="3510" y="1962"/>
                  </a:lnTo>
                  <a:lnTo>
                    <a:pt x="3510" y="1958"/>
                  </a:lnTo>
                  <a:lnTo>
                    <a:pt x="3515" y="1953"/>
                  </a:lnTo>
                  <a:lnTo>
                    <a:pt x="3515" y="1944"/>
                  </a:lnTo>
                  <a:lnTo>
                    <a:pt x="3519" y="1940"/>
                  </a:lnTo>
                  <a:lnTo>
                    <a:pt x="3524" y="1931"/>
                  </a:lnTo>
                  <a:lnTo>
                    <a:pt x="3524" y="1926"/>
                  </a:lnTo>
                  <a:lnTo>
                    <a:pt x="3524" y="1922"/>
                  </a:lnTo>
                  <a:lnTo>
                    <a:pt x="3528" y="1917"/>
                  </a:lnTo>
                  <a:lnTo>
                    <a:pt x="3528" y="1913"/>
                  </a:lnTo>
                  <a:lnTo>
                    <a:pt x="3528" y="1904"/>
                  </a:lnTo>
                  <a:lnTo>
                    <a:pt x="3528" y="1904"/>
                  </a:lnTo>
                  <a:lnTo>
                    <a:pt x="3533" y="1899"/>
                  </a:lnTo>
                  <a:lnTo>
                    <a:pt x="3533" y="1899"/>
                  </a:lnTo>
                  <a:lnTo>
                    <a:pt x="3533" y="1894"/>
                  </a:lnTo>
                  <a:lnTo>
                    <a:pt x="3533" y="1894"/>
                  </a:lnTo>
                  <a:lnTo>
                    <a:pt x="3537" y="1894"/>
                  </a:lnTo>
                  <a:lnTo>
                    <a:pt x="3533" y="1894"/>
                  </a:lnTo>
                  <a:lnTo>
                    <a:pt x="3533" y="1894"/>
                  </a:lnTo>
                  <a:lnTo>
                    <a:pt x="3537" y="1890"/>
                  </a:lnTo>
                  <a:lnTo>
                    <a:pt x="3537" y="1890"/>
                  </a:lnTo>
                  <a:lnTo>
                    <a:pt x="3537" y="1885"/>
                  </a:lnTo>
                  <a:lnTo>
                    <a:pt x="3537" y="1881"/>
                  </a:lnTo>
                  <a:lnTo>
                    <a:pt x="3537" y="1881"/>
                  </a:lnTo>
                  <a:lnTo>
                    <a:pt x="3537" y="1881"/>
                  </a:lnTo>
                  <a:lnTo>
                    <a:pt x="3537" y="1876"/>
                  </a:lnTo>
                  <a:lnTo>
                    <a:pt x="3537" y="1876"/>
                  </a:lnTo>
                  <a:lnTo>
                    <a:pt x="3537" y="1872"/>
                  </a:lnTo>
                  <a:lnTo>
                    <a:pt x="3533" y="1872"/>
                  </a:lnTo>
                  <a:lnTo>
                    <a:pt x="3537" y="1872"/>
                  </a:lnTo>
                  <a:lnTo>
                    <a:pt x="3537" y="1867"/>
                  </a:lnTo>
                  <a:lnTo>
                    <a:pt x="3537" y="1867"/>
                  </a:lnTo>
                  <a:lnTo>
                    <a:pt x="3537" y="1867"/>
                  </a:lnTo>
                  <a:lnTo>
                    <a:pt x="3542" y="1872"/>
                  </a:lnTo>
                  <a:lnTo>
                    <a:pt x="3542" y="1876"/>
                  </a:lnTo>
                  <a:lnTo>
                    <a:pt x="3542" y="1876"/>
                  </a:lnTo>
                  <a:lnTo>
                    <a:pt x="3542" y="1881"/>
                  </a:lnTo>
                  <a:lnTo>
                    <a:pt x="3542" y="1881"/>
                  </a:lnTo>
                  <a:lnTo>
                    <a:pt x="3546" y="1876"/>
                  </a:lnTo>
                  <a:lnTo>
                    <a:pt x="3546" y="1876"/>
                  </a:lnTo>
                  <a:lnTo>
                    <a:pt x="3546" y="1872"/>
                  </a:lnTo>
                  <a:lnTo>
                    <a:pt x="3551" y="1867"/>
                  </a:lnTo>
                  <a:lnTo>
                    <a:pt x="3551" y="1863"/>
                  </a:lnTo>
                  <a:lnTo>
                    <a:pt x="3546" y="1858"/>
                  </a:lnTo>
                  <a:close/>
                  <a:moveTo>
                    <a:pt x="2381" y="285"/>
                  </a:moveTo>
                  <a:lnTo>
                    <a:pt x="2381" y="285"/>
                  </a:lnTo>
                  <a:lnTo>
                    <a:pt x="2385" y="285"/>
                  </a:lnTo>
                  <a:lnTo>
                    <a:pt x="2385" y="285"/>
                  </a:lnTo>
                  <a:lnTo>
                    <a:pt x="2390" y="285"/>
                  </a:lnTo>
                  <a:lnTo>
                    <a:pt x="2390" y="285"/>
                  </a:lnTo>
                  <a:lnTo>
                    <a:pt x="2394" y="285"/>
                  </a:lnTo>
                  <a:lnTo>
                    <a:pt x="2399" y="285"/>
                  </a:lnTo>
                  <a:lnTo>
                    <a:pt x="2403" y="285"/>
                  </a:lnTo>
                  <a:lnTo>
                    <a:pt x="2408" y="285"/>
                  </a:lnTo>
                  <a:lnTo>
                    <a:pt x="2412" y="280"/>
                  </a:lnTo>
                  <a:lnTo>
                    <a:pt x="2417" y="280"/>
                  </a:lnTo>
                  <a:lnTo>
                    <a:pt x="2421" y="280"/>
                  </a:lnTo>
                  <a:lnTo>
                    <a:pt x="2421" y="280"/>
                  </a:lnTo>
                  <a:lnTo>
                    <a:pt x="2421" y="280"/>
                  </a:lnTo>
                  <a:lnTo>
                    <a:pt x="2426" y="280"/>
                  </a:lnTo>
                  <a:lnTo>
                    <a:pt x="2426" y="280"/>
                  </a:lnTo>
                  <a:lnTo>
                    <a:pt x="2431" y="280"/>
                  </a:lnTo>
                  <a:lnTo>
                    <a:pt x="2431" y="276"/>
                  </a:lnTo>
                  <a:lnTo>
                    <a:pt x="2435" y="276"/>
                  </a:lnTo>
                  <a:lnTo>
                    <a:pt x="2435" y="276"/>
                  </a:lnTo>
                  <a:lnTo>
                    <a:pt x="2435" y="276"/>
                  </a:lnTo>
                  <a:lnTo>
                    <a:pt x="2435" y="276"/>
                  </a:lnTo>
                  <a:lnTo>
                    <a:pt x="2435" y="271"/>
                  </a:lnTo>
                  <a:lnTo>
                    <a:pt x="2440" y="271"/>
                  </a:lnTo>
                  <a:lnTo>
                    <a:pt x="2444" y="271"/>
                  </a:lnTo>
                  <a:lnTo>
                    <a:pt x="2444" y="271"/>
                  </a:lnTo>
                  <a:lnTo>
                    <a:pt x="2444" y="271"/>
                  </a:lnTo>
                  <a:lnTo>
                    <a:pt x="2444" y="271"/>
                  </a:lnTo>
                  <a:lnTo>
                    <a:pt x="2449" y="271"/>
                  </a:lnTo>
                  <a:lnTo>
                    <a:pt x="2449" y="267"/>
                  </a:lnTo>
                  <a:lnTo>
                    <a:pt x="2453" y="267"/>
                  </a:lnTo>
                  <a:lnTo>
                    <a:pt x="2453" y="267"/>
                  </a:lnTo>
                  <a:lnTo>
                    <a:pt x="2453" y="267"/>
                  </a:lnTo>
                  <a:lnTo>
                    <a:pt x="2458" y="267"/>
                  </a:lnTo>
                  <a:lnTo>
                    <a:pt x="2458" y="262"/>
                  </a:lnTo>
                  <a:lnTo>
                    <a:pt x="2453" y="262"/>
                  </a:lnTo>
                  <a:lnTo>
                    <a:pt x="2458" y="262"/>
                  </a:lnTo>
                  <a:lnTo>
                    <a:pt x="2458" y="262"/>
                  </a:lnTo>
                  <a:lnTo>
                    <a:pt x="2462" y="262"/>
                  </a:lnTo>
                  <a:lnTo>
                    <a:pt x="2462" y="262"/>
                  </a:lnTo>
                  <a:lnTo>
                    <a:pt x="2462" y="262"/>
                  </a:lnTo>
                  <a:lnTo>
                    <a:pt x="2462" y="262"/>
                  </a:lnTo>
                  <a:lnTo>
                    <a:pt x="2462" y="262"/>
                  </a:lnTo>
                  <a:lnTo>
                    <a:pt x="2462" y="262"/>
                  </a:lnTo>
                  <a:lnTo>
                    <a:pt x="2462" y="262"/>
                  </a:lnTo>
                  <a:lnTo>
                    <a:pt x="2467" y="262"/>
                  </a:lnTo>
                  <a:lnTo>
                    <a:pt x="2467" y="262"/>
                  </a:lnTo>
                  <a:lnTo>
                    <a:pt x="2471" y="262"/>
                  </a:lnTo>
                  <a:lnTo>
                    <a:pt x="2471" y="262"/>
                  </a:lnTo>
                  <a:lnTo>
                    <a:pt x="2471" y="258"/>
                  </a:lnTo>
                  <a:lnTo>
                    <a:pt x="2471" y="258"/>
                  </a:lnTo>
                  <a:lnTo>
                    <a:pt x="2476" y="258"/>
                  </a:lnTo>
                  <a:lnTo>
                    <a:pt x="2476" y="258"/>
                  </a:lnTo>
                  <a:lnTo>
                    <a:pt x="2476" y="258"/>
                  </a:lnTo>
                  <a:lnTo>
                    <a:pt x="2480" y="258"/>
                  </a:lnTo>
                  <a:lnTo>
                    <a:pt x="2480" y="258"/>
                  </a:lnTo>
                  <a:lnTo>
                    <a:pt x="2480" y="253"/>
                  </a:lnTo>
                  <a:lnTo>
                    <a:pt x="2480" y="253"/>
                  </a:lnTo>
                  <a:lnTo>
                    <a:pt x="2480" y="253"/>
                  </a:lnTo>
                  <a:lnTo>
                    <a:pt x="2471" y="253"/>
                  </a:lnTo>
                  <a:lnTo>
                    <a:pt x="2467" y="253"/>
                  </a:lnTo>
                  <a:lnTo>
                    <a:pt x="2462" y="253"/>
                  </a:lnTo>
                  <a:lnTo>
                    <a:pt x="2453" y="249"/>
                  </a:lnTo>
                  <a:lnTo>
                    <a:pt x="2444" y="249"/>
                  </a:lnTo>
                  <a:lnTo>
                    <a:pt x="2444" y="249"/>
                  </a:lnTo>
                  <a:lnTo>
                    <a:pt x="2440" y="249"/>
                  </a:lnTo>
                  <a:lnTo>
                    <a:pt x="2435" y="253"/>
                  </a:lnTo>
                  <a:lnTo>
                    <a:pt x="2431" y="249"/>
                  </a:lnTo>
                  <a:lnTo>
                    <a:pt x="2426" y="253"/>
                  </a:lnTo>
                  <a:lnTo>
                    <a:pt x="2426" y="253"/>
                  </a:lnTo>
                  <a:lnTo>
                    <a:pt x="2426" y="253"/>
                  </a:lnTo>
                  <a:lnTo>
                    <a:pt x="2421" y="253"/>
                  </a:lnTo>
                  <a:lnTo>
                    <a:pt x="2421" y="253"/>
                  </a:lnTo>
                  <a:lnTo>
                    <a:pt x="2421" y="253"/>
                  </a:lnTo>
                  <a:lnTo>
                    <a:pt x="2426" y="253"/>
                  </a:lnTo>
                  <a:lnTo>
                    <a:pt x="2426" y="249"/>
                  </a:lnTo>
                  <a:lnTo>
                    <a:pt x="2426" y="249"/>
                  </a:lnTo>
                  <a:lnTo>
                    <a:pt x="2431" y="249"/>
                  </a:lnTo>
                  <a:lnTo>
                    <a:pt x="2435" y="249"/>
                  </a:lnTo>
                  <a:lnTo>
                    <a:pt x="2435" y="249"/>
                  </a:lnTo>
                  <a:lnTo>
                    <a:pt x="2435" y="249"/>
                  </a:lnTo>
                  <a:lnTo>
                    <a:pt x="2435" y="249"/>
                  </a:lnTo>
                  <a:lnTo>
                    <a:pt x="2435" y="249"/>
                  </a:lnTo>
                  <a:lnTo>
                    <a:pt x="2435" y="244"/>
                  </a:lnTo>
                  <a:lnTo>
                    <a:pt x="2421" y="249"/>
                  </a:lnTo>
                  <a:lnTo>
                    <a:pt x="2417" y="249"/>
                  </a:lnTo>
                  <a:lnTo>
                    <a:pt x="2412" y="244"/>
                  </a:lnTo>
                  <a:lnTo>
                    <a:pt x="2412" y="244"/>
                  </a:lnTo>
                  <a:lnTo>
                    <a:pt x="2408" y="244"/>
                  </a:lnTo>
                  <a:lnTo>
                    <a:pt x="2408" y="244"/>
                  </a:lnTo>
                  <a:lnTo>
                    <a:pt x="2408" y="244"/>
                  </a:lnTo>
                  <a:lnTo>
                    <a:pt x="2412" y="244"/>
                  </a:lnTo>
                  <a:lnTo>
                    <a:pt x="2417" y="244"/>
                  </a:lnTo>
                  <a:lnTo>
                    <a:pt x="2417" y="244"/>
                  </a:lnTo>
                  <a:lnTo>
                    <a:pt x="2421" y="240"/>
                  </a:lnTo>
                  <a:lnTo>
                    <a:pt x="2421" y="240"/>
                  </a:lnTo>
                  <a:lnTo>
                    <a:pt x="2421" y="240"/>
                  </a:lnTo>
                  <a:lnTo>
                    <a:pt x="2421" y="240"/>
                  </a:lnTo>
                  <a:lnTo>
                    <a:pt x="2421" y="240"/>
                  </a:lnTo>
                  <a:lnTo>
                    <a:pt x="2417" y="235"/>
                  </a:lnTo>
                  <a:lnTo>
                    <a:pt x="2417" y="235"/>
                  </a:lnTo>
                  <a:lnTo>
                    <a:pt x="2421" y="235"/>
                  </a:lnTo>
                  <a:lnTo>
                    <a:pt x="2426" y="235"/>
                  </a:lnTo>
                  <a:lnTo>
                    <a:pt x="2426" y="235"/>
                  </a:lnTo>
                  <a:lnTo>
                    <a:pt x="2431" y="235"/>
                  </a:lnTo>
                  <a:lnTo>
                    <a:pt x="2435" y="240"/>
                  </a:lnTo>
                  <a:lnTo>
                    <a:pt x="2435" y="240"/>
                  </a:lnTo>
                  <a:lnTo>
                    <a:pt x="2440" y="235"/>
                  </a:lnTo>
                  <a:lnTo>
                    <a:pt x="2444" y="235"/>
                  </a:lnTo>
                  <a:lnTo>
                    <a:pt x="2444" y="235"/>
                  </a:lnTo>
                  <a:lnTo>
                    <a:pt x="2449" y="235"/>
                  </a:lnTo>
                  <a:lnTo>
                    <a:pt x="2449" y="231"/>
                  </a:lnTo>
                  <a:lnTo>
                    <a:pt x="2453" y="231"/>
                  </a:lnTo>
                  <a:lnTo>
                    <a:pt x="2453" y="231"/>
                  </a:lnTo>
                  <a:lnTo>
                    <a:pt x="2449" y="226"/>
                  </a:lnTo>
                  <a:lnTo>
                    <a:pt x="2449" y="226"/>
                  </a:lnTo>
                  <a:lnTo>
                    <a:pt x="2444" y="226"/>
                  </a:lnTo>
                  <a:lnTo>
                    <a:pt x="2440" y="226"/>
                  </a:lnTo>
                  <a:lnTo>
                    <a:pt x="2435" y="226"/>
                  </a:lnTo>
                  <a:lnTo>
                    <a:pt x="2435" y="226"/>
                  </a:lnTo>
                  <a:lnTo>
                    <a:pt x="2440" y="226"/>
                  </a:lnTo>
                  <a:lnTo>
                    <a:pt x="2440" y="226"/>
                  </a:lnTo>
                  <a:lnTo>
                    <a:pt x="2440" y="226"/>
                  </a:lnTo>
                  <a:lnTo>
                    <a:pt x="2449" y="226"/>
                  </a:lnTo>
                  <a:lnTo>
                    <a:pt x="2449" y="226"/>
                  </a:lnTo>
                  <a:lnTo>
                    <a:pt x="2453" y="226"/>
                  </a:lnTo>
                  <a:lnTo>
                    <a:pt x="2453" y="226"/>
                  </a:lnTo>
                  <a:lnTo>
                    <a:pt x="2458" y="231"/>
                  </a:lnTo>
                  <a:lnTo>
                    <a:pt x="2458" y="231"/>
                  </a:lnTo>
                  <a:lnTo>
                    <a:pt x="2462" y="231"/>
                  </a:lnTo>
                  <a:lnTo>
                    <a:pt x="2462" y="235"/>
                  </a:lnTo>
                  <a:lnTo>
                    <a:pt x="2467" y="235"/>
                  </a:lnTo>
                  <a:lnTo>
                    <a:pt x="2467" y="235"/>
                  </a:lnTo>
                  <a:lnTo>
                    <a:pt x="2467" y="240"/>
                  </a:lnTo>
                  <a:lnTo>
                    <a:pt x="2467" y="240"/>
                  </a:lnTo>
                  <a:lnTo>
                    <a:pt x="2467" y="244"/>
                  </a:lnTo>
                  <a:lnTo>
                    <a:pt x="2467" y="244"/>
                  </a:lnTo>
                  <a:lnTo>
                    <a:pt x="2471" y="249"/>
                  </a:lnTo>
                  <a:lnTo>
                    <a:pt x="2471" y="249"/>
                  </a:lnTo>
                  <a:lnTo>
                    <a:pt x="2476" y="249"/>
                  </a:lnTo>
                  <a:lnTo>
                    <a:pt x="2480" y="249"/>
                  </a:lnTo>
                  <a:lnTo>
                    <a:pt x="2480" y="249"/>
                  </a:lnTo>
                  <a:lnTo>
                    <a:pt x="2480" y="244"/>
                  </a:lnTo>
                  <a:lnTo>
                    <a:pt x="2485" y="244"/>
                  </a:lnTo>
                  <a:lnTo>
                    <a:pt x="2485" y="240"/>
                  </a:lnTo>
                  <a:lnTo>
                    <a:pt x="2485" y="240"/>
                  </a:lnTo>
                  <a:lnTo>
                    <a:pt x="2485" y="244"/>
                  </a:lnTo>
                  <a:lnTo>
                    <a:pt x="2485" y="244"/>
                  </a:lnTo>
                  <a:lnTo>
                    <a:pt x="2485" y="244"/>
                  </a:lnTo>
                  <a:lnTo>
                    <a:pt x="2485" y="249"/>
                  </a:lnTo>
                  <a:lnTo>
                    <a:pt x="2485" y="249"/>
                  </a:lnTo>
                  <a:lnTo>
                    <a:pt x="2485" y="249"/>
                  </a:lnTo>
                  <a:lnTo>
                    <a:pt x="2489" y="249"/>
                  </a:lnTo>
                  <a:lnTo>
                    <a:pt x="2489" y="249"/>
                  </a:lnTo>
                  <a:lnTo>
                    <a:pt x="2494" y="249"/>
                  </a:lnTo>
                  <a:lnTo>
                    <a:pt x="2494" y="244"/>
                  </a:lnTo>
                  <a:lnTo>
                    <a:pt x="2494" y="240"/>
                  </a:lnTo>
                  <a:lnTo>
                    <a:pt x="2494" y="240"/>
                  </a:lnTo>
                  <a:lnTo>
                    <a:pt x="2494" y="240"/>
                  </a:lnTo>
                  <a:lnTo>
                    <a:pt x="2494" y="235"/>
                  </a:lnTo>
                  <a:lnTo>
                    <a:pt x="2494" y="235"/>
                  </a:lnTo>
                  <a:lnTo>
                    <a:pt x="2494" y="231"/>
                  </a:lnTo>
                  <a:lnTo>
                    <a:pt x="2494" y="231"/>
                  </a:lnTo>
                  <a:lnTo>
                    <a:pt x="2494" y="231"/>
                  </a:lnTo>
                  <a:lnTo>
                    <a:pt x="2489" y="231"/>
                  </a:lnTo>
                  <a:lnTo>
                    <a:pt x="2489" y="231"/>
                  </a:lnTo>
                  <a:lnTo>
                    <a:pt x="2489" y="231"/>
                  </a:lnTo>
                  <a:lnTo>
                    <a:pt x="2489" y="231"/>
                  </a:lnTo>
                  <a:lnTo>
                    <a:pt x="2489" y="235"/>
                  </a:lnTo>
                  <a:lnTo>
                    <a:pt x="2489" y="231"/>
                  </a:lnTo>
                  <a:lnTo>
                    <a:pt x="2489" y="231"/>
                  </a:lnTo>
                  <a:lnTo>
                    <a:pt x="2489" y="231"/>
                  </a:lnTo>
                  <a:lnTo>
                    <a:pt x="2489" y="226"/>
                  </a:lnTo>
                  <a:lnTo>
                    <a:pt x="2489" y="226"/>
                  </a:lnTo>
                  <a:lnTo>
                    <a:pt x="2494" y="226"/>
                  </a:lnTo>
                  <a:lnTo>
                    <a:pt x="2494" y="226"/>
                  </a:lnTo>
                  <a:lnTo>
                    <a:pt x="2494" y="222"/>
                  </a:lnTo>
                  <a:lnTo>
                    <a:pt x="2489" y="222"/>
                  </a:lnTo>
                  <a:lnTo>
                    <a:pt x="2489" y="222"/>
                  </a:lnTo>
                  <a:lnTo>
                    <a:pt x="2489" y="222"/>
                  </a:lnTo>
                  <a:lnTo>
                    <a:pt x="2485" y="222"/>
                  </a:lnTo>
                  <a:lnTo>
                    <a:pt x="2485" y="217"/>
                  </a:lnTo>
                  <a:lnTo>
                    <a:pt x="2485" y="217"/>
                  </a:lnTo>
                  <a:lnTo>
                    <a:pt x="2480" y="217"/>
                  </a:lnTo>
                  <a:lnTo>
                    <a:pt x="2476" y="217"/>
                  </a:lnTo>
                  <a:lnTo>
                    <a:pt x="2476" y="213"/>
                  </a:lnTo>
                  <a:lnTo>
                    <a:pt x="2471" y="213"/>
                  </a:lnTo>
                  <a:lnTo>
                    <a:pt x="2471" y="213"/>
                  </a:lnTo>
                  <a:lnTo>
                    <a:pt x="2471" y="213"/>
                  </a:lnTo>
                  <a:lnTo>
                    <a:pt x="2467" y="213"/>
                  </a:lnTo>
                  <a:lnTo>
                    <a:pt x="2467" y="213"/>
                  </a:lnTo>
                  <a:lnTo>
                    <a:pt x="2462" y="213"/>
                  </a:lnTo>
                  <a:lnTo>
                    <a:pt x="2467" y="213"/>
                  </a:lnTo>
                  <a:lnTo>
                    <a:pt x="2467" y="208"/>
                  </a:lnTo>
                  <a:lnTo>
                    <a:pt x="2471" y="208"/>
                  </a:lnTo>
                  <a:lnTo>
                    <a:pt x="2471" y="208"/>
                  </a:lnTo>
                  <a:lnTo>
                    <a:pt x="2471" y="204"/>
                  </a:lnTo>
                  <a:lnTo>
                    <a:pt x="2471" y="204"/>
                  </a:lnTo>
                  <a:lnTo>
                    <a:pt x="2471" y="204"/>
                  </a:lnTo>
                  <a:lnTo>
                    <a:pt x="2471" y="204"/>
                  </a:lnTo>
                  <a:lnTo>
                    <a:pt x="2467" y="204"/>
                  </a:lnTo>
                  <a:lnTo>
                    <a:pt x="2467" y="204"/>
                  </a:lnTo>
                  <a:lnTo>
                    <a:pt x="2462" y="204"/>
                  </a:lnTo>
                  <a:lnTo>
                    <a:pt x="2458" y="204"/>
                  </a:lnTo>
                  <a:lnTo>
                    <a:pt x="2453" y="204"/>
                  </a:lnTo>
                  <a:lnTo>
                    <a:pt x="2453" y="204"/>
                  </a:lnTo>
                  <a:lnTo>
                    <a:pt x="2453" y="204"/>
                  </a:lnTo>
                  <a:lnTo>
                    <a:pt x="2449" y="204"/>
                  </a:lnTo>
                  <a:lnTo>
                    <a:pt x="2458" y="204"/>
                  </a:lnTo>
                  <a:lnTo>
                    <a:pt x="2458" y="204"/>
                  </a:lnTo>
                  <a:lnTo>
                    <a:pt x="2458" y="204"/>
                  </a:lnTo>
                  <a:lnTo>
                    <a:pt x="2467" y="199"/>
                  </a:lnTo>
                  <a:lnTo>
                    <a:pt x="2467" y="199"/>
                  </a:lnTo>
                  <a:lnTo>
                    <a:pt x="2471" y="199"/>
                  </a:lnTo>
                  <a:lnTo>
                    <a:pt x="2471" y="199"/>
                  </a:lnTo>
                  <a:lnTo>
                    <a:pt x="2476" y="199"/>
                  </a:lnTo>
                  <a:lnTo>
                    <a:pt x="2476" y="204"/>
                  </a:lnTo>
                  <a:lnTo>
                    <a:pt x="2476" y="208"/>
                  </a:lnTo>
                  <a:lnTo>
                    <a:pt x="2476" y="208"/>
                  </a:lnTo>
                  <a:lnTo>
                    <a:pt x="2480" y="213"/>
                  </a:lnTo>
                  <a:lnTo>
                    <a:pt x="2480" y="213"/>
                  </a:lnTo>
                  <a:lnTo>
                    <a:pt x="2485" y="213"/>
                  </a:lnTo>
                  <a:lnTo>
                    <a:pt x="2489" y="217"/>
                  </a:lnTo>
                  <a:lnTo>
                    <a:pt x="2494" y="217"/>
                  </a:lnTo>
                  <a:lnTo>
                    <a:pt x="2494" y="217"/>
                  </a:lnTo>
                  <a:lnTo>
                    <a:pt x="2494" y="217"/>
                  </a:lnTo>
                  <a:lnTo>
                    <a:pt x="2494" y="213"/>
                  </a:lnTo>
                  <a:lnTo>
                    <a:pt x="2498" y="213"/>
                  </a:lnTo>
                  <a:lnTo>
                    <a:pt x="2498" y="208"/>
                  </a:lnTo>
                  <a:lnTo>
                    <a:pt x="2503" y="208"/>
                  </a:lnTo>
                  <a:lnTo>
                    <a:pt x="2503" y="204"/>
                  </a:lnTo>
                  <a:lnTo>
                    <a:pt x="2498" y="204"/>
                  </a:lnTo>
                  <a:lnTo>
                    <a:pt x="2498" y="199"/>
                  </a:lnTo>
                  <a:lnTo>
                    <a:pt x="2494" y="199"/>
                  </a:lnTo>
                  <a:lnTo>
                    <a:pt x="2494" y="199"/>
                  </a:lnTo>
                  <a:lnTo>
                    <a:pt x="2489" y="199"/>
                  </a:lnTo>
                  <a:lnTo>
                    <a:pt x="2489" y="194"/>
                  </a:lnTo>
                  <a:lnTo>
                    <a:pt x="2485" y="194"/>
                  </a:lnTo>
                  <a:lnTo>
                    <a:pt x="2485" y="194"/>
                  </a:lnTo>
                  <a:lnTo>
                    <a:pt x="2485" y="194"/>
                  </a:lnTo>
                  <a:lnTo>
                    <a:pt x="2476" y="190"/>
                  </a:lnTo>
                  <a:lnTo>
                    <a:pt x="2471" y="194"/>
                  </a:lnTo>
                  <a:lnTo>
                    <a:pt x="2471" y="194"/>
                  </a:lnTo>
                  <a:lnTo>
                    <a:pt x="2467" y="194"/>
                  </a:lnTo>
                  <a:lnTo>
                    <a:pt x="2462" y="194"/>
                  </a:lnTo>
                  <a:lnTo>
                    <a:pt x="2458" y="194"/>
                  </a:lnTo>
                  <a:lnTo>
                    <a:pt x="2458" y="194"/>
                  </a:lnTo>
                  <a:lnTo>
                    <a:pt x="2453" y="199"/>
                  </a:lnTo>
                  <a:lnTo>
                    <a:pt x="2449" y="199"/>
                  </a:lnTo>
                  <a:lnTo>
                    <a:pt x="2449" y="199"/>
                  </a:lnTo>
                  <a:lnTo>
                    <a:pt x="2444" y="199"/>
                  </a:lnTo>
                  <a:lnTo>
                    <a:pt x="2444" y="199"/>
                  </a:lnTo>
                  <a:lnTo>
                    <a:pt x="2444" y="199"/>
                  </a:lnTo>
                  <a:lnTo>
                    <a:pt x="2444" y="199"/>
                  </a:lnTo>
                  <a:lnTo>
                    <a:pt x="2444" y="194"/>
                  </a:lnTo>
                  <a:lnTo>
                    <a:pt x="2444" y="194"/>
                  </a:lnTo>
                  <a:lnTo>
                    <a:pt x="2449" y="194"/>
                  </a:lnTo>
                  <a:lnTo>
                    <a:pt x="2449" y="194"/>
                  </a:lnTo>
                  <a:lnTo>
                    <a:pt x="2453" y="194"/>
                  </a:lnTo>
                  <a:lnTo>
                    <a:pt x="2453" y="194"/>
                  </a:lnTo>
                  <a:lnTo>
                    <a:pt x="2453" y="194"/>
                  </a:lnTo>
                  <a:lnTo>
                    <a:pt x="2458" y="194"/>
                  </a:lnTo>
                  <a:lnTo>
                    <a:pt x="2453" y="194"/>
                  </a:lnTo>
                  <a:lnTo>
                    <a:pt x="2449" y="194"/>
                  </a:lnTo>
                  <a:lnTo>
                    <a:pt x="2449" y="190"/>
                  </a:lnTo>
                  <a:lnTo>
                    <a:pt x="2453" y="194"/>
                  </a:lnTo>
                  <a:lnTo>
                    <a:pt x="2453" y="194"/>
                  </a:lnTo>
                  <a:lnTo>
                    <a:pt x="2458" y="194"/>
                  </a:lnTo>
                  <a:lnTo>
                    <a:pt x="2458" y="194"/>
                  </a:lnTo>
                  <a:lnTo>
                    <a:pt x="2462" y="194"/>
                  </a:lnTo>
                  <a:lnTo>
                    <a:pt x="2462" y="194"/>
                  </a:lnTo>
                  <a:lnTo>
                    <a:pt x="2467" y="194"/>
                  </a:lnTo>
                  <a:lnTo>
                    <a:pt x="2467" y="194"/>
                  </a:lnTo>
                  <a:lnTo>
                    <a:pt x="2471" y="190"/>
                  </a:lnTo>
                  <a:lnTo>
                    <a:pt x="2476" y="190"/>
                  </a:lnTo>
                  <a:lnTo>
                    <a:pt x="2476" y="190"/>
                  </a:lnTo>
                  <a:lnTo>
                    <a:pt x="2476" y="190"/>
                  </a:lnTo>
                  <a:lnTo>
                    <a:pt x="2476" y="190"/>
                  </a:lnTo>
                  <a:lnTo>
                    <a:pt x="2471" y="185"/>
                  </a:lnTo>
                  <a:lnTo>
                    <a:pt x="2471" y="185"/>
                  </a:lnTo>
                  <a:lnTo>
                    <a:pt x="2471" y="185"/>
                  </a:lnTo>
                  <a:lnTo>
                    <a:pt x="2471" y="185"/>
                  </a:lnTo>
                  <a:lnTo>
                    <a:pt x="2471" y="185"/>
                  </a:lnTo>
                  <a:lnTo>
                    <a:pt x="2476" y="185"/>
                  </a:lnTo>
                  <a:lnTo>
                    <a:pt x="2476" y="190"/>
                  </a:lnTo>
                  <a:lnTo>
                    <a:pt x="2476" y="190"/>
                  </a:lnTo>
                  <a:lnTo>
                    <a:pt x="2480" y="190"/>
                  </a:lnTo>
                  <a:lnTo>
                    <a:pt x="2480" y="190"/>
                  </a:lnTo>
                  <a:lnTo>
                    <a:pt x="2480" y="190"/>
                  </a:lnTo>
                  <a:lnTo>
                    <a:pt x="2480" y="185"/>
                  </a:lnTo>
                  <a:lnTo>
                    <a:pt x="2485" y="185"/>
                  </a:lnTo>
                  <a:lnTo>
                    <a:pt x="2489" y="190"/>
                  </a:lnTo>
                  <a:lnTo>
                    <a:pt x="2494" y="194"/>
                  </a:lnTo>
                  <a:lnTo>
                    <a:pt x="2494" y="194"/>
                  </a:lnTo>
                  <a:lnTo>
                    <a:pt x="2503" y="194"/>
                  </a:lnTo>
                  <a:lnTo>
                    <a:pt x="2503" y="194"/>
                  </a:lnTo>
                  <a:lnTo>
                    <a:pt x="2507" y="194"/>
                  </a:lnTo>
                  <a:lnTo>
                    <a:pt x="2512" y="194"/>
                  </a:lnTo>
                  <a:lnTo>
                    <a:pt x="2512" y="194"/>
                  </a:lnTo>
                  <a:lnTo>
                    <a:pt x="2521" y="194"/>
                  </a:lnTo>
                  <a:lnTo>
                    <a:pt x="2521" y="190"/>
                  </a:lnTo>
                  <a:lnTo>
                    <a:pt x="2525" y="190"/>
                  </a:lnTo>
                  <a:lnTo>
                    <a:pt x="2525" y="185"/>
                  </a:lnTo>
                  <a:lnTo>
                    <a:pt x="2525" y="185"/>
                  </a:lnTo>
                  <a:lnTo>
                    <a:pt x="2521" y="185"/>
                  </a:lnTo>
                  <a:lnTo>
                    <a:pt x="2516" y="181"/>
                  </a:lnTo>
                  <a:lnTo>
                    <a:pt x="2507" y="181"/>
                  </a:lnTo>
                  <a:lnTo>
                    <a:pt x="2507" y="181"/>
                  </a:lnTo>
                  <a:lnTo>
                    <a:pt x="2507" y="181"/>
                  </a:lnTo>
                  <a:lnTo>
                    <a:pt x="2507" y="181"/>
                  </a:lnTo>
                  <a:lnTo>
                    <a:pt x="2507" y="181"/>
                  </a:lnTo>
                  <a:lnTo>
                    <a:pt x="2507" y="181"/>
                  </a:lnTo>
                  <a:lnTo>
                    <a:pt x="2507" y="181"/>
                  </a:lnTo>
                  <a:lnTo>
                    <a:pt x="2507" y="176"/>
                  </a:lnTo>
                  <a:lnTo>
                    <a:pt x="2507" y="176"/>
                  </a:lnTo>
                  <a:lnTo>
                    <a:pt x="2507" y="176"/>
                  </a:lnTo>
                  <a:lnTo>
                    <a:pt x="2507" y="176"/>
                  </a:lnTo>
                  <a:lnTo>
                    <a:pt x="2507" y="176"/>
                  </a:lnTo>
                  <a:lnTo>
                    <a:pt x="2512" y="176"/>
                  </a:lnTo>
                  <a:lnTo>
                    <a:pt x="2512" y="176"/>
                  </a:lnTo>
                  <a:lnTo>
                    <a:pt x="2512" y="172"/>
                  </a:lnTo>
                  <a:lnTo>
                    <a:pt x="2512" y="172"/>
                  </a:lnTo>
                  <a:lnTo>
                    <a:pt x="2512" y="172"/>
                  </a:lnTo>
                  <a:lnTo>
                    <a:pt x="2516" y="172"/>
                  </a:lnTo>
                  <a:lnTo>
                    <a:pt x="2512" y="176"/>
                  </a:lnTo>
                  <a:lnTo>
                    <a:pt x="2512" y="176"/>
                  </a:lnTo>
                  <a:lnTo>
                    <a:pt x="2516" y="181"/>
                  </a:lnTo>
                  <a:lnTo>
                    <a:pt x="2521" y="181"/>
                  </a:lnTo>
                  <a:lnTo>
                    <a:pt x="2525" y="181"/>
                  </a:lnTo>
                  <a:lnTo>
                    <a:pt x="2530" y="176"/>
                  </a:lnTo>
                  <a:lnTo>
                    <a:pt x="2530" y="176"/>
                  </a:lnTo>
                  <a:lnTo>
                    <a:pt x="2530" y="176"/>
                  </a:lnTo>
                  <a:lnTo>
                    <a:pt x="2534" y="176"/>
                  </a:lnTo>
                  <a:lnTo>
                    <a:pt x="2539" y="176"/>
                  </a:lnTo>
                  <a:lnTo>
                    <a:pt x="2539" y="176"/>
                  </a:lnTo>
                  <a:lnTo>
                    <a:pt x="2539" y="176"/>
                  </a:lnTo>
                  <a:lnTo>
                    <a:pt x="2539" y="176"/>
                  </a:lnTo>
                  <a:lnTo>
                    <a:pt x="2543" y="176"/>
                  </a:lnTo>
                  <a:lnTo>
                    <a:pt x="2543" y="172"/>
                  </a:lnTo>
                  <a:lnTo>
                    <a:pt x="2543" y="172"/>
                  </a:lnTo>
                  <a:lnTo>
                    <a:pt x="2539" y="172"/>
                  </a:lnTo>
                  <a:lnTo>
                    <a:pt x="2539" y="172"/>
                  </a:lnTo>
                  <a:lnTo>
                    <a:pt x="2539" y="167"/>
                  </a:lnTo>
                  <a:lnTo>
                    <a:pt x="2539" y="163"/>
                  </a:lnTo>
                  <a:lnTo>
                    <a:pt x="2534" y="163"/>
                  </a:lnTo>
                  <a:lnTo>
                    <a:pt x="2534" y="163"/>
                  </a:lnTo>
                  <a:lnTo>
                    <a:pt x="2530" y="167"/>
                  </a:lnTo>
                  <a:lnTo>
                    <a:pt x="2530" y="167"/>
                  </a:lnTo>
                  <a:lnTo>
                    <a:pt x="2525" y="172"/>
                  </a:lnTo>
                  <a:lnTo>
                    <a:pt x="2525" y="172"/>
                  </a:lnTo>
                  <a:lnTo>
                    <a:pt x="2525" y="172"/>
                  </a:lnTo>
                  <a:lnTo>
                    <a:pt x="2525" y="167"/>
                  </a:lnTo>
                  <a:lnTo>
                    <a:pt x="2525" y="167"/>
                  </a:lnTo>
                  <a:lnTo>
                    <a:pt x="2525" y="167"/>
                  </a:lnTo>
                  <a:lnTo>
                    <a:pt x="2530" y="167"/>
                  </a:lnTo>
                  <a:lnTo>
                    <a:pt x="2530" y="163"/>
                  </a:lnTo>
                  <a:lnTo>
                    <a:pt x="2530" y="163"/>
                  </a:lnTo>
                  <a:lnTo>
                    <a:pt x="2525" y="163"/>
                  </a:lnTo>
                  <a:lnTo>
                    <a:pt x="2525" y="163"/>
                  </a:lnTo>
                  <a:lnTo>
                    <a:pt x="2525" y="163"/>
                  </a:lnTo>
                  <a:lnTo>
                    <a:pt x="2521" y="163"/>
                  </a:lnTo>
                  <a:lnTo>
                    <a:pt x="2521" y="163"/>
                  </a:lnTo>
                  <a:lnTo>
                    <a:pt x="2521" y="163"/>
                  </a:lnTo>
                  <a:lnTo>
                    <a:pt x="2516" y="163"/>
                  </a:lnTo>
                  <a:lnTo>
                    <a:pt x="2516" y="163"/>
                  </a:lnTo>
                  <a:lnTo>
                    <a:pt x="2516" y="163"/>
                  </a:lnTo>
                  <a:lnTo>
                    <a:pt x="2516" y="163"/>
                  </a:lnTo>
                  <a:lnTo>
                    <a:pt x="2516" y="163"/>
                  </a:lnTo>
                  <a:lnTo>
                    <a:pt x="2521" y="163"/>
                  </a:lnTo>
                  <a:lnTo>
                    <a:pt x="2521" y="163"/>
                  </a:lnTo>
                  <a:lnTo>
                    <a:pt x="2525" y="163"/>
                  </a:lnTo>
                  <a:lnTo>
                    <a:pt x="2525" y="163"/>
                  </a:lnTo>
                  <a:lnTo>
                    <a:pt x="2530" y="163"/>
                  </a:lnTo>
                  <a:lnTo>
                    <a:pt x="2534" y="158"/>
                  </a:lnTo>
                  <a:lnTo>
                    <a:pt x="2539" y="158"/>
                  </a:lnTo>
                  <a:lnTo>
                    <a:pt x="2539" y="158"/>
                  </a:lnTo>
                  <a:lnTo>
                    <a:pt x="2539" y="158"/>
                  </a:lnTo>
                  <a:lnTo>
                    <a:pt x="2539" y="163"/>
                  </a:lnTo>
                  <a:lnTo>
                    <a:pt x="2543" y="163"/>
                  </a:lnTo>
                  <a:lnTo>
                    <a:pt x="2543" y="158"/>
                  </a:lnTo>
                  <a:lnTo>
                    <a:pt x="2543" y="158"/>
                  </a:lnTo>
                  <a:lnTo>
                    <a:pt x="2543" y="158"/>
                  </a:lnTo>
                  <a:lnTo>
                    <a:pt x="2548" y="158"/>
                  </a:lnTo>
                  <a:lnTo>
                    <a:pt x="2548" y="154"/>
                  </a:lnTo>
                  <a:lnTo>
                    <a:pt x="2548" y="154"/>
                  </a:lnTo>
                  <a:lnTo>
                    <a:pt x="2548" y="154"/>
                  </a:lnTo>
                  <a:lnTo>
                    <a:pt x="2548" y="154"/>
                  </a:lnTo>
                  <a:lnTo>
                    <a:pt x="2548" y="149"/>
                  </a:lnTo>
                  <a:lnTo>
                    <a:pt x="2548" y="149"/>
                  </a:lnTo>
                  <a:lnTo>
                    <a:pt x="2548" y="149"/>
                  </a:lnTo>
                  <a:lnTo>
                    <a:pt x="2543" y="149"/>
                  </a:lnTo>
                  <a:lnTo>
                    <a:pt x="2543" y="145"/>
                  </a:lnTo>
                  <a:lnTo>
                    <a:pt x="2543" y="145"/>
                  </a:lnTo>
                  <a:lnTo>
                    <a:pt x="2543" y="140"/>
                  </a:lnTo>
                  <a:lnTo>
                    <a:pt x="2543" y="140"/>
                  </a:lnTo>
                  <a:lnTo>
                    <a:pt x="2539" y="140"/>
                  </a:lnTo>
                  <a:lnTo>
                    <a:pt x="2539" y="140"/>
                  </a:lnTo>
                  <a:lnTo>
                    <a:pt x="2539" y="140"/>
                  </a:lnTo>
                  <a:lnTo>
                    <a:pt x="2534" y="140"/>
                  </a:lnTo>
                  <a:lnTo>
                    <a:pt x="2534" y="140"/>
                  </a:lnTo>
                  <a:lnTo>
                    <a:pt x="2530" y="140"/>
                  </a:lnTo>
                  <a:lnTo>
                    <a:pt x="2530" y="140"/>
                  </a:lnTo>
                  <a:lnTo>
                    <a:pt x="2530" y="140"/>
                  </a:lnTo>
                  <a:lnTo>
                    <a:pt x="2530" y="136"/>
                  </a:lnTo>
                  <a:lnTo>
                    <a:pt x="2530" y="136"/>
                  </a:lnTo>
                  <a:lnTo>
                    <a:pt x="2525" y="136"/>
                  </a:lnTo>
                  <a:lnTo>
                    <a:pt x="2525" y="136"/>
                  </a:lnTo>
                  <a:lnTo>
                    <a:pt x="2525" y="131"/>
                  </a:lnTo>
                  <a:lnTo>
                    <a:pt x="2521" y="131"/>
                  </a:lnTo>
                  <a:lnTo>
                    <a:pt x="2521" y="131"/>
                  </a:lnTo>
                  <a:lnTo>
                    <a:pt x="2521" y="131"/>
                  </a:lnTo>
                  <a:lnTo>
                    <a:pt x="2521" y="131"/>
                  </a:lnTo>
                  <a:lnTo>
                    <a:pt x="2525" y="131"/>
                  </a:lnTo>
                  <a:lnTo>
                    <a:pt x="2525" y="131"/>
                  </a:lnTo>
                  <a:lnTo>
                    <a:pt x="2530" y="131"/>
                  </a:lnTo>
                  <a:lnTo>
                    <a:pt x="2530" y="131"/>
                  </a:lnTo>
                  <a:lnTo>
                    <a:pt x="2530" y="131"/>
                  </a:lnTo>
                  <a:lnTo>
                    <a:pt x="2539" y="131"/>
                  </a:lnTo>
                  <a:lnTo>
                    <a:pt x="2539" y="127"/>
                  </a:lnTo>
                  <a:lnTo>
                    <a:pt x="2543" y="127"/>
                  </a:lnTo>
                  <a:lnTo>
                    <a:pt x="2548" y="127"/>
                  </a:lnTo>
                  <a:lnTo>
                    <a:pt x="2552" y="127"/>
                  </a:lnTo>
                  <a:lnTo>
                    <a:pt x="2552" y="131"/>
                  </a:lnTo>
                  <a:lnTo>
                    <a:pt x="2557" y="131"/>
                  </a:lnTo>
                  <a:lnTo>
                    <a:pt x="2557" y="131"/>
                  </a:lnTo>
                  <a:lnTo>
                    <a:pt x="2562" y="131"/>
                  </a:lnTo>
                  <a:lnTo>
                    <a:pt x="2562" y="131"/>
                  </a:lnTo>
                  <a:lnTo>
                    <a:pt x="2562" y="131"/>
                  </a:lnTo>
                  <a:lnTo>
                    <a:pt x="2562" y="131"/>
                  </a:lnTo>
                  <a:lnTo>
                    <a:pt x="2566" y="131"/>
                  </a:lnTo>
                  <a:lnTo>
                    <a:pt x="2566" y="127"/>
                  </a:lnTo>
                  <a:lnTo>
                    <a:pt x="2566" y="127"/>
                  </a:lnTo>
                  <a:lnTo>
                    <a:pt x="2566" y="122"/>
                  </a:lnTo>
                  <a:lnTo>
                    <a:pt x="2566" y="122"/>
                  </a:lnTo>
                  <a:lnTo>
                    <a:pt x="2566" y="122"/>
                  </a:lnTo>
                  <a:lnTo>
                    <a:pt x="2566" y="122"/>
                  </a:lnTo>
                  <a:lnTo>
                    <a:pt x="2562" y="122"/>
                  </a:lnTo>
                  <a:lnTo>
                    <a:pt x="2562" y="122"/>
                  </a:lnTo>
                  <a:lnTo>
                    <a:pt x="2557" y="122"/>
                  </a:lnTo>
                  <a:lnTo>
                    <a:pt x="2557" y="122"/>
                  </a:lnTo>
                  <a:lnTo>
                    <a:pt x="2557" y="122"/>
                  </a:lnTo>
                  <a:lnTo>
                    <a:pt x="2552" y="122"/>
                  </a:lnTo>
                  <a:lnTo>
                    <a:pt x="2548" y="118"/>
                  </a:lnTo>
                  <a:lnTo>
                    <a:pt x="2548" y="118"/>
                  </a:lnTo>
                  <a:lnTo>
                    <a:pt x="2548" y="113"/>
                  </a:lnTo>
                  <a:lnTo>
                    <a:pt x="2548" y="113"/>
                  </a:lnTo>
                  <a:lnTo>
                    <a:pt x="2552" y="113"/>
                  </a:lnTo>
                  <a:lnTo>
                    <a:pt x="2557" y="113"/>
                  </a:lnTo>
                  <a:lnTo>
                    <a:pt x="2557" y="118"/>
                  </a:lnTo>
                  <a:lnTo>
                    <a:pt x="2557" y="118"/>
                  </a:lnTo>
                  <a:lnTo>
                    <a:pt x="2562" y="118"/>
                  </a:lnTo>
                  <a:lnTo>
                    <a:pt x="2562" y="113"/>
                  </a:lnTo>
                  <a:lnTo>
                    <a:pt x="2562" y="113"/>
                  </a:lnTo>
                  <a:lnTo>
                    <a:pt x="2562" y="113"/>
                  </a:lnTo>
                  <a:lnTo>
                    <a:pt x="2557" y="113"/>
                  </a:lnTo>
                  <a:lnTo>
                    <a:pt x="2557" y="113"/>
                  </a:lnTo>
                  <a:lnTo>
                    <a:pt x="2552" y="109"/>
                  </a:lnTo>
                  <a:lnTo>
                    <a:pt x="2552" y="109"/>
                  </a:lnTo>
                  <a:lnTo>
                    <a:pt x="2548" y="109"/>
                  </a:lnTo>
                  <a:lnTo>
                    <a:pt x="2543" y="109"/>
                  </a:lnTo>
                  <a:lnTo>
                    <a:pt x="2539" y="113"/>
                  </a:lnTo>
                  <a:lnTo>
                    <a:pt x="2539" y="113"/>
                  </a:lnTo>
                  <a:lnTo>
                    <a:pt x="2539" y="113"/>
                  </a:lnTo>
                  <a:lnTo>
                    <a:pt x="2539" y="113"/>
                  </a:lnTo>
                  <a:lnTo>
                    <a:pt x="2539" y="109"/>
                  </a:lnTo>
                  <a:lnTo>
                    <a:pt x="2543" y="109"/>
                  </a:lnTo>
                  <a:lnTo>
                    <a:pt x="2543" y="104"/>
                  </a:lnTo>
                  <a:lnTo>
                    <a:pt x="2543" y="104"/>
                  </a:lnTo>
                  <a:lnTo>
                    <a:pt x="2548" y="104"/>
                  </a:lnTo>
                  <a:lnTo>
                    <a:pt x="2548" y="100"/>
                  </a:lnTo>
                  <a:lnTo>
                    <a:pt x="2552" y="100"/>
                  </a:lnTo>
                  <a:lnTo>
                    <a:pt x="2552" y="95"/>
                  </a:lnTo>
                  <a:lnTo>
                    <a:pt x="2548" y="95"/>
                  </a:lnTo>
                  <a:lnTo>
                    <a:pt x="2548" y="95"/>
                  </a:lnTo>
                  <a:lnTo>
                    <a:pt x="2557" y="95"/>
                  </a:lnTo>
                  <a:lnTo>
                    <a:pt x="2557" y="90"/>
                  </a:lnTo>
                  <a:lnTo>
                    <a:pt x="2562" y="90"/>
                  </a:lnTo>
                  <a:lnTo>
                    <a:pt x="2562" y="90"/>
                  </a:lnTo>
                  <a:lnTo>
                    <a:pt x="2562" y="90"/>
                  </a:lnTo>
                  <a:lnTo>
                    <a:pt x="2566" y="90"/>
                  </a:lnTo>
                  <a:lnTo>
                    <a:pt x="2566" y="90"/>
                  </a:lnTo>
                  <a:lnTo>
                    <a:pt x="2566" y="90"/>
                  </a:lnTo>
                  <a:lnTo>
                    <a:pt x="2566" y="90"/>
                  </a:lnTo>
                  <a:lnTo>
                    <a:pt x="2566" y="86"/>
                  </a:lnTo>
                  <a:lnTo>
                    <a:pt x="2571" y="86"/>
                  </a:lnTo>
                  <a:lnTo>
                    <a:pt x="2575" y="86"/>
                  </a:lnTo>
                  <a:lnTo>
                    <a:pt x="2575" y="86"/>
                  </a:lnTo>
                  <a:lnTo>
                    <a:pt x="2575" y="86"/>
                  </a:lnTo>
                  <a:lnTo>
                    <a:pt x="2575" y="86"/>
                  </a:lnTo>
                  <a:lnTo>
                    <a:pt x="2575" y="86"/>
                  </a:lnTo>
                  <a:lnTo>
                    <a:pt x="2575" y="81"/>
                  </a:lnTo>
                  <a:lnTo>
                    <a:pt x="2575" y="81"/>
                  </a:lnTo>
                  <a:lnTo>
                    <a:pt x="2571" y="81"/>
                  </a:lnTo>
                  <a:lnTo>
                    <a:pt x="2571" y="81"/>
                  </a:lnTo>
                  <a:lnTo>
                    <a:pt x="2571" y="81"/>
                  </a:lnTo>
                  <a:lnTo>
                    <a:pt x="2571" y="81"/>
                  </a:lnTo>
                  <a:lnTo>
                    <a:pt x="2575" y="77"/>
                  </a:lnTo>
                  <a:lnTo>
                    <a:pt x="2575" y="77"/>
                  </a:lnTo>
                  <a:lnTo>
                    <a:pt x="2575" y="77"/>
                  </a:lnTo>
                  <a:lnTo>
                    <a:pt x="2575" y="77"/>
                  </a:lnTo>
                  <a:lnTo>
                    <a:pt x="2575" y="77"/>
                  </a:lnTo>
                  <a:lnTo>
                    <a:pt x="2575" y="77"/>
                  </a:lnTo>
                  <a:lnTo>
                    <a:pt x="2571" y="77"/>
                  </a:lnTo>
                  <a:lnTo>
                    <a:pt x="2571" y="77"/>
                  </a:lnTo>
                  <a:lnTo>
                    <a:pt x="2566" y="77"/>
                  </a:lnTo>
                  <a:lnTo>
                    <a:pt x="2566" y="72"/>
                  </a:lnTo>
                  <a:lnTo>
                    <a:pt x="2566" y="72"/>
                  </a:lnTo>
                  <a:lnTo>
                    <a:pt x="2566" y="72"/>
                  </a:lnTo>
                  <a:lnTo>
                    <a:pt x="2571" y="72"/>
                  </a:lnTo>
                  <a:lnTo>
                    <a:pt x="2571" y="68"/>
                  </a:lnTo>
                  <a:lnTo>
                    <a:pt x="2571" y="68"/>
                  </a:lnTo>
                  <a:lnTo>
                    <a:pt x="2575" y="68"/>
                  </a:lnTo>
                  <a:lnTo>
                    <a:pt x="2580" y="68"/>
                  </a:lnTo>
                  <a:lnTo>
                    <a:pt x="2580" y="68"/>
                  </a:lnTo>
                  <a:lnTo>
                    <a:pt x="2580" y="68"/>
                  </a:lnTo>
                  <a:lnTo>
                    <a:pt x="2584" y="68"/>
                  </a:lnTo>
                  <a:lnTo>
                    <a:pt x="2589" y="68"/>
                  </a:lnTo>
                  <a:lnTo>
                    <a:pt x="2593" y="68"/>
                  </a:lnTo>
                  <a:lnTo>
                    <a:pt x="2598" y="68"/>
                  </a:lnTo>
                  <a:lnTo>
                    <a:pt x="2598" y="68"/>
                  </a:lnTo>
                  <a:lnTo>
                    <a:pt x="2598" y="68"/>
                  </a:lnTo>
                  <a:lnTo>
                    <a:pt x="2602" y="68"/>
                  </a:lnTo>
                  <a:lnTo>
                    <a:pt x="2607" y="68"/>
                  </a:lnTo>
                  <a:lnTo>
                    <a:pt x="2607" y="63"/>
                  </a:lnTo>
                  <a:lnTo>
                    <a:pt x="2611" y="63"/>
                  </a:lnTo>
                  <a:lnTo>
                    <a:pt x="2611" y="63"/>
                  </a:lnTo>
                  <a:lnTo>
                    <a:pt x="2607" y="63"/>
                  </a:lnTo>
                  <a:lnTo>
                    <a:pt x="2607" y="63"/>
                  </a:lnTo>
                  <a:lnTo>
                    <a:pt x="2602" y="59"/>
                  </a:lnTo>
                  <a:lnTo>
                    <a:pt x="2607" y="59"/>
                  </a:lnTo>
                  <a:lnTo>
                    <a:pt x="2611" y="59"/>
                  </a:lnTo>
                  <a:lnTo>
                    <a:pt x="2616" y="59"/>
                  </a:lnTo>
                  <a:lnTo>
                    <a:pt x="2620" y="59"/>
                  </a:lnTo>
                  <a:lnTo>
                    <a:pt x="2625" y="59"/>
                  </a:lnTo>
                  <a:lnTo>
                    <a:pt x="2629" y="59"/>
                  </a:lnTo>
                  <a:lnTo>
                    <a:pt x="2629" y="54"/>
                  </a:lnTo>
                  <a:lnTo>
                    <a:pt x="2629" y="54"/>
                  </a:lnTo>
                  <a:lnTo>
                    <a:pt x="2629" y="54"/>
                  </a:lnTo>
                  <a:lnTo>
                    <a:pt x="2629" y="54"/>
                  </a:lnTo>
                  <a:lnTo>
                    <a:pt x="2629" y="54"/>
                  </a:lnTo>
                  <a:lnTo>
                    <a:pt x="2629" y="54"/>
                  </a:lnTo>
                  <a:lnTo>
                    <a:pt x="2634" y="54"/>
                  </a:lnTo>
                  <a:lnTo>
                    <a:pt x="2638" y="54"/>
                  </a:lnTo>
                  <a:lnTo>
                    <a:pt x="2643" y="50"/>
                  </a:lnTo>
                  <a:lnTo>
                    <a:pt x="2647" y="50"/>
                  </a:lnTo>
                  <a:lnTo>
                    <a:pt x="2652" y="45"/>
                  </a:lnTo>
                  <a:lnTo>
                    <a:pt x="2656" y="45"/>
                  </a:lnTo>
                  <a:lnTo>
                    <a:pt x="2656" y="45"/>
                  </a:lnTo>
                  <a:lnTo>
                    <a:pt x="2656" y="45"/>
                  </a:lnTo>
                  <a:lnTo>
                    <a:pt x="2656" y="45"/>
                  </a:lnTo>
                  <a:lnTo>
                    <a:pt x="2656" y="41"/>
                  </a:lnTo>
                  <a:lnTo>
                    <a:pt x="2652" y="41"/>
                  </a:lnTo>
                  <a:lnTo>
                    <a:pt x="2652" y="41"/>
                  </a:lnTo>
                  <a:lnTo>
                    <a:pt x="2647" y="41"/>
                  </a:lnTo>
                  <a:lnTo>
                    <a:pt x="2638" y="36"/>
                  </a:lnTo>
                  <a:lnTo>
                    <a:pt x="2634" y="36"/>
                  </a:lnTo>
                  <a:lnTo>
                    <a:pt x="2625" y="36"/>
                  </a:lnTo>
                  <a:lnTo>
                    <a:pt x="2625" y="36"/>
                  </a:lnTo>
                  <a:lnTo>
                    <a:pt x="2625" y="36"/>
                  </a:lnTo>
                  <a:lnTo>
                    <a:pt x="2620" y="36"/>
                  </a:lnTo>
                  <a:lnTo>
                    <a:pt x="2616" y="36"/>
                  </a:lnTo>
                  <a:lnTo>
                    <a:pt x="2616" y="41"/>
                  </a:lnTo>
                  <a:lnTo>
                    <a:pt x="2616" y="41"/>
                  </a:lnTo>
                  <a:lnTo>
                    <a:pt x="2611" y="41"/>
                  </a:lnTo>
                  <a:lnTo>
                    <a:pt x="2611" y="41"/>
                  </a:lnTo>
                  <a:lnTo>
                    <a:pt x="2607" y="45"/>
                  </a:lnTo>
                  <a:lnTo>
                    <a:pt x="2607" y="45"/>
                  </a:lnTo>
                  <a:lnTo>
                    <a:pt x="2602" y="45"/>
                  </a:lnTo>
                  <a:lnTo>
                    <a:pt x="2602" y="45"/>
                  </a:lnTo>
                  <a:lnTo>
                    <a:pt x="2598" y="45"/>
                  </a:lnTo>
                  <a:lnTo>
                    <a:pt x="2598" y="45"/>
                  </a:lnTo>
                  <a:lnTo>
                    <a:pt x="2593" y="41"/>
                  </a:lnTo>
                  <a:lnTo>
                    <a:pt x="2593" y="45"/>
                  </a:lnTo>
                  <a:lnTo>
                    <a:pt x="2589" y="41"/>
                  </a:lnTo>
                  <a:lnTo>
                    <a:pt x="2589" y="41"/>
                  </a:lnTo>
                  <a:lnTo>
                    <a:pt x="2584" y="41"/>
                  </a:lnTo>
                  <a:lnTo>
                    <a:pt x="2580" y="41"/>
                  </a:lnTo>
                  <a:lnTo>
                    <a:pt x="2575" y="45"/>
                  </a:lnTo>
                  <a:lnTo>
                    <a:pt x="2571" y="45"/>
                  </a:lnTo>
                  <a:lnTo>
                    <a:pt x="2571" y="50"/>
                  </a:lnTo>
                  <a:lnTo>
                    <a:pt x="2566" y="50"/>
                  </a:lnTo>
                  <a:lnTo>
                    <a:pt x="2562" y="50"/>
                  </a:lnTo>
                  <a:lnTo>
                    <a:pt x="2557" y="50"/>
                  </a:lnTo>
                  <a:lnTo>
                    <a:pt x="2552" y="54"/>
                  </a:lnTo>
                  <a:lnTo>
                    <a:pt x="2548" y="54"/>
                  </a:lnTo>
                  <a:lnTo>
                    <a:pt x="2548" y="54"/>
                  </a:lnTo>
                  <a:lnTo>
                    <a:pt x="2548" y="54"/>
                  </a:lnTo>
                  <a:lnTo>
                    <a:pt x="2548" y="54"/>
                  </a:lnTo>
                  <a:lnTo>
                    <a:pt x="2548" y="54"/>
                  </a:lnTo>
                  <a:lnTo>
                    <a:pt x="2548" y="54"/>
                  </a:lnTo>
                  <a:lnTo>
                    <a:pt x="2557" y="50"/>
                  </a:lnTo>
                  <a:lnTo>
                    <a:pt x="2557" y="50"/>
                  </a:lnTo>
                  <a:lnTo>
                    <a:pt x="2562" y="45"/>
                  </a:lnTo>
                  <a:lnTo>
                    <a:pt x="2566" y="45"/>
                  </a:lnTo>
                  <a:lnTo>
                    <a:pt x="2566" y="45"/>
                  </a:lnTo>
                  <a:lnTo>
                    <a:pt x="2571" y="41"/>
                  </a:lnTo>
                  <a:lnTo>
                    <a:pt x="2571" y="41"/>
                  </a:lnTo>
                  <a:lnTo>
                    <a:pt x="2575" y="36"/>
                  </a:lnTo>
                  <a:lnTo>
                    <a:pt x="2575" y="36"/>
                  </a:lnTo>
                  <a:lnTo>
                    <a:pt x="2575" y="36"/>
                  </a:lnTo>
                  <a:lnTo>
                    <a:pt x="2575" y="32"/>
                  </a:lnTo>
                  <a:lnTo>
                    <a:pt x="2575" y="32"/>
                  </a:lnTo>
                  <a:lnTo>
                    <a:pt x="2571" y="32"/>
                  </a:lnTo>
                  <a:lnTo>
                    <a:pt x="2562" y="32"/>
                  </a:lnTo>
                  <a:lnTo>
                    <a:pt x="2557" y="32"/>
                  </a:lnTo>
                  <a:lnTo>
                    <a:pt x="2557" y="32"/>
                  </a:lnTo>
                  <a:lnTo>
                    <a:pt x="2557" y="32"/>
                  </a:lnTo>
                  <a:lnTo>
                    <a:pt x="2557" y="32"/>
                  </a:lnTo>
                  <a:lnTo>
                    <a:pt x="2552" y="36"/>
                  </a:lnTo>
                  <a:lnTo>
                    <a:pt x="2552" y="36"/>
                  </a:lnTo>
                  <a:lnTo>
                    <a:pt x="2552" y="36"/>
                  </a:lnTo>
                  <a:lnTo>
                    <a:pt x="2552" y="36"/>
                  </a:lnTo>
                  <a:lnTo>
                    <a:pt x="2543" y="36"/>
                  </a:lnTo>
                  <a:lnTo>
                    <a:pt x="2543" y="36"/>
                  </a:lnTo>
                  <a:lnTo>
                    <a:pt x="2539" y="32"/>
                  </a:lnTo>
                  <a:lnTo>
                    <a:pt x="2521" y="32"/>
                  </a:lnTo>
                  <a:lnTo>
                    <a:pt x="2516" y="32"/>
                  </a:lnTo>
                  <a:lnTo>
                    <a:pt x="2507" y="32"/>
                  </a:lnTo>
                  <a:lnTo>
                    <a:pt x="2498" y="32"/>
                  </a:lnTo>
                  <a:lnTo>
                    <a:pt x="2498" y="32"/>
                  </a:lnTo>
                  <a:lnTo>
                    <a:pt x="2498" y="32"/>
                  </a:lnTo>
                  <a:lnTo>
                    <a:pt x="2498" y="32"/>
                  </a:lnTo>
                  <a:lnTo>
                    <a:pt x="2503" y="27"/>
                  </a:lnTo>
                  <a:lnTo>
                    <a:pt x="2552" y="27"/>
                  </a:lnTo>
                  <a:lnTo>
                    <a:pt x="2562" y="27"/>
                  </a:lnTo>
                  <a:lnTo>
                    <a:pt x="2566" y="27"/>
                  </a:lnTo>
                  <a:lnTo>
                    <a:pt x="2571" y="23"/>
                  </a:lnTo>
                  <a:lnTo>
                    <a:pt x="2575" y="23"/>
                  </a:lnTo>
                  <a:lnTo>
                    <a:pt x="2575" y="23"/>
                  </a:lnTo>
                  <a:lnTo>
                    <a:pt x="2575" y="23"/>
                  </a:lnTo>
                  <a:lnTo>
                    <a:pt x="2575" y="23"/>
                  </a:lnTo>
                  <a:lnTo>
                    <a:pt x="2575" y="18"/>
                  </a:lnTo>
                  <a:lnTo>
                    <a:pt x="2571" y="18"/>
                  </a:lnTo>
                  <a:lnTo>
                    <a:pt x="2562" y="18"/>
                  </a:lnTo>
                  <a:lnTo>
                    <a:pt x="2557" y="18"/>
                  </a:lnTo>
                  <a:lnTo>
                    <a:pt x="2557" y="18"/>
                  </a:lnTo>
                  <a:lnTo>
                    <a:pt x="2557" y="18"/>
                  </a:lnTo>
                  <a:lnTo>
                    <a:pt x="2557" y="18"/>
                  </a:lnTo>
                  <a:lnTo>
                    <a:pt x="2552" y="18"/>
                  </a:lnTo>
                  <a:lnTo>
                    <a:pt x="2552" y="14"/>
                  </a:lnTo>
                  <a:lnTo>
                    <a:pt x="2548" y="9"/>
                  </a:lnTo>
                  <a:lnTo>
                    <a:pt x="2539" y="14"/>
                  </a:lnTo>
                  <a:lnTo>
                    <a:pt x="2534" y="14"/>
                  </a:lnTo>
                  <a:lnTo>
                    <a:pt x="2525" y="14"/>
                  </a:lnTo>
                  <a:lnTo>
                    <a:pt x="2521" y="14"/>
                  </a:lnTo>
                  <a:lnTo>
                    <a:pt x="2512" y="14"/>
                  </a:lnTo>
                  <a:lnTo>
                    <a:pt x="2507" y="14"/>
                  </a:lnTo>
                  <a:lnTo>
                    <a:pt x="2503" y="14"/>
                  </a:lnTo>
                  <a:lnTo>
                    <a:pt x="2494" y="14"/>
                  </a:lnTo>
                  <a:lnTo>
                    <a:pt x="2489" y="14"/>
                  </a:lnTo>
                  <a:lnTo>
                    <a:pt x="2489" y="14"/>
                  </a:lnTo>
                  <a:lnTo>
                    <a:pt x="2489" y="14"/>
                  </a:lnTo>
                  <a:lnTo>
                    <a:pt x="2494" y="14"/>
                  </a:lnTo>
                  <a:lnTo>
                    <a:pt x="2507" y="9"/>
                  </a:lnTo>
                  <a:lnTo>
                    <a:pt x="2530" y="9"/>
                  </a:lnTo>
                  <a:lnTo>
                    <a:pt x="2539" y="9"/>
                  </a:lnTo>
                  <a:lnTo>
                    <a:pt x="2543" y="9"/>
                  </a:lnTo>
                  <a:lnTo>
                    <a:pt x="2543" y="9"/>
                  </a:lnTo>
                  <a:lnTo>
                    <a:pt x="2543" y="9"/>
                  </a:lnTo>
                  <a:lnTo>
                    <a:pt x="2534" y="9"/>
                  </a:lnTo>
                  <a:lnTo>
                    <a:pt x="2530" y="5"/>
                  </a:lnTo>
                  <a:lnTo>
                    <a:pt x="2525" y="5"/>
                  </a:lnTo>
                  <a:lnTo>
                    <a:pt x="2521" y="5"/>
                  </a:lnTo>
                  <a:lnTo>
                    <a:pt x="2521" y="5"/>
                  </a:lnTo>
                  <a:lnTo>
                    <a:pt x="2512" y="5"/>
                  </a:lnTo>
                  <a:lnTo>
                    <a:pt x="2507" y="5"/>
                  </a:lnTo>
                  <a:lnTo>
                    <a:pt x="2485" y="0"/>
                  </a:lnTo>
                  <a:lnTo>
                    <a:pt x="2485" y="0"/>
                  </a:lnTo>
                  <a:lnTo>
                    <a:pt x="2480" y="5"/>
                  </a:lnTo>
                  <a:lnTo>
                    <a:pt x="2476" y="5"/>
                  </a:lnTo>
                  <a:lnTo>
                    <a:pt x="2476" y="5"/>
                  </a:lnTo>
                  <a:lnTo>
                    <a:pt x="2471" y="0"/>
                  </a:lnTo>
                  <a:lnTo>
                    <a:pt x="2471" y="0"/>
                  </a:lnTo>
                  <a:lnTo>
                    <a:pt x="2467" y="5"/>
                  </a:lnTo>
                  <a:lnTo>
                    <a:pt x="2467" y="5"/>
                  </a:lnTo>
                  <a:lnTo>
                    <a:pt x="2453" y="5"/>
                  </a:lnTo>
                  <a:lnTo>
                    <a:pt x="2453" y="5"/>
                  </a:lnTo>
                  <a:lnTo>
                    <a:pt x="2453" y="5"/>
                  </a:lnTo>
                  <a:lnTo>
                    <a:pt x="2453" y="5"/>
                  </a:lnTo>
                  <a:lnTo>
                    <a:pt x="2453" y="5"/>
                  </a:lnTo>
                  <a:lnTo>
                    <a:pt x="2449" y="5"/>
                  </a:lnTo>
                  <a:lnTo>
                    <a:pt x="2449" y="5"/>
                  </a:lnTo>
                  <a:lnTo>
                    <a:pt x="2444" y="5"/>
                  </a:lnTo>
                  <a:lnTo>
                    <a:pt x="2444" y="5"/>
                  </a:lnTo>
                  <a:lnTo>
                    <a:pt x="2444" y="5"/>
                  </a:lnTo>
                  <a:lnTo>
                    <a:pt x="2440" y="5"/>
                  </a:lnTo>
                  <a:lnTo>
                    <a:pt x="2440" y="5"/>
                  </a:lnTo>
                  <a:lnTo>
                    <a:pt x="2440" y="5"/>
                  </a:lnTo>
                  <a:lnTo>
                    <a:pt x="2435" y="5"/>
                  </a:lnTo>
                  <a:lnTo>
                    <a:pt x="2435" y="5"/>
                  </a:lnTo>
                  <a:lnTo>
                    <a:pt x="2435" y="5"/>
                  </a:lnTo>
                  <a:lnTo>
                    <a:pt x="2435" y="5"/>
                  </a:lnTo>
                  <a:lnTo>
                    <a:pt x="2435" y="9"/>
                  </a:lnTo>
                  <a:lnTo>
                    <a:pt x="2440" y="9"/>
                  </a:lnTo>
                  <a:lnTo>
                    <a:pt x="2440" y="9"/>
                  </a:lnTo>
                  <a:lnTo>
                    <a:pt x="2440" y="9"/>
                  </a:lnTo>
                  <a:lnTo>
                    <a:pt x="2440" y="9"/>
                  </a:lnTo>
                  <a:lnTo>
                    <a:pt x="2435" y="14"/>
                  </a:lnTo>
                  <a:lnTo>
                    <a:pt x="2435" y="14"/>
                  </a:lnTo>
                  <a:lnTo>
                    <a:pt x="2435" y="14"/>
                  </a:lnTo>
                  <a:lnTo>
                    <a:pt x="2431" y="9"/>
                  </a:lnTo>
                  <a:lnTo>
                    <a:pt x="2431" y="9"/>
                  </a:lnTo>
                  <a:lnTo>
                    <a:pt x="2426" y="9"/>
                  </a:lnTo>
                  <a:lnTo>
                    <a:pt x="2426" y="5"/>
                  </a:lnTo>
                  <a:lnTo>
                    <a:pt x="2421" y="5"/>
                  </a:lnTo>
                  <a:lnTo>
                    <a:pt x="2417" y="5"/>
                  </a:lnTo>
                  <a:lnTo>
                    <a:pt x="2412" y="9"/>
                  </a:lnTo>
                  <a:lnTo>
                    <a:pt x="2412" y="9"/>
                  </a:lnTo>
                  <a:lnTo>
                    <a:pt x="2408" y="9"/>
                  </a:lnTo>
                  <a:lnTo>
                    <a:pt x="2408" y="9"/>
                  </a:lnTo>
                  <a:lnTo>
                    <a:pt x="2408" y="9"/>
                  </a:lnTo>
                  <a:lnTo>
                    <a:pt x="2403" y="9"/>
                  </a:lnTo>
                  <a:lnTo>
                    <a:pt x="2403" y="9"/>
                  </a:lnTo>
                  <a:lnTo>
                    <a:pt x="2399" y="5"/>
                  </a:lnTo>
                  <a:lnTo>
                    <a:pt x="2399" y="5"/>
                  </a:lnTo>
                  <a:lnTo>
                    <a:pt x="2394" y="5"/>
                  </a:lnTo>
                  <a:lnTo>
                    <a:pt x="2385" y="9"/>
                  </a:lnTo>
                  <a:lnTo>
                    <a:pt x="2381" y="9"/>
                  </a:lnTo>
                  <a:lnTo>
                    <a:pt x="2376" y="9"/>
                  </a:lnTo>
                  <a:lnTo>
                    <a:pt x="2372" y="9"/>
                  </a:lnTo>
                  <a:lnTo>
                    <a:pt x="2372" y="9"/>
                  </a:lnTo>
                  <a:lnTo>
                    <a:pt x="2367" y="9"/>
                  </a:lnTo>
                  <a:lnTo>
                    <a:pt x="2363" y="9"/>
                  </a:lnTo>
                  <a:lnTo>
                    <a:pt x="2367" y="14"/>
                  </a:lnTo>
                  <a:lnTo>
                    <a:pt x="2367" y="14"/>
                  </a:lnTo>
                  <a:lnTo>
                    <a:pt x="2372" y="14"/>
                  </a:lnTo>
                  <a:lnTo>
                    <a:pt x="2376" y="14"/>
                  </a:lnTo>
                  <a:lnTo>
                    <a:pt x="2376" y="14"/>
                  </a:lnTo>
                  <a:lnTo>
                    <a:pt x="2381" y="14"/>
                  </a:lnTo>
                  <a:lnTo>
                    <a:pt x="2403" y="14"/>
                  </a:lnTo>
                  <a:lnTo>
                    <a:pt x="2403" y="14"/>
                  </a:lnTo>
                  <a:lnTo>
                    <a:pt x="2403" y="18"/>
                  </a:lnTo>
                  <a:lnTo>
                    <a:pt x="2399" y="18"/>
                  </a:lnTo>
                  <a:lnTo>
                    <a:pt x="2399" y="18"/>
                  </a:lnTo>
                  <a:lnTo>
                    <a:pt x="2399" y="18"/>
                  </a:lnTo>
                  <a:lnTo>
                    <a:pt x="2399" y="18"/>
                  </a:lnTo>
                  <a:lnTo>
                    <a:pt x="2394" y="14"/>
                  </a:lnTo>
                  <a:lnTo>
                    <a:pt x="2372" y="14"/>
                  </a:lnTo>
                  <a:lnTo>
                    <a:pt x="2372" y="14"/>
                  </a:lnTo>
                  <a:lnTo>
                    <a:pt x="2367" y="14"/>
                  </a:lnTo>
                  <a:lnTo>
                    <a:pt x="2367" y="14"/>
                  </a:lnTo>
                  <a:lnTo>
                    <a:pt x="2376" y="18"/>
                  </a:lnTo>
                  <a:lnTo>
                    <a:pt x="2376" y="18"/>
                  </a:lnTo>
                  <a:lnTo>
                    <a:pt x="2376" y="23"/>
                  </a:lnTo>
                  <a:lnTo>
                    <a:pt x="2372" y="23"/>
                  </a:lnTo>
                  <a:lnTo>
                    <a:pt x="2372" y="23"/>
                  </a:lnTo>
                  <a:lnTo>
                    <a:pt x="2367" y="27"/>
                  </a:lnTo>
                  <a:lnTo>
                    <a:pt x="2367" y="27"/>
                  </a:lnTo>
                  <a:lnTo>
                    <a:pt x="2367" y="32"/>
                  </a:lnTo>
                  <a:lnTo>
                    <a:pt x="2367" y="32"/>
                  </a:lnTo>
                  <a:lnTo>
                    <a:pt x="2367" y="32"/>
                  </a:lnTo>
                  <a:lnTo>
                    <a:pt x="2363" y="32"/>
                  </a:lnTo>
                  <a:lnTo>
                    <a:pt x="2363" y="32"/>
                  </a:lnTo>
                  <a:lnTo>
                    <a:pt x="2363" y="32"/>
                  </a:lnTo>
                  <a:lnTo>
                    <a:pt x="2358" y="32"/>
                  </a:lnTo>
                  <a:lnTo>
                    <a:pt x="2349" y="27"/>
                  </a:lnTo>
                  <a:lnTo>
                    <a:pt x="2345" y="23"/>
                  </a:lnTo>
                  <a:lnTo>
                    <a:pt x="2336" y="18"/>
                  </a:lnTo>
                  <a:lnTo>
                    <a:pt x="2327" y="18"/>
                  </a:lnTo>
                  <a:lnTo>
                    <a:pt x="2322" y="18"/>
                  </a:lnTo>
                  <a:lnTo>
                    <a:pt x="2318" y="18"/>
                  </a:lnTo>
                  <a:lnTo>
                    <a:pt x="2318" y="18"/>
                  </a:lnTo>
                  <a:lnTo>
                    <a:pt x="2318" y="23"/>
                  </a:lnTo>
                  <a:lnTo>
                    <a:pt x="2318" y="27"/>
                  </a:lnTo>
                  <a:lnTo>
                    <a:pt x="2322" y="27"/>
                  </a:lnTo>
                  <a:lnTo>
                    <a:pt x="2322" y="27"/>
                  </a:lnTo>
                  <a:lnTo>
                    <a:pt x="2322" y="27"/>
                  </a:lnTo>
                  <a:lnTo>
                    <a:pt x="2322" y="27"/>
                  </a:lnTo>
                  <a:lnTo>
                    <a:pt x="2318" y="27"/>
                  </a:lnTo>
                  <a:lnTo>
                    <a:pt x="2313" y="27"/>
                  </a:lnTo>
                  <a:lnTo>
                    <a:pt x="2309" y="27"/>
                  </a:lnTo>
                  <a:lnTo>
                    <a:pt x="2304" y="27"/>
                  </a:lnTo>
                  <a:lnTo>
                    <a:pt x="2300" y="23"/>
                  </a:lnTo>
                  <a:lnTo>
                    <a:pt x="2300" y="23"/>
                  </a:lnTo>
                  <a:lnTo>
                    <a:pt x="2295" y="23"/>
                  </a:lnTo>
                  <a:lnTo>
                    <a:pt x="2295" y="23"/>
                  </a:lnTo>
                  <a:lnTo>
                    <a:pt x="2295" y="27"/>
                  </a:lnTo>
                  <a:lnTo>
                    <a:pt x="2295" y="27"/>
                  </a:lnTo>
                  <a:lnTo>
                    <a:pt x="2290" y="27"/>
                  </a:lnTo>
                  <a:lnTo>
                    <a:pt x="2290" y="32"/>
                  </a:lnTo>
                  <a:lnTo>
                    <a:pt x="2286" y="32"/>
                  </a:lnTo>
                  <a:lnTo>
                    <a:pt x="2286" y="32"/>
                  </a:lnTo>
                  <a:lnTo>
                    <a:pt x="2286" y="32"/>
                  </a:lnTo>
                  <a:lnTo>
                    <a:pt x="2286" y="32"/>
                  </a:lnTo>
                  <a:lnTo>
                    <a:pt x="2286" y="32"/>
                  </a:lnTo>
                  <a:lnTo>
                    <a:pt x="2290" y="27"/>
                  </a:lnTo>
                  <a:lnTo>
                    <a:pt x="2290" y="23"/>
                  </a:lnTo>
                  <a:lnTo>
                    <a:pt x="2290" y="23"/>
                  </a:lnTo>
                  <a:lnTo>
                    <a:pt x="2290" y="23"/>
                  </a:lnTo>
                  <a:lnTo>
                    <a:pt x="2286" y="18"/>
                  </a:lnTo>
                  <a:lnTo>
                    <a:pt x="2286" y="18"/>
                  </a:lnTo>
                  <a:lnTo>
                    <a:pt x="2286" y="18"/>
                  </a:lnTo>
                  <a:lnTo>
                    <a:pt x="2277" y="23"/>
                  </a:lnTo>
                  <a:lnTo>
                    <a:pt x="2277" y="23"/>
                  </a:lnTo>
                  <a:lnTo>
                    <a:pt x="2277" y="23"/>
                  </a:lnTo>
                  <a:lnTo>
                    <a:pt x="2268" y="23"/>
                  </a:lnTo>
                  <a:lnTo>
                    <a:pt x="2268" y="23"/>
                  </a:lnTo>
                  <a:lnTo>
                    <a:pt x="2254" y="23"/>
                  </a:lnTo>
                  <a:lnTo>
                    <a:pt x="2245" y="23"/>
                  </a:lnTo>
                  <a:lnTo>
                    <a:pt x="2241" y="23"/>
                  </a:lnTo>
                  <a:lnTo>
                    <a:pt x="2241" y="27"/>
                  </a:lnTo>
                  <a:lnTo>
                    <a:pt x="2241" y="27"/>
                  </a:lnTo>
                  <a:lnTo>
                    <a:pt x="2245" y="27"/>
                  </a:lnTo>
                  <a:lnTo>
                    <a:pt x="2245" y="27"/>
                  </a:lnTo>
                  <a:lnTo>
                    <a:pt x="2245" y="32"/>
                  </a:lnTo>
                  <a:lnTo>
                    <a:pt x="2250" y="32"/>
                  </a:lnTo>
                  <a:lnTo>
                    <a:pt x="2250" y="36"/>
                  </a:lnTo>
                  <a:lnTo>
                    <a:pt x="2254" y="36"/>
                  </a:lnTo>
                  <a:lnTo>
                    <a:pt x="2254" y="36"/>
                  </a:lnTo>
                  <a:lnTo>
                    <a:pt x="2250" y="36"/>
                  </a:lnTo>
                  <a:lnTo>
                    <a:pt x="2250" y="36"/>
                  </a:lnTo>
                  <a:lnTo>
                    <a:pt x="2250" y="36"/>
                  </a:lnTo>
                  <a:lnTo>
                    <a:pt x="2250" y="32"/>
                  </a:lnTo>
                  <a:lnTo>
                    <a:pt x="2245" y="32"/>
                  </a:lnTo>
                  <a:lnTo>
                    <a:pt x="2245" y="32"/>
                  </a:lnTo>
                  <a:lnTo>
                    <a:pt x="2241" y="32"/>
                  </a:lnTo>
                  <a:lnTo>
                    <a:pt x="2241" y="27"/>
                  </a:lnTo>
                  <a:lnTo>
                    <a:pt x="2236" y="27"/>
                  </a:lnTo>
                  <a:lnTo>
                    <a:pt x="2236" y="27"/>
                  </a:lnTo>
                  <a:lnTo>
                    <a:pt x="2232" y="27"/>
                  </a:lnTo>
                  <a:lnTo>
                    <a:pt x="2232" y="27"/>
                  </a:lnTo>
                  <a:lnTo>
                    <a:pt x="2227" y="27"/>
                  </a:lnTo>
                  <a:lnTo>
                    <a:pt x="2223" y="27"/>
                  </a:lnTo>
                  <a:lnTo>
                    <a:pt x="2223" y="27"/>
                  </a:lnTo>
                  <a:lnTo>
                    <a:pt x="2218" y="27"/>
                  </a:lnTo>
                  <a:lnTo>
                    <a:pt x="2218" y="27"/>
                  </a:lnTo>
                  <a:lnTo>
                    <a:pt x="2218" y="32"/>
                  </a:lnTo>
                  <a:lnTo>
                    <a:pt x="2214" y="32"/>
                  </a:lnTo>
                  <a:lnTo>
                    <a:pt x="2214" y="36"/>
                  </a:lnTo>
                  <a:lnTo>
                    <a:pt x="2209" y="36"/>
                  </a:lnTo>
                  <a:lnTo>
                    <a:pt x="2209" y="36"/>
                  </a:lnTo>
                  <a:lnTo>
                    <a:pt x="2205" y="41"/>
                  </a:lnTo>
                  <a:lnTo>
                    <a:pt x="2205" y="41"/>
                  </a:lnTo>
                  <a:lnTo>
                    <a:pt x="2205" y="41"/>
                  </a:lnTo>
                  <a:lnTo>
                    <a:pt x="2205" y="41"/>
                  </a:lnTo>
                  <a:lnTo>
                    <a:pt x="2200" y="36"/>
                  </a:lnTo>
                  <a:lnTo>
                    <a:pt x="2200" y="36"/>
                  </a:lnTo>
                  <a:lnTo>
                    <a:pt x="2196" y="36"/>
                  </a:lnTo>
                  <a:lnTo>
                    <a:pt x="2196" y="36"/>
                  </a:lnTo>
                  <a:lnTo>
                    <a:pt x="2196" y="36"/>
                  </a:lnTo>
                  <a:lnTo>
                    <a:pt x="2191" y="36"/>
                  </a:lnTo>
                  <a:lnTo>
                    <a:pt x="2191" y="41"/>
                  </a:lnTo>
                  <a:lnTo>
                    <a:pt x="2187" y="41"/>
                  </a:lnTo>
                  <a:lnTo>
                    <a:pt x="2187" y="41"/>
                  </a:lnTo>
                  <a:lnTo>
                    <a:pt x="2187" y="45"/>
                  </a:lnTo>
                  <a:lnTo>
                    <a:pt x="2187" y="41"/>
                  </a:lnTo>
                  <a:lnTo>
                    <a:pt x="2187" y="41"/>
                  </a:lnTo>
                  <a:lnTo>
                    <a:pt x="2187" y="41"/>
                  </a:lnTo>
                  <a:lnTo>
                    <a:pt x="2182" y="41"/>
                  </a:lnTo>
                  <a:lnTo>
                    <a:pt x="2178" y="41"/>
                  </a:lnTo>
                  <a:lnTo>
                    <a:pt x="2173" y="41"/>
                  </a:lnTo>
                  <a:lnTo>
                    <a:pt x="2168" y="45"/>
                  </a:lnTo>
                  <a:lnTo>
                    <a:pt x="2164" y="45"/>
                  </a:lnTo>
                  <a:lnTo>
                    <a:pt x="2159" y="45"/>
                  </a:lnTo>
                  <a:lnTo>
                    <a:pt x="2159" y="45"/>
                  </a:lnTo>
                  <a:lnTo>
                    <a:pt x="2159" y="45"/>
                  </a:lnTo>
                  <a:lnTo>
                    <a:pt x="2155" y="45"/>
                  </a:lnTo>
                  <a:lnTo>
                    <a:pt x="2155" y="45"/>
                  </a:lnTo>
                  <a:lnTo>
                    <a:pt x="2150" y="50"/>
                  </a:lnTo>
                  <a:lnTo>
                    <a:pt x="2146" y="50"/>
                  </a:lnTo>
                  <a:lnTo>
                    <a:pt x="2146" y="50"/>
                  </a:lnTo>
                  <a:lnTo>
                    <a:pt x="2141" y="54"/>
                  </a:lnTo>
                  <a:lnTo>
                    <a:pt x="2141" y="54"/>
                  </a:lnTo>
                  <a:lnTo>
                    <a:pt x="2141" y="54"/>
                  </a:lnTo>
                  <a:lnTo>
                    <a:pt x="2141" y="54"/>
                  </a:lnTo>
                  <a:lnTo>
                    <a:pt x="2141" y="54"/>
                  </a:lnTo>
                  <a:lnTo>
                    <a:pt x="2141" y="54"/>
                  </a:lnTo>
                  <a:lnTo>
                    <a:pt x="2146" y="54"/>
                  </a:lnTo>
                  <a:lnTo>
                    <a:pt x="2146" y="54"/>
                  </a:lnTo>
                  <a:lnTo>
                    <a:pt x="2146" y="59"/>
                  </a:lnTo>
                  <a:lnTo>
                    <a:pt x="2150" y="59"/>
                  </a:lnTo>
                  <a:lnTo>
                    <a:pt x="2150" y="59"/>
                  </a:lnTo>
                  <a:lnTo>
                    <a:pt x="2155" y="54"/>
                  </a:lnTo>
                  <a:lnTo>
                    <a:pt x="2155" y="54"/>
                  </a:lnTo>
                  <a:lnTo>
                    <a:pt x="2155" y="54"/>
                  </a:lnTo>
                  <a:lnTo>
                    <a:pt x="2159" y="54"/>
                  </a:lnTo>
                  <a:lnTo>
                    <a:pt x="2164" y="54"/>
                  </a:lnTo>
                  <a:lnTo>
                    <a:pt x="2164" y="54"/>
                  </a:lnTo>
                  <a:lnTo>
                    <a:pt x="2164" y="54"/>
                  </a:lnTo>
                  <a:lnTo>
                    <a:pt x="2164" y="54"/>
                  </a:lnTo>
                  <a:lnTo>
                    <a:pt x="2164" y="54"/>
                  </a:lnTo>
                  <a:lnTo>
                    <a:pt x="2159" y="59"/>
                  </a:lnTo>
                  <a:lnTo>
                    <a:pt x="2159" y="59"/>
                  </a:lnTo>
                  <a:lnTo>
                    <a:pt x="2159" y="59"/>
                  </a:lnTo>
                  <a:lnTo>
                    <a:pt x="2155" y="59"/>
                  </a:lnTo>
                  <a:lnTo>
                    <a:pt x="2155" y="59"/>
                  </a:lnTo>
                  <a:lnTo>
                    <a:pt x="2150" y="63"/>
                  </a:lnTo>
                  <a:lnTo>
                    <a:pt x="2146" y="63"/>
                  </a:lnTo>
                  <a:lnTo>
                    <a:pt x="2141" y="68"/>
                  </a:lnTo>
                  <a:lnTo>
                    <a:pt x="2141" y="68"/>
                  </a:lnTo>
                  <a:lnTo>
                    <a:pt x="2137" y="72"/>
                  </a:lnTo>
                  <a:lnTo>
                    <a:pt x="2132" y="72"/>
                  </a:lnTo>
                  <a:lnTo>
                    <a:pt x="2132" y="72"/>
                  </a:lnTo>
                  <a:lnTo>
                    <a:pt x="2132" y="72"/>
                  </a:lnTo>
                  <a:lnTo>
                    <a:pt x="2128" y="72"/>
                  </a:lnTo>
                  <a:lnTo>
                    <a:pt x="2128" y="72"/>
                  </a:lnTo>
                  <a:lnTo>
                    <a:pt x="2119" y="72"/>
                  </a:lnTo>
                  <a:lnTo>
                    <a:pt x="2119" y="72"/>
                  </a:lnTo>
                  <a:lnTo>
                    <a:pt x="2114" y="72"/>
                  </a:lnTo>
                  <a:lnTo>
                    <a:pt x="2114" y="72"/>
                  </a:lnTo>
                  <a:lnTo>
                    <a:pt x="2110" y="72"/>
                  </a:lnTo>
                  <a:lnTo>
                    <a:pt x="2110" y="72"/>
                  </a:lnTo>
                  <a:lnTo>
                    <a:pt x="2101" y="72"/>
                  </a:lnTo>
                  <a:lnTo>
                    <a:pt x="2101" y="77"/>
                  </a:lnTo>
                  <a:lnTo>
                    <a:pt x="2101" y="77"/>
                  </a:lnTo>
                  <a:lnTo>
                    <a:pt x="2101" y="77"/>
                  </a:lnTo>
                  <a:lnTo>
                    <a:pt x="2101" y="77"/>
                  </a:lnTo>
                  <a:lnTo>
                    <a:pt x="2101" y="77"/>
                  </a:lnTo>
                  <a:lnTo>
                    <a:pt x="2087" y="77"/>
                  </a:lnTo>
                  <a:lnTo>
                    <a:pt x="2083" y="77"/>
                  </a:lnTo>
                  <a:lnTo>
                    <a:pt x="2083" y="77"/>
                  </a:lnTo>
                  <a:lnTo>
                    <a:pt x="2078" y="77"/>
                  </a:lnTo>
                  <a:lnTo>
                    <a:pt x="2078" y="81"/>
                  </a:lnTo>
                  <a:lnTo>
                    <a:pt x="2074" y="77"/>
                  </a:lnTo>
                  <a:lnTo>
                    <a:pt x="2074" y="77"/>
                  </a:lnTo>
                  <a:lnTo>
                    <a:pt x="2069" y="81"/>
                  </a:lnTo>
                  <a:lnTo>
                    <a:pt x="2065" y="81"/>
                  </a:lnTo>
                  <a:lnTo>
                    <a:pt x="2060" y="81"/>
                  </a:lnTo>
                  <a:lnTo>
                    <a:pt x="2060" y="81"/>
                  </a:lnTo>
                  <a:lnTo>
                    <a:pt x="2056" y="81"/>
                  </a:lnTo>
                  <a:lnTo>
                    <a:pt x="2056" y="81"/>
                  </a:lnTo>
                  <a:lnTo>
                    <a:pt x="2056" y="86"/>
                  </a:lnTo>
                  <a:lnTo>
                    <a:pt x="2056" y="86"/>
                  </a:lnTo>
                  <a:lnTo>
                    <a:pt x="2056" y="86"/>
                  </a:lnTo>
                  <a:lnTo>
                    <a:pt x="2051" y="86"/>
                  </a:lnTo>
                  <a:lnTo>
                    <a:pt x="2051" y="86"/>
                  </a:lnTo>
                  <a:lnTo>
                    <a:pt x="2051" y="90"/>
                  </a:lnTo>
                  <a:lnTo>
                    <a:pt x="2056" y="90"/>
                  </a:lnTo>
                  <a:lnTo>
                    <a:pt x="2056" y="90"/>
                  </a:lnTo>
                  <a:lnTo>
                    <a:pt x="2056" y="90"/>
                  </a:lnTo>
                  <a:lnTo>
                    <a:pt x="2056" y="90"/>
                  </a:lnTo>
                  <a:lnTo>
                    <a:pt x="2060" y="90"/>
                  </a:lnTo>
                  <a:lnTo>
                    <a:pt x="2060" y="95"/>
                  </a:lnTo>
                  <a:lnTo>
                    <a:pt x="2060" y="95"/>
                  </a:lnTo>
                  <a:lnTo>
                    <a:pt x="2060" y="95"/>
                  </a:lnTo>
                  <a:lnTo>
                    <a:pt x="2065" y="95"/>
                  </a:lnTo>
                  <a:lnTo>
                    <a:pt x="2065" y="95"/>
                  </a:lnTo>
                  <a:lnTo>
                    <a:pt x="2069" y="95"/>
                  </a:lnTo>
                  <a:lnTo>
                    <a:pt x="2069" y="95"/>
                  </a:lnTo>
                  <a:lnTo>
                    <a:pt x="2069" y="95"/>
                  </a:lnTo>
                  <a:lnTo>
                    <a:pt x="2069" y="95"/>
                  </a:lnTo>
                  <a:lnTo>
                    <a:pt x="2065" y="95"/>
                  </a:lnTo>
                  <a:lnTo>
                    <a:pt x="2065" y="95"/>
                  </a:lnTo>
                  <a:lnTo>
                    <a:pt x="2065" y="95"/>
                  </a:lnTo>
                  <a:lnTo>
                    <a:pt x="2069" y="100"/>
                  </a:lnTo>
                  <a:lnTo>
                    <a:pt x="2065" y="100"/>
                  </a:lnTo>
                  <a:lnTo>
                    <a:pt x="2069" y="100"/>
                  </a:lnTo>
                  <a:lnTo>
                    <a:pt x="2074" y="100"/>
                  </a:lnTo>
                  <a:lnTo>
                    <a:pt x="2074" y="100"/>
                  </a:lnTo>
                  <a:lnTo>
                    <a:pt x="2074" y="100"/>
                  </a:lnTo>
                  <a:lnTo>
                    <a:pt x="2074" y="100"/>
                  </a:lnTo>
                  <a:lnTo>
                    <a:pt x="2078" y="100"/>
                  </a:lnTo>
                  <a:lnTo>
                    <a:pt x="2078" y="100"/>
                  </a:lnTo>
                  <a:lnTo>
                    <a:pt x="2083" y="100"/>
                  </a:lnTo>
                  <a:lnTo>
                    <a:pt x="2083" y="100"/>
                  </a:lnTo>
                  <a:lnTo>
                    <a:pt x="2083" y="100"/>
                  </a:lnTo>
                  <a:lnTo>
                    <a:pt x="2083" y="100"/>
                  </a:lnTo>
                  <a:lnTo>
                    <a:pt x="2087" y="100"/>
                  </a:lnTo>
                  <a:lnTo>
                    <a:pt x="2087" y="100"/>
                  </a:lnTo>
                  <a:lnTo>
                    <a:pt x="2092" y="100"/>
                  </a:lnTo>
                  <a:lnTo>
                    <a:pt x="2096" y="100"/>
                  </a:lnTo>
                  <a:lnTo>
                    <a:pt x="2096" y="100"/>
                  </a:lnTo>
                  <a:lnTo>
                    <a:pt x="2101" y="100"/>
                  </a:lnTo>
                  <a:lnTo>
                    <a:pt x="2101" y="100"/>
                  </a:lnTo>
                  <a:lnTo>
                    <a:pt x="2101" y="100"/>
                  </a:lnTo>
                  <a:lnTo>
                    <a:pt x="2101" y="100"/>
                  </a:lnTo>
                  <a:lnTo>
                    <a:pt x="2101" y="100"/>
                  </a:lnTo>
                  <a:lnTo>
                    <a:pt x="2101" y="104"/>
                  </a:lnTo>
                  <a:lnTo>
                    <a:pt x="2096" y="104"/>
                  </a:lnTo>
                  <a:lnTo>
                    <a:pt x="2096" y="104"/>
                  </a:lnTo>
                  <a:lnTo>
                    <a:pt x="2096" y="104"/>
                  </a:lnTo>
                  <a:lnTo>
                    <a:pt x="2096" y="104"/>
                  </a:lnTo>
                  <a:lnTo>
                    <a:pt x="2096" y="104"/>
                  </a:lnTo>
                  <a:lnTo>
                    <a:pt x="2092" y="104"/>
                  </a:lnTo>
                  <a:lnTo>
                    <a:pt x="2087" y="104"/>
                  </a:lnTo>
                  <a:lnTo>
                    <a:pt x="2083" y="104"/>
                  </a:lnTo>
                  <a:lnTo>
                    <a:pt x="2078" y="104"/>
                  </a:lnTo>
                  <a:lnTo>
                    <a:pt x="2074" y="104"/>
                  </a:lnTo>
                  <a:lnTo>
                    <a:pt x="2069" y="104"/>
                  </a:lnTo>
                  <a:lnTo>
                    <a:pt x="2065" y="104"/>
                  </a:lnTo>
                  <a:lnTo>
                    <a:pt x="2056" y="104"/>
                  </a:lnTo>
                  <a:lnTo>
                    <a:pt x="2051" y="104"/>
                  </a:lnTo>
                  <a:lnTo>
                    <a:pt x="2051" y="104"/>
                  </a:lnTo>
                  <a:lnTo>
                    <a:pt x="2051" y="104"/>
                  </a:lnTo>
                  <a:lnTo>
                    <a:pt x="2047" y="109"/>
                  </a:lnTo>
                  <a:lnTo>
                    <a:pt x="2047" y="109"/>
                  </a:lnTo>
                  <a:lnTo>
                    <a:pt x="2047" y="109"/>
                  </a:lnTo>
                  <a:lnTo>
                    <a:pt x="2051" y="109"/>
                  </a:lnTo>
                  <a:lnTo>
                    <a:pt x="2047" y="109"/>
                  </a:lnTo>
                  <a:lnTo>
                    <a:pt x="2047" y="109"/>
                  </a:lnTo>
                  <a:lnTo>
                    <a:pt x="2047" y="109"/>
                  </a:lnTo>
                  <a:lnTo>
                    <a:pt x="2047" y="113"/>
                  </a:lnTo>
                  <a:lnTo>
                    <a:pt x="2047" y="113"/>
                  </a:lnTo>
                  <a:lnTo>
                    <a:pt x="2051" y="113"/>
                  </a:lnTo>
                  <a:lnTo>
                    <a:pt x="2051" y="113"/>
                  </a:lnTo>
                  <a:lnTo>
                    <a:pt x="2060" y="109"/>
                  </a:lnTo>
                  <a:lnTo>
                    <a:pt x="2060" y="109"/>
                  </a:lnTo>
                  <a:lnTo>
                    <a:pt x="2060" y="109"/>
                  </a:lnTo>
                  <a:lnTo>
                    <a:pt x="2056" y="113"/>
                  </a:lnTo>
                  <a:lnTo>
                    <a:pt x="2056" y="113"/>
                  </a:lnTo>
                  <a:lnTo>
                    <a:pt x="2056" y="113"/>
                  </a:lnTo>
                  <a:lnTo>
                    <a:pt x="2056" y="113"/>
                  </a:lnTo>
                  <a:lnTo>
                    <a:pt x="2056" y="113"/>
                  </a:lnTo>
                  <a:lnTo>
                    <a:pt x="2060" y="113"/>
                  </a:lnTo>
                  <a:lnTo>
                    <a:pt x="2065" y="113"/>
                  </a:lnTo>
                  <a:lnTo>
                    <a:pt x="2069" y="113"/>
                  </a:lnTo>
                  <a:lnTo>
                    <a:pt x="2069" y="118"/>
                  </a:lnTo>
                  <a:lnTo>
                    <a:pt x="2069" y="118"/>
                  </a:lnTo>
                  <a:lnTo>
                    <a:pt x="2069" y="118"/>
                  </a:lnTo>
                  <a:lnTo>
                    <a:pt x="2065" y="118"/>
                  </a:lnTo>
                  <a:lnTo>
                    <a:pt x="2060" y="118"/>
                  </a:lnTo>
                  <a:lnTo>
                    <a:pt x="2056" y="118"/>
                  </a:lnTo>
                  <a:lnTo>
                    <a:pt x="2051" y="118"/>
                  </a:lnTo>
                  <a:lnTo>
                    <a:pt x="2051" y="122"/>
                  </a:lnTo>
                  <a:lnTo>
                    <a:pt x="2051" y="122"/>
                  </a:lnTo>
                  <a:lnTo>
                    <a:pt x="2056" y="122"/>
                  </a:lnTo>
                  <a:lnTo>
                    <a:pt x="2056" y="122"/>
                  </a:lnTo>
                  <a:lnTo>
                    <a:pt x="2056" y="127"/>
                  </a:lnTo>
                  <a:lnTo>
                    <a:pt x="2060" y="127"/>
                  </a:lnTo>
                  <a:lnTo>
                    <a:pt x="2060" y="127"/>
                  </a:lnTo>
                  <a:lnTo>
                    <a:pt x="2069" y="127"/>
                  </a:lnTo>
                  <a:lnTo>
                    <a:pt x="2074" y="127"/>
                  </a:lnTo>
                  <a:lnTo>
                    <a:pt x="2074" y="127"/>
                  </a:lnTo>
                  <a:lnTo>
                    <a:pt x="2074" y="127"/>
                  </a:lnTo>
                  <a:lnTo>
                    <a:pt x="2074" y="127"/>
                  </a:lnTo>
                  <a:lnTo>
                    <a:pt x="2074" y="122"/>
                  </a:lnTo>
                  <a:lnTo>
                    <a:pt x="2074" y="122"/>
                  </a:lnTo>
                  <a:lnTo>
                    <a:pt x="2078" y="127"/>
                  </a:lnTo>
                  <a:lnTo>
                    <a:pt x="2078" y="127"/>
                  </a:lnTo>
                  <a:lnTo>
                    <a:pt x="2078" y="127"/>
                  </a:lnTo>
                  <a:lnTo>
                    <a:pt x="2078" y="127"/>
                  </a:lnTo>
                  <a:lnTo>
                    <a:pt x="2083" y="127"/>
                  </a:lnTo>
                  <a:lnTo>
                    <a:pt x="2083" y="122"/>
                  </a:lnTo>
                  <a:lnTo>
                    <a:pt x="2083" y="122"/>
                  </a:lnTo>
                  <a:lnTo>
                    <a:pt x="2087" y="127"/>
                  </a:lnTo>
                  <a:lnTo>
                    <a:pt x="2087" y="127"/>
                  </a:lnTo>
                  <a:lnTo>
                    <a:pt x="2087" y="127"/>
                  </a:lnTo>
                  <a:lnTo>
                    <a:pt x="2087" y="127"/>
                  </a:lnTo>
                  <a:lnTo>
                    <a:pt x="2087" y="127"/>
                  </a:lnTo>
                  <a:lnTo>
                    <a:pt x="2087" y="127"/>
                  </a:lnTo>
                  <a:lnTo>
                    <a:pt x="2092" y="127"/>
                  </a:lnTo>
                  <a:lnTo>
                    <a:pt x="2092" y="127"/>
                  </a:lnTo>
                  <a:lnTo>
                    <a:pt x="2096" y="127"/>
                  </a:lnTo>
                  <a:lnTo>
                    <a:pt x="2096" y="127"/>
                  </a:lnTo>
                  <a:lnTo>
                    <a:pt x="2101" y="122"/>
                  </a:lnTo>
                  <a:lnTo>
                    <a:pt x="2101" y="122"/>
                  </a:lnTo>
                  <a:lnTo>
                    <a:pt x="2101" y="122"/>
                  </a:lnTo>
                  <a:lnTo>
                    <a:pt x="2101" y="127"/>
                  </a:lnTo>
                  <a:lnTo>
                    <a:pt x="2105" y="127"/>
                  </a:lnTo>
                  <a:lnTo>
                    <a:pt x="2105" y="127"/>
                  </a:lnTo>
                  <a:lnTo>
                    <a:pt x="2110" y="127"/>
                  </a:lnTo>
                  <a:lnTo>
                    <a:pt x="2110" y="122"/>
                  </a:lnTo>
                  <a:lnTo>
                    <a:pt x="2110" y="122"/>
                  </a:lnTo>
                  <a:lnTo>
                    <a:pt x="2114" y="122"/>
                  </a:lnTo>
                  <a:lnTo>
                    <a:pt x="2114" y="127"/>
                  </a:lnTo>
                  <a:lnTo>
                    <a:pt x="2114" y="127"/>
                  </a:lnTo>
                  <a:lnTo>
                    <a:pt x="2119" y="127"/>
                  </a:lnTo>
                  <a:lnTo>
                    <a:pt x="2123" y="127"/>
                  </a:lnTo>
                  <a:lnTo>
                    <a:pt x="2128" y="127"/>
                  </a:lnTo>
                  <a:lnTo>
                    <a:pt x="2128" y="127"/>
                  </a:lnTo>
                  <a:lnTo>
                    <a:pt x="2128" y="127"/>
                  </a:lnTo>
                  <a:lnTo>
                    <a:pt x="2132" y="131"/>
                  </a:lnTo>
                  <a:lnTo>
                    <a:pt x="2137" y="131"/>
                  </a:lnTo>
                  <a:lnTo>
                    <a:pt x="2141" y="136"/>
                  </a:lnTo>
                  <a:lnTo>
                    <a:pt x="2141" y="136"/>
                  </a:lnTo>
                  <a:lnTo>
                    <a:pt x="2146" y="136"/>
                  </a:lnTo>
                  <a:lnTo>
                    <a:pt x="2146" y="136"/>
                  </a:lnTo>
                  <a:lnTo>
                    <a:pt x="2146" y="136"/>
                  </a:lnTo>
                  <a:lnTo>
                    <a:pt x="2150" y="136"/>
                  </a:lnTo>
                  <a:lnTo>
                    <a:pt x="2150" y="136"/>
                  </a:lnTo>
                  <a:lnTo>
                    <a:pt x="2150" y="140"/>
                  </a:lnTo>
                  <a:lnTo>
                    <a:pt x="2150" y="140"/>
                  </a:lnTo>
                  <a:lnTo>
                    <a:pt x="2150" y="140"/>
                  </a:lnTo>
                  <a:lnTo>
                    <a:pt x="2146" y="145"/>
                  </a:lnTo>
                  <a:lnTo>
                    <a:pt x="2146" y="145"/>
                  </a:lnTo>
                  <a:lnTo>
                    <a:pt x="2146" y="145"/>
                  </a:lnTo>
                  <a:lnTo>
                    <a:pt x="2146" y="145"/>
                  </a:lnTo>
                  <a:lnTo>
                    <a:pt x="2146" y="145"/>
                  </a:lnTo>
                  <a:lnTo>
                    <a:pt x="2146" y="149"/>
                  </a:lnTo>
                  <a:lnTo>
                    <a:pt x="2146" y="149"/>
                  </a:lnTo>
                  <a:lnTo>
                    <a:pt x="2150" y="154"/>
                  </a:lnTo>
                  <a:lnTo>
                    <a:pt x="2150" y="154"/>
                  </a:lnTo>
                  <a:lnTo>
                    <a:pt x="2150" y="154"/>
                  </a:lnTo>
                  <a:lnTo>
                    <a:pt x="2150" y="154"/>
                  </a:lnTo>
                  <a:lnTo>
                    <a:pt x="2150" y="154"/>
                  </a:lnTo>
                  <a:lnTo>
                    <a:pt x="2150" y="158"/>
                  </a:lnTo>
                  <a:lnTo>
                    <a:pt x="2150" y="158"/>
                  </a:lnTo>
                  <a:lnTo>
                    <a:pt x="2155" y="158"/>
                  </a:lnTo>
                  <a:lnTo>
                    <a:pt x="2155" y="158"/>
                  </a:lnTo>
                  <a:lnTo>
                    <a:pt x="2155" y="163"/>
                  </a:lnTo>
                  <a:lnTo>
                    <a:pt x="2155" y="163"/>
                  </a:lnTo>
                  <a:lnTo>
                    <a:pt x="2150" y="163"/>
                  </a:lnTo>
                  <a:lnTo>
                    <a:pt x="2150" y="163"/>
                  </a:lnTo>
                  <a:lnTo>
                    <a:pt x="2150" y="163"/>
                  </a:lnTo>
                  <a:lnTo>
                    <a:pt x="2150" y="163"/>
                  </a:lnTo>
                  <a:lnTo>
                    <a:pt x="2150" y="163"/>
                  </a:lnTo>
                  <a:lnTo>
                    <a:pt x="2146" y="167"/>
                  </a:lnTo>
                  <a:lnTo>
                    <a:pt x="2146" y="167"/>
                  </a:lnTo>
                  <a:lnTo>
                    <a:pt x="2141" y="167"/>
                  </a:lnTo>
                  <a:lnTo>
                    <a:pt x="2141" y="167"/>
                  </a:lnTo>
                  <a:lnTo>
                    <a:pt x="2141" y="167"/>
                  </a:lnTo>
                  <a:lnTo>
                    <a:pt x="2141" y="167"/>
                  </a:lnTo>
                  <a:lnTo>
                    <a:pt x="2146" y="167"/>
                  </a:lnTo>
                  <a:lnTo>
                    <a:pt x="2150" y="167"/>
                  </a:lnTo>
                  <a:lnTo>
                    <a:pt x="2150" y="167"/>
                  </a:lnTo>
                  <a:lnTo>
                    <a:pt x="2150" y="167"/>
                  </a:lnTo>
                  <a:lnTo>
                    <a:pt x="2150" y="167"/>
                  </a:lnTo>
                  <a:lnTo>
                    <a:pt x="2150" y="167"/>
                  </a:lnTo>
                  <a:lnTo>
                    <a:pt x="2150" y="167"/>
                  </a:lnTo>
                  <a:lnTo>
                    <a:pt x="2150" y="172"/>
                  </a:lnTo>
                  <a:lnTo>
                    <a:pt x="2150" y="172"/>
                  </a:lnTo>
                  <a:lnTo>
                    <a:pt x="2150" y="172"/>
                  </a:lnTo>
                  <a:lnTo>
                    <a:pt x="2150" y="172"/>
                  </a:lnTo>
                  <a:lnTo>
                    <a:pt x="2150" y="172"/>
                  </a:lnTo>
                  <a:lnTo>
                    <a:pt x="2150" y="172"/>
                  </a:lnTo>
                  <a:lnTo>
                    <a:pt x="2150" y="176"/>
                  </a:lnTo>
                  <a:lnTo>
                    <a:pt x="2150" y="172"/>
                  </a:lnTo>
                  <a:lnTo>
                    <a:pt x="2146" y="176"/>
                  </a:lnTo>
                  <a:lnTo>
                    <a:pt x="2146" y="176"/>
                  </a:lnTo>
                  <a:lnTo>
                    <a:pt x="2146" y="176"/>
                  </a:lnTo>
                  <a:lnTo>
                    <a:pt x="2146" y="176"/>
                  </a:lnTo>
                  <a:lnTo>
                    <a:pt x="2146" y="176"/>
                  </a:lnTo>
                  <a:lnTo>
                    <a:pt x="2146" y="181"/>
                  </a:lnTo>
                  <a:lnTo>
                    <a:pt x="2146" y="181"/>
                  </a:lnTo>
                  <a:lnTo>
                    <a:pt x="2146" y="181"/>
                  </a:lnTo>
                  <a:lnTo>
                    <a:pt x="2146" y="181"/>
                  </a:lnTo>
                  <a:lnTo>
                    <a:pt x="2146" y="181"/>
                  </a:lnTo>
                  <a:lnTo>
                    <a:pt x="2150" y="181"/>
                  </a:lnTo>
                  <a:lnTo>
                    <a:pt x="2150" y="181"/>
                  </a:lnTo>
                  <a:lnTo>
                    <a:pt x="2150" y="181"/>
                  </a:lnTo>
                  <a:lnTo>
                    <a:pt x="2150" y="185"/>
                  </a:lnTo>
                  <a:lnTo>
                    <a:pt x="2146" y="185"/>
                  </a:lnTo>
                  <a:lnTo>
                    <a:pt x="2146" y="185"/>
                  </a:lnTo>
                  <a:lnTo>
                    <a:pt x="2146" y="185"/>
                  </a:lnTo>
                  <a:lnTo>
                    <a:pt x="2141" y="185"/>
                  </a:lnTo>
                  <a:lnTo>
                    <a:pt x="2141" y="185"/>
                  </a:lnTo>
                  <a:lnTo>
                    <a:pt x="2141" y="190"/>
                  </a:lnTo>
                  <a:lnTo>
                    <a:pt x="2141" y="190"/>
                  </a:lnTo>
                  <a:lnTo>
                    <a:pt x="2141" y="190"/>
                  </a:lnTo>
                  <a:lnTo>
                    <a:pt x="2141" y="190"/>
                  </a:lnTo>
                  <a:lnTo>
                    <a:pt x="2146" y="190"/>
                  </a:lnTo>
                  <a:lnTo>
                    <a:pt x="2146" y="190"/>
                  </a:lnTo>
                  <a:lnTo>
                    <a:pt x="2146" y="190"/>
                  </a:lnTo>
                  <a:lnTo>
                    <a:pt x="2146" y="190"/>
                  </a:lnTo>
                  <a:lnTo>
                    <a:pt x="2146" y="190"/>
                  </a:lnTo>
                  <a:lnTo>
                    <a:pt x="2150" y="190"/>
                  </a:lnTo>
                  <a:lnTo>
                    <a:pt x="2150" y="190"/>
                  </a:lnTo>
                  <a:lnTo>
                    <a:pt x="2150" y="190"/>
                  </a:lnTo>
                  <a:lnTo>
                    <a:pt x="2150" y="190"/>
                  </a:lnTo>
                  <a:lnTo>
                    <a:pt x="2150" y="194"/>
                  </a:lnTo>
                  <a:lnTo>
                    <a:pt x="2146" y="194"/>
                  </a:lnTo>
                  <a:lnTo>
                    <a:pt x="2146" y="194"/>
                  </a:lnTo>
                  <a:lnTo>
                    <a:pt x="2146" y="194"/>
                  </a:lnTo>
                  <a:lnTo>
                    <a:pt x="2146" y="194"/>
                  </a:lnTo>
                  <a:lnTo>
                    <a:pt x="2141" y="199"/>
                  </a:lnTo>
                  <a:lnTo>
                    <a:pt x="2141" y="199"/>
                  </a:lnTo>
                  <a:lnTo>
                    <a:pt x="2137" y="199"/>
                  </a:lnTo>
                  <a:lnTo>
                    <a:pt x="2137" y="199"/>
                  </a:lnTo>
                  <a:lnTo>
                    <a:pt x="2137" y="199"/>
                  </a:lnTo>
                  <a:lnTo>
                    <a:pt x="2137" y="199"/>
                  </a:lnTo>
                  <a:lnTo>
                    <a:pt x="2137" y="199"/>
                  </a:lnTo>
                  <a:lnTo>
                    <a:pt x="2137" y="199"/>
                  </a:lnTo>
                  <a:lnTo>
                    <a:pt x="2132" y="199"/>
                  </a:lnTo>
                  <a:lnTo>
                    <a:pt x="2132" y="199"/>
                  </a:lnTo>
                  <a:lnTo>
                    <a:pt x="2132" y="204"/>
                  </a:lnTo>
                  <a:lnTo>
                    <a:pt x="2132" y="204"/>
                  </a:lnTo>
                  <a:lnTo>
                    <a:pt x="2137" y="204"/>
                  </a:lnTo>
                  <a:lnTo>
                    <a:pt x="2141" y="199"/>
                  </a:lnTo>
                  <a:lnTo>
                    <a:pt x="2141" y="199"/>
                  </a:lnTo>
                  <a:lnTo>
                    <a:pt x="2141" y="199"/>
                  </a:lnTo>
                  <a:lnTo>
                    <a:pt x="2141" y="199"/>
                  </a:lnTo>
                  <a:lnTo>
                    <a:pt x="2141" y="204"/>
                  </a:lnTo>
                  <a:lnTo>
                    <a:pt x="2132" y="204"/>
                  </a:lnTo>
                  <a:lnTo>
                    <a:pt x="2132" y="208"/>
                  </a:lnTo>
                  <a:lnTo>
                    <a:pt x="2128" y="213"/>
                  </a:lnTo>
                  <a:lnTo>
                    <a:pt x="2123" y="213"/>
                  </a:lnTo>
                  <a:lnTo>
                    <a:pt x="2123" y="213"/>
                  </a:lnTo>
                  <a:lnTo>
                    <a:pt x="2123" y="213"/>
                  </a:lnTo>
                  <a:lnTo>
                    <a:pt x="2123" y="213"/>
                  </a:lnTo>
                  <a:lnTo>
                    <a:pt x="2123" y="217"/>
                  </a:lnTo>
                  <a:lnTo>
                    <a:pt x="2123" y="217"/>
                  </a:lnTo>
                  <a:lnTo>
                    <a:pt x="2128" y="217"/>
                  </a:lnTo>
                  <a:lnTo>
                    <a:pt x="2128" y="217"/>
                  </a:lnTo>
                  <a:lnTo>
                    <a:pt x="2132" y="217"/>
                  </a:lnTo>
                  <a:lnTo>
                    <a:pt x="2137" y="217"/>
                  </a:lnTo>
                  <a:lnTo>
                    <a:pt x="2137" y="217"/>
                  </a:lnTo>
                  <a:lnTo>
                    <a:pt x="2137" y="217"/>
                  </a:lnTo>
                  <a:lnTo>
                    <a:pt x="2141" y="217"/>
                  </a:lnTo>
                  <a:lnTo>
                    <a:pt x="2141" y="217"/>
                  </a:lnTo>
                  <a:lnTo>
                    <a:pt x="2141" y="213"/>
                  </a:lnTo>
                  <a:lnTo>
                    <a:pt x="2141" y="213"/>
                  </a:lnTo>
                  <a:lnTo>
                    <a:pt x="2141" y="213"/>
                  </a:lnTo>
                  <a:lnTo>
                    <a:pt x="2141" y="213"/>
                  </a:lnTo>
                  <a:lnTo>
                    <a:pt x="2146" y="213"/>
                  </a:lnTo>
                  <a:lnTo>
                    <a:pt x="2146" y="213"/>
                  </a:lnTo>
                  <a:lnTo>
                    <a:pt x="2146" y="213"/>
                  </a:lnTo>
                  <a:lnTo>
                    <a:pt x="2150" y="213"/>
                  </a:lnTo>
                  <a:lnTo>
                    <a:pt x="2150" y="208"/>
                  </a:lnTo>
                  <a:lnTo>
                    <a:pt x="2150" y="208"/>
                  </a:lnTo>
                  <a:lnTo>
                    <a:pt x="2150" y="208"/>
                  </a:lnTo>
                  <a:lnTo>
                    <a:pt x="2150" y="208"/>
                  </a:lnTo>
                  <a:lnTo>
                    <a:pt x="2150" y="208"/>
                  </a:lnTo>
                  <a:lnTo>
                    <a:pt x="2150" y="204"/>
                  </a:lnTo>
                  <a:lnTo>
                    <a:pt x="2150" y="204"/>
                  </a:lnTo>
                  <a:lnTo>
                    <a:pt x="2150" y="204"/>
                  </a:lnTo>
                  <a:lnTo>
                    <a:pt x="2150" y="204"/>
                  </a:lnTo>
                  <a:lnTo>
                    <a:pt x="2150" y="204"/>
                  </a:lnTo>
                  <a:lnTo>
                    <a:pt x="2150" y="199"/>
                  </a:lnTo>
                  <a:lnTo>
                    <a:pt x="2155" y="199"/>
                  </a:lnTo>
                  <a:lnTo>
                    <a:pt x="2155" y="199"/>
                  </a:lnTo>
                  <a:lnTo>
                    <a:pt x="2155" y="204"/>
                  </a:lnTo>
                  <a:lnTo>
                    <a:pt x="2150" y="204"/>
                  </a:lnTo>
                  <a:lnTo>
                    <a:pt x="2150" y="204"/>
                  </a:lnTo>
                  <a:lnTo>
                    <a:pt x="2150" y="204"/>
                  </a:lnTo>
                  <a:lnTo>
                    <a:pt x="2150" y="204"/>
                  </a:lnTo>
                  <a:lnTo>
                    <a:pt x="2150" y="208"/>
                  </a:lnTo>
                  <a:lnTo>
                    <a:pt x="2150" y="208"/>
                  </a:lnTo>
                  <a:lnTo>
                    <a:pt x="2150" y="208"/>
                  </a:lnTo>
                  <a:lnTo>
                    <a:pt x="2150" y="213"/>
                  </a:lnTo>
                  <a:lnTo>
                    <a:pt x="2150" y="213"/>
                  </a:lnTo>
                  <a:lnTo>
                    <a:pt x="2155" y="213"/>
                  </a:lnTo>
                  <a:lnTo>
                    <a:pt x="2155" y="213"/>
                  </a:lnTo>
                  <a:lnTo>
                    <a:pt x="2150" y="213"/>
                  </a:lnTo>
                  <a:lnTo>
                    <a:pt x="2150" y="213"/>
                  </a:lnTo>
                  <a:lnTo>
                    <a:pt x="2146" y="213"/>
                  </a:lnTo>
                  <a:lnTo>
                    <a:pt x="2146" y="213"/>
                  </a:lnTo>
                  <a:lnTo>
                    <a:pt x="2146" y="217"/>
                  </a:lnTo>
                  <a:lnTo>
                    <a:pt x="2150" y="217"/>
                  </a:lnTo>
                  <a:lnTo>
                    <a:pt x="2150" y="217"/>
                  </a:lnTo>
                  <a:lnTo>
                    <a:pt x="2155" y="217"/>
                  </a:lnTo>
                  <a:lnTo>
                    <a:pt x="2155" y="213"/>
                  </a:lnTo>
                  <a:lnTo>
                    <a:pt x="2155" y="213"/>
                  </a:lnTo>
                  <a:lnTo>
                    <a:pt x="2159" y="217"/>
                  </a:lnTo>
                  <a:lnTo>
                    <a:pt x="2164" y="213"/>
                  </a:lnTo>
                  <a:lnTo>
                    <a:pt x="2164" y="213"/>
                  </a:lnTo>
                  <a:lnTo>
                    <a:pt x="2168" y="213"/>
                  </a:lnTo>
                  <a:lnTo>
                    <a:pt x="2168" y="213"/>
                  </a:lnTo>
                  <a:lnTo>
                    <a:pt x="2164" y="217"/>
                  </a:lnTo>
                  <a:lnTo>
                    <a:pt x="2155" y="217"/>
                  </a:lnTo>
                  <a:lnTo>
                    <a:pt x="2150" y="217"/>
                  </a:lnTo>
                  <a:lnTo>
                    <a:pt x="2150" y="217"/>
                  </a:lnTo>
                  <a:lnTo>
                    <a:pt x="2150" y="217"/>
                  </a:lnTo>
                  <a:lnTo>
                    <a:pt x="2150" y="222"/>
                  </a:lnTo>
                  <a:lnTo>
                    <a:pt x="2146" y="222"/>
                  </a:lnTo>
                  <a:lnTo>
                    <a:pt x="2146" y="222"/>
                  </a:lnTo>
                  <a:lnTo>
                    <a:pt x="2146" y="222"/>
                  </a:lnTo>
                  <a:lnTo>
                    <a:pt x="2150" y="222"/>
                  </a:lnTo>
                  <a:lnTo>
                    <a:pt x="2150" y="222"/>
                  </a:lnTo>
                  <a:lnTo>
                    <a:pt x="2155" y="222"/>
                  </a:lnTo>
                  <a:lnTo>
                    <a:pt x="2155" y="222"/>
                  </a:lnTo>
                  <a:lnTo>
                    <a:pt x="2155" y="226"/>
                  </a:lnTo>
                  <a:lnTo>
                    <a:pt x="2159" y="226"/>
                  </a:lnTo>
                  <a:lnTo>
                    <a:pt x="2164" y="226"/>
                  </a:lnTo>
                  <a:lnTo>
                    <a:pt x="2164" y="226"/>
                  </a:lnTo>
                  <a:lnTo>
                    <a:pt x="2168" y="226"/>
                  </a:lnTo>
                  <a:lnTo>
                    <a:pt x="2168" y="226"/>
                  </a:lnTo>
                  <a:lnTo>
                    <a:pt x="2164" y="226"/>
                  </a:lnTo>
                  <a:lnTo>
                    <a:pt x="2164" y="226"/>
                  </a:lnTo>
                  <a:lnTo>
                    <a:pt x="2159" y="226"/>
                  </a:lnTo>
                  <a:lnTo>
                    <a:pt x="2159" y="226"/>
                  </a:lnTo>
                  <a:lnTo>
                    <a:pt x="2159" y="226"/>
                  </a:lnTo>
                  <a:lnTo>
                    <a:pt x="2159" y="226"/>
                  </a:lnTo>
                  <a:lnTo>
                    <a:pt x="2159" y="226"/>
                  </a:lnTo>
                  <a:lnTo>
                    <a:pt x="2159" y="231"/>
                  </a:lnTo>
                  <a:lnTo>
                    <a:pt x="2164" y="231"/>
                  </a:lnTo>
                  <a:lnTo>
                    <a:pt x="2159" y="231"/>
                  </a:lnTo>
                  <a:lnTo>
                    <a:pt x="2159" y="231"/>
                  </a:lnTo>
                  <a:lnTo>
                    <a:pt x="2159" y="231"/>
                  </a:lnTo>
                  <a:lnTo>
                    <a:pt x="2159" y="235"/>
                  </a:lnTo>
                  <a:lnTo>
                    <a:pt x="2159" y="235"/>
                  </a:lnTo>
                  <a:lnTo>
                    <a:pt x="2159" y="235"/>
                  </a:lnTo>
                  <a:lnTo>
                    <a:pt x="2164" y="240"/>
                  </a:lnTo>
                  <a:lnTo>
                    <a:pt x="2164" y="240"/>
                  </a:lnTo>
                  <a:lnTo>
                    <a:pt x="2164" y="240"/>
                  </a:lnTo>
                  <a:lnTo>
                    <a:pt x="2159" y="240"/>
                  </a:lnTo>
                  <a:lnTo>
                    <a:pt x="2159" y="240"/>
                  </a:lnTo>
                  <a:lnTo>
                    <a:pt x="2155" y="235"/>
                  </a:lnTo>
                  <a:lnTo>
                    <a:pt x="2155" y="235"/>
                  </a:lnTo>
                  <a:lnTo>
                    <a:pt x="2150" y="235"/>
                  </a:lnTo>
                  <a:lnTo>
                    <a:pt x="2146" y="231"/>
                  </a:lnTo>
                  <a:lnTo>
                    <a:pt x="2146" y="231"/>
                  </a:lnTo>
                  <a:lnTo>
                    <a:pt x="2146" y="231"/>
                  </a:lnTo>
                  <a:lnTo>
                    <a:pt x="2141" y="231"/>
                  </a:lnTo>
                  <a:lnTo>
                    <a:pt x="2137" y="231"/>
                  </a:lnTo>
                  <a:lnTo>
                    <a:pt x="2137" y="231"/>
                  </a:lnTo>
                  <a:lnTo>
                    <a:pt x="2137" y="231"/>
                  </a:lnTo>
                  <a:lnTo>
                    <a:pt x="2132" y="231"/>
                  </a:lnTo>
                  <a:lnTo>
                    <a:pt x="2128" y="231"/>
                  </a:lnTo>
                  <a:lnTo>
                    <a:pt x="2128" y="231"/>
                  </a:lnTo>
                  <a:lnTo>
                    <a:pt x="2128" y="231"/>
                  </a:lnTo>
                  <a:lnTo>
                    <a:pt x="2123" y="231"/>
                  </a:lnTo>
                  <a:lnTo>
                    <a:pt x="2123" y="231"/>
                  </a:lnTo>
                  <a:lnTo>
                    <a:pt x="2123" y="235"/>
                  </a:lnTo>
                  <a:lnTo>
                    <a:pt x="2128" y="235"/>
                  </a:lnTo>
                  <a:lnTo>
                    <a:pt x="2128" y="235"/>
                  </a:lnTo>
                  <a:lnTo>
                    <a:pt x="2128" y="235"/>
                  </a:lnTo>
                  <a:lnTo>
                    <a:pt x="2132" y="240"/>
                  </a:lnTo>
                  <a:lnTo>
                    <a:pt x="2137" y="240"/>
                  </a:lnTo>
                  <a:lnTo>
                    <a:pt x="2137" y="240"/>
                  </a:lnTo>
                  <a:lnTo>
                    <a:pt x="2141" y="240"/>
                  </a:lnTo>
                  <a:lnTo>
                    <a:pt x="2141" y="244"/>
                  </a:lnTo>
                  <a:lnTo>
                    <a:pt x="2141" y="244"/>
                  </a:lnTo>
                  <a:lnTo>
                    <a:pt x="2150" y="244"/>
                  </a:lnTo>
                  <a:lnTo>
                    <a:pt x="2150" y="244"/>
                  </a:lnTo>
                  <a:lnTo>
                    <a:pt x="2150" y="244"/>
                  </a:lnTo>
                  <a:lnTo>
                    <a:pt x="2155" y="244"/>
                  </a:lnTo>
                  <a:lnTo>
                    <a:pt x="2155" y="244"/>
                  </a:lnTo>
                  <a:lnTo>
                    <a:pt x="2155" y="244"/>
                  </a:lnTo>
                  <a:lnTo>
                    <a:pt x="2159" y="244"/>
                  </a:lnTo>
                  <a:lnTo>
                    <a:pt x="2159" y="244"/>
                  </a:lnTo>
                  <a:lnTo>
                    <a:pt x="2164" y="244"/>
                  </a:lnTo>
                  <a:lnTo>
                    <a:pt x="2164" y="244"/>
                  </a:lnTo>
                  <a:lnTo>
                    <a:pt x="2164" y="244"/>
                  </a:lnTo>
                  <a:lnTo>
                    <a:pt x="2164" y="244"/>
                  </a:lnTo>
                  <a:lnTo>
                    <a:pt x="2159" y="244"/>
                  </a:lnTo>
                  <a:lnTo>
                    <a:pt x="2159" y="249"/>
                  </a:lnTo>
                  <a:lnTo>
                    <a:pt x="2159" y="249"/>
                  </a:lnTo>
                  <a:lnTo>
                    <a:pt x="2159" y="249"/>
                  </a:lnTo>
                  <a:lnTo>
                    <a:pt x="2159" y="249"/>
                  </a:lnTo>
                  <a:lnTo>
                    <a:pt x="2155" y="249"/>
                  </a:lnTo>
                  <a:lnTo>
                    <a:pt x="2155" y="253"/>
                  </a:lnTo>
                  <a:lnTo>
                    <a:pt x="2150" y="253"/>
                  </a:lnTo>
                  <a:lnTo>
                    <a:pt x="2150" y="253"/>
                  </a:lnTo>
                  <a:lnTo>
                    <a:pt x="2150" y="258"/>
                  </a:lnTo>
                  <a:lnTo>
                    <a:pt x="2146" y="258"/>
                  </a:lnTo>
                  <a:lnTo>
                    <a:pt x="2146" y="258"/>
                  </a:lnTo>
                  <a:lnTo>
                    <a:pt x="2146" y="262"/>
                  </a:lnTo>
                  <a:lnTo>
                    <a:pt x="2150" y="258"/>
                  </a:lnTo>
                  <a:lnTo>
                    <a:pt x="2150" y="258"/>
                  </a:lnTo>
                  <a:lnTo>
                    <a:pt x="2150" y="262"/>
                  </a:lnTo>
                  <a:lnTo>
                    <a:pt x="2155" y="262"/>
                  </a:lnTo>
                  <a:lnTo>
                    <a:pt x="2155" y="262"/>
                  </a:lnTo>
                  <a:lnTo>
                    <a:pt x="2150" y="262"/>
                  </a:lnTo>
                  <a:lnTo>
                    <a:pt x="2146" y="262"/>
                  </a:lnTo>
                  <a:lnTo>
                    <a:pt x="2146" y="262"/>
                  </a:lnTo>
                  <a:lnTo>
                    <a:pt x="2141" y="262"/>
                  </a:lnTo>
                  <a:lnTo>
                    <a:pt x="2141" y="267"/>
                  </a:lnTo>
                  <a:lnTo>
                    <a:pt x="2137" y="267"/>
                  </a:lnTo>
                  <a:lnTo>
                    <a:pt x="2137" y="267"/>
                  </a:lnTo>
                  <a:lnTo>
                    <a:pt x="2141" y="267"/>
                  </a:lnTo>
                  <a:lnTo>
                    <a:pt x="2146" y="267"/>
                  </a:lnTo>
                  <a:lnTo>
                    <a:pt x="2141" y="267"/>
                  </a:lnTo>
                  <a:lnTo>
                    <a:pt x="2141" y="271"/>
                  </a:lnTo>
                  <a:lnTo>
                    <a:pt x="2137" y="271"/>
                  </a:lnTo>
                  <a:lnTo>
                    <a:pt x="2137" y="271"/>
                  </a:lnTo>
                  <a:lnTo>
                    <a:pt x="2132" y="271"/>
                  </a:lnTo>
                  <a:lnTo>
                    <a:pt x="2132" y="271"/>
                  </a:lnTo>
                  <a:lnTo>
                    <a:pt x="2128" y="271"/>
                  </a:lnTo>
                  <a:lnTo>
                    <a:pt x="2123" y="267"/>
                  </a:lnTo>
                  <a:lnTo>
                    <a:pt x="2123" y="267"/>
                  </a:lnTo>
                  <a:lnTo>
                    <a:pt x="2119" y="271"/>
                  </a:lnTo>
                  <a:lnTo>
                    <a:pt x="2114" y="271"/>
                  </a:lnTo>
                  <a:lnTo>
                    <a:pt x="2110" y="271"/>
                  </a:lnTo>
                  <a:lnTo>
                    <a:pt x="2110" y="276"/>
                  </a:lnTo>
                  <a:lnTo>
                    <a:pt x="2110" y="276"/>
                  </a:lnTo>
                  <a:lnTo>
                    <a:pt x="2110" y="276"/>
                  </a:lnTo>
                  <a:lnTo>
                    <a:pt x="2110" y="276"/>
                  </a:lnTo>
                  <a:lnTo>
                    <a:pt x="2114" y="276"/>
                  </a:lnTo>
                  <a:lnTo>
                    <a:pt x="2114" y="276"/>
                  </a:lnTo>
                  <a:lnTo>
                    <a:pt x="2114" y="276"/>
                  </a:lnTo>
                  <a:lnTo>
                    <a:pt x="2119" y="276"/>
                  </a:lnTo>
                  <a:lnTo>
                    <a:pt x="2123" y="276"/>
                  </a:lnTo>
                  <a:lnTo>
                    <a:pt x="2128" y="276"/>
                  </a:lnTo>
                  <a:lnTo>
                    <a:pt x="2128" y="276"/>
                  </a:lnTo>
                  <a:lnTo>
                    <a:pt x="2132" y="276"/>
                  </a:lnTo>
                  <a:lnTo>
                    <a:pt x="2132" y="276"/>
                  </a:lnTo>
                  <a:lnTo>
                    <a:pt x="2132" y="276"/>
                  </a:lnTo>
                  <a:lnTo>
                    <a:pt x="2132" y="276"/>
                  </a:lnTo>
                  <a:lnTo>
                    <a:pt x="2137" y="276"/>
                  </a:lnTo>
                  <a:lnTo>
                    <a:pt x="2137" y="276"/>
                  </a:lnTo>
                  <a:lnTo>
                    <a:pt x="2132" y="276"/>
                  </a:lnTo>
                  <a:lnTo>
                    <a:pt x="2132" y="276"/>
                  </a:lnTo>
                  <a:lnTo>
                    <a:pt x="2132" y="280"/>
                  </a:lnTo>
                  <a:lnTo>
                    <a:pt x="2128" y="280"/>
                  </a:lnTo>
                  <a:lnTo>
                    <a:pt x="2128" y="280"/>
                  </a:lnTo>
                  <a:lnTo>
                    <a:pt x="2128" y="280"/>
                  </a:lnTo>
                  <a:lnTo>
                    <a:pt x="2128" y="280"/>
                  </a:lnTo>
                  <a:lnTo>
                    <a:pt x="2128" y="280"/>
                  </a:lnTo>
                  <a:lnTo>
                    <a:pt x="2123" y="280"/>
                  </a:lnTo>
                  <a:lnTo>
                    <a:pt x="2123" y="280"/>
                  </a:lnTo>
                  <a:lnTo>
                    <a:pt x="2119" y="280"/>
                  </a:lnTo>
                  <a:lnTo>
                    <a:pt x="2114" y="276"/>
                  </a:lnTo>
                  <a:lnTo>
                    <a:pt x="2110" y="276"/>
                  </a:lnTo>
                  <a:lnTo>
                    <a:pt x="2110" y="276"/>
                  </a:lnTo>
                  <a:lnTo>
                    <a:pt x="2110" y="280"/>
                  </a:lnTo>
                  <a:lnTo>
                    <a:pt x="2105" y="280"/>
                  </a:lnTo>
                  <a:lnTo>
                    <a:pt x="2101" y="285"/>
                  </a:lnTo>
                  <a:lnTo>
                    <a:pt x="2101" y="285"/>
                  </a:lnTo>
                  <a:lnTo>
                    <a:pt x="2101" y="285"/>
                  </a:lnTo>
                  <a:lnTo>
                    <a:pt x="2096" y="285"/>
                  </a:lnTo>
                  <a:lnTo>
                    <a:pt x="2096" y="289"/>
                  </a:lnTo>
                  <a:lnTo>
                    <a:pt x="2096" y="289"/>
                  </a:lnTo>
                  <a:lnTo>
                    <a:pt x="2101" y="289"/>
                  </a:lnTo>
                  <a:lnTo>
                    <a:pt x="2105" y="285"/>
                  </a:lnTo>
                  <a:lnTo>
                    <a:pt x="2110" y="285"/>
                  </a:lnTo>
                  <a:lnTo>
                    <a:pt x="2110" y="285"/>
                  </a:lnTo>
                  <a:lnTo>
                    <a:pt x="2114" y="285"/>
                  </a:lnTo>
                  <a:lnTo>
                    <a:pt x="2114" y="285"/>
                  </a:lnTo>
                  <a:lnTo>
                    <a:pt x="2119" y="285"/>
                  </a:lnTo>
                  <a:lnTo>
                    <a:pt x="2119" y="285"/>
                  </a:lnTo>
                  <a:lnTo>
                    <a:pt x="2119" y="285"/>
                  </a:lnTo>
                  <a:lnTo>
                    <a:pt x="2123" y="285"/>
                  </a:lnTo>
                  <a:lnTo>
                    <a:pt x="2128" y="285"/>
                  </a:lnTo>
                  <a:lnTo>
                    <a:pt x="2132" y="285"/>
                  </a:lnTo>
                  <a:lnTo>
                    <a:pt x="2132" y="285"/>
                  </a:lnTo>
                  <a:lnTo>
                    <a:pt x="2128" y="285"/>
                  </a:lnTo>
                  <a:lnTo>
                    <a:pt x="2128" y="289"/>
                  </a:lnTo>
                  <a:lnTo>
                    <a:pt x="2128" y="289"/>
                  </a:lnTo>
                  <a:lnTo>
                    <a:pt x="2132" y="289"/>
                  </a:lnTo>
                  <a:lnTo>
                    <a:pt x="2132" y="289"/>
                  </a:lnTo>
                  <a:lnTo>
                    <a:pt x="2132" y="289"/>
                  </a:lnTo>
                  <a:lnTo>
                    <a:pt x="2128" y="289"/>
                  </a:lnTo>
                  <a:lnTo>
                    <a:pt x="2123" y="289"/>
                  </a:lnTo>
                  <a:lnTo>
                    <a:pt x="2119" y="289"/>
                  </a:lnTo>
                  <a:lnTo>
                    <a:pt x="2119" y="289"/>
                  </a:lnTo>
                  <a:lnTo>
                    <a:pt x="2114" y="285"/>
                  </a:lnTo>
                  <a:lnTo>
                    <a:pt x="2114" y="285"/>
                  </a:lnTo>
                  <a:lnTo>
                    <a:pt x="2110" y="285"/>
                  </a:lnTo>
                  <a:lnTo>
                    <a:pt x="2105" y="285"/>
                  </a:lnTo>
                  <a:lnTo>
                    <a:pt x="2101" y="289"/>
                  </a:lnTo>
                  <a:lnTo>
                    <a:pt x="2101" y="289"/>
                  </a:lnTo>
                  <a:lnTo>
                    <a:pt x="2096" y="289"/>
                  </a:lnTo>
                  <a:lnTo>
                    <a:pt x="2092" y="289"/>
                  </a:lnTo>
                  <a:lnTo>
                    <a:pt x="2092" y="294"/>
                  </a:lnTo>
                  <a:lnTo>
                    <a:pt x="2087" y="298"/>
                  </a:lnTo>
                  <a:lnTo>
                    <a:pt x="2092" y="298"/>
                  </a:lnTo>
                  <a:lnTo>
                    <a:pt x="2092" y="298"/>
                  </a:lnTo>
                  <a:lnTo>
                    <a:pt x="2092" y="303"/>
                  </a:lnTo>
                  <a:lnTo>
                    <a:pt x="2092" y="303"/>
                  </a:lnTo>
                  <a:lnTo>
                    <a:pt x="2096" y="303"/>
                  </a:lnTo>
                  <a:lnTo>
                    <a:pt x="2096" y="303"/>
                  </a:lnTo>
                  <a:lnTo>
                    <a:pt x="2101" y="303"/>
                  </a:lnTo>
                  <a:lnTo>
                    <a:pt x="2105" y="303"/>
                  </a:lnTo>
                  <a:lnTo>
                    <a:pt x="2105" y="303"/>
                  </a:lnTo>
                  <a:lnTo>
                    <a:pt x="2105" y="303"/>
                  </a:lnTo>
                  <a:lnTo>
                    <a:pt x="2101" y="303"/>
                  </a:lnTo>
                  <a:lnTo>
                    <a:pt x="2101" y="303"/>
                  </a:lnTo>
                  <a:lnTo>
                    <a:pt x="2096" y="303"/>
                  </a:lnTo>
                  <a:lnTo>
                    <a:pt x="2092" y="303"/>
                  </a:lnTo>
                  <a:lnTo>
                    <a:pt x="2092" y="303"/>
                  </a:lnTo>
                  <a:lnTo>
                    <a:pt x="2087" y="308"/>
                  </a:lnTo>
                  <a:lnTo>
                    <a:pt x="2087" y="308"/>
                  </a:lnTo>
                  <a:lnTo>
                    <a:pt x="2087" y="308"/>
                  </a:lnTo>
                  <a:lnTo>
                    <a:pt x="2087" y="308"/>
                  </a:lnTo>
                  <a:lnTo>
                    <a:pt x="2083" y="312"/>
                  </a:lnTo>
                  <a:lnTo>
                    <a:pt x="2083" y="312"/>
                  </a:lnTo>
                  <a:lnTo>
                    <a:pt x="2083" y="312"/>
                  </a:lnTo>
                  <a:lnTo>
                    <a:pt x="2083" y="317"/>
                  </a:lnTo>
                  <a:lnTo>
                    <a:pt x="2083" y="317"/>
                  </a:lnTo>
                  <a:lnTo>
                    <a:pt x="2083" y="317"/>
                  </a:lnTo>
                  <a:lnTo>
                    <a:pt x="2087" y="317"/>
                  </a:lnTo>
                  <a:lnTo>
                    <a:pt x="2087" y="317"/>
                  </a:lnTo>
                  <a:lnTo>
                    <a:pt x="2092" y="312"/>
                  </a:lnTo>
                  <a:lnTo>
                    <a:pt x="2092" y="312"/>
                  </a:lnTo>
                  <a:lnTo>
                    <a:pt x="2096" y="312"/>
                  </a:lnTo>
                  <a:lnTo>
                    <a:pt x="2101" y="312"/>
                  </a:lnTo>
                  <a:lnTo>
                    <a:pt x="2110" y="308"/>
                  </a:lnTo>
                  <a:lnTo>
                    <a:pt x="2110" y="303"/>
                  </a:lnTo>
                  <a:lnTo>
                    <a:pt x="2114" y="303"/>
                  </a:lnTo>
                  <a:lnTo>
                    <a:pt x="2119" y="303"/>
                  </a:lnTo>
                  <a:lnTo>
                    <a:pt x="2119" y="303"/>
                  </a:lnTo>
                  <a:lnTo>
                    <a:pt x="2119" y="303"/>
                  </a:lnTo>
                  <a:lnTo>
                    <a:pt x="2114" y="308"/>
                  </a:lnTo>
                  <a:lnTo>
                    <a:pt x="2110" y="308"/>
                  </a:lnTo>
                  <a:lnTo>
                    <a:pt x="2110" y="308"/>
                  </a:lnTo>
                  <a:lnTo>
                    <a:pt x="2105" y="308"/>
                  </a:lnTo>
                  <a:lnTo>
                    <a:pt x="2105" y="308"/>
                  </a:lnTo>
                  <a:lnTo>
                    <a:pt x="2105" y="308"/>
                  </a:lnTo>
                  <a:lnTo>
                    <a:pt x="2101" y="312"/>
                  </a:lnTo>
                  <a:lnTo>
                    <a:pt x="2101" y="312"/>
                  </a:lnTo>
                  <a:lnTo>
                    <a:pt x="2096" y="312"/>
                  </a:lnTo>
                  <a:lnTo>
                    <a:pt x="2087" y="317"/>
                  </a:lnTo>
                  <a:lnTo>
                    <a:pt x="2083" y="317"/>
                  </a:lnTo>
                  <a:lnTo>
                    <a:pt x="2083" y="317"/>
                  </a:lnTo>
                  <a:lnTo>
                    <a:pt x="2083" y="317"/>
                  </a:lnTo>
                  <a:lnTo>
                    <a:pt x="2083" y="317"/>
                  </a:lnTo>
                  <a:lnTo>
                    <a:pt x="2083" y="317"/>
                  </a:lnTo>
                  <a:lnTo>
                    <a:pt x="2087" y="317"/>
                  </a:lnTo>
                  <a:lnTo>
                    <a:pt x="2083" y="321"/>
                  </a:lnTo>
                  <a:lnTo>
                    <a:pt x="2078" y="326"/>
                  </a:lnTo>
                  <a:lnTo>
                    <a:pt x="2078" y="326"/>
                  </a:lnTo>
                  <a:lnTo>
                    <a:pt x="2083" y="326"/>
                  </a:lnTo>
                  <a:lnTo>
                    <a:pt x="2087" y="326"/>
                  </a:lnTo>
                  <a:lnTo>
                    <a:pt x="2087" y="330"/>
                  </a:lnTo>
                  <a:lnTo>
                    <a:pt x="2087" y="330"/>
                  </a:lnTo>
                  <a:lnTo>
                    <a:pt x="2092" y="326"/>
                  </a:lnTo>
                  <a:lnTo>
                    <a:pt x="2096" y="326"/>
                  </a:lnTo>
                  <a:lnTo>
                    <a:pt x="2096" y="326"/>
                  </a:lnTo>
                  <a:lnTo>
                    <a:pt x="2101" y="326"/>
                  </a:lnTo>
                  <a:lnTo>
                    <a:pt x="2105" y="321"/>
                  </a:lnTo>
                  <a:lnTo>
                    <a:pt x="2105" y="321"/>
                  </a:lnTo>
                  <a:lnTo>
                    <a:pt x="2105" y="326"/>
                  </a:lnTo>
                  <a:lnTo>
                    <a:pt x="2105" y="326"/>
                  </a:lnTo>
                  <a:lnTo>
                    <a:pt x="2105" y="326"/>
                  </a:lnTo>
                  <a:lnTo>
                    <a:pt x="2101" y="326"/>
                  </a:lnTo>
                  <a:lnTo>
                    <a:pt x="2101" y="326"/>
                  </a:lnTo>
                  <a:lnTo>
                    <a:pt x="2096" y="326"/>
                  </a:lnTo>
                  <a:lnTo>
                    <a:pt x="2092" y="330"/>
                  </a:lnTo>
                  <a:lnTo>
                    <a:pt x="2087" y="330"/>
                  </a:lnTo>
                  <a:lnTo>
                    <a:pt x="2087" y="330"/>
                  </a:lnTo>
                  <a:lnTo>
                    <a:pt x="2087" y="330"/>
                  </a:lnTo>
                  <a:lnTo>
                    <a:pt x="2087" y="330"/>
                  </a:lnTo>
                  <a:lnTo>
                    <a:pt x="2087" y="335"/>
                  </a:lnTo>
                  <a:lnTo>
                    <a:pt x="2083" y="335"/>
                  </a:lnTo>
                  <a:lnTo>
                    <a:pt x="2087" y="335"/>
                  </a:lnTo>
                  <a:lnTo>
                    <a:pt x="2087" y="335"/>
                  </a:lnTo>
                  <a:lnTo>
                    <a:pt x="2083" y="339"/>
                  </a:lnTo>
                  <a:lnTo>
                    <a:pt x="2083" y="344"/>
                  </a:lnTo>
                  <a:lnTo>
                    <a:pt x="2083" y="344"/>
                  </a:lnTo>
                  <a:lnTo>
                    <a:pt x="2083" y="348"/>
                  </a:lnTo>
                  <a:lnTo>
                    <a:pt x="2083" y="348"/>
                  </a:lnTo>
                  <a:lnTo>
                    <a:pt x="2078" y="353"/>
                  </a:lnTo>
                  <a:lnTo>
                    <a:pt x="2083" y="353"/>
                  </a:lnTo>
                  <a:lnTo>
                    <a:pt x="2083" y="353"/>
                  </a:lnTo>
                  <a:lnTo>
                    <a:pt x="2083" y="353"/>
                  </a:lnTo>
                  <a:lnTo>
                    <a:pt x="2087" y="348"/>
                  </a:lnTo>
                  <a:lnTo>
                    <a:pt x="2092" y="348"/>
                  </a:lnTo>
                  <a:lnTo>
                    <a:pt x="2092" y="344"/>
                  </a:lnTo>
                  <a:lnTo>
                    <a:pt x="2092" y="344"/>
                  </a:lnTo>
                  <a:lnTo>
                    <a:pt x="2096" y="344"/>
                  </a:lnTo>
                  <a:lnTo>
                    <a:pt x="2096" y="344"/>
                  </a:lnTo>
                  <a:lnTo>
                    <a:pt x="2096" y="344"/>
                  </a:lnTo>
                  <a:lnTo>
                    <a:pt x="2092" y="344"/>
                  </a:lnTo>
                  <a:lnTo>
                    <a:pt x="2096" y="344"/>
                  </a:lnTo>
                  <a:lnTo>
                    <a:pt x="2096" y="344"/>
                  </a:lnTo>
                  <a:lnTo>
                    <a:pt x="2101" y="344"/>
                  </a:lnTo>
                  <a:lnTo>
                    <a:pt x="2101" y="344"/>
                  </a:lnTo>
                  <a:lnTo>
                    <a:pt x="2101" y="339"/>
                  </a:lnTo>
                  <a:lnTo>
                    <a:pt x="2101" y="339"/>
                  </a:lnTo>
                  <a:lnTo>
                    <a:pt x="2101" y="335"/>
                  </a:lnTo>
                  <a:lnTo>
                    <a:pt x="2101" y="335"/>
                  </a:lnTo>
                  <a:lnTo>
                    <a:pt x="2105" y="335"/>
                  </a:lnTo>
                  <a:lnTo>
                    <a:pt x="2105" y="335"/>
                  </a:lnTo>
                  <a:lnTo>
                    <a:pt x="2101" y="339"/>
                  </a:lnTo>
                  <a:lnTo>
                    <a:pt x="2105" y="339"/>
                  </a:lnTo>
                  <a:lnTo>
                    <a:pt x="2101" y="339"/>
                  </a:lnTo>
                  <a:lnTo>
                    <a:pt x="2101" y="339"/>
                  </a:lnTo>
                  <a:lnTo>
                    <a:pt x="2105" y="344"/>
                  </a:lnTo>
                  <a:lnTo>
                    <a:pt x="2105" y="344"/>
                  </a:lnTo>
                  <a:lnTo>
                    <a:pt x="2105" y="344"/>
                  </a:lnTo>
                  <a:lnTo>
                    <a:pt x="2110" y="344"/>
                  </a:lnTo>
                  <a:lnTo>
                    <a:pt x="2105" y="348"/>
                  </a:lnTo>
                  <a:lnTo>
                    <a:pt x="2105" y="348"/>
                  </a:lnTo>
                  <a:lnTo>
                    <a:pt x="2105" y="348"/>
                  </a:lnTo>
                  <a:lnTo>
                    <a:pt x="2105" y="348"/>
                  </a:lnTo>
                  <a:lnTo>
                    <a:pt x="2105" y="344"/>
                  </a:lnTo>
                  <a:lnTo>
                    <a:pt x="2105" y="344"/>
                  </a:lnTo>
                  <a:lnTo>
                    <a:pt x="2105" y="344"/>
                  </a:lnTo>
                  <a:lnTo>
                    <a:pt x="2101" y="344"/>
                  </a:lnTo>
                  <a:lnTo>
                    <a:pt x="2096" y="344"/>
                  </a:lnTo>
                  <a:lnTo>
                    <a:pt x="2096" y="344"/>
                  </a:lnTo>
                  <a:lnTo>
                    <a:pt x="2096" y="348"/>
                  </a:lnTo>
                  <a:lnTo>
                    <a:pt x="2096" y="348"/>
                  </a:lnTo>
                  <a:lnTo>
                    <a:pt x="2096" y="344"/>
                  </a:lnTo>
                  <a:lnTo>
                    <a:pt x="2092" y="348"/>
                  </a:lnTo>
                  <a:lnTo>
                    <a:pt x="2092" y="348"/>
                  </a:lnTo>
                  <a:lnTo>
                    <a:pt x="2087" y="348"/>
                  </a:lnTo>
                  <a:lnTo>
                    <a:pt x="2083" y="353"/>
                  </a:lnTo>
                  <a:lnTo>
                    <a:pt x="2083" y="353"/>
                  </a:lnTo>
                  <a:lnTo>
                    <a:pt x="2083" y="353"/>
                  </a:lnTo>
                  <a:lnTo>
                    <a:pt x="2083" y="353"/>
                  </a:lnTo>
                  <a:lnTo>
                    <a:pt x="2083" y="353"/>
                  </a:lnTo>
                  <a:lnTo>
                    <a:pt x="2087" y="353"/>
                  </a:lnTo>
                  <a:lnTo>
                    <a:pt x="2087" y="353"/>
                  </a:lnTo>
                  <a:lnTo>
                    <a:pt x="2092" y="353"/>
                  </a:lnTo>
                  <a:lnTo>
                    <a:pt x="2096" y="353"/>
                  </a:lnTo>
                  <a:lnTo>
                    <a:pt x="2101" y="353"/>
                  </a:lnTo>
                  <a:lnTo>
                    <a:pt x="2101" y="353"/>
                  </a:lnTo>
                  <a:lnTo>
                    <a:pt x="2101" y="353"/>
                  </a:lnTo>
                  <a:lnTo>
                    <a:pt x="2096" y="353"/>
                  </a:lnTo>
                  <a:lnTo>
                    <a:pt x="2096" y="353"/>
                  </a:lnTo>
                  <a:lnTo>
                    <a:pt x="2101" y="353"/>
                  </a:lnTo>
                  <a:lnTo>
                    <a:pt x="2101" y="353"/>
                  </a:lnTo>
                  <a:lnTo>
                    <a:pt x="2101" y="353"/>
                  </a:lnTo>
                  <a:lnTo>
                    <a:pt x="2096" y="353"/>
                  </a:lnTo>
                  <a:lnTo>
                    <a:pt x="2096" y="353"/>
                  </a:lnTo>
                  <a:lnTo>
                    <a:pt x="2092" y="353"/>
                  </a:lnTo>
                  <a:lnTo>
                    <a:pt x="2087" y="357"/>
                  </a:lnTo>
                  <a:lnTo>
                    <a:pt x="2083" y="357"/>
                  </a:lnTo>
                  <a:lnTo>
                    <a:pt x="2083" y="357"/>
                  </a:lnTo>
                  <a:lnTo>
                    <a:pt x="2083" y="362"/>
                  </a:lnTo>
                  <a:lnTo>
                    <a:pt x="2078" y="362"/>
                  </a:lnTo>
                  <a:lnTo>
                    <a:pt x="2083" y="366"/>
                  </a:lnTo>
                  <a:lnTo>
                    <a:pt x="2083" y="371"/>
                  </a:lnTo>
                  <a:lnTo>
                    <a:pt x="2083" y="371"/>
                  </a:lnTo>
                  <a:lnTo>
                    <a:pt x="2083" y="375"/>
                  </a:lnTo>
                  <a:lnTo>
                    <a:pt x="2083" y="375"/>
                  </a:lnTo>
                  <a:lnTo>
                    <a:pt x="2083" y="375"/>
                  </a:lnTo>
                  <a:lnTo>
                    <a:pt x="2083" y="375"/>
                  </a:lnTo>
                  <a:lnTo>
                    <a:pt x="2087" y="375"/>
                  </a:lnTo>
                  <a:lnTo>
                    <a:pt x="2087" y="380"/>
                  </a:lnTo>
                  <a:lnTo>
                    <a:pt x="2087" y="380"/>
                  </a:lnTo>
                  <a:lnTo>
                    <a:pt x="2087" y="380"/>
                  </a:lnTo>
                  <a:lnTo>
                    <a:pt x="2092" y="375"/>
                  </a:lnTo>
                  <a:lnTo>
                    <a:pt x="2096" y="375"/>
                  </a:lnTo>
                  <a:lnTo>
                    <a:pt x="2092" y="375"/>
                  </a:lnTo>
                  <a:lnTo>
                    <a:pt x="2087" y="380"/>
                  </a:lnTo>
                  <a:lnTo>
                    <a:pt x="2087" y="380"/>
                  </a:lnTo>
                  <a:lnTo>
                    <a:pt x="2087" y="380"/>
                  </a:lnTo>
                  <a:lnTo>
                    <a:pt x="2083" y="384"/>
                  </a:lnTo>
                  <a:lnTo>
                    <a:pt x="2083" y="384"/>
                  </a:lnTo>
                  <a:lnTo>
                    <a:pt x="2083" y="384"/>
                  </a:lnTo>
                  <a:lnTo>
                    <a:pt x="2083" y="384"/>
                  </a:lnTo>
                  <a:lnTo>
                    <a:pt x="2083" y="384"/>
                  </a:lnTo>
                  <a:lnTo>
                    <a:pt x="2087" y="389"/>
                  </a:lnTo>
                  <a:lnTo>
                    <a:pt x="2087" y="389"/>
                  </a:lnTo>
                  <a:lnTo>
                    <a:pt x="2087" y="389"/>
                  </a:lnTo>
                  <a:lnTo>
                    <a:pt x="2087" y="389"/>
                  </a:lnTo>
                  <a:lnTo>
                    <a:pt x="2092" y="389"/>
                  </a:lnTo>
                  <a:lnTo>
                    <a:pt x="2087" y="393"/>
                  </a:lnTo>
                  <a:lnTo>
                    <a:pt x="2087" y="393"/>
                  </a:lnTo>
                  <a:lnTo>
                    <a:pt x="2087" y="393"/>
                  </a:lnTo>
                  <a:lnTo>
                    <a:pt x="2087" y="393"/>
                  </a:lnTo>
                  <a:lnTo>
                    <a:pt x="2092" y="393"/>
                  </a:lnTo>
                  <a:lnTo>
                    <a:pt x="2092" y="393"/>
                  </a:lnTo>
                  <a:lnTo>
                    <a:pt x="2092" y="393"/>
                  </a:lnTo>
                  <a:lnTo>
                    <a:pt x="2096" y="393"/>
                  </a:lnTo>
                  <a:lnTo>
                    <a:pt x="2096" y="393"/>
                  </a:lnTo>
                  <a:lnTo>
                    <a:pt x="2096" y="393"/>
                  </a:lnTo>
                  <a:lnTo>
                    <a:pt x="2096" y="393"/>
                  </a:lnTo>
                  <a:lnTo>
                    <a:pt x="2096" y="393"/>
                  </a:lnTo>
                  <a:lnTo>
                    <a:pt x="2092" y="393"/>
                  </a:lnTo>
                  <a:lnTo>
                    <a:pt x="2092" y="398"/>
                  </a:lnTo>
                  <a:lnTo>
                    <a:pt x="2087" y="398"/>
                  </a:lnTo>
                  <a:lnTo>
                    <a:pt x="2087" y="398"/>
                  </a:lnTo>
                  <a:lnTo>
                    <a:pt x="2087" y="398"/>
                  </a:lnTo>
                  <a:lnTo>
                    <a:pt x="2087" y="398"/>
                  </a:lnTo>
                  <a:lnTo>
                    <a:pt x="2087" y="398"/>
                  </a:lnTo>
                  <a:lnTo>
                    <a:pt x="2092" y="402"/>
                  </a:lnTo>
                  <a:lnTo>
                    <a:pt x="2087" y="402"/>
                  </a:lnTo>
                  <a:lnTo>
                    <a:pt x="2087" y="402"/>
                  </a:lnTo>
                  <a:lnTo>
                    <a:pt x="2087" y="402"/>
                  </a:lnTo>
                  <a:lnTo>
                    <a:pt x="2092" y="402"/>
                  </a:lnTo>
                  <a:lnTo>
                    <a:pt x="2092" y="407"/>
                  </a:lnTo>
                  <a:lnTo>
                    <a:pt x="2087" y="407"/>
                  </a:lnTo>
                  <a:lnTo>
                    <a:pt x="2087" y="407"/>
                  </a:lnTo>
                  <a:lnTo>
                    <a:pt x="2092" y="407"/>
                  </a:lnTo>
                  <a:lnTo>
                    <a:pt x="2092" y="411"/>
                  </a:lnTo>
                  <a:lnTo>
                    <a:pt x="2096" y="411"/>
                  </a:lnTo>
                  <a:lnTo>
                    <a:pt x="2096" y="411"/>
                  </a:lnTo>
                  <a:lnTo>
                    <a:pt x="2096" y="411"/>
                  </a:lnTo>
                  <a:lnTo>
                    <a:pt x="2096" y="411"/>
                  </a:lnTo>
                  <a:lnTo>
                    <a:pt x="2092" y="416"/>
                  </a:lnTo>
                  <a:lnTo>
                    <a:pt x="2096" y="416"/>
                  </a:lnTo>
                  <a:lnTo>
                    <a:pt x="2096" y="416"/>
                  </a:lnTo>
                  <a:lnTo>
                    <a:pt x="2101" y="416"/>
                  </a:lnTo>
                  <a:lnTo>
                    <a:pt x="2101" y="416"/>
                  </a:lnTo>
                  <a:lnTo>
                    <a:pt x="2101" y="416"/>
                  </a:lnTo>
                  <a:lnTo>
                    <a:pt x="2096" y="416"/>
                  </a:lnTo>
                  <a:lnTo>
                    <a:pt x="2092" y="416"/>
                  </a:lnTo>
                  <a:lnTo>
                    <a:pt x="2096" y="421"/>
                  </a:lnTo>
                  <a:lnTo>
                    <a:pt x="2096" y="421"/>
                  </a:lnTo>
                  <a:lnTo>
                    <a:pt x="2096" y="421"/>
                  </a:lnTo>
                  <a:lnTo>
                    <a:pt x="2096" y="421"/>
                  </a:lnTo>
                  <a:lnTo>
                    <a:pt x="2101" y="421"/>
                  </a:lnTo>
                  <a:lnTo>
                    <a:pt x="2101" y="416"/>
                  </a:lnTo>
                  <a:lnTo>
                    <a:pt x="2101" y="416"/>
                  </a:lnTo>
                  <a:lnTo>
                    <a:pt x="2101" y="416"/>
                  </a:lnTo>
                  <a:lnTo>
                    <a:pt x="2101" y="416"/>
                  </a:lnTo>
                  <a:lnTo>
                    <a:pt x="2105" y="416"/>
                  </a:lnTo>
                  <a:lnTo>
                    <a:pt x="2105" y="416"/>
                  </a:lnTo>
                  <a:lnTo>
                    <a:pt x="2105" y="421"/>
                  </a:lnTo>
                  <a:lnTo>
                    <a:pt x="2110" y="416"/>
                  </a:lnTo>
                  <a:lnTo>
                    <a:pt x="2110" y="416"/>
                  </a:lnTo>
                  <a:lnTo>
                    <a:pt x="2110" y="416"/>
                  </a:lnTo>
                  <a:lnTo>
                    <a:pt x="2114" y="416"/>
                  </a:lnTo>
                  <a:lnTo>
                    <a:pt x="2114" y="416"/>
                  </a:lnTo>
                  <a:lnTo>
                    <a:pt x="2114" y="416"/>
                  </a:lnTo>
                  <a:lnTo>
                    <a:pt x="2119" y="416"/>
                  </a:lnTo>
                  <a:lnTo>
                    <a:pt x="2123" y="411"/>
                  </a:lnTo>
                  <a:lnTo>
                    <a:pt x="2123" y="411"/>
                  </a:lnTo>
                  <a:lnTo>
                    <a:pt x="2128" y="411"/>
                  </a:lnTo>
                  <a:lnTo>
                    <a:pt x="2128" y="411"/>
                  </a:lnTo>
                  <a:lnTo>
                    <a:pt x="2128" y="411"/>
                  </a:lnTo>
                  <a:lnTo>
                    <a:pt x="2128" y="411"/>
                  </a:lnTo>
                  <a:lnTo>
                    <a:pt x="2128" y="411"/>
                  </a:lnTo>
                  <a:lnTo>
                    <a:pt x="2123" y="416"/>
                  </a:lnTo>
                  <a:lnTo>
                    <a:pt x="2123" y="416"/>
                  </a:lnTo>
                  <a:lnTo>
                    <a:pt x="2119" y="421"/>
                  </a:lnTo>
                  <a:lnTo>
                    <a:pt x="2119" y="421"/>
                  </a:lnTo>
                  <a:lnTo>
                    <a:pt x="2119" y="421"/>
                  </a:lnTo>
                  <a:lnTo>
                    <a:pt x="2123" y="425"/>
                  </a:lnTo>
                  <a:lnTo>
                    <a:pt x="2123" y="425"/>
                  </a:lnTo>
                  <a:lnTo>
                    <a:pt x="2123" y="425"/>
                  </a:lnTo>
                  <a:lnTo>
                    <a:pt x="2128" y="425"/>
                  </a:lnTo>
                  <a:lnTo>
                    <a:pt x="2128" y="425"/>
                  </a:lnTo>
                  <a:lnTo>
                    <a:pt x="2128" y="425"/>
                  </a:lnTo>
                  <a:lnTo>
                    <a:pt x="2132" y="425"/>
                  </a:lnTo>
                  <a:lnTo>
                    <a:pt x="2137" y="421"/>
                  </a:lnTo>
                  <a:lnTo>
                    <a:pt x="2137" y="421"/>
                  </a:lnTo>
                  <a:lnTo>
                    <a:pt x="2137" y="425"/>
                  </a:lnTo>
                  <a:lnTo>
                    <a:pt x="2132" y="425"/>
                  </a:lnTo>
                  <a:lnTo>
                    <a:pt x="2132" y="425"/>
                  </a:lnTo>
                  <a:lnTo>
                    <a:pt x="2128" y="425"/>
                  </a:lnTo>
                  <a:lnTo>
                    <a:pt x="2128" y="425"/>
                  </a:lnTo>
                  <a:lnTo>
                    <a:pt x="2128" y="430"/>
                  </a:lnTo>
                  <a:lnTo>
                    <a:pt x="2123" y="430"/>
                  </a:lnTo>
                  <a:lnTo>
                    <a:pt x="2132" y="434"/>
                  </a:lnTo>
                  <a:lnTo>
                    <a:pt x="2132" y="434"/>
                  </a:lnTo>
                  <a:lnTo>
                    <a:pt x="2137" y="434"/>
                  </a:lnTo>
                  <a:lnTo>
                    <a:pt x="2137" y="434"/>
                  </a:lnTo>
                  <a:lnTo>
                    <a:pt x="2137" y="430"/>
                  </a:lnTo>
                  <a:lnTo>
                    <a:pt x="2141" y="430"/>
                  </a:lnTo>
                  <a:lnTo>
                    <a:pt x="2141" y="430"/>
                  </a:lnTo>
                  <a:lnTo>
                    <a:pt x="2141" y="430"/>
                  </a:lnTo>
                  <a:lnTo>
                    <a:pt x="2137" y="434"/>
                  </a:lnTo>
                  <a:lnTo>
                    <a:pt x="2137" y="434"/>
                  </a:lnTo>
                  <a:lnTo>
                    <a:pt x="2137" y="434"/>
                  </a:lnTo>
                  <a:lnTo>
                    <a:pt x="2137" y="439"/>
                  </a:lnTo>
                  <a:lnTo>
                    <a:pt x="2137" y="439"/>
                  </a:lnTo>
                  <a:lnTo>
                    <a:pt x="2137" y="439"/>
                  </a:lnTo>
                  <a:lnTo>
                    <a:pt x="2137" y="439"/>
                  </a:lnTo>
                  <a:lnTo>
                    <a:pt x="2141" y="439"/>
                  </a:lnTo>
                  <a:lnTo>
                    <a:pt x="2137" y="439"/>
                  </a:lnTo>
                  <a:lnTo>
                    <a:pt x="2137" y="439"/>
                  </a:lnTo>
                  <a:lnTo>
                    <a:pt x="2141" y="439"/>
                  </a:lnTo>
                  <a:lnTo>
                    <a:pt x="2141" y="439"/>
                  </a:lnTo>
                  <a:lnTo>
                    <a:pt x="2146" y="439"/>
                  </a:lnTo>
                  <a:lnTo>
                    <a:pt x="2146" y="439"/>
                  </a:lnTo>
                  <a:lnTo>
                    <a:pt x="2146" y="439"/>
                  </a:lnTo>
                  <a:lnTo>
                    <a:pt x="2141" y="434"/>
                  </a:lnTo>
                  <a:lnTo>
                    <a:pt x="2141" y="434"/>
                  </a:lnTo>
                  <a:lnTo>
                    <a:pt x="2146" y="434"/>
                  </a:lnTo>
                  <a:lnTo>
                    <a:pt x="2146" y="439"/>
                  </a:lnTo>
                  <a:lnTo>
                    <a:pt x="2150" y="439"/>
                  </a:lnTo>
                  <a:lnTo>
                    <a:pt x="2150" y="434"/>
                  </a:lnTo>
                  <a:lnTo>
                    <a:pt x="2155" y="434"/>
                  </a:lnTo>
                  <a:lnTo>
                    <a:pt x="2155" y="430"/>
                  </a:lnTo>
                  <a:lnTo>
                    <a:pt x="2155" y="430"/>
                  </a:lnTo>
                  <a:lnTo>
                    <a:pt x="2155" y="430"/>
                  </a:lnTo>
                  <a:lnTo>
                    <a:pt x="2155" y="430"/>
                  </a:lnTo>
                  <a:lnTo>
                    <a:pt x="2155" y="425"/>
                  </a:lnTo>
                  <a:lnTo>
                    <a:pt x="2150" y="425"/>
                  </a:lnTo>
                  <a:lnTo>
                    <a:pt x="2150" y="425"/>
                  </a:lnTo>
                  <a:lnTo>
                    <a:pt x="2146" y="425"/>
                  </a:lnTo>
                  <a:lnTo>
                    <a:pt x="2146" y="425"/>
                  </a:lnTo>
                  <a:lnTo>
                    <a:pt x="2146" y="425"/>
                  </a:lnTo>
                  <a:lnTo>
                    <a:pt x="2150" y="425"/>
                  </a:lnTo>
                  <a:lnTo>
                    <a:pt x="2150" y="425"/>
                  </a:lnTo>
                  <a:lnTo>
                    <a:pt x="2155" y="425"/>
                  </a:lnTo>
                  <a:lnTo>
                    <a:pt x="2155" y="425"/>
                  </a:lnTo>
                  <a:lnTo>
                    <a:pt x="2155" y="425"/>
                  </a:lnTo>
                  <a:lnTo>
                    <a:pt x="2159" y="425"/>
                  </a:lnTo>
                  <a:lnTo>
                    <a:pt x="2164" y="421"/>
                  </a:lnTo>
                  <a:lnTo>
                    <a:pt x="2168" y="416"/>
                  </a:lnTo>
                  <a:lnTo>
                    <a:pt x="2173" y="411"/>
                  </a:lnTo>
                  <a:lnTo>
                    <a:pt x="2173" y="407"/>
                  </a:lnTo>
                  <a:lnTo>
                    <a:pt x="2178" y="407"/>
                  </a:lnTo>
                  <a:lnTo>
                    <a:pt x="2178" y="402"/>
                  </a:lnTo>
                  <a:lnTo>
                    <a:pt x="2173" y="402"/>
                  </a:lnTo>
                  <a:lnTo>
                    <a:pt x="2173" y="402"/>
                  </a:lnTo>
                  <a:lnTo>
                    <a:pt x="2178" y="402"/>
                  </a:lnTo>
                  <a:lnTo>
                    <a:pt x="2178" y="402"/>
                  </a:lnTo>
                  <a:lnTo>
                    <a:pt x="2182" y="402"/>
                  </a:lnTo>
                  <a:lnTo>
                    <a:pt x="2182" y="398"/>
                  </a:lnTo>
                  <a:lnTo>
                    <a:pt x="2182" y="398"/>
                  </a:lnTo>
                  <a:lnTo>
                    <a:pt x="2182" y="398"/>
                  </a:lnTo>
                  <a:lnTo>
                    <a:pt x="2182" y="393"/>
                  </a:lnTo>
                  <a:lnTo>
                    <a:pt x="2182" y="393"/>
                  </a:lnTo>
                  <a:lnTo>
                    <a:pt x="2182" y="393"/>
                  </a:lnTo>
                  <a:lnTo>
                    <a:pt x="2187" y="389"/>
                  </a:lnTo>
                  <a:lnTo>
                    <a:pt x="2187" y="389"/>
                  </a:lnTo>
                  <a:lnTo>
                    <a:pt x="2187" y="389"/>
                  </a:lnTo>
                  <a:lnTo>
                    <a:pt x="2187" y="389"/>
                  </a:lnTo>
                  <a:lnTo>
                    <a:pt x="2182" y="389"/>
                  </a:lnTo>
                  <a:lnTo>
                    <a:pt x="2182" y="384"/>
                  </a:lnTo>
                  <a:lnTo>
                    <a:pt x="2178" y="384"/>
                  </a:lnTo>
                  <a:lnTo>
                    <a:pt x="2178" y="384"/>
                  </a:lnTo>
                  <a:lnTo>
                    <a:pt x="2178" y="384"/>
                  </a:lnTo>
                  <a:lnTo>
                    <a:pt x="2182" y="384"/>
                  </a:lnTo>
                  <a:lnTo>
                    <a:pt x="2187" y="384"/>
                  </a:lnTo>
                  <a:lnTo>
                    <a:pt x="2187" y="384"/>
                  </a:lnTo>
                  <a:lnTo>
                    <a:pt x="2187" y="384"/>
                  </a:lnTo>
                  <a:lnTo>
                    <a:pt x="2191" y="384"/>
                  </a:lnTo>
                  <a:lnTo>
                    <a:pt x="2191" y="384"/>
                  </a:lnTo>
                  <a:lnTo>
                    <a:pt x="2196" y="380"/>
                  </a:lnTo>
                  <a:lnTo>
                    <a:pt x="2196" y="380"/>
                  </a:lnTo>
                  <a:lnTo>
                    <a:pt x="2196" y="380"/>
                  </a:lnTo>
                  <a:lnTo>
                    <a:pt x="2196" y="380"/>
                  </a:lnTo>
                  <a:lnTo>
                    <a:pt x="2191" y="380"/>
                  </a:lnTo>
                  <a:lnTo>
                    <a:pt x="2191" y="375"/>
                  </a:lnTo>
                  <a:lnTo>
                    <a:pt x="2191" y="375"/>
                  </a:lnTo>
                  <a:lnTo>
                    <a:pt x="2191" y="375"/>
                  </a:lnTo>
                  <a:lnTo>
                    <a:pt x="2191" y="375"/>
                  </a:lnTo>
                  <a:lnTo>
                    <a:pt x="2196" y="380"/>
                  </a:lnTo>
                  <a:lnTo>
                    <a:pt x="2196" y="380"/>
                  </a:lnTo>
                  <a:lnTo>
                    <a:pt x="2200" y="380"/>
                  </a:lnTo>
                  <a:lnTo>
                    <a:pt x="2200" y="380"/>
                  </a:lnTo>
                  <a:lnTo>
                    <a:pt x="2200" y="380"/>
                  </a:lnTo>
                  <a:lnTo>
                    <a:pt x="2205" y="375"/>
                  </a:lnTo>
                  <a:lnTo>
                    <a:pt x="2205" y="375"/>
                  </a:lnTo>
                  <a:lnTo>
                    <a:pt x="2205" y="375"/>
                  </a:lnTo>
                  <a:lnTo>
                    <a:pt x="2205" y="375"/>
                  </a:lnTo>
                  <a:lnTo>
                    <a:pt x="2209" y="371"/>
                  </a:lnTo>
                  <a:lnTo>
                    <a:pt x="2209" y="371"/>
                  </a:lnTo>
                  <a:lnTo>
                    <a:pt x="2209" y="371"/>
                  </a:lnTo>
                  <a:lnTo>
                    <a:pt x="2214" y="371"/>
                  </a:lnTo>
                  <a:lnTo>
                    <a:pt x="2214" y="371"/>
                  </a:lnTo>
                  <a:lnTo>
                    <a:pt x="2218" y="366"/>
                  </a:lnTo>
                  <a:lnTo>
                    <a:pt x="2218" y="366"/>
                  </a:lnTo>
                  <a:lnTo>
                    <a:pt x="2218" y="362"/>
                  </a:lnTo>
                  <a:lnTo>
                    <a:pt x="2218" y="357"/>
                  </a:lnTo>
                  <a:lnTo>
                    <a:pt x="2218" y="357"/>
                  </a:lnTo>
                  <a:lnTo>
                    <a:pt x="2214" y="357"/>
                  </a:lnTo>
                  <a:lnTo>
                    <a:pt x="2214" y="357"/>
                  </a:lnTo>
                  <a:lnTo>
                    <a:pt x="2214" y="357"/>
                  </a:lnTo>
                  <a:lnTo>
                    <a:pt x="2209" y="357"/>
                  </a:lnTo>
                  <a:lnTo>
                    <a:pt x="2214" y="357"/>
                  </a:lnTo>
                  <a:lnTo>
                    <a:pt x="2214" y="357"/>
                  </a:lnTo>
                  <a:lnTo>
                    <a:pt x="2214" y="357"/>
                  </a:lnTo>
                  <a:lnTo>
                    <a:pt x="2218" y="357"/>
                  </a:lnTo>
                  <a:lnTo>
                    <a:pt x="2218" y="357"/>
                  </a:lnTo>
                  <a:lnTo>
                    <a:pt x="2218" y="357"/>
                  </a:lnTo>
                  <a:lnTo>
                    <a:pt x="2223" y="357"/>
                  </a:lnTo>
                  <a:lnTo>
                    <a:pt x="2227" y="353"/>
                  </a:lnTo>
                  <a:lnTo>
                    <a:pt x="2227" y="353"/>
                  </a:lnTo>
                  <a:lnTo>
                    <a:pt x="2227" y="353"/>
                  </a:lnTo>
                  <a:lnTo>
                    <a:pt x="2227" y="353"/>
                  </a:lnTo>
                  <a:lnTo>
                    <a:pt x="2227" y="348"/>
                  </a:lnTo>
                  <a:lnTo>
                    <a:pt x="2227" y="348"/>
                  </a:lnTo>
                  <a:lnTo>
                    <a:pt x="2227" y="344"/>
                  </a:lnTo>
                  <a:lnTo>
                    <a:pt x="2223" y="344"/>
                  </a:lnTo>
                  <a:lnTo>
                    <a:pt x="2223" y="344"/>
                  </a:lnTo>
                  <a:lnTo>
                    <a:pt x="2223" y="344"/>
                  </a:lnTo>
                  <a:lnTo>
                    <a:pt x="2223" y="344"/>
                  </a:lnTo>
                  <a:lnTo>
                    <a:pt x="2223" y="339"/>
                  </a:lnTo>
                  <a:lnTo>
                    <a:pt x="2223" y="344"/>
                  </a:lnTo>
                  <a:lnTo>
                    <a:pt x="2227" y="339"/>
                  </a:lnTo>
                  <a:lnTo>
                    <a:pt x="2232" y="344"/>
                  </a:lnTo>
                  <a:lnTo>
                    <a:pt x="2236" y="344"/>
                  </a:lnTo>
                  <a:lnTo>
                    <a:pt x="2236" y="339"/>
                  </a:lnTo>
                  <a:lnTo>
                    <a:pt x="2241" y="339"/>
                  </a:lnTo>
                  <a:lnTo>
                    <a:pt x="2241" y="339"/>
                  </a:lnTo>
                  <a:lnTo>
                    <a:pt x="2241" y="339"/>
                  </a:lnTo>
                  <a:lnTo>
                    <a:pt x="2241" y="335"/>
                  </a:lnTo>
                  <a:lnTo>
                    <a:pt x="2236" y="335"/>
                  </a:lnTo>
                  <a:lnTo>
                    <a:pt x="2236" y="335"/>
                  </a:lnTo>
                  <a:lnTo>
                    <a:pt x="2241" y="335"/>
                  </a:lnTo>
                  <a:lnTo>
                    <a:pt x="2245" y="335"/>
                  </a:lnTo>
                  <a:lnTo>
                    <a:pt x="2250" y="335"/>
                  </a:lnTo>
                  <a:lnTo>
                    <a:pt x="2254" y="335"/>
                  </a:lnTo>
                  <a:lnTo>
                    <a:pt x="2263" y="330"/>
                  </a:lnTo>
                  <a:lnTo>
                    <a:pt x="2263" y="330"/>
                  </a:lnTo>
                  <a:lnTo>
                    <a:pt x="2263" y="330"/>
                  </a:lnTo>
                  <a:lnTo>
                    <a:pt x="2259" y="326"/>
                  </a:lnTo>
                  <a:lnTo>
                    <a:pt x="2259" y="326"/>
                  </a:lnTo>
                  <a:lnTo>
                    <a:pt x="2263" y="326"/>
                  </a:lnTo>
                  <a:lnTo>
                    <a:pt x="2263" y="326"/>
                  </a:lnTo>
                  <a:lnTo>
                    <a:pt x="2263" y="326"/>
                  </a:lnTo>
                  <a:lnTo>
                    <a:pt x="2268" y="321"/>
                  </a:lnTo>
                  <a:lnTo>
                    <a:pt x="2268" y="321"/>
                  </a:lnTo>
                  <a:lnTo>
                    <a:pt x="2272" y="321"/>
                  </a:lnTo>
                  <a:lnTo>
                    <a:pt x="2268" y="321"/>
                  </a:lnTo>
                  <a:lnTo>
                    <a:pt x="2268" y="317"/>
                  </a:lnTo>
                  <a:lnTo>
                    <a:pt x="2268" y="317"/>
                  </a:lnTo>
                  <a:lnTo>
                    <a:pt x="2272" y="317"/>
                  </a:lnTo>
                  <a:lnTo>
                    <a:pt x="2277" y="321"/>
                  </a:lnTo>
                  <a:lnTo>
                    <a:pt x="2277" y="321"/>
                  </a:lnTo>
                  <a:lnTo>
                    <a:pt x="2277" y="321"/>
                  </a:lnTo>
                  <a:lnTo>
                    <a:pt x="2272" y="321"/>
                  </a:lnTo>
                  <a:lnTo>
                    <a:pt x="2268" y="326"/>
                  </a:lnTo>
                  <a:lnTo>
                    <a:pt x="2268" y="326"/>
                  </a:lnTo>
                  <a:lnTo>
                    <a:pt x="2268" y="330"/>
                  </a:lnTo>
                  <a:lnTo>
                    <a:pt x="2268" y="330"/>
                  </a:lnTo>
                  <a:lnTo>
                    <a:pt x="2263" y="330"/>
                  </a:lnTo>
                  <a:lnTo>
                    <a:pt x="2263" y="335"/>
                  </a:lnTo>
                  <a:lnTo>
                    <a:pt x="2268" y="335"/>
                  </a:lnTo>
                  <a:lnTo>
                    <a:pt x="2268" y="335"/>
                  </a:lnTo>
                  <a:lnTo>
                    <a:pt x="2268" y="335"/>
                  </a:lnTo>
                  <a:lnTo>
                    <a:pt x="2272" y="335"/>
                  </a:lnTo>
                  <a:lnTo>
                    <a:pt x="2272" y="330"/>
                  </a:lnTo>
                  <a:lnTo>
                    <a:pt x="2272" y="330"/>
                  </a:lnTo>
                  <a:lnTo>
                    <a:pt x="2272" y="330"/>
                  </a:lnTo>
                  <a:lnTo>
                    <a:pt x="2277" y="330"/>
                  </a:lnTo>
                  <a:lnTo>
                    <a:pt x="2277" y="330"/>
                  </a:lnTo>
                  <a:lnTo>
                    <a:pt x="2277" y="330"/>
                  </a:lnTo>
                  <a:lnTo>
                    <a:pt x="2277" y="330"/>
                  </a:lnTo>
                  <a:lnTo>
                    <a:pt x="2281" y="330"/>
                  </a:lnTo>
                  <a:lnTo>
                    <a:pt x="2281" y="330"/>
                  </a:lnTo>
                  <a:lnTo>
                    <a:pt x="2281" y="330"/>
                  </a:lnTo>
                  <a:lnTo>
                    <a:pt x="2286" y="326"/>
                  </a:lnTo>
                  <a:lnTo>
                    <a:pt x="2286" y="326"/>
                  </a:lnTo>
                  <a:lnTo>
                    <a:pt x="2286" y="326"/>
                  </a:lnTo>
                  <a:lnTo>
                    <a:pt x="2286" y="326"/>
                  </a:lnTo>
                  <a:lnTo>
                    <a:pt x="2286" y="326"/>
                  </a:lnTo>
                  <a:lnTo>
                    <a:pt x="2286" y="330"/>
                  </a:lnTo>
                  <a:lnTo>
                    <a:pt x="2286" y="330"/>
                  </a:lnTo>
                  <a:lnTo>
                    <a:pt x="2290" y="326"/>
                  </a:lnTo>
                  <a:lnTo>
                    <a:pt x="2295" y="326"/>
                  </a:lnTo>
                  <a:lnTo>
                    <a:pt x="2295" y="326"/>
                  </a:lnTo>
                  <a:lnTo>
                    <a:pt x="2295" y="326"/>
                  </a:lnTo>
                  <a:lnTo>
                    <a:pt x="2295" y="321"/>
                  </a:lnTo>
                  <a:lnTo>
                    <a:pt x="2295" y="321"/>
                  </a:lnTo>
                  <a:lnTo>
                    <a:pt x="2295" y="321"/>
                  </a:lnTo>
                  <a:lnTo>
                    <a:pt x="2295" y="321"/>
                  </a:lnTo>
                  <a:lnTo>
                    <a:pt x="2295" y="317"/>
                  </a:lnTo>
                  <a:lnTo>
                    <a:pt x="2300" y="321"/>
                  </a:lnTo>
                  <a:lnTo>
                    <a:pt x="2300" y="321"/>
                  </a:lnTo>
                  <a:lnTo>
                    <a:pt x="2300" y="321"/>
                  </a:lnTo>
                  <a:lnTo>
                    <a:pt x="2300" y="321"/>
                  </a:lnTo>
                  <a:lnTo>
                    <a:pt x="2304" y="321"/>
                  </a:lnTo>
                  <a:lnTo>
                    <a:pt x="2304" y="321"/>
                  </a:lnTo>
                  <a:lnTo>
                    <a:pt x="2309" y="321"/>
                  </a:lnTo>
                  <a:lnTo>
                    <a:pt x="2313" y="317"/>
                  </a:lnTo>
                  <a:lnTo>
                    <a:pt x="2313" y="317"/>
                  </a:lnTo>
                  <a:lnTo>
                    <a:pt x="2313" y="317"/>
                  </a:lnTo>
                  <a:lnTo>
                    <a:pt x="2313" y="317"/>
                  </a:lnTo>
                  <a:lnTo>
                    <a:pt x="2318" y="317"/>
                  </a:lnTo>
                  <a:lnTo>
                    <a:pt x="2318" y="317"/>
                  </a:lnTo>
                  <a:lnTo>
                    <a:pt x="2318" y="317"/>
                  </a:lnTo>
                  <a:lnTo>
                    <a:pt x="2318" y="312"/>
                  </a:lnTo>
                  <a:lnTo>
                    <a:pt x="2322" y="312"/>
                  </a:lnTo>
                  <a:lnTo>
                    <a:pt x="2327" y="308"/>
                  </a:lnTo>
                  <a:lnTo>
                    <a:pt x="2331" y="303"/>
                  </a:lnTo>
                  <a:lnTo>
                    <a:pt x="2331" y="303"/>
                  </a:lnTo>
                  <a:lnTo>
                    <a:pt x="2331" y="303"/>
                  </a:lnTo>
                  <a:lnTo>
                    <a:pt x="2331" y="303"/>
                  </a:lnTo>
                  <a:lnTo>
                    <a:pt x="2331" y="303"/>
                  </a:lnTo>
                  <a:lnTo>
                    <a:pt x="2336" y="303"/>
                  </a:lnTo>
                  <a:lnTo>
                    <a:pt x="2336" y="298"/>
                  </a:lnTo>
                  <a:lnTo>
                    <a:pt x="2336" y="298"/>
                  </a:lnTo>
                  <a:lnTo>
                    <a:pt x="2340" y="298"/>
                  </a:lnTo>
                  <a:lnTo>
                    <a:pt x="2340" y="298"/>
                  </a:lnTo>
                  <a:lnTo>
                    <a:pt x="2340" y="294"/>
                  </a:lnTo>
                  <a:lnTo>
                    <a:pt x="2349" y="294"/>
                  </a:lnTo>
                  <a:lnTo>
                    <a:pt x="2349" y="294"/>
                  </a:lnTo>
                  <a:lnTo>
                    <a:pt x="2349" y="294"/>
                  </a:lnTo>
                  <a:lnTo>
                    <a:pt x="2354" y="289"/>
                  </a:lnTo>
                  <a:lnTo>
                    <a:pt x="2354" y="289"/>
                  </a:lnTo>
                  <a:lnTo>
                    <a:pt x="2354" y="289"/>
                  </a:lnTo>
                  <a:lnTo>
                    <a:pt x="2354" y="285"/>
                  </a:lnTo>
                  <a:lnTo>
                    <a:pt x="2354" y="285"/>
                  </a:lnTo>
                  <a:lnTo>
                    <a:pt x="2354" y="285"/>
                  </a:lnTo>
                  <a:lnTo>
                    <a:pt x="2354" y="285"/>
                  </a:lnTo>
                  <a:lnTo>
                    <a:pt x="2354" y="285"/>
                  </a:lnTo>
                  <a:lnTo>
                    <a:pt x="2354" y="285"/>
                  </a:lnTo>
                  <a:lnTo>
                    <a:pt x="2354" y="285"/>
                  </a:lnTo>
                  <a:lnTo>
                    <a:pt x="2354" y="285"/>
                  </a:lnTo>
                  <a:lnTo>
                    <a:pt x="2354" y="280"/>
                  </a:lnTo>
                  <a:lnTo>
                    <a:pt x="2354" y="285"/>
                  </a:lnTo>
                  <a:lnTo>
                    <a:pt x="2358" y="285"/>
                  </a:lnTo>
                  <a:lnTo>
                    <a:pt x="2363" y="289"/>
                  </a:lnTo>
                  <a:lnTo>
                    <a:pt x="2363" y="289"/>
                  </a:lnTo>
                  <a:lnTo>
                    <a:pt x="2367" y="289"/>
                  </a:lnTo>
                  <a:lnTo>
                    <a:pt x="2367" y="289"/>
                  </a:lnTo>
                  <a:lnTo>
                    <a:pt x="2372" y="289"/>
                  </a:lnTo>
                  <a:lnTo>
                    <a:pt x="2372" y="289"/>
                  </a:lnTo>
                  <a:lnTo>
                    <a:pt x="2372" y="285"/>
                  </a:lnTo>
                  <a:lnTo>
                    <a:pt x="2372" y="285"/>
                  </a:lnTo>
                  <a:lnTo>
                    <a:pt x="2376" y="289"/>
                  </a:lnTo>
                  <a:lnTo>
                    <a:pt x="2376" y="289"/>
                  </a:lnTo>
                  <a:lnTo>
                    <a:pt x="2381" y="285"/>
                  </a:lnTo>
                  <a:lnTo>
                    <a:pt x="2381" y="285"/>
                  </a:lnTo>
                  <a:close/>
                  <a:moveTo>
                    <a:pt x="2114" y="244"/>
                  </a:moveTo>
                  <a:lnTo>
                    <a:pt x="2114" y="244"/>
                  </a:lnTo>
                  <a:lnTo>
                    <a:pt x="2110" y="244"/>
                  </a:lnTo>
                  <a:lnTo>
                    <a:pt x="2110" y="249"/>
                  </a:lnTo>
                  <a:lnTo>
                    <a:pt x="2110" y="249"/>
                  </a:lnTo>
                  <a:lnTo>
                    <a:pt x="2110" y="249"/>
                  </a:lnTo>
                  <a:lnTo>
                    <a:pt x="2110" y="249"/>
                  </a:lnTo>
                  <a:lnTo>
                    <a:pt x="2110" y="253"/>
                  </a:lnTo>
                  <a:lnTo>
                    <a:pt x="2114" y="253"/>
                  </a:lnTo>
                  <a:lnTo>
                    <a:pt x="2114" y="253"/>
                  </a:lnTo>
                  <a:lnTo>
                    <a:pt x="2119" y="253"/>
                  </a:lnTo>
                  <a:lnTo>
                    <a:pt x="2119" y="253"/>
                  </a:lnTo>
                  <a:lnTo>
                    <a:pt x="2119" y="253"/>
                  </a:lnTo>
                  <a:lnTo>
                    <a:pt x="2119" y="253"/>
                  </a:lnTo>
                  <a:lnTo>
                    <a:pt x="2119" y="253"/>
                  </a:lnTo>
                  <a:lnTo>
                    <a:pt x="2114" y="253"/>
                  </a:lnTo>
                  <a:lnTo>
                    <a:pt x="2114" y="253"/>
                  </a:lnTo>
                  <a:lnTo>
                    <a:pt x="2114" y="253"/>
                  </a:lnTo>
                  <a:lnTo>
                    <a:pt x="2114" y="253"/>
                  </a:lnTo>
                  <a:lnTo>
                    <a:pt x="2114" y="253"/>
                  </a:lnTo>
                  <a:lnTo>
                    <a:pt x="2114" y="258"/>
                  </a:lnTo>
                  <a:lnTo>
                    <a:pt x="2114" y="258"/>
                  </a:lnTo>
                  <a:lnTo>
                    <a:pt x="2114" y="258"/>
                  </a:lnTo>
                  <a:lnTo>
                    <a:pt x="2114" y="258"/>
                  </a:lnTo>
                  <a:lnTo>
                    <a:pt x="2119" y="258"/>
                  </a:lnTo>
                  <a:lnTo>
                    <a:pt x="2123" y="258"/>
                  </a:lnTo>
                  <a:lnTo>
                    <a:pt x="2128" y="258"/>
                  </a:lnTo>
                  <a:lnTo>
                    <a:pt x="2137" y="253"/>
                  </a:lnTo>
                  <a:lnTo>
                    <a:pt x="2137" y="253"/>
                  </a:lnTo>
                  <a:lnTo>
                    <a:pt x="2141" y="253"/>
                  </a:lnTo>
                  <a:lnTo>
                    <a:pt x="2141" y="253"/>
                  </a:lnTo>
                  <a:lnTo>
                    <a:pt x="2141" y="253"/>
                  </a:lnTo>
                  <a:lnTo>
                    <a:pt x="2141" y="249"/>
                  </a:lnTo>
                  <a:lnTo>
                    <a:pt x="2141" y="249"/>
                  </a:lnTo>
                  <a:lnTo>
                    <a:pt x="2141" y="249"/>
                  </a:lnTo>
                  <a:lnTo>
                    <a:pt x="2141" y="249"/>
                  </a:lnTo>
                  <a:lnTo>
                    <a:pt x="2141" y="249"/>
                  </a:lnTo>
                  <a:lnTo>
                    <a:pt x="2141" y="249"/>
                  </a:lnTo>
                  <a:lnTo>
                    <a:pt x="2137" y="249"/>
                  </a:lnTo>
                  <a:lnTo>
                    <a:pt x="2137" y="244"/>
                  </a:lnTo>
                  <a:lnTo>
                    <a:pt x="2132" y="240"/>
                  </a:lnTo>
                  <a:lnTo>
                    <a:pt x="2132" y="240"/>
                  </a:lnTo>
                  <a:lnTo>
                    <a:pt x="2132" y="240"/>
                  </a:lnTo>
                  <a:lnTo>
                    <a:pt x="2123" y="240"/>
                  </a:lnTo>
                  <a:lnTo>
                    <a:pt x="2123" y="240"/>
                  </a:lnTo>
                  <a:lnTo>
                    <a:pt x="2119" y="240"/>
                  </a:lnTo>
                  <a:lnTo>
                    <a:pt x="2114" y="240"/>
                  </a:lnTo>
                  <a:lnTo>
                    <a:pt x="2114" y="240"/>
                  </a:lnTo>
                  <a:lnTo>
                    <a:pt x="2114" y="240"/>
                  </a:lnTo>
                  <a:lnTo>
                    <a:pt x="2114" y="240"/>
                  </a:lnTo>
                  <a:lnTo>
                    <a:pt x="2114" y="240"/>
                  </a:lnTo>
                  <a:lnTo>
                    <a:pt x="2114" y="244"/>
                  </a:lnTo>
                  <a:lnTo>
                    <a:pt x="2114" y="244"/>
                  </a:lnTo>
                  <a:lnTo>
                    <a:pt x="2119" y="244"/>
                  </a:lnTo>
                  <a:lnTo>
                    <a:pt x="2119" y="244"/>
                  </a:lnTo>
                  <a:lnTo>
                    <a:pt x="2114" y="244"/>
                  </a:lnTo>
                  <a:close/>
                  <a:moveTo>
                    <a:pt x="1775" y="1587"/>
                  </a:moveTo>
                  <a:lnTo>
                    <a:pt x="1775" y="1592"/>
                  </a:lnTo>
                  <a:lnTo>
                    <a:pt x="1775" y="1596"/>
                  </a:lnTo>
                  <a:lnTo>
                    <a:pt x="1771" y="1601"/>
                  </a:lnTo>
                  <a:lnTo>
                    <a:pt x="1771" y="1605"/>
                  </a:lnTo>
                  <a:lnTo>
                    <a:pt x="1771" y="1605"/>
                  </a:lnTo>
                  <a:lnTo>
                    <a:pt x="1775" y="1601"/>
                  </a:lnTo>
                  <a:lnTo>
                    <a:pt x="1780" y="1601"/>
                  </a:lnTo>
                  <a:lnTo>
                    <a:pt x="1780" y="1596"/>
                  </a:lnTo>
                  <a:lnTo>
                    <a:pt x="1780" y="1596"/>
                  </a:lnTo>
                  <a:lnTo>
                    <a:pt x="1784" y="1587"/>
                  </a:lnTo>
                  <a:lnTo>
                    <a:pt x="1780" y="1587"/>
                  </a:lnTo>
                  <a:lnTo>
                    <a:pt x="1780" y="1587"/>
                  </a:lnTo>
                  <a:lnTo>
                    <a:pt x="1775" y="1587"/>
                  </a:lnTo>
                  <a:close/>
                  <a:moveTo>
                    <a:pt x="5317" y="2487"/>
                  </a:moveTo>
                  <a:lnTo>
                    <a:pt x="5313" y="2487"/>
                  </a:lnTo>
                  <a:lnTo>
                    <a:pt x="5313" y="2487"/>
                  </a:lnTo>
                  <a:lnTo>
                    <a:pt x="5313" y="2487"/>
                  </a:lnTo>
                  <a:lnTo>
                    <a:pt x="5317" y="2487"/>
                  </a:lnTo>
                  <a:lnTo>
                    <a:pt x="5317" y="2482"/>
                  </a:lnTo>
                  <a:lnTo>
                    <a:pt x="5317" y="2482"/>
                  </a:lnTo>
                  <a:lnTo>
                    <a:pt x="5317" y="2482"/>
                  </a:lnTo>
                  <a:lnTo>
                    <a:pt x="5317" y="2482"/>
                  </a:lnTo>
                  <a:lnTo>
                    <a:pt x="5317" y="2482"/>
                  </a:lnTo>
                  <a:lnTo>
                    <a:pt x="5317" y="2482"/>
                  </a:lnTo>
                  <a:lnTo>
                    <a:pt x="5317" y="2482"/>
                  </a:lnTo>
                  <a:lnTo>
                    <a:pt x="5317" y="2482"/>
                  </a:lnTo>
                  <a:lnTo>
                    <a:pt x="5317" y="2482"/>
                  </a:lnTo>
                  <a:lnTo>
                    <a:pt x="5313" y="2482"/>
                  </a:lnTo>
                  <a:lnTo>
                    <a:pt x="5313" y="2482"/>
                  </a:lnTo>
                  <a:lnTo>
                    <a:pt x="5313" y="2482"/>
                  </a:lnTo>
                  <a:lnTo>
                    <a:pt x="5313" y="2482"/>
                  </a:lnTo>
                  <a:lnTo>
                    <a:pt x="5313" y="2487"/>
                  </a:lnTo>
                  <a:lnTo>
                    <a:pt x="5308" y="2487"/>
                  </a:lnTo>
                  <a:lnTo>
                    <a:pt x="5308" y="2487"/>
                  </a:lnTo>
                  <a:lnTo>
                    <a:pt x="5308" y="2487"/>
                  </a:lnTo>
                  <a:lnTo>
                    <a:pt x="5313" y="2482"/>
                  </a:lnTo>
                  <a:lnTo>
                    <a:pt x="5313" y="2482"/>
                  </a:lnTo>
                  <a:lnTo>
                    <a:pt x="5313" y="2482"/>
                  </a:lnTo>
                  <a:lnTo>
                    <a:pt x="5313" y="2482"/>
                  </a:lnTo>
                  <a:lnTo>
                    <a:pt x="5317" y="2482"/>
                  </a:lnTo>
                  <a:lnTo>
                    <a:pt x="5317" y="2478"/>
                  </a:lnTo>
                  <a:lnTo>
                    <a:pt x="5317" y="2478"/>
                  </a:lnTo>
                  <a:lnTo>
                    <a:pt x="5317" y="2482"/>
                  </a:lnTo>
                  <a:lnTo>
                    <a:pt x="5313" y="2482"/>
                  </a:lnTo>
                  <a:lnTo>
                    <a:pt x="5313" y="2482"/>
                  </a:lnTo>
                  <a:lnTo>
                    <a:pt x="5308" y="2482"/>
                  </a:lnTo>
                  <a:lnTo>
                    <a:pt x="5304" y="2482"/>
                  </a:lnTo>
                  <a:lnTo>
                    <a:pt x="5304" y="2482"/>
                  </a:lnTo>
                  <a:lnTo>
                    <a:pt x="5299" y="2487"/>
                  </a:lnTo>
                  <a:lnTo>
                    <a:pt x="5299" y="2487"/>
                  </a:lnTo>
                  <a:lnTo>
                    <a:pt x="5299" y="2482"/>
                  </a:lnTo>
                  <a:lnTo>
                    <a:pt x="5299" y="2482"/>
                  </a:lnTo>
                  <a:lnTo>
                    <a:pt x="5304" y="2478"/>
                  </a:lnTo>
                  <a:lnTo>
                    <a:pt x="5304" y="2478"/>
                  </a:lnTo>
                  <a:lnTo>
                    <a:pt x="5304" y="2478"/>
                  </a:lnTo>
                  <a:lnTo>
                    <a:pt x="5304" y="2473"/>
                  </a:lnTo>
                  <a:lnTo>
                    <a:pt x="5304" y="2473"/>
                  </a:lnTo>
                  <a:lnTo>
                    <a:pt x="5304" y="2473"/>
                  </a:lnTo>
                  <a:lnTo>
                    <a:pt x="5304" y="2469"/>
                  </a:lnTo>
                  <a:lnTo>
                    <a:pt x="5308" y="2469"/>
                  </a:lnTo>
                  <a:lnTo>
                    <a:pt x="5308" y="2469"/>
                  </a:lnTo>
                  <a:lnTo>
                    <a:pt x="5308" y="2469"/>
                  </a:lnTo>
                  <a:lnTo>
                    <a:pt x="5308" y="2469"/>
                  </a:lnTo>
                  <a:lnTo>
                    <a:pt x="5308" y="2469"/>
                  </a:lnTo>
                  <a:lnTo>
                    <a:pt x="5304" y="2469"/>
                  </a:lnTo>
                  <a:lnTo>
                    <a:pt x="5295" y="2473"/>
                  </a:lnTo>
                  <a:lnTo>
                    <a:pt x="5290" y="2478"/>
                  </a:lnTo>
                  <a:lnTo>
                    <a:pt x="5286" y="2482"/>
                  </a:lnTo>
                  <a:lnTo>
                    <a:pt x="5281" y="2487"/>
                  </a:lnTo>
                  <a:lnTo>
                    <a:pt x="5277" y="2487"/>
                  </a:lnTo>
                  <a:lnTo>
                    <a:pt x="5272" y="2491"/>
                  </a:lnTo>
                  <a:lnTo>
                    <a:pt x="5272" y="2491"/>
                  </a:lnTo>
                  <a:lnTo>
                    <a:pt x="5268" y="2491"/>
                  </a:lnTo>
                  <a:lnTo>
                    <a:pt x="5268" y="2491"/>
                  </a:lnTo>
                  <a:lnTo>
                    <a:pt x="5268" y="2491"/>
                  </a:lnTo>
                  <a:lnTo>
                    <a:pt x="5263" y="2496"/>
                  </a:lnTo>
                  <a:lnTo>
                    <a:pt x="5259" y="2496"/>
                  </a:lnTo>
                  <a:lnTo>
                    <a:pt x="5259" y="2500"/>
                  </a:lnTo>
                  <a:lnTo>
                    <a:pt x="5254" y="2500"/>
                  </a:lnTo>
                  <a:lnTo>
                    <a:pt x="5250" y="2505"/>
                  </a:lnTo>
                  <a:lnTo>
                    <a:pt x="5250" y="2505"/>
                  </a:lnTo>
                  <a:lnTo>
                    <a:pt x="5250" y="2505"/>
                  </a:lnTo>
                  <a:lnTo>
                    <a:pt x="5250" y="2505"/>
                  </a:lnTo>
                  <a:lnTo>
                    <a:pt x="5250" y="2505"/>
                  </a:lnTo>
                  <a:lnTo>
                    <a:pt x="5250" y="2505"/>
                  </a:lnTo>
                  <a:lnTo>
                    <a:pt x="5245" y="2509"/>
                  </a:lnTo>
                  <a:lnTo>
                    <a:pt x="5240" y="2514"/>
                  </a:lnTo>
                  <a:lnTo>
                    <a:pt x="5240" y="2514"/>
                  </a:lnTo>
                  <a:lnTo>
                    <a:pt x="5240" y="2514"/>
                  </a:lnTo>
                  <a:lnTo>
                    <a:pt x="5240" y="2514"/>
                  </a:lnTo>
                  <a:lnTo>
                    <a:pt x="5240" y="2509"/>
                  </a:lnTo>
                  <a:lnTo>
                    <a:pt x="5240" y="2509"/>
                  </a:lnTo>
                  <a:lnTo>
                    <a:pt x="5236" y="2514"/>
                  </a:lnTo>
                  <a:lnTo>
                    <a:pt x="5236" y="2514"/>
                  </a:lnTo>
                  <a:lnTo>
                    <a:pt x="5231" y="2514"/>
                  </a:lnTo>
                  <a:lnTo>
                    <a:pt x="5231" y="2514"/>
                  </a:lnTo>
                  <a:lnTo>
                    <a:pt x="5231" y="2514"/>
                  </a:lnTo>
                  <a:lnTo>
                    <a:pt x="5231" y="2514"/>
                  </a:lnTo>
                  <a:lnTo>
                    <a:pt x="5231" y="2514"/>
                  </a:lnTo>
                  <a:lnTo>
                    <a:pt x="5231" y="2514"/>
                  </a:lnTo>
                  <a:lnTo>
                    <a:pt x="5231" y="2518"/>
                  </a:lnTo>
                  <a:lnTo>
                    <a:pt x="5227" y="2514"/>
                  </a:lnTo>
                  <a:lnTo>
                    <a:pt x="5227" y="2514"/>
                  </a:lnTo>
                  <a:lnTo>
                    <a:pt x="5227" y="2514"/>
                  </a:lnTo>
                  <a:lnTo>
                    <a:pt x="5227" y="2518"/>
                  </a:lnTo>
                  <a:lnTo>
                    <a:pt x="5227" y="2518"/>
                  </a:lnTo>
                  <a:lnTo>
                    <a:pt x="5227" y="2518"/>
                  </a:lnTo>
                  <a:lnTo>
                    <a:pt x="5227" y="2518"/>
                  </a:lnTo>
                  <a:lnTo>
                    <a:pt x="5222" y="2518"/>
                  </a:lnTo>
                  <a:lnTo>
                    <a:pt x="5222" y="2518"/>
                  </a:lnTo>
                  <a:lnTo>
                    <a:pt x="5222" y="2518"/>
                  </a:lnTo>
                  <a:lnTo>
                    <a:pt x="5222" y="2518"/>
                  </a:lnTo>
                  <a:lnTo>
                    <a:pt x="5218" y="2518"/>
                  </a:lnTo>
                  <a:lnTo>
                    <a:pt x="5218" y="2523"/>
                  </a:lnTo>
                  <a:lnTo>
                    <a:pt x="5213" y="2523"/>
                  </a:lnTo>
                  <a:lnTo>
                    <a:pt x="5213" y="2523"/>
                  </a:lnTo>
                  <a:lnTo>
                    <a:pt x="5213" y="2523"/>
                  </a:lnTo>
                  <a:lnTo>
                    <a:pt x="5213" y="2523"/>
                  </a:lnTo>
                  <a:lnTo>
                    <a:pt x="5213" y="2523"/>
                  </a:lnTo>
                  <a:lnTo>
                    <a:pt x="5209" y="2523"/>
                  </a:lnTo>
                  <a:lnTo>
                    <a:pt x="5209" y="2523"/>
                  </a:lnTo>
                  <a:lnTo>
                    <a:pt x="5209" y="2523"/>
                  </a:lnTo>
                  <a:lnTo>
                    <a:pt x="5204" y="2527"/>
                  </a:lnTo>
                  <a:lnTo>
                    <a:pt x="5200" y="2527"/>
                  </a:lnTo>
                  <a:lnTo>
                    <a:pt x="5195" y="2527"/>
                  </a:lnTo>
                  <a:lnTo>
                    <a:pt x="5195" y="2527"/>
                  </a:lnTo>
                  <a:lnTo>
                    <a:pt x="5195" y="2532"/>
                  </a:lnTo>
                  <a:lnTo>
                    <a:pt x="5195" y="2532"/>
                  </a:lnTo>
                  <a:lnTo>
                    <a:pt x="5195" y="2527"/>
                  </a:lnTo>
                  <a:lnTo>
                    <a:pt x="5191" y="2532"/>
                  </a:lnTo>
                  <a:lnTo>
                    <a:pt x="5186" y="2532"/>
                  </a:lnTo>
                  <a:lnTo>
                    <a:pt x="5186" y="2532"/>
                  </a:lnTo>
                  <a:lnTo>
                    <a:pt x="5186" y="2532"/>
                  </a:lnTo>
                  <a:lnTo>
                    <a:pt x="5182" y="2532"/>
                  </a:lnTo>
                  <a:lnTo>
                    <a:pt x="5182" y="2532"/>
                  </a:lnTo>
                  <a:lnTo>
                    <a:pt x="5177" y="2536"/>
                  </a:lnTo>
                  <a:lnTo>
                    <a:pt x="5168" y="2536"/>
                  </a:lnTo>
                  <a:lnTo>
                    <a:pt x="5164" y="2541"/>
                  </a:lnTo>
                  <a:lnTo>
                    <a:pt x="5164" y="2541"/>
                  </a:lnTo>
                  <a:lnTo>
                    <a:pt x="5164" y="2541"/>
                  </a:lnTo>
                  <a:lnTo>
                    <a:pt x="5164" y="2541"/>
                  </a:lnTo>
                  <a:lnTo>
                    <a:pt x="5164" y="2541"/>
                  </a:lnTo>
                  <a:lnTo>
                    <a:pt x="5164" y="2541"/>
                  </a:lnTo>
                  <a:lnTo>
                    <a:pt x="5159" y="2541"/>
                  </a:lnTo>
                  <a:lnTo>
                    <a:pt x="5159" y="2546"/>
                  </a:lnTo>
                  <a:lnTo>
                    <a:pt x="5155" y="2546"/>
                  </a:lnTo>
                  <a:lnTo>
                    <a:pt x="5155" y="2546"/>
                  </a:lnTo>
                  <a:lnTo>
                    <a:pt x="5155" y="2546"/>
                  </a:lnTo>
                  <a:lnTo>
                    <a:pt x="5155" y="2546"/>
                  </a:lnTo>
                  <a:lnTo>
                    <a:pt x="5150" y="2546"/>
                  </a:lnTo>
                  <a:lnTo>
                    <a:pt x="5150" y="2550"/>
                  </a:lnTo>
                  <a:lnTo>
                    <a:pt x="5155" y="2546"/>
                  </a:lnTo>
                  <a:lnTo>
                    <a:pt x="5146" y="2546"/>
                  </a:lnTo>
                  <a:lnTo>
                    <a:pt x="5146" y="2550"/>
                  </a:lnTo>
                  <a:lnTo>
                    <a:pt x="5146" y="2550"/>
                  </a:lnTo>
                  <a:lnTo>
                    <a:pt x="5146" y="2550"/>
                  </a:lnTo>
                  <a:lnTo>
                    <a:pt x="5146" y="2550"/>
                  </a:lnTo>
                  <a:lnTo>
                    <a:pt x="5146" y="2550"/>
                  </a:lnTo>
                  <a:lnTo>
                    <a:pt x="5141" y="2550"/>
                  </a:lnTo>
                  <a:lnTo>
                    <a:pt x="5141" y="2550"/>
                  </a:lnTo>
                  <a:lnTo>
                    <a:pt x="5141" y="2555"/>
                  </a:lnTo>
                  <a:lnTo>
                    <a:pt x="5141" y="2555"/>
                  </a:lnTo>
                  <a:lnTo>
                    <a:pt x="5141" y="2555"/>
                  </a:lnTo>
                  <a:lnTo>
                    <a:pt x="5141" y="2555"/>
                  </a:lnTo>
                  <a:lnTo>
                    <a:pt x="5141" y="2555"/>
                  </a:lnTo>
                  <a:lnTo>
                    <a:pt x="5141" y="2555"/>
                  </a:lnTo>
                  <a:lnTo>
                    <a:pt x="5141" y="2555"/>
                  </a:lnTo>
                  <a:lnTo>
                    <a:pt x="5137" y="2555"/>
                  </a:lnTo>
                  <a:lnTo>
                    <a:pt x="5137" y="2555"/>
                  </a:lnTo>
                  <a:lnTo>
                    <a:pt x="5137" y="2555"/>
                  </a:lnTo>
                  <a:lnTo>
                    <a:pt x="5137" y="2555"/>
                  </a:lnTo>
                  <a:lnTo>
                    <a:pt x="5137" y="2555"/>
                  </a:lnTo>
                  <a:lnTo>
                    <a:pt x="5137" y="2555"/>
                  </a:lnTo>
                  <a:lnTo>
                    <a:pt x="5132" y="2555"/>
                  </a:lnTo>
                  <a:lnTo>
                    <a:pt x="5132" y="2555"/>
                  </a:lnTo>
                  <a:lnTo>
                    <a:pt x="5132" y="2559"/>
                  </a:lnTo>
                  <a:lnTo>
                    <a:pt x="5132" y="2559"/>
                  </a:lnTo>
                  <a:lnTo>
                    <a:pt x="5132" y="2559"/>
                  </a:lnTo>
                  <a:lnTo>
                    <a:pt x="5132" y="2559"/>
                  </a:lnTo>
                  <a:lnTo>
                    <a:pt x="5128" y="2559"/>
                  </a:lnTo>
                  <a:lnTo>
                    <a:pt x="5128" y="2564"/>
                  </a:lnTo>
                  <a:lnTo>
                    <a:pt x="5132" y="2564"/>
                  </a:lnTo>
                  <a:lnTo>
                    <a:pt x="5128" y="2564"/>
                  </a:lnTo>
                  <a:lnTo>
                    <a:pt x="5128" y="2564"/>
                  </a:lnTo>
                  <a:lnTo>
                    <a:pt x="5123" y="2564"/>
                  </a:lnTo>
                  <a:lnTo>
                    <a:pt x="5123" y="2564"/>
                  </a:lnTo>
                  <a:lnTo>
                    <a:pt x="5119" y="2564"/>
                  </a:lnTo>
                  <a:lnTo>
                    <a:pt x="5119" y="2568"/>
                  </a:lnTo>
                  <a:lnTo>
                    <a:pt x="5119" y="2568"/>
                  </a:lnTo>
                  <a:lnTo>
                    <a:pt x="5123" y="2564"/>
                  </a:lnTo>
                  <a:lnTo>
                    <a:pt x="5123" y="2564"/>
                  </a:lnTo>
                  <a:lnTo>
                    <a:pt x="5123" y="2568"/>
                  </a:lnTo>
                  <a:lnTo>
                    <a:pt x="5119" y="2568"/>
                  </a:lnTo>
                  <a:lnTo>
                    <a:pt x="5119" y="2568"/>
                  </a:lnTo>
                  <a:lnTo>
                    <a:pt x="5123" y="2568"/>
                  </a:lnTo>
                  <a:lnTo>
                    <a:pt x="5123" y="2568"/>
                  </a:lnTo>
                  <a:lnTo>
                    <a:pt x="5119" y="2568"/>
                  </a:lnTo>
                  <a:lnTo>
                    <a:pt x="5119" y="2573"/>
                  </a:lnTo>
                  <a:lnTo>
                    <a:pt x="5119" y="2573"/>
                  </a:lnTo>
                  <a:lnTo>
                    <a:pt x="5123" y="2573"/>
                  </a:lnTo>
                  <a:lnTo>
                    <a:pt x="5123" y="2573"/>
                  </a:lnTo>
                  <a:lnTo>
                    <a:pt x="5123" y="2573"/>
                  </a:lnTo>
                  <a:lnTo>
                    <a:pt x="5128" y="2573"/>
                  </a:lnTo>
                  <a:lnTo>
                    <a:pt x="5128" y="2573"/>
                  </a:lnTo>
                  <a:lnTo>
                    <a:pt x="5128" y="2573"/>
                  </a:lnTo>
                  <a:lnTo>
                    <a:pt x="5128" y="2573"/>
                  </a:lnTo>
                  <a:lnTo>
                    <a:pt x="5128" y="2577"/>
                  </a:lnTo>
                  <a:lnTo>
                    <a:pt x="5128" y="2577"/>
                  </a:lnTo>
                  <a:lnTo>
                    <a:pt x="5132" y="2577"/>
                  </a:lnTo>
                  <a:lnTo>
                    <a:pt x="5132" y="2577"/>
                  </a:lnTo>
                  <a:lnTo>
                    <a:pt x="5132" y="2577"/>
                  </a:lnTo>
                  <a:lnTo>
                    <a:pt x="5132" y="2577"/>
                  </a:lnTo>
                  <a:lnTo>
                    <a:pt x="5132" y="2577"/>
                  </a:lnTo>
                  <a:lnTo>
                    <a:pt x="5132" y="2582"/>
                  </a:lnTo>
                  <a:lnTo>
                    <a:pt x="5132" y="2582"/>
                  </a:lnTo>
                  <a:lnTo>
                    <a:pt x="5132" y="2582"/>
                  </a:lnTo>
                  <a:lnTo>
                    <a:pt x="5132" y="2582"/>
                  </a:lnTo>
                  <a:lnTo>
                    <a:pt x="5132" y="2582"/>
                  </a:lnTo>
                  <a:lnTo>
                    <a:pt x="5132" y="2582"/>
                  </a:lnTo>
                  <a:lnTo>
                    <a:pt x="5132" y="2582"/>
                  </a:lnTo>
                  <a:lnTo>
                    <a:pt x="5137" y="2582"/>
                  </a:lnTo>
                  <a:lnTo>
                    <a:pt x="5137" y="2582"/>
                  </a:lnTo>
                  <a:lnTo>
                    <a:pt x="5137" y="2582"/>
                  </a:lnTo>
                  <a:lnTo>
                    <a:pt x="5137" y="2586"/>
                  </a:lnTo>
                  <a:lnTo>
                    <a:pt x="5141" y="2586"/>
                  </a:lnTo>
                  <a:lnTo>
                    <a:pt x="5146" y="2582"/>
                  </a:lnTo>
                  <a:lnTo>
                    <a:pt x="5150" y="2582"/>
                  </a:lnTo>
                  <a:lnTo>
                    <a:pt x="5150" y="2582"/>
                  </a:lnTo>
                  <a:lnTo>
                    <a:pt x="5155" y="2582"/>
                  </a:lnTo>
                  <a:lnTo>
                    <a:pt x="5164" y="2577"/>
                  </a:lnTo>
                  <a:lnTo>
                    <a:pt x="5164" y="2577"/>
                  </a:lnTo>
                  <a:lnTo>
                    <a:pt x="5168" y="2573"/>
                  </a:lnTo>
                  <a:lnTo>
                    <a:pt x="5168" y="2573"/>
                  </a:lnTo>
                  <a:lnTo>
                    <a:pt x="5173" y="2573"/>
                  </a:lnTo>
                  <a:lnTo>
                    <a:pt x="5177" y="2573"/>
                  </a:lnTo>
                  <a:lnTo>
                    <a:pt x="5177" y="2573"/>
                  </a:lnTo>
                  <a:lnTo>
                    <a:pt x="5177" y="2573"/>
                  </a:lnTo>
                  <a:lnTo>
                    <a:pt x="5177" y="2573"/>
                  </a:lnTo>
                  <a:lnTo>
                    <a:pt x="5177" y="2568"/>
                  </a:lnTo>
                  <a:lnTo>
                    <a:pt x="5177" y="2568"/>
                  </a:lnTo>
                  <a:lnTo>
                    <a:pt x="5177" y="2568"/>
                  </a:lnTo>
                  <a:lnTo>
                    <a:pt x="5182" y="2564"/>
                  </a:lnTo>
                  <a:lnTo>
                    <a:pt x="5186" y="2564"/>
                  </a:lnTo>
                  <a:lnTo>
                    <a:pt x="5191" y="2559"/>
                  </a:lnTo>
                  <a:lnTo>
                    <a:pt x="5195" y="2559"/>
                  </a:lnTo>
                  <a:lnTo>
                    <a:pt x="5195" y="2555"/>
                  </a:lnTo>
                  <a:lnTo>
                    <a:pt x="5200" y="2555"/>
                  </a:lnTo>
                  <a:lnTo>
                    <a:pt x="5200" y="2555"/>
                  </a:lnTo>
                  <a:lnTo>
                    <a:pt x="5200" y="2555"/>
                  </a:lnTo>
                  <a:lnTo>
                    <a:pt x="5200" y="2555"/>
                  </a:lnTo>
                  <a:lnTo>
                    <a:pt x="5204" y="2550"/>
                  </a:lnTo>
                  <a:lnTo>
                    <a:pt x="5209" y="2550"/>
                  </a:lnTo>
                  <a:lnTo>
                    <a:pt x="5209" y="2546"/>
                  </a:lnTo>
                  <a:lnTo>
                    <a:pt x="5213" y="2541"/>
                  </a:lnTo>
                  <a:lnTo>
                    <a:pt x="5213" y="2541"/>
                  </a:lnTo>
                  <a:lnTo>
                    <a:pt x="5213" y="2541"/>
                  </a:lnTo>
                  <a:lnTo>
                    <a:pt x="5218" y="2541"/>
                  </a:lnTo>
                  <a:lnTo>
                    <a:pt x="5218" y="2541"/>
                  </a:lnTo>
                  <a:lnTo>
                    <a:pt x="5218" y="2541"/>
                  </a:lnTo>
                  <a:lnTo>
                    <a:pt x="5222" y="2541"/>
                  </a:lnTo>
                  <a:lnTo>
                    <a:pt x="5222" y="2541"/>
                  </a:lnTo>
                  <a:lnTo>
                    <a:pt x="5222" y="2541"/>
                  </a:lnTo>
                  <a:lnTo>
                    <a:pt x="5227" y="2536"/>
                  </a:lnTo>
                  <a:lnTo>
                    <a:pt x="5227" y="2536"/>
                  </a:lnTo>
                  <a:lnTo>
                    <a:pt x="5231" y="2536"/>
                  </a:lnTo>
                  <a:lnTo>
                    <a:pt x="5231" y="2536"/>
                  </a:lnTo>
                  <a:lnTo>
                    <a:pt x="5236" y="2536"/>
                  </a:lnTo>
                  <a:lnTo>
                    <a:pt x="5236" y="2536"/>
                  </a:lnTo>
                  <a:lnTo>
                    <a:pt x="5236" y="2532"/>
                  </a:lnTo>
                  <a:lnTo>
                    <a:pt x="5236" y="2532"/>
                  </a:lnTo>
                  <a:lnTo>
                    <a:pt x="5236" y="2532"/>
                  </a:lnTo>
                  <a:lnTo>
                    <a:pt x="5236" y="2536"/>
                  </a:lnTo>
                  <a:lnTo>
                    <a:pt x="5236" y="2536"/>
                  </a:lnTo>
                  <a:lnTo>
                    <a:pt x="5236" y="2536"/>
                  </a:lnTo>
                  <a:lnTo>
                    <a:pt x="5240" y="2536"/>
                  </a:lnTo>
                  <a:lnTo>
                    <a:pt x="5240" y="2532"/>
                  </a:lnTo>
                  <a:lnTo>
                    <a:pt x="5240" y="2532"/>
                  </a:lnTo>
                  <a:lnTo>
                    <a:pt x="5240" y="2532"/>
                  </a:lnTo>
                  <a:lnTo>
                    <a:pt x="5240" y="2532"/>
                  </a:lnTo>
                  <a:lnTo>
                    <a:pt x="5240" y="2536"/>
                  </a:lnTo>
                  <a:lnTo>
                    <a:pt x="5240" y="2536"/>
                  </a:lnTo>
                  <a:lnTo>
                    <a:pt x="5240" y="2536"/>
                  </a:lnTo>
                  <a:lnTo>
                    <a:pt x="5240" y="2536"/>
                  </a:lnTo>
                  <a:lnTo>
                    <a:pt x="5245" y="2536"/>
                  </a:lnTo>
                  <a:lnTo>
                    <a:pt x="5245" y="2536"/>
                  </a:lnTo>
                  <a:lnTo>
                    <a:pt x="5245" y="2536"/>
                  </a:lnTo>
                  <a:lnTo>
                    <a:pt x="5245" y="2536"/>
                  </a:lnTo>
                  <a:lnTo>
                    <a:pt x="5245" y="2536"/>
                  </a:lnTo>
                  <a:lnTo>
                    <a:pt x="5250" y="2536"/>
                  </a:lnTo>
                  <a:lnTo>
                    <a:pt x="5250" y="2536"/>
                  </a:lnTo>
                  <a:lnTo>
                    <a:pt x="5250" y="2532"/>
                  </a:lnTo>
                  <a:lnTo>
                    <a:pt x="5250" y="2532"/>
                  </a:lnTo>
                  <a:lnTo>
                    <a:pt x="5250" y="2532"/>
                  </a:lnTo>
                  <a:lnTo>
                    <a:pt x="5250" y="2532"/>
                  </a:lnTo>
                  <a:lnTo>
                    <a:pt x="5250" y="2532"/>
                  </a:lnTo>
                  <a:lnTo>
                    <a:pt x="5250" y="2527"/>
                  </a:lnTo>
                  <a:lnTo>
                    <a:pt x="5250" y="2527"/>
                  </a:lnTo>
                  <a:lnTo>
                    <a:pt x="5250" y="2527"/>
                  </a:lnTo>
                  <a:lnTo>
                    <a:pt x="5250" y="2527"/>
                  </a:lnTo>
                  <a:lnTo>
                    <a:pt x="5250" y="2527"/>
                  </a:lnTo>
                  <a:lnTo>
                    <a:pt x="5250" y="2527"/>
                  </a:lnTo>
                  <a:lnTo>
                    <a:pt x="5250" y="2527"/>
                  </a:lnTo>
                  <a:lnTo>
                    <a:pt x="5254" y="2527"/>
                  </a:lnTo>
                  <a:lnTo>
                    <a:pt x="5254" y="2527"/>
                  </a:lnTo>
                  <a:lnTo>
                    <a:pt x="5254" y="2523"/>
                  </a:lnTo>
                  <a:lnTo>
                    <a:pt x="5254" y="2523"/>
                  </a:lnTo>
                  <a:lnTo>
                    <a:pt x="5254" y="2523"/>
                  </a:lnTo>
                  <a:lnTo>
                    <a:pt x="5259" y="2523"/>
                  </a:lnTo>
                  <a:lnTo>
                    <a:pt x="5259" y="2523"/>
                  </a:lnTo>
                  <a:lnTo>
                    <a:pt x="5263" y="2523"/>
                  </a:lnTo>
                  <a:lnTo>
                    <a:pt x="5263" y="2518"/>
                  </a:lnTo>
                  <a:lnTo>
                    <a:pt x="5268" y="2518"/>
                  </a:lnTo>
                  <a:lnTo>
                    <a:pt x="5272" y="2518"/>
                  </a:lnTo>
                  <a:lnTo>
                    <a:pt x="5281" y="2509"/>
                  </a:lnTo>
                  <a:lnTo>
                    <a:pt x="5281" y="2509"/>
                  </a:lnTo>
                  <a:lnTo>
                    <a:pt x="5290" y="2505"/>
                  </a:lnTo>
                  <a:lnTo>
                    <a:pt x="5290" y="2505"/>
                  </a:lnTo>
                  <a:lnTo>
                    <a:pt x="5290" y="2505"/>
                  </a:lnTo>
                  <a:lnTo>
                    <a:pt x="5295" y="2505"/>
                  </a:lnTo>
                  <a:lnTo>
                    <a:pt x="5295" y="2500"/>
                  </a:lnTo>
                  <a:lnTo>
                    <a:pt x="5304" y="2500"/>
                  </a:lnTo>
                  <a:lnTo>
                    <a:pt x="5304" y="2500"/>
                  </a:lnTo>
                  <a:lnTo>
                    <a:pt x="5304" y="2496"/>
                  </a:lnTo>
                  <a:lnTo>
                    <a:pt x="5304" y="2496"/>
                  </a:lnTo>
                  <a:lnTo>
                    <a:pt x="5304" y="2496"/>
                  </a:lnTo>
                  <a:lnTo>
                    <a:pt x="5304" y="2496"/>
                  </a:lnTo>
                  <a:lnTo>
                    <a:pt x="5308" y="2491"/>
                  </a:lnTo>
                  <a:lnTo>
                    <a:pt x="5308" y="2491"/>
                  </a:lnTo>
                  <a:lnTo>
                    <a:pt x="5308" y="2491"/>
                  </a:lnTo>
                  <a:lnTo>
                    <a:pt x="5308" y="2491"/>
                  </a:lnTo>
                  <a:lnTo>
                    <a:pt x="5308" y="2487"/>
                  </a:lnTo>
                  <a:lnTo>
                    <a:pt x="5313" y="2487"/>
                  </a:lnTo>
                  <a:lnTo>
                    <a:pt x="5313" y="2487"/>
                  </a:lnTo>
                  <a:lnTo>
                    <a:pt x="5313" y="2487"/>
                  </a:lnTo>
                  <a:lnTo>
                    <a:pt x="5317" y="2487"/>
                  </a:lnTo>
                  <a:lnTo>
                    <a:pt x="5317" y="2482"/>
                  </a:lnTo>
                  <a:lnTo>
                    <a:pt x="5317" y="2487"/>
                  </a:lnTo>
                  <a:close/>
                  <a:moveTo>
                    <a:pt x="5439" y="2419"/>
                  </a:moveTo>
                  <a:lnTo>
                    <a:pt x="5439" y="2419"/>
                  </a:lnTo>
                  <a:lnTo>
                    <a:pt x="5435" y="2419"/>
                  </a:lnTo>
                  <a:lnTo>
                    <a:pt x="5435" y="2419"/>
                  </a:lnTo>
                  <a:lnTo>
                    <a:pt x="5435" y="2419"/>
                  </a:lnTo>
                  <a:lnTo>
                    <a:pt x="5430" y="2419"/>
                  </a:lnTo>
                  <a:lnTo>
                    <a:pt x="5430" y="2419"/>
                  </a:lnTo>
                  <a:lnTo>
                    <a:pt x="5426" y="2423"/>
                  </a:lnTo>
                  <a:lnTo>
                    <a:pt x="5421" y="2423"/>
                  </a:lnTo>
                  <a:lnTo>
                    <a:pt x="5421" y="2423"/>
                  </a:lnTo>
                  <a:lnTo>
                    <a:pt x="5417" y="2428"/>
                  </a:lnTo>
                  <a:lnTo>
                    <a:pt x="5417" y="2428"/>
                  </a:lnTo>
                  <a:lnTo>
                    <a:pt x="5417" y="2423"/>
                  </a:lnTo>
                  <a:lnTo>
                    <a:pt x="5412" y="2423"/>
                  </a:lnTo>
                  <a:lnTo>
                    <a:pt x="5412" y="2423"/>
                  </a:lnTo>
                  <a:lnTo>
                    <a:pt x="5408" y="2419"/>
                  </a:lnTo>
                  <a:lnTo>
                    <a:pt x="5408" y="2419"/>
                  </a:lnTo>
                  <a:lnTo>
                    <a:pt x="5408" y="2419"/>
                  </a:lnTo>
                  <a:lnTo>
                    <a:pt x="5408" y="2414"/>
                  </a:lnTo>
                  <a:lnTo>
                    <a:pt x="5408" y="2414"/>
                  </a:lnTo>
                  <a:lnTo>
                    <a:pt x="5408" y="2414"/>
                  </a:lnTo>
                  <a:lnTo>
                    <a:pt x="5408" y="2414"/>
                  </a:lnTo>
                  <a:lnTo>
                    <a:pt x="5408" y="2414"/>
                  </a:lnTo>
                  <a:lnTo>
                    <a:pt x="5408" y="2414"/>
                  </a:lnTo>
                  <a:lnTo>
                    <a:pt x="5408" y="2410"/>
                  </a:lnTo>
                  <a:lnTo>
                    <a:pt x="5412" y="2405"/>
                  </a:lnTo>
                  <a:lnTo>
                    <a:pt x="5417" y="2401"/>
                  </a:lnTo>
                  <a:lnTo>
                    <a:pt x="5417" y="2401"/>
                  </a:lnTo>
                  <a:lnTo>
                    <a:pt x="5417" y="2396"/>
                  </a:lnTo>
                  <a:lnTo>
                    <a:pt x="5417" y="2396"/>
                  </a:lnTo>
                  <a:lnTo>
                    <a:pt x="5417" y="2396"/>
                  </a:lnTo>
                  <a:lnTo>
                    <a:pt x="5417" y="2392"/>
                  </a:lnTo>
                  <a:lnTo>
                    <a:pt x="5417" y="2392"/>
                  </a:lnTo>
                  <a:lnTo>
                    <a:pt x="5421" y="2392"/>
                  </a:lnTo>
                  <a:lnTo>
                    <a:pt x="5417" y="2392"/>
                  </a:lnTo>
                  <a:lnTo>
                    <a:pt x="5417" y="2392"/>
                  </a:lnTo>
                  <a:lnTo>
                    <a:pt x="5417" y="2392"/>
                  </a:lnTo>
                  <a:lnTo>
                    <a:pt x="5417" y="2396"/>
                  </a:lnTo>
                  <a:lnTo>
                    <a:pt x="5417" y="2396"/>
                  </a:lnTo>
                  <a:lnTo>
                    <a:pt x="5417" y="2396"/>
                  </a:lnTo>
                  <a:lnTo>
                    <a:pt x="5412" y="2396"/>
                  </a:lnTo>
                  <a:lnTo>
                    <a:pt x="5412" y="2401"/>
                  </a:lnTo>
                  <a:lnTo>
                    <a:pt x="5412" y="2401"/>
                  </a:lnTo>
                  <a:lnTo>
                    <a:pt x="5408" y="2405"/>
                  </a:lnTo>
                  <a:lnTo>
                    <a:pt x="5408" y="2405"/>
                  </a:lnTo>
                  <a:lnTo>
                    <a:pt x="5408" y="2405"/>
                  </a:lnTo>
                  <a:lnTo>
                    <a:pt x="5403" y="2405"/>
                  </a:lnTo>
                  <a:lnTo>
                    <a:pt x="5403" y="2405"/>
                  </a:lnTo>
                  <a:lnTo>
                    <a:pt x="5408" y="2401"/>
                  </a:lnTo>
                  <a:lnTo>
                    <a:pt x="5408" y="2401"/>
                  </a:lnTo>
                  <a:lnTo>
                    <a:pt x="5408" y="2401"/>
                  </a:lnTo>
                  <a:lnTo>
                    <a:pt x="5408" y="2401"/>
                  </a:lnTo>
                  <a:lnTo>
                    <a:pt x="5403" y="2396"/>
                  </a:lnTo>
                  <a:lnTo>
                    <a:pt x="5403" y="2396"/>
                  </a:lnTo>
                  <a:lnTo>
                    <a:pt x="5403" y="2401"/>
                  </a:lnTo>
                  <a:lnTo>
                    <a:pt x="5403" y="2396"/>
                  </a:lnTo>
                  <a:lnTo>
                    <a:pt x="5403" y="2396"/>
                  </a:lnTo>
                  <a:lnTo>
                    <a:pt x="5403" y="2396"/>
                  </a:lnTo>
                  <a:lnTo>
                    <a:pt x="5403" y="2396"/>
                  </a:lnTo>
                  <a:lnTo>
                    <a:pt x="5403" y="2396"/>
                  </a:lnTo>
                  <a:lnTo>
                    <a:pt x="5408" y="2392"/>
                  </a:lnTo>
                  <a:lnTo>
                    <a:pt x="5408" y="2392"/>
                  </a:lnTo>
                  <a:lnTo>
                    <a:pt x="5408" y="2392"/>
                  </a:lnTo>
                  <a:lnTo>
                    <a:pt x="5408" y="2387"/>
                  </a:lnTo>
                  <a:lnTo>
                    <a:pt x="5412" y="2387"/>
                  </a:lnTo>
                  <a:lnTo>
                    <a:pt x="5412" y="2387"/>
                  </a:lnTo>
                  <a:lnTo>
                    <a:pt x="5412" y="2383"/>
                  </a:lnTo>
                  <a:lnTo>
                    <a:pt x="5412" y="2378"/>
                  </a:lnTo>
                  <a:lnTo>
                    <a:pt x="5417" y="2378"/>
                  </a:lnTo>
                  <a:lnTo>
                    <a:pt x="5417" y="2374"/>
                  </a:lnTo>
                  <a:lnTo>
                    <a:pt x="5417" y="2374"/>
                  </a:lnTo>
                  <a:lnTo>
                    <a:pt x="5417" y="2374"/>
                  </a:lnTo>
                  <a:lnTo>
                    <a:pt x="5417" y="2374"/>
                  </a:lnTo>
                  <a:lnTo>
                    <a:pt x="5421" y="2374"/>
                  </a:lnTo>
                  <a:lnTo>
                    <a:pt x="5421" y="2369"/>
                  </a:lnTo>
                  <a:lnTo>
                    <a:pt x="5421" y="2369"/>
                  </a:lnTo>
                  <a:lnTo>
                    <a:pt x="5421" y="2369"/>
                  </a:lnTo>
                  <a:lnTo>
                    <a:pt x="5421" y="2365"/>
                  </a:lnTo>
                  <a:lnTo>
                    <a:pt x="5421" y="2365"/>
                  </a:lnTo>
                  <a:lnTo>
                    <a:pt x="5421" y="2365"/>
                  </a:lnTo>
                  <a:lnTo>
                    <a:pt x="5421" y="2365"/>
                  </a:lnTo>
                  <a:lnTo>
                    <a:pt x="5426" y="2365"/>
                  </a:lnTo>
                  <a:lnTo>
                    <a:pt x="5421" y="2365"/>
                  </a:lnTo>
                  <a:lnTo>
                    <a:pt x="5421" y="2365"/>
                  </a:lnTo>
                  <a:lnTo>
                    <a:pt x="5421" y="2365"/>
                  </a:lnTo>
                  <a:lnTo>
                    <a:pt x="5421" y="2365"/>
                  </a:lnTo>
                  <a:lnTo>
                    <a:pt x="5421" y="2360"/>
                  </a:lnTo>
                  <a:lnTo>
                    <a:pt x="5421" y="2360"/>
                  </a:lnTo>
                  <a:lnTo>
                    <a:pt x="5421" y="2360"/>
                  </a:lnTo>
                  <a:lnTo>
                    <a:pt x="5421" y="2360"/>
                  </a:lnTo>
                  <a:lnTo>
                    <a:pt x="5421" y="2356"/>
                  </a:lnTo>
                  <a:lnTo>
                    <a:pt x="5421" y="2356"/>
                  </a:lnTo>
                  <a:lnTo>
                    <a:pt x="5417" y="2360"/>
                  </a:lnTo>
                  <a:lnTo>
                    <a:pt x="5417" y="2356"/>
                  </a:lnTo>
                  <a:lnTo>
                    <a:pt x="5417" y="2356"/>
                  </a:lnTo>
                  <a:lnTo>
                    <a:pt x="5417" y="2356"/>
                  </a:lnTo>
                  <a:lnTo>
                    <a:pt x="5417" y="2356"/>
                  </a:lnTo>
                  <a:lnTo>
                    <a:pt x="5417" y="2351"/>
                  </a:lnTo>
                  <a:lnTo>
                    <a:pt x="5417" y="2356"/>
                  </a:lnTo>
                  <a:lnTo>
                    <a:pt x="5412" y="2356"/>
                  </a:lnTo>
                  <a:lnTo>
                    <a:pt x="5412" y="2356"/>
                  </a:lnTo>
                  <a:lnTo>
                    <a:pt x="5412" y="2356"/>
                  </a:lnTo>
                  <a:lnTo>
                    <a:pt x="5412" y="2356"/>
                  </a:lnTo>
                  <a:lnTo>
                    <a:pt x="5412" y="2351"/>
                  </a:lnTo>
                  <a:lnTo>
                    <a:pt x="5412" y="2351"/>
                  </a:lnTo>
                  <a:lnTo>
                    <a:pt x="5417" y="2347"/>
                  </a:lnTo>
                  <a:lnTo>
                    <a:pt x="5417" y="2347"/>
                  </a:lnTo>
                  <a:lnTo>
                    <a:pt x="5417" y="2347"/>
                  </a:lnTo>
                  <a:lnTo>
                    <a:pt x="5417" y="2342"/>
                  </a:lnTo>
                  <a:lnTo>
                    <a:pt x="5417" y="2342"/>
                  </a:lnTo>
                  <a:lnTo>
                    <a:pt x="5412" y="2342"/>
                  </a:lnTo>
                  <a:lnTo>
                    <a:pt x="5412" y="2347"/>
                  </a:lnTo>
                  <a:lnTo>
                    <a:pt x="5412" y="2351"/>
                  </a:lnTo>
                  <a:lnTo>
                    <a:pt x="5412" y="2356"/>
                  </a:lnTo>
                  <a:lnTo>
                    <a:pt x="5412" y="2356"/>
                  </a:lnTo>
                  <a:lnTo>
                    <a:pt x="5408" y="2360"/>
                  </a:lnTo>
                  <a:lnTo>
                    <a:pt x="5408" y="2360"/>
                  </a:lnTo>
                  <a:lnTo>
                    <a:pt x="5408" y="2360"/>
                  </a:lnTo>
                  <a:lnTo>
                    <a:pt x="5408" y="2365"/>
                  </a:lnTo>
                  <a:lnTo>
                    <a:pt x="5408" y="2365"/>
                  </a:lnTo>
                  <a:lnTo>
                    <a:pt x="5408" y="2365"/>
                  </a:lnTo>
                  <a:lnTo>
                    <a:pt x="5408" y="2365"/>
                  </a:lnTo>
                  <a:lnTo>
                    <a:pt x="5408" y="2365"/>
                  </a:lnTo>
                  <a:lnTo>
                    <a:pt x="5408" y="2365"/>
                  </a:lnTo>
                  <a:lnTo>
                    <a:pt x="5408" y="2365"/>
                  </a:lnTo>
                  <a:lnTo>
                    <a:pt x="5408" y="2365"/>
                  </a:lnTo>
                  <a:lnTo>
                    <a:pt x="5408" y="2365"/>
                  </a:lnTo>
                  <a:lnTo>
                    <a:pt x="5412" y="2365"/>
                  </a:lnTo>
                  <a:lnTo>
                    <a:pt x="5412" y="2365"/>
                  </a:lnTo>
                  <a:lnTo>
                    <a:pt x="5412" y="2365"/>
                  </a:lnTo>
                  <a:lnTo>
                    <a:pt x="5412" y="2365"/>
                  </a:lnTo>
                  <a:lnTo>
                    <a:pt x="5412" y="2365"/>
                  </a:lnTo>
                  <a:lnTo>
                    <a:pt x="5408" y="2365"/>
                  </a:lnTo>
                  <a:lnTo>
                    <a:pt x="5408" y="2369"/>
                  </a:lnTo>
                  <a:lnTo>
                    <a:pt x="5403" y="2383"/>
                  </a:lnTo>
                  <a:lnTo>
                    <a:pt x="5403" y="2383"/>
                  </a:lnTo>
                  <a:lnTo>
                    <a:pt x="5403" y="2387"/>
                  </a:lnTo>
                  <a:lnTo>
                    <a:pt x="5403" y="2387"/>
                  </a:lnTo>
                  <a:lnTo>
                    <a:pt x="5403" y="2387"/>
                  </a:lnTo>
                  <a:lnTo>
                    <a:pt x="5403" y="2387"/>
                  </a:lnTo>
                  <a:lnTo>
                    <a:pt x="5403" y="2383"/>
                  </a:lnTo>
                  <a:lnTo>
                    <a:pt x="5403" y="2383"/>
                  </a:lnTo>
                  <a:lnTo>
                    <a:pt x="5403" y="2378"/>
                  </a:lnTo>
                  <a:lnTo>
                    <a:pt x="5408" y="2378"/>
                  </a:lnTo>
                  <a:lnTo>
                    <a:pt x="5408" y="2378"/>
                  </a:lnTo>
                  <a:lnTo>
                    <a:pt x="5408" y="2378"/>
                  </a:lnTo>
                  <a:lnTo>
                    <a:pt x="5403" y="2383"/>
                  </a:lnTo>
                  <a:lnTo>
                    <a:pt x="5408" y="2383"/>
                  </a:lnTo>
                  <a:lnTo>
                    <a:pt x="5408" y="2383"/>
                  </a:lnTo>
                  <a:lnTo>
                    <a:pt x="5408" y="2383"/>
                  </a:lnTo>
                  <a:lnTo>
                    <a:pt x="5408" y="2383"/>
                  </a:lnTo>
                  <a:lnTo>
                    <a:pt x="5408" y="2383"/>
                  </a:lnTo>
                  <a:lnTo>
                    <a:pt x="5408" y="2383"/>
                  </a:lnTo>
                  <a:lnTo>
                    <a:pt x="5408" y="2383"/>
                  </a:lnTo>
                  <a:lnTo>
                    <a:pt x="5408" y="2387"/>
                  </a:lnTo>
                  <a:lnTo>
                    <a:pt x="5403" y="2387"/>
                  </a:lnTo>
                  <a:lnTo>
                    <a:pt x="5403" y="2387"/>
                  </a:lnTo>
                  <a:lnTo>
                    <a:pt x="5403" y="2387"/>
                  </a:lnTo>
                  <a:lnTo>
                    <a:pt x="5403" y="2392"/>
                  </a:lnTo>
                  <a:lnTo>
                    <a:pt x="5403" y="2392"/>
                  </a:lnTo>
                  <a:lnTo>
                    <a:pt x="5403" y="2392"/>
                  </a:lnTo>
                  <a:lnTo>
                    <a:pt x="5403" y="2387"/>
                  </a:lnTo>
                  <a:lnTo>
                    <a:pt x="5399" y="2387"/>
                  </a:lnTo>
                  <a:lnTo>
                    <a:pt x="5399" y="2396"/>
                  </a:lnTo>
                  <a:lnTo>
                    <a:pt x="5399" y="2396"/>
                  </a:lnTo>
                  <a:lnTo>
                    <a:pt x="5399" y="2396"/>
                  </a:lnTo>
                  <a:lnTo>
                    <a:pt x="5399" y="2401"/>
                  </a:lnTo>
                  <a:lnTo>
                    <a:pt x="5399" y="2401"/>
                  </a:lnTo>
                  <a:lnTo>
                    <a:pt x="5399" y="2401"/>
                  </a:lnTo>
                  <a:lnTo>
                    <a:pt x="5399" y="2401"/>
                  </a:lnTo>
                  <a:lnTo>
                    <a:pt x="5399" y="2401"/>
                  </a:lnTo>
                  <a:lnTo>
                    <a:pt x="5403" y="2401"/>
                  </a:lnTo>
                  <a:lnTo>
                    <a:pt x="5399" y="2401"/>
                  </a:lnTo>
                  <a:lnTo>
                    <a:pt x="5399" y="2401"/>
                  </a:lnTo>
                  <a:lnTo>
                    <a:pt x="5399" y="2401"/>
                  </a:lnTo>
                  <a:lnTo>
                    <a:pt x="5399" y="2405"/>
                  </a:lnTo>
                  <a:lnTo>
                    <a:pt x="5394" y="2405"/>
                  </a:lnTo>
                  <a:lnTo>
                    <a:pt x="5399" y="2401"/>
                  </a:lnTo>
                  <a:lnTo>
                    <a:pt x="5399" y="2401"/>
                  </a:lnTo>
                  <a:lnTo>
                    <a:pt x="5394" y="2401"/>
                  </a:lnTo>
                  <a:lnTo>
                    <a:pt x="5394" y="2405"/>
                  </a:lnTo>
                  <a:lnTo>
                    <a:pt x="5394" y="2405"/>
                  </a:lnTo>
                  <a:lnTo>
                    <a:pt x="5394" y="2405"/>
                  </a:lnTo>
                  <a:lnTo>
                    <a:pt x="5394" y="2410"/>
                  </a:lnTo>
                  <a:lnTo>
                    <a:pt x="5390" y="2410"/>
                  </a:lnTo>
                  <a:lnTo>
                    <a:pt x="5390" y="2410"/>
                  </a:lnTo>
                  <a:lnTo>
                    <a:pt x="5390" y="2414"/>
                  </a:lnTo>
                  <a:lnTo>
                    <a:pt x="5390" y="2419"/>
                  </a:lnTo>
                  <a:lnTo>
                    <a:pt x="5385" y="2419"/>
                  </a:lnTo>
                  <a:lnTo>
                    <a:pt x="5385" y="2419"/>
                  </a:lnTo>
                  <a:lnTo>
                    <a:pt x="5385" y="2419"/>
                  </a:lnTo>
                  <a:lnTo>
                    <a:pt x="5381" y="2423"/>
                  </a:lnTo>
                  <a:lnTo>
                    <a:pt x="5381" y="2423"/>
                  </a:lnTo>
                  <a:lnTo>
                    <a:pt x="5376" y="2428"/>
                  </a:lnTo>
                  <a:lnTo>
                    <a:pt x="5371" y="2428"/>
                  </a:lnTo>
                  <a:lnTo>
                    <a:pt x="5367" y="2432"/>
                  </a:lnTo>
                  <a:lnTo>
                    <a:pt x="5367" y="2437"/>
                  </a:lnTo>
                  <a:lnTo>
                    <a:pt x="5362" y="2437"/>
                  </a:lnTo>
                  <a:lnTo>
                    <a:pt x="5362" y="2442"/>
                  </a:lnTo>
                  <a:lnTo>
                    <a:pt x="5358" y="2442"/>
                  </a:lnTo>
                  <a:lnTo>
                    <a:pt x="5358" y="2442"/>
                  </a:lnTo>
                  <a:lnTo>
                    <a:pt x="5358" y="2442"/>
                  </a:lnTo>
                  <a:lnTo>
                    <a:pt x="5353" y="2442"/>
                  </a:lnTo>
                  <a:lnTo>
                    <a:pt x="5349" y="2442"/>
                  </a:lnTo>
                  <a:lnTo>
                    <a:pt x="5349" y="2442"/>
                  </a:lnTo>
                  <a:lnTo>
                    <a:pt x="5344" y="2446"/>
                  </a:lnTo>
                  <a:lnTo>
                    <a:pt x="5344" y="2446"/>
                  </a:lnTo>
                  <a:lnTo>
                    <a:pt x="5344" y="2446"/>
                  </a:lnTo>
                  <a:lnTo>
                    <a:pt x="5344" y="2446"/>
                  </a:lnTo>
                  <a:lnTo>
                    <a:pt x="5344" y="2451"/>
                  </a:lnTo>
                  <a:lnTo>
                    <a:pt x="5344" y="2451"/>
                  </a:lnTo>
                  <a:lnTo>
                    <a:pt x="5344" y="2451"/>
                  </a:lnTo>
                  <a:lnTo>
                    <a:pt x="5344" y="2455"/>
                  </a:lnTo>
                  <a:lnTo>
                    <a:pt x="5344" y="2455"/>
                  </a:lnTo>
                  <a:lnTo>
                    <a:pt x="5344" y="2460"/>
                  </a:lnTo>
                  <a:lnTo>
                    <a:pt x="5349" y="2460"/>
                  </a:lnTo>
                  <a:lnTo>
                    <a:pt x="5349" y="2460"/>
                  </a:lnTo>
                  <a:lnTo>
                    <a:pt x="5349" y="2464"/>
                  </a:lnTo>
                  <a:lnTo>
                    <a:pt x="5349" y="2464"/>
                  </a:lnTo>
                  <a:lnTo>
                    <a:pt x="5349" y="2469"/>
                  </a:lnTo>
                  <a:lnTo>
                    <a:pt x="5344" y="2469"/>
                  </a:lnTo>
                  <a:lnTo>
                    <a:pt x="5340" y="2473"/>
                  </a:lnTo>
                  <a:lnTo>
                    <a:pt x="5340" y="2478"/>
                  </a:lnTo>
                  <a:lnTo>
                    <a:pt x="5331" y="2482"/>
                  </a:lnTo>
                  <a:lnTo>
                    <a:pt x="5326" y="2482"/>
                  </a:lnTo>
                  <a:lnTo>
                    <a:pt x="5322" y="2487"/>
                  </a:lnTo>
                  <a:lnTo>
                    <a:pt x="5322" y="2487"/>
                  </a:lnTo>
                  <a:lnTo>
                    <a:pt x="5317" y="2487"/>
                  </a:lnTo>
                  <a:lnTo>
                    <a:pt x="5317" y="2487"/>
                  </a:lnTo>
                  <a:lnTo>
                    <a:pt x="5317" y="2491"/>
                  </a:lnTo>
                  <a:lnTo>
                    <a:pt x="5317" y="2491"/>
                  </a:lnTo>
                  <a:lnTo>
                    <a:pt x="5322" y="2487"/>
                  </a:lnTo>
                  <a:lnTo>
                    <a:pt x="5322" y="2487"/>
                  </a:lnTo>
                  <a:lnTo>
                    <a:pt x="5322" y="2487"/>
                  </a:lnTo>
                  <a:lnTo>
                    <a:pt x="5322" y="2487"/>
                  </a:lnTo>
                  <a:lnTo>
                    <a:pt x="5322" y="2487"/>
                  </a:lnTo>
                  <a:lnTo>
                    <a:pt x="5322" y="2487"/>
                  </a:lnTo>
                  <a:lnTo>
                    <a:pt x="5322" y="2491"/>
                  </a:lnTo>
                  <a:lnTo>
                    <a:pt x="5317" y="2491"/>
                  </a:lnTo>
                  <a:lnTo>
                    <a:pt x="5317" y="2491"/>
                  </a:lnTo>
                  <a:lnTo>
                    <a:pt x="5322" y="2491"/>
                  </a:lnTo>
                  <a:lnTo>
                    <a:pt x="5322" y="2491"/>
                  </a:lnTo>
                  <a:lnTo>
                    <a:pt x="5322" y="2491"/>
                  </a:lnTo>
                  <a:lnTo>
                    <a:pt x="5322" y="2496"/>
                  </a:lnTo>
                  <a:lnTo>
                    <a:pt x="5322" y="2496"/>
                  </a:lnTo>
                  <a:lnTo>
                    <a:pt x="5322" y="2496"/>
                  </a:lnTo>
                  <a:lnTo>
                    <a:pt x="5322" y="2496"/>
                  </a:lnTo>
                  <a:lnTo>
                    <a:pt x="5326" y="2496"/>
                  </a:lnTo>
                  <a:lnTo>
                    <a:pt x="5331" y="2491"/>
                  </a:lnTo>
                  <a:lnTo>
                    <a:pt x="5335" y="2491"/>
                  </a:lnTo>
                  <a:lnTo>
                    <a:pt x="5340" y="2491"/>
                  </a:lnTo>
                  <a:lnTo>
                    <a:pt x="5340" y="2487"/>
                  </a:lnTo>
                  <a:lnTo>
                    <a:pt x="5344" y="2487"/>
                  </a:lnTo>
                  <a:lnTo>
                    <a:pt x="5349" y="2482"/>
                  </a:lnTo>
                  <a:lnTo>
                    <a:pt x="5353" y="2482"/>
                  </a:lnTo>
                  <a:lnTo>
                    <a:pt x="5353" y="2478"/>
                  </a:lnTo>
                  <a:lnTo>
                    <a:pt x="5358" y="2478"/>
                  </a:lnTo>
                  <a:lnTo>
                    <a:pt x="5362" y="2473"/>
                  </a:lnTo>
                  <a:lnTo>
                    <a:pt x="5367" y="2473"/>
                  </a:lnTo>
                  <a:lnTo>
                    <a:pt x="5367" y="2473"/>
                  </a:lnTo>
                  <a:lnTo>
                    <a:pt x="5371" y="2469"/>
                  </a:lnTo>
                  <a:lnTo>
                    <a:pt x="5376" y="2464"/>
                  </a:lnTo>
                  <a:lnTo>
                    <a:pt x="5385" y="2460"/>
                  </a:lnTo>
                  <a:lnTo>
                    <a:pt x="5381" y="2460"/>
                  </a:lnTo>
                  <a:lnTo>
                    <a:pt x="5385" y="2460"/>
                  </a:lnTo>
                  <a:lnTo>
                    <a:pt x="5385" y="2455"/>
                  </a:lnTo>
                  <a:lnTo>
                    <a:pt x="5385" y="2455"/>
                  </a:lnTo>
                  <a:lnTo>
                    <a:pt x="5390" y="2451"/>
                  </a:lnTo>
                  <a:lnTo>
                    <a:pt x="5390" y="2451"/>
                  </a:lnTo>
                  <a:lnTo>
                    <a:pt x="5394" y="2451"/>
                  </a:lnTo>
                  <a:lnTo>
                    <a:pt x="5399" y="2451"/>
                  </a:lnTo>
                  <a:lnTo>
                    <a:pt x="5399" y="2451"/>
                  </a:lnTo>
                  <a:lnTo>
                    <a:pt x="5399" y="2451"/>
                  </a:lnTo>
                  <a:lnTo>
                    <a:pt x="5403" y="2451"/>
                  </a:lnTo>
                  <a:lnTo>
                    <a:pt x="5403" y="2451"/>
                  </a:lnTo>
                  <a:lnTo>
                    <a:pt x="5403" y="2451"/>
                  </a:lnTo>
                  <a:lnTo>
                    <a:pt x="5403" y="2451"/>
                  </a:lnTo>
                  <a:lnTo>
                    <a:pt x="5403" y="2455"/>
                  </a:lnTo>
                  <a:lnTo>
                    <a:pt x="5403" y="2451"/>
                  </a:lnTo>
                  <a:lnTo>
                    <a:pt x="5408" y="2451"/>
                  </a:lnTo>
                  <a:lnTo>
                    <a:pt x="5408" y="2451"/>
                  </a:lnTo>
                  <a:lnTo>
                    <a:pt x="5408" y="2451"/>
                  </a:lnTo>
                  <a:lnTo>
                    <a:pt x="5412" y="2446"/>
                  </a:lnTo>
                  <a:lnTo>
                    <a:pt x="5412" y="2442"/>
                  </a:lnTo>
                  <a:lnTo>
                    <a:pt x="5417" y="2442"/>
                  </a:lnTo>
                  <a:lnTo>
                    <a:pt x="5417" y="2442"/>
                  </a:lnTo>
                  <a:lnTo>
                    <a:pt x="5421" y="2442"/>
                  </a:lnTo>
                  <a:lnTo>
                    <a:pt x="5421" y="2437"/>
                  </a:lnTo>
                  <a:lnTo>
                    <a:pt x="5430" y="2432"/>
                  </a:lnTo>
                  <a:lnTo>
                    <a:pt x="5435" y="2428"/>
                  </a:lnTo>
                  <a:lnTo>
                    <a:pt x="5435" y="2423"/>
                  </a:lnTo>
                  <a:lnTo>
                    <a:pt x="5439" y="2423"/>
                  </a:lnTo>
                  <a:lnTo>
                    <a:pt x="5439" y="2423"/>
                  </a:lnTo>
                  <a:lnTo>
                    <a:pt x="5439" y="2423"/>
                  </a:lnTo>
                  <a:lnTo>
                    <a:pt x="5439" y="2419"/>
                  </a:lnTo>
                  <a:close/>
                  <a:moveTo>
                    <a:pt x="5453" y="1759"/>
                  </a:moveTo>
                  <a:lnTo>
                    <a:pt x="5453" y="1763"/>
                  </a:lnTo>
                  <a:lnTo>
                    <a:pt x="5457" y="1763"/>
                  </a:lnTo>
                  <a:lnTo>
                    <a:pt x="5457" y="1763"/>
                  </a:lnTo>
                  <a:lnTo>
                    <a:pt x="5457" y="1763"/>
                  </a:lnTo>
                  <a:lnTo>
                    <a:pt x="5457" y="1763"/>
                  </a:lnTo>
                  <a:lnTo>
                    <a:pt x="5457" y="1759"/>
                  </a:lnTo>
                  <a:lnTo>
                    <a:pt x="5453" y="1754"/>
                  </a:lnTo>
                  <a:lnTo>
                    <a:pt x="5448" y="1754"/>
                  </a:lnTo>
                  <a:lnTo>
                    <a:pt x="5448" y="1750"/>
                  </a:lnTo>
                  <a:lnTo>
                    <a:pt x="5448" y="1750"/>
                  </a:lnTo>
                  <a:lnTo>
                    <a:pt x="5444" y="1750"/>
                  </a:lnTo>
                  <a:lnTo>
                    <a:pt x="5444" y="1750"/>
                  </a:lnTo>
                  <a:lnTo>
                    <a:pt x="5444" y="1750"/>
                  </a:lnTo>
                  <a:lnTo>
                    <a:pt x="5444" y="1745"/>
                  </a:lnTo>
                  <a:lnTo>
                    <a:pt x="5439" y="1745"/>
                  </a:lnTo>
                  <a:lnTo>
                    <a:pt x="5435" y="1741"/>
                  </a:lnTo>
                  <a:lnTo>
                    <a:pt x="5435" y="1741"/>
                  </a:lnTo>
                  <a:lnTo>
                    <a:pt x="5439" y="1745"/>
                  </a:lnTo>
                  <a:lnTo>
                    <a:pt x="5439" y="1745"/>
                  </a:lnTo>
                  <a:lnTo>
                    <a:pt x="5439" y="1750"/>
                  </a:lnTo>
                  <a:lnTo>
                    <a:pt x="5439" y="1750"/>
                  </a:lnTo>
                  <a:lnTo>
                    <a:pt x="5439" y="1750"/>
                  </a:lnTo>
                  <a:lnTo>
                    <a:pt x="5439" y="1750"/>
                  </a:lnTo>
                  <a:lnTo>
                    <a:pt x="5444" y="1754"/>
                  </a:lnTo>
                  <a:lnTo>
                    <a:pt x="5444" y="1754"/>
                  </a:lnTo>
                  <a:lnTo>
                    <a:pt x="5448" y="1759"/>
                  </a:lnTo>
                  <a:lnTo>
                    <a:pt x="5448" y="1759"/>
                  </a:lnTo>
                  <a:lnTo>
                    <a:pt x="5448" y="1759"/>
                  </a:lnTo>
                  <a:lnTo>
                    <a:pt x="5453" y="1759"/>
                  </a:lnTo>
                  <a:close/>
                  <a:moveTo>
                    <a:pt x="5462" y="1795"/>
                  </a:moveTo>
                  <a:lnTo>
                    <a:pt x="5466" y="1795"/>
                  </a:lnTo>
                  <a:lnTo>
                    <a:pt x="5466" y="1795"/>
                  </a:lnTo>
                  <a:lnTo>
                    <a:pt x="5466" y="1795"/>
                  </a:lnTo>
                  <a:lnTo>
                    <a:pt x="5466" y="1795"/>
                  </a:lnTo>
                  <a:lnTo>
                    <a:pt x="5466" y="1790"/>
                  </a:lnTo>
                  <a:lnTo>
                    <a:pt x="5466" y="1790"/>
                  </a:lnTo>
                  <a:lnTo>
                    <a:pt x="5466" y="1790"/>
                  </a:lnTo>
                  <a:lnTo>
                    <a:pt x="5466" y="1786"/>
                  </a:lnTo>
                  <a:lnTo>
                    <a:pt x="5466" y="1786"/>
                  </a:lnTo>
                  <a:lnTo>
                    <a:pt x="5462" y="1786"/>
                  </a:lnTo>
                  <a:lnTo>
                    <a:pt x="5457" y="1786"/>
                  </a:lnTo>
                  <a:lnTo>
                    <a:pt x="5457" y="1786"/>
                  </a:lnTo>
                  <a:lnTo>
                    <a:pt x="5453" y="1781"/>
                  </a:lnTo>
                  <a:lnTo>
                    <a:pt x="5453" y="1781"/>
                  </a:lnTo>
                  <a:lnTo>
                    <a:pt x="5448" y="1781"/>
                  </a:lnTo>
                  <a:lnTo>
                    <a:pt x="5448" y="1781"/>
                  </a:lnTo>
                  <a:lnTo>
                    <a:pt x="5448" y="1786"/>
                  </a:lnTo>
                  <a:lnTo>
                    <a:pt x="5448" y="1786"/>
                  </a:lnTo>
                  <a:lnTo>
                    <a:pt x="5448" y="1790"/>
                  </a:lnTo>
                  <a:lnTo>
                    <a:pt x="5448" y="1790"/>
                  </a:lnTo>
                  <a:lnTo>
                    <a:pt x="5453" y="1790"/>
                  </a:lnTo>
                  <a:lnTo>
                    <a:pt x="5453" y="1790"/>
                  </a:lnTo>
                  <a:lnTo>
                    <a:pt x="5453" y="1790"/>
                  </a:lnTo>
                  <a:lnTo>
                    <a:pt x="5462" y="1795"/>
                  </a:lnTo>
                  <a:lnTo>
                    <a:pt x="5462" y="1795"/>
                  </a:lnTo>
                  <a:close/>
                  <a:moveTo>
                    <a:pt x="5037" y="1867"/>
                  </a:moveTo>
                  <a:lnTo>
                    <a:pt x="5037" y="1867"/>
                  </a:lnTo>
                  <a:lnTo>
                    <a:pt x="5037" y="1867"/>
                  </a:lnTo>
                  <a:lnTo>
                    <a:pt x="5037" y="1867"/>
                  </a:lnTo>
                  <a:lnTo>
                    <a:pt x="5037" y="1867"/>
                  </a:lnTo>
                  <a:lnTo>
                    <a:pt x="5037" y="1863"/>
                  </a:lnTo>
                  <a:lnTo>
                    <a:pt x="5037" y="1863"/>
                  </a:lnTo>
                  <a:lnTo>
                    <a:pt x="5037" y="1867"/>
                  </a:lnTo>
                  <a:lnTo>
                    <a:pt x="5037" y="1867"/>
                  </a:lnTo>
                  <a:lnTo>
                    <a:pt x="5037" y="1867"/>
                  </a:lnTo>
                  <a:lnTo>
                    <a:pt x="5037" y="1863"/>
                  </a:lnTo>
                  <a:lnTo>
                    <a:pt x="5037" y="1863"/>
                  </a:lnTo>
                  <a:lnTo>
                    <a:pt x="5037" y="1863"/>
                  </a:lnTo>
                  <a:lnTo>
                    <a:pt x="5033" y="1863"/>
                  </a:lnTo>
                  <a:lnTo>
                    <a:pt x="5033" y="1863"/>
                  </a:lnTo>
                  <a:lnTo>
                    <a:pt x="5033" y="1867"/>
                  </a:lnTo>
                  <a:lnTo>
                    <a:pt x="5028" y="1867"/>
                  </a:lnTo>
                  <a:lnTo>
                    <a:pt x="5028" y="1872"/>
                  </a:lnTo>
                  <a:lnTo>
                    <a:pt x="5028" y="1872"/>
                  </a:lnTo>
                  <a:lnTo>
                    <a:pt x="5028" y="1872"/>
                  </a:lnTo>
                  <a:lnTo>
                    <a:pt x="5028" y="1872"/>
                  </a:lnTo>
                  <a:lnTo>
                    <a:pt x="5028" y="1876"/>
                  </a:lnTo>
                  <a:lnTo>
                    <a:pt x="5033" y="1876"/>
                  </a:lnTo>
                  <a:lnTo>
                    <a:pt x="5033" y="1876"/>
                  </a:lnTo>
                  <a:lnTo>
                    <a:pt x="5037" y="1876"/>
                  </a:lnTo>
                  <a:lnTo>
                    <a:pt x="5037" y="1876"/>
                  </a:lnTo>
                  <a:lnTo>
                    <a:pt x="5037" y="1872"/>
                  </a:lnTo>
                  <a:lnTo>
                    <a:pt x="5037" y="1872"/>
                  </a:lnTo>
                  <a:lnTo>
                    <a:pt x="5037" y="1872"/>
                  </a:lnTo>
                  <a:lnTo>
                    <a:pt x="5037" y="1872"/>
                  </a:lnTo>
                  <a:lnTo>
                    <a:pt x="5037" y="1872"/>
                  </a:lnTo>
                  <a:lnTo>
                    <a:pt x="5037" y="1872"/>
                  </a:lnTo>
                  <a:lnTo>
                    <a:pt x="5037" y="1867"/>
                  </a:lnTo>
                  <a:close/>
                  <a:moveTo>
                    <a:pt x="5119" y="2586"/>
                  </a:moveTo>
                  <a:lnTo>
                    <a:pt x="5119" y="2586"/>
                  </a:lnTo>
                  <a:lnTo>
                    <a:pt x="5114" y="2586"/>
                  </a:lnTo>
                  <a:lnTo>
                    <a:pt x="5114" y="2591"/>
                  </a:lnTo>
                  <a:lnTo>
                    <a:pt x="5109" y="2591"/>
                  </a:lnTo>
                  <a:lnTo>
                    <a:pt x="5109" y="2591"/>
                  </a:lnTo>
                  <a:lnTo>
                    <a:pt x="5109" y="2591"/>
                  </a:lnTo>
                  <a:lnTo>
                    <a:pt x="5105" y="2591"/>
                  </a:lnTo>
                  <a:lnTo>
                    <a:pt x="5105" y="2595"/>
                  </a:lnTo>
                  <a:lnTo>
                    <a:pt x="5105" y="2595"/>
                  </a:lnTo>
                  <a:lnTo>
                    <a:pt x="5109" y="2595"/>
                  </a:lnTo>
                  <a:lnTo>
                    <a:pt x="5109" y="2591"/>
                  </a:lnTo>
                  <a:lnTo>
                    <a:pt x="5109" y="2591"/>
                  </a:lnTo>
                  <a:lnTo>
                    <a:pt x="5114" y="2591"/>
                  </a:lnTo>
                  <a:lnTo>
                    <a:pt x="5114" y="2591"/>
                  </a:lnTo>
                  <a:lnTo>
                    <a:pt x="5119" y="2591"/>
                  </a:lnTo>
                  <a:lnTo>
                    <a:pt x="5119" y="2591"/>
                  </a:lnTo>
                  <a:lnTo>
                    <a:pt x="5119" y="2591"/>
                  </a:lnTo>
                  <a:lnTo>
                    <a:pt x="5119" y="2591"/>
                  </a:lnTo>
                  <a:lnTo>
                    <a:pt x="5119" y="2591"/>
                  </a:lnTo>
                  <a:lnTo>
                    <a:pt x="5119" y="2591"/>
                  </a:lnTo>
                  <a:lnTo>
                    <a:pt x="5119" y="2586"/>
                  </a:lnTo>
                  <a:lnTo>
                    <a:pt x="5119" y="2586"/>
                  </a:lnTo>
                  <a:lnTo>
                    <a:pt x="5123" y="2586"/>
                  </a:lnTo>
                  <a:lnTo>
                    <a:pt x="5123" y="2586"/>
                  </a:lnTo>
                  <a:lnTo>
                    <a:pt x="5123" y="2582"/>
                  </a:lnTo>
                  <a:lnTo>
                    <a:pt x="5119" y="2582"/>
                  </a:lnTo>
                  <a:lnTo>
                    <a:pt x="5119" y="2586"/>
                  </a:lnTo>
                  <a:close/>
                  <a:moveTo>
                    <a:pt x="1532" y="1225"/>
                  </a:moveTo>
                  <a:lnTo>
                    <a:pt x="1532" y="1225"/>
                  </a:lnTo>
                  <a:lnTo>
                    <a:pt x="1536" y="1225"/>
                  </a:lnTo>
                  <a:lnTo>
                    <a:pt x="1536" y="1225"/>
                  </a:lnTo>
                  <a:lnTo>
                    <a:pt x="1536" y="1225"/>
                  </a:lnTo>
                  <a:lnTo>
                    <a:pt x="1536" y="1225"/>
                  </a:lnTo>
                  <a:lnTo>
                    <a:pt x="1541" y="1225"/>
                  </a:lnTo>
                  <a:lnTo>
                    <a:pt x="1541" y="1225"/>
                  </a:lnTo>
                  <a:lnTo>
                    <a:pt x="1545" y="1225"/>
                  </a:lnTo>
                  <a:lnTo>
                    <a:pt x="1545" y="1225"/>
                  </a:lnTo>
                  <a:lnTo>
                    <a:pt x="1545" y="1225"/>
                  </a:lnTo>
                  <a:lnTo>
                    <a:pt x="1550" y="1225"/>
                  </a:lnTo>
                  <a:lnTo>
                    <a:pt x="1550" y="1225"/>
                  </a:lnTo>
                  <a:lnTo>
                    <a:pt x="1550" y="1225"/>
                  </a:lnTo>
                  <a:lnTo>
                    <a:pt x="1554" y="1225"/>
                  </a:lnTo>
                  <a:lnTo>
                    <a:pt x="1554" y="1225"/>
                  </a:lnTo>
                  <a:lnTo>
                    <a:pt x="1559" y="1221"/>
                  </a:lnTo>
                  <a:lnTo>
                    <a:pt x="1559" y="1221"/>
                  </a:lnTo>
                  <a:lnTo>
                    <a:pt x="1559" y="1221"/>
                  </a:lnTo>
                  <a:lnTo>
                    <a:pt x="1559" y="1216"/>
                  </a:lnTo>
                  <a:lnTo>
                    <a:pt x="1559" y="1216"/>
                  </a:lnTo>
                  <a:lnTo>
                    <a:pt x="1554" y="1216"/>
                  </a:lnTo>
                  <a:lnTo>
                    <a:pt x="1554" y="1216"/>
                  </a:lnTo>
                  <a:lnTo>
                    <a:pt x="1554" y="1216"/>
                  </a:lnTo>
                  <a:lnTo>
                    <a:pt x="1554" y="1216"/>
                  </a:lnTo>
                  <a:lnTo>
                    <a:pt x="1554" y="1216"/>
                  </a:lnTo>
                  <a:lnTo>
                    <a:pt x="1554" y="1216"/>
                  </a:lnTo>
                  <a:lnTo>
                    <a:pt x="1550" y="1216"/>
                  </a:lnTo>
                  <a:lnTo>
                    <a:pt x="1550" y="1216"/>
                  </a:lnTo>
                  <a:lnTo>
                    <a:pt x="1541" y="1216"/>
                  </a:lnTo>
                  <a:lnTo>
                    <a:pt x="1536" y="1216"/>
                  </a:lnTo>
                  <a:lnTo>
                    <a:pt x="1536" y="1216"/>
                  </a:lnTo>
                  <a:lnTo>
                    <a:pt x="1536" y="1216"/>
                  </a:lnTo>
                  <a:lnTo>
                    <a:pt x="1536" y="1216"/>
                  </a:lnTo>
                  <a:lnTo>
                    <a:pt x="1532" y="1216"/>
                  </a:lnTo>
                  <a:lnTo>
                    <a:pt x="1532" y="1216"/>
                  </a:lnTo>
                  <a:lnTo>
                    <a:pt x="1532" y="1216"/>
                  </a:lnTo>
                  <a:lnTo>
                    <a:pt x="1532" y="1221"/>
                  </a:lnTo>
                  <a:lnTo>
                    <a:pt x="1532" y="1221"/>
                  </a:lnTo>
                  <a:lnTo>
                    <a:pt x="1532" y="1221"/>
                  </a:lnTo>
                  <a:lnTo>
                    <a:pt x="1532" y="1225"/>
                  </a:lnTo>
                  <a:close/>
                  <a:moveTo>
                    <a:pt x="5484" y="2066"/>
                  </a:moveTo>
                  <a:lnTo>
                    <a:pt x="5480" y="2062"/>
                  </a:lnTo>
                  <a:lnTo>
                    <a:pt x="5480" y="2062"/>
                  </a:lnTo>
                  <a:lnTo>
                    <a:pt x="5480" y="2057"/>
                  </a:lnTo>
                  <a:lnTo>
                    <a:pt x="5475" y="2053"/>
                  </a:lnTo>
                  <a:lnTo>
                    <a:pt x="5475" y="2053"/>
                  </a:lnTo>
                  <a:lnTo>
                    <a:pt x="5475" y="2053"/>
                  </a:lnTo>
                  <a:lnTo>
                    <a:pt x="5475" y="2053"/>
                  </a:lnTo>
                  <a:lnTo>
                    <a:pt x="5475" y="2048"/>
                  </a:lnTo>
                  <a:lnTo>
                    <a:pt x="5471" y="2048"/>
                  </a:lnTo>
                  <a:lnTo>
                    <a:pt x="5471" y="2048"/>
                  </a:lnTo>
                  <a:lnTo>
                    <a:pt x="5471" y="2044"/>
                  </a:lnTo>
                  <a:lnTo>
                    <a:pt x="5471" y="2044"/>
                  </a:lnTo>
                  <a:lnTo>
                    <a:pt x="5471" y="2044"/>
                  </a:lnTo>
                  <a:lnTo>
                    <a:pt x="5471" y="2044"/>
                  </a:lnTo>
                  <a:lnTo>
                    <a:pt x="5471" y="2039"/>
                  </a:lnTo>
                  <a:lnTo>
                    <a:pt x="5471" y="2039"/>
                  </a:lnTo>
                  <a:lnTo>
                    <a:pt x="5471" y="2039"/>
                  </a:lnTo>
                  <a:lnTo>
                    <a:pt x="5466" y="2039"/>
                  </a:lnTo>
                  <a:lnTo>
                    <a:pt x="5466" y="2035"/>
                  </a:lnTo>
                  <a:lnTo>
                    <a:pt x="5462" y="2030"/>
                  </a:lnTo>
                  <a:lnTo>
                    <a:pt x="5462" y="2026"/>
                  </a:lnTo>
                  <a:lnTo>
                    <a:pt x="5457" y="2026"/>
                  </a:lnTo>
                  <a:lnTo>
                    <a:pt x="5457" y="2026"/>
                  </a:lnTo>
                  <a:lnTo>
                    <a:pt x="5457" y="2021"/>
                  </a:lnTo>
                  <a:lnTo>
                    <a:pt x="5457" y="2021"/>
                  </a:lnTo>
                  <a:lnTo>
                    <a:pt x="5453" y="2026"/>
                  </a:lnTo>
                  <a:lnTo>
                    <a:pt x="5453" y="2026"/>
                  </a:lnTo>
                  <a:lnTo>
                    <a:pt x="5457" y="2026"/>
                  </a:lnTo>
                  <a:lnTo>
                    <a:pt x="5457" y="2026"/>
                  </a:lnTo>
                  <a:lnTo>
                    <a:pt x="5457" y="2030"/>
                  </a:lnTo>
                  <a:lnTo>
                    <a:pt x="5453" y="2030"/>
                  </a:lnTo>
                  <a:lnTo>
                    <a:pt x="5457" y="2035"/>
                  </a:lnTo>
                  <a:lnTo>
                    <a:pt x="5457" y="2035"/>
                  </a:lnTo>
                  <a:lnTo>
                    <a:pt x="5457" y="2039"/>
                  </a:lnTo>
                  <a:lnTo>
                    <a:pt x="5457" y="2039"/>
                  </a:lnTo>
                  <a:lnTo>
                    <a:pt x="5457" y="2044"/>
                  </a:lnTo>
                  <a:lnTo>
                    <a:pt x="5457" y="2048"/>
                  </a:lnTo>
                  <a:lnTo>
                    <a:pt x="5462" y="2048"/>
                  </a:lnTo>
                  <a:lnTo>
                    <a:pt x="5462" y="2048"/>
                  </a:lnTo>
                  <a:lnTo>
                    <a:pt x="5462" y="2053"/>
                  </a:lnTo>
                  <a:lnTo>
                    <a:pt x="5462" y="2057"/>
                  </a:lnTo>
                  <a:lnTo>
                    <a:pt x="5466" y="2057"/>
                  </a:lnTo>
                  <a:lnTo>
                    <a:pt x="5466" y="2057"/>
                  </a:lnTo>
                  <a:lnTo>
                    <a:pt x="5466" y="2062"/>
                  </a:lnTo>
                  <a:lnTo>
                    <a:pt x="5471" y="2062"/>
                  </a:lnTo>
                  <a:lnTo>
                    <a:pt x="5471" y="2062"/>
                  </a:lnTo>
                  <a:lnTo>
                    <a:pt x="5471" y="2066"/>
                  </a:lnTo>
                  <a:lnTo>
                    <a:pt x="5471" y="2066"/>
                  </a:lnTo>
                  <a:lnTo>
                    <a:pt x="5471" y="2066"/>
                  </a:lnTo>
                  <a:lnTo>
                    <a:pt x="5471" y="2066"/>
                  </a:lnTo>
                  <a:lnTo>
                    <a:pt x="5475" y="2071"/>
                  </a:lnTo>
                  <a:lnTo>
                    <a:pt x="5475" y="2071"/>
                  </a:lnTo>
                  <a:lnTo>
                    <a:pt x="5475" y="2071"/>
                  </a:lnTo>
                  <a:lnTo>
                    <a:pt x="5475" y="2071"/>
                  </a:lnTo>
                  <a:lnTo>
                    <a:pt x="5475" y="2071"/>
                  </a:lnTo>
                  <a:lnTo>
                    <a:pt x="5475" y="2071"/>
                  </a:lnTo>
                  <a:lnTo>
                    <a:pt x="5480" y="2075"/>
                  </a:lnTo>
                  <a:lnTo>
                    <a:pt x="5480" y="2075"/>
                  </a:lnTo>
                  <a:lnTo>
                    <a:pt x="5480" y="2075"/>
                  </a:lnTo>
                  <a:lnTo>
                    <a:pt x="5484" y="2075"/>
                  </a:lnTo>
                  <a:lnTo>
                    <a:pt x="5484" y="2071"/>
                  </a:lnTo>
                  <a:lnTo>
                    <a:pt x="5484" y="2071"/>
                  </a:lnTo>
                  <a:lnTo>
                    <a:pt x="5484" y="2066"/>
                  </a:lnTo>
                  <a:lnTo>
                    <a:pt x="5484" y="2066"/>
                  </a:lnTo>
                  <a:close/>
                  <a:moveTo>
                    <a:pt x="5751" y="1953"/>
                  </a:moveTo>
                  <a:lnTo>
                    <a:pt x="5751" y="1953"/>
                  </a:lnTo>
                  <a:lnTo>
                    <a:pt x="5751" y="1953"/>
                  </a:lnTo>
                  <a:lnTo>
                    <a:pt x="5751" y="1953"/>
                  </a:lnTo>
                  <a:lnTo>
                    <a:pt x="5746" y="1953"/>
                  </a:lnTo>
                  <a:lnTo>
                    <a:pt x="5746" y="1953"/>
                  </a:lnTo>
                  <a:lnTo>
                    <a:pt x="5742" y="1958"/>
                  </a:lnTo>
                  <a:lnTo>
                    <a:pt x="5742" y="1958"/>
                  </a:lnTo>
                  <a:lnTo>
                    <a:pt x="5742" y="1958"/>
                  </a:lnTo>
                  <a:lnTo>
                    <a:pt x="5737" y="1958"/>
                  </a:lnTo>
                  <a:lnTo>
                    <a:pt x="5737" y="1958"/>
                  </a:lnTo>
                  <a:lnTo>
                    <a:pt x="5733" y="1958"/>
                  </a:lnTo>
                  <a:lnTo>
                    <a:pt x="5733" y="1962"/>
                  </a:lnTo>
                  <a:lnTo>
                    <a:pt x="5733" y="1962"/>
                  </a:lnTo>
                  <a:lnTo>
                    <a:pt x="5728" y="1962"/>
                  </a:lnTo>
                  <a:lnTo>
                    <a:pt x="5728" y="1962"/>
                  </a:lnTo>
                  <a:lnTo>
                    <a:pt x="5728" y="1962"/>
                  </a:lnTo>
                  <a:lnTo>
                    <a:pt x="5728" y="1962"/>
                  </a:lnTo>
                  <a:lnTo>
                    <a:pt x="5728" y="1962"/>
                  </a:lnTo>
                  <a:lnTo>
                    <a:pt x="5728" y="1962"/>
                  </a:lnTo>
                  <a:lnTo>
                    <a:pt x="5724" y="1962"/>
                  </a:lnTo>
                  <a:lnTo>
                    <a:pt x="5728" y="1962"/>
                  </a:lnTo>
                  <a:lnTo>
                    <a:pt x="5728" y="1967"/>
                  </a:lnTo>
                  <a:lnTo>
                    <a:pt x="5728" y="1967"/>
                  </a:lnTo>
                  <a:lnTo>
                    <a:pt x="5728" y="1967"/>
                  </a:lnTo>
                  <a:lnTo>
                    <a:pt x="5728" y="1967"/>
                  </a:lnTo>
                  <a:lnTo>
                    <a:pt x="5733" y="1967"/>
                  </a:lnTo>
                  <a:lnTo>
                    <a:pt x="5733" y="1967"/>
                  </a:lnTo>
                  <a:lnTo>
                    <a:pt x="5733" y="1967"/>
                  </a:lnTo>
                  <a:lnTo>
                    <a:pt x="5733" y="1967"/>
                  </a:lnTo>
                  <a:lnTo>
                    <a:pt x="5737" y="1962"/>
                  </a:lnTo>
                  <a:lnTo>
                    <a:pt x="5737" y="1962"/>
                  </a:lnTo>
                  <a:lnTo>
                    <a:pt x="5742" y="1962"/>
                  </a:lnTo>
                  <a:lnTo>
                    <a:pt x="5742" y="1962"/>
                  </a:lnTo>
                  <a:lnTo>
                    <a:pt x="5742" y="1967"/>
                  </a:lnTo>
                  <a:lnTo>
                    <a:pt x="5742" y="1967"/>
                  </a:lnTo>
                  <a:lnTo>
                    <a:pt x="5742" y="1967"/>
                  </a:lnTo>
                  <a:lnTo>
                    <a:pt x="5742" y="1967"/>
                  </a:lnTo>
                  <a:lnTo>
                    <a:pt x="5746" y="1962"/>
                  </a:lnTo>
                  <a:lnTo>
                    <a:pt x="5746" y="1962"/>
                  </a:lnTo>
                  <a:lnTo>
                    <a:pt x="5751" y="1962"/>
                  </a:lnTo>
                  <a:lnTo>
                    <a:pt x="5751" y="1962"/>
                  </a:lnTo>
                  <a:lnTo>
                    <a:pt x="5751" y="1962"/>
                  </a:lnTo>
                  <a:lnTo>
                    <a:pt x="5751" y="1962"/>
                  </a:lnTo>
                  <a:lnTo>
                    <a:pt x="5751" y="1958"/>
                  </a:lnTo>
                  <a:lnTo>
                    <a:pt x="5751" y="1958"/>
                  </a:lnTo>
                  <a:lnTo>
                    <a:pt x="5751" y="1958"/>
                  </a:lnTo>
                  <a:lnTo>
                    <a:pt x="5746" y="1962"/>
                  </a:lnTo>
                  <a:lnTo>
                    <a:pt x="5742" y="1962"/>
                  </a:lnTo>
                  <a:lnTo>
                    <a:pt x="5746" y="1962"/>
                  </a:lnTo>
                  <a:lnTo>
                    <a:pt x="5746" y="1958"/>
                  </a:lnTo>
                  <a:lnTo>
                    <a:pt x="5751" y="1958"/>
                  </a:lnTo>
                  <a:lnTo>
                    <a:pt x="5751" y="1958"/>
                  </a:lnTo>
                  <a:lnTo>
                    <a:pt x="5751" y="1953"/>
                  </a:lnTo>
                  <a:lnTo>
                    <a:pt x="5755" y="1953"/>
                  </a:lnTo>
                  <a:lnTo>
                    <a:pt x="5755" y="1953"/>
                  </a:lnTo>
                  <a:lnTo>
                    <a:pt x="5751" y="1953"/>
                  </a:lnTo>
                  <a:close/>
                  <a:moveTo>
                    <a:pt x="5719" y="1980"/>
                  </a:moveTo>
                  <a:lnTo>
                    <a:pt x="5715" y="1980"/>
                  </a:lnTo>
                  <a:lnTo>
                    <a:pt x="5715" y="1980"/>
                  </a:lnTo>
                  <a:lnTo>
                    <a:pt x="5715" y="1976"/>
                  </a:lnTo>
                  <a:lnTo>
                    <a:pt x="5715" y="1976"/>
                  </a:lnTo>
                  <a:lnTo>
                    <a:pt x="5715" y="1976"/>
                  </a:lnTo>
                  <a:lnTo>
                    <a:pt x="5715" y="1976"/>
                  </a:lnTo>
                  <a:lnTo>
                    <a:pt x="5715" y="1976"/>
                  </a:lnTo>
                  <a:lnTo>
                    <a:pt x="5710" y="1976"/>
                  </a:lnTo>
                  <a:lnTo>
                    <a:pt x="5710" y="1976"/>
                  </a:lnTo>
                  <a:lnTo>
                    <a:pt x="5706" y="1980"/>
                  </a:lnTo>
                  <a:lnTo>
                    <a:pt x="5701" y="1980"/>
                  </a:lnTo>
                  <a:lnTo>
                    <a:pt x="5701" y="1980"/>
                  </a:lnTo>
                  <a:lnTo>
                    <a:pt x="5701" y="1985"/>
                  </a:lnTo>
                  <a:lnTo>
                    <a:pt x="5701" y="1985"/>
                  </a:lnTo>
                  <a:lnTo>
                    <a:pt x="5697" y="1985"/>
                  </a:lnTo>
                  <a:lnTo>
                    <a:pt x="5697" y="1985"/>
                  </a:lnTo>
                  <a:lnTo>
                    <a:pt x="5697" y="1985"/>
                  </a:lnTo>
                  <a:lnTo>
                    <a:pt x="5697" y="1985"/>
                  </a:lnTo>
                  <a:lnTo>
                    <a:pt x="5697" y="1985"/>
                  </a:lnTo>
                  <a:lnTo>
                    <a:pt x="5697" y="1985"/>
                  </a:lnTo>
                  <a:lnTo>
                    <a:pt x="5697" y="1989"/>
                  </a:lnTo>
                  <a:lnTo>
                    <a:pt x="5692" y="1989"/>
                  </a:lnTo>
                  <a:lnTo>
                    <a:pt x="5692" y="1994"/>
                  </a:lnTo>
                  <a:lnTo>
                    <a:pt x="5697" y="1994"/>
                  </a:lnTo>
                  <a:lnTo>
                    <a:pt x="5697" y="1994"/>
                  </a:lnTo>
                  <a:lnTo>
                    <a:pt x="5697" y="1994"/>
                  </a:lnTo>
                  <a:lnTo>
                    <a:pt x="5701" y="1994"/>
                  </a:lnTo>
                  <a:lnTo>
                    <a:pt x="5701" y="1998"/>
                  </a:lnTo>
                  <a:lnTo>
                    <a:pt x="5701" y="1998"/>
                  </a:lnTo>
                  <a:lnTo>
                    <a:pt x="5706" y="1998"/>
                  </a:lnTo>
                  <a:lnTo>
                    <a:pt x="5706" y="1998"/>
                  </a:lnTo>
                  <a:lnTo>
                    <a:pt x="5710" y="1994"/>
                  </a:lnTo>
                  <a:lnTo>
                    <a:pt x="5710" y="1994"/>
                  </a:lnTo>
                  <a:lnTo>
                    <a:pt x="5710" y="1994"/>
                  </a:lnTo>
                  <a:lnTo>
                    <a:pt x="5715" y="1994"/>
                  </a:lnTo>
                  <a:lnTo>
                    <a:pt x="5715" y="1994"/>
                  </a:lnTo>
                  <a:lnTo>
                    <a:pt x="5715" y="1994"/>
                  </a:lnTo>
                  <a:lnTo>
                    <a:pt x="5715" y="1994"/>
                  </a:lnTo>
                  <a:lnTo>
                    <a:pt x="5719" y="1989"/>
                  </a:lnTo>
                  <a:lnTo>
                    <a:pt x="5719" y="1989"/>
                  </a:lnTo>
                  <a:lnTo>
                    <a:pt x="5719" y="1985"/>
                  </a:lnTo>
                  <a:lnTo>
                    <a:pt x="5719" y="1985"/>
                  </a:lnTo>
                  <a:lnTo>
                    <a:pt x="5719" y="1985"/>
                  </a:lnTo>
                  <a:lnTo>
                    <a:pt x="5719" y="1980"/>
                  </a:lnTo>
                  <a:lnTo>
                    <a:pt x="5719" y="1980"/>
                  </a:lnTo>
                  <a:close/>
                  <a:moveTo>
                    <a:pt x="5548" y="1944"/>
                  </a:moveTo>
                  <a:lnTo>
                    <a:pt x="5548" y="1944"/>
                  </a:lnTo>
                  <a:lnTo>
                    <a:pt x="5548" y="1940"/>
                  </a:lnTo>
                  <a:lnTo>
                    <a:pt x="5548" y="1940"/>
                  </a:lnTo>
                  <a:lnTo>
                    <a:pt x="5548" y="1940"/>
                  </a:lnTo>
                  <a:lnTo>
                    <a:pt x="5548" y="1940"/>
                  </a:lnTo>
                  <a:lnTo>
                    <a:pt x="5548" y="1940"/>
                  </a:lnTo>
                  <a:lnTo>
                    <a:pt x="5543" y="1935"/>
                  </a:lnTo>
                  <a:lnTo>
                    <a:pt x="5543" y="1935"/>
                  </a:lnTo>
                  <a:lnTo>
                    <a:pt x="5543" y="1931"/>
                  </a:lnTo>
                  <a:lnTo>
                    <a:pt x="5543" y="1931"/>
                  </a:lnTo>
                  <a:lnTo>
                    <a:pt x="5543" y="1935"/>
                  </a:lnTo>
                  <a:lnTo>
                    <a:pt x="5539" y="1935"/>
                  </a:lnTo>
                  <a:lnTo>
                    <a:pt x="5543" y="1940"/>
                  </a:lnTo>
                  <a:lnTo>
                    <a:pt x="5543" y="1940"/>
                  </a:lnTo>
                  <a:lnTo>
                    <a:pt x="5543" y="1935"/>
                  </a:lnTo>
                  <a:lnTo>
                    <a:pt x="5543" y="1940"/>
                  </a:lnTo>
                  <a:lnTo>
                    <a:pt x="5543" y="1940"/>
                  </a:lnTo>
                  <a:lnTo>
                    <a:pt x="5543" y="1944"/>
                  </a:lnTo>
                  <a:lnTo>
                    <a:pt x="5543" y="1944"/>
                  </a:lnTo>
                  <a:lnTo>
                    <a:pt x="5543" y="1944"/>
                  </a:lnTo>
                  <a:lnTo>
                    <a:pt x="5543" y="1949"/>
                  </a:lnTo>
                  <a:lnTo>
                    <a:pt x="5543" y="1949"/>
                  </a:lnTo>
                  <a:lnTo>
                    <a:pt x="5543" y="1944"/>
                  </a:lnTo>
                  <a:lnTo>
                    <a:pt x="5548" y="1949"/>
                  </a:lnTo>
                  <a:lnTo>
                    <a:pt x="5548" y="1944"/>
                  </a:lnTo>
                  <a:lnTo>
                    <a:pt x="5548" y="1944"/>
                  </a:lnTo>
                  <a:lnTo>
                    <a:pt x="5548" y="1944"/>
                  </a:lnTo>
                  <a:close/>
                  <a:moveTo>
                    <a:pt x="5548" y="1922"/>
                  </a:moveTo>
                  <a:lnTo>
                    <a:pt x="5548" y="1922"/>
                  </a:lnTo>
                  <a:lnTo>
                    <a:pt x="5548" y="1922"/>
                  </a:lnTo>
                  <a:lnTo>
                    <a:pt x="5548" y="1917"/>
                  </a:lnTo>
                  <a:lnTo>
                    <a:pt x="5548" y="1917"/>
                  </a:lnTo>
                  <a:lnTo>
                    <a:pt x="5548" y="1913"/>
                  </a:lnTo>
                  <a:lnTo>
                    <a:pt x="5548" y="1913"/>
                  </a:lnTo>
                  <a:lnTo>
                    <a:pt x="5548" y="1913"/>
                  </a:lnTo>
                  <a:lnTo>
                    <a:pt x="5548" y="1913"/>
                  </a:lnTo>
                  <a:lnTo>
                    <a:pt x="5548" y="1913"/>
                  </a:lnTo>
                  <a:lnTo>
                    <a:pt x="5543" y="1913"/>
                  </a:lnTo>
                  <a:lnTo>
                    <a:pt x="5543" y="1917"/>
                  </a:lnTo>
                  <a:lnTo>
                    <a:pt x="5543" y="1917"/>
                  </a:lnTo>
                  <a:lnTo>
                    <a:pt x="5543" y="1917"/>
                  </a:lnTo>
                  <a:lnTo>
                    <a:pt x="5543" y="1908"/>
                  </a:lnTo>
                  <a:lnTo>
                    <a:pt x="5543" y="1908"/>
                  </a:lnTo>
                  <a:lnTo>
                    <a:pt x="5543" y="1904"/>
                  </a:lnTo>
                  <a:lnTo>
                    <a:pt x="5539" y="1904"/>
                  </a:lnTo>
                  <a:lnTo>
                    <a:pt x="5539" y="1908"/>
                  </a:lnTo>
                  <a:lnTo>
                    <a:pt x="5539" y="1908"/>
                  </a:lnTo>
                  <a:lnTo>
                    <a:pt x="5539" y="1917"/>
                  </a:lnTo>
                  <a:lnTo>
                    <a:pt x="5539" y="1922"/>
                  </a:lnTo>
                  <a:lnTo>
                    <a:pt x="5539" y="1922"/>
                  </a:lnTo>
                  <a:lnTo>
                    <a:pt x="5539" y="1926"/>
                  </a:lnTo>
                  <a:lnTo>
                    <a:pt x="5539" y="1926"/>
                  </a:lnTo>
                  <a:lnTo>
                    <a:pt x="5539" y="1926"/>
                  </a:lnTo>
                  <a:lnTo>
                    <a:pt x="5539" y="1926"/>
                  </a:lnTo>
                  <a:lnTo>
                    <a:pt x="5543" y="1926"/>
                  </a:lnTo>
                  <a:lnTo>
                    <a:pt x="5548" y="1922"/>
                  </a:lnTo>
                  <a:close/>
                  <a:moveTo>
                    <a:pt x="5489" y="1813"/>
                  </a:moveTo>
                  <a:lnTo>
                    <a:pt x="5489" y="1809"/>
                  </a:lnTo>
                  <a:lnTo>
                    <a:pt x="5489" y="1809"/>
                  </a:lnTo>
                  <a:lnTo>
                    <a:pt x="5484" y="1809"/>
                  </a:lnTo>
                  <a:lnTo>
                    <a:pt x="5484" y="1809"/>
                  </a:lnTo>
                  <a:lnTo>
                    <a:pt x="5484" y="1809"/>
                  </a:lnTo>
                  <a:lnTo>
                    <a:pt x="5480" y="1804"/>
                  </a:lnTo>
                  <a:lnTo>
                    <a:pt x="5480" y="1804"/>
                  </a:lnTo>
                  <a:lnTo>
                    <a:pt x="5480" y="1804"/>
                  </a:lnTo>
                  <a:lnTo>
                    <a:pt x="5480" y="1804"/>
                  </a:lnTo>
                  <a:lnTo>
                    <a:pt x="5475" y="1804"/>
                  </a:lnTo>
                  <a:lnTo>
                    <a:pt x="5475" y="1804"/>
                  </a:lnTo>
                  <a:lnTo>
                    <a:pt x="5475" y="1804"/>
                  </a:lnTo>
                  <a:lnTo>
                    <a:pt x="5475" y="1804"/>
                  </a:lnTo>
                  <a:lnTo>
                    <a:pt x="5475" y="1804"/>
                  </a:lnTo>
                  <a:lnTo>
                    <a:pt x="5475" y="1804"/>
                  </a:lnTo>
                  <a:lnTo>
                    <a:pt x="5475" y="1809"/>
                  </a:lnTo>
                  <a:lnTo>
                    <a:pt x="5480" y="1809"/>
                  </a:lnTo>
                  <a:lnTo>
                    <a:pt x="5475" y="1809"/>
                  </a:lnTo>
                  <a:lnTo>
                    <a:pt x="5480" y="1813"/>
                  </a:lnTo>
                  <a:lnTo>
                    <a:pt x="5484" y="1813"/>
                  </a:lnTo>
                  <a:lnTo>
                    <a:pt x="5484" y="1813"/>
                  </a:lnTo>
                  <a:lnTo>
                    <a:pt x="5484" y="1818"/>
                  </a:lnTo>
                  <a:lnTo>
                    <a:pt x="5489" y="1818"/>
                  </a:lnTo>
                  <a:lnTo>
                    <a:pt x="5489" y="1818"/>
                  </a:lnTo>
                  <a:lnTo>
                    <a:pt x="5489" y="1818"/>
                  </a:lnTo>
                  <a:lnTo>
                    <a:pt x="5489" y="1813"/>
                  </a:lnTo>
                  <a:lnTo>
                    <a:pt x="5489" y="1813"/>
                  </a:lnTo>
                  <a:close/>
                  <a:moveTo>
                    <a:pt x="4387" y="1555"/>
                  </a:moveTo>
                  <a:lnTo>
                    <a:pt x="4387" y="1551"/>
                  </a:lnTo>
                  <a:lnTo>
                    <a:pt x="4382" y="1546"/>
                  </a:lnTo>
                  <a:lnTo>
                    <a:pt x="4378" y="1546"/>
                  </a:lnTo>
                  <a:lnTo>
                    <a:pt x="4378" y="1546"/>
                  </a:lnTo>
                  <a:lnTo>
                    <a:pt x="4378" y="1546"/>
                  </a:lnTo>
                  <a:lnTo>
                    <a:pt x="4378" y="1546"/>
                  </a:lnTo>
                  <a:lnTo>
                    <a:pt x="4373" y="1546"/>
                  </a:lnTo>
                  <a:lnTo>
                    <a:pt x="4378" y="1551"/>
                  </a:lnTo>
                  <a:lnTo>
                    <a:pt x="4378" y="1555"/>
                  </a:lnTo>
                  <a:lnTo>
                    <a:pt x="4382" y="1555"/>
                  </a:lnTo>
                  <a:lnTo>
                    <a:pt x="4382" y="1555"/>
                  </a:lnTo>
                  <a:lnTo>
                    <a:pt x="4382" y="1560"/>
                  </a:lnTo>
                  <a:lnTo>
                    <a:pt x="4387" y="1564"/>
                  </a:lnTo>
                  <a:lnTo>
                    <a:pt x="4387" y="1564"/>
                  </a:lnTo>
                  <a:lnTo>
                    <a:pt x="4387" y="1564"/>
                  </a:lnTo>
                  <a:lnTo>
                    <a:pt x="4387" y="1564"/>
                  </a:lnTo>
                  <a:lnTo>
                    <a:pt x="4391" y="1560"/>
                  </a:lnTo>
                  <a:lnTo>
                    <a:pt x="4391" y="1555"/>
                  </a:lnTo>
                  <a:lnTo>
                    <a:pt x="4391" y="1555"/>
                  </a:lnTo>
                  <a:lnTo>
                    <a:pt x="4387" y="1555"/>
                  </a:lnTo>
                  <a:close/>
                  <a:moveTo>
                    <a:pt x="5109" y="2292"/>
                  </a:moveTo>
                  <a:lnTo>
                    <a:pt x="5109" y="2288"/>
                  </a:lnTo>
                  <a:lnTo>
                    <a:pt x="5109" y="2288"/>
                  </a:lnTo>
                  <a:lnTo>
                    <a:pt x="5114" y="2288"/>
                  </a:lnTo>
                  <a:lnTo>
                    <a:pt x="5114" y="2283"/>
                  </a:lnTo>
                  <a:lnTo>
                    <a:pt x="5119" y="2283"/>
                  </a:lnTo>
                  <a:lnTo>
                    <a:pt x="5123" y="2279"/>
                  </a:lnTo>
                  <a:lnTo>
                    <a:pt x="5123" y="2274"/>
                  </a:lnTo>
                  <a:lnTo>
                    <a:pt x="5128" y="2274"/>
                  </a:lnTo>
                  <a:lnTo>
                    <a:pt x="5132" y="2274"/>
                  </a:lnTo>
                  <a:lnTo>
                    <a:pt x="5128" y="2274"/>
                  </a:lnTo>
                  <a:lnTo>
                    <a:pt x="5132" y="2274"/>
                  </a:lnTo>
                  <a:lnTo>
                    <a:pt x="5132" y="2274"/>
                  </a:lnTo>
                  <a:lnTo>
                    <a:pt x="5132" y="2274"/>
                  </a:lnTo>
                  <a:lnTo>
                    <a:pt x="5137" y="2270"/>
                  </a:lnTo>
                  <a:lnTo>
                    <a:pt x="5137" y="2270"/>
                  </a:lnTo>
                  <a:lnTo>
                    <a:pt x="5141" y="2265"/>
                  </a:lnTo>
                  <a:lnTo>
                    <a:pt x="5141" y="2265"/>
                  </a:lnTo>
                  <a:lnTo>
                    <a:pt x="5146" y="2261"/>
                  </a:lnTo>
                  <a:lnTo>
                    <a:pt x="5150" y="2256"/>
                  </a:lnTo>
                  <a:lnTo>
                    <a:pt x="5159" y="2247"/>
                  </a:lnTo>
                  <a:lnTo>
                    <a:pt x="5159" y="2243"/>
                  </a:lnTo>
                  <a:lnTo>
                    <a:pt x="5164" y="2243"/>
                  </a:lnTo>
                  <a:lnTo>
                    <a:pt x="5164" y="2238"/>
                  </a:lnTo>
                  <a:lnTo>
                    <a:pt x="5168" y="2234"/>
                  </a:lnTo>
                  <a:lnTo>
                    <a:pt x="5168" y="2229"/>
                  </a:lnTo>
                  <a:lnTo>
                    <a:pt x="5177" y="2225"/>
                  </a:lnTo>
                  <a:lnTo>
                    <a:pt x="5177" y="2220"/>
                  </a:lnTo>
                  <a:lnTo>
                    <a:pt x="5182" y="2215"/>
                  </a:lnTo>
                  <a:lnTo>
                    <a:pt x="5186" y="2211"/>
                  </a:lnTo>
                  <a:lnTo>
                    <a:pt x="5191" y="2206"/>
                  </a:lnTo>
                  <a:lnTo>
                    <a:pt x="5195" y="2202"/>
                  </a:lnTo>
                  <a:lnTo>
                    <a:pt x="5200" y="2197"/>
                  </a:lnTo>
                  <a:lnTo>
                    <a:pt x="5200" y="2193"/>
                  </a:lnTo>
                  <a:lnTo>
                    <a:pt x="5200" y="2188"/>
                  </a:lnTo>
                  <a:lnTo>
                    <a:pt x="5204" y="2184"/>
                  </a:lnTo>
                  <a:lnTo>
                    <a:pt x="5204" y="2179"/>
                  </a:lnTo>
                  <a:lnTo>
                    <a:pt x="5204" y="2175"/>
                  </a:lnTo>
                  <a:lnTo>
                    <a:pt x="5209" y="2175"/>
                  </a:lnTo>
                  <a:lnTo>
                    <a:pt x="5209" y="2166"/>
                  </a:lnTo>
                  <a:lnTo>
                    <a:pt x="5209" y="2161"/>
                  </a:lnTo>
                  <a:lnTo>
                    <a:pt x="5213" y="2157"/>
                  </a:lnTo>
                  <a:lnTo>
                    <a:pt x="5218" y="2143"/>
                  </a:lnTo>
                  <a:lnTo>
                    <a:pt x="5222" y="2134"/>
                  </a:lnTo>
                  <a:lnTo>
                    <a:pt x="5222" y="2134"/>
                  </a:lnTo>
                  <a:lnTo>
                    <a:pt x="5222" y="2134"/>
                  </a:lnTo>
                  <a:lnTo>
                    <a:pt x="5222" y="2130"/>
                  </a:lnTo>
                  <a:lnTo>
                    <a:pt x="5222" y="2130"/>
                  </a:lnTo>
                  <a:lnTo>
                    <a:pt x="5222" y="2125"/>
                  </a:lnTo>
                  <a:lnTo>
                    <a:pt x="5222" y="2121"/>
                  </a:lnTo>
                  <a:lnTo>
                    <a:pt x="5222" y="2121"/>
                  </a:lnTo>
                  <a:lnTo>
                    <a:pt x="5222" y="2116"/>
                  </a:lnTo>
                  <a:lnTo>
                    <a:pt x="5222" y="2111"/>
                  </a:lnTo>
                  <a:lnTo>
                    <a:pt x="5222" y="2111"/>
                  </a:lnTo>
                  <a:lnTo>
                    <a:pt x="5222" y="2111"/>
                  </a:lnTo>
                  <a:lnTo>
                    <a:pt x="5222" y="2107"/>
                  </a:lnTo>
                  <a:lnTo>
                    <a:pt x="5222" y="2107"/>
                  </a:lnTo>
                  <a:lnTo>
                    <a:pt x="5218" y="2107"/>
                  </a:lnTo>
                  <a:lnTo>
                    <a:pt x="5218" y="2102"/>
                  </a:lnTo>
                  <a:lnTo>
                    <a:pt x="5218" y="2098"/>
                  </a:lnTo>
                  <a:lnTo>
                    <a:pt x="5218" y="2093"/>
                  </a:lnTo>
                  <a:lnTo>
                    <a:pt x="5218" y="2093"/>
                  </a:lnTo>
                  <a:lnTo>
                    <a:pt x="5218" y="2093"/>
                  </a:lnTo>
                  <a:lnTo>
                    <a:pt x="5213" y="2093"/>
                  </a:lnTo>
                  <a:lnTo>
                    <a:pt x="5213" y="2089"/>
                  </a:lnTo>
                  <a:lnTo>
                    <a:pt x="5209" y="2089"/>
                  </a:lnTo>
                  <a:lnTo>
                    <a:pt x="5209" y="2084"/>
                  </a:lnTo>
                  <a:lnTo>
                    <a:pt x="5209" y="2084"/>
                  </a:lnTo>
                  <a:lnTo>
                    <a:pt x="5209" y="2080"/>
                  </a:lnTo>
                  <a:lnTo>
                    <a:pt x="5209" y="2080"/>
                  </a:lnTo>
                  <a:lnTo>
                    <a:pt x="5209" y="2075"/>
                  </a:lnTo>
                  <a:lnTo>
                    <a:pt x="5213" y="2066"/>
                  </a:lnTo>
                  <a:lnTo>
                    <a:pt x="5213" y="2062"/>
                  </a:lnTo>
                  <a:lnTo>
                    <a:pt x="5213" y="2057"/>
                  </a:lnTo>
                  <a:lnTo>
                    <a:pt x="5213" y="2057"/>
                  </a:lnTo>
                  <a:lnTo>
                    <a:pt x="5213" y="2057"/>
                  </a:lnTo>
                  <a:lnTo>
                    <a:pt x="5213" y="2057"/>
                  </a:lnTo>
                  <a:lnTo>
                    <a:pt x="5213" y="2062"/>
                  </a:lnTo>
                  <a:lnTo>
                    <a:pt x="5213" y="2062"/>
                  </a:lnTo>
                  <a:lnTo>
                    <a:pt x="5209" y="2057"/>
                  </a:lnTo>
                  <a:lnTo>
                    <a:pt x="5209" y="2057"/>
                  </a:lnTo>
                  <a:lnTo>
                    <a:pt x="5209" y="2053"/>
                  </a:lnTo>
                  <a:lnTo>
                    <a:pt x="5209" y="2053"/>
                  </a:lnTo>
                  <a:lnTo>
                    <a:pt x="5209" y="2053"/>
                  </a:lnTo>
                  <a:lnTo>
                    <a:pt x="5204" y="2053"/>
                  </a:lnTo>
                  <a:lnTo>
                    <a:pt x="5204" y="2053"/>
                  </a:lnTo>
                  <a:lnTo>
                    <a:pt x="5204" y="2057"/>
                  </a:lnTo>
                  <a:lnTo>
                    <a:pt x="5204" y="2057"/>
                  </a:lnTo>
                  <a:lnTo>
                    <a:pt x="5204" y="2057"/>
                  </a:lnTo>
                  <a:lnTo>
                    <a:pt x="5200" y="2057"/>
                  </a:lnTo>
                  <a:lnTo>
                    <a:pt x="5200" y="2057"/>
                  </a:lnTo>
                  <a:lnTo>
                    <a:pt x="5200" y="2057"/>
                  </a:lnTo>
                  <a:lnTo>
                    <a:pt x="5200" y="2053"/>
                  </a:lnTo>
                  <a:lnTo>
                    <a:pt x="5200" y="2053"/>
                  </a:lnTo>
                  <a:lnTo>
                    <a:pt x="5200" y="2048"/>
                  </a:lnTo>
                  <a:lnTo>
                    <a:pt x="5200" y="2044"/>
                  </a:lnTo>
                  <a:lnTo>
                    <a:pt x="5204" y="2039"/>
                  </a:lnTo>
                  <a:lnTo>
                    <a:pt x="5200" y="2035"/>
                  </a:lnTo>
                  <a:lnTo>
                    <a:pt x="5200" y="2030"/>
                  </a:lnTo>
                  <a:lnTo>
                    <a:pt x="5200" y="2030"/>
                  </a:lnTo>
                  <a:lnTo>
                    <a:pt x="5200" y="2030"/>
                  </a:lnTo>
                  <a:lnTo>
                    <a:pt x="5200" y="2026"/>
                  </a:lnTo>
                  <a:lnTo>
                    <a:pt x="5200" y="2021"/>
                  </a:lnTo>
                  <a:lnTo>
                    <a:pt x="5200" y="2021"/>
                  </a:lnTo>
                  <a:lnTo>
                    <a:pt x="5195" y="2017"/>
                  </a:lnTo>
                  <a:lnTo>
                    <a:pt x="5200" y="2012"/>
                  </a:lnTo>
                  <a:lnTo>
                    <a:pt x="5200" y="2017"/>
                  </a:lnTo>
                  <a:lnTo>
                    <a:pt x="5200" y="2017"/>
                  </a:lnTo>
                  <a:lnTo>
                    <a:pt x="5200" y="2012"/>
                  </a:lnTo>
                  <a:lnTo>
                    <a:pt x="5200" y="2012"/>
                  </a:lnTo>
                  <a:lnTo>
                    <a:pt x="5200" y="2007"/>
                  </a:lnTo>
                  <a:lnTo>
                    <a:pt x="5200" y="2007"/>
                  </a:lnTo>
                  <a:lnTo>
                    <a:pt x="5195" y="2007"/>
                  </a:lnTo>
                  <a:lnTo>
                    <a:pt x="5195" y="2003"/>
                  </a:lnTo>
                  <a:lnTo>
                    <a:pt x="5191" y="2003"/>
                  </a:lnTo>
                  <a:lnTo>
                    <a:pt x="5191" y="2003"/>
                  </a:lnTo>
                  <a:lnTo>
                    <a:pt x="5191" y="2003"/>
                  </a:lnTo>
                  <a:lnTo>
                    <a:pt x="5191" y="1998"/>
                  </a:lnTo>
                  <a:lnTo>
                    <a:pt x="5186" y="1998"/>
                  </a:lnTo>
                  <a:lnTo>
                    <a:pt x="5186" y="1994"/>
                  </a:lnTo>
                  <a:lnTo>
                    <a:pt x="5186" y="1994"/>
                  </a:lnTo>
                  <a:lnTo>
                    <a:pt x="5186" y="1989"/>
                  </a:lnTo>
                  <a:lnTo>
                    <a:pt x="5186" y="1989"/>
                  </a:lnTo>
                  <a:lnTo>
                    <a:pt x="5182" y="1989"/>
                  </a:lnTo>
                  <a:lnTo>
                    <a:pt x="5182" y="1989"/>
                  </a:lnTo>
                  <a:lnTo>
                    <a:pt x="5182" y="1989"/>
                  </a:lnTo>
                  <a:lnTo>
                    <a:pt x="5182" y="1989"/>
                  </a:lnTo>
                  <a:lnTo>
                    <a:pt x="5177" y="1985"/>
                  </a:lnTo>
                  <a:lnTo>
                    <a:pt x="5177" y="1985"/>
                  </a:lnTo>
                  <a:lnTo>
                    <a:pt x="5173" y="1985"/>
                  </a:lnTo>
                  <a:lnTo>
                    <a:pt x="5173" y="1985"/>
                  </a:lnTo>
                  <a:lnTo>
                    <a:pt x="5173" y="1985"/>
                  </a:lnTo>
                  <a:lnTo>
                    <a:pt x="5173" y="1980"/>
                  </a:lnTo>
                  <a:lnTo>
                    <a:pt x="5168" y="1976"/>
                  </a:lnTo>
                  <a:lnTo>
                    <a:pt x="5173" y="1976"/>
                  </a:lnTo>
                  <a:lnTo>
                    <a:pt x="5173" y="1971"/>
                  </a:lnTo>
                  <a:lnTo>
                    <a:pt x="5173" y="1971"/>
                  </a:lnTo>
                  <a:lnTo>
                    <a:pt x="5168" y="1967"/>
                  </a:lnTo>
                  <a:lnTo>
                    <a:pt x="5168" y="1962"/>
                  </a:lnTo>
                  <a:lnTo>
                    <a:pt x="5173" y="1958"/>
                  </a:lnTo>
                  <a:lnTo>
                    <a:pt x="5177" y="1953"/>
                  </a:lnTo>
                  <a:lnTo>
                    <a:pt x="5177" y="1949"/>
                  </a:lnTo>
                  <a:lnTo>
                    <a:pt x="5177" y="1940"/>
                  </a:lnTo>
                  <a:lnTo>
                    <a:pt x="5177" y="1935"/>
                  </a:lnTo>
                  <a:lnTo>
                    <a:pt x="5173" y="1935"/>
                  </a:lnTo>
                  <a:lnTo>
                    <a:pt x="5173" y="1935"/>
                  </a:lnTo>
                  <a:lnTo>
                    <a:pt x="5173" y="1931"/>
                  </a:lnTo>
                  <a:lnTo>
                    <a:pt x="5173" y="1931"/>
                  </a:lnTo>
                  <a:lnTo>
                    <a:pt x="5173" y="1926"/>
                  </a:lnTo>
                  <a:lnTo>
                    <a:pt x="5173" y="1926"/>
                  </a:lnTo>
                  <a:lnTo>
                    <a:pt x="5173" y="1922"/>
                  </a:lnTo>
                  <a:lnTo>
                    <a:pt x="5173" y="1922"/>
                  </a:lnTo>
                  <a:lnTo>
                    <a:pt x="5173" y="1917"/>
                  </a:lnTo>
                  <a:lnTo>
                    <a:pt x="5173" y="1913"/>
                  </a:lnTo>
                  <a:lnTo>
                    <a:pt x="5173" y="1913"/>
                  </a:lnTo>
                  <a:lnTo>
                    <a:pt x="5173" y="1908"/>
                  </a:lnTo>
                  <a:lnTo>
                    <a:pt x="5173" y="1904"/>
                  </a:lnTo>
                  <a:lnTo>
                    <a:pt x="5177" y="1899"/>
                  </a:lnTo>
                  <a:lnTo>
                    <a:pt x="5177" y="1899"/>
                  </a:lnTo>
                  <a:lnTo>
                    <a:pt x="5177" y="1894"/>
                  </a:lnTo>
                  <a:lnTo>
                    <a:pt x="5177" y="1894"/>
                  </a:lnTo>
                  <a:lnTo>
                    <a:pt x="5177" y="1894"/>
                  </a:lnTo>
                  <a:lnTo>
                    <a:pt x="5173" y="1890"/>
                  </a:lnTo>
                  <a:lnTo>
                    <a:pt x="5173" y="1890"/>
                  </a:lnTo>
                  <a:lnTo>
                    <a:pt x="5168" y="1885"/>
                  </a:lnTo>
                  <a:lnTo>
                    <a:pt x="5168" y="1881"/>
                  </a:lnTo>
                  <a:lnTo>
                    <a:pt x="5168" y="1881"/>
                  </a:lnTo>
                  <a:lnTo>
                    <a:pt x="5164" y="1881"/>
                  </a:lnTo>
                  <a:lnTo>
                    <a:pt x="5164" y="1881"/>
                  </a:lnTo>
                  <a:lnTo>
                    <a:pt x="5159" y="1881"/>
                  </a:lnTo>
                  <a:lnTo>
                    <a:pt x="5155" y="1885"/>
                  </a:lnTo>
                  <a:lnTo>
                    <a:pt x="5155" y="1881"/>
                  </a:lnTo>
                  <a:lnTo>
                    <a:pt x="5155" y="1881"/>
                  </a:lnTo>
                  <a:lnTo>
                    <a:pt x="5155" y="1876"/>
                  </a:lnTo>
                  <a:lnTo>
                    <a:pt x="5155" y="1872"/>
                  </a:lnTo>
                  <a:lnTo>
                    <a:pt x="5155" y="1872"/>
                  </a:lnTo>
                  <a:lnTo>
                    <a:pt x="5155" y="1867"/>
                  </a:lnTo>
                  <a:lnTo>
                    <a:pt x="5155" y="1863"/>
                  </a:lnTo>
                  <a:lnTo>
                    <a:pt x="5155" y="1858"/>
                  </a:lnTo>
                  <a:lnTo>
                    <a:pt x="5155" y="1854"/>
                  </a:lnTo>
                  <a:lnTo>
                    <a:pt x="5155" y="1849"/>
                  </a:lnTo>
                  <a:lnTo>
                    <a:pt x="5155" y="1845"/>
                  </a:lnTo>
                  <a:lnTo>
                    <a:pt x="5155" y="1845"/>
                  </a:lnTo>
                  <a:lnTo>
                    <a:pt x="5155" y="1840"/>
                  </a:lnTo>
                  <a:lnTo>
                    <a:pt x="5155" y="1840"/>
                  </a:lnTo>
                  <a:lnTo>
                    <a:pt x="5155" y="1840"/>
                  </a:lnTo>
                  <a:lnTo>
                    <a:pt x="5155" y="1836"/>
                  </a:lnTo>
                  <a:lnTo>
                    <a:pt x="5155" y="1836"/>
                  </a:lnTo>
                  <a:lnTo>
                    <a:pt x="5155" y="1836"/>
                  </a:lnTo>
                  <a:lnTo>
                    <a:pt x="5155" y="1831"/>
                  </a:lnTo>
                  <a:lnTo>
                    <a:pt x="5155" y="1831"/>
                  </a:lnTo>
                  <a:lnTo>
                    <a:pt x="5155" y="1831"/>
                  </a:lnTo>
                  <a:lnTo>
                    <a:pt x="5150" y="1831"/>
                  </a:lnTo>
                  <a:lnTo>
                    <a:pt x="5150" y="1827"/>
                  </a:lnTo>
                  <a:lnTo>
                    <a:pt x="5150" y="1827"/>
                  </a:lnTo>
                  <a:lnTo>
                    <a:pt x="5150" y="1822"/>
                  </a:lnTo>
                  <a:lnTo>
                    <a:pt x="5150" y="1818"/>
                  </a:lnTo>
                  <a:lnTo>
                    <a:pt x="5150" y="1818"/>
                  </a:lnTo>
                  <a:lnTo>
                    <a:pt x="5150" y="1813"/>
                  </a:lnTo>
                  <a:lnTo>
                    <a:pt x="5150" y="1813"/>
                  </a:lnTo>
                  <a:lnTo>
                    <a:pt x="5150" y="1809"/>
                  </a:lnTo>
                  <a:lnTo>
                    <a:pt x="5150" y="1809"/>
                  </a:lnTo>
                  <a:lnTo>
                    <a:pt x="5150" y="1804"/>
                  </a:lnTo>
                  <a:lnTo>
                    <a:pt x="5150" y="1804"/>
                  </a:lnTo>
                  <a:lnTo>
                    <a:pt x="5150" y="1804"/>
                  </a:lnTo>
                  <a:lnTo>
                    <a:pt x="5146" y="1804"/>
                  </a:lnTo>
                  <a:lnTo>
                    <a:pt x="5146" y="1804"/>
                  </a:lnTo>
                  <a:lnTo>
                    <a:pt x="5146" y="1809"/>
                  </a:lnTo>
                  <a:lnTo>
                    <a:pt x="5141" y="1809"/>
                  </a:lnTo>
                  <a:lnTo>
                    <a:pt x="5141" y="1813"/>
                  </a:lnTo>
                  <a:lnTo>
                    <a:pt x="5137" y="1822"/>
                  </a:lnTo>
                  <a:lnTo>
                    <a:pt x="5132" y="1827"/>
                  </a:lnTo>
                  <a:lnTo>
                    <a:pt x="5132" y="1831"/>
                  </a:lnTo>
                  <a:lnTo>
                    <a:pt x="5132" y="1831"/>
                  </a:lnTo>
                  <a:lnTo>
                    <a:pt x="5132" y="1831"/>
                  </a:lnTo>
                  <a:lnTo>
                    <a:pt x="5132" y="1831"/>
                  </a:lnTo>
                  <a:lnTo>
                    <a:pt x="5132" y="1831"/>
                  </a:lnTo>
                  <a:lnTo>
                    <a:pt x="5128" y="1836"/>
                  </a:lnTo>
                  <a:lnTo>
                    <a:pt x="5128" y="1840"/>
                  </a:lnTo>
                  <a:lnTo>
                    <a:pt x="5128" y="1840"/>
                  </a:lnTo>
                  <a:lnTo>
                    <a:pt x="5128" y="1840"/>
                  </a:lnTo>
                  <a:lnTo>
                    <a:pt x="5128" y="1840"/>
                  </a:lnTo>
                  <a:lnTo>
                    <a:pt x="5132" y="1845"/>
                  </a:lnTo>
                  <a:lnTo>
                    <a:pt x="5132" y="1845"/>
                  </a:lnTo>
                  <a:lnTo>
                    <a:pt x="5132" y="1845"/>
                  </a:lnTo>
                  <a:lnTo>
                    <a:pt x="5132" y="1849"/>
                  </a:lnTo>
                  <a:lnTo>
                    <a:pt x="5128" y="1845"/>
                  </a:lnTo>
                  <a:lnTo>
                    <a:pt x="5128" y="1845"/>
                  </a:lnTo>
                  <a:lnTo>
                    <a:pt x="5128" y="1849"/>
                  </a:lnTo>
                  <a:lnTo>
                    <a:pt x="5123" y="1849"/>
                  </a:lnTo>
                  <a:lnTo>
                    <a:pt x="5123" y="1858"/>
                  </a:lnTo>
                  <a:lnTo>
                    <a:pt x="5123" y="1858"/>
                  </a:lnTo>
                  <a:lnTo>
                    <a:pt x="5119" y="1863"/>
                  </a:lnTo>
                  <a:lnTo>
                    <a:pt x="5119" y="1867"/>
                  </a:lnTo>
                  <a:lnTo>
                    <a:pt x="5119" y="1872"/>
                  </a:lnTo>
                  <a:lnTo>
                    <a:pt x="5119" y="1872"/>
                  </a:lnTo>
                  <a:lnTo>
                    <a:pt x="5119" y="1876"/>
                  </a:lnTo>
                  <a:lnTo>
                    <a:pt x="5119" y="1881"/>
                  </a:lnTo>
                  <a:lnTo>
                    <a:pt x="5114" y="1881"/>
                  </a:lnTo>
                  <a:lnTo>
                    <a:pt x="5114" y="1890"/>
                  </a:lnTo>
                  <a:lnTo>
                    <a:pt x="5114" y="1894"/>
                  </a:lnTo>
                  <a:lnTo>
                    <a:pt x="5114" y="1899"/>
                  </a:lnTo>
                  <a:lnTo>
                    <a:pt x="5109" y="1908"/>
                  </a:lnTo>
                  <a:lnTo>
                    <a:pt x="5105" y="1913"/>
                  </a:lnTo>
                  <a:lnTo>
                    <a:pt x="5105" y="1917"/>
                  </a:lnTo>
                  <a:lnTo>
                    <a:pt x="5105" y="1917"/>
                  </a:lnTo>
                  <a:lnTo>
                    <a:pt x="5100" y="1926"/>
                  </a:lnTo>
                  <a:lnTo>
                    <a:pt x="5100" y="1926"/>
                  </a:lnTo>
                  <a:lnTo>
                    <a:pt x="5091" y="1935"/>
                  </a:lnTo>
                  <a:lnTo>
                    <a:pt x="5091" y="1940"/>
                  </a:lnTo>
                  <a:lnTo>
                    <a:pt x="5087" y="1944"/>
                  </a:lnTo>
                  <a:lnTo>
                    <a:pt x="5082" y="1944"/>
                  </a:lnTo>
                  <a:lnTo>
                    <a:pt x="5082" y="1949"/>
                  </a:lnTo>
                  <a:lnTo>
                    <a:pt x="5073" y="1949"/>
                  </a:lnTo>
                  <a:lnTo>
                    <a:pt x="5073" y="1949"/>
                  </a:lnTo>
                  <a:lnTo>
                    <a:pt x="5069" y="1949"/>
                  </a:lnTo>
                  <a:lnTo>
                    <a:pt x="5069" y="1949"/>
                  </a:lnTo>
                  <a:lnTo>
                    <a:pt x="5069" y="1944"/>
                  </a:lnTo>
                  <a:lnTo>
                    <a:pt x="5064" y="1940"/>
                  </a:lnTo>
                  <a:lnTo>
                    <a:pt x="5060" y="1940"/>
                  </a:lnTo>
                  <a:lnTo>
                    <a:pt x="5060" y="1935"/>
                  </a:lnTo>
                  <a:lnTo>
                    <a:pt x="5060" y="1935"/>
                  </a:lnTo>
                  <a:lnTo>
                    <a:pt x="5060" y="1935"/>
                  </a:lnTo>
                  <a:lnTo>
                    <a:pt x="5060" y="1931"/>
                  </a:lnTo>
                  <a:lnTo>
                    <a:pt x="5055" y="1931"/>
                  </a:lnTo>
                  <a:lnTo>
                    <a:pt x="5055" y="1931"/>
                  </a:lnTo>
                  <a:lnTo>
                    <a:pt x="5051" y="1931"/>
                  </a:lnTo>
                  <a:lnTo>
                    <a:pt x="5046" y="1926"/>
                  </a:lnTo>
                  <a:lnTo>
                    <a:pt x="5046" y="1926"/>
                  </a:lnTo>
                  <a:lnTo>
                    <a:pt x="5042" y="1922"/>
                  </a:lnTo>
                  <a:lnTo>
                    <a:pt x="5042" y="1917"/>
                  </a:lnTo>
                  <a:lnTo>
                    <a:pt x="5037" y="1917"/>
                  </a:lnTo>
                  <a:lnTo>
                    <a:pt x="5033" y="1913"/>
                  </a:lnTo>
                  <a:lnTo>
                    <a:pt x="5033" y="1913"/>
                  </a:lnTo>
                  <a:lnTo>
                    <a:pt x="5033" y="1908"/>
                  </a:lnTo>
                  <a:lnTo>
                    <a:pt x="5033" y="1908"/>
                  </a:lnTo>
                  <a:lnTo>
                    <a:pt x="5028" y="1908"/>
                  </a:lnTo>
                  <a:lnTo>
                    <a:pt x="5028" y="1908"/>
                  </a:lnTo>
                  <a:lnTo>
                    <a:pt x="5024" y="1908"/>
                  </a:lnTo>
                  <a:lnTo>
                    <a:pt x="5028" y="1908"/>
                  </a:lnTo>
                  <a:lnTo>
                    <a:pt x="5028" y="1908"/>
                  </a:lnTo>
                  <a:lnTo>
                    <a:pt x="5028" y="1904"/>
                  </a:lnTo>
                  <a:lnTo>
                    <a:pt x="5028" y="1904"/>
                  </a:lnTo>
                  <a:lnTo>
                    <a:pt x="5024" y="1904"/>
                  </a:lnTo>
                  <a:lnTo>
                    <a:pt x="5024" y="1904"/>
                  </a:lnTo>
                  <a:lnTo>
                    <a:pt x="5024" y="1904"/>
                  </a:lnTo>
                  <a:lnTo>
                    <a:pt x="5024" y="1904"/>
                  </a:lnTo>
                  <a:lnTo>
                    <a:pt x="5019" y="1904"/>
                  </a:lnTo>
                  <a:lnTo>
                    <a:pt x="5019" y="1899"/>
                  </a:lnTo>
                  <a:lnTo>
                    <a:pt x="5019" y="1899"/>
                  </a:lnTo>
                  <a:lnTo>
                    <a:pt x="5015" y="1894"/>
                  </a:lnTo>
                  <a:lnTo>
                    <a:pt x="5015" y="1894"/>
                  </a:lnTo>
                  <a:lnTo>
                    <a:pt x="5010" y="1890"/>
                  </a:lnTo>
                  <a:lnTo>
                    <a:pt x="5010" y="1890"/>
                  </a:lnTo>
                  <a:lnTo>
                    <a:pt x="5010" y="1885"/>
                  </a:lnTo>
                  <a:lnTo>
                    <a:pt x="5010" y="1885"/>
                  </a:lnTo>
                  <a:lnTo>
                    <a:pt x="5010" y="1881"/>
                  </a:lnTo>
                  <a:lnTo>
                    <a:pt x="5010" y="1881"/>
                  </a:lnTo>
                  <a:lnTo>
                    <a:pt x="5019" y="1876"/>
                  </a:lnTo>
                  <a:lnTo>
                    <a:pt x="5019" y="1872"/>
                  </a:lnTo>
                  <a:lnTo>
                    <a:pt x="5019" y="1872"/>
                  </a:lnTo>
                  <a:lnTo>
                    <a:pt x="5024" y="1867"/>
                  </a:lnTo>
                  <a:lnTo>
                    <a:pt x="5024" y="1867"/>
                  </a:lnTo>
                  <a:lnTo>
                    <a:pt x="5024" y="1863"/>
                  </a:lnTo>
                  <a:lnTo>
                    <a:pt x="5024" y="1854"/>
                  </a:lnTo>
                  <a:lnTo>
                    <a:pt x="5028" y="1854"/>
                  </a:lnTo>
                  <a:lnTo>
                    <a:pt x="5033" y="1854"/>
                  </a:lnTo>
                  <a:lnTo>
                    <a:pt x="5033" y="1849"/>
                  </a:lnTo>
                  <a:lnTo>
                    <a:pt x="5033" y="1854"/>
                  </a:lnTo>
                  <a:lnTo>
                    <a:pt x="5033" y="1854"/>
                  </a:lnTo>
                  <a:lnTo>
                    <a:pt x="5033" y="1854"/>
                  </a:lnTo>
                  <a:lnTo>
                    <a:pt x="5037" y="1849"/>
                  </a:lnTo>
                  <a:lnTo>
                    <a:pt x="5037" y="1845"/>
                  </a:lnTo>
                  <a:lnTo>
                    <a:pt x="5037" y="1845"/>
                  </a:lnTo>
                  <a:lnTo>
                    <a:pt x="5037" y="1845"/>
                  </a:lnTo>
                  <a:lnTo>
                    <a:pt x="5046" y="1836"/>
                  </a:lnTo>
                  <a:lnTo>
                    <a:pt x="5046" y="1831"/>
                  </a:lnTo>
                  <a:lnTo>
                    <a:pt x="5046" y="1831"/>
                  </a:lnTo>
                  <a:lnTo>
                    <a:pt x="5042" y="1831"/>
                  </a:lnTo>
                  <a:lnTo>
                    <a:pt x="5042" y="1831"/>
                  </a:lnTo>
                  <a:lnTo>
                    <a:pt x="5042" y="1827"/>
                  </a:lnTo>
                  <a:lnTo>
                    <a:pt x="5037" y="1827"/>
                  </a:lnTo>
                  <a:lnTo>
                    <a:pt x="5037" y="1831"/>
                  </a:lnTo>
                  <a:lnTo>
                    <a:pt x="5037" y="1831"/>
                  </a:lnTo>
                  <a:lnTo>
                    <a:pt x="5037" y="1831"/>
                  </a:lnTo>
                  <a:lnTo>
                    <a:pt x="5037" y="1836"/>
                  </a:lnTo>
                  <a:lnTo>
                    <a:pt x="5033" y="1836"/>
                  </a:lnTo>
                  <a:lnTo>
                    <a:pt x="5033" y="1836"/>
                  </a:lnTo>
                  <a:lnTo>
                    <a:pt x="5033" y="1836"/>
                  </a:lnTo>
                  <a:lnTo>
                    <a:pt x="5033" y="1836"/>
                  </a:lnTo>
                  <a:lnTo>
                    <a:pt x="5033" y="1831"/>
                  </a:lnTo>
                  <a:lnTo>
                    <a:pt x="5028" y="1831"/>
                  </a:lnTo>
                  <a:lnTo>
                    <a:pt x="5028" y="1831"/>
                  </a:lnTo>
                  <a:lnTo>
                    <a:pt x="5028" y="1831"/>
                  </a:lnTo>
                  <a:lnTo>
                    <a:pt x="5028" y="1831"/>
                  </a:lnTo>
                  <a:lnTo>
                    <a:pt x="5024" y="1831"/>
                  </a:lnTo>
                  <a:lnTo>
                    <a:pt x="5024" y="1831"/>
                  </a:lnTo>
                  <a:lnTo>
                    <a:pt x="5028" y="1827"/>
                  </a:lnTo>
                  <a:lnTo>
                    <a:pt x="5028" y="1827"/>
                  </a:lnTo>
                  <a:lnTo>
                    <a:pt x="5028" y="1827"/>
                  </a:lnTo>
                  <a:lnTo>
                    <a:pt x="5028" y="1827"/>
                  </a:lnTo>
                  <a:lnTo>
                    <a:pt x="5028" y="1827"/>
                  </a:lnTo>
                  <a:lnTo>
                    <a:pt x="5033" y="1822"/>
                  </a:lnTo>
                  <a:lnTo>
                    <a:pt x="5028" y="1822"/>
                  </a:lnTo>
                  <a:lnTo>
                    <a:pt x="5028" y="1827"/>
                  </a:lnTo>
                  <a:lnTo>
                    <a:pt x="5028" y="1827"/>
                  </a:lnTo>
                  <a:lnTo>
                    <a:pt x="5024" y="1827"/>
                  </a:lnTo>
                  <a:lnTo>
                    <a:pt x="5019" y="1831"/>
                  </a:lnTo>
                  <a:lnTo>
                    <a:pt x="5019" y="1831"/>
                  </a:lnTo>
                  <a:lnTo>
                    <a:pt x="5015" y="1831"/>
                  </a:lnTo>
                  <a:lnTo>
                    <a:pt x="5010" y="1831"/>
                  </a:lnTo>
                  <a:lnTo>
                    <a:pt x="5010" y="1827"/>
                  </a:lnTo>
                  <a:lnTo>
                    <a:pt x="5010" y="1827"/>
                  </a:lnTo>
                  <a:lnTo>
                    <a:pt x="5006" y="1827"/>
                  </a:lnTo>
                  <a:lnTo>
                    <a:pt x="5006" y="1827"/>
                  </a:lnTo>
                  <a:lnTo>
                    <a:pt x="5001" y="1827"/>
                  </a:lnTo>
                  <a:lnTo>
                    <a:pt x="5001" y="1827"/>
                  </a:lnTo>
                  <a:lnTo>
                    <a:pt x="5001" y="1827"/>
                  </a:lnTo>
                  <a:lnTo>
                    <a:pt x="4997" y="1822"/>
                  </a:lnTo>
                  <a:lnTo>
                    <a:pt x="4992" y="1822"/>
                  </a:lnTo>
                  <a:lnTo>
                    <a:pt x="4987" y="1822"/>
                  </a:lnTo>
                  <a:lnTo>
                    <a:pt x="4987" y="1822"/>
                  </a:lnTo>
                  <a:lnTo>
                    <a:pt x="4987" y="1822"/>
                  </a:lnTo>
                  <a:lnTo>
                    <a:pt x="4983" y="1822"/>
                  </a:lnTo>
                  <a:lnTo>
                    <a:pt x="4983" y="1818"/>
                  </a:lnTo>
                  <a:lnTo>
                    <a:pt x="4983" y="1813"/>
                  </a:lnTo>
                  <a:lnTo>
                    <a:pt x="4983" y="1813"/>
                  </a:lnTo>
                  <a:lnTo>
                    <a:pt x="4978" y="1813"/>
                  </a:lnTo>
                  <a:lnTo>
                    <a:pt x="4978" y="1813"/>
                  </a:lnTo>
                  <a:lnTo>
                    <a:pt x="4974" y="1818"/>
                  </a:lnTo>
                  <a:lnTo>
                    <a:pt x="4974" y="1813"/>
                  </a:lnTo>
                  <a:lnTo>
                    <a:pt x="4969" y="1809"/>
                  </a:lnTo>
                  <a:lnTo>
                    <a:pt x="4969" y="1809"/>
                  </a:lnTo>
                  <a:lnTo>
                    <a:pt x="4969" y="1809"/>
                  </a:lnTo>
                  <a:lnTo>
                    <a:pt x="4969" y="1813"/>
                  </a:lnTo>
                  <a:lnTo>
                    <a:pt x="4969" y="1813"/>
                  </a:lnTo>
                  <a:lnTo>
                    <a:pt x="4965" y="1809"/>
                  </a:lnTo>
                  <a:lnTo>
                    <a:pt x="4965" y="1809"/>
                  </a:lnTo>
                  <a:lnTo>
                    <a:pt x="4965" y="1809"/>
                  </a:lnTo>
                  <a:lnTo>
                    <a:pt x="4960" y="1809"/>
                  </a:lnTo>
                  <a:lnTo>
                    <a:pt x="4960" y="1813"/>
                  </a:lnTo>
                  <a:lnTo>
                    <a:pt x="4965" y="1813"/>
                  </a:lnTo>
                  <a:lnTo>
                    <a:pt x="4965" y="1813"/>
                  </a:lnTo>
                  <a:lnTo>
                    <a:pt x="4965" y="1813"/>
                  </a:lnTo>
                  <a:lnTo>
                    <a:pt x="4969" y="1813"/>
                  </a:lnTo>
                  <a:lnTo>
                    <a:pt x="4974" y="1813"/>
                  </a:lnTo>
                  <a:lnTo>
                    <a:pt x="4974" y="1818"/>
                  </a:lnTo>
                  <a:lnTo>
                    <a:pt x="4974" y="1822"/>
                  </a:lnTo>
                  <a:lnTo>
                    <a:pt x="4974" y="1822"/>
                  </a:lnTo>
                  <a:lnTo>
                    <a:pt x="4974" y="1827"/>
                  </a:lnTo>
                  <a:lnTo>
                    <a:pt x="4974" y="1827"/>
                  </a:lnTo>
                  <a:lnTo>
                    <a:pt x="4974" y="1827"/>
                  </a:lnTo>
                  <a:lnTo>
                    <a:pt x="4974" y="1827"/>
                  </a:lnTo>
                  <a:lnTo>
                    <a:pt x="4974" y="1827"/>
                  </a:lnTo>
                  <a:lnTo>
                    <a:pt x="4969" y="1827"/>
                  </a:lnTo>
                  <a:lnTo>
                    <a:pt x="4969" y="1831"/>
                  </a:lnTo>
                  <a:lnTo>
                    <a:pt x="4969" y="1831"/>
                  </a:lnTo>
                  <a:lnTo>
                    <a:pt x="4969" y="1831"/>
                  </a:lnTo>
                  <a:lnTo>
                    <a:pt x="4965" y="1831"/>
                  </a:lnTo>
                  <a:lnTo>
                    <a:pt x="4965" y="1831"/>
                  </a:lnTo>
                  <a:lnTo>
                    <a:pt x="4960" y="1831"/>
                  </a:lnTo>
                  <a:lnTo>
                    <a:pt x="4960" y="1831"/>
                  </a:lnTo>
                  <a:lnTo>
                    <a:pt x="4960" y="1831"/>
                  </a:lnTo>
                  <a:lnTo>
                    <a:pt x="4956" y="1831"/>
                  </a:lnTo>
                  <a:lnTo>
                    <a:pt x="4951" y="1831"/>
                  </a:lnTo>
                  <a:lnTo>
                    <a:pt x="4951" y="1831"/>
                  </a:lnTo>
                  <a:lnTo>
                    <a:pt x="4951" y="1827"/>
                  </a:lnTo>
                  <a:lnTo>
                    <a:pt x="4951" y="1827"/>
                  </a:lnTo>
                  <a:lnTo>
                    <a:pt x="4951" y="1827"/>
                  </a:lnTo>
                  <a:lnTo>
                    <a:pt x="4947" y="1827"/>
                  </a:lnTo>
                  <a:lnTo>
                    <a:pt x="4947" y="1831"/>
                  </a:lnTo>
                  <a:lnTo>
                    <a:pt x="4947" y="1831"/>
                  </a:lnTo>
                  <a:lnTo>
                    <a:pt x="4947" y="1831"/>
                  </a:lnTo>
                  <a:lnTo>
                    <a:pt x="4942" y="1831"/>
                  </a:lnTo>
                  <a:lnTo>
                    <a:pt x="4942" y="1831"/>
                  </a:lnTo>
                  <a:lnTo>
                    <a:pt x="4942" y="1831"/>
                  </a:lnTo>
                  <a:lnTo>
                    <a:pt x="4942" y="1836"/>
                  </a:lnTo>
                  <a:lnTo>
                    <a:pt x="4942" y="1836"/>
                  </a:lnTo>
                  <a:lnTo>
                    <a:pt x="4942" y="1836"/>
                  </a:lnTo>
                  <a:lnTo>
                    <a:pt x="4938" y="1836"/>
                  </a:lnTo>
                  <a:lnTo>
                    <a:pt x="4938" y="1836"/>
                  </a:lnTo>
                  <a:lnTo>
                    <a:pt x="4938" y="1831"/>
                  </a:lnTo>
                  <a:lnTo>
                    <a:pt x="4938" y="1836"/>
                  </a:lnTo>
                  <a:lnTo>
                    <a:pt x="4938" y="1836"/>
                  </a:lnTo>
                  <a:lnTo>
                    <a:pt x="4938" y="1840"/>
                  </a:lnTo>
                  <a:lnTo>
                    <a:pt x="4933" y="1840"/>
                  </a:lnTo>
                  <a:lnTo>
                    <a:pt x="4933" y="1840"/>
                  </a:lnTo>
                  <a:lnTo>
                    <a:pt x="4933" y="1840"/>
                  </a:lnTo>
                  <a:lnTo>
                    <a:pt x="4929" y="1845"/>
                  </a:lnTo>
                  <a:lnTo>
                    <a:pt x="4929" y="1845"/>
                  </a:lnTo>
                  <a:lnTo>
                    <a:pt x="4929" y="1845"/>
                  </a:lnTo>
                  <a:lnTo>
                    <a:pt x="4924" y="1849"/>
                  </a:lnTo>
                  <a:lnTo>
                    <a:pt x="4929" y="1854"/>
                  </a:lnTo>
                  <a:lnTo>
                    <a:pt x="4924" y="1854"/>
                  </a:lnTo>
                  <a:lnTo>
                    <a:pt x="4924" y="1854"/>
                  </a:lnTo>
                  <a:lnTo>
                    <a:pt x="4924" y="1854"/>
                  </a:lnTo>
                  <a:lnTo>
                    <a:pt x="4920" y="1854"/>
                  </a:lnTo>
                  <a:lnTo>
                    <a:pt x="4920" y="1858"/>
                  </a:lnTo>
                  <a:lnTo>
                    <a:pt x="4920" y="1858"/>
                  </a:lnTo>
                  <a:lnTo>
                    <a:pt x="4920" y="1858"/>
                  </a:lnTo>
                  <a:lnTo>
                    <a:pt x="4915" y="1863"/>
                  </a:lnTo>
                  <a:lnTo>
                    <a:pt x="4915" y="1863"/>
                  </a:lnTo>
                  <a:lnTo>
                    <a:pt x="4915" y="1867"/>
                  </a:lnTo>
                  <a:lnTo>
                    <a:pt x="4915" y="1867"/>
                  </a:lnTo>
                  <a:lnTo>
                    <a:pt x="4911" y="1872"/>
                  </a:lnTo>
                  <a:lnTo>
                    <a:pt x="4906" y="1872"/>
                  </a:lnTo>
                  <a:lnTo>
                    <a:pt x="4911" y="1876"/>
                  </a:lnTo>
                  <a:lnTo>
                    <a:pt x="4911" y="1876"/>
                  </a:lnTo>
                  <a:lnTo>
                    <a:pt x="4911" y="1876"/>
                  </a:lnTo>
                  <a:lnTo>
                    <a:pt x="4911" y="1876"/>
                  </a:lnTo>
                  <a:lnTo>
                    <a:pt x="4911" y="1881"/>
                  </a:lnTo>
                  <a:lnTo>
                    <a:pt x="4911" y="1881"/>
                  </a:lnTo>
                  <a:lnTo>
                    <a:pt x="4911" y="1881"/>
                  </a:lnTo>
                  <a:lnTo>
                    <a:pt x="4915" y="1881"/>
                  </a:lnTo>
                  <a:lnTo>
                    <a:pt x="4915" y="1881"/>
                  </a:lnTo>
                  <a:lnTo>
                    <a:pt x="4911" y="1885"/>
                  </a:lnTo>
                  <a:lnTo>
                    <a:pt x="4911" y="1885"/>
                  </a:lnTo>
                  <a:lnTo>
                    <a:pt x="4911" y="1885"/>
                  </a:lnTo>
                  <a:lnTo>
                    <a:pt x="4911" y="1885"/>
                  </a:lnTo>
                  <a:lnTo>
                    <a:pt x="4911" y="1890"/>
                  </a:lnTo>
                  <a:lnTo>
                    <a:pt x="4911" y="1890"/>
                  </a:lnTo>
                  <a:lnTo>
                    <a:pt x="4906" y="1890"/>
                  </a:lnTo>
                  <a:lnTo>
                    <a:pt x="4906" y="1885"/>
                  </a:lnTo>
                  <a:lnTo>
                    <a:pt x="4906" y="1885"/>
                  </a:lnTo>
                  <a:lnTo>
                    <a:pt x="4906" y="1885"/>
                  </a:lnTo>
                  <a:lnTo>
                    <a:pt x="4902" y="1885"/>
                  </a:lnTo>
                  <a:lnTo>
                    <a:pt x="4902" y="1885"/>
                  </a:lnTo>
                  <a:lnTo>
                    <a:pt x="4902" y="1890"/>
                  </a:lnTo>
                  <a:lnTo>
                    <a:pt x="4902" y="1890"/>
                  </a:lnTo>
                  <a:lnTo>
                    <a:pt x="4902" y="1890"/>
                  </a:lnTo>
                  <a:lnTo>
                    <a:pt x="4902" y="1885"/>
                  </a:lnTo>
                  <a:lnTo>
                    <a:pt x="4902" y="1885"/>
                  </a:lnTo>
                  <a:lnTo>
                    <a:pt x="4893" y="1881"/>
                  </a:lnTo>
                  <a:lnTo>
                    <a:pt x="4893" y="1881"/>
                  </a:lnTo>
                  <a:lnTo>
                    <a:pt x="4893" y="1881"/>
                  </a:lnTo>
                  <a:lnTo>
                    <a:pt x="4888" y="1881"/>
                  </a:lnTo>
                  <a:lnTo>
                    <a:pt x="4888" y="1881"/>
                  </a:lnTo>
                  <a:lnTo>
                    <a:pt x="4888" y="1885"/>
                  </a:lnTo>
                  <a:lnTo>
                    <a:pt x="4888" y="1885"/>
                  </a:lnTo>
                  <a:lnTo>
                    <a:pt x="4884" y="1885"/>
                  </a:lnTo>
                  <a:lnTo>
                    <a:pt x="4884" y="1885"/>
                  </a:lnTo>
                  <a:lnTo>
                    <a:pt x="4884" y="1885"/>
                  </a:lnTo>
                  <a:lnTo>
                    <a:pt x="4884" y="1890"/>
                  </a:lnTo>
                  <a:lnTo>
                    <a:pt x="4884" y="1890"/>
                  </a:lnTo>
                  <a:lnTo>
                    <a:pt x="4884" y="1890"/>
                  </a:lnTo>
                  <a:lnTo>
                    <a:pt x="4884" y="1890"/>
                  </a:lnTo>
                  <a:lnTo>
                    <a:pt x="4884" y="1890"/>
                  </a:lnTo>
                  <a:lnTo>
                    <a:pt x="4884" y="1890"/>
                  </a:lnTo>
                  <a:lnTo>
                    <a:pt x="4879" y="1894"/>
                  </a:lnTo>
                  <a:lnTo>
                    <a:pt x="4884" y="1885"/>
                  </a:lnTo>
                  <a:lnTo>
                    <a:pt x="4884" y="1885"/>
                  </a:lnTo>
                  <a:lnTo>
                    <a:pt x="4884" y="1881"/>
                  </a:lnTo>
                  <a:lnTo>
                    <a:pt x="4888" y="1881"/>
                  </a:lnTo>
                  <a:lnTo>
                    <a:pt x="4888" y="1881"/>
                  </a:lnTo>
                  <a:lnTo>
                    <a:pt x="4884" y="1876"/>
                  </a:lnTo>
                  <a:lnTo>
                    <a:pt x="4879" y="1872"/>
                  </a:lnTo>
                  <a:lnTo>
                    <a:pt x="4879" y="1867"/>
                  </a:lnTo>
                  <a:lnTo>
                    <a:pt x="4879" y="1867"/>
                  </a:lnTo>
                  <a:lnTo>
                    <a:pt x="4875" y="1867"/>
                  </a:lnTo>
                  <a:lnTo>
                    <a:pt x="4875" y="1863"/>
                  </a:lnTo>
                  <a:lnTo>
                    <a:pt x="4870" y="1863"/>
                  </a:lnTo>
                  <a:lnTo>
                    <a:pt x="4870" y="1858"/>
                  </a:lnTo>
                  <a:lnTo>
                    <a:pt x="4870" y="1858"/>
                  </a:lnTo>
                  <a:lnTo>
                    <a:pt x="4866" y="1858"/>
                  </a:lnTo>
                  <a:lnTo>
                    <a:pt x="4866" y="1863"/>
                  </a:lnTo>
                  <a:lnTo>
                    <a:pt x="4866" y="1863"/>
                  </a:lnTo>
                  <a:lnTo>
                    <a:pt x="4861" y="1867"/>
                  </a:lnTo>
                  <a:lnTo>
                    <a:pt x="4861" y="1867"/>
                  </a:lnTo>
                  <a:lnTo>
                    <a:pt x="4861" y="1867"/>
                  </a:lnTo>
                  <a:lnTo>
                    <a:pt x="4856" y="1863"/>
                  </a:lnTo>
                  <a:lnTo>
                    <a:pt x="4856" y="1867"/>
                  </a:lnTo>
                  <a:lnTo>
                    <a:pt x="4856" y="1867"/>
                  </a:lnTo>
                  <a:lnTo>
                    <a:pt x="4856" y="1867"/>
                  </a:lnTo>
                  <a:lnTo>
                    <a:pt x="4856" y="1867"/>
                  </a:lnTo>
                  <a:lnTo>
                    <a:pt x="4856" y="1863"/>
                  </a:lnTo>
                  <a:lnTo>
                    <a:pt x="4852" y="1863"/>
                  </a:lnTo>
                  <a:lnTo>
                    <a:pt x="4852" y="1863"/>
                  </a:lnTo>
                  <a:lnTo>
                    <a:pt x="4852" y="1867"/>
                  </a:lnTo>
                  <a:lnTo>
                    <a:pt x="4852" y="1867"/>
                  </a:lnTo>
                  <a:lnTo>
                    <a:pt x="4852" y="1867"/>
                  </a:lnTo>
                  <a:lnTo>
                    <a:pt x="4852" y="1867"/>
                  </a:lnTo>
                  <a:lnTo>
                    <a:pt x="4852" y="1872"/>
                  </a:lnTo>
                  <a:lnTo>
                    <a:pt x="4852" y="1872"/>
                  </a:lnTo>
                  <a:lnTo>
                    <a:pt x="4852" y="1872"/>
                  </a:lnTo>
                  <a:lnTo>
                    <a:pt x="4847" y="1876"/>
                  </a:lnTo>
                  <a:lnTo>
                    <a:pt x="4847" y="1876"/>
                  </a:lnTo>
                  <a:lnTo>
                    <a:pt x="4847" y="1876"/>
                  </a:lnTo>
                  <a:lnTo>
                    <a:pt x="4847" y="1876"/>
                  </a:lnTo>
                  <a:lnTo>
                    <a:pt x="4847" y="1872"/>
                  </a:lnTo>
                  <a:lnTo>
                    <a:pt x="4843" y="1872"/>
                  </a:lnTo>
                  <a:lnTo>
                    <a:pt x="4843" y="1872"/>
                  </a:lnTo>
                  <a:lnTo>
                    <a:pt x="4843" y="1876"/>
                  </a:lnTo>
                  <a:lnTo>
                    <a:pt x="4843" y="1876"/>
                  </a:lnTo>
                  <a:lnTo>
                    <a:pt x="4843" y="1872"/>
                  </a:lnTo>
                  <a:lnTo>
                    <a:pt x="4843" y="1872"/>
                  </a:lnTo>
                  <a:lnTo>
                    <a:pt x="4847" y="1872"/>
                  </a:lnTo>
                  <a:lnTo>
                    <a:pt x="4843" y="1867"/>
                  </a:lnTo>
                  <a:lnTo>
                    <a:pt x="4843" y="1867"/>
                  </a:lnTo>
                  <a:lnTo>
                    <a:pt x="4843" y="1872"/>
                  </a:lnTo>
                  <a:lnTo>
                    <a:pt x="4843" y="1872"/>
                  </a:lnTo>
                  <a:lnTo>
                    <a:pt x="4843" y="1872"/>
                  </a:lnTo>
                  <a:lnTo>
                    <a:pt x="4838" y="1876"/>
                  </a:lnTo>
                  <a:lnTo>
                    <a:pt x="4838" y="1876"/>
                  </a:lnTo>
                  <a:lnTo>
                    <a:pt x="4838" y="1876"/>
                  </a:lnTo>
                  <a:lnTo>
                    <a:pt x="4838" y="1876"/>
                  </a:lnTo>
                  <a:lnTo>
                    <a:pt x="4834" y="1876"/>
                  </a:lnTo>
                  <a:lnTo>
                    <a:pt x="4834" y="1881"/>
                  </a:lnTo>
                  <a:lnTo>
                    <a:pt x="4834" y="1881"/>
                  </a:lnTo>
                  <a:lnTo>
                    <a:pt x="4834" y="1881"/>
                  </a:lnTo>
                  <a:lnTo>
                    <a:pt x="4838" y="1885"/>
                  </a:lnTo>
                  <a:lnTo>
                    <a:pt x="4838" y="1885"/>
                  </a:lnTo>
                  <a:lnTo>
                    <a:pt x="4834" y="1885"/>
                  </a:lnTo>
                  <a:lnTo>
                    <a:pt x="4834" y="1885"/>
                  </a:lnTo>
                  <a:lnTo>
                    <a:pt x="4834" y="1885"/>
                  </a:lnTo>
                  <a:lnTo>
                    <a:pt x="4829" y="1885"/>
                  </a:lnTo>
                  <a:lnTo>
                    <a:pt x="4829" y="1885"/>
                  </a:lnTo>
                  <a:lnTo>
                    <a:pt x="4829" y="1885"/>
                  </a:lnTo>
                  <a:lnTo>
                    <a:pt x="4829" y="1885"/>
                  </a:lnTo>
                  <a:lnTo>
                    <a:pt x="4829" y="1885"/>
                  </a:lnTo>
                  <a:lnTo>
                    <a:pt x="4829" y="1885"/>
                  </a:lnTo>
                  <a:lnTo>
                    <a:pt x="4825" y="1885"/>
                  </a:lnTo>
                  <a:lnTo>
                    <a:pt x="4829" y="1890"/>
                  </a:lnTo>
                  <a:lnTo>
                    <a:pt x="4825" y="1890"/>
                  </a:lnTo>
                  <a:lnTo>
                    <a:pt x="4829" y="1890"/>
                  </a:lnTo>
                  <a:lnTo>
                    <a:pt x="4829" y="1890"/>
                  </a:lnTo>
                  <a:lnTo>
                    <a:pt x="4829" y="1890"/>
                  </a:lnTo>
                  <a:lnTo>
                    <a:pt x="4829" y="1890"/>
                  </a:lnTo>
                  <a:lnTo>
                    <a:pt x="4829" y="1894"/>
                  </a:lnTo>
                  <a:lnTo>
                    <a:pt x="4829" y="1894"/>
                  </a:lnTo>
                  <a:lnTo>
                    <a:pt x="4829" y="1890"/>
                  </a:lnTo>
                  <a:lnTo>
                    <a:pt x="4825" y="1890"/>
                  </a:lnTo>
                  <a:lnTo>
                    <a:pt x="4825" y="1890"/>
                  </a:lnTo>
                  <a:lnTo>
                    <a:pt x="4825" y="1890"/>
                  </a:lnTo>
                  <a:lnTo>
                    <a:pt x="4825" y="1890"/>
                  </a:lnTo>
                  <a:lnTo>
                    <a:pt x="4820" y="1894"/>
                  </a:lnTo>
                  <a:lnTo>
                    <a:pt x="4820" y="1894"/>
                  </a:lnTo>
                  <a:lnTo>
                    <a:pt x="4820" y="1894"/>
                  </a:lnTo>
                  <a:lnTo>
                    <a:pt x="4820" y="1894"/>
                  </a:lnTo>
                  <a:lnTo>
                    <a:pt x="4816" y="1894"/>
                  </a:lnTo>
                  <a:lnTo>
                    <a:pt x="4816" y="1899"/>
                  </a:lnTo>
                  <a:lnTo>
                    <a:pt x="4816" y="1899"/>
                  </a:lnTo>
                  <a:lnTo>
                    <a:pt x="4816" y="1904"/>
                  </a:lnTo>
                  <a:lnTo>
                    <a:pt x="4820" y="1899"/>
                  </a:lnTo>
                  <a:lnTo>
                    <a:pt x="4820" y="1899"/>
                  </a:lnTo>
                  <a:lnTo>
                    <a:pt x="4820" y="1904"/>
                  </a:lnTo>
                  <a:lnTo>
                    <a:pt x="4820" y="1904"/>
                  </a:lnTo>
                  <a:lnTo>
                    <a:pt x="4820" y="1904"/>
                  </a:lnTo>
                  <a:lnTo>
                    <a:pt x="4816" y="1908"/>
                  </a:lnTo>
                  <a:lnTo>
                    <a:pt x="4816" y="1908"/>
                  </a:lnTo>
                  <a:lnTo>
                    <a:pt x="4816" y="1908"/>
                  </a:lnTo>
                  <a:lnTo>
                    <a:pt x="4816" y="1908"/>
                  </a:lnTo>
                  <a:lnTo>
                    <a:pt x="4816" y="1908"/>
                  </a:lnTo>
                  <a:lnTo>
                    <a:pt x="4816" y="1908"/>
                  </a:lnTo>
                  <a:lnTo>
                    <a:pt x="4816" y="1913"/>
                  </a:lnTo>
                  <a:lnTo>
                    <a:pt x="4816" y="1913"/>
                  </a:lnTo>
                  <a:lnTo>
                    <a:pt x="4820" y="1913"/>
                  </a:lnTo>
                  <a:lnTo>
                    <a:pt x="4820" y="1913"/>
                  </a:lnTo>
                  <a:lnTo>
                    <a:pt x="4820" y="1913"/>
                  </a:lnTo>
                  <a:lnTo>
                    <a:pt x="4820" y="1913"/>
                  </a:lnTo>
                  <a:lnTo>
                    <a:pt x="4816" y="1913"/>
                  </a:lnTo>
                  <a:lnTo>
                    <a:pt x="4816" y="1913"/>
                  </a:lnTo>
                  <a:lnTo>
                    <a:pt x="4811" y="1913"/>
                  </a:lnTo>
                  <a:lnTo>
                    <a:pt x="4811" y="1913"/>
                  </a:lnTo>
                  <a:lnTo>
                    <a:pt x="4811" y="1908"/>
                  </a:lnTo>
                  <a:lnTo>
                    <a:pt x="4807" y="1908"/>
                  </a:lnTo>
                  <a:lnTo>
                    <a:pt x="4807" y="1908"/>
                  </a:lnTo>
                  <a:lnTo>
                    <a:pt x="4807" y="1913"/>
                  </a:lnTo>
                  <a:lnTo>
                    <a:pt x="4802" y="1913"/>
                  </a:lnTo>
                  <a:lnTo>
                    <a:pt x="4802" y="1908"/>
                  </a:lnTo>
                  <a:lnTo>
                    <a:pt x="4802" y="1908"/>
                  </a:lnTo>
                  <a:lnTo>
                    <a:pt x="4802" y="1908"/>
                  </a:lnTo>
                  <a:lnTo>
                    <a:pt x="4802" y="1913"/>
                  </a:lnTo>
                  <a:lnTo>
                    <a:pt x="4802" y="1913"/>
                  </a:lnTo>
                  <a:lnTo>
                    <a:pt x="4798" y="1913"/>
                  </a:lnTo>
                  <a:lnTo>
                    <a:pt x="4798" y="1913"/>
                  </a:lnTo>
                  <a:lnTo>
                    <a:pt x="4798" y="1913"/>
                  </a:lnTo>
                  <a:lnTo>
                    <a:pt x="4798" y="1913"/>
                  </a:lnTo>
                  <a:lnTo>
                    <a:pt x="4798" y="1917"/>
                  </a:lnTo>
                  <a:lnTo>
                    <a:pt x="4798" y="1917"/>
                  </a:lnTo>
                  <a:lnTo>
                    <a:pt x="4802" y="1922"/>
                  </a:lnTo>
                  <a:lnTo>
                    <a:pt x="4802" y="1922"/>
                  </a:lnTo>
                  <a:lnTo>
                    <a:pt x="4802" y="1922"/>
                  </a:lnTo>
                  <a:lnTo>
                    <a:pt x="4802" y="1922"/>
                  </a:lnTo>
                  <a:lnTo>
                    <a:pt x="4802" y="1926"/>
                  </a:lnTo>
                  <a:lnTo>
                    <a:pt x="4802" y="1926"/>
                  </a:lnTo>
                  <a:lnTo>
                    <a:pt x="4798" y="1926"/>
                  </a:lnTo>
                  <a:lnTo>
                    <a:pt x="4798" y="1926"/>
                  </a:lnTo>
                  <a:lnTo>
                    <a:pt x="4798" y="1926"/>
                  </a:lnTo>
                  <a:lnTo>
                    <a:pt x="4798" y="1926"/>
                  </a:lnTo>
                  <a:lnTo>
                    <a:pt x="4798" y="1926"/>
                  </a:lnTo>
                  <a:lnTo>
                    <a:pt x="4798" y="1926"/>
                  </a:lnTo>
                  <a:lnTo>
                    <a:pt x="4798" y="1931"/>
                  </a:lnTo>
                  <a:lnTo>
                    <a:pt x="4793" y="1931"/>
                  </a:lnTo>
                  <a:lnTo>
                    <a:pt x="4793" y="1935"/>
                  </a:lnTo>
                  <a:lnTo>
                    <a:pt x="4793" y="1935"/>
                  </a:lnTo>
                  <a:lnTo>
                    <a:pt x="4793" y="1935"/>
                  </a:lnTo>
                  <a:lnTo>
                    <a:pt x="4793" y="1931"/>
                  </a:lnTo>
                  <a:lnTo>
                    <a:pt x="4793" y="1931"/>
                  </a:lnTo>
                  <a:lnTo>
                    <a:pt x="4793" y="1926"/>
                  </a:lnTo>
                  <a:lnTo>
                    <a:pt x="4789" y="1922"/>
                  </a:lnTo>
                  <a:lnTo>
                    <a:pt x="4789" y="1917"/>
                  </a:lnTo>
                  <a:lnTo>
                    <a:pt x="4789" y="1913"/>
                  </a:lnTo>
                  <a:lnTo>
                    <a:pt x="4789" y="1913"/>
                  </a:lnTo>
                  <a:lnTo>
                    <a:pt x="4784" y="1913"/>
                  </a:lnTo>
                  <a:lnTo>
                    <a:pt x="4784" y="1917"/>
                  </a:lnTo>
                  <a:lnTo>
                    <a:pt x="4784" y="1917"/>
                  </a:lnTo>
                  <a:lnTo>
                    <a:pt x="4780" y="1922"/>
                  </a:lnTo>
                  <a:lnTo>
                    <a:pt x="4780" y="1922"/>
                  </a:lnTo>
                  <a:lnTo>
                    <a:pt x="4775" y="1922"/>
                  </a:lnTo>
                  <a:lnTo>
                    <a:pt x="4775" y="1926"/>
                  </a:lnTo>
                  <a:lnTo>
                    <a:pt x="4775" y="1926"/>
                  </a:lnTo>
                  <a:lnTo>
                    <a:pt x="4771" y="1931"/>
                  </a:lnTo>
                  <a:lnTo>
                    <a:pt x="4771" y="1931"/>
                  </a:lnTo>
                  <a:lnTo>
                    <a:pt x="4771" y="1935"/>
                  </a:lnTo>
                  <a:lnTo>
                    <a:pt x="4771" y="1940"/>
                  </a:lnTo>
                  <a:lnTo>
                    <a:pt x="4771" y="1944"/>
                  </a:lnTo>
                  <a:lnTo>
                    <a:pt x="4771" y="1944"/>
                  </a:lnTo>
                  <a:lnTo>
                    <a:pt x="4771" y="1944"/>
                  </a:lnTo>
                  <a:lnTo>
                    <a:pt x="4771" y="1944"/>
                  </a:lnTo>
                  <a:lnTo>
                    <a:pt x="4771" y="1949"/>
                  </a:lnTo>
                  <a:lnTo>
                    <a:pt x="4762" y="1953"/>
                  </a:lnTo>
                  <a:lnTo>
                    <a:pt x="4762" y="1953"/>
                  </a:lnTo>
                  <a:lnTo>
                    <a:pt x="4757" y="1953"/>
                  </a:lnTo>
                  <a:lnTo>
                    <a:pt x="4757" y="1958"/>
                  </a:lnTo>
                  <a:lnTo>
                    <a:pt x="4753" y="1958"/>
                  </a:lnTo>
                  <a:lnTo>
                    <a:pt x="4753" y="1962"/>
                  </a:lnTo>
                  <a:lnTo>
                    <a:pt x="4753" y="1967"/>
                  </a:lnTo>
                  <a:lnTo>
                    <a:pt x="4748" y="1971"/>
                  </a:lnTo>
                  <a:lnTo>
                    <a:pt x="4744" y="1971"/>
                  </a:lnTo>
                  <a:lnTo>
                    <a:pt x="4739" y="1976"/>
                  </a:lnTo>
                  <a:lnTo>
                    <a:pt x="4739" y="1976"/>
                  </a:lnTo>
                  <a:lnTo>
                    <a:pt x="4730" y="1980"/>
                  </a:lnTo>
                  <a:lnTo>
                    <a:pt x="4725" y="1980"/>
                  </a:lnTo>
                  <a:lnTo>
                    <a:pt x="4716" y="1980"/>
                  </a:lnTo>
                  <a:lnTo>
                    <a:pt x="4712" y="1985"/>
                  </a:lnTo>
                  <a:lnTo>
                    <a:pt x="4712" y="1980"/>
                  </a:lnTo>
                  <a:lnTo>
                    <a:pt x="4707" y="1980"/>
                  </a:lnTo>
                  <a:lnTo>
                    <a:pt x="4698" y="1985"/>
                  </a:lnTo>
                  <a:lnTo>
                    <a:pt x="4694" y="1989"/>
                  </a:lnTo>
                  <a:lnTo>
                    <a:pt x="4689" y="1989"/>
                  </a:lnTo>
                  <a:lnTo>
                    <a:pt x="4685" y="1989"/>
                  </a:lnTo>
                  <a:lnTo>
                    <a:pt x="4680" y="1994"/>
                  </a:lnTo>
                  <a:lnTo>
                    <a:pt x="4680" y="1994"/>
                  </a:lnTo>
                  <a:lnTo>
                    <a:pt x="4671" y="1994"/>
                  </a:lnTo>
                  <a:lnTo>
                    <a:pt x="4671" y="1994"/>
                  </a:lnTo>
                  <a:lnTo>
                    <a:pt x="4667" y="1994"/>
                  </a:lnTo>
                  <a:lnTo>
                    <a:pt x="4667" y="1994"/>
                  </a:lnTo>
                  <a:lnTo>
                    <a:pt x="4662" y="1994"/>
                  </a:lnTo>
                  <a:lnTo>
                    <a:pt x="4662" y="1994"/>
                  </a:lnTo>
                  <a:lnTo>
                    <a:pt x="4658" y="1994"/>
                  </a:lnTo>
                  <a:lnTo>
                    <a:pt x="4649" y="2003"/>
                  </a:lnTo>
                  <a:lnTo>
                    <a:pt x="4644" y="2003"/>
                  </a:lnTo>
                  <a:lnTo>
                    <a:pt x="4644" y="2003"/>
                  </a:lnTo>
                  <a:lnTo>
                    <a:pt x="4640" y="2007"/>
                  </a:lnTo>
                  <a:lnTo>
                    <a:pt x="4635" y="2012"/>
                  </a:lnTo>
                  <a:lnTo>
                    <a:pt x="4631" y="2012"/>
                  </a:lnTo>
                  <a:lnTo>
                    <a:pt x="4626" y="2017"/>
                  </a:lnTo>
                  <a:lnTo>
                    <a:pt x="4622" y="2017"/>
                  </a:lnTo>
                  <a:lnTo>
                    <a:pt x="4617" y="2017"/>
                  </a:lnTo>
                  <a:lnTo>
                    <a:pt x="4613" y="2026"/>
                  </a:lnTo>
                  <a:lnTo>
                    <a:pt x="4613" y="2026"/>
                  </a:lnTo>
                  <a:lnTo>
                    <a:pt x="4613" y="2026"/>
                  </a:lnTo>
                  <a:lnTo>
                    <a:pt x="4608" y="2030"/>
                  </a:lnTo>
                  <a:lnTo>
                    <a:pt x="4608" y="2030"/>
                  </a:lnTo>
                  <a:lnTo>
                    <a:pt x="4608" y="2026"/>
                  </a:lnTo>
                  <a:lnTo>
                    <a:pt x="4608" y="2021"/>
                  </a:lnTo>
                  <a:lnTo>
                    <a:pt x="4613" y="2017"/>
                  </a:lnTo>
                  <a:lnTo>
                    <a:pt x="4613" y="2017"/>
                  </a:lnTo>
                  <a:lnTo>
                    <a:pt x="4608" y="2017"/>
                  </a:lnTo>
                  <a:lnTo>
                    <a:pt x="4608" y="2017"/>
                  </a:lnTo>
                  <a:lnTo>
                    <a:pt x="4603" y="2026"/>
                  </a:lnTo>
                  <a:lnTo>
                    <a:pt x="4599" y="2030"/>
                  </a:lnTo>
                  <a:lnTo>
                    <a:pt x="4599" y="2035"/>
                  </a:lnTo>
                  <a:lnTo>
                    <a:pt x="4599" y="2039"/>
                  </a:lnTo>
                  <a:lnTo>
                    <a:pt x="4599" y="2039"/>
                  </a:lnTo>
                  <a:lnTo>
                    <a:pt x="4599" y="2044"/>
                  </a:lnTo>
                  <a:lnTo>
                    <a:pt x="4599" y="2044"/>
                  </a:lnTo>
                  <a:lnTo>
                    <a:pt x="4594" y="2048"/>
                  </a:lnTo>
                  <a:lnTo>
                    <a:pt x="4590" y="2053"/>
                  </a:lnTo>
                  <a:lnTo>
                    <a:pt x="4590" y="2057"/>
                  </a:lnTo>
                  <a:lnTo>
                    <a:pt x="4585" y="2062"/>
                  </a:lnTo>
                  <a:lnTo>
                    <a:pt x="4585" y="2062"/>
                  </a:lnTo>
                  <a:lnTo>
                    <a:pt x="4585" y="2066"/>
                  </a:lnTo>
                  <a:lnTo>
                    <a:pt x="4585" y="2071"/>
                  </a:lnTo>
                  <a:lnTo>
                    <a:pt x="4585" y="2071"/>
                  </a:lnTo>
                  <a:lnTo>
                    <a:pt x="4585" y="2080"/>
                  </a:lnTo>
                  <a:lnTo>
                    <a:pt x="4585" y="2084"/>
                  </a:lnTo>
                  <a:lnTo>
                    <a:pt x="4585" y="2089"/>
                  </a:lnTo>
                  <a:lnTo>
                    <a:pt x="4590" y="2098"/>
                  </a:lnTo>
                  <a:lnTo>
                    <a:pt x="4590" y="2098"/>
                  </a:lnTo>
                  <a:lnTo>
                    <a:pt x="4585" y="2102"/>
                  </a:lnTo>
                  <a:lnTo>
                    <a:pt x="4585" y="2107"/>
                  </a:lnTo>
                  <a:lnTo>
                    <a:pt x="4585" y="2107"/>
                  </a:lnTo>
                  <a:lnTo>
                    <a:pt x="4581" y="2107"/>
                  </a:lnTo>
                  <a:lnTo>
                    <a:pt x="4581" y="2107"/>
                  </a:lnTo>
                  <a:lnTo>
                    <a:pt x="4581" y="2102"/>
                  </a:lnTo>
                  <a:lnTo>
                    <a:pt x="4581" y="2098"/>
                  </a:lnTo>
                  <a:lnTo>
                    <a:pt x="4581" y="2098"/>
                  </a:lnTo>
                  <a:lnTo>
                    <a:pt x="4581" y="2102"/>
                  </a:lnTo>
                  <a:lnTo>
                    <a:pt x="4581" y="2102"/>
                  </a:lnTo>
                  <a:lnTo>
                    <a:pt x="4581" y="2102"/>
                  </a:lnTo>
                  <a:lnTo>
                    <a:pt x="4576" y="2102"/>
                  </a:lnTo>
                  <a:lnTo>
                    <a:pt x="4576" y="2098"/>
                  </a:lnTo>
                  <a:lnTo>
                    <a:pt x="4581" y="2098"/>
                  </a:lnTo>
                  <a:lnTo>
                    <a:pt x="4581" y="2093"/>
                  </a:lnTo>
                  <a:lnTo>
                    <a:pt x="4581" y="2093"/>
                  </a:lnTo>
                  <a:lnTo>
                    <a:pt x="4581" y="2093"/>
                  </a:lnTo>
                  <a:lnTo>
                    <a:pt x="4576" y="2089"/>
                  </a:lnTo>
                  <a:lnTo>
                    <a:pt x="4576" y="2093"/>
                  </a:lnTo>
                  <a:lnTo>
                    <a:pt x="4576" y="2093"/>
                  </a:lnTo>
                  <a:lnTo>
                    <a:pt x="4576" y="2098"/>
                  </a:lnTo>
                  <a:lnTo>
                    <a:pt x="4576" y="2102"/>
                  </a:lnTo>
                  <a:lnTo>
                    <a:pt x="4576" y="2102"/>
                  </a:lnTo>
                  <a:lnTo>
                    <a:pt x="4581" y="2102"/>
                  </a:lnTo>
                  <a:lnTo>
                    <a:pt x="4581" y="2107"/>
                  </a:lnTo>
                  <a:lnTo>
                    <a:pt x="4576" y="2107"/>
                  </a:lnTo>
                  <a:lnTo>
                    <a:pt x="4576" y="2111"/>
                  </a:lnTo>
                  <a:lnTo>
                    <a:pt x="4576" y="2111"/>
                  </a:lnTo>
                  <a:lnTo>
                    <a:pt x="4572" y="2111"/>
                  </a:lnTo>
                  <a:lnTo>
                    <a:pt x="4572" y="2107"/>
                  </a:lnTo>
                  <a:lnTo>
                    <a:pt x="4572" y="2102"/>
                  </a:lnTo>
                  <a:lnTo>
                    <a:pt x="4572" y="2102"/>
                  </a:lnTo>
                  <a:lnTo>
                    <a:pt x="4572" y="2098"/>
                  </a:lnTo>
                  <a:lnTo>
                    <a:pt x="4572" y="2102"/>
                  </a:lnTo>
                  <a:lnTo>
                    <a:pt x="4572" y="2102"/>
                  </a:lnTo>
                  <a:lnTo>
                    <a:pt x="4572" y="2102"/>
                  </a:lnTo>
                  <a:lnTo>
                    <a:pt x="4572" y="2102"/>
                  </a:lnTo>
                  <a:lnTo>
                    <a:pt x="4572" y="2102"/>
                  </a:lnTo>
                  <a:lnTo>
                    <a:pt x="4572" y="2102"/>
                  </a:lnTo>
                  <a:lnTo>
                    <a:pt x="4567" y="2102"/>
                  </a:lnTo>
                  <a:lnTo>
                    <a:pt x="4572" y="2102"/>
                  </a:lnTo>
                  <a:lnTo>
                    <a:pt x="4572" y="2107"/>
                  </a:lnTo>
                  <a:lnTo>
                    <a:pt x="4572" y="2116"/>
                  </a:lnTo>
                  <a:lnTo>
                    <a:pt x="4576" y="2125"/>
                  </a:lnTo>
                  <a:lnTo>
                    <a:pt x="4576" y="2130"/>
                  </a:lnTo>
                  <a:lnTo>
                    <a:pt x="4572" y="2139"/>
                  </a:lnTo>
                  <a:lnTo>
                    <a:pt x="4572" y="2139"/>
                  </a:lnTo>
                  <a:lnTo>
                    <a:pt x="4572" y="2143"/>
                  </a:lnTo>
                  <a:lnTo>
                    <a:pt x="4576" y="2152"/>
                  </a:lnTo>
                  <a:lnTo>
                    <a:pt x="4576" y="2152"/>
                  </a:lnTo>
                  <a:lnTo>
                    <a:pt x="4576" y="2157"/>
                  </a:lnTo>
                  <a:lnTo>
                    <a:pt x="4572" y="2157"/>
                  </a:lnTo>
                  <a:lnTo>
                    <a:pt x="4576" y="2161"/>
                  </a:lnTo>
                  <a:lnTo>
                    <a:pt x="4576" y="2166"/>
                  </a:lnTo>
                  <a:lnTo>
                    <a:pt x="4576" y="2170"/>
                  </a:lnTo>
                  <a:lnTo>
                    <a:pt x="4572" y="2175"/>
                  </a:lnTo>
                  <a:lnTo>
                    <a:pt x="4572" y="2179"/>
                  </a:lnTo>
                  <a:lnTo>
                    <a:pt x="4567" y="2184"/>
                  </a:lnTo>
                  <a:lnTo>
                    <a:pt x="4567" y="2188"/>
                  </a:lnTo>
                  <a:lnTo>
                    <a:pt x="4567" y="2197"/>
                  </a:lnTo>
                  <a:lnTo>
                    <a:pt x="4567" y="2197"/>
                  </a:lnTo>
                  <a:lnTo>
                    <a:pt x="4567" y="2206"/>
                  </a:lnTo>
                  <a:lnTo>
                    <a:pt x="4567" y="2215"/>
                  </a:lnTo>
                  <a:lnTo>
                    <a:pt x="4567" y="2215"/>
                  </a:lnTo>
                  <a:lnTo>
                    <a:pt x="4563" y="2229"/>
                  </a:lnTo>
                  <a:lnTo>
                    <a:pt x="4563" y="2229"/>
                  </a:lnTo>
                  <a:lnTo>
                    <a:pt x="4558" y="2229"/>
                  </a:lnTo>
                  <a:lnTo>
                    <a:pt x="4558" y="2234"/>
                  </a:lnTo>
                  <a:lnTo>
                    <a:pt x="4558" y="2238"/>
                  </a:lnTo>
                  <a:lnTo>
                    <a:pt x="4554" y="2243"/>
                  </a:lnTo>
                  <a:lnTo>
                    <a:pt x="4554" y="2247"/>
                  </a:lnTo>
                  <a:lnTo>
                    <a:pt x="4549" y="2252"/>
                  </a:lnTo>
                  <a:lnTo>
                    <a:pt x="4545" y="2252"/>
                  </a:lnTo>
                  <a:lnTo>
                    <a:pt x="4545" y="2252"/>
                  </a:lnTo>
                  <a:lnTo>
                    <a:pt x="4545" y="2252"/>
                  </a:lnTo>
                  <a:lnTo>
                    <a:pt x="4540" y="2247"/>
                  </a:lnTo>
                  <a:lnTo>
                    <a:pt x="4540" y="2256"/>
                  </a:lnTo>
                  <a:lnTo>
                    <a:pt x="4536" y="2261"/>
                  </a:lnTo>
                  <a:lnTo>
                    <a:pt x="4536" y="2261"/>
                  </a:lnTo>
                  <a:lnTo>
                    <a:pt x="4536" y="2265"/>
                  </a:lnTo>
                  <a:lnTo>
                    <a:pt x="4536" y="2265"/>
                  </a:lnTo>
                  <a:lnTo>
                    <a:pt x="4540" y="2265"/>
                  </a:lnTo>
                  <a:lnTo>
                    <a:pt x="4540" y="2265"/>
                  </a:lnTo>
                  <a:lnTo>
                    <a:pt x="4545" y="2265"/>
                  </a:lnTo>
                  <a:lnTo>
                    <a:pt x="4545" y="2270"/>
                  </a:lnTo>
                  <a:lnTo>
                    <a:pt x="4545" y="2274"/>
                  </a:lnTo>
                  <a:lnTo>
                    <a:pt x="4549" y="2279"/>
                  </a:lnTo>
                  <a:lnTo>
                    <a:pt x="4554" y="2279"/>
                  </a:lnTo>
                  <a:lnTo>
                    <a:pt x="4558" y="2279"/>
                  </a:lnTo>
                  <a:lnTo>
                    <a:pt x="4563" y="2279"/>
                  </a:lnTo>
                  <a:lnTo>
                    <a:pt x="4567" y="2283"/>
                  </a:lnTo>
                  <a:lnTo>
                    <a:pt x="4572" y="2283"/>
                  </a:lnTo>
                  <a:lnTo>
                    <a:pt x="4572" y="2283"/>
                  </a:lnTo>
                  <a:lnTo>
                    <a:pt x="4576" y="2283"/>
                  </a:lnTo>
                  <a:lnTo>
                    <a:pt x="4576" y="2279"/>
                  </a:lnTo>
                  <a:lnTo>
                    <a:pt x="4585" y="2274"/>
                  </a:lnTo>
                  <a:lnTo>
                    <a:pt x="4594" y="2270"/>
                  </a:lnTo>
                  <a:lnTo>
                    <a:pt x="4599" y="2270"/>
                  </a:lnTo>
                  <a:lnTo>
                    <a:pt x="4599" y="2270"/>
                  </a:lnTo>
                  <a:lnTo>
                    <a:pt x="4603" y="2270"/>
                  </a:lnTo>
                  <a:lnTo>
                    <a:pt x="4608" y="2265"/>
                  </a:lnTo>
                  <a:lnTo>
                    <a:pt x="4613" y="2265"/>
                  </a:lnTo>
                  <a:lnTo>
                    <a:pt x="4613" y="2261"/>
                  </a:lnTo>
                  <a:lnTo>
                    <a:pt x="4622" y="2261"/>
                  </a:lnTo>
                  <a:lnTo>
                    <a:pt x="4622" y="2261"/>
                  </a:lnTo>
                  <a:lnTo>
                    <a:pt x="4626" y="2261"/>
                  </a:lnTo>
                  <a:lnTo>
                    <a:pt x="4631" y="2261"/>
                  </a:lnTo>
                  <a:lnTo>
                    <a:pt x="4640" y="2261"/>
                  </a:lnTo>
                  <a:lnTo>
                    <a:pt x="4644" y="2261"/>
                  </a:lnTo>
                  <a:lnTo>
                    <a:pt x="4649" y="2261"/>
                  </a:lnTo>
                  <a:lnTo>
                    <a:pt x="4649" y="2261"/>
                  </a:lnTo>
                  <a:lnTo>
                    <a:pt x="4649" y="2265"/>
                  </a:lnTo>
                  <a:lnTo>
                    <a:pt x="4662" y="2265"/>
                  </a:lnTo>
                  <a:lnTo>
                    <a:pt x="4662" y="2265"/>
                  </a:lnTo>
                  <a:lnTo>
                    <a:pt x="4667" y="2265"/>
                  </a:lnTo>
                  <a:lnTo>
                    <a:pt x="4667" y="2265"/>
                  </a:lnTo>
                  <a:lnTo>
                    <a:pt x="4671" y="2265"/>
                  </a:lnTo>
                  <a:lnTo>
                    <a:pt x="4671" y="2265"/>
                  </a:lnTo>
                  <a:lnTo>
                    <a:pt x="4676" y="2265"/>
                  </a:lnTo>
                  <a:lnTo>
                    <a:pt x="4680" y="2261"/>
                  </a:lnTo>
                  <a:lnTo>
                    <a:pt x="4685" y="2256"/>
                  </a:lnTo>
                  <a:lnTo>
                    <a:pt x="4689" y="2252"/>
                  </a:lnTo>
                  <a:lnTo>
                    <a:pt x="4694" y="2247"/>
                  </a:lnTo>
                  <a:lnTo>
                    <a:pt x="4694" y="2247"/>
                  </a:lnTo>
                  <a:lnTo>
                    <a:pt x="4698" y="2247"/>
                  </a:lnTo>
                  <a:lnTo>
                    <a:pt x="4703" y="2247"/>
                  </a:lnTo>
                  <a:lnTo>
                    <a:pt x="4712" y="2243"/>
                  </a:lnTo>
                  <a:lnTo>
                    <a:pt x="4716" y="2238"/>
                  </a:lnTo>
                  <a:lnTo>
                    <a:pt x="4716" y="2238"/>
                  </a:lnTo>
                  <a:lnTo>
                    <a:pt x="4725" y="2234"/>
                  </a:lnTo>
                  <a:lnTo>
                    <a:pt x="4730" y="2234"/>
                  </a:lnTo>
                  <a:lnTo>
                    <a:pt x="4739" y="2238"/>
                  </a:lnTo>
                  <a:lnTo>
                    <a:pt x="4744" y="2238"/>
                  </a:lnTo>
                  <a:lnTo>
                    <a:pt x="4748" y="2234"/>
                  </a:lnTo>
                  <a:lnTo>
                    <a:pt x="4753" y="2234"/>
                  </a:lnTo>
                  <a:lnTo>
                    <a:pt x="4762" y="2234"/>
                  </a:lnTo>
                  <a:lnTo>
                    <a:pt x="4771" y="2229"/>
                  </a:lnTo>
                  <a:lnTo>
                    <a:pt x="4780" y="2225"/>
                  </a:lnTo>
                  <a:lnTo>
                    <a:pt x="4784" y="2225"/>
                  </a:lnTo>
                  <a:lnTo>
                    <a:pt x="4789" y="2225"/>
                  </a:lnTo>
                  <a:lnTo>
                    <a:pt x="4798" y="2225"/>
                  </a:lnTo>
                  <a:lnTo>
                    <a:pt x="4811" y="2225"/>
                  </a:lnTo>
                  <a:lnTo>
                    <a:pt x="4811" y="2225"/>
                  </a:lnTo>
                  <a:lnTo>
                    <a:pt x="4816" y="2225"/>
                  </a:lnTo>
                  <a:lnTo>
                    <a:pt x="4816" y="2225"/>
                  </a:lnTo>
                  <a:lnTo>
                    <a:pt x="4816" y="2225"/>
                  </a:lnTo>
                  <a:lnTo>
                    <a:pt x="4820" y="2225"/>
                  </a:lnTo>
                  <a:lnTo>
                    <a:pt x="4825" y="2229"/>
                  </a:lnTo>
                  <a:lnTo>
                    <a:pt x="4829" y="2234"/>
                  </a:lnTo>
                  <a:lnTo>
                    <a:pt x="4829" y="2238"/>
                  </a:lnTo>
                  <a:lnTo>
                    <a:pt x="4834" y="2234"/>
                  </a:lnTo>
                  <a:lnTo>
                    <a:pt x="4838" y="2234"/>
                  </a:lnTo>
                  <a:lnTo>
                    <a:pt x="4843" y="2243"/>
                  </a:lnTo>
                  <a:lnTo>
                    <a:pt x="4843" y="2243"/>
                  </a:lnTo>
                  <a:lnTo>
                    <a:pt x="4847" y="2243"/>
                  </a:lnTo>
                  <a:lnTo>
                    <a:pt x="4847" y="2243"/>
                  </a:lnTo>
                  <a:lnTo>
                    <a:pt x="4847" y="2243"/>
                  </a:lnTo>
                  <a:lnTo>
                    <a:pt x="4852" y="2247"/>
                  </a:lnTo>
                  <a:lnTo>
                    <a:pt x="4852" y="2247"/>
                  </a:lnTo>
                  <a:lnTo>
                    <a:pt x="4852" y="2252"/>
                  </a:lnTo>
                  <a:lnTo>
                    <a:pt x="4852" y="2252"/>
                  </a:lnTo>
                  <a:lnTo>
                    <a:pt x="4852" y="2252"/>
                  </a:lnTo>
                  <a:lnTo>
                    <a:pt x="4847" y="2252"/>
                  </a:lnTo>
                  <a:lnTo>
                    <a:pt x="4847" y="2256"/>
                  </a:lnTo>
                  <a:lnTo>
                    <a:pt x="4847" y="2261"/>
                  </a:lnTo>
                  <a:lnTo>
                    <a:pt x="4852" y="2261"/>
                  </a:lnTo>
                  <a:lnTo>
                    <a:pt x="4852" y="2265"/>
                  </a:lnTo>
                  <a:lnTo>
                    <a:pt x="4852" y="2265"/>
                  </a:lnTo>
                  <a:lnTo>
                    <a:pt x="4852" y="2270"/>
                  </a:lnTo>
                  <a:lnTo>
                    <a:pt x="4852" y="2270"/>
                  </a:lnTo>
                  <a:lnTo>
                    <a:pt x="4852" y="2274"/>
                  </a:lnTo>
                  <a:lnTo>
                    <a:pt x="4852" y="2279"/>
                  </a:lnTo>
                  <a:lnTo>
                    <a:pt x="4852" y="2279"/>
                  </a:lnTo>
                  <a:lnTo>
                    <a:pt x="4852" y="2283"/>
                  </a:lnTo>
                  <a:lnTo>
                    <a:pt x="4852" y="2283"/>
                  </a:lnTo>
                  <a:lnTo>
                    <a:pt x="4852" y="2288"/>
                  </a:lnTo>
                  <a:lnTo>
                    <a:pt x="4852" y="2292"/>
                  </a:lnTo>
                  <a:lnTo>
                    <a:pt x="4852" y="2292"/>
                  </a:lnTo>
                  <a:lnTo>
                    <a:pt x="4847" y="2292"/>
                  </a:lnTo>
                  <a:lnTo>
                    <a:pt x="4847" y="2292"/>
                  </a:lnTo>
                  <a:lnTo>
                    <a:pt x="4847" y="2288"/>
                  </a:lnTo>
                  <a:lnTo>
                    <a:pt x="4847" y="2288"/>
                  </a:lnTo>
                  <a:lnTo>
                    <a:pt x="4847" y="2288"/>
                  </a:lnTo>
                  <a:lnTo>
                    <a:pt x="4847" y="2292"/>
                  </a:lnTo>
                  <a:lnTo>
                    <a:pt x="4847" y="2292"/>
                  </a:lnTo>
                  <a:lnTo>
                    <a:pt x="4847" y="2292"/>
                  </a:lnTo>
                  <a:lnTo>
                    <a:pt x="4847" y="2292"/>
                  </a:lnTo>
                  <a:lnTo>
                    <a:pt x="4847" y="2292"/>
                  </a:lnTo>
                  <a:lnTo>
                    <a:pt x="4847" y="2297"/>
                  </a:lnTo>
                  <a:lnTo>
                    <a:pt x="4847" y="2297"/>
                  </a:lnTo>
                  <a:lnTo>
                    <a:pt x="4852" y="2297"/>
                  </a:lnTo>
                  <a:lnTo>
                    <a:pt x="4852" y="2297"/>
                  </a:lnTo>
                  <a:lnTo>
                    <a:pt x="4852" y="2301"/>
                  </a:lnTo>
                  <a:lnTo>
                    <a:pt x="4852" y="2301"/>
                  </a:lnTo>
                  <a:lnTo>
                    <a:pt x="4856" y="2301"/>
                  </a:lnTo>
                  <a:lnTo>
                    <a:pt x="4856" y="2297"/>
                  </a:lnTo>
                  <a:lnTo>
                    <a:pt x="4856" y="2297"/>
                  </a:lnTo>
                  <a:lnTo>
                    <a:pt x="4856" y="2292"/>
                  </a:lnTo>
                  <a:lnTo>
                    <a:pt x="4856" y="2292"/>
                  </a:lnTo>
                  <a:lnTo>
                    <a:pt x="4861" y="2292"/>
                  </a:lnTo>
                  <a:lnTo>
                    <a:pt x="4861" y="2288"/>
                  </a:lnTo>
                  <a:lnTo>
                    <a:pt x="4870" y="2283"/>
                  </a:lnTo>
                  <a:lnTo>
                    <a:pt x="4875" y="2279"/>
                  </a:lnTo>
                  <a:lnTo>
                    <a:pt x="4875" y="2279"/>
                  </a:lnTo>
                  <a:lnTo>
                    <a:pt x="4879" y="2279"/>
                  </a:lnTo>
                  <a:lnTo>
                    <a:pt x="4884" y="2274"/>
                  </a:lnTo>
                  <a:lnTo>
                    <a:pt x="4884" y="2274"/>
                  </a:lnTo>
                  <a:lnTo>
                    <a:pt x="4888" y="2274"/>
                  </a:lnTo>
                  <a:lnTo>
                    <a:pt x="4888" y="2274"/>
                  </a:lnTo>
                  <a:lnTo>
                    <a:pt x="4893" y="2270"/>
                  </a:lnTo>
                  <a:lnTo>
                    <a:pt x="4897" y="2265"/>
                  </a:lnTo>
                  <a:lnTo>
                    <a:pt x="4902" y="2265"/>
                  </a:lnTo>
                  <a:lnTo>
                    <a:pt x="4902" y="2261"/>
                  </a:lnTo>
                  <a:lnTo>
                    <a:pt x="4906" y="2261"/>
                  </a:lnTo>
                  <a:lnTo>
                    <a:pt x="4906" y="2256"/>
                  </a:lnTo>
                  <a:lnTo>
                    <a:pt x="4911" y="2252"/>
                  </a:lnTo>
                  <a:lnTo>
                    <a:pt x="4911" y="2256"/>
                  </a:lnTo>
                  <a:lnTo>
                    <a:pt x="4911" y="2256"/>
                  </a:lnTo>
                  <a:lnTo>
                    <a:pt x="4906" y="2265"/>
                  </a:lnTo>
                  <a:lnTo>
                    <a:pt x="4906" y="2265"/>
                  </a:lnTo>
                  <a:lnTo>
                    <a:pt x="4902" y="2265"/>
                  </a:lnTo>
                  <a:lnTo>
                    <a:pt x="4902" y="2270"/>
                  </a:lnTo>
                  <a:lnTo>
                    <a:pt x="4902" y="2270"/>
                  </a:lnTo>
                  <a:lnTo>
                    <a:pt x="4902" y="2274"/>
                  </a:lnTo>
                  <a:lnTo>
                    <a:pt x="4897" y="2274"/>
                  </a:lnTo>
                  <a:lnTo>
                    <a:pt x="4893" y="2279"/>
                  </a:lnTo>
                  <a:lnTo>
                    <a:pt x="4888" y="2283"/>
                  </a:lnTo>
                  <a:lnTo>
                    <a:pt x="4884" y="2288"/>
                  </a:lnTo>
                  <a:lnTo>
                    <a:pt x="4884" y="2288"/>
                  </a:lnTo>
                  <a:lnTo>
                    <a:pt x="4884" y="2292"/>
                  </a:lnTo>
                  <a:lnTo>
                    <a:pt x="4884" y="2292"/>
                  </a:lnTo>
                  <a:lnTo>
                    <a:pt x="4879" y="2297"/>
                  </a:lnTo>
                  <a:lnTo>
                    <a:pt x="4875" y="2301"/>
                  </a:lnTo>
                  <a:lnTo>
                    <a:pt x="4875" y="2301"/>
                  </a:lnTo>
                  <a:lnTo>
                    <a:pt x="4875" y="2301"/>
                  </a:lnTo>
                  <a:lnTo>
                    <a:pt x="4870" y="2301"/>
                  </a:lnTo>
                  <a:lnTo>
                    <a:pt x="4870" y="2301"/>
                  </a:lnTo>
                  <a:lnTo>
                    <a:pt x="4866" y="2306"/>
                  </a:lnTo>
                  <a:lnTo>
                    <a:pt x="4866" y="2306"/>
                  </a:lnTo>
                  <a:lnTo>
                    <a:pt x="4866" y="2306"/>
                  </a:lnTo>
                  <a:lnTo>
                    <a:pt x="4870" y="2306"/>
                  </a:lnTo>
                  <a:lnTo>
                    <a:pt x="4870" y="2306"/>
                  </a:lnTo>
                  <a:lnTo>
                    <a:pt x="4875" y="2306"/>
                  </a:lnTo>
                  <a:lnTo>
                    <a:pt x="4875" y="2306"/>
                  </a:lnTo>
                  <a:lnTo>
                    <a:pt x="4879" y="2306"/>
                  </a:lnTo>
                  <a:lnTo>
                    <a:pt x="4888" y="2297"/>
                  </a:lnTo>
                  <a:lnTo>
                    <a:pt x="4888" y="2292"/>
                  </a:lnTo>
                  <a:lnTo>
                    <a:pt x="4893" y="2288"/>
                  </a:lnTo>
                  <a:lnTo>
                    <a:pt x="4893" y="2288"/>
                  </a:lnTo>
                  <a:lnTo>
                    <a:pt x="4897" y="2288"/>
                  </a:lnTo>
                  <a:lnTo>
                    <a:pt x="4897" y="2288"/>
                  </a:lnTo>
                  <a:lnTo>
                    <a:pt x="4897" y="2292"/>
                  </a:lnTo>
                  <a:lnTo>
                    <a:pt x="4897" y="2297"/>
                  </a:lnTo>
                  <a:lnTo>
                    <a:pt x="4897" y="2297"/>
                  </a:lnTo>
                  <a:lnTo>
                    <a:pt x="4893" y="2306"/>
                  </a:lnTo>
                  <a:lnTo>
                    <a:pt x="4888" y="2310"/>
                  </a:lnTo>
                  <a:lnTo>
                    <a:pt x="4884" y="2310"/>
                  </a:lnTo>
                  <a:lnTo>
                    <a:pt x="4884" y="2315"/>
                  </a:lnTo>
                  <a:lnTo>
                    <a:pt x="4879" y="2315"/>
                  </a:lnTo>
                  <a:lnTo>
                    <a:pt x="4884" y="2315"/>
                  </a:lnTo>
                  <a:lnTo>
                    <a:pt x="4884" y="2315"/>
                  </a:lnTo>
                  <a:lnTo>
                    <a:pt x="4888" y="2315"/>
                  </a:lnTo>
                  <a:lnTo>
                    <a:pt x="4888" y="2315"/>
                  </a:lnTo>
                  <a:lnTo>
                    <a:pt x="4893" y="2315"/>
                  </a:lnTo>
                  <a:lnTo>
                    <a:pt x="4893" y="2315"/>
                  </a:lnTo>
                  <a:lnTo>
                    <a:pt x="4897" y="2315"/>
                  </a:lnTo>
                  <a:lnTo>
                    <a:pt x="4897" y="2310"/>
                  </a:lnTo>
                  <a:lnTo>
                    <a:pt x="4897" y="2310"/>
                  </a:lnTo>
                  <a:lnTo>
                    <a:pt x="4902" y="2310"/>
                  </a:lnTo>
                  <a:lnTo>
                    <a:pt x="4902" y="2310"/>
                  </a:lnTo>
                  <a:lnTo>
                    <a:pt x="4902" y="2315"/>
                  </a:lnTo>
                  <a:lnTo>
                    <a:pt x="4897" y="2315"/>
                  </a:lnTo>
                  <a:lnTo>
                    <a:pt x="4897" y="2315"/>
                  </a:lnTo>
                  <a:lnTo>
                    <a:pt x="4897" y="2315"/>
                  </a:lnTo>
                  <a:lnTo>
                    <a:pt x="4897" y="2315"/>
                  </a:lnTo>
                  <a:lnTo>
                    <a:pt x="4897" y="2315"/>
                  </a:lnTo>
                  <a:lnTo>
                    <a:pt x="4893" y="2315"/>
                  </a:lnTo>
                  <a:lnTo>
                    <a:pt x="4893" y="2315"/>
                  </a:lnTo>
                  <a:lnTo>
                    <a:pt x="4893" y="2315"/>
                  </a:lnTo>
                  <a:lnTo>
                    <a:pt x="4893" y="2319"/>
                  </a:lnTo>
                  <a:lnTo>
                    <a:pt x="4893" y="2319"/>
                  </a:lnTo>
                  <a:lnTo>
                    <a:pt x="4897" y="2324"/>
                  </a:lnTo>
                  <a:lnTo>
                    <a:pt x="4897" y="2329"/>
                  </a:lnTo>
                  <a:lnTo>
                    <a:pt x="4893" y="2333"/>
                  </a:lnTo>
                  <a:lnTo>
                    <a:pt x="4893" y="2338"/>
                  </a:lnTo>
                  <a:lnTo>
                    <a:pt x="4893" y="2342"/>
                  </a:lnTo>
                  <a:lnTo>
                    <a:pt x="4888" y="2342"/>
                  </a:lnTo>
                  <a:lnTo>
                    <a:pt x="4888" y="2347"/>
                  </a:lnTo>
                  <a:lnTo>
                    <a:pt x="4884" y="2347"/>
                  </a:lnTo>
                  <a:lnTo>
                    <a:pt x="4884" y="2351"/>
                  </a:lnTo>
                  <a:lnTo>
                    <a:pt x="4884" y="2351"/>
                  </a:lnTo>
                  <a:lnTo>
                    <a:pt x="4884" y="2360"/>
                  </a:lnTo>
                  <a:lnTo>
                    <a:pt x="4884" y="2365"/>
                  </a:lnTo>
                  <a:lnTo>
                    <a:pt x="4888" y="2365"/>
                  </a:lnTo>
                  <a:lnTo>
                    <a:pt x="4893" y="2369"/>
                  </a:lnTo>
                  <a:lnTo>
                    <a:pt x="4893" y="2369"/>
                  </a:lnTo>
                  <a:lnTo>
                    <a:pt x="4893" y="2374"/>
                  </a:lnTo>
                  <a:lnTo>
                    <a:pt x="4897" y="2374"/>
                  </a:lnTo>
                  <a:lnTo>
                    <a:pt x="4897" y="2374"/>
                  </a:lnTo>
                  <a:lnTo>
                    <a:pt x="4902" y="2374"/>
                  </a:lnTo>
                  <a:lnTo>
                    <a:pt x="4902" y="2374"/>
                  </a:lnTo>
                  <a:lnTo>
                    <a:pt x="4906" y="2378"/>
                  </a:lnTo>
                  <a:lnTo>
                    <a:pt x="4906" y="2378"/>
                  </a:lnTo>
                  <a:lnTo>
                    <a:pt x="4911" y="2378"/>
                  </a:lnTo>
                  <a:lnTo>
                    <a:pt x="4911" y="2378"/>
                  </a:lnTo>
                  <a:lnTo>
                    <a:pt x="4911" y="2383"/>
                  </a:lnTo>
                  <a:lnTo>
                    <a:pt x="4915" y="2383"/>
                  </a:lnTo>
                  <a:lnTo>
                    <a:pt x="4915" y="2383"/>
                  </a:lnTo>
                  <a:lnTo>
                    <a:pt x="4915" y="2387"/>
                  </a:lnTo>
                  <a:lnTo>
                    <a:pt x="4920" y="2387"/>
                  </a:lnTo>
                  <a:lnTo>
                    <a:pt x="4924" y="2387"/>
                  </a:lnTo>
                  <a:lnTo>
                    <a:pt x="4924" y="2383"/>
                  </a:lnTo>
                  <a:lnTo>
                    <a:pt x="4933" y="2378"/>
                  </a:lnTo>
                  <a:lnTo>
                    <a:pt x="4938" y="2378"/>
                  </a:lnTo>
                  <a:lnTo>
                    <a:pt x="4938" y="2378"/>
                  </a:lnTo>
                  <a:lnTo>
                    <a:pt x="4942" y="2378"/>
                  </a:lnTo>
                  <a:lnTo>
                    <a:pt x="4942" y="2378"/>
                  </a:lnTo>
                  <a:lnTo>
                    <a:pt x="4942" y="2374"/>
                  </a:lnTo>
                  <a:lnTo>
                    <a:pt x="4942" y="2374"/>
                  </a:lnTo>
                  <a:lnTo>
                    <a:pt x="4942" y="2374"/>
                  </a:lnTo>
                  <a:lnTo>
                    <a:pt x="4942" y="2374"/>
                  </a:lnTo>
                  <a:lnTo>
                    <a:pt x="4942" y="2374"/>
                  </a:lnTo>
                  <a:lnTo>
                    <a:pt x="4951" y="2369"/>
                  </a:lnTo>
                  <a:lnTo>
                    <a:pt x="4951" y="2369"/>
                  </a:lnTo>
                  <a:lnTo>
                    <a:pt x="4951" y="2374"/>
                  </a:lnTo>
                  <a:lnTo>
                    <a:pt x="4951" y="2374"/>
                  </a:lnTo>
                  <a:lnTo>
                    <a:pt x="4951" y="2378"/>
                  </a:lnTo>
                  <a:lnTo>
                    <a:pt x="4947" y="2378"/>
                  </a:lnTo>
                  <a:lnTo>
                    <a:pt x="4947" y="2378"/>
                  </a:lnTo>
                  <a:lnTo>
                    <a:pt x="4942" y="2378"/>
                  </a:lnTo>
                  <a:lnTo>
                    <a:pt x="4942" y="2378"/>
                  </a:lnTo>
                  <a:lnTo>
                    <a:pt x="4942" y="2383"/>
                  </a:lnTo>
                  <a:lnTo>
                    <a:pt x="4947" y="2383"/>
                  </a:lnTo>
                  <a:lnTo>
                    <a:pt x="4951" y="2378"/>
                  </a:lnTo>
                  <a:lnTo>
                    <a:pt x="4951" y="2378"/>
                  </a:lnTo>
                  <a:lnTo>
                    <a:pt x="4951" y="2378"/>
                  </a:lnTo>
                  <a:lnTo>
                    <a:pt x="4956" y="2378"/>
                  </a:lnTo>
                  <a:lnTo>
                    <a:pt x="4956" y="2378"/>
                  </a:lnTo>
                  <a:lnTo>
                    <a:pt x="4956" y="2378"/>
                  </a:lnTo>
                  <a:lnTo>
                    <a:pt x="4956" y="2383"/>
                  </a:lnTo>
                  <a:lnTo>
                    <a:pt x="4951" y="2383"/>
                  </a:lnTo>
                  <a:lnTo>
                    <a:pt x="4951" y="2383"/>
                  </a:lnTo>
                  <a:lnTo>
                    <a:pt x="4951" y="2383"/>
                  </a:lnTo>
                  <a:lnTo>
                    <a:pt x="4951" y="2387"/>
                  </a:lnTo>
                  <a:lnTo>
                    <a:pt x="4951" y="2387"/>
                  </a:lnTo>
                  <a:lnTo>
                    <a:pt x="4951" y="2387"/>
                  </a:lnTo>
                  <a:lnTo>
                    <a:pt x="4956" y="2387"/>
                  </a:lnTo>
                  <a:lnTo>
                    <a:pt x="4956" y="2387"/>
                  </a:lnTo>
                  <a:lnTo>
                    <a:pt x="4951" y="2392"/>
                  </a:lnTo>
                  <a:lnTo>
                    <a:pt x="4956" y="2392"/>
                  </a:lnTo>
                  <a:lnTo>
                    <a:pt x="4956" y="2392"/>
                  </a:lnTo>
                  <a:lnTo>
                    <a:pt x="4956" y="2392"/>
                  </a:lnTo>
                  <a:lnTo>
                    <a:pt x="4956" y="2392"/>
                  </a:lnTo>
                  <a:lnTo>
                    <a:pt x="4956" y="2396"/>
                  </a:lnTo>
                  <a:lnTo>
                    <a:pt x="4956" y="2396"/>
                  </a:lnTo>
                  <a:lnTo>
                    <a:pt x="4956" y="2396"/>
                  </a:lnTo>
                  <a:lnTo>
                    <a:pt x="4956" y="2396"/>
                  </a:lnTo>
                  <a:lnTo>
                    <a:pt x="4960" y="2396"/>
                  </a:lnTo>
                  <a:lnTo>
                    <a:pt x="4960" y="2392"/>
                  </a:lnTo>
                  <a:lnTo>
                    <a:pt x="4960" y="2392"/>
                  </a:lnTo>
                  <a:lnTo>
                    <a:pt x="4960" y="2392"/>
                  </a:lnTo>
                  <a:lnTo>
                    <a:pt x="4960" y="2392"/>
                  </a:lnTo>
                  <a:lnTo>
                    <a:pt x="4960" y="2392"/>
                  </a:lnTo>
                  <a:lnTo>
                    <a:pt x="4960" y="2392"/>
                  </a:lnTo>
                  <a:lnTo>
                    <a:pt x="4960" y="2387"/>
                  </a:lnTo>
                  <a:lnTo>
                    <a:pt x="4960" y="2387"/>
                  </a:lnTo>
                  <a:lnTo>
                    <a:pt x="4960" y="2387"/>
                  </a:lnTo>
                  <a:lnTo>
                    <a:pt x="4965" y="2387"/>
                  </a:lnTo>
                  <a:lnTo>
                    <a:pt x="4969" y="2387"/>
                  </a:lnTo>
                  <a:lnTo>
                    <a:pt x="4983" y="2378"/>
                  </a:lnTo>
                  <a:lnTo>
                    <a:pt x="4992" y="2378"/>
                  </a:lnTo>
                  <a:lnTo>
                    <a:pt x="4997" y="2374"/>
                  </a:lnTo>
                  <a:lnTo>
                    <a:pt x="5001" y="2374"/>
                  </a:lnTo>
                  <a:lnTo>
                    <a:pt x="5001" y="2374"/>
                  </a:lnTo>
                  <a:lnTo>
                    <a:pt x="5015" y="2374"/>
                  </a:lnTo>
                  <a:lnTo>
                    <a:pt x="5019" y="2374"/>
                  </a:lnTo>
                  <a:lnTo>
                    <a:pt x="5024" y="2374"/>
                  </a:lnTo>
                  <a:lnTo>
                    <a:pt x="5024" y="2374"/>
                  </a:lnTo>
                  <a:lnTo>
                    <a:pt x="5028" y="2369"/>
                  </a:lnTo>
                  <a:lnTo>
                    <a:pt x="5028" y="2369"/>
                  </a:lnTo>
                  <a:lnTo>
                    <a:pt x="5033" y="2369"/>
                  </a:lnTo>
                  <a:lnTo>
                    <a:pt x="5033" y="2369"/>
                  </a:lnTo>
                  <a:lnTo>
                    <a:pt x="5033" y="2365"/>
                  </a:lnTo>
                  <a:lnTo>
                    <a:pt x="5037" y="2365"/>
                  </a:lnTo>
                  <a:lnTo>
                    <a:pt x="5037" y="2360"/>
                  </a:lnTo>
                  <a:lnTo>
                    <a:pt x="5042" y="2356"/>
                  </a:lnTo>
                  <a:lnTo>
                    <a:pt x="5042" y="2356"/>
                  </a:lnTo>
                  <a:lnTo>
                    <a:pt x="5046" y="2351"/>
                  </a:lnTo>
                  <a:lnTo>
                    <a:pt x="5051" y="2347"/>
                  </a:lnTo>
                  <a:lnTo>
                    <a:pt x="5055" y="2342"/>
                  </a:lnTo>
                  <a:lnTo>
                    <a:pt x="5055" y="2338"/>
                  </a:lnTo>
                  <a:lnTo>
                    <a:pt x="5060" y="2338"/>
                  </a:lnTo>
                  <a:lnTo>
                    <a:pt x="5064" y="2333"/>
                  </a:lnTo>
                  <a:lnTo>
                    <a:pt x="5064" y="2333"/>
                  </a:lnTo>
                  <a:lnTo>
                    <a:pt x="5073" y="2324"/>
                  </a:lnTo>
                  <a:lnTo>
                    <a:pt x="5073" y="2324"/>
                  </a:lnTo>
                  <a:lnTo>
                    <a:pt x="5073" y="2324"/>
                  </a:lnTo>
                  <a:lnTo>
                    <a:pt x="5078" y="2324"/>
                  </a:lnTo>
                  <a:lnTo>
                    <a:pt x="5078" y="2324"/>
                  </a:lnTo>
                  <a:lnTo>
                    <a:pt x="5078" y="2324"/>
                  </a:lnTo>
                  <a:lnTo>
                    <a:pt x="5078" y="2319"/>
                  </a:lnTo>
                  <a:lnTo>
                    <a:pt x="5078" y="2319"/>
                  </a:lnTo>
                  <a:lnTo>
                    <a:pt x="5078" y="2319"/>
                  </a:lnTo>
                  <a:lnTo>
                    <a:pt x="5078" y="2319"/>
                  </a:lnTo>
                  <a:lnTo>
                    <a:pt x="5078" y="2319"/>
                  </a:lnTo>
                  <a:lnTo>
                    <a:pt x="5078" y="2319"/>
                  </a:lnTo>
                  <a:lnTo>
                    <a:pt x="5082" y="2319"/>
                  </a:lnTo>
                  <a:lnTo>
                    <a:pt x="5082" y="2315"/>
                  </a:lnTo>
                  <a:lnTo>
                    <a:pt x="5087" y="2310"/>
                  </a:lnTo>
                  <a:lnTo>
                    <a:pt x="5091" y="2306"/>
                  </a:lnTo>
                  <a:lnTo>
                    <a:pt x="5091" y="2306"/>
                  </a:lnTo>
                  <a:lnTo>
                    <a:pt x="5096" y="2301"/>
                  </a:lnTo>
                  <a:lnTo>
                    <a:pt x="5100" y="2301"/>
                  </a:lnTo>
                  <a:lnTo>
                    <a:pt x="5100" y="2301"/>
                  </a:lnTo>
                  <a:lnTo>
                    <a:pt x="5096" y="2301"/>
                  </a:lnTo>
                  <a:lnTo>
                    <a:pt x="5100" y="2297"/>
                  </a:lnTo>
                  <a:lnTo>
                    <a:pt x="5100" y="2297"/>
                  </a:lnTo>
                  <a:lnTo>
                    <a:pt x="5100" y="2301"/>
                  </a:lnTo>
                  <a:lnTo>
                    <a:pt x="5100" y="2297"/>
                  </a:lnTo>
                  <a:lnTo>
                    <a:pt x="5100" y="2297"/>
                  </a:lnTo>
                  <a:lnTo>
                    <a:pt x="5105" y="2292"/>
                  </a:lnTo>
                  <a:lnTo>
                    <a:pt x="5105" y="2292"/>
                  </a:lnTo>
                  <a:lnTo>
                    <a:pt x="5105" y="2292"/>
                  </a:lnTo>
                  <a:lnTo>
                    <a:pt x="5109" y="2292"/>
                  </a:lnTo>
                  <a:close/>
                  <a:moveTo>
                    <a:pt x="4540" y="1628"/>
                  </a:moveTo>
                  <a:lnTo>
                    <a:pt x="4545" y="1628"/>
                  </a:lnTo>
                  <a:lnTo>
                    <a:pt x="4545" y="1628"/>
                  </a:lnTo>
                  <a:lnTo>
                    <a:pt x="4536" y="1623"/>
                  </a:lnTo>
                  <a:lnTo>
                    <a:pt x="4536" y="1619"/>
                  </a:lnTo>
                  <a:lnTo>
                    <a:pt x="4531" y="1614"/>
                  </a:lnTo>
                  <a:lnTo>
                    <a:pt x="4531" y="1614"/>
                  </a:lnTo>
                  <a:lnTo>
                    <a:pt x="4531" y="1610"/>
                  </a:lnTo>
                  <a:lnTo>
                    <a:pt x="4531" y="1610"/>
                  </a:lnTo>
                  <a:lnTo>
                    <a:pt x="4531" y="1610"/>
                  </a:lnTo>
                  <a:lnTo>
                    <a:pt x="4531" y="1605"/>
                  </a:lnTo>
                  <a:lnTo>
                    <a:pt x="4527" y="1605"/>
                  </a:lnTo>
                  <a:lnTo>
                    <a:pt x="4527" y="1605"/>
                  </a:lnTo>
                  <a:lnTo>
                    <a:pt x="4527" y="1605"/>
                  </a:lnTo>
                  <a:lnTo>
                    <a:pt x="4527" y="1610"/>
                  </a:lnTo>
                  <a:lnTo>
                    <a:pt x="4527" y="1610"/>
                  </a:lnTo>
                  <a:lnTo>
                    <a:pt x="4522" y="1610"/>
                  </a:lnTo>
                  <a:lnTo>
                    <a:pt x="4522" y="1610"/>
                  </a:lnTo>
                  <a:lnTo>
                    <a:pt x="4522" y="1605"/>
                  </a:lnTo>
                  <a:lnTo>
                    <a:pt x="4522" y="1605"/>
                  </a:lnTo>
                  <a:lnTo>
                    <a:pt x="4522" y="1610"/>
                  </a:lnTo>
                  <a:lnTo>
                    <a:pt x="4518" y="1610"/>
                  </a:lnTo>
                  <a:lnTo>
                    <a:pt x="4518" y="1610"/>
                  </a:lnTo>
                  <a:lnTo>
                    <a:pt x="4518" y="1610"/>
                  </a:lnTo>
                  <a:lnTo>
                    <a:pt x="4518" y="1614"/>
                  </a:lnTo>
                  <a:lnTo>
                    <a:pt x="4518" y="1614"/>
                  </a:lnTo>
                  <a:lnTo>
                    <a:pt x="4518" y="1614"/>
                  </a:lnTo>
                  <a:lnTo>
                    <a:pt x="4513" y="1614"/>
                  </a:lnTo>
                  <a:lnTo>
                    <a:pt x="4513" y="1619"/>
                  </a:lnTo>
                  <a:lnTo>
                    <a:pt x="4518" y="1619"/>
                  </a:lnTo>
                  <a:lnTo>
                    <a:pt x="4518" y="1619"/>
                  </a:lnTo>
                  <a:lnTo>
                    <a:pt x="4518" y="1619"/>
                  </a:lnTo>
                  <a:lnTo>
                    <a:pt x="4522" y="1619"/>
                  </a:lnTo>
                  <a:lnTo>
                    <a:pt x="4522" y="1619"/>
                  </a:lnTo>
                  <a:lnTo>
                    <a:pt x="4527" y="1619"/>
                  </a:lnTo>
                  <a:lnTo>
                    <a:pt x="4527" y="1619"/>
                  </a:lnTo>
                  <a:lnTo>
                    <a:pt x="4527" y="1623"/>
                  </a:lnTo>
                  <a:lnTo>
                    <a:pt x="4527" y="1623"/>
                  </a:lnTo>
                  <a:lnTo>
                    <a:pt x="4527" y="1623"/>
                  </a:lnTo>
                  <a:lnTo>
                    <a:pt x="4527" y="1628"/>
                  </a:lnTo>
                  <a:lnTo>
                    <a:pt x="4527" y="1628"/>
                  </a:lnTo>
                  <a:lnTo>
                    <a:pt x="4527" y="1632"/>
                  </a:lnTo>
                  <a:lnTo>
                    <a:pt x="4531" y="1632"/>
                  </a:lnTo>
                  <a:lnTo>
                    <a:pt x="4531" y="1632"/>
                  </a:lnTo>
                  <a:lnTo>
                    <a:pt x="4536" y="1632"/>
                  </a:lnTo>
                  <a:lnTo>
                    <a:pt x="4536" y="1637"/>
                  </a:lnTo>
                  <a:lnTo>
                    <a:pt x="4536" y="1637"/>
                  </a:lnTo>
                  <a:lnTo>
                    <a:pt x="4536" y="1637"/>
                  </a:lnTo>
                  <a:lnTo>
                    <a:pt x="4540" y="1637"/>
                  </a:lnTo>
                  <a:lnTo>
                    <a:pt x="4540" y="1637"/>
                  </a:lnTo>
                  <a:lnTo>
                    <a:pt x="4540" y="1637"/>
                  </a:lnTo>
                  <a:lnTo>
                    <a:pt x="4540" y="1637"/>
                  </a:lnTo>
                  <a:lnTo>
                    <a:pt x="4540" y="1637"/>
                  </a:lnTo>
                  <a:lnTo>
                    <a:pt x="4540" y="1637"/>
                  </a:lnTo>
                  <a:lnTo>
                    <a:pt x="4540" y="1632"/>
                  </a:lnTo>
                  <a:lnTo>
                    <a:pt x="4540" y="1632"/>
                  </a:lnTo>
                  <a:lnTo>
                    <a:pt x="4540" y="1628"/>
                  </a:lnTo>
                  <a:close/>
                  <a:moveTo>
                    <a:pt x="3013" y="484"/>
                  </a:moveTo>
                  <a:lnTo>
                    <a:pt x="3013" y="488"/>
                  </a:lnTo>
                  <a:lnTo>
                    <a:pt x="3013" y="488"/>
                  </a:lnTo>
                  <a:lnTo>
                    <a:pt x="3018" y="488"/>
                  </a:lnTo>
                  <a:lnTo>
                    <a:pt x="3018" y="488"/>
                  </a:lnTo>
                  <a:lnTo>
                    <a:pt x="3018" y="484"/>
                  </a:lnTo>
                  <a:lnTo>
                    <a:pt x="3018" y="484"/>
                  </a:lnTo>
                  <a:lnTo>
                    <a:pt x="3018" y="479"/>
                  </a:lnTo>
                  <a:lnTo>
                    <a:pt x="3022" y="479"/>
                  </a:lnTo>
                  <a:lnTo>
                    <a:pt x="3027" y="479"/>
                  </a:lnTo>
                  <a:lnTo>
                    <a:pt x="3027" y="479"/>
                  </a:lnTo>
                  <a:lnTo>
                    <a:pt x="3027" y="479"/>
                  </a:lnTo>
                  <a:lnTo>
                    <a:pt x="3027" y="479"/>
                  </a:lnTo>
                  <a:lnTo>
                    <a:pt x="3027" y="479"/>
                  </a:lnTo>
                  <a:lnTo>
                    <a:pt x="3031" y="479"/>
                  </a:lnTo>
                  <a:lnTo>
                    <a:pt x="3031" y="479"/>
                  </a:lnTo>
                  <a:lnTo>
                    <a:pt x="3031" y="479"/>
                  </a:lnTo>
                  <a:lnTo>
                    <a:pt x="3031" y="475"/>
                  </a:lnTo>
                  <a:lnTo>
                    <a:pt x="3027" y="475"/>
                  </a:lnTo>
                  <a:lnTo>
                    <a:pt x="3027" y="475"/>
                  </a:lnTo>
                  <a:lnTo>
                    <a:pt x="3022" y="475"/>
                  </a:lnTo>
                  <a:lnTo>
                    <a:pt x="3022" y="475"/>
                  </a:lnTo>
                  <a:lnTo>
                    <a:pt x="3022" y="475"/>
                  </a:lnTo>
                  <a:lnTo>
                    <a:pt x="3022" y="475"/>
                  </a:lnTo>
                  <a:lnTo>
                    <a:pt x="3022" y="475"/>
                  </a:lnTo>
                  <a:lnTo>
                    <a:pt x="3018" y="475"/>
                  </a:lnTo>
                  <a:lnTo>
                    <a:pt x="3018" y="475"/>
                  </a:lnTo>
                  <a:lnTo>
                    <a:pt x="3018" y="475"/>
                  </a:lnTo>
                  <a:lnTo>
                    <a:pt x="3018" y="475"/>
                  </a:lnTo>
                  <a:lnTo>
                    <a:pt x="3013" y="475"/>
                  </a:lnTo>
                  <a:lnTo>
                    <a:pt x="3013" y="475"/>
                  </a:lnTo>
                  <a:lnTo>
                    <a:pt x="3013" y="475"/>
                  </a:lnTo>
                  <a:lnTo>
                    <a:pt x="3013" y="475"/>
                  </a:lnTo>
                  <a:lnTo>
                    <a:pt x="3013" y="479"/>
                  </a:lnTo>
                  <a:lnTo>
                    <a:pt x="3013" y="479"/>
                  </a:lnTo>
                  <a:lnTo>
                    <a:pt x="3013" y="479"/>
                  </a:lnTo>
                  <a:lnTo>
                    <a:pt x="3013" y="479"/>
                  </a:lnTo>
                  <a:lnTo>
                    <a:pt x="3013" y="479"/>
                  </a:lnTo>
                  <a:lnTo>
                    <a:pt x="3013" y="479"/>
                  </a:lnTo>
                  <a:lnTo>
                    <a:pt x="3013" y="484"/>
                  </a:lnTo>
                  <a:lnTo>
                    <a:pt x="3018" y="484"/>
                  </a:lnTo>
                  <a:lnTo>
                    <a:pt x="3018" y="484"/>
                  </a:lnTo>
                  <a:lnTo>
                    <a:pt x="3018" y="484"/>
                  </a:lnTo>
                  <a:lnTo>
                    <a:pt x="3013" y="484"/>
                  </a:lnTo>
                  <a:close/>
                  <a:moveTo>
                    <a:pt x="4572" y="461"/>
                  </a:moveTo>
                  <a:lnTo>
                    <a:pt x="4576" y="466"/>
                  </a:lnTo>
                  <a:lnTo>
                    <a:pt x="4576" y="466"/>
                  </a:lnTo>
                  <a:lnTo>
                    <a:pt x="4576" y="461"/>
                  </a:lnTo>
                  <a:lnTo>
                    <a:pt x="4576" y="466"/>
                  </a:lnTo>
                  <a:lnTo>
                    <a:pt x="4585" y="466"/>
                  </a:lnTo>
                  <a:lnTo>
                    <a:pt x="4585" y="466"/>
                  </a:lnTo>
                  <a:lnTo>
                    <a:pt x="4585" y="466"/>
                  </a:lnTo>
                  <a:lnTo>
                    <a:pt x="4585" y="466"/>
                  </a:lnTo>
                  <a:lnTo>
                    <a:pt x="4585" y="466"/>
                  </a:lnTo>
                  <a:lnTo>
                    <a:pt x="4585" y="461"/>
                  </a:lnTo>
                  <a:lnTo>
                    <a:pt x="4585" y="461"/>
                  </a:lnTo>
                  <a:lnTo>
                    <a:pt x="4581" y="461"/>
                  </a:lnTo>
                  <a:lnTo>
                    <a:pt x="4581" y="457"/>
                  </a:lnTo>
                  <a:lnTo>
                    <a:pt x="4581" y="457"/>
                  </a:lnTo>
                  <a:lnTo>
                    <a:pt x="4581" y="457"/>
                  </a:lnTo>
                  <a:lnTo>
                    <a:pt x="4581" y="457"/>
                  </a:lnTo>
                  <a:lnTo>
                    <a:pt x="4576" y="457"/>
                  </a:lnTo>
                  <a:lnTo>
                    <a:pt x="4572" y="457"/>
                  </a:lnTo>
                  <a:lnTo>
                    <a:pt x="4572" y="457"/>
                  </a:lnTo>
                  <a:lnTo>
                    <a:pt x="4572" y="461"/>
                  </a:lnTo>
                  <a:lnTo>
                    <a:pt x="4572" y="461"/>
                  </a:lnTo>
                  <a:lnTo>
                    <a:pt x="4572" y="461"/>
                  </a:lnTo>
                  <a:close/>
                  <a:moveTo>
                    <a:pt x="4567" y="1189"/>
                  </a:moveTo>
                  <a:lnTo>
                    <a:pt x="4567" y="1185"/>
                  </a:lnTo>
                  <a:lnTo>
                    <a:pt x="4567" y="1185"/>
                  </a:lnTo>
                  <a:lnTo>
                    <a:pt x="4572" y="1180"/>
                  </a:lnTo>
                  <a:lnTo>
                    <a:pt x="4572" y="1180"/>
                  </a:lnTo>
                  <a:lnTo>
                    <a:pt x="4567" y="1176"/>
                  </a:lnTo>
                  <a:lnTo>
                    <a:pt x="4567" y="1176"/>
                  </a:lnTo>
                  <a:lnTo>
                    <a:pt x="4567" y="1176"/>
                  </a:lnTo>
                  <a:lnTo>
                    <a:pt x="4567" y="1176"/>
                  </a:lnTo>
                  <a:lnTo>
                    <a:pt x="4563" y="1176"/>
                  </a:lnTo>
                  <a:lnTo>
                    <a:pt x="4563" y="1171"/>
                  </a:lnTo>
                  <a:lnTo>
                    <a:pt x="4563" y="1171"/>
                  </a:lnTo>
                  <a:lnTo>
                    <a:pt x="4563" y="1171"/>
                  </a:lnTo>
                  <a:lnTo>
                    <a:pt x="4563" y="1171"/>
                  </a:lnTo>
                  <a:lnTo>
                    <a:pt x="4563" y="1176"/>
                  </a:lnTo>
                  <a:lnTo>
                    <a:pt x="4558" y="1176"/>
                  </a:lnTo>
                  <a:lnTo>
                    <a:pt x="4558" y="1176"/>
                  </a:lnTo>
                  <a:lnTo>
                    <a:pt x="4558" y="1176"/>
                  </a:lnTo>
                  <a:lnTo>
                    <a:pt x="4558" y="1176"/>
                  </a:lnTo>
                  <a:lnTo>
                    <a:pt x="4558" y="1176"/>
                  </a:lnTo>
                  <a:lnTo>
                    <a:pt x="4554" y="1176"/>
                  </a:lnTo>
                  <a:lnTo>
                    <a:pt x="4554" y="1176"/>
                  </a:lnTo>
                  <a:lnTo>
                    <a:pt x="4554" y="1176"/>
                  </a:lnTo>
                  <a:lnTo>
                    <a:pt x="4549" y="1176"/>
                  </a:lnTo>
                  <a:lnTo>
                    <a:pt x="4545" y="1176"/>
                  </a:lnTo>
                  <a:lnTo>
                    <a:pt x="4545" y="1176"/>
                  </a:lnTo>
                  <a:lnTo>
                    <a:pt x="4545" y="1176"/>
                  </a:lnTo>
                  <a:lnTo>
                    <a:pt x="4545" y="1176"/>
                  </a:lnTo>
                  <a:lnTo>
                    <a:pt x="4540" y="1176"/>
                  </a:lnTo>
                  <a:lnTo>
                    <a:pt x="4540" y="1176"/>
                  </a:lnTo>
                  <a:lnTo>
                    <a:pt x="4540" y="1180"/>
                  </a:lnTo>
                  <a:lnTo>
                    <a:pt x="4540" y="1180"/>
                  </a:lnTo>
                  <a:lnTo>
                    <a:pt x="4540" y="1180"/>
                  </a:lnTo>
                  <a:lnTo>
                    <a:pt x="4540" y="1180"/>
                  </a:lnTo>
                  <a:lnTo>
                    <a:pt x="4540" y="1180"/>
                  </a:lnTo>
                  <a:lnTo>
                    <a:pt x="4536" y="1185"/>
                  </a:lnTo>
                  <a:lnTo>
                    <a:pt x="4536" y="1185"/>
                  </a:lnTo>
                  <a:lnTo>
                    <a:pt x="4536" y="1189"/>
                  </a:lnTo>
                  <a:lnTo>
                    <a:pt x="4531" y="1189"/>
                  </a:lnTo>
                  <a:lnTo>
                    <a:pt x="4531" y="1189"/>
                  </a:lnTo>
                  <a:lnTo>
                    <a:pt x="4531" y="1189"/>
                  </a:lnTo>
                  <a:lnTo>
                    <a:pt x="4536" y="1198"/>
                  </a:lnTo>
                  <a:lnTo>
                    <a:pt x="4536" y="1198"/>
                  </a:lnTo>
                  <a:lnTo>
                    <a:pt x="4536" y="1203"/>
                  </a:lnTo>
                  <a:lnTo>
                    <a:pt x="4536" y="1203"/>
                  </a:lnTo>
                  <a:lnTo>
                    <a:pt x="4540" y="1207"/>
                  </a:lnTo>
                  <a:lnTo>
                    <a:pt x="4545" y="1207"/>
                  </a:lnTo>
                  <a:lnTo>
                    <a:pt x="4545" y="1207"/>
                  </a:lnTo>
                  <a:lnTo>
                    <a:pt x="4549" y="1207"/>
                  </a:lnTo>
                  <a:lnTo>
                    <a:pt x="4549" y="1212"/>
                  </a:lnTo>
                  <a:lnTo>
                    <a:pt x="4554" y="1212"/>
                  </a:lnTo>
                  <a:lnTo>
                    <a:pt x="4554" y="1212"/>
                  </a:lnTo>
                  <a:lnTo>
                    <a:pt x="4554" y="1212"/>
                  </a:lnTo>
                  <a:lnTo>
                    <a:pt x="4554" y="1212"/>
                  </a:lnTo>
                  <a:lnTo>
                    <a:pt x="4554" y="1207"/>
                  </a:lnTo>
                  <a:lnTo>
                    <a:pt x="4558" y="1207"/>
                  </a:lnTo>
                  <a:lnTo>
                    <a:pt x="4558" y="1207"/>
                  </a:lnTo>
                  <a:lnTo>
                    <a:pt x="4558" y="1207"/>
                  </a:lnTo>
                  <a:lnTo>
                    <a:pt x="4558" y="1207"/>
                  </a:lnTo>
                  <a:lnTo>
                    <a:pt x="4558" y="1207"/>
                  </a:lnTo>
                  <a:lnTo>
                    <a:pt x="4558" y="1203"/>
                  </a:lnTo>
                  <a:lnTo>
                    <a:pt x="4563" y="1203"/>
                  </a:lnTo>
                  <a:lnTo>
                    <a:pt x="4563" y="1203"/>
                  </a:lnTo>
                  <a:lnTo>
                    <a:pt x="4563" y="1203"/>
                  </a:lnTo>
                  <a:lnTo>
                    <a:pt x="4563" y="1203"/>
                  </a:lnTo>
                  <a:lnTo>
                    <a:pt x="4563" y="1203"/>
                  </a:lnTo>
                  <a:lnTo>
                    <a:pt x="4567" y="1198"/>
                  </a:lnTo>
                  <a:lnTo>
                    <a:pt x="4567" y="1198"/>
                  </a:lnTo>
                  <a:lnTo>
                    <a:pt x="4567" y="1194"/>
                  </a:lnTo>
                  <a:lnTo>
                    <a:pt x="4567" y="1194"/>
                  </a:lnTo>
                  <a:lnTo>
                    <a:pt x="4567" y="1194"/>
                  </a:lnTo>
                  <a:lnTo>
                    <a:pt x="4567" y="1189"/>
                  </a:lnTo>
                  <a:lnTo>
                    <a:pt x="4567" y="1189"/>
                  </a:lnTo>
                  <a:lnTo>
                    <a:pt x="4567" y="1189"/>
                  </a:lnTo>
                  <a:close/>
                  <a:moveTo>
                    <a:pt x="4558" y="1641"/>
                  </a:moveTo>
                  <a:lnTo>
                    <a:pt x="4563" y="1641"/>
                  </a:lnTo>
                  <a:lnTo>
                    <a:pt x="4563" y="1637"/>
                  </a:lnTo>
                  <a:lnTo>
                    <a:pt x="4563" y="1637"/>
                  </a:lnTo>
                  <a:lnTo>
                    <a:pt x="4563" y="1637"/>
                  </a:lnTo>
                  <a:lnTo>
                    <a:pt x="4563" y="1641"/>
                  </a:lnTo>
                  <a:lnTo>
                    <a:pt x="4563" y="1641"/>
                  </a:lnTo>
                  <a:lnTo>
                    <a:pt x="4567" y="1641"/>
                  </a:lnTo>
                  <a:lnTo>
                    <a:pt x="4567" y="1641"/>
                  </a:lnTo>
                  <a:lnTo>
                    <a:pt x="4567" y="1637"/>
                  </a:lnTo>
                  <a:lnTo>
                    <a:pt x="4567" y="1637"/>
                  </a:lnTo>
                  <a:lnTo>
                    <a:pt x="4567" y="1637"/>
                  </a:lnTo>
                  <a:lnTo>
                    <a:pt x="4572" y="1632"/>
                  </a:lnTo>
                  <a:lnTo>
                    <a:pt x="4567" y="1628"/>
                  </a:lnTo>
                  <a:lnTo>
                    <a:pt x="4567" y="1628"/>
                  </a:lnTo>
                  <a:lnTo>
                    <a:pt x="4563" y="1628"/>
                  </a:lnTo>
                  <a:lnTo>
                    <a:pt x="4563" y="1628"/>
                  </a:lnTo>
                  <a:lnTo>
                    <a:pt x="4558" y="1628"/>
                  </a:lnTo>
                  <a:lnTo>
                    <a:pt x="4558" y="1632"/>
                  </a:lnTo>
                  <a:lnTo>
                    <a:pt x="4558" y="1632"/>
                  </a:lnTo>
                  <a:lnTo>
                    <a:pt x="4558" y="1632"/>
                  </a:lnTo>
                  <a:lnTo>
                    <a:pt x="4558" y="1632"/>
                  </a:lnTo>
                  <a:lnTo>
                    <a:pt x="4558" y="1637"/>
                  </a:lnTo>
                  <a:lnTo>
                    <a:pt x="4558" y="1637"/>
                  </a:lnTo>
                  <a:lnTo>
                    <a:pt x="4558" y="1637"/>
                  </a:lnTo>
                  <a:lnTo>
                    <a:pt x="4558" y="1637"/>
                  </a:lnTo>
                  <a:lnTo>
                    <a:pt x="4558" y="1641"/>
                  </a:lnTo>
                  <a:lnTo>
                    <a:pt x="4558" y="1641"/>
                  </a:lnTo>
                  <a:close/>
                  <a:moveTo>
                    <a:pt x="4875" y="2319"/>
                  </a:moveTo>
                  <a:lnTo>
                    <a:pt x="4870" y="2315"/>
                  </a:lnTo>
                  <a:lnTo>
                    <a:pt x="4870" y="2315"/>
                  </a:lnTo>
                  <a:lnTo>
                    <a:pt x="4870" y="2315"/>
                  </a:lnTo>
                  <a:lnTo>
                    <a:pt x="4870" y="2315"/>
                  </a:lnTo>
                  <a:lnTo>
                    <a:pt x="4870" y="2315"/>
                  </a:lnTo>
                  <a:lnTo>
                    <a:pt x="4866" y="2315"/>
                  </a:lnTo>
                  <a:lnTo>
                    <a:pt x="4861" y="2315"/>
                  </a:lnTo>
                  <a:lnTo>
                    <a:pt x="4856" y="2315"/>
                  </a:lnTo>
                  <a:lnTo>
                    <a:pt x="4852" y="2319"/>
                  </a:lnTo>
                  <a:lnTo>
                    <a:pt x="4852" y="2319"/>
                  </a:lnTo>
                  <a:lnTo>
                    <a:pt x="4852" y="2319"/>
                  </a:lnTo>
                  <a:lnTo>
                    <a:pt x="4852" y="2324"/>
                  </a:lnTo>
                  <a:lnTo>
                    <a:pt x="4856" y="2324"/>
                  </a:lnTo>
                  <a:lnTo>
                    <a:pt x="4856" y="2324"/>
                  </a:lnTo>
                  <a:lnTo>
                    <a:pt x="4861" y="2324"/>
                  </a:lnTo>
                  <a:lnTo>
                    <a:pt x="4861" y="2319"/>
                  </a:lnTo>
                  <a:lnTo>
                    <a:pt x="4861" y="2324"/>
                  </a:lnTo>
                  <a:lnTo>
                    <a:pt x="4866" y="2324"/>
                  </a:lnTo>
                  <a:lnTo>
                    <a:pt x="4866" y="2324"/>
                  </a:lnTo>
                  <a:lnTo>
                    <a:pt x="4870" y="2319"/>
                  </a:lnTo>
                  <a:lnTo>
                    <a:pt x="4870" y="2319"/>
                  </a:lnTo>
                  <a:lnTo>
                    <a:pt x="4870" y="2319"/>
                  </a:lnTo>
                  <a:lnTo>
                    <a:pt x="4875" y="2319"/>
                  </a:lnTo>
                  <a:lnTo>
                    <a:pt x="4875" y="2319"/>
                  </a:lnTo>
                  <a:lnTo>
                    <a:pt x="4875" y="2319"/>
                  </a:lnTo>
                  <a:lnTo>
                    <a:pt x="4875" y="2319"/>
                  </a:lnTo>
                  <a:lnTo>
                    <a:pt x="4875" y="2319"/>
                  </a:lnTo>
                  <a:lnTo>
                    <a:pt x="4875" y="2319"/>
                  </a:lnTo>
                  <a:close/>
                  <a:moveTo>
                    <a:pt x="4956" y="2432"/>
                  </a:moveTo>
                  <a:lnTo>
                    <a:pt x="4951" y="2432"/>
                  </a:lnTo>
                  <a:lnTo>
                    <a:pt x="4951" y="2432"/>
                  </a:lnTo>
                  <a:lnTo>
                    <a:pt x="4951" y="2432"/>
                  </a:lnTo>
                  <a:lnTo>
                    <a:pt x="4947" y="2432"/>
                  </a:lnTo>
                  <a:lnTo>
                    <a:pt x="4947" y="2437"/>
                  </a:lnTo>
                  <a:lnTo>
                    <a:pt x="4947" y="2437"/>
                  </a:lnTo>
                  <a:lnTo>
                    <a:pt x="4942" y="2437"/>
                  </a:lnTo>
                  <a:lnTo>
                    <a:pt x="4942" y="2437"/>
                  </a:lnTo>
                  <a:lnTo>
                    <a:pt x="4942" y="2437"/>
                  </a:lnTo>
                  <a:lnTo>
                    <a:pt x="4942" y="2437"/>
                  </a:lnTo>
                  <a:lnTo>
                    <a:pt x="4938" y="2437"/>
                  </a:lnTo>
                  <a:lnTo>
                    <a:pt x="4938" y="2437"/>
                  </a:lnTo>
                  <a:lnTo>
                    <a:pt x="4938" y="2437"/>
                  </a:lnTo>
                  <a:lnTo>
                    <a:pt x="4933" y="2437"/>
                  </a:lnTo>
                  <a:lnTo>
                    <a:pt x="4933" y="2437"/>
                  </a:lnTo>
                  <a:lnTo>
                    <a:pt x="4933" y="2437"/>
                  </a:lnTo>
                  <a:lnTo>
                    <a:pt x="4933" y="2437"/>
                  </a:lnTo>
                  <a:lnTo>
                    <a:pt x="4933" y="2437"/>
                  </a:lnTo>
                  <a:lnTo>
                    <a:pt x="4933" y="2437"/>
                  </a:lnTo>
                  <a:lnTo>
                    <a:pt x="4929" y="2437"/>
                  </a:lnTo>
                  <a:lnTo>
                    <a:pt x="4924" y="2437"/>
                  </a:lnTo>
                  <a:lnTo>
                    <a:pt x="4924" y="2437"/>
                  </a:lnTo>
                  <a:lnTo>
                    <a:pt x="4920" y="2432"/>
                  </a:lnTo>
                  <a:lnTo>
                    <a:pt x="4920" y="2432"/>
                  </a:lnTo>
                  <a:lnTo>
                    <a:pt x="4920" y="2432"/>
                  </a:lnTo>
                  <a:lnTo>
                    <a:pt x="4920" y="2432"/>
                  </a:lnTo>
                  <a:lnTo>
                    <a:pt x="4920" y="2432"/>
                  </a:lnTo>
                  <a:lnTo>
                    <a:pt x="4920" y="2432"/>
                  </a:lnTo>
                  <a:lnTo>
                    <a:pt x="4920" y="2428"/>
                  </a:lnTo>
                  <a:lnTo>
                    <a:pt x="4920" y="2428"/>
                  </a:lnTo>
                  <a:lnTo>
                    <a:pt x="4915" y="2428"/>
                  </a:lnTo>
                  <a:lnTo>
                    <a:pt x="4915" y="2428"/>
                  </a:lnTo>
                  <a:lnTo>
                    <a:pt x="4915" y="2428"/>
                  </a:lnTo>
                  <a:lnTo>
                    <a:pt x="4915" y="2428"/>
                  </a:lnTo>
                  <a:lnTo>
                    <a:pt x="4915" y="2428"/>
                  </a:lnTo>
                  <a:lnTo>
                    <a:pt x="4911" y="2428"/>
                  </a:lnTo>
                  <a:lnTo>
                    <a:pt x="4911" y="2423"/>
                  </a:lnTo>
                  <a:lnTo>
                    <a:pt x="4906" y="2428"/>
                  </a:lnTo>
                  <a:lnTo>
                    <a:pt x="4906" y="2432"/>
                  </a:lnTo>
                  <a:lnTo>
                    <a:pt x="4902" y="2432"/>
                  </a:lnTo>
                  <a:lnTo>
                    <a:pt x="4902" y="2437"/>
                  </a:lnTo>
                  <a:lnTo>
                    <a:pt x="4902" y="2437"/>
                  </a:lnTo>
                  <a:lnTo>
                    <a:pt x="4902" y="2442"/>
                  </a:lnTo>
                  <a:lnTo>
                    <a:pt x="4902" y="2442"/>
                  </a:lnTo>
                  <a:lnTo>
                    <a:pt x="4897" y="2446"/>
                  </a:lnTo>
                  <a:lnTo>
                    <a:pt x="4897" y="2451"/>
                  </a:lnTo>
                  <a:lnTo>
                    <a:pt x="4897" y="2451"/>
                  </a:lnTo>
                  <a:lnTo>
                    <a:pt x="4897" y="2455"/>
                  </a:lnTo>
                  <a:lnTo>
                    <a:pt x="4893" y="2455"/>
                  </a:lnTo>
                  <a:lnTo>
                    <a:pt x="4897" y="2455"/>
                  </a:lnTo>
                  <a:lnTo>
                    <a:pt x="4897" y="2455"/>
                  </a:lnTo>
                  <a:lnTo>
                    <a:pt x="4897" y="2455"/>
                  </a:lnTo>
                  <a:lnTo>
                    <a:pt x="4897" y="2455"/>
                  </a:lnTo>
                  <a:lnTo>
                    <a:pt x="4897" y="2460"/>
                  </a:lnTo>
                  <a:lnTo>
                    <a:pt x="4897" y="2460"/>
                  </a:lnTo>
                  <a:lnTo>
                    <a:pt x="4893" y="2464"/>
                  </a:lnTo>
                  <a:lnTo>
                    <a:pt x="4893" y="2460"/>
                  </a:lnTo>
                  <a:lnTo>
                    <a:pt x="4893" y="2460"/>
                  </a:lnTo>
                  <a:lnTo>
                    <a:pt x="4893" y="2455"/>
                  </a:lnTo>
                  <a:lnTo>
                    <a:pt x="4893" y="2460"/>
                  </a:lnTo>
                  <a:lnTo>
                    <a:pt x="4888" y="2464"/>
                  </a:lnTo>
                  <a:lnTo>
                    <a:pt x="4888" y="2473"/>
                  </a:lnTo>
                  <a:lnTo>
                    <a:pt x="4888" y="2473"/>
                  </a:lnTo>
                  <a:lnTo>
                    <a:pt x="4888" y="2473"/>
                  </a:lnTo>
                  <a:lnTo>
                    <a:pt x="4888" y="2473"/>
                  </a:lnTo>
                  <a:lnTo>
                    <a:pt x="4888" y="2473"/>
                  </a:lnTo>
                  <a:lnTo>
                    <a:pt x="4888" y="2478"/>
                  </a:lnTo>
                  <a:lnTo>
                    <a:pt x="4888" y="2478"/>
                  </a:lnTo>
                  <a:lnTo>
                    <a:pt x="4888" y="2478"/>
                  </a:lnTo>
                  <a:lnTo>
                    <a:pt x="4888" y="2478"/>
                  </a:lnTo>
                  <a:lnTo>
                    <a:pt x="4893" y="2478"/>
                  </a:lnTo>
                  <a:lnTo>
                    <a:pt x="4893" y="2478"/>
                  </a:lnTo>
                  <a:lnTo>
                    <a:pt x="4893" y="2482"/>
                  </a:lnTo>
                  <a:lnTo>
                    <a:pt x="4888" y="2482"/>
                  </a:lnTo>
                  <a:lnTo>
                    <a:pt x="4888" y="2482"/>
                  </a:lnTo>
                  <a:lnTo>
                    <a:pt x="4888" y="2482"/>
                  </a:lnTo>
                  <a:lnTo>
                    <a:pt x="4888" y="2482"/>
                  </a:lnTo>
                  <a:lnTo>
                    <a:pt x="4884" y="2482"/>
                  </a:lnTo>
                  <a:lnTo>
                    <a:pt x="4888" y="2482"/>
                  </a:lnTo>
                  <a:lnTo>
                    <a:pt x="4893" y="2482"/>
                  </a:lnTo>
                  <a:lnTo>
                    <a:pt x="4893" y="2482"/>
                  </a:lnTo>
                  <a:lnTo>
                    <a:pt x="4893" y="2487"/>
                  </a:lnTo>
                  <a:lnTo>
                    <a:pt x="4897" y="2487"/>
                  </a:lnTo>
                  <a:lnTo>
                    <a:pt x="4897" y="2487"/>
                  </a:lnTo>
                  <a:lnTo>
                    <a:pt x="4897" y="2487"/>
                  </a:lnTo>
                  <a:lnTo>
                    <a:pt x="4902" y="2482"/>
                  </a:lnTo>
                  <a:lnTo>
                    <a:pt x="4902" y="2482"/>
                  </a:lnTo>
                  <a:lnTo>
                    <a:pt x="4906" y="2482"/>
                  </a:lnTo>
                  <a:lnTo>
                    <a:pt x="4902" y="2478"/>
                  </a:lnTo>
                  <a:lnTo>
                    <a:pt x="4906" y="2478"/>
                  </a:lnTo>
                  <a:lnTo>
                    <a:pt x="4906" y="2478"/>
                  </a:lnTo>
                  <a:lnTo>
                    <a:pt x="4906" y="2482"/>
                  </a:lnTo>
                  <a:lnTo>
                    <a:pt x="4906" y="2478"/>
                  </a:lnTo>
                  <a:lnTo>
                    <a:pt x="4911" y="2478"/>
                  </a:lnTo>
                  <a:lnTo>
                    <a:pt x="4911" y="2478"/>
                  </a:lnTo>
                  <a:lnTo>
                    <a:pt x="4911" y="2478"/>
                  </a:lnTo>
                  <a:lnTo>
                    <a:pt x="4911" y="2478"/>
                  </a:lnTo>
                  <a:lnTo>
                    <a:pt x="4911" y="2473"/>
                  </a:lnTo>
                  <a:lnTo>
                    <a:pt x="4915" y="2473"/>
                  </a:lnTo>
                  <a:lnTo>
                    <a:pt x="4915" y="2473"/>
                  </a:lnTo>
                  <a:lnTo>
                    <a:pt x="4915" y="2473"/>
                  </a:lnTo>
                  <a:lnTo>
                    <a:pt x="4915" y="2473"/>
                  </a:lnTo>
                  <a:lnTo>
                    <a:pt x="4915" y="2478"/>
                  </a:lnTo>
                  <a:lnTo>
                    <a:pt x="4915" y="2478"/>
                  </a:lnTo>
                  <a:lnTo>
                    <a:pt x="4915" y="2473"/>
                  </a:lnTo>
                  <a:lnTo>
                    <a:pt x="4915" y="2473"/>
                  </a:lnTo>
                  <a:lnTo>
                    <a:pt x="4920" y="2473"/>
                  </a:lnTo>
                  <a:lnTo>
                    <a:pt x="4920" y="2473"/>
                  </a:lnTo>
                  <a:lnTo>
                    <a:pt x="4920" y="2473"/>
                  </a:lnTo>
                  <a:lnTo>
                    <a:pt x="4920" y="2473"/>
                  </a:lnTo>
                  <a:lnTo>
                    <a:pt x="4920" y="2478"/>
                  </a:lnTo>
                  <a:lnTo>
                    <a:pt x="4920" y="2478"/>
                  </a:lnTo>
                  <a:lnTo>
                    <a:pt x="4915" y="2478"/>
                  </a:lnTo>
                  <a:lnTo>
                    <a:pt x="4915" y="2478"/>
                  </a:lnTo>
                  <a:lnTo>
                    <a:pt x="4915" y="2478"/>
                  </a:lnTo>
                  <a:lnTo>
                    <a:pt x="4915" y="2482"/>
                  </a:lnTo>
                  <a:lnTo>
                    <a:pt x="4915" y="2478"/>
                  </a:lnTo>
                  <a:lnTo>
                    <a:pt x="4920" y="2478"/>
                  </a:lnTo>
                  <a:lnTo>
                    <a:pt x="4920" y="2478"/>
                  </a:lnTo>
                  <a:lnTo>
                    <a:pt x="4920" y="2478"/>
                  </a:lnTo>
                  <a:lnTo>
                    <a:pt x="4924" y="2473"/>
                  </a:lnTo>
                  <a:lnTo>
                    <a:pt x="4924" y="2469"/>
                  </a:lnTo>
                  <a:lnTo>
                    <a:pt x="4929" y="2469"/>
                  </a:lnTo>
                  <a:lnTo>
                    <a:pt x="4929" y="2469"/>
                  </a:lnTo>
                  <a:lnTo>
                    <a:pt x="4929" y="2464"/>
                  </a:lnTo>
                  <a:lnTo>
                    <a:pt x="4933" y="2464"/>
                  </a:lnTo>
                  <a:lnTo>
                    <a:pt x="4933" y="2460"/>
                  </a:lnTo>
                  <a:lnTo>
                    <a:pt x="4933" y="2460"/>
                  </a:lnTo>
                  <a:lnTo>
                    <a:pt x="4938" y="2460"/>
                  </a:lnTo>
                  <a:lnTo>
                    <a:pt x="4938" y="2460"/>
                  </a:lnTo>
                  <a:lnTo>
                    <a:pt x="4938" y="2460"/>
                  </a:lnTo>
                  <a:lnTo>
                    <a:pt x="4938" y="2455"/>
                  </a:lnTo>
                  <a:lnTo>
                    <a:pt x="4942" y="2455"/>
                  </a:lnTo>
                  <a:lnTo>
                    <a:pt x="4942" y="2455"/>
                  </a:lnTo>
                  <a:lnTo>
                    <a:pt x="4938" y="2460"/>
                  </a:lnTo>
                  <a:lnTo>
                    <a:pt x="4938" y="2460"/>
                  </a:lnTo>
                  <a:lnTo>
                    <a:pt x="4938" y="2460"/>
                  </a:lnTo>
                  <a:lnTo>
                    <a:pt x="4938" y="2460"/>
                  </a:lnTo>
                  <a:lnTo>
                    <a:pt x="4938" y="2460"/>
                  </a:lnTo>
                  <a:lnTo>
                    <a:pt x="4938" y="2460"/>
                  </a:lnTo>
                  <a:lnTo>
                    <a:pt x="4938" y="2464"/>
                  </a:lnTo>
                  <a:lnTo>
                    <a:pt x="4938" y="2464"/>
                  </a:lnTo>
                  <a:lnTo>
                    <a:pt x="4938" y="2460"/>
                  </a:lnTo>
                  <a:lnTo>
                    <a:pt x="4938" y="2460"/>
                  </a:lnTo>
                  <a:lnTo>
                    <a:pt x="4942" y="2460"/>
                  </a:lnTo>
                  <a:lnTo>
                    <a:pt x="4942" y="2460"/>
                  </a:lnTo>
                  <a:lnTo>
                    <a:pt x="4942" y="2460"/>
                  </a:lnTo>
                  <a:lnTo>
                    <a:pt x="4942" y="2455"/>
                  </a:lnTo>
                  <a:lnTo>
                    <a:pt x="4942" y="2455"/>
                  </a:lnTo>
                  <a:lnTo>
                    <a:pt x="4942" y="2455"/>
                  </a:lnTo>
                  <a:lnTo>
                    <a:pt x="4947" y="2451"/>
                  </a:lnTo>
                  <a:lnTo>
                    <a:pt x="4947" y="2446"/>
                  </a:lnTo>
                  <a:lnTo>
                    <a:pt x="4951" y="2446"/>
                  </a:lnTo>
                  <a:lnTo>
                    <a:pt x="4951" y="2446"/>
                  </a:lnTo>
                  <a:lnTo>
                    <a:pt x="4951" y="2442"/>
                  </a:lnTo>
                  <a:lnTo>
                    <a:pt x="4956" y="2442"/>
                  </a:lnTo>
                  <a:lnTo>
                    <a:pt x="4956" y="2442"/>
                  </a:lnTo>
                  <a:lnTo>
                    <a:pt x="4956" y="2437"/>
                  </a:lnTo>
                  <a:lnTo>
                    <a:pt x="4956" y="2432"/>
                  </a:lnTo>
                  <a:lnTo>
                    <a:pt x="4956" y="2432"/>
                  </a:lnTo>
                  <a:lnTo>
                    <a:pt x="4956" y="2432"/>
                  </a:lnTo>
                  <a:close/>
                  <a:moveTo>
                    <a:pt x="4545" y="1727"/>
                  </a:moveTo>
                  <a:lnTo>
                    <a:pt x="4549" y="1727"/>
                  </a:lnTo>
                  <a:lnTo>
                    <a:pt x="4554" y="1727"/>
                  </a:lnTo>
                  <a:lnTo>
                    <a:pt x="4554" y="1727"/>
                  </a:lnTo>
                  <a:lnTo>
                    <a:pt x="4554" y="1732"/>
                  </a:lnTo>
                  <a:lnTo>
                    <a:pt x="4558" y="1732"/>
                  </a:lnTo>
                  <a:lnTo>
                    <a:pt x="4563" y="1732"/>
                  </a:lnTo>
                  <a:lnTo>
                    <a:pt x="4563" y="1732"/>
                  </a:lnTo>
                  <a:lnTo>
                    <a:pt x="4567" y="1732"/>
                  </a:lnTo>
                  <a:lnTo>
                    <a:pt x="4567" y="1732"/>
                  </a:lnTo>
                  <a:lnTo>
                    <a:pt x="4567" y="1732"/>
                  </a:lnTo>
                  <a:lnTo>
                    <a:pt x="4572" y="1732"/>
                  </a:lnTo>
                  <a:lnTo>
                    <a:pt x="4572" y="1732"/>
                  </a:lnTo>
                  <a:lnTo>
                    <a:pt x="4576" y="1732"/>
                  </a:lnTo>
                  <a:lnTo>
                    <a:pt x="4581" y="1732"/>
                  </a:lnTo>
                  <a:lnTo>
                    <a:pt x="4581" y="1732"/>
                  </a:lnTo>
                  <a:lnTo>
                    <a:pt x="4590" y="1732"/>
                  </a:lnTo>
                  <a:lnTo>
                    <a:pt x="4594" y="1736"/>
                  </a:lnTo>
                  <a:lnTo>
                    <a:pt x="4603" y="1741"/>
                  </a:lnTo>
                  <a:lnTo>
                    <a:pt x="4608" y="1741"/>
                  </a:lnTo>
                  <a:lnTo>
                    <a:pt x="4613" y="1741"/>
                  </a:lnTo>
                  <a:lnTo>
                    <a:pt x="4617" y="1741"/>
                  </a:lnTo>
                  <a:lnTo>
                    <a:pt x="4617" y="1745"/>
                  </a:lnTo>
                  <a:lnTo>
                    <a:pt x="4631" y="1745"/>
                  </a:lnTo>
                  <a:lnTo>
                    <a:pt x="4635" y="1745"/>
                  </a:lnTo>
                  <a:lnTo>
                    <a:pt x="4635" y="1745"/>
                  </a:lnTo>
                  <a:lnTo>
                    <a:pt x="4640" y="1745"/>
                  </a:lnTo>
                  <a:lnTo>
                    <a:pt x="4640" y="1745"/>
                  </a:lnTo>
                  <a:lnTo>
                    <a:pt x="4644" y="1745"/>
                  </a:lnTo>
                  <a:lnTo>
                    <a:pt x="4644" y="1745"/>
                  </a:lnTo>
                  <a:lnTo>
                    <a:pt x="4649" y="1745"/>
                  </a:lnTo>
                  <a:lnTo>
                    <a:pt x="4649" y="1745"/>
                  </a:lnTo>
                  <a:lnTo>
                    <a:pt x="4658" y="1745"/>
                  </a:lnTo>
                  <a:lnTo>
                    <a:pt x="4662" y="1750"/>
                  </a:lnTo>
                  <a:lnTo>
                    <a:pt x="4662" y="1750"/>
                  </a:lnTo>
                  <a:lnTo>
                    <a:pt x="4667" y="1750"/>
                  </a:lnTo>
                  <a:lnTo>
                    <a:pt x="4667" y="1750"/>
                  </a:lnTo>
                  <a:lnTo>
                    <a:pt x="4667" y="1750"/>
                  </a:lnTo>
                  <a:lnTo>
                    <a:pt x="4667" y="1754"/>
                  </a:lnTo>
                  <a:lnTo>
                    <a:pt x="4671" y="1754"/>
                  </a:lnTo>
                  <a:lnTo>
                    <a:pt x="4671" y="1754"/>
                  </a:lnTo>
                  <a:lnTo>
                    <a:pt x="4671" y="1750"/>
                  </a:lnTo>
                  <a:lnTo>
                    <a:pt x="4671" y="1750"/>
                  </a:lnTo>
                  <a:lnTo>
                    <a:pt x="4667" y="1750"/>
                  </a:lnTo>
                  <a:lnTo>
                    <a:pt x="4667" y="1745"/>
                  </a:lnTo>
                  <a:lnTo>
                    <a:pt x="4667" y="1745"/>
                  </a:lnTo>
                  <a:lnTo>
                    <a:pt x="4667" y="1741"/>
                  </a:lnTo>
                  <a:lnTo>
                    <a:pt x="4671" y="1736"/>
                  </a:lnTo>
                  <a:lnTo>
                    <a:pt x="4671" y="1736"/>
                  </a:lnTo>
                  <a:lnTo>
                    <a:pt x="4671" y="1732"/>
                  </a:lnTo>
                  <a:lnTo>
                    <a:pt x="4671" y="1732"/>
                  </a:lnTo>
                  <a:lnTo>
                    <a:pt x="4662" y="1732"/>
                  </a:lnTo>
                  <a:lnTo>
                    <a:pt x="4662" y="1732"/>
                  </a:lnTo>
                  <a:lnTo>
                    <a:pt x="4662" y="1732"/>
                  </a:lnTo>
                  <a:lnTo>
                    <a:pt x="4658" y="1732"/>
                  </a:lnTo>
                  <a:lnTo>
                    <a:pt x="4653" y="1732"/>
                  </a:lnTo>
                  <a:lnTo>
                    <a:pt x="4649" y="1732"/>
                  </a:lnTo>
                  <a:lnTo>
                    <a:pt x="4644" y="1732"/>
                  </a:lnTo>
                  <a:lnTo>
                    <a:pt x="4644" y="1727"/>
                  </a:lnTo>
                  <a:lnTo>
                    <a:pt x="4644" y="1727"/>
                  </a:lnTo>
                  <a:lnTo>
                    <a:pt x="4644" y="1723"/>
                  </a:lnTo>
                  <a:lnTo>
                    <a:pt x="4644" y="1723"/>
                  </a:lnTo>
                  <a:lnTo>
                    <a:pt x="4640" y="1723"/>
                  </a:lnTo>
                  <a:lnTo>
                    <a:pt x="4640" y="1723"/>
                  </a:lnTo>
                  <a:lnTo>
                    <a:pt x="4640" y="1718"/>
                  </a:lnTo>
                  <a:lnTo>
                    <a:pt x="4640" y="1714"/>
                  </a:lnTo>
                  <a:lnTo>
                    <a:pt x="4635" y="1714"/>
                  </a:lnTo>
                  <a:lnTo>
                    <a:pt x="4635" y="1714"/>
                  </a:lnTo>
                  <a:lnTo>
                    <a:pt x="4631" y="1714"/>
                  </a:lnTo>
                  <a:lnTo>
                    <a:pt x="4631" y="1714"/>
                  </a:lnTo>
                  <a:lnTo>
                    <a:pt x="4631" y="1714"/>
                  </a:lnTo>
                  <a:lnTo>
                    <a:pt x="4626" y="1714"/>
                  </a:lnTo>
                  <a:lnTo>
                    <a:pt x="4626" y="1714"/>
                  </a:lnTo>
                  <a:lnTo>
                    <a:pt x="4622" y="1709"/>
                  </a:lnTo>
                  <a:lnTo>
                    <a:pt x="4622" y="1709"/>
                  </a:lnTo>
                  <a:lnTo>
                    <a:pt x="4622" y="1709"/>
                  </a:lnTo>
                  <a:lnTo>
                    <a:pt x="4617" y="1709"/>
                  </a:lnTo>
                  <a:lnTo>
                    <a:pt x="4617" y="1709"/>
                  </a:lnTo>
                  <a:lnTo>
                    <a:pt x="4617" y="1709"/>
                  </a:lnTo>
                  <a:lnTo>
                    <a:pt x="4617" y="1709"/>
                  </a:lnTo>
                  <a:lnTo>
                    <a:pt x="4613" y="1705"/>
                  </a:lnTo>
                  <a:lnTo>
                    <a:pt x="4613" y="1705"/>
                  </a:lnTo>
                  <a:lnTo>
                    <a:pt x="4608" y="1705"/>
                  </a:lnTo>
                  <a:lnTo>
                    <a:pt x="4608" y="1705"/>
                  </a:lnTo>
                  <a:lnTo>
                    <a:pt x="4608" y="1705"/>
                  </a:lnTo>
                  <a:lnTo>
                    <a:pt x="4608" y="1709"/>
                  </a:lnTo>
                  <a:lnTo>
                    <a:pt x="4608" y="1709"/>
                  </a:lnTo>
                  <a:lnTo>
                    <a:pt x="4608" y="1709"/>
                  </a:lnTo>
                  <a:lnTo>
                    <a:pt x="4603" y="1714"/>
                  </a:lnTo>
                  <a:lnTo>
                    <a:pt x="4603" y="1714"/>
                  </a:lnTo>
                  <a:lnTo>
                    <a:pt x="4603" y="1714"/>
                  </a:lnTo>
                  <a:lnTo>
                    <a:pt x="4599" y="1714"/>
                  </a:lnTo>
                  <a:lnTo>
                    <a:pt x="4599" y="1714"/>
                  </a:lnTo>
                  <a:lnTo>
                    <a:pt x="4599" y="1714"/>
                  </a:lnTo>
                  <a:lnTo>
                    <a:pt x="4599" y="1714"/>
                  </a:lnTo>
                  <a:lnTo>
                    <a:pt x="4594" y="1714"/>
                  </a:lnTo>
                  <a:lnTo>
                    <a:pt x="4594" y="1714"/>
                  </a:lnTo>
                  <a:lnTo>
                    <a:pt x="4590" y="1714"/>
                  </a:lnTo>
                  <a:lnTo>
                    <a:pt x="4585" y="1714"/>
                  </a:lnTo>
                  <a:lnTo>
                    <a:pt x="4585" y="1714"/>
                  </a:lnTo>
                  <a:lnTo>
                    <a:pt x="4585" y="1714"/>
                  </a:lnTo>
                  <a:lnTo>
                    <a:pt x="4581" y="1714"/>
                  </a:lnTo>
                  <a:lnTo>
                    <a:pt x="4576" y="1714"/>
                  </a:lnTo>
                  <a:lnTo>
                    <a:pt x="4576" y="1714"/>
                  </a:lnTo>
                  <a:lnTo>
                    <a:pt x="4572" y="1714"/>
                  </a:lnTo>
                  <a:lnTo>
                    <a:pt x="4572" y="1714"/>
                  </a:lnTo>
                  <a:lnTo>
                    <a:pt x="4572" y="1709"/>
                  </a:lnTo>
                  <a:lnTo>
                    <a:pt x="4572" y="1705"/>
                  </a:lnTo>
                  <a:lnTo>
                    <a:pt x="4567" y="1705"/>
                  </a:lnTo>
                  <a:lnTo>
                    <a:pt x="4567" y="1705"/>
                  </a:lnTo>
                  <a:lnTo>
                    <a:pt x="4567" y="1700"/>
                  </a:lnTo>
                  <a:lnTo>
                    <a:pt x="4567" y="1700"/>
                  </a:lnTo>
                  <a:lnTo>
                    <a:pt x="4567" y="1700"/>
                  </a:lnTo>
                  <a:lnTo>
                    <a:pt x="4563" y="1700"/>
                  </a:lnTo>
                  <a:lnTo>
                    <a:pt x="4563" y="1700"/>
                  </a:lnTo>
                  <a:lnTo>
                    <a:pt x="4563" y="1700"/>
                  </a:lnTo>
                  <a:lnTo>
                    <a:pt x="4558" y="1700"/>
                  </a:lnTo>
                  <a:lnTo>
                    <a:pt x="4558" y="1700"/>
                  </a:lnTo>
                  <a:lnTo>
                    <a:pt x="4554" y="1700"/>
                  </a:lnTo>
                  <a:lnTo>
                    <a:pt x="4554" y="1700"/>
                  </a:lnTo>
                  <a:lnTo>
                    <a:pt x="4554" y="1700"/>
                  </a:lnTo>
                  <a:lnTo>
                    <a:pt x="4549" y="1696"/>
                  </a:lnTo>
                  <a:lnTo>
                    <a:pt x="4549" y="1696"/>
                  </a:lnTo>
                  <a:lnTo>
                    <a:pt x="4545" y="1696"/>
                  </a:lnTo>
                  <a:lnTo>
                    <a:pt x="4545" y="1696"/>
                  </a:lnTo>
                  <a:lnTo>
                    <a:pt x="4545" y="1696"/>
                  </a:lnTo>
                  <a:lnTo>
                    <a:pt x="4545" y="1696"/>
                  </a:lnTo>
                  <a:lnTo>
                    <a:pt x="4540" y="1696"/>
                  </a:lnTo>
                  <a:lnTo>
                    <a:pt x="4540" y="1700"/>
                  </a:lnTo>
                  <a:lnTo>
                    <a:pt x="4540" y="1696"/>
                  </a:lnTo>
                  <a:lnTo>
                    <a:pt x="4536" y="1696"/>
                  </a:lnTo>
                  <a:lnTo>
                    <a:pt x="4536" y="1696"/>
                  </a:lnTo>
                  <a:lnTo>
                    <a:pt x="4531" y="1696"/>
                  </a:lnTo>
                  <a:lnTo>
                    <a:pt x="4531" y="1696"/>
                  </a:lnTo>
                  <a:lnTo>
                    <a:pt x="4527" y="1696"/>
                  </a:lnTo>
                  <a:lnTo>
                    <a:pt x="4527" y="1696"/>
                  </a:lnTo>
                  <a:lnTo>
                    <a:pt x="4527" y="1696"/>
                  </a:lnTo>
                  <a:lnTo>
                    <a:pt x="4522" y="1700"/>
                  </a:lnTo>
                  <a:lnTo>
                    <a:pt x="4522" y="1705"/>
                  </a:lnTo>
                  <a:lnTo>
                    <a:pt x="4522" y="1705"/>
                  </a:lnTo>
                  <a:lnTo>
                    <a:pt x="4522" y="1705"/>
                  </a:lnTo>
                  <a:lnTo>
                    <a:pt x="4518" y="1705"/>
                  </a:lnTo>
                  <a:lnTo>
                    <a:pt x="4518" y="1709"/>
                  </a:lnTo>
                  <a:lnTo>
                    <a:pt x="4518" y="1709"/>
                  </a:lnTo>
                  <a:lnTo>
                    <a:pt x="4518" y="1709"/>
                  </a:lnTo>
                  <a:lnTo>
                    <a:pt x="4518" y="1714"/>
                  </a:lnTo>
                  <a:lnTo>
                    <a:pt x="4513" y="1709"/>
                  </a:lnTo>
                  <a:lnTo>
                    <a:pt x="4513" y="1709"/>
                  </a:lnTo>
                  <a:lnTo>
                    <a:pt x="4513" y="1709"/>
                  </a:lnTo>
                  <a:lnTo>
                    <a:pt x="4513" y="1709"/>
                  </a:lnTo>
                  <a:lnTo>
                    <a:pt x="4513" y="1709"/>
                  </a:lnTo>
                  <a:lnTo>
                    <a:pt x="4513" y="1709"/>
                  </a:lnTo>
                  <a:lnTo>
                    <a:pt x="4513" y="1714"/>
                  </a:lnTo>
                  <a:lnTo>
                    <a:pt x="4513" y="1714"/>
                  </a:lnTo>
                  <a:lnTo>
                    <a:pt x="4513" y="1714"/>
                  </a:lnTo>
                  <a:lnTo>
                    <a:pt x="4513" y="1714"/>
                  </a:lnTo>
                  <a:lnTo>
                    <a:pt x="4518" y="1714"/>
                  </a:lnTo>
                  <a:lnTo>
                    <a:pt x="4518" y="1714"/>
                  </a:lnTo>
                  <a:lnTo>
                    <a:pt x="4522" y="1714"/>
                  </a:lnTo>
                  <a:lnTo>
                    <a:pt x="4522" y="1714"/>
                  </a:lnTo>
                  <a:lnTo>
                    <a:pt x="4522" y="1714"/>
                  </a:lnTo>
                  <a:lnTo>
                    <a:pt x="4527" y="1714"/>
                  </a:lnTo>
                  <a:lnTo>
                    <a:pt x="4536" y="1718"/>
                  </a:lnTo>
                  <a:lnTo>
                    <a:pt x="4531" y="1718"/>
                  </a:lnTo>
                  <a:lnTo>
                    <a:pt x="4531" y="1718"/>
                  </a:lnTo>
                  <a:lnTo>
                    <a:pt x="4531" y="1723"/>
                  </a:lnTo>
                  <a:lnTo>
                    <a:pt x="4531" y="1723"/>
                  </a:lnTo>
                  <a:lnTo>
                    <a:pt x="4531" y="1723"/>
                  </a:lnTo>
                  <a:lnTo>
                    <a:pt x="4536" y="1723"/>
                  </a:lnTo>
                  <a:lnTo>
                    <a:pt x="4536" y="1723"/>
                  </a:lnTo>
                  <a:lnTo>
                    <a:pt x="4545" y="1723"/>
                  </a:lnTo>
                  <a:lnTo>
                    <a:pt x="4545" y="1727"/>
                  </a:lnTo>
                  <a:close/>
                  <a:moveTo>
                    <a:pt x="4414" y="1605"/>
                  </a:moveTo>
                  <a:lnTo>
                    <a:pt x="4409" y="1605"/>
                  </a:lnTo>
                  <a:lnTo>
                    <a:pt x="4409" y="1605"/>
                  </a:lnTo>
                  <a:lnTo>
                    <a:pt x="4409" y="1605"/>
                  </a:lnTo>
                  <a:lnTo>
                    <a:pt x="4409" y="1601"/>
                  </a:lnTo>
                  <a:lnTo>
                    <a:pt x="4409" y="1601"/>
                  </a:lnTo>
                  <a:lnTo>
                    <a:pt x="4409" y="1596"/>
                  </a:lnTo>
                  <a:lnTo>
                    <a:pt x="4405" y="1596"/>
                  </a:lnTo>
                  <a:lnTo>
                    <a:pt x="4405" y="1596"/>
                  </a:lnTo>
                  <a:lnTo>
                    <a:pt x="4400" y="1596"/>
                  </a:lnTo>
                  <a:lnTo>
                    <a:pt x="4400" y="1601"/>
                  </a:lnTo>
                  <a:lnTo>
                    <a:pt x="4400" y="1601"/>
                  </a:lnTo>
                  <a:lnTo>
                    <a:pt x="4405" y="1605"/>
                  </a:lnTo>
                  <a:lnTo>
                    <a:pt x="4405" y="1610"/>
                  </a:lnTo>
                  <a:lnTo>
                    <a:pt x="4405" y="1610"/>
                  </a:lnTo>
                  <a:lnTo>
                    <a:pt x="4409" y="1610"/>
                  </a:lnTo>
                  <a:lnTo>
                    <a:pt x="4409" y="1610"/>
                  </a:lnTo>
                  <a:lnTo>
                    <a:pt x="4414" y="1610"/>
                  </a:lnTo>
                  <a:lnTo>
                    <a:pt x="4414" y="1610"/>
                  </a:lnTo>
                  <a:lnTo>
                    <a:pt x="4414" y="1605"/>
                  </a:lnTo>
                  <a:close/>
                  <a:moveTo>
                    <a:pt x="4518" y="1686"/>
                  </a:moveTo>
                  <a:lnTo>
                    <a:pt x="4518" y="1691"/>
                  </a:lnTo>
                  <a:lnTo>
                    <a:pt x="4518" y="1691"/>
                  </a:lnTo>
                  <a:lnTo>
                    <a:pt x="4518" y="1691"/>
                  </a:lnTo>
                  <a:lnTo>
                    <a:pt x="4522" y="1691"/>
                  </a:lnTo>
                  <a:lnTo>
                    <a:pt x="4522" y="1691"/>
                  </a:lnTo>
                  <a:lnTo>
                    <a:pt x="4522" y="1691"/>
                  </a:lnTo>
                  <a:lnTo>
                    <a:pt x="4522" y="1691"/>
                  </a:lnTo>
                  <a:lnTo>
                    <a:pt x="4522" y="1691"/>
                  </a:lnTo>
                  <a:lnTo>
                    <a:pt x="4527" y="1677"/>
                  </a:lnTo>
                  <a:lnTo>
                    <a:pt x="4527" y="1673"/>
                  </a:lnTo>
                  <a:lnTo>
                    <a:pt x="4527" y="1668"/>
                  </a:lnTo>
                  <a:lnTo>
                    <a:pt x="4527" y="1668"/>
                  </a:lnTo>
                  <a:lnTo>
                    <a:pt x="4527" y="1659"/>
                  </a:lnTo>
                  <a:lnTo>
                    <a:pt x="4527" y="1659"/>
                  </a:lnTo>
                  <a:lnTo>
                    <a:pt x="4527" y="1655"/>
                  </a:lnTo>
                  <a:lnTo>
                    <a:pt x="4527" y="1650"/>
                  </a:lnTo>
                  <a:lnTo>
                    <a:pt x="4527" y="1650"/>
                  </a:lnTo>
                  <a:lnTo>
                    <a:pt x="4527" y="1650"/>
                  </a:lnTo>
                  <a:lnTo>
                    <a:pt x="4527" y="1650"/>
                  </a:lnTo>
                  <a:lnTo>
                    <a:pt x="4527" y="1646"/>
                  </a:lnTo>
                  <a:lnTo>
                    <a:pt x="4527" y="1646"/>
                  </a:lnTo>
                  <a:lnTo>
                    <a:pt x="4531" y="1641"/>
                  </a:lnTo>
                  <a:lnTo>
                    <a:pt x="4531" y="1641"/>
                  </a:lnTo>
                  <a:lnTo>
                    <a:pt x="4531" y="1641"/>
                  </a:lnTo>
                  <a:lnTo>
                    <a:pt x="4531" y="1637"/>
                  </a:lnTo>
                  <a:lnTo>
                    <a:pt x="4527" y="1632"/>
                  </a:lnTo>
                  <a:lnTo>
                    <a:pt x="4522" y="1628"/>
                  </a:lnTo>
                  <a:lnTo>
                    <a:pt x="4522" y="1623"/>
                  </a:lnTo>
                  <a:lnTo>
                    <a:pt x="4518" y="1623"/>
                  </a:lnTo>
                  <a:lnTo>
                    <a:pt x="4518" y="1623"/>
                  </a:lnTo>
                  <a:lnTo>
                    <a:pt x="4513" y="1623"/>
                  </a:lnTo>
                  <a:lnTo>
                    <a:pt x="4513" y="1623"/>
                  </a:lnTo>
                  <a:lnTo>
                    <a:pt x="4513" y="1623"/>
                  </a:lnTo>
                  <a:lnTo>
                    <a:pt x="4509" y="1623"/>
                  </a:lnTo>
                  <a:lnTo>
                    <a:pt x="4509" y="1628"/>
                  </a:lnTo>
                  <a:lnTo>
                    <a:pt x="4509" y="1628"/>
                  </a:lnTo>
                  <a:lnTo>
                    <a:pt x="4504" y="1628"/>
                  </a:lnTo>
                  <a:lnTo>
                    <a:pt x="4504" y="1628"/>
                  </a:lnTo>
                  <a:lnTo>
                    <a:pt x="4504" y="1623"/>
                  </a:lnTo>
                  <a:lnTo>
                    <a:pt x="4509" y="1623"/>
                  </a:lnTo>
                  <a:lnTo>
                    <a:pt x="4509" y="1623"/>
                  </a:lnTo>
                  <a:lnTo>
                    <a:pt x="4509" y="1619"/>
                  </a:lnTo>
                  <a:lnTo>
                    <a:pt x="4509" y="1619"/>
                  </a:lnTo>
                  <a:lnTo>
                    <a:pt x="4509" y="1619"/>
                  </a:lnTo>
                  <a:lnTo>
                    <a:pt x="4509" y="1619"/>
                  </a:lnTo>
                  <a:lnTo>
                    <a:pt x="4509" y="1614"/>
                  </a:lnTo>
                  <a:lnTo>
                    <a:pt x="4504" y="1614"/>
                  </a:lnTo>
                  <a:lnTo>
                    <a:pt x="4504" y="1614"/>
                  </a:lnTo>
                  <a:lnTo>
                    <a:pt x="4504" y="1610"/>
                  </a:lnTo>
                  <a:lnTo>
                    <a:pt x="4504" y="1610"/>
                  </a:lnTo>
                  <a:lnTo>
                    <a:pt x="4504" y="1605"/>
                  </a:lnTo>
                  <a:lnTo>
                    <a:pt x="4504" y="1601"/>
                  </a:lnTo>
                  <a:lnTo>
                    <a:pt x="4504" y="1596"/>
                  </a:lnTo>
                  <a:lnTo>
                    <a:pt x="4500" y="1596"/>
                  </a:lnTo>
                  <a:lnTo>
                    <a:pt x="4500" y="1596"/>
                  </a:lnTo>
                  <a:lnTo>
                    <a:pt x="4500" y="1596"/>
                  </a:lnTo>
                  <a:lnTo>
                    <a:pt x="4495" y="1596"/>
                  </a:lnTo>
                  <a:lnTo>
                    <a:pt x="4495" y="1596"/>
                  </a:lnTo>
                  <a:lnTo>
                    <a:pt x="4491" y="1592"/>
                  </a:lnTo>
                  <a:lnTo>
                    <a:pt x="4486" y="1592"/>
                  </a:lnTo>
                  <a:lnTo>
                    <a:pt x="4486" y="1592"/>
                  </a:lnTo>
                  <a:lnTo>
                    <a:pt x="4486" y="1587"/>
                  </a:lnTo>
                  <a:lnTo>
                    <a:pt x="4486" y="1587"/>
                  </a:lnTo>
                  <a:lnTo>
                    <a:pt x="4486" y="1587"/>
                  </a:lnTo>
                  <a:lnTo>
                    <a:pt x="4486" y="1582"/>
                  </a:lnTo>
                  <a:lnTo>
                    <a:pt x="4486" y="1582"/>
                  </a:lnTo>
                  <a:lnTo>
                    <a:pt x="4486" y="1582"/>
                  </a:lnTo>
                  <a:lnTo>
                    <a:pt x="4486" y="1582"/>
                  </a:lnTo>
                  <a:lnTo>
                    <a:pt x="4486" y="1578"/>
                  </a:lnTo>
                  <a:lnTo>
                    <a:pt x="4491" y="1578"/>
                  </a:lnTo>
                  <a:lnTo>
                    <a:pt x="4491" y="1578"/>
                  </a:lnTo>
                  <a:lnTo>
                    <a:pt x="4491" y="1573"/>
                  </a:lnTo>
                  <a:lnTo>
                    <a:pt x="4491" y="1573"/>
                  </a:lnTo>
                  <a:lnTo>
                    <a:pt x="4491" y="1569"/>
                  </a:lnTo>
                  <a:lnTo>
                    <a:pt x="4486" y="1569"/>
                  </a:lnTo>
                  <a:lnTo>
                    <a:pt x="4486" y="1564"/>
                  </a:lnTo>
                  <a:lnTo>
                    <a:pt x="4486" y="1564"/>
                  </a:lnTo>
                  <a:lnTo>
                    <a:pt x="4486" y="1564"/>
                  </a:lnTo>
                  <a:lnTo>
                    <a:pt x="4482" y="1564"/>
                  </a:lnTo>
                  <a:lnTo>
                    <a:pt x="4482" y="1569"/>
                  </a:lnTo>
                  <a:lnTo>
                    <a:pt x="4477" y="1569"/>
                  </a:lnTo>
                  <a:lnTo>
                    <a:pt x="4477" y="1569"/>
                  </a:lnTo>
                  <a:lnTo>
                    <a:pt x="4472" y="1569"/>
                  </a:lnTo>
                  <a:lnTo>
                    <a:pt x="4472" y="1573"/>
                  </a:lnTo>
                  <a:lnTo>
                    <a:pt x="4472" y="1569"/>
                  </a:lnTo>
                  <a:lnTo>
                    <a:pt x="4477" y="1569"/>
                  </a:lnTo>
                  <a:lnTo>
                    <a:pt x="4482" y="1564"/>
                  </a:lnTo>
                  <a:lnTo>
                    <a:pt x="4477" y="1564"/>
                  </a:lnTo>
                  <a:lnTo>
                    <a:pt x="4477" y="1564"/>
                  </a:lnTo>
                  <a:lnTo>
                    <a:pt x="4477" y="1560"/>
                  </a:lnTo>
                  <a:lnTo>
                    <a:pt x="4472" y="1560"/>
                  </a:lnTo>
                  <a:lnTo>
                    <a:pt x="4468" y="1560"/>
                  </a:lnTo>
                  <a:lnTo>
                    <a:pt x="4468" y="1560"/>
                  </a:lnTo>
                  <a:lnTo>
                    <a:pt x="4463" y="1555"/>
                  </a:lnTo>
                  <a:lnTo>
                    <a:pt x="4463" y="1555"/>
                  </a:lnTo>
                  <a:lnTo>
                    <a:pt x="4463" y="1555"/>
                  </a:lnTo>
                  <a:lnTo>
                    <a:pt x="4463" y="1551"/>
                  </a:lnTo>
                  <a:lnTo>
                    <a:pt x="4463" y="1551"/>
                  </a:lnTo>
                  <a:lnTo>
                    <a:pt x="4459" y="1546"/>
                  </a:lnTo>
                  <a:lnTo>
                    <a:pt x="4454" y="1542"/>
                  </a:lnTo>
                  <a:lnTo>
                    <a:pt x="4454" y="1542"/>
                  </a:lnTo>
                  <a:lnTo>
                    <a:pt x="4454" y="1542"/>
                  </a:lnTo>
                  <a:lnTo>
                    <a:pt x="4450" y="1542"/>
                  </a:lnTo>
                  <a:lnTo>
                    <a:pt x="4450" y="1542"/>
                  </a:lnTo>
                  <a:lnTo>
                    <a:pt x="4450" y="1537"/>
                  </a:lnTo>
                  <a:lnTo>
                    <a:pt x="4450" y="1537"/>
                  </a:lnTo>
                  <a:lnTo>
                    <a:pt x="4445" y="1533"/>
                  </a:lnTo>
                  <a:lnTo>
                    <a:pt x="4445" y="1533"/>
                  </a:lnTo>
                  <a:lnTo>
                    <a:pt x="4441" y="1528"/>
                  </a:lnTo>
                  <a:lnTo>
                    <a:pt x="4441" y="1533"/>
                  </a:lnTo>
                  <a:lnTo>
                    <a:pt x="4441" y="1533"/>
                  </a:lnTo>
                  <a:lnTo>
                    <a:pt x="4441" y="1533"/>
                  </a:lnTo>
                  <a:lnTo>
                    <a:pt x="4441" y="1533"/>
                  </a:lnTo>
                  <a:lnTo>
                    <a:pt x="4441" y="1537"/>
                  </a:lnTo>
                  <a:lnTo>
                    <a:pt x="4441" y="1537"/>
                  </a:lnTo>
                  <a:lnTo>
                    <a:pt x="4441" y="1537"/>
                  </a:lnTo>
                  <a:lnTo>
                    <a:pt x="4436" y="1533"/>
                  </a:lnTo>
                  <a:lnTo>
                    <a:pt x="4436" y="1533"/>
                  </a:lnTo>
                  <a:lnTo>
                    <a:pt x="4436" y="1533"/>
                  </a:lnTo>
                  <a:lnTo>
                    <a:pt x="4432" y="1533"/>
                  </a:lnTo>
                  <a:lnTo>
                    <a:pt x="4432" y="1528"/>
                  </a:lnTo>
                  <a:lnTo>
                    <a:pt x="4432" y="1528"/>
                  </a:lnTo>
                  <a:lnTo>
                    <a:pt x="4432" y="1528"/>
                  </a:lnTo>
                  <a:lnTo>
                    <a:pt x="4427" y="1524"/>
                  </a:lnTo>
                  <a:lnTo>
                    <a:pt x="4427" y="1519"/>
                  </a:lnTo>
                  <a:lnTo>
                    <a:pt x="4423" y="1519"/>
                  </a:lnTo>
                  <a:lnTo>
                    <a:pt x="4423" y="1515"/>
                  </a:lnTo>
                  <a:lnTo>
                    <a:pt x="4418" y="1515"/>
                  </a:lnTo>
                  <a:lnTo>
                    <a:pt x="4418" y="1510"/>
                  </a:lnTo>
                  <a:lnTo>
                    <a:pt x="4409" y="1506"/>
                  </a:lnTo>
                  <a:lnTo>
                    <a:pt x="4405" y="1501"/>
                  </a:lnTo>
                  <a:lnTo>
                    <a:pt x="4405" y="1501"/>
                  </a:lnTo>
                  <a:lnTo>
                    <a:pt x="4400" y="1501"/>
                  </a:lnTo>
                  <a:lnTo>
                    <a:pt x="4400" y="1501"/>
                  </a:lnTo>
                  <a:lnTo>
                    <a:pt x="4400" y="1497"/>
                  </a:lnTo>
                  <a:lnTo>
                    <a:pt x="4400" y="1497"/>
                  </a:lnTo>
                  <a:lnTo>
                    <a:pt x="4396" y="1497"/>
                  </a:lnTo>
                  <a:lnTo>
                    <a:pt x="4391" y="1492"/>
                  </a:lnTo>
                  <a:lnTo>
                    <a:pt x="4396" y="1492"/>
                  </a:lnTo>
                  <a:lnTo>
                    <a:pt x="4391" y="1488"/>
                  </a:lnTo>
                  <a:lnTo>
                    <a:pt x="4387" y="1483"/>
                  </a:lnTo>
                  <a:lnTo>
                    <a:pt x="4387" y="1483"/>
                  </a:lnTo>
                  <a:lnTo>
                    <a:pt x="4387" y="1483"/>
                  </a:lnTo>
                  <a:lnTo>
                    <a:pt x="4387" y="1479"/>
                  </a:lnTo>
                  <a:lnTo>
                    <a:pt x="4382" y="1479"/>
                  </a:lnTo>
                  <a:lnTo>
                    <a:pt x="4382" y="1474"/>
                  </a:lnTo>
                  <a:lnTo>
                    <a:pt x="4382" y="1474"/>
                  </a:lnTo>
                  <a:lnTo>
                    <a:pt x="4378" y="1474"/>
                  </a:lnTo>
                  <a:lnTo>
                    <a:pt x="4378" y="1474"/>
                  </a:lnTo>
                  <a:lnTo>
                    <a:pt x="4373" y="1474"/>
                  </a:lnTo>
                  <a:lnTo>
                    <a:pt x="4373" y="1474"/>
                  </a:lnTo>
                  <a:lnTo>
                    <a:pt x="4369" y="1474"/>
                  </a:lnTo>
                  <a:lnTo>
                    <a:pt x="4369" y="1474"/>
                  </a:lnTo>
                  <a:lnTo>
                    <a:pt x="4364" y="1474"/>
                  </a:lnTo>
                  <a:lnTo>
                    <a:pt x="4360" y="1474"/>
                  </a:lnTo>
                  <a:lnTo>
                    <a:pt x="4360" y="1474"/>
                  </a:lnTo>
                  <a:lnTo>
                    <a:pt x="4355" y="1469"/>
                  </a:lnTo>
                  <a:lnTo>
                    <a:pt x="4355" y="1469"/>
                  </a:lnTo>
                  <a:lnTo>
                    <a:pt x="4351" y="1465"/>
                  </a:lnTo>
                  <a:lnTo>
                    <a:pt x="4346" y="1465"/>
                  </a:lnTo>
                  <a:lnTo>
                    <a:pt x="4346" y="1465"/>
                  </a:lnTo>
                  <a:lnTo>
                    <a:pt x="4346" y="1465"/>
                  </a:lnTo>
                  <a:lnTo>
                    <a:pt x="4341" y="1465"/>
                  </a:lnTo>
                  <a:lnTo>
                    <a:pt x="4341" y="1465"/>
                  </a:lnTo>
                  <a:lnTo>
                    <a:pt x="4337" y="1465"/>
                  </a:lnTo>
                  <a:lnTo>
                    <a:pt x="4337" y="1465"/>
                  </a:lnTo>
                  <a:lnTo>
                    <a:pt x="4341" y="1469"/>
                  </a:lnTo>
                  <a:lnTo>
                    <a:pt x="4341" y="1469"/>
                  </a:lnTo>
                  <a:lnTo>
                    <a:pt x="4341" y="1469"/>
                  </a:lnTo>
                  <a:lnTo>
                    <a:pt x="4337" y="1474"/>
                  </a:lnTo>
                  <a:lnTo>
                    <a:pt x="4341" y="1479"/>
                  </a:lnTo>
                  <a:lnTo>
                    <a:pt x="4341" y="1479"/>
                  </a:lnTo>
                  <a:lnTo>
                    <a:pt x="4346" y="1483"/>
                  </a:lnTo>
                  <a:lnTo>
                    <a:pt x="4346" y="1483"/>
                  </a:lnTo>
                  <a:lnTo>
                    <a:pt x="4355" y="1492"/>
                  </a:lnTo>
                  <a:lnTo>
                    <a:pt x="4360" y="1497"/>
                  </a:lnTo>
                  <a:lnTo>
                    <a:pt x="4360" y="1497"/>
                  </a:lnTo>
                  <a:lnTo>
                    <a:pt x="4364" y="1501"/>
                  </a:lnTo>
                  <a:lnTo>
                    <a:pt x="4364" y="1501"/>
                  </a:lnTo>
                  <a:lnTo>
                    <a:pt x="4369" y="1501"/>
                  </a:lnTo>
                  <a:lnTo>
                    <a:pt x="4369" y="1506"/>
                  </a:lnTo>
                  <a:lnTo>
                    <a:pt x="4373" y="1506"/>
                  </a:lnTo>
                  <a:lnTo>
                    <a:pt x="4378" y="1510"/>
                  </a:lnTo>
                  <a:lnTo>
                    <a:pt x="4378" y="1515"/>
                  </a:lnTo>
                  <a:lnTo>
                    <a:pt x="4378" y="1515"/>
                  </a:lnTo>
                  <a:lnTo>
                    <a:pt x="4378" y="1519"/>
                  </a:lnTo>
                  <a:lnTo>
                    <a:pt x="4382" y="1519"/>
                  </a:lnTo>
                  <a:lnTo>
                    <a:pt x="4382" y="1519"/>
                  </a:lnTo>
                  <a:lnTo>
                    <a:pt x="4382" y="1524"/>
                  </a:lnTo>
                  <a:lnTo>
                    <a:pt x="4382" y="1528"/>
                  </a:lnTo>
                  <a:lnTo>
                    <a:pt x="4387" y="1528"/>
                  </a:lnTo>
                  <a:lnTo>
                    <a:pt x="4387" y="1533"/>
                  </a:lnTo>
                  <a:lnTo>
                    <a:pt x="4387" y="1533"/>
                  </a:lnTo>
                  <a:lnTo>
                    <a:pt x="4391" y="1533"/>
                  </a:lnTo>
                  <a:lnTo>
                    <a:pt x="4391" y="1533"/>
                  </a:lnTo>
                  <a:lnTo>
                    <a:pt x="4400" y="1537"/>
                  </a:lnTo>
                  <a:lnTo>
                    <a:pt x="4400" y="1537"/>
                  </a:lnTo>
                  <a:lnTo>
                    <a:pt x="4405" y="1542"/>
                  </a:lnTo>
                  <a:lnTo>
                    <a:pt x="4405" y="1546"/>
                  </a:lnTo>
                  <a:lnTo>
                    <a:pt x="4409" y="1555"/>
                  </a:lnTo>
                  <a:lnTo>
                    <a:pt x="4409" y="1564"/>
                  </a:lnTo>
                  <a:lnTo>
                    <a:pt x="4409" y="1569"/>
                  </a:lnTo>
                  <a:lnTo>
                    <a:pt x="4409" y="1569"/>
                  </a:lnTo>
                  <a:lnTo>
                    <a:pt x="4414" y="1569"/>
                  </a:lnTo>
                  <a:lnTo>
                    <a:pt x="4414" y="1573"/>
                  </a:lnTo>
                  <a:lnTo>
                    <a:pt x="4418" y="1573"/>
                  </a:lnTo>
                  <a:lnTo>
                    <a:pt x="4418" y="1573"/>
                  </a:lnTo>
                  <a:lnTo>
                    <a:pt x="4423" y="1578"/>
                  </a:lnTo>
                  <a:lnTo>
                    <a:pt x="4423" y="1582"/>
                  </a:lnTo>
                  <a:lnTo>
                    <a:pt x="4423" y="1582"/>
                  </a:lnTo>
                  <a:lnTo>
                    <a:pt x="4427" y="1587"/>
                  </a:lnTo>
                  <a:lnTo>
                    <a:pt x="4427" y="1587"/>
                  </a:lnTo>
                  <a:lnTo>
                    <a:pt x="4432" y="1592"/>
                  </a:lnTo>
                  <a:lnTo>
                    <a:pt x="4432" y="1592"/>
                  </a:lnTo>
                  <a:lnTo>
                    <a:pt x="4432" y="1596"/>
                  </a:lnTo>
                  <a:lnTo>
                    <a:pt x="4432" y="1601"/>
                  </a:lnTo>
                  <a:lnTo>
                    <a:pt x="4441" y="1614"/>
                  </a:lnTo>
                  <a:lnTo>
                    <a:pt x="4441" y="1619"/>
                  </a:lnTo>
                  <a:lnTo>
                    <a:pt x="4441" y="1619"/>
                  </a:lnTo>
                  <a:lnTo>
                    <a:pt x="4441" y="1623"/>
                  </a:lnTo>
                  <a:lnTo>
                    <a:pt x="4445" y="1628"/>
                  </a:lnTo>
                  <a:lnTo>
                    <a:pt x="4445" y="1628"/>
                  </a:lnTo>
                  <a:lnTo>
                    <a:pt x="4450" y="1632"/>
                  </a:lnTo>
                  <a:lnTo>
                    <a:pt x="4450" y="1632"/>
                  </a:lnTo>
                  <a:lnTo>
                    <a:pt x="4450" y="1632"/>
                  </a:lnTo>
                  <a:lnTo>
                    <a:pt x="4454" y="1637"/>
                  </a:lnTo>
                  <a:lnTo>
                    <a:pt x="4454" y="1641"/>
                  </a:lnTo>
                  <a:lnTo>
                    <a:pt x="4454" y="1641"/>
                  </a:lnTo>
                  <a:lnTo>
                    <a:pt x="4463" y="1646"/>
                  </a:lnTo>
                  <a:lnTo>
                    <a:pt x="4463" y="1650"/>
                  </a:lnTo>
                  <a:lnTo>
                    <a:pt x="4463" y="1655"/>
                  </a:lnTo>
                  <a:lnTo>
                    <a:pt x="4468" y="1659"/>
                  </a:lnTo>
                  <a:lnTo>
                    <a:pt x="4472" y="1664"/>
                  </a:lnTo>
                  <a:lnTo>
                    <a:pt x="4477" y="1668"/>
                  </a:lnTo>
                  <a:lnTo>
                    <a:pt x="4482" y="1668"/>
                  </a:lnTo>
                  <a:lnTo>
                    <a:pt x="4482" y="1673"/>
                  </a:lnTo>
                  <a:lnTo>
                    <a:pt x="4482" y="1673"/>
                  </a:lnTo>
                  <a:lnTo>
                    <a:pt x="4491" y="1677"/>
                  </a:lnTo>
                  <a:lnTo>
                    <a:pt x="4491" y="1677"/>
                  </a:lnTo>
                  <a:lnTo>
                    <a:pt x="4495" y="1682"/>
                  </a:lnTo>
                  <a:lnTo>
                    <a:pt x="4495" y="1686"/>
                  </a:lnTo>
                  <a:lnTo>
                    <a:pt x="4495" y="1686"/>
                  </a:lnTo>
                  <a:lnTo>
                    <a:pt x="4500" y="1691"/>
                  </a:lnTo>
                  <a:lnTo>
                    <a:pt x="4500" y="1691"/>
                  </a:lnTo>
                  <a:lnTo>
                    <a:pt x="4504" y="1696"/>
                  </a:lnTo>
                  <a:lnTo>
                    <a:pt x="4504" y="1696"/>
                  </a:lnTo>
                  <a:lnTo>
                    <a:pt x="4504" y="1696"/>
                  </a:lnTo>
                  <a:lnTo>
                    <a:pt x="4504" y="1691"/>
                  </a:lnTo>
                  <a:lnTo>
                    <a:pt x="4504" y="1686"/>
                  </a:lnTo>
                  <a:lnTo>
                    <a:pt x="4504" y="1686"/>
                  </a:lnTo>
                  <a:lnTo>
                    <a:pt x="4504" y="1686"/>
                  </a:lnTo>
                  <a:lnTo>
                    <a:pt x="4509" y="1691"/>
                  </a:lnTo>
                  <a:lnTo>
                    <a:pt x="4509" y="1691"/>
                  </a:lnTo>
                  <a:lnTo>
                    <a:pt x="4509" y="1691"/>
                  </a:lnTo>
                  <a:lnTo>
                    <a:pt x="4513" y="1691"/>
                  </a:lnTo>
                  <a:lnTo>
                    <a:pt x="4513" y="1686"/>
                  </a:lnTo>
                  <a:lnTo>
                    <a:pt x="4518" y="1686"/>
                  </a:lnTo>
                  <a:close/>
                  <a:moveTo>
                    <a:pt x="1757" y="348"/>
                  </a:moveTo>
                  <a:lnTo>
                    <a:pt x="1757" y="348"/>
                  </a:lnTo>
                  <a:lnTo>
                    <a:pt x="1753" y="348"/>
                  </a:lnTo>
                  <a:lnTo>
                    <a:pt x="1748" y="348"/>
                  </a:lnTo>
                  <a:lnTo>
                    <a:pt x="1748" y="348"/>
                  </a:lnTo>
                  <a:lnTo>
                    <a:pt x="1748" y="348"/>
                  </a:lnTo>
                  <a:lnTo>
                    <a:pt x="1748" y="348"/>
                  </a:lnTo>
                  <a:lnTo>
                    <a:pt x="1748" y="353"/>
                  </a:lnTo>
                  <a:lnTo>
                    <a:pt x="1748" y="353"/>
                  </a:lnTo>
                  <a:lnTo>
                    <a:pt x="1753" y="353"/>
                  </a:lnTo>
                  <a:lnTo>
                    <a:pt x="1753" y="353"/>
                  </a:lnTo>
                  <a:lnTo>
                    <a:pt x="1757" y="353"/>
                  </a:lnTo>
                  <a:lnTo>
                    <a:pt x="1757" y="353"/>
                  </a:lnTo>
                  <a:lnTo>
                    <a:pt x="1757" y="353"/>
                  </a:lnTo>
                  <a:lnTo>
                    <a:pt x="1757" y="353"/>
                  </a:lnTo>
                  <a:lnTo>
                    <a:pt x="1757" y="353"/>
                  </a:lnTo>
                  <a:lnTo>
                    <a:pt x="1757" y="348"/>
                  </a:lnTo>
                  <a:lnTo>
                    <a:pt x="1757" y="348"/>
                  </a:lnTo>
                  <a:lnTo>
                    <a:pt x="1757" y="348"/>
                  </a:lnTo>
                  <a:lnTo>
                    <a:pt x="1757" y="348"/>
                  </a:lnTo>
                  <a:close/>
                  <a:moveTo>
                    <a:pt x="994" y="375"/>
                  </a:moveTo>
                  <a:lnTo>
                    <a:pt x="994" y="371"/>
                  </a:lnTo>
                  <a:lnTo>
                    <a:pt x="989" y="375"/>
                  </a:lnTo>
                  <a:lnTo>
                    <a:pt x="989" y="375"/>
                  </a:lnTo>
                  <a:lnTo>
                    <a:pt x="989" y="375"/>
                  </a:lnTo>
                  <a:lnTo>
                    <a:pt x="989" y="375"/>
                  </a:lnTo>
                  <a:lnTo>
                    <a:pt x="985" y="380"/>
                  </a:lnTo>
                  <a:lnTo>
                    <a:pt x="985" y="380"/>
                  </a:lnTo>
                  <a:lnTo>
                    <a:pt x="980" y="384"/>
                  </a:lnTo>
                  <a:lnTo>
                    <a:pt x="980" y="384"/>
                  </a:lnTo>
                  <a:lnTo>
                    <a:pt x="976" y="389"/>
                  </a:lnTo>
                  <a:lnTo>
                    <a:pt x="976" y="389"/>
                  </a:lnTo>
                  <a:lnTo>
                    <a:pt x="976" y="389"/>
                  </a:lnTo>
                  <a:lnTo>
                    <a:pt x="971" y="393"/>
                  </a:lnTo>
                  <a:lnTo>
                    <a:pt x="971" y="393"/>
                  </a:lnTo>
                  <a:lnTo>
                    <a:pt x="967" y="393"/>
                  </a:lnTo>
                  <a:lnTo>
                    <a:pt x="967" y="398"/>
                  </a:lnTo>
                  <a:lnTo>
                    <a:pt x="967" y="398"/>
                  </a:lnTo>
                  <a:lnTo>
                    <a:pt x="967" y="398"/>
                  </a:lnTo>
                  <a:lnTo>
                    <a:pt x="967" y="398"/>
                  </a:lnTo>
                  <a:lnTo>
                    <a:pt x="971" y="393"/>
                  </a:lnTo>
                  <a:lnTo>
                    <a:pt x="976" y="393"/>
                  </a:lnTo>
                  <a:lnTo>
                    <a:pt x="980" y="393"/>
                  </a:lnTo>
                  <a:lnTo>
                    <a:pt x="980" y="393"/>
                  </a:lnTo>
                  <a:lnTo>
                    <a:pt x="980" y="393"/>
                  </a:lnTo>
                  <a:lnTo>
                    <a:pt x="980" y="389"/>
                  </a:lnTo>
                  <a:lnTo>
                    <a:pt x="985" y="389"/>
                  </a:lnTo>
                  <a:lnTo>
                    <a:pt x="985" y="389"/>
                  </a:lnTo>
                  <a:lnTo>
                    <a:pt x="985" y="389"/>
                  </a:lnTo>
                  <a:lnTo>
                    <a:pt x="985" y="384"/>
                  </a:lnTo>
                  <a:lnTo>
                    <a:pt x="989" y="384"/>
                  </a:lnTo>
                  <a:lnTo>
                    <a:pt x="989" y="380"/>
                  </a:lnTo>
                  <a:lnTo>
                    <a:pt x="989" y="380"/>
                  </a:lnTo>
                  <a:lnTo>
                    <a:pt x="994" y="380"/>
                  </a:lnTo>
                  <a:lnTo>
                    <a:pt x="994" y="380"/>
                  </a:lnTo>
                  <a:lnTo>
                    <a:pt x="994" y="380"/>
                  </a:lnTo>
                  <a:lnTo>
                    <a:pt x="994" y="380"/>
                  </a:lnTo>
                  <a:lnTo>
                    <a:pt x="994" y="380"/>
                  </a:lnTo>
                  <a:lnTo>
                    <a:pt x="989" y="384"/>
                  </a:lnTo>
                  <a:lnTo>
                    <a:pt x="989" y="384"/>
                  </a:lnTo>
                  <a:lnTo>
                    <a:pt x="989" y="384"/>
                  </a:lnTo>
                  <a:lnTo>
                    <a:pt x="989" y="384"/>
                  </a:lnTo>
                  <a:lnTo>
                    <a:pt x="989" y="389"/>
                  </a:lnTo>
                  <a:lnTo>
                    <a:pt x="989" y="389"/>
                  </a:lnTo>
                  <a:lnTo>
                    <a:pt x="989" y="389"/>
                  </a:lnTo>
                  <a:lnTo>
                    <a:pt x="989" y="384"/>
                  </a:lnTo>
                  <a:lnTo>
                    <a:pt x="989" y="384"/>
                  </a:lnTo>
                  <a:lnTo>
                    <a:pt x="994" y="384"/>
                  </a:lnTo>
                  <a:lnTo>
                    <a:pt x="994" y="380"/>
                  </a:lnTo>
                  <a:lnTo>
                    <a:pt x="994" y="375"/>
                  </a:lnTo>
                  <a:lnTo>
                    <a:pt x="994" y="375"/>
                  </a:lnTo>
                  <a:lnTo>
                    <a:pt x="989" y="375"/>
                  </a:lnTo>
                  <a:lnTo>
                    <a:pt x="989" y="375"/>
                  </a:lnTo>
                  <a:lnTo>
                    <a:pt x="994" y="375"/>
                  </a:lnTo>
                  <a:close/>
                  <a:moveTo>
                    <a:pt x="962" y="384"/>
                  </a:moveTo>
                  <a:lnTo>
                    <a:pt x="958" y="389"/>
                  </a:lnTo>
                  <a:lnTo>
                    <a:pt x="962" y="389"/>
                  </a:lnTo>
                  <a:lnTo>
                    <a:pt x="962" y="389"/>
                  </a:lnTo>
                  <a:lnTo>
                    <a:pt x="967" y="384"/>
                  </a:lnTo>
                  <a:lnTo>
                    <a:pt x="967" y="384"/>
                  </a:lnTo>
                  <a:lnTo>
                    <a:pt x="967" y="384"/>
                  </a:lnTo>
                  <a:lnTo>
                    <a:pt x="971" y="384"/>
                  </a:lnTo>
                  <a:lnTo>
                    <a:pt x="971" y="384"/>
                  </a:lnTo>
                  <a:lnTo>
                    <a:pt x="971" y="389"/>
                  </a:lnTo>
                  <a:lnTo>
                    <a:pt x="971" y="389"/>
                  </a:lnTo>
                  <a:lnTo>
                    <a:pt x="976" y="384"/>
                  </a:lnTo>
                  <a:lnTo>
                    <a:pt x="976" y="384"/>
                  </a:lnTo>
                  <a:lnTo>
                    <a:pt x="976" y="384"/>
                  </a:lnTo>
                  <a:lnTo>
                    <a:pt x="976" y="384"/>
                  </a:lnTo>
                  <a:lnTo>
                    <a:pt x="976" y="384"/>
                  </a:lnTo>
                  <a:lnTo>
                    <a:pt x="976" y="380"/>
                  </a:lnTo>
                  <a:lnTo>
                    <a:pt x="976" y="384"/>
                  </a:lnTo>
                  <a:lnTo>
                    <a:pt x="976" y="384"/>
                  </a:lnTo>
                  <a:lnTo>
                    <a:pt x="980" y="384"/>
                  </a:lnTo>
                  <a:lnTo>
                    <a:pt x="985" y="380"/>
                  </a:lnTo>
                  <a:lnTo>
                    <a:pt x="985" y="380"/>
                  </a:lnTo>
                  <a:lnTo>
                    <a:pt x="985" y="380"/>
                  </a:lnTo>
                  <a:lnTo>
                    <a:pt x="985" y="375"/>
                  </a:lnTo>
                  <a:lnTo>
                    <a:pt x="980" y="375"/>
                  </a:lnTo>
                  <a:lnTo>
                    <a:pt x="980" y="375"/>
                  </a:lnTo>
                  <a:lnTo>
                    <a:pt x="980" y="375"/>
                  </a:lnTo>
                  <a:lnTo>
                    <a:pt x="976" y="380"/>
                  </a:lnTo>
                  <a:lnTo>
                    <a:pt x="976" y="380"/>
                  </a:lnTo>
                  <a:lnTo>
                    <a:pt x="976" y="380"/>
                  </a:lnTo>
                  <a:lnTo>
                    <a:pt x="976" y="375"/>
                  </a:lnTo>
                  <a:lnTo>
                    <a:pt x="976" y="375"/>
                  </a:lnTo>
                  <a:lnTo>
                    <a:pt x="980" y="375"/>
                  </a:lnTo>
                  <a:lnTo>
                    <a:pt x="980" y="375"/>
                  </a:lnTo>
                  <a:lnTo>
                    <a:pt x="980" y="375"/>
                  </a:lnTo>
                  <a:lnTo>
                    <a:pt x="980" y="371"/>
                  </a:lnTo>
                  <a:lnTo>
                    <a:pt x="980" y="375"/>
                  </a:lnTo>
                  <a:lnTo>
                    <a:pt x="976" y="375"/>
                  </a:lnTo>
                  <a:lnTo>
                    <a:pt x="976" y="375"/>
                  </a:lnTo>
                  <a:lnTo>
                    <a:pt x="976" y="375"/>
                  </a:lnTo>
                  <a:lnTo>
                    <a:pt x="971" y="375"/>
                  </a:lnTo>
                  <a:lnTo>
                    <a:pt x="971" y="375"/>
                  </a:lnTo>
                  <a:lnTo>
                    <a:pt x="971" y="375"/>
                  </a:lnTo>
                  <a:lnTo>
                    <a:pt x="971" y="371"/>
                  </a:lnTo>
                  <a:lnTo>
                    <a:pt x="971" y="375"/>
                  </a:lnTo>
                  <a:lnTo>
                    <a:pt x="967" y="375"/>
                  </a:lnTo>
                  <a:lnTo>
                    <a:pt x="967" y="375"/>
                  </a:lnTo>
                  <a:lnTo>
                    <a:pt x="967" y="375"/>
                  </a:lnTo>
                  <a:lnTo>
                    <a:pt x="962" y="375"/>
                  </a:lnTo>
                  <a:lnTo>
                    <a:pt x="962" y="380"/>
                  </a:lnTo>
                  <a:lnTo>
                    <a:pt x="962" y="380"/>
                  </a:lnTo>
                  <a:lnTo>
                    <a:pt x="962" y="384"/>
                  </a:lnTo>
                  <a:lnTo>
                    <a:pt x="962" y="384"/>
                  </a:lnTo>
                  <a:close/>
                  <a:moveTo>
                    <a:pt x="980" y="402"/>
                  </a:moveTo>
                  <a:lnTo>
                    <a:pt x="980" y="402"/>
                  </a:lnTo>
                  <a:lnTo>
                    <a:pt x="980" y="402"/>
                  </a:lnTo>
                  <a:lnTo>
                    <a:pt x="980" y="398"/>
                  </a:lnTo>
                  <a:lnTo>
                    <a:pt x="980" y="398"/>
                  </a:lnTo>
                  <a:lnTo>
                    <a:pt x="980" y="402"/>
                  </a:lnTo>
                  <a:lnTo>
                    <a:pt x="980" y="398"/>
                  </a:lnTo>
                  <a:lnTo>
                    <a:pt x="976" y="398"/>
                  </a:lnTo>
                  <a:lnTo>
                    <a:pt x="976" y="398"/>
                  </a:lnTo>
                  <a:lnTo>
                    <a:pt x="971" y="398"/>
                  </a:lnTo>
                  <a:lnTo>
                    <a:pt x="971" y="398"/>
                  </a:lnTo>
                  <a:lnTo>
                    <a:pt x="971" y="398"/>
                  </a:lnTo>
                  <a:lnTo>
                    <a:pt x="971" y="402"/>
                  </a:lnTo>
                  <a:lnTo>
                    <a:pt x="971" y="402"/>
                  </a:lnTo>
                  <a:lnTo>
                    <a:pt x="971" y="402"/>
                  </a:lnTo>
                  <a:lnTo>
                    <a:pt x="971" y="402"/>
                  </a:lnTo>
                  <a:lnTo>
                    <a:pt x="967" y="407"/>
                  </a:lnTo>
                  <a:lnTo>
                    <a:pt x="967" y="407"/>
                  </a:lnTo>
                  <a:lnTo>
                    <a:pt x="967" y="407"/>
                  </a:lnTo>
                  <a:lnTo>
                    <a:pt x="967" y="407"/>
                  </a:lnTo>
                  <a:lnTo>
                    <a:pt x="967" y="411"/>
                  </a:lnTo>
                  <a:lnTo>
                    <a:pt x="967" y="411"/>
                  </a:lnTo>
                  <a:lnTo>
                    <a:pt x="971" y="411"/>
                  </a:lnTo>
                  <a:lnTo>
                    <a:pt x="971" y="411"/>
                  </a:lnTo>
                  <a:lnTo>
                    <a:pt x="971" y="411"/>
                  </a:lnTo>
                  <a:lnTo>
                    <a:pt x="971" y="407"/>
                  </a:lnTo>
                  <a:lnTo>
                    <a:pt x="971" y="407"/>
                  </a:lnTo>
                  <a:lnTo>
                    <a:pt x="971" y="407"/>
                  </a:lnTo>
                  <a:lnTo>
                    <a:pt x="976" y="407"/>
                  </a:lnTo>
                  <a:lnTo>
                    <a:pt x="976" y="407"/>
                  </a:lnTo>
                  <a:lnTo>
                    <a:pt x="976" y="407"/>
                  </a:lnTo>
                  <a:lnTo>
                    <a:pt x="976" y="402"/>
                  </a:lnTo>
                  <a:lnTo>
                    <a:pt x="976" y="402"/>
                  </a:lnTo>
                  <a:lnTo>
                    <a:pt x="976" y="402"/>
                  </a:lnTo>
                  <a:lnTo>
                    <a:pt x="976" y="402"/>
                  </a:lnTo>
                  <a:lnTo>
                    <a:pt x="976" y="407"/>
                  </a:lnTo>
                  <a:lnTo>
                    <a:pt x="976" y="407"/>
                  </a:lnTo>
                  <a:lnTo>
                    <a:pt x="976" y="407"/>
                  </a:lnTo>
                  <a:lnTo>
                    <a:pt x="976" y="407"/>
                  </a:lnTo>
                  <a:lnTo>
                    <a:pt x="976" y="407"/>
                  </a:lnTo>
                  <a:lnTo>
                    <a:pt x="976" y="407"/>
                  </a:lnTo>
                  <a:lnTo>
                    <a:pt x="980" y="402"/>
                  </a:lnTo>
                  <a:lnTo>
                    <a:pt x="980" y="402"/>
                  </a:lnTo>
                  <a:lnTo>
                    <a:pt x="980" y="402"/>
                  </a:lnTo>
                  <a:close/>
                  <a:moveTo>
                    <a:pt x="944" y="488"/>
                  </a:moveTo>
                  <a:lnTo>
                    <a:pt x="940" y="493"/>
                  </a:lnTo>
                  <a:lnTo>
                    <a:pt x="940" y="493"/>
                  </a:lnTo>
                  <a:lnTo>
                    <a:pt x="940" y="493"/>
                  </a:lnTo>
                  <a:lnTo>
                    <a:pt x="940" y="493"/>
                  </a:lnTo>
                  <a:lnTo>
                    <a:pt x="944" y="493"/>
                  </a:lnTo>
                  <a:lnTo>
                    <a:pt x="944" y="493"/>
                  </a:lnTo>
                  <a:lnTo>
                    <a:pt x="949" y="488"/>
                  </a:lnTo>
                  <a:lnTo>
                    <a:pt x="953" y="484"/>
                  </a:lnTo>
                  <a:lnTo>
                    <a:pt x="958" y="479"/>
                  </a:lnTo>
                  <a:lnTo>
                    <a:pt x="958" y="479"/>
                  </a:lnTo>
                  <a:lnTo>
                    <a:pt x="953" y="475"/>
                  </a:lnTo>
                  <a:lnTo>
                    <a:pt x="953" y="475"/>
                  </a:lnTo>
                  <a:lnTo>
                    <a:pt x="953" y="475"/>
                  </a:lnTo>
                  <a:lnTo>
                    <a:pt x="953" y="475"/>
                  </a:lnTo>
                  <a:lnTo>
                    <a:pt x="949" y="479"/>
                  </a:lnTo>
                  <a:lnTo>
                    <a:pt x="949" y="479"/>
                  </a:lnTo>
                  <a:lnTo>
                    <a:pt x="949" y="479"/>
                  </a:lnTo>
                  <a:lnTo>
                    <a:pt x="944" y="479"/>
                  </a:lnTo>
                  <a:lnTo>
                    <a:pt x="944" y="479"/>
                  </a:lnTo>
                  <a:lnTo>
                    <a:pt x="944" y="484"/>
                  </a:lnTo>
                  <a:lnTo>
                    <a:pt x="944" y="484"/>
                  </a:lnTo>
                  <a:lnTo>
                    <a:pt x="944" y="484"/>
                  </a:lnTo>
                  <a:lnTo>
                    <a:pt x="944" y="488"/>
                  </a:lnTo>
                  <a:lnTo>
                    <a:pt x="944" y="488"/>
                  </a:lnTo>
                  <a:lnTo>
                    <a:pt x="949" y="484"/>
                  </a:lnTo>
                  <a:lnTo>
                    <a:pt x="949" y="484"/>
                  </a:lnTo>
                  <a:lnTo>
                    <a:pt x="944" y="488"/>
                  </a:lnTo>
                  <a:lnTo>
                    <a:pt x="944" y="488"/>
                  </a:lnTo>
                  <a:close/>
                  <a:moveTo>
                    <a:pt x="944" y="439"/>
                  </a:moveTo>
                  <a:lnTo>
                    <a:pt x="944" y="439"/>
                  </a:lnTo>
                  <a:lnTo>
                    <a:pt x="944" y="434"/>
                  </a:lnTo>
                  <a:lnTo>
                    <a:pt x="949" y="434"/>
                  </a:lnTo>
                  <a:lnTo>
                    <a:pt x="949" y="434"/>
                  </a:lnTo>
                  <a:lnTo>
                    <a:pt x="949" y="434"/>
                  </a:lnTo>
                  <a:lnTo>
                    <a:pt x="949" y="434"/>
                  </a:lnTo>
                  <a:lnTo>
                    <a:pt x="949" y="439"/>
                  </a:lnTo>
                  <a:lnTo>
                    <a:pt x="944" y="439"/>
                  </a:lnTo>
                  <a:lnTo>
                    <a:pt x="944" y="439"/>
                  </a:lnTo>
                  <a:lnTo>
                    <a:pt x="944" y="439"/>
                  </a:lnTo>
                  <a:lnTo>
                    <a:pt x="944" y="439"/>
                  </a:lnTo>
                  <a:lnTo>
                    <a:pt x="949" y="439"/>
                  </a:lnTo>
                  <a:lnTo>
                    <a:pt x="949" y="439"/>
                  </a:lnTo>
                  <a:lnTo>
                    <a:pt x="944" y="443"/>
                  </a:lnTo>
                  <a:lnTo>
                    <a:pt x="944" y="443"/>
                  </a:lnTo>
                  <a:lnTo>
                    <a:pt x="944" y="443"/>
                  </a:lnTo>
                  <a:lnTo>
                    <a:pt x="944" y="443"/>
                  </a:lnTo>
                  <a:lnTo>
                    <a:pt x="949" y="443"/>
                  </a:lnTo>
                  <a:lnTo>
                    <a:pt x="949" y="443"/>
                  </a:lnTo>
                  <a:lnTo>
                    <a:pt x="949" y="443"/>
                  </a:lnTo>
                  <a:lnTo>
                    <a:pt x="949" y="443"/>
                  </a:lnTo>
                  <a:lnTo>
                    <a:pt x="949" y="439"/>
                  </a:lnTo>
                  <a:lnTo>
                    <a:pt x="953" y="439"/>
                  </a:lnTo>
                  <a:lnTo>
                    <a:pt x="953" y="439"/>
                  </a:lnTo>
                  <a:lnTo>
                    <a:pt x="953" y="439"/>
                  </a:lnTo>
                  <a:lnTo>
                    <a:pt x="958" y="434"/>
                  </a:lnTo>
                  <a:lnTo>
                    <a:pt x="958" y="434"/>
                  </a:lnTo>
                  <a:lnTo>
                    <a:pt x="953" y="434"/>
                  </a:lnTo>
                  <a:lnTo>
                    <a:pt x="953" y="434"/>
                  </a:lnTo>
                  <a:lnTo>
                    <a:pt x="953" y="434"/>
                  </a:lnTo>
                  <a:lnTo>
                    <a:pt x="958" y="434"/>
                  </a:lnTo>
                  <a:lnTo>
                    <a:pt x="958" y="434"/>
                  </a:lnTo>
                  <a:lnTo>
                    <a:pt x="958" y="434"/>
                  </a:lnTo>
                  <a:lnTo>
                    <a:pt x="958" y="430"/>
                  </a:lnTo>
                  <a:lnTo>
                    <a:pt x="958" y="430"/>
                  </a:lnTo>
                  <a:lnTo>
                    <a:pt x="958" y="430"/>
                  </a:lnTo>
                  <a:lnTo>
                    <a:pt x="958" y="430"/>
                  </a:lnTo>
                  <a:lnTo>
                    <a:pt x="953" y="430"/>
                  </a:lnTo>
                  <a:lnTo>
                    <a:pt x="958" y="430"/>
                  </a:lnTo>
                  <a:lnTo>
                    <a:pt x="958" y="430"/>
                  </a:lnTo>
                  <a:lnTo>
                    <a:pt x="958" y="425"/>
                  </a:lnTo>
                  <a:lnTo>
                    <a:pt x="958" y="425"/>
                  </a:lnTo>
                  <a:lnTo>
                    <a:pt x="958" y="430"/>
                  </a:lnTo>
                  <a:lnTo>
                    <a:pt x="962" y="430"/>
                  </a:lnTo>
                  <a:lnTo>
                    <a:pt x="962" y="430"/>
                  </a:lnTo>
                  <a:lnTo>
                    <a:pt x="962" y="430"/>
                  </a:lnTo>
                  <a:lnTo>
                    <a:pt x="962" y="430"/>
                  </a:lnTo>
                  <a:lnTo>
                    <a:pt x="962" y="425"/>
                  </a:lnTo>
                  <a:lnTo>
                    <a:pt x="962" y="425"/>
                  </a:lnTo>
                  <a:lnTo>
                    <a:pt x="962" y="421"/>
                  </a:lnTo>
                  <a:lnTo>
                    <a:pt x="967" y="421"/>
                  </a:lnTo>
                  <a:lnTo>
                    <a:pt x="967" y="421"/>
                  </a:lnTo>
                  <a:lnTo>
                    <a:pt x="962" y="416"/>
                  </a:lnTo>
                  <a:lnTo>
                    <a:pt x="962" y="416"/>
                  </a:lnTo>
                  <a:lnTo>
                    <a:pt x="962" y="416"/>
                  </a:lnTo>
                  <a:lnTo>
                    <a:pt x="967" y="416"/>
                  </a:lnTo>
                  <a:lnTo>
                    <a:pt x="967" y="416"/>
                  </a:lnTo>
                  <a:lnTo>
                    <a:pt x="967" y="416"/>
                  </a:lnTo>
                  <a:lnTo>
                    <a:pt x="967" y="411"/>
                  </a:lnTo>
                  <a:lnTo>
                    <a:pt x="967" y="411"/>
                  </a:lnTo>
                  <a:lnTo>
                    <a:pt x="962" y="411"/>
                  </a:lnTo>
                  <a:lnTo>
                    <a:pt x="962" y="411"/>
                  </a:lnTo>
                  <a:lnTo>
                    <a:pt x="962" y="411"/>
                  </a:lnTo>
                  <a:lnTo>
                    <a:pt x="958" y="411"/>
                  </a:lnTo>
                  <a:lnTo>
                    <a:pt x="958" y="416"/>
                  </a:lnTo>
                  <a:lnTo>
                    <a:pt x="958" y="416"/>
                  </a:lnTo>
                  <a:lnTo>
                    <a:pt x="958" y="416"/>
                  </a:lnTo>
                  <a:lnTo>
                    <a:pt x="953" y="416"/>
                  </a:lnTo>
                  <a:lnTo>
                    <a:pt x="953" y="416"/>
                  </a:lnTo>
                  <a:lnTo>
                    <a:pt x="953" y="421"/>
                  </a:lnTo>
                  <a:lnTo>
                    <a:pt x="958" y="416"/>
                  </a:lnTo>
                  <a:lnTo>
                    <a:pt x="958" y="416"/>
                  </a:lnTo>
                  <a:lnTo>
                    <a:pt x="958" y="416"/>
                  </a:lnTo>
                  <a:lnTo>
                    <a:pt x="958" y="421"/>
                  </a:lnTo>
                  <a:lnTo>
                    <a:pt x="958" y="421"/>
                  </a:lnTo>
                  <a:lnTo>
                    <a:pt x="958" y="421"/>
                  </a:lnTo>
                  <a:lnTo>
                    <a:pt x="953" y="421"/>
                  </a:lnTo>
                  <a:lnTo>
                    <a:pt x="953" y="421"/>
                  </a:lnTo>
                  <a:lnTo>
                    <a:pt x="953" y="421"/>
                  </a:lnTo>
                  <a:lnTo>
                    <a:pt x="953" y="421"/>
                  </a:lnTo>
                  <a:lnTo>
                    <a:pt x="953" y="421"/>
                  </a:lnTo>
                  <a:lnTo>
                    <a:pt x="949" y="421"/>
                  </a:lnTo>
                  <a:lnTo>
                    <a:pt x="949" y="421"/>
                  </a:lnTo>
                  <a:lnTo>
                    <a:pt x="949" y="421"/>
                  </a:lnTo>
                  <a:lnTo>
                    <a:pt x="949" y="425"/>
                  </a:lnTo>
                  <a:lnTo>
                    <a:pt x="949" y="425"/>
                  </a:lnTo>
                  <a:lnTo>
                    <a:pt x="953" y="425"/>
                  </a:lnTo>
                  <a:lnTo>
                    <a:pt x="949" y="425"/>
                  </a:lnTo>
                  <a:lnTo>
                    <a:pt x="949" y="425"/>
                  </a:lnTo>
                  <a:lnTo>
                    <a:pt x="949" y="425"/>
                  </a:lnTo>
                  <a:lnTo>
                    <a:pt x="953" y="425"/>
                  </a:lnTo>
                  <a:lnTo>
                    <a:pt x="953" y="425"/>
                  </a:lnTo>
                  <a:lnTo>
                    <a:pt x="953" y="425"/>
                  </a:lnTo>
                  <a:lnTo>
                    <a:pt x="949" y="430"/>
                  </a:lnTo>
                  <a:lnTo>
                    <a:pt x="949" y="430"/>
                  </a:lnTo>
                  <a:lnTo>
                    <a:pt x="949" y="430"/>
                  </a:lnTo>
                  <a:lnTo>
                    <a:pt x="949" y="430"/>
                  </a:lnTo>
                  <a:lnTo>
                    <a:pt x="949" y="430"/>
                  </a:lnTo>
                  <a:lnTo>
                    <a:pt x="944" y="430"/>
                  </a:lnTo>
                  <a:lnTo>
                    <a:pt x="944" y="430"/>
                  </a:lnTo>
                  <a:lnTo>
                    <a:pt x="944" y="434"/>
                  </a:lnTo>
                  <a:lnTo>
                    <a:pt x="944" y="439"/>
                  </a:lnTo>
                  <a:close/>
                  <a:moveTo>
                    <a:pt x="953" y="402"/>
                  </a:moveTo>
                  <a:lnTo>
                    <a:pt x="953" y="402"/>
                  </a:lnTo>
                  <a:lnTo>
                    <a:pt x="953" y="407"/>
                  </a:lnTo>
                  <a:lnTo>
                    <a:pt x="949" y="407"/>
                  </a:lnTo>
                  <a:lnTo>
                    <a:pt x="949" y="407"/>
                  </a:lnTo>
                  <a:lnTo>
                    <a:pt x="949" y="411"/>
                  </a:lnTo>
                  <a:lnTo>
                    <a:pt x="949" y="411"/>
                  </a:lnTo>
                  <a:lnTo>
                    <a:pt x="949" y="411"/>
                  </a:lnTo>
                  <a:lnTo>
                    <a:pt x="949" y="411"/>
                  </a:lnTo>
                  <a:lnTo>
                    <a:pt x="949" y="411"/>
                  </a:lnTo>
                  <a:lnTo>
                    <a:pt x="949" y="411"/>
                  </a:lnTo>
                  <a:lnTo>
                    <a:pt x="953" y="407"/>
                  </a:lnTo>
                  <a:lnTo>
                    <a:pt x="953" y="407"/>
                  </a:lnTo>
                  <a:lnTo>
                    <a:pt x="953" y="407"/>
                  </a:lnTo>
                  <a:lnTo>
                    <a:pt x="958" y="407"/>
                  </a:lnTo>
                  <a:lnTo>
                    <a:pt x="958" y="407"/>
                  </a:lnTo>
                  <a:lnTo>
                    <a:pt x="958" y="402"/>
                  </a:lnTo>
                  <a:lnTo>
                    <a:pt x="958" y="402"/>
                  </a:lnTo>
                  <a:lnTo>
                    <a:pt x="962" y="402"/>
                  </a:lnTo>
                  <a:lnTo>
                    <a:pt x="962" y="398"/>
                  </a:lnTo>
                  <a:lnTo>
                    <a:pt x="967" y="393"/>
                  </a:lnTo>
                  <a:lnTo>
                    <a:pt x="967" y="393"/>
                  </a:lnTo>
                  <a:lnTo>
                    <a:pt x="967" y="389"/>
                  </a:lnTo>
                  <a:lnTo>
                    <a:pt x="967" y="389"/>
                  </a:lnTo>
                  <a:lnTo>
                    <a:pt x="967" y="389"/>
                  </a:lnTo>
                  <a:lnTo>
                    <a:pt x="967" y="389"/>
                  </a:lnTo>
                  <a:lnTo>
                    <a:pt x="967" y="389"/>
                  </a:lnTo>
                  <a:lnTo>
                    <a:pt x="967" y="389"/>
                  </a:lnTo>
                  <a:lnTo>
                    <a:pt x="962" y="389"/>
                  </a:lnTo>
                  <a:lnTo>
                    <a:pt x="962" y="389"/>
                  </a:lnTo>
                  <a:lnTo>
                    <a:pt x="962" y="389"/>
                  </a:lnTo>
                  <a:lnTo>
                    <a:pt x="962" y="389"/>
                  </a:lnTo>
                  <a:lnTo>
                    <a:pt x="958" y="389"/>
                  </a:lnTo>
                  <a:lnTo>
                    <a:pt x="958" y="389"/>
                  </a:lnTo>
                  <a:lnTo>
                    <a:pt x="958" y="393"/>
                  </a:lnTo>
                  <a:lnTo>
                    <a:pt x="953" y="393"/>
                  </a:lnTo>
                  <a:lnTo>
                    <a:pt x="953" y="393"/>
                  </a:lnTo>
                  <a:lnTo>
                    <a:pt x="953" y="393"/>
                  </a:lnTo>
                  <a:lnTo>
                    <a:pt x="953" y="393"/>
                  </a:lnTo>
                  <a:lnTo>
                    <a:pt x="953" y="393"/>
                  </a:lnTo>
                  <a:lnTo>
                    <a:pt x="962" y="393"/>
                  </a:lnTo>
                  <a:lnTo>
                    <a:pt x="962" y="393"/>
                  </a:lnTo>
                  <a:lnTo>
                    <a:pt x="962" y="393"/>
                  </a:lnTo>
                  <a:lnTo>
                    <a:pt x="958" y="393"/>
                  </a:lnTo>
                  <a:lnTo>
                    <a:pt x="958" y="398"/>
                  </a:lnTo>
                  <a:lnTo>
                    <a:pt x="958" y="398"/>
                  </a:lnTo>
                  <a:lnTo>
                    <a:pt x="958" y="398"/>
                  </a:lnTo>
                  <a:lnTo>
                    <a:pt x="953" y="398"/>
                  </a:lnTo>
                  <a:lnTo>
                    <a:pt x="953" y="398"/>
                  </a:lnTo>
                  <a:lnTo>
                    <a:pt x="953" y="398"/>
                  </a:lnTo>
                  <a:lnTo>
                    <a:pt x="953" y="398"/>
                  </a:lnTo>
                  <a:lnTo>
                    <a:pt x="953" y="402"/>
                  </a:lnTo>
                  <a:lnTo>
                    <a:pt x="953" y="398"/>
                  </a:lnTo>
                  <a:lnTo>
                    <a:pt x="953" y="402"/>
                  </a:lnTo>
                  <a:lnTo>
                    <a:pt x="953" y="402"/>
                  </a:lnTo>
                  <a:lnTo>
                    <a:pt x="953" y="402"/>
                  </a:lnTo>
                  <a:lnTo>
                    <a:pt x="953" y="402"/>
                  </a:lnTo>
                  <a:lnTo>
                    <a:pt x="953" y="402"/>
                  </a:lnTo>
                  <a:lnTo>
                    <a:pt x="953" y="402"/>
                  </a:lnTo>
                  <a:lnTo>
                    <a:pt x="953" y="402"/>
                  </a:lnTo>
                  <a:lnTo>
                    <a:pt x="953" y="402"/>
                  </a:lnTo>
                  <a:close/>
                  <a:moveTo>
                    <a:pt x="967" y="421"/>
                  </a:moveTo>
                  <a:lnTo>
                    <a:pt x="967" y="421"/>
                  </a:lnTo>
                  <a:lnTo>
                    <a:pt x="967" y="421"/>
                  </a:lnTo>
                  <a:lnTo>
                    <a:pt x="967" y="421"/>
                  </a:lnTo>
                  <a:lnTo>
                    <a:pt x="971" y="421"/>
                  </a:lnTo>
                  <a:lnTo>
                    <a:pt x="971" y="421"/>
                  </a:lnTo>
                  <a:lnTo>
                    <a:pt x="971" y="421"/>
                  </a:lnTo>
                  <a:lnTo>
                    <a:pt x="976" y="416"/>
                  </a:lnTo>
                  <a:lnTo>
                    <a:pt x="980" y="416"/>
                  </a:lnTo>
                  <a:lnTo>
                    <a:pt x="980" y="411"/>
                  </a:lnTo>
                  <a:lnTo>
                    <a:pt x="980" y="411"/>
                  </a:lnTo>
                  <a:lnTo>
                    <a:pt x="980" y="411"/>
                  </a:lnTo>
                  <a:lnTo>
                    <a:pt x="976" y="411"/>
                  </a:lnTo>
                  <a:lnTo>
                    <a:pt x="976" y="411"/>
                  </a:lnTo>
                  <a:lnTo>
                    <a:pt x="971" y="416"/>
                  </a:lnTo>
                  <a:lnTo>
                    <a:pt x="971" y="416"/>
                  </a:lnTo>
                  <a:lnTo>
                    <a:pt x="971" y="416"/>
                  </a:lnTo>
                  <a:lnTo>
                    <a:pt x="967" y="416"/>
                  </a:lnTo>
                  <a:lnTo>
                    <a:pt x="967" y="416"/>
                  </a:lnTo>
                  <a:lnTo>
                    <a:pt x="967" y="416"/>
                  </a:lnTo>
                  <a:lnTo>
                    <a:pt x="971" y="421"/>
                  </a:lnTo>
                  <a:lnTo>
                    <a:pt x="971" y="421"/>
                  </a:lnTo>
                  <a:lnTo>
                    <a:pt x="967" y="421"/>
                  </a:lnTo>
                  <a:close/>
                  <a:moveTo>
                    <a:pt x="1613" y="2523"/>
                  </a:moveTo>
                  <a:lnTo>
                    <a:pt x="1617" y="2523"/>
                  </a:lnTo>
                  <a:lnTo>
                    <a:pt x="1617" y="2523"/>
                  </a:lnTo>
                  <a:lnTo>
                    <a:pt x="1613" y="2518"/>
                  </a:lnTo>
                  <a:lnTo>
                    <a:pt x="1613" y="2518"/>
                  </a:lnTo>
                  <a:lnTo>
                    <a:pt x="1613" y="2518"/>
                  </a:lnTo>
                  <a:lnTo>
                    <a:pt x="1613" y="2518"/>
                  </a:lnTo>
                  <a:lnTo>
                    <a:pt x="1613" y="2518"/>
                  </a:lnTo>
                  <a:lnTo>
                    <a:pt x="1608" y="2514"/>
                  </a:lnTo>
                  <a:lnTo>
                    <a:pt x="1608" y="2514"/>
                  </a:lnTo>
                  <a:lnTo>
                    <a:pt x="1608" y="2514"/>
                  </a:lnTo>
                  <a:lnTo>
                    <a:pt x="1608" y="2514"/>
                  </a:lnTo>
                  <a:lnTo>
                    <a:pt x="1608" y="2514"/>
                  </a:lnTo>
                  <a:lnTo>
                    <a:pt x="1604" y="2509"/>
                  </a:lnTo>
                  <a:lnTo>
                    <a:pt x="1604" y="2509"/>
                  </a:lnTo>
                  <a:lnTo>
                    <a:pt x="1604" y="2509"/>
                  </a:lnTo>
                  <a:lnTo>
                    <a:pt x="1599" y="2509"/>
                  </a:lnTo>
                  <a:lnTo>
                    <a:pt x="1599" y="2514"/>
                  </a:lnTo>
                  <a:lnTo>
                    <a:pt x="1599" y="2514"/>
                  </a:lnTo>
                  <a:lnTo>
                    <a:pt x="1604" y="2514"/>
                  </a:lnTo>
                  <a:lnTo>
                    <a:pt x="1604" y="2518"/>
                  </a:lnTo>
                  <a:lnTo>
                    <a:pt x="1604" y="2518"/>
                  </a:lnTo>
                  <a:lnTo>
                    <a:pt x="1608" y="2518"/>
                  </a:lnTo>
                  <a:lnTo>
                    <a:pt x="1608" y="2518"/>
                  </a:lnTo>
                  <a:lnTo>
                    <a:pt x="1608" y="2523"/>
                  </a:lnTo>
                  <a:lnTo>
                    <a:pt x="1613" y="2523"/>
                  </a:lnTo>
                  <a:lnTo>
                    <a:pt x="1613" y="2523"/>
                  </a:lnTo>
                  <a:close/>
                  <a:moveTo>
                    <a:pt x="953" y="416"/>
                  </a:moveTo>
                  <a:lnTo>
                    <a:pt x="953" y="416"/>
                  </a:lnTo>
                  <a:lnTo>
                    <a:pt x="953" y="411"/>
                  </a:lnTo>
                  <a:lnTo>
                    <a:pt x="958" y="411"/>
                  </a:lnTo>
                  <a:lnTo>
                    <a:pt x="962" y="411"/>
                  </a:lnTo>
                  <a:lnTo>
                    <a:pt x="962" y="407"/>
                  </a:lnTo>
                  <a:lnTo>
                    <a:pt x="967" y="407"/>
                  </a:lnTo>
                  <a:lnTo>
                    <a:pt x="967" y="407"/>
                  </a:lnTo>
                  <a:lnTo>
                    <a:pt x="967" y="407"/>
                  </a:lnTo>
                  <a:lnTo>
                    <a:pt x="967" y="407"/>
                  </a:lnTo>
                  <a:lnTo>
                    <a:pt x="967" y="402"/>
                  </a:lnTo>
                  <a:lnTo>
                    <a:pt x="971" y="402"/>
                  </a:lnTo>
                  <a:lnTo>
                    <a:pt x="967" y="402"/>
                  </a:lnTo>
                  <a:lnTo>
                    <a:pt x="967" y="402"/>
                  </a:lnTo>
                  <a:lnTo>
                    <a:pt x="971" y="402"/>
                  </a:lnTo>
                  <a:lnTo>
                    <a:pt x="971" y="402"/>
                  </a:lnTo>
                  <a:lnTo>
                    <a:pt x="967" y="398"/>
                  </a:lnTo>
                  <a:lnTo>
                    <a:pt x="967" y="398"/>
                  </a:lnTo>
                  <a:lnTo>
                    <a:pt x="962" y="402"/>
                  </a:lnTo>
                  <a:lnTo>
                    <a:pt x="962" y="402"/>
                  </a:lnTo>
                  <a:lnTo>
                    <a:pt x="962" y="402"/>
                  </a:lnTo>
                  <a:lnTo>
                    <a:pt x="962" y="407"/>
                  </a:lnTo>
                  <a:lnTo>
                    <a:pt x="958" y="407"/>
                  </a:lnTo>
                  <a:lnTo>
                    <a:pt x="958" y="407"/>
                  </a:lnTo>
                  <a:lnTo>
                    <a:pt x="958" y="407"/>
                  </a:lnTo>
                  <a:lnTo>
                    <a:pt x="958" y="407"/>
                  </a:lnTo>
                  <a:lnTo>
                    <a:pt x="953" y="411"/>
                  </a:lnTo>
                  <a:lnTo>
                    <a:pt x="949" y="416"/>
                  </a:lnTo>
                  <a:lnTo>
                    <a:pt x="949" y="416"/>
                  </a:lnTo>
                  <a:lnTo>
                    <a:pt x="953" y="416"/>
                  </a:lnTo>
                  <a:lnTo>
                    <a:pt x="953" y="416"/>
                  </a:lnTo>
                  <a:lnTo>
                    <a:pt x="953" y="416"/>
                  </a:lnTo>
                  <a:lnTo>
                    <a:pt x="953" y="416"/>
                  </a:lnTo>
                  <a:close/>
                  <a:moveTo>
                    <a:pt x="1721" y="366"/>
                  </a:moveTo>
                  <a:lnTo>
                    <a:pt x="1721" y="366"/>
                  </a:lnTo>
                  <a:lnTo>
                    <a:pt x="1721" y="366"/>
                  </a:lnTo>
                  <a:lnTo>
                    <a:pt x="1717" y="366"/>
                  </a:lnTo>
                  <a:lnTo>
                    <a:pt x="1717" y="366"/>
                  </a:lnTo>
                  <a:lnTo>
                    <a:pt x="1717" y="366"/>
                  </a:lnTo>
                  <a:lnTo>
                    <a:pt x="1712" y="371"/>
                  </a:lnTo>
                  <a:lnTo>
                    <a:pt x="1708" y="371"/>
                  </a:lnTo>
                  <a:lnTo>
                    <a:pt x="1708" y="371"/>
                  </a:lnTo>
                  <a:lnTo>
                    <a:pt x="1708" y="371"/>
                  </a:lnTo>
                  <a:lnTo>
                    <a:pt x="1708" y="371"/>
                  </a:lnTo>
                  <a:lnTo>
                    <a:pt x="1703" y="375"/>
                  </a:lnTo>
                  <a:lnTo>
                    <a:pt x="1703" y="375"/>
                  </a:lnTo>
                  <a:lnTo>
                    <a:pt x="1703" y="375"/>
                  </a:lnTo>
                  <a:lnTo>
                    <a:pt x="1703" y="375"/>
                  </a:lnTo>
                  <a:lnTo>
                    <a:pt x="1708" y="380"/>
                  </a:lnTo>
                  <a:lnTo>
                    <a:pt x="1708" y="380"/>
                  </a:lnTo>
                  <a:lnTo>
                    <a:pt x="1708" y="380"/>
                  </a:lnTo>
                  <a:lnTo>
                    <a:pt x="1708" y="380"/>
                  </a:lnTo>
                  <a:lnTo>
                    <a:pt x="1708" y="380"/>
                  </a:lnTo>
                  <a:lnTo>
                    <a:pt x="1708" y="380"/>
                  </a:lnTo>
                  <a:lnTo>
                    <a:pt x="1712" y="380"/>
                  </a:lnTo>
                  <a:lnTo>
                    <a:pt x="1712" y="375"/>
                  </a:lnTo>
                  <a:lnTo>
                    <a:pt x="1717" y="375"/>
                  </a:lnTo>
                  <a:lnTo>
                    <a:pt x="1717" y="375"/>
                  </a:lnTo>
                  <a:lnTo>
                    <a:pt x="1717" y="371"/>
                  </a:lnTo>
                  <a:lnTo>
                    <a:pt x="1721" y="371"/>
                  </a:lnTo>
                  <a:lnTo>
                    <a:pt x="1721" y="371"/>
                  </a:lnTo>
                  <a:lnTo>
                    <a:pt x="1721" y="371"/>
                  </a:lnTo>
                  <a:lnTo>
                    <a:pt x="1721" y="366"/>
                  </a:lnTo>
                  <a:lnTo>
                    <a:pt x="1721" y="366"/>
                  </a:lnTo>
                  <a:lnTo>
                    <a:pt x="1721" y="366"/>
                  </a:lnTo>
                  <a:lnTo>
                    <a:pt x="1721" y="366"/>
                  </a:lnTo>
                  <a:close/>
                  <a:moveTo>
                    <a:pt x="1730" y="344"/>
                  </a:moveTo>
                  <a:lnTo>
                    <a:pt x="1730" y="339"/>
                  </a:lnTo>
                  <a:lnTo>
                    <a:pt x="1735" y="339"/>
                  </a:lnTo>
                  <a:lnTo>
                    <a:pt x="1730" y="339"/>
                  </a:lnTo>
                  <a:lnTo>
                    <a:pt x="1730" y="339"/>
                  </a:lnTo>
                  <a:lnTo>
                    <a:pt x="1730" y="339"/>
                  </a:lnTo>
                  <a:lnTo>
                    <a:pt x="1730" y="335"/>
                  </a:lnTo>
                  <a:lnTo>
                    <a:pt x="1730" y="335"/>
                  </a:lnTo>
                  <a:lnTo>
                    <a:pt x="1730" y="335"/>
                  </a:lnTo>
                  <a:lnTo>
                    <a:pt x="1730" y="335"/>
                  </a:lnTo>
                  <a:lnTo>
                    <a:pt x="1730" y="335"/>
                  </a:lnTo>
                  <a:lnTo>
                    <a:pt x="1730" y="335"/>
                  </a:lnTo>
                  <a:lnTo>
                    <a:pt x="1730" y="335"/>
                  </a:lnTo>
                  <a:lnTo>
                    <a:pt x="1726" y="335"/>
                  </a:lnTo>
                  <a:lnTo>
                    <a:pt x="1726" y="335"/>
                  </a:lnTo>
                  <a:lnTo>
                    <a:pt x="1721" y="335"/>
                  </a:lnTo>
                  <a:lnTo>
                    <a:pt x="1717" y="335"/>
                  </a:lnTo>
                  <a:lnTo>
                    <a:pt x="1717" y="335"/>
                  </a:lnTo>
                  <a:lnTo>
                    <a:pt x="1721" y="330"/>
                  </a:lnTo>
                  <a:lnTo>
                    <a:pt x="1721" y="330"/>
                  </a:lnTo>
                  <a:lnTo>
                    <a:pt x="1721" y="330"/>
                  </a:lnTo>
                  <a:lnTo>
                    <a:pt x="1721" y="330"/>
                  </a:lnTo>
                  <a:lnTo>
                    <a:pt x="1726" y="326"/>
                  </a:lnTo>
                  <a:lnTo>
                    <a:pt x="1726" y="326"/>
                  </a:lnTo>
                  <a:lnTo>
                    <a:pt x="1726" y="321"/>
                  </a:lnTo>
                  <a:lnTo>
                    <a:pt x="1726" y="321"/>
                  </a:lnTo>
                  <a:lnTo>
                    <a:pt x="1726" y="321"/>
                  </a:lnTo>
                  <a:lnTo>
                    <a:pt x="1721" y="321"/>
                  </a:lnTo>
                  <a:lnTo>
                    <a:pt x="1721" y="321"/>
                  </a:lnTo>
                  <a:lnTo>
                    <a:pt x="1717" y="317"/>
                  </a:lnTo>
                  <a:lnTo>
                    <a:pt x="1717" y="317"/>
                  </a:lnTo>
                  <a:lnTo>
                    <a:pt x="1717" y="317"/>
                  </a:lnTo>
                  <a:lnTo>
                    <a:pt x="1717" y="312"/>
                  </a:lnTo>
                  <a:lnTo>
                    <a:pt x="1717" y="312"/>
                  </a:lnTo>
                  <a:lnTo>
                    <a:pt x="1712" y="312"/>
                  </a:lnTo>
                  <a:lnTo>
                    <a:pt x="1712" y="312"/>
                  </a:lnTo>
                  <a:lnTo>
                    <a:pt x="1712" y="312"/>
                  </a:lnTo>
                  <a:lnTo>
                    <a:pt x="1712" y="308"/>
                  </a:lnTo>
                  <a:lnTo>
                    <a:pt x="1712" y="308"/>
                  </a:lnTo>
                  <a:lnTo>
                    <a:pt x="1712" y="308"/>
                  </a:lnTo>
                  <a:lnTo>
                    <a:pt x="1712" y="308"/>
                  </a:lnTo>
                  <a:lnTo>
                    <a:pt x="1708" y="308"/>
                  </a:lnTo>
                  <a:lnTo>
                    <a:pt x="1708" y="308"/>
                  </a:lnTo>
                  <a:lnTo>
                    <a:pt x="1703" y="308"/>
                  </a:lnTo>
                  <a:lnTo>
                    <a:pt x="1703" y="308"/>
                  </a:lnTo>
                  <a:lnTo>
                    <a:pt x="1703" y="308"/>
                  </a:lnTo>
                  <a:lnTo>
                    <a:pt x="1703" y="308"/>
                  </a:lnTo>
                  <a:lnTo>
                    <a:pt x="1703" y="308"/>
                  </a:lnTo>
                  <a:lnTo>
                    <a:pt x="1703" y="303"/>
                  </a:lnTo>
                  <a:lnTo>
                    <a:pt x="1703" y="303"/>
                  </a:lnTo>
                  <a:lnTo>
                    <a:pt x="1703" y="303"/>
                  </a:lnTo>
                  <a:lnTo>
                    <a:pt x="1703" y="303"/>
                  </a:lnTo>
                  <a:lnTo>
                    <a:pt x="1708" y="303"/>
                  </a:lnTo>
                  <a:lnTo>
                    <a:pt x="1708" y="298"/>
                  </a:lnTo>
                  <a:lnTo>
                    <a:pt x="1708" y="298"/>
                  </a:lnTo>
                  <a:lnTo>
                    <a:pt x="1708" y="298"/>
                  </a:lnTo>
                  <a:lnTo>
                    <a:pt x="1708" y="298"/>
                  </a:lnTo>
                  <a:lnTo>
                    <a:pt x="1708" y="298"/>
                  </a:lnTo>
                  <a:lnTo>
                    <a:pt x="1708" y="298"/>
                  </a:lnTo>
                  <a:lnTo>
                    <a:pt x="1708" y="294"/>
                  </a:lnTo>
                  <a:lnTo>
                    <a:pt x="1703" y="298"/>
                  </a:lnTo>
                  <a:lnTo>
                    <a:pt x="1703" y="298"/>
                  </a:lnTo>
                  <a:lnTo>
                    <a:pt x="1699" y="298"/>
                  </a:lnTo>
                  <a:lnTo>
                    <a:pt x="1694" y="303"/>
                  </a:lnTo>
                  <a:lnTo>
                    <a:pt x="1694" y="303"/>
                  </a:lnTo>
                  <a:lnTo>
                    <a:pt x="1690" y="303"/>
                  </a:lnTo>
                  <a:lnTo>
                    <a:pt x="1685" y="312"/>
                  </a:lnTo>
                  <a:lnTo>
                    <a:pt x="1681" y="312"/>
                  </a:lnTo>
                  <a:lnTo>
                    <a:pt x="1676" y="317"/>
                  </a:lnTo>
                  <a:lnTo>
                    <a:pt x="1676" y="321"/>
                  </a:lnTo>
                  <a:lnTo>
                    <a:pt x="1672" y="321"/>
                  </a:lnTo>
                  <a:lnTo>
                    <a:pt x="1672" y="326"/>
                  </a:lnTo>
                  <a:lnTo>
                    <a:pt x="1672" y="326"/>
                  </a:lnTo>
                  <a:lnTo>
                    <a:pt x="1667" y="326"/>
                  </a:lnTo>
                  <a:lnTo>
                    <a:pt x="1667" y="330"/>
                  </a:lnTo>
                  <a:lnTo>
                    <a:pt x="1667" y="330"/>
                  </a:lnTo>
                  <a:lnTo>
                    <a:pt x="1667" y="330"/>
                  </a:lnTo>
                  <a:lnTo>
                    <a:pt x="1658" y="330"/>
                  </a:lnTo>
                  <a:lnTo>
                    <a:pt x="1658" y="330"/>
                  </a:lnTo>
                  <a:lnTo>
                    <a:pt x="1653" y="335"/>
                  </a:lnTo>
                  <a:lnTo>
                    <a:pt x="1649" y="335"/>
                  </a:lnTo>
                  <a:lnTo>
                    <a:pt x="1649" y="335"/>
                  </a:lnTo>
                  <a:lnTo>
                    <a:pt x="1649" y="335"/>
                  </a:lnTo>
                  <a:lnTo>
                    <a:pt x="1649" y="339"/>
                  </a:lnTo>
                  <a:lnTo>
                    <a:pt x="1649" y="339"/>
                  </a:lnTo>
                  <a:lnTo>
                    <a:pt x="1649" y="339"/>
                  </a:lnTo>
                  <a:lnTo>
                    <a:pt x="1649" y="339"/>
                  </a:lnTo>
                  <a:lnTo>
                    <a:pt x="1653" y="339"/>
                  </a:lnTo>
                  <a:lnTo>
                    <a:pt x="1658" y="335"/>
                  </a:lnTo>
                  <a:lnTo>
                    <a:pt x="1658" y="335"/>
                  </a:lnTo>
                  <a:lnTo>
                    <a:pt x="1667" y="335"/>
                  </a:lnTo>
                  <a:lnTo>
                    <a:pt x="1667" y="335"/>
                  </a:lnTo>
                  <a:lnTo>
                    <a:pt x="1667" y="335"/>
                  </a:lnTo>
                  <a:lnTo>
                    <a:pt x="1667" y="339"/>
                  </a:lnTo>
                  <a:lnTo>
                    <a:pt x="1663" y="344"/>
                  </a:lnTo>
                  <a:lnTo>
                    <a:pt x="1663" y="348"/>
                  </a:lnTo>
                  <a:lnTo>
                    <a:pt x="1663" y="348"/>
                  </a:lnTo>
                  <a:lnTo>
                    <a:pt x="1663" y="348"/>
                  </a:lnTo>
                  <a:lnTo>
                    <a:pt x="1667" y="348"/>
                  </a:lnTo>
                  <a:lnTo>
                    <a:pt x="1672" y="344"/>
                  </a:lnTo>
                  <a:lnTo>
                    <a:pt x="1676" y="344"/>
                  </a:lnTo>
                  <a:lnTo>
                    <a:pt x="1676" y="344"/>
                  </a:lnTo>
                  <a:lnTo>
                    <a:pt x="1676" y="344"/>
                  </a:lnTo>
                  <a:lnTo>
                    <a:pt x="1681" y="339"/>
                  </a:lnTo>
                  <a:lnTo>
                    <a:pt x="1681" y="339"/>
                  </a:lnTo>
                  <a:lnTo>
                    <a:pt x="1685" y="339"/>
                  </a:lnTo>
                  <a:lnTo>
                    <a:pt x="1685" y="339"/>
                  </a:lnTo>
                  <a:lnTo>
                    <a:pt x="1685" y="339"/>
                  </a:lnTo>
                  <a:lnTo>
                    <a:pt x="1694" y="335"/>
                  </a:lnTo>
                  <a:lnTo>
                    <a:pt x="1694" y="335"/>
                  </a:lnTo>
                  <a:lnTo>
                    <a:pt x="1694" y="335"/>
                  </a:lnTo>
                  <a:lnTo>
                    <a:pt x="1699" y="335"/>
                  </a:lnTo>
                  <a:lnTo>
                    <a:pt x="1699" y="330"/>
                  </a:lnTo>
                  <a:lnTo>
                    <a:pt x="1699" y="330"/>
                  </a:lnTo>
                  <a:lnTo>
                    <a:pt x="1703" y="330"/>
                  </a:lnTo>
                  <a:lnTo>
                    <a:pt x="1703" y="330"/>
                  </a:lnTo>
                  <a:lnTo>
                    <a:pt x="1708" y="330"/>
                  </a:lnTo>
                  <a:lnTo>
                    <a:pt x="1708" y="330"/>
                  </a:lnTo>
                  <a:lnTo>
                    <a:pt x="1703" y="330"/>
                  </a:lnTo>
                  <a:lnTo>
                    <a:pt x="1703" y="335"/>
                  </a:lnTo>
                  <a:lnTo>
                    <a:pt x="1703" y="335"/>
                  </a:lnTo>
                  <a:lnTo>
                    <a:pt x="1708" y="335"/>
                  </a:lnTo>
                  <a:lnTo>
                    <a:pt x="1708" y="335"/>
                  </a:lnTo>
                  <a:lnTo>
                    <a:pt x="1708" y="339"/>
                  </a:lnTo>
                  <a:lnTo>
                    <a:pt x="1708" y="339"/>
                  </a:lnTo>
                  <a:lnTo>
                    <a:pt x="1708" y="339"/>
                  </a:lnTo>
                  <a:lnTo>
                    <a:pt x="1712" y="339"/>
                  </a:lnTo>
                  <a:lnTo>
                    <a:pt x="1717" y="344"/>
                  </a:lnTo>
                  <a:lnTo>
                    <a:pt x="1717" y="344"/>
                  </a:lnTo>
                  <a:lnTo>
                    <a:pt x="1721" y="344"/>
                  </a:lnTo>
                  <a:lnTo>
                    <a:pt x="1721" y="344"/>
                  </a:lnTo>
                  <a:lnTo>
                    <a:pt x="1721" y="344"/>
                  </a:lnTo>
                  <a:lnTo>
                    <a:pt x="1726" y="344"/>
                  </a:lnTo>
                  <a:lnTo>
                    <a:pt x="1730" y="344"/>
                  </a:lnTo>
                  <a:close/>
                  <a:moveTo>
                    <a:pt x="940" y="552"/>
                  </a:moveTo>
                  <a:lnTo>
                    <a:pt x="940" y="552"/>
                  </a:lnTo>
                  <a:lnTo>
                    <a:pt x="940" y="547"/>
                  </a:lnTo>
                  <a:lnTo>
                    <a:pt x="940" y="547"/>
                  </a:lnTo>
                  <a:lnTo>
                    <a:pt x="940" y="543"/>
                  </a:lnTo>
                  <a:lnTo>
                    <a:pt x="940" y="543"/>
                  </a:lnTo>
                  <a:lnTo>
                    <a:pt x="944" y="538"/>
                  </a:lnTo>
                  <a:lnTo>
                    <a:pt x="944" y="538"/>
                  </a:lnTo>
                  <a:lnTo>
                    <a:pt x="944" y="538"/>
                  </a:lnTo>
                  <a:lnTo>
                    <a:pt x="940" y="538"/>
                  </a:lnTo>
                  <a:lnTo>
                    <a:pt x="940" y="534"/>
                  </a:lnTo>
                  <a:lnTo>
                    <a:pt x="935" y="534"/>
                  </a:lnTo>
                  <a:lnTo>
                    <a:pt x="931" y="534"/>
                  </a:lnTo>
                  <a:lnTo>
                    <a:pt x="926" y="529"/>
                  </a:lnTo>
                  <a:lnTo>
                    <a:pt x="922" y="525"/>
                  </a:lnTo>
                  <a:lnTo>
                    <a:pt x="922" y="525"/>
                  </a:lnTo>
                  <a:lnTo>
                    <a:pt x="917" y="525"/>
                  </a:lnTo>
                  <a:lnTo>
                    <a:pt x="917" y="525"/>
                  </a:lnTo>
                  <a:lnTo>
                    <a:pt x="917" y="525"/>
                  </a:lnTo>
                  <a:lnTo>
                    <a:pt x="913" y="525"/>
                  </a:lnTo>
                  <a:lnTo>
                    <a:pt x="913" y="525"/>
                  </a:lnTo>
                  <a:lnTo>
                    <a:pt x="913" y="529"/>
                  </a:lnTo>
                  <a:lnTo>
                    <a:pt x="913" y="529"/>
                  </a:lnTo>
                  <a:lnTo>
                    <a:pt x="913" y="529"/>
                  </a:lnTo>
                  <a:lnTo>
                    <a:pt x="913" y="529"/>
                  </a:lnTo>
                  <a:lnTo>
                    <a:pt x="917" y="529"/>
                  </a:lnTo>
                  <a:lnTo>
                    <a:pt x="917" y="529"/>
                  </a:lnTo>
                  <a:lnTo>
                    <a:pt x="917" y="529"/>
                  </a:lnTo>
                  <a:lnTo>
                    <a:pt x="917" y="529"/>
                  </a:lnTo>
                  <a:lnTo>
                    <a:pt x="922" y="529"/>
                  </a:lnTo>
                  <a:lnTo>
                    <a:pt x="922" y="529"/>
                  </a:lnTo>
                  <a:lnTo>
                    <a:pt x="922" y="529"/>
                  </a:lnTo>
                  <a:lnTo>
                    <a:pt x="922" y="529"/>
                  </a:lnTo>
                  <a:lnTo>
                    <a:pt x="917" y="534"/>
                  </a:lnTo>
                  <a:lnTo>
                    <a:pt x="917" y="534"/>
                  </a:lnTo>
                  <a:lnTo>
                    <a:pt x="917" y="529"/>
                  </a:lnTo>
                  <a:lnTo>
                    <a:pt x="917" y="529"/>
                  </a:lnTo>
                  <a:lnTo>
                    <a:pt x="917" y="529"/>
                  </a:lnTo>
                  <a:lnTo>
                    <a:pt x="913" y="529"/>
                  </a:lnTo>
                  <a:lnTo>
                    <a:pt x="913" y="529"/>
                  </a:lnTo>
                  <a:lnTo>
                    <a:pt x="913" y="534"/>
                  </a:lnTo>
                  <a:lnTo>
                    <a:pt x="913" y="534"/>
                  </a:lnTo>
                  <a:lnTo>
                    <a:pt x="913" y="534"/>
                  </a:lnTo>
                  <a:lnTo>
                    <a:pt x="913" y="534"/>
                  </a:lnTo>
                  <a:lnTo>
                    <a:pt x="913" y="534"/>
                  </a:lnTo>
                  <a:lnTo>
                    <a:pt x="908" y="538"/>
                  </a:lnTo>
                  <a:lnTo>
                    <a:pt x="908" y="538"/>
                  </a:lnTo>
                  <a:lnTo>
                    <a:pt x="908" y="538"/>
                  </a:lnTo>
                  <a:lnTo>
                    <a:pt x="908" y="538"/>
                  </a:lnTo>
                  <a:lnTo>
                    <a:pt x="913" y="538"/>
                  </a:lnTo>
                  <a:lnTo>
                    <a:pt x="913" y="538"/>
                  </a:lnTo>
                  <a:lnTo>
                    <a:pt x="913" y="538"/>
                  </a:lnTo>
                  <a:lnTo>
                    <a:pt x="913" y="538"/>
                  </a:lnTo>
                  <a:lnTo>
                    <a:pt x="913" y="538"/>
                  </a:lnTo>
                  <a:lnTo>
                    <a:pt x="913" y="538"/>
                  </a:lnTo>
                  <a:lnTo>
                    <a:pt x="917" y="538"/>
                  </a:lnTo>
                  <a:lnTo>
                    <a:pt x="917" y="538"/>
                  </a:lnTo>
                  <a:lnTo>
                    <a:pt x="917" y="538"/>
                  </a:lnTo>
                  <a:lnTo>
                    <a:pt x="917" y="538"/>
                  </a:lnTo>
                  <a:lnTo>
                    <a:pt x="917" y="538"/>
                  </a:lnTo>
                  <a:lnTo>
                    <a:pt x="917" y="538"/>
                  </a:lnTo>
                  <a:lnTo>
                    <a:pt x="917" y="538"/>
                  </a:lnTo>
                  <a:lnTo>
                    <a:pt x="913" y="543"/>
                  </a:lnTo>
                  <a:lnTo>
                    <a:pt x="913" y="543"/>
                  </a:lnTo>
                  <a:lnTo>
                    <a:pt x="913" y="543"/>
                  </a:lnTo>
                  <a:lnTo>
                    <a:pt x="913" y="543"/>
                  </a:lnTo>
                  <a:lnTo>
                    <a:pt x="913" y="543"/>
                  </a:lnTo>
                  <a:lnTo>
                    <a:pt x="917" y="543"/>
                  </a:lnTo>
                  <a:lnTo>
                    <a:pt x="917" y="543"/>
                  </a:lnTo>
                  <a:lnTo>
                    <a:pt x="917" y="543"/>
                  </a:lnTo>
                  <a:lnTo>
                    <a:pt x="917" y="543"/>
                  </a:lnTo>
                  <a:lnTo>
                    <a:pt x="917" y="543"/>
                  </a:lnTo>
                  <a:lnTo>
                    <a:pt x="917" y="543"/>
                  </a:lnTo>
                  <a:lnTo>
                    <a:pt x="917" y="543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22" y="547"/>
                  </a:lnTo>
                  <a:lnTo>
                    <a:pt x="922" y="547"/>
                  </a:lnTo>
                  <a:lnTo>
                    <a:pt x="922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7" y="552"/>
                  </a:lnTo>
                  <a:lnTo>
                    <a:pt x="913" y="552"/>
                  </a:lnTo>
                  <a:lnTo>
                    <a:pt x="913" y="552"/>
                  </a:lnTo>
                  <a:lnTo>
                    <a:pt x="913" y="552"/>
                  </a:lnTo>
                  <a:lnTo>
                    <a:pt x="913" y="552"/>
                  </a:lnTo>
                  <a:lnTo>
                    <a:pt x="913" y="552"/>
                  </a:lnTo>
                  <a:lnTo>
                    <a:pt x="913" y="552"/>
                  </a:lnTo>
                  <a:lnTo>
                    <a:pt x="917" y="552"/>
                  </a:lnTo>
                  <a:lnTo>
                    <a:pt x="917" y="552"/>
                  </a:lnTo>
                  <a:lnTo>
                    <a:pt x="917" y="552"/>
                  </a:lnTo>
                  <a:lnTo>
                    <a:pt x="917" y="552"/>
                  </a:lnTo>
                  <a:lnTo>
                    <a:pt x="917" y="552"/>
                  </a:lnTo>
                  <a:lnTo>
                    <a:pt x="917" y="552"/>
                  </a:lnTo>
                  <a:lnTo>
                    <a:pt x="917" y="552"/>
                  </a:lnTo>
                  <a:lnTo>
                    <a:pt x="917" y="556"/>
                  </a:lnTo>
                  <a:lnTo>
                    <a:pt x="917" y="556"/>
                  </a:lnTo>
                  <a:lnTo>
                    <a:pt x="922" y="556"/>
                  </a:lnTo>
                  <a:lnTo>
                    <a:pt x="922" y="556"/>
                  </a:lnTo>
                  <a:lnTo>
                    <a:pt x="917" y="556"/>
                  </a:lnTo>
                  <a:lnTo>
                    <a:pt x="917" y="556"/>
                  </a:lnTo>
                  <a:lnTo>
                    <a:pt x="917" y="556"/>
                  </a:lnTo>
                  <a:lnTo>
                    <a:pt x="917" y="556"/>
                  </a:lnTo>
                  <a:lnTo>
                    <a:pt x="922" y="556"/>
                  </a:lnTo>
                  <a:lnTo>
                    <a:pt x="922" y="556"/>
                  </a:lnTo>
                  <a:lnTo>
                    <a:pt x="922" y="556"/>
                  </a:lnTo>
                  <a:lnTo>
                    <a:pt x="922" y="556"/>
                  </a:lnTo>
                  <a:lnTo>
                    <a:pt x="922" y="561"/>
                  </a:lnTo>
                  <a:lnTo>
                    <a:pt x="917" y="561"/>
                  </a:lnTo>
                  <a:lnTo>
                    <a:pt x="917" y="561"/>
                  </a:lnTo>
                  <a:lnTo>
                    <a:pt x="917" y="561"/>
                  </a:lnTo>
                  <a:lnTo>
                    <a:pt x="917" y="561"/>
                  </a:lnTo>
                  <a:lnTo>
                    <a:pt x="917" y="565"/>
                  </a:lnTo>
                  <a:lnTo>
                    <a:pt x="917" y="565"/>
                  </a:lnTo>
                  <a:lnTo>
                    <a:pt x="917" y="565"/>
                  </a:lnTo>
                  <a:lnTo>
                    <a:pt x="922" y="561"/>
                  </a:lnTo>
                  <a:lnTo>
                    <a:pt x="922" y="565"/>
                  </a:lnTo>
                  <a:lnTo>
                    <a:pt x="926" y="561"/>
                  </a:lnTo>
                  <a:lnTo>
                    <a:pt x="926" y="561"/>
                  </a:lnTo>
                  <a:lnTo>
                    <a:pt x="931" y="561"/>
                  </a:lnTo>
                  <a:lnTo>
                    <a:pt x="931" y="561"/>
                  </a:lnTo>
                  <a:lnTo>
                    <a:pt x="931" y="561"/>
                  </a:lnTo>
                  <a:lnTo>
                    <a:pt x="931" y="561"/>
                  </a:lnTo>
                  <a:lnTo>
                    <a:pt x="931" y="561"/>
                  </a:lnTo>
                  <a:lnTo>
                    <a:pt x="931" y="561"/>
                  </a:lnTo>
                  <a:lnTo>
                    <a:pt x="926" y="561"/>
                  </a:lnTo>
                  <a:lnTo>
                    <a:pt x="926" y="565"/>
                  </a:lnTo>
                  <a:lnTo>
                    <a:pt x="922" y="565"/>
                  </a:lnTo>
                  <a:lnTo>
                    <a:pt x="922" y="565"/>
                  </a:lnTo>
                  <a:lnTo>
                    <a:pt x="922" y="565"/>
                  </a:lnTo>
                  <a:lnTo>
                    <a:pt x="922" y="570"/>
                  </a:lnTo>
                  <a:lnTo>
                    <a:pt x="922" y="570"/>
                  </a:lnTo>
                  <a:lnTo>
                    <a:pt x="922" y="570"/>
                  </a:lnTo>
                  <a:lnTo>
                    <a:pt x="926" y="574"/>
                  </a:lnTo>
                  <a:lnTo>
                    <a:pt x="926" y="574"/>
                  </a:lnTo>
                  <a:lnTo>
                    <a:pt x="931" y="574"/>
                  </a:lnTo>
                  <a:lnTo>
                    <a:pt x="931" y="579"/>
                  </a:lnTo>
                  <a:lnTo>
                    <a:pt x="931" y="579"/>
                  </a:lnTo>
                  <a:lnTo>
                    <a:pt x="935" y="579"/>
                  </a:lnTo>
                  <a:lnTo>
                    <a:pt x="935" y="579"/>
                  </a:lnTo>
                  <a:lnTo>
                    <a:pt x="935" y="574"/>
                  </a:lnTo>
                  <a:lnTo>
                    <a:pt x="935" y="579"/>
                  </a:lnTo>
                  <a:lnTo>
                    <a:pt x="940" y="579"/>
                  </a:lnTo>
                  <a:lnTo>
                    <a:pt x="940" y="574"/>
                  </a:lnTo>
                  <a:lnTo>
                    <a:pt x="940" y="574"/>
                  </a:lnTo>
                  <a:lnTo>
                    <a:pt x="940" y="570"/>
                  </a:lnTo>
                  <a:lnTo>
                    <a:pt x="940" y="570"/>
                  </a:lnTo>
                  <a:lnTo>
                    <a:pt x="940" y="570"/>
                  </a:lnTo>
                  <a:lnTo>
                    <a:pt x="940" y="570"/>
                  </a:lnTo>
                  <a:lnTo>
                    <a:pt x="940" y="574"/>
                  </a:lnTo>
                  <a:lnTo>
                    <a:pt x="940" y="574"/>
                  </a:lnTo>
                  <a:lnTo>
                    <a:pt x="940" y="570"/>
                  </a:lnTo>
                  <a:lnTo>
                    <a:pt x="940" y="565"/>
                  </a:lnTo>
                  <a:lnTo>
                    <a:pt x="944" y="565"/>
                  </a:lnTo>
                  <a:lnTo>
                    <a:pt x="944" y="561"/>
                  </a:lnTo>
                  <a:lnTo>
                    <a:pt x="944" y="561"/>
                  </a:lnTo>
                  <a:lnTo>
                    <a:pt x="944" y="561"/>
                  </a:lnTo>
                  <a:lnTo>
                    <a:pt x="940" y="561"/>
                  </a:lnTo>
                  <a:lnTo>
                    <a:pt x="940" y="556"/>
                  </a:lnTo>
                  <a:lnTo>
                    <a:pt x="940" y="556"/>
                  </a:lnTo>
                  <a:lnTo>
                    <a:pt x="935" y="552"/>
                  </a:lnTo>
                  <a:lnTo>
                    <a:pt x="940" y="552"/>
                  </a:lnTo>
                  <a:lnTo>
                    <a:pt x="940" y="552"/>
                  </a:lnTo>
                  <a:close/>
                  <a:moveTo>
                    <a:pt x="967" y="434"/>
                  </a:moveTo>
                  <a:lnTo>
                    <a:pt x="971" y="434"/>
                  </a:lnTo>
                  <a:lnTo>
                    <a:pt x="971" y="434"/>
                  </a:lnTo>
                  <a:lnTo>
                    <a:pt x="976" y="430"/>
                  </a:lnTo>
                  <a:lnTo>
                    <a:pt x="976" y="430"/>
                  </a:lnTo>
                  <a:lnTo>
                    <a:pt x="980" y="430"/>
                  </a:lnTo>
                  <a:lnTo>
                    <a:pt x="980" y="425"/>
                  </a:lnTo>
                  <a:lnTo>
                    <a:pt x="980" y="425"/>
                  </a:lnTo>
                  <a:lnTo>
                    <a:pt x="980" y="421"/>
                  </a:lnTo>
                  <a:lnTo>
                    <a:pt x="980" y="421"/>
                  </a:lnTo>
                  <a:lnTo>
                    <a:pt x="976" y="425"/>
                  </a:lnTo>
                  <a:lnTo>
                    <a:pt x="971" y="430"/>
                  </a:lnTo>
                  <a:lnTo>
                    <a:pt x="967" y="430"/>
                  </a:lnTo>
                  <a:lnTo>
                    <a:pt x="962" y="430"/>
                  </a:lnTo>
                  <a:lnTo>
                    <a:pt x="962" y="434"/>
                  </a:lnTo>
                  <a:lnTo>
                    <a:pt x="958" y="434"/>
                  </a:lnTo>
                  <a:lnTo>
                    <a:pt x="958" y="434"/>
                  </a:lnTo>
                  <a:lnTo>
                    <a:pt x="962" y="434"/>
                  </a:lnTo>
                  <a:lnTo>
                    <a:pt x="962" y="434"/>
                  </a:lnTo>
                  <a:lnTo>
                    <a:pt x="967" y="434"/>
                  </a:lnTo>
                  <a:lnTo>
                    <a:pt x="967" y="434"/>
                  </a:lnTo>
                  <a:lnTo>
                    <a:pt x="967" y="434"/>
                  </a:lnTo>
                  <a:lnTo>
                    <a:pt x="967" y="434"/>
                  </a:lnTo>
                  <a:lnTo>
                    <a:pt x="967" y="434"/>
                  </a:lnTo>
                  <a:lnTo>
                    <a:pt x="967" y="434"/>
                  </a:lnTo>
                  <a:lnTo>
                    <a:pt x="967" y="434"/>
                  </a:lnTo>
                  <a:lnTo>
                    <a:pt x="967" y="434"/>
                  </a:lnTo>
                  <a:lnTo>
                    <a:pt x="967" y="434"/>
                  </a:lnTo>
                  <a:lnTo>
                    <a:pt x="967" y="434"/>
                  </a:lnTo>
                  <a:close/>
                  <a:moveTo>
                    <a:pt x="1780" y="2650"/>
                  </a:moveTo>
                  <a:lnTo>
                    <a:pt x="1780" y="2650"/>
                  </a:lnTo>
                  <a:lnTo>
                    <a:pt x="1780" y="2645"/>
                  </a:lnTo>
                  <a:lnTo>
                    <a:pt x="1775" y="2645"/>
                  </a:lnTo>
                  <a:lnTo>
                    <a:pt x="1775" y="2645"/>
                  </a:lnTo>
                  <a:lnTo>
                    <a:pt x="1775" y="2645"/>
                  </a:lnTo>
                  <a:lnTo>
                    <a:pt x="1775" y="2645"/>
                  </a:lnTo>
                  <a:lnTo>
                    <a:pt x="1771" y="2645"/>
                  </a:lnTo>
                  <a:lnTo>
                    <a:pt x="1771" y="2640"/>
                  </a:lnTo>
                  <a:lnTo>
                    <a:pt x="1771" y="2640"/>
                  </a:lnTo>
                  <a:lnTo>
                    <a:pt x="1766" y="2640"/>
                  </a:lnTo>
                  <a:lnTo>
                    <a:pt x="1766" y="2640"/>
                  </a:lnTo>
                  <a:lnTo>
                    <a:pt x="1771" y="2640"/>
                  </a:lnTo>
                  <a:lnTo>
                    <a:pt x="1766" y="2636"/>
                  </a:lnTo>
                  <a:lnTo>
                    <a:pt x="1766" y="2640"/>
                  </a:lnTo>
                  <a:lnTo>
                    <a:pt x="1762" y="2640"/>
                  </a:lnTo>
                  <a:lnTo>
                    <a:pt x="1753" y="2640"/>
                  </a:lnTo>
                  <a:lnTo>
                    <a:pt x="1748" y="2636"/>
                  </a:lnTo>
                  <a:lnTo>
                    <a:pt x="1748" y="2640"/>
                  </a:lnTo>
                  <a:lnTo>
                    <a:pt x="1748" y="2640"/>
                  </a:lnTo>
                  <a:lnTo>
                    <a:pt x="1748" y="2640"/>
                  </a:lnTo>
                  <a:lnTo>
                    <a:pt x="1748" y="2645"/>
                  </a:lnTo>
                  <a:lnTo>
                    <a:pt x="1753" y="2645"/>
                  </a:lnTo>
                  <a:lnTo>
                    <a:pt x="1753" y="2645"/>
                  </a:lnTo>
                  <a:lnTo>
                    <a:pt x="1753" y="2645"/>
                  </a:lnTo>
                  <a:lnTo>
                    <a:pt x="1753" y="2645"/>
                  </a:lnTo>
                  <a:lnTo>
                    <a:pt x="1753" y="2645"/>
                  </a:lnTo>
                  <a:lnTo>
                    <a:pt x="1757" y="2645"/>
                  </a:lnTo>
                  <a:lnTo>
                    <a:pt x="1757" y="2645"/>
                  </a:lnTo>
                  <a:lnTo>
                    <a:pt x="1757" y="2645"/>
                  </a:lnTo>
                  <a:lnTo>
                    <a:pt x="1757" y="2645"/>
                  </a:lnTo>
                  <a:lnTo>
                    <a:pt x="1757" y="2645"/>
                  </a:lnTo>
                  <a:lnTo>
                    <a:pt x="1762" y="2650"/>
                  </a:lnTo>
                  <a:lnTo>
                    <a:pt x="1762" y="2650"/>
                  </a:lnTo>
                  <a:lnTo>
                    <a:pt x="1762" y="2650"/>
                  </a:lnTo>
                  <a:lnTo>
                    <a:pt x="1766" y="2650"/>
                  </a:lnTo>
                  <a:lnTo>
                    <a:pt x="1762" y="2645"/>
                  </a:lnTo>
                  <a:lnTo>
                    <a:pt x="1762" y="2645"/>
                  </a:lnTo>
                  <a:lnTo>
                    <a:pt x="1762" y="2645"/>
                  </a:lnTo>
                  <a:lnTo>
                    <a:pt x="1757" y="2640"/>
                  </a:lnTo>
                  <a:lnTo>
                    <a:pt x="1762" y="2640"/>
                  </a:lnTo>
                  <a:lnTo>
                    <a:pt x="1762" y="2645"/>
                  </a:lnTo>
                  <a:lnTo>
                    <a:pt x="1762" y="2645"/>
                  </a:lnTo>
                  <a:lnTo>
                    <a:pt x="1766" y="2645"/>
                  </a:lnTo>
                  <a:lnTo>
                    <a:pt x="1766" y="2645"/>
                  </a:lnTo>
                  <a:lnTo>
                    <a:pt x="1766" y="2645"/>
                  </a:lnTo>
                  <a:lnTo>
                    <a:pt x="1766" y="2645"/>
                  </a:lnTo>
                  <a:lnTo>
                    <a:pt x="1766" y="2645"/>
                  </a:lnTo>
                  <a:lnTo>
                    <a:pt x="1766" y="2645"/>
                  </a:lnTo>
                  <a:lnTo>
                    <a:pt x="1766" y="2645"/>
                  </a:lnTo>
                  <a:lnTo>
                    <a:pt x="1766" y="2650"/>
                  </a:lnTo>
                  <a:lnTo>
                    <a:pt x="1771" y="2650"/>
                  </a:lnTo>
                  <a:lnTo>
                    <a:pt x="1771" y="2650"/>
                  </a:lnTo>
                  <a:lnTo>
                    <a:pt x="1771" y="2650"/>
                  </a:lnTo>
                  <a:lnTo>
                    <a:pt x="1775" y="2650"/>
                  </a:lnTo>
                  <a:lnTo>
                    <a:pt x="1775" y="2650"/>
                  </a:lnTo>
                  <a:lnTo>
                    <a:pt x="1775" y="2650"/>
                  </a:lnTo>
                  <a:lnTo>
                    <a:pt x="1780" y="2650"/>
                  </a:lnTo>
                  <a:lnTo>
                    <a:pt x="1780" y="2650"/>
                  </a:lnTo>
                  <a:lnTo>
                    <a:pt x="1780" y="2650"/>
                  </a:lnTo>
                  <a:lnTo>
                    <a:pt x="1780" y="2650"/>
                  </a:lnTo>
                  <a:lnTo>
                    <a:pt x="1780" y="2650"/>
                  </a:lnTo>
                  <a:lnTo>
                    <a:pt x="1780" y="2650"/>
                  </a:lnTo>
                  <a:close/>
                  <a:moveTo>
                    <a:pt x="1703" y="2618"/>
                  </a:moveTo>
                  <a:lnTo>
                    <a:pt x="1703" y="2618"/>
                  </a:lnTo>
                  <a:lnTo>
                    <a:pt x="1699" y="2618"/>
                  </a:lnTo>
                  <a:lnTo>
                    <a:pt x="1699" y="2613"/>
                  </a:lnTo>
                  <a:lnTo>
                    <a:pt x="1694" y="2613"/>
                  </a:lnTo>
                  <a:lnTo>
                    <a:pt x="1694" y="2613"/>
                  </a:lnTo>
                  <a:lnTo>
                    <a:pt x="1694" y="2618"/>
                  </a:lnTo>
                  <a:lnTo>
                    <a:pt x="1694" y="2613"/>
                  </a:lnTo>
                  <a:lnTo>
                    <a:pt x="1690" y="2613"/>
                  </a:lnTo>
                  <a:lnTo>
                    <a:pt x="1690" y="2613"/>
                  </a:lnTo>
                  <a:lnTo>
                    <a:pt x="1690" y="2613"/>
                  </a:lnTo>
                  <a:lnTo>
                    <a:pt x="1690" y="2613"/>
                  </a:lnTo>
                  <a:lnTo>
                    <a:pt x="1690" y="2613"/>
                  </a:lnTo>
                  <a:lnTo>
                    <a:pt x="1690" y="2613"/>
                  </a:lnTo>
                  <a:lnTo>
                    <a:pt x="1690" y="2613"/>
                  </a:lnTo>
                  <a:lnTo>
                    <a:pt x="1690" y="2613"/>
                  </a:lnTo>
                  <a:lnTo>
                    <a:pt x="1690" y="2613"/>
                  </a:lnTo>
                  <a:lnTo>
                    <a:pt x="1685" y="2613"/>
                  </a:lnTo>
                  <a:lnTo>
                    <a:pt x="1685" y="2613"/>
                  </a:lnTo>
                  <a:lnTo>
                    <a:pt x="1681" y="2613"/>
                  </a:lnTo>
                  <a:lnTo>
                    <a:pt x="1681" y="2618"/>
                  </a:lnTo>
                  <a:lnTo>
                    <a:pt x="1681" y="2618"/>
                  </a:lnTo>
                  <a:lnTo>
                    <a:pt x="1685" y="2618"/>
                  </a:lnTo>
                  <a:lnTo>
                    <a:pt x="1685" y="2618"/>
                  </a:lnTo>
                  <a:lnTo>
                    <a:pt x="1690" y="2618"/>
                  </a:lnTo>
                  <a:lnTo>
                    <a:pt x="1690" y="2618"/>
                  </a:lnTo>
                  <a:lnTo>
                    <a:pt x="1690" y="2618"/>
                  </a:lnTo>
                  <a:lnTo>
                    <a:pt x="1690" y="2618"/>
                  </a:lnTo>
                  <a:lnTo>
                    <a:pt x="1690" y="2622"/>
                  </a:lnTo>
                  <a:lnTo>
                    <a:pt x="1690" y="2622"/>
                  </a:lnTo>
                  <a:lnTo>
                    <a:pt x="1690" y="2622"/>
                  </a:lnTo>
                  <a:lnTo>
                    <a:pt x="1694" y="2622"/>
                  </a:lnTo>
                  <a:lnTo>
                    <a:pt x="1694" y="2622"/>
                  </a:lnTo>
                  <a:lnTo>
                    <a:pt x="1694" y="2622"/>
                  </a:lnTo>
                  <a:lnTo>
                    <a:pt x="1694" y="2622"/>
                  </a:lnTo>
                  <a:lnTo>
                    <a:pt x="1694" y="2622"/>
                  </a:lnTo>
                  <a:lnTo>
                    <a:pt x="1694" y="2622"/>
                  </a:lnTo>
                  <a:lnTo>
                    <a:pt x="1694" y="2622"/>
                  </a:lnTo>
                  <a:lnTo>
                    <a:pt x="1694" y="2622"/>
                  </a:lnTo>
                  <a:lnTo>
                    <a:pt x="1694" y="2622"/>
                  </a:lnTo>
                  <a:lnTo>
                    <a:pt x="1699" y="2622"/>
                  </a:lnTo>
                  <a:lnTo>
                    <a:pt x="1699" y="2622"/>
                  </a:lnTo>
                  <a:lnTo>
                    <a:pt x="1699" y="2622"/>
                  </a:lnTo>
                  <a:lnTo>
                    <a:pt x="1699" y="2622"/>
                  </a:lnTo>
                  <a:lnTo>
                    <a:pt x="1699" y="2627"/>
                  </a:lnTo>
                  <a:lnTo>
                    <a:pt x="1699" y="2627"/>
                  </a:lnTo>
                  <a:lnTo>
                    <a:pt x="1699" y="2627"/>
                  </a:lnTo>
                  <a:lnTo>
                    <a:pt x="1699" y="2627"/>
                  </a:lnTo>
                  <a:lnTo>
                    <a:pt x="1699" y="2627"/>
                  </a:lnTo>
                  <a:lnTo>
                    <a:pt x="1699" y="2627"/>
                  </a:lnTo>
                  <a:lnTo>
                    <a:pt x="1703" y="2627"/>
                  </a:lnTo>
                  <a:lnTo>
                    <a:pt x="1703" y="2627"/>
                  </a:lnTo>
                  <a:lnTo>
                    <a:pt x="1703" y="2622"/>
                  </a:lnTo>
                  <a:lnTo>
                    <a:pt x="1703" y="2622"/>
                  </a:lnTo>
                  <a:lnTo>
                    <a:pt x="1703" y="2622"/>
                  </a:lnTo>
                  <a:lnTo>
                    <a:pt x="1703" y="2622"/>
                  </a:lnTo>
                  <a:lnTo>
                    <a:pt x="1703" y="2622"/>
                  </a:lnTo>
                  <a:lnTo>
                    <a:pt x="1703" y="2618"/>
                  </a:lnTo>
                  <a:lnTo>
                    <a:pt x="1703" y="2618"/>
                  </a:lnTo>
                  <a:close/>
                  <a:moveTo>
                    <a:pt x="1789" y="2640"/>
                  </a:moveTo>
                  <a:lnTo>
                    <a:pt x="1789" y="2640"/>
                  </a:lnTo>
                  <a:lnTo>
                    <a:pt x="1784" y="2636"/>
                  </a:lnTo>
                  <a:lnTo>
                    <a:pt x="1784" y="2636"/>
                  </a:lnTo>
                  <a:lnTo>
                    <a:pt x="1775" y="2636"/>
                  </a:lnTo>
                  <a:lnTo>
                    <a:pt x="1771" y="2636"/>
                  </a:lnTo>
                  <a:lnTo>
                    <a:pt x="1771" y="2640"/>
                  </a:lnTo>
                  <a:lnTo>
                    <a:pt x="1775" y="2640"/>
                  </a:lnTo>
                  <a:lnTo>
                    <a:pt x="1775" y="2640"/>
                  </a:lnTo>
                  <a:lnTo>
                    <a:pt x="1775" y="2640"/>
                  </a:lnTo>
                  <a:lnTo>
                    <a:pt x="1775" y="2645"/>
                  </a:lnTo>
                  <a:lnTo>
                    <a:pt x="1780" y="2645"/>
                  </a:lnTo>
                  <a:lnTo>
                    <a:pt x="1780" y="2645"/>
                  </a:lnTo>
                  <a:lnTo>
                    <a:pt x="1780" y="2645"/>
                  </a:lnTo>
                  <a:lnTo>
                    <a:pt x="1784" y="2640"/>
                  </a:lnTo>
                  <a:lnTo>
                    <a:pt x="1784" y="2640"/>
                  </a:lnTo>
                  <a:lnTo>
                    <a:pt x="1784" y="2640"/>
                  </a:lnTo>
                  <a:lnTo>
                    <a:pt x="1784" y="2640"/>
                  </a:lnTo>
                  <a:lnTo>
                    <a:pt x="1784" y="2640"/>
                  </a:lnTo>
                  <a:lnTo>
                    <a:pt x="1784" y="2640"/>
                  </a:lnTo>
                  <a:lnTo>
                    <a:pt x="1784" y="2645"/>
                  </a:lnTo>
                  <a:lnTo>
                    <a:pt x="1789" y="2645"/>
                  </a:lnTo>
                  <a:lnTo>
                    <a:pt x="1789" y="2645"/>
                  </a:lnTo>
                  <a:lnTo>
                    <a:pt x="1789" y="2640"/>
                  </a:lnTo>
                  <a:lnTo>
                    <a:pt x="1789" y="2640"/>
                  </a:lnTo>
                  <a:lnTo>
                    <a:pt x="1789" y="2640"/>
                  </a:lnTo>
                  <a:lnTo>
                    <a:pt x="1789" y="2640"/>
                  </a:lnTo>
                  <a:close/>
                  <a:moveTo>
                    <a:pt x="913" y="470"/>
                  </a:moveTo>
                  <a:lnTo>
                    <a:pt x="913" y="470"/>
                  </a:lnTo>
                  <a:lnTo>
                    <a:pt x="913" y="470"/>
                  </a:lnTo>
                  <a:lnTo>
                    <a:pt x="913" y="470"/>
                  </a:lnTo>
                  <a:lnTo>
                    <a:pt x="908" y="470"/>
                  </a:lnTo>
                  <a:lnTo>
                    <a:pt x="908" y="470"/>
                  </a:lnTo>
                  <a:lnTo>
                    <a:pt x="908" y="470"/>
                  </a:lnTo>
                  <a:lnTo>
                    <a:pt x="913" y="470"/>
                  </a:lnTo>
                  <a:lnTo>
                    <a:pt x="917" y="470"/>
                  </a:lnTo>
                  <a:lnTo>
                    <a:pt x="917" y="470"/>
                  </a:lnTo>
                  <a:lnTo>
                    <a:pt x="922" y="470"/>
                  </a:lnTo>
                  <a:lnTo>
                    <a:pt x="926" y="466"/>
                  </a:lnTo>
                  <a:lnTo>
                    <a:pt x="926" y="461"/>
                  </a:lnTo>
                  <a:lnTo>
                    <a:pt x="931" y="461"/>
                  </a:lnTo>
                  <a:lnTo>
                    <a:pt x="935" y="457"/>
                  </a:lnTo>
                  <a:lnTo>
                    <a:pt x="935" y="457"/>
                  </a:lnTo>
                  <a:lnTo>
                    <a:pt x="940" y="457"/>
                  </a:lnTo>
                  <a:lnTo>
                    <a:pt x="940" y="457"/>
                  </a:lnTo>
                  <a:lnTo>
                    <a:pt x="935" y="457"/>
                  </a:lnTo>
                  <a:lnTo>
                    <a:pt x="935" y="457"/>
                  </a:lnTo>
                  <a:lnTo>
                    <a:pt x="931" y="457"/>
                  </a:lnTo>
                  <a:lnTo>
                    <a:pt x="931" y="457"/>
                  </a:lnTo>
                  <a:lnTo>
                    <a:pt x="931" y="461"/>
                  </a:lnTo>
                  <a:lnTo>
                    <a:pt x="926" y="461"/>
                  </a:lnTo>
                  <a:lnTo>
                    <a:pt x="926" y="461"/>
                  </a:lnTo>
                  <a:lnTo>
                    <a:pt x="926" y="461"/>
                  </a:lnTo>
                  <a:lnTo>
                    <a:pt x="922" y="461"/>
                  </a:lnTo>
                  <a:lnTo>
                    <a:pt x="917" y="461"/>
                  </a:lnTo>
                  <a:lnTo>
                    <a:pt x="917" y="461"/>
                  </a:lnTo>
                  <a:lnTo>
                    <a:pt x="917" y="461"/>
                  </a:lnTo>
                  <a:lnTo>
                    <a:pt x="917" y="461"/>
                  </a:lnTo>
                  <a:lnTo>
                    <a:pt x="917" y="461"/>
                  </a:lnTo>
                  <a:lnTo>
                    <a:pt x="926" y="461"/>
                  </a:lnTo>
                  <a:lnTo>
                    <a:pt x="926" y="461"/>
                  </a:lnTo>
                  <a:lnTo>
                    <a:pt x="926" y="461"/>
                  </a:lnTo>
                  <a:lnTo>
                    <a:pt x="931" y="457"/>
                  </a:lnTo>
                  <a:lnTo>
                    <a:pt x="931" y="457"/>
                  </a:lnTo>
                  <a:lnTo>
                    <a:pt x="931" y="457"/>
                  </a:lnTo>
                  <a:lnTo>
                    <a:pt x="931" y="457"/>
                  </a:lnTo>
                  <a:lnTo>
                    <a:pt x="931" y="457"/>
                  </a:lnTo>
                  <a:lnTo>
                    <a:pt x="926" y="457"/>
                  </a:lnTo>
                  <a:lnTo>
                    <a:pt x="926" y="452"/>
                  </a:lnTo>
                  <a:lnTo>
                    <a:pt x="926" y="452"/>
                  </a:lnTo>
                  <a:lnTo>
                    <a:pt x="922" y="452"/>
                  </a:lnTo>
                  <a:lnTo>
                    <a:pt x="922" y="452"/>
                  </a:lnTo>
                  <a:lnTo>
                    <a:pt x="922" y="452"/>
                  </a:lnTo>
                  <a:lnTo>
                    <a:pt x="917" y="457"/>
                  </a:lnTo>
                  <a:lnTo>
                    <a:pt x="917" y="457"/>
                  </a:lnTo>
                  <a:lnTo>
                    <a:pt x="917" y="457"/>
                  </a:lnTo>
                  <a:lnTo>
                    <a:pt x="913" y="461"/>
                  </a:lnTo>
                  <a:lnTo>
                    <a:pt x="913" y="461"/>
                  </a:lnTo>
                  <a:lnTo>
                    <a:pt x="913" y="461"/>
                  </a:lnTo>
                  <a:lnTo>
                    <a:pt x="913" y="466"/>
                  </a:lnTo>
                  <a:lnTo>
                    <a:pt x="913" y="466"/>
                  </a:lnTo>
                  <a:lnTo>
                    <a:pt x="913" y="466"/>
                  </a:lnTo>
                  <a:lnTo>
                    <a:pt x="913" y="470"/>
                  </a:lnTo>
                  <a:lnTo>
                    <a:pt x="913" y="470"/>
                  </a:lnTo>
                  <a:lnTo>
                    <a:pt x="913" y="470"/>
                  </a:lnTo>
                  <a:close/>
                  <a:moveTo>
                    <a:pt x="1717" y="2627"/>
                  </a:moveTo>
                  <a:lnTo>
                    <a:pt x="1721" y="2627"/>
                  </a:lnTo>
                  <a:lnTo>
                    <a:pt x="1721" y="2627"/>
                  </a:lnTo>
                  <a:lnTo>
                    <a:pt x="1726" y="2631"/>
                  </a:lnTo>
                  <a:lnTo>
                    <a:pt x="1726" y="2627"/>
                  </a:lnTo>
                  <a:lnTo>
                    <a:pt x="1726" y="2627"/>
                  </a:lnTo>
                  <a:lnTo>
                    <a:pt x="1726" y="2627"/>
                  </a:lnTo>
                  <a:lnTo>
                    <a:pt x="1726" y="2627"/>
                  </a:lnTo>
                  <a:lnTo>
                    <a:pt x="1726" y="2627"/>
                  </a:lnTo>
                  <a:lnTo>
                    <a:pt x="1726" y="2622"/>
                  </a:lnTo>
                  <a:lnTo>
                    <a:pt x="1721" y="2622"/>
                  </a:lnTo>
                  <a:lnTo>
                    <a:pt x="1717" y="2622"/>
                  </a:lnTo>
                  <a:lnTo>
                    <a:pt x="1717" y="2622"/>
                  </a:lnTo>
                  <a:lnTo>
                    <a:pt x="1712" y="2622"/>
                  </a:lnTo>
                  <a:lnTo>
                    <a:pt x="1708" y="2622"/>
                  </a:lnTo>
                  <a:lnTo>
                    <a:pt x="1708" y="2622"/>
                  </a:lnTo>
                  <a:lnTo>
                    <a:pt x="1708" y="2622"/>
                  </a:lnTo>
                  <a:lnTo>
                    <a:pt x="1708" y="2622"/>
                  </a:lnTo>
                  <a:lnTo>
                    <a:pt x="1712" y="2627"/>
                  </a:lnTo>
                  <a:lnTo>
                    <a:pt x="1712" y="2627"/>
                  </a:lnTo>
                  <a:lnTo>
                    <a:pt x="1712" y="2627"/>
                  </a:lnTo>
                  <a:lnTo>
                    <a:pt x="1717" y="2627"/>
                  </a:lnTo>
                  <a:lnTo>
                    <a:pt x="1717" y="2627"/>
                  </a:lnTo>
                  <a:lnTo>
                    <a:pt x="1717" y="2627"/>
                  </a:lnTo>
                  <a:lnTo>
                    <a:pt x="1717" y="2627"/>
                  </a:lnTo>
                  <a:close/>
                  <a:moveTo>
                    <a:pt x="1631" y="2546"/>
                  </a:moveTo>
                  <a:lnTo>
                    <a:pt x="1631" y="2546"/>
                  </a:lnTo>
                  <a:lnTo>
                    <a:pt x="1631" y="2546"/>
                  </a:lnTo>
                  <a:lnTo>
                    <a:pt x="1626" y="2541"/>
                  </a:lnTo>
                  <a:lnTo>
                    <a:pt x="1626" y="2541"/>
                  </a:lnTo>
                  <a:lnTo>
                    <a:pt x="1626" y="2541"/>
                  </a:lnTo>
                  <a:lnTo>
                    <a:pt x="1626" y="2541"/>
                  </a:lnTo>
                  <a:lnTo>
                    <a:pt x="1626" y="2536"/>
                  </a:lnTo>
                  <a:lnTo>
                    <a:pt x="1622" y="2532"/>
                  </a:lnTo>
                  <a:lnTo>
                    <a:pt x="1617" y="2527"/>
                  </a:lnTo>
                  <a:lnTo>
                    <a:pt x="1617" y="2527"/>
                  </a:lnTo>
                  <a:lnTo>
                    <a:pt x="1617" y="2527"/>
                  </a:lnTo>
                  <a:lnTo>
                    <a:pt x="1617" y="2527"/>
                  </a:lnTo>
                  <a:lnTo>
                    <a:pt x="1613" y="2523"/>
                  </a:lnTo>
                  <a:lnTo>
                    <a:pt x="1613" y="2523"/>
                  </a:lnTo>
                  <a:lnTo>
                    <a:pt x="1613" y="2527"/>
                  </a:lnTo>
                  <a:lnTo>
                    <a:pt x="1613" y="2527"/>
                  </a:lnTo>
                  <a:lnTo>
                    <a:pt x="1613" y="2527"/>
                  </a:lnTo>
                  <a:lnTo>
                    <a:pt x="1613" y="2527"/>
                  </a:lnTo>
                  <a:lnTo>
                    <a:pt x="1613" y="2532"/>
                  </a:lnTo>
                  <a:lnTo>
                    <a:pt x="1613" y="2532"/>
                  </a:lnTo>
                  <a:lnTo>
                    <a:pt x="1613" y="2532"/>
                  </a:lnTo>
                  <a:lnTo>
                    <a:pt x="1613" y="2532"/>
                  </a:lnTo>
                  <a:lnTo>
                    <a:pt x="1613" y="2536"/>
                  </a:lnTo>
                  <a:lnTo>
                    <a:pt x="1617" y="2536"/>
                  </a:lnTo>
                  <a:lnTo>
                    <a:pt x="1613" y="2536"/>
                  </a:lnTo>
                  <a:lnTo>
                    <a:pt x="1613" y="2536"/>
                  </a:lnTo>
                  <a:lnTo>
                    <a:pt x="1613" y="2536"/>
                  </a:lnTo>
                  <a:lnTo>
                    <a:pt x="1613" y="2536"/>
                  </a:lnTo>
                  <a:lnTo>
                    <a:pt x="1613" y="2536"/>
                  </a:lnTo>
                  <a:lnTo>
                    <a:pt x="1613" y="2541"/>
                  </a:lnTo>
                  <a:lnTo>
                    <a:pt x="1613" y="2541"/>
                  </a:lnTo>
                  <a:lnTo>
                    <a:pt x="1613" y="2541"/>
                  </a:lnTo>
                  <a:lnTo>
                    <a:pt x="1617" y="2541"/>
                  </a:lnTo>
                  <a:lnTo>
                    <a:pt x="1613" y="2541"/>
                  </a:lnTo>
                  <a:lnTo>
                    <a:pt x="1613" y="2546"/>
                  </a:lnTo>
                  <a:lnTo>
                    <a:pt x="1613" y="2546"/>
                  </a:lnTo>
                  <a:lnTo>
                    <a:pt x="1617" y="2546"/>
                  </a:lnTo>
                  <a:lnTo>
                    <a:pt x="1617" y="2546"/>
                  </a:lnTo>
                  <a:lnTo>
                    <a:pt x="1622" y="2546"/>
                  </a:lnTo>
                  <a:lnTo>
                    <a:pt x="1622" y="2546"/>
                  </a:lnTo>
                  <a:lnTo>
                    <a:pt x="1622" y="2546"/>
                  </a:lnTo>
                  <a:lnTo>
                    <a:pt x="1622" y="2546"/>
                  </a:lnTo>
                  <a:lnTo>
                    <a:pt x="1622" y="2541"/>
                  </a:lnTo>
                  <a:lnTo>
                    <a:pt x="1622" y="2541"/>
                  </a:lnTo>
                  <a:lnTo>
                    <a:pt x="1622" y="2541"/>
                  </a:lnTo>
                  <a:lnTo>
                    <a:pt x="1622" y="2536"/>
                  </a:lnTo>
                  <a:lnTo>
                    <a:pt x="1622" y="2536"/>
                  </a:lnTo>
                  <a:lnTo>
                    <a:pt x="1622" y="2541"/>
                  </a:lnTo>
                  <a:lnTo>
                    <a:pt x="1622" y="2541"/>
                  </a:lnTo>
                  <a:lnTo>
                    <a:pt x="1622" y="2541"/>
                  </a:lnTo>
                  <a:lnTo>
                    <a:pt x="1622" y="2541"/>
                  </a:lnTo>
                  <a:lnTo>
                    <a:pt x="1622" y="2541"/>
                  </a:lnTo>
                  <a:lnTo>
                    <a:pt x="1622" y="2541"/>
                  </a:lnTo>
                  <a:lnTo>
                    <a:pt x="1622" y="2546"/>
                  </a:lnTo>
                  <a:lnTo>
                    <a:pt x="1622" y="2546"/>
                  </a:lnTo>
                  <a:lnTo>
                    <a:pt x="1626" y="2546"/>
                  </a:lnTo>
                  <a:lnTo>
                    <a:pt x="1626" y="2546"/>
                  </a:lnTo>
                  <a:lnTo>
                    <a:pt x="1626" y="2550"/>
                  </a:lnTo>
                  <a:lnTo>
                    <a:pt x="1626" y="2550"/>
                  </a:lnTo>
                  <a:lnTo>
                    <a:pt x="1631" y="2550"/>
                  </a:lnTo>
                  <a:lnTo>
                    <a:pt x="1631" y="2550"/>
                  </a:lnTo>
                  <a:lnTo>
                    <a:pt x="1631" y="2550"/>
                  </a:lnTo>
                  <a:lnTo>
                    <a:pt x="1631" y="2550"/>
                  </a:lnTo>
                  <a:lnTo>
                    <a:pt x="1631" y="2546"/>
                  </a:lnTo>
                  <a:close/>
                  <a:moveTo>
                    <a:pt x="1653" y="2586"/>
                  </a:moveTo>
                  <a:lnTo>
                    <a:pt x="1653" y="2586"/>
                  </a:lnTo>
                  <a:lnTo>
                    <a:pt x="1649" y="2586"/>
                  </a:lnTo>
                  <a:lnTo>
                    <a:pt x="1649" y="2586"/>
                  </a:lnTo>
                  <a:lnTo>
                    <a:pt x="1649" y="2586"/>
                  </a:lnTo>
                  <a:lnTo>
                    <a:pt x="1644" y="2582"/>
                  </a:lnTo>
                  <a:lnTo>
                    <a:pt x="1644" y="2582"/>
                  </a:lnTo>
                  <a:lnTo>
                    <a:pt x="1644" y="2582"/>
                  </a:lnTo>
                  <a:lnTo>
                    <a:pt x="1644" y="2582"/>
                  </a:lnTo>
                  <a:lnTo>
                    <a:pt x="1644" y="2582"/>
                  </a:lnTo>
                  <a:lnTo>
                    <a:pt x="1644" y="2586"/>
                  </a:lnTo>
                  <a:lnTo>
                    <a:pt x="1644" y="2586"/>
                  </a:lnTo>
                  <a:lnTo>
                    <a:pt x="1649" y="2591"/>
                  </a:lnTo>
                  <a:lnTo>
                    <a:pt x="1653" y="2591"/>
                  </a:lnTo>
                  <a:lnTo>
                    <a:pt x="1653" y="2591"/>
                  </a:lnTo>
                  <a:lnTo>
                    <a:pt x="1653" y="2591"/>
                  </a:lnTo>
                  <a:lnTo>
                    <a:pt x="1653" y="2586"/>
                  </a:lnTo>
                  <a:close/>
                  <a:moveTo>
                    <a:pt x="1644" y="479"/>
                  </a:moveTo>
                  <a:lnTo>
                    <a:pt x="1644" y="479"/>
                  </a:lnTo>
                  <a:lnTo>
                    <a:pt x="1644" y="479"/>
                  </a:lnTo>
                  <a:lnTo>
                    <a:pt x="1644" y="475"/>
                  </a:lnTo>
                  <a:lnTo>
                    <a:pt x="1644" y="475"/>
                  </a:lnTo>
                  <a:lnTo>
                    <a:pt x="1644" y="475"/>
                  </a:lnTo>
                  <a:lnTo>
                    <a:pt x="1644" y="475"/>
                  </a:lnTo>
                  <a:lnTo>
                    <a:pt x="1644" y="475"/>
                  </a:lnTo>
                  <a:lnTo>
                    <a:pt x="1644" y="475"/>
                  </a:lnTo>
                  <a:lnTo>
                    <a:pt x="1644" y="475"/>
                  </a:lnTo>
                  <a:lnTo>
                    <a:pt x="1644" y="475"/>
                  </a:lnTo>
                  <a:lnTo>
                    <a:pt x="1644" y="475"/>
                  </a:lnTo>
                  <a:lnTo>
                    <a:pt x="1640" y="479"/>
                  </a:lnTo>
                  <a:lnTo>
                    <a:pt x="1640" y="479"/>
                  </a:lnTo>
                  <a:lnTo>
                    <a:pt x="1635" y="479"/>
                  </a:lnTo>
                  <a:lnTo>
                    <a:pt x="1635" y="479"/>
                  </a:lnTo>
                  <a:lnTo>
                    <a:pt x="1635" y="479"/>
                  </a:lnTo>
                  <a:lnTo>
                    <a:pt x="1635" y="479"/>
                  </a:lnTo>
                  <a:lnTo>
                    <a:pt x="1640" y="479"/>
                  </a:lnTo>
                  <a:lnTo>
                    <a:pt x="1640" y="475"/>
                  </a:lnTo>
                  <a:lnTo>
                    <a:pt x="1640" y="475"/>
                  </a:lnTo>
                  <a:lnTo>
                    <a:pt x="1640" y="475"/>
                  </a:lnTo>
                  <a:lnTo>
                    <a:pt x="1640" y="475"/>
                  </a:lnTo>
                  <a:lnTo>
                    <a:pt x="1640" y="475"/>
                  </a:lnTo>
                  <a:lnTo>
                    <a:pt x="1640" y="475"/>
                  </a:lnTo>
                  <a:lnTo>
                    <a:pt x="1640" y="479"/>
                  </a:lnTo>
                  <a:lnTo>
                    <a:pt x="1640" y="479"/>
                  </a:lnTo>
                  <a:lnTo>
                    <a:pt x="1635" y="479"/>
                  </a:lnTo>
                  <a:lnTo>
                    <a:pt x="1631" y="484"/>
                  </a:lnTo>
                  <a:lnTo>
                    <a:pt x="1626" y="484"/>
                  </a:lnTo>
                  <a:lnTo>
                    <a:pt x="1626" y="484"/>
                  </a:lnTo>
                  <a:lnTo>
                    <a:pt x="1626" y="488"/>
                  </a:lnTo>
                  <a:lnTo>
                    <a:pt x="1626" y="488"/>
                  </a:lnTo>
                  <a:lnTo>
                    <a:pt x="1631" y="484"/>
                  </a:lnTo>
                  <a:lnTo>
                    <a:pt x="1635" y="484"/>
                  </a:lnTo>
                  <a:lnTo>
                    <a:pt x="1635" y="484"/>
                  </a:lnTo>
                  <a:lnTo>
                    <a:pt x="1635" y="484"/>
                  </a:lnTo>
                  <a:lnTo>
                    <a:pt x="1635" y="484"/>
                  </a:lnTo>
                  <a:lnTo>
                    <a:pt x="1626" y="488"/>
                  </a:lnTo>
                  <a:lnTo>
                    <a:pt x="1631" y="488"/>
                  </a:lnTo>
                  <a:lnTo>
                    <a:pt x="1631" y="488"/>
                  </a:lnTo>
                  <a:lnTo>
                    <a:pt x="1631" y="488"/>
                  </a:lnTo>
                  <a:lnTo>
                    <a:pt x="1631" y="488"/>
                  </a:lnTo>
                  <a:lnTo>
                    <a:pt x="1635" y="488"/>
                  </a:lnTo>
                  <a:lnTo>
                    <a:pt x="1640" y="484"/>
                  </a:lnTo>
                  <a:lnTo>
                    <a:pt x="1640" y="479"/>
                  </a:lnTo>
                  <a:lnTo>
                    <a:pt x="1640" y="484"/>
                  </a:lnTo>
                  <a:lnTo>
                    <a:pt x="1640" y="484"/>
                  </a:lnTo>
                  <a:lnTo>
                    <a:pt x="1640" y="484"/>
                  </a:lnTo>
                  <a:lnTo>
                    <a:pt x="1635" y="488"/>
                  </a:lnTo>
                  <a:lnTo>
                    <a:pt x="1635" y="488"/>
                  </a:lnTo>
                  <a:lnTo>
                    <a:pt x="1635" y="488"/>
                  </a:lnTo>
                  <a:lnTo>
                    <a:pt x="1640" y="484"/>
                  </a:lnTo>
                  <a:lnTo>
                    <a:pt x="1644" y="484"/>
                  </a:lnTo>
                  <a:lnTo>
                    <a:pt x="1644" y="479"/>
                  </a:lnTo>
                  <a:lnTo>
                    <a:pt x="1644" y="479"/>
                  </a:lnTo>
                  <a:lnTo>
                    <a:pt x="1644" y="479"/>
                  </a:lnTo>
                  <a:lnTo>
                    <a:pt x="1644" y="479"/>
                  </a:lnTo>
                  <a:lnTo>
                    <a:pt x="1644" y="479"/>
                  </a:lnTo>
                  <a:close/>
                  <a:moveTo>
                    <a:pt x="800" y="339"/>
                  </a:moveTo>
                  <a:lnTo>
                    <a:pt x="800" y="339"/>
                  </a:lnTo>
                  <a:lnTo>
                    <a:pt x="800" y="339"/>
                  </a:lnTo>
                  <a:lnTo>
                    <a:pt x="795" y="339"/>
                  </a:lnTo>
                  <a:lnTo>
                    <a:pt x="795" y="339"/>
                  </a:lnTo>
                  <a:lnTo>
                    <a:pt x="795" y="344"/>
                  </a:lnTo>
                  <a:lnTo>
                    <a:pt x="795" y="344"/>
                  </a:lnTo>
                  <a:lnTo>
                    <a:pt x="795" y="344"/>
                  </a:lnTo>
                  <a:lnTo>
                    <a:pt x="791" y="344"/>
                  </a:lnTo>
                  <a:lnTo>
                    <a:pt x="791" y="344"/>
                  </a:lnTo>
                  <a:lnTo>
                    <a:pt x="791" y="344"/>
                  </a:lnTo>
                  <a:lnTo>
                    <a:pt x="782" y="344"/>
                  </a:lnTo>
                  <a:lnTo>
                    <a:pt x="782" y="348"/>
                  </a:lnTo>
                  <a:lnTo>
                    <a:pt x="786" y="348"/>
                  </a:lnTo>
                  <a:lnTo>
                    <a:pt x="786" y="348"/>
                  </a:lnTo>
                  <a:lnTo>
                    <a:pt x="786" y="348"/>
                  </a:lnTo>
                  <a:lnTo>
                    <a:pt x="786" y="348"/>
                  </a:lnTo>
                  <a:lnTo>
                    <a:pt x="786" y="348"/>
                  </a:lnTo>
                  <a:lnTo>
                    <a:pt x="791" y="348"/>
                  </a:lnTo>
                  <a:lnTo>
                    <a:pt x="791" y="348"/>
                  </a:lnTo>
                  <a:lnTo>
                    <a:pt x="791" y="344"/>
                  </a:lnTo>
                  <a:lnTo>
                    <a:pt x="795" y="344"/>
                  </a:lnTo>
                  <a:lnTo>
                    <a:pt x="791" y="348"/>
                  </a:lnTo>
                  <a:lnTo>
                    <a:pt x="791" y="348"/>
                  </a:lnTo>
                  <a:lnTo>
                    <a:pt x="795" y="348"/>
                  </a:lnTo>
                  <a:lnTo>
                    <a:pt x="795" y="348"/>
                  </a:lnTo>
                  <a:lnTo>
                    <a:pt x="795" y="348"/>
                  </a:lnTo>
                  <a:lnTo>
                    <a:pt x="795" y="348"/>
                  </a:lnTo>
                  <a:lnTo>
                    <a:pt x="795" y="344"/>
                  </a:lnTo>
                  <a:lnTo>
                    <a:pt x="795" y="344"/>
                  </a:lnTo>
                  <a:lnTo>
                    <a:pt x="800" y="344"/>
                  </a:lnTo>
                  <a:lnTo>
                    <a:pt x="800" y="344"/>
                  </a:lnTo>
                  <a:lnTo>
                    <a:pt x="800" y="344"/>
                  </a:lnTo>
                  <a:lnTo>
                    <a:pt x="800" y="348"/>
                  </a:lnTo>
                  <a:lnTo>
                    <a:pt x="800" y="348"/>
                  </a:lnTo>
                  <a:lnTo>
                    <a:pt x="800" y="348"/>
                  </a:lnTo>
                  <a:lnTo>
                    <a:pt x="800" y="348"/>
                  </a:lnTo>
                  <a:lnTo>
                    <a:pt x="800" y="344"/>
                  </a:lnTo>
                  <a:lnTo>
                    <a:pt x="804" y="344"/>
                  </a:lnTo>
                  <a:lnTo>
                    <a:pt x="804" y="344"/>
                  </a:lnTo>
                  <a:lnTo>
                    <a:pt x="804" y="344"/>
                  </a:lnTo>
                  <a:lnTo>
                    <a:pt x="804" y="344"/>
                  </a:lnTo>
                  <a:lnTo>
                    <a:pt x="804" y="344"/>
                  </a:lnTo>
                  <a:lnTo>
                    <a:pt x="804" y="344"/>
                  </a:lnTo>
                  <a:lnTo>
                    <a:pt x="804" y="344"/>
                  </a:lnTo>
                  <a:lnTo>
                    <a:pt x="800" y="344"/>
                  </a:lnTo>
                  <a:lnTo>
                    <a:pt x="800" y="344"/>
                  </a:lnTo>
                  <a:lnTo>
                    <a:pt x="800" y="344"/>
                  </a:lnTo>
                  <a:lnTo>
                    <a:pt x="800" y="344"/>
                  </a:lnTo>
                  <a:lnTo>
                    <a:pt x="800" y="339"/>
                  </a:lnTo>
                  <a:close/>
                  <a:moveTo>
                    <a:pt x="2069" y="1723"/>
                  </a:moveTo>
                  <a:lnTo>
                    <a:pt x="2069" y="1723"/>
                  </a:lnTo>
                  <a:lnTo>
                    <a:pt x="2074" y="1723"/>
                  </a:lnTo>
                  <a:lnTo>
                    <a:pt x="2069" y="1723"/>
                  </a:lnTo>
                  <a:lnTo>
                    <a:pt x="2069" y="1718"/>
                  </a:lnTo>
                  <a:lnTo>
                    <a:pt x="2074" y="1718"/>
                  </a:lnTo>
                  <a:lnTo>
                    <a:pt x="2074" y="1714"/>
                  </a:lnTo>
                  <a:lnTo>
                    <a:pt x="2074" y="1709"/>
                  </a:lnTo>
                  <a:lnTo>
                    <a:pt x="2069" y="1709"/>
                  </a:lnTo>
                  <a:lnTo>
                    <a:pt x="2069" y="1709"/>
                  </a:lnTo>
                  <a:lnTo>
                    <a:pt x="2069" y="1705"/>
                  </a:lnTo>
                  <a:lnTo>
                    <a:pt x="2069" y="1696"/>
                  </a:lnTo>
                  <a:lnTo>
                    <a:pt x="2065" y="1696"/>
                  </a:lnTo>
                  <a:lnTo>
                    <a:pt x="2065" y="1686"/>
                  </a:lnTo>
                  <a:lnTo>
                    <a:pt x="2065" y="1682"/>
                  </a:lnTo>
                  <a:lnTo>
                    <a:pt x="2060" y="1677"/>
                  </a:lnTo>
                  <a:lnTo>
                    <a:pt x="2060" y="1673"/>
                  </a:lnTo>
                  <a:lnTo>
                    <a:pt x="2056" y="1673"/>
                  </a:lnTo>
                  <a:lnTo>
                    <a:pt x="2051" y="1673"/>
                  </a:lnTo>
                  <a:lnTo>
                    <a:pt x="2047" y="1673"/>
                  </a:lnTo>
                  <a:lnTo>
                    <a:pt x="2042" y="1673"/>
                  </a:lnTo>
                  <a:lnTo>
                    <a:pt x="2037" y="1673"/>
                  </a:lnTo>
                  <a:lnTo>
                    <a:pt x="2037" y="1673"/>
                  </a:lnTo>
                  <a:lnTo>
                    <a:pt x="2033" y="1668"/>
                  </a:lnTo>
                  <a:lnTo>
                    <a:pt x="2033" y="1668"/>
                  </a:lnTo>
                  <a:lnTo>
                    <a:pt x="2028" y="1668"/>
                  </a:lnTo>
                  <a:lnTo>
                    <a:pt x="2028" y="1664"/>
                  </a:lnTo>
                  <a:lnTo>
                    <a:pt x="2019" y="1664"/>
                  </a:lnTo>
                  <a:lnTo>
                    <a:pt x="2019" y="1659"/>
                  </a:lnTo>
                  <a:lnTo>
                    <a:pt x="2015" y="1655"/>
                  </a:lnTo>
                  <a:lnTo>
                    <a:pt x="2010" y="1650"/>
                  </a:lnTo>
                  <a:lnTo>
                    <a:pt x="2006" y="1650"/>
                  </a:lnTo>
                  <a:lnTo>
                    <a:pt x="2006" y="1646"/>
                  </a:lnTo>
                  <a:lnTo>
                    <a:pt x="2001" y="1646"/>
                  </a:lnTo>
                  <a:lnTo>
                    <a:pt x="1997" y="1641"/>
                  </a:lnTo>
                  <a:lnTo>
                    <a:pt x="1997" y="1641"/>
                  </a:lnTo>
                  <a:lnTo>
                    <a:pt x="1992" y="1637"/>
                  </a:lnTo>
                  <a:lnTo>
                    <a:pt x="1988" y="1637"/>
                  </a:lnTo>
                  <a:lnTo>
                    <a:pt x="1988" y="1632"/>
                  </a:lnTo>
                  <a:lnTo>
                    <a:pt x="1983" y="1632"/>
                  </a:lnTo>
                  <a:lnTo>
                    <a:pt x="1979" y="1632"/>
                  </a:lnTo>
                  <a:lnTo>
                    <a:pt x="1974" y="1628"/>
                  </a:lnTo>
                  <a:lnTo>
                    <a:pt x="1970" y="1628"/>
                  </a:lnTo>
                  <a:lnTo>
                    <a:pt x="1965" y="1632"/>
                  </a:lnTo>
                  <a:lnTo>
                    <a:pt x="1956" y="1632"/>
                  </a:lnTo>
                  <a:lnTo>
                    <a:pt x="1956" y="1632"/>
                  </a:lnTo>
                  <a:lnTo>
                    <a:pt x="1952" y="1632"/>
                  </a:lnTo>
                  <a:lnTo>
                    <a:pt x="1952" y="1632"/>
                  </a:lnTo>
                  <a:lnTo>
                    <a:pt x="1947" y="1628"/>
                  </a:lnTo>
                  <a:lnTo>
                    <a:pt x="1947" y="1628"/>
                  </a:lnTo>
                  <a:lnTo>
                    <a:pt x="1943" y="1628"/>
                  </a:lnTo>
                  <a:lnTo>
                    <a:pt x="1938" y="1628"/>
                  </a:lnTo>
                  <a:lnTo>
                    <a:pt x="1934" y="1628"/>
                  </a:lnTo>
                  <a:lnTo>
                    <a:pt x="1934" y="1623"/>
                  </a:lnTo>
                  <a:lnTo>
                    <a:pt x="1929" y="1623"/>
                  </a:lnTo>
                  <a:lnTo>
                    <a:pt x="1929" y="1623"/>
                  </a:lnTo>
                  <a:lnTo>
                    <a:pt x="1925" y="1623"/>
                  </a:lnTo>
                  <a:lnTo>
                    <a:pt x="1920" y="1623"/>
                  </a:lnTo>
                  <a:lnTo>
                    <a:pt x="1920" y="1623"/>
                  </a:lnTo>
                  <a:lnTo>
                    <a:pt x="1920" y="1623"/>
                  </a:lnTo>
                  <a:lnTo>
                    <a:pt x="1916" y="1623"/>
                  </a:lnTo>
                  <a:lnTo>
                    <a:pt x="1911" y="1628"/>
                  </a:lnTo>
                  <a:lnTo>
                    <a:pt x="1911" y="1623"/>
                  </a:lnTo>
                  <a:lnTo>
                    <a:pt x="1911" y="1628"/>
                  </a:lnTo>
                  <a:lnTo>
                    <a:pt x="1906" y="1628"/>
                  </a:lnTo>
                  <a:lnTo>
                    <a:pt x="1906" y="1628"/>
                  </a:lnTo>
                  <a:lnTo>
                    <a:pt x="1906" y="1628"/>
                  </a:lnTo>
                  <a:lnTo>
                    <a:pt x="1906" y="1628"/>
                  </a:lnTo>
                  <a:lnTo>
                    <a:pt x="1906" y="1623"/>
                  </a:lnTo>
                  <a:lnTo>
                    <a:pt x="1906" y="1623"/>
                  </a:lnTo>
                  <a:lnTo>
                    <a:pt x="1906" y="1623"/>
                  </a:lnTo>
                  <a:lnTo>
                    <a:pt x="1906" y="1623"/>
                  </a:lnTo>
                  <a:lnTo>
                    <a:pt x="1902" y="1623"/>
                  </a:lnTo>
                  <a:lnTo>
                    <a:pt x="1902" y="1628"/>
                  </a:lnTo>
                  <a:lnTo>
                    <a:pt x="1902" y="1632"/>
                  </a:lnTo>
                  <a:lnTo>
                    <a:pt x="1897" y="1637"/>
                  </a:lnTo>
                  <a:lnTo>
                    <a:pt x="1897" y="1637"/>
                  </a:lnTo>
                  <a:lnTo>
                    <a:pt x="1897" y="1637"/>
                  </a:lnTo>
                  <a:lnTo>
                    <a:pt x="1897" y="1628"/>
                  </a:lnTo>
                  <a:lnTo>
                    <a:pt x="1897" y="1628"/>
                  </a:lnTo>
                  <a:lnTo>
                    <a:pt x="1897" y="1623"/>
                  </a:lnTo>
                  <a:lnTo>
                    <a:pt x="1897" y="1623"/>
                  </a:lnTo>
                  <a:lnTo>
                    <a:pt x="1902" y="1623"/>
                  </a:lnTo>
                  <a:lnTo>
                    <a:pt x="1902" y="1623"/>
                  </a:lnTo>
                  <a:lnTo>
                    <a:pt x="1902" y="1623"/>
                  </a:lnTo>
                  <a:lnTo>
                    <a:pt x="1902" y="1619"/>
                  </a:lnTo>
                  <a:lnTo>
                    <a:pt x="1902" y="1619"/>
                  </a:lnTo>
                  <a:lnTo>
                    <a:pt x="1902" y="1619"/>
                  </a:lnTo>
                  <a:lnTo>
                    <a:pt x="1897" y="1619"/>
                  </a:lnTo>
                  <a:lnTo>
                    <a:pt x="1897" y="1623"/>
                  </a:lnTo>
                  <a:lnTo>
                    <a:pt x="1897" y="1619"/>
                  </a:lnTo>
                  <a:lnTo>
                    <a:pt x="1897" y="1619"/>
                  </a:lnTo>
                  <a:lnTo>
                    <a:pt x="1897" y="1619"/>
                  </a:lnTo>
                  <a:lnTo>
                    <a:pt x="1897" y="1619"/>
                  </a:lnTo>
                  <a:lnTo>
                    <a:pt x="1897" y="1619"/>
                  </a:lnTo>
                  <a:lnTo>
                    <a:pt x="1897" y="1614"/>
                  </a:lnTo>
                  <a:lnTo>
                    <a:pt x="1897" y="1614"/>
                  </a:lnTo>
                  <a:lnTo>
                    <a:pt x="1897" y="1614"/>
                  </a:lnTo>
                  <a:lnTo>
                    <a:pt x="1897" y="1610"/>
                  </a:lnTo>
                  <a:lnTo>
                    <a:pt x="1897" y="1610"/>
                  </a:lnTo>
                  <a:lnTo>
                    <a:pt x="1897" y="1610"/>
                  </a:lnTo>
                  <a:lnTo>
                    <a:pt x="1897" y="1610"/>
                  </a:lnTo>
                  <a:lnTo>
                    <a:pt x="1897" y="1610"/>
                  </a:lnTo>
                  <a:lnTo>
                    <a:pt x="1893" y="1610"/>
                  </a:lnTo>
                  <a:lnTo>
                    <a:pt x="1893" y="1610"/>
                  </a:lnTo>
                  <a:lnTo>
                    <a:pt x="1893" y="1605"/>
                  </a:lnTo>
                  <a:lnTo>
                    <a:pt x="1893" y="1605"/>
                  </a:lnTo>
                  <a:lnTo>
                    <a:pt x="1888" y="1605"/>
                  </a:lnTo>
                  <a:lnTo>
                    <a:pt x="1888" y="1605"/>
                  </a:lnTo>
                  <a:lnTo>
                    <a:pt x="1888" y="1605"/>
                  </a:lnTo>
                  <a:lnTo>
                    <a:pt x="1888" y="1610"/>
                  </a:lnTo>
                  <a:lnTo>
                    <a:pt x="1884" y="1610"/>
                  </a:lnTo>
                  <a:lnTo>
                    <a:pt x="1884" y="1605"/>
                  </a:lnTo>
                  <a:lnTo>
                    <a:pt x="1884" y="1601"/>
                  </a:lnTo>
                  <a:lnTo>
                    <a:pt x="1884" y="1601"/>
                  </a:lnTo>
                  <a:lnTo>
                    <a:pt x="1879" y="1601"/>
                  </a:lnTo>
                  <a:lnTo>
                    <a:pt x="1879" y="1601"/>
                  </a:lnTo>
                  <a:lnTo>
                    <a:pt x="1875" y="1601"/>
                  </a:lnTo>
                  <a:lnTo>
                    <a:pt x="1875" y="1596"/>
                  </a:lnTo>
                  <a:lnTo>
                    <a:pt x="1870" y="1596"/>
                  </a:lnTo>
                  <a:lnTo>
                    <a:pt x="1870" y="1596"/>
                  </a:lnTo>
                  <a:lnTo>
                    <a:pt x="1870" y="1596"/>
                  </a:lnTo>
                  <a:lnTo>
                    <a:pt x="1870" y="1596"/>
                  </a:lnTo>
                  <a:lnTo>
                    <a:pt x="1866" y="1596"/>
                  </a:lnTo>
                  <a:lnTo>
                    <a:pt x="1866" y="1596"/>
                  </a:lnTo>
                  <a:lnTo>
                    <a:pt x="1861" y="1596"/>
                  </a:lnTo>
                  <a:lnTo>
                    <a:pt x="1861" y="1592"/>
                  </a:lnTo>
                  <a:lnTo>
                    <a:pt x="1861" y="1592"/>
                  </a:lnTo>
                  <a:lnTo>
                    <a:pt x="1861" y="1592"/>
                  </a:lnTo>
                  <a:lnTo>
                    <a:pt x="1857" y="1592"/>
                  </a:lnTo>
                  <a:lnTo>
                    <a:pt x="1857" y="1592"/>
                  </a:lnTo>
                  <a:lnTo>
                    <a:pt x="1857" y="1592"/>
                  </a:lnTo>
                  <a:lnTo>
                    <a:pt x="1852" y="1592"/>
                  </a:lnTo>
                  <a:lnTo>
                    <a:pt x="1852" y="1587"/>
                  </a:lnTo>
                  <a:lnTo>
                    <a:pt x="1852" y="1587"/>
                  </a:lnTo>
                  <a:lnTo>
                    <a:pt x="1848" y="1587"/>
                  </a:lnTo>
                  <a:lnTo>
                    <a:pt x="1848" y="1587"/>
                  </a:lnTo>
                  <a:lnTo>
                    <a:pt x="1848" y="1587"/>
                  </a:lnTo>
                  <a:lnTo>
                    <a:pt x="1848" y="1592"/>
                  </a:lnTo>
                  <a:lnTo>
                    <a:pt x="1848" y="1592"/>
                  </a:lnTo>
                  <a:lnTo>
                    <a:pt x="1848" y="1592"/>
                  </a:lnTo>
                  <a:lnTo>
                    <a:pt x="1848" y="1587"/>
                  </a:lnTo>
                  <a:lnTo>
                    <a:pt x="1843" y="1592"/>
                  </a:lnTo>
                  <a:lnTo>
                    <a:pt x="1843" y="1592"/>
                  </a:lnTo>
                  <a:lnTo>
                    <a:pt x="1843" y="1592"/>
                  </a:lnTo>
                  <a:lnTo>
                    <a:pt x="1843" y="1587"/>
                  </a:lnTo>
                  <a:lnTo>
                    <a:pt x="1843" y="1587"/>
                  </a:lnTo>
                  <a:lnTo>
                    <a:pt x="1839" y="1587"/>
                  </a:lnTo>
                  <a:lnTo>
                    <a:pt x="1839" y="1592"/>
                  </a:lnTo>
                  <a:lnTo>
                    <a:pt x="1839" y="1592"/>
                  </a:lnTo>
                  <a:lnTo>
                    <a:pt x="1839" y="1592"/>
                  </a:lnTo>
                  <a:lnTo>
                    <a:pt x="1839" y="1592"/>
                  </a:lnTo>
                  <a:lnTo>
                    <a:pt x="1839" y="1592"/>
                  </a:lnTo>
                  <a:lnTo>
                    <a:pt x="1834" y="1592"/>
                  </a:lnTo>
                  <a:lnTo>
                    <a:pt x="1834" y="1592"/>
                  </a:lnTo>
                  <a:lnTo>
                    <a:pt x="1834" y="1596"/>
                  </a:lnTo>
                  <a:lnTo>
                    <a:pt x="1834" y="1596"/>
                  </a:lnTo>
                  <a:lnTo>
                    <a:pt x="1830" y="1596"/>
                  </a:lnTo>
                  <a:lnTo>
                    <a:pt x="1830" y="1601"/>
                  </a:lnTo>
                  <a:lnTo>
                    <a:pt x="1830" y="1601"/>
                  </a:lnTo>
                  <a:lnTo>
                    <a:pt x="1830" y="1601"/>
                  </a:lnTo>
                  <a:lnTo>
                    <a:pt x="1830" y="1605"/>
                  </a:lnTo>
                  <a:lnTo>
                    <a:pt x="1834" y="1605"/>
                  </a:lnTo>
                  <a:lnTo>
                    <a:pt x="1830" y="1605"/>
                  </a:lnTo>
                  <a:lnTo>
                    <a:pt x="1830" y="1605"/>
                  </a:lnTo>
                  <a:lnTo>
                    <a:pt x="1830" y="1605"/>
                  </a:lnTo>
                  <a:lnTo>
                    <a:pt x="1830" y="1605"/>
                  </a:lnTo>
                  <a:lnTo>
                    <a:pt x="1825" y="1605"/>
                  </a:lnTo>
                  <a:lnTo>
                    <a:pt x="1821" y="1610"/>
                  </a:lnTo>
                  <a:lnTo>
                    <a:pt x="1821" y="1614"/>
                  </a:lnTo>
                  <a:lnTo>
                    <a:pt x="1816" y="1614"/>
                  </a:lnTo>
                  <a:lnTo>
                    <a:pt x="1816" y="1623"/>
                  </a:lnTo>
                  <a:lnTo>
                    <a:pt x="1812" y="1623"/>
                  </a:lnTo>
                  <a:lnTo>
                    <a:pt x="1812" y="1628"/>
                  </a:lnTo>
                  <a:lnTo>
                    <a:pt x="1812" y="1628"/>
                  </a:lnTo>
                  <a:lnTo>
                    <a:pt x="1812" y="1628"/>
                  </a:lnTo>
                  <a:lnTo>
                    <a:pt x="1812" y="1628"/>
                  </a:lnTo>
                  <a:lnTo>
                    <a:pt x="1812" y="1623"/>
                  </a:lnTo>
                  <a:lnTo>
                    <a:pt x="1812" y="1619"/>
                  </a:lnTo>
                  <a:lnTo>
                    <a:pt x="1812" y="1619"/>
                  </a:lnTo>
                  <a:lnTo>
                    <a:pt x="1816" y="1614"/>
                  </a:lnTo>
                  <a:lnTo>
                    <a:pt x="1816" y="1610"/>
                  </a:lnTo>
                  <a:lnTo>
                    <a:pt x="1812" y="1610"/>
                  </a:lnTo>
                  <a:lnTo>
                    <a:pt x="1807" y="1614"/>
                  </a:lnTo>
                  <a:lnTo>
                    <a:pt x="1807" y="1610"/>
                  </a:lnTo>
                  <a:lnTo>
                    <a:pt x="1803" y="1610"/>
                  </a:lnTo>
                  <a:lnTo>
                    <a:pt x="1803" y="1610"/>
                  </a:lnTo>
                  <a:lnTo>
                    <a:pt x="1803" y="1614"/>
                  </a:lnTo>
                  <a:lnTo>
                    <a:pt x="1798" y="1614"/>
                  </a:lnTo>
                  <a:lnTo>
                    <a:pt x="1798" y="1614"/>
                  </a:lnTo>
                  <a:lnTo>
                    <a:pt x="1794" y="1610"/>
                  </a:lnTo>
                  <a:lnTo>
                    <a:pt x="1794" y="1610"/>
                  </a:lnTo>
                  <a:lnTo>
                    <a:pt x="1794" y="1610"/>
                  </a:lnTo>
                  <a:lnTo>
                    <a:pt x="1794" y="1610"/>
                  </a:lnTo>
                  <a:lnTo>
                    <a:pt x="1794" y="1610"/>
                  </a:lnTo>
                  <a:lnTo>
                    <a:pt x="1789" y="1605"/>
                  </a:lnTo>
                  <a:lnTo>
                    <a:pt x="1789" y="1601"/>
                  </a:lnTo>
                  <a:lnTo>
                    <a:pt x="1789" y="1601"/>
                  </a:lnTo>
                  <a:lnTo>
                    <a:pt x="1789" y="1601"/>
                  </a:lnTo>
                  <a:lnTo>
                    <a:pt x="1789" y="1596"/>
                  </a:lnTo>
                  <a:lnTo>
                    <a:pt x="1789" y="1596"/>
                  </a:lnTo>
                  <a:lnTo>
                    <a:pt x="1789" y="1596"/>
                  </a:lnTo>
                  <a:lnTo>
                    <a:pt x="1789" y="1596"/>
                  </a:lnTo>
                  <a:lnTo>
                    <a:pt x="1789" y="1596"/>
                  </a:lnTo>
                  <a:lnTo>
                    <a:pt x="1784" y="1596"/>
                  </a:lnTo>
                  <a:lnTo>
                    <a:pt x="1784" y="1596"/>
                  </a:lnTo>
                  <a:lnTo>
                    <a:pt x="1784" y="1596"/>
                  </a:lnTo>
                  <a:lnTo>
                    <a:pt x="1780" y="1601"/>
                  </a:lnTo>
                  <a:lnTo>
                    <a:pt x="1775" y="1601"/>
                  </a:lnTo>
                  <a:lnTo>
                    <a:pt x="1775" y="1601"/>
                  </a:lnTo>
                  <a:lnTo>
                    <a:pt x="1771" y="1605"/>
                  </a:lnTo>
                  <a:lnTo>
                    <a:pt x="1766" y="1610"/>
                  </a:lnTo>
                  <a:lnTo>
                    <a:pt x="1762" y="1605"/>
                  </a:lnTo>
                  <a:lnTo>
                    <a:pt x="1757" y="1605"/>
                  </a:lnTo>
                  <a:lnTo>
                    <a:pt x="1757" y="1605"/>
                  </a:lnTo>
                  <a:lnTo>
                    <a:pt x="1766" y="1601"/>
                  </a:lnTo>
                  <a:lnTo>
                    <a:pt x="1771" y="1605"/>
                  </a:lnTo>
                  <a:lnTo>
                    <a:pt x="1771" y="1601"/>
                  </a:lnTo>
                  <a:lnTo>
                    <a:pt x="1771" y="1601"/>
                  </a:lnTo>
                  <a:lnTo>
                    <a:pt x="1771" y="1601"/>
                  </a:lnTo>
                  <a:lnTo>
                    <a:pt x="1771" y="1596"/>
                  </a:lnTo>
                  <a:lnTo>
                    <a:pt x="1775" y="1596"/>
                  </a:lnTo>
                  <a:lnTo>
                    <a:pt x="1775" y="1592"/>
                  </a:lnTo>
                  <a:lnTo>
                    <a:pt x="1775" y="1592"/>
                  </a:lnTo>
                  <a:lnTo>
                    <a:pt x="1775" y="1587"/>
                  </a:lnTo>
                  <a:lnTo>
                    <a:pt x="1780" y="1587"/>
                  </a:lnTo>
                  <a:lnTo>
                    <a:pt x="1780" y="1582"/>
                  </a:lnTo>
                  <a:lnTo>
                    <a:pt x="1780" y="1578"/>
                  </a:lnTo>
                  <a:lnTo>
                    <a:pt x="1780" y="1578"/>
                  </a:lnTo>
                  <a:lnTo>
                    <a:pt x="1784" y="1578"/>
                  </a:lnTo>
                  <a:lnTo>
                    <a:pt x="1789" y="1573"/>
                  </a:lnTo>
                  <a:lnTo>
                    <a:pt x="1789" y="1573"/>
                  </a:lnTo>
                  <a:lnTo>
                    <a:pt x="1789" y="1573"/>
                  </a:lnTo>
                  <a:lnTo>
                    <a:pt x="1789" y="1573"/>
                  </a:lnTo>
                  <a:lnTo>
                    <a:pt x="1794" y="1569"/>
                  </a:lnTo>
                  <a:lnTo>
                    <a:pt x="1798" y="1564"/>
                  </a:lnTo>
                  <a:lnTo>
                    <a:pt x="1798" y="1560"/>
                  </a:lnTo>
                  <a:lnTo>
                    <a:pt x="1798" y="1560"/>
                  </a:lnTo>
                  <a:lnTo>
                    <a:pt x="1803" y="1555"/>
                  </a:lnTo>
                  <a:lnTo>
                    <a:pt x="1803" y="1555"/>
                  </a:lnTo>
                  <a:lnTo>
                    <a:pt x="1807" y="1555"/>
                  </a:lnTo>
                  <a:lnTo>
                    <a:pt x="1807" y="1555"/>
                  </a:lnTo>
                  <a:lnTo>
                    <a:pt x="1807" y="1551"/>
                  </a:lnTo>
                  <a:lnTo>
                    <a:pt x="1807" y="1551"/>
                  </a:lnTo>
                  <a:lnTo>
                    <a:pt x="1803" y="1542"/>
                  </a:lnTo>
                  <a:lnTo>
                    <a:pt x="1803" y="1542"/>
                  </a:lnTo>
                  <a:lnTo>
                    <a:pt x="1803" y="1542"/>
                  </a:lnTo>
                  <a:lnTo>
                    <a:pt x="1798" y="1542"/>
                  </a:lnTo>
                  <a:lnTo>
                    <a:pt x="1798" y="1542"/>
                  </a:lnTo>
                  <a:lnTo>
                    <a:pt x="1794" y="1537"/>
                  </a:lnTo>
                  <a:lnTo>
                    <a:pt x="1794" y="1537"/>
                  </a:lnTo>
                  <a:lnTo>
                    <a:pt x="1794" y="1537"/>
                  </a:lnTo>
                  <a:lnTo>
                    <a:pt x="1794" y="1533"/>
                  </a:lnTo>
                  <a:lnTo>
                    <a:pt x="1794" y="1533"/>
                  </a:lnTo>
                  <a:lnTo>
                    <a:pt x="1794" y="1533"/>
                  </a:lnTo>
                  <a:lnTo>
                    <a:pt x="1794" y="1533"/>
                  </a:lnTo>
                  <a:lnTo>
                    <a:pt x="1794" y="1528"/>
                  </a:lnTo>
                  <a:lnTo>
                    <a:pt x="1789" y="1528"/>
                  </a:lnTo>
                  <a:lnTo>
                    <a:pt x="1789" y="1528"/>
                  </a:lnTo>
                  <a:lnTo>
                    <a:pt x="1789" y="1524"/>
                  </a:lnTo>
                  <a:lnTo>
                    <a:pt x="1789" y="1515"/>
                  </a:lnTo>
                  <a:lnTo>
                    <a:pt x="1784" y="1515"/>
                  </a:lnTo>
                  <a:lnTo>
                    <a:pt x="1784" y="1506"/>
                  </a:lnTo>
                  <a:lnTo>
                    <a:pt x="1784" y="1497"/>
                  </a:lnTo>
                  <a:lnTo>
                    <a:pt x="1780" y="1497"/>
                  </a:lnTo>
                  <a:lnTo>
                    <a:pt x="1780" y="1492"/>
                  </a:lnTo>
                  <a:lnTo>
                    <a:pt x="1780" y="1492"/>
                  </a:lnTo>
                  <a:lnTo>
                    <a:pt x="1780" y="1497"/>
                  </a:lnTo>
                  <a:lnTo>
                    <a:pt x="1775" y="1497"/>
                  </a:lnTo>
                  <a:lnTo>
                    <a:pt x="1775" y="1497"/>
                  </a:lnTo>
                  <a:lnTo>
                    <a:pt x="1775" y="1497"/>
                  </a:lnTo>
                  <a:lnTo>
                    <a:pt x="1775" y="1497"/>
                  </a:lnTo>
                  <a:lnTo>
                    <a:pt x="1775" y="1492"/>
                  </a:lnTo>
                  <a:lnTo>
                    <a:pt x="1775" y="1488"/>
                  </a:lnTo>
                  <a:lnTo>
                    <a:pt x="1775" y="1488"/>
                  </a:lnTo>
                  <a:lnTo>
                    <a:pt x="1771" y="1488"/>
                  </a:lnTo>
                  <a:lnTo>
                    <a:pt x="1771" y="1488"/>
                  </a:lnTo>
                  <a:lnTo>
                    <a:pt x="1771" y="1492"/>
                  </a:lnTo>
                  <a:lnTo>
                    <a:pt x="1771" y="1492"/>
                  </a:lnTo>
                  <a:lnTo>
                    <a:pt x="1771" y="1492"/>
                  </a:lnTo>
                  <a:lnTo>
                    <a:pt x="1771" y="1492"/>
                  </a:lnTo>
                  <a:lnTo>
                    <a:pt x="1771" y="1492"/>
                  </a:lnTo>
                  <a:lnTo>
                    <a:pt x="1771" y="1488"/>
                  </a:lnTo>
                  <a:lnTo>
                    <a:pt x="1771" y="1488"/>
                  </a:lnTo>
                  <a:lnTo>
                    <a:pt x="1771" y="1483"/>
                  </a:lnTo>
                  <a:lnTo>
                    <a:pt x="1766" y="1483"/>
                  </a:lnTo>
                  <a:lnTo>
                    <a:pt x="1766" y="1483"/>
                  </a:lnTo>
                  <a:lnTo>
                    <a:pt x="1766" y="1483"/>
                  </a:lnTo>
                  <a:lnTo>
                    <a:pt x="1766" y="1479"/>
                  </a:lnTo>
                  <a:lnTo>
                    <a:pt x="1762" y="1479"/>
                  </a:lnTo>
                  <a:lnTo>
                    <a:pt x="1757" y="1474"/>
                  </a:lnTo>
                  <a:lnTo>
                    <a:pt x="1757" y="1469"/>
                  </a:lnTo>
                  <a:lnTo>
                    <a:pt x="1748" y="1469"/>
                  </a:lnTo>
                  <a:lnTo>
                    <a:pt x="1744" y="1469"/>
                  </a:lnTo>
                  <a:lnTo>
                    <a:pt x="1739" y="1465"/>
                  </a:lnTo>
                  <a:lnTo>
                    <a:pt x="1739" y="1465"/>
                  </a:lnTo>
                  <a:lnTo>
                    <a:pt x="1735" y="1465"/>
                  </a:lnTo>
                  <a:lnTo>
                    <a:pt x="1735" y="1469"/>
                  </a:lnTo>
                  <a:lnTo>
                    <a:pt x="1735" y="1474"/>
                  </a:lnTo>
                  <a:lnTo>
                    <a:pt x="1735" y="1469"/>
                  </a:lnTo>
                  <a:lnTo>
                    <a:pt x="1735" y="1469"/>
                  </a:lnTo>
                  <a:lnTo>
                    <a:pt x="1735" y="1465"/>
                  </a:lnTo>
                  <a:lnTo>
                    <a:pt x="1735" y="1465"/>
                  </a:lnTo>
                  <a:lnTo>
                    <a:pt x="1735" y="1465"/>
                  </a:lnTo>
                  <a:lnTo>
                    <a:pt x="1730" y="1460"/>
                  </a:lnTo>
                  <a:lnTo>
                    <a:pt x="1721" y="1460"/>
                  </a:lnTo>
                  <a:lnTo>
                    <a:pt x="1717" y="1460"/>
                  </a:lnTo>
                  <a:lnTo>
                    <a:pt x="1712" y="1460"/>
                  </a:lnTo>
                  <a:lnTo>
                    <a:pt x="1708" y="1460"/>
                  </a:lnTo>
                  <a:lnTo>
                    <a:pt x="1703" y="1460"/>
                  </a:lnTo>
                  <a:lnTo>
                    <a:pt x="1703" y="1460"/>
                  </a:lnTo>
                  <a:lnTo>
                    <a:pt x="1703" y="1465"/>
                  </a:lnTo>
                  <a:lnTo>
                    <a:pt x="1703" y="1465"/>
                  </a:lnTo>
                  <a:lnTo>
                    <a:pt x="1703" y="1465"/>
                  </a:lnTo>
                  <a:lnTo>
                    <a:pt x="1699" y="1460"/>
                  </a:lnTo>
                  <a:lnTo>
                    <a:pt x="1694" y="1460"/>
                  </a:lnTo>
                  <a:lnTo>
                    <a:pt x="1685" y="1460"/>
                  </a:lnTo>
                  <a:lnTo>
                    <a:pt x="1685" y="1460"/>
                  </a:lnTo>
                  <a:lnTo>
                    <a:pt x="1681" y="1465"/>
                  </a:lnTo>
                  <a:lnTo>
                    <a:pt x="1681" y="1465"/>
                  </a:lnTo>
                  <a:lnTo>
                    <a:pt x="1681" y="1465"/>
                  </a:lnTo>
                  <a:lnTo>
                    <a:pt x="1681" y="1469"/>
                  </a:lnTo>
                  <a:lnTo>
                    <a:pt x="1681" y="1469"/>
                  </a:lnTo>
                  <a:lnTo>
                    <a:pt x="1681" y="1469"/>
                  </a:lnTo>
                  <a:lnTo>
                    <a:pt x="1681" y="1460"/>
                  </a:lnTo>
                  <a:lnTo>
                    <a:pt x="1681" y="1456"/>
                  </a:lnTo>
                  <a:lnTo>
                    <a:pt x="1681" y="1456"/>
                  </a:lnTo>
                  <a:lnTo>
                    <a:pt x="1681" y="1456"/>
                  </a:lnTo>
                  <a:lnTo>
                    <a:pt x="1676" y="1451"/>
                  </a:lnTo>
                  <a:lnTo>
                    <a:pt x="1676" y="1451"/>
                  </a:lnTo>
                  <a:lnTo>
                    <a:pt x="1672" y="1447"/>
                  </a:lnTo>
                  <a:lnTo>
                    <a:pt x="1667" y="1442"/>
                  </a:lnTo>
                  <a:lnTo>
                    <a:pt x="1667" y="1442"/>
                  </a:lnTo>
                  <a:lnTo>
                    <a:pt x="1663" y="1442"/>
                  </a:lnTo>
                  <a:lnTo>
                    <a:pt x="1663" y="1442"/>
                  </a:lnTo>
                  <a:lnTo>
                    <a:pt x="1663" y="1442"/>
                  </a:lnTo>
                  <a:lnTo>
                    <a:pt x="1658" y="1447"/>
                  </a:lnTo>
                  <a:lnTo>
                    <a:pt x="1658" y="1447"/>
                  </a:lnTo>
                  <a:lnTo>
                    <a:pt x="1658" y="1451"/>
                  </a:lnTo>
                  <a:lnTo>
                    <a:pt x="1653" y="1451"/>
                  </a:lnTo>
                  <a:lnTo>
                    <a:pt x="1658" y="1451"/>
                  </a:lnTo>
                  <a:lnTo>
                    <a:pt x="1658" y="1447"/>
                  </a:lnTo>
                  <a:lnTo>
                    <a:pt x="1658" y="1442"/>
                  </a:lnTo>
                  <a:lnTo>
                    <a:pt x="1658" y="1438"/>
                  </a:lnTo>
                  <a:lnTo>
                    <a:pt x="1658" y="1433"/>
                  </a:lnTo>
                  <a:lnTo>
                    <a:pt x="1658" y="1433"/>
                  </a:lnTo>
                  <a:lnTo>
                    <a:pt x="1658" y="1429"/>
                  </a:lnTo>
                  <a:lnTo>
                    <a:pt x="1658" y="1429"/>
                  </a:lnTo>
                  <a:lnTo>
                    <a:pt x="1653" y="1424"/>
                  </a:lnTo>
                  <a:lnTo>
                    <a:pt x="1649" y="1420"/>
                  </a:lnTo>
                  <a:lnTo>
                    <a:pt x="1644" y="1415"/>
                  </a:lnTo>
                  <a:lnTo>
                    <a:pt x="1640" y="1415"/>
                  </a:lnTo>
                  <a:lnTo>
                    <a:pt x="1640" y="1415"/>
                  </a:lnTo>
                  <a:lnTo>
                    <a:pt x="1640" y="1415"/>
                  </a:lnTo>
                  <a:lnTo>
                    <a:pt x="1640" y="1415"/>
                  </a:lnTo>
                  <a:lnTo>
                    <a:pt x="1635" y="1415"/>
                  </a:lnTo>
                  <a:lnTo>
                    <a:pt x="1635" y="1411"/>
                  </a:lnTo>
                  <a:lnTo>
                    <a:pt x="1635" y="1411"/>
                  </a:lnTo>
                  <a:lnTo>
                    <a:pt x="1631" y="1411"/>
                  </a:lnTo>
                  <a:lnTo>
                    <a:pt x="1631" y="1411"/>
                  </a:lnTo>
                  <a:lnTo>
                    <a:pt x="1626" y="1411"/>
                  </a:lnTo>
                  <a:lnTo>
                    <a:pt x="1626" y="1411"/>
                  </a:lnTo>
                  <a:lnTo>
                    <a:pt x="1622" y="1411"/>
                  </a:lnTo>
                  <a:lnTo>
                    <a:pt x="1622" y="1411"/>
                  </a:lnTo>
                  <a:lnTo>
                    <a:pt x="1617" y="1411"/>
                  </a:lnTo>
                  <a:lnTo>
                    <a:pt x="1613" y="1411"/>
                  </a:lnTo>
                  <a:lnTo>
                    <a:pt x="1613" y="1411"/>
                  </a:lnTo>
                  <a:lnTo>
                    <a:pt x="1608" y="1411"/>
                  </a:lnTo>
                  <a:lnTo>
                    <a:pt x="1608" y="1411"/>
                  </a:lnTo>
                  <a:lnTo>
                    <a:pt x="1608" y="1411"/>
                  </a:lnTo>
                  <a:lnTo>
                    <a:pt x="1613" y="1411"/>
                  </a:lnTo>
                  <a:lnTo>
                    <a:pt x="1613" y="1406"/>
                  </a:lnTo>
                  <a:lnTo>
                    <a:pt x="1617" y="1406"/>
                  </a:lnTo>
                  <a:lnTo>
                    <a:pt x="1617" y="1402"/>
                  </a:lnTo>
                  <a:lnTo>
                    <a:pt x="1617" y="1402"/>
                  </a:lnTo>
                  <a:lnTo>
                    <a:pt x="1617" y="1402"/>
                  </a:lnTo>
                  <a:lnTo>
                    <a:pt x="1617" y="1397"/>
                  </a:lnTo>
                  <a:lnTo>
                    <a:pt x="1617" y="1397"/>
                  </a:lnTo>
                  <a:lnTo>
                    <a:pt x="1617" y="1397"/>
                  </a:lnTo>
                  <a:lnTo>
                    <a:pt x="1622" y="1397"/>
                  </a:lnTo>
                  <a:lnTo>
                    <a:pt x="1622" y="1393"/>
                  </a:lnTo>
                  <a:lnTo>
                    <a:pt x="1622" y="1393"/>
                  </a:lnTo>
                  <a:lnTo>
                    <a:pt x="1617" y="1393"/>
                  </a:lnTo>
                  <a:lnTo>
                    <a:pt x="1613" y="1388"/>
                  </a:lnTo>
                  <a:lnTo>
                    <a:pt x="1613" y="1388"/>
                  </a:lnTo>
                  <a:lnTo>
                    <a:pt x="1613" y="1384"/>
                  </a:lnTo>
                  <a:lnTo>
                    <a:pt x="1608" y="1384"/>
                  </a:lnTo>
                  <a:lnTo>
                    <a:pt x="1608" y="1384"/>
                  </a:lnTo>
                  <a:lnTo>
                    <a:pt x="1608" y="1384"/>
                  </a:lnTo>
                  <a:lnTo>
                    <a:pt x="1608" y="1388"/>
                  </a:lnTo>
                  <a:lnTo>
                    <a:pt x="1608" y="1388"/>
                  </a:lnTo>
                  <a:lnTo>
                    <a:pt x="1608" y="1388"/>
                  </a:lnTo>
                  <a:lnTo>
                    <a:pt x="1604" y="1388"/>
                  </a:lnTo>
                  <a:lnTo>
                    <a:pt x="1604" y="1388"/>
                  </a:lnTo>
                  <a:lnTo>
                    <a:pt x="1604" y="1388"/>
                  </a:lnTo>
                  <a:lnTo>
                    <a:pt x="1604" y="1388"/>
                  </a:lnTo>
                  <a:lnTo>
                    <a:pt x="1604" y="1384"/>
                  </a:lnTo>
                  <a:lnTo>
                    <a:pt x="1604" y="1384"/>
                  </a:lnTo>
                  <a:lnTo>
                    <a:pt x="1599" y="1384"/>
                  </a:lnTo>
                  <a:lnTo>
                    <a:pt x="1599" y="1384"/>
                  </a:lnTo>
                  <a:lnTo>
                    <a:pt x="1599" y="1384"/>
                  </a:lnTo>
                  <a:lnTo>
                    <a:pt x="1599" y="1384"/>
                  </a:lnTo>
                  <a:lnTo>
                    <a:pt x="1599" y="1384"/>
                  </a:lnTo>
                  <a:lnTo>
                    <a:pt x="1599" y="1384"/>
                  </a:lnTo>
                  <a:lnTo>
                    <a:pt x="1599" y="1384"/>
                  </a:lnTo>
                  <a:lnTo>
                    <a:pt x="1599" y="1384"/>
                  </a:lnTo>
                  <a:lnTo>
                    <a:pt x="1599" y="1384"/>
                  </a:lnTo>
                  <a:lnTo>
                    <a:pt x="1599" y="1384"/>
                  </a:lnTo>
                  <a:lnTo>
                    <a:pt x="1599" y="1384"/>
                  </a:lnTo>
                  <a:lnTo>
                    <a:pt x="1595" y="1384"/>
                  </a:lnTo>
                  <a:lnTo>
                    <a:pt x="1595" y="1384"/>
                  </a:lnTo>
                  <a:lnTo>
                    <a:pt x="1595" y="1384"/>
                  </a:lnTo>
                  <a:lnTo>
                    <a:pt x="1595" y="1379"/>
                  </a:lnTo>
                  <a:lnTo>
                    <a:pt x="1595" y="1379"/>
                  </a:lnTo>
                  <a:lnTo>
                    <a:pt x="1590" y="1379"/>
                  </a:lnTo>
                  <a:lnTo>
                    <a:pt x="1590" y="1379"/>
                  </a:lnTo>
                  <a:lnTo>
                    <a:pt x="1590" y="1379"/>
                  </a:lnTo>
                  <a:lnTo>
                    <a:pt x="1590" y="1379"/>
                  </a:lnTo>
                  <a:lnTo>
                    <a:pt x="1590" y="1379"/>
                  </a:lnTo>
                  <a:lnTo>
                    <a:pt x="1590" y="1379"/>
                  </a:lnTo>
                  <a:lnTo>
                    <a:pt x="1590" y="1379"/>
                  </a:lnTo>
                  <a:lnTo>
                    <a:pt x="1590" y="1375"/>
                  </a:lnTo>
                  <a:lnTo>
                    <a:pt x="1590" y="1375"/>
                  </a:lnTo>
                  <a:lnTo>
                    <a:pt x="1590" y="1375"/>
                  </a:lnTo>
                  <a:lnTo>
                    <a:pt x="1590" y="1375"/>
                  </a:lnTo>
                  <a:lnTo>
                    <a:pt x="1590" y="1375"/>
                  </a:lnTo>
                  <a:lnTo>
                    <a:pt x="1590" y="1370"/>
                  </a:lnTo>
                  <a:lnTo>
                    <a:pt x="1586" y="1370"/>
                  </a:lnTo>
                  <a:lnTo>
                    <a:pt x="1590" y="1370"/>
                  </a:lnTo>
                  <a:lnTo>
                    <a:pt x="1595" y="1370"/>
                  </a:lnTo>
                  <a:lnTo>
                    <a:pt x="1599" y="1370"/>
                  </a:lnTo>
                  <a:lnTo>
                    <a:pt x="1604" y="1370"/>
                  </a:lnTo>
                  <a:lnTo>
                    <a:pt x="1604" y="1370"/>
                  </a:lnTo>
                  <a:lnTo>
                    <a:pt x="1604" y="1365"/>
                  </a:lnTo>
                  <a:lnTo>
                    <a:pt x="1599" y="1370"/>
                  </a:lnTo>
                  <a:lnTo>
                    <a:pt x="1590" y="1365"/>
                  </a:lnTo>
                  <a:lnTo>
                    <a:pt x="1586" y="1365"/>
                  </a:lnTo>
                  <a:lnTo>
                    <a:pt x="1586" y="1365"/>
                  </a:lnTo>
                  <a:lnTo>
                    <a:pt x="1581" y="1365"/>
                  </a:lnTo>
                  <a:lnTo>
                    <a:pt x="1577" y="1370"/>
                  </a:lnTo>
                  <a:lnTo>
                    <a:pt x="1572" y="1370"/>
                  </a:lnTo>
                  <a:lnTo>
                    <a:pt x="1563" y="1370"/>
                  </a:lnTo>
                  <a:lnTo>
                    <a:pt x="1563" y="1370"/>
                  </a:lnTo>
                  <a:lnTo>
                    <a:pt x="1563" y="1370"/>
                  </a:lnTo>
                  <a:lnTo>
                    <a:pt x="1568" y="1370"/>
                  </a:lnTo>
                  <a:lnTo>
                    <a:pt x="1572" y="1370"/>
                  </a:lnTo>
                  <a:lnTo>
                    <a:pt x="1572" y="1370"/>
                  </a:lnTo>
                  <a:lnTo>
                    <a:pt x="1572" y="1370"/>
                  </a:lnTo>
                  <a:lnTo>
                    <a:pt x="1572" y="1375"/>
                  </a:lnTo>
                  <a:lnTo>
                    <a:pt x="1563" y="1375"/>
                  </a:lnTo>
                  <a:lnTo>
                    <a:pt x="1554" y="1379"/>
                  </a:lnTo>
                  <a:lnTo>
                    <a:pt x="1550" y="1379"/>
                  </a:lnTo>
                  <a:lnTo>
                    <a:pt x="1550" y="1379"/>
                  </a:lnTo>
                  <a:lnTo>
                    <a:pt x="1550" y="1379"/>
                  </a:lnTo>
                  <a:lnTo>
                    <a:pt x="1545" y="1379"/>
                  </a:lnTo>
                  <a:lnTo>
                    <a:pt x="1541" y="1379"/>
                  </a:lnTo>
                  <a:lnTo>
                    <a:pt x="1541" y="1375"/>
                  </a:lnTo>
                  <a:lnTo>
                    <a:pt x="1536" y="1375"/>
                  </a:lnTo>
                  <a:lnTo>
                    <a:pt x="1532" y="1370"/>
                  </a:lnTo>
                  <a:lnTo>
                    <a:pt x="1532" y="1370"/>
                  </a:lnTo>
                  <a:lnTo>
                    <a:pt x="1532" y="1370"/>
                  </a:lnTo>
                  <a:lnTo>
                    <a:pt x="1532" y="1370"/>
                  </a:lnTo>
                  <a:lnTo>
                    <a:pt x="1518" y="1370"/>
                  </a:lnTo>
                  <a:lnTo>
                    <a:pt x="1513" y="1370"/>
                  </a:lnTo>
                  <a:lnTo>
                    <a:pt x="1504" y="1370"/>
                  </a:lnTo>
                  <a:lnTo>
                    <a:pt x="1500" y="1370"/>
                  </a:lnTo>
                  <a:lnTo>
                    <a:pt x="1495" y="1370"/>
                  </a:lnTo>
                  <a:lnTo>
                    <a:pt x="1495" y="1370"/>
                  </a:lnTo>
                  <a:lnTo>
                    <a:pt x="1495" y="1365"/>
                  </a:lnTo>
                  <a:lnTo>
                    <a:pt x="1495" y="1365"/>
                  </a:lnTo>
                  <a:lnTo>
                    <a:pt x="1495" y="1361"/>
                  </a:lnTo>
                  <a:lnTo>
                    <a:pt x="1495" y="1361"/>
                  </a:lnTo>
                  <a:lnTo>
                    <a:pt x="1495" y="1361"/>
                  </a:lnTo>
                  <a:lnTo>
                    <a:pt x="1495" y="1356"/>
                  </a:lnTo>
                  <a:lnTo>
                    <a:pt x="1491" y="1356"/>
                  </a:lnTo>
                  <a:lnTo>
                    <a:pt x="1486" y="1352"/>
                  </a:lnTo>
                  <a:lnTo>
                    <a:pt x="1482" y="1352"/>
                  </a:lnTo>
                  <a:lnTo>
                    <a:pt x="1482" y="1352"/>
                  </a:lnTo>
                  <a:lnTo>
                    <a:pt x="1473" y="1352"/>
                  </a:lnTo>
                  <a:lnTo>
                    <a:pt x="1473" y="1352"/>
                  </a:lnTo>
                  <a:lnTo>
                    <a:pt x="1473" y="1352"/>
                  </a:lnTo>
                  <a:lnTo>
                    <a:pt x="1473" y="1347"/>
                  </a:lnTo>
                  <a:lnTo>
                    <a:pt x="1473" y="1347"/>
                  </a:lnTo>
                  <a:lnTo>
                    <a:pt x="1473" y="1343"/>
                  </a:lnTo>
                  <a:lnTo>
                    <a:pt x="1473" y="1343"/>
                  </a:lnTo>
                  <a:lnTo>
                    <a:pt x="1468" y="1338"/>
                  </a:lnTo>
                  <a:lnTo>
                    <a:pt x="1468" y="1338"/>
                  </a:lnTo>
                  <a:lnTo>
                    <a:pt x="1468" y="1338"/>
                  </a:lnTo>
                  <a:lnTo>
                    <a:pt x="1464" y="1338"/>
                  </a:lnTo>
                  <a:lnTo>
                    <a:pt x="1464" y="1338"/>
                  </a:lnTo>
                  <a:lnTo>
                    <a:pt x="1464" y="1343"/>
                  </a:lnTo>
                  <a:lnTo>
                    <a:pt x="1464" y="1343"/>
                  </a:lnTo>
                  <a:lnTo>
                    <a:pt x="1464" y="1347"/>
                  </a:lnTo>
                  <a:lnTo>
                    <a:pt x="1464" y="1347"/>
                  </a:lnTo>
                  <a:lnTo>
                    <a:pt x="1464" y="1347"/>
                  </a:lnTo>
                  <a:lnTo>
                    <a:pt x="1468" y="1347"/>
                  </a:lnTo>
                  <a:lnTo>
                    <a:pt x="1468" y="1347"/>
                  </a:lnTo>
                  <a:lnTo>
                    <a:pt x="1473" y="1352"/>
                  </a:lnTo>
                  <a:lnTo>
                    <a:pt x="1468" y="1352"/>
                  </a:lnTo>
                  <a:lnTo>
                    <a:pt x="1468" y="1352"/>
                  </a:lnTo>
                  <a:lnTo>
                    <a:pt x="1464" y="1352"/>
                  </a:lnTo>
                  <a:lnTo>
                    <a:pt x="1464" y="1352"/>
                  </a:lnTo>
                  <a:lnTo>
                    <a:pt x="1464" y="1352"/>
                  </a:lnTo>
                  <a:lnTo>
                    <a:pt x="1464" y="1352"/>
                  </a:lnTo>
                  <a:lnTo>
                    <a:pt x="1455" y="1356"/>
                  </a:lnTo>
                  <a:lnTo>
                    <a:pt x="1450" y="1356"/>
                  </a:lnTo>
                  <a:lnTo>
                    <a:pt x="1446" y="1361"/>
                  </a:lnTo>
                  <a:lnTo>
                    <a:pt x="1441" y="1361"/>
                  </a:lnTo>
                  <a:lnTo>
                    <a:pt x="1441" y="1365"/>
                  </a:lnTo>
                  <a:lnTo>
                    <a:pt x="1437" y="1365"/>
                  </a:lnTo>
                  <a:lnTo>
                    <a:pt x="1437" y="1365"/>
                  </a:lnTo>
                  <a:lnTo>
                    <a:pt x="1437" y="1370"/>
                  </a:lnTo>
                  <a:lnTo>
                    <a:pt x="1441" y="1370"/>
                  </a:lnTo>
                  <a:lnTo>
                    <a:pt x="1441" y="1375"/>
                  </a:lnTo>
                  <a:lnTo>
                    <a:pt x="1441" y="1379"/>
                  </a:lnTo>
                  <a:lnTo>
                    <a:pt x="1441" y="1379"/>
                  </a:lnTo>
                  <a:lnTo>
                    <a:pt x="1446" y="1384"/>
                  </a:lnTo>
                  <a:lnTo>
                    <a:pt x="1446" y="1384"/>
                  </a:lnTo>
                  <a:lnTo>
                    <a:pt x="1446" y="1388"/>
                  </a:lnTo>
                  <a:lnTo>
                    <a:pt x="1446" y="1393"/>
                  </a:lnTo>
                  <a:lnTo>
                    <a:pt x="1441" y="1397"/>
                  </a:lnTo>
                  <a:lnTo>
                    <a:pt x="1441" y="1397"/>
                  </a:lnTo>
                  <a:lnTo>
                    <a:pt x="1441" y="1397"/>
                  </a:lnTo>
                  <a:lnTo>
                    <a:pt x="1437" y="1397"/>
                  </a:lnTo>
                  <a:lnTo>
                    <a:pt x="1432" y="1397"/>
                  </a:lnTo>
                  <a:lnTo>
                    <a:pt x="1432" y="1397"/>
                  </a:lnTo>
                  <a:lnTo>
                    <a:pt x="1432" y="1397"/>
                  </a:lnTo>
                  <a:lnTo>
                    <a:pt x="1432" y="1393"/>
                  </a:lnTo>
                  <a:lnTo>
                    <a:pt x="1432" y="1393"/>
                  </a:lnTo>
                  <a:lnTo>
                    <a:pt x="1432" y="1393"/>
                  </a:lnTo>
                  <a:lnTo>
                    <a:pt x="1432" y="1393"/>
                  </a:lnTo>
                  <a:lnTo>
                    <a:pt x="1428" y="1388"/>
                  </a:lnTo>
                  <a:lnTo>
                    <a:pt x="1428" y="1388"/>
                  </a:lnTo>
                  <a:lnTo>
                    <a:pt x="1428" y="1384"/>
                  </a:lnTo>
                  <a:lnTo>
                    <a:pt x="1432" y="1379"/>
                  </a:lnTo>
                  <a:lnTo>
                    <a:pt x="1432" y="1375"/>
                  </a:lnTo>
                  <a:lnTo>
                    <a:pt x="1432" y="1375"/>
                  </a:lnTo>
                  <a:lnTo>
                    <a:pt x="1437" y="1370"/>
                  </a:lnTo>
                  <a:lnTo>
                    <a:pt x="1437" y="1365"/>
                  </a:lnTo>
                  <a:lnTo>
                    <a:pt x="1437" y="1365"/>
                  </a:lnTo>
                  <a:lnTo>
                    <a:pt x="1437" y="1365"/>
                  </a:lnTo>
                  <a:lnTo>
                    <a:pt x="1437" y="1361"/>
                  </a:lnTo>
                  <a:lnTo>
                    <a:pt x="1437" y="1361"/>
                  </a:lnTo>
                  <a:lnTo>
                    <a:pt x="1437" y="1361"/>
                  </a:lnTo>
                  <a:lnTo>
                    <a:pt x="1437" y="1356"/>
                  </a:lnTo>
                  <a:lnTo>
                    <a:pt x="1432" y="1356"/>
                  </a:lnTo>
                  <a:lnTo>
                    <a:pt x="1432" y="1352"/>
                  </a:lnTo>
                  <a:lnTo>
                    <a:pt x="1432" y="1352"/>
                  </a:lnTo>
                  <a:lnTo>
                    <a:pt x="1432" y="1347"/>
                  </a:lnTo>
                  <a:lnTo>
                    <a:pt x="1432" y="1347"/>
                  </a:lnTo>
                  <a:lnTo>
                    <a:pt x="1437" y="1347"/>
                  </a:lnTo>
                  <a:lnTo>
                    <a:pt x="1441" y="1347"/>
                  </a:lnTo>
                  <a:lnTo>
                    <a:pt x="1441" y="1347"/>
                  </a:lnTo>
                  <a:lnTo>
                    <a:pt x="1446" y="1343"/>
                  </a:lnTo>
                  <a:lnTo>
                    <a:pt x="1446" y="1343"/>
                  </a:lnTo>
                  <a:lnTo>
                    <a:pt x="1446" y="1343"/>
                  </a:lnTo>
                  <a:lnTo>
                    <a:pt x="1450" y="1338"/>
                  </a:lnTo>
                  <a:lnTo>
                    <a:pt x="1450" y="1338"/>
                  </a:lnTo>
                  <a:lnTo>
                    <a:pt x="1446" y="1334"/>
                  </a:lnTo>
                  <a:lnTo>
                    <a:pt x="1441" y="1334"/>
                  </a:lnTo>
                  <a:lnTo>
                    <a:pt x="1441" y="1334"/>
                  </a:lnTo>
                  <a:lnTo>
                    <a:pt x="1441" y="1334"/>
                  </a:lnTo>
                  <a:lnTo>
                    <a:pt x="1437" y="1334"/>
                  </a:lnTo>
                  <a:lnTo>
                    <a:pt x="1437" y="1334"/>
                  </a:lnTo>
                  <a:lnTo>
                    <a:pt x="1432" y="1334"/>
                  </a:lnTo>
                  <a:lnTo>
                    <a:pt x="1432" y="1334"/>
                  </a:lnTo>
                  <a:lnTo>
                    <a:pt x="1432" y="1338"/>
                  </a:lnTo>
                  <a:lnTo>
                    <a:pt x="1432" y="1338"/>
                  </a:lnTo>
                  <a:lnTo>
                    <a:pt x="1428" y="1343"/>
                  </a:lnTo>
                  <a:lnTo>
                    <a:pt x="1423" y="1343"/>
                  </a:lnTo>
                  <a:lnTo>
                    <a:pt x="1419" y="1347"/>
                  </a:lnTo>
                  <a:lnTo>
                    <a:pt x="1410" y="1352"/>
                  </a:lnTo>
                  <a:lnTo>
                    <a:pt x="1400" y="1356"/>
                  </a:lnTo>
                  <a:lnTo>
                    <a:pt x="1400" y="1352"/>
                  </a:lnTo>
                  <a:lnTo>
                    <a:pt x="1400" y="1352"/>
                  </a:lnTo>
                  <a:lnTo>
                    <a:pt x="1396" y="1352"/>
                  </a:lnTo>
                  <a:lnTo>
                    <a:pt x="1396" y="1352"/>
                  </a:lnTo>
                  <a:lnTo>
                    <a:pt x="1391" y="1356"/>
                  </a:lnTo>
                  <a:lnTo>
                    <a:pt x="1391" y="1356"/>
                  </a:lnTo>
                  <a:lnTo>
                    <a:pt x="1391" y="1361"/>
                  </a:lnTo>
                  <a:lnTo>
                    <a:pt x="1391" y="1361"/>
                  </a:lnTo>
                  <a:lnTo>
                    <a:pt x="1387" y="1365"/>
                  </a:lnTo>
                  <a:lnTo>
                    <a:pt x="1387" y="1365"/>
                  </a:lnTo>
                  <a:lnTo>
                    <a:pt x="1387" y="1361"/>
                  </a:lnTo>
                  <a:lnTo>
                    <a:pt x="1387" y="1361"/>
                  </a:lnTo>
                  <a:lnTo>
                    <a:pt x="1387" y="1361"/>
                  </a:lnTo>
                  <a:lnTo>
                    <a:pt x="1391" y="1361"/>
                  </a:lnTo>
                  <a:lnTo>
                    <a:pt x="1391" y="1361"/>
                  </a:lnTo>
                  <a:lnTo>
                    <a:pt x="1387" y="1361"/>
                  </a:lnTo>
                  <a:lnTo>
                    <a:pt x="1382" y="1356"/>
                  </a:lnTo>
                  <a:lnTo>
                    <a:pt x="1382" y="1356"/>
                  </a:lnTo>
                  <a:lnTo>
                    <a:pt x="1378" y="1361"/>
                  </a:lnTo>
                  <a:lnTo>
                    <a:pt x="1373" y="1365"/>
                  </a:lnTo>
                  <a:lnTo>
                    <a:pt x="1373" y="1365"/>
                  </a:lnTo>
                  <a:lnTo>
                    <a:pt x="1369" y="1365"/>
                  </a:lnTo>
                  <a:lnTo>
                    <a:pt x="1369" y="1370"/>
                  </a:lnTo>
                  <a:lnTo>
                    <a:pt x="1369" y="1375"/>
                  </a:lnTo>
                  <a:lnTo>
                    <a:pt x="1364" y="1375"/>
                  </a:lnTo>
                  <a:lnTo>
                    <a:pt x="1364" y="1375"/>
                  </a:lnTo>
                  <a:lnTo>
                    <a:pt x="1364" y="1375"/>
                  </a:lnTo>
                  <a:lnTo>
                    <a:pt x="1369" y="1375"/>
                  </a:lnTo>
                  <a:lnTo>
                    <a:pt x="1369" y="1375"/>
                  </a:lnTo>
                  <a:lnTo>
                    <a:pt x="1369" y="1375"/>
                  </a:lnTo>
                  <a:lnTo>
                    <a:pt x="1364" y="1379"/>
                  </a:lnTo>
                  <a:lnTo>
                    <a:pt x="1364" y="1384"/>
                  </a:lnTo>
                  <a:lnTo>
                    <a:pt x="1364" y="1384"/>
                  </a:lnTo>
                  <a:lnTo>
                    <a:pt x="1364" y="1384"/>
                  </a:lnTo>
                  <a:lnTo>
                    <a:pt x="1364" y="1388"/>
                  </a:lnTo>
                  <a:lnTo>
                    <a:pt x="1364" y="1388"/>
                  </a:lnTo>
                  <a:lnTo>
                    <a:pt x="1364" y="1388"/>
                  </a:lnTo>
                  <a:lnTo>
                    <a:pt x="1360" y="1388"/>
                  </a:lnTo>
                  <a:lnTo>
                    <a:pt x="1360" y="1393"/>
                  </a:lnTo>
                  <a:lnTo>
                    <a:pt x="1355" y="1393"/>
                  </a:lnTo>
                  <a:lnTo>
                    <a:pt x="1351" y="1397"/>
                  </a:lnTo>
                  <a:lnTo>
                    <a:pt x="1346" y="1406"/>
                  </a:lnTo>
                  <a:lnTo>
                    <a:pt x="1342" y="1406"/>
                  </a:lnTo>
                  <a:lnTo>
                    <a:pt x="1342" y="1406"/>
                  </a:lnTo>
                  <a:lnTo>
                    <a:pt x="1342" y="1406"/>
                  </a:lnTo>
                  <a:lnTo>
                    <a:pt x="1342" y="1406"/>
                  </a:lnTo>
                  <a:lnTo>
                    <a:pt x="1342" y="1411"/>
                  </a:lnTo>
                  <a:lnTo>
                    <a:pt x="1342" y="1411"/>
                  </a:lnTo>
                  <a:lnTo>
                    <a:pt x="1342" y="1420"/>
                  </a:lnTo>
                  <a:lnTo>
                    <a:pt x="1342" y="1420"/>
                  </a:lnTo>
                  <a:lnTo>
                    <a:pt x="1342" y="1420"/>
                  </a:lnTo>
                  <a:lnTo>
                    <a:pt x="1342" y="1420"/>
                  </a:lnTo>
                  <a:lnTo>
                    <a:pt x="1342" y="1420"/>
                  </a:lnTo>
                  <a:lnTo>
                    <a:pt x="1342" y="1415"/>
                  </a:lnTo>
                  <a:lnTo>
                    <a:pt x="1342" y="1415"/>
                  </a:lnTo>
                  <a:lnTo>
                    <a:pt x="1342" y="1415"/>
                  </a:lnTo>
                  <a:lnTo>
                    <a:pt x="1342" y="1415"/>
                  </a:lnTo>
                  <a:lnTo>
                    <a:pt x="1342" y="1415"/>
                  </a:lnTo>
                  <a:lnTo>
                    <a:pt x="1337" y="1415"/>
                  </a:lnTo>
                  <a:lnTo>
                    <a:pt x="1337" y="1411"/>
                  </a:lnTo>
                  <a:lnTo>
                    <a:pt x="1333" y="1406"/>
                  </a:lnTo>
                  <a:lnTo>
                    <a:pt x="1333" y="1406"/>
                  </a:lnTo>
                  <a:lnTo>
                    <a:pt x="1333" y="1406"/>
                  </a:lnTo>
                  <a:lnTo>
                    <a:pt x="1328" y="1402"/>
                  </a:lnTo>
                  <a:lnTo>
                    <a:pt x="1324" y="1397"/>
                  </a:lnTo>
                  <a:lnTo>
                    <a:pt x="1324" y="1393"/>
                  </a:lnTo>
                  <a:lnTo>
                    <a:pt x="1315" y="1388"/>
                  </a:lnTo>
                  <a:lnTo>
                    <a:pt x="1310" y="1388"/>
                  </a:lnTo>
                  <a:lnTo>
                    <a:pt x="1306" y="1388"/>
                  </a:lnTo>
                  <a:lnTo>
                    <a:pt x="1306" y="1388"/>
                  </a:lnTo>
                  <a:lnTo>
                    <a:pt x="1306" y="1388"/>
                  </a:lnTo>
                  <a:lnTo>
                    <a:pt x="1306" y="1388"/>
                  </a:lnTo>
                  <a:lnTo>
                    <a:pt x="1301" y="1388"/>
                  </a:lnTo>
                  <a:lnTo>
                    <a:pt x="1301" y="1388"/>
                  </a:lnTo>
                  <a:lnTo>
                    <a:pt x="1297" y="1384"/>
                  </a:lnTo>
                  <a:lnTo>
                    <a:pt x="1297" y="1388"/>
                  </a:lnTo>
                  <a:lnTo>
                    <a:pt x="1292" y="1388"/>
                  </a:lnTo>
                  <a:lnTo>
                    <a:pt x="1292" y="1388"/>
                  </a:lnTo>
                  <a:lnTo>
                    <a:pt x="1292" y="1393"/>
                  </a:lnTo>
                  <a:lnTo>
                    <a:pt x="1288" y="1393"/>
                  </a:lnTo>
                  <a:lnTo>
                    <a:pt x="1288" y="1393"/>
                  </a:lnTo>
                  <a:lnTo>
                    <a:pt x="1279" y="1397"/>
                  </a:lnTo>
                  <a:lnTo>
                    <a:pt x="1279" y="1397"/>
                  </a:lnTo>
                  <a:lnTo>
                    <a:pt x="1274" y="1402"/>
                  </a:lnTo>
                  <a:lnTo>
                    <a:pt x="1269" y="1402"/>
                  </a:lnTo>
                  <a:lnTo>
                    <a:pt x="1265" y="1402"/>
                  </a:lnTo>
                  <a:lnTo>
                    <a:pt x="1265" y="1402"/>
                  </a:lnTo>
                  <a:lnTo>
                    <a:pt x="1260" y="1402"/>
                  </a:lnTo>
                  <a:lnTo>
                    <a:pt x="1260" y="1397"/>
                  </a:lnTo>
                  <a:lnTo>
                    <a:pt x="1256" y="1397"/>
                  </a:lnTo>
                  <a:lnTo>
                    <a:pt x="1256" y="1393"/>
                  </a:lnTo>
                  <a:lnTo>
                    <a:pt x="1256" y="1393"/>
                  </a:lnTo>
                  <a:lnTo>
                    <a:pt x="1256" y="1397"/>
                  </a:lnTo>
                  <a:lnTo>
                    <a:pt x="1256" y="1397"/>
                  </a:lnTo>
                  <a:lnTo>
                    <a:pt x="1256" y="1397"/>
                  </a:lnTo>
                  <a:lnTo>
                    <a:pt x="1256" y="1397"/>
                  </a:lnTo>
                  <a:lnTo>
                    <a:pt x="1256" y="1397"/>
                  </a:lnTo>
                  <a:lnTo>
                    <a:pt x="1251" y="1397"/>
                  </a:lnTo>
                  <a:lnTo>
                    <a:pt x="1251" y="1397"/>
                  </a:lnTo>
                  <a:lnTo>
                    <a:pt x="1251" y="1397"/>
                  </a:lnTo>
                  <a:lnTo>
                    <a:pt x="1251" y="1393"/>
                  </a:lnTo>
                  <a:lnTo>
                    <a:pt x="1251" y="1393"/>
                  </a:lnTo>
                  <a:lnTo>
                    <a:pt x="1251" y="1393"/>
                  </a:lnTo>
                  <a:lnTo>
                    <a:pt x="1251" y="1393"/>
                  </a:lnTo>
                  <a:lnTo>
                    <a:pt x="1247" y="1393"/>
                  </a:lnTo>
                  <a:lnTo>
                    <a:pt x="1247" y="1393"/>
                  </a:lnTo>
                  <a:lnTo>
                    <a:pt x="1247" y="1388"/>
                  </a:lnTo>
                  <a:lnTo>
                    <a:pt x="1247" y="1388"/>
                  </a:lnTo>
                  <a:lnTo>
                    <a:pt x="1247" y="1388"/>
                  </a:lnTo>
                  <a:lnTo>
                    <a:pt x="1247" y="1388"/>
                  </a:lnTo>
                  <a:lnTo>
                    <a:pt x="1247" y="1384"/>
                  </a:lnTo>
                  <a:lnTo>
                    <a:pt x="1242" y="1384"/>
                  </a:lnTo>
                  <a:lnTo>
                    <a:pt x="1242" y="1384"/>
                  </a:lnTo>
                  <a:lnTo>
                    <a:pt x="1242" y="1384"/>
                  </a:lnTo>
                  <a:lnTo>
                    <a:pt x="1238" y="1384"/>
                  </a:lnTo>
                  <a:lnTo>
                    <a:pt x="1238" y="1379"/>
                  </a:lnTo>
                  <a:lnTo>
                    <a:pt x="1238" y="1375"/>
                  </a:lnTo>
                  <a:lnTo>
                    <a:pt x="1233" y="1370"/>
                  </a:lnTo>
                  <a:lnTo>
                    <a:pt x="1233" y="1365"/>
                  </a:lnTo>
                  <a:lnTo>
                    <a:pt x="1229" y="1361"/>
                  </a:lnTo>
                  <a:lnTo>
                    <a:pt x="1229" y="1361"/>
                  </a:lnTo>
                  <a:lnTo>
                    <a:pt x="1229" y="1361"/>
                  </a:lnTo>
                  <a:lnTo>
                    <a:pt x="1229" y="1356"/>
                  </a:lnTo>
                  <a:lnTo>
                    <a:pt x="1229" y="1356"/>
                  </a:lnTo>
                  <a:lnTo>
                    <a:pt x="1229" y="1356"/>
                  </a:lnTo>
                  <a:lnTo>
                    <a:pt x="1224" y="1356"/>
                  </a:lnTo>
                  <a:lnTo>
                    <a:pt x="1224" y="1352"/>
                  </a:lnTo>
                  <a:lnTo>
                    <a:pt x="1224" y="1352"/>
                  </a:lnTo>
                  <a:lnTo>
                    <a:pt x="1229" y="1347"/>
                  </a:lnTo>
                  <a:lnTo>
                    <a:pt x="1229" y="1347"/>
                  </a:lnTo>
                  <a:lnTo>
                    <a:pt x="1229" y="1347"/>
                  </a:lnTo>
                  <a:lnTo>
                    <a:pt x="1229" y="1343"/>
                  </a:lnTo>
                  <a:lnTo>
                    <a:pt x="1229" y="1343"/>
                  </a:lnTo>
                  <a:lnTo>
                    <a:pt x="1229" y="1338"/>
                  </a:lnTo>
                  <a:lnTo>
                    <a:pt x="1229" y="1338"/>
                  </a:lnTo>
                  <a:lnTo>
                    <a:pt x="1229" y="1338"/>
                  </a:lnTo>
                  <a:lnTo>
                    <a:pt x="1229" y="1338"/>
                  </a:lnTo>
                  <a:lnTo>
                    <a:pt x="1229" y="1338"/>
                  </a:lnTo>
                  <a:lnTo>
                    <a:pt x="1229" y="1338"/>
                  </a:lnTo>
                  <a:lnTo>
                    <a:pt x="1229" y="1338"/>
                  </a:lnTo>
                  <a:lnTo>
                    <a:pt x="1229" y="1334"/>
                  </a:lnTo>
                  <a:lnTo>
                    <a:pt x="1229" y="1334"/>
                  </a:lnTo>
                  <a:lnTo>
                    <a:pt x="1229" y="1338"/>
                  </a:lnTo>
                  <a:lnTo>
                    <a:pt x="1233" y="1338"/>
                  </a:lnTo>
                  <a:lnTo>
                    <a:pt x="1233" y="1334"/>
                  </a:lnTo>
                  <a:lnTo>
                    <a:pt x="1233" y="1329"/>
                  </a:lnTo>
                  <a:lnTo>
                    <a:pt x="1233" y="1329"/>
                  </a:lnTo>
                  <a:lnTo>
                    <a:pt x="1233" y="1329"/>
                  </a:lnTo>
                  <a:lnTo>
                    <a:pt x="1233" y="1329"/>
                  </a:lnTo>
                  <a:lnTo>
                    <a:pt x="1233" y="1325"/>
                  </a:lnTo>
                  <a:lnTo>
                    <a:pt x="1233" y="1325"/>
                  </a:lnTo>
                  <a:lnTo>
                    <a:pt x="1233" y="1325"/>
                  </a:lnTo>
                  <a:lnTo>
                    <a:pt x="1233" y="1325"/>
                  </a:lnTo>
                  <a:lnTo>
                    <a:pt x="1233" y="1325"/>
                  </a:lnTo>
                  <a:lnTo>
                    <a:pt x="1233" y="1325"/>
                  </a:lnTo>
                  <a:lnTo>
                    <a:pt x="1233" y="1325"/>
                  </a:lnTo>
                  <a:lnTo>
                    <a:pt x="1233" y="1329"/>
                  </a:lnTo>
                  <a:lnTo>
                    <a:pt x="1233" y="1329"/>
                  </a:lnTo>
                  <a:lnTo>
                    <a:pt x="1233" y="1329"/>
                  </a:lnTo>
                  <a:lnTo>
                    <a:pt x="1233" y="1329"/>
                  </a:lnTo>
                  <a:lnTo>
                    <a:pt x="1233" y="1325"/>
                  </a:lnTo>
                  <a:lnTo>
                    <a:pt x="1233" y="1325"/>
                  </a:lnTo>
                  <a:lnTo>
                    <a:pt x="1238" y="1320"/>
                  </a:lnTo>
                  <a:lnTo>
                    <a:pt x="1238" y="1311"/>
                  </a:lnTo>
                  <a:lnTo>
                    <a:pt x="1238" y="1302"/>
                  </a:lnTo>
                  <a:lnTo>
                    <a:pt x="1242" y="1298"/>
                  </a:lnTo>
                  <a:lnTo>
                    <a:pt x="1242" y="1298"/>
                  </a:lnTo>
                  <a:lnTo>
                    <a:pt x="1242" y="1293"/>
                  </a:lnTo>
                  <a:lnTo>
                    <a:pt x="1247" y="1293"/>
                  </a:lnTo>
                  <a:lnTo>
                    <a:pt x="1247" y="1289"/>
                  </a:lnTo>
                  <a:lnTo>
                    <a:pt x="1247" y="1284"/>
                  </a:lnTo>
                  <a:lnTo>
                    <a:pt x="1247" y="1284"/>
                  </a:lnTo>
                  <a:lnTo>
                    <a:pt x="1247" y="1284"/>
                  </a:lnTo>
                  <a:lnTo>
                    <a:pt x="1242" y="1280"/>
                  </a:lnTo>
                  <a:lnTo>
                    <a:pt x="1247" y="1280"/>
                  </a:lnTo>
                  <a:lnTo>
                    <a:pt x="1247" y="1280"/>
                  </a:lnTo>
                  <a:lnTo>
                    <a:pt x="1247" y="1280"/>
                  </a:lnTo>
                  <a:lnTo>
                    <a:pt x="1247" y="1280"/>
                  </a:lnTo>
                  <a:lnTo>
                    <a:pt x="1247" y="1280"/>
                  </a:lnTo>
                  <a:lnTo>
                    <a:pt x="1247" y="1280"/>
                  </a:lnTo>
                  <a:lnTo>
                    <a:pt x="1247" y="1280"/>
                  </a:lnTo>
                  <a:lnTo>
                    <a:pt x="1251" y="1280"/>
                  </a:lnTo>
                  <a:lnTo>
                    <a:pt x="1247" y="1275"/>
                  </a:lnTo>
                  <a:lnTo>
                    <a:pt x="1247" y="1275"/>
                  </a:lnTo>
                  <a:lnTo>
                    <a:pt x="1247" y="1275"/>
                  </a:lnTo>
                  <a:lnTo>
                    <a:pt x="1242" y="1271"/>
                  </a:lnTo>
                  <a:lnTo>
                    <a:pt x="1242" y="1271"/>
                  </a:lnTo>
                  <a:lnTo>
                    <a:pt x="1242" y="1271"/>
                  </a:lnTo>
                  <a:lnTo>
                    <a:pt x="1242" y="1275"/>
                  </a:lnTo>
                  <a:lnTo>
                    <a:pt x="1242" y="1275"/>
                  </a:lnTo>
                  <a:lnTo>
                    <a:pt x="1242" y="1271"/>
                  </a:lnTo>
                  <a:lnTo>
                    <a:pt x="1242" y="1271"/>
                  </a:lnTo>
                  <a:lnTo>
                    <a:pt x="1242" y="1275"/>
                  </a:lnTo>
                  <a:lnTo>
                    <a:pt x="1238" y="1275"/>
                  </a:lnTo>
                  <a:lnTo>
                    <a:pt x="1238" y="1271"/>
                  </a:lnTo>
                  <a:lnTo>
                    <a:pt x="1238" y="1271"/>
                  </a:lnTo>
                  <a:lnTo>
                    <a:pt x="1238" y="1271"/>
                  </a:lnTo>
                  <a:lnTo>
                    <a:pt x="1238" y="1271"/>
                  </a:lnTo>
                  <a:lnTo>
                    <a:pt x="1233" y="1271"/>
                  </a:lnTo>
                  <a:lnTo>
                    <a:pt x="1233" y="1271"/>
                  </a:lnTo>
                  <a:lnTo>
                    <a:pt x="1233" y="1271"/>
                  </a:lnTo>
                  <a:lnTo>
                    <a:pt x="1233" y="1266"/>
                  </a:lnTo>
                  <a:lnTo>
                    <a:pt x="1233" y="1266"/>
                  </a:lnTo>
                  <a:lnTo>
                    <a:pt x="1238" y="1266"/>
                  </a:lnTo>
                  <a:lnTo>
                    <a:pt x="1242" y="1271"/>
                  </a:lnTo>
                  <a:lnTo>
                    <a:pt x="1242" y="1271"/>
                  </a:lnTo>
                  <a:lnTo>
                    <a:pt x="1233" y="1261"/>
                  </a:lnTo>
                  <a:lnTo>
                    <a:pt x="1229" y="1261"/>
                  </a:lnTo>
                  <a:lnTo>
                    <a:pt x="1229" y="1261"/>
                  </a:lnTo>
                  <a:lnTo>
                    <a:pt x="1229" y="1261"/>
                  </a:lnTo>
                  <a:lnTo>
                    <a:pt x="1229" y="1261"/>
                  </a:lnTo>
                  <a:lnTo>
                    <a:pt x="1229" y="1261"/>
                  </a:lnTo>
                  <a:lnTo>
                    <a:pt x="1229" y="1261"/>
                  </a:lnTo>
                  <a:lnTo>
                    <a:pt x="1229" y="1261"/>
                  </a:lnTo>
                  <a:lnTo>
                    <a:pt x="1220" y="1257"/>
                  </a:lnTo>
                  <a:lnTo>
                    <a:pt x="1220" y="1257"/>
                  </a:lnTo>
                  <a:lnTo>
                    <a:pt x="1220" y="1257"/>
                  </a:lnTo>
                  <a:lnTo>
                    <a:pt x="1211" y="1257"/>
                  </a:lnTo>
                  <a:lnTo>
                    <a:pt x="1206" y="1257"/>
                  </a:lnTo>
                  <a:lnTo>
                    <a:pt x="1206" y="1257"/>
                  </a:lnTo>
                  <a:lnTo>
                    <a:pt x="1206" y="1257"/>
                  </a:lnTo>
                  <a:lnTo>
                    <a:pt x="1206" y="1257"/>
                  </a:lnTo>
                  <a:lnTo>
                    <a:pt x="1202" y="1257"/>
                  </a:lnTo>
                  <a:lnTo>
                    <a:pt x="1202" y="1257"/>
                  </a:lnTo>
                  <a:lnTo>
                    <a:pt x="1197" y="1261"/>
                  </a:lnTo>
                  <a:lnTo>
                    <a:pt x="1197" y="1261"/>
                  </a:lnTo>
                  <a:lnTo>
                    <a:pt x="1188" y="1261"/>
                  </a:lnTo>
                  <a:lnTo>
                    <a:pt x="1188" y="1261"/>
                  </a:lnTo>
                  <a:lnTo>
                    <a:pt x="1184" y="1261"/>
                  </a:lnTo>
                  <a:lnTo>
                    <a:pt x="1179" y="1261"/>
                  </a:lnTo>
                  <a:lnTo>
                    <a:pt x="1179" y="1261"/>
                  </a:lnTo>
                  <a:lnTo>
                    <a:pt x="1179" y="1261"/>
                  </a:lnTo>
                  <a:lnTo>
                    <a:pt x="1175" y="1257"/>
                  </a:lnTo>
                  <a:lnTo>
                    <a:pt x="1175" y="1257"/>
                  </a:lnTo>
                  <a:lnTo>
                    <a:pt x="1170" y="1257"/>
                  </a:lnTo>
                  <a:lnTo>
                    <a:pt x="1170" y="1257"/>
                  </a:lnTo>
                  <a:lnTo>
                    <a:pt x="1170" y="1261"/>
                  </a:lnTo>
                  <a:lnTo>
                    <a:pt x="1170" y="1261"/>
                  </a:lnTo>
                  <a:lnTo>
                    <a:pt x="1166" y="1261"/>
                  </a:lnTo>
                  <a:lnTo>
                    <a:pt x="1166" y="1261"/>
                  </a:lnTo>
                  <a:lnTo>
                    <a:pt x="1161" y="1257"/>
                  </a:lnTo>
                  <a:lnTo>
                    <a:pt x="1161" y="1257"/>
                  </a:lnTo>
                  <a:lnTo>
                    <a:pt x="1161" y="1257"/>
                  </a:lnTo>
                  <a:lnTo>
                    <a:pt x="1161" y="1257"/>
                  </a:lnTo>
                  <a:lnTo>
                    <a:pt x="1157" y="1261"/>
                  </a:lnTo>
                  <a:lnTo>
                    <a:pt x="1157" y="1261"/>
                  </a:lnTo>
                  <a:lnTo>
                    <a:pt x="1157" y="1257"/>
                  </a:lnTo>
                  <a:lnTo>
                    <a:pt x="1157" y="1257"/>
                  </a:lnTo>
                  <a:lnTo>
                    <a:pt x="1152" y="1257"/>
                  </a:lnTo>
                  <a:lnTo>
                    <a:pt x="1152" y="1257"/>
                  </a:lnTo>
                  <a:lnTo>
                    <a:pt x="1157" y="1257"/>
                  </a:lnTo>
                  <a:lnTo>
                    <a:pt x="1161" y="1252"/>
                  </a:lnTo>
                  <a:lnTo>
                    <a:pt x="1161" y="1248"/>
                  </a:lnTo>
                  <a:lnTo>
                    <a:pt x="1166" y="1248"/>
                  </a:lnTo>
                  <a:lnTo>
                    <a:pt x="1166" y="1248"/>
                  </a:lnTo>
                  <a:lnTo>
                    <a:pt x="1166" y="1243"/>
                  </a:lnTo>
                  <a:lnTo>
                    <a:pt x="1170" y="1234"/>
                  </a:lnTo>
                  <a:lnTo>
                    <a:pt x="1170" y="1230"/>
                  </a:lnTo>
                  <a:lnTo>
                    <a:pt x="1170" y="1230"/>
                  </a:lnTo>
                  <a:lnTo>
                    <a:pt x="1170" y="1230"/>
                  </a:lnTo>
                  <a:lnTo>
                    <a:pt x="1175" y="1225"/>
                  </a:lnTo>
                  <a:lnTo>
                    <a:pt x="1170" y="1225"/>
                  </a:lnTo>
                  <a:lnTo>
                    <a:pt x="1175" y="1221"/>
                  </a:lnTo>
                  <a:lnTo>
                    <a:pt x="1175" y="1221"/>
                  </a:lnTo>
                  <a:lnTo>
                    <a:pt x="1175" y="1212"/>
                  </a:lnTo>
                  <a:lnTo>
                    <a:pt x="1179" y="1212"/>
                  </a:lnTo>
                  <a:lnTo>
                    <a:pt x="1179" y="1207"/>
                  </a:lnTo>
                  <a:lnTo>
                    <a:pt x="1175" y="1207"/>
                  </a:lnTo>
                  <a:lnTo>
                    <a:pt x="1175" y="1207"/>
                  </a:lnTo>
                  <a:lnTo>
                    <a:pt x="1175" y="1207"/>
                  </a:lnTo>
                  <a:lnTo>
                    <a:pt x="1175" y="1207"/>
                  </a:lnTo>
                  <a:lnTo>
                    <a:pt x="1175" y="1207"/>
                  </a:lnTo>
                  <a:lnTo>
                    <a:pt x="1179" y="1203"/>
                  </a:lnTo>
                  <a:lnTo>
                    <a:pt x="1179" y="1203"/>
                  </a:lnTo>
                  <a:lnTo>
                    <a:pt x="1179" y="1203"/>
                  </a:lnTo>
                  <a:lnTo>
                    <a:pt x="1179" y="1198"/>
                  </a:lnTo>
                  <a:lnTo>
                    <a:pt x="1179" y="1198"/>
                  </a:lnTo>
                  <a:lnTo>
                    <a:pt x="1179" y="1203"/>
                  </a:lnTo>
                  <a:lnTo>
                    <a:pt x="1179" y="1207"/>
                  </a:lnTo>
                  <a:lnTo>
                    <a:pt x="1179" y="1207"/>
                  </a:lnTo>
                  <a:lnTo>
                    <a:pt x="1179" y="1207"/>
                  </a:lnTo>
                  <a:lnTo>
                    <a:pt x="1179" y="1212"/>
                  </a:lnTo>
                  <a:lnTo>
                    <a:pt x="1184" y="1212"/>
                  </a:lnTo>
                  <a:lnTo>
                    <a:pt x="1184" y="1207"/>
                  </a:lnTo>
                  <a:lnTo>
                    <a:pt x="1184" y="1207"/>
                  </a:lnTo>
                  <a:lnTo>
                    <a:pt x="1184" y="1203"/>
                  </a:lnTo>
                  <a:lnTo>
                    <a:pt x="1188" y="1198"/>
                  </a:lnTo>
                  <a:lnTo>
                    <a:pt x="1188" y="1194"/>
                  </a:lnTo>
                  <a:lnTo>
                    <a:pt x="1193" y="1189"/>
                  </a:lnTo>
                  <a:lnTo>
                    <a:pt x="1193" y="1189"/>
                  </a:lnTo>
                  <a:lnTo>
                    <a:pt x="1193" y="1189"/>
                  </a:lnTo>
                  <a:lnTo>
                    <a:pt x="1188" y="1189"/>
                  </a:lnTo>
                  <a:lnTo>
                    <a:pt x="1188" y="1189"/>
                  </a:lnTo>
                  <a:lnTo>
                    <a:pt x="1188" y="1189"/>
                  </a:lnTo>
                  <a:lnTo>
                    <a:pt x="1193" y="1189"/>
                  </a:lnTo>
                  <a:lnTo>
                    <a:pt x="1193" y="1189"/>
                  </a:lnTo>
                  <a:lnTo>
                    <a:pt x="1193" y="1189"/>
                  </a:lnTo>
                  <a:lnTo>
                    <a:pt x="1193" y="1189"/>
                  </a:lnTo>
                  <a:lnTo>
                    <a:pt x="1193" y="1185"/>
                  </a:lnTo>
                  <a:lnTo>
                    <a:pt x="1193" y="1185"/>
                  </a:lnTo>
                  <a:lnTo>
                    <a:pt x="1193" y="1185"/>
                  </a:lnTo>
                  <a:lnTo>
                    <a:pt x="1193" y="1185"/>
                  </a:lnTo>
                  <a:lnTo>
                    <a:pt x="1193" y="1185"/>
                  </a:lnTo>
                  <a:lnTo>
                    <a:pt x="1193" y="1185"/>
                  </a:lnTo>
                  <a:lnTo>
                    <a:pt x="1188" y="1185"/>
                  </a:lnTo>
                  <a:lnTo>
                    <a:pt x="1193" y="1185"/>
                  </a:lnTo>
                  <a:lnTo>
                    <a:pt x="1193" y="1180"/>
                  </a:lnTo>
                  <a:lnTo>
                    <a:pt x="1193" y="1180"/>
                  </a:lnTo>
                  <a:lnTo>
                    <a:pt x="1197" y="1180"/>
                  </a:lnTo>
                  <a:lnTo>
                    <a:pt x="1197" y="1180"/>
                  </a:lnTo>
                  <a:lnTo>
                    <a:pt x="1197" y="1180"/>
                  </a:lnTo>
                  <a:lnTo>
                    <a:pt x="1197" y="1176"/>
                  </a:lnTo>
                  <a:lnTo>
                    <a:pt x="1197" y="1176"/>
                  </a:lnTo>
                  <a:lnTo>
                    <a:pt x="1197" y="1171"/>
                  </a:lnTo>
                  <a:lnTo>
                    <a:pt x="1202" y="1167"/>
                  </a:lnTo>
                  <a:lnTo>
                    <a:pt x="1206" y="1162"/>
                  </a:lnTo>
                  <a:lnTo>
                    <a:pt x="1211" y="1162"/>
                  </a:lnTo>
                  <a:lnTo>
                    <a:pt x="1211" y="1158"/>
                  </a:lnTo>
                  <a:lnTo>
                    <a:pt x="1211" y="1158"/>
                  </a:lnTo>
                  <a:lnTo>
                    <a:pt x="1215" y="1153"/>
                  </a:lnTo>
                  <a:lnTo>
                    <a:pt x="1215" y="1153"/>
                  </a:lnTo>
                  <a:lnTo>
                    <a:pt x="1211" y="1153"/>
                  </a:lnTo>
                  <a:lnTo>
                    <a:pt x="1215" y="1148"/>
                  </a:lnTo>
                  <a:lnTo>
                    <a:pt x="1211" y="1148"/>
                  </a:lnTo>
                  <a:lnTo>
                    <a:pt x="1211" y="1144"/>
                  </a:lnTo>
                  <a:lnTo>
                    <a:pt x="1211" y="1144"/>
                  </a:lnTo>
                  <a:lnTo>
                    <a:pt x="1206" y="1144"/>
                  </a:lnTo>
                  <a:lnTo>
                    <a:pt x="1206" y="1144"/>
                  </a:lnTo>
                  <a:lnTo>
                    <a:pt x="1206" y="1144"/>
                  </a:lnTo>
                  <a:lnTo>
                    <a:pt x="1206" y="1144"/>
                  </a:lnTo>
                  <a:lnTo>
                    <a:pt x="1206" y="1148"/>
                  </a:lnTo>
                  <a:lnTo>
                    <a:pt x="1206" y="1148"/>
                  </a:lnTo>
                  <a:lnTo>
                    <a:pt x="1206" y="1144"/>
                  </a:lnTo>
                  <a:lnTo>
                    <a:pt x="1206" y="1144"/>
                  </a:lnTo>
                  <a:lnTo>
                    <a:pt x="1211" y="1148"/>
                  </a:lnTo>
                  <a:lnTo>
                    <a:pt x="1206" y="1148"/>
                  </a:lnTo>
                  <a:lnTo>
                    <a:pt x="1206" y="1148"/>
                  </a:lnTo>
                  <a:lnTo>
                    <a:pt x="1206" y="1148"/>
                  </a:lnTo>
                  <a:lnTo>
                    <a:pt x="1202" y="1148"/>
                  </a:lnTo>
                  <a:lnTo>
                    <a:pt x="1202" y="1144"/>
                  </a:lnTo>
                  <a:lnTo>
                    <a:pt x="1197" y="1144"/>
                  </a:lnTo>
                  <a:lnTo>
                    <a:pt x="1193" y="1144"/>
                  </a:lnTo>
                  <a:lnTo>
                    <a:pt x="1193" y="1144"/>
                  </a:lnTo>
                  <a:lnTo>
                    <a:pt x="1193" y="1144"/>
                  </a:lnTo>
                  <a:lnTo>
                    <a:pt x="1193" y="1144"/>
                  </a:lnTo>
                  <a:lnTo>
                    <a:pt x="1193" y="1144"/>
                  </a:lnTo>
                  <a:lnTo>
                    <a:pt x="1193" y="1144"/>
                  </a:lnTo>
                  <a:lnTo>
                    <a:pt x="1188" y="1144"/>
                  </a:lnTo>
                  <a:lnTo>
                    <a:pt x="1184" y="1144"/>
                  </a:lnTo>
                  <a:lnTo>
                    <a:pt x="1184" y="1148"/>
                  </a:lnTo>
                  <a:lnTo>
                    <a:pt x="1179" y="1148"/>
                  </a:lnTo>
                  <a:lnTo>
                    <a:pt x="1161" y="1148"/>
                  </a:lnTo>
                  <a:lnTo>
                    <a:pt x="1161" y="1148"/>
                  </a:lnTo>
                  <a:lnTo>
                    <a:pt x="1157" y="1153"/>
                  </a:lnTo>
                  <a:lnTo>
                    <a:pt x="1152" y="1153"/>
                  </a:lnTo>
                  <a:lnTo>
                    <a:pt x="1148" y="1158"/>
                  </a:lnTo>
                  <a:lnTo>
                    <a:pt x="1148" y="1162"/>
                  </a:lnTo>
                  <a:lnTo>
                    <a:pt x="1148" y="1162"/>
                  </a:lnTo>
                  <a:lnTo>
                    <a:pt x="1148" y="1167"/>
                  </a:lnTo>
                  <a:lnTo>
                    <a:pt x="1148" y="1171"/>
                  </a:lnTo>
                  <a:lnTo>
                    <a:pt x="1143" y="1176"/>
                  </a:lnTo>
                  <a:lnTo>
                    <a:pt x="1143" y="1176"/>
                  </a:lnTo>
                  <a:lnTo>
                    <a:pt x="1143" y="1176"/>
                  </a:lnTo>
                  <a:lnTo>
                    <a:pt x="1143" y="1180"/>
                  </a:lnTo>
                  <a:lnTo>
                    <a:pt x="1138" y="1180"/>
                  </a:lnTo>
                  <a:lnTo>
                    <a:pt x="1138" y="1189"/>
                  </a:lnTo>
                  <a:lnTo>
                    <a:pt x="1134" y="1194"/>
                  </a:lnTo>
                  <a:lnTo>
                    <a:pt x="1129" y="1194"/>
                  </a:lnTo>
                  <a:lnTo>
                    <a:pt x="1129" y="1194"/>
                  </a:lnTo>
                  <a:lnTo>
                    <a:pt x="1125" y="1198"/>
                  </a:lnTo>
                  <a:lnTo>
                    <a:pt x="1125" y="1198"/>
                  </a:lnTo>
                  <a:lnTo>
                    <a:pt x="1125" y="1198"/>
                  </a:lnTo>
                  <a:lnTo>
                    <a:pt x="1125" y="1198"/>
                  </a:lnTo>
                  <a:lnTo>
                    <a:pt x="1125" y="1198"/>
                  </a:lnTo>
                  <a:lnTo>
                    <a:pt x="1125" y="1198"/>
                  </a:lnTo>
                  <a:lnTo>
                    <a:pt x="1125" y="1198"/>
                  </a:lnTo>
                  <a:lnTo>
                    <a:pt x="1125" y="1198"/>
                  </a:lnTo>
                  <a:lnTo>
                    <a:pt x="1125" y="1198"/>
                  </a:lnTo>
                  <a:lnTo>
                    <a:pt x="1125" y="1198"/>
                  </a:lnTo>
                  <a:lnTo>
                    <a:pt x="1125" y="1203"/>
                  </a:lnTo>
                  <a:lnTo>
                    <a:pt x="1120" y="1203"/>
                  </a:lnTo>
                  <a:lnTo>
                    <a:pt x="1120" y="1207"/>
                  </a:lnTo>
                  <a:lnTo>
                    <a:pt x="1120" y="1207"/>
                  </a:lnTo>
                  <a:lnTo>
                    <a:pt x="1116" y="1203"/>
                  </a:lnTo>
                  <a:lnTo>
                    <a:pt x="1116" y="1203"/>
                  </a:lnTo>
                  <a:lnTo>
                    <a:pt x="1111" y="1203"/>
                  </a:lnTo>
                  <a:lnTo>
                    <a:pt x="1116" y="1203"/>
                  </a:lnTo>
                  <a:lnTo>
                    <a:pt x="1116" y="1203"/>
                  </a:lnTo>
                  <a:lnTo>
                    <a:pt x="1116" y="1198"/>
                  </a:lnTo>
                  <a:lnTo>
                    <a:pt x="1111" y="1198"/>
                  </a:lnTo>
                  <a:lnTo>
                    <a:pt x="1111" y="1198"/>
                  </a:lnTo>
                  <a:lnTo>
                    <a:pt x="1107" y="1198"/>
                  </a:lnTo>
                  <a:lnTo>
                    <a:pt x="1107" y="1198"/>
                  </a:lnTo>
                  <a:lnTo>
                    <a:pt x="1102" y="1203"/>
                  </a:lnTo>
                  <a:lnTo>
                    <a:pt x="1102" y="1203"/>
                  </a:lnTo>
                  <a:lnTo>
                    <a:pt x="1098" y="1203"/>
                  </a:lnTo>
                  <a:lnTo>
                    <a:pt x="1098" y="1203"/>
                  </a:lnTo>
                  <a:lnTo>
                    <a:pt x="1093" y="1203"/>
                  </a:lnTo>
                  <a:lnTo>
                    <a:pt x="1093" y="1203"/>
                  </a:lnTo>
                  <a:lnTo>
                    <a:pt x="1084" y="1203"/>
                  </a:lnTo>
                  <a:lnTo>
                    <a:pt x="1080" y="1207"/>
                  </a:lnTo>
                  <a:lnTo>
                    <a:pt x="1080" y="1207"/>
                  </a:lnTo>
                  <a:lnTo>
                    <a:pt x="1075" y="1207"/>
                  </a:lnTo>
                  <a:lnTo>
                    <a:pt x="1071" y="1207"/>
                  </a:lnTo>
                  <a:lnTo>
                    <a:pt x="1071" y="1207"/>
                  </a:lnTo>
                  <a:lnTo>
                    <a:pt x="1066" y="1207"/>
                  </a:lnTo>
                  <a:lnTo>
                    <a:pt x="1066" y="1207"/>
                  </a:lnTo>
                  <a:lnTo>
                    <a:pt x="1066" y="1203"/>
                  </a:lnTo>
                  <a:lnTo>
                    <a:pt x="1062" y="1203"/>
                  </a:lnTo>
                  <a:lnTo>
                    <a:pt x="1057" y="1198"/>
                  </a:lnTo>
                  <a:lnTo>
                    <a:pt x="1053" y="1198"/>
                  </a:lnTo>
                  <a:lnTo>
                    <a:pt x="1053" y="1198"/>
                  </a:lnTo>
                  <a:lnTo>
                    <a:pt x="1053" y="1198"/>
                  </a:lnTo>
                  <a:lnTo>
                    <a:pt x="1053" y="1198"/>
                  </a:lnTo>
                  <a:lnTo>
                    <a:pt x="1053" y="1198"/>
                  </a:lnTo>
                  <a:lnTo>
                    <a:pt x="1053" y="1198"/>
                  </a:lnTo>
                  <a:lnTo>
                    <a:pt x="1048" y="1198"/>
                  </a:lnTo>
                  <a:lnTo>
                    <a:pt x="1048" y="1194"/>
                  </a:lnTo>
                  <a:lnTo>
                    <a:pt x="1048" y="1194"/>
                  </a:lnTo>
                  <a:lnTo>
                    <a:pt x="1048" y="1194"/>
                  </a:lnTo>
                  <a:lnTo>
                    <a:pt x="1048" y="1194"/>
                  </a:lnTo>
                  <a:lnTo>
                    <a:pt x="1048" y="1194"/>
                  </a:lnTo>
                  <a:lnTo>
                    <a:pt x="1048" y="1189"/>
                  </a:lnTo>
                  <a:lnTo>
                    <a:pt x="1048" y="1189"/>
                  </a:lnTo>
                  <a:lnTo>
                    <a:pt x="1044" y="1189"/>
                  </a:lnTo>
                  <a:lnTo>
                    <a:pt x="1044" y="1185"/>
                  </a:lnTo>
                  <a:lnTo>
                    <a:pt x="1044" y="1180"/>
                  </a:lnTo>
                  <a:lnTo>
                    <a:pt x="1044" y="1180"/>
                  </a:lnTo>
                  <a:lnTo>
                    <a:pt x="1044" y="1176"/>
                  </a:lnTo>
                  <a:lnTo>
                    <a:pt x="1039" y="1167"/>
                  </a:lnTo>
                  <a:lnTo>
                    <a:pt x="1035" y="1158"/>
                  </a:lnTo>
                  <a:lnTo>
                    <a:pt x="1035" y="1158"/>
                  </a:lnTo>
                  <a:lnTo>
                    <a:pt x="1035" y="1153"/>
                  </a:lnTo>
                  <a:lnTo>
                    <a:pt x="1035" y="1148"/>
                  </a:lnTo>
                  <a:lnTo>
                    <a:pt x="1035" y="1144"/>
                  </a:lnTo>
                  <a:lnTo>
                    <a:pt x="1035" y="1144"/>
                  </a:lnTo>
                  <a:lnTo>
                    <a:pt x="1035" y="1139"/>
                  </a:lnTo>
                  <a:lnTo>
                    <a:pt x="1035" y="1139"/>
                  </a:lnTo>
                  <a:lnTo>
                    <a:pt x="1035" y="1139"/>
                  </a:lnTo>
                  <a:lnTo>
                    <a:pt x="1035" y="1139"/>
                  </a:lnTo>
                  <a:lnTo>
                    <a:pt x="1035" y="1130"/>
                  </a:lnTo>
                  <a:lnTo>
                    <a:pt x="1035" y="1135"/>
                  </a:lnTo>
                  <a:lnTo>
                    <a:pt x="1035" y="1139"/>
                  </a:lnTo>
                  <a:lnTo>
                    <a:pt x="1039" y="1139"/>
                  </a:lnTo>
                  <a:lnTo>
                    <a:pt x="1039" y="1139"/>
                  </a:lnTo>
                  <a:lnTo>
                    <a:pt x="1035" y="1139"/>
                  </a:lnTo>
                  <a:lnTo>
                    <a:pt x="1035" y="1144"/>
                  </a:lnTo>
                  <a:lnTo>
                    <a:pt x="1035" y="1144"/>
                  </a:lnTo>
                  <a:lnTo>
                    <a:pt x="1035" y="1144"/>
                  </a:lnTo>
                  <a:lnTo>
                    <a:pt x="1039" y="1144"/>
                  </a:lnTo>
                  <a:lnTo>
                    <a:pt x="1039" y="1139"/>
                  </a:lnTo>
                  <a:lnTo>
                    <a:pt x="1039" y="1139"/>
                  </a:lnTo>
                  <a:lnTo>
                    <a:pt x="1035" y="1135"/>
                  </a:lnTo>
                  <a:lnTo>
                    <a:pt x="1035" y="1135"/>
                  </a:lnTo>
                  <a:lnTo>
                    <a:pt x="1035" y="1130"/>
                  </a:lnTo>
                  <a:lnTo>
                    <a:pt x="1035" y="1126"/>
                  </a:lnTo>
                  <a:lnTo>
                    <a:pt x="1035" y="1121"/>
                  </a:lnTo>
                  <a:lnTo>
                    <a:pt x="1035" y="1121"/>
                  </a:lnTo>
                  <a:lnTo>
                    <a:pt x="1035" y="1117"/>
                  </a:lnTo>
                  <a:lnTo>
                    <a:pt x="1039" y="1117"/>
                  </a:lnTo>
                  <a:lnTo>
                    <a:pt x="1039" y="1112"/>
                  </a:lnTo>
                  <a:lnTo>
                    <a:pt x="1039" y="1112"/>
                  </a:lnTo>
                  <a:lnTo>
                    <a:pt x="1044" y="1103"/>
                  </a:lnTo>
                  <a:lnTo>
                    <a:pt x="1044" y="1094"/>
                  </a:lnTo>
                  <a:lnTo>
                    <a:pt x="1044" y="1094"/>
                  </a:lnTo>
                  <a:lnTo>
                    <a:pt x="1044" y="1094"/>
                  </a:lnTo>
                  <a:lnTo>
                    <a:pt x="1048" y="1090"/>
                  </a:lnTo>
                  <a:lnTo>
                    <a:pt x="1048" y="1081"/>
                  </a:lnTo>
                  <a:lnTo>
                    <a:pt x="1057" y="1072"/>
                  </a:lnTo>
                  <a:lnTo>
                    <a:pt x="1062" y="1067"/>
                  </a:lnTo>
                  <a:lnTo>
                    <a:pt x="1066" y="1058"/>
                  </a:lnTo>
                  <a:lnTo>
                    <a:pt x="1066" y="1054"/>
                  </a:lnTo>
                  <a:lnTo>
                    <a:pt x="1071" y="1054"/>
                  </a:lnTo>
                  <a:lnTo>
                    <a:pt x="1071" y="1049"/>
                  </a:lnTo>
                  <a:lnTo>
                    <a:pt x="1071" y="1049"/>
                  </a:lnTo>
                  <a:lnTo>
                    <a:pt x="1071" y="1049"/>
                  </a:lnTo>
                  <a:lnTo>
                    <a:pt x="1066" y="1044"/>
                  </a:lnTo>
                  <a:lnTo>
                    <a:pt x="1066" y="1040"/>
                  </a:lnTo>
                  <a:lnTo>
                    <a:pt x="1071" y="1035"/>
                  </a:lnTo>
                  <a:lnTo>
                    <a:pt x="1071" y="1035"/>
                  </a:lnTo>
                  <a:lnTo>
                    <a:pt x="1071" y="1031"/>
                  </a:lnTo>
                  <a:lnTo>
                    <a:pt x="1071" y="1031"/>
                  </a:lnTo>
                  <a:lnTo>
                    <a:pt x="1071" y="1031"/>
                  </a:lnTo>
                  <a:lnTo>
                    <a:pt x="1071" y="1026"/>
                  </a:lnTo>
                  <a:lnTo>
                    <a:pt x="1071" y="1026"/>
                  </a:lnTo>
                  <a:lnTo>
                    <a:pt x="1071" y="1026"/>
                  </a:lnTo>
                  <a:lnTo>
                    <a:pt x="1071" y="1026"/>
                  </a:lnTo>
                  <a:lnTo>
                    <a:pt x="1071" y="1022"/>
                  </a:lnTo>
                  <a:lnTo>
                    <a:pt x="1071" y="1022"/>
                  </a:lnTo>
                  <a:lnTo>
                    <a:pt x="1071" y="1022"/>
                  </a:lnTo>
                  <a:lnTo>
                    <a:pt x="1075" y="1022"/>
                  </a:lnTo>
                  <a:lnTo>
                    <a:pt x="1075" y="1022"/>
                  </a:lnTo>
                  <a:lnTo>
                    <a:pt x="1075" y="1022"/>
                  </a:lnTo>
                  <a:lnTo>
                    <a:pt x="1080" y="1017"/>
                  </a:lnTo>
                  <a:lnTo>
                    <a:pt x="1080" y="1013"/>
                  </a:lnTo>
                  <a:lnTo>
                    <a:pt x="1080" y="1013"/>
                  </a:lnTo>
                  <a:lnTo>
                    <a:pt x="1080" y="1013"/>
                  </a:lnTo>
                  <a:lnTo>
                    <a:pt x="1080" y="1013"/>
                  </a:lnTo>
                  <a:lnTo>
                    <a:pt x="1084" y="1013"/>
                  </a:lnTo>
                  <a:lnTo>
                    <a:pt x="1084" y="1013"/>
                  </a:lnTo>
                  <a:lnTo>
                    <a:pt x="1084" y="1008"/>
                  </a:lnTo>
                  <a:lnTo>
                    <a:pt x="1084" y="1008"/>
                  </a:lnTo>
                  <a:lnTo>
                    <a:pt x="1084" y="1008"/>
                  </a:lnTo>
                  <a:lnTo>
                    <a:pt x="1084" y="1008"/>
                  </a:lnTo>
                  <a:lnTo>
                    <a:pt x="1084" y="1008"/>
                  </a:lnTo>
                  <a:lnTo>
                    <a:pt x="1089" y="1008"/>
                  </a:lnTo>
                  <a:lnTo>
                    <a:pt x="1089" y="1008"/>
                  </a:lnTo>
                  <a:lnTo>
                    <a:pt x="1089" y="1008"/>
                  </a:lnTo>
                  <a:lnTo>
                    <a:pt x="1089" y="1008"/>
                  </a:lnTo>
                  <a:lnTo>
                    <a:pt x="1089" y="1008"/>
                  </a:lnTo>
                  <a:lnTo>
                    <a:pt x="1089" y="1008"/>
                  </a:lnTo>
                  <a:lnTo>
                    <a:pt x="1089" y="1008"/>
                  </a:lnTo>
                  <a:lnTo>
                    <a:pt x="1093" y="1004"/>
                  </a:lnTo>
                  <a:lnTo>
                    <a:pt x="1093" y="1004"/>
                  </a:lnTo>
                  <a:lnTo>
                    <a:pt x="1093" y="1004"/>
                  </a:lnTo>
                  <a:lnTo>
                    <a:pt x="1098" y="1004"/>
                  </a:lnTo>
                  <a:lnTo>
                    <a:pt x="1098" y="1004"/>
                  </a:lnTo>
                  <a:lnTo>
                    <a:pt x="1098" y="1004"/>
                  </a:lnTo>
                  <a:lnTo>
                    <a:pt x="1098" y="1004"/>
                  </a:lnTo>
                  <a:lnTo>
                    <a:pt x="1098" y="999"/>
                  </a:lnTo>
                  <a:lnTo>
                    <a:pt x="1098" y="995"/>
                  </a:lnTo>
                  <a:lnTo>
                    <a:pt x="1098" y="995"/>
                  </a:lnTo>
                  <a:lnTo>
                    <a:pt x="1098" y="995"/>
                  </a:lnTo>
                  <a:lnTo>
                    <a:pt x="1098" y="999"/>
                  </a:lnTo>
                  <a:lnTo>
                    <a:pt x="1098" y="999"/>
                  </a:lnTo>
                  <a:lnTo>
                    <a:pt x="1098" y="999"/>
                  </a:lnTo>
                  <a:lnTo>
                    <a:pt x="1102" y="999"/>
                  </a:lnTo>
                  <a:lnTo>
                    <a:pt x="1102" y="999"/>
                  </a:lnTo>
                  <a:lnTo>
                    <a:pt x="1102" y="999"/>
                  </a:lnTo>
                  <a:lnTo>
                    <a:pt x="1107" y="999"/>
                  </a:lnTo>
                  <a:lnTo>
                    <a:pt x="1107" y="999"/>
                  </a:lnTo>
                  <a:lnTo>
                    <a:pt x="1102" y="999"/>
                  </a:lnTo>
                  <a:lnTo>
                    <a:pt x="1102" y="1004"/>
                  </a:lnTo>
                  <a:lnTo>
                    <a:pt x="1102" y="999"/>
                  </a:lnTo>
                  <a:lnTo>
                    <a:pt x="1107" y="999"/>
                  </a:lnTo>
                  <a:lnTo>
                    <a:pt x="1111" y="999"/>
                  </a:lnTo>
                  <a:lnTo>
                    <a:pt x="1111" y="999"/>
                  </a:lnTo>
                  <a:lnTo>
                    <a:pt x="1111" y="995"/>
                  </a:lnTo>
                  <a:lnTo>
                    <a:pt x="1120" y="995"/>
                  </a:lnTo>
                  <a:lnTo>
                    <a:pt x="1120" y="995"/>
                  </a:lnTo>
                  <a:lnTo>
                    <a:pt x="1125" y="990"/>
                  </a:lnTo>
                  <a:lnTo>
                    <a:pt x="1125" y="990"/>
                  </a:lnTo>
                  <a:lnTo>
                    <a:pt x="1129" y="986"/>
                  </a:lnTo>
                  <a:lnTo>
                    <a:pt x="1129" y="986"/>
                  </a:lnTo>
                  <a:lnTo>
                    <a:pt x="1129" y="981"/>
                  </a:lnTo>
                  <a:lnTo>
                    <a:pt x="1129" y="981"/>
                  </a:lnTo>
                  <a:lnTo>
                    <a:pt x="1129" y="977"/>
                  </a:lnTo>
                  <a:lnTo>
                    <a:pt x="1134" y="977"/>
                  </a:lnTo>
                  <a:lnTo>
                    <a:pt x="1134" y="981"/>
                  </a:lnTo>
                  <a:lnTo>
                    <a:pt x="1134" y="981"/>
                  </a:lnTo>
                  <a:lnTo>
                    <a:pt x="1134" y="977"/>
                  </a:lnTo>
                  <a:lnTo>
                    <a:pt x="1134" y="977"/>
                  </a:lnTo>
                  <a:lnTo>
                    <a:pt x="1134" y="981"/>
                  </a:lnTo>
                  <a:lnTo>
                    <a:pt x="1134" y="981"/>
                  </a:lnTo>
                  <a:lnTo>
                    <a:pt x="1134" y="981"/>
                  </a:lnTo>
                  <a:lnTo>
                    <a:pt x="1138" y="981"/>
                  </a:lnTo>
                  <a:lnTo>
                    <a:pt x="1138" y="981"/>
                  </a:lnTo>
                  <a:lnTo>
                    <a:pt x="1134" y="986"/>
                  </a:lnTo>
                  <a:lnTo>
                    <a:pt x="1134" y="986"/>
                  </a:lnTo>
                  <a:lnTo>
                    <a:pt x="1138" y="981"/>
                  </a:lnTo>
                  <a:lnTo>
                    <a:pt x="1148" y="981"/>
                  </a:lnTo>
                  <a:lnTo>
                    <a:pt x="1148" y="981"/>
                  </a:lnTo>
                  <a:lnTo>
                    <a:pt x="1148" y="981"/>
                  </a:lnTo>
                  <a:lnTo>
                    <a:pt x="1148" y="977"/>
                  </a:lnTo>
                  <a:lnTo>
                    <a:pt x="1152" y="972"/>
                  </a:lnTo>
                  <a:lnTo>
                    <a:pt x="1152" y="972"/>
                  </a:lnTo>
                  <a:lnTo>
                    <a:pt x="1152" y="977"/>
                  </a:lnTo>
                  <a:lnTo>
                    <a:pt x="1152" y="977"/>
                  </a:lnTo>
                  <a:lnTo>
                    <a:pt x="1152" y="977"/>
                  </a:lnTo>
                  <a:lnTo>
                    <a:pt x="1152" y="977"/>
                  </a:lnTo>
                  <a:lnTo>
                    <a:pt x="1152" y="977"/>
                  </a:lnTo>
                  <a:lnTo>
                    <a:pt x="1152" y="977"/>
                  </a:lnTo>
                  <a:lnTo>
                    <a:pt x="1152" y="981"/>
                  </a:lnTo>
                  <a:lnTo>
                    <a:pt x="1152" y="977"/>
                  </a:lnTo>
                  <a:lnTo>
                    <a:pt x="1152" y="977"/>
                  </a:lnTo>
                  <a:lnTo>
                    <a:pt x="1157" y="977"/>
                  </a:lnTo>
                  <a:lnTo>
                    <a:pt x="1161" y="977"/>
                  </a:lnTo>
                  <a:lnTo>
                    <a:pt x="1161" y="977"/>
                  </a:lnTo>
                  <a:lnTo>
                    <a:pt x="1166" y="981"/>
                  </a:lnTo>
                  <a:lnTo>
                    <a:pt x="1166" y="981"/>
                  </a:lnTo>
                  <a:lnTo>
                    <a:pt x="1170" y="981"/>
                  </a:lnTo>
                  <a:lnTo>
                    <a:pt x="1175" y="986"/>
                  </a:lnTo>
                  <a:lnTo>
                    <a:pt x="1179" y="981"/>
                  </a:lnTo>
                  <a:lnTo>
                    <a:pt x="1179" y="981"/>
                  </a:lnTo>
                  <a:lnTo>
                    <a:pt x="1179" y="981"/>
                  </a:lnTo>
                  <a:lnTo>
                    <a:pt x="1179" y="981"/>
                  </a:lnTo>
                  <a:lnTo>
                    <a:pt x="1179" y="981"/>
                  </a:lnTo>
                  <a:lnTo>
                    <a:pt x="1179" y="981"/>
                  </a:lnTo>
                  <a:lnTo>
                    <a:pt x="1184" y="977"/>
                  </a:lnTo>
                  <a:lnTo>
                    <a:pt x="1184" y="981"/>
                  </a:lnTo>
                  <a:lnTo>
                    <a:pt x="1184" y="981"/>
                  </a:lnTo>
                  <a:lnTo>
                    <a:pt x="1188" y="981"/>
                  </a:lnTo>
                  <a:lnTo>
                    <a:pt x="1188" y="986"/>
                  </a:lnTo>
                  <a:lnTo>
                    <a:pt x="1188" y="986"/>
                  </a:lnTo>
                  <a:lnTo>
                    <a:pt x="1193" y="986"/>
                  </a:lnTo>
                  <a:lnTo>
                    <a:pt x="1193" y="986"/>
                  </a:lnTo>
                  <a:lnTo>
                    <a:pt x="1193" y="986"/>
                  </a:lnTo>
                  <a:lnTo>
                    <a:pt x="1188" y="986"/>
                  </a:lnTo>
                  <a:lnTo>
                    <a:pt x="1193" y="990"/>
                  </a:lnTo>
                  <a:lnTo>
                    <a:pt x="1193" y="990"/>
                  </a:lnTo>
                  <a:lnTo>
                    <a:pt x="1188" y="990"/>
                  </a:lnTo>
                  <a:lnTo>
                    <a:pt x="1188" y="990"/>
                  </a:lnTo>
                  <a:lnTo>
                    <a:pt x="1188" y="990"/>
                  </a:lnTo>
                  <a:lnTo>
                    <a:pt x="1193" y="990"/>
                  </a:lnTo>
                  <a:lnTo>
                    <a:pt x="1197" y="995"/>
                  </a:lnTo>
                  <a:lnTo>
                    <a:pt x="1197" y="995"/>
                  </a:lnTo>
                  <a:lnTo>
                    <a:pt x="1202" y="990"/>
                  </a:lnTo>
                  <a:lnTo>
                    <a:pt x="1202" y="990"/>
                  </a:lnTo>
                  <a:lnTo>
                    <a:pt x="1202" y="990"/>
                  </a:lnTo>
                  <a:lnTo>
                    <a:pt x="1206" y="990"/>
                  </a:lnTo>
                  <a:lnTo>
                    <a:pt x="1206" y="995"/>
                  </a:lnTo>
                  <a:lnTo>
                    <a:pt x="1206" y="995"/>
                  </a:lnTo>
                  <a:lnTo>
                    <a:pt x="1206" y="995"/>
                  </a:lnTo>
                  <a:lnTo>
                    <a:pt x="1206" y="995"/>
                  </a:lnTo>
                  <a:lnTo>
                    <a:pt x="1206" y="990"/>
                  </a:lnTo>
                  <a:lnTo>
                    <a:pt x="1206" y="990"/>
                  </a:lnTo>
                  <a:lnTo>
                    <a:pt x="1211" y="990"/>
                  </a:lnTo>
                  <a:lnTo>
                    <a:pt x="1211" y="986"/>
                  </a:lnTo>
                  <a:lnTo>
                    <a:pt x="1211" y="986"/>
                  </a:lnTo>
                  <a:lnTo>
                    <a:pt x="1206" y="986"/>
                  </a:lnTo>
                  <a:lnTo>
                    <a:pt x="1206" y="986"/>
                  </a:lnTo>
                  <a:lnTo>
                    <a:pt x="1211" y="986"/>
                  </a:lnTo>
                  <a:lnTo>
                    <a:pt x="1211" y="986"/>
                  </a:lnTo>
                  <a:lnTo>
                    <a:pt x="1215" y="990"/>
                  </a:lnTo>
                  <a:lnTo>
                    <a:pt x="1215" y="990"/>
                  </a:lnTo>
                  <a:lnTo>
                    <a:pt x="1211" y="990"/>
                  </a:lnTo>
                  <a:lnTo>
                    <a:pt x="1215" y="990"/>
                  </a:lnTo>
                  <a:lnTo>
                    <a:pt x="1215" y="990"/>
                  </a:lnTo>
                  <a:lnTo>
                    <a:pt x="1215" y="990"/>
                  </a:lnTo>
                  <a:lnTo>
                    <a:pt x="1215" y="990"/>
                  </a:lnTo>
                  <a:lnTo>
                    <a:pt x="1215" y="990"/>
                  </a:lnTo>
                  <a:lnTo>
                    <a:pt x="1220" y="995"/>
                  </a:lnTo>
                  <a:lnTo>
                    <a:pt x="1220" y="995"/>
                  </a:lnTo>
                  <a:lnTo>
                    <a:pt x="1220" y="995"/>
                  </a:lnTo>
                  <a:lnTo>
                    <a:pt x="1215" y="999"/>
                  </a:lnTo>
                  <a:lnTo>
                    <a:pt x="1220" y="995"/>
                  </a:lnTo>
                  <a:lnTo>
                    <a:pt x="1220" y="995"/>
                  </a:lnTo>
                  <a:lnTo>
                    <a:pt x="1220" y="995"/>
                  </a:lnTo>
                  <a:lnTo>
                    <a:pt x="1220" y="995"/>
                  </a:lnTo>
                  <a:lnTo>
                    <a:pt x="1220" y="995"/>
                  </a:lnTo>
                  <a:lnTo>
                    <a:pt x="1224" y="995"/>
                  </a:lnTo>
                  <a:lnTo>
                    <a:pt x="1224" y="995"/>
                  </a:lnTo>
                  <a:lnTo>
                    <a:pt x="1224" y="995"/>
                  </a:lnTo>
                  <a:lnTo>
                    <a:pt x="1224" y="995"/>
                  </a:lnTo>
                  <a:lnTo>
                    <a:pt x="1224" y="990"/>
                  </a:lnTo>
                  <a:lnTo>
                    <a:pt x="1224" y="990"/>
                  </a:lnTo>
                  <a:lnTo>
                    <a:pt x="1220" y="990"/>
                  </a:lnTo>
                  <a:lnTo>
                    <a:pt x="1220" y="990"/>
                  </a:lnTo>
                  <a:lnTo>
                    <a:pt x="1215" y="986"/>
                  </a:lnTo>
                  <a:lnTo>
                    <a:pt x="1215" y="986"/>
                  </a:lnTo>
                  <a:lnTo>
                    <a:pt x="1215" y="986"/>
                  </a:lnTo>
                  <a:lnTo>
                    <a:pt x="1215" y="986"/>
                  </a:lnTo>
                  <a:lnTo>
                    <a:pt x="1215" y="981"/>
                  </a:lnTo>
                  <a:lnTo>
                    <a:pt x="1220" y="981"/>
                  </a:lnTo>
                  <a:lnTo>
                    <a:pt x="1220" y="981"/>
                  </a:lnTo>
                  <a:lnTo>
                    <a:pt x="1220" y="981"/>
                  </a:lnTo>
                  <a:lnTo>
                    <a:pt x="1220" y="981"/>
                  </a:lnTo>
                  <a:lnTo>
                    <a:pt x="1220" y="981"/>
                  </a:lnTo>
                  <a:lnTo>
                    <a:pt x="1220" y="981"/>
                  </a:lnTo>
                  <a:lnTo>
                    <a:pt x="1224" y="981"/>
                  </a:lnTo>
                  <a:lnTo>
                    <a:pt x="1224" y="981"/>
                  </a:lnTo>
                  <a:lnTo>
                    <a:pt x="1224" y="977"/>
                  </a:lnTo>
                  <a:lnTo>
                    <a:pt x="1224" y="977"/>
                  </a:lnTo>
                  <a:lnTo>
                    <a:pt x="1224" y="977"/>
                  </a:lnTo>
                  <a:lnTo>
                    <a:pt x="1224" y="977"/>
                  </a:lnTo>
                  <a:lnTo>
                    <a:pt x="1224" y="977"/>
                  </a:lnTo>
                  <a:lnTo>
                    <a:pt x="1220" y="977"/>
                  </a:lnTo>
                  <a:lnTo>
                    <a:pt x="1220" y="977"/>
                  </a:lnTo>
                  <a:lnTo>
                    <a:pt x="1220" y="977"/>
                  </a:lnTo>
                  <a:lnTo>
                    <a:pt x="1220" y="977"/>
                  </a:lnTo>
                  <a:lnTo>
                    <a:pt x="1215" y="977"/>
                  </a:lnTo>
                  <a:lnTo>
                    <a:pt x="1220" y="977"/>
                  </a:lnTo>
                  <a:lnTo>
                    <a:pt x="1220" y="977"/>
                  </a:lnTo>
                  <a:lnTo>
                    <a:pt x="1220" y="977"/>
                  </a:lnTo>
                  <a:lnTo>
                    <a:pt x="1220" y="972"/>
                  </a:lnTo>
                  <a:lnTo>
                    <a:pt x="1220" y="972"/>
                  </a:lnTo>
                  <a:lnTo>
                    <a:pt x="1220" y="972"/>
                  </a:lnTo>
                  <a:lnTo>
                    <a:pt x="1220" y="972"/>
                  </a:lnTo>
                  <a:lnTo>
                    <a:pt x="1215" y="972"/>
                  </a:lnTo>
                  <a:lnTo>
                    <a:pt x="1215" y="977"/>
                  </a:lnTo>
                  <a:lnTo>
                    <a:pt x="1211" y="977"/>
                  </a:lnTo>
                  <a:lnTo>
                    <a:pt x="1211" y="977"/>
                  </a:lnTo>
                  <a:lnTo>
                    <a:pt x="1211" y="972"/>
                  </a:lnTo>
                  <a:lnTo>
                    <a:pt x="1211" y="972"/>
                  </a:lnTo>
                  <a:lnTo>
                    <a:pt x="1215" y="968"/>
                  </a:lnTo>
                  <a:lnTo>
                    <a:pt x="1215" y="968"/>
                  </a:lnTo>
                  <a:lnTo>
                    <a:pt x="1215" y="968"/>
                  </a:lnTo>
                  <a:lnTo>
                    <a:pt x="1215" y="972"/>
                  </a:lnTo>
                  <a:lnTo>
                    <a:pt x="1224" y="972"/>
                  </a:lnTo>
                  <a:lnTo>
                    <a:pt x="1224" y="972"/>
                  </a:lnTo>
                  <a:lnTo>
                    <a:pt x="1229" y="972"/>
                  </a:lnTo>
                  <a:lnTo>
                    <a:pt x="1229" y="972"/>
                  </a:lnTo>
                  <a:lnTo>
                    <a:pt x="1229" y="972"/>
                  </a:lnTo>
                  <a:lnTo>
                    <a:pt x="1233" y="972"/>
                  </a:lnTo>
                  <a:lnTo>
                    <a:pt x="1233" y="968"/>
                  </a:lnTo>
                  <a:lnTo>
                    <a:pt x="1238" y="968"/>
                  </a:lnTo>
                  <a:lnTo>
                    <a:pt x="1238" y="968"/>
                  </a:lnTo>
                  <a:lnTo>
                    <a:pt x="1238" y="972"/>
                  </a:lnTo>
                  <a:lnTo>
                    <a:pt x="1242" y="972"/>
                  </a:lnTo>
                  <a:lnTo>
                    <a:pt x="1247" y="972"/>
                  </a:lnTo>
                  <a:lnTo>
                    <a:pt x="1247" y="972"/>
                  </a:lnTo>
                  <a:lnTo>
                    <a:pt x="1247" y="968"/>
                  </a:lnTo>
                  <a:lnTo>
                    <a:pt x="1251" y="968"/>
                  </a:lnTo>
                  <a:lnTo>
                    <a:pt x="1251" y="963"/>
                  </a:lnTo>
                  <a:lnTo>
                    <a:pt x="1251" y="963"/>
                  </a:lnTo>
                  <a:lnTo>
                    <a:pt x="1251" y="968"/>
                  </a:lnTo>
                  <a:lnTo>
                    <a:pt x="1251" y="968"/>
                  </a:lnTo>
                  <a:lnTo>
                    <a:pt x="1251" y="968"/>
                  </a:lnTo>
                  <a:lnTo>
                    <a:pt x="1251" y="972"/>
                  </a:lnTo>
                  <a:lnTo>
                    <a:pt x="1251" y="972"/>
                  </a:lnTo>
                  <a:lnTo>
                    <a:pt x="1251" y="972"/>
                  </a:lnTo>
                  <a:lnTo>
                    <a:pt x="1251" y="972"/>
                  </a:lnTo>
                  <a:lnTo>
                    <a:pt x="1251" y="972"/>
                  </a:lnTo>
                  <a:lnTo>
                    <a:pt x="1247" y="972"/>
                  </a:lnTo>
                  <a:lnTo>
                    <a:pt x="1247" y="972"/>
                  </a:lnTo>
                  <a:lnTo>
                    <a:pt x="1256" y="972"/>
                  </a:lnTo>
                  <a:lnTo>
                    <a:pt x="1256" y="972"/>
                  </a:lnTo>
                  <a:lnTo>
                    <a:pt x="1260" y="972"/>
                  </a:lnTo>
                  <a:lnTo>
                    <a:pt x="1260" y="972"/>
                  </a:lnTo>
                  <a:lnTo>
                    <a:pt x="1256" y="972"/>
                  </a:lnTo>
                  <a:lnTo>
                    <a:pt x="1256" y="972"/>
                  </a:lnTo>
                  <a:lnTo>
                    <a:pt x="1260" y="972"/>
                  </a:lnTo>
                  <a:lnTo>
                    <a:pt x="1260" y="972"/>
                  </a:lnTo>
                  <a:lnTo>
                    <a:pt x="1265" y="968"/>
                  </a:lnTo>
                  <a:lnTo>
                    <a:pt x="1265" y="968"/>
                  </a:lnTo>
                  <a:lnTo>
                    <a:pt x="1265" y="968"/>
                  </a:lnTo>
                  <a:lnTo>
                    <a:pt x="1265" y="968"/>
                  </a:lnTo>
                  <a:lnTo>
                    <a:pt x="1265" y="968"/>
                  </a:lnTo>
                  <a:lnTo>
                    <a:pt x="1265" y="968"/>
                  </a:lnTo>
                  <a:lnTo>
                    <a:pt x="1265" y="968"/>
                  </a:lnTo>
                  <a:lnTo>
                    <a:pt x="1265" y="972"/>
                  </a:lnTo>
                  <a:lnTo>
                    <a:pt x="1265" y="972"/>
                  </a:lnTo>
                  <a:lnTo>
                    <a:pt x="1265" y="972"/>
                  </a:lnTo>
                  <a:lnTo>
                    <a:pt x="1260" y="972"/>
                  </a:lnTo>
                  <a:lnTo>
                    <a:pt x="1265" y="972"/>
                  </a:lnTo>
                  <a:lnTo>
                    <a:pt x="1269" y="972"/>
                  </a:lnTo>
                  <a:lnTo>
                    <a:pt x="1274" y="972"/>
                  </a:lnTo>
                  <a:lnTo>
                    <a:pt x="1274" y="972"/>
                  </a:lnTo>
                  <a:lnTo>
                    <a:pt x="1274" y="968"/>
                  </a:lnTo>
                  <a:lnTo>
                    <a:pt x="1279" y="968"/>
                  </a:lnTo>
                  <a:lnTo>
                    <a:pt x="1279" y="968"/>
                  </a:lnTo>
                  <a:lnTo>
                    <a:pt x="1279" y="972"/>
                  </a:lnTo>
                  <a:lnTo>
                    <a:pt x="1279" y="972"/>
                  </a:lnTo>
                  <a:lnTo>
                    <a:pt x="1279" y="972"/>
                  </a:lnTo>
                  <a:lnTo>
                    <a:pt x="1279" y="972"/>
                  </a:lnTo>
                  <a:lnTo>
                    <a:pt x="1274" y="972"/>
                  </a:lnTo>
                  <a:lnTo>
                    <a:pt x="1279" y="972"/>
                  </a:lnTo>
                  <a:lnTo>
                    <a:pt x="1283" y="977"/>
                  </a:lnTo>
                  <a:lnTo>
                    <a:pt x="1283" y="977"/>
                  </a:lnTo>
                  <a:lnTo>
                    <a:pt x="1283" y="977"/>
                  </a:lnTo>
                  <a:lnTo>
                    <a:pt x="1283" y="977"/>
                  </a:lnTo>
                  <a:lnTo>
                    <a:pt x="1283" y="977"/>
                  </a:lnTo>
                  <a:lnTo>
                    <a:pt x="1288" y="972"/>
                  </a:lnTo>
                  <a:lnTo>
                    <a:pt x="1288" y="972"/>
                  </a:lnTo>
                  <a:lnTo>
                    <a:pt x="1288" y="977"/>
                  </a:lnTo>
                  <a:lnTo>
                    <a:pt x="1288" y="977"/>
                  </a:lnTo>
                  <a:lnTo>
                    <a:pt x="1288" y="977"/>
                  </a:lnTo>
                  <a:lnTo>
                    <a:pt x="1288" y="977"/>
                  </a:lnTo>
                  <a:lnTo>
                    <a:pt x="1283" y="977"/>
                  </a:lnTo>
                  <a:lnTo>
                    <a:pt x="1288" y="981"/>
                  </a:lnTo>
                  <a:lnTo>
                    <a:pt x="1288" y="981"/>
                  </a:lnTo>
                  <a:lnTo>
                    <a:pt x="1288" y="986"/>
                  </a:lnTo>
                  <a:lnTo>
                    <a:pt x="1288" y="986"/>
                  </a:lnTo>
                  <a:lnTo>
                    <a:pt x="1288" y="986"/>
                  </a:lnTo>
                  <a:lnTo>
                    <a:pt x="1288" y="986"/>
                  </a:lnTo>
                  <a:lnTo>
                    <a:pt x="1288" y="981"/>
                  </a:lnTo>
                  <a:lnTo>
                    <a:pt x="1288" y="986"/>
                  </a:lnTo>
                  <a:lnTo>
                    <a:pt x="1288" y="986"/>
                  </a:lnTo>
                  <a:lnTo>
                    <a:pt x="1288" y="986"/>
                  </a:lnTo>
                  <a:lnTo>
                    <a:pt x="1292" y="986"/>
                  </a:lnTo>
                  <a:lnTo>
                    <a:pt x="1292" y="986"/>
                  </a:lnTo>
                  <a:lnTo>
                    <a:pt x="1292" y="986"/>
                  </a:lnTo>
                  <a:lnTo>
                    <a:pt x="1297" y="986"/>
                  </a:lnTo>
                  <a:lnTo>
                    <a:pt x="1297" y="986"/>
                  </a:lnTo>
                  <a:lnTo>
                    <a:pt x="1301" y="981"/>
                  </a:lnTo>
                  <a:lnTo>
                    <a:pt x="1306" y="981"/>
                  </a:lnTo>
                  <a:lnTo>
                    <a:pt x="1306" y="981"/>
                  </a:lnTo>
                  <a:lnTo>
                    <a:pt x="1306" y="981"/>
                  </a:lnTo>
                  <a:lnTo>
                    <a:pt x="1306" y="981"/>
                  </a:lnTo>
                  <a:lnTo>
                    <a:pt x="1306" y="981"/>
                  </a:lnTo>
                  <a:lnTo>
                    <a:pt x="1306" y="981"/>
                  </a:lnTo>
                  <a:lnTo>
                    <a:pt x="1310" y="981"/>
                  </a:lnTo>
                  <a:lnTo>
                    <a:pt x="1315" y="981"/>
                  </a:lnTo>
                  <a:lnTo>
                    <a:pt x="1319" y="990"/>
                  </a:lnTo>
                  <a:lnTo>
                    <a:pt x="1324" y="999"/>
                  </a:lnTo>
                  <a:lnTo>
                    <a:pt x="1328" y="1004"/>
                  </a:lnTo>
                  <a:lnTo>
                    <a:pt x="1324" y="1004"/>
                  </a:lnTo>
                  <a:lnTo>
                    <a:pt x="1324" y="1008"/>
                  </a:lnTo>
                  <a:lnTo>
                    <a:pt x="1324" y="1013"/>
                  </a:lnTo>
                  <a:lnTo>
                    <a:pt x="1319" y="1017"/>
                  </a:lnTo>
                  <a:lnTo>
                    <a:pt x="1315" y="1026"/>
                  </a:lnTo>
                  <a:lnTo>
                    <a:pt x="1315" y="1026"/>
                  </a:lnTo>
                  <a:lnTo>
                    <a:pt x="1315" y="1026"/>
                  </a:lnTo>
                  <a:lnTo>
                    <a:pt x="1319" y="1026"/>
                  </a:lnTo>
                  <a:lnTo>
                    <a:pt x="1319" y="1026"/>
                  </a:lnTo>
                  <a:lnTo>
                    <a:pt x="1319" y="1026"/>
                  </a:lnTo>
                  <a:lnTo>
                    <a:pt x="1319" y="1026"/>
                  </a:lnTo>
                  <a:lnTo>
                    <a:pt x="1319" y="1026"/>
                  </a:lnTo>
                  <a:lnTo>
                    <a:pt x="1319" y="1022"/>
                  </a:lnTo>
                  <a:lnTo>
                    <a:pt x="1319" y="1022"/>
                  </a:lnTo>
                  <a:lnTo>
                    <a:pt x="1319" y="1022"/>
                  </a:lnTo>
                  <a:lnTo>
                    <a:pt x="1319" y="1022"/>
                  </a:lnTo>
                  <a:lnTo>
                    <a:pt x="1319" y="1022"/>
                  </a:lnTo>
                  <a:lnTo>
                    <a:pt x="1324" y="1022"/>
                  </a:lnTo>
                  <a:lnTo>
                    <a:pt x="1324" y="1022"/>
                  </a:lnTo>
                  <a:lnTo>
                    <a:pt x="1324" y="1022"/>
                  </a:lnTo>
                  <a:lnTo>
                    <a:pt x="1324" y="1022"/>
                  </a:lnTo>
                  <a:lnTo>
                    <a:pt x="1324" y="1026"/>
                  </a:lnTo>
                  <a:lnTo>
                    <a:pt x="1324" y="1026"/>
                  </a:lnTo>
                  <a:lnTo>
                    <a:pt x="1319" y="1026"/>
                  </a:lnTo>
                  <a:lnTo>
                    <a:pt x="1319" y="1031"/>
                  </a:lnTo>
                  <a:lnTo>
                    <a:pt x="1315" y="1031"/>
                  </a:lnTo>
                  <a:lnTo>
                    <a:pt x="1315" y="1031"/>
                  </a:lnTo>
                  <a:lnTo>
                    <a:pt x="1315" y="1031"/>
                  </a:lnTo>
                  <a:lnTo>
                    <a:pt x="1319" y="1031"/>
                  </a:lnTo>
                  <a:lnTo>
                    <a:pt x="1319" y="1040"/>
                  </a:lnTo>
                  <a:lnTo>
                    <a:pt x="1319" y="1044"/>
                  </a:lnTo>
                  <a:lnTo>
                    <a:pt x="1319" y="1044"/>
                  </a:lnTo>
                  <a:lnTo>
                    <a:pt x="1319" y="1044"/>
                  </a:lnTo>
                  <a:lnTo>
                    <a:pt x="1319" y="1044"/>
                  </a:lnTo>
                  <a:lnTo>
                    <a:pt x="1319" y="1044"/>
                  </a:lnTo>
                  <a:lnTo>
                    <a:pt x="1324" y="1044"/>
                  </a:lnTo>
                  <a:lnTo>
                    <a:pt x="1324" y="1040"/>
                  </a:lnTo>
                  <a:lnTo>
                    <a:pt x="1324" y="1040"/>
                  </a:lnTo>
                  <a:lnTo>
                    <a:pt x="1324" y="1044"/>
                  </a:lnTo>
                  <a:lnTo>
                    <a:pt x="1324" y="1049"/>
                  </a:lnTo>
                  <a:lnTo>
                    <a:pt x="1324" y="1049"/>
                  </a:lnTo>
                  <a:lnTo>
                    <a:pt x="1324" y="1049"/>
                  </a:lnTo>
                  <a:lnTo>
                    <a:pt x="1324" y="1049"/>
                  </a:lnTo>
                  <a:lnTo>
                    <a:pt x="1324" y="1049"/>
                  </a:lnTo>
                  <a:lnTo>
                    <a:pt x="1324" y="1049"/>
                  </a:lnTo>
                  <a:lnTo>
                    <a:pt x="1324" y="1049"/>
                  </a:lnTo>
                  <a:lnTo>
                    <a:pt x="1324" y="1049"/>
                  </a:lnTo>
                  <a:lnTo>
                    <a:pt x="1324" y="1054"/>
                  </a:lnTo>
                  <a:lnTo>
                    <a:pt x="1324" y="1054"/>
                  </a:lnTo>
                  <a:lnTo>
                    <a:pt x="1324" y="1054"/>
                  </a:lnTo>
                  <a:lnTo>
                    <a:pt x="1324" y="1058"/>
                  </a:lnTo>
                  <a:lnTo>
                    <a:pt x="1324" y="1063"/>
                  </a:lnTo>
                  <a:lnTo>
                    <a:pt x="1324" y="1063"/>
                  </a:lnTo>
                  <a:lnTo>
                    <a:pt x="1328" y="1063"/>
                  </a:lnTo>
                  <a:lnTo>
                    <a:pt x="1328" y="1067"/>
                  </a:lnTo>
                  <a:lnTo>
                    <a:pt x="1328" y="1072"/>
                  </a:lnTo>
                  <a:lnTo>
                    <a:pt x="1328" y="1076"/>
                  </a:lnTo>
                  <a:lnTo>
                    <a:pt x="1333" y="1076"/>
                  </a:lnTo>
                  <a:lnTo>
                    <a:pt x="1333" y="1076"/>
                  </a:lnTo>
                  <a:lnTo>
                    <a:pt x="1333" y="1076"/>
                  </a:lnTo>
                  <a:lnTo>
                    <a:pt x="1333" y="1076"/>
                  </a:lnTo>
                  <a:lnTo>
                    <a:pt x="1328" y="1076"/>
                  </a:lnTo>
                  <a:lnTo>
                    <a:pt x="1328" y="1076"/>
                  </a:lnTo>
                  <a:lnTo>
                    <a:pt x="1328" y="1076"/>
                  </a:lnTo>
                  <a:lnTo>
                    <a:pt x="1328" y="1076"/>
                  </a:lnTo>
                  <a:lnTo>
                    <a:pt x="1328" y="1081"/>
                  </a:lnTo>
                  <a:lnTo>
                    <a:pt x="1328" y="1081"/>
                  </a:lnTo>
                  <a:lnTo>
                    <a:pt x="1333" y="1076"/>
                  </a:lnTo>
                  <a:lnTo>
                    <a:pt x="1337" y="1076"/>
                  </a:lnTo>
                  <a:lnTo>
                    <a:pt x="1337" y="1076"/>
                  </a:lnTo>
                  <a:lnTo>
                    <a:pt x="1342" y="1076"/>
                  </a:lnTo>
                  <a:lnTo>
                    <a:pt x="1342" y="1076"/>
                  </a:lnTo>
                  <a:lnTo>
                    <a:pt x="1342" y="1072"/>
                  </a:lnTo>
                  <a:lnTo>
                    <a:pt x="1346" y="1072"/>
                  </a:lnTo>
                  <a:lnTo>
                    <a:pt x="1346" y="1067"/>
                  </a:lnTo>
                  <a:lnTo>
                    <a:pt x="1351" y="1063"/>
                  </a:lnTo>
                  <a:lnTo>
                    <a:pt x="1351" y="1063"/>
                  </a:lnTo>
                  <a:lnTo>
                    <a:pt x="1351" y="1067"/>
                  </a:lnTo>
                  <a:lnTo>
                    <a:pt x="1351" y="1067"/>
                  </a:lnTo>
                  <a:lnTo>
                    <a:pt x="1351" y="1058"/>
                  </a:lnTo>
                  <a:lnTo>
                    <a:pt x="1355" y="1049"/>
                  </a:lnTo>
                  <a:lnTo>
                    <a:pt x="1355" y="1044"/>
                  </a:lnTo>
                  <a:lnTo>
                    <a:pt x="1355" y="1044"/>
                  </a:lnTo>
                  <a:lnTo>
                    <a:pt x="1355" y="1040"/>
                  </a:lnTo>
                  <a:lnTo>
                    <a:pt x="1355" y="1040"/>
                  </a:lnTo>
                  <a:lnTo>
                    <a:pt x="1355" y="1017"/>
                  </a:lnTo>
                  <a:lnTo>
                    <a:pt x="1355" y="1017"/>
                  </a:lnTo>
                  <a:lnTo>
                    <a:pt x="1355" y="1013"/>
                  </a:lnTo>
                  <a:lnTo>
                    <a:pt x="1355" y="1013"/>
                  </a:lnTo>
                  <a:lnTo>
                    <a:pt x="1355" y="1008"/>
                  </a:lnTo>
                  <a:lnTo>
                    <a:pt x="1355" y="1008"/>
                  </a:lnTo>
                  <a:lnTo>
                    <a:pt x="1355" y="1008"/>
                  </a:lnTo>
                  <a:lnTo>
                    <a:pt x="1355" y="1008"/>
                  </a:lnTo>
                  <a:lnTo>
                    <a:pt x="1355" y="1008"/>
                  </a:lnTo>
                  <a:lnTo>
                    <a:pt x="1355" y="1008"/>
                  </a:lnTo>
                  <a:lnTo>
                    <a:pt x="1355" y="1013"/>
                  </a:lnTo>
                  <a:lnTo>
                    <a:pt x="1355" y="1013"/>
                  </a:lnTo>
                  <a:lnTo>
                    <a:pt x="1355" y="1013"/>
                  </a:lnTo>
                  <a:lnTo>
                    <a:pt x="1355" y="1013"/>
                  </a:lnTo>
                  <a:lnTo>
                    <a:pt x="1355" y="1017"/>
                  </a:lnTo>
                  <a:lnTo>
                    <a:pt x="1355" y="1017"/>
                  </a:lnTo>
                  <a:lnTo>
                    <a:pt x="1355" y="1013"/>
                  </a:lnTo>
                  <a:lnTo>
                    <a:pt x="1355" y="1013"/>
                  </a:lnTo>
                  <a:lnTo>
                    <a:pt x="1355" y="1013"/>
                  </a:lnTo>
                  <a:lnTo>
                    <a:pt x="1355" y="1017"/>
                  </a:lnTo>
                  <a:lnTo>
                    <a:pt x="1355" y="1017"/>
                  </a:lnTo>
                  <a:lnTo>
                    <a:pt x="1355" y="1022"/>
                  </a:lnTo>
                  <a:lnTo>
                    <a:pt x="1355" y="1026"/>
                  </a:lnTo>
                  <a:lnTo>
                    <a:pt x="1355" y="1022"/>
                  </a:lnTo>
                  <a:lnTo>
                    <a:pt x="1355" y="1017"/>
                  </a:lnTo>
                  <a:lnTo>
                    <a:pt x="1355" y="1017"/>
                  </a:lnTo>
                  <a:lnTo>
                    <a:pt x="1355" y="1017"/>
                  </a:lnTo>
                  <a:lnTo>
                    <a:pt x="1355" y="1013"/>
                  </a:lnTo>
                  <a:lnTo>
                    <a:pt x="1360" y="1013"/>
                  </a:lnTo>
                  <a:lnTo>
                    <a:pt x="1360" y="1013"/>
                  </a:lnTo>
                  <a:lnTo>
                    <a:pt x="1355" y="1004"/>
                  </a:lnTo>
                  <a:lnTo>
                    <a:pt x="1355" y="995"/>
                  </a:lnTo>
                  <a:lnTo>
                    <a:pt x="1355" y="986"/>
                  </a:lnTo>
                  <a:lnTo>
                    <a:pt x="1355" y="981"/>
                  </a:lnTo>
                  <a:lnTo>
                    <a:pt x="1355" y="977"/>
                  </a:lnTo>
                  <a:lnTo>
                    <a:pt x="1355" y="972"/>
                  </a:lnTo>
                  <a:lnTo>
                    <a:pt x="1355" y="968"/>
                  </a:lnTo>
                  <a:lnTo>
                    <a:pt x="1355" y="968"/>
                  </a:lnTo>
                  <a:lnTo>
                    <a:pt x="1360" y="968"/>
                  </a:lnTo>
                  <a:lnTo>
                    <a:pt x="1360" y="963"/>
                  </a:lnTo>
                  <a:lnTo>
                    <a:pt x="1360" y="963"/>
                  </a:lnTo>
                  <a:lnTo>
                    <a:pt x="1360" y="963"/>
                  </a:lnTo>
                  <a:lnTo>
                    <a:pt x="1360" y="959"/>
                  </a:lnTo>
                  <a:lnTo>
                    <a:pt x="1360" y="959"/>
                  </a:lnTo>
                  <a:lnTo>
                    <a:pt x="1360" y="959"/>
                  </a:lnTo>
                  <a:lnTo>
                    <a:pt x="1364" y="959"/>
                  </a:lnTo>
                  <a:lnTo>
                    <a:pt x="1364" y="959"/>
                  </a:lnTo>
                  <a:lnTo>
                    <a:pt x="1364" y="959"/>
                  </a:lnTo>
                  <a:lnTo>
                    <a:pt x="1364" y="959"/>
                  </a:lnTo>
                  <a:lnTo>
                    <a:pt x="1364" y="959"/>
                  </a:lnTo>
                  <a:lnTo>
                    <a:pt x="1364" y="954"/>
                  </a:lnTo>
                  <a:lnTo>
                    <a:pt x="1364" y="954"/>
                  </a:lnTo>
                  <a:lnTo>
                    <a:pt x="1369" y="954"/>
                  </a:lnTo>
                  <a:lnTo>
                    <a:pt x="1369" y="954"/>
                  </a:lnTo>
                  <a:lnTo>
                    <a:pt x="1369" y="954"/>
                  </a:lnTo>
                  <a:lnTo>
                    <a:pt x="1369" y="954"/>
                  </a:lnTo>
                  <a:lnTo>
                    <a:pt x="1364" y="954"/>
                  </a:lnTo>
                  <a:lnTo>
                    <a:pt x="1369" y="954"/>
                  </a:lnTo>
                  <a:lnTo>
                    <a:pt x="1369" y="950"/>
                  </a:lnTo>
                  <a:lnTo>
                    <a:pt x="1369" y="950"/>
                  </a:lnTo>
                  <a:lnTo>
                    <a:pt x="1369" y="950"/>
                  </a:lnTo>
                  <a:lnTo>
                    <a:pt x="1369" y="950"/>
                  </a:lnTo>
                  <a:lnTo>
                    <a:pt x="1369" y="950"/>
                  </a:lnTo>
                  <a:lnTo>
                    <a:pt x="1369" y="950"/>
                  </a:lnTo>
                  <a:lnTo>
                    <a:pt x="1373" y="950"/>
                  </a:lnTo>
                  <a:lnTo>
                    <a:pt x="1373" y="950"/>
                  </a:lnTo>
                  <a:lnTo>
                    <a:pt x="1373" y="945"/>
                  </a:lnTo>
                  <a:lnTo>
                    <a:pt x="1373" y="945"/>
                  </a:lnTo>
                  <a:lnTo>
                    <a:pt x="1373" y="945"/>
                  </a:lnTo>
                  <a:lnTo>
                    <a:pt x="1373" y="945"/>
                  </a:lnTo>
                  <a:lnTo>
                    <a:pt x="1373" y="945"/>
                  </a:lnTo>
                  <a:lnTo>
                    <a:pt x="1378" y="945"/>
                  </a:lnTo>
                  <a:lnTo>
                    <a:pt x="1378" y="945"/>
                  </a:lnTo>
                  <a:lnTo>
                    <a:pt x="1378" y="940"/>
                  </a:lnTo>
                  <a:lnTo>
                    <a:pt x="1378" y="940"/>
                  </a:lnTo>
                  <a:lnTo>
                    <a:pt x="1378" y="940"/>
                  </a:lnTo>
                  <a:lnTo>
                    <a:pt x="1382" y="940"/>
                  </a:lnTo>
                  <a:lnTo>
                    <a:pt x="1382" y="940"/>
                  </a:lnTo>
                  <a:lnTo>
                    <a:pt x="1378" y="940"/>
                  </a:lnTo>
                  <a:lnTo>
                    <a:pt x="1378" y="940"/>
                  </a:lnTo>
                  <a:lnTo>
                    <a:pt x="1378" y="936"/>
                  </a:lnTo>
                  <a:lnTo>
                    <a:pt x="1382" y="936"/>
                  </a:lnTo>
                  <a:lnTo>
                    <a:pt x="1382" y="936"/>
                  </a:lnTo>
                  <a:lnTo>
                    <a:pt x="1382" y="936"/>
                  </a:lnTo>
                  <a:lnTo>
                    <a:pt x="1382" y="936"/>
                  </a:lnTo>
                  <a:lnTo>
                    <a:pt x="1382" y="936"/>
                  </a:lnTo>
                  <a:lnTo>
                    <a:pt x="1382" y="936"/>
                  </a:lnTo>
                  <a:lnTo>
                    <a:pt x="1382" y="940"/>
                  </a:lnTo>
                  <a:lnTo>
                    <a:pt x="1382" y="940"/>
                  </a:lnTo>
                  <a:lnTo>
                    <a:pt x="1382" y="936"/>
                  </a:lnTo>
                  <a:lnTo>
                    <a:pt x="1382" y="936"/>
                  </a:lnTo>
                  <a:lnTo>
                    <a:pt x="1387" y="936"/>
                  </a:lnTo>
                  <a:lnTo>
                    <a:pt x="1387" y="936"/>
                  </a:lnTo>
                  <a:lnTo>
                    <a:pt x="1382" y="936"/>
                  </a:lnTo>
                  <a:lnTo>
                    <a:pt x="1382" y="936"/>
                  </a:lnTo>
                  <a:lnTo>
                    <a:pt x="1387" y="936"/>
                  </a:lnTo>
                  <a:lnTo>
                    <a:pt x="1387" y="936"/>
                  </a:lnTo>
                  <a:lnTo>
                    <a:pt x="1391" y="936"/>
                  </a:lnTo>
                  <a:lnTo>
                    <a:pt x="1391" y="931"/>
                  </a:lnTo>
                  <a:lnTo>
                    <a:pt x="1391" y="931"/>
                  </a:lnTo>
                  <a:lnTo>
                    <a:pt x="1391" y="931"/>
                  </a:lnTo>
                  <a:lnTo>
                    <a:pt x="1396" y="931"/>
                  </a:lnTo>
                  <a:lnTo>
                    <a:pt x="1396" y="931"/>
                  </a:lnTo>
                  <a:lnTo>
                    <a:pt x="1396" y="931"/>
                  </a:lnTo>
                  <a:lnTo>
                    <a:pt x="1396" y="927"/>
                  </a:lnTo>
                  <a:lnTo>
                    <a:pt x="1400" y="931"/>
                  </a:lnTo>
                  <a:lnTo>
                    <a:pt x="1400" y="927"/>
                  </a:lnTo>
                  <a:lnTo>
                    <a:pt x="1400" y="927"/>
                  </a:lnTo>
                  <a:lnTo>
                    <a:pt x="1405" y="927"/>
                  </a:lnTo>
                  <a:lnTo>
                    <a:pt x="1405" y="927"/>
                  </a:lnTo>
                  <a:lnTo>
                    <a:pt x="1405" y="927"/>
                  </a:lnTo>
                  <a:lnTo>
                    <a:pt x="1410" y="922"/>
                  </a:lnTo>
                  <a:lnTo>
                    <a:pt x="1410" y="922"/>
                  </a:lnTo>
                  <a:lnTo>
                    <a:pt x="1410" y="918"/>
                  </a:lnTo>
                  <a:lnTo>
                    <a:pt x="1414" y="918"/>
                  </a:lnTo>
                  <a:lnTo>
                    <a:pt x="1414" y="918"/>
                  </a:lnTo>
                  <a:lnTo>
                    <a:pt x="1410" y="918"/>
                  </a:lnTo>
                  <a:lnTo>
                    <a:pt x="1410" y="922"/>
                  </a:lnTo>
                  <a:lnTo>
                    <a:pt x="1414" y="918"/>
                  </a:lnTo>
                  <a:lnTo>
                    <a:pt x="1419" y="913"/>
                  </a:lnTo>
                  <a:lnTo>
                    <a:pt x="1419" y="913"/>
                  </a:lnTo>
                  <a:lnTo>
                    <a:pt x="1428" y="909"/>
                  </a:lnTo>
                  <a:lnTo>
                    <a:pt x="1428" y="909"/>
                  </a:lnTo>
                  <a:lnTo>
                    <a:pt x="1437" y="909"/>
                  </a:lnTo>
                  <a:lnTo>
                    <a:pt x="1437" y="909"/>
                  </a:lnTo>
                  <a:lnTo>
                    <a:pt x="1437" y="904"/>
                  </a:lnTo>
                  <a:lnTo>
                    <a:pt x="1437" y="904"/>
                  </a:lnTo>
                  <a:lnTo>
                    <a:pt x="1437" y="909"/>
                  </a:lnTo>
                  <a:lnTo>
                    <a:pt x="1437" y="909"/>
                  </a:lnTo>
                  <a:lnTo>
                    <a:pt x="1437" y="904"/>
                  </a:lnTo>
                  <a:lnTo>
                    <a:pt x="1441" y="904"/>
                  </a:lnTo>
                  <a:lnTo>
                    <a:pt x="1441" y="900"/>
                  </a:lnTo>
                  <a:lnTo>
                    <a:pt x="1441" y="900"/>
                  </a:lnTo>
                  <a:lnTo>
                    <a:pt x="1446" y="900"/>
                  </a:lnTo>
                  <a:lnTo>
                    <a:pt x="1446" y="900"/>
                  </a:lnTo>
                  <a:lnTo>
                    <a:pt x="1450" y="895"/>
                  </a:lnTo>
                  <a:lnTo>
                    <a:pt x="1450" y="895"/>
                  </a:lnTo>
                  <a:lnTo>
                    <a:pt x="1450" y="895"/>
                  </a:lnTo>
                  <a:lnTo>
                    <a:pt x="1450" y="895"/>
                  </a:lnTo>
                  <a:lnTo>
                    <a:pt x="1450" y="895"/>
                  </a:lnTo>
                  <a:lnTo>
                    <a:pt x="1450" y="895"/>
                  </a:lnTo>
                  <a:lnTo>
                    <a:pt x="1450" y="895"/>
                  </a:lnTo>
                  <a:lnTo>
                    <a:pt x="1455" y="895"/>
                  </a:lnTo>
                  <a:lnTo>
                    <a:pt x="1455" y="895"/>
                  </a:lnTo>
                  <a:lnTo>
                    <a:pt x="1455" y="895"/>
                  </a:lnTo>
                  <a:lnTo>
                    <a:pt x="1459" y="895"/>
                  </a:lnTo>
                  <a:lnTo>
                    <a:pt x="1459" y="895"/>
                  </a:lnTo>
                  <a:lnTo>
                    <a:pt x="1459" y="895"/>
                  </a:lnTo>
                  <a:lnTo>
                    <a:pt x="1464" y="895"/>
                  </a:lnTo>
                  <a:lnTo>
                    <a:pt x="1464" y="895"/>
                  </a:lnTo>
                  <a:lnTo>
                    <a:pt x="1464" y="895"/>
                  </a:lnTo>
                  <a:lnTo>
                    <a:pt x="1468" y="891"/>
                  </a:lnTo>
                  <a:lnTo>
                    <a:pt x="1468" y="891"/>
                  </a:lnTo>
                  <a:lnTo>
                    <a:pt x="1468" y="891"/>
                  </a:lnTo>
                  <a:lnTo>
                    <a:pt x="1464" y="891"/>
                  </a:lnTo>
                  <a:lnTo>
                    <a:pt x="1459" y="891"/>
                  </a:lnTo>
                  <a:lnTo>
                    <a:pt x="1459" y="886"/>
                  </a:lnTo>
                  <a:lnTo>
                    <a:pt x="1459" y="886"/>
                  </a:lnTo>
                  <a:lnTo>
                    <a:pt x="1464" y="891"/>
                  </a:lnTo>
                  <a:lnTo>
                    <a:pt x="1464" y="891"/>
                  </a:lnTo>
                  <a:lnTo>
                    <a:pt x="1464" y="886"/>
                  </a:lnTo>
                  <a:lnTo>
                    <a:pt x="1468" y="886"/>
                  </a:lnTo>
                  <a:lnTo>
                    <a:pt x="1468" y="886"/>
                  </a:lnTo>
                  <a:lnTo>
                    <a:pt x="1468" y="886"/>
                  </a:lnTo>
                  <a:lnTo>
                    <a:pt x="1468" y="882"/>
                  </a:lnTo>
                  <a:lnTo>
                    <a:pt x="1468" y="882"/>
                  </a:lnTo>
                  <a:lnTo>
                    <a:pt x="1468" y="882"/>
                  </a:lnTo>
                  <a:lnTo>
                    <a:pt x="1464" y="882"/>
                  </a:lnTo>
                  <a:lnTo>
                    <a:pt x="1464" y="877"/>
                  </a:lnTo>
                  <a:lnTo>
                    <a:pt x="1464" y="882"/>
                  </a:lnTo>
                  <a:lnTo>
                    <a:pt x="1468" y="882"/>
                  </a:lnTo>
                  <a:lnTo>
                    <a:pt x="1468" y="882"/>
                  </a:lnTo>
                  <a:lnTo>
                    <a:pt x="1468" y="877"/>
                  </a:lnTo>
                  <a:lnTo>
                    <a:pt x="1468" y="877"/>
                  </a:lnTo>
                  <a:lnTo>
                    <a:pt x="1468" y="877"/>
                  </a:lnTo>
                  <a:lnTo>
                    <a:pt x="1468" y="882"/>
                  </a:lnTo>
                  <a:lnTo>
                    <a:pt x="1468" y="882"/>
                  </a:lnTo>
                  <a:lnTo>
                    <a:pt x="1473" y="882"/>
                  </a:lnTo>
                  <a:lnTo>
                    <a:pt x="1473" y="882"/>
                  </a:lnTo>
                  <a:lnTo>
                    <a:pt x="1473" y="882"/>
                  </a:lnTo>
                  <a:lnTo>
                    <a:pt x="1473" y="882"/>
                  </a:lnTo>
                  <a:lnTo>
                    <a:pt x="1477" y="882"/>
                  </a:lnTo>
                  <a:lnTo>
                    <a:pt x="1477" y="877"/>
                  </a:lnTo>
                  <a:lnTo>
                    <a:pt x="1482" y="877"/>
                  </a:lnTo>
                  <a:lnTo>
                    <a:pt x="1486" y="873"/>
                  </a:lnTo>
                  <a:lnTo>
                    <a:pt x="1486" y="873"/>
                  </a:lnTo>
                  <a:lnTo>
                    <a:pt x="1486" y="873"/>
                  </a:lnTo>
                  <a:lnTo>
                    <a:pt x="1486" y="873"/>
                  </a:lnTo>
                  <a:lnTo>
                    <a:pt x="1486" y="873"/>
                  </a:lnTo>
                  <a:lnTo>
                    <a:pt x="1482" y="873"/>
                  </a:lnTo>
                  <a:lnTo>
                    <a:pt x="1482" y="877"/>
                  </a:lnTo>
                  <a:lnTo>
                    <a:pt x="1477" y="877"/>
                  </a:lnTo>
                  <a:lnTo>
                    <a:pt x="1477" y="877"/>
                  </a:lnTo>
                  <a:lnTo>
                    <a:pt x="1482" y="873"/>
                  </a:lnTo>
                  <a:lnTo>
                    <a:pt x="1482" y="873"/>
                  </a:lnTo>
                  <a:lnTo>
                    <a:pt x="1482" y="868"/>
                  </a:lnTo>
                  <a:lnTo>
                    <a:pt x="1477" y="868"/>
                  </a:lnTo>
                  <a:lnTo>
                    <a:pt x="1477" y="868"/>
                  </a:lnTo>
                  <a:lnTo>
                    <a:pt x="1477" y="873"/>
                  </a:lnTo>
                  <a:lnTo>
                    <a:pt x="1473" y="868"/>
                  </a:lnTo>
                  <a:lnTo>
                    <a:pt x="1473" y="873"/>
                  </a:lnTo>
                  <a:lnTo>
                    <a:pt x="1473" y="868"/>
                  </a:lnTo>
                  <a:lnTo>
                    <a:pt x="1473" y="868"/>
                  </a:lnTo>
                  <a:lnTo>
                    <a:pt x="1473" y="868"/>
                  </a:lnTo>
                  <a:lnTo>
                    <a:pt x="1473" y="864"/>
                  </a:lnTo>
                  <a:lnTo>
                    <a:pt x="1473" y="868"/>
                  </a:lnTo>
                  <a:lnTo>
                    <a:pt x="1473" y="868"/>
                  </a:lnTo>
                  <a:lnTo>
                    <a:pt x="1473" y="868"/>
                  </a:lnTo>
                  <a:lnTo>
                    <a:pt x="1477" y="868"/>
                  </a:lnTo>
                  <a:lnTo>
                    <a:pt x="1477" y="868"/>
                  </a:lnTo>
                  <a:lnTo>
                    <a:pt x="1477" y="868"/>
                  </a:lnTo>
                  <a:lnTo>
                    <a:pt x="1477" y="868"/>
                  </a:lnTo>
                  <a:lnTo>
                    <a:pt x="1482" y="868"/>
                  </a:lnTo>
                  <a:lnTo>
                    <a:pt x="1482" y="868"/>
                  </a:lnTo>
                  <a:lnTo>
                    <a:pt x="1482" y="868"/>
                  </a:lnTo>
                  <a:lnTo>
                    <a:pt x="1482" y="868"/>
                  </a:lnTo>
                  <a:lnTo>
                    <a:pt x="1482" y="864"/>
                  </a:lnTo>
                  <a:lnTo>
                    <a:pt x="1482" y="864"/>
                  </a:lnTo>
                  <a:lnTo>
                    <a:pt x="1482" y="864"/>
                  </a:lnTo>
                  <a:lnTo>
                    <a:pt x="1486" y="864"/>
                  </a:lnTo>
                  <a:lnTo>
                    <a:pt x="1486" y="868"/>
                  </a:lnTo>
                  <a:lnTo>
                    <a:pt x="1486" y="868"/>
                  </a:lnTo>
                  <a:lnTo>
                    <a:pt x="1486" y="864"/>
                  </a:lnTo>
                  <a:lnTo>
                    <a:pt x="1486" y="864"/>
                  </a:lnTo>
                  <a:lnTo>
                    <a:pt x="1486" y="864"/>
                  </a:lnTo>
                  <a:lnTo>
                    <a:pt x="1486" y="859"/>
                  </a:lnTo>
                  <a:lnTo>
                    <a:pt x="1486" y="859"/>
                  </a:lnTo>
                  <a:lnTo>
                    <a:pt x="1486" y="859"/>
                  </a:lnTo>
                  <a:lnTo>
                    <a:pt x="1486" y="859"/>
                  </a:lnTo>
                  <a:lnTo>
                    <a:pt x="1486" y="859"/>
                  </a:lnTo>
                  <a:lnTo>
                    <a:pt x="1491" y="859"/>
                  </a:lnTo>
                  <a:lnTo>
                    <a:pt x="1486" y="859"/>
                  </a:lnTo>
                  <a:lnTo>
                    <a:pt x="1486" y="864"/>
                  </a:lnTo>
                  <a:lnTo>
                    <a:pt x="1486" y="868"/>
                  </a:lnTo>
                  <a:lnTo>
                    <a:pt x="1486" y="873"/>
                  </a:lnTo>
                  <a:lnTo>
                    <a:pt x="1486" y="873"/>
                  </a:lnTo>
                  <a:lnTo>
                    <a:pt x="1486" y="873"/>
                  </a:lnTo>
                  <a:lnTo>
                    <a:pt x="1486" y="864"/>
                  </a:lnTo>
                  <a:lnTo>
                    <a:pt x="1491" y="859"/>
                  </a:lnTo>
                  <a:lnTo>
                    <a:pt x="1491" y="855"/>
                  </a:lnTo>
                  <a:lnTo>
                    <a:pt x="1491" y="855"/>
                  </a:lnTo>
                  <a:lnTo>
                    <a:pt x="1491" y="850"/>
                  </a:lnTo>
                  <a:lnTo>
                    <a:pt x="1486" y="850"/>
                  </a:lnTo>
                  <a:lnTo>
                    <a:pt x="1486" y="850"/>
                  </a:lnTo>
                  <a:lnTo>
                    <a:pt x="1482" y="855"/>
                  </a:lnTo>
                  <a:lnTo>
                    <a:pt x="1482" y="850"/>
                  </a:lnTo>
                  <a:lnTo>
                    <a:pt x="1482" y="850"/>
                  </a:lnTo>
                  <a:lnTo>
                    <a:pt x="1482" y="850"/>
                  </a:lnTo>
                  <a:lnTo>
                    <a:pt x="1482" y="846"/>
                  </a:lnTo>
                  <a:lnTo>
                    <a:pt x="1482" y="846"/>
                  </a:lnTo>
                  <a:lnTo>
                    <a:pt x="1477" y="846"/>
                  </a:lnTo>
                  <a:lnTo>
                    <a:pt x="1477" y="846"/>
                  </a:lnTo>
                  <a:lnTo>
                    <a:pt x="1473" y="846"/>
                  </a:lnTo>
                  <a:lnTo>
                    <a:pt x="1473" y="846"/>
                  </a:lnTo>
                  <a:lnTo>
                    <a:pt x="1473" y="841"/>
                  </a:lnTo>
                  <a:lnTo>
                    <a:pt x="1477" y="846"/>
                  </a:lnTo>
                  <a:lnTo>
                    <a:pt x="1482" y="846"/>
                  </a:lnTo>
                  <a:lnTo>
                    <a:pt x="1482" y="846"/>
                  </a:lnTo>
                  <a:lnTo>
                    <a:pt x="1482" y="846"/>
                  </a:lnTo>
                  <a:lnTo>
                    <a:pt x="1482" y="850"/>
                  </a:lnTo>
                  <a:lnTo>
                    <a:pt x="1482" y="850"/>
                  </a:lnTo>
                  <a:lnTo>
                    <a:pt x="1482" y="850"/>
                  </a:lnTo>
                  <a:lnTo>
                    <a:pt x="1486" y="850"/>
                  </a:lnTo>
                  <a:lnTo>
                    <a:pt x="1486" y="850"/>
                  </a:lnTo>
                  <a:lnTo>
                    <a:pt x="1486" y="850"/>
                  </a:lnTo>
                  <a:lnTo>
                    <a:pt x="1486" y="846"/>
                  </a:lnTo>
                  <a:lnTo>
                    <a:pt x="1486" y="846"/>
                  </a:lnTo>
                  <a:lnTo>
                    <a:pt x="1486" y="846"/>
                  </a:lnTo>
                  <a:lnTo>
                    <a:pt x="1482" y="846"/>
                  </a:lnTo>
                  <a:lnTo>
                    <a:pt x="1482" y="841"/>
                  </a:lnTo>
                  <a:lnTo>
                    <a:pt x="1482" y="841"/>
                  </a:lnTo>
                  <a:lnTo>
                    <a:pt x="1482" y="841"/>
                  </a:lnTo>
                  <a:lnTo>
                    <a:pt x="1486" y="846"/>
                  </a:lnTo>
                  <a:lnTo>
                    <a:pt x="1486" y="846"/>
                  </a:lnTo>
                  <a:lnTo>
                    <a:pt x="1486" y="846"/>
                  </a:lnTo>
                  <a:lnTo>
                    <a:pt x="1486" y="846"/>
                  </a:lnTo>
                  <a:lnTo>
                    <a:pt x="1486" y="841"/>
                  </a:lnTo>
                  <a:lnTo>
                    <a:pt x="1491" y="846"/>
                  </a:lnTo>
                  <a:lnTo>
                    <a:pt x="1491" y="841"/>
                  </a:lnTo>
                  <a:lnTo>
                    <a:pt x="1491" y="841"/>
                  </a:lnTo>
                  <a:lnTo>
                    <a:pt x="1486" y="841"/>
                  </a:lnTo>
                  <a:lnTo>
                    <a:pt x="1491" y="841"/>
                  </a:lnTo>
                  <a:lnTo>
                    <a:pt x="1486" y="836"/>
                  </a:lnTo>
                  <a:lnTo>
                    <a:pt x="1486" y="836"/>
                  </a:lnTo>
                  <a:lnTo>
                    <a:pt x="1486" y="836"/>
                  </a:lnTo>
                  <a:lnTo>
                    <a:pt x="1486" y="836"/>
                  </a:lnTo>
                  <a:lnTo>
                    <a:pt x="1486" y="832"/>
                  </a:lnTo>
                  <a:lnTo>
                    <a:pt x="1482" y="832"/>
                  </a:lnTo>
                  <a:lnTo>
                    <a:pt x="1482" y="827"/>
                  </a:lnTo>
                  <a:lnTo>
                    <a:pt x="1482" y="827"/>
                  </a:lnTo>
                  <a:lnTo>
                    <a:pt x="1486" y="827"/>
                  </a:lnTo>
                  <a:lnTo>
                    <a:pt x="1486" y="832"/>
                  </a:lnTo>
                  <a:lnTo>
                    <a:pt x="1486" y="832"/>
                  </a:lnTo>
                  <a:lnTo>
                    <a:pt x="1486" y="836"/>
                  </a:lnTo>
                  <a:lnTo>
                    <a:pt x="1491" y="836"/>
                  </a:lnTo>
                  <a:lnTo>
                    <a:pt x="1491" y="836"/>
                  </a:lnTo>
                  <a:lnTo>
                    <a:pt x="1491" y="836"/>
                  </a:lnTo>
                  <a:lnTo>
                    <a:pt x="1491" y="836"/>
                  </a:lnTo>
                  <a:lnTo>
                    <a:pt x="1491" y="832"/>
                  </a:lnTo>
                  <a:lnTo>
                    <a:pt x="1491" y="832"/>
                  </a:lnTo>
                  <a:lnTo>
                    <a:pt x="1491" y="832"/>
                  </a:lnTo>
                  <a:lnTo>
                    <a:pt x="1491" y="832"/>
                  </a:lnTo>
                  <a:lnTo>
                    <a:pt x="1491" y="827"/>
                  </a:lnTo>
                  <a:lnTo>
                    <a:pt x="1491" y="827"/>
                  </a:lnTo>
                  <a:lnTo>
                    <a:pt x="1486" y="827"/>
                  </a:lnTo>
                  <a:lnTo>
                    <a:pt x="1486" y="823"/>
                  </a:lnTo>
                  <a:lnTo>
                    <a:pt x="1482" y="823"/>
                  </a:lnTo>
                  <a:lnTo>
                    <a:pt x="1482" y="823"/>
                  </a:lnTo>
                  <a:lnTo>
                    <a:pt x="1482" y="823"/>
                  </a:lnTo>
                  <a:lnTo>
                    <a:pt x="1482" y="823"/>
                  </a:lnTo>
                  <a:lnTo>
                    <a:pt x="1482" y="818"/>
                  </a:lnTo>
                  <a:lnTo>
                    <a:pt x="1482" y="818"/>
                  </a:lnTo>
                  <a:lnTo>
                    <a:pt x="1486" y="818"/>
                  </a:lnTo>
                  <a:lnTo>
                    <a:pt x="1486" y="818"/>
                  </a:lnTo>
                  <a:lnTo>
                    <a:pt x="1486" y="814"/>
                  </a:lnTo>
                  <a:lnTo>
                    <a:pt x="1491" y="814"/>
                  </a:lnTo>
                  <a:lnTo>
                    <a:pt x="1491" y="814"/>
                  </a:lnTo>
                  <a:lnTo>
                    <a:pt x="1486" y="818"/>
                  </a:lnTo>
                  <a:lnTo>
                    <a:pt x="1486" y="818"/>
                  </a:lnTo>
                  <a:lnTo>
                    <a:pt x="1482" y="818"/>
                  </a:lnTo>
                  <a:lnTo>
                    <a:pt x="1482" y="818"/>
                  </a:lnTo>
                  <a:lnTo>
                    <a:pt x="1482" y="823"/>
                  </a:lnTo>
                  <a:lnTo>
                    <a:pt x="1482" y="823"/>
                  </a:lnTo>
                  <a:lnTo>
                    <a:pt x="1486" y="823"/>
                  </a:lnTo>
                  <a:lnTo>
                    <a:pt x="1486" y="823"/>
                  </a:lnTo>
                  <a:lnTo>
                    <a:pt x="1486" y="823"/>
                  </a:lnTo>
                  <a:lnTo>
                    <a:pt x="1486" y="823"/>
                  </a:lnTo>
                  <a:lnTo>
                    <a:pt x="1486" y="823"/>
                  </a:lnTo>
                  <a:lnTo>
                    <a:pt x="1486" y="823"/>
                  </a:lnTo>
                  <a:lnTo>
                    <a:pt x="1486" y="823"/>
                  </a:lnTo>
                  <a:lnTo>
                    <a:pt x="1486" y="827"/>
                  </a:lnTo>
                  <a:lnTo>
                    <a:pt x="1491" y="827"/>
                  </a:lnTo>
                  <a:lnTo>
                    <a:pt x="1491" y="827"/>
                  </a:lnTo>
                  <a:lnTo>
                    <a:pt x="1491" y="827"/>
                  </a:lnTo>
                  <a:lnTo>
                    <a:pt x="1495" y="827"/>
                  </a:lnTo>
                  <a:lnTo>
                    <a:pt x="1495" y="827"/>
                  </a:lnTo>
                  <a:lnTo>
                    <a:pt x="1495" y="827"/>
                  </a:lnTo>
                  <a:lnTo>
                    <a:pt x="1495" y="827"/>
                  </a:lnTo>
                  <a:lnTo>
                    <a:pt x="1491" y="823"/>
                  </a:lnTo>
                  <a:lnTo>
                    <a:pt x="1491" y="818"/>
                  </a:lnTo>
                  <a:lnTo>
                    <a:pt x="1491" y="818"/>
                  </a:lnTo>
                  <a:lnTo>
                    <a:pt x="1491" y="818"/>
                  </a:lnTo>
                  <a:lnTo>
                    <a:pt x="1491" y="818"/>
                  </a:lnTo>
                  <a:lnTo>
                    <a:pt x="1491" y="823"/>
                  </a:lnTo>
                  <a:lnTo>
                    <a:pt x="1495" y="823"/>
                  </a:lnTo>
                  <a:lnTo>
                    <a:pt x="1495" y="823"/>
                  </a:lnTo>
                  <a:lnTo>
                    <a:pt x="1495" y="823"/>
                  </a:lnTo>
                  <a:lnTo>
                    <a:pt x="1495" y="823"/>
                  </a:lnTo>
                  <a:lnTo>
                    <a:pt x="1495" y="823"/>
                  </a:lnTo>
                  <a:lnTo>
                    <a:pt x="1495" y="818"/>
                  </a:lnTo>
                  <a:lnTo>
                    <a:pt x="1495" y="818"/>
                  </a:lnTo>
                  <a:lnTo>
                    <a:pt x="1495" y="814"/>
                  </a:lnTo>
                  <a:lnTo>
                    <a:pt x="1495" y="814"/>
                  </a:lnTo>
                  <a:lnTo>
                    <a:pt x="1495" y="814"/>
                  </a:lnTo>
                  <a:lnTo>
                    <a:pt x="1500" y="814"/>
                  </a:lnTo>
                  <a:lnTo>
                    <a:pt x="1500" y="809"/>
                  </a:lnTo>
                  <a:lnTo>
                    <a:pt x="1500" y="809"/>
                  </a:lnTo>
                  <a:lnTo>
                    <a:pt x="1500" y="809"/>
                  </a:lnTo>
                  <a:lnTo>
                    <a:pt x="1500" y="809"/>
                  </a:lnTo>
                  <a:lnTo>
                    <a:pt x="1500" y="809"/>
                  </a:lnTo>
                  <a:lnTo>
                    <a:pt x="1500" y="809"/>
                  </a:lnTo>
                  <a:lnTo>
                    <a:pt x="1500" y="809"/>
                  </a:lnTo>
                  <a:lnTo>
                    <a:pt x="1500" y="805"/>
                  </a:lnTo>
                  <a:lnTo>
                    <a:pt x="1500" y="805"/>
                  </a:lnTo>
                  <a:lnTo>
                    <a:pt x="1500" y="809"/>
                  </a:lnTo>
                  <a:lnTo>
                    <a:pt x="1500" y="805"/>
                  </a:lnTo>
                  <a:lnTo>
                    <a:pt x="1504" y="805"/>
                  </a:lnTo>
                  <a:lnTo>
                    <a:pt x="1504" y="805"/>
                  </a:lnTo>
                  <a:lnTo>
                    <a:pt x="1504" y="805"/>
                  </a:lnTo>
                  <a:lnTo>
                    <a:pt x="1504" y="805"/>
                  </a:lnTo>
                  <a:lnTo>
                    <a:pt x="1504" y="805"/>
                  </a:lnTo>
                  <a:lnTo>
                    <a:pt x="1504" y="805"/>
                  </a:lnTo>
                  <a:lnTo>
                    <a:pt x="1504" y="805"/>
                  </a:lnTo>
                  <a:lnTo>
                    <a:pt x="1504" y="805"/>
                  </a:lnTo>
                  <a:lnTo>
                    <a:pt x="1504" y="805"/>
                  </a:lnTo>
                  <a:lnTo>
                    <a:pt x="1504" y="805"/>
                  </a:lnTo>
                  <a:lnTo>
                    <a:pt x="1509" y="805"/>
                  </a:lnTo>
                  <a:lnTo>
                    <a:pt x="1509" y="805"/>
                  </a:lnTo>
                  <a:lnTo>
                    <a:pt x="1509" y="805"/>
                  </a:lnTo>
                  <a:lnTo>
                    <a:pt x="1509" y="800"/>
                  </a:lnTo>
                  <a:lnTo>
                    <a:pt x="1509" y="800"/>
                  </a:lnTo>
                  <a:lnTo>
                    <a:pt x="1509" y="800"/>
                  </a:lnTo>
                  <a:lnTo>
                    <a:pt x="1513" y="800"/>
                  </a:lnTo>
                  <a:lnTo>
                    <a:pt x="1509" y="800"/>
                  </a:lnTo>
                  <a:lnTo>
                    <a:pt x="1513" y="800"/>
                  </a:lnTo>
                  <a:lnTo>
                    <a:pt x="1513" y="805"/>
                  </a:lnTo>
                  <a:lnTo>
                    <a:pt x="1509" y="805"/>
                  </a:lnTo>
                  <a:lnTo>
                    <a:pt x="1509" y="805"/>
                  </a:lnTo>
                  <a:lnTo>
                    <a:pt x="1509" y="805"/>
                  </a:lnTo>
                  <a:lnTo>
                    <a:pt x="1509" y="805"/>
                  </a:lnTo>
                  <a:lnTo>
                    <a:pt x="1509" y="805"/>
                  </a:lnTo>
                  <a:lnTo>
                    <a:pt x="1509" y="805"/>
                  </a:lnTo>
                  <a:lnTo>
                    <a:pt x="1504" y="805"/>
                  </a:lnTo>
                  <a:lnTo>
                    <a:pt x="1504" y="809"/>
                  </a:lnTo>
                  <a:lnTo>
                    <a:pt x="1504" y="809"/>
                  </a:lnTo>
                  <a:lnTo>
                    <a:pt x="1504" y="809"/>
                  </a:lnTo>
                  <a:lnTo>
                    <a:pt x="1504" y="809"/>
                  </a:lnTo>
                  <a:lnTo>
                    <a:pt x="1504" y="814"/>
                  </a:lnTo>
                  <a:lnTo>
                    <a:pt x="1504" y="809"/>
                  </a:lnTo>
                  <a:lnTo>
                    <a:pt x="1500" y="809"/>
                  </a:lnTo>
                  <a:lnTo>
                    <a:pt x="1500" y="814"/>
                  </a:lnTo>
                  <a:lnTo>
                    <a:pt x="1500" y="814"/>
                  </a:lnTo>
                  <a:lnTo>
                    <a:pt x="1500" y="814"/>
                  </a:lnTo>
                  <a:lnTo>
                    <a:pt x="1504" y="814"/>
                  </a:lnTo>
                  <a:lnTo>
                    <a:pt x="1504" y="814"/>
                  </a:lnTo>
                  <a:lnTo>
                    <a:pt x="1500" y="814"/>
                  </a:lnTo>
                  <a:lnTo>
                    <a:pt x="1500" y="814"/>
                  </a:lnTo>
                  <a:lnTo>
                    <a:pt x="1500" y="818"/>
                  </a:lnTo>
                  <a:lnTo>
                    <a:pt x="1500" y="818"/>
                  </a:lnTo>
                  <a:lnTo>
                    <a:pt x="1500" y="814"/>
                  </a:lnTo>
                  <a:lnTo>
                    <a:pt x="1500" y="818"/>
                  </a:lnTo>
                  <a:lnTo>
                    <a:pt x="1500" y="818"/>
                  </a:lnTo>
                  <a:lnTo>
                    <a:pt x="1500" y="818"/>
                  </a:lnTo>
                  <a:lnTo>
                    <a:pt x="1504" y="818"/>
                  </a:lnTo>
                  <a:lnTo>
                    <a:pt x="1504" y="818"/>
                  </a:lnTo>
                  <a:lnTo>
                    <a:pt x="1500" y="818"/>
                  </a:lnTo>
                  <a:lnTo>
                    <a:pt x="1500" y="818"/>
                  </a:lnTo>
                  <a:lnTo>
                    <a:pt x="1500" y="818"/>
                  </a:lnTo>
                  <a:lnTo>
                    <a:pt x="1495" y="823"/>
                  </a:lnTo>
                  <a:lnTo>
                    <a:pt x="1495" y="823"/>
                  </a:lnTo>
                  <a:lnTo>
                    <a:pt x="1500" y="823"/>
                  </a:lnTo>
                  <a:lnTo>
                    <a:pt x="1500" y="823"/>
                  </a:lnTo>
                  <a:lnTo>
                    <a:pt x="1500" y="827"/>
                  </a:lnTo>
                  <a:lnTo>
                    <a:pt x="1500" y="827"/>
                  </a:lnTo>
                  <a:lnTo>
                    <a:pt x="1500" y="823"/>
                  </a:lnTo>
                  <a:lnTo>
                    <a:pt x="1500" y="823"/>
                  </a:lnTo>
                  <a:lnTo>
                    <a:pt x="1500" y="827"/>
                  </a:lnTo>
                  <a:lnTo>
                    <a:pt x="1500" y="827"/>
                  </a:lnTo>
                  <a:lnTo>
                    <a:pt x="1504" y="823"/>
                  </a:lnTo>
                  <a:lnTo>
                    <a:pt x="1504" y="823"/>
                  </a:lnTo>
                  <a:lnTo>
                    <a:pt x="1504" y="823"/>
                  </a:lnTo>
                  <a:lnTo>
                    <a:pt x="1504" y="827"/>
                  </a:lnTo>
                  <a:lnTo>
                    <a:pt x="1500" y="827"/>
                  </a:lnTo>
                  <a:lnTo>
                    <a:pt x="1500" y="827"/>
                  </a:lnTo>
                  <a:lnTo>
                    <a:pt x="1500" y="827"/>
                  </a:lnTo>
                  <a:lnTo>
                    <a:pt x="1500" y="827"/>
                  </a:lnTo>
                  <a:lnTo>
                    <a:pt x="1500" y="827"/>
                  </a:lnTo>
                  <a:lnTo>
                    <a:pt x="1500" y="832"/>
                  </a:lnTo>
                  <a:lnTo>
                    <a:pt x="1500" y="832"/>
                  </a:lnTo>
                  <a:lnTo>
                    <a:pt x="1500" y="832"/>
                  </a:lnTo>
                  <a:lnTo>
                    <a:pt x="1504" y="832"/>
                  </a:lnTo>
                  <a:lnTo>
                    <a:pt x="1500" y="836"/>
                  </a:lnTo>
                  <a:lnTo>
                    <a:pt x="1500" y="836"/>
                  </a:lnTo>
                  <a:lnTo>
                    <a:pt x="1495" y="836"/>
                  </a:lnTo>
                  <a:lnTo>
                    <a:pt x="1495" y="841"/>
                  </a:lnTo>
                  <a:lnTo>
                    <a:pt x="1491" y="846"/>
                  </a:lnTo>
                  <a:lnTo>
                    <a:pt x="1491" y="846"/>
                  </a:lnTo>
                  <a:lnTo>
                    <a:pt x="1491" y="846"/>
                  </a:lnTo>
                  <a:lnTo>
                    <a:pt x="1495" y="846"/>
                  </a:lnTo>
                  <a:lnTo>
                    <a:pt x="1495" y="841"/>
                  </a:lnTo>
                  <a:lnTo>
                    <a:pt x="1495" y="841"/>
                  </a:lnTo>
                  <a:lnTo>
                    <a:pt x="1500" y="841"/>
                  </a:lnTo>
                  <a:lnTo>
                    <a:pt x="1500" y="841"/>
                  </a:lnTo>
                  <a:lnTo>
                    <a:pt x="1500" y="841"/>
                  </a:lnTo>
                  <a:lnTo>
                    <a:pt x="1500" y="836"/>
                  </a:lnTo>
                  <a:lnTo>
                    <a:pt x="1509" y="832"/>
                  </a:lnTo>
                  <a:lnTo>
                    <a:pt x="1509" y="827"/>
                  </a:lnTo>
                  <a:lnTo>
                    <a:pt x="1513" y="827"/>
                  </a:lnTo>
                  <a:lnTo>
                    <a:pt x="1513" y="827"/>
                  </a:lnTo>
                  <a:lnTo>
                    <a:pt x="1513" y="827"/>
                  </a:lnTo>
                  <a:lnTo>
                    <a:pt x="1513" y="823"/>
                  </a:lnTo>
                  <a:lnTo>
                    <a:pt x="1513" y="823"/>
                  </a:lnTo>
                  <a:lnTo>
                    <a:pt x="1513" y="823"/>
                  </a:lnTo>
                  <a:lnTo>
                    <a:pt x="1513" y="823"/>
                  </a:lnTo>
                  <a:lnTo>
                    <a:pt x="1513" y="823"/>
                  </a:lnTo>
                  <a:lnTo>
                    <a:pt x="1518" y="823"/>
                  </a:lnTo>
                  <a:lnTo>
                    <a:pt x="1518" y="823"/>
                  </a:lnTo>
                  <a:lnTo>
                    <a:pt x="1518" y="823"/>
                  </a:lnTo>
                  <a:lnTo>
                    <a:pt x="1518" y="823"/>
                  </a:lnTo>
                  <a:lnTo>
                    <a:pt x="1518" y="818"/>
                  </a:lnTo>
                  <a:lnTo>
                    <a:pt x="1513" y="818"/>
                  </a:lnTo>
                  <a:lnTo>
                    <a:pt x="1518" y="818"/>
                  </a:lnTo>
                  <a:lnTo>
                    <a:pt x="1518" y="818"/>
                  </a:lnTo>
                  <a:lnTo>
                    <a:pt x="1518" y="818"/>
                  </a:lnTo>
                  <a:lnTo>
                    <a:pt x="1518" y="814"/>
                  </a:lnTo>
                  <a:lnTo>
                    <a:pt x="1518" y="814"/>
                  </a:lnTo>
                  <a:lnTo>
                    <a:pt x="1518" y="809"/>
                  </a:lnTo>
                  <a:lnTo>
                    <a:pt x="1518" y="805"/>
                  </a:lnTo>
                  <a:lnTo>
                    <a:pt x="1518" y="805"/>
                  </a:lnTo>
                  <a:lnTo>
                    <a:pt x="1518" y="805"/>
                  </a:lnTo>
                  <a:lnTo>
                    <a:pt x="1518" y="800"/>
                  </a:lnTo>
                  <a:lnTo>
                    <a:pt x="1518" y="800"/>
                  </a:lnTo>
                  <a:lnTo>
                    <a:pt x="1518" y="800"/>
                  </a:lnTo>
                  <a:lnTo>
                    <a:pt x="1518" y="800"/>
                  </a:lnTo>
                  <a:lnTo>
                    <a:pt x="1522" y="796"/>
                  </a:lnTo>
                  <a:lnTo>
                    <a:pt x="1522" y="796"/>
                  </a:lnTo>
                  <a:lnTo>
                    <a:pt x="1522" y="796"/>
                  </a:lnTo>
                  <a:lnTo>
                    <a:pt x="1527" y="796"/>
                  </a:lnTo>
                  <a:lnTo>
                    <a:pt x="1527" y="796"/>
                  </a:lnTo>
                  <a:lnTo>
                    <a:pt x="1527" y="796"/>
                  </a:lnTo>
                  <a:lnTo>
                    <a:pt x="1527" y="796"/>
                  </a:lnTo>
                  <a:lnTo>
                    <a:pt x="1522" y="796"/>
                  </a:lnTo>
                  <a:lnTo>
                    <a:pt x="1522" y="796"/>
                  </a:lnTo>
                  <a:lnTo>
                    <a:pt x="1518" y="800"/>
                  </a:lnTo>
                  <a:lnTo>
                    <a:pt x="1518" y="800"/>
                  </a:lnTo>
                  <a:lnTo>
                    <a:pt x="1518" y="800"/>
                  </a:lnTo>
                  <a:lnTo>
                    <a:pt x="1518" y="805"/>
                  </a:lnTo>
                  <a:lnTo>
                    <a:pt x="1518" y="805"/>
                  </a:lnTo>
                  <a:lnTo>
                    <a:pt x="1522" y="805"/>
                  </a:lnTo>
                  <a:lnTo>
                    <a:pt x="1522" y="809"/>
                  </a:lnTo>
                  <a:lnTo>
                    <a:pt x="1522" y="809"/>
                  </a:lnTo>
                  <a:lnTo>
                    <a:pt x="1522" y="809"/>
                  </a:lnTo>
                  <a:lnTo>
                    <a:pt x="1522" y="809"/>
                  </a:lnTo>
                  <a:lnTo>
                    <a:pt x="1522" y="814"/>
                  </a:lnTo>
                  <a:lnTo>
                    <a:pt x="1522" y="814"/>
                  </a:lnTo>
                  <a:lnTo>
                    <a:pt x="1522" y="814"/>
                  </a:lnTo>
                  <a:lnTo>
                    <a:pt x="1522" y="814"/>
                  </a:lnTo>
                  <a:lnTo>
                    <a:pt x="1527" y="809"/>
                  </a:lnTo>
                  <a:lnTo>
                    <a:pt x="1532" y="809"/>
                  </a:lnTo>
                  <a:lnTo>
                    <a:pt x="1532" y="809"/>
                  </a:lnTo>
                  <a:lnTo>
                    <a:pt x="1532" y="805"/>
                  </a:lnTo>
                  <a:lnTo>
                    <a:pt x="1532" y="805"/>
                  </a:lnTo>
                  <a:lnTo>
                    <a:pt x="1532" y="805"/>
                  </a:lnTo>
                  <a:lnTo>
                    <a:pt x="1532" y="805"/>
                  </a:lnTo>
                  <a:lnTo>
                    <a:pt x="1536" y="805"/>
                  </a:lnTo>
                  <a:lnTo>
                    <a:pt x="1536" y="805"/>
                  </a:lnTo>
                  <a:lnTo>
                    <a:pt x="1536" y="800"/>
                  </a:lnTo>
                  <a:lnTo>
                    <a:pt x="1536" y="805"/>
                  </a:lnTo>
                  <a:lnTo>
                    <a:pt x="1536" y="800"/>
                  </a:lnTo>
                  <a:lnTo>
                    <a:pt x="1541" y="800"/>
                  </a:lnTo>
                  <a:lnTo>
                    <a:pt x="1541" y="796"/>
                  </a:lnTo>
                  <a:lnTo>
                    <a:pt x="1545" y="796"/>
                  </a:lnTo>
                  <a:lnTo>
                    <a:pt x="1545" y="796"/>
                  </a:lnTo>
                  <a:lnTo>
                    <a:pt x="1541" y="796"/>
                  </a:lnTo>
                  <a:lnTo>
                    <a:pt x="1541" y="800"/>
                  </a:lnTo>
                  <a:lnTo>
                    <a:pt x="1545" y="796"/>
                  </a:lnTo>
                  <a:lnTo>
                    <a:pt x="1545" y="791"/>
                  </a:lnTo>
                  <a:lnTo>
                    <a:pt x="1545" y="791"/>
                  </a:lnTo>
                  <a:lnTo>
                    <a:pt x="1550" y="791"/>
                  </a:lnTo>
                  <a:lnTo>
                    <a:pt x="1550" y="787"/>
                  </a:lnTo>
                  <a:lnTo>
                    <a:pt x="1550" y="787"/>
                  </a:lnTo>
                  <a:lnTo>
                    <a:pt x="1550" y="787"/>
                  </a:lnTo>
                  <a:lnTo>
                    <a:pt x="1550" y="787"/>
                  </a:lnTo>
                  <a:lnTo>
                    <a:pt x="1545" y="787"/>
                  </a:lnTo>
                  <a:lnTo>
                    <a:pt x="1545" y="782"/>
                  </a:lnTo>
                  <a:lnTo>
                    <a:pt x="1545" y="782"/>
                  </a:lnTo>
                  <a:lnTo>
                    <a:pt x="1550" y="782"/>
                  </a:lnTo>
                  <a:lnTo>
                    <a:pt x="1550" y="782"/>
                  </a:lnTo>
                  <a:lnTo>
                    <a:pt x="1550" y="782"/>
                  </a:lnTo>
                  <a:lnTo>
                    <a:pt x="1550" y="782"/>
                  </a:lnTo>
                  <a:lnTo>
                    <a:pt x="1550" y="778"/>
                  </a:lnTo>
                  <a:lnTo>
                    <a:pt x="1554" y="778"/>
                  </a:lnTo>
                  <a:lnTo>
                    <a:pt x="1554" y="773"/>
                  </a:lnTo>
                  <a:lnTo>
                    <a:pt x="1554" y="773"/>
                  </a:lnTo>
                  <a:lnTo>
                    <a:pt x="1554" y="769"/>
                  </a:lnTo>
                  <a:lnTo>
                    <a:pt x="1554" y="769"/>
                  </a:lnTo>
                  <a:lnTo>
                    <a:pt x="1559" y="773"/>
                  </a:lnTo>
                  <a:lnTo>
                    <a:pt x="1554" y="773"/>
                  </a:lnTo>
                  <a:lnTo>
                    <a:pt x="1554" y="778"/>
                  </a:lnTo>
                  <a:lnTo>
                    <a:pt x="1554" y="778"/>
                  </a:lnTo>
                  <a:lnTo>
                    <a:pt x="1550" y="778"/>
                  </a:lnTo>
                  <a:lnTo>
                    <a:pt x="1554" y="778"/>
                  </a:lnTo>
                  <a:lnTo>
                    <a:pt x="1554" y="778"/>
                  </a:lnTo>
                  <a:lnTo>
                    <a:pt x="1554" y="778"/>
                  </a:lnTo>
                  <a:lnTo>
                    <a:pt x="1554" y="778"/>
                  </a:lnTo>
                  <a:lnTo>
                    <a:pt x="1559" y="778"/>
                  </a:lnTo>
                  <a:lnTo>
                    <a:pt x="1559" y="773"/>
                  </a:lnTo>
                  <a:lnTo>
                    <a:pt x="1568" y="773"/>
                  </a:lnTo>
                  <a:lnTo>
                    <a:pt x="1572" y="773"/>
                  </a:lnTo>
                  <a:lnTo>
                    <a:pt x="1572" y="769"/>
                  </a:lnTo>
                  <a:lnTo>
                    <a:pt x="1572" y="769"/>
                  </a:lnTo>
                  <a:lnTo>
                    <a:pt x="1577" y="769"/>
                  </a:lnTo>
                  <a:lnTo>
                    <a:pt x="1581" y="769"/>
                  </a:lnTo>
                  <a:lnTo>
                    <a:pt x="1581" y="769"/>
                  </a:lnTo>
                  <a:lnTo>
                    <a:pt x="1586" y="769"/>
                  </a:lnTo>
                  <a:lnTo>
                    <a:pt x="1586" y="769"/>
                  </a:lnTo>
                  <a:lnTo>
                    <a:pt x="1590" y="769"/>
                  </a:lnTo>
                  <a:lnTo>
                    <a:pt x="1595" y="769"/>
                  </a:lnTo>
                  <a:lnTo>
                    <a:pt x="1595" y="769"/>
                  </a:lnTo>
                  <a:lnTo>
                    <a:pt x="1599" y="764"/>
                  </a:lnTo>
                  <a:lnTo>
                    <a:pt x="1599" y="764"/>
                  </a:lnTo>
                  <a:lnTo>
                    <a:pt x="1599" y="760"/>
                  </a:lnTo>
                  <a:lnTo>
                    <a:pt x="1599" y="760"/>
                  </a:lnTo>
                  <a:lnTo>
                    <a:pt x="1599" y="764"/>
                  </a:lnTo>
                  <a:lnTo>
                    <a:pt x="1599" y="764"/>
                  </a:lnTo>
                  <a:lnTo>
                    <a:pt x="1599" y="764"/>
                  </a:lnTo>
                  <a:lnTo>
                    <a:pt x="1604" y="764"/>
                  </a:lnTo>
                  <a:lnTo>
                    <a:pt x="1604" y="764"/>
                  </a:lnTo>
                  <a:lnTo>
                    <a:pt x="1599" y="764"/>
                  </a:lnTo>
                  <a:lnTo>
                    <a:pt x="1599" y="769"/>
                  </a:lnTo>
                  <a:lnTo>
                    <a:pt x="1599" y="769"/>
                  </a:lnTo>
                  <a:lnTo>
                    <a:pt x="1604" y="769"/>
                  </a:lnTo>
                  <a:lnTo>
                    <a:pt x="1604" y="769"/>
                  </a:lnTo>
                  <a:lnTo>
                    <a:pt x="1608" y="764"/>
                  </a:lnTo>
                  <a:lnTo>
                    <a:pt x="1608" y="764"/>
                  </a:lnTo>
                  <a:lnTo>
                    <a:pt x="1608" y="764"/>
                  </a:lnTo>
                  <a:lnTo>
                    <a:pt x="1608" y="769"/>
                  </a:lnTo>
                  <a:lnTo>
                    <a:pt x="1608" y="769"/>
                  </a:lnTo>
                  <a:lnTo>
                    <a:pt x="1613" y="764"/>
                  </a:lnTo>
                  <a:lnTo>
                    <a:pt x="1613" y="764"/>
                  </a:lnTo>
                  <a:lnTo>
                    <a:pt x="1617" y="764"/>
                  </a:lnTo>
                  <a:lnTo>
                    <a:pt x="1622" y="764"/>
                  </a:lnTo>
                  <a:lnTo>
                    <a:pt x="1622" y="764"/>
                  </a:lnTo>
                  <a:lnTo>
                    <a:pt x="1622" y="764"/>
                  </a:lnTo>
                  <a:lnTo>
                    <a:pt x="1622" y="764"/>
                  </a:lnTo>
                  <a:lnTo>
                    <a:pt x="1622" y="760"/>
                  </a:lnTo>
                  <a:lnTo>
                    <a:pt x="1622" y="755"/>
                  </a:lnTo>
                  <a:lnTo>
                    <a:pt x="1622" y="755"/>
                  </a:lnTo>
                  <a:lnTo>
                    <a:pt x="1622" y="755"/>
                  </a:lnTo>
                  <a:lnTo>
                    <a:pt x="1617" y="755"/>
                  </a:lnTo>
                  <a:lnTo>
                    <a:pt x="1617" y="755"/>
                  </a:lnTo>
                  <a:lnTo>
                    <a:pt x="1622" y="760"/>
                  </a:lnTo>
                  <a:lnTo>
                    <a:pt x="1622" y="755"/>
                  </a:lnTo>
                  <a:lnTo>
                    <a:pt x="1622" y="760"/>
                  </a:lnTo>
                  <a:lnTo>
                    <a:pt x="1622" y="760"/>
                  </a:lnTo>
                  <a:lnTo>
                    <a:pt x="1622" y="760"/>
                  </a:lnTo>
                  <a:lnTo>
                    <a:pt x="1622" y="764"/>
                  </a:lnTo>
                  <a:lnTo>
                    <a:pt x="1617" y="764"/>
                  </a:lnTo>
                  <a:lnTo>
                    <a:pt x="1617" y="764"/>
                  </a:lnTo>
                  <a:lnTo>
                    <a:pt x="1613" y="764"/>
                  </a:lnTo>
                  <a:lnTo>
                    <a:pt x="1613" y="764"/>
                  </a:lnTo>
                  <a:lnTo>
                    <a:pt x="1613" y="760"/>
                  </a:lnTo>
                  <a:lnTo>
                    <a:pt x="1613" y="760"/>
                  </a:lnTo>
                  <a:lnTo>
                    <a:pt x="1613" y="760"/>
                  </a:lnTo>
                  <a:lnTo>
                    <a:pt x="1613" y="760"/>
                  </a:lnTo>
                  <a:lnTo>
                    <a:pt x="1613" y="755"/>
                  </a:lnTo>
                  <a:lnTo>
                    <a:pt x="1613" y="755"/>
                  </a:lnTo>
                  <a:lnTo>
                    <a:pt x="1608" y="751"/>
                  </a:lnTo>
                  <a:lnTo>
                    <a:pt x="1608" y="751"/>
                  </a:lnTo>
                  <a:lnTo>
                    <a:pt x="1613" y="751"/>
                  </a:lnTo>
                  <a:lnTo>
                    <a:pt x="1613" y="751"/>
                  </a:lnTo>
                  <a:lnTo>
                    <a:pt x="1613" y="746"/>
                  </a:lnTo>
                  <a:lnTo>
                    <a:pt x="1617" y="746"/>
                  </a:lnTo>
                  <a:lnTo>
                    <a:pt x="1617" y="746"/>
                  </a:lnTo>
                  <a:lnTo>
                    <a:pt x="1617" y="746"/>
                  </a:lnTo>
                  <a:lnTo>
                    <a:pt x="1617" y="746"/>
                  </a:lnTo>
                  <a:lnTo>
                    <a:pt x="1617" y="746"/>
                  </a:lnTo>
                  <a:lnTo>
                    <a:pt x="1617" y="746"/>
                  </a:lnTo>
                  <a:lnTo>
                    <a:pt x="1617" y="746"/>
                  </a:lnTo>
                  <a:lnTo>
                    <a:pt x="1617" y="746"/>
                  </a:lnTo>
                  <a:lnTo>
                    <a:pt x="1617" y="746"/>
                  </a:lnTo>
                  <a:lnTo>
                    <a:pt x="1617" y="742"/>
                  </a:lnTo>
                  <a:lnTo>
                    <a:pt x="1617" y="742"/>
                  </a:lnTo>
                  <a:lnTo>
                    <a:pt x="1617" y="742"/>
                  </a:lnTo>
                  <a:lnTo>
                    <a:pt x="1622" y="737"/>
                  </a:lnTo>
                  <a:lnTo>
                    <a:pt x="1622" y="737"/>
                  </a:lnTo>
                  <a:lnTo>
                    <a:pt x="1622" y="737"/>
                  </a:lnTo>
                  <a:lnTo>
                    <a:pt x="1626" y="733"/>
                  </a:lnTo>
                  <a:lnTo>
                    <a:pt x="1631" y="728"/>
                  </a:lnTo>
                  <a:lnTo>
                    <a:pt x="1631" y="728"/>
                  </a:lnTo>
                  <a:lnTo>
                    <a:pt x="1631" y="728"/>
                  </a:lnTo>
                  <a:lnTo>
                    <a:pt x="1631" y="728"/>
                  </a:lnTo>
                  <a:lnTo>
                    <a:pt x="1635" y="723"/>
                  </a:lnTo>
                  <a:lnTo>
                    <a:pt x="1635" y="723"/>
                  </a:lnTo>
                  <a:lnTo>
                    <a:pt x="1640" y="723"/>
                  </a:lnTo>
                  <a:lnTo>
                    <a:pt x="1640" y="723"/>
                  </a:lnTo>
                  <a:lnTo>
                    <a:pt x="1640" y="723"/>
                  </a:lnTo>
                  <a:lnTo>
                    <a:pt x="1640" y="723"/>
                  </a:lnTo>
                  <a:lnTo>
                    <a:pt x="1640" y="723"/>
                  </a:lnTo>
                  <a:lnTo>
                    <a:pt x="1640" y="723"/>
                  </a:lnTo>
                  <a:lnTo>
                    <a:pt x="1640" y="723"/>
                  </a:lnTo>
                  <a:lnTo>
                    <a:pt x="1640" y="723"/>
                  </a:lnTo>
                  <a:lnTo>
                    <a:pt x="1640" y="723"/>
                  </a:lnTo>
                  <a:lnTo>
                    <a:pt x="1640" y="723"/>
                  </a:lnTo>
                  <a:lnTo>
                    <a:pt x="1640" y="723"/>
                  </a:lnTo>
                  <a:lnTo>
                    <a:pt x="1640" y="723"/>
                  </a:lnTo>
                  <a:lnTo>
                    <a:pt x="1640" y="723"/>
                  </a:lnTo>
                  <a:lnTo>
                    <a:pt x="1644" y="723"/>
                  </a:lnTo>
                  <a:lnTo>
                    <a:pt x="1644" y="719"/>
                  </a:lnTo>
                  <a:lnTo>
                    <a:pt x="1644" y="723"/>
                  </a:lnTo>
                  <a:lnTo>
                    <a:pt x="1644" y="723"/>
                  </a:lnTo>
                  <a:lnTo>
                    <a:pt x="1644" y="723"/>
                  </a:lnTo>
                  <a:lnTo>
                    <a:pt x="1644" y="719"/>
                  </a:lnTo>
                  <a:lnTo>
                    <a:pt x="1644" y="723"/>
                  </a:lnTo>
                  <a:lnTo>
                    <a:pt x="1644" y="723"/>
                  </a:lnTo>
                  <a:lnTo>
                    <a:pt x="1644" y="723"/>
                  </a:lnTo>
                  <a:lnTo>
                    <a:pt x="1649" y="723"/>
                  </a:lnTo>
                  <a:lnTo>
                    <a:pt x="1649" y="719"/>
                  </a:lnTo>
                  <a:lnTo>
                    <a:pt x="1649" y="723"/>
                  </a:lnTo>
                  <a:lnTo>
                    <a:pt x="1653" y="719"/>
                  </a:lnTo>
                  <a:lnTo>
                    <a:pt x="1653" y="719"/>
                  </a:lnTo>
                  <a:lnTo>
                    <a:pt x="1653" y="719"/>
                  </a:lnTo>
                  <a:lnTo>
                    <a:pt x="1658" y="714"/>
                  </a:lnTo>
                  <a:lnTo>
                    <a:pt x="1658" y="714"/>
                  </a:lnTo>
                  <a:lnTo>
                    <a:pt x="1663" y="710"/>
                  </a:lnTo>
                  <a:lnTo>
                    <a:pt x="1663" y="710"/>
                  </a:lnTo>
                  <a:lnTo>
                    <a:pt x="1663" y="710"/>
                  </a:lnTo>
                  <a:lnTo>
                    <a:pt x="1663" y="710"/>
                  </a:lnTo>
                  <a:lnTo>
                    <a:pt x="1663" y="714"/>
                  </a:lnTo>
                  <a:lnTo>
                    <a:pt x="1663" y="714"/>
                  </a:lnTo>
                  <a:lnTo>
                    <a:pt x="1663" y="714"/>
                  </a:lnTo>
                  <a:lnTo>
                    <a:pt x="1663" y="714"/>
                  </a:lnTo>
                  <a:lnTo>
                    <a:pt x="1663" y="714"/>
                  </a:lnTo>
                  <a:lnTo>
                    <a:pt x="1658" y="714"/>
                  </a:lnTo>
                  <a:lnTo>
                    <a:pt x="1663" y="714"/>
                  </a:lnTo>
                  <a:lnTo>
                    <a:pt x="1663" y="714"/>
                  </a:lnTo>
                  <a:lnTo>
                    <a:pt x="1663" y="714"/>
                  </a:lnTo>
                  <a:lnTo>
                    <a:pt x="1663" y="714"/>
                  </a:lnTo>
                  <a:lnTo>
                    <a:pt x="1663" y="714"/>
                  </a:lnTo>
                  <a:lnTo>
                    <a:pt x="1663" y="714"/>
                  </a:lnTo>
                  <a:lnTo>
                    <a:pt x="1667" y="714"/>
                  </a:lnTo>
                  <a:lnTo>
                    <a:pt x="1667" y="710"/>
                  </a:lnTo>
                  <a:lnTo>
                    <a:pt x="1667" y="714"/>
                  </a:lnTo>
                  <a:lnTo>
                    <a:pt x="1667" y="714"/>
                  </a:lnTo>
                  <a:lnTo>
                    <a:pt x="1667" y="714"/>
                  </a:lnTo>
                  <a:lnTo>
                    <a:pt x="1667" y="710"/>
                  </a:lnTo>
                  <a:lnTo>
                    <a:pt x="1672" y="710"/>
                  </a:lnTo>
                  <a:lnTo>
                    <a:pt x="1672" y="710"/>
                  </a:lnTo>
                  <a:lnTo>
                    <a:pt x="1672" y="714"/>
                  </a:lnTo>
                  <a:lnTo>
                    <a:pt x="1672" y="714"/>
                  </a:lnTo>
                  <a:lnTo>
                    <a:pt x="1672" y="714"/>
                  </a:lnTo>
                  <a:lnTo>
                    <a:pt x="1672" y="714"/>
                  </a:lnTo>
                  <a:lnTo>
                    <a:pt x="1672" y="714"/>
                  </a:lnTo>
                  <a:lnTo>
                    <a:pt x="1672" y="714"/>
                  </a:lnTo>
                  <a:lnTo>
                    <a:pt x="1672" y="714"/>
                  </a:lnTo>
                  <a:lnTo>
                    <a:pt x="1676" y="714"/>
                  </a:lnTo>
                  <a:lnTo>
                    <a:pt x="1676" y="710"/>
                  </a:lnTo>
                  <a:lnTo>
                    <a:pt x="1676" y="710"/>
                  </a:lnTo>
                  <a:lnTo>
                    <a:pt x="1676" y="710"/>
                  </a:lnTo>
                  <a:lnTo>
                    <a:pt x="1681" y="710"/>
                  </a:lnTo>
                  <a:lnTo>
                    <a:pt x="1681" y="710"/>
                  </a:lnTo>
                  <a:lnTo>
                    <a:pt x="1681" y="710"/>
                  </a:lnTo>
                  <a:lnTo>
                    <a:pt x="1681" y="710"/>
                  </a:lnTo>
                  <a:lnTo>
                    <a:pt x="1685" y="710"/>
                  </a:lnTo>
                  <a:lnTo>
                    <a:pt x="1685" y="710"/>
                  </a:lnTo>
                  <a:lnTo>
                    <a:pt x="1690" y="705"/>
                  </a:lnTo>
                  <a:lnTo>
                    <a:pt x="1690" y="705"/>
                  </a:lnTo>
                  <a:lnTo>
                    <a:pt x="1690" y="705"/>
                  </a:lnTo>
                  <a:lnTo>
                    <a:pt x="1690" y="705"/>
                  </a:lnTo>
                  <a:lnTo>
                    <a:pt x="1690" y="705"/>
                  </a:lnTo>
                  <a:lnTo>
                    <a:pt x="1690" y="705"/>
                  </a:lnTo>
                  <a:lnTo>
                    <a:pt x="1690" y="701"/>
                  </a:lnTo>
                  <a:lnTo>
                    <a:pt x="1690" y="701"/>
                  </a:lnTo>
                  <a:lnTo>
                    <a:pt x="1694" y="701"/>
                  </a:lnTo>
                  <a:lnTo>
                    <a:pt x="1694" y="701"/>
                  </a:lnTo>
                  <a:lnTo>
                    <a:pt x="1694" y="701"/>
                  </a:lnTo>
                  <a:lnTo>
                    <a:pt x="1694" y="701"/>
                  </a:lnTo>
                  <a:lnTo>
                    <a:pt x="1694" y="701"/>
                  </a:lnTo>
                  <a:lnTo>
                    <a:pt x="1694" y="701"/>
                  </a:lnTo>
                  <a:lnTo>
                    <a:pt x="1699" y="701"/>
                  </a:lnTo>
                  <a:lnTo>
                    <a:pt x="1699" y="701"/>
                  </a:lnTo>
                  <a:lnTo>
                    <a:pt x="1703" y="701"/>
                  </a:lnTo>
                  <a:lnTo>
                    <a:pt x="1703" y="701"/>
                  </a:lnTo>
                  <a:lnTo>
                    <a:pt x="1703" y="701"/>
                  </a:lnTo>
                  <a:lnTo>
                    <a:pt x="1708" y="701"/>
                  </a:lnTo>
                  <a:lnTo>
                    <a:pt x="1708" y="701"/>
                  </a:lnTo>
                  <a:lnTo>
                    <a:pt x="1708" y="696"/>
                  </a:lnTo>
                  <a:lnTo>
                    <a:pt x="1708" y="696"/>
                  </a:lnTo>
                  <a:lnTo>
                    <a:pt x="1708" y="696"/>
                  </a:lnTo>
                  <a:lnTo>
                    <a:pt x="1712" y="696"/>
                  </a:lnTo>
                  <a:lnTo>
                    <a:pt x="1708" y="696"/>
                  </a:lnTo>
                  <a:lnTo>
                    <a:pt x="1708" y="696"/>
                  </a:lnTo>
                  <a:lnTo>
                    <a:pt x="1708" y="701"/>
                  </a:lnTo>
                  <a:lnTo>
                    <a:pt x="1712" y="701"/>
                  </a:lnTo>
                  <a:lnTo>
                    <a:pt x="1717" y="696"/>
                  </a:lnTo>
                  <a:lnTo>
                    <a:pt x="1721" y="696"/>
                  </a:lnTo>
                  <a:lnTo>
                    <a:pt x="1726" y="696"/>
                  </a:lnTo>
                  <a:lnTo>
                    <a:pt x="1730" y="692"/>
                  </a:lnTo>
                  <a:lnTo>
                    <a:pt x="1730" y="692"/>
                  </a:lnTo>
                  <a:lnTo>
                    <a:pt x="1735" y="692"/>
                  </a:lnTo>
                  <a:lnTo>
                    <a:pt x="1735" y="687"/>
                  </a:lnTo>
                  <a:lnTo>
                    <a:pt x="1735" y="687"/>
                  </a:lnTo>
                  <a:lnTo>
                    <a:pt x="1735" y="687"/>
                  </a:lnTo>
                  <a:lnTo>
                    <a:pt x="1735" y="692"/>
                  </a:lnTo>
                  <a:lnTo>
                    <a:pt x="1739" y="692"/>
                  </a:lnTo>
                  <a:lnTo>
                    <a:pt x="1739" y="687"/>
                  </a:lnTo>
                  <a:lnTo>
                    <a:pt x="1739" y="692"/>
                  </a:lnTo>
                  <a:lnTo>
                    <a:pt x="1739" y="692"/>
                  </a:lnTo>
                  <a:lnTo>
                    <a:pt x="1735" y="692"/>
                  </a:lnTo>
                  <a:lnTo>
                    <a:pt x="1730" y="696"/>
                  </a:lnTo>
                  <a:lnTo>
                    <a:pt x="1726" y="696"/>
                  </a:lnTo>
                  <a:lnTo>
                    <a:pt x="1726" y="696"/>
                  </a:lnTo>
                  <a:lnTo>
                    <a:pt x="1726" y="696"/>
                  </a:lnTo>
                  <a:lnTo>
                    <a:pt x="1730" y="701"/>
                  </a:lnTo>
                  <a:lnTo>
                    <a:pt x="1730" y="696"/>
                  </a:lnTo>
                  <a:lnTo>
                    <a:pt x="1730" y="696"/>
                  </a:lnTo>
                  <a:lnTo>
                    <a:pt x="1735" y="696"/>
                  </a:lnTo>
                  <a:lnTo>
                    <a:pt x="1739" y="696"/>
                  </a:lnTo>
                  <a:lnTo>
                    <a:pt x="1739" y="696"/>
                  </a:lnTo>
                  <a:lnTo>
                    <a:pt x="1744" y="696"/>
                  </a:lnTo>
                  <a:lnTo>
                    <a:pt x="1748" y="701"/>
                  </a:lnTo>
                  <a:lnTo>
                    <a:pt x="1748" y="701"/>
                  </a:lnTo>
                  <a:lnTo>
                    <a:pt x="1744" y="701"/>
                  </a:lnTo>
                  <a:lnTo>
                    <a:pt x="1739" y="701"/>
                  </a:lnTo>
                  <a:lnTo>
                    <a:pt x="1735" y="701"/>
                  </a:lnTo>
                  <a:lnTo>
                    <a:pt x="1735" y="705"/>
                  </a:lnTo>
                  <a:lnTo>
                    <a:pt x="1735" y="705"/>
                  </a:lnTo>
                  <a:lnTo>
                    <a:pt x="1735" y="701"/>
                  </a:lnTo>
                  <a:lnTo>
                    <a:pt x="1735" y="701"/>
                  </a:lnTo>
                  <a:lnTo>
                    <a:pt x="1735" y="701"/>
                  </a:lnTo>
                  <a:lnTo>
                    <a:pt x="1735" y="701"/>
                  </a:lnTo>
                  <a:lnTo>
                    <a:pt x="1735" y="701"/>
                  </a:lnTo>
                  <a:lnTo>
                    <a:pt x="1735" y="701"/>
                  </a:lnTo>
                  <a:lnTo>
                    <a:pt x="1735" y="701"/>
                  </a:lnTo>
                  <a:lnTo>
                    <a:pt x="1730" y="701"/>
                  </a:lnTo>
                  <a:lnTo>
                    <a:pt x="1726" y="701"/>
                  </a:lnTo>
                  <a:lnTo>
                    <a:pt x="1726" y="701"/>
                  </a:lnTo>
                  <a:lnTo>
                    <a:pt x="1712" y="710"/>
                  </a:lnTo>
                  <a:lnTo>
                    <a:pt x="1708" y="710"/>
                  </a:lnTo>
                  <a:lnTo>
                    <a:pt x="1708" y="710"/>
                  </a:lnTo>
                  <a:lnTo>
                    <a:pt x="1712" y="710"/>
                  </a:lnTo>
                  <a:lnTo>
                    <a:pt x="1712" y="710"/>
                  </a:lnTo>
                  <a:lnTo>
                    <a:pt x="1712" y="710"/>
                  </a:lnTo>
                  <a:lnTo>
                    <a:pt x="1712" y="710"/>
                  </a:lnTo>
                  <a:lnTo>
                    <a:pt x="1708" y="710"/>
                  </a:lnTo>
                  <a:lnTo>
                    <a:pt x="1708" y="710"/>
                  </a:lnTo>
                  <a:lnTo>
                    <a:pt x="1703" y="710"/>
                  </a:lnTo>
                  <a:lnTo>
                    <a:pt x="1703" y="714"/>
                  </a:lnTo>
                  <a:lnTo>
                    <a:pt x="1703" y="714"/>
                  </a:lnTo>
                  <a:lnTo>
                    <a:pt x="1703" y="714"/>
                  </a:lnTo>
                  <a:lnTo>
                    <a:pt x="1699" y="714"/>
                  </a:lnTo>
                  <a:lnTo>
                    <a:pt x="1703" y="714"/>
                  </a:lnTo>
                  <a:lnTo>
                    <a:pt x="1708" y="714"/>
                  </a:lnTo>
                  <a:lnTo>
                    <a:pt x="1699" y="714"/>
                  </a:lnTo>
                  <a:lnTo>
                    <a:pt x="1699" y="719"/>
                  </a:lnTo>
                  <a:lnTo>
                    <a:pt x="1699" y="723"/>
                  </a:lnTo>
                  <a:lnTo>
                    <a:pt x="1694" y="728"/>
                  </a:lnTo>
                  <a:lnTo>
                    <a:pt x="1694" y="728"/>
                  </a:lnTo>
                  <a:lnTo>
                    <a:pt x="1699" y="728"/>
                  </a:lnTo>
                  <a:lnTo>
                    <a:pt x="1699" y="728"/>
                  </a:lnTo>
                  <a:lnTo>
                    <a:pt x="1699" y="728"/>
                  </a:lnTo>
                  <a:lnTo>
                    <a:pt x="1699" y="728"/>
                  </a:lnTo>
                  <a:lnTo>
                    <a:pt x="1699" y="733"/>
                  </a:lnTo>
                  <a:lnTo>
                    <a:pt x="1699" y="733"/>
                  </a:lnTo>
                  <a:lnTo>
                    <a:pt x="1703" y="733"/>
                  </a:lnTo>
                  <a:lnTo>
                    <a:pt x="1703" y="733"/>
                  </a:lnTo>
                  <a:lnTo>
                    <a:pt x="1703" y="733"/>
                  </a:lnTo>
                  <a:lnTo>
                    <a:pt x="1703" y="733"/>
                  </a:lnTo>
                  <a:lnTo>
                    <a:pt x="1703" y="733"/>
                  </a:lnTo>
                  <a:lnTo>
                    <a:pt x="1703" y="733"/>
                  </a:lnTo>
                  <a:lnTo>
                    <a:pt x="1708" y="728"/>
                  </a:lnTo>
                  <a:lnTo>
                    <a:pt x="1708" y="728"/>
                  </a:lnTo>
                  <a:lnTo>
                    <a:pt x="1708" y="728"/>
                  </a:lnTo>
                  <a:lnTo>
                    <a:pt x="1712" y="728"/>
                  </a:lnTo>
                  <a:lnTo>
                    <a:pt x="1717" y="728"/>
                  </a:lnTo>
                  <a:lnTo>
                    <a:pt x="1717" y="723"/>
                  </a:lnTo>
                  <a:lnTo>
                    <a:pt x="1717" y="723"/>
                  </a:lnTo>
                  <a:lnTo>
                    <a:pt x="1721" y="723"/>
                  </a:lnTo>
                  <a:lnTo>
                    <a:pt x="1721" y="719"/>
                  </a:lnTo>
                  <a:lnTo>
                    <a:pt x="1726" y="719"/>
                  </a:lnTo>
                  <a:lnTo>
                    <a:pt x="1726" y="719"/>
                  </a:lnTo>
                  <a:lnTo>
                    <a:pt x="1726" y="719"/>
                  </a:lnTo>
                  <a:lnTo>
                    <a:pt x="1726" y="714"/>
                  </a:lnTo>
                  <a:lnTo>
                    <a:pt x="1726" y="714"/>
                  </a:lnTo>
                  <a:lnTo>
                    <a:pt x="1730" y="714"/>
                  </a:lnTo>
                  <a:lnTo>
                    <a:pt x="1730" y="714"/>
                  </a:lnTo>
                  <a:lnTo>
                    <a:pt x="1730" y="714"/>
                  </a:lnTo>
                  <a:lnTo>
                    <a:pt x="1735" y="714"/>
                  </a:lnTo>
                  <a:lnTo>
                    <a:pt x="1735" y="714"/>
                  </a:lnTo>
                  <a:lnTo>
                    <a:pt x="1735" y="714"/>
                  </a:lnTo>
                  <a:lnTo>
                    <a:pt x="1735" y="714"/>
                  </a:lnTo>
                  <a:lnTo>
                    <a:pt x="1735" y="714"/>
                  </a:lnTo>
                  <a:lnTo>
                    <a:pt x="1735" y="714"/>
                  </a:lnTo>
                  <a:lnTo>
                    <a:pt x="1735" y="714"/>
                  </a:lnTo>
                  <a:lnTo>
                    <a:pt x="1739" y="714"/>
                  </a:lnTo>
                  <a:lnTo>
                    <a:pt x="1739" y="714"/>
                  </a:lnTo>
                  <a:lnTo>
                    <a:pt x="1739" y="714"/>
                  </a:lnTo>
                  <a:lnTo>
                    <a:pt x="1739" y="714"/>
                  </a:lnTo>
                  <a:lnTo>
                    <a:pt x="1739" y="710"/>
                  </a:lnTo>
                  <a:lnTo>
                    <a:pt x="1739" y="714"/>
                  </a:lnTo>
                  <a:lnTo>
                    <a:pt x="1744" y="714"/>
                  </a:lnTo>
                  <a:lnTo>
                    <a:pt x="1744" y="714"/>
                  </a:lnTo>
                  <a:lnTo>
                    <a:pt x="1744" y="714"/>
                  </a:lnTo>
                  <a:lnTo>
                    <a:pt x="1748" y="710"/>
                  </a:lnTo>
                  <a:lnTo>
                    <a:pt x="1748" y="710"/>
                  </a:lnTo>
                  <a:lnTo>
                    <a:pt x="1748" y="710"/>
                  </a:lnTo>
                  <a:lnTo>
                    <a:pt x="1753" y="710"/>
                  </a:lnTo>
                  <a:lnTo>
                    <a:pt x="1757" y="710"/>
                  </a:lnTo>
                  <a:lnTo>
                    <a:pt x="1762" y="710"/>
                  </a:lnTo>
                  <a:lnTo>
                    <a:pt x="1766" y="705"/>
                  </a:lnTo>
                  <a:lnTo>
                    <a:pt x="1771" y="705"/>
                  </a:lnTo>
                  <a:lnTo>
                    <a:pt x="1771" y="705"/>
                  </a:lnTo>
                  <a:lnTo>
                    <a:pt x="1771" y="705"/>
                  </a:lnTo>
                  <a:lnTo>
                    <a:pt x="1775" y="705"/>
                  </a:lnTo>
                  <a:lnTo>
                    <a:pt x="1775" y="705"/>
                  </a:lnTo>
                  <a:lnTo>
                    <a:pt x="1775" y="705"/>
                  </a:lnTo>
                  <a:lnTo>
                    <a:pt x="1780" y="701"/>
                  </a:lnTo>
                  <a:lnTo>
                    <a:pt x="1780" y="701"/>
                  </a:lnTo>
                  <a:lnTo>
                    <a:pt x="1780" y="705"/>
                  </a:lnTo>
                  <a:lnTo>
                    <a:pt x="1784" y="701"/>
                  </a:lnTo>
                  <a:lnTo>
                    <a:pt x="1784" y="701"/>
                  </a:lnTo>
                  <a:lnTo>
                    <a:pt x="1784" y="701"/>
                  </a:lnTo>
                  <a:lnTo>
                    <a:pt x="1784" y="701"/>
                  </a:lnTo>
                  <a:lnTo>
                    <a:pt x="1775" y="701"/>
                  </a:lnTo>
                  <a:lnTo>
                    <a:pt x="1780" y="701"/>
                  </a:lnTo>
                  <a:lnTo>
                    <a:pt x="1780" y="701"/>
                  </a:lnTo>
                  <a:lnTo>
                    <a:pt x="1780" y="696"/>
                  </a:lnTo>
                  <a:lnTo>
                    <a:pt x="1780" y="696"/>
                  </a:lnTo>
                  <a:lnTo>
                    <a:pt x="1780" y="696"/>
                  </a:lnTo>
                  <a:lnTo>
                    <a:pt x="1780" y="696"/>
                  </a:lnTo>
                  <a:lnTo>
                    <a:pt x="1775" y="696"/>
                  </a:lnTo>
                  <a:lnTo>
                    <a:pt x="1775" y="696"/>
                  </a:lnTo>
                  <a:lnTo>
                    <a:pt x="1775" y="692"/>
                  </a:lnTo>
                  <a:lnTo>
                    <a:pt x="1775" y="692"/>
                  </a:lnTo>
                  <a:lnTo>
                    <a:pt x="1775" y="692"/>
                  </a:lnTo>
                  <a:lnTo>
                    <a:pt x="1775" y="692"/>
                  </a:lnTo>
                  <a:lnTo>
                    <a:pt x="1771" y="692"/>
                  </a:lnTo>
                  <a:lnTo>
                    <a:pt x="1766" y="696"/>
                  </a:lnTo>
                  <a:lnTo>
                    <a:pt x="1766" y="696"/>
                  </a:lnTo>
                  <a:lnTo>
                    <a:pt x="1766" y="696"/>
                  </a:lnTo>
                  <a:lnTo>
                    <a:pt x="1762" y="692"/>
                  </a:lnTo>
                  <a:lnTo>
                    <a:pt x="1762" y="696"/>
                  </a:lnTo>
                  <a:lnTo>
                    <a:pt x="1762" y="692"/>
                  </a:lnTo>
                  <a:lnTo>
                    <a:pt x="1762" y="692"/>
                  </a:lnTo>
                  <a:lnTo>
                    <a:pt x="1757" y="692"/>
                  </a:lnTo>
                  <a:lnTo>
                    <a:pt x="1757" y="692"/>
                  </a:lnTo>
                  <a:lnTo>
                    <a:pt x="1753" y="692"/>
                  </a:lnTo>
                  <a:lnTo>
                    <a:pt x="1753" y="692"/>
                  </a:lnTo>
                  <a:lnTo>
                    <a:pt x="1753" y="692"/>
                  </a:lnTo>
                  <a:lnTo>
                    <a:pt x="1753" y="692"/>
                  </a:lnTo>
                  <a:lnTo>
                    <a:pt x="1753" y="687"/>
                  </a:lnTo>
                  <a:lnTo>
                    <a:pt x="1748" y="687"/>
                  </a:lnTo>
                  <a:lnTo>
                    <a:pt x="1748" y="687"/>
                  </a:lnTo>
                  <a:lnTo>
                    <a:pt x="1748" y="687"/>
                  </a:lnTo>
                  <a:lnTo>
                    <a:pt x="1744" y="687"/>
                  </a:lnTo>
                  <a:lnTo>
                    <a:pt x="1748" y="683"/>
                  </a:lnTo>
                  <a:lnTo>
                    <a:pt x="1748" y="683"/>
                  </a:lnTo>
                  <a:lnTo>
                    <a:pt x="1748" y="683"/>
                  </a:lnTo>
                  <a:lnTo>
                    <a:pt x="1744" y="683"/>
                  </a:lnTo>
                  <a:lnTo>
                    <a:pt x="1744" y="683"/>
                  </a:lnTo>
                  <a:lnTo>
                    <a:pt x="1739" y="683"/>
                  </a:lnTo>
                  <a:lnTo>
                    <a:pt x="1739" y="678"/>
                  </a:lnTo>
                  <a:lnTo>
                    <a:pt x="1739" y="678"/>
                  </a:lnTo>
                  <a:lnTo>
                    <a:pt x="1739" y="678"/>
                  </a:lnTo>
                  <a:lnTo>
                    <a:pt x="1739" y="678"/>
                  </a:lnTo>
                  <a:lnTo>
                    <a:pt x="1739" y="674"/>
                  </a:lnTo>
                  <a:lnTo>
                    <a:pt x="1739" y="674"/>
                  </a:lnTo>
                  <a:lnTo>
                    <a:pt x="1739" y="669"/>
                  </a:lnTo>
                  <a:lnTo>
                    <a:pt x="1739" y="669"/>
                  </a:lnTo>
                  <a:lnTo>
                    <a:pt x="1739" y="669"/>
                  </a:lnTo>
                  <a:lnTo>
                    <a:pt x="1744" y="665"/>
                  </a:lnTo>
                  <a:lnTo>
                    <a:pt x="1739" y="665"/>
                  </a:lnTo>
                  <a:lnTo>
                    <a:pt x="1739" y="665"/>
                  </a:lnTo>
                  <a:lnTo>
                    <a:pt x="1735" y="665"/>
                  </a:lnTo>
                  <a:lnTo>
                    <a:pt x="1735" y="665"/>
                  </a:lnTo>
                  <a:lnTo>
                    <a:pt x="1735" y="665"/>
                  </a:lnTo>
                  <a:lnTo>
                    <a:pt x="1739" y="660"/>
                  </a:lnTo>
                  <a:lnTo>
                    <a:pt x="1744" y="660"/>
                  </a:lnTo>
                  <a:lnTo>
                    <a:pt x="1748" y="656"/>
                  </a:lnTo>
                  <a:lnTo>
                    <a:pt x="1748" y="656"/>
                  </a:lnTo>
                  <a:lnTo>
                    <a:pt x="1748" y="651"/>
                  </a:lnTo>
                  <a:lnTo>
                    <a:pt x="1748" y="651"/>
                  </a:lnTo>
                  <a:lnTo>
                    <a:pt x="1744" y="651"/>
                  </a:lnTo>
                  <a:lnTo>
                    <a:pt x="1748" y="651"/>
                  </a:lnTo>
                  <a:lnTo>
                    <a:pt x="1744" y="651"/>
                  </a:lnTo>
                  <a:lnTo>
                    <a:pt x="1739" y="651"/>
                  </a:lnTo>
                  <a:lnTo>
                    <a:pt x="1739" y="656"/>
                  </a:lnTo>
                  <a:lnTo>
                    <a:pt x="1735" y="656"/>
                  </a:lnTo>
                  <a:lnTo>
                    <a:pt x="1735" y="651"/>
                  </a:lnTo>
                  <a:lnTo>
                    <a:pt x="1735" y="651"/>
                  </a:lnTo>
                  <a:lnTo>
                    <a:pt x="1735" y="651"/>
                  </a:lnTo>
                  <a:lnTo>
                    <a:pt x="1730" y="647"/>
                  </a:lnTo>
                  <a:lnTo>
                    <a:pt x="1730" y="647"/>
                  </a:lnTo>
                  <a:lnTo>
                    <a:pt x="1726" y="647"/>
                  </a:lnTo>
                  <a:lnTo>
                    <a:pt x="1726" y="647"/>
                  </a:lnTo>
                  <a:lnTo>
                    <a:pt x="1721" y="647"/>
                  </a:lnTo>
                  <a:lnTo>
                    <a:pt x="1726" y="647"/>
                  </a:lnTo>
                  <a:lnTo>
                    <a:pt x="1730" y="647"/>
                  </a:lnTo>
                  <a:lnTo>
                    <a:pt x="1730" y="647"/>
                  </a:lnTo>
                  <a:lnTo>
                    <a:pt x="1735" y="647"/>
                  </a:lnTo>
                  <a:lnTo>
                    <a:pt x="1735" y="642"/>
                  </a:lnTo>
                  <a:lnTo>
                    <a:pt x="1735" y="642"/>
                  </a:lnTo>
                  <a:lnTo>
                    <a:pt x="1739" y="647"/>
                  </a:lnTo>
                  <a:lnTo>
                    <a:pt x="1739" y="647"/>
                  </a:lnTo>
                  <a:lnTo>
                    <a:pt x="1744" y="647"/>
                  </a:lnTo>
                  <a:lnTo>
                    <a:pt x="1744" y="647"/>
                  </a:lnTo>
                  <a:lnTo>
                    <a:pt x="1748" y="647"/>
                  </a:lnTo>
                  <a:lnTo>
                    <a:pt x="1748" y="647"/>
                  </a:lnTo>
                  <a:lnTo>
                    <a:pt x="1753" y="642"/>
                  </a:lnTo>
                  <a:lnTo>
                    <a:pt x="1753" y="642"/>
                  </a:lnTo>
                  <a:lnTo>
                    <a:pt x="1753" y="642"/>
                  </a:lnTo>
                  <a:lnTo>
                    <a:pt x="1757" y="642"/>
                  </a:lnTo>
                  <a:lnTo>
                    <a:pt x="1762" y="642"/>
                  </a:lnTo>
                  <a:lnTo>
                    <a:pt x="1762" y="638"/>
                  </a:lnTo>
                  <a:lnTo>
                    <a:pt x="1766" y="633"/>
                  </a:lnTo>
                  <a:lnTo>
                    <a:pt x="1762" y="633"/>
                  </a:lnTo>
                  <a:lnTo>
                    <a:pt x="1762" y="633"/>
                  </a:lnTo>
                  <a:lnTo>
                    <a:pt x="1766" y="633"/>
                  </a:lnTo>
                  <a:lnTo>
                    <a:pt x="1766" y="633"/>
                  </a:lnTo>
                  <a:lnTo>
                    <a:pt x="1766" y="633"/>
                  </a:lnTo>
                  <a:lnTo>
                    <a:pt x="1766" y="633"/>
                  </a:lnTo>
                  <a:lnTo>
                    <a:pt x="1762" y="629"/>
                  </a:lnTo>
                  <a:lnTo>
                    <a:pt x="1762" y="624"/>
                  </a:lnTo>
                  <a:lnTo>
                    <a:pt x="1753" y="624"/>
                  </a:lnTo>
                  <a:lnTo>
                    <a:pt x="1753" y="624"/>
                  </a:lnTo>
                  <a:lnTo>
                    <a:pt x="1748" y="624"/>
                  </a:lnTo>
                  <a:lnTo>
                    <a:pt x="1744" y="624"/>
                  </a:lnTo>
                  <a:lnTo>
                    <a:pt x="1735" y="624"/>
                  </a:lnTo>
                  <a:lnTo>
                    <a:pt x="1726" y="629"/>
                  </a:lnTo>
                  <a:lnTo>
                    <a:pt x="1717" y="629"/>
                  </a:lnTo>
                  <a:lnTo>
                    <a:pt x="1712" y="633"/>
                  </a:lnTo>
                  <a:lnTo>
                    <a:pt x="1708" y="633"/>
                  </a:lnTo>
                  <a:lnTo>
                    <a:pt x="1703" y="633"/>
                  </a:lnTo>
                  <a:lnTo>
                    <a:pt x="1699" y="638"/>
                  </a:lnTo>
                  <a:lnTo>
                    <a:pt x="1699" y="638"/>
                  </a:lnTo>
                  <a:lnTo>
                    <a:pt x="1694" y="638"/>
                  </a:lnTo>
                  <a:lnTo>
                    <a:pt x="1694" y="638"/>
                  </a:lnTo>
                  <a:lnTo>
                    <a:pt x="1685" y="642"/>
                  </a:lnTo>
                  <a:lnTo>
                    <a:pt x="1685" y="647"/>
                  </a:lnTo>
                  <a:lnTo>
                    <a:pt x="1681" y="647"/>
                  </a:lnTo>
                  <a:lnTo>
                    <a:pt x="1676" y="651"/>
                  </a:lnTo>
                  <a:lnTo>
                    <a:pt x="1672" y="656"/>
                  </a:lnTo>
                  <a:lnTo>
                    <a:pt x="1667" y="656"/>
                  </a:lnTo>
                  <a:lnTo>
                    <a:pt x="1667" y="656"/>
                  </a:lnTo>
                  <a:lnTo>
                    <a:pt x="1663" y="660"/>
                  </a:lnTo>
                  <a:lnTo>
                    <a:pt x="1658" y="660"/>
                  </a:lnTo>
                  <a:lnTo>
                    <a:pt x="1649" y="665"/>
                  </a:lnTo>
                  <a:lnTo>
                    <a:pt x="1649" y="665"/>
                  </a:lnTo>
                  <a:lnTo>
                    <a:pt x="1644" y="665"/>
                  </a:lnTo>
                  <a:lnTo>
                    <a:pt x="1644" y="669"/>
                  </a:lnTo>
                  <a:lnTo>
                    <a:pt x="1640" y="669"/>
                  </a:lnTo>
                  <a:lnTo>
                    <a:pt x="1635" y="669"/>
                  </a:lnTo>
                  <a:lnTo>
                    <a:pt x="1631" y="669"/>
                  </a:lnTo>
                  <a:lnTo>
                    <a:pt x="1631" y="669"/>
                  </a:lnTo>
                  <a:lnTo>
                    <a:pt x="1626" y="674"/>
                  </a:lnTo>
                  <a:lnTo>
                    <a:pt x="1626" y="674"/>
                  </a:lnTo>
                  <a:lnTo>
                    <a:pt x="1622" y="674"/>
                  </a:lnTo>
                  <a:lnTo>
                    <a:pt x="1617" y="678"/>
                  </a:lnTo>
                  <a:lnTo>
                    <a:pt x="1613" y="678"/>
                  </a:lnTo>
                  <a:lnTo>
                    <a:pt x="1613" y="678"/>
                  </a:lnTo>
                  <a:lnTo>
                    <a:pt x="1608" y="683"/>
                  </a:lnTo>
                  <a:lnTo>
                    <a:pt x="1604" y="683"/>
                  </a:lnTo>
                  <a:lnTo>
                    <a:pt x="1604" y="687"/>
                  </a:lnTo>
                  <a:lnTo>
                    <a:pt x="1604" y="687"/>
                  </a:lnTo>
                  <a:lnTo>
                    <a:pt x="1599" y="692"/>
                  </a:lnTo>
                  <a:lnTo>
                    <a:pt x="1599" y="692"/>
                  </a:lnTo>
                  <a:lnTo>
                    <a:pt x="1595" y="692"/>
                  </a:lnTo>
                  <a:lnTo>
                    <a:pt x="1590" y="692"/>
                  </a:lnTo>
                  <a:lnTo>
                    <a:pt x="1586" y="696"/>
                  </a:lnTo>
                  <a:lnTo>
                    <a:pt x="1581" y="696"/>
                  </a:lnTo>
                  <a:lnTo>
                    <a:pt x="1577" y="696"/>
                  </a:lnTo>
                  <a:lnTo>
                    <a:pt x="1586" y="692"/>
                  </a:lnTo>
                  <a:lnTo>
                    <a:pt x="1590" y="692"/>
                  </a:lnTo>
                  <a:lnTo>
                    <a:pt x="1595" y="692"/>
                  </a:lnTo>
                  <a:lnTo>
                    <a:pt x="1595" y="692"/>
                  </a:lnTo>
                  <a:lnTo>
                    <a:pt x="1590" y="687"/>
                  </a:lnTo>
                  <a:lnTo>
                    <a:pt x="1590" y="687"/>
                  </a:lnTo>
                  <a:lnTo>
                    <a:pt x="1595" y="687"/>
                  </a:lnTo>
                  <a:lnTo>
                    <a:pt x="1595" y="687"/>
                  </a:lnTo>
                  <a:lnTo>
                    <a:pt x="1599" y="687"/>
                  </a:lnTo>
                  <a:lnTo>
                    <a:pt x="1599" y="683"/>
                  </a:lnTo>
                  <a:lnTo>
                    <a:pt x="1604" y="683"/>
                  </a:lnTo>
                  <a:lnTo>
                    <a:pt x="1608" y="683"/>
                  </a:lnTo>
                  <a:lnTo>
                    <a:pt x="1613" y="678"/>
                  </a:lnTo>
                  <a:lnTo>
                    <a:pt x="1613" y="678"/>
                  </a:lnTo>
                  <a:lnTo>
                    <a:pt x="1613" y="678"/>
                  </a:lnTo>
                  <a:lnTo>
                    <a:pt x="1617" y="674"/>
                  </a:lnTo>
                  <a:lnTo>
                    <a:pt x="1617" y="674"/>
                  </a:lnTo>
                  <a:lnTo>
                    <a:pt x="1622" y="674"/>
                  </a:lnTo>
                  <a:lnTo>
                    <a:pt x="1626" y="669"/>
                  </a:lnTo>
                  <a:lnTo>
                    <a:pt x="1631" y="669"/>
                  </a:lnTo>
                  <a:lnTo>
                    <a:pt x="1631" y="669"/>
                  </a:lnTo>
                  <a:lnTo>
                    <a:pt x="1635" y="669"/>
                  </a:lnTo>
                  <a:lnTo>
                    <a:pt x="1635" y="669"/>
                  </a:lnTo>
                  <a:lnTo>
                    <a:pt x="1640" y="669"/>
                  </a:lnTo>
                  <a:lnTo>
                    <a:pt x="1644" y="665"/>
                  </a:lnTo>
                  <a:lnTo>
                    <a:pt x="1649" y="665"/>
                  </a:lnTo>
                  <a:lnTo>
                    <a:pt x="1653" y="660"/>
                  </a:lnTo>
                  <a:lnTo>
                    <a:pt x="1658" y="660"/>
                  </a:lnTo>
                  <a:lnTo>
                    <a:pt x="1663" y="656"/>
                  </a:lnTo>
                  <a:lnTo>
                    <a:pt x="1667" y="651"/>
                  </a:lnTo>
                  <a:lnTo>
                    <a:pt x="1672" y="651"/>
                  </a:lnTo>
                  <a:lnTo>
                    <a:pt x="1676" y="647"/>
                  </a:lnTo>
                  <a:lnTo>
                    <a:pt x="1676" y="647"/>
                  </a:lnTo>
                  <a:lnTo>
                    <a:pt x="1681" y="642"/>
                  </a:lnTo>
                  <a:lnTo>
                    <a:pt x="1681" y="642"/>
                  </a:lnTo>
                  <a:lnTo>
                    <a:pt x="1676" y="642"/>
                  </a:lnTo>
                  <a:lnTo>
                    <a:pt x="1676" y="638"/>
                  </a:lnTo>
                  <a:lnTo>
                    <a:pt x="1672" y="638"/>
                  </a:lnTo>
                  <a:lnTo>
                    <a:pt x="1672" y="638"/>
                  </a:lnTo>
                  <a:lnTo>
                    <a:pt x="1667" y="638"/>
                  </a:lnTo>
                  <a:lnTo>
                    <a:pt x="1667" y="638"/>
                  </a:lnTo>
                  <a:lnTo>
                    <a:pt x="1667" y="633"/>
                  </a:lnTo>
                  <a:lnTo>
                    <a:pt x="1672" y="638"/>
                  </a:lnTo>
                  <a:lnTo>
                    <a:pt x="1676" y="638"/>
                  </a:lnTo>
                  <a:lnTo>
                    <a:pt x="1676" y="638"/>
                  </a:lnTo>
                  <a:lnTo>
                    <a:pt x="1681" y="642"/>
                  </a:lnTo>
                  <a:lnTo>
                    <a:pt x="1681" y="642"/>
                  </a:lnTo>
                  <a:lnTo>
                    <a:pt x="1681" y="642"/>
                  </a:lnTo>
                  <a:lnTo>
                    <a:pt x="1685" y="638"/>
                  </a:lnTo>
                  <a:lnTo>
                    <a:pt x="1690" y="638"/>
                  </a:lnTo>
                  <a:lnTo>
                    <a:pt x="1694" y="633"/>
                  </a:lnTo>
                  <a:lnTo>
                    <a:pt x="1699" y="629"/>
                  </a:lnTo>
                  <a:lnTo>
                    <a:pt x="1703" y="629"/>
                  </a:lnTo>
                  <a:lnTo>
                    <a:pt x="1703" y="624"/>
                  </a:lnTo>
                  <a:lnTo>
                    <a:pt x="1708" y="624"/>
                  </a:lnTo>
                  <a:lnTo>
                    <a:pt x="1708" y="624"/>
                  </a:lnTo>
                  <a:lnTo>
                    <a:pt x="1712" y="624"/>
                  </a:lnTo>
                  <a:lnTo>
                    <a:pt x="1712" y="624"/>
                  </a:lnTo>
                  <a:lnTo>
                    <a:pt x="1712" y="624"/>
                  </a:lnTo>
                  <a:lnTo>
                    <a:pt x="1717" y="619"/>
                  </a:lnTo>
                  <a:lnTo>
                    <a:pt x="1721" y="619"/>
                  </a:lnTo>
                  <a:lnTo>
                    <a:pt x="1726" y="619"/>
                  </a:lnTo>
                  <a:lnTo>
                    <a:pt x="1726" y="619"/>
                  </a:lnTo>
                  <a:lnTo>
                    <a:pt x="1730" y="619"/>
                  </a:lnTo>
                  <a:lnTo>
                    <a:pt x="1730" y="615"/>
                  </a:lnTo>
                  <a:lnTo>
                    <a:pt x="1739" y="610"/>
                  </a:lnTo>
                  <a:lnTo>
                    <a:pt x="1744" y="606"/>
                  </a:lnTo>
                  <a:lnTo>
                    <a:pt x="1744" y="606"/>
                  </a:lnTo>
                  <a:lnTo>
                    <a:pt x="1744" y="606"/>
                  </a:lnTo>
                  <a:lnTo>
                    <a:pt x="1748" y="606"/>
                  </a:lnTo>
                  <a:lnTo>
                    <a:pt x="1748" y="606"/>
                  </a:lnTo>
                  <a:lnTo>
                    <a:pt x="1748" y="606"/>
                  </a:lnTo>
                  <a:lnTo>
                    <a:pt x="1748" y="606"/>
                  </a:lnTo>
                  <a:lnTo>
                    <a:pt x="1753" y="606"/>
                  </a:lnTo>
                  <a:lnTo>
                    <a:pt x="1757" y="606"/>
                  </a:lnTo>
                  <a:lnTo>
                    <a:pt x="1757" y="606"/>
                  </a:lnTo>
                  <a:lnTo>
                    <a:pt x="1766" y="606"/>
                  </a:lnTo>
                  <a:lnTo>
                    <a:pt x="1766" y="606"/>
                  </a:lnTo>
                  <a:lnTo>
                    <a:pt x="1771" y="606"/>
                  </a:lnTo>
                  <a:lnTo>
                    <a:pt x="1775" y="606"/>
                  </a:lnTo>
                  <a:lnTo>
                    <a:pt x="1780" y="606"/>
                  </a:lnTo>
                  <a:lnTo>
                    <a:pt x="1784" y="606"/>
                  </a:lnTo>
                  <a:lnTo>
                    <a:pt x="1784" y="606"/>
                  </a:lnTo>
                  <a:lnTo>
                    <a:pt x="1789" y="606"/>
                  </a:lnTo>
                  <a:lnTo>
                    <a:pt x="1789" y="606"/>
                  </a:lnTo>
                  <a:lnTo>
                    <a:pt x="1794" y="606"/>
                  </a:lnTo>
                  <a:lnTo>
                    <a:pt x="1794" y="606"/>
                  </a:lnTo>
                  <a:lnTo>
                    <a:pt x="1798" y="606"/>
                  </a:lnTo>
                  <a:lnTo>
                    <a:pt x="1798" y="606"/>
                  </a:lnTo>
                  <a:lnTo>
                    <a:pt x="1803" y="606"/>
                  </a:lnTo>
                  <a:lnTo>
                    <a:pt x="1803" y="606"/>
                  </a:lnTo>
                  <a:lnTo>
                    <a:pt x="1807" y="606"/>
                  </a:lnTo>
                  <a:lnTo>
                    <a:pt x="1807" y="606"/>
                  </a:lnTo>
                  <a:lnTo>
                    <a:pt x="1812" y="606"/>
                  </a:lnTo>
                  <a:lnTo>
                    <a:pt x="1812" y="610"/>
                  </a:lnTo>
                  <a:lnTo>
                    <a:pt x="1812" y="610"/>
                  </a:lnTo>
                  <a:lnTo>
                    <a:pt x="1821" y="610"/>
                  </a:lnTo>
                  <a:lnTo>
                    <a:pt x="1821" y="610"/>
                  </a:lnTo>
                  <a:lnTo>
                    <a:pt x="1825" y="610"/>
                  </a:lnTo>
                  <a:lnTo>
                    <a:pt x="1830" y="610"/>
                  </a:lnTo>
                  <a:lnTo>
                    <a:pt x="1830" y="610"/>
                  </a:lnTo>
                  <a:lnTo>
                    <a:pt x="1834" y="610"/>
                  </a:lnTo>
                  <a:lnTo>
                    <a:pt x="1839" y="610"/>
                  </a:lnTo>
                  <a:lnTo>
                    <a:pt x="1843" y="606"/>
                  </a:lnTo>
                  <a:lnTo>
                    <a:pt x="1843" y="606"/>
                  </a:lnTo>
                  <a:lnTo>
                    <a:pt x="1848" y="606"/>
                  </a:lnTo>
                  <a:lnTo>
                    <a:pt x="1852" y="601"/>
                  </a:lnTo>
                  <a:lnTo>
                    <a:pt x="1857" y="601"/>
                  </a:lnTo>
                  <a:lnTo>
                    <a:pt x="1857" y="597"/>
                  </a:lnTo>
                  <a:lnTo>
                    <a:pt x="1866" y="592"/>
                  </a:lnTo>
                  <a:lnTo>
                    <a:pt x="1866" y="592"/>
                  </a:lnTo>
                  <a:lnTo>
                    <a:pt x="1870" y="592"/>
                  </a:lnTo>
                  <a:lnTo>
                    <a:pt x="1870" y="588"/>
                  </a:lnTo>
                  <a:lnTo>
                    <a:pt x="1870" y="588"/>
                  </a:lnTo>
                  <a:lnTo>
                    <a:pt x="1875" y="592"/>
                  </a:lnTo>
                  <a:lnTo>
                    <a:pt x="1875" y="588"/>
                  </a:lnTo>
                  <a:lnTo>
                    <a:pt x="1875" y="588"/>
                  </a:lnTo>
                  <a:lnTo>
                    <a:pt x="1879" y="588"/>
                  </a:lnTo>
                  <a:lnTo>
                    <a:pt x="1879" y="588"/>
                  </a:lnTo>
                  <a:lnTo>
                    <a:pt x="1884" y="588"/>
                  </a:lnTo>
                  <a:lnTo>
                    <a:pt x="1888" y="588"/>
                  </a:lnTo>
                  <a:lnTo>
                    <a:pt x="1893" y="588"/>
                  </a:lnTo>
                  <a:lnTo>
                    <a:pt x="1893" y="588"/>
                  </a:lnTo>
                  <a:lnTo>
                    <a:pt x="1893" y="588"/>
                  </a:lnTo>
                  <a:lnTo>
                    <a:pt x="1902" y="583"/>
                  </a:lnTo>
                  <a:lnTo>
                    <a:pt x="1906" y="583"/>
                  </a:lnTo>
                  <a:lnTo>
                    <a:pt x="1911" y="579"/>
                  </a:lnTo>
                  <a:lnTo>
                    <a:pt x="1916" y="574"/>
                  </a:lnTo>
                  <a:lnTo>
                    <a:pt x="1916" y="574"/>
                  </a:lnTo>
                  <a:lnTo>
                    <a:pt x="1916" y="574"/>
                  </a:lnTo>
                  <a:lnTo>
                    <a:pt x="1916" y="574"/>
                  </a:lnTo>
                  <a:lnTo>
                    <a:pt x="1916" y="574"/>
                  </a:lnTo>
                  <a:lnTo>
                    <a:pt x="1916" y="570"/>
                  </a:lnTo>
                  <a:lnTo>
                    <a:pt x="1916" y="570"/>
                  </a:lnTo>
                  <a:lnTo>
                    <a:pt x="1916" y="570"/>
                  </a:lnTo>
                  <a:lnTo>
                    <a:pt x="1916" y="570"/>
                  </a:lnTo>
                  <a:lnTo>
                    <a:pt x="1920" y="570"/>
                  </a:lnTo>
                  <a:lnTo>
                    <a:pt x="1920" y="570"/>
                  </a:lnTo>
                  <a:lnTo>
                    <a:pt x="1920" y="570"/>
                  </a:lnTo>
                  <a:lnTo>
                    <a:pt x="1916" y="570"/>
                  </a:lnTo>
                  <a:lnTo>
                    <a:pt x="1916" y="570"/>
                  </a:lnTo>
                  <a:lnTo>
                    <a:pt x="1911" y="570"/>
                  </a:lnTo>
                  <a:lnTo>
                    <a:pt x="1911" y="570"/>
                  </a:lnTo>
                  <a:lnTo>
                    <a:pt x="1911" y="565"/>
                  </a:lnTo>
                  <a:lnTo>
                    <a:pt x="1916" y="565"/>
                  </a:lnTo>
                  <a:lnTo>
                    <a:pt x="1920" y="565"/>
                  </a:lnTo>
                  <a:lnTo>
                    <a:pt x="1920" y="565"/>
                  </a:lnTo>
                  <a:lnTo>
                    <a:pt x="1920" y="565"/>
                  </a:lnTo>
                  <a:lnTo>
                    <a:pt x="1920" y="565"/>
                  </a:lnTo>
                  <a:lnTo>
                    <a:pt x="1920" y="561"/>
                  </a:lnTo>
                  <a:lnTo>
                    <a:pt x="1920" y="561"/>
                  </a:lnTo>
                  <a:lnTo>
                    <a:pt x="1920" y="561"/>
                  </a:lnTo>
                  <a:lnTo>
                    <a:pt x="1925" y="556"/>
                  </a:lnTo>
                  <a:lnTo>
                    <a:pt x="1925" y="556"/>
                  </a:lnTo>
                  <a:lnTo>
                    <a:pt x="1925" y="556"/>
                  </a:lnTo>
                  <a:lnTo>
                    <a:pt x="1925" y="556"/>
                  </a:lnTo>
                  <a:lnTo>
                    <a:pt x="1925" y="552"/>
                  </a:lnTo>
                  <a:lnTo>
                    <a:pt x="1925" y="552"/>
                  </a:lnTo>
                  <a:lnTo>
                    <a:pt x="1925" y="552"/>
                  </a:lnTo>
                  <a:lnTo>
                    <a:pt x="1925" y="552"/>
                  </a:lnTo>
                  <a:lnTo>
                    <a:pt x="1925" y="547"/>
                  </a:lnTo>
                  <a:lnTo>
                    <a:pt x="1920" y="547"/>
                  </a:lnTo>
                  <a:lnTo>
                    <a:pt x="1920" y="547"/>
                  </a:lnTo>
                  <a:lnTo>
                    <a:pt x="1920" y="547"/>
                  </a:lnTo>
                  <a:lnTo>
                    <a:pt x="1920" y="543"/>
                  </a:lnTo>
                  <a:lnTo>
                    <a:pt x="1920" y="543"/>
                  </a:lnTo>
                  <a:lnTo>
                    <a:pt x="1916" y="543"/>
                  </a:lnTo>
                  <a:lnTo>
                    <a:pt x="1916" y="547"/>
                  </a:lnTo>
                  <a:lnTo>
                    <a:pt x="1911" y="547"/>
                  </a:lnTo>
                  <a:lnTo>
                    <a:pt x="1906" y="547"/>
                  </a:lnTo>
                  <a:lnTo>
                    <a:pt x="1906" y="552"/>
                  </a:lnTo>
                  <a:lnTo>
                    <a:pt x="1906" y="547"/>
                  </a:lnTo>
                  <a:lnTo>
                    <a:pt x="1906" y="547"/>
                  </a:lnTo>
                  <a:lnTo>
                    <a:pt x="1902" y="547"/>
                  </a:lnTo>
                  <a:lnTo>
                    <a:pt x="1902" y="547"/>
                  </a:lnTo>
                  <a:lnTo>
                    <a:pt x="1906" y="547"/>
                  </a:lnTo>
                  <a:lnTo>
                    <a:pt x="1911" y="547"/>
                  </a:lnTo>
                  <a:lnTo>
                    <a:pt x="1911" y="543"/>
                  </a:lnTo>
                  <a:lnTo>
                    <a:pt x="1911" y="543"/>
                  </a:lnTo>
                  <a:lnTo>
                    <a:pt x="1911" y="543"/>
                  </a:lnTo>
                  <a:lnTo>
                    <a:pt x="1911" y="543"/>
                  </a:lnTo>
                  <a:lnTo>
                    <a:pt x="1911" y="538"/>
                  </a:lnTo>
                  <a:lnTo>
                    <a:pt x="1906" y="538"/>
                  </a:lnTo>
                  <a:lnTo>
                    <a:pt x="1902" y="534"/>
                  </a:lnTo>
                  <a:lnTo>
                    <a:pt x="1897" y="534"/>
                  </a:lnTo>
                  <a:lnTo>
                    <a:pt x="1897" y="538"/>
                  </a:lnTo>
                  <a:lnTo>
                    <a:pt x="1897" y="538"/>
                  </a:lnTo>
                  <a:lnTo>
                    <a:pt x="1897" y="538"/>
                  </a:lnTo>
                  <a:lnTo>
                    <a:pt x="1902" y="538"/>
                  </a:lnTo>
                  <a:lnTo>
                    <a:pt x="1902" y="538"/>
                  </a:lnTo>
                  <a:lnTo>
                    <a:pt x="1902" y="538"/>
                  </a:lnTo>
                  <a:lnTo>
                    <a:pt x="1902" y="538"/>
                  </a:lnTo>
                  <a:lnTo>
                    <a:pt x="1902" y="538"/>
                  </a:lnTo>
                  <a:lnTo>
                    <a:pt x="1897" y="538"/>
                  </a:lnTo>
                  <a:lnTo>
                    <a:pt x="1893" y="538"/>
                  </a:lnTo>
                  <a:lnTo>
                    <a:pt x="1888" y="543"/>
                  </a:lnTo>
                  <a:lnTo>
                    <a:pt x="1884" y="543"/>
                  </a:lnTo>
                  <a:lnTo>
                    <a:pt x="1879" y="547"/>
                  </a:lnTo>
                  <a:lnTo>
                    <a:pt x="1875" y="547"/>
                  </a:lnTo>
                  <a:lnTo>
                    <a:pt x="1875" y="547"/>
                  </a:lnTo>
                  <a:lnTo>
                    <a:pt x="1870" y="547"/>
                  </a:lnTo>
                  <a:lnTo>
                    <a:pt x="1870" y="547"/>
                  </a:lnTo>
                  <a:lnTo>
                    <a:pt x="1870" y="552"/>
                  </a:lnTo>
                  <a:lnTo>
                    <a:pt x="1866" y="552"/>
                  </a:lnTo>
                  <a:lnTo>
                    <a:pt x="1861" y="552"/>
                  </a:lnTo>
                  <a:lnTo>
                    <a:pt x="1861" y="552"/>
                  </a:lnTo>
                  <a:lnTo>
                    <a:pt x="1861" y="552"/>
                  </a:lnTo>
                  <a:lnTo>
                    <a:pt x="1861" y="552"/>
                  </a:lnTo>
                  <a:lnTo>
                    <a:pt x="1866" y="552"/>
                  </a:lnTo>
                  <a:lnTo>
                    <a:pt x="1861" y="552"/>
                  </a:lnTo>
                  <a:lnTo>
                    <a:pt x="1866" y="547"/>
                  </a:lnTo>
                  <a:lnTo>
                    <a:pt x="1866" y="547"/>
                  </a:lnTo>
                  <a:lnTo>
                    <a:pt x="1866" y="547"/>
                  </a:lnTo>
                  <a:lnTo>
                    <a:pt x="1866" y="547"/>
                  </a:lnTo>
                  <a:lnTo>
                    <a:pt x="1866" y="547"/>
                  </a:lnTo>
                  <a:lnTo>
                    <a:pt x="1866" y="543"/>
                  </a:lnTo>
                  <a:lnTo>
                    <a:pt x="1866" y="547"/>
                  </a:lnTo>
                  <a:lnTo>
                    <a:pt x="1866" y="547"/>
                  </a:lnTo>
                  <a:lnTo>
                    <a:pt x="1870" y="547"/>
                  </a:lnTo>
                  <a:lnTo>
                    <a:pt x="1870" y="543"/>
                  </a:lnTo>
                  <a:lnTo>
                    <a:pt x="1870" y="543"/>
                  </a:lnTo>
                  <a:lnTo>
                    <a:pt x="1870" y="543"/>
                  </a:lnTo>
                  <a:lnTo>
                    <a:pt x="1870" y="543"/>
                  </a:lnTo>
                  <a:lnTo>
                    <a:pt x="1875" y="543"/>
                  </a:lnTo>
                  <a:lnTo>
                    <a:pt x="1875" y="543"/>
                  </a:lnTo>
                  <a:lnTo>
                    <a:pt x="1875" y="543"/>
                  </a:lnTo>
                  <a:lnTo>
                    <a:pt x="1875" y="543"/>
                  </a:lnTo>
                  <a:lnTo>
                    <a:pt x="1879" y="543"/>
                  </a:lnTo>
                  <a:lnTo>
                    <a:pt x="1884" y="538"/>
                  </a:lnTo>
                  <a:lnTo>
                    <a:pt x="1888" y="538"/>
                  </a:lnTo>
                  <a:lnTo>
                    <a:pt x="1888" y="538"/>
                  </a:lnTo>
                  <a:lnTo>
                    <a:pt x="1888" y="538"/>
                  </a:lnTo>
                  <a:lnTo>
                    <a:pt x="1888" y="538"/>
                  </a:lnTo>
                  <a:lnTo>
                    <a:pt x="1888" y="538"/>
                  </a:lnTo>
                  <a:lnTo>
                    <a:pt x="1893" y="538"/>
                  </a:lnTo>
                  <a:lnTo>
                    <a:pt x="1893" y="538"/>
                  </a:lnTo>
                  <a:lnTo>
                    <a:pt x="1893" y="538"/>
                  </a:lnTo>
                  <a:lnTo>
                    <a:pt x="1897" y="534"/>
                  </a:lnTo>
                  <a:lnTo>
                    <a:pt x="1897" y="534"/>
                  </a:lnTo>
                  <a:lnTo>
                    <a:pt x="1902" y="534"/>
                  </a:lnTo>
                  <a:lnTo>
                    <a:pt x="1902" y="534"/>
                  </a:lnTo>
                  <a:lnTo>
                    <a:pt x="1902" y="534"/>
                  </a:lnTo>
                  <a:lnTo>
                    <a:pt x="1906" y="534"/>
                  </a:lnTo>
                  <a:lnTo>
                    <a:pt x="1911" y="534"/>
                  </a:lnTo>
                  <a:lnTo>
                    <a:pt x="1911" y="529"/>
                  </a:lnTo>
                  <a:lnTo>
                    <a:pt x="1911" y="529"/>
                  </a:lnTo>
                  <a:lnTo>
                    <a:pt x="1916" y="529"/>
                  </a:lnTo>
                  <a:lnTo>
                    <a:pt x="1916" y="529"/>
                  </a:lnTo>
                  <a:lnTo>
                    <a:pt x="1916" y="529"/>
                  </a:lnTo>
                  <a:lnTo>
                    <a:pt x="1911" y="529"/>
                  </a:lnTo>
                  <a:lnTo>
                    <a:pt x="1911" y="529"/>
                  </a:lnTo>
                  <a:lnTo>
                    <a:pt x="1911" y="525"/>
                  </a:lnTo>
                  <a:lnTo>
                    <a:pt x="1911" y="525"/>
                  </a:lnTo>
                  <a:lnTo>
                    <a:pt x="1911" y="525"/>
                  </a:lnTo>
                  <a:lnTo>
                    <a:pt x="1906" y="525"/>
                  </a:lnTo>
                  <a:lnTo>
                    <a:pt x="1906" y="525"/>
                  </a:lnTo>
                  <a:lnTo>
                    <a:pt x="1906" y="525"/>
                  </a:lnTo>
                  <a:lnTo>
                    <a:pt x="1902" y="525"/>
                  </a:lnTo>
                  <a:lnTo>
                    <a:pt x="1902" y="525"/>
                  </a:lnTo>
                  <a:lnTo>
                    <a:pt x="1897" y="525"/>
                  </a:lnTo>
                  <a:lnTo>
                    <a:pt x="1897" y="520"/>
                  </a:lnTo>
                  <a:lnTo>
                    <a:pt x="1897" y="520"/>
                  </a:lnTo>
                  <a:lnTo>
                    <a:pt x="1897" y="515"/>
                  </a:lnTo>
                  <a:lnTo>
                    <a:pt x="1897" y="515"/>
                  </a:lnTo>
                  <a:lnTo>
                    <a:pt x="1897" y="515"/>
                  </a:lnTo>
                  <a:lnTo>
                    <a:pt x="1893" y="515"/>
                  </a:lnTo>
                  <a:lnTo>
                    <a:pt x="1893" y="520"/>
                  </a:lnTo>
                  <a:lnTo>
                    <a:pt x="1893" y="520"/>
                  </a:lnTo>
                  <a:lnTo>
                    <a:pt x="1884" y="520"/>
                  </a:lnTo>
                  <a:lnTo>
                    <a:pt x="1884" y="525"/>
                  </a:lnTo>
                  <a:lnTo>
                    <a:pt x="1884" y="520"/>
                  </a:lnTo>
                  <a:lnTo>
                    <a:pt x="1888" y="520"/>
                  </a:lnTo>
                  <a:lnTo>
                    <a:pt x="1893" y="515"/>
                  </a:lnTo>
                  <a:lnTo>
                    <a:pt x="1893" y="515"/>
                  </a:lnTo>
                  <a:lnTo>
                    <a:pt x="1893" y="515"/>
                  </a:lnTo>
                  <a:lnTo>
                    <a:pt x="1888" y="515"/>
                  </a:lnTo>
                  <a:lnTo>
                    <a:pt x="1888" y="515"/>
                  </a:lnTo>
                  <a:lnTo>
                    <a:pt x="1888" y="515"/>
                  </a:lnTo>
                  <a:lnTo>
                    <a:pt x="1888" y="515"/>
                  </a:lnTo>
                  <a:lnTo>
                    <a:pt x="1888" y="515"/>
                  </a:lnTo>
                  <a:lnTo>
                    <a:pt x="1888" y="515"/>
                  </a:lnTo>
                  <a:lnTo>
                    <a:pt x="1884" y="515"/>
                  </a:lnTo>
                  <a:lnTo>
                    <a:pt x="1879" y="515"/>
                  </a:lnTo>
                  <a:lnTo>
                    <a:pt x="1875" y="515"/>
                  </a:lnTo>
                  <a:lnTo>
                    <a:pt x="1875" y="515"/>
                  </a:lnTo>
                  <a:lnTo>
                    <a:pt x="1879" y="515"/>
                  </a:lnTo>
                  <a:lnTo>
                    <a:pt x="1879" y="515"/>
                  </a:lnTo>
                  <a:lnTo>
                    <a:pt x="1879" y="515"/>
                  </a:lnTo>
                  <a:lnTo>
                    <a:pt x="1884" y="511"/>
                  </a:lnTo>
                  <a:lnTo>
                    <a:pt x="1884" y="511"/>
                  </a:lnTo>
                  <a:lnTo>
                    <a:pt x="1884" y="511"/>
                  </a:lnTo>
                  <a:lnTo>
                    <a:pt x="1884" y="506"/>
                  </a:lnTo>
                  <a:lnTo>
                    <a:pt x="1884" y="506"/>
                  </a:lnTo>
                  <a:lnTo>
                    <a:pt x="1884" y="506"/>
                  </a:lnTo>
                  <a:lnTo>
                    <a:pt x="1884" y="506"/>
                  </a:lnTo>
                  <a:lnTo>
                    <a:pt x="1888" y="502"/>
                  </a:lnTo>
                  <a:lnTo>
                    <a:pt x="1884" y="502"/>
                  </a:lnTo>
                  <a:lnTo>
                    <a:pt x="1884" y="502"/>
                  </a:lnTo>
                  <a:lnTo>
                    <a:pt x="1884" y="506"/>
                  </a:lnTo>
                  <a:lnTo>
                    <a:pt x="1884" y="502"/>
                  </a:lnTo>
                  <a:lnTo>
                    <a:pt x="1884" y="502"/>
                  </a:lnTo>
                  <a:lnTo>
                    <a:pt x="1884" y="502"/>
                  </a:lnTo>
                  <a:lnTo>
                    <a:pt x="1884" y="502"/>
                  </a:lnTo>
                  <a:lnTo>
                    <a:pt x="1879" y="502"/>
                  </a:lnTo>
                  <a:lnTo>
                    <a:pt x="1879" y="502"/>
                  </a:lnTo>
                  <a:lnTo>
                    <a:pt x="1879" y="502"/>
                  </a:lnTo>
                  <a:lnTo>
                    <a:pt x="1879" y="502"/>
                  </a:lnTo>
                  <a:lnTo>
                    <a:pt x="1875" y="502"/>
                  </a:lnTo>
                  <a:lnTo>
                    <a:pt x="1879" y="502"/>
                  </a:lnTo>
                  <a:lnTo>
                    <a:pt x="1875" y="502"/>
                  </a:lnTo>
                  <a:lnTo>
                    <a:pt x="1875" y="502"/>
                  </a:lnTo>
                  <a:lnTo>
                    <a:pt x="1875" y="497"/>
                  </a:lnTo>
                  <a:lnTo>
                    <a:pt x="1875" y="497"/>
                  </a:lnTo>
                  <a:lnTo>
                    <a:pt x="1875" y="497"/>
                  </a:lnTo>
                  <a:lnTo>
                    <a:pt x="1875" y="497"/>
                  </a:lnTo>
                  <a:lnTo>
                    <a:pt x="1875" y="497"/>
                  </a:lnTo>
                  <a:lnTo>
                    <a:pt x="1875" y="497"/>
                  </a:lnTo>
                  <a:lnTo>
                    <a:pt x="1875" y="497"/>
                  </a:lnTo>
                  <a:lnTo>
                    <a:pt x="1870" y="493"/>
                  </a:lnTo>
                  <a:lnTo>
                    <a:pt x="1875" y="493"/>
                  </a:lnTo>
                  <a:lnTo>
                    <a:pt x="1875" y="493"/>
                  </a:lnTo>
                  <a:lnTo>
                    <a:pt x="1879" y="493"/>
                  </a:lnTo>
                  <a:lnTo>
                    <a:pt x="1875" y="493"/>
                  </a:lnTo>
                  <a:lnTo>
                    <a:pt x="1875" y="493"/>
                  </a:lnTo>
                  <a:lnTo>
                    <a:pt x="1870" y="493"/>
                  </a:lnTo>
                  <a:lnTo>
                    <a:pt x="1870" y="488"/>
                  </a:lnTo>
                  <a:lnTo>
                    <a:pt x="1875" y="488"/>
                  </a:lnTo>
                  <a:lnTo>
                    <a:pt x="1875" y="488"/>
                  </a:lnTo>
                  <a:lnTo>
                    <a:pt x="1875" y="488"/>
                  </a:lnTo>
                  <a:lnTo>
                    <a:pt x="1875" y="488"/>
                  </a:lnTo>
                  <a:lnTo>
                    <a:pt x="1875" y="488"/>
                  </a:lnTo>
                  <a:lnTo>
                    <a:pt x="1870" y="488"/>
                  </a:lnTo>
                  <a:lnTo>
                    <a:pt x="1870" y="488"/>
                  </a:lnTo>
                  <a:lnTo>
                    <a:pt x="1870" y="484"/>
                  </a:lnTo>
                  <a:lnTo>
                    <a:pt x="1866" y="484"/>
                  </a:lnTo>
                  <a:lnTo>
                    <a:pt x="1870" y="484"/>
                  </a:lnTo>
                  <a:lnTo>
                    <a:pt x="1870" y="484"/>
                  </a:lnTo>
                  <a:lnTo>
                    <a:pt x="1870" y="484"/>
                  </a:lnTo>
                  <a:lnTo>
                    <a:pt x="1870" y="484"/>
                  </a:lnTo>
                  <a:lnTo>
                    <a:pt x="1870" y="484"/>
                  </a:lnTo>
                  <a:lnTo>
                    <a:pt x="1875" y="484"/>
                  </a:lnTo>
                  <a:lnTo>
                    <a:pt x="1879" y="488"/>
                  </a:lnTo>
                  <a:lnTo>
                    <a:pt x="1884" y="488"/>
                  </a:lnTo>
                  <a:lnTo>
                    <a:pt x="1884" y="484"/>
                  </a:lnTo>
                  <a:lnTo>
                    <a:pt x="1884" y="484"/>
                  </a:lnTo>
                  <a:lnTo>
                    <a:pt x="1884" y="484"/>
                  </a:lnTo>
                  <a:lnTo>
                    <a:pt x="1884" y="479"/>
                  </a:lnTo>
                  <a:lnTo>
                    <a:pt x="1884" y="475"/>
                  </a:lnTo>
                  <a:lnTo>
                    <a:pt x="1884" y="475"/>
                  </a:lnTo>
                  <a:lnTo>
                    <a:pt x="1879" y="475"/>
                  </a:lnTo>
                  <a:lnTo>
                    <a:pt x="1879" y="475"/>
                  </a:lnTo>
                  <a:lnTo>
                    <a:pt x="1879" y="475"/>
                  </a:lnTo>
                  <a:lnTo>
                    <a:pt x="1879" y="475"/>
                  </a:lnTo>
                  <a:lnTo>
                    <a:pt x="1879" y="475"/>
                  </a:lnTo>
                  <a:lnTo>
                    <a:pt x="1884" y="475"/>
                  </a:lnTo>
                  <a:lnTo>
                    <a:pt x="1884" y="475"/>
                  </a:lnTo>
                  <a:lnTo>
                    <a:pt x="1884" y="475"/>
                  </a:lnTo>
                  <a:lnTo>
                    <a:pt x="1884" y="470"/>
                  </a:lnTo>
                  <a:lnTo>
                    <a:pt x="1879" y="470"/>
                  </a:lnTo>
                  <a:lnTo>
                    <a:pt x="1879" y="470"/>
                  </a:lnTo>
                  <a:lnTo>
                    <a:pt x="1879" y="470"/>
                  </a:lnTo>
                  <a:lnTo>
                    <a:pt x="1875" y="470"/>
                  </a:lnTo>
                  <a:lnTo>
                    <a:pt x="1875" y="470"/>
                  </a:lnTo>
                  <a:lnTo>
                    <a:pt x="1875" y="470"/>
                  </a:lnTo>
                  <a:lnTo>
                    <a:pt x="1875" y="470"/>
                  </a:lnTo>
                  <a:lnTo>
                    <a:pt x="1879" y="470"/>
                  </a:lnTo>
                  <a:lnTo>
                    <a:pt x="1879" y="470"/>
                  </a:lnTo>
                  <a:lnTo>
                    <a:pt x="1879" y="470"/>
                  </a:lnTo>
                  <a:lnTo>
                    <a:pt x="1879" y="470"/>
                  </a:lnTo>
                  <a:lnTo>
                    <a:pt x="1884" y="470"/>
                  </a:lnTo>
                  <a:lnTo>
                    <a:pt x="1884" y="466"/>
                  </a:lnTo>
                  <a:lnTo>
                    <a:pt x="1884" y="466"/>
                  </a:lnTo>
                  <a:lnTo>
                    <a:pt x="1884" y="466"/>
                  </a:lnTo>
                  <a:lnTo>
                    <a:pt x="1888" y="466"/>
                  </a:lnTo>
                  <a:lnTo>
                    <a:pt x="1888" y="466"/>
                  </a:lnTo>
                  <a:lnTo>
                    <a:pt x="1888" y="461"/>
                  </a:lnTo>
                  <a:lnTo>
                    <a:pt x="1884" y="461"/>
                  </a:lnTo>
                  <a:lnTo>
                    <a:pt x="1884" y="461"/>
                  </a:lnTo>
                  <a:lnTo>
                    <a:pt x="1884" y="461"/>
                  </a:lnTo>
                  <a:lnTo>
                    <a:pt x="1884" y="457"/>
                  </a:lnTo>
                  <a:lnTo>
                    <a:pt x="1879" y="457"/>
                  </a:lnTo>
                  <a:lnTo>
                    <a:pt x="1879" y="457"/>
                  </a:lnTo>
                  <a:lnTo>
                    <a:pt x="1875" y="461"/>
                  </a:lnTo>
                  <a:lnTo>
                    <a:pt x="1870" y="461"/>
                  </a:lnTo>
                  <a:lnTo>
                    <a:pt x="1870" y="461"/>
                  </a:lnTo>
                  <a:lnTo>
                    <a:pt x="1875" y="461"/>
                  </a:lnTo>
                  <a:lnTo>
                    <a:pt x="1875" y="457"/>
                  </a:lnTo>
                  <a:lnTo>
                    <a:pt x="1879" y="457"/>
                  </a:lnTo>
                  <a:lnTo>
                    <a:pt x="1884" y="457"/>
                  </a:lnTo>
                  <a:lnTo>
                    <a:pt x="1884" y="452"/>
                  </a:lnTo>
                  <a:lnTo>
                    <a:pt x="1884" y="452"/>
                  </a:lnTo>
                  <a:lnTo>
                    <a:pt x="1884" y="452"/>
                  </a:lnTo>
                  <a:lnTo>
                    <a:pt x="1879" y="452"/>
                  </a:lnTo>
                  <a:lnTo>
                    <a:pt x="1879" y="452"/>
                  </a:lnTo>
                  <a:lnTo>
                    <a:pt x="1875" y="452"/>
                  </a:lnTo>
                  <a:lnTo>
                    <a:pt x="1879" y="452"/>
                  </a:lnTo>
                  <a:lnTo>
                    <a:pt x="1879" y="452"/>
                  </a:lnTo>
                  <a:lnTo>
                    <a:pt x="1875" y="452"/>
                  </a:lnTo>
                  <a:lnTo>
                    <a:pt x="1875" y="452"/>
                  </a:lnTo>
                  <a:lnTo>
                    <a:pt x="1870" y="452"/>
                  </a:lnTo>
                  <a:lnTo>
                    <a:pt x="1870" y="452"/>
                  </a:lnTo>
                  <a:lnTo>
                    <a:pt x="1875" y="452"/>
                  </a:lnTo>
                  <a:lnTo>
                    <a:pt x="1875" y="452"/>
                  </a:lnTo>
                  <a:lnTo>
                    <a:pt x="1875" y="452"/>
                  </a:lnTo>
                  <a:lnTo>
                    <a:pt x="1879" y="452"/>
                  </a:lnTo>
                  <a:lnTo>
                    <a:pt x="1884" y="448"/>
                  </a:lnTo>
                  <a:lnTo>
                    <a:pt x="1884" y="448"/>
                  </a:lnTo>
                  <a:lnTo>
                    <a:pt x="1884" y="443"/>
                  </a:lnTo>
                  <a:lnTo>
                    <a:pt x="1884" y="443"/>
                  </a:lnTo>
                  <a:lnTo>
                    <a:pt x="1879" y="443"/>
                  </a:lnTo>
                  <a:lnTo>
                    <a:pt x="1879" y="443"/>
                  </a:lnTo>
                  <a:lnTo>
                    <a:pt x="1879" y="443"/>
                  </a:lnTo>
                  <a:lnTo>
                    <a:pt x="1879" y="443"/>
                  </a:lnTo>
                  <a:lnTo>
                    <a:pt x="1879" y="443"/>
                  </a:lnTo>
                  <a:lnTo>
                    <a:pt x="1879" y="443"/>
                  </a:lnTo>
                  <a:lnTo>
                    <a:pt x="1879" y="443"/>
                  </a:lnTo>
                  <a:lnTo>
                    <a:pt x="1884" y="439"/>
                  </a:lnTo>
                  <a:lnTo>
                    <a:pt x="1884" y="439"/>
                  </a:lnTo>
                  <a:lnTo>
                    <a:pt x="1884" y="439"/>
                  </a:lnTo>
                  <a:lnTo>
                    <a:pt x="1879" y="439"/>
                  </a:lnTo>
                  <a:lnTo>
                    <a:pt x="1879" y="439"/>
                  </a:lnTo>
                  <a:lnTo>
                    <a:pt x="1875" y="443"/>
                  </a:lnTo>
                  <a:lnTo>
                    <a:pt x="1875" y="439"/>
                  </a:lnTo>
                  <a:lnTo>
                    <a:pt x="1875" y="439"/>
                  </a:lnTo>
                  <a:lnTo>
                    <a:pt x="1875" y="439"/>
                  </a:lnTo>
                  <a:lnTo>
                    <a:pt x="1875" y="439"/>
                  </a:lnTo>
                  <a:lnTo>
                    <a:pt x="1879" y="439"/>
                  </a:lnTo>
                  <a:lnTo>
                    <a:pt x="1879" y="439"/>
                  </a:lnTo>
                  <a:lnTo>
                    <a:pt x="1884" y="439"/>
                  </a:lnTo>
                  <a:lnTo>
                    <a:pt x="1884" y="434"/>
                  </a:lnTo>
                  <a:lnTo>
                    <a:pt x="1879" y="434"/>
                  </a:lnTo>
                  <a:lnTo>
                    <a:pt x="1879" y="434"/>
                  </a:lnTo>
                  <a:lnTo>
                    <a:pt x="1879" y="434"/>
                  </a:lnTo>
                  <a:lnTo>
                    <a:pt x="1879" y="434"/>
                  </a:lnTo>
                  <a:lnTo>
                    <a:pt x="1879" y="434"/>
                  </a:lnTo>
                  <a:lnTo>
                    <a:pt x="1879" y="434"/>
                  </a:lnTo>
                  <a:lnTo>
                    <a:pt x="1879" y="434"/>
                  </a:lnTo>
                  <a:lnTo>
                    <a:pt x="1879" y="434"/>
                  </a:lnTo>
                  <a:lnTo>
                    <a:pt x="1879" y="434"/>
                  </a:lnTo>
                  <a:lnTo>
                    <a:pt x="1879" y="430"/>
                  </a:lnTo>
                  <a:lnTo>
                    <a:pt x="1879" y="430"/>
                  </a:lnTo>
                  <a:lnTo>
                    <a:pt x="1879" y="430"/>
                  </a:lnTo>
                  <a:lnTo>
                    <a:pt x="1879" y="425"/>
                  </a:lnTo>
                  <a:lnTo>
                    <a:pt x="1879" y="425"/>
                  </a:lnTo>
                  <a:lnTo>
                    <a:pt x="1879" y="425"/>
                  </a:lnTo>
                  <a:lnTo>
                    <a:pt x="1879" y="425"/>
                  </a:lnTo>
                  <a:lnTo>
                    <a:pt x="1879" y="425"/>
                  </a:lnTo>
                  <a:lnTo>
                    <a:pt x="1879" y="425"/>
                  </a:lnTo>
                  <a:lnTo>
                    <a:pt x="1879" y="421"/>
                  </a:lnTo>
                  <a:lnTo>
                    <a:pt x="1879" y="421"/>
                  </a:lnTo>
                  <a:lnTo>
                    <a:pt x="1875" y="421"/>
                  </a:lnTo>
                  <a:lnTo>
                    <a:pt x="1875" y="421"/>
                  </a:lnTo>
                  <a:lnTo>
                    <a:pt x="1875" y="421"/>
                  </a:lnTo>
                  <a:lnTo>
                    <a:pt x="1875" y="421"/>
                  </a:lnTo>
                  <a:lnTo>
                    <a:pt x="1879" y="421"/>
                  </a:lnTo>
                  <a:lnTo>
                    <a:pt x="1879" y="421"/>
                  </a:lnTo>
                  <a:lnTo>
                    <a:pt x="1879" y="416"/>
                  </a:lnTo>
                  <a:lnTo>
                    <a:pt x="1879" y="416"/>
                  </a:lnTo>
                  <a:lnTo>
                    <a:pt x="1879" y="416"/>
                  </a:lnTo>
                  <a:lnTo>
                    <a:pt x="1875" y="416"/>
                  </a:lnTo>
                  <a:lnTo>
                    <a:pt x="1875" y="416"/>
                  </a:lnTo>
                  <a:lnTo>
                    <a:pt x="1875" y="416"/>
                  </a:lnTo>
                  <a:lnTo>
                    <a:pt x="1875" y="416"/>
                  </a:lnTo>
                  <a:lnTo>
                    <a:pt x="1870" y="421"/>
                  </a:lnTo>
                  <a:lnTo>
                    <a:pt x="1870" y="421"/>
                  </a:lnTo>
                  <a:lnTo>
                    <a:pt x="1866" y="425"/>
                  </a:lnTo>
                  <a:lnTo>
                    <a:pt x="1866" y="425"/>
                  </a:lnTo>
                  <a:lnTo>
                    <a:pt x="1866" y="425"/>
                  </a:lnTo>
                  <a:lnTo>
                    <a:pt x="1866" y="425"/>
                  </a:lnTo>
                  <a:lnTo>
                    <a:pt x="1866" y="425"/>
                  </a:lnTo>
                  <a:lnTo>
                    <a:pt x="1866" y="425"/>
                  </a:lnTo>
                  <a:lnTo>
                    <a:pt x="1866" y="425"/>
                  </a:lnTo>
                  <a:lnTo>
                    <a:pt x="1866" y="425"/>
                  </a:lnTo>
                  <a:lnTo>
                    <a:pt x="1866" y="425"/>
                  </a:lnTo>
                  <a:lnTo>
                    <a:pt x="1861" y="425"/>
                  </a:lnTo>
                  <a:lnTo>
                    <a:pt x="1861" y="425"/>
                  </a:lnTo>
                  <a:lnTo>
                    <a:pt x="1861" y="430"/>
                  </a:lnTo>
                  <a:lnTo>
                    <a:pt x="1861" y="430"/>
                  </a:lnTo>
                  <a:lnTo>
                    <a:pt x="1861" y="430"/>
                  </a:lnTo>
                  <a:lnTo>
                    <a:pt x="1861" y="430"/>
                  </a:lnTo>
                  <a:lnTo>
                    <a:pt x="1861" y="430"/>
                  </a:lnTo>
                  <a:lnTo>
                    <a:pt x="1861" y="430"/>
                  </a:lnTo>
                  <a:lnTo>
                    <a:pt x="1861" y="430"/>
                  </a:lnTo>
                  <a:lnTo>
                    <a:pt x="1861" y="434"/>
                  </a:lnTo>
                  <a:lnTo>
                    <a:pt x="1861" y="434"/>
                  </a:lnTo>
                  <a:lnTo>
                    <a:pt x="1861" y="434"/>
                  </a:lnTo>
                  <a:lnTo>
                    <a:pt x="1861" y="430"/>
                  </a:lnTo>
                  <a:lnTo>
                    <a:pt x="1861" y="430"/>
                  </a:lnTo>
                  <a:lnTo>
                    <a:pt x="1857" y="430"/>
                  </a:lnTo>
                  <a:lnTo>
                    <a:pt x="1857" y="434"/>
                  </a:lnTo>
                  <a:lnTo>
                    <a:pt x="1857" y="434"/>
                  </a:lnTo>
                  <a:lnTo>
                    <a:pt x="1857" y="434"/>
                  </a:lnTo>
                  <a:lnTo>
                    <a:pt x="1857" y="434"/>
                  </a:lnTo>
                  <a:lnTo>
                    <a:pt x="1857" y="434"/>
                  </a:lnTo>
                  <a:lnTo>
                    <a:pt x="1857" y="434"/>
                  </a:lnTo>
                  <a:lnTo>
                    <a:pt x="1852" y="434"/>
                  </a:lnTo>
                  <a:lnTo>
                    <a:pt x="1852" y="434"/>
                  </a:lnTo>
                  <a:lnTo>
                    <a:pt x="1852" y="434"/>
                  </a:lnTo>
                  <a:lnTo>
                    <a:pt x="1852" y="434"/>
                  </a:lnTo>
                  <a:lnTo>
                    <a:pt x="1852" y="439"/>
                  </a:lnTo>
                  <a:lnTo>
                    <a:pt x="1852" y="439"/>
                  </a:lnTo>
                  <a:lnTo>
                    <a:pt x="1852" y="439"/>
                  </a:lnTo>
                  <a:lnTo>
                    <a:pt x="1852" y="439"/>
                  </a:lnTo>
                  <a:lnTo>
                    <a:pt x="1857" y="439"/>
                  </a:lnTo>
                  <a:lnTo>
                    <a:pt x="1857" y="439"/>
                  </a:lnTo>
                  <a:lnTo>
                    <a:pt x="1852" y="439"/>
                  </a:lnTo>
                  <a:lnTo>
                    <a:pt x="1852" y="439"/>
                  </a:lnTo>
                  <a:lnTo>
                    <a:pt x="1852" y="439"/>
                  </a:lnTo>
                  <a:lnTo>
                    <a:pt x="1852" y="439"/>
                  </a:lnTo>
                  <a:lnTo>
                    <a:pt x="1848" y="439"/>
                  </a:lnTo>
                  <a:lnTo>
                    <a:pt x="1848" y="439"/>
                  </a:lnTo>
                  <a:lnTo>
                    <a:pt x="1848" y="439"/>
                  </a:lnTo>
                  <a:lnTo>
                    <a:pt x="1848" y="439"/>
                  </a:lnTo>
                  <a:lnTo>
                    <a:pt x="1848" y="443"/>
                  </a:lnTo>
                  <a:lnTo>
                    <a:pt x="1848" y="443"/>
                  </a:lnTo>
                  <a:lnTo>
                    <a:pt x="1848" y="443"/>
                  </a:lnTo>
                  <a:lnTo>
                    <a:pt x="1848" y="443"/>
                  </a:lnTo>
                  <a:lnTo>
                    <a:pt x="1843" y="443"/>
                  </a:lnTo>
                  <a:lnTo>
                    <a:pt x="1843" y="443"/>
                  </a:lnTo>
                  <a:lnTo>
                    <a:pt x="1843" y="443"/>
                  </a:lnTo>
                  <a:lnTo>
                    <a:pt x="1843" y="443"/>
                  </a:lnTo>
                  <a:lnTo>
                    <a:pt x="1843" y="448"/>
                  </a:lnTo>
                  <a:lnTo>
                    <a:pt x="1843" y="448"/>
                  </a:lnTo>
                  <a:lnTo>
                    <a:pt x="1843" y="448"/>
                  </a:lnTo>
                  <a:lnTo>
                    <a:pt x="1843" y="448"/>
                  </a:lnTo>
                  <a:lnTo>
                    <a:pt x="1839" y="452"/>
                  </a:lnTo>
                  <a:lnTo>
                    <a:pt x="1839" y="452"/>
                  </a:lnTo>
                  <a:lnTo>
                    <a:pt x="1843" y="448"/>
                  </a:lnTo>
                  <a:lnTo>
                    <a:pt x="1843" y="448"/>
                  </a:lnTo>
                  <a:lnTo>
                    <a:pt x="1843" y="448"/>
                  </a:lnTo>
                  <a:lnTo>
                    <a:pt x="1843" y="443"/>
                  </a:lnTo>
                  <a:lnTo>
                    <a:pt x="1839" y="443"/>
                  </a:lnTo>
                  <a:lnTo>
                    <a:pt x="1839" y="443"/>
                  </a:lnTo>
                  <a:lnTo>
                    <a:pt x="1839" y="443"/>
                  </a:lnTo>
                  <a:lnTo>
                    <a:pt x="1839" y="443"/>
                  </a:lnTo>
                  <a:lnTo>
                    <a:pt x="1834" y="443"/>
                  </a:lnTo>
                  <a:lnTo>
                    <a:pt x="1834" y="448"/>
                  </a:lnTo>
                  <a:lnTo>
                    <a:pt x="1834" y="448"/>
                  </a:lnTo>
                  <a:lnTo>
                    <a:pt x="1830" y="448"/>
                  </a:lnTo>
                  <a:lnTo>
                    <a:pt x="1830" y="448"/>
                  </a:lnTo>
                  <a:lnTo>
                    <a:pt x="1825" y="448"/>
                  </a:lnTo>
                  <a:lnTo>
                    <a:pt x="1825" y="452"/>
                  </a:lnTo>
                  <a:lnTo>
                    <a:pt x="1821" y="452"/>
                  </a:lnTo>
                  <a:lnTo>
                    <a:pt x="1816" y="452"/>
                  </a:lnTo>
                  <a:lnTo>
                    <a:pt x="1816" y="452"/>
                  </a:lnTo>
                  <a:lnTo>
                    <a:pt x="1816" y="457"/>
                  </a:lnTo>
                  <a:lnTo>
                    <a:pt x="1816" y="457"/>
                  </a:lnTo>
                  <a:lnTo>
                    <a:pt x="1812" y="457"/>
                  </a:lnTo>
                  <a:lnTo>
                    <a:pt x="1812" y="457"/>
                  </a:lnTo>
                  <a:lnTo>
                    <a:pt x="1816" y="457"/>
                  </a:lnTo>
                  <a:lnTo>
                    <a:pt x="1816" y="457"/>
                  </a:lnTo>
                  <a:lnTo>
                    <a:pt x="1816" y="452"/>
                  </a:lnTo>
                  <a:lnTo>
                    <a:pt x="1816" y="452"/>
                  </a:lnTo>
                  <a:lnTo>
                    <a:pt x="1816" y="448"/>
                  </a:lnTo>
                  <a:lnTo>
                    <a:pt x="1816" y="452"/>
                  </a:lnTo>
                  <a:lnTo>
                    <a:pt x="1816" y="452"/>
                  </a:lnTo>
                  <a:lnTo>
                    <a:pt x="1816" y="452"/>
                  </a:lnTo>
                  <a:lnTo>
                    <a:pt x="1812" y="452"/>
                  </a:lnTo>
                  <a:lnTo>
                    <a:pt x="1812" y="452"/>
                  </a:lnTo>
                  <a:lnTo>
                    <a:pt x="1812" y="452"/>
                  </a:lnTo>
                  <a:lnTo>
                    <a:pt x="1812" y="452"/>
                  </a:lnTo>
                  <a:lnTo>
                    <a:pt x="1816" y="452"/>
                  </a:lnTo>
                  <a:lnTo>
                    <a:pt x="1816" y="448"/>
                  </a:lnTo>
                  <a:lnTo>
                    <a:pt x="1816" y="448"/>
                  </a:lnTo>
                  <a:lnTo>
                    <a:pt x="1812" y="448"/>
                  </a:lnTo>
                  <a:lnTo>
                    <a:pt x="1812" y="448"/>
                  </a:lnTo>
                  <a:lnTo>
                    <a:pt x="1807" y="452"/>
                  </a:lnTo>
                  <a:lnTo>
                    <a:pt x="1807" y="457"/>
                  </a:lnTo>
                  <a:lnTo>
                    <a:pt x="1803" y="457"/>
                  </a:lnTo>
                  <a:lnTo>
                    <a:pt x="1803" y="457"/>
                  </a:lnTo>
                  <a:lnTo>
                    <a:pt x="1798" y="457"/>
                  </a:lnTo>
                  <a:lnTo>
                    <a:pt x="1794" y="457"/>
                  </a:lnTo>
                  <a:lnTo>
                    <a:pt x="1794" y="457"/>
                  </a:lnTo>
                  <a:lnTo>
                    <a:pt x="1798" y="457"/>
                  </a:lnTo>
                  <a:lnTo>
                    <a:pt x="1798" y="457"/>
                  </a:lnTo>
                  <a:lnTo>
                    <a:pt x="1803" y="457"/>
                  </a:lnTo>
                  <a:lnTo>
                    <a:pt x="1803" y="457"/>
                  </a:lnTo>
                  <a:lnTo>
                    <a:pt x="1807" y="452"/>
                  </a:lnTo>
                  <a:lnTo>
                    <a:pt x="1807" y="452"/>
                  </a:lnTo>
                  <a:lnTo>
                    <a:pt x="1812" y="448"/>
                  </a:lnTo>
                  <a:lnTo>
                    <a:pt x="1812" y="448"/>
                  </a:lnTo>
                  <a:lnTo>
                    <a:pt x="1812" y="448"/>
                  </a:lnTo>
                  <a:lnTo>
                    <a:pt x="1812" y="448"/>
                  </a:lnTo>
                  <a:lnTo>
                    <a:pt x="1812" y="448"/>
                  </a:lnTo>
                  <a:lnTo>
                    <a:pt x="1812" y="443"/>
                  </a:lnTo>
                  <a:lnTo>
                    <a:pt x="1812" y="443"/>
                  </a:lnTo>
                  <a:lnTo>
                    <a:pt x="1812" y="443"/>
                  </a:lnTo>
                  <a:lnTo>
                    <a:pt x="1812" y="439"/>
                  </a:lnTo>
                  <a:lnTo>
                    <a:pt x="1812" y="439"/>
                  </a:lnTo>
                  <a:lnTo>
                    <a:pt x="1812" y="439"/>
                  </a:lnTo>
                  <a:lnTo>
                    <a:pt x="1807" y="439"/>
                  </a:lnTo>
                  <a:lnTo>
                    <a:pt x="1807" y="439"/>
                  </a:lnTo>
                  <a:lnTo>
                    <a:pt x="1803" y="439"/>
                  </a:lnTo>
                  <a:lnTo>
                    <a:pt x="1803" y="439"/>
                  </a:lnTo>
                  <a:lnTo>
                    <a:pt x="1803" y="439"/>
                  </a:lnTo>
                  <a:lnTo>
                    <a:pt x="1798" y="443"/>
                  </a:lnTo>
                  <a:lnTo>
                    <a:pt x="1794" y="443"/>
                  </a:lnTo>
                  <a:lnTo>
                    <a:pt x="1794" y="443"/>
                  </a:lnTo>
                  <a:lnTo>
                    <a:pt x="1794" y="443"/>
                  </a:lnTo>
                  <a:lnTo>
                    <a:pt x="1789" y="443"/>
                  </a:lnTo>
                  <a:lnTo>
                    <a:pt x="1789" y="439"/>
                  </a:lnTo>
                  <a:lnTo>
                    <a:pt x="1794" y="439"/>
                  </a:lnTo>
                  <a:lnTo>
                    <a:pt x="1794" y="439"/>
                  </a:lnTo>
                  <a:lnTo>
                    <a:pt x="1794" y="439"/>
                  </a:lnTo>
                  <a:lnTo>
                    <a:pt x="1798" y="439"/>
                  </a:lnTo>
                  <a:lnTo>
                    <a:pt x="1798" y="439"/>
                  </a:lnTo>
                  <a:lnTo>
                    <a:pt x="1798" y="439"/>
                  </a:lnTo>
                  <a:lnTo>
                    <a:pt x="1798" y="439"/>
                  </a:lnTo>
                  <a:lnTo>
                    <a:pt x="1798" y="439"/>
                  </a:lnTo>
                  <a:lnTo>
                    <a:pt x="1798" y="439"/>
                  </a:lnTo>
                  <a:lnTo>
                    <a:pt x="1798" y="439"/>
                  </a:lnTo>
                  <a:lnTo>
                    <a:pt x="1798" y="439"/>
                  </a:lnTo>
                  <a:lnTo>
                    <a:pt x="1798" y="439"/>
                  </a:lnTo>
                  <a:lnTo>
                    <a:pt x="1803" y="439"/>
                  </a:lnTo>
                  <a:lnTo>
                    <a:pt x="1803" y="439"/>
                  </a:lnTo>
                  <a:lnTo>
                    <a:pt x="1803" y="434"/>
                  </a:lnTo>
                  <a:lnTo>
                    <a:pt x="1803" y="434"/>
                  </a:lnTo>
                  <a:lnTo>
                    <a:pt x="1803" y="434"/>
                  </a:lnTo>
                  <a:lnTo>
                    <a:pt x="1803" y="434"/>
                  </a:lnTo>
                  <a:lnTo>
                    <a:pt x="1803" y="434"/>
                  </a:lnTo>
                  <a:lnTo>
                    <a:pt x="1807" y="434"/>
                  </a:lnTo>
                  <a:lnTo>
                    <a:pt x="1807" y="430"/>
                  </a:lnTo>
                  <a:lnTo>
                    <a:pt x="1807" y="430"/>
                  </a:lnTo>
                  <a:lnTo>
                    <a:pt x="1803" y="430"/>
                  </a:lnTo>
                  <a:lnTo>
                    <a:pt x="1803" y="430"/>
                  </a:lnTo>
                  <a:lnTo>
                    <a:pt x="1803" y="430"/>
                  </a:lnTo>
                  <a:lnTo>
                    <a:pt x="1807" y="425"/>
                  </a:lnTo>
                  <a:lnTo>
                    <a:pt x="1807" y="425"/>
                  </a:lnTo>
                  <a:lnTo>
                    <a:pt x="1807" y="425"/>
                  </a:lnTo>
                  <a:lnTo>
                    <a:pt x="1807" y="425"/>
                  </a:lnTo>
                  <a:lnTo>
                    <a:pt x="1812" y="421"/>
                  </a:lnTo>
                  <a:lnTo>
                    <a:pt x="1812" y="421"/>
                  </a:lnTo>
                  <a:lnTo>
                    <a:pt x="1812" y="421"/>
                  </a:lnTo>
                  <a:lnTo>
                    <a:pt x="1807" y="421"/>
                  </a:lnTo>
                  <a:lnTo>
                    <a:pt x="1803" y="421"/>
                  </a:lnTo>
                  <a:lnTo>
                    <a:pt x="1803" y="421"/>
                  </a:lnTo>
                  <a:lnTo>
                    <a:pt x="1798" y="416"/>
                  </a:lnTo>
                  <a:lnTo>
                    <a:pt x="1798" y="416"/>
                  </a:lnTo>
                  <a:lnTo>
                    <a:pt x="1803" y="416"/>
                  </a:lnTo>
                  <a:lnTo>
                    <a:pt x="1807" y="416"/>
                  </a:lnTo>
                  <a:lnTo>
                    <a:pt x="1812" y="416"/>
                  </a:lnTo>
                  <a:lnTo>
                    <a:pt x="1812" y="416"/>
                  </a:lnTo>
                  <a:lnTo>
                    <a:pt x="1812" y="416"/>
                  </a:lnTo>
                  <a:lnTo>
                    <a:pt x="1812" y="416"/>
                  </a:lnTo>
                  <a:lnTo>
                    <a:pt x="1816" y="416"/>
                  </a:lnTo>
                  <a:lnTo>
                    <a:pt x="1816" y="416"/>
                  </a:lnTo>
                  <a:lnTo>
                    <a:pt x="1816" y="411"/>
                  </a:lnTo>
                  <a:lnTo>
                    <a:pt x="1816" y="411"/>
                  </a:lnTo>
                  <a:lnTo>
                    <a:pt x="1816" y="411"/>
                  </a:lnTo>
                  <a:lnTo>
                    <a:pt x="1816" y="411"/>
                  </a:lnTo>
                  <a:lnTo>
                    <a:pt x="1816" y="411"/>
                  </a:lnTo>
                  <a:lnTo>
                    <a:pt x="1816" y="407"/>
                  </a:lnTo>
                  <a:lnTo>
                    <a:pt x="1821" y="407"/>
                  </a:lnTo>
                  <a:lnTo>
                    <a:pt x="1821" y="402"/>
                  </a:lnTo>
                  <a:lnTo>
                    <a:pt x="1825" y="402"/>
                  </a:lnTo>
                  <a:lnTo>
                    <a:pt x="1825" y="402"/>
                  </a:lnTo>
                  <a:lnTo>
                    <a:pt x="1825" y="402"/>
                  </a:lnTo>
                  <a:lnTo>
                    <a:pt x="1825" y="402"/>
                  </a:lnTo>
                  <a:lnTo>
                    <a:pt x="1825" y="402"/>
                  </a:lnTo>
                  <a:lnTo>
                    <a:pt x="1825" y="398"/>
                  </a:lnTo>
                  <a:lnTo>
                    <a:pt x="1825" y="398"/>
                  </a:lnTo>
                  <a:lnTo>
                    <a:pt x="1825" y="398"/>
                  </a:lnTo>
                  <a:lnTo>
                    <a:pt x="1825" y="398"/>
                  </a:lnTo>
                  <a:lnTo>
                    <a:pt x="1825" y="398"/>
                  </a:lnTo>
                  <a:lnTo>
                    <a:pt x="1825" y="402"/>
                  </a:lnTo>
                  <a:lnTo>
                    <a:pt x="1821" y="402"/>
                  </a:lnTo>
                  <a:lnTo>
                    <a:pt x="1821" y="402"/>
                  </a:lnTo>
                  <a:lnTo>
                    <a:pt x="1821" y="402"/>
                  </a:lnTo>
                  <a:lnTo>
                    <a:pt x="1816" y="402"/>
                  </a:lnTo>
                  <a:lnTo>
                    <a:pt x="1816" y="402"/>
                  </a:lnTo>
                  <a:lnTo>
                    <a:pt x="1816" y="402"/>
                  </a:lnTo>
                  <a:lnTo>
                    <a:pt x="1816" y="398"/>
                  </a:lnTo>
                  <a:lnTo>
                    <a:pt x="1816" y="398"/>
                  </a:lnTo>
                  <a:lnTo>
                    <a:pt x="1816" y="398"/>
                  </a:lnTo>
                  <a:lnTo>
                    <a:pt x="1816" y="398"/>
                  </a:lnTo>
                  <a:lnTo>
                    <a:pt x="1816" y="398"/>
                  </a:lnTo>
                  <a:lnTo>
                    <a:pt x="1812" y="398"/>
                  </a:lnTo>
                  <a:lnTo>
                    <a:pt x="1812" y="398"/>
                  </a:lnTo>
                  <a:lnTo>
                    <a:pt x="1807" y="398"/>
                  </a:lnTo>
                  <a:lnTo>
                    <a:pt x="1807" y="398"/>
                  </a:lnTo>
                  <a:lnTo>
                    <a:pt x="1803" y="398"/>
                  </a:lnTo>
                  <a:lnTo>
                    <a:pt x="1803" y="393"/>
                  </a:lnTo>
                  <a:lnTo>
                    <a:pt x="1803" y="393"/>
                  </a:lnTo>
                  <a:lnTo>
                    <a:pt x="1803" y="393"/>
                  </a:lnTo>
                  <a:lnTo>
                    <a:pt x="1803" y="393"/>
                  </a:lnTo>
                  <a:lnTo>
                    <a:pt x="1803" y="389"/>
                  </a:lnTo>
                  <a:lnTo>
                    <a:pt x="1803" y="389"/>
                  </a:lnTo>
                  <a:lnTo>
                    <a:pt x="1803" y="389"/>
                  </a:lnTo>
                  <a:lnTo>
                    <a:pt x="1803" y="389"/>
                  </a:lnTo>
                  <a:lnTo>
                    <a:pt x="1803" y="389"/>
                  </a:lnTo>
                  <a:lnTo>
                    <a:pt x="1803" y="389"/>
                  </a:lnTo>
                  <a:lnTo>
                    <a:pt x="1807" y="389"/>
                  </a:lnTo>
                  <a:lnTo>
                    <a:pt x="1807" y="389"/>
                  </a:lnTo>
                  <a:lnTo>
                    <a:pt x="1807" y="389"/>
                  </a:lnTo>
                  <a:lnTo>
                    <a:pt x="1807" y="389"/>
                  </a:lnTo>
                  <a:lnTo>
                    <a:pt x="1807" y="384"/>
                  </a:lnTo>
                  <a:lnTo>
                    <a:pt x="1803" y="384"/>
                  </a:lnTo>
                  <a:lnTo>
                    <a:pt x="1803" y="384"/>
                  </a:lnTo>
                  <a:lnTo>
                    <a:pt x="1803" y="384"/>
                  </a:lnTo>
                  <a:lnTo>
                    <a:pt x="1798" y="389"/>
                  </a:lnTo>
                  <a:lnTo>
                    <a:pt x="1798" y="384"/>
                  </a:lnTo>
                  <a:lnTo>
                    <a:pt x="1803" y="384"/>
                  </a:lnTo>
                  <a:lnTo>
                    <a:pt x="1803" y="384"/>
                  </a:lnTo>
                  <a:lnTo>
                    <a:pt x="1803" y="384"/>
                  </a:lnTo>
                  <a:lnTo>
                    <a:pt x="1803" y="384"/>
                  </a:lnTo>
                  <a:lnTo>
                    <a:pt x="1803" y="384"/>
                  </a:lnTo>
                  <a:lnTo>
                    <a:pt x="1803" y="384"/>
                  </a:lnTo>
                  <a:lnTo>
                    <a:pt x="1803" y="384"/>
                  </a:lnTo>
                  <a:lnTo>
                    <a:pt x="1803" y="380"/>
                  </a:lnTo>
                  <a:lnTo>
                    <a:pt x="1803" y="380"/>
                  </a:lnTo>
                  <a:lnTo>
                    <a:pt x="1798" y="380"/>
                  </a:lnTo>
                  <a:lnTo>
                    <a:pt x="1798" y="380"/>
                  </a:lnTo>
                  <a:lnTo>
                    <a:pt x="1798" y="380"/>
                  </a:lnTo>
                  <a:lnTo>
                    <a:pt x="1798" y="380"/>
                  </a:lnTo>
                  <a:lnTo>
                    <a:pt x="1798" y="380"/>
                  </a:lnTo>
                  <a:lnTo>
                    <a:pt x="1803" y="380"/>
                  </a:lnTo>
                  <a:lnTo>
                    <a:pt x="1803" y="380"/>
                  </a:lnTo>
                  <a:lnTo>
                    <a:pt x="1803" y="375"/>
                  </a:lnTo>
                  <a:lnTo>
                    <a:pt x="1803" y="375"/>
                  </a:lnTo>
                  <a:lnTo>
                    <a:pt x="1803" y="375"/>
                  </a:lnTo>
                  <a:lnTo>
                    <a:pt x="1803" y="375"/>
                  </a:lnTo>
                  <a:lnTo>
                    <a:pt x="1798" y="375"/>
                  </a:lnTo>
                  <a:lnTo>
                    <a:pt x="1798" y="375"/>
                  </a:lnTo>
                  <a:lnTo>
                    <a:pt x="1798" y="375"/>
                  </a:lnTo>
                  <a:lnTo>
                    <a:pt x="1798" y="375"/>
                  </a:lnTo>
                  <a:lnTo>
                    <a:pt x="1798" y="371"/>
                  </a:lnTo>
                  <a:lnTo>
                    <a:pt x="1794" y="371"/>
                  </a:lnTo>
                  <a:lnTo>
                    <a:pt x="1794" y="371"/>
                  </a:lnTo>
                  <a:lnTo>
                    <a:pt x="1794" y="371"/>
                  </a:lnTo>
                  <a:lnTo>
                    <a:pt x="1794" y="371"/>
                  </a:lnTo>
                  <a:lnTo>
                    <a:pt x="1789" y="371"/>
                  </a:lnTo>
                  <a:lnTo>
                    <a:pt x="1789" y="371"/>
                  </a:lnTo>
                  <a:lnTo>
                    <a:pt x="1784" y="371"/>
                  </a:lnTo>
                  <a:lnTo>
                    <a:pt x="1780" y="371"/>
                  </a:lnTo>
                  <a:lnTo>
                    <a:pt x="1780" y="375"/>
                  </a:lnTo>
                  <a:lnTo>
                    <a:pt x="1775" y="375"/>
                  </a:lnTo>
                  <a:lnTo>
                    <a:pt x="1775" y="375"/>
                  </a:lnTo>
                  <a:lnTo>
                    <a:pt x="1775" y="375"/>
                  </a:lnTo>
                  <a:lnTo>
                    <a:pt x="1775" y="371"/>
                  </a:lnTo>
                  <a:lnTo>
                    <a:pt x="1775" y="371"/>
                  </a:lnTo>
                  <a:lnTo>
                    <a:pt x="1775" y="371"/>
                  </a:lnTo>
                  <a:lnTo>
                    <a:pt x="1771" y="371"/>
                  </a:lnTo>
                  <a:lnTo>
                    <a:pt x="1771" y="371"/>
                  </a:lnTo>
                  <a:lnTo>
                    <a:pt x="1771" y="371"/>
                  </a:lnTo>
                  <a:lnTo>
                    <a:pt x="1762" y="371"/>
                  </a:lnTo>
                  <a:lnTo>
                    <a:pt x="1762" y="371"/>
                  </a:lnTo>
                  <a:lnTo>
                    <a:pt x="1766" y="371"/>
                  </a:lnTo>
                  <a:lnTo>
                    <a:pt x="1766" y="371"/>
                  </a:lnTo>
                  <a:lnTo>
                    <a:pt x="1757" y="366"/>
                  </a:lnTo>
                  <a:lnTo>
                    <a:pt x="1757" y="366"/>
                  </a:lnTo>
                  <a:lnTo>
                    <a:pt x="1753" y="366"/>
                  </a:lnTo>
                  <a:lnTo>
                    <a:pt x="1748" y="366"/>
                  </a:lnTo>
                  <a:lnTo>
                    <a:pt x="1748" y="366"/>
                  </a:lnTo>
                  <a:lnTo>
                    <a:pt x="1744" y="366"/>
                  </a:lnTo>
                  <a:lnTo>
                    <a:pt x="1739" y="366"/>
                  </a:lnTo>
                  <a:lnTo>
                    <a:pt x="1739" y="366"/>
                  </a:lnTo>
                  <a:lnTo>
                    <a:pt x="1735" y="371"/>
                  </a:lnTo>
                  <a:lnTo>
                    <a:pt x="1735" y="371"/>
                  </a:lnTo>
                  <a:lnTo>
                    <a:pt x="1735" y="371"/>
                  </a:lnTo>
                  <a:lnTo>
                    <a:pt x="1730" y="375"/>
                  </a:lnTo>
                  <a:lnTo>
                    <a:pt x="1730" y="375"/>
                  </a:lnTo>
                  <a:lnTo>
                    <a:pt x="1730" y="380"/>
                  </a:lnTo>
                  <a:lnTo>
                    <a:pt x="1730" y="380"/>
                  </a:lnTo>
                  <a:lnTo>
                    <a:pt x="1730" y="380"/>
                  </a:lnTo>
                  <a:lnTo>
                    <a:pt x="1735" y="380"/>
                  </a:lnTo>
                  <a:lnTo>
                    <a:pt x="1735" y="384"/>
                  </a:lnTo>
                  <a:lnTo>
                    <a:pt x="1730" y="384"/>
                  </a:lnTo>
                  <a:lnTo>
                    <a:pt x="1730" y="384"/>
                  </a:lnTo>
                  <a:lnTo>
                    <a:pt x="1730" y="384"/>
                  </a:lnTo>
                  <a:lnTo>
                    <a:pt x="1726" y="389"/>
                  </a:lnTo>
                  <a:lnTo>
                    <a:pt x="1726" y="389"/>
                  </a:lnTo>
                  <a:lnTo>
                    <a:pt x="1726" y="389"/>
                  </a:lnTo>
                  <a:lnTo>
                    <a:pt x="1721" y="393"/>
                  </a:lnTo>
                  <a:lnTo>
                    <a:pt x="1721" y="393"/>
                  </a:lnTo>
                  <a:lnTo>
                    <a:pt x="1717" y="393"/>
                  </a:lnTo>
                  <a:lnTo>
                    <a:pt x="1717" y="398"/>
                  </a:lnTo>
                  <a:lnTo>
                    <a:pt x="1717" y="398"/>
                  </a:lnTo>
                  <a:lnTo>
                    <a:pt x="1717" y="398"/>
                  </a:lnTo>
                  <a:lnTo>
                    <a:pt x="1717" y="398"/>
                  </a:lnTo>
                  <a:lnTo>
                    <a:pt x="1721" y="398"/>
                  </a:lnTo>
                  <a:lnTo>
                    <a:pt x="1721" y="398"/>
                  </a:lnTo>
                  <a:lnTo>
                    <a:pt x="1721" y="398"/>
                  </a:lnTo>
                  <a:lnTo>
                    <a:pt x="1721" y="398"/>
                  </a:lnTo>
                  <a:lnTo>
                    <a:pt x="1717" y="398"/>
                  </a:lnTo>
                  <a:lnTo>
                    <a:pt x="1717" y="398"/>
                  </a:lnTo>
                  <a:lnTo>
                    <a:pt x="1717" y="402"/>
                  </a:lnTo>
                  <a:lnTo>
                    <a:pt x="1717" y="402"/>
                  </a:lnTo>
                  <a:lnTo>
                    <a:pt x="1721" y="402"/>
                  </a:lnTo>
                  <a:lnTo>
                    <a:pt x="1721" y="402"/>
                  </a:lnTo>
                  <a:lnTo>
                    <a:pt x="1717" y="402"/>
                  </a:lnTo>
                  <a:lnTo>
                    <a:pt x="1717" y="402"/>
                  </a:lnTo>
                  <a:lnTo>
                    <a:pt x="1717" y="407"/>
                  </a:lnTo>
                  <a:lnTo>
                    <a:pt x="1717" y="411"/>
                  </a:lnTo>
                  <a:lnTo>
                    <a:pt x="1717" y="411"/>
                  </a:lnTo>
                  <a:lnTo>
                    <a:pt x="1712" y="411"/>
                  </a:lnTo>
                  <a:lnTo>
                    <a:pt x="1712" y="411"/>
                  </a:lnTo>
                  <a:lnTo>
                    <a:pt x="1712" y="411"/>
                  </a:lnTo>
                  <a:lnTo>
                    <a:pt x="1717" y="411"/>
                  </a:lnTo>
                  <a:lnTo>
                    <a:pt x="1717" y="411"/>
                  </a:lnTo>
                  <a:lnTo>
                    <a:pt x="1712" y="411"/>
                  </a:lnTo>
                  <a:lnTo>
                    <a:pt x="1712" y="416"/>
                  </a:lnTo>
                  <a:lnTo>
                    <a:pt x="1712" y="416"/>
                  </a:lnTo>
                  <a:lnTo>
                    <a:pt x="1712" y="416"/>
                  </a:lnTo>
                  <a:lnTo>
                    <a:pt x="1708" y="416"/>
                  </a:lnTo>
                  <a:lnTo>
                    <a:pt x="1708" y="416"/>
                  </a:lnTo>
                  <a:lnTo>
                    <a:pt x="1708" y="421"/>
                  </a:lnTo>
                  <a:lnTo>
                    <a:pt x="1708" y="421"/>
                  </a:lnTo>
                  <a:lnTo>
                    <a:pt x="1708" y="421"/>
                  </a:lnTo>
                  <a:lnTo>
                    <a:pt x="1708" y="416"/>
                  </a:lnTo>
                  <a:lnTo>
                    <a:pt x="1703" y="416"/>
                  </a:lnTo>
                  <a:lnTo>
                    <a:pt x="1703" y="416"/>
                  </a:lnTo>
                  <a:lnTo>
                    <a:pt x="1703" y="421"/>
                  </a:lnTo>
                  <a:lnTo>
                    <a:pt x="1703" y="421"/>
                  </a:lnTo>
                  <a:lnTo>
                    <a:pt x="1703" y="421"/>
                  </a:lnTo>
                  <a:lnTo>
                    <a:pt x="1699" y="421"/>
                  </a:lnTo>
                  <a:lnTo>
                    <a:pt x="1703" y="421"/>
                  </a:lnTo>
                  <a:lnTo>
                    <a:pt x="1699" y="425"/>
                  </a:lnTo>
                  <a:lnTo>
                    <a:pt x="1699" y="425"/>
                  </a:lnTo>
                  <a:lnTo>
                    <a:pt x="1694" y="425"/>
                  </a:lnTo>
                  <a:lnTo>
                    <a:pt x="1694" y="425"/>
                  </a:lnTo>
                  <a:lnTo>
                    <a:pt x="1694" y="430"/>
                  </a:lnTo>
                  <a:lnTo>
                    <a:pt x="1690" y="430"/>
                  </a:lnTo>
                  <a:lnTo>
                    <a:pt x="1685" y="430"/>
                  </a:lnTo>
                  <a:lnTo>
                    <a:pt x="1685" y="434"/>
                  </a:lnTo>
                  <a:lnTo>
                    <a:pt x="1685" y="434"/>
                  </a:lnTo>
                  <a:lnTo>
                    <a:pt x="1685" y="434"/>
                  </a:lnTo>
                  <a:lnTo>
                    <a:pt x="1681" y="434"/>
                  </a:lnTo>
                  <a:lnTo>
                    <a:pt x="1681" y="434"/>
                  </a:lnTo>
                  <a:lnTo>
                    <a:pt x="1681" y="439"/>
                  </a:lnTo>
                  <a:lnTo>
                    <a:pt x="1681" y="439"/>
                  </a:lnTo>
                  <a:lnTo>
                    <a:pt x="1685" y="443"/>
                  </a:lnTo>
                  <a:lnTo>
                    <a:pt x="1685" y="443"/>
                  </a:lnTo>
                  <a:lnTo>
                    <a:pt x="1685" y="443"/>
                  </a:lnTo>
                  <a:lnTo>
                    <a:pt x="1690" y="443"/>
                  </a:lnTo>
                  <a:lnTo>
                    <a:pt x="1690" y="448"/>
                  </a:lnTo>
                  <a:lnTo>
                    <a:pt x="1690" y="448"/>
                  </a:lnTo>
                  <a:lnTo>
                    <a:pt x="1690" y="452"/>
                  </a:lnTo>
                  <a:lnTo>
                    <a:pt x="1690" y="457"/>
                  </a:lnTo>
                  <a:lnTo>
                    <a:pt x="1690" y="457"/>
                  </a:lnTo>
                  <a:lnTo>
                    <a:pt x="1690" y="461"/>
                  </a:lnTo>
                  <a:lnTo>
                    <a:pt x="1690" y="466"/>
                  </a:lnTo>
                  <a:lnTo>
                    <a:pt x="1685" y="466"/>
                  </a:lnTo>
                  <a:lnTo>
                    <a:pt x="1685" y="470"/>
                  </a:lnTo>
                  <a:lnTo>
                    <a:pt x="1681" y="475"/>
                  </a:lnTo>
                  <a:lnTo>
                    <a:pt x="1681" y="479"/>
                  </a:lnTo>
                  <a:lnTo>
                    <a:pt x="1676" y="479"/>
                  </a:lnTo>
                  <a:lnTo>
                    <a:pt x="1676" y="484"/>
                  </a:lnTo>
                  <a:lnTo>
                    <a:pt x="1672" y="484"/>
                  </a:lnTo>
                  <a:lnTo>
                    <a:pt x="1672" y="488"/>
                  </a:lnTo>
                  <a:lnTo>
                    <a:pt x="1667" y="488"/>
                  </a:lnTo>
                  <a:lnTo>
                    <a:pt x="1663" y="493"/>
                  </a:lnTo>
                  <a:lnTo>
                    <a:pt x="1663" y="493"/>
                  </a:lnTo>
                  <a:lnTo>
                    <a:pt x="1658" y="493"/>
                  </a:lnTo>
                  <a:lnTo>
                    <a:pt x="1649" y="497"/>
                  </a:lnTo>
                  <a:lnTo>
                    <a:pt x="1649" y="502"/>
                  </a:lnTo>
                  <a:lnTo>
                    <a:pt x="1644" y="502"/>
                  </a:lnTo>
                  <a:lnTo>
                    <a:pt x="1640" y="502"/>
                  </a:lnTo>
                  <a:lnTo>
                    <a:pt x="1640" y="502"/>
                  </a:lnTo>
                  <a:lnTo>
                    <a:pt x="1635" y="506"/>
                  </a:lnTo>
                  <a:lnTo>
                    <a:pt x="1631" y="506"/>
                  </a:lnTo>
                  <a:lnTo>
                    <a:pt x="1626" y="506"/>
                  </a:lnTo>
                  <a:lnTo>
                    <a:pt x="1617" y="511"/>
                  </a:lnTo>
                  <a:lnTo>
                    <a:pt x="1613" y="511"/>
                  </a:lnTo>
                  <a:lnTo>
                    <a:pt x="1613" y="511"/>
                  </a:lnTo>
                  <a:lnTo>
                    <a:pt x="1613" y="511"/>
                  </a:lnTo>
                  <a:lnTo>
                    <a:pt x="1613" y="511"/>
                  </a:lnTo>
                  <a:lnTo>
                    <a:pt x="1613" y="511"/>
                  </a:lnTo>
                  <a:lnTo>
                    <a:pt x="1613" y="511"/>
                  </a:lnTo>
                  <a:lnTo>
                    <a:pt x="1613" y="515"/>
                  </a:lnTo>
                  <a:lnTo>
                    <a:pt x="1613" y="515"/>
                  </a:lnTo>
                  <a:lnTo>
                    <a:pt x="1613" y="515"/>
                  </a:lnTo>
                  <a:lnTo>
                    <a:pt x="1613" y="520"/>
                  </a:lnTo>
                  <a:lnTo>
                    <a:pt x="1613" y="520"/>
                  </a:lnTo>
                  <a:lnTo>
                    <a:pt x="1617" y="520"/>
                  </a:lnTo>
                  <a:lnTo>
                    <a:pt x="1617" y="520"/>
                  </a:lnTo>
                  <a:lnTo>
                    <a:pt x="1613" y="520"/>
                  </a:lnTo>
                  <a:lnTo>
                    <a:pt x="1613" y="520"/>
                  </a:lnTo>
                  <a:lnTo>
                    <a:pt x="1617" y="520"/>
                  </a:lnTo>
                  <a:lnTo>
                    <a:pt x="1617" y="525"/>
                  </a:lnTo>
                  <a:lnTo>
                    <a:pt x="1617" y="525"/>
                  </a:lnTo>
                  <a:lnTo>
                    <a:pt x="1613" y="525"/>
                  </a:lnTo>
                  <a:lnTo>
                    <a:pt x="1613" y="525"/>
                  </a:lnTo>
                  <a:lnTo>
                    <a:pt x="1613" y="525"/>
                  </a:lnTo>
                  <a:lnTo>
                    <a:pt x="1613" y="525"/>
                  </a:lnTo>
                  <a:lnTo>
                    <a:pt x="1613" y="525"/>
                  </a:lnTo>
                  <a:lnTo>
                    <a:pt x="1613" y="525"/>
                  </a:lnTo>
                  <a:lnTo>
                    <a:pt x="1613" y="525"/>
                  </a:lnTo>
                  <a:lnTo>
                    <a:pt x="1613" y="529"/>
                  </a:lnTo>
                  <a:lnTo>
                    <a:pt x="1608" y="529"/>
                  </a:lnTo>
                  <a:lnTo>
                    <a:pt x="1608" y="529"/>
                  </a:lnTo>
                  <a:lnTo>
                    <a:pt x="1608" y="529"/>
                  </a:lnTo>
                  <a:lnTo>
                    <a:pt x="1608" y="534"/>
                  </a:lnTo>
                  <a:lnTo>
                    <a:pt x="1608" y="538"/>
                  </a:lnTo>
                  <a:lnTo>
                    <a:pt x="1604" y="543"/>
                  </a:lnTo>
                  <a:lnTo>
                    <a:pt x="1604" y="543"/>
                  </a:lnTo>
                  <a:lnTo>
                    <a:pt x="1604" y="543"/>
                  </a:lnTo>
                  <a:lnTo>
                    <a:pt x="1604" y="543"/>
                  </a:lnTo>
                  <a:lnTo>
                    <a:pt x="1604" y="547"/>
                  </a:lnTo>
                  <a:lnTo>
                    <a:pt x="1604" y="547"/>
                  </a:lnTo>
                  <a:lnTo>
                    <a:pt x="1604" y="547"/>
                  </a:lnTo>
                  <a:lnTo>
                    <a:pt x="1604" y="547"/>
                  </a:lnTo>
                  <a:lnTo>
                    <a:pt x="1604" y="552"/>
                  </a:lnTo>
                  <a:lnTo>
                    <a:pt x="1604" y="552"/>
                  </a:lnTo>
                  <a:lnTo>
                    <a:pt x="1604" y="552"/>
                  </a:lnTo>
                  <a:lnTo>
                    <a:pt x="1604" y="556"/>
                  </a:lnTo>
                  <a:lnTo>
                    <a:pt x="1599" y="556"/>
                  </a:lnTo>
                  <a:lnTo>
                    <a:pt x="1604" y="556"/>
                  </a:lnTo>
                  <a:lnTo>
                    <a:pt x="1599" y="556"/>
                  </a:lnTo>
                  <a:lnTo>
                    <a:pt x="1599" y="556"/>
                  </a:lnTo>
                  <a:lnTo>
                    <a:pt x="1599" y="556"/>
                  </a:lnTo>
                  <a:lnTo>
                    <a:pt x="1595" y="561"/>
                  </a:lnTo>
                  <a:lnTo>
                    <a:pt x="1595" y="561"/>
                  </a:lnTo>
                  <a:lnTo>
                    <a:pt x="1590" y="561"/>
                  </a:lnTo>
                  <a:lnTo>
                    <a:pt x="1590" y="565"/>
                  </a:lnTo>
                  <a:lnTo>
                    <a:pt x="1590" y="565"/>
                  </a:lnTo>
                  <a:lnTo>
                    <a:pt x="1590" y="565"/>
                  </a:lnTo>
                  <a:lnTo>
                    <a:pt x="1590" y="565"/>
                  </a:lnTo>
                  <a:lnTo>
                    <a:pt x="1590" y="570"/>
                  </a:lnTo>
                  <a:lnTo>
                    <a:pt x="1590" y="570"/>
                  </a:lnTo>
                  <a:lnTo>
                    <a:pt x="1590" y="570"/>
                  </a:lnTo>
                  <a:lnTo>
                    <a:pt x="1586" y="570"/>
                  </a:lnTo>
                  <a:lnTo>
                    <a:pt x="1586" y="574"/>
                  </a:lnTo>
                  <a:lnTo>
                    <a:pt x="1586" y="574"/>
                  </a:lnTo>
                  <a:lnTo>
                    <a:pt x="1581" y="574"/>
                  </a:lnTo>
                  <a:lnTo>
                    <a:pt x="1586" y="574"/>
                  </a:lnTo>
                  <a:lnTo>
                    <a:pt x="1586" y="574"/>
                  </a:lnTo>
                  <a:lnTo>
                    <a:pt x="1586" y="570"/>
                  </a:lnTo>
                  <a:lnTo>
                    <a:pt x="1586" y="570"/>
                  </a:lnTo>
                  <a:lnTo>
                    <a:pt x="1586" y="570"/>
                  </a:lnTo>
                  <a:lnTo>
                    <a:pt x="1586" y="570"/>
                  </a:lnTo>
                  <a:lnTo>
                    <a:pt x="1581" y="570"/>
                  </a:lnTo>
                  <a:lnTo>
                    <a:pt x="1581" y="570"/>
                  </a:lnTo>
                  <a:lnTo>
                    <a:pt x="1581" y="570"/>
                  </a:lnTo>
                  <a:lnTo>
                    <a:pt x="1581" y="565"/>
                  </a:lnTo>
                  <a:lnTo>
                    <a:pt x="1581" y="570"/>
                  </a:lnTo>
                  <a:lnTo>
                    <a:pt x="1577" y="570"/>
                  </a:lnTo>
                  <a:lnTo>
                    <a:pt x="1577" y="570"/>
                  </a:lnTo>
                  <a:lnTo>
                    <a:pt x="1577" y="570"/>
                  </a:lnTo>
                  <a:lnTo>
                    <a:pt x="1577" y="570"/>
                  </a:lnTo>
                  <a:lnTo>
                    <a:pt x="1572" y="574"/>
                  </a:lnTo>
                  <a:lnTo>
                    <a:pt x="1572" y="574"/>
                  </a:lnTo>
                  <a:lnTo>
                    <a:pt x="1572" y="574"/>
                  </a:lnTo>
                  <a:lnTo>
                    <a:pt x="1572" y="574"/>
                  </a:lnTo>
                  <a:lnTo>
                    <a:pt x="1572" y="579"/>
                  </a:lnTo>
                  <a:lnTo>
                    <a:pt x="1572" y="579"/>
                  </a:lnTo>
                  <a:lnTo>
                    <a:pt x="1572" y="579"/>
                  </a:lnTo>
                  <a:lnTo>
                    <a:pt x="1572" y="583"/>
                  </a:lnTo>
                  <a:lnTo>
                    <a:pt x="1572" y="583"/>
                  </a:lnTo>
                  <a:lnTo>
                    <a:pt x="1572" y="583"/>
                  </a:lnTo>
                  <a:lnTo>
                    <a:pt x="1572" y="579"/>
                  </a:lnTo>
                  <a:lnTo>
                    <a:pt x="1572" y="574"/>
                  </a:lnTo>
                  <a:lnTo>
                    <a:pt x="1568" y="574"/>
                  </a:lnTo>
                  <a:lnTo>
                    <a:pt x="1568" y="574"/>
                  </a:lnTo>
                  <a:lnTo>
                    <a:pt x="1568" y="574"/>
                  </a:lnTo>
                  <a:lnTo>
                    <a:pt x="1563" y="574"/>
                  </a:lnTo>
                  <a:lnTo>
                    <a:pt x="1563" y="574"/>
                  </a:lnTo>
                  <a:lnTo>
                    <a:pt x="1559" y="574"/>
                  </a:lnTo>
                  <a:lnTo>
                    <a:pt x="1559" y="574"/>
                  </a:lnTo>
                  <a:lnTo>
                    <a:pt x="1554" y="574"/>
                  </a:lnTo>
                  <a:lnTo>
                    <a:pt x="1559" y="574"/>
                  </a:lnTo>
                  <a:lnTo>
                    <a:pt x="1563" y="570"/>
                  </a:lnTo>
                  <a:lnTo>
                    <a:pt x="1563" y="570"/>
                  </a:lnTo>
                  <a:lnTo>
                    <a:pt x="1563" y="570"/>
                  </a:lnTo>
                  <a:lnTo>
                    <a:pt x="1563" y="570"/>
                  </a:lnTo>
                  <a:lnTo>
                    <a:pt x="1568" y="565"/>
                  </a:lnTo>
                  <a:lnTo>
                    <a:pt x="1568" y="565"/>
                  </a:lnTo>
                  <a:lnTo>
                    <a:pt x="1568" y="561"/>
                  </a:lnTo>
                  <a:lnTo>
                    <a:pt x="1563" y="561"/>
                  </a:lnTo>
                  <a:lnTo>
                    <a:pt x="1563" y="556"/>
                  </a:lnTo>
                  <a:lnTo>
                    <a:pt x="1563" y="556"/>
                  </a:lnTo>
                  <a:lnTo>
                    <a:pt x="1559" y="556"/>
                  </a:lnTo>
                  <a:lnTo>
                    <a:pt x="1559" y="556"/>
                  </a:lnTo>
                  <a:lnTo>
                    <a:pt x="1559" y="552"/>
                  </a:lnTo>
                  <a:lnTo>
                    <a:pt x="1559" y="552"/>
                  </a:lnTo>
                  <a:lnTo>
                    <a:pt x="1554" y="556"/>
                  </a:lnTo>
                  <a:lnTo>
                    <a:pt x="1554" y="552"/>
                  </a:lnTo>
                  <a:lnTo>
                    <a:pt x="1559" y="552"/>
                  </a:lnTo>
                  <a:lnTo>
                    <a:pt x="1559" y="552"/>
                  </a:lnTo>
                  <a:lnTo>
                    <a:pt x="1559" y="552"/>
                  </a:lnTo>
                  <a:lnTo>
                    <a:pt x="1559" y="552"/>
                  </a:lnTo>
                  <a:lnTo>
                    <a:pt x="1563" y="552"/>
                  </a:lnTo>
                  <a:lnTo>
                    <a:pt x="1559" y="547"/>
                  </a:lnTo>
                  <a:lnTo>
                    <a:pt x="1559" y="547"/>
                  </a:lnTo>
                  <a:lnTo>
                    <a:pt x="1559" y="543"/>
                  </a:lnTo>
                  <a:lnTo>
                    <a:pt x="1559" y="543"/>
                  </a:lnTo>
                  <a:lnTo>
                    <a:pt x="1559" y="538"/>
                  </a:lnTo>
                  <a:lnTo>
                    <a:pt x="1559" y="538"/>
                  </a:lnTo>
                  <a:lnTo>
                    <a:pt x="1559" y="538"/>
                  </a:lnTo>
                  <a:lnTo>
                    <a:pt x="1559" y="538"/>
                  </a:lnTo>
                  <a:lnTo>
                    <a:pt x="1563" y="534"/>
                  </a:lnTo>
                  <a:lnTo>
                    <a:pt x="1563" y="534"/>
                  </a:lnTo>
                  <a:lnTo>
                    <a:pt x="1563" y="534"/>
                  </a:lnTo>
                  <a:lnTo>
                    <a:pt x="1563" y="534"/>
                  </a:lnTo>
                  <a:lnTo>
                    <a:pt x="1568" y="529"/>
                  </a:lnTo>
                  <a:lnTo>
                    <a:pt x="1568" y="529"/>
                  </a:lnTo>
                  <a:lnTo>
                    <a:pt x="1568" y="525"/>
                  </a:lnTo>
                  <a:lnTo>
                    <a:pt x="1572" y="525"/>
                  </a:lnTo>
                  <a:lnTo>
                    <a:pt x="1572" y="520"/>
                  </a:lnTo>
                  <a:lnTo>
                    <a:pt x="1572" y="520"/>
                  </a:lnTo>
                  <a:lnTo>
                    <a:pt x="1572" y="520"/>
                  </a:lnTo>
                  <a:lnTo>
                    <a:pt x="1572" y="515"/>
                  </a:lnTo>
                  <a:lnTo>
                    <a:pt x="1572" y="515"/>
                  </a:lnTo>
                  <a:lnTo>
                    <a:pt x="1572" y="511"/>
                  </a:lnTo>
                  <a:lnTo>
                    <a:pt x="1577" y="511"/>
                  </a:lnTo>
                  <a:lnTo>
                    <a:pt x="1581" y="506"/>
                  </a:lnTo>
                  <a:lnTo>
                    <a:pt x="1581" y="502"/>
                  </a:lnTo>
                  <a:lnTo>
                    <a:pt x="1586" y="502"/>
                  </a:lnTo>
                  <a:lnTo>
                    <a:pt x="1586" y="502"/>
                  </a:lnTo>
                  <a:lnTo>
                    <a:pt x="1581" y="497"/>
                  </a:lnTo>
                  <a:lnTo>
                    <a:pt x="1581" y="497"/>
                  </a:lnTo>
                  <a:lnTo>
                    <a:pt x="1581" y="497"/>
                  </a:lnTo>
                  <a:lnTo>
                    <a:pt x="1577" y="497"/>
                  </a:lnTo>
                  <a:lnTo>
                    <a:pt x="1577" y="497"/>
                  </a:lnTo>
                  <a:lnTo>
                    <a:pt x="1577" y="497"/>
                  </a:lnTo>
                  <a:lnTo>
                    <a:pt x="1577" y="497"/>
                  </a:lnTo>
                  <a:lnTo>
                    <a:pt x="1572" y="493"/>
                  </a:lnTo>
                  <a:lnTo>
                    <a:pt x="1568" y="493"/>
                  </a:lnTo>
                  <a:lnTo>
                    <a:pt x="1568" y="493"/>
                  </a:lnTo>
                  <a:lnTo>
                    <a:pt x="1568" y="493"/>
                  </a:lnTo>
                  <a:lnTo>
                    <a:pt x="1563" y="493"/>
                  </a:lnTo>
                  <a:lnTo>
                    <a:pt x="1563" y="493"/>
                  </a:lnTo>
                  <a:lnTo>
                    <a:pt x="1563" y="493"/>
                  </a:lnTo>
                  <a:lnTo>
                    <a:pt x="1559" y="493"/>
                  </a:lnTo>
                  <a:lnTo>
                    <a:pt x="1559" y="493"/>
                  </a:lnTo>
                  <a:lnTo>
                    <a:pt x="1554" y="493"/>
                  </a:lnTo>
                  <a:lnTo>
                    <a:pt x="1554" y="493"/>
                  </a:lnTo>
                  <a:lnTo>
                    <a:pt x="1550" y="493"/>
                  </a:lnTo>
                  <a:lnTo>
                    <a:pt x="1550" y="493"/>
                  </a:lnTo>
                  <a:lnTo>
                    <a:pt x="1550" y="493"/>
                  </a:lnTo>
                  <a:lnTo>
                    <a:pt x="1545" y="497"/>
                  </a:lnTo>
                  <a:lnTo>
                    <a:pt x="1545" y="497"/>
                  </a:lnTo>
                  <a:lnTo>
                    <a:pt x="1550" y="493"/>
                  </a:lnTo>
                  <a:lnTo>
                    <a:pt x="1550" y="493"/>
                  </a:lnTo>
                  <a:lnTo>
                    <a:pt x="1550" y="493"/>
                  </a:lnTo>
                  <a:lnTo>
                    <a:pt x="1550" y="488"/>
                  </a:lnTo>
                  <a:lnTo>
                    <a:pt x="1550" y="488"/>
                  </a:lnTo>
                  <a:lnTo>
                    <a:pt x="1550" y="488"/>
                  </a:lnTo>
                  <a:lnTo>
                    <a:pt x="1550" y="488"/>
                  </a:lnTo>
                  <a:lnTo>
                    <a:pt x="1545" y="484"/>
                  </a:lnTo>
                  <a:lnTo>
                    <a:pt x="1545" y="484"/>
                  </a:lnTo>
                  <a:lnTo>
                    <a:pt x="1545" y="484"/>
                  </a:lnTo>
                  <a:lnTo>
                    <a:pt x="1541" y="484"/>
                  </a:lnTo>
                  <a:lnTo>
                    <a:pt x="1536" y="479"/>
                  </a:lnTo>
                  <a:lnTo>
                    <a:pt x="1532" y="479"/>
                  </a:lnTo>
                  <a:lnTo>
                    <a:pt x="1532" y="475"/>
                  </a:lnTo>
                  <a:lnTo>
                    <a:pt x="1527" y="475"/>
                  </a:lnTo>
                  <a:lnTo>
                    <a:pt x="1527" y="470"/>
                  </a:lnTo>
                  <a:lnTo>
                    <a:pt x="1527" y="466"/>
                  </a:lnTo>
                  <a:lnTo>
                    <a:pt x="1527" y="466"/>
                  </a:lnTo>
                  <a:lnTo>
                    <a:pt x="1527" y="466"/>
                  </a:lnTo>
                  <a:lnTo>
                    <a:pt x="1522" y="461"/>
                  </a:lnTo>
                  <a:lnTo>
                    <a:pt x="1522" y="461"/>
                  </a:lnTo>
                  <a:lnTo>
                    <a:pt x="1522" y="461"/>
                  </a:lnTo>
                  <a:lnTo>
                    <a:pt x="1518" y="461"/>
                  </a:lnTo>
                  <a:lnTo>
                    <a:pt x="1518" y="457"/>
                  </a:lnTo>
                  <a:lnTo>
                    <a:pt x="1513" y="457"/>
                  </a:lnTo>
                  <a:lnTo>
                    <a:pt x="1513" y="457"/>
                  </a:lnTo>
                  <a:lnTo>
                    <a:pt x="1509" y="452"/>
                  </a:lnTo>
                  <a:lnTo>
                    <a:pt x="1509" y="452"/>
                  </a:lnTo>
                  <a:lnTo>
                    <a:pt x="1504" y="452"/>
                  </a:lnTo>
                  <a:lnTo>
                    <a:pt x="1500" y="452"/>
                  </a:lnTo>
                  <a:lnTo>
                    <a:pt x="1486" y="452"/>
                  </a:lnTo>
                  <a:lnTo>
                    <a:pt x="1482" y="452"/>
                  </a:lnTo>
                  <a:lnTo>
                    <a:pt x="1482" y="452"/>
                  </a:lnTo>
                  <a:lnTo>
                    <a:pt x="1482" y="452"/>
                  </a:lnTo>
                  <a:lnTo>
                    <a:pt x="1482" y="452"/>
                  </a:lnTo>
                  <a:lnTo>
                    <a:pt x="1482" y="452"/>
                  </a:lnTo>
                  <a:lnTo>
                    <a:pt x="1482" y="452"/>
                  </a:lnTo>
                  <a:lnTo>
                    <a:pt x="1482" y="452"/>
                  </a:lnTo>
                  <a:lnTo>
                    <a:pt x="1477" y="452"/>
                  </a:lnTo>
                  <a:lnTo>
                    <a:pt x="1477" y="452"/>
                  </a:lnTo>
                  <a:lnTo>
                    <a:pt x="1473" y="457"/>
                  </a:lnTo>
                  <a:lnTo>
                    <a:pt x="1473" y="452"/>
                  </a:lnTo>
                  <a:lnTo>
                    <a:pt x="1477" y="452"/>
                  </a:lnTo>
                  <a:lnTo>
                    <a:pt x="1477" y="452"/>
                  </a:lnTo>
                  <a:lnTo>
                    <a:pt x="1477" y="452"/>
                  </a:lnTo>
                  <a:lnTo>
                    <a:pt x="1482" y="452"/>
                  </a:lnTo>
                  <a:lnTo>
                    <a:pt x="1482" y="448"/>
                  </a:lnTo>
                  <a:lnTo>
                    <a:pt x="1486" y="448"/>
                  </a:lnTo>
                  <a:lnTo>
                    <a:pt x="1486" y="448"/>
                  </a:lnTo>
                  <a:lnTo>
                    <a:pt x="1486" y="448"/>
                  </a:lnTo>
                  <a:lnTo>
                    <a:pt x="1486" y="443"/>
                  </a:lnTo>
                  <a:lnTo>
                    <a:pt x="1491" y="439"/>
                  </a:lnTo>
                  <a:lnTo>
                    <a:pt x="1491" y="439"/>
                  </a:lnTo>
                  <a:lnTo>
                    <a:pt x="1491" y="434"/>
                  </a:lnTo>
                  <a:lnTo>
                    <a:pt x="1491" y="430"/>
                  </a:lnTo>
                  <a:lnTo>
                    <a:pt x="1495" y="425"/>
                  </a:lnTo>
                  <a:lnTo>
                    <a:pt x="1495" y="425"/>
                  </a:lnTo>
                  <a:lnTo>
                    <a:pt x="1495" y="421"/>
                  </a:lnTo>
                  <a:lnTo>
                    <a:pt x="1500" y="421"/>
                  </a:lnTo>
                  <a:lnTo>
                    <a:pt x="1495" y="421"/>
                  </a:lnTo>
                  <a:lnTo>
                    <a:pt x="1495" y="421"/>
                  </a:lnTo>
                  <a:lnTo>
                    <a:pt x="1495" y="421"/>
                  </a:lnTo>
                  <a:lnTo>
                    <a:pt x="1491" y="421"/>
                  </a:lnTo>
                  <a:lnTo>
                    <a:pt x="1486" y="421"/>
                  </a:lnTo>
                  <a:lnTo>
                    <a:pt x="1486" y="421"/>
                  </a:lnTo>
                  <a:lnTo>
                    <a:pt x="1482" y="421"/>
                  </a:lnTo>
                  <a:lnTo>
                    <a:pt x="1477" y="425"/>
                  </a:lnTo>
                  <a:lnTo>
                    <a:pt x="1477" y="430"/>
                  </a:lnTo>
                  <a:lnTo>
                    <a:pt x="1477" y="425"/>
                  </a:lnTo>
                  <a:lnTo>
                    <a:pt x="1482" y="421"/>
                  </a:lnTo>
                  <a:lnTo>
                    <a:pt x="1482" y="421"/>
                  </a:lnTo>
                  <a:lnTo>
                    <a:pt x="1482" y="421"/>
                  </a:lnTo>
                  <a:lnTo>
                    <a:pt x="1482" y="416"/>
                  </a:lnTo>
                  <a:lnTo>
                    <a:pt x="1482" y="416"/>
                  </a:lnTo>
                  <a:lnTo>
                    <a:pt x="1482" y="416"/>
                  </a:lnTo>
                  <a:lnTo>
                    <a:pt x="1482" y="416"/>
                  </a:lnTo>
                  <a:lnTo>
                    <a:pt x="1482" y="416"/>
                  </a:lnTo>
                  <a:lnTo>
                    <a:pt x="1482" y="416"/>
                  </a:lnTo>
                  <a:lnTo>
                    <a:pt x="1482" y="411"/>
                  </a:lnTo>
                  <a:lnTo>
                    <a:pt x="1482" y="411"/>
                  </a:lnTo>
                  <a:lnTo>
                    <a:pt x="1482" y="411"/>
                  </a:lnTo>
                  <a:lnTo>
                    <a:pt x="1482" y="411"/>
                  </a:lnTo>
                  <a:lnTo>
                    <a:pt x="1486" y="411"/>
                  </a:lnTo>
                  <a:lnTo>
                    <a:pt x="1486" y="407"/>
                  </a:lnTo>
                  <a:lnTo>
                    <a:pt x="1491" y="407"/>
                  </a:lnTo>
                  <a:lnTo>
                    <a:pt x="1495" y="398"/>
                  </a:lnTo>
                  <a:lnTo>
                    <a:pt x="1500" y="393"/>
                  </a:lnTo>
                  <a:lnTo>
                    <a:pt x="1504" y="389"/>
                  </a:lnTo>
                  <a:lnTo>
                    <a:pt x="1509" y="389"/>
                  </a:lnTo>
                  <a:lnTo>
                    <a:pt x="1509" y="389"/>
                  </a:lnTo>
                  <a:lnTo>
                    <a:pt x="1509" y="389"/>
                  </a:lnTo>
                  <a:lnTo>
                    <a:pt x="1509" y="384"/>
                  </a:lnTo>
                  <a:lnTo>
                    <a:pt x="1509" y="384"/>
                  </a:lnTo>
                  <a:lnTo>
                    <a:pt x="1509" y="384"/>
                  </a:lnTo>
                  <a:lnTo>
                    <a:pt x="1513" y="384"/>
                  </a:lnTo>
                  <a:lnTo>
                    <a:pt x="1513" y="384"/>
                  </a:lnTo>
                  <a:lnTo>
                    <a:pt x="1518" y="380"/>
                  </a:lnTo>
                  <a:lnTo>
                    <a:pt x="1522" y="375"/>
                  </a:lnTo>
                  <a:lnTo>
                    <a:pt x="1527" y="375"/>
                  </a:lnTo>
                  <a:lnTo>
                    <a:pt x="1527" y="375"/>
                  </a:lnTo>
                  <a:lnTo>
                    <a:pt x="1527" y="371"/>
                  </a:lnTo>
                  <a:lnTo>
                    <a:pt x="1527" y="371"/>
                  </a:lnTo>
                  <a:lnTo>
                    <a:pt x="1527" y="371"/>
                  </a:lnTo>
                  <a:lnTo>
                    <a:pt x="1532" y="371"/>
                  </a:lnTo>
                  <a:lnTo>
                    <a:pt x="1532" y="371"/>
                  </a:lnTo>
                  <a:lnTo>
                    <a:pt x="1532" y="371"/>
                  </a:lnTo>
                  <a:lnTo>
                    <a:pt x="1532" y="371"/>
                  </a:lnTo>
                  <a:lnTo>
                    <a:pt x="1532" y="371"/>
                  </a:lnTo>
                  <a:lnTo>
                    <a:pt x="1536" y="366"/>
                  </a:lnTo>
                  <a:lnTo>
                    <a:pt x="1545" y="366"/>
                  </a:lnTo>
                  <a:lnTo>
                    <a:pt x="1545" y="366"/>
                  </a:lnTo>
                  <a:lnTo>
                    <a:pt x="1545" y="366"/>
                  </a:lnTo>
                  <a:lnTo>
                    <a:pt x="1545" y="366"/>
                  </a:lnTo>
                  <a:lnTo>
                    <a:pt x="1545" y="362"/>
                  </a:lnTo>
                  <a:lnTo>
                    <a:pt x="1545" y="362"/>
                  </a:lnTo>
                  <a:lnTo>
                    <a:pt x="1545" y="362"/>
                  </a:lnTo>
                  <a:lnTo>
                    <a:pt x="1545" y="362"/>
                  </a:lnTo>
                  <a:lnTo>
                    <a:pt x="1550" y="362"/>
                  </a:lnTo>
                  <a:lnTo>
                    <a:pt x="1550" y="362"/>
                  </a:lnTo>
                  <a:lnTo>
                    <a:pt x="1550" y="362"/>
                  </a:lnTo>
                  <a:lnTo>
                    <a:pt x="1550" y="362"/>
                  </a:lnTo>
                  <a:lnTo>
                    <a:pt x="1550" y="362"/>
                  </a:lnTo>
                  <a:lnTo>
                    <a:pt x="1550" y="362"/>
                  </a:lnTo>
                  <a:lnTo>
                    <a:pt x="1550" y="362"/>
                  </a:lnTo>
                  <a:lnTo>
                    <a:pt x="1554" y="357"/>
                  </a:lnTo>
                  <a:lnTo>
                    <a:pt x="1554" y="357"/>
                  </a:lnTo>
                  <a:lnTo>
                    <a:pt x="1554" y="357"/>
                  </a:lnTo>
                  <a:lnTo>
                    <a:pt x="1554" y="357"/>
                  </a:lnTo>
                  <a:lnTo>
                    <a:pt x="1554" y="357"/>
                  </a:lnTo>
                  <a:lnTo>
                    <a:pt x="1559" y="357"/>
                  </a:lnTo>
                  <a:lnTo>
                    <a:pt x="1559" y="357"/>
                  </a:lnTo>
                  <a:lnTo>
                    <a:pt x="1559" y="357"/>
                  </a:lnTo>
                  <a:lnTo>
                    <a:pt x="1559" y="353"/>
                  </a:lnTo>
                  <a:lnTo>
                    <a:pt x="1559" y="353"/>
                  </a:lnTo>
                  <a:lnTo>
                    <a:pt x="1559" y="353"/>
                  </a:lnTo>
                  <a:lnTo>
                    <a:pt x="1559" y="357"/>
                  </a:lnTo>
                  <a:lnTo>
                    <a:pt x="1559" y="357"/>
                  </a:lnTo>
                  <a:lnTo>
                    <a:pt x="1559" y="357"/>
                  </a:lnTo>
                  <a:lnTo>
                    <a:pt x="1563" y="357"/>
                  </a:lnTo>
                  <a:lnTo>
                    <a:pt x="1563" y="357"/>
                  </a:lnTo>
                  <a:lnTo>
                    <a:pt x="1563" y="357"/>
                  </a:lnTo>
                  <a:lnTo>
                    <a:pt x="1563" y="357"/>
                  </a:lnTo>
                  <a:lnTo>
                    <a:pt x="1563" y="353"/>
                  </a:lnTo>
                  <a:lnTo>
                    <a:pt x="1563" y="353"/>
                  </a:lnTo>
                  <a:lnTo>
                    <a:pt x="1563" y="353"/>
                  </a:lnTo>
                  <a:lnTo>
                    <a:pt x="1563" y="353"/>
                  </a:lnTo>
                  <a:lnTo>
                    <a:pt x="1568" y="353"/>
                  </a:lnTo>
                  <a:lnTo>
                    <a:pt x="1568" y="353"/>
                  </a:lnTo>
                  <a:lnTo>
                    <a:pt x="1568" y="353"/>
                  </a:lnTo>
                  <a:lnTo>
                    <a:pt x="1568" y="353"/>
                  </a:lnTo>
                  <a:lnTo>
                    <a:pt x="1568" y="353"/>
                  </a:lnTo>
                  <a:lnTo>
                    <a:pt x="1572" y="353"/>
                  </a:lnTo>
                  <a:lnTo>
                    <a:pt x="1572" y="348"/>
                  </a:lnTo>
                  <a:lnTo>
                    <a:pt x="1572" y="353"/>
                  </a:lnTo>
                  <a:lnTo>
                    <a:pt x="1572" y="353"/>
                  </a:lnTo>
                  <a:lnTo>
                    <a:pt x="1572" y="353"/>
                  </a:lnTo>
                  <a:lnTo>
                    <a:pt x="1577" y="353"/>
                  </a:lnTo>
                  <a:lnTo>
                    <a:pt x="1577" y="353"/>
                  </a:lnTo>
                  <a:lnTo>
                    <a:pt x="1577" y="348"/>
                  </a:lnTo>
                  <a:lnTo>
                    <a:pt x="1577" y="348"/>
                  </a:lnTo>
                  <a:lnTo>
                    <a:pt x="1572" y="348"/>
                  </a:lnTo>
                  <a:lnTo>
                    <a:pt x="1572" y="348"/>
                  </a:lnTo>
                  <a:lnTo>
                    <a:pt x="1572" y="348"/>
                  </a:lnTo>
                  <a:lnTo>
                    <a:pt x="1572" y="348"/>
                  </a:lnTo>
                  <a:lnTo>
                    <a:pt x="1572" y="348"/>
                  </a:lnTo>
                  <a:lnTo>
                    <a:pt x="1577" y="348"/>
                  </a:lnTo>
                  <a:lnTo>
                    <a:pt x="1577" y="348"/>
                  </a:lnTo>
                  <a:lnTo>
                    <a:pt x="1577" y="348"/>
                  </a:lnTo>
                  <a:lnTo>
                    <a:pt x="1577" y="344"/>
                  </a:lnTo>
                  <a:lnTo>
                    <a:pt x="1581" y="344"/>
                  </a:lnTo>
                  <a:lnTo>
                    <a:pt x="1581" y="348"/>
                  </a:lnTo>
                  <a:lnTo>
                    <a:pt x="1586" y="348"/>
                  </a:lnTo>
                  <a:lnTo>
                    <a:pt x="1586" y="348"/>
                  </a:lnTo>
                  <a:lnTo>
                    <a:pt x="1590" y="344"/>
                  </a:lnTo>
                  <a:lnTo>
                    <a:pt x="1595" y="344"/>
                  </a:lnTo>
                  <a:lnTo>
                    <a:pt x="1595" y="344"/>
                  </a:lnTo>
                  <a:lnTo>
                    <a:pt x="1595" y="344"/>
                  </a:lnTo>
                  <a:lnTo>
                    <a:pt x="1599" y="344"/>
                  </a:lnTo>
                  <a:lnTo>
                    <a:pt x="1599" y="344"/>
                  </a:lnTo>
                  <a:lnTo>
                    <a:pt x="1599" y="344"/>
                  </a:lnTo>
                  <a:lnTo>
                    <a:pt x="1604" y="339"/>
                  </a:lnTo>
                  <a:lnTo>
                    <a:pt x="1604" y="339"/>
                  </a:lnTo>
                  <a:lnTo>
                    <a:pt x="1599" y="335"/>
                  </a:lnTo>
                  <a:lnTo>
                    <a:pt x="1599" y="335"/>
                  </a:lnTo>
                  <a:lnTo>
                    <a:pt x="1599" y="335"/>
                  </a:lnTo>
                  <a:lnTo>
                    <a:pt x="1599" y="335"/>
                  </a:lnTo>
                  <a:lnTo>
                    <a:pt x="1595" y="330"/>
                  </a:lnTo>
                  <a:lnTo>
                    <a:pt x="1595" y="330"/>
                  </a:lnTo>
                  <a:lnTo>
                    <a:pt x="1595" y="330"/>
                  </a:lnTo>
                  <a:lnTo>
                    <a:pt x="1590" y="330"/>
                  </a:lnTo>
                  <a:lnTo>
                    <a:pt x="1590" y="335"/>
                  </a:lnTo>
                  <a:lnTo>
                    <a:pt x="1586" y="335"/>
                  </a:lnTo>
                  <a:lnTo>
                    <a:pt x="1586" y="330"/>
                  </a:lnTo>
                  <a:lnTo>
                    <a:pt x="1590" y="330"/>
                  </a:lnTo>
                  <a:lnTo>
                    <a:pt x="1590" y="330"/>
                  </a:lnTo>
                  <a:lnTo>
                    <a:pt x="1590" y="330"/>
                  </a:lnTo>
                  <a:lnTo>
                    <a:pt x="1590" y="330"/>
                  </a:lnTo>
                  <a:lnTo>
                    <a:pt x="1590" y="330"/>
                  </a:lnTo>
                  <a:lnTo>
                    <a:pt x="1586" y="326"/>
                  </a:lnTo>
                  <a:lnTo>
                    <a:pt x="1581" y="326"/>
                  </a:lnTo>
                  <a:lnTo>
                    <a:pt x="1581" y="326"/>
                  </a:lnTo>
                  <a:lnTo>
                    <a:pt x="1581" y="326"/>
                  </a:lnTo>
                  <a:lnTo>
                    <a:pt x="1581" y="326"/>
                  </a:lnTo>
                  <a:lnTo>
                    <a:pt x="1581" y="326"/>
                  </a:lnTo>
                  <a:lnTo>
                    <a:pt x="1581" y="326"/>
                  </a:lnTo>
                  <a:lnTo>
                    <a:pt x="1581" y="326"/>
                  </a:lnTo>
                  <a:lnTo>
                    <a:pt x="1581" y="326"/>
                  </a:lnTo>
                  <a:lnTo>
                    <a:pt x="1577" y="326"/>
                  </a:lnTo>
                  <a:lnTo>
                    <a:pt x="1577" y="326"/>
                  </a:lnTo>
                  <a:lnTo>
                    <a:pt x="1581" y="326"/>
                  </a:lnTo>
                  <a:lnTo>
                    <a:pt x="1581" y="321"/>
                  </a:lnTo>
                  <a:lnTo>
                    <a:pt x="1581" y="321"/>
                  </a:lnTo>
                  <a:lnTo>
                    <a:pt x="1581" y="321"/>
                  </a:lnTo>
                  <a:lnTo>
                    <a:pt x="1581" y="321"/>
                  </a:lnTo>
                  <a:lnTo>
                    <a:pt x="1586" y="326"/>
                  </a:lnTo>
                  <a:lnTo>
                    <a:pt x="1590" y="326"/>
                  </a:lnTo>
                  <a:lnTo>
                    <a:pt x="1590" y="330"/>
                  </a:lnTo>
                  <a:lnTo>
                    <a:pt x="1595" y="330"/>
                  </a:lnTo>
                  <a:lnTo>
                    <a:pt x="1595" y="330"/>
                  </a:lnTo>
                  <a:lnTo>
                    <a:pt x="1595" y="330"/>
                  </a:lnTo>
                  <a:lnTo>
                    <a:pt x="1595" y="330"/>
                  </a:lnTo>
                  <a:lnTo>
                    <a:pt x="1595" y="330"/>
                  </a:lnTo>
                  <a:lnTo>
                    <a:pt x="1595" y="330"/>
                  </a:lnTo>
                  <a:lnTo>
                    <a:pt x="1595" y="330"/>
                  </a:lnTo>
                  <a:lnTo>
                    <a:pt x="1595" y="330"/>
                  </a:lnTo>
                  <a:lnTo>
                    <a:pt x="1595" y="330"/>
                  </a:lnTo>
                  <a:lnTo>
                    <a:pt x="1599" y="330"/>
                  </a:lnTo>
                  <a:lnTo>
                    <a:pt x="1599" y="330"/>
                  </a:lnTo>
                  <a:lnTo>
                    <a:pt x="1604" y="335"/>
                  </a:lnTo>
                  <a:lnTo>
                    <a:pt x="1604" y="335"/>
                  </a:lnTo>
                  <a:lnTo>
                    <a:pt x="1604" y="335"/>
                  </a:lnTo>
                  <a:lnTo>
                    <a:pt x="1608" y="335"/>
                  </a:lnTo>
                  <a:lnTo>
                    <a:pt x="1608" y="335"/>
                  </a:lnTo>
                  <a:lnTo>
                    <a:pt x="1608" y="335"/>
                  </a:lnTo>
                  <a:lnTo>
                    <a:pt x="1608" y="335"/>
                  </a:lnTo>
                  <a:lnTo>
                    <a:pt x="1613" y="335"/>
                  </a:lnTo>
                  <a:lnTo>
                    <a:pt x="1613" y="335"/>
                  </a:lnTo>
                  <a:lnTo>
                    <a:pt x="1613" y="335"/>
                  </a:lnTo>
                  <a:lnTo>
                    <a:pt x="1617" y="335"/>
                  </a:lnTo>
                  <a:lnTo>
                    <a:pt x="1617" y="330"/>
                  </a:lnTo>
                  <a:lnTo>
                    <a:pt x="1617" y="330"/>
                  </a:lnTo>
                  <a:lnTo>
                    <a:pt x="1617" y="330"/>
                  </a:lnTo>
                  <a:lnTo>
                    <a:pt x="1622" y="326"/>
                  </a:lnTo>
                  <a:lnTo>
                    <a:pt x="1622" y="326"/>
                  </a:lnTo>
                  <a:lnTo>
                    <a:pt x="1622" y="330"/>
                  </a:lnTo>
                  <a:lnTo>
                    <a:pt x="1622" y="326"/>
                  </a:lnTo>
                  <a:lnTo>
                    <a:pt x="1622" y="326"/>
                  </a:lnTo>
                  <a:lnTo>
                    <a:pt x="1626" y="326"/>
                  </a:lnTo>
                  <a:lnTo>
                    <a:pt x="1622" y="326"/>
                  </a:lnTo>
                  <a:lnTo>
                    <a:pt x="1622" y="326"/>
                  </a:lnTo>
                  <a:lnTo>
                    <a:pt x="1626" y="326"/>
                  </a:lnTo>
                  <a:lnTo>
                    <a:pt x="1626" y="326"/>
                  </a:lnTo>
                  <a:lnTo>
                    <a:pt x="1626" y="326"/>
                  </a:lnTo>
                  <a:lnTo>
                    <a:pt x="1626" y="326"/>
                  </a:lnTo>
                  <a:lnTo>
                    <a:pt x="1626" y="326"/>
                  </a:lnTo>
                  <a:lnTo>
                    <a:pt x="1626" y="326"/>
                  </a:lnTo>
                  <a:lnTo>
                    <a:pt x="1626" y="326"/>
                  </a:lnTo>
                  <a:lnTo>
                    <a:pt x="1626" y="326"/>
                  </a:lnTo>
                  <a:lnTo>
                    <a:pt x="1631" y="326"/>
                  </a:lnTo>
                  <a:lnTo>
                    <a:pt x="1631" y="326"/>
                  </a:lnTo>
                  <a:lnTo>
                    <a:pt x="1631" y="330"/>
                  </a:lnTo>
                  <a:lnTo>
                    <a:pt x="1631" y="330"/>
                  </a:lnTo>
                  <a:lnTo>
                    <a:pt x="1631" y="330"/>
                  </a:lnTo>
                  <a:lnTo>
                    <a:pt x="1635" y="326"/>
                  </a:lnTo>
                  <a:lnTo>
                    <a:pt x="1635" y="326"/>
                  </a:lnTo>
                  <a:lnTo>
                    <a:pt x="1635" y="326"/>
                  </a:lnTo>
                  <a:lnTo>
                    <a:pt x="1635" y="326"/>
                  </a:lnTo>
                  <a:lnTo>
                    <a:pt x="1635" y="330"/>
                  </a:lnTo>
                  <a:lnTo>
                    <a:pt x="1640" y="330"/>
                  </a:lnTo>
                  <a:lnTo>
                    <a:pt x="1644" y="326"/>
                  </a:lnTo>
                  <a:lnTo>
                    <a:pt x="1649" y="326"/>
                  </a:lnTo>
                  <a:lnTo>
                    <a:pt x="1649" y="326"/>
                  </a:lnTo>
                  <a:lnTo>
                    <a:pt x="1649" y="321"/>
                  </a:lnTo>
                  <a:lnTo>
                    <a:pt x="1653" y="321"/>
                  </a:lnTo>
                  <a:lnTo>
                    <a:pt x="1667" y="317"/>
                  </a:lnTo>
                  <a:lnTo>
                    <a:pt x="1672" y="312"/>
                  </a:lnTo>
                  <a:lnTo>
                    <a:pt x="1676" y="312"/>
                  </a:lnTo>
                  <a:lnTo>
                    <a:pt x="1676" y="308"/>
                  </a:lnTo>
                  <a:lnTo>
                    <a:pt x="1676" y="308"/>
                  </a:lnTo>
                  <a:lnTo>
                    <a:pt x="1676" y="308"/>
                  </a:lnTo>
                  <a:lnTo>
                    <a:pt x="1672" y="308"/>
                  </a:lnTo>
                  <a:lnTo>
                    <a:pt x="1667" y="308"/>
                  </a:lnTo>
                  <a:lnTo>
                    <a:pt x="1663" y="308"/>
                  </a:lnTo>
                  <a:lnTo>
                    <a:pt x="1658" y="303"/>
                  </a:lnTo>
                  <a:lnTo>
                    <a:pt x="1658" y="303"/>
                  </a:lnTo>
                  <a:lnTo>
                    <a:pt x="1653" y="303"/>
                  </a:lnTo>
                  <a:lnTo>
                    <a:pt x="1653" y="298"/>
                  </a:lnTo>
                  <a:lnTo>
                    <a:pt x="1653" y="294"/>
                  </a:lnTo>
                  <a:lnTo>
                    <a:pt x="1653" y="294"/>
                  </a:lnTo>
                  <a:lnTo>
                    <a:pt x="1653" y="294"/>
                  </a:lnTo>
                  <a:lnTo>
                    <a:pt x="1653" y="294"/>
                  </a:lnTo>
                  <a:lnTo>
                    <a:pt x="1649" y="294"/>
                  </a:lnTo>
                  <a:lnTo>
                    <a:pt x="1644" y="289"/>
                  </a:lnTo>
                  <a:lnTo>
                    <a:pt x="1644" y="289"/>
                  </a:lnTo>
                  <a:lnTo>
                    <a:pt x="1644" y="294"/>
                  </a:lnTo>
                  <a:lnTo>
                    <a:pt x="1640" y="294"/>
                  </a:lnTo>
                  <a:lnTo>
                    <a:pt x="1640" y="289"/>
                  </a:lnTo>
                  <a:lnTo>
                    <a:pt x="1640" y="289"/>
                  </a:lnTo>
                  <a:lnTo>
                    <a:pt x="1640" y="289"/>
                  </a:lnTo>
                  <a:lnTo>
                    <a:pt x="1640" y="289"/>
                  </a:lnTo>
                  <a:lnTo>
                    <a:pt x="1644" y="289"/>
                  </a:lnTo>
                  <a:lnTo>
                    <a:pt x="1644" y="289"/>
                  </a:lnTo>
                  <a:lnTo>
                    <a:pt x="1649" y="289"/>
                  </a:lnTo>
                  <a:lnTo>
                    <a:pt x="1649" y="289"/>
                  </a:lnTo>
                  <a:lnTo>
                    <a:pt x="1653" y="289"/>
                  </a:lnTo>
                  <a:lnTo>
                    <a:pt x="1653" y="294"/>
                  </a:lnTo>
                  <a:lnTo>
                    <a:pt x="1653" y="294"/>
                  </a:lnTo>
                  <a:lnTo>
                    <a:pt x="1653" y="294"/>
                  </a:lnTo>
                  <a:lnTo>
                    <a:pt x="1658" y="294"/>
                  </a:lnTo>
                  <a:lnTo>
                    <a:pt x="1658" y="294"/>
                  </a:lnTo>
                  <a:lnTo>
                    <a:pt x="1658" y="294"/>
                  </a:lnTo>
                  <a:lnTo>
                    <a:pt x="1658" y="294"/>
                  </a:lnTo>
                  <a:lnTo>
                    <a:pt x="1658" y="294"/>
                  </a:lnTo>
                  <a:lnTo>
                    <a:pt x="1663" y="294"/>
                  </a:lnTo>
                  <a:lnTo>
                    <a:pt x="1663" y="294"/>
                  </a:lnTo>
                  <a:lnTo>
                    <a:pt x="1663" y="298"/>
                  </a:lnTo>
                  <a:lnTo>
                    <a:pt x="1667" y="298"/>
                  </a:lnTo>
                  <a:lnTo>
                    <a:pt x="1667" y="298"/>
                  </a:lnTo>
                  <a:lnTo>
                    <a:pt x="1667" y="298"/>
                  </a:lnTo>
                  <a:lnTo>
                    <a:pt x="1667" y="298"/>
                  </a:lnTo>
                  <a:lnTo>
                    <a:pt x="1667" y="303"/>
                  </a:lnTo>
                  <a:lnTo>
                    <a:pt x="1667" y="303"/>
                  </a:lnTo>
                  <a:lnTo>
                    <a:pt x="1667" y="303"/>
                  </a:lnTo>
                  <a:lnTo>
                    <a:pt x="1672" y="303"/>
                  </a:lnTo>
                  <a:lnTo>
                    <a:pt x="1676" y="303"/>
                  </a:lnTo>
                  <a:lnTo>
                    <a:pt x="1676" y="303"/>
                  </a:lnTo>
                  <a:lnTo>
                    <a:pt x="1676" y="303"/>
                  </a:lnTo>
                  <a:lnTo>
                    <a:pt x="1681" y="303"/>
                  </a:lnTo>
                  <a:lnTo>
                    <a:pt x="1685" y="303"/>
                  </a:lnTo>
                  <a:lnTo>
                    <a:pt x="1690" y="298"/>
                  </a:lnTo>
                  <a:lnTo>
                    <a:pt x="1703" y="294"/>
                  </a:lnTo>
                  <a:lnTo>
                    <a:pt x="1703" y="294"/>
                  </a:lnTo>
                  <a:lnTo>
                    <a:pt x="1703" y="294"/>
                  </a:lnTo>
                  <a:lnTo>
                    <a:pt x="1703" y="289"/>
                  </a:lnTo>
                  <a:lnTo>
                    <a:pt x="1703" y="289"/>
                  </a:lnTo>
                  <a:lnTo>
                    <a:pt x="1703" y="289"/>
                  </a:lnTo>
                  <a:lnTo>
                    <a:pt x="1703" y="289"/>
                  </a:lnTo>
                  <a:lnTo>
                    <a:pt x="1699" y="289"/>
                  </a:lnTo>
                  <a:lnTo>
                    <a:pt x="1699" y="285"/>
                  </a:lnTo>
                  <a:lnTo>
                    <a:pt x="1699" y="285"/>
                  </a:lnTo>
                  <a:lnTo>
                    <a:pt x="1703" y="285"/>
                  </a:lnTo>
                  <a:lnTo>
                    <a:pt x="1703" y="285"/>
                  </a:lnTo>
                  <a:lnTo>
                    <a:pt x="1703" y="285"/>
                  </a:lnTo>
                  <a:lnTo>
                    <a:pt x="1703" y="285"/>
                  </a:lnTo>
                  <a:lnTo>
                    <a:pt x="1703" y="285"/>
                  </a:lnTo>
                  <a:lnTo>
                    <a:pt x="1703" y="285"/>
                  </a:lnTo>
                  <a:lnTo>
                    <a:pt x="1712" y="285"/>
                  </a:lnTo>
                  <a:lnTo>
                    <a:pt x="1712" y="285"/>
                  </a:lnTo>
                  <a:lnTo>
                    <a:pt x="1717" y="285"/>
                  </a:lnTo>
                  <a:lnTo>
                    <a:pt x="1717" y="285"/>
                  </a:lnTo>
                  <a:lnTo>
                    <a:pt x="1717" y="285"/>
                  </a:lnTo>
                  <a:lnTo>
                    <a:pt x="1717" y="289"/>
                  </a:lnTo>
                  <a:lnTo>
                    <a:pt x="1717" y="289"/>
                  </a:lnTo>
                  <a:lnTo>
                    <a:pt x="1717" y="289"/>
                  </a:lnTo>
                  <a:lnTo>
                    <a:pt x="1721" y="294"/>
                  </a:lnTo>
                  <a:lnTo>
                    <a:pt x="1721" y="294"/>
                  </a:lnTo>
                  <a:lnTo>
                    <a:pt x="1721" y="294"/>
                  </a:lnTo>
                  <a:lnTo>
                    <a:pt x="1726" y="289"/>
                  </a:lnTo>
                  <a:lnTo>
                    <a:pt x="1726" y="289"/>
                  </a:lnTo>
                  <a:lnTo>
                    <a:pt x="1726" y="289"/>
                  </a:lnTo>
                  <a:lnTo>
                    <a:pt x="1730" y="294"/>
                  </a:lnTo>
                  <a:lnTo>
                    <a:pt x="1730" y="294"/>
                  </a:lnTo>
                  <a:lnTo>
                    <a:pt x="1730" y="294"/>
                  </a:lnTo>
                  <a:lnTo>
                    <a:pt x="1730" y="294"/>
                  </a:lnTo>
                  <a:lnTo>
                    <a:pt x="1730" y="289"/>
                  </a:lnTo>
                  <a:lnTo>
                    <a:pt x="1730" y="289"/>
                  </a:lnTo>
                  <a:lnTo>
                    <a:pt x="1730" y="285"/>
                  </a:lnTo>
                  <a:lnTo>
                    <a:pt x="1735" y="285"/>
                  </a:lnTo>
                  <a:lnTo>
                    <a:pt x="1735" y="285"/>
                  </a:lnTo>
                  <a:lnTo>
                    <a:pt x="1735" y="285"/>
                  </a:lnTo>
                  <a:lnTo>
                    <a:pt x="1735" y="285"/>
                  </a:lnTo>
                  <a:lnTo>
                    <a:pt x="1730" y="280"/>
                  </a:lnTo>
                  <a:lnTo>
                    <a:pt x="1730" y="280"/>
                  </a:lnTo>
                  <a:lnTo>
                    <a:pt x="1735" y="280"/>
                  </a:lnTo>
                  <a:lnTo>
                    <a:pt x="1730" y="280"/>
                  </a:lnTo>
                  <a:lnTo>
                    <a:pt x="1730" y="280"/>
                  </a:lnTo>
                  <a:lnTo>
                    <a:pt x="1730" y="280"/>
                  </a:lnTo>
                  <a:lnTo>
                    <a:pt x="1730" y="280"/>
                  </a:lnTo>
                  <a:lnTo>
                    <a:pt x="1726" y="280"/>
                  </a:lnTo>
                  <a:lnTo>
                    <a:pt x="1726" y="280"/>
                  </a:lnTo>
                  <a:lnTo>
                    <a:pt x="1726" y="280"/>
                  </a:lnTo>
                  <a:lnTo>
                    <a:pt x="1730" y="276"/>
                  </a:lnTo>
                  <a:lnTo>
                    <a:pt x="1730" y="276"/>
                  </a:lnTo>
                  <a:lnTo>
                    <a:pt x="1735" y="276"/>
                  </a:lnTo>
                  <a:lnTo>
                    <a:pt x="1735" y="276"/>
                  </a:lnTo>
                  <a:lnTo>
                    <a:pt x="1735" y="280"/>
                  </a:lnTo>
                  <a:lnTo>
                    <a:pt x="1735" y="280"/>
                  </a:lnTo>
                  <a:lnTo>
                    <a:pt x="1735" y="280"/>
                  </a:lnTo>
                  <a:lnTo>
                    <a:pt x="1735" y="280"/>
                  </a:lnTo>
                  <a:lnTo>
                    <a:pt x="1735" y="280"/>
                  </a:lnTo>
                  <a:lnTo>
                    <a:pt x="1735" y="280"/>
                  </a:lnTo>
                  <a:lnTo>
                    <a:pt x="1735" y="280"/>
                  </a:lnTo>
                  <a:lnTo>
                    <a:pt x="1735" y="280"/>
                  </a:lnTo>
                  <a:lnTo>
                    <a:pt x="1735" y="280"/>
                  </a:lnTo>
                  <a:lnTo>
                    <a:pt x="1735" y="280"/>
                  </a:lnTo>
                  <a:lnTo>
                    <a:pt x="1735" y="285"/>
                  </a:lnTo>
                  <a:lnTo>
                    <a:pt x="1735" y="285"/>
                  </a:lnTo>
                  <a:lnTo>
                    <a:pt x="1735" y="285"/>
                  </a:lnTo>
                  <a:lnTo>
                    <a:pt x="1735" y="289"/>
                  </a:lnTo>
                  <a:lnTo>
                    <a:pt x="1735" y="289"/>
                  </a:lnTo>
                  <a:lnTo>
                    <a:pt x="1735" y="289"/>
                  </a:lnTo>
                  <a:lnTo>
                    <a:pt x="1735" y="289"/>
                  </a:lnTo>
                  <a:lnTo>
                    <a:pt x="1739" y="289"/>
                  </a:lnTo>
                  <a:lnTo>
                    <a:pt x="1739" y="289"/>
                  </a:lnTo>
                  <a:lnTo>
                    <a:pt x="1739" y="289"/>
                  </a:lnTo>
                  <a:lnTo>
                    <a:pt x="1744" y="285"/>
                  </a:lnTo>
                  <a:lnTo>
                    <a:pt x="1748" y="285"/>
                  </a:lnTo>
                  <a:lnTo>
                    <a:pt x="1753" y="285"/>
                  </a:lnTo>
                  <a:lnTo>
                    <a:pt x="1753" y="285"/>
                  </a:lnTo>
                  <a:lnTo>
                    <a:pt x="1757" y="285"/>
                  </a:lnTo>
                  <a:lnTo>
                    <a:pt x="1757" y="285"/>
                  </a:lnTo>
                  <a:lnTo>
                    <a:pt x="1762" y="285"/>
                  </a:lnTo>
                  <a:lnTo>
                    <a:pt x="1762" y="280"/>
                  </a:lnTo>
                  <a:lnTo>
                    <a:pt x="1766" y="280"/>
                  </a:lnTo>
                  <a:lnTo>
                    <a:pt x="1766" y="280"/>
                  </a:lnTo>
                  <a:lnTo>
                    <a:pt x="1766" y="280"/>
                  </a:lnTo>
                  <a:lnTo>
                    <a:pt x="1766" y="280"/>
                  </a:lnTo>
                  <a:lnTo>
                    <a:pt x="1771" y="280"/>
                  </a:lnTo>
                  <a:lnTo>
                    <a:pt x="1771" y="280"/>
                  </a:lnTo>
                  <a:lnTo>
                    <a:pt x="1775" y="276"/>
                  </a:lnTo>
                  <a:lnTo>
                    <a:pt x="1775" y="276"/>
                  </a:lnTo>
                  <a:lnTo>
                    <a:pt x="1780" y="271"/>
                  </a:lnTo>
                  <a:lnTo>
                    <a:pt x="1780" y="271"/>
                  </a:lnTo>
                  <a:lnTo>
                    <a:pt x="1780" y="271"/>
                  </a:lnTo>
                  <a:lnTo>
                    <a:pt x="1780" y="267"/>
                  </a:lnTo>
                  <a:lnTo>
                    <a:pt x="1780" y="267"/>
                  </a:lnTo>
                  <a:lnTo>
                    <a:pt x="1780" y="267"/>
                  </a:lnTo>
                  <a:lnTo>
                    <a:pt x="1780" y="262"/>
                  </a:lnTo>
                  <a:lnTo>
                    <a:pt x="1780" y="262"/>
                  </a:lnTo>
                  <a:lnTo>
                    <a:pt x="1780" y="262"/>
                  </a:lnTo>
                  <a:lnTo>
                    <a:pt x="1780" y="262"/>
                  </a:lnTo>
                  <a:lnTo>
                    <a:pt x="1780" y="262"/>
                  </a:lnTo>
                  <a:lnTo>
                    <a:pt x="1784" y="258"/>
                  </a:lnTo>
                  <a:lnTo>
                    <a:pt x="1784" y="258"/>
                  </a:lnTo>
                  <a:lnTo>
                    <a:pt x="1784" y="258"/>
                  </a:lnTo>
                  <a:lnTo>
                    <a:pt x="1784" y="258"/>
                  </a:lnTo>
                  <a:lnTo>
                    <a:pt x="1780" y="258"/>
                  </a:lnTo>
                  <a:lnTo>
                    <a:pt x="1780" y="258"/>
                  </a:lnTo>
                  <a:lnTo>
                    <a:pt x="1780" y="258"/>
                  </a:lnTo>
                  <a:lnTo>
                    <a:pt x="1780" y="258"/>
                  </a:lnTo>
                  <a:lnTo>
                    <a:pt x="1780" y="258"/>
                  </a:lnTo>
                  <a:lnTo>
                    <a:pt x="1780" y="258"/>
                  </a:lnTo>
                  <a:lnTo>
                    <a:pt x="1780" y="253"/>
                  </a:lnTo>
                  <a:lnTo>
                    <a:pt x="1780" y="253"/>
                  </a:lnTo>
                  <a:lnTo>
                    <a:pt x="1780" y="253"/>
                  </a:lnTo>
                  <a:lnTo>
                    <a:pt x="1780" y="253"/>
                  </a:lnTo>
                  <a:lnTo>
                    <a:pt x="1784" y="253"/>
                  </a:lnTo>
                  <a:lnTo>
                    <a:pt x="1784" y="253"/>
                  </a:lnTo>
                  <a:lnTo>
                    <a:pt x="1784" y="253"/>
                  </a:lnTo>
                  <a:lnTo>
                    <a:pt x="1784" y="253"/>
                  </a:lnTo>
                  <a:lnTo>
                    <a:pt x="1789" y="253"/>
                  </a:lnTo>
                  <a:lnTo>
                    <a:pt x="1789" y="253"/>
                  </a:lnTo>
                  <a:lnTo>
                    <a:pt x="1789" y="253"/>
                  </a:lnTo>
                  <a:lnTo>
                    <a:pt x="1789" y="253"/>
                  </a:lnTo>
                  <a:lnTo>
                    <a:pt x="1794" y="253"/>
                  </a:lnTo>
                  <a:lnTo>
                    <a:pt x="1794" y="253"/>
                  </a:lnTo>
                  <a:lnTo>
                    <a:pt x="1798" y="249"/>
                  </a:lnTo>
                  <a:lnTo>
                    <a:pt x="1798" y="249"/>
                  </a:lnTo>
                  <a:lnTo>
                    <a:pt x="1803" y="249"/>
                  </a:lnTo>
                  <a:lnTo>
                    <a:pt x="1803" y="249"/>
                  </a:lnTo>
                  <a:lnTo>
                    <a:pt x="1803" y="249"/>
                  </a:lnTo>
                  <a:lnTo>
                    <a:pt x="1803" y="249"/>
                  </a:lnTo>
                  <a:lnTo>
                    <a:pt x="1803" y="244"/>
                  </a:lnTo>
                  <a:lnTo>
                    <a:pt x="1798" y="244"/>
                  </a:lnTo>
                  <a:lnTo>
                    <a:pt x="1798" y="244"/>
                  </a:lnTo>
                  <a:lnTo>
                    <a:pt x="1798" y="244"/>
                  </a:lnTo>
                  <a:lnTo>
                    <a:pt x="1798" y="244"/>
                  </a:lnTo>
                  <a:lnTo>
                    <a:pt x="1803" y="244"/>
                  </a:lnTo>
                  <a:lnTo>
                    <a:pt x="1807" y="240"/>
                  </a:lnTo>
                  <a:lnTo>
                    <a:pt x="1807" y="240"/>
                  </a:lnTo>
                  <a:lnTo>
                    <a:pt x="1807" y="240"/>
                  </a:lnTo>
                  <a:lnTo>
                    <a:pt x="1807" y="240"/>
                  </a:lnTo>
                  <a:lnTo>
                    <a:pt x="1803" y="240"/>
                  </a:lnTo>
                  <a:lnTo>
                    <a:pt x="1803" y="240"/>
                  </a:lnTo>
                  <a:lnTo>
                    <a:pt x="1798" y="240"/>
                  </a:lnTo>
                  <a:lnTo>
                    <a:pt x="1798" y="240"/>
                  </a:lnTo>
                  <a:lnTo>
                    <a:pt x="1798" y="240"/>
                  </a:lnTo>
                  <a:lnTo>
                    <a:pt x="1798" y="240"/>
                  </a:lnTo>
                  <a:lnTo>
                    <a:pt x="1803" y="235"/>
                  </a:lnTo>
                  <a:lnTo>
                    <a:pt x="1803" y="235"/>
                  </a:lnTo>
                  <a:lnTo>
                    <a:pt x="1798" y="235"/>
                  </a:lnTo>
                  <a:lnTo>
                    <a:pt x="1798" y="235"/>
                  </a:lnTo>
                  <a:lnTo>
                    <a:pt x="1798" y="235"/>
                  </a:lnTo>
                  <a:lnTo>
                    <a:pt x="1803" y="235"/>
                  </a:lnTo>
                  <a:lnTo>
                    <a:pt x="1803" y="231"/>
                  </a:lnTo>
                  <a:lnTo>
                    <a:pt x="1803" y="231"/>
                  </a:lnTo>
                  <a:lnTo>
                    <a:pt x="1803" y="231"/>
                  </a:lnTo>
                  <a:lnTo>
                    <a:pt x="1803" y="231"/>
                  </a:lnTo>
                  <a:lnTo>
                    <a:pt x="1798" y="231"/>
                  </a:lnTo>
                  <a:lnTo>
                    <a:pt x="1794" y="231"/>
                  </a:lnTo>
                  <a:lnTo>
                    <a:pt x="1794" y="231"/>
                  </a:lnTo>
                  <a:lnTo>
                    <a:pt x="1789" y="231"/>
                  </a:lnTo>
                  <a:lnTo>
                    <a:pt x="1789" y="226"/>
                  </a:lnTo>
                  <a:lnTo>
                    <a:pt x="1789" y="226"/>
                  </a:lnTo>
                  <a:lnTo>
                    <a:pt x="1784" y="226"/>
                  </a:lnTo>
                  <a:lnTo>
                    <a:pt x="1780" y="226"/>
                  </a:lnTo>
                  <a:lnTo>
                    <a:pt x="1780" y="226"/>
                  </a:lnTo>
                  <a:lnTo>
                    <a:pt x="1775" y="226"/>
                  </a:lnTo>
                  <a:lnTo>
                    <a:pt x="1775" y="226"/>
                  </a:lnTo>
                  <a:lnTo>
                    <a:pt x="1775" y="226"/>
                  </a:lnTo>
                  <a:lnTo>
                    <a:pt x="1775" y="226"/>
                  </a:lnTo>
                  <a:lnTo>
                    <a:pt x="1775" y="226"/>
                  </a:lnTo>
                  <a:lnTo>
                    <a:pt x="1775" y="226"/>
                  </a:lnTo>
                  <a:lnTo>
                    <a:pt x="1775" y="226"/>
                  </a:lnTo>
                  <a:lnTo>
                    <a:pt x="1771" y="226"/>
                  </a:lnTo>
                  <a:lnTo>
                    <a:pt x="1771" y="231"/>
                  </a:lnTo>
                  <a:lnTo>
                    <a:pt x="1771" y="231"/>
                  </a:lnTo>
                  <a:lnTo>
                    <a:pt x="1771" y="231"/>
                  </a:lnTo>
                  <a:lnTo>
                    <a:pt x="1771" y="231"/>
                  </a:lnTo>
                  <a:lnTo>
                    <a:pt x="1771" y="231"/>
                  </a:lnTo>
                  <a:lnTo>
                    <a:pt x="1766" y="231"/>
                  </a:lnTo>
                  <a:lnTo>
                    <a:pt x="1766" y="231"/>
                  </a:lnTo>
                  <a:lnTo>
                    <a:pt x="1766" y="235"/>
                  </a:lnTo>
                  <a:lnTo>
                    <a:pt x="1766" y="235"/>
                  </a:lnTo>
                  <a:lnTo>
                    <a:pt x="1766" y="235"/>
                  </a:lnTo>
                  <a:lnTo>
                    <a:pt x="1766" y="235"/>
                  </a:lnTo>
                  <a:lnTo>
                    <a:pt x="1766" y="235"/>
                  </a:lnTo>
                  <a:lnTo>
                    <a:pt x="1766" y="240"/>
                  </a:lnTo>
                  <a:lnTo>
                    <a:pt x="1766" y="240"/>
                  </a:lnTo>
                  <a:lnTo>
                    <a:pt x="1766" y="240"/>
                  </a:lnTo>
                  <a:lnTo>
                    <a:pt x="1766" y="240"/>
                  </a:lnTo>
                  <a:lnTo>
                    <a:pt x="1766" y="240"/>
                  </a:lnTo>
                  <a:lnTo>
                    <a:pt x="1766" y="240"/>
                  </a:lnTo>
                  <a:lnTo>
                    <a:pt x="1766" y="240"/>
                  </a:lnTo>
                  <a:lnTo>
                    <a:pt x="1766" y="240"/>
                  </a:lnTo>
                  <a:lnTo>
                    <a:pt x="1762" y="244"/>
                  </a:lnTo>
                  <a:lnTo>
                    <a:pt x="1762" y="244"/>
                  </a:lnTo>
                  <a:lnTo>
                    <a:pt x="1762" y="244"/>
                  </a:lnTo>
                  <a:lnTo>
                    <a:pt x="1762" y="244"/>
                  </a:lnTo>
                  <a:lnTo>
                    <a:pt x="1762" y="244"/>
                  </a:lnTo>
                  <a:lnTo>
                    <a:pt x="1762" y="244"/>
                  </a:lnTo>
                  <a:lnTo>
                    <a:pt x="1757" y="244"/>
                  </a:lnTo>
                  <a:lnTo>
                    <a:pt x="1757" y="244"/>
                  </a:lnTo>
                  <a:lnTo>
                    <a:pt x="1757" y="244"/>
                  </a:lnTo>
                  <a:lnTo>
                    <a:pt x="1757" y="244"/>
                  </a:lnTo>
                  <a:lnTo>
                    <a:pt x="1753" y="244"/>
                  </a:lnTo>
                  <a:lnTo>
                    <a:pt x="1753" y="244"/>
                  </a:lnTo>
                  <a:lnTo>
                    <a:pt x="1753" y="244"/>
                  </a:lnTo>
                  <a:lnTo>
                    <a:pt x="1753" y="244"/>
                  </a:lnTo>
                  <a:lnTo>
                    <a:pt x="1748" y="249"/>
                  </a:lnTo>
                  <a:lnTo>
                    <a:pt x="1748" y="249"/>
                  </a:lnTo>
                  <a:lnTo>
                    <a:pt x="1748" y="249"/>
                  </a:lnTo>
                  <a:lnTo>
                    <a:pt x="1748" y="249"/>
                  </a:lnTo>
                  <a:lnTo>
                    <a:pt x="1744" y="253"/>
                  </a:lnTo>
                  <a:lnTo>
                    <a:pt x="1739" y="258"/>
                  </a:lnTo>
                  <a:lnTo>
                    <a:pt x="1739" y="258"/>
                  </a:lnTo>
                  <a:lnTo>
                    <a:pt x="1730" y="262"/>
                  </a:lnTo>
                  <a:lnTo>
                    <a:pt x="1730" y="262"/>
                  </a:lnTo>
                  <a:lnTo>
                    <a:pt x="1726" y="262"/>
                  </a:lnTo>
                  <a:lnTo>
                    <a:pt x="1726" y="262"/>
                  </a:lnTo>
                  <a:lnTo>
                    <a:pt x="1721" y="267"/>
                  </a:lnTo>
                  <a:lnTo>
                    <a:pt x="1721" y="267"/>
                  </a:lnTo>
                  <a:lnTo>
                    <a:pt x="1721" y="267"/>
                  </a:lnTo>
                  <a:lnTo>
                    <a:pt x="1717" y="267"/>
                  </a:lnTo>
                  <a:lnTo>
                    <a:pt x="1717" y="267"/>
                  </a:lnTo>
                  <a:lnTo>
                    <a:pt x="1717" y="267"/>
                  </a:lnTo>
                  <a:lnTo>
                    <a:pt x="1717" y="267"/>
                  </a:lnTo>
                  <a:lnTo>
                    <a:pt x="1712" y="271"/>
                  </a:lnTo>
                  <a:lnTo>
                    <a:pt x="1708" y="271"/>
                  </a:lnTo>
                  <a:lnTo>
                    <a:pt x="1708" y="271"/>
                  </a:lnTo>
                  <a:lnTo>
                    <a:pt x="1708" y="271"/>
                  </a:lnTo>
                  <a:lnTo>
                    <a:pt x="1708" y="271"/>
                  </a:lnTo>
                  <a:lnTo>
                    <a:pt x="1708" y="271"/>
                  </a:lnTo>
                  <a:lnTo>
                    <a:pt x="1708" y="267"/>
                  </a:lnTo>
                  <a:lnTo>
                    <a:pt x="1708" y="267"/>
                  </a:lnTo>
                  <a:lnTo>
                    <a:pt x="1708" y="262"/>
                  </a:lnTo>
                  <a:lnTo>
                    <a:pt x="1708" y="262"/>
                  </a:lnTo>
                  <a:lnTo>
                    <a:pt x="1708" y="258"/>
                  </a:lnTo>
                  <a:lnTo>
                    <a:pt x="1712" y="258"/>
                  </a:lnTo>
                  <a:lnTo>
                    <a:pt x="1712" y="253"/>
                  </a:lnTo>
                  <a:lnTo>
                    <a:pt x="1717" y="253"/>
                  </a:lnTo>
                  <a:lnTo>
                    <a:pt x="1717" y="249"/>
                  </a:lnTo>
                  <a:lnTo>
                    <a:pt x="1717" y="249"/>
                  </a:lnTo>
                  <a:lnTo>
                    <a:pt x="1717" y="249"/>
                  </a:lnTo>
                  <a:lnTo>
                    <a:pt x="1717" y="253"/>
                  </a:lnTo>
                  <a:lnTo>
                    <a:pt x="1717" y="253"/>
                  </a:lnTo>
                  <a:lnTo>
                    <a:pt x="1717" y="253"/>
                  </a:lnTo>
                  <a:lnTo>
                    <a:pt x="1721" y="253"/>
                  </a:lnTo>
                  <a:lnTo>
                    <a:pt x="1721" y="253"/>
                  </a:lnTo>
                  <a:lnTo>
                    <a:pt x="1721" y="253"/>
                  </a:lnTo>
                  <a:lnTo>
                    <a:pt x="1721" y="249"/>
                  </a:lnTo>
                  <a:lnTo>
                    <a:pt x="1726" y="249"/>
                  </a:lnTo>
                  <a:lnTo>
                    <a:pt x="1726" y="249"/>
                  </a:lnTo>
                  <a:lnTo>
                    <a:pt x="1726" y="249"/>
                  </a:lnTo>
                  <a:lnTo>
                    <a:pt x="1726" y="244"/>
                  </a:lnTo>
                  <a:lnTo>
                    <a:pt x="1726" y="244"/>
                  </a:lnTo>
                  <a:lnTo>
                    <a:pt x="1730" y="240"/>
                  </a:lnTo>
                  <a:lnTo>
                    <a:pt x="1730" y="240"/>
                  </a:lnTo>
                  <a:lnTo>
                    <a:pt x="1726" y="240"/>
                  </a:lnTo>
                  <a:lnTo>
                    <a:pt x="1726" y="235"/>
                  </a:lnTo>
                  <a:lnTo>
                    <a:pt x="1726" y="235"/>
                  </a:lnTo>
                  <a:lnTo>
                    <a:pt x="1726" y="235"/>
                  </a:lnTo>
                  <a:lnTo>
                    <a:pt x="1726" y="231"/>
                  </a:lnTo>
                  <a:lnTo>
                    <a:pt x="1726" y="231"/>
                  </a:lnTo>
                  <a:lnTo>
                    <a:pt x="1721" y="231"/>
                  </a:lnTo>
                  <a:lnTo>
                    <a:pt x="1721" y="235"/>
                  </a:lnTo>
                  <a:lnTo>
                    <a:pt x="1717" y="235"/>
                  </a:lnTo>
                  <a:lnTo>
                    <a:pt x="1717" y="235"/>
                  </a:lnTo>
                  <a:lnTo>
                    <a:pt x="1712" y="240"/>
                  </a:lnTo>
                  <a:lnTo>
                    <a:pt x="1708" y="240"/>
                  </a:lnTo>
                  <a:lnTo>
                    <a:pt x="1708" y="240"/>
                  </a:lnTo>
                  <a:lnTo>
                    <a:pt x="1703" y="244"/>
                  </a:lnTo>
                  <a:lnTo>
                    <a:pt x="1703" y="244"/>
                  </a:lnTo>
                  <a:lnTo>
                    <a:pt x="1703" y="244"/>
                  </a:lnTo>
                  <a:lnTo>
                    <a:pt x="1703" y="244"/>
                  </a:lnTo>
                  <a:lnTo>
                    <a:pt x="1699" y="249"/>
                  </a:lnTo>
                  <a:lnTo>
                    <a:pt x="1699" y="249"/>
                  </a:lnTo>
                  <a:lnTo>
                    <a:pt x="1694" y="249"/>
                  </a:lnTo>
                  <a:lnTo>
                    <a:pt x="1694" y="249"/>
                  </a:lnTo>
                  <a:lnTo>
                    <a:pt x="1694" y="249"/>
                  </a:lnTo>
                  <a:lnTo>
                    <a:pt x="1694" y="249"/>
                  </a:lnTo>
                  <a:lnTo>
                    <a:pt x="1694" y="249"/>
                  </a:lnTo>
                  <a:lnTo>
                    <a:pt x="1694" y="249"/>
                  </a:lnTo>
                  <a:lnTo>
                    <a:pt x="1694" y="249"/>
                  </a:lnTo>
                  <a:lnTo>
                    <a:pt x="1694" y="249"/>
                  </a:lnTo>
                  <a:lnTo>
                    <a:pt x="1694" y="249"/>
                  </a:lnTo>
                  <a:lnTo>
                    <a:pt x="1694" y="244"/>
                  </a:lnTo>
                  <a:lnTo>
                    <a:pt x="1699" y="244"/>
                  </a:lnTo>
                  <a:lnTo>
                    <a:pt x="1699" y="240"/>
                  </a:lnTo>
                  <a:lnTo>
                    <a:pt x="1699" y="240"/>
                  </a:lnTo>
                  <a:lnTo>
                    <a:pt x="1703" y="240"/>
                  </a:lnTo>
                  <a:lnTo>
                    <a:pt x="1703" y="240"/>
                  </a:lnTo>
                  <a:lnTo>
                    <a:pt x="1703" y="240"/>
                  </a:lnTo>
                  <a:lnTo>
                    <a:pt x="1703" y="235"/>
                  </a:lnTo>
                  <a:lnTo>
                    <a:pt x="1703" y="235"/>
                  </a:lnTo>
                  <a:lnTo>
                    <a:pt x="1703" y="231"/>
                  </a:lnTo>
                  <a:lnTo>
                    <a:pt x="1703" y="231"/>
                  </a:lnTo>
                  <a:lnTo>
                    <a:pt x="1703" y="231"/>
                  </a:lnTo>
                  <a:lnTo>
                    <a:pt x="1703" y="231"/>
                  </a:lnTo>
                  <a:lnTo>
                    <a:pt x="1708" y="231"/>
                  </a:lnTo>
                  <a:lnTo>
                    <a:pt x="1703" y="231"/>
                  </a:lnTo>
                  <a:lnTo>
                    <a:pt x="1703" y="231"/>
                  </a:lnTo>
                  <a:lnTo>
                    <a:pt x="1708" y="231"/>
                  </a:lnTo>
                  <a:lnTo>
                    <a:pt x="1708" y="231"/>
                  </a:lnTo>
                  <a:lnTo>
                    <a:pt x="1708" y="231"/>
                  </a:lnTo>
                  <a:lnTo>
                    <a:pt x="1708" y="231"/>
                  </a:lnTo>
                  <a:lnTo>
                    <a:pt x="1712" y="231"/>
                  </a:lnTo>
                  <a:lnTo>
                    <a:pt x="1712" y="226"/>
                  </a:lnTo>
                  <a:lnTo>
                    <a:pt x="1712" y="231"/>
                  </a:lnTo>
                  <a:lnTo>
                    <a:pt x="1717" y="226"/>
                  </a:lnTo>
                  <a:lnTo>
                    <a:pt x="1717" y="226"/>
                  </a:lnTo>
                  <a:lnTo>
                    <a:pt x="1712" y="226"/>
                  </a:lnTo>
                  <a:lnTo>
                    <a:pt x="1712" y="226"/>
                  </a:lnTo>
                  <a:lnTo>
                    <a:pt x="1712" y="226"/>
                  </a:lnTo>
                  <a:lnTo>
                    <a:pt x="1712" y="226"/>
                  </a:lnTo>
                  <a:lnTo>
                    <a:pt x="1708" y="226"/>
                  </a:lnTo>
                  <a:lnTo>
                    <a:pt x="1703" y="226"/>
                  </a:lnTo>
                  <a:lnTo>
                    <a:pt x="1703" y="226"/>
                  </a:lnTo>
                  <a:lnTo>
                    <a:pt x="1708" y="226"/>
                  </a:lnTo>
                  <a:lnTo>
                    <a:pt x="1708" y="226"/>
                  </a:lnTo>
                  <a:lnTo>
                    <a:pt x="1712" y="226"/>
                  </a:lnTo>
                  <a:lnTo>
                    <a:pt x="1708" y="226"/>
                  </a:lnTo>
                  <a:lnTo>
                    <a:pt x="1708" y="226"/>
                  </a:lnTo>
                  <a:lnTo>
                    <a:pt x="1708" y="226"/>
                  </a:lnTo>
                  <a:lnTo>
                    <a:pt x="1703" y="226"/>
                  </a:lnTo>
                  <a:lnTo>
                    <a:pt x="1699" y="226"/>
                  </a:lnTo>
                  <a:lnTo>
                    <a:pt x="1699" y="226"/>
                  </a:lnTo>
                  <a:lnTo>
                    <a:pt x="1699" y="222"/>
                  </a:lnTo>
                  <a:lnTo>
                    <a:pt x="1699" y="222"/>
                  </a:lnTo>
                  <a:lnTo>
                    <a:pt x="1699" y="222"/>
                  </a:lnTo>
                  <a:lnTo>
                    <a:pt x="1699" y="222"/>
                  </a:lnTo>
                  <a:lnTo>
                    <a:pt x="1694" y="222"/>
                  </a:lnTo>
                  <a:lnTo>
                    <a:pt x="1694" y="222"/>
                  </a:lnTo>
                  <a:lnTo>
                    <a:pt x="1694" y="222"/>
                  </a:lnTo>
                  <a:lnTo>
                    <a:pt x="1694" y="222"/>
                  </a:lnTo>
                  <a:lnTo>
                    <a:pt x="1694" y="222"/>
                  </a:lnTo>
                  <a:lnTo>
                    <a:pt x="1703" y="217"/>
                  </a:lnTo>
                  <a:lnTo>
                    <a:pt x="1708" y="217"/>
                  </a:lnTo>
                  <a:lnTo>
                    <a:pt x="1708" y="217"/>
                  </a:lnTo>
                  <a:lnTo>
                    <a:pt x="1708" y="217"/>
                  </a:lnTo>
                  <a:lnTo>
                    <a:pt x="1708" y="217"/>
                  </a:lnTo>
                  <a:lnTo>
                    <a:pt x="1703" y="217"/>
                  </a:lnTo>
                  <a:lnTo>
                    <a:pt x="1703" y="217"/>
                  </a:lnTo>
                  <a:lnTo>
                    <a:pt x="1708" y="213"/>
                  </a:lnTo>
                  <a:lnTo>
                    <a:pt x="1708" y="213"/>
                  </a:lnTo>
                  <a:lnTo>
                    <a:pt x="1708" y="213"/>
                  </a:lnTo>
                  <a:lnTo>
                    <a:pt x="1708" y="213"/>
                  </a:lnTo>
                  <a:lnTo>
                    <a:pt x="1708" y="213"/>
                  </a:lnTo>
                  <a:lnTo>
                    <a:pt x="1712" y="213"/>
                  </a:lnTo>
                  <a:lnTo>
                    <a:pt x="1712" y="213"/>
                  </a:lnTo>
                  <a:lnTo>
                    <a:pt x="1712" y="217"/>
                  </a:lnTo>
                  <a:lnTo>
                    <a:pt x="1717" y="217"/>
                  </a:lnTo>
                  <a:lnTo>
                    <a:pt x="1717" y="217"/>
                  </a:lnTo>
                  <a:lnTo>
                    <a:pt x="1717" y="213"/>
                  </a:lnTo>
                  <a:lnTo>
                    <a:pt x="1717" y="213"/>
                  </a:lnTo>
                  <a:lnTo>
                    <a:pt x="1717" y="213"/>
                  </a:lnTo>
                  <a:lnTo>
                    <a:pt x="1717" y="213"/>
                  </a:lnTo>
                  <a:lnTo>
                    <a:pt x="1717" y="213"/>
                  </a:lnTo>
                  <a:lnTo>
                    <a:pt x="1717" y="213"/>
                  </a:lnTo>
                  <a:lnTo>
                    <a:pt x="1717" y="213"/>
                  </a:lnTo>
                  <a:lnTo>
                    <a:pt x="1712" y="213"/>
                  </a:lnTo>
                  <a:lnTo>
                    <a:pt x="1712" y="213"/>
                  </a:lnTo>
                  <a:lnTo>
                    <a:pt x="1712" y="213"/>
                  </a:lnTo>
                  <a:lnTo>
                    <a:pt x="1717" y="213"/>
                  </a:lnTo>
                  <a:lnTo>
                    <a:pt x="1717" y="213"/>
                  </a:lnTo>
                  <a:lnTo>
                    <a:pt x="1717" y="208"/>
                  </a:lnTo>
                  <a:lnTo>
                    <a:pt x="1717" y="208"/>
                  </a:lnTo>
                  <a:lnTo>
                    <a:pt x="1717" y="208"/>
                  </a:lnTo>
                  <a:lnTo>
                    <a:pt x="1717" y="204"/>
                  </a:lnTo>
                  <a:lnTo>
                    <a:pt x="1717" y="204"/>
                  </a:lnTo>
                  <a:lnTo>
                    <a:pt x="1717" y="204"/>
                  </a:lnTo>
                  <a:lnTo>
                    <a:pt x="1717" y="204"/>
                  </a:lnTo>
                  <a:lnTo>
                    <a:pt x="1712" y="204"/>
                  </a:lnTo>
                  <a:lnTo>
                    <a:pt x="1712" y="204"/>
                  </a:lnTo>
                  <a:lnTo>
                    <a:pt x="1717" y="199"/>
                  </a:lnTo>
                  <a:lnTo>
                    <a:pt x="1717" y="199"/>
                  </a:lnTo>
                  <a:lnTo>
                    <a:pt x="1721" y="199"/>
                  </a:lnTo>
                  <a:lnTo>
                    <a:pt x="1721" y="199"/>
                  </a:lnTo>
                  <a:lnTo>
                    <a:pt x="1721" y="194"/>
                  </a:lnTo>
                  <a:lnTo>
                    <a:pt x="1721" y="194"/>
                  </a:lnTo>
                  <a:lnTo>
                    <a:pt x="1721" y="194"/>
                  </a:lnTo>
                  <a:lnTo>
                    <a:pt x="1726" y="190"/>
                  </a:lnTo>
                  <a:lnTo>
                    <a:pt x="1721" y="190"/>
                  </a:lnTo>
                  <a:lnTo>
                    <a:pt x="1721" y="190"/>
                  </a:lnTo>
                  <a:lnTo>
                    <a:pt x="1721" y="185"/>
                  </a:lnTo>
                  <a:lnTo>
                    <a:pt x="1721" y="185"/>
                  </a:lnTo>
                  <a:lnTo>
                    <a:pt x="1726" y="185"/>
                  </a:lnTo>
                  <a:lnTo>
                    <a:pt x="1726" y="185"/>
                  </a:lnTo>
                  <a:lnTo>
                    <a:pt x="1726" y="185"/>
                  </a:lnTo>
                  <a:lnTo>
                    <a:pt x="1721" y="185"/>
                  </a:lnTo>
                  <a:lnTo>
                    <a:pt x="1721" y="185"/>
                  </a:lnTo>
                  <a:lnTo>
                    <a:pt x="1717" y="185"/>
                  </a:lnTo>
                  <a:lnTo>
                    <a:pt x="1717" y="181"/>
                  </a:lnTo>
                  <a:lnTo>
                    <a:pt x="1721" y="181"/>
                  </a:lnTo>
                  <a:lnTo>
                    <a:pt x="1721" y="181"/>
                  </a:lnTo>
                  <a:lnTo>
                    <a:pt x="1721" y="181"/>
                  </a:lnTo>
                  <a:lnTo>
                    <a:pt x="1721" y="181"/>
                  </a:lnTo>
                  <a:lnTo>
                    <a:pt x="1717" y="181"/>
                  </a:lnTo>
                  <a:lnTo>
                    <a:pt x="1712" y="181"/>
                  </a:lnTo>
                  <a:lnTo>
                    <a:pt x="1708" y="181"/>
                  </a:lnTo>
                  <a:lnTo>
                    <a:pt x="1703" y="185"/>
                  </a:lnTo>
                  <a:lnTo>
                    <a:pt x="1699" y="185"/>
                  </a:lnTo>
                  <a:lnTo>
                    <a:pt x="1699" y="185"/>
                  </a:lnTo>
                  <a:lnTo>
                    <a:pt x="1699" y="185"/>
                  </a:lnTo>
                  <a:lnTo>
                    <a:pt x="1699" y="185"/>
                  </a:lnTo>
                  <a:lnTo>
                    <a:pt x="1699" y="190"/>
                  </a:lnTo>
                  <a:lnTo>
                    <a:pt x="1703" y="190"/>
                  </a:lnTo>
                  <a:lnTo>
                    <a:pt x="1703" y="190"/>
                  </a:lnTo>
                  <a:lnTo>
                    <a:pt x="1703" y="190"/>
                  </a:lnTo>
                  <a:lnTo>
                    <a:pt x="1699" y="190"/>
                  </a:lnTo>
                  <a:lnTo>
                    <a:pt x="1694" y="190"/>
                  </a:lnTo>
                  <a:lnTo>
                    <a:pt x="1694" y="190"/>
                  </a:lnTo>
                  <a:lnTo>
                    <a:pt x="1694" y="190"/>
                  </a:lnTo>
                  <a:lnTo>
                    <a:pt x="1694" y="190"/>
                  </a:lnTo>
                  <a:lnTo>
                    <a:pt x="1694" y="190"/>
                  </a:lnTo>
                  <a:lnTo>
                    <a:pt x="1694" y="190"/>
                  </a:lnTo>
                  <a:lnTo>
                    <a:pt x="1694" y="190"/>
                  </a:lnTo>
                  <a:lnTo>
                    <a:pt x="1690" y="190"/>
                  </a:lnTo>
                  <a:lnTo>
                    <a:pt x="1690" y="190"/>
                  </a:lnTo>
                  <a:lnTo>
                    <a:pt x="1685" y="190"/>
                  </a:lnTo>
                  <a:lnTo>
                    <a:pt x="1685" y="194"/>
                  </a:lnTo>
                  <a:lnTo>
                    <a:pt x="1685" y="194"/>
                  </a:lnTo>
                  <a:lnTo>
                    <a:pt x="1685" y="194"/>
                  </a:lnTo>
                  <a:lnTo>
                    <a:pt x="1685" y="194"/>
                  </a:lnTo>
                  <a:lnTo>
                    <a:pt x="1681" y="194"/>
                  </a:lnTo>
                  <a:lnTo>
                    <a:pt x="1681" y="194"/>
                  </a:lnTo>
                  <a:lnTo>
                    <a:pt x="1676" y="199"/>
                  </a:lnTo>
                  <a:lnTo>
                    <a:pt x="1676" y="199"/>
                  </a:lnTo>
                  <a:lnTo>
                    <a:pt x="1676" y="204"/>
                  </a:lnTo>
                  <a:lnTo>
                    <a:pt x="1676" y="204"/>
                  </a:lnTo>
                  <a:lnTo>
                    <a:pt x="1676" y="204"/>
                  </a:lnTo>
                  <a:lnTo>
                    <a:pt x="1681" y="204"/>
                  </a:lnTo>
                  <a:lnTo>
                    <a:pt x="1681" y="204"/>
                  </a:lnTo>
                  <a:lnTo>
                    <a:pt x="1681" y="204"/>
                  </a:lnTo>
                  <a:lnTo>
                    <a:pt x="1676" y="204"/>
                  </a:lnTo>
                  <a:lnTo>
                    <a:pt x="1681" y="204"/>
                  </a:lnTo>
                  <a:lnTo>
                    <a:pt x="1676" y="204"/>
                  </a:lnTo>
                  <a:lnTo>
                    <a:pt x="1676" y="204"/>
                  </a:lnTo>
                  <a:lnTo>
                    <a:pt x="1676" y="204"/>
                  </a:lnTo>
                  <a:lnTo>
                    <a:pt x="1672" y="204"/>
                  </a:lnTo>
                  <a:lnTo>
                    <a:pt x="1672" y="204"/>
                  </a:lnTo>
                  <a:lnTo>
                    <a:pt x="1667" y="208"/>
                  </a:lnTo>
                  <a:lnTo>
                    <a:pt x="1667" y="208"/>
                  </a:lnTo>
                  <a:lnTo>
                    <a:pt x="1663" y="208"/>
                  </a:lnTo>
                  <a:lnTo>
                    <a:pt x="1663" y="213"/>
                  </a:lnTo>
                  <a:lnTo>
                    <a:pt x="1663" y="213"/>
                  </a:lnTo>
                  <a:lnTo>
                    <a:pt x="1663" y="217"/>
                  </a:lnTo>
                  <a:lnTo>
                    <a:pt x="1663" y="217"/>
                  </a:lnTo>
                  <a:lnTo>
                    <a:pt x="1663" y="217"/>
                  </a:lnTo>
                  <a:lnTo>
                    <a:pt x="1663" y="217"/>
                  </a:lnTo>
                  <a:lnTo>
                    <a:pt x="1663" y="217"/>
                  </a:lnTo>
                  <a:lnTo>
                    <a:pt x="1667" y="217"/>
                  </a:lnTo>
                  <a:lnTo>
                    <a:pt x="1667" y="217"/>
                  </a:lnTo>
                  <a:lnTo>
                    <a:pt x="1667" y="217"/>
                  </a:lnTo>
                  <a:lnTo>
                    <a:pt x="1667" y="222"/>
                  </a:lnTo>
                  <a:lnTo>
                    <a:pt x="1672" y="222"/>
                  </a:lnTo>
                  <a:lnTo>
                    <a:pt x="1672" y="222"/>
                  </a:lnTo>
                  <a:lnTo>
                    <a:pt x="1672" y="222"/>
                  </a:lnTo>
                  <a:lnTo>
                    <a:pt x="1672" y="222"/>
                  </a:lnTo>
                  <a:lnTo>
                    <a:pt x="1672" y="222"/>
                  </a:lnTo>
                  <a:lnTo>
                    <a:pt x="1672" y="222"/>
                  </a:lnTo>
                  <a:lnTo>
                    <a:pt x="1672" y="222"/>
                  </a:lnTo>
                  <a:lnTo>
                    <a:pt x="1672" y="226"/>
                  </a:lnTo>
                  <a:lnTo>
                    <a:pt x="1672" y="226"/>
                  </a:lnTo>
                  <a:lnTo>
                    <a:pt x="1676" y="226"/>
                  </a:lnTo>
                  <a:lnTo>
                    <a:pt x="1676" y="226"/>
                  </a:lnTo>
                  <a:lnTo>
                    <a:pt x="1676" y="226"/>
                  </a:lnTo>
                  <a:lnTo>
                    <a:pt x="1681" y="226"/>
                  </a:lnTo>
                  <a:lnTo>
                    <a:pt x="1681" y="226"/>
                  </a:lnTo>
                  <a:lnTo>
                    <a:pt x="1681" y="226"/>
                  </a:lnTo>
                  <a:lnTo>
                    <a:pt x="1681" y="226"/>
                  </a:lnTo>
                  <a:lnTo>
                    <a:pt x="1681" y="226"/>
                  </a:lnTo>
                  <a:lnTo>
                    <a:pt x="1681" y="226"/>
                  </a:lnTo>
                  <a:lnTo>
                    <a:pt x="1681" y="226"/>
                  </a:lnTo>
                  <a:lnTo>
                    <a:pt x="1681" y="226"/>
                  </a:lnTo>
                  <a:lnTo>
                    <a:pt x="1676" y="231"/>
                  </a:lnTo>
                  <a:lnTo>
                    <a:pt x="1676" y="231"/>
                  </a:lnTo>
                  <a:lnTo>
                    <a:pt x="1676" y="231"/>
                  </a:lnTo>
                  <a:lnTo>
                    <a:pt x="1676" y="231"/>
                  </a:lnTo>
                  <a:lnTo>
                    <a:pt x="1681" y="226"/>
                  </a:lnTo>
                  <a:lnTo>
                    <a:pt x="1681" y="226"/>
                  </a:lnTo>
                  <a:lnTo>
                    <a:pt x="1676" y="226"/>
                  </a:lnTo>
                  <a:lnTo>
                    <a:pt x="1672" y="226"/>
                  </a:lnTo>
                  <a:lnTo>
                    <a:pt x="1672" y="226"/>
                  </a:lnTo>
                  <a:lnTo>
                    <a:pt x="1672" y="226"/>
                  </a:lnTo>
                  <a:lnTo>
                    <a:pt x="1672" y="231"/>
                  </a:lnTo>
                  <a:lnTo>
                    <a:pt x="1667" y="231"/>
                  </a:lnTo>
                  <a:lnTo>
                    <a:pt x="1667" y="231"/>
                  </a:lnTo>
                  <a:lnTo>
                    <a:pt x="1672" y="231"/>
                  </a:lnTo>
                  <a:lnTo>
                    <a:pt x="1667" y="231"/>
                  </a:lnTo>
                  <a:lnTo>
                    <a:pt x="1667" y="231"/>
                  </a:lnTo>
                  <a:lnTo>
                    <a:pt x="1663" y="235"/>
                  </a:lnTo>
                  <a:lnTo>
                    <a:pt x="1658" y="235"/>
                  </a:lnTo>
                  <a:lnTo>
                    <a:pt x="1658" y="235"/>
                  </a:lnTo>
                  <a:lnTo>
                    <a:pt x="1658" y="235"/>
                  </a:lnTo>
                  <a:lnTo>
                    <a:pt x="1658" y="235"/>
                  </a:lnTo>
                  <a:lnTo>
                    <a:pt x="1663" y="235"/>
                  </a:lnTo>
                  <a:lnTo>
                    <a:pt x="1663" y="235"/>
                  </a:lnTo>
                  <a:lnTo>
                    <a:pt x="1663" y="235"/>
                  </a:lnTo>
                  <a:lnTo>
                    <a:pt x="1667" y="235"/>
                  </a:lnTo>
                  <a:lnTo>
                    <a:pt x="1667" y="235"/>
                  </a:lnTo>
                  <a:lnTo>
                    <a:pt x="1667" y="235"/>
                  </a:lnTo>
                  <a:lnTo>
                    <a:pt x="1672" y="235"/>
                  </a:lnTo>
                  <a:lnTo>
                    <a:pt x="1672" y="235"/>
                  </a:lnTo>
                  <a:lnTo>
                    <a:pt x="1672" y="235"/>
                  </a:lnTo>
                  <a:lnTo>
                    <a:pt x="1672" y="235"/>
                  </a:lnTo>
                  <a:lnTo>
                    <a:pt x="1667" y="235"/>
                  </a:lnTo>
                  <a:lnTo>
                    <a:pt x="1667" y="235"/>
                  </a:lnTo>
                  <a:lnTo>
                    <a:pt x="1667" y="235"/>
                  </a:lnTo>
                  <a:lnTo>
                    <a:pt x="1667" y="240"/>
                  </a:lnTo>
                  <a:lnTo>
                    <a:pt x="1663" y="240"/>
                  </a:lnTo>
                  <a:lnTo>
                    <a:pt x="1663" y="240"/>
                  </a:lnTo>
                  <a:lnTo>
                    <a:pt x="1667" y="240"/>
                  </a:lnTo>
                  <a:lnTo>
                    <a:pt x="1667" y="240"/>
                  </a:lnTo>
                  <a:lnTo>
                    <a:pt x="1663" y="240"/>
                  </a:lnTo>
                  <a:lnTo>
                    <a:pt x="1658" y="244"/>
                  </a:lnTo>
                  <a:lnTo>
                    <a:pt x="1653" y="244"/>
                  </a:lnTo>
                  <a:lnTo>
                    <a:pt x="1653" y="244"/>
                  </a:lnTo>
                  <a:lnTo>
                    <a:pt x="1649" y="249"/>
                  </a:lnTo>
                  <a:lnTo>
                    <a:pt x="1649" y="249"/>
                  </a:lnTo>
                  <a:lnTo>
                    <a:pt x="1640" y="249"/>
                  </a:lnTo>
                  <a:lnTo>
                    <a:pt x="1640" y="249"/>
                  </a:lnTo>
                  <a:lnTo>
                    <a:pt x="1640" y="249"/>
                  </a:lnTo>
                  <a:lnTo>
                    <a:pt x="1640" y="249"/>
                  </a:lnTo>
                  <a:lnTo>
                    <a:pt x="1635" y="249"/>
                  </a:lnTo>
                  <a:lnTo>
                    <a:pt x="1635" y="249"/>
                  </a:lnTo>
                  <a:lnTo>
                    <a:pt x="1635" y="249"/>
                  </a:lnTo>
                  <a:lnTo>
                    <a:pt x="1635" y="249"/>
                  </a:lnTo>
                  <a:lnTo>
                    <a:pt x="1626" y="253"/>
                  </a:lnTo>
                  <a:lnTo>
                    <a:pt x="1626" y="253"/>
                  </a:lnTo>
                  <a:lnTo>
                    <a:pt x="1626" y="258"/>
                  </a:lnTo>
                  <a:lnTo>
                    <a:pt x="1626" y="258"/>
                  </a:lnTo>
                  <a:lnTo>
                    <a:pt x="1622" y="262"/>
                  </a:lnTo>
                  <a:lnTo>
                    <a:pt x="1622" y="262"/>
                  </a:lnTo>
                  <a:lnTo>
                    <a:pt x="1617" y="267"/>
                  </a:lnTo>
                  <a:lnTo>
                    <a:pt x="1613" y="267"/>
                  </a:lnTo>
                  <a:lnTo>
                    <a:pt x="1613" y="267"/>
                  </a:lnTo>
                  <a:lnTo>
                    <a:pt x="1613" y="267"/>
                  </a:lnTo>
                  <a:lnTo>
                    <a:pt x="1608" y="267"/>
                  </a:lnTo>
                  <a:lnTo>
                    <a:pt x="1608" y="267"/>
                  </a:lnTo>
                  <a:lnTo>
                    <a:pt x="1608" y="267"/>
                  </a:lnTo>
                  <a:lnTo>
                    <a:pt x="1604" y="267"/>
                  </a:lnTo>
                  <a:lnTo>
                    <a:pt x="1604" y="271"/>
                  </a:lnTo>
                  <a:lnTo>
                    <a:pt x="1604" y="271"/>
                  </a:lnTo>
                  <a:lnTo>
                    <a:pt x="1604" y="271"/>
                  </a:lnTo>
                  <a:lnTo>
                    <a:pt x="1604" y="276"/>
                  </a:lnTo>
                  <a:lnTo>
                    <a:pt x="1604" y="276"/>
                  </a:lnTo>
                  <a:lnTo>
                    <a:pt x="1604" y="271"/>
                  </a:lnTo>
                  <a:lnTo>
                    <a:pt x="1604" y="271"/>
                  </a:lnTo>
                  <a:lnTo>
                    <a:pt x="1604" y="267"/>
                  </a:lnTo>
                  <a:lnTo>
                    <a:pt x="1604" y="267"/>
                  </a:lnTo>
                  <a:lnTo>
                    <a:pt x="1604" y="267"/>
                  </a:lnTo>
                  <a:lnTo>
                    <a:pt x="1604" y="267"/>
                  </a:lnTo>
                  <a:lnTo>
                    <a:pt x="1604" y="267"/>
                  </a:lnTo>
                  <a:lnTo>
                    <a:pt x="1604" y="267"/>
                  </a:lnTo>
                  <a:lnTo>
                    <a:pt x="1608" y="267"/>
                  </a:lnTo>
                  <a:lnTo>
                    <a:pt x="1608" y="267"/>
                  </a:lnTo>
                  <a:lnTo>
                    <a:pt x="1608" y="267"/>
                  </a:lnTo>
                  <a:lnTo>
                    <a:pt x="1608" y="267"/>
                  </a:lnTo>
                  <a:lnTo>
                    <a:pt x="1608" y="267"/>
                  </a:lnTo>
                  <a:lnTo>
                    <a:pt x="1613" y="267"/>
                  </a:lnTo>
                  <a:lnTo>
                    <a:pt x="1613" y="267"/>
                  </a:lnTo>
                  <a:lnTo>
                    <a:pt x="1613" y="267"/>
                  </a:lnTo>
                  <a:lnTo>
                    <a:pt x="1613" y="267"/>
                  </a:lnTo>
                  <a:lnTo>
                    <a:pt x="1613" y="267"/>
                  </a:lnTo>
                  <a:lnTo>
                    <a:pt x="1617" y="267"/>
                  </a:lnTo>
                  <a:lnTo>
                    <a:pt x="1617" y="267"/>
                  </a:lnTo>
                  <a:lnTo>
                    <a:pt x="1617" y="267"/>
                  </a:lnTo>
                  <a:lnTo>
                    <a:pt x="1617" y="262"/>
                  </a:lnTo>
                  <a:lnTo>
                    <a:pt x="1617" y="262"/>
                  </a:lnTo>
                  <a:lnTo>
                    <a:pt x="1617" y="262"/>
                  </a:lnTo>
                  <a:lnTo>
                    <a:pt x="1613" y="262"/>
                  </a:lnTo>
                  <a:lnTo>
                    <a:pt x="1613" y="262"/>
                  </a:lnTo>
                  <a:lnTo>
                    <a:pt x="1617" y="262"/>
                  </a:lnTo>
                  <a:lnTo>
                    <a:pt x="1617" y="262"/>
                  </a:lnTo>
                  <a:lnTo>
                    <a:pt x="1613" y="262"/>
                  </a:lnTo>
                  <a:lnTo>
                    <a:pt x="1613" y="262"/>
                  </a:lnTo>
                  <a:lnTo>
                    <a:pt x="1613" y="262"/>
                  </a:lnTo>
                  <a:lnTo>
                    <a:pt x="1613" y="262"/>
                  </a:lnTo>
                  <a:lnTo>
                    <a:pt x="1613" y="262"/>
                  </a:lnTo>
                  <a:lnTo>
                    <a:pt x="1613" y="258"/>
                  </a:lnTo>
                  <a:lnTo>
                    <a:pt x="1613" y="258"/>
                  </a:lnTo>
                  <a:lnTo>
                    <a:pt x="1613" y="258"/>
                  </a:lnTo>
                  <a:lnTo>
                    <a:pt x="1617" y="253"/>
                  </a:lnTo>
                  <a:lnTo>
                    <a:pt x="1617" y="253"/>
                  </a:lnTo>
                  <a:lnTo>
                    <a:pt x="1622" y="253"/>
                  </a:lnTo>
                  <a:lnTo>
                    <a:pt x="1631" y="244"/>
                  </a:lnTo>
                  <a:lnTo>
                    <a:pt x="1631" y="244"/>
                  </a:lnTo>
                  <a:lnTo>
                    <a:pt x="1631" y="244"/>
                  </a:lnTo>
                  <a:lnTo>
                    <a:pt x="1626" y="244"/>
                  </a:lnTo>
                  <a:lnTo>
                    <a:pt x="1626" y="244"/>
                  </a:lnTo>
                  <a:lnTo>
                    <a:pt x="1622" y="249"/>
                  </a:lnTo>
                  <a:lnTo>
                    <a:pt x="1622" y="249"/>
                  </a:lnTo>
                  <a:lnTo>
                    <a:pt x="1622" y="249"/>
                  </a:lnTo>
                  <a:lnTo>
                    <a:pt x="1622" y="249"/>
                  </a:lnTo>
                  <a:lnTo>
                    <a:pt x="1622" y="249"/>
                  </a:lnTo>
                  <a:lnTo>
                    <a:pt x="1626" y="244"/>
                  </a:lnTo>
                  <a:lnTo>
                    <a:pt x="1626" y="244"/>
                  </a:lnTo>
                  <a:lnTo>
                    <a:pt x="1626" y="244"/>
                  </a:lnTo>
                  <a:lnTo>
                    <a:pt x="1626" y="244"/>
                  </a:lnTo>
                  <a:lnTo>
                    <a:pt x="1622" y="244"/>
                  </a:lnTo>
                  <a:lnTo>
                    <a:pt x="1622" y="244"/>
                  </a:lnTo>
                  <a:lnTo>
                    <a:pt x="1622" y="244"/>
                  </a:lnTo>
                  <a:lnTo>
                    <a:pt x="1622" y="240"/>
                  </a:lnTo>
                  <a:lnTo>
                    <a:pt x="1622" y="240"/>
                  </a:lnTo>
                  <a:lnTo>
                    <a:pt x="1622" y="240"/>
                  </a:lnTo>
                  <a:lnTo>
                    <a:pt x="1622" y="240"/>
                  </a:lnTo>
                  <a:lnTo>
                    <a:pt x="1622" y="240"/>
                  </a:lnTo>
                  <a:lnTo>
                    <a:pt x="1622" y="240"/>
                  </a:lnTo>
                  <a:lnTo>
                    <a:pt x="1617" y="240"/>
                  </a:lnTo>
                  <a:lnTo>
                    <a:pt x="1617" y="240"/>
                  </a:lnTo>
                  <a:lnTo>
                    <a:pt x="1617" y="240"/>
                  </a:lnTo>
                  <a:lnTo>
                    <a:pt x="1617" y="240"/>
                  </a:lnTo>
                  <a:lnTo>
                    <a:pt x="1617" y="240"/>
                  </a:lnTo>
                  <a:lnTo>
                    <a:pt x="1617" y="240"/>
                  </a:lnTo>
                  <a:lnTo>
                    <a:pt x="1613" y="240"/>
                  </a:lnTo>
                  <a:lnTo>
                    <a:pt x="1608" y="240"/>
                  </a:lnTo>
                  <a:lnTo>
                    <a:pt x="1608" y="240"/>
                  </a:lnTo>
                  <a:lnTo>
                    <a:pt x="1608" y="240"/>
                  </a:lnTo>
                  <a:lnTo>
                    <a:pt x="1608" y="240"/>
                  </a:lnTo>
                  <a:lnTo>
                    <a:pt x="1604" y="240"/>
                  </a:lnTo>
                  <a:lnTo>
                    <a:pt x="1604" y="240"/>
                  </a:lnTo>
                  <a:lnTo>
                    <a:pt x="1604" y="244"/>
                  </a:lnTo>
                  <a:lnTo>
                    <a:pt x="1604" y="244"/>
                  </a:lnTo>
                  <a:lnTo>
                    <a:pt x="1604" y="244"/>
                  </a:lnTo>
                  <a:lnTo>
                    <a:pt x="1604" y="244"/>
                  </a:lnTo>
                  <a:lnTo>
                    <a:pt x="1604" y="244"/>
                  </a:lnTo>
                  <a:lnTo>
                    <a:pt x="1604" y="244"/>
                  </a:lnTo>
                  <a:lnTo>
                    <a:pt x="1604" y="244"/>
                  </a:lnTo>
                  <a:lnTo>
                    <a:pt x="1604" y="249"/>
                  </a:lnTo>
                  <a:lnTo>
                    <a:pt x="1604" y="249"/>
                  </a:lnTo>
                  <a:lnTo>
                    <a:pt x="1604" y="249"/>
                  </a:lnTo>
                  <a:lnTo>
                    <a:pt x="1608" y="249"/>
                  </a:lnTo>
                  <a:lnTo>
                    <a:pt x="1608" y="249"/>
                  </a:lnTo>
                  <a:lnTo>
                    <a:pt x="1613" y="249"/>
                  </a:lnTo>
                  <a:lnTo>
                    <a:pt x="1613" y="249"/>
                  </a:lnTo>
                  <a:lnTo>
                    <a:pt x="1613" y="253"/>
                  </a:lnTo>
                  <a:lnTo>
                    <a:pt x="1613" y="253"/>
                  </a:lnTo>
                  <a:lnTo>
                    <a:pt x="1608" y="253"/>
                  </a:lnTo>
                  <a:lnTo>
                    <a:pt x="1608" y="253"/>
                  </a:lnTo>
                  <a:lnTo>
                    <a:pt x="1608" y="253"/>
                  </a:lnTo>
                  <a:lnTo>
                    <a:pt x="1608" y="253"/>
                  </a:lnTo>
                  <a:lnTo>
                    <a:pt x="1604" y="253"/>
                  </a:lnTo>
                  <a:lnTo>
                    <a:pt x="1604" y="253"/>
                  </a:lnTo>
                  <a:lnTo>
                    <a:pt x="1599" y="253"/>
                  </a:lnTo>
                  <a:lnTo>
                    <a:pt x="1599" y="253"/>
                  </a:lnTo>
                  <a:lnTo>
                    <a:pt x="1599" y="253"/>
                  </a:lnTo>
                  <a:lnTo>
                    <a:pt x="1599" y="249"/>
                  </a:lnTo>
                  <a:lnTo>
                    <a:pt x="1599" y="244"/>
                  </a:lnTo>
                  <a:lnTo>
                    <a:pt x="1599" y="244"/>
                  </a:lnTo>
                  <a:lnTo>
                    <a:pt x="1599" y="244"/>
                  </a:lnTo>
                  <a:lnTo>
                    <a:pt x="1599" y="244"/>
                  </a:lnTo>
                  <a:lnTo>
                    <a:pt x="1599" y="249"/>
                  </a:lnTo>
                  <a:lnTo>
                    <a:pt x="1599" y="249"/>
                  </a:lnTo>
                  <a:lnTo>
                    <a:pt x="1599" y="249"/>
                  </a:lnTo>
                  <a:lnTo>
                    <a:pt x="1599" y="249"/>
                  </a:lnTo>
                  <a:lnTo>
                    <a:pt x="1599" y="249"/>
                  </a:lnTo>
                  <a:lnTo>
                    <a:pt x="1599" y="249"/>
                  </a:lnTo>
                  <a:lnTo>
                    <a:pt x="1595" y="249"/>
                  </a:lnTo>
                  <a:lnTo>
                    <a:pt x="1595" y="249"/>
                  </a:lnTo>
                  <a:lnTo>
                    <a:pt x="1590" y="253"/>
                  </a:lnTo>
                  <a:lnTo>
                    <a:pt x="1590" y="253"/>
                  </a:lnTo>
                  <a:lnTo>
                    <a:pt x="1590" y="253"/>
                  </a:lnTo>
                  <a:lnTo>
                    <a:pt x="1586" y="253"/>
                  </a:lnTo>
                  <a:lnTo>
                    <a:pt x="1586" y="249"/>
                  </a:lnTo>
                  <a:lnTo>
                    <a:pt x="1586" y="249"/>
                  </a:lnTo>
                  <a:lnTo>
                    <a:pt x="1581" y="249"/>
                  </a:lnTo>
                  <a:lnTo>
                    <a:pt x="1577" y="249"/>
                  </a:lnTo>
                  <a:lnTo>
                    <a:pt x="1577" y="249"/>
                  </a:lnTo>
                  <a:lnTo>
                    <a:pt x="1577" y="249"/>
                  </a:lnTo>
                  <a:lnTo>
                    <a:pt x="1572" y="249"/>
                  </a:lnTo>
                  <a:lnTo>
                    <a:pt x="1572" y="249"/>
                  </a:lnTo>
                  <a:lnTo>
                    <a:pt x="1572" y="249"/>
                  </a:lnTo>
                  <a:lnTo>
                    <a:pt x="1568" y="249"/>
                  </a:lnTo>
                  <a:lnTo>
                    <a:pt x="1568" y="249"/>
                  </a:lnTo>
                  <a:lnTo>
                    <a:pt x="1563" y="249"/>
                  </a:lnTo>
                  <a:lnTo>
                    <a:pt x="1559" y="249"/>
                  </a:lnTo>
                  <a:lnTo>
                    <a:pt x="1559" y="249"/>
                  </a:lnTo>
                  <a:lnTo>
                    <a:pt x="1559" y="249"/>
                  </a:lnTo>
                  <a:lnTo>
                    <a:pt x="1554" y="249"/>
                  </a:lnTo>
                  <a:lnTo>
                    <a:pt x="1554" y="249"/>
                  </a:lnTo>
                  <a:lnTo>
                    <a:pt x="1554" y="249"/>
                  </a:lnTo>
                  <a:lnTo>
                    <a:pt x="1550" y="244"/>
                  </a:lnTo>
                  <a:lnTo>
                    <a:pt x="1550" y="244"/>
                  </a:lnTo>
                  <a:lnTo>
                    <a:pt x="1550" y="244"/>
                  </a:lnTo>
                  <a:lnTo>
                    <a:pt x="1550" y="240"/>
                  </a:lnTo>
                  <a:lnTo>
                    <a:pt x="1550" y="240"/>
                  </a:lnTo>
                  <a:lnTo>
                    <a:pt x="1545" y="240"/>
                  </a:lnTo>
                  <a:lnTo>
                    <a:pt x="1545" y="240"/>
                  </a:lnTo>
                  <a:lnTo>
                    <a:pt x="1541" y="240"/>
                  </a:lnTo>
                  <a:lnTo>
                    <a:pt x="1541" y="240"/>
                  </a:lnTo>
                  <a:lnTo>
                    <a:pt x="1536" y="240"/>
                  </a:lnTo>
                  <a:lnTo>
                    <a:pt x="1536" y="240"/>
                  </a:lnTo>
                  <a:lnTo>
                    <a:pt x="1536" y="240"/>
                  </a:lnTo>
                  <a:lnTo>
                    <a:pt x="1541" y="235"/>
                  </a:lnTo>
                  <a:lnTo>
                    <a:pt x="1541" y="235"/>
                  </a:lnTo>
                  <a:lnTo>
                    <a:pt x="1541" y="235"/>
                  </a:lnTo>
                  <a:lnTo>
                    <a:pt x="1536" y="235"/>
                  </a:lnTo>
                  <a:lnTo>
                    <a:pt x="1536" y="235"/>
                  </a:lnTo>
                  <a:lnTo>
                    <a:pt x="1536" y="235"/>
                  </a:lnTo>
                  <a:lnTo>
                    <a:pt x="1536" y="235"/>
                  </a:lnTo>
                  <a:lnTo>
                    <a:pt x="1536" y="235"/>
                  </a:lnTo>
                  <a:lnTo>
                    <a:pt x="1536" y="235"/>
                  </a:lnTo>
                  <a:lnTo>
                    <a:pt x="1536" y="235"/>
                  </a:lnTo>
                  <a:lnTo>
                    <a:pt x="1536" y="235"/>
                  </a:lnTo>
                  <a:lnTo>
                    <a:pt x="1536" y="231"/>
                  </a:lnTo>
                  <a:lnTo>
                    <a:pt x="1536" y="231"/>
                  </a:lnTo>
                  <a:lnTo>
                    <a:pt x="1536" y="231"/>
                  </a:lnTo>
                  <a:lnTo>
                    <a:pt x="1541" y="226"/>
                  </a:lnTo>
                  <a:lnTo>
                    <a:pt x="1541" y="226"/>
                  </a:lnTo>
                  <a:lnTo>
                    <a:pt x="1541" y="226"/>
                  </a:lnTo>
                  <a:lnTo>
                    <a:pt x="1541" y="226"/>
                  </a:lnTo>
                  <a:lnTo>
                    <a:pt x="1541" y="222"/>
                  </a:lnTo>
                  <a:lnTo>
                    <a:pt x="1536" y="222"/>
                  </a:lnTo>
                  <a:lnTo>
                    <a:pt x="1536" y="222"/>
                  </a:lnTo>
                  <a:lnTo>
                    <a:pt x="1532" y="226"/>
                  </a:lnTo>
                  <a:lnTo>
                    <a:pt x="1527" y="226"/>
                  </a:lnTo>
                  <a:lnTo>
                    <a:pt x="1518" y="226"/>
                  </a:lnTo>
                  <a:lnTo>
                    <a:pt x="1513" y="226"/>
                  </a:lnTo>
                  <a:lnTo>
                    <a:pt x="1509" y="226"/>
                  </a:lnTo>
                  <a:lnTo>
                    <a:pt x="1509" y="226"/>
                  </a:lnTo>
                  <a:lnTo>
                    <a:pt x="1500" y="231"/>
                  </a:lnTo>
                  <a:lnTo>
                    <a:pt x="1500" y="231"/>
                  </a:lnTo>
                  <a:lnTo>
                    <a:pt x="1500" y="231"/>
                  </a:lnTo>
                  <a:lnTo>
                    <a:pt x="1500" y="235"/>
                  </a:lnTo>
                  <a:lnTo>
                    <a:pt x="1500" y="235"/>
                  </a:lnTo>
                  <a:lnTo>
                    <a:pt x="1500" y="235"/>
                  </a:lnTo>
                  <a:lnTo>
                    <a:pt x="1500" y="235"/>
                  </a:lnTo>
                  <a:lnTo>
                    <a:pt x="1504" y="235"/>
                  </a:lnTo>
                  <a:lnTo>
                    <a:pt x="1504" y="235"/>
                  </a:lnTo>
                  <a:lnTo>
                    <a:pt x="1509" y="235"/>
                  </a:lnTo>
                  <a:lnTo>
                    <a:pt x="1509" y="235"/>
                  </a:lnTo>
                  <a:lnTo>
                    <a:pt x="1509" y="231"/>
                  </a:lnTo>
                  <a:lnTo>
                    <a:pt x="1509" y="231"/>
                  </a:lnTo>
                  <a:lnTo>
                    <a:pt x="1509" y="231"/>
                  </a:lnTo>
                  <a:lnTo>
                    <a:pt x="1513" y="231"/>
                  </a:lnTo>
                  <a:lnTo>
                    <a:pt x="1513" y="231"/>
                  </a:lnTo>
                  <a:lnTo>
                    <a:pt x="1518" y="231"/>
                  </a:lnTo>
                  <a:lnTo>
                    <a:pt x="1518" y="231"/>
                  </a:lnTo>
                  <a:lnTo>
                    <a:pt x="1518" y="231"/>
                  </a:lnTo>
                  <a:lnTo>
                    <a:pt x="1518" y="231"/>
                  </a:lnTo>
                  <a:lnTo>
                    <a:pt x="1522" y="231"/>
                  </a:lnTo>
                  <a:lnTo>
                    <a:pt x="1522" y="231"/>
                  </a:lnTo>
                  <a:lnTo>
                    <a:pt x="1522" y="231"/>
                  </a:lnTo>
                  <a:lnTo>
                    <a:pt x="1527" y="231"/>
                  </a:lnTo>
                  <a:lnTo>
                    <a:pt x="1532" y="231"/>
                  </a:lnTo>
                  <a:lnTo>
                    <a:pt x="1532" y="226"/>
                  </a:lnTo>
                  <a:lnTo>
                    <a:pt x="1536" y="226"/>
                  </a:lnTo>
                  <a:lnTo>
                    <a:pt x="1536" y="231"/>
                  </a:lnTo>
                  <a:lnTo>
                    <a:pt x="1536" y="231"/>
                  </a:lnTo>
                  <a:lnTo>
                    <a:pt x="1532" y="231"/>
                  </a:lnTo>
                  <a:lnTo>
                    <a:pt x="1532" y="231"/>
                  </a:lnTo>
                  <a:lnTo>
                    <a:pt x="1532" y="231"/>
                  </a:lnTo>
                  <a:lnTo>
                    <a:pt x="1527" y="231"/>
                  </a:lnTo>
                  <a:lnTo>
                    <a:pt x="1527" y="231"/>
                  </a:lnTo>
                  <a:lnTo>
                    <a:pt x="1527" y="231"/>
                  </a:lnTo>
                  <a:lnTo>
                    <a:pt x="1522" y="235"/>
                  </a:lnTo>
                  <a:lnTo>
                    <a:pt x="1522" y="235"/>
                  </a:lnTo>
                  <a:lnTo>
                    <a:pt x="1518" y="235"/>
                  </a:lnTo>
                  <a:lnTo>
                    <a:pt x="1518" y="235"/>
                  </a:lnTo>
                  <a:lnTo>
                    <a:pt x="1518" y="235"/>
                  </a:lnTo>
                  <a:lnTo>
                    <a:pt x="1518" y="235"/>
                  </a:lnTo>
                  <a:lnTo>
                    <a:pt x="1518" y="235"/>
                  </a:lnTo>
                  <a:lnTo>
                    <a:pt x="1513" y="235"/>
                  </a:lnTo>
                  <a:lnTo>
                    <a:pt x="1513" y="235"/>
                  </a:lnTo>
                  <a:lnTo>
                    <a:pt x="1513" y="235"/>
                  </a:lnTo>
                  <a:lnTo>
                    <a:pt x="1513" y="235"/>
                  </a:lnTo>
                  <a:lnTo>
                    <a:pt x="1509" y="235"/>
                  </a:lnTo>
                  <a:lnTo>
                    <a:pt x="1509" y="235"/>
                  </a:lnTo>
                  <a:lnTo>
                    <a:pt x="1509" y="235"/>
                  </a:lnTo>
                  <a:lnTo>
                    <a:pt x="1504" y="235"/>
                  </a:lnTo>
                  <a:lnTo>
                    <a:pt x="1504" y="235"/>
                  </a:lnTo>
                  <a:lnTo>
                    <a:pt x="1504" y="235"/>
                  </a:lnTo>
                  <a:lnTo>
                    <a:pt x="1500" y="235"/>
                  </a:lnTo>
                  <a:lnTo>
                    <a:pt x="1500" y="235"/>
                  </a:lnTo>
                  <a:lnTo>
                    <a:pt x="1500" y="240"/>
                  </a:lnTo>
                  <a:lnTo>
                    <a:pt x="1500" y="240"/>
                  </a:lnTo>
                  <a:lnTo>
                    <a:pt x="1495" y="240"/>
                  </a:lnTo>
                  <a:lnTo>
                    <a:pt x="1495" y="240"/>
                  </a:lnTo>
                  <a:lnTo>
                    <a:pt x="1495" y="240"/>
                  </a:lnTo>
                  <a:lnTo>
                    <a:pt x="1491" y="244"/>
                  </a:lnTo>
                  <a:lnTo>
                    <a:pt x="1491" y="244"/>
                  </a:lnTo>
                  <a:lnTo>
                    <a:pt x="1491" y="244"/>
                  </a:lnTo>
                  <a:lnTo>
                    <a:pt x="1491" y="244"/>
                  </a:lnTo>
                  <a:lnTo>
                    <a:pt x="1491" y="249"/>
                  </a:lnTo>
                  <a:lnTo>
                    <a:pt x="1491" y="249"/>
                  </a:lnTo>
                  <a:lnTo>
                    <a:pt x="1491" y="249"/>
                  </a:lnTo>
                  <a:lnTo>
                    <a:pt x="1486" y="249"/>
                  </a:lnTo>
                  <a:lnTo>
                    <a:pt x="1486" y="253"/>
                  </a:lnTo>
                  <a:lnTo>
                    <a:pt x="1486" y="253"/>
                  </a:lnTo>
                  <a:lnTo>
                    <a:pt x="1486" y="253"/>
                  </a:lnTo>
                  <a:lnTo>
                    <a:pt x="1486" y="253"/>
                  </a:lnTo>
                  <a:lnTo>
                    <a:pt x="1486" y="253"/>
                  </a:lnTo>
                  <a:lnTo>
                    <a:pt x="1486" y="258"/>
                  </a:lnTo>
                  <a:lnTo>
                    <a:pt x="1486" y="258"/>
                  </a:lnTo>
                  <a:lnTo>
                    <a:pt x="1482" y="258"/>
                  </a:lnTo>
                  <a:lnTo>
                    <a:pt x="1482" y="258"/>
                  </a:lnTo>
                  <a:lnTo>
                    <a:pt x="1482" y="258"/>
                  </a:lnTo>
                  <a:lnTo>
                    <a:pt x="1482" y="258"/>
                  </a:lnTo>
                  <a:lnTo>
                    <a:pt x="1482" y="258"/>
                  </a:lnTo>
                  <a:lnTo>
                    <a:pt x="1482" y="258"/>
                  </a:lnTo>
                  <a:lnTo>
                    <a:pt x="1482" y="253"/>
                  </a:lnTo>
                  <a:lnTo>
                    <a:pt x="1482" y="253"/>
                  </a:lnTo>
                  <a:lnTo>
                    <a:pt x="1482" y="258"/>
                  </a:lnTo>
                  <a:lnTo>
                    <a:pt x="1477" y="258"/>
                  </a:lnTo>
                  <a:lnTo>
                    <a:pt x="1477" y="258"/>
                  </a:lnTo>
                  <a:lnTo>
                    <a:pt x="1477" y="258"/>
                  </a:lnTo>
                  <a:lnTo>
                    <a:pt x="1473" y="262"/>
                  </a:lnTo>
                  <a:lnTo>
                    <a:pt x="1473" y="267"/>
                  </a:lnTo>
                  <a:lnTo>
                    <a:pt x="1473" y="267"/>
                  </a:lnTo>
                  <a:lnTo>
                    <a:pt x="1473" y="267"/>
                  </a:lnTo>
                  <a:lnTo>
                    <a:pt x="1473" y="267"/>
                  </a:lnTo>
                  <a:lnTo>
                    <a:pt x="1473" y="262"/>
                  </a:lnTo>
                  <a:lnTo>
                    <a:pt x="1473" y="262"/>
                  </a:lnTo>
                  <a:lnTo>
                    <a:pt x="1473" y="262"/>
                  </a:lnTo>
                  <a:lnTo>
                    <a:pt x="1473" y="258"/>
                  </a:lnTo>
                  <a:lnTo>
                    <a:pt x="1473" y="258"/>
                  </a:lnTo>
                  <a:lnTo>
                    <a:pt x="1473" y="258"/>
                  </a:lnTo>
                  <a:lnTo>
                    <a:pt x="1473" y="258"/>
                  </a:lnTo>
                  <a:lnTo>
                    <a:pt x="1473" y="258"/>
                  </a:lnTo>
                  <a:lnTo>
                    <a:pt x="1473" y="253"/>
                  </a:lnTo>
                  <a:lnTo>
                    <a:pt x="1473" y="253"/>
                  </a:lnTo>
                  <a:lnTo>
                    <a:pt x="1473" y="253"/>
                  </a:lnTo>
                  <a:lnTo>
                    <a:pt x="1473" y="253"/>
                  </a:lnTo>
                  <a:lnTo>
                    <a:pt x="1477" y="253"/>
                  </a:lnTo>
                  <a:lnTo>
                    <a:pt x="1477" y="253"/>
                  </a:lnTo>
                  <a:lnTo>
                    <a:pt x="1477" y="253"/>
                  </a:lnTo>
                  <a:lnTo>
                    <a:pt x="1482" y="253"/>
                  </a:lnTo>
                  <a:lnTo>
                    <a:pt x="1482" y="253"/>
                  </a:lnTo>
                  <a:lnTo>
                    <a:pt x="1482" y="253"/>
                  </a:lnTo>
                  <a:lnTo>
                    <a:pt x="1482" y="253"/>
                  </a:lnTo>
                  <a:lnTo>
                    <a:pt x="1482" y="249"/>
                  </a:lnTo>
                  <a:lnTo>
                    <a:pt x="1482" y="249"/>
                  </a:lnTo>
                  <a:lnTo>
                    <a:pt x="1482" y="244"/>
                  </a:lnTo>
                  <a:lnTo>
                    <a:pt x="1482" y="244"/>
                  </a:lnTo>
                  <a:lnTo>
                    <a:pt x="1482" y="244"/>
                  </a:lnTo>
                  <a:lnTo>
                    <a:pt x="1482" y="244"/>
                  </a:lnTo>
                  <a:lnTo>
                    <a:pt x="1482" y="244"/>
                  </a:lnTo>
                  <a:lnTo>
                    <a:pt x="1477" y="244"/>
                  </a:lnTo>
                  <a:lnTo>
                    <a:pt x="1477" y="244"/>
                  </a:lnTo>
                  <a:lnTo>
                    <a:pt x="1477" y="244"/>
                  </a:lnTo>
                  <a:lnTo>
                    <a:pt x="1477" y="244"/>
                  </a:lnTo>
                  <a:lnTo>
                    <a:pt x="1477" y="244"/>
                  </a:lnTo>
                  <a:lnTo>
                    <a:pt x="1482" y="244"/>
                  </a:lnTo>
                  <a:lnTo>
                    <a:pt x="1482" y="240"/>
                  </a:lnTo>
                  <a:lnTo>
                    <a:pt x="1482" y="240"/>
                  </a:lnTo>
                  <a:lnTo>
                    <a:pt x="1482" y="240"/>
                  </a:lnTo>
                  <a:lnTo>
                    <a:pt x="1477" y="240"/>
                  </a:lnTo>
                  <a:lnTo>
                    <a:pt x="1477" y="240"/>
                  </a:lnTo>
                  <a:lnTo>
                    <a:pt x="1477" y="240"/>
                  </a:lnTo>
                  <a:lnTo>
                    <a:pt x="1477" y="240"/>
                  </a:lnTo>
                  <a:lnTo>
                    <a:pt x="1477" y="235"/>
                  </a:lnTo>
                  <a:lnTo>
                    <a:pt x="1477" y="235"/>
                  </a:lnTo>
                  <a:lnTo>
                    <a:pt x="1477" y="235"/>
                  </a:lnTo>
                  <a:lnTo>
                    <a:pt x="1477" y="235"/>
                  </a:lnTo>
                  <a:lnTo>
                    <a:pt x="1477" y="235"/>
                  </a:lnTo>
                  <a:lnTo>
                    <a:pt x="1473" y="235"/>
                  </a:lnTo>
                  <a:lnTo>
                    <a:pt x="1473" y="235"/>
                  </a:lnTo>
                  <a:lnTo>
                    <a:pt x="1464" y="235"/>
                  </a:lnTo>
                  <a:lnTo>
                    <a:pt x="1464" y="240"/>
                  </a:lnTo>
                  <a:lnTo>
                    <a:pt x="1464" y="240"/>
                  </a:lnTo>
                  <a:lnTo>
                    <a:pt x="1464" y="235"/>
                  </a:lnTo>
                  <a:lnTo>
                    <a:pt x="1464" y="235"/>
                  </a:lnTo>
                  <a:lnTo>
                    <a:pt x="1459" y="235"/>
                  </a:lnTo>
                  <a:lnTo>
                    <a:pt x="1459" y="235"/>
                  </a:lnTo>
                  <a:lnTo>
                    <a:pt x="1455" y="240"/>
                  </a:lnTo>
                  <a:lnTo>
                    <a:pt x="1455" y="235"/>
                  </a:lnTo>
                  <a:lnTo>
                    <a:pt x="1450" y="235"/>
                  </a:lnTo>
                  <a:lnTo>
                    <a:pt x="1450" y="235"/>
                  </a:lnTo>
                  <a:lnTo>
                    <a:pt x="1446" y="235"/>
                  </a:lnTo>
                  <a:lnTo>
                    <a:pt x="1446" y="240"/>
                  </a:lnTo>
                  <a:lnTo>
                    <a:pt x="1446" y="240"/>
                  </a:lnTo>
                  <a:lnTo>
                    <a:pt x="1441" y="235"/>
                  </a:lnTo>
                  <a:lnTo>
                    <a:pt x="1441" y="235"/>
                  </a:lnTo>
                  <a:lnTo>
                    <a:pt x="1437" y="235"/>
                  </a:lnTo>
                  <a:lnTo>
                    <a:pt x="1432" y="235"/>
                  </a:lnTo>
                  <a:lnTo>
                    <a:pt x="1432" y="235"/>
                  </a:lnTo>
                  <a:lnTo>
                    <a:pt x="1428" y="235"/>
                  </a:lnTo>
                  <a:lnTo>
                    <a:pt x="1428" y="235"/>
                  </a:lnTo>
                  <a:lnTo>
                    <a:pt x="1428" y="235"/>
                  </a:lnTo>
                  <a:lnTo>
                    <a:pt x="1428" y="235"/>
                  </a:lnTo>
                  <a:lnTo>
                    <a:pt x="1423" y="235"/>
                  </a:lnTo>
                  <a:lnTo>
                    <a:pt x="1423" y="231"/>
                  </a:lnTo>
                  <a:lnTo>
                    <a:pt x="1423" y="231"/>
                  </a:lnTo>
                  <a:lnTo>
                    <a:pt x="1419" y="231"/>
                  </a:lnTo>
                  <a:lnTo>
                    <a:pt x="1419" y="231"/>
                  </a:lnTo>
                  <a:lnTo>
                    <a:pt x="1419" y="231"/>
                  </a:lnTo>
                  <a:lnTo>
                    <a:pt x="1419" y="231"/>
                  </a:lnTo>
                  <a:lnTo>
                    <a:pt x="1423" y="231"/>
                  </a:lnTo>
                  <a:lnTo>
                    <a:pt x="1423" y="231"/>
                  </a:lnTo>
                  <a:lnTo>
                    <a:pt x="1428" y="226"/>
                  </a:lnTo>
                  <a:lnTo>
                    <a:pt x="1428" y="226"/>
                  </a:lnTo>
                  <a:lnTo>
                    <a:pt x="1428" y="226"/>
                  </a:lnTo>
                  <a:lnTo>
                    <a:pt x="1432" y="226"/>
                  </a:lnTo>
                  <a:lnTo>
                    <a:pt x="1437" y="226"/>
                  </a:lnTo>
                  <a:lnTo>
                    <a:pt x="1441" y="226"/>
                  </a:lnTo>
                  <a:lnTo>
                    <a:pt x="1441" y="226"/>
                  </a:lnTo>
                  <a:lnTo>
                    <a:pt x="1441" y="226"/>
                  </a:lnTo>
                  <a:lnTo>
                    <a:pt x="1441" y="226"/>
                  </a:lnTo>
                  <a:lnTo>
                    <a:pt x="1446" y="222"/>
                  </a:lnTo>
                  <a:lnTo>
                    <a:pt x="1446" y="222"/>
                  </a:lnTo>
                  <a:lnTo>
                    <a:pt x="1446" y="222"/>
                  </a:lnTo>
                  <a:lnTo>
                    <a:pt x="1446" y="222"/>
                  </a:lnTo>
                  <a:lnTo>
                    <a:pt x="1446" y="222"/>
                  </a:lnTo>
                  <a:lnTo>
                    <a:pt x="1446" y="222"/>
                  </a:lnTo>
                  <a:lnTo>
                    <a:pt x="1446" y="217"/>
                  </a:lnTo>
                  <a:lnTo>
                    <a:pt x="1446" y="217"/>
                  </a:lnTo>
                  <a:lnTo>
                    <a:pt x="1446" y="217"/>
                  </a:lnTo>
                  <a:lnTo>
                    <a:pt x="1446" y="213"/>
                  </a:lnTo>
                  <a:lnTo>
                    <a:pt x="1441" y="213"/>
                  </a:lnTo>
                  <a:lnTo>
                    <a:pt x="1441" y="213"/>
                  </a:lnTo>
                  <a:lnTo>
                    <a:pt x="1441" y="213"/>
                  </a:lnTo>
                  <a:lnTo>
                    <a:pt x="1441" y="213"/>
                  </a:lnTo>
                  <a:lnTo>
                    <a:pt x="1437" y="213"/>
                  </a:lnTo>
                  <a:lnTo>
                    <a:pt x="1437" y="213"/>
                  </a:lnTo>
                  <a:lnTo>
                    <a:pt x="1437" y="213"/>
                  </a:lnTo>
                  <a:lnTo>
                    <a:pt x="1437" y="213"/>
                  </a:lnTo>
                  <a:lnTo>
                    <a:pt x="1437" y="213"/>
                  </a:lnTo>
                  <a:lnTo>
                    <a:pt x="1432" y="213"/>
                  </a:lnTo>
                  <a:lnTo>
                    <a:pt x="1432" y="213"/>
                  </a:lnTo>
                  <a:lnTo>
                    <a:pt x="1432" y="213"/>
                  </a:lnTo>
                  <a:lnTo>
                    <a:pt x="1432" y="213"/>
                  </a:lnTo>
                  <a:lnTo>
                    <a:pt x="1432" y="213"/>
                  </a:lnTo>
                  <a:lnTo>
                    <a:pt x="1428" y="213"/>
                  </a:lnTo>
                  <a:lnTo>
                    <a:pt x="1423" y="213"/>
                  </a:lnTo>
                  <a:lnTo>
                    <a:pt x="1423" y="213"/>
                  </a:lnTo>
                  <a:lnTo>
                    <a:pt x="1423" y="213"/>
                  </a:lnTo>
                  <a:lnTo>
                    <a:pt x="1419" y="208"/>
                  </a:lnTo>
                  <a:lnTo>
                    <a:pt x="1419" y="208"/>
                  </a:lnTo>
                  <a:lnTo>
                    <a:pt x="1419" y="208"/>
                  </a:lnTo>
                  <a:lnTo>
                    <a:pt x="1419" y="208"/>
                  </a:lnTo>
                  <a:lnTo>
                    <a:pt x="1419" y="204"/>
                  </a:lnTo>
                  <a:lnTo>
                    <a:pt x="1414" y="204"/>
                  </a:lnTo>
                  <a:lnTo>
                    <a:pt x="1410" y="199"/>
                  </a:lnTo>
                  <a:lnTo>
                    <a:pt x="1405" y="199"/>
                  </a:lnTo>
                  <a:lnTo>
                    <a:pt x="1405" y="199"/>
                  </a:lnTo>
                  <a:lnTo>
                    <a:pt x="1405" y="194"/>
                  </a:lnTo>
                  <a:lnTo>
                    <a:pt x="1405" y="194"/>
                  </a:lnTo>
                  <a:lnTo>
                    <a:pt x="1400" y="194"/>
                  </a:lnTo>
                  <a:lnTo>
                    <a:pt x="1400" y="190"/>
                  </a:lnTo>
                  <a:lnTo>
                    <a:pt x="1400" y="190"/>
                  </a:lnTo>
                  <a:lnTo>
                    <a:pt x="1396" y="190"/>
                  </a:lnTo>
                  <a:lnTo>
                    <a:pt x="1396" y="190"/>
                  </a:lnTo>
                  <a:lnTo>
                    <a:pt x="1391" y="190"/>
                  </a:lnTo>
                  <a:lnTo>
                    <a:pt x="1391" y="190"/>
                  </a:lnTo>
                  <a:lnTo>
                    <a:pt x="1387" y="190"/>
                  </a:lnTo>
                  <a:lnTo>
                    <a:pt x="1387" y="190"/>
                  </a:lnTo>
                  <a:lnTo>
                    <a:pt x="1387" y="190"/>
                  </a:lnTo>
                  <a:lnTo>
                    <a:pt x="1387" y="190"/>
                  </a:lnTo>
                  <a:lnTo>
                    <a:pt x="1382" y="194"/>
                  </a:lnTo>
                  <a:lnTo>
                    <a:pt x="1378" y="194"/>
                  </a:lnTo>
                  <a:lnTo>
                    <a:pt x="1378" y="194"/>
                  </a:lnTo>
                  <a:lnTo>
                    <a:pt x="1378" y="194"/>
                  </a:lnTo>
                  <a:lnTo>
                    <a:pt x="1373" y="194"/>
                  </a:lnTo>
                  <a:lnTo>
                    <a:pt x="1373" y="194"/>
                  </a:lnTo>
                  <a:lnTo>
                    <a:pt x="1373" y="194"/>
                  </a:lnTo>
                  <a:lnTo>
                    <a:pt x="1369" y="194"/>
                  </a:lnTo>
                  <a:lnTo>
                    <a:pt x="1364" y="194"/>
                  </a:lnTo>
                  <a:lnTo>
                    <a:pt x="1364" y="194"/>
                  </a:lnTo>
                  <a:lnTo>
                    <a:pt x="1364" y="194"/>
                  </a:lnTo>
                  <a:lnTo>
                    <a:pt x="1364" y="194"/>
                  </a:lnTo>
                  <a:lnTo>
                    <a:pt x="1364" y="194"/>
                  </a:lnTo>
                  <a:lnTo>
                    <a:pt x="1364" y="194"/>
                  </a:lnTo>
                  <a:lnTo>
                    <a:pt x="1364" y="194"/>
                  </a:lnTo>
                  <a:lnTo>
                    <a:pt x="1373" y="190"/>
                  </a:lnTo>
                  <a:lnTo>
                    <a:pt x="1373" y="190"/>
                  </a:lnTo>
                  <a:lnTo>
                    <a:pt x="1373" y="190"/>
                  </a:lnTo>
                  <a:lnTo>
                    <a:pt x="1373" y="190"/>
                  </a:lnTo>
                  <a:lnTo>
                    <a:pt x="1378" y="185"/>
                  </a:lnTo>
                  <a:lnTo>
                    <a:pt x="1378" y="185"/>
                  </a:lnTo>
                  <a:lnTo>
                    <a:pt x="1382" y="185"/>
                  </a:lnTo>
                  <a:lnTo>
                    <a:pt x="1382" y="181"/>
                  </a:lnTo>
                  <a:lnTo>
                    <a:pt x="1382" y="181"/>
                  </a:lnTo>
                  <a:lnTo>
                    <a:pt x="1382" y="181"/>
                  </a:lnTo>
                  <a:lnTo>
                    <a:pt x="1382" y="181"/>
                  </a:lnTo>
                  <a:lnTo>
                    <a:pt x="1378" y="181"/>
                  </a:lnTo>
                  <a:lnTo>
                    <a:pt x="1378" y="181"/>
                  </a:lnTo>
                  <a:lnTo>
                    <a:pt x="1373" y="185"/>
                  </a:lnTo>
                  <a:lnTo>
                    <a:pt x="1373" y="185"/>
                  </a:lnTo>
                  <a:lnTo>
                    <a:pt x="1373" y="185"/>
                  </a:lnTo>
                  <a:lnTo>
                    <a:pt x="1373" y="185"/>
                  </a:lnTo>
                  <a:lnTo>
                    <a:pt x="1373" y="185"/>
                  </a:lnTo>
                  <a:lnTo>
                    <a:pt x="1373" y="185"/>
                  </a:lnTo>
                  <a:lnTo>
                    <a:pt x="1373" y="185"/>
                  </a:lnTo>
                  <a:lnTo>
                    <a:pt x="1373" y="185"/>
                  </a:lnTo>
                  <a:lnTo>
                    <a:pt x="1369" y="185"/>
                  </a:lnTo>
                  <a:lnTo>
                    <a:pt x="1369" y="185"/>
                  </a:lnTo>
                  <a:lnTo>
                    <a:pt x="1369" y="185"/>
                  </a:lnTo>
                  <a:lnTo>
                    <a:pt x="1369" y="185"/>
                  </a:lnTo>
                  <a:lnTo>
                    <a:pt x="1369" y="185"/>
                  </a:lnTo>
                  <a:lnTo>
                    <a:pt x="1364" y="190"/>
                  </a:lnTo>
                  <a:lnTo>
                    <a:pt x="1364" y="190"/>
                  </a:lnTo>
                  <a:lnTo>
                    <a:pt x="1360" y="190"/>
                  </a:lnTo>
                  <a:lnTo>
                    <a:pt x="1360" y="190"/>
                  </a:lnTo>
                  <a:lnTo>
                    <a:pt x="1360" y="190"/>
                  </a:lnTo>
                  <a:lnTo>
                    <a:pt x="1360" y="194"/>
                  </a:lnTo>
                  <a:lnTo>
                    <a:pt x="1355" y="194"/>
                  </a:lnTo>
                  <a:lnTo>
                    <a:pt x="1355" y="194"/>
                  </a:lnTo>
                  <a:lnTo>
                    <a:pt x="1351" y="194"/>
                  </a:lnTo>
                  <a:lnTo>
                    <a:pt x="1351" y="194"/>
                  </a:lnTo>
                  <a:lnTo>
                    <a:pt x="1351" y="194"/>
                  </a:lnTo>
                  <a:lnTo>
                    <a:pt x="1351" y="190"/>
                  </a:lnTo>
                  <a:lnTo>
                    <a:pt x="1351" y="190"/>
                  </a:lnTo>
                  <a:lnTo>
                    <a:pt x="1351" y="185"/>
                  </a:lnTo>
                  <a:lnTo>
                    <a:pt x="1351" y="185"/>
                  </a:lnTo>
                  <a:lnTo>
                    <a:pt x="1351" y="185"/>
                  </a:lnTo>
                  <a:lnTo>
                    <a:pt x="1355" y="181"/>
                  </a:lnTo>
                  <a:lnTo>
                    <a:pt x="1355" y="181"/>
                  </a:lnTo>
                  <a:lnTo>
                    <a:pt x="1360" y="176"/>
                  </a:lnTo>
                  <a:lnTo>
                    <a:pt x="1360" y="176"/>
                  </a:lnTo>
                  <a:lnTo>
                    <a:pt x="1360" y="176"/>
                  </a:lnTo>
                  <a:lnTo>
                    <a:pt x="1360" y="172"/>
                  </a:lnTo>
                  <a:lnTo>
                    <a:pt x="1360" y="172"/>
                  </a:lnTo>
                  <a:lnTo>
                    <a:pt x="1360" y="172"/>
                  </a:lnTo>
                  <a:lnTo>
                    <a:pt x="1360" y="172"/>
                  </a:lnTo>
                  <a:lnTo>
                    <a:pt x="1355" y="172"/>
                  </a:lnTo>
                  <a:lnTo>
                    <a:pt x="1355" y="172"/>
                  </a:lnTo>
                  <a:lnTo>
                    <a:pt x="1355" y="172"/>
                  </a:lnTo>
                  <a:lnTo>
                    <a:pt x="1355" y="172"/>
                  </a:lnTo>
                  <a:lnTo>
                    <a:pt x="1355" y="176"/>
                  </a:lnTo>
                  <a:lnTo>
                    <a:pt x="1351" y="176"/>
                  </a:lnTo>
                  <a:lnTo>
                    <a:pt x="1351" y="176"/>
                  </a:lnTo>
                  <a:lnTo>
                    <a:pt x="1351" y="176"/>
                  </a:lnTo>
                  <a:lnTo>
                    <a:pt x="1355" y="176"/>
                  </a:lnTo>
                  <a:lnTo>
                    <a:pt x="1351" y="176"/>
                  </a:lnTo>
                  <a:lnTo>
                    <a:pt x="1346" y="176"/>
                  </a:lnTo>
                  <a:lnTo>
                    <a:pt x="1346" y="176"/>
                  </a:lnTo>
                  <a:lnTo>
                    <a:pt x="1342" y="181"/>
                  </a:lnTo>
                  <a:lnTo>
                    <a:pt x="1337" y="181"/>
                  </a:lnTo>
                  <a:lnTo>
                    <a:pt x="1333" y="181"/>
                  </a:lnTo>
                  <a:lnTo>
                    <a:pt x="1328" y="185"/>
                  </a:lnTo>
                  <a:lnTo>
                    <a:pt x="1328" y="185"/>
                  </a:lnTo>
                  <a:lnTo>
                    <a:pt x="1328" y="185"/>
                  </a:lnTo>
                  <a:lnTo>
                    <a:pt x="1328" y="185"/>
                  </a:lnTo>
                  <a:lnTo>
                    <a:pt x="1328" y="185"/>
                  </a:lnTo>
                  <a:lnTo>
                    <a:pt x="1328" y="181"/>
                  </a:lnTo>
                  <a:lnTo>
                    <a:pt x="1328" y="181"/>
                  </a:lnTo>
                  <a:lnTo>
                    <a:pt x="1333" y="181"/>
                  </a:lnTo>
                  <a:lnTo>
                    <a:pt x="1333" y="181"/>
                  </a:lnTo>
                  <a:lnTo>
                    <a:pt x="1333" y="181"/>
                  </a:lnTo>
                  <a:lnTo>
                    <a:pt x="1333" y="181"/>
                  </a:lnTo>
                  <a:lnTo>
                    <a:pt x="1333" y="181"/>
                  </a:lnTo>
                  <a:lnTo>
                    <a:pt x="1333" y="181"/>
                  </a:lnTo>
                  <a:lnTo>
                    <a:pt x="1333" y="181"/>
                  </a:lnTo>
                  <a:lnTo>
                    <a:pt x="1328" y="181"/>
                  </a:lnTo>
                  <a:lnTo>
                    <a:pt x="1324" y="181"/>
                  </a:lnTo>
                  <a:lnTo>
                    <a:pt x="1315" y="181"/>
                  </a:lnTo>
                  <a:lnTo>
                    <a:pt x="1315" y="185"/>
                  </a:lnTo>
                  <a:lnTo>
                    <a:pt x="1310" y="185"/>
                  </a:lnTo>
                  <a:lnTo>
                    <a:pt x="1306" y="185"/>
                  </a:lnTo>
                  <a:lnTo>
                    <a:pt x="1301" y="190"/>
                  </a:lnTo>
                  <a:lnTo>
                    <a:pt x="1297" y="190"/>
                  </a:lnTo>
                  <a:lnTo>
                    <a:pt x="1297" y="190"/>
                  </a:lnTo>
                  <a:lnTo>
                    <a:pt x="1297" y="190"/>
                  </a:lnTo>
                  <a:lnTo>
                    <a:pt x="1301" y="185"/>
                  </a:lnTo>
                  <a:lnTo>
                    <a:pt x="1301" y="185"/>
                  </a:lnTo>
                  <a:lnTo>
                    <a:pt x="1301" y="185"/>
                  </a:lnTo>
                  <a:lnTo>
                    <a:pt x="1301" y="185"/>
                  </a:lnTo>
                  <a:lnTo>
                    <a:pt x="1301" y="185"/>
                  </a:lnTo>
                  <a:lnTo>
                    <a:pt x="1297" y="185"/>
                  </a:lnTo>
                  <a:lnTo>
                    <a:pt x="1297" y="185"/>
                  </a:lnTo>
                  <a:lnTo>
                    <a:pt x="1297" y="185"/>
                  </a:lnTo>
                  <a:lnTo>
                    <a:pt x="1297" y="185"/>
                  </a:lnTo>
                  <a:lnTo>
                    <a:pt x="1297" y="185"/>
                  </a:lnTo>
                  <a:lnTo>
                    <a:pt x="1297" y="185"/>
                  </a:lnTo>
                  <a:lnTo>
                    <a:pt x="1297" y="185"/>
                  </a:lnTo>
                  <a:lnTo>
                    <a:pt x="1292" y="185"/>
                  </a:lnTo>
                  <a:lnTo>
                    <a:pt x="1292" y="185"/>
                  </a:lnTo>
                  <a:lnTo>
                    <a:pt x="1292" y="185"/>
                  </a:lnTo>
                  <a:lnTo>
                    <a:pt x="1292" y="185"/>
                  </a:lnTo>
                  <a:lnTo>
                    <a:pt x="1292" y="185"/>
                  </a:lnTo>
                  <a:lnTo>
                    <a:pt x="1288" y="185"/>
                  </a:lnTo>
                  <a:lnTo>
                    <a:pt x="1283" y="190"/>
                  </a:lnTo>
                  <a:lnTo>
                    <a:pt x="1283" y="190"/>
                  </a:lnTo>
                  <a:lnTo>
                    <a:pt x="1283" y="190"/>
                  </a:lnTo>
                  <a:lnTo>
                    <a:pt x="1279" y="190"/>
                  </a:lnTo>
                  <a:lnTo>
                    <a:pt x="1274" y="190"/>
                  </a:lnTo>
                  <a:lnTo>
                    <a:pt x="1274" y="190"/>
                  </a:lnTo>
                  <a:lnTo>
                    <a:pt x="1274" y="190"/>
                  </a:lnTo>
                  <a:lnTo>
                    <a:pt x="1274" y="190"/>
                  </a:lnTo>
                  <a:lnTo>
                    <a:pt x="1269" y="194"/>
                  </a:lnTo>
                  <a:lnTo>
                    <a:pt x="1269" y="194"/>
                  </a:lnTo>
                  <a:lnTo>
                    <a:pt x="1274" y="194"/>
                  </a:lnTo>
                  <a:lnTo>
                    <a:pt x="1274" y="194"/>
                  </a:lnTo>
                  <a:lnTo>
                    <a:pt x="1269" y="194"/>
                  </a:lnTo>
                  <a:lnTo>
                    <a:pt x="1269" y="194"/>
                  </a:lnTo>
                  <a:lnTo>
                    <a:pt x="1265" y="194"/>
                  </a:lnTo>
                  <a:lnTo>
                    <a:pt x="1265" y="194"/>
                  </a:lnTo>
                  <a:lnTo>
                    <a:pt x="1265" y="194"/>
                  </a:lnTo>
                  <a:lnTo>
                    <a:pt x="1265" y="194"/>
                  </a:lnTo>
                  <a:lnTo>
                    <a:pt x="1260" y="194"/>
                  </a:lnTo>
                  <a:lnTo>
                    <a:pt x="1260" y="194"/>
                  </a:lnTo>
                  <a:lnTo>
                    <a:pt x="1260" y="194"/>
                  </a:lnTo>
                  <a:lnTo>
                    <a:pt x="1260" y="194"/>
                  </a:lnTo>
                  <a:lnTo>
                    <a:pt x="1260" y="194"/>
                  </a:lnTo>
                  <a:lnTo>
                    <a:pt x="1265" y="194"/>
                  </a:lnTo>
                  <a:lnTo>
                    <a:pt x="1269" y="190"/>
                  </a:lnTo>
                  <a:lnTo>
                    <a:pt x="1269" y="190"/>
                  </a:lnTo>
                  <a:lnTo>
                    <a:pt x="1274" y="190"/>
                  </a:lnTo>
                  <a:lnTo>
                    <a:pt x="1279" y="190"/>
                  </a:lnTo>
                  <a:lnTo>
                    <a:pt x="1279" y="185"/>
                  </a:lnTo>
                  <a:lnTo>
                    <a:pt x="1283" y="185"/>
                  </a:lnTo>
                  <a:lnTo>
                    <a:pt x="1283" y="185"/>
                  </a:lnTo>
                  <a:lnTo>
                    <a:pt x="1288" y="185"/>
                  </a:lnTo>
                  <a:lnTo>
                    <a:pt x="1288" y="185"/>
                  </a:lnTo>
                  <a:lnTo>
                    <a:pt x="1292" y="185"/>
                  </a:lnTo>
                  <a:lnTo>
                    <a:pt x="1297" y="185"/>
                  </a:lnTo>
                  <a:lnTo>
                    <a:pt x="1297" y="185"/>
                  </a:lnTo>
                  <a:lnTo>
                    <a:pt x="1301" y="185"/>
                  </a:lnTo>
                  <a:lnTo>
                    <a:pt x="1301" y="185"/>
                  </a:lnTo>
                  <a:lnTo>
                    <a:pt x="1306" y="181"/>
                  </a:lnTo>
                  <a:lnTo>
                    <a:pt x="1306" y="185"/>
                  </a:lnTo>
                  <a:lnTo>
                    <a:pt x="1310" y="181"/>
                  </a:lnTo>
                  <a:lnTo>
                    <a:pt x="1310" y="181"/>
                  </a:lnTo>
                  <a:lnTo>
                    <a:pt x="1315" y="181"/>
                  </a:lnTo>
                  <a:lnTo>
                    <a:pt x="1328" y="181"/>
                  </a:lnTo>
                  <a:lnTo>
                    <a:pt x="1333" y="176"/>
                  </a:lnTo>
                  <a:lnTo>
                    <a:pt x="1333" y="176"/>
                  </a:lnTo>
                  <a:lnTo>
                    <a:pt x="1333" y="176"/>
                  </a:lnTo>
                  <a:lnTo>
                    <a:pt x="1333" y="176"/>
                  </a:lnTo>
                  <a:lnTo>
                    <a:pt x="1333" y="176"/>
                  </a:lnTo>
                  <a:lnTo>
                    <a:pt x="1328" y="176"/>
                  </a:lnTo>
                  <a:lnTo>
                    <a:pt x="1328" y="176"/>
                  </a:lnTo>
                  <a:lnTo>
                    <a:pt x="1328" y="176"/>
                  </a:lnTo>
                  <a:lnTo>
                    <a:pt x="1324" y="176"/>
                  </a:lnTo>
                  <a:lnTo>
                    <a:pt x="1324" y="176"/>
                  </a:lnTo>
                  <a:lnTo>
                    <a:pt x="1324" y="176"/>
                  </a:lnTo>
                  <a:lnTo>
                    <a:pt x="1324" y="176"/>
                  </a:lnTo>
                  <a:lnTo>
                    <a:pt x="1324" y="176"/>
                  </a:lnTo>
                  <a:lnTo>
                    <a:pt x="1319" y="176"/>
                  </a:lnTo>
                  <a:lnTo>
                    <a:pt x="1315" y="176"/>
                  </a:lnTo>
                  <a:lnTo>
                    <a:pt x="1315" y="176"/>
                  </a:lnTo>
                  <a:lnTo>
                    <a:pt x="1310" y="176"/>
                  </a:lnTo>
                  <a:lnTo>
                    <a:pt x="1310" y="176"/>
                  </a:lnTo>
                  <a:lnTo>
                    <a:pt x="1310" y="176"/>
                  </a:lnTo>
                  <a:lnTo>
                    <a:pt x="1310" y="176"/>
                  </a:lnTo>
                  <a:lnTo>
                    <a:pt x="1306" y="176"/>
                  </a:lnTo>
                  <a:lnTo>
                    <a:pt x="1301" y="181"/>
                  </a:lnTo>
                  <a:lnTo>
                    <a:pt x="1297" y="181"/>
                  </a:lnTo>
                  <a:lnTo>
                    <a:pt x="1297" y="181"/>
                  </a:lnTo>
                  <a:lnTo>
                    <a:pt x="1297" y="181"/>
                  </a:lnTo>
                  <a:lnTo>
                    <a:pt x="1297" y="181"/>
                  </a:lnTo>
                  <a:lnTo>
                    <a:pt x="1292" y="181"/>
                  </a:lnTo>
                  <a:lnTo>
                    <a:pt x="1292" y="181"/>
                  </a:lnTo>
                  <a:lnTo>
                    <a:pt x="1292" y="181"/>
                  </a:lnTo>
                  <a:lnTo>
                    <a:pt x="1292" y="181"/>
                  </a:lnTo>
                  <a:lnTo>
                    <a:pt x="1292" y="181"/>
                  </a:lnTo>
                  <a:lnTo>
                    <a:pt x="1292" y="181"/>
                  </a:lnTo>
                  <a:lnTo>
                    <a:pt x="1292" y="181"/>
                  </a:lnTo>
                  <a:lnTo>
                    <a:pt x="1292" y="181"/>
                  </a:lnTo>
                  <a:lnTo>
                    <a:pt x="1288" y="181"/>
                  </a:lnTo>
                  <a:lnTo>
                    <a:pt x="1288" y="181"/>
                  </a:lnTo>
                  <a:lnTo>
                    <a:pt x="1283" y="181"/>
                  </a:lnTo>
                  <a:lnTo>
                    <a:pt x="1283" y="185"/>
                  </a:lnTo>
                  <a:lnTo>
                    <a:pt x="1279" y="185"/>
                  </a:lnTo>
                  <a:lnTo>
                    <a:pt x="1279" y="185"/>
                  </a:lnTo>
                  <a:lnTo>
                    <a:pt x="1279" y="185"/>
                  </a:lnTo>
                  <a:lnTo>
                    <a:pt x="1274" y="185"/>
                  </a:lnTo>
                  <a:lnTo>
                    <a:pt x="1269" y="185"/>
                  </a:lnTo>
                  <a:lnTo>
                    <a:pt x="1265" y="185"/>
                  </a:lnTo>
                  <a:lnTo>
                    <a:pt x="1265" y="185"/>
                  </a:lnTo>
                  <a:lnTo>
                    <a:pt x="1269" y="185"/>
                  </a:lnTo>
                  <a:lnTo>
                    <a:pt x="1274" y="181"/>
                  </a:lnTo>
                  <a:lnTo>
                    <a:pt x="1274" y="181"/>
                  </a:lnTo>
                  <a:lnTo>
                    <a:pt x="1274" y="181"/>
                  </a:lnTo>
                  <a:lnTo>
                    <a:pt x="1274" y="181"/>
                  </a:lnTo>
                  <a:lnTo>
                    <a:pt x="1274" y="181"/>
                  </a:lnTo>
                  <a:lnTo>
                    <a:pt x="1274" y="181"/>
                  </a:lnTo>
                  <a:lnTo>
                    <a:pt x="1274" y="176"/>
                  </a:lnTo>
                  <a:lnTo>
                    <a:pt x="1274" y="176"/>
                  </a:lnTo>
                  <a:lnTo>
                    <a:pt x="1274" y="176"/>
                  </a:lnTo>
                  <a:lnTo>
                    <a:pt x="1274" y="181"/>
                  </a:lnTo>
                  <a:lnTo>
                    <a:pt x="1269" y="181"/>
                  </a:lnTo>
                  <a:lnTo>
                    <a:pt x="1269" y="181"/>
                  </a:lnTo>
                  <a:lnTo>
                    <a:pt x="1269" y="181"/>
                  </a:lnTo>
                  <a:lnTo>
                    <a:pt x="1269" y="181"/>
                  </a:lnTo>
                  <a:lnTo>
                    <a:pt x="1265" y="181"/>
                  </a:lnTo>
                  <a:lnTo>
                    <a:pt x="1260" y="181"/>
                  </a:lnTo>
                  <a:lnTo>
                    <a:pt x="1260" y="181"/>
                  </a:lnTo>
                  <a:lnTo>
                    <a:pt x="1260" y="181"/>
                  </a:lnTo>
                  <a:lnTo>
                    <a:pt x="1256" y="181"/>
                  </a:lnTo>
                  <a:lnTo>
                    <a:pt x="1256" y="181"/>
                  </a:lnTo>
                  <a:lnTo>
                    <a:pt x="1256" y="181"/>
                  </a:lnTo>
                  <a:lnTo>
                    <a:pt x="1251" y="181"/>
                  </a:lnTo>
                  <a:lnTo>
                    <a:pt x="1251" y="181"/>
                  </a:lnTo>
                  <a:lnTo>
                    <a:pt x="1247" y="185"/>
                  </a:lnTo>
                  <a:lnTo>
                    <a:pt x="1247" y="185"/>
                  </a:lnTo>
                  <a:lnTo>
                    <a:pt x="1247" y="185"/>
                  </a:lnTo>
                  <a:lnTo>
                    <a:pt x="1247" y="185"/>
                  </a:lnTo>
                  <a:lnTo>
                    <a:pt x="1247" y="185"/>
                  </a:lnTo>
                  <a:lnTo>
                    <a:pt x="1247" y="185"/>
                  </a:lnTo>
                  <a:lnTo>
                    <a:pt x="1247" y="185"/>
                  </a:lnTo>
                  <a:lnTo>
                    <a:pt x="1242" y="185"/>
                  </a:lnTo>
                  <a:lnTo>
                    <a:pt x="1242" y="185"/>
                  </a:lnTo>
                  <a:lnTo>
                    <a:pt x="1242" y="190"/>
                  </a:lnTo>
                  <a:lnTo>
                    <a:pt x="1242" y="190"/>
                  </a:lnTo>
                  <a:lnTo>
                    <a:pt x="1242" y="190"/>
                  </a:lnTo>
                  <a:lnTo>
                    <a:pt x="1242" y="190"/>
                  </a:lnTo>
                  <a:lnTo>
                    <a:pt x="1242" y="190"/>
                  </a:lnTo>
                  <a:lnTo>
                    <a:pt x="1242" y="190"/>
                  </a:lnTo>
                  <a:lnTo>
                    <a:pt x="1242" y="194"/>
                  </a:lnTo>
                  <a:lnTo>
                    <a:pt x="1242" y="194"/>
                  </a:lnTo>
                  <a:lnTo>
                    <a:pt x="1238" y="194"/>
                  </a:lnTo>
                  <a:lnTo>
                    <a:pt x="1238" y="190"/>
                  </a:lnTo>
                  <a:lnTo>
                    <a:pt x="1238" y="190"/>
                  </a:lnTo>
                  <a:lnTo>
                    <a:pt x="1233" y="190"/>
                  </a:lnTo>
                  <a:lnTo>
                    <a:pt x="1233" y="190"/>
                  </a:lnTo>
                  <a:lnTo>
                    <a:pt x="1229" y="185"/>
                  </a:lnTo>
                  <a:lnTo>
                    <a:pt x="1229" y="185"/>
                  </a:lnTo>
                  <a:lnTo>
                    <a:pt x="1224" y="185"/>
                  </a:lnTo>
                  <a:lnTo>
                    <a:pt x="1224" y="181"/>
                  </a:lnTo>
                  <a:lnTo>
                    <a:pt x="1224" y="181"/>
                  </a:lnTo>
                  <a:lnTo>
                    <a:pt x="1224" y="176"/>
                  </a:lnTo>
                  <a:lnTo>
                    <a:pt x="1224" y="176"/>
                  </a:lnTo>
                  <a:lnTo>
                    <a:pt x="1220" y="172"/>
                  </a:lnTo>
                  <a:lnTo>
                    <a:pt x="1215" y="172"/>
                  </a:lnTo>
                  <a:lnTo>
                    <a:pt x="1215" y="172"/>
                  </a:lnTo>
                  <a:lnTo>
                    <a:pt x="1211" y="172"/>
                  </a:lnTo>
                  <a:lnTo>
                    <a:pt x="1211" y="172"/>
                  </a:lnTo>
                  <a:lnTo>
                    <a:pt x="1211" y="172"/>
                  </a:lnTo>
                  <a:lnTo>
                    <a:pt x="1211" y="172"/>
                  </a:lnTo>
                  <a:lnTo>
                    <a:pt x="1211" y="172"/>
                  </a:lnTo>
                  <a:lnTo>
                    <a:pt x="1211" y="167"/>
                  </a:lnTo>
                  <a:lnTo>
                    <a:pt x="1211" y="167"/>
                  </a:lnTo>
                  <a:lnTo>
                    <a:pt x="1206" y="163"/>
                  </a:lnTo>
                  <a:lnTo>
                    <a:pt x="1206" y="163"/>
                  </a:lnTo>
                  <a:lnTo>
                    <a:pt x="1206" y="163"/>
                  </a:lnTo>
                  <a:lnTo>
                    <a:pt x="1206" y="158"/>
                  </a:lnTo>
                  <a:lnTo>
                    <a:pt x="1202" y="158"/>
                  </a:lnTo>
                  <a:lnTo>
                    <a:pt x="1202" y="158"/>
                  </a:lnTo>
                  <a:lnTo>
                    <a:pt x="1202" y="158"/>
                  </a:lnTo>
                  <a:lnTo>
                    <a:pt x="1202" y="158"/>
                  </a:lnTo>
                  <a:lnTo>
                    <a:pt x="1197" y="158"/>
                  </a:lnTo>
                  <a:lnTo>
                    <a:pt x="1193" y="158"/>
                  </a:lnTo>
                  <a:lnTo>
                    <a:pt x="1188" y="158"/>
                  </a:lnTo>
                  <a:lnTo>
                    <a:pt x="1184" y="158"/>
                  </a:lnTo>
                  <a:lnTo>
                    <a:pt x="1184" y="158"/>
                  </a:lnTo>
                  <a:lnTo>
                    <a:pt x="1184" y="158"/>
                  </a:lnTo>
                  <a:lnTo>
                    <a:pt x="1184" y="154"/>
                  </a:lnTo>
                  <a:lnTo>
                    <a:pt x="1179" y="154"/>
                  </a:lnTo>
                  <a:lnTo>
                    <a:pt x="1179" y="154"/>
                  </a:lnTo>
                  <a:lnTo>
                    <a:pt x="1175" y="154"/>
                  </a:lnTo>
                  <a:lnTo>
                    <a:pt x="1170" y="154"/>
                  </a:lnTo>
                  <a:lnTo>
                    <a:pt x="1166" y="154"/>
                  </a:lnTo>
                  <a:lnTo>
                    <a:pt x="1166" y="154"/>
                  </a:lnTo>
                  <a:lnTo>
                    <a:pt x="1170" y="149"/>
                  </a:lnTo>
                  <a:lnTo>
                    <a:pt x="1166" y="149"/>
                  </a:lnTo>
                  <a:lnTo>
                    <a:pt x="1166" y="149"/>
                  </a:lnTo>
                  <a:lnTo>
                    <a:pt x="1166" y="149"/>
                  </a:lnTo>
                  <a:lnTo>
                    <a:pt x="1166" y="149"/>
                  </a:lnTo>
                  <a:lnTo>
                    <a:pt x="1161" y="149"/>
                  </a:lnTo>
                  <a:lnTo>
                    <a:pt x="1166" y="149"/>
                  </a:lnTo>
                  <a:lnTo>
                    <a:pt x="1161" y="149"/>
                  </a:lnTo>
                  <a:lnTo>
                    <a:pt x="1161" y="145"/>
                  </a:lnTo>
                  <a:lnTo>
                    <a:pt x="1161" y="145"/>
                  </a:lnTo>
                  <a:lnTo>
                    <a:pt x="1161" y="145"/>
                  </a:lnTo>
                  <a:lnTo>
                    <a:pt x="1157" y="145"/>
                  </a:lnTo>
                  <a:lnTo>
                    <a:pt x="1152" y="145"/>
                  </a:lnTo>
                  <a:lnTo>
                    <a:pt x="1152" y="145"/>
                  </a:lnTo>
                  <a:lnTo>
                    <a:pt x="1152" y="145"/>
                  </a:lnTo>
                  <a:lnTo>
                    <a:pt x="1152" y="145"/>
                  </a:lnTo>
                  <a:lnTo>
                    <a:pt x="1148" y="145"/>
                  </a:lnTo>
                  <a:lnTo>
                    <a:pt x="1148" y="145"/>
                  </a:lnTo>
                  <a:lnTo>
                    <a:pt x="1143" y="145"/>
                  </a:lnTo>
                  <a:lnTo>
                    <a:pt x="1143" y="145"/>
                  </a:lnTo>
                  <a:lnTo>
                    <a:pt x="1138" y="145"/>
                  </a:lnTo>
                  <a:lnTo>
                    <a:pt x="1138" y="140"/>
                  </a:lnTo>
                  <a:lnTo>
                    <a:pt x="1138" y="140"/>
                  </a:lnTo>
                  <a:lnTo>
                    <a:pt x="1143" y="140"/>
                  </a:lnTo>
                  <a:lnTo>
                    <a:pt x="1138" y="140"/>
                  </a:lnTo>
                  <a:lnTo>
                    <a:pt x="1138" y="140"/>
                  </a:lnTo>
                  <a:lnTo>
                    <a:pt x="1138" y="140"/>
                  </a:lnTo>
                  <a:lnTo>
                    <a:pt x="1138" y="140"/>
                  </a:lnTo>
                  <a:lnTo>
                    <a:pt x="1138" y="140"/>
                  </a:lnTo>
                  <a:lnTo>
                    <a:pt x="1138" y="140"/>
                  </a:lnTo>
                  <a:lnTo>
                    <a:pt x="1143" y="136"/>
                  </a:lnTo>
                  <a:lnTo>
                    <a:pt x="1143" y="136"/>
                  </a:lnTo>
                  <a:lnTo>
                    <a:pt x="1143" y="136"/>
                  </a:lnTo>
                  <a:lnTo>
                    <a:pt x="1143" y="136"/>
                  </a:lnTo>
                  <a:lnTo>
                    <a:pt x="1143" y="136"/>
                  </a:lnTo>
                  <a:lnTo>
                    <a:pt x="1138" y="136"/>
                  </a:lnTo>
                  <a:lnTo>
                    <a:pt x="1134" y="136"/>
                  </a:lnTo>
                  <a:lnTo>
                    <a:pt x="1134" y="136"/>
                  </a:lnTo>
                  <a:lnTo>
                    <a:pt x="1134" y="136"/>
                  </a:lnTo>
                  <a:lnTo>
                    <a:pt x="1129" y="136"/>
                  </a:lnTo>
                  <a:lnTo>
                    <a:pt x="1125" y="136"/>
                  </a:lnTo>
                  <a:lnTo>
                    <a:pt x="1125" y="136"/>
                  </a:lnTo>
                  <a:lnTo>
                    <a:pt x="1125" y="131"/>
                  </a:lnTo>
                  <a:lnTo>
                    <a:pt x="1125" y="131"/>
                  </a:lnTo>
                  <a:lnTo>
                    <a:pt x="1129" y="131"/>
                  </a:lnTo>
                  <a:lnTo>
                    <a:pt x="1129" y="131"/>
                  </a:lnTo>
                  <a:lnTo>
                    <a:pt x="1129" y="131"/>
                  </a:lnTo>
                  <a:lnTo>
                    <a:pt x="1129" y="131"/>
                  </a:lnTo>
                  <a:lnTo>
                    <a:pt x="1125" y="131"/>
                  </a:lnTo>
                  <a:lnTo>
                    <a:pt x="1125" y="131"/>
                  </a:lnTo>
                  <a:lnTo>
                    <a:pt x="1120" y="131"/>
                  </a:lnTo>
                  <a:lnTo>
                    <a:pt x="1116" y="131"/>
                  </a:lnTo>
                  <a:lnTo>
                    <a:pt x="1116" y="131"/>
                  </a:lnTo>
                  <a:lnTo>
                    <a:pt x="1111" y="131"/>
                  </a:lnTo>
                  <a:lnTo>
                    <a:pt x="1116" y="131"/>
                  </a:lnTo>
                  <a:lnTo>
                    <a:pt x="1116" y="131"/>
                  </a:lnTo>
                  <a:lnTo>
                    <a:pt x="1120" y="131"/>
                  </a:lnTo>
                  <a:lnTo>
                    <a:pt x="1125" y="127"/>
                  </a:lnTo>
                  <a:lnTo>
                    <a:pt x="1125" y="127"/>
                  </a:lnTo>
                  <a:lnTo>
                    <a:pt x="1125" y="127"/>
                  </a:lnTo>
                  <a:lnTo>
                    <a:pt x="1125" y="127"/>
                  </a:lnTo>
                  <a:lnTo>
                    <a:pt x="1125" y="122"/>
                  </a:lnTo>
                  <a:lnTo>
                    <a:pt x="1125" y="122"/>
                  </a:lnTo>
                  <a:lnTo>
                    <a:pt x="1125" y="122"/>
                  </a:lnTo>
                  <a:lnTo>
                    <a:pt x="1125" y="122"/>
                  </a:lnTo>
                  <a:lnTo>
                    <a:pt x="1125" y="122"/>
                  </a:lnTo>
                  <a:lnTo>
                    <a:pt x="1120" y="122"/>
                  </a:lnTo>
                  <a:lnTo>
                    <a:pt x="1116" y="127"/>
                  </a:lnTo>
                  <a:lnTo>
                    <a:pt x="1111" y="127"/>
                  </a:lnTo>
                  <a:lnTo>
                    <a:pt x="1107" y="127"/>
                  </a:lnTo>
                  <a:lnTo>
                    <a:pt x="1102" y="127"/>
                  </a:lnTo>
                  <a:lnTo>
                    <a:pt x="1098" y="127"/>
                  </a:lnTo>
                  <a:lnTo>
                    <a:pt x="1098" y="131"/>
                  </a:lnTo>
                  <a:lnTo>
                    <a:pt x="1093" y="127"/>
                  </a:lnTo>
                  <a:lnTo>
                    <a:pt x="1093" y="127"/>
                  </a:lnTo>
                  <a:lnTo>
                    <a:pt x="1089" y="127"/>
                  </a:lnTo>
                  <a:lnTo>
                    <a:pt x="1089" y="127"/>
                  </a:lnTo>
                  <a:lnTo>
                    <a:pt x="1084" y="127"/>
                  </a:lnTo>
                  <a:lnTo>
                    <a:pt x="1084" y="127"/>
                  </a:lnTo>
                  <a:lnTo>
                    <a:pt x="1084" y="127"/>
                  </a:lnTo>
                  <a:lnTo>
                    <a:pt x="1084" y="127"/>
                  </a:lnTo>
                  <a:lnTo>
                    <a:pt x="1084" y="127"/>
                  </a:lnTo>
                  <a:lnTo>
                    <a:pt x="1084" y="127"/>
                  </a:lnTo>
                  <a:lnTo>
                    <a:pt x="1089" y="127"/>
                  </a:lnTo>
                  <a:lnTo>
                    <a:pt x="1089" y="127"/>
                  </a:lnTo>
                  <a:lnTo>
                    <a:pt x="1084" y="127"/>
                  </a:lnTo>
                  <a:lnTo>
                    <a:pt x="1080" y="127"/>
                  </a:lnTo>
                  <a:lnTo>
                    <a:pt x="1071" y="131"/>
                  </a:lnTo>
                  <a:lnTo>
                    <a:pt x="1075" y="131"/>
                  </a:lnTo>
                  <a:lnTo>
                    <a:pt x="1071" y="131"/>
                  </a:lnTo>
                  <a:lnTo>
                    <a:pt x="1075" y="131"/>
                  </a:lnTo>
                  <a:lnTo>
                    <a:pt x="1071" y="131"/>
                  </a:lnTo>
                  <a:lnTo>
                    <a:pt x="1071" y="131"/>
                  </a:lnTo>
                  <a:lnTo>
                    <a:pt x="1071" y="131"/>
                  </a:lnTo>
                  <a:lnTo>
                    <a:pt x="1066" y="131"/>
                  </a:lnTo>
                  <a:lnTo>
                    <a:pt x="1066" y="136"/>
                  </a:lnTo>
                  <a:lnTo>
                    <a:pt x="1062" y="136"/>
                  </a:lnTo>
                  <a:lnTo>
                    <a:pt x="1066" y="136"/>
                  </a:lnTo>
                  <a:lnTo>
                    <a:pt x="1062" y="136"/>
                  </a:lnTo>
                  <a:lnTo>
                    <a:pt x="1066" y="131"/>
                  </a:lnTo>
                  <a:lnTo>
                    <a:pt x="1066" y="131"/>
                  </a:lnTo>
                  <a:lnTo>
                    <a:pt x="1071" y="131"/>
                  </a:lnTo>
                  <a:lnTo>
                    <a:pt x="1071" y="131"/>
                  </a:lnTo>
                  <a:lnTo>
                    <a:pt x="1071" y="131"/>
                  </a:lnTo>
                  <a:lnTo>
                    <a:pt x="1062" y="131"/>
                  </a:lnTo>
                  <a:lnTo>
                    <a:pt x="1062" y="131"/>
                  </a:lnTo>
                  <a:lnTo>
                    <a:pt x="1053" y="131"/>
                  </a:lnTo>
                  <a:lnTo>
                    <a:pt x="1048" y="131"/>
                  </a:lnTo>
                  <a:lnTo>
                    <a:pt x="1044" y="131"/>
                  </a:lnTo>
                  <a:lnTo>
                    <a:pt x="1044" y="136"/>
                  </a:lnTo>
                  <a:lnTo>
                    <a:pt x="1044" y="131"/>
                  </a:lnTo>
                  <a:lnTo>
                    <a:pt x="1044" y="131"/>
                  </a:lnTo>
                  <a:lnTo>
                    <a:pt x="1044" y="131"/>
                  </a:lnTo>
                  <a:lnTo>
                    <a:pt x="1048" y="131"/>
                  </a:lnTo>
                  <a:lnTo>
                    <a:pt x="1048" y="131"/>
                  </a:lnTo>
                  <a:lnTo>
                    <a:pt x="1048" y="131"/>
                  </a:lnTo>
                  <a:lnTo>
                    <a:pt x="1048" y="131"/>
                  </a:lnTo>
                  <a:lnTo>
                    <a:pt x="1048" y="131"/>
                  </a:lnTo>
                  <a:lnTo>
                    <a:pt x="1048" y="131"/>
                  </a:lnTo>
                  <a:lnTo>
                    <a:pt x="1044" y="131"/>
                  </a:lnTo>
                  <a:lnTo>
                    <a:pt x="1039" y="136"/>
                  </a:lnTo>
                  <a:lnTo>
                    <a:pt x="1021" y="140"/>
                  </a:lnTo>
                  <a:lnTo>
                    <a:pt x="1017" y="140"/>
                  </a:lnTo>
                  <a:lnTo>
                    <a:pt x="1012" y="140"/>
                  </a:lnTo>
                  <a:lnTo>
                    <a:pt x="1007" y="145"/>
                  </a:lnTo>
                  <a:lnTo>
                    <a:pt x="1007" y="145"/>
                  </a:lnTo>
                  <a:lnTo>
                    <a:pt x="1007" y="145"/>
                  </a:lnTo>
                  <a:lnTo>
                    <a:pt x="1007" y="145"/>
                  </a:lnTo>
                  <a:lnTo>
                    <a:pt x="998" y="145"/>
                  </a:lnTo>
                  <a:lnTo>
                    <a:pt x="994" y="149"/>
                  </a:lnTo>
                  <a:lnTo>
                    <a:pt x="989" y="149"/>
                  </a:lnTo>
                  <a:lnTo>
                    <a:pt x="985" y="149"/>
                  </a:lnTo>
                  <a:lnTo>
                    <a:pt x="980" y="149"/>
                  </a:lnTo>
                  <a:lnTo>
                    <a:pt x="976" y="149"/>
                  </a:lnTo>
                  <a:lnTo>
                    <a:pt x="971" y="149"/>
                  </a:lnTo>
                  <a:lnTo>
                    <a:pt x="967" y="145"/>
                  </a:lnTo>
                  <a:lnTo>
                    <a:pt x="967" y="149"/>
                  </a:lnTo>
                  <a:lnTo>
                    <a:pt x="958" y="149"/>
                  </a:lnTo>
                  <a:lnTo>
                    <a:pt x="953" y="154"/>
                  </a:lnTo>
                  <a:lnTo>
                    <a:pt x="949" y="154"/>
                  </a:lnTo>
                  <a:lnTo>
                    <a:pt x="949" y="154"/>
                  </a:lnTo>
                  <a:lnTo>
                    <a:pt x="949" y="154"/>
                  </a:lnTo>
                  <a:lnTo>
                    <a:pt x="949" y="154"/>
                  </a:lnTo>
                  <a:lnTo>
                    <a:pt x="949" y="154"/>
                  </a:lnTo>
                  <a:lnTo>
                    <a:pt x="949" y="154"/>
                  </a:lnTo>
                  <a:lnTo>
                    <a:pt x="949" y="154"/>
                  </a:lnTo>
                  <a:lnTo>
                    <a:pt x="949" y="154"/>
                  </a:lnTo>
                  <a:lnTo>
                    <a:pt x="949" y="154"/>
                  </a:lnTo>
                  <a:lnTo>
                    <a:pt x="949" y="158"/>
                  </a:lnTo>
                  <a:lnTo>
                    <a:pt x="949" y="158"/>
                  </a:lnTo>
                  <a:lnTo>
                    <a:pt x="944" y="167"/>
                  </a:lnTo>
                  <a:lnTo>
                    <a:pt x="944" y="172"/>
                  </a:lnTo>
                  <a:lnTo>
                    <a:pt x="940" y="176"/>
                  </a:lnTo>
                  <a:lnTo>
                    <a:pt x="935" y="176"/>
                  </a:lnTo>
                  <a:lnTo>
                    <a:pt x="935" y="176"/>
                  </a:lnTo>
                  <a:lnTo>
                    <a:pt x="940" y="181"/>
                  </a:lnTo>
                  <a:lnTo>
                    <a:pt x="940" y="181"/>
                  </a:lnTo>
                  <a:lnTo>
                    <a:pt x="944" y="181"/>
                  </a:lnTo>
                  <a:lnTo>
                    <a:pt x="944" y="181"/>
                  </a:lnTo>
                  <a:lnTo>
                    <a:pt x="944" y="181"/>
                  </a:lnTo>
                  <a:lnTo>
                    <a:pt x="944" y="181"/>
                  </a:lnTo>
                  <a:lnTo>
                    <a:pt x="949" y="181"/>
                  </a:lnTo>
                  <a:lnTo>
                    <a:pt x="949" y="181"/>
                  </a:lnTo>
                  <a:lnTo>
                    <a:pt x="949" y="181"/>
                  </a:lnTo>
                  <a:lnTo>
                    <a:pt x="949" y="185"/>
                  </a:lnTo>
                  <a:lnTo>
                    <a:pt x="940" y="185"/>
                  </a:lnTo>
                  <a:lnTo>
                    <a:pt x="940" y="185"/>
                  </a:lnTo>
                  <a:lnTo>
                    <a:pt x="940" y="190"/>
                  </a:lnTo>
                  <a:lnTo>
                    <a:pt x="940" y="190"/>
                  </a:lnTo>
                  <a:lnTo>
                    <a:pt x="940" y="190"/>
                  </a:lnTo>
                  <a:lnTo>
                    <a:pt x="944" y="190"/>
                  </a:lnTo>
                  <a:lnTo>
                    <a:pt x="949" y="190"/>
                  </a:lnTo>
                  <a:lnTo>
                    <a:pt x="949" y="190"/>
                  </a:lnTo>
                  <a:lnTo>
                    <a:pt x="949" y="190"/>
                  </a:lnTo>
                  <a:lnTo>
                    <a:pt x="949" y="190"/>
                  </a:lnTo>
                  <a:lnTo>
                    <a:pt x="949" y="194"/>
                  </a:lnTo>
                  <a:lnTo>
                    <a:pt x="944" y="194"/>
                  </a:lnTo>
                  <a:lnTo>
                    <a:pt x="940" y="194"/>
                  </a:lnTo>
                  <a:lnTo>
                    <a:pt x="940" y="194"/>
                  </a:lnTo>
                  <a:lnTo>
                    <a:pt x="940" y="190"/>
                  </a:lnTo>
                  <a:lnTo>
                    <a:pt x="940" y="190"/>
                  </a:lnTo>
                  <a:lnTo>
                    <a:pt x="940" y="190"/>
                  </a:lnTo>
                  <a:lnTo>
                    <a:pt x="935" y="190"/>
                  </a:lnTo>
                  <a:lnTo>
                    <a:pt x="935" y="190"/>
                  </a:lnTo>
                  <a:lnTo>
                    <a:pt x="935" y="185"/>
                  </a:lnTo>
                  <a:lnTo>
                    <a:pt x="940" y="185"/>
                  </a:lnTo>
                  <a:lnTo>
                    <a:pt x="940" y="185"/>
                  </a:lnTo>
                  <a:lnTo>
                    <a:pt x="940" y="181"/>
                  </a:lnTo>
                  <a:lnTo>
                    <a:pt x="940" y="181"/>
                  </a:lnTo>
                  <a:lnTo>
                    <a:pt x="940" y="181"/>
                  </a:lnTo>
                  <a:lnTo>
                    <a:pt x="940" y="181"/>
                  </a:lnTo>
                  <a:lnTo>
                    <a:pt x="935" y="185"/>
                  </a:lnTo>
                  <a:lnTo>
                    <a:pt x="935" y="185"/>
                  </a:lnTo>
                  <a:lnTo>
                    <a:pt x="935" y="185"/>
                  </a:lnTo>
                  <a:lnTo>
                    <a:pt x="935" y="185"/>
                  </a:lnTo>
                  <a:lnTo>
                    <a:pt x="931" y="190"/>
                  </a:lnTo>
                  <a:lnTo>
                    <a:pt x="931" y="190"/>
                  </a:lnTo>
                  <a:lnTo>
                    <a:pt x="931" y="190"/>
                  </a:lnTo>
                  <a:lnTo>
                    <a:pt x="935" y="190"/>
                  </a:lnTo>
                  <a:lnTo>
                    <a:pt x="935" y="194"/>
                  </a:lnTo>
                  <a:lnTo>
                    <a:pt x="935" y="194"/>
                  </a:lnTo>
                  <a:lnTo>
                    <a:pt x="931" y="194"/>
                  </a:lnTo>
                  <a:lnTo>
                    <a:pt x="931" y="194"/>
                  </a:lnTo>
                  <a:lnTo>
                    <a:pt x="931" y="194"/>
                  </a:lnTo>
                  <a:lnTo>
                    <a:pt x="931" y="194"/>
                  </a:lnTo>
                  <a:lnTo>
                    <a:pt x="931" y="194"/>
                  </a:lnTo>
                  <a:lnTo>
                    <a:pt x="926" y="194"/>
                  </a:lnTo>
                  <a:lnTo>
                    <a:pt x="922" y="199"/>
                  </a:lnTo>
                  <a:lnTo>
                    <a:pt x="917" y="199"/>
                  </a:lnTo>
                  <a:lnTo>
                    <a:pt x="917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08" y="194"/>
                  </a:lnTo>
                  <a:lnTo>
                    <a:pt x="904" y="194"/>
                  </a:lnTo>
                  <a:lnTo>
                    <a:pt x="904" y="190"/>
                  </a:lnTo>
                  <a:lnTo>
                    <a:pt x="908" y="190"/>
                  </a:lnTo>
                  <a:lnTo>
                    <a:pt x="908" y="190"/>
                  </a:lnTo>
                  <a:lnTo>
                    <a:pt x="913" y="190"/>
                  </a:lnTo>
                  <a:lnTo>
                    <a:pt x="917" y="185"/>
                  </a:lnTo>
                  <a:lnTo>
                    <a:pt x="917" y="185"/>
                  </a:lnTo>
                  <a:lnTo>
                    <a:pt x="917" y="185"/>
                  </a:lnTo>
                  <a:lnTo>
                    <a:pt x="917" y="185"/>
                  </a:lnTo>
                  <a:lnTo>
                    <a:pt x="917" y="185"/>
                  </a:lnTo>
                  <a:lnTo>
                    <a:pt x="922" y="185"/>
                  </a:lnTo>
                  <a:lnTo>
                    <a:pt x="922" y="185"/>
                  </a:lnTo>
                  <a:lnTo>
                    <a:pt x="917" y="185"/>
                  </a:lnTo>
                  <a:lnTo>
                    <a:pt x="913" y="185"/>
                  </a:lnTo>
                  <a:lnTo>
                    <a:pt x="908" y="185"/>
                  </a:lnTo>
                  <a:lnTo>
                    <a:pt x="904" y="185"/>
                  </a:lnTo>
                  <a:lnTo>
                    <a:pt x="904" y="185"/>
                  </a:lnTo>
                  <a:lnTo>
                    <a:pt x="899" y="185"/>
                  </a:lnTo>
                  <a:lnTo>
                    <a:pt x="895" y="185"/>
                  </a:lnTo>
                  <a:lnTo>
                    <a:pt x="890" y="185"/>
                  </a:lnTo>
                  <a:lnTo>
                    <a:pt x="890" y="185"/>
                  </a:lnTo>
                  <a:lnTo>
                    <a:pt x="890" y="190"/>
                  </a:lnTo>
                  <a:lnTo>
                    <a:pt x="890" y="190"/>
                  </a:lnTo>
                  <a:lnTo>
                    <a:pt x="890" y="190"/>
                  </a:lnTo>
                  <a:lnTo>
                    <a:pt x="885" y="190"/>
                  </a:lnTo>
                  <a:lnTo>
                    <a:pt x="885" y="190"/>
                  </a:lnTo>
                  <a:lnTo>
                    <a:pt x="885" y="190"/>
                  </a:lnTo>
                  <a:lnTo>
                    <a:pt x="885" y="185"/>
                  </a:lnTo>
                  <a:lnTo>
                    <a:pt x="881" y="190"/>
                  </a:lnTo>
                  <a:lnTo>
                    <a:pt x="881" y="190"/>
                  </a:lnTo>
                  <a:lnTo>
                    <a:pt x="876" y="190"/>
                  </a:lnTo>
                  <a:lnTo>
                    <a:pt x="872" y="190"/>
                  </a:lnTo>
                  <a:lnTo>
                    <a:pt x="872" y="190"/>
                  </a:lnTo>
                  <a:lnTo>
                    <a:pt x="867" y="190"/>
                  </a:lnTo>
                  <a:lnTo>
                    <a:pt x="863" y="190"/>
                  </a:lnTo>
                  <a:lnTo>
                    <a:pt x="858" y="190"/>
                  </a:lnTo>
                  <a:lnTo>
                    <a:pt x="854" y="194"/>
                  </a:lnTo>
                  <a:lnTo>
                    <a:pt x="854" y="190"/>
                  </a:lnTo>
                  <a:lnTo>
                    <a:pt x="858" y="190"/>
                  </a:lnTo>
                  <a:lnTo>
                    <a:pt x="854" y="190"/>
                  </a:lnTo>
                  <a:lnTo>
                    <a:pt x="854" y="194"/>
                  </a:lnTo>
                  <a:lnTo>
                    <a:pt x="849" y="194"/>
                  </a:lnTo>
                  <a:lnTo>
                    <a:pt x="849" y="194"/>
                  </a:lnTo>
                  <a:lnTo>
                    <a:pt x="854" y="199"/>
                  </a:lnTo>
                  <a:lnTo>
                    <a:pt x="854" y="199"/>
                  </a:lnTo>
                  <a:lnTo>
                    <a:pt x="858" y="199"/>
                  </a:lnTo>
                  <a:lnTo>
                    <a:pt x="858" y="199"/>
                  </a:lnTo>
                  <a:lnTo>
                    <a:pt x="858" y="204"/>
                  </a:lnTo>
                  <a:lnTo>
                    <a:pt x="858" y="204"/>
                  </a:lnTo>
                  <a:lnTo>
                    <a:pt x="858" y="204"/>
                  </a:lnTo>
                  <a:lnTo>
                    <a:pt x="854" y="204"/>
                  </a:lnTo>
                  <a:lnTo>
                    <a:pt x="849" y="204"/>
                  </a:lnTo>
                  <a:lnTo>
                    <a:pt x="849" y="204"/>
                  </a:lnTo>
                  <a:lnTo>
                    <a:pt x="849" y="204"/>
                  </a:lnTo>
                  <a:lnTo>
                    <a:pt x="849" y="204"/>
                  </a:lnTo>
                  <a:lnTo>
                    <a:pt x="849" y="204"/>
                  </a:lnTo>
                  <a:lnTo>
                    <a:pt x="849" y="204"/>
                  </a:lnTo>
                  <a:lnTo>
                    <a:pt x="845" y="208"/>
                  </a:lnTo>
                  <a:lnTo>
                    <a:pt x="845" y="208"/>
                  </a:lnTo>
                  <a:lnTo>
                    <a:pt x="845" y="208"/>
                  </a:lnTo>
                  <a:lnTo>
                    <a:pt x="840" y="208"/>
                  </a:lnTo>
                  <a:lnTo>
                    <a:pt x="840" y="208"/>
                  </a:lnTo>
                  <a:lnTo>
                    <a:pt x="836" y="213"/>
                  </a:lnTo>
                  <a:lnTo>
                    <a:pt x="836" y="213"/>
                  </a:lnTo>
                  <a:lnTo>
                    <a:pt x="840" y="217"/>
                  </a:lnTo>
                  <a:lnTo>
                    <a:pt x="845" y="217"/>
                  </a:lnTo>
                  <a:lnTo>
                    <a:pt x="845" y="217"/>
                  </a:lnTo>
                  <a:lnTo>
                    <a:pt x="845" y="217"/>
                  </a:lnTo>
                  <a:lnTo>
                    <a:pt x="845" y="217"/>
                  </a:lnTo>
                  <a:lnTo>
                    <a:pt x="849" y="217"/>
                  </a:lnTo>
                  <a:lnTo>
                    <a:pt x="849" y="217"/>
                  </a:lnTo>
                  <a:lnTo>
                    <a:pt x="849" y="217"/>
                  </a:lnTo>
                  <a:lnTo>
                    <a:pt x="849" y="217"/>
                  </a:lnTo>
                  <a:lnTo>
                    <a:pt x="854" y="217"/>
                  </a:lnTo>
                  <a:lnTo>
                    <a:pt x="858" y="217"/>
                  </a:lnTo>
                  <a:lnTo>
                    <a:pt x="863" y="217"/>
                  </a:lnTo>
                  <a:lnTo>
                    <a:pt x="863" y="222"/>
                  </a:lnTo>
                  <a:lnTo>
                    <a:pt x="858" y="222"/>
                  </a:lnTo>
                  <a:lnTo>
                    <a:pt x="863" y="222"/>
                  </a:lnTo>
                  <a:lnTo>
                    <a:pt x="863" y="217"/>
                  </a:lnTo>
                  <a:lnTo>
                    <a:pt x="863" y="217"/>
                  </a:lnTo>
                  <a:lnTo>
                    <a:pt x="863" y="217"/>
                  </a:lnTo>
                  <a:lnTo>
                    <a:pt x="863" y="217"/>
                  </a:lnTo>
                  <a:lnTo>
                    <a:pt x="867" y="217"/>
                  </a:lnTo>
                  <a:lnTo>
                    <a:pt x="867" y="222"/>
                  </a:lnTo>
                  <a:lnTo>
                    <a:pt x="863" y="222"/>
                  </a:lnTo>
                  <a:lnTo>
                    <a:pt x="863" y="222"/>
                  </a:lnTo>
                  <a:lnTo>
                    <a:pt x="867" y="222"/>
                  </a:lnTo>
                  <a:lnTo>
                    <a:pt x="872" y="217"/>
                  </a:lnTo>
                  <a:lnTo>
                    <a:pt x="876" y="217"/>
                  </a:lnTo>
                  <a:lnTo>
                    <a:pt x="881" y="217"/>
                  </a:lnTo>
                  <a:lnTo>
                    <a:pt x="885" y="217"/>
                  </a:lnTo>
                  <a:lnTo>
                    <a:pt x="885" y="217"/>
                  </a:lnTo>
                  <a:lnTo>
                    <a:pt x="885" y="217"/>
                  </a:lnTo>
                  <a:lnTo>
                    <a:pt x="895" y="217"/>
                  </a:lnTo>
                  <a:lnTo>
                    <a:pt x="895" y="217"/>
                  </a:lnTo>
                  <a:lnTo>
                    <a:pt x="895" y="217"/>
                  </a:lnTo>
                  <a:lnTo>
                    <a:pt x="895" y="217"/>
                  </a:lnTo>
                  <a:lnTo>
                    <a:pt x="890" y="217"/>
                  </a:lnTo>
                  <a:lnTo>
                    <a:pt x="890" y="217"/>
                  </a:lnTo>
                  <a:lnTo>
                    <a:pt x="890" y="222"/>
                  </a:lnTo>
                  <a:lnTo>
                    <a:pt x="885" y="222"/>
                  </a:lnTo>
                  <a:lnTo>
                    <a:pt x="885" y="222"/>
                  </a:lnTo>
                  <a:lnTo>
                    <a:pt x="881" y="222"/>
                  </a:lnTo>
                  <a:lnTo>
                    <a:pt x="881" y="222"/>
                  </a:lnTo>
                  <a:lnTo>
                    <a:pt x="881" y="222"/>
                  </a:lnTo>
                  <a:lnTo>
                    <a:pt x="876" y="222"/>
                  </a:lnTo>
                  <a:lnTo>
                    <a:pt x="876" y="222"/>
                  </a:lnTo>
                  <a:lnTo>
                    <a:pt x="876" y="226"/>
                  </a:lnTo>
                  <a:lnTo>
                    <a:pt x="876" y="226"/>
                  </a:lnTo>
                  <a:lnTo>
                    <a:pt x="867" y="231"/>
                  </a:lnTo>
                  <a:lnTo>
                    <a:pt x="867" y="231"/>
                  </a:lnTo>
                  <a:lnTo>
                    <a:pt x="863" y="235"/>
                  </a:lnTo>
                  <a:lnTo>
                    <a:pt x="863" y="235"/>
                  </a:lnTo>
                  <a:lnTo>
                    <a:pt x="858" y="235"/>
                  </a:lnTo>
                  <a:lnTo>
                    <a:pt x="854" y="240"/>
                  </a:lnTo>
                  <a:lnTo>
                    <a:pt x="849" y="240"/>
                  </a:lnTo>
                  <a:lnTo>
                    <a:pt x="849" y="240"/>
                  </a:lnTo>
                  <a:lnTo>
                    <a:pt x="845" y="240"/>
                  </a:lnTo>
                  <a:lnTo>
                    <a:pt x="845" y="240"/>
                  </a:lnTo>
                  <a:lnTo>
                    <a:pt x="845" y="235"/>
                  </a:lnTo>
                  <a:lnTo>
                    <a:pt x="845" y="235"/>
                  </a:lnTo>
                  <a:lnTo>
                    <a:pt x="840" y="235"/>
                  </a:lnTo>
                  <a:lnTo>
                    <a:pt x="840" y="240"/>
                  </a:lnTo>
                  <a:lnTo>
                    <a:pt x="831" y="240"/>
                  </a:lnTo>
                  <a:lnTo>
                    <a:pt x="827" y="240"/>
                  </a:lnTo>
                  <a:lnTo>
                    <a:pt x="822" y="244"/>
                  </a:lnTo>
                  <a:lnTo>
                    <a:pt x="822" y="244"/>
                  </a:lnTo>
                  <a:lnTo>
                    <a:pt x="818" y="244"/>
                  </a:lnTo>
                  <a:lnTo>
                    <a:pt x="818" y="244"/>
                  </a:lnTo>
                  <a:lnTo>
                    <a:pt x="818" y="240"/>
                  </a:lnTo>
                  <a:lnTo>
                    <a:pt x="818" y="240"/>
                  </a:lnTo>
                  <a:lnTo>
                    <a:pt x="818" y="240"/>
                  </a:lnTo>
                  <a:lnTo>
                    <a:pt x="813" y="244"/>
                  </a:lnTo>
                  <a:lnTo>
                    <a:pt x="813" y="244"/>
                  </a:lnTo>
                  <a:lnTo>
                    <a:pt x="813" y="240"/>
                  </a:lnTo>
                  <a:lnTo>
                    <a:pt x="818" y="240"/>
                  </a:lnTo>
                  <a:lnTo>
                    <a:pt x="818" y="240"/>
                  </a:lnTo>
                  <a:lnTo>
                    <a:pt x="818" y="240"/>
                  </a:lnTo>
                  <a:lnTo>
                    <a:pt x="818" y="240"/>
                  </a:lnTo>
                  <a:lnTo>
                    <a:pt x="818" y="240"/>
                  </a:lnTo>
                  <a:lnTo>
                    <a:pt x="818" y="240"/>
                  </a:lnTo>
                  <a:lnTo>
                    <a:pt x="813" y="240"/>
                  </a:lnTo>
                  <a:lnTo>
                    <a:pt x="813" y="240"/>
                  </a:lnTo>
                  <a:lnTo>
                    <a:pt x="809" y="240"/>
                  </a:lnTo>
                  <a:lnTo>
                    <a:pt x="809" y="240"/>
                  </a:lnTo>
                  <a:lnTo>
                    <a:pt x="809" y="240"/>
                  </a:lnTo>
                  <a:lnTo>
                    <a:pt x="809" y="240"/>
                  </a:lnTo>
                  <a:lnTo>
                    <a:pt x="804" y="240"/>
                  </a:lnTo>
                  <a:lnTo>
                    <a:pt x="804" y="240"/>
                  </a:lnTo>
                  <a:lnTo>
                    <a:pt x="800" y="244"/>
                  </a:lnTo>
                  <a:lnTo>
                    <a:pt x="795" y="244"/>
                  </a:lnTo>
                  <a:lnTo>
                    <a:pt x="795" y="244"/>
                  </a:lnTo>
                  <a:lnTo>
                    <a:pt x="791" y="249"/>
                  </a:lnTo>
                  <a:lnTo>
                    <a:pt x="795" y="244"/>
                  </a:lnTo>
                  <a:lnTo>
                    <a:pt x="795" y="244"/>
                  </a:lnTo>
                  <a:lnTo>
                    <a:pt x="795" y="244"/>
                  </a:lnTo>
                  <a:lnTo>
                    <a:pt x="795" y="249"/>
                  </a:lnTo>
                  <a:lnTo>
                    <a:pt x="791" y="249"/>
                  </a:lnTo>
                  <a:lnTo>
                    <a:pt x="791" y="249"/>
                  </a:lnTo>
                  <a:lnTo>
                    <a:pt x="791" y="249"/>
                  </a:lnTo>
                  <a:lnTo>
                    <a:pt x="791" y="249"/>
                  </a:lnTo>
                  <a:lnTo>
                    <a:pt x="791" y="249"/>
                  </a:lnTo>
                  <a:lnTo>
                    <a:pt x="786" y="249"/>
                  </a:lnTo>
                  <a:lnTo>
                    <a:pt x="786" y="249"/>
                  </a:lnTo>
                  <a:lnTo>
                    <a:pt x="786" y="249"/>
                  </a:lnTo>
                  <a:lnTo>
                    <a:pt x="777" y="249"/>
                  </a:lnTo>
                  <a:lnTo>
                    <a:pt x="768" y="253"/>
                  </a:lnTo>
                  <a:lnTo>
                    <a:pt x="768" y="253"/>
                  </a:lnTo>
                  <a:lnTo>
                    <a:pt x="764" y="258"/>
                  </a:lnTo>
                  <a:lnTo>
                    <a:pt x="764" y="258"/>
                  </a:lnTo>
                  <a:lnTo>
                    <a:pt x="764" y="258"/>
                  </a:lnTo>
                  <a:lnTo>
                    <a:pt x="759" y="258"/>
                  </a:lnTo>
                  <a:lnTo>
                    <a:pt x="759" y="258"/>
                  </a:lnTo>
                  <a:lnTo>
                    <a:pt x="759" y="258"/>
                  </a:lnTo>
                  <a:lnTo>
                    <a:pt x="754" y="258"/>
                  </a:lnTo>
                  <a:lnTo>
                    <a:pt x="754" y="262"/>
                  </a:lnTo>
                  <a:lnTo>
                    <a:pt x="754" y="262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45" y="267"/>
                  </a:lnTo>
                  <a:lnTo>
                    <a:pt x="745" y="267"/>
                  </a:lnTo>
                  <a:lnTo>
                    <a:pt x="745" y="267"/>
                  </a:lnTo>
                  <a:lnTo>
                    <a:pt x="741" y="271"/>
                  </a:lnTo>
                  <a:lnTo>
                    <a:pt x="741" y="271"/>
                  </a:lnTo>
                  <a:lnTo>
                    <a:pt x="741" y="271"/>
                  </a:lnTo>
                  <a:lnTo>
                    <a:pt x="745" y="271"/>
                  </a:lnTo>
                  <a:lnTo>
                    <a:pt x="745" y="271"/>
                  </a:lnTo>
                  <a:lnTo>
                    <a:pt x="745" y="271"/>
                  </a:lnTo>
                  <a:lnTo>
                    <a:pt x="750" y="267"/>
                  </a:lnTo>
                  <a:lnTo>
                    <a:pt x="750" y="267"/>
                  </a:lnTo>
                  <a:lnTo>
                    <a:pt x="750" y="267"/>
                  </a:lnTo>
                  <a:lnTo>
                    <a:pt x="745" y="267"/>
                  </a:lnTo>
                  <a:lnTo>
                    <a:pt x="745" y="271"/>
                  </a:lnTo>
                  <a:lnTo>
                    <a:pt x="745" y="271"/>
                  </a:lnTo>
                  <a:lnTo>
                    <a:pt x="745" y="271"/>
                  </a:lnTo>
                  <a:lnTo>
                    <a:pt x="750" y="271"/>
                  </a:lnTo>
                  <a:lnTo>
                    <a:pt x="750" y="271"/>
                  </a:lnTo>
                  <a:lnTo>
                    <a:pt x="745" y="271"/>
                  </a:lnTo>
                  <a:lnTo>
                    <a:pt x="745" y="271"/>
                  </a:lnTo>
                  <a:lnTo>
                    <a:pt x="750" y="271"/>
                  </a:lnTo>
                  <a:lnTo>
                    <a:pt x="750" y="271"/>
                  </a:lnTo>
                  <a:lnTo>
                    <a:pt x="745" y="271"/>
                  </a:lnTo>
                  <a:lnTo>
                    <a:pt x="745" y="271"/>
                  </a:lnTo>
                  <a:lnTo>
                    <a:pt x="741" y="276"/>
                  </a:lnTo>
                  <a:lnTo>
                    <a:pt x="741" y="276"/>
                  </a:lnTo>
                  <a:lnTo>
                    <a:pt x="741" y="276"/>
                  </a:lnTo>
                  <a:lnTo>
                    <a:pt x="745" y="276"/>
                  </a:lnTo>
                  <a:lnTo>
                    <a:pt x="745" y="276"/>
                  </a:lnTo>
                  <a:lnTo>
                    <a:pt x="750" y="276"/>
                  </a:lnTo>
                  <a:lnTo>
                    <a:pt x="754" y="276"/>
                  </a:lnTo>
                  <a:lnTo>
                    <a:pt x="754" y="276"/>
                  </a:lnTo>
                  <a:lnTo>
                    <a:pt x="754" y="276"/>
                  </a:lnTo>
                  <a:lnTo>
                    <a:pt x="754" y="276"/>
                  </a:lnTo>
                  <a:lnTo>
                    <a:pt x="750" y="276"/>
                  </a:lnTo>
                  <a:lnTo>
                    <a:pt x="750" y="276"/>
                  </a:lnTo>
                  <a:lnTo>
                    <a:pt x="750" y="280"/>
                  </a:lnTo>
                  <a:lnTo>
                    <a:pt x="754" y="280"/>
                  </a:lnTo>
                  <a:lnTo>
                    <a:pt x="754" y="280"/>
                  </a:lnTo>
                  <a:lnTo>
                    <a:pt x="750" y="280"/>
                  </a:lnTo>
                  <a:lnTo>
                    <a:pt x="745" y="285"/>
                  </a:lnTo>
                  <a:lnTo>
                    <a:pt x="745" y="280"/>
                  </a:lnTo>
                  <a:lnTo>
                    <a:pt x="745" y="280"/>
                  </a:lnTo>
                  <a:lnTo>
                    <a:pt x="745" y="280"/>
                  </a:lnTo>
                  <a:lnTo>
                    <a:pt x="745" y="280"/>
                  </a:lnTo>
                  <a:lnTo>
                    <a:pt x="745" y="280"/>
                  </a:lnTo>
                  <a:lnTo>
                    <a:pt x="741" y="280"/>
                  </a:lnTo>
                  <a:lnTo>
                    <a:pt x="736" y="280"/>
                  </a:lnTo>
                  <a:lnTo>
                    <a:pt x="741" y="280"/>
                  </a:lnTo>
                  <a:lnTo>
                    <a:pt x="745" y="280"/>
                  </a:lnTo>
                  <a:lnTo>
                    <a:pt x="745" y="280"/>
                  </a:lnTo>
                  <a:lnTo>
                    <a:pt x="745" y="276"/>
                  </a:lnTo>
                  <a:lnTo>
                    <a:pt x="745" y="276"/>
                  </a:lnTo>
                  <a:lnTo>
                    <a:pt x="745" y="276"/>
                  </a:lnTo>
                  <a:lnTo>
                    <a:pt x="741" y="276"/>
                  </a:lnTo>
                  <a:lnTo>
                    <a:pt x="741" y="276"/>
                  </a:lnTo>
                  <a:lnTo>
                    <a:pt x="736" y="276"/>
                  </a:lnTo>
                  <a:lnTo>
                    <a:pt x="727" y="280"/>
                  </a:lnTo>
                  <a:lnTo>
                    <a:pt x="727" y="280"/>
                  </a:lnTo>
                  <a:lnTo>
                    <a:pt x="727" y="280"/>
                  </a:lnTo>
                  <a:lnTo>
                    <a:pt x="727" y="280"/>
                  </a:lnTo>
                  <a:lnTo>
                    <a:pt x="727" y="280"/>
                  </a:lnTo>
                  <a:lnTo>
                    <a:pt x="727" y="285"/>
                  </a:lnTo>
                  <a:lnTo>
                    <a:pt x="727" y="285"/>
                  </a:lnTo>
                  <a:lnTo>
                    <a:pt x="727" y="285"/>
                  </a:lnTo>
                  <a:lnTo>
                    <a:pt x="727" y="285"/>
                  </a:lnTo>
                  <a:lnTo>
                    <a:pt x="723" y="289"/>
                  </a:lnTo>
                  <a:lnTo>
                    <a:pt x="723" y="294"/>
                  </a:lnTo>
                  <a:lnTo>
                    <a:pt x="723" y="294"/>
                  </a:lnTo>
                  <a:lnTo>
                    <a:pt x="723" y="294"/>
                  </a:lnTo>
                  <a:lnTo>
                    <a:pt x="723" y="294"/>
                  </a:lnTo>
                  <a:lnTo>
                    <a:pt x="723" y="298"/>
                  </a:lnTo>
                  <a:lnTo>
                    <a:pt x="727" y="298"/>
                  </a:lnTo>
                  <a:lnTo>
                    <a:pt x="736" y="294"/>
                  </a:lnTo>
                  <a:lnTo>
                    <a:pt x="736" y="294"/>
                  </a:lnTo>
                  <a:lnTo>
                    <a:pt x="741" y="294"/>
                  </a:lnTo>
                  <a:lnTo>
                    <a:pt x="741" y="294"/>
                  </a:lnTo>
                  <a:lnTo>
                    <a:pt x="745" y="294"/>
                  </a:lnTo>
                  <a:lnTo>
                    <a:pt x="745" y="289"/>
                  </a:lnTo>
                  <a:lnTo>
                    <a:pt x="745" y="289"/>
                  </a:lnTo>
                  <a:lnTo>
                    <a:pt x="745" y="289"/>
                  </a:lnTo>
                  <a:lnTo>
                    <a:pt x="745" y="289"/>
                  </a:lnTo>
                  <a:lnTo>
                    <a:pt x="750" y="289"/>
                  </a:lnTo>
                  <a:lnTo>
                    <a:pt x="759" y="285"/>
                  </a:lnTo>
                  <a:lnTo>
                    <a:pt x="759" y="285"/>
                  </a:lnTo>
                  <a:lnTo>
                    <a:pt x="764" y="285"/>
                  </a:lnTo>
                  <a:lnTo>
                    <a:pt x="764" y="285"/>
                  </a:lnTo>
                  <a:lnTo>
                    <a:pt x="764" y="285"/>
                  </a:lnTo>
                  <a:lnTo>
                    <a:pt x="764" y="285"/>
                  </a:lnTo>
                  <a:lnTo>
                    <a:pt x="759" y="285"/>
                  </a:lnTo>
                  <a:lnTo>
                    <a:pt x="754" y="289"/>
                  </a:lnTo>
                  <a:lnTo>
                    <a:pt x="750" y="289"/>
                  </a:lnTo>
                  <a:lnTo>
                    <a:pt x="745" y="294"/>
                  </a:lnTo>
                  <a:lnTo>
                    <a:pt x="741" y="294"/>
                  </a:lnTo>
                  <a:lnTo>
                    <a:pt x="736" y="303"/>
                  </a:lnTo>
                  <a:lnTo>
                    <a:pt x="736" y="303"/>
                  </a:lnTo>
                  <a:lnTo>
                    <a:pt x="732" y="303"/>
                  </a:lnTo>
                  <a:lnTo>
                    <a:pt x="732" y="308"/>
                  </a:lnTo>
                  <a:lnTo>
                    <a:pt x="727" y="308"/>
                  </a:lnTo>
                  <a:lnTo>
                    <a:pt x="723" y="308"/>
                  </a:lnTo>
                  <a:lnTo>
                    <a:pt x="723" y="312"/>
                  </a:lnTo>
                  <a:lnTo>
                    <a:pt x="723" y="312"/>
                  </a:lnTo>
                  <a:lnTo>
                    <a:pt x="723" y="312"/>
                  </a:lnTo>
                  <a:lnTo>
                    <a:pt x="723" y="312"/>
                  </a:lnTo>
                  <a:lnTo>
                    <a:pt x="718" y="312"/>
                  </a:lnTo>
                  <a:lnTo>
                    <a:pt x="718" y="317"/>
                  </a:lnTo>
                  <a:lnTo>
                    <a:pt x="718" y="317"/>
                  </a:lnTo>
                  <a:lnTo>
                    <a:pt x="714" y="317"/>
                  </a:lnTo>
                  <a:lnTo>
                    <a:pt x="709" y="317"/>
                  </a:lnTo>
                  <a:lnTo>
                    <a:pt x="709" y="317"/>
                  </a:lnTo>
                  <a:lnTo>
                    <a:pt x="705" y="321"/>
                  </a:lnTo>
                  <a:lnTo>
                    <a:pt x="709" y="321"/>
                  </a:lnTo>
                  <a:lnTo>
                    <a:pt x="714" y="321"/>
                  </a:lnTo>
                  <a:lnTo>
                    <a:pt x="718" y="321"/>
                  </a:lnTo>
                  <a:lnTo>
                    <a:pt x="718" y="317"/>
                  </a:lnTo>
                  <a:lnTo>
                    <a:pt x="718" y="317"/>
                  </a:lnTo>
                  <a:lnTo>
                    <a:pt x="718" y="317"/>
                  </a:lnTo>
                  <a:lnTo>
                    <a:pt x="723" y="317"/>
                  </a:lnTo>
                  <a:lnTo>
                    <a:pt x="727" y="317"/>
                  </a:lnTo>
                  <a:lnTo>
                    <a:pt x="732" y="317"/>
                  </a:lnTo>
                  <a:lnTo>
                    <a:pt x="732" y="317"/>
                  </a:lnTo>
                  <a:lnTo>
                    <a:pt x="736" y="317"/>
                  </a:lnTo>
                  <a:lnTo>
                    <a:pt x="736" y="317"/>
                  </a:lnTo>
                  <a:lnTo>
                    <a:pt x="732" y="317"/>
                  </a:lnTo>
                  <a:lnTo>
                    <a:pt x="732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2" y="330"/>
                  </a:lnTo>
                  <a:lnTo>
                    <a:pt x="732" y="330"/>
                  </a:lnTo>
                  <a:lnTo>
                    <a:pt x="736" y="330"/>
                  </a:lnTo>
                  <a:lnTo>
                    <a:pt x="736" y="330"/>
                  </a:lnTo>
                  <a:lnTo>
                    <a:pt x="741" y="326"/>
                  </a:lnTo>
                  <a:lnTo>
                    <a:pt x="745" y="321"/>
                  </a:lnTo>
                  <a:lnTo>
                    <a:pt x="745" y="321"/>
                  </a:lnTo>
                  <a:lnTo>
                    <a:pt x="750" y="321"/>
                  </a:lnTo>
                  <a:lnTo>
                    <a:pt x="750" y="321"/>
                  </a:lnTo>
                  <a:lnTo>
                    <a:pt x="750" y="321"/>
                  </a:lnTo>
                  <a:lnTo>
                    <a:pt x="750" y="321"/>
                  </a:lnTo>
                  <a:lnTo>
                    <a:pt x="754" y="317"/>
                  </a:lnTo>
                  <a:lnTo>
                    <a:pt x="754" y="317"/>
                  </a:lnTo>
                  <a:lnTo>
                    <a:pt x="759" y="321"/>
                  </a:lnTo>
                  <a:lnTo>
                    <a:pt x="754" y="321"/>
                  </a:lnTo>
                  <a:lnTo>
                    <a:pt x="754" y="321"/>
                  </a:lnTo>
                  <a:lnTo>
                    <a:pt x="754" y="321"/>
                  </a:lnTo>
                  <a:lnTo>
                    <a:pt x="754" y="321"/>
                  </a:lnTo>
                  <a:lnTo>
                    <a:pt x="750" y="321"/>
                  </a:lnTo>
                  <a:lnTo>
                    <a:pt x="750" y="321"/>
                  </a:lnTo>
                  <a:lnTo>
                    <a:pt x="750" y="326"/>
                  </a:lnTo>
                  <a:lnTo>
                    <a:pt x="745" y="326"/>
                  </a:lnTo>
                  <a:lnTo>
                    <a:pt x="745" y="326"/>
                  </a:lnTo>
                  <a:lnTo>
                    <a:pt x="745" y="326"/>
                  </a:lnTo>
                  <a:lnTo>
                    <a:pt x="750" y="326"/>
                  </a:lnTo>
                  <a:lnTo>
                    <a:pt x="754" y="326"/>
                  </a:lnTo>
                  <a:lnTo>
                    <a:pt x="764" y="326"/>
                  </a:lnTo>
                  <a:lnTo>
                    <a:pt x="768" y="321"/>
                  </a:lnTo>
                  <a:lnTo>
                    <a:pt x="773" y="321"/>
                  </a:lnTo>
                  <a:lnTo>
                    <a:pt x="768" y="326"/>
                  </a:lnTo>
                  <a:lnTo>
                    <a:pt x="764" y="326"/>
                  </a:lnTo>
                  <a:lnTo>
                    <a:pt x="764" y="326"/>
                  </a:lnTo>
                  <a:lnTo>
                    <a:pt x="764" y="326"/>
                  </a:lnTo>
                  <a:lnTo>
                    <a:pt x="754" y="330"/>
                  </a:lnTo>
                  <a:lnTo>
                    <a:pt x="750" y="330"/>
                  </a:lnTo>
                  <a:lnTo>
                    <a:pt x="745" y="330"/>
                  </a:lnTo>
                  <a:lnTo>
                    <a:pt x="745" y="335"/>
                  </a:lnTo>
                  <a:lnTo>
                    <a:pt x="745" y="335"/>
                  </a:lnTo>
                  <a:lnTo>
                    <a:pt x="745" y="335"/>
                  </a:lnTo>
                  <a:lnTo>
                    <a:pt x="745" y="335"/>
                  </a:lnTo>
                  <a:lnTo>
                    <a:pt x="745" y="335"/>
                  </a:lnTo>
                  <a:lnTo>
                    <a:pt x="741" y="335"/>
                  </a:lnTo>
                  <a:lnTo>
                    <a:pt x="741" y="335"/>
                  </a:lnTo>
                  <a:lnTo>
                    <a:pt x="736" y="339"/>
                  </a:lnTo>
                  <a:lnTo>
                    <a:pt x="732" y="339"/>
                  </a:lnTo>
                  <a:lnTo>
                    <a:pt x="727" y="344"/>
                  </a:lnTo>
                  <a:lnTo>
                    <a:pt x="727" y="344"/>
                  </a:lnTo>
                  <a:lnTo>
                    <a:pt x="727" y="344"/>
                  </a:lnTo>
                  <a:lnTo>
                    <a:pt x="723" y="348"/>
                  </a:lnTo>
                  <a:lnTo>
                    <a:pt x="723" y="348"/>
                  </a:lnTo>
                  <a:lnTo>
                    <a:pt x="723" y="348"/>
                  </a:lnTo>
                  <a:lnTo>
                    <a:pt x="723" y="348"/>
                  </a:lnTo>
                  <a:lnTo>
                    <a:pt x="723" y="348"/>
                  </a:lnTo>
                  <a:lnTo>
                    <a:pt x="723" y="348"/>
                  </a:lnTo>
                  <a:lnTo>
                    <a:pt x="723" y="348"/>
                  </a:lnTo>
                  <a:lnTo>
                    <a:pt x="723" y="348"/>
                  </a:lnTo>
                  <a:lnTo>
                    <a:pt x="723" y="348"/>
                  </a:lnTo>
                  <a:lnTo>
                    <a:pt x="723" y="348"/>
                  </a:lnTo>
                  <a:lnTo>
                    <a:pt x="723" y="348"/>
                  </a:lnTo>
                  <a:lnTo>
                    <a:pt x="718" y="348"/>
                  </a:lnTo>
                  <a:lnTo>
                    <a:pt x="714" y="348"/>
                  </a:lnTo>
                  <a:lnTo>
                    <a:pt x="714" y="348"/>
                  </a:lnTo>
                  <a:lnTo>
                    <a:pt x="714" y="348"/>
                  </a:lnTo>
                  <a:lnTo>
                    <a:pt x="709" y="348"/>
                  </a:lnTo>
                  <a:lnTo>
                    <a:pt x="705" y="353"/>
                  </a:lnTo>
                  <a:lnTo>
                    <a:pt x="700" y="353"/>
                  </a:lnTo>
                  <a:lnTo>
                    <a:pt x="700" y="353"/>
                  </a:lnTo>
                  <a:lnTo>
                    <a:pt x="696" y="353"/>
                  </a:lnTo>
                  <a:lnTo>
                    <a:pt x="696" y="357"/>
                  </a:lnTo>
                  <a:lnTo>
                    <a:pt x="696" y="357"/>
                  </a:lnTo>
                  <a:lnTo>
                    <a:pt x="696" y="357"/>
                  </a:lnTo>
                  <a:lnTo>
                    <a:pt x="691" y="357"/>
                  </a:lnTo>
                  <a:lnTo>
                    <a:pt x="691" y="357"/>
                  </a:lnTo>
                  <a:lnTo>
                    <a:pt x="691" y="357"/>
                  </a:lnTo>
                  <a:lnTo>
                    <a:pt x="691" y="357"/>
                  </a:lnTo>
                  <a:lnTo>
                    <a:pt x="691" y="357"/>
                  </a:lnTo>
                  <a:lnTo>
                    <a:pt x="691" y="357"/>
                  </a:lnTo>
                  <a:lnTo>
                    <a:pt x="691" y="357"/>
                  </a:lnTo>
                  <a:lnTo>
                    <a:pt x="687" y="357"/>
                  </a:lnTo>
                  <a:lnTo>
                    <a:pt x="682" y="357"/>
                  </a:lnTo>
                  <a:lnTo>
                    <a:pt x="673" y="362"/>
                  </a:lnTo>
                  <a:lnTo>
                    <a:pt x="669" y="362"/>
                  </a:lnTo>
                  <a:lnTo>
                    <a:pt x="669" y="362"/>
                  </a:lnTo>
                  <a:lnTo>
                    <a:pt x="664" y="362"/>
                  </a:lnTo>
                  <a:lnTo>
                    <a:pt x="660" y="366"/>
                  </a:lnTo>
                  <a:lnTo>
                    <a:pt x="655" y="366"/>
                  </a:lnTo>
                  <a:lnTo>
                    <a:pt x="655" y="366"/>
                  </a:lnTo>
                  <a:lnTo>
                    <a:pt x="651" y="371"/>
                  </a:lnTo>
                  <a:lnTo>
                    <a:pt x="651" y="371"/>
                  </a:lnTo>
                  <a:lnTo>
                    <a:pt x="651" y="371"/>
                  </a:lnTo>
                  <a:lnTo>
                    <a:pt x="651" y="371"/>
                  </a:lnTo>
                  <a:lnTo>
                    <a:pt x="651" y="371"/>
                  </a:lnTo>
                  <a:lnTo>
                    <a:pt x="651" y="371"/>
                  </a:lnTo>
                  <a:lnTo>
                    <a:pt x="651" y="371"/>
                  </a:lnTo>
                  <a:lnTo>
                    <a:pt x="651" y="371"/>
                  </a:lnTo>
                  <a:lnTo>
                    <a:pt x="651" y="371"/>
                  </a:lnTo>
                  <a:lnTo>
                    <a:pt x="651" y="371"/>
                  </a:lnTo>
                  <a:lnTo>
                    <a:pt x="646" y="371"/>
                  </a:lnTo>
                  <a:lnTo>
                    <a:pt x="646" y="371"/>
                  </a:lnTo>
                  <a:lnTo>
                    <a:pt x="646" y="371"/>
                  </a:lnTo>
                  <a:lnTo>
                    <a:pt x="646" y="371"/>
                  </a:lnTo>
                  <a:lnTo>
                    <a:pt x="642" y="371"/>
                  </a:lnTo>
                  <a:lnTo>
                    <a:pt x="642" y="371"/>
                  </a:lnTo>
                  <a:lnTo>
                    <a:pt x="642" y="371"/>
                  </a:lnTo>
                  <a:lnTo>
                    <a:pt x="646" y="371"/>
                  </a:lnTo>
                  <a:lnTo>
                    <a:pt x="646" y="371"/>
                  </a:lnTo>
                  <a:lnTo>
                    <a:pt x="646" y="371"/>
                  </a:lnTo>
                  <a:lnTo>
                    <a:pt x="646" y="371"/>
                  </a:lnTo>
                  <a:lnTo>
                    <a:pt x="646" y="366"/>
                  </a:lnTo>
                  <a:lnTo>
                    <a:pt x="646" y="371"/>
                  </a:lnTo>
                  <a:lnTo>
                    <a:pt x="646" y="371"/>
                  </a:lnTo>
                  <a:lnTo>
                    <a:pt x="646" y="366"/>
                  </a:lnTo>
                  <a:lnTo>
                    <a:pt x="646" y="366"/>
                  </a:lnTo>
                  <a:lnTo>
                    <a:pt x="646" y="366"/>
                  </a:lnTo>
                  <a:lnTo>
                    <a:pt x="646" y="366"/>
                  </a:lnTo>
                  <a:lnTo>
                    <a:pt x="637" y="366"/>
                  </a:lnTo>
                  <a:lnTo>
                    <a:pt x="633" y="371"/>
                  </a:lnTo>
                  <a:lnTo>
                    <a:pt x="628" y="371"/>
                  </a:lnTo>
                  <a:lnTo>
                    <a:pt x="623" y="371"/>
                  </a:lnTo>
                  <a:lnTo>
                    <a:pt x="619" y="375"/>
                  </a:lnTo>
                  <a:lnTo>
                    <a:pt x="614" y="375"/>
                  </a:lnTo>
                  <a:lnTo>
                    <a:pt x="610" y="375"/>
                  </a:lnTo>
                  <a:lnTo>
                    <a:pt x="610" y="380"/>
                  </a:lnTo>
                  <a:lnTo>
                    <a:pt x="605" y="380"/>
                  </a:lnTo>
                  <a:lnTo>
                    <a:pt x="605" y="380"/>
                  </a:lnTo>
                  <a:lnTo>
                    <a:pt x="605" y="380"/>
                  </a:lnTo>
                  <a:lnTo>
                    <a:pt x="605" y="380"/>
                  </a:lnTo>
                  <a:lnTo>
                    <a:pt x="605" y="380"/>
                  </a:lnTo>
                  <a:lnTo>
                    <a:pt x="605" y="380"/>
                  </a:lnTo>
                  <a:lnTo>
                    <a:pt x="601" y="380"/>
                  </a:lnTo>
                  <a:lnTo>
                    <a:pt x="601" y="380"/>
                  </a:lnTo>
                  <a:lnTo>
                    <a:pt x="596" y="380"/>
                  </a:lnTo>
                  <a:lnTo>
                    <a:pt x="596" y="380"/>
                  </a:lnTo>
                  <a:lnTo>
                    <a:pt x="596" y="384"/>
                  </a:lnTo>
                  <a:lnTo>
                    <a:pt x="592" y="384"/>
                  </a:lnTo>
                  <a:lnTo>
                    <a:pt x="592" y="384"/>
                  </a:lnTo>
                  <a:lnTo>
                    <a:pt x="592" y="384"/>
                  </a:lnTo>
                  <a:lnTo>
                    <a:pt x="592" y="384"/>
                  </a:lnTo>
                  <a:lnTo>
                    <a:pt x="596" y="384"/>
                  </a:lnTo>
                  <a:lnTo>
                    <a:pt x="596" y="384"/>
                  </a:lnTo>
                  <a:lnTo>
                    <a:pt x="601" y="380"/>
                  </a:lnTo>
                  <a:lnTo>
                    <a:pt x="601" y="380"/>
                  </a:lnTo>
                  <a:lnTo>
                    <a:pt x="601" y="380"/>
                  </a:lnTo>
                  <a:lnTo>
                    <a:pt x="601" y="384"/>
                  </a:lnTo>
                  <a:lnTo>
                    <a:pt x="601" y="384"/>
                  </a:lnTo>
                  <a:lnTo>
                    <a:pt x="601" y="384"/>
                  </a:lnTo>
                  <a:lnTo>
                    <a:pt x="605" y="380"/>
                  </a:lnTo>
                  <a:lnTo>
                    <a:pt x="605" y="380"/>
                  </a:lnTo>
                  <a:lnTo>
                    <a:pt x="610" y="380"/>
                  </a:lnTo>
                  <a:lnTo>
                    <a:pt x="610" y="380"/>
                  </a:lnTo>
                  <a:lnTo>
                    <a:pt x="610" y="380"/>
                  </a:lnTo>
                  <a:lnTo>
                    <a:pt x="610" y="380"/>
                  </a:lnTo>
                  <a:lnTo>
                    <a:pt x="610" y="380"/>
                  </a:lnTo>
                  <a:lnTo>
                    <a:pt x="610" y="380"/>
                  </a:lnTo>
                  <a:lnTo>
                    <a:pt x="610" y="380"/>
                  </a:lnTo>
                  <a:lnTo>
                    <a:pt x="605" y="380"/>
                  </a:lnTo>
                  <a:lnTo>
                    <a:pt x="605" y="380"/>
                  </a:lnTo>
                  <a:lnTo>
                    <a:pt x="605" y="384"/>
                  </a:lnTo>
                  <a:lnTo>
                    <a:pt x="610" y="384"/>
                  </a:lnTo>
                  <a:lnTo>
                    <a:pt x="610" y="380"/>
                  </a:lnTo>
                  <a:lnTo>
                    <a:pt x="610" y="380"/>
                  </a:lnTo>
                  <a:lnTo>
                    <a:pt x="614" y="380"/>
                  </a:lnTo>
                  <a:lnTo>
                    <a:pt x="614" y="380"/>
                  </a:lnTo>
                  <a:lnTo>
                    <a:pt x="614" y="380"/>
                  </a:lnTo>
                  <a:lnTo>
                    <a:pt x="623" y="375"/>
                  </a:lnTo>
                  <a:lnTo>
                    <a:pt x="623" y="375"/>
                  </a:lnTo>
                  <a:lnTo>
                    <a:pt x="628" y="375"/>
                  </a:lnTo>
                  <a:lnTo>
                    <a:pt x="628" y="375"/>
                  </a:lnTo>
                  <a:lnTo>
                    <a:pt x="628" y="375"/>
                  </a:lnTo>
                  <a:lnTo>
                    <a:pt x="633" y="375"/>
                  </a:lnTo>
                  <a:lnTo>
                    <a:pt x="633" y="375"/>
                  </a:lnTo>
                  <a:lnTo>
                    <a:pt x="633" y="375"/>
                  </a:lnTo>
                  <a:lnTo>
                    <a:pt x="633" y="375"/>
                  </a:lnTo>
                  <a:lnTo>
                    <a:pt x="633" y="375"/>
                  </a:lnTo>
                  <a:lnTo>
                    <a:pt x="633" y="375"/>
                  </a:lnTo>
                  <a:lnTo>
                    <a:pt x="633" y="375"/>
                  </a:lnTo>
                  <a:lnTo>
                    <a:pt x="633" y="375"/>
                  </a:lnTo>
                  <a:lnTo>
                    <a:pt x="633" y="375"/>
                  </a:lnTo>
                  <a:lnTo>
                    <a:pt x="628" y="375"/>
                  </a:lnTo>
                  <a:lnTo>
                    <a:pt x="628" y="375"/>
                  </a:lnTo>
                  <a:lnTo>
                    <a:pt x="628" y="380"/>
                  </a:lnTo>
                  <a:lnTo>
                    <a:pt x="628" y="380"/>
                  </a:lnTo>
                  <a:lnTo>
                    <a:pt x="628" y="380"/>
                  </a:lnTo>
                  <a:lnTo>
                    <a:pt x="628" y="380"/>
                  </a:lnTo>
                  <a:lnTo>
                    <a:pt x="633" y="380"/>
                  </a:lnTo>
                  <a:lnTo>
                    <a:pt x="633" y="380"/>
                  </a:lnTo>
                  <a:lnTo>
                    <a:pt x="633" y="375"/>
                  </a:lnTo>
                  <a:lnTo>
                    <a:pt x="637" y="375"/>
                  </a:lnTo>
                  <a:lnTo>
                    <a:pt x="637" y="380"/>
                  </a:lnTo>
                  <a:lnTo>
                    <a:pt x="637" y="375"/>
                  </a:lnTo>
                  <a:lnTo>
                    <a:pt x="637" y="375"/>
                  </a:lnTo>
                  <a:lnTo>
                    <a:pt x="642" y="375"/>
                  </a:lnTo>
                  <a:lnTo>
                    <a:pt x="642" y="375"/>
                  </a:lnTo>
                  <a:lnTo>
                    <a:pt x="642" y="375"/>
                  </a:lnTo>
                  <a:lnTo>
                    <a:pt x="642" y="375"/>
                  </a:lnTo>
                  <a:lnTo>
                    <a:pt x="642" y="375"/>
                  </a:lnTo>
                  <a:lnTo>
                    <a:pt x="646" y="375"/>
                  </a:lnTo>
                  <a:lnTo>
                    <a:pt x="646" y="375"/>
                  </a:lnTo>
                  <a:lnTo>
                    <a:pt x="651" y="375"/>
                  </a:lnTo>
                  <a:lnTo>
                    <a:pt x="655" y="375"/>
                  </a:lnTo>
                  <a:lnTo>
                    <a:pt x="655" y="375"/>
                  </a:lnTo>
                  <a:lnTo>
                    <a:pt x="655" y="375"/>
                  </a:lnTo>
                  <a:lnTo>
                    <a:pt x="655" y="375"/>
                  </a:lnTo>
                  <a:lnTo>
                    <a:pt x="655" y="375"/>
                  </a:lnTo>
                  <a:lnTo>
                    <a:pt x="655" y="375"/>
                  </a:lnTo>
                  <a:lnTo>
                    <a:pt x="655" y="375"/>
                  </a:lnTo>
                  <a:lnTo>
                    <a:pt x="655" y="375"/>
                  </a:lnTo>
                  <a:lnTo>
                    <a:pt x="651" y="375"/>
                  </a:lnTo>
                  <a:lnTo>
                    <a:pt x="651" y="375"/>
                  </a:lnTo>
                  <a:lnTo>
                    <a:pt x="655" y="375"/>
                  </a:lnTo>
                  <a:lnTo>
                    <a:pt x="655" y="375"/>
                  </a:lnTo>
                  <a:lnTo>
                    <a:pt x="655" y="375"/>
                  </a:lnTo>
                  <a:lnTo>
                    <a:pt x="660" y="375"/>
                  </a:lnTo>
                  <a:lnTo>
                    <a:pt x="660" y="375"/>
                  </a:lnTo>
                  <a:lnTo>
                    <a:pt x="669" y="371"/>
                  </a:lnTo>
                  <a:lnTo>
                    <a:pt x="673" y="371"/>
                  </a:lnTo>
                  <a:lnTo>
                    <a:pt x="678" y="371"/>
                  </a:lnTo>
                  <a:lnTo>
                    <a:pt x="678" y="371"/>
                  </a:lnTo>
                  <a:lnTo>
                    <a:pt x="678" y="371"/>
                  </a:lnTo>
                  <a:lnTo>
                    <a:pt x="678" y="371"/>
                  </a:lnTo>
                  <a:lnTo>
                    <a:pt x="678" y="371"/>
                  </a:lnTo>
                  <a:lnTo>
                    <a:pt x="678" y="371"/>
                  </a:lnTo>
                  <a:lnTo>
                    <a:pt x="678" y="371"/>
                  </a:lnTo>
                  <a:lnTo>
                    <a:pt x="678" y="371"/>
                  </a:lnTo>
                  <a:lnTo>
                    <a:pt x="682" y="371"/>
                  </a:lnTo>
                  <a:lnTo>
                    <a:pt x="682" y="371"/>
                  </a:lnTo>
                  <a:lnTo>
                    <a:pt x="682" y="371"/>
                  </a:lnTo>
                  <a:lnTo>
                    <a:pt x="682" y="366"/>
                  </a:lnTo>
                  <a:lnTo>
                    <a:pt x="682" y="366"/>
                  </a:lnTo>
                  <a:lnTo>
                    <a:pt x="682" y="366"/>
                  </a:lnTo>
                  <a:lnTo>
                    <a:pt x="682" y="366"/>
                  </a:lnTo>
                  <a:lnTo>
                    <a:pt x="682" y="366"/>
                  </a:lnTo>
                  <a:lnTo>
                    <a:pt x="682" y="366"/>
                  </a:lnTo>
                  <a:lnTo>
                    <a:pt x="687" y="366"/>
                  </a:lnTo>
                  <a:lnTo>
                    <a:pt x="687" y="366"/>
                  </a:lnTo>
                  <a:lnTo>
                    <a:pt x="691" y="366"/>
                  </a:lnTo>
                  <a:lnTo>
                    <a:pt x="691" y="366"/>
                  </a:lnTo>
                  <a:lnTo>
                    <a:pt x="691" y="366"/>
                  </a:lnTo>
                  <a:lnTo>
                    <a:pt x="691" y="366"/>
                  </a:lnTo>
                  <a:lnTo>
                    <a:pt x="696" y="366"/>
                  </a:lnTo>
                  <a:lnTo>
                    <a:pt x="696" y="366"/>
                  </a:lnTo>
                  <a:lnTo>
                    <a:pt x="696" y="366"/>
                  </a:lnTo>
                  <a:lnTo>
                    <a:pt x="691" y="362"/>
                  </a:lnTo>
                  <a:lnTo>
                    <a:pt x="696" y="362"/>
                  </a:lnTo>
                  <a:lnTo>
                    <a:pt x="696" y="362"/>
                  </a:lnTo>
                  <a:lnTo>
                    <a:pt x="700" y="362"/>
                  </a:lnTo>
                  <a:lnTo>
                    <a:pt x="700" y="362"/>
                  </a:lnTo>
                  <a:lnTo>
                    <a:pt x="700" y="362"/>
                  </a:lnTo>
                  <a:lnTo>
                    <a:pt x="700" y="362"/>
                  </a:lnTo>
                  <a:lnTo>
                    <a:pt x="700" y="362"/>
                  </a:lnTo>
                  <a:lnTo>
                    <a:pt x="705" y="362"/>
                  </a:lnTo>
                  <a:lnTo>
                    <a:pt x="705" y="362"/>
                  </a:lnTo>
                  <a:lnTo>
                    <a:pt x="705" y="362"/>
                  </a:lnTo>
                  <a:lnTo>
                    <a:pt x="709" y="362"/>
                  </a:lnTo>
                  <a:lnTo>
                    <a:pt x="709" y="362"/>
                  </a:lnTo>
                  <a:lnTo>
                    <a:pt x="709" y="362"/>
                  </a:lnTo>
                  <a:lnTo>
                    <a:pt x="709" y="362"/>
                  </a:lnTo>
                  <a:lnTo>
                    <a:pt x="709" y="362"/>
                  </a:lnTo>
                  <a:lnTo>
                    <a:pt x="714" y="362"/>
                  </a:lnTo>
                  <a:lnTo>
                    <a:pt x="714" y="357"/>
                  </a:lnTo>
                  <a:lnTo>
                    <a:pt x="714" y="357"/>
                  </a:lnTo>
                  <a:lnTo>
                    <a:pt x="718" y="357"/>
                  </a:lnTo>
                  <a:lnTo>
                    <a:pt x="718" y="357"/>
                  </a:lnTo>
                  <a:lnTo>
                    <a:pt x="718" y="357"/>
                  </a:lnTo>
                  <a:lnTo>
                    <a:pt x="718" y="357"/>
                  </a:lnTo>
                  <a:lnTo>
                    <a:pt x="723" y="357"/>
                  </a:lnTo>
                  <a:lnTo>
                    <a:pt x="723" y="357"/>
                  </a:lnTo>
                  <a:lnTo>
                    <a:pt x="723" y="357"/>
                  </a:lnTo>
                  <a:lnTo>
                    <a:pt x="727" y="357"/>
                  </a:lnTo>
                  <a:lnTo>
                    <a:pt x="727" y="357"/>
                  </a:lnTo>
                  <a:lnTo>
                    <a:pt x="727" y="353"/>
                  </a:lnTo>
                  <a:lnTo>
                    <a:pt x="727" y="353"/>
                  </a:lnTo>
                  <a:lnTo>
                    <a:pt x="732" y="353"/>
                  </a:lnTo>
                  <a:lnTo>
                    <a:pt x="732" y="353"/>
                  </a:lnTo>
                  <a:lnTo>
                    <a:pt x="736" y="353"/>
                  </a:lnTo>
                  <a:lnTo>
                    <a:pt x="736" y="353"/>
                  </a:lnTo>
                  <a:lnTo>
                    <a:pt x="736" y="353"/>
                  </a:lnTo>
                  <a:lnTo>
                    <a:pt x="736" y="353"/>
                  </a:lnTo>
                  <a:lnTo>
                    <a:pt x="741" y="353"/>
                  </a:lnTo>
                  <a:lnTo>
                    <a:pt x="741" y="348"/>
                  </a:lnTo>
                  <a:lnTo>
                    <a:pt x="741" y="348"/>
                  </a:lnTo>
                  <a:lnTo>
                    <a:pt x="745" y="348"/>
                  </a:lnTo>
                  <a:lnTo>
                    <a:pt x="745" y="348"/>
                  </a:lnTo>
                  <a:lnTo>
                    <a:pt x="750" y="348"/>
                  </a:lnTo>
                  <a:lnTo>
                    <a:pt x="750" y="348"/>
                  </a:lnTo>
                  <a:lnTo>
                    <a:pt x="750" y="348"/>
                  </a:lnTo>
                  <a:lnTo>
                    <a:pt x="750" y="348"/>
                  </a:lnTo>
                  <a:lnTo>
                    <a:pt x="754" y="348"/>
                  </a:lnTo>
                  <a:lnTo>
                    <a:pt x="754" y="348"/>
                  </a:lnTo>
                  <a:lnTo>
                    <a:pt x="759" y="348"/>
                  </a:lnTo>
                  <a:lnTo>
                    <a:pt x="759" y="344"/>
                  </a:lnTo>
                  <a:lnTo>
                    <a:pt x="764" y="344"/>
                  </a:lnTo>
                  <a:lnTo>
                    <a:pt x="768" y="344"/>
                  </a:lnTo>
                  <a:lnTo>
                    <a:pt x="768" y="344"/>
                  </a:lnTo>
                  <a:lnTo>
                    <a:pt x="773" y="344"/>
                  </a:lnTo>
                  <a:lnTo>
                    <a:pt x="773" y="344"/>
                  </a:lnTo>
                  <a:lnTo>
                    <a:pt x="773" y="344"/>
                  </a:lnTo>
                  <a:lnTo>
                    <a:pt x="777" y="344"/>
                  </a:lnTo>
                  <a:lnTo>
                    <a:pt x="777" y="344"/>
                  </a:lnTo>
                  <a:lnTo>
                    <a:pt x="777" y="339"/>
                  </a:lnTo>
                  <a:lnTo>
                    <a:pt x="777" y="339"/>
                  </a:lnTo>
                  <a:lnTo>
                    <a:pt x="777" y="339"/>
                  </a:lnTo>
                  <a:lnTo>
                    <a:pt x="782" y="339"/>
                  </a:lnTo>
                  <a:lnTo>
                    <a:pt x="782" y="339"/>
                  </a:lnTo>
                  <a:lnTo>
                    <a:pt x="786" y="339"/>
                  </a:lnTo>
                  <a:lnTo>
                    <a:pt x="786" y="339"/>
                  </a:lnTo>
                  <a:lnTo>
                    <a:pt x="791" y="335"/>
                  </a:lnTo>
                  <a:lnTo>
                    <a:pt x="791" y="335"/>
                  </a:lnTo>
                  <a:lnTo>
                    <a:pt x="795" y="335"/>
                  </a:lnTo>
                  <a:lnTo>
                    <a:pt x="795" y="335"/>
                  </a:lnTo>
                  <a:lnTo>
                    <a:pt x="800" y="335"/>
                  </a:lnTo>
                  <a:lnTo>
                    <a:pt x="800" y="335"/>
                  </a:lnTo>
                  <a:lnTo>
                    <a:pt x="804" y="330"/>
                  </a:lnTo>
                  <a:lnTo>
                    <a:pt x="804" y="330"/>
                  </a:lnTo>
                  <a:lnTo>
                    <a:pt x="804" y="330"/>
                  </a:lnTo>
                  <a:lnTo>
                    <a:pt x="804" y="330"/>
                  </a:lnTo>
                  <a:lnTo>
                    <a:pt x="804" y="330"/>
                  </a:lnTo>
                  <a:lnTo>
                    <a:pt x="804" y="326"/>
                  </a:lnTo>
                  <a:lnTo>
                    <a:pt x="804" y="326"/>
                  </a:lnTo>
                  <a:lnTo>
                    <a:pt x="800" y="326"/>
                  </a:lnTo>
                  <a:lnTo>
                    <a:pt x="800" y="326"/>
                  </a:lnTo>
                  <a:lnTo>
                    <a:pt x="804" y="326"/>
                  </a:lnTo>
                  <a:lnTo>
                    <a:pt x="809" y="321"/>
                  </a:lnTo>
                  <a:lnTo>
                    <a:pt x="809" y="321"/>
                  </a:lnTo>
                  <a:lnTo>
                    <a:pt x="813" y="321"/>
                  </a:lnTo>
                  <a:lnTo>
                    <a:pt x="813" y="321"/>
                  </a:lnTo>
                  <a:lnTo>
                    <a:pt x="818" y="321"/>
                  </a:lnTo>
                  <a:lnTo>
                    <a:pt x="818" y="317"/>
                  </a:lnTo>
                  <a:lnTo>
                    <a:pt x="818" y="317"/>
                  </a:lnTo>
                  <a:lnTo>
                    <a:pt x="818" y="317"/>
                  </a:lnTo>
                  <a:lnTo>
                    <a:pt x="822" y="317"/>
                  </a:lnTo>
                  <a:lnTo>
                    <a:pt x="822" y="317"/>
                  </a:lnTo>
                  <a:lnTo>
                    <a:pt x="827" y="317"/>
                  </a:lnTo>
                  <a:lnTo>
                    <a:pt x="827" y="317"/>
                  </a:lnTo>
                  <a:lnTo>
                    <a:pt x="827" y="317"/>
                  </a:lnTo>
                  <a:lnTo>
                    <a:pt x="822" y="317"/>
                  </a:lnTo>
                  <a:lnTo>
                    <a:pt x="822" y="317"/>
                  </a:lnTo>
                  <a:lnTo>
                    <a:pt x="827" y="317"/>
                  </a:lnTo>
                  <a:lnTo>
                    <a:pt x="827" y="317"/>
                  </a:lnTo>
                  <a:lnTo>
                    <a:pt x="827" y="317"/>
                  </a:lnTo>
                  <a:lnTo>
                    <a:pt x="831" y="317"/>
                  </a:lnTo>
                  <a:lnTo>
                    <a:pt x="831" y="317"/>
                  </a:lnTo>
                  <a:lnTo>
                    <a:pt x="831" y="317"/>
                  </a:lnTo>
                  <a:lnTo>
                    <a:pt x="831" y="317"/>
                  </a:lnTo>
                  <a:lnTo>
                    <a:pt x="831" y="317"/>
                  </a:lnTo>
                  <a:lnTo>
                    <a:pt x="836" y="317"/>
                  </a:lnTo>
                  <a:lnTo>
                    <a:pt x="836" y="317"/>
                  </a:lnTo>
                  <a:lnTo>
                    <a:pt x="840" y="312"/>
                  </a:lnTo>
                  <a:lnTo>
                    <a:pt x="840" y="312"/>
                  </a:lnTo>
                  <a:lnTo>
                    <a:pt x="840" y="312"/>
                  </a:lnTo>
                  <a:lnTo>
                    <a:pt x="845" y="312"/>
                  </a:lnTo>
                  <a:lnTo>
                    <a:pt x="845" y="312"/>
                  </a:lnTo>
                  <a:lnTo>
                    <a:pt x="845" y="308"/>
                  </a:lnTo>
                  <a:lnTo>
                    <a:pt x="845" y="308"/>
                  </a:lnTo>
                  <a:lnTo>
                    <a:pt x="845" y="308"/>
                  </a:lnTo>
                  <a:lnTo>
                    <a:pt x="845" y="308"/>
                  </a:lnTo>
                  <a:lnTo>
                    <a:pt x="845" y="308"/>
                  </a:lnTo>
                  <a:lnTo>
                    <a:pt x="845" y="308"/>
                  </a:lnTo>
                  <a:lnTo>
                    <a:pt x="845" y="308"/>
                  </a:lnTo>
                  <a:lnTo>
                    <a:pt x="849" y="308"/>
                  </a:lnTo>
                  <a:lnTo>
                    <a:pt x="849" y="308"/>
                  </a:lnTo>
                  <a:lnTo>
                    <a:pt x="854" y="308"/>
                  </a:lnTo>
                  <a:lnTo>
                    <a:pt x="854" y="308"/>
                  </a:lnTo>
                  <a:lnTo>
                    <a:pt x="854" y="308"/>
                  </a:lnTo>
                  <a:lnTo>
                    <a:pt x="854" y="308"/>
                  </a:lnTo>
                  <a:lnTo>
                    <a:pt x="858" y="303"/>
                  </a:lnTo>
                  <a:lnTo>
                    <a:pt x="863" y="303"/>
                  </a:lnTo>
                  <a:lnTo>
                    <a:pt x="867" y="303"/>
                  </a:lnTo>
                  <a:lnTo>
                    <a:pt x="867" y="303"/>
                  </a:lnTo>
                  <a:lnTo>
                    <a:pt x="867" y="303"/>
                  </a:lnTo>
                  <a:lnTo>
                    <a:pt x="872" y="298"/>
                  </a:lnTo>
                  <a:lnTo>
                    <a:pt x="872" y="298"/>
                  </a:lnTo>
                  <a:lnTo>
                    <a:pt x="872" y="298"/>
                  </a:lnTo>
                  <a:lnTo>
                    <a:pt x="876" y="298"/>
                  </a:lnTo>
                  <a:lnTo>
                    <a:pt x="876" y="298"/>
                  </a:lnTo>
                  <a:lnTo>
                    <a:pt x="881" y="298"/>
                  </a:lnTo>
                  <a:lnTo>
                    <a:pt x="885" y="298"/>
                  </a:lnTo>
                  <a:lnTo>
                    <a:pt x="885" y="298"/>
                  </a:lnTo>
                  <a:lnTo>
                    <a:pt x="890" y="294"/>
                  </a:lnTo>
                  <a:lnTo>
                    <a:pt x="895" y="294"/>
                  </a:lnTo>
                  <a:lnTo>
                    <a:pt x="895" y="294"/>
                  </a:lnTo>
                  <a:lnTo>
                    <a:pt x="895" y="294"/>
                  </a:lnTo>
                  <a:lnTo>
                    <a:pt x="895" y="294"/>
                  </a:lnTo>
                  <a:lnTo>
                    <a:pt x="899" y="294"/>
                  </a:lnTo>
                  <a:lnTo>
                    <a:pt x="899" y="294"/>
                  </a:lnTo>
                  <a:lnTo>
                    <a:pt x="904" y="294"/>
                  </a:lnTo>
                  <a:lnTo>
                    <a:pt x="904" y="294"/>
                  </a:lnTo>
                  <a:lnTo>
                    <a:pt x="904" y="294"/>
                  </a:lnTo>
                  <a:lnTo>
                    <a:pt x="908" y="294"/>
                  </a:lnTo>
                  <a:lnTo>
                    <a:pt x="908" y="294"/>
                  </a:lnTo>
                  <a:lnTo>
                    <a:pt x="913" y="294"/>
                  </a:lnTo>
                  <a:lnTo>
                    <a:pt x="913" y="294"/>
                  </a:lnTo>
                  <a:lnTo>
                    <a:pt x="908" y="294"/>
                  </a:lnTo>
                  <a:lnTo>
                    <a:pt x="904" y="294"/>
                  </a:lnTo>
                  <a:lnTo>
                    <a:pt x="904" y="294"/>
                  </a:lnTo>
                  <a:lnTo>
                    <a:pt x="899" y="298"/>
                  </a:lnTo>
                  <a:lnTo>
                    <a:pt x="899" y="298"/>
                  </a:lnTo>
                  <a:lnTo>
                    <a:pt x="899" y="298"/>
                  </a:lnTo>
                  <a:lnTo>
                    <a:pt x="899" y="298"/>
                  </a:lnTo>
                  <a:lnTo>
                    <a:pt x="899" y="298"/>
                  </a:lnTo>
                  <a:lnTo>
                    <a:pt x="895" y="298"/>
                  </a:lnTo>
                  <a:lnTo>
                    <a:pt x="899" y="303"/>
                  </a:lnTo>
                  <a:lnTo>
                    <a:pt x="899" y="303"/>
                  </a:lnTo>
                  <a:lnTo>
                    <a:pt x="899" y="303"/>
                  </a:lnTo>
                  <a:lnTo>
                    <a:pt x="899" y="303"/>
                  </a:lnTo>
                  <a:lnTo>
                    <a:pt x="899" y="303"/>
                  </a:lnTo>
                  <a:lnTo>
                    <a:pt x="899" y="303"/>
                  </a:lnTo>
                  <a:lnTo>
                    <a:pt x="895" y="303"/>
                  </a:lnTo>
                  <a:lnTo>
                    <a:pt x="895" y="303"/>
                  </a:lnTo>
                  <a:lnTo>
                    <a:pt x="890" y="303"/>
                  </a:lnTo>
                  <a:lnTo>
                    <a:pt x="890" y="303"/>
                  </a:lnTo>
                  <a:lnTo>
                    <a:pt x="890" y="303"/>
                  </a:lnTo>
                  <a:lnTo>
                    <a:pt x="890" y="298"/>
                  </a:lnTo>
                  <a:lnTo>
                    <a:pt x="890" y="298"/>
                  </a:lnTo>
                  <a:lnTo>
                    <a:pt x="890" y="298"/>
                  </a:lnTo>
                  <a:lnTo>
                    <a:pt x="881" y="303"/>
                  </a:lnTo>
                  <a:lnTo>
                    <a:pt x="881" y="303"/>
                  </a:lnTo>
                  <a:lnTo>
                    <a:pt x="872" y="303"/>
                  </a:lnTo>
                  <a:lnTo>
                    <a:pt x="872" y="303"/>
                  </a:lnTo>
                  <a:lnTo>
                    <a:pt x="872" y="303"/>
                  </a:lnTo>
                  <a:lnTo>
                    <a:pt x="867" y="308"/>
                  </a:lnTo>
                  <a:lnTo>
                    <a:pt x="867" y="308"/>
                  </a:lnTo>
                  <a:lnTo>
                    <a:pt x="858" y="312"/>
                  </a:lnTo>
                  <a:lnTo>
                    <a:pt x="858" y="312"/>
                  </a:lnTo>
                  <a:lnTo>
                    <a:pt x="854" y="312"/>
                  </a:lnTo>
                  <a:lnTo>
                    <a:pt x="849" y="317"/>
                  </a:lnTo>
                  <a:lnTo>
                    <a:pt x="845" y="317"/>
                  </a:lnTo>
                  <a:lnTo>
                    <a:pt x="840" y="317"/>
                  </a:lnTo>
                  <a:lnTo>
                    <a:pt x="840" y="321"/>
                  </a:lnTo>
                  <a:lnTo>
                    <a:pt x="840" y="321"/>
                  </a:lnTo>
                  <a:lnTo>
                    <a:pt x="840" y="321"/>
                  </a:lnTo>
                  <a:lnTo>
                    <a:pt x="845" y="321"/>
                  </a:lnTo>
                  <a:lnTo>
                    <a:pt x="845" y="321"/>
                  </a:lnTo>
                  <a:lnTo>
                    <a:pt x="849" y="321"/>
                  </a:lnTo>
                  <a:lnTo>
                    <a:pt x="849" y="321"/>
                  </a:lnTo>
                  <a:lnTo>
                    <a:pt x="849" y="321"/>
                  </a:lnTo>
                  <a:lnTo>
                    <a:pt x="845" y="321"/>
                  </a:lnTo>
                  <a:lnTo>
                    <a:pt x="845" y="321"/>
                  </a:lnTo>
                  <a:lnTo>
                    <a:pt x="840" y="326"/>
                  </a:lnTo>
                  <a:lnTo>
                    <a:pt x="836" y="326"/>
                  </a:lnTo>
                  <a:lnTo>
                    <a:pt x="836" y="326"/>
                  </a:lnTo>
                  <a:lnTo>
                    <a:pt x="831" y="326"/>
                  </a:lnTo>
                  <a:lnTo>
                    <a:pt x="831" y="326"/>
                  </a:lnTo>
                  <a:lnTo>
                    <a:pt x="831" y="326"/>
                  </a:lnTo>
                  <a:lnTo>
                    <a:pt x="827" y="326"/>
                  </a:lnTo>
                  <a:lnTo>
                    <a:pt x="827" y="326"/>
                  </a:lnTo>
                  <a:lnTo>
                    <a:pt x="827" y="326"/>
                  </a:lnTo>
                  <a:lnTo>
                    <a:pt x="827" y="330"/>
                  </a:lnTo>
                  <a:lnTo>
                    <a:pt x="831" y="330"/>
                  </a:lnTo>
                  <a:lnTo>
                    <a:pt x="831" y="330"/>
                  </a:lnTo>
                  <a:lnTo>
                    <a:pt x="831" y="330"/>
                  </a:lnTo>
                  <a:lnTo>
                    <a:pt x="836" y="330"/>
                  </a:lnTo>
                  <a:lnTo>
                    <a:pt x="836" y="330"/>
                  </a:lnTo>
                  <a:lnTo>
                    <a:pt x="836" y="330"/>
                  </a:lnTo>
                  <a:lnTo>
                    <a:pt x="836" y="330"/>
                  </a:lnTo>
                  <a:lnTo>
                    <a:pt x="836" y="330"/>
                  </a:lnTo>
                  <a:lnTo>
                    <a:pt x="836" y="330"/>
                  </a:lnTo>
                  <a:lnTo>
                    <a:pt x="836" y="330"/>
                  </a:lnTo>
                  <a:lnTo>
                    <a:pt x="836" y="330"/>
                  </a:lnTo>
                  <a:lnTo>
                    <a:pt x="840" y="330"/>
                  </a:lnTo>
                  <a:lnTo>
                    <a:pt x="840" y="330"/>
                  </a:lnTo>
                  <a:lnTo>
                    <a:pt x="840" y="330"/>
                  </a:lnTo>
                  <a:lnTo>
                    <a:pt x="845" y="326"/>
                  </a:lnTo>
                  <a:lnTo>
                    <a:pt x="849" y="326"/>
                  </a:lnTo>
                  <a:lnTo>
                    <a:pt x="849" y="326"/>
                  </a:lnTo>
                  <a:lnTo>
                    <a:pt x="849" y="326"/>
                  </a:lnTo>
                  <a:lnTo>
                    <a:pt x="849" y="326"/>
                  </a:lnTo>
                  <a:lnTo>
                    <a:pt x="849" y="326"/>
                  </a:lnTo>
                  <a:lnTo>
                    <a:pt x="849" y="326"/>
                  </a:lnTo>
                  <a:lnTo>
                    <a:pt x="854" y="326"/>
                  </a:lnTo>
                  <a:lnTo>
                    <a:pt x="854" y="326"/>
                  </a:lnTo>
                  <a:lnTo>
                    <a:pt x="854" y="326"/>
                  </a:lnTo>
                  <a:lnTo>
                    <a:pt x="854" y="326"/>
                  </a:lnTo>
                  <a:lnTo>
                    <a:pt x="858" y="326"/>
                  </a:lnTo>
                  <a:lnTo>
                    <a:pt x="858" y="321"/>
                  </a:lnTo>
                  <a:lnTo>
                    <a:pt x="863" y="321"/>
                  </a:lnTo>
                  <a:lnTo>
                    <a:pt x="863" y="321"/>
                  </a:lnTo>
                  <a:lnTo>
                    <a:pt x="863" y="321"/>
                  </a:lnTo>
                  <a:lnTo>
                    <a:pt x="863" y="321"/>
                  </a:lnTo>
                  <a:lnTo>
                    <a:pt x="863" y="321"/>
                  </a:lnTo>
                  <a:lnTo>
                    <a:pt x="863" y="321"/>
                  </a:lnTo>
                  <a:lnTo>
                    <a:pt x="867" y="321"/>
                  </a:lnTo>
                  <a:lnTo>
                    <a:pt x="867" y="321"/>
                  </a:lnTo>
                  <a:lnTo>
                    <a:pt x="867" y="321"/>
                  </a:lnTo>
                  <a:lnTo>
                    <a:pt x="867" y="321"/>
                  </a:lnTo>
                  <a:lnTo>
                    <a:pt x="867" y="321"/>
                  </a:lnTo>
                  <a:lnTo>
                    <a:pt x="867" y="321"/>
                  </a:lnTo>
                  <a:lnTo>
                    <a:pt x="867" y="321"/>
                  </a:lnTo>
                  <a:lnTo>
                    <a:pt x="872" y="321"/>
                  </a:lnTo>
                  <a:lnTo>
                    <a:pt x="872" y="321"/>
                  </a:lnTo>
                  <a:lnTo>
                    <a:pt x="876" y="317"/>
                  </a:lnTo>
                  <a:lnTo>
                    <a:pt x="876" y="317"/>
                  </a:lnTo>
                  <a:lnTo>
                    <a:pt x="876" y="321"/>
                  </a:lnTo>
                  <a:lnTo>
                    <a:pt x="876" y="321"/>
                  </a:lnTo>
                  <a:lnTo>
                    <a:pt x="876" y="321"/>
                  </a:lnTo>
                  <a:lnTo>
                    <a:pt x="876" y="321"/>
                  </a:lnTo>
                  <a:lnTo>
                    <a:pt x="876" y="321"/>
                  </a:lnTo>
                  <a:lnTo>
                    <a:pt x="876" y="321"/>
                  </a:lnTo>
                  <a:lnTo>
                    <a:pt x="881" y="321"/>
                  </a:lnTo>
                  <a:lnTo>
                    <a:pt x="881" y="321"/>
                  </a:lnTo>
                  <a:lnTo>
                    <a:pt x="881" y="321"/>
                  </a:lnTo>
                  <a:lnTo>
                    <a:pt x="881" y="321"/>
                  </a:lnTo>
                  <a:lnTo>
                    <a:pt x="881" y="321"/>
                  </a:lnTo>
                  <a:lnTo>
                    <a:pt x="881" y="321"/>
                  </a:lnTo>
                  <a:lnTo>
                    <a:pt x="885" y="321"/>
                  </a:lnTo>
                  <a:lnTo>
                    <a:pt x="890" y="321"/>
                  </a:lnTo>
                  <a:lnTo>
                    <a:pt x="890" y="317"/>
                  </a:lnTo>
                  <a:lnTo>
                    <a:pt x="890" y="317"/>
                  </a:lnTo>
                  <a:lnTo>
                    <a:pt x="890" y="317"/>
                  </a:lnTo>
                  <a:lnTo>
                    <a:pt x="890" y="317"/>
                  </a:lnTo>
                  <a:lnTo>
                    <a:pt x="895" y="317"/>
                  </a:lnTo>
                  <a:lnTo>
                    <a:pt x="895" y="317"/>
                  </a:lnTo>
                  <a:lnTo>
                    <a:pt x="895" y="317"/>
                  </a:lnTo>
                  <a:lnTo>
                    <a:pt x="895" y="317"/>
                  </a:lnTo>
                  <a:lnTo>
                    <a:pt x="899" y="312"/>
                  </a:lnTo>
                  <a:lnTo>
                    <a:pt x="899" y="312"/>
                  </a:lnTo>
                  <a:lnTo>
                    <a:pt x="899" y="312"/>
                  </a:lnTo>
                  <a:lnTo>
                    <a:pt x="899" y="312"/>
                  </a:lnTo>
                  <a:lnTo>
                    <a:pt x="904" y="312"/>
                  </a:lnTo>
                  <a:lnTo>
                    <a:pt x="904" y="312"/>
                  </a:lnTo>
                  <a:lnTo>
                    <a:pt x="904" y="312"/>
                  </a:lnTo>
                  <a:lnTo>
                    <a:pt x="899" y="312"/>
                  </a:lnTo>
                  <a:lnTo>
                    <a:pt x="899" y="312"/>
                  </a:lnTo>
                  <a:lnTo>
                    <a:pt x="899" y="312"/>
                  </a:lnTo>
                  <a:lnTo>
                    <a:pt x="895" y="312"/>
                  </a:lnTo>
                  <a:lnTo>
                    <a:pt x="895" y="312"/>
                  </a:lnTo>
                  <a:lnTo>
                    <a:pt x="895" y="312"/>
                  </a:lnTo>
                  <a:lnTo>
                    <a:pt x="895" y="312"/>
                  </a:lnTo>
                  <a:lnTo>
                    <a:pt x="899" y="312"/>
                  </a:lnTo>
                  <a:lnTo>
                    <a:pt x="899" y="312"/>
                  </a:lnTo>
                  <a:lnTo>
                    <a:pt x="899" y="312"/>
                  </a:lnTo>
                  <a:lnTo>
                    <a:pt x="899" y="312"/>
                  </a:lnTo>
                  <a:lnTo>
                    <a:pt x="899" y="312"/>
                  </a:lnTo>
                  <a:lnTo>
                    <a:pt x="904" y="308"/>
                  </a:lnTo>
                  <a:lnTo>
                    <a:pt x="904" y="308"/>
                  </a:lnTo>
                  <a:lnTo>
                    <a:pt x="904" y="308"/>
                  </a:lnTo>
                  <a:lnTo>
                    <a:pt x="904" y="308"/>
                  </a:lnTo>
                  <a:lnTo>
                    <a:pt x="904" y="308"/>
                  </a:lnTo>
                  <a:lnTo>
                    <a:pt x="904" y="308"/>
                  </a:lnTo>
                  <a:lnTo>
                    <a:pt x="904" y="308"/>
                  </a:lnTo>
                  <a:lnTo>
                    <a:pt x="904" y="308"/>
                  </a:lnTo>
                  <a:lnTo>
                    <a:pt x="908" y="308"/>
                  </a:lnTo>
                  <a:lnTo>
                    <a:pt x="908" y="303"/>
                  </a:lnTo>
                  <a:lnTo>
                    <a:pt x="913" y="303"/>
                  </a:lnTo>
                  <a:lnTo>
                    <a:pt x="913" y="303"/>
                  </a:lnTo>
                  <a:lnTo>
                    <a:pt x="913" y="303"/>
                  </a:lnTo>
                  <a:lnTo>
                    <a:pt x="908" y="303"/>
                  </a:lnTo>
                  <a:lnTo>
                    <a:pt x="908" y="303"/>
                  </a:lnTo>
                  <a:lnTo>
                    <a:pt x="913" y="303"/>
                  </a:lnTo>
                  <a:lnTo>
                    <a:pt x="913" y="303"/>
                  </a:lnTo>
                  <a:lnTo>
                    <a:pt x="913" y="303"/>
                  </a:lnTo>
                  <a:lnTo>
                    <a:pt x="913" y="303"/>
                  </a:lnTo>
                  <a:lnTo>
                    <a:pt x="913" y="303"/>
                  </a:lnTo>
                  <a:lnTo>
                    <a:pt x="917" y="303"/>
                  </a:lnTo>
                  <a:lnTo>
                    <a:pt x="917" y="303"/>
                  </a:lnTo>
                  <a:lnTo>
                    <a:pt x="922" y="303"/>
                  </a:lnTo>
                  <a:lnTo>
                    <a:pt x="922" y="303"/>
                  </a:lnTo>
                  <a:lnTo>
                    <a:pt x="922" y="303"/>
                  </a:lnTo>
                  <a:lnTo>
                    <a:pt x="913" y="303"/>
                  </a:lnTo>
                  <a:lnTo>
                    <a:pt x="913" y="303"/>
                  </a:lnTo>
                  <a:lnTo>
                    <a:pt x="913" y="303"/>
                  </a:lnTo>
                  <a:lnTo>
                    <a:pt x="913" y="308"/>
                  </a:lnTo>
                  <a:lnTo>
                    <a:pt x="913" y="308"/>
                  </a:lnTo>
                  <a:lnTo>
                    <a:pt x="917" y="308"/>
                  </a:lnTo>
                  <a:lnTo>
                    <a:pt x="917" y="308"/>
                  </a:lnTo>
                  <a:lnTo>
                    <a:pt x="917" y="308"/>
                  </a:lnTo>
                  <a:lnTo>
                    <a:pt x="917" y="303"/>
                  </a:lnTo>
                  <a:lnTo>
                    <a:pt x="917" y="308"/>
                  </a:lnTo>
                  <a:lnTo>
                    <a:pt x="917" y="308"/>
                  </a:lnTo>
                  <a:lnTo>
                    <a:pt x="917" y="308"/>
                  </a:lnTo>
                  <a:lnTo>
                    <a:pt x="917" y="308"/>
                  </a:lnTo>
                  <a:lnTo>
                    <a:pt x="917" y="308"/>
                  </a:lnTo>
                  <a:lnTo>
                    <a:pt x="922" y="308"/>
                  </a:lnTo>
                  <a:lnTo>
                    <a:pt x="922" y="308"/>
                  </a:lnTo>
                  <a:lnTo>
                    <a:pt x="922" y="308"/>
                  </a:lnTo>
                  <a:lnTo>
                    <a:pt x="922" y="308"/>
                  </a:lnTo>
                  <a:lnTo>
                    <a:pt x="922" y="308"/>
                  </a:lnTo>
                  <a:lnTo>
                    <a:pt x="922" y="308"/>
                  </a:lnTo>
                  <a:lnTo>
                    <a:pt x="926" y="308"/>
                  </a:lnTo>
                  <a:lnTo>
                    <a:pt x="931" y="303"/>
                  </a:lnTo>
                  <a:lnTo>
                    <a:pt x="931" y="303"/>
                  </a:lnTo>
                  <a:lnTo>
                    <a:pt x="935" y="303"/>
                  </a:lnTo>
                  <a:lnTo>
                    <a:pt x="935" y="303"/>
                  </a:lnTo>
                  <a:lnTo>
                    <a:pt x="931" y="308"/>
                  </a:lnTo>
                  <a:lnTo>
                    <a:pt x="926" y="308"/>
                  </a:lnTo>
                  <a:lnTo>
                    <a:pt x="926" y="308"/>
                  </a:lnTo>
                  <a:lnTo>
                    <a:pt x="926" y="308"/>
                  </a:lnTo>
                  <a:lnTo>
                    <a:pt x="926" y="308"/>
                  </a:lnTo>
                  <a:lnTo>
                    <a:pt x="926" y="312"/>
                  </a:lnTo>
                  <a:lnTo>
                    <a:pt x="922" y="312"/>
                  </a:lnTo>
                  <a:lnTo>
                    <a:pt x="922" y="312"/>
                  </a:lnTo>
                  <a:lnTo>
                    <a:pt x="922" y="312"/>
                  </a:lnTo>
                  <a:lnTo>
                    <a:pt x="922" y="312"/>
                  </a:lnTo>
                  <a:lnTo>
                    <a:pt x="926" y="312"/>
                  </a:lnTo>
                  <a:lnTo>
                    <a:pt x="926" y="312"/>
                  </a:lnTo>
                  <a:lnTo>
                    <a:pt x="926" y="312"/>
                  </a:lnTo>
                  <a:lnTo>
                    <a:pt x="926" y="312"/>
                  </a:lnTo>
                  <a:lnTo>
                    <a:pt x="926" y="312"/>
                  </a:lnTo>
                  <a:lnTo>
                    <a:pt x="926" y="312"/>
                  </a:lnTo>
                  <a:lnTo>
                    <a:pt x="931" y="312"/>
                  </a:lnTo>
                  <a:lnTo>
                    <a:pt x="926" y="317"/>
                  </a:lnTo>
                  <a:lnTo>
                    <a:pt x="926" y="317"/>
                  </a:lnTo>
                  <a:lnTo>
                    <a:pt x="926" y="317"/>
                  </a:lnTo>
                  <a:lnTo>
                    <a:pt x="922" y="317"/>
                  </a:lnTo>
                  <a:lnTo>
                    <a:pt x="922" y="317"/>
                  </a:lnTo>
                  <a:lnTo>
                    <a:pt x="926" y="317"/>
                  </a:lnTo>
                  <a:lnTo>
                    <a:pt x="926" y="317"/>
                  </a:lnTo>
                  <a:lnTo>
                    <a:pt x="926" y="321"/>
                  </a:lnTo>
                  <a:lnTo>
                    <a:pt x="926" y="321"/>
                  </a:lnTo>
                  <a:lnTo>
                    <a:pt x="931" y="321"/>
                  </a:lnTo>
                  <a:lnTo>
                    <a:pt x="931" y="317"/>
                  </a:lnTo>
                  <a:lnTo>
                    <a:pt x="935" y="317"/>
                  </a:lnTo>
                  <a:lnTo>
                    <a:pt x="935" y="317"/>
                  </a:lnTo>
                  <a:lnTo>
                    <a:pt x="940" y="317"/>
                  </a:lnTo>
                  <a:lnTo>
                    <a:pt x="940" y="317"/>
                  </a:lnTo>
                  <a:lnTo>
                    <a:pt x="935" y="317"/>
                  </a:lnTo>
                  <a:lnTo>
                    <a:pt x="935" y="317"/>
                  </a:lnTo>
                  <a:lnTo>
                    <a:pt x="931" y="321"/>
                  </a:lnTo>
                  <a:lnTo>
                    <a:pt x="931" y="321"/>
                  </a:lnTo>
                  <a:lnTo>
                    <a:pt x="931" y="321"/>
                  </a:lnTo>
                  <a:lnTo>
                    <a:pt x="931" y="321"/>
                  </a:lnTo>
                  <a:lnTo>
                    <a:pt x="931" y="321"/>
                  </a:lnTo>
                  <a:lnTo>
                    <a:pt x="931" y="326"/>
                  </a:lnTo>
                  <a:lnTo>
                    <a:pt x="931" y="326"/>
                  </a:lnTo>
                  <a:lnTo>
                    <a:pt x="931" y="326"/>
                  </a:lnTo>
                  <a:lnTo>
                    <a:pt x="931" y="326"/>
                  </a:lnTo>
                  <a:lnTo>
                    <a:pt x="931" y="326"/>
                  </a:lnTo>
                  <a:lnTo>
                    <a:pt x="931" y="326"/>
                  </a:lnTo>
                  <a:lnTo>
                    <a:pt x="931" y="326"/>
                  </a:lnTo>
                  <a:lnTo>
                    <a:pt x="931" y="330"/>
                  </a:lnTo>
                  <a:lnTo>
                    <a:pt x="931" y="330"/>
                  </a:lnTo>
                  <a:lnTo>
                    <a:pt x="935" y="330"/>
                  </a:lnTo>
                  <a:lnTo>
                    <a:pt x="935" y="330"/>
                  </a:lnTo>
                  <a:lnTo>
                    <a:pt x="944" y="330"/>
                  </a:lnTo>
                  <a:lnTo>
                    <a:pt x="949" y="330"/>
                  </a:lnTo>
                  <a:lnTo>
                    <a:pt x="953" y="330"/>
                  </a:lnTo>
                  <a:lnTo>
                    <a:pt x="953" y="335"/>
                  </a:lnTo>
                  <a:lnTo>
                    <a:pt x="958" y="335"/>
                  </a:lnTo>
                  <a:lnTo>
                    <a:pt x="958" y="330"/>
                  </a:lnTo>
                  <a:lnTo>
                    <a:pt x="958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58" y="335"/>
                  </a:lnTo>
                  <a:lnTo>
                    <a:pt x="958" y="335"/>
                  </a:lnTo>
                  <a:lnTo>
                    <a:pt x="958" y="335"/>
                  </a:lnTo>
                  <a:lnTo>
                    <a:pt x="958" y="335"/>
                  </a:lnTo>
                  <a:lnTo>
                    <a:pt x="958" y="339"/>
                  </a:lnTo>
                  <a:lnTo>
                    <a:pt x="962" y="339"/>
                  </a:lnTo>
                  <a:lnTo>
                    <a:pt x="962" y="339"/>
                  </a:lnTo>
                  <a:lnTo>
                    <a:pt x="967" y="339"/>
                  </a:lnTo>
                  <a:lnTo>
                    <a:pt x="971" y="339"/>
                  </a:lnTo>
                  <a:lnTo>
                    <a:pt x="971" y="339"/>
                  </a:lnTo>
                  <a:lnTo>
                    <a:pt x="976" y="335"/>
                  </a:lnTo>
                  <a:lnTo>
                    <a:pt x="980" y="335"/>
                  </a:lnTo>
                  <a:lnTo>
                    <a:pt x="980" y="335"/>
                  </a:lnTo>
                  <a:lnTo>
                    <a:pt x="980" y="335"/>
                  </a:lnTo>
                  <a:lnTo>
                    <a:pt x="980" y="339"/>
                  </a:lnTo>
                  <a:lnTo>
                    <a:pt x="980" y="339"/>
                  </a:lnTo>
                  <a:lnTo>
                    <a:pt x="980" y="339"/>
                  </a:lnTo>
                  <a:lnTo>
                    <a:pt x="980" y="339"/>
                  </a:lnTo>
                  <a:lnTo>
                    <a:pt x="976" y="339"/>
                  </a:lnTo>
                  <a:lnTo>
                    <a:pt x="976" y="339"/>
                  </a:lnTo>
                  <a:lnTo>
                    <a:pt x="976" y="339"/>
                  </a:lnTo>
                  <a:lnTo>
                    <a:pt x="976" y="344"/>
                  </a:lnTo>
                  <a:lnTo>
                    <a:pt x="971" y="344"/>
                  </a:lnTo>
                  <a:lnTo>
                    <a:pt x="971" y="344"/>
                  </a:lnTo>
                  <a:lnTo>
                    <a:pt x="976" y="339"/>
                  </a:lnTo>
                  <a:lnTo>
                    <a:pt x="976" y="339"/>
                  </a:lnTo>
                  <a:lnTo>
                    <a:pt x="980" y="339"/>
                  </a:lnTo>
                  <a:lnTo>
                    <a:pt x="980" y="335"/>
                  </a:lnTo>
                  <a:lnTo>
                    <a:pt x="980" y="335"/>
                  </a:lnTo>
                  <a:lnTo>
                    <a:pt x="976" y="335"/>
                  </a:lnTo>
                  <a:lnTo>
                    <a:pt x="976" y="339"/>
                  </a:lnTo>
                  <a:lnTo>
                    <a:pt x="976" y="339"/>
                  </a:lnTo>
                  <a:lnTo>
                    <a:pt x="976" y="339"/>
                  </a:lnTo>
                  <a:lnTo>
                    <a:pt x="976" y="339"/>
                  </a:lnTo>
                  <a:lnTo>
                    <a:pt x="971" y="339"/>
                  </a:lnTo>
                  <a:lnTo>
                    <a:pt x="971" y="339"/>
                  </a:lnTo>
                  <a:lnTo>
                    <a:pt x="971" y="339"/>
                  </a:lnTo>
                  <a:lnTo>
                    <a:pt x="967" y="344"/>
                  </a:lnTo>
                  <a:lnTo>
                    <a:pt x="967" y="344"/>
                  </a:lnTo>
                  <a:lnTo>
                    <a:pt x="967" y="344"/>
                  </a:lnTo>
                  <a:lnTo>
                    <a:pt x="967" y="344"/>
                  </a:lnTo>
                  <a:lnTo>
                    <a:pt x="967" y="344"/>
                  </a:lnTo>
                  <a:lnTo>
                    <a:pt x="967" y="344"/>
                  </a:lnTo>
                  <a:lnTo>
                    <a:pt x="967" y="344"/>
                  </a:lnTo>
                  <a:lnTo>
                    <a:pt x="967" y="348"/>
                  </a:lnTo>
                  <a:lnTo>
                    <a:pt x="967" y="348"/>
                  </a:lnTo>
                  <a:lnTo>
                    <a:pt x="967" y="353"/>
                  </a:lnTo>
                  <a:lnTo>
                    <a:pt x="971" y="353"/>
                  </a:lnTo>
                  <a:lnTo>
                    <a:pt x="971" y="353"/>
                  </a:lnTo>
                  <a:lnTo>
                    <a:pt x="967" y="353"/>
                  </a:lnTo>
                  <a:lnTo>
                    <a:pt x="967" y="353"/>
                  </a:lnTo>
                  <a:lnTo>
                    <a:pt x="971" y="353"/>
                  </a:lnTo>
                  <a:lnTo>
                    <a:pt x="971" y="353"/>
                  </a:lnTo>
                  <a:lnTo>
                    <a:pt x="971" y="353"/>
                  </a:lnTo>
                  <a:lnTo>
                    <a:pt x="971" y="357"/>
                  </a:lnTo>
                  <a:lnTo>
                    <a:pt x="971" y="357"/>
                  </a:lnTo>
                  <a:lnTo>
                    <a:pt x="971" y="357"/>
                  </a:lnTo>
                  <a:lnTo>
                    <a:pt x="967" y="362"/>
                  </a:lnTo>
                  <a:lnTo>
                    <a:pt x="967" y="362"/>
                  </a:lnTo>
                  <a:lnTo>
                    <a:pt x="967" y="362"/>
                  </a:lnTo>
                  <a:lnTo>
                    <a:pt x="967" y="362"/>
                  </a:lnTo>
                  <a:lnTo>
                    <a:pt x="967" y="362"/>
                  </a:lnTo>
                  <a:lnTo>
                    <a:pt x="967" y="366"/>
                  </a:lnTo>
                  <a:lnTo>
                    <a:pt x="967" y="366"/>
                  </a:lnTo>
                  <a:lnTo>
                    <a:pt x="967" y="366"/>
                  </a:lnTo>
                  <a:lnTo>
                    <a:pt x="971" y="371"/>
                  </a:lnTo>
                  <a:lnTo>
                    <a:pt x="971" y="371"/>
                  </a:lnTo>
                  <a:lnTo>
                    <a:pt x="971" y="371"/>
                  </a:lnTo>
                  <a:lnTo>
                    <a:pt x="971" y="371"/>
                  </a:lnTo>
                  <a:lnTo>
                    <a:pt x="976" y="371"/>
                  </a:lnTo>
                  <a:lnTo>
                    <a:pt x="976" y="371"/>
                  </a:lnTo>
                  <a:lnTo>
                    <a:pt x="980" y="371"/>
                  </a:lnTo>
                  <a:lnTo>
                    <a:pt x="980" y="371"/>
                  </a:lnTo>
                  <a:lnTo>
                    <a:pt x="980" y="371"/>
                  </a:lnTo>
                  <a:lnTo>
                    <a:pt x="980" y="366"/>
                  </a:lnTo>
                  <a:lnTo>
                    <a:pt x="985" y="366"/>
                  </a:lnTo>
                  <a:lnTo>
                    <a:pt x="980" y="366"/>
                  </a:lnTo>
                  <a:lnTo>
                    <a:pt x="980" y="366"/>
                  </a:lnTo>
                  <a:lnTo>
                    <a:pt x="980" y="366"/>
                  </a:lnTo>
                  <a:lnTo>
                    <a:pt x="985" y="366"/>
                  </a:lnTo>
                  <a:lnTo>
                    <a:pt x="980" y="362"/>
                  </a:lnTo>
                  <a:lnTo>
                    <a:pt x="980" y="362"/>
                  </a:lnTo>
                  <a:lnTo>
                    <a:pt x="985" y="362"/>
                  </a:lnTo>
                  <a:lnTo>
                    <a:pt x="985" y="362"/>
                  </a:lnTo>
                  <a:lnTo>
                    <a:pt x="980" y="362"/>
                  </a:lnTo>
                  <a:lnTo>
                    <a:pt x="980" y="362"/>
                  </a:lnTo>
                  <a:lnTo>
                    <a:pt x="980" y="362"/>
                  </a:lnTo>
                  <a:lnTo>
                    <a:pt x="980" y="362"/>
                  </a:lnTo>
                  <a:lnTo>
                    <a:pt x="980" y="362"/>
                  </a:lnTo>
                  <a:lnTo>
                    <a:pt x="980" y="357"/>
                  </a:lnTo>
                  <a:lnTo>
                    <a:pt x="980" y="357"/>
                  </a:lnTo>
                  <a:lnTo>
                    <a:pt x="985" y="357"/>
                  </a:lnTo>
                  <a:lnTo>
                    <a:pt x="985" y="357"/>
                  </a:lnTo>
                  <a:lnTo>
                    <a:pt x="985" y="357"/>
                  </a:lnTo>
                  <a:lnTo>
                    <a:pt x="985" y="357"/>
                  </a:lnTo>
                  <a:lnTo>
                    <a:pt x="985" y="357"/>
                  </a:lnTo>
                  <a:lnTo>
                    <a:pt x="985" y="362"/>
                  </a:lnTo>
                  <a:lnTo>
                    <a:pt x="985" y="362"/>
                  </a:lnTo>
                  <a:lnTo>
                    <a:pt x="985" y="362"/>
                  </a:lnTo>
                  <a:lnTo>
                    <a:pt x="985" y="362"/>
                  </a:lnTo>
                  <a:lnTo>
                    <a:pt x="985" y="362"/>
                  </a:lnTo>
                  <a:lnTo>
                    <a:pt x="985" y="362"/>
                  </a:lnTo>
                  <a:lnTo>
                    <a:pt x="985" y="362"/>
                  </a:lnTo>
                  <a:lnTo>
                    <a:pt x="989" y="362"/>
                  </a:lnTo>
                  <a:lnTo>
                    <a:pt x="989" y="362"/>
                  </a:lnTo>
                  <a:lnTo>
                    <a:pt x="989" y="362"/>
                  </a:lnTo>
                  <a:lnTo>
                    <a:pt x="989" y="362"/>
                  </a:lnTo>
                  <a:lnTo>
                    <a:pt x="989" y="362"/>
                  </a:lnTo>
                  <a:lnTo>
                    <a:pt x="994" y="357"/>
                  </a:lnTo>
                  <a:lnTo>
                    <a:pt x="994" y="357"/>
                  </a:lnTo>
                  <a:lnTo>
                    <a:pt x="994" y="357"/>
                  </a:lnTo>
                  <a:lnTo>
                    <a:pt x="989" y="362"/>
                  </a:lnTo>
                  <a:lnTo>
                    <a:pt x="989" y="362"/>
                  </a:lnTo>
                  <a:lnTo>
                    <a:pt x="994" y="362"/>
                  </a:lnTo>
                  <a:lnTo>
                    <a:pt x="994" y="362"/>
                  </a:lnTo>
                  <a:lnTo>
                    <a:pt x="989" y="362"/>
                  </a:lnTo>
                  <a:lnTo>
                    <a:pt x="989" y="362"/>
                  </a:lnTo>
                  <a:lnTo>
                    <a:pt x="985" y="366"/>
                  </a:lnTo>
                  <a:lnTo>
                    <a:pt x="985" y="366"/>
                  </a:lnTo>
                  <a:lnTo>
                    <a:pt x="985" y="371"/>
                  </a:lnTo>
                  <a:lnTo>
                    <a:pt x="980" y="371"/>
                  </a:lnTo>
                  <a:lnTo>
                    <a:pt x="980" y="371"/>
                  </a:lnTo>
                  <a:lnTo>
                    <a:pt x="985" y="371"/>
                  </a:lnTo>
                  <a:lnTo>
                    <a:pt x="985" y="371"/>
                  </a:lnTo>
                  <a:lnTo>
                    <a:pt x="985" y="371"/>
                  </a:lnTo>
                  <a:lnTo>
                    <a:pt x="985" y="375"/>
                  </a:lnTo>
                  <a:lnTo>
                    <a:pt x="985" y="375"/>
                  </a:lnTo>
                  <a:lnTo>
                    <a:pt x="989" y="375"/>
                  </a:lnTo>
                  <a:lnTo>
                    <a:pt x="989" y="375"/>
                  </a:lnTo>
                  <a:lnTo>
                    <a:pt x="989" y="375"/>
                  </a:lnTo>
                  <a:lnTo>
                    <a:pt x="989" y="371"/>
                  </a:lnTo>
                  <a:lnTo>
                    <a:pt x="994" y="371"/>
                  </a:lnTo>
                  <a:lnTo>
                    <a:pt x="994" y="366"/>
                  </a:lnTo>
                  <a:lnTo>
                    <a:pt x="994" y="366"/>
                  </a:lnTo>
                  <a:lnTo>
                    <a:pt x="998" y="366"/>
                  </a:lnTo>
                  <a:lnTo>
                    <a:pt x="998" y="362"/>
                  </a:lnTo>
                  <a:lnTo>
                    <a:pt x="1003" y="357"/>
                  </a:lnTo>
                  <a:lnTo>
                    <a:pt x="1003" y="357"/>
                  </a:lnTo>
                  <a:lnTo>
                    <a:pt x="1007" y="357"/>
                  </a:lnTo>
                  <a:lnTo>
                    <a:pt x="1007" y="357"/>
                  </a:lnTo>
                  <a:lnTo>
                    <a:pt x="1007" y="357"/>
                  </a:lnTo>
                  <a:lnTo>
                    <a:pt x="1007" y="353"/>
                  </a:lnTo>
                  <a:lnTo>
                    <a:pt x="1007" y="353"/>
                  </a:lnTo>
                  <a:lnTo>
                    <a:pt x="1007" y="353"/>
                  </a:lnTo>
                  <a:lnTo>
                    <a:pt x="1012" y="353"/>
                  </a:lnTo>
                  <a:lnTo>
                    <a:pt x="1012" y="353"/>
                  </a:lnTo>
                  <a:lnTo>
                    <a:pt x="1007" y="353"/>
                  </a:lnTo>
                  <a:lnTo>
                    <a:pt x="1007" y="357"/>
                  </a:lnTo>
                  <a:lnTo>
                    <a:pt x="1003" y="357"/>
                  </a:lnTo>
                  <a:lnTo>
                    <a:pt x="998" y="362"/>
                  </a:lnTo>
                  <a:lnTo>
                    <a:pt x="998" y="366"/>
                  </a:lnTo>
                  <a:lnTo>
                    <a:pt x="998" y="366"/>
                  </a:lnTo>
                  <a:lnTo>
                    <a:pt x="998" y="366"/>
                  </a:lnTo>
                  <a:lnTo>
                    <a:pt x="998" y="366"/>
                  </a:lnTo>
                  <a:lnTo>
                    <a:pt x="994" y="371"/>
                  </a:lnTo>
                  <a:lnTo>
                    <a:pt x="994" y="371"/>
                  </a:lnTo>
                  <a:lnTo>
                    <a:pt x="998" y="375"/>
                  </a:lnTo>
                  <a:lnTo>
                    <a:pt x="998" y="375"/>
                  </a:lnTo>
                  <a:lnTo>
                    <a:pt x="998" y="375"/>
                  </a:lnTo>
                  <a:lnTo>
                    <a:pt x="998" y="375"/>
                  </a:lnTo>
                  <a:lnTo>
                    <a:pt x="998" y="375"/>
                  </a:lnTo>
                  <a:lnTo>
                    <a:pt x="1003" y="371"/>
                  </a:lnTo>
                  <a:lnTo>
                    <a:pt x="1007" y="371"/>
                  </a:lnTo>
                  <a:lnTo>
                    <a:pt x="1007" y="371"/>
                  </a:lnTo>
                  <a:lnTo>
                    <a:pt x="1007" y="371"/>
                  </a:lnTo>
                  <a:lnTo>
                    <a:pt x="1007" y="371"/>
                  </a:lnTo>
                  <a:lnTo>
                    <a:pt x="1007" y="371"/>
                  </a:lnTo>
                  <a:lnTo>
                    <a:pt x="998" y="375"/>
                  </a:lnTo>
                  <a:lnTo>
                    <a:pt x="998" y="375"/>
                  </a:lnTo>
                  <a:lnTo>
                    <a:pt x="998" y="380"/>
                  </a:lnTo>
                  <a:lnTo>
                    <a:pt x="994" y="380"/>
                  </a:lnTo>
                  <a:lnTo>
                    <a:pt x="994" y="380"/>
                  </a:lnTo>
                  <a:lnTo>
                    <a:pt x="994" y="380"/>
                  </a:lnTo>
                  <a:lnTo>
                    <a:pt x="994" y="384"/>
                  </a:lnTo>
                  <a:lnTo>
                    <a:pt x="994" y="384"/>
                  </a:lnTo>
                  <a:lnTo>
                    <a:pt x="994" y="384"/>
                  </a:lnTo>
                  <a:lnTo>
                    <a:pt x="994" y="384"/>
                  </a:lnTo>
                  <a:lnTo>
                    <a:pt x="998" y="384"/>
                  </a:lnTo>
                  <a:lnTo>
                    <a:pt x="998" y="384"/>
                  </a:lnTo>
                  <a:lnTo>
                    <a:pt x="1003" y="384"/>
                  </a:lnTo>
                  <a:lnTo>
                    <a:pt x="998" y="384"/>
                  </a:lnTo>
                  <a:lnTo>
                    <a:pt x="998" y="384"/>
                  </a:lnTo>
                  <a:lnTo>
                    <a:pt x="998" y="384"/>
                  </a:lnTo>
                  <a:lnTo>
                    <a:pt x="994" y="384"/>
                  </a:lnTo>
                  <a:lnTo>
                    <a:pt x="994" y="384"/>
                  </a:lnTo>
                  <a:lnTo>
                    <a:pt x="994" y="384"/>
                  </a:lnTo>
                  <a:lnTo>
                    <a:pt x="994" y="389"/>
                  </a:lnTo>
                  <a:lnTo>
                    <a:pt x="994" y="389"/>
                  </a:lnTo>
                  <a:lnTo>
                    <a:pt x="994" y="389"/>
                  </a:lnTo>
                  <a:lnTo>
                    <a:pt x="994" y="389"/>
                  </a:lnTo>
                  <a:lnTo>
                    <a:pt x="994" y="389"/>
                  </a:lnTo>
                  <a:lnTo>
                    <a:pt x="989" y="389"/>
                  </a:lnTo>
                  <a:lnTo>
                    <a:pt x="989" y="389"/>
                  </a:lnTo>
                  <a:lnTo>
                    <a:pt x="989" y="389"/>
                  </a:lnTo>
                  <a:lnTo>
                    <a:pt x="985" y="393"/>
                  </a:lnTo>
                  <a:lnTo>
                    <a:pt x="980" y="398"/>
                  </a:lnTo>
                  <a:lnTo>
                    <a:pt x="985" y="398"/>
                  </a:lnTo>
                  <a:lnTo>
                    <a:pt x="985" y="398"/>
                  </a:lnTo>
                  <a:lnTo>
                    <a:pt x="985" y="398"/>
                  </a:lnTo>
                  <a:lnTo>
                    <a:pt x="985" y="402"/>
                  </a:lnTo>
                  <a:lnTo>
                    <a:pt x="985" y="402"/>
                  </a:lnTo>
                  <a:lnTo>
                    <a:pt x="985" y="402"/>
                  </a:lnTo>
                  <a:lnTo>
                    <a:pt x="985" y="402"/>
                  </a:lnTo>
                  <a:lnTo>
                    <a:pt x="985" y="402"/>
                  </a:lnTo>
                  <a:lnTo>
                    <a:pt x="985" y="407"/>
                  </a:lnTo>
                  <a:lnTo>
                    <a:pt x="980" y="407"/>
                  </a:lnTo>
                  <a:lnTo>
                    <a:pt x="980" y="407"/>
                  </a:lnTo>
                  <a:lnTo>
                    <a:pt x="985" y="407"/>
                  </a:lnTo>
                  <a:lnTo>
                    <a:pt x="985" y="407"/>
                  </a:lnTo>
                  <a:lnTo>
                    <a:pt x="980" y="411"/>
                  </a:lnTo>
                  <a:lnTo>
                    <a:pt x="980" y="411"/>
                  </a:lnTo>
                  <a:lnTo>
                    <a:pt x="980" y="411"/>
                  </a:lnTo>
                  <a:lnTo>
                    <a:pt x="980" y="411"/>
                  </a:lnTo>
                  <a:lnTo>
                    <a:pt x="980" y="411"/>
                  </a:lnTo>
                  <a:lnTo>
                    <a:pt x="980" y="411"/>
                  </a:lnTo>
                  <a:lnTo>
                    <a:pt x="980" y="416"/>
                  </a:lnTo>
                  <a:lnTo>
                    <a:pt x="980" y="416"/>
                  </a:lnTo>
                  <a:lnTo>
                    <a:pt x="980" y="416"/>
                  </a:lnTo>
                  <a:lnTo>
                    <a:pt x="980" y="416"/>
                  </a:lnTo>
                  <a:lnTo>
                    <a:pt x="985" y="416"/>
                  </a:lnTo>
                  <a:lnTo>
                    <a:pt x="980" y="416"/>
                  </a:lnTo>
                  <a:lnTo>
                    <a:pt x="980" y="416"/>
                  </a:lnTo>
                  <a:lnTo>
                    <a:pt x="971" y="421"/>
                  </a:lnTo>
                  <a:lnTo>
                    <a:pt x="971" y="425"/>
                  </a:lnTo>
                  <a:lnTo>
                    <a:pt x="967" y="425"/>
                  </a:lnTo>
                  <a:lnTo>
                    <a:pt x="967" y="425"/>
                  </a:lnTo>
                  <a:lnTo>
                    <a:pt x="967" y="425"/>
                  </a:lnTo>
                  <a:lnTo>
                    <a:pt x="962" y="430"/>
                  </a:lnTo>
                  <a:lnTo>
                    <a:pt x="962" y="430"/>
                  </a:lnTo>
                  <a:lnTo>
                    <a:pt x="962" y="430"/>
                  </a:lnTo>
                  <a:lnTo>
                    <a:pt x="967" y="430"/>
                  </a:lnTo>
                  <a:lnTo>
                    <a:pt x="967" y="425"/>
                  </a:lnTo>
                  <a:lnTo>
                    <a:pt x="971" y="425"/>
                  </a:lnTo>
                  <a:lnTo>
                    <a:pt x="971" y="425"/>
                  </a:lnTo>
                  <a:lnTo>
                    <a:pt x="971" y="425"/>
                  </a:lnTo>
                  <a:lnTo>
                    <a:pt x="971" y="425"/>
                  </a:lnTo>
                  <a:lnTo>
                    <a:pt x="971" y="425"/>
                  </a:lnTo>
                  <a:lnTo>
                    <a:pt x="976" y="425"/>
                  </a:lnTo>
                  <a:lnTo>
                    <a:pt x="976" y="421"/>
                  </a:lnTo>
                  <a:lnTo>
                    <a:pt x="985" y="421"/>
                  </a:lnTo>
                  <a:lnTo>
                    <a:pt x="989" y="421"/>
                  </a:lnTo>
                  <a:lnTo>
                    <a:pt x="985" y="421"/>
                  </a:lnTo>
                  <a:lnTo>
                    <a:pt x="985" y="421"/>
                  </a:lnTo>
                  <a:lnTo>
                    <a:pt x="985" y="421"/>
                  </a:lnTo>
                  <a:lnTo>
                    <a:pt x="980" y="425"/>
                  </a:lnTo>
                  <a:lnTo>
                    <a:pt x="980" y="425"/>
                  </a:lnTo>
                  <a:lnTo>
                    <a:pt x="980" y="430"/>
                  </a:lnTo>
                  <a:lnTo>
                    <a:pt x="976" y="430"/>
                  </a:lnTo>
                  <a:lnTo>
                    <a:pt x="976" y="434"/>
                  </a:lnTo>
                  <a:lnTo>
                    <a:pt x="976" y="434"/>
                  </a:lnTo>
                  <a:lnTo>
                    <a:pt x="976" y="434"/>
                  </a:lnTo>
                  <a:lnTo>
                    <a:pt x="976" y="434"/>
                  </a:lnTo>
                  <a:lnTo>
                    <a:pt x="976" y="434"/>
                  </a:lnTo>
                  <a:lnTo>
                    <a:pt x="971" y="434"/>
                  </a:lnTo>
                  <a:lnTo>
                    <a:pt x="967" y="439"/>
                  </a:lnTo>
                  <a:lnTo>
                    <a:pt x="967" y="439"/>
                  </a:lnTo>
                  <a:lnTo>
                    <a:pt x="967" y="439"/>
                  </a:lnTo>
                  <a:lnTo>
                    <a:pt x="967" y="443"/>
                  </a:lnTo>
                  <a:lnTo>
                    <a:pt x="962" y="443"/>
                  </a:lnTo>
                  <a:lnTo>
                    <a:pt x="967" y="443"/>
                  </a:lnTo>
                  <a:lnTo>
                    <a:pt x="967" y="443"/>
                  </a:lnTo>
                  <a:lnTo>
                    <a:pt x="967" y="448"/>
                  </a:lnTo>
                  <a:lnTo>
                    <a:pt x="967" y="443"/>
                  </a:lnTo>
                  <a:lnTo>
                    <a:pt x="971" y="443"/>
                  </a:lnTo>
                  <a:lnTo>
                    <a:pt x="976" y="443"/>
                  </a:lnTo>
                  <a:lnTo>
                    <a:pt x="976" y="439"/>
                  </a:lnTo>
                  <a:lnTo>
                    <a:pt x="976" y="439"/>
                  </a:lnTo>
                  <a:lnTo>
                    <a:pt x="980" y="434"/>
                  </a:lnTo>
                  <a:lnTo>
                    <a:pt x="985" y="434"/>
                  </a:lnTo>
                  <a:lnTo>
                    <a:pt x="985" y="434"/>
                  </a:lnTo>
                  <a:lnTo>
                    <a:pt x="985" y="434"/>
                  </a:lnTo>
                  <a:lnTo>
                    <a:pt x="989" y="430"/>
                  </a:lnTo>
                  <a:lnTo>
                    <a:pt x="989" y="430"/>
                  </a:lnTo>
                  <a:lnTo>
                    <a:pt x="989" y="430"/>
                  </a:lnTo>
                  <a:lnTo>
                    <a:pt x="994" y="425"/>
                  </a:lnTo>
                  <a:lnTo>
                    <a:pt x="994" y="425"/>
                  </a:lnTo>
                  <a:lnTo>
                    <a:pt x="994" y="425"/>
                  </a:lnTo>
                  <a:lnTo>
                    <a:pt x="994" y="425"/>
                  </a:lnTo>
                  <a:lnTo>
                    <a:pt x="994" y="425"/>
                  </a:lnTo>
                  <a:lnTo>
                    <a:pt x="989" y="430"/>
                  </a:lnTo>
                  <a:lnTo>
                    <a:pt x="989" y="430"/>
                  </a:lnTo>
                  <a:lnTo>
                    <a:pt x="989" y="430"/>
                  </a:lnTo>
                  <a:lnTo>
                    <a:pt x="989" y="430"/>
                  </a:lnTo>
                  <a:lnTo>
                    <a:pt x="985" y="434"/>
                  </a:lnTo>
                  <a:lnTo>
                    <a:pt x="985" y="434"/>
                  </a:lnTo>
                  <a:lnTo>
                    <a:pt x="980" y="439"/>
                  </a:lnTo>
                  <a:lnTo>
                    <a:pt x="980" y="439"/>
                  </a:lnTo>
                  <a:lnTo>
                    <a:pt x="976" y="439"/>
                  </a:lnTo>
                  <a:lnTo>
                    <a:pt x="976" y="439"/>
                  </a:lnTo>
                  <a:lnTo>
                    <a:pt x="980" y="439"/>
                  </a:lnTo>
                  <a:lnTo>
                    <a:pt x="985" y="439"/>
                  </a:lnTo>
                  <a:lnTo>
                    <a:pt x="985" y="434"/>
                  </a:lnTo>
                  <a:lnTo>
                    <a:pt x="989" y="434"/>
                  </a:lnTo>
                  <a:lnTo>
                    <a:pt x="989" y="434"/>
                  </a:lnTo>
                  <a:lnTo>
                    <a:pt x="989" y="434"/>
                  </a:lnTo>
                  <a:lnTo>
                    <a:pt x="989" y="434"/>
                  </a:lnTo>
                  <a:lnTo>
                    <a:pt x="989" y="434"/>
                  </a:lnTo>
                  <a:lnTo>
                    <a:pt x="989" y="434"/>
                  </a:lnTo>
                  <a:lnTo>
                    <a:pt x="989" y="434"/>
                  </a:lnTo>
                  <a:lnTo>
                    <a:pt x="989" y="434"/>
                  </a:lnTo>
                  <a:lnTo>
                    <a:pt x="994" y="434"/>
                  </a:lnTo>
                  <a:lnTo>
                    <a:pt x="985" y="439"/>
                  </a:lnTo>
                  <a:lnTo>
                    <a:pt x="980" y="439"/>
                  </a:lnTo>
                  <a:lnTo>
                    <a:pt x="980" y="439"/>
                  </a:lnTo>
                  <a:lnTo>
                    <a:pt x="971" y="443"/>
                  </a:lnTo>
                  <a:lnTo>
                    <a:pt x="971" y="443"/>
                  </a:lnTo>
                  <a:lnTo>
                    <a:pt x="967" y="448"/>
                  </a:lnTo>
                  <a:lnTo>
                    <a:pt x="967" y="448"/>
                  </a:lnTo>
                  <a:lnTo>
                    <a:pt x="967" y="448"/>
                  </a:lnTo>
                  <a:lnTo>
                    <a:pt x="967" y="448"/>
                  </a:lnTo>
                  <a:lnTo>
                    <a:pt x="962" y="448"/>
                  </a:lnTo>
                  <a:lnTo>
                    <a:pt x="962" y="452"/>
                  </a:lnTo>
                  <a:lnTo>
                    <a:pt x="958" y="452"/>
                  </a:lnTo>
                  <a:lnTo>
                    <a:pt x="958" y="452"/>
                  </a:lnTo>
                  <a:lnTo>
                    <a:pt x="958" y="457"/>
                  </a:lnTo>
                  <a:lnTo>
                    <a:pt x="958" y="457"/>
                  </a:lnTo>
                  <a:lnTo>
                    <a:pt x="962" y="457"/>
                  </a:lnTo>
                  <a:lnTo>
                    <a:pt x="962" y="457"/>
                  </a:lnTo>
                  <a:lnTo>
                    <a:pt x="967" y="457"/>
                  </a:lnTo>
                  <a:lnTo>
                    <a:pt x="962" y="457"/>
                  </a:lnTo>
                  <a:lnTo>
                    <a:pt x="958" y="457"/>
                  </a:lnTo>
                  <a:lnTo>
                    <a:pt x="958" y="457"/>
                  </a:lnTo>
                  <a:lnTo>
                    <a:pt x="953" y="461"/>
                  </a:lnTo>
                  <a:lnTo>
                    <a:pt x="949" y="461"/>
                  </a:lnTo>
                  <a:lnTo>
                    <a:pt x="949" y="466"/>
                  </a:lnTo>
                  <a:lnTo>
                    <a:pt x="944" y="466"/>
                  </a:lnTo>
                  <a:lnTo>
                    <a:pt x="949" y="470"/>
                  </a:lnTo>
                  <a:lnTo>
                    <a:pt x="949" y="470"/>
                  </a:lnTo>
                  <a:lnTo>
                    <a:pt x="949" y="470"/>
                  </a:lnTo>
                  <a:lnTo>
                    <a:pt x="949" y="475"/>
                  </a:lnTo>
                  <a:lnTo>
                    <a:pt x="949" y="475"/>
                  </a:lnTo>
                  <a:lnTo>
                    <a:pt x="949" y="475"/>
                  </a:lnTo>
                  <a:lnTo>
                    <a:pt x="953" y="475"/>
                  </a:lnTo>
                  <a:lnTo>
                    <a:pt x="953" y="475"/>
                  </a:lnTo>
                  <a:lnTo>
                    <a:pt x="953" y="470"/>
                  </a:lnTo>
                  <a:lnTo>
                    <a:pt x="958" y="470"/>
                  </a:lnTo>
                  <a:lnTo>
                    <a:pt x="958" y="470"/>
                  </a:lnTo>
                  <a:lnTo>
                    <a:pt x="962" y="466"/>
                  </a:lnTo>
                  <a:lnTo>
                    <a:pt x="962" y="466"/>
                  </a:lnTo>
                  <a:lnTo>
                    <a:pt x="967" y="466"/>
                  </a:lnTo>
                  <a:lnTo>
                    <a:pt x="967" y="466"/>
                  </a:lnTo>
                  <a:lnTo>
                    <a:pt x="967" y="466"/>
                  </a:lnTo>
                  <a:lnTo>
                    <a:pt x="967" y="466"/>
                  </a:lnTo>
                  <a:lnTo>
                    <a:pt x="971" y="466"/>
                  </a:lnTo>
                  <a:lnTo>
                    <a:pt x="971" y="466"/>
                  </a:lnTo>
                  <a:lnTo>
                    <a:pt x="971" y="466"/>
                  </a:lnTo>
                  <a:lnTo>
                    <a:pt x="971" y="466"/>
                  </a:lnTo>
                  <a:lnTo>
                    <a:pt x="971" y="466"/>
                  </a:lnTo>
                  <a:lnTo>
                    <a:pt x="967" y="466"/>
                  </a:lnTo>
                  <a:lnTo>
                    <a:pt x="967" y="466"/>
                  </a:lnTo>
                  <a:lnTo>
                    <a:pt x="967" y="466"/>
                  </a:lnTo>
                  <a:lnTo>
                    <a:pt x="967" y="466"/>
                  </a:lnTo>
                  <a:lnTo>
                    <a:pt x="967" y="470"/>
                  </a:lnTo>
                  <a:lnTo>
                    <a:pt x="962" y="470"/>
                  </a:lnTo>
                  <a:lnTo>
                    <a:pt x="962" y="470"/>
                  </a:lnTo>
                  <a:lnTo>
                    <a:pt x="962" y="475"/>
                  </a:lnTo>
                  <a:lnTo>
                    <a:pt x="967" y="475"/>
                  </a:lnTo>
                  <a:lnTo>
                    <a:pt x="967" y="475"/>
                  </a:lnTo>
                  <a:lnTo>
                    <a:pt x="967" y="475"/>
                  </a:lnTo>
                  <a:lnTo>
                    <a:pt x="967" y="475"/>
                  </a:lnTo>
                  <a:lnTo>
                    <a:pt x="967" y="475"/>
                  </a:lnTo>
                  <a:lnTo>
                    <a:pt x="967" y="479"/>
                  </a:lnTo>
                  <a:lnTo>
                    <a:pt x="967" y="475"/>
                  </a:lnTo>
                  <a:lnTo>
                    <a:pt x="967" y="475"/>
                  </a:lnTo>
                  <a:lnTo>
                    <a:pt x="967" y="475"/>
                  </a:lnTo>
                  <a:lnTo>
                    <a:pt x="967" y="475"/>
                  </a:lnTo>
                  <a:lnTo>
                    <a:pt x="962" y="475"/>
                  </a:lnTo>
                  <a:lnTo>
                    <a:pt x="962" y="475"/>
                  </a:lnTo>
                  <a:lnTo>
                    <a:pt x="962" y="470"/>
                  </a:lnTo>
                  <a:lnTo>
                    <a:pt x="962" y="470"/>
                  </a:lnTo>
                  <a:lnTo>
                    <a:pt x="962" y="470"/>
                  </a:lnTo>
                  <a:lnTo>
                    <a:pt x="967" y="466"/>
                  </a:lnTo>
                  <a:lnTo>
                    <a:pt x="962" y="466"/>
                  </a:lnTo>
                  <a:lnTo>
                    <a:pt x="962" y="466"/>
                  </a:lnTo>
                  <a:lnTo>
                    <a:pt x="962" y="470"/>
                  </a:lnTo>
                  <a:lnTo>
                    <a:pt x="958" y="470"/>
                  </a:lnTo>
                  <a:lnTo>
                    <a:pt x="958" y="470"/>
                  </a:lnTo>
                  <a:lnTo>
                    <a:pt x="953" y="475"/>
                  </a:lnTo>
                  <a:lnTo>
                    <a:pt x="958" y="475"/>
                  </a:lnTo>
                  <a:lnTo>
                    <a:pt x="958" y="475"/>
                  </a:lnTo>
                  <a:lnTo>
                    <a:pt x="958" y="479"/>
                  </a:lnTo>
                  <a:lnTo>
                    <a:pt x="953" y="484"/>
                  </a:lnTo>
                  <a:lnTo>
                    <a:pt x="953" y="484"/>
                  </a:lnTo>
                  <a:lnTo>
                    <a:pt x="958" y="484"/>
                  </a:lnTo>
                  <a:lnTo>
                    <a:pt x="958" y="484"/>
                  </a:lnTo>
                  <a:lnTo>
                    <a:pt x="958" y="484"/>
                  </a:lnTo>
                  <a:lnTo>
                    <a:pt x="958" y="484"/>
                  </a:lnTo>
                  <a:lnTo>
                    <a:pt x="953" y="488"/>
                  </a:lnTo>
                  <a:lnTo>
                    <a:pt x="949" y="493"/>
                  </a:lnTo>
                  <a:lnTo>
                    <a:pt x="944" y="493"/>
                  </a:lnTo>
                  <a:lnTo>
                    <a:pt x="944" y="493"/>
                  </a:lnTo>
                  <a:lnTo>
                    <a:pt x="949" y="493"/>
                  </a:lnTo>
                  <a:lnTo>
                    <a:pt x="953" y="493"/>
                  </a:lnTo>
                  <a:lnTo>
                    <a:pt x="953" y="493"/>
                  </a:lnTo>
                  <a:lnTo>
                    <a:pt x="953" y="493"/>
                  </a:lnTo>
                  <a:lnTo>
                    <a:pt x="953" y="493"/>
                  </a:lnTo>
                  <a:lnTo>
                    <a:pt x="949" y="493"/>
                  </a:lnTo>
                  <a:lnTo>
                    <a:pt x="949" y="493"/>
                  </a:lnTo>
                  <a:lnTo>
                    <a:pt x="949" y="493"/>
                  </a:lnTo>
                  <a:lnTo>
                    <a:pt x="949" y="497"/>
                  </a:lnTo>
                  <a:lnTo>
                    <a:pt x="940" y="497"/>
                  </a:lnTo>
                  <a:lnTo>
                    <a:pt x="940" y="502"/>
                  </a:lnTo>
                  <a:lnTo>
                    <a:pt x="935" y="506"/>
                  </a:lnTo>
                  <a:lnTo>
                    <a:pt x="940" y="502"/>
                  </a:lnTo>
                  <a:lnTo>
                    <a:pt x="944" y="497"/>
                  </a:lnTo>
                  <a:lnTo>
                    <a:pt x="949" y="497"/>
                  </a:lnTo>
                  <a:lnTo>
                    <a:pt x="949" y="497"/>
                  </a:lnTo>
                  <a:lnTo>
                    <a:pt x="953" y="497"/>
                  </a:lnTo>
                  <a:lnTo>
                    <a:pt x="953" y="497"/>
                  </a:lnTo>
                  <a:lnTo>
                    <a:pt x="953" y="497"/>
                  </a:lnTo>
                  <a:lnTo>
                    <a:pt x="967" y="493"/>
                  </a:lnTo>
                  <a:lnTo>
                    <a:pt x="967" y="488"/>
                  </a:lnTo>
                  <a:lnTo>
                    <a:pt x="967" y="488"/>
                  </a:lnTo>
                  <a:lnTo>
                    <a:pt x="967" y="488"/>
                  </a:lnTo>
                  <a:lnTo>
                    <a:pt x="967" y="488"/>
                  </a:lnTo>
                  <a:lnTo>
                    <a:pt x="971" y="488"/>
                  </a:lnTo>
                  <a:lnTo>
                    <a:pt x="971" y="488"/>
                  </a:lnTo>
                  <a:lnTo>
                    <a:pt x="971" y="488"/>
                  </a:lnTo>
                  <a:lnTo>
                    <a:pt x="971" y="488"/>
                  </a:lnTo>
                  <a:lnTo>
                    <a:pt x="967" y="488"/>
                  </a:lnTo>
                  <a:lnTo>
                    <a:pt x="967" y="488"/>
                  </a:lnTo>
                  <a:lnTo>
                    <a:pt x="962" y="493"/>
                  </a:lnTo>
                  <a:lnTo>
                    <a:pt x="962" y="493"/>
                  </a:lnTo>
                  <a:lnTo>
                    <a:pt x="962" y="493"/>
                  </a:lnTo>
                  <a:lnTo>
                    <a:pt x="962" y="493"/>
                  </a:lnTo>
                  <a:lnTo>
                    <a:pt x="962" y="497"/>
                  </a:lnTo>
                  <a:lnTo>
                    <a:pt x="962" y="497"/>
                  </a:lnTo>
                  <a:lnTo>
                    <a:pt x="962" y="497"/>
                  </a:lnTo>
                  <a:lnTo>
                    <a:pt x="962" y="497"/>
                  </a:lnTo>
                  <a:lnTo>
                    <a:pt x="958" y="502"/>
                  </a:lnTo>
                  <a:lnTo>
                    <a:pt x="958" y="502"/>
                  </a:lnTo>
                  <a:lnTo>
                    <a:pt x="958" y="502"/>
                  </a:lnTo>
                  <a:lnTo>
                    <a:pt x="958" y="502"/>
                  </a:lnTo>
                  <a:lnTo>
                    <a:pt x="958" y="497"/>
                  </a:lnTo>
                  <a:lnTo>
                    <a:pt x="958" y="497"/>
                  </a:lnTo>
                  <a:lnTo>
                    <a:pt x="958" y="497"/>
                  </a:lnTo>
                  <a:lnTo>
                    <a:pt x="958" y="497"/>
                  </a:lnTo>
                  <a:lnTo>
                    <a:pt x="958" y="493"/>
                  </a:lnTo>
                  <a:lnTo>
                    <a:pt x="958" y="497"/>
                  </a:lnTo>
                  <a:lnTo>
                    <a:pt x="953" y="497"/>
                  </a:lnTo>
                  <a:lnTo>
                    <a:pt x="949" y="497"/>
                  </a:lnTo>
                  <a:lnTo>
                    <a:pt x="949" y="497"/>
                  </a:lnTo>
                  <a:lnTo>
                    <a:pt x="944" y="502"/>
                  </a:lnTo>
                  <a:lnTo>
                    <a:pt x="944" y="502"/>
                  </a:lnTo>
                  <a:lnTo>
                    <a:pt x="944" y="502"/>
                  </a:lnTo>
                  <a:lnTo>
                    <a:pt x="940" y="502"/>
                  </a:lnTo>
                  <a:lnTo>
                    <a:pt x="940" y="506"/>
                  </a:lnTo>
                  <a:lnTo>
                    <a:pt x="940" y="506"/>
                  </a:lnTo>
                  <a:lnTo>
                    <a:pt x="940" y="506"/>
                  </a:lnTo>
                  <a:lnTo>
                    <a:pt x="935" y="511"/>
                  </a:lnTo>
                  <a:lnTo>
                    <a:pt x="935" y="511"/>
                  </a:lnTo>
                  <a:lnTo>
                    <a:pt x="935" y="511"/>
                  </a:lnTo>
                  <a:lnTo>
                    <a:pt x="935" y="511"/>
                  </a:lnTo>
                  <a:lnTo>
                    <a:pt x="935" y="511"/>
                  </a:lnTo>
                  <a:lnTo>
                    <a:pt x="935" y="511"/>
                  </a:lnTo>
                  <a:lnTo>
                    <a:pt x="940" y="511"/>
                  </a:lnTo>
                  <a:lnTo>
                    <a:pt x="940" y="511"/>
                  </a:lnTo>
                  <a:lnTo>
                    <a:pt x="944" y="506"/>
                  </a:lnTo>
                  <a:lnTo>
                    <a:pt x="944" y="506"/>
                  </a:lnTo>
                  <a:lnTo>
                    <a:pt x="949" y="506"/>
                  </a:lnTo>
                  <a:lnTo>
                    <a:pt x="953" y="511"/>
                  </a:lnTo>
                  <a:lnTo>
                    <a:pt x="953" y="511"/>
                  </a:lnTo>
                  <a:lnTo>
                    <a:pt x="949" y="511"/>
                  </a:lnTo>
                  <a:lnTo>
                    <a:pt x="944" y="511"/>
                  </a:lnTo>
                  <a:lnTo>
                    <a:pt x="944" y="511"/>
                  </a:lnTo>
                  <a:lnTo>
                    <a:pt x="940" y="511"/>
                  </a:lnTo>
                  <a:lnTo>
                    <a:pt x="935" y="511"/>
                  </a:lnTo>
                  <a:lnTo>
                    <a:pt x="935" y="515"/>
                  </a:lnTo>
                  <a:lnTo>
                    <a:pt x="931" y="515"/>
                  </a:lnTo>
                  <a:lnTo>
                    <a:pt x="931" y="520"/>
                  </a:lnTo>
                  <a:lnTo>
                    <a:pt x="931" y="520"/>
                  </a:lnTo>
                  <a:lnTo>
                    <a:pt x="931" y="520"/>
                  </a:lnTo>
                  <a:lnTo>
                    <a:pt x="931" y="520"/>
                  </a:lnTo>
                  <a:lnTo>
                    <a:pt x="931" y="525"/>
                  </a:lnTo>
                  <a:lnTo>
                    <a:pt x="931" y="525"/>
                  </a:lnTo>
                  <a:lnTo>
                    <a:pt x="935" y="525"/>
                  </a:lnTo>
                  <a:lnTo>
                    <a:pt x="935" y="525"/>
                  </a:lnTo>
                  <a:lnTo>
                    <a:pt x="940" y="525"/>
                  </a:lnTo>
                  <a:lnTo>
                    <a:pt x="940" y="525"/>
                  </a:lnTo>
                  <a:lnTo>
                    <a:pt x="944" y="520"/>
                  </a:lnTo>
                  <a:lnTo>
                    <a:pt x="940" y="525"/>
                  </a:lnTo>
                  <a:lnTo>
                    <a:pt x="940" y="525"/>
                  </a:lnTo>
                  <a:lnTo>
                    <a:pt x="940" y="525"/>
                  </a:lnTo>
                  <a:lnTo>
                    <a:pt x="940" y="525"/>
                  </a:lnTo>
                  <a:lnTo>
                    <a:pt x="940" y="525"/>
                  </a:lnTo>
                  <a:lnTo>
                    <a:pt x="940" y="525"/>
                  </a:lnTo>
                  <a:lnTo>
                    <a:pt x="940" y="529"/>
                  </a:lnTo>
                  <a:lnTo>
                    <a:pt x="935" y="529"/>
                  </a:lnTo>
                  <a:lnTo>
                    <a:pt x="935" y="529"/>
                  </a:lnTo>
                  <a:lnTo>
                    <a:pt x="935" y="529"/>
                  </a:lnTo>
                  <a:lnTo>
                    <a:pt x="940" y="529"/>
                  </a:lnTo>
                  <a:lnTo>
                    <a:pt x="944" y="529"/>
                  </a:lnTo>
                  <a:lnTo>
                    <a:pt x="944" y="529"/>
                  </a:lnTo>
                  <a:lnTo>
                    <a:pt x="944" y="529"/>
                  </a:lnTo>
                  <a:lnTo>
                    <a:pt x="940" y="529"/>
                  </a:lnTo>
                  <a:lnTo>
                    <a:pt x="940" y="529"/>
                  </a:lnTo>
                  <a:lnTo>
                    <a:pt x="935" y="529"/>
                  </a:lnTo>
                  <a:lnTo>
                    <a:pt x="935" y="529"/>
                  </a:lnTo>
                  <a:lnTo>
                    <a:pt x="935" y="529"/>
                  </a:lnTo>
                  <a:lnTo>
                    <a:pt x="935" y="534"/>
                  </a:lnTo>
                  <a:lnTo>
                    <a:pt x="935" y="534"/>
                  </a:lnTo>
                  <a:lnTo>
                    <a:pt x="940" y="534"/>
                  </a:lnTo>
                  <a:lnTo>
                    <a:pt x="940" y="534"/>
                  </a:lnTo>
                  <a:lnTo>
                    <a:pt x="940" y="534"/>
                  </a:lnTo>
                  <a:lnTo>
                    <a:pt x="940" y="534"/>
                  </a:lnTo>
                  <a:lnTo>
                    <a:pt x="944" y="534"/>
                  </a:lnTo>
                  <a:lnTo>
                    <a:pt x="944" y="534"/>
                  </a:lnTo>
                  <a:lnTo>
                    <a:pt x="944" y="534"/>
                  </a:lnTo>
                  <a:lnTo>
                    <a:pt x="944" y="534"/>
                  </a:lnTo>
                  <a:lnTo>
                    <a:pt x="944" y="534"/>
                  </a:lnTo>
                  <a:lnTo>
                    <a:pt x="944" y="534"/>
                  </a:lnTo>
                  <a:lnTo>
                    <a:pt x="949" y="529"/>
                  </a:lnTo>
                  <a:lnTo>
                    <a:pt x="949" y="529"/>
                  </a:lnTo>
                  <a:lnTo>
                    <a:pt x="944" y="534"/>
                  </a:lnTo>
                  <a:lnTo>
                    <a:pt x="944" y="534"/>
                  </a:lnTo>
                  <a:lnTo>
                    <a:pt x="944" y="534"/>
                  </a:lnTo>
                  <a:lnTo>
                    <a:pt x="949" y="534"/>
                  </a:lnTo>
                  <a:lnTo>
                    <a:pt x="953" y="534"/>
                  </a:lnTo>
                  <a:lnTo>
                    <a:pt x="953" y="534"/>
                  </a:lnTo>
                  <a:lnTo>
                    <a:pt x="958" y="529"/>
                  </a:lnTo>
                  <a:lnTo>
                    <a:pt x="958" y="529"/>
                  </a:lnTo>
                  <a:lnTo>
                    <a:pt x="958" y="529"/>
                  </a:lnTo>
                  <a:lnTo>
                    <a:pt x="958" y="529"/>
                  </a:lnTo>
                  <a:lnTo>
                    <a:pt x="962" y="529"/>
                  </a:lnTo>
                  <a:lnTo>
                    <a:pt x="958" y="529"/>
                  </a:lnTo>
                  <a:lnTo>
                    <a:pt x="958" y="529"/>
                  </a:lnTo>
                  <a:lnTo>
                    <a:pt x="958" y="534"/>
                  </a:lnTo>
                  <a:lnTo>
                    <a:pt x="958" y="534"/>
                  </a:lnTo>
                  <a:lnTo>
                    <a:pt x="953" y="534"/>
                  </a:lnTo>
                  <a:lnTo>
                    <a:pt x="949" y="534"/>
                  </a:lnTo>
                  <a:lnTo>
                    <a:pt x="949" y="538"/>
                  </a:lnTo>
                  <a:lnTo>
                    <a:pt x="949" y="538"/>
                  </a:lnTo>
                  <a:lnTo>
                    <a:pt x="949" y="538"/>
                  </a:lnTo>
                  <a:lnTo>
                    <a:pt x="949" y="538"/>
                  </a:lnTo>
                  <a:lnTo>
                    <a:pt x="949" y="543"/>
                  </a:lnTo>
                  <a:lnTo>
                    <a:pt x="944" y="543"/>
                  </a:lnTo>
                  <a:lnTo>
                    <a:pt x="944" y="547"/>
                  </a:lnTo>
                  <a:lnTo>
                    <a:pt x="949" y="547"/>
                  </a:lnTo>
                  <a:lnTo>
                    <a:pt x="949" y="547"/>
                  </a:lnTo>
                  <a:lnTo>
                    <a:pt x="949" y="547"/>
                  </a:lnTo>
                  <a:lnTo>
                    <a:pt x="949" y="547"/>
                  </a:lnTo>
                  <a:lnTo>
                    <a:pt x="953" y="547"/>
                  </a:lnTo>
                  <a:lnTo>
                    <a:pt x="953" y="547"/>
                  </a:lnTo>
                  <a:lnTo>
                    <a:pt x="953" y="547"/>
                  </a:lnTo>
                  <a:lnTo>
                    <a:pt x="958" y="547"/>
                  </a:lnTo>
                  <a:lnTo>
                    <a:pt x="958" y="547"/>
                  </a:lnTo>
                  <a:lnTo>
                    <a:pt x="958" y="543"/>
                  </a:lnTo>
                  <a:lnTo>
                    <a:pt x="958" y="543"/>
                  </a:lnTo>
                  <a:lnTo>
                    <a:pt x="962" y="543"/>
                  </a:lnTo>
                  <a:lnTo>
                    <a:pt x="962" y="543"/>
                  </a:lnTo>
                  <a:lnTo>
                    <a:pt x="962" y="543"/>
                  </a:lnTo>
                  <a:lnTo>
                    <a:pt x="962" y="543"/>
                  </a:lnTo>
                  <a:lnTo>
                    <a:pt x="962" y="543"/>
                  </a:lnTo>
                  <a:lnTo>
                    <a:pt x="962" y="543"/>
                  </a:lnTo>
                  <a:lnTo>
                    <a:pt x="958" y="543"/>
                  </a:lnTo>
                  <a:lnTo>
                    <a:pt x="958" y="547"/>
                  </a:lnTo>
                  <a:lnTo>
                    <a:pt x="958" y="547"/>
                  </a:lnTo>
                  <a:lnTo>
                    <a:pt x="953" y="552"/>
                  </a:lnTo>
                  <a:lnTo>
                    <a:pt x="953" y="552"/>
                  </a:lnTo>
                  <a:lnTo>
                    <a:pt x="953" y="552"/>
                  </a:lnTo>
                  <a:lnTo>
                    <a:pt x="953" y="552"/>
                  </a:lnTo>
                  <a:lnTo>
                    <a:pt x="953" y="552"/>
                  </a:lnTo>
                  <a:lnTo>
                    <a:pt x="958" y="552"/>
                  </a:lnTo>
                  <a:lnTo>
                    <a:pt x="953" y="552"/>
                  </a:lnTo>
                  <a:lnTo>
                    <a:pt x="953" y="552"/>
                  </a:lnTo>
                  <a:lnTo>
                    <a:pt x="953" y="552"/>
                  </a:lnTo>
                  <a:lnTo>
                    <a:pt x="953" y="552"/>
                  </a:lnTo>
                  <a:lnTo>
                    <a:pt x="953" y="552"/>
                  </a:lnTo>
                  <a:lnTo>
                    <a:pt x="953" y="552"/>
                  </a:lnTo>
                  <a:lnTo>
                    <a:pt x="953" y="552"/>
                  </a:lnTo>
                  <a:lnTo>
                    <a:pt x="949" y="552"/>
                  </a:lnTo>
                  <a:lnTo>
                    <a:pt x="949" y="552"/>
                  </a:lnTo>
                  <a:lnTo>
                    <a:pt x="949" y="552"/>
                  </a:lnTo>
                  <a:lnTo>
                    <a:pt x="949" y="556"/>
                  </a:lnTo>
                  <a:lnTo>
                    <a:pt x="949" y="556"/>
                  </a:lnTo>
                  <a:lnTo>
                    <a:pt x="949" y="556"/>
                  </a:lnTo>
                  <a:lnTo>
                    <a:pt x="953" y="556"/>
                  </a:lnTo>
                  <a:lnTo>
                    <a:pt x="953" y="556"/>
                  </a:lnTo>
                  <a:lnTo>
                    <a:pt x="953" y="556"/>
                  </a:lnTo>
                  <a:lnTo>
                    <a:pt x="953" y="556"/>
                  </a:lnTo>
                  <a:lnTo>
                    <a:pt x="953" y="556"/>
                  </a:lnTo>
                  <a:lnTo>
                    <a:pt x="958" y="556"/>
                  </a:lnTo>
                  <a:lnTo>
                    <a:pt x="958" y="556"/>
                  </a:lnTo>
                  <a:lnTo>
                    <a:pt x="958" y="556"/>
                  </a:lnTo>
                  <a:lnTo>
                    <a:pt x="962" y="552"/>
                  </a:lnTo>
                  <a:lnTo>
                    <a:pt x="962" y="552"/>
                  </a:lnTo>
                  <a:lnTo>
                    <a:pt x="962" y="552"/>
                  </a:lnTo>
                  <a:lnTo>
                    <a:pt x="958" y="556"/>
                  </a:lnTo>
                  <a:lnTo>
                    <a:pt x="958" y="556"/>
                  </a:lnTo>
                  <a:lnTo>
                    <a:pt x="953" y="556"/>
                  </a:lnTo>
                  <a:lnTo>
                    <a:pt x="953" y="556"/>
                  </a:lnTo>
                  <a:lnTo>
                    <a:pt x="953" y="561"/>
                  </a:lnTo>
                  <a:lnTo>
                    <a:pt x="953" y="561"/>
                  </a:lnTo>
                  <a:lnTo>
                    <a:pt x="958" y="561"/>
                  </a:lnTo>
                  <a:lnTo>
                    <a:pt x="958" y="561"/>
                  </a:lnTo>
                  <a:lnTo>
                    <a:pt x="958" y="561"/>
                  </a:lnTo>
                  <a:lnTo>
                    <a:pt x="962" y="561"/>
                  </a:lnTo>
                  <a:lnTo>
                    <a:pt x="958" y="561"/>
                  </a:lnTo>
                  <a:lnTo>
                    <a:pt x="958" y="561"/>
                  </a:lnTo>
                  <a:lnTo>
                    <a:pt x="958" y="561"/>
                  </a:lnTo>
                  <a:lnTo>
                    <a:pt x="953" y="561"/>
                  </a:lnTo>
                  <a:lnTo>
                    <a:pt x="953" y="561"/>
                  </a:lnTo>
                  <a:lnTo>
                    <a:pt x="953" y="561"/>
                  </a:lnTo>
                  <a:lnTo>
                    <a:pt x="953" y="561"/>
                  </a:lnTo>
                  <a:lnTo>
                    <a:pt x="953" y="565"/>
                  </a:lnTo>
                  <a:lnTo>
                    <a:pt x="953" y="565"/>
                  </a:lnTo>
                  <a:lnTo>
                    <a:pt x="953" y="565"/>
                  </a:lnTo>
                  <a:lnTo>
                    <a:pt x="953" y="565"/>
                  </a:lnTo>
                  <a:lnTo>
                    <a:pt x="953" y="565"/>
                  </a:lnTo>
                  <a:lnTo>
                    <a:pt x="953" y="565"/>
                  </a:lnTo>
                  <a:lnTo>
                    <a:pt x="949" y="565"/>
                  </a:lnTo>
                  <a:lnTo>
                    <a:pt x="949" y="565"/>
                  </a:lnTo>
                  <a:lnTo>
                    <a:pt x="949" y="565"/>
                  </a:lnTo>
                  <a:lnTo>
                    <a:pt x="953" y="565"/>
                  </a:lnTo>
                  <a:lnTo>
                    <a:pt x="953" y="565"/>
                  </a:lnTo>
                  <a:lnTo>
                    <a:pt x="953" y="565"/>
                  </a:lnTo>
                  <a:lnTo>
                    <a:pt x="953" y="565"/>
                  </a:lnTo>
                  <a:lnTo>
                    <a:pt x="953" y="565"/>
                  </a:lnTo>
                  <a:lnTo>
                    <a:pt x="953" y="565"/>
                  </a:lnTo>
                  <a:lnTo>
                    <a:pt x="953" y="565"/>
                  </a:lnTo>
                  <a:lnTo>
                    <a:pt x="953" y="570"/>
                  </a:lnTo>
                  <a:lnTo>
                    <a:pt x="953" y="570"/>
                  </a:lnTo>
                  <a:lnTo>
                    <a:pt x="953" y="570"/>
                  </a:lnTo>
                  <a:lnTo>
                    <a:pt x="953" y="570"/>
                  </a:lnTo>
                  <a:lnTo>
                    <a:pt x="953" y="570"/>
                  </a:lnTo>
                  <a:lnTo>
                    <a:pt x="953" y="570"/>
                  </a:lnTo>
                  <a:lnTo>
                    <a:pt x="953" y="570"/>
                  </a:lnTo>
                  <a:lnTo>
                    <a:pt x="953" y="574"/>
                  </a:lnTo>
                  <a:lnTo>
                    <a:pt x="949" y="574"/>
                  </a:lnTo>
                  <a:lnTo>
                    <a:pt x="949" y="574"/>
                  </a:lnTo>
                  <a:lnTo>
                    <a:pt x="949" y="574"/>
                  </a:lnTo>
                  <a:lnTo>
                    <a:pt x="949" y="579"/>
                  </a:lnTo>
                  <a:lnTo>
                    <a:pt x="949" y="574"/>
                  </a:lnTo>
                  <a:lnTo>
                    <a:pt x="949" y="574"/>
                  </a:lnTo>
                  <a:lnTo>
                    <a:pt x="949" y="579"/>
                  </a:lnTo>
                  <a:lnTo>
                    <a:pt x="949" y="579"/>
                  </a:lnTo>
                  <a:lnTo>
                    <a:pt x="949" y="579"/>
                  </a:lnTo>
                  <a:lnTo>
                    <a:pt x="949" y="579"/>
                  </a:lnTo>
                  <a:lnTo>
                    <a:pt x="949" y="579"/>
                  </a:lnTo>
                  <a:lnTo>
                    <a:pt x="949" y="579"/>
                  </a:lnTo>
                  <a:lnTo>
                    <a:pt x="949" y="579"/>
                  </a:lnTo>
                  <a:lnTo>
                    <a:pt x="949" y="579"/>
                  </a:lnTo>
                  <a:lnTo>
                    <a:pt x="944" y="583"/>
                  </a:lnTo>
                  <a:lnTo>
                    <a:pt x="944" y="583"/>
                  </a:lnTo>
                  <a:lnTo>
                    <a:pt x="944" y="583"/>
                  </a:lnTo>
                  <a:lnTo>
                    <a:pt x="944" y="583"/>
                  </a:lnTo>
                  <a:lnTo>
                    <a:pt x="944" y="583"/>
                  </a:lnTo>
                  <a:lnTo>
                    <a:pt x="944" y="583"/>
                  </a:lnTo>
                  <a:lnTo>
                    <a:pt x="944" y="583"/>
                  </a:lnTo>
                  <a:lnTo>
                    <a:pt x="944" y="583"/>
                  </a:lnTo>
                  <a:lnTo>
                    <a:pt x="944" y="583"/>
                  </a:lnTo>
                  <a:lnTo>
                    <a:pt x="944" y="583"/>
                  </a:lnTo>
                  <a:lnTo>
                    <a:pt x="944" y="583"/>
                  </a:lnTo>
                  <a:lnTo>
                    <a:pt x="944" y="583"/>
                  </a:lnTo>
                  <a:lnTo>
                    <a:pt x="944" y="588"/>
                  </a:lnTo>
                  <a:lnTo>
                    <a:pt x="944" y="588"/>
                  </a:lnTo>
                  <a:lnTo>
                    <a:pt x="944" y="588"/>
                  </a:lnTo>
                  <a:lnTo>
                    <a:pt x="944" y="588"/>
                  </a:lnTo>
                  <a:lnTo>
                    <a:pt x="940" y="588"/>
                  </a:lnTo>
                  <a:lnTo>
                    <a:pt x="940" y="592"/>
                  </a:lnTo>
                  <a:lnTo>
                    <a:pt x="940" y="592"/>
                  </a:lnTo>
                  <a:lnTo>
                    <a:pt x="940" y="592"/>
                  </a:lnTo>
                  <a:lnTo>
                    <a:pt x="935" y="592"/>
                  </a:lnTo>
                  <a:lnTo>
                    <a:pt x="935" y="592"/>
                  </a:lnTo>
                  <a:lnTo>
                    <a:pt x="935" y="592"/>
                  </a:lnTo>
                  <a:lnTo>
                    <a:pt x="935" y="592"/>
                  </a:lnTo>
                  <a:lnTo>
                    <a:pt x="935" y="597"/>
                  </a:lnTo>
                  <a:lnTo>
                    <a:pt x="935" y="597"/>
                  </a:lnTo>
                  <a:lnTo>
                    <a:pt x="931" y="597"/>
                  </a:lnTo>
                  <a:lnTo>
                    <a:pt x="931" y="601"/>
                  </a:lnTo>
                  <a:lnTo>
                    <a:pt x="931" y="601"/>
                  </a:lnTo>
                  <a:lnTo>
                    <a:pt x="931" y="601"/>
                  </a:lnTo>
                  <a:lnTo>
                    <a:pt x="931" y="601"/>
                  </a:lnTo>
                  <a:lnTo>
                    <a:pt x="926" y="601"/>
                  </a:lnTo>
                  <a:lnTo>
                    <a:pt x="926" y="601"/>
                  </a:lnTo>
                  <a:lnTo>
                    <a:pt x="922" y="601"/>
                  </a:lnTo>
                  <a:lnTo>
                    <a:pt x="922" y="601"/>
                  </a:lnTo>
                  <a:lnTo>
                    <a:pt x="922" y="601"/>
                  </a:lnTo>
                  <a:lnTo>
                    <a:pt x="922" y="601"/>
                  </a:lnTo>
                  <a:lnTo>
                    <a:pt x="922" y="601"/>
                  </a:lnTo>
                  <a:lnTo>
                    <a:pt x="922" y="601"/>
                  </a:lnTo>
                  <a:lnTo>
                    <a:pt x="922" y="601"/>
                  </a:lnTo>
                  <a:lnTo>
                    <a:pt x="926" y="601"/>
                  </a:lnTo>
                  <a:lnTo>
                    <a:pt x="926" y="597"/>
                  </a:lnTo>
                  <a:lnTo>
                    <a:pt x="926" y="597"/>
                  </a:lnTo>
                  <a:lnTo>
                    <a:pt x="926" y="601"/>
                  </a:lnTo>
                  <a:lnTo>
                    <a:pt x="926" y="601"/>
                  </a:lnTo>
                  <a:lnTo>
                    <a:pt x="926" y="601"/>
                  </a:lnTo>
                  <a:lnTo>
                    <a:pt x="926" y="597"/>
                  </a:lnTo>
                  <a:lnTo>
                    <a:pt x="926" y="601"/>
                  </a:lnTo>
                  <a:lnTo>
                    <a:pt x="926" y="601"/>
                  </a:lnTo>
                  <a:lnTo>
                    <a:pt x="931" y="601"/>
                  </a:lnTo>
                  <a:lnTo>
                    <a:pt x="931" y="597"/>
                  </a:lnTo>
                  <a:lnTo>
                    <a:pt x="931" y="597"/>
                  </a:lnTo>
                  <a:lnTo>
                    <a:pt x="931" y="597"/>
                  </a:lnTo>
                  <a:lnTo>
                    <a:pt x="931" y="592"/>
                  </a:lnTo>
                  <a:lnTo>
                    <a:pt x="931" y="592"/>
                  </a:lnTo>
                  <a:lnTo>
                    <a:pt x="935" y="592"/>
                  </a:lnTo>
                  <a:lnTo>
                    <a:pt x="935" y="592"/>
                  </a:lnTo>
                  <a:lnTo>
                    <a:pt x="935" y="592"/>
                  </a:lnTo>
                  <a:lnTo>
                    <a:pt x="935" y="592"/>
                  </a:lnTo>
                  <a:lnTo>
                    <a:pt x="935" y="592"/>
                  </a:lnTo>
                  <a:lnTo>
                    <a:pt x="940" y="588"/>
                  </a:lnTo>
                  <a:lnTo>
                    <a:pt x="940" y="588"/>
                  </a:lnTo>
                  <a:lnTo>
                    <a:pt x="940" y="588"/>
                  </a:lnTo>
                  <a:lnTo>
                    <a:pt x="940" y="588"/>
                  </a:lnTo>
                  <a:lnTo>
                    <a:pt x="940" y="588"/>
                  </a:lnTo>
                  <a:lnTo>
                    <a:pt x="935" y="588"/>
                  </a:lnTo>
                  <a:lnTo>
                    <a:pt x="935" y="592"/>
                  </a:lnTo>
                  <a:lnTo>
                    <a:pt x="935" y="592"/>
                  </a:lnTo>
                  <a:lnTo>
                    <a:pt x="931" y="592"/>
                  </a:lnTo>
                  <a:lnTo>
                    <a:pt x="931" y="592"/>
                  </a:lnTo>
                  <a:lnTo>
                    <a:pt x="926" y="592"/>
                  </a:lnTo>
                  <a:lnTo>
                    <a:pt x="926" y="597"/>
                  </a:lnTo>
                  <a:lnTo>
                    <a:pt x="926" y="597"/>
                  </a:lnTo>
                  <a:lnTo>
                    <a:pt x="922" y="597"/>
                  </a:lnTo>
                  <a:lnTo>
                    <a:pt x="926" y="597"/>
                  </a:lnTo>
                  <a:lnTo>
                    <a:pt x="926" y="597"/>
                  </a:lnTo>
                  <a:lnTo>
                    <a:pt x="926" y="597"/>
                  </a:lnTo>
                  <a:lnTo>
                    <a:pt x="922" y="597"/>
                  </a:lnTo>
                  <a:lnTo>
                    <a:pt x="922" y="597"/>
                  </a:lnTo>
                  <a:lnTo>
                    <a:pt x="922" y="597"/>
                  </a:lnTo>
                  <a:lnTo>
                    <a:pt x="922" y="597"/>
                  </a:lnTo>
                  <a:lnTo>
                    <a:pt x="922" y="597"/>
                  </a:lnTo>
                  <a:lnTo>
                    <a:pt x="926" y="592"/>
                  </a:lnTo>
                  <a:lnTo>
                    <a:pt x="935" y="588"/>
                  </a:lnTo>
                  <a:lnTo>
                    <a:pt x="935" y="588"/>
                  </a:lnTo>
                  <a:lnTo>
                    <a:pt x="935" y="592"/>
                  </a:lnTo>
                  <a:lnTo>
                    <a:pt x="935" y="592"/>
                  </a:lnTo>
                  <a:lnTo>
                    <a:pt x="935" y="588"/>
                  </a:lnTo>
                  <a:lnTo>
                    <a:pt x="940" y="588"/>
                  </a:lnTo>
                  <a:lnTo>
                    <a:pt x="940" y="583"/>
                  </a:lnTo>
                  <a:lnTo>
                    <a:pt x="940" y="583"/>
                  </a:lnTo>
                  <a:lnTo>
                    <a:pt x="940" y="583"/>
                  </a:lnTo>
                  <a:lnTo>
                    <a:pt x="940" y="583"/>
                  </a:lnTo>
                  <a:lnTo>
                    <a:pt x="940" y="583"/>
                  </a:lnTo>
                  <a:lnTo>
                    <a:pt x="935" y="583"/>
                  </a:lnTo>
                  <a:lnTo>
                    <a:pt x="935" y="583"/>
                  </a:lnTo>
                  <a:lnTo>
                    <a:pt x="935" y="583"/>
                  </a:lnTo>
                  <a:lnTo>
                    <a:pt x="935" y="583"/>
                  </a:lnTo>
                  <a:lnTo>
                    <a:pt x="935" y="583"/>
                  </a:lnTo>
                  <a:lnTo>
                    <a:pt x="935" y="583"/>
                  </a:lnTo>
                  <a:lnTo>
                    <a:pt x="931" y="583"/>
                  </a:lnTo>
                  <a:lnTo>
                    <a:pt x="926" y="579"/>
                  </a:lnTo>
                  <a:lnTo>
                    <a:pt x="922" y="579"/>
                  </a:lnTo>
                  <a:lnTo>
                    <a:pt x="922" y="579"/>
                  </a:lnTo>
                  <a:lnTo>
                    <a:pt x="922" y="579"/>
                  </a:lnTo>
                  <a:lnTo>
                    <a:pt x="922" y="574"/>
                  </a:lnTo>
                  <a:lnTo>
                    <a:pt x="917" y="574"/>
                  </a:lnTo>
                  <a:lnTo>
                    <a:pt x="917" y="579"/>
                  </a:lnTo>
                  <a:lnTo>
                    <a:pt x="913" y="579"/>
                  </a:lnTo>
                  <a:lnTo>
                    <a:pt x="913" y="583"/>
                  </a:lnTo>
                  <a:lnTo>
                    <a:pt x="913" y="583"/>
                  </a:lnTo>
                  <a:lnTo>
                    <a:pt x="913" y="588"/>
                  </a:lnTo>
                  <a:lnTo>
                    <a:pt x="913" y="588"/>
                  </a:lnTo>
                  <a:lnTo>
                    <a:pt x="908" y="597"/>
                  </a:lnTo>
                  <a:lnTo>
                    <a:pt x="904" y="597"/>
                  </a:lnTo>
                  <a:lnTo>
                    <a:pt x="904" y="601"/>
                  </a:lnTo>
                  <a:lnTo>
                    <a:pt x="904" y="601"/>
                  </a:lnTo>
                  <a:lnTo>
                    <a:pt x="904" y="606"/>
                  </a:lnTo>
                  <a:lnTo>
                    <a:pt x="904" y="601"/>
                  </a:lnTo>
                  <a:lnTo>
                    <a:pt x="904" y="601"/>
                  </a:lnTo>
                  <a:lnTo>
                    <a:pt x="904" y="601"/>
                  </a:lnTo>
                  <a:lnTo>
                    <a:pt x="904" y="601"/>
                  </a:lnTo>
                  <a:lnTo>
                    <a:pt x="908" y="606"/>
                  </a:lnTo>
                  <a:lnTo>
                    <a:pt x="899" y="606"/>
                  </a:lnTo>
                  <a:lnTo>
                    <a:pt x="899" y="606"/>
                  </a:lnTo>
                  <a:lnTo>
                    <a:pt x="899" y="610"/>
                  </a:lnTo>
                  <a:lnTo>
                    <a:pt x="899" y="610"/>
                  </a:lnTo>
                  <a:lnTo>
                    <a:pt x="899" y="610"/>
                  </a:lnTo>
                  <a:lnTo>
                    <a:pt x="895" y="615"/>
                  </a:lnTo>
                  <a:lnTo>
                    <a:pt x="895" y="610"/>
                  </a:lnTo>
                  <a:lnTo>
                    <a:pt x="899" y="610"/>
                  </a:lnTo>
                  <a:lnTo>
                    <a:pt x="895" y="615"/>
                  </a:lnTo>
                  <a:lnTo>
                    <a:pt x="895" y="615"/>
                  </a:lnTo>
                  <a:lnTo>
                    <a:pt x="890" y="615"/>
                  </a:lnTo>
                  <a:lnTo>
                    <a:pt x="895" y="615"/>
                  </a:lnTo>
                  <a:lnTo>
                    <a:pt x="895" y="619"/>
                  </a:lnTo>
                  <a:lnTo>
                    <a:pt x="899" y="619"/>
                  </a:lnTo>
                  <a:lnTo>
                    <a:pt x="899" y="619"/>
                  </a:lnTo>
                  <a:lnTo>
                    <a:pt x="899" y="619"/>
                  </a:lnTo>
                  <a:lnTo>
                    <a:pt x="899" y="619"/>
                  </a:lnTo>
                  <a:lnTo>
                    <a:pt x="899" y="619"/>
                  </a:lnTo>
                  <a:lnTo>
                    <a:pt x="899" y="619"/>
                  </a:lnTo>
                  <a:lnTo>
                    <a:pt x="899" y="619"/>
                  </a:lnTo>
                  <a:lnTo>
                    <a:pt x="899" y="619"/>
                  </a:lnTo>
                  <a:lnTo>
                    <a:pt x="899" y="619"/>
                  </a:lnTo>
                  <a:lnTo>
                    <a:pt x="899" y="619"/>
                  </a:lnTo>
                  <a:lnTo>
                    <a:pt x="899" y="619"/>
                  </a:lnTo>
                  <a:lnTo>
                    <a:pt x="895" y="619"/>
                  </a:lnTo>
                  <a:lnTo>
                    <a:pt x="890" y="619"/>
                  </a:lnTo>
                  <a:lnTo>
                    <a:pt x="890" y="619"/>
                  </a:lnTo>
                  <a:lnTo>
                    <a:pt x="890" y="619"/>
                  </a:lnTo>
                  <a:lnTo>
                    <a:pt x="890" y="619"/>
                  </a:lnTo>
                  <a:lnTo>
                    <a:pt x="890" y="619"/>
                  </a:lnTo>
                  <a:lnTo>
                    <a:pt x="885" y="624"/>
                  </a:lnTo>
                  <a:lnTo>
                    <a:pt x="881" y="633"/>
                  </a:lnTo>
                  <a:lnTo>
                    <a:pt x="881" y="633"/>
                  </a:lnTo>
                  <a:lnTo>
                    <a:pt x="881" y="633"/>
                  </a:lnTo>
                  <a:lnTo>
                    <a:pt x="867" y="647"/>
                  </a:lnTo>
                  <a:lnTo>
                    <a:pt x="867" y="651"/>
                  </a:lnTo>
                  <a:lnTo>
                    <a:pt x="863" y="651"/>
                  </a:lnTo>
                  <a:lnTo>
                    <a:pt x="863" y="651"/>
                  </a:lnTo>
                  <a:lnTo>
                    <a:pt x="858" y="656"/>
                  </a:lnTo>
                  <a:lnTo>
                    <a:pt x="854" y="660"/>
                  </a:lnTo>
                  <a:lnTo>
                    <a:pt x="849" y="669"/>
                  </a:lnTo>
                  <a:lnTo>
                    <a:pt x="849" y="669"/>
                  </a:lnTo>
                  <a:lnTo>
                    <a:pt x="845" y="669"/>
                  </a:lnTo>
                  <a:lnTo>
                    <a:pt x="840" y="674"/>
                  </a:lnTo>
                  <a:lnTo>
                    <a:pt x="845" y="674"/>
                  </a:lnTo>
                  <a:lnTo>
                    <a:pt x="845" y="674"/>
                  </a:lnTo>
                  <a:lnTo>
                    <a:pt x="840" y="674"/>
                  </a:lnTo>
                  <a:lnTo>
                    <a:pt x="840" y="674"/>
                  </a:lnTo>
                  <a:lnTo>
                    <a:pt x="840" y="674"/>
                  </a:lnTo>
                  <a:lnTo>
                    <a:pt x="836" y="678"/>
                  </a:lnTo>
                  <a:lnTo>
                    <a:pt x="831" y="683"/>
                  </a:lnTo>
                  <a:lnTo>
                    <a:pt x="831" y="683"/>
                  </a:lnTo>
                  <a:lnTo>
                    <a:pt x="827" y="687"/>
                  </a:lnTo>
                  <a:lnTo>
                    <a:pt x="827" y="687"/>
                  </a:lnTo>
                  <a:lnTo>
                    <a:pt x="827" y="692"/>
                  </a:lnTo>
                  <a:lnTo>
                    <a:pt x="822" y="696"/>
                  </a:lnTo>
                  <a:lnTo>
                    <a:pt x="822" y="696"/>
                  </a:lnTo>
                  <a:lnTo>
                    <a:pt x="822" y="701"/>
                  </a:lnTo>
                  <a:lnTo>
                    <a:pt x="822" y="701"/>
                  </a:lnTo>
                  <a:lnTo>
                    <a:pt x="818" y="705"/>
                  </a:lnTo>
                  <a:lnTo>
                    <a:pt x="818" y="705"/>
                  </a:lnTo>
                  <a:lnTo>
                    <a:pt x="818" y="710"/>
                  </a:lnTo>
                  <a:lnTo>
                    <a:pt x="818" y="710"/>
                  </a:lnTo>
                  <a:lnTo>
                    <a:pt x="813" y="714"/>
                  </a:lnTo>
                  <a:lnTo>
                    <a:pt x="809" y="719"/>
                  </a:lnTo>
                  <a:lnTo>
                    <a:pt x="809" y="723"/>
                  </a:lnTo>
                  <a:lnTo>
                    <a:pt x="804" y="723"/>
                  </a:lnTo>
                  <a:lnTo>
                    <a:pt x="804" y="723"/>
                  </a:lnTo>
                  <a:lnTo>
                    <a:pt x="804" y="723"/>
                  </a:lnTo>
                  <a:lnTo>
                    <a:pt x="804" y="723"/>
                  </a:lnTo>
                  <a:lnTo>
                    <a:pt x="804" y="728"/>
                  </a:lnTo>
                  <a:lnTo>
                    <a:pt x="804" y="728"/>
                  </a:lnTo>
                  <a:lnTo>
                    <a:pt x="804" y="728"/>
                  </a:lnTo>
                  <a:lnTo>
                    <a:pt x="804" y="728"/>
                  </a:lnTo>
                  <a:lnTo>
                    <a:pt x="804" y="728"/>
                  </a:lnTo>
                  <a:lnTo>
                    <a:pt x="800" y="728"/>
                  </a:lnTo>
                  <a:lnTo>
                    <a:pt x="800" y="728"/>
                  </a:lnTo>
                  <a:lnTo>
                    <a:pt x="800" y="733"/>
                  </a:lnTo>
                  <a:lnTo>
                    <a:pt x="795" y="733"/>
                  </a:lnTo>
                  <a:lnTo>
                    <a:pt x="795" y="737"/>
                  </a:lnTo>
                  <a:lnTo>
                    <a:pt x="795" y="737"/>
                  </a:lnTo>
                  <a:lnTo>
                    <a:pt x="795" y="746"/>
                  </a:lnTo>
                  <a:lnTo>
                    <a:pt x="795" y="746"/>
                  </a:lnTo>
                  <a:lnTo>
                    <a:pt x="795" y="751"/>
                  </a:lnTo>
                  <a:lnTo>
                    <a:pt x="791" y="751"/>
                  </a:lnTo>
                  <a:lnTo>
                    <a:pt x="791" y="755"/>
                  </a:lnTo>
                  <a:lnTo>
                    <a:pt x="786" y="760"/>
                  </a:lnTo>
                  <a:lnTo>
                    <a:pt x="786" y="764"/>
                  </a:lnTo>
                  <a:lnTo>
                    <a:pt x="786" y="769"/>
                  </a:lnTo>
                  <a:lnTo>
                    <a:pt x="786" y="773"/>
                  </a:lnTo>
                  <a:lnTo>
                    <a:pt x="786" y="773"/>
                  </a:lnTo>
                  <a:lnTo>
                    <a:pt x="786" y="778"/>
                  </a:lnTo>
                  <a:lnTo>
                    <a:pt x="786" y="778"/>
                  </a:lnTo>
                  <a:lnTo>
                    <a:pt x="786" y="778"/>
                  </a:lnTo>
                  <a:lnTo>
                    <a:pt x="786" y="782"/>
                  </a:lnTo>
                  <a:lnTo>
                    <a:pt x="786" y="778"/>
                  </a:lnTo>
                  <a:lnTo>
                    <a:pt x="786" y="782"/>
                  </a:lnTo>
                  <a:lnTo>
                    <a:pt x="782" y="782"/>
                  </a:lnTo>
                  <a:lnTo>
                    <a:pt x="782" y="782"/>
                  </a:lnTo>
                  <a:lnTo>
                    <a:pt x="786" y="782"/>
                  </a:lnTo>
                  <a:lnTo>
                    <a:pt x="786" y="782"/>
                  </a:lnTo>
                  <a:lnTo>
                    <a:pt x="786" y="782"/>
                  </a:lnTo>
                  <a:lnTo>
                    <a:pt x="786" y="787"/>
                  </a:lnTo>
                  <a:lnTo>
                    <a:pt x="786" y="787"/>
                  </a:lnTo>
                  <a:lnTo>
                    <a:pt x="786" y="787"/>
                  </a:lnTo>
                  <a:lnTo>
                    <a:pt x="791" y="787"/>
                  </a:lnTo>
                  <a:lnTo>
                    <a:pt x="791" y="782"/>
                  </a:lnTo>
                  <a:lnTo>
                    <a:pt x="791" y="782"/>
                  </a:lnTo>
                  <a:lnTo>
                    <a:pt x="795" y="782"/>
                  </a:lnTo>
                  <a:lnTo>
                    <a:pt x="795" y="782"/>
                  </a:lnTo>
                  <a:lnTo>
                    <a:pt x="795" y="782"/>
                  </a:lnTo>
                  <a:lnTo>
                    <a:pt x="795" y="782"/>
                  </a:lnTo>
                  <a:lnTo>
                    <a:pt x="800" y="782"/>
                  </a:lnTo>
                  <a:lnTo>
                    <a:pt x="800" y="782"/>
                  </a:lnTo>
                  <a:lnTo>
                    <a:pt x="800" y="782"/>
                  </a:lnTo>
                  <a:lnTo>
                    <a:pt x="800" y="782"/>
                  </a:lnTo>
                  <a:lnTo>
                    <a:pt x="804" y="782"/>
                  </a:lnTo>
                  <a:lnTo>
                    <a:pt x="804" y="782"/>
                  </a:lnTo>
                  <a:lnTo>
                    <a:pt x="804" y="782"/>
                  </a:lnTo>
                  <a:lnTo>
                    <a:pt x="804" y="782"/>
                  </a:lnTo>
                  <a:lnTo>
                    <a:pt x="804" y="782"/>
                  </a:lnTo>
                  <a:lnTo>
                    <a:pt x="804" y="782"/>
                  </a:lnTo>
                  <a:lnTo>
                    <a:pt x="804" y="782"/>
                  </a:lnTo>
                  <a:lnTo>
                    <a:pt x="795" y="782"/>
                  </a:lnTo>
                  <a:lnTo>
                    <a:pt x="795" y="782"/>
                  </a:lnTo>
                  <a:lnTo>
                    <a:pt x="795" y="782"/>
                  </a:lnTo>
                  <a:lnTo>
                    <a:pt x="791" y="782"/>
                  </a:lnTo>
                  <a:lnTo>
                    <a:pt x="791" y="787"/>
                  </a:lnTo>
                  <a:lnTo>
                    <a:pt x="791" y="787"/>
                  </a:lnTo>
                  <a:lnTo>
                    <a:pt x="791" y="787"/>
                  </a:lnTo>
                  <a:lnTo>
                    <a:pt x="791" y="787"/>
                  </a:lnTo>
                  <a:lnTo>
                    <a:pt x="791" y="791"/>
                  </a:lnTo>
                  <a:lnTo>
                    <a:pt x="791" y="791"/>
                  </a:lnTo>
                  <a:lnTo>
                    <a:pt x="791" y="791"/>
                  </a:lnTo>
                  <a:lnTo>
                    <a:pt x="791" y="796"/>
                  </a:lnTo>
                  <a:lnTo>
                    <a:pt x="791" y="796"/>
                  </a:lnTo>
                  <a:lnTo>
                    <a:pt x="791" y="791"/>
                  </a:lnTo>
                  <a:lnTo>
                    <a:pt x="791" y="791"/>
                  </a:lnTo>
                  <a:lnTo>
                    <a:pt x="786" y="791"/>
                  </a:lnTo>
                  <a:lnTo>
                    <a:pt x="786" y="791"/>
                  </a:lnTo>
                  <a:lnTo>
                    <a:pt x="791" y="787"/>
                  </a:lnTo>
                  <a:lnTo>
                    <a:pt x="791" y="787"/>
                  </a:lnTo>
                  <a:lnTo>
                    <a:pt x="786" y="787"/>
                  </a:lnTo>
                  <a:lnTo>
                    <a:pt x="786" y="787"/>
                  </a:lnTo>
                  <a:lnTo>
                    <a:pt x="786" y="791"/>
                  </a:lnTo>
                  <a:lnTo>
                    <a:pt x="786" y="791"/>
                  </a:lnTo>
                  <a:lnTo>
                    <a:pt x="782" y="796"/>
                  </a:lnTo>
                  <a:lnTo>
                    <a:pt x="782" y="800"/>
                  </a:lnTo>
                  <a:lnTo>
                    <a:pt x="782" y="805"/>
                  </a:lnTo>
                  <a:lnTo>
                    <a:pt x="786" y="805"/>
                  </a:lnTo>
                  <a:lnTo>
                    <a:pt x="786" y="805"/>
                  </a:lnTo>
                  <a:lnTo>
                    <a:pt x="786" y="809"/>
                  </a:lnTo>
                  <a:lnTo>
                    <a:pt x="786" y="809"/>
                  </a:lnTo>
                  <a:lnTo>
                    <a:pt x="782" y="809"/>
                  </a:lnTo>
                  <a:lnTo>
                    <a:pt x="782" y="814"/>
                  </a:lnTo>
                  <a:lnTo>
                    <a:pt x="777" y="814"/>
                  </a:lnTo>
                  <a:lnTo>
                    <a:pt x="777" y="818"/>
                  </a:lnTo>
                  <a:lnTo>
                    <a:pt x="777" y="823"/>
                  </a:lnTo>
                  <a:lnTo>
                    <a:pt x="777" y="827"/>
                  </a:lnTo>
                  <a:lnTo>
                    <a:pt x="777" y="827"/>
                  </a:lnTo>
                  <a:lnTo>
                    <a:pt x="777" y="827"/>
                  </a:lnTo>
                  <a:lnTo>
                    <a:pt x="777" y="832"/>
                  </a:lnTo>
                  <a:lnTo>
                    <a:pt x="782" y="832"/>
                  </a:lnTo>
                  <a:lnTo>
                    <a:pt x="782" y="836"/>
                  </a:lnTo>
                  <a:lnTo>
                    <a:pt x="782" y="836"/>
                  </a:lnTo>
                  <a:lnTo>
                    <a:pt x="782" y="836"/>
                  </a:lnTo>
                  <a:lnTo>
                    <a:pt x="782" y="841"/>
                  </a:lnTo>
                  <a:lnTo>
                    <a:pt x="777" y="841"/>
                  </a:lnTo>
                  <a:lnTo>
                    <a:pt x="782" y="841"/>
                  </a:lnTo>
                  <a:lnTo>
                    <a:pt x="782" y="846"/>
                  </a:lnTo>
                  <a:lnTo>
                    <a:pt x="782" y="846"/>
                  </a:lnTo>
                  <a:lnTo>
                    <a:pt x="777" y="846"/>
                  </a:lnTo>
                  <a:lnTo>
                    <a:pt x="777" y="850"/>
                  </a:lnTo>
                  <a:lnTo>
                    <a:pt x="777" y="850"/>
                  </a:lnTo>
                  <a:lnTo>
                    <a:pt x="777" y="855"/>
                  </a:lnTo>
                  <a:lnTo>
                    <a:pt x="777" y="855"/>
                  </a:lnTo>
                  <a:lnTo>
                    <a:pt x="777" y="855"/>
                  </a:lnTo>
                  <a:lnTo>
                    <a:pt x="777" y="855"/>
                  </a:lnTo>
                  <a:lnTo>
                    <a:pt x="777" y="859"/>
                  </a:lnTo>
                  <a:lnTo>
                    <a:pt x="782" y="859"/>
                  </a:lnTo>
                  <a:lnTo>
                    <a:pt x="782" y="859"/>
                  </a:lnTo>
                  <a:lnTo>
                    <a:pt x="786" y="859"/>
                  </a:lnTo>
                  <a:lnTo>
                    <a:pt x="786" y="859"/>
                  </a:lnTo>
                  <a:lnTo>
                    <a:pt x="791" y="859"/>
                  </a:lnTo>
                  <a:lnTo>
                    <a:pt x="791" y="859"/>
                  </a:lnTo>
                  <a:lnTo>
                    <a:pt x="791" y="864"/>
                  </a:lnTo>
                  <a:lnTo>
                    <a:pt x="791" y="864"/>
                  </a:lnTo>
                  <a:lnTo>
                    <a:pt x="791" y="864"/>
                  </a:lnTo>
                  <a:lnTo>
                    <a:pt x="795" y="868"/>
                  </a:lnTo>
                  <a:lnTo>
                    <a:pt x="800" y="868"/>
                  </a:lnTo>
                  <a:lnTo>
                    <a:pt x="800" y="868"/>
                  </a:lnTo>
                  <a:lnTo>
                    <a:pt x="800" y="873"/>
                  </a:lnTo>
                  <a:lnTo>
                    <a:pt x="800" y="873"/>
                  </a:lnTo>
                  <a:lnTo>
                    <a:pt x="800" y="873"/>
                  </a:lnTo>
                  <a:lnTo>
                    <a:pt x="804" y="873"/>
                  </a:lnTo>
                  <a:lnTo>
                    <a:pt x="804" y="873"/>
                  </a:lnTo>
                  <a:lnTo>
                    <a:pt x="804" y="873"/>
                  </a:lnTo>
                  <a:lnTo>
                    <a:pt x="804" y="877"/>
                  </a:lnTo>
                  <a:lnTo>
                    <a:pt x="809" y="877"/>
                  </a:lnTo>
                  <a:lnTo>
                    <a:pt x="809" y="886"/>
                  </a:lnTo>
                  <a:lnTo>
                    <a:pt x="809" y="886"/>
                  </a:lnTo>
                  <a:lnTo>
                    <a:pt x="809" y="891"/>
                  </a:lnTo>
                  <a:lnTo>
                    <a:pt x="809" y="891"/>
                  </a:lnTo>
                  <a:lnTo>
                    <a:pt x="809" y="895"/>
                  </a:lnTo>
                  <a:lnTo>
                    <a:pt x="804" y="895"/>
                  </a:lnTo>
                  <a:lnTo>
                    <a:pt x="809" y="895"/>
                  </a:lnTo>
                  <a:lnTo>
                    <a:pt x="809" y="900"/>
                  </a:lnTo>
                  <a:lnTo>
                    <a:pt x="804" y="900"/>
                  </a:lnTo>
                  <a:lnTo>
                    <a:pt x="804" y="900"/>
                  </a:lnTo>
                  <a:lnTo>
                    <a:pt x="804" y="904"/>
                  </a:lnTo>
                  <a:lnTo>
                    <a:pt x="804" y="904"/>
                  </a:lnTo>
                  <a:lnTo>
                    <a:pt x="804" y="909"/>
                  </a:lnTo>
                  <a:lnTo>
                    <a:pt x="804" y="913"/>
                  </a:lnTo>
                  <a:lnTo>
                    <a:pt x="809" y="913"/>
                  </a:lnTo>
                  <a:lnTo>
                    <a:pt x="804" y="918"/>
                  </a:lnTo>
                  <a:lnTo>
                    <a:pt x="804" y="918"/>
                  </a:lnTo>
                  <a:lnTo>
                    <a:pt x="804" y="918"/>
                  </a:lnTo>
                  <a:lnTo>
                    <a:pt x="804" y="918"/>
                  </a:lnTo>
                  <a:lnTo>
                    <a:pt x="804" y="918"/>
                  </a:lnTo>
                  <a:lnTo>
                    <a:pt x="804" y="922"/>
                  </a:lnTo>
                  <a:lnTo>
                    <a:pt x="804" y="922"/>
                  </a:lnTo>
                  <a:lnTo>
                    <a:pt x="804" y="922"/>
                  </a:lnTo>
                  <a:lnTo>
                    <a:pt x="804" y="927"/>
                  </a:lnTo>
                  <a:lnTo>
                    <a:pt x="804" y="931"/>
                  </a:lnTo>
                  <a:lnTo>
                    <a:pt x="804" y="931"/>
                  </a:lnTo>
                  <a:lnTo>
                    <a:pt x="804" y="931"/>
                  </a:lnTo>
                  <a:lnTo>
                    <a:pt x="804" y="936"/>
                  </a:lnTo>
                  <a:lnTo>
                    <a:pt x="804" y="940"/>
                  </a:lnTo>
                  <a:lnTo>
                    <a:pt x="804" y="940"/>
                  </a:lnTo>
                  <a:lnTo>
                    <a:pt x="800" y="945"/>
                  </a:lnTo>
                  <a:lnTo>
                    <a:pt x="804" y="945"/>
                  </a:lnTo>
                  <a:lnTo>
                    <a:pt x="804" y="945"/>
                  </a:lnTo>
                  <a:lnTo>
                    <a:pt x="800" y="950"/>
                  </a:lnTo>
                  <a:lnTo>
                    <a:pt x="800" y="954"/>
                  </a:lnTo>
                  <a:lnTo>
                    <a:pt x="800" y="954"/>
                  </a:lnTo>
                  <a:lnTo>
                    <a:pt x="800" y="959"/>
                  </a:lnTo>
                  <a:lnTo>
                    <a:pt x="800" y="959"/>
                  </a:lnTo>
                  <a:lnTo>
                    <a:pt x="804" y="963"/>
                  </a:lnTo>
                  <a:lnTo>
                    <a:pt x="804" y="963"/>
                  </a:lnTo>
                  <a:lnTo>
                    <a:pt x="809" y="968"/>
                  </a:lnTo>
                  <a:lnTo>
                    <a:pt x="809" y="968"/>
                  </a:lnTo>
                  <a:lnTo>
                    <a:pt x="809" y="968"/>
                  </a:lnTo>
                  <a:lnTo>
                    <a:pt x="809" y="972"/>
                  </a:lnTo>
                  <a:lnTo>
                    <a:pt x="813" y="981"/>
                  </a:lnTo>
                  <a:lnTo>
                    <a:pt x="813" y="981"/>
                  </a:lnTo>
                  <a:lnTo>
                    <a:pt x="813" y="986"/>
                  </a:lnTo>
                  <a:lnTo>
                    <a:pt x="813" y="990"/>
                  </a:lnTo>
                  <a:lnTo>
                    <a:pt x="809" y="995"/>
                  </a:lnTo>
                  <a:lnTo>
                    <a:pt x="804" y="995"/>
                  </a:lnTo>
                  <a:lnTo>
                    <a:pt x="804" y="999"/>
                  </a:lnTo>
                  <a:lnTo>
                    <a:pt x="809" y="995"/>
                  </a:lnTo>
                  <a:lnTo>
                    <a:pt x="809" y="999"/>
                  </a:lnTo>
                  <a:lnTo>
                    <a:pt x="809" y="999"/>
                  </a:lnTo>
                  <a:lnTo>
                    <a:pt x="804" y="999"/>
                  </a:lnTo>
                  <a:lnTo>
                    <a:pt x="809" y="1004"/>
                  </a:lnTo>
                  <a:lnTo>
                    <a:pt x="804" y="1004"/>
                  </a:lnTo>
                  <a:lnTo>
                    <a:pt x="804" y="999"/>
                  </a:lnTo>
                  <a:lnTo>
                    <a:pt x="804" y="999"/>
                  </a:lnTo>
                  <a:lnTo>
                    <a:pt x="804" y="999"/>
                  </a:lnTo>
                  <a:lnTo>
                    <a:pt x="804" y="999"/>
                  </a:lnTo>
                  <a:lnTo>
                    <a:pt x="804" y="999"/>
                  </a:lnTo>
                  <a:lnTo>
                    <a:pt x="800" y="999"/>
                  </a:lnTo>
                  <a:lnTo>
                    <a:pt x="800" y="999"/>
                  </a:lnTo>
                  <a:lnTo>
                    <a:pt x="795" y="999"/>
                  </a:lnTo>
                  <a:lnTo>
                    <a:pt x="791" y="999"/>
                  </a:lnTo>
                  <a:lnTo>
                    <a:pt x="791" y="999"/>
                  </a:lnTo>
                  <a:lnTo>
                    <a:pt x="791" y="999"/>
                  </a:lnTo>
                  <a:lnTo>
                    <a:pt x="795" y="1004"/>
                  </a:lnTo>
                  <a:lnTo>
                    <a:pt x="795" y="1004"/>
                  </a:lnTo>
                  <a:lnTo>
                    <a:pt x="795" y="1008"/>
                  </a:lnTo>
                  <a:lnTo>
                    <a:pt x="795" y="1008"/>
                  </a:lnTo>
                  <a:lnTo>
                    <a:pt x="795" y="1008"/>
                  </a:lnTo>
                  <a:lnTo>
                    <a:pt x="795" y="1013"/>
                  </a:lnTo>
                  <a:lnTo>
                    <a:pt x="800" y="1013"/>
                  </a:lnTo>
                  <a:lnTo>
                    <a:pt x="800" y="1013"/>
                  </a:lnTo>
                  <a:lnTo>
                    <a:pt x="800" y="1013"/>
                  </a:lnTo>
                  <a:lnTo>
                    <a:pt x="800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22"/>
                  </a:lnTo>
                  <a:lnTo>
                    <a:pt x="804" y="1022"/>
                  </a:lnTo>
                  <a:lnTo>
                    <a:pt x="809" y="1022"/>
                  </a:lnTo>
                  <a:lnTo>
                    <a:pt x="813" y="1022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22"/>
                  </a:lnTo>
                  <a:lnTo>
                    <a:pt x="813" y="1022"/>
                  </a:lnTo>
                  <a:lnTo>
                    <a:pt x="813" y="1026"/>
                  </a:lnTo>
                  <a:lnTo>
                    <a:pt x="818" y="1031"/>
                  </a:lnTo>
                  <a:lnTo>
                    <a:pt x="818" y="1031"/>
                  </a:lnTo>
                  <a:lnTo>
                    <a:pt x="822" y="1035"/>
                  </a:lnTo>
                  <a:lnTo>
                    <a:pt x="822" y="1040"/>
                  </a:lnTo>
                  <a:lnTo>
                    <a:pt x="822" y="1044"/>
                  </a:lnTo>
                  <a:lnTo>
                    <a:pt x="822" y="1044"/>
                  </a:lnTo>
                  <a:lnTo>
                    <a:pt x="822" y="1044"/>
                  </a:lnTo>
                  <a:lnTo>
                    <a:pt x="822" y="1049"/>
                  </a:lnTo>
                  <a:lnTo>
                    <a:pt x="822" y="1049"/>
                  </a:lnTo>
                  <a:lnTo>
                    <a:pt x="818" y="1054"/>
                  </a:lnTo>
                  <a:lnTo>
                    <a:pt x="818" y="1058"/>
                  </a:lnTo>
                  <a:lnTo>
                    <a:pt x="818" y="1058"/>
                  </a:lnTo>
                  <a:lnTo>
                    <a:pt x="818" y="1063"/>
                  </a:lnTo>
                  <a:lnTo>
                    <a:pt x="818" y="1067"/>
                  </a:lnTo>
                  <a:lnTo>
                    <a:pt x="818" y="1067"/>
                  </a:lnTo>
                  <a:lnTo>
                    <a:pt x="818" y="1067"/>
                  </a:lnTo>
                  <a:lnTo>
                    <a:pt x="818" y="1067"/>
                  </a:lnTo>
                  <a:lnTo>
                    <a:pt x="818" y="1067"/>
                  </a:lnTo>
                  <a:lnTo>
                    <a:pt x="818" y="1067"/>
                  </a:lnTo>
                  <a:lnTo>
                    <a:pt x="822" y="1072"/>
                  </a:lnTo>
                  <a:lnTo>
                    <a:pt x="822" y="1072"/>
                  </a:lnTo>
                  <a:lnTo>
                    <a:pt x="827" y="1076"/>
                  </a:lnTo>
                  <a:lnTo>
                    <a:pt x="827" y="1081"/>
                  </a:lnTo>
                  <a:lnTo>
                    <a:pt x="831" y="1081"/>
                  </a:lnTo>
                  <a:lnTo>
                    <a:pt x="831" y="1085"/>
                  </a:lnTo>
                  <a:lnTo>
                    <a:pt x="836" y="1090"/>
                  </a:lnTo>
                  <a:lnTo>
                    <a:pt x="836" y="1090"/>
                  </a:lnTo>
                  <a:lnTo>
                    <a:pt x="836" y="1094"/>
                  </a:lnTo>
                  <a:lnTo>
                    <a:pt x="836" y="1094"/>
                  </a:lnTo>
                  <a:lnTo>
                    <a:pt x="836" y="1099"/>
                  </a:lnTo>
                  <a:lnTo>
                    <a:pt x="836" y="1103"/>
                  </a:lnTo>
                  <a:lnTo>
                    <a:pt x="836" y="1103"/>
                  </a:lnTo>
                  <a:lnTo>
                    <a:pt x="840" y="1103"/>
                  </a:lnTo>
                  <a:lnTo>
                    <a:pt x="840" y="1103"/>
                  </a:lnTo>
                  <a:lnTo>
                    <a:pt x="845" y="1099"/>
                  </a:lnTo>
                  <a:lnTo>
                    <a:pt x="845" y="1099"/>
                  </a:lnTo>
                  <a:lnTo>
                    <a:pt x="845" y="1099"/>
                  </a:lnTo>
                  <a:lnTo>
                    <a:pt x="849" y="1094"/>
                  </a:lnTo>
                  <a:lnTo>
                    <a:pt x="849" y="1090"/>
                  </a:lnTo>
                  <a:lnTo>
                    <a:pt x="849" y="1090"/>
                  </a:lnTo>
                  <a:lnTo>
                    <a:pt x="845" y="1090"/>
                  </a:lnTo>
                  <a:lnTo>
                    <a:pt x="845" y="1085"/>
                  </a:lnTo>
                  <a:lnTo>
                    <a:pt x="845" y="1085"/>
                  </a:lnTo>
                  <a:lnTo>
                    <a:pt x="845" y="1081"/>
                  </a:lnTo>
                  <a:lnTo>
                    <a:pt x="845" y="1081"/>
                  </a:lnTo>
                  <a:lnTo>
                    <a:pt x="845" y="1081"/>
                  </a:lnTo>
                  <a:lnTo>
                    <a:pt x="845" y="1076"/>
                  </a:lnTo>
                  <a:lnTo>
                    <a:pt x="840" y="1072"/>
                  </a:lnTo>
                  <a:lnTo>
                    <a:pt x="840" y="1072"/>
                  </a:lnTo>
                  <a:lnTo>
                    <a:pt x="840" y="1076"/>
                  </a:lnTo>
                  <a:lnTo>
                    <a:pt x="840" y="1076"/>
                  </a:lnTo>
                  <a:lnTo>
                    <a:pt x="840" y="1076"/>
                  </a:lnTo>
                  <a:lnTo>
                    <a:pt x="840" y="1076"/>
                  </a:lnTo>
                  <a:lnTo>
                    <a:pt x="836" y="1076"/>
                  </a:lnTo>
                  <a:lnTo>
                    <a:pt x="836" y="1076"/>
                  </a:lnTo>
                  <a:lnTo>
                    <a:pt x="836" y="1076"/>
                  </a:lnTo>
                  <a:lnTo>
                    <a:pt x="836" y="1076"/>
                  </a:lnTo>
                  <a:lnTo>
                    <a:pt x="836" y="1076"/>
                  </a:lnTo>
                  <a:lnTo>
                    <a:pt x="836" y="1072"/>
                  </a:lnTo>
                  <a:lnTo>
                    <a:pt x="836" y="1067"/>
                  </a:lnTo>
                  <a:lnTo>
                    <a:pt x="836" y="1067"/>
                  </a:lnTo>
                  <a:lnTo>
                    <a:pt x="840" y="1063"/>
                  </a:lnTo>
                  <a:lnTo>
                    <a:pt x="840" y="1063"/>
                  </a:lnTo>
                  <a:lnTo>
                    <a:pt x="840" y="1058"/>
                  </a:lnTo>
                  <a:lnTo>
                    <a:pt x="836" y="1058"/>
                  </a:lnTo>
                  <a:lnTo>
                    <a:pt x="836" y="1049"/>
                  </a:lnTo>
                  <a:lnTo>
                    <a:pt x="836" y="1049"/>
                  </a:lnTo>
                  <a:lnTo>
                    <a:pt x="836" y="1049"/>
                  </a:lnTo>
                  <a:lnTo>
                    <a:pt x="836" y="1044"/>
                  </a:lnTo>
                  <a:lnTo>
                    <a:pt x="836" y="1040"/>
                  </a:lnTo>
                  <a:lnTo>
                    <a:pt x="836" y="1035"/>
                  </a:lnTo>
                  <a:lnTo>
                    <a:pt x="836" y="1035"/>
                  </a:lnTo>
                  <a:lnTo>
                    <a:pt x="840" y="1031"/>
                  </a:lnTo>
                  <a:lnTo>
                    <a:pt x="840" y="1031"/>
                  </a:lnTo>
                  <a:lnTo>
                    <a:pt x="840" y="1026"/>
                  </a:lnTo>
                  <a:lnTo>
                    <a:pt x="840" y="1026"/>
                  </a:lnTo>
                  <a:lnTo>
                    <a:pt x="840" y="1026"/>
                  </a:lnTo>
                  <a:lnTo>
                    <a:pt x="836" y="1022"/>
                  </a:lnTo>
                  <a:lnTo>
                    <a:pt x="836" y="1022"/>
                  </a:lnTo>
                  <a:lnTo>
                    <a:pt x="836" y="1022"/>
                  </a:lnTo>
                  <a:lnTo>
                    <a:pt x="836" y="1026"/>
                  </a:lnTo>
                  <a:lnTo>
                    <a:pt x="836" y="1026"/>
                  </a:lnTo>
                  <a:lnTo>
                    <a:pt x="836" y="1026"/>
                  </a:lnTo>
                  <a:lnTo>
                    <a:pt x="836" y="1026"/>
                  </a:lnTo>
                  <a:lnTo>
                    <a:pt x="836" y="1026"/>
                  </a:lnTo>
                  <a:lnTo>
                    <a:pt x="836" y="1022"/>
                  </a:lnTo>
                  <a:lnTo>
                    <a:pt x="836" y="1017"/>
                  </a:lnTo>
                  <a:lnTo>
                    <a:pt x="836" y="1017"/>
                  </a:lnTo>
                  <a:lnTo>
                    <a:pt x="836" y="1017"/>
                  </a:lnTo>
                  <a:lnTo>
                    <a:pt x="836" y="1013"/>
                  </a:lnTo>
                  <a:lnTo>
                    <a:pt x="831" y="1013"/>
                  </a:lnTo>
                  <a:lnTo>
                    <a:pt x="831" y="1008"/>
                  </a:lnTo>
                  <a:lnTo>
                    <a:pt x="836" y="1008"/>
                  </a:lnTo>
                  <a:lnTo>
                    <a:pt x="831" y="1004"/>
                  </a:lnTo>
                  <a:lnTo>
                    <a:pt x="831" y="999"/>
                  </a:lnTo>
                  <a:lnTo>
                    <a:pt x="831" y="999"/>
                  </a:lnTo>
                  <a:lnTo>
                    <a:pt x="831" y="995"/>
                  </a:lnTo>
                  <a:lnTo>
                    <a:pt x="831" y="995"/>
                  </a:lnTo>
                  <a:lnTo>
                    <a:pt x="831" y="990"/>
                  </a:lnTo>
                  <a:lnTo>
                    <a:pt x="831" y="990"/>
                  </a:lnTo>
                  <a:lnTo>
                    <a:pt x="831" y="990"/>
                  </a:lnTo>
                  <a:lnTo>
                    <a:pt x="831" y="990"/>
                  </a:lnTo>
                  <a:lnTo>
                    <a:pt x="831" y="986"/>
                  </a:lnTo>
                  <a:lnTo>
                    <a:pt x="831" y="986"/>
                  </a:lnTo>
                  <a:lnTo>
                    <a:pt x="831" y="986"/>
                  </a:lnTo>
                  <a:lnTo>
                    <a:pt x="831" y="981"/>
                  </a:lnTo>
                  <a:lnTo>
                    <a:pt x="831" y="981"/>
                  </a:lnTo>
                  <a:lnTo>
                    <a:pt x="831" y="981"/>
                  </a:lnTo>
                  <a:lnTo>
                    <a:pt x="831" y="981"/>
                  </a:lnTo>
                  <a:lnTo>
                    <a:pt x="831" y="977"/>
                  </a:lnTo>
                  <a:lnTo>
                    <a:pt x="831" y="977"/>
                  </a:lnTo>
                  <a:lnTo>
                    <a:pt x="827" y="977"/>
                  </a:lnTo>
                  <a:lnTo>
                    <a:pt x="827" y="977"/>
                  </a:lnTo>
                  <a:lnTo>
                    <a:pt x="827" y="972"/>
                  </a:lnTo>
                  <a:lnTo>
                    <a:pt x="827" y="968"/>
                  </a:lnTo>
                  <a:lnTo>
                    <a:pt x="827" y="968"/>
                  </a:lnTo>
                  <a:lnTo>
                    <a:pt x="827" y="963"/>
                  </a:lnTo>
                  <a:lnTo>
                    <a:pt x="822" y="959"/>
                  </a:lnTo>
                  <a:lnTo>
                    <a:pt x="822" y="959"/>
                  </a:lnTo>
                  <a:lnTo>
                    <a:pt x="822" y="959"/>
                  </a:lnTo>
                  <a:lnTo>
                    <a:pt x="822" y="954"/>
                  </a:lnTo>
                  <a:lnTo>
                    <a:pt x="822" y="950"/>
                  </a:lnTo>
                  <a:lnTo>
                    <a:pt x="822" y="950"/>
                  </a:lnTo>
                  <a:lnTo>
                    <a:pt x="822" y="945"/>
                  </a:lnTo>
                  <a:lnTo>
                    <a:pt x="827" y="940"/>
                  </a:lnTo>
                  <a:lnTo>
                    <a:pt x="827" y="940"/>
                  </a:lnTo>
                  <a:lnTo>
                    <a:pt x="827" y="936"/>
                  </a:lnTo>
                  <a:lnTo>
                    <a:pt x="827" y="931"/>
                  </a:lnTo>
                  <a:lnTo>
                    <a:pt x="827" y="931"/>
                  </a:lnTo>
                  <a:lnTo>
                    <a:pt x="831" y="922"/>
                  </a:lnTo>
                  <a:lnTo>
                    <a:pt x="831" y="922"/>
                  </a:lnTo>
                  <a:lnTo>
                    <a:pt x="836" y="918"/>
                  </a:lnTo>
                  <a:lnTo>
                    <a:pt x="836" y="918"/>
                  </a:lnTo>
                  <a:lnTo>
                    <a:pt x="836" y="913"/>
                  </a:lnTo>
                  <a:lnTo>
                    <a:pt x="836" y="918"/>
                  </a:lnTo>
                  <a:lnTo>
                    <a:pt x="836" y="918"/>
                  </a:lnTo>
                  <a:lnTo>
                    <a:pt x="836" y="918"/>
                  </a:lnTo>
                  <a:lnTo>
                    <a:pt x="836" y="918"/>
                  </a:lnTo>
                  <a:lnTo>
                    <a:pt x="840" y="922"/>
                  </a:lnTo>
                  <a:lnTo>
                    <a:pt x="840" y="922"/>
                  </a:lnTo>
                  <a:lnTo>
                    <a:pt x="845" y="922"/>
                  </a:lnTo>
                  <a:lnTo>
                    <a:pt x="845" y="922"/>
                  </a:lnTo>
                  <a:lnTo>
                    <a:pt x="845" y="922"/>
                  </a:lnTo>
                  <a:lnTo>
                    <a:pt x="845" y="922"/>
                  </a:lnTo>
                  <a:lnTo>
                    <a:pt x="849" y="922"/>
                  </a:lnTo>
                  <a:lnTo>
                    <a:pt x="849" y="922"/>
                  </a:lnTo>
                  <a:lnTo>
                    <a:pt x="849" y="927"/>
                  </a:lnTo>
                  <a:lnTo>
                    <a:pt x="849" y="927"/>
                  </a:lnTo>
                  <a:lnTo>
                    <a:pt x="849" y="927"/>
                  </a:lnTo>
                  <a:lnTo>
                    <a:pt x="854" y="931"/>
                  </a:lnTo>
                  <a:lnTo>
                    <a:pt x="854" y="931"/>
                  </a:lnTo>
                  <a:lnTo>
                    <a:pt x="854" y="931"/>
                  </a:lnTo>
                  <a:lnTo>
                    <a:pt x="854" y="931"/>
                  </a:lnTo>
                  <a:lnTo>
                    <a:pt x="854" y="936"/>
                  </a:lnTo>
                  <a:lnTo>
                    <a:pt x="854" y="936"/>
                  </a:lnTo>
                  <a:lnTo>
                    <a:pt x="854" y="936"/>
                  </a:lnTo>
                  <a:lnTo>
                    <a:pt x="854" y="936"/>
                  </a:lnTo>
                  <a:lnTo>
                    <a:pt x="854" y="936"/>
                  </a:lnTo>
                  <a:lnTo>
                    <a:pt x="854" y="936"/>
                  </a:lnTo>
                  <a:lnTo>
                    <a:pt x="849" y="940"/>
                  </a:lnTo>
                  <a:lnTo>
                    <a:pt x="849" y="940"/>
                  </a:lnTo>
                  <a:lnTo>
                    <a:pt x="849" y="945"/>
                  </a:lnTo>
                  <a:lnTo>
                    <a:pt x="849" y="950"/>
                  </a:lnTo>
                  <a:lnTo>
                    <a:pt x="849" y="954"/>
                  </a:lnTo>
                  <a:lnTo>
                    <a:pt x="849" y="959"/>
                  </a:lnTo>
                  <a:lnTo>
                    <a:pt x="849" y="959"/>
                  </a:lnTo>
                  <a:lnTo>
                    <a:pt x="849" y="959"/>
                  </a:lnTo>
                  <a:lnTo>
                    <a:pt x="849" y="963"/>
                  </a:lnTo>
                  <a:lnTo>
                    <a:pt x="849" y="968"/>
                  </a:lnTo>
                  <a:lnTo>
                    <a:pt x="849" y="968"/>
                  </a:lnTo>
                  <a:lnTo>
                    <a:pt x="849" y="968"/>
                  </a:lnTo>
                  <a:lnTo>
                    <a:pt x="849" y="968"/>
                  </a:lnTo>
                  <a:lnTo>
                    <a:pt x="849" y="972"/>
                  </a:lnTo>
                  <a:lnTo>
                    <a:pt x="849" y="972"/>
                  </a:lnTo>
                  <a:lnTo>
                    <a:pt x="849" y="977"/>
                  </a:lnTo>
                  <a:lnTo>
                    <a:pt x="849" y="977"/>
                  </a:lnTo>
                  <a:lnTo>
                    <a:pt x="849" y="981"/>
                  </a:lnTo>
                  <a:lnTo>
                    <a:pt x="849" y="981"/>
                  </a:lnTo>
                  <a:lnTo>
                    <a:pt x="849" y="981"/>
                  </a:lnTo>
                  <a:lnTo>
                    <a:pt x="849" y="981"/>
                  </a:lnTo>
                  <a:lnTo>
                    <a:pt x="849" y="986"/>
                  </a:lnTo>
                  <a:lnTo>
                    <a:pt x="854" y="986"/>
                  </a:lnTo>
                  <a:lnTo>
                    <a:pt x="854" y="990"/>
                  </a:lnTo>
                  <a:lnTo>
                    <a:pt x="854" y="990"/>
                  </a:lnTo>
                  <a:lnTo>
                    <a:pt x="854" y="995"/>
                  </a:lnTo>
                  <a:lnTo>
                    <a:pt x="858" y="999"/>
                  </a:lnTo>
                  <a:lnTo>
                    <a:pt x="858" y="999"/>
                  </a:lnTo>
                  <a:lnTo>
                    <a:pt x="858" y="999"/>
                  </a:lnTo>
                  <a:lnTo>
                    <a:pt x="863" y="999"/>
                  </a:lnTo>
                  <a:lnTo>
                    <a:pt x="863" y="999"/>
                  </a:lnTo>
                  <a:lnTo>
                    <a:pt x="867" y="1004"/>
                  </a:lnTo>
                  <a:lnTo>
                    <a:pt x="863" y="1004"/>
                  </a:lnTo>
                  <a:lnTo>
                    <a:pt x="863" y="1004"/>
                  </a:lnTo>
                  <a:lnTo>
                    <a:pt x="863" y="1008"/>
                  </a:lnTo>
                  <a:lnTo>
                    <a:pt x="863" y="1008"/>
                  </a:lnTo>
                  <a:lnTo>
                    <a:pt x="863" y="1013"/>
                  </a:lnTo>
                  <a:lnTo>
                    <a:pt x="863" y="1013"/>
                  </a:lnTo>
                  <a:lnTo>
                    <a:pt x="863" y="1013"/>
                  </a:lnTo>
                  <a:lnTo>
                    <a:pt x="863" y="1017"/>
                  </a:lnTo>
                  <a:lnTo>
                    <a:pt x="867" y="1017"/>
                  </a:lnTo>
                  <a:lnTo>
                    <a:pt x="867" y="1017"/>
                  </a:lnTo>
                  <a:lnTo>
                    <a:pt x="867" y="1022"/>
                  </a:lnTo>
                  <a:lnTo>
                    <a:pt x="867" y="1022"/>
                  </a:lnTo>
                  <a:lnTo>
                    <a:pt x="867" y="1026"/>
                  </a:lnTo>
                  <a:lnTo>
                    <a:pt x="867" y="1026"/>
                  </a:lnTo>
                  <a:lnTo>
                    <a:pt x="867" y="1026"/>
                  </a:lnTo>
                  <a:lnTo>
                    <a:pt x="872" y="1026"/>
                  </a:lnTo>
                  <a:lnTo>
                    <a:pt x="876" y="1031"/>
                  </a:lnTo>
                  <a:lnTo>
                    <a:pt x="876" y="1031"/>
                  </a:lnTo>
                  <a:lnTo>
                    <a:pt x="876" y="1031"/>
                  </a:lnTo>
                  <a:lnTo>
                    <a:pt x="876" y="1035"/>
                  </a:lnTo>
                  <a:lnTo>
                    <a:pt x="876" y="1035"/>
                  </a:lnTo>
                  <a:lnTo>
                    <a:pt x="876" y="1035"/>
                  </a:lnTo>
                  <a:lnTo>
                    <a:pt x="876" y="1035"/>
                  </a:lnTo>
                  <a:lnTo>
                    <a:pt x="876" y="1035"/>
                  </a:lnTo>
                  <a:lnTo>
                    <a:pt x="872" y="1035"/>
                  </a:lnTo>
                  <a:lnTo>
                    <a:pt x="872" y="1040"/>
                  </a:lnTo>
                  <a:lnTo>
                    <a:pt x="867" y="1040"/>
                  </a:lnTo>
                  <a:lnTo>
                    <a:pt x="867" y="1044"/>
                  </a:lnTo>
                  <a:lnTo>
                    <a:pt x="867" y="1049"/>
                  </a:lnTo>
                  <a:lnTo>
                    <a:pt x="867" y="1049"/>
                  </a:lnTo>
                  <a:lnTo>
                    <a:pt x="867" y="1049"/>
                  </a:lnTo>
                  <a:lnTo>
                    <a:pt x="872" y="1049"/>
                  </a:lnTo>
                  <a:lnTo>
                    <a:pt x="872" y="1049"/>
                  </a:lnTo>
                  <a:lnTo>
                    <a:pt x="872" y="1049"/>
                  </a:lnTo>
                  <a:lnTo>
                    <a:pt x="876" y="1044"/>
                  </a:lnTo>
                  <a:lnTo>
                    <a:pt x="876" y="1049"/>
                  </a:lnTo>
                  <a:lnTo>
                    <a:pt x="872" y="1049"/>
                  </a:lnTo>
                  <a:lnTo>
                    <a:pt x="872" y="1049"/>
                  </a:lnTo>
                  <a:lnTo>
                    <a:pt x="872" y="1049"/>
                  </a:lnTo>
                  <a:lnTo>
                    <a:pt x="872" y="1054"/>
                  </a:lnTo>
                  <a:lnTo>
                    <a:pt x="872" y="1049"/>
                  </a:lnTo>
                  <a:lnTo>
                    <a:pt x="872" y="1049"/>
                  </a:lnTo>
                  <a:lnTo>
                    <a:pt x="876" y="1049"/>
                  </a:lnTo>
                  <a:lnTo>
                    <a:pt x="876" y="1054"/>
                  </a:lnTo>
                  <a:lnTo>
                    <a:pt x="876" y="1054"/>
                  </a:lnTo>
                  <a:lnTo>
                    <a:pt x="876" y="1058"/>
                  </a:lnTo>
                  <a:lnTo>
                    <a:pt x="881" y="1058"/>
                  </a:lnTo>
                  <a:lnTo>
                    <a:pt x="881" y="1058"/>
                  </a:lnTo>
                  <a:lnTo>
                    <a:pt x="885" y="1063"/>
                  </a:lnTo>
                  <a:lnTo>
                    <a:pt x="885" y="1063"/>
                  </a:lnTo>
                  <a:lnTo>
                    <a:pt x="881" y="1063"/>
                  </a:lnTo>
                  <a:lnTo>
                    <a:pt x="881" y="1063"/>
                  </a:lnTo>
                  <a:lnTo>
                    <a:pt x="881" y="1063"/>
                  </a:lnTo>
                  <a:lnTo>
                    <a:pt x="881" y="1063"/>
                  </a:lnTo>
                  <a:lnTo>
                    <a:pt x="881" y="1058"/>
                  </a:lnTo>
                  <a:lnTo>
                    <a:pt x="881" y="1063"/>
                  </a:lnTo>
                  <a:lnTo>
                    <a:pt x="881" y="1067"/>
                  </a:lnTo>
                  <a:lnTo>
                    <a:pt x="881" y="1067"/>
                  </a:lnTo>
                  <a:lnTo>
                    <a:pt x="881" y="1072"/>
                  </a:lnTo>
                  <a:lnTo>
                    <a:pt x="885" y="1072"/>
                  </a:lnTo>
                  <a:lnTo>
                    <a:pt x="885" y="1072"/>
                  </a:lnTo>
                  <a:lnTo>
                    <a:pt x="885" y="1072"/>
                  </a:lnTo>
                  <a:lnTo>
                    <a:pt x="885" y="1072"/>
                  </a:lnTo>
                  <a:lnTo>
                    <a:pt x="885" y="1072"/>
                  </a:lnTo>
                  <a:lnTo>
                    <a:pt x="890" y="1072"/>
                  </a:lnTo>
                  <a:lnTo>
                    <a:pt x="890" y="1076"/>
                  </a:lnTo>
                  <a:lnTo>
                    <a:pt x="885" y="1076"/>
                  </a:lnTo>
                  <a:lnTo>
                    <a:pt x="885" y="1076"/>
                  </a:lnTo>
                  <a:lnTo>
                    <a:pt x="885" y="1072"/>
                  </a:lnTo>
                  <a:lnTo>
                    <a:pt x="885" y="1072"/>
                  </a:lnTo>
                  <a:lnTo>
                    <a:pt x="890" y="1081"/>
                  </a:lnTo>
                  <a:lnTo>
                    <a:pt x="895" y="1085"/>
                  </a:lnTo>
                  <a:lnTo>
                    <a:pt x="895" y="1090"/>
                  </a:lnTo>
                  <a:lnTo>
                    <a:pt x="895" y="1094"/>
                  </a:lnTo>
                  <a:lnTo>
                    <a:pt x="899" y="1099"/>
                  </a:lnTo>
                  <a:lnTo>
                    <a:pt x="899" y="1103"/>
                  </a:lnTo>
                  <a:lnTo>
                    <a:pt x="899" y="1108"/>
                  </a:lnTo>
                  <a:lnTo>
                    <a:pt x="904" y="1108"/>
                  </a:lnTo>
                  <a:lnTo>
                    <a:pt x="904" y="1112"/>
                  </a:lnTo>
                  <a:lnTo>
                    <a:pt x="904" y="1117"/>
                  </a:lnTo>
                  <a:lnTo>
                    <a:pt x="904" y="1126"/>
                  </a:lnTo>
                  <a:lnTo>
                    <a:pt x="904" y="1130"/>
                  </a:lnTo>
                  <a:lnTo>
                    <a:pt x="904" y="1130"/>
                  </a:lnTo>
                  <a:lnTo>
                    <a:pt x="904" y="1135"/>
                  </a:lnTo>
                  <a:lnTo>
                    <a:pt x="908" y="1135"/>
                  </a:lnTo>
                  <a:lnTo>
                    <a:pt x="904" y="1139"/>
                  </a:lnTo>
                  <a:lnTo>
                    <a:pt x="904" y="1139"/>
                  </a:lnTo>
                  <a:lnTo>
                    <a:pt x="904" y="1144"/>
                  </a:lnTo>
                  <a:lnTo>
                    <a:pt x="904" y="1144"/>
                  </a:lnTo>
                  <a:lnTo>
                    <a:pt x="899" y="1148"/>
                  </a:lnTo>
                  <a:lnTo>
                    <a:pt x="899" y="1148"/>
                  </a:lnTo>
                  <a:lnTo>
                    <a:pt x="895" y="1148"/>
                  </a:lnTo>
                  <a:lnTo>
                    <a:pt x="895" y="1148"/>
                  </a:lnTo>
                  <a:lnTo>
                    <a:pt x="899" y="1148"/>
                  </a:lnTo>
                  <a:lnTo>
                    <a:pt x="899" y="1148"/>
                  </a:lnTo>
                  <a:lnTo>
                    <a:pt x="899" y="1153"/>
                  </a:lnTo>
                  <a:lnTo>
                    <a:pt x="899" y="1153"/>
                  </a:lnTo>
                  <a:lnTo>
                    <a:pt x="899" y="1153"/>
                  </a:lnTo>
                  <a:lnTo>
                    <a:pt x="899" y="1158"/>
                  </a:lnTo>
                  <a:lnTo>
                    <a:pt x="895" y="1158"/>
                  </a:lnTo>
                  <a:lnTo>
                    <a:pt x="890" y="1158"/>
                  </a:lnTo>
                  <a:lnTo>
                    <a:pt x="890" y="1158"/>
                  </a:lnTo>
                  <a:lnTo>
                    <a:pt x="890" y="1158"/>
                  </a:lnTo>
                  <a:lnTo>
                    <a:pt x="890" y="1162"/>
                  </a:lnTo>
                  <a:lnTo>
                    <a:pt x="890" y="1162"/>
                  </a:lnTo>
                  <a:lnTo>
                    <a:pt x="890" y="1167"/>
                  </a:lnTo>
                  <a:lnTo>
                    <a:pt x="895" y="1171"/>
                  </a:lnTo>
                  <a:lnTo>
                    <a:pt x="895" y="1176"/>
                  </a:lnTo>
                  <a:lnTo>
                    <a:pt x="895" y="1176"/>
                  </a:lnTo>
                  <a:lnTo>
                    <a:pt x="899" y="1180"/>
                  </a:lnTo>
                  <a:lnTo>
                    <a:pt x="904" y="1185"/>
                  </a:lnTo>
                  <a:lnTo>
                    <a:pt x="904" y="1185"/>
                  </a:lnTo>
                  <a:lnTo>
                    <a:pt x="908" y="1185"/>
                  </a:lnTo>
                  <a:lnTo>
                    <a:pt x="913" y="1189"/>
                  </a:lnTo>
                  <a:lnTo>
                    <a:pt x="913" y="1189"/>
                  </a:lnTo>
                  <a:lnTo>
                    <a:pt x="913" y="1194"/>
                  </a:lnTo>
                  <a:lnTo>
                    <a:pt x="917" y="1198"/>
                  </a:lnTo>
                  <a:lnTo>
                    <a:pt x="917" y="1203"/>
                  </a:lnTo>
                  <a:lnTo>
                    <a:pt x="926" y="1203"/>
                  </a:lnTo>
                  <a:lnTo>
                    <a:pt x="931" y="1207"/>
                  </a:lnTo>
                  <a:lnTo>
                    <a:pt x="931" y="1207"/>
                  </a:lnTo>
                  <a:lnTo>
                    <a:pt x="935" y="1207"/>
                  </a:lnTo>
                  <a:lnTo>
                    <a:pt x="940" y="1207"/>
                  </a:lnTo>
                  <a:lnTo>
                    <a:pt x="940" y="1207"/>
                  </a:lnTo>
                  <a:lnTo>
                    <a:pt x="944" y="1212"/>
                  </a:lnTo>
                  <a:lnTo>
                    <a:pt x="944" y="1212"/>
                  </a:lnTo>
                  <a:lnTo>
                    <a:pt x="944" y="1216"/>
                  </a:lnTo>
                  <a:lnTo>
                    <a:pt x="949" y="1216"/>
                  </a:lnTo>
                  <a:lnTo>
                    <a:pt x="949" y="1221"/>
                  </a:lnTo>
                  <a:lnTo>
                    <a:pt x="953" y="1221"/>
                  </a:lnTo>
                  <a:lnTo>
                    <a:pt x="953" y="1225"/>
                  </a:lnTo>
                  <a:lnTo>
                    <a:pt x="958" y="1225"/>
                  </a:lnTo>
                  <a:lnTo>
                    <a:pt x="962" y="1230"/>
                  </a:lnTo>
                  <a:lnTo>
                    <a:pt x="967" y="1230"/>
                  </a:lnTo>
                  <a:lnTo>
                    <a:pt x="967" y="1230"/>
                  </a:lnTo>
                  <a:lnTo>
                    <a:pt x="971" y="1234"/>
                  </a:lnTo>
                  <a:lnTo>
                    <a:pt x="980" y="1239"/>
                  </a:lnTo>
                  <a:lnTo>
                    <a:pt x="985" y="1239"/>
                  </a:lnTo>
                  <a:lnTo>
                    <a:pt x="985" y="1239"/>
                  </a:lnTo>
                  <a:lnTo>
                    <a:pt x="989" y="1239"/>
                  </a:lnTo>
                  <a:lnTo>
                    <a:pt x="989" y="1243"/>
                  </a:lnTo>
                  <a:lnTo>
                    <a:pt x="998" y="1248"/>
                  </a:lnTo>
                  <a:lnTo>
                    <a:pt x="1003" y="1252"/>
                  </a:lnTo>
                  <a:lnTo>
                    <a:pt x="1012" y="1252"/>
                  </a:lnTo>
                  <a:lnTo>
                    <a:pt x="1017" y="1257"/>
                  </a:lnTo>
                  <a:lnTo>
                    <a:pt x="1021" y="1257"/>
                  </a:lnTo>
                  <a:lnTo>
                    <a:pt x="1026" y="1257"/>
                  </a:lnTo>
                  <a:lnTo>
                    <a:pt x="1030" y="1257"/>
                  </a:lnTo>
                  <a:lnTo>
                    <a:pt x="1035" y="1252"/>
                  </a:lnTo>
                  <a:lnTo>
                    <a:pt x="1044" y="1252"/>
                  </a:lnTo>
                  <a:lnTo>
                    <a:pt x="1048" y="1248"/>
                  </a:lnTo>
                  <a:lnTo>
                    <a:pt x="1053" y="1248"/>
                  </a:lnTo>
                  <a:lnTo>
                    <a:pt x="1053" y="1248"/>
                  </a:lnTo>
                  <a:lnTo>
                    <a:pt x="1053" y="1248"/>
                  </a:lnTo>
                  <a:lnTo>
                    <a:pt x="1053" y="1248"/>
                  </a:lnTo>
                  <a:lnTo>
                    <a:pt x="1053" y="1248"/>
                  </a:lnTo>
                  <a:lnTo>
                    <a:pt x="1053" y="1248"/>
                  </a:lnTo>
                  <a:lnTo>
                    <a:pt x="1053" y="1243"/>
                  </a:lnTo>
                  <a:lnTo>
                    <a:pt x="1053" y="1243"/>
                  </a:lnTo>
                  <a:lnTo>
                    <a:pt x="1053" y="1243"/>
                  </a:lnTo>
                  <a:lnTo>
                    <a:pt x="1057" y="1243"/>
                  </a:lnTo>
                  <a:lnTo>
                    <a:pt x="1057" y="1248"/>
                  </a:lnTo>
                  <a:lnTo>
                    <a:pt x="1057" y="1248"/>
                  </a:lnTo>
                  <a:lnTo>
                    <a:pt x="1057" y="1248"/>
                  </a:lnTo>
                  <a:lnTo>
                    <a:pt x="1057" y="1248"/>
                  </a:lnTo>
                  <a:lnTo>
                    <a:pt x="1057" y="1248"/>
                  </a:lnTo>
                  <a:lnTo>
                    <a:pt x="1057" y="1248"/>
                  </a:lnTo>
                  <a:lnTo>
                    <a:pt x="1057" y="1248"/>
                  </a:lnTo>
                  <a:lnTo>
                    <a:pt x="1057" y="1248"/>
                  </a:lnTo>
                  <a:lnTo>
                    <a:pt x="1062" y="1248"/>
                  </a:lnTo>
                  <a:lnTo>
                    <a:pt x="1066" y="1252"/>
                  </a:lnTo>
                  <a:lnTo>
                    <a:pt x="1066" y="1252"/>
                  </a:lnTo>
                  <a:lnTo>
                    <a:pt x="1066" y="1248"/>
                  </a:lnTo>
                  <a:lnTo>
                    <a:pt x="1062" y="1248"/>
                  </a:lnTo>
                  <a:lnTo>
                    <a:pt x="1062" y="1248"/>
                  </a:lnTo>
                  <a:lnTo>
                    <a:pt x="1062" y="1248"/>
                  </a:lnTo>
                  <a:lnTo>
                    <a:pt x="1062" y="1248"/>
                  </a:lnTo>
                  <a:lnTo>
                    <a:pt x="1062" y="1248"/>
                  </a:lnTo>
                  <a:lnTo>
                    <a:pt x="1062" y="1248"/>
                  </a:lnTo>
                  <a:lnTo>
                    <a:pt x="1062" y="1248"/>
                  </a:lnTo>
                  <a:lnTo>
                    <a:pt x="1066" y="1248"/>
                  </a:lnTo>
                  <a:lnTo>
                    <a:pt x="1066" y="1248"/>
                  </a:lnTo>
                  <a:lnTo>
                    <a:pt x="1071" y="1252"/>
                  </a:lnTo>
                  <a:lnTo>
                    <a:pt x="1071" y="1257"/>
                  </a:lnTo>
                  <a:lnTo>
                    <a:pt x="1075" y="1257"/>
                  </a:lnTo>
                  <a:lnTo>
                    <a:pt x="1080" y="1266"/>
                  </a:lnTo>
                  <a:lnTo>
                    <a:pt x="1080" y="1266"/>
                  </a:lnTo>
                  <a:lnTo>
                    <a:pt x="1084" y="1271"/>
                  </a:lnTo>
                  <a:lnTo>
                    <a:pt x="1084" y="1271"/>
                  </a:lnTo>
                  <a:lnTo>
                    <a:pt x="1089" y="1275"/>
                  </a:lnTo>
                  <a:lnTo>
                    <a:pt x="1093" y="1284"/>
                  </a:lnTo>
                  <a:lnTo>
                    <a:pt x="1093" y="1284"/>
                  </a:lnTo>
                  <a:lnTo>
                    <a:pt x="1098" y="1289"/>
                  </a:lnTo>
                  <a:lnTo>
                    <a:pt x="1102" y="1293"/>
                  </a:lnTo>
                  <a:lnTo>
                    <a:pt x="1107" y="1293"/>
                  </a:lnTo>
                  <a:lnTo>
                    <a:pt x="1107" y="1298"/>
                  </a:lnTo>
                  <a:lnTo>
                    <a:pt x="1116" y="1298"/>
                  </a:lnTo>
                  <a:lnTo>
                    <a:pt x="1120" y="1298"/>
                  </a:lnTo>
                  <a:lnTo>
                    <a:pt x="1125" y="1302"/>
                  </a:lnTo>
                  <a:lnTo>
                    <a:pt x="1129" y="1302"/>
                  </a:lnTo>
                  <a:lnTo>
                    <a:pt x="1129" y="1302"/>
                  </a:lnTo>
                  <a:lnTo>
                    <a:pt x="1134" y="1307"/>
                  </a:lnTo>
                  <a:lnTo>
                    <a:pt x="1138" y="1307"/>
                  </a:lnTo>
                  <a:lnTo>
                    <a:pt x="1148" y="1311"/>
                  </a:lnTo>
                  <a:lnTo>
                    <a:pt x="1152" y="1311"/>
                  </a:lnTo>
                  <a:lnTo>
                    <a:pt x="1152" y="1311"/>
                  </a:lnTo>
                  <a:lnTo>
                    <a:pt x="1152" y="1311"/>
                  </a:lnTo>
                  <a:lnTo>
                    <a:pt x="1148" y="1311"/>
                  </a:lnTo>
                  <a:lnTo>
                    <a:pt x="1148" y="1311"/>
                  </a:lnTo>
                  <a:lnTo>
                    <a:pt x="1152" y="1311"/>
                  </a:lnTo>
                  <a:lnTo>
                    <a:pt x="1152" y="1311"/>
                  </a:lnTo>
                  <a:lnTo>
                    <a:pt x="1157" y="1311"/>
                  </a:lnTo>
                  <a:lnTo>
                    <a:pt x="1161" y="1311"/>
                  </a:lnTo>
                  <a:lnTo>
                    <a:pt x="1161" y="1311"/>
                  </a:lnTo>
                  <a:lnTo>
                    <a:pt x="1161" y="1311"/>
                  </a:lnTo>
                  <a:lnTo>
                    <a:pt x="1166" y="1311"/>
                  </a:lnTo>
                  <a:lnTo>
                    <a:pt x="1166" y="1307"/>
                  </a:lnTo>
                  <a:lnTo>
                    <a:pt x="1166" y="1307"/>
                  </a:lnTo>
                  <a:lnTo>
                    <a:pt x="1166" y="1307"/>
                  </a:lnTo>
                  <a:lnTo>
                    <a:pt x="1166" y="1307"/>
                  </a:lnTo>
                  <a:lnTo>
                    <a:pt x="1166" y="1307"/>
                  </a:lnTo>
                  <a:lnTo>
                    <a:pt x="1170" y="1307"/>
                  </a:lnTo>
                  <a:lnTo>
                    <a:pt x="1170" y="1311"/>
                  </a:lnTo>
                  <a:lnTo>
                    <a:pt x="1170" y="1311"/>
                  </a:lnTo>
                  <a:lnTo>
                    <a:pt x="1170" y="1311"/>
                  </a:lnTo>
                  <a:lnTo>
                    <a:pt x="1170" y="1311"/>
                  </a:lnTo>
                  <a:lnTo>
                    <a:pt x="1170" y="1316"/>
                  </a:lnTo>
                  <a:lnTo>
                    <a:pt x="1170" y="1316"/>
                  </a:lnTo>
                  <a:lnTo>
                    <a:pt x="1170" y="1316"/>
                  </a:lnTo>
                  <a:lnTo>
                    <a:pt x="1170" y="1316"/>
                  </a:lnTo>
                  <a:lnTo>
                    <a:pt x="1170" y="1316"/>
                  </a:lnTo>
                  <a:lnTo>
                    <a:pt x="1170" y="1316"/>
                  </a:lnTo>
                  <a:lnTo>
                    <a:pt x="1166" y="1316"/>
                  </a:lnTo>
                  <a:lnTo>
                    <a:pt x="1166" y="1316"/>
                  </a:lnTo>
                  <a:lnTo>
                    <a:pt x="1166" y="1316"/>
                  </a:lnTo>
                  <a:lnTo>
                    <a:pt x="1166" y="1316"/>
                  </a:lnTo>
                  <a:lnTo>
                    <a:pt x="1170" y="1320"/>
                  </a:lnTo>
                  <a:lnTo>
                    <a:pt x="1170" y="1325"/>
                  </a:lnTo>
                  <a:lnTo>
                    <a:pt x="1175" y="1329"/>
                  </a:lnTo>
                  <a:lnTo>
                    <a:pt x="1179" y="1329"/>
                  </a:lnTo>
                  <a:lnTo>
                    <a:pt x="1179" y="1334"/>
                  </a:lnTo>
                  <a:lnTo>
                    <a:pt x="1179" y="1338"/>
                  </a:lnTo>
                  <a:lnTo>
                    <a:pt x="1184" y="1343"/>
                  </a:lnTo>
                  <a:lnTo>
                    <a:pt x="1188" y="1352"/>
                  </a:lnTo>
                  <a:lnTo>
                    <a:pt x="1193" y="1352"/>
                  </a:lnTo>
                  <a:lnTo>
                    <a:pt x="1193" y="1356"/>
                  </a:lnTo>
                  <a:lnTo>
                    <a:pt x="1193" y="1356"/>
                  </a:lnTo>
                  <a:lnTo>
                    <a:pt x="1193" y="1356"/>
                  </a:lnTo>
                  <a:lnTo>
                    <a:pt x="1193" y="1356"/>
                  </a:lnTo>
                  <a:lnTo>
                    <a:pt x="1188" y="1356"/>
                  </a:lnTo>
                  <a:lnTo>
                    <a:pt x="1188" y="1356"/>
                  </a:lnTo>
                  <a:lnTo>
                    <a:pt x="1193" y="1361"/>
                  </a:lnTo>
                  <a:lnTo>
                    <a:pt x="1193" y="1361"/>
                  </a:lnTo>
                  <a:lnTo>
                    <a:pt x="1193" y="1361"/>
                  </a:lnTo>
                  <a:lnTo>
                    <a:pt x="1193" y="1361"/>
                  </a:lnTo>
                  <a:lnTo>
                    <a:pt x="1193" y="1365"/>
                  </a:lnTo>
                  <a:lnTo>
                    <a:pt x="1193" y="1365"/>
                  </a:lnTo>
                  <a:lnTo>
                    <a:pt x="1188" y="1370"/>
                  </a:lnTo>
                  <a:lnTo>
                    <a:pt x="1188" y="1370"/>
                  </a:lnTo>
                  <a:lnTo>
                    <a:pt x="1188" y="1375"/>
                  </a:lnTo>
                  <a:lnTo>
                    <a:pt x="1193" y="1379"/>
                  </a:lnTo>
                  <a:lnTo>
                    <a:pt x="1193" y="1379"/>
                  </a:lnTo>
                  <a:lnTo>
                    <a:pt x="1197" y="1379"/>
                  </a:lnTo>
                  <a:lnTo>
                    <a:pt x="1202" y="1384"/>
                  </a:lnTo>
                  <a:lnTo>
                    <a:pt x="1202" y="1384"/>
                  </a:lnTo>
                  <a:lnTo>
                    <a:pt x="1202" y="1384"/>
                  </a:lnTo>
                  <a:lnTo>
                    <a:pt x="1202" y="1384"/>
                  </a:lnTo>
                  <a:lnTo>
                    <a:pt x="1202" y="1384"/>
                  </a:lnTo>
                  <a:lnTo>
                    <a:pt x="1206" y="1379"/>
                  </a:lnTo>
                  <a:lnTo>
                    <a:pt x="1206" y="1379"/>
                  </a:lnTo>
                  <a:lnTo>
                    <a:pt x="1202" y="1379"/>
                  </a:lnTo>
                  <a:lnTo>
                    <a:pt x="1202" y="1375"/>
                  </a:lnTo>
                  <a:lnTo>
                    <a:pt x="1202" y="1375"/>
                  </a:lnTo>
                  <a:lnTo>
                    <a:pt x="1202" y="1370"/>
                  </a:lnTo>
                  <a:lnTo>
                    <a:pt x="1202" y="1370"/>
                  </a:lnTo>
                  <a:lnTo>
                    <a:pt x="1202" y="1375"/>
                  </a:lnTo>
                  <a:lnTo>
                    <a:pt x="1202" y="1375"/>
                  </a:lnTo>
                  <a:lnTo>
                    <a:pt x="1206" y="1379"/>
                  </a:lnTo>
                  <a:lnTo>
                    <a:pt x="1211" y="1379"/>
                  </a:lnTo>
                  <a:lnTo>
                    <a:pt x="1211" y="1384"/>
                  </a:lnTo>
                  <a:lnTo>
                    <a:pt x="1211" y="1384"/>
                  </a:lnTo>
                  <a:lnTo>
                    <a:pt x="1211" y="1384"/>
                  </a:lnTo>
                  <a:lnTo>
                    <a:pt x="1211" y="1388"/>
                  </a:lnTo>
                  <a:lnTo>
                    <a:pt x="1215" y="1388"/>
                  </a:lnTo>
                  <a:lnTo>
                    <a:pt x="1215" y="1388"/>
                  </a:lnTo>
                  <a:lnTo>
                    <a:pt x="1220" y="1393"/>
                  </a:lnTo>
                  <a:lnTo>
                    <a:pt x="1224" y="1393"/>
                  </a:lnTo>
                  <a:lnTo>
                    <a:pt x="1224" y="1397"/>
                  </a:lnTo>
                  <a:lnTo>
                    <a:pt x="1224" y="1397"/>
                  </a:lnTo>
                  <a:lnTo>
                    <a:pt x="1224" y="1402"/>
                  </a:lnTo>
                  <a:lnTo>
                    <a:pt x="1224" y="1402"/>
                  </a:lnTo>
                  <a:lnTo>
                    <a:pt x="1224" y="1406"/>
                  </a:lnTo>
                  <a:lnTo>
                    <a:pt x="1224" y="1406"/>
                  </a:lnTo>
                  <a:lnTo>
                    <a:pt x="1224" y="1406"/>
                  </a:lnTo>
                  <a:lnTo>
                    <a:pt x="1229" y="1406"/>
                  </a:lnTo>
                  <a:lnTo>
                    <a:pt x="1229" y="1406"/>
                  </a:lnTo>
                  <a:lnTo>
                    <a:pt x="1229" y="1411"/>
                  </a:lnTo>
                  <a:lnTo>
                    <a:pt x="1229" y="1406"/>
                  </a:lnTo>
                  <a:lnTo>
                    <a:pt x="1229" y="1406"/>
                  </a:lnTo>
                  <a:lnTo>
                    <a:pt x="1229" y="1406"/>
                  </a:lnTo>
                  <a:lnTo>
                    <a:pt x="1229" y="1402"/>
                  </a:lnTo>
                  <a:lnTo>
                    <a:pt x="1229" y="1402"/>
                  </a:lnTo>
                  <a:lnTo>
                    <a:pt x="1229" y="1402"/>
                  </a:lnTo>
                  <a:lnTo>
                    <a:pt x="1233" y="1406"/>
                  </a:lnTo>
                  <a:lnTo>
                    <a:pt x="1233" y="1406"/>
                  </a:lnTo>
                  <a:lnTo>
                    <a:pt x="1233" y="1411"/>
                  </a:lnTo>
                  <a:lnTo>
                    <a:pt x="1233" y="1411"/>
                  </a:lnTo>
                  <a:lnTo>
                    <a:pt x="1233" y="1415"/>
                  </a:lnTo>
                  <a:lnTo>
                    <a:pt x="1238" y="1415"/>
                  </a:lnTo>
                  <a:lnTo>
                    <a:pt x="1238" y="1415"/>
                  </a:lnTo>
                  <a:lnTo>
                    <a:pt x="1238" y="1411"/>
                  </a:lnTo>
                  <a:lnTo>
                    <a:pt x="1238" y="1411"/>
                  </a:lnTo>
                  <a:lnTo>
                    <a:pt x="1242" y="1411"/>
                  </a:lnTo>
                  <a:lnTo>
                    <a:pt x="1242" y="1411"/>
                  </a:lnTo>
                  <a:lnTo>
                    <a:pt x="1247" y="1411"/>
                  </a:lnTo>
                  <a:lnTo>
                    <a:pt x="1247" y="1411"/>
                  </a:lnTo>
                  <a:lnTo>
                    <a:pt x="1247" y="1411"/>
                  </a:lnTo>
                  <a:lnTo>
                    <a:pt x="1247" y="1415"/>
                  </a:lnTo>
                  <a:lnTo>
                    <a:pt x="1251" y="1411"/>
                  </a:lnTo>
                  <a:lnTo>
                    <a:pt x="1251" y="1411"/>
                  </a:lnTo>
                  <a:lnTo>
                    <a:pt x="1256" y="1415"/>
                  </a:lnTo>
                  <a:lnTo>
                    <a:pt x="1256" y="1415"/>
                  </a:lnTo>
                  <a:lnTo>
                    <a:pt x="1256" y="1415"/>
                  </a:lnTo>
                  <a:lnTo>
                    <a:pt x="1256" y="1415"/>
                  </a:lnTo>
                  <a:lnTo>
                    <a:pt x="1260" y="1424"/>
                  </a:lnTo>
                  <a:lnTo>
                    <a:pt x="1260" y="1424"/>
                  </a:lnTo>
                  <a:lnTo>
                    <a:pt x="1265" y="1424"/>
                  </a:lnTo>
                  <a:lnTo>
                    <a:pt x="1265" y="1424"/>
                  </a:lnTo>
                  <a:lnTo>
                    <a:pt x="1265" y="1424"/>
                  </a:lnTo>
                  <a:lnTo>
                    <a:pt x="1265" y="1420"/>
                  </a:lnTo>
                  <a:lnTo>
                    <a:pt x="1265" y="1420"/>
                  </a:lnTo>
                  <a:lnTo>
                    <a:pt x="1265" y="1420"/>
                  </a:lnTo>
                  <a:lnTo>
                    <a:pt x="1269" y="1420"/>
                  </a:lnTo>
                  <a:lnTo>
                    <a:pt x="1269" y="1424"/>
                  </a:lnTo>
                  <a:lnTo>
                    <a:pt x="1269" y="1429"/>
                  </a:lnTo>
                  <a:lnTo>
                    <a:pt x="1269" y="1433"/>
                  </a:lnTo>
                  <a:lnTo>
                    <a:pt x="1269" y="1433"/>
                  </a:lnTo>
                  <a:lnTo>
                    <a:pt x="1274" y="1433"/>
                  </a:lnTo>
                  <a:lnTo>
                    <a:pt x="1279" y="1433"/>
                  </a:lnTo>
                  <a:lnTo>
                    <a:pt x="1279" y="1429"/>
                  </a:lnTo>
                  <a:lnTo>
                    <a:pt x="1279" y="1429"/>
                  </a:lnTo>
                  <a:lnTo>
                    <a:pt x="1279" y="1429"/>
                  </a:lnTo>
                  <a:lnTo>
                    <a:pt x="1283" y="1429"/>
                  </a:lnTo>
                  <a:lnTo>
                    <a:pt x="1283" y="1429"/>
                  </a:lnTo>
                  <a:lnTo>
                    <a:pt x="1283" y="1429"/>
                  </a:lnTo>
                  <a:lnTo>
                    <a:pt x="1283" y="1424"/>
                  </a:lnTo>
                  <a:lnTo>
                    <a:pt x="1283" y="1424"/>
                  </a:lnTo>
                  <a:lnTo>
                    <a:pt x="1283" y="1420"/>
                  </a:lnTo>
                  <a:lnTo>
                    <a:pt x="1279" y="1415"/>
                  </a:lnTo>
                  <a:lnTo>
                    <a:pt x="1279" y="1415"/>
                  </a:lnTo>
                  <a:lnTo>
                    <a:pt x="1279" y="1415"/>
                  </a:lnTo>
                  <a:lnTo>
                    <a:pt x="1279" y="1415"/>
                  </a:lnTo>
                  <a:lnTo>
                    <a:pt x="1279" y="1415"/>
                  </a:lnTo>
                  <a:lnTo>
                    <a:pt x="1279" y="1411"/>
                  </a:lnTo>
                  <a:lnTo>
                    <a:pt x="1279" y="1411"/>
                  </a:lnTo>
                  <a:lnTo>
                    <a:pt x="1283" y="1411"/>
                  </a:lnTo>
                  <a:lnTo>
                    <a:pt x="1283" y="1411"/>
                  </a:lnTo>
                  <a:lnTo>
                    <a:pt x="1292" y="1406"/>
                  </a:lnTo>
                  <a:lnTo>
                    <a:pt x="1292" y="1406"/>
                  </a:lnTo>
                  <a:lnTo>
                    <a:pt x="1292" y="1402"/>
                  </a:lnTo>
                  <a:lnTo>
                    <a:pt x="1292" y="1402"/>
                  </a:lnTo>
                  <a:lnTo>
                    <a:pt x="1292" y="1402"/>
                  </a:lnTo>
                  <a:lnTo>
                    <a:pt x="1297" y="1402"/>
                  </a:lnTo>
                  <a:lnTo>
                    <a:pt x="1297" y="1397"/>
                  </a:lnTo>
                  <a:lnTo>
                    <a:pt x="1297" y="1397"/>
                  </a:lnTo>
                  <a:lnTo>
                    <a:pt x="1297" y="1397"/>
                  </a:lnTo>
                  <a:lnTo>
                    <a:pt x="1301" y="1397"/>
                  </a:lnTo>
                  <a:lnTo>
                    <a:pt x="1306" y="1397"/>
                  </a:lnTo>
                  <a:lnTo>
                    <a:pt x="1306" y="1397"/>
                  </a:lnTo>
                  <a:lnTo>
                    <a:pt x="1306" y="1402"/>
                  </a:lnTo>
                  <a:lnTo>
                    <a:pt x="1310" y="1402"/>
                  </a:lnTo>
                  <a:lnTo>
                    <a:pt x="1310" y="1402"/>
                  </a:lnTo>
                  <a:lnTo>
                    <a:pt x="1310" y="1402"/>
                  </a:lnTo>
                  <a:lnTo>
                    <a:pt x="1310" y="1402"/>
                  </a:lnTo>
                  <a:lnTo>
                    <a:pt x="1315" y="1406"/>
                  </a:lnTo>
                  <a:lnTo>
                    <a:pt x="1315" y="1411"/>
                  </a:lnTo>
                  <a:lnTo>
                    <a:pt x="1315" y="1411"/>
                  </a:lnTo>
                  <a:lnTo>
                    <a:pt x="1315" y="1411"/>
                  </a:lnTo>
                  <a:lnTo>
                    <a:pt x="1315" y="1411"/>
                  </a:lnTo>
                  <a:lnTo>
                    <a:pt x="1315" y="1411"/>
                  </a:lnTo>
                  <a:lnTo>
                    <a:pt x="1315" y="1411"/>
                  </a:lnTo>
                  <a:lnTo>
                    <a:pt x="1315" y="1406"/>
                  </a:lnTo>
                  <a:lnTo>
                    <a:pt x="1315" y="1406"/>
                  </a:lnTo>
                  <a:lnTo>
                    <a:pt x="1315" y="1411"/>
                  </a:lnTo>
                  <a:lnTo>
                    <a:pt x="1319" y="1411"/>
                  </a:lnTo>
                  <a:lnTo>
                    <a:pt x="1319" y="1411"/>
                  </a:lnTo>
                  <a:lnTo>
                    <a:pt x="1319" y="1411"/>
                  </a:lnTo>
                  <a:lnTo>
                    <a:pt x="1319" y="1411"/>
                  </a:lnTo>
                  <a:lnTo>
                    <a:pt x="1319" y="1411"/>
                  </a:lnTo>
                  <a:lnTo>
                    <a:pt x="1319" y="1406"/>
                  </a:lnTo>
                  <a:lnTo>
                    <a:pt x="1319" y="1411"/>
                  </a:lnTo>
                  <a:lnTo>
                    <a:pt x="1319" y="1411"/>
                  </a:lnTo>
                  <a:lnTo>
                    <a:pt x="1324" y="1415"/>
                  </a:lnTo>
                  <a:lnTo>
                    <a:pt x="1324" y="1415"/>
                  </a:lnTo>
                  <a:lnTo>
                    <a:pt x="1324" y="1415"/>
                  </a:lnTo>
                  <a:lnTo>
                    <a:pt x="1324" y="1415"/>
                  </a:lnTo>
                  <a:lnTo>
                    <a:pt x="1319" y="1411"/>
                  </a:lnTo>
                  <a:lnTo>
                    <a:pt x="1319" y="1411"/>
                  </a:lnTo>
                  <a:lnTo>
                    <a:pt x="1319" y="1411"/>
                  </a:lnTo>
                  <a:lnTo>
                    <a:pt x="1319" y="1411"/>
                  </a:lnTo>
                  <a:lnTo>
                    <a:pt x="1315" y="1411"/>
                  </a:lnTo>
                  <a:lnTo>
                    <a:pt x="1315" y="1415"/>
                  </a:lnTo>
                  <a:lnTo>
                    <a:pt x="1315" y="1415"/>
                  </a:lnTo>
                  <a:lnTo>
                    <a:pt x="1315" y="1415"/>
                  </a:lnTo>
                  <a:lnTo>
                    <a:pt x="1315" y="1415"/>
                  </a:lnTo>
                  <a:lnTo>
                    <a:pt x="1315" y="1415"/>
                  </a:lnTo>
                  <a:lnTo>
                    <a:pt x="1315" y="1420"/>
                  </a:lnTo>
                  <a:lnTo>
                    <a:pt x="1319" y="1429"/>
                  </a:lnTo>
                  <a:lnTo>
                    <a:pt x="1319" y="1433"/>
                  </a:lnTo>
                  <a:lnTo>
                    <a:pt x="1324" y="1433"/>
                  </a:lnTo>
                  <a:lnTo>
                    <a:pt x="1324" y="1433"/>
                  </a:lnTo>
                  <a:lnTo>
                    <a:pt x="1324" y="1438"/>
                  </a:lnTo>
                  <a:lnTo>
                    <a:pt x="1324" y="1442"/>
                  </a:lnTo>
                  <a:lnTo>
                    <a:pt x="1328" y="1442"/>
                  </a:lnTo>
                  <a:lnTo>
                    <a:pt x="1328" y="1442"/>
                  </a:lnTo>
                  <a:lnTo>
                    <a:pt x="1328" y="1442"/>
                  </a:lnTo>
                  <a:lnTo>
                    <a:pt x="1328" y="1447"/>
                  </a:lnTo>
                  <a:lnTo>
                    <a:pt x="1328" y="1447"/>
                  </a:lnTo>
                  <a:lnTo>
                    <a:pt x="1328" y="1451"/>
                  </a:lnTo>
                  <a:lnTo>
                    <a:pt x="1328" y="1451"/>
                  </a:lnTo>
                  <a:lnTo>
                    <a:pt x="1328" y="1451"/>
                  </a:lnTo>
                  <a:lnTo>
                    <a:pt x="1328" y="1456"/>
                  </a:lnTo>
                  <a:lnTo>
                    <a:pt x="1328" y="1456"/>
                  </a:lnTo>
                  <a:lnTo>
                    <a:pt x="1333" y="1460"/>
                  </a:lnTo>
                  <a:lnTo>
                    <a:pt x="1328" y="1465"/>
                  </a:lnTo>
                  <a:lnTo>
                    <a:pt x="1324" y="1465"/>
                  </a:lnTo>
                  <a:lnTo>
                    <a:pt x="1328" y="1469"/>
                  </a:lnTo>
                  <a:lnTo>
                    <a:pt x="1328" y="1469"/>
                  </a:lnTo>
                  <a:lnTo>
                    <a:pt x="1328" y="1474"/>
                  </a:lnTo>
                  <a:lnTo>
                    <a:pt x="1328" y="1474"/>
                  </a:lnTo>
                  <a:lnTo>
                    <a:pt x="1328" y="1479"/>
                  </a:lnTo>
                  <a:lnTo>
                    <a:pt x="1328" y="1483"/>
                  </a:lnTo>
                  <a:lnTo>
                    <a:pt x="1328" y="1483"/>
                  </a:lnTo>
                  <a:lnTo>
                    <a:pt x="1328" y="1483"/>
                  </a:lnTo>
                  <a:lnTo>
                    <a:pt x="1328" y="1488"/>
                  </a:lnTo>
                  <a:lnTo>
                    <a:pt x="1328" y="1488"/>
                  </a:lnTo>
                  <a:lnTo>
                    <a:pt x="1328" y="1492"/>
                  </a:lnTo>
                  <a:lnTo>
                    <a:pt x="1328" y="1492"/>
                  </a:lnTo>
                  <a:lnTo>
                    <a:pt x="1324" y="1492"/>
                  </a:lnTo>
                  <a:lnTo>
                    <a:pt x="1324" y="1492"/>
                  </a:lnTo>
                  <a:lnTo>
                    <a:pt x="1328" y="1492"/>
                  </a:lnTo>
                  <a:lnTo>
                    <a:pt x="1328" y="1492"/>
                  </a:lnTo>
                  <a:lnTo>
                    <a:pt x="1328" y="1492"/>
                  </a:lnTo>
                  <a:lnTo>
                    <a:pt x="1328" y="1497"/>
                  </a:lnTo>
                  <a:lnTo>
                    <a:pt x="1328" y="1497"/>
                  </a:lnTo>
                  <a:lnTo>
                    <a:pt x="1328" y="1497"/>
                  </a:lnTo>
                  <a:lnTo>
                    <a:pt x="1328" y="1497"/>
                  </a:lnTo>
                  <a:lnTo>
                    <a:pt x="1328" y="1501"/>
                  </a:lnTo>
                  <a:lnTo>
                    <a:pt x="1328" y="1501"/>
                  </a:lnTo>
                  <a:lnTo>
                    <a:pt x="1333" y="1501"/>
                  </a:lnTo>
                  <a:lnTo>
                    <a:pt x="1333" y="1497"/>
                  </a:lnTo>
                  <a:lnTo>
                    <a:pt x="1333" y="1497"/>
                  </a:lnTo>
                  <a:lnTo>
                    <a:pt x="1328" y="1506"/>
                  </a:lnTo>
                  <a:lnTo>
                    <a:pt x="1328" y="1506"/>
                  </a:lnTo>
                  <a:lnTo>
                    <a:pt x="1328" y="1510"/>
                  </a:lnTo>
                  <a:lnTo>
                    <a:pt x="1324" y="1510"/>
                  </a:lnTo>
                  <a:lnTo>
                    <a:pt x="1324" y="1510"/>
                  </a:lnTo>
                  <a:lnTo>
                    <a:pt x="1324" y="1515"/>
                  </a:lnTo>
                  <a:lnTo>
                    <a:pt x="1324" y="1515"/>
                  </a:lnTo>
                  <a:lnTo>
                    <a:pt x="1324" y="1515"/>
                  </a:lnTo>
                  <a:lnTo>
                    <a:pt x="1319" y="1515"/>
                  </a:lnTo>
                  <a:lnTo>
                    <a:pt x="1319" y="1515"/>
                  </a:lnTo>
                  <a:lnTo>
                    <a:pt x="1319" y="1519"/>
                  </a:lnTo>
                  <a:lnTo>
                    <a:pt x="1319" y="1519"/>
                  </a:lnTo>
                  <a:lnTo>
                    <a:pt x="1319" y="1519"/>
                  </a:lnTo>
                  <a:lnTo>
                    <a:pt x="1319" y="1524"/>
                  </a:lnTo>
                  <a:lnTo>
                    <a:pt x="1319" y="1524"/>
                  </a:lnTo>
                  <a:lnTo>
                    <a:pt x="1319" y="1524"/>
                  </a:lnTo>
                  <a:lnTo>
                    <a:pt x="1319" y="1524"/>
                  </a:lnTo>
                  <a:lnTo>
                    <a:pt x="1315" y="1524"/>
                  </a:lnTo>
                  <a:lnTo>
                    <a:pt x="1315" y="1524"/>
                  </a:lnTo>
                  <a:lnTo>
                    <a:pt x="1315" y="1524"/>
                  </a:lnTo>
                  <a:lnTo>
                    <a:pt x="1315" y="1528"/>
                  </a:lnTo>
                  <a:lnTo>
                    <a:pt x="1315" y="1528"/>
                  </a:lnTo>
                  <a:lnTo>
                    <a:pt x="1310" y="1528"/>
                  </a:lnTo>
                  <a:lnTo>
                    <a:pt x="1310" y="1528"/>
                  </a:lnTo>
                  <a:lnTo>
                    <a:pt x="1306" y="1528"/>
                  </a:lnTo>
                  <a:lnTo>
                    <a:pt x="1306" y="1528"/>
                  </a:lnTo>
                  <a:lnTo>
                    <a:pt x="1306" y="1528"/>
                  </a:lnTo>
                  <a:lnTo>
                    <a:pt x="1306" y="1528"/>
                  </a:lnTo>
                  <a:lnTo>
                    <a:pt x="1306" y="1528"/>
                  </a:lnTo>
                  <a:lnTo>
                    <a:pt x="1306" y="1537"/>
                  </a:lnTo>
                  <a:lnTo>
                    <a:pt x="1306" y="1537"/>
                  </a:lnTo>
                  <a:lnTo>
                    <a:pt x="1306" y="1542"/>
                  </a:lnTo>
                  <a:lnTo>
                    <a:pt x="1301" y="1537"/>
                  </a:lnTo>
                  <a:lnTo>
                    <a:pt x="1297" y="1542"/>
                  </a:lnTo>
                  <a:lnTo>
                    <a:pt x="1297" y="1542"/>
                  </a:lnTo>
                  <a:lnTo>
                    <a:pt x="1301" y="1546"/>
                  </a:lnTo>
                  <a:lnTo>
                    <a:pt x="1301" y="1546"/>
                  </a:lnTo>
                  <a:lnTo>
                    <a:pt x="1301" y="1551"/>
                  </a:lnTo>
                  <a:lnTo>
                    <a:pt x="1301" y="1551"/>
                  </a:lnTo>
                  <a:lnTo>
                    <a:pt x="1292" y="1555"/>
                  </a:lnTo>
                  <a:lnTo>
                    <a:pt x="1288" y="1555"/>
                  </a:lnTo>
                  <a:lnTo>
                    <a:pt x="1288" y="1555"/>
                  </a:lnTo>
                  <a:lnTo>
                    <a:pt x="1283" y="1555"/>
                  </a:lnTo>
                  <a:lnTo>
                    <a:pt x="1283" y="1560"/>
                  </a:lnTo>
                  <a:lnTo>
                    <a:pt x="1283" y="1560"/>
                  </a:lnTo>
                  <a:lnTo>
                    <a:pt x="1279" y="1560"/>
                  </a:lnTo>
                  <a:lnTo>
                    <a:pt x="1279" y="1560"/>
                  </a:lnTo>
                  <a:lnTo>
                    <a:pt x="1279" y="1564"/>
                  </a:lnTo>
                  <a:lnTo>
                    <a:pt x="1279" y="1569"/>
                  </a:lnTo>
                  <a:lnTo>
                    <a:pt x="1279" y="1573"/>
                  </a:lnTo>
                  <a:lnTo>
                    <a:pt x="1279" y="1578"/>
                  </a:lnTo>
                  <a:lnTo>
                    <a:pt x="1274" y="1578"/>
                  </a:lnTo>
                  <a:lnTo>
                    <a:pt x="1274" y="1578"/>
                  </a:lnTo>
                  <a:lnTo>
                    <a:pt x="1269" y="1582"/>
                  </a:lnTo>
                  <a:lnTo>
                    <a:pt x="1269" y="1582"/>
                  </a:lnTo>
                  <a:lnTo>
                    <a:pt x="1274" y="1587"/>
                  </a:lnTo>
                  <a:lnTo>
                    <a:pt x="1274" y="1587"/>
                  </a:lnTo>
                  <a:lnTo>
                    <a:pt x="1274" y="1587"/>
                  </a:lnTo>
                  <a:lnTo>
                    <a:pt x="1269" y="1587"/>
                  </a:lnTo>
                  <a:lnTo>
                    <a:pt x="1269" y="1592"/>
                  </a:lnTo>
                  <a:lnTo>
                    <a:pt x="1269" y="1592"/>
                  </a:lnTo>
                  <a:lnTo>
                    <a:pt x="1269" y="1592"/>
                  </a:lnTo>
                  <a:lnTo>
                    <a:pt x="1265" y="1596"/>
                  </a:lnTo>
                  <a:lnTo>
                    <a:pt x="1265" y="1596"/>
                  </a:lnTo>
                  <a:lnTo>
                    <a:pt x="1265" y="1601"/>
                  </a:lnTo>
                  <a:lnTo>
                    <a:pt x="1265" y="1605"/>
                  </a:lnTo>
                  <a:lnTo>
                    <a:pt x="1265" y="1610"/>
                  </a:lnTo>
                  <a:lnTo>
                    <a:pt x="1265" y="1614"/>
                  </a:lnTo>
                  <a:lnTo>
                    <a:pt x="1265" y="1614"/>
                  </a:lnTo>
                  <a:lnTo>
                    <a:pt x="1265" y="1619"/>
                  </a:lnTo>
                  <a:lnTo>
                    <a:pt x="1265" y="1619"/>
                  </a:lnTo>
                  <a:lnTo>
                    <a:pt x="1265" y="1619"/>
                  </a:lnTo>
                  <a:lnTo>
                    <a:pt x="1265" y="1619"/>
                  </a:lnTo>
                  <a:lnTo>
                    <a:pt x="1265" y="1623"/>
                  </a:lnTo>
                  <a:lnTo>
                    <a:pt x="1265" y="1623"/>
                  </a:lnTo>
                  <a:lnTo>
                    <a:pt x="1269" y="1623"/>
                  </a:lnTo>
                  <a:lnTo>
                    <a:pt x="1274" y="1628"/>
                  </a:lnTo>
                  <a:lnTo>
                    <a:pt x="1274" y="1628"/>
                  </a:lnTo>
                  <a:lnTo>
                    <a:pt x="1274" y="1628"/>
                  </a:lnTo>
                  <a:lnTo>
                    <a:pt x="1274" y="1628"/>
                  </a:lnTo>
                  <a:lnTo>
                    <a:pt x="1274" y="1628"/>
                  </a:lnTo>
                  <a:lnTo>
                    <a:pt x="1279" y="1628"/>
                  </a:lnTo>
                  <a:lnTo>
                    <a:pt x="1279" y="1623"/>
                  </a:lnTo>
                  <a:lnTo>
                    <a:pt x="1279" y="1623"/>
                  </a:lnTo>
                  <a:lnTo>
                    <a:pt x="1279" y="1628"/>
                  </a:lnTo>
                  <a:lnTo>
                    <a:pt x="1279" y="1628"/>
                  </a:lnTo>
                  <a:lnTo>
                    <a:pt x="1283" y="1628"/>
                  </a:lnTo>
                  <a:lnTo>
                    <a:pt x="1283" y="1623"/>
                  </a:lnTo>
                  <a:lnTo>
                    <a:pt x="1283" y="1619"/>
                  </a:lnTo>
                  <a:lnTo>
                    <a:pt x="1283" y="1619"/>
                  </a:lnTo>
                  <a:lnTo>
                    <a:pt x="1283" y="1619"/>
                  </a:lnTo>
                  <a:lnTo>
                    <a:pt x="1283" y="1619"/>
                  </a:lnTo>
                  <a:lnTo>
                    <a:pt x="1283" y="1623"/>
                  </a:lnTo>
                  <a:lnTo>
                    <a:pt x="1283" y="1623"/>
                  </a:lnTo>
                  <a:lnTo>
                    <a:pt x="1283" y="1628"/>
                  </a:lnTo>
                  <a:lnTo>
                    <a:pt x="1283" y="1632"/>
                  </a:lnTo>
                  <a:lnTo>
                    <a:pt x="1283" y="1637"/>
                  </a:lnTo>
                  <a:lnTo>
                    <a:pt x="1283" y="1637"/>
                  </a:lnTo>
                  <a:lnTo>
                    <a:pt x="1279" y="1641"/>
                  </a:lnTo>
                  <a:lnTo>
                    <a:pt x="1279" y="1641"/>
                  </a:lnTo>
                  <a:lnTo>
                    <a:pt x="1279" y="1641"/>
                  </a:lnTo>
                  <a:lnTo>
                    <a:pt x="1274" y="1641"/>
                  </a:lnTo>
                  <a:lnTo>
                    <a:pt x="1274" y="1641"/>
                  </a:lnTo>
                  <a:lnTo>
                    <a:pt x="1274" y="1646"/>
                  </a:lnTo>
                  <a:lnTo>
                    <a:pt x="1269" y="1650"/>
                  </a:lnTo>
                  <a:lnTo>
                    <a:pt x="1265" y="1650"/>
                  </a:lnTo>
                  <a:lnTo>
                    <a:pt x="1265" y="1655"/>
                  </a:lnTo>
                  <a:lnTo>
                    <a:pt x="1260" y="1659"/>
                  </a:lnTo>
                  <a:lnTo>
                    <a:pt x="1260" y="1664"/>
                  </a:lnTo>
                  <a:lnTo>
                    <a:pt x="1260" y="1668"/>
                  </a:lnTo>
                  <a:lnTo>
                    <a:pt x="1260" y="1668"/>
                  </a:lnTo>
                  <a:lnTo>
                    <a:pt x="1260" y="1673"/>
                  </a:lnTo>
                  <a:lnTo>
                    <a:pt x="1265" y="1677"/>
                  </a:lnTo>
                  <a:lnTo>
                    <a:pt x="1260" y="1677"/>
                  </a:lnTo>
                  <a:lnTo>
                    <a:pt x="1260" y="1677"/>
                  </a:lnTo>
                  <a:lnTo>
                    <a:pt x="1265" y="1686"/>
                  </a:lnTo>
                  <a:lnTo>
                    <a:pt x="1269" y="1686"/>
                  </a:lnTo>
                  <a:lnTo>
                    <a:pt x="1269" y="1691"/>
                  </a:lnTo>
                  <a:lnTo>
                    <a:pt x="1265" y="1691"/>
                  </a:lnTo>
                  <a:lnTo>
                    <a:pt x="1265" y="1691"/>
                  </a:lnTo>
                  <a:lnTo>
                    <a:pt x="1265" y="1691"/>
                  </a:lnTo>
                  <a:lnTo>
                    <a:pt x="1265" y="1691"/>
                  </a:lnTo>
                  <a:lnTo>
                    <a:pt x="1260" y="1696"/>
                  </a:lnTo>
                  <a:lnTo>
                    <a:pt x="1265" y="1696"/>
                  </a:lnTo>
                  <a:lnTo>
                    <a:pt x="1265" y="1696"/>
                  </a:lnTo>
                  <a:lnTo>
                    <a:pt x="1269" y="1700"/>
                  </a:lnTo>
                  <a:lnTo>
                    <a:pt x="1283" y="1709"/>
                  </a:lnTo>
                  <a:lnTo>
                    <a:pt x="1283" y="1709"/>
                  </a:lnTo>
                  <a:lnTo>
                    <a:pt x="1288" y="1714"/>
                  </a:lnTo>
                  <a:lnTo>
                    <a:pt x="1288" y="1718"/>
                  </a:lnTo>
                  <a:lnTo>
                    <a:pt x="1292" y="1723"/>
                  </a:lnTo>
                  <a:lnTo>
                    <a:pt x="1292" y="1723"/>
                  </a:lnTo>
                  <a:lnTo>
                    <a:pt x="1297" y="1732"/>
                  </a:lnTo>
                  <a:lnTo>
                    <a:pt x="1297" y="1732"/>
                  </a:lnTo>
                  <a:lnTo>
                    <a:pt x="1301" y="1736"/>
                  </a:lnTo>
                  <a:lnTo>
                    <a:pt x="1306" y="1736"/>
                  </a:lnTo>
                  <a:lnTo>
                    <a:pt x="1306" y="1741"/>
                  </a:lnTo>
                  <a:lnTo>
                    <a:pt x="1310" y="1745"/>
                  </a:lnTo>
                  <a:lnTo>
                    <a:pt x="1310" y="1750"/>
                  </a:lnTo>
                  <a:lnTo>
                    <a:pt x="1310" y="1754"/>
                  </a:lnTo>
                  <a:lnTo>
                    <a:pt x="1315" y="1759"/>
                  </a:lnTo>
                  <a:lnTo>
                    <a:pt x="1315" y="1763"/>
                  </a:lnTo>
                  <a:lnTo>
                    <a:pt x="1319" y="1768"/>
                  </a:lnTo>
                  <a:lnTo>
                    <a:pt x="1319" y="1768"/>
                  </a:lnTo>
                  <a:lnTo>
                    <a:pt x="1324" y="1777"/>
                  </a:lnTo>
                  <a:lnTo>
                    <a:pt x="1324" y="1777"/>
                  </a:lnTo>
                  <a:lnTo>
                    <a:pt x="1333" y="1790"/>
                  </a:lnTo>
                  <a:lnTo>
                    <a:pt x="1333" y="1795"/>
                  </a:lnTo>
                  <a:lnTo>
                    <a:pt x="1333" y="1795"/>
                  </a:lnTo>
                  <a:lnTo>
                    <a:pt x="1333" y="1800"/>
                  </a:lnTo>
                  <a:lnTo>
                    <a:pt x="1342" y="1804"/>
                  </a:lnTo>
                  <a:lnTo>
                    <a:pt x="1342" y="1804"/>
                  </a:lnTo>
                  <a:lnTo>
                    <a:pt x="1342" y="1813"/>
                  </a:lnTo>
                  <a:lnTo>
                    <a:pt x="1346" y="1813"/>
                  </a:lnTo>
                  <a:lnTo>
                    <a:pt x="1346" y="1813"/>
                  </a:lnTo>
                  <a:lnTo>
                    <a:pt x="1346" y="1818"/>
                  </a:lnTo>
                  <a:lnTo>
                    <a:pt x="1346" y="1818"/>
                  </a:lnTo>
                  <a:lnTo>
                    <a:pt x="1351" y="1818"/>
                  </a:lnTo>
                  <a:lnTo>
                    <a:pt x="1351" y="1822"/>
                  </a:lnTo>
                  <a:lnTo>
                    <a:pt x="1355" y="1827"/>
                  </a:lnTo>
                  <a:lnTo>
                    <a:pt x="1355" y="1827"/>
                  </a:lnTo>
                  <a:lnTo>
                    <a:pt x="1360" y="1831"/>
                  </a:lnTo>
                  <a:lnTo>
                    <a:pt x="1360" y="1836"/>
                  </a:lnTo>
                  <a:lnTo>
                    <a:pt x="1364" y="1840"/>
                  </a:lnTo>
                  <a:lnTo>
                    <a:pt x="1364" y="1840"/>
                  </a:lnTo>
                  <a:lnTo>
                    <a:pt x="1364" y="1849"/>
                  </a:lnTo>
                  <a:lnTo>
                    <a:pt x="1364" y="1849"/>
                  </a:lnTo>
                  <a:lnTo>
                    <a:pt x="1364" y="1849"/>
                  </a:lnTo>
                  <a:lnTo>
                    <a:pt x="1364" y="1849"/>
                  </a:lnTo>
                  <a:lnTo>
                    <a:pt x="1364" y="1854"/>
                  </a:lnTo>
                  <a:lnTo>
                    <a:pt x="1369" y="1858"/>
                  </a:lnTo>
                  <a:lnTo>
                    <a:pt x="1369" y="1858"/>
                  </a:lnTo>
                  <a:lnTo>
                    <a:pt x="1369" y="1863"/>
                  </a:lnTo>
                  <a:lnTo>
                    <a:pt x="1373" y="1863"/>
                  </a:lnTo>
                  <a:lnTo>
                    <a:pt x="1378" y="1867"/>
                  </a:lnTo>
                  <a:lnTo>
                    <a:pt x="1378" y="1867"/>
                  </a:lnTo>
                  <a:lnTo>
                    <a:pt x="1382" y="1872"/>
                  </a:lnTo>
                  <a:lnTo>
                    <a:pt x="1387" y="1876"/>
                  </a:lnTo>
                  <a:lnTo>
                    <a:pt x="1387" y="1876"/>
                  </a:lnTo>
                  <a:lnTo>
                    <a:pt x="1387" y="1881"/>
                  </a:lnTo>
                  <a:lnTo>
                    <a:pt x="1400" y="1885"/>
                  </a:lnTo>
                  <a:lnTo>
                    <a:pt x="1400" y="1885"/>
                  </a:lnTo>
                  <a:lnTo>
                    <a:pt x="1405" y="1890"/>
                  </a:lnTo>
                  <a:lnTo>
                    <a:pt x="1414" y="1894"/>
                  </a:lnTo>
                  <a:lnTo>
                    <a:pt x="1414" y="1894"/>
                  </a:lnTo>
                  <a:lnTo>
                    <a:pt x="1423" y="1894"/>
                  </a:lnTo>
                  <a:lnTo>
                    <a:pt x="1423" y="1899"/>
                  </a:lnTo>
                  <a:lnTo>
                    <a:pt x="1428" y="1899"/>
                  </a:lnTo>
                  <a:lnTo>
                    <a:pt x="1432" y="1904"/>
                  </a:lnTo>
                  <a:lnTo>
                    <a:pt x="1437" y="1904"/>
                  </a:lnTo>
                  <a:lnTo>
                    <a:pt x="1441" y="1904"/>
                  </a:lnTo>
                  <a:lnTo>
                    <a:pt x="1441" y="1908"/>
                  </a:lnTo>
                  <a:lnTo>
                    <a:pt x="1446" y="1908"/>
                  </a:lnTo>
                  <a:lnTo>
                    <a:pt x="1446" y="1913"/>
                  </a:lnTo>
                  <a:lnTo>
                    <a:pt x="1450" y="1913"/>
                  </a:lnTo>
                  <a:lnTo>
                    <a:pt x="1450" y="1913"/>
                  </a:lnTo>
                  <a:lnTo>
                    <a:pt x="1455" y="1917"/>
                  </a:lnTo>
                  <a:lnTo>
                    <a:pt x="1459" y="1917"/>
                  </a:lnTo>
                  <a:lnTo>
                    <a:pt x="1459" y="1917"/>
                  </a:lnTo>
                  <a:lnTo>
                    <a:pt x="1459" y="1922"/>
                  </a:lnTo>
                  <a:lnTo>
                    <a:pt x="1459" y="1922"/>
                  </a:lnTo>
                  <a:lnTo>
                    <a:pt x="1468" y="1926"/>
                  </a:lnTo>
                  <a:lnTo>
                    <a:pt x="1468" y="1926"/>
                  </a:lnTo>
                  <a:lnTo>
                    <a:pt x="1473" y="1931"/>
                  </a:lnTo>
                  <a:lnTo>
                    <a:pt x="1477" y="1935"/>
                  </a:lnTo>
                  <a:lnTo>
                    <a:pt x="1477" y="1935"/>
                  </a:lnTo>
                  <a:lnTo>
                    <a:pt x="1482" y="1935"/>
                  </a:lnTo>
                  <a:lnTo>
                    <a:pt x="1482" y="1940"/>
                  </a:lnTo>
                  <a:lnTo>
                    <a:pt x="1482" y="1944"/>
                  </a:lnTo>
                  <a:lnTo>
                    <a:pt x="1486" y="1953"/>
                  </a:lnTo>
                  <a:lnTo>
                    <a:pt x="1486" y="1958"/>
                  </a:lnTo>
                  <a:lnTo>
                    <a:pt x="1486" y="1958"/>
                  </a:lnTo>
                  <a:lnTo>
                    <a:pt x="1486" y="1962"/>
                  </a:lnTo>
                  <a:lnTo>
                    <a:pt x="1486" y="1962"/>
                  </a:lnTo>
                  <a:lnTo>
                    <a:pt x="1491" y="1971"/>
                  </a:lnTo>
                  <a:lnTo>
                    <a:pt x="1491" y="1976"/>
                  </a:lnTo>
                  <a:lnTo>
                    <a:pt x="1491" y="1980"/>
                  </a:lnTo>
                  <a:lnTo>
                    <a:pt x="1495" y="1994"/>
                  </a:lnTo>
                  <a:lnTo>
                    <a:pt x="1495" y="1994"/>
                  </a:lnTo>
                  <a:lnTo>
                    <a:pt x="1495" y="1998"/>
                  </a:lnTo>
                  <a:lnTo>
                    <a:pt x="1495" y="1998"/>
                  </a:lnTo>
                  <a:lnTo>
                    <a:pt x="1495" y="2003"/>
                  </a:lnTo>
                  <a:lnTo>
                    <a:pt x="1495" y="2007"/>
                  </a:lnTo>
                  <a:lnTo>
                    <a:pt x="1495" y="2012"/>
                  </a:lnTo>
                  <a:lnTo>
                    <a:pt x="1495" y="2017"/>
                  </a:lnTo>
                  <a:lnTo>
                    <a:pt x="1495" y="2021"/>
                  </a:lnTo>
                  <a:lnTo>
                    <a:pt x="1495" y="2026"/>
                  </a:lnTo>
                  <a:lnTo>
                    <a:pt x="1495" y="2026"/>
                  </a:lnTo>
                  <a:lnTo>
                    <a:pt x="1495" y="2026"/>
                  </a:lnTo>
                  <a:lnTo>
                    <a:pt x="1495" y="2030"/>
                  </a:lnTo>
                  <a:lnTo>
                    <a:pt x="1495" y="2030"/>
                  </a:lnTo>
                  <a:lnTo>
                    <a:pt x="1495" y="2035"/>
                  </a:lnTo>
                  <a:lnTo>
                    <a:pt x="1495" y="2035"/>
                  </a:lnTo>
                  <a:lnTo>
                    <a:pt x="1500" y="2035"/>
                  </a:lnTo>
                  <a:lnTo>
                    <a:pt x="1500" y="2039"/>
                  </a:lnTo>
                  <a:lnTo>
                    <a:pt x="1500" y="2039"/>
                  </a:lnTo>
                  <a:lnTo>
                    <a:pt x="1500" y="2039"/>
                  </a:lnTo>
                  <a:lnTo>
                    <a:pt x="1500" y="2044"/>
                  </a:lnTo>
                  <a:lnTo>
                    <a:pt x="1500" y="2044"/>
                  </a:lnTo>
                  <a:lnTo>
                    <a:pt x="1500" y="2048"/>
                  </a:lnTo>
                  <a:lnTo>
                    <a:pt x="1500" y="2053"/>
                  </a:lnTo>
                  <a:lnTo>
                    <a:pt x="1500" y="2057"/>
                  </a:lnTo>
                  <a:lnTo>
                    <a:pt x="1504" y="2062"/>
                  </a:lnTo>
                  <a:lnTo>
                    <a:pt x="1504" y="2066"/>
                  </a:lnTo>
                  <a:lnTo>
                    <a:pt x="1504" y="2071"/>
                  </a:lnTo>
                  <a:lnTo>
                    <a:pt x="1504" y="2071"/>
                  </a:lnTo>
                  <a:lnTo>
                    <a:pt x="1504" y="2075"/>
                  </a:lnTo>
                  <a:lnTo>
                    <a:pt x="1504" y="2075"/>
                  </a:lnTo>
                  <a:lnTo>
                    <a:pt x="1504" y="2080"/>
                  </a:lnTo>
                  <a:lnTo>
                    <a:pt x="1504" y="2080"/>
                  </a:lnTo>
                  <a:lnTo>
                    <a:pt x="1509" y="2084"/>
                  </a:lnTo>
                  <a:lnTo>
                    <a:pt x="1509" y="2089"/>
                  </a:lnTo>
                  <a:lnTo>
                    <a:pt x="1509" y="2089"/>
                  </a:lnTo>
                  <a:lnTo>
                    <a:pt x="1509" y="2093"/>
                  </a:lnTo>
                  <a:lnTo>
                    <a:pt x="1509" y="2098"/>
                  </a:lnTo>
                  <a:lnTo>
                    <a:pt x="1509" y="2102"/>
                  </a:lnTo>
                  <a:lnTo>
                    <a:pt x="1509" y="2102"/>
                  </a:lnTo>
                  <a:lnTo>
                    <a:pt x="1509" y="2107"/>
                  </a:lnTo>
                  <a:lnTo>
                    <a:pt x="1509" y="2111"/>
                  </a:lnTo>
                  <a:lnTo>
                    <a:pt x="1509" y="2116"/>
                  </a:lnTo>
                  <a:lnTo>
                    <a:pt x="1509" y="2116"/>
                  </a:lnTo>
                  <a:lnTo>
                    <a:pt x="1509" y="2116"/>
                  </a:lnTo>
                  <a:lnTo>
                    <a:pt x="1509" y="2116"/>
                  </a:lnTo>
                  <a:lnTo>
                    <a:pt x="1509" y="2121"/>
                  </a:lnTo>
                  <a:lnTo>
                    <a:pt x="1509" y="2125"/>
                  </a:lnTo>
                  <a:lnTo>
                    <a:pt x="1509" y="2130"/>
                  </a:lnTo>
                  <a:lnTo>
                    <a:pt x="1509" y="2134"/>
                  </a:lnTo>
                  <a:lnTo>
                    <a:pt x="1509" y="2139"/>
                  </a:lnTo>
                  <a:lnTo>
                    <a:pt x="1509" y="2139"/>
                  </a:lnTo>
                  <a:lnTo>
                    <a:pt x="1509" y="2139"/>
                  </a:lnTo>
                  <a:lnTo>
                    <a:pt x="1509" y="2143"/>
                  </a:lnTo>
                  <a:lnTo>
                    <a:pt x="1509" y="2148"/>
                  </a:lnTo>
                  <a:lnTo>
                    <a:pt x="1513" y="2148"/>
                  </a:lnTo>
                  <a:lnTo>
                    <a:pt x="1513" y="2152"/>
                  </a:lnTo>
                  <a:lnTo>
                    <a:pt x="1513" y="2157"/>
                  </a:lnTo>
                  <a:lnTo>
                    <a:pt x="1518" y="2161"/>
                  </a:lnTo>
                  <a:lnTo>
                    <a:pt x="1518" y="2166"/>
                  </a:lnTo>
                  <a:lnTo>
                    <a:pt x="1513" y="2170"/>
                  </a:lnTo>
                  <a:lnTo>
                    <a:pt x="1513" y="2175"/>
                  </a:lnTo>
                  <a:lnTo>
                    <a:pt x="1513" y="2179"/>
                  </a:lnTo>
                  <a:lnTo>
                    <a:pt x="1518" y="2184"/>
                  </a:lnTo>
                  <a:lnTo>
                    <a:pt x="1518" y="2184"/>
                  </a:lnTo>
                  <a:lnTo>
                    <a:pt x="1522" y="2193"/>
                  </a:lnTo>
                  <a:lnTo>
                    <a:pt x="1527" y="2197"/>
                  </a:lnTo>
                  <a:lnTo>
                    <a:pt x="1527" y="2206"/>
                  </a:lnTo>
                  <a:lnTo>
                    <a:pt x="1532" y="2211"/>
                  </a:lnTo>
                  <a:lnTo>
                    <a:pt x="1532" y="2211"/>
                  </a:lnTo>
                  <a:lnTo>
                    <a:pt x="1532" y="2215"/>
                  </a:lnTo>
                  <a:lnTo>
                    <a:pt x="1532" y="2220"/>
                  </a:lnTo>
                  <a:lnTo>
                    <a:pt x="1532" y="2220"/>
                  </a:lnTo>
                  <a:lnTo>
                    <a:pt x="1532" y="2225"/>
                  </a:lnTo>
                  <a:lnTo>
                    <a:pt x="1532" y="2225"/>
                  </a:lnTo>
                  <a:lnTo>
                    <a:pt x="1532" y="2229"/>
                  </a:lnTo>
                  <a:lnTo>
                    <a:pt x="1536" y="2229"/>
                  </a:lnTo>
                  <a:lnTo>
                    <a:pt x="1536" y="2234"/>
                  </a:lnTo>
                  <a:lnTo>
                    <a:pt x="1532" y="2238"/>
                  </a:lnTo>
                  <a:lnTo>
                    <a:pt x="1532" y="2238"/>
                  </a:lnTo>
                  <a:lnTo>
                    <a:pt x="1532" y="2243"/>
                  </a:lnTo>
                  <a:lnTo>
                    <a:pt x="1532" y="2243"/>
                  </a:lnTo>
                  <a:lnTo>
                    <a:pt x="1532" y="2247"/>
                  </a:lnTo>
                  <a:lnTo>
                    <a:pt x="1536" y="2247"/>
                  </a:lnTo>
                  <a:lnTo>
                    <a:pt x="1536" y="2252"/>
                  </a:lnTo>
                  <a:lnTo>
                    <a:pt x="1536" y="2256"/>
                  </a:lnTo>
                  <a:lnTo>
                    <a:pt x="1536" y="2261"/>
                  </a:lnTo>
                  <a:lnTo>
                    <a:pt x="1536" y="2265"/>
                  </a:lnTo>
                  <a:lnTo>
                    <a:pt x="1532" y="2265"/>
                  </a:lnTo>
                  <a:lnTo>
                    <a:pt x="1532" y="2270"/>
                  </a:lnTo>
                  <a:lnTo>
                    <a:pt x="1532" y="2270"/>
                  </a:lnTo>
                  <a:lnTo>
                    <a:pt x="1532" y="2270"/>
                  </a:lnTo>
                  <a:lnTo>
                    <a:pt x="1536" y="2274"/>
                  </a:lnTo>
                  <a:lnTo>
                    <a:pt x="1536" y="2279"/>
                  </a:lnTo>
                  <a:lnTo>
                    <a:pt x="1532" y="2279"/>
                  </a:lnTo>
                  <a:lnTo>
                    <a:pt x="1536" y="2288"/>
                  </a:lnTo>
                  <a:lnTo>
                    <a:pt x="1536" y="2292"/>
                  </a:lnTo>
                  <a:lnTo>
                    <a:pt x="1536" y="2292"/>
                  </a:lnTo>
                  <a:lnTo>
                    <a:pt x="1532" y="2292"/>
                  </a:lnTo>
                  <a:lnTo>
                    <a:pt x="1532" y="2297"/>
                  </a:lnTo>
                  <a:lnTo>
                    <a:pt x="1532" y="2297"/>
                  </a:lnTo>
                  <a:lnTo>
                    <a:pt x="1536" y="2301"/>
                  </a:lnTo>
                  <a:lnTo>
                    <a:pt x="1536" y="2301"/>
                  </a:lnTo>
                  <a:lnTo>
                    <a:pt x="1536" y="2301"/>
                  </a:lnTo>
                  <a:lnTo>
                    <a:pt x="1532" y="2306"/>
                  </a:lnTo>
                  <a:lnTo>
                    <a:pt x="1527" y="2301"/>
                  </a:lnTo>
                  <a:lnTo>
                    <a:pt x="1527" y="2306"/>
                  </a:lnTo>
                  <a:lnTo>
                    <a:pt x="1527" y="2306"/>
                  </a:lnTo>
                  <a:lnTo>
                    <a:pt x="1532" y="2310"/>
                  </a:lnTo>
                  <a:lnTo>
                    <a:pt x="1532" y="2310"/>
                  </a:lnTo>
                  <a:lnTo>
                    <a:pt x="1532" y="2315"/>
                  </a:lnTo>
                  <a:lnTo>
                    <a:pt x="1536" y="2315"/>
                  </a:lnTo>
                  <a:lnTo>
                    <a:pt x="1536" y="2319"/>
                  </a:lnTo>
                  <a:lnTo>
                    <a:pt x="1536" y="2319"/>
                  </a:lnTo>
                  <a:lnTo>
                    <a:pt x="1541" y="2324"/>
                  </a:lnTo>
                  <a:lnTo>
                    <a:pt x="1541" y="2329"/>
                  </a:lnTo>
                  <a:lnTo>
                    <a:pt x="1541" y="2333"/>
                  </a:lnTo>
                  <a:lnTo>
                    <a:pt x="1550" y="2342"/>
                  </a:lnTo>
                  <a:lnTo>
                    <a:pt x="1554" y="2347"/>
                  </a:lnTo>
                  <a:lnTo>
                    <a:pt x="1554" y="2351"/>
                  </a:lnTo>
                  <a:lnTo>
                    <a:pt x="1550" y="2356"/>
                  </a:lnTo>
                  <a:lnTo>
                    <a:pt x="1550" y="2356"/>
                  </a:lnTo>
                  <a:lnTo>
                    <a:pt x="1550" y="2360"/>
                  </a:lnTo>
                  <a:lnTo>
                    <a:pt x="1550" y="2365"/>
                  </a:lnTo>
                  <a:lnTo>
                    <a:pt x="1554" y="2365"/>
                  </a:lnTo>
                  <a:lnTo>
                    <a:pt x="1554" y="2374"/>
                  </a:lnTo>
                  <a:lnTo>
                    <a:pt x="1554" y="2378"/>
                  </a:lnTo>
                  <a:lnTo>
                    <a:pt x="1554" y="2378"/>
                  </a:lnTo>
                  <a:lnTo>
                    <a:pt x="1559" y="2383"/>
                  </a:lnTo>
                  <a:lnTo>
                    <a:pt x="1559" y="2387"/>
                  </a:lnTo>
                  <a:lnTo>
                    <a:pt x="1559" y="2387"/>
                  </a:lnTo>
                  <a:lnTo>
                    <a:pt x="1563" y="2387"/>
                  </a:lnTo>
                  <a:lnTo>
                    <a:pt x="1563" y="2387"/>
                  </a:lnTo>
                  <a:lnTo>
                    <a:pt x="1563" y="2387"/>
                  </a:lnTo>
                  <a:lnTo>
                    <a:pt x="1563" y="2387"/>
                  </a:lnTo>
                  <a:lnTo>
                    <a:pt x="1563" y="2392"/>
                  </a:lnTo>
                  <a:lnTo>
                    <a:pt x="1563" y="2392"/>
                  </a:lnTo>
                  <a:lnTo>
                    <a:pt x="1568" y="2392"/>
                  </a:lnTo>
                  <a:lnTo>
                    <a:pt x="1568" y="2392"/>
                  </a:lnTo>
                  <a:lnTo>
                    <a:pt x="1572" y="2392"/>
                  </a:lnTo>
                  <a:lnTo>
                    <a:pt x="1572" y="2392"/>
                  </a:lnTo>
                  <a:lnTo>
                    <a:pt x="1572" y="2387"/>
                  </a:lnTo>
                  <a:lnTo>
                    <a:pt x="1572" y="2387"/>
                  </a:lnTo>
                  <a:lnTo>
                    <a:pt x="1577" y="2387"/>
                  </a:lnTo>
                  <a:lnTo>
                    <a:pt x="1577" y="2387"/>
                  </a:lnTo>
                  <a:lnTo>
                    <a:pt x="1581" y="2387"/>
                  </a:lnTo>
                  <a:lnTo>
                    <a:pt x="1581" y="2387"/>
                  </a:lnTo>
                  <a:lnTo>
                    <a:pt x="1581" y="2387"/>
                  </a:lnTo>
                  <a:lnTo>
                    <a:pt x="1581" y="2387"/>
                  </a:lnTo>
                  <a:lnTo>
                    <a:pt x="1581" y="2387"/>
                  </a:lnTo>
                  <a:lnTo>
                    <a:pt x="1581" y="2387"/>
                  </a:lnTo>
                  <a:lnTo>
                    <a:pt x="1586" y="2387"/>
                  </a:lnTo>
                  <a:lnTo>
                    <a:pt x="1581" y="2392"/>
                  </a:lnTo>
                  <a:lnTo>
                    <a:pt x="1581" y="2392"/>
                  </a:lnTo>
                  <a:lnTo>
                    <a:pt x="1581" y="2392"/>
                  </a:lnTo>
                  <a:lnTo>
                    <a:pt x="1581" y="2392"/>
                  </a:lnTo>
                  <a:lnTo>
                    <a:pt x="1577" y="2392"/>
                  </a:lnTo>
                  <a:lnTo>
                    <a:pt x="1581" y="2396"/>
                  </a:lnTo>
                  <a:lnTo>
                    <a:pt x="1581" y="2396"/>
                  </a:lnTo>
                  <a:lnTo>
                    <a:pt x="1581" y="2396"/>
                  </a:lnTo>
                  <a:lnTo>
                    <a:pt x="1586" y="2396"/>
                  </a:lnTo>
                  <a:lnTo>
                    <a:pt x="1586" y="2401"/>
                  </a:lnTo>
                  <a:lnTo>
                    <a:pt x="1590" y="2401"/>
                  </a:lnTo>
                  <a:lnTo>
                    <a:pt x="1590" y="2405"/>
                  </a:lnTo>
                  <a:lnTo>
                    <a:pt x="1586" y="2401"/>
                  </a:lnTo>
                  <a:lnTo>
                    <a:pt x="1586" y="2401"/>
                  </a:lnTo>
                  <a:lnTo>
                    <a:pt x="1581" y="2401"/>
                  </a:lnTo>
                  <a:lnTo>
                    <a:pt x="1581" y="2401"/>
                  </a:lnTo>
                  <a:lnTo>
                    <a:pt x="1581" y="2401"/>
                  </a:lnTo>
                  <a:lnTo>
                    <a:pt x="1586" y="2401"/>
                  </a:lnTo>
                  <a:lnTo>
                    <a:pt x="1586" y="2405"/>
                  </a:lnTo>
                  <a:lnTo>
                    <a:pt x="1586" y="2405"/>
                  </a:lnTo>
                  <a:lnTo>
                    <a:pt x="1586" y="2405"/>
                  </a:lnTo>
                  <a:lnTo>
                    <a:pt x="1586" y="2410"/>
                  </a:lnTo>
                  <a:lnTo>
                    <a:pt x="1586" y="2410"/>
                  </a:lnTo>
                  <a:lnTo>
                    <a:pt x="1590" y="2414"/>
                  </a:lnTo>
                  <a:lnTo>
                    <a:pt x="1590" y="2414"/>
                  </a:lnTo>
                  <a:lnTo>
                    <a:pt x="1590" y="2414"/>
                  </a:lnTo>
                  <a:lnTo>
                    <a:pt x="1586" y="2414"/>
                  </a:lnTo>
                  <a:lnTo>
                    <a:pt x="1590" y="2419"/>
                  </a:lnTo>
                  <a:lnTo>
                    <a:pt x="1590" y="2419"/>
                  </a:lnTo>
                  <a:lnTo>
                    <a:pt x="1586" y="2419"/>
                  </a:lnTo>
                  <a:lnTo>
                    <a:pt x="1590" y="2423"/>
                  </a:lnTo>
                  <a:lnTo>
                    <a:pt x="1590" y="2428"/>
                  </a:lnTo>
                  <a:lnTo>
                    <a:pt x="1590" y="2432"/>
                  </a:lnTo>
                  <a:lnTo>
                    <a:pt x="1590" y="2432"/>
                  </a:lnTo>
                  <a:lnTo>
                    <a:pt x="1590" y="2437"/>
                  </a:lnTo>
                  <a:lnTo>
                    <a:pt x="1590" y="2437"/>
                  </a:lnTo>
                  <a:lnTo>
                    <a:pt x="1595" y="2437"/>
                  </a:lnTo>
                  <a:lnTo>
                    <a:pt x="1599" y="2442"/>
                  </a:lnTo>
                  <a:lnTo>
                    <a:pt x="1599" y="2442"/>
                  </a:lnTo>
                  <a:lnTo>
                    <a:pt x="1604" y="2442"/>
                  </a:lnTo>
                  <a:lnTo>
                    <a:pt x="1604" y="2446"/>
                  </a:lnTo>
                  <a:lnTo>
                    <a:pt x="1604" y="2446"/>
                  </a:lnTo>
                  <a:lnTo>
                    <a:pt x="1604" y="2451"/>
                  </a:lnTo>
                  <a:lnTo>
                    <a:pt x="1599" y="2451"/>
                  </a:lnTo>
                  <a:lnTo>
                    <a:pt x="1599" y="2451"/>
                  </a:lnTo>
                  <a:lnTo>
                    <a:pt x="1599" y="2455"/>
                  </a:lnTo>
                  <a:lnTo>
                    <a:pt x="1599" y="2460"/>
                  </a:lnTo>
                  <a:lnTo>
                    <a:pt x="1604" y="2460"/>
                  </a:lnTo>
                  <a:lnTo>
                    <a:pt x="1608" y="2460"/>
                  </a:lnTo>
                  <a:lnTo>
                    <a:pt x="1608" y="2460"/>
                  </a:lnTo>
                  <a:lnTo>
                    <a:pt x="1608" y="2460"/>
                  </a:lnTo>
                  <a:lnTo>
                    <a:pt x="1608" y="2460"/>
                  </a:lnTo>
                  <a:lnTo>
                    <a:pt x="1608" y="2460"/>
                  </a:lnTo>
                  <a:lnTo>
                    <a:pt x="1604" y="2460"/>
                  </a:lnTo>
                  <a:lnTo>
                    <a:pt x="1604" y="2460"/>
                  </a:lnTo>
                  <a:lnTo>
                    <a:pt x="1604" y="2460"/>
                  </a:lnTo>
                  <a:lnTo>
                    <a:pt x="1599" y="2464"/>
                  </a:lnTo>
                  <a:lnTo>
                    <a:pt x="1599" y="2464"/>
                  </a:lnTo>
                  <a:lnTo>
                    <a:pt x="1599" y="2464"/>
                  </a:lnTo>
                  <a:lnTo>
                    <a:pt x="1599" y="2469"/>
                  </a:lnTo>
                  <a:lnTo>
                    <a:pt x="1599" y="2469"/>
                  </a:lnTo>
                  <a:lnTo>
                    <a:pt x="1604" y="2469"/>
                  </a:lnTo>
                  <a:lnTo>
                    <a:pt x="1604" y="2469"/>
                  </a:lnTo>
                  <a:lnTo>
                    <a:pt x="1604" y="2473"/>
                  </a:lnTo>
                  <a:lnTo>
                    <a:pt x="1604" y="2478"/>
                  </a:lnTo>
                  <a:lnTo>
                    <a:pt x="1604" y="2478"/>
                  </a:lnTo>
                  <a:lnTo>
                    <a:pt x="1608" y="2478"/>
                  </a:lnTo>
                  <a:lnTo>
                    <a:pt x="1608" y="2482"/>
                  </a:lnTo>
                  <a:lnTo>
                    <a:pt x="1608" y="2482"/>
                  </a:lnTo>
                  <a:lnTo>
                    <a:pt x="1608" y="2482"/>
                  </a:lnTo>
                  <a:lnTo>
                    <a:pt x="1604" y="2482"/>
                  </a:lnTo>
                  <a:lnTo>
                    <a:pt x="1604" y="2482"/>
                  </a:lnTo>
                  <a:lnTo>
                    <a:pt x="1604" y="2482"/>
                  </a:lnTo>
                  <a:lnTo>
                    <a:pt x="1604" y="2478"/>
                  </a:lnTo>
                  <a:lnTo>
                    <a:pt x="1604" y="2473"/>
                  </a:lnTo>
                  <a:lnTo>
                    <a:pt x="1604" y="2473"/>
                  </a:lnTo>
                  <a:lnTo>
                    <a:pt x="1604" y="2469"/>
                  </a:lnTo>
                  <a:lnTo>
                    <a:pt x="1599" y="2469"/>
                  </a:lnTo>
                  <a:lnTo>
                    <a:pt x="1599" y="2469"/>
                  </a:lnTo>
                  <a:lnTo>
                    <a:pt x="1599" y="2469"/>
                  </a:lnTo>
                  <a:lnTo>
                    <a:pt x="1599" y="2473"/>
                  </a:lnTo>
                  <a:lnTo>
                    <a:pt x="1599" y="2478"/>
                  </a:lnTo>
                  <a:lnTo>
                    <a:pt x="1599" y="2478"/>
                  </a:lnTo>
                  <a:lnTo>
                    <a:pt x="1599" y="2478"/>
                  </a:lnTo>
                  <a:lnTo>
                    <a:pt x="1595" y="2478"/>
                  </a:lnTo>
                  <a:lnTo>
                    <a:pt x="1595" y="2478"/>
                  </a:lnTo>
                  <a:lnTo>
                    <a:pt x="1595" y="2478"/>
                  </a:lnTo>
                  <a:lnTo>
                    <a:pt x="1599" y="2473"/>
                  </a:lnTo>
                  <a:lnTo>
                    <a:pt x="1599" y="2473"/>
                  </a:lnTo>
                  <a:lnTo>
                    <a:pt x="1599" y="2473"/>
                  </a:lnTo>
                  <a:lnTo>
                    <a:pt x="1599" y="2469"/>
                  </a:lnTo>
                  <a:lnTo>
                    <a:pt x="1599" y="2469"/>
                  </a:lnTo>
                  <a:lnTo>
                    <a:pt x="1595" y="2464"/>
                  </a:lnTo>
                  <a:lnTo>
                    <a:pt x="1595" y="2464"/>
                  </a:lnTo>
                  <a:lnTo>
                    <a:pt x="1595" y="2464"/>
                  </a:lnTo>
                  <a:lnTo>
                    <a:pt x="1595" y="2460"/>
                  </a:lnTo>
                  <a:lnTo>
                    <a:pt x="1595" y="2460"/>
                  </a:lnTo>
                  <a:lnTo>
                    <a:pt x="1590" y="2460"/>
                  </a:lnTo>
                  <a:lnTo>
                    <a:pt x="1590" y="2464"/>
                  </a:lnTo>
                  <a:lnTo>
                    <a:pt x="1590" y="2464"/>
                  </a:lnTo>
                  <a:lnTo>
                    <a:pt x="1595" y="2464"/>
                  </a:lnTo>
                  <a:lnTo>
                    <a:pt x="1595" y="2464"/>
                  </a:lnTo>
                  <a:lnTo>
                    <a:pt x="1595" y="2469"/>
                  </a:lnTo>
                  <a:lnTo>
                    <a:pt x="1595" y="2469"/>
                  </a:lnTo>
                  <a:lnTo>
                    <a:pt x="1595" y="2469"/>
                  </a:lnTo>
                  <a:lnTo>
                    <a:pt x="1590" y="2469"/>
                  </a:lnTo>
                  <a:lnTo>
                    <a:pt x="1590" y="2469"/>
                  </a:lnTo>
                  <a:lnTo>
                    <a:pt x="1590" y="2469"/>
                  </a:lnTo>
                  <a:lnTo>
                    <a:pt x="1586" y="2469"/>
                  </a:lnTo>
                  <a:lnTo>
                    <a:pt x="1586" y="2469"/>
                  </a:lnTo>
                  <a:lnTo>
                    <a:pt x="1581" y="2473"/>
                  </a:lnTo>
                  <a:lnTo>
                    <a:pt x="1581" y="2473"/>
                  </a:lnTo>
                  <a:lnTo>
                    <a:pt x="1586" y="2478"/>
                  </a:lnTo>
                  <a:lnTo>
                    <a:pt x="1586" y="2478"/>
                  </a:lnTo>
                  <a:lnTo>
                    <a:pt x="1586" y="2478"/>
                  </a:lnTo>
                  <a:lnTo>
                    <a:pt x="1586" y="2482"/>
                  </a:lnTo>
                  <a:lnTo>
                    <a:pt x="1581" y="2482"/>
                  </a:lnTo>
                  <a:lnTo>
                    <a:pt x="1581" y="2482"/>
                  </a:lnTo>
                  <a:lnTo>
                    <a:pt x="1581" y="2487"/>
                  </a:lnTo>
                  <a:lnTo>
                    <a:pt x="1581" y="2487"/>
                  </a:lnTo>
                  <a:lnTo>
                    <a:pt x="1581" y="2491"/>
                  </a:lnTo>
                  <a:lnTo>
                    <a:pt x="1581" y="2491"/>
                  </a:lnTo>
                  <a:lnTo>
                    <a:pt x="1586" y="2491"/>
                  </a:lnTo>
                  <a:lnTo>
                    <a:pt x="1586" y="2491"/>
                  </a:lnTo>
                  <a:lnTo>
                    <a:pt x="1586" y="2491"/>
                  </a:lnTo>
                  <a:lnTo>
                    <a:pt x="1586" y="2491"/>
                  </a:lnTo>
                  <a:lnTo>
                    <a:pt x="1586" y="2487"/>
                  </a:lnTo>
                  <a:lnTo>
                    <a:pt x="1586" y="2487"/>
                  </a:lnTo>
                  <a:lnTo>
                    <a:pt x="1581" y="2487"/>
                  </a:lnTo>
                  <a:lnTo>
                    <a:pt x="1581" y="2487"/>
                  </a:lnTo>
                  <a:lnTo>
                    <a:pt x="1581" y="2487"/>
                  </a:lnTo>
                  <a:lnTo>
                    <a:pt x="1586" y="2487"/>
                  </a:lnTo>
                  <a:lnTo>
                    <a:pt x="1586" y="2487"/>
                  </a:lnTo>
                  <a:lnTo>
                    <a:pt x="1590" y="2482"/>
                  </a:lnTo>
                  <a:lnTo>
                    <a:pt x="1590" y="2482"/>
                  </a:lnTo>
                  <a:lnTo>
                    <a:pt x="1590" y="2487"/>
                  </a:lnTo>
                  <a:lnTo>
                    <a:pt x="1590" y="2487"/>
                  </a:lnTo>
                  <a:lnTo>
                    <a:pt x="1590" y="2487"/>
                  </a:lnTo>
                  <a:lnTo>
                    <a:pt x="1595" y="2487"/>
                  </a:lnTo>
                  <a:lnTo>
                    <a:pt x="1595" y="2491"/>
                  </a:lnTo>
                  <a:lnTo>
                    <a:pt x="1599" y="2491"/>
                  </a:lnTo>
                  <a:lnTo>
                    <a:pt x="1599" y="2491"/>
                  </a:lnTo>
                  <a:lnTo>
                    <a:pt x="1599" y="2491"/>
                  </a:lnTo>
                  <a:lnTo>
                    <a:pt x="1599" y="2491"/>
                  </a:lnTo>
                  <a:lnTo>
                    <a:pt x="1599" y="2487"/>
                  </a:lnTo>
                  <a:lnTo>
                    <a:pt x="1599" y="2487"/>
                  </a:lnTo>
                  <a:lnTo>
                    <a:pt x="1604" y="2487"/>
                  </a:lnTo>
                  <a:lnTo>
                    <a:pt x="1604" y="2491"/>
                  </a:lnTo>
                  <a:lnTo>
                    <a:pt x="1604" y="2491"/>
                  </a:lnTo>
                  <a:lnTo>
                    <a:pt x="1604" y="2496"/>
                  </a:lnTo>
                  <a:lnTo>
                    <a:pt x="1608" y="2496"/>
                  </a:lnTo>
                  <a:lnTo>
                    <a:pt x="1608" y="2496"/>
                  </a:lnTo>
                  <a:lnTo>
                    <a:pt x="1604" y="2500"/>
                  </a:lnTo>
                  <a:lnTo>
                    <a:pt x="1604" y="2500"/>
                  </a:lnTo>
                  <a:lnTo>
                    <a:pt x="1608" y="2500"/>
                  </a:lnTo>
                  <a:lnTo>
                    <a:pt x="1608" y="2505"/>
                  </a:lnTo>
                  <a:lnTo>
                    <a:pt x="1613" y="2505"/>
                  </a:lnTo>
                  <a:lnTo>
                    <a:pt x="1613" y="2505"/>
                  </a:lnTo>
                  <a:lnTo>
                    <a:pt x="1613" y="2505"/>
                  </a:lnTo>
                  <a:lnTo>
                    <a:pt x="1613" y="2505"/>
                  </a:lnTo>
                  <a:lnTo>
                    <a:pt x="1608" y="2505"/>
                  </a:lnTo>
                  <a:lnTo>
                    <a:pt x="1608" y="2505"/>
                  </a:lnTo>
                  <a:lnTo>
                    <a:pt x="1608" y="2505"/>
                  </a:lnTo>
                  <a:lnTo>
                    <a:pt x="1608" y="2505"/>
                  </a:lnTo>
                  <a:lnTo>
                    <a:pt x="1604" y="2505"/>
                  </a:lnTo>
                  <a:lnTo>
                    <a:pt x="1604" y="2505"/>
                  </a:lnTo>
                  <a:lnTo>
                    <a:pt x="1608" y="2505"/>
                  </a:lnTo>
                  <a:lnTo>
                    <a:pt x="1608" y="2505"/>
                  </a:lnTo>
                  <a:lnTo>
                    <a:pt x="1608" y="2509"/>
                  </a:lnTo>
                  <a:lnTo>
                    <a:pt x="1613" y="2509"/>
                  </a:lnTo>
                  <a:lnTo>
                    <a:pt x="1613" y="2509"/>
                  </a:lnTo>
                  <a:lnTo>
                    <a:pt x="1613" y="2509"/>
                  </a:lnTo>
                  <a:lnTo>
                    <a:pt x="1613" y="2509"/>
                  </a:lnTo>
                  <a:lnTo>
                    <a:pt x="1617" y="2509"/>
                  </a:lnTo>
                  <a:lnTo>
                    <a:pt x="1617" y="2509"/>
                  </a:lnTo>
                  <a:lnTo>
                    <a:pt x="1617" y="2509"/>
                  </a:lnTo>
                  <a:lnTo>
                    <a:pt x="1617" y="2505"/>
                  </a:lnTo>
                  <a:lnTo>
                    <a:pt x="1617" y="2505"/>
                  </a:lnTo>
                  <a:lnTo>
                    <a:pt x="1617" y="2505"/>
                  </a:lnTo>
                  <a:lnTo>
                    <a:pt x="1622" y="2509"/>
                  </a:lnTo>
                  <a:lnTo>
                    <a:pt x="1622" y="2509"/>
                  </a:lnTo>
                  <a:lnTo>
                    <a:pt x="1622" y="2509"/>
                  </a:lnTo>
                  <a:lnTo>
                    <a:pt x="1626" y="2509"/>
                  </a:lnTo>
                  <a:lnTo>
                    <a:pt x="1626" y="2514"/>
                  </a:lnTo>
                  <a:lnTo>
                    <a:pt x="1626" y="2514"/>
                  </a:lnTo>
                  <a:lnTo>
                    <a:pt x="1631" y="2514"/>
                  </a:lnTo>
                  <a:lnTo>
                    <a:pt x="1626" y="2514"/>
                  </a:lnTo>
                  <a:lnTo>
                    <a:pt x="1622" y="2514"/>
                  </a:lnTo>
                  <a:lnTo>
                    <a:pt x="1613" y="2514"/>
                  </a:lnTo>
                  <a:lnTo>
                    <a:pt x="1613" y="2509"/>
                  </a:lnTo>
                  <a:lnTo>
                    <a:pt x="1608" y="2509"/>
                  </a:lnTo>
                  <a:lnTo>
                    <a:pt x="1613" y="2514"/>
                  </a:lnTo>
                  <a:lnTo>
                    <a:pt x="1613" y="2518"/>
                  </a:lnTo>
                  <a:lnTo>
                    <a:pt x="1613" y="2518"/>
                  </a:lnTo>
                  <a:lnTo>
                    <a:pt x="1617" y="2518"/>
                  </a:lnTo>
                  <a:lnTo>
                    <a:pt x="1617" y="2518"/>
                  </a:lnTo>
                  <a:lnTo>
                    <a:pt x="1617" y="2518"/>
                  </a:lnTo>
                  <a:lnTo>
                    <a:pt x="1622" y="2518"/>
                  </a:lnTo>
                  <a:lnTo>
                    <a:pt x="1622" y="2518"/>
                  </a:lnTo>
                  <a:lnTo>
                    <a:pt x="1622" y="2518"/>
                  </a:lnTo>
                  <a:lnTo>
                    <a:pt x="1622" y="2518"/>
                  </a:lnTo>
                  <a:lnTo>
                    <a:pt x="1622" y="2518"/>
                  </a:lnTo>
                  <a:lnTo>
                    <a:pt x="1622" y="2523"/>
                  </a:lnTo>
                  <a:lnTo>
                    <a:pt x="1617" y="2523"/>
                  </a:lnTo>
                  <a:lnTo>
                    <a:pt x="1622" y="2527"/>
                  </a:lnTo>
                  <a:lnTo>
                    <a:pt x="1622" y="2532"/>
                  </a:lnTo>
                  <a:lnTo>
                    <a:pt x="1626" y="2536"/>
                  </a:lnTo>
                  <a:lnTo>
                    <a:pt x="1626" y="2536"/>
                  </a:lnTo>
                  <a:lnTo>
                    <a:pt x="1626" y="2536"/>
                  </a:lnTo>
                  <a:lnTo>
                    <a:pt x="1631" y="2541"/>
                  </a:lnTo>
                  <a:lnTo>
                    <a:pt x="1631" y="2541"/>
                  </a:lnTo>
                  <a:lnTo>
                    <a:pt x="1631" y="2536"/>
                  </a:lnTo>
                  <a:lnTo>
                    <a:pt x="1631" y="2536"/>
                  </a:lnTo>
                  <a:lnTo>
                    <a:pt x="1631" y="2536"/>
                  </a:lnTo>
                  <a:lnTo>
                    <a:pt x="1631" y="2532"/>
                  </a:lnTo>
                  <a:lnTo>
                    <a:pt x="1626" y="2532"/>
                  </a:lnTo>
                  <a:lnTo>
                    <a:pt x="1626" y="2532"/>
                  </a:lnTo>
                  <a:lnTo>
                    <a:pt x="1631" y="2532"/>
                  </a:lnTo>
                  <a:lnTo>
                    <a:pt x="1631" y="2532"/>
                  </a:lnTo>
                  <a:lnTo>
                    <a:pt x="1631" y="2532"/>
                  </a:lnTo>
                  <a:lnTo>
                    <a:pt x="1631" y="2532"/>
                  </a:lnTo>
                  <a:lnTo>
                    <a:pt x="1631" y="2532"/>
                  </a:lnTo>
                  <a:lnTo>
                    <a:pt x="1631" y="2536"/>
                  </a:lnTo>
                  <a:lnTo>
                    <a:pt x="1631" y="2536"/>
                  </a:lnTo>
                  <a:lnTo>
                    <a:pt x="1631" y="2536"/>
                  </a:lnTo>
                  <a:lnTo>
                    <a:pt x="1631" y="2536"/>
                  </a:lnTo>
                  <a:lnTo>
                    <a:pt x="1635" y="2541"/>
                  </a:lnTo>
                  <a:lnTo>
                    <a:pt x="1635" y="2541"/>
                  </a:lnTo>
                  <a:lnTo>
                    <a:pt x="1635" y="2541"/>
                  </a:lnTo>
                  <a:lnTo>
                    <a:pt x="1635" y="2541"/>
                  </a:lnTo>
                  <a:lnTo>
                    <a:pt x="1635" y="2541"/>
                  </a:lnTo>
                  <a:lnTo>
                    <a:pt x="1631" y="2541"/>
                  </a:lnTo>
                  <a:lnTo>
                    <a:pt x="1631" y="2541"/>
                  </a:lnTo>
                  <a:lnTo>
                    <a:pt x="1631" y="2541"/>
                  </a:lnTo>
                  <a:lnTo>
                    <a:pt x="1631" y="2546"/>
                  </a:lnTo>
                  <a:lnTo>
                    <a:pt x="1631" y="2546"/>
                  </a:lnTo>
                  <a:lnTo>
                    <a:pt x="1635" y="2546"/>
                  </a:lnTo>
                  <a:lnTo>
                    <a:pt x="1635" y="2550"/>
                  </a:lnTo>
                  <a:lnTo>
                    <a:pt x="1640" y="2546"/>
                  </a:lnTo>
                  <a:lnTo>
                    <a:pt x="1640" y="2550"/>
                  </a:lnTo>
                  <a:lnTo>
                    <a:pt x="1640" y="2550"/>
                  </a:lnTo>
                  <a:lnTo>
                    <a:pt x="1635" y="2550"/>
                  </a:lnTo>
                  <a:lnTo>
                    <a:pt x="1635" y="2550"/>
                  </a:lnTo>
                  <a:lnTo>
                    <a:pt x="1631" y="2555"/>
                  </a:lnTo>
                  <a:lnTo>
                    <a:pt x="1635" y="2555"/>
                  </a:lnTo>
                  <a:lnTo>
                    <a:pt x="1635" y="2555"/>
                  </a:lnTo>
                  <a:lnTo>
                    <a:pt x="1635" y="2555"/>
                  </a:lnTo>
                  <a:lnTo>
                    <a:pt x="1640" y="2555"/>
                  </a:lnTo>
                  <a:lnTo>
                    <a:pt x="1644" y="2559"/>
                  </a:lnTo>
                  <a:lnTo>
                    <a:pt x="1644" y="2559"/>
                  </a:lnTo>
                  <a:lnTo>
                    <a:pt x="1640" y="2559"/>
                  </a:lnTo>
                  <a:lnTo>
                    <a:pt x="1644" y="2559"/>
                  </a:lnTo>
                  <a:lnTo>
                    <a:pt x="1644" y="2559"/>
                  </a:lnTo>
                  <a:lnTo>
                    <a:pt x="1644" y="2564"/>
                  </a:lnTo>
                  <a:lnTo>
                    <a:pt x="1649" y="2564"/>
                  </a:lnTo>
                  <a:lnTo>
                    <a:pt x="1649" y="2564"/>
                  </a:lnTo>
                  <a:lnTo>
                    <a:pt x="1649" y="2559"/>
                  </a:lnTo>
                  <a:lnTo>
                    <a:pt x="1649" y="2559"/>
                  </a:lnTo>
                  <a:lnTo>
                    <a:pt x="1649" y="2559"/>
                  </a:lnTo>
                  <a:lnTo>
                    <a:pt x="1649" y="2559"/>
                  </a:lnTo>
                  <a:lnTo>
                    <a:pt x="1649" y="2559"/>
                  </a:lnTo>
                  <a:lnTo>
                    <a:pt x="1649" y="2559"/>
                  </a:lnTo>
                  <a:lnTo>
                    <a:pt x="1649" y="2559"/>
                  </a:lnTo>
                  <a:lnTo>
                    <a:pt x="1649" y="2564"/>
                  </a:lnTo>
                  <a:lnTo>
                    <a:pt x="1649" y="2564"/>
                  </a:lnTo>
                  <a:lnTo>
                    <a:pt x="1653" y="2568"/>
                  </a:lnTo>
                  <a:lnTo>
                    <a:pt x="1649" y="2568"/>
                  </a:lnTo>
                  <a:lnTo>
                    <a:pt x="1644" y="2564"/>
                  </a:lnTo>
                  <a:lnTo>
                    <a:pt x="1644" y="2564"/>
                  </a:lnTo>
                  <a:lnTo>
                    <a:pt x="1644" y="2564"/>
                  </a:lnTo>
                  <a:lnTo>
                    <a:pt x="1640" y="2559"/>
                  </a:lnTo>
                  <a:lnTo>
                    <a:pt x="1640" y="2559"/>
                  </a:lnTo>
                  <a:lnTo>
                    <a:pt x="1635" y="2555"/>
                  </a:lnTo>
                  <a:lnTo>
                    <a:pt x="1635" y="2555"/>
                  </a:lnTo>
                  <a:lnTo>
                    <a:pt x="1631" y="2559"/>
                  </a:lnTo>
                  <a:lnTo>
                    <a:pt x="1631" y="2559"/>
                  </a:lnTo>
                  <a:lnTo>
                    <a:pt x="1635" y="2559"/>
                  </a:lnTo>
                  <a:lnTo>
                    <a:pt x="1635" y="2559"/>
                  </a:lnTo>
                  <a:lnTo>
                    <a:pt x="1635" y="2564"/>
                  </a:lnTo>
                  <a:lnTo>
                    <a:pt x="1635" y="2564"/>
                  </a:lnTo>
                  <a:lnTo>
                    <a:pt x="1631" y="2564"/>
                  </a:lnTo>
                  <a:lnTo>
                    <a:pt x="1631" y="2564"/>
                  </a:lnTo>
                  <a:lnTo>
                    <a:pt x="1635" y="2568"/>
                  </a:lnTo>
                  <a:lnTo>
                    <a:pt x="1640" y="2568"/>
                  </a:lnTo>
                  <a:lnTo>
                    <a:pt x="1640" y="2568"/>
                  </a:lnTo>
                  <a:lnTo>
                    <a:pt x="1644" y="2573"/>
                  </a:lnTo>
                  <a:lnTo>
                    <a:pt x="1644" y="2573"/>
                  </a:lnTo>
                  <a:lnTo>
                    <a:pt x="1644" y="2573"/>
                  </a:lnTo>
                  <a:lnTo>
                    <a:pt x="1649" y="2573"/>
                  </a:lnTo>
                  <a:lnTo>
                    <a:pt x="1649" y="2573"/>
                  </a:lnTo>
                  <a:lnTo>
                    <a:pt x="1649" y="2573"/>
                  </a:lnTo>
                  <a:lnTo>
                    <a:pt x="1653" y="2573"/>
                  </a:lnTo>
                  <a:lnTo>
                    <a:pt x="1653" y="2573"/>
                  </a:lnTo>
                  <a:lnTo>
                    <a:pt x="1658" y="2582"/>
                  </a:lnTo>
                  <a:lnTo>
                    <a:pt x="1653" y="2577"/>
                  </a:lnTo>
                  <a:lnTo>
                    <a:pt x="1653" y="2582"/>
                  </a:lnTo>
                  <a:lnTo>
                    <a:pt x="1653" y="2582"/>
                  </a:lnTo>
                  <a:lnTo>
                    <a:pt x="1658" y="2582"/>
                  </a:lnTo>
                  <a:lnTo>
                    <a:pt x="1658" y="2582"/>
                  </a:lnTo>
                  <a:lnTo>
                    <a:pt x="1658" y="2582"/>
                  </a:lnTo>
                  <a:lnTo>
                    <a:pt x="1663" y="2582"/>
                  </a:lnTo>
                  <a:lnTo>
                    <a:pt x="1663" y="2582"/>
                  </a:lnTo>
                  <a:lnTo>
                    <a:pt x="1663" y="2582"/>
                  </a:lnTo>
                  <a:lnTo>
                    <a:pt x="1667" y="2586"/>
                  </a:lnTo>
                  <a:lnTo>
                    <a:pt x="1667" y="2586"/>
                  </a:lnTo>
                  <a:lnTo>
                    <a:pt x="1672" y="2586"/>
                  </a:lnTo>
                  <a:lnTo>
                    <a:pt x="1672" y="2586"/>
                  </a:lnTo>
                  <a:lnTo>
                    <a:pt x="1672" y="2582"/>
                  </a:lnTo>
                  <a:lnTo>
                    <a:pt x="1676" y="2582"/>
                  </a:lnTo>
                  <a:lnTo>
                    <a:pt x="1676" y="2582"/>
                  </a:lnTo>
                  <a:lnTo>
                    <a:pt x="1676" y="2582"/>
                  </a:lnTo>
                  <a:lnTo>
                    <a:pt x="1676" y="2582"/>
                  </a:lnTo>
                  <a:lnTo>
                    <a:pt x="1672" y="2577"/>
                  </a:lnTo>
                  <a:lnTo>
                    <a:pt x="1667" y="2577"/>
                  </a:lnTo>
                  <a:lnTo>
                    <a:pt x="1667" y="2577"/>
                  </a:lnTo>
                  <a:lnTo>
                    <a:pt x="1667" y="2577"/>
                  </a:lnTo>
                  <a:lnTo>
                    <a:pt x="1667" y="2577"/>
                  </a:lnTo>
                  <a:lnTo>
                    <a:pt x="1667" y="2577"/>
                  </a:lnTo>
                  <a:lnTo>
                    <a:pt x="1672" y="2577"/>
                  </a:lnTo>
                  <a:lnTo>
                    <a:pt x="1676" y="2582"/>
                  </a:lnTo>
                  <a:lnTo>
                    <a:pt x="1681" y="2582"/>
                  </a:lnTo>
                  <a:lnTo>
                    <a:pt x="1681" y="2582"/>
                  </a:lnTo>
                  <a:lnTo>
                    <a:pt x="1681" y="2582"/>
                  </a:lnTo>
                  <a:lnTo>
                    <a:pt x="1681" y="2586"/>
                  </a:lnTo>
                  <a:lnTo>
                    <a:pt x="1681" y="2586"/>
                  </a:lnTo>
                  <a:lnTo>
                    <a:pt x="1681" y="2586"/>
                  </a:lnTo>
                  <a:lnTo>
                    <a:pt x="1681" y="2591"/>
                  </a:lnTo>
                  <a:lnTo>
                    <a:pt x="1685" y="2591"/>
                  </a:lnTo>
                  <a:lnTo>
                    <a:pt x="1685" y="2591"/>
                  </a:lnTo>
                  <a:lnTo>
                    <a:pt x="1685" y="2591"/>
                  </a:lnTo>
                  <a:lnTo>
                    <a:pt x="1685" y="2591"/>
                  </a:lnTo>
                  <a:lnTo>
                    <a:pt x="1685" y="2591"/>
                  </a:lnTo>
                  <a:lnTo>
                    <a:pt x="1681" y="2595"/>
                  </a:lnTo>
                  <a:lnTo>
                    <a:pt x="1681" y="2591"/>
                  </a:lnTo>
                  <a:lnTo>
                    <a:pt x="1681" y="2591"/>
                  </a:lnTo>
                  <a:lnTo>
                    <a:pt x="1681" y="2591"/>
                  </a:lnTo>
                  <a:lnTo>
                    <a:pt x="1681" y="2591"/>
                  </a:lnTo>
                  <a:lnTo>
                    <a:pt x="1681" y="2586"/>
                  </a:lnTo>
                  <a:lnTo>
                    <a:pt x="1681" y="2586"/>
                  </a:lnTo>
                  <a:lnTo>
                    <a:pt x="1681" y="2586"/>
                  </a:lnTo>
                  <a:lnTo>
                    <a:pt x="1676" y="2586"/>
                  </a:lnTo>
                  <a:lnTo>
                    <a:pt x="1676" y="2586"/>
                  </a:lnTo>
                  <a:lnTo>
                    <a:pt x="1676" y="2586"/>
                  </a:lnTo>
                  <a:lnTo>
                    <a:pt x="1676" y="2586"/>
                  </a:lnTo>
                  <a:lnTo>
                    <a:pt x="1676" y="2586"/>
                  </a:lnTo>
                  <a:lnTo>
                    <a:pt x="1672" y="2591"/>
                  </a:lnTo>
                  <a:lnTo>
                    <a:pt x="1672" y="2591"/>
                  </a:lnTo>
                  <a:lnTo>
                    <a:pt x="1672" y="2591"/>
                  </a:lnTo>
                  <a:lnTo>
                    <a:pt x="1672" y="2591"/>
                  </a:lnTo>
                  <a:lnTo>
                    <a:pt x="1667" y="2591"/>
                  </a:lnTo>
                  <a:lnTo>
                    <a:pt x="1667" y="2586"/>
                  </a:lnTo>
                  <a:lnTo>
                    <a:pt x="1667" y="2586"/>
                  </a:lnTo>
                  <a:lnTo>
                    <a:pt x="1667" y="2591"/>
                  </a:lnTo>
                  <a:lnTo>
                    <a:pt x="1667" y="2591"/>
                  </a:lnTo>
                  <a:lnTo>
                    <a:pt x="1667" y="2591"/>
                  </a:lnTo>
                  <a:lnTo>
                    <a:pt x="1667" y="2591"/>
                  </a:lnTo>
                  <a:lnTo>
                    <a:pt x="1663" y="2591"/>
                  </a:lnTo>
                  <a:lnTo>
                    <a:pt x="1658" y="2591"/>
                  </a:lnTo>
                  <a:lnTo>
                    <a:pt x="1658" y="2591"/>
                  </a:lnTo>
                  <a:lnTo>
                    <a:pt x="1658" y="2591"/>
                  </a:lnTo>
                  <a:lnTo>
                    <a:pt x="1658" y="2591"/>
                  </a:lnTo>
                  <a:lnTo>
                    <a:pt x="1658" y="2591"/>
                  </a:lnTo>
                  <a:lnTo>
                    <a:pt x="1658" y="2591"/>
                  </a:lnTo>
                  <a:lnTo>
                    <a:pt x="1663" y="2591"/>
                  </a:lnTo>
                  <a:lnTo>
                    <a:pt x="1663" y="2595"/>
                  </a:lnTo>
                  <a:lnTo>
                    <a:pt x="1663" y="2595"/>
                  </a:lnTo>
                  <a:lnTo>
                    <a:pt x="1663" y="2595"/>
                  </a:lnTo>
                  <a:lnTo>
                    <a:pt x="1667" y="2595"/>
                  </a:lnTo>
                  <a:lnTo>
                    <a:pt x="1667" y="2600"/>
                  </a:lnTo>
                  <a:lnTo>
                    <a:pt x="1667" y="2600"/>
                  </a:lnTo>
                  <a:lnTo>
                    <a:pt x="1667" y="2600"/>
                  </a:lnTo>
                  <a:lnTo>
                    <a:pt x="1672" y="2600"/>
                  </a:lnTo>
                  <a:lnTo>
                    <a:pt x="1672" y="2600"/>
                  </a:lnTo>
                  <a:lnTo>
                    <a:pt x="1676" y="2600"/>
                  </a:lnTo>
                  <a:lnTo>
                    <a:pt x="1676" y="2600"/>
                  </a:lnTo>
                  <a:lnTo>
                    <a:pt x="1676" y="2595"/>
                  </a:lnTo>
                  <a:lnTo>
                    <a:pt x="1676" y="2595"/>
                  </a:lnTo>
                  <a:lnTo>
                    <a:pt x="1676" y="2595"/>
                  </a:lnTo>
                  <a:lnTo>
                    <a:pt x="1681" y="2595"/>
                  </a:lnTo>
                  <a:lnTo>
                    <a:pt x="1681" y="2595"/>
                  </a:lnTo>
                  <a:lnTo>
                    <a:pt x="1681" y="2600"/>
                  </a:lnTo>
                  <a:lnTo>
                    <a:pt x="1676" y="2600"/>
                  </a:lnTo>
                  <a:lnTo>
                    <a:pt x="1676" y="2604"/>
                  </a:lnTo>
                  <a:lnTo>
                    <a:pt x="1676" y="2604"/>
                  </a:lnTo>
                  <a:lnTo>
                    <a:pt x="1681" y="2604"/>
                  </a:lnTo>
                  <a:lnTo>
                    <a:pt x="1681" y="2604"/>
                  </a:lnTo>
                  <a:lnTo>
                    <a:pt x="1685" y="2604"/>
                  </a:lnTo>
                  <a:lnTo>
                    <a:pt x="1685" y="2604"/>
                  </a:lnTo>
                  <a:lnTo>
                    <a:pt x="1685" y="2604"/>
                  </a:lnTo>
                  <a:lnTo>
                    <a:pt x="1685" y="2604"/>
                  </a:lnTo>
                  <a:lnTo>
                    <a:pt x="1685" y="2604"/>
                  </a:lnTo>
                  <a:lnTo>
                    <a:pt x="1685" y="2600"/>
                  </a:lnTo>
                  <a:lnTo>
                    <a:pt x="1685" y="2600"/>
                  </a:lnTo>
                  <a:lnTo>
                    <a:pt x="1685" y="2600"/>
                  </a:lnTo>
                  <a:lnTo>
                    <a:pt x="1685" y="2595"/>
                  </a:lnTo>
                  <a:lnTo>
                    <a:pt x="1685" y="2595"/>
                  </a:lnTo>
                  <a:lnTo>
                    <a:pt x="1685" y="2595"/>
                  </a:lnTo>
                  <a:lnTo>
                    <a:pt x="1685" y="2595"/>
                  </a:lnTo>
                  <a:lnTo>
                    <a:pt x="1690" y="2595"/>
                  </a:lnTo>
                  <a:lnTo>
                    <a:pt x="1690" y="2595"/>
                  </a:lnTo>
                  <a:lnTo>
                    <a:pt x="1690" y="2595"/>
                  </a:lnTo>
                  <a:lnTo>
                    <a:pt x="1690" y="2595"/>
                  </a:lnTo>
                  <a:lnTo>
                    <a:pt x="1694" y="2595"/>
                  </a:lnTo>
                  <a:lnTo>
                    <a:pt x="1699" y="2595"/>
                  </a:lnTo>
                  <a:lnTo>
                    <a:pt x="1703" y="2595"/>
                  </a:lnTo>
                  <a:lnTo>
                    <a:pt x="1703" y="2595"/>
                  </a:lnTo>
                  <a:lnTo>
                    <a:pt x="1699" y="2595"/>
                  </a:lnTo>
                  <a:lnTo>
                    <a:pt x="1699" y="2600"/>
                  </a:lnTo>
                  <a:lnTo>
                    <a:pt x="1694" y="2595"/>
                  </a:lnTo>
                  <a:lnTo>
                    <a:pt x="1694" y="2600"/>
                  </a:lnTo>
                  <a:lnTo>
                    <a:pt x="1690" y="2600"/>
                  </a:lnTo>
                  <a:lnTo>
                    <a:pt x="1690" y="2600"/>
                  </a:lnTo>
                  <a:lnTo>
                    <a:pt x="1690" y="2600"/>
                  </a:lnTo>
                  <a:lnTo>
                    <a:pt x="1685" y="2600"/>
                  </a:lnTo>
                  <a:lnTo>
                    <a:pt x="1685" y="2600"/>
                  </a:lnTo>
                  <a:lnTo>
                    <a:pt x="1685" y="2600"/>
                  </a:lnTo>
                  <a:lnTo>
                    <a:pt x="1685" y="2604"/>
                  </a:lnTo>
                  <a:lnTo>
                    <a:pt x="1685" y="2604"/>
                  </a:lnTo>
                  <a:lnTo>
                    <a:pt x="1690" y="2609"/>
                  </a:lnTo>
                  <a:lnTo>
                    <a:pt x="1685" y="2609"/>
                  </a:lnTo>
                  <a:lnTo>
                    <a:pt x="1685" y="2609"/>
                  </a:lnTo>
                  <a:lnTo>
                    <a:pt x="1690" y="2609"/>
                  </a:lnTo>
                  <a:lnTo>
                    <a:pt x="1694" y="2613"/>
                  </a:lnTo>
                  <a:lnTo>
                    <a:pt x="1699" y="2613"/>
                  </a:lnTo>
                  <a:lnTo>
                    <a:pt x="1694" y="2613"/>
                  </a:lnTo>
                  <a:lnTo>
                    <a:pt x="1694" y="2609"/>
                  </a:lnTo>
                  <a:lnTo>
                    <a:pt x="1694" y="2609"/>
                  </a:lnTo>
                  <a:lnTo>
                    <a:pt x="1699" y="2609"/>
                  </a:lnTo>
                  <a:lnTo>
                    <a:pt x="1699" y="2604"/>
                  </a:lnTo>
                  <a:lnTo>
                    <a:pt x="1699" y="2604"/>
                  </a:lnTo>
                  <a:lnTo>
                    <a:pt x="1703" y="2600"/>
                  </a:lnTo>
                  <a:lnTo>
                    <a:pt x="1708" y="2600"/>
                  </a:lnTo>
                  <a:lnTo>
                    <a:pt x="1708" y="2600"/>
                  </a:lnTo>
                  <a:lnTo>
                    <a:pt x="1708" y="2600"/>
                  </a:lnTo>
                  <a:lnTo>
                    <a:pt x="1708" y="2600"/>
                  </a:lnTo>
                  <a:lnTo>
                    <a:pt x="1708" y="2604"/>
                  </a:lnTo>
                  <a:lnTo>
                    <a:pt x="1708" y="2604"/>
                  </a:lnTo>
                  <a:lnTo>
                    <a:pt x="1703" y="2609"/>
                  </a:lnTo>
                  <a:lnTo>
                    <a:pt x="1708" y="2613"/>
                  </a:lnTo>
                  <a:lnTo>
                    <a:pt x="1708" y="2613"/>
                  </a:lnTo>
                  <a:lnTo>
                    <a:pt x="1708" y="2613"/>
                  </a:lnTo>
                  <a:lnTo>
                    <a:pt x="1708" y="2613"/>
                  </a:lnTo>
                  <a:lnTo>
                    <a:pt x="1708" y="2613"/>
                  </a:lnTo>
                  <a:lnTo>
                    <a:pt x="1703" y="2609"/>
                  </a:lnTo>
                  <a:lnTo>
                    <a:pt x="1703" y="2609"/>
                  </a:lnTo>
                  <a:lnTo>
                    <a:pt x="1699" y="2609"/>
                  </a:lnTo>
                  <a:lnTo>
                    <a:pt x="1699" y="2609"/>
                  </a:lnTo>
                  <a:lnTo>
                    <a:pt x="1699" y="2609"/>
                  </a:lnTo>
                  <a:lnTo>
                    <a:pt x="1699" y="2609"/>
                  </a:lnTo>
                  <a:lnTo>
                    <a:pt x="1699" y="2613"/>
                  </a:lnTo>
                  <a:lnTo>
                    <a:pt x="1699" y="2613"/>
                  </a:lnTo>
                  <a:lnTo>
                    <a:pt x="1703" y="2618"/>
                  </a:lnTo>
                  <a:lnTo>
                    <a:pt x="1703" y="2618"/>
                  </a:lnTo>
                  <a:lnTo>
                    <a:pt x="1708" y="2618"/>
                  </a:lnTo>
                  <a:lnTo>
                    <a:pt x="1712" y="2618"/>
                  </a:lnTo>
                  <a:lnTo>
                    <a:pt x="1717" y="2618"/>
                  </a:lnTo>
                  <a:lnTo>
                    <a:pt x="1717" y="2622"/>
                  </a:lnTo>
                  <a:lnTo>
                    <a:pt x="1721" y="2618"/>
                  </a:lnTo>
                  <a:lnTo>
                    <a:pt x="1721" y="2618"/>
                  </a:lnTo>
                  <a:lnTo>
                    <a:pt x="1721" y="2613"/>
                  </a:lnTo>
                  <a:lnTo>
                    <a:pt x="1717" y="2613"/>
                  </a:lnTo>
                  <a:lnTo>
                    <a:pt x="1717" y="2609"/>
                  </a:lnTo>
                  <a:lnTo>
                    <a:pt x="1717" y="2609"/>
                  </a:lnTo>
                  <a:lnTo>
                    <a:pt x="1717" y="2604"/>
                  </a:lnTo>
                  <a:lnTo>
                    <a:pt x="1712" y="2600"/>
                  </a:lnTo>
                  <a:lnTo>
                    <a:pt x="1712" y="2600"/>
                  </a:lnTo>
                  <a:lnTo>
                    <a:pt x="1712" y="2600"/>
                  </a:lnTo>
                  <a:lnTo>
                    <a:pt x="1717" y="2595"/>
                  </a:lnTo>
                  <a:lnTo>
                    <a:pt x="1717" y="2595"/>
                  </a:lnTo>
                  <a:lnTo>
                    <a:pt x="1721" y="2595"/>
                  </a:lnTo>
                  <a:lnTo>
                    <a:pt x="1726" y="2591"/>
                  </a:lnTo>
                  <a:lnTo>
                    <a:pt x="1726" y="2591"/>
                  </a:lnTo>
                  <a:lnTo>
                    <a:pt x="1726" y="2591"/>
                  </a:lnTo>
                  <a:lnTo>
                    <a:pt x="1726" y="2586"/>
                  </a:lnTo>
                  <a:lnTo>
                    <a:pt x="1730" y="2586"/>
                  </a:lnTo>
                  <a:lnTo>
                    <a:pt x="1730" y="2586"/>
                  </a:lnTo>
                  <a:lnTo>
                    <a:pt x="1730" y="2586"/>
                  </a:lnTo>
                  <a:lnTo>
                    <a:pt x="1739" y="2591"/>
                  </a:lnTo>
                  <a:lnTo>
                    <a:pt x="1739" y="2586"/>
                  </a:lnTo>
                  <a:lnTo>
                    <a:pt x="1739" y="2586"/>
                  </a:lnTo>
                  <a:lnTo>
                    <a:pt x="1735" y="2582"/>
                  </a:lnTo>
                  <a:lnTo>
                    <a:pt x="1726" y="2577"/>
                  </a:lnTo>
                  <a:lnTo>
                    <a:pt x="1726" y="2577"/>
                  </a:lnTo>
                  <a:lnTo>
                    <a:pt x="1726" y="2577"/>
                  </a:lnTo>
                  <a:lnTo>
                    <a:pt x="1726" y="2577"/>
                  </a:lnTo>
                  <a:lnTo>
                    <a:pt x="1721" y="2577"/>
                  </a:lnTo>
                  <a:lnTo>
                    <a:pt x="1721" y="2577"/>
                  </a:lnTo>
                  <a:lnTo>
                    <a:pt x="1717" y="2577"/>
                  </a:lnTo>
                  <a:lnTo>
                    <a:pt x="1721" y="2573"/>
                  </a:lnTo>
                  <a:lnTo>
                    <a:pt x="1721" y="2573"/>
                  </a:lnTo>
                  <a:lnTo>
                    <a:pt x="1726" y="2573"/>
                  </a:lnTo>
                  <a:lnTo>
                    <a:pt x="1726" y="2573"/>
                  </a:lnTo>
                  <a:lnTo>
                    <a:pt x="1721" y="2573"/>
                  </a:lnTo>
                  <a:lnTo>
                    <a:pt x="1721" y="2568"/>
                  </a:lnTo>
                  <a:lnTo>
                    <a:pt x="1717" y="2564"/>
                  </a:lnTo>
                  <a:lnTo>
                    <a:pt x="1717" y="2564"/>
                  </a:lnTo>
                  <a:lnTo>
                    <a:pt x="1717" y="2564"/>
                  </a:lnTo>
                  <a:lnTo>
                    <a:pt x="1717" y="2564"/>
                  </a:lnTo>
                  <a:lnTo>
                    <a:pt x="1717" y="2564"/>
                  </a:lnTo>
                  <a:lnTo>
                    <a:pt x="1717" y="2564"/>
                  </a:lnTo>
                  <a:lnTo>
                    <a:pt x="1717" y="2564"/>
                  </a:lnTo>
                  <a:lnTo>
                    <a:pt x="1717" y="2559"/>
                  </a:lnTo>
                  <a:lnTo>
                    <a:pt x="1712" y="2555"/>
                  </a:lnTo>
                  <a:lnTo>
                    <a:pt x="1712" y="2555"/>
                  </a:lnTo>
                  <a:lnTo>
                    <a:pt x="1712" y="2550"/>
                  </a:lnTo>
                  <a:lnTo>
                    <a:pt x="1717" y="2550"/>
                  </a:lnTo>
                  <a:lnTo>
                    <a:pt x="1717" y="2550"/>
                  </a:lnTo>
                  <a:lnTo>
                    <a:pt x="1717" y="2550"/>
                  </a:lnTo>
                  <a:lnTo>
                    <a:pt x="1721" y="2546"/>
                  </a:lnTo>
                  <a:lnTo>
                    <a:pt x="1717" y="2546"/>
                  </a:lnTo>
                  <a:lnTo>
                    <a:pt x="1717" y="2546"/>
                  </a:lnTo>
                  <a:lnTo>
                    <a:pt x="1717" y="2546"/>
                  </a:lnTo>
                  <a:lnTo>
                    <a:pt x="1712" y="2546"/>
                  </a:lnTo>
                  <a:lnTo>
                    <a:pt x="1708" y="2546"/>
                  </a:lnTo>
                  <a:lnTo>
                    <a:pt x="1712" y="2546"/>
                  </a:lnTo>
                  <a:lnTo>
                    <a:pt x="1712" y="2546"/>
                  </a:lnTo>
                  <a:lnTo>
                    <a:pt x="1712" y="2541"/>
                  </a:lnTo>
                  <a:lnTo>
                    <a:pt x="1712" y="2541"/>
                  </a:lnTo>
                  <a:lnTo>
                    <a:pt x="1712" y="2541"/>
                  </a:lnTo>
                  <a:lnTo>
                    <a:pt x="1712" y="2541"/>
                  </a:lnTo>
                  <a:lnTo>
                    <a:pt x="1717" y="2546"/>
                  </a:lnTo>
                  <a:lnTo>
                    <a:pt x="1717" y="2546"/>
                  </a:lnTo>
                  <a:lnTo>
                    <a:pt x="1721" y="2546"/>
                  </a:lnTo>
                  <a:lnTo>
                    <a:pt x="1721" y="2546"/>
                  </a:lnTo>
                  <a:lnTo>
                    <a:pt x="1726" y="2546"/>
                  </a:lnTo>
                  <a:lnTo>
                    <a:pt x="1726" y="2541"/>
                  </a:lnTo>
                  <a:lnTo>
                    <a:pt x="1726" y="2541"/>
                  </a:lnTo>
                  <a:lnTo>
                    <a:pt x="1721" y="2532"/>
                  </a:lnTo>
                  <a:lnTo>
                    <a:pt x="1721" y="2532"/>
                  </a:lnTo>
                  <a:lnTo>
                    <a:pt x="1721" y="2527"/>
                  </a:lnTo>
                  <a:lnTo>
                    <a:pt x="1721" y="2523"/>
                  </a:lnTo>
                  <a:lnTo>
                    <a:pt x="1721" y="2523"/>
                  </a:lnTo>
                  <a:lnTo>
                    <a:pt x="1721" y="2518"/>
                  </a:lnTo>
                  <a:lnTo>
                    <a:pt x="1726" y="2518"/>
                  </a:lnTo>
                  <a:lnTo>
                    <a:pt x="1726" y="2514"/>
                  </a:lnTo>
                  <a:lnTo>
                    <a:pt x="1730" y="2514"/>
                  </a:lnTo>
                  <a:lnTo>
                    <a:pt x="1730" y="2509"/>
                  </a:lnTo>
                  <a:lnTo>
                    <a:pt x="1735" y="2505"/>
                  </a:lnTo>
                  <a:lnTo>
                    <a:pt x="1735" y="2505"/>
                  </a:lnTo>
                  <a:lnTo>
                    <a:pt x="1735" y="2505"/>
                  </a:lnTo>
                  <a:lnTo>
                    <a:pt x="1735" y="2505"/>
                  </a:lnTo>
                  <a:lnTo>
                    <a:pt x="1735" y="2500"/>
                  </a:lnTo>
                  <a:lnTo>
                    <a:pt x="1735" y="2500"/>
                  </a:lnTo>
                  <a:lnTo>
                    <a:pt x="1730" y="2500"/>
                  </a:lnTo>
                  <a:lnTo>
                    <a:pt x="1730" y="2500"/>
                  </a:lnTo>
                  <a:lnTo>
                    <a:pt x="1730" y="2500"/>
                  </a:lnTo>
                  <a:lnTo>
                    <a:pt x="1730" y="2500"/>
                  </a:lnTo>
                  <a:lnTo>
                    <a:pt x="1730" y="2500"/>
                  </a:lnTo>
                  <a:lnTo>
                    <a:pt x="1735" y="2496"/>
                  </a:lnTo>
                  <a:lnTo>
                    <a:pt x="1735" y="2496"/>
                  </a:lnTo>
                  <a:lnTo>
                    <a:pt x="1730" y="2491"/>
                  </a:lnTo>
                  <a:lnTo>
                    <a:pt x="1730" y="2491"/>
                  </a:lnTo>
                  <a:lnTo>
                    <a:pt x="1726" y="2487"/>
                  </a:lnTo>
                  <a:lnTo>
                    <a:pt x="1726" y="2487"/>
                  </a:lnTo>
                  <a:lnTo>
                    <a:pt x="1717" y="2487"/>
                  </a:lnTo>
                  <a:lnTo>
                    <a:pt x="1712" y="2487"/>
                  </a:lnTo>
                  <a:lnTo>
                    <a:pt x="1699" y="2478"/>
                  </a:lnTo>
                  <a:lnTo>
                    <a:pt x="1699" y="2478"/>
                  </a:lnTo>
                  <a:lnTo>
                    <a:pt x="1694" y="2473"/>
                  </a:lnTo>
                  <a:lnTo>
                    <a:pt x="1694" y="2473"/>
                  </a:lnTo>
                  <a:lnTo>
                    <a:pt x="1694" y="2473"/>
                  </a:lnTo>
                  <a:lnTo>
                    <a:pt x="1694" y="2469"/>
                  </a:lnTo>
                  <a:lnTo>
                    <a:pt x="1694" y="2469"/>
                  </a:lnTo>
                  <a:lnTo>
                    <a:pt x="1694" y="2464"/>
                  </a:lnTo>
                  <a:lnTo>
                    <a:pt x="1694" y="2460"/>
                  </a:lnTo>
                  <a:lnTo>
                    <a:pt x="1694" y="2455"/>
                  </a:lnTo>
                  <a:lnTo>
                    <a:pt x="1694" y="2451"/>
                  </a:lnTo>
                  <a:lnTo>
                    <a:pt x="1699" y="2451"/>
                  </a:lnTo>
                  <a:lnTo>
                    <a:pt x="1699" y="2451"/>
                  </a:lnTo>
                  <a:lnTo>
                    <a:pt x="1699" y="2451"/>
                  </a:lnTo>
                  <a:lnTo>
                    <a:pt x="1703" y="2451"/>
                  </a:lnTo>
                  <a:lnTo>
                    <a:pt x="1703" y="2446"/>
                  </a:lnTo>
                  <a:lnTo>
                    <a:pt x="1712" y="2446"/>
                  </a:lnTo>
                  <a:lnTo>
                    <a:pt x="1712" y="2446"/>
                  </a:lnTo>
                  <a:lnTo>
                    <a:pt x="1712" y="2446"/>
                  </a:lnTo>
                  <a:lnTo>
                    <a:pt x="1712" y="2446"/>
                  </a:lnTo>
                  <a:lnTo>
                    <a:pt x="1712" y="2442"/>
                  </a:lnTo>
                  <a:lnTo>
                    <a:pt x="1708" y="2442"/>
                  </a:lnTo>
                  <a:lnTo>
                    <a:pt x="1712" y="2437"/>
                  </a:lnTo>
                  <a:lnTo>
                    <a:pt x="1712" y="2437"/>
                  </a:lnTo>
                  <a:lnTo>
                    <a:pt x="1712" y="2432"/>
                  </a:lnTo>
                  <a:lnTo>
                    <a:pt x="1712" y="2432"/>
                  </a:lnTo>
                  <a:lnTo>
                    <a:pt x="1712" y="2428"/>
                  </a:lnTo>
                  <a:lnTo>
                    <a:pt x="1708" y="2423"/>
                  </a:lnTo>
                  <a:lnTo>
                    <a:pt x="1708" y="2419"/>
                  </a:lnTo>
                  <a:lnTo>
                    <a:pt x="1708" y="2419"/>
                  </a:lnTo>
                  <a:lnTo>
                    <a:pt x="1708" y="2419"/>
                  </a:lnTo>
                  <a:lnTo>
                    <a:pt x="1708" y="2414"/>
                  </a:lnTo>
                  <a:lnTo>
                    <a:pt x="1708" y="2414"/>
                  </a:lnTo>
                  <a:lnTo>
                    <a:pt x="1712" y="2410"/>
                  </a:lnTo>
                  <a:lnTo>
                    <a:pt x="1717" y="2410"/>
                  </a:lnTo>
                  <a:lnTo>
                    <a:pt x="1717" y="2410"/>
                  </a:lnTo>
                  <a:lnTo>
                    <a:pt x="1717" y="2410"/>
                  </a:lnTo>
                  <a:lnTo>
                    <a:pt x="1717" y="2405"/>
                  </a:lnTo>
                  <a:lnTo>
                    <a:pt x="1712" y="2405"/>
                  </a:lnTo>
                  <a:lnTo>
                    <a:pt x="1712" y="2405"/>
                  </a:lnTo>
                  <a:lnTo>
                    <a:pt x="1703" y="2405"/>
                  </a:lnTo>
                  <a:lnTo>
                    <a:pt x="1703" y="2401"/>
                  </a:lnTo>
                  <a:lnTo>
                    <a:pt x="1708" y="2401"/>
                  </a:lnTo>
                  <a:lnTo>
                    <a:pt x="1708" y="2401"/>
                  </a:lnTo>
                  <a:lnTo>
                    <a:pt x="1708" y="2401"/>
                  </a:lnTo>
                  <a:lnTo>
                    <a:pt x="1712" y="2401"/>
                  </a:lnTo>
                  <a:lnTo>
                    <a:pt x="1717" y="2401"/>
                  </a:lnTo>
                  <a:lnTo>
                    <a:pt x="1717" y="2405"/>
                  </a:lnTo>
                  <a:lnTo>
                    <a:pt x="1717" y="2405"/>
                  </a:lnTo>
                  <a:lnTo>
                    <a:pt x="1721" y="2405"/>
                  </a:lnTo>
                  <a:lnTo>
                    <a:pt x="1726" y="2405"/>
                  </a:lnTo>
                  <a:lnTo>
                    <a:pt x="1726" y="2401"/>
                  </a:lnTo>
                  <a:lnTo>
                    <a:pt x="1726" y="2401"/>
                  </a:lnTo>
                  <a:lnTo>
                    <a:pt x="1726" y="2401"/>
                  </a:lnTo>
                  <a:lnTo>
                    <a:pt x="1721" y="2396"/>
                  </a:lnTo>
                  <a:lnTo>
                    <a:pt x="1721" y="2396"/>
                  </a:lnTo>
                  <a:lnTo>
                    <a:pt x="1721" y="2392"/>
                  </a:lnTo>
                  <a:lnTo>
                    <a:pt x="1717" y="2392"/>
                  </a:lnTo>
                  <a:lnTo>
                    <a:pt x="1717" y="2392"/>
                  </a:lnTo>
                  <a:lnTo>
                    <a:pt x="1717" y="2392"/>
                  </a:lnTo>
                  <a:lnTo>
                    <a:pt x="1712" y="2392"/>
                  </a:lnTo>
                  <a:lnTo>
                    <a:pt x="1712" y="2392"/>
                  </a:lnTo>
                  <a:lnTo>
                    <a:pt x="1712" y="2392"/>
                  </a:lnTo>
                  <a:lnTo>
                    <a:pt x="1712" y="2392"/>
                  </a:lnTo>
                  <a:lnTo>
                    <a:pt x="1717" y="2396"/>
                  </a:lnTo>
                  <a:lnTo>
                    <a:pt x="1717" y="2396"/>
                  </a:lnTo>
                  <a:lnTo>
                    <a:pt x="1712" y="2396"/>
                  </a:lnTo>
                  <a:lnTo>
                    <a:pt x="1712" y="2396"/>
                  </a:lnTo>
                  <a:lnTo>
                    <a:pt x="1708" y="2396"/>
                  </a:lnTo>
                  <a:lnTo>
                    <a:pt x="1708" y="2396"/>
                  </a:lnTo>
                  <a:lnTo>
                    <a:pt x="1708" y="2396"/>
                  </a:lnTo>
                  <a:lnTo>
                    <a:pt x="1708" y="2396"/>
                  </a:lnTo>
                  <a:lnTo>
                    <a:pt x="1708" y="2396"/>
                  </a:lnTo>
                  <a:lnTo>
                    <a:pt x="1708" y="2396"/>
                  </a:lnTo>
                  <a:lnTo>
                    <a:pt x="1703" y="2392"/>
                  </a:lnTo>
                  <a:lnTo>
                    <a:pt x="1703" y="2392"/>
                  </a:lnTo>
                  <a:lnTo>
                    <a:pt x="1699" y="2392"/>
                  </a:lnTo>
                  <a:lnTo>
                    <a:pt x="1699" y="2387"/>
                  </a:lnTo>
                  <a:lnTo>
                    <a:pt x="1694" y="2383"/>
                  </a:lnTo>
                  <a:lnTo>
                    <a:pt x="1694" y="2383"/>
                  </a:lnTo>
                  <a:lnTo>
                    <a:pt x="1690" y="2374"/>
                  </a:lnTo>
                  <a:lnTo>
                    <a:pt x="1690" y="2374"/>
                  </a:lnTo>
                  <a:lnTo>
                    <a:pt x="1690" y="2369"/>
                  </a:lnTo>
                  <a:lnTo>
                    <a:pt x="1690" y="2369"/>
                  </a:lnTo>
                  <a:lnTo>
                    <a:pt x="1690" y="2365"/>
                  </a:lnTo>
                  <a:lnTo>
                    <a:pt x="1690" y="2365"/>
                  </a:lnTo>
                  <a:lnTo>
                    <a:pt x="1690" y="2365"/>
                  </a:lnTo>
                  <a:lnTo>
                    <a:pt x="1690" y="2365"/>
                  </a:lnTo>
                  <a:lnTo>
                    <a:pt x="1690" y="2365"/>
                  </a:lnTo>
                  <a:lnTo>
                    <a:pt x="1690" y="2365"/>
                  </a:lnTo>
                  <a:lnTo>
                    <a:pt x="1694" y="2369"/>
                  </a:lnTo>
                  <a:lnTo>
                    <a:pt x="1699" y="2369"/>
                  </a:lnTo>
                  <a:lnTo>
                    <a:pt x="1703" y="2369"/>
                  </a:lnTo>
                  <a:lnTo>
                    <a:pt x="1712" y="2374"/>
                  </a:lnTo>
                  <a:lnTo>
                    <a:pt x="1712" y="2374"/>
                  </a:lnTo>
                  <a:lnTo>
                    <a:pt x="1721" y="2374"/>
                  </a:lnTo>
                  <a:lnTo>
                    <a:pt x="1721" y="2369"/>
                  </a:lnTo>
                  <a:lnTo>
                    <a:pt x="1726" y="2369"/>
                  </a:lnTo>
                  <a:lnTo>
                    <a:pt x="1730" y="2365"/>
                  </a:lnTo>
                  <a:lnTo>
                    <a:pt x="1730" y="2365"/>
                  </a:lnTo>
                  <a:lnTo>
                    <a:pt x="1730" y="2365"/>
                  </a:lnTo>
                  <a:lnTo>
                    <a:pt x="1726" y="2360"/>
                  </a:lnTo>
                  <a:lnTo>
                    <a:pt x="1726" y="2356"/>
                  </a:lnTo>
                  <a:lnTo>
                    <a:pt x="1726" y="2356"/>
                  </a:lnTo>
                  <a:lnTo>
                    <a:pt x="1726" y="2347"/>
                  </a:lnTo>
                  <a:lnTo>
                    <a:pt x="1726" y="2347"/>
                  </a:lnTo>
                  <a:lnTo>
                    <a:pt x="1726" y="2347"/>
                  </a:lnTo>
                  <a:lnTo>
                    <a:pt x="1726" y="2347"/>
                  </a:lnTo>
                  <a:lnTo>
                    <a:pt x="1726" y="2342"/>
                  </a:lnTo>
                  <a:lnTo>
                    <a:pt x="1726" y="2338"/>
                  </a:lnTo>
                  <a:lnTo>
                    <a:pt x="1726" y="2338"/>
                  </a:lnTo>
                  <a:lnTo>
                    <a:pt x="1721" y="2338"/>
                  </a:lnTo>
                  <a:lnTo>
                    <a:pt x="1726" y="2338"/>
                  </a:lnTo>
                  <a:lnTo>
                    <a:pt x="1721" y="2338"/>
                  </a:lnTo>
                  <a:lnTo>
                    <a:pt x="1721" y="2338"/>
                  </a:lnTo>
                  <a:lnTo>
                    <a:pt x="1721" y="2333"/>
                  </a:lnTo>
                  <a:lnTo>
                    <a:pt x="1717" y="2333"/>
                  </a:lnTo>
                  <a:lnTo>
                    <a:pt x="1717" y="2329"/>
                  </a:lnTo>
                  <a:lnTo>
                    <a:pt x="1717" y="2329"/>
                  </a:lnTo>
                  <a:lnTo>
                    <a:pt x="1717" y="2329"/>
                  </a:lnTo>
                  <a:lnTo>
                    <a:pt x="1717" y="2329"/>
                  </a:lnTo>
                  <a:lnTo>
                    <a:pt x="1721" y="2329"/>
                  </a:lnTo>
                  <a:lnTo>
                    <a:pt x="1726" y="2329"/>
                  </a:lnTo>
                  <a:lnTo>
                    <a:pt x="1730" y="2329"/>
                  </a:lnTo>
                  <a:lnTo>
                    <a:pt x="1730" y="2329"/>
                  </a:lnTo>
                  <a:lnTo>
                    <a:pt x="1735" y="2329"/>
                  </a:lnTo>
                  <a:lnTo>
                    <a:pt x="1739" y="2329"/>
                  </a:lnTo>
                  <a:lnTo>
                    <a:pt x="1757" y="2324"/>
                  </a:lnTo>
                  <a:lnTo>
                    <a:pt x="1757" y="2324"/>
                  </a:lnTo>
                  <a:lnTo>
                    <a:pt x="1766" y="2324"/>
                  </a:lnTo>
                  <a:lnTo>
                    <a:pt x="1780" y="2315"/>
                  </a:lnTo>
                  <a:lnTo>
                    <a:pt x="1784" y="2310"/>
                  </a:lnTo>
                  <a:lnTo>
                    <a:pt x="1784" y="2310"/>
                  </a:lnTo>
                  <a:lnTo>
                    <a:pt x="1784" y="2306"/>
                  </a:lnTo>
                  <a:lnTo>
                    <a:pt x="1784" y="2301"/>
                  </a:lnTo>
                  <a:lnTo>
                    <a:pt x="1789" y="2297"/>
                  </a:lnTo>
                  <a:lnTo>
                    <a:pt x="1794" y="2288"/>
                  </a:lnTo>
                  <a:lnTo>
                    <a:pt x="1794" y="2288"/>
                  </a:lnTo>
                  <a:lnTo>
                    <a:pt x="1794" y="2283"/>
                  </a:lnTo>
                  <a:lnTo>
                    <a:pt x="1789" y="2279"/>
                  </a:lnTo>
                  <a:lnTo>
                    <a:pt x="1789" y="2279"/>
                  </a:lnTo>
                  <a:lnTo>
                    <a:pt x="1789" y="2274"/>
                  </a:lnTo>
                  <a:lnTo>
                    <a:pt x="1784" y="2279"/>
                  </a:lnTo>
                  <a:lnTo>
                    <a:pt x="1784" y="2274"/>
                  </a:lnTo>
                  <a:lnTo>
                    <a:pt x="1780" y="2274"/>
                  </a:lnTo>
                  <a:lnTo>
                    <a:pt x="1775" y="2270"/>
                  </a:lnTo>
                  <a:lnTo>
                    <a:pt x="1775" y="2270"/>
                  </a:lnTo>
                  <a:lnTo>
                    <a:pt x="1775" y="2265"/>
                  </a:lnTo>
                  <a:lnTo>
                    <a:pt x="1775" y="2261"/>
                  </a:lnTo>
                  <a:lnTo>
                    <a:pt x="1775" y="2256"/>
                  </a:lnTo>
                  <a:lnTo>
                    <a:pt x="1771" y="2256"/>
                  </a:lnTo>
                  <a:lnTo>
                    <a:pt x="1766" y="2252"/>
                  </a:lnTo>
                  <a:lnTo>
                    <a:pt x="1762" y="2247"/>
                  </a:lnTo>
                  <a:lnTo>
                    <a:pt x="1753" y="2247"/>
                  </a:lnTo>
                  <a:lnTo>
                    <a:pt x="1753" y="2243"/>
                  </a:lnTo>
                  <a:lnTo>
                    <a:pt x="1748" y="2243"/>
                  </a:lnTo>
                  <a:lnTo>
                    <a:pt x="1748" y="2238"/>
                  </a:lnTo>
                  <a:lnTo>
                    <a:pt x="1748" y="2238"/>
                  </a:lnTo>
                  <a:lnTo>
                    <a:pt x="1748" y="2238"/>
                  </a:lnTo>
                  <a:lnTo>
                    <a:pt x="1748" y="2238"/>
                  </a:lnTo>
                  <a:lnTo>
                    <a:pt x="1748" y="2234"/>
                  </a:lnTo>
                  <a:lnTo>
                    <a:pt x="1748" y="2234"/>
                  </a:lnTo>
                  <a:lnTo>
                    <a:pt x="1748" y="2229"/>
                  </a:lnTo>
                  <a:lnTo>
                    <a:pt x="1744" y="2229"/>
                  </a:lnTo>
                  <a:lnTo>
                    <a:pt x="1744" y="2225"/>
                  </a:lnTo>
                  <a:lnTo>
                    <a:pt x="1744" y="2220"/>
                  </a:lnTo>
                  <a:lnTo>
                    <a:pt x="1744" y="2215"/>
                  </a:lnTo>
                  <a:lnTo>
                    <a:pt x="1744" y="2215"/>
                  </a:lnTo>
                  <a:lnTo>
                    <a:pt x="1744" y="2215"/>
                  </a:lnTo>
                  <a:lnTo>
                    <a:pt x="1748" y="2215"/>
                  </a:lnTo>
                  <a:lnTo>
                    <a:pt x="1748" y="2215"/>
                  </a:lnTo>
                  <a:lnTo>
                    <a:pt x="1748" y="2211"/>
                  </a:lnTo>
                  <a:lnTo>
                    <a:pt x="1744" y="2206"/>
                  </a:lnTo>
                  <a:lnTo>
                    <a:pt x="1744" y="2202"/>
                  </a:lnTo>
                  <a:lnTo>
                    <a:pt x="1744" y="2206"/>
                  </a:lnTo>
                  <a:lnTo>
                    <a:pt x="1748" y="2206"/>
                  </a:lnTo>
                  <a:lnTo>
                    <a:pt x="1748" y="2211"/>
                  </a:lnTo>
                  <a:lnTo>
                    <a:pt x="1748" y="2211"/>
                  </a:lnTo>
                  <a:lnTo>
                    <a:pt x="1748" y="2215"/>
                  </a:lnTo>
                  <a:lnTo>
                    <a:pt x="1748" y="2215"/>
                  </a:lnTo>
                  <a:lnTo>
                    <a:pt x="1744" y="2215"/>
                  </a:lnTo>
                  <a:lnTo>
                    <a:pt x="1744" y="2215"/>
                  </a:lnTo>
                  <a:lnTo>
                    <a:pt x="1744" y="2220"/>
                  </a:lnTo>
                  <a:lnTo>
                    <a:pt x="1744" y="2225"/>
                  </a:lnTo>
                  <a:lnTo>
                    <a:pt x="1748" y="2229"/>
                  </a:lnTo>
                  <a:lnTo>
                    <a:pt x="1748" y="2229"/>
                  </a:lnTo>
                  <a:lnTo>
                    <a:pt x="1753" y="2234"/>
                  </a:lnTo>
                  <a:lnTo>
                    <a:pt x="1757" y="2238"/>
                  </a:lnTo>
                  <a:lnTo>
                    <a:pt x="1757" y="2238"/>
                  </a:lnTo>
                  <a:lnTo>
                    <a:pt x="1762" y="2243"/>
                  </a:lnTo>
                  <a:lnTo>
                    <a:pt x="1762" y="2243"/>
                  </a:lnTo>
                  <a:lnTo>
                    <a:pt x="1766" y="2243"/>
                  </a:lnTo>
                  <a:lnTo>
                    <a:pt x="1771" y="2238"/>
                  </a:lnTo>
                  <a:lnTo>
                    <a:pt x="1775" y="2243"/>
                  </a:lnTo>
                  <a:lnTo>
                    <a:pt x="1784" y="2247"/>
                  </a:lnTo>
                  <a:lnTo>
                    <a:pt x="1784" y="2247"/>
                  </a:lnTo>
                  <a:lnTo>
                    <a:pt x="1789" y="2247"/>
                  </a:lnTo>
                  <a:lnTo>
                    <a:pt x="1789" y="2247"/>
                  </a:lnTo>
                  <a:lnTo>
                    <a:pt x="1789" y="2247"/>
                  </a:lnTo>
                  <a:lnTo>
                    <a:pt x="1794" y="2247"/>
                  </a:lnTo>
                  <a:lnTo>
                    <a:pt x="1798" y="2247"/>
                  </a:lnTo>
                  <a:lnTo>
                    <a:pt x="1803" y="2247"/>
                  </a:lnTo>
                  <a:lnTo>
                    <a:pt x="1803" y="2247"/>
                  </a:lnTo>
                  <a:lnTo>
                    <a:pt x="1807" y="2247"/>
                  </a:lnTo>
                  <a:lnTo>
                    <a:pt x="1812" y="2247"/>
                  </a:lnTo>
                  <a:lnTo>
                    <a:pt x="1816" y="2243"/>
                  </a:lnTo>
                  <a:lnTo>
                    <a:pt x="1821" y="2243"/>
                  </a:lnTo>
                  <a:lnTo>
                    <a:pt x="1821" y="2243"/>
                  </a:lnTo>
                  <a:lnTo>
                    <a:pt x="1821" y="2238"/>
                  </a:lnTo>
                  <a:lnTo>
                    <a:pt x="1825" y="2238"/>
                  </a:lnTo>
                  <a:lnTo>
                    <a:pt x="1825" y="2234"/>
                  </a:lnTo>
                  <a:lnTo>
                    <a:pt x="1825" y="2229"/>
                  </a:lnTo>
                  <a:lnTo>
                    <a:pt x="1825" y="2229"/>
                  </a:lnTo>
                  <a:lnTo>
                    <a:pt x="1830" y="2225"/>
                  </a:lnTo>
                  <a:lnTo>
                    <a:pt x="1830" y="2225"/>
                  </a:lnTo>
                  <a:lnTo>
                    <a:pt x="1834" y="2220"/>
                  </a:lnTo>
                  <a:lnTo>
                    <a:pt x="1834" y="2215"/>
                  </a:lnTo>
                  <a:lnTo>
                    <a:pt x="1839" y="2211"/>
                  </a:lnTo>
                  <a:lnTo>
                    <a:pt x="1839" y="2206"/>
                  </a:lnTo>
                  <a:lnTo>
                    <a:pt x="1839" y="2197"/>
                  </a:lnTo>
                  <a:lnTo>
                    <a:pt x="1839" y="2197"/>
                  </a:lnTo>
                  <a:lnTo>
                    <a:pt x="1839" y="2197"/>
                  </a:lnTo>
                  <a:lnTo>
                    <a:pt x="1839" y="2193"/>
                  </a:lnTo>
                  <a:lnTo>
                    <a:pt x="1839" y="2193"/>
                  </a:lnTo>
                  <a:lnTo>
                    <a:pt x="1839" y="2188"/>
                  </a:lnTo>
                  <a:lnTo>
                    <a:pt x="1839" y="2188"/>
                  </a:lnTo>
                  <a:lnTo>
                    <a:pt x="1839" y="2184"/>
                  </a:lnTo>
                  <a:lnTo>
                    <a:pt x="1839" y="2184"/>
                  </a:lnTo>
                  <a:lnTo>
                    <a:pt x="1839" y="2179"/>
                  </a:lnTo>
                  <a:lnTo>
                    <a:pt x="1839" y="2179"/>
                  </a:lnTo>
                  <a:lnTo>
                    <a:pt x="1839" y="2179"/>
                  </a:lnTo>
                  <a:lnTo>
                    <a:pt x="1843" y="2175"/>
                  </a:lnTo>
                  <a:lnTo>
                    <a:pt x="1848" y="2175"/>
                  </a:lnTo>
                  <a:lnTo>
                    <a:pt x="1848" y="2170"/>
                  </a:lnTo>
                  <a:lnTo>
                    <a:pt x="1848" y="2170"/>
                  </a:lnTo>
                  <a:lnTo>
                    <a:pt x="1848" y="2170"/>
                  </a:lnTo>
                  <a:lnTo>
                    <a:pt x="1848" y="2170"/>
                  </a:lnTo>
                  <a:lnTo>
                    <a:pt x="1848" y="2166"/>
                  </a:lnTo>
                  <a:lnTo>
                    <a:pt x="1848" y="2166"/>
                  </a:lnTo>
                  <a:lnTo>
                    <a:pt x="1848" y="2166"/>
                  </a:lnTo>
                  <a:lnTo>
                    <a:pt x="1848" y="2166"/>
                  </a:lnTo>
                  <a:lnTo>
                    <a:pt x="1848" y="2161"/>
                  </a:lnTo>
                  <a:lnTo>
                    <a:pt x="1848" y="2161"/>
                  </a:lnTo>
                  <a:lnTo>
                    <a:pt x="1848" y="2161"/>
                  </a:lnTo>
                  <a:lnTo>
                    <a:pt x="1848" y="2157"/>
                  </a:lnTo>
                  <a:lnTo>
                    <a:pt x="1843" y="2157"/>
                  </a:lnTo>
                  <a:lnTo>
                    <a:pt x="1843" y="2152"/>
                  </a:lnTo>
                  <a:lnTo>
                    <a:pt x="1843" y="2152"/>
                  </a:lnTo>
                  <a:lnTo>
                    <a:pt x="1848" y="2157"/>
                  </a:lnTo>
                  <a:lnTo>
                    <a:pt x="1848" y="2157"/>
                  </a:lnTo>
                  <a:lnTo>
                    <a:pt x="1848" y="2157"/>
                  </a:lnTo>
                  <a:lnTo>
                    <a:pt x="1852" y="2161"/>
                  </a:lnTo>
                  <a:lnTo>
                    <a:pt x="1852" y="2161"/>
                  </a:lnTo>
                  <a:lnTo>
                    <a:pt x="1857" y="2157"/>
                  </a:lnTo>
                  <a:lnTo>
                    <a:pt x="1857" y="2157"/>
                  </a:lnTo>
                  <a:lnTo>
                    <a:pt x="1857" y="2157"/>
                  </a:lnTo>
                  <a:lnTo>
                    <a:pt x="1857" y="2161"/>
                  </a:lnTo>
                  <a:lnTo>
                    <a:pt x="1857" y="2161"/>
                  </a:lnTo>
                  <a:lnTo>
                    <a:pt x="1857" y="2161"/>
                  </a:lnTo>
                  <a:lnTo>
                    <a:pt x="1857" y="2161"/>
                  </a:lnTo>
                  <a:lnTo>
                    <a:pt x="1857" y="2166"/>
                  </a:lnTo>
                  <a:lnTo>
                    <a:pt x="1857" y="2166"/>
                  </a:lnTo>
                  <a:lnTo>
                    <a:pt x="1852" y="2170"/>
                  </a:lnTo>
                  <a:lnTo>
                    <a:pt x="1852" y="2170"/>
                  </a:lnTo>
                  <a:lnTo>
                    <a:pt x="1857" y="2170"/>
                  </a:lnTo>
                  <a:lnTo>
                    <a:pt x="1852" y="2175"/>
                  </a:lnTo>
                  <a:lnTo>
                    <a:pt x="1852" y="2175"/>
                  </a:lnTo>
                  <a:lnTo>
                    <a:pt x="1852" y="2175"/>
                  </a:lnTo>
                  <a:lnTo>
                    <a:pt x="1852" y="2175"/>
                  </a:lnTo>
                  <a:lnTo>
                    <a:pt x="1852" y="2179"/>
                  </a:lnTo>
                  <a:lnTo>
                    <a:pt x="1852" y="2179"/>
                  </a:lnTo>
                  <a:lnTo>
                    <a:pt x="1848" y="2184"/>
                  </a:lnTo>
                  <a:lnTo>
                    <a:pt x="1848" y="2188"/>
                  </a:lnTo>
                  <a:lnTo>
                    <a:pt x="1843" y="2188"/>
                  </a:lnTo>
                  <a:lnTo>
                    <a:pt x="1843" y="2188"/>
                  </a:lnTo>
                  <a:lnTo>
                    <a:pt x="1843" y="2188"/>
                  </a:lnTo>
                  <a:lnTo>
                    <a:pt x="1843" y="2188"/>
                  </a:lnTo>
                  <a:lnTo>
                    <a:pt x="1839" y="2188"/>
                  </a:lnTo>
                  <a:lnTo>
                    <a:pt x="1839" y="2188"/>
                  </a:lnTo>
                  <a:lnTo>
                    <a:pt x="1843" y="2188"/>
                  </a:lnTo>
                  <a:lnTo>
                    <a:pt x="1843" y="2193"/>
                  </a:lnTo>
                  <a:lnTo>
                    <a:pt x="1843" y="2193"/>
                  </a:lnTo>
                  <a:lnTo>
                    <a:pt x="1843" y="2188"/>
                  </a:lnTo>
                  <a:lnTo>
                    <a:pt x="1843" y="2188"/>
                  </a:lnTo>
                  <a:lnTo>
                    <a:pt x="1848" y="2184"/>
                  </a:lnTo>
                  <a:lnTo>
                    <a:pt x="1852" y="2179"/>
                  </a:lnTo>
                  <a:lnTo>
                    <a:pt x="1857" y="2175"/>
                  </a:lnTo>
                  <a:lnTo>
                    <a:pt x="1857" y="2170"/>
                  </a:lnTo>
                  <a:lnTo>
                    <a:pt x="1861" y="2170"/>
                  </a:lnTo>
                  <a:lnTo>
                    <a:pt x="1861" y="2161"/>
                  </a:lnTo>
                  <a:lnTo>
                    <a:pt x="1866" y="2148"/>
                  </a:lnTo>
                  <a:lnTo>
                    <a:pt x="1866" y="2139"/>
                  </a:lnTo>
                  <a:lnTo>
                    <a:pt x="1870" y="2134"/>
                  </a:lnTo>
                  <a:lnTo>
                    <a:pt x="1875" y="2130"/>
                  </a:lnTo>
                  <a:lnTo>
                    <a:pt x="1875" y="2125"/>
                  </a:lnTo>
                  <a:lnTo>
                    <a:pt x="1879" y="2125"/>
                  </a:lnTo>
                  <a:lnTo>
                    <a:pt x="1879" y="2121"/>
                  </a:lnTo>
                  <a:lnTo>
                    <a:pt x="1879" y="2121"/>
                  </a:lnTo>
                  <a:lnTo>
                    <a:pt x="1879" y="2116"/>
                  </a:lnTo>
                  <a:lnTo>
                    <a:pt x="1879" y="2116"/>
                  </a:lnTo>
                  <a:lnTo>
                    <a:pt x="1879" y="2111"/>
                  </a:lnTo>
                  <a:lnTo>
                    <a:pt x="1879" y="2102"/>
                  </a:lnTo>
                  <a:lnTo>
                    <a:pt x="1879" y="2102"/>
                  </a:lnTo>
                  <a:lnTo>
                    <a:pt x="1879" y="2098"/>
                  </a:lnTo>
                  <a:lnTo>
                    <a:pt x="1879" y="2098"/>
                  </a:lnTo>
                  <a:lnTo>
                    <a:pt x="1879" y="2098"/>
                  </a:lnTo>
                  <a:lnTo>
                    <a:pt x="1879" y="2093"/>
                  </a:lnTo>
                  <a:lnTo>
                    <a:pt x="1875" y="2093"/>
                  </a:lnTo>
                  <a:lnTo>
                    <a:pt x="1875" y="2089"/>
                  </a:lnTo>
                  <a:lnTo>
                    <a:pt x="1875" y="2084"/>
                  </a:lnTo>
                  <a:lnTo>
                    <a:pt x="1875" y="2084"/>
                  </a:lnTo>
                  <a:lnTo>
                    <a:pt x="1875" y="2084"/>
                  </a:lnTo>
                  <a:lnTo>
                    <a:pt x="1875" y="2080"/>
                  </a:lnTo>
                  <a:lnTo>
                    <a:pt x="1870" y="2080"/>
                  </a:lnTo>
                  <a:lnTo>
                    <a:pt x="1870" y="2080"/>
                  </a:lnTo>
                  <a:lnTo>
                    <a:pt x="1875" y="2080"/>
                  </a:lnTo>
                  <a:lnTo>
                    <a:pt x="1875" y="2080"/>
                  </a:lnTo>
                  <a:lnTo>
                    <a:pt x="1875" y="2075"/>
                  </a:lnTo>
                  <a:lnTo>
                    <a:pt x="1875" y="2071"/>
                  </a:lnTo>
                  <a:lnTo>
                    <a:pt x="1870" y="2071"/>
                  </a:lnTo>
                  <a:lnTo>
                    <a:pt x="1870" y="2071"/>
                  </a:lnTo>
                  <a:lnTo>
                    <a:pt x="1875" y="2071"/>
                  </a:lnTo>
                  <a:lnTo>
                    <a:pt x="1875" y="2066"/>
                  </a:lnTo>
                  <a:lnTo>
                    <a:pt x="1875" y="2066"/>
                  </a:lnTo>
                  <a:lnTo>
                    <a:pt x="1875" y="2066"/>
                  </a:lnTo>
                  <a:lnTo>
                    <a:pt x="1870" y="2066"/>
                  </a:lnTo>
                  <a:lnTo>
                    <a:pt x="1870" y="2062"/>
                  </a:lnTo>
                  <a:lnTo>
                    <a:pt x="1870" y="2062"/>
                  </a:lnTo>
                  <a:lnTo>
                    <a:pt x="1870" y="2066"/>
                  </a:lnTo>
                  <a:lnTo>
                    <a:pt x="1875" y="2062"/>
                  </a:lnTo>
                  <a:lnTo>
                    <a:pt x="1875" y="2062"/>
                  </a:lnTo>
                  <a:lnTo>
                    <a:pt x="1875" y="2062"/>
                  </a:lnTo>
                  <a:lnTo>
                    <a:pt x="1875" y="2062"/>
                  </a:lnTo>
                  <a:lnTo>
                    <a:pt x="1875" y="2062"/>
                  </a:lnTo>
                  <a:lnTo>
                    <a:pt x="1879" y="2062"/>
                  </a:lnTo>
                  <a:lnTo>
                    <a:pt x="1879" y="2062"/>
                  </a:lnTo>
                  <a:lnTo>
                    <a:pt x="1879" y="2062"/>
                  </a:lnTo>
                  <a:lnTo>
                    <a:pt x="1879" y="2062"/>
                  </a:lnTo>
                  <a:lnTo>
                    <a:pt x="1884" y="2057"/>
                  </a:lnTo>
                  <a:lnTo>
                    <a:pt x="1884" y="2057"/>
                  </a:lnTo>
                  <a:lnTo>
                    <a:pt x="1879" y="2057"/>
                  </a:lnTo>
                  <a:lnTo>
                    <a:pt x="1879" y="2057"/>
                  </a:lnTo>
                  <a:lnTo>
                    <a:pt x="1879" y="2057"/>
                  </a:lnTo>
                  <a:lnTo>
                    <a:pt x="1884" y="2057"/>
                  </a:lnTo>
                  <a:lnTo>
                    <a:pt x="1884" y="2053"/>
                  </a:lnTo>
                  <a:lnTo>
                    <a:pt x="1884" y="2053"/>
                  </a:lnTo>
                  <a:lnTo>
                    <a:pt x="1893" y="2044"/>
                  </a:lnTo>
                  <a:lnTo>
                    <a:pt x="1897" y="2039"/>
                  </a:lnTo>
                  <a:lnTo>
                    <a:pt x="1902" y="2039"/>
                  </a:lnTo>
                  <a:lnTo>
                    <a:pt x="1911" y="2030"/>
                  </a:lnTo>
                  <a:lnTo>
                    <a:pt x="1911" y="2030"/>
                  </a:lnTo>
                  <a:lnTo>
                    <a:pt x="1916" y="2030"/>
                  </a:lnTo>
                  <a:lnTo>
                    <a:pt x="1916" y="2030"/>
                  </a:lnTo>
                  <a:lnTo>
                    <a:pt x="1920" y="2030"/>
                  </a:lnTo>
                  <a:lnTo>
                    <a:pt x="1920" y="2030"/>
                  </a:lnTo>
                  <a:lnTo>
                    <a:pt x="1920" y="2030"/>
                  </a:lnTo>
                  <a:lnTo>
                    <a:pt x="1920" y="2026"/>
                  </a:lnTo>
                  <a:lnTo>
                    <a:pt x="1920" y="2026"/>
                  </a:lnTo>
                  <a:lnTo>
                    <a:pt x="1925" y="2026"/>
                  </a:lnTo>
                  <a:lnTo>
                    <a:pt x="1929" y="2021"/>
                  </a:lnTo>
                  <a:lnTo>
                    <a:pt x="1934" y="2021"/>
                  </a:lnTo>
                  <a:lnTo>
                    <a:pt x="1934" y="2021"/>
                  </a:lnTo>
                  <a:lnTo>
                    <a:pt x="1929" y="2021"/>
                  </a:lnTo>
                  <a:lnTo>
                    <a:pt x="1929" y="2021"/>
                  </a:lnTo>
                  <a:lnTo>
                    <a:pt x="1929" y="2017"/>
                  </a:lnTo>
                  <a:lnTo>
                    <a:pt x="1929" y="2017"/>
                  </a:lnTo>
                  <a:lnTo>
                    <a:pt x="1934" y="2017"/>
                  </a:lnTo>
                  <a:lnTo>
                    <a:pt x="1938" y="2017"/>
                  </a:lnTo>
                  <a:lnTo>
                    <a:pt x="1938" y="2017"/>
                  </a:lnTo>
                  <a:lnTo>
                    <a:pt x="1943" y="2012"/>
                  </a:lnTo>
                  <a:lnTo>
                    <a:pt x="1947" y="2017"/>
                  </a:lnTo>
                  <a:lnTo>
                    <a:pt x="1947" y="2017"/>
                  </a:lnTo>
                  <a:lnTo>
                    <a:pt x="1943" y="2017"/>
                  </a:lnTo>
                  <a:lnTo>
                    <a:pt x="1943" y="2017"/>
                  </a:lnTo>
                  <a:lnTo>
                    <a:pt x="1943" y="2017"/>
                  </a:lnTo>
                  <a:lnTo>
                    <a:pt x="1943" y="2017"/>
                  </a:lnTo>
                  <a:lnTo>
                    <a:pt x="1947" y="2017"/>
                  </a:lnTo>
                  <a:lnTo>
                    <a:pt x="1947" y="2017"/>
                  </a:lnTo>
                  <a:lnTo>
                    <a:pt x="1952" y="2017"/>
                  </a:lnTo>
                  <a:lnTo>
                    <a:pt x="1956" y="2017"/>
                  </a:lnTo>
                  <a:lnTo>
                    <a:pt x="1956" y="2017"/>
                  </a:lnTo>
                  <a:lnTo>
                    <a:pt x="1956" y="2012"/>
                  </a:lnTo>
                  <a:lnTo>
                    <a:pt x="1952" y="2012"/>
                  </a:lnTo>
                  <a:lnTo>
                    <a:pt x="1952" y="2012"/>
                  </a:lnTo>
                  <a:lnTo>
                    <a:pt x="1952" y="2012"/>
                  </a:lnTo>
                  <a:lnTo>
                    <a:pt x="1956" y="2012"/>
                  </a:lnTo>
                  <a:lnTo>
                    <a:pt x="1956" y="2012"/>
                  </a:lnTo>
                  <a:lnTo>
                    <a:pt x="1956" y="2012"/>
                  </a:lnTo>
                  <a:lnTo>
                    <a:pt x="1956" y="2012"/>
                  </a:lnTo>
                  <a:lnTo>
                    <a:pt x="1956" y="2012"/>
                  </a:lnTo>
                  <a:lnTo>
                    <a:pt x="1956" y="2017"/>
                  </a:lnTo>
                  <a:lnTo>
                    <a:pt x="1961" y="2017"/>
                  </a:lnTo>
                  <a:lnTo>
                    <a:pt x="1961" y="2017"/>
                  </a:lnTo>
                  <a:lnTo>
                    <a:pt x="1965" y="2012"/>
                  </a:lnTo>
                  <a:lnTo>
                    <a:pt x="1974" y="2012"/>
                  </a:lnTo>
                  <a:lnTo>
                    <a:pt x="1974" y="2012"/>
                  </a:lnTo>
                  <a:lnTo>
                    <a:pt x="1974" y="2012"/>
                  </a:lnTo>
                  <a:lnTo>
                    <a:pt x="1974" y="2012"/>
                  </a:lnTo>
                  <a:lnTo>
                    <a:pt x="1974" y="2012"/>
                  </a:lnTo>
                  <a:lnTo>
                    <a:pt x="1974" y="2007"/>
                  </a:lnTo>
                  <a:lnTo>
                    <a:pt x="1974" y="2007"/>
                  </a:lnTo>
                  <a:lnTo>
                    <a:pt x="1979" y="2003"/>
                  </a:lnTo>
                  <a:lnTo>
                    <a:pt x="1979" y="1998"/>
                  </a:lnTo>
                  <a:lnTo>
                    <a:pt x="1988" y="1998"/>
                  </a:lnTo>
                  <a:lnTo>
                    <a:pt x="1988" y="1994"/>
                  </a:lnTo>
                  <a:lnTo>
                    <a:pt x="1988" y="1994"/>
                  </a:lnTo>
                  <a:lnTo>
                    <a:pt x="1988" y="1989"/>
                  </a:lnTo>
                  <a:lnTo>
                    <a:pt x="1988" y="1989"/>
                  </a:lnTo>
                  <a:lnTo>
                    <a:pt x="1988" y="1985"/>
                  </a:lnTo>
                  <a:lnTo>
                    <a:pt x="1988" y="1980"/>
                  </a:lnTo>
                  <a:lnTo>
                    <a:pt x="1988" y="1976"/>
                  </a:lnTo>
                  <a:lnTo>
                    <a:pt x="1988" y="1976"/>
                  </a:lnTo>
                  <a:lnTo>
                    <a:pt x="1992" y="1976"/>
                  </a:lnTo>
                  <a:lnTo>
                    <a:pt x="1992" y="1971"/>
                  </a:lnTo>
                  <a:lnTo>
                    <a:pt x="1997" y="1967"/>
                  </a:lnTo>
                  <a:lnTo>
                    <a:pt x="1997" y="1967"/>
                  </a:lnTo>
                  <a:lnTo>
                    <a:pt x="1997" y="1962"/>
                  </a:lnTo>
                  <a:lnTo>
                    <a:pt x="1997" y="1962"/>
                  </a:lnTo>
                  <a:lnTo>
                    <a:pt x="1997" y="1958"/>
                  </a:lnTo>
                  <a:lnTo>
                    <a:pt x="2001" y="1953"/>
                  </a:lnTo>
                  <a:lnTo>
                    <a:pt x="2001" y="1949"/>
                  </a:lnTo>
                  <a:lnTo>
                    <a:pt x="2006" y="1949"/>
                  </a:lnTo>
                  <a:lnTo>
                    <a:pt x="2006" y="1949"/>
                  </a:lnTo>
                  <a:lnTo>
                    <a:pt x="2006" y="1944"/>
                  </a:lnTo>
                  <a:lnTo>
                    <a:pt x="2001" y="1935"/>
                  </a:lnTo>
                  <a:lnTo>
                    <a:pt x="2001" y="1931"/>
                  </a:lnTo>
                  <a:lnTo>
                    <a:pt x="2001" y="1926"/>
                  </a:lnTo>
                  <a:lnTo>
                    <a:pt x="2006" y="1917"/>
                  </a:lnTo>
                  <a:lnTo>
                    <a:pt x="2006" y="1917"/>
                  </a:lnTo>
                  <a:lnTo>
                    <a:pt x="2010" y="1917"/>
                  </a:lnTo>
                  <a:lnTo>
                    <a:pt x="2010" y="1913"/>
                  </a:lnTo>
                  <a:lnTo>
                    <a:pt x="2010" y="1913"/>
                  </a:lnTo>
                  <a:lnTo>
                    <a:pt x="2010" y="1908"/>
                  </a:lnTo>
                  <a:lnTo>
                    <a:pt x="2010" y="1904"/>
                  </a:lnTo>
                  <a:lnTo>
                    <a:pt x="2010" y="1899"/>
                  </a:lnTo>
                  <a:lnTo>
                    <a:pt x="2010" y="1894"/>
                  </a:lnTo>
                  <a:lnTo>
                    <a:pt x="2010" y="1890"/>
                  </a:lnTo>
                  <a:lnTo>
                    <a:pt x="2010" y="1885"/>
                  </a:lnTo>
                  <a:lnTo>
                    <a:pt x="2010" y="1876"/>
                  </a:lnTo>
                  <a:lnTo>
                    <a:pt x="2010" y="1876"/>
                  </a:lnTo>
                  <a:lnTo>
                    <a:pt x="2010" y="1872"/>
                  </a:lnTo>
                  <a:lnTo>
                    <a:pt x="2010" y="1867"/>
                  </a:lnTo>
                  <a:lnTo>
                    <a:pt x="2006" y="1863"/>
                  </a:lnTo>
                  <a:lnTo>
                    <a:pt x="2006" y="1854"/>
                  </a:lnTo>
                  <a:lnTo>
                    <a:pt x="2006" y="1845"/>
                  </a:lnTo>
                  <a:lnTo>
                    <a:pt x="2006" y="1845"/>
                  </a:lnTo>
                  <a:lnTo>
                    <a:pt x="2006" y="1845"/>
                  </a:lnTo>
                  <a:lnTo>
                    <a:pt x="2006" y="1845"/>
                  </a:lnTo>
                  <a:lnTo>
                    <a:pt x="2006" y="1845"/>
                  </a:lnTo>
                  <a:lnTo>
                    <a:pt x="2006" y="1840"/>
                  </a:lnTo>
                  <a:lnTo>
                    <a:pt x="2006" y="1836"/>
                  </a:lnTo>
                  <a:lnTo>
                    <a:pt x="2006" y="1836"/>
                  </a:lnTo>
                  <a:lnTo>
                    <a:pt x="2006" y="1836"/>
                  </a:lnTo>
                  <a:lnTo>
                    <a:pt x="2006" y="1836"/>
                  </a:lnTo>
                  <a:lnTo>
                    <a:pt x="2006" y="1836"/>
                  </a:lnTo>
                  <a:lnTo>
                    <a:pt x="2006" y="1831"/>
                  </a:lnTo>
                  <a:lnTo>
                    <a:pt x="2006" y="1831"/>
                  </a:lnTo>
                  <a:lnTo>
                    <a:pt x="2006" y="1831"/>
                  </a:lnTo>
                  <a:lnTo>
                    <a:pt x="2010" y="1827"/>
                  </a:lnTo>
                  <a:lnTo>
                    <a:pt x="2010" y="1827"/>
                  </a:lnTo>
                  <a:lnTo>
                    <a:pt x="2010" y="1822"/>
                  </a:lnTo>
                  <a:lnTo>
                    <a:pt x="2010" y="1822"/>
                  </a:lnTo>
                  <a:lnTo>
                    <a:pt x="2006" y="1818"/>
                  </a:lnTo>
                  <a:lnTo>
                    <a:pt x="2010" y="1818"/>
                  </a:lnTo>
                  <a:lnTo>
                    <a:pt x="2010" y="1818"/>
                  </a:lnTo>
                  <a:lnTo>
                    <a:pt x="2010" y="1818"/>
                  </a:lnTo>
                  <a:lnTo>
                    <a:pt x="2010" y="1818"/>
                  </a:lnTo>
                  <a:lnTo>
                    <a:pt x="2015" y="1818"/>
                  </a:lnTo>
                  <a:lnTo>
                    <a:pt x="2015" y="1822"/>
                  </a:lnTo>
                  <a:lnTo>
                    <a:pt x="2015" y="1822"/>
                  </a:lnTo>
                  <a:lnTo>
                    <a:pt x="2015" y="1822"/>
                  </a:lnTo>
                  <a:lnTo>
                    <a:pt x="2019" y="1822"/>
                  </a:lnTo>
                  <a:lnTo>
                    <a:pt x="2024" y="1818"/>
                  </a:lnTo>
                  <a:lnTo>
                    <a:pt x="2024" y="1813"/>
                  </a:lnTo>
                  <a:lnTo>
                    <a:pt x="2028" y="1809"/>
                  </a:lnTo>
                  <a:lnTo>
                    <a:pt x="2028" y="1800"/>
                  </a:lnTo>
                  <a:lnTo>
                    <a:pt x="2033" y="1795"/>
                  </a:lnTo>
                  <a:lnTo>
                    <a:pt x="2028" y="1795"/>
                  </a:lnTo>
                  <a:lnTo>
                    <a:pt x="2033" y="1790"/>
                  </a:lnTo>
                  <a:lnTo>
                    <a:pt x="2033" y="1790"/>
                  </a:lnTo>
                  <a:lnTo>
                    <a:pt x="2033" y="1790"/>
                  </a:lnTo>
                  <a:lnTo>
                    <a:pt x="2033" y="1790"/>
                  </a:lnTo>
                  <a:lnTo>
                    <a:pt x="2033" y="1790"/>
                  </a:lnTo>
                  <a:lnTo>
                    <a:pt x="2033" y="1795"/>
                  </a:lnTo>
                  <a:lnTo>
                    <a:pt x="2033" y="1790"/>
                  </a:lnTo>
                  <a:lnTo>
                    <a:pt x="2033" y="1790"/>
                  </a:lnTo>
                  <a:lnTo>
                    <a:pt x="2033" y="1786"/>
                  </a:lnTo>
                  <a:lnTo>
                    <a:pt x="2037" y="1786"/>
                  </a:lnTo>
                  <a:lnTo>
                    <a:pt x="2037" y="1786"/>
                  </a:lnTo>
                  <a:lnTo>
                    <a:pt x="2037" y="1781"/>
                  </a:lnTo>
                  <a:lnTo>
                    <a:pt x="2042" y="1781"/>
                  </a:lnTo>
                  <a:lnTo>
                    <a:pt x="2042" y="1777"/>
                  </a:lnTo>
                  <a:lnTo>
                    <a:pt x="2047" y="1777"/>
                  </a:lnTo>
                  <a:lnTo>
                    <a:pt x="2047" y="1777"/>
                  </a:lnTo>
                  <a:lnTo>
                    <a:pt x="2051" y="1772"/>
                  </a:lnTo>
                  <a:lnTo>
                    <a:pt x="2051" y="1768"/>
                  </a:lnTo>
                  <a:lnTo>
                    <a:pt x="2056" y="1763"/>
                  </a:lnTo>
                  <a:lnTo>
                    <a:pt x="2056" y="1763"/>
                  </a:lnTo>
                  <a:lnTo>
                    <a:pt x="2056" y="1759"/>
                  </a:lnTo>
                  <a:lnTo>
                    <a:pt x="2056" y="1759"/>
                  </a:lnTo>
                  <a:lnTo>
                    <a:pt x="2056" y="1759"/>
                  </a:lnTo>
                  <a:lnTo>
                    <a:pt x="2060" y="1759"/>
                  </a:lnTo>
                  <a:lnTo>
                    <a:pt x="2065" y="1750"/>
                  </a:lnTo>
                  <a:lnTo>
                    <a:pt x="2069" y="1745"/>
                  </a:lnTo>
                  <a:lnTo>
                    <a:pt x="2069" y="1736"/>
                  </a:lnTo>
                  <a:lnTo>
                    <a:pt x="2069" y="1732"/>
                  </a:lnTo>
                  <a:lnTo>
                    <a:pt x="2074" y="1727"/>
                  </a:lnTo>
                  <a:lnTo>
                    <a:pt x="2074" y="1727"/>
                  </a:lnTo>
                  <a:lnTo>
                    <a:pt x="2069" y="1723"/>
                  </a:lnTo>
                  <a:close/>
                  <a:moveTo>
                    <a:pt x="904" y="488"/>
                  </a:moveTo>
                  <a:lnTo>
                    <a:pt x="904" y="493"/>
                  </a:lnTo>
                  <a:lnTo>
                    <a:pt x="904" y="493"/>
                  </a:lnTo>
                  <a:lnTo>
                    <a:pt x="908" y="493"/>
                  </a:lnTo>
                  <a:lnTo>
                    <a:pt x="908" y="493"/>
                  </a:lnTo>
                  <a:lnTo>
                    <a:pt x="908" y="488"/>
                  </a:lnTo>
                  <a:lnTo>
                    <a:pt x="908" y="488"/>
                  </a:lnTo>
                  <a:lnTo>
                    <a:pt x="908" y="488"/>
                  </a:lnTo>
                  <a:lnTo>
                    <a:pt x="908" y="488"/>
                  </a:lnTo>
                  <a:lnTo>
                    <a:pt x="908" y="488"/>
                  </a:lnTo>
                  <a:lnTo>
                    <a:pt x="908" y="488"/>
                  </a:lnTo>
                  <a:lnTo>
                    <a:pt x="908" y="488"/>
                  </a:lnTo>
                  <a:lnTo>
                    <a:pt x="908" y="488"/>
                  </a:lnTo>
                  <a:lnTo>
                    <a:pt x="908" y="488"/>
                  </a:lnTo>
                  <a:lnTo>
                    <a:pt x="908" y="484"/>
                  </a:lnTo>
                  <a:lnTo>
                    <a:pt x="908" y="484"/>
                  </a:lnTo>
                  <a:lnTo>
                    <a:pt x="913" y="484"/>
                  </a:lnTo>
                  <a:lnTo>
                    <a:pt x="913" y="479"/>
                  </a:lnTo>
                  <a:lnTo>
                    <a:pt x="908" y="479"/>
                  </a:lnTo>
                  <a:lnTo>
                    <a:pt x="913" y="479"/>
                  </a:lnTo>
                  <a:lnTo>
                    <a:pt x="908" y="479"/>
                  </a:lnTo>
                  <a:lnTo>
                    <a:pt x="908" y="479"/>
                  </a:lnTo>
                  <a:lnTo>
                    <a:pt x="913" y="479"/>
                  </a:lnTo>
                  <a:lnTo>
                    <a:pt x="913" y="479"/>
                  </a:lnTo>
                  <a:lnTo>
                    <a:pt x="913" y="479"/>
                  </a:lnTo>
                  <a:lnTo>
                    <a:pt x="913" y="479"/>
                  </a:lnTo>
                  <a:lnTo>
                    <a:pt x="917" y="475"/>
                  </a:lnTo>
                  <a:lnTo>
                    <a:pt x="917" y="475"/>
                  </a:lnTo>
                  <a:lnTo>
                    <a:pt x="917" y="475"/>
                  </a:lnTo>
                  <a:lnTo>
                    <a:pt x="917" y="470"/>
                  </a:lnTo>
                  <a:lnTo>
                    <a:pt x="917" y="470"/>
                  </a:lnTo>
                  <a:lnTo>
                    <a:pt x="917" y="470"/>
                  </a:lnTo>
                  <a:lnTo>
                    <a:pt x="917" y="475"/>
                  </a:lnTo>
                  <a:lnTo>
                    <a:pt x="913" y="475"/>
                  </a:lnTo>
                  <a:lnTo>
                    <a:pt x="908" y="475"/>
                  </a:lnTo>
                  <a:lnTo>
                    <a:pt x="908" y="470"/>
                  </a:lnTo>
                  <a:lnTo>
                    <a:pt x="908" y="475"/>
                  </a:lnTo>
                  <a:lnTo>
                    <a:pt x="908" y="475"/>
                  </a:lnTo>
                  <a:lnTo>
                    <a:pt x="908" y="475"/>
                  </a:lnTo>
                  <a:lnTo>
                    <a:pt x="908" y="475"/>
                  </a:lnTo>
                  <a:lnTo>
                    <a:pt x="908" y="475"/>
                  </a:lnTo>
                  <a:lnTo>
                    <a:pt x="908" y="475"/>
                  </a:lnTo>
                  <a:lnTo>
                    <a:pt x="908" y="475"/>
                  </a:lnTo>
                  <a:lnTo>
                    <a:pt x="908" y="479"/>
                  </a:lnTo>
                  <a:lnTo>
                    <a:pt x="908" y="479"/>
                  </a:lnTo>
                  <a:lnTo>
                    <a:pt x="904" y="479"/>
                  </a:lnTo>
                  <a:lnTo>
                    <a:pt x="904" y="479"/>
                  </a:lnTo>
                  <a:lnTo>
                    <a:pt x="904" y="484"/>
                  </a:lnTo>
                  <a:lnTo>
                    <a:pt x="904" y="488"/>
                  </a:lnTo>
                  <a:lnTo>
                    <a:pt x="904" y="488"/>
                  </a:lnTo>
                  <a:lnTo>
                    <a:pt x="904" y="488"/>
                  </a:lnTo>
                  <a:close/>
                  <a:moveTo>
                    <a:pt x="1879" y="2568"/>
                  </a:moveTo>
                  <a:lnTo>
                    <a:pt x="1879" y="2568"/>
                  </a:lnTo>
                  <a:lnTo>
                    <a:pt x="1879" y="2568"/>
                  </a:lnTo>
                  <a:lnTo>
                    <a:pt x="1879" y="2564"/>
                  </a:lnTo>
                  <a:lnTo>
                    <a:pt x="1879" y="2564"/>
                  </a:lnTo>
                  <a:lnTo>
                    <a:pt x="1879" y="2564"/>
                  </a:lnTo>
                  <a:lnTo>
                    <a:pt x="1875" y="2564"/>
                  </a:lnTo>
                  <a:lnTo>
                    <a:pt x="1875" y="2564"/>
                  </a:lnTo>
                  <a:lnTo>
                    <a:pt x="1875" y="2564"/>
                  </a:lnTo>
                  <a:lnTo>
                    <a:pt x="1875" y="2564"/>
                  </a:lnTo>
                  <a:lnTo>
                    <a:pt x="1875" y="2568"/>
                  </a:lnTo>
                  <a:lnTo>
                    <a:pt x="1875" y="2568"/>
                  </a:lnTo>
                  <a:lnTo>
                    <a:pt x="1875" y="2568"/>
                  </a:lnTo>
                  <a:lnTo>
                    <a:pt x="1870" y="2564"/>
                  </a:lnTo>
                  <a:lnTo>
                    <a:pt x="1870" y="2564"/>
                  </a:lnTo>
                  <a:lnTo>
                    <a:pt x="1870" y="2564"/>
                  </a:lnTo>
                  <a:lnTo>
                    <a:pt x="1870" y="2564"/>
                  </a:lnTo>
                  <a:lnTo>
                    <a:pt x="1870" y="2564"/>
                  </a:lnTo>
                  <a:lnTo>
                    <a:pt x="1870" y="2564"/>
                  </a:lnTo>
                  <a:lnTo>
                    <a:pt x="1870" y="2564"/>
                  </a:lnTo>
                  <a:lnTo>
                    <a:pt x="1870" y="2564"/>
                  </a:lnTo>
                  <a:lnTo>
                    <a:pt x="1866" y="2564"/>
                  </a:lnTo>
                  <a:lnTo>
                    <a:pt x="1866" y="2564"/>
                  </a:lnTo>
                  <a:lnTo>
                    <a:pt x="1866" y="2564"/>
                  </a:lnTo>
                  <a:lnTo>
                    <a:pt x="1866" y="2564"/>
                  </a:lnTo>
                  <a:lnTo>
                    <a:pt x="1861" y="2568"/>
                  </a:lnTo>
                  <a:lnTo>
                    <a:pt x="1866" y="2568"/>
                  </a:lnTo>
                  <a:lnTo>
                    <a:pt x="1866" y="2568"/>
                  </a:lnTo>
                  <a:lnTo>
                    <a:pt x="1866" y="2568"/>
                  </a:lnTo>
                  <a:lnTo>
                    <a:pt x="1866" y="2568"/>
                  </a:lnTo>
                  <a:lnTo>
                    <a:pt x="1866" y="2568"/>
                  </a:lnTo>
                  <a:lnTo>
                    <a:pt x="1861" y="2573"/>
                  </a:lnTo>
                  <a:lnTo>
                    <a:pt x="1861" y="2573"/>
                  </a:lnTo>
                  <a:lnTo>
                    <a:pt x="1861" y="2573"/>
                  </a:lnTo>
                  <a:lnTo>
                    <a:pt x="1861" y="2577"/>
                  </a:lnTo>
                  <a:lnTo>
                    <a:pt x="1861" y="2577"/>
                  </a:lnTo>
                  <a:lnTo>
                    <a:pt x="1861" y="2577"/>
                  </a:lnTo>
                  <a:lnTo>
                    <a:pt x="1866" y="2582"/>
                  </a:lnTo>
                  <a:lnTo>
                    <a:pt x="1866" y="2582"/>
                  </a:lnTo>
                  <a:lnTo>
                    <a:pt x="1866" y="2577"/>
                  </a:lnTo>
                  <a:lnTo>
                    <a:pt x="1866" y="2577"/>
                  </a:lnTo>
                  <a:lnTo>
                    <a:pt x="1870" y="2577"/>
                  </a:lnTo>
                  <a:lnTo>
                    <a:pt x="1870" y="2577"/>
                  </a:lnTo>
                  <a:lnTo>
                    <a:pt x="1866" y="2577"/>
                  </a:lnTo>
                  <a:lnTo>
                    <a:pt x="1866" y="2577"/>
                  </a:lnTo>
                  <a:lnTo>
                    <a:pt x="1875" y="2577"/>
                  </a:lnTo>
                  <a:lnTo>
                    <a:pt x="1875" y="2577"/>
                  </a:lnTo>
                  <a:lnTo>
                    <a:pt x="1875" y="2577"/>
                  </a:lnTo>
                  <a:lnTo>
                    <a:pt x="1875" y="2573"/>
                  </a:lnTo>
                  <a:lnTo>
                    <a:pt x="1879" y="2573"/>
                  </a:lnTo>
                  <a:lnTo>
                    <a:pt x="1879" y="2573"/>
                  </a:lnTo>
                  <a:lnTo>
                    <a:pt x="1879" y="2573"/>
                  </a:lnTo>
                  <a:lnTo>
                    <a:pt x="1879" y="2568"/>
                  </a:lnTo>
                  <a:lnTo>
                    <a:pt x="1884" y="2568"/>
                  </a:lnTo>
                  <a:lnTo>
                    <a:pt x="1884" y="2568"/>
                  </a:lnTo>
                  <a:lnTo>
                    <a:pt x="1884" y="2568"/>
                  </a:lnTo>
                  <a:lnTo>
                    <a:pt x="1879" y="2568"/>
                  </a:lnTo>
                  <a:close/>
                  <a:moveTo>
                    <a:pt x="1861" y="2564"/>
                  </a:moveTo>
                  <a:lnTo>
                    <a:pt x="1857" y="2564"/>
                  </a:lnTo>
                  <a:lnTo>
                    <a:pt x="1857" y="2564"/>
                  </a:lnTo>
                  <a:lnTo>
                    <a:pt x="1857" y="2564"/>
                  </a:lnTo>
                  <a:lnTo>
                    <a:pt x="1852" y="2564"/>
                  </a:lnTo>
                  <a:lnTo>
                    <a:pt x="1852" y="2564"/>
                  </a:lnTo>
                  <a:lnTo>
                    <a:pt x="1852" y="2564"/>
                  </a:lnTo>
                  <a:lnTo>
                    <a:pt x="1852" y="2564"/>
                  </a:lnTo>
                  <a:lnTo>
                    <a:pt x="1848" y="2564"/>
                  </a:lnTo>
                  <a:lnTo>
                    <a:pt x="1848" y="2568"/>
                  </a:lnTo>
                  <a:lnTo>
                    <a:pt x="1848" y="2568"/>
                  </a:lnTo>
                  <a:lnTo>
                    <a:pt x="1843" y="2564"/>
                  </a:lnTo>
                  <a:lnTo>
                    <a:pt x="1843" y="2564"/>
                  </a:lnTo>
                  <a:lnTo>
                    <a:pt x="1843" y="2564"/>
                  </a:lnTo>
                  <a:lnTo>
                    <a:pt x="1843" y="2564"/>
                  </a:lnTo>
                  <a:lnTo>
                    <a:pt x="1843" y="2568"/>
                  </a:lnTo>
                  <a:lnTo>
                    <a:pt x="1843" y="2568"/>
                  </a:lnTo>
                  <a:lnTo>
                    <a:pt x="1843" y="2568"/>
                  </a:lnTo>
                  <a:lnTo>
                    <a:pt x="1848" y="2568"/>
                  </a:lnTo>
                  <a:lnTo>
                    <a:pt x="1848" y="2568"/>
                  </a:lnTo>
                  <a:lnTo>
                    <a:pt x="1848" y="2568"/>
                  </a:lnTo>
                  <a:lnTo>
                    <a:pt x="1848" y="2573"/>
                  </a:lnTo>
                  <a:lnTo>
                    <a:pt x="1843" y="2573"/>
                  </a:lnTo>
                  <a:lnTo>
                    <a:pt x="1843" y="2573"/>
                  </a:lnTo>
                  <a:lnTo>
                    <a:pt x="1848" y="2573"/>
                  </a:lnTo>
                  <a:lnTo>
                    <a:pt x="1848" y="2573"/>
                  </a:lnTo>
                  <a:lnTo>
                    <a:pt x="1848" y="2573"/>
                  </a:lnTo>
                  <a:lnTo>
                    <a:pt x="1848" y="2573"/>
                  </a:lnTo>
                  <a:lnTo>
                    <a:pt x="1848" y="2573"/>
                  </a:lnTo>
                  <a:lnTo>
                    <a:pt x="1848" y="2573"/>
                  </a:lnTo>
                  <a:lnTo>
                    <a:pt x="1848" y="2573"/>
                  </a:lnTo>
                  <a:lnTo>
                    <a:pt x="1848" y="2573"/>
                  </a:lnTo>
                  <a:lnTo>
                    <a:pt x="1848" y="2573"/>
                  </a:lnTo>
                  <a:lnTo>
                    <a:pt x="1848" y="2577"/>
                  </a:lnTo>
                  <a:lnTo>
                    <a:pt x="1843" y="2577"/>
                  </a:lnTo>
                  <a:lnTo>
                    <a:pt x="1843" y="2577"/>
                  </a:lnTo>
                  <a:lnTo>
                    <a:pt x="1843" y="2582"/>
                  </a:lnTo>
                  <a:lnTo>
                    <a:pt x="1848" y="2582"/>
                  </a:lnTo>
                  <a:lnTo>
                    <a:pt x="1848" y="2582"/>
                  </a:lnTo>
                  <a:lnTo>
                    <a:pt x="1848" y="2582"/>
                  </a:lnTo>
                  <a:lnTo>
                    <a:pt x="1852" y="2582"/>
                  </a:lnTo>
                  <a:lnTo>
                    <a:pt x="1852" y="2577"/>
                  </a:lnTo>
                  <a:lnTo>
                    <a:pt x="1852" y="2577"/>
                  </a:lnTo>
                  <a:lnTo>
                    <a:pt x="1852" y="2577"/>
                  </a:lnTo>
                  <a:lnTo>
                    <a:pt x="1852" y="2577"/>
                  </a:lnTo>
                  <a:lnTo>
                    <a:pt x="1852" y="2577"/>
                  </a:lnTo>
                  <a:lnTo>
                    <a:pt x="1852" y="2577"/>
                  </a:lnTo>
                  <a:lnTo>
                    <a:pt x="1857" y="2577"/>
                  </a:lnTo>
                  <a:lnTo>
                    <a:pt x="1857" y="2577"/>
                  </a:lnTo>
                  <a:lnTo>
                    <a:pt x="1857" y="2573"/>
                  </a:lnTo>
                  <a:lnTo>
                    <a:pt x="1857" y="2568"/>
                  </a:lnTo>
                  <a:lnTo>
                    <a:pt x="1857" y="2568"/>
                  </a:lnTo>
                  <a:lnTo>
                    <a:pt x="1861" y="2568"/>
                  </a:lnTo>
                  <a:lnTo>
                    <a:pt x="1861" y="2568"/>
                  </a:lnTo>
                  <a:lnTo>
                    <a:pt x="1861" y="2568"/>
                  </a:lnTo>
                  <a:lnTo>
                    <a:pt x="1861" y="2564"/>
                  </a:lnTo>
                  <a:lnTo>
                    <a:pt x="1861" y="2564"/>
                  </a:lnTo>
                  <a:lnTo>
                    <a:pt x="1861" y="2564"/>
                  </a:lnTo>
                  <a:close/>
                  <a:moveTo>
                    <a:pt x="1807" y="2631"/>
                  </a:moveTo>
                  <a:lnTo>
                    <a:pt x="1807" y="2631"/>
                  </a:lnTo>
                  <a:lnTo>
                    <a:pt x="1803" y="2631"/>
                  </a:lnTo>
                  <a:lnTo>
                    <a:pt x="1798" y="2631"/>
                  </a:lnTo>
                  <a:lnTo>
                    <a:pt x="1794" y="2627"/>
                  </a:lnTo>
                  <a:lnTo>
                    <a:pt x="1789" y="2627"/>
                  </a:lnTo>
                  <a:lnTo>
                    <a:pt x="1784" y="2622"/>
                  </a:lnTo>
                  <a:lnTo>
                    <a:pt x="1780" y="2622"/>
                  </a:lnTo>
                  <a:lnTo>
                    <a:pt x="1780" y="2622"/>
                  </a:lnTo>
                  <a:lnTo>
                    <a:pt x="1775" y="2622"/>
                  </a:lnTo>
                  <a:lnTo>
                    <a:pt x="1771" y="2618"/>
                  </a:lnTo>
                  <a:lnTo>
                    <a:pt x="1766" y="2613"/>
                  </a:lnTo>
                  <a:lnTo>
                    <a:pt x="1762" y="2613"/>
                  </a:lnTo>
                  <a:lnTo>
                    <a:pt x="1762" y="2613"/>
                  </a:lnTo>
                  <a:lnTo>
                    <a:pt x="1757" y="2613"/>
                  </a:lnTo>
                  <a:lnTo>
                    <a:pt x="1757" y="2609"/>
                  </a:lnTo>
                  <a:lnTo>
                    <a:pt x="1753" y="2609"/>
                  </a:lnTo>
                  <a:lnTo>
                    <a:pt x="1753" y="2609"/>
                  </a:lnTo>
                  <a:lnTo>
                    <a:pt x="1748" y="2604"/>
                  </a:lnTo>
                  <a:lnTo>
                    <a:pt x="1748" y="2604"/>
                  </a:lnTo>
                  <a:lnTo>
                    <a:pt x="1748" y="2604"/>
                  </a:lnTo>
                  <a:lnTo>
                    <a:pt x="1748" y="2604"/>
                  </a:lnTo>
                  <a:lnTo>
                    <a:pt x="1748" y="2604"/>
                  </a:lnTo>
                  <a:lnTo>
                    <a:pt x="1748" y="2600"/>
                  </a:lnTo>
                  <a:lnTo>
                    <a:pt x="1753" y="2604"/>
                  </a:lnTo>
                  <a:lnTo>
                    <a:pt x="1748" y="2600"/>
                  </a:lnTo>
                  <a:lnTo>
                    <a:pt x="1748" y="2600"/>
                  </a:lnTo>
                  <a:lnTo>
                    <a:pt x="1744" y="2595"/>
                  </a:lnTo>
                  <a:lnTo>
                    <a:pt x="1739" y="2595"/>
                  </a:lnTo>
                  <a:lnTo>
                    <a:pt x="1739" y="2595"/>
                  </a:lnTo>
                  <a:lnTo>
                    <a:pt x="1739" y="2595"/>
                  </a:lnTo>
                  <a:lnTo>
                    <a:pt x="1739" y="2595"/>
                  </a:lnTo>
                  <a:lnTo>
                    <a:pt x="1735" y="2595"/>
                  </a:lnTo>
                  <a:lnTo>
                    <a:pt x="1735" y="2595"/>
                  </a:lnTo>
                  <a:lnTo>
                    <a:pt x="1730" y="2591"/>
                  </a:lnTo>
                  <a:lnTo>
                    <a:pt x="1726" y="2591"/>
                  </a:lnTo>
                  <a:lnTo>
                    <a:pt x="1726" y="2595"/>
                  </a:lnTo>
                  <a:lnTo>
                    <a:pt x="1726" y="2595"/>
                  </a:lnTo>
                  <a:lnTo>
                    <a:pt x="1726" y="2595"/>
                  </a:lnTo>
                  <a:lnTo>
                    <a:pt x="1726" y="2600"/>
                  </a:lnTo>
                  <a:lnTo>
                    <a:pt x="1726" y="2600"/>
                  </a:lnTo>
                  <a:lnTo>
                    <a:pt x="1726" y="2600"/>
                  </a:lnTo>
                  <a:lnTo>
                    <a:pt x="1721" y="2600"/>
                  </a:lnTo>
                  <a:lnTo>
                    <a:pt x="1721" y="2595"/>
                  </a:lnTo>
                  <a:lnTo>
                    <a:pt x="1717" y="2600"/>
                  </a:lnTo>
                  <a:lnTo>
                    <a:pt x="1717" y="2600"/>
                  </a:lnTo>
                  <a:lnTo>
                    <a:pt x="1721" y="2600"/>
                  </a:lnTo>
                  <a:lnTo>
                    <a:pt x="1721" y="2600"/>
                  </a:lnTo>
                  <a:lnTo>
                    <a:pt x="1721" y="2600"/>
                  </a:lnTo>
                  <a:lnTo>
                    <a:pt x="1721" y="2600"/>
                  </a:lnTo>
                  <a:lnTo>
                    <a:pt x="1726" y="2600"/>
                  </a:lnTo>
                  <a:lnTo>
                    <a:pt x="1726" y="2600"/>
                  </a:lnTo>
                  <a:lnTo>
                    <a:pt x="1721" y="2604"/>
                  </a:lnTo>
                  <a:lnTo>
                    <a:pt x="1721" y="2604"/>
                  </a:lnTo>
                  <a:lnTo>
                    <a:pt x="1721" y="2604"/>
                  </a:lnTo>
                  <a:lnTo>
                    <a:pt x="1721" y="2604"/>
                  </a:lnTo>
                  <a:lnTo>
                    <a:pt x="1721" y="2604"/>
                  </a:lnTo>
                  <a:lnTo>
                    <a:pt x="1721" y="2604"/>
                  </a:lnTo>
                  <a:lnTo>
                    <a:pt x="1721" y="2609"/>
                  </a:lnTo>
                  <a:lnTo>
                    <a:pt x="1726" y="2609"/>
                  </a:lnTo>
                  <a:lnTo>
                    <a:pt x="1726" y="2609"/>
                  </a:lnTo>
                  <a:lnTo>
                    <a:pt x="1726" y="2609"/>
                  </a:lnTo>
                  <a:lnTo>
                    <a:pt x="1730" y="2609"/>
                  </a:lnTo>
                  <a:lnTo>
                    <a:pt x="1730" y="2609"/>
                  </a:lnTo>
                  <a:lnTo>
                    <a:pt x="1735" y="2609"/>
                  </a:lnTo>
                  <a:lnTo>
                    <a:pt x="1735" y="2609"/>
                  </a:lnTo>
                  <a:lnTo>
                    <a:pt x="1735" y="2609"/>
                  </a:lnTo>
                  <a:lnTo>
                    <a:pt x="1739" y="2609"/>
                  </a:lnTo>
                  <a:lnTo>
                    <a:pt x="1739" y="2609"/>
                  </a:lnTo>
                  <a:lnTo>
                    <a:pt x="1739" y="2609"/>
                  </a:lnTo>
                  <a:lnTo>
                    <a:pt x="1739" y="2613"/>
                  </a:lnTo>
                  <a:lnTo>
                    <a:pt x="1735" y="2613"/>
                  </a:lnTo>
                  <a:lnTo>
                    <a:pt x="1735" y="2613"/>
                  </a:lnTo>
                  <a:lnTo>
                    <a:pt x="1735" y="2618"/>
                  </a:lnTo>
                  <a:lnTo>
                    <a:pt x="1730" y="2618"/>
                  </a:lnTo>
                  <a:lnTo>
                    <a:pt x="1735" y="2618"/>
                  </a:lnTo>
                  <a:lnTo>
                    <a:pt x="1735" y="2622"/>
                  </a:lnTo>
                  <a:lnTo>
                    <a:pt x="1739" y="2622"/>
                  </a:lnTo>
                  <a:lnTo>
                    <a:pt x="1753" y="2627"/>
                  </a:lnTo>
                  <a:lnTo>
                    <a:pt x="1753" y="2627"/>
                  </a:lnTo>
                  <a:lnTo>
                    <a:pt x="1753" y="2627"/>
                  </a:lnTo>
                  <a:lnTo>
                    <a:pt x="1753" y="2627"/>
                  </a:lnTo>
                  <a:lnTo>
                    <a:pt x="1753" y="2631"/>
                  </a:lnTo>
                  <a:lnTo>
                    <a:pt x="1753" y="2631"/>
                  </a:lnTo>
                  <a:lnTo>
                    <a:pt x="1753" y="2631"/>
                  </a:lnTo>
                  <a:lnTo>
                    <a:pt x="1753" y="2631"/>
                  </a:lnTo>
                  <a:lnTo>
                    <a:pt x="1753" y="2631"/>
                  </a:lnTo>
                  <a:lnTo>
                    <a:pt x="1753" y="2631"/>
                  </a:lnTo>
                  <a:lnTo>
                    <a:pt x="1748" y="2627"/>
                  </a:lnTo>
                  <a:lnTo>
                    <a:pt x="1748" y="2627"/>
                  </a:lnTo>
                  <a:lnTo>
                    <a:pt x="1748" y="2627"/>
                  </a:lnTo>
                  <a:lnTo>
                    <a:pt x="1744" y="2627"/>
                  </a:lnTo>
                  <a:lnTo>
                    <a:pt x="1744" y="2627"/>
                  </a:lnTo>
                  <a:lnTo>
                    <a:pt x="1744" y="2627"/>
                  </a:lnTo>
                  <a:lnTo>
                    <a:pt x="1739" y="2627"/>
                  </a:lnTo>
                  <a:lnTo>
                    <a:pt x="1739" y="2627"/>
                  </a:lnTo>
                  <a:lnTo>
                    <a:pt x="1739" y="2627"/>
                  </a:lnTo>
                  <a:lnTo>
                    <a:pt x="1735" y="2627"/>
                  </a:lnTo>
                  <a:lnTo>
                    <a:pt x="1735" y="2627"/>
                  </a:lnTo>
                  <a:lnTo>
                    <a:pt x="1730" y="2622"/>
                  </a:lnTo>
                  <a:lnTo>
                    <a:pt x="1730" y="2622"/>
                  </a:lnTo>
                  <a:lnTo>
                    <a:pt x="1730" y="2622"/>
                  </a:lnTo>
                  <a:lnTo>
                    <a:pt x="1730" y="2622"/>
                  </a:lnTo>
                  <a:lnTo>
                    <a:pt x="1730" y="2618"/>
                  </a:lnTo>
                  <a:lnTo>
                    <a:pt x="1726" y="2613"/>
                  </a:lnTo>
                  <a:lnTo>
                    <a:pt x="1726" y="2613"/>
                  </a:lnTo>
                  <a:lnTo>
                    <a:pt x="1726" y="2618"/>
                  </a:lnTo>
                  <a:lnTo>
                    <a:pt x="1726" y="2618"/>
                  </a:lnTo>
                  <a:lnTo>
                    <a:pt x="1726" y="2618"/>
                  </a:lnTo>
                  <a:lnTo>
                    <a:pt x="1726" y="2622"/>
                  </a:lnTo>
                  <a:lnTo>
                    <a:pt x="1726" y="2622"/>
                  </a:lnTo>
                  <a:lnTo>
                    <a:pt x="1730" y="2627"/>
                  </a:lnTo>
                  <a:lnTo>
                    <a:pt x="1730" y="2627"/>
                  </a:lnTo>
                  <a:lnTo>
                    <a:pt x="1735" y="2627"/>
                  </a:lnTo>
                  <a:lnTo>
                    <a:pt x="1735" y="2627"/>
                  </a:lnTo>
                  <a:lnTo>
                    <a:pt x="1739" y="2631"/>
                  </a:lnTo>
                  <a:lnTo>
                    <a:pt x="1739" y="2631"/>
                  </a:lnTo>
                  <a:lnTo>
                    <a:pt x="1735" y="2631"/>
                  </a:lnTo>
                  <a:lnTo>
                    <a:pt x="1735" y="2631"/>
                  </a:lnTo>
                  <a:lnTo>
                    <a:pt x="1735" y="2631"/>
                  </a:lnTo>
                  <a:lnTo>
                    <a:pt x="1730" y="2631"/>
                  </a:lnTo>
                  <a:lnTo>
                    <a:pt x="1730" y="2627"/>
                  </a:lnTo>
                  <a:lnTo>
                    <a:pt x="1730" y="2627"/>
                  </a:lnTo>
                  <a:lnTo>
                    <a:pt x="1730" y="2627"/>
                  </a:lnTo>
                  <a:lnTo>
                    <a:pt x="1730" y="2627"/>
                  </a:lnTo>
                  <a:lnTo>
                    <a:pt x="1730" y="2631"/>
                  </a:lnTo>
                  <a:lnTo>
                    <a:pt x="1730" y="2631"/>
                  </a:lnTo>
                  <a:lnTo>
                    <a:pt x="1726" y="2631"/>
                  </a:lnTo>
                  <a:lnTo>
                    <a:pt x="1726" y="2631"/>
                  </a:lnTo>
                  <a:lnTo>
                    <a:pt x="1721" y="2631"/>
                  </a:lnTo>
                  <a:lnTo>
                    <a:pt x="1721" y="2631"/>
                  </a:lnTo>
                  <a:lnTo>
                    <a:pt x="1721" y="2631"/>
                  </a:lnTo>
                  <a:lnTo>
                    <a:pt x="1721" y="2631"/>
                  </a:lnTo>
                  <a:lnTo>
                    <a:pt x="1721" y="2631"/>
                  </a:lnTo>
                  <a:lnTo>
                    <a:pt x="1717" y="2631"/>
                  </a:lnTo>
                  <a:lnTo>
                    <a:pt x="1717" y="2631"/>
                  </a:lnTo>
                  <a:lnTo>
                    <a:pt x="1717" y="2631"/>
                  </a:lnTo>
                  <a:lnTo>
                    <a:pt x="1717" y="2631"/>
                  </a:lnTo>
                  <a:lnTo>
                    <a:pt x="1717" y="2631"/>
                  </a:lnTo>
                  <a:lnTo>
                    <a:pt x="1717" y="2636"/>
                  </a:lnTo>
                  <a:lnTo>
                    <a:pt x="1721" y="2636"/>
                  </a:lnTo>
                  <a:lnTo>
                    <a:pt x="1726" y="2636"/>
                  </a:lnTo>
                  <a:lnTo>
                    <a:pt x="1730" y="2636"/>
                  </a:lnTo>
                  <a:lnTo>
                    <a:pt x="1730" y="2636"/>
                  </a:lnTo>
                  <a:lnTo>
                    <a:pt x="1735" y="2636"/>
                  </a:lnTo>
                  <a:lnTo>
                    <a:pt x="1739" y="2636"/>
                  </a:lnTo>
                  <a:lnTo>
                    <a:pt x="1744" y="2636"/>
                  </a:lnTo>
                  <a:lnTo>
                    <a:pt x="1744" y="2636"/>
                  </a:lnTo>
                  <a:lnTo>
                    <a:pt x="1744" y="2636"/>
                  </a:lnTo>
                  <a:lnTo>
                    <a:pt x="1744" y="2636"/>
                  </a:lnTo>
                  <a:lnTo>
                    <a:pt x="1744" y="2636"/>
                  </a:lnTo>
                  <a:lnTo>
                    <a:pt x="1748" y="2636"/>
                  </a:lnTo>
                  <a:lnTo>
                    <a:pt x="1748" y="2636"/>
                  </a:lnTo>
                  <a:lnTo>
                    <a:pt x="1748" y="2636"/>
                  </a:lnTo>
                  <a:lnTo>
                    <a:pt x="1753" y="2636"/>
                  </a:lnTo>
                  <a:lnTo>
                    <a:pt x="1753" y="2636"/>
                  </a:lnTo>
                  <a:lnTo>
                    <a:pt x="1757" y="2636"/>
                  </a:lnTo>
                  <a:lnTo>
                    <a:pt x="1762" y="2636"/>
                  </a:lnTo>
                  <a:lnTo>
                    <a:pt x="1762" y="2636"/>
                  </a:lnTo>
                  <a:lnTo>
                    <a:pt x="1766" y="2636"/>
                  </a:lnTo>
                  <a:lnTo>
                    <a:pt x="1766" y="2636"/>
                  </a:lnTo>
                  <a:lnTo>
                    <a:pt x="1766" y="2636"/>
                  </a:lnTo>
                  <a:lnTo>
                    <a:pt x="1766" y="2636"/>
                  </a:lnTo>
                  <a:lnTo>
                    <a:pt x="1771" y="2636"/>
                  </a:lnTo>
                  <a:lnTo>
                    <a:pt x="1775" y="2636"/>
                  </a:lnTo>
                  <a:lnTo>
                    <a:pt x="1775" y="2636"/>
                  </a:lnTo>
                  <a:lnTo>
                    <a:pt x="1784" y="2636"/>
                  </a:lnTo>
                  <a:lnTo>
                    <a:pt x="1789" y="2636"/>
                  </a:lnTo>
                  <a:lnTo>
                    <a:pt x="1794" y="2636"/>
                  </a:lnTo>
                  <a:lnTo>
                    <a:pt x="1794" y="2636"/>
                  </a:lnTo>
                  <a:lnTo>
                    <a:pt x="1798" y="2636"/>
                  </a:lnTo>
                  <a:lnTo>
                    <a:pt x="1798" y="2636"/>
                  </a:lnTo>
                  <a:lnTo>
                    <a:pt x="1798" y="2636"/>
                  </a:lnTo>
                  <a:lnTo>
                    <a:pt x="1803" y="2636"/>
                  </a:lnTo>
                  <a:lnTo>
                    <a:pt x="1803" y="2636"/>
                  </a:lnTo>
                  <a:lnTo>
                    <a:pt x="1803" y="2636"/>
                  </a:lnTo>
                  <a:lnTo>
                    <a:pt x="1807" y="2636"/>
                  </a:lnTo>
                  <a:lnTo>
                    <a:pt x="1807" y="2636"/>
                  </a:lnTo>
                  <a:lnTo>
                    <a:pt x="1807" y="2636"/>
                  </a:lnTo>
                  <a:lnTo>
                    <a:pt x="1812" y="2636"/>
                  </a:lnTo>
                  <a:lnTo>
                    <a:pt x="1812" y="2631"/>
                  </a:lnTo>
                  <a:lnTo>
                    <a:pt x="1812" y="2631"/>
                  </a:lnTo>
                  <a:lnTo>
                    <a:pt x="1807" y="2631"/>
                  </a:lnTo>
                  <a:close/>
                  <a:moveTo>
                    <a:pt x="1667" y="366"/>
                  </a:moveTo>
                  <a:lnTo>
                    <a:pt x="1667" y="366"/>
                  </a:lnTo>
                  <a:lnTo>
                    <a:pt x="1672" y="366"/>
                  </a:lnTo>
                  <a:lnTo>
                    <a:pt x="1676" y="366"/>
                  </a:lnTo>
                  <a:lnTo>
                    <a:pt x="1676" y="366"/>
                  </a:lnTo>
                  <a:lnTo>
                    <a:pt x="1676" y="366"/>
                  </a:lnTo>
                  <a:lnTo>
                    <a:pt x="1676" y="366"/>
                  </a:lnTo>
                  <a:lnTo>
                    <a:pt x="1685" y="362"/>
                  </a:lnTo>
                  <a:lnTo>
                    <a:pt x="1685" y="362"/>
                  </a:lnTo>
                  <a:lnTo>
                    <a:pt x="1690" y="362"/>
                  </a:lnTo>
                  <a:lnTo>
                    <a:pt x="1694" y="357"/>
                  </a:lnTo>
                  <a:lnTo>
                    <a:pt x="1694" y="357"/>
                  </a:lnTo>
                  <a:lnTo>
                    <a:pt x="1699" y="357"/>
                  </a:lnTo>
                  <a:lnTo>
                    <a:pt x="1699" y="357"/>
                  </a:lnTo>
                  <a:lnTo>
                    <a:pt x="1699" y="353"/>
                  </a:lnTo>
                  <a:lnTo>
                    <a:pt x="1699" y="353"/>
                  </a:lnTo>
                  <a:lnTo>
                    <a:pt x="1699" y="353"/>
                  </a:lnTo>
                  <a:lnTo>
                    <a:pt x="1699" y="353"/>
                  </a:lnTo>
                  <a:lnTo>
                    <a:pt x="1699" y="353"/>
                  </a:lnTo>
                  <a:lnTo>
                    <a:pt x="1699" y="353"/>
                  </a:lnTo>
                  <a:lnTo>
                    <a:pt x="1694" y="353"/>
                  </a:lnTo>
                  <a:lnTo>
                    <a:pt x="1690" y="353"/>
                  </a:lnTo>
                  <a:lnTo>
                    <a:pt x="1685" y="353"/>
                  </a:lnTo>
                  <a:lnTo>
                    <a:pt x="1685" y="353"/>
                  </a:lnTo>
                  <a:lnTo>
                    <a:pt x="1685" y="353"/>
                  </a:lnTo>
                  <a:lnTo>
                    <a:pt x="1685" y="353"/>
                  </a:lnTo>
                  <a:lnTo>
                    <a:pt x="1681" y="353"/>
                  </a:lnTo>
                  <a:lnTo>
                    <a:pt x="1672" y="357"/>
                  </a:lnTo>
                  <a:lnTo>
                    <a:pt x="1672" y="362"/>
                  </a:lnTo>
                  <a:lnTo>
                    <a:pt x="1672" y="362"/>
                  </a:lnTo>
                  <a:lnTo>
                    <a:pt x="1667" y="362"/>
                  </a:lnTo>
                  <a:lnTo>
                    <a:pt x="1667" y="362"/>
                  </a:lnTo>
                  <a:lnTo>
                    <a:pt x="1667" y="362"/>
                  </a:lnTo>
                  <a:lnTo>
                    <a:pt x="1667" y="366"/>
                  </a:lnTo>
                  <a:lnTo>
                    <a:pt x="1667" y="366"/>
                  </a:lnTo>
                  <a:close/>
                  <a:moveTo>
                    <a:pt x="1622" y="1365"/>
                  </a:moveTo>
                  <a:lnTo>
                    <a:pt x="1622" y="1365"/>
                  </a:lnTo>
                  <a:lnTo>
                    <a:pt x="1617" y="1365"/>
                  </a:lnTo>
                  <a:lnTo>
                    <a:pt x="1613" y="1365"/>
                  </a:lnTo>
                  <a:lnTo>
                    <a:pt x="1613" y="1365"/>
                  </a:lnTo>
                  <a:lnTo>
                    <a:pt x="1613" y="1365"/>
                  </a:lnTo>
                  <a:lnTo>
                    <a:pt x="1608" y="1370"/>
                  </a:lnTo>
                  <a:lnTo>
                    <a:pt x="1608" y="1370"/>
                  </a:lnTo>
                  <a:lnTo>
                    <a:pt x="1613" y="1370"/>
                  </a:lnTo>
                  <a:lnTo>
                    <a:pt x="1613" y="1370"/>
                  </a:lnTo>
                  <a:lnTo>
                    <a:pt x="1613" y="1370"/>
                  </a:lnTo>
                  <a:lnTo>
                    <a:pt x="1613" y="1370"/>
                  </a:lnTo>
                  <a:lnTo>
                    <a:pt x="1613" y="1375"/>
                  </a:lnTo>
                  <a:lnTo>
                    <a:pt x="1613" y="1379"/>
                  </a:lnTo>
                  <a:lnTo>
                    <a:pt x="1608" y="1379"/>
                  </a:lnTo>
                  <a:lnTo>
                    <a:pt x="1608" y="1379"/>
                  </a:lnTo>
                  <a:lnTo>
                    <a:pt x="1604" y="1379"/>
                  </a:lnTo>
                  <a:lnTo>
                    <a:pt x="1608" y="1379"/>
                  </a:lnTo>
                  <a:lnTo>
                    <a:pt x="1608" y="1379"/>
                  </a:lnTo>
                  <a:lnTo>
                    <a:pt x="1617" y="1379"/>
                  </a:lnTo>
                  <a:lnTo>
                    <a:pt x="1622" y="1379"/>
                  </a:lnTo>
                  <a:lnTo>
                    <a:pt x="1622" y="1379"/>
                  </a:lnTo>
                  <a:lnTo>
                    <a:pt x="1622" y="1375"/>
                  </a:lnTo>
                  <a:lnTo>
                    <a:pt x="1622" y="1375"/>
                  </a:lnTo>
                  <a:lnTo>
                    <a:pt x="1622" y="1375"/>
                  </a:lnTo>
                  <a:lnTo>
                    <a:pt x="1622" y="1375"/>
                  </a:lnTo>
                  <a:lnTo>
                    <a:pt x="1622" y="1370"/>
                  </a:lnTo>
                  <a:lnTo>
                    <a:pt x="1622" y="1370"/>
                  </a:lnTo>
                  <a:lnTo>
                    <a:pt x="1622" y="1370"/>
                  </a:lnTo>
                  <a:lnTo>
                    <a:pt x="1622" y="1365"/>
                  </a:lnTo>
                  <a:close/>
                  <a:moveTo>
                    <a:pt x="1572" y="534"/>
                  </a:moveTo>
                  <a:lnTo>
                    <a:pt x="1568" y="534"/>
                  </a:lnTo>
                  <a:lnTo>
                    <a:pt x="1568" y="538"/>
                  </a:lnTo>
                  <a:lnTo>
                    <a:pt x="1563" y="538"/>
                  </a:lnTo>
                  <a:lnTo>
                    <a:pt x="1563" y="538"/>
                  </a:lnTo>
                  <a:lnTo>
                    <a:pt x="1563" y="538"/>
                  </a:lnTo>
                  <a:lnTo>
                    <a:pt x="1563" y="538"/>
                  </a:lnTo>
                  <a:lnTo>
                    <a:pt x="1568" y="543"/>
                  </a:lnTo>
                  <a:lnTo>
                    <a:pt x="1572" y="543"/>
                  </a:lnTo>
                  <a:lnTo>
                    <a:pt x="1572" y="543"/>
                  </a:lnTo>
                  <a:lnTo>
                    <a:pt x="1577" y="547"/>
                  </a:lnTo>
                  <a:lnTo>
                    <a:pt x="1577" y="547"/>
                  </a:lnTo>
                  <a:lnTo>
                    <a:pt x="1577" y="543"/>
                  </a:lnTo>
                  <a:lnTo>
                    <a:pt x="1577" y="543"/>
                  </a:lnTo>
                  <a:lnTo>
                    <a:pt x="1577" y="543"/>
                  </a:lnTo>
                  <a:lnTo>
                    <a:pt x="1577" y="538"/>
                  </a:lnTo>
                  <a:lnTo>
                    <a:pt x="1577" y="538"/>
                  </a:lnTo>
                  <a:lnTo>
                    <a:pt x="1572" y="534"/>
                  </a:lnTo>
                  <a:close/>
                  <a:moveTo>
                    <a:pt x="2801" y="570"/>
                  </a:moveTo>
                  <a:lnTo>
                    <a:pt x="2796" y="570"/>
                  </a:lnTo>
                  <a:lnTo>
                    <a:pt x="2796" y="570"/>
                  </a:lnTo>
                  <a:lnTo>
                    <a:pt x="2796" y="570"/>
                  </a:lnTo>
                  <a:lnTo>
                    <a:pt x="2801" y="570"/>
                  </a:lnTo>
                  <a:lnTo>
                    <a:pt x="2801" y="570"/>
                  </a:lnTo>
                  <a:close/>
                  <a:moveTo>
                    <a:pt x="2796" y="570"/>
                  </a:moveTo>
                  <a:lnTo>
                    <a:pt x="2796" y="570"/>
                  </a:lnTo>
                  <a:lnTo>
                    <a:pt x="2792" y="570"/>
                  </a:lnTo>
                  <a:lnTo>
                    <a:pt x="2792" y="570"/>
                  </a:lnTo>
                  <a:lnTo>
                    <a:pt x="2792" y="570"/>
                  </a:lnTo>
                  <a:lnTo>
                    <a:pt x="2792" y="570"/>
                  </a:lnTo>
                  <a:lnTo>
                    <a:pt x="2792" y="570"/>
                  </a:lnTo>
                  <a:lnTo>
                    <a:pt x="2796" y="570"/>
                  </a:lnTo>
                  <a:close/>
                  <a:moveTo>
                    <a:pt x="2783" y="574"/>
                  </a:moveTo>
                  <a:lnTo>
                    <a:pt x="2783" y="574"/>
                  </a:lnTo>
                  <a:lnTo>
                    <a:pt x="2778" y="574"/>
                  </a:lnTo>
                  <a:lnTo>
                    <a:pt x="2778" y="574"/>
                  </a:lnTo>
                  <a:lnTo>
                    <a:pt x="2783" y="574"/>
                  </a:lnTo>
                  <a:close/>
                  <a:moveTo>
                    <a:pt x="2792" y="570"/>
                  </a:moveTo>
                  <a:lnTo>
                    <a:pt x="2787" y="570"/>
                  </a:lnTo>
                  <a:lnTo>
                    <a:pt x="2787" y="574"/>
                  </a:lnTo>
                  <a:lnTo>
                    <a:pt x="2783" y="574"/>
                  </a:lnTo>
                  <a:lnTo>
                    <a:pt x="2783" y="574"/>
                  </a:lnTo>
                  <a:lnTo>
                    <a:pt x="2787" y="574"/>
                  </a:lnTo>
                  <a:lnTo>
                    <a:pt x="2792" y="570"/>
                  </a:lnTo>
                  <a:close/>
                  <a:moveTo>
                    <a:pt x="3099" y="877"/>
                  </a:moveTo>
                  <a:lnTo>
                    <a:pt x="3099" y="877"/>
                  </a:lnTo>
                  <a:lnTo>
                    <a:pt x="3099" y="877"/>
                  </a:lnTo>
                  <a:lnTo>
                    <a:pt x="3099" y="877"/>
                  </a:lnTo>
                  <a:lnTo>
                    <a:pt x="3099" y="877"/>
                  </a:lnTo>
                  <a:lnTo>
                    <a:pt x="3099" y="882"/>
                  </a:lnTo>
                  <a:lnTo>
                    <a:pt x="3099" y="882"/>
                  </a:lnTo>
                  <a:lnTo>
                    <a:pt x="3099" y="882"/>
                  </a:lnTo>
                  <a:lnTo>
                    <a:pt x="3099" y="877"/>
                  </a:lnTo>
                  <a:close/>
                  <a:moveTo>
                    <a:pt x="3095" y="877"/>
                  </a:moveTo>
                  <a:lnTo>
                    <a:pt x="3095" y="877"/>
                  </a:lnTo>
                  <a:lnTo>
                    <a:pt x="3095" y="877"/>
                  </a:lnTo>
                  <a:lnTo>
                    <a:pt x="3095" y="877"/>
                  </a:lnTo>
                  <a:lnTo>
                    <a:pt x="3095" y="882"/>
                  </a:lnTo>
                  <a:lnTo>
                    <a:pt x="3095" y="882"/>
                  </a:lnTo>
                  <a:lnTo>
                    <a:pt x="3095" y="877"/>
                  </a:lnTo>
                  <a:lnTo>
                    <a:pt x="3095" y="877"/>
                  </a:lnTo>
                  <a:lnTo>
                    <a:pt x="3095" y="877"/>
                  </a:lnTo>
                  <a:close/>
                  <a:moveTo>
                    <a:pt x="3099" y="891"/>
                  </a:moveTo>
                  <a:lnTo>
                    <a:pt x="3099" y="891"/>
                  </a:lnTo>
                  <a:lnTo>
                    <a:pt x="3099" y="891"/>
                  </a:lnTo>
                  <a:lnTo>
                    <a:pt x="3099" y="891"/>
                  </a:lnTo>
                  <a:lnTo>
                    <a:pt x="3099" y="891"/>
                  </a:lnTo>
                  <a:lnTo>
                    <a:pt x="3099" y="891"/>
                  </a:lnTo>
                  <a:lnTo>
                    <a:pt x="3099" y="891"/>
                  </a:lnTo>
                  <a:lnTo>
                    <a:pt x="3099" y="891"/>
                  </a:lnTo>
                  <a:lnTo>
                    <a:pt x="3099" y="891"/>
                  </a:lnTo>
                  <a:lnTo>
                    <a:pt x="3099" y="891"/>
                  </a:lnTo>
                  <a:close/>
                  <a:moveTo>
                    <a:pt x="3095" y="886"/>
                  </a:moveTo>
                  <a:lnTo>
                    <a:pt x="3095" y="886"/>
                  </a:lnTo>
                  <a:lnTo>
                    <a:pt x="3099" y="886"/>
                  </a:lnTo>
                  <a:lnTo>
                    <a:pt x="3099" y="886"/>
                  </a:lnTo>
                  <a:lnTo>
                    <a:pt x="3099" y="886"/>
                  </a:lnTo>
                  <a:lnTo>
                    <a:pt x="3095" y="882"/>
                  </a:lnTo>
                  <a:lnTo>
                    <a:pt x="3095" y="886"/>
                  </a:lnTo>
                  <a:close/>
                  <a:moveTo>
                    <a:pt x="3108" y="868"/>
                  </a:moveTo>
                  <a:lnTo>
                    <a:pt x="3113" y="868"/>
                  </a:lnTo>
                  <a:lnTo>
                    <a:pt x="3113" y="868"/>
                  </a:lnTo>
                  <a:lnTo>
                    <a:pt x="3113" y="868"/>
                  </a:lnTo>
                  <a:lnTo>
                    <a:pt x="3108" y="868"/>
                  </a:lnTo>
                  <a:lnTo>
                    <a:pt x="3108" y="868"/>
                  </a:lnTo>
                  <a:lnTo>
                    <a:pt x="3108" y="868"/>
                  </a:lnTo>
                  <a:lnTo>
                    <a:pt x="3108" y="868"/>
                  </a:lnTo>
                  <a:lnTo>
                    <a:pt x="3108" y="868"/>
                  </a:lnTo>
                  <a:lnTo>
                    <a:pt x="3108" y="868"/>
                  </a:lnTo>
                  <a:close/>
                  <a:moveTo>
                    <a:pt x="3104" y="882"/>
                  </a:moveTo>
                  <a:lnTo>
                    <a:pt x="3104" y="882"/>
                  </a:lnTo>
                  <a:lnTo>
                    <a:pt x="3104" y="882"/>
                  </a:lnTo>
                  <a:lnTo>
                    <a:pt x="3104" y="886"/>
                  </a:lnTo>
                  <a:lnTo>
                    <a:pt x="3104" y="882"/>
                  </a:lnTo>
                  <a:lnTo>
                    <a:pt x="3108" y="882"/>
                  </a:lnTo>
                  <a:lnTo>
                    <a:pt x="3108" y="882"/>
                  </a:lnTo>
                  <a:lnTo>
                    <a:pt x="3108" y="882"/>
                  </a:lnTo>
                  <a:lnTo>
                    <a:pt x="3108" y="882"/>
                  </a:lnTo>
                  <a:lnTo>
                    <a:pt x="3104" y="882"/>
                  </a:lnTo>
                  <a:lnTo>
                    <a:pt x="3104" y="882"/>
                  </a:lnTo>
                  <a:close/>
                  <a:moveTo>
                    <a:pt x="3113" y="886"/>
                  </a:moveTo>
                  <a:lnTo>
                    <a:pt x="3113" y="886"/>
                  </a:lnTo>
                  <a:lnTo>
                    <a:pt x="3113" y="891"/>
                  </a:lnTo>
                  <a:lnTo>
                    <a:pt x="3113" y="886"/>
                  </a:lnTo>
                  <a:lnTo>
                    <a:pt x="3117" y="886"/>
                  </a:lnTo>
                  <a:lnTo>
                    <a:pt x="3117" y="886"/>
                  </a:lnTo>
                  <a:lnTo>
                    <a:pt x="3113" y="886"/>
                  </a:lnTo>
                  <a:lnTo>
                    <a:pt x="3113" y="886"/>
                  </a:lnTo>
                  <a:lnTo>
                    <a:pt x="3113" y="886"/>
                  </a:lnTo>
                  <a:lnTo>
                    <a:pt x="3113" y="886"/>
                  </a:lnTo>
                  <a:close/>
                  <a:moveTo>
                    <a:pt x="3081" y="868"/>
                  </a:moveTo>
                  <a:lnTo>
                    <a:pt x="3081" y="868"/>
                  </a:lnTo>
                  <a:lnTo>
                    <a:pt x="3081" y="868"/>
                  </a:lnTo>
                  <a:lnTo>
                    <a:pt x="3081" y="868"/>
                  </a:lnTo>
                  <a:lnTo>
                    <a:pt x="3081" y="868"/>
                  </a:lnTo>
                  <a:lnTo>
                    <a:pt x="3081" y="868"/>
                  </a:lnTo>
                  <a:lnTo>
                    <a:pt x="3081" y="868"/>
                  </a:lnTo>
                  <a:close/>
                  <a:moveTo>
                    <a:pt x="3081" y="873"/>
                  </a:moveTo>
                  <a:lnTo>
                    <a:pt x="3081" y="873"/>
                  </a:lnTo>
                  <a:lnTo>
                    <a:pt x="3081" y="873"/>
                  </a:lnTo>
                  <a:lnTo>
                    <a:pt x="3081" y="873"/>
                  </a:lnTo>
                  <a:lnTo>
                    <a:pt x="3081" y="873"/>
                  </a:lnTo>
                  <a:lnTo>
                    <a:pt x="3081" y="873"/>
                  </a:lnTo>
                  <a:lnTo>
                    <a:pt x="3081" y="873"/>
                  </a:lnTo>
                  <a:lnTo>
                    <a:pt x="3081" y="873"/>
                  </a:lnTo>
                  <a:lnTo>
                    <a:pt x="3081" y="873"/>
                  </a:lnTo>
                  <a:close/>
                  <a:moveTo>
                    <a:pt x="3086" y="886"/>
                  </a:moveTo>
                  <a:lnTo>
                    <a:pt x="3086" y="886"/>
                  </a:lnTo>
                  <a:lnTo>
                    <a:pt x="3086" y="886"/>
                  </a:lnTo>
                  <a:lnTo>
                    <a:pt x="3086" y="886"/>
                  </a:lnTo>
                  <a:lnTo>
                    <a:pt x="3081" y="886"/>
                  </a:lnTo>
                  <a:lnTo>
                    <a:pt x="3081" y="886"/>
                  </a:lnTo>
                  <a:lnTo>
                    <a:pt x="3081" y="886"/>
                  </a:lnTo>
                  <a:lnTo>
                    <a:pt x="3081" y="886"/>
                  </a:lnTo>
                  <a:lnTo>
                    <a:pt x="3086" y="886"/>
                  </a:lnTo>
                  <a:lnTo>
                    <a:pt x="3086" y="886"/>
                  </a:lnTo>
                  <a:close/>
                  <a:moveTo>
                    <a:pt x="3090" y="873"/>
                  </a:moveTo>
                  <a:lnTo>
                    <a:pt x="3090" y="873"/>
                  </a:lnTo>
                  <a:lnTo>
                    <a:pt x="3090" y="873"/>
                  </a:lnTo>
                  <a:lnTo>
                    <a:pt x="3090" y="873"/>
                  </a:lnTo>
                  <a:lnTo>
                    <a:pt x="3090" y="873"/>
                  </a:lnTo>
                  <a:lnTo>
                    <a:pt x="3090" y="873"/>
                  </a:lnTo>
                  <a:lnTo>
                    <a:pt x="3090" y="873"/>
                  </a:lnTo>
                  <a:close/>
                  <a:moveTo>
                    <a:pt x="3090" y="864"/>
                  </a:moveTo>
                  <a:lnTo>
                    <a:pt x="3086" y="864"/>
                  </a:lnTo>
                  <a:lnTo>
                    <a:pt x="3086" y="864"/>
                  </a:lnTo>
                  <a:lnTo>
                    <a:pt x="3086" y="864"/>
                  </a:lnTo>
                  <a:lnTo>
                    <a:pt x="3086" y="864"/>
                  </a:lnTo>
                  <a:lnTo>
                    <a:pt x="3086" y="864"/>
                  </a:lnTo>
                  <a:lnTo>
                    <a:pt x="3086" y="864"/>
                  </a:lnTo>
                  <a:lnTo>
                    <a:pt x="3090" y="864"/>
                  </a:lnTo>
                  <a:lnTo>
                    <a:pt x="3090" y="868"/>
                  </a:lnTo>
                  <a:lnTo>
                    <a:pt x="3090" y="864"/>
                  </a:lnTo>
                  <a:lnTo>
                    <a:pt x="3090" y="864"/>
                  </a:lnTo>
                  <a:lnTo>
                    <a:pt x="3090" y="864"/>
                  </a:lnTo>
                  <a:lnTo>
                    <a:pt x="3090" y="864"/>
                  </a:lnTo>
                  <a:lnTo>
                    <a:pt x="3090" y="864"/>
                  </a:lnTo>
                  <a:close/>
                  <a:moveTo>
                    <a:pt x="3095" y="868"/>
                  </a:moveTo>
                  <a:lnTo>
                    <a:pt x="3090" y="868"/>
                  </a:lnTo>
                  <a:lnTo>
                    <a:pt x="3090" y="868"/>
                  </a:lnTo>
                  <a:lnTo>
                    <a:pt x="3090" y="868"/>
                  </a:lnTo>
                  <a:lnTo>
                    <a:pt x="3090" y="868"/>
                  </a:lnTo>
                  <a:lnTo>
                    <a:pt x="3095" y="868"/>
                  </a:lnTo>
                  <a:lnTo>
                    <a:pt x="3095" y="868"/>
                  </a:lnTo>
                  <a:lnTo>
                    <a:pt x="3095" y="868"/>
                  </a:lnTo>
                  <a:lnTo>
                    <a:pt x="3095" y="868"/>
                  </a:lnTo>
                  <a:lnTo>
                    <a:pt x="3095" y="868"/>
                  </a:lnTo>
                  <a:close/>
                  <a:moveTo>
                    <a:pt x="3086" y="882"/>
                  </a:moveTo>
                  <a:lnTo>
                    <a:pt x="3086" y="882"/>
                  </a:lnTo>
                  <a:lnTo>
                    <a:pt x="3086" y="882"/>
                  </a:lnTo>
                  <a:lnTo>
                    <a:pt x="3086" y="882"/>
                  </a:lnTo>
                  <a:lnTo>
                    <a:pt x="3086" y="882"/>
                  </a:lnTo>
                  <a:lnTo>
                    <a:pt x="3090" y="882"/>
                  </a:lnTo>
                  <a:lnTo>
                    <a:pt x="3086" y="882"/>
                  </a:lnTo>
                  <a:lnTo>
                    <a:pt x="3086" y="882"/>
                  </a:lnTo>
                  <a:close/>
                  <a:moveTo>
                    <a:pt x="2778" y="579"/>
                  </a:moveTo>
                  <a:lnTo>
                    <a:pt x="2778" y="579"/>
                  </a:lnTo>
                  <a:lnTo>
                    <a:pt x="2778" y="579"/>
                  </a:lnTo>
                  <a:lnTo>
                    <a:pt x="2778" y="579"/>
                  </a:lnTo>
                  <a:lnTo>
                    <a:pt x="2778" y="579"/>
                  </a:lnTo>
                  <a:lnTo>
                    <a:pt x="2778" y="579"/>
                  </a:lnTo>
                  <a:lnTo>
                    <a:pt x="2778" y="579"/>
                  </a:lnTo>
                  <a:close/>
                  <a:moveTo>
                    <a:pt x="3018" y="855"/>
                  </a:moveTo>
                  <a:lnTo>
                    <a:pt x="3018" y="855"/>
                  </a:lnTo>
                  <a:lnTo>
                    <a:pt x="3018" y="855"/>
                  </a:lnTo>
                  <a:lnTo>
                    <a:pt x="3018" y="859"/>
                  </a:lnTo>
                  <a:lnTo>
                    <a:pt x="3018" y="859"/>
                  </a:lnTo>
                  <a:lnTo>
                    <a:pt x="3018" y="859"/>
                  </a:lnTo>
                  <a:lnTo>
                    <a:pt x="3018" y="859"/>
                  </a:lnTo>
                  <a:lnTo>
                    <a:pt x="3018" y="859"/>
                  </a:lnTo>
                  <a:lnTo>
                    <a:pt x="3018" y="859"/>
                  </a:lnTo>
                  <a:lnTo>
                    <a:pt x="3018" y="859"/>
                  </a:lnTo>
                  <a:lnTo>
                    <a:pt x="3018" y="859"/>
                  </a:lnTo>
                  <a:lnTo>
                    <a:pt x="3022" y="859"/>
                  </a:lnTo>
                  <a:lnTo>
                    <a:pt x="3022" y="859"/>
                  </a:lnTo>
                  <a:lnTo>
                    <a:pt x="3022" y="859"/>
                  </a:lnTo>
                  <a:lnTo>
                    <a:pt x="3022" y="859"/>
                  </a:lnTo>
                  <a:lnTo>
                    <a:pt x="3022" y="859"/>
                  </a:lnTo>
                  <a:lnTo>
                    <a:pt x="3022" y="859"/>
                  </a:lnTo>
                  <a:lnTo>
                    <a:pt x="3022" y="855"/>
                  </a:lnTo>
                  <a:lnTo>
                    <a:pt x="3022" y="855"/>
                  </a:lnTo>
                  <a:lnTo>
                    <a:pt x="3018" y="855"/>
                  </a:lnTo>
                  <a:lnTo>
                    <a:pt x="3018" y="855"/>
                  </a:lnTo>
                  <a:lnTo>
                    <a:pt x="3018" y="855"/>
                  </a:lnTo>
                  <a:lnTo>
                    <a:pt x="3018" y="855"/>
                  </a:lnTo>
                  <a:lnTo>
                    <a:pt x="3018" y="855"/>
                  </a:lnTo>
                  <a:close/>
                  <a:moveTo>
                    <a:pt x="3022" y="864"/>
                  </a:moveTo>
                  <a:lnTo>
                    <a:pt x="3022" y="864"/>
                  </a:lnTo>
                  <a:lnTo>
                    <a:pt x="3022" y="864"/>
                  </a:lnTo>
                  <a:lnTo>
                    <a:pt x="3022" y="868"/>
                  </a:lnTo>
                  <a:lnTo>
                    <a:pt x="3022" y="868"/>
                  </a:lnTo>
                  <a:lnTo>
                    <a:pt x="3027" y="868"/>
                  </a:lnTo>
                  <a:lnTo>
                    <a:pt x="3027" y="868"/>
                  </a:lnTo>
                  <a:lnTo>
                    <a:pt x="3027" y="864"/>
                  </a:lnTo>
                  <a:lnTo>
                    <a:pt x="3027" y="864"/>
                  </a:lnTo>
                  <a:lnTo>
                    <a:pt x="3022" y="864"/>
                  </a:lnTo>
                  <a:lnTo>
                    <a:pt x="3022" y="864"/>
                  </a:lnTo>
                  <a:close/>
                  <a:moveTo>
                    <a:pt x="2805" y="570"/>
                  </a:moveTo>
                  <a:lnTo>
                    <a:pt x="2805" y="570"/>
                  </a:lnTo>
                  <a:lnTo>
                    <a:pt x="2805" y="570"/>
                  </a:lnTo>
                  <a:lnTo>
                    <a:pt x="2805" y="570"/>
                  </a:lnTo>
                  <a:lnTo>
                    <a:pt x="2805" y="570"/>
                  </a:lnTo>
                  <a:lnTo>
                    <a:pt x="2805" y="570"/>
                  </a:lnTo>
                  <a:close/>
                  <a:moveTo>
                    <a:pt x="3095" y="873"/>
                  </a:moveTo>
                  <a:lnTo>
                    <a:pt x="3095" y="873"/>
                  </a:lnTo>
                  <a:lnTo>
                    <a:pt x="3099" y="873"/>
                  </a:lnTo>
                  <a:lnTo>
                    <a:pt x="3099" y="873"/>
                  </a:lnTo>
                  <a:lnTo>
                    <a:pt x="3099" y="873"/>
                  </a:lnTo>
                  <a:lnTo>
                    <a:pt x="3095" y="868"/>
                  </a:lnTo>
                  <a:lnTo>
                    <a:pt x="3095" y="873"/>
                  </a:lnTo>
                  <a:close/>
                  <a:moveTo>
                    <a:pt x="3086" y="877"/>
                  </a:moveTo>
                  <a:lnTo>
                    <a:pt x="3081" y="877"/>
                  </a:lnTo>
                  <a:lnTo>
                    <a:pt x="3081" y="877"/>
                  </a:lnTo>
                  <a:lnTo>
                    <a:pt x="3086" y="877"/>
                  </a:lnTo>
                  <a:lnTo>
                    <a:pt x="3086" y="877"/>
                  </a:lnTo>
                  <a:lnTo>
                    <a:pt x="3086" y="877"/>
                  </a:lnTo>
                  <a:lnTo>
                    <a:pt x="3086" y="877"/>
                  </a:lnTo>
                  <a:lnTo>
                    <a:pt x="3086" y="877"/>
                  </a:lnTo>
                  <a:close/>
                  <a:moveTo>
                    <a:pt x="1400" y="1049"/>
                  </a:moveTo>
                  <a:lnTo>
                    <a:pt x="1400" y="1049"/>
                  </a:lnTo>
                  <a:lnTo>
                    <a:pt x="1400" y="1049"/>
                  </a:lnTo>
                  <a:lnTo>
                    <a:pt x="1396" y="1044"/>
                  </a:lnTo>
                  <a:lnTo>
                    <a:pt x="1396" y="1044"/>
                  </a:lnTo>
                  <a:lnTo>
                    <a:pt x="1396" y="1044"/>
                  </a:lnTo>
                  <a:lnTo>
                    <a:pt x="1391" y="1044"/>
                  </a:lnTo>
                  <a:lnTo>
                    <a:pt x="1391" y="1044"/>
                  </a:lnTo>
                  <a:lnTo>
                    <a:pt x="1391" y="1044"/>
                  </a:lnTo>
                  <a:lnTo>
                    <a:pt x="1396" y="1049"/>
                  </a:lnTo>
                  <a:lnTo>
                    <a:pt x="1400" y="1054"/>
                  </a:lnTo>
                  <a:lnTo>
                    <a:pt x="1400" y="1054"/>
                  </a:lnTo>
                  <a:lnTo>
                    <a:pt x="1400" y="1054"/>
                  </a:lnTo>
                  <a:lnTo>
                    <a:pt x="1400" y="1054"/>
                  </a:lnTo>
                  <a:lnTo>
                    <a:pt x="1400" y="1058"/>
                  </a:lnTo>
                  <a:lnTo>
                    <a:pt x="1400" y="1058"/>
                  </a:lnTo>
                  <a:lnTo>
                    <a:pt x="1400" y="1063"/>
                  </a:lnTo>
                  <a:lnTo>
                    <a:pt x="1396" y="1063"/>
                  </a:lnTo>
                  <a:lnTo>
                    <a:pt x="1396" y="1063"/>
                  </a:lnTo>
                  <a:lnTo>
                    <a:pt x="1396" y="1063"/>
                  </a:lnTo>
                  <a:lnTo>
                    <a:pt x="1396" y="1067"/>
                  </a:lnTo>
                  <a:lnTo>
                    <a:pt x="1396" y="1067"/>
                  </a:lnTo>
                  <a:lnTo>
                    <a:pt x="1400" y="1063"/>
                  </a:lnTo>
                  <a:lnTo>
                    <a:pt x="1400" y="1058"/>
                  </a:lnTo>
                  <a:lnTo>
                    <a:pt x="1405" y="1058"/>
                  </a:lnTo>
                  <a:lnTo>
                    <a:pt x="1405" y="1054"/>
                  </a:lnTo>
                  <a:lnTo>
                    <a:pt x="1400" y="1054"/>
                  </a:lnTo>
                  <a:lnTo>
                    <a:pt x="1400" y="1054"/>
                  </a:lnTo>
                  <a:lnTo>
                    <a:pt x="1400" y="1049"/>
                  </a:lnTo>
                  <a:lnTo>
                    <a:pt x="1400" y="1049"/>
                  </a:lnTo>
                  <a:lnTo>
                    <a:pt x="1400" y="1049"/>
                  </a:lnTo>
                  <a:close/>
                  <a:moveTo>
                    <a:pt x="1432" y="1130"/>
                  </a:moveTo>
                  <a:lnTo>
                    <a:pt x="1432" y="1130"/>
                  </a:lnTo>
                  <a:lnTo>
                    <a:pt x="1437" y="1130"/>
                  </a:lnTo>
                  <a:lnTo>
                    <a:pt x="1437" y="1130"/>
                  </a:lnTo>
                  <a:lnTo>
                    <a:pt x="1432" y="1130"/>
                  </a:lnTo>
                  <a:lnTo>
                    <a:pt x="1432" y="1126"/>
                  </a:lnTo>
                  <a:lnTo>
                    <a:pt x="1432" y="1126"/>
                  </a:lnTo>
                  <a:lnTo>
                    <a:pt x="1432" y="1126"/>
                  </a:lnTo>
                  <a:lnTo>
                    <a:pt x="1432" y="1130"/>
                  </a:lnTo>
                  <a:lnTo>
                    <a:pt x="1432" y="1130"/>
                  </a:lnTo>
                  <a:lnTo>
                    <a:pt x="1432" y="1130"/>
                  </a:lnTo>
                  <a:close/>
                  <a:moveTo>
                    <a:pt x="1428" y="1139"/>
                  </a:moveTo>
                  <a:lnTo>
                    <a:pt x="1428" y="1139"/>
                  </a:lnTo>
                  <a:lnTo>
                    <a:pt x="1432" y="1139"/>
                  </a:lnTo>
                  <a:lnTo>
                    <a:pt x="1432" y="1135"/>
                  </a:lnTo>
                  <a:lnTo>
                    <a:pt x="1437" y="1135"/>
                  </a:lnTo>
                  <a:lnTo>
                    <a:pt x="1437" y="1130"/>
                  </a:lnTo>
                  <a:lnTo>
                    <a:pt x="1437" y="1130"/>
                  </a:lnTo>
                  <a:lnTo>
                    <a:pt x="1437" y="1130"/>
                  </a:lnTo>
                  <a:lnTo>
                    <a:pt x="1437" y="1130"/>
                  </a:lnTo>
                  <a:lnTo>
                    <a:pt x="1437" y="1130"/>
                  </a:lnTo>
                  <a:lnTo>
                    <a:pt x="1437" y="1135"/>
                  </a:lnTo>
                  <a:lnTo>
                    <a:pt x="1437" y="1135"/>
                  </a:lnTo>
                  <a:lnTo>
                    <a:pt x="1437" y="1135"/>
                  </a:lnTo>
                  <a:lnTo>
                    <a:pt x="1432" y="1135"/>
                  </a:lnTo>
                  <a:lnTo>
                    <a:pt x="1432" y="1135"/>
                  </a:lnTo>
                  <a:lnTo>
                    <a:pt x="1432" y="1135"/>
                  </a:lnTo>
                  <a:lnTo>
                    <a:pt x="1432" y="1139"/>
                  </a:lnTo>
                  <a:lnTo>
                    <a:pt x="1428" y="1139"/>
                  </a:lnTo>
                  <a:lnTo>
                    <a:pt x="1428" y="1139"/>
                  </a:lnTo>
                  <a:close/>
                  <a:moveTo>
                    <a:pt x="1410" y="1085"/>
                  </a:moveTo>
                  <a:lnTo>
                    <a:pt x="1410" y="1085"/>
                  </a:lnTo>
                  <a:lnTo>
                    <a:pt x="1405" y="1090"/>
                  </a:lnTo>
                  <a:lnTo>
                    <a:pt x="1405" y="1090"/>
                  </a:lnTo>
                  <a:lnTo>
                    <a:pt x="1410" y="1090"/>
                  </a:lnTo>
                  <a:lnTo>
                    <a:pt x="1410" y="1090"/>
                  </a:lnTo>
                  <a:lnTo>
                    <a:pt x="1410" y="1090"/>
                  </a:lnTo>
                  <a:lnTo>
                    <a:pt x="1410" y="1090"/>
                  </a:lnTo>
                  <a:lnTo>
                    <a:pt x="1410" y="1085"/>
                  </a:lnTo>
                  <a:lnTo>
                    <a:pt x="1410" y="1081"/>
                  </a:lnTo>
                  <a:lnTo>
                    <a:pt x="1410" y="1081"/>
                  </a:lnTo>
                  <a:lnTo>
                    <a:pt x="1410" y="1081"/>
                  </a:lnTo>
                  <a:lnTo>
                    <a:pt x="1410" y="1076"/>
                  </a:lnTo>
                  <a:lnTo>
                    <a:pt x="1405" y="1076"/>
                  </a:lnTo>
                  <a:lnTo>
                    <a:pt x="1405" y="1076"/>
                  </a:lnTo>
                  <a:lnTo>
                    <a:pt x="1405" y="1072"/>
                  </a:lnTo>
                  <a:lnTo>
                    <a:pt x="1405" y="1072"/>
                  </a:lnTo>
                  <a:lnTo>
                    <a:pt x="1405" y="1076"/>
                  </a:lnTo>
                  <a:lnTo>
                    <a:pt x="1400" y="1076"/>
                  </a:lnTo>
                  <a:lnTo>
                    <a:pt x="1405" y="1076"/>
                  </a:lnTo>
                  <a:lnTo>
                    <a:pt x="1405" y="1076"/>
                  </a:lnTo>
                  <a:lnTo>
                    <a:pt x="1405" y="1076"/>
                  </a:lnTo>
                  <a:lnTo>
                    <a:pt x="1410" y="1076"/>
                  </a:lnTo>
                  <a:lnTo>
                    <a:pt x="1410" y="1081"/>
                  </a:lnTo>
                  <a:lnTo>
                    <a:pt x="1410" y="1081"/>
                  </a:lnTo>
                  <a:lnTo>
                    <a:pt x="1410" y="1085"/>
                  </a:lnTo>
                  <a:lnTo>
                    <a:pt x="1410" y="1085"/>
                  </a:lnTo>
                  <a:close/>
                  <a:moveTo>
                    <a:pt x="1419" y="1121"/>
                  </a:moveTo>
                  <a:lnTo>
                    <a:pt x="1419" y="1121"/>
                  </a:lnTo>
                  <a:lnTo>
                    <a:pt x="1419" y="1121"/>
                  </a:lnTo>
                  <a:lnTo>
                    <a:pt x="1419" y="1121"/>
                  </a:lnTo>
                  <a:lnTo>
                    <a:pt x="1423" y="1126"/>
                  </a:lnTo>
                  <a:lnTo>
                    <a:pt x="1423" y="1126"/>
                  </a:lnTo>
                  <a:lnTo>
                    <a:pt x="1423" y="1126"/>
                  </a:lnTo>
                  <a:lnTo>
                    <a:pt x="1423" y="1121"/>
                  </a:lnTo>
                  <a:lnTo>
                    <a:pt x="1419" y="1121"/>
                  </a:lnTo>
                  <a:lnTo>
                    <a:pt x="1419" y="1117"/>
                  </a:lnTo>
                  <a:lnTo>
                    <a:pt x="1419" y="1117"/>
                  </a:lnTo>
                  <a:lnTo>
                    <a:pt x="1419" y="1112"/>
                  </a:lnTo>
                  <a:lnTo>
                    <a:pt x="1419" y="1112"/>
                  </a:lnTo>
                  <a:lnTo>
                    <a:pt x="1419" y="1112"/>
                  </a:lnTo>
                  <a:lnTo>
                    <a:pt x="1419" y="1112"/>
                  </a:lnTo>
                  <a:lnTo>
                    <a:pt x="1419" y="1112"/>
                  </a:lnTo>
                  <a:lnTo>
                    <a:pt x="1419" y="1117"/>
                  </a:lnTo>
                  <a:lnTo>
                    <a:pt x="1419" y="1117"/>
                  </a:lnTo>
                  <a:lnTo>
                    <a:pt x="1419" y="1121"/>
                  </a:lnTo>
                  <a:lnTo>
                    <a:pt x="1419" y="1121"/>
                  </a:lnTo>
                  <a:close/>
                  <a:moveTo>
                    <a:pt x="1378" y="1049"/>
                  </a:moveTo>
                  <a:lnTo>
                    <a:pt x="1373" y="1054"/>
                  </a:lnTo>
                  <a:lnTo>
                    <a:pt x="1373" y="1049"/>
                  </a:lnTo>
                  <a:lnTo>
                    <a:pt x="1373" y="1049"/>
                  </a:lnTo>
                  <a:lnTo>
                    <a:pt x="1373" y="1054"/>
                  </a:lnTo>
                  <a:lnTo>
                    <a:pt x="1373" y="1054"/>
                  </a:lnTo>
                  <a:lnTo>
                    <a:pt x="1378" y="1054"/>
                  </a:lnTo>
                  <a:lnTo>
                    <a:pt x="1378" y="1054"/>
                  </a:lnTo>
                  <a:lnTo>
                    <a:pt x="1387" y="1049"/>
                  </a:lnTo>
                  <a:lnTo>
                    <a:pt x="1391" y="1049"/>
                  </a:lnTo>
                  <a:lnTo>
                    <a:pt x="1391" y="1049"/>
                  </a:lnTo>
                  <a:lnTo>
                    <a:pt x="1391" y="1049"/>
                  </a:lnTo>
                  <a:lnTo>
                    <a:pt x="1387" y="1049"/>
                  </a:lnTo>
                  <a:lnTo>
                    <a:pt x="1387" y="1049"/>
                  </a:lnTo>
                  <a:lnTo>
                    <a:pt x="1382" y="1049"/>
                  </a:lnTo>
                  <a:lnTo>
                    <a:pt x="1382" y="1049"/>
                  </a:lnTo>
                  <a:lnTo>
                    <a:pt x="1382" y="1049"/>
                  </a:lnTo>
                  <a:lnTo>
                    <a:pt x="1378" y="1049"/>
                  </a:lnTo>
                  <a:lnTo>
                    <a:pt x="1378" y="1049"/>
                  </a:lnTo>
                  <a:lnTo>
                    <a:pt x="1378" y="1049"/>
                  </a:lnTo>
                  <a:lnTo>
                    <a:pt x="1378" y="1049"/>
                  </a:lnTo>
                  <a:lnTo>
                    <a:pt x="1378" y="1049"/>
                  </a:lnTo>
                  <a:close/>
                  <a:moveTo>
                    <a:pt x="1437" y="1207"/>
                  </a:moveTo>
                  <a:lnTo>
                    <a:pt x="1441" y="1207"/>
                  </a:lnTo>
                  <a:lnTo>
                    <a:pt x="1441" y="1207"/>
                  </a:lnTo>
                  <a:lnTo>
                    <a:pt x="1437" y="1207"/>
                  </a:lnTo>
                  <a:lnTo>
                    <a:pt x="1437" y="1203"/>
                  </a:lnTo>
                  <a:lnTo>
                    <a:pt x="1432" y="1203"/>
                  </a:lnTo>
                  <a:lnTo>
                    <a:pt x="1432" y="1203"/>
                  </a:lnTo>
                  <a:lnTo>
                    <a:pt x="1432" y="1203"/>
                  </a:lnTo>
                  <a:lnTo>
                    <a:pt x="1437" y="1207"/>
                  </a:lnTo>
                  <a:close/>
                  <a:moveTo>
                    <a:pt x="1604" y="1225"/>
                  </a:moveTo>
                  <a:lnTo>
                    <a:pt x="1604" y="1225"/>
                  </a:lnTo>
                  <a:lnTo>
                    <a:pt x="1604" y="1225"/>
                  </a:lnTo>
                  <a:lnTo>
                    <a:pt x="1604" y="1225"/>
                  </a:lnTo>
                  <a:lnTo>
                    <a:pt x="1604" y="1225"/>
                  </a:lnTo>
                  <a:lnTo>
                    <a:pt x="1604" y="1225"/>
                  </a:lnTo>
                  <a:lnTo>
                    <a:pt x="1604" y="1225"/>
                  </a:lnTo>
                  <a:lnTo>
                    <a:pt x="1604" y="1225"/>
                  </a:lnTo>
                  <a:lnTo>
                    <a:pt x="1604" y="1225"/>
                  </a:lnTo>
                  <a:close/>
                  <a:moveTo>
                    <a:pt x="1608" y="1243"/>
                  </a:moveTo>
                  <a:lnTo>
                    <a:pt x="1608" y="1243"/>
                  </a:lnTo>
                  <a:lnTo>
                    <a:pt x="1608" y="1243"/>
                  </a:lnTo>
                  <a:lnTo>
                    <a:pt x="1608" y="1243"/>
                  </a:lnTo>
                  <a:lnTo>
                    <a:pt x="1608" y="1243"/>
                  </a:lnTo>
                  <a:lnTo>
                    <a:pt x="1608" y="1243"/>
                  </a:lnTo>
                  <a:lnTo>
                    <a:pt x="1608" y="1243"/>
                  </a:lnTo>
                  <a:close/>
                  <a:moveTo>
                    <a:pt x="1604" y="1239"/>
                  </a:moveTo>
                  <a:lnTo>
                    <a:pt x="1608" y="1239"/>
                  </a:lnTo>
                  <a:lnTo>
                    <a:pt x="1608" y="1243"/>
                  </a:lnTo>
                  <a:lnTo>
                    <a:pt x="1608" y="1239"/>
                  </a:lnTo>
                  <a:lnTo>
                    <a:pt x="1608" y="1239"/>
                  </a:lnTo>
                  <a:lnTo>
                    <a:pt x="1608" y="1239"/>
                  </a:lnTo>
                  <a:lnTo>
                    <a:pt x="1608" y="1239"/>
                  </a:lnTo>
                  <a:lnTo>
                    <a:pt x="1604" y="1239"/>
                  </a:lnTo>
                  <a:lnTo>
                    <a:pt x="1604" y="1239"/>
                  </a:lnTo>
                  <a:lnTo>
                    <a:pt x="1604" y="1239"/>
                  </a:lnTo>
                  <a:lnTo>
                    <a:pt x="1604" y="1239"/>
                  </a:lnTo>
                  <a:lnTo>
                    <a:pt x="1604" y="1239"/>
                  </a:lnTo>
                  <a:lnTo>
                    <a:pt x="1604" y="1239"/>
                  </a:lnTo>
                  <a:close/>
                  <a:moveTo>
                    <a:pt x="1626" y="1302"/>
                  </a:moveTo>
                  <a:lnTo>
                    <a:pt x="1626" y="1307"/>
                  </a:lnTo>
                  <a:lnTo>
                    <a:pt x="1626" y="1307"/>
                  </a:lnTo>
                  <a:lnTo>
                    <a:pt x="1626" y="1307"/>
                  </a:lnTo>
                  <a:lnTo>
                    <a:pt x="1626" y="1311"/>
                  </a:lnTo>
                  <a:lnTo>
                    <a:pt x="1631" y="1307"/>
                  </a:lnTo>
                  <a:lnTo>
                    <a:pt x="1631" y="1302"/>
                  </a:lnTo>
                  <a:lnTo>
                    <a:pt x="1631" y="1302"/>
                  </a:lnTo>
                  <a:lnTo>
                    <a:pt x="1631" y="1302"/>
                  </a:lnTo>
                  <a:lnTo>
                    <a:pt x="1626" y="1302"/>
                  </a:lnTo>
                  <a:close/>
                  <a:moveTo>
                    <a:pt x="1631" y="1298"/>
                  </a:moveTo>
                  <a:lnTo>
                    <a:pt x="1631" y="1298"/>
                  </a:lnTo>
                  <a:lnTo>
                    <a:pt x="1631" y="1293"/>
                  </a:lnTo>
                  <a:lnTo>
                    <a:pt x="1631" y="1293"/>
                  </a:lnTo>
                  <a:lnTo>
                    <a:pt x="1631" y="1293"/>
                  </a:lnTo>
                  <a:lnTo>
                    <a:pt x="1631" y="1293"/>
                  </a:lnTo>
                  <a:lnTo>
                    <a:pt x="1631" y="1289"/>
                  </a:lnTo>
                  <a:lnTo>
                    <a:pt x="1631" y="1289"/>
                  </a:lnTo>
                  <a:lnTo>
                    <a:pt x="1631" y="1289"/>
                  </a:lnTo>
                  <a:lnTo>
                    <a:pt x="1631" y="1289"/>
                  </a:lnTo>
                  <a:lnTo>
                    <a:pt x="1626" y="1289"/>
                  </a:lnTo>
                  <a:lnTo>
                    <a:pt x="1626" y="1289"/>
                  </a:lnTo>
                  <a:lnTo>
                    <a:pt x="1626" y="1289"/>
                  </a:lnTo>
                  <a:lnTo>
                    <a:pt x="1626" y="1289"/>
                  </a:lnTo>
                  <a:lnTo>
                    <a:pt x="1626" y="1293"/>
                  </a:lnTo>
                  <a:lnTo>
                    <a:pt x="1626" y="1293"/>
                  </a:lnTo>
                  <a:lnTo>
                    <a:pt x="1631" y="1293"/>
                  </a:lnTo>
                  <a:lnTo>
                    <a:pt x="1626" y="1293"/>
                  </a:lnTo>
                  <a:lnTo>
                    <a:pt x="1626" y="1293"/>
                  </a:lnTo>
                  <a:lnTo>
                    <a:pt x="1626" y="1293"/>
                  </a:lnTo>
                  <a:lnTo>
                    <a:pt x="1631" y="1293"/>
                  </a:lnTo>
                  <a:lnTo>
                    <a:pt x="1631" y="1298"/>
                  </a:lnTo>
                  <a:close/>
                  <a:moveTo>
                    <a:pt x="1613" y="1248"/>
                  </a:moveTo>
                  <a:lnTo>
                    <a:pt x="1613" y="1248"/>
                  </a:lnTo>
                  <a:lnTo>
                    <a:pt x="1613" y="1252"/>
                  </a:lnTo>
                  <a:lnTo>
                    <a:pt x="1613" y="1252"/>
                  </a:lnTo>
                  <a:lnTo>
                    <a:pt x="1613" y="1252"/>
                  </a:lnTo>
                  <a:lnTo>
                    <a:pt x="1613" y="1252"/>
                  </a:lnTo>
                  <a:lnTo>
                    <a:pt x="1613" y="1248"/>
                  </a:lnTo>
                  <a:close/>
                  <a:moveTo>
                    <a:pt x="1649" y="1316"/>
                  </a:moveTo>
                  <a:lnTo>
                    <a:pt x="1649" y="1320"/>
                  </a:lnTo>
                  <a:lnTo>
                    <a:pt x="1649" y="1320"/>
                  </a:lnTo>
                  <a:lnTo>
                    <a:pt x="1649" y="1320"/>
                  </a:lnTo>
                  <a:lnTo>
                    <a:pt x="1649" y="1325"/>
                  </a:lnTo>
                  <a:lnTo>
                    <a:pt x="1653" y="1320"/>
                  </a:lnTo>
                  <a:lnTo>
                    <a:pt x="1653" y="1320"/>
                  </a:lnTo>
                  <a:lnTo>
                    <a:pt x="1653" y="1320"/>
                  </a:lnTo>
                  <a:lnTo>
                    <a:pt x="1649" y="1316"/>
                  </a:lnTo>
                  <a:close/>
                  <a:moveTo>
                    <a:pt x="1604" y="1221"/>
                  </a:moveTo>
                  <a:lnTo>
                    <a:pt x="1604" y="1221"/>
                  </a:lnTo>
                  <a:lnTo>
                    <a:pt x="1604" y="1221"/>
                  </a:lnTo>
                  <a:lnTo>
                    <a:pt x="1604" y="1221"/>
                  </a:lnTo>
                  <a:lnTo>
                    <a:pt x="1604" y="1221"/>
                  </a:lnTo>
                  <a:lnTo>
                    <a:pt x="1604" y="1221"/>
                  </a:lnTo>
                  <a:close/>
                  <a:moveTo>
                    <a:pt x="1613" y="1343"/>
                  </a:moveTo>
                  <a:lnTo>
                    <a:pt x="1613" y="1338"/>
                  </a:lnTo>
                  <a:lnTo>
                    <a:pt x="1613" y="1338"/>
                  </a:lnTo>
                  <a:lnTo>
                    <a:pt x="1613" y="1338"/>
                  </a:lnTo>
                  <a:lnTo>
                    <a:pt x="1608" y="1343"/>
                  </a:lnTo>
                  <a:lnTo>
                    <a:pt x="1608" y="1343"/>
                  </a:lnTo>
                  <a:lnTo>
                    <a:pt x="1608" y="1343"/>
                  </a:lnTo>
                  <a:lnTo>
                    <a:pt x="1613" y="1343"/>
                  </a:lnTo>
                  <a:lnTo>
                    <a:pt x="1613" y="1343"/>
                  </a:lnTo>
                  <a:close/>
                  <a:moveTo>
                    <a:pt x="1622" y="1234"/>
                  </a:moveTo>
                  <a:lnTo>
                    <a:pt x="1622" y="1230"/>
                  </a:lnTo>
                  <a:lnTo>
                    <a:pt x="1622" y="1234"/>
                  </a:lnTo>
                  <a:lnTo>
                    <a:pt x="1622" y="1234"/>
                  </a:lnTo>
                  <a:lnTo>
                    <a:pt x="1622" y="1234"/>
                  </a:lnTo>
                  <a:lnTo>
                    <a:pt x="1622" y="1234"/>
                  </a:lnTo>
                  <a:lnTo>
                    <a:pt x="1622" y="1234"/>
                  </a:lnTo>
                  <a:lnTo>
                    <a:pt x="1626" y="1234"/>
                  </a:lnTo>
                  <a:lnTo>
                    <a:pt x="1622" y="1234"/>
                  </a:lnTo>
                  <a:lnTo>
                    <a:pt x="1622" y="1234"/>
                  </a:lnTo>
                  <a:close/>
                  <a:moveTo>
                    <a:pt x="1626" y="1266"/>
                  </a:moveTo>
                  <a:lnTo>
                    <a:pt x="1626" y="1266"/>
                  </a:lnTo>
                  <a:lnTo>
                    <a:pt x="1626" y="1266"/>
                  </a:lnTo>
                  <a:lnTo>
                    <a:pt x="1626" y="1266"/>
                  </a:lnTo>
                  <a:lnTo>
                    <a:pt x="1626" y="1266"/>
                  </a:lnTo>
                  <a:lnTo>
                    <a:pt x="1631" y="1266"/>
                  </a:lnTo>
                  <a:lnTo>
                    <a:pt x="1631" y="1266"/>
                  </a:lnTo>
                  <a:lnTo>
                    <a:pt x="1626" y="1266"/>
                  </a:lnTo>
                  <a:lnTo>
                    <a:pt x="1626" y="1266"/>
                  </a:lnTo>
                  <a:close/>
                  <a:moveTo>
                    <a:pt x="1622" y="1243"/>
                  </a:moveTo>
                  <a:lnTo>
                    <a:pt x="1622" y="1243"/>
                  </a:lnTo>
                  <a:lnTo>
                    <a:pt x="1622" y="1243"/>
                  </a:lnTo>
                  <a:lnTo>
                    <a:pt x="1622" y="1248"/>
                  </a:lnTo>
                  <a:lnTo>
                    <a:pt x="1622" y="1243"/>
                  </a:lnTo>
                  <a:lnTo>
                    <a:pt x="1622" y="1243"/>
                  </a:lnTo>
                  <a:lnTo>
                    <a:pt x="1622" y="1243"/>
                  </a:lnTo>
                  <a:lnTo>
                    <a:pt x="1622" y="1243"/>
                  </a:lnTo>
                  <a:lnTo>
                    <a:pt x="1622" y="1243"/>
                  </a:lnTo>
                  <a:lnTo>
                    <a:pt x="1622" y="1243"/>
                  </a:lnTo>
                  <a:lnTo>
                    <a:pt x="1622" y="1243"/>
                  </a:lnTo>
                  <a:lnTo>
                    <a:pt x="1622" y="1243"/>
                  </a:lnTo>
                  <a:close/>
                  <a:moveTo>
                    <a:pt x="1626" y="1280"/>
                  </a:moveTo>
                  <a:lnTo>
                    <a:pt x="1626" y="1280"/>
                  </a:lnTo>
                  <a:lnTo>
                    <a:pt x="1626" y="1275"/>
                  </a:lnTo>
                  <a:lnTo>
                    <a:pt x="1626" y="1275"/>
                  </a:lnTo>
                  <a:lnTo>
                    <a:pt x="1622" y="1271"/>
                  </a:lnTo>
                  <a:lnTo>
                    <a:pt x="1622" y="1275"/>
                  </a:lnTo>
                  <a:lnTo>
                    <a:pt x="1622" y="1275"/>
                  </a:lnTo>
                  <a:lnTo>
                    <a:pt x="1622" y="1275"/>
                  </a:lnTo>
                  <a:lnTo>
                    <a:pt x="1622" y="1280"/>
                  </a:lnTo>
                  <a:lnTo>
                    <a:pt x="1626" y="1280"/>
                  </a:lnTo>
                  <a:close/>
                  <a:moveTo>
                    <a:pt x="1622" y="1261"/>
                  </a:moveTo>
                  <a:lnTo>
                    <a:pt x="1626" y="1261"/>
                  </a:lnTo>
                  <a:lnTo>
                    <a:pt x="1626" y="1261"/>
                  </a:lnTo>
                  <a:lnTo>
                    <a:pt x="1631" y="1261"/>
                  </a:lnTo>
                  <a:lnTo>
                    <a:pt x="1626" y="1257"/>
                  </a:lnTo>
                  <a:lnTo>
                    <a:pt x="1626" y="1257"/>
                  </a:lnTo>
                  <a:lnTo>
                    <a:pt x="1626" y="1257"/>
                  </a:lnTo>
                  <a:lnTo>
                    <a:pt x="1626" y="1257"/>
                  </a:lnTo>
                  <a:lnTo>
                    <a:pt x="1626" y="1257"/>
                  </a:lnTo>
                  <a:lnTo>
                    <a:pt x="1626" y="1257"/>
                  </a:lnTo>
                  <a:lnTo>
                    <a:pt x="1626" y="1257"/>
                  </a:lnTo>
                  <a:lnTo>
                    <a:pt x="1622" y="1261"/>
                  </a:lnTo>
                  <a:lnTo>
                    <a:pt x="1622" y="1261"/>
                  </a:lnTo>
                  <a:close/>
                  <a:moveTo>
                    <a:pt x="1622" y="1261"/>
                  </a:moveTo>
                  <a:lnTo>
                    <a:pt x="1617" y="1266"/>
                  </a:lnTo>
                  <a:lnTo>
                    <a:pt x="1622" y="1266"/>
                  </a:lnTo>
                  <a:lnTo>
                    <a:pt x="1622" y="1266"/>
                  </a:lnTo>
                  <a:lnTo>
                    <a:pt x="1622" y="1266"/>
                  </a:lnTo>
                  <a:lnTo>
                    <a:pt x="1622" y="1266"/>
                  </a:lnTo>
                  <a:lnTo>
                    <a:pt x="1622" y="1261"/>
                  </a:lnTo>
                  <a:lnTo>
                    <a:pt x="1622" y="1261"/>
                  </a:lnTo>
                  <a:lnTo>
                    <a:pt x="1622" y="1261"/>
                  </a:lnTo>
                  <a:lnTo>
                    <a:pt x="1622" y="1257"/>
                  </a:lnTo>
                  <a:lnTo>
                    <a:pt x="1622" y="1257"/>
                  </a:lnTo>
                  <a:lnTo>
                    <a:pt x="1622" y="1257"/>
                  </a:lnTo>
                  <a:lnTo>
                    <a:pt x="1622" y="1261"/>
                  </a:lnTo>
                  <a:close/>
                  <a:moveTo>
                    <a:pt x="1622" y="1320"/>
                  </a:moveTo>
                  <a:lnTo>
                    <a:pt x="1622" y="1316"/>
                  </a:lnTo>
                  <a:lnTo>
                    <a:pt x="1622" y="1316"/>
                  </a:lnTo>
                  <a:lnTo>
                    <a:pt x="1622" y="1316"/>
                  </a:lnTo>
                  <a:lnTo>
                    <a:pt x="1622" y="1316"/>
                  </a:lnTo>
                  <a:lnTo>
                    <a:pt x="1622" y="1320"/>
                  </a:lnTo>
                  <a:lnTo>
                    <a:pt x="1622" y="1320"/>
                  </a:lnTo>
                  <a:lnTo>
                    <a:pt x="1622" y="1320"/>
                  </a:lnTo>
                  <a:lnTo>
                    <a:pt x="1622" y="1320"/>
                  </a:lnTo>
                  <a:lnTo>
                    <a:pt x="1622" y="1320"/>
                  </a:lnTo>
                  <a:close/>
                  <a:moveTo>
                    <a:pt x="50" y="1094"/>
                  </a:moveTo>
                  <a:lnTo>
                    <a:pt x="50" y="1094"/>
                  </a:lnTo>
                  <a:lnTo>
                    <a:pt x="50" y="1090"/>
                  </a:lnTo>
                  <a:lnTo>
                    <a:pt x="50" y="1090"/>
                  </a:lnTo>
                  <a:lnTo>
                    <a:pt x="50" y="1090"/>
                  </a:lnTo>
                  <a:lnTo>
                    <a:pt x="50" y="1090"/>
                  </a:lnTo>
                  <a:lnTo>
                    <a:pt x="45" y="1090"/>
                  </a:lnTo>
                  <a:lnTo>
                    <a:pt x="45" y="1090"/>
                  </a:lnTo>
                  <a:lnTo>
                    <a:pt x="45" y="1090"/>
                  </a:lnTo>
                  <a:lnTo>
                    <a:pt x="41" y="1090"/>
                  </a:lnTo>
                  <a:lnTo>
                    <a:pt x="41" y="1090"/>
                  </a:lnTo>
                  <a:lnTo>
                    <a:pt x="41" y="1090"/>
                  </a:lnTo>
                  <a:lnTo>
                    <a:pt x="45" y="1094"/>
                  </a:lnTo>
                  <a:lnTo>
                    <a:pt x="50" y="1094"/>
                  </a:lnTo>
                  <a:close/>
                  <a:moveTo>
                    <a:pt x="5" y="1067"/>
                  </a:moveTo>
                  <a:lnTo>
                    <a:pt x="5" y="1072"/>
                  </a:lnTo>
                  <a:lnTo>
                    <a:pt x="0" y="1072"/>
                  </a:lnTo>
                  <a:lnTo>
                    <a:pt x="0" y="1072"/>
                  </a:lnTo>
                  <a:lnTo>
                    <a:pt x="0" y="1072"/>
                  </a:lnTo>
                  <a:lnTo>
                    <a:pt x="5" y="1072"/>
                  </a:lnTo>
                  <a:lnTo>
                    <a:pt x="5" y="1072"/>
                  </a:lnTo>
                  <a:lnTo>
                    <a:pt x="5" y="1072"/>
                  </a:lnTo>
                  <a:lnTo>
                    <a:pt x="5" y="1067"/>
                  </a:lnTo>
                  <a:lnTo>
                    <a:pt x="5" y="1067"/>
                  </a:lnTo>
                  <a:lnTo>
                    <a:pt x="5" y="1067"/>
                  </a:lnTo>
                  <a:lnTo>
                    <a:pt x="5" y="1067"/>
                  </a:lnTo>
                  <a:close/>
                  <a:moveTo>
                    <a:pt x="18" y="1063"/>
                  </a:moveTo>
                  <a:lnTo>
                    <a:pt x="14" y="1067"/>
                  </a:lnTo>
                  <a:lnTo>
                    <a:pt x="9" y="1067"/>
                  </a:lnTo>
                  <a:lnTo>
                    <a:pt x="9" y="1067"/>
                  </a:lnTo>
                  <a:lnTo>
                    <a:pt x="14" y="1072"/>
                  </a:lnTo>
                  <a:lnTo>
                    <a:pt x="14" y="1072"/>
                  </a:lnTo>
                  <a:lnTo>
                    <a:pt x="14" y="1072"/>
                  </a:lnTo>
                  <a:lnTo>
                    <a:pt x="14" y="1072"/>
                  </a:lnTo>
                  <a:lnTo>
                    <a:pt x="18" y="1072"/>
                  </a:lnTo>
                  <a:lnTo>
                    <a:pt x="18" y="1072"/>
                  </a:lnTo>
                  <a:lnTo>
                    <a:pt x="18" y="1067"/>
                  </a:lnTo>
                  <a:lnTo>
                    <a:pt x="18" y="1067"/>
                  </a:lnTo>
                  <a:lnTo>
                    <a:pt x="18" y="1067"/>
                  </a:lnTo>
                  <a:lnTo>
                    <a:pt x="18" y="1063"/>
                  </a:lnTo>
                  <a:lnTo>
                    <a:pt x="18" y="1063"/>
                  </a:lnTo>
                  <a:close/>
                  <a:moveTo>
                    <a:pt x="45" y="1099"/>
                  </a:moveTo>
                  <a:lnTo>
                    <a:pt x="45" y="1099"/>
                  </a:lnTo>
                  <a:lnTo>
                    <a:pt x="45" y="1099"/>
                  </a:lnTo>
                  <a:lnTo>
                    <a:pt x="45" y="1094"/>
                  </a:lnTo>
                  <a:lnTo>
                    <a:pt x="45" y="1094"/>
                  </a:lnTo>
                  <a:lnTo>
                    <a:pt x="45" y="1099"/>
                  </a:lnTo>
                  <a:lnTo>
                    <a:pt x="41" y="1099"/>
                  </a:lnTo>
                  <a:lnTo>
                    <a:pt x="45" y="1099"/>
                  </a:lnTo>
                  <a:lnTo>
                    <a:pt x="45" y="1099"/>
                  </a:lnTo>
                  <a:lnTo>
                    <a:pt x="45" y="1099"/>
                  </a:lnTo>
                  <a:close/>
                </a:path>
              </a:pathLst>
            </a:custGeom>
            <a:noFill/>
            <a:ln w="12700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283" name="Group 282"/>
          <p:cNvGrpSpPr/>
          <p:nvPr/>
        </p:nvGrpSpPr>
        <p:grpSpPr>
          <a:xfrm>
            <a:off x="7259683" y="1728934"/>
            <a:ext cx="228968" cy="228968"/>
            <a:chOff x="2754560" y="2848323"/>
            <a:chExt cx="298302" cy="298302"/>
          </a:xfrm>
        </p:grpSpPr>
        <p:sp>
          <p:nvSpPr>
            <p:cNvPr id="284" name="Teardrop 283"/>
            <p:cNvSpPr/>
            <p:nvPr/>
          </p:nvSpPr>
          <p:spPr>
            <a:xfrm rot="7994273">
              <a:off x="2754560" y="2848323"/>
              <a:ext cx="298302" cy="298302"/>
            </a:xfrm>
            <a:prstGeom prst="teardrop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85" name="Oval 284"/>
            <p:cNvSpPr/>
            <p:nvPr/>
          </p:nvSpPr>
          <p:spPr>
            <a:xfrm>
              <a:off x="2789226" y="2882989"/>
              <a:ext cx="228969" cy="228969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286" name="Group 285"/>
          <p:cNvGrpSpPr/>
          <p:nvPr/>
        </p:nvGrpSpPr>
        <p:grpSpPr>
          <a:xfrm>
            <a:off x="5740221" y="2246374"/>
            <a:ext cx="228968" cy="228968"/>
            <a:chOff x="2059954" y="3207446"/>
            <a:chExt cx="298302" cy="298302"/>
          </a:xfrm>
        </p:grpSpPr>
        <p:sp>
          <p:nvSpPr>
            <p:cNvPr id="287" name="Teardrop 286"/>
            <p:cNvSpPr/>
            <p:nvPr/>
          </p:nvSpPr>
          <p:spPr>
            <a:xfrm rot="7994273">
              <a:off x="2059954" y="3207446"/>
              <a:ext cx="298302" cy="298302"/>
            </a:xfrm>
            <a:prstGeom prst="teardrop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88" name="Oval 287"/>
            <p:cNvSpPr/>
            <p:nvPr/>
          </p:nvSpPr>
          <p:spPr>
            <a:xfrm>
              <a:off x="2094620" y="3242112"/>
              <a:ext cx="228969" cy="228969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289" name="Group 288"/>
          <p:cNvGrpSpPr/>
          <p:nvPr/>
        </p:nvGrpSpPr>
        <p:grpSpPr>
          <a:xfrm>
            <a:off x="2068054" y="1687557"/>
            <a:ext cx="228968" cy="228968"/>
            <a:chOff x="1156851" y="3373785"/>
            <a:chExt cx="298302" cy="298302"/>
          </a:xfrm>
        </p:grpSpPr>
        <p:sp>
          <p:nvSpPr>
            <p:cNvPr id="290" name="Teardrop 289"/>
            <p:cNvSpPr/>
            <p:nvPr/>
          </p:nvSpPr>
          <p:spPr>
            <a:xfrm rot="7994273">
              <a:off x="1156851" y="3373785"/>
              <a:ext cx="298302" cy="298302"/>
            </a:xfrm>
            <a:prstGeom prst="teardrop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91" name="Oval 290"/>
            <p:cNvSpPr/>
            <p:nvPr/>
          </p:nvSpPr>
          <p:spPr>
            <a:xfrm>
              <a:off x="1191517" y="3408451"/>
              <a:ext cx="228969" cy="228969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292" name="Group 291"/>
          <p:cNvGrpSpPr/>
          <p:nvPr/>
        </p:nvGrpSpPr>
        <p:grpSpPr>
          <a:xfrm>
            <a:off x="7511385" y="4085296"/>
            <a:ext cx="228968" cy="228968"/>
            <a:chOff x="3227100" y="2552328"/>
            <a:chExt cx="298302" cy="298302"/>
          </a:xfrm>
        </p:grpSpPr>
        <p:sp>
          <p:nvSpPr>
            <p:cNvPr id="293" name="Teardrop 292"/>
            <p:cNvSpPr/>
            <p:nvPr/>
          </p:nvSpPr>
          <p:spPr>
            <a:xfrm rot="7994273">
              <a:off x="3227100" y="2552328"/>
              <a:ext cx="298302" cy="298302"/>
            </a:xfrm>
            <a:prstGeom prst="teardrop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94" name="Oval 293"/>
            <p:cNvSpPr/>
            <p:nvPr/>
          </p:nvSpPr>
          <p:spPr>
            <a:xfrm>
              <a:off x="3261766" y="2586994"/>
              <a:ext cx="228969" cy="228969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295" name="Group 294"/>
          <p:cNvGrpSpPr/>
          <p:nvPr/>
        </p:nvGrpSpPr>
        <p:grpSpPr>
          <a:xfrm>
            <a:off x="4123132" y="1395907"/>
            <a:ext cx="228968" cy="228968"/>
            <a:chOff x="1801722" y="4307903"/>
            <a:chExt cx="298302" cy="298302"/>
          </a:xfrm>
        </p:grpSpPr>
        <p:sp>
          <p:nvSpPr>
            <p:cNvPr id="296" name="Teardrop 295"/>
            <p:cNvSpPr/>
            <p:nvPr/>
          </p:nvSpPr>
          <p:spPr>
            <a:xfrm rot="7994273">
              <a:off x="1801722" y="4307903"/>
              <a:ext cx="298302" cy="298302"/>
            </a:xfrm>
            <a:prstGeom prst="teardrop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97" name="Oval 296"/>
            <p:cNvSpPr/>
            <p:nvPr/>
          </p:nvSpPr>
          <p:spPr>
            <a:xfrm>
              <a:off x="1836388" y="4342569"/>
              <a:ext cx="228969" cy="228969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298" name="Group 297"/>
          <p:cNvGrpSpPr/>
          <p:nvPr/>
        </p:nvGrpSpPr>
        <p:grpSpPr>
          <a:xfrm>
            <a:off x="2315266" y="4072999"/>
            <a:ext cx="228968" cy="228968"/>
            <a:chOff x="619519" y="3572223"/>
            <a:chExt cx="298302" cy="298302"/>
          </a:xfrm>
        </p:grpSpPr>
        <p:sp>
          <p:nvSpPr>
            <p:cNvPr id="299" name="Teardrop 298"/>
            <p:cNvSpPr/>
            <p:nvPr/>
          </p:nvSpPr>
          <p:spPr>
            <a:xfrm rot="7994273">
              <a:off x="619519" y="3572223"/>
              <a:ext cx="298302" cy="298302"/>
            </a:xfrm>
            <a:prstGeom prst="teardrop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0" name="Oval 299"/>
            <p:cNvSpPr/>
            <p:nvPr/>
          </p:nvSpPr>
          <p:spPr>
            <a:xfrm>
              <a:off x="654185" y="3606889"/>
              <a:ext cx="228969" cy="228969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301" name="Group 300"/>
          <p:cNvGrpSpPr/>
          <p:nvPr/>
        </p:nvGrpSpPr>
        <p:grpSpPr>
          <a:xfrm>
            <a:off x="6658879" y="1728067"/>
            <a:ext cx="228968" cy="228968"/>
            <a:chOff x="2377454" y="2392932"/>
            <a:chExt cx="298302" cy="298302"/>
          </a:xfrm>
        </p:grpSpPr>
        <p:sp>
          <p:nvSpPr>
            <p:cNvPr id="302" name="Teardrop 301"/>
            <p:cNvSpPr/>
            <p:nvPr/>
          </p:nvSpPr>
          <p:spPr>
            <a:xfrm rot="7994273">
              <a:off x="2377454" y="2392932"/>
              <a:ext cx="298302" cy="298302"/>
            </a:xfrm>
            <a:prstGeom prst="teardrop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3" name="Oval 302"/>
            <p:cNvSpPr/>
            <p:nvPr/>
          </p:nvSpPr>
          <p:spPr>
            <a:xfrm>
              <a:off x="2412120" y="2427598"/>
              <a:ext cx="228969" cy="228969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304" name="Group 303"/>
          <p:cNvGrpSpPr/>
          <p:nvPr/>
        </p:nvGrpSpPr>
        <p:grpSpPr>
          <a:xfrm>
            <a:off x="3766716" y="1735930"/>
            <a:ext cx="228968" cy="228968"/>
            <a:chOff x="1470992" y="3834383"/>
            <a:chExt cx="298302" cy="298302"/>
          </a:xfrm>
        </p:grpSpPr>
        <p:sp>
          <p:nvSpPr>
            <p:cNvPr id="305" name="Teardrop 304"/>
            <p:cNvSpPr/>
            <p:nvPr/>
          </p:nvSpPr>
          <p:spPr>
            <a:xfrm rot="7994273">
              <a:off x="1470992" y="3834383"/>
              <a:ext cx="298302" cy="298302"/>
            </a:xfrm>
            <a:prstGeom prst="teardrop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6" name="Oval 305"/>
            <p:cNvSpPr/>
            <p:nvPr/>
          </p:nvSpPr>
          <p:spPr>
            <a:xfrm>
              <a:off x="1505658" y="3869049"/>
              <a:ext cx="228969" cy="228969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82138D-7813-5B4B-B227-AA9F1F40B9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C7F7830-7285-40CA-8222-57516E11D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791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"/>
                                        <p:tgtEl>
                                          <p:spTgt spid="2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50"/>
                                        <p:tgtEl>
                                          <p:spTgt spid="2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50"/>
                                        <p:tgtEl>
                                          <p:spTgt spid="2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"/>
                                        <p:tgtEl>
                                          <p:spTgt spid="3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50"/>
                                        <p:tgtEl>
                                          <p:spTgt spid="2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50"/>
                                        <p:tgtEl>
                                          <p:spTgt spid="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9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50"/>
                                        <p:tgtEl>
                                          <p:spTgt spid="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5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50"/>
                                        <p:tgtEl>
                                          <p:spTgt spid="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588940" y="633000"/>
            <a:ext cx="3802192" cy="3956595"/>
            <a:chOff x="3052763" y="261938"/>
            <a:chExt cx="6097621" cy="6345239"/>
          </a:xfrm>
        </p:grpSpPr>
        <p:grpSp>
          <p:nvGrpSpPr>
            <p:cNvPr id="5" name="Group 4"/>
            <p:cNvGrpSpPr>
              <a:grpSpLocks noChangeAspect="1"/>
            </p:cNvGrpSpPr>
            <p:nvPr/>
          </p:nvGrpSpPr>
          <p:grpSpPr bwMode="auto">
            <a:xfrm>
              <a:off x="3052775" y="261938"/>
              <a:ext cx="6097609" cy="6345239"/>
              <a:chOff x="1923" y="165"/>
              <a:chExt cx="3841" cy="3997"/>
            </a:xfrm>
          </p:grpSpPr>
          <p:sp>
            <p:nvSpPr>
              <p:cNvPr id="7" name="Freeform 5"/>
              <p:cNvSpPr>
                <a:spLocks/>
              </p:cNvSpPr>
              <p:nvPr/>
            </p:nvSpPr>
            <p:spPr bwMode="auto">
              <a:xfrm>
                <a:off x="3080" y="811"/>
                <a:ext cx="22" cy="22"/>
              </a:xfrm>
              <a:custGeom>
                <a:avLst/>
                <a:gdLst>
                  <a:gd name="T0" fmla="*/ 22 w 22"/>
                  <a:gd name="T1" fmla="*/ 15 h 22"/>
                  <a:gd name="T2" fmla="*/ 22 w 22"/>
                  <a:gd name="T3" fmla="*/ 15 h 22"/>
                  <a:gd name="T4" fmla="*/ 22 w 22"/>
                  <a:gd name="T5" fmla="*/ 15 h 22"/>
                  <a:gd name="T6" fmla="*/ 22 w 22"/>
                  <a:gd name="T7" fmla="*/ 22 h 22"/>
                  <a:gd name="T8" fmla="*/ 22 w 22"/>
                  <a:gd name="T9" fmla="*/ 22 h 22"/>
                  <a:gd name="T10" fmla="*/ 15 w 22"/>
                  <a:gd name="T11" fmla="*/ 22 h 22"/>
                  <a:gd name="T12" fmla="*/ 15 w 22"/>
                  <a:gd name="T13" fmla="*/ 22 h 22"/>
                  <a:gd name="T14" fmla="*/ 15 w 22"/>
                  <a:gd name="T15" fmla="*/ 22 h 22"/>
                  <a:gd name="T16" fmla="*/ 15 w 22"/>
                  <a:gd name="T17" fmla="*/ 22 h 22"/>
                  <a:gd name="T18" fmla="*/ 15 w 22"/>
                  <a:gd name="T19" fmla="*/ 22 h 22"/>
                  <a:gd name="T20" fmla="*/ 15 w 22"/>
                  <a:gd name="T21" fmla="*/ 22 h 22"/>
                  <a:gd name="T22" fmla="*/ 15 w 22"/>
                  <a:gd name="T23" fmla="*/ 15 h 22"/>
                  <a:gd name="T24" fmla="*/ 15 w 22"/>
                  <a:gd name="T25" fmla="*/ 15 h 22"/>
                  <a:gd name="T26" fmla="*/ 8 w 22"/>
                  <a:gd name="T27" fmla="*/ 15 h 22"/>
                  <a:gd name="T28" fmla="*/ 8 w 22"/>
                  <a:gd name="T29" fmla="*/ 7 h 22"/>
                  <a:gd name="T30" fmla="*/ 0 w 22"/>
                  <a:gd name="T31" fmla="*/ 7 h 22"/>
                  <a:gd name="T32" fmla="*/ 0 w 22"/>
                  <a:gd name="T33" fmla="*/ 7 h 22"/>
                  <a:gd name="T34" fmla="*/ 0 w 22"/>
                  <a:gd name="T35" fmla="*/ 7 h 22"/>
                  <a:gd name="T36" fmla="*/ 0 w 22"/>
                  <a:gd name="T37" fmla="*/ 7 h 22"/>
                  <a:gd name="T38" fmla="*/ 0 w 22"/>
                  <a:gd name="T39" fmla="*/ 7 h 22"/>
                  <a:gd name="T40" fmla="*/ 8 w 22"/>
                  <a:gd name="T41" fmla="*/ 7 h 22"/>
                  <a:gd name="T42" fmla="*/ 8 w 22"/>
                  <a:gd name="T43" fmla="*/ 0 h 22"/>
                  <a:gd name="T44" fmla="*/ 15 w 22"/>
                  <a:gd name="T45" fmla="*/ 0 h 22"/>
                  <a:gd name="T46" fmla="*/ 15 w 22"/>
                  <a:gd name="T47" fmla="*/ 0 h 22"/>
                  <a:gd name="T48" fmla="*/ 22 w 22"/>
                  <a:gd name="T49" fmla="*/ 0 h 22"/>
                  <a:gd name="T50" fmla="*/ 22 w 22"/>
                  <a:gd name="T51" fmla="*/ 7 h 22"/>
                  <a:gd name="T52" fmla="*/ 22 w 22"/>
                  <a:gd name="T53" fmla="*/ 7 h 22"/>
                  <a:gd name="T54" fmla="*/ 22 w 22"/>
                  <a:gd name="T55" fmla="*/ 7 h 22"/>
                  <a:gd name="T56" fmla="*/ 22 w 22"/>
                  <a:gd name="T57" fmla="*/ 7 h 22"/>
                  <a:gd name="T58" fmla="*/ 22 w 22"/>
                  <a:gd name="T59" fmla="*/ 7 h 22"/>
                  <a:gd name="T60" fmla="*/ 22 w 22"/>
                  <a:gd name="T61" fmla="*/ 7 h 22"/>
                  <a:gd name="T62" fmla="*/ 22 w 22"/>
                  <a:gd name="T63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" h="22">
                    <a:moveTo>
                      <a:pt x="22" y="15"/>
                    </a:moveTo>
                    <a:lnTo>
                      <a:pt x="22" y="15"/>
                    </a:lnTo>
                    <a:lnTo>
                      <a:pt x="22" y="15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8" y="15"/>
                    </a:lnTo>
                    <a:lnTo>
                      <a:pt x="8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8" y="7"/>
                    </a:lnTo>
                    <a:lnTo>
                      <a:pt x="8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22" y="0"/>
                    </a:lnTo>
                    <a:lnTo>
                      <a:pt x="22" y="7"/>
                    </a:lnTo>
                    <a:lnTo>
                      <a:pt x="22" y="7"/>
                    </a:lnTo>
                    <a:lnTo>
                      <a:pt x="22" y="7"/>
                    </a:lnTo>
                    <a:lnTo>
                      <a:pt x="22" y="7"/>
                    </a:lnTo>
                    <a:lnTo>
                      <a:pt x="22" y="7"/>
                    </a:lnTo>
                    <a:lnTo>
                      <a:pt x="22" y="7"/>
                    </a:lnTo>
                    <a:lnTo>
                      <a:pt x="22" y="15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" name="Freeform 6"/>
              <p:cNvSpPr>
                <a:spLocks/>
              </p:cNvSpPr>
              <p:nvPr/>
            </p:nvSpPr>
            <p:spPr bwMode="auto">
              <a:xfrm>
                <a:off x="3080" y="811"/>
                <a:ext cx="22" cy="22"/>
              </a:xfrm>
              <a:custGeom>
                <a:avLst/>
                <a:gdLst>
                  <a:gd name="T0" fmla="*/ 22 w 22"/>
                  <a:gd name="T1" fmla="*/ 15 h 22"/>
                  <a:gd name="T2" fmla="*/ 22 w 22"/>
                  <a:gd name="T3" fmla="*/ 15 h 22"/>
                  <a:gd name="T4" fmla="*/ 22 w 22"/>
                  <a:gd name="T5" fmla="*/ 15 h 22"/>
                  <a:gd name="T6" fmla="*/ 22 w 22"/>
                  <a:gd name="T7" fmla="*/ 22 h 22"/>
                  <a:gd name="T8" fmla="*/ 22 w 22"/>
                  <a:gd name="T9" fmla="*/ 22 h 22"/>
                  <a:gd name="T10" fmla="*/ 15 w 22"/>
                  <a:gd name="T11" fmla="*/ 22 h 22"/>
                  <a:gd name="T12" fmla="*/ 15 w 22"/>
                  <a:gd name="T13" fmla="*/ 22 h 22"/>
                  <a:gd name="T14" fmla="*/ 15 w 22"/>
                  <a:gd name="T15" fmla="*/ 22 h 22"/>
                  <a:gd name="T16" fmla="*/ 15 w 22"/>
                  <a:gd name="T17" fmla="*/ 22 h 22"/>
                  <a:gd name="T18" fmla="*/ 15 w 22"/>
                  <a:gd name="T19" fmla="*/ 22 h 22"/>
                  <a:gd name="T20" fmla="*/ 15 w 22"/>
                  <a:gd name="T21" fmla="*/ 22 h 22"/>
                  <a:gd name="T22" fmla="*/ 15 w 22"/>
                  <a:gd name="T23" fmla="*/ 15 h 22"/>
                  <a:gd name="T24" fmla="*/ 15 w 22"/>
                  <a:gd name="T25" fmla="*/ 15 h 22"/>
                  <a:gd name="T26" fmla="*/ 8 w 22"/>
                  <a:gd name="T27" fmla="*/ 15 h 22"/>
                  <a:gd name="T28" fmla="*/ 8 w 22"/>
                  <a:gd name="T29" fmla="*/ 7 h 22"/>
                  <a:gd name="T30" fmla="*/ 0 w 22"/>
                  <a:gd name="T31" fmla="*/ 7 h 22"/>
                  <a:gd name="T32" fmla="*/ 0 w 22"/>
                  <a:gd name="T33" fmla="*/ 7 h 22"/>
                  <a:gd name="T34" fmla="*/ 0 w 22"/>
                  <a:gd name="T35" fmla="*/ 7 h 22"/>
                  <a:gd name="T36" fmla="*/ 0 w 22"/>
                  <a:gd name="T37" fmla="*/ 7 h 22"/>
                  <a:gd name="T38" fmla="*/ 0 w 22"/>
                  <a:gd name="T39" fmla="*/ 7 h 22"/>
                  <a:gd name="T40" fmla="*/ 8 w 22"/>
                  <a:gd name="T41" fmla="*/ 7 h 22"/>
                  <a:gd name="T42" fmla="*/ 8 w 22"/>
                  <a:gd name="T43" fmla="*/ 0 h 22"/>
                  <a:gd name="T44" fmla="*/ 15 w 22"/>
                  <a:gd name="T45" fmla="*/ 0 h 22"/>
                  <a:gd name="T46" fmla="*/ 15 w 22"/>
                  <a:gd name="T47" fmla="*/ 0 h 22"/>
                  <a:gd name="T48" fmla="*/ 22 w 22"/>
                  <a:gd name="T49" fmla="*/ 0 h 22"/>
                  <a:gd name="T50" fmla="*/ 22 w 22"/>
                  <a:gd name="T51" fmla="*/ 7 h 22"/>
                  <a:gd name="T52" fmla="*/ 22 w 22"/>
                  <a:gd name="T53" fmla="*/ 7 h 22"/>
                  <a:gd name="T54" fmla="*/ 22 w 22"/>
                  <a:gd name="T55" fmla="*/ 7 h 22"/>
                  <a:gd name="T56" fmla="*/ 22 w 22"/>
                  <a:gd name="T57" fmla="*/ 7 h 22"/>
                  <a:gd name="T58" fmla="*/ 22 w 22"/>
                  <a:gd name="T59" fmla="*/ 7 h 22"/>
                  <a:gd name="T60" fmla="*/ 22 w 22"/>
                  <a:gd name="T61" fmla="*/ 7 h 22"/>
                  <a:gd name="T62" fmla="*/ 22 w 22"/>
                  <a:gd name="T63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" h="22">
                    <a:moveTo>
                      <a:pt x="22" y="15"/>
                    </a:moveTo>
                    <a:lnTo>
                      <a:pt x="22" y="15"/>
                    </a:lnTo>
                    <a:lnTo>
                      <a:pt x="22" y="15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8" y="15"/>
                    </a:lnTo>
                    <a:lnTo>
                      <a:pt x="8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8" y="7"/>
                    </a:lnTo>
                    <a:lnTo>
                      <a:pt x="8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22" y="0"/>
                    </a:lnTo>
                    <a:lnTo>
                      <a:pt x="22" y="7"/>
                    </a:lnTo>
                    <a:lnTo>
                      <a:pt x="22" y="7"/>
                    </a:lnTo>
                    <a:lnTo>
                      <a:pt x="22" y="7"/>
                    </a:lnTo>
                    <a:lnTo>
                      <a:pt x="22" y="7"/>
                    </a:lnTo>
                    <a:lnTo>
                      <a:pt x="22" y="7"/>
                    </a:lnTo>
                    <a:lnTo>
                      <a:pt x="22" y="7"/>
                    </a:lnTo>
                    <a:lnTo>
                      <a:pt x="22" y="15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" name="Freeform 7"/>
              <p:cNvSpPr>
                <a:spLocks/>
              </p:cNvSpPr>
              <p:nvPr/>
            </p:nvSpPr>
            <p:spPr bwMode="auto">
              <a:xfrm>
                <a:off x="3109" y="1081"/>
                <a:ext cx="64" cy="64"/>
              </a:xfrm>
              <a:custGeom>
                <a:avLst/>
                <a:gdLst>
                  <a:gd name="T0" fmla="*/ 35 w 64"/>
                  <a:gd name="T1" fmla="*/ 7 h 64"/>
                  <a:gd name="T2" fmla="*/ 42 w 64"/>
                  <a:gd name="T3" fmla="*/ 7 h 64"/>
                  <a:gd name="T4" fmla="*/ 50 w 64"/>
                  <a:gd name="T5" fmla="*/ 14 h 64"/>
                  <a:gd name="T6" fmla="*/ 50 w 64"/>
                  <a:gd name="T7" fmla="*/ 14 h 64"/>
                  <a:gd name="T8" fmla="*/ 64 w 64"/>
                  <a:gd name="T9" fmla="*/ 28 h 64"/>
                  <a:gd name="T10" fmla="*/ 64 w 64"/>
                  <a:gd name="T11" fmla="*/ 28 h 64"/>
                  <a:gd name="T12" fmla="*/ 64 w 64"/>
                  <a:gd name="T13" fmla="*/ 36 h 64"/>
                  <a:gd name="T14" fmla="*/ 64 w 64"/>
                  <a:gd name="T15" fmla="*/ 43 h 64"/>
                  <a:gd name="T16" fmla="*/ 64 w 64"/>
                  <a:gd name="T17" fmla="*/ 43 h 64"/>
                  <a:gd name="T18" fmla="*/ 64 w 64"/>
                  <a:gd name="T19" fmla="*/ 43 h 64"/>
                  <a:gd name="T20" fmla="*/ 57 w 64"/>
                  <a:gd name="T21" fmla="*/ 43 h 64"/>
                  <a:gd name="T22" fmla="*/ 57 w 64"/>
                  <a:gd name="T23" fmla="*/ 50 h 64"/>
                  <a:gd name="T24" fmla="*/ 57 w 64"/>
                  <a:gd name="T25" fmla="*/ 57 h 64"/>
                  <a:gd name="T26" fmla="*/ 50 w 64"/>
                  <a:gd name="T27" fmla="*/ 57 h 64"/>
                  <a:gd name="T28" fmla="*/ 50 w 64"/>
                  <a:gd name="T29" fmla="*/ 64 h 64"/>
                  <a:gd name="T30" fmla="*/ 50 w 64"/>
                  <a:gd name="T31" fmla="*/ 64 h 64"/>
                  <a:gd name="T32" fmla="*/ 50 w 64"/>
                  <a:gd name="T33" fmla="*/ 64 h 64"/>
                  <a:gd name="T34" fmla="*/ 50 w 64"/>
                  <a:gd name="T35" fmla="*/ 64 h 64"/>
                  <a:gd name="T36" fmla="*/ 42 w 64"/>
                  <a:gd name="T37" fmla="*/ 64 h 64"/>
                  <a:gd name="T38" fmla="*/ 35 w 64"/>
                  <a:gd name="T39" fmla="*/ 64 h 64"/>
                  <a:gd name="T40" fmla="*/ 35 w 64"/>
                  <a:gd name="T41" fmla="*/ 64 h 64"/>
                  <a:gd name="T42" fmla="*/ 28 w 64"/>
                  <a:gd name="T43" fmla="*/ 57 h 64"/>
                  <a:gd name="T44" fmla="*/ 28 w 64"/>
                  <a:gd name="T45" fmla="*/ 57 h 64"/>
                  <a:gd name="T46" fmla="*/ 21 w 64"/>
                  <a:gd name="T47" fmla="*/ 50 h 64"/>
                  <a:gd name="T48" fmla="*/ 21 w 64"/>
                  <a:gd name="T49" fmla="*/ 50 h 64"/>
                  <a:gd name="T50" fmla="*/ 21 w 64"/>
                  <a:gd name="T51" fmla="*/ 50 h 64"/>
                  <a:gd name="T52" fmla="*/ 14 w 64"/>
                  <a:gd name="T53" fmla="*/ 50 h 64"/>
                  <a:gd name="T54" fmla="*/ 0 w 64"/>
                  <a:gd name="T55" fmla="*/ 57 h 64"/>
                  <a:gd name="T56" fmla="*/ 0 w 64"/>
                  <a:gd name="T57" fmla="*/ 50 h 64"/>
                  <a:gd name="T58" fmla="*/ 0 w 64"/>
                  <a:gd name="T59" fmla="*/ 50 h 64"/>
                  <a:gd name="T60" fmla="*/ 0 w 64"/>
                  <a:gd name="T61" fmla="*/ 50 h 64"/>
                  <a:gd name="T62" fmla="*/ 0 w 64"/>
                  <a:gd name="T63" fmla="*/ 50 h 64"/>
                  <a:gd name="T64" fmla="*/ 0 w 64"/>
                  <a:gd name="T65" fmla="*/ 43 h 64"/>
                  <a:gd name="T66" fmla="*/ 0 w 64"/>
                  <a:gd name="T67" fmla="*/ 43 h 64"/>
                  <a:gd name="T68" fmla="*/ 7 w 64"/>
                  <a:gd name="T69" fmla="*/ 36 h 64"/>
                  <a:gd name="T70" fmla="*/ 7 w 64"/>
                  <a:gd name="T71" fmla="*/ 36 h 64"/>
                  <a:gd name="T72" fmla="*/ 7 w 64"/>
                  <a:gd name="T73" fmla="*/ 36 h 64"/>
                  <a:gd name="T74" fmla="*/ 14 w 64"/>
                  <a:gd name="T75" fmla="*/ 28 h 64"/>
                  <a:gd name="T76" fmla="*/ 14 w 64"/>
                  <a:gd name="T77" fmla="*/ 28 h 64"/>
                  <a:gd name="T78" fmla="*/ 14 w 64"/>
                  <a:gd name="T79" fmla="*/ 21 h 64"/>
                  <a:gd name="T80" fmla="*/ 7 w 64"/>
                  <a:gd name="T81" fmla="*/ 14 h 64"/>
                  <a:gd name="T82" fmla="*/ 14 w 64"/>
                  <a:gd name="T83" fmla="*/ 14 h 64"/>
                  <a:gd name="T84" fmla="*/ 14 w 64"/>
                  <a:gd name="T85" fmla="*/ 7 h 64"/>
                  <a:gd name="T86" fmla="*/ 21 w 64"/>
                  <a:gd name="T87" fmla="*/ 7 h 64"/>
                  <a:gd name="T88" fmla="*/ 28 w 64"/>
                  <a:gd name="T89" fmla="*/ 7 h 64"/>
                  <a:gd name="T90" fmla="*/ 28 w 64"/>
                  <a:gd name="T91" fmla="*/ 0 h 64"/>
                  <a:gd name="T92" fmla="*/ 35 w 64"/>
                  <a:gd name="T93" fmla="*/ 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4" h="64">
                    <a:moveTo>
                      <a:pt x="35" y="7"/>
                    </a:moveTo>
                    <a:lnTo>
                      <a:pt x="35" y="7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50" y="7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7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57" y="43"/>
                    </a:lnTo>
                    <a:lnTo>
                      <a:pt x="57" y="43"/>
                    </a:lnTo>
                    <a:lnTo>
                      <a:pt x="57" y="50"/>
                    </a:lnTo>
                    <a:lnTo>
                      <a:pt x="57" y="50"/>
                    </a:lnTo>
                    <a:lnTo>
                      <a:pt x="64" y="57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50" y="57"/>
                    </a:lnTo>
                    <a:lnTo>
                      <a:pt x="50" y="57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35" y="64"/>
                    </a:lnTo>
                    <a:lnTo>
                      <a:pt x="35" y="64"/>
                    </a:lnTo>
                    <a:lnTo>
                      <a:pt x="35" y="64"/>
                    </a:lnTo>
                    <a:lnTo>
                      <a:pt x="35" y="57"/>
                    </a:lnTo>
                    <a:lnTo>
                      <a:pt x="28" y="57"/>
                    </a:lnTo>
                    <a:lnTo>
                      <a:pt x="28" y="57"/>
                    </a:lnTo>
                    <a:lnTo>
                      <a:pt x="28" y="57"/>
                    </a:lnTo>
                    <a:lnTo>
                      <a:pt x="28" y="57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7" y="57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1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8" y="7"/>
                    </a:lnTo>
                    <a:lnTo>
                      <a:pt x="28" y="7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35" y="7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0" name="Freeform 8"/>
              <p:cNvSpPr>
                <a:spLocks/>
              </p:cNvSpPr>
              <p:nvPr/>
            </p:nvSpPr>
            <p:spPr bwMode="auto">
              <a:xfrm>
                <a:off x="3109" y="1081"/>
                <a:ext cx="64" cy="64"/>
              </a:xfrm>
              <a:custGeom>
                <a:avLst/>
                <a:gdLst>
                  <a:gd name="T0" fmla="*/ 35 w 64"/>
                  <a:gd name="T1" fmla="*/ 7 h 64"/>
                  <a:gd name="T2" fmla="*/ 42 w 64"/>
                  <a:gd name="T3" fmla="*/ 7 h 64"/>
                  <a:gd name="T4" fmla="*/ 50 w 64"/>
                  <a:gd name="T5" fmla="*/ 14 h 64"/>
                  <a:gd name="T6" fmla="*/ 50 w 64"/>
                  <a:gd name="T7" fmla="*/ 14 h 64"/>
                  <a:gd name="T8" fmla="*/ 64 w 64"/>
                  <a:gd name="T9" fmla="*/ 28 h 64"/>
                  <a:gd name="T10" fmla="*/ 64 w 64"/>
                  <a:gd name="T11" fmla="*/ 28 h 64"/>
                  <a:gd name="T12" fmla="*/ 64 w 64"/>
                  <a:gd name="T13" fmla="*/ 36 h 64"/>
                  <a:gd name="T14" fmla="*/ 64 w 64"/>
                  <a:gd name="T15" fmla="*/ 43 h 64"/>
                  <a:gd name="T16" fmla="*/ 64 w 64"/>
                  <a:gd name="T17" fmla="*/ 43 h 64"/>
                  <a:gd name="T18" fmla="*/ 64 w 64"/>
                  <a:gd name="T19" fmla="*/ 43 h 64"/>
                  <a:gd name="T20" fmla="*/ 57 w 64"/>
                  <a:gd name="T21" fmla="*/ 43 h 64"/>
                  <a:gd name="T22" fmla="*/ 57 w 64"/>
                  <a:gd name="T23" fmla="*/ 50 h 64"/>
                  <a:gd name="T24" fmla="*/ 57 w 64"/>
                  <a:gd name="T25" fmla="*/ 57 h 64"/>
                  <a:gd name="T26" fmla="*/ 50 w 64"/>
                  <a:gd name="T27" fmla="*/ 57 h 64"/>
                  <a:gd name="T28" fmla="*/ 50 w 64"/>
                  <a:gd name="T29" fmla="*/ 64 h 64"/>
                  <a:gd name="T30" fmla="*/ 50 w 64"/>
                  <a:gd name="T31" fmla="*/ 64 h 64"/>
                  <a:gd name="T32" fmla="*/ 50 w 64"/>
                  <a:gd name="T33" fmla="*/ 64 h 64"/>
                  <a:gd name="T34" fmla="*/ 50 w 64"/>
                  <a:gd name="T35" fmla="*/ 64 h 64"/>
                  <a:gd name="T36" fmla="*/ 42 w 64"/>
                  <a:gd name="T37" fmla="*/ 64 h 64"/>
                  <a:gd name="T38" fmla="*/ 35 w 64"/>
                  <a:gd name="T39" fmla="*/ 64 h 64"/>
                  <a:gd name="T40" fmla="*/ 35 w 64"/>
                  <a:gd name="T41" fmla="*/ 64 h 64"/>
                  <a:gd name="T42" fmla="*/ 28 w 64"/>
                  <a:gd name="T43" fmla="*/ 57 h 64"/>
                  <a:gd name="T44" fmla="*/ 28 w 64"/>
                  <a:gd name="T45" fmla="*/ 57 h 64"/>
                  <a:gd name="T46" fmla="*/ 21 w 64"/>
                  <a:gd name="T47" fmla="*/ 50 h 64"/>
                  <a:gd name="T48" fmla="*/ 21 w 64"/>
                  <a:gd name="T49" fmla="*/ 50 h 64"/>
                  <a:gd name="T50" fmla="*/ 21 w 64"/>
                  <a:gd name="T51" fmla="*/ 50 h 64"/>
                  <a:gd name="T52" fmla="*/ 14 w 64"/>
                  <a:gd name="T53" fmla="*/ 50 h 64"/>
                  <a:gd name="T54" fmla="*/ 0 w 64"/>
                  <a:gd name="T55" fmla="*/ 57 h 64"/>
                  <a:gd name="T56" fmla="*/ 0 w 64"/>
                  <a:gd name="T57" fmla="*/ 50 h 64"/>
                  <a:gd name="T58" fmla="*/ 0 w 64"/>
                  <a:gd name="T59" fmla="*/ 50 h 64"/>
                  <a:gd name="T60" fmla="*/ 0 w 64"/>
                  <a:gd name="T61" fmla="*/ 50 h 64"/>
                  <a:gd name="T62" fmla="*/ 0 w 64"/>
                  <a:gd name="T63" fmla="*/ 50 h 64"/>
                  <a:gd name="T64" fmla="*/ 0 w 64"/>
                  <a:gd name="T65" fmla="*/ 43 h 64"/>
                  <a:gd name="T66" fmla="*/ 0 w 64"/>
                  <a:gd name="T67" fmla="*/ 43 h 64"/>
                  <a:gd name="T68" fmla="*/ 7 w 64"/>
                  <a:gd name="T69" fmla="*/ 36 h 64"/>
                  <a:gd name="T70" fmla="*/ 7 w 64"/>
                  <a:gd name="T71" fmla="*/ 36 h 64"/>
                  <a:gd name="T72" fmla="*/ 7 w 64"/>
                  <a:gd name="T73" fmla="*/ 36 h 64"/>
                  <a:gd name="T74" fmla="*/ 14 w 64"/>
                  <a:gd name="T75" fmla="*/ 28 h 64"/>
                  <a:gd name="T76" fmla="*/ 14 w 64"/>
                  <a:gd name="T77" fmla="*/ 28 h 64"/>
                  <a:gd name="T78" fmla="*/ 14 w 64"/>
                  <a:gd name="T79" fmla="*/ 21 h 64"/>
                  <a:gd name="T80" fmla="*/ 7 w 64"/>
                  <a:gd name="T81" fmla="*/ 14 h 64"/>
                  <a:gd name="T82" fmla="*/ 14 w 64"/>
                  <a:gd name="T83" fmla="*/ 14 h 64"/>
                  <a:gd name="T84" fmla="*/ 14 w 64"/>
                  <a:gd name="T85" fmla="*/ 7 h 64"/>
                  <a:gd name="T86" fmla="*/ 21 w 64"/>
                  <a:gd name="T87" fmla="*/ 7 h 64"/>
                  <a:gd name="T88" fmla="*/ 28 w 64"/>
                  <a:gd name="T89" fmla="*/ 7 h 64"/>
                  <a:gd name="T90" fmla="*/ 28 w 64"/>
                  <a:gd name="T91" fmla="*/ 0 h 64"/>
                  <a:gd name="T92" fmla="*/ 35 w 64"/>
                  <a:gd name="T93" fmla="*/ 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4" h="64">
                    <a:moveTo>
                      <a:pt x="35" y="7"/>
                    </a:moveTo>
                    <a:lnTo>
                      <a:pt x="35" y="7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50" y="7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7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57" y="43"/>
                    </a:lnTo>
                    <a:lnTo>
                      <a:pt x="57" y="43"/>
                    </a:lnTo>
                    <a:lnTo>
                      <a:pt x="57" y="50"/>
                    </a:lnTo>
                    <a:lnTo>
                      <a:pt x="57" y="50"/>
                    </a:lnTo>
                    <a:lnTo>
                      <a:pt x="64" y="57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50" y="57"/>
                    </a:lnTo>
                    <a:lnTo>
                      <a:pt x="50" y="57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35" y="64"/>
                    </a:lnTo>
                    <a:lnTo>
                      <a:pt x="35" y="64"/>
                    </a:lnTo>
                    <a:lnTo>
                      <a:pt x="35" y="64"/>
                    </a:lnTo>
                    <a:lnTo>
                      <a:pt x="35" y="57"/>
                    </a:lnTo>
                    <a:lnTo>
                      <a:pt x="28" y="57"/>
                    </a:lnTo>
                    <a:lnTo>
                      <a:pt x="28" y="57"/>
                    </a:lnTo>
                    <a:lnTo>
                      <a:pt x="28" y="57"/>
                    </a:lnTo>
                    <a:lnTo>
                      <a:pt x="28" y="57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7" y="57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1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8" y="7"/>
                    </a:lnTo>
                    <a:lnTo>
                      <a:pt x="28" y="7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35" y="7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2938" y="471"/>
                <a:ext cx="441" cy="397"/>
              </a:xfrm>
              <a:custGeom>
                <a:avLst/>
                <a:gdLst>
                  <a:gd name="T0" fmla="*/ 363 w 441"/>
                  <a:gd name="T1" fmla="*/ 113 h 397"/>
                  <a:gd name="T2" fmla="*/ 370 w 441"/>
                  <a:gd name="T3" fmla="*/ 142 h 397"/>
                  <a:gd name="T4" fmla="*/ 405 w 441"/>
                  <a:gd name="T5" fmla="*/ 177 h 397"/>
                  <a:gd name="T6" fmla="*/ 398 w 441"/>
                  <a:gd name="T7" fmla="*/ 205 h 397"/>
                  <a:gd name="T8" fmla="*/ 405 w 441"/>
                  <a:gd name="T9" fmla="*/ 220 h 397"/>
                  <a:gd name="T10" fmla="*/ 412 w 441"/>
                  <a:gd name="T11" fmla="*/ 255 h 397"/>
                  <a:gd name="T12" fmla="*/ 419 w 441"/>
                  <a:gd name="T13" fmla="*/ 269 h 397"/>
                  <a:gd name="T14" fmla="*/ 441 w 441"/>
                  <a:gd name="T15" fmla="*/ 291 h 397"/>
                  <a:gd name="T16" fmla="*/ 412 w 441"/>
                  <a:gd name="T17" fmla="*/ 284 h 397"/>
                  <a:gd name="T18" fmla="*/ 391 w 441"/>
                  <a:gd name="T19" fmla="*/ 276 h 397"/>
                  <a:gd name="T20" fmla="*/ 370 w 441"/>
                  <a:gd name="T21" fmla="*/ 276 h 397"/>
                  <a:gd name="T22" fmla="*/ 348 w 441"/>
                  <a:gd name="T23" fmla="*/ 269 h 397"/>
                  <a:gd name="T24" fmla="*/ 306 w 441"/>
                  <a:gd name="T25" fmla="*/ 291 h 397"/>
                  <a:gd name="T26" fmla="*/ 292 w 441"/>
                  <a:gd name="T27" fmla="*/ 312 h 397"/>
                  <a:gd name="T28" fmla="*/ 284 w 441"/>
                  <a:gd name="T29" fmla="*/ 319 h 397"/>
                  <a:gd name="T30" fmla="*/ 284 w 441"/>
                  <a:gd name="T31" fmla="*/ 333 h 397"/>
                  <a:gd name="T32" fmla="*/ 277 w 441"/>
                  <a:gd name="T33" fmla="*/ 355 h 397"/>
                  <a:gd name="T34" fmla="*/ 284 w 441"/>
                  <a:gd name="T35" fmla="*/ 369 h 397"/>
                  <a:gd name="T36" fmla="*/ 292 w 441"/>
                  <a:gd name="T37" fmla="*/ 383 h 397"/>
                  <a:gd name="T38" fmla="*/ 263 w 441"/>
                  <a:gd name="T39" fmla="*/ 390 h 397"/>
                  <a:gd name="T40" fmla="*/ 249 w 441"/>
                  <a:gd name="T41" fmla="*/ 397 h 397"/>
                  <a:gd name="T42" fmla="*/ 242 w 441"/>
                  <a:gd name="T43" fmla="*/ 390 h 397"/>
                  <a:gd name="T44" fmla="*/ 221 w 441"/>
                  <a:gd name="T45" fmla="*/ 390 h 397"/>
                  <a:gd name="T46" fmla="*/ 199 w 441"/>
                  <a:gd name="T47" fmla="*/ 376 h 397"/>
                  <a:gd name="T48" fmla="*/ 199 w 441"/>
                  <a:gd name="T49" fmla="*/ 355 h 397"/>
                  <a:gd name="T50" fmla="*/ 185 w 441"/>
                  <a:gd name="T51" fmla="*/ 340 h 397"/>
                  <a:gd name="T52" fmla="*/ 171 w 441"/>
                  <a:gd name="T53" fmla="*/ 326 h 397"/>
                  <a:gd name="T54" fmla="*/ 157 w 441"/>
                  <a:gd name="T55" fmla="*/ 326 h 397"/>
                  <a:gd name="T56" fmla="*/ 135 w 441"/>
                  <a:gd name="T57" fmla="*/ 312 h 397"/>
                  <a:gd name="T58" fmla="*/ 135 w 441"/>
                  <a:gd name="T59" fmla="*/ 298 h 397"/>
                  <a:gd name="T60" fmla="*/ 135 w 441"/>
                  <a:gd name="T61" fmla="*/ 284 h 397"/>
                  <a:gd name="T62" fmla="*/ 128 w 441"/>
                  <a:gd name="T63" fmla="*/ 276 h 397"/>
                  <a:gd name="T64" fmla="*/ 121 w 441"/>
                  <a:gd name="T65" fmla="*/ 276 h 397"/>
                  <a:gd name="T66" fmla="*/ 114 w 441"/>
                  <a:gd name="T67" fmla="*/ 269 h 397"/>
                  <a:gd name="T68" fmla="*/ 100 w 441"/>
                  <a:gd name="T69" fmla="*/ 255 h 397"/>
                  <a:gd name="T70" fmla="*/ 93 w 441"/>
                  <a:gd name="T71" fmla="*/ 262 h 397"/>
                  <a:gd name="T72" fmla="*/ 86 w 441"/>
                  <a:gd name="T73" fmla="*/ 269 h 397"/>
                  <a:gd name="T74" fmla="*/ 71 w 441"/>
                  <a:gd name="T75" fmla="*/ 255 h 397"/>
                  <a:gd name="T76" fmla="*/ 50 w 441"/>
                  <a:gd name="T77" fmla="*/ 198 h 397"/>
                  <a:gd name="T78" fmla="*/ 29 w 441"/>
                  <a:gd name="T79" fmla="*/ 170 h 397"/>
                  <a:gd name="T80" fmla="*/ 0 w 441"/>
                  <a:gd name="T81" fmla="*/ 163 h 397"/>
                  <a:gd name="T82" fmla="*/ 8 w 441"/>
                  <a:gd name="T83" fmla="*/ 149 h 397"/>
                  <a:gd name="T84" fmla="*/ 8 w 441"/>
                  <a:gd name="T85" fmla="*/ 142 h 397"/>
                  <a:gd name="T86" fmla="*/ 43 w 441"/>
                  <a:gd name="T87" fmla="*/ 113 h 397"/>
                  <a:gd name="T88" fmla="*/ 36 w 441"/>
                  <a:gd name="T89" fmla="*/ 99 h 397"/>
                  <a:gd name="T90" fmla="*/ 43 w 441"/>
                  <a:gd name="T91" fmla="*/ 78 h 397"/>
                  <a:gd name="T92" fmla="*/ 36 w 441"/>
                  <a:gd name="T93" fmla="*/ 56 h 397"/>
                  <a:gd name="T94" fmla="*/ 36 w 441"/>
                  <a:gd name="T95" fmla="*/ 42 h 397"/>
                  <a:gd name="T96" fmla="*/ 50 w 441"/>
                  <a:gd name="T97" fmla="*/ 49 h 397"/>
                  <a:gd name="T98" fmla="*/ 86 w 441"/>
                  <a:gd name="T99" fmla="*/ 28 h 397"/>
                  <a:gd name="T100" fmla="*/ 114 w 441"/>
                  <a:gd name="T101" fmla="*/ 7 h 397"/>
                  <a:gd name="T102" fmla="*/ 157 w 441"/>
                  <a:gd name="T103" fmla="*/ 21 h 397"/>
                  <a:gd name="T104" fmla="*/ 221 w 441"/>
                  <a:gd name="T105" fmla="*/ 49 h 397"/>
                  <a:gd name="T106" fmla="*/ 249 w 441"/>
                  <a:gd name="T107" fmla="*/ 42 h 397"/>
                  <a:gd name="T108" fmla="*/ 263 w 441"/>
                  <a:gd name="T109" fmla="*/ 35 h 397"/>
                  <a:gd name="T110" fmla="*/ 277 w 441"/>
                  <a:gd name="T111" fmla="*/ 42 h 397"/>
                  <a:gd name="T112" fmla="*/ 299 w 441"/>
                  <a:gd name="T113" fmla="*/ 78 h 397"/>
                  <a:gd name="T114" fmla="*/ 313 w 441"/>
                  <a:gd name="T115" fmla="*/ 85 h 397"/>
                  <a:gd name="T116" fmla="*/ 327 w 441"/>
                  <a:gd name="T117" fmla="*/ 78 h 397"/>
                  <a:gd name="T118" fmla="*/ 348 w 441"/>
                  <a:gd name="T119" fmla="*/ 71 h 397"/>
                  <a:gd name="T120" fmla="*/ 355 w 441"/>
                  <a:gd name="T121" fmla="*/ 71 h 397"/>
                  <a:gd name="T122" fmla="*/ 348 w 441"/>
                  <a:gd name="T123" fmla="*/ 85 h 397"/>
                  <a:gd name="T124" fmla="*/ 341 w 441"/>
                  <a:gd name="T125" fmla="*/ 106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41" h="397">
                    <a:moveTo>
                      <a:pt x="348" y="106"/>
                    </a:moveTo>
                    <a:lnTo>
                      <a:pt x="348" y="106"/>
                    </a:lnTo>
                    <a:lnTo>
                      <a:pt x="355" y="99"/>
                    </a:lnTo>
                    <a:lnTo>
                      <a:pt x="355" y="99"/>
                    </a:lnTo>
                    <a:lnTo>
                      <a:pt x="355" y="99"/>
                    </a:lnTo>
                    <a:lnTo>
                      <a:pt x="355" y="106"/>
                    </a:lnTo>
                    <a:lnTo>
                      <a:pt x="363" y="113"/>
                    </a:lnTo>
                    <a:lnTo>
                      <a:pt x="363" y="113"/>
                    </a:lnTo>
                    <a:lnTo>
                      <a:pt x="363" y="113"/>
                    </a:lnTo>
                    <a:lnTo>
                      <a:pt x="363" y="113"/>
                    </a:lnTo>
                    <a:lnTo>
                      <a:pt x="363" y="120"/>
                    </a:lnTo>
                    <a:lnTo>
                      <a:pt x="363" y="120"/>
                    </a:lnTo>
                    <a:lnTo>
                      <a:pt x="363" y="120"/>
                    </a:lnTo>
                    <a:lnTo>
                      <a:pt x="363" y="120"/>
                    </a:lnTo>
                    <a:lnTo>
                      <a:pt x="370" y="134"/>
                    </a:lnTo>
                    <a:lnTo>
                      <a:pt x="370" y="134"/>
                    </a:lnTo>
                    <a:lnTo>
                      <a:pt x="363" y="142"/>
                    </a:lnTo>
                    <a:lnTo>
                      <a:pt x="370" y="142"/>
                    </a:lnTo>
                    <a:lnTo>
                      <a:pt x="370" y="142"/>
                    </a:lnTo>
                    <a:lnTo>
                      <a:pt x="377" y="142"/>
                    </a:lnTo>
                    <a:lnTo>
                      <a:pt x="377" y="149"/>
                    </a:lnTo>
                    <a:lnTo>
                      <a:pt x="377" y="149"/>
                    </a:lnTo>
                    <a:lnTo>
                      <a:pt x="391" y="170"/>
                    </a:lnTo>
                    <a:lnTo>
                      <a:pt x="398" y="170"/>
                    </a:lnTo>
                    <a:lnTo>
                      <a:pt x="398" y="170"/>
                    </a:lnTo>
                    <a:lnTo>
                      <a:pt x="405" y="177"/>
                    </a:lnTo>
                    <a:lnTo>
                      <a:pt x="405" y="177"/>
                    </a:lnTo>
                    <a:lnTo>
                      <a:pt x="405" y="177"/>
                    </a:lnTo>
                    <a:lnTo>
                      <a:pt x="398" y="184"/>
                    </a:lnTo>
                    <a:lnTo>
                      <a:pt x="398" y="191"/>
                    </a:lnTo>
                    <a:lnTo>
                      <a:pt x="398" y="191"/>
                    </a:lnTo>
                    <a:lnTo>
                      <a:pt x="398" y="198"/>
                    </a:lnTo>
                    <a:lnTo>
                      <a:pt x="398" y="198"/>
                    </a:lnTo>
                    <a:lnTo>
                      <a:pt x="398" y="205"/>
                    </a:lnTo>
                    <a:lnTo>
                      <a:pt x="398" y="205"/>
                    </a:lnTo>
                    <a:lnTo>
                      <a:pt x="398" y="205"/>
                    </a:lnTo>
                    <a:lnTo>
                      <a:pt x="398" y="213"/>
                    </a:lnTo>
                    <a:lnTo>
                      <a:pt x="398" y="213"/>
                    </a:lnTo>
                    <a:lnTo>
                      <a:pt x="398" y="213"/>
                    </a:lnTo>
                    <a:lnTo>
                      <a:pt x="398" y="213"/>
                    </a:lnTo>
                    <a:lnTo>
                      <a:pt x="405" y="220"/>
                    </a:lnTo>
                    <a:lnTo>
                      <a:pt x="405" y="220"/>
                    </a:lnTo>
                    <a:lnTo>
                      <a:pt x="405" y="220"/>
                    </a:lnTo>
                    <a:lnTo>
                      <a:pt x="405" y="220"/>
                    </a:lnTo>
                    <a:lnTo>
                      <a:pt x="405" y="220"/>
                    </a:lnTo>
                    <a:lnTo>
                      <a:pt x="412" y="220"/>
                    </a:lnTo>
                    <a:lnTo>
                      <a:pt x="412" y="227"/>
                    </a:lnTo>
                    <a:lnTo>
                      <a:pt x="412" y="227"/>
                    </a:lnTo>
                    <a:lnTo>
                      <a:pt x="412" y="227"/>
                    </a:lnTo>
                    <a:lnTo>
                      <a:pt x="398" y="241"/>
                    </a:lnTo>
                    <a:lnTo>
                      <a:pt x="398" y="241"/>
                    </a:lnTo>
                    <a:lnTo>
                      <a:pt x="405" y="248"/>
                    </a:lnTo>
                    <a:lnTo>
                      <a:pt x="412" y="248"/>
                    </a:lnTo>
                    <a:lnTo>
                      <a:pt x="412" y="255"/>
                    </a:lnTo>
                    <a:lnTo>
                      <a:pt x="405" y="262"/>
                    </a:lnTo>
                    <a:lnTo>
                      <a:pt x="405" y="262"/>
                    </a:lnTo>
                    <a:lnTo>
                      <a:pt x="405" y="269"/>
                    </a:lnTo>
                    <a:lnTo>
                      <a:pt x="405" y="269"/>
                    </a:lnTo>
                    <a:lnTo>
                      <a:pt x="405" y="269"/>
                    </a:lnTo>
                    <a:lnTo>
                      <a:pt x="412" y="269"/>
                    </a:lnTo>
                    <a:lnTo>
                      <a:pt x="412" y="269"/>
                    </a:lnTo>
                    <a:lnTo>
                      <a:pt x="419" y="269"/>
                    </a:lnTo>
                    <a:lnTo>
                      <a:pt x="419" y="269"/>
                    </a:lnTo>
                    <a:lnTo>
                      <a:pt x="419" y="269"/>
                    </a:lnTo>
                    <a:lnTo>
                      <a:pt x="426" y="269"/>
                    </a:lnTo>
                    <a:lnTo>
                      <a:pt x="426" y="269"/>
                    </a:lnTo>
                    <a:lnTo>
                      <a:pt x="426" y="269"/>
                    </a:lnTo>
                    <a:lnTo>
                      <a:pt x="426" y="276"/>
                    </a:lnTo>
                    <a:lnTo>
                      <a:pt x="433" y="276"/>
                    </a:lnTo>
                    <a:lnTo>
                      <a:pt x="433" y="284"/>
                    </a:lnTo>
                    <a:lnTo>
                      <a:pt x="441" y="291"/>
                    </a:lnTo>
                    <a:lnTo>
                      <a:pt x="441" y="291"/>
                    </a:lnTo>
                    <a:lnTo>
                      <a:pt x="441" y="291"/>
                    </a:lnTo>
                    <a:lnTo>
                      <a:pt x="433" y="291"/>
                    </a:lnTo>
                    <a:lnTo>
                      <a:pt x="433" y="298"/>
                    </a:lnTo>
                    <a:lnTo>
                      <a:pt x="426" y="298"/>
                    </a:lnTo>
                    <a:lnTo>
                      <a:pt x="419" y="291"/>
                    </a:lnTo>
                    <a:lnTo>
                      <a:pt x="419" y="291"/>
                    </a:lnTo>
                    <a:lnTo>
                      <a:pt x="419" y="291"/>
                    </a:lnTo>
                    <a:lnTo>
                      <a:pt x="412" y="284"/>
                    </a:lnTo>
                    <a:lnTo>
                      <a:pt x="412" y="284"/>
                    </a:lnTo>
                    <a:lnTo>
                      <a:pt x="412" y="284"/>
                    </a:lnTo>
                    <a:lnTo>
                      <a:pt x="412" y="284"/>
                    </a:lnTo>
                    <a:lnTo>
                      <a:pt x="405" y="284"/>
                    </a:lnTo>
                    <a:lnTo>
                      <a:pt x="398" y="284"/>
                    </a:lnTo>
                    <a:lnTo>
                      <a:pt x="398" y="284"/>
                    </a:lnTo>
                    <a:lnTo>
                      <a:pt x="398" y="284"/>
                    </a:lnTo>
                    <a:lnTo>
                      <a:pt x="391" y="284"/>
                    </a:lnTo>
                    <a:lnTo>
                      <a:pt x="391" y="276"/>
                    </a:lnTo>
                    <a:lnTo>
                      <a:pt x="391" y="276"/>
                    </a:lnTo>
                    <a:lnTo>
                      <a:pt x="384" y="276"/>
                    </a:lnTo>
                    <a:lnTo>
                      <a:pt x="384" y="284"/>
                    </a:lnTo>
                    <a:lnTo>
                      <a:pt x="377" y="284"/>
                    </a:lnTo>
                    <a:lnTo>
                      <a:pt x="377" y="284"/>
                    </a:lnTo>
                    <a:lnTo>
                      <a:pt x="377" y="284"/>
                    </a:lnTo>
                    <a:lnTo>
                      <a:pt x="370" y="276"/>
                    </a:lnTo>
                    <a:lnTo>
                      <a:pt x="370" y="276"/>
                    </a:lnTo>
                    <a:lnTo>
                      <a:pt x="370" y="276"/>
                    </a:lnTo>
                    <a:lnTo>
                      <a:pt x="370" y="276"/>
                    </a:lnTo>
                    <a:lnTo>
                      <a:pt x="363" y="276"/>
                    </a:lnTo>
                    <a:lnTo>
                      <a:pt x="363" y="276"/>
                    </a:lnTo>
                    <a:lnTo>
                      <a:pt x="363" y="276"/>
                    </a:lnTo>
                    <a:lnTo>
                      <a:pt x="363" y="269"/>
                    </a:lnTo>
                    <a:lnTo>
                      <a:pt x="363" y="269"/>
                    </a:lnTo>
                    <a:lnTo>
                      <a:pt x="363" y="269"/>
                    </a:lnTo>
                    <a:lnTo>
                      <a:pt x="355" y="269"/>
                    </a:lnTo>
                    <a:lnTo>
                      <a:pt x="355" y="269"/>
                    </a:lnTo>
                    <a:lnTo>
                      <a:pt x="348" y="269"/>
                    </a:lnTo>
                    <a:lnTo>
                      <a:pt x="348" y="269"/>
                    </a:lnTo>
                    <a:lnTo>
                      <a:pt x="341" y="276"/>
                    </a:lnTo>
                    <a:lnTo>
                      <a:pt x="334" y="276"/>
                    </a:lnTo>
                    <a:lnTo>
                      <a:pt x="327" y="284"/>
                    </a:lnTo>
                    <a:lnTo>
                      <a:pt x="320" y="284"/>
                    </a:lnTo>
                    <a:lnTo>
                      <a:pt x="320" y="291"/>
                    </a:lnTo>
                    <a:lnTo>
                      <a:pt x="313" y="291"/>
                    </a:lnTo>
                    <a:lnTo>
                      <a:pt x="313" y="291"/>
                    </a:lnTo>
                    <a:lnTo>
                      <a:pt x="306" y="291"/>
                    </a:lnTo>
                    <a:lnTo>
                      <a:pt x="306" y="291"/>
                    </a:lnTo>
                    <a:lnTo>
                      <a:pt x="306" y="291"/>
                    </a:lnTo>
                    <a:lnTo>
                      <a:pt x="306" y="291"/>
                    </a:lnTo>
                    <a:lnTo>
                      <a:pt x="299" y="291"/>
                    </a:lnTo>
                    <a:lnTo>
                      <a:pt x="299" y="298"/>
                    </a:lnTo>
                    <a:lnTo>
                      <a:pt x="284" y="305"/>
                    </a:lnTo>
                    <a:lnTo>
                      <a:pt x="284" y="305"/>
                    </a:lnTo>
                    <a:lnTo>
                      <a:pt x="284" y="305"/>
                    </a:lnTo>
                    <a:lnTo>
                      <a:pt x="292" y="312"/>
                    </a:lnTo>
                    <a:lnTo>
                      <a:pt x="292" y="312"/>
                    </a:lnTo>
                    <a:lnTo>
                      <a:pt x="284" y="312"/>
                    </a:lnTo>
                    <a:lnTo>
                      <a:pt x="284" y="312"/>
                    </a:lnTo>
                    <a:lnTo>
                      <a:pt x="284" y="319"/>
                    </a:lnTo>
                    <a:lnTo>
                      <a:pt x="284" y="319"/>
                    </a:lnTo>
                    <a:lnTo>
                      <a:pt x="284" y="312"/>
                    </a:lnTo>
                    <a:lnTo>
                      <a:pt x="284" y="312"/>
                    </a:lnTo>
                    <a:lnTo>
                      <a:pt x="284" y="319"/>
                    </a:lnTo>
                    <a:lnTo>
                      <a:pt x="284" y="319"/>
                    </a:lnTo>
                    <a:lnTo>
                      <a:pt x="284" y="319"/>
                    </a:lnTo>
                    <a:lnTo>
                      <a:pt x="284" y="319"/>
                    </a:lnTo>
                    <a:lnTo>
                      <a:pt x="284" y="319"/>
                    </a:lnTo>
                    <a:lnTo>
                      <a:pt x="284" y="319"/>
                    </a:lnTo>
                    <a:lnTo>
                      <a:pt x="284" y="326"/>
                    </a:lnTo>
                    <a:lnTo>
                      <a:pt x="284" y="326"/>
                    </a:lnTo>
                    <a:lnTo>
                      <a:pt x="284" y="333"/>
                    </a:lnTo>
                    <a:lnTo>
                      <a:pt x="284" y="333"/>
                    </a:lnTo>
                    <a:lnTo>
                      <a:pt x="284" y="333"/>
                    </a:lnTo>
                    <a:lnTo>
                      <a:pt x="284" y="326"/>
                    </a:lnTo>
                    <a:lnTo>
                      <a:pt x="284" y="326"/>
                    </a:lnTo>
                    <a:lnTo>
                      <a:pt x="277" y="333"/>
                    </a:lnTo>
                    <a:lnTo>
                      <a:pt x="277" y="333"/>
                    </a:lnTo>
                    <a:lnTo>
                      <a:pt x="277" y="340"/>
                    </a:lnTo>
                    <a:lnTo>
                      <a:pt x="277" y="347"/>
                    </a:lnTo>
                    <a:lnTo>
                      <a:pt x="277" y="347"/>
                    </a:lnTo>
                    <a:lnTo>
                      <a:pt x="277" y="347"/>
                    </a:lnTo>
                    <a:lnTo>
                      <a:pt x="277" y="355"/>
                    </a:lnTo>
                    <a:lnTo>
                      <a:pt x="277" y="355"/>
                    </a:lnTo>
                    <a:lnTo>
                      <a:pt x="284" y="355"/>
                    </a:lnTo>
                    <a:lnTo>
                      <a:pt x="284" y="362"/>
                    </a:lnTo>
                    <a:lnTo>
                      <a:pt x="284" y="362"/>
                    </a:lnTo>
                    <a:lnTo>
                      <a:pt x="284" y="362"/>
                    </a:lnTo>
                    <a:lnTo>
                      <a:pt x="284" y="369"/>
                    </a:lnTo>
                    <a:lnTo>
                      <a:pt x="284" y="369"/>
                    </a:lnTo>
                    <a:lnTo>
                      <a:pt x="284" y="369"/>
                    </a:lnTo>
                    <a:lnTo>
                      <a:pt x="284" y="369"/>
                    </a:lnTo>
                    <a:lnTo>
                      <a:pt x="284" y="376"/>
                    </a:lnTo>
                    <a:lnTo>
                      <a:pt x="284" y="376"/>
                    </a:lnTo>
                    <a:lnTo>
                      <a:pt x="284" y="376"/>
                    </a:lnTo>
                    <a:lnTo>
                      <a:pt x="292" y="376"/>
                    </a:lnTo>
                    <a:lnTo>
                      <a:pt x="292" y="376"/>
                    </a:lnTo>
                    <a:lnTo>
                      <a:pt x="292" y="376"/>
                    </a:lnTo>
                    <a:lnTo>
                      <a:pt x="292" y="376"/>
                    </a:lnTo>
                    <a:lnTo>
                      <a:pt x="292" y="376"/>
                    </a:lnTo>
                    <a:lnTo>
                      <a:pt x="292" y="383"/>
                    </a:lnTo>
                    <a:lnTo>
                      <a:pt x="292" y="383"/>
                    </a:lnTo>
                    <a:lnTo>
                      <a:pt x="292" y="383"/>
                    </a:lnTo>
                    <a:lnTo>
                      <a:pt x="284" y="383"/>
                    </a:lnTo>
                    <a:lnTo>
                      <a:pt x="277" y="390"/>
                    </a:lnTo>
                    <a:lnTo>
                      <a:pt x="270" y="390"/>
                    </a:lnTo>
                    <a:lnTo>
                      <a:pt x="270" y="390"/>
                    </a:lnTo>
                    <a:lnTo>
                      <a:pt x="263" y="390"/>
                    </a:lnTo>
                    <a:lnTo>
                      <a:pt x="263" y="390"/>
                    </a:lnTo>
                    <a:lnTo>
                      <a:pt x="263" y="390"/>
                    </a:lnTo>
                    <a:lnTo>
                      <a:pt x="256" y="397"/>
                    </a:lnTo>
                    <a:lnTo>
                      <a:pt x="256" y="397"/>
                    </a:lnTo>
                    <a:lnTo>
                      <a:pt x="263" y="397"/>
                    </a:lnTo>
                    <a:lnTo>
                      <a:pt x="263" y="397"/>
                    </a:lnTo>
                    <a:lnTo>
                      <a:pt x="263" y="397"/>
                    </a:lnTo>
                    <a:lnTo>
                      <a:pt x="256" y="397"/>
                    </a:lnTo>
                    <a:lnTo>
                      <a:pt x="249" y="397"/>
                    </a:lnTo>
                    <a:lnTo>
                      <a:pt x="249" y="397"/>
                    </a:lnTo>
                    <a:lnTo>
                      <a:pt x="249" y="397"/>
                    </a:lnTo>
                    <a:lnTo>
                      <a:pt x="249" y="397"/>
                    </a:lnTo>
                    <a:lnTo>
                      <a:pt x="249" y="397"/>
                    </a:lnTo>
                    <a:lnTo>
                      <a:pt x="242" y="397"/>
                    </a:lnTo>
                    <a:lnTo>
                      <a:pt x="242" y="397"/>
                    </a:lnTo>
                    <a:lnTo>
                      <a:pt x="242" y="397"/>
                    </a:lnTo>
                    <a:lnTo>
                      <a:pt x="242" y="390"/>
                    </a:lnTo>
                    <a:lnTo>
                      <a:pt x="242" y="390"/>
                    </a:lnTo>
                    <a:lnTo>
                      <a:pt x="242" y="390"/>
                    </a:lnTo>
                    <a:lnTo>
                      <a:pt x="242" y="390"/>
                    </a:lnTo>
                    <a:lnTo>
                      <a:pt x="242" y="390"/>
                    </a:lnTo>
                    <a:lnTo>
                      <a:pt x="235" y="390"/>
                    </a:lnTo>
                    <a:lnTo>
                      <a:pt x="235" y="390"/>
                    </a:lnTo>
                    <a:lnTo>
                      <a:pt x="235" y="390"/>
                    </a:lnTo>
                    <a:lnTo>
                      <a:pt x="235" y="390"/>
                    </a:lnTo>
                    <a:lnTo>
                      <a:pt x="235" y="390"/>
                    </a:lnTo>
                    <a:lnTo>
                      <a:pt x="228" y="390"/>
                    </a:lnTo>
                    <a:lnTo>
                      <a:pt x="228" y="390"/>
                    </a:lnTo>
                    <a:lnTo>
                      <a:pt x="221" y="390"/>
                    </a:lnTo>
                    <a:lnTo>
                      <a:pt x="221" y="390"/>
                    </a:lnTo>
                    <a:lnTo>
                      <a:pt x="213" y="383"/>
                    </a:lnTo>
                    <a:lnTo>
                      <a:pt x="213" y="390"/>
                    </a:lnTo>
                    <a:lnTo>
                      <a:pt x="213" y="390"/>
                    </a:lnTo>
                    <a:lnTo>
                      <a:pt x="213" y="383"/>
                    </a:lnTo>
                    <a:lnTo>
                      <a:pt x="213" y="383"/>
                    </a:lnTo>
                    <a:lnTo>
                      <a:pt x="213" y="383"/>
                    </a:lnTo>
                    <a:lnTo>
                      <a:pt x="206" y="376"/>
                    </a:lnTo>
                    <a:lnTo>
                      <a:pt x="199" y="376"/>
                    </a:lnTo>
                    <a:lnTo>
                      <a:pt x="199" y="376"/>
                    </a:lnTo>
                    <a:lnTo>
                      <a:pt x="206" y="369"/>
                    </a:lnTo>
                    <a:lnTo>
                      <a:pt x="206" y="369"/>
                    </a:lnTo>
                    <a:lnTo>
                      <a:pt x="206" y="369"/>
                    </a:lnTo>
                    <a:lnTo>
                      <a:pt x="206" y="362"/>
                    </a:lnTo>
                    <a:lnTo>
                      <a:pt x="206" y="362"/>
                    </a:lnTo>
                    <a:lnTo>
                      <a:pt x="206" y="362"/>
                    </a:lnTo>
                    <a:lnTo>
                      <a:pt x="206" y="355"/>
                    </a:lnTo>
                    <a:lnTo>
                      <a:pt x="199" y="355"/>
                    </a:lnTo>
                    <a:lnTo>
                      <a:pt x="199" y="355"/>
                    </a:lnTo>
                    <a:lnTo>
                      <a:pt x="199" y="347"/>
                    </a:lnTo>
                    <a:lnTo>
                      <a:pt x="192" y="347"/>
                    </a:lnTo>
                    <a:lnTo>
                      <a:pt x="185" y="347"/>
                    </a:lnTo>
                    <a:lnTo>
                      <a:pt x="185" y="347"/>
                    </a:lnTo>
                    <a:lnTo>
                      <a:pt x="185" y="340"/>
                    </a:lnTo>
                    <a:lnTo>
                      <a:pt x="185" y="340"/>
                    </a:lnTo>
                    <a:lnTo>
                      <a:pt x="185" y="340"/>
                    </a:lnTo>
                    <a:lnTo>
                      <a:pt x="185" y="340"/>
                    </a:lnTo>
                    <a:lnTo>
                      <a:pt x="185" y="340"/>
                    </a:lnTo>
                    <a:lnTo>
                      <a:pt x="178" y="340"/>
                    </a:lnTo>
                    <a:lnTo>
                      <a:pt x="178" y="340"/>
                    </a:lnTo>
                    <a:lnTo>
                      <a:pt x="178" y="340"/>
                    </a:lnTo>
                    <a:lnTo>
                      <a:pt x="178" y="333"/>
                    </a:lnTo>
                    <a:lnTo>
                      <a:pt x="178" y="333"/>
                    </a:lnTo>
                    <a:lnTo>
                      <a:pt x="178" y="333"/>
                    </a:lnTo>
                    <a:lnTo>
                      <a:pt x="178" y="333"/>
                    </a:lnTo>
                    <a:lnTo>
                      <a:pt x="171" y="326"/>
                    </a:lnTo>
                    <a:lnTo>
                      <a:pt x="171" y="326"/>
                    </a:lnTo>
                    <a:lnTo>
                      <a:pt x="171" y="326"/>
                    </a:lnTo>
                    <a:lnTo>
                      <a:pt x="164" y="326"/>
                    </a:lnTo>
                    <a:lnTo>
                      <a:pt x="164" y="326"/>
                    </a:lnTo>
                    <a:lnTo>
                      <a:pt x="164" y="326"/>
                    </a:lnTo>
                    <a:lnTo>
                      <a:pt x="164" y="326"/>
                    </a:lnTo>
                    <a:lnTo>
                      <a:pt x="164" y="326"/>
                    </a:lnTo>
                    <a:lnTo>
                      <a:pt x="164" y="326"/>
                    </a:lnTo>
                    <a:lnTo>
                      <a:pt x="157" y="326"/>
                    </a:lnTo>
                    <a:lnTo>
                      <a:pt x="157" y="326"/>
                    </a:lnTo>
                    <a:lnTo>
                      <a:pt x="157" y="326"/>
                    </a:lnTo>
                    <a:lnTo>
                      <a:pt x="157" y="326"/>
                    </a:lnTo>
                    <a:lnTo>
                      <a:pt x="157" y="326"/>
                    </a:lnTo>
                    <a:lnTo>
                      <a:pt x="157" y="326"/>
                    </a:lnTo>
                    <a:lnTo>
                      <a:pt x="150" y="319"/>
                    </a:lnTo>
                    <a:lnTo>
                      <a:pt x="142" y="319"/>
                    </a:lnTo>
                    <a:lnTo>
                      <a:pt x="135" y="312"/>
                    </a:lnTo>
                    <a:lnTo>
                      <a:pt x="135" y="312"/>
                    </a:lnTo>
                    <a:lnTo>
                      <a:pt x="135" y="312"/>
                    </a:lnTo>
                    <a:lnTo>
                      <a:pt x="135" y="305"/>
                    </a:lnTo>
                    <a:lnTo>
                      <a:pt x="135" y="305"/>
                    </a:lnTo>
                    <a:lnTo>
                      <a:pt x="135" y="305"/>
                    </a:lnTo>
                    <a:lnTo>
                      <a:pt x="135" y="305"/>
                    </a:lnTo>
                    <a:lnTo>
                      <a:pt x="135" y="305"/>
                    </a:lnTo>
                    <a:lnTo>
                      <a:pt x="135" y="298"/>
                    </a:lnTo>
                    <a:lnTo>
                      <a:pt x="135" y="298"/>
                    </a:lnTo>
                    <a:lnTo>
                      <a:pt x="135" y="298"/>
                    </a:lnTo>
                    <a:lnTo>
                      <a:pt x="135" y="298"/>
                    </a:lnTo>
                    <a:lnTo>
                      <a:pt x="135" y="298"/>
                    </a:lnTo>
                    <a:lnTo>
                      <a:pt x="135" y="291"/>
                    </a:lnTo>
                    <a:lnTo>
                      <a:pt x="135" y="291"/>
                    </a:lnTo>
                    <a:lnTo>
                      <a:pt x="135" y="284"/>
                    </a:lnTo>
                    <a:lnTo>
                      <a:pt x="135" y="284"/>
                    </a:lnTo>
                    <a:lnTo>
                      <a:pt x="135" y="284"/>
                    </a:lnTo>
                    <a:lnTo>
                      <a:pt x="135" y="284"/>
                    </a:lnTo>
                    <a:lnTo>
                      <a:pt x="135" y="284"/>
                    </a:lnTo>
                    <a:lnTo>
                      <a:pt x="128" y="284"/>
                    </a:lnTo>
                    <a:lnTo>
                      <a:pt x="128" y="284"/>
                    </a:lnTo>
                    <a:lnTo>
                      <a:pt x="128" y="284"/>
                    </a:lnTo>
                    <a:lnTo>
                      <a:pt x="128" y="276"/>
                    </a:lnTo>
                    <a:lnTo>
                      <a:pt x="128" y="276"/>
                    </a:lnTo>
                    <a:lnTo>
                      <a:pt x="128" y="276"/>
                    </a:lnTo>
                    <a:lnTo>
                      <a:pt x="128" y="276"/>
                    </a:lnTo>
                    <a:lnTo>
                      <a:pt x="128" y="276"/>
                    </a:lnTo>
                    <a:lnTo>
                      <a:pt x="128" y="276"/>
                    </a:lnTo>
                    <a:lnTo>
                      <a:pt x="128" y="276"/>
                    </a:lnTo>
                    <a:lnTo>
                      <a:pt x="128" y="276"/>
                    </a:lnTo>
                    <a:lnTo>
                      <a:pt x="128" y="276"/>
                    </a:lnTo>
                    <a:lnTo>
                      <a:pt x="128" y="276"/>
                    </a:lnTo>
                    <a:lnTo>
                      <a:pt x="121" y="276"/>
                    </a:lnTo>
                    <a:lnTo>
                      <a:pt x="121" y="276"/>
                    </a:lnTo>
                    <a:lnTo>
                      <a:pt x="121" y="276"/>
                    </a:lnTo>
                    <a:lnTo>
                      <a:pt x="121" y="276"/>
                    </a:lnTo>
                    <a:lnTo>
                      <a:pt x="121" y="276"/>
                    </a:lnTo>
                    <a:lnTo>
                      <a:pt x="121" y="276"/>
                    </a:lnTo>
                    <a:lnTo>
                      <a:pt x="121" y="276"/>
                    </a:lnTo>
                    <a:lnTo>
                      <a:pt x="121" y="276"/>
                    </a:lnTo>
                    <a:lnTo>
                      <a:pt x="121" y="276"/>
                    </a:lnTo>
                    <a:lnTo>
                      <a:pt x="121" y="276"/>
                    </a:lnTo>
                    <a:lnTo>
                      <a:pt x="121" y="276"/>
                    </a:lnTo>
                    <a:lnTo>
                      <a:pt x="121" y="276"/>
                    </a:lnTo>
                    <a:lnTo>
                      <a:pt x="114" y="276"/>
                    </a:lnTo>
                    <a:lnTo>
                      <a:pt x="114" y="269"/>
                    </a:lnTo>
                    <a:lnTo>
                      <a:pt x="114" y="269"/>
                    </a:lnTo>
                    <a:lnTo>
                      <a:pt x="114" y="269"/>
                    </a:lnTo>
                    <a:lnTo>
                      <a:pt x="114" y="269"/>
                    </a:lnTo>
                    <a:lnTo>
                      <a:pt x="114" y="269"/>
                    </a:lnTo>
                    <a:lnTo>
                      <a:pt x="114" y="269"/>
                    </a:lnTo>
                    <a:lnTo>
                      <a:pt x="114" y="269"/>
                    </a:lnTo>
                    <a:lnTo>
                      <a:pt x="114" y="269"/>
                    </a:lnTo>
                    <a:lnTo>
                      <a:pt x="107" y="262"/>
                    </a:lnTo>
                    <a:lnTo>
                      <a:pt x="100" y="255"/>
                    </a:lnTo>
                    <a:lnTo>
                      <a:pt x="100" y="255"/>
                    </a:lnTo>
                    <a:lnTo>
                      <a:pt x="100" y="255"/>
                    </a:lnTo>
                    <a:lnTo>
                      <a:pt x="100" y="255"/>
                    </a:lnTo>
                    <a:lnTo>
                      <a:pt x="100" y="255"/>
                    </a:lnTo>
                    <a:lnTo>
                      <a:pt x="100" y="255"/>
                    </a:lnTo>
                    <a:lnTo>
                      <a:pt x="93" y="255"/>
                    </a:lnTo>
                    <a:lnTo>
                      <a:pt x="93" y="255"/>
                    </a:lnTo>
                    <a:lnTo>
                      <a:pt x="93" y="262"/>
                    </a:lnTo>
                    <a:lnTo>
                      <a:pt x="93" y="262"/>
                    </a:lnTo>
                    <a:lnTo>
                      <a:pt x="93" y="262"/>
                    </a:lnTo>
                    <a:lnTo>
                      <a:pt x="93" y="262"/>
                    </a:lnTo>
                    <a:lnTo>
                      <a:pt x="93" y="262"/>
                    </a:lnTo>
                    <a:lnTo>
                      <a:pt x="93" y="269"/>
                    </a:lnTo>
                    <a:lnTo>
                      <a:pt x="93" y="269"/>
                    </a:lnTo>
                    <a:lnTo>
                      <a:pt x="93" y="269"/>
                    </a:lnTo>
                    <a:lnTo>
                      <a:pt x="93" y="269"/>
                    </a:lnTo>
                    <a:lnTo>
                      <a:pt x="93" y="269"/>
                    </a:lnTo>
                    <a:lnTo>
                      <a:pt x="86" y="269"/>
                    </a:lnTo>
                    <a:lnTo>
                      <a:pt x="86" y="269"/>
                    </a:lnTo>
                    <a:lnTo>
                      <a:pt x="86" y="269"/>
                    </a:lnTo>
                    <a:lnTo>
                      <a:pt x="86" y="269"/>
                    </a:lnTo>
                    <a:lnTo>
                      <a:pt x="79" y="269"/>
                    </a:lnTo>
                    <a:lnTo>
                      <a:pt x="79" y="269"/>
                    </a:lnTo>
                    <a:lnTo>
                      <a:pt x="79" y="269"/>
                    </a:lnTo>
                    <a:lnTo>
                      <a:pt x="71" y="262"/>
                    </a:lnTo>
                    <a:lnTo>
                      <a:pt x="71" y="262"/>
                    </a:lnTo>
                    <a:lnTo>
                      <a:pt x="71" y="255"/>
                    </a:lnTo>
                    <a:lnTo>
                      <a:pt x="64" y="234"/>
                    </a:lnTo>
                    <a:lnTo>
                      <a:pt x="50" y="205"/>
                    </a:lnTo>
                    <a:lnTo>
                      <a:pt x="43" y="198"/>
                    </a:lnTo>
                    <a:lnTo>
                      <a:pt x="43" y="198"/>
                    </a:lnTo>
                    <a:lnTo>
                      <a:pt x="43" y="198"/>
                    </a:lnTo>
                    <a:lnTo>
                      <a:pt x="43" y="198"/>
                    </a:lnTo>
                    <a:lnTo>
                      <a:pt x="43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43" y="184"/>
                    </a:lnTo>
                    <a:lnTo>
                      <a:pt x="43" y="177"/>
                    </a:lnTo>
                    <a:lnTo>
                      <a:pt x="36" y="177"/>
                    </a:lnTo>
                    <a:lnTo>
                      <a:pt x="36" y="177"/>
                    </a:lnTo>
                    <a:lnTo>
                      <a:pt x="29" y="170"/>
                    </a:lnTo>
                    <a:lnTo>
                      <a:pt x="22" y="170"/>
                    </a:lnTo>
                    <a:lnTo>
                      <a:pt x="15" y="170"/>
                    </a:lnTo>
                    <a:lnTo>
                      <a:pt x="15" y="163"/>
                    </a:lnTo>
                    <a:lnTo>
                      <a:pt x="15" y="170"/>
                    </a:lnTo>
                    <a:lnTo>
                      <a:pt x="8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8" y="156"/>
                    </a:lnTo>
                    <a:lnTo>
                      <a:pt x="8" y="149"/>
                    </a:lnTo>
                    <a:lnTo>
                      <a:pt x="8" y="149"/>
                    </a:lnTo>
                    <a:lnTo>
                      <a:pt x="8" y="149"/>
                    </a:lnTo>
                    <a:lnTo>
                      <a:pt x="8" y="149"/>
                    </a:lnTo>
                    <a:lnTo>
                      <a:pt x="8" y="149"/>
                    </a:lnTo>
                    <a:lnTo>
                      <a:pt x="8" y="149"/>
                    </a:lnTo>
                    <a:lnTo>
                      <a:pt x="8" y="149"/>
                    </a:lnTo>
                    <a:lnTo>
                      <a:pt x="8" y="149"/>
                    </a:lnTo>
                    <a:lnTo>
                      <a:pt x="8" y="149"/>
                    </a:lnTo>
                    <a:lnTo>
                      <a:pt x="8" y="149"/>
                    </a:lnTo>
                    <a:lnTo>
                      <a:pt x="8" y="149"/>
                    </a:lnTo>
                    <a:lnTo>
                      <a:pt x="0" y="142"/>
                    </a:lnTo>
                    <a:lnTo>
                      <a:pt x="0" y="142"/>
                    </a:lnTo>
                    <a:lnTo>
                      <a:pt x="0" y="142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5" y="134"/>
                    </a:lnTo>
                    <a:lnTo>
                      <a:pt x="15" y="134"/>
                    </a:lnTo>
                    <a:lnTo>
                      <a:pt x="22" y="134"/>
                    </a:lnTo>
                    <a:lnTo>
                      <a:pt x="22" y="134"/>
                    </a:lnTo>
                    <a:lnTo>
                      <a:pt x="29" y="127"/>
                    </a:lnTo>
                    <a:lnTo>
                      <a:pt x="36" y="120"/>
                    </a:lnTo>
                    <a:lnTo>
                      <a:pt x="43" y="113"/>
                    </a:lnTo>
                    <a:lnTo>
                      <a:pt x="43" y="113"/>
                    </a:lnTo>
                    <a:lnTo>
                      <a:pt x="43" y="113"/>
                    </a:lnTo>
                    <a:lnTo>
                      <a:pt x="43" y="113"/>
                    </a:lnTo>
                    <a:lnTo>
                      <a:pt x="36" y="106"/>
                    </a:lnTo>
                    <a:lnTo>
                      <a:pt x="36" y="106"/>
                    </a:lnTo>
                    <a:lnTo>
                      <a:pt x="36" y="99"/>
                    </a:lnTo>
                    <a:lnTo>
                      <a:pt x="36" y="99"/>
                    </a:lnTo>
                    <a:lnTo>
                      <a:pt x="36" y="99"/>
                    </a:lnTo>
                    <a:lnTo>
                      <a:pt x="36" y="99"/>
                    </a:lnTo>
                    <a:lnTo>
                      <a:pt x="36" y="99"/>
                    </a:lnTo>
                    <a:lnTo>
                      <a:pt x="43" y="92"/>
                    </a:lnTo>
                    <a:lnTo>
                      <a:pt x="43" y="92"/>
                    </a:lnTo>
                    <a:lnTo>
                      <a:pt x="43" y="92"/>
                    </a:lnTo>
                    <a:lnTo>
                      <a:pt x="43" y="85"/>
                    </a:lnTo>
                    <a:lnTo>
                      <a:pt x="43" y="85"/>
                    </a:lnTo>
                    <a:lnTo>
                      <a:pt x="43" y="85"/>
                    </a:lnTo>
                    <a:lnTo>
                      <a:pt x="43" y="85"/>
                    </a:lnTo>
                    <a:lnTo>
                      <a:pt x="43" y="78"/>
                    </a:lnTo>
                    <a:lnTo>
                      <a:pt x="43" y="78"/>
                    </a:lnTo>
                    <a:lnTo>
                      <a:pt x="43" y="71"/>
                    </a:lnTo>
                    <a:lnTo>
                      <a:pt x="43" y="71"/>
                    </a:lnTo>
                    <a:lnTo>
                      <a:pt x="43" y="71"/>
                    </a:lnTo>
                    <a:lnTo>
                      <a:pt x="43" y="63"/>
                    </a:lnTo>
                    <a:lnTo>
                      <a:pt x="43" y="63"/>
                    </a:lnTo>
                    <a:lnTo>
                      <a:pt x="36" y="63"/>
                    </a:lnTo>
                    <a:lnTo>
                      <a:pt x="36" y="63"/>
                    </a:lnTo>
                    <a:lnTo>
                      <a:pt x="36" y="63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29" y="56"/>
                    </a:lnTo>
                    <a:lnTo>
                      <a:pt x="29" y="49"/>
                    </a:lnTo>
                    <a:lnTo>
                      <a:pt x="29" y="49"/>
                    </a:lnTo>
                    <a:lnTo>
                      <a:pt x="29" y="49"/>
                    </a:lnTo>
                    <a:lnTo>
                      <a:pt x="29" y="42"/>
                    </a:lnTo>
                    <a:lnTo>
                      <a:pt x="29" y="42"/>
                    </a:lnTo>
                    <a:lnTo>
                      <a:pt x="29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43" y="42"/>
                    </a:lnTo>
                    <a:lnTo>
                      <a:pt x="43" y="42"/>
                    </a:lnTo>
                    <a:lnTo>
                      <a:pt x="43" y="49"/>
                    </a:lnTo>
                    <a:lnTo>
                      <a:pt x="43" y="49"/>
                    </a:lnTo>
                    <a:lnTo>
                      <a:pt x="43" y="49"/>
                    </a:lnTo>
                    <a:lnTo>
                      <a:pt x="50" y="49"/>
                    </a:lnTo>
                    <a:lnTo>
                      <a:pt x="50" y="49"/>
                    </a:lnTo>
                    <a:lnTo>
                      <a:pt x="57" y="42"/>
                    </a:lnTo>
                    <a:lnTo>
                      <a:pt x="64" y="35"/>
                    </a:lnTo>
                    <a:lnTo>
                      <a:pt x="64" y="35"/>
                    </a:lnTo>
                    <a:lnTo>
                      <a:pt x="64" y="35"/>
                    </a:lnTo>
                    <a:lnTo>
                      <a:pt x="71" y="28"/>
                    </a:lnTo>
                    <a:lnTo>
                      <a:pt x="79" y="28"/>
                    </a:lnTo>
                    <a:lnTo>
                      <a:pt x="79" y="28"/>
                    </a:lnTo>
                    <a:lnTo>
                      <a:pt x="86" y="28"/>
                    </a:lnTo>
                    <a:lnTo>
                      <a:pt x="86" y="21"/>
                    </a:lnTo>
                    <a:lnTo>
                      <a:pt x="86" y="21"/>
                    </a:lnTo>
                    <a:lnTo>
                      <a:pt x="86" y="21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93" y="14"/>
                    </a:lnTo>
                    <a:lnTo>
                      <a:pt x="100" y="7"/>
                    </a:lnTo>
                    <a:lnTo>
                      <a:pt x="100" y="7"/>
                    </a:lnTo>
                    <a:lnTo>
                      <a:pt x="114" y="7"/>
                    </a:lnTo>
                    <a:lnTo>
                      <a:pt x="121" y="0"/>
                    </a:lnTo>
                    <a:lnTo>
                      <a:pt x="121" y="0"/>
                    </a:lnTo>
                    <a:lnTo>
                      <a:pt x="128" y="7"/>
                    </a:lnTo>
                    <a:lnTo>
                      <a:pt x="128" y="7"/>
                    </a:lnTo>
                    <a:lnTo>
                      <a:pt x="142" y="7"/>
                    </a:lnTo>
                    <a:lnTo>
                      <a:pt x="150" y="7"/>
                    </a:lnTo>
                    <a:lnTo>
                      <a:pt x="150" y="7"/>
                    </a:lnTo>
                    <a:lnTo>
                      <a:pt x="157" y="14"/>
                    </a:lnTo>
                    <a:lnTo>
                      <a:pt x="157" y="21"/>
                    </a:lnTo>
                    <a:lnTo>
                      <a:pt x="164" y="21"/>
                    </a:lnTo>
                    <a:lnTo>
                      <a:pt x="171" y="28"/>
                    </a:lnTo>
                    <a:lnTo>
                      <a:pt x="171" y="28"/>
                    </a:lnTo>
                    <a:lnTo>
                      <a:pt x="171" y="28"/>
                    </a:lnTo>
                    <a:lnTo>
                      <a:pt x="178" y="35"/>
                    </a:lnTo>
                    <a:lnTo>
                      <a:pt x="192" y="42"/>
                    </a:lnTo>
                    <a:lnTo>
                      <a:pt x="199" y="42"/>
                    </a:lnTo>
                    <a:lnTo>
                      <a:pt x="206" y="49"/>
                    </a:lnTo>
                    <a:lnTo>
                      <a:pt x="221" y="49"/>
                    </a:lnTo>
                    <a:lnTo>
                      <a:pt x="228" y="49"/>
                    </a:lnTo>
                    <a:lnTo>
                      <a:pt x="228" y="49"/>
                    </a:lnTo>
                    <a:lnTo>
                      <a:pt x="228" y="49"/>
                    </a:lnTo>
                    <a:lnTo>
                      <a:pt x="228" y="49"/>
                    </a:lnTo>
                    <a:lnTo>
                      <a:pt x="228" y="49"/>
                    </a:lnTo>
                    <a:lnTo>
                      <a:pt x="235" y="49"/>
                    </a:lnTo>
                    <a:lnTo>
                      <a:pt x="242" y="49"/>
                    </a:lnTo>
                    <a:lnTo>
                      <a:pt x="242" y="49"/>
                    </a:lnTo>
                    <a:lnTo>
                      <a:pt x="249" y="42"/>
                    </a:lnTo>
                    <a:lnTo>
                      <a:pt x="249" y="42"/>
                    </a:lnTo>
                    <a:lnTo>
                      <a:pt x="249" y="42"/>
                    </a:lnTo>
                    <a:lnTo>
                      <a:pt x="249" y="42"/>
                    </a:lnTo>
                    <a:lnTo>
                      <a:pt x="256" y="42"/>
                    </a:lnTo>
                    <a:lnTo>
                      <a:pt x="256" y="35"/>
                    </a:lnTo>
                    <a:lnTo>
                      <a:pt x="256" y="35"/>
                    </a:lnTo>
                    <a:lnTo>
                      <a:pt x="263" y="35"/>
                    </a:lnTo>
                    <a:lnTo>
                      <a:pt x="263" y="35"/>
                    </a:lnTo>
                    <a:lnTo>
                      <a:pt x="263" y="35"/>
                    </a:lnTo>
                    <a:lnTo>
                      <a:pt x="263" y="35"/>
                    </a:lnTo>
                    <a:lnTo>
                      <a:pt x="263" y="35"/>
                    </a:lnTo>
                    <a:lnTo>
                      <a:pt x="263" y="35"/>
                    </a:lnTo>
                    <a:lnTo>
                      <a:pt x="270" y="35"/>
                    </a:lnTo>
                    <a:lnTo>
                      <a:pt x="270" y="35"/>
                    </a:lnTo>
                    <a:lnTo>
                      <a:pt x="270" y="35"/>
                    </a:lnTo>
                    <a:lnTo>
                      <a:pt x="270" y="35"/>
                    </a:lnTo>
                    <a:lnTo>
                      <a:pt x="270" y="35"/>
                    </a:lnTo>
                    <a:lnTo>
                      <a:pt x="277" y="42"/>
                    </a:lnTo>
                    <a:lnTo>
                      <a:pt x="284" y="49"/>
                    </a:lnTo>
                    <a:lnTo>
                      <a:pt x="284" y="49"/>
                    </a:lnTo>
                    <a:lnTo>
                      <a:pt x="292" y="63"/>
                    </a:lnTo>
                    <a:lnTo>
                      <a:pt x="292" y="63"/>
                    </a:lnTo>
                    <a:lnTo>
                      <a:pt x="299" y="63"/>
                    </a:lnTo>
                    <a:lnTo>
                      <a:pt x="299" y="63"/>
                    </a:lnTo>
                    <a:lnTo>
                      <a:pt x="299" y="71"/>
                    </a:lnTo>
                    <a:lnTo>
                      <a:pt x="299" y="78"/>
                    </a:lnTo>
                    <a:lnTo>
                      <a:pt x="299" y="78"/>
                    </a:lnTo>
                    <a:lnTo>
                      <a:pt x="306" y="78"/>
                    </a:lnTo>
                    <a:lnTo>
                      <a:pt x="306" y="85"/>
                    </a:lnTo>
                    <a:lnTo>
                      <a:pt x="306" y="85"/>
                    </a:lnTo>
                    <a:lnTo>
                      <a:pt x="306" y="85"/>
                    </a:lnTo>
                    <a:lnTo>
                      <a:pt x="306" y="85"/>
                    </a:lnTo>
                    <a:lnTo>
                      <a:pt x="313" y="85"/>
                    </a:lnTo>
                    <a:lnTo>
                      <a:pt x="313" y="85"/>
                    </a:lnTo>
                    <a:lnTo>
                      <a:pt x="313" y="85"/>
                    </a:lnTo>
                    <a:lnTo>
                      <a:pt x="313" y="85"/>
                    </a:lnTo>
                    <a:lnTo>
                      <a:pt x="320" y="85"/>
                    </a:lnTo>
                    <a:lnTo>
                      <a:pt x="320" y="85"/>
                    </a:lnTo>
                    <a:lnTo>
                      <a:pt x="320" y="85"/>
                    </a:lnTo>
                    <a:lnTo>
                      <a:pt x="320" y="78"/>
                    </a:lnTo>
                    <a:lnTo>
                      <a:pt x="320" y="78"/>
                    </a:lnTo>
                    <a:lnTo>
                      <a:pt x="320" y="78"/>
                    </a:lnTo>
                    <a:lnTo>
                      <a:pt x="327" y="78"/>
                    </a:lnTo>
                    <a:lnTo>
                      <a:pt x="327" y="78"/>
                    </a:lnTo>
                    <a:lnTo>
                      <a:pt x="327" y="78"/>
                    </a:lnTo>
                    <a:lnTo>
                      <a:pt x="334" y="78"/>
                    </a:lnTo>
                    <a:lnTo>
                      <a:pt x="334" y="78"/>
                    </a:lnTo>
                    <a:lnTo>
                      <a:pt x="334" y="78"/>
                    </a:lnTo>
                    <a:lnTo>
                      <a:pt x="341" y="78"/>
                    </a:lnTo>
                    <a:lnTo>
                      <a:pt x="341" y="71"/>
                    </a:lnTo>
                    <a:lnTo>
                      <a:pt x="341" y="71"/>
                    </a:lnTo>
                    <a:lnTo>
                      <a:pt x="341" y="71"/>
                    </a:lnTo>
                    <a:lnTo>
                      <a:pt x="348" y="71"/>
                    </a:lnTo>
                    <a:lnTo>
                      <a:pt x="348" y="71"/>
                    </a:lnTo>
                    <a:lnTo>
                      <a:pt x="348" y="63"/>
                    </a:lnTo>
                    <a:lnTo>
                      <a:pt x="348" y="63"/>
                    </a:lnTo>
                    <a:lnTo>
                      <a:pt x="348" y="63"/>
                    </a:lnTo>
                    <a:lnTo>
                      <a:pt x="348" y="63"/>
                    </a:lnTo>
                    <a:lnTo>
                      <a:pt x="348" y="63"/>
                    </a:lnTo>
                    <a:lnTo>
                      <a:pt x="348" y="63"/>
                    </a:lnTo>
                    <a:lnTo>
                      <a:pt x="355" y="63"/>
                    </a:lnTo>
                    <a:lnTo>
                      <a:pt x="355" y="63"/>
                    </a:lnTo>
                    <a:lnTo>
                      <a:pt x="355" y="71"/>
                    </a:lnTo>
                    <a:lnTo>
                      <a:pt x="355" y="71"/>
                    </a:lnTo>
                    <a:lnTo>
                      <a:pt x="355" y="71"/>
                    </a:lnTo>
                    <a:lnTo>
                      <a:pt x="355" y="78"/>
                    </a:lnTo>
                    <a:lnTo>
                      <a:pt x="355" y="78"/>
                    </a:lnTo>
                    <a:lnTo>
                      <a:pt x="355" y="78"/>
                    </a:lnTo>
                    <a:lnTo>
                      <a:pt x="355" y="85"/>
                    </a:lnTo>
                    <a:lnTo>
                      <a:pt x="355" y="85"/>
                    </a:lnTo>
                    <a:lnTo>
                      <a:pt x="348" y="85"/>
                    </a:lnTo>
                    <a:lnTo>
                      <a:pt x="348" y="85"/>
                    </a:lnTo>
                    <a:lnTo>
                      <a:pt x="348" y="85"/>
                    </a:lnTo>
                    <a:lnTo>
                      <a:pt x="348" y="92"/>
                    </a:lnTo>
                    <a:lnTo>
                      <a:pt x="341" y="92"/>
                    </a:lnTo>
                    <a:lnTo>
                      <a:pt x="341" y="92"/>
                    </a:lnTo>
                    <a:lnTo>
                      <a:pt x="341" y="99"/>
                    </a:lnTo>
                    <a:lnTo>
                      <a:pt x="341" y="99"/>
                    </a:lnTo>
                    <a:lnTo>
                      <a:pt x="341" y="99"/>
                    </a:lnTo>
                    <a:lnTo>
                      <a:pt x="341" y="99"/>
                    </a:lnTo>
                    <a:lnTo>
                      <a:pt x="341" y="106"/>
                    </a:lnTo>
                    <a:lnTo>
                      <a:pt x="341" y="106"/>
                    </a:lnTo>
                    <a:lnTo>
                      <a:pt x="341" y="106"/>
                    </a:lnTo>
                    <a:lnTo>
                      <a:pt x="348" y="106"/>
                    </a:lnTo>
                    <a:lnTo>
                      <a:pt x="348" y="106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" name="Freeform 11"/>
              <p:cNvSpPr>
                <a:spLocks/>
              </p:cNvSpPr>
              <p:nvPr/>
            </p:nvSpPr>
            <p:spPr bwMode="auto">
              <a:xfrm>
                <a:off x="2796" y="797"/>
                <a:ext cx="405" cy="462"/>
              </a:xfrm>
              <a:custGeom>
                <a:avLst/>
                <a:gdLst>
                  <a:gd name="T0" fmla="*/ 355 w 405"/>
                  <a:gd name="T1" fmla="*/ 440 h 462"/>
                  <a:gd name="T2" fmla="*/ 327 w 405"/>
                  <a:gd name="T3" fmla="*/ 462 h 462"/>
                  <a:gd name="T4" fmla="*/ 327 w 405"/>
                  <a:gd name="T5" fmla="*/ 433 h 462"/>
                  <a:gd name="T6" fmla="*/ 327 w 405"/>
                  <a:gd name="T7" fmla="*/ 391 h 462"/>
                  <a:gd name="T8" fmla="*/ 292 w 405"/>
                  <a:gd name="T9" fmla="*/ 398 h 462"/>
                  <a:gd name="T10" fmla="*/ 277 w 405"/>
                  <a:gd name="T11" fmla="*/ 412 h 462"/>
                  <a:gd name="T12" fmla="*/ 263 w 405"/>
                  <a:gd name="T13" fmla="*/ 398 h 462"/>
                  <a:gd name="T14" fmla="*/ 249 w 405"/>
                  <a:gd name="T15" fmla="*/ 391 h 462"/>
                  <a:gd name="T16" fmla="*/ 242 w 405"/>
                  <a:gd name="T17" fmla="*/ 398 h 462"/>
                  <a:gd name="T18" fmla="*/ 228 w 405"/>
                  <a:gd name="T19" fmla="*/ 405 h 462"/>
                  <a:gd name="T20" fmla="*/ 228 w 405"/>
                  <a:gd name="T21" fmla="*/ 433 h 462"/>
                  <a:gd name="T22" fmla="*/ 192 w 405"/>
                  <a:gd name="T23" fmla="*/ 419 h 462"/>
                  <a:gd name="T24" fmla="*/ 206 w 405"/>
                  <a:gd name="T25" fmla="*/ 398 h 462"/>
                  <a:gd name="T26" fmla="*/ 206 w 405"/>
                  <a:gd name="T27" fmla="*/ 391 h 462"/>
                  <a:gd name="T28" fmla="*/ 178 w 405"/>
                  <a:gd name="T29" fmla="*/ 355 h 462"/>
                  <a:gd name="T30" fmla="*/ 150 w 405"/>
                  <a:gd name="T31" fmla="*/ 320 h 462"/>
                  <a:gd name="T32" fmla="*/ 135 w 405"/>
                  <a:gd name="T33" fmla="*/ 270 h 462"/>
                  <a:gd name="T34" fmla="*/ 121 w 405"/>
                  <a:gd name="T35" fmla="*/ 241 h 462"/>
                  <a:gd name="T36" fmla="*/ 114 w 405"/>
                  <a:gd name="T37" fmla="*/ 227 h 462"/>
                  <a:gd name="T38" fmla="*/ 86 w 405"/>
                  <a:gd name="T39" fmla="*/ 234 h 462"/>
                  <a:gd name="T40" fmla="*/ 57 w 405"/>
                  <a:gd name="T41" fmla="*/ 220 h 462"/>
                  <a:gd name="T42" fmla="*/ 29 w 405"/>
                  <a:gd name="T43" fmla="*/ 220 h 462"/>
                  <a:gd name="T44" fmla="*/ 8 w 405"/>
                  <a:gd name="T45" fmla="*/ 206 h 462"/>
                  <a:gd name="T46" fmla="*/ 15 w 405"/>
                  <a:gd name="T47" fmla="*/ 163 h 462"/>
                  <a:gd name="T48" fmla="*/ 0 w 405"/>
                  <a:gd name="T49" fmla="*/ 163 h 462"/>
                  <a:gd name="T50" fmla="*/ 15 w 405"/>
                  <a:gd name="T51" fmla="*/ 135 h 462"/>
                  <a:gd name="T52" fmla="*/ 50 w 405"/>
                  <a:gd name="T53" fmla="*/ 135 h 462"/>
                  <a:gd name="T54" fmla="*/ 79 w 405"/>
                  <a:gd name="T55" fmla="*/ 142 h 462"/>
                  <a:gd name="T56" fmla="*/ 79 w 405"/>
                  <a:gd name="T57" fmla="*/ 149 h 462"/>
                  <a:gd name="T58" fmla="*/ 93 w 405"/>
                  <a:gd name="T59" fmla="*/ 156 h 462"/>
                  <a:gd name="T60" fmla="*/ 93 w 405"/>
                  <a:gd name="T61" fmla="*/ 163 h 462"/>
                  <a:gd name="T62" fmla="*/ 93 w 405"/>
                  <a:gd name="T63" fmla="*/ 185 h 462"/>
                  <a:gd name="T64" fmla="*/ 114 w 405"/>
                  <a:gd name="T65" fmla="*/ 178 h 462"/>
                  <a:gd name="T66" fmla="*/ 150 w 405"/>
                  <a:gd name="T67" fmla="*/ 163 h 462"/>
                  <a:gd name="T68" fmla="*/ 185 w 405"/>
                  <a:gd name="T69" fmla="*/ 163 h 462"/>
                  <a:gd name="T70" fmla="*/ 228 w 405"/>
                  <a:gd name="T71" fmla="*/ 142 h 462"/>
                  <a:gd name="T72" fmla="*/ 228 w 405"/>
                  <a:gd name="T73" fmla="*/ 121 h 462"/>
                  <a:gd name="T74" fmla="*/ 242 w 405"/>
                  <a:gd name="T75" fmla="*/ 114 h 462"/>
                  <a:gd name="T76" fmla="*/ 249 w 405"/>
                  <a:gd name="T77" fmla="*/ 107 h 462"/>
                  <a:gd name="T78" fmla="*/ 284 w 405"/>
                  <a:gd name="T79" fmla="*/ 100 h 462"/>
                  <a:gd name="T80" fmla="*/ 270 w 405"/>
                  <a:gd name="T81" fmla="*/ 100 h 462"/>
                  <a:gd name="T82" fmla="*/ 292 w 405"/>
                  <a:gd name="T83" fmla="*/ 78 h 462"/>
                  <a:gd name="T84" fmla="*/ 313 w 405"/>
                  <a:gd name="T85" fmla="*/ 71 h 462"/>
                  <a:gd name="T86" fmla="*/ 313 w 405"/>
                  <a:gd name="T87" fmla="*/ 36 h 462"/>
                  <a:gd name="T88" fmla="*/ 306 w 405"/>
                  <a:gd name="T89" fmla="*/ 14 h 462"/>
                  <a:gd name="T90" fmla="*/ 306 w 405"/>
                  <a:gd name="T91" fmla="*/ 0 h 462"/>
                  <a:gd name="T92" fmla="*/ 327 w 405"/>
                  <a:gd name="T93" fmla="*/ 21 h 462"/>
                  <a:gd name="T94" fmla="*/ 355 w 405"/>
                  <a:gd name="T95" fmla="*/ 64 h 462"/>
                  <a:gd name="T96" fmla="*/ 391 w 405"/>
                  <a:gd name="T97" fmla="*/ 71 h 462"/>
                  <a:gd name="T98" fmla="*/ 370 w 405"/>
                  <a:gd name="T99" fmla="*/ 121 h 462"/>
                  <a:gd name="T100" fmla="*/ 348 w 405"/>
                  <a:gd name="T101" fmla="*/ 163 h 462"/>
                  <a:gd name="T102" fmla="*/ 334 w 405"/>
                  <a:gd name="T103" fmla="*/ 192 h 462"/>
                  <a:gd name="T104" fmla="*/ 348 w 405"/>
                  <a:gd name="T105" fmla="*/ 213 h 462"/>
                  <a:gd name="T106" fmla="*/ 355 w 405"/>
                  <a:gd name="T107" fmla="*/ 270 h 462"/>
                  <a:gd name="T108" fmla="*/ 327 w 405"/>
                  <a:gd name="T109" fmla="*/ 291 h 462"/>
                  <a:gd name="T110" fmla="*/ 313 w 405"/>
                  <a:gd name="T111" fmla="*/ 327 h 462"/>
                  <a:gd name="T112" fmla="*/ 341 w 405"/>
                  <a:gd name="T113" fmla="*/ 341 h 462"/>
                  <a:gd name="T114" fmla="*/ 370 w 405"/>
                  <a:gd name="T115" fmla="*/ 341 h 462"/>
                  <a:gd name="T116" fmla="*/ 391 w 405"/>
                  <a:gd name="T117" fmla="*/ 348 h 462"/>
                  <a:gd name="T118" fmla="*/ 398 w 405"/>
                  <a:gd name="T119" fmla="*/ 383 h 462"/>
                  <a:gd name="T120" fmla="*/ 405 w 405"/>
                  <a:gd name="T121" fmla="*/ 419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05" h="462">
                    <a:moveTo>
                      <a:pt x="377" y="433"/>
                    </a:moveTo>
                    <a:lnTo>
                      <a:pt x="377" y="433"/>
                    </a:lnTo>
                    <a:lnTo>
                      <a:pt x="377" y="440"/>
                    </a:lnTo>
                    <a:lnTo>
                      <a:pt x="370" y="440"/>
                    </a:lnTo>
                    <a:lnTo>
                      <a:pt x="370" y="440"/>
                    </a:lnTo>
                    <a:lnTo>
                      <a:pt x="370" y="440"/>
                    </a:lnTo>
                    <a:lnTo>
                      <a:pt x="363" y="440"/>
                    </a:lnTo>
                    <a:lnTo>
                      <a:pt x="363" y="440"/>
                    </a:lnTo>
                    <a:lnTo>
                      <a:pt x="363" y="440"/>
                    </a:lnTo>
                    <a:lnTo>
                      <a:pt x="363" y="440"/>
                    </a:lnTo>
                    <a:lnTo>
                      <a:pt x="363" y="440"/>
                    </a:lnTo>
                    <a:lnTo>
                      <a:pt x="363" y="440"/>
                    </a:lnTo>
                    <a:lnTo>
                      <a:pt x="363" y="440"/>
                    </a:lnTo>
                    <a:lnTo>
                      <a:pt x="363" y="440"/>
                    </a:lnTo>
                    <a:lnTo>
                      <a:pt x="363" y="440"/>
                    </a:lnTo>
                    <a:lnTo>
                      <a:pt x="355" y="440"/>
                    </a:lnTo>
                    <a:lnTo>
                      <a:pt x="355" y="440"/>
                    </a:lnTo>
                    <a:lnTo>
                      <a:pt x="355" y="440"/>
                    </a:lnTo>
                    <a:lnTo>
                      <a:pt x="355" y="440"/>
                    </a:lnTo>
                    <a:lnTo>
                      <a:pt x="355" y="440"/>
                    </a:lnTo>
                    <a:lnTo>
                      <a:pt x="355" y="440"/>
                    </a:lnTo>
                    <a:lnTo>
                      <a:pt x="355" y="440"/>
                    </a:lnTo>
                    <a:lnTo>
                      <a:pt x="348" y="440"/>
                    </a:lnTo>
                    <a:lnTo>
                      <a:pt x="348" y="440"/>
                    </a:lnTo>
                    <a:lnTo>
                      <a:pt x="341" y="440"/>
                    </a:lnTo>
                    <a:lnTo>
                      <a:pt x="341" y="440"/>
                    </a:lnTo>
                    <a:lnTo>
                      <a:pt x="341" y="440"/>
                    </a:lnTo>
                    <a:lnTo>
                      <a:pt x="341" y="440"/>
                    </a:lnTo>
                    <a:lnTo>
                      <a:pt x="341" y="447"/>
                    </a:lnTo>
                    <a:lnTo>
                      <a:pt x="341" y="447"/>
                    </a:lnTo>
                    <a:lnTo>
                      <a:pt x="341" y="447"/>
                    </a:lnTo>
                    <a:lnTo>
                      <a:pt x="341" y="447"/>
                    </a:lnTo>
                    <a:lnTo>
                      <a:pt x="348" y="447"/>
                    </a:lnTo>
                    <a:lnTo>
                      <a:pt x="341" y="447"/>
                    </a:lnTo>
                    <a:lnTo>
                      <a:pt x="334" y="447"/>
                    </a:lnTo>
                    <a:lnTo>
                      <a:pt x="334" y="454"/>
                    </a:lnTo>
                    <a:lnTo>
                      <a:pt x="334" y="454"/>
                    </a:lnTo>
                    <a:lnTo>
                      <a:pt x="334" y="454"/>
                    </a:lnTo>
                    <a:lnTo>
                      <a:pt x="334" y="462"/>
                    </a:lnTo>
                    <a:lnTo>
                      <a:pt x="327" y="462"/>
                    </a:lnTo>
                    <a:lnTo>
                      <a:pt x="320" y="462"/>
                    </a:lnTo>
                    <a:lnTo>
                      <a:pt x="320" y="462"/>
                    </a:lnTo>
                    <a:lnTo>
                      <a:pt x="320" y="462"/>
                    </a:lnTo>
                    <a:lnTo>
                      <a:pt x="320" y="462"/>
                    </a:lnTo>
                    <a:lnTo>
                      <a:pt x="320" y="454"/>
                    </a:lnTo>
                    <a:lnTo>
                      <a:pt x="320" y="454"/>
                    </a:lnTo>
                    <a:lnTo>
                      <a:pt x="320" y="454"/>
                    </a:lnTo>
                    <a:lnTo>
                      <a:pt x="327" y="454"/>
                    </a:lnTo>
                    <a:lnTo>
                      <a:pt x="327" y="454"/>
                    </a:lnTo>
                    <a:lnTo>
                      <a:pt x="327" y="454"/>
                    </a:lnTo>
                    <a:lnTo>
                      <a:pt x="320" y="454"/>
                    </a:lnTo>
                    <a:lnTo>
                      <a:pt x="320" y="454"/>
                    </a:lnTo>
                    <a:lnTo>
                      <a:pt x="320" y="454"/>
                    </a:lnTo>
                    <a:lnTo>
                      <a:pt x="320" y="454"/>
                    </a:lnTo>
                    <a:lnTo>
                      <a:pt x="320" y="447"/>
                    </a:lnTo>
                    <a:lnTo>
                      <a:pt x="320" y="440"/>
                    </a:lnTo>
                    <a:lnTo>
                      <a:pt x="327" y="440"/>
                    </a:lnTo>
                    <a:lnTo>
                      <a:pt x="327" y="433"/>
                    </a:lnTo>
                    <a:lnTo>
                      <a:pt x="327" y="433"/>
                    </a:lnTo>
                    <a:lnTo>
                      <a:pt x="327" y="433"/>
                    </a:lnTo>
                    <a:lnTo>
                      <a:pt x="327" y="433"/>
                    </a:lnTo>
                    <a:lnTo>
                      <a:pt x="327" y="426"/>
                    </a:lnTo>
                    <a:lnTo>
                      <a:pt x="327" y="426"/>
                    </a:lnTo>
                    <a:lnTo>
                      <a:pt x="327" y="426"/>
                    </a:lnTo>
                    <a:lnTo>
                      <a:pt x="327" y="426"/>
                    </a:lnTo>
                    <a:lnTo>
                      <a:pt x="327" y="419"/>
                    </a:lnTo>
                    <a:lnTo>
                      <a:pt x="327" y="419"/>
                    </a:lnTo>
                    <a:lnTo>
                      <a:pt x="327" y="419"/>
                    </a:lnTo>
                    <a:lnTo>
                      <a:pt x="327" y="419"/>
                    </a:lnTo>
                    <a:lnTo>
                      <a:pt x="327" y="419"/>
                    </a:lnTo>
                    <a:lnTo>
                      <a:pt x="327" y="412"/>
                    </a:lnTo>
                    <a:lnTo>
                      <a:pt x="327" y="412"/>
                    </a:lnTo>
                    <a:lnTo>
                      <a:pt x="327" y="412"/>
                    </a:lnTo>
                    <a:lnTo>
                      <a:pt x="320" y="405"/>
                    </a:lnTo>
                    <a:lnTo>
                      <a:pt x="320" y="405"/>
                    </a:lnTo>
                    <a:lnTo>
                      <a:pt x="327" y="405"/>
                    </a:lnTo>
                    <a:lnTo>
                      <a:pt x="327" y="398"/>
                    </a:lnTo>
                    <a:lnTo>
                      <a:pt x="327" y="391"/>
                    </a:lnTo>
                    <a:lnTo>
                      <a:pt x="327" y="391"/>
                    </a:lnTo>
                    <a:lnTo>
                      <a:pt x="327" y="391"/>
                    </a:lnTo>
                    <a:lnTo>
                      <a:pt x="327" y="391"/>
                    </a:lnTo>
                    <a:lnTo>
                      <a:pt x="320" y="383"/>
                    </a:lnTo>
                    <a:lnTo>
                      <a:pt x="320" y="383"/>
                    </a:lnTo>
                    <a:lnTo>
                      <a:pt x="313" y="383"/>
                    </a:lnTo>
                    <a:lnTo>
                      <a:pt x="313" y="383"/>
                    </a:lnTo>
                    <a:lnTo>
                      <a:pt x="313" y="383"/>
                    </a:lnTo>
                    <a:lnTo>
                      <a:pt x="313" y="376"/>
                    </a:lnTo>
                    <a:lnTo>
                      <a:pt x="313" y="376"/>
                    </a:lnTo>
                    <a:lnTo>
                      <a:pt x="313" y="376"/>
                    </a:lnTo>
                    <a:lnTo>
                      <a:pt x="313" y="383"/>
                    </a:lnTo>
                    <a:lnTo>
                      <a:pt x="306" y="383"/>
                    </a:lnTo>
                    <a:lnTo>
                      <a:pt x="306" y="383"/>
                    </a:lnTo>
                    <a:lnTo>
                      <a:pt x="306" y="383"/>
                    </a:lnTo>
                    <a:lnTo>
                      <a:pt x="306" y="383"/>
                    </a:lnTo>
                    <a:lnTo>
                      <a:pt x="299" y="391"/>
                    </a:lnTo>
                    <a:lnTo>
                      <a:pt x="299" y="391"/>
                    </a:lnTo>
                    <a:lnTo>
                      <a:pt x="299" y="391"/>
                    </a:lnTo>
                    <a:lnTo>
                      <a:pt x="299" y="398"/>
                    </a:lnTo>
                    <a:lnTo>
                      <a:pt x="292" y="398"/>
                    </a:lnTo>
                    <a:lnTo>
                      <a:pt x="292" y="398"/>
                    </a:lnTo>
                    <a:lnTo>
                      <a:pt x="292" y="398"/>
                    </a:lnTo>
                    <a:lnTo>
                      <a:pt x="292" y="398"/>
                    </a:lnTo>
                    <a:lnTo>
                      <a:pt x="292" y="398"/>
                    </a:lnTo>
                    <a:lnTo>
                      <a:pt x="284" y="398"/>
                    </a:lnTo>
                    <a:lnTo>
                      <a:pt x="284" y="398"/>
                    </a:lnTo>
                    <a:lnTo>
                      <a:pt x="284" y="405"/>
                    </a:lnTo>
                    <a:lnTo>
                      <a:pt x="284" y="405"/>
                    </a:lnTo>
                    <a:lnTo>
                      <a:pt x="284" y="405"/>
                    </a:lnTo>
                    <a:lnTo>
                      <a:pt x="284" y="405"/>
                    </a:lnTo>
                    <a:lnTo>
                      <a:pt x="284" y="405"/>
                    </a:lnTo>
                    <a:lnTo>
                      <a:pt x="292" y="412"/>
                    </a:lnTo>
                    <a:lnTo>
                      <a:pt x="292" y="412"/>
                    </a:lnTo>
                    <a:lnTo>
                      <a:pt x="292" y="412"/>
                    </a:lnTo>
                    <a:lnTo>
                      <a:pt x="284" y="412"/>
                    </a:lnTo>
                    <a:lnTo>
                      <a:pt x="284" y="412"/>
                    </a:lnTo>
                    <a:lnTo>
                      <a:pt x="284" y="412"/>
                    </a:lnTo>
                    <a:lnTo>
                      <a:pt x="284" y="412"/>
                    </a:lnTo>
                    <a:lnTo>
                      <a:pt x="277" y="412"/>
                    </a:lnTo>
                    <a:lnTo>
                      <a:pt x="277" y="412"/>
                    </a:lnTo>
                    <a:lnTo>
                      <a:pt x="277" y="412"/>
                    </a:lnTo>
                    <a:lnTo>
                      <a:pt x="277" y="419"/>
                    </a:lnTo>
                    <a:lnTo>
                      <a:pt x="277" y="419"/>
                    </a:lnTo>
                    <a:lnTo>
                      <a:pt x="277" y="419"/>
                    </a:lnTo>
                    <a:lnTo>
                      <a:pt x="270" y="419"/>
                    </a:lnTo>
                    <a:lnTo>
                      <a:pt x="270" y="419"/>
                    </a:lnTo>
                    <a:lnTo>
                      <a:pt x="270" y="412"/>
                    </a:lnTo>
                    <a:lnTo>
                      <a:pt x="270" y="412"/>
                    </a:lnTo>
                    <a:lnTo>
                      <a:pt x="270" y="405"/>
                    </a:lnTo>
                    <a:lnTo>
                      <a:pt x="270" y="405"/>
                    </a:lnTo>
                    <a:lnTo>
                      <a:pt x="270" y="405"/>
                    </a:lnTo>
                    <a:lnTo>
                      <a:pt x="270" y="405"/>
                    </a:lnTo>
                    <a:lnTo>
                      <a:pt x="263" y="405"/>
                    </a:lnTo>
                    <a:lnTo>
                      <a:pt x="263" y="405"/>
                    </a:lnTo>
                    <a:lnTo>
                      <a:pt x="263" y="405"/>
                    </a:lnTo>
                    <a:lnTo>
                      <a:pt x="263" y="405"/>
                    </a:lnTo>
                    <a:lnTo>
                      <a:pt x="263" y="405"/>
                    </a:lnTo>
                    <a:lnTo>
                      <a:pt x="263" y="405"/>
                    </a:lnTo>
                    <a:lnTo>
                      <a:pt x="263" y="405"/>
                    </a:lnTo>
                    <a:lnTo>
                      <a:pt x="263" y="405"/>
                    </a:lnTo>
                    <a:lnTo>
                      <a:pt x="263" y="398"/>
                    </a:lnTo>
                    <a:lnTo>
                      <a:pt x="263" y="398"/>
                    </a:lnTo>
                    <a:lnTo>
                      <a:pt x="263" y="398"/>
                    </a:lnTo>
                    <a:lnTo>
                      <a:pt x="263" y="398"/>
                    </a:lnTo>
                    <a:lnTo>
                      <a:pt x="256" y="398"/>
                    </a:lnTo>
                    <a:lnTo>
                      <a:pt x="256" y="398"/>
                    </a:lnTo>
                    <a:lnTo>
                      <a:pt x="263" y="398"/>
                    </a:lnTo>
                    <a:lnTo>
                      <a:pt x="263" y="398"/>
                    </a:lnTo>
                    <a:lnTo>
                      <a:pt x="263" y="398"/>
                    </a:lnTo>
                    <a:lnTo>
                      <a:pt x="263" y="398"/>
                    </a:lnTo>
                    <a:lnTo>
                      <a:pt x="263" y="398"/>
                    </a:lnTo>
                    <a:lnTo>
                      <a:pt x="263" y="398"/>
                    </a:lnTo>
                    <a:lnTo>
                      <a:pt x="263" y="398"/>
                    </a:lnTo>
                    <a:lnTo>
                      <a:pt x="263" y="398"/>
                    </a:lnTo>
                    <a:lnTo>
                      <a:pt x="263" y="391"/>
                    </a:lnTo>
                    <a:lnTo>
                      <a:pt x="263" y="391"/>
                    </a:lnTo>
                    <a:lnTo>
                      <a:pt x="256" y="391"/>
                    </a:lnTo>
                    <a:lnTo>
                      <a:pt x="256" y="391"/>
                    </a:lnTo>
                    <a:lnTo>
                      <a:pt x="249" y="391"/>
                    </a:lnTo>
                    <a:lnTo>
                      <a:pt x="249" y="391"/>
                    </a:lnTo>
                    <a:lnTo>
                      <a:pt x="249" y="391"/>
                    </a:lnTo>
                    <a:lnTo>
                      <a:pt x="249" y="391"/>
                    </a:lnTo>
                    <a:lnTo>
                      <a:pt x="249" y="391"/>
                    </a:lnTo>
                    <a:lnTo>
                      <a:pt x="249" y="391"/>
                    </a:lnTo>
                    <a:lnTo>
                      <a:pt x="249" y="391"/>
                    </a:lnTo>
                    <a:lnTo>
                      <a:pt x="249" y="383"/>
                    </a:lnTo>
                    <a:lnTo>
                      <a:pt x="242" y="383"/>
                    </a:lnTo>
                    <a:lnTo>
                      <a:pt x="242" y="383"/>
                    </a:lnTo>
                    <a:lnTo>
                      <a:pt x="242" y="383"/>
                    </a:lnTo>
                    <a:lnTo>
                      <a:pt x="242" y="383"/>
                    </a:lnTo>
                    <a:lnTo>
                      <a:pt x="242" y="383"/>
                    </a:lnTo>
                    <a:lnTo>
                      <a:pt x="242" y="391"/>
                    </a:lnTo>
                    <a:lnTo>
                      <a:pt x="242" y="391"/>
                    </a:lnTo>
                    <a:lnTo>
                      <a:pt x="242" y="391"/>
                    </a:lnTo>
                    <a:lnTo>
                      <a:pt x="242" y="391"/>
                    </a:lnTo>
                    <a:lnTo>
                      <a:pt x="249" y="391"/>
                    </a:lnTo>
                    <a:lnTo>
                      <a:pt x="249" y="391"/>
                    </a:lnTo>
                    <a:lnTo>
                      <a:pt x="249" y="398"/>
                    </a:lnTo>
                    <a:lnTo>
                      <a:pt x="242" y="398"/>
                    </a:lnTo>
                    <a:lnTo>
                      <a:pt x="242" y="398"/>
                    </a:lnTo>
                    <a:lnTo>
                      <a:pt x="242" y="398"/>
                    </a:lnTo>
                    <a:lnTo>
                      <a:pt x="242" y="398"/>
                    </a:lnTo>
                    <a:lnTo>
                      <a:pt x="242" y="398"/>
                    </a:lnTo>
                    <a:lnTo>
                      <a:pt x="242" y="398"/>
                    </a:lnTo>
                    <a:lnTo>
                      <a:pt x="242" y="398"/>
                    </a:lnTo>
                    <a:lnTo>
                      <a:pt x="249" y="398"/>
                    </a:lnTo>
                    <a:lnTo>
                      <a:pt x="249" y="398"/>
                    </a:lnTo>
                    <a:lnTo>
                      <a:pt x="249" y="405"/>
                    </a:lnTo>
                    <a:lnTo>
                      <a:pt x="249" y="405"/>
                    </a:lnTo>
                    <a:lnTo>
                      <a:pt x="242" y="405"/>
                    </a:lnTo>
                    <a:lnTo>
                      <a:pt x="242" y="405"/>
                    </a:lnTo>
                    <a:lnTo>
                      <a:pt x="242" y="405"/>
                    </a:lnTo>
                    <a:lnTo>
                      <a:pt x="235" y="405"/>
                    </a:lnTo>
                    <a:lnTo>
                      <a:pt x="235" y="405"/>
                    </a:lnTo>
                    <a:lnTo>
                      <a:pt x="235" y="405"/>
                    </a:lnTo>
                    <a:lnTo>
                      <a:pt x="235" y="405"/>
                    </a:lnTo>
                    <a:lnTo>
                      <a:pt x="235" y="405"/>
                    </a:lnTo>
                    <a:lnTo>
                      <a:pt x="228" y="405"/>
                    </a:lnTo>
                    <a:lnTo>
                      <a:pt x="228" y="405"/>
                    </a:lnTo>
                    <a:lnTo>
                      <a:pt x="228" y="405"/>
                    </a:lnTo>
                    <a:lnTo>
                      <a:pt x="228" y="405"/>
                    </a:lnTo>
                    <a:lnTo>
                      <a:pt x="228" y="405"/>
                    </a:lnTo>
                    <a:lnTo>
                      <a:pt x="228" y="405"/>
                    </a:lnTo>
                    <a:lnTo>
                      <a:pt x="221" y="405"/>
                    </a:lnTo>
                    <a:lnTo>
                      <a:pt x="221" y="405"/>
                    </a:lnTo>
                    <a:lnTo>
                      <a:pt x="221" y="405"/>
                    </a:lnTo>
                    <a:lnTo>
                      <a:pt x="221" y="405"/>
                    </a:lnTo>
                    <a:lnTo>
                      <a:pt x="221" y="412"/>
                    </a:lnTo>
                    <a:lnTo>
                      <a:pt x="221" y="412"/>
                    </a:lnTo>
                    <a:lnTo>
                      <a:pt x="221" y="412"/>
                    </a:lnTo>
                    <a:lnTo>
                      <a:pt x="228" y="419"/>
                    </a:lnTo>
                    <a:lnTo>
                      <a:pt x="228" y="419"/>
                    </a:lnTo>
                    <a:lnTo>
                      <a:pt x="228" y="426"/>
                    </a:lnTo>
                    <a:lnTo>
                      <a:pt x="228" y="426"/>
                    </a:lnTo>
                    <a:lnTo>
                      <a:pt x="228" y="426"/>
                    </a:lnTo>
                    <a:lnTo>
                      <a:pt x="228" y="426"/>
                    </a:lnTo>
                    <a:lnTo>
                      <a:pt x="228" y="433"/>
                    </a:lnTo>
                    <a:lnTo>
                      <a:pt x="228" y="433"/>
                    </a:lnTo>
                    <a:lnTo>
                      <a:pt x="228" y="433"/>
                    </a:lnTo>
                    <a:lnTo>
                      <a:pt x="228" y="433"/>
                    </a:lnTo>
                    <a:lnTo>
                      <a:pt x="228" y="433"/>
                    </a:lnTo>
                    <a:lnTo>
                      <a:pt x="228" y="433"/>
                    </a:lnTo>
                    <a:lnTo>
                      <a:pt x="228" y="440"/>
                    </a:lnTo>
                    <a:lnTo>
                      <a:pt x="228" y="440"/>
                    </a:lnTo>
                    <a:lnTo>
                      <a:pt x="228" y="440"/>
                    </a:lnTo>
                    <a:lnTo>
                      <a:pt x="221" y="440"/>
                    </a:lnTo>
                    <a:lnTo>
                      <a:pt x="221" y="433"/>
                    </a:lnTo>
                    <a:lnTo>
                      <a:pt x="213" y="433"/>
                    </a:lnTo>
                    <a:lnTo>
                      <a:pt x="199" y="433"/>
                    </a:lnTo>
                    <a:lnTo>
                      <a:pt x="199" y="433"/>
                    </a:lnTo>
                    <a:lnTo>
                      <a:pt x="199" y="433"/>
                    </a:lnTo>
                    <a:lnTo>
                      <a:pt x="199" y="433"/>
                    </a:lnTo>
                    <a:lnTo>
                      <a:pt x="199" y="433"/>
                    </a:lnTo>
                    <a:lnTo>
                      <a:pt x="199" y="426"/>
                    </a:lnTo>
                    <a:lnTo>
                      <a:pt x="199" y="426"/>
                    </a:lnTo>
                    <a:lnTo>
                      <a:pt x="199" y="426"/>
                    </a:lnTo>
                    <a:lnTo>
                      <a:pt x="192" y="426"/>
                    </a:lnTo>
                    <a:lnTo>
                      <a:pt x="192" y="426"/>
                    </a:lnTo>
                    <a:lnTo>
                      <a:pt x="192" y="419"/>
                    </a:lnTo>
                    <a:lnTo>
                      <a:pt x="192" y="419"/>
                    </a:lnTo>
                    <a:lnTo>
                      <a:pt x="192" y="419"/>
                    </a:lnTo>
                    <a:lnTo>
                      <a:pt x="199" y="419"/>
                    </a:lnTo>
                    <a:lnTo>
                      <a:pt x="199" y="419"/>
                    </a:lnTo>
                    <a:lnTo>
                      <a:pt x="199" y="419"/>
                    </a:lnTo>
                    <a:lnTo>
                      <a:pt x="199" y="419"/>
                    </a:lnTo>
                    <a:lnTo>
                      <a:pt x="199" y="419"/>
                    </a:lnTo>
                    <a:lnTo>
                      <a:pt x="199" y="412"/>
                    </a:lnTo>
                    <a:lnTo>
                      <a:pt x="199" y="412"/>
                    </a:lnTo>
                    <a:lnTo>
                      <a:pt x="199" y="412"/>
                    </a:lnTo>
                    <a:lnTo>
                      <a:pt x="199" y="412"/>
                    </a:lnTo>
                    <a:lnTo>
                      <a:pt x="199" y="412"/>
                    </a:lnTo>
                    <a:lnTo>
                      <a:pt x="199" y="412"/>
                    </a:lnTo>
                    <a:lnTo>
                      <a:pt x="199" y="412"/>
                    </a:lnTo>
                    <a:lnTo>
                      <a:pt x="199" y="412"/>
                    </a:lnTo>
                    <a:lnTo>
                      <a:pt x="199" y="412"/>
                    </a:lnTo>
                    <a:lnTo>
                      <a:pt x="199" y="405"/>
                    </a:lnTo>
                    <a:lnTo>
                      <a:pt x="199" y="405"/>
                    </a:lnTo>
                    <a:lnTo>
                      <a:pt x="199" y="405"/>
                    </a:lnTo>
                    <a:lnTo>
                      <a:pt x="206" y="405"/>
                    </a:lnTo>
                    <a:lnTo>
                      <a:pt x="206" y="398"/>
                    </a:lnTo>
                    <a:lnTo>
                      <a:pt x="206" y="398"/>
                    </a:lnTo>
                    <a:lnTo>
                      <a:pt x="206" y="398"/>
                    </a:lnTo>
                    <a:lnTo>
                      <a:pt x="206" y="398"/>
                    </a:lnTo>
                    <a:lnTo>
                      <a:pt x="199" y="398"/>
                    </a:lnTo>
                    <a:lnTo>
                      <a:pt x="199" y="398"/>
                    </a:lnTo>
                    <a:lnTo>
                      <a:pt x="199" y="398"/>
                    </a:lnTo>
                    <a:lnTo>
                      <a:pt x="199" y="398"/>
                    </a:lnTo>
                    <a:lnTo>
                      <a:pt x="199" y="398"/>
                    </a:lnTo>
                    <a:lnTo>
                      <a:pt x="199" y="405"/>
                    </a:lnTo>
                    <a:lnTo>
                      <a:pt x="199" y="405"/>
                    </a:lnTo>
                    <a:lnTo>
                      <a:pt x="192" y="398"/>
                    </a:lnTo>
                    <a:lnTo>
                      <a:pt x="192" y="398"/>
                    </a:lnTo>
                    <a:lnTo>
                      <a:pt x="192" y="398"/>
                    </a:lnTo>
                    <a:lnTo>
                      <a:pt x="192" y="398"/>
                    </a:lnTo>
                    <a:lnTo>
                      <a:pt x="192" y="398"/>
                    </a:lnTo>
                    <a:lnTo>
                      <a:pt x="199" y="391"/>
                    </a:lnTo>
                    <a:lnTo>
                      <a:pt x="199" y="391"/>
                    </a:lnTo>
                    <a:lnTo>
                      <a:pt x="199" y="391"/>
                    </a:lnTo>
                    <a:lnTo>
                      <a:pt x="199" y="391"/>
                    </a:lnTo>
                    <a:lnTo>
                      <a:pt x="199" y="391"/>
                    </a:lnTo>
                    <a:lnTo>
                      <a:pt x="206" y="391"/>
                    </a:lnTo>
                    <a:lnTo>
                      <a:pt x="206" y="391"/>
                    </a:lnTo>
                    <a:lnTo>
                      <a:pt x="206" y="383"/>
                    </a:lnTo>
                    <a:lnTo>
                      <a:pt x="206" y="391"/>
                    </a:lnTo>
                    <a:lnTo>
                      <a:pt x="206" y="391"/>
                    </a:lnTo>
                    <a:lnTo>
                      <a:pt x="206" y="391"/>
                    </a:lnTo>
                    <a:lnTo>
                      <a:pt x="213" y="391"/>
                    </a:lnTo>
                    <a:lnTo>
                      <a:pt x="213" y="391"/>
                    </a:lnTo>
                    <a:lnTo>
                      <a:pt x="213" y="391"/>
                    </a:lnTo>
                    <a:lnTo>
                      <a:pt x="213" y="383"/>
                    </a:lnTo>
                    <a:lnTo>
                      <a:pt x="206" y="383"/>
                    </a:lnTo>
                    <a:lnTo>
                      <a:pt x="206" y="383"/>
                    </a:lnTo>
                    <a:lnTo>
                      <a:pt x="206" y="383"/>
                    </a:lnTo>
                    <a:lnTo>
                      <a:pt x="206" y="376"/>
                    </a:lnTo>
                    <a:lnTo>
                      <a:pt x="206" y="376"/>
                    </a:lnTo>
                    <a:lnTo>
                      <a:pt x="192" y="362"/>
                    </a:lnTo>
                    <a:lnTo>
                      <a:pt x="192" y="362"/>
                    </a:lnTo>
                    <a:lnTo>
                      <a:pt x="185" y="355"/>
                    </a:lnTo>
                    <a:lnTo>
                      <a:pt x="185" y="355"/>
                    </a:lnTo>
                    <a:lnTo>
                      <a:pt x="185" y="355"/>
                    </a:lnTo>
                    <a:lnTo>
                      <a:pt x="178" y="355"/>
                    </a:lnTo>
                    <a:lnTo>
                      <a:pt x="178" y="355"/>
                    </a:lnTo>
                    <a:lnTo>
                      <a:pt x="178" y="355"/>
                    </a:lnTo>
                    <a:lnTo>
                      <a:pt x="171" y="355"/>
                    </a:lnTo>
                    <a:lnTo>
                      <a:pt x="171" y="355"/>
                    </a:lnTo>
                    <a:lnTo>
                      <a:pt x="171" y="355"/>
                    </a:lnTo>
                    <a:lnTo>
                      <a:pt x="171" y="355"/>
                    </a:lnTo>
                    <a:lnTo>
                      <a:pt x="171" y="348"/>
                    </a:lnTo>
                    <a:lnTo>
                      <a:pt x="171" y="348"/>
                    </a:lnTo>
                    <a:lnTo>
                      <a:pt x="171" y="348"/>
                    </a:lnTo>
                    <a:lnTo>
                      <a:pt x="171" y="348"/>
                    </a:lnTo>
                    <a:lnTo>
                      <a:pt x="171" y="348"/>
                    </a:lnTo>
                    <a:lnTo>
                      <a:pt x="164" y="341"/>
                    </a:lnTo>
                    <a:lnTo>
                      <a:pt x="164" y="341"/>
                    </a:lnTo>
                    <a:lnTo>
                      <a:pt x="157" y="334"/>
                    </a:lnTo>
                    <a:lnTo>
                      <a:pt x="157" y="334"/>
                    </a:lnTo>
                    <a:lnTo>
                      <a:pt x="157" y="334"/>
                    </a:lnTo>
                    <a:lnTo>
                      <a:pt x="157" y="334"/>
                    </a:lnTo>
                    <a:lnTo>
                      <a:pt x="150" y="327"/>
                    </a:lnTo>
                    <a:lnTo>
                      <a:pt x="150" y="327"/>
                    </a:lnTo>
                    <a:lnTo>
                      <a:pt x="150" y="320"/>
                    </a:lnTo>
                    <a:lnTo>
                      <a:pt x="142" y="320"/>
                    </a:lnTo>
                    <a:lnTo>
                      <a:pt x="142" y="305"/>
                    </a:lnTo>
                    <a:lnTo>
                      <a:pt x="135" y="298"/>
                    </a:lnTo>
                    <a:lnTo>
                      <a:pt x="135" y="298"/>
                    </a:lnTo>
                    <a:lnTo>
                      <a:pt x="135" y="298"/>
                    </a:lnTo>
                    <a:lnTo>
                      <a:pt x="135" y="291"/>
                    </a:lnTo>
                    <a:lnTo>
                      <a:pt x="135" y="291"/>
                    </a:lnTo>
                    <a:lnTo>
                      <a:pt x="135" y="291"/>
                    </a:lnTo>
                    <a:lnTo>
                      <a:pt x="135" y="284"/>
                    </a:lnTo>
                    <a:lnTo>
                      <a:pt x="135" y="284"/>
                    </a:lnTo>
                    <a:lnTo>
                      <a:pt x="135" y="284"/>
                    </a:lnTo>
                    <a:lnTo>
                      <a:pt x="135" y="277"/>
                    </a:lnTo>
                    <a:lnTo>
                      <a:pt x="135" y="277"/>
                    </a:lnTo>
                    <a:lnTo>
                      <a:pt x="135" y="277"/>
                    </a:lnTo>
                    <a:lnTo>
                      <a:pt x="135" y="277"/>
                    </a:lnTo>
                    <a:lnTo>
                      <a:pt x="135" y="277"/>
                    </a:lnTo>
                    <a:lnTo>
                      <a:pt x="135" y="277"/>
                    </a:lnTo>
                    <a:lnTo>
                      <a:pt x="135" y="270"/>
                    </a:lnTo>
                    <a:lnTo>
                      <a:pt x="135" y="270"/>
                    </a:lnTo>
                    <a:lnTo>
                      <a:pt x="135" y="270"/>
                    </a:lnTo>
                    <a:lnTo>
                      <a:pt x="135" y="270"/>
                    </a:lnTo>
                    <a:lnTo>
                      <a:pt x="128" y="270"/>
                    </a:lnTo>
                    <a:lnTo>
                      <a:pt x="128" y="270"/>
                    </a:lnTo>
                    <a:lnTo>
                      <a:pt x="121" y="263"/>
                    </a:lnTo>
                    <a:lnTo>
                      <a:pt x="121" y="263"/>
                    </a:lnTo>
                    <a:lnTo>
                      <a:pt x="121" y="256"/>
                    </a:lnTo>
                    <a:lnTo>
                      <a:pt x="121" y="256"/>
                    </a:lnTo>
                    <a:lnTo>
                      <a:pt x="121" y="256"/>
                    </a:lnTo>
                    <a:lnTo>
                      <a:pt x="121" y="256"/>
                    </a:lnTo>
                    <a:lnTo>
                      <a:pt x="121" y="256"/>
                    </a:lnTo>
                    <a:lnTo>
                      <a:pt x="121" y="249"/>
                    </a:lnTo>
                    <a:lnTo>
                      <a:pt x="121" y="249"/>
                    </a:lnTo>
                    <a:lnTo>
                      <a:pt x="121" y="249"/>
                    </a:lnTo>
                    <a:lnTo>
                      <a:pt x="121" y="249"/>
                    </a:lnTo>
                    <a:lnTo>
                      <a:pt x="121" y="249"/>
                    </a:lnTo>
                    <a:lnTo>
                      <a:pt x="121" y="249"/>
                    </a:lnTo>
                    <a:lnTo>
                      <a:pt x="121" y="249"/>
                    </a:lnTo>
                    <a:lnTo>
                      <a:pt x="121" y="241"/>
                    </a:lnTo>
                    <a:lnTo>
                      <a:pt x="121" y="241"/>
                    </a:lnTo>
                    <a:lnTo>
                      <a:pt x="121" y="241"/>
                    </a:lnTo>
                    <a:lnTo>
                      <a:pt x="121" y="241"/>
                    </a:lnTo>
                    <a:lnTo>
                      <a:pt x="121" y="241"/>
                    </a:lnTo>
                    <a:lnTo>
                      <a:pt x="121" y="241"/>
                    </a:lnTo>
                    <a:lnTo>
                      <a:pt x="121" y="241"/>
                    </a:lnTo>
                    <a:lnTo>
                      <a:pt x="121" y="241"/>
                    </a:lnTo>
                    <a:lnTo>
                      <a:pt x="121" y="234"/>
                    </a:lnTo>
                    <a:lnTo>
                      <a:pt x="121" y="234"/>
                    </a:lnTo>
                    <a:lnTo>
                      <a:pt x="121" y="234"/>
                    </a:lnTo>
                    <a:lnTo>
                      <a:pt x="121" y="234"/>
                    </a:lnTo>
                    <a:lnTo>
                      <a:pt x="114" y="234"/>
                    </a:lnTo>
                    <a:lnTo>
                      <a:pt x="114" y="234"/>
                    </a:lnTo>
                    <a:lnTo>
                      <a:pt x="114" y="234"/>
                    </a:lnTo>
                    <a:lnTo>
                      <a:pt x="114" y="234"/>
                    </a:lnTo>
                    <a:lnTo>
                      <a:pt x="114" y="234"/>
                    </a:lnTo>
                    <a:lnTo>
                      <a:pt x="114" y="234"/>
                    </a:lnTo>
                    <a:lnTo>
                      <a:pt x="114" y="234"/>
                    </a:lnTo>
                    <a:lnTo>
                      <a:pt x="114" y="234"/>
                    </a:lnTo>
                    <a:lnTo>
                      <a:pt x="114" y="234"/>
                    </a:lnTo>
                    <a:lnTo>
                      <a:pt x="114" y="234"/>
                    </a:lnTo>
                    <a:lnTo>
                      <a:pt x="114" y="227"/>
                    </a:lnTo>
                    <a:lnTo>
                      <a:pt x="114" y="227"/>
                    </a:lnTo>
                    <a:lnTo>
                      <a:pt x="114" y="227"/>
                    </a:lnTo>
                    <a:lnTo>
                      <a:pt x="107" y="227"/>
                    </a:lnTo>
                    <a:lnTo>
                      <a:pt x="107" y="234"/>
                    </a:lnTo>
                    <a:lnTo>
                      <a:pt x="107" y="234"/>
                    </a:lnTo>
                    <a:lnTo>
                      <a:pt x="107" y="234"/>
                    </a:lnTo>
                    <a:lnTo>
                      <a:pt x="107" y="234"/>
                    </a:lnTo>
                    <a:lnTo>
                      <a:pt x="100" y="234"/>
                    </a:lnTo>
                    <a:lnTo>
                      <a:pt x="100" y="234"/>
                    </a:lnTo>
                    <a:lnTo>
                      <a:pt x="100" y="234"/>
                    </a:lnTo>
                    <a:lnTo>
                      <a:pt x="100" y="234"/>
                    </a:lnTo>
                    <a:lnTo>
                      <a:pt x="100" y="234"/>
                    </a:lnTo>
                    <a:lnTo>
                      <a:pt x="93" y="234"/>
                    </a:lnTo>
                    <a:lnTo>
                      <a:pt x="93" y="234"/>
                    </a:lnTo>
                    <a:lnTo>
                      <a:pt x="93" y="234"/>
                    </a:lnTo>
                    <a:lnTo>
                      <a:pt x="93" y="234"/>
                    </a:lnTo>
                    <a:lnTo>
                      <a:pt x="86" y="234"/>
                    </a:lnTo>
                    <a:lnTo>
                      <a:pt x="86" y="234"/>
                    </a:lnTo>
                    <a:lnTo>
                      <a:pt x="86" y="234"/>
                    </a:lnTo>
                    <a:lnTo>
                      <a:pt x="86" y="234"/>
                    </a:lnTo>
                    <a:lnTo>
                      <a:pt x="86" y="234"/>
                    </a:lnTo>
                    <a:lnTo>
                      <a:pt x="79" y="234"/>
                    </a:lnTo>
                    <a:lnTo>
                      <a:pt x="79" y="234"/>
                    </a:lnTo>
                    <a:lnTo>
                      <a:pt x="79" y="234"/>
                    </a:lnTo>
                    <a:lnTo>
                      <a:pt x="79" y="234"/>
                    </a:lnTo>
                    <a:lnTo>
                      <a:pt x="79" y="234"/>
                    </a:lnTo>
                    <a:lnTo>
                      <a:pt x="79" y="234"/>
                    </a:lnTo>
                    <a:lnTo>
                      <a:pt x="71" y="234"/>
                    </a:lnTo>
                    <a:lnTo>
                      <a:pt x="71" y="227"/>
                    </a:lnTo>
                    <a:lnTo>
                      <a:pt x="71" y="227"/>
                    </a:lnTo>
                    <a:lnTo>
                      <a:pt x="71" y="227"/>
                    </a:lnTo>
                    <a:lnTo>
                      <a:pt x="71" y="234"/>
                    </a:lnTo>
                    <a:lnTo>
                      <a:pt x="64" y="234"/>
                    </a:lnTo>
                    <a:lnTo>
                      <a:pt x="64" y="234"/>
                    </a:lnTo>
                    <a:lnTo>
                      <a:pt x="64" y="234"/>
                    </a:lnTo>
                    <a:lnTo>
                      <a:pt x="64" y="227"/>
                    </a:lnTo>
                    <a:lnTo>
                      <a:pt x="64" y="227"/>
                    </a:lnTo>
                    <a:lnTo>
                      <a:pt x="64" y="227"/>
                    </a:lnTo>
                    <a:lnTo>
                      <a:pt x="64" y="227"/>
                    </a:lnTo>
                    <a:lnTo>
                      <a:pt x="57" y="220"/>
                    </a:lnTo>
                    <a:lnTo>
                      <a:pt x="57" y="220"/>
                    </a:lnTo>
                    <a:lnTo>
                      <a:pt x="57" y="220"/>
                    </a:lnTo>
                    <a:lnTo>
                      <a:pt x="57" y="220"/>
                    </a:lnTo>
                    <a:lnTo>
                      <a:pt x="57" y="220"/>
                    </a:lnTo>
                    <a:lnTo>
                      <a:pt x="57" y="220"/>
                    </a:lnTo>
                    <a:lnTo>
                      <a:pt x="50" y="213"/>
                    </a:lnTo>
                    <a:lnTo>
                      <a:pt x="50" y="213"/>
                    </a:lnTo>
                    <a:lnTo>
                      <a:pt x="50" y="213"/>
                    </a:lnTo>
                    <a:lnTo>
                      <a:pt x="50" y="213"/>
                    </a:lnTo>
                    <a:lnTo>
                      <a:pt x="43" y="213"/>
                    </a:lnTo>
                    <a:lnTo>
                      <a:pt x="43" y="213"/>
                    </a:lnTo>
                    <a:lnTo>
                      <a:pt x="43" y="213"/>
                    </a:lnTo>
                    <a:lnTo>
                      <a:pt x="43" y="213"/>
                    </a:lnTo>
                    <a:lnTo>
                      <a:pt x="43" y="220"/>
                    </a:lnTo>
                    <a:lnTo>
                      <a:pt x="36" y="220"/>
                    </a:lnTo>
                    <a:lnTo>
                      <a:pt x="36" y="220"/>
                    </a:lnTo>
                    <a:lnTo>
                      <a:pt x="36" y="220"/>
                    </a:lnTo>
                    <a:lnTo>
                      <a:pt x="36" y="220"/>
                    </a:lnTo>
                    <a:lnTo>
                      <a:pt x="29" y="220"/>
                    </a:lnTo>
                    <a:lnTo>
                      <a:pt x="29" y="220"/>
                    </a:lnTo>
                    <a:lnTo>
                      <a:pt x="29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7"/>
                    </a:lnTo>
                    <a:lnTo>
                      <a:pt x="22" y="227"/>
                    </a:lnTo>
                    <a:lnTo>
                      <a:pt x="15" y="227"/>
                    </a:lnTo>
                    <a:lnTo>
                      <a:pt x="15" y="220"/>
                    </a:lnTo>
                    <a:lnTo>
                      <a:pt x="15" y="220"/>
                    </a:lnTo>
                    <a:lnTo>
                      <a:pt x="15" y="220"/>
                    </a:lnTo>
                    <a:lnTo>
                      <a:pt x="15" y="220"/>
                    </a:lnTo>
                    <a:lnTo>
                      <a:pt x="15" y="213"/>
                    </a:lnTo>
                    <a:lnTo>
                      <a:pt x="8" y="213"/>
                    </a:lnTo>
                    <a:lnTo>
                      <a:pt x="8" y="213"/>
                    </a:lnTo>
                    <a:lnTo>
                      <a:pt x="8" y="213"/>
                    </a:lnTo>
                    <a:lnTo>
                      <a:pt x="8" y="206"/>
                    </a:lnTo>
                    <a:lnTo>
                      <a:pt x="8" y="206"/>
                    </a:lnTo>
                    <a:lnTo>
                      <a:pt x="8" y="206"/>
                    </a:lnTo>
                    <a:lnTo>
                      <a:pt x="8" y="206"/>
                    </a:lnTo>
                    <a:lnTo>
                      <a:pt x="8" y="206"/>
                    </a:lnTo>
                    <a:lnTo>
                      <a:pt x="8" y="206"/>
                    </a:lnTo>
                    <a:lnTo>
                      <a:pt x="15" y="206"/>
                    </a:lnTo>
                    <a:lnTo>
                      <a:pt x="15" y="206"/>
                    </a:lnTo>
                    <a:lnTo>
                      <a:pt x="15" y="206"/>
                    </a:lnTo>
                    <a:lnTo>
                      <a:pt x="15" y="206"/>
                    </a:lnTo>
                    <a:lnTo>
                      <a:pt x="15" y="199"/>
                    </a:lnTo>
                    <a:lnTo>
                      <a:pt x="15" y="199"/>
                    </a:lnTo>
                    <a:lnTo>
                      <a:pt x="15" y="199"/>
                    </a:lnTo>
                    <a:lnTo>
                      <a:pt x="15" y="192"/>
                    </a:lnTo>
                    <a:lnTo>
                      <a:pt x="15" y="192"/>
                    </a:lnTo>
                    <a:lnTo>
                      <a:pt x="15" y="192"/>
                    </a:lnTo>
                    <a:lnTo>
                      <a:pt x="15" y="185"/>
                    </a:lnTo>
                    <a:lnTo>
                      <a:pt x="15" y="178"/>
                    </a:lnTo>
                    <a:lnTo>
                      <a:pt x="15" y="170"/>
                    </a:lnTo>
                    <a:lnTo>
                      <a:pt x="15" y="170"/>
                    </a:lnTo>
                    <a:lnTo>
                      <a:pt x="15" y="163"/>
                    </a:lnTo>
                    <a:lnTo>
                      <a:pt x="15" y="163"/>
                    </a:lnTo>
                    <a:lnTo>
                      <a:pt x="15" y="163"/>
                    </a:lnTo>
                    <a:lnTo>
                      <a:pt x="15" y="163"/>
                    </a:lnTo>
                    <a:lnTo>
                      <a:pt x="15" y="163"/>
                    </a:lnTo>
                    <a:lnTo>
                      <a:pt x="15" y="163"/>
                    </a:lnTo>
                    <a:lnTo>
                      <a:pt x="15" y="163"/>
                    </a:lnTo>
                    <a:lnTo>
                      <a:pt x="15" y="163"/>
                    </a:lnTo>
                    <a:lnTo>
                      <a:pt x="15" y="163"/>
                    </a:lnTo>
                    <a:lnTo>
                      <a:pt x="8" y="163"/>
                    </a:lnTo>
                    <a:lnTo>
                      <a:pt x="8" y="163"/>
                    </a:lnTo>
                    <a:lnTo>
                      <a:pt x="8" y="163"/>
                    </a:lnTo>
                    <a:lnTo>
                      <a:pt x="8" y="163"/>
                    </a:lnTo>
                    <a:lnTo>
                      <a:pt x="8" y="163"/>
                    </a:lnTo>
                    <a:lnTo>
                      <a:pt x="8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8" y="149"/>
                    </a:lnTo>
                    <a:lnTo>
                      <a:pt x="8" y="149"/>
                    </a:lnTo>
                    <a:lnTo>
                      <a:pt x="8" y="149"/>
                    </a:lnTo>
                    <a:lnTo>
                      <a:pt x="8" y="149"/>
                    </a:lnTo>
                    <a:lnTo>
                      <a:pt x="8" y="149"/>
                    </a:lnTo>
                    <a:lnTo>
                      <a:pt x="8" y="149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8" y="135"/>
                    </a:lnTo>
                    <a:lnTo>
                      <a:pt x="15" y="135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35"/>
                    </a:lnTo>
                    <a:lnTo>
                      <a:pt x="29" y="135"/>
                    </a:lnTo>
                    <a:lnTo>
                      <a:pt x="29" y="135"/>
                    </a:lnTo>
                    <a:lnTo>
                      <a:pt x="29" y="135"/>
                    </a:lnTo>
                    <a:lnTo>
                      <a:pt x="29" y="135"/>
                    </a:lnTo>
                    <a:lnTo>
                      <a:pt x="36" y="135"/>
                    </a:lnTo>
                    <a:lnTo>
                      <a:pt x="36" y="135"/>
                    </a:lnTo>
                    <a:lnTo>
                      <a:pt x="36" y="135"/>
                    </a:lnTo>
                    <a:lnTo>
                      <a:pt x="43" y="128"/>
                    </a:lnTo>
                    <a:lnTo>
                      <a:pt x="43" y="128"/>
                    </a:lnTo>
                    <a:lnTo>
                      <a:pt x="43" y="128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50" y="135"/>
                    </a:lnTo>
                    <a:lnTo>
                      <a:pt x="50" y="135"/>
                    </a:lnTo>
                    <a:lnTo>
                      <a:pt x="50" y="135"/>
                    </a:lnTo>
                    <a:lnTo>
                      <a:pt x="57" y="135"/>
                    </a:lnTo>
                    <a:lnTo>
                      <a:pt x="57" y="135"/>
                    </a:lnTo>
                    <a:lnTo>
                      <a:pt x="57" y="135"/>
                    </a:lnTo>
                    <a:lnTo>
                      <a:pt x="57" y="135"/>
                    </a:lnTo>
                    <a:lnTo>
                      <a:pt x="57" y="135"/>
                    </a:lnTo>
                    <a:lnTo>
                      <a:pt x="57" y="142"/>
                    </a:lnTo>
                    <a:lnTo>
                      <a:pt x="57" y="142"/>
                    </a:lnTo>
                    <a:lnTo>
                      <a:pt x="57" y="142"/>
                    </a:lnTo>
                    <a:lnTo>
                      <a:pt x="57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49"/>
                    </a:lnTo>
                    <a:lnTo>
                      <a:pt x="64" y="149"/>
                    </a:lnTo>
                    <a:lnTo>
                      <a:pt x="64" y="149"/>
                    </a:lnTo>
                    <a:lnTo>
                      <a:pt x="71" y="149"/>
                    </a:lnTo>
                    <a:lnTo>
                      <a:pt x="71" y="149"/>
                    </a:lnTo>
                    <a:lnTo>
                      <a:pt x="71" y="142"/>
                    </a:lnTo>
                    <a:lnTo>
                      <a:pt x="79" y="142"/>
                    </a:lnTo>
                    <a:lnTo>
                      <a:pt x="79" y="142"/>
                    </a:lnTo>
                    <a:lnTo>
                      <a:pt x="79" y="142"/>
                    </a:lnTo>
                    <a:lnTo>
                      <a:pt x="79" y="142"/>
                    </a:lnTo>
                    <a:lnTo>
                      <a:pt x="79" y="142"/>
                    </a:lnTo>
                    <a:lnTo>
                      <a:pt x="79" y="142"/>
                    </a:lnTo>
                    <a:lnTo>
                      <a:pt x="79" y="142"/>
                    </a:lnTo>
                    <a:lnTo>
                      <a:pt x="79" y="142"/>
                    </a:lnTo>
                    <a:lnTo>
                      <a:pt x="79" y="142"/>
                    </a:lnTo>
                    <a:lnTo>
                      <a:pt x="79" y="142"/>
                    </a:lnTo>
                    <a:lnTo>
                      <a:pt x="79" y="142"/>
                    </a:lnTo>
                    <a:lnTo>
                      <a:pt x="79" y="142"/>
                    </a:lnTo>
                    <a:lnTo>
                      <a:pt x="86" y="142"/>
                    </a:lnTo>
                    <a:lnTo>
                      <a:pt x="86" y="142"/>
                    </a:lnTo>
                    <a:lnTo>
                      <a:pt x="79" y="142"/>
                    </a:lnTo>
                    <a:lnTo>
                      <a:pt x="79" y="142"/>
                    </a:lnTo>
                    <a:lnTo>
                      <a:pt x="79" y="149"/>
                    </a:lnTo>
                    <a:lnTo>
                      <a:pt x="79" y="149"/>
                    </a:lnTo>
                    <a:lnTo>
                      <a:pt x="79" y="149"/>
                    </a:lnTo>
                    <a:lnTo>
                      <a:pt x="79" y="149"/>
                    </a:lnTo>
                    <a:lnTo>
                      <a:pt x="79" y="149"/>
                    </a:lnTo>
                    <a:lnTo>
                      <a:pt x="79" y="149"/>
                    </a:lnTo>
                    <a:lnTo>
                      <a:pt x="79" y="149"/>
                    </a:lnTo>
                    <a:lnTo>
                      <a:pt x="79" y="149"/>
                    </a:lnTo>
                    <a:lnTo>
                      <a:pt x="79" y="149"/>
                    </a:lnTo>
                    <a:lnTo>
                      <a:pt x="79" y="149"/>
                    </a:lnTo>
                    <a:lnTo>
                      <a:pt x="79" y="156"/>
                    </a:lnTo>
                    <a:lnTo>
                      <a:pt x="79" y="156"/>
                    </a:lnTo>
                    <a:lnTo>
                      <a:pt x="86" y="156"/>
                    </a:lnTo>
                    <a:lnTo>
                      <a:pt x="86" y="156"/>
                    </a:lnTo>
                    <a:lnTo>
                      <a:pt x="86" y="156"/>
                    </a:lnTo>
                    <a:lnTo>
                      <a:pt x="86" y="156"/>
                    </a:lnTo>
                    <a:lnTo>
                      <a:pt x="86" y="156"/>
                    </a:lnTo>
                    <a:lnTo>
                      <a:pt x="86" y="156"/>
                    </a:lnTo>
                    <a:lnTo>
                      <a:pt x="86" y="156"/>
                    </a:lnTo>
                    <a:lnTo>
                      <a:pt x="86" y="156"/>
                    </a:lnTo>
                    <a:lnTo>
                      <a:pt x="86" y="156"/>
                    </a:lnTo>
                    <a:lnTo>
                      <a:pt x="86" y="156"/>
                    </a:lnTo>
                    <a:lnTo>
                      <a:pt x="93" y="156"/>
                    </a:lnTo>
                    <a:lnTo>
                      <a:pt x="93" y="156"/>
                    </a:lnTo>
                    <a:lnTo>
                      <a:pt x="93" y="149"/>
                    </a:lnTo>
                    <a:lnTo>
                      <a:pt x="93" y="156"/>
                    </a:lnTo>
                    <a:lnTo>
                      <a:pt x="93" y="156"/>
                    </a:lnTo>
                    <a:lnTo>
                      <a:pt x="93" y="156"/>
                    </a:lnTo>
                    <a:lnTo>
                      <a:pt x="93" y="156"/>
                    </a:lnTo>
                    <a:lnTo>
                      <a:pt x="93" y="156"/>
                    </a:lnTo>
                    <a:lnTo>
                      <a:pt x="93" y="156"/>
                    </a:lnTo>
                    <a:lnTo>
                      <a:pt x="100" y="163"/>
                    </a:lnTo>
                    <a:lnTo>
                      <a:pt x="100" y="163"/>
                    </a:lnTo>
                    <a:lnTo>
                      <a:pt x="100" y="163"/>
                    </a:lnTo>
                    <a:lnTo>
                      <a:pt x="100" y="163"/>
                    </a:lnTo>
                    <a:lnTo>
                      <a:pt x="100" y="163"/>
                    </a:lnTo>
                    <a:lnTo>
                      <a:pt x="100" y="163"/>
                    </a:lnTo>
                    <a:lnTo>
                      <a:pt x="100" y="163"/>
                    </a:lnTo>
                    <a:lnTo>
                      <a:pt x="100" y="163"/>
                    </a:lnTo>
                    <a:lnTo>
                      <a:pt x="100" y="163"/>
                    </a:lnTo>
                    <a:lnTo>
                      <a:pt x="93" y="163"/>
                    </a:lnTo>
                    <a:lnTo>
                      <a:pt x="93" y="163"/>
                    </a:lnTo>
                    <a:lnTo>
                      <a:pt x="93" y="163"/>
                    </a:lnTo>
                    <a:lnTo>
                      <a:pt x="93" y="163"/>
                    </a:lnTo>
                    <a:lnTo>
                      <a:pt x="93" y="163"/>
                    </a:lnTo>
                    <a:lnTo>
                      <a:pt x="93" y="163"/>
                    </a:lnTo>
                    <a:lnTo>
                      <a:pt x="93" y="170"/>
                    </a:lnTo>
                    <a:lnTo>
                      <a:pt x="93" y="170"/>
                    </a:lnTo>
                    <a:lnTo>
                      <a:pt x="93" y="170"/>
                    </a:lnTo>
                    <a:lnTo>
                      <a:pt x="93" y="170"/>
                    </a:lnTo>
                    <a:lnTo>
                      <a:pt x="93" y="170"/>
                    </a:lnTo>
                    <a:lnTo>
                      <a:pt x="93" y="170"/>
                    </a:lnTo>
                    <a:lnTo>
                      <a:pt x="93" y="170"/>
                    </a:lnTo>
                    <a:lnTo>
                      <a:pt x="93" y="170"/>
                    </a:lnTo>
                    <a:lnTo>
                      <a:pt x="93" y="170"/>
                    </a:lnTo>
                    <a:lnTo>
                      <a:pt x="93" y="170"/>
                    </a:lnTo>
                    <a:lnTo>
                      <a:pt x="93" y="178"/>
                    </a:lnTo>
                    <a:lnTo>
                      <a:pt x="93" y="178"/>
                    </a:lnTo>
                    <a:lnTo>
                      <a:pt x="93" y="178"/>
                    </a:lnTo>
                    <a:lnTo>
                      <a:pt x="93" y="178"/>
                    </a:lnTo>
                    <a:lnTo>
                      <a:pt x="93" y="178"/>
                    </a:lnTo>
                    <a:lnTo>
                      <a:pt x="93" y="178"/>
                    </a:lnTo>
                    <a:lnTo>
                      <a:pt x="93" y="178"/>
                    </a:lnTo>
                    <a:lnTo>
                      <a:pt x="93" y="178"/>
                    </a:lnTo>
                    <a:lnTo>
                      <a:pt x="93" y="185"/>
                    </a:lnTo>
                    <a:lnTo>
                      <a:pt x="93" y="185"/>
                    </a:lnTo>
                    <a:lnTo>
                      <a:pt x="100" y="185"/>
                    </a:lnTo>
                    <a:lnTo>
                      <a:pt x="100" y="185"/>
                    </a:lnTo>
                    <a:lnTo>
                      <a:pt x="100" y="185"/>
                    </a:lnTo>
                    <a:lnTo>
                      <a:pt x="100" y="185"/>
                    </a:lnTo>
                    <a:lnTo>
                      <a:pt x="100" y="185"/>
                    </a:lnTo>
                    <a:lnTo>
                      <a:pt x="100" y="185"/>
                    </a:lnTo>
                    <a:lnTo>
                      <a:pt x="100" y="192"/>
                    </a:lnTo>
                    <a:lnTo>
                      <a:pt x="100" y="192"/>
                    </a:lnTo>
                    <a:lnTo>
                      <a:pt x="100" y="192"/>
                    </a:lnTo>
                    <a:lnTo>
                      <a:pt x="107" y="192"/>
                    </a:lnTo>
                    <a:lnTo>
                      <a:pt x="107" y="192"/>
                    </a:lnTo>
                    <a:lnTo>
                      <a:pt x="107" y="185"/>
                    </a:lnTo>
                    <a:lnTo>
                      <a:pt x="107" y="185"/>
                    </a:lnTo>
                    <a:lnTo>
                      <a:pt x="107" y="185"/>
                    </a:lnTo>
                    <a:lnTo>
                      <a:pt x="107" y="185"/>
                    </a:lnTo>
                    <a:lnTo>
                      <a:pt x="107" y="185"/>
                    </a:lnTo>
                    <a:lnTo>
                      <a:pt x="107" y="178"/>
                    </a:lnTo>
                    <a:lnTo>
                      <a:pt x="107" y="178"/>
                    </a:lnTo>
                    <a:lnTo>
                      <a:pt x="107" y="178"/>
                    </a:lnTo>
                    <a:lnTo>
                      <a:pt x="114" y="178"/>
                    </a:lnTo>
                    <a:lnTo>
                      <a:pt x="114" y="178"/>
                    </a:lnTo>
                    <a:lnTo>
                      <a:pt x="114" y="178"/>
                    </a:lnTo>
                    <a:lnTo>
                      <a:pt x="114" y="178"/>
                    </a:lnTo>
                    <a:lnTo>
                      <a:pt x="114" y="178"/>
                    </a:lnTo>
                    <a:lnTo>
                      <a:pt x="114" y="170"/>
                    </a:lnTo>
                    <a:lnTo>
                      <a:pt x="114" y="170"/>
                    </a:lnTo>
                    <a:lnTo>
                      <a:pt x="114" y="170"/>
                    </a:lnTo>
                    <a:lnTo>
                      <a:pt x="121" y="170"/>
                    </a:lnTo>
                    <a:lnTo>
                      <a:pt x="121" y="163"/>
                    </a:lnTo>
                    <a:lnTo>
                      <a:pt x="121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35" y="156"/>
                    </a:lnTo>
                    <a:lnTo>
                      <a:pt x="135" y="156"/>
                    </a:lnTo>
                    <a:lnTo>
                      <a:pt x="135" y="156"/>
                    </a:lnTo>
                    <a:lnTo>
                      <a:pt x="142" y="156"/>
                    </a:lnTo>
                    <a:lnTo>
                      <a:pt x="142" y="163"/>
                    </a:lnTo>
                    <a:lnTo>
                      <a:pt x="150" y="163"/>
                    </a:lnTo>
                    <a:lnTo>
                      <a:pt x="150" y="163"/>
                    </a:lnTo>
                    <a:lnTo>
                      <a:pt x="150" y="163"/>
                    </a:lnTo>
                    <a:lnTo>
                      <a:pt x="157" y="163"/>
                    </a:lnTo>
                    <a:lnTo>
                      <a:pt x="157" y="163"/>
                    </a:lnTo>
                    <a:lnTo>
                      <a:pt x="164" y="163"/>
                    </a:lnTo>
                    <a:lnTo>
                      <a:pt x="164" y="163"/>
                    </a:lnTo>
                    <a:lnTo>
                      <a:pt x="164" y="156"/>
                    </a:lnTo>
                    <a:lnTo>
                      <a:pt x="164" y="156"/>
                    </a:lnTo>
                    <a:lnTo>
                      <a:pt x="164" y="156"/>
                    </a:lnTo>
                    <a:lnTo>
                      <a:pt x="164" y="156"/>
                    </a:lnTo>
                    <a:lnTo>
                      <a:pt x="171" y="156"/>
                    </a:lnTo>
                    <a:lnTo>
                      <a:pt x="171" y="156"/>
                    </a:lnTo>
                    <a:lnTo>
                      <a:pt x="171" y="156"/>
                    </a:lnTo>
                    <a:lnTo>
                      <a:pt x="171" y="156"/>
                    </a:lnTo>
                    <a:lnTo>
                      <a:pt x="178" y="156"/>
                    </a:lnTo>
                    <a:lnTo>
                      <a:pt x="178" y="156"/>
                    </a:lnTo>
                    <a:lnTo>
                      <a:pt x="178" y="156"/>
                    </a:lnTo>
                    <a:lnTo>
                      <a:pt x="178" y="156"/>
                    </a:lnTo>
                    <a:lnTo>
                      <a:pt x="185" y="163"/>
                    </a:lnTo>
                    <a:lnTo>
                      <a:pt x="185" y="163"/>
                    </a:lnTo>
                    <a:lnTo>
                      <a:pt x="185" y="163"/>
                    </a:lnTo>
                    <a:lnTo>
                      <a:pt x="185" y="163"/>
                    </a:lnTo>
                    <a:lnTo>
                      <a:pt x="192" y="163"/>
                    </a:lnTo>
                    <a:lnTo>
                      <a:pt x="192" y="163"/>
                    </a:lnTo>
                    <a:lnTo>
                      <a:pt x="192" y="163"/>
                    </a:lnTo>
                    <a:lnTo>
                      <a:pt x="199" y="163"/>
                    </a:lnTo>
                    <a:lnTo>
                      <a:pt x="199" y="163"/>
                    </a:lnTo>
                    <a:lnTo>
                      <a:pt x="206" y="163"/>
                    </a:lnTo>
                    <a:lnTo>
                      <a:pt x="206" y="163"/>
                    </a:lnTo>
                    <a:lnTo>
                      <a:pt x="206" y="163"/>
                    </a:lnTo>
                    <a:lnTo>
                      <a:pt x="206" y="156"/>
                    </a:lnTo>
                    <a:lnTo>
                      <a:pt x="213" y="156"/>
                    </a:lnTo>
                    <a:lnTo>
                      <a:pt x="221" y="156"/>
                    </a:lnTo>
                    <a:lnTo>
                      <a:pt x="221" y="156"/>
                    </a:lnTo>
                    <a:lnTo>
                      <a:pt x="221" y="149"/>
                    </a:lnTo>
                    <a:lnTo>
                      <a:pt x="228" y="149"/>
                    </a:lnTo>
                    <a:lnTo>
                      <a:pt x="228" y="149"/>
                    </a:lnTo>
                    <a:lnTo>
                      <a:pt x="228" y="149"/>
                    </a:lnTo>
                    <a:lnTo>
                      <a:pt x="228" y="142"/>
                    </a:lnTo>
                    <a:lnTo>
                      <a:pt x="228" y="142"/>
                    </a:lnTo>
                    <a:lnTo>
                      <a:pt x="221" y="142"/>
                    </a:lnTo>
                    <a:lnTo>
                      <a:pt x="221" y="142"/>
                    </a:lnTo>
                    <a:lnTo>
                      <a:pt x="221" y="142"/>
                    </a:lnTo>
                    <a:lnTo>
                      <a:pt x="221" y="142"/>
                    </a:lnTo>
                    <a:lnTo>
                      <a:pt x="221" y="135"/>
                    </a:lnTo>
                    <a:lnTo>
                      <a:pt x="221" y="135"/>
                    </a:lnTo>
                    <a:lnTo>
                      <a:pt x="221" y="135"/>
                    </a:lnTo>
                    <a:lnTo>
                      <a:pt x="221" y="135"/>
                    </a:lnTo>
                    <a:lnTo>
                      <a:pt x="228" y="128"/>
                    </a:lnTo>
                    <a:lnTo>
                      <a:pt x="228" y="121"/>
                    </a:lnTo>
                    <a:lnTo>
                      <a:pt x="228" y="121"/>
                    </a:lnTo>
                    <a:lnTo>
                      <a:pt x="228" y="121"/>
                    </a:lnTo>
                    <a:lnTo>
                      <a:pt x="228" y="121"/>
                    </a:lnTo>
                    <a:lnTo>
                      <a:pt x="228" y="121"/>
                    </a:lnTo>
                    <a:lnTo>
                      <a:pt x="228" y="121"/>
                    </a:lnTo>
                    <a:lnTo>
                      <a:pt x="228" y="121"/>
                    </a:lnTo>
                    <a:lnTo>
                      <a:pt x="228" y="121"/>
                    </a:lnTo>
                    <a:lnTo>
                      <a:pt x="228" y="121"/>
                    </a:lnTo>
                    <a:lnTo>
                      <a:pt x="228" y="121"/>
                    </a:lnTo>
                    <a:lnTo>
                      <a:pt x="228" y="121"/>
                    </a:lnTo>
                    <a:lnTo>
                      <a:pt x="228" y="114"/>
                    </a:lnTo>
                    <a:lnTo>
                      <a:pt x="235" y="114"/>
                    </a:lnTo>
                    <a:lnTo>
                      <a:pt x="228" y="114"/>
                    </a:lnTo>
                    <a:lnTo>
                      <a:pt x="228" y="114"/>
                    </a:lnTo>
                    <a:lnTo>
                      <a:pt x="228" y="114"/>
                    </a:lnTo>
                    <a:lnTo>
                      <a:pt x="228" y="114"/>
                    </a:lnTo>
                    <a:lnTo>
                      <a:pt x="228" y="114"/>
                    </a:lnTo>
                    <a:lnTo>
                      <a:pt x="228" y="114"/>
                    </a:lnTo>
                    <a:lnTo>
                      <a:pt x="228" y="114"/>
                    </a:lnTo>
                    <a:lnTo>
                      <a:pt x="228" y="114"/>
                    </a:lnTo>
                    <a:lnTo>
                      <a:pt x="228" y="107"/>
                    </a:lnTo>
                    <a:lnTo>
                      <a:pt x="228" y="107"/>
                    </a:lnTo>
                    <a:lnTo>
                      <a:pt x="228" y="107"/>
                    </a:lnTo>
                    <a:lnTo>
                      <a:pt x="235" y="114"/>
                    </a:lnTo>
                    <a:lnTo>
                      <a:pt x="235" y="114"/>
                    </a:lnTo>
                    <a:lnTo>
                      <a:pt x="235" y="114"/>
                    </a:lnTo>
                    <a:lnTo>
                      <a:pt x="235" y="114"/>
                    </a:lnTo>
                    <a:lnTo>
                      <a:pt x="235" y="114"/>
                    </a:lnTo>
                    <a:lnTo>
                      <a:pt x="242" y="114"/>
                    </a:lnTo>
                    <a:lnTo>
                      <a:pt x="242" y="114"/>
                    </a:lnTo>
                    <a:lnTo>
                      <a:pt x="242" y="114"/>
                    </a:lnTo>
                    <a:lnTo>
                      <a:pt x="242" y="114"/>
                    </a:lnTo>
                    <a:lnTo>
                      <a:pt x="242" y="114"/>
                    </a:lnTo>
                    <a:lnTo>
                      <a:pt x="242" y="114"/>
                    </a:lnTo>
                    <a:lnTo>
                      <a:pt x="242" y="107"/>
                    </a:lnTo>
                    <a:lnTo>
                      <a:pt x="242" y="107"/>
                    </a:lnTo>
                    <a:lnTo>
                      <a:pt x="242" y="107"/>
                    </a:lnTo>
                    <a:lnTo>
                      <a:pt x="242" y="107"/>
                    </a:lnTo>
                    <a:lnTo>
                      <a:pt x="242" y="114"/>
                    </a:lnTo>
                    <a:lnTo>
                      <a:pt x="249" y="114"/>
                    </a:lnTo>
                    <a:lnTo>
                      <a:pt x="249" y="114"/>
                    </a:lnTo>
                    <a:lnTo>
                      <a:pt x="249" y="114"/>
                    </a:lnTo>
                    <a:lnTo>
                      <a:pt x="249" y="114"/>
                    </a:lnTo>
                    <a:lnTo>
                      <a:pt x="249" y="114"/>
                    </a:lnTo>
                    <a:lnTo>
                      <a:pt x="249" y="107"/>
                    </a:lnTo>
                    <a:lnTo>
                      <a:pt x="249" y="107"/>
                    </a:lnTo>
                    <a:lnTo>
                      <a:pt x="249" y="107"/>
                    </a:lnTo>
                    <a:lnTo>
                      <a:pt x="249" y="107"/>
                    </a:lnTo>
                    <a:lnTo>
                      <a:pt x="249" y="107"/>
                    </a:lnTo>
                    <a:lnTo>
                      <a:pt x="249" y="107"/>
                    </a:lnTo>
                    <a:lnTo>
                      <a:pt x="249" y="107"/>
                    </a:lnTo>
                    <a:lnTo>
                      <a:pt x="249" y="100"/>
                    </a:lnTo>
                    <a:lnTo>
                      <a:pt x="249" y="100"/>
                    </a:lnTo>
                    <a:lnTo>
                      <a:pt x="249" y="100"/>
                    </a:lnTo>
                    <a:lnTo>
                      <a:pt x="249" y="100"/>
                    </a:lnTo>
                    <a:lnTo>
                      <a:pt x="256" y="107"/>
                    </a:lnTo>
                    <a:lnTo>
                      <a:pt x="256" y="107"/>
                    </a:lnTo>
                    <a:lnTo>
                      <a:pt x="256" y="114"/>
                    </a:lnTo>
                    <a:lnTo>
                      <a:pt x="256" y="114"/>
                    </a:lnTo>
                    <a:lnTo>
                      <a:pt x="256" y="114"/>
                    </a:lnTo>
                    <a:lnTo>
                      <a:pt x="256" y="114"/>
                    </a:lnTo>
                    <a:lnTo>
                      <a:pt x="263" y="114"/>
                    </a:lnTo>
                    <a:lnTo>
                      <a:pt x="263" y="114"/>
                    </a:lnTo>
                    <a:lnTo>
                      <a:pt x="270" y="114"/>
                    </a:lnTo>
                    <a:lnTo>
                      <a:pt x="277" y="114"/>
                    </a:lnTo>
                    <a:lnTo>
                      <a:pt x="277" y="107"/>
                    </a:lnTo>
                    <a:lnTo>
                      <a:pt x="277" y="107"/>
                    </a:lnTo>
                    <a:lnTo>
                      <a:pt x="277" y="107"/>
                    </a:lnTo>
                    <a:lnTo>
                      <a:pt x="277" y="107"/>
                    </a:lnTo>
                    <a:lnTo>
                      <a:pt x="284" y="100"/>
                    </a:lnTo>
                    <a:lnTo>
                      <a:pt x="284" y="100"/>
                    </a:lnTo>
                    <a:lnTo>
                      <a:pt x="284" y="100"/>
                    </a:lnTo>
                    <a:lnTo>
                      <a:pt x="284" y="100"/>
                    </a:lnTo>
                    <a:lnTo>
                      <a:pt x="284" y="100"/>
                    </a:lnTo>
                    <a:lnTo>
                      <a:pt x="277" y="100"/>
                    </a:lnTo>
                    <a:lnTo>
                      <a:pt x="277" y="100"/>
                    </a:lnTo>
                    <a:lnTo>
                      <a:pt x="277" y="100"/>
                    </a:lnTo>
                    <a:lnTo>
                      <a:pt x="277" y="100"/>
                    </a:lnTo>
                    <a:lnTo>
                      <a:pt x="277" y="100"/>
                    </a:lnTo>
                    <a:lnTo>
                      <a:pt x="277" y="100"/>
                    </a:lnTo>
                    <a:lnTo>
                      <a:pt x="277" y="100"/>
                    </a:lnTo>
                    <a:lnTo>
                      <a:pt x="277" y="92"/>
                    </a:lnTo>
                    <a:lnTo>
                      <a:pt x="277" y="92"/>
                    </a:lnTo>
                    <a:lnTo>
                      <a:pt x="277" y="92"/>
                    </a:lnTo>
                    <a:lnTo>
                      <a:pt x="277" y="92"/>
                    </a:lnTo>
                    <a:lnTo>
                      <a:pt x="277" y="92"/>
                    </a:lnTo>
                    <a:lnTo>
                      <a:pt x="277" y="92"/>
                    </a:lnTo>
                    <a:lnTo>
                      <a:pt x="270" y="92"/>
                    </a:lnTo>
                    <a:lnTo>
                      <a:pt x="270" y="100"/>
                    </a:lnTo>
                    <a:lnTo>
                      <a:pt x="270" y="100"/>
                    </a:lnTo>
                    <a:lnTo>
                      <a:pt x="270" y="100"/>
                    </a:lnTo>
                    <a:lnTo>
                      <a:pt x="270" y="100"/>
                    </a:lnTo>
                    <a:lnTo>
                      <a:pt x="270" y="100"/>
                    </a:lnTo>
                    <a:lnTo>
                      <a:pt x="270" y="100"/>
                    </a:lnTo>
                    <a:lnTo>
                      <a:pt x="270" y="92"/>
                    </a:lnTo>
                    <a:lnTo>
                      <a:pt x="270" y="92"/>
                    </a:lnTo>
                    <a:lnTo>
                      <a:pt x="270" y="92"/>
                    </a:lnTo>
                    <a:lnTo>
                      <a:pt x="270" y="92"/>
                    </a:lnTo>
                    <a:lnTo>
                      <a:pt x="277" y="92"/>
                    </a:lnTo>
                    <a:lnTo>
                      <a:pt x="277" y="92"/>
                    </a:lnTo>
                    <a:lnTo>
                      <a:pt x="284" y="85"/>
                    </a:lnTo>
                    <a:lnTo>
                      <a:pt x="284" y="85"/>
                    </a:lnTo>
                    <a:lnTo>
                      <a:pt x="292" y="78"/>
                    </a:lnTo>
                    <a:lnTo>
                      <a:pt x="292" y="78"/>
                    </a:lnTo>
                    <a:lnTo>
                      <a:pt x="292" y="78"/>
                    </a:lnTo>
                    <a:lnTo>
                      <a:pt x="292" y="78"/>
                    </a:lnTo>
                    <a:lnTo>
                      <a:pt x="292" y="78"/>
                    </a:lnTo>
                    <a:lnTo>
                      <a:pt x="292" y="78"/>
                    </a:lnTo>
                    <a:lnTo>
                      <a:pt x="292" y="78"/>
                    </a:lnTo>
                    <a:lnTo>
                      <a:pt x="292" y="78"/>
                    </a:lnTo>
                    <a:lnTo>
                      <a:pt x="292" y="78"/>
                    </a:lnTo>
                    <a:lnTo>
                      <a:pt x="292" y="78"/>
                    </a:lnTo>
                    <a:lnTo>
                      <a:pt x="292" y="71"/>
                    </a:lnTo>
                    <a:lnTo>
                      <a:pt x="292" y="71"/>
                    </a:lnTo>
                    <a:lnTo>
                      <a:pt x="292" y="71"/>
                    </a:lnTo>
                    <a:lnTo>
                      <a:pt x="299" y="71"/>
                    </a:lnTo>
                    <a:lnTo>
                      <a:pt x="299" y="71"/>
                    </a:lnTo>
                    <a:lnTo>
                      <a:pt x="299" y="71"/>
                    </a:lnTo>
                    <a:lnTo>
                      <a:pt x="299" y="71"/>
                    </a:lnTo>
                    <a:lnTo>
                      <a:pt x="306" y="71"/>
                    </a:lnTo>
                    <a:lnTo>
                      <a:pt x="306" y="71"/>
                    </a:lnTo>
                    <a:lnTo>
                      <a:pt x="306" y="71"/>
                    </a:lnTo>
                    <a:lnTo>
                      <a:pt x="306" y="71"/>
                    </a:lnTo>
                    <a:lnTo>
                      <a:pt x="313" y="78"/>
                    </a:lnTo>
                    <a:lnTo>
                      <a:pt x="313" y="78"/>
                    </a:lnTo>
                    <a:lnTo>
                      <a:pt x="313" y="78"/>
                    </a:lnTo>
                    <a:lnTo>
                      <a:pt x="313" y="78"/>
                    </a:lnTo>
                    <a:lnTo>
                      <a:pt x="313" y="78"/>
                    </a:lnTo>
                    <a:lnTo>
                      <a:pt x="313" y="71"/>
                    </a:lnTo>
                    <a:lnTo>
                      <a:pt x="313" y="71"/>
                    </a:lnTo>
                    <a:lnTo>
                      <a:pt x="313" y="71"/>
                    </a:lnTo>
                    <a:lnTo>
                      <a:pt x="313" y="64"/>
                    </a:lnTo>
                    <a:lnTo>
                      <a:pt x="313" y="64"/>
                    </a:lnTo>
                    <a:lnTo>
                      <a:pt x="313" y="57"/>
                    </a:lnTo>
                    <a:lnTo>
                      <a:pt x="313" y="57"/>
                    </a:lnTo>
                    <a:lnTo>
                      <a:pt x="313" y="57"/>
                    </a:lnTo>
                    <a:lnTo>
                      <a:pt x="313" y="57"/>
                    </a:lnTo>
                    <a:lnTo>
                      <a:pt x="313" y="57"/>
                    </a:lnTo>
                    <a:lnTo>
                      <a:pt x="313" y="57"/>
                    </a:lnTo>
                    <a:lnTo>
                      <a:pt x="313" y="57"/>
                    </a:lnTo>
                    <a:lnTo>
                      <a:pt x="313" y="50"/>
                    </a:lnTo>
                    <a:lnTo>
                      <a:pt x="313" y="50"/>
                    </a:lnTo>
                    <a:lnTo>
                      <a:pt x="313" y="50"/>
                    </a:lnTo>
                    <a:lnTo>
                      <a:pt x="313" y="43"/>
                    </a:lnTo>
                    <a:lnTo>
                      <a:pt x="313" y="43"/>
                    </a:lnTo>
                    <a:lnTo>
                      <a:pt x="313" y="43"/>
                    </a:lnTo>
                    <a:lnTo>
                      <a:pt x="313" y="43"/>
                    </a:lnTo>
                    <a:lnTo>
                      <a:pt x="313" y="43"/>
                    </a:lnTo>
                    <a:lnTo>
                      <a:pt x="313" y="36"/>
                    </a:lnTo>
                    <a:lnTo>
                      <a:pt x="313" y="36"/>
                    </a:lnTo>
                    <a:lnTo>
                      <a:pt x="313" y="36"/>
                    </a:lnTo>
                    <a:lnTo>
                      <a:pt x="313" y="36"/>
                    </a:lnTo>
                    <a:lnTo>
                      <a:pt x="306" y="36"/>
                    </a:lnTo>
                    <a:lnTo>
                      <a:pt x="306" y="36"/>
                    </a:lnTo>
                    <a:lnTo>
                      <a:pt x="306" y="36"/>
                    </a:lnTo>
                    <a:lnTo>
                      <a:pt x="306" y="36"/>
                    </a:lnTo>
                    <a:lnTo>
                      <a:pt x="306" y="36"/>
                    </a:lnTo>
                    <a:lnTo>
                      <a:pt x="306" y="36"/>
                    </a:lnTo>
                    <a:lnTo>
                      <a:pt x="306" y="36"/>
                    </a:lnTo>
                    <a:lnTo>
                      <a:pt x="306" y="36"/>
                    </a:lnTo>
                    <a:lnTo>
                      <a:pt x="306" y="36"/>
                    </a:lnTo>
                    <a:lnTo>
                      <a:pt x="306" y="29"/>
                    </a:lnTo>
                    <a:lnTo>
                      <a:pt x="306" y="29"/>
                    </a:lnTo>
                    <a:lnTo>
                      <a:pt x="306" y="21"/>
                    </a:lnTo>
                    <a:lnTo>
                      <a:pt x="306" y="21"/>
                    </a:lnTo>
                    <a:lnTo>
                      <a:pt x="306" y="21"/>
                    </a:lnTo>
                    <a:lnTo>
                      <a:pt x="306" y="21"/>
                    </a:lnTo>
                    <a:lnTo>
                      <a:pt x="306" y="21"/>
                    </a:lnTo>
                    <a:lnTo>
                      <a:pt x="306" y="21"/>
                    </a:lnTo>
                    <a:lnTo>
                      <a:pt x="306" y="14"/>
                    </a:lnTo>
                    <a:lnTo>
                      <a:pt x="306" y="14"/>
                    </a:lnTo>
                    <a:lnTo>
                      <a:pt x="306" y="14"/>
                    </a:lnTo>
                    <a:lnTo>
                      <a:pt x="306" y="14"/>
                    </a:lnTo>
                    <a:lnTo>
                      <a:pt x="306" y="7"/>
                    </a:lnTo>
                    <a:lnTo>
                      <a:pt x="306" y="7"/>
                    </a:lnTo>
                    <a:lnTo>
                      <a:pt x="306" y="7"/>
                    </a:lnTo>
                    <a:lnTo>
                      <a:pt x="306" y="7"/>
                    </a:lnTo>
                    <a:lnTo>
                      <a:pt x="299" y="7"/>
                    </a:lnTo>
                    <a:lnTo>
                      <a:pt x="299" y="7"/>
                    </a:lnTo>
                    <a:lnTo>
                      <a:pt x="299" y="7"/>
                    </a:lnTo>
                    <a:lnTo>
                      <a:pt x="299" y="7"/>
                    </a:lnTo>
                    <a:lnTo>
                      <a:pt x="299" y="0"/>
                    </a:lnTo>
                    <a:lnTo>
                      <a:pt x="299" y="0"/>
                    </a:lnTo>
                    <a:lnTo>
                      <a:pt x="299" y="0"/>
                    </a:lnTo>
                    <a:lnTo>
                      <a:pt x="299" y="0"/>
                    </a:lnTo>
                    <a:lnTo>
                      <a:pt x="299" y="0"/>
                    </a:lnTo>
                    <a:lnTo>
                      <a:pt x="299" y="0"/>
                    </a:lnTo>
                    <a:lnTo>
                      <a:pt x="299" y="0"/>
                    </a:lnTo>
                    <a:lnTo>
                      <a:pt x="306" y="0"/>
                    </a:lnTo>
                    <a:lnTo>
                      <a:pt x="306" y="0"/>
                    </a:lnTo>
                    <a:lnTo>
                      <a:pt x="306" y="0"/>
                    </a:lnTo>
                    <a:lnTo>
                      <a:pt x="306" y="0"/>
                    </a:lnTo>
                    <a:lnTo>
                      <a:pt x="306" y="0"/>
                    </a:lnTo>
                    <a:lnTo>
                      <a:pt x="306" y="0"/>
                    </a:lnTo>
                    <a:lnTo>
                      <a:pt x="313" y="0"/>
                    </a:lnTo>
                    <a:lnTo>
                      <a:pt x="313" y="0"/>
                    </a:lnTo>
                    <a:lnTo>
                      <a:pt x="313" y="0"/>
                    </a:lnTo>
                    <a:lnTo>
                      <a:pt x="320" y="7"/>
                    </a:lnTo>
                    <a:lnTo>
                      <a:pt x="320" y="7"/>
                    </a:lnTo>
                    <a:lnTo>
                      <a:pt x="320" y="7"/>
                    </a:lnTo>
                    <a:lnTo>
                      <a:pt x="320" y="7"/>
                    </a:lnTo>
                    <a:lnTo>
                      <a:pt x="320" y="14"/>
                    </a:lnTo>
                    <a:lnTo>
                      <a:pt x="320" y="14"/>
                    </a:lnTo>
                    <a:lnTo>
                      <a:pt x="320" y="14"/>
                    </a:lnTo>
                    <a:lnTo>
                      <a:pt x="327" y="14"/>
                    </a:lnTo>
                    <a:lnTo>
                      <a:pt x="327" y="14"/>
                    </a:lnTo>
                    <a:lnTo>
                      <a:pt x="327" y="14"/>
                    </a:lnTo>
                    <a:lnTo>
                      <a:pt x="327" y="14"/>
                    </a:lnTo>
                    <a:lnTo>
                      <a:pt x="327" y="14"/>
                    </a:lnTo>
                    <a:lnTo>
                      <a:pt x="327" y="21"/>
                    </a:lnTo>
                    <a:lnTo>
                      <a:pt x="327" y="21"/>
                    </a:lnTo>
                    <a:lnTo>
                      <a:pt x="334" y="21"/>
                    </a:lnTo>
                    <a:lnTo>
                      <a:pt x="341" y="21"/>
                    </a:lnTo>
                    <a:lnTo>
                      <a:pt x="341" y="29"/>
                    </a:lnTo>
                    <a:lnTo>
                      <a:pt x="341" y="29"/>
                    </a:lnTo>
                    <a:lnTo>
                      <a:pt x="348" y="29"/>
                    </a:lnTo>
                    <a:lnTo>
                      <a:pt x="348" y="36"/>
                    </a:lnTo>
                    <a:lnTo>
                      <a:pt x="348" y="36"/>
                    </a:lnTo>
                    <a:lnTo>
                      <a:pt x="348" y="36"/>
                    </a:lnTo>
                    <a:lnTo>
                      <a:pt x="348" y="43"/>
                    </a:lnTo>
                    <a:lnTo>
                      <a:pt x="348" y="43"/>
                    </a:lnTo>
                    <a:lnTo>
                      <a:pt x="348" y="43"/>
                    </a:lnTo>
                    <a:lnTo>
                      <a:pt x="341" y="50"/>
                    </a:lnTo>
                    <a:lnTo>
                      <a:pt x="341" y="50"/>
                    </a:lnTo>
                    <a:lnTo>
                      <a:pt x="348" y="50"/>
                    </a:lnTo>
                    <a:lnTo>
                      <a:pt x="355" y="57"/>
                    </a:lnTo>
                    <a:lnTo>
                      <a:pt x="355" y="57"/>
                    </a:lnTo>
                    <a:lnTo>
                      <a:pt x="355" y="57"/>
                    </a:lnTo>
                    <a:lnTo>
                      <a:pt x="355" y="64"/>
                    </a:lnTo>
                    <a:lnTo>
                      <a:pt x="355" y="64"/>
                    </a:lnTo>
                    <a:lnTo>
                      <a:pt x="355" y="57"/>
                    </a:lnTo>
                    <a:lnTo>
                      <a:pt x="363" y="64"/>
                    </a:lnTo>
                    <a:lnTo>
                      <a:pt x="363" y="64"/>
                    </a:lnTo>
                    <a:lnTo>
                      <a:pt x="370" y="64"/>
                    </a:lnTo>
                    <a:lnTo>
                      <a:pt x="370" y="64"/>
                    </a:lnTo>
                    <a:lnTo>
                      <a:pt x="377" y="64"/>
                    </a:lnTo>
                    <a:lnTo>
                      <a:pt x="377" y="64"/>
                    </a:lnTo>
                    <a:lnTo>
                      <a:pt x="377" y="64"/>
                    </a:lnTo>
                    <a:lnTo>
                      <a:pt x="377" y="64"/>
                    </a:lnTo>
                    <a:lnTo>
                      <a:pt x="377" y="64"/>
                    </a:lnTo>
                    <a:lnTo>
                      <a:pt x="384" y="64"/>
                    </a:lnTo>
                    <a:lnTo>
                      <a:pt x="384" y="64"/>
                    </a:lnTo>
                    <a:lnTo>
                      <a:pt x="384" y="64"/>
                    </a:lnTo>
                    <a:lnTo>
                      <a:pt x="384" y="64"/>
                    </a:lnTo>
                    <a:lnTo>
                      <a:pt x="384" y="64"/>
                    </a:lnTo>
                    <a:lnTo>
                      <a:pt x="384" y="71"/>
                    </a:lnTo>
                    <a:lnTo>
                      <a:pt x="384" y="71"/>
                    </a:lnTo>
                    <a:lnTo>
                      <a:pt x="384" y="71"/>
                    </a:lnTo>
                    <a:lnTo>
                      <a:pt x="391" y="71"/>
                    </a:lnTo>
                    <a:lnTo>
                      <a:pt x="391" y="71"/>
                    </a:lnTo>
                    <a:lnTo>
                      <a:pt x="391" y="71"/>
                    </a:lnTo>
                    <a:lnTo>
                      <a:pt x="391" y="71"/>
                    </a:lnTo>
                    <a:lnTo>
                      <a:pt x="391" y="71"/>
                    </a:lnTo>
                    <a:lnTo>
                      <a:pt x="398" y="71"/>
                    </a:lnTo>
                    <a:lnTo>
                      <a:pt x="405" y="71"/>
                    </a:lnTo>
                    <a:lnTo>
                      <a:pt x="405" y="71"/>
                    </a:lnTo>
                    <a:lnTo>
                      <a:pt x="405" y="71"/>
                    </a:lnTo>
                    <a:lnTo>
                      <a:pt x="405" y="78"/>
                    </a:lnTo>
                    <a:lnTo>
                      <a:pt x="405" y="85"/>
                    </a:lnTo>
                    <a:lnTo>
                      <a:pt x="405" y="85"/>
                    </a:lnTo>
                    <a:lnTo>
                      <a:pt x="398" y="92"/>
                    </a:lnTo>
                    <a:lnTo>
                      <a:pt x="391" y="92"/>
                    </a:lnTo>
                    <a:lnTo>
                      <a:pt x="384" y="107"/>
                    </a:lnTo>
                    <a:lnTo>
                      <a:pt x="384" y="107"/>
                    </a:lnTo>
                    <a:lnTo>
                      <a:pt x="384" y="107"/>
                    </a:lnTo>
                    <a:lnTo>
                      <a:pt x="384" y="114"/>
                    </a:lnTo>
                    <a:lnTo>
                      <a:pt x="377" y="114"/>
                    </a:lnTo>
                    <a:lnTo>
                      <a:pt x="370" y="121"/>
                    </a:lnTo>
                    <a:lnTo>
                      <a:pt x="370" y="121"/>
                    </a:lnTo>
                    <a:lnTo>
                      <a:pt x="370" y="121"/>
                    </a:lnTo>
                    <a:lnTo>
                      <a:pt x="370" y="121"/>
                    </a:lnTo>
                    <a:lnTo>
                      <a:pt x="370" y="121"/>
                    </a:lnTo>
                    <a:lnTo>
                      <a:pt x="370" y="121"/>
                    </a:lnTo>
                    <a:lnTo>
                      <a:pt x="370" y="121"/>
                    </a:lnTo>
                    <a:lnTo>
                      <a:pt x="370" y="121"/>
                    </a:lnTo>
                    <a:lnTo>
                      <a:pt x="370" y="121"/>
                    </a:lnTo>
                    <a:lnTo>
                      <a:pt x="370" y="121"/>
                    </a:lnTo>
                    <a:lnTo>
                      <a:pt x="363" y="121"/>
                    </a:lnTo>
                    <a:lnTo>
                      <a:pt x="363" y="121"/>
                    </a:lnTo>
                    <a:lnTo>
                      <a:pt x="363" y="128"/>
                    </a:lnTo>
                    <a:lnTo>
                      <a:pt x="363" y="128"/>
                    </a:lnTo>
                    <a:lnTo>
                      <a:pt x="363" y="128"/>
                    </a:lnTo>
                    <a:lnTo>
                      <a:pt x="363" y="128"/>
                    </a:lnTo>
                    <a:lnTo>
                      <a:pt x="355" y="135"/>
                    </a:lnTo>
                    <a:lnTo>
                      <a:pt x="355" y="135"/>
                    </a:lnTo>
                    <a:lnTo>
                      <a:pt x="355" y="135"/>
                    </a:lnTo>
                    <a:lnTo>
                      <a:pt x="355" y="156"/>
                    </a:lnTo>
                    <a:lnTo>
                      <a:pt x="348" y="163"/>
                    </a:lnTo>
                    <a:lnTo>
                      <a:pt x="348" y="163"/>
                    </a:lnTo>
                    <a:lnTo>
                      <a:pt x="348" y="163"/>
                    </a:lnTo>
                    <a:lnTo>
                      <a:pt x="348" y="163"/>
                    </a:lnTo>
                    <a:lnTo>
                      <a:pt x="348" y="163"/>
                    </a:lnTo>
                    <a:lnTo>
                      <a:pt x="348" y="163"/>
                    </a:lnTo>
                    <a:lnTo>
                      <a:pt x="348" y="163"/>
                    </a:lnTo>
                    <a:lnTo>
                      <a:pt x="348" y="163"/>
                    </a:lnTo>
                    <a:lnTo>
                      <a:pt x="348" y="163"/>
                    </a:lnTo>
                    <a:lnTo>
                      <a:pt x="348" y="170"/>
                    </a:lnTo>
                    <a:lnTo>
                      <a:pt x="348" y="170"/>
                    </a:lnTo>
                    <a:lnTo>
                      <a:pt x="341" y="170"/>
                    </a:lnTo>
                    <a:lnTo>
                      <a:pt x="341" y="170"/>
                    </a:lnTo>
                    <a:lnTo>
                      <a:pt x="341" y="178"/>
                    </a:lnTo>
                    <a:lnTo>
                      <a:pt x="341" y="178"/>
                    </a:lnTo>
                    <a:lnTo>
                      <a:pt x="341" y="185"/>
                    </a:lnTo>
                    <a:lnTo>
                      <a:pt x="341" y="185"/>
                    </a:lnTo>
                    <a:lnTo>
                      <a:pt x="341" y="185"/>
                    </a:lnTo>
                    <a:lnTo>
                      <a:pt x="341" y="185"/>
                    </a:lnTo>
                    <a:lnTo>
                      <a:pt x="341" y="185"/>
                    </a:lnTo>
                    <a:lnTo>
                      <a:pt x="341" y="192"/>
                    </a:lnTo>
                    <a:lnTo>
                      <a:pt x="341" y="192"/>
                    </a:lnTo>
                    <a:lnTo>
                      <a:pt x="334" y="192"/>
                    </a:lnTo>
                    <a:lnTo>
                      <a:pt x="341" y="192"/>
                    </a:lnTo>
                    <a:lnTo>
                      <a:pt x="341" y="192"/>
                    </a:lnTo>
                    <a:lnTo>
                      <a:pt x="341" y="192"/>
                    </a:lnTo>
                    <a:lnTo>
                      <a:pt x="341" y="199"/>
                    </a:lnTo>
                    <a:lnTo>
                      <a:pt x="341" y="199"/>
                    </a:lnTo>
                    <a:lnTo>
                      <a:pt x="341" y="199"/>
                    </a:lnTo>
                    <a:lnTo>
                      <a:pt x="341" y="199"/>
                    </a:lnTo>
                    <a:lnTo>
                      <a:pt x="341" y="199"/>
                    </a:lnTo>
                    <a:lnTo>
                      <a:pt x="348" y="199"/>
                    </a:lnTo>
                    <a:lnTo>
                      <a:pt x="341" y="206"/>
                    </a:lnTo>
                    <a:lnTo>
                      <a:pt x="341" y="206"/>
                    </a:lnTo>
                    <a:lnTo>
                      <a:pt x="341" y="213"/>
                    </a:lnTo>
                    <a:lnTo>
                      <a:pt x="341" y="213"/>
                    </a:lnTo>
                    <a:lnTo>
                      <a:pt x="341" y="206"/>
                    </a:lnTo>
                    <a:lnTo>
                      <a:pt x="348" y="213"/>
                    </a:lnTo>
                    <a:lnTo>
                      <a:pt x="348" y="213"/>
                    </a:lnTo>
                    <a:lnTo>
                      <a:pt x="348" y="213"/>
                    </a:lnTo>
                    <a:lnTo>
                      <a:pt x="348" y="213"/>
                    </a:lnTo>
                    <a:lnTo>
                      <a:pt x="348" y="213"/>
                    </a:lnTo>
                    <a:lnTo>
                      <a:pt x="348" y="213"/>
                    </a:lnTo>
                    <a:lnTo>
                      <a:pt x="348" y="220"/>
                    </a:lnTo>
                    <a:lnTo>
                      <a:pt x="348" y="220"/>
                    </a:lnTo>
                    <a:lnTo>
                      <a:pt x="348" y="220"/>
                    </a:lnTo>
                    <a:lnTo>
                      <a:pt x="348" y="227"/>
                    </a:lnTo>
                    <a:lnTo>
                      <a:pt x="348" y="227"/>
                    </a:lnTo>
                    <a:lnTo>
                      <a:pt x="348" y="227"/>
                    </a:lnTo>
                    <a:lnTo>
                      <a:pt x="348" y="227"/>
                    </a:lnTo>
                    <a:lnTo>
                      <a:pt x="348" y="227"/>
                    </a:lnTo>
                    <a:lnTo>
                      <a:pt x="348" y="249"/>
                    </a:lnTo>
                    <a:lnTo>
                      <a:pt x="348" y="256"/>
                    </a:lnTo>
                    <a:lnTo>
                      <a:pt x="348" y="256"/>
                    </a:lnTo>
                    <a:lnTo>
                      <a:pt x="348" y="256"/>
                    </a:lnTo>
                    <a:lnTo>
                      <a:pt x="348" y="256"/>
                    </a:lnTo>
                    <a:lnTo>
                      <a:pt x="348" y="256"/>
                    </a:lnTo>
                    <a:lnTo>
                      <a:pt x="348" y="256"/>
                    </a:lnTo>
                    <a:lnTo>
                      <a:pt x="348" y="256"/>
                    </a:lnTo>
                    <a:lnTo>
                      <a:pt x="348" y="256"/>
                    </a:lnTo>
                    <a:lnTo>
                      <a:pt x="355" y="263"/>
                    </a:lnTo>
                    <a:lnTo>
                      <a:pt x="355" y="270"/>
                    </a:lnTo>
                    <a:lnTo>
                      <a:pt x="355" y="270"/>
                    </a:lnTo>
                    <a:lnTo>
                      <a:pt x="355" y="270"/>
                    </a:lnTo>
                    <a:lnTo>
                      <a:pt x="355" y="277"/>
                    </a:lnTo>
                    <a:lnTo>
                      <a:pt x="355" y="277"/>
                    </a:lnTo>
                    <a:lnTo>
                      <a:pt x="363" y="277"/>
                    </a:lnTo>
                    <a:lnTo>
                      <a:pt x="363" y="284"/>
                    </a:lnTo>
                    <a:lnTo>
                      <a:pt x="363" y="284"/>
                    </a:lnTo>
                    <a:lnTo>
                      <a:pt x="363" y="284"/>
                    </a:lnTo>
                    <a:lnTo>
                      <a:pt x="363" y="284"/>
                    </a:lnTo>
                    <a:lnTo>
                      <a:pt x="355" y="291"/>
                    </a:lnTo>
                    <a:lnTo>
                      <a:pt x="355" y="291"/>
                    </a:lnTo>
                    <a:lnTo>
                      <a:pt x="348" y="291"/>
                    </a:lnTo>
                    <a:lnTo>
                      <a:pt x="348" y="291"/>
                    </a:lnTo>
                    <a:lnTo>
                      <a:pt x="348" y="291"/>
                    </a:lnTo>
                    <a:lnTo>
                      <a:pt x="341" y="284"/>
                    </a:lnTo>
                    <a:lnTo>
                      <a:pt x="341" y="284"/>
                    </a:lnTo>
                    <a:lnTo>
                      <a:pt x="341" y="291"/>
                    </a:lnTo>
                    <a:lnTo>
                      <a:pt x="341" y="291"/>
                    </a:lnTo>
                    <a:lnTo>
                      <a:pt x="334" y="291"/>
                    </a:lnTo>
                    <a:lnTo>
                      <a:pt x="334" y="291"/>
                    </a:lnTo>
                    <a:lnTo>
                      <a:pt x="327" y="291"/>
                    </a:lnTo>
                    <a:lnTo>
                      <a:pt x="327" y="291"/>
                    </a:lnTo>
                    <a:lnTo>
                      <a:pt x="327" y="298"/>
                    </a:lnTo>
                    <a:lnTo>
                      <a:pt x="327" y="298"/>
                    </a:lnTo>
                    <a:lnTo>
                      <a:pt x="320" y="298"/>
                    </a:lnTo>
                    <a:lnTo>
                      <a:pt x="320" y="298"/>
                    </a:lnTo>
                    <a:lnTo>
                      <a:pt x="327" y="305"/>
                    </a:lnTo>
                    <a:lnTo>
                      <a:pt x="327" y="312"/>
                    </a:lnTo>
                    <a:lnTo>
                      <a:pt x="327" y="312"/>
                    </a:lnTo>
                    <a:lnTo>
                      <a:pt x="327" y="312"/>
                    </a:lnTo>
                    <a:lnTo>
                      <a:pt x="327" y="312"/>
                    </a:lnTo>
                    <a:lnTo>
                      <a:pt x="327" y="312"/>
                    </a:lnTo>
                    <a:lnTo>
                      <a:pt x="320" y="320"/>
                    </a:lnTo>
                    <a:lnTo>
                      <a:pt x="320" y="320"/>
                    </a:lnTo>
                    <a:lnTo>
                      <a:pt x="320" y="320"/>
                    </a:lnTo>
                    <a:lnTo>
                      <a:pt x="320" y="320"/>
                    </a:lnTo>
                    <a:lnTo>
                      <a:pt x="320" y="320"/>
                    </a:lnTo>
                    <a:lnTo>
                      <a:pt x="320" y="320"/>
                    </a:lnTo>
                    <a:lnTo>
                      <a:pt x="313" y="327"/>
                    </a:lnTo>
                    <a:lnTo>
                      <a:pt x="313" y="327"/>
                    </a:lnTo>
                    <a:lnTo>
                      <a:pt x="313" y="327"/>
                    </a:lnTo>
                    <a:lnTo>
                      <a:pt x="313" y="327"/>
                    </a:lnTo>
                    <a:lnTo>
                      <a:pt x="313" y="334"/>
                    </a:lnTo>
                    <a:lnTo>
                      <a:pt x="313" y="334"/>
                    </a:lnTo>
                    <a:lnTo>
                      <a:pt x="313" y="334"/>
                    </a:lnTo>
                    <a:lnTo>
                      <a:pt x="313" y="334"/>
                    </a:lnTo>
                    <a:lnTo>
                      <a:pt x="313" y="334"/>
                    </a:lnTo>
                    <a:lnTo>
                      <a:pt x="313" y="334"/>
                    </a:lnTo>
                    <a:lnTo>
                      <a:pt x="313" y="334"/>
                    </a:lnTo>
                    <a:lnTo>
                      <a:pt x="313" y="341"/>
                    </a:lnTo>
                    <a:lnTo>
                      <a:pt x="313" y="341"/>
                    </a:lnTo>
                    <a:lnTo>
                      <a:pt x="320" y="341"/>
                    </a:lnTo>
                    <a:lnTo>
                      <a:pt x="327" y="334"/>
                    </a:lnTo>
                    <a:lnTo>
                      <a:pt x="327" y="334"/>
                    </a:lnTo>
                    <a:lnTo>
                      <a:pt x="334" y="334"/>
                    </a:lnTo>
                    <a:lnTo>
                      <a:pt x="334" y="334"/>
                    </a:lnTo>
                    <a:lnTo>
                      <a:pt x="334" y="334"/>
                    </a:lnTo>
                    <a:lnTo>
                      <a:pt x="334" y="334"/>
                    </a:lnTo>
                    <a:lnTo>
                      <a:pt x="334" y="334"/>
                    </a:lnTo>
                    <a:lnTo>
                      <a:pt x="341" y="341"/>
                    </a:lnTo>
                    <a:lnTo>
                      <a:pt x="341" y="341"/>
                    </a:lnTo>
                    <a:lnTo>
                      <a:pt x="341" y="341"/>
                    </a:lnTo>
                    <a:lnTo>
                      <a:pt x="341" y="341"/>
                    </a:lnTo>
                    <a:lnTo>
                      <a:pt x="348" y="341"/>
                    </a:lnTo>
                    <a:lnTo>
                      <a:pt x="348" y="348"/>
                    </a:lnTo>
                    <a:lnTo>
                      <a:pt x="348" y="348"/>
                    </a:lnTo>
                    <a:lnTo>
                      <a:pt x="348" y="348"/>
                    </a:lnTo>
                    <a:lnTo>
                      <a:pt x="355" y="348"/>
                    </a:lnTo>
                    <a:lnTo>
                      <a:pt x="355" y="348"/>
                    </a:lnTo>
                    <a:lnTo>
                      <a:pt x="363" y="348"/>
                    </a:lnTo>
                    <a:lnTo>
                      <a:pt x="363" y="348"/>
                    </a:lnTo>
                    <a:lnTo>
                      <a:pt x="363" y="348"/>
                    </a:lnTo>
                    <a:lnTo>
                      <a:pt x="363" y="348"/>
                    </a:lnTo>
                    <a:lnTo>
                      <a:pt x="363" y="348"/>
                    </a:lnTo>
                    <a:lnTo>
                      <a:pt x="363" y="348"/>
                    </a:lnTo>
                    <a:lnTo>
                      <a:pt x="363" y="348"/>
                    </a:lnTo>
                    <a:lnTo>
                      <a:pt x="363" y="348"/>
                    </a:lnTo>
                    <a:lnTo>
                      <a:pt x="363" y="341"/>
                    </a:lnTo>
                    <a:lnTo>
                      <a:pt x="363" y="341"/>
                    </a:lnTo>
                    <a:lnTo>
                      <a:pt x="370" y="341"/>
                    </a:lnTo>
                    <a:lnTo>
                      <a:pt x="370" y="341"/>
                    </a:lnTo>
                    <a:lnTo>
                      <a:pt x="377" y="341"/>
                    </a:lnTo>
                    <a:lnTo>
                      <a:pt x="377" y="341"/>
                    </a:lnTo>
                    <a:lnTo>
                      <a:pt x="377" y="341"/>
                    </a:lnTo>
                    <a:lnTo>
                      <a:pt x="377" y="341"/>
                    </a:lnTo>
                    <a:lnTo>
                      <a:pt x="384" y="341"/>
                    </a:lnTo>
                    <a:lnTo>
                      <a:pt x="384" y="341"/>
                    </a:lnTo>
                    <a:lnTo>
                      <a:pt x="384" y="348"/>
                    </a:lnTo>
                    <a:lnTo>
                      <a:pt x="384" y="348"/>
                    </a:lnTo>
                    <a:lnTo>
                      <a:pt x="384" y="348"/>
                    </a:lnTo>
                    <a:lnTo>
                      <a:pt x="384" y="348"/>
                    </a:lnTo>
                    <a:lnTo>
                      <a:pt x="384" y="348"/>
                    </a:lnTo>
                    <a:lnTo>
                      <a:pt x="384" y="348"/>
                    </a:lnTo>
                    <a:lnTo>
                      <a:pt x="391" y="348"/>
                    </a:lnTo>
                    <a:lnTo>
                      <a:pt x="391" y="348"/>
                    </a:lnTo>
                    <a:lnTo>
                      <a:pt x="391" y="348"/>
                    </a:lnTo>
                    <a:lnTo>
                      <a:pt x="391" y="348"/>
                    </a:lnTo>
                    <a:lnTo>
                      <a:pt x="391" y="348"/>
                    </a:lnTo>
                    <a:lnTo>
                      <a:pt x="391" y="348"/>
                    </a:lnTo>
                    <a:lnTo>
                      <a:pt x="391" y="348"/>
                    </a:lnTo>
                    <a:lnTo>
                      <a:pt x="391" y="348"/>
                    </a:lnTo>
                    <a:lnTo>
                      <a:pt x="398" y="348"/>
                    </a:lnTo>
                    <a:lnTo>
                      <a:pt x="398" y="355"/>
                    </a:lnTo>
                    <a:lnTo>
                      <a:pt x="398" y="355"/>
                    </a:lnTo>
                    <a:lnTo>
                      <a:pt x="398" y="355"/>
                    </a:lnTo>
                    <a:lnTo>
                      <a:pt x="398" y="355"/>
                    </a:lnTo>
                    <a:lnTo>
                      <a:pt x="398" y="362"/>
                    </a:lnTo>
                    <a:lnTo>
                      <a:pt x="398" y="369"/>
                    </a:lnTo>
                    <a:lnTo>
                      <a:pt x="398" y="369"/>
                    </a:lnTo>
                    <a:lnTo>
                      <a:pt x="398" y="369"/>
                    </a:lnTo>
                    <a:lnTo>
                      <a:pt x="398" y="376"/>
                    </a:lnTo>
                    <a:lnTo>
                      <a:pt x="398" y="376"/>
                    </a:lnTo>
                    <a:lnTo>
                      <a:pt x="398" y="376"/>
                    </a:lnTo>
                    <a:lnTo>
                      <a:pt x="405" y="376"/>
                    </a:lnTo>
                    <a:lnTo>
                      <a:pt x="405" y="376"/>
                    </a:lnTo>
                    <a:lnTo>
                      <a:pt x="405" y="376"/>
                    </a:lnTo>
                    <a:lnTo>
                      <a:pt x="405" y="376"/>
                    </a:lnTo>
                    <a:lnTo>
                      <a:pt x="405" y="376"/>
                    </a:lnTo>
                    <a:lnTo>
                      <a:pt x="405" y="383"/>
                    </a:lnTo>
                    <a:lnTo>
                      <a:pt x="405" y="383"/>
                    </a:lnTo>
                    <a:lnTo>
                      <a:pt x="398" y="383"/>
                    </a:lnTo>
                    <a:lnTo>
                      <a:pt x="398" y="383"/>
                    </a:lnTo>
                    <a:lnTo>
                      <a:pt x="398" y="383"/>
                    </a:lnTo>
                    <a:lnTo>
                      <a:pt x="398" y="383"/>
                    </a:lnTo>
                    <a:lnTo>
                      <a:pt x="405" y="383"/>
                    </a:lnTo>
                    <a:lnTo>
                      <a:pt x="405" y="383"/>
                    </a:lnTo>
                    <a:lnTo>
                      <a:pt x="398" y="391"/>
                    </a:lnTo>
                    <a:lnTo>
                      <a:pt x="398" y="391"/>
                    </a:lnTo>
                    <a:lnTo>
                      <a:pt x="398" y="398"/>
                    </a:lnTo>
                    <a:lnTo>
                      <a:pt x="398" y="398"/>
                    </a:lnTo>
                    <a:lnTo>
                      <a:pt x="398" y="398"/>
                    </a:lnTo>
                    <a:lnTo>
                      <a:pt x="398" y="398"/>
                    </a:lnTo>
                    <a:lnTo>
                      <a:pt x="398" y="405"/>
                    </a:lnTo>
                    <a:lnTo>
                      <a:pt x="398" y="405"/>
                    </a:lnTo>
                    <a:lnTo>
                      <a:pt x="398" y="405"/>
                    </a:lnTo>
                    <a:lnTo>
                      <a:pt x="398" y="412"/>
                    </a:lnTo>
                    <a:lnTo>
                      <a:pt x="398" y="412"/>
                    </a:lnTo>
                    <a:lnTo>
                      <a:pt x="405" y="412"/>
                    </a:lnTo>
                    <a:lnTo>
                      <a:pt x="405" y="419"/>
                    </a:lnTo>
                    <a:lnTo>
                      <a:pt x="405" y="419"/>
                    </a:lnTo>
                    <a:lnTo>
                      <a:pt x="405" y="419"/>
                    </a:lnTo>
                    <a:lnTo>
                      <a:pt x="398" y="426"/>
                    </a:lnTo>
                    <a:lnTo>
                      <a:pt x="398" y="426"/>
                    </a:lnTo>
                    <a:lnTo>
                      <a:pt x="398" y="426"/>
                    </a:lnTo>
                    <a:lnTo>
                      <a:pt x="398" y="426"/>
                    </a:lnTo>
                    <a:lnTo>
                      <a:pt x="398" y="426"/>
                    </a:lnTo>
                    <a:lnTo>
                      <a:pt x="391" y="426"/>
                    </a:lnTo>
                    <a:lnTo>
                      <a:pt x="391" y="426"/>
                    </a:lnTo>
                    <a:lnTo>
                      <a:pt x="391" y="426"/>
                    </a:lnTo>
                    <a:lnTo>
                      <a:pt x="384" y="433"/>
                    </a:lnTo>
                    <a:lnTo>
                      <a:pt x="384" y="433"/>
                    </a:lnTo>
                    <a:lnTo>
                      <a:pt x="384" y="433"/>
                    </a:lnTo>
                    <a:lnTo>
                      <a:pt x="377" y="433"/>
                    </a:lnTo>
                    <a:lnTo>
                      <a:pt x="377" y="433"/>
                    </a:lnTo>
                    <a:lnTo>
                      <a:pt x="377" y="433"/>
                    </a:lnTo>
                    <a:lnTo>
                      <a:pt x="377" y="433"/>
                    </a:lnTo>
                    <a:lnTo>
                      <a:pt x="377" y="433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2711" y="165"/>
                <a:ext cx="724" cy="440"/>
              </a:xfrm>
              <a:custGeom>
                <a:avLst/>
                <a:gdLst>
                  <a:gd name="T0" fmla="*/ 164 w 724"/>
                  <a:gd name="T1" fmla="*/ 419 h 440"/>
                  <a:gd name="T2" fmla="*/ 114 w 724"/>
                  <a:gd name="T3" fmla="*/ 412 h 440"/>
                  <a:gd name="T4" fmla="*/ 107 w 724"/>
                  <a:gd name="T5" fmla="*/ 377 h 440"/>
                  <a:gd name="T6" fmla="*/ 107 w 724"/>
                  <a:gd name="T7" fmla="*/ 369 h 440"/>
                  <a:gd name="T8" fmla="*/ 78 w 724"/>
                  <a:gd name="T9" fmla="*/ 369 h 440"/>
                  <a:gd name="T10" fmla="*/ 71 w 724"/>
                  <a:gd name="T11" fmla="*/ 362 h 440"/>
                  <a:gd name="T12" fmla="*/ 29 w 724"/>
                  <a:gd name="T13" fmla="*/ 320 h 440"/>
                  <a:gd name="T14" fmla="*/ 43 w 724"/>
                  <a:gd name="T15" fmla="*/ 298 h 440"/>
                  <a:gd name="T16" fmla="*/ 22 w 724"/>
                  <a:gd name="T17" fmla="*/ 249 h 440"/>
                  <a:gd name="T18" fmla="*/ 50 w 724"/>
                  <a:gd name="T19" fmla="*/ 220 h 440"/>
                  <a:gd name="T20" fmla="*/ 43 w 724"/>
                  <a:gd name="T21" fmla="*/ 206 h 440"/>
                  <a:gd name="T22" fmla="*/ 22 w 724"/>
                  <a:gd name="T23" fmla="*/ 185 h 440"/>
                  <a:gd name="T24" fmla="*/ 15 w 724"/>
                  <a:gd name="T25" fmla="*/ 164 h 440"/>
                  <a:gd name="T26" fmla="*/ 7 w 724"/>
                  <a:gd name="T27" fmla="*/ 142 h 440"/>
                  <a:gd name="T28" fmla="*/ 22 w 724"/>
                  <a:gd name="T29" fmla="*/ 121 h 440"/>
                  <a:gd name="T30" fmla="*/ 78 w 724"/>
                  <a:gd name="T31" fmla="*/ 100 h 440"/>
                  <a:gd name="T32" fmla="*/ 192 w 724"/>
                  <a:gd name="T33" fmla="*/ 121 h 440"/>
                  <a:gd name="T34" fmla="*/ 263 w 724"/>
                  <a:gd name="T35" fmla="*/ 128 h 440"/>
                  <a:gd name="T36" fmla="*/ 298 w 724"/>
                  <a:gd name="T37" fmla="*/ 114 h 440"/>
                  <a:gd name="T38" fmla="*/ 355 w 724"/>
                  <a:gd name="T39" fmla="*/ 100 h 440"/>
                  <a:gd name="T40" fmla="*/ 391 w 724"/>
                  <a:gd name="T41" fmla="*/ 78 h 440"/>
                  <a:gd name="T42" fmla="*/ 405 w 724"/>
                  <a:gd name="T43" fmla="*/ 50 h 440"/>
                  <a:gd name="T44" fmla="*/ 519 w 724"/>
                  <a:gd name="T45" fmla="*/ 0 h 440"/>
                  <a:gd name="T46" fmla="*/ 540 w 724"/>
                  <a:gd name="T47" fmla="*/ 71 h 440"/>
                  <a:gd name="T48" fmla="*/ 611 w 724"/>
                  <a:gd name="T49" fmla="*/ 128 h 440"/>
                  <a:gd name="T50" fmla="*/ 646 w 724"/>
                  <a:gd name="T51" fmla="*/ 164 h 440"/>
                  <a:gd name="T52" fmla="*/ 625 w 724"/>
                  <a:gd name="T53" fmla="*/ 235 h 440"/>
                  <a:gd name="T54" fmla="*/ 660 w 724"/>
                  <a:gd name="T55" fmla="*/ 298 h 440"/>
                  <a:gd name="T56" fmla="*/ 703 w 724"/>
                  <a:gd name="T57" fmla="*/ 313 h 440"/>
                  <a:gd name="T58" fmla="*/ 703 w 724"/>
                  <a:gd name="T59" fmla="*/ 348 h 440"/>
                  <a:gd name="T60" fmla="*/ 717 w 724"/>
                  <a:gd name="T61" fmla="*/ 384 h 440"/>
                  <a:gd name="T62" fmla="*/ 682 w 724"/>
                  <a:gd name="T63" fmla="*/ 405 h 440"/>
                  <a:gd name="T64" fmla="*/ 660 w 724"/>
                  <a:gd name="T65" fmla="*/ 426 h 440"/>
                  <a:gd name="T66" fmla="*/ 625 w 724"/>
                  <a:gd name="T67" fmla="*/ 405 h 440"/>
                  <a:gd name="T68" fmla="*/ 618 w 724"/>
                  <a:gd name="T69" fmla="*/ 398 h 440"/>
                  <a:gd name="T70" fmla="*/ 575 w 724"/>
                  <a:gd name="T71" fmla="*/ 412 h 440"/>
                  <a:gd name="T72" fmla="*/ 568 w 724"/>
                  <a:gd name="T73" fmla="*/ 398 h 440"/>
                  <a:gd name="T74" fmla="*/ 582 w 724"/>
                  <a:gd name="T75" fmla="*/ 384 h 440"/>
                  <a:gd name="T76" fmla="*/ 575 w 724"/>
                  <a:gd name="T77" fmla="*/ 369 h 440"/>
                  <a:gd name="T78" fmla="*/ 561 w 724"/>
                  <a:gd name="T79" fmla="*/ 384 h 440"/>
                  <a:gd name="T80" fmla="*/ 547 w 724"/>
                  <a:gd name="T81" fmla="*/ 391 h 440"/>
                  <a:gd name="T82" fmla="*/ 533 w 724"/>
                  <a:gd name="T83" fmla="*/ 391 h 440"/>
                  <a:gd name="T84" fmla="*/ 519 w 724"/>
                  <a:gd name="T85" fmla="*/ 369 h 440"/>
                  <a:gd name="T86" fmla="*/ 490 w 724"/>
                  <a:gd name="T87" fmla="*/ 341 h 440"/>
                  <a:gd name="T88" fmla="*/ 476 w 724"/>
                  <a:gd name="T89" fmla="*/ 348 h 440"/>
                  <a:gd name="T90" fmla="*/ 455 w 724"/>
                  <a:gd name="T91" fmla="*/ 355 h 440"/>
                  <a:gd name="T92" fmla="*/ 398 w 724"/>
                  <a:gd name="T93" fmla="*/ 334 h 440"/>
                  <a:gd name="T94" fmla="*/ 355 w 724"/>
                  <a:gd name="T95" fmla="*/ 313 h 440"/>
                  <a:gd name="T96" fmla="*/ 313 w 724"/>
                  <a:gd name="T97" fmla="*/ 327 h 440"/>
                  <a:gd name="T98" fmla="*/ 291 w 724"/>
                  <a:gd name="T99" fmla="*/ 341 h 440"/>
                  <a:gd name="T100" fmla="*/ 263 w 724"/>
                  <a:gd name="T101" fmla="*/ 348 h 440"/>
                  <a:gd name="T102" fmla="*/ 256 w 724"/>
                  <a:gd name="T103" fmla="*/ 355 h 440"/>
                  <a:gd name="T104" fmla="*/ 270 w 724"/>
                  <a:gd name="T105" fmla="*/ 377 h 440"/>
                  <a:gd name="T106" fmla="*/ 270 w 724"/>
                  <a:gd name="T107" fmla="*/ 398 h 440"/>
                  <a:gd name="T108" fmla="*/ 256 w 724"/>
                  <a:gd name="T109" fmla="*/ 412 h 440"/>
                  <a:gd name="T110" fmla="*/ 242 w 724"/>
                  <a:gd name="T111" fmla="*/ 426 h 440"/>
                  <a:gd name="T112" fmla="*/ 213 w 724"/>
                  <a:gd name="T113" fmla="*/ 433 h 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24" h="440">
                    <a:moveTo>
                      <a:pt x="206" y="433"/>
                    </a:moveTo>
                    <a:lnTo>
                      <a:pt x="206" y="433"/>
                    </a:lnTo>
                    <a:lnTo>
                      <a:pt x="192" y="433"/>
                    </a:lnTo>
                    <a:lnTo>
                      <a:pt x="192" y="433"/>
                    </a:lnTo>
                    <a:lnTo>
                      <a:pt x="185" y="426"/>
                    </a:lnTo>
                    <a:lnTo>
                      <a:pt x="178" y="426"/>
                    </a:lnTo>
                    <a:lnTo>
                      <a:pt x="171" y="426"/>
                    </a:lnTo>
                    <a:lnTo>
                      <a:pt x="164" y="419"/>
                    </a:lnTo>
                    <a:lnTo>
                      <a:pt x="164" y="419"/>
                    </a:lnTo>
                    <a:lnTo>
                      <a:pt x="156" y="412"/>
                    </a:lnTo>
                    <a:lnTo>
                      <a:pt x="149" y="419"/>
                    </a:lnTo>
                    <a:lnTo>
                      <a:pt x="149" y="419"/>
                    </a:lnTo>
                    <a:lnTo>
                      <a:pt x="142" y="419"/>
                    </a:lnTo>
                    <a:lnTo>
                      <a:pt x="135" y="412"/>
                    </a:lnTo>
                    <a:lnTo>
                      <a:pt x="128" y="412"/>
                    </a:lnTo>
                    <a:lnTo>
                      <a:pt x="121" y="419"/>
                    </a:lnTo>
                    <a:lnTo>
                      <a:pt x="121" y="419"/>
                    </a:lnTo>
                    <a:lnTo>
                      <a:pt x="114" y="412"/>
                    </a:lnTo>
                    <a:lnTo>
                      <a:pt x="114" y="412"/>
                    </a:lnTo>
                    <a:lnTo>
                      <a:pt x="107" y="398"/>
                    </a:lnTo>
                    <a:lnTo>
                      <a:pt x="107" y="398"/>
                    </a:lnTo>
                    <a:lnTo>
                      <a:pt x="107" y="398"/>
                    </a:lnTo>
                    <a:lnTo>
                      <a:pt x="107" y="391"/>
                    </a:lnTo>
                    <a:lnTo>
                      <a:pt x="107" y="391"/>
                    </a:lnTo>
                    <a:lnTo>
                      <a:pt x="107" y="391"/>
                    </a:lnTo>
                    <a:lnTo>
                      <a:pt x="107" y="384"/>
                    </a:lnTo>
                    <a:lnTo>
                      <a:pt x="107" y="377"/>
                    </a:lnTo>
                    <a:lnTo>
                      <a:pt x="107" y="377"/>
                    </a:lnTo>
                    <a:lnTo>
                      <a:pt x="114" y="369"/>
                    </a:lnTo>
                    <a:lnTo>
                      <a:pt x="114" y="369"/>
                    </a:lnTo>
                    <a:lnTo>
                      <a:pt x="114" y="362"/>
                    </a:lnTo>
                    <a:lnTo>
                      <a:pt x="114" y="362"/>
                    </a:lnTo>
                    <a:lnTo>
                      <a:pt x="107" y="362"/>
                    </a:lnTo>
                    <a:lnTo>
                      <a:pt x="107" y="362"/>
                    </a:lnTo>
                    <a:lnTo>
                      <a:pt x="107" y="369"/>
                    </a:lnTo>
                    <a:lnTo>
                      <a:pt x="107" y="369"/>
                    </a:lnTo>
                    <a:lnTo>
                      <a:pt x="107" y="369"/>
                    </a:lnTo>
                    <a:lnTo>
                      <a:pt x="100" y="377"/>
                    </a:lnTo>
                    <a:lnTo>
                      <a:pt x="100" y="377"/>
                    </a:lnTo>
                    <a:lnTo>
                      <a:pt x="93" y="377"/>
                    </a:lnTo>
                    <a:lnTo>
                      <a:pt x="93" y="377"/>
                    </a:lnTo>
                    <a:lnTo>
                      <a:pt x="85" y="377"/>
                    </a:lnTo>
                    <a:lnTo>
                      <a:pt x="85" y="369"/>
                    </a:lnTo>
                    <a:lnTo>
                      <a:pt x="85" y="369"/>
                    </a:lnTo>
                    <a:lnTo>
                      <a:pt x="78" y="369"/>
                    </a:lnTo>
                    <a:lnTo>
                      <a:pt x="78" y="377"/>
                    </a:lnTo>
                    <a:lnTo>
                      <a:pt x="71" y="377"/>
                    </a:lnTo>
                    <a:lnTo>
                      <a:pt x="71" y="377"/>
                    </a:lnTo>
                    <a:lnTo>
                      <a:pt x="71" y="369"/>
                    </a:lnTo>
                    <a:lnTo>
                      <a:pt x="64" y="369"/>
                    </a:lnTo>
                    <a:lnTo>
                      <a:pt x="64" y="369"/>
                    </a:lnTo>
                    <a:lnTo>
                      <a:pt x="64" y="362"/>
                    </a:lnTo>
                    <a:lnTo>
                      <a:pt x="71" y="362"/>
                    </a:lnTo>
                    <a:lnTo>
                      <a:pt x="71" y="362"/>
                    </a:lnTo>
                    <a:lnTo>
                      <a:pt x="71" y="355"/>
                    </a:lnTo>
                    <a:lnTo>
                      <a:pt x="64" y="348"/>
                    </a:lnTo>
                    <a:lnTo>
                      <a:pt x="64" y="341"/>
                    </a:lnTo>
                    <a:lnTo>
                      <a:pt x="64" y="341"/>
                    </a:lnTo>
                    <a:lnTo>
                      <a:pt x="50" y="341"/>
                    </a:lnTo>
                    <a:lnTo>
                      <a:pt x="43" y="334"/>
                    </a:lnTo>
                    <a:lnTo>
                      <a:pt x="43" y="327"/>
                    </a:lnTo>
                    <a:lnTo>
                      <a:pt x="36" y="320"/>
                    </a:lnTo>
                    <a:lnTo>
                      <a:pt x="29" y="320"/>
                    </a:lnTo>
                    <a:lnTo>
                      <a:pt x="29" y="320"/>
                    </a:lnTo>
                    <a:lnTo>
                      <a:pt x="29" y="313"/>
                    </a:lnTo>
                    <a:lnTo>
                      <a:pt x="29" y="306"/>
                    </a:lnTo>
                    <a:lnTo>
                      <a:pt x="29" y="306"/>
                    </a:lnTo>
                    <a:lnTo>
                      <a:pt x="29" y="306"/>
                    </a:lnTo>
                    <a:lnTo>
                      <a:pt x="36" y="298"/>
                    </a:lnTo>
                    <a:lnTo>
                      <a:pt x="36" y="298"/>
                    </a:lnTo>
                    <a:lnTo>
                      <a:pt x="36" y="298"/>
                    </a:lnTo>
                    <a:lnTo>
                      <a:pt x="43" y="298"/>
                    </a:lnTo>
                    <a:lnTo>
                      <a:pt x="43" y="291"/>
                    </a:lnTo>
                    <a:lnTo>
                      <a:pt x="43" y="284"/>
                    </a:lnTo>
                    <a:lnTo>
                      <a:pt x="50" y="270"/>
                    </a:lnTo>
                    <a:lnTo>
                      <a:pt x="43" y="263"/>
                    </a:lnTo>
                    <a:lnTo>
                      <a:pt x="36" y="263"/>
                    </a:lnTo>
                    <a:lnTo>
                      <a:pt x="29" y="256"/>
                    </a:lnTo>
                    <a:lnTo>
                      <a:pt x="22" y="249"/>
                    </a:lnTo>
                    <a:lnTo>
                      <a:pt x="22" y="249"/>
                    </a:lnTo>
                    <a:lnTo>
                      <a:pt x="22" y="249"/>
                    </a:lnTo>
                    <a:lnTo>
                      <a:pt x="22" y="249"/>
                    </a:lnTo>
                    <a:lnTo>
                      <a:pt x="22" y="242"/>
                    </a:lnTo>
                    <a:lnTo>
                      <a:pt x="22" y="242"/>
                    </a:lnTo>
                    <a:lnTo>
                      <a:pt x="22" y="235"/>
                    </a:lnTo>
                    <a:lnTo>
                      <a:pt x="29" y="235"/>
                    </a:lnTo>
                    <a:lnTo>
                      <a:pt x="29" y="228"/>
                    </a:lnTo>
                    <a:lnTo>
                      <a:pt x="36" y="228"/>
                    </a:lnTo>
                    <a:lnTo>
                      <a:pt x="43" y="228"/>
                    </a:lnTo>
                    <a:lnTo>
                      <a:pt x="50" y="220"/>
                    </a:lnTo>
                    <a:lnTo>
                      <a:pt x="57" y="220"/>
                    </a:lnTo>
                    <a:lnTo>
                      <a:pt x="57" y="213"/>
                    </a:lnTo>
                    <a:lnTo>
                      <a:pt x="64" y="213"/>
                    </a:lnTo>
                    <a:lnTo>
                      <a:pt x="64" y="206"/>
                    </a:lnTo>
                    <a:lnTo>
                      <a:pt x="64" y="206"/>
                    </a:lnTo>
                    <a:lnTo>
                      <a:pt x="57" y="199"/>
                    </a:lnTo>
                    <a:lnTo>
                      <a:pt x="50" y="199"/>
                    </a:lnTo>
                    <a:lnTo>
                      <a:pt x="50" y="199"/>
                    </a:lnTo>
                    <a:lnTo>
                      <a:pt x="43" y="206"/>
                    </a:lnTo>
                    <a:lnTo>
                      <a:pt x="36" y="199"/>
                    </a:lnTo>
                    <a:lnTo>
                      <a:pt x="36" y="199"/>
                    </a:lnTo>
                    <a:lnTo>
                      <a:pt x="29" y="199"/>
                    </a:lnTo>
                    <a:lnTo>
                      <a:pt x="22" y="199"/>
                    </a:lnTo>
                    <a:lnTo>
                      <a:pt x="15" y="199"/>
                    </a:lnTo>
                    <a:lnTo>
                      <a:pt x="15" y="192"/>
                    </a:lnTo>
                    <a:lnTo>
                      <a:pt x="15" y="192"/>
                    </a:lnTo>
                    <a:lnTo>
                      <a:pt x="15" y="185"/>
                    </a:lnTo>
                    <a:lnTo>
                      <a:pt x="22" y="185"/>
                    </a:lnTo>
                    <a:lnTo>
                      <a:pt x="29" y="178"/>
                    </a:lnTo>
                    <a:lnTo>
                      <a:pt x="29" y="178"/>
                    </a:lnTo>
                    <a:lnTo>
                      <a:pt x="29" y="178"/>
                    </a:lnTo>
                    <a:lnTo>
                      <a:pt x="29" y="171"/>
                    </a:lnTo>
                    <a:lnTo>
                      <a:pt x="29" y="171"/>
                    </a:lnTo>
                    <a:lnTo>
                      <a:pt x="22" y="164"/>
                    </a:lnTo>
                    <a:lnTo>
                      <a:pt x="22" y="164"/>
                    </a:lnTo>
                    <a:lnTo>
                      <a:pt x="15" y="164"/>
                    </a:lnTo>
                    <a:lnTo>
                      <a:pt x="15" y="164"/>
                    </a:lnTo>
                    <a:lnTo>
                      <a:pt x="7" y="164"/>
                    </a:lnTo>
                    <a:lnTo>
                      <a:pt x="7" y="157"/>
                    </a:lnTo>
                    <a:lnTo>
                      <a:pt x="7" y="157"/>
                    </a:lnTo>
                    <a:lnTo>
                      <a:pt x="0" y="157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42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7" y="135"/>
                    </a:lnTo>
                    <a:lnTo>
                      <a:pt x="7" y="135"/>
                    </a:lnTo>
                    <a:lnTo>
                      <a:pt x="15" y="135"/>
                    </a:lnTo>
                    <a:lnTo>
                      <a:pt x="22" y="128"/>
                    </a:lnTo>
                    <a:lnTo>
                      <a:pt x="22" y="128"/>
                    </a:lnTo>
                    <a:lnTo>
                      <a:pt x="22" y="121"/>
                    </a:lnTo>
                    <a:lnTo>
                      <a:pt x="22" y="121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43" y="107"/>
                    </a:lnTo>
                    <a:lnTo>
                      <a:pt x="50" y="107"/>
                    </a:lnTo>
                    <a:lnTo>
                      <a:pt x="57" y="100"/>
                    </a:lnTo>
                    <a:lnTo>
                      <a:pt x="64" y="100"/>
                    </a:lnTo>
                    <a:lnTo>
                      <a:pt x="71" y="100"/>
                    </a:lnTo>
                    <a:lnTo>
                      <a:pt x="78" y="100"/>
                    </a:lnTo>
                    <a:lnTo>
                      <a:pt x="114" y="107"/>
                    </a:lnTo>
                    <a:lnTo>
                      <a:pt x="156" y="114"/>
                    </a:lnTo>
                    <a:lnTo>
                      <a:pt x="164" y="114"/>
                    </a:lnTo>
                    <a:lnTo>
                      <a:pt x="178" y="114"/>
                    </a:lnTo>
                    <a:lnTo>
                      <a:pt x="178" y="114"/>
                    </a:lnTo>
                    <a:lnTo>
                      <a:pt x="185" y="114"/>
                    </a:lnTo>
                    <a:lnTo>
                      <a:pt x="185" y="121"/>
                    </a:lnTo>
                    <a:lnTo>
                      <a:pt x="185" y="121"/>
                    </a:lnTo>
                    <a:lnTo>
                      <a:pt x="192" y="121"/>
                    </a:lnTo>
                    <a:lnTo>
                      <a:pt x="199" y="128"/>
                    </a:lnTo>
                    <a:lnTo>
                      <a:pt x="227" y="135"/>
                    </a:lnTo>
                    <a:lnTo>
                      <a:pt x="235" y="135"/>
                    </a:lnTo>
                    <a:lnTo>
                      <a:pt x="242" y="135"/>
                    </a:lnTo>
                    <a:lnTo>
                      <a:pt x="242" y="135"/>
                    </a:lnTo>
                    <a:lnTo>
                      <a:pt x="249" y="135"/>
                    </a:lnTo>
                    <a:lnTo>
                      <a:pt x="249" y="135"/>
                    </a:lnTo>
                    <a:lnTo>
                      <a:pt x="256" y="128"/>
                    </a:lnTo>
                    <a:lnTo>
                      <a:pt x="263" y="128"/>
                    </a:lnTo>
                    <a:lnTo>
                      <a:pt x="270" y="121"/>
                    </a:lnTo>
                    <a:lnTo>
                      <a:pt x="270" y="121"/>
                    </a:lnTo>
                    <a:lnTo>
                      <a:pt x="277" y="121"/>
                    </a:lnTo>
                    <a:lnTo>
                      <a:pt x="277" y="114"/>
                    </a:lnTo>
                    <a:lnTo>
                      <a:pt x="277" y="114"/>
                    </a:lnTo>
                    <a:lnTo>
                      <a:pt x="277" y="107"/>
                    </a:lnTo>
                    <a:lnTo>
                      <a:pt x="284" y="107"/>
                    </a:lnTo>
                    <a:lnTo>
                      <a:pt x="291" y="114"/>
                    </a:lnTo>
                    <a:lnTo>
                      <a:pt x="298" y="114"/>
                    </a:lnTo>
                    <a:lnTo>
                      <a:pt x="313" y="107"/>
                    </a:lnTo>
                    <a:lnTo>
                      <a:pt x="327" y="100"/>
                    </a:lnTo>
                    <a:lnTo>
                      <a:pt x="334" y="100"/>
                    </a:lnTo>
                    <a:lnTo>
                      <a:pt x="334" y="100"/>
                    </a:lnTo>
                    <a:lnTo>
                      <a:pt x="341" y="100"/>
                    </a:lnTo>
                    <a:lnTo>
                      <a:pt x="341" y="100"/>
                    </a:lnTo>
                    <a:lnTo>
                      <a:pt x="348" y="100"/>
                    </a:lnTo>
                    <a:lnTo>
                      <a:pt x="355" y="100"/>
                    </a:lnTo>
                    <a:lnTo>
                      <a:pt x="355" y="100"/>
                    </a:lnTo>
                    <a:lnTo>
                      <a:pt x="369" y="93"/>
                    </a:lnTo>
                    <a:lnTo>
                      <a:pt x="369" y="86"/>
                    </a:lnTo>
                    <a:lnTo>
                      <a:pt x="369" y="78"/>
                    </a:lnTo>
                    <a:lnTo>
                      <a:pt x="369" y="78"/>
                    </a:lnTo>
                    <a:lnTo>
                      <a:pt x="377" y="78"/>
                    </a:lnTo>
                    <a:lnTo>
                      <a:pt x="377" y="71"/>
                    </a:lnTo>
                    <a:lnTo>
                      <a:pt x="384" y="71"/>
                    </a:lnTo>
                    <a:lnTo>
                      <a:pt x="384" y="71"/>
                    </a:lnTo>
                    <a:lnTo>
                      <a:pt x="391" y="78"/>
                    </a:lnTo>
                    <a:lnTo>
                      <a:pt x="391" y="78"/>
                    </a:lnTo>
                    <a:lnTo>
                      <a:pt x="391" y="78"/>
                    </a:lnTo>
                    <a:lnTo>
                      <a:pt x="391" y="71"/>
                    </a:lnTo>
                    <a:lnTo>
                      <a:pt x="398" y="64"/>
                    </a:lnTo>
                    <a:lnTo>
                      <a:pt x="405" y="64"/>
                    </a:lnTo>
                    <a:lnTo>
                      <a:pt x="405" y="64"/>
                    </a:lnTo>
                    <a:lnTo>
                      <a:pt x="405" y="57"/>
                    </a:lnTo>
                    <a:lnTo>
                      <a:pt x="405" y="57"/>
                    </a:lnTo>
                    <a:lnTo>
                      <a:pt x="405" y="50"/>
                    </a:lnTo>
                    <a:lnTo>
                      <a:pt x="497" y="0"/>
                    </a:lnTo>
                    <a:lnTo>
                      <a:pt x="497" y="0"/>
                    </a:lnTo>
                    <a:lnTo>
                      <a:pt x="497" y="0"/>
                    </a:lnTo>
                    <a:lnTo>
                      <a:pt x="497" y="0"/>
                    </a:lnTo>
                    <a:lnTo>
                      <a:pt x="504" y="7"/>
                    </a:lnTo>
                    <a:lnTo>
                      <a:pt x="504" y="7"/>
                    </a:lnTo>
                    <a:lnTo>
                      <a:pt x="511" y="7"/>
                    </a:lnTo>
                    <a:lnTo>
                      <a:pt x="519" y="0"/>
                    </a:lnTo>
                    <a:lnTo>
                      <a:pt x="519" y="0"/>
                    </a:lnTo>
                    <a:lnTo>
                      <a:pt x="526" y="0"/>
                    </a:lnTo>
                    <a:lnTo>
                      <a:pt x="526" y="0"/>
                    </a:lnTo>
                    <a:lnTo>
                      <a:pt x="526" y="7"/>
                    </a:lnTo>
                    <a:lnTo>
                      <a:pt x="526" y="15"/>
                    </a:lnTo>
                    <a:lnTo>
                      <a:pt x="519" y="29"/>
                    </a:lnTo>
                    <a:lnTo>
                      <a:pt x="526" y="36"/>
                    </a:lnTo>
                    <a:lnTo>
                      <a:pt x="540" y="57"/>
                    </a:lnTo>
                    <a:lnTo>
                      <a:pt x="540" y="64"/>
                    </a:lnTo>
                    <a:lnTo>
                      <a:pt x="540" y="71"/>
                    </a:lnTo>
                    <a:lnTo>
                      <a:pt x="540" y="78"/>
                    </a:lnTo>
                    <a:lnTo>
                      <a:pt x="547" y="86"/>
                    </a:lnTo>
                    <a:lnTo>
                      <a:pt x="547" y="86"/>
                    </a:lnTo>
                    <a:lnTo>
                      <a:pt x="561" y="114"/>
                    </a:lnTo>
                    <a:lnTo>
                      <a:pt x="561" y="114"/>
                    </a:lnTo>
                    <a:lnTo>
                      <a:pt x="568" y="121"/>
                    </a:lnTo>
                    <a:lnTo>
                      <a:pt x="568" y="121"/>
                    </a:lnTo>
                    <a:lnTo>
                      <a:pt x="597" y="128"/>
                    </a:lnTo>
                    <a:lnTo>
                      <a:pt x="611" y="128"/>
                    </a:lnTo>
                    <a:lnTo>
                      <a:pt x="618" y="135"/>
                    </a:lnTo>
                    <a:lnTo>
                      <a:pt x="625" y="142"/>
                    </a:lnTo>
                    <a:lnTo>
                      <a:pt x="632" y="149"/>
                    </a:lnTo>
                    <a:lnTo>
                      <a:pt x="632" y="149"/>
                    </a:lnTo>
                    <a:lnTo>
                      <a:pt x="639" y="149"/>
                    </a:lnTo>
                    <a:lnTo>
                      <a:pt x="646" y="149"/>
                    </a:lnTo>
                    <a:lnTo>
                      <a:pt x="646" y="157"/>
                    </a:lnTo>
                    <a:lnTo>
                      <a:pt x="646" y="164"/>
                    </a:lnTo>
                    <a:lnTo>
                      <a:pt x="646" y="164"/>
                    </a:lnTo>
                    <a:lnTo>
                      <a:pt x="646" y="171"/>
                    </a:lnTo>
                    <a:lnTo>
                      <a:pt x="646" y="171"/>
                    </a:lnTo>
                    <a:lnTo>
                      <a:pt x="639" y="178"/>
                    </a:lnTo>
                    <a:lnTo>
                      <a:pt x="625" y="185"/>
                    </a:lnTo>
                    <a:lnTo>
                      <a:pt x="618" y="192"/>
                    </a:lnTo>
                    <a:lnTo>
                      <a:pt x="618" y="199"/>
                    </a:lnTo>
                    <a:lnTo>
                      <a:pt x="625" y="220"/>
                    </a:lnTo>
                    <a:lnTo>
                      <a:pt x="625" y="228"/>
                    </a:lnTo>
                    <a:lnTo>
                      <a:pt x="625" y="235"/>
                    </a:lnTo>
                    <a:lnTo>
                      <a:pt x="625" y="263"/>
                    </a:lnTo>
                    <a:lnTo>
                      <a:pt x="632" y="270"/>
                    </a:lnTo>
                    <a:lnTo>
                      <a:pt x="632" y="277"/>
                    </a:lnTo>
                    <a:lnTo>
                      <a:pt x="646" y="284"/>
                    </a:lnTo>
                    <a:lnTo>
                      <a:pt x="653" y="298"/>
                    </a:lnTo>
                    <a:lnTo>
                      <a:pt x="653" y="298"/>
                    </a:lnTo>
                    <a:lnTo>
                      <a:pt x="660" y="298"/>
                    </a:lnTo>
                    <a:lnTo>
                      <a:pt x="660" y="298"/>
                    </a:lnTo>
                    <a:lnTo>
                      <a:pt x="660" y="298"/>
                    </a:lnTo>
                    <a:lnTo>
                      <a:pt x="668" y="298"/>
                    </a:lnTo>
                    <a:lnTo>
                      <a:pt x="668" y="306"/>
                    </a:lnTo>
                    <a:lnTo>
                      <a:pt x="668" y="306"/>
                    </a:lnTo>
                    <a:lnTo>
                      <a:pt x="668" y="306"/>
                    </a:lnTo>
                    <a:lnTo>
                      <a:pt x="675" y="306"/>
                    </a:lnTo>
                    <a:lnTo>
                      <a:pt x="675" y="306"/>
                    </a:lnTo>
                    <a:lnTo>
                      <a:pt x="689" y="313"/>
                    </a:lnTo>
                    <a:lnTo>
                      <a:pt x="689" y="313"/>
                    </a:lnTo>
                    <a:lnTo>
                      <a:pt x="703" y="313"/>
                    </a:lnTo>
                    <a:lnTo>
                      <a:pt x="703" y="313"/>
                    </a:lnTo>
                    <a:lnTo>
                      <a:pt x="703" y="320"/>
                    </a:lnTo>
                    <a:lnTo>
                      <a:pt x="703" y="320"/>
                    </a:lnTo>
                    <a:lnTo>
                      <a:pt x="703" y="327"/>
                    </a:lnTo>
                    <a:lnTo>
                      <a:pt x="703" y="327"/>
                    </a:lnTo>
                    <a:lnTo>
                      <a:pt x="703" y="334"/>
                    </a:lnTo>
                    <a:lnTo>
                      <a:pt x="703" y="341"/>
                    </a:lnTo>
                    <a:lnTo>
                      <a:pt x="703" y="341"/>
                    </a:lnTo>
                    <a:lnTo>
                      <a:pt x="703" y="348"/>
                    </a:lnTo>
                    <a:lnTo>
                      <a:pt x="710" y="355"/>
                    </a:lnTo>
                    <a:lnTo>
                      <a:pt x="710" y="355"/>
                    </a:lnTo>
                    <a:lnTo>
                      <a:pt x="717" y="362"/>
                    </a:lnTo>
                    <a:lnTo>
                      <a:pt x="717" y="362"/>
                    </a:lnTo>
                    <a:lnTo>
                      <a:pt x="717" y="369"/>
                    </a:lnTo>
                    <a:lnTo>
                      <a:pt x="724" y="369"/>
                    </a:lnTo>
                    <a:lnTo>
                      <a:pt x="724" y="377"/>
                    </a:lnTo>
                    <a:lnTo>
                      <a:pt x="724" y="384"/>
                    </a:lnTo>
                    <a:lnTo>
                      <a:pt x="717" y="384"/>
                    </a:lnTo>
                    <a:lnTo>
                      <a:pt x="717" y="391"/>
                    </a:lnTo>
                    <a:lnTo>
                      <a:pt x="703" y="405"/>
                    </a:lnTo>
                    <a:lnTo>
                      <a:pt x="696" y="405"/>
                    </a:lnTo>
                    <a:lnTo>
                      <a:pt x="696" y="405"/>
                    </a:lnTo>
                    <a:lnTo>
                      <a:pt x="696" y="405"/>
                    </a:lnTo>
                    <a:lnTo>
                      <a:pt x="689" y="405"/>
                    </a:lnTo>
                    <a:lnTo>
                      <a:pt x="689" y="405"/>
                    </a:lnTo>
                    <a:lnTo>
                      <a:pt x="682" y="405"/>
                    </a:lnTo>
                    <a:lnTo>
                      <a:pt x="682" y="405"/>
                    </a:lnTo>
                    <a:lnTo>
                      <a:pt x="675" y="412"/>
                    </a:lnTo>
                    <a:lnTo>
                      <a:pt x="675" y="412"/>
                    </a:lnTo>
                    <a:lnTo>
                      <a:pt x="675" y="412"/>
                    </a:lnTo>
                    <a:lnTo>
                      <a:pt x="675" y="419"/>
                    </a:lnTo>
                    <a:lnTo>
                      <a:pt x="668" y="426"/>
                    </a:lnTo>
                    <a:lnTo>
                      <a:pt x="668" y="426"/>
                    </a:lnTo>
                    <a:lnTo>
                      <a:pt x="668" y="426"/>
                    </a:lnTo>
                    <a:lnTo>
                      <a:pt x="668" y="426"/>
                    </a:lnTo>
                    <a:lnTo>
                      <a:pt x="660" y="426"/>
                    </a:lnTo>
                    <a:lnTo>
                      <a:pt x="660" y="426"/>
                    </a:lnTo>
                    <a:lnTo>
                      <a:pt x="660" y="426"/>
                    </a:lnTo>
                    <a:lnTo>
                      <a:pt x="653" y="426"/>
                    </a:lnTo>
                    <a:lnTo>
                      <a:pt x="653" y="426"/>
                    </a:lnTo>
                    <a:lnTo>
                      <a:pt x="646" y="426"/>
                    </a:lnTo>
                    <a:lnTo>
                      <a:pt x="646" y="419"/>
                    </a:lnTo>
                    <a:lnTo>
                      <a:pt x="632" y="412"/>
                    </a:lnTo>
                    <a:lnTo>
                      <a:pt x="632" y="412"/>
                    </a:lnTo>
                    <a:lnTo>
                      <a:pt x="625" y="405"/>
                    </a:lnTo>
                    <a:lnTo>
                      <a:pt x="625" y="398"/>
                    </a:lnTo>
                    <a:lnTo>
                      <a:pt x="625" y="398"/>
                    </a:lnTo>
                    <a:lnTo>
                      <a:pt x="625" y="398"/>
                    </a:lnTo>
                    <a:lnTo>
                      <a:pt x="625" y="391"/>
                    </a:lnTo>
                    <a:lnTo>
                      <a:pt x="625" y="391"/>
                    </a:lnTo>
                    <a:lnTo>
                      <a:pt x="625" y="391"/>
                    </a:lnTo>
                    <a:lnTo>
                      <a:pt x="618" y="391"/>
                    </a:lnTo>
                    <a:lnTo>
                      <a:pt x="618" y="391"/>
                    </a:lnTo>
                    <a:lnTo>
                      <a:pt x="618" y="398"/>
                    </a:lnTo>
                    <a:lnTo>
                      <a:pt x="611" y="398"/>
                    </a:lnTo>
                    <a:lnTo>
                      <a:pt x="611" y="398"/>
                    </a:lnTo>
                    <a:lnTo>
                      <a:pt x="590" y="398"/>
                    </a:lnTo>
                    <a:lnTo>
                      <a:pt x="582" y="398"/>
                    </a:lnTo>
                    <a:lnTo>
                      <a:pt x="582" y="405"/>
                    </a:lnTo>
                    <a:lnTo>
                      <a:pt x="582" y="405"/>
                    </a:lnTo>
                    <a:lnTo>
                      <a:pt x="582" y="405"/>
                    </a:lnTo>
                    <a:lnTo>
                      <a:pt x="575" y="412"/>
                    </a:lnTo>
                    <a:lnTo>
                      <a:pt x="575" y="412"/>
                    </a:lnTo>
                    <a:lnTo>
                      <a:pt x="568" y="412"/>
                    </a:lnTo>
                    <a:lnTo>
                      <a:pt x="568" y="412"/>
                    </a:lnTo>
                    <a:lnTo>
                      <a:pt x="568" y="412"/>
                    </a:lnTo>
                    <a:lnTo>
                      <a:pt x="568" y="405"/>
                    </a:lnTo>
                    <a:lnTo>
                      <a:pt x="568" y="405"/>
                    </a:lnTo>
                    <a:lnTo>
                      <a:pt x="568" y="405"/>
                    </a:lnTo>
                    <a:lnTo>
                      <a:pt x="568" y="405"/>
                    </a:lnTo>
                    <a:lnTo>
                      <a:pt x="568" y="398"/>
                    </a:lnTo>
                    <a:lnTo>
                      <a:pt x="568" y="398"/>
                    </a:lnTo>
                    <a:lnTo>
                      <a:pt x="575" y="398"/>
                    </a:lnTo>
                    <a:lnTo>
                      <a:pt x="575" y="391"/>
                    </a:lnTo>
                    <a:lnTo>
                      <a:pt x="575" y="391"/>
                    </a:lnTo>
                    <a:lnTo>
                      <a:pt x="575" y="391"/>
                    </a:lnTo>
                    <a:lnTo>
                      <a:pt x="582" y="391"/>
                    </a:lnTo>
                    <a:lnTo>
                      <a:pt x="582" y="391"/>
                    </a:lnTo>
                    <a:lnTo>
                      <a:pt x="582" y="384"/>
                    </a:lnTo>
                    <a:lnTo>
                      <a:pt x="582" y="384"/>
                    </a:lnTo>
                    <a:lnTo>
                      <a:pt x="582" y="384"/>
                    </a:lnTo>
                    <a:lnTo>
                      <a:pt x="582" y="377"/>
                    </a:lnTo>
                    <a:lnTo>
                      <a:pt x="582" y="377"/>
                    </a:lnTo>
                    <a:lnTo>
                      <a:pt x="582" y="377"/>
                    </a:lnTo>
                    <a:lnTo>
                      <a:pt x="582" y="369"/>
                    </a:lnTo>
                    <a:lnTo>
                      <a:pt x="582" y="369"/>
                    </a:lnTo>
                    <a:lnTo>
                      <a:pt x="575" y="369"/>
                    </a:lnTo>
                    <a:lnTo>
                      <a:pt x="575" y="369"/>
                    </a:lnTo>
                    <a:lnTo>
                      <a:pt x="575" y="369"/>
                    </a:lnTo>
                    <a:lnTo>
                      <a:pt x="575" y="369"/>
                    </a:lnTo>
                    <a:lnTo>
                      <a:pt x="575" y="369"/>
                    </a:lnTo>
                    <a:lnTo>
                      <a:pt x="575" y="369"/>
                    </a:lnTo>
                    <a:lnTo>
                      <a:pt x="575" y="377"/>
                    </a:lnTo>
                    <a:lnTo>
                      <a:pt x="575" y="377"/>
                    </a:lnTo>
                    <a:lnTo>
                      <a:pt x="568" y="377"/>
                    </a:lnTo>
                    <a:lnTo>
                      <a:pt x="568" y="377"/>
                    </a:lnTo>
                    <a:lnTo>
                      <a:pt x="568" y="377"/>
                    </a:lnTo>
                    <a:lnTo>
                      <a:pt x="568" y="384"/>
                    </a:lnTo>
                    <a:lnTo>
                      <a:pt x="561" y="384"/>
                    </a:lnTo>
                    <a:lnTo>
                      <a:pt x="561" y="384"/>
                    </a:lnTo>
                    <a:lnTo>
                      <a:pt x="561" y="384"/>
                    </a:lnTo>
                    <a:lnTo>
                      <a:pt x="554" y="384"/>
                    </a:lnTo>
                    <a:lnTo>
                      <a:pt x="554" y="384"/>
                    </a:lnTo>
                    <a:lnTo>
                      <a:pt x="554" y="384"/>
                    </a:lnTo>
                    <a:lnTo>
                      <a:pt x="547" y="384"/>
                    </a:lnTo>
                    <a:lnTo>
                      <a:pt x="547" y="384"/>
                    </a:lnTo>
                    <a:lnTo>
                      <a:pt x="547" y="384"/>
                    </a:lnTo>
                    <a:lnTo>
                      <a:pt x="547" y="391"/>
                    </a:lnTo>
                    <a:lnTo>
                      <a:pt x="547" y="391"/>
                    </a:lnTo>
                    <a:lnTo>
                      <a:pt x="547" y="391"/>
                    </a:lnTo>
                    <a:lnTo>
                      <a:pt x="540" y="391"/>
                    </a:lnTo>
                    <a:lnTo>
                      <a:pt x="540" y="391"/>
                    </a:lnTo>
                    <a:lnTo>
                      <a:pt x="540" y="391"/>
                    </a:lnTo>
                    <a:lnTo>
                      <a:pt x="540" y="391"/>
                    </a:lnTo>
                    <a:lnTo>
                      <a:pt x="533" y="391"/>
                    </a:lnTo>
                    <a:lnTo>
                      <a:pt x="533" y="391"/>
                    </a:lnTo>
                    <a:lnTo>
                      <a:pt x="533" y="391"/>
                    </a:lnTo>
                    <a:lnTo>
                      <a:pt x="533" y="391"/>
                    </a:lnTo>
                    <a:lnTo>
                      <a:pt x="533" y="384"/>
                    </a:lnTo>
                    <a:lnTo>
                      <a:pt x="526" y="384"/>
                    </a:lnTo>
                    <a:lnTo>
                      <a:pt x="526" y="384"/>
                    </a:lnTo>
                    <a:lnTo>
                      <a:pt x="526" y="377"/>
                    </a:lnTo>
                    <a:lnTo>
                      <a:pt x="526" y="369"/>
                    </a:lnTo>
                    <a:lnTo>
                      <a:pt x="526" y="369"/>
                    </a:lnTo>
                    <a:lnTo>
                      <a:pt x="519" y="369"/>
                    </a:lnTo>
                    <a:lnTo>
                      <a:pt x="519" y="369"/>
                    </a:lnTo>
                    <a:lnTo>
                      <a:pt x="511" y="355"/>
                    </a:lnTo>
                    <a:lnTo>
                      <a:pt x="511" y="355"/>
                    </a:lnTo>
                    <a:lnTo>
                      <a:pt x="504" y="348"/>
                    </a:lnTo>
                    <a:lnTo>
                      <a:pt x="497" y="341"/>
                    </a:lnTo>
                    <a:lnTo>
                      <a:pt x="497" y="341"/>
                    </a:lnTo>
                    <a:lnTo>
                      <a:pt x="497" y="341"/>
                    </a:lnTo>
                    <a:lnTo>
                      <a:pt x="497" y="341"/>
                    </a:lnTo>
                    <a:lnTo>
                      <a:pt x="497" y="341"/>
                    </a:lnTo>
                    <a:lnTo>
                      <a:pt x="490" y="341"/>
                    </a:lnTo>
                    <a:lnTo>
                      <a:pt x="490" y="341"/>
                    </a:lnTo>
                    <a:lnTo>
                      <a:pt x="490" y="341"/>
                    </a:lnTo>
                    <a:lnTo>
                      <a:pt x="490" y="341"/>
                    </a:lnTo>
                    <a:lnTo>
                      <a:pt x="490" y="341"/>
                    </a:lnTo>
                    <a:lnTo>
                      <a:pt x="490" y="341"/>
                    </a:lnTo>
                    <a:lnTo>
                      <a:pt x="483" y="341"/>
                    </a:lnTo>
                    <a:lnTo>
                      <a:pt x="483" y="341"/>
                    </a:lnTo>
                    <a:lnTo>
                      <a:pt x="483" y="348"/>
                    </a:lnTo>
                    <a:lnTo>
                      <a:pt x="476" y="348"/>
                    </a:lnTo>
                    <a:lnTo>
                      <a:pt x="476" y="348"/>
                    </a:lnTo>
                    <a:lnTo>
                      <a:pt x="476" y="348"/>
                    </a:lnTo>
                    <a:lnTo>
                      <a:pt x="476" y="348"/>
                    </a:lnTo>
                    <a:lnTo>
                      <a:pt x="469" y="355"/>
                    </a:lnTo>
                    <a:lnTo>
                      <a:pt x="469" y="355"/>
                    </a:lnTo>
                    <a:lnTo>
                      <a:pt x="462" y="355"/>
                    </a:lnTo>
                    <a:lnTo>
                      <a:pt x="455" y="355"/>
                    </a:lnTo>
                    <a:lnTo>
                      <a:pt x="455" y="355"/>
                    </a:lnTo>
                    <a:lnTo>
                      <a:pt x="455" y="355"/>
                    </a:lnTo>
                    <a:lnTo>
                      <a:pt x="455" y="355"/>
                    </a:lnTo>
                    <a:lnTo>
                      <a:pt x="455" y="355"/>
                    </a:lnTo>
                    <a:lnTo>
                      <a:pt x="448" y="355"/>
                    </a:lnTo>
                    <a:lnTo>
                      <a:pt x="433" y="355"/>
                    </a:lnTo>
                    <a:lnTo>
                      <a:pt x="426" y="348"/>
                    </a:lnTo>
                    <a:lnTo>
                      <a:pt x="419" y="348"/>
                    </a:lnTo>
                    <a:lnTo>
                      <a:pt x="405" y="341"/>
                    </a:lnTo>
                    <a:lnTo>
                      <a:pt x="398" y="334"/>
                    </a:lnTo>
                    <a:lnTo>
                      <a:pt x="398" y="334"/>
                    </a:lnTo>
                    <a:lnTo>
                      <a:pt x="398" y="334"/>
                    </a:lnTo>
                    <a:lnTo>
                      <a:pt x="391" y="327"/>
                    </a:lnTo>
                    <a:lnTo>
                      <a:pt x="384" y="327"/>
                    </a:lnTo>
                    <a:lnTo>
                      <a:pt x="384" y="320"/>
                    </a:lnTo>
                    <a:lnTo>
                      <a:pt x="377" y="313"/>
                    </a:lnTo>
                    <a:lnTo>
                      <a:pt x="377" y="313"/>
                    </a:lnTo>
                    <a:lnTo>
                      <a:pt x="369" y="313"/>
                    </a:lnTo>
                    <a:lnTo>
                      <a:pt x="355" y="313"/>
                    </a:lnTo>
                    <a:lnTo>
                      <a:pt x="355" y="313"/>
                    </a:lnTo>
                    <a:lnTo>
                      <a:pt x="348" y="306"/>
                    </a:lnTo>
                    <a:lnTo>
                      <a:pt x="348" y="306"/>
                    </a:lnTo>
                    <a:lnTo>
                      <a:pt x="341" y="313"/>
                    </a:lnTo>
                    <a:lnTo>
                      <a:pt x="327" y="313"/>
                    </a:lnTo>
                    <a:lnTo>
                      <a:pt x="327" y="313"/>
                    </a:lnTo>
                    <a:lnTo>
                      <a:pt x="320" y="320"/>
                    </a:lnTo>
                    <a:lnTo>
                      <a:pt x="313" y="320"/>
                    </a:lnTo>
                    <a:lnTo>
                      <a:pt x="313" y="320"/>
                    </a:lnTo>
                    <a:lnTo>
                      <a:pt x="313" y="327"/>
                    </a:lnTo>
                    <a:lnTo>
                      <a:pt x="313" y="327"/>
                    </a:lnTo>
                    <a:lnTo>
                      <a:pt x="313" y="327"/>
                    </a:lnTo>
                    <a:lnTo>
                      <a:pt x="313" y="334"/>
                    </a:lnTo>
                    <a:lnTo>
                      <a:pt x="306" y="334"/>
                    </a:lnTo>
                    <a:lnTo>
                      <a:pt x="306" y="334"/>
                    </a:lnTo>
                    <a:lnTo>
                      <a:pt x="298" y="334"/>
                    </a:lnTo>
                    <a:lnTo>
                      <a:pt x="291" y="341"/>
                    </a:lnTo>
                    <a:lnTo>
                      <a:pt x="291" y="341"/>
                    </a:lnTo>
                    <a:lnTo>
                      <a:pt x="291" y="341"/>
                    </a:lnTo>
                    <a:lnTo>
                      <a:pt x="284" y="348"/>
                    </a:lnTo>
                    <a:lnTo>
                      <a:pt x="277" y="355"/>
                    </a:lnTo>
                    <a:lnTo>
                      <a:pt x="277" y="355"/>
                    </a:lnTo>
                    <a:lnTo>
                      <a:pt x="270" y="355"/>
                    </a:lnTo>
                    <a:lnTo>
                      <a:pt x="270" y="355"/>
                    </a:lnTo>
                    <a:lnTo>
                      <a:pt x="270" y="355"/>
                    </a:lnTo>
                    <a:lnTo>
                      <a:pt x="270" y="348"/>
                    </a:lnTo>
                    <a:lnTo>
                      <a:pt x="270" y="348"/>
                    </a:lnTo>
                    <a:lnTo>
                      <a:pt x="263" y="348"/>
                    </a:lnTo>
                    <a:lnTo>
                      <a:pt x="263" y="348"/>
                    </a:lnTo>
                    <a:lnTo>
                      <a:pt x="263" y="348"/>
                    </a:lnTo>
                    <a:lnTo>
                      <a:pt x="263" y="348"/>
                    </a:lnTo>
                    <a:lnTo>
                      <a:pt x="256" y="348"/>
                    </a:lnTo>
                    <a:lnTo>
                      <a:pt x="256" y="348"/>
                    </a:lnTo>
                    <a:lnTo>
                      <a:pt x="256" y="348"/>
                    </a:lnTo>
                    <a:lnTo>
                      <a:pt x="256" y="355"/>
                    </a:lnTo>
                    <a:lnTo>
                      <a:pt x="256" y="355"/>
                    </a:lnTo>
                    <a:lnTo>
                      <a:pt x="256" y="355"/>
                    </a:lnTo>
                    <a:lnTo>
                      <a:pt x="256" y="362"/>
                    </a:lnTo>
                    <a:lnTo>
                      <a:pt x="263" y="362"/>
                    </a:lnTo>
                    <a:lnTo>
                      <a:pt x="263" y="362"/>
                    </a:lnTo>
                    <a:lnTo>
                      <a:pt x="263" y="369"/>
                    </a:lnTo>
                    <a:lnTo>
                      <a:pt x="263" y="369"/>
                    </a:lnTo>
                    <a:lnTo>
                      <a:pt x="263" y="369"/>
                    </a:lnTo>
                    <a:lnTo>
                      <a:pt x="270" y="369"/>
                    </a:lnTo>
                    <a:lnTo>
                      <a:pt x="270" y="369"/>
                    </a:lnTo>
                    <a:lnTo>
                      <a:pt x="270" y="377"/>
                    </a:lnTo>
                    <a:lnTo>
                      <a:pt x="270" y="377"/>
                    </a:lnTo>
                    <a:lnTo>
                      <a:pt x="270" y="377"/>
                    </a:lnTo>
                    <a:lnTo>
                      <a:pt x="270" y="384"/>
                    </a:lnTo>
                    <a:lnTo>
                      <a:pt x="270" y="384"/>
                    </a:lnTo>
                    <a:lnTo>
                      <a:pt x="270" y="391"/>
                    </a:lnTo>
                    <a:lnTo>
                      <a:pt x="270" y="391"/>
                    </a:lnTo>
                    <a:lnTo>
                      <a:pt x="270" y="391"/>
                    </a:lnTo>
                    <a:lnTo>
                      <a:pt x="270" y="391"/>
                    </a:lnTo>
                    <a:lnTo>
                      <a:pt x="270" y="398"/>
                    </a:lnTo>
                    <a:lnTo>
                      <a:pt x="270" y="398"/>
                    </a:lnTo>
                    <a:lnTo>
                      <a:pt x="270" y="398"/>
                    </a:lnTo>
                    <a:lnTo>
                      <a:pt x="263" y="405"/>
                    </a:lnTo>
                    <a:lnTo>
                      <a:pt x="263" y="405"/>
                    </a:lnTo>
                    <a:lnTo>
                      <a:pt x="263" y="405"/>
                    </a:lnTo>
                    <a:lnTo>
                      <a:pt x="263" y="405"/>
                    </a:lnTo>
                    <a:lnTo>
                      <a:pt x="263" y="412"/>
                    </a:lnTo>
                    <a:lnTo>
                      <a:pt x="256" y="412"/>
                    </a:lnTo>
                    <a:lnTo>
                      <a:pt x="256" y="412"/>
                    </a:lnTo>
                    <a:lnTo>
                      <a:pt x="256" y="412"/>
                    </a:lnTo>
                    <a:lnTo>
                      <a:pt x="249" y="412"/>
                    </a:lnTo>
                    <a:lnTo>
                      <a:pt x="249" y="419"/>
                    </a:lnTo>
                    <a:lnTo>
                      <a:pt x="249" y="419"/>
                    </a:lnTo>
                    <a:lnTo>
                      <a:pt x="249" y="419"/>
                    </a:lnTo>
                    <a:lnTo>
                      <a:pt x="242" y="419"/>
                    </a:lnTo>
                    <a:lnTo>
                      <a:pt x="242" y="419"/>
                    </a:lnTo>
                    <a:lnTo>
                      <a:pt x="242" y="426"/>
                    </a:lnTo>
                    <a:lnTo>
                      <a:pt x="242" y="426"/>
                    </a:lnTo>
                    <a:lnTo>
                      <a:pt x="227" y="426"/>
                    </a:lnTo>
                    <a:lnTo>
                      <a:pt x="227" y="426"/>
                    </a:lnTo>
                    <a:lnTo>
                      <a:pt x="220" y="433"/>
                    </a:lnTo>
                    <a:lnTo>
                      <a:pt x="220" y="440"/>
                    </a:lnTo>
                    <a:lnTo>
                      <a:pt x="213" y="440"/>
                    </a:lnTo>
                    <a:lnTo>
                      <a:pt x="213" y="433"/>
                    </a:lnTo>
                    <a:lnTo>
                      <a:pt x="213" y="433"/>
                    </a:lnTo>
                    <a:lnTo>
                      <a:pt x="213" y="433"/>
                    </a:lnTo>
                    <a:lnTo>
                      <a:pt x="213" y="433"/>
                    </a:lnTo>
                    <a:lnTo>
                      <a:pt x="206" y="433"/>
                    </a:lnTo>
                    <a:lnTo>
                      <a:pt x="213" y="433"/>
                    </a:lnTo>
                    <a:lnTo>
                      <a:pt x="206" y="433"/>
                    </a:lnTo>
                    <a:lnTo>
                      <a:pt x="206" y="433"/>
                    </a:lnTo>
                    <a:lnTo>
                      <a:pt x="206" y="433"/>
                    </a:lnTo>
                    <a:lnTo>
                      <a:pt x="206" y="433"/>
                    </a:lnTo>
                    <a:lnTo>
                      <a:pt x="206" y="433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7" name="Freeform 15"/>
              <p:cNvSpPr>
                <a:spLocks/>
              </p:cNvSpPr>
              <p:nvPr/>
            </p:nvSpPr>
            <p:spPr bwMode="auto">
              <a:xfrm>
                <a:off x="4784" y="2096"/>
                <a:ext cx="7" cy="14"/>
              </a:xfrm>
              <a:custGeom>
                <a:avLst/>
                <a:gdLst>
                  <a:gd name="T0" fmla="*/ 7 w 7"/>
                  <a:gd name="T1" fmla="*/ 7 h 14"/>
                  <a:gd name="T2" fmla="*/ 7 w 7"/>
                  <a:gd name="T3" fmla="*/ 7 h 14"/>
                  <a:gd name="T4" fmla="*/ 7 w 7"/>
                  <a:gd name="T5" fmla="*/ 7 h 14"/>
                  <a:gd name="T6" fmla="*/ 7 w 7"/>
                  <a:gd name="T7" fmla="*/ 14 h 14"/>
                  <a:gd name="T8" fmla="*/ 7 w 7"/>
                  <a:gd name="T9" fmla="*/ 14 h 14"/>
                  <a:gd name="T10" fmla="*/ 7 w 7"/>
                  <a:gd name="T11" fmla="*/ 14 h 14"/>
                  <a:gd name="T12" fmla="*/ 7 w 7"/>
                  <a:gd name="T13" fmla="*/ 14 h 14"/>
                  <a:gd name="T14" fmla="*/ 0 w 7"/>
                  <a:gd name="T15" fmla="*/ 14 h 14"/>
                  <a:gd name="T16" fmla="*/ 0 w 7"/>
                  <a:gd name="T17" fmla="*/ 14 h 14"/>
                  <a:gd name="T18" fmla="*/ 0 w 7"/>
                  <a:gd name="T19" fmla="*/ 7 h 14"/>
                  <a:gd name="T20" fmla="*/ 0 w 7"/>
                  <a:gd name="T21" fmla="*/ 0 h 14"/>
                  <a:gd name="T22" fmla="*/ 0 w 7"/>
                  <a:gd name="T23" fmla="*/ 7 h 14"/>
                  <a:gd name="T24" fmla="*/ 7 w 7"/>
                  <a:gd name="T25" fmla="*/ 7 h 14"/>
                  <a:gd name="T26" fmla="*/ 7 w 7"/>
                  <a:gd name="T27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4">
                    <a:moveTo>
                      <a:pt x="7" y="7"/>
                    </a:moveTo>
                    <a:lnTo>
                      <a:pt x="7" y="7"/>
                    </a:lnTo>
                    <a:lnTo>
                      <a:pt x="7" y="7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7" y="7"/>
                    </a:lnTo>
                    <a:lnTo>
                      <a:pt x="7" y="7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4784" y="2096"/>
                <a:ext cx="7" cy="14"/>
              </a:xfrm>
              <a:custGeom>
                <a:avLst/>
                <a:gdLst>
                  <a:gd name="T0" fmla="*/ 7 w 7"/>
                  <a:gd name="T1" fmla="*/ 7 h 14"/>
                  <a:gd name="T2" fmla="*/ 7 w 7"/>
                  <a:gd name="T3" fmla="*/ 7 h 14"/>
                  <a:gd name="T4" fmla="*/ 7 w 7"/>
                  <a:gd name="T5" fmla="*/ 7 h 14"/>
                  <a:gd name="T6" fmla="*/ 7 w 7"/>
                  <a:gd name="T7" fmla="*/ 14 h 14"/>
                  <a:gd name="T8" fmla="*/ 7 w 7"/>
                  <a:gd name="T9" fmla="*/ 14 h 14"/>
                  <a:gd name="T10" fmla="*/ 7 w 7"/>
                  <a:gd name="T11" fmla="*/ 14 h 14"/>
                  <a:gd name="T12" fmla="*/ 7 w 7"/>
                  <a:gd name="T13" fmla="*/ 14 h 14"/>
                  <a:gd name="T14" fmla="*/ 0 w 7"/>
                  <a:gd name="T15" fmla="*/ 14 h 14"/>
                  <a:gd name="T16" fmla="*/ 0 w 7"/>
                  <a:gd name="T17" fmla="*/ 14 h 14"/>
                  <a:gd name="T18" fmla="*/ 0 w 7"/>
                  <a:gd name="T19" fmla="*/ 7 h 14"/>
                  <a:gd name="T20" fmla="*/ 0 w 7"/>
                  <a:gd name="T21" fmla="*/ 0 h 14"/>
                  <a:gd name="T22" fmla="*/ 0 w 7"/>
                  <a:gd name="T23" fmla="*/ 7 h 14"/>
                  <a:gd name="T24" fmla="*/ 7 w 7"/>
                  <a:gd name="T25" fmla="*/ 7 h 14"/>
                  <a:gd name="T26" fmla="*/ 7 w 7"/>
                  <a:gd name="T27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4">
                    <a:moveTo>
                      <a:pt x="7" y="7"/>
                    </a:moveTo>
                    <a:lnTo>
                      <a:pt x="7" y="7"/>
                    </a:lnTo>
                    <a:lnTo>
                      <a:pt x="7" y="7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7" y="7"/>
                    </a:lnTo>
                    <a:lnTo>
                      <a:pt x="7" y="7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4742" y="2054"/>
                <a:ext cx="14" cy="21"/>
              </a:xfrm>
              <a:custGeom>
                <a:avLst/>
                <a:gdLst>
                  <a:gd name="T0" fmla="*/ 7 w 14"/>
                  <a:gd name="T1" fmla="*/ 0 h 21"/>
                  <a:gd name="T2" fmla="*/ 7 w 14"/>
                  <a:gd name="T3" fmla="*/ 0 h 21"/>
                  <a:gd name="T4" fmla="*/ 14 w 14"/>
                  <a:gd name="T5" fmla="*/ 0 h 21"/>
                  <a:gd name="T6" fmla="*/ 14 w 14"/>
                  <a:gd name="T7" fmla="*/ 0 h 21"/>
                  <a:gd name="T8" fmla="*/ 14 w 14"/>
                  <a:gd name="T9" fmla="*/ 7 h 21"/>
                  <a:gd name="T10" fmla="*/ 14 w 14"/>
                  <a:gd name="T11" fmla="*/ 7 h 21"/>
                  <a:gd name="T12" fmla="*/ 14 w 14"/>
                  <a:gd name="T13" fmla="*/ 14 h 21"/>
                  <a:gd name="T14" fmla="*/ 14 w 14"/>
                  <a:gd name="T15" fmla="*/ 21 h 21"/>
                  <a:gd name="T16" fmla="*/ 7 w 14"/>
                  <a:gd name="T17" fmla="*/ 21 h 21"/>
                  <a:gd name="T18" fmla="*/ 7 w 14"/>
                  <a:gd name="T19" fmla="*/ 21 h 21"/>
                  <a:gd name="T20" fmla="*/ 7 w 14"/>
                  <a:gd name="T21" fmla="*/ 21 h 21"/>
                  <a:gd name="T22" fmla="*/ 7 w 14"/>
                  <a:gd name="T23" fmla="*/ 14 h 21"/>
                  <a:gd name="T24" fmla="*/ 0 w 14"/>
                  <a:gd name="T25" fmla="*/ 14 h 21"/>
                  <a:gd name="T26" fmla="*/ 0 w 14"/>
                  <a:gd name="T27" fmla="*/ 14 h 21"/>
                  <a:gd name="T28" fmla="*/ 0 w 14"/>
                  <a:gd name="T29" fmla="*/ 14 h 21"/>
                  <a:gd name="T30" fmla="*/ 7 w 14"/>
                  <a:gd name="T31" fmla="*/ 7 h 21"/>
                  <a:gd name="T32" fmla="*/ 7 w 14"/>
                  <a:gd name="T33" fmla="*/ 7 h 21"/>
                  <a:gd name="T34" fmla="*/ 7 w 14"/>
                  <a:gd name="T35" fmla="*/ 0 h 21"/>
                  <a:gd name="T36" fmla="*/ 7 w 14"/>
                  <a:gd name="T3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" h="21">
                    <a:moveTo>
                      <a:pt x="7" y="0"/>
                    </a:moveTo>
                    <a:lnTo>
                      <a:pt x="7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14"/>
                    </a:lnTo>
                    <a:lnTo>
                      <a:pt x="14" y="21"/>
                    </a:lnTo>
                    <a:lnTo>
                      <a:pt x="7" y="21"/>
                    </a:lnTo>
                    <a:lnTo>
                      <a:pt x="7" y="21"/>
                    </a:lnTo>
                    <a:lnTo>
                      <a:pt x="7" y="21"/>
                    </a:lnTo>
                    <a:lnTo>
                      <a:pt x="7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4742" y="2054"/>
                <a:ext cx="14" cy="21"/>
              </a:xfrm>
              <a:custGeom>
                <a:avLst/>
                <a:gdLst>
                  <a:gd name="T0" fmla="*/ 7 w 14"/>
                  <a:gd name="T1" fmla="*/ 0 h 21"/>
                  <a:gd name="T2" fmla="*/ 7 w 14"/>
                  <a:gd name="T3" fmla="*/ 0 h 21"/>
                  <a:gd name="T4" fmla="*/ 14 w 14"/>
                  <a:gd name="T5" fmla="*/ 0 h 21"/>
                  <a:gd name="T6" fmla="*/ 14 w 14"/>
                  <a:gd name="T7" fmla="*/ 0 h 21"/>
                  <a:gd name="T8" fmla="*/ 14 w 14"/>
                  <a:gd name="T9" fmla="*/ 7 h 21"/>
                  <a:gd name="T10" fmla="*/ 14 w 14"/>
                  <a:gd name="T11" fmla="*/ 7 h 21"/>
                  <a:gd name="T12" fmla="*/ 14 w 14"/>
                  <a:gd name="T13" fmla="*/ 14 h 21"/>
                  <a:gd name="T14" fmla="*/ 14 w 14"/>
                  <a:gd name="T15" fmla="*/ 21 h 21"/>
                  <a:gd name="T16" fmla="*/ 7 w 14"/>
                  <a:gd name="T17" fmla="*/ 21 h 21"/>
                  <a:gd name="T18" fmla="*/ 7 w 14"/>
                  <a:gd name="T19" fmla="*/ 21 h 21"/>
                  <a:gd name="T20" fmla="*/ 7 w 14"/>
                  <a:gd name="T21" fmla="*/ 21 h 21"/>
                  <a:gd name="T22" fmla="*/ 7 w 14"/>
                  <a:gd name="T23" fmla="*/ 14 h 21"/>
                  <a:gd name="T24" fmla="*/ 0 w 14"/>
                  <a:gd name="T25" fmla="*/ 14 h 21"/>
                  <a:gd name="T26" fmla="*/ 0 w 14"/>
                  <a:gd name="T27" fmla="*/ 14 h 21"/>
                  <a:gd name="T28" fmla="*/ 0 w 14"/>
                  <a:gd name="T29" fmla="*/ 14 h 21"/>
                  <a:gd name="T30" fmla="*/ 7 w 14"/>
                  <a:gd name="T31" fmla="*/ 7 h 21"/>
                  <a:gd name="T32" fmla="*/ 7 w 14"/>
                  <a:gd name="T33" fmla="*/ 7 h 21"/>
                  <a:gd name="T34" fmla="*/ 7 w 14"/>
                  <a:gd name="T35" fmla="*/ 0 h 21"/>
                  <a:gd name="T36" fmla="*/ 7 w 14"/>
                  <a:gd name="T3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" h="21">
                    <a:moveTo>
                      <a:pt x="7" y="0"/>
                    </a:moveTo>
                    <a:lnTo>
                      <a:pt x="7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14"/>
                    </a:lnTo>
                    <a:lnTo>
                      <a:pt x="14" y="21"/>
                    </a:lnTo>
                    <a:lnTo>
                      <a:pt x="7" y="21"/>
                    </a:lnTo>
                    <a:lnTo>
                      <a:pt x="7" y="21"/>
                    </a:lnTo>
                    <a:lnTo>
                      <a:pt x="7" y="21"/>
                    </a:lnTo>
                    <a:lnTo>
                      <a:pt x="7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0"/>
                    </a:lnTo>
                    <a:lnTo>
                      <a:pt x="7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4671" y="2068"/>
                <a:ext cx="21" cy="35"/>
              </a:xfrm>
              <a:custGeom>
                <a:avLst/>
                <a:gdLst>
                  <a:gd name="T0" fmla="*/ 7 w 21"/>
                  <a:gd name="T1" fmla="*/ 0 h 35"/>
                  <a:gd name="T2" fmla="*/ 7 w 21"/>
                  <a:gd name="T3" fmla="*/ 0 h 35"/>
                  <a:gd name="T4" fmla="*/ 14 w 21"/>
                  <a:gd name="T5" fmla="*/ 0 h 35"/>
                  <a:gd name="T6" fmla="*/ 21 w 21"/>
                  <a:gd name="T7" fmla="*/ 14 h 35"/>
                  <a:gd name="T8" fmla="*/ 21 w 21"/>
                  <a:gd name="T9" fmla="*/ 21 h 35"/>
                  <a:gd name="T10" fmla="*/ 14 w 21"/>
                  <a:gd name="T11" fmla="*/ 28 h 35"/>
                  <a:gd name="T12" fmla="*/ 14 w 21"/>
                  <a:gd name="T13" fmla="*/ 28 h 35"/>
                  <a:gd name="T14" fmla="*/ 14 w 21"/>
                  <a:gd name="T15" fmla="*/ 28 h 35"/>
                  <a:gd name="T16" fmla="*/ 14 w 21"/>
                  <a:gd name="T17" fmla="*/ 35 h 35"/>
                  <a:gd name="T18" fmla="*/ 14 w 21"/>
                  <a:gd name="T19" fmla="*/ 35 h 35"/>
                  <a:gd name="T20" fmla="*/ 14 w 21"/>
                  <a:gd name="T21" fmla="*/ 35 h 35"/>
                  <a:gd name="T22" fmla="*/ 7 w 21"/>
                  <a:gd name="T23" fmla="*/ 35 h 35"/>
                  <a:gd name="T24" fmla="*/ 7 w 21"/>
                  <a:gd name="T25" fmla="*/ 35 h 35"/>
                  <a:gd name="T26" fmla="*/ 7 w 21"/>
                  <a:gd name="T27" fmla="*/ 28 h 35"/>
                  <a:gd name="T28" fmla="*/ 0 w 21"/>
                  <a:gd name="T29" fmla="*/ 28 h 35"/>
                  <a:gd name="T30" fmla="*/ 0 w 21"/>
                  <a:gd name="T31" fmla="*/ 28 h 35"/>
                  <a:gd name="T32" fmla="*/ 0 w 21"/>
                  <a:gd name="T33" fmla="*/ 28 h 35"/>
                  <a:gd name="T34" fmla="*/ 0 w 21"/>
                  <a:gd name="T35" fmla="*/ 21 h 35"/>
                  <a:gd name="T36" fmla="*/ 7 w 21"/>
                  <a:gd name="T37" fmla="*/ 7 h 35"/>
                  <a:gd name="T38" fmla="*/ 7 w 21"/>
                  <a:gd name="T3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" h="35">
                    <a:moveTo>
                      <a:pt x="7" y="0"/>
                    </a:moveTo>
                    <a:lnTo>
                      <a:pt x="7" y="0"/>
                    </a:lnTo>
                    <a:lnTo>
                      <a:pt x="14" y="0"/>
                    </a:lnTo>
                    <a:lnTo>
                      <a:pt x="21" y="14"/>
                    </a:lnTo>
                    <a:lnTo>
                      <a:pt x="21" y="21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5"/>
                    </a:lnTo>
                    <a:lnTo>
                      <a:pt x="14" y="35"/>
                    </a:lnTo>
                    <a:lnTo>
                      <a:pt x="14" y="35"/>
                    </a:lnTo>
                    <a:lnTo>
                      <a:pt x="7" y="35"/>
                    </a:lnTo>
                    <a:lnTo>
                      <a:pt x="7" y="35"/>
                    </a:lnTo>
                    <a:lnTo>
                      <a:pt x="7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1"/>
                    </a:lnTo>
                    <a:lnTo>
                      <a:pt x="7" y="7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671" y="2068"/>
                <a:ext cx="21" cy="35"/>
              </a:xfrm>
              <a:custGeom>
                <a:avLst/>
                <a:gdLst>
                  <a:gd name="T0" fmla="*/ 7 w 21"/>
                  <a:gd name="T1" fmla="*/ 0 h 35"/>
                  <a:gd name="T2" fmla="*/ 7 w 21"/>
                  <a:gd name="T3" fmla="*/ 0 h 35"/>
                  <a:gd name="T4" fmla="*/ 14 w 21"/>
                  <a:gd name="T5" fmla="*/ 0 h 35"/>
                  <a:gd name="T6" fmla="*/ 21 w 21"/>
                  <a:gd name="T7" fmla="*/ 14 h 35"/>
                  <a:gd name="T8" fmla="*/ 21 w 21"/>
                  <a:gd name="T9" fmla="*/ 21 h 35"/>
                  <a:gd name="T10" fmla="*/ 14 w 21"/>
                  <a:gd name="T11" fmla="*/ 28 h 35"/>
                  <a:gd name="T12" fmla="*/ 14 w 21"/>
                  <a:gd name="T13" fmla="*/ 28 h 35"/>
                  <a:gd name="T14" fmla="*/ 14 w 21"/>
                  <a:gd name="T15" fmla="*/ 28 h 35"/>
                  <a:gd name="T16" fmla="*/ 14 w 21"/>
                  <a:gd name="T17" fmla="*/ 35 h 35"/>
                  <a:gd name="T18" fmla="*/ 14 w 21"/>
                  <a:gd name="T19" fmla="*/ 35 h 35"/>
                  <a:gd name="T20" fmla="*/ 14 w 21"/>
                  <a:gd name="T21" fmla="*/ 35 h 35"/>
                  <a:gd name="T22" fmla="*/ 7 w 21"/>
                  <a:gd name="T23" fmla="*/ 35 h 35"/>
                  <a:gd name="T24" fmla="*/ 7 w 21"/>
                  <a:gd name="T25" fmla="*/ 35 h 35"/>
                  <a:gd name="T26" fmla="*/ 7 w 21"/>
                  <a:gd name="T27" fmla="*/ 28 h 35"/>
                  <a:gd name="T28" fmla="*/ 0 w 21"/>
                  <a:gd name="T29" fmla="*/ 28 h 35"/>
                  <a:gd name="T30" fmla="*/ 0 w 21"/>
                  <a:gd name="T31" fmla="*/ 28 h 35"/>
                  <a:gd name="T32" fmla="*/ 0 w 21"/>
                  <a:gd name="T33" fmla="*/ 28 h 35"/>
                  <a:gd name="T34" fmla="*/ 0 w 21"/>
                  <a:gd name="T35" fmla="*/ 21 h 35"/>
                  <a:gd name="T36" fmla="*/ 7 w 21"/>
                  <a:gd name="T37" fmla="*/ 7 h 35"/>
                  <a:gd name="T38" fmla="*/ 7 w 21"/>
                  <a:gd name="T3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" h="35">
                    <a:moveTo>
                      <a:pt x="7" y="0"/>
                    </a:moveTo>
                    <a:lnTo>
                      <a:pt x="7" y="0"/>
                    </a:lnTo>
                    <a:lnTo>
                      <a:pt x="14" y="0"/>
                    </a:lnTo>
                    <a:lnTo>
                      <a:pt x="21" y="14"/>
                    </a:lnTo>
                    <a:lnTo>
                      <a:pt x="21" y="21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5"/>
                    </a:lnTo>
                    <a:lnTo>
                      <a:pt x="14" y="35"/>
                    </a:lnTo>
                    <a:lnTo>
                      <a:pt x="14" y="35"/>
                    </a:lnTo>
                    <a:lnTo>
                      <a:pt x="7" y="35"/>
                    </a:lnTo>
                    <a:lnTo>
                      <a:pt x="7" y="35"/>
                    </a:lnTo>
                    <a:lnTo>
                      <a:pt x="7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1"/>
                    </a:lnTo>
                    <a:lnTo>
                      <a:pt x="7" y="7"/>
                    </a:lnTo>
                    <a:lnTo>
                      <a:pt x="7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671" y="2054"/>
                <a:ext cx="14" cy="14"/>
              </a:xfrm>
              <a:custGeom>
                <a:avLst/>
                <a:gdLst>
                  <a:gd name="T0" fmla="*/ 7 w 14"/>
                  <a:gd name="T1" fmla="*/ 14 h 14"/>
                  <a:gd name="T2" fmla="*/ 7 w 14"/>
                  <a:gd name="T3" fmla="*/ 14 h 14"/>
                  <a:gd name="T4" fmla="*/ 7 w 14"/>
                  <a:gd name="T5" fmla="*/ 14 h 14"/>
                  <a:gd name="T6" fmla="*/ 7 w 14"/>
                  <a:gd name="T7" fmla="*/ 14 h 14"/>
                  <a:gd name="T8" fmla="*/ 0 w 14"/>
                  <a:gd name="T9" fmla="*/ 14 h 14"/>
                  <a:gd name="T10" fmla="*/ 7 w 14"/>
                  <a:gd name="T11" fmla="*/ 7 h 14"/>
                  <a:gd name="T12" fmla="*/ 7 w 14"/>
                  <a:gd name="T13" fmla="*/ 7 h 14"/>
                  <a:gd name="T14" fmla="*/ 7 w 14"/>
                  <a:gd name="T15" fmla="*/ 7 h 14"/>
                  <a:gd name="T16" fmla="*/ 7 w 14"/>
                  <a:gd name="T17" fmla="*/ 0 h 14"/>
                  <a:gd name="T18" fmla="*/ 7 w 14"/>
                  <a:gd name="T19" fmla="*/ 0 h 14"/>
                  <a:gd name="T20" fmla="*/ 7 w 14"/>
                  <a:gd name="T21" fmla="*/ 0 h 14"/>
                  <a:gd name="T22" fmla="*/ 14 w 14"/>
                  <a:gd name="T23" fmla="*/ 7 h 14"/>
                  <a:gd name="T24" fmla="*/ 7 w 14"/>
                  <a:gd name="T25" fmla="*/ 7 h 14"/>
                  <a:gd name="T26" fmla="*/ 7 w 14"/>
                  <a:gd name="T2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" h="14">
                    <a:moveTo>
                      <a:pt x="7" y="14"/>
                    </a:moveTo>
                    <a:lnTo>
                      <a:pt x="7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0" y="14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4" y="7"/>
                    </a:lnTo>
                    <a:lnTo>
                      <a:pt x="7" y="7"/>
                    </a:lnTo>
                    <a:lnTo>
                      <a:pt x="7" y="1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671" y="2054"/>
                <a:ext cx="14" cy="14"/>
              </a:xfrm>
              <a:custGeom>
                <a:avLst/>
                <a:gdLst>
                  <a:gd name="T0" fmla="*/ 7 w 14"/>
                  <a:gd name="T1" fmla="*/ 14 h 14"/>
                  <a:gd name="T2" fmla="*/ 7 w 14"/>
                  <a:gd name="T3" fmla="*/ 14 h 14"/>
                  <a:gd name="T4" fmla="*/ 7 w 14"/>
                  <a:gd name="T5" fmla="*/ 14 h 14"/>
                  <a:gd name="T6" fmla="*/ 7 w 14"/>
                  <a:gd name="T7" fmla="*/ 14 h 14"/>
                  <a:gd name="T8" fmla="*/ 0 w 14"/>
                  <a:gd name="T9" fmla="*/ 14 h 14"/>
                  <a:gd name="T10" fmla="*/ 7 w 14"/>
                  <a:gd name="T11" fmla="*/ 7 h 14"/>
                  <a:gd name="T12" fmla="*/ 7 w 14"/>
                  <a:gd name="T13" fmla="*/ 7 h 14"/>
                  <a:gd name="T14" fmla="*/ 7 w 14"/>
                  <a:gd name="T15" fmla="*/ 7 h 14"/>
                  <a:gd name="T16" fmla="*/ 7 w 14"/>
                  <a:gd name="T17" fmla="*/ 0 h 14"/>
                  <a:gd name="T18" fmla="*/ 7 w 14"/>
                  <a:gd name="T19" fmla="*/ 0 h 14"/>
                  <a:gd name="T20" fmla="*/ 7 w 14"/>
                  <a:gd name="T21" fmla="*/ 0 h 14"/>
                  <a:gd name="T22" fmla="*/ 14 w 14"/>
                  <a:gd name="T23" fmla="*/ 7 h 14"/>
                  <a:gd name="T24" fmla="*/ 7 w 14"/>
                  <a:gd name="T25" fmla="*/ 7 h 14"/>
                  <a:gd name="T26" fmla="*/ 7 w 14"/>
                  <a:gd name="T2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" h="14">
                    <a:moveTo>
                      <a:pt x="7" y="14"/>
                    </a:moveTo>
                    <a:lnTo>
                      <a:pt x="7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0" y="14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4" y="7"/>
                    </a:lnTo>
                    <a:lnTo>
                      <a:pt x="7" y="7"/>
                    </a:lnTo>
                    <a:lnTo>
                      <a:pt x="7" y="1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5" name="Freeform 23"/>
              <p:cNvSpPr>
                <a:spLocks noEditPoints="1"/>
              </p:cNvSpPr>
              <p:nvPr/>
            </p:nvSpPr>
            <p:spPr bwMode="auto">
              <a:xfrm>
                <a:off x="3116" y="2394"/>
                <a:ext cx="1136" cy="1086"/>
              </a:xfrm>
              <a:custGeom>
                <a:avLst/>
                <a:gdLst>
                  <a:gd name="T0" fmla="*/ 1051 w 1136"/>
                  <a:gd name="T1" fmla="*/ 206 h 1086"/>
                  <a:gd name="T2" fmla="*/ 930 w 1136"/>
                  <a:gd name="T3" fmla="*/ 313 h 1086"/>
                  <a:gd name="T4" fmla="*/ 866 w 1136"/>
                  <a:gd name="T5" fmla="*/ 362 h 1086"/>
                  <a:gd name="T6" fmla="*/ 802 w 1136"/>
                  <a:gd name="T7" fmla="*/ 476 h 1086"/>
                  <a:gd name="T8" fmla="*/ 703 w 1136"/>
                  <a:gd name="T9" fmla="*/ 519 h 1086"/>
                  <a:gd name="T10" fmla="*/ 632 w 1136"/>
                  <a:gd name="T11" fmla="*/ 575 h 1086"/>
                  <a:gd name="T12" fmla="*/ 589 w 1136"/>
                  <a:gd name="T13" fmla="*/ 618 h 1086"/>
                  <a:gd name="T14" fmla="*/ 497 w 1136"/>
                  <a:gd name="T15" fmla="*/ 653 h 1086"/>
                  <a:gd name="T16" fmla="*/ 504 w 1136"/>
                  <a:gd name="T17" fmla="*/ 824 h 1086"/>
                  <a:gd name="T18" fmla="*/ 497 w 1136"/>
                  <a:gd name="T19" fmla="*/ 930 h 1086"/>
                  <a:gd name="T20" fmla="*/ 497 w 1136"/>
                  <a:gd name="T21" fmla="*/ 952 h 1086"/>
                  <a:gd name="T22" fmla="*/ 447 w 1136"/>
                  <a:gd name="T23" fmla="*/ 980 h 1086"/>
                  <a:gd name="T24" fmla="*/ 397 w 1136"/>
                  <a:gd name="T25" fmla="*/ 980 h 1086"/>
                  <a:gd name="T26" fmla="*/ 334 w 1136"/>
                  <a:gd name="T27" fmla="*/ 1015 h 1086"/>
                  <a:gd name="T28" fmla="*/ 277 w 1136"/>
                  <a:gd name="T29" fmla="*/ 1058 h 1086"/>
                  <a:gd name="T30" fmla="*/ 227 w 1136"/>
                  <a:gd name="T31" fmla="*/ 1051 h 1086"/>
                  <a:gd name="T32" fmla="*/ 255 w 1136"/>
                  <a:gd name="T33" fmla="*/ 1023 h 1086"/>
                  <a:gd name="T34" fmla="*/ 255 w 1136"/>
                  <a:gd name="T35" fmla="*/ 980 h 1086"/>
                  <a:gd name="T36" fmla="*/ 234 w 1136"/>
                  <a:gd name="T37" fmla="*/ 937 h 1086"/>
                  <a:gd name="T38" fmla="*/ 199 w 1136"/>
                  <a:gd name="T39" fmla="*/ 916 h 1086"/>
                  <a:gd name="T40" fmla="*/ 170 w 1136"/>
                  <a:gd name="T41" fmla="*/ 888 h 1086"/>
                  <a:gd name="T42" fmla="*/ 135 w 1136"/>
                  <a:gd name="T43" fmla="*/ 916 h 1086"/>
                  <a:gd name="T44" fmla="*/ 92 w 1136"/>
                  <a:gd name="T45" fmla="*/ 902 h 1086"/>
                  <a:gd name="T46" fmla="*/ 57 w 1136"/>
                  <a:gd name="T47" fmla="*/ 902 h 1086"/>
                  <a:gd name="T48" fmla="*/ 35 w 1136"/>
                  <a:gd name="T49" fmla="*/ 909 h 1086"/>
                  <a:gd name="T50" fmla="*/ 28 w 1136"/>
                  <a:gd name="T51" fmla="*/ 852 h 1086"/>
                  <a:gd name="T52" fmla="*/ 85 w 1136"/>
                  <a:gd name="T53" fmla="*/ 873 h 1086"/>
                  <a:gd name="T54" fmla="*/ 92 w 1136"/>
                  <a:gd name="T55" fmla="*/ 866 h 1086"/>
                  <a:gd name="T56" fmla="*/ 92 w 1136"/>
                  <a:gd name="T57" fmla="*/ 831 h 1086"/>
                  <a:gd name="T58" fmla="*/ 50 w 1136"/>
                  <a:gd name="T59" fmla="*/ 838 h 1086"/>
                  <a:gd name="T60" fmla="*/ 28 w 1136"/>
                  <a:gd name="T61" fmla="*/ 810 h 1086"/>
                  <a:gd name="T62" fmla="*/ 7 w 1136"/>
                  <a:gd name="T63" fmla="*/ 760 h 1086"/>
                  <a:gd name="T64" fmla="*/ 35 w 1136"/>
                  <a:gd name="T65" fmla="*/ 724 h 1086"/>
                  <a:gd name="T66" fmla="*/ 35 w 1136"/>
                  <a:gd name="T67" fmla="*/ 660 h 1086"/>
                  <a:gd name="T68" fmla="*/ 43 w 1136"/>
                  <a:gd name="T69" fmla="*/ 597 h 1086"/>
                  <a:gd name="T70" fmla="*/ 106 w 1136"/>
                  <a:gd name="T71" fmla="*/ 526 h 1086"/>
                  <a:gd name="T72" fmla="*/ 92 w 1136"/>
                  <a:gd name="T73" fmla="*/ 469 h 1086"/>
                  <a:gd name="T74" fmla="*/ 121 w 1136"/>
                  <a:gd name="T75" fmla="*/ 355 h 1086"/>
                  <a:gd name="T76" fmla="*/ 106 w 1136"/>
                  <a:gd name="T77" fmla="*/ 306 h 1086"/>
                  <a:gd name="T78" fmla="*/ 121 w 1136"/>
                  <a:gd name="T79" fmla="*/ 235 h 1086"/>
                  <a:gd name="T80" fmla="*/ 135 w 1136"/>
                  <a:gd name="T81" fmla="*/ 178 h 1086"/>
                  <a:gd name="T82" fmla="*/ 149 w 1136"/>
                  <a:gd name="T83" fmla="*/ 135 h 1086"/>
                  <a:gd name="T84" fmla="*/ 156 w 1136"/>
                  <a:gd name="T85" fmla="*/ 85 h 1086"/>
                  <a:gd name="T86" fmla="*/ 206 w 1136"/>
                  <a:gd name="T87" fmla="*/ 64 h 1086"/>
                  <a:gd name="T88" fmla="*/ 241 w 1136"/>
                  <a:gd name="T89" fmla="*/ 15 h 1086"/>
                  <a:gd name="T90" fmla="*/ 305 w 1136"/>
                  <a:gd name="T91" fmla="*/ 36 h 1086"/>
                  <a:gd name="T92" fmla="*/ 383 w 1136"/>
                  <a:gd name="T93" fmla="*/ 50 h 1086"/>
                  <a:gd name="T94" fmla="*/ 447 w 1136"/>
                  <a:gd name="T95" fmla="*/ 57 h 1086"/>
                  <a:gd name="T96" fmla="*/ 447 w 1136"/>
                  <a:gd name="T97" fmla="*/ 156 h 1086"/>
                  <a:gd name="T98" fmla="*/ 539 w 1136"/>
                  <a:gd name="T99" fmla="*/ 192 h 1086"/>
                  <a:gd name="T100" fmla="*/ 582 w 1136"/>
                  <a:gd name="T101" fmla="*/ 242 h 1086"/>
                  <a:gd name="T102" fmla="*/ 639 w 1136"/>
                  <a:gd name="T103" fmla="*/ 306 h 1086"/>
                  <a:gd name="T104" fmla="*/ 781 w 1136"/>
                  <a:gd name="T105" fmla="*/ 270 h 1086"/>
                  <a:gd name="T106" fmla="*/ 795 w 1136"/>
                  <a:gd name="T107" fmla="*/ 213 h 1086"/>
                  <a:gd name="T108" fmla="*/ 830 w 1136"/>
                  <a:gd name="T109" fmla="*/ 235 h 1086"/>
                  <a:gd name="T110" fmla="*/ 887 w 1136"/>
                  <a:gd name="T111" fmla="*/ 213 h 1086"/>
                  <a:gd name="T112" fmla="*/ 909 w 1136"/>
                  <a:gd name="T113" fmla="*/ 156 h 1086"/>
                  <a:gd name="T114" fmla="*/ 930 w 1136"/>
                  <a:gd name="T115" fmla="*/ 114 h 1086"/>
                  <a:gd name="T116" fmla="*/ 965 w 1136"/>
                  <a:gd name="T117" fmla="*/ 100 h 1086"/>
                  <a:gd name="T118" fmla="*/ 1008 w 1136"/>
                  <a:gd name="T119" fmla="*/ 142 h 1086"/>
                  <a:gd name="T120" fmla="*/ 1086 w 1136"/>
                  <a:gd name="T121" fmla="*/ 114 h 1086"/>
                  <a:gd name="T122" fmla="*/ 1129 w 1136"/>
                  <a:gd name="T123" fmla="*/ 93 h 1086"/>
                  <a:gd name="T124" fmla="*/ 795 w 1136"/>
                  <a:gd name="T125" fmla="*/ 462 h 10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36" h="1086">
                    <a:moveTo>
                      <a:pt x="1129" y="100"/>
                    </a:moveTo>
                    <a:lnTo>
                      <a:pt x="1129" y="100"/>
                    </a:lnTo>
                    <a:lnTo>
                      <a:pt x="1136" y="100"/>
                    </a:lnTo>
                    <a:lnTo>
                      <a:pt x="1136" y="100"/>
                    </a:lnTo>
                    <a:lnTo>
                      <a:pt x="1129" y="107"/>
                    </a:lnTo>
                    <a:lnTo>
                      <a:pt x="1129" y="107"/>
                    </a:lnTo>
                    <a:lnTo>
                      <a:pt x="1122" y="114"/>
                    </a:lnTo>
                    <a:lnTo>
                      <a:pt x="1122" y="121"/>
                    </a:lnTo>
                    <a:lnTo>
                      <a:pt x="1114" y="121"/>
                    </a:lnTo>
                    <a:lnTo>
                      <a:pt x="1114" y="128"/>
                    </a:lnTo>
                    <a:lnTo>
                      <a:pt x="1100" y="142"/>
                    </a:lnTo>
                    <a:lnTo>
                      <a:pt x="1100" y="149"/>
                    </a:lnTo>
                    <a:lnTo>
                      <a:pt x="1086" y="164"/>
                    </a:lnTo>
                    <a:lnTo>
                      <a:pt x="1086" y="164"/>
                    </a:lnTo>
                    <a:lnTo>
                      <a:pt x="1086" y="164"/>
                    </a:lnTo>
                    <a:lnTo>
                      <a:pt x="1086" y="171"/>
                    </a:lnTo>
                    <a:lnTo>
                      <a:pt x="1079" y="171"/>
                    </a:lnTo>
                    <a:lnTo>
                      <a:pt x="1079" y="178"/>
                    </a:lnTo>
                    <a:lnTo>
                      <a:pt x="1072" y="178"/>
                    </a:lnTo>
                    <a:lnTo>
                      <a:pt x="1072" y="178"/>
                    </a:lnTo>
                    <a:lnTo>
                      <a:pt x="1072" y="185"/>
                    </a:lnTo>
                    <a:lnTo>
                      <a:pt x="1065" y="185"/>
                    </a:lnTo>
                    <a:lnTo>
                      <a:pt x="1065" y="185"/>
                    </a:lnTo>
                    <a:lnTo>
                      <a:pt x="1065" y="185"/>
                    </a:lnTo>
                    <a:lnTo>
                      <a:pt x="1065" y="185"/>
                    </a:lnTo>
                    <a:lnTo>
                      <a:pt x="1065" y="185"/>
                    </a:lnTo>
                    <a:lnTo>
                      <a:pt x="1058" y="185"/>
                    </a:lnTo>
                    <a:lnTo>
                      <a:pt x="1065" y="185"/>
                    </a:lnTo>
                    <a:lnTo>
                      <a:pt x="1065" y="185"/>
                    </a:lnTo>
                    <a:lnTo>
                      <a:pt x="1072" y="185"/>
                    </a:lnTo>
                    <a:lnTo>
                      <a:pt x="1072" y="185"/>
                    </a:lnTo>
                    <a:lnTo>
                      <a:pt x="1079" y="178"/>
                    </a:lnTo>
                    <a:lnTo>
                      <a:pt x="1072" y="185"/>
                    </a:lnTo>
                    <a:lnTo>
                      <a:pt x="1065" y="185"/>
                    </a:lnTo>
                    <a:lnTo>
                      <a:pt x="1065" y="192"/>
                    </a:lnTo>
                    <a:lnTo>
                      <a:pt x="1058" y="199"/>
                    </a:lnTo>
                    <a:lnTo>
                      <a:pt x="1058" y="199"/>
                    </a:lnTo>
                    <a:lnTo>
                      <a:pt x="1051" y="206"/>
                    </a:lnTo>
                    <a:lnTo>
                      <a:pt x="1051" y="206"/>
                    </a:lnTo>
                    <a:lnTo>
                      <a:pt x="1051" y="206"/>
                    </a:lnTo>
                    <a:lnTo>
                      <a:pt x="1051" y="206"/>
                    </a:lnTo>
                    <a:lnTo>
                      <a:pt x="1051" y="213"/>
                    </a:lnTo>
                    <a:lnTo>
                      <a:pt x="1051" y="213"/>
                    </a:lnTo>
                    <a:lnTo>
                      <a:pt x="1043" y="213"/>
                    </a:lnTo>
                    <a:lnTo>
                      <a:pt x="1043" y="220"/>
                    </a:lnTo>
                    <a:lnTo>
                      <a:pt x="1043" y="220"/>
                    </a:lnTo>
                    <a:lnTo>
                      <a:pt x="1001" y="242"/>
                    </a:lnTo>
                    <a:lnTo>
                      <a:pt x="980" y="256"/>
                    </a:lnTo>
                    <a:lnTo>
                      <a:pt x="972" y="263"/>
                    </a:lnTo>
                    <a:lnTo>
                      <a:pt x="972" y="263"/>
                    </a:lnTo>
                    <a:lnTo>
                      <a:pt x="972" y="270"/>
                    </a:lnTo>
                    <a:lnTo>
                      <a:pt x="965" y="270"/>
                    </a:lnTo>
                    <a:lnTo>
                      <a:pt x="965" y="270"/>
                    </a:lnTo>
                    <a:lnTo>
                      <a:pt x="965" y="270"/>
                    </a:lnTo>
                    <a:lnTo>
                      <a:pt x="965" y="270"/>
                    </a:lnTo>
                    <a:lnTo>
                      <a:pt x="965" y="277"/>
                    </a:lnTo>
                    <a:lnTo>
                      <a:pt x="958" y="277"/>
                    </a:lnTo>
                    <a:lnTo>
                      <a:pt x="958" y="277"/>
                    </a:lnTo>
                    <a:lnTo>
                      <a:pt x="958" y="277"/>
                    </a:lnTo>
                    <a:lnTo>
                      <a:pt x="958" y="277"/>
                    </a:lnTo>
                    <a:lnTo>
                      <a:pt x="951" y="277"/>
                    </a:lnTo>
                    <a:lnTo>
                      <a:pt x="951" y="277"/>
                    </a:lnTo>
                    <a:lnTo>
                      <a:pt x="951" y="284"/>
                    </a:lnTo>
                    <a:lnTo>
                      <a:pt x="951" y="284"/>
                    </a:lnTo>
                    <a:lnTo>
                      <a:pt x="951" y="284"/>
                    </a:lnTo>
                    <a:lnTo>
                      <a:pt x="951" y="291"/>
                    </a:lnTo>
                    <a:lnTo>
                      <a:pt x="951" y="291"/>
                    </a:lnTo>
                    <a:lnTo>
                      <a:pt x="951" y="298"/>
                    </a:lnTo>
                    <a:lnTo>
                      <a:pt x="937" y="306"/>
                    </a:lnTo>
                    <a:lnTo>
                      <a:pt x="937" y="313"/>
                    </a:lnTo>
                    <a:lnTo>
                      <a:pt x="937" y="313"/>
                    </a:lnTo>
                    <a:lnTo>
                      <a:pt x="937" y="313"/>
                    </a:lnTo>
                    <a:lnTo>
                      <a:pt x="937" y="313"/>
                    </a:lnTo>
                    <a:lnTo>
                      <a:pt x="930" y="313"/>
                    </a:lnTo>
                    <a:lnTo>
                      <a:pt x="930" y="313"/>
                    </a:lnTo>
                    <a:lnTo>
                      <a:pt x="930" y="313"/>
                    </a:lnTo>
                    <a:lnTo>
                      <a:pt x="930" y="313"/>
                    </a:lnTo>
                    <a:lnTo>
                      <a:pt x="930" y="313"/>
                    </a:lnTo>
                    <a:lnTo>
                      <a:pt x="930" y="313"/>
                    </a:lnTo>
                    <a:lnTo>
                      <a:pt x="930" y="313"/>
                    </a:lnTo>
                    <a:lnTo>
                      <a:pt x="930" y="306"/>
                    </a:lnTo>
                    <a:lnTo>
                      <a:pt x="930" y="306"/>
                    </a:lnTo>
                    <a:lnTo>
                      <a:pt x="923" y="313"/>
                    </a:lnTo>
                    <a:lnTo>
                      <a:pt x="930" y="313"/>
                    </a:lnTo>
                    <a:lnTo>
                      <a:pt x="930" y="313"/>
                    </a:lnTo>
                    <a:lnTo>
                      <a:pt x="930" y="313"/>
                    </a:lnTo>
                    <a:lnTo>
                      <a:pt x="937" y="313"/>
                    </a:lnTo>
                    <a:lnTo>
                      <a:pt x="937" y="320"/>
                    </a:lnTo>
                    <a:lnTo>
                      <a:pt x="930" y="320"/>
                    </a:lnTo>
                    <a:lnTo>
                      <a:pt x="930" y="320"/>
                    </a:lnTo>
                    <a:lnTo>
                      <a:pt x="930" y="320"/>
                    </a:lnTo>
                    <a:lnTo>
                      <a:pt x="930" y="320"/>
                    </a:lnTo>
                    <a:lnTo>
                      <a:pt x="923" y="320"/>
                    </a:lnTo>
                    <a:lnTo>
                      <a:pt x="923" y="327"/>
                    </a:lnTo>
                    <a:lnTo>
                      <a:pt x="923" y="327"/>
                    </a:lnTo>
                    <a:lnTo>
                      <a:pt x="923" y="327"/>
                    </a:lnTo>
                    <a:lnTo>
                      <a:pt x="923" y="327"/>
                    </a:lnTo>
                    <a:lnTo>
                      <a:pt x="923" y="327"/>
                    </a:lnTo>
                    <a:lnTo>
                      <a:pt x="916" y="334"/>
                    </a:lnTo>
                    <a:lnTo>
                      <a:pt x="909" y="334"/>
                    </a:lnTo>
                    <a:lnTo>
                      <a:pt x="901" y="341"/>
                    </a:lnTo>
                    <a:lnTo>
                      <a:pt x="894" y="341"/>
                    </a:lnTo>
                    <a:lnTo>
                      <a:pt x="894" y="348"/>
                    </a:lnTo>
                    <a:lnTo>
                      <a:pt x="887" y="348"/>
                    </a:lnTo>
                    <a:lnTo>
                      <a:pt x="887" y="348"/>
                    </a:lnTo>
                    <a:lnTo>
                      <a:pt x="887" y="348"/>
                    </a:lnTo>
                    <a:lnTo>
                      <a:pt x="887" y="348"/>
                    </a:lnTo>
                    <a:lnTo>
                      <a:pt x="880" y="355"/>
                    </a:lnTo>
                    <a:lnTo>
                      <a:pt x="880" y="355"/>
                    </a:lnTo>
                    <a:lnTo>
                      <a:pt x="880" y="355"/>
                    </a:lnTo>
                    <a:lnTo>
                      <a:pt x="873" y="355"/>
                    </a:lnTo>
                    <a:lnTo>
                      <a:pt x="873" y="355"/>
                    </a:lnTo>
                    <a:lnTo>
                      <a:pt x="873" y="355"/>
                    </a:lnTo>
                    <a:lnTo>
                      <a:pt x="866" y="362"/>
                    </a:lnTo>
                    <a:lnTo>
                      <a:pt x="859" y="362"/>
                    </a:lnTo>
                    <a:lnTo>
                      <a:pt x="852" y="362"/>
                    </a:lnTo>
                    <a:lnTo>
                      <a:pt x="816" y="391"/>
                    </a:lnTo>
                    <a:lnTo>
                      <a:pt x="816" y="391"/>
                    </a:lnTo>
                    <a:lnTo>
                      <a:pt x="816" y="398"/>
                    </a:lnTo>
                    <a:lnTo>
                      <a:pt x="816" y="398"/>
                    </a:lnTo>
                    <a:lnTo>
                      <a:pt x="809" y="398"/>
                    </a:lnTo>
                    <a:lnTo>
                      <a:pt x="802" y="405"/>
                    </a:lnTo>
                    <a:lnTo>
                      <a:pt x="802" y="405"/>
                    </a:lnTo>
                    <a:lnTo>
                      <a:pt x="795" y="412"/>
                    </a:lnTo>
                    <a:lnTo>
                      <a:pt x="795" y="412"/>
                    </a:lnTo>
                    <a:lnTo>
                      <a:pt x="795" y="419"/>
                    </a:lnTo>
                    <a:lnTo>
                      <a:pt x="788" y="426"/>
                    </a:lnTo>
                    <a:lnTo>
                      <a:pt x="788" y="433"/>
                    </a:lnTo>
                    <a:lnTo>
                      <a:pt x="788" y="433"/>
                    </a:lnTo>
                    <a:lnTo>
                      <a:pt x="795" y="440"/>
                    </a:lnTo>
                    <a:lnTo>
                      <a:pt x="795" y="440"/>
                    </a:lnTo>
                    <a:lnTo>
                      <a:pt x="795" y="440"/>
                    </a:lnTo>
                    <a:lnTo>
                      <a:pt x="795" y="440"/>
                    </a:lnTo>
                    <a:lnTo>
                      <a:pt x="802" y="440"/>
                    </a:lnTo>
                    <a:lnTo>
                      <a:pt x="802" y="440"/>
                    </a:lnTo>
                    <a:lnTo>
                      <a:pt x="802" y="440"/>
                    </a:lnTo>
                    <a:lnTo>
                      <a:pt x="802" y="440"/>
                    </a:lnTo>
                    <a:lnTo>
                      <a:pt x="802" y="440"/>
                    </a:lnTo>
                    <a:lnTo>
                      <a:pt x="802" y="440"/>
                    </a:lnTo>
                    <a:lnTo>
                      <a:pt x="809" y="440"/>
                    </a:lnTo>
                    <a:lnTo>
                      <a:pt x="802" y="433"/>
                    </a:lnTo>
                    <a:lnTo>
                      <a:pt x="802" y="433"/>
                    </a:lnTo>
                    <a:lnTo>
                      <a:pt x="802" y="426"/>
                    </a:lnTo>
                    <a:lnTo>
                      <a:pt x="802" y="426"/>
                    </a:lnTo>
                    <a:lnTo>
                      <a:pt x="809" y="433"/>
                    </a:lnTo>
                    <a:lnTo>
                      <a:pt x="809" y="440"/>
                    </a:lnTo>
                    <a:lnTo>
                      <a:pt x="809" y="448"/>
                    </a:lnTo>
                    <a:lnTo>
                      <a:pt x="802" y="455"/>
                    </a:lnTo>
                    <a:lnTo>
                      <a:pt x="802" y="462"/>
                    </a:lnTo>
                    <a:lnTo>
                      <a:pt x="802" y="469"/>
                    </a:lnTo>
                    <a:lnTo>
                      <a:pt x="802" y="476"/>
                    </a:lnTo>
                    <a:lnTo>
                      <a:pt x="802" y="476"/>
                    </a:lnTo>
                    <a:lnTo>
                      <a:pt x="802" y="476"/>
                    </a:lnTo>
                    <a:lnTo>
                      <a:pt x="802" y="476"/>
                    </a:lnTo>
                    <a:lnTo>
                      <a:pt x="802" y="476"/>
                    </a:lnTo>
                    <a:lnTo>
                      <a:pt x="795" y="476"/>
                    </a:lnTo>
                    <a:lnTo>
                      <a:pt x="795" y="476"/>
                    </a:lnTo>
                    <a:lnTo>
                      <a:pt x="795" y="476"/>
                    </a:lnTo>
                    <a:lnTo>
                      <a:pt x="795" y="476"/>
                    </a:lnTo>
                    <a:lnTo>
                      <a:pt x="795" y="476"/>
                    </a:lnTo>
                    <a:lnTo>
                      <a:pt x="795" y="483"/>
                    </a:lnTo>
                    <a:lnTo>
                      <a:pt x="802" y="483"/>
                    </a:lnTo>
                    <a:lnTo>
                      <a:pt x="795" y="483"/>
                    </a:lnTo>
                    <a:lnTo>
                      <a:pt x="788" y="490"/>
                    </a:lnTo>
                    <a:lnTo>
                      <a:pt x="781" y="490"/>
                    </a:lnTo>
                    <a:lnTo>
                      <a:pt x="781" y="497"/>
                    </a:lnTo>
                    <a:lnTo>
                      <a:pt x="774" y="497"/>
                    </a:lnTo>
                    <a:lnTo>
                      <a:pt x="767" y="504"/>
                    </a:lnTo>
                    <a:lnTo>
                      <a:pt x="767" y="504"/>
                    </a:lnTo>
                    <a:lnTo>
                      <a:pt x="759" y="504"/>
                    </a:lnTo>
                    <a:lnTo>
                      <a:pt x="759" y="504"/>
                    </a:lnTo>
                    <a:lnTo>
                      <a:pt x="759" y="504"/>
                    </a:lnTo>
                    <a:lnTo>
                      <a:pt x="752" y="511"/>
                    </a:lnTo>
                    <a:lnTo>
                      <a:pt x="752" y="511"/>
                    </a:lnTo>
                    <a:lnTo>
                      <a:pt x="752" y="511"/>
                    </a:lnTo>
                    <a:lnTo>
                      <a:pt x="752" y="511"/>
                    </a:lnTo>
                    <a:lnTo>
                      <a:pt x="752" y="511"/>
                    </a:lnTo>
                    <a:lnTo>
                      <a:pt x="745" y="511"/>
                    </a:lnTo>
                    <a:lnTo>
                      <a:pt x="745" y="511"/>
                    </a:lnTo>
                    <a:lnTo>
                      <a:pt x="738" y="511"/>
                    </a:lnTo>
                    <a:lnTo>
                      <a:pt x="738" y="511"/>
                    </a:lnTo>
                    <a:lnTo>
                      <a:pt x="724" y="519"/>
                    </a:lnTo>
                    <a:lnTo>
                      <a:pt x="724" y="519"/>
                    </a:lnTo>
                    <a:lnTo>
                      <a:pt x="717" y="526"/>
                    </a:lnTo>
                    <a:lnTo>
                      <a:pt x="717" y="526"/>
                    </a:lnTo>
                    <a:lnTo>
                      <a:pt x="710" y="526"/>
                    </a:lnTo>
                    <a:lnTo>
                      <a:pt x="710" y="519"/>
                    </a:lnTo>
                    <a:lnTo>
                      <a:pt x="710" y="519"/>
                    </a:lnTo>
                    <a:lnTo>
                      <a:pt x="703" y="519"/>
                    </a:lnTo>
                    <a:lnTo>
                      <a:pt x="703" y="519"/>
                    </a:lnTo>
                    <a:lnTo>
                      <a:pt x="696" y="519"/>
                    </a:lnTo>
                    <a:lnTo>
                      <a:pt x="696" y="519"/>
                    </a:lnTo>
                    <a:lnTo>
                      <a:pt x="696" y="519"/>
                    </a:lnTo>
                    <a:lnTo>
                      <a:pt x="696" y="519"/>
                    </a:lnTo>
                    <a:lnTo>
                      <a:pt x="696" y="511"/>
                    </a:lnTo>
                    <a:lnTo>
                      <a:pt x="689" y="511"/>
                    </a:lnTo>
                    <a:lnTo>
                      <a:pt x="689" y="519"/>
                    </a:lnTo>
                    <a:lnTo>
                      <a:pt x="689" y="519"/>
                    </a:lnTo>
                    <a:lnTo>
                      <a:pt x="681" y="519"/>
                    </a:lnTo>
                    <a:lnTo>
                      <a:pt x="681" y="519"/>
                    </a:lnTo>
                    <a:lnTo>
                      <a:pt x="674" y="519"/>
                    </a:lnTo>
                    <a:lnTo>
                      <a:pt x="674" y="519"/>
                    </a:lnTo>
                    <a:lnTo>
                      <a:pt x="674" y="519"/>
                    </a:lnTo>
                    <a:lnTo>
                      <a:pt x="674" y="519"/>
                    </a:lnTo>
                    <a:lnTo>
                      <a:pt x="674" y="519"/>
                    </a:lnTo>
                    <a:lnTo>
                      <a:pt x="674" y="511"/>
                    </a:lnTo>
                    <a:lnTo>
                      <a:pt x="667" y="511"/>
                    </a:lnTo>
                    <a:lnTo>
                      <a:pt x="667" y="511"/>
                    </a:lnTo>
                    <a:lnTo>
                      <a:pt x="667" y="519"/>
                    </a:lnTo>
                    <a:lnTo>
                      <a:pt x="667" y="519"/>
                    </a:lnTo>
                    <a:lnTo>
                      <a:pt x="660" y="519"/>
                    </a:lnTo>
                    <a:lnTo>
                      <a:pt x="660" y="519"/>
                    </a:lnTo>
                    <a:lnTo>
                      <a:pt x="660" y="519"/>
                    </a:lnTo>
                    <a:lnTo>
                      <a:pt x="653" y="519"/>
                    </a:lnTo>
                    <a:lnTo>
                      <a:pt x="646" y="526"/>
                    </a:lnTo>
                    <a:lnTo>
                      <a:pt x="646" y="526"/>
                    </a:lnTo>
                    <a:lnTo>
                      <a:pt x="653" y="526"/>
                    </a:lnTo>
                    <a:lnTo>
                      <a:pt x="653" y="526"/>
                    </a:lnTo>
                    <a:lnTo>
                      <a:pt x="653" y="533"/>
                    </a:lnTo>
                    <a:lnTo>
                      <a:pt x="646" y="533"/>
                    </a:lnTo>
                    <a:lnTo>
                      <a:pt x="646" y="540"/>
                    </a:lnTo>
                    <a:lnTo>
                      <a:pt x="639" y="554"/>
                    </a:lnTo>
                    <a:lnTo>
                      <a:pt x="639" y="561"/>
                    </a:lnTo>
                    <a:lnTo>
                      <a:pt x="639" y="561"/>
                    </a:lnTo>
                    <a:lnTo>
                      <a:pt x="639" y="568"/>
                    </a:lnTo>
                    <a:lnTo>
                      <a:pt x="639" y="575"/>
                    </a:lnTo>
                    <a:lnTo>
                      <a:pt x="639" y="575"/>
                    </a:lnTo>
                    <a:lnTo>
                      <a:pt x="632" y="575"/>
                    </a:lnTo>
                    <a:lnTo>
                      <a:pt x="625" y="582"/>
                    </a:lnTo>
                    <a:lnTo>
                      <a:pt x="625" y="589"/>
                    </a:lnTo>
                    <a:lnTo>
                      <a:pt x="618" y="589"/>
                    </a:lnTo>
                    <a:lnTo>
                      <a:pt x="618" y="597"/>
                    </a:lnTo>
                    <a:lnTo>
                      <a:pt x="618" y="597"/>
                    </a:lnTo>
                    <a:lnTo>
                      <a:pt x="618" y="597"/>
                    </a:lnTo>
                    <a:lnTo>
                      <a:pt x="618" y="597"/>
                    </a:lnTo>
                    <a:lnTo>
                      <a:pt x="618" y="604"/>
                    </a:lnTo>
                    <a:lnTo>
                      <a:pt x="618" y="604"/>
                    </a:lnTo>
                    <a:lnTo>
                      <a:pt x="618" y="604"/>
                    </a:lnTo>
                    <a:lnTo>
                      <a:pt x="618" y="604"/>
                    </a:lnTo>
                    <a:lnTo>
                      <a:pt x="618" y="604"/>
                    </a:lnTo>
                    <a:lnTo>
                      <a:pt x="618" y="604"/>
                    </a:lnTo>
                    <a:lnTo>
                      <a:pt x="610" y="604"/>
                    </a:lnTo>
                    <a:lnTo>
                      <a:pt x="610" y="604"/>
                    </a:lnTo>
                    <a:lnTo>
                      <a:pt x="610" y="597"/>
                    </a:lnTo>
                    <a:lnTo>
                      <a:pt x="603" y="597"/>
                    </a:lnTo>
                    <a:lnTo>
                      <a:pt x="603" y="597"/>
                    </a:lnTo>
                    <a:lnTo>
                      <a:pt x="603" y="597"/>
                    </a:lnTo>
                    <a:lnTo>
                      <a:pt x="603" y="589"/>
                    </a:lnTo>
                    <a:lnTo>
                      <a:pt x="603" y="589"/>
                    </a:lnTo>
                    <a:lnTo>
                      <a:pt x="603" y="575"/>
                    </a:lnTo>
                    <a:lnTo>
                      <a:pt x="603" y="575"/>
                    </a:lnTo>
                    <a:lnTo>
                      <a:pt x="603" y="575"/>
                    </a:lnTo>
                    <a:lnTo>
                      <a:pt x="596" y="568"/>
                    </a:lnTo>
                    <a:lnTo>
                      <a:pt x="596" y="568"/>
                    </a:lnTo>
                    <a:lnTo>
                      <a:pt x="596" y="568"/>
                    </a:lnTo>
                    <a:lnTo>
                      <a:pt x="596" y="575"/>
                    </a:lnTo>
                    <a:lnTo>
                      <a:pt x="596" y="568"/>
                    </a:lnTo>
                    <a:lnTo>
                      <a:pt x="596" y="568"/>
                    </a:lnTo>
                    <a:lnTo>
                      <a:pt x="596" y="568"/>
                    </a:lnTo>
                    <a:lnTo>
                      <a:pt x="596" y="575"/>
                    </a:lnTo>
                    <a:lnTo>
                      <a:pt x="603" y="582"/>
                    </a:lnTo>
                    <a:lnTo>
                      <a:pt x="596" y="589"/>
                    </a:lnTo>
                    <a:lnTo>
                      <a:pt x="596" y="597"/>
                    </a:lnTo>
                    <a:lnTo>
                      <a:pt x="589" y="611"/>
                    </a:lnTo>
                    <a:lnTo>
                      <a:pt x="589" y="611"/>
                    </a:lnTo>
                    <a:lnTo>
                      <a:pt x="589" y="618"/>
                    </a:lnTo>
                    <a:lnTo>
                      <a:pt x="589" y="604"/>
                    </a:lnTo>
                    <a:lnTo>
                      <a:pt x="589" y="597"/>
                    </a:lnTo>
                    <a:lnTo>
                      <a:pt x="582" y="589"/>
                    </a:lnTo>
                    <a:lnTo>
                      <a:pt x="582" y="589"/>
                    </a:lnTo>
                    <a:lnTo>
                      <a:pt x="575" y="589"/>
                    </a:lnTo>
                    <a:lnTo>
                      <a:pt x="568" y="589"/>
                    </a:lnTo>
                    <a:lnTo>
                      <a:pt x="568" y="589"/>
                    </a:lnTo>
                    <a:lnTo>
                      <a:pt x="568" y="589"/>
                    </a:lnTo>
                    <a:lnTo>
                      <a:pt x="568" y="589"/>
                    </a:lnTo>
                    <a:lnTo>
                      <a:pt x="568" y="589"/>
                    </a:lnTo>
                    <a:lnTo>
                      <a:pt x="568" y="589"/>
                    </a:lnTo>
                    <a:lnTo>
                      <a:pt x="568" y="589"/>
                    </a:lnTo>
                    <a:lnTo>
                      <a:pt x="561" y="589"/>
                    </a:lnTo>
                    <a:lnTo>
                      <a:pt x="561" y="589"/>
                    </a:lnTo>
                    <a:lnTo>
                      <a:pt x="554" y="589"/>
                    </a:lnTo>
                    <a:lnTo>
                      <a:pt x="554" y="589"/>
                    </a:lnTo>
                    <a:lnTo>
                      <a:pt x="554" y="589"/>
                    </a:lnTo>
                    <a:lnTo>
                      <a:pt x="554" y="589"/>
                    </a:lnTo>
                    <a:lnTo>
                      <a:pt x="547" y="597"/>
                    </a:lnTo>
                    <a:lnTo>
                      <a:pt x="547" y="597"/>
                    </a:lnTo>
                    <a:lnTo>
                      <a:pt x="539" y="597"/>
                    </a:lnTo>
                    <a:lnTo>
                      <a:pt x="539" y="597"/>
                    </a:lnTo>
                    <a:lnTo>
                      <a:pt x="539" y="597"/>
                    </a:lnTo>
                    <a:lnTo>
                      <a:pt x="539" y="597"/>
                    </a:lnTo>
                    <a:lnTo>
                      <a:pt x="539" y="597"/>
                    </a:lnTo>
                    <a:lnTo>
                      <a:pt x="532" y="604"/>
                    </a:lnTo>
                    <a:lnTo>
                      <a:pt x="532" y="604"/>
                    </a:lnTo>
                    <a:lnTo>
                      <a:pt x="525" y="604"/>
                    </a:lnTo>
                    <a:lnTo>
                      <a:pt x="525" y="611"/>
                    </a:lnTo>
                    <a:lnTo>
                      <a:pt x="511" y="618"/>
                    </a:lnTo>
                    <a:lnTo>
                      <a:pt x="511" y="625"/>
                    </a:lnTo>
                    <a:lnTo>
                      <a:pt x="504" y="639"/>
                    </a:lnTo>
                    <a:lnTo>
                      <a:pt x="504" y="639"/>
                    </a:lnTo>
                    <a:lnTo>
                      <a:pt x="504" y="646"/>
                    </a:lnTo>
                    <a:lnTo>
                      <a:pt x="504" y="646"/>
                    </a:lnTo>
                    <a:lnTo>
                      <a:pt x="504" y="646"/>
                    </a:lnTo>
                    <a:lnTo>
                      <a:pt x="504" y="653"/>
                    </a:lnTo>
                    <a:lnTo>
                      <a:pt x="497" y="653"/>
                    </a:lnTo>
                    <a:lnTo>
                      <a:pt x="497" y="660"/>
                    </a:lnTo>
                    <a:lnTo>
                      <a:pt x="490" y="660"/>
                    </a:lnTo>
                    <a:lnTo>
                      <a:pt x="490" y="668"/>
                    </a:lnTo>
                    <a:lnTo>
                      <a:pt x="490" y="668"/>
                    </a:lnTo>
                    <a:lnTo>
                      <a:pt x="490" y="682"/>
                    </a:lnTo>
                    <a:lnTo>
                      <a:pt x="490" y="682"/>
                    </a:lnTo>
                    <a:lnTo>
                      <a:pt x="483" y="696"/>
                    </a:lnTo>
                    <a:lnTo>
                      <a:pt x="483" y="710"/>
                    </a:lnTo>
                    <a:lnTo>
                      <a:pt x="483" y="724"/>
                    </a:lnTo>
                    <a:lnTo>
                      <a:pt x="483" y="731"/>
                    </a:lnTo>
                    <a:lnTo>
                      <a:pt x="483" y="731"/>
                    </a:lnTo>
                    <a:lnTo>
                      <a:pt x="483" y="739"/>
                    </a:lnTo>
                    <a:lnTo>
                      <a:pt x="490" y="760"/>
                    </a:lnTo>
                    <a:lnTo>
                      <a:pt x="490" y="767"/>
                    </a:lnTo>
                    <a:lnTo>
                      <a:pt x="490" y="767"/>
                    </a:lnTo>
                    <a:lnTo>
                      <a:pt x="490" y="767"/>
                    </a:lnTo>
                    <a:lnTo>
                      <a:pt x="497" y="774"/>
                    </a:lnTo>
                    <a:lnTo>
                      <a:pt x="497" y="774"/>
                    </a:lnTo>
                    <a:lnTo>
                      <a:pt x="497" y="774"/>
                    </a:lnTo>
                    <a:lnTo>
                      <a:pt x="497" y="781"/>
                    </a:lnTo>
                    <a:lnTo>
                      <a:pt x="504" y="781"/>
                    </a:lnTo>
                    <a:lnTo>
                      <a:pt x="504" y="781"/>
                    </a:lnTo>
                    <a:lnTo>
                      <a:pt x="504" y="788"/>
                    </a:lnTo>
                    <a:lnTo>
                      <a:pt x="497" y="788"/>
                    </a:lnTo>
                    <a:lnTo>
                      <a:pt x="497" y="788"/>
                    </a:lnTo>
                    <a:lnTo>
                      <a:pt x="497" y="788"/>
                    </a:lnTo>
                    <a:lnTo>
                      <a:pt x="497" y="788"/>
                    </a:lnTo>
                    <a:lnTo>
                      <a:pt x="497" y="788"/>
                    </a:lnTo>
                    <a:lnTo>
                      <a:pt x="504" y="788"/>
                    </a:lnTo>
                    <a:lnTo>
                      <a:pt x="504" y="788"/>
                    </a:lnTo>
                    <a:lnTo>
                      <a:pt x="504" y="788"/>
                    </a:lnTo>
                    <a:lnTo>
                      <a:pt x="504" y="788"/>
                    </a:lnTo>
                    <a:lnTo>
                      <a:pt x="504" y="788"/>
                    </a:lnTo>
                    <a:lnTo>
                      <a:pt x="504" y="788"/>
                    </a:lnTo>
                    <a:lnTo>
                      <a:pt x="504" y="795"/>
                    </a:lnTo>
                    <a:lnTo>
                      <a:pt x="504" y="802"/>
                    </a:lnTo>
                    <a:lnTo>
                      <a:pt x="504" y="817"/>
                    </a:lnTo>
                    <a:lnTo>
                      <a:pt x="504" y="824"/>
                    </a:lnTo>
                    <a:lnTo>
                      <a:pt x="497" y="824"/>
                    </a:lnTo>
                    <a:lnTo>
                      <a:pt x="497" y="831"/>
                    </a:lnTo>
                    <a:lnTo>
                      <a:pt x="497" y="838"/>
                    </a:lnTo>
                    <a:lnTo>
                      <a:pt x="490" y="838"/>
                    </a:lnTo>
                    <a:lnTo>
                      <a:pt x="490" y="838"/>
                    </a:lnTo>
                    <a:lnTo>
                      <a:pt x="490" y="838"/>
                    </a:lnTo>
                    <a:lnTo>
                      <a:pt x="490" y="838"/>
                    </a:lnTo>
                    <a:lnTo>
                      <a:pt x="483" y="838"/>
                    </a:lnTo>
                    <a:lnTo>
                      <a:pt x="483" y="845"/>
                    </a:lnTo>
                    <a:lnTo>
                      <a:pt x="483" y="845"/>
                    </a:lnTo>
                    <a:lnTo>
                      <a:pt x="490" y="845"/>
                    </a:lnTo>
                    <a:lnTo>
                      <a:pt x="490" y="845"/>
                    </a:lnTo>
                    <a:lnTo>
                      <a:pt x="490" y="838"/>
                    </a:lnTo>
                    <a:lnTo>
                      <a:pt x="497" y="838"/>
                    </a:lnTo>
                    <a:lnTo>
                      <a:pt x="497" y="838"/>
                    </a:lnTo>
                    <a:lnTo>
                      <a:pt x="497" y="845"/>
                    </a:lnTo>
                    <a:lnTo>
                      <a:pt x="497" y="852"/>
                    </a:lnTo>
                    <a:lnTo>
                      <a:pt x="497" y="866"/>
                    </a:lnTo>
                    <a:lnTo>
                      <a:pt x="504" y="873"/>
                    </a:lnTo>
                    <a:lnTo>
                      <a:pt x="511" y="895"/>
                    </a:lnTo>
                    <a:lnTo>
                      <a:pt x="511" y="902"/>
                    </a:lnTo>
                    <a:lnTo>
                      <a:pt x="511" y="909"/>
                    </a:lnTo>
                    <a:lnTo>
                      <a:pt x="511" y="916"/>
                    </a:lnTo>
                    <a:lnTo>
                      <a:pt x="511" y="916"/>
                    </a:lnTo>
                    <a:lnTo>
                      <a:pt x="511" y="923"/>
                    </a:lnTo>
                    <a:lnTo>
                      <a:pt x="511" y="923"/>
                    </a:lnTo>
                    <a:lnTo>
                      <a:pt x="518" y="937"/>
                    </a:lnTo>
                    <a:lnTo>
                      <a:pt x="518" y="944"/>
                    </a:lnTo>
                    <a:lnTo>
                      <a:pt x="518" y="944"/>
                    </a:lnTo>
                    <a:lnTo>
                      <a:pt x="518" y="944"/>
                    </a:lnTo>
                    <a:lnTo>
                      <a:pt x="518" y="944"/>
                    </a:lnTo>
                    <a:lnTo>
                      <a:pt x="511" y="937"/>
                    </a:lnTo>
                    <a:lnTo>
                      <a:pt x="504" y="930"/>
                    </a:lnTo>
                    <a:lnTo>
                      <a:pt x="504" y="923"/>
                    </a:lnTo>
                    <a:lnTo>
                      <a:pt x="504" y="916"/>
                    </a:lnTo>
                    <a:lnTo>
                      <a:pt x="497" y="916"/>
                    </a:lnTo>
                    <a:lnTo>
                      <a:pt x="497" y="930"/>
                    </a:lnTo>
                    <a:lnTo>
                      <a:pt x="497" y="930"/>
                    </a:lnTo>
                    <a:lnTo>
                      <a:pt x="497" y="930"/>
                    </a:lnTo>
                    <a:lnTo>
                      <a:pt x="497" y="930"/>
                    </a:lnTo>
                    <a:lnTo>
                      <a:pt x="497" y="923"/>
                    </a:lnTo>
                    <a:lnTo>
                      <a:pt x="497" y="923"/>
                    </a:lnTo>
                    <a:lnTo>
                      <a:pt x="497" y="923"/>
                    </a:lnTo>
                    <a:lnTo>
                      <a:pt x="490" y="923"/>
                    </a:lnTo>
                    <a:lnTo>
                      <a:pt x="490" y="923"/>
                    </a:lnTo>
                    <a:lnTo>
                      <a:pt x="490" y="923"/>
                    </a:lnTo>
                    <a:lnTo>
                      <a:pt x="490" y="923"/>
                    </a:lnTo>
                    <a:lnTo>
                      <a:pt x="490" y="930"/>
                    </a:lnTo>
                    <a:lnTo>
                      <a:pt x="490" y="930"/>
                    </a:lnTo>
                    <a:lnTo>
                      <a:pt x="490" y="937"/>
                    </a:lnTo>
                    <a:lnTo>
                      <a:pt x="490" y="937"/>
                    </a:lnTo>
                    <a:lnTo>
                      <a:pt x="497" y="944"/>
                    </a:lnTo>
                    <a:lnTo>
                      <a:pt x="497" y="944"/>
                    </a:lnTo>
                    <a:lnTo>
                      <a:pt x="497" y="952"/>
                    </a:lnTo>
                    <a:lnTo>
                      <a:pt x="497" y="952"/>
                    </a:lnTo>
                    <a:lnTo>
                      <a:pt x="504" y="952"/>
                    </a:lnTo>
                    <a:lnTo>
                      <a:pt x="504" y="952"/>
                    </a:lnTo>
                    <a:lnTo>
                      <a:pt x="511" y="952"/>
                    </a:lnTo>
                    <a:lnTo>
                      <a:pt x="511" y="952"/>
                    </a:lnTo>
                    <a:lnTo>
                      <a:pt x="511" y="952"/>
                    </a:lnTo>
                    <a:lnTo>
                      <a:pt x="511" y="952"/>
                    </a:lnTo>
                    <a:lnTo>
                      <a:pt x="518" y="952"/>
                    </a:lnTo>
                    <a:lnTo>
                      <a:pt x="518" y="952"/>
                    </a:lnTo>
                    <a:lnTo>
                      <a:pt x="518" y="952"/>
                    </a:lnTo>
                    <a:lnTo>
                      <a:pt x="511" y="959"/>
                    </a:lnTo>
                    <a:lnTo>
                      <a:pt x="511" y="959"/>
                    </a:lnTo>
                    <a:lnTo>
                      <a:pt x="504" y="959"/>
                    </a:lnTo>
                    <a:lnTo>
                      <a:pt x="497" y="959"/>
                    </a:lnTo>
                    <a:lnTo>
                      <a:pt x="497" y="959"/>
                    </a:lnTo>
                    <a:lnTo>
                      <a:pt x="497" y="959"/>
                    </a:lnTo>
                    <a:lnTo>
                      <a:pt x="497" y="952"/>
                    </a:lnTo>
                    <a:lnTo>
                      <a:pt x="497" y="952"/>
                    </a:lnTo>
                    <a:lnTo>
                      <a:pt x="497" y="952"/>
                    </a:lnTo>
                    <a:lnTo>
                      <a:pt x="497" y="952"/>
                    </a:lnTo>
                    <a:lnTo>
                      <a:pt x="497" y="952"/>
                    </a:lnTo>
                    <a:lnTo>
                      <a:pt x="497" y="952"/>
                    </a:lnTo>
                    <a:lnTo>
                      <a:pt x="497" y="952"/>
                    </a:lnTo>
                    <a:lnTo>
                      <a:pt x="497" y="944"/>
                    </a:lnTo>
                    <a:lnTo>
                      <a:pt x="497" y="944"/>
                    </a:lnTo>
                    <a:lnTo>
                      <a:pt x="490" y="944"/>
                    </a:lnTo>
                    <a:lnTo>
                      <a:pt x="490" y="944"/>
                    </a:lnTo>
                    <a:lnTo>
                      <a:pt x="483" y="944"/>
                    </a:lnTo>
                    <a:lnTo>
                      <a:pt x="483" y="944"/>
                    </a:lnTo>
                    <a:lnTo>
                      <a:pt x="483" y="944"/>
                    </a:lnTo>
                    <a:lnTo>
                      <a:pt x="483" y="944"/>
                    </a:lnTo>
                    <a:lnTo>
                      <a:pt x="483" y="944"/>
                    </a:lnTo>
                    <a:lnTo>
                      <a:pt x="483" y="944"/>
                    </a:lnTo>
                    <a:lnTo>
                      <a:pt x="483" y="944"/>
                    </a:lnTo>
                    <a:lnTo>
                      <a:pt x="483" y="952"/>
                    </a:lnTo>
                    <a:lnTo>
                      <a:pt x="483" y="952"/>
                    </a:lnTo>
                    <a:lnTo>
                      <a:pt x="490" y="952"/>
                    </a:lnTo>
                    <a:lnTo>
                      <a:pt x="490" y="952"/>
                    </a:lnTo>
                    <a:lnTo>
                      <a:pt x="490" y="952"/>
                    </a:lnTo>
                    <a:lnTo>
                      <a:pt x="490" y="952"/>
                    </a:lnTo>
                    <a:lnTo>
                      <a:pt x="483" y="952"/>
                    </a:lnTo>
                    <a:lnTo>
                      <a:pt x="483" y="952"/>
                    </a:lnTo>
                    <a:lnTo>
                      <a:pt x="483" y="959"/>
                    </a:lnTo>
                    <a:lnTo>
                      <a:pt x="476" y="959"/>
                    </a:lnTo>
                    <a:lnTo>
                      <a:pt x="476" y="959"/>
                    </a:lnTo>
                    <a:lnTo>
                      <a:pt x="476" y="959"/>
                    </a:lnTo>
                    <a:lnTo>
                      <a:pt x="476" y="966"/>
                    </a:lnTo>
                    <a:lnTo>
                      <a:pt x="476" y="966"/>
                    </a:lnTo>
                    <a:lnTo>
                      <a:pt x="476" y="966"/>
                    </a:lnTo>
                    <a:lnTo>
                      <a:pt x="476" y="966"/>
                    </a:lnTo>
                    <a:lnTo>
                      <a:pt x="476" y="966"/>
                    </a:lnTo>
                    <a:lnTo>
                      <a:pt x="476" y="973"/>
                    </a:lnTo>
                    <a:lnTo>
                      <a:pt x="461" y="980"/>
                    </a:lnTo>
                    <a:lnTo>
                      <a:pt x="454" y="980"/>
                    </a:lnTo>
                    <a:lnTo>
                      <a:pt x="447" y="980"/>
                    </a:lnTo>
                    <a:lnTo>
                      <a:pt x="447" y="980"/>
                    </a:lnTo>
                    <a:lnTo>
                      <a:pt x="447" y="980"/>
                    </a:lnTo>
                    <a:lnTo>
                      <a:pt x="447" y="980"/>
                    </a:lnTo>
                    <a:lnTo>
                      <a:pt x="447" y="980"/>
                    </a:lnTo>
                    <a:lnTo>
                      <a:pt x="447" y="980"/>
                    </a:lnTo>
                    <a:lnTo>
                      <a:pt x="447" y="980"/>
                    </a:lnTo>
                    <a:lnTo>
                      <a:pt x="447" y="987"/>
                    </a:lnTo>
                    <a:lnTo>
                      <a:pt x="447" y="987"/>
                    </a:lnTo>
                    <a:lnTo>
                      <a:pt x="447" y="987"/>
                    </a:lnTo>
                    <a:lnTo>
                      <a:pt x="447" y="987"/>
                    </a:lnTo>
                    <a:lnTo>
                      <a:pt x="447" y="987"/>
                    </a:lnTo>
                    <a:lnTo>
                      <a:pt x="447" y="987"/>
                    </a:lnTo>
                    <a:lnTo>
                      <a:pt x="447" y="987"/>
                    </a:lnTo>
                    <a:lnTo>
                      <a:pt x="447" y="987"/>
                    </a:lnTo>
                    <a:lnTo>
                      <a:pt x="447" y="994"/>
                    </a:lnTo>
                    <a:lnTo>
                      <a:pt x="447" y="994"/>
                    </a:lnTo>
                    <a:lnTo>
                      <a:pt x="447" y="994"/>
                    </a:lnTo>
                    <a:lnTo>
                      <a:pt x="447" y="994"/>
                    </a:lnTo>
                    <a:lnTo>
                      <a:pt x="440" y="994"/>
                    </a:lnTo>
                    <a:lnTo>
                      <a:pt x="440" y="994"/>
                    </a:lnTo>
                    <a:lnTo>
                      <a:pt x="433" y="987"/>
                    </a:lnTo>
                    <a:lnTo>
                      <a:pt x="433" y="987"/>
                    </a:lnTo>
                    <a:lnTo>
                      <a:pt x="433" y="987"/>
                    </a:lnTo>
                    <a:lnTo>
                      <a:pt x="433" y="987"/>
                    </a:lnTo>
                    <a:lnTo>
                      <a:pt x="433" y="987"/>
                    </a:lnTo>
                    <a:lnTo>
                      <a:pt x="433" y="980"/>
                    </a:lnTo>
                    <a:lnTo>
                      <a:pt x="433" y="980"/>
                    </a:lnTo>
                    <a:lnTo>
                      <a:pt x="433" y="980"/>
                    </a:lnTo>
                    <a:lnTo>
                      <a:pt x="419" y="987"/>
                    </a:lnTo>
                    <a:lnTo>
                      <a:pt x="419" y="987"/>
                    </a:lnTo>
                    <a:lnTo>
                      <a:pt x="419" y="980"/>
                    </a:lnTo>
                    <a:lnTo>
                      <a:pt x="419" y="980"/>
                    </a:lnTo>
                    <a:lnTo>
                      <a:pt x="412" y="980"/>
                    </a:lnTo>
                    <a:lnTo>
                      <a:pt x="412" y="980"/>
                    </a:lnTo>
                    <a:lnTo>
                      <a:pt x="412" y="973"/>
                    </a:lnTo>
                    <a:lnTo>
                      <a:pt x="412" y="973"/>
                    </a:lnTo>
                    <a:lnTo>
                      <a:pt x="405" y="973"/>
                    </a:lnTo>
                    <a:lnTo>
                      <a:pt x="405" y="973"/>
                    </a:lnTo>
                    <a:lnTo>
                      <a:pt x="405" y="973"/>
                    </a:lnTo>
                    <a:lnTo>
                      <a:pt x="397" y="973"/>
                    </a:lnTo>
                    <a:lnTo>
                      <a:pt x="397" y="980"/>
                    </a:lnTo>
                    <a:lnTo>
                      <a:pt x="397" y="980"/>
                    </a:lnTo>
                    <a:lnTo>
                      <a:pt x="397" y="980"/>
                    </a:lnTo>
                    <a:lnTo>
                      <a:pt x="397" y="980"/>
                    </a:lnTo>
                    <a:lnTo>
                      <a:pt x="397" y="980"/>
                    </a:lnTo>
                    <a:lnTo>
                      <a:pt x="397" y="987"/>
                    </a:lnTo>
                    <a:lnTo>
                      <a:pt x="397" y="987"/>
                    </a:lnTo>
                    <a:lnTo>
                      <a:pt x="397" y="987"/>
                    </a:lnTo>
                    <a:lnTo>
                      <a:pt x="397" y="987"/>
                    </a:lnTo>
                    <a:lnTo>
                      <a:pt x="397" y="994"/>
                    </a:lnTo>
                    <a:lnTo>
                      <a:pt x="397" y="994"/>
                    </a:lnTo>
                    <a:lnTo>
                      <a:pt x="390" y="994"/>
                    </a:lnTo>
                    <a:lnTo>
                      <a:pt x="390" y="994"/>
                    </a:lnTo>
                    <a:lnTo>
                      <a:pt x="390" y="1001"/>
                    </a:lnTo>
                    <a:lnTo>
                      <a:pt x="383" y="1001"/>
                    </a:lnTo>
                    <a:lnTo>
                      <a:pt x="383" y="1001"/>
                    </a:lnTo>
                    <a:lnTo>
                      <a:pt x="383" y="1008"/>
                    </a:lnTo>
                    <a:lnTo>
                      <a:pt x="376" y="1008"/>
                    </a:lnTo>
                    <a:lnTo>
                      <a:pt x="376" y="1008"/>
                    </a:lnTo>
                    <a:lnTo>
                      <a:pt x="376" y="1008"/>
                    </a:lnTo>
                    <a:lnTo>
                      <a:pt x="376" y="1001"/>
                    </a:lnTo>
                    <a:lnTo>
                      <a:pt x="369" y="1001"/>
                    </a:lnTo>
                    <a:lnTo>
                      <a:pt x="369" y="1001"/>
                    </a:lnTo>
                    <a:lnTo>
                      <a:pt x="369" y="1008"/>
                    </a:lnTo>
                    <a:lnTo>
                      <a:pt x="362" y="1015"/>
                    </a:lnTo>
                    <a:lnTo>
                      <a:pt x="362" y="1015"/>
                    </a:lnTo>
                    <a:lnTo>
                      <a:pt x="362" y="1015"/>
                    </a:lnTo>
                    <a:lnTo>
                      <a:pt x="355" y="1023"/>
                    </a:lnTo>
                    <a:lnTo>
                      <a:pt x="355" y="1023"/>
                    </a:lnTo>
                    <a:lnTo>
                      <a:pt x="348" y="1023"/>
                    </a:lnTo>
                    <a:lnTo>
                      <a:pt x="348" y="1023"/>
                    </a:lnTo>
                    <a:lnTo>
                      <a:pt x="348" y="1023"/>
                    </a:lnTo>
                    <a:lnTo>
                      <a:pt x="341" y="1023"/>
                    </a:lnTo>
                    <a:lnTo>
                      <a:pt x="341" y="1023"/>
                    </a:lnTo>
                    <a:lnTo>
                      <a:pt x="341" y="1015"/>
                    </a:lnTo>
                    <a:lnTo>
                      <a:pt x="341" y="1015"/>
                    </a:lnTo>
                    <a:lnTo>
                      <a:pt x="334" y="1015"/>
                    </a:lnTo>
                    <a:lnTo>
                      <a:pt x="334" y="1015"/>
                    </a:lnTo>
                    <a:lnTo>
                      <a:pt x="334" y="1015"/>
                    </a:lnTo>
                    <a:lnTo>
                      <a:pt x="334" y="1015"/>
                    </a:lnTo>
                    <a:lnTo>
                      <a:pt x="334" y="1015"/>
                    </a:lnTo>
                    <a:lnTo>
                      <a:pt x="334" y="1015"/>
                    </a:lnTo>
                    <a:lnTo>
                      <a:pt x="334" y="1015"/>
                    </a:lnTo>
                    <a:lnTo>
                      <a:pt x="326" y="1015"/>
                    </a:lnTo>
                    <a:lnTo>
                      <a:pt x="326" y="1015"/>
                    </a:lnTo>
                    <a:lnTo>
                      <a:pt x="326" y="1015"/>
                    </a:lnTo>
                    <a:lnTo>
                      <a:pt x="326" y="1015"/>
                    </a:lnTo>
                    <a:lnTo>
                      <a:pt x="326" y="1015"/>
                    </a:lnTo>
                    <a:lnTo>
                      <a:pt x="326" y="1015"/>
                    </a:lnTo>
                    <a:lnTo>
                      <a:pt x="319" y="1015"/>
                    </a:lnTo>
                    <a:lnTo>
                      <a:pt x="319" y="1023"/>
                    </a:lnTo>
                    <a:lnTo>
                      <a:pt x="319" y="1023"/>
                    </a:lnTo>
                    <a:lnTo>
                      <a:pt x="319" y="1023"/>
                    </a:lnTo>
                    <a:lnTo>
                      <a:pt x="319" y="1023"/>
                    </a:lnTo>
                    <a:lnTo>
                      <a:pt x="319" y="1015"/>
                    </a:lnTo>
                    <a:lnTo>
                      <a:pt x="319" y="1015"/>
                    </a:lnTo>
                    <a:lnTo>
                      <a:pt x="312" y="1015"/>
                    </a:lnTo>
                    <a:lnTo>
                      <a:pt x="312" y="1015"/>
                    </a:lnTo>
                    <a:lnTo>
                      <a:pt x="305" y="1015"/>
                    </a:lnTo>
                    <a:lnTo>
                      <a:pt x="305" y="1015"/>
                    </a:lnTo>
                    <a:lnTo>
                      <a:pt x="298" y="1015"/>
                    </a:lnTo>
                    <a:lnTo>
                      <a:pt x="298" y="1015"/>
                    </a:lnTo>
                    <a:lnTo>
                      <a:pt x="291" y="1015"/>
                    </a:lnTo>
                    <a:lnTo>
                      <a:pt x="291" y="1023"/>
                    </a:lnTo>
                    <a:lnTo>
                      <a:pt x="291" y="1023"/>
                    </a:lnTo>
                    <a:lnTo>
                      <a:pt x="291" y="1023"/>
                    </a:lnTo>
                    <a:lnTo>
                      <a:pt x="291" y="1023"/>
                    </a:lnTo>
                    <a:lnTo>
                      <a:pt x="291" y="1023"/>
                    </a:lnTo>
                    <a:lnTo>
                      <a:pt x="284" y="1023"/>
                    </a:lnTo>
                    <a:lnTo>
                      <a:pt x="284" y="1023"/>
                    </a:lnTo>
                    <a:lnTo>
                      <a:pt x="284" y="1030"/>
                    </a:lnTo>
                    <a:lnTo>
                      <a:pt x="284" y="1030"/>
                    </a:lnTo>
                    <a:lnTo>
                      <a:pt x="284" y="1030"/>
                    </a:lnTo>
                    <a:lnTo>
                      <a:pt x="284" y="1030"/>
                    </a:lnTo>
                    <a:lnTo>
                      <a:pt x="284" y="1037"/>
                    </a:lnTo>
                    <a:lnTo>
                      <a:pt x="284" y="1037"/>
                    </a:lnTo>
                    <a:lnTo>
                      <a:pt x="277" y="1037"/>
                    </a:lnTo>
                    <a:lnTo>
                      <a:pt x="277" y="1051"/>
                    </a:lnTo>
                    <a:lnTo>
                      <a:pt x="277" y="1058"/>
                    </a:lnTo>
                    <a:lnTo>
                      <a:pt x="270" y="1065"/>
                    </a:lnTo>
                    <a:lnTo>
                      <a:pt x="270" y="1065"/>
                    </a:lnTo>
                    <a:lnTo>
                      <a:pt x="270" y="1065"/>
                    </a:lnTo>
                    <a:lnTo>
                      <a:pt x="263" y="1065"/>
                    </a:lnTo>
                    <a:lnTo>
                      <a:pt x="263" y="1065"/>
                    </a:lnTo>
                    <a:lnTo>
                      <a:pt x="263" y="1065"/>
                    </a:lnTo>
                    <a:lnTo>
                      <a:pt x="263" y="1065"/>
                    </a:lnTo>
                    <a:lnTo>
                      <a:pt x="263" y="1065"/>
                    </a:lnTo>
                    <a:lnTo>
                      <a:pt x="263" y="1065"/>
                    </a:lnTo>
                    <a:lnTo>
                      <a:pt x="263" y="1065"/>
                    </a:lnTo>
                    <a:lnTo>
                      <a:pt x="263" y="1072"/>
                    </a:lnTo>
                    <a:lnTo>
                      <a:pt x="263" y="1072"/>
                    </a:lnTo>
                    <a:lnTo>
                      <a:pt x="263" y="1072"/>
                    </a:lnTo>
                    <a:lnTo>
                      <a:pt x="255" y="1079"/>
                    </a:lnTo>
                    <a:lnTo>
                      <a:pt x="255" y="1079"/>
                    </a:lnTo>
                    <a:lnTo>
                      <a:pt x="248" y="1079"/>
                    </a:lnTo>
                    <a:lnTo>
                      <a:pt x="248" y="1079"/>
                    </a:lnTo>
                    <a:lnTo>
                      <a:pt x="248" y="1086"/>
                    </a:lnTo>
                    <a:lnTo>
                      <a:pt x="248" y="1079"/>
                    </a:lnTo>
                    <a:lnTo>
                      <a:pt x="241" y="1079"/>
                    </a:lnTo>
                    <a:lnTo>
                      <a:pt x="241" y="1079"/>
                    </a:lnTo>
                    <a:lnTo>
                      <a:pt x="234" y="1079"/>
                    </a:lnTo>
                    <a:lnTo>
                      <a:pt x="227" y="1072"/>
                    </a:lnTo>
                    <a:lnTo>
                      <a:pt x="220" y="1065"/>
                    </a:lnTo>
                    <a:lnTo>
                      <a:pt x="220" y="1065"/>
                    </a:lnTo>
                    <a:lnTo>
                      <a:pt x="227" y="1058"/>
                    </a:lnTo>
                    <a:lnTo>
                      <a:pt x="227" y="1058"/>
                    </a:lnTo>
                    <a:lnTo>
                      <a:pt x="227" y="1058"/>
                    </a:lnTo>
                    <a:lnTo>
                      <a:pt x="227" y="1051"/>
                    </a:lnTo>
                    <a:lnTo>
                      <a:pt x="227" y="1051"/>
                    </a:lnTo>
                    <a:lnTo>
                      <a:pt x="227" y="1051"/>
                    </a:lnTo>
                    <a:lnTo>
                      <a:pt x="227" y="1051"/>
                    </a:lnTo>
                    <a:lnTo>
                      <a:pt x="227" y="1051"/>
                    </a:lnTo>
                    <a:lnTo>
                      <a:pt x="227" y="1051"/>
                    </a:lnTo>
                    <a:lnTo>
                      <a:pt x="227" y="1051"/>
                    </a:lnTo>
                    <a:lnTo>
                      <a:pt x="227" y="1051"/>
                    </a:lnTo>
                    <a:lnTo>
                      <a:pt x="227" y="1051"/>
                    </a:lnTo>
                    <a:lnTo>
                      <a:pt x="227" y="1051"/>
                    </a:lnTo>
                    <a:lnTo>
                      <a:pt x="227" y="1051"/>
                    </a:lnTo>
                    <a:lnTo>
                      <a:pt x="227" y="1051"/>
                    </a:lnTo>
                    <a:lnTo>
                      <a:pt x="234" y="1051"/>
                    </a:lnTo>
                    <a:lnTo>
                      <a:pt x="234" y="1051"/>
                    </a:lnTo>
                    <a:lnTo>
                      <a:pt x="234" y="1051"/>
                    </a:lnTo>
                    <a:lnTo>
                      <a:pt x="234" y="1051"/>
                    </a:lnTo>
                    <a:lnTo>
                      <a:pt x="234" y="1051"/>
                    </a:lnTo>
                    <a:lnTo>
                      <a:pt x="234" y="1051"/>
                    </a:lnTo>
                    <a:lnTo>
                      <a:pt x="234" y="1051"/>
                    </a:lnTo>
                    <a:lnTo>
                      <a:pt x="241" y="1044"/>
                    </a:lnTo>
                    <a:lnTo>
                      <a:pt x="241" y="1044"/>
                    </a:lnTo>
                    <a:lnTo>
                      <a:pt x="241" y="1044"/>
                    </a:lnTo>
                    <a:lnTo>
                      <a:pt x="241" y="1044"/>
                    </a:lnTo>
                    <a:lnTo>
                      <a:pt x="241" y="1044"/>
                    </a:lnTo>
                    <a:lnTo>
                      <a:pt x="241" y="1037"/>
                    </a:lnTo>
                    <a:lnTo>
                      <a:pt x="241" y="1037"/>
                    </a:lnTo>
                    <a:lnTo>
                      <a:pt x="241" y="1037"/>
                    </a:lnTo>
                    <a:lnTo>
                      <a:pt x="241" y="1044"/>
                    </a:lnTo>
                    <a:lnTo>
                      <a:pt x="241" y="1044"/>
                    </a:lnTo>
                    <a:lnTo>
                      <a:pt x="255" y="1051"/>
                    </a:lnTo>
                    <a:lnTo>
                      <a:pt x="255" y="1051"/>
                    </a:lnTo>
                    <a:lnTo>
                      <a:pt x="255" y="1051"/>
                    </a:lnTo>
                    <a:lnTo>
                      <a:pt x="255" y="1044"/>
                    </a:lnTo>
                    <a:lnTo>
                      <a:pt x="255" y="1044"/>
                    </a:lnTo>
                    <a:lnTo>
                      <a:pt x="255" y="1044"/>
                    </a:lnTo>
                    <a:lnTo>
                      <a:pt x="255" y="1044"/>
                    </a:lnTo>
                    <a:lnTo>
                      <a:pt x="255" y="1037"/>
                    </a:lnTo>
                    <a:lnTo>
                      <a:pt x="248" y="1037"/>
                    </a:lnTo>
                    <a:lnTo>
                      <a:pt x="248" y="1037"/>
                    </a:lnTo>
                    <a:lnTo>
                      <a:pt x="248" y="1037"/>
                    </a:lnTo>
                    <a:lnTo>
                      <a:pt x="248" y="1037"/>
                    </a:lnTo>
                    <a:lnTo>
                      <a:pt x="248" y="1037"/>
                    </a:lnTo>
                    <a:lnTo>
                      <a:pt x="255" y="1030"/>
                    </a:lnTo>
                    <a:lnTo>
                      <a:pt x="255" y="1030"/>
                    </a:lnTo>
                    <a:lnTo>
                      <a:pt x="255" y="1030"/>
                    </a:lnTo>
                    <a:lnTo>
                      <a:pt x="255" y="1030"/>
                    </a:lnTo>
                    <a:lnTo>
                      <a:pt x="255" y="1023"/>
                    </a:lnTo>
                    <a:lnTo>
                      <a:pt x="255" y="1023"/>
                    </a:lnTo>
                    <a:lnTo>
                      <a:pt x="255" y="1023"/>
                    </a:lnTo>
                    <a:lnTo>
                      <a:pt x="255" y="1023"/>
                    </a:lnTo>
                    <a:lnTo>
                      <a:pt x="263" y="1015"/>
                    </a:lnTo>
                    <a:lnTo>
                      <a:pt x="263" y="1015"/>
                    </a:lnTo>
                    <a:lnTo>
                      <a:pt x="263" y="1015"/>
                    </a:lnTo>
                    <a:lnTo>
                      <a:pt x="263" y="1015"/>
                    </a:lnTo>
                    <a:lnTo>
                      <a:pt x="263" y="1008"/>
                    </a:lnTo>
                    <a:lnTo>
                      <a:pt x="263" y="1008"/>
                    </a:lnTo>
                    <a:lnTo>
                      <a:pt x="263" y="1008"/>
                    </a:lnTo>
                    <a:lnTo>
                      <a:pt x="263" y="1008"/>
                    </a:lnTo>
                    <a:lnTo>
                      <a:pt x="270" y="1001"/>
                    </a:lnTo>
                    <a:lnTo>
                      <a:pt x="270" y="1001"/>
                    </a:lnTo>
                    <a:lnTo>
                      <a:pt x="270" y="1001"/>
                    </a:lnTo>
                    <a:lnTo>
                      <a:pt x="270" y="994"/>
                    </a:lnTo>
                    <a:lnTo>
                      <a:pt x="270" y="994"/>
                    </a:lnTo>
                    <a:lnTo>
                      <a:pt x="270" y="994"/>
                    </a:lnTo>
                    <a:lnTo>
                      <a:pt x="270" y="994"/>
                    </a:lnTo>
                    <a:lnTo>
                      <a:pt x="270" y="994"/>
                    </a:lnTo>
                    <a:lnTo>
                      <a:pt x="270" y="994"/>
                    </a:lnTo>
                    <a:lnTo>
                      <a:pt x="270" y="987"/>
                    </a:lnTo>
                    <a:lnTo>
                      <a:pt x="270" y="987"/>
                    </a:lnTo>
                    <a:lnTo>
                      <a:pt x="270" y="987"/>
                    </a:lnTo>
                    <a:lnTo>
                      <a:pt x="270" y="987"/>
                    </a:lnTo>
                    <a:lnTo>
                      <a:pt x="270" y="980"/>
                    </a:lnTo>
                    <a:lnTo>
                      <a:pt x="270" y="980"/>
                    </a:lnTo>
                    <a:lnTo>
                      <a:pt x="270" y="980"/>
                    </a:lnTo>
                    <a:lnTo>
                      <a:pt x="270" y="987"/>
                    </a:lnTo>
                    <a:lnTo>
                      <a:pt x="263" y="987"/>
                    </a:lnTo>
                    <a:lnTo>
                      <a:pt x="263" y="987"/>
                    </a:lnTo>
                    <a:lnTo>
                      <a:pt x="263" y="987"/>
                    </a:lnTo>
                    <a:lnTo>
                      <a:pt x="263" y="987"/>
                    </a:lnTo>
                    <a:lnTo>
                      <a:pt x="263" y="987"/>
                    </a:lnTo>
                    <a:lnTo>
                      <a:pt x="263" y="987"/>
                    </a:lnTo>
                    <a:lnTo>
                      <a:pt x="255" y="980"/>
                    </a:lnTo>
                    <a:lnTo>
                      <a:pt x="255" y="980"/>
                    </a:lnTo>
                    <a:lnTo>
                      <a:pt x="255" y="980"/>
                    </a:lnTo>
                    <a:lnTo>
                      <a:pt x="255" y="980"/>
                    </a:lnTo>
                    <a:lnTo>
                      <a:pt x="255" y="980"/>
                    </a:lnTo>
                    <a:lnTo>
                      <a:pt x="248" y="980"/>
                    </a:lnTo>
                    <a:lnTo>
                      <a:pt x="248" y="980"/>
                    </a:lnTo>
                    <a:lnTo>
                      <a:pt x="248" y="980"/>
                    </a:lnTo>
                    <a:lnTo>
                      <a:pt x="248" y="980"/>
                    </a:lnTo>
                    <a:lnTo>
                      <a:pt x="248" y="980"/>
                    </a:lnTo>
                    <a:lnTo>
                      <a:pt x="248" y="980"/>
                    </a:lnTo>
                    <a:lnTo>
                      <a:pt x="241" y="980"/>
                    </a:lnTo>
                    <a:lnTo>
                      <a:pt x="241" y="980"/>
                    </a:lnTo>
                    <a:lnTo>
                      <a:pt x="241" y="980"/>
                    </a:lnTo>
                    <a:lnTo>
                      <a:pt x="241" y="973"/>
                    </a:lnTo>
                    <a:lnTo>
                      <a:pt x="241" y="973"/>
                    </a:lnTo>
                    <a:lnTo>
                      <a:pt x="241" y="973"/>
                    </a:lnTo>
                    <a:lnTo>
                      <a:pt x="241" y="973"/>
                    </a:lnTo>
                    <a:lnTo>
                      <a:pt x="241" y="973"/>
                    </a:lnTo>
                    <a:lnTo>
                      <a:pt x="241" y="973"/>
                    </a:lnTo>
                    <a:lnTo>
                      <a:pt x="241" y="966"/>
                    </a:lnTo>
                    <a:lnTo>
                      <a:pt x="241" y="966"/>
                    </a:lnTo>
                    <a:lnTo>
                      <a:pt x="241" y="966"/>
                    </a:lnTo>
                    <a:lnTo>
                      <a:pt x="241" y="966"/>
                    </a:lnTo>
                    <a:lnTo>
                      <a:pt x="241" y="966"/>
                    </a:lnTo>
                    <a:lnTo>
                      <a:pt x="241" y="959"/>
                    </a:lnTo>
                    <a:lnTo>
                      <a:pt x="241" y="959"/>
                    </a:lnTo>
                    <a:lnTo>
                      <a:pt x="241" y="959"/>
                    </a:lnTo>
                    <a:lnTo>
                      <a:pt x="241" y="952"/>
                    </a:lnTo>
                    <a:lnTo>
                      <a:pt x="241" y="952"/>
                    </a:lnTo>
                    <a:lnTo>
                      <a:pt x="241" y="952"/>
                    </a:lnTo>
                    <a:lnTo>
                      <a:pt x="241" y="952"/>
                    </a:lnTo>
                    <a:lnTo>
                      <a:pt x="241" y="944"/>
                    </a:lnTo>
                    <a:lnTo>
                      <a:pt x="241" y="944"/>
                    </a:lnTo>
                    <a:lnTo>
                      <a:pt x="241" y="944"/>
                    </a:lnTo>
                    <a:lnTo>
                      <a:pt x="241" y="937"/>
                    </a:lnTo>
                    <a:lnTo>
                      <a:pt x="241" y="937"/>
                    </a:lnTo>
                    <a:lnTo>
                      <a:pt x="241" y="937"/>
                    </a:lnTo>
                    <a:lnTo>
                      <a:pt x="241" y="937"/>
                    </a:lnTo>
                    <a:lnTo>
                      <a:pt x="241" y="937"/>
                    </a:lnTo>
                    <a:lnTo>
                      <a:pt x="234" y="937"/>
                    </a:lnTo>
                    <a:lnTo>
                      <a:pt x="234" y="937"/>
                    </a:lnTo>
                    <a:lnTo>
                      <a:pt x="234" y="937"/>
                    </a:lnTo>
                    <a:lnTo>
                      <a:pt x="234" y="937"/>
                    </a:lnTo>
                    <a:lnTo>
                      <a:pt x="234" y="937"/>
                    </a:lnTo>
                    <a:lnTo>
                      <a:pt x="234" y="937"/>
                    </a:lnTo>
                    <a:lnTo>
                      <a:pt x="227" y="937"/>
                    </a:lnTo>
                    <a:lnTo>
                      <a:pt x="227" y="937"/>
                    </a:lnTo>
                    <a:lnTo>
                      <a:pt x="227" y="937"/>
                    </a:lnTo>
                    <a:lnTo>
                      <a:pt x="227" y="937"/>
                    </a:lnTo>
                    <a:lnTo>
                      <a:pt x="227" y="937"/>
                    </a:lnTo>
                    <a:lnTo>
                      <a:pt x="227" y="937"/>
                    </a:lnTo>
                    <a:lnTo>
                      <a:pt x="220" y="937"/>
                    </a:lnTo>
                    <a:lnTo>
                      <a:pt x="220" y="937"/>
                    </a:lnTo>
                    <a:lnTo>
                      <a:pt x="220" y="937"/>
                    </a:lnTo>
                    <a:lnTo>
                      <a:pt x="213" y="937"/>
                    </a:lnTo>
                    <a:lnTo>
                      <a:pt x="213" y="937"/>
                    </a:lnTo>
                    <a:lnTo>
                      <a:pt x="213" y="937"/>
                    </a:lnTo>
                    <a:lnTo>
                      <a:pt x="213" y="937"/>
                    </a:lnTo>
                    <a:lnTo>
                      <a:pt x="206" y="930"/>
                    </a:lnTo>
                    <a:lnTo>
                      <a:pt x="206" y="930"/>
                    </a:lnTo>
                    <a:lnTo>
                      <a:pt x="206" y="930"/>
                    </a:lnTo>
                    <a:lnTo>
                      <a:pt x="206" y="930"/>
                    </a:lnTo>
                    <a:lnTo>
                      <a:pt x="199" y="930"/>
                    </a:lnTo>
                    <a:lnTo>
                      <a:pt x="199" y="930"/>
                    </a:lnTo>
                    <a:lnTo>
                      <a:pt x="199" y="930"/>
                    </a:lnTo>
                    <a:lnTo>
                      <a:pt x="199" y="930"/>
                    </a:lnTo>
                    <a:lnTo>
                      <a:pt x="199" y="930"/>
                    </a:lnTo>
                    <a:lnTo>
                      <a:pt x="192" y="923"/>
                    </a:lnTo>
                    <a:lnTo>
                      <a:pt x="192" y="923"/>
                    </a:lnTo>
                    <a:lnTo>
                      <a:pt x="199" y="923"/>
                    </a:lnTo>
                    <a:lnTo>
                      <a:pt x="199" y="923"/>
                    </a:lnTo>
                    <a:lnTo>
                      <a:pt x="199" y="923"/>
                    </a:lnTo>
                    <a:lnTo>
                      <a:pt x="199" y="923"/>
                    </a:lnTo>
                    <a:lnTo>
                      <a:pt x="199" y="923"/>
                    </a:lnTo>
                    <a:lnTo>
                      <a:pt x="199" y="923"/>
                    </a:lnTo>
                    <a:lnTo>
                      <a:pt x="199" y="923"/>
                    </a:lnTo>
                    <a:lnTo>
                      <a:pt x="199" y="923"/>
                    </a:lnTo>
                    <a:lnTo>
                      <a:pt x="199" y="916"/>
                    </a:lnTo>
                    <a:lnTo>
                      <a:pt x="199" y="916"/>
                    </a:lnTo>
                    <a:lnTo>
                      <a:pt x="199" y="916"/>
                    </a:lnTo>
                    <a:lnTo>
                      <a:pt x="199" y="916"/>
                    </a:lnTo>
                    <a:lnTo>
                      <a:pt x="199" y="909"/>
                    </a:lnTo>
                    <a:lnTo>
                      <a:pt x="199" y="909"/>
                    </a:lnTo>
                    <a:lnTo>
                      <a:pt x="199" y="909"/>
                    </a:lnTo>
                    <a:lnTo>
                      <a:pt x="199" y="902"/>
                    </a:lnTo>
                    <a:lnTo>
                      <a:pt x="199" y="902"/>
                    </a:lnTo>
                    <a:lnTo>
                      <a:pt x="192" y="895"/>
                    </a:lnTo>
                    <a:lnTo>
                      <a:pt x="185" y="895"/>
                    </a:lnTo>
                    <a:lnTo>
                      <a:pt x="185" y="895"/>
                    </a:lnTo>
                    <a:lnTo>
                      <a:pt x="185" y="895"/>
                    </a:lnTo>
                    <a:lnTo>
                      <a:pt x="185" y="895"/>
                    </a:lnTo>
                    <a:lnTo>
                      <a:pt x="185" y="895"/>
                    </a:lnTo>
                    <a:lnTo>
                      <a:pt x="177" y="895"/>
                    </a:lnTo>
                    <a:lnTo>
                      <a:pt x="177" y="902"/>
                    </a:lnTo>
                    <a:lnTo>
                      <a:pt x="177" y="902"/>
                    </a:lnTo>
                    <a:lnTo>
                      <a:pt x="177" y="902"/>
                    </a:lnTo>
                    <a:lnTo>
                      <a:pt x="177" y="902"/>
                    </a:lnTo>
                    <a:lnTo>
                      <a:pt x="177" y="902"/>
                    </a:lnTo>
                    <a:lnTo>
                      <a:pt x="177" y="902"/>
                    </a:lnTo>
                    <a:lnTo>
                      <a:pt x="170" y="902"/>
                    </a:lnTo>
                    <a:lnTo>
                      <a:pt x="170" y="895"/>
                    </a:lnTo>
                    <a:lnTo>
                      <a:pt x="170" y="895"/>
                    </a:lnTo>
                    <a:lnTo>
                      <a:pt x="170" y="895"/>
                    </a:lnTo>
                    <a:lnTo>
                      <a:pt x="177" y="895"/>
                    </a:lnTo>
                    <a:lnTo>
                      <a:pt x="177" y="895"/>
                    </a:lnTo>
                    <a:lnTo>
                      <a:pt x="177" y="888"/>
                    </a:lnTo>
                    <a:lnTo>
                      <a:pt x="177" y="888"/>
                    </a:lnTo>
                    <a:lnTo>
                      <a:pt x="177" y="888"/>
                    </a:lnTo>
                    <a:lnTo>
                      <a:pt x="177" y="888"/>
                    </a:lnTo>
                    <a:lnTo>
                      <a:pt x="177" y="888"/>
                    </a:lnTo>
                    <a:lnTo>
                      <a:pt x="177" y="881"/>
                    </a:lnTo>
                    <a:lnTo>
                      <a:pt x="177" y="881"/>
                    </a:lnTo>
                    <a:lnTo>
                      <a:pt x="177" y="881"/>
                    </a:lnTo>
                    <a:lnTo>
                      <a:pt x="177" y="881"/>
                    </a:lnTo>
                    <a:lnTo>
                      <a:pt x="170" y="888"/>
                    </a:lnTo>
                    <a:lnTo>
                      <a:pt x="170" y="888"/>
                    </a:lnTo>
                    <a:lnTo>
                      <a:pt x="170" y="888"/>
                    </a:lnTo>
                    <a:lnTo>
                      <a:pt x="170" y="888"/>
                    </a:lnTo>
                    <a:lnTo>
                      <a:pt x="170" y="888"/>
                    </a:lnTo>
                    <a:lnTo>
                      <a:pt x="170" y="888"/>
                    </a:lnTo>
                    <a:lnTo>
                      <a:pt x="170" y="888"/>
                    </a:lnTo>
                    <a:lnTo>
                      <a:pt x="163" y="888"/>
                    </a:lnTo>
                    <a:lnTo>
                      <a:pt x="163" y="888"/>
                    </a:lnTo>
                    <a:lnTo>
                      <a:pt x="163" y="888"/>
                    </a:lnTo>
                    <a:lnTo>
                      <a:pt x="163" y="888"/>
                    </a:lnTo>
                    <a:lnTo>
                      <a:pt x="163" y="888"/>
                    </a:lnTo>
                    <a:lnTo>
                      <a:pt x="156" y="888"/>
                    </a:lnTo>
                    <a:lnTo>
                      <a:pt x="156" y="888"/>
                    </a:lnTo>
                    <a:lnTo>
                      <a:pt x="156" y="888"/>
                    </a:lnTo>
                    <a:lnTo>
                      <a:pt x="156" y="888"/>
                    </a:lnTo>
                    <a:lnTo>
                      <a:pt x="156" y="888"/>
                    </a:lnTo>
                    <a:lnTo>
                      <a:pt x="156" y="888"/>
                    </a:lnTo>
                    <a:lnTo>
                      <a:pt x="156" y="888"/>
                    </a:lnTo>
                    <a:lnTo>
                      <a:pt x="156" y="895"/>
                    </a:lnTo>
                    <a:lnTo>
                      <a:pt x="156" y="895"/>
                    </a:lnTo>
                    <a:lnTo>
                      <a:pt x="156" y="895"/>
                    </a:lnTo>
                    <a:lnTo>
                      <a:pt x="156" y="895"/>
                    </a:lnTo>
                    <a:lnTo>
                      <a:pt x="156" y="895"/>
                    </a:lnTo>
                    <a:lnTo>
                      <a:pt x="156" y="895"/>
                    </a:lnTo>
                    <a:lnTo>
                      <a:pt x="156" y="895"/>
                    </a:lnTo>
                    <a:lnTo>
                      <a:pt x="156" y="902"/>
                    </a:lnTo>
                    <a:lnTo>
                      <a:pt x="156" y="902"/>
                    </a:lnTo>
                    <a:lnTo>
                      <a:pt x="149" y="902"/>
                    </a:lnTo>
                    <a:lnTo>
                      <a:pt x="149" y="902"/>
                    </a:lnTo>
                    <a:lnTo>
                      <a:pt x="149" y="902"/>
                    </a:lnTo>
                    <a:lnTo>
                      <a:pt x="149" y="902"/>
                    </a:lnTo>
                    <a:lnTo>
                      <a:pt x="149" y="909"/>
                    </a:lnTo>
                    <a:lnTo>
                      <a:pt x="142" y="909"/>
                    </a:lnTo>
                    <a:lnTo>
                      <a:pt x="142" y="909"/>
                    </a:lnTo>
                    <a:lnTo>
                      <a:pt x="142" y="909"/>
                    </a:lnTo>
                    <a:lnTo>
                      <a:pt x="142" y="909"/>
                    </a:lnTo>
                    <a:lnTo>
                      <a:pt x="142" y="909"/>
                    </a:lnTo>
                    <a:lnTo>
                      <a:pt x="142" y="916"/>
                    </a:lnTo>
                    <a:lnTo>
                      <a:pt x="135" y="916"/>
                    </a:lnTo>
                    <a:lnTo>
                      <a:pt x="135" y="916"/>
                    </a:lnTo>
                    <a:lnTo>
                      <a:pt x="135" y="916"/>
                    </a:lnTo>
                    <a:lnTo>
                      <a:pt x="135" y="916"/>
                    </a:lnTo>
                    <a:lnTo>
                      <a:pt x="135" y="909"/>
                    </a:lnTo>
                    <a:lnTo>
                      <a:pt x="135" y="909"/>
                    </a:lnTo>
                    <a:lnTo>
                      <a:pt x="135" y="909"/>
                    </a:lnTo>
                    <a:lnTo>
                      <a:pt x="128" y="909"/>
                    </a:lnTo>
                    <a:lnTo>
                      <a:pt x="128" y="909"/>
                    </a:lnTo>
                    <a:lnTo>
                      <a:pt x="128" y="916"/>
                    </a:lnTo>
                    <a:lnTo>
                      <a:pt x="128" y="916"/>
                    </a:lnTo>
                    <a:lnTo>
                      <a:pt x="128" y="916"/>
                    </a:lnTo>
                    <a:lnTo>
                      <a:pt x="128" y="916"/>
                    </a:lnTo>
                    <a:lnTo>
                      <a:pt x="128" y="916"/>
                    </a:lnTo>
                    <a:lnTo>
                      <a:pt x="128" y="916"/>
                    </a:lnTo>
                    <a:lnTo>
                      <a:pt x="128" y="916"/>
                    </a:lnTo>
                    <a:lnTo>
                      <a:pt x="121" y="916"/>
                    </a:lnTo>
                    <a:lnTo>
                      <a:pt x="121" y="916"/>
                    </a:lnTo>
                    <a:lnTo>
                      <a:pt x="121" y="923"/>
                    </a:lnTo>
                    <a:lnTo>
                      <a:pt x="114" y="923"/>
                    </a:lnTo>
                    <a:lnTo>
                      <a:pt x="114" y="923"/>
                    </a:lnTo>
                    <a:lnTo>
                      <a:pt x="114" y="923"/>
                    </a:lnTo>
                    <a:lnTo>
                      <a:pt x="106" y="923"/>
                    </a:lnTo>
                    <a:lnTo>
                      <a:pt x="106" y="923"/>
                    </a:lnTo>
                    <a:lnTo>
                      <a:pt x="106" y="923"/>
                    </a:lnTo>
                    <a:lnTo>
                      <a:pt x="106" y="923"/>
                    </a:lnTo>
                    <a:lnTo>
                      <a:pt x="106" y="923"/>
                    </a:lnTo>
                    <a:lnTo>
                      <a:pt x="106" y="923"/>
                    </a:lnTo>
                    <a:lnTo>
                      <a:pt x="106" y="916"/>
                    </a:lnTo>
                    <a:lnTo>
                      <a:pt x="106" y="916"/>
                    </a:lnTo>
                    <a:lnTo>
                      <a:pt x="106" y="909"/>
                    </a:lnTo>
                    <a:lnTo>
                      <a:pt x="106" y="909"/>
                    </a:lnTo>
                    <a:lnTo>
                      <a:pt x="99" y="909"/>
                    </a:lnTo>
                    <a:lnTo>
                      <a:pt x="99" y="909"/>
                    </a:lnTo>
                    <a:lnTo>
                      <a:pt x="99" y="909"/>
                    </a:lnTo>
                    <a:lnTo>
                      <a:pt x="99" y="909"/>
                    </a:lnTo>
                    <a:lnTo>
                      <a:pt x="99" y="902"/>
                    </a:lnTo>
                    <a:lnTo>
                      <a:pt x="99" y="902"/>
                    </a:lnTo>
                    <a:lnTo>
                      <a:pt x="99" y="902"/>
                    </a:lnTo>
                    <a:lnTo>
                      <a:pt x="99" y="902"/>
                    </a:lnTo>
                    <a:lnTo>
                      <a:pt x="92" y="902"/>
                    </a:lnTo>
                    <a:lnTo>
                      <a:pt x="92" y="902"/>
                    </a:lnTo>
                    <a:lnTo>
                      <a:pt x="85" y="902"/>
                    </a:lnTo>
                    <a:lnTo>
                      <a:pt x="85" y="902"/>
                    </a:lnTo>
                    <a:lnTo>
                      <a:pt x="85" y="902"/>
                    </a:lnTo>
                    <a:lnTo>
                      <a:pt x="85" y="902"/>
                    </a:lnTo>
                    <a:lnTo>
                      <a:pt x="78" y="902"/>
                    </a:lnTo>
                    <a:lnTo>
                      <a:pt x="78" y="902"/>
                    </a:lnTo>
                    <a:lnTo>
                      <a:pt x="78" y="902"/>
                    </a:lnTo>
                    <a:lnTo>
                      <a:pt x="78" y="902"/>
                    </a:lnTo>
                    <a:lnTo>
                      <a:pt x="71" y="902"/>
                    </a:lnTo>
                    <a:lnTo>
                      <a:pt x="71" y="902"/>
                    </a:lnTo>
                    <a:lnTo>
                      <a:pt x="71" y="895"/>
                    </a:lnTo>
                    <a:lnTo>
                      <a:pt x="71" y="895"/>
                    </a:lnTo>
                    <a:lnTo>
                      <a:pt x="71" y="895"/>
                    </a:lnTo>
                    <a:lnTo>
                      <a:pt x="64" y="895"/>
                    </a:lnTo>
                    <a:lnTo>
                      <a:pt x="64" y="895"/>
                    </a:lnTo>
                    <a:lnTo>
                      <a:pt x="64" y="895"/>
                    </a:lnTo>
                    <a:lnTo>
                      <a:pt x="64" y="895"/>
                    </a:lnTo>
                    <a:lnTo>
                      <a:pt x="64" y="895"/>
                    </a:lnTo>
                    <a:lnTo>
                      <a:pt x="64" y="895"/>
                    </a:lnTo>
                    <a:lnTo>
                      <a:pt x="64" y="895"/>
                    </a:lnTo>
                    <a:lnTo>
                      <a:pt x="64" y="895"/>
                    </a:lnTo>
                    <a:lnTo>
                      <a:pt x="64" y="895"/>
                    </a:lnTo>
                    <a:lnTo>
                      <a:pt x="64" y="895"/>
                    </a:lnTo>
                    <a:lnTo>
                      <a:pt x="57" y="895"/>
                    </a:lnTo>
                    <a:lnTo>
                      <a:pt x="57" y="895"/>
                    </a:lnTo>
                    <a:lnTo>
                      <a:pt x="57" y="895"/>
                    </a:lnTo>
                    <a:lnTo>
                      <a:pt x="57" y="895"/>
                    </a:lnTo>
                    <a:lnTo>
                      <a:pt x="57" y="895"/>
                    </a:lnTo>
                    <a:lnTo>
                      <a:pt x="57" y="895"/>
                    </a:lnTo>
                    <a:lnTo>
                      <a:pt x="57" y="895"/>
                    </a:lnTo>
                    <a:lnTo>
                      <a:pt x="57" y="895"/>
                    </a:lnTo>
                    <a:lnTo>
                      <a:pt x="57" y="902"/>
                    </a:lnTo>
                    <a:lnTo>
                      <a:pt x="57" y="902"/>
                    </a:lnTo>
                    <a:lnTo>
                      <a:pt x="57" y="902"/>
                    </a:lnTo>
                    <a:lnTo>
                      <a:pt x="57" y="902"/>
                    </a:lnTo>
                    <a:lnTo>
                      <a:pt x="57" y="902"/>
                    </a:lnTo>
                    <a:lnTo>
                      <a:pt x="57" y="902"/>
                    </a:lnTo>
                    <a:lnTo>
                      <a:pt x="57" y="902"/>
                    </a:lnTo>
                    <a:lnTo>
                      <a:pt x="57" y="902"/>
                    </a:lnTo>
                    <a:lnTo>
                      <a:pt x="57" y="902"/>
                    </a:lnTo>
                    <a:lnTo>
                      <a:pt x="57" y="902"/>
                    </a:lnTo>
                    <a:lnTo>
                      <a:pt x="57" y="909"/>
                    </a:lnTo>
                    <a:lnTo>
                      <a:pt x="57" y="909"/>
                    </a:lnTo>
                    <a:lnTo>
                      <a:pt x="57" y="909"/>
                    </a:lnTo>
                    <a:lnTo>
                      <a:pt x="57" y="909"/>
                    </a:lnTo>
                    <a:lnTo>
                      <a:pt x="57" y="916"/>
                    </a:lnTo>
                    <a:lnTo>
                      <a:pt x="57" y="916"/>
                    </a:lnTo>
                    <a:lnTo>
                      <a:pt x="57" y="916"/>
                    </a:lnTo>
                    <a:lnTo>
                      <a:pt x="57" y="916"/>
                    </a:lnTo>
                    <a:lnTo>
                      <a:pt x="57" y="916"/>
                    </a:lnTo>
                    <a:lnTo>
                      <a:pt x="57" y="916"/>
                    </a:lnTo>
                    <a:lnTo>
                      <a:pt x="50" y="916"/>
                    </a:lnTo>
                    <a:lnTo>
                      <a:pt x="50" y="916"/>
                    </a:lnTo>
                    <a:lnTo>
                      <a:pt x="50" y="916"/>
                    </a:lnTo>
                    <a:lnTo>
                      <a:pt x="50" y="916"/>
                    </a:lnTo>
                    <a:lnTo>
                      <a:pt x="50" y="916"/>
                    </a:lnTo>
                    <a:lnTo>
                      <a:pt x="50" y="916"/>
                    </a:lnTo>
                    <a:lnTo>
                      <a:pt x="50" y="916"/>
                    </a:lnTo>
                    <a:lnTo>
                      <a:pt x="43" y="916"/>
                    </a:lnTo>
                    <a:lnTo>
                      <a:pt x="43" y="916"/>
                    </a:lnTo>
                    <a:lnTo>
                      <a:pt x="43" y="916"/>
                    </a:lnTo>
                    <a:lnTo>
                      <a:pt x="43" y="916"/>
                    </a:lnTo>
                    <a:lnTo>
                      <a:pt x="43" y="909"/>
                    </a:lnTo>
                    <a:lnTo>
                      <a:pt x="43" y="909"/>
                    </a:lnTo>
                    <a:lnTo>
                      <a:pt x="43" y="909"/>
                    </a:lnTo>
                    <a:lnTo>
                      <a:pt x="43" y="909"/>
                    </a:lnTo>
                    <a:lnTo>
                      <a:pt x="43" y="916"/>
                    </a:lnTo>
                    <a:lnTo>
                      <a:pt x="35" y="916"/>
                    </a:lnTo>
                    <a:lnTo>
                      <a:pt x="35" y="916"/>
                    </a:lnTo>
                    <a:lnTo>
                      <a:pt x="35" y="916"/>
                    </a:lnTo>
                    <a:lnTo>
                      <a:pt x="35" y="916"/>
                    </a:lnTo>
                    <a:lnTo>
                      <a:pt x="35" y="916"/>
                    </a:lnTo>
                    <a:lnTo>
                      <a:pt x="35" y="916"/>
                    </a:lnTo>
                    <a:lnTo>
                      <a:pt x="35" y="909"/>
                    </a:lnTo>
                    <a:lnTo>
                      <a:pt x="35" y="909"/>
                    </a:lnTo>
                    <a:lnTo>
                      <a:pt x="35" y="909"/>
                    </a:lnTo>
                    <a:lnTo>
                      <a:pt x="35" y="902"/>
                    </a:lnTo>
                    <a:lnTo>
                      <a:pt x="35" y="902"/>
                    </a:lnTo>
                    <a:lnTo>
                      <a:pt x="35" y="902"/>
                    </a:lnTo>
                    <a:lnTo>
                      <a:pt x="35" y="902"/>
                    </a:lnTo>
                    <a:lnTo>
                      <a:pt x="35" y="902"/>
                    </a:lnTo>
                    <a:lnTo>
                      <a:pt x="35" y="895"/>
                    </a:lnTo>
                    <a:lnTo>
                      <a:pt x="43" y="895"/>
                    </a:lnTo>
                    <a:lnTo>
                      <a:pt x="43" y="895"/>
                    </a:lnTo>
                    <a:lnTo>
                      <a:pt x="43" y="895"/>
                    </a:lnTo>
                    <a:lnTo>
                      <a:pt x="43" y="895"/>
                    </a:lnTo>
                    <a:lnTo>
                      <a:pt x="43" y="895"/>
                    </a:lnTo>
                    <a:lnTo>
                      <a:pt x="43" y="895"/>
                    </a:lnTo>
                    <a:lnTo>
                      <a:pt x="43" y="895"/>
                    </a:lnTo>
                    <a:lnTo>
                      <a:pt x="43" y="888"/>
                    </a:lnTo>
                    <a:lnTo>
                      <a:pt x="43" y="888"/>
                    </a:lnTo>
                    <a:lnTo>
                      <a:pt x="35" y="888"/>
                    </a:lnTo>
                    <a:lnTo>
                      <a:pt x="35" y="888"/>
                    </a:lnTo>
                    <a:lnTo>
                      <a:pt x="35" y="881"/>
                    </a:lnTo>
                    <a:lnTo>
                      <a:pt x="35" y="881"/>
                    </a:lnTo>
                    <a:lnTo>
                      <a:pt x="35" y="881"/>
                    </a:lnTo>
                    <a:lnTo>
                      <a:pt x="28" y="881"/>
                    </a:lnTo>
                    <a:lnTo>
                      <a:pt x="28" y="881"/>
                    </a:lnTo>
                    <a:lnTo>
                      <a:pt x="28" y="873"/>
                    </a:lnTo>
                    <a:lnTo>
                      <a:pt x="28" y="873"/>
                    </a:lnTo>
                    <a:lnTo>
                      <a:pt x="28" y="873"/>
                    </a:lnTo>
                    <a:lnTo>
                      <a:pt x="28" y="873"/>
                    </a:lnTo>
                    <a:lnTo>
                      <a:pt x="28" y="866"/>
                    </a:lnTo>
                    <a:lnTo>
                      <a:pt x="28" y="866"/>
                    </a:lnTo>
                    <a:lnTo>
                      <a:pt x="28" y="866"/>
                    </a:lnTo>
                    <a:lnTo>
                      <a:pt x="21" y="859"/>
                    </a:lnTo>
                    <a:lnTo>
                      <a:pt x="21" y="859"/>
                    </a:lnTo>
                    <a:lnTo>
                      <a:pt x="21" y="859"/>
                    </a:lnTo>
                    <a:lnTo>
                      <a:pt x="21" y="852"/>
                    </a:lnTo>
                    <a:lnTo>
                      <a:pt x="21" y="852"/>
                    </a:lnTo>
                    <a:lnTo>
                      <a:pt x="28" y="852"/>
                    </a:lnTo>
                    <a:lnTo>
                      <a:pt x="28" y="852"/>
                    </a:lnTo>
                    <a:lnTo>
                      <a:pt x="28" y="852"/>
                    </a:lnTo>
                    <a:lnTo>
                      <a:pt x="28" y="852"/>
                    </a:lnTo>
                    <a:lnTo>
                      <a:pt x="28" y="852"/>
                    </a:lnTo>
                    <a:lnTo>
                      <a:pt x="28" y="852"/>
                    </a:lnTo>
                    <a:lnTo>
                      <a:pt x="28" y="852"/>
                    </a:lnTo>
                    <a:lnTo>
                      <a:pt x="28" y="852"/>
                    </a:lnTo>
                    <a:lnTo>
                      <a:pt x="28" y="852"/>
                    </a:lnTo>
                    <a:lnTo>
                      <a:pt x="35" y="852"/>
                    </a:lnTo>
                    <a:lnTo>
                      <a:pt x="35" y="852"/>
                    </a:lnTo>
                    <a:lnTo>
                      <a:pt x="35" y="852"/>
                    </a:lnTo>
                    <a:lnTo>
                      <a:pt x="35" y="852"/>
                    </a:lnTo>
                    <a:lnTo>
                      <a:pt x="35" y="852"/>
                    </a:lnTo>
                    <a:lnTo>
                      <a:pt x="35" y="852"/>
                    </a:lnTo>
                    <a:lnTo>
                      <a:pt x="35" y="852"/>
                    </a:lnTo>
                    <a:lnTo>
                      <a:pt x="35" y="866"/>
                    </a:lnTo>
                    <a:lnTo>
                      <a:pt x="35" y="866"/>
                    </a:lnTo>
                    <a:lnTo>
                      <a:pt x="35" y="866"/>
                    </a:lnTo>
                    <a:lnTo>
                      <a:pt x="43" y="866"/>
                    </a:lnTo>
                    <a:lnTo>
                      <a:pt x="43" y="866"/>
                    </a:lnTo>
                    <a:lnTo>
                      <a:pt x="43" y="873"/>
                    </a:lnTo>
                    <a:lnTo>
                      <a:pt x="43" y="873"/>
                    </a:lnTo>
                    <a:lnTo>
                      <a:pt x="43" y="873"/>
                    </a:lnTo>
                    <a:lnTo>
                      <a:pt x="50" y="873"/>
                    </a:lnTo>
                    <a:lnTo>
                      <a:pt x="50" y="873"/>
                    </a:lnTo>
                    <a:lnTo>
                      <a:pt x="50" y="873"/>
                    </a:lnTo>
                    <a:lnTo>
                      <a:pt x="50" y="873"/>
                    </a:lnTo>
                    <a:lnTo>
                      <a:pt x="57" y="873"/>
                    </a:lnTo>
                    <a:lnTo>
                      <a:pt x="57" y="881"/>
                    </a:lnTo>
                    <a:lnTo>
                      <a:pt x="57" y="881"/>
                    </a:lnTo>
                    <a:lnTo>
                      <a:pt x="57" y="881"/>
                    </a:lnTo>
                    <a:lnTo>
                      <a:pt x="64" y="881"/>
                    </a:lnTo>
                    <a:lnTo>
                      <a:pt x="64" y="881"/>
                    </a:lnTo>
                    <a:lnTo>
                      <a:pt x="64" y="881"/>
                    </a:lnTo>
                    <a:lnTo>
                      <a:pt x="78" y="873"/>
                    </a:lnTo>
                    <a:lnTo>
                      <a:pt x="78" y="873"/>
                    </a:lnTo>
                    <a:lnTo>
                      <a:pt x="78" y="873"/>
                    </a:lnTo>
                    <a:lnTo>
                      <a:pt x="78" y="873"/>
                    </a:lnTo>
                    <a:lnTo>
                      <a:pt x="78" y="873"/>
                    </a:lnTo>
                    <a:lnTo>
                      <a:pt x="85" y="873"/>
                    </a:lnTo>
                    <a:lnTo>
                      <a:pt x="85" y="881"/>
                    </a:lnTo>
                    <a:lnTo>
                      <a:pt x="85" y="881"/>
                    </a:lnTo>
                    <a:lnTo>
                      <a:pt x="85" y="881"/>
                    </a:lnTo>
                    <a:lnTo>
                      <a:pt x="85" y="881"/>
                    </a:lnTo>
                    <a:lnTo>
                      <a:pt x="85" y="888"/>
                    </a:lnTo>
                    <a:lnTo>
                      <a:pt x="85" y="888"/>
                    </a:lnTo>
                    <a:lnTo>
                      <a:pt x="85" y="888"/>
                    </a:lnTo>
                    <a:lnTo>
                      <a:pt x="85" y="888"/>
                    </a:lnTo>
                    <a:lnTo>
                      <a:pt x="85" y="895"/>
                    </a:lnTo>
                    <a:lnTo>
                      <a:pt x="92" y="895"/>
                    </a:lnTo>
                    <a:lnTo>
                      <a:pt x="92" y="895"/>
                    </a:lnTo>
                    <a:lnTo>
                      <a:pt x="92" y="895"/>
                    </a:lnTo>
                    <a:lnTo>
                      <a:pt x="92" y="895"/>
                    </a:lnTo>
                    <a:lnTo>
                      <a:pt x="99" y="895"/>
                    </a:lnTo>
                    <a:lnTo>
                      <a:pt x="99" y="895"/>
                    </a:lnTo>
                    <a:lnTo>
                      <a:pt x="99" y="895"/>
                    </a:lnTo>
                    <a:lnTo>
                      <a:pt x="99" y="895"/>
                    </a:lnTo>
                    <a:lnTo>
                      <a:pt x="99" y="895"/>
                    </a:lnTo>
                    <a:lnTo>
                      <a:pt x="99" y="888"/>
                    </a:lnTo>
                    <a:lnTo>
                      <a:pt x="99" y="888"/>
                    </a:lnTo>
                    <a:lnTo>
                      <a:pt x="99" y="888"/>
                    </a:lnTo>
                    <a:lnTo>
                      <a:pt x="99" y="888"/>
                    </a:lnTo>
                    <a:lnTo>
                      <a:pt x="99" y="881"/>
                    </a:lnTo>
                    <a:lnTo>
                      <a:pt x="99" y="881"/>
                    </a:lnTo>
                    <a:lnTo>
                      <a:pt x="92" y="881"/>
                    </a:lnTo>
                    <a:lnTo>
                      <a:pt x="92" y="881"/>
                    </a:lnTo>
                    <a:lnTo>
                      <a:pt x="92" y="881"/>
                    </a:lnTo>
                    <a:lnTo>
                      <a:pt x="92" y="881"/>
                    </a:lnTo>
                    <a:lnTo>
                      <a:pt x="92" y="881"/>
                    </a:lnTo>
                    <a:lnTo>
                      <a:pt x="92" y="873"/>
                    </a:lnTo>
                    <a:lnTo>
                      <a:pt x="92" y="873"/>
                    </a:lnTo>
                    <a:lnTo>
                      <a:pt x="92" y="873"/>
                    </a:lnTo>
                    <a:lnTo>
                      <a:pt x="85" y="873"/>
                    </a:lnTo>
                    <a:lnTo>
                      <a:pt x="85" y="873"/>
                    </a:lnTo>
                    <a:lnTo>
                      <a:pt x="85" y="873"/>
                    </a:lnTo>
                    <a:lnTo>
                      <a:pt x="85" y="866"/>
                    </a:lnTo>
                    <a:lnTo>
                      <a:pt x="92" y="866"/>
                    </a:lnTo>
                    <a:lnTo>
                      <a:pt x="92" y="866"/>
                    </a:lnTo>
                    <a:lnTo>
                      <a:pt x="92" y="859"/>
                    </a:lnTo>
                    <a:lnTo>
                      <a:pt x="92" y="859"/>
                    </a:lnTo>
                    <a:lnTo>
                      <a:pt x="92" y="859"/>
                    </a:lnTo>
                    <a:lnTo>
                      <a:pt x="92" y="859"/>
                    </a:lnTo>
                    <a:lnTo>
                      <a:pt x="85" y="859"/>
                    </a:lnTo>
                    <a:lnTo>
                      <a:pt x="85" y="859"/>
                    </a:lnTo>
                    <a:lnTo>
                      <a:pt x="85" y="859"/>
                    </a:lnTo>
                    <a:lnTo>
                      <a:pt x="85" y="859"/>
                    </a:lnTo>
                    <a:lnTo>
                      <a:pt x="92" y="859"/>
                    </a:lnTo>
                    <a:lnTo>
                      <a:pt x="92" y="852"/>
                    </a:lnTo>
                    <a:lnTo>
                      <a:pt x="92" y="852"/>
                    </a:lnTo>
                    <a:lnTo>
                      <a:pt x="99" y="852"/>
                    </a:lnTo>
                    <a:lnTo>
                      <a:pt x="99" y="852"/>
                    </a:lnTo>
                    <a:lnTo>
                      <a:pt x="106" y="852"/>
                    </a:lnTo>
                    <a:lnTo>
                      <a:pt x="106" y="852"/>
                    </a:lnTo>
                    <a:lnTo>
                      <a:pt x="106" y="852"/>
                    </a:lnTo>
                    <a:lnTo>
                      <a:pt x="106" y="852"/>
                    </a:lnTo>
                    <a:lnTo>
                      <a:pt x="106" y="852"/>
                    </a:lnTo>
                    <a:lnTo>
                      <a:pt x="106" y="852"/>
                    </a:lnTo>
                    <a:lnTo>
                      <a:pt x="106" y="845"/>
                    </a:lnTo>
                    <a:lnTo>
                      <a:pt x="106" y="845"/>
                    </a:lnTo>
                    <a:lnTo>
                      <a:pt x="106" y="845"/>
                    </a:lnTo>
                    <a:lnTo>
                      <a:pt x="106" y="838"/>
                    </a:lnTo>
                    <a:lnTo>
                      <a:pt x="106" y="838"/>
                    </a:lnTo>
                    <a:lnTo>
                      <a:pt x="106" y="838"/>
                    </a:lnTo>
                    <a:lnTo>
                      <a:pt x="106" y="838"/>
                    </a:lnTo>
                    <a:lnTo>
                      <a:pt x="106" y="838"/>
                    </a:lnTo>
                    <a:lnTo>
                      <a:pt x="106" y="838"/>
                    </a:lnTo>
                    <a:lnTo>
                      <a:pt x="99" y="831"/>
                    </a:lnTo>
                    <a:lnTo>
                      <a:pt x="99" y="831"/>
                    </a:lnTo>
                    <a:lnTo>
                      <a:pt x="99" y="831"/>
                    </a:lnTo>
                    <a:lnTo>
                      <a:pt x="99" y="831"/>
                    </a:lnTo>
                    <a:lnTo>
                      <a:pt x="99" y="831"/>
                    </a:lnTo>
                    <a:lnTo>
                      <a:pt x="99" y="831"/>
                    </a:lnTo>
                    <a:lnTo>
                      <a:pt x="99" y="831"/>
                    </a:lnTo>
                    <a:lnTo>
                      <a:pt x="99" y="831"/>
                    </a:lnTo>
                    <a:lnTo>
                      <a:pt x="99" y="831"/>
                    </a:lnTo>
                    <a:lnTo>
                      <a:pt x="92" y="831"/>
                    </a:lnTo>
                    <a:lnTo>
                      <a:pt x="92" y="831"/>
                    </a:lnTo>
                    <a:lnTo>
                      <a:pt x="92" y="831"/>
                    </a:lnTo>
                    <a:lnTo>
                      <a:pt x="92" y="831"/>
                    </a:lnTo>
                    <a:lnTo>
                      <a:pt x="92" y="831"/>
                    </a:lnTo>
                    <a:lnTo>
                      <a:pt x="92" y="831"/>
                    </a:lnTo>
                    <a:lnTo>
                      <a:pt x="92" y="831"/>
                    </a:lnTo>
                    <a:lnTo>
                      <a:pt x="92" y="838"/>
                    </a:lnTo>
                    <a:lnTo>
                      <a:pt x="99" y="838"/>
                    </a:lnTo>
                    <a:lnTo>
                      <a:pt x="99" y="838"/>
                    </a:lnTo>
                    <a:lnTo>
                      <a:pt x="99" y="845"/>
                    </a:lnTo>
                    <a:lnTo>
                      <a:pt x="92" y="845"/>
                    </a:lnTo>
                    <a:lnTo>
                      <a:pt x="92" y="845"/>
                    </a:lnTo>
                    <a:lnTo>
                      <a:pt x="92" y="845"/>
                    </a:lnTo>
                    <a:lnTo>
                      <a:pt x="92" y="838"/>
                    </a:lnTo>
                    <a:lnTo>
                      <a:pt x="85" y="838"/>
                    </a:lnTo>
                    <a:lnTo>
                      <a:pt x="85" y="838"/>
                    </a:lnTo>
                    <a:lnTo>
                      <a:pt x="85" y="838"/>
                    </a:lnTo>
                    <a:lnTo>
                      <a:pt x="78" y="831"/>
                    </a:lnTo>
                    <a:lnTo>
                      <a:pt x="78" y="831"/>
                    </a:lnTo>
                    <a:lnTo>
                      <a:pt x="78" y="831"/>
                    </a:lnTo>
                    <a:lnTo>
                      <a:pt x="78" y="831"/>
                    </a:lnTo>
                    <a:lnTo>
                      <a:pt x="78" y="831"/>
                    </a:lnTo>
                    <a:lnTo>
                      <a:pt x="78" y="831"/>
                    </a:lnTo>
                    <a:lnTo>
                      <a:pt x="78" y="831"/>
                    </a:lnTo>
                    <a:lnTo>
                      <a:pt x="78" y="831"/>
                    </a:lnTo>
                    <a:lnTo>
                      <a:pt x="71" y="831"/>
                    </a:lnTo>
                    <a:lnTo>
                      <a:pt x="71" y="831"/>
                    </a:lnTo>
                    <a:lnTo>
                      <a:pt x="64" y="831"/>
                    </a:lnTo>
                    <a:lnTo>
                      <a:pt x="64" y="831"/>
                    </a:lnTo>
                    <a:lnTo>
                      <a:pt x="64" y="831"/>
                    </a:lnTo>
                    <a:lnTo>
                      <a:pt x="64" y="831"/>
                    </a:lnTo>
                    <a:lnTo>
                      <a:pt x="57" y="824"/>
                    </a:lnTo>
                    <a:lnTo>
                      <a:pt x="57" y="831"/>
                    </a:lnTo>
                    <a:lnTo>
                      <a:pt x="57" y="831"/>
                    </a:lnTo>
                    <a:lnTo>
                      <a:pt x="57" y="831"/>
                    </a:lnTo>
                    <a:lnTo>
                      <a:pt x="50" y="838"/>
                    </a:lnTo>
                    <a:lnTo>
                      <a:pt x="50" y="838"/>
                    </a:lnTo>
                    <a:lnTo>
                      <a:pt x="50" y="838"/>
                    </a:lnTo>
                    <a:lnTo>
                      <a:pt x="50" y="838"/>
                    </a:lnTo>
                    <a:lnTo>
                      <a:pt x="50" y="845"/>
                    </a:lnTo>
                    <a:lnTo>
                      <a:pt x="50" y="845"/>
                    </a:lnTo>
                    <a:lnTo>
                      <a:pt x="50" y="845"/>
                    </a:lnTo>
                    <a:lnTo>
                      <a:pt x="50" y="845"/>
                    </a:lnTo>
                    <a:lnTo>
                      <a:pt x="50" y="845"/>
                    </a:lnTo>
                    <a:lnTo>
                      <a:pt x="43" y="845"/>
                    </a:lnTo>
                    <a:lnTo>
                      <a:pt x="43" y="845"/>
                    </a:lnTo>
                    <a:lnTo>
                      <a:pt x="35" y="845"/>
                    </a:lnTo>
                    <a:lnTo>
                      <a:pt x="28" y="838"/>
                    </a:lnTo>
                    <a:lnTo>
                      <a:pt x="28" y="838"/>
                    </a:lnTo>
                    <a:lnTo>
                      <a:pt x="28" y="838"/>
                    </a:lnTo>
                    <a:lnTo>
                      <a:pt x="28" y="838"/>
                    </a:lnTo>
                    <a:lnTo>
                      <a:pt x="28" y="838"/>
                    </a:lnTo>
                    <a:lnTo>
                      <a:pt x="28" y="831"/>
                    </a:lnTo>
                    <a:lnTo>
                      <a:pt x="28" y="831"/>
                    </a:lnTo>
                    <a:lnTo>
                      <a:pt x="28" y="831"/>
                    </a:lnTo>
                    <a:lnTo>
                      <a:pt x="21" y="831"/>
                    </a:lnTo>
                    <a:lnTo>
                      <a:pt x="21" y="831"/>
                    </a:lnTo>
                    <a:lnTo>
                      <a:pt x="21" y="831"/>
                    </a:lnTo>
                    <a:lnTo>
                      <a:pt x="21" y="824"/>
                    </a:lnTo>
                    <a:lnTo>
                      <a:pt x="21" y="824"/>
                    </a:lnTo>
                    <a:lnTo>
                      <a:pt x="21" y="824"/>
                    </a:lnTo>
                    <a:lnTo>
                      <a:pt x="21" y="824"/>
                    </a:lnTo>
                    <a:lnTo>
                      <a:pt x="21" y="824"/>
                    </a:lnTo>
                    <a:lnTo>
                      <a:pt x="21" y="817"/>
                    </a:lnTo>
                    <a:lnTo>
                      <a:pt x="21" y="817"/>
                    </a:lnTo>
                    <a:lnTo>
                      <a:pt x="21" y="817"/>
                    </a:lnTo>
                    <a:lnTo>
                      <a:pt x="21" y="817"/>
                    </a:lnTo>
                    <a:lnTo>
                      <a:pt x="21" y="817"/>
                    </a:lnTo>
                    <a:lnTo>
                      <a:pt x="21" y="817"/>
                    </a:lnTo>
                    <a:lnTo>
                      <a:pt x="21" y="817"/>
                    </a:lnTo>
                    <a:lnTo>
                      <a:pt x="28" y="817"/>
                    </a:lnTo>
                    <a:lnTo>
                      <a:pt x="28" y="817"/>
                    </a:lnTo>
                    <a:lnTo>
                      <a:pt x="28" y="817"/>
                    </a:lnTo>
                    <a:lnTo>
                      <a:pt x="28" y="817"/>
                    </a:lnTo>
                    <a:lnTo>
                      <a:pt x="28" y="817"/>
                    </a:lnTo>
                    <a:lnTo>
                      <a:pt x="28" y="810"/>
                    </a:lnTo>
                    <a:lnTo>
                      <a:pt x="28" y="810"/>
                    </a:lnTo>
                    <a:lnTo>
                      <a:pt x="28" y="810"/>
                    </a:lnTo>
                    <a:lnTo>
                      <a:pt x="28" y="810"/>
                    </a:lnTo>
                    <a:lnTo>
                      <a:pt x="28" y="810"/>
                    </a:lnTo>
                    <a:lnTo>
                      <a:pt x="28" y="810"/>
                    </a:lnTo>
                    <a:lnTo>
                      <a:pt x="28" y="810"/>
                    </a:lnTo>
                    <a:lnTo>
                      <a:pt x="21" y="810"/>
                    </a:lnTo>
                    <a:lnTo>
                      <a:pt x="21" y="802"/>
                    </a:lnTo>
                    <a:lnTo>
                      <a:pt x="21" y="802"/>
                    </a:lnTo>
                    <a:lnTo>
                      <a:pt x="21" y="810"/>
                    </a:lnTo>
                    <a:lnTo>
                      <a:pt x="14" y="810"/>
                    </a:lnTo>
                    <a:lnTo>
                      <a:pt x="14" y="810"/>
                    </a:lnTo>
                    <a:lnTo>
                      <a:pt x="14" y="810"/>
                    </a:lnTo>
                    <a:lnTo>
                      <a:pt x="14" y="810"/>
                    </a:lnTo>
                    <a:lnTo>
                      <a:pt x="14" y="810"/>
                    </a:lnTo>
                    <a:lnTo>
                      <a:pt x="14" y="802"/>
                    </a:lnTo>
                    <a:lnTo>
                      <a:pt x="14" y="802"/>
                    </a:lnTo>
                    <a:lnTo>
                      <a:pt x="7" y="802"/>
                    </a:lnTo>
                    <a:lnTo>
                      <a:pt x="7" y="795"/>
                    </a:lnTo>
                    <a:lnTo>
                      <a:pt x="7" y="795"/>
                    </a:lnTo>
                    <a:lnTo>
                      <a:pt x="7" y="795"/>
                    </a:lnTo>
                    <a:lnTo>
                      <a:pt x="7" y="795"/>
                    </a:lnTo>
                    <a:lnTo>
                      <a:pt x="7" y="795"/>
                    </a:lnTo>
                    <a:lnTo>
                      <a:pt x="7" y="795"/>
                    </a:lnTo>
                    <a:lnTo>
                      <a:pt x="0" y="788"/>
                    </a:lnTo>
                    <a:lnTo>
                      <a:pt x="0" y="788"/>
                    </a:lnTo>
                    <a:lnTo>
                      <a:pt x="0" y="781"/>
                    </a:lnTo>
                    <a:lnTo>
                      <a:pt x="0" y="781"/>
                    </a:lnTo>
                    <a:lnTo>
                      <a:pt x="0" y="774"/>
                    </a:lnTo>
                    <a:lnTo>
                      <a:pt x="7" y="774"/>
                    </a:lnTo>
                    <a:lnTo>
                      <a:pt x="7" y="774"/>
                    </a:lnTo>
                    <a:lnTo>
                      <a:pt x="7" y="767"/>
                    </a:lnTo>
                    <a:lnTo>
                      <a:pt x="7" y="767"/>
                    </a:lnTo>
                    <a:lnTo>
                      <a:pt x="7" y="760"/>
                    </a:lnTo>
                    <a:lnTo>
                      <a:pt x="7" y="760"/>
                    </a:lnTo>
                    <a:lnTo>
                      <a:pt x="7" y="760"/>
                    </a:lnTo>
                    <a:lnTo>
                      <a:pt x="7" y="760"/>
                    </a:lnTo>
                    <a:lnTo>
                      <a:pt x="7" y="760"/>
                    </a:lnTo>
                    <a:lnTo>
                      <a:pt x="7" y="760"/>
                    </a:lnTo>
                    <a:lnTo>
                      <a:pt x="14" y="753"/>
                    </a:lnTo>
                    <a:lnTo>
                      <a:pt x="14" y="746"/>
                    </a:lnTo>
                    <a:lnTo>
                      <a:pt x="14" y="746"/>
                    </a:lnTo>
                    <a:lnTo>
                      <a:pt x="14" y="739"/>
                    </a:lnTo>
                    <a:lnTo>
                      <a:pt x="14" y="739"/>
                    </a:lnTo>
                    <a:lnTo>
                      <a:pt x="14" y="739"/>
                    </a:lnTo>
                    <a:lnTo>
                      <a:pt x="14" y="739"/>
                    </a:lnTo>
                    <a:lnTo>
                      <a:pt x="7" y="739"/>
                    </a:lnTo>
                    <a:lnTo>
                      <a:pt x="7" y="739"/>
                    </a:lnTo>
                    <a:lnTo>
                      <a:pt x="7" y="739"/>
                    </a:lnTo>
                    <a:lnTo>
                      <a:pt x="7" y="739"/>
                    </a:lnTo>
                    <a:lnTo>
                      <a:pt x="7" y="731"/>
                    </a:lnTo>
                    <a:lnTo>
                      <a:pt x="7" y="731"/>
                    </a:lnTo>
                    <a:lnTo>
                      <a:pt x="0" y="731"/>
                    </a:lnTo>
                    <a:lnTo>
                      <a:pt x="0" y="731"/>
                    </a:lnTo>
                    <a:lnTo>
                      <a:pt x="0" y="731"/>
                    </a:lnTo>
                    <a:lnTo>
                      <a:pt x="0" y="731"/>
                    </a:lnTo>
                    <a:lnTo>
                      <a:pt x="0" y="731"/>
                    </a:lnTo>
                    <a:lnTo>
                      <a:pt x="0" y="724"/>
                    </a:lnTo>
                    <a:lnTo>
                      <a:pt x="0" y="724"/>
                    </a:lnTo>
                    <a:lnTo>
                      <a:pt x="0" y="724"/>
                    </a:lnTo>
                    <a:lnTo>
                      <a:pt x="0" y="724"/>
                    </a:lnTo>
                    <a:lnTo>
                      <a:pt x="0" y="724"/>
                    </a:lnTo>
                    <a:lnTo>
                      <a:pt x="0" y="717"/>
                    </a:lnTo>
                    <a:lnTo>
                      <a:pt x="7" y="717"/>
                    </a:lnTo>
                    <a:lnTo>
                      <a:pt x="7" y="717"/>
                    </a:lnTo>
                    <a:lnTo>
                      <a:pt x="21" y="724"/>
                    </a:lnTo>
                    <a:lnTo>
                      <a:pt x="21" y="724"/>
                    </a:lnTo>
                    <a:lnTo>
                      <a:pt x="28" y="724"/>
                    </a:lnTo>
                    <a:lnTo>
                      <a:pt x="28" y="724"/>
                    </a:lnTo>
                    <a:lnTo>
                      <a:pt x="28" y="724"/>
                    </a:lnTo>
                    <a:lnTo>
                      <a:pt x="28" y="724"/>
                    </a:lnTo>
                    <a:lnTo>
                      <a:pt x="35" y="724"/>
                    </a:lnTo>
                    <a:lnTo>
                      <a:pt x="35" y="724"/>
                    </a:lnTo>
                    <a:lnTo>
                      <a:pt x="35" y="724"/>
                    </a:lnTo>
                    <a:lnTo>
                      <a:pt x="35" y="724"/>
                    </a:lnTo>
                    <a:lnTo>
                      <a:pt x="35" y="724"/>
                    </a:lnTo>
                    <a:lnTo>
                      <a:pt x="43" y="724"/>
                    </a:lnTo>
                    <a:lnTo>
                      <a:pt x="43" y="724"/>
                    </a:lnTo>
                    <a:lnTo>
                      <a:pt x="43" y="724"/>
                    </a:lnTo>
                    <a:lnTo>
                      <a:pt x="43" y="724"/>
                    </a:lnTo>
                    <a:lnTo>
                      <a:pt x="43" y="724"/>
                    </a:lnTo>
                    <a:lnTo>
                      <a:pt x="43" y="731"/>
                    </a:lnTo>
                    <a:lnTo>
                      <a:pt x="43" y="731"/>
                    </a:lnTo>
                    <a:lnTo>
                      <a:pt x="50" y="724"/>
                    </a:lnTo>
                    <a:lnTo>
                      <a:pt x="50" y="724"/>
                    </a:lnTo>
                    <a:lnTo>
                      <a:pt x="50" y="724"/>
                    </a:lnTo>
                    <a:lnTo>
                      <a:pt x="50" y="724"/>
                    </a:lnTo>
                    <a:lnTo>
                      <a:pt x="50" y="717"/>
                    </a:lnTo>
                    <a:lnTo>
                      <a:pt x="57" y="717"/>
                    </a:lnTo>
                    <a:lnTo>
                      <a:pt x="57" y="717"/>
                    </a:lnTo>
                    <a:lnTo>
                      <a:pt x="57" y="710"/>
                    </a:lnTo>
                    <a:lnTo>
                      <a:pt x="57" y="710"/>
                    </a:lnTo>
                    <a:lnTo>
                      <a:pt x="57" y="710"/>
                    </a:lnTo>
                    <a:lnTo>
                      <a:pt x="57" y="710"/>
                    </a:lnTo>
                    <a:lnTo>
                      <a:pt x="57" y="710"/>
                    </a:lnTo>
                    <a:lnTo>
                      <a:pt x="57" y="703"/>
                    </a:lnTo>
                    <a:lnTo>
                      <a:pt x="57" y="703"/>
                    </a:lnTo>
                    <a:lnTo>
                      <a:pt x="57" y="703"/>
                    </a:lnTo>
                    <a:lnTo>
                      <a:pt x="57" y="696"/>
                    </a:lnTo>
                    <a:lnTo>
                      <a:pt x="57" y="682"/>
                    </a:lnTo>
                    <a:lnTo>
                      <a:pt x="50" y="682"/>
                    </a:lnTo>
                    <a:lnTo>
                      <a:pt x="50" y="682"/>
                    </a:lnTo>
                    <a:lnTo>
                      <a:pt x="50" y="682"/>
                    </a:lnTo>
                    <a:lnTo>
                      <a:pt x="43" y="675"/>
                    </a:lnTo>
                    <a:lnTo>
                      <a:pt x="43" y="675"/>
                    </a:lnTo>
                    <a:lnTo>
                      <a:pt x="43" y="675"/>
                    </a:lnTo>
                    <a:lnTo>
                      <a:pt x="43" y="675"/>
                    </a:lnTo>
                    <a:lnTo>
                      <a:pt x="43" y="668"/>
                    </a:lnTo>
                    <a:lnTo>
                      <a:pt x="43" y="660"/>
                    </a:lnTo>
                    <a:lnTo>
                      <a:pt x="35" y="660"/>
                    </a:lnTo>
                    <a:lnTo>
                      <a:pt x="35" y="660"/>
                    </a:lnTo>
                    <a:lnTo>
                      <a:pt x="35" y="660"/>
                    </a:lnTo>
                    <a:lnTo>
                      <a:pt x="35" y="660"/>
                    </a:lnTo>
                    <a:lnTo>
                      <a:pt x="35" y="660"/>
                    </a:lnTo>
                    <a:lnTo>
                      <a:pt x="35" y="653"/>
                    </a:lnTo>
                    <a:lnTo>
                      <a:pt x="35" y="653"/>
                    </a:lnTo>
                    <a:lnTo>
                      <a:pt x="35" y="653"/>
                    </a:lnTo>
                    <a:lnTo>
                      <a:pt x="35" y="653"/>
                    </a:lnTo>
                    <a:lnTo>
                      <a:pt x="35" y="653"/>
                    </a:lnTo>
                    <a:lnTo>
                      <a:pt x="35" y="653"/>
                    </a:lnTo>
                    <a:lnTo>
                      <a:pt x="35" y="653"/>
                    </a:lnTo>
                    <a:lnTo>
                      <a:pt x="35" y="653"/>
                    </a:lnTo>
                    <a:lnTo>
                      <a:pt x="35" y="653"/>
                    </a:lnTo>
                    <a:lnTo>
                      <a:pt x="43" y="653"/>
                    </a:lnTo>
                    <a:lnTo>
                      <a:pt x="43" y="653"/>
                    </a:lnTo>
                    <a:lnTo>
                      <a:pt x="43" y="646"/>
                    </a:lnTo>
                    <a:lnTo>
                      <a:pt x="35" y="639"/>
                    </a:lnTo>
                    <a:lnTo>
                      <a:pt x="35" y="639"/>
                    </a:lnTo>
                    <a:lnTo>
                      <a:pt x="35" y="632"/>
                    </a:lnTo>
                    <a:lnTo>
                      <a:pt x="35" y="632"/>
                    </a:lnTo>
                    <a:lnTo>
                      <a:pt x="43" y="632"/>
                    </a:lnTo>
                    <a:lnTo>
                      <a:pt x="43" y="632"/>
                    </a:lnTo>
                    <a:lnTo>
                      <a:pt x="43" y="632"/>
                    </a:lnTo>
                    <a:lnTo>
                      <a:pt x="43" y="632"/>
                    </a:lnTo>
                    <a:lnTo>
                      <a:pt x="43" y="632"/>
                    </a:lnTo>
                    <a:lnTo>
                      <a:pt x="50" y="632"/>
                    </a:lnTo>
                    <a:lnTo>
                      <a:pt x="50" y="632"/>
                    </a:lnTo>
                    <a:lnTo>
                      <a:pt x="50" y="632"/>
                    </a:lnTo>
                    <a:lnTo>
                      <a:pt x="50" y="632"/>
                    </a:lnTo>
                    <a:lnTo>
                      <a:pt x="50" y="632"/>
                    </a:lnTo>
                    <a:lnTo>
                      <a:pt x="50" y="625"/>
                    </a:lnTo>
                    <a:lnTo>
                      <a:pt x="50" y="625"/>
                    </a:lnTo>
                    <a:lnTo>
                      <a:pt x="43" y="618"/>
                    </a:lnTo>
                    <a:lnTo>
                      <a:pt x="43" y="618"/>
                    </a:lnTo>
                    <a:lnTo>
                      <a:pt x="43" y="618"/>
                    </a:lnTo>
                    <a:lnTo>
                      <a:pt x="43" y="618"/>
                    </a:lnTo>
                    <a:lnTo>
                      <a:pt x="43" y="618"/>
                    </a:lnTo>
                    <a:lnTo>
                      <a:pt x="43" y="618"/>
                    </a:lnTo>
                    <a:lnTo>
                      <a:pt x="43" y="611"/>
                    </a:lnTo>
                    <a:lnTo>
                      <a:pt x="43" y="604"/>
                    </a:lnTo>
                    <a:lnTo>
                      <a:pt x="43" y="604"/>
                    </a:lnTo>
                    <a:lnTo>
                      <a:pt x="43" y="597"/>
                    </a:lnTo>
                    <a:lnTo>
                      <a:pt x="43" y="597"/>
                    </a:lnTo>
                    <a:lnTo>
                      <a:pt x="50" y="589"/>
                    </a:lnTo>
                    <a:lnTo>
                      <a:pt x="57" y="582"/>
                    </a:lnTo>
                    <a:lnTo>
                      <a:pt x="64" y="582"/>
                    </a:lnTo>
                    <a:lnTo>
                      <a:pt x="71" y="582"/>
                    </a:lnTo>
                    <a:lnTo>
                      <a:pt x="71" y="582"/>
                    </a:lnTo>
                    <a:lnTo>
                      <a:pt x="71" y="582"/>
                    </a:lnTo>
                    <a:lnTo>
                      <a:pt x="78" y="582"/>
                    </a:lnTo>
                    <a:lnTo>
                      <a:pt x="85" y="582"/>
                    </a:lnTo>
                    <a:lnTo>
                      <a:pt x="99" y="582"/>
                    </a:lnTo>
                    <a:lnTo>
                      <a:pt x="99" y="582"/>
                    </a:lnTo>
                    <a:lnTo>
                      <a:pt x="99" y="582"/>
                    </a:lnTo>
                    <a:lnTo>
                      <a:pt x="106" y="582"/>
                    </a:lnTo>
                    <a:lnTo>
                      <a:pt x="106" y="582"/>
                    </a:lnTo>
                    <a:lnTo>
                      <a:pt x="106" y="582"/>
                    </a:lnTo>
                    <a:lnTo>
                      <a:pt x="106" y="575"/>
                    </a:lnTo>
                    <a:lnTo>
                      <a:pt x="106" y="575"/>
                    </a:lnTo>
                    <a:lnTo>
                      <a:pt x="106" y="568"/>
                    </a:lnTo>
                    <a:lnTo>
                      <a:pt x="106" y="568"/>
                    </a:lnTo>
                    <a:lnTo>
                      <a:pt x="106" y="561"/>
                    </a:lnTo>
                    <a:lnTo>
                      <a:pt x="106" y="554"/>
                    </a:lnTo>
                    <a:lnTo>
                      <a:pt x="106" y="554"/>
                    </a:lnTo>
                    <a:lnTo>
                      <a:pt x="106" y="547"/>
                    </a:lnTo>
                    <a:lnTo>
                      <a:pt x="106" y="547"/>
                    </a:lnTo>
                    <a:lnTo>
                      <a:pt x="106" y="547"/>
                    </a:lnTo>
                    <a:lnTo>
                      <a:pt x="106" y="540"/>
                    </a:lnTo>
                    <a:lnTo>
                      <a:pt x="106" y="540"/>
                    </a:lnTo>
                    <a:lnTo>
                      <a:pt x="106" y="540"/>
                    </a:lnTo>
                    <a:lnTo>
                      <a:pt x="106" y="540"/>
                    </a:lnTo>
                    <a:lnTo>
                      <a:pt x="114" y="533"/>
                    </a:lnTo>
                    <a:lnTo>
                      <a:pt x="114" y="533"/>
                    </a:lnTo>
                    <a:lnTo>
                      <a:pt x="114" y="533"/>
                    </a:lnTo>
                    <a:lnTo>
                      <a:pt x="114" y="533"/>
                    </a:lnTo>
                    <a:lnTo>
                      <a:pt x="114" y="526"/>
                    </a:lnTo>
                    <a:lnTo>
                      <a:pt x="114" y="526"/>
                    </a:lnTo>
                    <a:lnTo>
                      <a:pt x="114" y="526"/>
                    </a:lnTo>
                    <a:lnTo>
                      <a:pt x="114" y="526"/>
                    </a:lnTo>
                    <a:lnTo>
                      <a:pt x="106" y="526"/>
                    </a:lnTo>
                    <a:lnTo>
                      <a:pt x="106" y="519"/>
                    </a:lnTo>
                    <a:lnTo>
                      <a:pt x="99" y="519"/>
                    </a:lnTo>
                    <a:lnTo>
                      <a:pt x="92" y="519"/>
                    </a:lnTo>
                    <a:lnTo>
                      <a:pt x="78" y="519"/>
                    </a:lnTo>
                    <a:lnTo>
                      <a:pt x="78" y="519"/>
                    </a:lnTo>
                    <a:lnTo>
                      <a:pt x="71" y="511"/>
                    </a:lnTo>
                    <a:lnTo>
                      <a:pt x="71" y="511"/>
                    </a:lnTo>
                    <a:lnTo>
                      <a:pt x="78" y="511"/>
                    </a:lnTo>
                    <a:lnTo>
                      <a:pt x="85" y="504"/>
                    </a:lnTo>
                    <a:lnTo>
                      <a:pt x="85" y="504"/>
                    </a:lnTo>
                    <a:lnTo>
                      <a:pt x="92" y="497"/>
                    </a:lnTo>
                    <a:lnTo>
                      <a:pt x="92" y="497"/>
                    </a:lnTo>
                    <a:lnTo>
                      <a:pt x="92" y="497"/>
                    </a:lnTo>
                    <a:lnTo>
                      <a:pt x="92" y="497"/>
                    </a:lnTo>
                    <a:lnTo>
                      <a:pt x="92" y="497"/>
                    </a:lnTo>
                    <a:lnTo>
                      <a:pt x="92" y="490"/>
                    </a:lnTo>
                    <a:lnTo>
                      <a:pt x="99" y="490"/>
                    </a:lnTo>
                    <a:lnTo>
                      <a:pt x="99" y="490"/>
                    </a:lnTo>
                    <a:lnTo>
                      <a:pt x="99" y="490"/>
                    </a:lnTo>
                    <a:lnTo>
                      <a:pt x="99" y="490"/>
                    </a:lnTo>
                    <a:lnTo>
                      <a:pt x="99" y="483"/>
                    </a:lnTo>
                    <a:lnTo>
                      <a:pt x="99" y="483"/>
                    </a:lnTo>
                    <a:lnTo>
                      <a:pt x="99" y="483"/>
                    </a:lnTo>
                    <a:lnTo>
                      <a:pt x="99" y="483"/>
                    </a:lnTo>
                    <a:lnTo>
                      <a:pt x="99" y="483"/>
                    </a:lnTo>
                    <a:lnTo>
                      <a:pt x="99" y="483"/>
                    </a:lnTo>
                    <a:lnTo>
                      <a:pt x="99" y="483"/>
                    </a:lnTo>
                    <a:lnTo>
                      <a:pt x="99" y="483"/>
                    </a:lnTo>
                    <a:lnTo>
                      <a:pt x="99" y="483"/>
                    </a:lnTo>
                    <a:lnTo>
                      <a:pt x="99" y="483"/>
                    </a:lnTo>
                    <a:lnTo>
                      <a:pt x="99" y="483"/>
                    </a:lnTo>
                    <a:lnTo>
                      <a:pt x="99" y="476"/>
                    </a:lnTo>
                    <a:lnTo>
                      <a:pt x="99" y="476"/>
                    </a:lnTo>
                    <a:lnTo>
                      <a:pt x="99" y="476"/>
                    </a:lnTo>
                    <a:lnTo>
                      <a:pt x="99" y="476"/>
                    </a:lnTo>
                    <a:lnTo>
                      <a:pt x="99" y="476"/>
                    </a:lnTo>
                    <a:lnTo>
                      <a:pt x="99" y="469"/>
                    </a:lnTo>
                    <a:lnTo>
                      <a:pt x="92" y="469"/>
                    </a:lnTo>
                    <a:lnTo>
                      <a:pt x="92" y="469"/>
                    </a:lnTo>
                    <a:lnTo>
                      <a:pt x="92" y="469"/>
                    </a:lnTo>
                    <a:lnTo>
                      <a:pt x="99" y="462"/>
                    </a:lnTo>
                    <a:lnTo>
                      <a:pt x="99" y="462"/>
                    </a:lnTo>
                    <a:lnTo>
                      <a:pt x="99" y="462"/>
                    </a:lnTo>
                    <a:lnTo>
                      <a:pt x="99" y="462"/>
                    </a:lnTo>
                    <a:lnTo>
                      <a:pt x="99" y="455"/>
                    </a:lnTo>
                    <a:lnTo>
                      <a:pt x="99" y="440"/>
                    </a:lnTo>
                    <a:lnTo>
                      <a:pt x="99" y="433"/>
                    </a:lnTo>
                    <a:lnTo>
                      <a:pt x="99" y="433"/>
                    </a:lnTo>
                    <a:lnTo>
                      <a:pt x="99" y="433"/>
                    </a:lnTo>
                    <a:lnTo>
                      <a:pt x="99" y="426"/>
                    </a:lnTo>
                    <a:lnTo>
                      <a:pt x="106" y="426"/>
                    </a:lnTo>
                    <a:lnTo>
                      <a:pt x="99" y="426"/>
                    </a:lnTo>
                    <a:lnTo>
                      <a:pt x="99" y="419"/>
                    </a:lnTo>
                    <a:lnTo>
                      <a:pt x="99" y="412"/>
                    </a:lnTo>
                    <a:lnTo>
                      <a:pt x="99" y="412"/>
                    </a:lnTo>
                    <a:lnTo>
                      <a:pt x="99" y="405"/>
                    </a:lnTo>
                    <a:lnTo>
                      <a:pt x="92" y="405"/>
                    </a:lnTo>
                    <a:lnTo>
                      <a:pt x="92" y="405"/>
                    </a:lnTo>
                    <a:lnTo>
                      <a:pt x="92" y="405"/>
                    </a:lnTo>
                    <a:lnTo>
                      <a:pt x="92" y="405"/>
                    </a:lnTo>
                    <a:lnTo>
                      <a:pt x="92" y="405"/>
                    </a:lnTo>
                    <a:lnTo>
                      <a:pt x="85" y="405"/>
                    </a:lnTo>
                    <a:lnTo>
                      <a:pt x="85" y="398"/>
                    </a:lnTo>
                    <a:lnTo>
                      <a:pt x="92" y="398"/>
                    </a:lnTo>
                    <a:lnTo>
                      <a:pt x="106" y="377"/>
                    </a:lnTo>
                    <a:lnTo>
                      <a:pt x="106" y="369"/>
                    </a:lnTo>
                    <a:lnTo>
                      <a:pt x="106" y="369"/>
                    </a:lnTo>
                    <a:lnTo>
                      <a:pt x="114" y="362"/>
                    </a:lnTo>
                    <a:lnTo>
                      <a:pt x="114" y="362"/>
                    </a:lnTo>
                    <a:lnTo>
                      <a:pt x="114" y="362"/>
                    </a:lnTo>
                    <a:lnTo>
                      <a:pt x="114" y="362"/>
                    </a:lnTo>
                    <a:lnTo>
                      <a:pt x="121" y="362"/>
                    </a:lnTo>
                    <a:lnTo>
                      <a:pt x="121" y="362"/>
                    </a:lnTo>
                    <a:lnTo>
                      <a:pt x="121" y="355"/>
                    </a:lnTo>
                    <a:lnTo>
                      <a:pt x="121" y="355"/>
                    </a:lnTo>
                    <a:lnTo>
                      <a:pt x="121" y="355"/>
                    </a:lnTo>
                    <a:lnTo>
                      <a:pt x="128" y="355"/>
                    </a:lnTo>
                    <a:lnTo>
                      <a:pt x="128" y="355"/>
                    </a:lnTo>
                    <a:lnTo>
                      <a:pt x="128" y="355"/>
                    </a:lnTo>
                    <a:lnTo>
                      <a:pt x="135" y="348"/>
                    </a:lnTo>
                    <a:lnTo>
                      <a:pt x="135" y="341"/>
                    </a:lnTo>
                    <a:lnTo>
                      <a:pt x="135" y="341"/>
                    </a:lnTo>
                    <a:lnTo>
                      <a:pt x="135" y="341"/>
                    </a:lnTo>
                    <a:lnTo>
                      <a:pt x="128" y="341"/>
                    </a:lnTo>
                    <a:lnTo>
                      <a:pt x="128" y="341"/>
                    </a:lnTo>
                    <a:lnTo>
                      <a:pt x="121" y="348"/>
                    </a:lnTo>
                    <a:lnTo>
                      <a:pt x="121" y="348"/>
                    </a:lnTo>
                    <a:lnTo>
                      <a:pt x="121" y="348"/>
                    </a:lnTo>
                    <a:lnTo>
                      <a:pt x="121" y="348"/>
                    </a:lnTo>
                    <a:lnTo>
                      <a:pt x="121" y="348"/>
                    </a:lnTo>
                    <a:lnTo>
                      <a:pt x="121" y="341"/>
                    </a:lnTo>
                    <a:lnTo>
                      <a:pt x="114" y="341"/>
                    </a:lnTo>
                    <a:lnTo>
                      <a:pt x="114" y="341"/>
                    </a:lnTo>
                    <a:lnTo>
                      <a:pt x="106" y="341"/>
                    </a:lnTo>
                    <a:lnTo>
                      <a:pt x="106" y="341"/>
                    </a:lnTo>
                    <a:lnTo>
                      <a:pt x="106" y="341"/>
                    </a:lnTo>
                    <a:lnTo>
                      <a:pt x="106" y="341"/>
                    </a:lnTo>
                    <a:lnTo>
                      <a:pt x="99" y="341"/>
                    </a:lnTo>
                    <a:lnTo>
                      <a:pt x="99" y="341"/>
                    </a:lnTo>
                    <a:lnTo>
                      <a:pt x="92" y="341"/>
                    </a:lnTo>
                    <a:lnTo>
                      <a:pt x="92" y="334"/>
                    </a:lnTo>
                    <a:lnTo>
                      <a:pt x="92" y="334"/>
                    </a:lnTo>
                    <a:lnTo>
                      <a:pt x="99" y="327"/>
                    </a:lnTo>
                    <a:lnTo>
                      <a:pt x="99" y="320"/>
                    </a:lnTo>
                    <a:lnTo>
                      <a:pt x="99" y="320"/>
                    </a:lnTo>
                    <a:lnTo>
                      <a:pt x="106" y="320"/>
                    </a:lnTo>
                    <a:lnTo>
                      <a:pt x="106" y="320"/>
                    </a:lnTo>
                    <a:lnTo>
                      <a:pt x="114" y="320"/>
                    </a:lnTo>
                    <a:lnTo>
                      <a:pt x="114" y="320"/>
                    </a:lnTo>
                    <a:lnTo>
                      <a:pt x="114" y="313"/>
                    </a:lnTo>
                    <a:lnTo>
                      <a:pt x="114" y="313"/>
                    </a:lnTo>
                    <a:lnTo>
                      <a:pt x="114" y="313"/>
                    </a:lnTo>
                    <a:lnTo>
                      <a:pt x="106" y="313"/>
                    </a:lnTo>
                    <a:lnTo>
                      <a:pt x="106" y="306"/>
                    </a:lnTo>
                    <a:lnTo>
                      <a:pt x="106" y="306"/>
                    </a:lnTo>
                    <a:lnTo>
                      <a:pt x="106" y="306"/>
                    </a:lnTo>
                    <a:lnTo>
                      <a:pt x="106" y="306"/>
                    </a:lnTo>
                    <a:lnTo>
                      <a:pt x="106" y="306"/>
                    </a:lnTo>
                    <a:lnTo>
                      <a:pt x="106" y="306"/>
                    </a:lnTo>
                    <a:lnTo>
                      <a:pt x="106" y="306"/>
                    </a:lnTo>
                    <a:lnTo>
                      <a:pt x="106" y="298"/>
                    </a:lnTo>
                    <a:lnTo>
                      <a:pt x="114" y="298"/>
                    </a:lnTo>
                    <a:lnTo>
                      <a:pt x="114" y="298"/>
                    </a:lnTo>
                    <a:lnTo>
                      <a:pt x="114" y="298"/>
                    </a:lnTo>
                    <a:lnTo>
                      <a:pt x="114" y="298"/>
                    </a:lnTo>
                    <a:lnTo>
                      <a:pt x="121" y="291"/>
                    </a:lnTo>
                    <a:lnTo>
                      <a:pt x="121" y="291"/>
                    </a:lnTo>
                    <a:lnTo>
                      <a:pt x="128" y="291"/>
                    </a:lnTo>
                    <a:lnTo>
                      <a:pt x="121" y="284"/>
                    </a:lnTo>
                    <a:lnTo>
                      <a:pt x="121" y="284"/>
                    </a:lnTo>
                    <a:lnTo>
                      <a:pt x="121" y="277"/>
                    </a:lnTo>
                    <a:lnTo>
                      <a:pt x="121" y="277"/>
                    </a:lnTo>
                    <a:lnTo>
                      <a:pt x="121" y="270"/>
                    </a:lnTo>
                    <a:lnTo>
                      <a:pt x="114" y="270"/>
                    </a:lnTo>
                    <a:lnTo>
                      <a:pt x="114" y="270"/>
                    </a:lnTo>
                    <a:lnTo>
                      <a:pt x="114" y="270"/>
                    </a:lnTo>
                    <a:lnTo>
                      <a:pt x="114" y="263"/>
                    </a:lnTo>
                    <a:lnTo>
                      <a:pt x="114" y="263"/>
                    </a:lnTo>
                    <a:lnTo>
                      <a:pt x="114" y="263"/>
                    </a:lnTo>
                    <a:lnTo>
                      <a:pt x="121" y="263"/>
                    </a:lnTo>
                    <a:lnTo>
                      <a:pt x="121" y="263"/>
                    </a:lnTo>
                    <a:lnTo>
                      <a:pt x="121" y="263"/>
                    </a:lnTo>
                    <a:lnTo>
                      <a:pt x="121" y="263"/>
                    </a:lnTo>
                    <a:lnTo>
                      <a:pt x="121" y="263"/>
                    </a:lnTo>
                    <a:lnTo>
                      <a:pt x="121" y="256"/>
                    </a:lnTo>
                    <a:lnTo>
                      <a:pt x="114" y="249"/>
                    </a:lnTo>
                    <a:lnTo>
                      <a:pt x="114" y="242"/>
                    </a:lnTo>
                    <a:lnTo>
                      <a:pt x="114" y="242"/>
                    </a:lnTo>
                    <a:lnTo>
                      <a:pt x="114" y="242"/>
                    </a:lnTo>
                    <a:lnTo>
                      <a:pt x="121" y="242"/>
                    </a:lnTo>
                    <a:lnTo>
                      <a:pt x="121" y="235"/>
                    </a:lnTo>
                    <a:lnTo>
                      <a:pt x="121" y="235"/>
                    </a:lnTo>
                    <a:lnTo>
                      <a:pt x="114" y="235"/>
                    </a:lnTo>
                    <a:lnTo>
                      <a:pt x="114" y="227"/>
                    </a:lnTo>
                    <a:lnTo>
                      <a:pt x="114" y="227"/>
                    </a:lnTo>
                    <a:lnTo>
                      <a:pt x="114" y="227"/>
                    </a:lnTo>
                    <a:lnTo>
                      <a:pt x="114" y="227"/>
                    </a:lnTo>
                    <a:lnTo>
                      <a:pt x="106" y="220"/>
                    </a:lnTo>
                    <a:lnTo>
                      <a:pt x="106" y="220"/>
                    </a:lnTo>
                    <a:lnTo>
                      <a:pt x="106" y="220"/>
                    </a:lnTo>
                    <a:lnTo>
                      <a:pt x="106" y="220"/>
                    </a:lnTo>
                    <a:lnTo>
                      <a:pt x="106" y="220"/>
                    </a:lnTo>
                    <a:lnTo>
                      <a:pt x="114" y="220"/>
                    </a:lnTo>
                    <a:lnTo>
                      <a:pt x="114" y="213"/>
                    </a:lnTo>
                    <a:lnTo>
                      <a:pt x="114" y="213"/>
                    </a:lnTo>
                    <a:lnTo>
                      <a:pt x="114" y="213"/>
                    </a:lnTo>
                    <a:lnTo>
                      <a:pt x="114" y="206"/>
                    </a:lnTo>
                    <a:lnTo>
                      <a:pt x="114" y="206"/>
                    </a:lnTo>
                    <a:lnTo>
                      <a:pt x="114" y="206"/>
                    </a:lnTo>
                    <a:lnTo>
                      <a:pt x="114" y="206"/>
                    </a:lnTo>
                    <a:lnTo>
                      <a:pt x="114" y="206"/>
                    </a:lnTo>
                    <a:lnTo>
                      <a:pt x="114" y="206"/>
                    </a:lnTo>
                    <a:lnTo>
                      <a:pt x="114" y="199"/>
                    </a:lnTo>
                    <a:lnTo>
                      <a:pt x="114" y="199"/>
                    </a:lnTo>
                    <a:lnTo>
                      <a:pt x="121" y="199"/>
                    </a:lnTo>
                    <a:lnTo>
                      <a:pt x="121" y="199"/>
                    </a:lnTo>
                    <a:lnTo>
                      <a:pt x="121" y="199"/>
                    </a:lnTo>
                    <a:lnTo>
                      <a:pt x="121" y="199"/>
                    </a:lnTo>
                    <a:lnTo>
                      <a:pt x="121" y="199"/>
                    </a:lnTo>
                    <a:lnTo>
                      <a:pt x="128" y="199"/>
                    </a:lnTo>
                    <a:lnTo>
                      <a:pt x="128" y="192"/>
                    </a:lnTo>
                    <a:lnTo>
                      <a:pt x="128" y="192"/>
                    </a:lnTo>
                    <a:lnTo>
                      <a:pt x="135" y="192"/>
                    </a:lnTo>
                    <a:lnTo>
                      <a:pt x="135" y="192"/>
                    </a:lnTo>
                    <a:lnTo>
                      <a:pt x="135" y="192"/>
                    </a:lnTo>
                    <a:lnTo>
                      <a:pt x="135" y="185"/>
                    </a:lnTo>
                    <a:lnTo>
                      <a:pt x="135" y="185"/>
                    </a:lnTo>
                    <a:lnTo>
                      <a:pt x="135" y="185"/>
                    </a:lnTo>
                    <a:lnTo>
                      <a:pt x="135" y="185"/>
                    </a:lnTo>
                    <a:lnTo>
                      <a:pt x="135" y="178"/>
                    </a:lnTo>
                    <a:lnTo>
                      <a:pt x="135" y="178"/>
                    </a:lnTo>
                    <a:lnTo>
                      <a:pt x="135" y="178"/>
                    </a:lnTo>
                    <a:lnTo>
                      <a:pt x="135" y="178"/>
                    </a:lnTo>
                    <a:lnTo>
                      <a:pt x="135" y="178"/>
                    </a:lnTo>
                    <a:lnTo>
                      <a:pt x="142" y="178"/>
                    </a:lnTo>
                    <a:lnTo>
                      <a:pt x="142" y="178"/>
                    </a:lnTo>
                    <a:lnTo>
                      <a:pt x="142" y="178"/>
                    </a:lnTo>
                    <a:lnTo>
                      <a:pt x="142" y="178"/>
                    </a:lnTo>
                    <a:lnTo>
                      <a:pt x="149" y="171"/>
                    </a:lnTo>
                    <a:lnTo>
                      <a:pt x="149" y="164"/>
                    </a:lnTo>
                    <a:lnTo>
                      <a:pt x="149" y="164"/>
                    </a:lnTo>
                    <a:lnTo>
                      <a:pt x="156" y="156"/>
                    </a:lnTo>
                    <a:lnTo>
                      <a:pt x="156" y="156"/>
                    </a:lnTo>
                    <a:lnTo>
                      <a:pt x="156" y="156"/>
                    </a:lnTo>
                    <a:lnTo>
                      <a:pt x="156" y="156"/>
                    </a:lnTo>
                    <a:lnTo>
                      <a:pt x="156" y="156"/>
                    </a:lnTo>
                    <a:lnTo>
                      <a:pt x="163" y="156"/>
                    </a:lnTo>
                    <a:lnTo>
                      <a:pt x="163" y="156"/>
                    </a:lnTo>
                    <a:lnTo>
                      <a:pt x="163" y="156"/>
                    </a:lnTo>
                    <a:lnTo>
                      <a:pt x="163" y="149"/>
                    </a:lnTo>
                    <a:lnTo>
                      <a:pt x="163" y="149"/>
                    </a:lnTo>
                    <a:lnTo>
                      <a:pt x="163" y="149"/>
                    </a:lnTo>
                    <a:lnTo>
                      <a:pt x="156" y="149"/>
                    </a:lnTo>
                    <a:lnTo>
                      <a:pt x="156" y="142"/>
                    </a:lnTo>
                    <a:lnTo>
                      <a:pt x="149" y="142"/>
                    </a:lnTo>
                    <a:lnTo>
                      <a:pt x="149" y="142"/>
                    </a:lnTo>
                    <a:lnTo>
                      <a:pt x="149" y="142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2" y="135"/>
                    </a:lnTo>
                    <a:lnTo>
                      <a:pt x="142" y="135"/>
                    </a:lnTo>
                    <a:lnTo>
                      <a:pt x="142" y="135"/>
                    </a:lnTo>
                    <a:lnTo>
                      <a:pt x="142" y="135"/>
                    </a:lnTo>
                    <a:lnTo>
                      <a:pt x="142" y="135"/>
                    </a:lnTo>
                    <a:lnTo>
                      <a:pt x="142" y="128"/>
                    </a:lnTo>
                    <a:lnTo>
                      <a:pt x="142" y="128"/>
                    </a:lnTo>
                    <a:lnTo>
                      <a:pt x="142" y="128"/>
                    </a:lnTo>
                    <a:lnTo>
                      <a:pt x="142" y="128"/>
                    </a:lnTo>
                    <a:lnTo>
                      <a:pt x="142" y="121"/>
                    </a:lnTo>
                    <a:lnTo>
                      <a:pt x="142" y="121"/>
                    </a:lnTo>
                    <a:lnTo>
                      <a:pt x="142" y="121"/>
                    </a:lnTo>
                    <a:lnTo>
                      <a:pt x="142" y="121"/>
                    </a:lnTo>
                    <a:lnTo>
                      <a:pt x="142" y="121"/>
                    </a:lnTo>
                    <a:lnTo>
                      <a:pt x="142" y="121"/>
                    </a:lnTo>
                    <a:lnTo>
                      <a:pt x="149" y="114"/>
                    </a:lnTo>
                    <a:lnTo>
                      <a:pt x="149" y="114"/>
                    </a:lnTo>
                    <a:lnTo>
                      <a:pt x="149" y="114"/>
                    </a:lnTo>
                    <a:lnTo>
                      <a:pt x="149" y="114"/>
                    </a:lnTo>
                    <a:lnTo>
                      <a:pt x="149" y="114"/>
                    </a:lnTo>
                    <a:lnTo>
                      <a:pt x="149" y="114"/>
                    </a:lnTo>
                    <a:lnTo>
                      <a:pt x="149" y="114"/>
                    </a:lnTo>
                    <a:lnTo>
                      <a:pt x="149" y="107"/>
                    </a:lnTo>
                    <a:lnTo>
                      <a:pt x="149" y="107"/>
                    </a:lnTo>
                    <a:lnTo>
                      <a:pt x="149" y="107"/>
                    </a:lnTo>
                    <a:lnTo>
                      <a:pt x="149" y="107"/>
                    </a:lnTo>
                    <a:lnTo>
                      <a:pt x="149" y="100"/>
                    </a:lnTo>
                    <a:lnTo>
                      <a:pt x="156" y="100"/>
                    </a:lnTo>
                    <a:lnTo>
                      <a:pt x="156" y="93"/>
                    </a:lnTo>
                    <a:lnTo>
                      <a:pt x="156" y="93"/>
                    </a:lnTo>
                    <a:lnTo>
                      <a:pt x="156" y="93"/>
                    </a:lnTo>
                    <a:lnTo>
                      <a:pt x="156" y="93"/>
                    </a:lnTo>
                    <a:lnTo>
                      <a:pt x="156" y="85"/>
                    </a:lnTo>
                    <a:lnTo>
                      <a:pt x="156" y="85"/>
                    </a:lnTo>
                    <a:lnTo>
                      <a:pt x="156" y="85"/>
                    </a:lnTo>
                    <a:lnTo>
                      <a:pt x="156" y="85"/>
                    </a:lnTo>
                    <a:lnTo>
                      <a:pt x="156" y="85"/>
                    </a:lnTo>
                    <a:lnTo>
                      <a:pt x="156" y="85"/>
                    </a:lnTo>
                    <a:lnTo>
                      <a:pt x="156" y="85"/>
                    </a:lnTo>
                    <a:lnTo>
                      <a:pt x="163" y="85"/>
                    </a:lnTo>
                    <a:lnTo>
                      <a:pt x="163" y="78"/>
                    </a:lnTo>
                    <a:lnTo>
                      <a:pt x="163" y="78"/>
                    </a:lnTo>
                    <a:lnTo>
                      <a:pt x="163" y="78"/>
                    </a:lnTo>
                    <a:lnTo>
                      <a:pt x="163" y="78"/>
                    </a:lnTo>
                    <a:lnTo>
                      <a:pt x="170" y="85"/>
                    </a:lnTo>
                    <a:lnTo>
                      <a:pt x="170" y="85"/>
                    </a:lnTo>
                    <a:lnTo>
                      <a:pt x="170" y="85"/>
                    </a:lnTo>
                    <a:lnTo>
                      <a:pt x="170" y="85"/>
                    </a:lnTo>
                    <a:lnTo>
                      <a:pt x="170" y="85"/>
                    </a:lnTo>
                    <a:lnTo>
                      <a:pt x="177" y="85"/>
                    </a:lnTo>
                    <a:lnTo>
                      <a:pt x="177" y="93"/>
                    </a:lnTo>
                    <a:lnTo>
                      <a:pt x="177" y="93"/>
                    </a:lnTo>
                    <a:lnTo>
                      <a:pt x="185" y="93"/>
                    </a:lnTo>
                    <a:lnTo>
                      <a:pt x="185" y="93"/>
                    </a:lnTo>
                    <a:lnTo>
                      <a:pt x="185" y="93"/>
                    </a:lnTo>
                    <a:lnTo>
                      <a:pt x="185" y="93"/>
                    </a:lnTo>
                    <a:lnTo>
                      <a:pt x="192" y="93"/>
                    </a:lnTo>
                    <a:lnTo>
                      <a:pt x="192" y="93"/>
                    </a:lnTo>
                    <a:lnTo>
                      <a:pt x="192" y="93"/>
                    </a:lnTo>
                    <a:lnTo>
                      <a:pt x="192" y="93"/>
                    </a:lnTo>
                    <a:lnTo>
                      <a:pt x="199" y="93"/>
                    </a:lnTo>
                    <a:lnTo>
                      <a:pt x="199" y="93"/>
                    </a:lnTo>
                    <a:lnTo>
                      <a:pt x="199" y="93"/>
                    </a:lnTo>
                    <a:lnTo>
                      <a:pt x="199" y="85"/>
                    </a:lnTo>
                    <a:lnTo>
                      <a:pt x="199" y="85"/>
                    </a:lnTo>
                    <a:lnTo>
                      <a:pt x="199" y="85"/>
                    </a:lnTo>
                    <a:lnTo>
                      <a:pt x="199" y="78"/>
                    </a:lnTo>
                    <a:lnTo>
                      <a:pt x="199" y="78"/>
                    </a:lnTo>
                    <a:lnTo>
                      <a:pt x="199" y="71"/>
                    </a:lnTo>
                    <a:lnTo>
                      <a:pt x="199" y="71"/>
                    </a:lnTo>
                    <a:lnTo>
                      <a:pt x="199" y="71"/>
                    </a:lnTo>
                    <a:lnTo>
                      <a:pt x="199" y="71"/>
                    </a:lnTo>
                    <a:lnTo>
                      <a:pt x="206" y="64"/>
                    </a:lnTo>
                    <a:lnTo>
                      <a:pt x="206" y="64"/>
                    </a:lnTo>
                    <a:lnTo>
                      <a:pt x="206" y="64"/>
                    </a:lnTo>
                    <a:lnTo>
                      <a:pt x="206" y="64"/>
                    </a:lnTo>
                    <a:lnTo>
                      <a:pt x="206" y="64"/>
                    </a:lnTo>
                    <a:lnTo>
                      <a:pt x="213" y="64"/>
                    </a:lnTo>
                    <a:lnTo>
                      <a:pt x="213" y="57"/>
                    </a:lnTo>
                    <a:lnTo>
                      <a:pt x="213" y="57"/>
                    </a:lnTo>
                    <a:lnTo>
                      <a:pt x="220" y="57"/>
                    </a:lnTo>
                    <a:lnTo>
                      <a:pt x="220" y="57"/>
                    </a:lnTo>
                    <a:lnTo>
                      <a:pt x="220" y="57"/>
                    </a:lnTo>
                    <a:lnTo>
                      <a:pt x="220" y="50"/>
                    </a:lnTo>
                    <a:lnTo>
                      <a:pt x="220" y="43"/>
                    </a:lnTo>
                    <a:lnTo>
                      <a:pt x="220" y="43"/>
                    </a:lnTo>
                    <a:lnTo>
                      <a:pt x="220" y="36"/>
                    </a:lnTo>
                    <a:lnTo>
                      <a:pt x="220" y="36"/>
                    </a:lnTo>
                    <a:lnTo>
                      <a:pt x="220" y="36"/>
                    </a:lnTo>
                    <a:lnTo>
                      <a:pt x="220" y="29"/>
                    </a:lnTo>
                    <a:lnTo>
                      <a:pt x="227" y="29"/>
                    </a:lnTo>
                    <a:lnTo>
                      <a:pt x="227" y="29"/>
                    </a:lnTo>
                    <a:lnTo>
                      <a:pt x="227" y="29"/>
                    </a:lnTo>
                    <a:lnTo>
                      <a:pt x="227" y="22"/>
                    </a:lnTo>
                    <a:lnTo>
                      <a:pt x="227" y="22"/>
                    </a:lnTo>
                    <a:lnTo>
                      <a:pt x="227" y="22"/>
                    </a:lnTo>
                    <a:lnTo>
                      <a:pt x="227" y="22"/>
                    </a:lnTo>
                    <a:lnTo>
                      <a:pt x="227" y="22"/>
                    </a:lnTo>
                    <a:lnTo>
                      <a:pt x="227" y="22"/>
                    </a:lnTo>
                    <a:lnTo>
                      <a:pt x="227" y="22"/>
                    </a:lnTo>
                    <a:lnTo>
                      <a:pt x="227" y="15"/>
                    </a:lnTo>
                    <a:lnTo>
                      <a:pt x="220" y="7"/>
                    </a:lnTo>
                    <a:lnTo>
                      <a:pt x="220" y="0"/>
                    </a:lnTo>
                    <a:lnTo>
                      <a:pt x="220" y="0"/>
                    </a:lnTo>
                    <a:lnTo>
                      <a:pt x="227" y="0"/>
                    </a:lnTo>
                    <a:lnTo>
                      <a:pt x="227" y="0"/>
                    </a:lnTo>
                    <a:lnTo>
                      <a:pt x="227" y="0"/>
                    </a:lnTo>
                    <a:lnTo>
                      <a:pt x="227" y="0"/>
                    </a:lnTo>
                    <a:lnTo>
                      <a:pt x="227" y="7"/>
                    </a:lnTo>
                    <a:lnTo>
                      <a:pt x="227" y="7"/>
                    </a:lnTo>
                    <a:lnTo>
                      <a:pt x="234" y="7"/>
                    </a:lnTo>
                    <a:lnTo>
                      <a:pt x="234" y="7"/>
                    </a:lnTo>
                    <a:lnTo>
                      <a:pt x="241" y="15"/>
                    </a:lnTo>
                    <a:lnTo>
                      <a:pt x="241" y="15"/>
                    </a:lnTo>
                    <a:lnTo>
                      <a:pt x="241" y="7"/>
                    </a:lnTo>
                    <a:lnTo>
                      <a:pt x="241" y="7"/>
                    </a:lnTo>
                    <a:lnTo>
                      <a:pt x="241" y="7"/>
                    </a:lnTo>
                    <a:lnTo>
                      <a:pt x="241" y="7"/>
                    </a:lnTo>
                    <a:lnTo>
                      <a:pt x="241" y="7"/>
                    </a:lnTo>
                    <a:lnTo>
                      <a:pt x="241" y="7"/>
                    </a:lnTo>
                    <a:lnTo>
                      <a:pt x="248" y="7"/>
                    </a:lnTo>
                    <a:lnTo>
                      <a:pt x="248" y="7"/>
                    </a:lnTo>
                    <a:lnTo>
                      <a:pt x="248" y="7"/>
                    </a:lnTo>
                    <a:lnTo>
                      <a:pt x="248" y="7"/>
                    </a:lnTo>
                    <a:lnTo>
                      <a:pt x="248" y="7"/>
                    </a:lnTo>
                    <a:lnTo>
                      <a:pt x="248" y="7"/>
                    </a:lnTo>
                    <a:lnTo>
                      <a:pt x="255" y="7"/>
                    </a:lnTo>
                    <a:lnTo>
                      <a:pt x="255" y="7"/>
                    </a:lnTo>
                    <a:lnTo>
                      <a:pt x="255" y="7"/>
                    </a:lnTo>
                    <a:lnTo>
                      <a:pt x="255" y="7"/>
                    </a:lnTo>
                    <a:lnTo>
                      <a:pt x="263" y="7"/>
                    </a:lnTo>
                    <a:lnTo>
                      <a:pt x="270" y="15"/>
                    </a:lnTo>
                    <a:lnTo>
                      <a:pt x="277" y="15"/>
                    </a:lnTo>
                    <a:lnTo>
                      <a:pt x="277" y="15"/>
                    </a:lnTo>
                    <a:lnTo>
                      <a:pt x="277" y="15"/>
                    </a:lnTo>
                    <a:lnTo>
                      <a:pt x="284" y="15"/>
                    </a:lnTo>
                    <a:lnTo>
                      <a:pt x="284" y="15"/>
                    </a:lnTo>
                    <a:lnTo>
                      <a:pt x="291" y="15"/>
                    </a:lnTo>
                    <a:lnTo>
                      <a:pt x="291" y="22"/>
                    </a:lnTo>
                    <a:lnTo>
                      <a:pt x="291" y="22"/>
                    </a:lnTo>
                    <a:lnTo>
                      <a:pt x="291" y="22"/>
                    </a:lnTo>
                    <a:lnTo>
                      <a:pt x="291" y="22"/>
                    </a:lnTo>
                    <a:lnTo>
                      <a:pt x="291" y="22"/>
                    </a:lnTo>
                    <a:lnTo>
                      <a:pt x="291" y="22"/>
                    </a:lnTo>
                    <a:lnTo>
                      <a:pt x="298" y="36"/>
                    </a:lnTo>
                    <a:lnTo>
                      <a:pt x="298" y="36"/>
                    </a:lnTo>
                    <a:lnTo>
                      <a:pt x="298" y="36"/>
                    </a:lnTo>
                    <a:lnTo>
                      <a:pt x="298" y="36"/>
                    </a:lnTo>
                    <a:lnTo>
                      <a:pt x="305" y="36"/>
                    </a:lnTo>
                    <a:lnTo>
                      <a:pt x="305" y="36"/>
                    </a:lnTo>
                    <a:lnTo>
                      <a:pt x="305" y="36"/>
                    </a:lnTo>
                    <a:lnTo>
                      <a:pt x="305" y="36"/>
                    </a:lnTo>
                    <a:lnTo>
                      <a:pt x="305" y="43"/>
                    </a:lnTo>
                    <a:lnTo>
                      <a:pt x="305" y="43"/>
                    </a:lnTo>
                    <a:lnTo>
                      <a:pt x="305" y="43"/>
                    </a:lnTo>
                    <a:lnTo>
                      <a:pt x="312" y="43"/>
                    </a:lnTo>
                    <a:lnTo>
                      <a:pt x="312" y="43"/>
                    </a:lnTo>
                    <a:lnTo>
                      <a:pt x="312" y="43"/>
                    </a:lnTo>
                    <a:lnTo>
                      <a:pt x="312" y="43"/>
                    </a:lnTo>
                    <a:lnTo>
                      <a:pt x="312" y="43"/>
                    </a:lnTo>
                    <a:lnTo>
                      <a:pt x="312" y="43"/>
                    </a:lnTo>
                    <a:lnTo>
                      <a:pt x="312" y="43"/>
                    </a:lnTo>
                    <a:lnTo>
                      <a:pt x="319" y="43"/>
                    </a:lnTo>
                    <a:lnTo>
                      <a:pt x="319" y="43"/>
                    </a:lnTo>
                    <a:lnTo>
                      <a:pt x="319" y="43"/>
                    </a:lnTo>
                    <a:lnTo>
                      <a:pt x="326" y="36"/>
                    </a:lnTo>
                    <a:lnTo>
                      <a:pt x="326" y="36"/>
                    </a:lnTo>
                    <a:lnTo>
                      <a:pt x="326" y="36"/>
                    </a:lnTo>
                    <a:lnTo>
                      <a:pt x="326" y="36"/>
                    </a:lnTo>
                    <a:lnTo>
                      <a:pt x="341" y="36"/>
                    </a:lnTo>
                    <a:lnTo>
                      <a:pt x="341" y="36"/>
                    </a:lnTo>
                    <a:lnTo>
                      <a:pt x="341" y="36"/>
                    </a:lnTo>
                    <a:lnTo>
                      <a:pt x="348" y="36"/>
                    </a:lnTo>
                    <a:lnTo>
                      <a:pt x="348" y="36"/>
                    </a:lnTo>
                    <a:lnTo>
                      <a:pt x="348" y="36"/>
                    </a:lnTo>
                    <a:lnTo>
                      <a:pt x="348" y="36"/>
                    </a:lnTo>
                    <a:lnTo>
                      <a:pt x="348" y="43"/>
                    </a:lnTo>
                    <a:lnTo>
                      <a:pt x="348" y="43"/>
                    </a:lnTo>
                    <a:lnTo>
                      <a:pt x="355" y="43"/>
                    </a:lnTo>
                    <a:lnTo>
                      <a:pt x="362" y="43"/>
                    </a:lnTo>
                    <a:lnTo>
                      <a:pt x="369" y="43"/>
                    </a:lnTo>
                    <a:lnTo>
                      <a:pt x="369" y="43"/>
                    </a:lnTo>
                    <a:lnTo>
                      <a:pt x="369" y="50"/>
                    </a:lnTo>
                    <a:lnTo>
                      <a:pt x="369" y="50"/>
                    </a:lnTo>
                    <a:lnTo>
                      <a:pt x="369" y="50"/>
                    </a:lnTo>
                    <a:lnTo>
                      <a:pt x="369" y="50"/>
                    </a:lnTo>
                    <a:lnTo>
                      <a:pt x="376" y="50"/>
                    </a:lnTo>
                    <a:lnTo>
                      <a:pt x="383" y="50"/>
                    </a:lnTo>
                    <a:lnTo>
                      <a:pt x="383" y="50"/>
                    </a:lnTo>
                    <a:lnTo>
                      <a:pt x="390" y="50"/>
                    </a:lnTo>
                    <a:lnTo>
                      <a:pt x="390" y="50"/>
                    </a:lnTo>
                    <a:lnTo>
                      <a:pt x="390" y="50"/>
                    </a:lnTo>
                    <a:lnTo>
                      <a:pt x="390" y="50"/>
                    </a:lnTo>
                    <a:lnTo>
                      <a:pt x="390" y="50"/>
                    </a:lnTo>
                    <a:lnTo>
                      <a:pt x="397" y="50"/>
                    </a:lnTo>
                    <a:lnTo>
                      <a:pt x="397" y="50"/>
                    </a:lnTo>
                    <a:lnTo>
                      <a:pt x="397" y="50"/>
                    </a:lnTo>
                    <a:lnTo>
                      <a:pt x="397" y="50"/>
                    </a:lnTo>
                    <a:lnTo>
                      <a:pt x="397" y="50"/>
                    </a:lnTo>
                    <a:lnTo>
                      <a:pt x="397" y="50"/>
                    </a:lnTo>
                    <a:lnTo>
                      <a:pt x="397" y="50"/>
                    </a:lnTo>
                    <a:lnTo>
                      <a:pt x="397" y="50"/>
                    </a:lnTo>
                    <a:lnTo>
                      <a:pt x="397" y="50"/>
                    </a:lnTo>
                    <a:lnTo>
                      <a:pt x="397" y="50"/>
                    </a:lnTo>
                    <a:lnTo>
                      <a:pt x="405" y="43"/>
                    </a:lnTo>
                    <a:lnTo>
                      <a:pt x="405" y="43"/>
                    </a:lnTo>
                    <a:lnTo>
                      <a:pt x="405" y="43"/>
                    </a:lnTo>
                    <a:lnTo>
                      <a:pt x="405" y="43"/>
                    </a:lnTo>
                    <a:lnTo>
                      <a:pt x="412" y="43"/>
                    </a:lnTo>
                    <a:lnTo>
                      <a:pt x="419" y="36"/>
                    </a:lnTo>
                    <a:lnTo>
                      <a:pt x="419" y="36"/>
                    </a:lnTo>
                    <a:lnTo>
                      <a:pt x="419" y="36"/>
                    </a:lnTo>
                    <a:lnTo>
                      <a:pt x="426" y="36"/>
                    </a:lnTo>
                    <a:lnTo>
                      <a:pt x="426" y="43"/>
                    </a:lnTo>
                    <a:lnTo>
                      <a:pt x="433" y="43"/>
                    </a:lnTo>
                    <a:lnTo>
                      <a:pt x="433" y="43"/>
                    </a:lnTo>
                    <a:lnTo>
                      <a:pt x="433" y="43"/>
                    </a:lnTo>
                    <a:lnTo>
                      <a:pt x="433" y="50"/>
                    </a:lnTo>
                    <a:lnTo>
                      <a:pt x="440" y="50"/>
                    </a:lnTo>
                    <a:lnTo>
                      <a:pt x="440" y="50"/>
                    </a:lnTo>
                    <a:lnTo>
                      <a:pt x="440" y="50"/>
                    </a:lnTo>
                    <a:lnTo>
                      <a:pt x="440" y="50"/>
                    </a:lnTo>
                    <a:lnTo>
                      <a:pt x="440" y="50"/>
                    </a:lnTo>
                    <a:lnTo>
                      <a:pt x="447" y="57"/>
                    </a:lnTo>
                    <a:lnTo>
                      <a:pt x="447" y="57"/>
                    </a:lnTo>
                    <a:lnTo>
                      <a:pt x="447" y="57"/>
                    </a:lnTo>
                    <a:lnTo>
                      <a:pt x="447" y="57"/>
                    </a:lnTo>
                    <a:lnTo>
                      <a:pt x="447" y="57"/>
                    </a:lnTo>
                    <a:lnTo>
                      <a:pt x="447" y="57"/>
                    </a:lnTo>
                    <a:lnTo>
                      <a:pt x="447" y="57"/>
                    </a:lnTo>
                    <a:lnTo>
                      <a:pt x="447" y="57"/>
                    </a:lnTo>
                    <a:lnTo>
                      <a:pt x="454" y="64"/>
                    </a:lnTo>
                    <a:lnTo>
                      <a:pt x="454" y="64"/>
                    </a:lnTo>
                    <a:lnTo>
                      <a:pt x="454" y="64"/>
                    </a:lnTo>
                    <a:lnTo>
                      <a:pt x="454" y="64"/>
                    </a:lnTo>
                    <a:lnTo>
                      <a:pt x="454" y="71"/>
                    </a:lnTo>
                    <a:lnTo>
                      <a:pt x="454" y="78"/>
                    </a:lnTo>
                    <a:lnTo>
                      <a:pt x="454" y="78"/>
                    </a:lnTo>
                    <a:lnTo>
                      <a:pt x="454" y="78"/>
                    </a:lnTo>
                    <a:lnTo>
                      <a:pt x="454" y="85"/>
                    </a:lnTo>
                    <a:lnTo>
                      <a:pt x="447" y="85"/>
                    </a:lnTo>
                    <a:lnTo>
                      <a:pt x="447" y="85"/>
                    </a:lnTo>
                    <a:lnTo>
                      <a:pt x="447" y="85"/>
                    </a:lnTo>
                    <a:lnTo>
                      <a:pt x="447" y="85"/>
                    </a:lnTo>
                    <a:lnTo>
                      <a:pt x="447" y="85"/>
                    </a:lnTo>
                    <a:lnTo>
                      <a:pt x="447" y="85"/>
                    </a:lnTo>
                    <a:lnTo>
                      <a:pt x="447" y="93"/>
                    </a:lnTo>
                    <a:lnTo>
                      <a:pt x="447" y="93"/>
                    </a:lnTo>
                    <a:lnTo>
                      <a:pt x="447" y="93"/>
                    </a:lnTo>
                    <a:lnTo>
                      <a:pt x="447" y="100"/>
                    </a:lnTo>
                    <a:lnTo>
                      <a:pt x="447" y="100"/>
                    </a:lnTo>
                    <a:lnTo>
                      <a:pt x="447" y="107"/>
                    </a:lnTo>
                    <a:lnTo>
                      <a:pt x="440" y="107"/>
                    </a:lnTo>
                    <a:lnTo>
                      <a:pt x="440" y="114"/>
                    </a:lnTo>
                    <a:lnTo>
                      <a:pt x="440" y="114"/>
                    </a:lnTo>
                    <a:lnTo>
                      <a:pt x="440" y="121"/>
                    </a:lnTo>
                    <a:lnTo>
                      <a:pt x="440" y="121"/>
                    </a:lnTo>
                    <a:lnTo>
                      <a:pt x="447" y="121"/>
                    </a:lnTo>
                    <a:lnTo>
                      <a:pt x="447" y="121"/>
                    </a:lnTo>
                    <a:lnTo>
                      <a:pt x="454" y="135"/>
                    </a:lnTo>
                    <a:lnTo>
                      <a:pt x="454" y="135"/>
                    </a:lnTo>
                    <a:lnTo>
                      <a:pt x="454" y="142"/>
                    </a:lnTo>
                    <a:lnTo>
                      <a:pt x="454" y="149"/>
                    </a:lnTo>
                    <a:lnTo>
                      <a:pt x="454" y="149"/>
                    </a:lnTo>
                    <a:lnTo>
                      <a:pt x="447" y="156"/>
                    </a:lnTo>
                    <a:lnTo>
                      <a:pt x="447" y="156"/>
                    </a:lnTo>
                    <a:lnTo>
                      <a:pt x="454" y="156"/>
                    </a:lnTo>
                    <a:lnTo>
                      <a:pt x="461" y="156"/>
                    </a:lnTo>
                    <a:lnTo>
                      <a:pt x="468" y="164"/>
                    </a:lnTo>
                    <a:lnTo>
                      <a:pt x="468" y="164"/>
                    </a:lnTo>
                    <a:lnTo>
                      <a:pt x="468" y="164"/>
                    </a:lnTo>
                    <a:lnTo>
                      <a:pt x="476" y="171"/>
                    </a:lnTo>
                    <a:lnTo>
                      <a:pt x="476" y="171"/>
                    </a:lnTo>
                    <a:lnTo>
                      <a:pt x="483" y="171"/>
                    </a:lnTo>
                    <a:lnTo>
                      <a:pt x="497" y="171"/>
                    </a:lnTo>
                    <a:lnTo>
                      <a:pt x="497" y="171"/>
                    </a:lnTo>
                    <a:lnTo>
                      <a:pt x="497" y="171"/>
                    </a:lnTo>
                    <a:lnTo>
                      <a:pt x="497" y="171"/>
                    </a:lnTo>
                    <a:lnTo>
                      <a:pt x="504" y="171"/>
                    </a:lnTo>
                    <a:lnTo>
                      <a:pt x="504" y="171"/>
                    </a:lnTo>
                    <a:lnTo>
                      <a:pt x="504" y="171"/>
                    </a:lnTo>
                    <a:lnTo>
                      <a:pt x="504" y="171"/>
                    </a:lnTo>
                    <a:lnTo>
                      <a:pt x="504" y="178"/>
                    </a:lnTo>
                    <a:lnTo>
                      <a:pt x="504" y="178"/>
                    </a:lnTo>
                    <a:lnTo>
                      <a:pt x="504" y="178"/>
                    </a:lnTo>
                    <a:lnTo>
                      <a:pt x="504" y="178"/>
                    </a:lnTo>
                    <a:lnTo>
                      <a:pt x="511" y="185"/>
                    </a:lnTo>
                    <a:lnTo>
                      <a:pt x="511" y="185"/>
                    </a:lnTo>
                    <a:lnTo>
                      <a:pt x="511" y="185"/>
                    </a:lnTo>
                    <a:lnTo>
                      <a:pt x="511" y="185"/>
                    </a:lnTo>
                    <a:lnTo>
                      <a:pt x="511" y="185"/>
                    </a:lnTo>
                    <a:lnTo>
                      <a:pt x="511" y="185"/>
                    </a:lnTo>
                    <a:lnTo>
                      <a:pt x="511" y="185"/>
                    </a:lnTo>
                    <a:lnTo>
                      <a:pt x="518" y="185"/>
                    </a:lnTo>
                    <a:lnTo>
                      <a:pt x="518" y="185"/>
                    </a:lnTo>
                    <a:lnTo>
                      <a:pt x="518" y="185"/>
                    </a:lnTo>
                    <a:lnTo>
                      <a:pt x="518" y="185"/>
                    </a:lnTo>
                    <a:lnTo>
                      <a:pt x="518" y="185"/>
                    </a:lnTo>
                    <a:lnTo>
                      <a:pt x="525" y="185"/>
                    </a:lnTo>
                    <a:lnTo>
                      <a:pt x="532" y="185"/>
                    </a:lnTo>
                    <a:lnTo>
                      <a:pt x="532" y="185"/>
                    </a:lnTo>
                    <a:lnTo>
                      <a:pt x="532" y="185"/>
                    </a:lnTo>
                    <a:lnTo>
                      <a:pt x="539" y="192"/>
                    </a:lnTo>
                    <a:lnTo>
                      <a:pt x="539" y="192"/>
                    </a:lnTo>
                    <a:lnTo>
                      <a:pt x="539" y="192"/>
                    </a:lnTo>
                    <a:lnTo>
                      <a:pt x="547" y="192"/>
                    </a:lnTo>
                    <a:lnTo>
                      <a:pt x="554" y="199"/>
                    </a:lnTo>
                    <a:lnTo>
                      <a:pt x="554" y="206"/>
                    </a:lnTo>
                    <a:lnTo>
                      <a:pt x="554" y="206"/>
                    </a:lnTo>
                    <a:lnTo>
                      <a:pt x="561" y="213"/>
                    </a:lnTo>
                    <a:lnTo>
                      <a:pt x="561" y="213"/>
                    </a:lnTo>
                    <a:lnTo>
                      <a:pt x="561" y="213"/>
                    </a:lnTo>
                    <a:lnTo>
                      <a:pt x="561" y="220"/>
                    </a:lnTo>
                    <a:lnTo>
                      <a:pt x="561" y="220"/>
                    </a:lnTo>
                    <a:lnTo>
                      <a:pt x="568" y="227"/>
                    </a:lnTo>
                    <a:lnTo>
                      <a:pt x="575" y="235"/>
                    </a:lnTo>
                    <a:lnTo>
                      <a:pt x="575" y="235"/>
                    </a:lnTo>
                    <a:lnTo>
                      <a:pt x="575" y="242"/>
                    </a:lnTo>
                    <a:lnTo>
                      <a:pt x="575" y="242"/>
                    </a:lnTo>
                    <a:lnTo>
                      <a:pt x="568" y="242"/>
                    </a:lnTo>
                    <a:lnTo>
                      <a:pt x="568" y="242"/>
                    </a:lnTo>
                    <a:lnTo>
                      <a:pt x="568" y="242"/>
                    </a:lnTo>
                    <a:lnTo>
                      <a:pt x="568" y="242"/>
                    </a:lnTo>
                    <a:lnTo>
                      <a:pt x="568" y="242"/>
                    </a:lnTo>
                    <a:lnTo>
                      <a:pt x="568" y="249"/>
                    </a:lnTo>
                    <a:lnTo>
                      <a:pt x="568" y="249"/>
                    </a:lnTo>
                    <a:lnTo>
                      <a:pt x="568" y="249"/>
                    </a:lnTo>
                    <a:lnTo>
                      <a:pt x="568" y="249"/>
                    </a:lnTo>
                    <a:lnTo>
                      <a:pt x="575" y="249"/>
                    </a:lnTo>
                    <a:lnTo>
                      <a:pt x="575" y="249"/>
                    </a:lnTo>
                    <a:lnTo>
                      <a:pt x="575" y="249"/>
                    </a:lnTo>
                    <a:lnTo>
                      <a:pt x="575" y="249"/>
                    </a:lnTo>
                    <a:lnTo>
                      <a:pt x="575" y="249"/>
                    </a:lnTo>
                    <a:lnTo>
                      <a:pt x="575" y="249"/>
                    </a:lnTo>
                    <a:lnTo>
                      <a:pt x="575" y="242"/>
                    </a:lnTo>
                    <a:lnTo>
                      <a:pt x="575" y="242"/>
                    </a:lnTo>
                    <a:lnTo>
                      <a:pt x="582" y="242"/>
                    </a:lnTo>
                    <a:lnTo>
                      <a:pt x="582" y="242"/>
                    </a:lnTo>
                    <a:lnTo>
                      <a:pt x="582" y="242"/>
                    </a:lnTo>
                    <a:lnTo>
                      <a:pt x="582" y="242"/>
                    </a:lnTo>
                    <a:lnTo>
                      <a:pt x="582" y="242"/>
                    </a:lnTo>
                    <a:lnTo>
                      <a:pt x="582" y="249"/>
                    </a:lnTo>
                    <a:lnTo>
                      <a:pt x="582" y="249"/>
                    </a:lnTo>
                    <a:lnTo>
                      <a:pt x="582" y="249"/>
                    </a:lnTo>
                    <a:lnTo>
                      <a:pt x="582" y="256"/>
                    </a:lnTo>
                    <a:lnTo>
                      <a:pt x="589" y="256"/>
                    </a:lnTo>
                    <a:lnTo>
                      <a:pt x="589" y="256"/>
                    </a:lnTo>
                    <a:lnTo>
                      <a:pt x="589" y="256"/>
                    </a:lnTo>
                    <a:lnTo>
                      <a:pt x="596" y="249"/>
                    </a:lnTo>
                    <a:lnTo>
                      <a:pt x="596" y="249"/>
                    </a:lnTo>
                    <a:lnTo>
                      <a:pt x="596" y="249"/>
                    </a:lnTo>
                    <a:lnTo>
                      <a:pt x="596" y="249"/>
                    </a:lnTo>
                    <a:lnTo>
                      <a:pt x="596" y="256"/>
                    </a:lnTo>
                    <a:lnTo>
                      <a:pt x="596" y="256"/>
                    </a:lnTo>
                    <a:lnTo>
                      <a:pt x="596" y="256"/>
                    </a:lnTo>
                    <a:lnTo>
                      <a:pt x="596" y="256"/>
                    </a:lnTo>
                    <a:lnTo>
                      <a:pt x="596" y="263"/>
                    </a:lnTo>
                    <a:lnTo>
                      <a:pt x="596" y="263"/>
                    </a:lnTo>
                    <a:lnTo>
                      <a:pt x="596" y="263"/>
                    </a:lnTo>
                    <a:lnTo>
                      <a:pt x="596" y="270"/>
                    </a:lnTo>
                    <a:lnTo>
                      <a:pt x="596" y="270"/>
                    </a:lnTo>
                    <a:lnTo>
                      <a:pt x="603" y="277"/>
                    </a:lnTo>
                    <a:lnTo>
                      <a:pt x="603" y="277"/>
                    </a:lnTo>
                    <a:lnTo>
                      <a:pt x="603" y="298"/>
                    </a:lnTo>
                    <a:lnTo>
                      <a:pt x="603" y="306"/>
                    </a:lnTo>
                    <a:lnTo>
                      <a:pt x="610" y="306"/>
                    </a:lnTo>
                    <a:lnTo>
                      <a:pt x="610" y="306"/>
                    </a:lnTo>
                    <a:lnTo>
                      <a:pt x="610" y="306"/>
                    </a:lnTo>
                    <a:lnTo>
                      <a:pt x="618" y="306"/>
                    </a:lnTo>
                    <a:lnTo>
                      <a:pt x="618" y="306"/>
                    </a:lnTo>
                    <a:lnTo>
                      <a:pt x="625" y="298"/>
                    </a:lnTo>
                    <a:lnTo>
                      <a:pt x="625" y="298"/>
                    </a:lnTo>
                    <a:lnTo>
                      <a:pt x="625" y="298"/>
                    </a:lnTo>
                    <a:lnTo>
                      <a:pt x="632" y="298"/>
                    </a:lnTo>
                    <a:lnTo>
                      <a:pt x="632" y="298"/>
                    </a:lnTo>
                    <a:lnTo>
                      <a:pt x="632" y="298"/>
                    </a:lnTo>
                    <a:lnTo>
                      <a:pt x="639" y="298"/>
                    </a:lnTo>
                    <a:lnTo>
                      <a:pt x="639" y="298"/>
                    </a:lnTo>
                    <a:lnTo>
                      <a:pt x="639" y="306"/>
                    </a:lnTo>
                    <a:lnTo>
                      <a:pt x="646" y="306"/>
                    </a:lnTo>
                    <a:lnTo>
                      <a:pt x="653" y="298"/>
                    </a:lnTo>
                    <a:lnTo>
                      <a:pt x="660" y="298"/>
                    </a:lnTo>
                    <a:lnTo>
                      <a:pt x="667" y="306"/>
                    </a:lnTo>
                    <a:lnTo>
                      <a:pt x="674" y="306"/>
                    </a:lnTo>
                    <a:lnTo>
                      <a:pt x="674" y="306"/>
                    </a:lnTo>
                    <a:lnTo>
                      <a:pt x="674" y="306"/>
                    </a:lnTo>
                    <a:lnTo>
                      <a:pt x="674" y="306"/>
                    </a:lnTo>
                    <a:lnTo>
                      <a:pt x="674" y="298"/>
                    </a:lnTo>
                    <a:lnTo>
                      <a:pt x="674" y="298"/>
                    </a:lnTo>
                    <a:lnTo>
                      <a:pt x="681" y="298"/>
                    </a:lnTo>
                    <a:lnTo>
                      <a:pt x="681" y="298"/>
                    </a:lnTo>
                    <a:lnTo>
                      <a:pt x="681" y="298"/>
                    </a:lnTo>
                    <a:lnTo>
                      <a:pt x="689" y="298"/>
                    </a:lnTo>
                    <a:lnTo>
                      <a:pt x="689" y="306"/>
                    </a:lnTo>
                    <a:lnTo>
                      <a:pt x="696" y="298"/>
                    </a:lnTo>
                    <a:lnTo>
                      <a:pt x="696" y="298"/>
                    </a:lnTo>
                    <a:lnTo>
                      <a:pt x="696" y="298"/>
                    </a:lnTo>
                    <a:lnTo>
                      <a:pt x="703" y="291"/>
                    </a:lnTo>
                    <a:lnTo>
                      <a:pt x="703" y="291"/>
                    </a:lnTo>
                    <a:lnTo>
                      <a:pt x="710" y="291"/>
                    </a:lnTo>
                    <a:lnTo>
                      <a:pt x="710" y="291"/>
                    </a:lnTo>
                    <a:lnTo>
                      <a:pt x="710" y="291"/>
                    </a:lnTo>
                    <a:lnTo>
                      <a:pt x="710" y="284"/>
                    </a:lnTo>
                    <a:lnTo>
                      <a:pt x="717" y="284"/>
                    </a:lnTo>
                    <a:lnTo>
                      <a:pt x="724" y="277"/>
                    </a:lnTo>
                    <a:lnTo>
                      <a:pt x="738" y="270"/>
                    </a:lnTo>
                    <a:lnTo>
                      <a:pt x="738" y="270"/>
                    </a:lnTo>
                    <a:lnTo>
                      <a:pt x="745" y="270"/>
                    </a:lnTo>
                    <a:lnTo>
                      <a:pt x="752" y="263"/>
                    </a:lnTo>
                    <a:lnTo>
                      <a:pt x="759" y="263"/>
                    </a:lnTo>
                    <a:lnTo>
                      <a:pt x="767" y="263"/>
                    </a:lnTo>
                    <a:lnTo>
                      <a:pt x="767" y="263"/>
                    </a:lnTo>
                    <a:lnTo>
                      <a:pt x="774" y="270"/>
                    </a:lnTo>
                    <a:lnTo>
                      <a:pt x="774" y="270"/>
                    </a:lnTo>
                    <a:lnTo>
                      <a:pt x="774" y="270"/>
                    </a:lnTo>
                    <a:lnTo>
                      <a:pt x="774" y="270"/>
                    </a:lnTo>
                    <a:lnTo>
                      <a:pt x="781" y="270"/>
                    </a:lnTo>
                    <a:lnTo>
                      <a:pt x="781" y="270"/>
                    </a:lnTo>
                    <a:lnTo>
                      <a:pt x="781" y="270"/>
                    </a:lnTo>
                    <a:lnTo>
                      <a:pt x="781" y="270"/>
                    </a:lnTo>
                    <a:lnTo>
                      <a:pt x="781" y="270"/>
                    </a:lnTo>
                    <a:lnTo>
                      <a:pt x="781" y="270"/>
                    </a:lnTo>
                    <a:lnTo>
                      <a:pt x="781" y="270"/>
                    </a:lnTo>
                    <a:lnTo>
                      <a:pt x="788" y="270"/>
                    </a:lnTo>
                    <a:lnTo>
                      <a:pt x="788" y="263"/>
                    </a:lnTo>
                    <a:lnTo>
                      <a:pt x="788" y="263"/>
                    </a:lnTo>
                    <a:lnTo>
                      <a:pt x="788" y="263"/>
                    </a:lnTo>
                    <a:lnTo>
                      <a:pt x="795" y="263"/>
                    </a:lnTo>
                    <a:lnTo>
                      <a:pt x="795" y="263"/>
                    </a:lnTo>
                    <a:lnTo>
                      <a:pt x="795" y="263"/>
                    </a:lnTo>
                    <a:lnTo>
                      <a:pt x="795" y="263"/>
                    </a:lnTo>
                    <a:lnTo>
                      <a:pt x="795" y="256"/>
                    </a:lnTo>
                    <a:lnTo>
                      <a:pt x="795" y="256"/>
                    </a:lnTo>
                    <a:lnTo>
                      <a:pt x="795" y="256"/>
                    </a:lnTo>
                    <a:lnTo>
                      <a:pt x="795" y="249"/>
                    </a:lnTo>
                    <a:lnTo>
                      <a:pt x="795" y="249"/>
                    </a:lnTo>
                    <a:lnTo>
                      <a:pt x="795" y="249"/>
                    </a:lnTo>
                    <a:lnTo>
                      <a:pt x="795" y="249"/>
                    </a:lnTo>
                    <a:lnTo>
                      <a:pt x="795" y="249"/>
                    </a:lnTo>
                    <a:lnTo>
                      <a:pt x="795" y="249"/>
                    </a:lnTo>
                    <a:lnTo>
                      <a:pt x="795" y="242"/>
                    </a:lnTo>
                    <a:lnTo>
                      <a:pt x="788" y="242"/>
                    </a:lnTo>
                    <a:lnTo>
                      <a:pt x="788" y="242"/>
                    </a:lnTo>
                    <a:lnTo>
                      <a:pt x="788" y="242"/>
                    </a:lnTo>
                    <a:lnTo>
                      <a:pt x="788" y="235"/>
                    </a:lnTo>
                    <a:lnTo>
                      <a:pt x="795" y="227"/>
                    </a:lnTo>
                    <a:lnTo>
                      <a:pt x="795" y="227"/>
                    </a:lnTo>
                    <a:lnTo>
                      <a:pt x="795" y="227"/>
                    </a:lnTo>
                    <a:lnTo>
                      <a:pt x="795" y="227"/>
                    </a:lnTo>
                    <a:lnTo>
                      <a:pt x="795" y="220"/>
                    </a:lnTo>
                    <a:lnTo>
                      <a:pt x="795" y="220"/>
                    </a:lnTo>
                    <a:lnTo>
                      <a:pt x="795" y="220"/>
                    </a:lnTo>
                    <a:lnTo>
                      <a:pt x="795" y="213"/>
                    </a:lnTo>
                    <a:lnTo>
                      <a:pt x="795" y="213"/>
                    </a:lnTo>
                    <a:lnTo>
                      <a:pt x="795" y="213"/>
                    </a:lnTo>
                    <a:lnTo>
                      <a:pt x="795" y="206"/>
                    </a:lnTo>
                    <a:lnTo>
                      <a:pt x="795" y="206"/>
                    </a:lnTo>
                    <a:lnTo>
                      <a:pt x="795" y="206"/>
                    </a:lnTo>
                    <a:lnTo>
                      <a:pt x="802" y="199"/>
                    </a:lnTo>
                    <a:lnTo>
                      <a:pt x="802" y="199"/>
                    </a:lnTo>
                    <a:lnTo>
                      <a:pt x="802" y="192"/>
                    </a:lnTo>
                    <a:lnTo>
                      <a:pt x="809" y="192"/>
                    </a:lnTo>
                    <a:lnTo>
                      <a:pt x="809" y="192"/>
                    </a:lnTo>
                    <a:lnTo>
                      <a:pt x="809" y="192"/>
                    </a:lnTo>
                    <a:lnTo>
                      <a:pt x="809" y="192"/>
                    </a:lnTo>
                    <a:lnTo>
                      <a:pt x="816" y="192"/>
                    </a:lnTo>
                    <a:lnTo>
                      <a:pt x="816" y="192"/>
                    </a:lnTo>
                    <a:lnTo>
                      <a:pt x="816" y="192"/>
                    </a:lnTo>
                    <a:lnTo>
                      <a:pt x="816" y="192"/>
                    </a:lnTo>
                    <a:lnTo>
                      <a:pt x="816" y="192"/>
                    </a:lnTo>
                    <a:lnTo>
                      <a:pt x="816" y="199"/>
                    </a:lnTo>
                    <a:lnTo>
                      <a:pt x="816" y="199"/>
                    </a:lnTo>
                    <a:lnTo>
                      <a:pt x="816" y="199"/>
                    </a:lnTo>
                    <a:lnTo>
                      <a:pt x="816" y="199"/>
                    </a:lnTo>
                    <a:lnTo>
                      <a:pt x="816" y="199"/>
                    </a:lnTo>
                    <a:lnTo>
                      <a:pt x="816" y="199"/>
                    </a:lnTo>
                    <a:lnTo>
                      <a:pt x="816" y="206"/>
                    </a:lnTo>
                    <a:lnTo>
                      <a:pt x="816" y="206"/>
                    </a:lnTo>
                    <a:lnTo>
                      <a:pt x="816" y="206"/>
                    </a:lnTo>
                    <a:lnTo>
                      <a:pt x="823" y="213"/>
                    </a:lnTo>
                    <a:lnTo>
                      <a:pt x="830" y="213"/>
                    </a:lnTo>
                    <a:lnTo>
                      <a:pt x="830" y="220"/>
                    </a:lnTo>
                    <a:lnTo>
                      <a:pt x="830" y="220"/>
                    </a:lnTo>
                    <a:lnTo>
                      <a:pt x="830" y="220"/>
                    </a:lnTo>
                    <a:lnTo>
                      <a:pt x="830" y="220"/>
                    </a:lnTo>
                    <a:lnTo>
                      <a:pt x="830" y="220"/>
                    </a:lnTo>
                    <a:lnTo>
                      <a:pt x="830" y="220"/>
                    </a:lnTo>
                    <a:lnTo>
                      <a:pt x="830" y="227"/>
                    </a:lnTo>
                    <a:lnTo>
                      <a:pt x="830" y="227"/>
                    </a:lnTo>
                    <a:lnTo>
                      <a:pt x="830" y="227"/>
                    </a:lnTo>
                    <a:lnTo>
                      <a:pt x="830" y="235"/>
                    </a:lnTo>
                    <a:lnTo>
                      <a:pt x="830" y="235"/>
                    </a:lnTo>
                    <a:lnTo>
                      <a:pt x="830" y="235"/>
                    </a:lnTo>
                    <a:lnTo>
                      <a:pt x="830" y="235"/>
                    </a:lnTo>
                    <a:lnTo>
                      <a:pt x="830" y="235"/>
                    </a:lnTo>
                    <a:lnTo>
                      <a:pt x="838" y="235"/>
                    </a:lnTo>
                    <a:lnTo>
                      <a:pt x="838" y="235"/>
                    </a:lnTo>
                    <a:lnTo>
                      <a:pt x="838" y="235"/>
                    </a:lnTo>
                    <a:lnTo>
                      <a:pt x="838" y="235"/>
                    </a:lnTo>
                    <a:lnTo>
                      <a:pt x="838" y="235"/>
                    </a:lnTo>
                    <a:lnTo>
                      <a:pt x="838" y="227"/>
                    </a:lnTo>
                    <a:lnTo>
                      <a:pt x="838" y="227"/>
                    </a:lnTo>
                    <a:lnTo>
                      <a:pt x="838" y="227"/>
                    </a:lnTo>
                    <a:lnTo>
                      <a:pt x="845" y="227"/>
                    </a:lnTo>
                    <a:lnTo>
                      <a:pt x="845" y="220"/>
                    </a:lnTo>
                    <a:lnTo>
                      <a:pt x="852" y="220"/>
                    </a:lnTo>
                    <a:lnTo>
                      <a:pt x="852" y="220"/>
                    </a:lnTo>
                    <a:lnTo>
                      <a:pt x="852" y="220"/>
                    </a:lnTo>
                    <a:lnTo>
                      <a:pt x="859" y="213"/>
                    </a:lnTo>
                    <a:lnTo>
                      <a:pt x="859" y="213"/>
                    </a:lnTo>
                    <a:lnTo>
                      <a:pt x="859" y="213"/>
                    </a:lnTo>
                    <a:lnTo>
                      <a:pt x="859" y="206"/>
                    </a:lnTo>
                    <a:lnTo>
                      <a:pt x="859" y="206"/>
                    </a:lnTo>
                    <a:lnTo>
                      <a:pt x="859" y="206"/>
                    </a:lnTo>
                    <a:lnTo>
                      <a:pt x="859" y="206"/>
                    </a:lnTo>
                    <a:lnTo>
                      <a:pt x="859" y="206"/>
                    </a:lnTo>
                    <a:lnTo>
                      <a:pt x="866" y="206"/>
                    </a:lnTo>
                    <a:lnTo>
                      <a:pt x="866" y="206"/>
                    </a:lnTo>
                    <a:lnTo>
                      <a:pt x="866" y="206"/>
                    </a:lnTo>
                    <a:lnTo>
                      <a:pt x="866" y="206"/>
                    </a:lnTo>
                    <a:lnTo>
                      <a:pt x="873" y="206"/>
                    </a:lnTo>
                    <a:lnTo>
                      <a:pt x="873" y="206"/>
                    </a:lnTo>
                    <a:lnTo>
                      <a:pt x="873" y="206"/>
                    </a:lnTo>
                    <a:lnTo>
                      <a:pt x="873" y="213"/>
                    </a:lnTo>
                    <a:lnTo>
                      <a:pt x="873" y="213"/>
                    </a:lnTo>
                    <a:lnTo>
                      <a:pt x="873" y="213"/>
                    </a:lnTo>
                    <a:lnTo>
                      <a:pt x="873" y="213"/>
                    </a:lnTo>
                    <a:lnTo>
                      <a:pt x="873" y="213"/>
                    </a:lnTo>
                    <a:lnTo>
                      <a:pt x="880" y="213"/>
                    </a:lnTo>
                    <a:lnTo>
                      <a:pt x="880" y="213"/>
                    </a:lnTo>
                    <a:lnTo>
                      <a:pt x="887" y="213"/>
                    </a:lnTo>
                    <a:lnTo>
                      <a:pt x="887" y="213"/>
                    </a:lnTo>
                    <a:lnTo>
                      <a:pt x="887" y="213"/>
                    </a:lnTo>
                    <a:lnTo>
                      <a:pt x="887" y="213"/>
                    </a:lnTo>
                    <a:lnTo>
                      <a:pt x="894" y="213"/>
                    </a:lnTo>
                    <a:lnTo>
                      <a:pt x="894" y="206"/>
                    </a:lnTo>
                    <a:lnTo>
                      <a:pt x="894" y="206"/>
                    </a:lnTo>
                    <a:lnTo>
                      <a:pt x="894" y="206"/>
                    </a:lnTo>
                    <a:lnTo>
                      <a:pt x="894" y="199"/>
                    </a:lnTo>
                    <a:lnTo>
                      <a:pt x="894" y="199"/>
                    </a:lnTo>
                    <a:lnTo>
                      <a:pt x="894" y="199"/>
                    </a:lnTo>
                    <a:lnTo>
                      <a:pt x="894" y="199"/>
                    </a:lnTo>
                    <a:lnTo>
                      <a:pt x="894" y="199"/>
                    </a:lnTo>
                    <a:lnTo>
                      <a:pt x="901" y="192"/>
                    </a:lnTo>
                    <a:lnTo>
                      <a:pt x="894" y="185"/>
                    </a:lnTo>
                    <a:lnTo>
                      <a:pt x="894" y="185"/>
                    </a:lnTo>
                    <a:lnTo>
                      <a:pt x="894" y="185"/>
                    </a:lnTo>
                    <a:lnTo>
                      <a:pt x="894" y="185"/>
                    </a:lnTo>
                    <a:lnTo>
                      <a:pt x="894" y="185"/>
                    </a:lnTo>
                    <a:lnTo>
                      <a:pt x="894" y="185"/>
                    </a:lnTo>
                    <a:lnTo>
                      <a:pt x="894" y="185"/>
                    </a:lnTo>
                    <a:lnTo>
                      <a:pt x="894" y="185"/>
                    </a:lnTo>
                    <a:lnTo>
                      <a:pt x="887" y="178"/>
                    </a:lnTo>
                    <a:lnTo>
                      <a:pt x="887" y="178"/>
                    </a:lnTo>
                    <a:lnTo>
                      <a:pt x="887" y="178"/>
                    </a:lnTo>
                    <a:lnTo>
                      <a:pt x="887" y="178"/>
                    </a:lnTo>
                    <a:lnTo>
                      <a:pt x="887" y="178"/>
                    </a:lnTo>
                    <a:lnTo>
                      <a:pt x="887" y="171"/>
                    </a:lnTo>
                    <a:lnTo>
                      <a:pt x="887" y="171"/>
                    </a:lnTo>
                    <a:lnTo>
                      <a:pt x="887" y="171"/>
                    </a:lnTo>
                    <a:lnTo>
                      <a:pt x="894" y="171"/>
                    </a:lnTo>
                    <a:lnTo>
                      <a:pt x="894" y="164"/>
                    </a:lnTo>
                    <a:lnTo>
                      <a:pt x="894" y="164"/>
                    </a:lnTo>
                    <a:lnTo>
                      <a:pt x="901" y="156"/>
                    </a:lnTo>
                    <a:lnTo>
                      <a:pt x="901" y="156"/>
                    </a:lnTo>
                    <a:lnTo>
                      <a:pt x="901" y="156"/>
                    </a:lnTo>
                    <a:lnTo>
                      <a:pt x="901" y="156"/>
                    </a:lnTo>
                    <a:lnTo>
                      <a:pt x="909" y="149"/>
                    </a:lnTo>
                    <a:lnTo>
                      <a:pt x="909" y="156"/>
                    </a:lnTo>
                    <a:lnTo>
                      <a:pt x="909" y="156"/>
                    </a:lnTo>
                    <a:lnTo>
                      <a:pt x="909" y="156"/>
                    </a:lnTo>
                    <a:lnTo>
                      <a:pt x="909" y="156"/>
                    </a:lnTo>
                    <a:lnTo>
                      <a:pt x="916" y="156"/>
                    </a:lnTo>
                    <a:lnTo>
                      <a:pt x="923" y="149"/>
                    </a:lnTo>
                    <a:lnTo>
                      <a:pt x="923" y="149"/>
                    </a:lnTo>
                    <a:lnTo>
                      <a:pt x="923" y="149"/>
                    </a:lnTo>
                    <a:lnTo>
                      <a:pt x="930" y="142"/>
                    </a:lnTo>
                    <a:lnTo>
                      <a:pt x="930" y="142"/>
                    </a:lnTo>
                    <a:lnTo>
                      <a:pt x="937" y="142"/>
                    </a:lnTo>
                    <a:lnTo>
                      <a:pt x="937" y="142"/>
                    </a:lnTo>
                    <a:lnTo>
                      <a:pt x="937" y="142"/>
                    </a:lnTo>
                    <a:lnTo>
                      <a:pt x="937" y="135"/>
                    </a:lnTo>
                    <a:lnTo>
                      <a:pt x="937" y="135"/>
                    </a:lnTo>
                    <a:lnTo>
                      <a:pt x="937" y="135"/>
                    </a:lnTo>
                    <a:lnTo>
                      <a:pt x="937" y="135"/>
                    </a:lnTo>
                    <a:lnTo>
                      <a:pt x="937" y="135"/>
                    </a:lnTo>
                    <a:lnTo>
                      <a:pt x="937" y="135"/>
                    </a:lnTo>
                    <a:lnTo>
                      <a:pt x="937" y="135"/>
                    </a:lnTo>
                    <a:lnTo>
                      <a:pt x="937" y="135"/>
                    </a:lnTo>
                    <a:lnTo>
                      <a:pt x="937" y="135"/>
                    </a:lnTo>
                    <a:lnTo>
                      <a:pt x="937" y="135"/>
                    </a:lnTo>
                    <a:lnTo>
                      <a:pt x="937" y="135"/>
                    </a:lnTo>
                    <a:lnTo>
                      <a:pt x="930" y="135"/>
                    </a:lnTo>
                    <a:lnTo>
                      <a:pt x="930" y="135"/>
                    </a:lnTo>
                    <a:lnTo>
                      <a:pt x="930" y="128"/>
                    </a:lnTo>
                    <a:lnTo>
                      <a:pt x="930" y="128"/>
                    </a:lnTo>
                    <a:lnTo>
                      <a:pt x="930" y="128"/>
                    </a:lnTo>
                    <a:lnTo>
                      <a:pt x="930" y="121"/>
                    </a:lnTo>
                    <a:lnTo>
                      <a:pt x="930" y="121"/>
                    </a:lnTo>
                    <a:lnTo>
                      <a:pt x="923" y="121"/>
                    </a:lnTo>
                    <a:lnTo>
                      <a:pt x="923" y="121"/>
                    </a:lnTo>
                    <a:lnTo>
                      <a:pt x="923" y="121"/>
                    </a:lnTo>
                    <a:lnTo>
                      <a:pt x="923" y="121"/>
                    </a:lnTo>
                    <a:lnTo>
                      <a:pt x="930" y="121"/>
                    </a:lnTo>
                    <a:lnTo>
                      <a:pt x="930" y="114"/>
                    </a:lnTo>
                    <a:lnTo>
                      <a:pt x="930" y="114"/>
                    </a:lnTo>
                    <a:lnTo>
                      <a:pt x="930" y="114"/>
                    </a:lnTo>
                    <a:lnTo>
                      <a:pt x="930" y="114"/>
                    </a:lnTo>
                    <a:lnTo>
                      <a:pt x="930" y="121"/>
                    </a:lnTo>
                    <a:lnTo>
                      <a:pt x="937" y="121"/>
                    </a:lnTo>
                    <a:lnTo>
                      <a:pt x="937" y="121"/>
                    </a:lnTo>
                    <a:lnTo>
                      <a:pt x="937" y="121"/>
                    </a:lnTo>
                    <a:lnTo>
                      <a:pt x="944" y="121"/>
                    </a:lnTo>
                    <a:lnTo>
                      <a:pt x="944" y="121"/>
                    </a:lnTo>
                    <a:lnTo>
                      <a:pt x="944" y="121"/>
                    </a:lnTo>
                    <a:lnTo>
                      <a:pt x="944" y="121"/>
                    </a:lnTo>
                    <a:lnTo>
                      <a:pt x="944" y="121"/>
                    </a:lnTo>
                    <a:lnTo>
                      <a:pt x="944" y="121"/>
                    </a:lnTo>
                    <a:lnTo>
                      <a:pt x="944" y="114"/>
                    </a:lnTo>
                    <a:lnTo>
                      <a:pt x="944" y="114"/>
                    </a:lnTo>
                    <a:lnTo>
                      <a:pt x="944" y="114"/>
                    </a:lnTo>
                    <a:lnTo>
                      <a:pt x="944" y="114"/>
                    </a:lnTo>
                    <a:lnTo>
                      <a:pt x="951" y="114"/>
                    </a:lnTo>
                    <a:lnTo>
                      <a:pt x="951" y="114"/>
                    </a:lnTo>
                    <a:lnTo>
                      <a:pt x="951" y="114"/>
                    </a:lnTo>
                    <a:lnTo>
                      <a:pt x="944" y="107"/>
                    </a:lnTo>
                    <a:lnTo>
                      <a:pt x="944" y="107"/>
                    </a:lnTo>
                    <a:lnTo>
                      <a:pt x="951" y="107"/>
                    </a:lnTo>
                    <a:lnTo>
                      <a:pt x="951" y="107"/>
                    </a:lnTo>
                    <a:lnTo>
                      <a:pt x="951" y="107"/>
                    </a:lnTo>
                    <a:lnTo>
                      <a:pt x="951" y="107"/>
                    </a:lnTo>
                    <a:lnTo>
                      <a:pt x="951" y="114"/>
                    </a:lnTo>
                    <a:lnTo>
                      <a:pt x="951" y="114"/>
                    </a:lnTo>
                    <a:lnTo>
                      <a:pt x="951" y="114"/>
                    </a:lnTo>
                    <a:lnTo>
                      <a:pt x="951" y="114"/>
                    </a:lnTo>
                    <a:lnTo>
                      <a:pt x="958" y="114"/>
                    </a:lnTo>
                    <a:lnTo>
                      <a:pt x="958" y="114"/>
                    </a:lnTo>
                    <a:lnTo>
                      <a:pt x="958" y="114"/>
                    </a:lnTo>
                    <a:lnTo>
                      <a:pt x="958" y="107"/>
                    </a:lnTo>
                    <a:lnTo>
                      <a:pt x="958" y="107"/>
                    </a:lnTo>
                    <a:lnTo>
                      <a:pt x="958" y="107"/>
                    </a:lnTo>
                    <a:lnTo>
                      <a:pt x="965" y="107"/>
                    </a:lnTo>
                    <a:lnTo>
                      <a:pt x="965" y="107"/>
                    </a:lnTo>
                    <a:lnTo>
                      <a:pt x="965" y="100"/>
                    </a:lnTo>
                    <a:lnTo>
                      <a:pt x="965" y="100"/>
                    </a:lnTo>
                    <a:lnTo>
                      <a:pt x="965" y="100"/>
                    </a:lnTo>
                    <a:lnTo>
                      <a:pt x="965" y="100"/>
                    </a:lnTo>
                    <a:lnTo>
                      <a:pt x="965" y="100"/>
                    </a:lnTo>
                    <a:lnTo>
                      <a:pt x="965" y="100"/>
                    </a:lnTo>
                    <a:lnTo>
                      <a:pt x="972" y="100"/>
                    </a:lnTo>
                    <a:lnTo>
                      <a:pt x="972" y="107"/>
                    </a:lnTo>
                    <a:lnTo>
                      <a:pt x="972" y="107"/>
                    </a:lnTo>
                    <a:lnTo>
                      <a:pt x="980" y="114"/>
                    </a:lnTo>
                    <a:lnTo>
                      <a:pt x="980" y="114"/>
                    </a:lnTo>
                    <a:lnTo>
                      <a:pt x="980" y="114"/>
                    </a:lnTo>
                    <a:lnTo>
                      <a:pt x="987" y="121"/>
                    </a:lnTo>
                    <a:lnTo>
                      <a:pt x="987" y="128"/>
                    </a:lnTo>
                    <a:lnTo>
                      <a:pt x="987" y="128"/>
                    </a:lnTo>
                    <a:lnTo>
                      <a:pt x="987" y="128"/>
                    </a:lnTo>
                    <a:lnTo>
                      <a:pt x="987" y="128"/>
                    </a:lnTo>
                    <a:lnTo>
                      <a:pt x="987" y="121"/>
                    </a:lnTo>
                    <a:lnTo>
                      <a:pt x="987" y="121"/>
                    </a:lnTo>
                    <a:lnTo>
                      <a:pt x="987" y="121"/>
                    </a:lnTo>
                    <a:lnTo>
                      <a:pt x="987" y="121"/>
                    </a:lnTo>
                    <a:lnTo>
                      <a:pt x="987" y="121"/>
                    </a:lnTo>
                    <a:lnTo>
                      <a:pt x="987" y="121"/>
                    </a:lnTo>
                    <a:lnTo>
                      <a:pt x="987" y="114"/>
                    </a:lnTo>
                    <a:lnTo>
                      <a:pt x="987" y="114"/>
                    </a:lnTo>
                    <a:lnTo>
                      <a:pt x="987" y="114"/>
                    </a:lnTo>
                    <a:lnTo>
                      <a:pt x="987" y="114"/>
                    </a:lnTo>
                    <a:lnTo>
                      <a:pt x="994" y="114"/>
                    </a:lnTo>
                    <a:lnTo>
                      <a:pt x="994" y="114"/>
                    </a:lnTo>
                    <a:lnTo>
                      <a:pt x="994" y="114"/>
                    </a:lnTo>
                    <a:lnTo>
                      <a:pt x="994" y="114"/>
                    </a:lnTo>
                    <a:lnTo>
                      <a:pt x="1001" y="121"/>
                    </a:lnTo>
                    <a:lnTo>
                      <a:pt x="1001" y="128"/>
                    </a:lnTo>
                    <a:lnTo>
                      <a:pt x="1001" y="128"/>
                    </a:lnTo>
                    <a:lnTo>
                      <a:pt x="1001" y="128"/>
                    </a:lnTo>
                    <a:lnTo>
                      <a:pt x="1001" y="135"/>
                    </a:lnTo>
                    <a:lnTo>
                      <a:pt x="1001" y="135"/>
                    </a:lnTo>
                    <a:lnTo>
                      <a:pt x="1008" y="135"/>
                    </a:lnTo>
                    <a:lnTo>
                      <a:pt x="1008" y="135"/>
                    </a:lnTo>
                    <a:lnTo>
                      <a:pt x="1008" y="142"/>
                    </a:lnTo>
                    <a:lnTo>
                      <a:pt x="1008" y="142"/>
                    </a:lnTo>
                    <a:lnTo>
                      <a:pt x="1008" y="142"/>
                    </a:lnTo>
                    <a:lnTo>
                      <a:pt x="1008" y="142"/>
                    </a:lnTo>
                    <a:lnTo>
                      <a:pt x="1008" y="142"/>
                    </a:lnTo>
                    <a:lnTo>
                      <a:pt x="1008" y="142"/>
                    </a:lnTo>
                    <a:lnTo>
                      <a:pt x="1008" y="142"/>
                    </a:lnTo>
                    <a:lnTo>
                      <a:pt x="1008" y="142"/>
                    </a:lnTo>
                    <a:lnTo>
                      <a:pt x="1015" y="142"/>
                    </a:lnTo>
                    <a:lnTo>
                      <a:pt x="1022" y="142"/>
                    </a:lnTo>
                    <a:lnTo>
                      <a:pt x="1029" y="142"/>
                    </a:lnTo>
                    <a:lnTo>
                      <a:pt x="1036" y="142"/>
                    </a:lnTo>
                    <a:lnTo>
                      <a:pt x="1036" y="142"/>
                    </a:lnTo>
                    <a:lnTo>
                      <a:pt x="1036" y="142"/>
                    </a:lnTo>
                    <a:lnTo>
                      <a:pt x="1036" y="142"/>
                    </a:lnTo>
                    <a:lnTo>
                      <a:pt x="1043" y="142"/>
                    </a:lnTo>
                    <a:lnTo>
                      <a:pt x="1043" y="142"/>
                    </a:lnTo>
                    <a:lnTo>
                      <a:pt x="1043" y="149"/>
                    </a:lnTo>
                    <a:lnTo>
                      <a:pt x="1051" y="149"/>
                    </a:lnTo>
                    <a:lnTo>
                      <a:pt x="1051" y="149"/>
                    </a:lnTo>
                    <a:lnTo>
                      <a:pt x="1058" y="142"/>
                    </a:lnTo>
                    <a:lnTo>
                      <a:pt x="1072" y="142"/>
                    </a:lnTo>
                    <a:lnTo>
                      <a:pt x="1072" y="142"/>
                    </a:lnTo>
                    <a:lnTo>
                      <a:pt x="1072" y="142"/>
                    </a:lnTo>
                    <a:lnTo>
                      <a:pt x="1079" y="135"/>
                    </a:lnTo>
                    <a:lnTo>
                      <a:pt x="1079" y="135"/>
                    </a:lnTo>
                    <a:lnTo>
                      <a:pt x="1079" y="128"/>
                    </a:lnTo>
                    <a:lnTo>
                      <a:pt x="1079" y="128"/>
                    </a:lnTo>
                    <a:lnTo>
                      <a:pt x="1079" y="128"/>
                    </a:lnTo>
                    <a:lnTo>
                      <a:pt x="1079" y="128"/>
                    </a:lnTo>
                    <a:lnTo>
                      <a:pt x="1086" y="128"/>
                    </a:lnTo>
                    <a:lnTo>
                      <a:pt x="1086" y="128"/>
                    </a:lnTo>
                    <a:lnTo>
                      <a:pt x="1086" y="121"/>
                    </a:lnTo>
                    <a:lnTo>
                      <a:pt x="1093" y="121"/>
                    </a:lnTo>
                    <a:lnTo>
                      <a:pt x="1093" y="121"/>
                    </a:lnTo>
                    <a:lnTo>
                      <a:pt x="1086" y="121"/>
                    </a:lnTo>
                    <a:lnTo>
                      <a:pt x="1086" y="121"/>
                    </a:lnTo>
                    <a:lnTo>
                      <a:pt x="1086" y="114"/>
                    </a:lnTo>
                    <a:lnTo>
                      <a:pt x="1086" y="114"/>
                    </a:lnTo>
                    <a:lnTo>
                      <a:pt x="1086" y="114"/>
                    </a:lnTo>
                    <a:lnTo>
                      <a:pt x="1093" y="114"/>
                    </a:lnTo>
                    <a:lnTo>
                      <a:pt x="1093" y="114"/>
                    </a:lnTo>
                    <a:lnTo>
                      <a:pt x="1093" y="114"/>
                    </a:lnTo>
                    <a:lnTo>
                      <a:pt x="1086" y="114"/>
                    </a:lnTo>
                    <a:lnTo>
                      <a:pt x="1086" y="107"/>
                    </a:lnTo>
                    <a:lnTo>
                      <a:pt x="1086" y="107"/>
                    </a:lnTo>
                    <a:lnTo>
                      <a:pt x="1093" y="107"/>
                    </a:lnTo>
                    <a:lnTo>
                      <a:pt x="1093" y="107"/>
                    </a:lnTo>
                    <a:lnTo>
                      <a:pt x="1093" y="107"/>
                    </a:lnTo>
                    <a:lnTo>
                      <a:pt x="1093" y="107"/>
                    </a:lnTo>
                    <a:lnTo>
                      <a:pt x="1100" y="107"/>
                    </a:lnTo>
                    <a:lnTo>
                      <a:pt x="1100" y="107"/>
                    </a:lnTo>
                    <a:lnTo>
                      <a:pt x="1100" y="100"/>
                    </a:lnTo>
                    <a:lnTo>
                      <a:pt x="1114" y="100"/>
                    </a:lnTo>
                    <a:lnTo>
                      <a:pt x="1114" y="100"/>
                    </a:lnTo>
                    <a:lnTo>
                      <a:pt x="1114" y="100"/>
                    </a:lnTo>
                    <a:lnTo>
                      <a:pt x="1114" y="100"/>
                    </a:lnTo>
                    <a:lnTo>
                      <a:pt x="1114" y="100"/>
                    </a:lnTo>
                    <a:lnTo>
                      <a:pt x="1122" y="100"/>
                    </a:lnTo>
                    <a:lnTo>
                      <a:pt x="1122" y="93"/>
                    </a:lnTo>
                    <a:lnTo>
                      <a:pt x="1122" y="93"/>
                    </a:lnTo>
                    <a:lnTo>
                      <a:pt x="1122" y="93"/>
                    </a:lnTo>
                    <a:lnTo>
                      <a:pt x="1122" y="93"/>
                    </a:lnTo>
                    <a:lnTo>
                      <a:pt x="1122" y="93"/>
                    </a:lnTo>
                    <a:lnTo>
                      <a:pt x="1122" y="93"/>
                    </a:lnTo>
                    <a:lnTo>
                      <a:pt x="1122" y="85"/>
                    </a:lnTo>
                    <a:lnTo>
                      <a:pt x="1122" y="85"/>
                    </a:lnTo>
                    <a:lnTo>
                      <a:pt x="1122" y="85"/>
                    </a:lnTo>
                    <a:lnTo>
                      <a:pt x="1129" y="85"/>
                    </a:lnTo>
                    <a:lnTo>
                      <a:pt x="1129" y="85"/>
                    </a:lnTo>
                    <a:lnTo>
                      <a:pt x="1129" y="85"/>
                    </a:lnTo>
                    <a:lnTo>
                      <a:pt x="1129" y="93"/>
                    </a:lnTo>
                    <a:lnTo>
                      <a:pt x="1129" y="93"/>
                    </a:lnTo>
                    <a:lnTo>
                      <a:pt x="1129" y="93"/>
                    </a:lnTo>
                    <a:lnTo>
                      <a:pt x="1129" y="93"/>
                    </a:lnTo>
                    <a:lnTo>
                      <a:pt x="1129" y="93"/>
                    </a:lnTo>
                    <a:lnTo>
                      <a:pt x="1129" y="93"/>
                    </a:lnTo>
                    <a:lnTo>
                      <a:pt x="1129" y="93"/>
                    </a:lnTo>
                    <a:lnTo>
                      <a:pt x="1129" y="93"/>
                    </a:lnTo>
                    <a:lnTo>
                      <a:pt x="1129" y="93"/>
                    </a:lnTo>
                    <a:lnTo>
                      <a:pt x="1122" y="93"/>
                    </a:lnTo>
                    <a:lnTo>
                      <a:pt x="1122" y="100"/>
                    </a:lnTo>
                    <a:lnTo>
                      <a:pt x="1122" y="100"/>
                    </a:lnTo>
                    <a:lnTo>
                      <a:pt x="1129" y="100"/>
                    </a:lnTo>
                    <a:lnTo>
                      <a:pt x="1129" y="100"/>
                    </a:lnTo>
                    <a:lnTo>
                      <a:pt x="1129" y="100"/>
                    </a:lnTo>
                    <a:lnTo>
                      <a:pt x="1129" y="100"/>
                    </a:lnTo>
                    <a:lnTo>
                      <a:pt x="1129" y="100"/>
                    </a:lnTo>
                    <a:lnTo>
                      <a:pt x="1129" y="100"/>
                    </a:lnTo>
                    <a:close/>
                    <a:moveTo>
                      <a:pt x="795" y="462"/>
                    </a:moveTo>
                    <a:lnTo>
                      <a:pt x="795" y="462"/>
                    </a:lnTo>
                    <a:lnTo>
                      <a:pt x="788" y="462"/>
                    </a:lnTo>
                    <a:lnTo>
                      <a:pt x="788" y="462"/>
                    </a:lnTo>
                    <a:lnTo>
                      <a:pt x="788" y="462"/>
                    </a:lnTo>
                    <a:lnTo>
                      <a:pt x="788" y="455"/>
                    </a:lnTo>
                    <a:lnTo>
                      <a:pt x="788" y="455"/>
                    </a:lnTo>
                    <a:lnTo>
                      <a:pt x="781" y="455"/>
                    </a:lnTo>
                    <a:lnTo>
                      <a:pt x="781" y="462"/>
                    </a:lnTo>
                    <a:lnTo>
                      <a:pt x="781" y="462"/>
                    </a:lnTo>
                    <a:lnTo>
                      <a:pt x="781" y="462"/>
                    </a:lnTo>
                    <a:lnTo>
                      <a:pt x="781" y="462"/>
                    </a:lnTo>
                    <a:lnTo>
                      <a:pt x="781" y="462"/>
                    </a:lnTo>
                    <a:lnTo>
                      <a:pt x="781" y="462"/>
                    </a:lnTo>
                    <a:lnTo>
                      <a:pt x="781" y="462"/>
                    </a:lnTo>
                    <a:lnTo>
                      <a:pt x="788" y="462"/>
                    </a:lnTo>
                    <a:lnTo>
                      <a:pt x="788" y="462"/>
                    </a:lnTo>
                    <a:lnTo>
                      <a:pt x="795" y="469"/>
                    </a:lnTo>
                    <a:lnTo>
                      <a:pt x="795" y="462"/>
                    </a:lnTo>
                    <a:lnTo>
                      <a:pt x="795" y="462"/>
                    </a:lnTo>
                    <a:lnTo>
                      <a:pt x="795" y="462"/>
                    </a:lnTo>
                    <a:lnTo>
                      <a:pt x="795" y="462"/>
                    </a:lnTo>
                    <a:lnTo>
                      <a:pt x="795" y="462"/>
                    </a:lnTo>
                    <a:lnTo>
                      <a:pt x="795" y="462"/>
                    </a:lnTo>
                    <a:lnTo>
                      <a:pt x="795" y="462"/>
                    </a:lnTo>
                    <a:lnTo>
                      <a:pt x="795" y="462"/>
                    </a:lnTo>
                    <a:lnTo>
                      <a:pt x="795" y="462"/>
                    </a:lnTo>
                    <a:lnTo>
                      <a:pt x="795" y="455"/>
                    </a:lnTo>
                    <a:lnTo>
                      <a:pt x="795" y="455"/>
                    </a:lnTo>
                    <a:lnTo>
                      <a:pt x="795" y="455"/>
                    </a:lnTo>
                    <a:lnTo>
                      <a:pt x="795" y="455"/>
                    </a:lnTo>
                    <a:lnTo>
                      <a:pt x="795" y="462"/>
                    </a:lnTo>
                    <a:lnTo>
                      <a:pt x="795" y="462"/>
                    </a:lnTo>
                    <a:lnTo>
                      <a:pt x="795" y="462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7" name="Freeform 25"/>
              <p:cNvSpPr>
                <a:spLocks/>
              </p:cNvSpPr>
              <p:nvPr/>
            </p:nvSpPr>
            <p:spPr bwMode="auto">
              <a:xfrm>
                <a:off x="3712" y="2991"/>
                <a:ext cx="22" cy="14"/>
              </a:xfrm>
              <a:custGeom>
                <a:avLst/>
                <a:gdLst>
                  <a:gd name="T0" fmla="*/ 0 w 22"/>
                  <a:gd name="T1" fmla="*/ 0 h 14"/>
                  <a:gd name="T2" fmla="*/ 0 w 22"/>
                  <a:gd name="T3" fmla="*/ 0 h 14"/>
                  <a:gd name="T4" fmla="*/ 0 w 22"/>
                  <a:gd name="T5" fmla="*/ 0 h 14"/>
                  <a:gd name="T6" fmla="*/ 7 w 22"/>
                  <a:gd name="T7" fmla="*/ 0 h 14"/>
                  <a:gd name="T8" fmla="*/ 14 w 22"/>
                  <a:gd name="T9" fmla="*/ 7 h 14"/>
                  <a:gd name="T10" fmla="*/ 14 w 22"/>
                  <a:gd name="T11" fmla="*/ 7 h 14"/>
                  <a:gd name="T12" fmla="*/ 22 w 22"/>
                  <a:gd name="T13" fmla="*/ 7 h 14"/>
                  <a:gd name="T14" fmla="*/ 14 w 22"/>
                  <a:gd name="T15" fmla="*/ 14 h 14"/>
                  <a:gd name="T16" fmla="*/ 14 w 22"/>
                  <a:gd name="T17" fmla="*/ 14 h 14"/>
                  <a:gd name="T18" fmla="*/ 14 w 22"/>
                  <a:gd name="T19" fmla="*/ 14 h 14"/>
                  <a:gd name="T20" fmla="*/ 7 w 22"/>
                  <a:gd name="T21" fmla="*/ 14 h 14"/>
                  <a:gd name="T22" fmla="*/ 0 w 22"/>
                  <a:gd name="T23" fmla="*/ 7 h 14"/>
                  <a:gd name="T24" fmla="*/ 0 w 22"/>
                  <a:gd name="T2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1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22" y="7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7" y="14"/>
                    </a:lnTo>
                    <a:lnTo>
                      <a:pt x="0" y="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8" name="Freeform 26"/>
              <p:cNvSpPr>
                <a:spLocks/>
              </p:cNvSpPr>
              <p:nvPr/>
            </p:nvSpPr>
            <p:spPr bwMode="auto">
              <a:xfrm>
                <a:off x="3712" y="2991"/>
                <a:ext cx="22" cy="14"/>
              </a:xfrm>
              <a:custGeom>
                <a:avLst/>
                <a:gdLst>
                  <a:gd name="T0" fmla="*/ 0 w 22"/>
                  <a:gd name="T1" fmla="*/ 0 h 14"/>
                  <a:gd name="T2" fmla="*/ 0 w 22"/>
                  <a:gd name="T3" fmla="*/ 0 h 14"/>
                  <a:gd name="T4" fmla="*/ 0 w 22"/>
                  <a:gd name="T5" fmla="*/ 0 h 14"/>
                  <a:gd name="T6" fmla="*/ 7 w 22"/>
                  <a:gd name="T7" fmla="*/ 0 h 14"/>
                  <a:gd name="T8" fmla="*/ 14 w 22"/>
                  <a:gd name="T9" fmla="*/ 7 h 14"/>
                  <a:gd name="T10" fmla="*/ 14 w 22"/>
                  <a:gd name="T11" fmla="*/ 7 h 14"/>
                  <a:gd name="T12" fmla="*/ 22 w 22"/>
                  <a:gd name="T13" fmla="*/ 7 h 14"/>
                  <a:gd name="T14" fmla="*/ 14 w 22"/>
                  <a:gd name="T15" fmla="*/ 14 h 14"/>
                  <a:gd name="T16" fmla="*/ 14 w 22"/>
                  <a:gd name="T17" fmla="*/ 14 h 14"/>
                  <a:gd name="T18" fmla="*/ 14 w 22"/>
                  <a:gd name="T19" fmla="*/ 14 h 14"/>
                  <a:gd name="T20" fmla="*/ 7 w 22"/>
                  <a:gd name="T21" fmla="*/ 14 h 14"/>
                  <a:gd name="T22" fmla="*/ 0 w 22"/>
                  <a:gd name="T23" fmla="*/ 7 h 14"/>
                  <a:gd name="T24" fmla="*/ 0 w 22"/>
                  <a:gd name="T2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1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22" y="7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7" y="14"/>
                    </a:lnTo>
                    <a:lnTo>
                      <a:pt x="0" y="7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9" name="Freeform 27"/>
              <p:cNvSpPr>
                <a:spLocks/>
              </p:cNvSpPr>
              <p:nvPr/>
            </p:nvSpPr>
            <p:spPr bwMode="auto">
              <a:xfrm>
                <a:off x="2846" y="3459"/>
                <a:ext cx="376" cy="674"/>
              </a:xfrm>
              <a:custGeom>
                <a:avLst/>
                <a:gdLst>
                  <a:gd name="T0" fmla="*/ 263 w 376"/>
                  <a:gd name="T1" fmla="*/ 596 h 674"/>
                  <a:gd name="T2" fmla="*/ 249 w 376"/>
                  <a:gd name="T3" fmla="*/ 575 h 674"/>
                  <a:gd name="T4" fmla="*/ 263 w 376"/>
                  <a:gd name="T5" fmla="*/ 568 h 674"/>
                  <a:gd name="T6" fmla="*/ 249 w 376"/>
                  <a:gd name="T7" fmla="*/ 568 h 674"/>
                  <a:gd name="T8" fmla="*/ 234 w 376"/>
                  <a:gd name="T9" fmla="*/ 547 h 674"/>
                  <a:gd name="T10" fmla="*/ 234 w 376"/>
                  <a:gd name="T11" fmla="*/ 532 h 674"/>
                  <a:gd name="T12" fmla="*/ 206 w 376"/>
                  <a:gd name="T13" fmla="*/ 433 h 674"/>
                  <a:gd name="T14" fmla="*/ 206 w 376"/>
                  <a:gd name="T15" fmla="*/ 433 h 674"/>
                  <a:gd name="T16" fmla="*/ 220 w 376"/>
                  <a:gd name="T17" fmla="*/ 462 h 674"/>
                  <a:gd name="T18" fmla="*/ 220 w 376"/>
                  <a:gd name="T19" fmla="*/ 447 h 674"/>
                  <a:gd name="T20" fmla="*/ 234 w 376"/>
                  <a:gd name="T21" fmla="*/ 490 h 674"/>
                  <a:gd name="T22" fmla="*/ 227 w 376"/>
                  <a:gd name="T23" fmla="*/ 462 h 674"/>
                  <a:gd name="T24" fmla="*/ 220 w 376"/>
                  <a:gd name="T25" fmla="*/ 440 h 674"/>
                  <a:gd name="T26" fmla="*/ 199 w 376"/>
                  <a:gd name="T27" fmla="*/ 398 h 674"/>
                  <a:gd name="T28" fmla="*/ 192 w 376"/>
                  <a:gd name="T29" fmla="*/ 398 h 674"/>
                  <a:gd name="T30" fmla="*/ 199 w 376"/>
                  <a:gd name="T31" fmla="*/ 376 h 674"/>
                  <a:gd name="T32" fmla="*/ 178 w 376"/>
                  <a:gd name="T33" fmla="*/ 348 h 674"/>
                  <a:gd name="T34" fmla="*/ 156 w 376"/>
                  <a:gd name="T35" fmla="*/ 298 h 674"/>
                  <a:gd name="T36" fmla="*/ 128 w 376"/>
                  <a:gd name="T37" fmla="*/ 213 h 674"/>
                  <a:gd name="T38" fmla="*/ 107 w 376"/>
                  <a:gd name="T39" fmla="*/ 185 h 674"/>
                  <a:gd name="T40" fmla="*/ 78 w 376"/>
                  <a:gd name="T41" fmla="*/ 128 h 674"/>
                  <a:gd name="T42" fmla="*/ 57 w 376"/>
                  <a:gd name="T43" fmla="*/ 114 h 674"/>
                  <a:gd name="T44" fmla="*/ 71 w 376"/>
                  <a:gd name="T45" fmla="*/ 99 h 674"/>
                  <a:gd name="T46" fmla="*/ 57 w 376"/>
                  <a:gd name="T47" fmla="*/ 99 h 674"/>
                  <a:gd name="T48" fmla="*/ 43 w 376"/>
                  <a:gd name="T49" fmla="*/ 107 h 674"/>
                  <a:gd name="T50" fmla="*/ 29 w 376"/>
                  <a:gd name="T51" fmla="*/ 71 h 674"/>
                  <a:gd name="T52" fmla="*/ 0 w 376"/>
                  <a:gd name="T53" fmla="*/ 0 h 674"/>
                  <a:gd name="T54" fmla="*/ 14 w 376"/>
                  <a:gd name="T55" fmla="*/ 7 h 674"/>
                  <a:gd name="T56" fmla="*/ 21 w 376"/>
                  <a:gd name="T57" fmla="*/ 14 h 674"/>
                  <a:gd name="T58" fmla="*/ 36 w 376"/>
                  <a:gd name="T59" fmla="*/ 14 h 674"/>
                  <a:gd name="T60" fmla="*/ 43 w 376"/>
                  <a:gd name="T61" fmla="*/ 28 h 674"/>
                  <a:gd name="T62" fmla="*/ 57 w 376"/>
                  <a:gd name="T63" fmla="*/ 36 h 674"/>
                  <a:gd name="T64" fmla="*/ 64 w 376"/>
                  <a:gd name="T65" fmla="*/ 43 h 674"/>
                  <a:gd name="T66" fmla="*/ 71 w 376"/>
                  <a:gd name="T67" fmla="*/ 50 h 674"/>
                  <a:gd name="T68" fmla="*/ 78 w 376"/>
                  <a:gd name="T69" fmla="*/ 71 h 674"/>
                  <a:gd name="T70" fmla="*/ 114 w 376"/>
                  <a:gd name="T71" fmla="*/ 99 h 674"/>
                  <a:gd name="T72" fmla="*/ 128 w 376"/>
                  <a:gd name="T73" fmla="*/ 107 h 674"/>
                  <a:gd name="T74" fmla="*/ 149 w 376"/>
                  <a:gd name="T75" fmla="*/ 121 h 674"/>
                  <a:gd name="T76" fmla="*/ 185 w 376"/>
                  <a:gd name="T77" fmla="*/ 135 h 674"/>
                  <a:gd name="T78" fmla="*/ 199 w 376"/>
                  <a:gd name="T79" fmla="*/ 142 h 674"/>
                  <a:gd name="T80" fmla="*/ 220 w 376"/>
                  <a:gd name="T81" fmla="*/ 156 h 674"/>
                  <a:gd name="T82" fmla="*/ 227 w 376"/>
                  <a:gd name="T83" fmla="*/ 170 h 674"/>
                  <a:gd name="T84" fmla="*/ 199 w 376"/>
                  <a:gd name="T85" fmla="*/ 178 h 674"/>
                  <a:gd name="T86" fmla="*/ 199 w 376"/>
                  <a:gd name="T87" fmla="*/ 192 h 674"/>
                  <a:gd name="T88" fmla="*/ 242 w 376"/>
                  <a:gd name="T89" fmla="*/ 213 h 674"/>
                  <a:gd name="T90" fmla="*/ 242 w 376"/>
                  <a:gd name="T91" fmla="*/ 234 h 674"/>
                  <a:gd name="T92" fmla="*/ 270 w 376"/>
                  <a:gd name="T93" fmla="*/ 234 h 674"/>
                  <a:gd name="T94" fmla="*/ 277 w 376"/>
                  <a:gd name="T95" fmla="*/ 256 h 674"/>
                  <a:gd name="T96" fmla="*/ 263 w 376"/>
                  <a:gd name="T97" fmla="*/ 263 h 674"/>
                  <a:gd name="T98" fmla="*/ 291 w 376"/>
                  <a:gd name="T99" fmla="*/ 291 h 674"/>
                  <a:gd name="T100" fmla="*/ 298 w 376"/>
                  <a:gd name="T101" fmla="*/ 312 h 674"/>
                  <a:gd name="T102" fmla="*/ 284 w 376"/>
                  <a:gd name="T103" fmla="*/ 348 h 674"/>
                  <a:gd name="T104" fmla="*/ 298 w 376"/>
                  <a:gd name="T105" fmla="*/ 376 h 674"/>
                  <a:gd name="T106" fmla="*/ 334 w 376"/>
                  <a:gd name="T107" fmla="*/ 369 h 674"/>
                  <a:gd name="T108" fmla="*/ 355 w 376"/>
                  <a:gd name="T109" fmla="*/ 383 h 674"/>
                  <a:gd name="T110" fmla="*/ 348 w 376"/>
                  <a:gd name="T111" fmla="*/ 440 h 674"/>
                  <a:gd name="T112" fmla="*/ 348 w 376"/>
                  <a:gd name="T113" fmla="*/ 476 h 674"/>
                  <a:gd name="T114" fmla="*/ 369 w 376"/>
                  <a:gd name="T115" fmla="*/ 483 h 674"/>
                  <a:gd name="T116" fmla="*/ 341 w 376"/>
                  <a:gd name="T117" fmla="*/ 568 h 674"/>
                  <a:gd name="T118" fmla="*/ 341 w 376"/>
                  <a:gd name="T119" fmla="*/ 611 h 674"/>
                  <a:gd name="T120" fmla="*/ 355 w 376"/>
                  <a:gd name="T121" fmla="*/ 632 h 674"/>
                  <a:gd name="T122" fmla="*/ 348 w 376"/>
                  <a:gd name="T123" fmla="*/ 646 h 674"/>
                  <a:gd name="T124" fmla="*/ 341 w 376"/>
                  <a:gd name="T125" fmla="*/ 667 h 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6" h="674">
                    <a:moveTo>
                      <a:pt x="334" y="674"/>
                    </a:moveTo>
                    <a:lnTo>
                      <a:pt x="334" y="674"/>
                    </a:lnTo>
                    <a:lnTo>
                      <a:pt x="334" y="674"/>
                    </a:lnTo>
                    <a:lnTo>
                      <a:pt x="334" y="674"/>
                    </a:lnTo>
                    <a:lnTo>
                      <a:pt x="313" y="660"/>
                    </a:lnTo>
                    <a:lnTo>
                      <a:pt x="313" y="653"/>
                    </a:lnTo>
                    <a:lnTo>
                      <a:pt x="298" y="639"/>
                    </a:lnTo>
                    <a:lnTo>
                      <a:pt x="291" y="632"/>
                    </a:lnTo>
                    <a:lnTo>
                      <a:pt x="291" y="625"/>
                    </a:lnTo>
                    <a:lnTo>
                      <a:pt x="277" y="611"/>
                    </a:lnTo>
                    <a:lnTo>
                      <a:pt x="277" y="611"/>
                    </a:lnTo>
                    <a:lnTo>
                      <a:pt x="270" y="603"/>
                    </a:lnTo>
                    <a:lnTo>
                      <a:pt x="263" y="596"/>
                    </a:lnTo>
                    <a:lnTo>
                      <a:pt x="263" y="596"/>
                    </a:lnTo>
                    <a:lnTo>
                      <a:pt x="249" y="582"/>
                    </a:lnTo>
                    <a:lnTo>
                      <a:pt x="249" y="582"/>
                    </a:lnTo>
                    <a:lnTo>
                      <a:pt x="249" y="575"/>
                    </a:lnTo>
                    <a:lnTo>
                      <a:pt x="249" y="575"/>
                    </a:lnTo>
                    <a:lnTo>
                      <a:pt x="249" y="582"/>
                    </a:lnTo>
                    <a:lnTo>
                      <a:pt x="256" y="582"/>
                    </a:lnTo>
                    <a:lnTo>
                      <a:pt x="256" y="582"/>
                    </a:lnTo>
                    <a:lnTo>
                      <a:pt x="256" y="575"/>
                    </a:lnTo>
                    <a:lnTo>
                      <a:pt x="256" y="575"/>
                    </a:lnTo>
                    <a:lnTo>
                      <a:pt x="256" y="575"/>
                    </a:lnTo>
                    <a:lnTo>
                      <a:pt x="256" y="575"/>
                    </a:lnTo>
                    <a:lnTo>
                      <a:pt x="249" y="575"/>
                    </a:lnTo>
                    <a:lnTo>
                      <a:pt x="256" y="575"/>
                    </a:lnTo>
                    <a:lnTo>
                      <a:pt x="256" y="575"/>
                    </a:lnTo>
                    <a:lnTo>
                      <a:pt x="256" y="568"/>
                    </a:lnTo>
                    <a:lnTo>
                      <a:pt x="256" y="568"/>
                    </a:lnTo>
                    <a:lnTo>
                      <a:pt x="263" y="568"/>
                    </a:lnTo>
                    <a:lnTo>
                      <a:pt x="263" y="568"/>
                    </a:lnTo>
                    <a:lnTo>
                      <a:pt x="263" y="568"/>
                    </a:lnTo>
                    <a:lnTo>
                      <a:pt x="263" y="568"/>
                    </a:lnTo>
                    <a:lnTo>
                      <a:pt x="263" y="568"/>
                    </a:lnTo>
                    <a:lnTo>
                      <a:pt x="263" y="568"/>
                    </a:lnTo>
                    <a:lnTo>
                      <a:pt x="263" y="568"/>
                    </a:lnTo>
                    <a:lnTo>
                      <a:pt x="263" y="568"/>
                    </a:lnTo>
                    <a:lnTo>
                      <a:pt x="263" y="568"/>
                    </a:lnTo>
                    <a:lnTo>
                      <a:pt x="263" y="568"/>
                    </a:lnTo>
                    <a:lnTo>
                      <a:pt x="263" y="568"/>
                    </a:lnTo>
                    <a:lnTo>
                      <a:pt x="263" y="568"/>
                    </a:lnTo>
                    <a:lnTo>
                      <a:pt x="263" y="568"/>
                    </a:lnTo>
                    <a:lnTo>
                      <a:pt x="256" y="568"/>
                    </a:lnTo>
                    <a:lnTo>
                      <a:pt x="256" y="568"/>
                    </a:lnTo>
                    <a:lnTo>
                      <a:pt x="256" y="568"/>
                    </a:lnTo>
                    <a:lnTo>
                      <a:pt x="256" y="568"/>
                    </a:lnTo>
                    <a:lnTo>
                      <a:pt x="249" y="575"/>
                    </a:lnTo>
                    <a:lnTo>
                      <a:pt x="249" y="575"/>
                    </a:lnTo>
                    <a:lnTo>
                      <a:pt x="249" y="568"/>
                    </a:lnTo>
                    <a:lnTo>
                      <a:pt x="249" y="568"/>
                    </a:lnTo>
                    <a:lnTo>
                      <a:pt x="249" y="568"/>
                    </a:lnTo>
                    <a:lnTo>
                      <a:pt x="249" y="568"/>
                    </a:lnTo>
                    <a:lnTo>
                      <a:pt x="249" y="568"/>
                    </a:lnTo>
                    <a:lnTo>
                      <a:pt x="249" y="568"/>
                    </a:lnTo>
                    <a:lnTo>
                      <a:pt x="249" y="575"/>
                    </a:lnTo>
                    <a:lnTo>
                      <a:pt x="249" y="575"/>
                    </a:lnTo>
                    <a:lnTo>
                      <a:pt x="249" y="575"/>
                    </a:lnTo>
                    <a:lnTo>
                      <a:pt x="242" y="575"/>
                    </a:lnTo>
                    <a:lnTo>
                      <a:pt x="242" y="568"/>
                    </a:lnTo>
                    <a:lnTo>
                      <a:pt x="242" y="568"/>
                    </a:lnTo>
                    <a:lnTo>
                      <a:pt x="242" y="568"/>
                    </a:lnTo>
                    <a:lnTo>
                      <a:pt x="242" y="561"/>
                    </a:lnTo>
                    <a:lnTo>
                      <a:pt x="242" y="561"/>
                    </a:lnTo>
                    <a:lnTo>
                      <a:pt x="234" y="547"/>
                    </a:lnTo>
                    <a:lnTo>
                      <a:pt x="234" y="547"/>
                    </a:lnTo>
                    <a:lnTo>
                      <a:pt x="234" y="547"/>
                    </a:lnTo>
                    <a:lnTo>
                      <a:pt x="234" y="547"/>
                    </a:lnTo>
                    <a:lnTo>
                      <a:pt x="234" y="547"/>
                    </a:lnTo>
                    <a:lnTo>
                      <a:pt x="234" y="547"/>
                    </a:lnTo>
                    <a:lnTo>
                      <a:pt x="234" y="547"/>
                    </a:lnTo>
                    <a:lnTo>
                      <a:pt x="234" y="547"/>
                    </a:lnTo>
                    <a:lnTo>
                      <a:pt x="242" y="540"/>
                    </a:lnTo>
                    <a:lnTo>
                      <a:pt x="234" y="540"/>
                    </a:lnTo>
                    <a:lnTo>
                      <a:pt x="234" y="540"/>
                    </a:lnTo>
                    <a:lnTo>
                      <a:pt x="234" y="547"/>
                    </a:lnTo>
                    <a:lnTo>
                      <a:pt x="234" y="547"/>
                    </a:lnTo>
                    <a:lnTo>
                      <a:pt x="234" y="532"/>
                    </a:lnTo>
                    <a:lnTo>
                      <a:pt x="227" y="532"/>
                    </a:lnTo>
                    <a:lnTo>
                      <a:pt x="227" y="532"/>
                    </a:lnTo>
                    <a:lnTo>
                      <a:pt x="227" y="532"/>
                    </a:lnTo>
                    <a:lnTo>
                      <a:pt x="234" y="540"/>
                    </a:lnTo>
                    <a:lnTo>
                      <a:pt x="234" y="547"/>
                    </a:lnTo>
                    <a:lnTo>
                      <a:pt x="234" y="547"/>
                    </a:lnTo>
                    <a:lnTo>
                      <a:pt x="220" y="518"/>
                    </a:lnTo>
                    <a:lnTo>
                      <a:pt x="213" y="490"/>
                    </a:lnTo>
                    <a:lnTo>
                      <a:pt x="213" y="469"/>
                    </a:lnTo>
                    <a:lnTo>
                      <a:pt x="213" y="469"/>
                    </a:lnTo>
                    <a:lnTo>
                      <a:pt x="206" y="447"/>
                    </a:lnTo>
                    <a:lnTo>
                      <a:pt x="206" y="433"/>
                    </a:lnTo>
                    <a:lnTo>
                      <a:pt x="206" y="433"/>
                    </a:lnTo>
                    <a:lnTo>
                      <a:pt x="199" y="426"/>
                    </a:lnTo>
                    <a:lnTo>
                      <a:pt x="199" y="426"/>
                    </a:lnTo>
                    <a:lnTo>
                      <a:pt x="206" y="419"/>
                    </a:lnTo>
                    <a:lnTo>
                      <a:pt x="206" y="426"/>
                    </a:lnTo>
                    <a:lnTo>
                      <a:pt x="206" y="426"/>
                    </a:lnTo>
                    <a:lnTo>
                      <a:pt x="213" y="433"/>
                    </a:lnTo>
                    <a:lnTo>
                      <a:pt x="206" y="433"/>
                    </a:lnTo>
                    <a:lnTo>
                      <a:pt x="206" y="426"/>
                    </a:lnTo>
                    <a:lnTo>
                      <a:pt x="206" y="433"/>
                    </a:lnTo>
                    <a:lnTo>
                      <a:pt x="206" y="433"/>
                    </a:lnTo>
                    <a:lnTo>
                      <a:pt x="206" y="433"/>
                    </a:lnTo>
                    <a:lnTo>
                      <a:pt x="206" y="433"/>
                    </a:lnTo>
                    <a:lnTo>
                      <a:pt x="206" y="433"/>
                    </a:lnTo>
                    <a:lnTo>
                      <a:pt x="206" y="433"/>
                    </a:lnTo>
                    <a:lnTo>
                      <a:pt x="206" y="433"/>
                    </a:lnTo>
                    <a:lnTo>
                      <a:pt x="206" y="433"/>
                    </a:lnTo>
                    <a:lnTo>
                      <a:pt x="206" y="440"/>
                    </a:lnTo>
                    <a:lnTo>
                      <a:pt x="206" y="440"/>
                    </a:lnTo>
                    <a:lnTo>
                      <a:pt x="206" y="440"/>
                    </a:lnTo>
                    <a:lnTo>
                      <a:pt x="206" y="440"/>
                    </a:lnTo>
                    <a:lnTo>
                      <a:pt x="213" y="440"/>
                    </a:lnTo>
                    <a:lnTo>
                      <a:pt x="213" y="440"/>
                    </a:lnTo>
                    <a:lnTo>
                      <a:pt x="213" y="433"/>
                    </a:lnTo>
                    <a:lnTo>
                      <a:pt x="213" y="433"/>
                    </a:lnTo>
                    <a:lnTo>
                      <a:pt x="213" y="440"/>
                    </a:lnTo>
                    <a:lnTo>
                      <a:pt x="220" y="462"/>
                    </a:lnTo>
                    <a:lnTo>
                      <a:pt x="220" y="462"/>
                    </a:lnTo>
                    <a:lnTo>
                      <a:pt x="220" y="454"/>
                    </a:lnTo>
                    <a:lnTo>
                      <a:pt x="213" y="447"/>
                    </a:lnTo>
                    <a:lnTo>
                      <a:pt x="220" y="440"/>
                    </a:lnTo>
                    <a:lnTo>
                      <a:pt x="213" y="440"/>
                    </a:lnTo>
                    <a:lnTo>
                      <a:pt x="213" y="440"/>
                    </a:lnTo>
                    <a:lnTo>
                      <a:pt x="213" y="433"/>
                    </a:lnTo>
                    <a:lnTo>
                      <a:pt x="213" y="440"/>
                    </a:lnTo>
                    <a:lnTo>
                      <a:pt x="220" y="440"/>
                    </a:lnTo>
                    <a:lnTo>
                      <a:pt x="220" y="440"/>
                    </a:lnTo>
                    <a:lnTo>
                      <a:pt x="220" y="447"/>
                    </a:lnTo>
                    <a:lnTo>
                      <a:pt x="220" y="447"/>
                    </a:lnTo>
                    <a:lnTo>
                      <a:pt x="220" y="447"/>
                    </a:lnTo>
                    <a:lnTo>
                      <a:pt x="220" y="462"/>
                    </a:lnTo>
                    <a:lnTo>
                      <a:pt x="220" y="462"/>
                    </a:lnTo>
                    <a:lnTo>
                      <a:pt x="227" y="462"/>
                    </a:lnTo>
                    <a:lnTo>
                      <a:pt x="227" y="469"/>
                    </a:lnTo>
                    <a:lnTo>
                      <a:pt x="227" y="469"/>
                    </a:lnTo>
                    <a:lnTo>
                      <a:pt x="220" y="469"/>
                    </a:lnTo>
                    <a:lnTo>
                      <a:pt x="220" y="476"/>
                    </a:lnTo>
                    <a:lnTo>
                      <a:pt x="220" y="483"/>
                    </a:lnTo>
                    <a:lnTo>
                      <a:pt x="220" y="490"/>
                    </a:lnTo>
                    <a:lnTo>
                      <a:pt x="220" y="490"/>
                    </a:lnTo>
                    <a:lnTo>
                      <a:pt x="227" y="490"/>
                    </a:lnTo>
                    <a:lnTo>
                      <a:pt x="234" y="490"/>
                    </a:lnTo>
                    <a:lnTo>
                      <a:pt x="234" y="490"/>
                    </a:lnTo>
                    <a:lnTo>
                      <a:pt x="234" y="490"/>
                    </a:lnTo>
                    <a:lnTo>
                      <a:pt x="242" y="483"/>
                    </a:lnTo>
                    <a:lnTo>
                      <a:pt x="242" y="483"/>
                    </a:lnTo>
                    <a:lnTo>
                      <a:pt x="234" y="483"/>
                    </a:lnTo>
                    <a:lnTo>
                      <a:pt x="234" y="483"/>
                    </a:lnTo>
                    <a:lnTo>
                      <a:pt x="227" y="483"/>
                    </a:lnTo>
                    <a:lnTo>
                      <a:pt x="227" y="483"/>
                    </a:lnTo>
                    <a:lnTo>
                      <a:pt x="227" y="483"/>
                    </a:lnTo>
                    <a:lnTo>
                      <a:pt x="227" y="476"/>
                    </a:lnTo>
                    <a:lnTo>
                      <a:pt x="227" y="476"/>
                    </a:lnTo>
                    <a:lnTo>
                      <a:pt x="227" y="469"/>
                    </a:lnTo>
                    <a:lnTo>
                      <a:pt x="227" y="462"/>
                    </a:lnTo>
                    <a:lnTo>
                      <a:pt x="227" y="462"/>
                    </a:lnTo>
                    <a:lnTo>
                      <a:pt x="227" y="462"/>
                    </a:lnTo>
                    <a:lnTo>
                      <a:pt x="227" y="462"/>
                    </a:lnTo>
                    <a:lnTo>
                      <a:pt x="227" y="462"/>
                    </a:lnTo>
                    <a:lnTo>
                      <a:pt x="227" y="454"/>
                    </a:lnTo>
                    <a:lnTo>
                      <a:pt x="227" y="454"/>
                    </a:lnTo>
                    <a:lnTo>
                      <a:pt x="227" y="454"/>
                    </a:lnTo>
                    <a:lnTo>
                      <a:pt x="220" y="447"/>
                    </a:lnTo>
                    <a:lnTo>
                      <a:pt x="220" y="447"/>
                    </a:lnTo>
                    <a:lnTo>
                      <a:pt x="220" y="447"/>
                    </a:lnTo>
                    <a:lnTo>
                      <a:pt x="227" y="447"/>
                    </a:lnTo>
                    <a:lnTo>
                      <a:pt x="227" y="440"/>
                    </a:lnTo>
                    <a:lnTo>
                      <a:pt x="227" y="440"/>
                    </a:lnTo>
                    <a:lnTo>
                      <a:pt x="220" y="440"/>
                    </a:lnTo>
                    <a:lnTo>
                      <a:pt x="220" y="433"/>
                    </a:lnTo>
                    <a:lnTo>
                      <a:pt x="220" y="426"/>
                    </a:lnTo>
                    <a:lnTo>
                      <a:pt x="213" y="426"/>
                    </a:lnTo>
                    <a:lnTo>
                      <a:pt x="213" y="419"/>
                    </a:lnTo>
                    <a:lnTo>
                      <a:pt x="213" y="426"/>
                    </a:lnTo>
                    <a:lnTo>
                      <a:pt x="206" y="419"/>
                    </a:lnTo>
                    <a:lnTo>
                      <a:pt x="206" y="412"/>
                    </a:lnTo>
                    <a:lnTo>
                      <a:pt x="206" y="412"/>
                    </a:lnTo>
                    <a:lnTo>
                      <a:pt x="206" y="412"/>
                    </a:lnTo>
                    <a:lnTo>
                      <a:pt x="206" y="398"/>
                    </a:lnTo>
                    <a:lnTo>
                      <a:pt x="199" y="398"/>
                    </a:lnTo>
                    <a:lnTo>
                      <a:pt x="199" y="398"/>
                    </a:lnTo>
                    <a:lnTo>
                      <a:pt x="199" y="398"/>
                    </a:lnTo>
                    <a:lnTo>
                      <a:pt x="199" y="398"/>
                    </a:lnTo>
                    <a:lnTo>
                      <a:pt x="199" y="398"/>
                    </a:lnTo>
                    <a:lnTo>
                      <a:pt x="199" y="405"/>
                    </a:lnTo>
                    <a:lnTo>
                      <a:pt x="199" y="405"/>
                    </a:lnTo>
                    <a:lnTo>
                      <a:pt x="199" y="405"/>
                    </a:lnTo>
                    <a:lnTo>
                      <a:pt x="199" y="412"/>
                    </a:lnTo>
                    <a:lnTo>
                      <a:pt x="199" y="412"/>
                    </a:lnTo>
                    <a:lnTo>
                      <a:pt x="199" y="419"/>
                    </a:lnTo>
                    <a:lnTo>
                      <a:pt x="199" y="419"/>
                    </a:lnTo>
                    <a:lnTo>
                      <a:pt x="199" y="412"/>
                    </a:lnTo>
                    <a:lnTo>
                      <a:pt x="192" y="398"/>
                    </a:lnTo>
                    <a:lnTo>
                      <a:pt x="192" y="398"/>
                    </a:lnTo>
                    <a:lnTo>
                      <a:pt x="192" y="398"/>
                    </a:lnTo>
                    <a:lnTo>
                      <a:pt x="192" y="398"/>
                    </a:lnTo>
                    <a:lnTo>
                      <a:pt x="192" y="391"/>
                    </a:lnTo>
                    <a:lnTo>
                      <a:pt x="192" y="391"/>
                    </a:lnTo>
                    <a:lnTo>
                      <a:pt x="199" y="383"/>
                    </a:lnTo>
                    <a:lnTo>
                      <a:pt x="199" y="383"/>
                    </a:lnTo>
                    <a:lnTo>
                      <a:pt x="199" y="383"/>
                    </a:lnTo>
                    <a:lnTo>
                      <a:pt x="199" y="383"/>
                    </a:lnTo>
                    <a:lnTo>
                      <a:pt x="199" y="383"/>
                    </a:lnTo>
                    <a:lnTo>
                      <a:pt x="199" y="383"/>
                    </a:lnTo>
                    <a:lnTo>
                      <a:pt x="199" y="383"/>
                    </a:lnTo>
                    <a:lnTo>
                      <a:pt x="199" y="383"/>
                    </a:lnTo>
                    <a:lnTo>
                      <a:pt x="199" y="383"/>
                    </a:lnTo>
                    <a:lnTo>
                      <a:pt x="199" y="376"/>
                    </a:lnTo>
                    <a:lnTo>
                      <a:pt x="199" y="376"/>
                    </a:lnTo>
                    <a:lnTo>
                      <a:pt x="192" y="376"/>
                    </a:lnTo>
                    <a:lnTo>
                      <a:pt x="199" y="383"/>
                    </a:lnTo>
                    <a:lnTo>
                      <a:pt x="199" y="383"/>
                    </a:lnTo>
                    <a:lnTo>
                      <a:pt x="199" y="383"/>
                    </a:lnTo>
                    <a:lnTo>
                      <a:pt x="192" y="391"/>
                    </a:lnTo>
                    <a:lnTo>
                      <a:pt x="192" y="383"/>
                    </a:lnTo>
                    <a:lnTo>
                      <a:pt x="192" y="383"/>
                    </a:lnTo>
                    <a:lnTo>
                      <a:pt x="192" y="383"/>
                    </a:lnTo>
                    <a:lnTo>
                      <a:pt x="185" y="376"/>
                    </a:lnTo>
                    <a:lnTo>
                      <a:pt x="185" y="362"/>
                    </a:lnTo>
                    <a:lnTo>
                      <a:pt x="185" y="355"/>
                    </a:lnTo>
                    <a:lnTo>
                      <a:pt x="178" y="348"/>
                    </a:lnTo>
                    <a:lnTo>
                      <a:pt x="178" y="348"/>
                    </a:lnTo>
                    <a:lnTo>
                      <a:pt x="178" y="348"/>
                    </a:lnTo>
                    <a:lnTo>
                      <a:pt x="171" y="341"/>
                    </a:lnTo>
                    <a:lnTo>
                      <a:pt x="171" y="334"/>
                    </a:lnTo>
                    <a:lnTo>
                      <a:pt x="171" y="334"/>
                    </a:lnTo>
                    <a:lnTo>
                      <a:pt x="171" y="334"/>
                    </a:lnTo>
                    <a:lnTo>
                      <a:pt x="163" y="327"/>
                    </a:lnTo>
                    <a:lnTo>
                      <a:pt x="156" y="305"/>
                    </a:lnTo>
                    <a:lnTo>
                      <a:pt x="156" y="305"/>
                    </a:lnTo>
                    <a:lnTo>
                      <a:pt x="156" y="305"/>
                    </a:lnTo>
                    <a:lnTo>
                      <a:pt x="156" y="305"/>
                    </a:lnTo>
                    <a:lnTo>
                      <a:pt x="156" y="298"/>
                    </a:lnTo>
                    <a:lnTo>
                      <a:pt x="156" y="298"/>
                    </a:lnTo>
                    <a:lnTo>
                      <a:pt x="156" y="298"/>
                    </a:lnTo>
                    <a:lnTo>
                      <a:pt x="156" y="298"/>
                    </a:lnTo>
                    <a:lnTo>
                      <a:pt x="156" y="298"/>
                    </a:lnTo>
                    <a:lnTo>
                      <a:pt x="156" y="291"/>
                    </a:lnTo>
                    <a:lnTo>
                      <a:pt x="149" y="291"/>
                    </a:lnTo>
                    <a:lnTo>
                      <a:pt x="149" y="277"/>
                    </a:lnTo>
                    <a:lnTo>
                      <a:pt x="142" y="249"/>
                    </a:lnTo>
                    <a:lnTo>
                      <a:pt x="128" y="220"/>
                    </a:lnTo>
                    <a:lnTo>
                      <a:pt x="128" y="220"/>
                    </a:lnTo>
                    <a:lnTo>
                      <a:pt x="128" y="220"/>
                    </a:lnTo>
                    <a:lnTo>
                      <a:pt x="128" y="213"/>
                    </a:lnTo>
                    <a:lnTo>
                      <a:pt x="128" y="213"/>
                    </a:lnTo>
                    <a:lnTo>
                      <a:pt x="128" y="213"/>
                    </a:lnTo>
                    <a:lnTo>
                      <a:pt x="128" y="213"/>
                    </a:lnTo>
                    <a:lnTo>
                      <a:pt x="128" y="213"/>
                    </a:lnTo>
                    <a:lnTo>
                      <a:pt x="128" y="213"/>
                    </a:lnTo>
                    <a:lnTo>
                      <a:pt x="121" y="206"/>
                    </a:lnTo>
                    <a:lnTo>
                      <a:pt x="121" y="206"/>
                    </a:lnTo>
                    <a:lnTo>
                      <a:pt x="121" y="199"/>
                    </a:lnTo>
                    <a:lnTo>
                      <a:pt x="114" y="199"/>
                    </a:lnTo>
                    <a:lnTo>
                      <a:pt x="114" y="199"/>
                    </a:lnTo>
                    <a:lnTo>
                      <a:pt x="114" y="192"/>
                    </a:lnTo>
                    <a:lnTo>
                      <a:pt x="107" y="192"/>
                    </a:lnTo>
                    <a:lnTo>
                      <a:pt x="107" y="192"/>
                    </a:lnTo>
                    <a:lnTo>
                      <a:pt x="107" y="192"/>
                    </a:lnTo>
                    <a:lnTo>
                      <a:pt x="107" y="185"/>
                    </a:lnTo>
                    <a:lnTo>
                      <a:pt x="107" y="185"/>
                    </a:lnTo>
                    <a:lnTo>
                      <a:pt x="107" y="178"/>
                    </a:lnTo>
                    <a:lnTo>
                      <a:pt x="100" y="163"/>
                    </a:lnTo>
                    <a:lnTo>
                      <a:pt x="92" y="156"/>
                    </a:lnTo>
                    <a:lnTo>
                      <a:pt x="71" y="135"/>
                    </a:lnTo>
                    <a:lnTo>
                      <a:pt x="71" y="135"/>
                    </a:lnTo>
                    <a:lnTo>
                      <a:pt x="71" y="135"/>
                    </a:lnTo>
                    <a:lnTo>
                      <a:pt x="71" y="135"/>
                    </a:lnTo>
                    <a:lnTo>
                      <a:pt x="71" y="135"/>
                    </a:lnTo>
                    <a:lnTo>
                      <a:pt x="64" y="128"/>
                    </a:lnTo>
                    <a:lnTo>
                      <a:pt x="64" y="128"/>
                    </a:lnTo>
                    <a:lnTo>
                      <a:pt x="64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1" y="121"/>
                    </a:lnTo>
                    <a:lnTo>
                      <a:pt x="78" y="121"/>
                    </a:lnTo>
                    <a:lnTo>
                      <a:pt x="78" y="121"/>
                    </a:lnTo>
                    <a:lnTo>
                      <a:pt x="71" y="121"/>
                    </a:lnTo>
                    <a:lnTo>
                      <a:pt x="71" y="121"/>
                    </a:lnTo>
                    <a:lnTo>
                      <a:pt x="71" y="121"/>
                    </a:lnTo>
                    <a:lnTo>
                      <a:pt x="64" y="121"/>
                    </a:lnTo>
                    <a:lnTo>
                      <a:pt x="64" y="121"/>
                    </a:lnTo>
                    <a:lnTo>
                      <a:pt x="64" y="121"/>
                    </a:lnTo>
                    <a:lnTo>
                      <a:pt x="64" y="121"/>
                    </a:lnTo>
                    <a:lnTo>
                      <a:pt x="57" y="114"/>
                    </a:lnTo>
                    <a:lnTo>
                      <a:pt x="57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4" y="107"/>
                    </a:lnTo>
                    <a:lnTo>
                      <a:pt x="64" y="107"/>
                    </a:lnTo>
                    <a:lnTo>
                      <a:pt x="64" y="107"/>
                    </a:lnTo>
                    <a:lnTo>
                      <a:pt x="64" y="99"/>
                    </a:lnTo>
                    <a:lnTo>
                      <a:pt x="64" y="99"/>
                    </a:lnTo>
                    <a:lnTo>
                      <a:pt x="64" y="99"/>
                    </a:lnTo>
                    <a:lnTo>
                      <a:pt x="71" y="99"/>
                    </a:lnTo>
                    <a:lnTo>
                      <a:pt x="71" y="99"/>
                    </a:lnTo>
                    <a:lnTo>
                      <a:pt x="71" y="99"/>
                    </a:lnTo>
                    <a:lnTo>
                      <a:pt x="71" y="99"/>
                    </a:lnTo>
                    <a:lnTo>
                      <a:pt x="71" y="99"/>
                    </a:lnTo>
                    <a:lnTo>
                      <a:pt x="78" y="99"/>
                    </a:lnTo>
                    <a:lnTo>
                      <a:pt x="78" y="92"/>
                    </a:lnTo>
                    <a:lnTo>
                      <a:pt x="71" y="92"/>
                    </a:lnTo>
                    <a:lnTo>
                      <a:pt x="71" y="92"/>
                    </a:lnTo>
                    <a:lnTo>
                      <a:pt x="71" y="92"/>
                    </a:lnTo>
                    <a:lnTo>
                      <a:pt x="71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9"/>
                    </a:lnTo>
                    <a:lnTo>
                      <a:pt x="64" y="99"/>
                    </a:lnTo>
                    <a:lnTo>
                      <a:pt x="57" y="99"/>
                    </a:lnTo>
                    <a:lnTo>
                      <a:pt x="57" y="99"/>
                    </a:lnTo>
                    <a:lnTo>
                      <a:pt x="57" y="99"/>
                    </a:lnTo>
                    <a:lnTo>
                      <a:pt x="57" y="99"/>
                    </a:lnTo>
                    <a:lnTo>
                      <a:pt x="50" y="99"/>
                    </a:lnTo>
                    <a:lnTo>
                      <a:pt x="50" y="107"/>
                    </a:lnTo>
                    <a:lnTo>
                      <a:pt x="50" y="114"/>
                    </a:lnTo>
                    <a:lnTo>
                      <a:pt x="50" y="114"/>
                    </a:lnTo>
                    <a:lnTo>
                      <a:pt x="50" y="114"/>
                    </a:lnTo>
                    <a:lnTo>
                      <a:pt x="50" y="114"/>
                    </a:lnTo>
                    <a:lnTo>
                      <a:pt x="50" y="114"/>
                    </a:lnTo>
                    <a:lnTo>
                      <a:pt x="50" y="114"/>
                    </a:lnTo>
                    <a:lnTo>
                      <a:pt x="50" y="114"/>
                    </a:lnTo>
                    <a:lnTo>
                      <a:pt x="43" y="107"/>
                    </a:lnTo>
                    <a:lnTo>
                      <a:pt x="43" y="107"/>
                    </a:lnTo>
                    <a:lnTo>
                      <a:pt x="43" y="92"/>
                    </a:lnTo>
                    <a:lnTo>
                      <a:pt x="36" y="85"/>
                    </a:lnTo>
                    <a:lnTo>
                      <a:pt x="36" y="78"/>
                    </a:lnTo>
                    <a:lnTo>
                      <a:pt x="36" y="78"/>
                    </a:lnTo>
                    <a:lnTo>
                      <a:pt x="36" y="78"/>
                    </a:lnTo>
                    <a:lnTo>
                      <a:pt x="36" y="78"/>
                    </a:lnTo>
                    <a:lnTo>
                      <a:pt x="36" y="78"/>
                    </a:lnTo>
                    <a:lnTo>
                      <a:pt x="36" y="85"/>
                    </a:lnTo>
                    <a:lnTo>
                      <a:pt x="36" y="78"/>
                    </a:lnTo>
                    <a:lnTo>
                      <a:pt x="36" y="78"/>
                    </a:lnTo>
                    <a:lnTo>
                      <a:pt x="36" y="78"/>
                    </a:lnTo>
                    <a:lnTo>
                      <a:pt x="29" y="71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14" y="43"/>
                    </a:lnTo>
                    <a:lnTo>
                      <a:pt x="14" y="43"/>
                    </a:lnTo>
                    <a:lnTo>
                      <a:pt x="14" y="43"/>
                    </a:lnTo>
                    <a:lnTo>
                      <a:pt x="14" y="43"/>
                    </a:lnTo>
                    <a:lnTo>
                      <a:pt x="14" y="36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14"/>
                    </a:lnTo>
                    <a:lnTo>
                      <a:pt x="21" y="14"/>
                    </a:lnTo>
                    <a:lnTo>
                      <a:pt x="21" y="14"/>
                    </a:lnTo>
                    <a:lnTo>
                      <a:pt x="21" y="14"/>
                    </a:lnTo>
                    <a:lnTo>
                      <a:pt x="21" y="14"/>
                    </a:lnTo>
                    <a:lnTo>
                      <a:pt x="21" y="7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21"/>
                    </a:lnTo>
                    <a:lnTo>
                      <a:pt x="36" y="21"/>
                    </a:lnTo>
                    <a:lnTo>
                      <a:pt x="36" y="21"/>
                    </a:lnTo>
                    <a:lnTo>
                      <a:pt x="36" y="21"/>
                    </a:lnTo>
                    <a:lnTo>
                      <a:pt x="36" y="21"/>
                    </a:lnTo>
                    <a:lnTo>
                      <a:pt x="36" y="21"/>
                    </a:lnTo>
                    <a:lnTo>
                      <a:pt x="36" y="21"/>
                    </a:lnTo>
                    <a:lnTo>
                      <a:pt x="43" y="21"/>
                    </a:lnTo>
                    <a:lnTo>
                      <a:pt x="43" y="21"/>
                    </a:lnTo>
                    <a:lnTo>
                      <a:pt x="43" y="21"/>
                    </a:lnTo>
                    <a:lnTo>
                      <a:pt x="43" y="28"/>
                    </a:lnTo>
                    <a:lnTo>
                      <a:pt x="43" y="28"/>
                    </a:lnTo>
                    <a:lnTo>
                      <a:pt x="43" y="28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7" y="28"/>
                    </a:lnTo>
                    <a:lnTo>
                      <a:pt x="57" y="28"/>
                    </a:lnTo>
                    <a:lnTo>
                      <a:pt x="57" y="28"/>
                    </a:lnTo>
                    <a:lnTo>
                      <a:pt x="57" y="36"/>
                    </a:lnTo>
                    <a:lnTo>
                      <a:pt x="57" y="36"/>
                    </a:lnTo>
                    <a:lnTo>
                      <a:pt x="57" y="36"/>
                    </a:lnTo>
                    <a:lnTo>
                      <a:pt x="57" y="36"/>
                    </a:lnTo>
                    <a:lnTo>
                      <a:pt x="57" y="36"/>
                    </a:lnTo>
                    <a:lnTo>
                      <a:pt x="57" y="43"/>
                    </a:lnTo>
                    <a:lnTo>
                      <a:pt x="57" y="43"/>
                    </a:lnTo>
                    <a:lnTo>
                      <a:pt x="57" y="43"/>
                    </a:lnTo>
                    <a:lnTo>
                      <a:pt x="57" y="43"/>
                    </a:lnTo>
                    <a:lnTo>
                      <a:pt x="57" y="4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71" y="43"/>
                    </a:lnTo>
                    <a:lnTo>
                      <a:pt x="71" y="43"/>
                    </a:lnTo>
                    <a:lnTo>
                      <a:pt x="71" y="43"/>
                    </a:lnTo>
                    <a:lnTo>
                      <a:pt x="71" y="43"/>
                    </a:lnTo>
                    <a:lnTo>
                      <a:pt x="71" y="43"/>
                    </a:lnTo>
                    <a:lnTo>
                      <a:pt x="71" y="43"/>
                    </a:lnTo>
                    <a:lnTo>
                      <a:pt x="71" y="43"/>
                    </a:lnTo>
                    <a:lnTo>
                      <a:pt x="71" y="50"/>
                    </a:lnTo>
                    <a:lnTo>
                      <a:pt x="71" y="50"/>
                    </a:lnTo>
                    <a:lnTo>
                      <a:pt x="71" y="50"/>
                    </a:lnTo>
                    <a:lnTo>
                      <a:pt x="71" y="50"/>
                    </a:lnTo>
                    <a:lnTo>
                      <a:pt x="71" y="50"/>
                    </a:lnTo>
                    <a:lnTo>
                      <a:pt x="71" y="50"/>
                    </a:lnTo>
                    <a:lnTo>
                      <a:pt x="71" y="57"/>
                    </a:lnTo>
                    <a:lnTo>
                      <a:pt x="71" y="57"/>
                    </a:lnTo>
                    <a:lnTo>
                      <a:pt x="71" y="57"/>
                    </a:lnTo>
                    <a:lnTo>
                      <a:pt x="71" y="57"/>
                    </a:lnTo>
                    <a:lnTo>
                      <a:pt x="71" y="64"/>
                    </a:lnTo>
                    <a:lnTo>
                      <a:pt x="71" y="64"/>
                    </a:lnTo>
                    <a:lnTo>
                      <a:pt x="71" y="71"/>
                    </a:lnTo>
                    <a:lnTo>
                      <a:pt x="78" y="71"/>
                    </a:lnTo>
                    <a:lnTo>
                      <a:pt x="78" y="71"/>
                    </a:lnTo>
                    <a:lnTo>
                      <a:pt x="78" y="71"/>
                    </a:lnTo>
                    <a:lnTo>
                      <a:pt x="78" y="71"/>
                    </a:lnTo>
                    <a:lnTo>
                      <a:pt x="78" y="71"/>
                    </a:lnTo>
                    <a:lnTo>
                      <a:pt x="78" y="71"/>
                    </a:lnTo>
                    <a:lnTo>
                      <a:pt x="78" y="71"/>
                    </a:lnTo>
                    <a:lnTo>
                      <a:pt x="78" y="71"/>
                    </a:lnTo>
                    <a:lnTo>
                      <a:pt x="85" y="71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7" y="92"/>
                    </a:lnTo>
                    <a:lnTo>
                      <a:pt x="107" y="92"/>
                    </a:lnTo>
                    <a:lnTo>
                      <a:pt x="107" y="92"/>
                    </a:lnTo>
                    <a:lnTo>
                      <a:pt x="107" y="99"/>
                    </a:lnTo>
                    <a:lnTo>
                      <a:pt x="107" y="99"/>
                    </a:lnTo>
                    <a:lnTo>
                      <a:pt x="107" y="99"/>
                    </a:lnTo>
                    <a:lnTo>
                      <a:pt x="114" y="99"/>
                    </a:lnTo>
                    <a:lnTo>
                      <a:pt x="114" y="99"/>
                    </a:lnTo>
                    <a:lnTo>
                      <a:pt x="114" y="99"/>
                    </a:lnTo>
                    <a:lnTo>
                      <a:pt x="114" y="99"/>
                    </a:lnTo>
                    <a:lnTo>
                      <a:pt x="114" y="99"/>
                    </a:lnTo>
                    <a:lnTo>
                      <a:pt x="114" y="99"/>
                    </a:lnTo>
                    <a:lnTo>
                      <a:pt x="121" y="99"/>
                    </a:lnTo>
                    <a:lnTo>
                      <a:pt x="121" y="107"/>
                    </a:lnTo>
                    <a:lnTo>
                      <a:pt x="121" y="107"/>
                    </a:lnTo>
                    <a:lnTo>
                      <a:pt x="121" y="107"/>
                    </a:lnTo>
                    <a:lnTo>
                      <a:pt x="128" y="107"/>
                    </a:lnTo>
                    <a:lnTo>
                      <a:pt x="128" y="107"/>
                    </a:lnTo>
                    <a:lnTo>
                      <a:pt x="128" y="107"/>
                    </a:lnTo>
                    <a:lnTo>
                      <a:pt x="128" y="107"/>
                    </a:lnTo>
                    <a:lnTo>
                      <a:pt x="128" y="107"/>
                    </a:lnTo>
                    <a:lnTo>
                      <a:pt x="128" y="107"/>
                    </a:lnTo>
                    <a:lnTo>
                      <a:pt x="128" y="107"/>
                    </a:lnTo>
                    <a:lnTo>
                      <a:pt x="128" y="114"/>
                    </a:lnTo>
                    <a:lnTo>
                      <a:pt x="135" y="114"/>
                    </a:lnTo>
                    <a:lnTo>
                      <a:pt x="135" y="114"/>
                    </a:lnTo>
                    <a:lnTo>
                      <a:pt x="135" y="121"/>
                    </a:lnTo>
                    <a:lnTo>
                      <a:pt x="135" y="121"/>
                    </a:lnTo>
                    <a:lnTo>
                      <a:pt x="142" y="121"/>
                    </a:lnTo>
                    <a:lnTo>
                      <a:pt x="142" y="121"/>
                    </a:lnTo>
                    <a:lnTo>
                      <a:pt x="142" y="121"/>
                    </a:lnTo>
                    <a:lnTo>
                      <a:pt x="149" y="121"/>
                    </a:lnTo>
                    <a:lnTo>
                      <a:pt x="149" y="121"/>
                    </a:lnTo>
                    <a:lnTo>
                      <a:pt x="156" y="128"/>
                    </a:lnTo>
                    <a:lnTo>
                      <a:pt x="163" y="128"/>
                    </a:lnTo>
                    <a:lnTo>
                      <a:pt x="171" y="121"/>
                    </a:lnTo>
                    <a:lnTo>
                      <a:pt x="171" y="121"/>
                    </a:lnTo>
                    <a:lnTo>
                      <a:pt x="178" y="121"/>
                    </a:lnTo>
                    <a:lnTo>
                      <a:pt x="178" y="121"/>
                    </a:lnTo>
                    <a:lnTo>
                      <a:pt x="178" y="121"/>
                    </a:lnTo>
                    <a:lnTo>
                      <a:pt x="178" y="128"/>
                    </a:lnTo>
                    <a:lnTo>
                      <a:pt x="178" y="135"/>
                    </a:lnTo>
                    <a:lnTo>
                      <a:pt x="178" y="135"/>
                    </a:lnTo>
                    <a:lnTo>
                      <a:pt x="178" y="135"/>
                    </a:lnTo>
                    <a:lnTo>
                      <a:pt x="178" y="135"/>
                    </a:lnTo>
                    <a:lnTo>
                      <a:pt x="185" y="135"/>
                    </a:lnTo>
                    <a:lnTo>
                      <a:pt x="185" y="135"/>
                    </a:lnTo>
                    <a:lnTo>
                      <a:pt x="185" y="135"/>
                    </a:lnTo>
                    <a:lnTo>
                      <a:pt x="185" y="135"/>
                    </a:lnTo>
                    <a:lnTo>
                      <a:pt x="185" y="135"/>
                    </a:lnTo>
                    <a:lnTo>
                      <a:pt x="192" y="135"/>
                    </a:lnTo>
                    <a:lnTo>
                      <a:pt x="192" y="135"/>
                    </a:lnTo>
                    <a:lnTo>
                      <a:pt x="192" y="135"/>
                    </a:lnTo>
                    <a:lnTo>
                      <a:pt x="192" y="135"/>
                    </a:lnTo>
                    <a:lnTo>
                      <a:pt x="192" y="142"/>
                    </a:lnTo>
                    <a:lnTo>
                      <a:pt x="192" y="142"/>
                    </a:lnTo>
                    <a:lnTo>
                      <a:pt x="199" y="142"/>
                    </a:lnTo>
                    <a:lnTo>
                      <a:pt x="199" y="142"/>
                    </a:lnTo>
                    <a:lnTo>
                      <a:pt x="199" y="142"/>
                    </a:lnTo>
                    <a:lnTo>
                      <a:pt x="199" y="142"/>
                    </a:lnTo>
                    <a:lnTo>
                      <a:pt x="199" y="142"/>
                    </a:lnTo>
                    <a:lnTo>
                      <a:pt x="199" y="142"/>
                    </a:lnTo>
                    <a:lnTo>
                      <a:pt x="199" y="142"/>
                    </a:lnTo>
                    <a:lnTo>
                      <a:pt x="206" y="142"/>
                    </a:lnTo>
                    <a:lnTo>
                      <a:pt x="206" y="142"/>
                    </a:lnTo>
                    <a:lnTo>
                      <a:pt x="206" y="149"/>
                    </a:lnTo>
                    <a:lnTo>
                      <a:pt x="213" y="149"/>
                    </a:lnTo>
                    <a:lnTo>
                      <a:pt x="213" y="149"/>
                    </a:lnTo>
                    <a:lnTo>
                      <a:pt x="213" y="156"/>
                    </a:lnTo>
                    <a:lnTo>
                      <a:pt x="213" y="156"/>
                    </a:lnTo>
                    <a:lnTo>
                      <a:pt x="213" y="156"/>
                    </a:lnTo>
                    <a:lnTo>
                      <a:pt x="220" y="156"/>
                    </a:lnTo>
                    <a:lnTo>
                      <a:pt x="220" y="156"/>
                    </a:lnTo>
                    <a:lnTo>
                      <a:pt x="220" y="149"/>
                    </a:lnTo>
                    <a:lnTo>
                      <a:pt x="220" y="156"/>
                    </a:lnTo>
                    <a:lnTo>
                      <a:pt x="220" y="156"/>
                    </a:lnTo>
                    <a:lnTo>
                      <a:pt x="220" y="156"/>
                    </a:lnTo>
                    <a:lnTo>
                      <a:pt x="227" y="156"/>
                    </a:lnTo>
                    <a:lnTo>
                      <a:pt x="227" y="156"/>
                    </a:lnTo>
                    <a:lnTo>
                      <a:pt x="227" y="163"/>
                    </a:lnTo>
                    <a:lnTo>
                      <a:pt x="227" y="163"/>
                    </a:lnTo>
                    <a:lnTo>
                      <a:pt x="227" y="163"/>
                    </a:lnTo>
                    <a:lnTo>
                      <a:pt x="227" y="163"/>
                    </a:lnTo>
                    <a:lnTo>
                      <a:pt x="227" y="170"/>
                    </a:lnTo>
                    <a:lnTo>
                      <a:pt x="227" y="170"/>
                    </a:lnTo>
                    <a:lnTo>
                      <a:pt x="227" y="170"/>
                    </a:lnTo>
                    <a:lnTo>
                      <a:pt x="227" y="170"/>
                    </a:lnTo>
                    <a:lnTo>
                      <a:pt x="220" y="170"/>
                    </a:lnTo>
                    <a:lnTo>
                      <a:pt x="220" y="170"/>
                    </a:lnTo>
                    <a:lnTo>
                      <a:pt x="220" y="170"/>
                    </a:lnTo>
                    <a:lnTo>
                      <a:pt x="220" y="170"/>
                    </a:lnTo>
                    <a:lnTo>
                      <a:pt x="220" y="178"/>
                    </a:lnTo>
                    <a:lnTo>
                      <a:pt x="213" y="178"/>
                    </a:lnTo>
                    <a:lnTo>
                      <a:pt x="213" y="178"/>
                    </a:lnTo>
                    <a:lnTo>
                      <a:pt x="213" y="178"/>
                    </a:lnTo>
                    <a:lnTo>
                      <a:pt x="206" y="178"/>
                    </a:lnTo>
                    <a:lnTo>
                      <a:pt x="206" y="178"/>
                    </a:lnTo>
                    <a:lnTo>
                      <a:pt x="199" y="178"/>
                    </a:lnTo>
                    <a:lnTo>
                      <a:pt x="199" y="178"/>
                    </a:lnTo>
                    <a:lnTo>
                      <a:pt x="199" y="178"/>
                    </a:lnTo>
                    <a:lnTo>
                      <a:pt x="199" y="178"/>
                    </a:lnTo>
                    <a:lnTo>
                      <a:pt x="199" y="185"/>
                    </a:lnTo>
                    <a:lnTo>
                      <a:pt x="199" y="185"/>
                    </a:lnTo>
                    <a:lnTo>
                      <a:pt x="199" y="185"/>
                    </a:lnTo>
                    <a:lnTo>
                      <a:pt x="199" y="185"/>
                    </a:lnTo>
                    <a:lnTo>
                      <a:pt x="199" y="185"/>
                    </a:lnTo>
                    <a:lnTo>
                      <a:pt x="199" y="185"/>
                    </a:lnTo>
                    <a:lnTo>
                      <a:pt x="199" y="192"/>
                    </a:lnTo>
                    <a:lnTo>
                      <a:pt x="199" y="192"/>
                    </a:lnTo>
                    <a:lnTo>
                      <a:pt x="199" y="192"/>
                    </a:lnTo>
                    <a:lnTo>
                      <a:pt x="199" y="192"/>
                    </a:lnTo>
                    <a:lnTo>
                      <a:pt x="199" y="192"/>
                    </a:lnTo>
                    <a:lnTo>
                      <a:pt x="199" y="192"/>
                    </a:lnTo>
                    <a:lnTo>
                      <a:pt x="206" y="192"/>
                    </a:lnTo>
                    <a:lnTo>
                      <a:pt x="213" y="192"/>
                    </a:lnTo>
                    <a:lnTo>
                      <a:pt x="227" y="199"/>
                    </a:lnTo>
                    <a:lnTo>
                      <a:pt x="227" y="199"/>
                    </a:lnTo>
                    <a:lnTo>
                      <a:pt x="227" y="206"/>
                    </a:lnTo>
                    <a:lnTo>
                      <a:pt x="234" y="206"/>
                    </a:lnTo>
                    <a:lnTo>
                      <a:pt x="234" y="206"/>
                    </a:lnTo>
                    <a:lnTo>
                      <a:pt x="234" y="206"/>
                    </a:lnTo>
                    <a:lnTo>
                      <a:pt x="234" y="206"/>
                    </a:lnTo>
                    <a:lnTo>
                      <a:pt x="242" y="206"/>
                    </a:lnTo>
                    <a:lnTo>
                      <a:pt x="242" y="213"/>
                    </a:lnTo>
                    <a:lnTo>
                      <a:pt x="249" y="213"/>
                    </a:lnTo>
                    <a:lnTo>
                      <a:pt x="242" y="220"/>
                    </a:lnTo>
                    <a:lnTo>
                      <a:pt x="234" y="227"/>
                    </a:lnTo>
                    <a:lnTo>
                      <a:pt x="234" y="227"/>
                    </a:lnTo>
                    <a:lnTo>
                      <a:pt x="234" y="227"/>
                    </a:lnTo>
                    <a:lnTo>
                      <a:pt x="227" y="234"/>
                    </a:lnTo>
                    <a:lnTo>
                      <a:pt x="234" y="234"/>
                    </a:lnTo>
                    <a:lnTo>
                      <a:pt x="234" y="234"/>
                    </a:lnTo>
                    <a:lnTo>
                      <a:pt x="234" y="234"/>
                    </a:lnTo>
                    <a:lnTo>
                      <a:pt x="234" y="234"/>
                    </a:lnTo>
                    <a:lnTo>
                      <a:pt x="242" y="234"/>
                    </a:lnTo>
                    <a:lnTo>
                      <a:pt x="242" y="234"/>
                    </a:lnTo>
                    <a:lnTo>
                      <a:pt x="242" y="234"/>
                    </a:lnTo>
                    <a:lnTo>
                      <a:pt x="242" y="234"/>
                    </a:lnTo>
                    <a:lnTo>
                      <a:pt x="242" y="234"/>
                    </a:lnTo>
                    <a:lnTo>
                      <a:pt x="249" y="234"/>
                    </a:lnTo>
                    <a:lnTo>
                      <a:pt x="249" y="234"/>
                    </a:lnTo>
                    <a:lnTo>
                      <a:pt x="249" y="234"/>
                    </a:lnTo>
                    <a:lnTo>
                      <a:pt x="263" y="234"/>
                    </a:lnTo>
                    <a:lnTo>
                      <a:pt x="263" y="234"/>
                    </a:lnTo>
                    <a:lnTo>
                      <a:pt x="263" y="234"/>
                    </a:lnTo>
                    <a:lnTo>
                      <a:pt x="270" y="227"/>
                    </a:lnTo>
                    <a:lnTo>
                      <a:pt x="270" y="227"/>
                    </a:lnTo>
                    <a:lnTo>
                      <a:pt x="270" y="227"/>
                    </a:lnTo>
                    <a:lnTo>
                      <a:pt x="270" y="227"/>
                    </a:lnTo>
                    <a:lnTo>
                      <a:pt x="270" y="234"/>
                    </a:lnTo>
                    <a:lnTo>
                      <a:pt x="270" y="234"/>
                    </a:lnTo>
                    <a:lnTo>
                      <a:pt x="270" y="234"/>
                    </a:lnTo>
                    <a:lnTo>
                      <a:pt x="270" y="241"/>
                    </a:lnTo>
                    <a:lnTo>
                      <a:pt x="270" y="241"/>
                    </a:lnTo>
                    <a:lnTo>
                      <a:pt x="270" y="241"/>
                    </a:lnTo>
                    <a:lnTo>
                      <a:pt x="270" y="241"/>
                    </a:lnTo>
                    <a:lnTo>
                      <a:pt x="270" y="241"/>
                    </a:lnTo>
                    <a:lnTo>
                      <a:pt x="270" y="241"/>
                    </a:lnTo>
                    <a:lnTo>
                      <a:pt x="270" y="249"/>
                    </a:lnTo>
                    <a:lnTo>
                      <a:pt x="277" y="256"/>
                    </a:lnTo>
                    <a:lnTo>
                      <a:pt x="277" y="256"/>
                    </a:lnTo>
                    <a:lnTo>
                      <a:pt x="277" y="256"/>
                    </a:lnTo>
                    <a:lnTo>
                      <a:pt x="277" y="256"/>
                    </a:lnTo>
                    <a:lnTo>
                      <a:pt x="277" y="256"/>
                    </a:lnTo>
                    <a:lnTo>
                      <a:pt x="277" y="256"/>
                    </a:lnTo>
                    <a:lnTo>
                      <a:pt x="277" y="263"/>
                    </a:lnTo>
                    <a:lnTo>
                      <a:pt x="277" y="263"/>
                    </a:lnTo>
                    <a:lnTo>
                      <a:pt x="277" y="263"/>
                    </a:lnTo>
                    <a:lnTo>
                      <a:pt x="277" y="263"/>
                    </a:lnTo>
                    <a:lnTo>
                      <a:pt x="270" y="263"/>
                    </a:lnTo>
                    <a:lnTo>
                      <a:pt x="270" y="256"/>
                    </a:lnTo>
                    <a:lnTo>
                      <a:pt x="270" y="256"/>
                    </a:lnTo>
                    <a:lnTo>
                      <a:pt x="270" y="263"/>
                    </a:lnTo>
                    <a:lnTo>
                      <a:pt x="270" y="263"/>
                    </a:lnTo>
                    <a:lnTo>
                      <a:pt x="270" y="263"/>
                    </a:lnTo>
                    <a:lnTo>
                      <a:pt x="263" y="263"/>
                    </a:lnTo>
                    <a:lnTo>
                      <a:pt x="263" y="263"/>
                    </a:lnTo>
                    <a:lnTo>
                      <a:pt x="263" y="270"/>
                    </a:lnTo>
                    <a:lnTo>
                      <a:pt x="263" y="270"/>
                    </a:lnTo>
                    <a:lnTo>
                      <a:pt x="263" y="270"/>
                    </a:lnTo>
                    <a:lnTo>
                      <a:pt x="270" y="277"/>
                    </a:lnTo>
                    <a:lnTo>
                      <a:pt x="270" y="277"/>
                    </a:lnTo>
                    <a:lnTo>
                      <a:pt x="270" y="277"/>
                    </a:lnTo>
                    <a:lnTo>
                      <a:pt x="277" y="277"/>
                    </a:lnTo>
                    <a:lnTo>
                      <a:pt x="284" y="284"/>
                    </a:lnTo>
                    <a:lnTo>
                      <a:pt x="291" y="284"/>
                    </a:lnTo>
                    <a:lnTo>
                      <a:pt x="291" y="284"/>
                    </a:lnTo>
                    <a:lnTo>
                      <a:pt x="291" y="291"/>
                    </a:lnTo>
                    <a:lnTo>
                      <a:pt x="291" y="291"/>
                    </a:lnTo>
                    <a:lnTo>
                      <a:pt x="291" y="291"/>
                    </a:lnTo>
                    <a:lnTo>
                      <a:pt x="291" y="291"/>
                    </a:lnTo>
                    <a:lnTo>
                      <a:pt x="291" y="291"/>
                    </a:lnTo>
                    <a:lnTo>
                      <a:pt x="291" y="291"/>
                    </a:lnTo>
                    <a:lnTo>
                      <a:pt x="298" y="298"/>
                    </a:lnTo>
                    <a:lnTo>
                      <a:pt x="298" y="298"/>
                    </a:lnTo>
                    <a:lnTo>
                      <a:pt x="298" y="298"/>
                    </a:lnTo>
                    <a:lnTo>
                      <a:pt x="298" y="298"/>
                    </a:lnTo>
                    <a:lnTo>
                      <a:pt x="298" y="298"/>
                    </a:lnTo>
                    <a:lnTo>
                      <a:pt x="298" y="298"/>
                    </a:lnTo>
                    <a:lnTo>
                      <a:pt x="298" y="305"/>
                    </a:lnTo>
                    <a:lnTo>
                      <a:pt x="298" y="305"/>
                    </a:lnTo>
                    <a:lnTo>
                      <a:pt x="298" y="312"/>
                    </a:lnTo>
                    <a:lnTo>
                      <a:pt x="298" y="312"/>
                    </a:lnTo>
                    <a:lnTo>
                      <a:pt x="291" y="312"/>
                    </a:lnTo>
                    <a:lnTo>
                      <a:pt x="291" y="320"/>
                    </a:lnTo>
                    <a:lnTo>
                      <a:pt x="291" y="320"/>
                    </a:lnTo>
                    <a:lnTo>
                      <a:pt x="291" y="320"/>
                    </a:lnTo>
                    <a:lnTo>
                      <a:pt x="291" y="320"/>
                    </a:lnTo>
                    <a:lnTo>
                      <a:pt x="284" y="320"/>
                    </a:lnTo>
                    <a:lnTo>
                      <a:pt x="291" y="334"/>
                    </a:lnTo>
                    <a:lnTo>
                      <a:pt x="291" y="341"/>
                    </a:lnTo>
                    <a:lnTo>
                      <a:pt x="291" y="341"/>
                    </a:lnTo>
                    <a:lnTo>
                      <a:pt x="291" y="341"/>
                    </a:lnTo>
                    <a:lnTo>
                      <a:pt x="284" y="348"/>
                    </a:lnTo>
                    <a:lnTo>
                      <a:pt x="284" y="348"/>
                    </a:lnTo>
                    <a:lnTo>
                      <a:pt x="284" y="355"/>
                    </a:lnTo>
                    <a:lnTo>
                      <a:pt x="284" y="355"/>
                    </a:lnTo>
                    <a:lnTo>
                      <a:pt x="284" y="355"/>
                    </a:lnTo>
                    <a:lnTo>
                      <a:pt x="291" y="355"/>
                    </a:lnTo>
                    <a:lnTo>
                      <a:pt x="291" y="362"/>
                    </a:lnTo>
                    <a:lnTo>
                      <a:pt x="291" y="362"/>
                    </a:lnTo>
                    <a:lnTo>
                      <a:pt x="291" y="362"/>
                    </a:lnTo>
                    <a:lnTo>
                      <a:pt x="291" y="369"/>
                    </a:lnTo>
                    <a:lnTo>
                      <a:pt x="291" y="369"/>
                    </a:lnTo>
                    <a:lnTo>
                      <a:pt x="291" y="369"/>
                    </a:lnTo>
                    <a:lnTo>
                      <a:pt x="298" y="369"/>
                    </a:lnTo>
                    <a:lnTo>
                      <a:pt x="298" y="376"/>
                    </a:lnTo>
                    <a:lnTo>
                      <a:pt x="298" y="376"/>
                    </a:lnTo>
                    <a:lnTo>
                      <a:pt x="298" y="376"/>
                    </a:lnTo>
                    <a:lnTo>
                      <a:pt x="305" y="376"/>
                    </a:lnTo>
                    <a:lnTo>
                      <a:pt x="305" y="383"/>
                    </a:lnTo>
                    <a:lnTo>
                      <a:pt x="305" y="383"/>
                    </a:lnTo>
                    <a:lnTo>
                      <a:pt x="305" y="383"/>
                    </a:lnTo>
                    <a:lnTo>
                      <a:pt x="305" y="383"/>
                    </a:lnTo>
                    <a:lnTo>
                      <a:pt x="313" y="383"/>
                    </a:lnTo>
                    <a:lnTo>
                      <a:pt x="313" y="383"/>
                    </a:lnTo>
                    <a:lnTo>
                      <a:pt x="320" y="376"/>
                    </a:lnTo>
                    <a:lnTo>
                      <a:pt x="327" y="369"/>
                    </a:lnTo>
                    <a:lnTo>
                      <a:pt x="327" y="369"/>
                    </a:lnTo>
                    <a:lnTo>
                      <a:pt x="327" y="369"/>
                    </a:lnTo>
                    <a:lnTo>
                      <a:pt x="334" y="369"/>
                    </a:lnTo>
                    <a:lnTo>
                      <a:pt x="341" y="362"/>
                    </a:lnTo>
                    <a:lnTo>
                      <a:pt x="341" y="362"/>
                    </a:lnTo>
                    <a:lnTo>
                      <a:pt x="348" y="362"/>
                    </a:lnTo>
                    <a:lnTo>
                      <a:pt x="348" y="362"/>
                    </a:lnTo>
                    <a:lnTo>
                      <a:pt x="348" y="369"/>
                    </a:lnTo>
                    <a:lnTo>
                      <a:pt x="348" y="369"/>
                    </a:lnTo>
                    <a:lnTo>
                      <a:pt x="348" y="376"/>
                    </a:lnTo>
                    <a:lnTo>
                      <a:pt x="348" y="376"/>
                    </a:lnTo>
                    <a:lnTo>
                      <a:pt x="355" y="383"/>
                    </a:lnTo>
                    <a:lnTo>
                      <a:pt x="355" y="383"/>
                    </a:lnTo>
                    <a:lnTo>
                      <a:pt x="355" y="383"/>
                    </a:lnTo>
                    <a:lnTo>
                      <a:pt x="355" y="383"/>
                    </a:lnTo>
                    <a:lnTo>
                      <a:pt x="355" y="383"/>
                    </a:lnTo>
                    <a:lnTo>
                      <a:pt x="355" y="383"/>
                    </a:lnTo>
                    <a:lnTo>
                      <a:pt x="355" y="391"/>
                    </a:lnTo>
                    <a:lnTo>
                      <a:pt x="348" y="405"/>
                    </a:lnTo>
                    <a:lnTo>
                      <a:pt x="348" y="405"/>
                    </a:lnTo>
                    <a:lnTo>
                      <a:pt x="348" y="405"/>
                    </a:lnTo>
                    <a:lnTo>
                      <a:pt x="348" y="412"/>
                    </a:lnTo>
                    <a:lnTo>
                      <a:pt x="355" y="419"/>
                    </a:lnTo>
                    <a:lnTo>
                      <a:pt x="355" y="419"/>
                    </a:lnTo>
                    <a:lnTo>
                      <a:pt x="355" y="426"/>
                    </a:lnTo>
                    <a:lnTo>
                      <a:pt x="348" y="433"/>
                    </a:lnTo>
                    <a:lnTo>
                      <a:pt x="348" y="433"/>
                    </a:lnTo>
                    <a:lnTo>
                      <a:pt x="348" y="433"/>
                    </a:lnTo>
                    <a:lnTo>
                      <a:pt x="348" y="440"/>
                    </a:lnTo>
                    <a:lnTo>
                      <a:pt x="348" y="447"/>
                    </a:lnTo>
                    <a:lnTo>
                      <a:pt x="348" y="447"/>
                    </a:lnTo>
                    <a:lnTo>
                      <a:pt x="348" y="447"/>
                    </a:lnTo>
                    <a:lnTo>
                      <a:pt x="341" y="476"/>
                    </a:lnTo>
                    <a:lnTo>
                      <a:pt x="341" y="476"/>
                    </a:lnTo>
                    <a:lnTo>
                      <a:pt x="341" y="476"/>
                    </a:lnTo>
                    <a:lnTo>
                      <a:pt x="341" y="476"/>
                    </a:lnTo>
                    <a:lnTo>
                      <a:pt x="341" y="476"/>
                    </a:lnTo>
                    <a:lnTo>
                      <a:pt x="341" y="476"/>
                    </a:lnTo>
                    <a:lnTo>
                      <a:pt x="348" y="476"/>
                    </a:lnTo>
                    <a:lnTo>
                      <a:pt x="348" y="476"/>
                    </a:lnTo>
                    <a:lnTo>
                      <a:pt x="348" y="476"/>
                    </a:lnTo>
                    <a:lnTo>
                      <a:pt x="348" y="476"/>
                    </a:lnTo>
                    <a:lnTo>
                      <a:pt x="348" y="483"/>
                    </a:lnTo>
                    <a:lnTo>
                      <a:pt x="348" y="483"/>
                    </a:lnTo>
                    <a:lnTo>
                      <a:pt x="348" y="483"/>
                    </a:lnTo>
                    <a:lnTo>
                      <a:pt x="355" y="483"/>
                    </a:lnTo>
                    <a:lnTo>
                      <a:pt x="355" y="483"/>
                    </a:lnTo>
                    <a:lnTo>
                      <a:pt x="362" y="476"/>
                    </a:lnTo>
                    <a:lnTo>
                      <a:pt x="362" y="476"/>
                    </a:lnTo>
                    <a:lnTo>
                      <a:pt x="362" y="476"/>
                    </a:lnTo>
                    <a:lnTo>
                      <a:pt x="362" y="476"/>
                    </a:lnTo>
                    <a:lnTo>
                      <a:pt x="369" y="476"/>
                    </a:lnTo>
                    <a:lnTo>
                      <a:pt x="369" y="483"/>
                    </a:lnTo>
                    <a:lnTo>
                      <a:pt x="369" y="483"/>
                    </a:lnTo>
                    <a:lnTo>
                      <a:pt x="369" y="483"/>
                    </a:lnTo>
                    <a:lnTo>
                      <a:pt x="376" y="490"/>
                    </a:lnTo>
                    <a:lnTo>
                      <a:pt x="376" y="490"/>
                    </a:lnTo>
                    <a:lnTo>
                      <a:pt x="376" y="497"/>
                    </a:lnTo>
                    <a:lnTo>
                      <a:pt x="369" y="497"/>
                    </a:lnTo>
                    <a:lnTo>
                      <a:pt x="369" y="504"/>
                    </a:lnTo>
                    <a:lnTo>
                      <a:pt x="369" y="504"/>
                    </a:lnTo>
                    <a:lnTo>
                      <a:pt x="362" y="511"/>
                    </a:lnTo>
                    <a:lnTo>
                      <a:pt x="362" y="518"/>
                    </a:lnTo>
                    <a:lnTo>
                      <a:pt x="355" y="547"/>
                    </a:lnTo>
                    <a:lnTo>
                      <a:pt x="348" y="554"/>
                    </a:lnTo>
                    <a:lnTo>
                      <a:pt x="348" y="561"/>
                    </a:lnTo>
                    <a:lnTo>
                      <a:pt x="341" y="561"/>
                    </a:lnTo>
                    <a:lnTo>
                      <a:pt x="341" y="568"/>
                    </a:lnTo>
                    <a:lnTo>
                      <a:pt x="341" y="568"/>
                    </a:lnTo>
                    <a:lnTo>
                      <a:pt x="341" y="568"/>
                    </a:lnTo>
                    <a:lnTo>
                      <a:pt x="341" y="575"/>
                    </a:lnTo>
                    <a:lnTo>
                      <a:pt x="348" y="582"/>
                    </a:lnTo>
                    <a:lnTo>
                      <a:pt x="348" y="582"/>
                    </a:lnTo>
                    <a:lnTo>
                      <a:pt x="348" y="582"/>
                    </a:lnTo>
                    <a:lnTo>
                      <a:pt x="355" y="589"/>
                    </a:lnTo>
                    <a:lnTo>
                      <a:pt x="355" y="589"/>
                    </a:lnTo>
                    <a:lnTo>
                      <a:pt x="355" y="589"/>
                    </a:lnTo>
                    <a:lnTo>
                      <a:pt x="355" y="589"/>
                    </a:lnTo>
                    <a:lnTo>
                      <a:pt x="355" y="589"/>
                    </a:lnTo>
                    <a:lnTo>
                      <a:pt x="348" y="596"/>
                    </a:lnTo>
                    <a:lnTo>
                      <a:pt x="341" y="611"/>
                    </a:lnTo>
                    <a:lnTo>
                      <a:pt x="341" y="611"/>
                    </a:lnTo>
                    <a:lnTo>
                      <a:pt x="341" y="611"/>
                    </a:lnTo>
                    <a:lnTo>
                      <a:pt x="341" y="611"/>
                    </a:lnTo>
                    <a:lnTo>
                      <a:pt x="341" y="618"/>
                    </a:lnTo>
                    <a:lnTo>
                      <a:pt x="341" y="618"/>
                    </a:lnTo>
                    <a:lnTo>
                      <a:pt x="341" y="618"/>
                    </a:lnTo>
                    <a:lnTo>
                      <a:pt x="341" y="618"/>
                    </a:lnTo>
                    <a:lnTo>
                      <a:pt x="341" y="625"/>
                    </a:lnTo>
                    <a:lnTo>
                      <a:pt x="348" y="625"/>
                    </a:lnTo>
                    <a:lnTo>
                      <a:pt x="348" y="625"/>
                    </a:lnTo>
                    <a:lnTo>
                      <a:pt x="355" y="632"/>
                    </a:lnTo>
                    <a:lnTo>
                      <a:pt x="355" y="632"/>
                    </a:lnTo>
                    <a:lnTo>
                      <a:pt x="355" y="632"/>
                    </a:lnTo>
                    <a:lnTo>
                      <a:pt x="355" y="639"/>
                    </a:lnTo>
                    <a:lnTo>
                      <a:pt x="355" y="639"/>
                    </a:lnTo>
                    <a:lnTo>
                      <a:pt x="355" y="639"/>
                    </a:lnTo>
                    <a:lnTo>
                      <a:pt x="355" y="639"/>
                    </a:lnTo>
                    <a:lnTo>
                      <a:pt x="355" y="646"/>
                    </a:lnTo>
                    <a:lnTo>
                      <a:pt x="348" y="646"/>
                    </a:lnTo>
                    <a:lnTo>
                      <a:pt x="348" y="646"/>
                    </a:lnTo>
                    <a:lnTo>
                      <a:pt x="348" y="646"/>
                    </a:lnTo>
                    <a:lnTo>
                      <a:pt x="348" y="646"/>
                    </a:lnTo>
                    <a:lnTo>
                      <a:pt x="348" y="646"/>
                    </a:lnTo>
                    <a:lnTo>
                      <a:pt x="348" y="646"/>
                    </a:lnTo>
                    <a:lnTo>
                      <a:pt x="348" y="646"/>
                    </a:lnTo>
                    <a:lnTo>
                      <a:pt x="348" y="646"/>
                    </a:lnTo>
                    <a:lnTo>
                      <a:pt x="348" y="646"/>
                    </a:lnTo>
                    <a:lnTo>
                      <a:pt x="348" y="646"/>
                    </a:lnTo>
                    <a:lnTo>
                      <a:pt x="348" y="653"/>
                    </a:lnTo>
                    <a:lnTo>
                      <a:pt x="348" y="653"/>
                    </a:lnTo>
                    <a:lnTo>
                      <a:pt x="348" y="653"/>
                    </a:lnTo>
                    <a:lnTo>
                      <a:pt x="348" y="660"/>
                    </a:lnTo>
                    <a:lnTo>
                      <a:pt x="341" y="660"/>
                    </a:lnTo>
                    <a:lnTo>
                      <a:pt x="341" y="667"/>
                    </a:lnTo>
                    <a:lnTo>
                      <a:pt x="341" y="667"/>
                    </a:lnTo>
                    <a:lnTo>
                      <a:pt x="341" y="667"/>
                    </a:lnTo>
                    <a:lnTo>
                      <a:pt x="341" y="667"/>
                    </a:lnTo>
                    <a:lnTo>
                      <a:pt x="341" y="667"/>
                    </a:lnTo>
                    <a:lnTo>
                      <a:pt x="341" y="667"/>
                    </a:lnTo>
                    <a:lnTo>
                      <a:pt x="341" y="667"/>
                    </a:lnTo>
                    <a:lnTo>
                      <a:pt x="341" y="674"/>
                    </a:lnTo>
                    <a:lnTo>
                      <a:pt x="341" y="674"/>
                    </a:lnTo>
                    <a:lnTo>
                      <a:pt x="334" y="674"/>
                    </a:lnTo>
                    <a:lnTo>
                      <a:pt x="334" y="67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1" name="Freeform 29"/>
              <p:cNvSpPr>
                <a:spLocks/>
              </p:cNvSpPr>
              <p:nvPr/>
            </p:nvSpPr>
            <p:spPr bwMode="auto">
              <a:xfrm>
                <a:off x="3776" y="1975"/>
                <a:ext cx="824" cy="725"/>
              </a:xfrm>
              <a:custGeom>
                <a:avLst/>
                <a:gdLst>
                  <a:gd name="T0" fmla="*/ 753 w 824"/>
                  <a:gd name="T1" fmla="*/ 256 h 725"/>
                  <a:gd name="T2" fmla="*/ 767 w 824"/>
                  <a:gd name="T3" fmla="*/ 270 h 725"/>
                  <a:gd name="T4" fmla="*/ 738 w 824"/>
                  <a:gd name="T5" fmla="*/ 320 h 725"/>
                  <a:gd name="T6" fmla="*/ 689 w 824"/>
                  <a:gd name="T7" fmla="*/ 377 h 725"/>
                  <a:gd name="T8" fmla="*/ 674 w 824"/>
                  <a:gd name="T9" fmla="*/ 370 h 725"/>
                  <a:gd name="T10" fmla="*/ 618 w 824"/>
                  <a:gd name="T11" fmla="*/ 405 h 725"/>
                  <a:gd name="T12" fmla="*/ 561 w 824"/>
                  <a:gd name="T13" fmla="*/ 426 h 725"/>
                  <a:gd name="T14" fmla="*/ 561 w 824"/>
                  <a:gd name="T15" fmla="*/ 391 h 725"/>
                  <a:gd name="T16" fmla="*/ 511 w 824"/>
                  <a:gd name="T17" fmla="*/ 448 h 725"/>
                  <a:gd name="T18" fmla="*/ 533 w 824"/>
                  <a:gd name="T19" fmla="*/ 448 h 725"/>
                  <a:gd name="T20" fmla="*/ 554 w 824"/>
                  <a:gd name="T21" fmla="*/ 426 h 725"/>
                  <a:gd name="T22" fmla="*/ 540 w 824"/>
                  <a:gd name="T23" fmla="*/ 441 h 725"/>
                  <a:gd name="T24" fmla="*/ 462 w 824"/>
                  <a:gd name="T25" fmla="*/ 504 h 725"/>
                  <a:gd name="T26" fmla="*/ 426 w 824"/>
                  <a:gd name="T27" fmla="*/ 533 h 725"/>
                  <a:gd name="T28" fmla="*/ 398 w 824"/>
                  <a:gd name="T29" fmla="*/ 561 h 725"/>
                  <a:gd name="T30" fmla="*/ 341 w 824"/>
                  <a:gd name="T31" fmla="*/ 554 h 725"/>
                  <a:gd name="T32" fmla="*/ 327 w 824"/>
                  <a:gd name="T33" fmla="*/ 547 h 725"/>
                  <a:gd name="T34" fmla="*/ 291 w 824"/>
                  <a:gd name="T35" fmla="*/ 533 h 725"/>
                  <a:gd name="T36" fmla="*/ 277 w 824"/>
                  <a:gd name="T37" fmla="*/ 540 h 725"/>
                  <a:gd name="T38" fmla="*/ 277 w 824"/>
                  <a:gd name="T39" fmla="*/ 554 h 725"/>
                  <a:gd name="T40" fmla="*/ 241 w 824"/>
                  <a:gd name="T41" fmla="*/ 575 h 725"/>
                  <a:gd name="T42" fmla="*/ 234 w 824"/>
                  <a:gd name="T43" fmla="*/ 618 h 725"/>
                  <a:gd name="T44" fmla="*/ 206 w 824"/>
                  <a:gd name="T45" fmla="*/ 625 h 725"/>
                  <a:gd name="T46" fmla="*/ 178 w 824"/>
                  <a:gd name="T47" fmla="*/ 654 h 725"/>
                  <a:gd name="T48" fmla="*/ 156 w 824"/>
                  <a:gd name="T49" fmla="*/ 618 h 725"/>
                  <a:gd name="T50" fmla="*/ 135 w 824"/>
                  <a:gd name="T51" fmla="*/ 639 h 725"/>
                  <a:gd name="T52" fmla="*/ 128 w 824"/>
                  <a:gd name="T53" fmla="*/ 682 h 725"/>
                  <a:gd name="T54" fmla="*/ 57 w 824"/>
                  <a:gd name="T55" fmla="*/ 703 h 725"/>
                  <a:gd name="T56" fmla="*/ 0 w 824"/>
                  <a:gd name="T57" fmla="*/ 717 h 725"/>
                  <a:gd name="T58" fmla="*/ 14 w 824"/>
                  <a:gd name="T59" fmla="*/ 696 h 725"/>
                  <a:gd name="T60" fmla="*/ 21 w 824"/>
                  <a:gd name="T61" fmla="*/ 654 h 725"/>
                  <a:gd name="T62" fmla="*/ 64 w 824"/>
                  <a:gd name="T63" fmla="*/ 611 h 725"/>
                  <a:gd name="T64" fmla="*/ 78 w 824"/>
                  <a:gd name="T65" fmla="*/ 590 h 725"/>
                  <a:gd name="T66" fmla="*/ 107 w 824"/>
                  <a:gd name="T67" fmla="*/ 561 h 725"/>
                  <a:gd name="T68" fmla="*/ 107 w 824"/>
                  <a:gd name="T69" fmla="*/ 519 h 725"/>
                  <a:gd name="T70" fmla="*/ 99 w 824"/>
                  <a:gd name="T71" fmla="*/ 476 h 725"/>
                  <a:gd name="T72" fmla="*/ 78 w 824"/>
                  <a:gd name="T73" fmla="*/ 426 h 725"/>
                  <a:gd name="T74" fmla="*/ 71 w 824"/>
                  <a:gd name="T75" fmla="*/ 377 h 725"/>
                  <a:gd name="T76" fmla="*/ 99 w 824"/>
                  <a:gd name="T77" fmla="*/ 391 h 725"/>
                  <a:gd name="T78" fmla="*/ 128 w 824"/>
                  <a:gd name="T79" fmla="*/ 405 h 725"/>
                  <a:gd name="T80" fmla="*/ 170 w 824"/>
                  <a:gd name="T81" fmla="*/ 419 h 725"/>
                  <a:gd name="T82" fmla="*/ 163 w 824"/>
                  <a:gd name="T83" fmla="*/ 391 h 725"/>
                  <a:gd name="T84" fmla="*/ 135 w 824"/>
                  <a:gd name="T85" fmla="*/ 370 h 725"/>
                  <a:gd name="T86" fmla="*/ 128 w 824"/>
                  <a:gd name="T87" fmla="*/ 320 h 725"/>
                  <a:gd name="T88" fmla="*/ 121 w 824"/>
                  <a:gd name="T89" fmla="*/ 263 h 725"/>
                  <a:gd name="T90" fmla="*/ 142 w 824"/>
                  <a:gd name="T91" fmla="*/ 256 h 725"/>
                  <a:gd name="T92" fmla="*/ 185 w 824"/>
                  <a:gd name="T93" fmla="*/ 221 h 725"/>
                  <a:gd name="T94" fmla="*/ 241 w 824"/>
                  <a:gd name="T95" fmla="*/ 199 h 725"/>
                  <a:gd name="T96" fmla="*/ 256 w 824"/>
                  <a:gd name="T97" fmla="*/ 178 h 725"/>
                  <a:gd name="T98" fmla="*/ 277 w 824"/>
                  <a:gd name="T99" fmla="*/ 121 h 725"/>
                  <a:gd name="T100" fmla="*/ 277 w 824"/>
                  <a:gd name="T101" fmla="*/ 86 h 725"/>
                  <a:gd name="T102" fmla="*/ 327 w 824"/>
                  <a:gd name="T103" fmla="*/ 36 h 725"/>
                  <a:gd name="T104" fmla="*/ 362 w 824"/>
                  <a:gd name="T105" fmla="*/ 36 h 725"/>
                  <a:gd name="T106" fmla="*/ 440 w 824"/>
                  <a:gd name="T107" fmla="*/ 22 h 725"/>
                  <a:gd name="T108" fmla="*/ 476 w 824"/>
                  <a:gd name="T109" fmla="*/ 64 h 725"/>
                  <a:gd name="T110" fmla="*/ 533 w 824"/>
                  <a:gd name="T111" fmla="*/ 64 h 725"/>
                  <a:gd name="T112" fmla="*/ 582 w 824"/>
                  <a:gd name="T113" fmla="*/ 71 h 725"/>
                  <a:gd name="T114" fmla="*/ 604 w 824"/>
                  <a:gd name="T115" fmla="*/ 43 h 725"/>
                  <a:gd name="T116" fmla="*/ 611 w 824"/>
                  <a:gd name="T117" fmla="*/ 0 h 725"/>
                  <a:gd name="T118" fmla="*/ 710 w 824"/>
                  <a:gd name="T119" fmla="*/ 50 h 725"/>
                  <a:gd name="T120" fmla="*/ 753 w 824"/>
                  <a:gd name="T121" fmla="*/ 86 h 725"/>
                  <a:gd name="T122" fmla="*/ 788 w 824"/>
                  <a:gd name="T123" fmla="*/ 100 h 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24" h="725">
                    <a:moveTo>
                      <a:pt x="816" y="121"/>
                    </a:moveTo>
                    <a:lnTo>
                      <a:pt x="816" y="121"/>
                    </a:lnTo>
                    <a:lnTo>
                      <a:pt x="816" y="128"/>
                    </a:lnTo>
                    <a:lnTo>
                      <a:pt x="824" y="128"/>
                    </a:lnTo>
                    <a:lnTo>
                      <a:pt x="816" y="135"/>
                    </a:lnTo>
                    <a:lnTo>
                      <a:pt x="809" y="135"/>
                    </a:lnTo>
                    <a:lnTo>
                      <a:pt x="802" y="142"/>
                    </a:lnTo>
                    <a:lnTo>
                      <a:pt x="795" y="142"/>
                    </a:lnTo>
                    <a:lnTo>
                      <a:pt x="788" y="142"/>
                    </a:lnTo>
                    <a:lnTo>
                      <a:pt x="788" y="142"/>
                    </a:lnTo>
                    <a:lnTo>
                      <a:pt x="788" y="142"/>
                    </a:lnTo>
                    <a:lnTo>
                      <a:pt x="788" y="142"/>
                    </a:lnTo>
                    <a:lnTo>
                      <a:pt x="781" y="142"/>
                    </a:lnTo>
                    <a:lnTo>
                      <a:pt x="774" y="150"/>
                    </a:lnTo>
                    <a:lnTo>
                      <a:pt x="767" y="157"/>
                    </a:lnTo>
                    <a:lnTo>
                      <a:pt x="745" y="178"/>
                    </a:lnTo>
                    <a:lnTo>
                      <a:pt x="738" y="185"/>
                    </a:lnTo>
                    <a:lnTo>
                      <a:pt x="738" y="199"/>
                    </a:lnTo>
                    <a:lnTo>
                      <a:pt x="738" y="213"/>
                    </a:lnTo>
                    <a:lnTo>
                      <a:pt x="760" y="249"/>
                    </a:lnTo>
                    <a:lnTo>
                      <a:pt x="760" y="256"/>
                    </a:lnTo>
                    <a:lnTo>
                      <a:pt x="760" y="256"/>
                    </a:lnTo>
                    <a:lnTo>
                      <a:pt x="753" y="256"/>
                    </a:lnTo>
                    <a:lnTo>
                      <a:pt x="753" y="256"/>
                    </a:lnTo>
                    <a:lnTo>
                      <a:pt x="745" y="256"/>
                    </a:lnTo>
                    <a:lnTo>
                      <a:pt x="753" y="263"/>
                    </a:lnTo>
                    <a:lnTo>
                      <a:pt x="753" y="263"/>
                    </a:lnTo>
                    <a:lnTo>
                      <a:pt x="760" y="263"/>
                    </a:lnTo>
                    <a:lnTo>
                      <a:pt x="760" y="263"/>
                    </a:lnTo>
                    <a:lnTo>
                      <a:pt x="760" y="263"/>
                    </a:lnTo>
                    <a:lnTo>
                      <a:pt x="767" y="263"/>
                    </a:lnTo>
                    <a:lnTo>
                      <a:pt x="767" y="263"/>
                    </a:lnTo>
                    <a:lnTo>
                      <a:pt x="767" y="263"/>
                    </a:lnTo>
                    <a:lnTo>
                      <a:pt x="767" y="270"/>
                    </a:lnTo>
                    <a:lnTo>
                      <a:pt x="767" y="270"/>
                    </a:lnTo>
                    <a:lnTo>
                      <a:pt x="760" y="270"/>
                    </a:lnTo>
                    <a:lnTo>
                      <a:pt x="760" y="270"/>
                    </a:lnTo>
                    <a:lnTo>
                      <a:pt x="760" y="270"/>
                    </a:lnTo>
                    <a:lnTo>
                      <a:pt x="760" y="270"/>
                    </a:lnTo>
                    <a:lnTo>
                      <a:pt x="760" y="270"/>
                    </a:lnTo>
                    <a:lnTo>
                      <a:pt x="760" y="270"/>
                    </a:lnTo>
                    <a:lnTo>
                      <a:pt x="760" y="270"/>
                    </a:lnTo>
                    <a:lnTo>
                      <a:pt x="760" y="270"/>
                    </a:lnTo>
                    <a:lnTo>
                      <a:pt x="760" y="270"/>
                    </a:lnTo>
                    <a:lnTo>
                      <a:pt x="767" y="270"/>
                    </a:lnTo>
                    <a:lnTo>
                      <a:pt x="767" y="270"/>
                    </a:lnTo>
                    <a:lnTo>
                      <a:pt x="767" y="270"/>
                    </a:lnTo>
                    <a:lnTo>
                      <a:pt x="767" y="270"/>
                    </a:lnTo>
                    <a:lnTo>
                      <a:pt x="767" y="270"/>
                    </a:lnTo>
                    <a:lnTo>
                      <a:pt x="774" y="270"/>
                    </a:lnTo>
                    <a:lnTo>
                      <a:pt x="767" y="270"/>
                    </a:lnTo>
                    <a:lnTo>
                      <a:pt x="767" y="277"/>
                    </a:lnTo>
                    <a:lnTo>
                      <a:pt x="760" y="277"/>
                    </a:lnTo>
                    <a:lnTo>
                      <a:pt x="753" y="277"/>
                    </a:lnTo>
                    <a:lnTo>
                      <a:pt x="738" y="299"/>
                    </a:lnTo>
                    <a:lnTo>
                      <a:pt x="731" y="299"/>
                    </a:lnTo>
                    <a:lnTo>
                      <a:pt x="731" y="306"/>
                    </a:lnTo>
                    <a:lnTo>
                      <a:pt x="731" y="313"/>
                    </a:lnTo>
                    <a:lnTo>
                      <a:pt x="731" y="320"/>
                    </a:lnTo>
                    <a:lnTo>
                      <a:pt x="731" y="320"/>
                    </a:lnTo>
                    <a:lnTo>
                      <a:pt x="738" y="313"/>
                    </a:lnTo>
                    <a:lnTo>
                      <a:pt x="738" y="313"/>
                    </a:lnTo>
                    <a:lnTo>
                      <a:pt x="738" y="313"/>
                    </a:lnTo>
                    <a:lnTo>
                      <a:pt x="738" y="313"/>
                    </a:lnTo>
                    <a:lnTo>
                      <a:pt x="738" y="313"/>
                    </a:lnTo>
                    <a:lnTo>
                      <a:pt x="738" y="306"/>
                    </a:lnTo>
                    <a:lnTo>
                      <a:pt x="745" y="313"/>
                    </a:lnTo>
                    <a:lnTo>
                      <a:pt x="738" y="320"/>
                    </a:lnTo>
                    <a:lnTo>
                      <a:pt x="738" y="320"/>
                    </a:lnTo>
                    <a:lnTo>
                      <a:pt x="738" y="327"/>
                    </a:lnTo>
                    <a:lnTo>
                      <a:pt x="731" y="327"/>
                    </a:lnTo>
                    <a:lnTo>
                      <a:pt x="731" y="327"/>
                    </a:lnTo>
                    <a:lnTo>
                      <a:pt x="731" y="327"/>
                    </a:lnTo>
                    <a:lnTo>
                      <a:pt x="724" y="327"/>
                    </a:lnTo>
                    <a:lnTo>
                      <a:pt x="731" y="334"/>
                    </a:lnTo>
                    <a:lnTo>
                      <a:pt x="731" y="327"/>
                    </a:lnTo>
                    <a:lnTo>
                      <a:pt x="738" y="327"/>
                    </a:lnTo>
                    <a:lnTo>
                      <a:pt x="731" y="334"/>
                    </a:lnTo>
                    <a:lnTo>
                      <a:pt x="717" y="341"/>
                    </a:lnTo>
                    <a:lnTo>
                      <a:pt x="710" y="341"/>
                    </a:lnTo>
                    <a:lnTo>
                      <a:pt x="703" y="341"/>
                    </a:lnTo>
                    <a:lnTo>
                      <a:pt x="703" y="348"/>
                    </a:lnTo>
                    <a:lnTo>
                      <a:pt x="703" y="348"/>
                    </a:lnTo>
                    <a:lnTo>
                      <a:pt x="703" y="348"/>
                    </a:lnTo>
                    <a:lnTo>
                      <a:pt x="703" y="355"/>
                    </a:lnTo>
                    <a:lnTo>
                      <a:pt x="696" y="355"/>
                    </a:lnTo>
                    <a:lnTo>
                      <a:pt x="696" y="363"/>
                    </a:lnTo>
                    <a:lnTo>
                      <a:pt x="689" y="370"/>
                    </a:lnTo>
                    <a:lnTo>
                      <a:pt x="689" y="370"/>
                    </a:lnTo>
                    <a:lnTo>
                      <a:pt x="689" y="377"/>
                    </a:lnTo>
                    <a:lnTo>
                      <a:pt x="689" y="377"/>
                    </a:lnTo>
                    <a:lnTo>
                      <a:pt x="689" y="377"/>
                    </a:lnTo>
                    <a:lnTo>
                      <a:pt x="696" y="377"/>
                    </a:lnTo>
                    <a:lnTo>
                      <a:pt x="689" y="377"/>
                    </a:lnTo>
                    <a:lnTo>
                      <a:pt x="682" y="377"/>
                    </a:lnTo>
                    <a:lnTo>
                      <a:pt x="674" y="363"/>
                    </a:lnTo>
                    <a:lnTo>
                      <a:pt x="667" y="370"/>
                    </a:lnTo>
                    <a:lnTo>
                      <a:pt x="660" y="370"/>
                    </a:lnTo>
                    <a:lnTo>
                      <a:pt x="660" y="363"/>
                    </a:lnTo>
                    <a:lnTo>
                      <a:pt x="660" y="363"/>
                    </a:lnTo>
                    <a:lnTo>
                      <a:pt x="660" y="363"/>
                    </a:lnTo>
                    <a:lnTo>
                      <a:pt x="653" y="363"/>
                    </a:lnTo>
                    <a:lnTo>
                      <a:pt x="653" y="355"/>
                    </a:lnTo>
                    <a:lnTo>
                      <a:pt x="653" y="355"/>
                    </a:lnTo>
                    <a:lnTo>
                      <a:pt x="653" y="355"/>
                    </a:lnTo>
                    <a:lnTo>
                      <a:pt x="653" y="355"/>
                    </a:lnTo>
                    <a:lnTo>
                      <a:pt x="653" y="363"/>
                    </a:lnTo>
                    <a:lnTo>
                      <a:pt x="653" y="363"/>
                    </a:lnTo>
                    <a:lnTo>
                      <a:pt x="660" y="363"/>
                    </a:lnTo>
                    <a:lnTo>
                      <a:pt x="660" y="370"/>
                    </a:lnTo>
                    <a:lnTo>
                      <a:pt x="660" y="370"/>
                    </a:lnTo>
                    <a:lnTo>
                      <a:pt x="667" y="370"/>
                    </a:lnTo>
                    <a:lnTo>
                      <a:pt x="674" y="370"/>
                    </a:lnTo>
                    <a:lnTo>
                      <a:pt x="674" y="370"/>
                    </a:lnTo>
                    <a:lnTo>
                      <a:pt x="674" y="370"/>
                    </a:lnTo>
                    <a:lnTo>
                      <a:pt x="674" y="370"/>
                    </a:lnTo>
                    <a:lnTo>
                      <a:pt x="674" y="370"/>
                    </a:lnTo>
                    <a:lnTo>
                      <a:pt x="674" y="377"/>
                    </a:lnTo>
                    <a:lnTo>
                      <a:pt x="674" y="377"/>
                    </a:lnTo>
                    <a:lnTo>
                      <a:pt x="674" y="377"/>
                    </a:lnTo>
                    <a:lnTo>
                      <a:pt x="674" y="377"/>
                    </a:lnTo>
                    <a:lnTo>
                      <a:pt x="674" y="377"/>
                    </a:lnTo>
                    <a:lnTo>
                      <a:pt x="682" y="377"/>
                    </a:lnTo>
                    <a:lnTo>
                      <a:pt x="682" y="377"/>
                    </a:lnTo>
                    <a:lnTo>
                      <a:pt x="682" y="377"/>
                    </a:lnTo>
                    <a:lnTo>
                      <a:pt x="682" y="377"/>
                    </a:lnTo>
                    <a:lnTo>
                      <a:pt x="689" y="384"/>
                    </a:lnTo>
                    <a:lnTo>
                      <a:pt x="674" y="391"/>
                    </a:lnTo>
                    <a:lnTo>
                      <a:pt x="653" y="398"/>
                    </a:lnTo>
                    <a:lnTo>
                      <a:pt x="646" y="398"/>
                    </a:lnTo>
                    <a:lnTo>
                      <a:pt x="646" y="398"/>
                    </a:lnTo>
                    <a:lnTo>
                      <a:pt x="646" y="398"/>
                    </a:lnTo>
                    <a:lnTo>
                      <a:pt x="646" y="398"/>
                    </a:lnTo>
                    <a:lnTo>
                      <a:pt x="639" y="398"/>
                    </a:lnTo>
                    <a:lnTo>
                      <a:pt x="639" y="398"/>
                    </a:lnTo>
                    <a:lnTo>
                      <a:pt x="639" y="398"/>
                    </a:lnTo>
                    <a:lnTo>
                      <a:pt x="639" y="398"/>
                    </a:lnTo>
                    <a:lnTo>
                      <a:pt x="618" y="405"/>
                    </a:lnTo>
                    <a:lnTo>
                      <a:pt x="618" y="405"/>
                    </a:lnTo>
                    <a:lnTo>
                      <a:pt x="611" y="412"/>
                    </a:lnTo>
                    <a:lnTo>
                      <a:pt x="611" y="412"/>
                    </a:lnTo>
                    <a:lnTo>
                      <a:pt x="604" y="412"/>
                    </a:lnTo>
                    <a:lnTo>
                      <a:pt x="604" y="412"/>
                    </a:lnTo>
                    <a:lnTo>
                      <a:pt x="596" y="412"/>
                    </a:lnTo>
                    <a:lnTo>
                      <a:pt x="596" y="412"/>
                    </a:lnTo>
                    <a:lnTo>
                      <a:pt x="596" y="419"/>
                    </a:lnTo>
                    <a:lnTo>
                      <a:pt x="582" y="419"/>
                    </a:lnTo>
                    <a:lnTo>
                      <a:pt x="582" y="419"/>
                    </a:lnTo>
                    <a:lnTo>
                      <a:pt x="589" y="419"/>
                    </a:lnTo>
                    <a:lnTo>
                      <a:pt x="589" y="419"/>
                    </a:lnTo>
                    <a:lnTo>
                      <a:pt x="582" y="419"/>
                    </a:lnTo>
                    <a:lnTo>
                      <a:pt x="575" y="426"/>
                    </a:lnTo>
                    <a:lnTo>
                      <a:pt x="568" y="426"/>
                    </a:lnTo>
                    <a:lnTo>
                      <a:pt x="561" y="426"/>
                    </a:lnTo>
                    <a:lnTo>
                      <a:pt x="561" y="426"/>
                    </a:lnTo>
                    <a:lnTo>
                      <a:pt x="561" y="426"/>
                    </a:lnTo>
                    <a:lnTo>
                      <a:pt x="561" y="426"/>
                    </a:lnTo>
                    <a:lnTo>
                      <a:pt x="561" y="426"/>
                    </a:lnTo>
                    <a:lnTo>
                      <a:pt x="561" y="426"/>
                    </a:lnTo>
                    <a:lnTo>
                      <a:pt x="561" y="426"/>
                    </a:lnTo>
                    <a:lnTo>
                      <a:pt x="561" y="426"/>
                    </a:lnTo>
                    <a:lnTo>
                      <a:pt x="561" y="426"/>
                    </a:lnTo>
                    <a:lnTo>
                      <a:pt x="561" y="426"/>
                    </a:lnTo>
                    <a:lnTo>
                      <a:pt x="561" y="426"/>
                    </a:lnTo>
                    <a:lnTo>
                      <a:pt x="561" y="426"/>
                    </a:lnTo>
                    <a:lnTo>
                      <a:pt x="561" y="419"/>
                    </a:lnTo>
                    <a:lnTo>
                      <a:pt x="561" y="419"/>
                    </a:lnTo>
                    <a:lnTo>
                      <a:pt x="568" y="419"/>
                    </a:lnTo>
                    <a:lnTo>
                      <a:pt x="568" y="419"/>
                    </a:lnTo>
                    <a:lnTo>
                      <a:pt x="568" y="419"/>
                    </a:lnTo>
                    <a:lnTo>
                      <a:pt x="568" y="419"/>
                    </a:lnTo>
                    <a:lnTo>
                      <a:pt x="568" y="419"/>
                    </a:lnTo>
                    <a:lnTo>
                      <a:pt x="575" y="419"/>
                    </a:lnTo>
                    <a:lnTo>
                      <a:pt x="575" y="419"/>
                    </a:lnTo>
                    <a:lnTo>
                      <a:pt x="575" y="419"/>
                    </a:lnTo>
                    <a:lnTo>
                      <a:pt x="575" y="412"/>
                    </a:lnTo>
                    <a:lnTo>
                      <a:pt x="575" y="412"/>
                    </a:lnTo>
                    <a:lnTo>
                      <a:pt x="575" y="412"/>
                    </a:lnTo>
                    <a:lnTo>
                      <a:pt x="575" y="412"/>
                    </a:lnTo>
                    <a:lnTo>
                      <a:pt x="575" y="398"/>
                    </a:lnTo>
                    <a:lnTo>
                      <a:pt x="575" y="398"/>
                    </a:lnTo>
                    <a:lnTo>
                      <a:pt x="568" y="398"/>
                    </a:lnTo>
                    <a:lnTo>
                      <a:pt x="561" y="391"/>
                    </a:lnTo>
                    <a:lnTo>
                      <a:pt x="561" y="391"/>
                    </a:lnTo>
                    <a:lnTo>
                      <a:pt x="561" y="398"/>
                    </a:lnTo>
                    <a:lnTo>
                      <a:pt x="554" y="398"/>
                    </a:lnTo>
                    <a:lnTo>
                      <a:pt x="547" y="405"/>
                    </a:lnTo>
                    <a:lnTo>
                      <a:pt x="540" y="412"/>
                    </a:lnTo>
                    <a:lnTo>
                      <a:pt x="540" y="412"/>
                    </a:lnTo>
                    <a:lnTo>
                      <a:pt x="540" y="412"/>
                    </a:lnTo>
                    <a:lnTo>
                      <a:pt x="533" y="412"/>
                    </a:lnTo>
                    <a:lnTo>
                      <a:pt x="533" y="412"/>
                    </a:lnTo>
                    <a:lnTo>
                      <a:pt x="533" y="419"/>
                    </a:lnTo>
                    <a:lnTo>
                      <a:pt x="525" y="419"/>
                    </a:lnTo>
                    <a:lnTo>
                      <a:pt x="525" y="426"/>
                    </a:lnTo>
                    <a:lnTo>
                      <a:pt x="525" y="426"/>
                    </a:lnTo>
                    <a:lnTo>
                      <a:pt x="525" y="426"/>
                    </a:lnTo>
                    <a:lnTo>
                      <a:pt x="525" y="434"/>
                    </a:lnTo>
                    <a:lnTo>
                      <a:pt x="518" y="434"/>
                    </a:lnTo>
                    <a:lnTo>
                      <a:pt x="518" y="441"/>
                    </a:lnTo>
                    <a:lnTo>
                      <a:pt x="518" y="441"/>
                    </a:lnTo>
                    <a:lnTo>
                      <a:pt x="518" y="441"/>
                    </a:lnTo>
                    <a:lnTo>
                      <a:pt x="518" y="448"/>
                    </a:lnTo>
                    <a:lnTo>
                      <a:pt x="518" y="448"/>
                    </a:lnTo>
                    <a:lnTo>
                      <a:pt x="518" y="448"/>
                    </a:lnTo>
                    <a:lnTo>
                      <a:pt x="518" y="448"/>
                    </a:lnTo>
                    <a:lnTo>
                      <a:pt x="511" y="448"/>
                    </a:lnTo>
                    <a:lnTo>
                      <a:pt x="511" y="448"/>
                    </a:lnTo>
                    <a:lnTo>
                      <a:pt x="511" y="455"/>
                    </a:lnTo>
                    <a:lnTo>
                      <a:pt x="518" y="455"/>
                    </a:lnTo>
                    <a:lnTo>
                      <a:pt x="518" y="455"/>
                    </a:lnTo>
                    <a:lnTo>
                      <a:pt x="518" y="455"/>
                    </a:lnTo>
                    <a:lnTo>
                      <a:pt x="518" y="455"/>
                    </a:lnTo>
                    <a:lnTo>
                      <a:pt x="518" y="455"/>
                    </a:lnTo>
                    <a:lnTo>
                      <a:pt x="518" y="455"/>
                    </a:lnTo>
                    <a:lnTo>
                      <a:pt x="518" y="462"/>
                    </a:lnTo>
                    <a:lnTo>
                      <a:pt x="518" y="455"/>
                    </a:lnTo>
                    <a:lnTo>
                      <a:pt x="518" y="455"/>
                    </a:lnTo>
                    <a:lnTo>
                      <a:pt x="518" y="455"/>
                    </a:lnTo>
                    <a:lnTo>
                      <a:pt x="518" y="455"/>
                    </a:lnTo>
                    <a:lnTo>
                      <a:pt x="525" y="455"/>
                    </a:lnTo>
                    <a:lnTo>
                      <a:pt x="525" y="455"/>
                    </a:lnTo>
                    <a:lnTo>
                      <a:pt x="525" y="455"/>
                    </a:lnTo>
                    <a:lnTo>
                      <a:pt x="525" y="455"/>
                    </a:lnTo>
                    <a:lnTo>
                      <a:pt x="525" y="455"/>
                    </a:lnTo>
                    <a:lnTo>
                      <a:pt x="525" y="448"/>
                    </a:lnTo>
                    <a:lnTo>
                      <a:pt x="525" y="448"/>
                    </a:lnTo>
                    <a:lnTo>
                      <a:pt x="525" y="448"/>
                    </a:lnTo>
                    <a:lnTo>
                      <a:pt x="525" y="448"/>
                    </a:lnTo>
                    <a:lnTo>
                      <a:pt x="533" y="448"/>
                    </a:lnTo>
                    <a:lnTo>
                      <a:pt x="533" y="448"/>
                    </a:lnTo>
                    <a:lnTo>
                      <a:pt x="533" y="448"/>
                    </a:lnTo>
                    <a:lnTo>
                      <a:pt x="525" y="448"/>
                    </a:lnTo>
                    <a:lnTo>
                      <a:pt x="525" y="441"/>
                    </a:lnTo>
                    <a:lnTo>
                      <a:pt x="525" y="441"/>
                    </a:lnTo>
                    <a:lnTo>
                      <a:pt x="525" y="441"/>
                    </a:lnTo>
                    <a:lnTo>
                      <a:pt x="533" y="441"/>
                    </a:lnTo>
                    <a:lnTo>
                      <a:pt x="533" y="441"/>
                    </a:lnTo>
                    <a:lnTo>
                      <a:pt x="533" y="441"/>
                    </a:lnTo>
                    <a:lnTo>
                      <a:pt x="533" y="441"/>
                    </a:lnTo>
                    <a:lnTo>
                      <a:pt x="533" y="441"/>
                    </a:lnTo>
                    <a:lnTo>
                      <a:pt x="533" y="434"/>
                    </a:lnTo>
                    <a:lnTo>
                      <a:pt x="533" y="434"/>
                    </a:lnTo>
                    <a:lnTo>
                      <a:pt x="533" y="434"/>
                    </a:lnTo>
                    <a:lnTo>
                      <a:pt x="533" y="434"/>
                    </a:lnTo>
                    <a:lnTo>
                      <a:pt x="533" y="434"/>
                    </a:lnTo>
                    <a:lnTo>
                      <a:pt x="533" y="434"/>
                    </a:lnTo>
                    <a:lnTo>
                      <a:pt x="533" y="434"/>
                    </a:lnTo>
                    <a:lnTo>
                      <a:pt x="540" y="434"/>
                    </a:lnTo>
                    <a:lnTo>
                      <a:pt x="547" y="426"/>
                    </a:lnTo>
                    <a:lnTo>
                      <a:pt x="547" y="426"/>
                    </a:lnTo>
                    <a:lnTo>
                      <a:pt x="554" y="426"/>
                    </a:lnTo>
                    <a:lnTo>
                      <a:pt x="554" y="426"/>
                    </a:lnTo>
                    <a:lnTo>
                      <a:pt x="554" y="426"/>
                    </a:lnTo>
                    <a:lnTo>
                      <a:pt x="554" y="426"/>
                    </a:lnTo>
                    <a:lnTo>
                      <a:pt x="554" y="426"/>
                    </a:lnTo>
                    <a:lnTo>
                      <a:pt x="554" y="434"/>
                    </a:lnTo>
                    <a:lnTo>
                      <a:pt x="554" y="434"/>
                    </a:lnTo>
                    <a:lnTo>
                      <a:pt x="554" y="434"/>
                    </a:lnTo>
                    <a:lnTo>
                      <a:pt x="554" y="434"/>
                    </a:lnTo>
                    <a:lnTo>
                      <a:pt x="554" y="434"/>
                    </a:lnTo>
                    <a:lnTo>
                      <a:pt x="554" y="434"/>
                    </a:lnTo>
                    <a:lnTo>
                      <a:pt x="554" y="434"/>
                    </a:lnTo>
                    <a:lnTo>
                      <a:pt x="554" y="441"/>
                    </a:lnTo>
                    <a:lnTo>
                      <a:pt x="547" y="441"/>
                    </a:lnTo>
                    <a:lnTo>
                      <a:pt x="547" y="441"/>
                    </a:lnTo>
                    <a:lnTo>
                      <a:pt x="547" y="441"/>
                    </a:lnTo>
                    <a:lnTo>
                      <a:pt x="547" y="441"/>
                    </a:lnTo>
                    <a:lnTo>
                      <a:pt x="547" y="434"/>
                    </a:lnTo>
                    <a:lnTo>
                      <a:pt x="540" y="434"/>
                    </a:lnTo>
                    <a:lnTo>
                      <a:pt x="540" y="441"/>
                    </a:lnTo>
                    <a:lnTo>
                      <a:pt x="540" y="441"/>
                    </a:lnTo>
                    <a:lnTo>
                      <a:pt x="540" y="441"/>
                    </a:lnTo>
                    <a:lnTo>
                      <a:pt x="540" y="441"/>
                    </a:lnTo>
                    <a:lnTo>
                      <a:pt x="540" y="441"/>
                    </a:lnTo>
                    <a:lnTo>
                      <a:pt x="540" y="441"/>
                    </a:lnTo>
                    <a:lnTo>
                      <a:pt x="540" y="441"/>
                    </a:lnTo>
                    <a:lnTo>
                      <a:pt x="540" y="441"/>
                    </a:lnTo>
                    <a:lnTo>
                      <a:pt x="547" y="441"/>
                    </a:lnTo>
                    <a:lnTo>
                      <a:pt x="575" y="426"/>
                    </a:lnTo>
                    <a:lnTo>
                      <a:pt x="575" y="426"/>
                    </a:lnTo>
                    <a:lnTo>
                      <a:pt x="561" y="434"/>
                    </a:lnTo>
                    <a:lnTo>
                      <a:pt x="554" y="441"/>
                    </a:lnTo>
                    <a:lnTo>
                      <a:pt x="547" y="441"/>
                    </a:lnTo>
                    <a:lnTo>
                      <a:pt x="540" y="448"/>
                    </a:lnTo>
                    <a:lnTo>
                      <a:pt x="533" y="455"/>
                    </a:lnTo>
                    <a:lnTo>
                      <a:pt x="525" y="462"/>
                    </a:lnTo>
                    <a:lnTo>
                      <a:pt x="511" y="476"/>
                    </a:lnTo>
                    <a:lnTo>
                      <a:pt x="504" y="483"/>
                    </a:lnTo>
                    <a:lnTo>
                      <a:pt x="483" y="497"/>
                    </a:lnTo>
                    <a:lnTo>
                      <a:pt x="476" y="512"/>
                    </a:lnTo>
                    <a:lnTo>
                      <a:pt x="469" y="512"/>
                    </a:lnTo>
                    <a:lnTo>
                      <a:pt x="469" y="512"/>
                    </a:lnTo>
                    <a:lnTo>
                      <a:pt x="469" y="512"/>
                    </a:lnTo>
                    <a:lnTo>
                      <a:pt x="469" y="504"/>
                    </a:lnTo>
                    <a:lnTo>
                      <a:pt x="469" y="504"/>
                    </a:lnTo>
                    <a:lnTo>
                      <a:pt x="469" y="504"/>
                    </a:lnTo>
                    <a:lnTo>
                      <a:pt x="462" y="504"/>
                    </a:lnTo>
                    <a:lnTo>
                      <a:pt x="462" y="504"/>
                    </a:lnTo>
                    <a:lnTo>
                      <a:pt x="462" y="504"/>
                    </a:lnTo>
                    <a:lnTo>
                      <a:pt x="462" y="512"/>
                    </a:lnTo>
                    <a:lnTo>
                      <a:pt x="462" y="512"/>
                    </a:lnTo>
                    <a:lnTo>
                      <a:pt x="462" y="512"/>
                    </a:lnTo>
                    <a:lnTo>
                      <a:pt x="462" y="512"/>
                    </a:lnTo>
                    <a:lnTo>
                      <a:pt x="462" y="512"/>
                    </a:lnTo>
                    <a:lnTo>
                      <a:pt x="462" y="512"/>
                    </a:lnTo>
                    <a:lnTo>
                      <a:pt x="462" y="519"/>
                    </a:lnTo>
                    <a:lnTo>
                      <a:pt x="454" y="519"/>
                    </a:lnTo>
                    <a:lnTo>
                      <a:pt x="454" y="519"/>
                    </a:lnTo>
                    <a:lnTo>
                      <a:pt x="454" y="519"/>
                    </a:lnTo>
                    <a:lnTo>
                      <a:pt x="454" y="519"/>
                    </a:lnTo>
                    <a:lnTo>
                      <a:pt x="454" y="519"/>
                    </a:lnTo>
                    <a:lnTo>
                      <a:pt x="440" y="519"/>
                    </a:lnTo>
                    <a:lnTo>
                      <a:pt x="440" y="526"/>
                    </a:lnTo>
                    <a:lnTo>
                      <a:pt x="440" y="526"/>
                    </a:lnTo>
                    <a:lnTo>
                      <a:pt x="433" y="526"/>
                    </a:lnTo>
                    <a:lnTo>
                      <a:pt x="433" y="526"/>
                    </a:lnTo>
                    <a:lnTo>
                      <a:pt x="433" y="526"/>
                    </a:lnTo>
                    <a:lnTo>
                      <a:pt x="433" y="526"/>
                    </a:lnTo>
                    <a:lnTo>
                      <a:pt x="426" y="526"/>
                    </a:lnTo>
                    <a:lnTo>
                      <a:pt x="426" y="526"/>
                    </a:lnTo>
                    <a:lnTo>
                      <a:pt x="426" y="533"/>
                    </a:lnTo>
                    <a:lnTo>
                      <a:pt x="433" y="533"/>
                    </a:lnTo>
                    <a:lnTo>
                      <a:pt x="433" y="533"/>
                    </a:lnTo>
                    <a:lnTo>
                      <a:pt x="433" y="533"/>
                    </a:lnTo>
                    <a:lnTo>
                      <a:pt x="426" y="533"/>
                    </a:lnTo>
                    <a:lnTo>
                      <a:pt x="426" y="533"/>
                    </a:lnTo>
                    <a:lnTo>
                      <a:pt x="426" y="533"/>
                    </a:lnTo>
                    <a:lnTo>
                      <a:pt x="426" y="540"/>
                    </a:lnTo>
                    <a:lnTo>
                      <a:pt x="426" y="540"/>
                    </a:lnTo>
                    <a:lnTo>
                      <a:pt x="433" y="540"/>
                    </a:lnTo>
                    <a:lnTo>
                      <a:pt x="433" y="540"/>
                    </a:lnTo>
                    <a:lnTo>
                      <a:pt x="426" y="540"/>
                    </a:lnTo>
                    <a:lnTo>
                      <a:pt x="426" y="547"/>
                    </a:lnTo>
                    <a:lnTo>
                      <a:pt x="426" y="547"/>
                    </a:lnTo>
                    <a:lnTo>
                      <a:pt x="419" y="547"/>
                    </a:lnTo>
                    <a:lnTo>
                      <a:pt x="419" y="547"/>
                    </a:lnTo>
                    <a:lnTo>
                      <a:pt x="419" y="547"/>
                    </a:lnTo>
                    <a:lnTo>
                      <a:pt x="419" y="547"/>
                    </a:lnTo>
                    <a:lnTo>
                      <a:pt x="419" y="554"/>
                    </a:lnTo>
                    <a:lnTo>
                      <a:pt x="419" y="554"/>
                    </a:lnTo>
                    <a:lnTo>
                      <a:pt x="412" y="561"/>
                    </a:lnTo>
                    <a:lnTo>
                      <a:pt x="412" y="561"/>
                    </a:lnTo>
                    <a:lnTo>
                      <a:pt x="412" y="561"/>
                    </a:lnTo>
                    <a:lnTo>
                      <a:pt x="398" y="561"/>
                    </a:lnTo>
                    <a:lnTo>
                      <a:pt x="391" y="568"/>
                    </a:lnTo>
                    <a:lnTo>
                      <a:pt x="391" y="568"/>
                    </a:lnTo>
                    <a:lnTo>
                      <a:pt x="383" y="568"/>
                    </a:lnTo>
                    <a:lnTo>
                      <a:pt x="383" y="561"/>
                    </a:lnTo>
                    <a:lnTo>
                      <a:pt x="383" y="561"/>
                    </a:lnTo>
                    <a:lnTo>
                      <a:pt x="376" y="561"/>
                    </a:lnTo>
                    <a:lnTo>
                      <a:pt x="376" y="561"/>
                    </a:lnTo>
                    <a:lnTo>
                      <a:pt x="376" y="561"/>
                    </a:lnTo>
                    <a:lnTo>
                      <a:pt x="376" y="561"/>
                    </a:lnTo>
                    <a:lnTo>
                      <a:pt x="369" y="561"/>
                    </a:lnTo>
                    <a:lnTo>
                      <a:pt x="362" y="561"/>
                    </a:lnTo>
                    <a:lnTo>
                      <a:pt x="355" y="561"/>
                    </a:lnTo>
                    <a:lnTo>
                      <a:pt x="348" y="561"/>
                    </a:lnTo>
                    <a:lnTo>
                      <a:pt x="348" y="561"/>
                    </a:lnTo>
                    <a:lnTo>
                      <a:pt x="348" y="561"/>
                    </a:lnTo>
                    <a:lnTo>
                      <a:pt x="348" y="561"/>
                    </a:lnTo>
                    <a:lnTo>
                      <a:pt x="348" y="561"/>
                    </a:lnTo>
                    <a:lnTo>
                      <a:pt x="348" y="561"/>
                    </a:lnTo>
                    <a:lnTo>
                      <a:pt x="348" y="561"/>
                    </a:lnTo>
                    <a:lnTo>
                      <a:pt x="348" y="561"/>
                    </a:lnTo>
                    <a:lnTo>
                      <a:pt x="348" y="554"/>
                    </a:lnTo>
                    <a:lnTo>
                      <a:pt x="348" y="554"/>
                    </a:lnTo>
                    <a:lnTo>
                      <a:pt x="341" y="554"/>
                    </a:lnTo>
                    <a:lnTo>
                      <a:pt x="341" y="554"/>
                    </a:lnTo>
                    <a:lnTo>
                      <a:pt x="341" y="547"/>
                    </a:lnTo>
                    <a:lnTo>
                      <a:pt x="341" y="547"/>
                    </a:lnTo>
                    <a:lnTo>
                      <a:pt x="341" y="547"/>
                    </a:lnTo>
                    <a:lnTo>
                      <a:pt x="341" y="540"/>
                    </a:lnTo>
                    <a:lnTo>
                      <a:pt x="334" y="533"/>
                    </a:lnTo>
                    <a:lnTo>
                      <a:pt x="334" y="533"/>
                    </a:lnTo>
                    <a:lnTo>
                      <a:pt x="334" y="533"/>
                    </a:lnTo>
                    <a:lnTo>
                      <a:pt x="334" y="533"/>
                    </a:lnTo>
                    <a:lnTo>
                      <a:pt x="327" y="533"/>
                    </a:lnTo>
                    <a:lnTo>
                      <a:pt x="327" y="533"/>
                    </a:lnTo>
                    <a:lnTo>
                      <a:pt x="327" y="533"/>
                    </a:lnTo>
                    <a:lnTo>
                      <a:pt x="327" y="533"/>
                    </a:lnTo>
                    <a:lnTo>
                      <a:pt x="327" y="540"/>
                    </a:lnTo>
                    <a:lnTo>
                      <a:pt x="327" y="540"/>
                    </a:lnTo>
                    <a:lnTo>
                      <a:pt x="327" y="540"/>
                    </a:lnTo>
                    <a:lnTo>
                      <a:pt x="327" y="540"/>
                    </a:lnTo>
                    <a:lnTo>
                      <a:pt x="327" y="540"/>
                    </a:lnTo>
                    <a:lnTo>
                      <a:pt x="327" y="540"/>
                    </a:lnTo>
                    <a:lnTo>
                      <a:pt x="327" y="547"/>
                    </a:lnTo>
                    <a:lnTo>
                      <a:pt x="327" y="547"/>
                    </a:lnTo>
                    <a:lnTo>
                      <a:pt x="327" y="547"/>
                    </a:lnTo>
                    <a:lnTo>
                      <a:pt x="327" y="547"/>
                    </a:lnTo>
                    <a:lnTo>
                      <a:pt x="327" y="540"/>
                    </a:lnTo>
                    <a:lnTo>
                      <a:pt x="320" y="533"/>
                    </a:lnTo>
                    <a:lnTo>
                      <a:pt x="320" y="533"/>
                    </a:lnTo>
                    <a:lnTo>
                      <a:pt x="320" y="533"/>
                    </a:lnTo>
                    <a:lnTo>
                      <a:pt x="312" y="526"/>
                    </a:lnTo>
                    <a:lnTo>
                      <a:pt x="312" y="526"/>
                    </a:lnTo>
                    <a:lnTo>
                      <a:pt x="312" y="519"/>
                    </a:lnTo>
                    <a:lnTo>
                      <a:pt x="305" y="519"/>
                    </a:lnTo>
                    <a:lnTo>
                      <a:pt x="305" y="519"/>
                    </a:lnTo>
                    <a:lnTo>
                      <a:pt x="305" y="519"/>
                    </a:lnTo>
                    <a:lnTo>
                      <a:pt x="305" y="519"/>
                    </a:lnTo>
                    <a:lnTo>
                      <a:pt x="305" y="519"/>
                    </a:lnTo>
                    <a:lnTo>
                      <a:pt x="305" y="519"/>
                    </a:lnTo>
                    <a:lnTo>
                      <a:pt x="305" y="526"/>
                    </a:lnTo>
                    <a:lnTo>
                      <a:pt x="305" y="526"/>
                    </a:lnTo>
                    <a:lnTo>
                      <a:pt x="298" y="526"/>
                    </a:lnTo>
                    <a:lnTo>
                      <a:pt x="298" y="526"/>
                    </a:lnTo>
                    <a:lnTo>
                      <a:pt x="298" y="526"/>
                    </a:lnTo>
                    <a:lnTo>
                      <a:pt x="298" y="533"/>
                    </a:lnTo>
                    <a:lnTo>
                      <a:pt x="298" y="533"/>
                    </a:lnTo>
                    <a:lnTo>
                      <a:pt x="298" y="533"/>
                    </a:lnTo>
                    <a:lnTo>
                      <a:pt x="291" y="533"/>
                    </a:lnTo>
                    <a:lnTo>
                      <a:pt x="291" y="533"/>
                    </a:lnTo>
                    <a:lnTo>
                      <a:pt x="291" y="533"/>
                    </a:lnTo>
                    <a:lnTo>
                      <a:pt x="291" y="533"/>
                    </a:lnTo>
                    <a:lnTo>
                      <a:pt x="291" y="526"/>
                    </a:lnTo>
                    <a:lnTo>
                      <a:pt x="291" y="526"/>
                    </a:lnTo>
                    <a:lnTo>
                      <a:pt x="291" y="526"/>
                    </a:lnTo>
                    <a:lnTo>
                      <a:pt x="291" y="526"/>
                    </a:lnTo>
                    <a:lnTo>
                      <a:pt x="284" y="526"/>
                    </a:lnTo>
                    <a:lnTo>
                      <a:pt x="284" y="526"/>
                    </a:lnTo>
                    <a:lnTo>
                      <a:pt x="291" y="533"/>
                    </a:lnTo>
                    <a:lnTo>
                      <a:pt x="291" y="533"/>
                    </a:lnTo>
                    <a:lnTo>
                      <a:pt x="291" y="533"/>
                    </a:lnTo>
                    <a:lnTo>
                      <a:pt x="284" y="533"/>
                    </a:lnTo>
                    <a:lnTo>
                      <a:pt x="284" y="533"/>
                    </a:lnTo>
                    <a:lnTo>
                      <a:pt x="284" y="533"/>
                    </a:lnTo>
                    <a:lnTo>
                      <a:pt x="284" y="533"/>
                    </a:lnTo>
                    <a:lnTo>
                      <a:pt x="284" y="540"/>
                    </a:lnTo>
                    <a:lnTo>
                      <a:pt x="284" y="540"/>
                    </a:lnTo>
                    <a:lnTo>
                      <a:pt x="284" y="540"/>
                    </a:lnTo>
                    <a:lnTo>
                      <a:pt x="284" y="540"/>
                    </a:lnTo>
                    <a:lnTo>
                      <a:pt x="284" y="540"/>
                    </a:lnTo>
                    <a:lnTo>
                      <a:pt x="284" y="540"/>
                    </a:lnTo>
                    <a:lnTo>
                      <a:pt x="277" y="540"/>
                    </a:lnTo>
                    <a:lnTo>
                      <a:pt x="277" y="540"/>
                    </a:lnTo>
                    <a:lnTo>
                      <a:pt x="277" y="540"/>
                    </a:lnTo>
                    <a:lnTo>
                      <a:pt x="270" y="540"/>
                    </a:lnTo>
                    <a:lnTo>
                      <a:pt x="270" y="533"/>
                    </a:lnTo>
                    <a:lnTo>
                      <a:pt x="270" y="533"/>
                    </a:lnTo>
                    <a:lnTo>
                      <a:pt x="270" y="533"/>
                    </a:lnTo>
                    <a:lnTo>
                      <a:pt x="270" y="533"/>
                    </a:lnTo>
                    <a:lnTo>
                      <a:pt x="270" y="540"/>
                    </a:lnTo>
                    <a:lnTo>
                      <a:pt x="263" y="540"/>
                    </a:lnTo>
                    <a:lnTo>
                      <a:pt x="263" y="540"/>
                    </a:lnTo>
                    <a:lnTo>
                      <a:pt x="263" y="540"/>
                    </a:lnTo>
                    <a:lnTo>
                      <a:pt x="263" y="540"/>
                    </a:lnTo>
                    <a:lnTo>
                      <a:pt x="270" y="540"/>
                    </a:lnTo>
                    <a:lnTo>
                      <a:pt x="270" y="540"/>
                    </a:lnTo>
                    <a:lnTo>
                      <a:pt x="270" y="547"/>
                    </a:lnTo>
                    <a:lnTo>
                      <a:pt x="270" y="547"/>
                    </a:lnTo>
                    <a:lnTo>
                      <a:pt x="270" y="547"/>
                    </a:lnTo>
                    <a:lnTo>
                      <a:pt x="270" y="554"/>
                    </a:lnTo>
                    <a:lnTo>
                      <a:pt x="270" y="554"/>
                    </a:lnTo>
                    <a:lnTo>
                      <a:pt x="277" y="554"/>
                    </a:lnTo>
                    <a:lnTo>
                      <a:pt x="277" y="554"/>
                    </a:lnTo>
                    <a:lnTo>
                      <a:pt x="277" y="554"/>
                    </a:lnTo>
                    <a:lnTo>
                      <a:pt x="277" y="554"/>
                    </a:lnTo>
                    <a:lnTo>
                      <a:pt x="277" y="554"/>
                    </a:lnTo>
                    <a:lnTo>
                      <a:pt x="277" y="554"/>
                    </a:lnTo>
                    <a:lnTo>
                      <a:pt x="277" y="554"/>
                    </a:lnTo>
                    <a:lnTo>
                      <a:pt x="277" y="554"/>
                    </a:lnTo>
                    <a:lnTo>
                      <a:pt x="277" y="554"/>
                    </a:lnTo>
                    <a:lnTo>
                      <a:pt x="277" y="554"/>
                    </a:lnTo>
                    <a:lnTo>
                      <a:pt x="277" y="554"/>
                    </a:lnTo>
                    <a:lnTo>
                      <a:pt x="277" y="561"/>
                    </a:lnTo>
                    <a:lnTo>
                      <a:pt x="277" y="561"/>
                    </a:lnTo>
                    <a:lnTo>
                      <a:pt x="277" y="561"/>
                    </a:lnTo>
                    <a:lnTo>
                      <a:pt x="270" y="561"/>
                    </a:lnTo>
                    <a:lnTo>
                      <a:pt x="270" y="561"/>
                    </a:lnTo>
                    <a:lnTo>
                      <a:pt x="263" y="568"/>
                    </a:lnTo>
                    <a:lnTo>
                      <a:pt x="263" y="568"/>
                    </a:lnTo>
                    <a:lnTo>
                      <a:pt x="263" y="568"/>
                    </a:lnTo>
                    <a:lnTo>
                      <a:pt x="256" y="575"/>
                    </a:lnTo>
                    <a:lnTo>
                      <a:pt x="249" y="575"/>
                    </a:lnTo>
                    <a:lnTo>
                      <a:pt x="249" y="575"/>
                    </a:lnTo>
                    <a:lnTo>
                      <a:pt x="249" y="575"/>
                    </a:lnTo>
                    <a:lnTo>
                      <a:pt x="249" y="575"/>
                    </a:lnTo>
                    <a:lnTo>
                      <a:pt x="249" y="568"/>
                    </a:lnTo>
                    <a:lnTo>
                      <a:pt x="241" y="575"/>
                    </a:lnTo>
                    <a:lnTo>
                      <a:pt x="241" y="575"/>
                    </a:lnTo>
                    <a:lnTo>
                      <a:pt x="241" y="575"/>
                    </a:lnTo>
                    <a:lnTo>
                      <a:pt x="241" y="575"/>
                    </a:lnTo>
                    <a:lnTo>
                      <a:pt x="234" y="583"/>
                    </a:lnTo>
                    <a:lnTo>
                      <a:pt x="234" y="583"/>
                    </a:lnTo>
                    <a:lnTo>
                      <a:pt x="234" y="590"/>
                    </a:lnTo>
                    <a:lnTo>
                      <a:pt x="227" y="590"/>
                    </a:lnTo>
                    <a:lnTo>
                      <a:pt x="227" y="590"/>
                    </a:lnTo>
                    <a:lnTo>
                      <a:pt x="227" y="590"/>
                    </a:lnTo>
                    <a:lnTo>
                      <a:pt x="227" y="597"/>
                    </a:lnTo>
                    <a:lnTo>
                      <a:pt x="227" y="597"/>
                    </a:lnTo>
                    <a:lnTo>
                      <a:pt x="227" y="597"/>
                    </a:lnTo>
                    <a:lnTo>
                      <a:pt x="227" y="597"/>
                    </a:lnTo>
                    <a:lnTo>
                      <a:pt x="227" y="597"/>
                    </a:lnTo>
                    <a:lnTo>
                      <a:pt x="234" y="604"/>
                    </a:lnTo>
                    <a:lnTo>
                      <a:pt x="234" y="604"/>
                    </a:lnTo>
                    <a:lnTo>
                      <a:pt x="234" y="604"/>
                    </a:lnTo>
                    <a:lnTo>
                      <a:pt x="234" y="604"/>
                    </a:lnTo>
                    <a:lnTo>
                      <a:pt x="234" y="604"/>
                    </a:lnTo>
                    <a:lnTo>
                      <a:pt x="234" y="604"/>
                    </a:lnTo>
                    <a:lnTo>
                      <a:pt x="234" y="604"/>
                    </a:lnTo>
                    <a:lnTo>
                      <a:pt x="234" y="604"/>
                    </a:lnTo>
                    <a:lnTo>
                      <a:pt x="241" y="611"/>
                    </a:lnTo>
                    <a:lnTo>
                      <a:pt x="234" y="618"/>
                    </a:lnTo>
                    <a:lnTo>
                      <a:pt x="234" y="618"/>
                    </a:lnTo>
                    <a:lnTo>
                      <a:pt x="234" y="618"/>
                    </a:lnTo>
                    <a:lnTo>
                      <a:pt x="234" y="618"/>
                    </a:lnTo>
                    <a:lnTo>
                      <a:pt x="234" y="618"/>
                    </a:lnTo>
                    <a:lnTo>
                      <a:pt x="234" y="625"/>
                    </a:lnTo>
                    <a:lnTo>
                      <a:pt x="234" y="625"/>
                    </a:lnTo>
                    <a:lnTo>
                      <a:pt x="234" y="625"/>
                    </a:lnTo>
                    <a:lnTo>
                      <a:pt x="234" y="632"/>
                    </a:lnTo>
                    <a:lnTo>
                      <a:pt x="227" y="632"/>
                    </a:lnTo>
                    <a:lnTo>
                      <a:pt x="227" y="632"/>
                    </a:lnTo>
                    <a:lnTo>
                      <a:pt x="227" y="632"/>
                    </a:lnTo>
                    <a:lnTo>
                      <a:pt x="227" y="632"/>
                    </a:lnTo>
                    <a:lnTo>
                      <a:pt x="220" y="632"/>
                    </a:lnTo>
                    <a:lnTo>
                      <a:pt x="220" y="632"/>
                    </a:lnTo>
                    <a:lnTo>
                      <a:pt x="213" y="632"/>
                    </a:lnTo>
                    <a:lnTo>
                      <a:pt x="213" y="632"/>
                    </a:lnTo>
                    <a:lnTo>
                      <a:pt x="213" y="632"/>
                    </a:lnTo>
                    <a:lnTo>
                      <a:pt x="213" y="632"/>
                    </a:lnTo>
                    <a:lnTo>
                      <a:pt x="213" y="632"/>
                    </a:lnTo>
                    <a:lnTo>
                      <a:pt x="213" y="625"/>
                    </a:lnTo>
                    <a:lnTo>
                      <a:pt x="213" y="625"/>
                    </a:lnTo>
                    <a:lnTo>
                      <a:pt x="213" y="625"/>
                    </a:lnTo>
                    <a:lnTo>
                      <a:pt x="206" y="625"/>
                    </a:lnTo>
                    <a:lnTo>
                      <a:pt x="206" y="625"/>
                    </a:lnTo>
                    <a:lnTo>
                      <a:pt x="206" y="625"/>
                    </a:lnTo>
                    <a:lnTo>
                      <a:pt x="206" y="625"/>
                    </a:lnTo>
                    <a:lnTo>
                      <a:pt x="199" y="625"/>
                    </a:lnTo>
                    <a:lnTo>
                      <a:pt x="199" y="625"/>
                    </a:lnTo>
                    <a:lnTo>
                      <a:pt x="199" y="625"/>
                    </a:lnTo>
                    <a:lnTo>
                      <a:pt x="199" y="625"/>
                    </a:lnTo>
                    <a:lnTo>
                      <a:pt x="199" y="625"/>
                    </a:lnTo>
                    <a:lnTo>
                      <a:pt x="199" y="632"/>
                    </a:lnTo>
                    <a:lnTo>
                      <a:pt x="199" y="632"/>
                    </a:lnTo>
                    <a:lnTo>
                      <a:pt x="199" y="632"/>
                    </a:lnTo>
                    <a:lnTo>
                      <a:pt x="192" y="639"/>
                    </a:lnTo>
                    <a:lnTo>
                      <a:pt x="192" y="639"/>
                    </a:lnTo>
                    <a:lnTo>
                      <a:pt x="192" y="639"/>
                    </a:lnTo>
                    <a:lnTo>
                      <a:pt x="185" y="639"/>
                    </a:lnTo>
                    <a:lnTo>
                      <a:pt x="185" y="646"/>
                    </a:lnTo>
                    <a:lnTo>
                      <a:pt x="178" y="646"/>
                    </a:lnTo>
                    <a:lnTo>
                      <a:pt x="178" y="646"/>
                    </a:lnTo>
                    <a:lnTo>
                      <a:pt x="178" y="646"/>
                    </a:lnTo>
                    <a:lnTo>
                      <a:pt x="178" y="654"/>
                    </a:lnTo>
                    <a:lnTo>
                      <a:pt x="178" y="654"/>
                    </a:lnTo>
                    <a:lnTo>
                      <a:pt x="178" y="654"/>
                    </a:lnTo>
                    <a:lnTo>
                      <a:pt x="178" y="654"/>
                    </a:lnTo>
                    <a:lnTo>
                      <a:pt x="178" y="654"/>
                    </a:lnTo>
                    <a:lnTo>
                      <a:pt x="170" y="654"/>
                    </a:lnTo>
                    <a:lnTo>
                      <a:pt x="170" y="654"/>
                    </a:lnTo>
                    <a:lnTo>
                      <a:pt x="170" y="654"/>
                    </a:lnTo>
                    <a:lnTo>
                      <a:pt x="170" y="654"/>
                    </a:lnTo>
                    <a:lnTo>
                      <a:pt x="170" y="654"/>
                    </a:lnTo>
                    <a:lnTo>
                      <a:pt x="170" y="646"/>
                    </a:lnTo>
                    <a:lnTo>
                      <a:pt x="170" y="646"/>
                    </a:lnTo>
                    <a:lnTo>
                      <a:pt x="170" y="646"/>
                    </a:lnTo>
                    <a:lnTo>
                      <a:pt x="170" y="639"/>
                    </a:lnTo>
                    <a:lnTo>
                      <a:pt x="170" y="639"/>
                    </a:lnTo>
                    <a:lnTo>
                      <a:pt x="170" y="639"/>
                    </a:lnTo>
                    <a:lnTo>
                      <a:pt x="170" y="639"/>
                    </a:lnTo>
                    <a:lnTo>
                      <a:pt x="170" y="639"/>
                    </a:lnTo>
                    <a:lnTo>
                      <a:pt x="170" y="639"/>
                    </a:lnTo>
                    <a:lnTo>
                      <a:pt x="170" y="632"/>
                    </a:lnTo>
                    <a:lnTo>
                      <a:pt x="163" y="632"/>
                    </a:lnTo>
                    <a:lnTo>
                      <a:pt x="156" y="625"/>
                    </a:lnTo>
                    <a:lnTo>
                      <a:pt x="156" y="625"/>
                    </a:lnTo>
                    <a:lnTo>
                      <a:pt x="156" y="625"/>
                    </a:lnTo>
                    <a:lnTo>
                      <a:pt x="156" y="618"/>
                    </a:lnTo>
                    <a:lnTo>
                      <a:pt x="156" y="618"/>
                    </a:lnTo>
                    <a:lnTo>
                      <a:pt x="156" y="618"/>
                    </a:lnTo>
                    <a:lnTo>
                      <a:pt x="156" y="618"/>
                    </a:lnTo>
                    <a:lnTo>
                      <a:pt x="156" y="618"/>
                    </a:lnTo>
                    <a:lnTo>
                      <a:pt x="156" y="618"/>
                    </a:lnTo>
                    <a:lnTo>
                      <a:pt x="156" y="611"/>
                    </a:lnTo>
                    <a:lnTo>
                      <a:pt x="156" y="611"/>
                    </a:lnTo>
                    <a:lnTo>
                      <a:pt x="156" y="611"/>
                    </a:lnTo>
                    <a:lnTo>
                      <a:pt x="156" y="611"/>
                    </a:lnTo>
                    <a:lnTo>
                      <a:pt x="156" y="611"/>
                    </a:lnTo>
                    <a:lnTo>
                      <a:pt x="149" y="611"/>
                    </a:lnTo>
                    <a:lnTo>
                      <a:pt x="149" y="611"/>
                    </a:lnTo>
                    <a:lnTo>
                      <a:pt x="149" y="611"/>
                    </a:lnTo>
                    <a:lnTo>
                      <a:pt x="149" y="611"/>
                    </a:lnTo>
                    <a:lnTo>
                      <a:pt x="142" y="611"/>
                    </a:lnTo>
                    <a:lnTo>
                      <a:pt x="142" y="618"/>
                    </a:lnTo>
                    <a:lnTo>
                      <a:pt x="142" y="618"/>
                    </a:lnTo>
                    <a:lnTo>
                      <a:pt x="135" y="625"/>
                    </a:lnTo>
                    <a:lnTo>
                      <a:pt x="135" y="625"/>
                    </a:lnTo>
                    <a:lnTo>
                      <a:pt x="135" y="625"/>
                    </a:lnTo>
                    <a:lnTo>
                      <a:pt x="135" y="632"/>
                    </a:lnTo>
                    <a:lnTo>
                      <a:pt x="135" y="632"/>
                    </a:lnTo>
                    <a:lnTo>
                      <a:pt x="135" y="632"/>
                    </a:lnTo>
                    <a:lnTo>
                      <a:pt x="135" y="639"/>
                    </a:lnTo>
                    <a:lnTo>
                      <a:pt x="135" y="639"/>
                    </a:lnTo>
                    <a:lnTo>
                      <a:pt x="135" y="639"/>
                    </a:lnTo>
                    <a:lnTo>
                      <a:pt x="135" y="646"/>
                    </a:lnTo>
                    <a:lnTo>
                      <a:pt x="135" y="646"/>
                    </a:lnTo>
                    <a:lnTo>
                      <a:pt x="135" y="646"/>
                    </a:lnTo>
                    <a:lnTo>
                      <a:pt x="135" y="646"/>
                    </a:lnTo>
                    <a:lnTo>
                      <a:pt x="128" y="654"/>
                    </a:lnTo>
                    <a:lnTo>
                      <a:pt x="128" y="661"/>
                    </a:lnTo>
                    <a:lnTo>
                      <a:pt x="128" y="661"/>
                    </a:lnTo>
                    <a:lnTo>
                      <a:pt x="128" y="661"/>
                    </a:lnTo>
                    <a:lnTo>
                      <a:pt x="135" y="661"/>
                    </a:lnTo>
                    <a:lnTo>
                      <a:pt x="135" y="668"/>
                    </a:lnTo>
                    <a:lnTo>
                      <a:pt x="135" y="668"/>
                    </a:lnTo>
                    <a:lnTo>
                      <a:pt x="135" y="668"/>
                    </a:lnTo>
                    <a:lnTo>
                      <a:pt x="135" y="668"/>
                    </a:lnTo>
                    <a:lnTo>
                      <a:pt x="135" y="668"/>
                    </a:lnTo>
                    <a:lnTo>
                      <a:pt x="135" y="668"/>
                    </a:lnTo>
                    <a:lnTo>
                      <a:pt x="135" y="675"/>
                    </a:lnTo>
                    <a:lnTo>
                      <a:pt x="135" y="675"/>
                    </a:lnTo>
                    <a:lnTo>
                      <a:pt x="135" y="675"/>
                    </a:lnTo>
                    <a:lnTo>
                      <a:pt x="135" y="682"/>
                    </a:lnTo>
                    <a:lnTo>
                      <a:pt x="135" y="682"/>
                    </a:lnTo>
                    <a:lnTo>
                      <a:pt x="135" y="682"/>
                    </a:lnTo>
                    <a:lnTo>
                      <a:pt x="135" y="682"/>
                    </a:lnTo>
                    <a:lnTo>
                      <a:pt x="128" y="682"/>
                    </a:lnTo>
                    <a:lnTo>
                      <a:pt x="128" y="682"/>
                    </a:lnTo>
                    <a:lnTo>
                      <a:pt x="128" y="682"/>
                    </a:lnTo>
                    <a:lnTo>
                      <a:pt x="128" y="689"/>
                    </a:lnTo>
                    <a:lnTo>
                      <a:pt x="121" y="689"/>
                    </a:lnTo>
                    <a:lnTo>
                      <a:pt x="121" y="689"/>
                    </a:lnTo>
                    <a:lnTo>
                      <a:pt x="121" y="689"/>
                    </a:lnTo>
                    <a:lnTo>
                      <a:pt x="121" y="689"/>
                    </a:lnTo>
                    <a:lnTo>
                      <a:pt x="121" y="689"/>
                    </a:lnTo>
                    <a:lnTo>
                      <a:pt x="121" y="689"/>
                    </a:lnTo>
                    <a:lnTo>
                      <a:pt x="121" y="689"/>
                    </a:lnTo>
                    <a:lnTo>
                      <a:pt x="114" y="689"/>
                    </a:lnTo>
                    <a:lnTo>
                      <a:pt x="114" y="689"/>
                    </a:lnTo>
                    <a:lnTo>
                      <a:pt x="114" y="689"/>
                    </a:lnTo>
                    <a:lnTo>
                      <a:pt x="114" y="689"/>
                    </a:lnTo>
                    <a:lnTo>
                      <a:pt x="107" y="682"/>
                    </a:lnTo>
                    <a:lnTo>
                      <a:pt x="107" y="682"/>
                    </a:lnTo>
                    <a:lnTo>
                      <a:pt x="99" y="682"/>
                    </a:lnTo>
                    <a:lnTo>
                      <a:pt x="92" y="682"/>
                    </a:lnTo>
                    <a:lnTo>
                      <a:pt x="85" y="689"/>
                    </a:lnTo>
                    <a:lnTo>
                      <a:pt x="78" y="689"/>
                    </a:lnTo>
                    <a:lnTo>
                      <a:pt x="78" y="689"/>
                    </a:lnTo>
                    <a:lnTo>
                      <a:pt x="64" y="696"/>
                    </a:lnTo>
                    <a:lnTo>
                      <a:pt x="57" y="703"/>
                    </a:lnTo>
                    <a:lnTo>
                      <a:pt x="50" y="703"/>
                    </a:lnTo>
                    <a:lnTo>
                      <a:pt x="50" y="710"/>
                    </a:lnTo>
                    <a:lnTo>
                      <a:pt x="50" y="710"/>
                    </a:lnTo>
                    <a:lnTo>
                      <a:pt x="50" y="710"/>
                    </a:lnTo>
                    <a:lnTo>
                      <a:pt x="43" y="710"/>
                    </a:lnTo>
                    <a:lnTo>
                      <a:pt x="43" y="710"/>
                    </a:lnTo>
                    <a:lnTo>
                      <a:pt x="36" y="717"/>
                    </a:lnTo>
                    <a:lnTo>
                      <a:pt x="36" y="717"/>
                    </a:lnTo>
                    <a:lnTo>
                      <a:pt x="36" y="717"/>
                    </a:lnTo>
                    <a:lnTo>
                      <a:pt x="29" y="725"/>
                    </a:lnTo>
                    <a:lnTo>
                      <a:pt x="29" y="717"/>
                    </a:lnTo>
                    <a:lnTo>
                      <a:pt x="21" y="717"/>
                    </a:lnTo>
                    <a:lnTo>
                      <a:pt x="21" y="717"/>
                    </a:lnTo>
                    <a:lnTo>
                      <a:pt x="21" y="717"/>
                    </a:lnTo>
                    <a:lnTo>
                      <a:pt x="14" y="717"/>
                    </a:lnTo>
                    <a:lnTo>
                      <a:pt x="14" y="717"/>
                    </a:lnTo>
                    <a:lnTo>
                      <a:pt x="14" y="725"/>
                    </a:lnTo>
                    <a:lnTo>
                      <a:pt x="14" y="725"/>
                    </a:lnTo>
                    <a:lnTo>
                      <a:pt x="14" y="725"/>
                    </a:lnTo>
                    <a:lnTo>
                      <a:pt x="14" y="725"/>
                    </a:lnTo>
                    <a:lnTo>
                      <a:pt x="7" y="725"/>
                    </a:lnTo>
                    <a:lnTo>
                      <a:pt x="0" y="717"/>
                    </a:lnTo>
                    <a:lnTo>
                      <a:pt x="0" y="717"/>
                    </a:lnTo>
                    <a:lnTo>
                      <a:pt x="0" y="717"/>
                    </a:lnTo>
                    <a:lnTo>
                      <a:pt x="0" y="710"/>
                    </a:lnTo>
                    <a:lnTo>
                      <a:pt x="0" y="710"/>
                    </a:lnTo>
                    <a:lnTo>
                      <a:pt x="0" y="710"/>
                    </a:lnTo>
                    <a:lnTo>
                      <a:pt x="0" y="710"/>
                    </a:lnTo>
                    <a:lnTo>
                      <a:pt x="0" y="710"/>
                    </a:lnTo>
                    <a:lnTo>
                      <a:pt x="7" y="710"/>
                    </a:lnTo>
                    <a:lnTo>
                      <a:pt x="7" y="710"/>
                    </a:lnTo>
                    <a:lnTo>
                      <a:pt x="7" y="710"/>
                    </a:lnTo>
                    <a:lnTo>
                      <a:pt x="7" y="710"/>
                    </a:lnTo>
                    <a:lnTo>
                      <a:pt x="7" y="710"/>
                    </a:lnTo>
                    <a:lnTo>
                      <a:pt x="7" y="710"/>
                    </a:lnTo>
                    <a:lnTo>
                      <a:pt x="7" y="710"/>
                    </a:lnTo>
                    <a:lnTo>
                      <a:pt x="7" y="710"/>
                    </a:lnTo>
                    <a:lnTo>
                      <a:pt x="7" y="710"/>
                    </a:lnTo>
                    <a:lnTo>
                      <a:pt x="7" y="710"/>
                    </a:lnTo>
                    <a:lnTo>
                      <a:pt x="7" y="703"/>
                    </a:lnTo>
                    <a:lnTo>
                      <a:pt x="7" y="703"/>
                    </a:lnTo>
                    <a:lnTo>
                      <a:pt x="7" y="703"/>
                    </a:lnTo>
                    <a:lnTo>
                      <a:pt x="14" y="703"/>
                    </a:lnTo>
                    <a:lnTo>
                      <a:pt x="14" y="696"/>
                    </a:lnTo>
                    <a:lnTo>
                      <a:pt x="14" y="696"/>
                    </a:lnTo>
                    <a:lnTo>
                      <a:pt x="14" y="696"/>
                    </a:lnTo>
                    <a:lnTo>
                      <a:pt x="14" y="696"/>
                    </a:lnTo>
                    <a:lnTo>
                      <a:pt x="14" y="689"/>
                    </a:lnTo>
                    <a:lnTo>
                      <a:pt x="14" y="689"/>
                    </a:lnTo>
                    <a:lnTo>
                      <a:pt x="14" y="689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14" y="675"/>
                    </a:lnTo>
                    <a:lnTo>
                      <a:pt x="21" y="675"/>
                    </a:lnTo>
                    <a:lnTo>
                      <a:pt x="21" y="668"/>
                    </a:lnTo>
                    <a:lnTo>
                      <a:pt x="21" y="668"/>
                    </a:lnTo>
                    <a:lnTo>
                      <a:pt x="21" y="668"/>
                    </a:lnTo>
                    <a:lnTo>
                      <a:pt x="21" y="668"/>
                    </a:lnTo>
                    <a:lnTo>
                      <a:pt x="14" y="661"/>
                    </a:lnTo>
                    <a:lnTo>
                      <a:pt x="14" y="661"/>
                    </a:lnTo>
                    <a:lnTo>
                      <a:pt x="14" y="661"/>
                    </a:lnTo>
                    <a:lnTo>
                      <a:pt x="14" y="661"/>
                    </a:lnTo>
                    <a:lnTo>
                      <a:pt x="14" y="661"/>
                    </a:lnTo>
                    <a:lnTo>
                      <a:pt x="21" y="661"/>
                    </a:lnTo>
                    <a:lnTo>
                      <a:pt x="21" y="654"/>
                    </a:lnTo>
                    <a:lnTo>
                      <a:pt x="21" y="654"/>
                    </a:lnTo>
                    <a:lnTo>
                      <a:pt x="21" y="654"/>
                    </a:lnTo>
                    <a:lnTo>
                      <a:pt x="21" y="654"/>
                    </a:lnTo>
                    <a:lnTo>
                      <a:pt x="21" y="654"/>
                    </a:lnTo>
                    <a:lnTo>
                      <a:pt x="21" y="654"/>
                    </a:lnTo>
                    <a:lnTo>
                      <a:pt x="29" y="654"/>
                    </a:lnTo>
                    <a:lnTo>
                      <a:pt x="29" y="654"/>
                    </a:lnTo>
                    <a:lnTo>
                      <a:pt x="36" y="646"/>
                    </a:lnTo>
                    <a:lnTo>
                      <a:pt x="36" y="646"/>
                    </a:lnTo>
                    <a:lnTo>
                      <a:pt x="36" y="646"/>
                    </a:lnTo>
                    <a:lnTo>
                      <a:pt x="36" y="639"/>
                    </a:lnTo>
                    <a:lnTo>
                      <a:pt x="43" y="639"/>
                    </a:lnTo>
                    <a:lnTo>
                      <a:pt x="43" y="639"/>
                    </a:lnTo>
                    <a:lnTo>
                      <a:pt x="43" y="639"/>
                    </a:lnTo>
                    <a:lnTo>
                      <a:pt x="43" y="639"/>
                    </a:lnTo>
                    <a:lnTo>
                      <a:pt x="50" y="639"/>
                    </a:lnTo>
                    <a:lnTo>
                      <a:pt x="50" y="639"/>
                    </a:lnTo>
                    <a:lnTo>
                      <a:pt x="50" y="639"/>
                    </a:lnTo>
                    <a:lnTo>
                      <a:pt x="50" y="632"/>
                    </a:lnTo>
                    <a:lnTo>
                      <a:pt x="57" y="625"/>
                    </a:lnTo>
                    <a:lnTo>
                      <a:pt x="57" y="625"/>
                    </a:lnTo>
                    <a:lnTo>
                      <a:pt x="64" y="618"/>
                    </a:lnTo>
                    <a:lnTo>
                      <a:pt x="64" y="611"/>
                    </a:lnTo>
                    <a:lnTo>
                      <a:pt x="71" y="611"/>
                    </a:lnTo>
                    <a:lnTo>
                      <a:pt x="71" y="611"/>
                    </a:lnTo>
                    <a:lnTo>
                      <a:pt x="71" y="611"/>
                    </a:lnTo>
                    <a:lnTo>
                      <a:pt x="78" y="604"/>
                    </a:lnTo>
                    <a:lnTo>
                      <a:pt x="78" y="604"/>
                    </a:lnTo>
                    <a:lnTo>
                      <a:pt x="78" y="604"/>
                    </a:lnTo>
                    <a:lnTo>
                      <a:pt x="78" y="604"/>
                    </a:lnTo>
                    <a:lnTo>
                      <a:pt x="78" y="604"/>
                    </a:lnTo>
                    <a:lnTo>
                      <a:pt x="78" y="604"/>
                    </a:lnTo>
                    <a:lnTo>
                      <a:pt x="71" y="597"/>
                    </a:lnTo>
                    <a:lnTo>
                      <a:pt x="71" y="597"/>
                    </a:lnTo>
                    <a:lnTo>
                      <a:pt x="71" y="597"/>
                    </a:lnTo>
                    <a:lnTo>
                      <a:pt x="71" y="597"/>
                    </a:lnTo>
                    <a:lnTo>
                      <a:pt x="71" y="597"/>
                    </a:lnTo>
                    <a:lnTo>
                      <a:pt x="71" y="597"/>
                    </a:lnTo>
                    <a:lnTo>
                      <a:pt x="71" y="597"/>
                    </a:lnTo>
                    <a:lnTo>
                      <a:pt x="71" y="597"/>
                    </a:lnTo>
                    <a:lnTo>
                      <a:pt x="71" y="597"/>
                    </a:lnTo>
                    <a:lnTo>
                      <a:pt x="78" y="590"/>
                    </a:lnTo>
                    <a:lnTo>
                      <a:pt x="78" y="590"/>
                    </a:lnTo>
                    <a:lnTo>
                      <a:pt x="78" y="590"/>
                    </a:lnTo>
                    <a:lnTo>
                      <a:pt x="78" y="590"/>
                    </a:lnTo>
                    <a:lnTo>
                      <a:pt x="78" y="590"/>
                    </a:lnTo>
                    <a:lnTo>
                      <a:pt x="85" y="583"/>
                    </a:lnTo>
                    <a:lnTo>
                      <a:pt x="85" y="583"/>
                    </a:lnTo>
                    <a:lnTo>
                      <a:pt x="85" y="583"/>
                    </a:lnTo>
                    <a:lnTo>
                      <a:pt x="92" y="583"/>
                    </a:lnTo>
                    <a:lnTo>
                      <a:pt x="92" y="583"/>
                    </a:lnTo>
                    <a:lnTo>
                      <a:pt x="92" y="583"/>
                    </a:lnTo>
                    <a:lnTo>
                      <a:pt x="92" y="583"/>
                    </a:lnTo>
                    <a:lnTo>
                      <a:pt x="99" y="575"/>
                    </a:lnTo>
                    <a:lnTo>
                      <a:pt x="99" y="575"/>
                    </a:lnTo>
                    <a:lnTo>
                      <a:pt x="99" y="575"/>
                    </a:lnTo>
                    <a:lnTo>
                      <a:pt x="99" y="575"/>
                    </a:lnTo>
                    <a:lnTo>
                      <a:pt x="99" y="575"/>
                    </a:lnTo>
                    <a:lnTo>
                      <a:pt x="99" y="575"/>
                    </a:lnTo>
                    <a:lnTo>
                      <a:pt x="99" y="575"/>
                    </a:lnTo>
                    <a:lnTo>
                      <a:pt x="99" y="575"/>
                    </a:lnTo>
                    <a:lnTo>
                      <a:pt x="107" y="575"/>
                    </a:lnTo>
                    <a:lnTo>
                      <a:pt x="107" y="575"/>
                    </a:lnTo>
                    <a:lnTo>
                      <a:pt x="107" y="575"/>
                    </a:lnTo>
                    <a:lnTo>
                      <a:pt x="107" y="568"/>
                    </a:lnTo>
                    <a:lnTo>
                      <a:pt x="107" y="561"/>
                    </a:lnTo>
                    <a:lnTo>
                      <a:pt x="107" y="561"/>
                    </a:lnTo>
                    <a:lnTo>
                      <a:pt x="107" y="561"/>
                    </a:lnTo>
                    <a:lnTo>
                      <a:pt x="107" y="561"/>
                    </a:lnTo>
                    <a:lnTo>
                      <a:pt x="107" y="554"/>
                    </a:lnTo>
                    <a:lnTo>
                      <a:pt x="107" y="554"/>
                    </a:lnTo>
                    <a:lnTo>
                      <a:pt x="107" y="554"/>
                    </a:lnTo>
                    <a:lnTo>
                      <a:pt x="107" y="554"/>
                    </a:lnTo>
                    <a:lnTo>
                      <a:pt x="107" y="554"/>
                    </a:lnTo>
                    <a:lnTo>
                      <a:pt x="114" y="554"/>
                    </a:lnTo>
                    <a:lnTo>
                      <a:pt x="114" y="554"/>
                    </a:lnTo>
                    <a:lnTo>
                      <a:pt x="114" y="554"/>
                    </a:lnTo>
                    <a:lnTo>
                      <a:pt x="114" y="547"/>
                    </a:lnTo>
                    <a:lnTo>
                      <a:pt x="114" y="540"/>
                    </a:lnTo>
                    <a:lnTo>
                      <a:pt x="114" y="540"/>
                    </a:lnTo>
                    <a:lnTo>
                      <a:pt x="114" y="540"/>
                    </a:lnTo>
                    <a:lnTo>
                      <a:pt x="114" y="540"/>
                    </a:lnTo>
                    <a:lnTo>
                      <a:pt x="114" y="533"/>
                    </a:lnTo>
                    <a:lnTo>
                      <a:pt x="107" y="533"/>
                    </a:lnTo>
                    <a:lnTo>
                      <a:pt x="107" y="526"/>
                    </a:lnTo>
                    <a:lnTo>
                      <a:pt x="107" y="526"/>
                    </a:lnTo>
                    <a:lnTo>
                      <a:pt x="107" y="526"/>
                    </a:lnTo>
                    <a:lnTo>
                      <a:pt x="107" y="526"/>
                    </a:lnTo>
                    <a:lnTo>
                      <a:pt x="107" y="519"/>
                    </a:lnTo>
                    <a:lnTo>
                      <a:pt x="107" y="519"/>
                    </a:lnTo>
                    <a:lnTo>
                      <a:pt x="107" y="519"/>
                    </a:lnTo>
                    <a:lnTo>
                      <a:pt x="107" y="519"/>
                    </a:lnTo>
                    <a:lnTo>
                      <a:pt x="107" y="512"/>
                    </a:lnTo>
                    <a:lnTo>
                      <a:pt x="99" y="512"/>
                    </a:lnTo>
                    <a:lnTo>
                      <a:pt x="99" y="512"/>
                    </a:lnTo>
                    <a:lnTo>
                      <a:pt x="99" y="504"/>
                    </a:lnTo>
                    <a:lnTo>
                      <a:pt x="99" y="504"/>
                    </a:lnTo>
                    <a:lnTo>
                      <a:pt x="99" y="504"/>
                    </a:lnTo>
                    <a:lnTo>
                      <a:pt x="99" y="497"/>
                    </a:lnTo>
                    <a:lnTo>
                      <a:pt x="107" y="497"/>
                    </a:lnTo>
                    <a:lnTo>
                      <a:pt x="107" y="490"/>
                    </a:lnTo>
                    <a:lnTo>
                      <a:pt x="107" y="490"/>
                    </a:lnTo>
                    <a:lnTo>
                      <a:pt x="99" y="490"/>
                    </a:lnTo>
                    <a:lnTo>
                      <a:pt x="99" y="490"/>
                    </a:lnTo>
                    <a:lnTo>
                      <a:pt x="99" y="490"/>
                    </a:lnTo>
                    <a:lnTo>
                      <a:pt x="99" y="490"/>
                    </a:lnTo>
                    <a:lnTo>
                      <a:pt x="99" y="483"/>
                    </a:lnTo>
                    <a:lnTo>
                      <a:pt x="99" y="483"/>
                    </a:lnTo>
                    <a:lnTo>
                      <a:pt x="99" y="483"/>
                    </a:lnTo>
                    <a:lnTo>
                      <a:pt x="107" y="483"/>
                    </a:lnTo>
                    <a:lnTo>
                      <a:pt x="107" y="483"/>
                    </a:lnTo>
                    <a:lnTo>
                      <a:pt x="99" y="483"/>
                    </a:lnTo>
                    <a:lnTo>
                      <a:pt x="99" y="476"/>
                    </a:lnTo>
                    <a:lnTo>
                      <a:pt x="99" y="476"/>
                    </a:lnTo>
                    <a:lnTo>
                      <a:pt x="99" y="476"/>
                    </a:lnTo>
                    <a:lnTo>
                      <a:pt x="92" y="476"/>
                    </a:lnTo>
                    <a:lnTo>
                      <a:pt x="92" y="476"/>
                    </a:lnTo>
                    <a:lnTo>
                      <a:pt x="92" y="476"/>
                    </a:lnTo>
                    <a:lnTo>
                      <a:pt x="92" y="476"/>
                    </a:lnTo>
                    <a:lnTo>
                      <a:pt x="92" y="469"/>
                    </a:lnTo>
                    <a:lnTo>
                      <a:pt x="92" y="469"/>
                    </a:lnTo>
                    <a:lnTo>
                      <a:pt x="92" y="469"/>
                    </a:lnTo>
                    <a:lnTo>
                      <a:pt x="85" y="469"/>
                    </a:lnTo>
                    <a:lnTo>
                      <a:pt x="85" y="469"/>
                    </a:lnTo>
                    <a:lnTo>
                      <a:pt x="85" y="462"/>
                    </a:lnTo>
                    <a:lnTo>
                      <a:pt x="85" y="462"/>
                    </a:lnTo>
                    <a:lnTo>
                      <a:pt x="85" y="455"/>
                    </a:lnTo>
                    <a:lnTo>
                      <a:pt x="85" y="448"/>
                    </a:lnTo>
                    <a:lnTo>
                      <a:pt x="85" y="448"/>
                    </a:lnTo>
                    <a:lnTo>
                      <a:pt x="85" y="441"/>
                    </a:lnTo>
                    <a:lnTo>
                      <a:pt x="85" y="441"/>
                    </a:lnTo>
                    <a:lnTo>
                      <a:pt x="78" y="441"/>
                    </a:lnTo>
                    <a:lnTo>
                      <a:pt x="78" y="434"/>
                    </a:lnTo>
                    <a:lnTo>
                      <a:pt x="85" y="426"/>
                    </a:lnTo>
                    <a:lnTo>
                      <a:pt x="85" y="426"/>
                    </a:lnTo>
                    <a:lnTo>
                      <a:pt x="78" y="426"/>
                    </a:lnTo>
                    <a:lnTo>
                      <a:pt x="78" y="426"/>
                    </a:lnTo>
                    <a:lnTo>
                      <a:pt x="78" y="426"/>
                    </a:lnTo>
                    <a:lnTo>
                      <a:pt x="71" y="426"/>
                    </a:lnTo>
                    <a:lnTo>
                      <a:pt x="71" y="426"/>
                    </a:lnTo>
                    <a:lnTo>
                      <a:pt x="71" y="426"/>
                    </a:lnTo>
                    <a:lnTo>
                      <a:pt x="71" y="419"/>
                    </a:lnTo>
                    <a:lnTo>
                      <a:pt x="71" y="419"/>
                    </a:lnTo>
                    <a:lnTo>
                      <a:pt x="71" y="419"/>
                    </a:lnTo>
                    <a:lnTo>
                      <a:pt x="64" y="412"/>
                    </a:lnTo>
                    <a:lnTo>
                      <a:pt x="57" y="405"/>
                    </a:lnTo>
                    <a:lnTo>
                      <a:pt x="50" y="405"/>
                    </a:lnTo>
                    <a:lnTo>
                      <a:pt x="50" y="405"/>
                    </a:lnTo>
                    <a:lnTo>
                      <a:pt x="50" y="405"/>
                    </a:lnTo>
                    <a:lnTo>
                      <a:pt x="50" y="405"/>
                    </a:lnTo>
                    <a:lnTo>
                      <a:pt x="50" y="398"/>
                    </a:lnTo>
                    <a:lnTo>
                      <a:pt x="50" y="398"/>
                    </a:lnTo>
                    <a:lnTo>
                      <a:pt x="50" y="398"/>
                    </a:lnTo>
                    <a:lnTo>
                      <a:pt x="57" y="391"/>
                    </a:lnTo>
                    <a:lnTo>
                      <a:pt x="57" y="384"/>
                    </a:lnTo>
                    <a:lnTo>
                      <a:pt x="57" y="384"/>
                    </a:lnTo>
                    <a:lnTo>
                      <a:pt x="64" y="384"/>
                    </a:lnTo>
                    <a:lnTo>
                      <a:pt x="64" y="377"/>
                    </a:lnTo>
                    <a:lnTo>
                      <a:pt x="64" y="377"/>
                    </a:lnTo>
                    <a:lnTo>
                      <a:pt x="64" y="377"/>
                    </a:lnTo>
                    <a:lnTo>
                      <a:pt x="71" y="377"/>
                    </a:lnTo>
                    <a:lnTo>
                      <a:pt x="71" y="377"/>
                    </a:lnTo>
                    <a:lnTo>
                      <a:pt x="78" y="384"/>
                    </a:lnTo>
                    <a:lnTo>
                      <a:pt x="78" y="384"/>
                    </a:lnTo>
                    <a:lnTo>
                      <a:pt x="78" y="391"/>
                    </a:lnTo>
                    <a:lnTo>
                      <a:pt x="78" y="391"/>
                    </a:lnTo>
                    <a:lnTo>
                      <a:pt x="78" y="391"/>
                    </a:lnTo>
                    <a:lnTo>
                      <a:pt x="78" y="391"/>
                    </a:lnTo>
                    <a:lnTo>
                      <a:pt x="78" y="391"/>
                    </a:lnTo>
                    <a:lnTo>
                      <a:pt x="78" y="391"/>
                    </a:lnTo>
                    <a:lnTo>
                      <a:pt x="85" y="391"/>
                    </a:lnTo>
                    <a:lnTo>
                      <a:pt x="85" y="391"/>
                    </a:lnTo>
                    <a:lnTo>
                      <a:pt x="85" y="384"/>
                    </a:lnTo>
                    <a:lnTo>
                      <a:pt x="85" y="384"/>
                    </a:lnTo>
                    <a:lnTo>
                      <a:pt x="85" y="384"/>
                    </a:lnTo>
                    <a:lnTo>
                      <a:pt x="85" y="384"/>
                    </a:lnTo>
                    <a:lnTo>
                      <a:pt x="85" y="384"/>
                    </a:lnTo>
                    <a:lnTo>
                      <a:pt x="85" y="384"/>
                    </a:lnTo>
                    <a:lnTo>
                      <a:pt x="85" y="384"/>
                    </a:lnTo>
                    <a:lnTo>
                      <a:pt x="85" y="384"/>
                    </a:lnTo>
                    <a:lnTo>
                      <a:pt x="92" y="384"/>
                    </a:lnTo>
                    <a:lnTo>
                      <a:pt x="92" y="391"/>
                    </a:lnTo>
                    <a:lnTo>
                      <a:pt x="92" y="391"/>
                    </a:lnTo>
                    <a:lnTo>
                      <a:pt x="99" y="391"/>
                    </a:lnTo>
                    <a:lnTo>
                      <a:pt x="99" y="391"/>
                    </a:lnTo>
                    <a:lnTo>
                      <a:pt x="99" y="391"/>
                    </a:lnTo>
                    <a:lnTo>
                      <a:pt x="99" y="391"/>
                    </a:lnTo>
                    <a:lnTo>
                      <a:pt x="99" y="391"/>
                    </a:lnTo>
                    <a:lnTo>
                      <a:pt x="99" y="398"/>
                    </a:lnTo>
                    <a:lnTo>
                      <a:pt x="99" y="398"/>
                    </a:lnTo>
                    <a:lnTo>
                      <a:pt x="99" y="398"/>
                    </a:lnTo>
                    <a:lnTo>
                      <a:pt x="99" y="398"/>
                    </a:lnTo>
                    <a:lnTo>
                      <a:pt x="107" y="398"/>
                    </a:lnTo>
                    <a:lnTo>
                      <a:pt x="107" y="398"/>
                    </a:lnTo>
                    <a:lnTo>
                      <a:pt x="107" y="398"/>
                    </a:lnTo>
                    <a:lnTo>
                      <a:pt x="107" y="398"/>
                    </a:lnTo>
                    <a:lnTo>
                      <a:pt x="121" y="419"/>
                    </a:lnTo>
                    <a:lnTo>
                      <a:pt x="121" y="419"/>
                    </a:lnTo>
                    <a:lnTo>
                      <a:pt x="121" y="419"/>
                    </a:lnTo>
                    <a:lnTo>
                      <a:pt x="121" y="419"/>
                    </a:lnTo>
                    <a:lnTo>
                      <a:pt x="121" y="419"/>
                    </a:lnTo>
                    <a:lnTo>
                      <a:pt x="121" y="412"/>
                    </a:lnTo>
                    <a:lnTo>
                      <a:pt x="121" y="412"/>
                    </a:lnTo>
                    <a:lnTo>
                      <a:pt x="128" y="412"/>
                    </a:lnTo>
                    <a:lnTo>
                      <a:pt x="128" y="412"/>
                    </a:lnTo>
                    <a:lnTo>
                      <a:pt x="128" y="412"/>
                    </a:lnTo>
                    <a:lnTo>
                      <a:pt x="128" y="405"/>
                    </a:lnTo>
                    <a:lnTo>
                      <a:pt x="128" y="405"/>
                    </a:lnTo>
                    <a:lnTo>
                      <a:pt x="128" y="405"/>
                    </a:lnTo>
                    <a:lnTo>
                      <a:pt x="142" y="412"/>
                    </a:lnTo>
                    <a:lnTo>
                      <a:pt x="142" y="412"/>
                    </a:lnTo>
                    <a:lnTo>
                      <a:pt x="149" y="412"/>
                    </a:lnTo>
                    <a:lnTo>
                      <a:pt x="149" y="412"/>
                    </a:lnTo>
                    <a:lnTo>
                      <a:pt x="156" y="412"/>
                    </a:lnTo>
                    <a:lnTo>
                      <a:pt x="156" y="412"/>
                    </a:lnTo>
                    <a:lnTo>
                      <a:pt x="156" y="412"/>
                    </a:lnTo>
                    <a:lnTo>
                      <a:pt x="156" y="412"/>
                    </a:lnTo>
                    <a:lnTo>
                      <a:pt x="156" y="419"/>
                    </a:lnTo>
                    <a:lnTo>
                      <a:pt x="156" y="419"/>
                    </a:lnTo>
                    <a:lnTo>
                      <a:pt x="156" y="419"/>
                    </a:lnTo>
                    <a:lnTo>
                      <a:pt x="156" y="419"/>
                    </a:lnTo>
                    <a:lnTo>
                      <a:pt x="156" y="426"/>
                    </a:lnTo>
                    <a:lnTo>
                      <a:pt x="156" y="426"/>
                    </a:lnTo>
                    <a:lnTo>
                      <a:pt x="156" y="426"/>
                    </a:lnTo>
                    <a:lnTo>
                      <a:pt x="156" y="426"/>
                    </a:lnTo>
                    <a:lnTo>
                      <a:pt x="163" y="426"/>
                    </a:lnTo>
                    <a:lnTo>
                      <a:pt x="163" y="426"/>
                    </a:lnTo>
                    <a:lnTo>
                      <a:pt x="163" y="419"/>
                    </a:lnTo>
                    <a:lnTo>
                      <a:pt x="170" y="419"/>
                    </a:lnTo>
                    <a:lnTo>
                      <a:pt x="170" y="419"/>
                    </a:lnTo>
                    <a:lnTo>
                      <a:pt x="170" y="419"/>
                    </a:lnTo>
                    <a:lnTo>
                      <a:pt x="170" y="419"/>
                    </a:lnTo>
                    <a:lnTo>
                      <a:pt x="178" y="412"/>
                    </a:lnTo>
                    <a:lnTo>
                      <a:pt x="178" y="412"/>
                    </a:lnTo>
                    <a:lnTo>
                      <a:pt x="178" y="412"/>
                    </a:lnTo>
                    <a:lnTo>
                      <a:pt x="178" y="412"/>
                    </a:lnTo>
                    <a:lnTo>
                      <a:pt x="170" y="405"/>
                    </a:lnTo>
                    <a:lnTo>
                      <a:pt x="170" y="405"/>
                    </a:lnTo>
                    <a:lnTo>
                      <a:pt x="170" y="405"/>
                    </a:lnTo>
                    <a:lnTo>
                      <a:pt x="170" y="405"/>
                    </a:lnTo>
                    <a:lnTo>
                      <a:pt x="170" y="405"/>
                    </a:lnTo>
                    <a:lnTo>
                      <a:pt x="178" y="398"/>
                    </a:lnTo>
                    <a:lnTo>
                      <a:pt x="178" y="398"/>
                    </a:lnTo>
                    <a:lnTo>
                      <a:pt x="178" y="391"/>
                    </a:lnTo>
                    <a:lnTo>
                      <a:pt x="170" y="391"/>
                    </a:lnTo>
                    <a:lnTo>
                      <a:pt x="170" y="391"/>
                    </a:lnTo>
                    <a:lnTo>
                      <a:pt x="170" y="391"/>
                    </a:lnTo>
                    <a:lnTo>
                      <a:pt x="170" y="391"/>
                    </a:lnTo>
                    <a:lnTo>
                      <a:pt x="170" y="391"/>
                    </a:lnTo>
                    <a:lnTo>
                      <a:pt x="170" y="391"/>
                    </a:lnTo>
                    <a:lnTo>
                      <a:pt x="163" y="391"/>
                    </a:lnTo>
                    <a:lnTo>
                      <a:pt x="163" y="391"/>
                    </a:lnTo>
                    <a:lnTo>
                      <a:pt x="163" y="391"/>
                    </a:lnTo>
                    <a:lnTo>
                      <a:pt x="163" y="391"/>
                    </a:lnTo>
                    <a:lnTo>
                      <a:pt x="163" y="391"/>
                    </a:lnTo>
                    <a:lnTo>
                      <a:pt x="163" y="391"/>
                    </a:lnTo>
                    <a:lnTo>
                      <a:pt x="163" y="391"/>
                    </a:lnTo>
                    <a:lnTo>
                      <a:pt x="163" y="391"/>
                    </a:lnTo>
                    <a:lnTo>
                      <a:pt x="156" y="391"/>
                    </a:lnTo>
                    <a:lnTo>
                      <a:pt x="156" y="391"/>
                    </a:lnTo>
                    <a:lnTo>
                      <a:pt x="156" y="391"/>
                    </a:lnTo>
                    <a:lnTo>
                      <a:pt x="156" y="391"/>
                    </a:lnTo>
                    <a:lnTo>
                      <a:pt x="156" y="391"/>
                    </a:lnTo>
                    <a:lnTo>
                      <a:pt x="156" y="391"/>
                    </a:lnTo>
                    <a:lnTo>
                      <a:pt x="156" y="384"/>
                    </a:lnTo>
                    <a:lnTo>
                      <a:pt x="156" y="384"/>
                    </a:lnTo>
                    <a:lnTo>
                      <a:pt x="149" y="391"/>
                    </a:lnTo>
                    <a:lnTo>
                      <a:pt x="142" y="391"/>
                    </a:lnTo>
                    <a:lnTo>
                      <a:pt x="142" y="391"/>
                    </a:lnTo>
                    <a:lnTo>
                      <a:pt x="142" y="384"/>
                    </a:lnTo>
                    <a:lnTo>
                      <a:pt x="142" y="384"/>
                    </a:lnTo>
                    <a:lnTo>
                      <a:pt x="142" y="384"/>
                    </a:lnTo>
                    <a:lnTo>
                      <a:pt x="135" y="384"/>
                    </a:lnTo>
                    <a:lnTo>
                      <a:pt x="135" y="377"/>
                    </a:lnTo>
                    <a:lnTo>
                      <a:pt x="135" y="377"/>
                    </a:lnTo>
                    <a:lnTo>
                      <a:pt x="135" y="370"/>
                    </a:lnTo>
                    <a:lnTo>
                      <a:pt x="135" y="363"/>
                    </a:lnTo>
                    <a:lnTo>
                      <a:pt x="135" y="363"/>
                    </a:lnTo>
                    <a:lnTo>
                      <a:pt x="135" y="355"/>
                    </a:lnTo>
                    <a:lnTo>
                      <a:pt x="135" y="348"/>
                    </a:lnTo>
                    <a:lnTo>
                      <a:pt x="135" y="348"/>
                    </a:lnTo>
                    <a:lnTo>
                      <a:pt x="135" y="341"/>
                    </a:lnTo>
                    <a:lnTo>
                      <a:pt x="135" y="341"/>
                    </a:lnTo>
                    <a:lnTo>
                      <a:pt x="128" y="341"/>
                    </a:lnTo>
                    <a:lnTo>
                      <a:pt x="128" y="341"/>
                    </a:lnTo>
                    <a:lnTo>
                      <a:pt x="135" y="327"/>
                    </a:lnTo>
                    <a:lnTo>
                      <a:pt x="135" y="327"/>
                    </a:lnTo>
                    <a:lnTo>
                      <a:pt x="128" y="320"/>
                    </a:lnTo>
                    <a:lnTo>
                      <a:pt x="128" y="320"/>
                    </a:lnTo>
                    <a:lnTo>
                      <a:pt x="128" y="327"/>
                    </a:lnTo>
                    <a:lnTo>
                      <a:pt x="128" y="327"/>
                    </a:lnTo>
                    <a:lnTo>
                      <a:pt x="128" y="327"/>
                    </a:lnTo>
                    <a:lnTo>
                      <a:pt x="128" y="327"/>
                    </a:lnTo>
                    <a:lnTo>
                      <a:pt x="128" y="320"/>
                    </a:lnTo>
                    <a:lnTo>
                      <a:pt x="128" y="320"/>
                    </a:lnTo>
                    <a:lnTo>
                      <a:pt x="128" y="320"/>
                    </a:lnTo>
                    <a:lnTo>
                      <a:pt x="128" y="320"/>
                    </a:lnTo>
                    <a:lnTo>
                      <a:pt x="128" y="320"/>
                    </a:lnTo>
                    <a:lnTo>
                      <a:pt x="128" y="320"/>
                    </a:lnTo>
                    <a:lnTo>
                      <a:pt x="121" y="320"/>
                    </a:lnTo>
                    <a:lnTo>
                      <a:pt x="121" y="320"/>
                    </a:lnTo>
                    <a:lnTo>
                      <a:pt x="121" y="320"/>
                    </a:lnTo>
                    <a:lnTo>
                      <a:pt x="121" y="320"/>
                    </a:lnTo>
                    <a:lnTo>
                      <a:pt x="121" y="320"/>
                    </a:lnTo>
                    <a:lnTo>
                      <a:pt x="121" y="320"/>
                    </a:lnTo>
                    <a:lnTo>
                      <a:pt x="121" y="313"/>
                    </a:lnTo>
                    <a:lnTo>
                      <a:pt x="121" y="313"/>
                    </a:lnTo>
                    <a:lnTo>
                      <a:pt x="121" y="306"/>
                    </a:lnTo>
                    <a:lnTo>
                      <a:pt x="121" y="299"/>
                    </a:lnTo>
                    <a:lnTo>
                      <a:pt x="121" y="299"/>
                    </a:lnTo>
                    <a:lnTo>
                      <a:pt x="121" y="292"/>
                    </a:lnTo>
                    <a:lnTo>
                      <a:pt x="121" y="292"/>
                    </a:lnTo>
                    <a:lnTo>
                      <a:pt x="121" y="292"/>
                    </a:lnTo>
                    <a:lnTo>
                      <a:pt x="121" y="292"/>
                    </a:lnTo>
                    <a:lnTo>
                      <a:pt x="121" y="284"/>
                    </a:lnTo>
                    <a:lnTo>
                      <a:pt x="121" y="284"/>
                    </a:lnTo>
                    <a:lnTo>
                      <a:pt x="121" y="284"/>
                    </a:lnTo>
                    <a:lnTo>
                      <a:pt x="121" y="277"/>
                    </a:lnTo>
                    <a:lnTo>
                      <a:pt x="121" y="263"/>
                    </a:lnTo>
                    <a:lnTo>
                      <a:pt x="121" y="263"/>
                    </a:lnTo>
                    <a:lnTo>
                      <a:pt x="121" y="263"/>
                    </a:lnTo>
                    <a:lnTo>
                      <a:pt x="121" y="263"/>
                    </a:lnTo>
                    <a:lnTo>
                      <a:pt x="121" y="263"/>
                    </a:lnTo>
                    <a:lnTo>
                      <a:pt x="121" y="263"/>
                    </a:lnTo>
                    <a:lnTo>
                      <a:pt x="121" y="263"/>
                    </a:lnTo>
                    <a:lnTo>
                      <a:pt x="128" y="263"/>
                    </a:lnTo>
                    <a:lnTo>
                      <a:pt x="128" y="263"/>
                    </a:lnTo>
                    <a:lnTo>
                      <a:pt x="128" y="263"/>
                    </a:lnTo>
                    <a:lnTo>
                      <a:pt x="128" y="263"/>
                    </a:lnTo>
                    <a:lnTo>
                      <a:pt x="128" y="263"/>
                    </a:lnTo>
                    <a:lnTo>
                      <a:pt x="128" y="263"/>
                    </a:lnTo>
                    <a:lnTo>
                      <a:pt x="128" y="263"/>
                    </a:lnTo>
                    <a:lnTo>
                      <a:pt x="128" y="270"/>
                    </a:lnTo>
                    <a:lnTo>
                      <a:pt x="128" y="270"/>
                    </a:lnTo>
                    <a:lnTo>
                      <a:pt x="128" y="270"/>
                    </a:lnTo>
                    <a:lnTo>
                      <a:pt x="128" y="270"/>
                    </a:lnTo>
                    <a:lnTo>
                      <a:pt x="135" y="270"/>
                    </a:lnTo>
                    <a:lnTo>
                      <a:pt x="135" y="263"/>
                    </a:lnTo>
                    <a:lnTo>
                      <a:pt x="135" y="263"/>
                    </a:lnTo>
                    <a:lnTo>
                      <a:pt x="135" y="263"/>
                    </a:lnTo>
                    <a:lnTo>
                      <a:pt x="135" y="256"/>
                    </a:lnTo>
                    <a:lnTo>
                      <a:pt x="142" y="256"/>
                    </a:lnTo>
                    <a:lnTo>
                      <a:pt x="142" y="256"/>
                    </a:lnTo>
                    <a:lnTo>
                      <a:pt x="142" y="256"/>
                    </a:lnTo>
                    <a:lnTo>
                      <a:pt x="142" y="256"/>
                    </a:lnTo>
                    <a:lnTo>
                      <a:pt x="142" y="256"/>
                    </a:lnTo>
                    <a:lnTo>
                      <a:pt x="149" y="249"/>
                    </a:lnTo>
                    <a:lnTo>
                      <a:pt x="149" y="249"/>
                    </a:lnTo>
                    <a:lnTo>
                      <a:pt x="156" y="242"/>
                    </a:lnTo>
                    <a:lnTo>
                      <a:pt x="156" y="228"/>
                    </a:lnTo>
                    <a:lnTo>
                      <a:pt x="156" y="228"/>
                    </a:lnTo>
                    <a:lnTo>
                      <a:pt x="156" y="228"/>
                    </a:lnTo>
                    <a:lnTo>
                      <a:pt x="156" y="221"/>
                    </a:lnTo>
                    <a:lnTo>
                      <a:pt x="156" y="221"/>
                    </a:lnTo>
                    <a:lnTo>
                      <a:pt x="156" y="221"/>
                    </a:lnTo>
                    <a:lnTo>
                      <a:pt x="156" y="221"/>
                    </a:lnTo>
                    <a:lnTo>
                      <a:pt x="156" y="221"/>
                    </a:lnTo>
                    <a:lnTo>
                      <a:pt x="163" y="221"/>
                    </a:lnTo>
                    <a:lnTo>
                      <a:pt x="170" y="221"/>
                    </a:lnTo>
                    <a:lnTo>
                      <a:pt x="178" y="221"/>
                    </a:lnTo>
                    <a:lnTo>
                      <a:pt x="178" y="221"/>
                    </a:lnTo>
                    <a:lnTo>
                      <a:pt x="178" y="221"/>
                    </a:lnTo>
                    <a:lnTo>
                      <a:pt x="178" y="221"/>
                    </a:lnTo>
                    <a:lnTo>
                      <a:pt x="178" y="221"/>
                    </a:lnTo>
                    <a:lnTo>
                      <a:pt x="178" y="221"/>
                    </a:lnTo>
                    <a:lnTo>
                      <a:pt x="178" y="221"/>
                    </a:lnTo>
                    <a:lnTo>
                      <a:pt x="185" y="221"/>
                    </a:lnTo>
                    <a:lnTo>
                      <a:pt x="185" y="221"/>
                    </a:lnTo>
                    <a:lnTo>
                      <a:pt x="185" y="221"/>
                    </a:lnTo>
                    <a:lnTo>
                      <a:pt x="199" y="213"/>
                    </a:lnTo>
                    <a:lnTo>
                      <a:pt x="206" y="213"/>
                    </a:lnTo>
                    <a:lnTo>
                      <a:pt x="206" y="213"/>
                    </a:lnTo>
                    <a:lnTo>
                      <a:pt x="206" y="221"/>
                    </a:lnTo>
                    <a:lnTo>
                      <a:pt x="206" y="221"/>
                    </a:lnTo>
                    <a:lnTo>
                      <a:pt x="206" y="221"/>
                    </a:lnTo>
                    <a:lnTo>
                      <a:pt x="213" y="221"/>
                    </a:lnTo>
                    <a:lnTo>
                      <a:pt x="213" y="221"/>
                    </a:lnTo>
                    <a:lnTo>
                      <a:pt x="213" y="221"/>
                    </a:lnTo>
                    <a:lnTo>
                      <a:pt x="213" y="221"/>
                    </a:lnTo>
                    <a:lnTo>
                      <a:pt x="213" y="221"/>
                    </a:lnTo>
                    <a:lnTo>
                      <a:pt x="220" y="221"/>
                    </a:lnTo>
                    <a:lnTo>
                      <a:pt x="220" y="228"/>
                    </a:lnTo>
                    <a:lnTo>
                      <a:pt x="227" y="221"/>
                    </a:lnTo>
                    <a:lnTo>
                      <a:pt x="227" y="221"/>
                    </a:lnTo>
                    <a:lnTo>
                      <a:pt x="227" y="221"/>
                    </a:lnTo>
                    <a:lnTo>
                      <a:pt x="234" y="221"/>
                    </a:lnTo>
                    <a:lnTo>
                      <a:pt x="234" y="221"/>
                    </a:lnTo>
                    <a:lnTo>
                      <a:pt x="234" y="213"/>
                    </a:lnTo>
                    <a:lnTo>
                      <a:pt x="241" y="206"/>
                    </a:lnTo>
                    <a:lnTo>
                      <a:pt x="241" y="199"/>
                    </a:lnTo>
                    <a:lnTo>
                      <a:pt x="241" y="199"/>
                    </a:lnTo>
                    <a:lnTo>
                      <a:pt x="241" y="199"/>
                    </a:lnTo>
                    <a:lnTo>
                      <a:pt x="241" y="192"/>
                    </a:lnTo>
                    <a:lnTo>
                      <a:pt x="241" y="192"/>
                    </a:lnTo>
                    <a:lnTo>
                      <a:pt x="241" y="192"/>
                    </a:lnTo>
                    <a:lnTo>
                      <a:pt x="241" y="192"/>
                    </a:lnTo>
                    <a:lnTo>
                      <a:pt x="241" y="192"/>
                    </a:lnTo>
                    <a:lnTo>
                      <a:pt x="241" y="192"/>
                    </a:lnTo>
                    <a:lnTo>
                      <a:pt x="241" y="192"/>
                    </a:lnTo>
                    <a:lnTo>
                      <a:pt x="241" y="192"/>
                    </a:lnTo>
                    <a:lnTo>
                      <a:pt x="241" y="185"/>
                    </a:lnTo>
                    <a:lnTo>
                      <a:pt x="249" y="185"/>
                    </a:lnTo>
                    <a:lnTo>
                      <a:pt x="249" y="185"/>
                    </a:lnTo>
                    <a:lnTo>
                      <a:pt x="256" y="192"/>
                    </a:lnTo>
                    <a:lnTo>
                      <a:pt x="256" y="192"/>
                    </a:lnTo>
                    <a:lnTo>
                      <a:pt x="256" y="192"/>
                    </a:lnTo>
                    <a:lnTo>
                      <a:pt x="256" y="192"/>
                    </a:lnTo>
                    <a:lnTo>
                      <a:pt x="256" y="192"/>
                    </a:lnTo>
                    <a:lnTo>
                      <a:pt x="263" y="192"/>
                    </a:lnTo>
                    <a:lnTo>
                      <a:pt x="263" y="185"/>
                    </a:lnTo>
                    <a:lnTo>
                      <a:pt x="263" y="185"/>
                    </a:lnTo>
                    <a:lnTo>
                      <a:pt x="256" y="185"/>
                    </a:lnTo>
                    <a:lnTo>
                      <a:pt x="256" y="178"/>
                    </a:lnTo>
                    <a:lnTo>
                      <a:pt x="256" y="178"/>
                    </a:lnTo>
                    <a:lnTo>
                      <a:pt x="256" y="178"/>
                    </a:lnTo>
                    <a:lnTo>
                      <a:pt x="249" y="178"/>
                    </a:lnTo>
                    <a:lnTo>
                      <a:pt x="249" y="171"/>
                    </a:lnTo>
                    <a:lnTo>
                      <a:pt x="249" y="171"/>
                    </a:lnTo>
                    <a:lnTo>
                      <a:pt x="249" y="171"/>
                    </a:lnTo>
                    <a:lnTo>
                      <a:pt x="249" y="164"/>
                    </a:lnTo>
                    <a:lnTo>
                      <a:pt x="249" y="164"/>
                    </a:lnTo>
                    <a:lnTo>
                      <a:pt x="249" y="157"/>
                    </a:lnTo>
                    <a:lnTo>
                      <a:pt x="249" y="157"/>
                    </a:lnTo>
                    <a:lnTo>
                      <a:pt x="256" y="157"/>
                    </a:lnTo>
                    <a:lnTo>
                      <a:pt x="263" y="135"/>
                    </a:lnTo>
                    <a:lnTo>
                      <a:pt x="270" y="128"/>
                    </a:lnTo>
                    <a:lnTo>
                      <a:pt x="270" y="128"/>
                    </a:lnTo>
                    <a:lnTo>
                      <a:pt x="270" y="121"/>
                    </a:lnTo>
                    <a:lnTo>
                      <a:pt x="270" y="121"/>
                    </a:lnTo>
                    <a:lnTo>
                      <a:pt x="270" y="121"/>
                    </a:lnTo>
                    <a:lnTo>
                      <a:pt x="270" y="121"/>
                    </a:lnTo>
                    <a:lnTo>
                      <a:pt x="270" y="121"/>
                    </a:lnTo>
                    <a:lnTo>
                      <a:pt x="270" y="121"/>
                    </a:lnTo>
                    <a:lnTo>
                      <a:pt x="270" y="121"/>
                    </a:lnTo>
                    <a:lnTo>
                      <a:pt x="270" y="121"/>
                    </a:lnTo>
                    <a:lnTo>
                      <a:pt x="277" y="121"/>
                    </a:lnTo>
                    <a:lnTo>
                      <a:pt x="277" y="121"/>
                    </a:lnTo>
                    <a:lnTo>
                      <a:pt x="277" y="121"/>
                    </a:lnTo>
                    <a:lnTo>
                      <a:pt x="277" y="114"/>
                    </a:lnTo>
                    <a:lnTo>
                      <a:pt x="277" y="114"/>
                    </a:lnTo>
                    <a:lnTo>
                      <a:pt x="277" y="114"/>
                    </a:lnTo>
                    <a:lnTo>
                      <a:pt x="277" y="114"/>
                    </a:lnTo>
                    <a:lnTo>
                      <a:pt x="277" y="114"/>
                    </a:lnTo>
                    <a:lnTo>
                      <a:pt x="277" y="114"/>
                    </a:lnTo>
                    <a:lnTo>
                      <a:pt x="277" y="114"/>
                    </a:lnTo>
                    <a:lnTo>
                      <a:pt x="277" y="107"/>
                    </a:lnTo>
                    <a:lnTo>
                      <a:pt x="277" y="107"/>
                    </a:lnTo>
                    <a:lnTo>
                      <a:pt x="277" y="107"/>
                    </a:lnTo>
                    <a:lnTo>
                      <a:pt x="284" y="107"/>
                    </a:lnTo>
                    <a:lnTo>
                      <a:pt x="277" y="100"/>
                    </a:lnTo>
                    <a:lnTo>
                      <a:pt x="277" y="100"/>
                    </a:lnTo>
                    <a:lnTo>
                      <a:pt x="277" y="100"/>
                    </a:lnTo>
                    <a:lnTo>
                      <a:pt x="277" y="100"/>
                    </a:lnTo>
                    <a:lnTo>
                      <a:pt x="270" y="100"/>
                    </a:lnTo>
                    <a:lnTo>
                      <a:pt x="270" y="100"/>
                    </a:lnTo>
                    <a:lnTo>
                      <a:pt x="270" y="93"/>
                    </a:lnTo>
                    <a:lnTo>
                      <a:pt x="270" y="93"/>
                    </a:lnTo>
                    <a:lnTo>
                      <a:pt x="270" y="93"/>
                    </a:lnTo>
                    <a:lnTo>
                      <a:pt x="270" y="86"/>
                    </a:lnTo>
                    <a:lnTo>
                      <a:pt x="277" y="86"/>
                    </a:lnTo>
                    <a:lnTo>
                      <a:pt x="277" y="86"/>
                    </a:lnTo>
                    <a:lnTo>
                      <a:pt x="277" y="86"/>
                    </a:lnTo>
                    <a:lnTo>
                      <a:pt x="277" y="86"/>
                    </a:lnTo>
                    <a:lnTo>
                      <a:pt x="277" y="86"/>
                    </a:lnTo>
                    <a:lnTo>
                      <a:pt x="277" y="79"/>
                    </a:lnTo>
                    <a:lnTo>
                      <a:pt x="277" y="79"/>
                    </a:lnTo>
                    <a:lnTo>
                      <a:pt x="277" y="79"/>
                    </a:lnTo>
                    <a:lnTo>
                      <a:pt x="277" y="79"/>
                    </a:lnTo>
                    <a:lnTo>
                      <a:pt x="277" y="79"/>
                    </a:lnTo>
                    <a:lnTo>
                      <a:pt x="277" y="79"/>
                    </a:lnTo>
                    <a:lnTo>
                      <a:pt x="277" y="79"/>
                    </a:lnTo>
                    <a:lnTo>
                      <a:pt x="277" y="71"/>
                    </a:lnTo>
                    <a:lnTo>
                      <a:pt x="284" y="64"/>
                    </a:lnTo>
                    <a:lnTo>
                      <a:pt x="284" y="57"/>
                    </a:lnTo>
                    <a:lnTo>
                      <a:pt x="284" y="57"/>
                    </a:lnTo>
                    <a:lnTo>
                      <a:pt x="291" y="57"/>
                    </a:lnTo>
                    <a:lnTo>
                      <a:pt x="298" y="57"/>
                    </a:lnTo>
                    <a:lnTo>
                      <a:pt x="298" y="50"/>
                    </a:lnTo>
                    <a:lnTo>
                      <a:pt x="312" y="43"/>
                    </a:lnTo>
                    <a:lnTo>
                      <a:pt x="312" y="43"/>
                    </a:lnTo>
                    <a:lnTo>
                      <a:pt x="320" y="36"/>
                    </a:lnTo>
                    <a:lnTo>
                      <a:pt x="327" y="36"/>
                    </a:lnTo>
                    <a:lnTo>
                      <a:pt x="327" y="36"/>
                    </a:lnTo>
                    <a:lnTo>
                      <a:pt x="327" y="36"/>
                    </a:lnTo>
                    <a:lnTo>
                      <a:pt x="327" y="36"/>
                    </a:lnTo>
                    <a:lnTo>
                      <a:pt x="334" y="29"/>
                    </a:lnTo>
                    <a:lnTo>
                      <a:pt x="334" y="29"/>
                    </a:lnTo>
                    <a:lnTo>
                      <a:pt x="334" y="29"/>
                    </a:lnTo>
                    <a:lnTo>
                      <a:pt x="334" y="29"/>
                    </a:lnTo>
                    <a:lnTo>
                      <a:pt x="334" y="29"/>
                    </a:lnTo>
                    <a:lnTo>
                      <a:pt x="334" y="22"/>
                    </a:lnTo>
                    <a:lnTo>
                      <a:pt x="334" y="22"/>
                    </a:lnTo>
                    <a:lnTo>
                      <a:pt x="334" y="22"/>
                    </a:lnTo>
                    <a:lnTo>
                      <a:pt x="334" y="15"/>
                    </a:lnTo>
                    <a:lnTo>
                      <a:pt x="327" y="15"/>
                    </a:lnTo>
                    <a:lnTo>
                      <a:pt x="327" y="15"/>
                    </a:lnTo>
                    <a:lnTo>
                      <a:pt x="334" y="15"/>
                    </a:lnTo>
                    <a:lnTo>
                      <a:pt x="341" y="15"/>
                    </a:lnTo>
                    <a:lnTo>
                      <a:pt x="341" y="15"/>
                    </a:lnTo>
                    <a:lnTo>
                      <a:pt x="355" y="29"/>
                    </a:lnTo>
                    <a:lnTo>
                      <a:pt x="355" y="29"/>
                    </a:lnTo>
                    <a:lnTo>
                      <a:pt x="355" y="29"/>
                    </a:lnTo>
                    <a:lnTo>
                      <a:pt x="355" y="36"/>
                    </a:lnTo>
                    <a:lnTo>
                      <a:pt x="362" y="36"/>
                    </a:lnTo>
                    <a:lnTo>
                      <a:pt x="362" y="36"/>
                    </a:lnTo>
                    <a:lnTo>
                      <a:pt x="362" y="36"/>
                    </a:lnTo>
                    <a:lnTo>
                      <a:pt x="362" y="36"/>
                    </a:lnTo>
                    <a:lnTo>
                      <a:pt x="369" y="36"/>
                    </a:lnTo>
                    <a:lnTo>
                      <a:pt x="376" y="43"/>
                    </a:lnTo>
                    <a:lnTo>
                      <a:pt x="376" y="43"/>
                    </a:lnTo>
                    <a:lnTo>
                      <a:pt x="391" y="43"/>
                    </a:lnTo>
                    <a:lnTo>
                      <a:pt x="391" y="43"/>
                    </a:lnTo>
                    <a:lnTo>
                      <a:pt x="405" y="36"/>
                    </a:lnTo>
                    <a:lnTo>
                      <a:pt x="405" y="36"/>
                    </a:lnTo>
                    <a:lnTo>
                      <a:pt x="405" y="36"/>
                    </a:lnTo>
                    <a:lnTo>
                      <a:pt x="405" y="36"/>
                    </a:lnTo>
                    <a:lnTo>
                      <a:pt x="405" y="29"/>
                    </a:lnTo>
                    <a:lnTo>
                      <a:pt x="405" y="29"/>
                    </a:lnTo>
                    <a:lnTo>
                      <a:pt x="405" y="29"/>
                    </a:lnTo>
                    <a:lnTo>
                      <a:pt x="405" y="29"/>
                    </a:lnTo>
                    <a:lnTo>
                      <a:pt x="405" y="29"/>
                    </a:lnTo>
                    <a:lnTo>
                      <a:pt x="405" y="29"/>
                    </a:lnTo>
                    <a:lnTo>
                      <a:pt x="405" y="29"/>
                    </a:lnTo>
                    <a:lnTo>
                      <a:pt x="433" y="22"/>
                    </a:lnTo>
                    <a:lnTo>
                      <a:pt x="440" y="22"/>
                    </a:lnTo>
                    <a:lnTo>
                      <a:pt x="440" y="22"/>
                    </a:lnTo>
                    <a:lnTo>
                      <a:pt x="440" y="22"/>
                    </a:lnTo>
                    <a:lnTo>
                      <a:pt x="440" y="22"/>
                    </a:lnTo>
                    <a:lnTo>
                      <a:pt x="440" y="22"/>
                    </a:lnTo>
                    <a:lnTo>
                      <a:pt x="447" y="22"/>
                    </a:lnTo>
                    <a:lnTo>
                      <a:pt x="447" y="22"/>
                    </a:lnTo>
                    <a:lnTo>
                      <a:pt x="454" y="22"/>
                    </a:lnTo>
                    <a:lnTo>
                      <a:pt x="462" y="22"/>
                    </a:lnTo>
                    <a:lnTo>
                      <a:pt x="462" y="22"/>
                    </a:lnTo>
                    <a:lnTo>
                      <a:pt x="462" y="22"/>
                    </a:lnTo>
                    <a:lnTo>
                      <a:pt x="462" y="22"/>
                    </a:lnTo>
                    <a:lnTo>
                      <a:pt x="462" y="22"/>
                    </a:lnTo>
                    <a:lnTo>
                      <a:pt x="469" y="22"/>
                    </a:lnTo>
                    <a:lnTo>
                      <a:pt x="469" y="22"/>
                    </a:lnTo>
                    <a:lnTo>
                      <a:pt x="469" y="22"/>
                    </a:lnTo>
                    <a:lnTo>
                      <a:pt x="476" y="15"/>
                    </a:lnTo>
                    <a:lnTo>
                      <a:pt x="483" y="15"/>
                    </a:lnTo>
                    <a:lnTo>
                      <a:pt x="483" y="22"/>
                    </a:lnTo>
                    <a:lnTo>
                      <a:pt x="490" y="29"/>
                    </a:lnTo>
                    <a:lnTo>
                      <a:pt x="490" y="36"/>
                    </a:lnTo>
                    <a:lnTo>
                      <a:pt x="490" y="36"/>
                    </a:lnTo>
                    <a:lnTo>
                      <a:pt x="490" y="43"/>
                    </a:lnTo>
                    <a:lnTo>
                      <a:pt x="490" y="43"/>
                    </a:lnTo>
                    <a:lnTo>
                      <a:pt x="483" y="43"/>
                    </a:lnTo>
                    <a:lnTo>
                      <a:pt x="483" y="57"/>
                    </a:lnTo>
                    <a:lnTo>
                      <a:pt x="476" y="64"/>
                    </a:lnTo>
                    <a:lnTo>
                      <a:pt x="476" y="64"/>
                    </a:lnTo>
                    <a:lnTo>
                      <a:pt x="476" y="64"/>
                    </a:lnTo>
                    <a:lnTo>
                      <a:pt x="476" y="71"/>
                    </a:lnTo>
                    <a:lnTo>
                      <a:pt x="476" y="71"/>
                    </a:lnTo>
                    <a:lnTo>
                      <a:pt x="476" y="71"/>
                    </a:lnTo>
                    <a:lnTo>
                      <a:pt x="476" y="71"/>
                    </a:lnTo>
                    <a:lnTo>
                      <a:pt x="483" y="71"/>
                    </a:lnTo>
                    <a:lnTo>
                      <a:pt x="483" y="71"/>
                    </a:lnTo>
                    <a:lnTo>
                      <a:pt x="483" y="71"/>
                    </a:lnTo>
                    <a:lnTo>
                      <a:pt x="483" y="71"/>
                    </a:lnTo>
                    <a:lnTo>
                      <a:pt x="490" y="71"/>
                    </a:lnTo>
                    <a:lnTo>
                      <a:pt x="490" y="71"/>
                    </a:lnTo>
                    <a:lnTo>
                      <a:pt x="504" y="79"/>
                    </a:lnTo>
                    <a:lnTo>
                      <a:pt x="504" y="79"/>
                    </a:lnTo>
                    <a:lnTo>
                      <a:pt x="504" y="79"/>
                    </a:lnTo>
                    <a:lnTo>
                      <a:pt x="504" y="79"/>
                    </a:lnTo>
                    <a:lnTo>
                      <a:pt x="504" y="79"/>
                    </a:lnTo>
                    <a:lnTo>
                      <a:pt x="511" y="79"/>
                    </a:lnTo>
                    <a:lnTo>
                      <a:pt x="511" y="71"/>
                    </a:lnTo>
                    <a:lnTo>
                      <a:pt x="518" y="64"/>
                    </a:lnTo>
                    <a:lnTo>
                      <a:pt x="518" y="64"/>
                    </a:lnTo>
                    <a:lnTo>
                      <a:pt x="525" y="64"/>
                    </a:lnTo>
                    <a:lnTo>
                      <a:pt x="533" y="64"/>
                    </a:lnTo>
                    <a:lnTo>
                      <a:pt x="533" y="64"/>
                    </a:lnTo>
                    <a:lnTo>
                      <a:pt x="533" y="57"/>
                    </a:lnTo>
                    <a:lnTo>
                      <a:pt x="533" y="57"/>
                    </a:lnTo>
                    <a:lnTo>
                      <a:pt x="540" y="57"/>
                    </a:lnTo>
                    <a:lnTo>
                      <a:pt x="540" y="64"/>
                    </a:lnTo>
                    <a:lnTo>
                      <a:pt x="554" y="71"/>
                    </a:lnTo>
                    <a:lnTo>
                      <a:pt x="561" y="71"/>
                    </a:lnTo>
                    <a:lnTo>
                      <a:pt x="568" y="71"/>
                    </a:lnTo>
                    <a:lnTo>
                      <a:pt x="568" y="71"/>
                    </a:lnTo>
                    <a:lnTo>
                      <a:pt x="568" y="71"/>
                    </a:lnTo>
                    <a:lnTo>
                      <a:pt x="575" y="71"/>
                    </a:lnTo>
                    <a:lnTo>
                      <a:pt x="575" y="71"/>
                    </a:lnTo>
                    <a:lnTo>
                      <a:pt x="575" y="71"/>
                    </a:lnTo>
                    <a:lnTo>
                      <a:pt x="575" y="71"/>
                    </a:lnTo>
                    <a:lnTo>
                      <a:pt x="582" y="64"/>
                    </a:lnTo>
                    <a:lnTo>
                      <a:pt x="582" y="64"/>
                    </a:lnTo>
                    <a:lnTo>
                      <a:pt x="582" y="64"/>
                    </a:lnTo>
                    <a:lnTo>
                      <a:pt x="582" y="64"/>
                    </a:lnTo>
                    <a:lnTo>
                      <a:pt x="582" y="64"/>
                    </a:lnTo>
                    <a:lnTo>
                      <a:pt x="582" y="64"/>
                    </a:lnTo>
                    <a:lnTo>
                      <a:pt x="582" y="64"/>
                    </a:lnTo>
                    <a:lnTo>
                      <a:pt x="582" y="71"/>
                    </a:lnTo>
                    <a:lnTo>
                      <a:pt x="582" y="71"/>
                    </a:lnTo>
                    <a:lnTo>
                      <a:pt x="582" y="71"/>
                    </a:lnTo>
                    <a:lnTo>
                      <a:pt x="582" y="71"/>
                    </a:lnTo>
                    <a:lnTo>
                      <a:pt x="582" y="79"/>
                    </a:lnTo>
                    <a:lnTo>
                      <a:pt x="582" y="79"/>
                    </a:lnTo>
                    <a:lnTo>
                      <a:pt x="582" y="79"/>
                    </a:lnTo>
                    <a:lnTo>
                      <a:pt x="582" y="79"/>
                    </a:lnTo>
                    <a:lnTo>
                      <a:pt x="589" y="86"/>
                    </a:lnTo>
                    <a:lnTo>
                      <a:pt x="596" y="86"/>
                    </a:lnTo>
                    <a:lnTo>
                      <a:pt x="596" y="79"/>
                    </a:lnTo>
                    <a:lnTo>
                      <a:pt x="604" y="79"/>
                    </a:lnTo>
                    <a:lnTo>
                      <a:pt x="611" y="71"/>
                    </a:lnTo>
                    <a:lnTo>
                      <a:pt x="611" y="64"/>
                    </a:lnTo>
                    <a:lnTo>
                      <a:pt x="611" y="64"/>
                    </a:lnTo>
                    <a:lnTo>
                      <a:pt x="611" y="64"/>
                    </a:lnTo>
                    <a:lnTo>
                      <a:pt x="611" y="64"/>
                    </a:lnTo>
                    <a:lnTo>
                      <a:pt x="611" y="64"/>
                    </a:lnTo>
                    <a:lnTo>
                      <a:pt x="611" y="57"/>
                    </a:lnTo>
                    <a:lnTo>
                      <a:pt x="611" y="57"/>
                    </a:lnTo>
                    <a:lnTo>
                      <a:pt x="611" y="57"/>
                    </a:lnTo>
                    <a:lnTo>
                      <a:pt x="611" y="50"/>
                    </a:lnTo>
                    <a:lnTo>
                      <a:pt x="611" y="50"/>
                    </a:lnTo>
                    <a:lnTo>
                      <a:pt x="604" y="43"/>
                    </a:lnTo>
                    <a:lnTo>
                      <a:pt x="604" y="43"/>
                    </a:lnTo>
                    <a:lnTo>
                      <a:pt x="604" y="43"/>
                    </a:lnTo>
                    <a:lnTo>
                      <a:pt x="611" y="36"/>
                    </a:lnTo>
                    <a:lnTo>
                      <a:pt x="611" y="36"/>
                    </a:lnTo>
                    <a:lnTo>
                      <a:pt x="611" y="36"/>
                    </a:lnTo>
                    <a:lnTo>
                      <a:pt x="611" y="22"/>
                    </a:lnTo>
                    <a:lnTo>
                      <a:pt x="604" y="22"/>
                    </a:lnTo>
                    <a:lnTo>
                      <a:pt x="604" y="22"/>
                    </a:lnTo>
                    <a:lnTo>
                      <a:pt x="604" y="15"/>
                    </a:lnTo>
                    <a:lnTo>
                      <a:pt x="604" y="15"/>
                    </a:lnTo>
                    <a:lnTo>
                      <a:pt x="596" y="8"/>
                    </a:lnTo>
                    <a:lnTo>
                      <a:pt x="596" y="8"/>
                    </a:lnTo>
                    <a:lnTo>
                      <a:pt x="596" y="8"/>
                    </a:lnTo>
                    <a:lnTo>
                      <a:pt x="596" y="8"/>
                    </a:lnTo>
                    <a:lnTo>
                      <a:pt x="604" y="8"/>
                    </a:lnTo>
                    <a:lnTo>
                      <a:pt x="604" y="8"/>
                    </a:lnTo>
                    <a:lnTo>
                      <a:pt x="604" y="8"/>
                    </a:lnTo>
                    <a:lnTo>
                      <a:pt x="604" y="8"/>
                    </a:lnTo>
                    <a:lnTo>
                      <a:pt x="604" y="8"/>
                    </a:lnTo>
                    <a:lnTo>
                      <a:pt x="611" y="8"/>
                    </a:lnTo>
                    <a:lnTo>
                      <a:pt x="611" y="8"/>
                    </a:lnTo>
                    <a:lnTo>
                      <a:pt x="611" y="8"/>
                    </a:lnTo>
                    <a:lnTo>
                      <a:pt x="611" y="0"/>
                    </a:lnTo>
                    <a:lnTo>
                      <a:pt x="611" y="0"/>
                    </a:lnTo>
                    <a:lnTo>
                      <a:pt x="611" y="0"/>
                    </a:lnTo>
                    <a:lnTo>
                      <a:pt x="618" y="0"/>
                    </a:lnTo>
                    <a:lnTo>
                      <a:pt x="618" y="0"/>
                    </a:lnTo>
                    <a:lnTo>
                      <a:pt x="618" y="0"/>
                    </a:lnTo>
                    <a:lnTo>
                      <a:pt x="625" y="8"/>
                    </a:lnTo>
                    <a:lnTo>
                      <a:pt x="646" y="22"/>
                    </a:lnTo>
                    <a:lnTo>
                      <a:pt x="646" y="22"/>
                    </a:lnTo>
                    <a:lnTo>
                      <a:pt x="653" y="22"/>
                    </a:lnTo>
                    <a:lnTo>
                      <a:pt x="653" y="29"/>
                    </a:lnTo>
                    <a:lnTo>
                      <a:pt x="653" y="29"/>
                    </a:lnTo>
                    <a:lnTo>
                      <a:pt x="660" y="29"/>
                    </a:lnTo>
                    <a:lnTo>
                      <a:pt x="660" y="29"/>
                    </a:lnTo>
                    <a:lnTo>
                      <a:pt x="660" y="36"/>
                    </a:lnTo>
                    <a:lnTo>
                      <a:pt x="667" y="36"/>
                    </a:lnTo>
                    <a:lnTo>
                      <a:pt x="667" y="36"/>
                    </a:lnTo>
                    <a:lnTo>
                      <a:pt x="667" y="36"/>
                    </a:lnTo>
                    <a:lnTo>
                      <a:pt x="674" y="29"/>
                    </a:lnTo>
                    <a:lnTo>
                      <a:pt x="674" y="29"/>
                    </a:lnTo>
                    <a:lnTo>
                      <a:pt x="674" y="29"/>
                    </a:lnTo>
                    <a:lnTo>
                      <a:pt x="682" y="29"/>
                    </a:lnTo>
                    <a:lnTo>
                      <a:pt x="696" y="36"/>
                    </a:lnTo>
                    <a:lnTo>
                      <a:pt x="703" y="43"/>
                    </a:lnTo>
                    <a:lnTo>
                      <a:pt x="703" y="50"/>
                    </a:lnTo>
                    <a:lnTo>
                      <a:pt x="710" y="50"/>
                    </a:lnTo>
                    <a:lnTo>
                      <a:pt x="710" y="50"/>
                    </a:lnTo>
                    <a:lnTo>
                      <a:pt x="710" y="50"/>
                    </a:lnTo>
                    <a:lnTo>
                      <a:pt x="717" y="50"/>
                    </a:lnTo>
                    <a:lnTo>
                      <a:pt x="717" y="57"/>
                    </a:lnTo>
                    <a:lnTo>
                      <a:pt x="717" y="57"/>
                    </a:lnTo>
                    <a:lnTo>
                      <a:pt x="724" y="57"/>
                    </a:lnTo>
                    <a:lnTo>
                      <a:pt x="731" y="57"/>
                    </a:lnTo>
                    <a:lnTo>
                      <a:pt x="731" y="57"/>
                    </a:lnTo>
                    <a:lnTo>
                      <a:pt x="731" y="57"/>
                    </a:lnTo>
                    <a:lnTo>
                      <a:pt x="731" y="57"/>
                    </a:lnTo>
                    <a:lnTo>
                      <a:pt x="738" y="64"/>
                    </a:lnTo>
                    <a:lnTo>
                      <a:pt x="745" y="64"/>
                    </a:lnTo>
                    <a:lnTo>
                      <a:pt x="745" y="64"/>
                    </a:lnTo>
                    <a:lnTo>
                      <a:pt x="753" y="71"/>
                    </a:lnTo>
                    <a:lnTo>
                      <a:pt x="753" y="71"/>
                    </a:lnTo>
                    <a:lnTo>
                      <a:pt x="753" y="71"/>
                    </a:lnTo>
                    <a:lnTo>
                      <a:pt x="753" y="71"/>
                    </a:lnTo>
                    <a:lnTo>
                      <a:pt x="753" y="79"/>
                    </a:lnTo>
                    <a:lnTo>
                      <a:pt x="753" y="79"/>
                    </a:lnTo>
                    <a:lnTo>
                      <a:pt x="753" y="79"/>
                    </a:lnTo>
                    <a:lnTo>
                      <a:pt x="753" y="79"/>
                    </a:lnTo>
                    <a:lnTo>
                      <a:pt x="753" y="86"/>
                    </a:lnTo>
                    <a:lnTo>
                      <a:pt x="753" y="86"/>
                    </a:lnTo>
                    <a:lnTo>
                      <a:pt x="753" y="93"/>
                    </a:lnTo>
                    <a:lnTo>
                      <a:pt x="760" y="93"/>
                    </a:lnTo>
                    <a:lnTo>
                      <a:pt x="760" y="93"/>
                    </a:lnTo>
                    <a:lnTo>
                      <a:pt x="760" y="86"/>
                    </a:lnTo>
                    <a:lnTo>
                      <a:pt x="760" y="86"/>
                    </a:lnTo>
                    <a:lnTo>
                      <a:pt x="760" y="86"/>
                    </a:lnTo>
                    <a:lnTo>
                      <a:pt x="760" y="86"/>
                    </a:lnTo>
                    <a:lnTo>
                      <a:pt x="767" y="86"/>
                    </a:lnTo>
                    <a:lnTo>
                      <a:pt x="767" y="86"/>
                    </a:lnTo>
                    <a:lnTo>
                      <a:pt x="767" y="86"/>
                    </a:lnTo>
                    <a:lnTo>
                      <a:pt x="767" y="79"/>
                    </a:lnTo>
                    <a:lnTo>
                      <a:pt x="767" y="79"/>
                    </a:lnTo>
                    <a:lnTo>
                      <a:pt x="767" y="79"/>
                    </a:lnTo>
                    <a:lnTo>
                      <a:pt x="774" y="79"/>
                    </a:lnTo>
                    <a:lnTo>
                      <a:pt x="774" y="86"/>
                    </a:lnTo>
                    <a:lnTo>
                      <a:pt x="781" y="86"/>
                    </a:lnTo>
                    <a:lnTo>
                      <a:pt x="781" y="86"/>
                    </a:lnTo>
                    <a:lnTo>
                      <a:pt x="781" y="93"/>
                    </a:lnTo>
                    <a:lnTo>
                      <a:pt x="781" y="93"/>
                    </a:lnTo>
                    <a:lnTo>
                      <a:pt x="781" y="100"/>
                    </a:lnTo>
                    <a:lnTo>
                      <a:pt x="788" y="100"/>
                    </a:lnTo>
                    <a:lnTo>
                      <a:pt x="788" y="100"/>
                    </a:lnTo>
                    <a:lnTo>
                      <a:pt x="788" y="100"/>
                    </a:lnTo>
                    <a:lnTo>
                      <a:pt x="809" y="107"/>
                    </a:lnTo>
                    <a:lnTo>
                      <a:pt x="809" y="107"/>
                    </a:lnTo>
                    <a:lnTo>
                      <a:pt x="809" y="107"/>
                    </a:lnTo>
                    <a:lnTo>
                      <a:pt x="809" y="114"/>
                    </a:lnTo>
                    <a:lnTo>
                      <a:pt x="809" y="114"/>
                    </a:lnTo>
                    <a:lnTo>
                      <a:pt x="809" y="121"/>
                    </a:lnTo>
                    <a:lnTo>
                      <a:pt x="816" y="121"/>
                    </a:lnTo>
                    <a:lnTo>
                      <a:pt x="816" y="121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3" name="Freeform 31"/>
              <p:cNvSpPr>
                <a:spLocks/>
              </p:cNvSpPr>
              <p:nvPr/>
            </p:nvSpPr>
            <p:spPr bwMode="auto">
              <a:xfrm>
                <a:off x="2569" y="2330"/>
                <a:ext cx="36" cy="43"/>
              </a:xfrm>
              <a:custGeom>
                <a:avLst/>
                <a:gdLst>
                  <a:gd name="T0" fmla="*/ 36 w 36"/>
                  <a:gd name="T1" fmla="*/ 22 h 43"/>
                  <a:gd name="T2" fmla="*/ 36 w 36"/>
                  <a:gd name="T3" fmla="*/ 29 h 43"/>
                  <a:gd name="T4" fmla="*/ 36 w 36"/>
                  <a:gd name="T5" fmla="*/ 36 h 43"/>
                  <a:gd name="T6" fmla="*/ 36 w 36"/>
                  <a:gd name="T7" fmla="*/ 43 h 43"/>
                  <a:gd name="T8" fmla="*/ 36 w 36"/>
                  <a:gd name="T9" fmla="*/ 43 h 43"/>
                  <a:gd name="T10" fmla="*/ 29 w 36"/>
                  <a:gd name="T11" fmla="*/ 43 h 43"/>
                  <a:gd name="T12" fmla="*/ 29 w 36"/>
                  <a:gd name="T13" fmla="*/ 36 h 43"/>
                  <a:gd name="T14" fmla="*/ 29 w 36"/>
                  <a:gd name="T15" fmla="*/ 36 h 43"/>
                  <a:gd name="T16" fmla="*/ 22 w 36"/>
                  <a:gd name="T17" fmla="*/ 43 h 43"/>
                  <a:gd name="T18" fmla="*/ 22 w 36"/>
                  <a:gd name="T19" fmla="*/ 43 h 43"/>
                  <a:gd name="T20" fmla="*/ 22 w 36"/>
                  <a:gd name="T21" fmla="*/ 43 h 43"/>
                  <a:gd name="T22" fmla="*/ 22 w 36"/>
                  <a:gd name="T23" fmla="*/ 36 h 43"/>
                  <a:gd name="T24" fmla="*/ 15 w 36"/>
                  <a:gd name="T25" fmla="*/ 43 h 43"/>
                  <a:gd name="T26" fmla="*/ 15 w 36"/>
                  <a:gd name="T27" fmla="*/ 43 h 43"/>
                  <a:gd name="T28" fmla="*/ 15 w 36"/>
                  <a:gd name="T29" fmla="*/ 43 h 43"/>
                  <a:gd name="T30" fmla="*/ 7 w 36"/>
                  <a:gd name="T31" fmla="*/ 36 h 43"/>
                  <a:gd name="T32" fmla="*/ 7 w 36"/>
                  <a:gd name="T33" fmla="*/ 29 h 43"/>
                  <a:gd name="T34" fmla="*/ 7 w 36"/>
                  <a:gd name="T35" fmla="*/ 22 h 43"/>
                  <a:gd name="T36" fmla="*/ 0 w 36"/>
                  <a:gd name="T37" fmla="*/ 15 h 43"/>
                  <a:gd name="T38" fmla="*/ 0 w 36"/>
                  <a:gd name="T39" fmla="*/ 15 h 43"/>
                  <a:gd name="T40" fmla="*/ 0 w 36"/>
                  <a:gd name="T41" fmla="*/ 15 h 43"/>
                  <a:gd name="T42" fmla="*/ 0 w 36"/>
                  <a:gd name="T43" fmla="*/ 15 h 43"/>
                  <a:gd name="T44" fmla="*/ 0 w 36"/>
                  <a:gd name="T45" fmla="*/ 8 h 43"/>
                  <a:gd name="T46" fmla="*/ 0 w 36"/>
                  <a:gd name="T47" fmla="*/ 8 h 43"/>
                  <a:gd name="T48" fmla="*/ 0 w 36"/>
                  <a:gd name="T49" fmla="*/ 8 h 43"/>
                  <a:gd name="T50" fmla="*/ 7 w 36"/>
                  <a:gd name="T51" fmla="*/ 8 h 43"/>
                  <a:gd name="T52" fmla="*/ 7 w 36"/>
                  <a:gd name="T53" fmla="*/ 8 h 43"/>
                  <a:gd name="T54" fmla="*/ 7 w 36"/>
                  <a:gd name="T55" fmla="*/ 0 h 43"/>
                  <a:gd name="T56" fmla="*/ 7 w 36"/>
                  <a:gd name="T57" fmla="*/ 0 h 43"/>
                  <a:gd name="T58" fmla="*/ 15 w 36"/>
                  <a:gd name="T59" fmla="*/ 0 h 43"/>
                  <a:gd name="T60" fmla="*/ 22 w 36"/>
                  <a:gd name="T61" fmla="*/ 0 h 43"/>
                  <a:gd name="T62" fmla="*/ 22 w 36"/>
                  <a:gd name="T63" fmla="*/ 0 h 43"/>
                  <a:gd name="T64" fmla="*/ 22 w 36"/>
                  <a:gd name="T65" fmla="*/ 0 h 43"/>
                  <a:gd name="T66" fmla="*/ 22 w 36"/>
                  <a:gd name="T67" fmla="*/ 0 h 43"/>
                  <a:gd name="T68" fmla="*/ 22 w 36"/>
                  <a:gd name="T69" fmla="*/ 8 h 43"/>
                  <a:gd name="T70" fmla="*/ 29 w 36"/>
                  <a:gd name="T71" fmla="*/ 8 h 43"/>
                  <a:gd name="T72" fmla="*/ 29 w 36"/>
                  <a:gd name="T73" fmla="*/ 8 h 43"/>
                  <a:gd name="T74" fmla="*/ 29 w 36"/>
                  <a:gd name="T75" fmla="*/ 8 h 43"/>
                  <a:gd name="T76" fmla="*/ 29 w 36"/>
                  <a:gd name="T77" fmla="*/ 8 h 43"/>
                  <a:gd name="T78" fmla="*/ 29 w 36"/>
                  <a:gd name="T79" fmla="*/ 8 h 43"/>
                  <a:gd name="T80" fmla="*/ 22 w 36"/>
                  <a:gd name="T81" fmla="*/ 15 h 43"/>
                  <a:gd name="T82" fmla="*/ 15 w 36"/>
                  <a:gd name="T83" fmla="*/ 15 h 43"/>
                  <a:gd name="T84" fmla="*/ 15 w 36"/>
                  <a:gd name="T85" fmla="*/ 15 h 43"/>
                  <a:gd name="T86" fmla="*/ 22 w 36"/>
                  <a:gd name="T87" fmla="*/ 22 h 43"/>
                  <a:gd name="T88" fmla="*/ 22 w 36"/>
                  <a:gd name="T89" fmla="*/ 29 h 43"/>
                  <a:gd name="T90" fmla="*/ 22 w 36"/>
                  <a:gd name="T91" fmla="*/ 29 h 43"/>
                  <a:gd name="T92" fmla="*/ 29 w 36"/>
                  <a:gd name="T93" fmla="*/ 29 h 43"/>
                  <a:gd name="T94" fmla="*/ 29 w 36"/>
                  <a:gd name="T95" fmla="*/ 22 h 43"/>
                  <a:gd name="T96" fmla="*/ 29 w 36"/>
                  <a:gd name="T97" fmla="*/ 22 h 43"/>
                  <a:gd name="T98" fmla="*/ 29 w 36"/>
                  <a:gd name="T99" fmla="*/ 22 h 43"/>
                  <a:gd name="T100" fmla="*/ 36 w 36"/>
                  <a:gd name="T101" fmla="*/ 2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6" h="43">
                    <a:moveTo>
                      <a:pt x="36" y="22"/>
                    </a:moveTo>
                    <a:lnTo>
                      <a:pt x="36" y="22"/>
                    </a:lnTo>
                    <a:lnTo>
                      <a:pt x="36" y="22"/>
                    </a:lnTo>
                    <a:lnTo>
                      <a:pt x="36" y="29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43"/>
                    </a:lnTo>
                    <a:lnTo>
                      <a:pt x="36" y="43"/>
                    </a:lnTo>
                    <a:lnTo>
                      <a:pt x="36" y="43"/>
                    </a:lnTo>
                    <a:lnTo>
                      <a:pt x="36" y="43"/>
                    </a:lnTo>
                    <a:lnTo>
                      <a:pt x="29" y="43"/>
                    </a:lnTo>
                    <a:lnTo>
                      <a:pt x="29" y="43"/>
                    </a:lnTo>
                    <a:lnTo>
                      <a:pt x="29" y="43"/>
                    </a:lnTo>
                    <a:lnTo>
                      <a:pt x="29" y="36"/>
                    </a:lnTo>
                    <a:lnTo>
                      <a:pt x="29" y="36"/>
                    </a:lnTo>
                    <a:lnTo>
                      <a:pt x="29" y="36"/>
                    </a:lnTo>
                    <a:lnTo>
                      <a:pt x="22" y="36"/>
                    </a:lnTo>
                    <a:lnTo>
                      <a:pt x="22" y="43"/>
                    </a:lnTo>
                    <a:lnTo>
                      <a:pt x="22" y="43"/>
                    </a:lnTo>
                    <a:lnTo>
                      <a:pt x="22" y="43"/>
                    </a:lnTo>
                    <a:lnTo>
                      <a:pt x="22" y="43"/>
                    </a:lnTo>
                    <a:lnTo>
                      <a:pt x="22" y="43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5" y="36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7" y="29"/>
                    </a:lnTo>
                    <a:lnTo>
                      <a:pt x="7" y="29"/>
                    </a:lnTo>
                    <a:lnTo>
                      <a:pt x="7" y="22"/>
                    </a:lnTo>
                    <a:lnTo>
                      <a:pt x="7" y="22"/>
                    </a:lnTo>
                    <a:lnTo>
                      <a:pt x="0" y="22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5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9"/>
                    </a:lnTo>
                    <a:lnTo>
                      <a:pt x="22" y="29"/>
                    </a:lnTo>
                    <a:lnTo>
                      <a:pt x="22" y="29"/>
                    </a:lnTo>
                    <a:lnTo>
                      <a:pt x="29" y="29"/>
                    </a:lnTo>
                    <a:lnTo>
                      <a:pt x="29" y="29"/>
                    </a:lnTo>
                    <a:lnTo>
                      <a:pt x="29" y="22"/>
                    </a:lnTo>
                    <a:lnTo>
                      <a:pt x="29" y="22"/>
                    </a:lnTo>
                    <a:lnTo>
                      <a:pt x="29" y="22"/>
                    </a:lnTo>
                    <a:lnTo>
                      <a:pt x="29" y="22"/>
                    </a:lnTo>
                    <a:lnTo>
                      <a:pt x="29" y="22"/>
                    </a:lnTo>
                    <a:lnTo>
                      <a:pt x="29" y="22"/>
                    </a:lnTo>
                    <a:lnTo>
                      <a:pt x="36" y="22"/>
                    </a:lnTo>
                    <a:lnTo>
                      <a:pt x="36" y="22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4" name="Freeform 32"/>
              <p:cNvSpPr>
                <a:spLocks/>
              </p:cNvSpPr>
              <p:nvPr/>
            </p:nvSpPr>
            <p:spPr bwMode="auto">
              <a:xfrm>
                <a:off x="2569" y="2330"/>
                <a:ext cx="36" cy="43"/>
              </a:xfrm>
              <a:custGeom>
                <a:avLst/>
                <a:gdLst>
                  <a:gd name="T0" fmla="*/ 36 w 36"/>
                  <a:gd name="T1" fmla="*/ 22 h 43"/>
                  <a:gd name="T2" fmla="*/ 36 w 36"/>
                  <a:gd name="T3" fmla="*/ 29 h 43"/>
                  <a:gd name="T4" fmla="*/ 36 w 36"/>
                  <a:gd name="T5" fmla="*/ 36 h 43"/>
                  <a:gd name="T6" fmla="*/ 36 w 36"/>
                  <a:gd name="T7" fmla="*/ 43 h 43"/>
                  <a:gd name="T8" fmla="*/ 36 w 36"/>
                  <a:gd name="T9" fmla="*/ 43 h 43"/>
                  <a:gd name="T10" fmla="*/ 29 w 36"/>
                  <a:gd name="T11" fmla="*/ 43 h 43"/>
                  <a:gd name="T12" fmla="*/ 29 w 36"/>
                  <a:gd name="T13" fmla="*/ 36 h 43"/>
                  <a:gd name="T14" fmla="*/ 29 w 36"/>
                  <a:gd name="T15" fmla="*/ 36 h 43"/>
                  <a:gd name="T16" fmla="*/ 22 w 36"/>
                  <a:gd name="T17" fmla="*/ 43 h 43"/>
                  <a:gd name="T18" fmla="*/ 22 w 36"/>
                  <a:gd name="T19" fmla="*/ 43 h 43"/>
                  <a:gd name="T20" fmla="*/ 22 w 36"/>
                  <a:gd name="T21" fmla="*/ 43 h 43"/>
                  <a:gd name="T22" fmla="*/ 22 w 36"/>
                  <a:gd name="T23" fmla="*/ 36 h 43"/>
                  <a:gd name="T24" fmla="*/ 15 w 36"/>
                  <a:gd name="T25" fmla="*/ 43 h 43"/>
                  <a:gd name="T26" fmla="*/ 15 w 36"/>
                  <a:gd name="T27" fmla="*/ 43 h 43"/>
                  <a:gd name="T28" fmla="*/ 15 w 36"/>
                  <a:gd name="T29" fmla="*/ 43 h 43"/>
                  <a:gd name="T30" fmla="*/ 7 w 36"/>
                  <a:gd name="T31" fmla="*/ 36 h 43"/>
                  <a:gd name="T32" fmla="*/ 7 w 36"/>
                  <a:gd name="T33" fmla="*/ 29 h 43"/>
                  <a:gd name="T34" fmla="*/ 7 w 36"/>
                  <a:gd name="T35" fmla="*/ 22 h 43"/>
                  <a:gd name="T36" fmla="*/ 0 w 36"/>
                  <a:gd name="T37" fmla="*/ 15 h 43"/>
                  <a:gd name="T38" fmla="*/ 0 w 36"/>
                  <a:gd name="T39" fmla="*/ 15 h 43"/>
                  <a:gd name="T40" fmla="*/ 0 w 36"/>
                  <a:gd name="T41" fmla="*/ 15 h 43"/>
                  <a:gd name="T42" fmla="*/ 0 w 36"/>
                  <a:gd name="T43" fmla="*/ 15 h 43"/>
                  <a:gd name="T44" fmla="*/ 0 w 36"/>
                  <a:gd name="T45" fmla="*/ 8 h 43"/>
                  <a:gd name="T46" fmla="*/ 0 w 36"/>
                  <a:gd name="T47" fmla="*/ 8 h 43"/>
                  <a:gd name="T48" fmla="*/ 0 w 36"/>
                  <a:gd name="T49" fmla="*/ 8 h 43"/>
                  <a:gd name="T50" fmla="*/ 7 w 36"/>
                  <a:gd name="T51" fmla="*/ 8 h 43"/>
                  <a:gd name="T52" fmla="*/ 7 w 36"/>
                  <a:gd name="T53" fmla="*/ 8 h 43"/>
                  <a:gd name="T54" fmla="*/ 7 w 36"/>
                  <a:gd name="T55" fmla="*/ 0 h 43"/>
                  <a:gd name="T56" fmla="*/ 7 w 36"/>
                  <a:gd name="T57" fmla="*/ 0 h 43"/>
                  <a:gd name="T58" fmla="*/ 15 w 36"/>
                  <a:gd name="T59" fmla="*/ 0 h 43"/>
                  <a:gd name="T60" fmla="*/ 22 w 36"/>
                  <a:gd name="T61" fmla="*/ 0 h 43"/>
                  <a:gd name="T62" fmla="*/ 22 w 36"/>
                  <a:gd name="T63" fmla="*/ 0 h 43"/>
                  <a:gd name="T64" fmla="*/ 22 w 36"/>
                  <a:gd name="T65" fmla="*/ 0 h 43"/>
                  <a:gd name="T66" fmla="*/ 22 w 36"/>
                  <a:gd name="T67" fmla="*/ 0 h 43"/>
                  <a:gd name="T68" fmla="*/ 22 w 36"/>
                  <a:gd name="T69" fmla="*/ 8 h 43"/>
                  <a:gd name="T70" fmla="*/ 29 w 36"/>
                  <a:gd name="T71" fmla="*/ 8 h 43"/>
                  <a:gd name="T72" fmla="*/ 29 w 36"/>
                  <a:gd name="T73" fmla="*/ 8 h 43"/>
                  <a:gd name="T74" fmla="*/ 29 w 36"/>
                  <a:gd name="T75" fmla="*/ 8 h 43"/>
                  <a:gd name="T76" fmla="*/ 29 w 36"/>
                  <a:gd name="T77" fmla="*/ 8 h 43"/>
                  <a:gd name="T78" fmla="*/ 29 w 36"/>
                  <a:gd name="T79" fmla="*/ 8 h 43"/>
                  <a:gd name="T80" fmla="*/ 22 w 36"/>
                  <a:gd name="T81" fmla="*/ 15 h 43"/>
                  <a:gd name="T82" fmla="*/ 15 w 36"/>
                  <a:gd name="T83" fmla="*/ 15 h 43"/>
                  <a:gd name="T84" fmla="*/ 15 w 36"/>
                  <a:gd name="T85" fmla="*/ 15 h 43"/>
                  <a:gd name="T86" fmla="*/ 22 w 36"/>
                  <a:gd name="T87" fmla="*/ 22 h 43"/>
                  <a:gd name="T88" fmla="*/ 22 w 36"/>
                  <a:gd name="T89" fmla="*/ 29 h 43"/>
                  <a:gd name="T90" fmla="*/ 22 w 36"/>
                  <a:gd name="T91" fmla="*/ 29 h 43"/>
                  <a:gd name="T92" fmla="*/ 29 w 36"/>
                  <a:gd name="T93" fmla="*/ 29 h 43"/>
                  <a:gd name="T94" fmla="*/ 29 w 36"/>
                  <a:gd name="T95" fmla="*/ 22 h 43"/>
                  <a:gd name="T96" fmla="*/ 29 w 36"/>
                  <a:gd name="T97" fmla="*/ 22 h 43"/>
                  <a:gd name="T98" fmla="*/ 29 w 36"/>
                  <a:gd name="T99" fmla="*/ 22 h 43"/>
                  <a:gd name="T100" fmla="*/ 36 w 36"/>
                  <a:gd name="T101" fmla="*/ 2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6" h="43">
                    <a:moveTo>
                      <a:pt x="36" y="22"/>
                    </a:moveTo>
                    <a:lnTo>
                      <a:pt x="36" y="22"/>
                    </a:lnTo>
                    <a:lnTo>
                      <a:pt x="36" y="22"/>
                    </a:lnTo>
                    <a:lnTo>
                      <a:pt x="36" y="29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43"/>
                    </a:lnTo>
                    <a:lnTo>
                      <a:pt x="36" y="43"/>
                    </a:lnTo>
                    <a:lnTo>
                      <a:pt x="36" y="43"/>
                    </a:lnTo>
                    <a:lnTo>
                      <a:pt x="36" y="43"/>
                    </a:lnTo>
                    <a:lnTo>
                      <a:pt x="29" y="43"/>
                    </a:lnTo>
                    <a:lnTo>
                      <a:pt x="29" y="43"/>
                    </a:lnTo>
                    <a:lnTo>
                      <a:pt x="29" y="43"/>
                    </a:lnTo>
                    <a:lnTo>
                      <a:pt x="29" y="36"/>
                    </a:lnTo>
                    <a:lnTo>
                      <a:pt x="29" y="36"/>
                    </a:lnTo>
                    <a:lnTo>
                      <a:pt x="29" y="36"/>
                    </a:lnTo>
                    <a:lnTo>
                      <a:pt x="22" y="36"/>
                    </a:lnTo>
                    <a:lnTo>
                      <a:pt x="22" y="43"/>
                    </a:lnTo>
                    <a:lnTo>
                      <a:pt x="22" y="43"/>
                    </a:lnTo>
                    <a:lnTo>
                      <a:pt x="22" y="43"/>
                    </a:lnTo>
                    <a:lnTo>
                      <a:pt x="22" y="43"/>
                    </a:lnTo>
                    <a:lnTo>
                      <a:pt x="22" y="43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5" y="36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7" y="29"/>
                    </a:lnTo>
                    <a:lnTo>
                      <a:pt x="7" y="29"/>
                    </a:lnTo>
                    <a:lnTo>
                      <a:pt x="7" y="22"/>
                    </a:lnTo>
                    <a:lnTo>
                      <a:pt x="7" y="22"/>
                    </a:lnTo>
                    <a:lnTo>
                      <a:pt x="0" y="22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5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9"/>
                    </a:lnTo>
                    <a:lnTo>
                      <a:pt x="22" y="29"/>
                    </a:lnTo>
                    <a:lnTo>
                      <a:pt x="22" y="29"/>
                    </a:lnTo>
                    <a:lnTo>
                      <a:pt x="29" y="29"/>
                    </a:lnTo>
                    <a:lnTo>
                      <a:pt x="29" y="29"/>
                    </a:lnTo>
                    <a:lnTo>
                      <a:pt x="29" y="22"/>
                    </a:lnTo>
                    <a:lnTo>
                      <a:pt x="29" y="22"/>
                    </a:lnTo>
                    <a:lnTo>
                      <a:pt x="29" y="22"/>
                    </a:lnTo>
                    <a:lnTo>
                      <a:pt x="29" y="22"/>
                    </a:lnTo>
                    <a:lnTo>
                      <a:pt x="29" y="22"/>
                    </a:lnTo>
                    <a:lnTo>
                      <a:pt x="29" y="22"/>
                    </a:lnTo>
                    <a:lnTo>
                      <a:pt x="36" y="22"/>
                    </a:lnTo>
                    <a:lnTo>
                      <a:pt x="36" y="22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5" name="Freeform 33"/>
              <p:cNvSpPr>
                <a:spLocks/>
              </p:cNvSpPr>
              <p:nvPr/>
            </p:nvSpPr>
            <p:spPr bwMode="auto">
              <a:xfrm>
                <a:off x="2733" y="2607"/>
                <a:ext cx="653" cy="1022"/>
              </a:xfrm>
              <a:custGeom>
                <a:avLst/>
                <a:gdLst>
                  <a:gd name="T0" fmla="*/ 92 w 653"/>
                  <a:gd name="T1" fmla="*/ 781 h 1022"/>
                  <a:gd name="T2" fmla="*/ 92 w 653"/>
                  <a:gd name="T3" fmla="*/ 717 h 1022"/>
                  <a:gd name="T4" fmla="*/ 49 w 653"/>
                  <a:gd name="T5" fmla="*/ 625 h 1022"/>
                  <a:gd name="T6" fmla="*/ 35 w 653"/>
                  <a:gd name="T7" fmla="*/ 582 h 1022"/>
                  <a:gd name="T8" fmla="*/ 7 w 653"/>
                  <a:gd name="T9" fmla="*/ 554 h 1022"/>
                  <a:gd name="T10" fmla="*/ 7 w 653"/>
                  <a:gd name="T11" fmla="*/ 533 h 1022"/>
                  <a:gd name="T12" fmla="*/ 21 w 653"/>
                  <a:gd name="T13" fmla="*/ 483 h 1022"/>
                  <a:gd name="T14" fmla="*/ 14 w 653"/>
                  <a:gd name="T15" fmla="*/ 419 h 1022"/>
                  <a:gd name="T16" fmla="*/ 28 w 653"/>
                  <a:gd name="T17" fmla="*/ 405 h 1022"/>
                  <a:gd name="T18" fmla="*/ 56 w 653"/>
                  <a:gd name="T19" fmla="*/ 348 h 1022"/>
                  <a:gd name="T20" fmla="*/ 35 w 653"/>
                  <a:gd name="T21" fmla="*/ 306 h 1022"/>
                  <a:gd name="T22" fmla="*/ 21 w 653"/>
                  <a:gd name="T23" fmla="*/ 291 h 1022"/>
                  <a:gd name="T24" fmla="*/ 49 w 653"/>
                  <a:gd name="T25" fmla="*/ 277 h 1022"/>
                  <a:gd name="T26" fmla="*/ 85 w 653"/>
                  <a:gd name="T27" fmla="*/ 277 h 1022"/>
                  <a:gd name="T28" fmla="*/ 113 w 653"/>
                  <a:gd name="T29" fmla="*/ 242 h 1022"/>
                  <a:gd name="T30" fmla="*/ 163 w 653"/>
                  <a:gd name="T31" fmla="*/ 235 h 1022"/>
                  <a:gd name="T32" fmla="*/ 227 w 653"/>
                  <a:gd name="T33" fmla="*/ 220 h 1022"/>
                  <a:gd name="T34" fmla="*/ 213 w 653"/>
                  <a:gd name="T35" fmla="*/ 156 h 1022"/>
                  <a:gd name="T36" fmla="*/ 262 w 653"/>
                  <a:gd name="T37" fmla="*/ 164 h 1022"/>
                  <a:gd name="T38" fmla="*/ 326 w 653"/>
                  <a:gd name="T39" fmla="*/ 156 h 1022"/>
                  <a:gd name="T40" fmla="*/ 340 w 653"/>
                  <a:gd name="T41" fmla="*/ 107 h 1022"/>
                  <a:gd name="T42" fmla="*/ 383 w 653"/>
                  <a:gd name="T43" fmla="*/ 85 h 1022"/>
                  <a:gd name="T44" fmla="*/ 433 w 653"/>
                  <a:gd name="T45" fmla="*/ 29 h 1022"/>
                  <a:gd name="T46" fmla="*/ 482 w 653"/>
                  <a:gd name="T47" fmla="*/ 22 h 1022"/>
                  <a:gd name="T48" fmla="*/ 497 w 653"/>
                  <a:gd name="T49" fmla="*/ 85 h 1022"/>
                  <a:gd name="T50" fmla="*/ 504 w 653"/>
                  <a:gd name="T51" fmla="*/ 128 h 1022"/>
                  <a:gd name="T52" fmla="*/ 475 w 653"/>
                  <a:gd name="T53" fmla="*/ 192 h 1022"/>
                  <a:gd name="T54" fmla="*/ 482 w 653"/>
                  <a:gd name="T55" fmla="*/ 270 h 1022"/>
                  <a:gd name="T56" fmla="*/ 497 w 653"/>
                  <a:gd name="T57" fmla="*/ 320 h 1022"/>
                  <a:gd name="T58" fmla="*/ 426 w 653"/>
                  <a:gd name="T59" fmla="*/ 398 h 1022"/>
                  <a:gd name="T60" fmla="*/ 418 w 653"/>
                  <a:gd name="T61" fmla="*/ 440 h 1022"/>
                  <a:gd name="T62" fmla="*/ 426 w 653"/>
                  <a:gd name="T63" fmla="*/ 518 h 1022"/>
                  <a:gd name="T64" fmla="*/ 390 w 653"/>
                  <a:gd name="T65" fmla="*/ 526 h 1022"/>
                  <a:gd name="T66" fmla="*/ 397 w 653"/>
                  <a:gd name="T67" fmla="*/ 589 h 1022"/>
                  <a:gd name="T68" fmla="*/ 404 w 653"/>
                  <a:gd name="T69" fmla="*/ 611 h 1022"/>
                  <a:gd name="T70" fmla="*/ 454 w 653"/>
                  <a:gd name="T71" fmla="*/ 618 h 1022"/>
                  <a:gd name="T72" fmla="*/ 482 w 653"/>
                  <a:gd name="T73" fmla="*/ 618 h 1022"/>
                  <a:gd name="T74" fmla="*/ 475 w 653"/>
                  <a:gd name="T75" fmla="*/ 653 h 1022"/>
                  <a:gd name="T76" fmla="*/ 468 w 653"/>
                  <a:gd name="T77" fmla="*/ 668 h 1022"/>
                  <a:gd name="T78" fmla="*/ 418 w 653"/>
                  <a:gd name="T79" fmla="*/ 639 h 1022"/>
                  <a:gd name="T80" fmla="*/ 426 w 653"/>
                  <a:gd name="T81" fmla="*/ 682 h 1022"/>
                  <a:gd name="T82" fmla="*/ 433 w 653"/>
                  <a:gd name="T83" fmla="*/ 703 h 1022"/>
                  <a:gd name="T84" fmla="*/ 447 w 653"/>
                  <a:gd name="T85" fmla="*/ 682 h 1022"/>
                  <a:gd name="T86" fmla="*/ 489 w 653"/>
                  <a:gd name="T87" fmla="*/ 696 h 1022"/>
                  <a:gd name="T88" fmla="*/ 525 w 653"/>
                  <a:gd name="T89" fmla="*/ 696 h 1022"/>
                  <a:gd name="T90" fmla="*/ 553 w 653"/>
                  <a:gd name="T91" fmla="*/ 675 h 1022"/>
                  <a:gd name="T92" fmla="*/ 582 w 653"/>
                  <a:gd name="T93" fmla="*/ 689 h 1022"/>
                  <a:gd name="T94" fmla="*/ 603 w 653"/>
                  <a:gd name="T95" fmla="*/ 724 h 1022"/>
                  <a:gd name="T96" fmla="*/ 624 w 653"/>
                  <a:gd name="T97" fmla="*/ 753 h 1022"/>
                  <a:gd name="T98" fmla="*/ 653 w 653"/>
                  <a:gd name="T99" fmla="*/ 774 h 1022"/>
                  <a:gd name="T100" fmla="*/ 638 w 653"/>
                  <a:gd name="T101" fmla="*/ 831 h 1022"/>
                  <a:gd name="T102" fmla="*/ 610 w 653"/>
                  <a:gd name="T103" fmla="*/ 838 h 1022"/>
                  <a:gd name="T104" fmla="*/ 539 w 653"/>
                  <a:gd name="T105" fmla="*/ 852 h 1022"/>
                  <a:gd name="T106" fmla="*/ 518 w 653"/>
                  <a:gd name="T107" fmla="*/ 895 h 1022"/>
                  <a:gd name="T108" fmla="*/ 539 w 653"/>
                  <a:gd name="T109" fmla="*/ 951 h 1022"/>
                  <a:gd name="T110" fmla="*/ 461 w 653"/>
                  <a:gd name="T111" fmla="*/ 994 h 1022"/>
                  <a:gd name="T112" fmla="*/ 362 w 653"/>
                  <a:gd name="T113" fmla="*/ 1015 h 1022"/>
                  <a:gd name="T114" fmla="*/ 312 w 653"/>
                  <a:gd name="T115" fmla="*/ 994 h 1022"/>
                  <a:gd name="T116" fmla="*/ 248 w 653"/>
                  <a:gd name="T117" fmla="*/ 966 h 1022"/>
                  <a:gd name="T118" fmla="*/ 191 w 653"/>
                  <a:gd name="T119" fmla="*/ 923 h 1022"/>
                  <a:gd name="T120" fmla="*/ 170 w 653"/>
                  <a:gd name="T121" fmla="*/ 895 h 1022"/>
                  <a:gd name="T122" fmla="*/ 149 w 653"/>
                  <a:gd name="T123" fmla="*/ 866 h 1022"/>
                  <a:gd name="T124" fmla="*/ 113 w 653"/>
                  <a:gd name="T125" fmla="*/ 852 h 10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53" h="1022">
                    <a:moveTo>
                      <a:pt x="113" y="852"/>
                    </a:moveTo>
                    <a:lnTo>
                      <a:pt x="113" y="852"/>
                    </a:lnTo>
                    <a:lnTo>
                      <a:pt x="113" y="852"/>
                    </a:lnTo>
                    <a:lnTo>
                      <a:pt x="113" y="852"/>
                    </a:lnTo>
                    <a:lnTo>
                      <a:pt x="113" y="852"/>
                    </a:lnTo>
                    <a:lnTo>
                      <a:pt x="106" y="845"/>
                    </a:lnTo>
                    <a:lnTo>
                      <a:pt x="106" y="845"/>
                    </a:lnTo>
                    <a:lnTo>
                      <a:pt x="106" y="845"/>
                    </a:lnTo>
                    <a:lnTo>
                      <a:pt x="106" y="845"/>
                    </a:lnTo>
                    <a:lnTo>
                      <a:pt x="106" y="838"/>
                    </a:lnTo>
                    <a:lnTo>
                      <a:pt x="106" y="845"/>
                    </a:lnTo>
                    <a:lnTo>
                      <a:pt x="113" y="845"/>
                    </a:lnTo>
                    <a:lnTo>
                      <a:pt x="113" y="845"/>
                    </a:lnTo>
                    <a:lnTo>
                      <a:pt x="113" y="838"/>
                    </a:lnTo>
                    <a:lnTo>
                      <a:pt x="113" y="838"/>
                    </a:lnTo>
                    <a:lnTo>
                      <a:pt x="120" y="838"/>
                    </a:lnTo>
                    <a:lnTo>
                      <a:pt x="120" y="838"/>
                    </a:lnTo>
                    <a:lnTo>
                      <a:pt x="120" y="838"/>
                    </a:lnTo>
                    <a:lnTo>
                      <a:pt x="120" y="838"/>
                    </a:lnTo>
                    <a:lnTo>
                      <a:pt x="113" y="838"/>
                    </a:lnTo>
                    <a:lnTo>
                      <a:pt x="106" y="838"/>
                    </a:lnTo>
                    <a:lnTo>
                      <a:pt x="106" y="838"/>
                    </a:lnTo>
                    <a:lnTo>
                      <a:pt x="99" y="810"/>
                    </a:lnTo>
                    <a:lnTo>
                      <a:pt x="99" y="802"/>
                    </a:lnTo>
                    <a:lnTo>
                      <a:pt x="99" y="802"/>
                    </a:lnTo>
                    <a:lnTo>
                      <a:pt x="99" y="802"/>
                    </a:lnTo>
                    <a:lnTo>
                      <a:pt x="99" y="802"/>
                    </a:lnTo>
                    <a:lnTo>
                      <a:pt x="99" y="795"/>
                    </a:lnTo>
                    <a:lnTo>
                      <a:pt x="99" y="795"/>
                    </a:lnTo>
                    <a:lnTo>
                      <a:pt x="92" y="795"/>
                    </a:lnTo>
                    <a:lnTo>
                      <a:pt x="92" y="788"/>
                    </a:lnTo>
                    <a:lnTo>
                      <a:pt x="92" y="781"/>
                    </a:lnTo>
                    <a:lnTo>
                      <a:pt x="92" y="781"/>
                    </a:lnTo>
                    <a:lnTo>
                      <a:pt x="92" y="767"/>
                    </a:lnTo>
                    <a:lnTo>
                      <a:pt x="92" y="767"/>
                    </a:lnTo>
                    <a:lnTo>
                      <a:pt x="85" y="760"/>
                    </a:lnTo>
                    <a:lnTo>
                      <a:pt x="85" y="760"/>
                    </a:lnTo>
                    <a:lnTo>
                      <a:pt x="85" y="760"/>
                    </a:lnTo>
                    <a:lnTo>
                      <a:pt x="85" y="753"/>
                    </a:lnTo>
                    <a:lnTo>
                      <a:pt x="85" y="753"/>
                    </a:lnTo>
                    <a:lnTo>
                      <a:pt x="85" y="746"/>
                    </a:lnTo>
                    <a:lnTo>
                      <a:pt x="85" y="753"/>
                    </a:lnTo>
                    <a:lnTo>
                      <a:pt x="85" y="753"/>
                    </a:lnTo>
                    <a:lnTo>
                      <a:pt x="92" y="753"/>
                    </a:lnTo>
                    <a:lnTo>
                      <a:pt x="85" y="753"/>
                    </a:lnTo>
                    <a:lnTo>
                      <a:pt x="85" y="753"/>
                    </a:lnTo>
                    <a:lnTo>
                      <a:pt x="85" y="746"/>
                    </a:lnTo>
                    <a:lnTo>
                      <a:pt x="85" y="739"/>
                    </a:lnTo>
                    <a:lnTo>
                      <a:pt x="85" y="731"/>
                    </a:lnTo>
                    <a:lnTo>
                      <a:pt x="85" y="724"/>
                    </a:lnTo>
                    <a:lnTo>
                      <a:pt x="85" y="724"/>
                    </a:lnTo>
                    <a:lnTo>
                      <a:pt x="85" y="724"/>
                    </a:lnTo>
                    <a:lnTo>
                      <a:pt x="85" y="724"/>
                    </a:lnTo>
                    <a:lnTo>
                      <a:pt x="85" y="724"/>
                    </a:lnTo>
                    <a:lnTo>
                      <a:pt x="85" y="724"/>
                    </a:lnTo>
                    <a:lnTo>
                      <a:pt x="85" y="724"/>
                    </a:lnTo>
                    <a:lnTo>
                      <a:pt x="85" y="724"/>
                    </a:lnTo>
                    <a:lnTo>
                      <a:pt x="85" y="724"/>
                    </a:lnTo>
                    <a:lnTo>
                      <a:pt x="85" y="717"/>
                    </a:lnTo>
                    <a:lnTo>
                      <a:pt x="85" y="717"/>
                    </a:lnTo>
                    <a:lnTo>
                      <a:pt x="85" y="724"/>
                    </a:lnTo>
                    <a:lnTo>
                      <a:pt x="92" y="724"/>
                    </a:lnTo>
                    <a:lnTo>
                      <a:pt x="92" y="717"/>
                    </a:lnTo>
                    <a:lnTo>
                      <a:pt x="92" y="717"/>
                    </a:lnTo>
                    <a:lnTo>
                      <a:pt x="92" y="717"/>
                    </a:lnTo>
                    <a:lnTo>
                      <a:pt x="92" y="717"/>
                    </a:lnTo>
                    <a:lnTo>
                      <a:pt x="85" y="717"/>
                    </a:lnTo>
                    <a:lnTo>
                      <a:pt x="85" y="717"/>
                    </a:lnTo>
                    <a:lnTo>
                      <a:pt x="85" y="710"/>
                    </a:lnTo>
                    <a:lnTo>
                      <a:pt x="85" y="710"/>
                    </a:lnTo>
                    <a:lnTo>
                      <a:pt x="85" y="710"/>
                    </a:lnTo>
                    <a:lnTo>
                      <a:pt x="85" y="710"/>
                    </a:lnTo>
                    <a:lnTo>
                      <a:pt x="85" y="717"/>
                    </a:lnTo>
                    <a:lnTo>
                      <a:pt x="78" y="710"/>
                    </a:lnTo>
                    <a:lnTo>
                      <a:pt x="78" y="703"/>
                    </a:lnTo>
                    <a:lnTo>
                      <a:pt x="78" y="689"/>
                    </a:lnTo>
                    <a:lnTo>
                      <a:pt x="71" y="689"/>
                    </a:lnTo>
                    <a:lnTo>
                      <a:pt x="71" y="682"/>
                    </a:lnTo>
                    <a:lnTo>
                      <a:pt x="63" y="675"/>
                    </a:lnTo>
                    <a:lnTo>
                      <a:pt x="63" y="675"/>
                    </a:lnTo>
                    <a:lnTo>
                      <a:pt x="56" y="668"/>
                    </a:lnTo>
                    <a:lnTo>
                      <a:pt x="56" y="660"/>
                    </a:lnTo>
                    <a:lnTo>
                      <a:pt x="56" y="660"/>
                    </a:lnTo>
                    <a:lnTo>
                      <a:pt x="56" y="660"/>
                    </a:lnTo>
                    <a:lnTo>
                      <a:pt x="56" y="653"/>
                    </a:lnTo>
                    <a:lnTo>
                      <a:pt x="56" y="653"/>
                    </a:lnTo>
                    <a:lnTo>
                      <a:pt x="56" y="653"/>
                    </a:lnTo>
                    <a:lnTo>
                      <a:pt x="56" y="653"/>
                    </a:lnTo>
                    <a:lnTo>
                      <a:pt x="56" y="639"/>
                    </a:lnTo>
                    <a:lnTo>
                      <a:pt x="56" y="639"/>
                    </a:lnTo>
                    <a:lnTo>
                      <a:pt x="49" y="632"/>
                    </a:lnTo>
                    <a:lnTo>
                      <a:pt x="49" y="632"/>
                    </a:lnTo>
                    <a:lnTo>
                      <a:pt x="49" y="625"/>
                    </a:lnTo>
                    <a:lnTo>
                      <a:pt x="49" y="632"/>
                    </a:lnTo>
                    <a:lnTo>
                      <a:pt x="56" y="632"/>
                    </a:lnTo>
                    <a:lnTo>
                      <a:pt x="56" y="632"/>
                    </a:lnTo>
                    <a:lnTo>
                      <a:pt x="56" y="632"/>
                    </a:lnTo>
                    <a:lnTo>
                      <a:pt x="56" y="625"/>
                    </a:lnTo>
                    <a:lnTo>
                      <a:pt x="49" y="625"/>
                    </a:lnTo>
                    <a:lnTo>
                      <a:pt x="49" y="625"/>
                    </a:lnTo>
                    <a:lnTo>
                      <a:pt x="49" y="625"/>
                    </a:lnTo>
                    <a:lnTo>
                      <a:pt x="42" y="618"/>
                    </a:lnTo>
                    <a:lnTo>
                      <a:pt x="42" y="611"/>
                    </a:lnTo>
                    <a:lnTo>
                      <a:pt x="42" y="611"/>
                    </a:lnTo>
                    <a:lnTo>
                      <a:pt x="42" y="611"/>
                    </a:lnTo>
                    <a:lnTo>
                      <a:pt x="42" y="604"/>
                    </a:lnTo>
                    <a:lnTo>
                      <a:pt x="42" y="604"/>
                    </a:lnTo>
                    <a:lnTo>
                      <a:pt x="42" y="604"/>
                    </a:lnTo>
                    <a:lnTo>
                      <a:pt x="42" y="604"/>
                    </a:lnTo>
                    <a:lnTo>
                      <a:pt x="42" y="597"/>
                    </a:lnTo>
                    <a:lnTo>
                      <a:pt x="35" y="589"/>
                    </a:lnTo>
                    <a:lnTo>
                      <a:pt x="35" y="589"/>
                    </a:lnTo>
                    <a:lnTo>
                      <a:pt x="42" y="589"/>
                    </a:lnTo>
                    <a:lnTo>
                      <a:pt x="42" y="597"/>
                    </a:lnTo>
                    <a:lnTo>
                      <a:pt x="42" y="597"/>
                    </a:lnTo>
                    <a:lnTo>
                      <a:pt x="42" y="597"/>
                    </a:lnTo>
                    <a:lnTo>
                      <a:pt x="42" y="597"/>
                    </a:lnTo>
                    <a:lnTo>
                      <a:pt x="42" y="597"/>
                    </a:lnTo>
                    <a:lnTo>
                      <a:pt x="49" y="597"/>
                    </a:lnTo>
                    <a:lnTo>
                      <a:pt x="42" y="589"/>
                    </a:lnTo>
                    <a:lnTo>
                      <a:pt x="42" y="589"/>
                    </a:lnTo>
                    <a:lnTo>
                      <a:pt x="42" y="589"/>
                    </a:lnTo>
                    <a:lnTo>
                      <a:pt x="42" y="582"/>
                    </a:lnTo>
                    <a:lnTo>
                      <a:pt x="42" y="582"/>
                    </a:lnTo>
                    <a:lnTo>
                      <a:pt x="42" y="582"/>
                    </a:lnTo>
                    <a:lnTo>
                      <a:pt x="35" y="582"/>
                    </a:lnTo>
                    <a:lnTo>
                      <a:pt x="35" y="582"/>
                    </a:lnTo>
                    <a:lnTo>
                      <a:pt x="35" y="582"/>
                    </a:lnTo>
                    <a:lnTo>
                      <a:pt x="35" y="582"/>
                    </a:lnTo>
                    <a:lnTo>
                      <a:pt x="35" y="582"/>
                    </a:lnTo>
                    <a:lnTo>
                      <a:pt x="35" y="582"/>
                    </a:lnTo>
                    <a:lnTo>
                      <a:pt x="35" y="582"/>
                    </a:lnTo>
                    <a:lnTo>
                      <a:pt x="35" y="589"/>
                    </a:lnTo>
                    <a:lnTo>
                      <a:pt x="35" y="589"/>
                    </a:lnTo>
                    <a:lnTo>
                      <a:pt x="35" y="589"/>
                    </a:lnTo>
                    <a:lnTo>
                      <a:pt x="28" y="589"/>
                    </a:lnTo>
                    <a:lnTo>
                      <a:pt x="28" y="589"/>
                    </a:lnTo>
                    <a:lnTo>
                      <a:pt x="28" y="589"/>
                    </a:lnTo>
                    <a:lnTo>
                      <a:pt x="28" y="582"/>
                    </a:lnTo>
                    <a:lnTo>
                      <a:pt x="28" y="575"/>
                    </a:lnTo>
                    <a:lnTo>
                      <a:pt x="28" y="575"/>
                    </a:lnTo>
                    <a:lnTo>
                      <a:pt x="35" y="575"/>
                    </a:lnTo>
                    <a:lnTo>
                      <a:pt x="35" y="575"/>
                    </a:lnTo>
                    <a:lnTo>
                      <a:pt x="35" y="575"/>
                    </a:lnTo>
                    <a:lnTo>
                      <a:pt x="28" y="575"/>
                    </a:lnTo>
                    <a:lnTo>
                      <a:pt x="28" y="575"/>
                    </a:lnTo>
                    <a:lnTo>
                      <a:pt x="28" y="575"/>
                    </a:lnTo>
                    <a:lnTo>
                      <a:pt x="28" y="575"/>
                    </a:lnTo>
                    <a:lnTo>
                      <a:pt x="28" y="575"/>
                    </a:lnTo>
                    <a:lnTo>
                      <a:pt x="28" y="575"/>
                    </a:lnTo>
                    <a:lnTo>
                      <a:pt x="28" y="568"/>
                    </a:lnTo>
                    <a:lnTo>
                      <a:pt x="28" y="568"/>
                    </a:lnTo>
                    <a:lnTo>
                      <a:pt x="21" y="561"/>
                    </a:lnTo>
                    <a:lnTo>
                      <a:pt x="21" y="561"/>
                    </a:lnTo>
                    <a:lnTo>
                      <a:pt x="21" y="554"/>
                    </a:lnTo>
                    <a:lnTo>
                      <a:pt x="21" y="554"/>
                    </a:lnTo>
                    <a:lnTo>
                      <a:pt x="14" y="554"/>
                    </a:lnTo>
                    <a:lnTo>
                      <a:pt x="14" y="561"/>
                    </a:lnTo>
                    <a:lnTo>
                      <a:pt x="14" y="554"/>
                    </a:lnTo>
                    <a:lnTo>
                      <a:pt x="14" y="554"/>
                    </a:lnTo>
                    <a:lnTo>
                      <a:pt x="14" y="554"/>
                    </a:lnTo>
                    <a:lnTo>
                      <a:pt x="7" y="554"/>
                    </a:lnTo>
                    <a:lnTo>
                      <a:pt x="7" y="554"/>
                    </a:lnTo>
                    <a:lnTo>
                      <a:pt x="7" y="554"/>
                    </a:lnTo>
                    <a:lnTo>
                      <a:pt x="7" y="554"/>
                    </a:lnTo>
                    <a:lnTo>
                      <a:pt x="0" y="547"/>
                    </a:lnTo>
                    <a:lnTo>
                      <a:pt x="0" y="547"/>
                    </a:lnTo>
                    <a:lnTo>
                      <a:pt x="0" y="547"/>
                    </a:lnTo>
                    <a:lnTo>
                      <a:pt x="0" y="547"/>
                    </a:lnTo>
                    <a:lnTo>
                      <a:pt x="0" y="547"/>
                    </a:lnTo>
                    <a:lnTo>
                      <a:pt x="0" y="547"/>
                    </a:lnTo>
                    <a:lnTo>
                      <a:pt x="0" y="540"/>
                    </a:lnTo>
                    <a:lnTo>
                      <a:pt x="7" y="540"/>
                    </a:lnTo>
                    <a:lnTo>
                      <a:pt x="7" y="540"/>
                    </a:lnTo>
                    <a:lnTo>
                      <a:pt x="7" y="540"/>
                    </a:lnTo>
                    <a:lnTo>
                      <a:pt x="7" y="540"/>
                    </a:lnTo>
                    <a:lnTo>
                      <a:pt x="14" y="540"/>
                    </a:lnTo>
                    <a:lnTo>
                      <a:pt x="14" y="540"/>
                    </a:lnTo>
                    <a:lnTo>
                      <a:pt x="14" y="540"/>
                    </a:lnTo>
                    <a:lnTo>
                      <a:pt x="14" y="540"/>
                    </a:lnTo>
                    <a:lnTo>
                      <a:pt x="21" y="540"/>
                    </a:lnTo>
                    <a:lnTo>
                      <a:pt x="21" y="540"/>
                    </a:lnTo>
                    <a:lnTo>
                      <a:pt x="21" y="540"/>
                    </a:lnTo>
                    <a:lnTo>
                      <a:pt x="21" y="533"/>
                    </a:lnTo>
                    <a:lnTo>
                      <a:pt x="21" y="533"/>
                    </a:lnTo>
                    <a:lnTo>
                      <a:pt x="21" y="533"/>
                    </a:lnTo>
                    <a:lnTo>
                      <a:pt x="14" y="533"/>
                    </a:lnTo>
                    <a:lnTo>
                      <a:pt x="14" y="533"/>
                    </a:lnTo>
                    <a:lnTo>
                      <a:pt x="14" y="533"/>
                    </a:lnTo>
                    <a:lnTo>
                      <a:pt x="7" y="533"/>
                    </a:lnTo>
                    <a:lnTo>
                      <a:pt x="7" y="540"/>
                    </a:lnTo>
                    <a:lnTo>
                      <a:pt x="7" y="540"/>
                    </a:lnTo>
                    <a:lnTo>
                      <a:pt x="7" y="540"/>
                    </a:lnTo>
                    <a:lnTo>
                      <a:pt x="7" y="540"/>
                    </a:lnTo>
                    <a:lnTo>
                      <a:pt x="0" y="540"/>
                    </a:lnTo>
                    <a:lnTo>
                      <a:pt x="0" y="540"/>
                    </a:lnTo>
                    <a:lnTo>
                      <a:pt x="0" y="533"/>
                    </a:lnTo>
                    <a:lnTo>
                      <a:pt x="7" y="533"/>
                    </a:lnTo>
                    <a:lnTo>
                      <a:pt x="7" y="526"/>
                    </a:lnTo>
                    <a:lnTo>
                      <a:pt x="7" y="526"/>
                    </a:lnTo>
                    <a:lnTo>
                      <a:pt x="7" y="526"/>
                    </a:lnTo>
                    <a:lnTo>
                      <a:pt x="14" y="526"/>
                    </a:lnTo>
                    <a:lnTo>
                      <a:pt x="14" y="526"/>
                    </a:lnTo>
                    <a:lnTo>
                      <a:pt x="14" y="526"/>
                    </a:lnTo>
                    <a:lnTo>
                      <a:pt x="21" y="526"/>
                    </a:lnTo>
                    <a:lnTo>
                      <a:pt x="21" y="526"/>
                    </a:lnTo>
                    <a:lnTo>
                      <a:pt x="21" y="526"/>
                    </a:lnTo>
                    <a:lnTo>
                      <a:pt x="21" y="518"/>
                    </a:lnTo>
                    <a:lnTo>
                      <a:pt x="21" y="518"/>
                    </a:lnTo>
                    <a:lnTo>
                      <a:pt x="21" y="518"/>
                    </a:lnTo>
                    <a:lnTo>
                      <a:pt x="21" y="511"/>
                    </a:lnTo>
                    <a:lnTo>
                      <a:pt x="21" y="511"/>
                    </a:lnTo>
                    <a:lnTo>
                      <a:pt x="28" y="511"/>
                    </a:lnTo>
                    <a:lnTo>
                      <a:pt x="28" y="511"/>
                    </a:lnTo>
                    <a:lnTo>
                      <a:pt x="28" y="511"/>
                    </a:lnTo>
                    <a:lnTo>
                      <a:pt x="21" y="504"/>
                    </a:lnTo>
                    <a:lnTo>
                      <a:pt x="21" y="504"/>
                    </a:lnTo>
                    <a:lnTo>
                      <a:pt x="21" y="504"/>
                    </a:lnTo>
                    <a:lnTo>
                      <a:pt x="21" y="497"/>
                    </a:lnTo>
                    <a:lnTo>
                      <a:pt x="21" y="497"/>
                    </a:lnTo>
                    <a:lnTo>
                      <a:pt x="28" y="490"/>
                    </a:lnTo>
                    <a:lnTo>
                      <a:pt x="28" y="490"/>
                    </a:lnTo>
                    <a:lnTo>
                      <a:pt x="28" y="490"/>
                    </a:lnTo>
                    <a:lnTo>
                      <a:pt x="28" y="490"/>
                    </a:lnTo>
                    <a:lnTo>
                      <a:pt x="28" y="490"/>
                    </a:lnTo>
                    <a:lnTo>
                      <a:pt x="28" y="483"/>
                    </a:lnTo>
                    <a:lnTo>
                      <a:pt x="28" y="483"/>
                    </a:lnTo>
                    <a:lnTo>
                      <a:pt x="21" y="483"/>
                    </a:lnTo>
                    <a:lnTo>
                      <a:pt x="21" y="483"/>
                    </a:lnTo>
                    <a:lnTo>
                      <a:pt x="21" y="483"/>
                    </a:lnTo>
                    <a:lnTo>
                      <a:pt x="21" y="483"/>
                    </a:lnTo>
                    <a:lnTo>
                      <a:pt x="21" y="476"/>
                    </a:lnTo>
                    <a:lnTo>
                      <a:pt x="21" y="476"/>
                    </a:lnTo>
                    <a:lnTo>
                      <a:pt x="21" y="476"/>
                    </a:lnTo>
                    <a:lnTo>
                      <a:pt x="28" y="476"/>
                    </a:lnTo>
                    <a:lnTo>
                      <a:pt x="28" y="476"/>
                    </a:lnTo>
                    <a:lnTo>
                      <a:pt x="28" y="476"/>
                    </a:lnTo>
                    <a:lnTo>
                      <a:pt x="28" y="476"/>
                    </a:lnTo>
                    <a:lnTo>
                      <a:pt x="28" y="476"/>
                    </a:lnTo>
                    <a:lnTo>
                      <a:pt x="28" y="469"/>
                    </a:lnTo>
                    <a:lnTo>
                      <a:pt x="28" y="469"/>
                    </a:lnTo>
                    <a:lnTo>
                      <a:pt x="28" y="469"/>
                    </a:lnTo>
                    <a:lnTo>
                      <a:pt x="28" y="462"/>
                    </a:lnTo>
                    <a:lnTo>
                      <a:pt x="21" y="462"/>
                    </a:lnTo>
                    <a:lnTo>
                      <a:pt x="21" y="462"/>
                    </a:lnTo>
                    <a:lnTo>
                      <a:pt x="21" y="455"/>
                    </a:lnTo>
                    <a:lnTo>
                      <a:pt x="21" y="455"/>
                    </a:lnTo>
                    <a:lnTo>
                      <a:pt x="21" y="455"/>
                    </a:lnTo>
                    <a:lnTo>
                      <a:pt x="21" y="455"/>
                    </a:lnTo>
                    <a:lnTo>
                      <a:pt x="21" y="455"/>
                    </a:lnTo>
                    <a:lnTo>
                      <a:pt x="21" y="455"/>
                    </a:lnTo>
                    <a:lnTo>
                      <a:pt x="21" y="447"/>
                    </a:lnTo>
                    <a:lnTo>
                      <a:pt x="21" y="447"/>
                    </a:lnTo>
                    <a:lnTo>
                      <a:pt x="21" y="447"/>
                    </a:lnTo>
                    <a:lnTo>
                      <a:pt x="21" y="440"/>
                    </a:lnTo>
                    <a:lnTo>
                      <a:pt x="21" y="440"/>
                    </a:lnTo>
                    <a:lnTo>
                      <a:pt x="21" y="440"/>
                    </a:lnTo>
                    <a:lnTo>
                      <a:pt x="21" y="440"/>
                    </a:lnTo>
                    <a:lnTo>
                      <a:pt x="21" y="426"/>
                    </a:lnTo>
                    <a:lnTo>
                      <a:pt x="21" y="426"/>
                    </a:lnTo>
                    <a:lnTo>
                      <a:pt x="21" y="426"/>
                    </a:lnTo>
                    <a:lnTo>
                      <a:pt x="21" y="419"/>
                    </a:lnTo>
                    <a:lnTo>
                      <a:pt x="14" y="419"/>
                    </a:lnTo>
                    <a:lnTo>
                      <a:pt x="14" y="419"/>
                    </a:lnTo>
                    <a:lnTo>
                      <a:pt x="14" y="419"/>
                    </a:lnTo>
                    <a:lnTo>
                      <a:pt x="14" y="419"/>
                    </a:lnTo>
                    <a:lnTo>
                      <a:pt x="7" y="419"/>
                    </a:lnTo>
                    <a:lnTo>
                      <a:pt x="7" y="419"/>
                    </a:lnTo>
                    <a:lnTo>
                      <a:pt x="7" y="419"/>
                    </a:lnTo>
                    <a:lnTo>
                      <a:pt x="7" y="419"/>
                    </a:lnTo>
                    <a:lnTo>
                      <a:pt x="0" y="419"/>
                    </a:lnTo>
                    <a:lnTo>
                      <a:pt x="0" y="419"/>
                    </a:lnTo>
                    <a:lnTo>
                      <a:pt x="0" y="419"/>
                    </a:lnTo>
                    <a:lnTo>
                      <a:pt x="0" y="419"/>
                    </a:lnTo>
                    <a:lnTo>
                      <a:pt x="0" y="419"/>
                    </a:lnTo>
                    <a:lnTo>
                      <a:pt x="0" y="419"/>
                    </a:lnTo>
                    <a:lnTo>
                      <a:pt x="0" y="412"/>
                    </a:lnTo>
                    <a:lnTo>
                      <a:pt x="0" y="412"/>
                    </a:lnTo>
                    <a:lnTo>
                      <a:pt x="7" y="412"/>
                    </a:lnTo>
                    <a:lnTo>
                      <a:pt x="7" y="412"/>
                    </a:lnTo>
                    <a:lnTo>
                      <a:pt x="7" y="405"/>
                    </a:lnTo>
                    <a:lnTo>
                      <a:pt x="14" y="405"/>
                    </a:lnTo>
                    <a:lnTo>
                      <a:pt x="14" y="405"/>
                    </a:lnTo>
                    <a:lnTo>
                      <a:pt x="14" y="398"/>
                    </a:lnTo>
                    <a:lnTo>
                      <a:pt x="14" y="405"/>
                    </a:lnTo>
                    <a:lnTo>
                      <a:pt x="21" y="405"/>
                    </a:lnTo>
                    <a:lnTo>
                      <a:pt x="21" y="405"/>
                    </a:lnTo>
                    <a:lnTo>
                      <a:pt x="21" y="405"/>
                    </a:lnTo>
                    <a:lnTo>
                      <a:pt x="21" y="405"/>
                    </a:lnTo>
                    <a:lnTo>
                      <a:pt x="21" y="405"/>
                    </a:lnTo>
                    <a:lnTo>
                      <a:pt x="21" y="405"/>
                    </a:lnTo>
                    <a:lnTo>
                      <a:pt x="21" y="405"/>
                    </a:lnTo>
                    <a:lnTo>
                      <a:pt x="21" y="405"/>
                    </a:lnTo>
                    <a:lnTo>
                      <a:pt x="21" y="405"/>
                    </a:lnTo>
                    <a:lnTo>
                      <a:pt x="21" y="405"/>
                    </a:lnTo>
                    <a:lnTo>
                      <a:pt x="28" y="405"/>
                    </a:lnTo>
                    <a:lnTo>
                      <a:pt x="28" y="405"/>
                    </a:lnTo>
                    <a:lnTo>
                      <a:pt x="28" y="405"/>
                    </a:lnTo>
                    <a:lnTo>
                      <a:pt x="35" y="405"/>
                    </a:lnTo>
                    <a:lnTo>
                      <a:pt x="35" y="405"/>
                    </a:lnTo>
                    <a:lnTo>
                      <a:pt x="35" y="398"/>
                    </a:lnTo>
                    <a:lnTo>
                      <a:pt x="42" y="391"/>
                    </a:lnTo>
                    <a:lnTo>
                      <a:pt x="42" y="391"/>
                    </a:lnTo>
                    <a:lnTo>
                      <a:pt x="42" y="391"/>
                    </a:lnTo>
                    <a:lnTo>
                      <a:pt x="42" y="391"/>
                    </a:lnTo>
                    <a:lnTo>
                      <a:pt x="35" y="391"/>
                    </a:lnTo>
                    <a:lnTo>
                      <a:pt x="35" y="384"/>
                    </a:lnTo>
                    <a:lnTo>
                      <a:pt x="35" y="384"/>
                    </a:lnTo>
                    <a:lnTo>
                      <a:pt x="42" y="384"/>
                    </a:lnTo>
                    <a:lnTo>
                      <a:pt x="42" y="376"/>
                    </a:lnTo>
                    <a:lnTo>
                      <a:pt x="49" y="369"/>
                    </a:lnTo>
                    <a:lnTo>
                      <a:pt x="49" y="369"/>
                    </a:lnTo>
                    <a:lnTo>
                      <a:pt x="49" y="369"/>
                    </a:lnTo>
                    <a:lnTo>
                      <a:pt x="49" y="362"/>
                    </a:lnTo>
                    <a:lnTo>
                      <a:pt x="49" y="362"/>
                    </a:lnTo>
                    <a:lnTo>
                      <a:pt x="49" y="362"/>
                    </a:lnTo>
                    <a:lnTo>
                      <a:pt x="49" y="362"/>
                    </a:lnTo>
                    <a:lnTo>
                      <a:pt x="49" y="362"/>
                    </a:lnTo>
                    <a:lnTo>
                      <a:pt x="49" y="362"/>
                    </a:lnTo>
                    <a:lnTo>
                      <a:pt x="42" y="355"/>
                    </a:lnTo>
                    <a:lnTo>
                      <a:pt x="42" y="355"/>
                    </a:lnTo>
                    <a:lnTo>
                      <a:pt x="42" y="355"/>
                    </a:lnTo>
                    <a:lnTo>
                      <a:pt x="42" y="355"/>
                    </a:lnTo>
                    <a:lnTo>
                      <a:pt x="42" y="355"/>
                    </a:lnTo>
                    <a:lnTo>
                      <a:pt x="42" y="355"/>
                    </a:lnTo>
                    <a:lnTo>
                      <a:pt x="42" y="355"/>
                    </a:lnTo>
                    <a:lnTo>
                      <a:pt x="49" y="355"/>
                    </a:lnTo>
                    <a:lnTo>
                      <a:pt x="49" y="355"/>
                    </a:lnTo>
                    <a:lnTo>
                      <a:pt x="56" y="355"/>
                    </a:lnTo>
                    <a:lnTo>
                      <a:pt x="56" y="348"/>
                    </a:lnTo>
                    <a:lnTo>
                      <a:pt x="56" y="348"/>
                    </a:lnTo>
                    <a:lnTo>
                      <a:pt x="56" y="341"/>
                    </a:lnTo>
                    <a:lnTo>
                      <a:pt x="56" y="334"/>
                    </a:lnTo>
                    <a:lnTo>
                      <a:pt x="56" y="334"/>
                    </a:lnTo>
                    <a:lnTo>
                      <a:pt x="56" y="334"/>
                    </a:lnTo>
                    <a:lnTo>
                      <a:pt x="56" y="334"/>
                    </a:lnTo>
                    <a:lnTo>
                      <a:pt x="56" y="334"/>
                    </a:lnTo>
                    <a:lnTo>
                      <a:pt x="56" y="327"/>
                    </a:lnTo>
                    <a:lnTo>
                      <a:pt x="49" y="327"/>
                    </a:lnTo>
                    <a:lnTo>
                      <a:pt x="42" y="320"/>
                    </a:lnTo>
                    <a:lnTo>
                      <a:pt x="42" y="320"/>
                    </a:lnTo>
                    <a:lnTo>
                      <a:pt x="35" y="320"/>
                    </a:lnTo>
                    <a:lnTo>
                      <a:pt x="35" y="327"/>
                    </a:lnTo>
                    <a:lnTo>
                      <a:pt x="35" y="327"/>
                    </a:lnTo>
                    <a:lnTo>
                      <a:pt x="35" y="327"/>
                    </a:lnTo>
                    <a:lnTo>
                      <a:pt x="35" y="327"/>
                    </a:lnTo>
                    <a:lnTo>
                      <a:pt x="35" y="327"/>
                    </a:lnTo>
                    <a:lnTo>
                      <a:pt x="35" y="327"/>
                    </a:lnTo>
                    <a:lnTo>
                      <a:pt x="35" y="327"/>
                    </a:lnTo>
                    <a:lnTo>
                      <a:pt x="35" y="320"/>
                    </a:lnTo>
                    <a:lnTo>
                      <a:pt x="35" y="320"/>
                    </a:lnTo>
                    <a:lnTo>
                      <a:pt x="35" y="320"/>
                    </a:lnTo>
                    <a:lnTo>
                      <a:pt x="35" y="320"/>
                    </a:lnTo>
                    <a:lnTo>
                      <a:pt x="35" y="320"/>
                    </a:lnTo>
                    <a:lnTo>
                      <a:pt x="28" y="313"/>
                    </a:lnTo>
                    <a:lnTo>
                      <a:pt x="28" y="313"/>
                    </a:lnTo>
                    <a:lnTo>
                      <a:pt x="28" y="313"/>
                    </a:lnTo>
                    <a:lnTo>
                      <a:pt x="28" y="313"/>
                    </a:lnTo>
                    <a:lnTo>
                      <a:pt x="35" y="313"/>
                    </a:lnTo>
                    <a:lnTo>
                      <a:pt x="35" y="313"/>
                    </a:lnTo>
                    <a:lnTo>
                      <a:pt x="35" y="313"/>
                    </a:lnTo>
                    <a:lnTo>
                      <a:pt x="35" y="306"/>
                    </a:lnTo>
                    <a:lnTo>
                      <a:pt x="35" y="306"/>
                    </a:lnTo>
                    <a:lnTo>
                      <a:pt x="35" y="306"/>
                    </a:lnTo>
                    <a:lnTo>
                      <a:pt x="35" y="306"/>
                    </a:lnTo>
                    <a:lnTo>
                      <a:pt x="35" y="306"/>
                    </a:lnTo>
                    <a:lnTo>
                      <a:pt x="35" y="306"/>
                    </a:lnTo>
                    <a:lnTo>
                      <a:pt x="35" y="306"/>
                    </a:lnTo>
                    <a:lnTo>
                      <a:pt x="35" y="306"/>
                    </a:lnTo>
                    <a:lnTo>
                      <a:pt x="35" y="306"/>
                    </a:lnTo>
                    <a:lnTo>
                      <a:pt x="35" y="306"/>
                    </a:lnTo>
                    <a:lnTo>
                      <a:pt x="35" y="306"/>
                    </a:lnTo>
                    <a:lnTo>
                      <a:pt x="35" y="298"/>
                    </a:lnTo>
                    <a:lnTo>
                      <a:pt x="35" y="298"/>
                    </a:lnTo>
                    <a:lnTo>
                      <a:pt x="35" y="298"/>
                    </a:lnTo>
                    <a:lnTo>
                      <a:pt x="35" y="298"/>
                    </a:lnTo>
                    <a:lnTo>
                      <a:pt x="35" y="298"/>
                    </a:lnTo>
                    <a:lnTo>
                      <a:pt x="28" y="298"/>
                    </a:lnTo>
                    <a:lnTo>
                      <a:pt x="28" y="298"/>
                    </a:lnTo>
                    <a:lnTo>
                      <a:pt x="28" y="298"/>
                    </a:lnTo>
                    <a:lnTo>
                      <a:pt x="28" y="298"/>
                    </a:lnTo>
                    <a:lnTo>
                      <a:pt x="28" y="298"/>
                    </a:lnTo>
                    <a:lnTo>
                      <a:pt x="28" y="298"/>
                    </a:lnTo>
                    <a:lnTo>
                      <a:pt x="28" y="298"/>
                    </a:lnTo>
                    <a:lnTo>
                      <a:pt x="28" y="298"/>
                    </a:lnTo>
                    <a:lnTo>
                      <a:pt x="28" y="298"/>
                    </a:lnTo>
                    <a:lnTo>
                      <a:pt x="28" y="291"/>
                    </a:lnTo>
                    <a:lnTo>
                      <a:pt x="28" y="291"/>
                    </a:lnTo>
                    <a:lnTo>
                      <a:pt x="28" y="291"/>
                    </a:lnTo>
                    <a:lnTo>
                      <a:pt x="28" y="291"/>
                    </a:lnTo>
                    <a:lnTo>
                      <a:pt x="21" y="291"/>
                    </a:lnTo>
                    <a:lnTo>
                      <a:pt x="21" y="291"/>
                    </a:lnTo>
                    <a:lnTo>
                      <a:pt x="21" y="291"/>
                    </a:lnTo>
                    <a:lnTo>
                      <a:pt x="21" y="291"/>
                    </a:lnTo>
                    <a:lnTo>
                      <a:pt x="21" y="291"/>
                    </a:lnTo>
                    <a:lnTo>
                      <a:pt x="21" y="291"/>
                    </a:lnTo>
                    <a:lnTo>
                      <a:pt x="21" y="291"/>
                    </a:lnTo>
                    <a:lnTo>
                      <a:pt x="21" y="291"/>
                    </a:lnTo>
                    <a:lnTo>
                      <a:pt x="21" y="291"/>
                    </a:lnTo>
                    <a:lnTo>
                      <a:pt x="21" y="291"/>
                    </a:lnTo>
                    <a:lnTo>
                      <a:pt x="21" y="291"/>
                    </a:lnTo>
                    <a:lnTo>
                      <a:pt x="21" y="284"/>
                    </a:lnTo>
                    <a:lnTo>
                      <a:pt x="21" y="284"/>
                    </a:lnTo>
                    <a:lnTo>
                      <a:pt x="21" y="284"/>
                    </a:lnTo>
                    <a:lnTo>
                      <a:pt x="28" y="284"/>
                    </a:lnTo>
                    <a:lnTo>
                      <a:pt x="28" y="284"/>
                    </a:lnTo>
                    <a:lnTo>
                      <a:pt x="28" y="291"/>
                    </a:lnTo>
                    <a:lnTo>
                      <a:pt x="28" y="291"/>
                    </a:lnTo>
                    <a:lnTo>
                      <a:pt x="28" y="291"/>
                    </a:lnTo>
                    <a:lnTo>
                      <a:pt x="28" y="284"/>
                    </a:lnTo>
                    <a:lnTo>
                      <a:pt x="28" y="284"/>
                    </a:lnTo>
                    <a:lnTo>
                      <a:pt x="28" y="284"/>
                    </a:lnTo>
                    <a:lnTo>
                      <a:pt x="35" y="284"/>
                    </a:lnTo>
                    <a:lnTo>
                      <a:pt x="35" y="284"/>
                    </a:lnTo>
                    <a:lnTo>
                      <a:pt x="35" y="284"/>
                    </a:lnTo>
                    <a:lnTo>
                      <a:pt x="35" y="284"/>
                    </a:lnTo>
                    <a:lnTo>
                      <a:pt x="35" y="284"/>
                    </a:lnTo>
                    <a:lnTo>
                      <a:pt x="35" y="284"/>
                    </a:lnTo>
                    <a:lnTo>
                      <a:pt x="35" y="284"/>
                    </a:lnTo>
                    <a:lnTo>
                      <a:pt x="35" y="284"/>
                    </a:lnTo>
                    <a:lnTo>
                      <a:pt x="35" y="284"/>
                    </a:lnTo>
                    <a:lnTo>
                      <a:pt x="42" y="284"/>
                    </a:lnTo>
                    <a:lnTo>
                      <a:pt x="42" y="284"/>
                    </a:lnTo>
                    <a:lnTo>
                      <a:pt x="42" y="284"/>
                    </a:lnTo>
                    <a:lnTo>
                      <a:pt x="42" y="277"/>
                    </a:lnTo>
                    <a:lnTo>
                      <a:pt x="42" y="277"/>
                    </a:lnTo>
                    <a:lnTo>
                      <a:pt x="42" y="277"/>
                    </a:lnTo>
                    <a:lnTo>
                      <a:pt x="49" y="277"/>
                    </a:lnTo>
                    <a:lnTo>
                      <a:pt x="49" y="277"/>
                    </a:lnTo>
                    <a:lnTo>
                      <a:pt x="49" y="277"/>
                    </a:lnTo>
                    <a:lnTo>
                      <a:pt x="49" y="270"/>
                    </a:lnTo>
                    <a:lnTo>
                      <a:pt x="49" y="270"/>
                    </a:lnTo>
                    <a:lnTo>
                      <a:pt x="49" y="270"/>
                    </a:lnTo>
                    <a:lnTo>
                      <a:pt x="49" y="270"/>
                    </a:lnTo>
                    <a:lnTo>
                      <a:pt x="49" y="270"/>
                    </a:lnTo>
                    <a:lnTo>
                      <a:pt x="56" y="270"/>
                    </a:lnTo>
                    <a:lnTo>
                      <a:pt x="56" y="270"/>
                    </a:lnTo>
                    <a:lnTo>
                      <a:pt x="63" y="270"/>
                    </a:lnTo>
                    <a:lnTo>
                      <a:pt x="63" y="270"/>
                    </a:lnTo>
                    <a:lnTo>
                      <a:pt x="63" y="277"/>
                    </a:lnTo>
                    <a:lnTo>
                      <a:pt x="63" y="277"/>
                    </a:lnTo>
                    <a:lnTo>
                      <a:pt x="63" y="277"/>
                    </a:lnTo>
                    <a:lnTo>
                      <a:pt x="63" y="277"/>
                    </a:lnTo>
                    <a:lnTo>
                      <a:pt x="63" y="277"/>
                    </a:lnTo>
                    <a:lnTo>
                      <a:pt x="63" y="284"/>
                    </a:lnTo>
                    <a:lnTo>
                      <a:pt x="63" y="284"/>
                    </a:lnTo>
                    <a:lnTo>
                      <a:pt x="63" y="284"/>
                    </a:lnTo>
                    <a:lnTo>
                      <a:pt x="63" y="284"/>
                    </a:lnTo>
                    <a:lnTo>
                      <a:pt x="63" y="284"/>
                    </a:lnTo>
                    <a:lnTo>
                      <a:pt x="63" y="284"/>
                    </a:lnTo>
                    <a:lnTo>
                      <a:pt x="63" y="284"/>
                    </a:lnTo>
                    <a:lnTo>
                      <a:pt x="63" y="284"/>
                    </a:lnTo>
                    <a:lnTo>
                      <a:pt x="71" y="284"/>
                    </a:lnTo>
                    <a:lnTo>
                      <a:pt x="71" y="284"/>
                    </a:lnTo>
                    <a:lnTo>
                      <a:pt x="71" y="284"/>
                    </a:lnTo>
                    <a:lnTo>
                      <a:pt x="71" y="284"/>
                    </a:lnTo>
                    <a:lnTo>
                      <a:pt x="78" y="277"/>
                    </a:lnTo>
                    <a:lnTo>
                      <a:pt x="78" y="277"/>
                    </a:lnTo>
                    <a:lnTo>
                      <a:pt x="78" y="277"/>
                    </a:lnTo>
                    <a:lnTo>
                      <a:pt x="78" y="277"/>
                    </a:lnTo>
                    <a:lnTo>
                      <a:pt x="85" y="277"/>
                    </a:lnTo>
                    <a:lnTo>
                      <a:pt x="85" y="277"/>
                    </a:lnTo>
                    <a:lnTo>
                      <a:pt x="85" y="277"/>
                    </a:lnTo>
                    <a:lnTo>
                      <a:pt x="85" y="270"/>
                    </a:lnTo>
                    <a:lnTo>
                      <a:pt x="78" y="270"/>
                    </a:lnTo>
                    <a:lnTo>
                      <a:pt x="85" y="270"/>
                    </a:lnTo>
                    <a:lnTo>
                      <a:pt x="85" y="270"/>
                    </a:lnTo>
                    <a:lnTo>
                      <a:pt x="85" y="263"/>
                    </a:lnTo>
                    <a:lnTo>
                      <a:pt x="85" y="263"/>
                    </a:lnTo>
                    <a:lnTo>
                      <a:pt x="85" y="263"/>
                    </a:lnTo>
                    <a:lnTo>
                      <a:pt x="85" y="263"/>
                    </a:lnTo>
                    <a:lnTo>
                      <a:pt x="85" y="263"/>
                    </a:lnTo>
                    <a:lnTo>
                      <a:pt x="92" y="263"/>
                    </a:lnTo>
                    <a:lnTo>
                      <a:pt x="92" y="263"/>
                    </a:lnTo>
                    <a:lnTo>
                      <a:pt x="92" y="263"/>
                    </a:lnTo>
                    <a:lnTo>
                      <a:pt x="92" y="256"/>
                    </a:lnTo>
                    <a:lnTo>
                      <a:pt x="92" y="256"/>
                    </a:lnTo>
                    <a:lnTo>
                      <a:pt x="92" y="256"/>
                    </a:lnTo>
                    <a:lnTo>
                      <a:pt x="92" y="256"/>
                    </a:lnTo>
                    <a:lnTo>
                      <a:pt x="99" y="256"/>
                    </a:lnTo>
                    <a:lnTo>
                      <a:pt x="99" y="256"/>
                    </a:lnTo>
                    <a:lnTo>
                      <a:pt x="99" y="256"/>
                    </a:lnTo>
                    <a:lnTo>
                      <a:pt x="99" y="256"/>
                    </a:lnTo>
                    <a:lnTo>
                      <a:pt x="106" y="249"/>
                    </a:lnTo>
                    <a:lnTo>
                      <a:pt x="106" y="256"/>
                    </a:lnTo>
                    <a:lnTo>
                      <a:pt x="106" y="256"/>
                    </a:lnTo>
                    <a:lnTo>
                      <a:pt x="113" y="256"/>
                    </a:lnTo>
                    <a:lnTo>
                      <a:pt x="113" y="256"/>
                    </a:lnTo>
                    <a:lnTo>
                      <a:pt x="113" y="256"/>
                    </a:lnTo>
                    <a:lnTo>
                      <a:pt x="113" y="256"/>
                    </a:lnTo>
                    <a:lnTo>
                      <a:pt x="113" y="249"/>
                    </a:lnTo>
                    <a:lnTo>
                      <a:pt x="113" y="249"/>
                    </a:lnTo>
                    <a:lnTo>
                      <a:pt x="113" y="242"/>
                    </a:lnTo>
                    <a:lnTo>
                      <a:pt x="113" y="242"/>
                    </a:lnTo>
                    <a:lnTo>
                      <a:pt x="113" y="242"/>
                    </a:lnTo>
                    <a:lnTo>
                      <a:pt x="106" y="242"/>
                    </a:lnTo>
                    <a:lnTo>
                      <a:pt x="106" y="242"/>
                    </a:lnTo>
                    <a:lnTo>
                      <a:pt x="106" y="242"/>
                    </a:lnTo>
                    <a:lnTo>
                      <a:pt x="106" y="242"/>
                    </a:lnTo>
                    <a:lnTo>
                      <a:pt x="113" y="235"/>
                    </a:lnTo>
                    <a:lnTo>
                      <a:pt x="120" y="235"/>
                    </a:lnTo>
                    <a:lnTo>
                      <a:pt x="120" y="235"/>
                    </a:lnTo>
                    <a:lnTo>
                      <a:pt x="120" y="235"/>
                    </a:lnTo>
                    <a:lnTo>
                      <a:pt x="120" y="235"/>
                    </a:lnTo>
                    <a:lnTo>
                      <a:pt x="120" y="235"/>
                    </a:lnTo>
                    <a:lnTo>
                      <a:pt x="120" y="227"/>
                    </a:lnTo>
                    <a:lnTo>
                      <a:pt x="127" y="227"/>
                    </a:lnTo>
                    <a:lnTo>
                      <a:pt x="127" y="227"/>
                    </a:lnTo>
                    <a:lnTo>
                      <a:pt x="127" y="227"/>
                    </a:lnTo>
                    <a:lnTo>
                      <a:pt x="127" y="227"/>
                    </a:lnTo>
                    <a:lnTo>
                      <a:pt x="134" y="227"/>
                    </a:lnTo>
                    <a:lnTo>
                      <a:pt x="134" y="227"/>
                    </a:lnTo>
                    <a:lnTo>
                      <a:pt x="142" y="227"/>
                    </a:lnTo>
                    <a:lnTo>
                      <a:pt x="142" y="227"/>
                    </a:lnTo>
                    <a:lnTo>
                      <a:pt x="142" y="227"/>
                    </a:lnTo>
                    <a:lnTo>
                      <a:pt x="142" y="227"/>
                    </a:lnTo>
                    <a:lnTo>
                      <a:pt x="142" y="227"/>
                    </a:lnTo>
                    <a:lnTo>
                      <a:pt x="142" y="227"/>
                    </a:lnTo>
                    <a:lnTo>
                      <a:pt x="142" y="235"/>
                    </a:lnTo>
                    <a:lnTo>
                      <a:pt x="149" y="235"/>
                    </a:lnTo>
                    <a:lnTo>
                      <a:pt x="149" y="235"/>
                    </a:lnTo>
                    <a:lnTo>
                      <a:pt x="149" y="235"/>
                    </a:lnTo>
                    <a:lnTo>
                      <a:pt x="149" y="235"/>
                    </a:lnTo>
                    <a:lnTo>
                      <a:pt x="149" y="235"/>
                    </a:lnTo>
                    <a:lnTo>
                      <a:pt x="149" y="235"/>
                    </a:lnTo>
                    <a:lnTo>
                      <a:pt x="156" y="235"/>
                    </a:lnTo>
                    <a:lnTo>
                      <a:pt x="156" y="235"/>
                    </a:lnTo>
                    <a:lnTo>
                      <a:pt x="163" y="235"/>
                    </a:lnTo>
                    <a:lnTo>
                      <a:pt x="163" y="235"/>
                    </a:lnTo>
                    <a:lnTo>
                      <a:pt x="163" y="227"/>
                    </a:lnTo>
                    <a:lnTo>
                      <a:pt x="163" y="227"/>
                    </a:lnTo>
                    <a:lnTo>
                      <a:pt x="163" y="227"/>
                    </a:lnTo>
                    <a:lnTo>
                      <a:pt x="170" y="227"/>
                    </a:lnTo>
                    <a:lnTo>
                      <a:pt x="170" y="220"/>
                    </a:lnTo>
                    <a:lnTo>
                      <a:pt x="177" y="220"/>
                    </a:lnTo>
                    <a:lnTo>
                      <a:pt x="177" y="220"/>
                    </a:lnTo>
                    <a:lnTo>
                      <a:pt x="177" y="220"/>
                    </a:lnTo>
                    <a:lnTo>
                      <a:pt x="184" y="220"/>
                    </a:lnTo>
                    <a:lnTo>
                      <a:pt x="184" y="220"/>
                    </a:lnTo>
                    <a:lnTo>
                      <a:pt x="191" y="220"/>
                    </a:lnTo>
                    <a:lnTo>
                      <a:pt x="191" y="220"/>
                    </a:lnTo>
                    <a:lnTo>
                      <a:pt x="198" y="220"/>
                    </a:lnTo>
                    <a:lnTo>
                      <a:pt x="198" y="220"/>
                    </a:lnTo>
                    <a:lnTo>
                      <a:pt x="198" y="220"/>
                    </a:lnTo>
                    <a:lnTo>
                      <a:pt x="198" y="220"/>
                    </a:lnTo>
                    <a:lnTo>
                      <a:pt x="198" y="220"/>
                    </a:lnTo>
                    <a:lnTo>
                      <a:pt x="205" y="220"/>
                    </a:lnTo>
                    <a:lnTo>
                      <a:pt x="205" y="220"/>
                    </a:lnTo>
                    <a:lnTo>
                      <a:pt x="205" y="220"/>
                    </a:lnTo>
                    <a:lnTo>
                      <a:pt x="205" y="220"/>
                    </a:lnTo>
                    <a:lnTo>
                      <a:pt x="213" y="213"/>
                    </a:lnTo>
                    <a:lnTo>
                      <a:pt x="213" y="213"/>
                    </a:lnTo>
                    <a:lnTo>
                      <a:pt x="213" y="213"/>
                    </a:lnTo>
                    <a:lnTo>
                      <a:pt x="213" y="213"/>
                    </a:lnTo>
                    <a:lnTo>
                      <a:pt x="213" y="220"/>
                    </a:lnTo>
                    <a:lnTo>
                      <a:pt x="220" y="220"/>
                    </a:lnTo>
                    <a:lnTo>
                      <a:pt x="220" y="220"/>
                    </a:lnTo>
                    <a:lnTo>
                      <a:pt x="220" y="220"/>
                    </a:lnTo>
                    <a:lnTo>
                      <a:pt x="220" y="220"/>
                    </a:lnTo>
                    <a:lnTo>
                      <a:pt x="220" y="220"/>
                    </a:lnTo>
                    <a:lnTo>
                      <a:pt x="227" y="220"/>
                    </a:lnTo>
                    <a:lnTo>
                      <a:pt x="227" y="213"/>
                    </a:lnTo>
                    <a:lnTo>
                      <a:pt x="227" y="213"/>
                    </a:lnTo>
                    <a:lnTo>
                      <a:pt x="220" y="213"/>
                    </a:lnTo>
                    <a:lnTo>
                      <a:pt x="220" y="213"/>
                    </a:lnTo>
                    <a:lnTo>
                      <a:pt x="220" y="206"/>
                    </a:lnTo>
                    <a:lnTo>
                      <a:pt x="220" y="206"/>
                    </a:lnTo>
                    <a:lnTo>
                      <a:pt x="220" y="206"/>
                    </a:lnTo>
                    <a:lnTo>
                      <a:pt x="227" y="206"/>
                    </a:lnTo>
                    <a:lnTo>
                      <a:pt x="227" y="206"/>
                    </a:lnTo>
                    <a:lnTo>
                      <a:pt x="227" y="206"/>
                    </a:lnTo>
                    <a:lnTo>
                      <a:pt x="227" y="199"/>
                    </a:lnTo>
                    <a:lnTo>
                      <a:pt x="220" y="199"/>
                    </a:lnTo>
                    <a:lnTo>
                      <a:pt x="220" y="199"/>
                    </a:lnTo>
                    <a:lnTo>
                      <a:pt x="220" y="199"/>
                    </a:lnTo>
                    <a:lnTo>
                      <a:pt x="220" y="199"/>
                    </a:lnTo>
                    <a:lnTo>
                      <a:pt x="220" y="192"/>
                    </a:lnTo>
                    <a:lnTo>
                      <a:pt x="220" y="192"/>
                    </a:lnTo>
                    <a:lnTo>
                      <a:pt x="220" y="192"/>
                    </a:lnTo>
                    <a:lnTo>
                      <a:pt x="220" y="185"/>
                    </a:lnTo>
                    <a:lnTo>
                      <a:pt x="220" y="185"/>
                    </a:lnTo>
                    <a:lnTo>
                      <a:pt x="220" y="185"/>
                    </a:lnTo>
                    <a:lnTo>
                      <a:pt x="220" y="185"/>
                    </a:lnTo>
                    <a:lnTo>
                      <a:pt x="220" y="178"/>
                    </a:lnTo>
                    <a:lnTo>
                      <a:pt x="220" y="178"/>
                    </a:lnTo>
                    <a:lnTo>
                      <a:pt x="220" y="178"/>
                    </a:lnTo>
                    <a:lnTo>
                      <a:pt x="220" y="178"/>
                    </a:lnTo>
                    <a:lnTo>
                      <a:pt x="213" y="178"/>
                    </a:lnTo>
                    <a:lnTo>
                      <a:pt x="213" y="171"/>
                    </a:lnTo>
                    <a:lnTo>
                      <a:pt x="213" y="171"/>
                    </a:lnTo>
                    <a:lnTo>
                      <a:pt x="213" y="171"/>
                    </a:lnTo>
                    <a:lnTo>
                      <a:pt x="213" y="171"/>
                    </a:lnTo>
                    <a:lnTo>
                      <a:pt x="213" y="164"/>
                    </a:lnTo>
                    <a:lnTo>
                      <a:pt x="213" y="156"/>
                    </a:lnTo>
                    <a:lnTo>
                      <a:pt x="213" y="156"/>
                    </a:lnTo>
                    <a:lnTo>
                      <a:pt x="213" y="156"/>
                    </a:lnTo>
                    <a:lnTo>
                      <a:pt x="213" y="156"/>
                    </a:lnTo>
                    <a:lnTo>
                      <a:pt x="213" y="156"/>
                    </a:lnTo>
                    <a:lnTo>
                      <a:pt x="220" y="149"/>
                    </a:lnTo>
                    <a:lnTo>
                      <a:pt x="220" y="149"/>
                    </a:lnTo>
                    <a:lnTo>
                      <a:pt x="220" y="149"/>
                    </a:lnTo>
                    <a:lnTo>
                      <a:pt x="220" y="149"/>
                    </a:lnTo>
                    <a:lnTo>
                      <a:pt x="220" y="142"/>
                    </a:lnTo>
                    <a:lnTo>
                      <a:pt x="227" y="149"/>
                    </a:lnTo>
                    <a:lnTo>
                      <a:pt x="227" y="149"/>
                    </a:lnTo>
                    <a:lnTo>
                      <a:pt x="227" y="149"/>
                    </a:lnTo>
                    <a:lnTo>
                      <a:pt x="227" y="156"/>
                    </a:lnTo>
                    <a:lnTo>
                      <a:pt x="234" y="156"/>
                    </a:lnTo>
                    <a:lnTo>
                      <a:pt x="234" y="156"/>
                    </a:lnTo>
                    <a:lnTo>
                      <a:pt x="241" y="156"/>
                    </a:lnTo>
                    <a:lnTo>
                      <a:pt x="241" y="156"/>
                    </a:lnTo>
                    <a:lnTo>
                      <a:pt x="241" y="156"/>
                    </a:lnTo>
                    <a:lnTo>
                      <a:pt x="241" y="156"/>
                    </a:lnTo>
                    <a:lnTo>
                      <a:pt x="241" y="164"/>
                    </a:lnTo>
                    <a:lnTo>
                      <a:pt x="241" y="164"/>
                    </a:lnTo>
                    <a:lnTo>
                      <a:pt x="248" y="156"/>
                    </a:lnTo>
                    <a:lnTo>
                      <a:pt x="248" y="156"/>
                    </a:lnTo>
                    <a:lnTo>
                      <a:pt x="248" y="156"/>
                    </a:lnTo>
                    <a:lnTo>
                      <a:pt x="255" y="156"/>
                    </a:lnTo>
                    <a:lnTo>
                      <a:pt x="255" y="156"/>
                    </a:lnTo>
                    <a:lnTo>
                      <a:pt x="255" y="156"/>
                    </a:lnTo>
                    <a:lnTo>
                      <a:pt x="255" y="156"/>
                    </a:lnTo>
                    <a:lnTo>
                      <a:pt x="262" y="164"/>
                    </a:lnTo>
                    <a:lnTo>
                      <a:pt x="262" y="164"/>
                    </a:lnTo>
                    <a:lnTo>
                      <a:pt x="262" y="164"/>
                    </a:lnTo>
                    <a:lnTo>
                      <a:pt x="262" y="164"/>
                    </a:lnTo>
                    <a:lnTo>
                      <a:pt x="262" y="164"/>
                    </a:lnTo>
                    <a:lnTo>
                      <a:pt x="262" y="171"/>
                    </a:lnTo>
                    <a:lnTo>
                      <a:pt x="262" y="171"/>
                    </a:lnTo>
                    <a:lnTo>
                      <a:pt x="269" y="164"/>
                    </a:lnTo>
                    <a:lnTo>
                      <a:pt x="269" y="164"/>
                    </a:lnTo>
                    <a:lnTo>
                      <a:pt x="276" y="164"/>
                    </a:lnTo>
                    <a:lnTo>
                      <a:pt x="276" y="164"/>
                    </a:lnTo>
                    <a:lnTo>
                      <a:pt x="276" y="164"/>
                    </a:lnTo>
                    <a:lnTo>
                      <a:pt x="276" y="164"/>
                    </a:lnTo>
                    <a:lnTo>
                      <a:pt x="284" y="164"/>
                    </a:lnTo>
                    <a:lnTo>
                      <a:pt x="284" y="164"/>
                    </a:lnTo>
                    <a:lnTo>
                      <a:pt x="291" y="164"/>
                    </a:lnTo>
                    <a:lnTo>
                      <a:pt x="291" y="164"/>
                    </a:lnTo>
                    <a:lnTo>
                      <a:pt x="291" y="164"/>
                    </a:lnTo>
                    <a:lnTo>
                      <a:pt x="298" y="164"/>
                    </a:lnTo>
                    <a:lnTo>
                      <a:pt x="298" y="164"/>
                    </a:lnTo>
                    <a:lnTo>
                      <a:pt x="298" y="164"/>
                    </a:lnTo>
                    <a:lnTo>
                      <a:pt x="298" y="156"/>
                    </a:lnTo>
                    <a:lnTo>
                      <a:pt x="305" y="156"/>
                    </a:lnTo>
                    <a:lnTo>
                      <a:pt x="305" y="156"/>
                    </a:lnTo>
                    <a:lnTo>
                      <a:pt x="305" y="156"/>
                    </a:lnTo>
                    <a:lnTo>
                      <a:pt x="305" y="164"/>
                    </a:lnTo>
                    <a:lnTo>
                      <a:pt x="312" y="164"/>
                    </a:lnTo>
                    <a:lnTo>
                      <a:pt x="312" y="164"/>
                    </a:lnTo>
                    <a:lnTo>
                      <a:pt x="312" y="164"/>
                    </a:lnTo>
                    <a:lnTo>
                      <a:pt x="319" y="164"/>
                    </a:lnTo>
                    <a:lnTo>
                      <a:pt x="319" y="164"/>
                    </a:lnTo>
                    <a:lnTo>
                      <a:pt x="319" y="164"/>
                    </a:lnTo>
                    <a:lnTo>
                      <a:pt x="326" y="164"/>
                    </a:lnTo>
                    <a:lnTo>
                      <a:pt x="326" y="164"/>
                    </a:lnTo>
                    <a:lnTo>
                      <a:pt x="326" y="164"/>
                    </a:lnTo>
                    <a:lnTo>
                      <a:pt x="326" y="164"/>
                    </a:lnTo>
                    <a:lnTo>
                      <a:pt x="326" y="156"/>
                    </a:lnTo>
                    <a:lnTo>
                      <a:pt x="326" y="156"/>
                    </a:lnTo>
                    <a:lnTo>
                      <a:pt x="326" y="156"/>
                    </a:lnTo>
                    <a:lnTo>
                      <a:pt x="326" y="156"/>
                    </a:lnTo>
                    <a:lnTo>
                      <a:pt x="326" y="149"/>
                    </a:lnTo>
                    <a:lnTo>
                      <a:pt x="326" y="149"/>
                    </a:lnTo>
                    <a:lnTo>
                      <a:pt x="319" y="149"/>
                    </a:lnTo>
                    <a:lnTo>
                      <a:pt x="319" y="149"/>
                    </a:lnTo>
                    <a:lnTo>
                      <a:pt x="319" y="142"/>
                    </a:lnTo>
                    <a:lnTo>
                      <a:pt x="319" y="142"/>
                    </a:lnTo>
                    <a:lnTo>
                      <a:pt x="326" y="142"/>
                    </a:lnTo>
                    <a:lnTo>
                      <a:pt x="326" y="142"/>
                    </a:lnTo>
                    <a:lnTo>
                      <a:pt x="326" y="142"/>
                    </a:lnTo>
                    <a:lnTo>
                      <a:pt x="319" y="135"/>
                    </a:lnTo>
                    <a:lnTo>
                      <a:pt x="319" y="135"/>
                    </a:lnTo>
                    <a:lnTo>
                      <a:pt x="326" y="135"/>
                    </a:lnTo>
                    <a:lnTo>
                      <a:pt x="326" y="135"/>
                    </a:lnTo>
                    <a:lnTo>
                      <a:pt x="326" y="135"/>
                    </a:lnTo>
                    <a:lnTo>
                      <a:pt x="319" y="128"/>
                    </a:lnTo>
                    <a:lnTo>
                      <a:pt x="319" y="128"/>
                    </a:lnTo>
                    <a:lnTo>
                      <a:pt x="319" y="128"/>
                    </a:lnTo>
                    <a:lnTo>
                      <a:pt x="319" y="128"/>
                    </a:lnTo>
                    <a:lnTo>
                      <a:pt x="319" y="128"/>
                    </a:lnTo>
                    <a:lnTo>
                      <a:pt x="333" y="121"/>
                    </a:lnTo>
                    <a:lnTo>
                      <a:pt x="333" y="121"/>
                    </a:lnTo>
                    <a:lnTo>
                      <a:pt x="333" y="121"/>
                    </a:lnTo>
                    <a:lnTo>
                      <a:pt x="333" y="114"/>
                    </a:lnTo>
                    <a:lnTo>
                      <a:pt x="333" y="114"/>
                    </a:lnTo>
                    <a:lnTo>
                      <a:pt x="333" y="114"/>
                    </a:lnTo>
                    <a:lnTo>
                      <a:pt x="340" y="114"/>
                    </a:lnTo>
                    <a:lnTo>
                      <a:pt x="340" y="114"/>
                    </a:lnTo>
                    <a:lnTo>
                      <a:pt x="340" y="114"/>
                    </a:lnTo>
                    <a:lnTo>
                      <a:pt x="340" y="114"/>
                    </a:lnTo>
                    <a:lnTo>
                      <a:pt x="340" y="107"/>
                    </a:lnTo>
                    <a:lnTo>
                      <a:pt x="340" y="107"/>
                    </a:lnTo>
                    <a:lnTo>
                      <a:pt x="340" y="107"/>
                    </a:lnTo>
                    <a:lnTo>
                      <a:pt x="340" y="107"/>
                    </a:lnTo>
                    <a:lnTo>
                      <a:pt x="347" y="107"/>
                    </a:lnTo>
                    <a:lnTo>
                      <a:pt x="347" y="107"/>
                    </a:lnTo>
                    <a:lnTo>
                      <a:pt x="347" y="107"/>
                    </a:lnTo>
                    <a:lnTo>
                      <a:pt x="347" y="100"/>
                    </a:lnTo>
                    <a:lnTo>
                      <a:pt x="347" y="100"/>
                    </a:lnTo>
                    <a:lnTo>
                      <a:pt x="347" y="100"/>
                    </a:lnTo>
                    <a:lnTo>
                      <a:pt x="355" y="100"/>
                    </a:lnTo>
                    <a:lnTo>
                      <a:pt x="355" y="100"/>
                    </a:lnTo>
                    <a:lnTo>
                      <a:pt x="355" y="100"/>
                    </a:lnTo>
                    <a:lnTo>
                      <a:pt x="362" y="100"/>
                    </a:lnTo>
                    <a:lnTo>
                      <a:pt x="362" y="100"/>
                    </a:lnTo>
                    <a:lnTo>
                      <a:pt x="362" y="100"/>
                    </a:lnTo>
                    <a:lnTo>
                      <a:pt x="362" y="107"/>
                    </a:lnTo>
                    <a:lnTo>
                      <a:pt x="362" y="107"/>
                    </a:lnTo>
                    <a:lnTo>
                      <a:pt x="369" y="107"/>
                    </a:lnTo>
                    <a:lnTo>
                      <a:pt x="369" y="114"/>
                    </a:lnTo>
                    <a:lnTo>
                      <a:pt x="369" y="114"/>
                    </a:lnTo>
                    <a:lnTo>
                      <a:pt x="376" y="107"/>
                    </a:lnTo>
                    <a:lnTo>
                      <a:pt x="376" y="100"/>
                    </a:lnTo>
                    <a:lnTo>
                      <a:pt x="376" y="100"/>
                    </a:lnTo>
                    <a:lnTo>
                      <a:pt x="376" y="100"/>
                    </a:lnTo>
                    <a:lnTo>
                      <a:pt x="383" y="100"/>
                    </a:lnTo>
                    <a:lnTo>
                      <a:pt x="383" y="93"/>
                    </a:lnTo>
                    <a:lnTo>
                      <a:pt x="383" y="93"/>
                    </a:lnTo>
                    <a:lnTo>
                      <a:pt x="383" y="93"/>
                    </a:lnTo>
                    <a:lnTo>
                      <a:pt x="383" y="93"/>
                    </a:lnTo>
                    <a:lnTo>
                      <a:pt x="383" y="93"/>
                    </a:lnTo>
                    <a:lnTo>
                      <a:pt x="383" y="85"/>
                    </a:lnTo>
                    <a:lnTo>
                      <a:pt x="383" y="85"/>
                    </a:lnTo>
                    <a:lnTo>
                      <a:pt x="383" y="85"/>
                    </a:lnTo>
                    <a:lnTo>
                      <a:pt x="383" y="85"/>
                    </a:lnTo>
                    <a:lnTo>
                      <a:pt x="383" y="85"/>
                    </a:lnTo>
                    <a:lnTo>
                      <a:pt x="390" y="85"/>
                    </a:lnTo>
                    <a:lnTo>
                      <a:pt x="397" y="85"/>
                    </a:lnTo>
                    <a:lnTo>
                      <a:pt x="397" y="85"/>
                    </a:lnTo>
                    <a:lnTo>
                      <a:pt x="397" y="85"/>
                    </a:lnTo>
                    <a:lnTo>
                      <a:pt x="397" y="78"/>
                    </a:lnTo>
                    <a:lnTo>
                      <a:pt x="404" y="71"/>
                    </a:lnTo>
                    <a:lnTo>
                      <a:pt x="404" y="71"/>
                    </a:lnTo>
                    <a:lnTo>
                      <a:pt x="397" y="64"/>
                    </a:lnTo>
                    <a:lnTo>
                      <a:pt x="397" y="64"/>
                    </a:lnTo>
                    <a:lnTo>
                      <a:pt x="404" y="64"/>
                    </a:lnTo>
                    <a:lnTo>
                      <a:pt x="404" y="57"/>
                    </a:lnTo>
                    <a:lnTo>
                      <a:pt x="404" y="57"/>
                    </a:lnTo>
                    <a:lnTo>
                      <a:pt x="404" y="50"/>
                    </a:lnTo>
                    <a:lnTo>
                      <a:pt x="404" y="43"/>
                    </a:lnTo>
                    <a:lnTo>
                      <a:pt x="404" y="43"/>
                    </a:lnTo>
                    <a:lnTo>
                      <a:pt x="404" y="43"/>
                    </a:lnTo>
                    <a:lnTo>
                      <a:pt x="411" y="43"/>
                    </a:lnTo>
                    <a:lnTo>
                      <a:pt x="411" y="43"/>
                    </a:lnTo>
                    <a:lnTo>
                      <a:pt x="418" y="43"/>
                    </a:lnTo>
                    <a:lnTo>
                      <a:pt x="418" y="43"/>
                    </a:lnTo>
                    <a:lnTo>
                      <a:pt x="418" y="43"/>
                    </a:lnTo>
                    <a:lnTo>
                      <a:pt x="418" y="43"/>
                    </a:lnTo>
                    <a:lnTo>
                      <a:pt x="426" y="36"/>
                    </a:lnTo>
                    <a:lnTo>
                      <a:pt x="426" y="36"/>
                    </a:lnTo>
                    <a:lnTo>
                      <a:pt x="426" y="36"/>
                    </a:lnTo>
                    <a:lnTo>
                      <a:pt x="426" y="36"/>
                    </a:lnTo>
                    <a:lnTo>
                      <a:pt x="433" y="36"/>
                    </a:lnTo>
                    <a:lnTo>
                      <a:pt x="433" y="36"/>
                    </a:lnTo>
                    <a:lnTo>
                      <a:pt x="433" y="36"/>
                    </a:lnTo>
                    <a:lnTo>
                      <a:pt x="433" y="36"/>
                    </a:lnTo>
                    <a:lnTo>
                      <a:pt x="433" y="29"/>
                    </a:lnTo>
                    <a:lnTo>
                      <a:pt x="433" y="29"/>
                    </a:lnTo>
                    <a:lnTo>
                      <a:pt x="440" y="22"/>
                    </a:lnTo>
                    <a:lnTo>
                      <a:pt x="447" y="22"/>
                    </a:lnTo>
                    <a:lnTo>
                      <a:pt x="447" y="22"/>
                    </a:lnTo>
                    <a:lnTo>
                      <a:pt x="447" y="22"/>
                    </a:lnTo>
                    <a:lnTo>
                      <a:pt x="447" y="22"/>
                    </a:lnTo>
                    <a:lnTo>
                      <a:pt x="447" y="14"/>
                    </a:lnTo>
                    <a:lnTo>
                      <a:pt x="447" y="14"/>
                    </a:lnTo>
                    <a:lnTo>
                      <a:pt x="447" y="7"/>
                    </a:lnTo>
                    <a:lnTo>
                      <a:pt x="447" y="7"/>
                    </a:lnTo>
                    <a:lnTo>
                      <a:pt x="447" y="7"/>
                    </a:lnTo>
                    <a:lnTo>
                      <a:pt x="454" y="0"/>
                    </a:lnTo>
                    <a:lnTo>
                      <a:pt x="454" y="0"/>
                    </a:lnTo>
                    <a:lnTo>
                      <a:pt x="461" y="0"/>
                    </a:lnTo>
                    <a:lnTo>
                      <a:pt x="461" y="0"/>
                    </a:lnTo>
                    <a:lnTo>
                      <a:pt x="461" y="0"/>
                    </a:lnTo>
                    <a:lnTo>
                      <a:pt x="461" y="0"/>
                    </a:lnTo>
                    <a:lnTo>
                      <a:pt x="468" y="0"/>
                    </a:lnTo>
                    <a:lnTo>
                      <a:pt x="468" y="0"/>
                    </a:lnTo>
                    <a:lnTo>
                      <a:pt x="468" y="7"/>
                    </a:lnTo>
                    <a:lnTo>
                      <a:pt x="468" y="14"/>
                    </a:lnTo>
                    <a:lnTo>
                      <a:pt x="468" y="14"/>
                    </a:lnTo>
                    <a:lnTo>
                      <a:pt x="468" y="14"/>
                    </a:lnTo>
                    <a:lnTo>
                      <a:pt x="468" y="14"/>
                    </a:lnTo>
                    <a:lnTo>
                      <a:pt x="468" y="14"/>
                    </a:lnTo>
                    <a:lnTo>
                      <a:pt x="475" y="22"/>
                    </a:lnTo>
                    <a:lnTo>
                      <a:pt x="475" y="22"/>
                    </a:lnTo>
                    <a:lnTo>
                      <a:pt x="475" y="22"/>
                    </a:lnTo>
                    <a:lnTo>
                      <a:pt x="475" y="22"/>
                    </a:lnTo>
                    <a:lnTo>
                      <a:pt x="475" y="22"/>
                    </a:lnTo>
                    <a:lnTo>
                      <a:pt x="482" y="22"/>
                    </a:lnTo>
                    <a:lnTo>
                      <a:pt x="482" y="29"/>
                    </a:lnTo>
                    <a:lnTo>
                      <a:pt x="482" y="22"/>
                    </a:lnTo>
                    <a:lnTo>
                      <a:pt x="482" y="22"/>
                    </a:lnTo>
                    <a:lnTo>
                      <a:pt x="489" y="22"/>
                    </a:lnTo>
                    <a:lnTo>
                      <a:pt x="489" y="22"/>
                    </a:lnTo>
                    <a:lnTo>
                      <a:pt x="489" y="22"/>
                    </a:lnTo>
                    <a:lnTo>
                      <a:pt x="497" y="22"/>
                    </a:lnTo>
                    <a:lnTo>
                      <a:pt x="504" y="22"/>
                    </a:lnTo>
                    <a:lnTo>
                      <a:pt x="504" y="22"/>
                    </a:lnTo>
                    <a:lnTo>
                      <a:pt x="504" y="29"/>
                    </a:lnTo>
                    <a:lnTo>
                      <a:pt x="497" y="29"/>
                    </a:lnTo>
                    <a:lnTo>
                      <a:pt x="497" y="29"/>
                    </a:lnTo>
                    <a:lnTo>
                      <a:pt x="497" y="29"/>
                    </a:lnTo>
                    <a:lnTo>
                      <a:pt x="497" y="36"/>
                    </a:lnTo>
                    <a:lnTo>
                      <a:pt x="504" y="43"/>
                    </a:lnTo>
                    <a:lnTo>
                      <a:pt x="504" y="50"/>
                    </a:lnTo>
                    <a:lnTo>
                      <a:pt x="504" y="50"/>
                    </a:lnTo>
                    <a:lnTo>
                      <a:pt x="504" y="50"/>
                    </a:lnTo>
                    <a:lnTo>
                      <a:pt x="504" y="50"/>
                    </a:lnTo>
                    <a:lnTo>
                      <a:pt x="504" y="50"/>
                    </a:lnTo>
                    <a:lnTo>
                      <a:pt x="497" y="50"/>
                    </a:lnTo>
                    <a:lnTo>
                      <a:pt x="497" y="50"/>
                    </a:lnTo>
                    <a:lnTo>
                      <a:pt x="497" y="50"/>
                    </a:lnTo>
                    <a:lnTo>
                      <a:pt x="497" y="57"/>
                    </a:lnTo>
                    <a:lnTo>
                      <a:pt x="497" y="57"/>
                    </a:lnTo>
                    <a:lnTo>
                      <a:pt x="497" y="57"/>
                    </a:lnTo>
                    <a:lnTo>
                      <a:pt x="504" y="57"/>
                    </a:lnTo>
                    <a:lnTo>
                      <a:pt x="504" y="64"/>
                    </a:lnTo>
                    <a:lnTo>
                      <a:pt x="504" y="64"/>
                    </a:lnTo>
                    <a:lnTo>
                      <a:pt x="504" y="71"/>
                    </a:lnTo>
                    <a:lnTo>
                      <a:pt x="504" y="71"/>
                    </a:lnTo>
                    <a:lnTo>
                      <a:pt x="511" y="78"/>
                    </a:lnTo>
                    <a:lnTo>
                      <a:pt x="504" y="78"/>
                    </a:lnTo>
                    <a:lnTo>
                      <a:pt x="504" y="78"/>
                    </a:lnTo>
                    <a:lnTo>
                      <a:pt x="497" y="85"/>
                    </a:lnTo>
                    <a:lnTo>
                      <a:pt x="497" y="85"/>
                    </a:lnTo>
                    <a:lnTo>
                      <a:pt x="497" y="85"/>
                    </a:lnTo>
                    <a:lnTo>
                      <a:pt x="497" y="85"/>
                    </a:lnTo>
                    <a:lnTo>
                      <a:pt x="489" y="85"/>
                    </a:lnTo>
                    <a:lnTo>
                      <a:pt x="489" y="93"/>
                    </a:lnTo>
                    <a:lnTo>
                      <a:pt x="489" y="93"/>
                    </a:lnTo>
                    <a:lnTo>
                      <a:pt x="489" y="93"/>
                    </a:lnTo>
                    <a:lnTo>
                      <a:pt x="489" y="93"/>
                    </a:lnTo>
                    <a:lnTo>
                      <a:pt x="489" y="93"/>
                    </a:lnTo>
                    <a:lnTo>
                      <a:pt x="489" y="93"/>
                    </a:lnTo>
                    <a:lnTo>
                      <a:pt x="489" y="93"/>
                    </a:lnTo>
                    <a:lnTo>
                      <a:pt x="489" y="100"/>
                    </a:lnTo>
                    <a:lnTo>
                      <a:pt x="497" y="100"/>
                    </a:lnTo>
                    <a:lnTo>
                      <a:pt x="497" y="100"/>
                    </a:lnTo>
                    <a:lnTo>
                      <a:pt x="497" y="100"/>
                    </a:lnTo>
                    <a:lnTo>
                      <a:pt x="497" y="107"/>
                    </a:lnTo>
                    <a:lnTo>
                      <a:pt x="497" y="107"/>
                    </a:lnTo>
                    <a:lnTo>
                      <a:pt x="489" y="107"/>
                    </a:lnTo>
                    <a:lnTo>
                      <a:pt x="489" y="107"/>
                    </a:lnTo>
                    <a:lnTo>
                      <a:pt x="482" y="107"/>
                    </a:lnTo>
                    <a:lnTo>
                      <a:pt x="482" y="107"/>
                    </a:lnTo>
                    <a:lnTo>
                      <a:pt x="482" y="114"/>
                    </a:lnTo>
                    <a:lnTo>
                      <a:pt x="475" y="121"/>
                    </a:lnTo>
                    <a:lnTo>
                      <a:pt x="475" y="121"/>
                    </a:lnTo>
                    <a:lnTo>
                      <a:pt x="475" y="128"/>
                    </a:lnTo>
                    <a:lnTo>
                      <a:pt x="482" y="128"/>
                    </a:lnTo>
                    <a:lnTo>
                      <a:pt x="482" y="128"/>
                    </a:lnTo>
                    <a:lnTo>
                      <a:pt x="489" y="128"/>
                    </a:lnTo>
                    <a:lnTo>
                      <a:pt x="489" y="128"/>
                    </a:lnTo>
                    <a:lnTo>
                      <a:pt x="489" y="128"/>
                    </a:lnTo>
                    <a:lnTo>
                      <a:pt x="489" y="128"/>
                    </a:lnTo>
                    <a:lnTo>
                      <a:pt x="497" y="128"/>
                    </a:lnTo>
                    <a:lnTo>
                      <a:pt x="497" y="128"/>
                    </a:lnTo>
                    <a:lnTo>
                      <a:pt x="504" y="128"/>
                    </a:lnTo>
                    <a:lnTo>
                      <a:pt x="504" y="135"/>
                    </a:lnTo>
                    <a:lnTo>
                      <a:pt x="504" y="135"/>
                    </a:lnTo>
                    <a:lnTo>
                      <a:pt x="504" y="135"/>
                    </a:lnTo>
                    <a:lnTo>
                      <a:pt x="504" y="135"/>
                    </a:lnTo>
                    <a:lnTo>
                      <a:pt x="504" y="135"/>
                    </a:lnTo>
                    <a:lnTo>
                      <a:pt x="511" y="128"/>
                    </a:lnTo>
                    <a:lnTo>
                      <a:pt x="511" y="128"/>
                    </a:lnTo>
                    <a:lnTo>
                      <a:pt x="518" y="128"/>
                    </a:lnTo>
                    <a:lnTo>
                      <a:pt x="518" y="128"/>
                    </a:lnTo>
                    <a:lnTo>
                      <a:pt x="518" y="128"/>
                    </a:lnTo>
                    <a:lnTo>
                      <a:pt x="518" y="135"/>
                    </a:lnTo>
                    <a:lnTo>
                      <a:pt x="511" y="142"/>
                    </a:lnTo>
                    <a:lnTo>
                      <a:pt x="511" y="142"/>
                    </a:lnTo>
                    <a:lnTo>
                      <a:pt x="511" y="142"/>
                    </a:lnTo>
                    <a:lnTo>
                      <a:pt x="504" y="142"/>
                    </a:lnTo>
                    <a:lnTo>
                      <a:pt x="504" y="142"/>
                    </a:lnTo>
                    <a:lnTo>
                      <a:pt x="504" y="142"/>
                    </a:lnTo>
                    <a:lnTo>
                      <a:pt x="504" y="149"/>
                    </a:lnTo>
                    <a:lnTo>
                      <a:pt x="504" y="149"/>
                    </a:lnTo>
                    <a:lnTo>
                      <a:pt x="497" y="149"/>
                    </a:lnTo>
                    <a:lnTo>
                      <a:pt x="497" y="149"/>
                    </a:lnTo>
                    <a:lnTo>
                      <a:pt x="497" y="149"/>
                    </a:lnTo>
                    <a:lnTo>
                      <a:pt x="497" y="149"/>
                    </a:lnTo>
                    <a:lnTo>
                      <a:pt x="489" y="156"/>
                    </a:lnTo>
                    <a:lnTo>
                      <a:pt x="489" y="156"/>
                    </a:lnTo>
                    <a:lnTo>
                      <a:pt x="489" y="164"/>
                    </a:lnTo>
                    <a:lnTo>
                      <a:pt x="475" y="185"/>
                    </a:lnTo>
                    <a:lnTo>
                      <a:pt x="468" y="185"/>
                    </a:lnTo>
                    <a:lnTo>
                      <a:pt x="468" y="192"/>
                    </a:lnTo>
                    <a:lnTo>
                      <a:pt x="475" y="192"/>
                    </a:lnTo>
                    <a:lnTo>
                      <a:pt x="475" y="192"/>
                    </a:lnTo>
                    <a:lnTo>
                      <a:pt x="475" y="192"/>
                    </a:lnTo>
                    <a:lnTo>
                      <a:pt x="475" y="192"/>
                    </a:lnTo>
                    <a:lnTo>
                      <a:pt x="475" y="192"/>
                    </a:lnTo>
                    <a:lnTo>
                      <a:pt x="482" y="192"/>
                    </a:lnTo>
                    <a:lnTo>
                      <a:pt x="482" y="199"/>
                    </a:lnTo>
                    <a:lnTo>
                      <a:pt x="482" y="199"/>
                    </a:lnTo>
                    <a:lnTo>
                      <a:pt x="482" y="206"/>
                    </a:lnTo>
                    <a:lnTo>
                      <a:pt x="482" y="213"/>
                    </a:lnTo>
                    <a:lnTo>
                      <a:pt x="489" y="213"/>
                    </a:lnTo>
                    <a:lnTo>
                      <a:pt x="482" y="213"/>
                    </a:lnTo>
                    <a:lnTo>
                      <a:pt x="482" y="220"/>
                    </a:lnTo>
                    <a:lnTo>
                      <a:pt x="482" y="220"/>
                    </a:lnTo>
                    <a:lnTo>
                      <a:pt x="482" y="220"/>
                    </a:lnTo>
                    <a:lnTo>
                      <a:pt x="482" y="227"/>
                    </a:lnTo>
                    <a:lnTo>
                      <a:pt x="482" y="242"/>
                    </a:lnTo>
                    <a:lnTo>
                      <a:pt x="482" y="249"/>
                    </a:lnTo>
                    <a:lnTo>
                      <a:pt x="482" y="249"/>
                    </a:lnTo>
                    <a:lnTo>
                      <a:pt x="482" y="249"/>
                    </a:lnTo>
                    <a:lnTo>
                      <a:pt x="482" y="249"/>
                    </a:lnTo>
                    <a:lnTo>
                      <a:pt x="475" y="256"/>
                    </a:lnTo>
                    <a:lnTo>
                      <a:pt x="475" y="256"/>
                    </a:lnTo>
                    <a:lnTo>
                      <a:pt x="475" y="256"/>
                    </a:lnTo>
                    <a:lnTo>
                      <a:pt x="482" y="256"/>
                    </a:lnTo>
                    <a:lnTo>
                      <a:pt x="482" y="263"/>
                    </a:lnTo>
                    <a:lnTo>
                      <a:pt x="482" y="263"/>
                    </a:lnTo>
                    <a:lnTo>
                      <a:pt x="482" y="263"/>
                    </a:lnTo>
                    <a:lnTo>
                      <a:pt x="482" y="263"/>
                    </a:lnTo>
                    <a:lnTo>
                      <a:pt x="482" y="263"/>
                    </a:lnTo>
                    <a:lnTo>
                      <a:pt x="482" y="270"/>
                    </a:lnTo>
                    <a:lnTo>
                      <a:pt x="482" y="270"/>
                    </a:lnTo>
                    <a:lnTo>
                      <a:pt x="482" y="270"/>
                    </a:lnTo>
                    <a:lnTo>
                      <a:pt x="482" y="270"/>
                    </a:lnTo>
                    <a:lnTo>
                      <a:pt x="482" y="270"/>
                    </a:lnTo>
                    <a:lnTo>
                      <a:pt x="482" y="270"/>
                    </a:lnTo>
                    <a:lnTo>
                      <a:pt x="482" y="270"/>
                    </a:lnTo>
                    <a:lnTo>
                      <a:pt x="482" y="270"/>
                    </a:lnTo>
                    <a:lnTo>
                      <a:pt x="482" y="270"/>
                    </a:lnTo>
                    <a:lnTo>
                      <a:pt x="482" y="270"/>
                    </a:lnTo>
                    <a:lnTo>
                      <a:pt x="482" y="270"/>
                    </a:lnTo>
                    <a:lnTo>
                      <a:pt x="482" y="277"/>
                    </a:lnTo>
                    <a:lnTo>
                      <a:pt x="482" y="277"/>
                    </a:lnTo>
                    <a:lnTo>
                      <a:pt x="482" y="277"/>
                    </a:lnTo>
                    <a:lnTo>
                      <a:pt x="482" y="277"/>
                    </a:lnTo>
                    <a:lnTo>
                      <a:pt x="475" y="277"/>
                    </a:lnTo>
                    <a:lnTo>
                      <a:pt x="475" y="284"/>
                    </a:lnTo>
                    <a:lnTo>
                      <a:pt x="475" y="284"/>
                    </a:lnTo>
                    <a:lnTo>
                      <a:pt x="475" y="284"/>
                    </a:lnTo>
                    <a:lnTo>
                      <a:pt x="475" y="284"/>
                    </a:lnTo>
                    <a:lnTo>
                      <a:pt x="475" y="284"/>
                    </a:lnTo>
                    <a:lnTo>
                      <a:pt x="468" y="291"/>
                    </a:lnTo>
                    <a:lnTo>
                      <a:pt x="468" y="291"/>
                    </a:lnTo>
                    <a:lnTo>
                      <a:pt x="461" y="298"/>
                    </a:lnTo>
                    <a:lnTo>
                      <a:pt x="454" y="298"/>
                    </a:lnTo>
                    <a:lnTo>
                      <a:pt x="454" y="298"/>
                    </a:lnTo>
                    <a:lnTo>
                      <a:pt x="461" y="306"/>
                    </a:lnTo>
                    <a:lnTo>
                      <a:pt x="461" y="306"/>
                    </a:lnTo>
                    <a:lnTo>
                      <a:pt x="475" y="306"/>
                    </a:lnTo>
                    <a:lnTo>
                      <a:pt x="482" y="306"/>
                    </a:lnTo>
                    <a:lnTo>
                      <a:pt x="489" y="306"/>
                    </a:lnTo>
                    <a:lnTo>
                      <a:pt x="489" y="313"/>
                    </a:lnTo>
                    <a:lnTo>
                      <a:pt x="497" y="313"/>
                    </a:lnTo>
                    <a:lnTo>
                      <a:pt x="497" y="313"/>
                    </a:lnTo>
                    <a:lnTo>
                      <a:pt x="497" y="313"/>
                    </a:lnTo>
                    <a:lnTo>
                      <a:pt x="497" y="313"/>
                    </a:lnTo>
                    <a:lnTo>
                      <a:pt x="497" y="320"/>
                    </a:lnTo>
                    <a:lnTo>
                      <a:pt x="497" y="320"/>
                    </a:lnTo>
                    <a:lnTo>
                      <a:pt x="497" y="320"/>
                    </a:lnTo>
                    <a:lnTo>
                      <a:pt x="497" y="320"/>
                    </a:lnTo>
                    <a:lnTo>
                      <a:pt x="489" y="327"/>
                    </a:lnTo>
                    <a:lnTo>
                      <a:pt x="489" y="327"/>
                    </a:lnTo>
                    <a:lnTo>
                      <a:pt x="489" y="327"/>
                    </a:lnTo>
                    <a:lnTo>
                      <a:pt x="489" y="327"/>
                    </a:lnTo>
                    <a:lnTo>
                      <a:pt x="489" y="334"/>
                    </a:lnTo>
                    <a:lnTo>
                      <a:pt x="489" y="334"/>
                    </a:lnTo>
                    <a:lnTo>
                      <a:pt x="489" y="334"/>
                    </a:lnTo>
                    <a:lnTo>
                      <a:pt x="489" y="341"/>
                    </a:lnTo>
                    <a:lnTo>
                      <a:pt x="489" y="341"/>
                    </a:lnTo>
                    <a:lnTo>
                      <a:pt x="489" y="348"/>
                    </a:lnTo>
                    <a:lnTo>
                      <a:pt x="489" y="355"/>
                    </a:lnTo>
                    <a:lnTo>
                      <a:pt x="489" y="355"/>
                    </a:lnTo>
                    <a:lnTo>
                      <a:pt x="489" y="362"/>
                    </a:lnTo>
                    <a:lnTo>
                      <a:pt x="489" y="362"/>
                    </a:lnTo>
                    <a:lnTo>
                      <a:pt x="489" y="369"/>
                    </a:lnTo>
                    <a:lnTo>
                      <a:pt x="489" y="369"/>
                    </a:lnTo>
                    <a:lnTo>
                      <a:pt x="489" y="369"/>
                    </a:lnTo>
                    <a:lnTo>
                      <a:pt x="482" y="369"/>
                    </a:lnTo>
                    <a:lnTo>
                      <a:pt x="482" y="369"/>
                    </a:lnTo>
                    <a:lnTo>
                      <a:pt x="482" y="369"/>
                    </a:lnTo>
                    <a:lnTo>
                      <a:pt x="468" y="369"/>
                    </a:lnTo>
                    <a:lnTo>
                      <a:pt x="461" y="369"/>
                    </a:lnTo>
                    <a:lnTo>
                      <a:pt x="454" y="369"/>
                    </a:lnTo>
                    <a:lnTo>
                      <a:pt x="454" y="369"/>
                    </a:lnTo>
                    <a:lnTo>
                      <a:pt x="454" y="369"/>
                    </a:lnTo>
                    <a:lnTo>
                      <a:pt x="447" y="369"/>
                    </a:lnTo>
                    <a:lnTo>
                      <a:pt x="440" y="369"/>
                    </a:lnTo>
                    <a:lnTo>
                      <a:pt x="433" y="376"/>
                    </a:lnTo>
                    <a:lnTo>
                      <a:pt x="426" y="384"/>
                    </a:lnTo>
                    <a:lnTo>
                      <a:pt x="426" y="384"/>
                    </a:lnTo>
                    <a:lnTo>
                      <a:pt x="426" y="391"/>
                    </a:lnTo>
                    <a:lnTo>
                      <a:pt x="426" y="391"/>
                    </a:lnTo>
                    <a:lnTo>
                      <a:pt x="426" y="398"/>
                    </a:lnTo>
                    <a:lnTo>
                      <a:pt x="426" y="405"/>
                    </a:lnTo>
                    <a:lnTo>
                      <a:pt x="426" y="405"/>
                    </a:lnTo>
                    <a:lnTo>
                      <a:pt x="426" y="405"/>
                    </a:lnTo>
                    <a:lnTo>
                      <a:pt x="426" y="405"/>
                    </a:lnTo>
                    <a:lnTo>
                      <a:pt x="426" y="405"/>
                    </a:lnTo>
                    <a:lnTo>
                      <a:pt x="426" y="405"/>
                    </a:lnTo>
                    <a:lnTo>
                      <a:pt x="433" y="412"/>
                    </a:lnTo>
                    <a:lnTo>
                      <a:pt x="433" y="412"/>
                    </a:lnTo>
                    <a:lnTo>
                      <a:pt x="433" y="419"/>
                    </a:lnTo>
                    <a:lnTo>
                      <a:pt x="433" y="419"/>
                    </a:lnTo>
                    <a:lnTo>
                      <a:pt x="433" y="419"/>
                    </a:lnTo>
                    <a:lnTo>
                      <a:pt x="433" y="419"/>
                    </a:lnTo>
                    <a:lnTo>
                      <a:pt x="433" y="419"/>
                    </a:lnTo>
                    <a:lnTo>
                      <a:pt x="426" y="419"/>
                    </a:lnTo>
                    <a:lnTo>
                      <a:pt x="426" y="419"/>
                    </a:lnTo>
                    <a:lnTo>
                      <a:pt x="426" y="419"/>
                    </a:lnTo>
                    <a:lnTo>
                      <a:pt x="426" y="419"/>
                    </a:lnTo>
                    <a:lnTo>
                      <a:pt x="426" y="419"/>
                    </a:lnTo>
                    <a:lnTo>
                      <a:pt x="418" y="419"/>
                    </a:lnTo>
                    <a:lnTo>
                      <a:pt x="418" y="419"/>
                    </a:lnTo>
                    <a:lnTo>
                      <a:pt x="418" y="426"/>
                    </a:lnTo>
                    <a:lnTo>
                      <a:pt x="418" y="426"/>
                    </a:lnTo>
                    <a:lnTo>
                      <a:pt x="426" y="433"/>
                    </a:lnTo>
                    <a:lnTo>
                      <a:pt x="426" y="440"/>
                    </a:lnTo>
                    <a:lnTo>
                      <a:pt x="426" y="440"/>
                    </a:lnTo>
                    <a:lnTo>
                      <a:pt x="418" y="440"/>
                    </a:lnTo>
                    <a:lnTo>
                      <a:pt x="418" y="440"/>
                    </a:lnTo>
                    <a:lnTo>
                      <a:pt x="418" y="440"/>
                    </a:lnTo>
                    <a:lnTo>
                      <a:pt x="418" y="440"/>
                    </a:lnTo>
                    <a:lnTo>
                      <a:pt x="418" y="440"/>
                    </a:lnTo>
                    <a:lnTo>
                      <a:pt x="418" y="440"/>
                    </a:lnTo>
                    <a:lnTo>
                      <a:pt x="418" y="440"/>
                    </a:lnTo>
                    <a:lnTo>
                      <a:pt x="418" y="440"/>
                    </a:lnTo>
                    <a:lnTo>
                      <a:pt x="418" y="440"/>
                    </a:lnTo>
                    <a:lnTo>
                      <a:pt x="418" y="447"/>
                    </a:lnTo>
                    <a:lnTo>
                      <a:pt x="418" y="447"/>
                    </a:lnTo>
                    <a:lnTo>
                      <a:pt x="418" y="447"/>
                    </a:lnTo>
                    <a:lnTo>
                      <a:pt x="418" y="447"/>
                    </a:lnTo>
                    <a:lnTo>
                      <a:pt x="418" y="447"/>
                    </a:lnTo>
                    <a:lnTo>
                      <a:pt x="426" y="447"/>
                    </a:lnTo>
                    <a:lnTo>
                      <a:pt x="426" y="455"/>
                    </a:lnTo>
                    <a:lnTo>
                      <a:pt x="426" y="462"/>
                    </a:lnTo>
                    <a:lnTo>
                      <a:pt x="426" y="462"/>
                    </a:lnTo>
                    <a:lnTo>
                      <a:pt x="426" y="462"/>
                    </a:lnTo>
                    <a:lnTo>
                      <a:pt x="426" y="462"/>
                    </a:lnTo>
                    <a:lnTo>
                      <a:pt x="433" y="469"/>
                    </a:lnTo>
                    <a:lnTo>
                      <a:pt x="433" y="469"/>
                    </a:lnTo>
                    <a:lnTo>
                      <a:pt x="433" y="469"/>
                    </a:lnTo>
                    <a:lnTo>
                      <a:pt x="440" y="469"/>
                    </a:lnTo>
                    <a:lnTo>
                      <a:pt x="440" y="483"/>
                    </a:lnTo>
                    <a:lnTo>
                      <a:pt x="440" y="490"/>
                    </a:lnTo>
                    <a:lnTo>
                      <a:pt x="440" y="490"/>
                    </a:lnTo>
                    <a:lnTo>
                      <a:pt x="440" y="490"/>
                    </a:lnTo>
                    <a:lnTo>
                      <a:pt x="440" y="497"/>
                    </a:lnTo>
                    <a:lnTo>
                      <a:pt x="440" y="497"/>
                    </a:lnTo>
                    <a:lnTo>
                      <a:pt x="440" y="497"/>
                    </a:lnTo>
                    <a:lnTo>
                      <a:pt x="440" y="497"/>
                    </a:lnTo>
                    <a:lnTo>
                      <a:pt x="440" y="497"/>
                    </a:lnTo>
                    <a:lnTo>
                      <a:pt x="440" y="504"/>
                    </a:lnTo>
                    <a:lnTo>
                      <a:pt x="440" y="504"/>
                    </a:lnTo>
                    <a:lnTo>
                      <a:pt x="433" y="504"/>
                    </a:lnTo>
                    <a:lnTo>
                      <a:pt x="433" y="511"/>
                    </a:lnTo>
                    <a:lnTo>
                      <a:pt x="433" y="511"/>
                    </a:lnTo>
                    <a:lnTo>
                      <a:pt x="433" y="511"/>
                    </a:lnTo>
                    <a:lnTo>
                      <a:pt x="433" y="511"/>
                    </a:lnTo>
                    <a:lnTo>
                      <a:pt x="426" y="518"/>
                    </a:lnTo>
                    <a:lnTo>
                      <a:pt x="426" y="518"/>
                    </a:lnTo>
                    <a:lnTo>
                      <a:pt x="426" y="511"/>
                    </a:lnTo>
                    <a:lnTo>
                      <a:pt x="426" y="511"/>
                    </a:lnTo>
                    <a:lnTo>
                      <a:pt x="426" y="511"/>
                    </a:lnTo>
                    <a:lnTo>
                      <a:pt x="426" y="511"/>
                    </a:lnTo>
                    <a:lnTo>
                      <a:pt x="426" y="511"/>
                    </a:lnTo>
                    <a:lnTo>
                      <a:pt x="418" y="511"/>
                    </a:lnTo>
                    <a:lnTo>
                      <a:pt x="418" y="511"/>
                    </a:lnTo>
                    <a:lnTo>
                      <a:pt x="418" y="511"/>
                    </a:lnTo>
                    <a:lnTo>
                      <a:pt x="418" y="511"/>
                    </a:lnTo>
                    <a:lnTo>
                      <a:pt x="418" y="511"/>
                    </a:lnTo>
                    <a:lnTo>
                      <a:pt x="411" y="511"/>
                    </a:lnTo>
                    <a:lnTo>
                      <a:pt x="411" y="511"/>
                    </a:lnTo>
                    <a:lnTo>
                      <a:pt x="411" y="511"/>
                    </a:lnTo>
                    <a:lnTo>
                      <a:pt x="411" y="511"/>
                    </a:lnTo>
                    <a:lnTo>
                      <a:pt x="404" y="511"/>
                    </a:lnTo>
                    <a:lnTo>
                      <a:pt x="404" y="511"/>
                    </a:lnTo>
                    <a:lnTo>
                      <a:pt x="390" y="504"/>
                    </a:lnTo>
                    <a:lnTo>
                      <a:pt x="390" y="504"/>
                    </a:lnTo>
                    <a:lnTo>
                      <a:pt x="383" y="504"/>
                    </a:lnTo>
                    <a:lnTo>
                      <a:pt x="383" y="511"/>
                    </a:lnTo>
                    <a:lnTo>
                      <a:pt x="383" y="511"/>
                    </a:lnTo>
                    <a:lnTo>
                      <a:pt x="383" y="511"/>
                    </a:lnTo>
                    <a:lnTo>
                      <a:pt x="383" y="511"/>
                    </a:lnTo>
                    <a:lnTo>
                      <a:pt x="383" y="511"/>
                    </a:lnTo>
                    <a:lnTo>
                      <a:pt x="383" y="518"/>
                    </a:lnTo>
                    <a:lnTo>
                      <a:pt x="383" y="518"/>
                    </a:lnTo>
                    <a:lnTo>
                      <a:pt x="383" y="518"/>
                    </a:lnTo>
                    <a:lnTo>
                      <a:pt x="383" y="518"/>
                    </a:lnTo>
                    <a:lnTo>
                      <a:pt x="383" y="518"/>
                    </a:lnTo>
                    <a:lnTo>
                      <a:pt x="390" y="518"/>
                    </a:lnTo>
                    <a:lnTo>
                      <a:pt x="390" y="518"/>
                    </a:lnTo>
                    <a:lnTo>
                      <a:pt x="390" y="526"/>
                    </a:lnTo>
                    <a:lnTo>
                      <a:pt x="390" y="526"/>
                    </a:lnTo>
                    <a:lnTo>
                      <a:pt x="390" y="526"/>
                    </a:lnTo>
                    <a:lnTo>
                      <a:pt x="390" y="526"/>
                    </a:lnTo>
                    <a:lnTo>
                      <a:pt x="397" y="526"/>
                    </a:lnTo>
                    <a:lnTo>
                      <a:pt x="397" y="526"/>
                    </a:lnTo>
                    <a:lnTo>
                      <a:pt x="397" y="526"/>
                    </a:lnTo>
                    <a:lnTo>
                      <a:pt x="397" y="526"/>
                    </a:lnTo>
                    <a:lnTo>
                      <a:pt x="397" y="533"/>
                    </a:lnTo>
                    <a:lnTo>
                      <a:pt x="397" y="533"/>
                    </a:lnTo>
                    <a:lnTo>
                      <a:pt x="397" y="540"/>
                    </a:lnTo>
                    <a:lnTo>
                      <a:pt x="390" y="547"/>
                    </a:lnTo>
                    <a:lnTo>
                      <a:pt x="390" y="547"/>
                    </a:lnTo>
                    <a:lnTo>
                      <a:pt x="390" y="547"/>
                    </a:lnTo>
                    <a:lnTo>
                      <a:pt x="390" y="547"/>
                    </a:lnTo>
                    <a:lnTo>
                      <a:pt x="390" y="547"/>
                    </a:lnTo>
                    <a:lnTo>
                      <a:pt x="390" y="547"/>
                    </a:lnTo>
                    <a:lnTo>
                      <a:pt x="390" y="554"/>
                    </a:lnTo>
                    <a:lnTo>
                      <a:pt x="390" y="554"/>
                    </a:lnTo>
                    <a:lnTo>
                      <a:pt x="390" y="561"/>
                    </a:lnTo>
                    <a:lnTo>
                      <a:pt x="390" y="561"/>
                    </a:lnTo>
                    <a:lnTo>
                      <a:pt x="383" y="561"/>
                    </a:lnTo>
                    <a:lnTo>
                      <a:pt x="383" y="568"/>
                    </a:lnTo>
                    <a:lnTo>
                      <a:pt x="383" y="568"/>
                    </a:lnTo>
                    <a:lnTo>
                      <a:pt x="383" y="575"/>
                    </a:lnTo>
                    <a:lnTo>
                      <a:pt x="383" y="575"/>
                    </a:lnTo>
                    <a:lnTo>
                      <a:pt x="390" y="582"/>
                    </a:lnTo>
                    <a:lnTo>
                      <a:pt x="390" y="582"/>
                    </a:lnTo>
                    <a:lnTo>
                      <a:pt x="390" y="582"/>
                    </a:lnTo>
                    <a:lnTo>
                      <a:pt x="390" y="582"/>
                    </a:lnTo>
                    <a:lnTo>
                      <a:pt x="390" y="582"/>
                    </a:lnTo>
                    <a:lnTo>
                      <a:pt x="390" y="582"/>
                    </a:lnTo>
                    <a:lnTo>
                      <a:pt x="390" y="589"/>
                    </a:lnTo>
                    <a:lnTo>
                      <a:pt x="397" y="589"/>
                    </a:lnTo>
                    <a:lnTo>
                      <a:pt x="397" y="589"/>
                    </a:lnTo>
                    <a:lnTo>
                      <a:pt x="397" y="597"/>
                    </a:lnTo>
                    <a:lnTo>
                      <a:pt x="397" y="597"/>
                    </a:lnTo>
                    <a:lnTo>
                      <a:pt x="397" y="597"/>
                    </a:lnTo>
                    <a:lnTo>
                      <a:pt x="397" y="597"/>
                    </a:lnTo>
                    <a:lnTo>
                      <a:pt x="397" y="597"/>
                    </a:lnTo>
                    <a:lnTo>
                      <a:pt x="404" y="597"/>
                    </a:lnTo>
                    <a:lnTo>
                      <a:pt x="404" y="589"/>
                    </a:lnTo>
                    <a:lnTo>
                      <a:pt x="404" y="589"/>
                    </a:lnTo>
                    <a:lnTo>
                      <a:pt x="404" y="597"/>
                    </a:lnTo>
                    <a:lnTo>
                      <a:pt x="411" y="597"/>
                    </a:lnTo>
                    <a:lnTo>
                      <a:pt x="411" y="597"/>
                    </a:lnTo>
                    <a:lnTo>
                      <a:pt x="411" y="597"/>
                    </a:lnTo>
                    <a:lnTo>
                      <a:pt x="411" y="597"/>
                    </a:lnTo>
                    <a:lnTo>
                      <a:pt x="411" y="597"/>
                    </a:lnTo>
                    <a:lnTo>
                      <a:pt x="411" y="597"/>
                    </a:lnTo>
                    <a:lnTo>
                      <a:pt x="411" y="597"/>
                    </a:lnTo>
                    <a:lnTo>
                      <a:pt x="411" y="604"/>
                    </a:lnTo>
                    <a:lnTo>
                      <a:pt x="411" y="604"/>
                    </a:lnTo>
                    <a:lnTo>
                      <a:pt x="411" y="604"/>
                    </a:lnTo>
                    <a:lnTo>
                      <a:pt x="411" y="604"/>
                    </a:lnTo>
                    <a:lnTo>
                      <a:pt x="411" y="604"/>
                    </a:lnTo>
                    <a:lnTo>
                      <a:pt x="404" y="604"/>
                    </a:lnTo>
                    <a:lnTo>
                      <a:pt x="404" y="604"/>
                    </a:lnTo>
                    <a:lnTo>
                      <a:pt x="404" y="604"/>
                    </a:lnTo>
                    <a:lnTo>
                      <a:pt x="404" y="604"/>
                    </a:lnTo>
                    <a:lnTo>
                      <a:pt x="404" y="604"/>
                    </a:lnTo>
                    <a:lnTo>
                      <a:pt x="404" y="604"/>
                    </a:lnTo>
                    <a:lnTo>
                      <a:pt x="404" y="604"/>
                    </a:lnTo>
                    <a:lnTo>
                      <a:pt x="404" y="611"/>
                    </a:lnTo>
                    <a:lnTo>
                      <a:pt x="404" y="611"/>
                    </a:lnTo>
                    <a:lnTo>
                      <a:pt x="404" y="611"/>
                    </a:lnTo>
                    <a:lnTo>
                      <a:pt x="404" y="611"/>
                    </a:lnTo>
                    <a:lnTo>
                      <a:pt x="404" y="611"/>
                    </a:lnTo>
                    <a:lnTo>
                      <a:pt x="404" y="618"/>
                    </a:lnTo>
                    <a:lnTo>
                      <a:pt x="404" y="618"/>
                    </a:lnTo>
                    <a:lnTo>
                      <a:pt x="404" y="618"/>
                    </a:lnTo>
                    <a:lnTo>
                      <a:pt x="411" y="618"/>
                    </a:lnTo>
                    <a:lnTo>
                      <a:pt x="411" y="618"/>
                    </a:lnTo>
                    <a:lnTo>
                      <a:pt x="411" y="618"/>
                    </a:lnTo>
                    <a:lnTo>
                      <a:pt x="411" y="625"/>
                    </a:lnTo>
                    <a:lnTo>
                      <a:pt x="411" y="625"/>
                    </a:lnTo>
                    <a:lnTo>
                      <a:pt x="411" y="625"/>
                    </a:lnTo>
                    <a:lnTo>
                      <a:pt x="411" y="625"/>
                    </a:lnTo>
                    <a:lnTo>
                      <a:pt x="411" y="625"/>
                    </a:lnTo>
                    <a:lnTo>
                      <a:pt x="418" y="632"/>
                    </a:lnTo>
                    <a:lnTo>
                      <a:pt x="426" y="632"/>
                    </a:lnTo>
                    <a:lnTo>
                      <a:pt x="426" y="632"/>
                    </a:lnTo>
                    <a:lnTo>
                      <a:pt x="433" y="632"/>
                    </a:lnTo>
                    <a:lnTo>
                      <a:pt x="433" y="632"/>
                    </a:lnTo>
                    <a:lnTo>
                      <a:pt x="433" y="632"/>
                    </a:lnTo>
                    <a:lnTo>
                      <a:pt x="433" y="632"/>
                    </a:lnTo>
                    <a:lnTo>
                      <a:pt x="433" y="632"/>
                    </a:lnTo>
                    <a:lnTo>
                      <a:pt x="433" y="625"/>
                    </a:lnTo>
                    <a:lnTo>
                      <a:pt x="433" y="625"/>
                    </a:lnTo>
                    <a:lnTo>
                      <a:pt x="433" y="625"/>
                    </a:lnTo>
                    <a:lnTo>
                      <a:pt x="433" y="625"/>
                    </a:lnTo>
                    <a:lnTo>
                      <a:pt x="440" y="618"/>
                    </a:lnTo>
                    <a:lnTo>
                      <a:pt x="440" y="618"/>
                    </a:lnTo>
                    <a:lnTo>
                      <a:pt x="440" y="618"/>
                    </a:lnTo>
                    <a:lnTo>
                      <a:pt x="440" y="611"/>
                    </a:lnTo>
                    <a:lnTo>
                      <a:pt x="447" y="618"/>
                    </a:lnTo>
                    <a:lnTo>
                      <a:pt x="447" y="618"/>
                    </a:lnTo>
                    <a:lnTo>
                      <a:pt x="447" y="618"/>
                    </a:lnTo>
                    <a:lnTo>
                      <a:pt x="447" y="618"/>
                    </a:lnTo>
                    <a:lnTo>
                      <a:pt x="454" y="618"/>
                    </a:lnTo>
                    <a:lnTo>
                      <a:pt x="454" y="618"/>
                    </a:lnTo>
                    <a:lnTo>
                      <a:pt x="461" y="618"/>
                    </a:lnTo>
                    <a:lnTo>
                      <a:pt x="461" y="618"/>
                    </a:lnTo>
                    <a:lnTo>
                      <a:pt x="461" y="618"/>
                    </a:lnTo>
                    <a:lnTo>
                      <a:pt x="461" y="618"/>
                    </a:lnTo>
                    <a:lnTo>
                      <a:pt x="461" y="618"/>
                    </a:lnTo>
                    <a:lnTo>
                      <a:pt x="461" y="618"/>
                    </a:lnTo>
                    <a:lnTo>
                      <a:pt x="461" y="618"/>
                    </a:lnTo>
                    <a:lnTo>
                      <a:pt x="461" y="618"/>
                    </a:lnTo>
                    <a:lnTo>
                      <a:pt x="468" y="625"/>
                    </a:lnTo>
                    <a:lnTo>
                      <a:pt x="468" y="625"/>
                    </a:lnTo>
                    <a:lnTo>
                      <a:pt x="468" y="625"/>
                    </a:lnTo>
                    <a:lnTo>
                      <a:pt x="475" y="625"/>
                    </a:lnTo>
                    <a:lnTo>
                      <a:pt x="475" y="632"/>
                    </a:lnTo>
                    <a:lnTo>
                      <a:pt x="475" y="632"/>
                    </a:lnTo>
                    <a:lnTo>
                      <a:pt x="475" y="632"/>
                    </a:lnTo>
                    <a:lnTo>
                      <a:pt x="482" y="632"/>
                    </a:lnTo>
                    <a:lnTo>
                      <a:pt x="482" y="625"/>
                    </a:lnTo>
                    <a:lnTo>
                      <a:pt x="482" y="625"/>
                    </a:lnTo>
                    <a:lnTo>
                      <a:pt x="475" y="625"/>
                    </a:lnTo>
                    <a:lnTo>
                      <a:pt x="475" y="618"/>
                    </a:lnTo>
                    <a:lnTo>
                      <a:pt x="475" y="618"/>
                    </a:lnTo>
                    <a:lnTo>
                      <a:pt x="475" y="618"/>
                    </a:lnTo>
                    <a:lnTo>
                      <a:pt x="475" y="618"/>
                    </a:lnTo>
                    <a:lnTo>
                      <a:pt x="475" y="618"/>
                    </a:lnTo>
                    <a:lnTo>
                      <a:pt x="475" y="618"/>
                    </a:lnTo>
                    <a:lnTo>
                      <a:pt x="475" y="618"/>
                    </a:lnTo>
                    <a:lnTo>
                      <a:pt x="482" y="618"/>
                    </a:lnTo>
                    <a:lnTo>
                      <a:pt x="482" y="618"/>
                    </a:lnTo>
                    <a:lnTo>
                      <a:pt x="482" y="618"/>
                    </a:lnTo>
                    <a:lnTo>
                      <a:pt x="482" y="618"/>
                    </a:lnTo>
                    <a:lnTo>
                      <a:pt x="482" y="618"/>
                    </a:lnTo>
                    <a:lnTo>
                      <a:pt x="482" y="618"/>
                    </a:lnTo>
                    <a:lnTo>
                      <a:pt x="482" y="618"/>
                    </a:lnTo>
                    <a:lnTo>
                      <a:pt x="482" y="618"/>
                    </a:lnTo>
                    <a:lnTo>
                      <a:pt x="482" y="618"/>
                    </a:lnTo>
                    <a:lnTo>
                      <a:pt x="489" y="625"/>
                    </a:lnTo>
                    <a:lnTo>
                      <a:pt x="489" y="625"/>
                    </a:lnTo>
                    <a:lnTo>
                      <a:pt x="489" y="625"/>
                    </a:lnTo>
                    <a:lnTo>
                      <a:pt x="489" y="625"/>
                    </a:lnTo>
                    <a:lnTo>
                      <a:pt x="489" y="625"/>
                    </a:lnTo>
                    <a:lnTo>
                      <a:pt x="489" y="625"/>
                    </a:lnTo>
                    <a:lnTo>
                      <a:pt x="489" y="632"/>
                    </a:lnTo>
                    <a:lnTo>
                      <a:pt x="489" y="632"/>
                    </a:lnTo>
                    <a:lnTo>
                      <a:pt x="489" y="632"/>
                    </a:lnTo>
                    <a:lnTo>
                      <a:pt x="489" y="639"/>
                    </a:lnTo>
                    <a:lnTo>
                      <a:pt x="489" y="639"/>
                    </a:lnTo>
                    <a:lnTo>
                      <a:pt x="489" y="639"/>
                    </a:lnTo>
                    <a:lnTo>
                      <a:pt x="489" y="639"/>
                    </a:lnTo>
                    <a:lnTo>
                      <a:pt x="489" y="639"/>
                    </a:lnTo>
                    <a:lnTo>
                      <a:pt x="489" y="639"/>
                    </a:lnTo>
                    <a:lnTo>
                      <a:pt x="482" y="639"/>
                    </a:lnTo>
                    <a:lnTo>
                      <a:pt x="482" y="639"/>
                    </a:lnTo>
                    <a:lnTo>
                      <a:pt x="475" y="639"/>
                    </a:lnTo>
                    <a:lnTo>
                      <a:pt x="475" y="639"/>
                    </a:lnTo>
                    <a:lnTo>
                      <a:pt x="475" y="646"/>
                    </a:lnTo>
                    <a:lnTo>
                      <a:pt x="468" y="646"/>
                    </a:lnTo>
                    <a:lnTo>
                      <a:pt x="468" y="646"/>
                    </a:lnTo>
                    <a:lnTo>
                      <a:pt x="468" y="646"/>
                    </a:lnTo>
                    <a:lnTo>
                      <a:pt x="468" y="646"/>
                    </a:lnTo>
                    <a:lnTo>
                      <a:pt x="475" y="646"/>
                    </a:lnTo>
                    <a:lnTo>
                      <a:pt x="475" y="646"/>
                    </a:lnTo>
                    <a:lnTo>
                      <a:pt x="475" y="646"/>
                    </a:lnTo>
                    <a:lnTo>
                      <a:pt x="475" y="646"/>
                    </a:lnTo>
                    <a:lnTo>
                      <a:pt x="475" y="653"/>
                    </a:lnTo>
                    <a:lnTo>
                      <a:pt x="475" y="653"/>
                    </a:lnTo>
                    <a:lnTo>
                      <a:pt x="468" y="653"/>
                    </a:lnTo>
                    <a:lnTo>
                      <a:pt x="468" y="660"/>
                    </a:lnTo>
                    <a:lnTo>
                      <a:pt x="468" y="660"/>
                    </a:lnTo>
                    <a:lnTo>
                      <a:pt x="468" y="660"/>
                    </a:lnTo>
                    <a:lnTo>
                      <a:pt x="475" y="660"/>
                    </a:lnTo>
                    <a:lnTo>
                      <a:pt x="475" y="660"/>
                    </a:lnTo>
                    <a:lnTo>
                      <a:pt x="475" y="660"/>
                    </a:lnTo>
                    <a:lnTo>
                      <a:pt x="475" y="668"/>
                    </a:lnTo>
                    <a:lnTo>
                      <a:pt x="475" y="668"/>
                    </a:lnTo>
                    <a:lnTo>
                      <a:pt x="475" y="668"/>
                    </a:lnTo>
                    <a:lnTo>
                      <a:pt x="475" y="668"/>
                    </a:lnTo>
                    <a:lnTo>
                      <a:pt x="475" y="668"/>
                    </a:lnTo>
                    <a:lnTo>
                      <a:pt x="482" y="668"/>
                    </a:lnTo>
                    <a:lnTo>
                      <a:pt x="482" y="668"/>
                    </a:lnTo>
                    <a:lnTo>
                      <a:pt x="482" y="675"/>
                    </a:lnTo>
                    <a:lnTo>
                      <a:pt x="482" y="675"/>
                    </a:lnTo>
                    <a:lnTo>
                      <a:pt x="482" y="675"/>
                    </a:lnTo>
                    <a:lnTo>
                      <a:pt x="482" y="675"/>
                    </a:lnTo>
                    <a:lnTo>
                      <a:pt x="482" y="682"/>
                    </a:lnTo>
                    <a:lnTo>
                      <a:pt x="482" y="682"/>
                    </a:lnTo>
                    <a:lnTo>
                      <a:pt x="482" y="682"/>
                    </a:lnTo>
                    <a:lnTo>
                      <a:pt x="482" y="682"/>
                    </a:lnTo>
                    <a:lnTo>
                      <a:pt x="482" y="682"/>
                    </a:lnTo>
                    <a:lnTo>
                      <a:pt x="475" y="682"/>
                    </a:lnTo>
                    <a:lnTo>
                      <a:pt x="475" y="682"/>
                    </a:lnTo>
                    <a:lnTo>
                      <a:pt x="475" y="682"/>
                    </a:lnTo>
                    <a:lnTo>
                      <a:pt x="475" y="682"/>
                    </a:lnTo>
                    <a:lnTo>
                      <a:pt x="468" y="682"/>
                    </a:lnTo>
                    <a:lnTo>
                      <a:pt x="468" y="675"/>
                    </a:lnTo>
                    <a:lnTo>
                      <a:pt x="468" y="675"/>
                    </a:lnTo>
                    <a:lnTo>
                      <a:pt x="468" y="675"/>
                    </a:lnTo>
                    <a:lnTo>
                      <a:pt x="468" y="675"/>
                    </a:lnTo>
                    <a:lnTo>
                      <a:pt x="468" y="668"/>
                    </a:lnTo>
                    <a:lnTo>
                      <a:pt x="468" y="668"/>
                    </a:lnTo>
                    <a:lnTo>
                      <a:pt x="468" y="668"/>
                    </a:lnTo>
                    <a:lnTo>
                      <a:pt x="468" y="668"/>
                    </a:lnTo>
                    <a:lnTo>
                      <a:pt x="468" y="660"/>
                    </a:lnTo>
                    <a:lnTo>
                      <a:pt x="461" y="660"/>
                    </a:lnTo>
                    <a:lnTo>
                      <a:pt x="461" y="660"/>
                    </a:lnTo>
                    <a:lnTo>
                      <a:pt x="461" y="660"/>
                    </a:lnTo>
                    <a:lnTo>
                      <a:pt x="461" y="660"/>
                    </a:lnTo>
                    <a:lnTo>
                      <a:pt x="461" y="660"/>
                    </a:lnTo>
                    <a:lnTo>
                      <a:pt x="447" y="668"/>
                    </a:lnTo>
                    <a:lnTo>
                      <a:pt x="447" y="668"/>
                    </a:lnTo>
                    <a:lnTo>
                      <a:pt x="447" y="668"/>
                    </a:lnTo>
                    <a:lnTo>
                      <a:pt x="440" y="668"/>
                    </a:lnTo>
                    <a:lnTo>
                      <a:pt x="440" y="668"/>
                    </a:lnTo>
                    <a:lnTo>
                      <a:pt x="440" y="668"/>
                    </a:lnTo>
                    <a:lnTo>
                      <a:pt x="440" y="660"/>
                    </a:lnTo>
                    <a:lnTo>
                      <a:pt x="433" y="660"/>
                    </a:lnTo>
                    <a:lnTo>
                      <a:pt x="433" y="660"/>
                    </a:lnTo>
                    <a:lnTo>
                      <a:pt x="433" y="660"/>
                    </a:lnTo>
                    <a:lnTo>
                      <a:pt x="433" y="660"/>
                    </a:lnTo>
                    <a:lnTo>
                      <a:pt x="426" y="660"/>
                    </a:lnTo>
                    <a:lnTo>
                      <a:pt x="426" y="660"/>
                    </a:lnTo>
                    <a:lnTo>
                      <a:pt x="426" y="660"/>
                    </a:lnTo>
                    <a:lnTo>
                      <a:pt x="426" y="653"/>
                    </a:lnTo>
                    <a:lnTo>
                      <a:pt x="426" y="653"/>
                    </a:lnTo>
                    <a:lnTo>
                      <a:pt x="418" y="653"/>
                    </a:lnTo>
                    <a:lnTo>
                      <a:pt x="418" y="653"/>
                    </a:lnTo>
                    <a:lnTo>
                      <a:pt x="418" y="653"/>
                    </a:lnTo>
                    <a:lnTo>
                      <a:pt x="418" y="639"/>
                    </a:lnTo>
                    <a:lnTo>
                      <a:pt x="418" y="639"/>
                    </a:lnTo>
                    <a:lnTo>
                      <a:pt x="418" y="639"/>
                    </a:lnTo>
                    <a:lnTo>
                      <a:pt x="418" y="639"/>
                    </a:lnTo>
                    <a:lnTo>
                      <a:pt x="418" y="639"/>
                    </a:lnTo>
                    <a:lnTo>
                      <a:pt x="418" y="639"/>
                    </a:lnTo>
                    <a:lnTo>
                      <a:pt x="418" y="639"/>
                    </a:lnTo>
                    <a:lnTo>
                      <a:pt x="411" y="639"/>
                    </a:lnTo>
                    <a:lnTo>
                      <a:pt x="411" y="639"/>
                    </a:lnTo>
                    <a:lnTo>
                      <a:pt x="411" y="639"/>
                    </a:lnTo>
                    <a:lnTo>
                      <a:pt x="411" y="639"/>
                    </a:lnTo>
                    <a:lnTo>
                      <a:pt x="411" y="639"/>
                    </a:lnTo>
                    <a:lnTo>
                      <a:pt x="411" y="639"/>
                    </a:lnTo>
                    <a:lnTo>
                      <a:pt x="411" y="639"/>
                    </a:lnTo>
                    <a:lnTo>
                      <a:pt x="411" y="639"/>
                    </a:lnTo>
                    <a:lnTo>
                      <a:pt x="411" y="639"/>
                    </a:lnTo>
                    <a:lnTo>
                      <a:pt x="404" y="639"/>
                    </a:lnTo>
                    <a:lnTo>
                      <a:pt x="404" y="639"/>
                    </a:lnTo>
                    <a:lnTo>
                      <a:pt x="404" y="646"/>
                    </a:lnTo>
                    <a:lnTo>
                      <a:pt x="404" y="646"/>
                    </a:lnTo>
                    <a:lnTo>
                      <a:pt x="404" y="646"/>
                    </a:lnTo>
                    <a:lnTo>
                      <a:pt x="411" y="653"/>
                    </a:lnTo>
                    <a:lnTo>
                      <a:pt x="411" y="653"/>
                    </a:lnTo>
                    <a:lnTo>
                      <a:pt x="411" y="653"/>
                    </a:lnTo>
                    <a:lnTo>
                      <a:pt x="411" y="660"/>
                    </a:lnTo>
                    <a:lnTo>
                      <a:pt x="411" y="660"/>
                    </a:lnTo>
                    <a:lnTo>
                      <a:pt x="411" y="660"/>
                    </a:lnTo>
                    <a:lnTo>
                      <a:pt x="411" y="660"/>
                    </a:lnTo>
                    <a:lnTo>
                      <a:pt x="411" y="668"/>
                    </a:lnTo>
                    <a:lnTo>
                      <a:pt x="411" y="668"/>
                    </a:lnTo>
                    <a:lnTo>
                      <a:pt x="418" y="668"/>
                    </a:lnTo>
                    <a:lnTo>
                      <a:pt x="418" y="668"/>
                    </a:lnTo>
                    <a:lnTo>
                      <a:pt x="418" y="668"/>
                    </a:lnTo>
                    <a:lnTo>
                      <a:pt x="418" y="675"/>
                    </a:lnTo>
                    <a:lnTo>
                      <a:pt x="418" y="675"/>
                    </a:lnTo>
                    <a:lnTo>
                      <a:pt x="426" y="675"/>
                    </a:lnTo>
                    <a:lnTo>
                      <a:pt x="426" y="675"/>
                    </a:lnTo>
                    <a:lnTo>
                      <a:pt x="426" y="682"/>
                    </a:lnTo>
                    <a:lnTo>
                      <a:pt x="426" y="682"/>
                    </a:lnTo>
                    <a:lnTo>
                      <a:pt x="426" y="682"/>
                    </a:lnTo>
                    <a:lnTo>
                      <a:pt x="426" y="682"/>
                    </a:lnTo>
                    <a:lnTo>
                      <a:pt x="426" y="682"/>
                    </a:lnTo>
                    <a:lnTo>
                      <a:pt x="426" y="682"/>
                    </a:lnTo>
                    <a:lnTo>
                      <a:pt x="426" y="682"/>
                    </a:lnTo>
                    <a:lnTo>
                      <a:pt x="418" y="682"/>
                    </a:lnTo>
                    <a:lnTo>
                      <a:pt x="418" y="689"/>
                    </a:lnTo>
                    <a:lnTo>
                      <a:pt x="418" y="689"/>
                    </a:lnTo>
                    <a:lnTo>
                      <a:pt x="418" y="689"/>
                    </a:lnTo>
                    <a:lnTo>
                      <a:pt x="418" y="689"/>
                    </a:lnTo>
                    <a:lnTo>
                      <a:pt x="418" y="689"/>
                    </a:lnTo>
                    <a:lnTo>
                      <a:pt x="418" y="696"/>
                    </a:lnTo>
                    <a:lnTo>
                      <a:pt x="418" y="696"/>
                    </a:lnTo>
                    <a:lnTo>
                      <a:pt x="418" y="696"/>
                    </a:lnTo>
                    <a:lnTo>
                      <a:pt x="418" y="703"/>
                    </a:lnTo>
                    <a:lnTo>
                      <a:pt x="418" y="703"/>
                    </a:lnTo>
                    <a:lnTo>
                      <a:pt x="418" y="703"/>
                    </a:lnTo>
                    <a:lnTo>
                      <a:pt x="418" y="703"/>
                    </a:lnTo>
                    <a:lnTo>
                      <a:pt x="418" y="703"/>
                    </a:lnTo>
                    <a:lnTo>
                      <a:pt x="418" y="703"/>
                    </a:lnTo>
                    <a:lnTo>
                      <a:pt x="426" y="703"/>
                    </a:lnTo>
                    <a:lnTo>
                      <a:pt x="426" y="696"/>
                    </a:lnTo>
                    <a:lnTo>
                      <a:pt x="426" y="696"/>
                    </a:lnTo>
                    <a:lnTo>
                      <a:pt x="426" y="696"/>
                    </a:lnTo>
                    <a:lnTo>
                      <a:pt x="426" y="696"/>
                    </a:lnTo>
                    <a:lnTo>
                      <a:pt x="426" y="703"/>
                    </a:lnTo>
                    <a:lnTo>
                      <a:pt x="426" y="703"/>
                    </a:lnTo>
                    <a:lnTo>
                      <a:pt x="426" y="703"/>
                    </a:lnTo>
                    <a:lnTo>
                      <a:pt x="426" y="703"/>
                    </a:lnTo>
                    <a:lnTo>
                      <a:pt x="433" y="703"/>
                    </a:lnTo>
                    <a:lnTo>
                      <a:pt x="433" y="703"/>
                    </a:lnTo>
                    <a:lnTo>
                      <a:pt x="433" y="703"/>
                    </a:lnTo>
                    <a:lnTo>
                      <a:pt x="433" y="703"/>
                    </a:lnTo>
                    <a:lnTo>
                      <a:pt x="433" y="703"/>
                    </a:lnTo>
                    <a:lnTo>
                      <a:pt x="433" y="703"/>
                    </a:lnTo>
                    <a:lnTo>
                      <a:pt x="433" y="703"/>
                    </a:lnTo>
                    <a:lnTo>
                      <a:pt x="440" y="703"/>
                    </a:lnTo>
                    <a:lnTo>
                      <a:pt x="440" y="703"/>
                    </a:lnTo>
                    <a:lnTo>
                      <a:pt x="440" y="703"/>
                    </a:lnTo>
                    <a:lnTo>
                      <a:pt x="440" y="703"/>
                    </a:lnTo>
                    <a:lnTo>
                      <a:pt x="440" y="703"/>
                    </a:lnTo>
                    <a:lnTo>
                      <a:pt x="440" y="703"/>
                    </a:lnTo>
                    <a:lnTo>
                      <a:pt x="440" y="696"/>
                    </a:lnTo>
                    <a:lnTo>
                      <a:pt x="440" y="696"/>
                    </a:lnTo>
                    <a:lnTo>
                      <a:pt x="440" y="696"/>
                    </a:lnTo>
                    <a:lnTo>
                      <a:pt x="440" y="696"/>
                    </a:lnTo>
                    <a:lnTo>
                      <a:pt x="440" y="689"/>
                    </a:lnTo>
                    <a:lnTo>
                      <a:pt x="440" y="689"/>
                    </a:lnTo>
                    <a:lnTo>
                      <a:pt x="440" y="689"/>
                    </a:lnTo>
                    <a:lnTo>
                      <a:pt x="440" y="689"/>
                    </a:lnTo>
                    <a:lnTo>
                      <a:pt x="440" y="689"/>
                    </a:lnTo>
                    <a:lnTo>
                      <a:pt x="440" y="689"/>
                    </a:lnTo>
                    <a:lnTo>
                      <a:pt x="440" y="689"/>
                    </a:lnTo>
                    <a:lnTo>
                      <a:pt x="440" y="689"/>
                    </a:lnTo>
                    <a:lnTo>
                      <a:pt x="440" y="689"/>
                    </a:lnTo>
                    <a:lnTo>
                      <a:pt x="440" y="689"/>
                    </a:lnTo>
                    <a:lnTo>
                      <a:pt x="440" y="682"/>
                    </a:lnTo>
                    <a:lnTo>
                      <a:pt x="440" y="682"/>
                    </a:lnTo>
                    <a:lnTo>
                      <a:pt x="440" y="682"/>
                    </a:lnTo>
                    <a:lnTo>
                      <a:pt x="440" y="682"/>
                    </a:lnTo>
                    <a:lnTo>
                      <a:pt x="440" y="682"/>
                    </a:lnTo>
                    <a:lnTo>
                      <a:pt x="440" y="682"/>
                    </a:lnTo>
                    <a:lnTo>
                      <a:pt x="440" y="682"/>
                    </a:lnTo>
                    <a:lnTo>
                      <a:pt x="440" y="682"/>
                    </a:lnTo>
                    <a:lnTo>
                      <a:pt x="447" y="682"/>
                    </a:lnTo>
                    <a:lnTo>
                      <a:pt x="447" y="682"/>
                    </a:lnTo>
                    <a:lnTo>
                      <a:pt x="447" y="682"/>
                    </a:lnTo>
                    <a:lnTo>
                      <a:pt x="447" y="682"/>
                    </a:lnTo>
                    <a:lnTo>
                      <a:pt x="447" y="682"/>
                    </a:lnTo>
                    <a:lnTo>
                      <a:pt x="447" y="682"/>
                    </a:lnTo>
                    <a:lnTo>
                      <a:pt x="447" y="682"/>
                    </a:lnTo>
                    <a:lnTo>
                      <a:pt x="447" y="682"/>
                    </a:lnTo>
                    <a:lnTo>
                      <a:pt x="447" y="682"/>
                    </a:lnTo>
                    <a:lnTo>
                      <a:pt x="447" y="682"/>
                    </a:lnTo>
                    <a:lnTo>
                      <a:pt x="454" y="682"/>
                    </a:lnTo>
                    <a:lnTo>
                      <a:pt x="454" y="682"/>
                    </a:lnTo>
                    <a:lnTo>
                      <a:pt x="454" y="682"/>
                    </a:lnTo>
                    <a:lnTo>
                      <a:pt x="454" y="689"/>
                    </a:lnTo>
                    <a:lnTo>
                      <a:pt x="454" y="689"/>
                    </a:lnTo>
                    <a:lnTo>
                      <a:pt x="461" y="689"/>
                    </a:lnTo>
                    <a:lnTo>
                      <a:pt x="461" y="689"/>
                    </a:lnTo>
                    <a:lnTo>
                      <a:pt x="461" y="689"/>
                    </a:lnTo>
                    <a:lnTo>
                      <a:pt x="461" y="689"/>
                    </a:lnTo>
                    <a:lnTo>
                      <a:pt x="468" y="689"/>
                    </a:lnTo>
                    <a:lnTo>
                      <a:pt x="468" y="689"/>
                    </a:lnTo>
                    <a:lnTo>
                      <a:pt x="468" y="689"/>
                    </a:lnTo>
                    <a:lnTo>
                      <a:pt x="468" y="689"/>
                    </a:lnTo>
                    <a:lnTo>
                      <a:pt x="475" y="689"/>
                    </a:lnTo>
                    <a:lnTo>
                      <a:pt x="475" y="689"/>
                    </a:lnTo>
                    <a:lnTo>
                      <a:pt x="482" y="689"/>
                    </a:lnTo>
                    <a:lnTo>
                      <a:pt x="482" y="689"/>
                    </a:lnTo>
                    <a:lnTo>
                      <a:pt x="482" y="689"/>
                    </a:lnTo>
                    <a:lnTo>
                      <a:pt x="482" y="689"/>
                    </a:lnTo>
                    <a:lnTo>
                      <a:pt x="482" y="696"/>
                    </a:lnTo>
                    <a:lnTo>
                      <a:pt x="482" y="696"/>
                    </a:lnTo>
                    <a:lnTo>
                      <a:pt x="482" y="696"/>
                    </a:lnTo>
                    <a:lnTo>
                      <a:pt x="482" y="696"/>
                    </a:lnTo>
                    <a:lnTo>
                      <a:pt x="489" y="696"/>
                    </a:lnTo>
                    <a:lnTo>
                      <a:pt x="489" y="696"/>
                    </a:lnTo>
                    <a:lnTo>
                      <a:pt x="489" y="703"/>
                    </a:lnTo>
                    <a:lnTo>
                      <a:pt x="489" y="703"/>
                    </a:lnTo>
                    <a:lnTo>
                      <a:pt x="489" y="710"/>
                    </a:lnTo>
                    <a:lnTo>
                      <a:pt x="489" y="710"/>
                    </a:lnTo>
                    <a:lnTo>
                      <a:pt x="489" y="710"/>
                    </a:lnTo>
                    <a:lnTo>
                      <a:pt x="489" y="710"/>
                    </a:lnTo>
                    <a:lnTo>
                      <a:pt x="489" y="710"/>
                    </a:lnTo>
                    <a:lnTo>
                      <a:pt x="489" y="710"/>
                    </a:lnTo>
                    <a:lnTo>
                      <a:pt x="497" y="710"/>
                    </a:lnTo>
                    <a:lnTo>
                      <a:pt x="497" y="710"/>
                    </a:lnTo>
                    <a:lnTo>
                      <a:pt x="497" y="710"/>
                    </a:lnTo>
                    <a:lnTo>
                      <a:pt x="504" y="710"/>
                    </a:lnTo>
                    <a:lnTo>
                      <a:pt x="504" y="703"/>
                    </a:lnTo>
                    <a:lnTo>
                      <a:pt x="504" y="703"/>
                    </a:lnTo>
                    <a:lnTo>
                      <a:pt x="511" y="703"/>
                    </a:lnTo>
                    <a:lnTo>
                      <a:pt x="511" y="703"/>
                    </a:lnTo>
                    <a:lnTo>
                      <a:pt x="511" y="703"/>
                    </a:lnTo>
                    <a:lnTo>
                      <a:pt x="511" y="703"/>
                    </a:lnTo>
                    <a:lnTo>
                      <a:pt x="511" y="703"/>
                    </a:lnTo>
                    <a:lnTo>
                      <a:pt x="511" y="703"/>
                    </a:lnTo>
                    <a:lnTo>
                      <a:pt x="511" y="703"/>
                    </a:lnTo>
                    <a:lnTo>
                      <a:pt x="511" y="696"/>
                    </a:lnTo>
                    <a:lnTo>
                      <a:pt x="511" y="696"/>
                    </a:lnTo>
                    <a:lnTo>
                      <a:pt x="518" y="696"/>
                    </a:lnTo>
                    <a:lnTo>
                      <a:pt x="518" y="696"/>
                    </a:lnTo>
                    <a:lnTo>
                      <a:pt x="518" y="696"/>
                    </a:lnTo>
                    <a:lnTo>
                      <a:pt x="518" y="703"/>
                    </a:lnTo>
                    <a:lnTo>
                      <a:pt x="518" y="703"/>
                    </a:lnTo>
                    <a:lnTo>
                      <a:pt x="518" y="703"/>
                    </a:lnTo>
                    <a:lnTo>
                      <a:pt x="518" y="703"/>
                    </a:lnTo>
                    <a:lnTo>
                      <a:pt x="525" y="703"/>
                    </a:lnTo>
                    <a:lnTo>
                      <a:pt x="525" y="696"/>
                    </a:lnTo>
                    <a:lnTo>
                      <a:pt x="525" y="696"/>
                    </a:lnTo>
                    <a:lnTo>
                      <a:pt x="525" y="696"/>
                    </a:lnTo>
                    <a:lnTo>
                      <a:pt x="525" y="696"/>
                    </a:lnTo>
                    <a:lnTo>
                      <a:pt x="525" y="696"/>
                    </a:lnTo>
                    <a:lnTo>
                      <a:pt x="532" y="696"/>
                    </a:lnTo>
                    <a:lnTo>
                      <a:pt x="532" y="689"/>
                    </a:lnTo>
                    <a:lnTo>
                      <a:pt x="532" y="689"/>
                    </a:lnTo>
                    <a:lnTo>
                      <a:pt x="532" y="689"/>
                    </a:lnTo>
                    <a:lnTo>
                      <a:pt x="532" y="689"/>
                    </a:lnTo>
                    <a:lnTo>
                      <a:pt x="539" y="689"/>
                    </a:lnTo>
                    <a:lnTo>
                      <a:pt x="539" y="689"/>
                    </a:lnTo>
                    <a:lnTo>
                      <a:pt x="539" y="682"/>
                    </a:lnTo>
                    <a:lnTo>
                      <a:pt x="539" y="682"/>
                    </a:lnTo>
                    <a:lnTo>
                      <a:pt x="539" y="682"/>
                    </a:lnTo>
                    <a:lnTo>
                      <a:pt x="539" y="682"/>
                    </a:lnTo>
                    <a:lnTo>
                      <a:pt x="539" y="682"/>
                    </a:lnTo>
                    <a:lnTo>
                      <a:pt x="539" y="682"/>
                    </a:lnTo>
                    <a:lnTo>
                      <a:pt x="539" y="682"/>
                    </a:lnTo>
                    <a:lnTo>
                      <a:pt x="539" y="675"/>
                    </a:lnTo>
                    <a:lnTo>
                      <a:pt x="539" y="675"/>
                    </a:lnTo>
                    <a:lnTo>
                      <a:pt x="539" y="675"/>
                    </a:lnTo>
                    <a:lnTo>
                      <a:pt x="539" y="675"/>
                    </a:lnTo>
                    <a:lnTo>
                      <a:pt x="539" y="675"/>
                    </a:lnTo>
                    <a:lnTo>
                      <a:pt x="539" y="675"/>
                    </a:lnTo>
                    <a:lnTo>
                      <a:pt x="539" y="675"/>
                    </a:lnTo>
                    <a:lnTo>
                      <a:pt x="546" y="675"/>
                    </a:lnTo>
                    <a:lnTo>
                      <a:pt x="546" y="675"/>
                    </a:lnTo>
                    <a:lnTo>
                      <a:pt x="546" y="675"/>
                    </a:lnTo>
                    <a:lnTo>
                      <a:pt x="546" y="675"/>
                    </a:lnTo>
                    <a:lnTo>
                      <a:pt x="546" y="675"/>
                    </a:lnTo>
                    <a:lnTo>
                      <a:pt x="553" y="675"/>
                    </a:lnTo>
                    <a:lnTo>
                      <a:pt x="553" y="675"/>
                    </a:lnTo>
                    <a:lnTo>
                      <a:pt x="553" y="675"/>
                    </a:lnTo>
                    <a:lnTo>
                      <a:pt x="553" y="675"/>
                    </a:lnTo>
                    <a:lnTo>
                      <a:pt x="553" y="675"/>
                    </a:lnTo>
                    <a:lnTo>
                      <a:pt x="553" y="675"/>
                    </a:lnTo>
                    <a:lnTo>
                      <a:pt x="553" y="675"/>
                    </a:lnTo>
                    <a:lnTo>
                      <a:pt x="560" y="668"/>
                    </a:lnTo>
                    <a:lnTo>
                      <a:pt x="560" y="668"/>
                    </a:lnTo>
                    <a:lnTo>
                      <a:pt x="560" y="668"/>
                    </a:lnTo>
                    <a:lnTo>
                      <a:pt x="560" y="668"/>
                    </a:lnTo>
                    <a:lnTo>
                      <a:pt x="560" y="675"/>
                    </a:lnTo>
                    <a:lnTo>
                      <a:pt x="560" y="675"/>
                    </a:lnTo>
                    <a:lnTo>
                      <a:pt x="560" y="675"/>
                    </a:lnTo>
                    <a:lnTo>
                      <a:pt x="560" y="675"/>
                    </a:lnTo>
                    <a:lnTo>
                      <a:pt x="560" y="675"/>
                    </a:lnTo>
                    <a:lnTo>
                      <a:pt x="560" y="682"/>
                    </a:lnTo>
                    <a:lnTo>
                      <a:pt x="560" y="682"/>
                    </a:lnTo>
                    <a:lnTo>
                      <a:pt x="553" y="682"/>
                    </a:lnTo>
                    <a:lnTo>
                      <a:pt x="553" y="682"/>
                    </a:lnTo>
                    <a:lnTo>
                      <a:pt x="553" y="682"/>
                    </a:lnTo>
                    <a:lnTo>
                      <a:pt x="553" y="689"/>
                    </a:lnTo>
                    <a:lnTo>
                      <a:pt x="560" y="689"/>
                    </a:lnTo>
                    <a:lnTo>
                      <a:pt x="560" y="689"/>
                    </a:lnTo>
                    <a:lnTo>
                      <a:pt x="560" y="689"/>
                    </a:lnTo>
                    <a:lnTo>
                      <a:pt x="560" y="689"/>
                    </a:lnTo>
                    <a:lnTo>
                      <a:pt x="560" y="689"/>
                    </a:lnTo>
                    <a:lnTo>
                      <a:pt x="560" y="689"/>
                    </a:lnTo>
                    <a:lnTo>
                      <a:pt x="560" y="682"/>
                    </a:lnTo>
                    <a:lnTo>
                      <a:pt x="568" y="682"/>
                    </a:lnTo>
                    <a:lnTo>
                      <a:pt x="568" y="682"/>
                    </a:lnTo>
                    <a:lnTo>
                      <a:pt x="568" y="682"/>
                    </a:lnTo>
                    <a:lnTo>
                      <a:pt x="568" y="682"/>
                    </a:lnTo>
                    <a:lnTo>
                      <a:pt x="568" y="682"/>
                    </a:lnTo>
                    <a:lnTo>
                      <a:pt x="575" y="682"/>
                    </a:lnTo>
                    <a:lnTo>
                      <a:pt x="582" y="689"/>
                    </a:lnTo>
                    <a:lnTo>
                      <a:pt x="582" y="689"/>
                    </a:lnTo>
                    <a:lnTo>
                      <a:pt x="582" y="696"/>
                    </a:lnTo>
                    <a:lnTo>
                      <a:pt x="582" y="696"/>
                    </a:lnTo>
                    <a:lnTo>
                      <a:pt x="582" y="696"/>
                    </a:lnTo>
                    <a:lnTo>
                      <a:pt x="582" y="703"/>
                    </a:lnTo>
                    <a:lnTo>
                      <a:pt x="582" y="703"/>
                    </a:lnTo>
                    <a:lnTo>
                      <a:pt x="582" y="703"/>
                    </a:lnTo>
                    <a:lnTo>
                      <a:pt x="582" y="703"/>
                    </a:lnTo>
                    <a:lnTo>
                      <a:pt x="582" y="710"/>
                    </a:lnTo>
                    <a:lnTo>
                      <a:pt x="582" y="710"/>
                    </a:lnTo>
                    <a:lnTo>
                      <a:pt x="582" y="710"/>
                    </a:lnTo>
                    <a:lnTo>
                      <a:pt x="582" y="710"/>
                    </a:lnTo>
                    <a:lnTo>
                      <a:pt x="582" y="710"/>
                    </a:lnTo>
                    <a:lnTo>
                      <a:pt x="582" y="710"/>
                    </a:lnTo>
                    <a:lnTo>
                      <a:pt x="582" y="710"/>
                    </a:lnTo>
                    <a:lnTo>
                      <a:pt x="582" y="710"/>
                    </a:lnTo>
                    <a:lnTo>
                      <a:pt x="575" y="710"/>
                    </a:lnTo>
                    <a:lnTo>
                      <a:pt x="575" y="710"/>
                    </a:lnTo>
                    <a:lnTo>
                      <a:pt x="582" y="717"/>
                    </a:lnTo>
                    <a:lnTo>
                      <a:pt x="582" y="717"/>
                    </a:lnTo>
                    <a:lnTo>
                      <a:pt x="582" y="717"/>
                    </a:lnTo>
                    <a:lnTo>
                      <a:pt x="582" y="717"/>
                    </a:lnTo>
                    <a:lnTo>
                      <a:pt x="582" y="717"/>
                    </a:lnTo>
                    <a:lnTo>
                      <a:pt x="589" y="717"/>
                    </a:lnTo>
                    <a:lnTo>
                      <a:pt x="589" y="717"/>
                    </a:lnTo>
                    <a:lnTo>
                      <a:pt x="589" y="717"/>
                    </a:lnTo>
                    <a:lnTo>
                      <a:pt x="589" y="717"/>
                    </a:lnTo>
                    <a:lnTo>
                      <a:pt x="596" y="724"/>
                    </a:lnTo>
                    <a:lnTo>
                      <a:pt x="596" y="724"/>
                    </a:lnTo>
                    <a:lnTo>
                      <a:pt x="596" y="724"/>
                    </a:lnTo>
                    <a:lnTo>
                      <a:pt x="596" y="724"/>
                    </a:lnTo>
                    <a:lnTo>
                      <a:pt x="603" y="724"/>
                    </a:lnTo>
                    <a:lnTo>
                      <a:pt x="603" y="724"/>
                    </a:lnTo>
                    <a:lnTo>
                      <a:pt x="603" y="724"/>
                    </a:lnTo>
                    <a:lnTo>
                      <a:pt x="610" y="724"/>
                    </a:lnTo>
                    <a:lnTo>
                      <a:pt x="610" y="724"/>
                    </a:lnTo>
                    <a:lnTo>
                      <a:pt x="610" y="724"/>
                    </a:lnTo>
                    <a:lnTo>
                      <a:pt x="610" y="724"/>
                    </a:lnTo>
                    <a:lnTo>
                      <a:pt x="610" y="724"/>
                    </a:lnTo>
                    <a:lnTo>
                      <a:pt x="610" y="724"/>
                    </a:lnTo>
                    <a:lnTo>
                      <a:pt x="617" y="724"/>
                    </a:lnTo>
                    <a:lnTo>
                      <a:pt x="617" y="724"/>
                    </a:lnTo>
                    <a:lnTo>
                      <a:pt x="617" y="724"/>
                    </a:lnTo>
                    <a:lnTo>
                      <a:pt x="617" y="724"/>
                    </a:lnTo>
                    <a:lnTo>
                      <a:pt x="617" y="724"/>
                    </a:lnTo>
                    <a:lnTo>
                      <a:pt x="617" y="724"/>
                    </a:lnTo>
                    <a:lnTo>
                      <a:pt x="624" y="724"/>
                    </a:lnTo>
                    <a:lnTo>
                      <a:pt x="624" y="724"/>
                    </a:lnTo>
                    <a:lnTo>
                      <a:pt x="624" y="724"/>
                    </a:lnTo>
                    <a:lnTo>
                      <a:pt x="624" y="724"/>
                    </a:lnTo>
                    <a:lnTo>
                      <a:pt x="624" y="724"/>
                    </a:lnTo>
                    <a:lnTo>
                      <a:pt x="624" y="731"/>
                    </a:lnTo>
                    <a:lnTo>
                      <a:pt x="624" y="731"/>
                    </a:lnTo>
                    <a:lnTo>
                      <a:pt x="624" y="731"/>
                    </a:lnTo>
                    <a:lnTo>
                      <a:pt x="624" y="739"/>
                    </a:lnTo>
                    <a:lnTo>
                      <a:pt x="624" y="739"/>
                    </a:lnTo>
                    <a:lnTo>
                      <a:pt x="624" y="739"/>
                    </a:lnTo>
                    <a:lnTo>
                      <a:pt x="624" y="739"/>
                    </a:lnTo>
                    <a:lnTo>
                      <a:pt x="624" y="746"/>
                    </a:lnTo>
                    <a:lnTo>
                      <a:pt x="624" y="746"/>
                    </a:lnTo>
                    <a:lnTo>
                      <a:pt x="624" y="746"/>
                    </a:lnTo>
                    <a:lnTo>
                      <a:pt x="624" y="753"/>
                    </a:lnTo>
                    <a:lnTo>
                      <a:pt x="624" y="753"/>
                    </a:lnTo>
                    <a:lnTo>
                      <a:pt x="624" y="753"/>
                    </a:lnTo>
                    <a:lnTo>
                      <a:pt x="624" y="753"/>
                    </a:lnTo>
                    <a:lnTo>
                      <a:pt x="624" y="753"/>
                    </a:lnTo>
                    <a:lnTo>
                      <a:pt x="624" y="760"/>
                    </a:lnTo>
                    <a:lnTo>
                      <a:pt x="624" y="760"/>
                    </a:lnTo>
                    <a:lnTo>
                      <a:pt x="624" y="760"/>
                    </a:lnTo>
                    <a:lnTo>
                      <a:pt x="624" y="760"/>
                    </a:lnTo>
                    <a:lnTo>
                      <a:pt x="624" y="760"/>
                    </a:lnTo>
                    <a:lnTo>
                      <a:pt x="624" y="760"/>
                    </a:lnTo>
                    <a:lnTo>
                      <a:pt x="624" y="767"/>
                    </a:lnTo>
                    <a:lnTo>
                      <a:pt x="624" y="767"/>
                    </a:lnTo>
                    <a:lnTo>
                      <a:pt x="624" y="767"/>
                    </a:lnTo>
                    <a:lnTo>
                      <a:pt x="631" y="767"/>
                    </a:lnTo>
                    <a:lnTo>
                      <a:pt x="631" y="767"/>
                    </a:lnTo>
                    <a:lnTo>
                      <a:pt x="631" y="767"/>
                    </a:lnTo>
                    <a:lnTo>
                      <a:pt x="631" y="767"/>
                    </a:lnTo>
                    <a:lnTo>
                      <a:pt x="631" y="767"/>
                    </a:lnTo>
                    <a:lnTo>
                      <a:pt x="631" y="767"/>
                    </a:lnTo>
                    <a:lnTo>
                      <a:pt x="638" y="767"/>
                    </a:lnTo>
                    <a:lnTo>
                      <a:pt x="638" y="767"/>
                    </a:lnTo>
                    <a:lnTo>
                      <a:pt x="638" y="767"/>
                    </a:lnTo>
                    <a:lnTo>
                      <a:pt x="638" y="767"/>
                    </a:lnTo>
                    <a:lnTo>
                      <a:pt x="638" y="767"/>
                    </a:lnTo>
                    <a:lnTo>
                      <a:pt x="646" y="774"/>
                    </a:lnTo>
                    <a:lnTo>
                      <a:pt x="646" y="774"/>
                    </a:lnTo>
                    <a:lnTo>
                      <a:pt x="646" y="774"/>
                    </a:lnTo>
                    <a:lnTo>
                      <a:pt x="646" y="774"/>
                    </a:lnTo>
                    <a:lnTo>
                      <a:pt x="646" y="774"/>
                    </a:lnTo>
                    <a:lnTo>
                      <a:pt x="646" y="774"/>
                    </a:lnTo>
                    <a:lnTo>
                      <a:pt x="653" y="774"/>
                    </a:lnTo>
                    <a:lnTo>
                      <a:pt x="653" y="767"/>
                    </a:lnTo>
                    <a:lnTo>
                      <a:pt x="653" y="767"/>
                    </a:lnTo>
                    <a:lnTo>
                      <a:pt x="653" y="767"/>
                    </a:lnTo>
                    <a:lnTo>
                      <a:pt x="653" y="774"/>
                    </a:lnTo>
                    <a:lnTo>
                      <a:pt x="653" y="774"/>
                    </a:lnTo>
                    <a:lnTo>
                      <a:pt x="653" y="774"/>
                    </a:lnTo>
                    <a:lnTo>
                      <a:pt x="653" y="774"/>
                    </a:lnTo>
                    <a:lnTo>
                      <a:pt x="653" y="781"/>
                    </a:lnTo>
                    <a:lnTo>
                      <a:pt x="653" y="781"/>
                    </a:lnTo>
                    <a:lnTo>
                      <a:pt x="653" y="781"/>
                    </a:lnTo>
                    <a:lnTo>
                      <a:pt x="653" y="781"/>
                    </a:lnTo>
                    <a:lnTo>
                      <a:pt x="653" y="781"/>
                    </a:lnTo>
                    <a:lnTo>
                      <a:pt x="653" y="781"/>
                    </a:lnTo>
                    <a:lnTo>
                      <a:pt x="653" y="788"/>
                    </a:lnTo>
                    <a:lnTo>
                      <a:pt x="653" y="788"/>
                    </a:lnTo>
                    <a:lnTo>
                      <a:pt x="653" y="788"/>
                    </a:lnTo>
                    <a:lnTo>
                      <a:pt x="646" y="795"/>
                    </a:lnTo>
                    <a:lnTo>
                      <a:pt x="646" y="795"/>
                    </a:lnTo>
                    <a:lnTo>
                      <a:pt x="646" y="795"/>
                    </a:lnTo>
                    <a:lnTo>
                      <a:pt x="646" y="795"/>
                    </a:lnTo>
                    <a:lnTo>
                      <a:pt x="646" y="802"/>
                    </a:lnTo>
                    <a:lnTo>
                      <a:pt x="646" y="802"/>
                    </a:lnTo>
                    <a:lnTo>
                      <a:pt x="646" y="802"/>
                    </a:lnTo>
                    <a:lnTo>
                      <a:pt x="646" y="802"/>
                    </a:lnTo>
                    <a:lnTo>
                      <a:pt x="638" y="810"/>
                    </a:lnTo>
                    <a:lnTo>
                      <a:pt x="638" y="810"/>
                    </a:lnTo>
                    <a:lnTo>
                      <a:pt x="638" y="810"/>
                    </a:lnTo>
                    <a:lnTo>
                      <a:pt x="638" y="810"/>
                    </a:lnTo>
                    <a:lnTo>
                      <a:pt x="638" y="817"/>
                    </a:lnTo>
                    <a:lnTo>
                      <a:pt x="638" y="817"/>
                    </a:lnTo>
                    <a:lnTo>
                      <a:pt x="638" y="817"/>
                    </a:lnTo>
                    <a:lnTo>
                      <a:pt x="638" y="817"/>
                    </a:lnTo>
                    <a:lnTo>
                      <a:pt x="631" y="824"/>
                    </a:lnTo>
                    <a:lnTo>
                      <a:pt x="631" y="824"/>
                    </a:lnTo>
                    <a:lnTo>
                      <a:pt x="631" y="824"/>
                    </a:lnTo>
                    <a:lnTo>
                      <a:pt x="631" y="824"/>
                    </a:lnTo>
                    <a:lnTo>
                      <a:pt x="631" y="824"/>
                    </a:lnTo>
                    <a:lnTo>
                      <a:pt x="638" y="824"/>
                    </a:lnTo>
                    <a:lnTo>
                      <a:pt x="638" y="831"/>
                    </a:lnTo>
                    <a:lnTo>
                      <a:pt x="638" y="831"/>
                    </a:lnTo>
                    <a:lnTo>
                      <a:pt x="638" y="831"/>
                    </a:lnTo>
                    <a:lnTo>
                      <a:pt x="638" y="831"/>
                    </a:lnTo>
                    <a:lnTo>
                      <a:pt x="638" y="838"/>
                    </a:lnTo>
                    <a:lnTo>
                      <a:pt x="638" y="838"/>
                    </a:lnTo>
                    <a:lnTo>
                      <a:pt x="638" y="838"/>
                    </a:lnTo>
                    <a:lnTo>
                      <a:pt x="624" y="831"/>
                    </a:lnTo>
                    <a:lnTo>
                      <a:pt x="624" y="831"/>
                    </a:lnTo>
                    <a:lnTo>
                      <a:pt x="624" y="824"/>
                    </a:lnTo>
                    <a:lnTo>
                      <a:pt x="624" y="824"/>
                    </a:lnTo>
                    <a:lnTo>
                      <a:pt x="624" y="824"/>
                    </a:lnTo>
                    <a:lnTo>
                      <a:pt x="624" y="831"/>
                    </a:lnTo>
                    <a:lnTo>
                      <a:pt x="624" y="831"/>
                    </a:lnTo>
                    <a:lnTo>
                      <a:pt x="624" y="831"/>
                    </a:lnTo>
                    <a:lnTo>
                      <a:pt x="624" y="831"/>
                    </a:lnTo>
                    <a:lnTo>
                      <a:pt x="624" y="831"/>
                    </a:lnTo>
                    <a:lnTo>
                      <a:pt x="617" y="838"/>
                    </a:lnTo>
                    <a:lnTo>
                      <a:pt x="617" y="838"/>
                    </a:lnTo>
                    <a:lnTo>
                      <a:pt x="617" y="838"/>
                    </a:lnTo>
                    <a:lnTo>
                      <a:pt x="617" y="838"/>
                    </a:lnTo>
                    <a:lnTo>
                      <a:pt x="617" y="838"/>
                    </a:lnTo>
                    <a:lnTo>
                      <a:pt x="617" y="838"/>
                    </a:lnTo>
                    <a:lnTo>
                      <a:pt x="617" y="838"/>
                    </a:lnTo>
                    <a:lnTo>
                      <a:pt x="610" y="838"/>
                    </a:lnTo>
                    <a:lnTo>
                      <a:pt x="610" y="838"/>
                    </a:lnTo>
                    <a:lnTo>
                      <a:pt x="610" y="838"/>
                    </a:lnTo>
                    <a:lnTo>
                      <a:pt x="610" y="838"/>
                    </a:lnTo>
                    <a:lnTo>
                      <a:pt x="610" y="838"/>
                    </a:lnTo>
                    <a:lnTo>
                      <a:pt x="610" y="838"/>
                    </a:lnTo>
                    <a:lnTo>
                      <a:pt x="610" y="838"/>
                    </a:lnTo>
                    <a:lnTo>
                      <a:pt x="610" y="838"/>
                    </a:lnTo>
                    <a:lnTo>
                      <a:pt x="610" y="838"/>
                    </a:lnTo>
                    <a:lnTo>
                      <a:pt x="610" y="838"/>
                    </a:lnTo>
                    <a:lnTo>
                      <a:pt x="610" y="838"/>
                    </a:lnTo>
                    <a:lnTo>
                      <a:pt x="610" y="838"/>
                    </a:lnTo>
                    <a:lnTo>
                      <a:pt x="610" y="845"/>
                    </a:lnTo>
                    <a:lnTo>
                      <a:pt x="610" y="845"/>
                    </a:lnTo>
                    <a:lnTo>
                      <a:pt x="610" y="845"/>
                    </a:lnTo>
                    <a:lnTo>
                      <a:pt x="603" y="852"/>
                    </a:lnTo>
                    <a:lnTo>
                      <a:pt x="603" y="852"/>
                    </a:lnTo>
                    <a:lnTo>
                      <a:pt x="596" y="852"/>
                    </a:lnTo>
                    <a:lnTo>
                      <a:pt x="589" y="845"/>
                    </a:lnTo>
                    <a:lnTo>
                      <a:pt x="582" y="838"/>
                    </a:lnTo>
                    <a:lnTo>
                      <a:pt x="582" y="838"/>
                    </a:lnTo>
                    <a:lnTo>
                      <a:pt x="575" y="838"/>
                    </a:lnTo>
                    <a:lnTo>
                      <a:pt x="575" y="838"/>
                    </a:lnTo>
                    <a:lnTo>
                      <a:pt x="575" y="838"/>
                    </a:lnTo>
                    <a:lnTo>
                      <a:pt x="575" y="845"/>
                    </a:lnTo>
                    <a:lnTo>
                      <a:pt x="575" y="845"/>
                    </a:lnTo>
                    <a:lnTo>
                      <a:pt x="575" y="845"/>
                    </a:lnTo>
                    <a:lnTo>
                      <a:pt x="575" y="845"/>
                    </a:lnTo>
                    <a:lnTo>
                      <a:pt x="568" y="845"/>
                    </a:lnTo>
                    <a:lnTo>
                      <a:pt x="568" y="845"/>
                    </a:lnTo>
                    <a:lnTo>
                      <a:pt x="568" y="845"/>
                    </a:lnTo>
                    <a:lnTo>
                      <a:pt x="560" y="838"/>
                    </a:lnTo>
                    <a:lnTo>
                      <a:pt x="560" y="838"/>
                    </a:lnTo>
                    <a:lnTo>
                      <a:pt x="560" y="838"/>
                    </a:lnTo>
                    <a:lnTo>
                      <a:pt x="560" y="838"/>
                    </a:lnTo>
                    <a:lnTo>
                      <a:pt x="560" y="838"/>
                    </a:lnTo>
                    <a:lnTo>
                      <a:pt x="560" y="838"/>
                    </a:lnTo>
                    <a:lnTo>
                      <a:pt x="553" y="838"/>
                    </a:lnTo>
                    <a:lnTo>
                      <a:pt x="546" y="838"/>
                    </a:lnTo>
                    <a:lnTo>
                      <a:pt x="539" y="838"/>
                    </a:lnTo>
                    <a:lnTo>
                      <a:pt x="539" y="845"/>
                    </a:lnTo>
                    <a:lnTo>
                      <a:pt x="539" y="845"/>
                    </a:lnTo>
                    <a:lnTo>
                      <a:pt x="539" y="852"/>
                    </a:lnTo>
                    <a:lnTo>
                      <a:pt x="539" y="852"/>
                    </a:lnTo>
                    <a:lnTo>
                      <a:pt x="532" y="852"/>
                    </a:lnTo>
                    <a:lnTo>
                      <a:pt x="539" y="852"/>
                    </a:lnTo>
                    <a:lnTo>
                      <a:pt x="539" y="852"/>
                    </a:lnTo>
                    <a:lnTo>
                      <a:pt x="539" y="859"/>
                    </a:lnTo>
                    <a:lnTo>
                      <a:pt x="539" y="859"/>
                    </a:lnTo>
                    <a:lnTo>
                      <a:pt x="539" y="859"/>
                    </a:lnTo>
                    <a:lnTo>
                      <a:pt x="532" y="859"/>
                    </a:lnTo>
                    <a:lnTo>
                      <a:pt x="532" y="859"/>
                    </a:lnTo>
                    <a:lnTo>
                      <a:pt x="525" y="866"/>
                    </a:lnTo>
                    <a:lnTo>
                      <a:pt x="525" y="866"/>
                    </a:lnTo>
                    <a:lnTo>
                      <a:pt x="525" y="866"/>
                    </a:lnTo>
                    <a:lnTo>
                      <a:pt x="525" y="866"/>
                    </a:lnTo>
                    <a:lnTo>
                      <a:pt x="518" y="866"/>
                    </a:lnTo>
                    <a:lnTo>
                      <a:pt x="518" y="866"/>
                    </a:lnTo>
                    <a:lnTo>
                      <a:pt x="518" y="866"/>
                    </a:lnTo>
                    <a:lnTo>
                      <a:pt x="511" y="866"/>
                    </a:lnTo>
                    <a:lnTo>
                      <a:pt x="511" y="873"/>
                    </a:lnTo>
                    <a:lnTo>
                      <a:pt x="511" y="880"/>
                    </a:lnTo>
                    <a:lnTo>
                      <a:pt x="511" y="880"/>
                    </a:lnTo>
                    <a:lnTo>
                      <a:pt x="511" y="880"/>
                    </a:lnTo>
                    <a:lnTo>
                      <a:pt x="511" y="888"/>
                    </a:lnTo>
                    <a:lnTo>
                      <a:pt x="511" y="888"/>
                    </a:lnTo>
                    <a:lnTo>
                      <a:pt x="511" y="888"/>
                    </a:lnTo>
                    <a:lnTo>
                      <a:pt x="511" y="888"/>
                    </a:lnTo>
                    <a:lnTo>
                      <a:pt x="511" y="888"/>
                    </a:lnTo>
                    <a:lnTo>
                      <a:pt x="511" y="895"/>
                    </a:lnTo>
                    <a:lnTo>
                      <a:pt x="511" y="895"/>
                    </a:lnTo>
                    <a:lnTo>
                      <a:pt x="511" y="895"/>
                    </a:lnTo>
                    <a:lnTo>
                      <a:pt x="511" y="895"/>
                    </a:lnTo>
                    <a:lnTo>
                      <a:pt x="511" y="895"/>
                    </a:lnTo>
                    <a:lnTo>
                      <a:pt x="518" y="895"/>
                    </a:lnTo>
                    <a:lnTo>
                      <a:pt x="518" y="895"/>
                    </a:lnTo>
                    <a:lnTo>
                      <a:pt x="518" y="895"/>
                    </a:lnTo>
                    <a:lnTo>
                      <a:pt x="518" y="895"/>
                    </a:lnTo>
                    <a:lnTo>
                      <a:pt x="511" y="902"/>
                    </a:lnTo>
                    <a:lnTo>
                      <a:pt x="511" y="909"/>
                    </a:lnTo>
                    <a:lnTo>
                      <a:pt x="511" y="909"/>
                    </a:lnTo>
                    <a:lnTo>
                      <a:pt x="511" y="909"/>
                    </a:lnTo>
                    <a:lnTo>
                      <a:pt x="511" y="916"/>
                    </a:lnTo>
                    <a:lnTo>
                      <a:pt x="504" y="923"/>
                    </a:lnTo>
                    <a:lnTo>
                      <a:pt x="497" y="923"/>
                    </a:lnTo>
                    <a:lnTo>
                      <a:pt x="497" y="923"/>
                    </a:lnTo>
                    <a:lnTo>
                      <a:pt x="497" y="923"/>
                    </a:lnTo>
                    <a:lnTo>
                      <a:pt x="497" y="923"/>
                    </a:lnTo>
                    <a:lnTo>
                      <a:pt x="497" y="930"/>
                    </a:lnTo>
                    <a:lnTo>
                      <a:pt x="497" y="930"/>
                    </a:lnTo>
                    <a:lnTo>
                      <a:pt x="497" y="930"/>
                    </a:lnTo>
                    <a:lnTo>
                      <a:pt x="497" y="930"/>
                    </a:lnTo>
                    <a:lnTo>
                      <a:pt x="497" y="937"/>
                    </a:lnTo>
                    <a:lnTo>
                      <a:pt x="497" y="937"/>
                    </a:lnTo>
                    <a:lnTo>
                      <a:pt x="497" y="937"/>
                    </a:lnTo>
                    <a:lnTo>
                      <a:pt x="525" y="937"/>
                    </a:lnTo>
                    <a:lnTo>
                      <a:pt x="525" y="937"/>
                    </a:lnTo>
                    <a:lnTo>
                      <a:pt x="532" y="937"/>
                    </a:lnTo>
                    <a:lnTo>
                      <a:pt x="532" y="937"/>
                    </a:lnTo>
                    <a:lnTo>
                      <a:pt x="532" y="937"/>
                    </a:lnTo>
                    <a:lnTo>
                      <a:pt x="539" y="944"/>
                    </a:lnTo>
                    <a:lnTo>
                      <a:pt x="539" y="944"/>
                    </a:lnTo>
                    <a:lnTo>
                      <a:pt x="539" y="951"/>
                    </a:lnTo>
                    <a:lnTo>
                      <a:pt x="539" y="951"/>
                    </a:lnTo>
                    <a:lnTo>
                      <a:pt x="539" y="951"/>
                    </a:lnTo>
                    <a:lnTo>
                      <a:pt x="539" y="951"/>
                    </a:lnTo>
                    <a:lnTo>
                      <a:pt x="539" y="951"/>
                    </a:lnTo>
                    <a:lnTo>
                      <a:pt x="539" y="951"/>
                    </a:lnTo>
                    <a:lnTo>
                      <a:pt x="539" y="951"/>
                    </a:lnTo>
                    <a:lnTo>
                      <a:pt x="539" y="951"/>
                    </a:lnTo>
                    <a:lnTo>
                      <a:pt x="532" y="951"/>
                    </a:lnTo>
                    <a:lnTo>
                      <a:pt x="532" y="959"/>
                    </a:lnTo>
                    <a:lnTo>
                      <a:pt x="532" y="959"/>
                    </a:lnTo>
                    <a:lnTo>
                      <a:pt x="532" y="959"/>
                    </a:lnTo>
                    <a:lnTo>
                      <a:pt x="525" y="966"/>
                    </a:lnTo>
                    <a:lnTo>
                      <a:pt x="525" y="973"/>
                    </a:lnTo>
                    <a:lnTo>
                      <a:pt x="525" y="973"/>
                    </a:lnTo>
                    <a:lnTo>
                      <a:pt x="525" y="973"/>
                    </a:lnTo>
                    <a:lnTo>
                      <a:pt x="518" y="973"/>
                    </a:lnTo>
                    <a:lnTo>
                      <a:pt x="518" y="973"/>
                    </a:lnTo>
                    <a:lnTo>
                      <a:pt x="504" y="973"/>
                    </a:lnTo>
                    <a:lnTo>
                      <a:pt x="504" y="973"/>
                    </a:lnTo>
                    <a:lnTo>
                      <a:pt x="497" y="980"/>
                    </a:lnTo>
                    <a:lnTo>
                      <a:pt x="497" y="980"/>
                    </a:lnTo>
                    <a:lnTo>
                      <a:pt x="497" y="980"/>
                    </a:lnTo>
                    <a:lnTo>
                      <a:pt x="497" y="987"/>
                    </a:lnTo>
                    <a:lnTo>
                      <a:pt x="489" y="994"/>
                    </a:lnTo>
                    <a:lnTo>
                      <a:pt x="489" y="994"/>
                    </a:lnTo>
                    <a:lnTo>
                      <a:pt x="489" y="994"/>
                    </a:lnTo>
                    <a:lnTo>
                      <a:pt x="489" y="994"/>
                    </a:lnTo>
                    <a:lnTo>
                      <a:pt x="482" y="1001"/>
                    </a:lnTo>
                    <a:lnTo>
                      <a:pt x="475" y="1001"/>
                    </a:lnTo>
                    <a:lnTo>
                      <a:pt x="475" y="1001"/>
                    </a:lnTo>
                    <a:lnTo>
                      <a:pt x="475" y="1001"/>
                    </a:lnTo>
                    <a:lnTo>
                      <a:pt x="468" y="994"/>
                    </a:lnTo>
                    <a:lnTo>
                      <a:pt x="468" y="994"/>
                    </a:lnTo>
                    <a:lnTo>
                      <a:pt x="468" y="994"/>
                    </a:lnTo>
                    <a:lnTo>
                      <a:pt x="468" y="994"/>
                    </a:lnTo>
                    <a:lnTo>
                      <a:pt x="461" y="994"/>
                    </a:lnTo>
                    <a:lnTo>
                      <a:pt x="461" y="994"/>
                    </a:lnTo>
                    <a:lnTo>
                      <a:pt x="461" y="994"/>
                    </a:lnTo>
                    <a:lnTo>
                      <a:pt x="461" y="994"/>
                    </a:lnTo>
                    <a:lnTo>
                      <a:pt x="454" y="994"/>
                    </a:lnTo>
                    <a:lnTo>
                      <a:pt x="447" y="994"/>
                    </a:lnTo>
                    <a:lnTo>
                      <a:pt x="447" y="994"/>
                    </a:lnTo>
                    <a:lnTo>
                      <a:pt x="447" y="1001"/>
                    </a:lnTo>
                    <a:lnTo>
                      <a:pt x="447" y="1001"/>
                    </a:lnTo>
                    <a:lnTo>
                      <a:pt x="440" y="1001"/>
                    </a:lnTo>
                    <a:lnTo>
                      <a:pt x="440" y="1001"/>
                    </a:lnTo>
                    <a:lnTo>
                      <a:pt x="440" y="1001"/>
                    </a:lnTo>
                    <a:lnTo>
                      <a:pt x="440" y="1001"/>
                    </a:lnTo>
                    <a:lnTo>
                      <a:pt x="433" y="994"/>
                    </a:lnTo>
                    <a:lnTo>
                      <a:pt x="426" y="994"/>
                    </a:lnTo>
                    <a:lnTo>
                      <a:pt x="426" y="994"/>
                    </a:lnTo>
                    <a:lnTo>
                      <a:pt x="426" y="994"/>
                    </a:lnTo>
                    <a:lnTo>
                      <a:pt x="418" y="994"/>
                    </a:lnTo>
                    <a:lnTo>
                      <a:pt x="418" y="994"/>
                    </a:lnTo>
                    <a:lnTo>
                      <a:pt x="418" y="994"/>
                    </a:lnTo>
                    <a:lnTo>
                      <a:pt x="411" y="994"/>
                    </a:lnTo>
                    <a:lnTo>
                      <a:pt x="411" y="994"/>
                    </a:lnTo>
                    <a:lnTo>
                      <a:pt x="404" y="1008"/>
                    </a:lnTo>
                    <a:lnTo>
                      <a:pt x="404" y="1008"/>
                    </a:lnTo>
                    <a:lnTo>
                      <a:pt x="404" y="1022"/>
                    </a:lnTo>
                    <a:lnTo>
                      <a:pt x="397" y="1022"/>
                    </a:lnTo>
                    <a:lnTo>
                      <a:pt x="397" y="1022"/>
                    </a:lnTo>
                    <a:lnTo>
                      <a:pt x="390" y="1022"/>
                    </a:lnTo>
                    <a:lnTo>
                      <a:pt x="390" y="1022"/>
                    </a:lnTo>
                    <a:lnTo>
                      <a:pt x="369" y="1022"/>
                    </a:lnTo>
                    <a:lnTo>
                      <a:pt x="362" y="1022"/>
                    </a:lnTo>
                    <a:lnTo>
                      <a:pt x="362" y="1022"/>
                    </a:lnTo>
                    <a:lnTo>
                      <a:pt x="362" y="1022"/>
                    </a:lnTo>
                    <a:lnTo>
                      <a:pt x="362" y="1022"/>
                    </a:lnTo>
                    <a:lnTo>
                      <a:pt x="362" y="1022"/>
                    </a:lnTo>
                    <a:lnTo>
                      <a:pt x="362" y="1015"/>
                    </a:lnTo>
                    <a:lnTo>
                      <a:pt x="362" y="1015"/>
                    </a:lnTo>
                    <a:lnTo>
                      <a:pt x="362" y="1015"/>
                    </a:lnTo>
                    <a:lnTo>
                      <a:pt x="355" y="1008"/>
                    </a:lnTo>
                    <a:lnTo>
                      <a:pt x="355" y="1008"/>
                    </a:lnTo>
                    <a:lnTo>
                      <a:pt x="347" y="1008"/>
                    </a:lnTo>
                    <a:lnTo>
                      <a:pt x="347" y="1008"/>
                    </a:lnTo>
                    <a:lnTo>
                      <a:pt x="347" y="1008"/>
                    </a:lnTo>
                    <a:lnTo>
                      <a:pt x="340" y="1015"/>
                    </a:lnTo>
                    <a:lnTo>
                      <a:pt x="340" y="1015"/>
                    </a:lnTo>
                    <a:lnTo>
                      <a:pt x="340" y="1015"/>
                    </a:lnTo>
                    <a:lnTo>
                      <a:pt x="340" y="1015"/>
                    </a:lnTo>
                    <a:lnTo>
                      <a:pt x="340" y="1015"/>
                    </a:lnTo>
                    <a:lnTo>
                      <a:pt x="340" y="1015"/>
                    </a:lnTo>
                    <a:lnTo>
                      <a:pt x="340" y="1008"/>
                    </a:lnTo>
                    <a:lnTo>
                      <a:pt x="340" y="1008"/>
                    </a:lnTo>
                    <a:lnTo>
                      <a:pt x="333" y="1008"/>
                    </a:lnTo>
                    <a:lnTo>
                      <a:pt x="333" y="1008"/>
                    </a:lnTo>
                    <a:lnTo>
                      <a:pt x="333" y="1008"/>
                    </a:lnTo>
                    <a:lnTo>
                      <a:pt x="333" y="1001"/>
                    </a:lnTo>
                    <a:lnTo>
                      <a:pt x="333" y="1008"/>
                    </a:lnTo>
                    <a:lnTo>
                      <a:pt x="333" y="1008"/>
                    </a:lnTo>
                    <a:lnTo>
                      <a:pt x="326" y="1008"/>
                    </a:lnTo>
                    <a:lnTo>
                      <a:pt x="326" y="1008"/>
                    </a:lnTo>
                    <a:lnTo>
                      <a:pt x="326" y="1008"/>
                    </a:lnTo>
                    <a:lnTo>
                      <a:pt x="326" y="1001"/>
                    </a:lnTo>
                    <a:lnTo>
                      <a:pt x="326" y="1001"/>
                    </a:lnTo>
                    <a:lnTo>
                      <a:pt x="319" y="1001"/>
                    </a:lnTo>
                    <a:lnTo>
                      <a:pt x="319" y="994"/>
                    </a:lnTo>
                    <a:lnTo>
                      <a:pt x="319" y="994"/>
                    </a:lnTo>
                    <a:lnTo>
                      <a:pt x="312" y="994"/>
                    </a:lnTo>
                    <a:lnTo>
                      <a:pt x="312" y="994"/>
                    </a:lnTo>
                    <a:lnTo>
                      <a:pt x="312" y="994"/>
                    </a:lnTo>
                    <a:lnTo>
                      <a:pt x="312" y="994"/>
                    </a:lnTo>
                    <a:lnTo>
                      <a:pt x="312" y="994"/>
                    </a:lnTo>
                    <a:lnTo>
                      <a:pt x="312" y="994"/>
                    </a:lnTo>
                    <a:lnTo>
                      <a:pt x="312" y="994"/>
                    </a:lnTo>
                    <a:lnTo>
                      <a:pt x="305" y="994"/>
                    </a:lnTo>
                    <a:lnTo>
                      <a:pt x="305" y="994"/>
                    </a:lnTo>
                    <a:lnTo>
                      <a:pt x="305" y="987"/>
                    </a:lnTo>
                    <a:lnTo>
                      <a:pt x="305" y="987"/>
                    </a:lnTo>
                    <a:lnTo>
                      <a:pt x="305" y="987"/>
                    </a:lnTo>
                    <a:lnTo>
                      <a:pt x="305" y="987"/>
                    </a:lnTo>
                    <a:lnTo>
                      <a:pt x="298" y="987"/>
                    </a:lnTo>
                    <a:lnTo>
                      <a:pt x="298" y="987"/>
                    </a:lnTo>
                    <a:lnTo>
                      <a:pt x="298" y="987"/>
                    </a:lnTo>
                    <a:lnTo>
                      <a:pt x="298" y="987"/>
                    </a:lnTo>
                    <a:lnTo>
                      <a:pt x="298" y="987"/>
                    </a:lnTo>
                    <a:lnTo>
                      <a:pt x="291" y="987"/>
                    </a:lnTo>
                    <a:lnTo>
                      <a:pt x="291" y="987"/>
                    </a:lnTo>
                    <a:lnTo>
                      <a:pt x="291" y="987"/>
                    </a:lnTo>
                    <a:lnTo>
                      <a:pt x="291" y="987"/>
                    </a:lnTo>
                    <a:lnTo>
                      <a:pt x="291" y="980"/>
                    </a:lnTo>
                    <a:lnTo>
                      <a:pt x="291" y="973"/>
                    </a:lnTo>
                    <a:lnTo>
                      <a:pt x="291" y="973"/>
                    </a:lnTo>
                    <a:lnTo>
                      <a:pt x="291" y="973"/>
                    </a:lnTo>
                    <a:lnTo>
                      <a:pt x="284" y="973"/>
                    </a:lnTo>
                    <a:lnTo>
                      <a:pt x="284" y="973"/>
                    </a:lnTo>
                    <a:lnTo>
                      <a:pt x="276" y="980"/>
                    </a:lnTo>
                    <a:lnTo>
                      <a:pt x="269" y="980"/>
                    </a:lnTo>
                    <a:lnTo>
                      <a:pt x="262" y="973"/>
                    </a:lnTo>
                    <a:lnTo>
                      <a:pt x="262" y="973"/>
                    </a:lnTo>
                    <a:lnTo>
                      <a:pt x="255" y="973"/>
                    </a:lnTo>
                    <a:lnTo>
                      <a:pt x="255" y="973"/>
                    </a:lnTo>
                    <a:lnTo>
                      <a:pt x="255" y="973"/>
                    </a:lnTo>
                    <a:lnTo>
                      <a:pt x="248" y="973"/>
                    </a:lnTo>
                    <a:lnTo>
                      <a:pt x="248" y="973"/>
                    </a:lnTo>
                    <a:lnTo>
                      <a:pt x="248" y="966"/>
                    </a:lnTo>
                    <a:lnTo>
                      <a:pt x="248" y="966"/>
                    </a:lnTo>
                    <a:lnTo>
                      <a:pt x="241" y="966"/>
                    </a:lnTo>
                    <a:lnTo>
                      <a:pt x="241" y="959"/>
                    </a:lnTo>
                    <a:lnTo>
                      <a:pt x="241" y="959"/>
                    </a:lnTo>
                    <a:lnTo>
                      <a:pt x="241" y="959"/>
                    </a:lnTo>
                    <a:lnTo>
                      <a:pt x="241" y="959"/>
                    </a:lnTo>
                    <a:lnTo>
                      <a:pt x="241" y="959"/>
                    </a:lnTo>
                    <a:lnTo>
                      <a:pt x="241" y="959"/>
                    </a:lnTo>
                    <a:lnTo>
                      <a:pt x="241" y="959"/>
                    </a:lnTo>
                    <a:lnTo>
                      <a:pt x="234" y="959"/>
                    </a:lnTo>
                    <a:lnTo>
                      <a:pt x="234" y="959"/>
                    </a:lnTo>
                    <a:lnTo>
                      <a:pt x="234" y="959"/>
                    </a:lnTo>
                    <a:lnTo>
                      <a:pt x="234" y="951"/>
                    </a:lnTo>
                    <a:lnTo>
                      <a:pt x="227" y="951"/>
                    </a:lnTo>
                    <a:lnTo>
                      <a:pt x="227" y="951"/>
                    </a:lnTo>
                    <a:lnTo>
                      <a:pt x="227" y="951"/>
                    </a:lnTo>
                    <a:lnTo>
                      <a:pt x="227" y="951"/>
                    </a:lnTo>
                    <a:lnTo>
                      <a:pt x="227" y="951"/>
                    </a:lnTo>
                    <a:lnTo>
                      <a:pt x="227" y="951"/>
                    </a:lnTo>
                    <a:lnTo>
                      <a:pt x="220" y="951"/>
                    </a:lnTo>
                    <a:lnTo>
                      <a:pt x="220" y="951"/>
                    </a:lnTo>
                    <a:lnTo>
                      <a:pt x="220" y="951"/>
                    </a:lnTo>
                    <a:lnTo>
                      <a:pt x="220" y="944"/>
                    </a:lnTo>
                    <a:lnTo>
                      <a:pt x="220" y="944"/>
                    </a:lnTo>
                    <a:lnTo>
                      <a:pt x="220" y="944"/>
                    </a:lnTo>
                    <a:lnTo>
                      <a:pt x="213" y="944"/>
                    </a:lnTo>
                    <a:lnTo>
                      <a:pt x="213" y="944"/>
                    </a:lnTo>
                    <a:lnTo>
                      <a:pt x="198" y="923"/>
                    </a:lnTo>
                    <a:lnTo>
                      <a:pt x="191" y="923"/>
                    </a:lnTo>
                    <a:lnTo>
                      <a:pt x="191" y="923"/>
                    </a:lnTo>
                    <a:lnTo>
                      <a:pt x="191" y="923"/>
                    </a:lnTo>
                    <a:lnTo>
                      <a:pt x="191" y="923"/>
                    </a:lnTo>
                    <a:lnTo>
                      <a:pt x="191" y="923"/>
                    </a:lnTo>
                    <a:lnTo>
                      <a:pt x="191" y="923"/>
                    </a:lnTo>
                    <a:lnTo>
                      <a:pt x="191" y="923"/>
                    </a:lnTo>
                    <a:lnTo>
                      <a:pt x="191" y="923"/>
                    </a:lnTo>
                    <a:lnTo>
                      <a:pt x="184" y="923"/>
                    </a:lnTo>
                    <a:lnTo>
                      <a:pt x="184" y="916"/>
                    </a:lnTo>
                    <a:lnTo>
                      <a:pt x="184" y="916"/>
                    </a:lnTo>
                    <a:lnTo>
                      <a:pt x="184" y="909"/>
                    </a:lnTo>
                    <a:lnTo>
                      <a:pt x="184" y="909"/>
                    </a:lnTo>
                    <a:lnTo>
                      <a:pt x="184" y="909"/>
                    </a:lnTo>
                    <a:lnTo>
                      <a:pt x="184" y="909"/>
                    </a:lnTo>
                    <a:lnTo>
                      <a:pt x="184" y="902"/>
                    </a:lnTo>
                    <a:lnTo>
                      <a:pt x="184" y="902"/>
                    </a:lnTo>
                    <a:lnTo>
                      <a:pt x="184" y="902"/>
                    </a:lnTo>
                    <a:lnTo>
                      <a:pt x="184" y="902"/>
                    </a:lnTo>
                    <a:lnTo>
                      <a:pt x="184" y="902"/>
                    </a:lnTo>
                    <a:lnTo>
                      <a:pt x="184" y="902"/>
                    </a:lnTo>
                    <a:lnTo>
                      <a:pt x="184" y="895"/>
                    </a:lnTo>
                    <a:lnTo>
                      <a:pt x="184" y="895"/>
                    </a:lnTo>
                    <a:lnTo>
                      <a:pt x="184" y="895"/>
                    </a:lnTo>
                    <a:lnTo>
                      <a:pt x="184" y="895"/>
                    </a:lnTo>
                    <a:lnTo>
                      <a:pt x="184" y="895"/>
                    </a:lnTo>
                    <a:lnTo>
                      <a:pt x="184" y="895"/>
                    </a:lnTo>
                    <a:lnTo>
                      <a:pt x="184" y="895"/>
                    </a:lnTo>
                    <a:lnTo>
                      <a:pt x="177" y="895"/>
                    </a:lnTo>
                    <a:lnTo>
                      <a:pt x="177" y="895"/>
                    </a:lnTo>
                    <a:lnTo>
                      <a:pt x="177" y="895"/>
                    </a:lnTo>
                    <a:lnTo>
                      <a:pt x="177" y="895"/>
                    </a:lnTo>
                    <a:lnTo>
                      <a:pt x="177" y="895"/>
                    </a:lnTo>
                    <a:lnTo>
                      <a:pt x="177" y="895"/>
                    </a:lnTo>
                    <a:lnTo>
                      <a:pt x="177" y="895"/>
                    </a:lnTo>
                    <a:lnTo>
                      <a:pt x="170" y="895"/>
                    </a:lnTo>
                    <a:lnTo>
                      <a:pt x="170" y="895"/>
                    </a:lnTo>
                    <a:lnTo>
                      <a:pt x="170" y="895"/>
                    </a:lnTo>
                    <a:lnTo>
                      <a:pt x="170" y="895"/>
                    </a:lnTo>
                    <a:lnTo>
                      <a:pt x="170" y="895"/>
                    </a:lnTo>
                    <a:lnTo>
                      <a:pt x="170" y="888"/>
                    </a:lnTo>
                    <a:lnTo>
                      <a:pt x="170" y="888"/>
                    </a:lnTo>
                    <a:lnTo>
                      <a:pt x="170" y="888"/>
                    </a:lnTo>
                    <a:lnTo>
                      <a:pt x="170" y="888"/>
                    </a:lnTo>
                    <a:lnTo>
                      <a:pt x="170" y="888"/>
                    </a:lnTo>
                    <a:lnTo>
                      <a:pt x="170" y="880"/>
                    </a:lnTo>
                    <a:lnTo>
                      <a:pt x="170" y="880"/>
                    </a:lnTo>
                    <a:lnTo>
                      <a:pt x="170" y="880"/>
                    </a:lnTo>
                    <a:lnTo>
                      <a:pt x="163" y="873"/>
                    </a:lnTo>
                    <a:lnTo>
                      <a:pt x="163" y="873"/>
                    </a:lnTo>
                    <a:lnTo>
                      <a:pt x="163" y="873"/>
                    </a:lnTo>
                    <a:lnTo>
                      <a:pt x="163" y="880"/>
                    </a:lnTo>
                    <a:lnTo>
                      <a:pt x="163" y="880"/>
                    </a:lnTo>
                    <a:lnTo>
                      <a:pt x="156" y="880"/>
                    </a:lnTo>
                    <a:lnTo>
                      <a:pt x="156" y="880"/>
                    </a:lnTo>
                    <a:lnTo>
                      <a:pt x="156" y="880"/>
                    </a:lnTo>
                    <a:lnTo>
                      <a:pt x="156" y="873"/>
                    </a:lnTo>
                    <a:lnTo>
                      <a:pt x="156" y="873"/>
                    </a:lnTo>
                    <a:lnTo>
                      <a:pt x="156" y="873"/>
                    </a:lnTo>
                    <a:lnTo>
                      <a:pt x="149" y="873"/>
                    </a:lnTo>
                    <a:lnTo>
                      <a:pt x="149" y="873"/>
                    </a:lnTo>
                    <a:lnTo>
                      <a:pt x="149" y="873"/>
                    </a:lnTo>
                    <a:lnTo>
                      <a:pt x="149" y="873"/>
                    </a:lnTo>
                    <a:lnTo>
                      <a:pt x="149" y="873"/>
                    </a:lnTo>
                    <a:lnTo>
                      <a:pt x="149" y="873"/>
                    </a:lnTo>
                    <a:lnTo>
                      <a:pt x="149" y="873"/>
                    </a:lnTo>
                    <a:lnTo>
                      <a:pt x="149" y="866"/>
                    </a:lnTo>
                    <a:lnTo>
                      <a:pt x="149" y="866"/>
                    </a:lnTo>
                    <a:lnTo>
                      <a:pt x="149" y="866"/>
                    </a:lnTo>
                    <a:lnTo>
                      <a:pt x="149" y="866"/>
                    </a:lnTo>
                    <a:lnTo>
                      <a:pt x="149" y="866"/>
                    </a:lnTo>
                    <a:lnTo>
                      <a:pt x="149" y="866"/>
                    </a:lnTo>
                    <a:lnTo>
                      <a:pt x="149" y="866"/>
                    </a:lnTo>
                    <a:lnTo>
                      <a:pt x="142" y="859"/>
                    </a:lnTo>
                    <a:lnTo>
                      <a:pt x="142" y="859"/>
                    </a:lnTo>
                    <a:lnTo>
                      <a:pt x="142" y="859"/>
                    </a:lnTo>
                    <a:lnTo>
                      <a:pt x="134" y="859"/>
                    </a:lnTo>
                    <a:lnTo>
                      <a:pt x="134" y="866"/>
                    </a:lnTo>
                    <a:lnTo>
                      <a:pt x="134" y="866"/>
                    </a:lnTo>
                    <a:lnTo>
                      <a:pt x="134" y="866"/>
                    </a:lnTo>
                    <a:lnTo>
                      <a:pt x="134" y="866"/>
                    </a:lnTo>
                    <a:lnTo>
                      <a:pt x="134" y="866"/>
                    </a:lnTo>
                    <a:lnTo>
                      <a:pt x="134" y="859"/>
                    </a:lnTo>
                    <a:lnTo>
                      <a:pt x="134" y="859"/>
                    </a:lnTo>
                    <a:lnTo>
                      <a:pt x="134" y="859"/>
                    </a:lnTo>
                    <a:lnTo>
                      <a:pt x="134" y="859"/>
                    </a:lnTo>
                    <a:lnTo>
                      <a:pt x="134" y="859"/>
                    </a:lnTo>
                    <a:lnTo>
                      <a:pt x="134" y="859"/>
                    </a:lnTo>
                    <a:lnTo>
                      <a:pt x="134" y="859"/>
                    </a:lnTo>
                    <a:lnTo>
                      <a:pt x="127" y="859"/>
                    </a:lnTo>
                    <a:lnTo>
                      <a:pt x="127" y="859"/>
                    </a:lnTo>
                    <a:lnTo>
                      <a:pt x="127" y="859"/>
                    </a:lnTo>
                    <a:lnTo>
                      <a:pt x="127" y="859"/>
                    </a:lnTo>
                    <a:lnTo>
                      <a:pt x="127" y="859"/>
                    </a:lnTo>
                    <a:lnTo>
                      <a:pt x="127" y="859"/>
                    </a:lnTo>
                    <a:lnTo>
                      <a:pt x="127" y="852"/>
                    </a:lnTo>
                    <a:lnTo>
                      <a:pt x="127" y="852"/>
                    </a:lnTo>
                    <a:lnTo>
                      <a:pt x="120" y="852"/>
                    </a:lnTo>
                    <a:lnTo>
                      <a:pt x="120" y="852"/>
                    </a:lnTo>
                    <a:lnTo>
                      <a:pt x="120" y="852"/>
                    </a:lnTo>
                    <a:lnTo>
                      <a:pt x="120" y="852"/>
                    </a:lnTo>
                    <a:lnTo>
                      <a:pt x="120" y="852"/>
                    </a:lnTo>
                    <a:lnTo>
                      <a:pt x="120" y="852"/>
                    </a:lnTo>
                    <a:lnTo>
                      <a:pt x="113" y="852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7" name="Freeform 35"/>
              <p:cNvSpPr>
                <a:spLocks/>
              </p:cNvSpPr>
              <p:nvPr/>
            </p:nvSpPr>
            <p:spPr bwMode="auto">
              <a:xfrm>
                <a:off x="2534" y="2082"/>
                <a:ext cx="1164" cy="951"/>
              </a:xfrm>
              <a:custGeom>
                <a:avLst/>
                <a:gdLst>
                  <a:gd name="T0" fmla="*/ 106 w 1164"/>
                  <a:gd name="T1" fmla="*/ 873 h 951"/>
                  <a:gd name="T2" fmla="*/ 92 w 1164"/>
                  <a:gd name="T3" fmla="*/ 816 h 951"/>
                  <a:gd name="T4" fmla="*/ 85 w 1164"/>
                  <a:gd name="T5" fmla="*/ 767 h 951"/>
                  <a:gd name="T6" fmla="*/ 71 w 1164"/>
                  <a:gd name="T7" fmla="*/ 681 h 951"/>
                  <a:gd name="T8" fmla="*/ 50 w 1164"/>
                  <a:gd name="T9" fmla="*/ 596 h 951"/>
                  <a:gd name="T10" fmla="*/ 42 w 1164"/>
                  <a:gd name="T11" fmla="*/ 554 h 951"/>
                  <a:gd name="T12" fmla="*/ 28 w 1164"/>
                  <a:gd name="T13" fmla="*/ 525 h 951"/>
                  <a:gd name="T14" fmla="*/ 42 w 1164"/>
                  <a:gd name="T15" fmla="*/ 483 h 951"/>
                  <a:gd name="T16" fmla="*/ 42 w 1164"/>
                  <a:gd name="T17" fmla="*/ 440 h 951"/>
                  <a:gd name="T18" fmla="*/ 21 w 1164"/>
                  <a:gd name="T19" fmla="*/ 440 h 951"/>
                  <a:gd name="T20" fmla="*/ 35 w 1164"/>
                  <a:gd name="T21" fmla="*/ 397 h 951"/>
                  <a:gd name="T22" fmla="*/ 14 w 1164"/>
                  <a:gd name="T23" fmla="*/ 362 h 951"/>
                  <a:gd name="T24" fmla="*/ 0 w 1164"/>
                  <a:gd name="T25" fmla="*/ 334 h 951"/>
                  <a:gd name="T26" fmla="*/ 50 w 1164"/>
                  <a:gd name="T27" fmla="*/ 291 h 951"/>
                  <a:gd name="T28" fmla="*/ 85 w 1164"/>
                  <a:gd name="T29" fmla="*/ 270 h 951"/>
                  <a:gd name="T30" fmla="*/ 106 w 1164"/>
                  <a:gd name="T31" fmla="*/ 206 h 951"/>
                  <a:gd name="T32" fmla="*/ 156 w 1164"/>
                  <a:gd name="T33" fmla="*/ 206 h 951"/>
                  <a:gd name="T34" fmla="*/ 142 w 1164"/>
                  <a:gd name="T35" fmla="*/ 128 h 951"/>
                  <a:gd name="T36" fmla="*/ 177 w 1164"/>
                  <a:gd name="T37" fmla="*/ 99 h 951"/>
                  <a:gd name="T38" fmla="*/ 213 w 1164"/>
                  <a:gd name="T39" fmla="*/ 64 h 951"/>
                  <a:gd name="T40" fmla="*/ 163 w 1164"/>
                  <a:gd name="T41" fmla="*/ 28 h 951"/>
                  <a:gd name="T42" fmla="*/ 262 w 1164"/>
                  <a:gd name="T43" fmla="*/ 35 h 951"/>
                  <a:gd name="T44" fmla="*/ 376 w 1164"/>
                  <a:gd name="T45" fmla="*/ 92 h 951"/>
                  <a:gd name="T46" fmla="*/ 483 w 1164"/>
                  <a:gd name="T47" fmla="*/ 121 h 951"/>
                  <a:gd name="T48" fmla="*/ 582 w 1164"/>
                  <a:gd name="T49" fmla="*/ 71 h 951"/>
                  <a:gd name="T50" fmla="*/ 681 w 1164"/>
                  <a:gd name="T51" fmla="*/ 35 h 951"/>
                  <a:gd name="T52" fmla="*/ 681 w 1164"/>
                  <a:gd name="T53" fmla="*/ 85 h 951"/>
                  <a:gd name="T54" fmla="*/ 788 w 1164"/>
                  <a:gd name="T55" fmla="*/ 64 h 951"/>
                  <a:gd name="T56" fmla="*/ 866 w 1164"/>
                  <a:gd name="T57" fmla="*/ 71 h 951"/>
                  <a:gd name="T58" fmla="*/ 965 w 1164"/>
                  <a:gd name="T59" fmla="*/ 57 h 951"/>
                  <a:gd name="T60" fmla="*/ 1029 w 1164"/>
                  <a:gd name="T61" fmla="*/ 64 h 951"/>
                  <a:gd name="T62" fmla="*/ 1093 w 1164"/>
                  <a:gd name="T63" fmla="*/ 85 h 951"/>
                  <a:gd name="T64" fmla="*/ 1107 w 1164"/>
                  <a:gd name="T65" fmla="*/ 149 h 951"/>
                  <a:gd name="T66" fmla="*/ 1121 w 1164"/>
                  <a:gd name="T67" fmla="*/ 213 h 951"/>
                  <a:gd name="T68" fmla="*/ 1114 w 1164"/>
                  <a:gd name="T69" fmla="*/ 284 h 951"/>
                  <a:gd name="T70" fmla="*/ 1093 w 1164"/>
                  <a:gd name="T71" fmla="*/ 319 h 951"/>
                  <a:gd name="T72" fmla="*/ 1150 w 1164"/>
                  <a:gd name="T73" fmla="*/ 355 h 951"/>
                  <a:gd name="T74" fmla="*/ 1121 w 1164"/>
                  <a:gd name="T75" fmla="*/ 390 h 951"/>
                  <a:gd name="T76" fmla="*/ 1058 w 1164"/>
                  <a:gd name="T77" fmla="*/ 483 h 951"/>
                  <a:gd name="T78" fmla="*/ 1036 w 1164"/>
                  <a:gd name="T79" fmla="*/ 383 h 951"/>
                  <a:gd name="T80" fmla="*/ 979 w 1164"/>
                  <a:gd name="T81" fmla="*/ 362 h 951"/>
                  <a:gd name="T82" fmla="*/ 894 w 1164"/>
                  <a:gd name="T83" fmla="*/ 355 h 951"/>
                  <a:gd name="T84" fmla="*/ 830 w 1164"/>
                  <a:gd name="T85" fmla="*/ 319 h 951"/>
                  <a:gd name="T86" fmla="*/ 802 w 1164"/>
                  <a:gd name="T87" fmla="*/ 348 h 951"/>
                  <a:gd name="T88" fmla="*/ 759 w 1164"/>
                  <a:gd name="T89" fmla="*/ 405 h 951"/>
                  <a:gd name="T90" fmla="*/ 724 w 1164"/>
                  <a:gd name="T91" fmla="*/ 433 h 951"/>
                  <a:gd name="T92" fmla="*/ 738 w 1164"/>
                  <a:gd name="T93" fmla="*/ 468 h 951"/>
                  <a:gd name="T94" fmla="*/ 696 w 1164"/>
                  <a:gd name="T95" fmla="*/ 518 h 951"/>
                  <a:gd name="T96" fmla="*/ 660 w 1164"/>
                  <a:gd name="T97" fmla="*/ 525 h 951"/>
                  <a:gd name="T98" fmla="*/ 603 w 1164"/>
                  <a:gd name="T99" fmla="*/ 582 h 951"/>
                  <a:gd name="T100" fmla="*/ 546 w 1164"/>
                  <a:gd name="T101" fmla="*/ 625 h 951"/>
                  <a:gd name="T102" fmla="*/ 525 w 1164"/>
                  <a:gd name="T103" fmla="*/ 674 h 951"/>
                  <a:gd name="T104" fmla="*/ 461 w 1164"/>
                  <a:gd name="T105" fmla="*/ 689 h 951"/>
                  <a:gd name="T106" fmla="*/ 412 w 1164"/>
                  <a:gd name="T107" fmla="*/ 696 h 951"/>
                  <a:gd name="T108" fmla="*/ 412 w 1164"/>
                  <a:gd name="T109" fmla="*/ 738 h 951"/>
                  <a:gd name="T110" fmla="*/ 341 w 1164"/>
                  <a:gd name="T111" fmla="*/ 752 h 951"/>
                  <a:gd name="T112" fmla="*/ 291 w 1164"/>
                  <a:gd name="T113" fmla="*/ 781 h 951"/>
                  <a:gd name="T114" fmla="*/ 262 w 1164"/>
                  <a:gd name="T115" fmla="*/ 802 h 951"/>
                  <a:gd name="T116" fmla="*/ 227 w 1164"/>
                  <a:gd name="T117" fmla="*/ 809 h 951"/>
                  <a:gd name="T118" fmla="*/ 234 w 1164"/>
                  <a:gd name="T119" fmla="*/ 831 h 951"/>
                  <a:gd name="T120" fmla="*/ 255 w 1164"/>
                  <a:gd name="T121" fmla="*/ 873 h 951"/>
                  <a:gd name="T122" fmla="*/ 220 w 1164"/>
                  <a:gd name="T123" fmla="*/ 930 h 951"/>
                  <a:gd name="T124" fmla="*/ 163 w 1164"/>
                  <a:gd name="T125" fmla="*/ 930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64" h="951">
                    <a:moveTo>
                      <a:pt x="142" y="930"/>
                    </a:moveTo>
                    <a:lnTo>
                      <a:pt x="142" y="930"/>
                    </a:lnTo>
                    <a:lnTo>
                      <a:pt x="142" y="930"/>
                    </a:lnTo>
                    <a:lnTo>
                      <a:pt x="142" y="930"/>
                    </a:lnTo>
                    <a:lnTo>
                      <a:pt x="135" y="930"/>
                    </a:lnTo>
                    <a:lnTo>
                      <a:pt x="135" y="930"/>
                    </a:lnTo>
                    <a:lnTo>
                      <a:pt x="135" y="930"/>
                    </a:lnTo>
                    <a:lnTo>
                      <a:pt x="135" y="930"/>
                    </a:lnTo>
                    <a:lnTo>
                      <a:pt x="135" y="923"/>
                    </a:lnTo>
                    <a:lnTo>
                      <a:pt x="135" y="916"/>
                    </a:lnTo>
                    <a:lnTo>
                      <a:pt x="128" y="909"/>
                    </a:lnTo>
                    <a:lnTo>
                      <a:pt x="128" y="909"/>
                    </a:lnTo>
                    <a:lnTo>
                      <a:pt x="121" y="901"/>
                    </a:lnTo>
                    <a:lnTo>
                      <a:pt x="113" y="894"/>
                    </a:lnTo>
                    <a:lnTo>
                      <a:pt x="113" y="894"/>
                    </a:lnTo>
                    <a:lnTo>
                      <a:pt x="113" y="887"/>
                    </a:lnTo>
                    <a:lnTo>
                      <a:pt x="113" y="887"/>
                    </a:lnTo>
                    <a:lnTo>
                      <a:pt x="113" y="887"/>
                    </a:lnTo>
                    <a:lnTo>
                      <a:pt x="113" y="887"/>
                    </a:lnTo>
                    <a:lnTo>
                      <a:pt x="113" y="887"/>
                    </a:lnTo>
                    <a:lnTo>
                      <a:pt x="106" y="887"/>
                    </a:lnTo>
                    <a:lnTo>
                      <a:pt x="106" y="887"/>
                    </a:lnTo>
                    <a:lnTo>
                      <a:pt x="106" y="887"/>
                    </a:lnTo>
                    <a:lnTo>
                      <a:pt x="106" y="880"/>
                    </a:lnTo>
                    <a:lnTo>
                      <a:pt x="106" y="880"/>
                    </a:lnTo>
                    <a:lnTo>
                      <a:pt x="106" y="880"/>
                    </a:lnTo>
                    <a:lnTo>
                      <a:pt x="106" y="880"/>
                    </a:lnTo>
                    <a:lnTo>
                      <a:pt x="106" y="880"/>
                    </a:lnTo>
                    <a:lnTo>
                      <a:pt x="106" y="880"/>
                    </a:lnTo>
                    <a:lnTo>
                      <a:pt x="106" y="873"/>
                    </a:lnTo>
                    <a:lnTo>
                      <a:pt x="106" y="866"/>
                    </a:lnTo>
                    <a:lnTo>
                      <a:pt x="106" y="866"/>
                    </a:lnTo>
                    <a:lnTo>
                      <a:pt x="113" y="866"/>
                    </a:lnTo>
                    <a:lnTo>
                      <a:pt x="113" y="866"/>
                    </a:lnTo>
                    <a:lnTo>
                      <a:pt x="106" y="866"/>
                    </a:lnTo>
                    <a:lnTo>
                      <a:pt x="106" y="866"/>
                    </a:lnTo>
                    <a:lnTo>
                      <a:pt x="106" y="873"/>
                    </a:lnTo>
                    <a:lnTo>
                      <a:pt x="106" y="873"/>
                    </a:lnTo>
                    <a:lnTo>
                      <a:pt x="106" y="866"/>
                    </a:lnTo>
                    <a:lnTo>
                      <a:pt x="106" y="859"/>
                    </a:lnTo>
                    <a:lnTo>
                      <a:pt x="106" y="859"/>
                    </a:lnTo>
                    <a:lnTo>
                      <a:pt x="106" y="859"/>
                    </a:lnTo>
                    <a:lnTo>
                      <a:pt x="106" y="859"/>
                    </a:lnTo>
                    <a:lnTo>
                      <a:pt x="99" y="859"/>
                    </a:lnTo>
                    <a:lnTo>
                      <a:pt x="99" y="859"/>
                    </a:lnTo>
                    <a:lnTo>
                      <a:pt x="99" y="859"/>
                    </a:lnTo>
                    <a:lnTo>
                      <a:pt x="99" y="852"/>
                    </a:lnTo>
                    <a:lnTo>
                      <a:pt x="99" y="845"/>
                    </a:lnTo>
                    <a:lnTo>
                      <a:pt x="99" y="838"/>
                    </a:lnTo>
                    <a:lnTo>
                      <a:pt x="99" y="838"/>
                    </a:lnTo>
                    <a:lnTo>
                      <a:pt x="99" y="838"/>
                    </a:lnTo>
                    <a:lnTo>
                      <a:pt x="92" y="838"/>
                    </a:lnTo>
                    <a:lnTo>
                      <a:pt x="92" y="838"/>
                    </a:lnTo>
                    <a:lnTo>
                      <a:pt x="92" y="831"/>
                    </a:lnTo>
                    <a:lnTo>
                      <a:pt x="92" y="831"/>
                    </a:lnTo>
                    <a:lnTo>
                      <a:pt x="99" y="831"/>
                    </a:lnTo>
                    <a:lnTo>
                      <a:pt x="92" y="831"/>
                    </a:lnTo>
                    <a:lnTo>
                      <a:pt x="92" y="831"/>
                    </a:lnTo>
                    <a:lnTo>
                      <a:pt x="92" y="823"/>
                    </a:lnTo>
                    <a:lnTo>
                      <a:pt x="92" y="823"/>
                    </a:lnTo>
                    <a:lnTo>
                      <a:pt x="85" y="816"/>
                    </a:lnTo>
                    <a:lnTo>
                      <a:pt x="85" y="816"/>
                    </a:lnTo>
                    <a:lnTo>
                      <a:pt x="85" y="816"/>
                    </a:lnTo>
                    <a:lnTo>
                      <a:pt x="85" y="809"/>
                    </a:lnTo>
                    <a:lnTo>
                      <a:pt x="85" y="809"/>
                    </a:lnTo>
                    <a:lnTo>
                      <a:pt x="85" y="809"/>
                    </a:lnTo>
                    <a:lnTo>
                      <a:pt x="85" y="809"/>
                    </a:lnTo>
                    <a:lnTo>
                      <a:pt x="85" y="809"/>
                    </a:lnTo>
                    <a:lnTo>
                      <a:pt x="85" y="809"/>
                    </a:lnTo>
                    <a:lnTo>
                      <a:pt x="92" y="816"/>
                    </a:lnTo>
                    <a:lnTo>
                      <a:pt x="92" y="816"/>
                    </a:lnTo>
                    <a:lnTo>
                      <a:pt x="99" y="816"/>
                    </a:lnTo>
                    <a:lnTo>
                      <a:pt x="92" y="816"/>
                    </a:lnTo>
                    <a:lnTo>
                      <a:pt x="92" y="816"/>
                    </a:lnTo>
                    <a:lnTo>
                      <a:pt x="92" y="809"/>
                    </a:lnTo>
                    <a:lnTo>
                      <a:pt x="92" y="809"/>
                    </a:lnTo>
                    <a:lnTo>
                      <a:pt x="92" y="809"/>
                    </a:lnTo>
                    <a:lnTo>
                      <a:pt x="92" y="809"/>
                    </a:lnTo>
                    <a:lnTo>
                      <a:pt x="92" y="809"/>
                    </a:lnTo>
                    <a:lnTo>
                      <a:pt x="92" y="809"/>
                    </a:lnTo>
                    <a:lnTo>
                      <a:pt x="92" y="809"/>
                    </a:lnTo>
                    <a:lnTo>
                      <a:pt x="85" y="802"/>
                    </a:lnTo>
                    <a:lnTo>
                      <a:pt x="85" y="802"/>
                    </a:lnTo>
                    <a:lnTo>
                      <a:pt x="85" y="802"/>
                    </a:lnTo>
                    <a:lnTo>
                      <a:pt x="85" y="802"/>
                    </a:lnTo>
                    <a:lnTo>
                      <a:pt x="85" y="802"/>
                    </a:lnTo>
                    <a:lnTo>
                      <a:pt x="85" y="802"/>
                    </a:lnTo>
                    <a:lnTo>
                      <a:pt x="92" y="802"/>
                    </a:lnTo>
                    <a:lnTo>
                      <a:pt x="92" y="802"/>
                    </a:lnTo>
                    <a:lnTo>
                      <a:pt x="92" y="802"/>
                    </a:lnTo>
                    <a:lnTo>
                      <a:pt x="92" y="802"/>
                    </a:lnTo>
                    <a:lnTo>
                      <a:pt x="92" y="802"/>
                    </a:lnTo>
                    <a:lnTo>
                      <a:pt x="92" y="802"/>
                    </a:lnTo>
                    <a:lnTo>
                      <a:pt x="92" y="795"/>
                    </a:lnTo>
                    <a:lnTo>
                      <a:pt x="92" y="795"/>
                    </a:lnTo>
                    <a:lnTo>
                      <a:pt x="92" y="795"/>
                    </a:lnTo>
                    <a:lnTo>
                      <a:pt x="85" y="802"/>
                    </a:lnTo>
                    <a:lnTo>
                      <a:pt x="85" y="795"/>
                    </a:lnTo>
                    <a:lnTo>
                      <a:pt x="85" y="795"/>
                    </a:lnTo>
                    <a:lnTo>
                      <a:pt x="85" y="795"/>
                    </a:lnTo>
                    <a:lnTo>
                      <a:pt x="85" y="788"/>
                    </a:lnTo>
                    <a:lnTo>
                      <a:pt x="92" y="788"/>
                    </a:lnTo>
                    <a:lnTo>
                      <a:pt x="85" y="788"/>
                    </a:lnTo>
                    <a:lnTo>
                      <a:pt x="85" y="788"/>
                    </a:lnTo>
                    <a:lnTo>
                      <a:pt x="85" y="788"/>
                    </a:lnTo>
                    <a:lnTo>
                      <a:pt x="85" y="781"/>
                    </a:lnTo>
                    <a:lnTo>
                      <a:pt x="85" y="774"/>
                    </a:lnTo>
                    <a:lnTo>
                      <a:pt x="85" y="774"/>
                    </a:lnTo>
                    <a:lnTo>
                      <a:pt x="85" y="767"/>
                    </a:lnTo>
                    <a:lnTo>
                      <a:pt x="85" y="774"/>
                    </a:lnTo>
                    <a:lnTo>
                      <a:pt x="85" y="767"/>
                    </a:lnTo>
                    <a:lnTo>
                      <a:pt x="85" y="767"/>
                    </a:lnTo>
                    <a:lnTo>
                      <a:pt x="78" y="760"/>
                    </a:lnTo>
                    <a:lnTo>
                      <a:pt x="85" y="760"/>
                    </a:lnTo>
                    <a:lnTo>
                      <a:pt x="85" y="760"/>
                    </a:lnTo>
                    <a:lnTo>
                      <a:pt x="78" y="752"/>
                    </a:lnTo>
                    <a:lnTo>
                      <a:pt x="78" y="752"/>
                    </a:lnTo>
                    <a:lnTo>
                      <a:pt x="85" y="745"/>
                    </a:lnTo>
                    <a:lnTo>
                      <a:pt x="85" y="745"/>
                    </a:lnTo>
                    <a:lnTo>
                      <a:pt x="78" y="745"/>
                    </a:lnTo>
                    <a:lnTo>
                      <a:pt x="78" y="738"/>
                    </a:lnTo>
                    <a:lnTo>
                      <a:pt x="78" y="738"/>
                    </a:lnTo>
                    <a:lnTo>
                      <a:pt x="78" y="738"/>
                    </a:lnTo>
                    <a:lnTo>
                      <a:pt x="78" y="738"/>
                    </a:lnTo>
                    <a:lnTo>
                      <a:pt x="78" y="738"/>
                    </a:lnTo>
                    <a:lnTo>
                      <a:pt x="78" y="738"/>
                    </a:lnTo>
                    <a:lnTo>
                      <a:pt x="85" y="731"/>
                    </a:lnTo>
                    <a:lnTo>
                      <a:pt x="85" y="731"/>
                    </a:lnTo>
                    <a:lnTo>
                      <a:pt x="78" y="724"/>
                    </a:lnTo>
                    <a:lnTo>
                      <a:pt x="78" y="724"/>
                    </a:lnTo>
                    <a:lnTo>
                      <a:pt x="78" y="724"/>
                    </a:lnTo>
                    <a:lnTo>
                      <a:pt x="78" y="717"/>
                    </a:lnTo>
                    <a:lnTo>
                      <a:pt x="78" y="717"/>
                    </a:lnTo>
                    <a:lnTo>
                      <a:pt x="78" y="710"/>
                    </a:lnTo>
                    <a:lnTo>
                      <a:pt x="78" y="710"/>
                    </a:lnTo>
                    <a:lnTo>
                      <a:pt x="71" y="703"/>
                    </a:lnTo>
                    <a:lnTo>
                      <a:pt x="71" y="703"/>
                    </a:lnTo>
                    <a:lnTo>
                      <a:pt x="71" y="703"/>
                    </a:lnTo>
                    <a:lnTo>
                      <a:pt x="71" y="696"/>
                    </a:lnTo>
                    <a:lnTo>
                      <a:pt x="71" y="696"/>
                    </a:lnTo>
                    <a:lnTo>
                      <a:pt x="71" y="696"/>
                    </a:lnTo>
                    <a:lnTo>
                      <a:pt x="71" y="696"/>
                    </a:lnTo>
                    <a:lnTo>
                      <a:pt x="78" y="703"/>
                    </a:lnTo>
                    <a:lnTo>
                      <a:pt x="78" y="703"/>
                    </a:lnTo>
                    <a:lnTo>
                      <a:pt x="78" y="696"/>
                    </a:lnTo>
                    <a:lnTo>
                      <a:pt x="71" y="689"/>
                    </a:lnTo>
                    <a:lnTo>
                      <a:pt x="71" y="689"/>
                    </a:lnTo>
                    <a:lnTo>
                      <a:pt x="71" y="681"/>
                    </a:lnTo>
                    <a:lnTo>
                      <a:pt x="64" y="681"/>
                    </a:lnTo>
                    <a:lnTo>
                      <a:pt x="64" y="681"/>
                    </a:lnTo>
                    <a:lnTo>
                      <a:pt x="71" y="681"/>
                    </a:lnTo>
                    <a:lnTo>
                      <a:pt x="71" y="674"/>
                    </a:lnTo>
                    <a:lnTo>
                      <a:pt x="71" y="674"/>
                    </a:lnTo>
                    <a:lnTo>
                      <a:pt x="71" y="667"/>
                    </a:lnTo>
                    <a:lnTo>
                      <a:pt x="64" y="667"/>
                    </a:lnTo>
                    <a:lnTo>
                      <a:pt x="64" y="660"/>
                    </a:lnTo>
                    <a:lnTo>
                      <a:pt x="64" y="660"/>
                    </a:lnTo>
                    <a:lnTo>
                      <a:pt x="64" y="660"/>
                    </a:lnTo>
                    <a:lnTo>
                      <a:pt x="64" y="660"/>
                    </a:lnTo>
                    <a:lnTo>
                      <a:pt x="64" y="660"/>
                    </a:lnTo>
                    <a:lnTo>
                      <a:pt x="64" y="660"/>
                    </a:lnTo>
                    <a:lnTo>
                      <a:pt x="71" y="653"/>
                    </a:lnTo>
                    <a:lnTo>
                      <a:pt x="71" y="653"/>
                    </a:lnTo>
                    <a:lnTo>
                      <a:pt x="64" y="653"/>
                    </a:lnTo>
                    <a:lnTo>
                      <a:pt x="64" y="653"/>
                    </a:lnTo>
                    <a:lnTo>
                      <a:pt x="64" y="653"/>
                    </a:lnTo>
                    <a:lnTo>
                      <a:pt x="64" y="646"/>
                    </a:lnTo>
                    <a:lnTo>
                      <a:pt x="64" y="646"/>
                    </a:lnTo>
                    <a:lnTo>
                      <a:pt x="64" y="646"/>
                    </a:lnTo>
                    <a:lnTo>
                      <a:pt x="64" y="646"/>
                    </a:lnTo>
                    <a:lnTo>
                      <a:pt x="57" y="639"/>
                    </a:lnTo>
                    <a:lnTo>
                      <a:pt x="57" y="639"/>
                    </a:lnTo>
                    <a:lnTo>
                      <a:pt x="57" y="639"/>
                    </a:lnTo>
                    <a:lnTo>
                      <a:pt x="64" y="639"/>
                    </a:lnTo>
                    <a:lnTo>
                      <a:pt x="64" y="632"/>
                    </a:lnTo>
                    <a:lnTo>
                      <a:pt x="64" y="632"/>
                    </a:lnTo>
                    <a:lnTo>
                      <a:pt x="57" y="632"/>
                    </a:lnTo>
                    <a:lnTo>
                      <a:pt x="57" y="632"/>
                    </a:lnTo>
                    <a:lnTo>
                      <a:pt x="57" y="625"/>
                    </a:lnTo>
                    <a:lnTo>
                      <a:pt x="57" y="625"/>
                    </a:lnTo>
                    <a:lnTo>
                      <a:pt x="57" y="618"/>
                    </a:lnTo>
                    <a:lnTo>
                      <a:pt x="57" y="618"/>
                    </a:lnTo>
                    <a:lnTo>
                      <a:pt x="57" y="610"/>
                    </a:lnTo>
                    <a:lnTo>
                      <a:pt x="57" y="610"/>
                    </a:lnTo>
                    <a:lnTo>
                      <a:pt x="50" y="596"/>
                    </a:lnTo>
                    <a:lnTo>
                      <a:pt x="50" y="596"/>
                    </a:lnTo>
                    <a:lnTo>
                      <a:pt x="50" y="596"/>
                    </a:lnTo>
                    <a:lnTo>
                      <a:pt x="50" y="596"/>
                    </a:lnTo>
                    <a:lnTo>
                      <a:pt x="42" y="589"/>
                    </a:lnTo>
                    <a:lnTo>
                      <a:pt x="42" y="589"/>
                    </a:lnTo>
                    <a:lnTo>
                      <a:pt x="42" y="589"/>
                    </a:lnTo>
                    <a:lnTo>
                      <a:pt x="50" y="589"/>
                    </a:lnTo>
                    <a:lnTo>
                      <a:pt x="50" y="589"/>
                    </a:lnTo>
                    <a:lnTo>
                      <a:pt x="50" y="582"/>
                    </a:lnTo>
                    <a:lnTo>
                      <a:pt x="50" y="582"/>
                    </a:lnTo>
                    <a:lnTo>
                      <a:pt x="50" y="582"/>
                    </a:lnTo>
                    <a:lnTo>
                      <a:pt x="50" y="582"/>
                    </a:lnTo>
                    <a:lnTo>
                      <a:pt x="50" y="582"/>
                    </a:lnTo>
                    <a:lnTo>
                      <a:pt x="42" y="589"/>
                    </a:lnTo>
                    <a:lnTo>
                      <a:pt x="42" y="582"/>
                    </a:lnTo>
                    <a:lnTo>
                      <a:pt x="42" y="582"/>
                    </a:lnTo>
                    <a:lnTo>
                      <a:pt x="42" y="582"/>
                    </a:lnTo>
                    <a:lnTo>
                      <a:pt x="42" y="582"/>
                    </a:lnTo>
                    <a:lnTo>
                      <a:pt x="42" y="582"/>
                    </a:lnTo>
                    <a:lnTo>
                      <a:pt x="42" y="575"/>
                    </a:lnTo>
                    <a:lnTo>
                      <a:pt x="42" y="575"/>
                    </a:lnTo>
                    <a:lnTo>
                      <a:pt x="42" y="575"/>
                    </a:lnTo>
                    <a:lnTo>
                      <a:pt x="42" y="575"/>
                    </a:lnTo>
                    <a:lnTo>
                      <a:pt x="42" y="561"/>
                    </a:lnTo>
                    <a:lnTo>
                      <a:pt x="35" y="561"/>
                    </a:lnTo>
                    <a:lnTo>
                      <a:pt x="35" y="561"/>
                    </a:lnTo>
                    <a:lnTo>
                      <a:pt x="35" y="554"/>
                    </a:lnTo>
                    <a:lnTo>
                      <a:pt x="35" y="554"/>
                    </a:lnTo>
                    <a:lnTo>
                      <a:pt x="35" y="554"/>
                    </a:lnTo>
                    <a:lnTo>
                      <a:pt x="35" y="554"/>
                    </a:lnTo>
                    <a:lnTo>
                      <a:pt x="35" y="554"/>
                    </a:lnTo>
                    <a:lnTo>
                      <a:pt x="35" y="547"/>
                    </a:lnTo>
                    <a:lnTo>
                      <a:pt x="35" y="554"/>
                    </a:lnTo>
                    <a:lnTo>
                      <a:pt x="35" y="554"/>
                    </a:lnTo>
                    <a:lnTo>
                      <a:pt x="35" y="554"/>
                    </a:lnTo>
                    <a:lnTo>
                      <a:pt x="42" y="554"/>
                    </a:lnTo>
                    <a:lnTo>
                      <a:pt x="42" y="554"/>
                    </a:lnTo>
                    <a:lnTo>
                      <a:pt x="42" y="554"/>
                    </a:lnTo>
                    <a:lnTo>
                      <a:pt x="42" y="554"/>
                    </a:lnTo>
                    <a:lnTo>
                      <a:pt x="42" y="554"/>
                    </a:lnTo>
                    <a:lnTo>
                      <a:pt x="50" y="554"/>
                    </a:lnTo>
                    <a:lnTo>
                      <a:pt x="50" y="554"/>
                    </a:lnTo>
                    <a:lnTo>
                      <a:pt x="50" y="561"/>
                    </a:lnTo>
                    <a:lnTo>
                      <a:pt x="57" y="561"/>
                    </a:lnTo>
                    <a:lnTo>
                      <a:pt x="50" y="561"/>
                    </a:lnTo>
                    <a:lnTo>
                      <a:pt x="50" y="568"/>
                    </a:lnTo>
                    <a:lnTo>
                      <a:pt x="50" y="568"/>
                    </a:lnTo>
                    <a:lnTo>
                      <a:pt x="57" y="561"/>
                    </a:lnTo>
                    <a:lnTo>
                      <a:pt x="57" y="561"/>
                    </a:lnTo>
                    <a:lnTo>
                      <a:pt x="57" y="554"/>
                    </a:lnTo>
                    <a:lnTo>
                      <a:pt x="57" y="554"/>
                    </a:lnTo>
                    <a:lnTo>
                      <a:pt x="50" y="554"/>
                    </a:lnTo>
                    <a:lnTo>
                      <a:pt x="50" y="554"/>
                    </a:lnTo>
                    <a:lnTo>
                      <a:pt x="50" y="554"/>
                    </a:lnTo>
                    <a:lnTo>
                      <a:pt x="42" y="554"/>
                    </a:lnTo>
                    <a:lnTo>
                      <a:pt x="42" y="547"/>
                    </a:lnTo>
                    <a:lnTo>
                      <a:pt x="42" y="547"/>
                    </a:lnTo>
                    <a:lnTo>
                      <a:pt x="42" y="547"/>
                    </a:lnTo>
                    <a:lnTo>
                      <a:pt x="35" y="547"/>
                    </a:lnTo>
                    <a:lnTo>
                      <a:pt x="35" y="539"/>
                    </a:lnTo>
                    <a:lnTo>
                      <a:pt x="35" y="539"/>
                    </a:lnTo>
                    <a:lnTo>
                      <a:pt x="35" y="539"/>
                    </a:lnTo>
                    <a:lnTo>
                      <a:pt x="35" y="539"/>
                    </a:lnTo>
                    <a:lnTo>
                      <a:pt x="35" y="539"/>
                    </a:lnTo>
                    <a:lnTo>
                      <a:pt x="35" y="539"/>
                    </a:lnTo>
                    <a:lnTo>
                      <a:pt x="28" y="539"/>
                    </a:lnTo>
                    <a:lnTo>
                      <a:pt x="35" y="539"/>
                    </a:lnTo>
                    <a:lnTo>
                      <a:pt x="35" y="539"/>
                    </a:lnTo>
                    <a:lnTo>
                      <a:pt x="35" y="532"/>
                    </a:lnTo>
                    <a:lnTo>
                      <a:pt x="35" y="532"/>
                    </a:lnTo>
                    <a:lnTo>
                      <a:pt x="28" y="532"/>
                    </a:lnTo>
                    <a:lnTo>
                      <a:pt x="28" y="532"/>
                    </a:lnTo>
                    <a:lnTo>
                      <a:pt x="28" y="525"/>
                    </a:lnTo>
                    <a:lnTo>
                      <a:pt x="28" y="525"/>
                    </a:lnTo>
                    <a:lnTo>
                      <a:pt x="28" y="518"/>
                    </a:lnTo>
                    <a:lnTo>
                      <a:pt x="28" y="518"/>
                    </a:lnTo>
                    <a:lnTo>
                      <a:pt x="28" y="511"/>
                    </a:lnTo>
                    <a:lnTo>
                      <a:pt x="35" y="511"/>
                    </a:lnTo>
                    <a:lnTo>
                      <a:pt x="35" y="511"/>
                    </a:lnTo>
                    <a:lnTo>
                      <a:pt x="42" y="518"/>
                    </a:lnTo>
                    <a:lnTo>
                      <a:pt x="42" y="525"/>
                    </a:lnTo>
                    <a:lnTo>
                      <a:pt x="50" y="525"/>
                    </a:lnTo>
                    <a:lnTo>
                      <a:pt x="50" y="525"/>
                    </a:lnTo>
                    <a:lnTo>
                      <a:pt x="42" y="518"/>
                    </a:lnTo>
                    <a:lnTo>
                      <a:pt x="42" y="518"/>
                    </a:lnTo>
                    <a:lnTo>
                      <a:pt x="42" y="518"/>
                    </a:lnTo>
                    <a:lnTo>
                      <a:pt x="42" y="511"/>
                    </a:lnTo>
                    <a:lnTo>
                      <a:pt x="42" y="511"/>
                    </a:lnTo>
                    <a:lnTo>
                      <a:pt x="42" y="511"/>
                    </a:lnTo>
                    <a:lnTo>
                      <a:pt x="35" y="511"/>
                    </a:lnTo>
                    <a:lnTo>
                      <a:pt x="35" y="511"/>
                    </a:lnTo>
                    <a:lnTo>
                      <a:pt x="35" y="511"/>
                    </a:lnTo>
                    <a:lnTo>
                      <a:pt x="28" y="504"/>
                    </a:lnTo>
                    <a:lnTo>
                      <a:pt x="28" y="497"/>
                    </a:lnTo>
                    <a:lnTo>
                      <a:pt x="28" y="497"/>
                    </a:lnTo>
                    <a:lnTo>
                      <a:pt x="21" y="490"/>
                    </a:lnTo>
                    <a:lnTo>
                      <a:pt x="21" y="483"/>
                    </a:lnTo>
                    <a:lnTo>
                      <a:pt x="21" y="476"/>
                    </a:lnTo>
                    <a:lnTo>
                      <a:pt x="28" y="476"/>
                    </a:lnTo>
                    <a:lnTo>
                      <a:pt x="28" y="476"/>
                    </a:lnTo>
                    <a:lnTo>
                      <a:pt x="28" y="476"/>
                    </a:lnTo>
                    <a:lnTo>
                      <a:pt x="28" y="476"/>
                    </a:lnTo>
                    <a:lnTo>
                      <a:pt x="28" y="476"/>
                    </a:lnTo>
                    <a:lnTo>
                      <a:pt x="35" y="476"/>
                    </a:lnTo>
                    <a:lnTo>
                      <a:pt x="35" y="468"/>
                    </a:lnTo>
                    <a:lnTo>
                      <a:pt x="35" y="468"/>
                    </a:lnTo>
                    <a:lnTo>
                      <a:pt x="42" y="476"/>
                    </a:lnTo>
                    <a:lnTo>
                      <a:pt x="42" y="476"/>
                    </a:lnTo>
                    <a:lnTo>
                      <a:pt x="42" y="483"/>
                    </a:lnTo>
                    <a:lnTo>
                      <a:pt x="42" y="483"/>
                    </a:lnTo>
                    <a:lnTo>
                      <a:pt x="42" y="483"/>
                    </a:lnTo>
                    <a:lnTo>
                      <a:pt x="42" y="483"/>
                    </a:lnTo>
                    <a:lnTo>
                      <a:pt x="42" y="476"/>
                    </a:lnTo>
                    <a:lnTo>
                      <a:pt x="42" y="476"/>
                    </a:lnTo>
                    <a:lnTo>
                      <a:pt x="50" y="468"/>
                    </a:lnTo>
                    <a:lnTo>
                      <a:pt x="42" y="468"/>
                    </a:lnTo>
                    <a:lnTo>
                      <a:pt x="42" y="468"/>
                    </a:lnTo>
                    <a:lnTo>
                      <a:pt x="42" y="468"/>
                    </a:lnTo>
                    <a:lnTo>
                      <a:pt x="42" y="468"/>
                    </a:lnTo>
                    <a:lnTo>
                      <a:pt x="42" y="461"/>
                    </a:lnTo>
                    <a:lnTo>
                      <a:pt x="42" y="461"/>
                    </a:lnTo>
                    <a:lnTo>
                      <a:pt x="42" y="461"/>
                    </a:lnTo>
                    <a:lnTo>
                      <a:pt x="42" y="461"/>
                    </a:lnTo>
                    <a:lnTo>
                      <a:pt x="42" y="461"/>
                    </a:lnTo>
                    <a:lnTo>
                      <a:pt x="42" y="461"/>
                    </a:lnTo>
                    <a:lnTo>
                      <a:pt x="42" y="461"/>
                    </a:lnTo>
                    <a:lnTo>
                      <a:pt x="35" y="461"/>
                    </a:lnTo>
                    <a:lnTo>
                      <a:pt x="35" y="461"/>
                    </a:lnTo>
                    <a:lnTo>
                      <a:pt x="28" y="461"/>
                    </a:lnTo>
                    <a:lnTo>
                      <a:pt x="35" y="454"/>
                    </a:lnTo>
                    <a:lnTo>
                      <a:pt x="35" y="454"/>
                    </a:lnTo>
                    <a:lnTo>
                      <a:pt x="35" y="454"/>
                    </a:lnTo>
                    <a:lnTo>
                      <a:pt x="35" y="454"/>
                    </a:lnTo>
                    <a:lnTo>
                      <a:pt x="35" y="454"/>
                    </a:lnTo>
                    <a:lnTo>
                      <a:pt x="42" y="454"/>
                    </a:lnTo>
                    <a:lnTo>
                      <a:pt x="42" y="454"/>
                    </a:lnTo>
                    <a:lnTo>
                      <a:pt x="42" y="447"/>
                    </a:lnTo>
                    <a:lnTo>
                      <a:pt x="42" y="447"/>
                    </a:lnTo>
                    <a:lnTo>
                      <a:pt x="42" y="447"/>
                    </a:lnTo>
                    <a:lnTo>
                      <a:pt x="42" y="447"/>
                    </a:lnTo>
                    <a:lnTo>
                      <a:pt x="42" y="447"/>
                    </a:lnTo>
                    <a:lnTo>
                      <a:pt x="50" y="447"/>
                    </a:lnTo>
                    <a:lnTo>
                      <a:pt x="50" y="447"/>
                    </a:lnTo>
                    <a:lnTo>
                      <a:pt x="57" y="440"/>
                    </a:lnTo>
                    <a:lnTo>
                      <a:pt x="50" y="440"/>
                    </a:lnTo>
                    <a:lnTo>
                      <a:pt x="50" y="440"/>
                    </a:lnTo>
                    <a:lnTo>
                      <a:pt x="42" y="447"/>
                    </a:lnTo>
                    <a:lnTo>
                      <a:pt x="42" y="440"/>
                    </a:lnTo>
                    <a:lnTo>
                      <a:pt x="42" y="440"/>
                    </a:lnTo>
                    <a:lnTo>
                      <a:pt x="42" y="440"/>
                    </a:lnTo>
                    <a:lnTo>
                      <a:pt x="42" y="433"/>
                    </a:lnTo>
                    <a:lnTo>
                      <a:pt x="42" y="433"/>
                    </a:lnTo>
                    <a:lnTo>
                      <a:pt x="42" y="433"/>
                    </a:lnTo>
                    <a:lnTo>
                      <a:pt x="42" y="433"/>
                    </a:lnTo>
                    <a:lnTo>
                      <a:pt x="42" y="419"/>
                    </a:lnTo>
                    <a:lnTo>
                      <a:pt x="42" y="419"/>
                    </a:lnTo>
                    <a:lnTo>
                      <a:pt x="35" y="426"/>
                    </a:lnTo>
                    <a:lnTo>
                      <a:pt x="35" y="426"/>
                    </a:lnTo>
                    <a:lnTo>
                      <a:pt x="35" y="433"/>
                    </a:lnTo>
                    <a:lnTo>
                      <a:pt x="35" y="433"/>
                    </a:lnTo>
                    <a:lnTo>
                      <a:pt x="35" y="433"/>
                    </a:lnTo>
                    <a:lnTo>
                      <a:pt x="35" y="440"/>
                    </a:lnTo>
                    <a:lnTo>
                      <a:pt x="28" y="447"/>
                    </a:lnTo>
                    <a:lnTo>
                      <a:pt x="28" y="440"/>
                    </a:lnTo>
                    <a:lnTo>
                      <a:pt x="28" y="440"/>
                    </a:lnTo>
                    <a:lnTo>
                      <a:pt x="28" y="440"/>
                    </a:lnTo>
                    <a:lnTo>
                      <a:pt x="21" y="447"/>
                    </a:lnTo>
                    <a:lnTo>
                      <a:pt x="21" y="447"/>
                    </a:lnTo>
                    <a:lnTo>
                      <a:pt x="21" y="454"/>
                    </a:lnTo>
                    <a:lnTo>
                      <a:pt x="21" y="461"/>
                    </a:lnTo>
                    <a:lnTo>
                      <a:pt x="21" y="461"/>
                    </a:lnTo>
                    <a:lnTo>
                      <a:pt x="14" y="454"/>
                    </a:lnTo>
                    <a:lnTo>
                      <a:pt x="14" y="454"/>
                    </a:lnTo>
                    <a:lnTo>
                      <a:pt x="21" y="454"/>
                    </a:lnTo>
                    <a:lnTo>
                      <a:pt x="21" y="454"/>
                    </a:lnTo>
                    <a:lnTo>
                      <a:pt x="14" y="447"/>
                    </a:lnTo>
                    <a:lnTo>
                      <a:pt x="14" y="447"/>
                    </a:lnTo>
                    <a:lnTo>
                      <a:pt x="14" y="447"/>
                    </a:lnTo>
                    <a:lnTo>
                      <a:pt x="14" y="454"/>
                    </a:lnTo>
                    <a:lnTo>
                      <a:pt x="14" y="454"/>
                    </a:lnTo>
                    <a:lnTo>
                      <a:pt x="14" y="454"/>
                    </a:lnTo>
                    <a:lnTo>
                      <a:pt x="14" y="447"/>
                    </a:lnTo>
                    <a:lnTo>
                      <a:pt x="14" y="447"/>
                    </a:lnTo>
                    <a:lnTo>
                      <a:pt x="21" y="440"/>
                    </a:lnTo>
                    <a:lnTo>
                      <a:pt x="21" y="440"/>
                    </a:lnTo>
                    <a:lnTo>
                      <a:pt x="21" y="440"/>
                    </a:lnTo>
                    <a:lnTo>
                      <a:pt x="21" y="440"/>
                    </a:lnTo>
                    <a:lnTo>
                      <a:pt x="21" y="440"/>
                    </a:lnTo>
                    <a:lnTo>
                      <a:pt x="21" y="440"/>
                    </a:lnTo>
                    <a:lnTo>
                      <a:pt x="21" y="433"/>
                    </a:lnTo>
                    <a:lnTo>
                      <a:pt x="21" y="433"/>
                    </a:lnTo>
                    <a:lnTo>
                      <a:pt x="21" y="433"/>
                    </a:lnTo>
                    <a:lnTo>
                      <a:pt x="21" y="426"/>
                    </a:lnTo>
                    <a:lnTo>
                      <a:pt x="21" y="426"/>
                    </a:lnTo>
                    <a:lnTo>
                      <a:pt x="21" y="426"/>
                    </a:lnTo>
                    <a:lnTo>
                      <a:pt x="21" y="426"/>
                    </a:lnTo>
                    <a:lnTo>
                      <a:pt x="21" y="419"/>
                    </a:lnTo>
                    <a:lnTo>
                      <a:pt x="21" y="419"/>
                    </a:lnTo>
                    <a:lnTo>
                      <a:pt x="21" y="419"/>
                    </a:lnTo>
                    <a:lnTo>
                      <a:pt x="21" y="419"/>
                    </a:lnTo>
                    <a:lnTo>
                      <a:pt x="21" y="419"/>
                    </a:lnTo>
                    <a:lnTo>
                      <a:pt x="21" y="419"/>
                    </a:lnTo>
                    <a:lnTo>
                      <a:pt x="21" y="419"/>
                    </a:lnTo>
                    <a:lnTo>
                      <a:pt x="14" y="419"/>
                    </a:lnTo>
                    <a:lnTo>
                      <a:pt x="14" y="419"/>
                    </a:lnTo>
                    <a:lnTo>
                      <a:pt x="14" y="419"/>
                    </a:lnTo>
                    <a:lnTo>
                      <a:pt x="14" y="419"/>
                    </a:lnTo>
                    <a:lnTo>
                      <a:pt x="14" y="419"/>
                    </a:lnTo>
                    <a:lnTo>
                      <a:pt x="21" y="412"/>
                    </a:lnTo>
                    <a:lnTo>
                      <a:pt x="21" y="405"/>
                    </a:lnTo>
                    <a:lnTo>
                      <a:pt x="21" y="405"/>
                    </a:lnTo>
                    <a:lnTo>
                      <a:pt x="21" y="405"/>
                    </a:lnTo>
                    <a:lnTo>
                      <a:pt x="21" y="405"/>
                    </a:lnTo>
                    <a:lnTo>
                      <a:pt x="14" y="412"/>
                    </a:lnTo>
                    <a:lnTo>
                      <a:pt x="14" y="412"/>
                    </a:lnTo>
                    <a:lnTo>
                      <a:pt x="14" y="405"/>
                    </a:lnTo>
                    <a:lnTo>
                      <a:pt x="14" y="397"/>
                    </a:lnTo>
                    <a:lnTo>
                      <a:pt x="14" y="397"/>
                    </a:lnTo>
                    <a:lnTo>
                      <a:pt x="21" y="397"/>
                    </a:lnTo>
                    <a:lnTo>
                      <a:pt x="28" y="397"/>
                    </a:lnTo>
                    <a:lnTo>
                      <a:pt x="28" y="397"/>
                    </a:lnTo>
                    <a:lnTo>
                      <a:pt x="35" y="397"/>
                    </a:lnTo>
                    <a:lnTo>
                      <a:pt x="35" y="397"/>
                    </a:lnTo>
                    <a:lnTo>
                      <a:pt x="35" y="397"/>
                    </a:lnTo>
                    <a:lnTo>
                      <a:pt x="42" y="397"/>
                    </a:lnTo>
                    <a:lnTo>
                      <a:pt x="42" y="397"/>
                    </a:lnTo>
                    <a:lnTo>
                      <a:pt x="42" y="405"/>
                    </a:lnTo>
                    <a:lnTo>
                      <a:pt x="50" y="412"/>
                    </a:lnTo>
                    <a:lnTo>
                      <a:pt x="50" y="412"/>
                    </a:lnTo>
                    <a:lnTo>
                      <a:pt x="57" y="412"/>
                    </a:lnTo>
                    <a:lnTo>
                      <a:pt x="50" y="412"/>
                    </a:lnTo>
                    <a:lnTo>
                      <a:pt x="50" y="405"/>
                    </a:lnTo>
                    <a:lnTo>
                      <a:pt x="50" y="405"/>
                    </a:lnTo>
                    <a:lnTo>
                      <a:pt x="50" y="405"/>
                    </a:lnTo>
                    <a:lnTo>
                      <a:pt x="50" y="405"/>
                    </a:lnTo>
                    <a:lnTo>
                      <a:pt x="50" y="405"/>
                    </a:lnTo>
                    <a:lnTo>
                      <a:pt x="42" y="397"/>
                    </a:lnTo>
                    <a:lnTo>
                      <a:pt x="42" y="397"/>
                    </a:lnTo>
                    <a:lnTo>
                      <a:pt x="35" y="397"/>
                    </a:lnTo>
                    <a:lnTo>
                      <a:pt x="35" y="397"/>
                    </a:lnTo>
                    <a:lnTo>
                      <a:pt x="28" y="397"/>
                    </a:lnTo>
                    <a:lnTo>
                      <a:pt x="28" y="390"/>
                    </a:lnTo>
                    <a:lnTo>
                      <a:pt x="21" y="390"/>
                    </a:lnTo>
                    <a:lnTo>
                      <a:pt x="21" y="397"/>
                    </a:lnTo>
                    <a:lnTo>
                      <a:pt x="21" y="397"/>
                    </a:lnTo>
                    <a:lnTo>
                      <a:pt x="14" y="390"/>
                    </a:lnTo>
                    <a:lnTo>
                      <a:pt x="14" y="390"/>
                    </a:lnTo>
                    <a:lnTo>
                      <a:pt x="14" y="383"/>
                    </a:lnTo>
                    <a:lnTo>
                      <a:pt x="14" y="376"/>
                    </a:lnTo>
                    <a:lnTo>
                      <a:pt x="14" y="376"/>
                    </a:lnTo>
                    <a:lnTo>
                      <a:pt x="14" y="369"/>
                    </a:lnTo>
                    <a:lnTo>
                      <a:pt x="14" y="369"/>
                    </a:lnTo>
                    <a:lnTo>
                      <a:pt x="28" y="362"/>
                    </a:lnTo>
                    <a:lnTo>
                      <a:pt x="28" y="362"/>
                    </a:lnTo>
                    <a:lnTo>
                      <a:pt x="21" y="362"/>
                    </a:lnTo>
                    <a:lnTo>
                      <a:pt x="21" y="362"/>
                    </a:lnTo>
                    <a:lnTo>
                      <a:pt x="21" y="362"/>
                    </a:lnTo>
                    <a:lnTo>
                      <a:pt x="14" y="362"/>
                    </a:lnTo>
                    <a:lnTo>
                      <a:pt x="14" y="362"/>
                    </a:lnTo>
                    <a:lnTo>
                      <a:pt x="14" y="362"/>
                    </a:lnTo>
                    <a:lnTo>
                      <a:pt x="14" y="362"/>
                    </a:lnTo>
                    <a:lnTo>
                      <a:pt x="14" y="362"/>
                    </a:lnTo>
                    <a:lnTo>
                      <a:pt x="14" y="355"/>
                    </a:lnTo>
                    <a:lnTo>
                      <a:pt x="7" y="355"/>
                    </a:lnTo>
                    <a:lnTo>
                      <a:pt x="7" y="355"/>
                    </a:lnTo>
                    <a:lnTo>
                      <a:pt x="7" y="362"/>
                    </a:lnTo>
                    <a:lnTo>
                      <a:pt x="7" y="362"/>
                    </a:lnTo>
                    <a:lnTo>
                      <a:pt x="7" y="362"/>
                    </a:lnTo>
                    <a:lnTo>
                      <a:pt x="7" y="362"/>
                    </a:lnTo>
                    <a:lnTo>
                      <a:pt x="14" y="362"/>
                    </a:lnTo>
                    <a:lnTo>
                      <a:pt x="14" y="362"/>
                    </a:lnTo>
                    <a:lnTo>
                      <a:pt x="14" y="369"/>
                    </a:lnTo>
                    <a:lnTo>
                      <a:pt x="14" y="369"/>
                    </a:lnTo>
                    <a:lnTo>
                      <a:pt x="7" y="369"/>
                    </a:lnTo>
                    <a:lnTo>
                      <a:pt x="7" y="362"/>
                    </a:lnTo>
                    <a:lnTo>
                      <a:pt x="7" y="355"/>
                    </a:lnTo>
                    <a:lnTo>
                      <a:pt x="7" y="355"/>
                    </a:lnTo>
                    <a:lnTo>
                      <a:pt x="7" y="348"/>
                    </a:lnTo>
                    <a:lnTo>
                      <a:pt x="0" y="334"/>
                    </a:lnTo>
                    <a:lnTo>
                      <a:pt x="7" y="334"/>
                    </a:lnTo>
                    <a:lnTo>
                      <a:pt x="7" y="341"/>
                    </a:lnTo>
                    <a:lnTo>
                      <a:pt x="7" y="341"/>
                    </a:lnTo>
                    <a:lnTo>
                      <a:pt x="7" y="341"/>
                    </a:lnTo>
                    <a:lnTo>
                      <a:pt x="7" y="341"/>
                    </a:lnTo>
                    <a:lnTo>
                      <a:pt x="7" y="341"/>
                    </a:lnTo>
                    <a:lnTo>
                      <a:pt x="7" y="334"/>
                    </a:lnTo>
                    <a:lnTo>
                      <a:pt x="7" y="334"/>
                    </a:lnTo>
                    <a:lnTo>
                      <a:pt x="7" y="334"/>
                    </a:lnTo>
                    <a:lnTo>
                      <a:pt x="7" y="334"/>
                    </a:lnTo>
                    <a:lnTo>
                      <a:pt x="7" y="334"/>
                    </a:lnTo>
                    <a:lnTo>
                      <a:pt x="7" y="334"/>
                    </a:lnTo>
                    <a:lnTo>
                      <a:pt x="7" y="327"/>
                    </a:lnTo>
                    <a:lnTo>
                      <a:pt x="7" y="327"/>
                    </a:lnTo>
                    <a:lnTo>
                      <a:pt x="7" y="327"/>
                    </a:lnTo>
                    <a:lnTo>
                      <a:pt x="0" y="334"/>
                    </a:lnTo>
                    <a:lnTo>
                      <a:pt x="0" y="334"/>
                    </a:lnTo>
                    <a:lnTo>
                      <a:pt x="0" y="327"/>
                    </a:lnTo>
                    <a:lnTo>
                      <a:pt x="0" y="327"/>
                    </a:lnTo>
                    <a:lnTo>
                      <a:pt x="0" y="319"/>
                    </a:lnTo>
                    <a:lnTo>
                      <a:pt x="0" y="319"/>
                    </a:lnTo>
                    <a:lnTo>
                      <a:pt x="0" y="319"/>
                    </a:lnTo>
                    <a:lnTo>
                      <a:pt x="0" y="312"/>
                    </a:lnTo>
                    <a:lnTo>
                      <a:pt x="0" y="312"/>
                    </a:lnTo>
                    <a:lnTo>
                      <a:pt x="0" y="305"/>
                    </a:lnTo>
                    <a:lnTo>
                      <a:pt x="0" y="305"/>
                    </a:lnTo>
                    <a:lnTo>
                      <a:pt x="0" y="305"/>
                    </a:lnTo>
                    <a:lnTo>
                      <a:pt x="0" y="298"/>
                    </a:lnTo>
                    <a:lnTo>
                      <a:pt x="0" y="298"/>
                    </a:lnTo>
                    <a:lnTo>
                      <a:pt x="7" y="298"/>
                    </a:lnTo>
                    <a:lnTo>
                      <a:pt x="7" y="298"/>
                    </a:lnTo>
                    <a:lnTo>
                      <a:pt x="7" y="291"/>
                    </a:lnTo>
                    <a:lnTo>
                      <a:pt x="7" y="284"/>
                    </a:lnTo>
                    <a:lnTo>
                      <a:pt x="7" y="284"/>
                    </a:lnTo>
                    <a:lnTo>
                      <a:pt x="7" y="284"/>
                    </a:lnTo>
                    <a:lnTo>
                      <a:pt x="14" y="284"/>
                    </a:lnTo>
                    <a:lnTo>
                      <a:pt x="14" y="284"/>
                    </a:lnTo>
                    <a:lnTo>
                      <a:pt x="14" y="277"/>
                    </a:lnTo>
                    <a:lnTo>
                      <a:pt x="14" y="277"/>
                    </a:lnTo>
                    <a:lnTo>
                      <a:pt x="14" y="277"/>
                    </a:lnTo>
                    <a:lnTo>
                      <a:pt x="21" y="284"/>
                    </a:lnTo>
                    <a:lnTo>
                      <a:pt x="21" y="284"/>
                    </a:lnTo>
                    <a:lnTo>
                      <a:pt x="21" y="284"/>
                    </a:lnTo>
                    <a:lnTo>
                      <a:pt x="21" y="277"/>
                    </a:lnTo>
                    <a:lnTo>
                      <a:pt x="21" y="277"/>
                    </a:lnTo>
                    <a:lnTo>
                      <a:pt x="28" y="277"/>
                    </a:lnTo>
                    <a:lnTo>
                      <a:pt x="28" y="277"/>
                    </a:lnTo>
                    <a:lnTo>
                      <a:pt x="35" y="277"/>
                    </a:lnTo>
                    <a:lnTo>
                      <a:pt x="42" y="277"/>
                    </a:lnTo>
                    <a:lnTo>
                      <a:pt x="42" y="284"/>
                    </a:lnTo>
                    <a:lnTo>
                      <a:pt x="42" y="284"/>
                    </a:lnTo>
                    <a:lnTo>
                      <a:pt x="50" y="291"/>
                    </a:lnTo>
                    <a:lnTo>
                      <a:pt x="50" y="291"/>
                    </a:lnTo>
                    <a:lnTo>
                      <a:pt x="50" y="291"/>
                    </a:lnTo>
                    <a:lnTo>
                      <a:pt x="50" y="291"/>
                    </a:lnTo>
                    <a:lnTo>
                      <a:pt x="50" y="291"/>
                    </a:lnTo>
                    <a:lnTo>
                      <a:pt x="50" y="284"/>
                    </a:lnTo>
                    <a:lnTo>
                      <a:pt x="57" y="284"/>
                    </a:lnTo>
                    <a:lnTo>
                      <a:pt x="57" y="284"/>
                    </a:lnTo>
                    <a:lnTo>
                      <a:pt x="57" y="291"/>
                    </a:lnTo>
                    <a:lnTo>
                      <a:pt x="57" y="291"/>
                    </a:lnTo>
                    <a:lnTo>
                      <a:pt x="57" y="291"/>
                    </a:lnTo>
                    <a:lnTo>
                      <a:pt x="57" y="291"/>
                    </a:lnTo>
                    <a:lnTo>
                      <a:pt x="57" y="291"/>
                    </a:lnTo>
                    <a:lnTo>
                      <a:pt x="57" y="284"/>
                    </a:lnTo>
                    <a:lnTo>
                      <a:pt x="64" y="284"/>
                    </a:lnTo>
                    <a:lnTo>
                      <a:pt x="64" y="284"/>
                    </a:lnTo>
                    <a:lnTo>
                      <a:pt x="64" y="284"/>
                    </a:lnTo>
                    <a:lnTo>
                      <a:pt x="64" y="291"/>
                    </a:lnTo>
                    <a:lnTo>
                      <a:pt x="64" y="291"/>
                    </a:lnTo>
                    <a:lnTo>
                      <a:pt x="64" y="291"/>
                    </a:lnTo>
                    <a:lnTo>
                      <a:pt x="71" y="291"/>
                    </a:lnTo>
                    <a:lnTo>
                      <a:pt x="71" y="291"/>
                    </a:lnTo>
                    <a:lnTo>
                      <a:pt x="71" y="291"/>
                    </a:lnTo>
                    <a:lnTo>
                      <a:pt x="71" y="291"/>
                    </a:lnTo>
                    <a:lnTo>
                      <a:pt x="71" y="284"/>
                    </a:lnTo>
                    <a:lnTo>
                      <a:pt x="71" y="284"/>
                    </a:lnTo>
                    <a:lnTo>
                      <a:pt x="71" y="277"/>
                    </a:lnTo>
                    <a:lnTo>
                      <a:pt x="78" y="277"/>
                    </a:lnTo>
                    <a:lnTo>
                      <a:pt x="78" y="277"/>
                    </a:lnTo>
                    <a:lnTo>
                      <a:pt x="78" y="277"/>
                    </a:lnTo>
                    <a:lnTo>
                      <a:pt x="78" y="277"/>
                    </a:lnTo>
                    <a:lnTo>
                      <a:pt x="78" y="277"/>
                    </a:lnTo>
                    <a:lnTo>
                      <a:pt x="85" y="277"/>
                    </a:lnTo>
                    <a:lnTo>
                      <a:pt x="85" y="277"/>
                    </a:lnTo>
                    <a:lnTo>
                      <a:pt x="85" y="270"/>
                    </a:lnTo>
                    <a:lnTo>
                      <a:pt x="85" y="270"/>
                    </a:lnTo>
                    <a:lnTo>
                      <a:pt x="85" y="270"/>
                    </a:lnTo>
                    <a:lnTo>
                      <a:pt x="85" y="270"/>
                    </a:lnTo>
                    <a:lnTo>
                      <a:pt x="85" y="270"/>
                    </a:lnTo>
                    <a:lnTo>
                      <a:pt x="85" y="270"/>
                    </a:lnTo>
                    <a:lnTo>
                      <a:pt x="85" y="270"/>
                    </a:lnTo>
                    <a:lnTo>
                      <a:pt x="92" y="270"/>
                    </a:lnTo>
                    <a:lnTo>
                      <a:pt x="99" y="270"/>
                    </a:lnTo>
                    <a:lnTo>
                      <a:pt x="99" y="270"/>
                    </a:lnTo>
                    <a:lnTo>
                      <a:pt x="99" y="270"/>
                    </a:lnTo>
                    <a:lnTo>
                      <a:pt x="99" y="270"/>
                    </a:lnTo>
                    <a:lnTo>
                      <a:pt x="99" y="270"/>
                    </a:lnTo>
                    <a:lnTo>
                      <a:pt x="99" y="263"/>
                    </a:lnTo>
                    <a:lnTo>
                      <a:pt x="99" y="263"/>
                    </a:lnTo>
                    <a:lnTo>
                      <a:pt x="99" y="263"/>
                    </a:lnTo>
                    <a:lnTo>
                      <a:pt x="106" y="263"/>
                    </a:lnTo>
                    <a:lnTo>
                      <a:pt x="106" y="256"/>
                    </a:lnTo>
                    <a:lnTo>
                      <a:pt x="106" y="256"/>
                    </a:lnTo>
                    <a:lnTo>
                      <a:pt x="99" y="248"/>
                    </a:lnTo>
                    <a:lnTo>
                      <a:pt x="99" y="248"/>
                    </a:lnTo>
                    <a:lnTo>
                      <a:pt x="99" y="248"/>
                    </a:lnTo>
                    <a:lnTo>
                      <a:pt x="99" y="241"/>
                    </a:lnTo>
                    <a:lnTo>
                      <a:pt x="99" y="241"/>
                    </a:lnTo>
                    <a:lnTo>
                      <a:pt x="99" y="241"/>
                    </a:lnTo>
                    <a:lnTo>
                      <a:pt x="99" y="241"/>
                    </a:lnTo>
                    <a:lnTo>
                      <a:pt x="99" y="241"/>
                    </a:lnTo>
                    <a:lnTo>
                      <a:pt x="99" y="241"/>
                    </a:lnTo>
                    <a:lnTo>
                      <a:pt x="99" y="241"/>
                    </a:lnTo>
                    <a:lnTo>
                      <a:pt x="106" y="234"/>
                    </a:lnTo>
                    <a:lnTo>
                      <a:pt x="113" y="220"/>
                    </a:lnTo>
                    <a:lnTo>
                      <a:pt x="113" y="220"/>
                    </a:lnTo>
                    <a:lnTo>
                      <a:pt x="113" y="213"/>
                    </a:lnTo>
                    <a:lnTo>
                      <a:pt x="113" y="213"/>
                    </a:lnTo>
                    <a:lnTo>
                      <a:pt x="113" y="213"/>
                    </a:lnTo>
                    <a:lnTo>
                      <a:pt x="113" y="206"/>
                    </a:lnTo>
                    <a:lnTo>
                      <a:pt x="113" y="206"/>
                    </a:lnTo>
                    <a:lnTo>
                      <a:pt x="113" y="206"/>
                    </a:lnTo>
                    <a:lnTo>
                      <a:pt x="106" y="206"/>
                    </a:lnTo>
                    <a:lnTo>
                      <a:pt x="106" y="206"/>
                    </a:lnTo>
                    <a:lnTo>
                      <a:pt x="106" y="206"/>
                    </a:lnTo>
                    <a:lnTo>
                      <a:pt x="106" y="206"/>
                    </a:lnTo>
                    <a:lnTo>
                      <a:pt x="106" y="206"/>
                    </a:lnTo>
                    <a:lnTo>
                      <a:pt x="106" y="206"/>
                    </a:lnTo>
                    <a:lnTo>
                      <a:pt x="106" y="199"/>
                    </a:lnTo>
                    <a:lnTo>
                      <a:pt x="106" y="199"/>
                    </a:lnTo>
                    <a:lnTo>
                      <a:pt x="106" y="199"/>
                    </a:lnTo>
                    <a:lnTo>
                      <a:pt x="106" y="199"/>
                    </a:lnTo>
                    <a:lnTo>
                      <a:pt x="99" y="199"/>
                    </a:lnTo>
                    <a:lnTo>
                      <a:pt x="99" y="199"/>
                    </a:lnTo>
                    <a:lnTo>
                      <a:pt x="99" y="199"/>
                    </a:lnTo>
                    <a:lnTo>
                      <a:pt x="99" y="199"/>
                    </a:lnTo>
                    <a:lnTo>
                      <a:pt x="99" y="199"/>
                    </a:lnTo>
                    <a:lnTo>
                      <a:pt x="99" y="199"/>
                    </a:lnTo>
                    <a:lnTo>
                      <a:pt x="106" y="199"/>
                    </a:lnTo>
                    <a:lnTo>
                      <a:pt x="106" y="192"/>
                    </a:lnTo>
                    <a:lnTo>
                      <a:pt x="106" y="192"/>
                    </a:lnTo>
                    <a:lnTo>
                      <a:pt x="106" y="192"/>
                    </a:lnTo>
                    <a:lnTo>
                      <a:pt x="113" y="192"/>
                    </a:lnTo>
                    <a:lnTo>
                      <a:pt x="113" y="192"/>
                    </a:lnTo>
                    <a:lnTo>
                      <a:pt x="113" y="192"/>
                    </a:lnTo>
                    <a:lnTo>
                      <a:pt x="113" y="192"/>
                    </a:lnTo>
                    <a:lnTo>
                      <a:pt x="113" y="192"/>
                    </a:lnTo>
                    <a:lnTo>
                      <a:pt x="113" y="192"/>
                    </a:lnTo>
                    <a:lnTo>
                      <a:pt x="113" y="199"/>
                    </a:lnTo>
                    <a:lnTo>
                      <a:pt x="121" y="199"/>
                    </a:lnTo>
                    <a:lnTo>
                      <a:pt x="121" y="199"/>
                    </a:lnTo>
                    <a:lnTo>
                      <a:pt x="121" y="199"/>
                    </a:lnTo>
                    <a:lnTo>
                      <a:pt x="128" y="199"/>
                    </a:lnTo>
                    <a:lnTo>
                      <a:pt x="128" y="206"/>
                    </a:lnTo>
                    <a:lnTo>
                      <a:pt x="128" y="206"/>
                    </a:lnTo>
                    <a:lnTo>
                      <a:pt x="135" y="206"/>
                    </a:lnTo>
                    <a:lnTo>
                      <a:pt x="135" y="213"/>
                    </a:lnTo>
                    <a:lnTo>
                      <a:pt x="135" y="213"/>
                    </a:lnTo>
                    <a:lnTo>
                      <a:pt x="142" y="213"/>
                    </a:lnTo>
                    <a:lnTo>
                      <a:pt x="142" y="213"/>
                    </a:lnTo>
                    <a:lnTo>
                      <a:pt x="149" y="213"/>
                    </a:lnTo>
                    <a:lnTo>
                      <a:pt x="149" y="213"/>
                    </a:lnTo>
                    <a:lnTo>
                      <a:pt x="149" y="213"/>
                    </a:lnTo>
                    <a:lnTo>
                      <a:pt x="156" y="206"/>
                    </a:lnTo>
                    <a:lnTo>
                      <a:pt x="156" y="206"/>
                    </a:lnTo>
                    <a:lnTo>
                      <a:pt x="163" y="206"/>
                    </a:lnTo>
                    <a:lnTo>
                      <a:pt x="163" y="206"/>
                    </a:lnTo>
                    <a:lnTo>
                      <a:pt x="163" y="206"/>
                    </a:lnTo>
                    <a:lnTo>
                      <a:pt x="163" y="199"/>
                    </a:lnTo>
                    <a:lnTo>
                      <a:pt x="163" y="199"/>
                    </a:lnTo>
                    <a:lnTo>
                      <a:pt x="163" y="199"/>
                    </a:lnTo>
                    <a:lnTo>
                      <a:pt x="163" y="199"/>
                    </a:lnTo>
                    <a:lnTo>
                      <a:pt x="170" y="192"/>
                    </a:lnTo>
                    <a:lnTo>
                      <a:pt x="177" y="185"/>
                    </a:lnTo>
                    <a:lnTo>
                      <a:pt x="177" y="185"/>
                    </a:lnTo>
                    <a:lnTo>
                      <a:pt x="177" y="185"/>
                    </a:lnTo>
                    <a:lnTo>
                      <a:pt x="177" y="177"/>
                    </a:lnTo>
                    <a:lnTo>
                      <a:pt x="177" y="177"/>
                    </a:lnTo>
                    <a:lnTo>
                      <a:pt x="177" y="177"/>
                    </a:lnTo>
                    <a:lnTo>
                      <a:pt x="177" y="163"/>
                    </a:lnTo>
                    <a:lnTo>
                      <a:pt x="177" y="163"/>
                    </a:lnTo>
                    <a:lnTo>
                      <a:pt x="170" y="156"/>
                    </a:lnTo>
                    <a:lnTo>
                      <a:pt x="170" y="156"/>
                    </a:lnTo>
                    <a:lnTo>
                      <a:pt x="170" y="149"/>
                    </a:lnTo>
                    <a:lnTo>
                      <a:pt x="170" y="149"/>
                    </a:lnTo>
                    <a:lnTo>
                      <a:pt x="170" y="149"/>
                    </a:lnTo>
                    <a:lnTo>
                      <a:pt x="163" y="149"/>
                    </a:lnTo>
                    <a:lnTo>
                      <a:pt x="163" y="142"/>
                    </a:lnTo>
                    <a:lnTo>
                      <a:pt x="163" y="142"/>
                    </a:lnTo>
                    <a:lnTo>
                      <a:pt x="163" y="142"/>
                    </a:lnTo>
                    <a:lnTo>
                      <a:pt x="156" y="142"/>
                    </a:lnTo>
                    <a:lnTo>
                      <a:pt x="156" y="135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28"/>
                    </a:lnTo>
                    <a:lnTo>
                      <a:pt x="149" y="128"/>
                    </a:lnTo>
                    <a:lnTo>
                      <a:pt x="149" y="128"/>
                    </a:lnTo>
                    <a:lnTo>
                      <a:pt x="149" y="128"/>
                    </a:lnTo>
                    <a:lnTo>
                      <a:pt x="142" y="128"/>
                    </a:lnTo>
                    <a:lnTo>
                      <a:pt x="142" y="128"/>
                    </a:lnTo>
                    <a:lnTo>
                      <a:pt x="142" y="128"/>
                    </a:lnTo>
                    <a:lnTo>
                      <a:pt x="142" y="128"/>
                    </a:lnTo>
                    <a:lnTo>
                      <a:pt x="135" y="128"/>
                    </a:lnTo>
                    <a:lnTo>
                      <a:pt x="128" y="121"/>
                    </a:lnTo>
                    <a:lnTo>
                      <a:pt x="128" y="121"/>
                    </a:lnTo>
                    <a:lnTo>
                      <a:pt x="128" y="121"/>
                    </a:lnTo>
                    <a:lnTo>
                      <a:pt x="128" y="121"/>
                    </a:lnTo>
                    <a:lnTo>
                      <a:pt x="128" y="121"/>
                    </a:lnTo>
                    <a:lnTo>
                      <a:pt x="128" y="121"/>
                    </a:lnTo>
                    <a:lnTo>
                      <a:pt x="128" y="121"/>
                    </a:lnTo>
                    <a:lnTo>
                      <a:pt x="142" y="121"/>
                    </a:lnTo>
                    <a:lnTo>
                      <a:pt x="142" y="121"/>
                    </a:lnTo>
                    <a:lnTo>
                      <a:pt x="142" y="121"/>
                    </a:lnTo>
                    <a:lnTo>
                      <a:pt x="142" y="121"/>
                    </a:lnTo>
                    <a:lnTo>
                      <a:pt x="142" y="121"/>
                    </a:lnTo>
                    <a:lnTo>
                      <a:pt x="142" y="121"/>
                    </a:lnTo>
                    <a:lnTo>
                      <a:pt x="142" y="121"/>
                    </a:lnTo>
                    <a:lnTo>
                      <a:pt x="149" y="121"/>
                    </a:lnTo>
                    <a:lnTo>
                      <a:pt x="149" y="121"/>
                    </a:lnTo>
                    <a:lnTo>
                      <a:pt x="149" y="121"/>
                    </a:lnTo>
                    <a:lnTo>
                      <a:pt x="149" y="121"/>
                    </a:lnTo>
                    <a:lnTo>
                      <a:pt x="149" y="121"/>
                    </a:lnTo>
                    <a:lnTo>
                      <a:pt x="149" y="121"/>
                    </a:lnTo>
                    <a:lnTo>
                      <a:pt x="156" y="121"/>
                    </a:lnTo>
                    <a:lnTo>
                      <a:pt x="156" y="121"/>
                    </a:lnTo>
                    <a:lnTo>
                      <a:pt x="156" y="121"/>
                    </a:lnTo>
                    <a:lnTo>
                      <a:pt x="156" y="121"/>
                    </a:lnTo>
                    <a:lnTo>
                      <a:pt x="156" y="114"/>
                    </a:lnTo>
                    <a:lnTo>
                      <a:pt x="163" y="106"/>
                    </a:lnTo>
                    <a:lnTo>
                      <a:pt x="163" y="106"/>
                    </a:lnTo>
                    <a:lnTo>
                      <a:pt x="163" y="106"/>
                    </a:lnTo>
                    <a:lnTo>
                      <a:pt x="163" y="106"/>
                    </a:lnTo>
                    <a:lnTo>
                      <a:pt x="163" y="106"/>
                    </a:lnTo>
                    <a:lnTo>
                      <a:pt x="170" y="106"/>
                    </a:lnTo>
                    <a:lnTo>
                      <a:pt x="170" y="106"/>
                    </a:lnTo>
                    <a:lnTo>
                      <a:pt x="177" y="106"/>
                    </a:lnTo>
                    <a:lnTo>
                      <a:pt x="177" y="106"/>
                    </a:lnTo>
                    <a:lnTo>
                      <a:pt x="177" y="99"/>
                    </a:lnTo>
                    <a:lnTo>
                      <a:pt x="184" y="92"/>
                    </a:lnTo>
                    <a:lnTo>
                      <a:pt x="184" y="92"/>
                    </a:lnTo>
                    <a:lnTo>
                      <a:pt x="184" y="85"/>
                    </a:lnTo>
                    <a:lnTo>
                      <a:pt x="192" y="85"/>
                    </a:lnTo>
                    <a:lnTo>
                      <a:pt x="192" y="85"/>
                    </a:lnTo>
                    <a:lnTo>
                      <a:pt x="192" y="78"/>
                    </a:lnTo>
                    <a:lnTo>
                      <a:pt x="199" y="78"/>
                    </a:lnTo>
                    <a:lnTo>
                      <a:pt x="199" y="78"/>
                    </a:lnTo>
                    <a:lnTo>
                      <a:pt x="199" y="78"/>
                    </a:lnTo>
                    <a:lnTo>
                      <a:pt x="206" y="78"/>
                    </a:lnTo>
                    <a:lnTo>
                      <a:pt x="206" y="78"/>
                    </a:lnTo>
                    <a:lnTo>
                      <a:pt x="206" y="78"/>
                    </a:lnTo>
                    <a:lnTo>
                      <a:pt x="227" y="78"/>
                    </a:lnTo>
                    <a:lnTo>
                      <a:pt x="227" y="78"/>
                    </a:lnTo>
                    <a:lnTo>
                      <a:pt x="227" y="71"/>
                    </a:lnTo>
                    <a:lnTo>
                      <a:pt x="234" y="71"/>
                    </a:lnTo>
                    <a:lnTo>
                      <a:pt x="234" y="71"/>
                    </a:lnTo>
                    <a:lnTo>
                      <a:pt x="234" y="71"/>
                    </a:lnTo>
                    <a:lnTo>
                      <a:pt x="234" y="71"/>
                    </a:lnTo>
                    <a:lnTo>
                      <a:pt x="234" y="71"/>
                    </a:lnTo>
                    <a:lnTo>
                      <a:pt x="234" y="64"/>
                    </a:lnTo>
                    <a:lnTo>
                      <a:pt x="234" y="64"/>
                    </a:lnTo>
                    <a:lnTo>
                      <a:pt x="234" y="64"/>
                    </a:lnTo>
                    <a:lnTo>
                      <a:pt x="227" y="64"/>
                    </a:lnTo>
                    <a:lnTo>
                      <a:pt x="227" y="64"/>
                    </a:lnTo>
                    <a:lnTo>
                      <a:pt x="227" y="64"/>
                    </a:lnTo>
                    <a:lnTo>
                      <a:pt x="227" y="64"/>
                    </a:lnTo>
                    <a:lnTo>
                      <a:pt x="227" y="64"/>
                    </a:lnTo>
                    <a:lnTo>
                      <a:pt x="227" y="64"/>
                    </a:lnTo>
                    <a:lnTo>
                      <a:pt x="220" y="64"/>
                    </a:lnTo>
                    <a:lnTo>
                      <a:pt x="220" y="71"/>
                    </a:lnTo>
                    <a:lnTo>
                      <a:pt x="213" y="64"/>
                    </a:lnTo>
                    <a:lnTo>
                      <a:pt x="213" y="64"/>
                    </a:lnTo>
                    <a:lnTo>
                      <a:pt x="213" y="64"/>
                    </a:lnTo>
                    <a:lnTo>
                      <a:pt x="213" y="64"/>
                    </a:lnTo>
                    <a:lnTo>
                      <a:pt x="213" y="64"/>
                    </a:lnTo>
                    <a:lnTo>
                      <a:pt x="213" y="64"/>
                    </a:lnTo>
                    <a:lnTo>
                      <a:pt x="213" y="64"/>
                    </a:lnTo>
                    <a:lnTo>
                      <a:pt x="206" y="64"/>
                    </a:lnTo>
                    <a:lnTo>
                      <a:pt x="206" y="64"/>
                    </a:lnTo>
                    <a:lnTo>
                      <a:pt x="206" y="64"/>
                    </a:lnTo>
                    <a:lnTo>
                      <a:pt x="206" y="64"/>
                    </a:lnTo>
                    <a:lnTo>
                      <a:pt x="206" y="64"/>
                    </a:lnTo>
                    <a:lnTo>
                      <a:pt x="199" y="64"/>
                    </a:lnTo>
                    <a:lnTo>
                      <a:pt x="192" y="64"/>
                    </a:lnTo>
                    <a:lnTo>
                      <a:pt x="192" y="64"/>
                    </a:lnTo>
                    <a:lnTo>
                      <a:pt x="184" y="71"/>
                    </a:lnTo>
                    <a:lnTo>
                      <a:pt x="177" y="71"/>
                    </a:lnTo>
                    <a:lnTo>
                      <a:pt x="170" y="71"/>
                    </a:lnTo>
                    <a:lnTo>
                      <a:pt x="163" y="71"/>
                    </a:lnTo>
                    <a:lnTo>
                      <a:pt x="163" y="71"/>
                    </a:lnTo>
                    <a:lnTo>
                      <a:pt x="163" y="71"/>
                    </a:lnTo>
                    <a:lnTo>
                      <a:pt x="163" y="71"/>
                    </a:lnTo>
                    <a:lnTo>
                      <a:pt x="163" y="71"/>
                    </a:lnTo>
                    <a:lnTo>
                      <a:pt x="163" y="64"/>
                    </a:lnTo>
                    <a:lnTo>
                      <a:pt x="156" y="64"/>
                    </a:lnTo>
                    <a:lnTo>
                      <a:pt x="156" y="57"/>
                    </a:lnTo>
                    <a:lnTo>
                      <a:pt x="156" y="57"/>
                    </a:lnTo>
                    <a:lnTo>
                      <a:pt x="156" y="57"/>
                    </a:lnTo>
                    <a:lnTo>
                      <a:pt x="156" y="57"/>
                    </a:lnTo>
                    <a:lnTo>
                      <a:pt x="163" y="57"/>
                    </a:lnTo>
                    <a:lnTo>
                      <a:pt x="163" y="57"/>
                    </a:lnTo>
                    <a:lnTo>
                      <a:pt x="163" y="50"/>
                    </a:lnTo>
                    <a:lnTo>
                      <a:pt x="170" y="50"/>
                    </a:lnTo>
                    <a:lnTo>
                      <a:pt x="170" y="43"/>
                    </a:lnTo>
                    <a:lnTo>
                      <a:pt x="163" y="43"/>
                    </a:lnTo>
                    <a:lnTo>
                      <a:pt x="163" y="43"/>
                    </a:lnTo>
                    <a:lnTo>
                      <a:pt x="163" y="43"/>
                    </a:lnTo>
                    <a:lnTo>
                      <a:pt x="163" y="35"/>
                    </a:lnTo>
                    <a:lnTo>
                      <a:pt x="163" y="35"/>
                    </a:lnTo>
                    <a:lnTo>
                      <a:pt x="163" y="35"/>
                    </a:lnTo>
                    <a:lnTo>
                      <a:pt x="163" y="28"/>
                    </a:lnTo>
                    <a:lnTo>
                      <a:pt x="163" y="28"/>
                    </a:lnTo>
                    <a:lnTo>
                      <a:pt x="163" y="28"/>
                    </a:lnTo>
                    <a:lnTo>
                      <a:pt x="163" y="21"/>
                    </a:lnTo>
                    <a:lnTo>
                      <a:pt x="163" y="21"/>
                    </a:lnTo>
                    <a:lnTo>
                      <a:pt x="170" y="21"/>
                    </a:lnTo>
                    <a:lnTo>
                      <a:pt x="170" y="21"/>
                    </a:lnTo>
                    <a:lnTo>
                      <a:pt x="177" y="21"/>
                    </a:lnTo>
                    <a:lnTo>
                      <a:pt x="177" y="21"/>
                    </a:lnTo>
                    <a:lnTo>
                      <a:pt x="184" y="21"/>
                    </a:lnTo>
                    <a:lnTo>
                      <a:pt x="184" y="14"/>
                    </a:lnTo>
                    <a:lnTo>
                      <a:pt x="184" y="14"/>
                    </a:lnTo>
                    <a:lnTo>
                      <a:pt x="199" y="7"/>
                    </a:lnTo>
                    <a:lnTo>
                      <a:pt x="206" y="7"/>
                    </a:lnTo>
                    <a:lnTo>
                      <a:pt x="213" y="7"/>
                    </a:lnTo>
                    <a:lnTo>
                      <a:pt x="213" y="14"/>
                    </a:lnTo>
                    <a:lnTo>
                      <a:pt x="220" y="14"/>
                    </a:lnTo>
                    <a:lnTo>
                      <a:pt x="220" y="14"/>
                    </a:lnTo>
                    <a:lnTo>
                      <a:pt x="227" y="14"/>
                    </a:lnTo>
                    <a:lnTo>
                      <a:pt x="227" y="7"/>
                    </a:lnTo>
                    <a:lnTo>
                      <a:pt x="227" y="7"/>
                    </a:lnTo>
                    <a:lnTo>
                      <a:pt x="234" y="7"/>
                    </a:lnTo>
                    <a:lnTo>
                      <a:pt x="234" y="7"/>
                    </a:lnTo>
                    <a:lnTo>
                      <a:pt x="234" y="7"/>
                    </a:lnTo>
                    <a:lnTo>
                      <a:pt x="234" y="7"/>
                    </a:lnTo>
                    <a:lnTo>
                      <a:pt x="234" y="7"/>
                    </a:lnTo>
                    <a:lnTo>
                      <a:pt x="234" y="7"/>
                    </a:lnTo>
                    <a:lnTo>
                      <a:pt x="234" y="7"/>
                    </a:lnTo>
                    <a:lnTo>
                      <a:pt x="241" y="0"/>
                    </a:lnTo>
                    <a:lnTo>
                      <a:pt x="241" y="0"/>
                    </a:lnTo>
                    <a:lnTo>
                      <a:pt x="248" y="0"/>
                    </a:lnTo>
                    <a:lnTo>
                      <a:pt x="248" y="0"/>
                    </a:lnTo>
                    <a:lnTo>
                      <a:pt x="248" y="0"/>
                    </a:lnTo>
                    <a:lnTo>
                      <a:pt x="255" y="7"/>
                    </a:lnTo>
                    <a:lnTo>
                      <a:pt x="262" y="14"/>
                    </a:lnTo>
                    <a:lnTo>
                      <a:pt x="262" y="14"/>
                    </a:lnTo>
                    <a:lnTo>
                      <a:pt x="255" y="28"/>
                    </a:lnTo>
                    <a:lnTo>
                      <a:pt x="255" y="28"/>
                    </a:lnTo>
                    <a:lnTo>
                      <a:pt x="262" y="28"/>
                    </a:lnTo>
                    <a:lnTo>
                      <a:pt x="262" y="35"/>
                    </a:lnTo>
                    <a:lnTo>
                      <a:pt x="262" y="35"/>
                    </a:lnTo>
                    <a:lnTo>
                      <a:pt x="262" y="43"/>
                    </a:lnTo>
                    <a:lnTo>
                      <a:pt x="262" y="43"/>
                    </a:lnTo>
                    <a:lnTo>
                      <a:pt x="262" y="43"/>
                    </a:lnTo>
                    <a:lnTo>
                      <a:pt x="262" y="43"/>
                    </a:lnTo>
                    <a:lnTo>
                      <a:pt x="270" y="43"/>
                    </a:lnTo>
                    <a:lnTo>
                      <a:pt x="270" y="50"/>
                    </a:lnTo>
                    <a:lnTo>
                      <a:pt x="277" y="50"/>
                    </a:lnTo>
                    <a:lnTo>
                      <a:pt x="284" y="50"/>
                    </a:lnTo>
                    <a:lnTo>
                      <a:pt x="284" y="57"/>
                    </a:lnTo>
                    <a:lnTo>
                      <a:pt x="284" y="57"/>
                    </a:lnTo>
                    <a:lnTo>
                      <a:pt x="291" y="57"/>
                    </a:lnTo>
                    <a:lnTo>
                      <a:pt x="291" y="57"/>
                    </a:lnTo>
                    <a:lnTo>
                      <a:pt x="291" y="57"/>
                    </a:lnTo>
                    <a:lnTo>
                      <a:pt x="298" y="57"/>
                    </a:lnTo>
                    <a:lnTo>
                      <a:pt x="312" y="57"/>
                    </a:lnTo>
                    <a:lnTo>
                      <a:pt x="312" y="57"/>
                    </a:lnTo>
                    <a:lnTo>
                      <a:pt x="312" y="57"/>
                    </a:lnTo>
                    <a:lnTo>
                      <a:pt x="319" y="57"/>
                    </a:lnTo>
                    <a:lnTo>
                      <a:pt x="319" y="57"/>
                    </a:lnTo>
                    <a:lnTo>
                      <a:pt x="319" y="64"/>
                    </a:lnTo>
                    <a:lnTo>
                      <a:pt x="319" y="64"/>
                    </a:lnTo>
                    <a:lnTo>
                      <a:pt x="326" y="64"/>
                    </a:lnTo>
                    <a:lnTo>
                      <a:pt x="333" y="64"/>
                    </a:lnTo>
                    <a:lnTo>
                      <a:pt x="333" y="64"/>
                    </a:lnTo>
                    <a:lnTo>
                      <a:pt x="333" y="64"/>
                    </a:lnTo>
                    <a:lnTo>
                      <a:pt x="333" y="64"/>
                    </a:lnTo>
                    <a:lnTo>
                      <a:pt x="341" y="71"/>
                    </a:lnTo>
                    <a:lnTo>
                      <a:pt x="348" y="78"/>
                    </a:lnTo>
                    <a:lnTo>
                      <a:pt x="348" y="78"/>
                    </a:lnTo>
                    <a:lnTo>
                      <a:pt x="348" y="85"/>
                    </a:lnTo>
                    <a:lnTo>
                      <a:pt x="348" y="85"/>
                    </a:lnTo>
                    <a:lnTo>
                      <a:pt x="348" y="85"/>
                    </a:lnTo>
                    <a:lnTo>
                      <a:pt x="355" y="85"/>
                    </a:lnTo>
                    <a:lnTo>
                      <a:pt x="362" y="85"/>
                    </a:lnTo>
                    <a:lnTo>
                      <a:pt x="376" y="92"/>
                    </a:lnTo>
                    <a:lnTo>
                      <a:pt x="376" y="92"/>
                    </a:lnTo>
                    <a:lnTo>
                      <a:pt x="383" y="92"/>
                    </a:lnTo>
                    <a:lnTo>
                      <a:pt x="383" y="92"/>
                    </a:lnTo>
                    <a:lnTo>
                      <a:pt x="383" y="92"/>
                    </a:lnTo>
                    <a:lnTo>
                      <a:pt x="397" y="92"/>
                    </a:lnTo>
                    <a:lnTo>
                      <a:pt x="404" y="92"/>
                    </a:lnTo>
                    <a:lnTo>
                      <a:pt x="404" y="92"/>
                    </a:lnTo>
                    <a:lnTo>
                      <a:pt x="412" y="92"/>
                    </a:lnTo>
                    <a:lnTo>
                      <a:pt x="412" y="92"/>
                    </a:lnTo>
                    <a:lnTo>
                      <a:pt x="419" y="92"/>
                    </a:lnTo>
                    <a:lnTo>
                      <a:pt x="419" y="92"/>
                    </a:lnTo>
                    <a:lnTo>
                      <a:pt x="426" y="92"/>
                    </a:lnTo>
                    <a:lnTo>
                      <a:pt x="426" y="92"/>
                    </a:lnTo>
                    <a:lnTo>
                      <a:pt x="447" y="92"/>
                    </a:lnTo>
                    <a:lnTo>
                      <a:pt x="454" y="92"/>
                    </a:lnTo>
                    <a:lnTo>
                      <a:pt x="454" y="92"/>
                    </a:lnTo>
                    <a:lnTo>
                      <a:pt x="461" y="92"/>
                    </a:lnTo>
                    <a:lnTo>
                      <a:pt x="461" y="92"/>
                    </a:lnTo>
                    <a:lnTo>
                      <a:pt x="468" y="92"/>
                    </a:lnTo>
                    <a:lnTo>
                      <a:pt x="475" y="92"/>
                    </a:lnTo>
                    <a:lnTo>
                      <a:pt x="475" y="92"/>
                    </a:lnTo>
                    <a:lnTo>
                      <a:pt x="475" y="92"/>
                    </a:lnTo>
                    <a:lnTo>
                      <a:pt x="483" y="92"/>
                    </a:lnTo>
                    <a:lnTo>
                      <a:pt x="483" y="92"/>
                    </a:lnTo>
                    <a:lnTo>
                      <a:pt x="483" y="92"/>
                    </a:lnTo>
                    <a:lnTo>
                      <a:pt x="483" y="99"/>
                    </a:lnTo>
                    <a:lnTo>
                      <a:pt x="490" y="106"/>
                    </a:lnTo>
                    <a:lnTo>
                      <a:pt x="490" y="114"/>
                    </a:lnTo>
                    <a:lnTo>
                      <a:pt x="490" y="121"/>
                    </a:lnTo>
                    <a:lnTo>
                      <a:pt x="490" y="121"/>
                    </a:lnTo>
                    <a:lnTo>
                      <a:pt x="490" y="121"/>
                    </a:lnTo>
                    <a:lnTo>
                      <a:pt x="490" y="121"/>
                    </a:lnTo>
                    <a:lnTo>
                      <a:pt x="490" y="121"/>
                    </a:lnTo>
                    <a:lnTo>
                      <a:pt x="483" y="121"/>
                    </a:lnTo>
                    <a:lnTo>
                      <a:pt x="483" y="121"/>
                    </a:lnTo>
                    <a:lnTo>
                      <a:pt x="483" y="121"/>
                    </a:lnTo>
                    <a:lnTo>
                      <a:pt x="483" y="121"/>
                    </a:lnTo>
                    <a:lnTo>
                      <a:pt x="483" y="121"/>
                    </a:lnTo>
                    <a:lnTo>
                      <a:pt x="483" y="121"/>
                    </a:lnTo>
                    <a:lnTo>
                      <a:pt x="483" y="128"/>
                    </a:lnTo>
                    <a:lnTo>
                      <a:pt x="490" y="135"/>
                    </a:lnTo>
                    <a:lnTo>
                      <a:pt x="497" y="135"/>
                    </a:lnTo>
                    <a:lnTo>
                      <a:pt x="497" y="135"/>
                    </a:lnTo>
                    <a:lnTo>
                      <a:pt x="511" y="135"/>
                    </a:lnTo>
                    <a:lnTo>
                      <a:pt x="518" y="135"/>
                    </a:lnTo>
                    <a:lnTo>
                      <a:pt x="525" y="135"/>
                    </a:lnTo>
                    <a:lnTo>
                      <a:pt x="525" y="135"/>
                    </a:lnTo>
                    <a:lnTo>
                      <a:pt x="532" y="135"/>
                    </a:lnTo>
                    <a:lnTo>
                      <a:pt x="532" y="128"/>
                    </a:lnTo>
                    <a:lnTo>
                      <a:pt x="539" y="128"/>
                    </a:lnTo>
                    <a:lnTo>
                      <a:pt x="539" y="121"/>
                    </a:lnTo>
                    <a:lnTo>
                      <a:pt x="539" y="121"/>
                    </a:lnTo>
                    <a:lnTo>
                      <a:pt x="546" y="121"/>
                    </a:lnTo>
                    <a:lnTo>
                      <a:pt x="546" y="121"/>
                    </a:lnTo>
                    <a:lnTo>
                      <a:pt x="554" y="121"/>
                    </a:lnTo>
                    <a:lnTo>
                      <a:pt x="561" y="114"/>
                    </a:lnTo>
                    <a:lnTo>
                      <a:pt x="561" y="114"/>
                    </a:lnTo>
                    <a:lnTo>
                      <a:pt x="561" y="114"/>
                    </a:lnTo>
                    <a:lnTo>
                      <a:pt x="561" y="114"/>
                    </a:lnTo>
                    <a:lnTo>
                      <a:pt x="561" y="106"/>
                    </a:lnTo>
                    <a:lnTo>
                      <a:pt x="561" y="99"/>
                    </a:lnTo>
                    <a:lnTo>
                      <a:pt x="561" y="99"/>
                    </a:lnTo>
                    <a:lnTo>
                      <a:pt x="561" y="99"/>
                    </a:lnTo>
                    <a:lnTo>
                      <a:pt x="561" y="99"/>
                    </a:lnTo>
                    <a:lnTo>
                      <a:pt x="561" y="92"/>
                    </a:lnTo>
                    <a:lnTo>
                      <a:pt x="568" y="92"/>
                    </a:lnTo>
                    <a:lnTo>
                      <a:pt x="568" y="92"/>
                    </a:lnTo>
                    <a:lnTo>
                      <a:pt x="568" y="85"/>
                    </a:lnTo>
                    <a:lnTo>
                      <a:pt x="575" y="85"/>
                    </a:lnTo>
                    <a:lnTo>
                      <a:pt x="575" y="78"/>
                    </a:lnTo>
                    <a:lnTo>
                      <a:pt x="575" y="78"/>
                    </a:lnTo>
                    <a:lnTo>
                      <a:pt x="575" y="78"/>
                    </a:lnTo>
                    <a:lnTo>
                      <a:pt x="582" y="78"/>
                    </a:lnTo>
                    <a:lnTo>
                      <a:pt x="582" y="78"/>
                    </a:lnTo>
                    <a:lnTo>
                      <a:pt x="582" y="71"/>
                    </a:lnTo>
                    <a:lnTo>
                      <a:pt x="582" y="71"/>
                    </a:lnTo>
                    <a:lnTo>
                      <a:pt x="582" y="71"/>
                    </a:lnTo>
                    <a:lnTo>
                      <a:pt x="582" y="71"/>
                    </a:lnTo>
                    <a:lnTo>
                      <a:pt x="582" y="71"/>
                    </a:lnTo>
                    <a:lnTo>
                      <a:pt x="582" y="71"/>
                    </a:lnTo>
                    <a:lnTo>
                      <a:pt x="582" y="64"/>
                    </a:lnTo>
                    <a:lnTo>
                      <a:pt x="582" y="64"/>
                    </a:lnTo>
                    <a:lnTo>
                      <a:pt x="582" y="57"/>
                    </a:lnTo>
                    <a:lnTo>
                      <a:pt x="589" y="57"/>
                    </a:lnTo>
                    <a:lnTo>
                      <a:pt x="596" y="57"/>
                    </a:lnTo>
                    <a:lnTo>
                      <a:pt x="596" y="57"/>
                    </a:lnTo>
                    <a:lnTo>
                      <a:pt x="617" y="43"/>
                    </a:lnTo>
                    <a:lnTo>
                      <a:pt x="617" y="43"/>
                    </a:lnTo>
                    <a:lnTo>
                      <a:pt x="625" y="43"/>
                    </a:lnTo>
                    <a:lnTo>
                      <a:pt x="632" y="43"/>
                    </a:lnTo>
                    <a:lnTo>
                      <a:pt x="632" y="43"/>
                    </a:lnTo>
                    <a:lnTo>
                      <a:pt x="639" y="43"/>
                    </a:lnTo>
                    <a:lnTo>
                      <a:pt x="639" y="43"/>
                    </a:lnTo>
                    <a:lnTo>
                      <a:pt x="639" y="43"/>
                    </a:lnTo>
                    <a:lnTo>
                      <a:pt x="639" y="43"/>
                    </a:lnTo>
                    <a:lnTo>
                      <a:pt x="639" y="43"/>
                    </a:lnTo>
                    <a:lnTo>
                      <a:pt x="639" y="43"/>
                    </a:lnTo>
                    <a:lnTo>
                      <a:pt x="639" y="43"/>
                    </a:lnTo>
                    <a:lnTo>
                      <a:pt x="639" y="43"/>
                    </a:lnTo>
                    <a:lnTo>
                      <a:pt x="646" y="43"/>
                    </a:lnTo>
                    <a:lnTo>
                      <a:pt x="646" y="43"/>
                    </a:lnTo>
                    <a:lnTo>
                      <a:pt x="646" y="43"/>
                    </a:lnTo>
                    <a:lnTo>
                      <a:pt x="646" y="35"/>
                    </a:lnTo>
                    <a:lnTo>
                      <a:pt x="653" y="35"/>
                    </a:lnTo>
                    <a:lnTo>
                      <a:pt x="653" y="35"/>
                    </a:lnTo>
                    <a:lnTo>
                      <a:pt x="653" y="35"/>
                    </a:lnTo>
                    <a:lnTo>
                      <a:pt x="653" y="35"/>
                    </a:lnTo>
                    <a:lnTo>
                      <a:pt x="653" y="35"/>
                    </a:lnTo>
                    <a:lnTo>
                      <a:pt x="674" y="35"/>
                    </a:lnTo>
                    <a:lnTo>
                      <a:pt x="674" y="35"/>
                    </a:lnTo>
                    <a:lnTo>
                      <a:pt x="681" y="35"/>
                    </a:lnTo>
                    <a:lnTo>
                      <a:pt x="681" y="35"/>
                    </a:lnTo>
                    <a:lnTo>
                      <a:pt x="681" y="35"/>
                    </a:lnTo>
                    <a:lnTo>
                      <a:pt x="681" y="35"/>
                    </a:lnTo>
                    <a:lnTo>
                      <a:pt x="681" y="35"/>
                    </a:lnTo>
                    <a:lnTo>
                      <a:pt x="681" y="35"/>
                    </a:lnTo>
                    <a:lnTo>
                      <a:pt x="681" y="43"/>
                    </a:lnTo>
                    <a:lnTo>
                      <a:pt x="681" y="43"/>
                    </a:lnTo>
                    <a:lnTo>
                      <a:pt x="688" y="43"/>
                    </a:lnTo>
                    <a:lnTo>
                      <a:pt x="688" y="43"/>
                    </a:lnTo>
                    <a:lnTo>
                      <a:pt x="688" y="43"/>
                    </a:lnTo>
                    <a:lnTo>
                      <a:pt x="688" y="57"/>
                    </a:lnTo>
                    <a:lnTo>
                      <a:pt x="688" y="57"/>
                    </a:lnTo>
                    <a:lnTo>
                      <a:pt x="688" y="57"/>
                    </a:lnTo>
                    <a:lnTo>
                      <a:pt x="688" y="64"/>
                    </a:lnTo>
                    <a:lnTo>
                      <a:pt x="688" y="64"/>
                    </a:lnTo>
                    <a:lnTo>
                      <a:pt x="688" y="64"/>
                    </a:lnTo>
                    <a:lnTo>
                      <a:pt x="688" y="64"/>
                    </a:lnTo>
                    <a:lnTo>
                      <a:pt x="688" y="64"/>
                    </a:lnTo>
                    <a:lnTo>
                      <a:pt x="688" y="64"/>
                    </a:lnTo>
                    <a:lnTo>
                      <a:pt x="688" y="64"/>
                    </a:lnTo>
                    <a:lnTo>
                      <a:pt x="674" y="64"/>
                    </a:lnTo>
                    <a:lnTo>
                      <a:pt x="674" y="64"/>
                    </a:lnTo>
                    <a:lnTo>
                      <a:pt x="674" y="64"/>
                    </a:lnTo>
                    <a:lnTo>
                      <a:pt x="667" y="71"/>
                    </a:lnTo>
                    <a:lnTo>
                      <a:pt x="667" y="71"/>
                    </a:lnTo>
                    <a:lnTo>
                      <a:pt x="667" y="71"/>
                    </a:lnTo>
                    <a:lnTo>
                      <a:pt x="674" y="71"/>
                    </a:lnTo>
                    <a:lnTo>
                      <a:pt x="674" y="71"/>
                    </a:lnTo>
                    <a:lnTo>
                      <a:pt x="674" y="78"/>
                    </a:lnTo>
                    <a:lnTo>
                      <a:pt x="681" y="85"/>
                    </a:lnTo>
                    <a:lnTo>
                      <a:pt x="681" y="85"/>
                    </a:lnTo>
                    <a:lnTo>
                      <a:pt x="681" y="85"/>
                    </a:lnTo>
                    <a:lnTo>
                      <a:pt x="681" y="92"/>
                    </a:lnTo>
                    <a:lnTo>
                      <a:pt x="681" y="92"/>
                    </a:lnTo>
                    <a:lnTo>
                      <a:pt x="681" y="85"/>
                    </a:lnTo>
                    <a:lnTo>
                      <a:pt x="681" y="85"/>
                    </a:lnTo>
                    <a:lnTo>
                      <a:pt x="681" y="85"/>
                    </a:lnTo>
                    <a:lnTo>
                      <a:pt x="681" y="85"/>
                    </a:lnTo>
                    <a:lnTo>
                      <a:pt x="681" y="85"/>
                    </a:lnTo>
                    <a:lnTo>
                      <a:pt x="688" y="85"/>
                    </a:lnTo>
                    <a:lnTo>
                      <a:pt x="688" y="85"/>
                    </a:lnTo>
                    <a:lnTo>
                      <a:pt x="688" y="85"/>
                    </a:lnTo>
                    <a:lnTo>
                      <a:pt x="688" y="92"/>
                    </a:lnTo>
                    <a:lnTo>
                      <a:pt x="688" y="92"/>
                    </a:lnTo>
                    <a:lnTo>
                      <a:pt x="688" y="92"/>
                    </a:lnTo>
                    <a:lnTo>
                      <a:pt x="696" y="92"/>
                    </a:lnTo>
                    <a:lnTo>
                      <a:pt x="696" y="92"/>
                    </a:lnTo>
                    <a:lnTo>
                      <a:pt x="696" y="85"/>
                    </a:lnTo>
                    <a:lnTo>
                      <a:pt x="696" y="85"/>
                    </a:lnTo>
                    <a:lnTo>
                      <a:pt x="703" y="85"/>
                    </a:lnTo>
                    <a:lnTo>
                      <a:pt x="703" y="85"/>
                    </a:lnTo>
                    <a:lnTo>
                      <a:pt x="703" y="85"/>
                    </a:lnTo>
                    <a:lnTo>
                      <a:pt x="710" y="85"/>
                    </a:lnTo>
                    <a:lnTo>
                      <a:pt x="710" y="92"/>
                    </a:lnTo>
                    <a:lnTo>
                      <a:pt x="710" y="92"/>
                    </a:lnTo>
                    <a:lnTo>
                      <a:pt x="710" y="92"/>
                    </a:lnTo>
                    <a:lnTo>
                      <a:pt x="710" y="92"/>
                    </a:lnTo>
                    <a:lnTo>
                      <a:pt x="717" y="85"/>
                    </a:lnTo>
                    <a:lnTo>
                      <a:pt x="717" y="85"/>
                    </a:lnTo>
                    <a:lnTo>
                      <a:pt x="724" y="85"/>
                    </a:lnTo>
                    <a:lnTo>
                      <a:pt x="724" y="85"/>
                    </a:lnTo>
                    <a:lnTo>
                      <a:pt x="724" y="85"/>
                    </a:lnTo>
                    <a:lnTo>
                      <a:pt x="731" y="85"/>
                    </a:lnTo>
                    <a:lnTo>
                      <a:pt x="731" y="85"/>
                    </a:lnTo>
                    <a:lnTo>
                      <a:pt x="738" y="85"/>
                    </a:lnTo>
                    <a:lnTo>
                      <a:pt x="738" y="85"/>
                    </a:lnTo>
                    <a:lnTo>
                      <a:pt x="752" y="78"/>
                    </a:lnTo>
                    <a:lnTo>
                      <a:pt x="759" y="78"/>
                    </a:lnTo>
                    <a:lnTo>
                      <a:pt x="767" y="71"/>
                    </a:lnTo>
                    <a:lnTo>
                      <a:pt x="774" y="71"/>
                    </a:lnTo>
                    <a:lnTo>
                      <a:pt x="774" y="71"/>
                    </a:lnTo>
                    <a:lnTo>
                      <a:pt x="774" y="64"/>
                    </a:lnTo>
                    <a:lnTo>
                      <a:pt x="774" y="64"/>
                    </a:lnTo>
                    <a:lnTo>
                      <a:pt x="781" y="64"/>
                    </a:lnTo>
                    <a:lnTo>
                      <a:pt x="788" y="64"/>
                    </a:lnTo>
                    <a:lnTo>
                      <a:pt x="795" y="57"/>
                    </a:lnTo>
                    <a:lnTo>
                      <a:pt x="795" y="57"/>
                    </a:lnTo>
                    <a:lnTo>
                      <a:pt x="795" y="57"/>
                    </a:lnTo>
                    <a:lnTo>
                      <a:pt x="795" y="57"/>
                    </a:lnTo>
                    <a:lnTo>
                      <a:pt x="802" y="57"/>
                    </a:lnTo>
                    <a:lnTo>
                      <a:pt x="802" y="57"/>
                    </a:lnTo>
                    <a:lnTo>
                      <a:pt x="802" y="57"/>
                    </a:lnTo>
                    <a:lnTo>
                      <a:pt x="802" y="57"/>
                    </a:lnTo>
                    <a:lnTo>
                      <a:pt x="809" y="57"/>
                    </a:lnTo>
                    <a:lnTo>
                      <a:pt x="809" y="57"/>
                    </a:lnTo>
                    <a:lnTo>
                      <a:pt x="809" y="57"/>
                    </a:lnTo>
                    <a:lnTo>
                      <a:pt x="809" y="64"/>
                    </a:lnTo>
                    <a:lnTo>
                      <a:pt x="809" y="64"/>
                    </a:lnTo>
                    <a:lnTo>
                      <a:pt x="809" y="71"/>
                    </a:lnTo>
                    <a:lnTo>
                      <a:pt x="809" y="71"/>
                    </a:lnTo>
                    <a:lnTo>
                      <a:pt x="809" y="71"/>
                    </a:lnTo>
                    <a:lnTo>
                      <a:pt x="809" y="71"/>
                    </a:lnTo>
                    <a:lnTo>
                      <a:pt x="809" y="71"/>
                    </a:lnTo>
                    <a:lnTo>
                      <a:pt x="809" y="71"/>
                    </a:lnTo>
                    <a:lnTo>
                      <a:pt x="809" y="71"/>
                    </a:lnTo>
                    <a:lnTo>
                      <a:pt x="809" y="71"/>
                    </a:lnTo>
                    <a:lnTo>
                      <a:pt x="816" y="71"/>
                    </a:lnTo>
                    <a:lnTo>
                      <a:pt x="816" y="71"/>
                    </a:lnTo>
                    <a:lnTo>
                      <a:pt x="816" y="71"/>
                    </a:lnTo>
                    <a:lnTo>
                      <a:pt x="816" y="71"/>
                    </a:lnTo>
                    <a:lnTo>
                      <a:pt x="816" y="71"/>
                    </a:lnTo>
                    <a:lnTo>
                      <a:pt x="823" y="71"/>
                    </a:lnTo>
                    <a:lnTo>
                      <a:pt x="823" y="71"/>
                    </a:lnTo>
                    <a:lnTo>
                      <a:pt x="823" y="71"/>
                    </a:lnTo>
                    <a:lnTo>
                      <a:pt x="830" y="71"/>
                    </a:lnTo>
                    <a:lnTo>
                      <a:pt x="830" y="71"/>
                    </a:lnTo>
                    <a:lnTo>
                      <a:pt x="837" y="78"/>
                    </a:lnTo>
                    <a:lnTo>
                      <a:pt x="845" y="78"/>
                    </a:lnTo>
                    <a:lnTo>
                      <a:pt x="852" y="78"/>
                    </a:lnTo>
                    <a:lnTo>
                      <a:pt x="852" y="71"/>
                    </a:lnTo>
                    <a:lnTo>
                      <a:pt x="859" y="71"/>
                    </a:lnTo>
                    <a:lnTo>
                      <a:pt x="866" y="71"/>
                    </a:lnTo>
                    <a:lnTo>
                      <a:pt x="873" y="71"/>
                    </a:lnTo>
                    <a:lnTo>
                      <a:pt x="873" y="71"/>
                    </a:lnTo>
                    <a:lnTo>
                      <a:pt x="880" y="71"/>
                    </a:lnTo>
                    <a:lnTo>
                      <a:pt x="880" y="64"/>
                    </a:lnTo>
                    <a:lnTo>
                      <a:pt x="880" y="64"/>
                    </a:lnTo>
                    <a:lnTo>
                      <a:pt x="880" y="64"/>
                    </a:lnTo>
                    <a:lnTo>
                      <a:pt x="880" y="64"/>
                    </a:lnTo>
                    <a:lnTo>
                      <a:pt x="880" y="64"/>
                    </a:lnTo>
                    <a:lnTo>
                      <a:pt x="880" y="64"/>
                    </a:lnTo>
                    <a:lnTo>
                      <a:pt x="880" y="57"/>
                    </a:lnTo>
                    <a:lnTo>
                      <a:pt x="880" y="57"/>
                    </a:lnTo>
                    <a:lnTo>
                      <a:pt x="887" y="57"/>
                    </a:lnTo>
                    <a:lnTo>
                      <a:pt x="901" y="57"/>
                    </a:lnTo>
                    <a:lnTo>
                      <a:pt x="908" y="50"/>
                    </a:lnTo>
                    <a:lnTo>
                      <a:pt x="916" y="50"/>
                    </a:lnTo>
                    <a:lnTo>
                      <a:pt x="916" y="50"/>
                    </a:lnTo>
                    <a:lnTo>
                      <a:pt x="923" y="50"/>
                    </a:lnTo>
                    <a:lnTo>
                      <a:pt x="923" y="50"/>
                    </a:lnTo>
                    <a:lnTo>
                      <a:pt x="923" y="43"/>
                    </a:lnTo>
                    <a:lnTo>
                      <a:pt x="923" y="43"/>
                    </a:lnTo>
                    <a:lnTo>
                      <a:pt x="923" y="43"/>
                    </a:lnTo>
                    <a:lnTo>
                      <a:pt x="923" y="43"/>
                    </a:lnTo>
                    <a:lnTo>
                      <a:pt x="923" y="43"/>
                    </a:lnTo>
                    <a:lnTo>
                      <a:pt x="923" y="35"/>
                    </a:lnTo>
                    <a:lnTo>
                      <a:pt x="930" y="43"/>
                    </a:lnTo>
                    <a:lnTo>
                      <a:pt x="930" y="43"/>
                    </a:lnTo>
                    <a:lnTo>
                      <a:pt x="937" y="43"/>
                    </a:lnTo>
                    <a:lnTo>
                      <a:pt x="944" y="43"/>
                    </a:lnTo>
                    <a:lnTo>
                      <a:pt x="944" y="43"/>
                    </a:lnTo>
                    <a:lnTo>
                      <a:pt x="944" y="43"/>
                    </a:lnTo>
                    <a:lnTo>
                      <a:pt x="944" y="43"/>
                    </a:lnTo>
                    <a:lnTo>
                      <a:pt x="951" y="43"/>
                    </a:lnTo>
                    <a:lnTo>
                      <a:pt x="958" y="43"/>
                    </a:lnTo>
                    <a:lnTo>
                      <a:pt x="958" y="43"/>
                    </a:lnTo>
                    <a:lnTo>
                      <a:pt x="958" y="50"/>
                    </a:lnTo>
                    <a:lnTo>
                      <a:pt x="965" y="50"/>
                    </a:lnTo>
                    <a:lnTo>
                      <a:pt x="965" y="57"/>
                    </a:lnTo>
                    <a:lnTo>
                      <a:pt x="965" y="57"/>
                    </a:lnTo>
                    <a:lnTo>
                      <a:pt x="965" y="57"/>
                    </a:lnTo>
                    <a:lnTo>
                      <a:pt x="965" y="57"/>
                    </a:lnTo>
                    <a:lnTo>
                      <a:pt x="965" y="57"/>
                    </a:lnTo>
                    <a:lnTo>
                      <a:pt x="965" y="64"/>
                    </a:lnTo>
                    <a:lnTo>
                      <a:pt x="965" y="64"/>
                    </a:lnTo>
                    <a:lnTo>
                      <a:pt x="965" y="64"/>
                    </a:lnTo>
                    <a:lnTo>
                      <a:pt x="972" y="64"/>
                    </a:lnTo>
                    <a:lnTo>
                      <a:pt x="972" y="64"/>
                    </a:lnTo>
                    <a:lnTo>
                      <a:pt x="972" y="64"/>
                    </a:lnTo>
                    <a:lnTo>
                      <a:pt x="979" y="57"/>
                    </a:lnTo>
                    <a:lnTo>
                      <a:pt x="979" y="57"/>
                    </a:lnTo>
                    <a:lnTo>
                      <a:pt x="979" y="57"/>
                    </a:lnTo>
                    <a:lnTo>
                      <a:pt x="987" y="57"/>
                    </a:lnTo>
                    <a:lnTo>
                      <a:pt x="987" y="57"/>
                    </a:lnTo>
                    <a:lnTo>
                      <a:pt x="994" y="57"/>
                    </a:lnTo>
                    <a:lnTo>
                      <a:pt x="1001" y="57"/>
                    </a:lnTo>
                    <a:lnTo>
                      <a:pt x="1001" y="57"/>
                    </a:lnTo>
                    <a:lnTo>
                      <a:pt x="1001" y="57"/>
                    </a:lnTo>
                    <a:lnTo>
                      <a:pt x="1008" y="57"/>
                    </a:lnTo>
                    <a:lnTo>
                      <a:pt x="1008" y="64"/>
                    </a:lnTo>
                    <a:lnTo>
                      <a:pt x="1008" y="64"/>
                    </a:lnTo>
                    <a:lnTo>
                      <a:pt x="1008" y="64"/>
                    </a:lnTo>
                    <a:lnTo>
                      <a:pt x="1008" y="64"/>
                    </a:lnTo>
                    <a:lnTo>
                      <a:pt x="1008" y="64"/>
                    </a:lnTo>
                    <a:lnTo>
                      <a:pt x="1015" y="64"/>
                    </a:lnTo>
                    <a:lnTo>
                      <a:pt x="1015" y="64"/>
                    </a:lnTo>
                    <a:lnTo>
                      <a:pt x="1015" y="64"/>
                    </a:lnTo>
                    <a:lnTo>
                      <a:pt x="1015" y="64"/>
                    </a:lnTo>
                    <a:lnTo>
                      <a:pt x="1022" y="64"/>
                    </a:lnTo>
                    <a:lnTo>
                      <a:pt x="1022" y="64"/>
                    </a:lnTo>
                    <a:lnTo>
                      <a:pt x="1022" y="57"/>
                    </a:lnTo>
                    <a:lnTo>
                      <a:pt x="1029" y="57"/>
                    </a:lnTo>
                    <a:lnTo>
                      <a:pt x="1029" y="57"/>
                    </a:lnTo>
                    <a:lnTo>
                      <a:pt x="1029" y="64"/>
                    </a:lnTo>
                    <a:lnTo>
                      <a:pt x="1029" y="64"/>
                    </a:lnTo>
                    <a:lnTo>
                      <a:pt x="1029" y="64"/>
                    </a:lnTo>
                    <a:lnTo>
                      <a:pt x="1029" y="64"/>
                    </a:lnTo>
                    <a:lnTo>
                      <a:pt x="1029" y="64"/>
                    </a:lnTo>
                    <a:lnTo>
                      <a:pt x="1043" y="57"/>
                    </a:lnTo>
                    <a:lnTo>
                      <a:pt x="1043" y="57"/>
                    </a:lnTo>
                    <a:lnTo>
                      <a:pt x="1043" y="57"/>
                    </a:lnTo>
                    <a:lnTo>
                      <a:pt x="1050" y="50"/>
                    </a:lnTo>
                    <a:lnTo>
                      <a:pt x="1050" y="50"/>
                    </a:lnTo>
                    <a:lnTo>
                      <a:pt x="1058" y="50"/>
                    </a:lnTo>
                    <a:lnTo>
                      <a:pt x="1058" y="50"/>
                    </a:lnTo>
                    <a:lnTo>
                      <a:pt x="1058" y="50"/>
                    </a:lnTo>
                    <a:lnTo>
                      <a:pt x="1065" y="57"/>
                    </a:lnTo>
                    <a:lnTo>
                      <a:pt x="1065" y="57"/>
                    </a:lnTo>
                    <a:lnTo>
                      <a:pt x="1072" y="57"/>
                    </a:lnTo>
                    <a:lnTo>
                      <a:pt x="1072" y="57"/>
                    </a:lnTo>
                    <a:lnTo>
                      <a:pt x="1072" y="57"/>
                    </a:lnTo>
                    <a:lnTo>
                      <a:pt x="1072" y="57"/>
                    </a:lnTo>
                    <a:lnTo>
                      <a:pt x="1072" y="64"/>
                    </a:lnTo>
                    <a:lnTo>
                      <a:pt x="1072" y="64"/>
                    </a:lnTo>
                    <a:lnTo>
                      <a:pt x="1079" y="64"/>
                    </a:lnTo>
                    <a:lnTo>
                      <a:pt x="1086" y="71"/>
                    </a:lnTo>
                    <a:lnTo>
                      <a:pt x="1086" y="71"/>
                    </a:lnTo>
                    <a:lnTo>
                      <a:pt x="1086" y="71"/>
                    </a:lnTo>
                    <a:lnTo>
                      <a:pt x="1086" y="71"/>
                    </a:lnTo>
                    <a:lnTo>
                      <a:pt x="1086" y="78"/>
                    </a:lnTo>
                    <a:lnTo>
                      <a:pt x="1086" y="78"/>
                    </a:lnTo>
                    <a:lnTo>
                      <a:pt x="1086" y="78"/>
                    </a:lnTo>
                    <a:lnTo>
                      <a:pt x="1086" y="78"/>
                    </a:lnTo>
                    <a:lnTo>
                      <a:pt x="1086" y="78"/>
                    </a:lnTo>
                    <a:lnTo>
                      <a:pt x="1086" y="85"/>
                    </a:lnTo>
                    <a:lnTo>
                      <a:pt x="1086" y="85"/>
                    </a:lnTo>
                    <a:lnTo>
                      <a:pt x="1086" y="85"/>
                    </a:lnTo>
                    <a:lnTo>
                      <a:pt x="1086" y="85"/>
                    </a:lnTo>
                    <a:lnTo>
                      <a:pt x="1086" y="85"/>
                    </a:lnTo>
                    <a:lnTo>
                      <a:pt x="1093" y="85"/>
                    </a:lnTo>
                    <a:lnTo>
                      <a:pt x="1093" y="85"/>
                    </a:lnTo>
                    <a:lnTo>
                      <a:pt x="1093" y="85"/>
                    </a:lnTo>
                    <a:lnTo>
                      <a:pt x="1093" y="85"/>
                    </a:lnTo>
                    <a:lnTo>
                      <a:pt x="1100" y="85"/>
                    </a:lnTo>
                    <a:lnTo>
                      <a:pt x="1100" y="85"/>
                    </a:lnTo>
                    <a:lnTo>
                      <a:pt x="1114" y="92"/>
                    </a:lnTo>
                    <a:lnTo>
                      <a:pt x="1114" y="92"/>
                    </a:lnTo>
                    <a:lnTo>
                      <a:pt x="1121" y="92"/>
                    </a:lnTo>
                    <a:lnTo>
                      <a:pt x="1121" y="92"/>
                    </a:lnTo>
                    <a:lnTo>
                      <a:pt x="1121" y="92"/>
                    </a:lnTo>
                    <a:lnTo>
                      <a:pt x="1121" y="92"/>
                    </a:lnTo>
                    <a:lnTo>
                      <a:pt x="1121" y="92"/>
                    </a:lnTo>
                    <a:lnTo>
                      <a:pt x="1129" y="99"/>
                    </a:lnTo>
                    <a:lnTo>
                      <a:pt x="1121" y="99"/>
                    </a:lnTo>
                    <a:lnTo>
                      <a:pt x="1121" y="106"/>
                    </a:lnTo>
                    <a:lnTo>
                      <a:pt x="1121" y="106"/>
                    </a:lnTo>
                    <a:lnTo>
                      <a:pt x="1107" y="114"/>
                    </a:lnTo>
                    <a:lnTo>
                      <a:pt x="1100" y="114"/>
                    </a:lnTo>
                    <a:lnTo>
                      <a:pt x="1100" y="121"/>
                    </a:lnTo>
                    <a:lnTo>
                      <a:pt x="1093" y="121"/>
                    </a:lnTo>
                    <a:lnTo>
                      <a:pt x="1093" y="121"/>
                    </a:lnTo>
                    <a:lnTo>
                      <a:pt x="1093" y="121"/>
                    </a:lnTo>
                    <a:lnTo>
                      <a:pt x="1093" y="135"/>
                    </a:lnTo>
                    <a:lnTo>
                      <a:pt x="1093" y="135"/>
                    </a:lnTo>
                    <a:lnTo>
                      <a:pt x="1093" y="142"/>
                    </a:lnTo>
                    <a:lnTo>
                      <a:pt x="1093" y="142"/>
                    </a:lnTo>
                    <a:lnTo>
                      <a:pt x="1093" y="142"/>
                    </a:lnTo>
                    <a:lnTo>
                      <a:pt x="1093" y="149"/>
                    </a:lnTo>
                    <a:lnTo>
                      <a:pt x="1093" y="149"/>
                    </a:lnTo>
                    <a:lnTo>
                      <a:pt x="1100" y="149"/>
                    </a:lnTo>
                    <a:lnTo>
                      <a:pt x="1100" y="149"/>
                    </a:lnTo>
                    <a:lnTo>
                      <a:pt x="1100" y="149"/>
                    </a:lnTo>
                    <a:lnTo>
                      <a:pt x="1100" y="149"/>
                    </a:lnTo>
                    <a:lnTo>
                      <a:pt x="1100" y="149"/>
                    </a:lnTo>
                    <a:lnTo>
                      <a:pt x="1100" y="149"/>
                    </a:lnTo>
                    <a:lnTo>
                      <a:pt x="1107" y="149"/>
                    </a:lnTo>
                    <a:lnTo>
                      <a:pt x="1107" y="149"/>
                    </a:lnTo>
                    <a:lnTo>
                      <a:pt x="1107" y="149"/>
                    </a:lnTo>
                    <a:lnTo>
                      <a:pt x="1107" y="149"/>
                    </a:lnTo>
                    <a:lnTo>
                      <a:pt x="1107" y="149"/>
                    </a:lnTo>
                    <a:lnTo>
                      <a:pt x="1107" y="156"/>
                    </a:lnTo>
                    <a:lnTo>
                      <a:pt x="1107" y="156"/>
                    </a:lnTo>
                    <a:lnTo>
                      <a:pt x="1107" y="156"/>
                    </a:lnTo>
                    <a:lnTo>
                      <a:pt x="1107" y="156"/>
                    </a:lnTo>
                    <a:lnTo>
                      <a:pt x="1114" y="170"/>
                    </a:lnTo>
                    <a:lnTo>
                      <a:pt x="1114" y="185"/>
                    </a:lnTo>
                    <a:lnTo>
                      <a:pt x="1114" y="192"/>
                    </a:lnTo>
                    <a:lnTo>
                      <a:pt x="1114" y="192"/>
                    </a:lnTo>
                    <a:lnTo>
                      <a:pt x="1114" y="192"/>
                    </a:lnTo>
                    <a:lnTo>
                      <a:pt x="1107" y="192"/>
                    </a:lnTo>
                    <a:lnTo>
                      <a:pt x="1107" y="192"/>
                    </a:lnTo>
                    <a:lnTo>
                      <a:pt x="1107" y="199"/>
                    </a:lnTo>
                    <a:lnTo>
                      <a:pt x="1100" y="199"/>
                    </a:lnTo>
                    <a:lnTo>
                      <a:pt x="1100" y="199"/>
                    </a:lnTo>
                    <a:lnTo>
                      <a:pt x="1100" y="199"/>
                    </a:lnTo>
                    <a:lnTo>
                      <a:pt x="1100" y="199"/>
                    </a:lnTo>
                    <a:lnTo>
                      <a:pt x="1107" y="199"/>
                    </a:lnTo>
                    <a:lnTo>
                      <a:pt x="1107" y="199"/>
                    </a:lnTo>
                    <a:lnTo>
                      <a:pt x="1107" y="206"/>
                    </a:lnTo>
                    <a:lnTo>
                      <a:pt x="1107" y="199"/>
                    </a:lnTo>
                    <a:lnTo>
                      <a:pt x="1107" y="199"/>
                    </a:lnTo>
                    <a:lnTo>
                      <a:pt x="1107" y="199"/>
                    </a:lnTo>
                    <a:lnTo>
                      <a:pt x="1114" y="199"/>
                    </a:lnTo>
                    <a:lnTo>
                      <a:pt x="1114" y="199"/>
                    </a:lnTo>
                    <a:lnTo>
                      <a:pt x="1114" y="199"/>
                    </a:lnTo>
                    <a:lnTo>
                      <a:pt x="1114" y="199"/>
                    </a:lnTo>
                    <a:lnTo>
                      <a:pt x="1121" y="199"/>
                    </a:lnTo>
                    <a:lnTo>
                      <a:pt x="1121" y="199"/>
                    </a:lnTo>
                    <a:lnTo>
                      <a:pt x="1121" y="199"/>
                    </a:lnTo>
                    <a:lnTo>
                      <a:pt x="1121" y="199"/>
                    </a:lnTo>
                    <a:lnTo>
                      <a:pt x="1121" y="199"/>
                    </a:lnTo>
                    <a:lnTo>
                      <a:pt x="1121" y="199"/>
                    </a:lnTo>
                    <a:lnTo>
                      <a:pt x="1121" y="206"/>
                    </a:lnTo>
                    <a:lnTo>
                      <a:pt x="1121" y="206"/>
                    </a:lnTo>
                    <a:lnTo>
                      <a:pt x="1121" y="213"/>
                    </a:lnTo>
                    <a:lnTo>
                      <a:pt x="1121" y="213"/>
                    </a:lnTo>
                    <a:lnTo>
                      <a:pt x="1121" y="213"/>
                    </a:lnTo>
                    <a:lnTo>
                      <a:pt x="1121" y="213"/>
                    </a:lnTo>
                    <a:lnTo>
                      <a:pt x="1121" y="213"/>
                    </a:lnTo>
                    <a:lnTo>
                      <a:pt x="1121" y="220"/>
                    </a:lnTo>
                    <a:lnTo>
                      <a:pt x="1121" y="220"/>
                    </a:lnTo>
                    <a:lnTo>
                      <a:pt x="1121" y="220"/>
                    </a:lnTo>
                    <a:lnTo>
                      <a:pt x="1121" y="227"/>
                    </a:lnTo>
                    <a:lnTo>
                      <a:pt x="1121" y="234"/>
                    </a:lnTo>
                    <a:lnTo>
                      <a:pt x="1121" y="234"/>
                    </a:lnTo>
                    <a:lnTo>
                      <a:pt x="1121" y="234"/>
                    </a:lnTo>
                    <a:lnTo>
                      <a:pt x="1121" y="241"/>
                    </a:lnTo>
                    <a:lnTo>
                      <a:pt x="1121" y="241"/>
                    </a:lnTo>
                    <a:lnTo>
                      <a:pt x="1121" y="241"/>
                    </a:lnTo>
                    <a:lnTo>
                      <a:pt x="1121" y="241"/>
                    </a:lnTo>
                    <a:lnTo>
                      <a:pt x="1121" y="241"/>
                    </a:lnTo>
                    <a:lnTo>
                      <a:pt x="1114" y="241"/>
                    </a:lnTo>
                    <a:lnTo>
                      <a:pt x="1114" y="241"/>
                    </a:lnTo>
                    <a:lnTo>
                      <a:pt x="1114" y="248"/>
                    </a:lnTo>
                    <a:lnTo>
                      <a:pt x="1107" y="248"/>
                    </a:lnTo>
                    <a:lnTo>
                      <a:pt x="1107" y="248"/>
                    </a:lnTo>
                    <a:lnTo>
                      <a:pt x="1107" y="248"/>
                    </a:lnTo>
                    <a:lnTo>
                      <a:pt x="1100" y="248"/>
                    </a:lnTo>
                    <a:lnTo>
                      <a:pt x="1100" y="256"/>
                    </a:lnTo>
                    <a:lnTo>
                      <a:pt x="1093" y="256"/>
                    </a:lnTo>
                    <a:lnTo>
                      <a:pt x="1093" y="256"/>
                    </a:lnTo>
                    <a:lnTo>
                      <a:pt x="1093" y="256"/>
                    </a:lnTo>
                    <a:lnTo>
                      <a:pt x="1093" y="256"/>
                    </a:lnTo>
                    <a:lnTo>
                      <a:pt x="1093" y="263"/>
                    </a:lnTo>
                    <a:lnTo>
                      <a:pt x="1093" y="263"/>
                    </a:lnTo>
                    <a:lnTo>
                      <a:pt x="1093" y="270"/>
                    </a:lnTo>
                    <a:lnTo>
                      <a:pt x="1093" y="270"/>
                    </a:lnTo>
                    <a:lnTo>
                      <a:pt x="1093" y="270"/>
                    </a:lnTo>
                    <a:lnTo>
                      <a:pt x="1107" y="270"/>
                    </a:lnTo>
                    <a:lnTo>
                      <a:pt x="1107" y="270"/>
                    </a:lnTo>
                    <a:lnTo>
                      <a:pt x="1107" y="270"/>
                    </a:lnTo>
                    <a:lnTo>
                      <a:pt x="1107" y="270"/>
                    </a:lnTo>
                    <a:lnTo>
                      <a:pt x="1114" y="277"/>
                    </a:lnTo>
                    <a:lnTo>
                      <a:pt x="1114" y="284"/>
                    </a:lnTo>
                    <a:lnTo>
                      <a:pt x="1114" y="284"/>
                    </a:lnTo>
                    <a:lnTo>
                      <a:pt x="1114" y="284"/>
                    </a:lnTo>
                    <a:lnTo>
                      <a:pt x="1114" y="284"/>
                    </a:lnTo>
                    <a:lnTo>
                      <a:pt x="1114" y="291"/>
                    </a:lnTo>
                    <a:lnTo>
                      <a:pt x="1114" y="298"/>
                    </a:lnTo>
                    <a:lnTo>
                      <a:pt x="1114" y="298"/>
                    </a:lnTo>
                    <a:lnTo>
                      <a:pt x="1114" y="298"/>
                    </a:lnTo>
                    <a:lnTo>
                      <a:pt x="1114" y="298"/>
                    </a:lnTo>
                    <a:lnTo>
                      <a:pt x="1107" y="298"/>
                    </a:lnTo>
                    <a:lnTo>
                      <a:pt x="1107" y="298"/>
                    </a:lnTo>
                    <a:lnTo>
                      <a:pt x="1107" y="298"/>
                    </a:lnTo>
                    <a:lnTo>
                      <a:pt x="1100" y="298"/>
                    </a:lnTo>
                    <a:lnTo>
                      <a:pt x="1100" y="298"/>
                    </a:lnTo>
                    <a:lnTo>
                      <a:pt x="1100" y="298"/>
                    </a:lnTo>
                    <a:lnTo>
                      <a:pt x="1100" y="298"/>
                    </a:lnTo>
                    <a:lnTo>
                      <a:pt x="1100" y="305"/>
                    </a:lnTo>
                    <a:lnTo>
                      <a:pt x="1100" y="305"/>
                    </a:lnTo>
                    <a:lnTo>
                      <a:pt x="1100" y="305"/>
                    </a:lnTo>
                    <a:lnTo>
                      <a:pt x="1100" y="305"/>
                    </a:lnTo>
                    <a:lnTo>
                      <a:pt x="1100" y="305"/>
                    </a:lnTo>
                    <a:lnTo>
                      <a:pt x="1100" y="305"/>
                    </a:lnTo>
                    <a:lnTo>
                      <a:pt x="1100" y="305"/>
                    </a:lnTo>
                    <a:lnTo>
                      <a:pt x="1107" y="305"/>
                    </a:lnTo>
                    <a:lnTo>
                      <a:pt x="1107" y="305"/>
                    </a:lnTo>
                    <a:lnTo>
                      <a:pt x="1107" y="312"/>
                    </a:lnTo>
                    <a:lnTo>
                      <a:pt x="1107" y="312"/>
                    </a:lnTo>
                    <a:lnTo>
                      <a:pt x="1107" y="312"/>
                    </a:lnTo>
                    <a:lnTo>
                      <a:pt x="1107" y="312"/>
                    </a:lnTo>
                    <a:lnTo>
                      <a:pt x="1107" y="312"/>
                    </a:lnTo>
                    <a:lnTo>
                      <a:pt x="1107" y="312"/>
                    </a:lnTo>
                    <a:lnTo>
                      <a:pt x="1100" y="312"/>
                    </a:lnTo>
                    <a:lnTo>
                      <a:pt x="1100" y="319"/>
                    </a:lnTo>
                    <a:lnTo>
                      <a:pt x="1100" y="319"/>
                    </a:lnTo>
                    <a:lnTo>
                      <a:pt x="1093" y="319"/>
                    </a:lnTo>
                    <a:lnTo>
                      <a:pt x="1093" y="319"/>
                    </a:lnTo>
                    <a:lnTo>
                      <a:pt x="1093" y="319"/>
                    </a:lnTo>
                    <a:lnTo>
                      <a:pt x="1093" y="319"/>
                    </a:lnTo>
                    <a:lnTo>
                      <a:pt x="1100" y="319"/>
                    </a:lnTo>
                    <a:lnTo>
                      <a:pt x="1100" y="327"/>
                    </a:lnTo>
                    <a:lnTo>
                      <a:pt x="1100" y="327"/>
                    </a:lnTo>
                    <a:lnTo>
                      <a:pt x="1107" y="327"/>
                    </a:lnTo>
                    <a:lnTo>
                      <a:pt x="1107" y="327"/>
                    </a:lnTo>
                    <a:lnTo>
                      <a:pt x="1107" y="327"/>
                    </a:lnTo>
                    <a:lnTo>
                      <a:pt x="1107" y="327"/>
                    </a:lnTo>
                    <a:lnTo>
                      <a:pt x="1107" y="327"/>
                    </a:lnTo>
                    <a:lnTo>
                      <a:pt x="1107" y="319"/>
                    </a:lnTo>
                    <a:lnTo>
                      <a:pt x="1107" y="319"/>
                    </a:lnTo>
                    <a:lnTo>
                      <a:pt x="1107" y="319"/>
                    </a:lnTo>
                    <a:lnTo>
                      <a:pt x="1107" y="319"/>
                    </a:lnTo>
                    <a:lnTo>
                      <a:pt x="1107" y="319"/>
                    </a:lnTo>
                    <a:lnTo>
                      <a:pt x="1107" y="319"/>
                    </a:lnTo>
                    <a:lnTo>
                      <a:pt x="1107" y="319"/>
                    </a:lnTo>
                    <a:lnTo>
                      <a:pt x="1107" y="319"/>
                    </a:lnTo>
                    <a:lnTo>
                      <a:pt x="1107" y="319"/>
                    </a:lnTo>
                    <a:lnTo>
                      <a:pt x="1114" y="319"/>
                    </a:lnTo>
                    <a:lnTo>
                      <a:pt x="1114" y="319"/>
                    </a:lnTo>
                    <a:lnTo>
                      <a:pt x="1114" y="319"/>
                    </a:lnTo>
                    <a:lnTo>
                      <a:pt x="1114" y="319"/>
                    </a:lnTo>
                    <a:lnTo>
                      <a:pt x="1114" y="327"/>
                    </a:lnTo>
                    <a:lnTo>
                      <a:pt x="1114" y="327"/>
                    </a:lnTo>
                    <a:lnTo>
                      <a:pt x="1121" y="327"/>
                    </a:lnTo>
                    <a:lnTo>
                      <a:pt x="1121" y="334"/>
                    </a:lnTo>
                    <a:lnTo>
                      <a:pt x="1121" y="334"/>
                    </a:lnTo>
                    <a:lnTo>
                      <a:pt x="1129" y="334"/>
                    </a:lnTo>
                    <a:lnTo>
                      <a:pt x="1129" y="334"/>
                    </a:lnTo>
                    <a:lnTo>
                      <a:pt x="1129" y="334"/>
                    </a:lnTo>
                    <a:lnTo>
                      <a:pt x="1129" y="334"/>
                    </a:lnTo>
                    <a:lnTo>
                      <a:pt x="1136" y="334"/>
                    </a:lnTo>
                    <a:lnTo>
                      <a:pt x="1136" y="348"/>
                    </a:lnTo>
                    <a:lnTo>
                      <a:pt x="1136" y="348"/>
                    </a:lnTo>
                    <a:lnTo>
                      <a:pt x="1136" y="348"/>
                    </a:lnTo>
                    <a:lnTo>
                      <a:pt x="1136" y="348"/>
                    </a:lnTo>
                    <a:lnTo>
                      <a:pt x="1143" y="348"/>
                    </a:lnTo>
                    <a:lnTo>
                      <a:pt x="1150" y="355"/>
                    </a:lnTo>
                    <a:lnTo>
                      <a:pt x="1150" y="355"/>
                    </a:lnTo>
                    <a:lnTo>
                      <a:pt x="1157" y="355"/>
                    </a:lnTo>
                    <a:lnTo>
                      <a:pt x="1157" y="355"/>
                    </a:lnTo>
                    <a:lnTo>
                      <a:pt x="1157" y="355"/>
                    </a:lnTo>
                    <a:lnTo>
                      <a:pt x="1157" y="355"/>
                    </a:lnTo>
                    <a:lnTo>
                      <a:pt x="1157" y="362"/>
                    </a:lnTo>
                    <a:lnTo>
                      <a:pt x="1164" y="362"/>
                    </a:lnTo>
                    <a:lnTo>
                      <a:pt x="1164" y="362"/>
                    </a:lnTo>
                    <a:lnTo>
                      <a:pt x="1164" y="369"/>
                    </a:lnTo>
                    <a:lnTo>
                      <a:pt x="1164" y="369"/>
                    </a:lnTo>
                    <a:lnTo>
                      <a:pt x="1164" y="369"/>
                    </a:lnTo>
                    <a:lnTo>
                      <a:pt x="1164" y="376"/>
                    </a:lnTo>
                    <a:lnTo>
                      <a:pt x="1164" y="376"/>
                    </a:lnTo>
                    <a:lnTo>
                      <a:pt x="1157" y="376"/>
                    </a:lnTo>
                    <a:lnTo>
                      <a:pt x="1157" y="376"/>
                    </a:lnTo>
                    <a:lnTo>
                      <a:pt x="1157" y="376"/>
                    </a:lnTo>
                    <a:lnTo>
                      <a:pt x="1150" y="376"/>
                    </a:lnTo>
                    <a:lnTo>
                      <a:pt x="1150" y="376"/>
                    </a:lnTo>
                    <a:lnTo>
                      <a:pt x="1150" y="383"/>
                    </a:lnTo>
                    <a:lnTo>
                      <a:pt x="1157" y="383"/>
                    </a:lnTo>
                    <a:lnTo>
                      <a:pt x="1157" y="383"/>
                    </a:lnTo>
                    <a:lnTo>
                      <a:pt x="1157" y="390"/>
                    </a:lnTo>
                    <a:lnTo>
                      <a:pt x="1157" y="390"/>
                    </a:lnTo>
                    <a:lnTo>
                      <a:pt x="1150" y="390"/>
                    </a:lnTo>
                    <a:lnTo>
                      <a:pt x="1150" y="390"/>
                    </a:lnTo>
                    <a:lnTo>
                      <a:pt x="1143" y="397"/>
                    </a:lnTo>
                    <a:lnTo>
                      <a:pt x="1143" y="397"/>
                    </a:lnTo>
                    <a:lnTo>
                      <a:pt x="1143" y="397"/>
                    </a:lnTo>
                    <a:lnTo>
                      <a:pt x="1143" y="397"/>
                    </a:lnTo>
                    <a:lnTo>
                      <a:pt x="1143" y="397"/>
                    </a:lnTo>
                    <a:lnTo>
                      <a:pt x="1143" y="397"/>
                    </a:lnTo>
                    <a:lnTo>
                      <a:pt x="1136" y="390"/>
                    </a:lnTo>
                    <a:lnTo>
                      <a:pt x="1136" y="390"/>
                    </a:lnTo>
                    <a:lnTo>
                      <a:pt x="1129" y="390"/>
                    </a:lnTo>
                    <a:lnTo>
                      <a:pt x="1129" y="390"/>
                    </a:lnTo>
                    <a:lnTo>
                      <a:pt x="1129" y="390"/>
                    </a:lnTo>
                    <a:lnTo>
                      <a:pt x="1121" y="390"/>
                    </a:lnTo>
                    <a:lnTo>
                      <a:pt x="1121" y="383"/>
                    </a:lnTo>
                    <a:lnTo>
                      <a:pt x="1121" y="376"/>
                    </a:lnTo>
                    <a:lnTo>
                      <a:pt x="1114" y="383"/>
                    </a:lnTo>
                    <a:lnTo>
                      <a:pt x="1114" y="383"/>
                    </a:lnTo>
                    <a:lnTo>
                      <a:pt x="1114" y="383"/>
                    </a:lnTo>
                    <a:lnTo>
                      <a:pt x="1114" y="383"/>
                    </a:lnTo>
                    <a:lnTo>
                      <a:pt x="1114" y="390"/>
                    </a:lnTo>
                    <a:lnTo>
                      <a:pt x="1107" y="390"/>
                    </a:lnTo>
                    <a:lnTo>
                      <a:pt x="1107" y="390"/>
                    </a:lnTo>
                    <a:lnTo>
                      <a:pt x="1107" y="390"/>
                    </a:lnTo>
                    <a:lnTo>
                      <a:pt x="1107" y="397"/>
                    </a:lnTo>
                    <a:lnTo>
                      <a:pt x="1100" y="397"/>
                    </a:lnTo>
                    <a:lnTo>
                      <a:pt x="1100" y="397"/>
                    </a:lnTo>
                    <a:lnTo>
                      <a:pt x="1100" y="397"/>
                    </a:lnTo>
                    <a:lnTo>
                      <a:pt x="1100" y="397"/>
                    </a:lnTo>
                    <a:lnTo>
                      <a:pt x="1093" y="405"/>
                    </a:lnTo>
                    <a:lnTo>
                      <a:pt x="1093" y="419"/>
                    </a:lnTo>
                    <a:lnTo>
                      <a:pt x="1093" y="419"/>
                    </a:lnTo>
                    <a:lnTo>
                      <a:pt x="1093" y="419"/>
                    </a:lnTo>
                    <a:lnTo>
                      <a:pt x="1093" y="426"/>
                    </a:lnTo>
                    <a:lnTo>
                      <a:pt x="1079" y="433"/>
                    </a:lnTo>
                    <a:lnTo>
                      <a:pt x="1079" y="440"/>
                    </a:lnTo>
                    <a:lnTo>
                      <a:pt x="1079" y="447"/>
                    </a:lnTo>
                    <a:lnTo>
                      <a:pt x="1079" y="447"/>
                    </a:lnTo>
                    <a:lnTo>
                      <a:pt x="1093" y="461"/>
                    </a:lnTo>
                    <a:lnTo>
                      <a:pt x="1093" y="461"/>
                    </a:lnTo>
                    <a:lnTo>
                      <a:pt x="1093" y="468"/>
                    </a:lnTo>
                    <a:lnTo>
                      <a:pt x="1079" y="468"/>
                    </a:lnTo>
                    <a:lnTo>
                      <a:pt x="1079" y="476"/>
                    </a:lnTo>
                    <a:lnTo>
                      <a:pt x="1079" y="476"/>
                    </a:lnTo>
                    <a:lnTo>
                      <a:pt x="1079" y="476"/>
                    </a:lnTo>
                    <a:lnTo>
                      <a:pt x="1079" y="476"/>
                    </a:lnTo>
                    <a:lnTo>
                      <a:pt x="1079" y="483"/>
                    </a:lnTo>
                    <a:lnTo>
                      <a:pt x="1079" y="483"/>
                    </a:lnTo>
                    <a:lnTo>
                      <a:pt x="1079" y="483"/>
                    </a:lnTo>
                    <a:lnTo>
                      <a:pt x="1065" y="483"/>
                    </a:lnTo>
                    <a:lnTo>
                      <a:pt x="1058" y="483"/>
                    </a:lnTo>
                    <a:lnTo>
                      <a:pt x="1058" y="483"/>
                    </a:lnTo>
                    <a:lnTo>
                      <a:pt x="1050" y="476"/>
                    </a:lnTo>
                    <a:lnTo>
                      <a:pt x="1050" y="476"/>
                    </a:lnTo>
                    <a:lnTo>
                      <a:pt x="1050" y="476"/>
                    </a:lnTo>
                    <a:lnTo>
                      <a:pt x="1043" y="468"/>
                    </a:lnTo>
                    <a:lnTo>
                      <a:pt x="1036" y="468"/>
                    </a:lnTo>
                    <a:lnTo>
                      <a:pt x="1029" y="468"/>
                    </a:lnTo>
                    <a:lnTo>
                      <a:pt x="1029" y="468"/>
                    </a:lnTo>
                    <a:lnTo>
                      <a:pt x="1036" y="461"/>
                    </a:lnTo>
                    <a:lnTo>
                      <a:pt x="1036" y="461"/>
                    </a:lnTo>
                    <a:lnTo>
                      <a:pt x="1036" y="454"/>
                    </a:lnTo>
                    <a:lnTo>
                      <a:pt x="1036" y="447"/>
                    </a:lnTo>
                    <a:lnTo>
                      <a:pt x="1036" y="447"/>
                    </a:lnTo>
                    <a:lnTo>
                      <a:pt x="1029" y="433"/>
                    </a:lnTo>
                    <a:lnTo>
                      <a:pt x="1029" y="433"/>
                    </a:lnTo>
                    <a:lnTo>
                      <a:pt x="1022" y="433"/>
                    </a:lnTo>
                    <a:lnTo>
                      <a:pt x="1022" y="433"/>
                    </a:lnTo>
                    <a:lnTo>
                      <a:pt x="1022" y="426"/>
                    </a:lnTo>
                    <a:lnTo>
                      <a:pt x="1022" y="426"/>
                    </a:lnTo>
                    <a:lnTo>
                      <a:pt x="1022" y="419"/>
                    </a:lnTo>
                    <a:lnTo>
                      <a:pt x="1029" y="419"/>
                    </a:lnTo>
                    <a:lnTo>
                      <a:pt x="1029" y="412"/>
                    </a:lnTo>
                    <a:lnTo>
                      <a:pt x="1029" y="412"/>
                    </a:lnTo>
                    <a:lnTo>
                      <a:pt x="1029" y="405"/>
                    </a:lnTo>
                    <a:lnTo>
                      <a:pt x="1029" y="405"/>
                    </a:lnTo>
                    <a:lnTo>
                      <a:pt x="1029" y="405"/>
                    </a:lnTo>
                    <a:lnTo>
                      <a:pt x="1029" y="397"/>
                    </a:lnTo>
                    <a:lnTo>
                      <a:pt x="1029" y="397"/>
                    </a:lnTo>
                    <a:lnTo>
                      <a:pt x="1029" y="397"/>
                    </a:lnTo>
                    <a:lnTo>
                      <a:pt x="1029" y="397"/>
                    </a:lnTo>
                    <a:lnTo>
                      <a:pt x="1029" y="397"/>
                    </a:lnTo>
                    <a:lnTo>
                      <a:pt x="1029" y="397"/>
                    </a:lnTo>
                    <a:lnTo>
                      <a:pt x="1036" y="397"/>
                    </a:lnTo>
                    <a:lnTo>
                      <a:pt x="1036" y="390"/>
                    </a:lnTo>
                    <a:lnTo>
                      <a:pt x="1036" y="390"/>
                    </a:lnTo>
                    <a:lnTo>
                      <a:pt x="1036" y="390"/>
                    </a:lnTo>
                    <a:lnTo>
                      <a:pt x="1036" y="383"/>
                    </a:lnTo>
                    <a:lnTo>
                      <a:pt x="1036" y="376"/>
                    </a:lnTo>
                    <a:lnTo>
                      <a:pt x="1036" y="376"/>
                    </a:lnTo>
                    <a:lnTo>
                      <a:pt x="1036" y="376"/>
                    </a:lnTo>
                    <a:lnTo>
                      <a:pt x="1036" y="376"/>
                    </a:lnTo>
                    <a:lnTo>
                      <a:pt x="1029" y="369"/>
                    </a:lnTo>
                    <a:lnTo>
                      <a:pt x="1029" y="369"/>
                    </a:lnTo>
                    <a:lnTo>
                      <a:pt x="1029" y="369"/>
                    </a:lnTo>
                    <a:lnTo>
                      <a:pt x="1029" y="369"/>
                    </a:lnTo>
                    <a:lnTo>
                      <a:pt x="1029" y="369"/>
                    </a:lnTo>
                    <a:lnTo>
                      <a:pt x="1029" y="369"/>
                    </a:lnTo>
                    <a:lnTo>
                      <a:pt x="1029" y="369"/>
                    </a:lnTo>
                    <a:lnTo>
                      <a:pt x="1029" y="369"/>
                    </a:lnTo>
                    <a:lnTo>
                      <a:pt x="1022" y="362"/>
                    </a:lnTo>
                    <a:lnTo>
                      <a:pt x="1022" y="362"/>
                    </a:lnTo>
                    <a:lnTo>
                      <a:pt x="1022" y="362"/>
                    </a:lnTo>
                    <a:lnTo>
                      <a:pt x="1022" y="362"/>
                    </a:lnTo>
                    <a:lnTo>
                      <a:pt x="1022" y="362"/>
                    </a:lnTo>
                    <a:lnTo>
                      <a:pt x="1015" y="362"/>
                    </a:lnTo>
                    <a:lnTo>
                      <a:pt x="1015" y="355"/>
                    </a:lnTo>
                    <a:lnTo>
                      <a:pt x="1015" y="355"/>
                    </a:lnTo>
                    <a:lnTo>
                      <a:pt x="1015" y="355"/>
                    </a:lnTo>
                    <a:lnTo>
                      <a:pt x="1008" y="355"/>
                    </a:lnTo>
                    <a:lnTo>
                      <a:pt x="1008" y="348"/>
                    </a:lnTo>
                    <a:lnTo>
                      <a:pt x="1001" y="348"/>
                    </a:lnTo>
                    <a:lnTo>
                      <a:pt x="1001" y="348"/>
                    </a:lnTo>
                    <a:lnTo>
                      <a:pt x="1001" y="348"/>
                    </a:lnTo>
                    <a:lnTo>
                      <a:pt x="994" y="355"/>
                    </a:lnTo>
                    <a:lnTo>
                      <a:pt x="987" y="355"/>
                    </a:lnTo>
                    <a:lnTo>
                      <a:pt x="987" y="355"/>
                    </a:lnTo>
                    <a:lnTo>
                      <a:pt x="987" y="355"/>
                    </a:lnTo>
                    <a:lnTo>
                      <a:pt x="987" y="355"/>
                    </a:lnTo>
                    <a:lnTo>
                      <a:pt x="979" y="362"/>
                    </a:lnTo>
                    <a:lnTo>
                      <a:pt x="979" y="362"/>
                    </a:lnTo>
                    <a:lnTo>
                      <a:pt x="979" y="362"/>
                    </a:lnTo>
                    <a:lnTo>
                      <a:pt x="979" y="362"/>
                    </a:lnTo>
                    <a:lnTo>
                      <a:pt x="979" y="362"/>
                    </a:lnTo>
                    <a:lnTo>
                      <a:pt x="979" y="362"/>
                    </a:lnTo>
                    <a:lnTo>
                      <a:pt x="979" y="362"/>
                    </a:lnTo>
                    <a:lnTo>
                      <a:pt x="979" y="362"/>
                    </a:lnTo>
                    <a:lnTo>
                      <a:pt x="979" y="362"/>
                    </a:lnTo>
                    <a:lnTo>
                      <a:pt x="979" y="362"/>
                    </a:lnTo>
                    <a:lnTo>
                      <a:pt x="972" y="362"/>
                    </a:lnTo>
                    <a:lnTo>
                      <a:pt x="972" y="362"/>
                    </a:lnTo>
                    <a:lnTo>
                      <a:pt x="972" y="362"/>
                    </a:lnTo>
                    <a:lnTo>
                      <a:pt x="972" y="362"/>
                    </a:lnTo>
                    <a:lnTo>
                      <a:pt x="972" y="362"/>
                    </a:lnTo>
                    <a:lnTo>
                      <a:pt x="965" y="362"/>
                    </a:lnTo>
                    <a:lnTo>
                      <a:pt x="965" y="362"/>
                    </a:lnTo>
                    <a:lnTo>
                      <a:pt x="958" y="362"/>
                    </a:lnTo>
                    <a:lnTo>
                      <a:pt x="951" y="362"/>
                    </a:lnTo>
                    <a:lnTo>
                      <a:pt x="951" y="362"/>
                    </a:lnTo>
                    <a:lnTo>
                      <a:pt x="951" y="362"/>
                    </a:lnTo>
                    <a:lnTo>
                      <a:pt x="951" y="362"/>
                    </a:lnTo>
                    <a:lnTo>
                      <a:pt x="951" y="355"/>
                    </a:lnTo>
                    <a:lnTo>
                      <a:pt x="951" y="355"/>
                    </a:lnTo>
                    <a:lnTo>
                      <a:pt x="944" y="355"/>
                    </a:lnTo>
                    <a:lnTo>
                      <a:pt x="937" y="355"/>
                    </a:lnTo>
                    <a:lnTo>
                      <a:pt x="930" y="355"/>
                    </a:lnTo>
                    <a:lnTo>
                      <a:pt x="930" y="355"/>
                    </a:lnTo>
                    <a:lnTo>
                      <a:pt x="930" y="348"/>
                    </a:lnTo>
                    <a:lnTo>
                      <a:pt x="930" y="348"/>
                    </a:lnTo>
                    <a:lnTo>
                      <a:pt x="930" y="348"/>
                    </a:lnTo>
                    <a:lnTo>
                      <a:pt x="930" y="348"/>
                    </a:lnTo>
                    <a:lnTo>
                      <a:pt x="923" y="348"/>
                    </a:lnTo>
                    <a:lnTo>
                      <a:pt x="923" y="348"/>
                    </a:lnTo>
                    <a:lnTo>
                      <a:pt x="923" y="348"/>
                    </a:lnTo>
                    <a:lnTo>
                      <a:pt x="908" y="348"/>
                    </a:lnTo>
                    <a:lnTo>
                      <a:pt x="908" y="348"/>
                    </a:lnTo>
                    <a:lnTo>
                      <a:pt x="908" y="348"/>
                    </a:lnTo>
                    <a:lnTo>
                      <a:pt x="908" y="348"/>
                    </a:lnTo>
                    <a:lnTo>
                      <a:pt x="901" y="355"/>
                    </a:lnTo>
                    <a:lnTo>
                      <a:pt x="901" y="355"/>
                    </a:lnTo>
                    <a:lnTo>
                      <a:pt x="901" y="355"/>
                    </a:lnTo>
                    <a:lnTo>
                      <a:pt x="894" y="355"/>
                    </a:lnTo>
                    <a:lnTo>
                      <a:pt x="894" y="355"/>
                    </a:lnTo>
                    <a:lnTo>
                      <a:pt x="894" y="355"/>
                    </a:lnTo>
                    <a:lnTo>
                      <a:pt x="894" y="355"/>
                    </a:lnTo>
                    <a:lnTo>
                      <a:pt x="894" y="355"/>
                    </a:lnTo>
                    <a:lnTo>
                      <a:pt x="894" y="355"/>
                    </a:lnTo>
                    <a:lnTo>
                      <a:pt x="894" y="355"/>
                    </a:lnTo>
                    <a:lnTo>
                      <a:pt x="887" y="355"/>
                    </a:lnTo>
                    <a:lnTo>
                      <a:pt x="887" y="355"/>
                    </a:lnTo>
                    <a:lnTo>
                      <a:pt x="887" y="355"/>
                    </a:lnTo>
                    <a:lnTo>
                      <a:pt x="887" y="348"/>
                    </a:lnTo>
                    <a:lnTo>
                      <a:pt x="887" y="348"/>
                    </a:lnTo>
                    <a:lnTo>
                      <a:pt x="887" y="348"/>
                    </a:lnTo>
                    <a:lnTo>
                      <a:pt x="887" y="348"/>
                    </a:lnTo>
                    <a:lnTo>
                      <a:pt x="880" y="348"/>
                    </a:lnTo>
                    <a:lnTo>
                      <a:pt x="880" y="348"/>
                    </a:lnTo>
                    <a:lnTo>
                      <a:pt x="880" y="348"/>
                    </a:lnTo>
                    <a:lnTo>
                      <a:pt x="880" y="348"/>
                    </a:lnTo>
                    <a:lnTo>
                      <a:pt x="873" y="334"/>
                    </a:lnTo>
                    <a:lnTo>
                      <a:pt x="873" y="334"/>
                    </a:lnTo>
                    <a:lnTo>
                      <a:pt x="873" y="334"/>
                    </a:lnTo>
                    <a:lnTo>
                      <a:pt x="873" y="334"/>
                    </a:lnTo>
                    <a:lnTo>
                      <a:pt x="873" y="334"/>
                    </a:lnTo>
                    <a:lnTo>
                      <a:pt x="873" y="334"/>
                    </a:lnTo>
                    <a:lnTo>
                      <a:pt x="873" y="327"/>
                    </a:lnTo>
                    <a:lnTo>
                      <a:pt x="866" y="327"/>
                    </a:lnTo>
                    <a:lnTo>
                      <a:pt x="866" y="327"/>
                    </a:lnTo>
                    <a:lnTo>
                      <a:pt x="859" y="327"/>
                    </a:lnTo>
                    <a:lnTo>
                      <a:pt x="859" y="327"/>
                    </a:lnTo>
                    <a:lnTo>
                      <a:pt x="859" y="327"/>
                    </a:lnTo>
                    <a:lnTo>
                      <a:pt x="852" y="327"/>
                    </a:lnTo>
                    <a:lnTo>
                      <a:pt x="845" y="319"/>
                    </a:lnTo>
                    <a:lnTo>
                      <a:pt x="837" y="319"/>
                    </a:lnTo>
                    <a:lnTo>
                      <a:pt x="837" y="319"/>
                    </a:lnTo>
                    <a:lnTo>
                      <a:pt x="837" y="319"/>
                    </a:lnTo>
                    <a:lnTo>
                      <a:pt x="837" y="319"/>
                    </a:lnTo>
                    <a:lnTo>
                      <a:pt x="830" y="319"/>
                    </a:lnTo>
                    <a:lnTo>
                      <a:pt x="830" y="319"/>
                    </a:lnTo>
                    <a:lnTo>
                      <a:pt x="830" y="319"/>
                    </a:lnTo>
                    <a:lnTo>
                      <a:pt x="830" y="319"/>
                    </a:lnTo>
                    <a:lnTo>
                      <a:pt x="830" y="319"/>
                    </a:lnTo>
                    <a:lnTo>
                      <a:pt x="830" y="319"/>
                    </a:lnTo>
                    <a:lnTo>
                      <a:pt x="823" y="319"/>
                    </a:lnTo>
                    <a:lnTo>
                      <a:pt x="823" y="319"/>
                    </a:lnTo>
                    <a:lnTo>
                      <a:pt x="823" y="319"/>
                    </a:lnTo>
                    <a:lnTo>
                      <a:pt x="823" y="319"/>
                    </a:lnTo>
                    <a:lnTo>
                      <a:pt x="823" y="319"/>
                    </a:lnTo>
                    <a:lnTo>
                      <a:pt x="823" y="319"/>
                    </a:lnTo>
                    <a:lnTo>
                      <a:pt x="823" y="327"/>
                    </a:lnTo>
                    <a:lnTo>
                      <a:pt x="823" y="327"/>
                    </a:lnTo>
                    <a:lnTo>
                      <a:pt x="816" y="319"/>
                    </a:lnTo>
                    <a:lnTo>
                      <a:pt x="816" y="319"/>
                    </a:lnTo>
                    <a:lnTo>
                      <a:pt x="809" y="319"/>
                    </a:lnTo>
                    <a:lnTo>
                      <a:pt x="809" y="319"/>
                    </a:lnTo>
                    <a:lnTo>
                      <a:pt x="809" y="312"/>
                    </a:lnTo>
                    <a:lnTo>
                      <a:pt x="809" y="312"/>
                    </a:lnTo>
                    <a:lnTo>
                      <a:pt x="809" y="312"/>
                    </a:lnTo>
                    <a:lnTo>
                      <a:pt x="809" y="312"/>
                    </a:lnTo>
                    <a:lnTo>
                      <a:pt x="802" y="312"/>
                    </a:lnTo>
                    <a:lnTo>
                      <a:pt x="802" y="312"/>
                    </a:lnTo>
                    <a:lnTo>
                      <a:pt x="802" y="319"/>
                    </a:lnTo>
                    <a:lnTo>
                      <a:pt x="809" y="327"/>
                    </a:lnTo>
                    <a:lnTo>
                      <a:pt x="809" y="334"/>
                    </a:lnTo>
                    <a:lnTo>
                      <a:pt x="809" y="334"/>
                    </a:lnTo>
                    <a:lnTo>
                      <a:pt x="809" y="334"/>
                    </a:lnTo>
                    <a:lnTo>
                      <a:pt x="809" y="334"/>
                    </a:lnTo>
                    <a:lnTo>
                      <a:pt x="809" y="334"/>
                    </a:lnTo>
                    <a:lnTo>
                      <a:pt x="809" y="334"/>
                    </a:lnTo>
                    <a:lnTo>
                      <a:pt x="809" y="334"/>
                    </a:lnTo>
                    <a:lnTo>
                      <a:pt x="809" y="341"/>
                    </a:lnTo>
                    <a:lnTo>
                      <a:pt x="809" y="341"/>
                    </a:lnTo>
                    <a:lnTo>
                      <a:pt x="809" y="341"/>
                    </a:lnTo>
                    <a:lnTo>
                      <a:pt x="802" y="341"/>
                    </a:lnTo>
                    <a:lnTo>
                      <a:pt x="802" y="348"/>
                    </a:lnTo>
                    <a:lnTo>
                      <a:pt x="802" y="348"/>
                    </a:lnTo>
                    <a:lnTo>
                      <a:pt x="802" y="348"/>
                    </a:lnTo>
                    <a:lnTo>
                      <a:pt x="802" y="355"/>
                    </a:lnTo>
                    <a:lnTo>
                      <a:pt x="802" y="355"/>
                    </a:lnTo>
                    <a:lnTo>
                      <a:pt x="802" y="362"/>
                    </a:lnTo>
                    <a:lnTo>
                      <a:pt x="802" y="369"/>
                    </a:lnTo>
                    <a:lnTo>
                      <a:pt x="802" y="369"/>
                    </a:lnTo>
                    <a:lnTo>
                      <a:pt x="802" y="369"/>
                    </a:lnTo>
                    <a:lnTo>
                      <a:pt x="795" y="369"/>
                    </a:lnTo>
                    <a:lnTo>
                      <a:pt x="795" y="369"/>
                    </a:lnTo>
                    <a:lnTo>
                      <a:pt x="795" y="376"/>
                    </a:lnTo>
                    <a:lnTo>
                      <a:pt x="788" y="376"/>
                    </a:lnTo>
                    <a:lnTo>
                      <a:pt x="788" y="376"/>
                    </a:lnTo>
                    <a:lnTo>
                      <a:pt x="788" y="376"/>
                    </a:lnTo>
                    <a:lnTo>
                      <a:pt x="788" y="376"/>
                    </a:lnTo>
                    <a:lnTo>
                      <a:pt x="788" y="376"/>
                    </a:lnTo>
                    <a:lnTo>
                      <a:pt x="781" y="383"/>
                    </a:lnTo>
                    <a:lnTo>
                      <a:pt x="781" y="383"/>
                    </a:lnTo>
                    <a:lnTo>
                      <a:pt x="781" y="383"/>
                    </a:lnTo>
                    <a:lnTo>
                      <a:pt x="781" y="383"/>
                    </a:lnTo>
                    <a:lnTo>
                      <a:pt x="781" y="390"/>
                    </a:lnTo>
                    <a:lnTo>
                      <a:pt x="781" y="390"/>
                    </a:lnTo>
                    <a:lnTo>
                      <a:pt x="781" y="397"/>
                    </a:lnTo>
                    <a:lnTo>
                      <a:pt x="781" y="397"/>
                    </a:lnTo>
                    <a:lnTo>
                      <a:pt x="781" y="397"/>
                    </a:lnTo>
                    <a:lnTo>
                      <a:pt x="781" y="405"/>
                    </a:lnTo>
                    <a:lnTo>
                      <a:pt x="781" y="405"/>
                    </a:lnTo>
                    <a:lnTo>
                      <a:pt x="781" y="405"/>
                    </a:lnTo>
                    <a:lnTo>
                      <a:pt x="774" y="405"/>
                    </a:lnTo>
                    <a:lnTo>
                      <a:pt x="774" y="405"/>
                    </a:lnTo>
                    <a:lnTo>
                      <a:pt x="774" y="405"/>
                    </a:lnTo>
                    <a:lnTo>
                      <a:pt x="774" y="405"/>
                    </a:lnTo>
                    <a:lnTo>
                      <a:pt x="767" y="405"/>
                    </a:lnTo>
                    <a:lnTo>
                      <a:pt x="767" y="405"/>
                    </a:lnTo>
                    <a:lnTo>
                      <a:pt x="767" y="405"/>
                    </a:lnTo>
                    <a:lnTo>
                      <a:pt x="767" y="405"/>
                    </a:lnTo>
                    <a:lnTo>
                      <a:pt x="759" y="405"/>
                    </a:lnTo>
                    <a:lnTo>
                      <a:pt x="759" y="405"/>
                    </a:lnTo>
                    <a:lnTo>
                      <a:pt x="759" y="397"/>
                    </a:lnTo>
                    <a:lnTo>
                      <a:pt x="752" y="397"/>
                    </a:lnTo>
                    <a:lnTo>
                      <a:pt x="752" y="397"/>
                    </a:lnTo>
                    <a:lnTo>
                      <a:pt x="752" y="397"/>
                    </a:lnTo>
                    <a:lnTo>
                      <a:pt x="752" y="397"/>
                    </a:lnTo>
                    <a:lnTo>
                      <a:pt x="752" y="397"/>
                    </a:lnTo>
                    <a:lnTo>
                      <a:pt x="745" y="390"/>
                    </a:lnTo>
                    <a:lnTo>
                      <a:pt x="745" y="390"/>
                    </a:lnTo>
                    <a:lnTo>
                      <a:pt x="745" y="390"/>
                    </a:lnTo>
                    <a:lnTo>
                      <a:pt x="745" y="390"/>
                    </a:lnTo>
                    <a:lnTo>
                      <a:pt x="745" y="397"/>
                    </a:lnTo>
                    <a:lnTo>
                      <a:pt x="738" y="397"/>
                    </a:lnTo>
                    <a:lnTo>
                      <a:pt x="738" y="397"/>
                    </a:lnTo>
                    <a:lnTo>
                      <a:pt x="738" y="397"/>
                    </a:lnTo>
                    <a:lnTo>
                      <a:pt x="738" y="397"/>
                    </a:lnTo>
                    <a:lnTo>
                      <a:pt x="738" y="397"/>
                    </a:lnTo>
                    <a:lnTo>
                      <a:pt x="738" y="397"/>
                    </a:lnTo>
                    <a:lnTo>
                      <a:pt x="738" y="397"/>
                    </a:lnTo>
                    <a:lnTo>
                      <a:pt x="738" y="405"/>
                    </a:lnTo>
                    <a:lnTo>
                      <a:pt x="738" y="405"/>
                    </a:lnTo>
                    <a:lnTo>
                      <a:pt x="738" y="405"/>
                    </a:lnTo>
                    <a:lnTo>
                      <a:pt x="738" y="405"/>
                    </a:lnTo>
                    <a:lnTo>
                      <a:pt x="738" y="412"/>
                    </a:lnTo>
                    <a:lnTo>
                      <a:pt x="731" y="412"/>
                    </a:lnTo>
                    <a:lnTo>
                      <a:pt x="731" y="419"/>
                    </a:lnTo>
                    <a:lnTo>
                      <a:pt x="731" y="419"/>
                    </a:lnTo>
                    <a:lnTo>
                      <a:pt x="731" y="419"/>
                    </a:lnTo>
                    <a:lnTo>
                      <a:pt x="731" y="419"/>
                    </a:lnTo>
                    <a:lnTo>
                      <a:pt x="731" y="426"/>
                    </a:lnTo>
                    <a:lnTo>
                      <a:pt x="731" y="426"/>
                    </a:lnTo>
                    <a:lnTo>
                      <a:pt x="731" y="426"/>
                    </a:lnTo>
                    <a:lnTo>
                      <a:pt x="731" y="426"/>
                    </a:lnTo>
                    <a:lnTo>
                      <a:pt x="731" y="426"/>
                    </a:lnTo>
                    <a:lnTo>
                      <a:pt x="731" y="426"/>
                    </a:lnTo>
                    <a:lnTo>
                      <a:pt x="731" y="426"/>
                    </a:lnTo>
                    <a:lnTo>
                      <a:pt x="724" y="433"/>
                    </a:lnTo>
                    <a:lnTo>
                      <a:pt x="724" y="433"/>
                    </a:lnTo>
                    <a:lnTo>
                      <a:pt x="724" y="433"/>
                    </a:lnTo>
                    <a:lnTo>
                      <a:pt x="724" y="433"/>
                    </a:lnTo>
                    <a:lnTo>
                      <a:pt x="724" y="433"/>
                    </a:lnTo>
                    <a:lnTo>
                      <a:pt x="724" y="433"/>
                    </a:lnTo>
                    <a:lnTo>
                      <a:pt x="724" y="440"/>
                    </a:lnTo>
                    <a:lnTo>
                      <a:pt x="724" y="440"/>
                    </a:lnTo>
                    <a:lnTo>
                      <a:pt x="724" y="440"/>
                    </a:lnTo>
                    <a:lnTo>
                      <a:pt x="724" y="440"/>
                    </a:lnTo>
                    <a:lnTo>
                      <a:pt x="724" y="447"/>
                    </a:lnTo>
                    <a:lnTo>
                      <a:pt x="724" y="447"/>
                    </a:lnTo>
                    <a:lnTo>
                      <a:pt x="724" y="447"/>
                    </a:lnTo>
                    <a:lnTo>
                      <a:pt x="724" y="447"/>
                    </a:lnTo>
                    <a:lnTo>
                      <a:pt x="724" y="447"/>
                    </a:lnTo>
                    <a:lnTo>
                      <a:pt x="731" y="447"/>
                    </a:lnTo>
                    <a:lnTo>
                      <a:pt x="731" y="447"/>
                    </a:lnTo>
                    <a:lnTo>
                      <a:pt x="731" y="447"/>
                    </a:lnTo>
                    <a:lnTo>
                      <a:pt x="731" y="447"/>
                    </a:lnTo>
                    <a:lnTo>
                      <a:pt x="731" y="447"/>
                    </a:lnTo>
                    <a:lnTo>
                      <a:pt x="731" y="447"/>
                    </a:lnTo>
                    <a:lnTo>
                      <a:pt x="731" y="447"/>
                    </a:lnTo>
                    <a:lnTo>
                      <a:pt x="731" y="447"/>
                    </a:lnTo>
                    <a:lnTo>
                      <a:pt x="731" y="447"/>
                    </a:lnTo>
                    <a:lnTo>
                      <a:pt x="731" y="447"/>
                    </a:lnTo>
                    <a:lnTo>
                      <a:pt x="731" y="447"/>
                    </a:lnTo>
                    <a:lnTo>
                      <a:pt x="731" y="447"/>
                    </a:lnTo>
                    <a:lnTo>
                      <a:pt x="731" y="454"/>
                    </a:lnTo>
                    <a:lnTo>
                      <a:pt x="731" y="454"/>
                    </a:lnTo>
                    <a:lnTo>
                      <a:pt x="731" y="454"/>
                    </a:lnTo>
                    <a:lnTo>
                      <a:pt x="738" y="454"/>
                    </a:lnTo>
                    <a:lnTo>
                      <a:pt x="738" y="461"/>
                    </a:lnTo>
                    <a:lnTo>
                      <a:pt x="745" y="461"/>
                    </a:lnTo>
                    <a:lnTo>
                      <a:pt x="745" y="461"/>
                    </a:lnTo>
                    <a:lnTo>
                      <a:pt x="745" y="461"/>
                    </a:lnTo>
                    <a:lnTo>
                      <a:pt x="745" y="468"/>
                    </a:lnTo>
                    <a:lnTo>
                      <a:pt x="745" y="468"/>
                    </a:lnTo>
                    <a:lnTo>
                      <a:pt x="745" y="468"/>
                    </a:lnTo>
                    <a:lnTo>
                      <a:pt x="738" y="468"/>
                    </a:lnTo>
                    <a:lnTo>
                      <a:pt x="738" y="468"/>
                    </a:lnTo>
                    <a:lnTo>
                      <a:pt x="738" y="468"/>
                    </a:lnTo>
                    <a:lnTo>
                      <a:pt x="738" y="468"/>
                    </a:lnTo>
                    <a:lnTo>
                      <a:pt x="738" y="468"/>
                    </a:lnTo>
                    <a:lnTo>
                      <a:pt x="731" y="476"/>
                    </a:lnTo>
                    <a:lnTo>
                      <a:pt x="731" y="476"/>
                    </a:lnTo>
                    <a:lnTo>
                      <a:pt x="731" y="483"/>
                    </a:lnTo>
                    <a:lnTo>
                      <a:pt x="724" y="490"/>
                    </a:lnTo>
                    <a:lnTo>
                      <a:pt x="724" y="490"/>
                    </a:lnTo>
                    <a:lnTo>
                      <a:pt x="724" y="490"/>
                    </a:lnTo>
                    <a:lnTo>
                      <a:pt x="724" y="490"/>
                    </a:lnTo>
                    <a:lnTo>
                      <a:pt x="717" y="490"/>
                    </a:lnTo>
                    <a:lnTo>
                      <a:pt x="717" y="490"/>
                    </a:lnTo>
                    <a:lnTo>
                      <a:pt x="717" y="490"/>
                    </a:lnTo>
                    <a:lnTo>
                      <a:pt x="717" y="490"/>
                    </a:lnTo>
                    <a:lnTo>
                      <a:pt x="717" y="490"/>
                    </a:lnTo>
                    <a:lnTo>
                      <a:pt x="717" y="497"/>
                    </a:lnTo>
                    <a:lnTo>
                      <a:pt x="717" y="497"/>
                    </a:lnTo>
                    <a:lnTo>
                      <a:pt x="717" y="497"/>
                    </a:lnTo>
                    <a:lnTo>
                      <a:pt x="717" y="497"/>
                    </a:lnTo>
                    <a:lnTo>
                      <a:pt x="717" y="504"/>
                    </a:lnTo>
                    <a:lnTo>
                      <a:pt x="717" y="504"/>
                    </a:lnTo>
                    <a:lnTo>
                      <a:pt x="717" y="504"/>
                    </a:lnTo>
                    <a:lnTo>
                      <a:pt x="710" y="504"/>
                    </a:lnTo>
                    <a:lnTo>
                      <a:pt x="710" y="504"/>
                    </a:lnTo>
                    <a:lnTo>
                      <a:pt x="710" y="511"/>
                    </a:lnTo>
                    <a:lnTo>
                      <a:pt x="703" y="511"/>
                    </a:lnTo>
                    <a:lnTo>
                      <a:pt x="703" y="511"/>
                    </a:lnTo>
                    <a:lnTo>
                      <a:pt x="703" y="511"/>
                    </a:lnTo>
                    <a:lnTo>
                      <a:pt x="703" y="511"/>
                    </a:lnTo>
                    <a:lnTo>
                      <a:pt x="703" y="511"/>
                    </a:lnTo>
                    <a:lnTo>
                      <a:pt x="696" y="511"/>
                    </a:lnTo>
                    <a:lnTo>
                      <a:pt x="696" y="511"/>
                    </a:lnTo>
                    <a:lnTo>
                      <a:pt x="696" y="518"/>
                    </a:lnTo>
                    <a:lnTo>
                      <a:pt x="696" y="518"/>
                    </a:lnTo>
                    <a:lnTo>
                      <a:pt x="696" y="518"/>
                    </a:lnTo>
                    <a:lnTo>
                      <a:pt x="696" y="518"/>
                    </a:lnTo>
                    <a:lnTo>
                      <a:pt x="696" y="518"/>
                    </a:lnTo>
                    <a:lnTo>
                      <a:pt x="696" y="518"/>
                    </a:lnTo>
                    <a:lnTo>
                      <a:pt x="696" y="525"/>
                    </a:lnTo>
                    <a:lnTo>
                      <a:pt x="696" y="525"/>
                    </a:lnTo>
                    <a:lnTo>
                      <a:pt x="696" y="525"/>
                    </a:lnTo>
                    <a:lnTo>
                      <a:pt x="696" y="532"/>
                    </a:lnTo>
                    <a:lnTo>
                      <a:pt x="688" y="532"/>
                    </a:lnTo>
                    <a:lnTo>
                      <a:pt x="688" y="532"/>
                    </a:lnTo>
                    <a:lnTo>
                      <a:pt x="688" y="532"/>
                    </a:lnTo>
                    <a:lnTo>
                      <a:pt x="688" y="532"/>
                    </a:lnTo>
                    <a:lnTo>
                      <a:pt x="688" y="532"/>
                    </a:lnTo>
                    <a:lnTo>
                      <a:pt x="696" y="539"/>
                    </a:lnTo>
                    <a:lnTo>
                      <a:pt x="696" y="539"/>
                    </a:lnTo>
                    <a:lnTo>
                      <a:pt x="696" y="539"/>
                    </a:lnTo>
                    <a:lnTo>
                      <a:pt x="696" y="539"/>
                    </a:lnTo>
                    <a:lnTo>
                      <a:pt x="696" y="547"/>
                    </a:lnTo>
                    <a:lnTo>
                      <a:pt x="688" y="547"/>
                    </a:lnTo>
                    <a:lnTo>
                      <a:pt x="688" y="547"/>
                    </a:lnTo>
                    <a:lnTo>
                      <a:pt x="688" y="547"/>
                    </a:lnTo>
                    <a:lnTo>
                      <a:pt x="681" y="547"/>
                    </a:lnTo>
                    <a:lnTo>
                      <a:pt x="681" y="547"/>
                    </a:lnTo>
                    <a:lnTo>
                      <a:pt x="681" y="554"/>
                    </a:lnTo>
                    <a:lnTo>
                      <a:pt x="681" y="547"/>
                    </a:lnTo>
                    <a:lnTo>
                      <a:pt x="674" y="547"/>
                    </a:lnTo>
                    <a:lnTo>
                      <a:pt x="674" y="547"/>
                    </a:lnTo>
                    <a:lnTo>
                      <a:pt x="674" y="547"/>
                    </a:lnTo>
                    <a:lnTo>
                      <a:pt x="674" y="547"/>
                    </a:lnTo>
                    <a:lnTo>
                      <a:pt x="674" y="547"/>
                    </a:lnTo>
                    <a:lnTo>
                      <a:pt x="667" y="539"/>
                    </a:lnTo>
                    <a:lnTo>
                      <a:pt x="667" y="539"/>
                    </a:lnTo>
                    <a:lnTo>
                      <a:pt x="667" y="539"/>
                    </a:lnTo>
                    <a:lnTo>
                      <a:pt x="667" y="539"/>
                    </a:lnTo>
                    <a:lnTo>
                      <a:pt x="667" y="539"/>
                    </a:lnTo>
                    <a:lnTo>
                      <a:pt x="667" y="532"/>
                    </a:lnTo>
                    <a:lnTo>
                      <a:pt x="667" y="525"/>
                    </a:lnTo>
                    <a:lnTo>
                      <a:pt x="667" y="525"/>
                    </a:lnTo>
                    <a:lnTo>
                      <a:pt x="660" y="525"/>
                    </a:lnTo>
                    <a:lnTo>
                      <a:pt x="660" y="525"/>
                    </a:lnTo>
                    <a:lnTo>
                      <a:pt x="660" y="525"/>
                    </a:lnTo>
                    <a:lnTo>
                      <a:pt x="660" y="525"/>
                    </a:lnTo>
                    <a:lnTo>
                      <a:pt x="653" y="525"/>
                    </a:lnTo>
                    <a:lnTo>
                      <a:pt x="653" y="525"/>
                    </a:lnTo>
                    <a:lnTo>
                      <a:pt x="646" y="532"/>
                    </a:lnTo>
                    <a:lnTo>
                      <a:pt x="646" y="532"/>
                    </a:lnTo>
                    <a:lnTo>
                      <a:pt x="646" y="532"/>
                    </a:lnTo>
                    <a:lnTo>
                      <a:pt x="646" y="539"/>
                    </a:lnTo>
                    <a:lnTo>
                      <a:pt x="646" y="539"/>
                    </a:lnTo>
                    <a:lnTo>
                      <a:pt x="646" y="547"/>
                    </a:lnTo>
                    <a:lnTo>
                      <a:pt x="646" y="547"/>
                    </a:lnTo>
                    <a:lnTo>
                      <a:pt x="646" y="547"/>
                    </a:lnTo>
                    <a:lnTo>
                      <a:pt x="646" y="547"/>
                    </a:lnTo>
                    <a:lnTo>
                      <a:pt x="639" y="547"/>
                    </a:lnTo>
                    <a:lnTo>
                      <a:pt x="632" y="554"/>
                    </a:lnTo>
                    <a:lnTo>
                      <a:pt x="632" y="554"/>
                    </a:lnTo>
                    <a:lnTo>
                      <a:pt x="632" y="561"/>
                    </a:lnTo>
                    <a:lnTo>
                      <a:pt x="632" y="561"/>
                    </a:lnTo>
                    <a:lnTo>
                      <a:pt x="632" y="561"/>
                    </a:lnTo>
                    <a:lnTo>
                      <a:pt x="632" y="561"/>
                    </a:lnTo>
                    <a:lnTo>
                      <a:pt x="625" y="561"/>
                    </a:lnTo>
                    <a:lnTo>
                      <a:pt x="625" y="561"/>
                    </a:lnTo>
                    <a:lnTo>
                      <a:pt x="625" y="561"/>
                    </a:lnTo>
                    <a:lnTo>
                      <a:pt x="625" y="561"/>
                    </a:lnTo>
                    <a:lnTo>
                      <a:pt x="617" y="568"/>
                    </a:lnTo>
                    <a:lnTo>
                      <a:pt x="617" y="568"/>
                    </a:lnTo>
                    <a:lnTo>
                      <a:pt x="617" y="568"/>
                    </a:lnTo>
                    <a:lnTo>
                      <a:pt x="617" y="568"/>
                    </a:lnTo>
                    <a:lnTo>
                      <a:pt x="610" y="568"/>
                    </a:lnTo>
                    <a:lnTo>
                      <a:pt x="610" y="568"/>
                    </a:lnTo>
                    <a:lnTo>
                      <a:pt x="603" y="568"/>
                    </a:lnTo>
                    <a:lnTo>
                      <a:pt x="603" y="568"/>
                    </a:lnTo>
                    <a:lnTo>
                      <a:pt x="603" y="568"/>
                    </a:lnTo>
                    <a:lnTo>
                      <a:pt x="603" y="575"/>
                    </a:lnTo>
                    <a:lnTo>
                      <a:pt x="603" y="582"/>
                    </a:lnTo>
                    <a:lnTo>
                      <a:pt x="603" y="582"/>
                    </a:lnTo>
                    <a:lnTo>
                      <a:pt x="603" y="589"/>
                    </a:lnTo>
                    <a:lnTo>
                      <a:pt x="596" y="589"/>
                    </a:lnTo>
                    <a:lnTo>
                      <a:pt x="596" y="589"/>
                    </a:lnTo>
                    <a:lnTo>
                      <a:pt x="603" y="596"/>
                    </a:lnTo>
                    <a:lnTo>
                      <a:pt x="603" y="596"/>
                    </a:lnTo>
                    <a:lnTo>
                      <a:pt x="596" y="603"/>
                    </a:lnTo>
                    <a:lnTo>
                      <a:pt x="596" y="610"/>
                    </a:lnTo>
                    <a:lnTo>
                      <a:pt x="596" y="610"/>
                    </a:lnTo>
                    <a:lnTo>
                      <a:pt x="596" y="610"/>
                    </a:lnTo>
                    <a:lnTo>
                      <a:pt x="589" y="610"/>
                    </a:lnTo>
                    <a:lnTo>
                      <a:pt x="582" y="610"/>
                    </a:lnTo>
                    <a:lnTo>
                      <a:pt x="582" y="610"/>
                    </a:lnTo>
                    <a:lnTo>
                      <a:pt x="582" y="610"/>
                    </a:lnTo>
                    <a:lnTo>
                      <a:pt x="582" y="610"/>
                    </a:lnTo>
                    <a:lnTo>
                      <a:pt x="582" y="610"/>
                    </a:lnTo>
                    <a:lnTo>
                      <a:pt x="582" y="618"/>
                    </a:lnTo>
                    <a:lnTo>
                      <a:pt x="582" y="618"/>
                    </a:lnTo>
                    <a:lnTo>
                      <a:pt x="582" y="618"/>
                    </a:lnTo>
                    <a:lnTo>
                      <a:pt x="582" y="618"/>
                    </a:lnTo>
                    <a:lnTo>
                      <a:pt x="582" y="618"/>
                    </a:lnTo>
                    <a:lnTo>
                      <a:pt x="582" y="625"/>
                    </a:lnTo>
                    <a:lnTo>
                      <a:pt x="575" y="625"/>
                    </a:lnTo>
                    <a:lnTo>
                      <a:pt x="575" y="625"/>
                    </a:lnTo>
                    <a:lnTo>
                      <a:pt x="575" y="625"/>
                    </a:lnTo>
                    <a:lnTo>
                      <a:pt x="575" y="632"/>
                    </a:lnTo>
                    <a:lnTo>
                      <a:pt x="568" y="639"/>
                    </a:lnTo>
                    <a:lnTo>
                      <a:pt x="568" y="639"/>
                    </a:lnTo>
                    <a:lnTo>
                      <a:pt x="568" y="632"/>
                    </a:lnTo>
                    <a:lnTo>
                      <a:pt x="561" y="632"/>
                    </a:lnTo>
                    <a:lnTo>
                      <a:pt x="561" y="632"/>
                    </a:lnTo>
                    <a:lnTo>
                      <a:pt x="561" y="625"/>
                    </a:lnTo>
                    <a:lnTo>
                      <a:pt x="561" y="625"/>
                    </a:lnTo>
                    <a:lnTo>
                      <a:pt x="561" y="625"/>
                    </a:lnTo>
                    <a:lnTo>
                      <a:pt x="554" y="625"/>
                    </a:lnTo>
                    <a:lnTo>
                      <a:pt x="554" y="625"/>
                    </a:lnTo>
                    <a:lnTo>
                      <a:pt x="554" y="625"/>
                    </a:lnTo>
                    <a:lnTo>
                      <a:pt x="546" y="625"/>
                    </a:lnTo>
                    <a:lnTo>
                      <a:pt x="546" y="625"/>
                    </a:lnTo>
                    <a:lnTo>
                      <a:pt x="546" y="625"/>
                    </a:lnTo>
                    <a:lnTo>
                      <a:pt x="546" y="632"/>
                    </a:lnTo>
                    <a:lnTo>
                      <a:pt x="546" y="632"/>
                    </a:lnTo>
                    <a:lnTo>
                      <a:pt x="546" y="632"/>
                    </a:lnTo>
                    <a:lnTo>
                      <a:pt x="539" y="632"/>
                    </a:lnTo>
                    <a:lnTo>
                      <a:pt x="539" y="632"/>
                    </a:lnTo>
                    <a:lnTo>
                      <a:pt x="539" y="632"/>
                    </a:lnTo>
                    <a:lnTo>
                      <a:pt x="539" y="632"/>
                    </a:lnTo>
                    <a:lnTo>
                      <a:pt x="539" y="639"/>
                    </a:lnTo>
                    <a:lnTo>
                      <a:pt x="539" y="639"/>
                    </a:lnTo>
                    <a:lnTo>
                      <a:pt x="539" y="639"/>
                    </a:lnTo>
                    <a:lnTo>
                      <a:pt x="539" y="639"/>
                    </a:lnTo>
                    <a:lnTo>
                      <a:pt x="532" y="639"/>
                    </a:lnTo>
                    <a:lnTo>
                      <a:pt x="532" y="639"/>
                    </a:lnTo>
                    <a:lnTo>
                      <a:pt x="532" y="639"/>
                    </a:lnTo>
                    <a:lnTo>
                      <a:pt x="532" y="646"/>
                    </a:lnTo>
                    <a:lnTo>
                      <a:pt x="532" y="646"/>
                    </a:lnTo>
                    <a:lnTo>
                      <a:pt x="532" y="646"/>
                    </a:lnTo>
                    <a:lnTo>
                      <a:pt x="518" y="653"/>
                    </a:lnTo>
                    <a:lnTo>
                      <a:pt x="518" y="653"/>
                    </a:lnTo>
                    <a:lnTo>
                      <a:pt x="518" y="653"/>
                    </a:lnTo>
                    <a:lnTo>
                      <a:pt x="518" y="653"/>
                    </a:lnTo>
                    <a:lnTo>
                      <a:pt x="518" y="653"/>
                    </a:lnTo>
                    <a:lnTo>
                      <a:pt x="525" y="660"/>
                    </a:lnTo>
                    <a:lnTo>
                      <a:pt x="525" y="660"/>
                    </a:lnTo>
                    <a:lnTo>
                      <a:pt x="525" y="660"/>
                    </a:lnTo>
                    <a:lnTo>
                      <a:pt x="518" y="660"/>
                    </a:lnTo>
                    <a:lnTo>
                      <a:pt x="518" y="660"/>
                    </a:lnTo>
                    <a:lnTo>
                      <a:pt x="525" y="667"/>
                    </a:lnTo>
                    <a:lnTo>
                      <a:pt x="525" y="667"/>
                    </a:lnTo>
                    <a:lnTo>
                      <a:pt x="525" y="667"/>
                    </a:lnTo>
                    <a:lnTo>
                      <a:pt x="518" y="667"/>
                    </a:lnTo>
                    <a:lnTo>
                      <a:pt x="518" y="667"/>
                    </a:lnTo>
                    <a:lnTo>
                      <a:pt x="518" y="674"/>
                    </a:lnTo>
                    <a:lnTo>
                      <a:pt x="518" y="674"/>
                    </a:lnTo>
                    <a:lnTo>
                      <a:pt x="525" y="674"/>
                    </a:lnTo>
                    <a:lnTo>
                      <a:pt x="525" y="674"/>
                    </a:lnTo>
                    <a:lnTo>
                      <a:pt x="525" y="681"/>
                    </a:lnTo>
                    <a:lnTo>
                      <a:pt x="525" y="681"/>
                    </a:lnTo>
                    <a:lnTo>
                      <a:pt x="525" y="681"/>
                    </a:lnTo>
                    <a:lnTo>
                      <a:pt x="525" y="681"/>
                    </a:lnTo>
                    <a:lnTo>
                      <a:pt x="525" y="689"/>
                    </a:lnTo>
                    <a:lnTo>
                      <a:pt x="525" y="689"/>
                    </a:lnTo>
                    <a:lnTo>
                      <a:pt x="525" y="689"/>
                    </a:lnTo>
                    <a:lnTo>
                      <a:pt x="525" y="689"/>
                    </a:lnTo>
                    <a:lnTo>
                      <a:pt x="518" y="689"/>
                    </a:lnTo>
                    <a:lnTo>
                      <a:pt x="518" y="689"/>
                    </a:lnTo>
                    <a:lnTo>
                      <a:pt x="518" y="689"/>
                    </a:lnTo>
                    <a:lnTo>
                      <a:pt x="511" y="689"/>
                    </a:lnTo>
                    <a:lnTo>
                      <a:pt x="511" y="689"/>
                    </a:lnTo>
                    <a:lnTo>
                      <a:pt x="511" y="689"/>
                    </a:lnTo>
                    <a:lnTo>
                      <a:pt x="504" y="689"/>
                    </a:lnTo>
                    <a:lnTo>
                      <a:pt x="504" y="681"/>
                    </a:lnTo>
                    <a:lnTo>
                      <a:pt x="504" y="681"/>
                    </a:lnTo>
                    <a:lnTo>
                      <a:pt x="504" y="681"/>
                    </a:lnTo>
                    <a:lnTo>
                      <a:pt x="497" y="681"/>
                    </a:lnTo>
                    <a:lnTo>
                      <a:pt x="497" y="689"/>
                    </a:lnTo>
                    <a:lnTo>
                      <a:pt x="497" y="689"/>
                    </a:lnTo>
                    <a:lnTo>
                      <a:pt x="497" y="689"/>
                    </a:lnTo>
                    <a:lnTo>
                      <a:pt x="490" y="689"/>
                    </a:lnTo>
                    <a:lnTo>
                      <a:pt x="490" y="689"/>
                    </a:lnTo>
                    <a:lnTo>
                      <a:pt x="490" y="689"/>
                    </a:lnTo>
                    <a:lnTo>
                      <a:pt x="483" y="689"/>
                    </a:lnTo>
                    <a:lnTo>
                      <a:pt x="483" y="689"/>
                    </a:lnTo>
                    <a:lnTo>
                      <a:pt x="475" y="689"/>
                    </a:lnTo>
                    <a:lnTo>
                      <a:pt x="475" y="689"/>
                    </a:lnTo>
                    <a:lnTo>
                      <a:pt x="475" y="689"/>
                    </a:lnTo>
                    <a:lnTo>
                      <a:pt x="475" y="689"/>
                    </a:lnTo>
                    <a:lnTo>
                      <a:pt x="468" y="689"/>
                    </a:lnTo>
                    <a:lnTo>
                      <a:pt x="468" y="689"/>
                    </a:lnTo>
                    <a:lnTo>
                      <a:pt x="461" y="696"/>
                    </a:lnTo>
                    <a:lnTo>
                      <a:pt x="461" y="696"/>
                    </a:lnTo>
                    <a:lnTo>
                      <a:pt x="461" y="689"/>
                    </a:lnTo>
                    <a:lnTo>
                      <a:pt x="461" y="689"/>
                    </a:lnTo>
                    <a:lnTo>
                      <a:pt x="461" y="689"/>
                    </a:lnTo>
                    <a:lnTo>
                      <a:pt x="461" y="689"/>
                    </a:lnTo>
                    <a:lnTo>
                      <a:pt x="461" y="689"/>
                    </a:lnTo>
                    <a:lnTo>
                      <a:pt x="454" y="681"/>
                    </a:lnTo>
                    <a:lnTo>
                      <a:pt x="454" y="681"/>
                    </a:lnTo>
                    <a:lnTo>
                      <a:pt x="454" y="681"/>
                    </a:lnTo>
                    <a:lnTo>
                      <a:pt x="454" y="681"/>
                    </a:lnTo>
                    <a:lnTo>
                      <a:pt x="447" y="681"/>
                    </a:lnTo>
                    <a:lnTo>
                      <a:pt x="447" y="681"/>
                    </a:lnTo>
                    <a:lnTo>
                      <a:pt x="447" y="681"/>
                    </a:lnTo>
                    <a:lnTo>
                      <a:pt x="440" y="689"/>
                    </a:lnTo>
                    <a:lnTo>
                      <a:pt x="440" y="689"/>
                    </a:lnTo>
                    <a:lnTo>
                      <a:pt x="440" y="681"/>
                    </a:lnTo>
                    <a:lnTo>
                      <a:pt x="440" y="681"/>
                    </a:lnTo>
                    <a:lnTo>
                      <a:pt x="440" y="681"/>
                    </a:lnTo>
                    <a:lnTo>
                      <a:pt x="440" y="681"/>
                    </a:lnTo>
                    <a:lnTo>
                      <a:pt x="433" y="681"/>
                    </a:lnTo>
                    <a:lnTo>
                      <a:pt x="433" y="681"/>
                    </a:lnTo>
                    <a:lnTo>
                      <a:pt x="426" y="681"/>
                    </a:lnTo>
                    <a:lnTo>
                      <a:pt x="426" y="674"/>
                    </a:lnTo>
                    <a:lnTo>
                      <a:pt x="426" y="674"/>
                    </a:lnTo>
                    <a:lnTo>
                      <a:pt x="426" y="674"/>
                    </a:lnTo>
                    <a:lnTo>
                      <a:pt x="419" y="667"/>
                    </a:lnTo>
                    <a:lnTo>
                      <a:pt x="419" y="674"/>
                    </a:lnTo>
                    <a:lnTo>
                      <a:pt x="419" y="674"/>
                    </a:lnTo>
                    <a:lnTo>
                      <a:pt x="419" y="674"/>
                    </a:lnTo>
                    <a:lnTo>
                      <a:pt x="419" y="674"/>
                    </a:lnTo>
                    <a:lnTo>
                      <a:pt x="412" y="681"/>
                    </a:lnTo>
                    <a:lnTo>
                      <a:pt x="412" y="681"/>
                    </a:lnTo>
                    <a:lnTo>
                      <a:pt x="412" y="681"/>
                    </a:lnTo>
                    <a:lnTo>
                      <a:pt x="412" y="681"/>
                    </a:lnTo>
                    <a:lnTo>
                      <a:pt x="412" y="681"/>
                    </a:lnTo>
                    <a:lnTo>
                      <a:pt x="412" y="689"/>
                    </a:lnTo>
                    <a:lnTo>
                      <a:pt x="412" y="696"/>
                    </a:lnTo>
                    <a:lnTo>
                      <a:pt x="412" y="696"/>
                    </a:lnTo>
                    <a:lnTo>
                      <a:pt x="412" y="696"/>
                    </a:lnTo>
                    <a:lnTo>
                      <a:pt x="412" y="696"/>
                    </a:lnTo>
                    <a:lnTo>
                      <a:pt x="412" y="703"/>
                    </a:lnTo>
                    <a:lnTo>
                      <a:pt x="419" y="703"/>
                    </a:lnTo>
                    <a:lnTo>
                      <a:pt x="419" y="703"/>
                    </a:lnTo>
                    <a:lnTo>
                      <a:pt x="419" y="703"/>
                    </a:lnTo>
                    <a:lnTo>
                      <a:pt x="419" y="703"/>
                    </a:lnTo>
                    <a:lnTo>
                      <a:pt x="419" y="710"/>
                    </a:lnTo>
                    <a:lnTo>
                      <a:pt x="419" y="710"/>
                    </a:lnTo>
                    <a:lnTo>
                      <a:pt x="419" y="710"/>
                    </a:lnTo>
                    <a:lnTo>
                      <a:pt x="419" y="710"/>
                    </a:lnTo>
                    <a:lnTo>
                      <a:pt x="419" y="717"/>
                    </a:lnTo>
                    <a:lnTo>
                      <a:pt x="419" y="717"/>
                    </a:lnTo>
                    <a:lnTo>
                      <a:pt x="419" y="717"/>
                    </a:lnTo>
                    <a:lnTo>
                      <a:pt x="419" y="724"/>
                    </a:lnTo>
                    <a:lnTo>
                      <a:pt x="419" y="724"/>
                    </a:lnTo>
                    <a:lnTo>
                      <a:pt x="419" y="724"/>
                    </a:lnTo>
                    <a:lnTo>
                      <a:pt x="419" y="724"/>
                    </a:lnTo>
                    <a:lnTo>
                      <a:pt x="426" y="724"/>
                    </a:lnTo>
                    <a:lnTo>
                      <a:pt x="426" y="731"/>
                    </a:lnTo>
                    <a:lnTo>
                      <a:pt x="426" y="731"/>
                    </a:lnTo>
                    <a:lnTo>
                      <a:pt x="426" y="731"/>
                    </a:lnTo>
                    <a:lnTo>
                      <a:pt x="419" y="731"/>
                    </a:lnTo>
                    <a:lnTo>
                      <a:pt x="419" y="731"/>
                    </a:lnTo>
                    <a:lnTo>
                      <a:pt x="419" y="731"/>
                    </a:lnTo>
                    <a:lnTo>
                      <a:pt x="419" y="738"/>
                    </a:lnTo>
                    <a:lnTo>
                      <a:pt x="419" y="738"/>
                    </a:lnTo>
                    <a:lnTo>
                      <a:pt x="426" y="738"/>
                    </a:lnTo>
                    <a:lnTo>
                      <a:pt x="426" y="738"/>
                    </a:lnTo>
                    <a:lnTo>
                      <a:pt x="426" y="745"/>
                    </a:lnTo>
                    <a:lnTo>
                      <a:pt x="419" y="745"/>
                    </a:lnTo>
                    <a:lnTo>
                      <a:pt x="419" y="745"/>
                    </a:lnTo>
                    <a:lnTo>
                      <a:pt x="419" y="745"/>
                    </a:lnTo>
                    <a:lnTo>
                      <a:pt x="419" y="745"/>
                    </a:lnTo>
                    <a:lnTo>
                      <a:pt x="419" y="745"/>
                    </a:lnTo>
                    <a:lnTo>
                      <a:pt x="412" y="745"/>
                    </a:lnTo>
                    <a:lnTo>
                      <a:pt x="412" y="738"/>
                    </a:lnTo>
                    <a:lnTo>
                      <a:pt x="412" y="738"/>
                    </a:lnTo>
                    <a:lnTo>
                      <a:pt x="412" y="738"/>
                    </a:lnTo>
                    <a:lnTo>
                      <a:pt x="412" y="738"/>
                    </a:lnTo>
                    <a:lnTo>
                      <a:pt x="404" y="745"/>
                    </a:lnTo>
                    <a:lnTo>
                      <a:pt x="404" y="745"/>
                    </a:lnTo>
                    <a:lnTo>
                      <a:pt x="404" y="745"/>
                    </a:lnTo>
                    <a:lnTo>
                      <a:pt x="404" y="745"/>
                    </a:lnTo>
                    <a:lnTo>
                      <a:pt x="397" y="745"/>
                    </a:lnTo>
                    <a:lnTo>
                      <a:pt x="397" y="745"/>
                    </a:lnTo>
                    <a:lnTo>
                      <a:pt x="397" y="745"/>
                    </a:lnTo>
                    <a:lnTo>
                      <a:pt x="397" y="745"/>
                    </a:lnTo>
                    <a:lnTo>
                      <a:pt x="397" y="745"/>
                    </a:lnTo>
                    <a:lnTo>
                      <a:pt x="390" y="745"/>
                    </a:lnTo>
                    <a:lnTo>
                      <a:pt x="390" y="745"/>
                    </a:lnTo>
                    <a:lnTo>
                      <a:pt x="383" y="745"/>
                    </a:lnTo>
                    <a:lnTo>
                      <a:pt x="383" y="745"/>
                    </a:lnTo>
                    <a:lnTo>
                      <a:pt x="376" y="745"/>
                    </a:lnTo>
                    <a:lnTo>
                      <a:pt x="376" y="745"/>
                    </a:lnTo>
                    <a:lnTo>
                      <a:pt x="376" y="745"/>
                    </a:lnTo>
                    <a:lnTo>
                      <a:pt x="369" y="745"/>
                    </a:lnTo>
                    <a:lnTo>
                      <a:pt x="369" y="752"/>
                    </a:lnTo>
                    <a:lnTo>
                      <a:pt x="362" y="752"/>
                    </a:lnTo>
                    <a:lnTo>
                      <a:pt x="362" y="752"/>
                    </a:lnTo>
                    <a:lnTo>
                      <a:pt x="362" y="752"/>
                    </a:lnTo>
                    <a:lnTo>
                      <a:pt x="362" y="760"/>
                    </a:lnTo>
                    <a:lnTo>
                      <a:pt x="362" y="760"/>
                    </a:lnTo>
                    <a:lnTo>
                      <a:pt x="355" y="760"/>
                    </a:lnTo>
                    <a:lnTo>
                      <a:pt x="355" y="760"/>
                    </a:lnTo>
                    <a:lnTo>
                      <a:pt x="348" y="760"/>
                    </a:lnTo>
                    <a:lnTo>
                      <a:pt x="348" y="760"/>
                    </a:lnTo>
                    <a:lnTo>
                      <a:pt x="348" y="760"/>
                    </a:lnTo>
                    <a:lnTo>
                      <a:pt x="348" y="760"/>
                    </a:lnTo>
                    <a:lnTo>
                      <a:pt x="348" y="760"/>
                    </a:lnTo>
                    <a:lnTo>
                      <a:pt x="348" y="760"/>
                    </a:lnTo>
                    <a:lnTo>
                      <a:pt x="341" y="760"/>
                    </a:lnTo>
                    <a:lnTo>
                      <a:pt x="341" y="752"/>
                    </a:lnTo>
                    <a:lnTo>
                      <a:pt x="341" y="752"/>
                    </a:lnTo>
                    <a:lnTo>
                      <a:pt x="341" y="752"/>
                    </a:lnTo>
                    <a:lnTo>
                      <a:pt x="341" y="752"/>
                    </a:lnTo>
                    <a:lnTo>
                      <a:pt x="341" y="752"/>
                    </a:lnTo>
                    <a:lnTo>
                      <a:pt x="341" y="752"/>
                    </a:lnTo>
                    <a:lnTo>
                      <a:pt x="333" y="752"/>
                    </a:lnTo>
                    <a:lnTo>
                      <a:pt x="333" y="752"/>
                    </a:lnTo>
                    <a:lnTo>
                      <a:pt x="326" y="752"/>
                    </a:lnTo>
                    <a:lnTo>
                      <a:pt x="326" y="752"/>
                    </a:lnTo>
                    <a:lnTo>
                      <a:pt x="326" y="752"/>
                    </a:lnTo>
                    <a:lnTo>
                      <a:pt x="326" y="752"/>
                    </a:lnTo>
                    <a:lnTo>
                      <a:pt x="319" y="752"/>
                    </a:lnTo>
                    <a:lnTo>
                      <a:pt x="319" y="760"/>
                    </a:lnTo>
                    <a:lnTo>
                      <a:pt x="319" y="760"/>
                    </a:lnTo>
                    <a:lnTo>
                      <a:pt x="319" y="760"/>
                    </a:lnTo>
                    <a:lnTo>
                      <a:pt x="319" y="760"/>
                    </a:lnTo>
                    <a:lnTo>
                      <a:pt x="319" y="760"/>
                    </a:lnTo>
                    <a:lnTo>
                      <a:pt x="312" y="760"/>
                    </a:lnTo>
                    <a:lnTo>
                      <a:pt x="305" y="767"/>
                    </a:lnTo>
                    <a:lnTo>
                      <a:pt x="305" y="767"/>
                    </a:lnTo>
                    <a:lnTo>
                      <a:pt x="305" y="767"/>
                    </a:lnTo>
                    <a:lnTo>
                      <a:pt x="305" y="767"/>
                    </a:lnTo>
                    <a:lnTo>
                      <a:pt x="312" y="767"/>
                    </a:lnTo>
                    <a:lnTo>
                      <a:pt x="312" y="767"/>
                    </a:lnTo>
                    <a:lnTo>
                      <a:pt x="312" y="767"/>
                    </a:lnTo>
                    <a:lnTo>
                      <a:pt x="312" y="774"/>
                    </a:lnTo>
                    <a:lnTo>
                      <a:pt x="312" y="774"/>
                    </a:lnTo>
                    <a:lnTo>
                      <a:pt x="312" y="781"/>
                    </a:lnTo>
                    <a:lnTo>
                      <a:pt x="312" y="781"/>
                    </a:lnTo>
                    <a:lnTo>
                      <a:pt x="312" y="781"/>
                    </a:lnTo>
                    <a:lnTo>
                      <a:pt x="312" y="781"/>
                    </a:lnTo>
                    <a:lnTo>
                      <a:pt x="305" y="781"/>
                    </a:lnTo>
                    <a:lnTo>
                      <a:pt x="305" y="781"/>
                    </a:lnTo>
                    <a:lnTo>
                      <a:pt x="305" y="774"/>
                    </a:lnTo>
                    <a:lnTo>
                      <a:pt x="298" y="781"/>
                    </a:lnTo>
                    <a:lnTo>
                      <a:pt x="298" y="781"/>
                    </a:lnTo>
                    <a:lnTo>
                      <a:pt x="298" y="781"/>
                    </a:lnTo>
                    <a:lnTo>
                      <a:pt x="298" y="781"/>
                    </a:lnTo>
                    <a:lnTo>
                      <a:pt x="291" y="781"/>
                    </a:lnTo>
                    <a:lnTo>
                      <a:pt x="291" y="781"/>
                    </a:lnTo>
                    <a:lnTo>
                      <a:pt x="291" y="781"/>
                    </a:lnTo>
                    <a:lnTo>
                      <a:pt x="291" y="781"/>
                    </a:lnTo>
                    <a:lnTo>
                      <a:pt x="291" y="788"/>
                    </a:lnTo>
                    <a:lnTo>
                      <a:pt x="291" y="788"/>
                    </a:lnTo>
                    <a:lnTo>
                      <a:pt x="291" y="788"/>
                    </a:lnTo>
                    <a:lnTo>
                      <a:pt x="284" y="788"/>
                    </a:lnTo>
                    <a:lnTo>
                      <a:pt x="284" y="788"/>
                    </a:lnTo>
                    <a:lnTo>
                      <a:pt x="284" y="788"/>
                    </a:lnTo>
                    <a:lnTo>
                      <a:pt x="284" y="788"/>
                    </a:lnTo>
                    <a:lnTo>
                      <a:pt x="284" y="788"/>
                    </a:lnTo>
                    <a:lnTo>
                      <a:pt x="284" y="795"/>
                    </a:lnTo>
                    <a:lnTo>
                      <a:pt x="284" y="795"/>
                    </a:lnTo>
                    <a:lnTo>
                      <a:pt x="277" y="795"/>
                    </a:lnTo>
                    <a:lnTo>
                      <a:pt x="284" y="795"/>
                    </a:lnTo>
                    <a:lnTo>
                      <a:pt x="284" y="802"/>
                    </a:lnTo>
                    <a:lnTo>
                      <a:pt x="284" y="802"/>
                    </a:lnTo>
                    <a:lnTo>
                      <a:pt x="284" y="802"/>
                    </a:lnTo>
                    <a:lnTo>
                      <a:pt x="277" y="802"/>
                    </a:lnTo>
                    <a:lnTo>
                      <a:pt x="277" y="802"/>
                    </a:lnTo>
                    <a:lnTo>
                      <a:pt x="277" y="802"/>
                    </a:lnTo>
                    <a:lnTo>
                      <a:pt x="277" y="802"/>
                    </a:lnTo>
                    <a:lnTo>
                      <a:pt x="270" y="809"/>
                    </a:lnTo>
                    <a:lnTo>
                      <a:pt x="270" y="809"/>
                    </a:lnTo>
                    <a:lnTo>
                      <a:pt x="270" y="809"/>
                    </a:lnTo>
                    <a:lnTo>
                      <a:pt x="270" y="809"/>
                    </a:lnTo>
                    <a:lnTo>
                      <a:pt x="262" y="809"/>
                    </a:lnTo>
                    <a:lnTo>
                      <a:pt x="262" y="809"/>
                    </a:lnTo>
                    <a:lnTo>
                      <a:pt x="262" y="809"/>
                    </a:lnTo>
                    <a:lnTo>
                      <a:pt x="262" y="809"/>
                    </a:lnTo>
                    <a:lnTo>
                      <a:pt x="262" y="809"/>
                    </a:lnTo>
                    <a:lnTo>
                      <a:pt x="262" y="809"/>
                    </a:lnTo>
                    <a:lnTo>
                      <a:pt x="262" y="809"/>
                    </a:lnTo>
                    <a:lnTo>
                      <a:pt x="262" y="809"/>
                    </a:lnTo>
                    <a:lnTo>
                      <a:pt x="262" y="802"/>
                    </a:lnTo>
                    <a:lnTo>
                      <a:pt x="262" y="802"/>
                    </a:lnTo>
                    <a:lnTo>
                      <a:pt x="262" y="802"/>
                    </a:lnTo>
                    <a:lnTo>
                      <a:pt x="262" y="802"/>
                    </a:lnTo>
                    <a:lnTo>
                      <a:pt x="262" y="802"/>
                    </a:lnTo>
                    <a:lnTo>
                      <a:pt x="262" y="795"/>
                    </a:lnTo>
                    <a:lnTo>
                      <a:pt x="262" y="795"/>
                    </a:lnTo>
                    <a:lnTo>
                      <a:pt x="255" y="795"/>
                    </a:lnTo>
                    <a:lnTo>
                      <a:pt x="255" y="795"/>
                    </a:lnTo>
                    <a:lnTo>
                      <a:pt x="248" y="795"/>
                    </a:lnTo>
                    <a:lnTo>
                      <a:pt x="248" y="795"/>
                    </a:lnTo>
                    <a:lnTo>
                      <a:pt x="248" y="795"/>
                    </a:lnTo>
                    <a:lnTo>
                      <a:pt x="248" y="795"/>
                    </a:lnTo>
                    <a:lnTo>
                      <a:pt x="248" y="795"/>
                    </a:lnTo>
                    <a:lnTo>
                      <a:pt x="248" y="802"/>
                    </a:lnTo>
                    <a:lnTo>
                      <a:pt x="248" y="802"/>
                    </a:lnTo>
                    <a:lnTo>
                      <a:pt x="248" y="802"/>
                    </a:lnTo>
                    <a:lnTo>
                      <a:pt x="241" y="802"/>
                    </a:lnTo>
                    <a:lnTo>
                      <a:pt x="241" y="802"/>
                    </a:lnTo>
                    <a:lnTo>
                      <a:pt x="241" y="802"/>
                    </a:lnTo>
                    <a:lnTo>
                      <a:pt x="241" y="809"/>
                    </a:lnTo>
                    <a:lnTo>
                      <a:pt x="241" y="809"/>
                    </a:lnTo>
                    <a:lnTo>
                      <a:pt x="241" y="809"/>
                    </a:lnTo>
                    <a:lnTo>
                      <a:pt x="234" y="809"/>
                    </a:lnTo>
                    <a:lnTo>
                      <a:pt x="234" y="809"/>
                    </a:lnTo>
                    <a:lnTo>
                      <a:pt x="234" y="809"/>
                    </a:lnTo>
                    <a:lnTo>
                      <a:pt x="234" y="809"/>
                    </a:lnTo>
                    <a:lnTo>
                      <a:pt x="234" y="809"/>
                    </a:lnTo>
                    <a:lnTo>
                      <a:pt x="234" y="809"/>
                    </a:lnTo>
                    <a:lnTo>
                      <a:pt x="234" y="809"/>
                    </a:lnTo>
                    <a:lnTo>
                      <a:pt x="234" y="809"/>
                    </a:lnTo>
                    <a:lnTo>
                      <a:pt x="234" y="809"/>
                    </a:lnTo>
                    <a:lnTo>
                      <a:pt x="227" y="809"/>
                    </a:lnTo>
                    <a:lnTo>
                      <a:pt x="227" y="809"/>
                    </a:lnTo>
                    <a:lnTo>
                      <a:pt x="227" y="809"/>
                    </a:lnTo>
                    <a:lnTo>
                      <a:pt x="227" y="816"/>
                    </a:lnTo>
                    <a:lnTo>
                      <a:pt x="227" y="816"/>
                    </a:lnTo>
                    <a:lnTo>
                      <a:pt x="227" y="816"/>
                    </a:lnTo>
                    <a:lnTo>
                      <a:pt x="227" y="809"/>
                    </a:lnTo>
                    <a:lnTo>
                      <a:pt x="227" y="809"/>
                    </a:lnTo>
                    <a:lnTo>
                      <a:pt x="220" y="809"/>
                    </a:lnTo>
                    <a:lnTo>
                      <a:pt x="220" y="809"/>
                    </a:lnTo>
                    <a:lnTo>
                      <a:pt x="220" y="809"/>
                    </a:lnTo>
                    <a:lnTo>
                      <a:pt x="220" y="816"/>
                    </a:lnTo>
                    <a:lnTo>
                      <a:pt x="220" y="816"/>
                    </a:lnTo>
                    <a:lnTo>
                      <a:pt x="220" y="816"/>
                    </a:lnTo>
                    <a:lnTo>
                      <a:pt x="220" y="816"/>
                    </a:lnTo>
                    <a:lnTo>
                      <a:pt x="220" y="816"/>
                    </a:lnTo>
                    <a:lnTo>
                      <a:pt x="220" y="816"/>
                    </a:lnTo>
                    <a:lnTo>
                      <a:pt x="220" y="816"/>
                    </a:lnTo>
                    <a:lnTo>
                      <a:pt x="220" y="816"/>
                    </a:lnTo>
                    <a:lnTo>
                      <a:pt x="220" y="816"/>
                    </a:lnTo>
                    <a:lnTo>
                      <a:pt x="220" y="816"/>
                    </a:lnTo>
                    <a:lnTo>
                      <a:pt x="220" y="816"/>
                    </a:lnTo>
                    <a:lnTo>
                      <a:pt x="227" y="816"/>
                    </a:lnTo>
                    <a:lnTo>
                      <a:pt x="227" y="816"/>
                    </a:lnTo>
                    <a:lnTo>
                      <a:pt x="227" y="816"/>
                    </a:lnTo>
                    <a:lnTo>
                      <a:pt x="227" y="816"/>
                    </a:lnTo>
                    <a:lnTo>
                      <a:pt x="227" y="823"/>
                    </a:lnTo>
                    <a:lnTo>
                      <a:pt x="227" y="823"/>
                    </a:lnTo>
                    <a:lnTo>
                      <a:pt x="227" y="823"/>
                    </a:lnTo>
                    <a:lnTo>
                      <a:pt x="227" y="823"/>
                    </a:lnTo>
                    <a:lnTo>
                      <a:pt x="227" y="823"/>
                    </a:lnTo>
                    <a:lnTo>
                      <a:pt x="227" y="823"/>
                    </a:lnTo>
                    <a:lnTo>
                      <a:pt x="227" y="823"/>
                    </a:lnTo>
                    <a:lnTo>
                      <a:pt x="227" y="823"/>
                    </a:lnTo>
                    <a:lnTo>
                      <a:pt x="227" y="823"/>
                    </a:lnTo>
                    <a:lnTo>
                      <a:pt x="234" y="823"/>
                    </a:lnTo>
                    <a:lnTo>
                      <a:pt x="234" y="823"/>
                    </a:lnTo>
                    <a:lnTo>
                      <a:pt x="234" y="823"/>
                    </a:lnTo>
                    <a:lnTo>
                      <a:pt x="234" y="823"/>
                    </a:lnTo>
                    <a:lnTo>
                      <a:pt x="234" y="823"/>
                    </a:lnTo>
                    <a:lnTo>
                      <a:pt x="234" y="831"/>
                    </a:lnTo>
                    <a:lnTo>
                      <a:pt x="234" y="831"/>
                    </a:lnTo>
                    <a:lnTo>
                      <a:pt x="234" y="831"/>
                    </a:lnTo>
                    <a:lnTo>
                      <a:pt x="234" y="831"/>
                    </a:lnTo>
                    <a:lnTo>
                      <a:pt x="234" y="831"/>
                    </a:lnTo>
                    <a:lnTo>
                      <a:pt x="234" y="831"/>
                    </a:lnTo>
                    <a:lnTo>
                      <a:pt x="234" y="831"/>
                    </a:lnTo>
                    <a:lnTo>
                      <a:pt x="234" y="831"/>
                    </a:lnTo>
                    <a:lnTo>
                      <a:pt x="234" y="831"/>
                    </a:lnTo>
                    <a:lnTo>
                      <a:pt x="234" y="831"/>
                    </a:lnTo>
                    <a:lnTo>
                      <a:pt x="234" y="831"/>
                    </a:lnTo>
                    <a:lnTo>
                      <a:pt x="234" y="838"/>
                    </a:lnTo>
                    <a:lnTo>
                      <a:pt x="234" y="838"/>
                    </a:lnTo>
                    <a:lnTo>
                      <a:pt x="234" y="838"/>
                    </a:lnTo>
                    <a:lnTo>
                      <a:pt x="227" y="838"/>
                    </a:lnTo>
                    <a:lnTo>
                      <a:pt x="227" y="838"/>
                    </a:lnTo>
                    <a:lnTo>
                      <a:pt x="227" y="838"/>
                    </a:lnTo>
                    <a:lnTo>
                      <a:pt x="227" y="838"/>
                    </a:lnTo>
                    <a:lnTo>
                      <a:pt x="234" y="845"/>
                    </a:lnTo>
                    <a:lnTo>
                      <a:pt x="234" y="845"/>
                    </a:lnTo>
                    <a:lnTo>
                      <a:pt x="234" y="845"/>
                    </a:lnTo>
                    <a:lnTo>
                      <a:pt x="234" y="845"/>
                    </a:lnTo>
                    <a:lnTo>
                      <a:pt x="234" y="845"/>
                    </a:lnTo>
                    <a:lnTo>
                      <a:pt x="234" y="852"/>
                    </a:lnTo>
                    <a:lnTo>
                      <a:pt x="234" y="852"/>
                    </a:lnTo>
                    <a:lnTo>
                      <a:pt x="234" y="852"/>
                    </a:lnTo>
                    <a:lnTo>
                      <a:pt x="234" y="852"/>
                    </a:lnTo>
                    <a:lnTo>
                      <a:pt x="234" y="852"/>
                    </a:lnTo>
                    <a:lnTo>
                      <a:pt x="234" y="852"/>
                    </a:lnTo>
                    <a:lnTo>
                      <a:pt x="234" y="852"/>
                    </a:lnTo>
                    <a:lnTo>
                      <a:pt x="234" y="845"/>
                    </a:lnTo>
                    <a:lnTo>
                      <a:pt x="241" y="845"/>
                    </a:lnTo>
                    <a:lnTo>
                      <a:pt x="241" y="845"/>
                    </a:lnTo>
                    <a:lnTo>
                      <a:pt x="248" y="852"/>
                    </a:lnTo>
                    <a:lnTo>
                      <a:pt x="255" y="852"/>
                    </a:lnTo>
                    <a:lnTo>
                      <a:pt x="255" y="859"/>
                    </a:lnTo>
                    <a:lnTo>
                      <a:pt x="255" y="859"/>
                    </a:lnTo>
                    <a:lnTo>
                      <a:pt x="255" y="859"/>
                    </a:lnTo>
                    <a:lnTo>
                      <a:pt x="255" y="859"/>
                    </a:lnTo>
                    <a:lnTo>
                      <a:pt x="255" y="859"/>
                    </a:lnTo>
                    <a:lnTo>
                      <a:pt x="255" y="866"/>
                    </a:lnTo>
                    <a:lnTo>
                      <a:pt x="255" y="873"/>
                    </a:lnTo>
                    <a:lnTo>
                      <a:pt x="255" y="873"/>
                    </a:lnTo>
                    <a:lnTo>
                      <a:pt x="255" y="880"/>
                    </a:lnTo>
                    <a:lnTo>
                      <a:pt x="248" y="880"/>
                    </a:lnTo>
                    <a:lnTo>
                      <a:pt x="248" y="880"/>
                    </a:lnTo>
                    <a:lnTo>
                      <a:pt x="241" y="880"/>
                    </a:lnTo>
                    <a:lnTo>
                      <a:pt x="241" y="880"/>
                    </a:lnTo>
                    <a:lnTo>
                      <a:pt x="241" y="880"/>
                    </a:lnTo>
                    <a:lnTo>
                      <a:pt x="241" y="880"/>
                    </a:lnTo>
                    <a:lnTo>
                      <a:pt x="241" y="880"/>
                    </a:lnTo>
                    <a:lnTo>
                      <a:pt x="241" y="880"/>
                    </a:lnTo>
                    <a:lnTo>
                      <a:pt x="241" y="880"/>
                    </a:lnTo>
                    <a:lnTo>
                      <a:pt x="248" y="887"/>
                    </a:lnTo>
                    <a:lnTo>
                      <a:pt x="248" y="887"/>
                    </a:lnTo>
                    <a:lnTo>
                      <a:pt x="248" y="887"/>
                    </a:lnTo>
                    <a:lnTo>
                      <a:pt x="248" y="887"/>
                    </a:lnTo>
                    <a:lnTo>
                      <a:pt x="248" y="887"/>
                    </a:lnTo>
                    <a:lnTo>
                      <a:pt x="248" y="887"/>
                    </a:lnTo>
                    <a:lnTo>
                      <a:pt x="248" y="894"/>
                    </a:lnTo>
                    <a:lnTo>
                      <a:pt x="248" y="894"/>
                    </a:lnTo>
                    <a:lnTo>
                      <a:pt x="248" y="894"/>
                    </a:lnTo>
                    <a:lnTo>
                      <a:pt x="241" y="901"/>
                    </a:lnTo>
                    <a:lnTo>
                      <a:pt x="241" y="909"/>
                    </a:lnTo>
                    <a:lnTo>
                      <a:pt x="234" y="909"/>
                    </a:lnTo>
                    <a:lnTo>
                      <a:pt x="234" y="909"/>
                    </a:lnTo>
                    <a:lnTo>
                      <a:pt x="234" y="916"/>
                    </a:lnTo>
                    <a:lnTo>
                      <a:pt x="241" y="916"/>
                    </a:lnTo>
                    <a:lnTo>
                      <a:pt x="241" y="916"/>
                    </a:lnTo>
                    <a:lnTo>
                      <a:pt x="241" y="916"/>
                    </a:lnTo>
                    <a:lnTo>
                      <a:pt x="241" y="916"/>
                    </a:lnTo>
                    <a:lnTo>
                      <a:pt x="234" y="923"/>
                    </a:lnTo>
                    <a:lnTo>
                      <a:pt x="234" y="930"/>
                    </a:lnTo>
                    <a:lnTo>
                      <a:pt x="234" y="930"/>
                    </a:lnTo>
                    <a:lnTo>
                      <a:pt x="227" y="930"/>
                    </a:lnTo>
                    <a:lnTo>
                      <a:pt x="227" y="930"/>
                    </a:lnTo>
                    <a:lnTo>
                      <a:pt x="227" y="930"/>
                    </a:lnTo>
                    <a:lnTo>
                      <a:pt x="220" y="930"/>
                    </a:lnTo>
                    <a:lnTo>
                      <a:pt x="220" y="930"/>
                    </a:lnTo>
                    <a:lnTo>
                      <a:pt x="220" y="930"/>
                    </a:lnTo>
                    <a:lnTo>
                      <a:pt x="220" y="930"/>
                    </a:lnTo>
                    <a:lnTo>
                      <a:pt x="220" y="930"/>
                    </a:lnTo>
                    <a:lnTo>
                      <a:pt x="220" y="930"/>
                    </a:lnTo>
                    <a:lnTo>
                      <a:pt x="220" y="930"/>
                    </a:lnTo>
                    <a:lnTo>
                      <a:pt x="220" y="930"/>
                    </a:lnTo>
                    <a:lnTo>
                      <a:pt x="220" y="930"/>
                    </a:lnTo>
                    <a:lnTo>
                      <a:pt x="220" y="930"/>
                    </a:lnTo>
                    <a:lnTo>
                      <a:pt x="213" y="930"/>
                    </a:lnTo>
                    <a:lnTo>
                      <a:pt x="213" y="923"/>
                    </a:lnTo>
                    <a:lnTo>
                      <a:pt x="213" y="930"/>
                    </a:lnTo>
                    <a:lnTo>
                      <a:pt x="213" y="930"/>
                    </a:lnTo>
                    <a:lnTo>
                      <a:pt x="206" y="930"/>
                    </a:lnTo>
                    <a:lnTo>
                      <a:pt x="206" y="937"/>
                    </a:lnTo>
                    <a:lnTo>
                      <a:pt x="206" y="937"/>
                    </a:lnTo>
                    <a:lnTo>
                      <a:pt x="199" y="937"/>
                    </a:lnTo>
                    <a:lnTo>
                      <a:pt x="199" y="937"/>
                    </a:lnTo>
                    <a:lnTo>
                      <a:pt x="199" y="944"/>
                    </a:lnTo>
                    <a:lnTo>
                      <a:pt x="199" y="944"/>
                    </a:lnTo>
                    <a:lnTo>
                      <a:pt x="199" y="944"/>
                    </a:lnTo>
                    <a:lnTo>
                      <a:pt x="199" y="944"/>
                    </a:lnTo>
                    <a:lnTo>
                      <a:pt x="199" y="944"/>
                    </a:lnTo>
                    <a:lnTo>
                      <a:pt x="192" y="944"/>
                    </a:lnTo>
                    <a:lnTo>
                      <a:pt x="184" y="951"/>
                    </a:lnTo>
                    <a:lnTo>
                      <a:pt x="184" y="951"/>
                    </a:lnTo>
                    <a:lnTo>
                      <a:pt x="184" y="951"/>
                    </a:lnTo>
                    <a:lnTo>
                      <a:pt x="177" y="951"/>
                    </a:lnTo>
                    <a:lnTo>
                      <a:pt x="177" y="944"/>
                    </a:lnTo>
                    <a:lnTo>
                      <a:pt x="177" y="944"/>
                    </a:lnTo>
                    <a:lnTo>
                      <a:pt x="177" y="944"/>
                    </a:lnTo>
                    <a:lnTo>
                      <a:pt x="170" y="937"/>
                    </a:lnTo>
                    <a:lnTo>
                      <a:pt x="170" y="937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63" y="930"/>
                    </a:lnTo>
                    <a:lnTo>
                      <a:pt x="163" y="930"/>
                    </a:lnTo>
                    <a:lnTo>
                      <a:pt x="163" y="930"/>
                    </a:lnTo>
                    <a:lnTo>
                      <a:pt x="163" y="930"/>
                    </a:lnTo>
                    <a:lnTo>
                      <a:pt x="163" y="930"/>
                    </a:lnTo>
                    <a:lnTo>
                      <a:pt x="163" y="923"/>
                    </a:lnTo>
                    <a:lnTo>
                      <a:pt x="163" y="923"/>
                    </a:lnTo>
                    <a:lnTo>
                      <a:pt x="163" y="923"/>
                    </a:lnTo>
                    <a:lnTo>
                      <a:pt x="156" y="923"/>
                    </a:lnTo>
                    <a:lnTo>
                      <a:pt x="156" y="923"/>
                    </a:lnTo>
                    <a:lnTo>
                      <a:pt x="156" y="930"/>
                    </a:lnTo>
                    <a:lnTo>
                      <a:pt x="156" y="930"/>
                    </a:lnTo>
                    <a:lnTo>
                      <a:pt x="156" y="930"/>
                    </a:lnTo>
                    <a:lnTo>
                      <a:pt x="149" y="930"/>
                    </a:lnTo>
                    <a:lnTo>
                      <a:pt x="142" y="930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9" name="Freeform 37"/>
              <p:cNvSpPr>
                <a:spLocks/>
              </p:cNvSpPr>
              <p:nvPr/>
            </p:nvSpPr>
            <p:spPr bwMode="auto">
              <a:xfrm>
                <a:off x="4820" y="1124"/>
                <a:ext cx="788" cy="582"/>
              </a:xfrm>
              <a:custGeom>
                <a:avLst/>
                <a:gdLst>
                  <a:gd name="T0" fmla="*/ 362 w 788"/>
                  <a:gd name="T1" fmla="*/ 475 h 582"/>
                  <a:gd name="T2" fmla="*/ 390 w 788"/>
                  <a:gd name="T3" fmla="*/ 461 h 582"/>
                  <a:gd name="T4" fmla="*/ 397 w 788"/>
                  <a:gd name="T5" fmla="*/ 440 h 582"/>
                  <a:gd name="T6" fmla="*/ 426 w 788"/>
                  <a:gd name="T7" fmla="*/ 411 h 582"/>
                  <a:gd name="T8" fmla="*/ 404 w 788"/>
                  <a:gd name="T9" fmla="*/ 390 h 582"/>
                  <a:gd name="T10" fmla="*/ 404 w 788"/>
                  <a:gd name="T11" fmla="*/ 369 h 582"/>
                  <a:gd name="T12" fmla="*/ 383 w 788"/>
                  <a:gd name="T13" fmla="*/ 362 h 582"/>
                  <a:gd name="T14" fmla="*/ 340 w 788"/>
                  <a:gd name="T15" fmla="*/ 362 h 582"/>
                  <a:gd name="T16" fmla="*/ 333 w 788"/>
                  <a:gd name="T17" fmla="*/ 319 h 582"/>
                  <a:gd name="T18" fmla="*/ 312 w 788"/>
                  <a:gd name="T19" fmla="*/ 305 h 582"/>
                  <a:gd name="T20" fmla="*/ 276 w 788"/>
                  <a:gd name="T21" fmla="*/ 326 h 582"/>
                  <a:gd name="T22" fmla="*/ 255 w 788"/>
                  <a:gd name="T23" fmla="*/ 312 h 582"/>
                  <a:gd name="T24" fmla="*/ 248 w 788"/>
                  <a:gd name="T25" fmla="*/ 333 h 582"/>
                  <a:gd name="T26" fmla="*/ 213 w 788"/>
                  <a:gd name="T27" fmla="*/ 347 h 582"/>
                  <a:gd name="T28" fmla="*/ 184 w 788"/>
                  <a:gd name="T29" fmla="*/ 340 h 582"/>
                  <a:gd name="T30" fmla="*/ 156 w 788"/>
                  <a:gd name="T31" fmla="*/ 333 h 582"/>
                  <a:gd name="T32" fmla="*/ 127 w 788"/>
                  <a:gd name="T33" fmla="*/ 326 h 582"/>
                  <a:gd name="T34" fmla="*/ 113 w 788"/>
                  <a:gd name="T35" fmla="*/ 326 h 582"/>
                  <a:gd name="T36" fmla="*/ 64 w 788"/>
                  <a:gd name="T37" fmla="*/ 333 h 582"/>
                  <a:gd name="T38" fmla="*/ 49 w 788"/>
                  <a:gd name="T39" fmla="*/ 369 h 582"/>
                  <a:gd name="T40" fmla="*/ 56 w 788"/>
                  <a:gd name="T41" fmla="*/ 390 h 582"/>
                  <a:gd name="T42" fmla="*/ 35 w 788"/>
                  <a:gd name="T43" fmla="*/ 376 h 582"/>
                  <a:gd name="T44" fmla="*/ 28 w 788"/>
                  <a:gd name="T45" fmla="*/ 333 h 582"/>
                  <a:gd name="T46" fmla="*/ 14 w 788"/>
                  <a:gd name="T47" fmla="*/ 312 h 582"/>
                  <a:gd name="T48" fmla="*/ 14 w 788"/>
                  <a:gd name="T49" fmla="*/ 298 h 582"/>
                  <a:gd name="T50" fmla="*/ 21 w 788"/>
                  <a:gd name="T51" fmla="*/ 277 h 582"/>
                  <a:gd name="T52" fmla="*/ 21 w 788"/>
                  <a:gd name="T53" fmla="*/ 227 h 582"/>
                  <a:gd name="T54" fmla="*/ 78 w 788"/>
                  <a:gd name="T55" fmla="*/ 198 h 582"/>
                  <a:gd name="T56" fmla="*/ 213 w 788"/>
                  <a:gd name="T57" fmla="*/ 206 h 582"/>
                  <a:gd name="T58" fmla="*/ 248 w 788"/>
                  <a:gd name="T59" fmla="*/ 206 h 582"/>
                  <a:gd name="T60" fmla="*/ 284 w 788"/>
                  <a:gd name="T61" fmla="*/ 191 h 582"/>
                  <a:gd name="T62" fmla="*/ 369 w 788"/>
                  <a:gd name="T63" fmla="*/ 170 h 582"/>
                  <a:gd name="T64" fmla="*/ 426 w 788"/>
                  <a:gd name="T65" fmla="*/ 170 h 582"/>
                  <a:gd name="T66" fmla="*/ 525 w 788"/>
                  <a:gd name="T67" fmla="*/ 149 h 582"/>
                  <a:gd name="T68" fmla="*/ 560 w 788"/>
                  <a:gd name="T69" fmla="*/ 71 h 582"/>
                  <a:gd name="T70" fmla="*/ 596 w 788"/>
                  <a:gd name="T71" fmla="*/ 71 h 582"/>
                  <a:gd name="T72" fmla="*/ 709 w 788"/>
                  <a:gd name="T73" fmla="*/ 21 h 582"/>
                  <a:gd name="T74" fmla="*/ 752 w 788"/>
                  <a:gd name="T75" fmla="*/ 42 h 582"/>
                  <a:gd name="T76" fmla="*/ 773 w 788"/>
                  <a:gd name="T77" fmla="*/ 78 h 582"/>
                  <a:gd name="T78" fmla="*/ 780 w 788"/>
                  <a:gd name="T79" fmla="*/ 78 h 582"/>
                  <a:gd name="T80" fmla="*/ 788 w 788"/>
                  <a:gd name="T81" fmla="*/ 99 h 582"/>
                  <a:gd name="T82" fmla="*/ 766 w 788"/>
                  <a:gd name="T83" fmla="*/ 99 h 582"/>
                  <a:gd name="T84" fmla="*/ 724 w 788"/>
                  <a:gd name="T85" fmla="*/ 120 h 582"/>
                  <a:gd name="T86" fmla="*/ 688 w 788"/>
                  <a:gd name="T87" fmla="*/ 149 h 582"/>
                  <a:gd name="T88" fmla="*/ 660 w 788"/>
                  <a:gd name="T89" fmla="*/ 163 h 582"/>
                  <a:gd name="T90" fmla="*/ 617 w 788"/>
                  <a:gd name="T91" fmla="*/ 198 h 582"/>
                  <a:gd name="T92" fmla="*/ 596 w 788"/>
                  <a:gd name="T93" fmla="*/ 227 h 582"/>
                  <a:gd name="T94" fmla="*/ 575 w 788"/>
                  <a:gd name="T95" fmla="*/ 255 h 582"/>
                  <a:gd name="T96" fmla="*/ 568 w 788"/>
                  <a:gd name="T97" fmla="*/ 305 h 582"/>
                  <a:gd name="T98" fmla="*/ 539 w 788"/>
                  <a:gd name="T99" fmla="*/ 326 h 582"/>
                  <a:gd name="T100" fmla="*/ 532 w 788"/>
                  <a:gd name="T101" fmla="*/ 312 h 582"/>
                  <a:gd name="T102" fmla="*/ 489 w 788"/>
                  <a:gd name="T103" fmla="*/ 369 h 582"/>
                  <a:gd name="T104" fmla="*/ 504 w 788"/>
                  <a:gd name="T105" fmla="*/ 383 h 582"/>
                  <a:gd name="T106" fmla="*/ 497 w 788"/>
                  <a:gd name="T107" fmla="*/ 440 h 582"/>
                  <a:gd name="T108" fmla="*/ 497 w 788"/>
                  <a:gd name="T109" fmla="*/ 461 h 582"/>
                  <a:gd name="T110" fmla="*/ 482 w 788"/>
                  <a:gd name="T111" fmla="*/ 482 h 582"/>
                  <a:gd name="T112" fmla="*/ 475 w 788"/>
                  <a:gd name="T113" fmla="*/ 497 h 582"/>
                  <a:gd name="T114" fmla="*/ 475 w 788"/>
                  <a:gd name="T115" fmla="*/ 539 h 582"/>
                  <a:gd name="T116" fmla="*/ 433 w 788"/>
                  <a:gd name="T117" fmla="*/ 546 h 582"/>
                  <a:gd name="T118" fmla="*/ 411 w 788"/>
                  <a:gd name="T119" fmla="*/ 582 h 582"/>
                  <a:gd name="T120" fmla="*/ 397 w 788"/>
                  <a:gd name="T121" fmla="*/ 568 h 582"/>
                  <a:gd name="T122" fmla="*/ 369 w 788"/>
                  <a:gd name="T123" fmla="*/ 539 h 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88" h="582">
                    <a:moveTo>
                      <a:pt x="369" y="532"/>
                    </a:moveTo>
                    <a:lnTo>
                      <a:pt x="369" y="532"/>
                    </a:lnTo>
                    <a:lnTo>
                      <a:pt x="362" y="525"/>
                    </a:lnTo>
                    <a:lnTo>
                      <a:pt x="355" y="525"/>
                    </a:lnTo>
                    <a:lnTo>
                      <a:pt x="355" y="525"/>
                    </a:lnTo>
                    <a:lnTo>
                      <a:pt x="362" y="525"/>
                    </a:lnTo>
                    <a:lnTo>
                      <a:pt x="362" y="518"/>
                    </a:lnTo>
                    <a:lnTo>
                      <a:pt x="362" y="518"/>
                    </a:lnTo>
                    <a:lnTo>
                      <a:pt x="362" y="511"/>
                    </a:lnTo>
                    <a:lnTo>
                      <a:pt x="362" y="489"/>
                    </a:lnTo>
                    <a:lnTo>
                      <a:pt x="362" y="489"/>
                    </a:lnTo>
                    <a:lnTo>
                      <a:pt x="362" y="489"/>
                    </a:lnTo>
                    <a:lnTo>
                      <a:pt x="362" y="482"/>
                    </a:lnTo>
                    <a:lnTo>
                      <a:pt x="362" y="482"/>
                    </a:lnTo>
                    <a:lnTo>
                      <a:pt x="362" y="475"/>
                    </a:lnTo>
                    <a:lnTo>
                      <a:pt x="362" y="475"/>
                    </a:lnTo>
                    <a:lnTo>
                      <a:pt x="362" y="475"/>
                    </a:lnTo>
                    <a:lnTo>
                      <a:pt x="369" y="475"/>
                    </a:lnTo>
                    <a:lnTo>
                      <a:pt x="376" y="482"/>
                    </a:lnTo>
                    <a:lnTo>
                      <a:pt x="376" y="482"/>
                    </a:lnTo>
                    <a:lnTo>
                      <a:pt x="383" y="482"/>
                    </a:lnTo>
                    <a:lnTo>
                      <a:pt x="383" y="482"/>
                    </a:lnTo>
                    <a:lnTo>
                      <a:pt x="383" y="482"/>
                    </a:lnTo>
                    <a:lnTo>
                      <a:pt x="390" y="475"/>
                    </a:lnTo>
                    <a:lnTo>
                      <a:pt x="397" y="475"/>
                    </a:lnTo>
                    <a:lnTo>
                      <a:pt x="397" y="475"/>
                    </a:lnTo>
                    <a:lnTo>
                      <a:pt x="397" y="475"/>
                    </a:lnTo>
                    <a:lnTo>
                      <a:pt x="397" y="468"/>
                    </a:lnTo>
                    <a:lnTo>
                      <a:pt x="390" y="468"/>
                    </a:lnTo>
                    <a:lnTo>
                      <a:pt x="390" y="468"/>
                    </a:lnTo>
                    <a:lnTo>
                      <a:pt x="390" y="468"/>
                    </a:lnTo>
                    <a:lnTo>
                      <a:pt x="390" y="461"/>
                    </a:lnTo>
                    <a:lnTo>
                      <a:pt x="390" y="461"/>
                    </a:lnTo>
                    <a:lnTo>
                      <a:pt x="390" y="461"/>
                    </a:lnTo>
                    <a:lnTo>
                      <a:pt x="383" y="461"/>
                    </a:lnTo>
                    <a:lnTo>
                      <a:pt x="383" y="461"/>
                    </a:lnTo>
                    <a:lnTo>
                      <a:pt x="383" y="461"/>
                    </a:lnTo>
                    <a:lnTo>
                      <a:pt x="383" y="461"/>
                    </a:lnTo>
                    <a:lnTo>
                      <a:pt x="376" y="454"/>
                    </a:lnTo>
                    <a:lnTo>
                      <a:pt x="383" y="454"/>
                    </a:lnTo>
                    <a:lnTo>
                      <a:pt x="390" y="447"/>
                    </a:lnTo>
                    <a:lnTo>
                      <a:pt x="390" y="440"/>
                    </a:lnTo>
                    <a:lnTo>
                      <a:pt x="390" y="440"/>
                    </a:lnTo>
                    <a:lnTo>
                      <a:pt x="397" y="440"/>
                    </a:lnTo>
                    <a:lnTo>
                      <a:pt x="397" y="440"/>
                    </a:lnTo>
                    <a:lnTo>
                      <a:pt x="397" y="440"/>
                    </a:lnTo>
                    <a:lnTo>
                      <a:pt x="397" y="440"/>
                    </a:lnTo>
                    <a:lnTo>
                      <a:pt x="397" y="440"/>
                    </a:lnTo>
                    <a:lnTo>
                      <a:pt x="397" y="433"/>
                    </a:lnTo>
                    <a:lnTo>
                      <a:pt x="397" y="433"/>
                    </a:lnTo>
                    <a:lnTo>
                      <a:pt x="397" y="433"/>
                    </a:lnTo>
                    <a:lnTo>
                      <a:pt x="404" y="433"/>
                    </a:lnTo>
                    <a:lnTo>
                      <a:pt x="404" y="433"/>
                    </a:lnTo>
                    <a:lnTo>
                      <a:pt x="411" y="433"/>
                    </a:lnTo>
                    <a:lnTo>
                      <a:pt x="411" y="433"/>
                    </a:lnTo>
                    <a:lnTo>
                      <a:pt x="411" y="426"/>
                    </a:lnTo>
                    <a:lnTo>
                      <a:pt x="433" y="418"/>
                    </a:lnTo>
                    <a:lnTo>
                      <a:pt x="433" y="418"/>
                    </a:lnTo>
                    <a:lnTo>
                      <a:pt x="433" y="418"/>
                    </a:lnTo>
                    <a:lnTo>
                      <a:pt x="426" y="418"/>
                    </a:lnTo>
                    <a:lnTo>
                      <a:pt x="426" y="418"/>
                    </a:lnTo>
                    <a:lnTo>
                      <a:pt x="426" y="418"/>
                    </a:lnTo>
                    <a:lnTo>
                      <a:pt x="426" y="418"/>
                    </a:lnTo>
                    <a:lnTo>
                      <a:pt x="426" y="411"/>
                    </a:lnTo>
                    <a:lnTo>
                      <a:pt x="426" y="411"/>
                    </a:lnTo>
                    <a:lnTo>
                      <a:pt x="426" y="411"/>
                    </a:lnTo>
                    <a:lnTo>
                      <a:pt x="426" y="411"/>
                    </a:lnTo>
                    <a:lnTo>
                      <a:pt x="426" y="411"/>
                    </a:lnTo>
                    <a:lnTo>
                      <a:pt x="426" y="404"/>
                    </a:lnTo>
                    <a:lnTo>
                      <a:pt x="426" y="404"/>
                    </a:lnTo>
                    <a:lnTo>
                      <a:pt x="426" y="404"/>
                    </a:lnTo>
                    <a:lnTo>
                      <a:pt x="426" y="404"/>
                    </a:lnTo>
                    <a:lnTo>
                      <a:pt x="418" y="404"/>
                    </a:lnTo>
                    <a:lnTo>
                      <a:pt x="418" y="397"/>
                    </a:lnTo>
                    <a:lnTo>
                      <a:pt x="418" y="397"/>
                    </a:lnTo>
                    <a:lnTo>
                      <a:pt x="411" y="397"/>
                    </a:lnTo>
                    <a:lnTo>
                      <a:pt x="411" y="390"/>
                    </a:lnTo>
                    <a:lnTo>
                      <a:pt x="411" y="390"/>
                    </a:lnTo>
                    <a:lnTo>
                      <a:pt x="411" y="390"/>
                    </a:lnTo>
                    <a:lnTo>
                      <a:pt x="404" y="390"/>
                    </a:lnTo>
                    <a:lnTo>
                      <a:pt x="404" y="390"/>
                    </a:lnTo>
                    <a:lnTo>
                      <a:pt x="404" y="390"/>
                    </a:lnTo>
                    <a:lnTo>
                      <a:pt x="404" y="390"/>
                    </a:lnTo>
                    <a:lnTo>
                      <a:pt x="397" y="390"/>
                    </a:lnTo>
                    <a:lnTo>
                      <a:pt x="397" y="383"/>
                    </a:lnTo>
                    <a:lnTo>
                      <a:pt x="397" y="383"/>
                    </a:lnTo>
                    <a:lnTo>
                      <a:pt x="397" y="383"/>
                    </a:lnTo>
                    <a:lnTo>
                      <a:pt x="397" y="383"/>
                    </a:lnTo>
                    <a:lnTo>
                      <a:pt x="397" y="383"/>
                    </a:lnTo>
                    <a:lnTo>
                      <a:pt x="397" y="383"/>
                    </a:lnTo>
                    <a:lnTo>
                      <a:pt x="404" y="376"/>
                    </a:lnTo>
                    <a:lnTo>
                      <a:pt x="404" y="376"/>
                    </a:lnTo>
                    <a:lnTo>
                      <a:pt x="404" y="376"/>
                    </a:lnTo>
                    <a:lnTo>
                      <a:pt x="404" y="376"/>
                    </a:lnTo>
                    <a:lnTo>
                      <a:pt x="404" y="376"/>
                    </a:lnTo>
                    <a:lnTo>
                      <a:pt x="404" y="369"/>
                    </a:lnTo>
                    <a:lnTo>
                      <a:pt x="404" y="369"/>
                    </a:lnTo>
                    <a:lnTo>
                      <a:pt x="404" y="369"/>
                    </a:lnTo>
                    <a:lnTo>
                      <a:pt x="404" y="369"/>
                    </a:lnTo>
                    <a:lnTo>
                      <a:pt x="404" y="369"/>
                    </a:lnTo>
                    <a:lnTo>
                      <a:pt x="404" y="369"/>
                    </a:lnTo>
                    <a:lnTo>
                      <a:pt x="404" y="369"/>
                    </a:lnTo>
                    <a:lnTo>
                      <a:pt x="404" y="369"/>
                    </a:lnTo>
                    <a:lnTo>
                      <a:pt x="404" y="369"/>
                    </a:lnTo>
                    <a:lnTo>
                      <a:pt x="397" y="369"/>
                    </a:lnTo>
                    <a:lnTo>
                      <a:pt x="397" y="369"/>
                    </a:lnTo>
                    <a:lnTo>
                      <a:pt x="397" y="369"/>
                    </a:lnTo>
                    <a:lnTo>
                      <a:pt x="397" y="369"/>
                    </a:lnTo>
                    <a:lnTo>
                      <a:pt x="397" y="369"/>
                    </a:lnTo>
                    <a:lnTo>
                      <a:pt x="397" y="369"/>
                    </a:lnTo>
                    <a:lnTo>
                      <a:pt x="397" y="369"/>
                    </a:lnTo>
                    <a:lnTo>
                      <a:pt x="383" y="362"/>
                    </a:lnTo>
                    <a:lnTo>
                      <a:pt x="376" y="355"/>
                    </a:lnTo>
                    <a:lnTo>
                      <a:pt x="369" y="355"/>
                    </a:lnTo>
                    <a:lnTo>
                      <a:pt x="369" y="347"/>
                    </a:lnTo>
                    <a:lnTo>
                      <a:pt x="369" y="347"/>
                    </a:lnTo>
                    <a:lnTo>
                      <a:pt x="362" y="347"/>
                    </a:lnTo>
                    <a:lnTo>
                      <a:pt x="362" y="347"/>
                    </a:lnTo>
                    <a:lnTo>
                      <a:pt x="362" y="347"/>
                    </a:lnTo>
                    <a:lnTo>
                      <a:pt x="362" y="347"/>
                    </a:lnTo>
                    <a:lnTo>
                      <a:pt x="362" y="355"/>
                    </a:lnTo>
                    <a:lnTo>
                      <a:pt x="355" y="355"/>
                    </a:lnTo>
                    <a:lnTo>
                      <a:pt x="347" y="355"/>
                    </a:lnTo>
                    <a:lnTo>
                      <a:pt x="347" y="355"/>
                    </a:lnTo>
                    <a:lnTo>
                      <a:pt x="340" y="355"/>
                    </a:lnTo>
                    <a:lnTo>
                      <a:pt x="340" y="362"/>
                    </a:lnTo>
                    <a:lnTo>
                      <a:pt x="340" y="362"/>
                    </a:lnTo>
                    <a:lnTo>
                      <a:pt x="340" y="362"/>
                    </a:lnTo>
                    <a:lnTo>
                      <a:pt x="340" y="362"/>
                    </a:lnTo>
                    <a:lnTo>
                      <a:pt x="340" y="355"/>
                    </a:lnTo>
                    <a:lnTo>
                      <a:pt x="340" y="347"/>
                    </a:lnTo>
                    <a:lnTo>
                      <a:pt x="340" y="347"/>
                    </a:lnTo>
                    <a:lnTo>
                      <a:pt x="333" y="347"/>
                    </a:lnTo>
                    <a:lnTo>
                      <a:pt x="333" y="340"/>
                    </a:lnTo>
                    <a:lnTo>
                      <a:pt x="333" y="340"/>
                    </a:lnTo>
                    <a:lnTo>
                      <a:pt x="333" y="340"/>
                    </a:lnTo>
                    <a:lnTo>
                      <a:pt x="340" y="333"/>
                    </a:lnTo>
                    <a:lnTo>
                      <a:pt x="340" y="333"/>
                    </a:lnTo>
                    <a:lnTo>
                      <a:pt x="340" y="326"/>
                    </a:lnTo>
                    <a:lnTo>
                      <a:pt x="340" y="326"/>
                    </a:lnTo>
                    <a:lnTo>
                      <a:pt x="340" y="326"/>
                    </a:lnTo>
                    <a:lnTo>
                      <a:pt x="333" y="326"/>
                    </a:lnTo>
                    <a:lnTo>
                      <a:pt x="333" y="319"/>
                    </a:lnTo>
                    <a:lnTo>
                      <a:pt x="333" y="319"/>
                    </a:lnTo>
                    <a:lnTo>
                      <a:pt x="333" y="319"/>
                    </a:lnTo>
                    <a:lnTo>
                      <a:pt x="333" y="319"/>
                    </a:lnTo>
                    <a:lnTo>
                      <a:pt x="333" y="319"/>
                    </a:lnTo>
                    <a:lnTo>
                      <a:pt x="333" y="319"/>
                    </a:lnTo>
                    <a:lnTo>
                      <a:pt x="340" y="305"/>
                    </a:lnTo>
                    <a:lnTo>
                      <a:pt x="340" y="305"/>
                    </a:lnTo>
                    <a:lnTo>
                      <a:pt x="340" y="305"/>
                    </a:lnTo>
                    <a:lnTo>
                      <a:pt x="340" y="305"/>
                    </a:lnTo>
                    <a:lnTo>
                      <a:pt x="340" y="305"/>
                    </a:lnTo>
                    <a:lnTo>
                      <a:pt x="326" y="305"/>
                    </a:lnTo>
                    <a:lnTo>
                      <a:pt x="326" y="305"/>
                    </a:lnTo>
                    <a:lnTo>
                      <a:pt x="326" y="305"/>
                    </a:lnTo>
                    <a:lnTo>
                      <a:pt x="319" y="305"/>
                    </a:lnTo>
                    <a:lnTo>
                      <a:pt x="312" y="305"/>
                    </a:lnTo>
                    <a:lnTo>
                      <a:pt x="312" y="305"/>
                    </a:lnTo>
                    <a:lnTo>
                      <a:pt x="312" y="305"/>
                    </a:lnTo>
                    <a:lnTo>
                      <a:pt x="305" y="312"/>
                    </a:lnTo>
                    <a:lnTo>
                      <a:pt x="298" y="312"/>
                    </a:lnTo>
                    <a:lnTo>
                      <a:pt x="298" y="312"/>
                    </a:lnTo>
                    <a:lnTo>
                      <a:pt x="298" y="312"/>
                    </a:lnTo>
                    <a:lnTo>
                      <a:pt x="291" y="312"/>
                    </a:lnTo>
                    <a:lnTo>
                      <a:pt x="291" y="305"/>
                    </a:lnTo>
                    <a:lnTo>
                      <a:pt x="284" y="305"/>
                    </a:lnTo>
                    <a:lnTo>
                      <a:pt x="284" y="305"/>
                    </a:lnTo>
                    <a:lnTo>
                      <a:pt x="284" y="305"/>
                    </a:lnTo>
                    <a:lnTo>
                      <a:pt x="276" y="312"/>
                    </a:lnTo>
                    <a:lnTo>
                      <a:pt x="276" y="312"/>
                    </a:lnTo>
                    <a:lnTo>
                      <a:pt x="276" y="312"/>
                    </a:lnTo>
                    <a:lnTo>
                      <a:pt x="276" y="319"/>
                    </a:lnTo>
                    <a:lnTo>
                      <a:pt x="276" y="319"/>
                    </a:lnTo>
                    <a:lnTo>
                      <a:pt x="276" y="319"/>
                    </a:lnTo>
                    <a:lnTo>
                      <a:pt x="276" y="326"/>
                    </a:lnTo>
                    <a:lnTo>
                      <a:pt x="269" y="326"/>
                    </a:lnTo>
                    <a:lnTo>
                      <a:pt x="269" y="326"/>
                    </a:lnTo>
                    <a:lnTo>
                      <a:pt x="269" y="326"/>
                    </a:lnTo>
                    <a:lnTo>
                      <a:pt x="262" y="326"/>
                    </a:lnTo>
                    <a:lnTo>
                      <a:pt x="262" y="326"/>
                    </a:lnTo>
                    <a:lnTo>
                      <a:pt x="262" y="326"/>
                    </a:lnTo>
                    <a:lnTo>
                      <a:pt x="262" y="326"/>
                    </a:lnTo>
                    <a:lnTo>
                      <a:pt x="262" y="319"/>
                    </a:lnTo>
                    <a:lnTo>
                      <a:pt x="262" y="319"/>
                    </a:lnTo>
                    <a:lnTo>
                      <a:pt x="262" y="319"/>
                    </a:lnTo>
                    <a:lnTo>
                      <a:pt x="262" y="319"/>
                    </a:lnTo>
                    <a:lnTo>
                      <a:pt x="262" y="319"/>
                    </a:lnTo>
                    <a:lnTo>
                      <a:pt x="262" y="312"/>
                    </a:lnTo>
                    <a:lnTo>
                      <a:pt x="262" y="312"/>
                    </a:lnTo>
                    <a:lnTo>
                      <a:pt x="255" y="312"/>
                    </a:lnTo>
                    <a:lnTo>
                      <a:pt x="255" y="312"/>
                    </a:lnTo>
                    <a:lnTo>
                      <a:pt x="255" y="312"/>
                    </a:lnTo>
                    <a:lnTo>
                      <a:pt x="255" y="319"/>
                    </a:lnTo>
                    <a:lnTo>
                      <a:pt x="255" y="319"/>
                    </a:lnTo>
                    <a:lnTo>
                      <a:pt x="255" y="319"/>
                    </a:lnTo>
                    <a:lnTo>
                      <a:pt x="248" y="326"/>
                    </a:lnTo>
                    <a:lnTo>
                      <a:pt x="248" y="326"/>
                    </a:lnTo>
                    <a:lnTo>
                      <a:pt x="248" y="333"/>
                    </a:lnTo>
                    <a:lnTo>
                      <a:pt x="248" y="333"/>
                    </a:lnTo>
                    <a:lnTo>
                      <a:pt x="241" y="333"/>
                    </a:lnTo>
                    <a:lnTo>
                      <a:pt x="241" y="333"/>
                    </a:lnTo>
                    <a:lnTo>
                      <a:pt x="241" y="333"/>
                    </a:lnTo>
                    <a:lnTo>
                      <a:pt x="248" y="333"/>
                    </a:lnTo>
                    <a:lnTo>
                      <a:pt x="248" y="333"/>
                    </a:lnTo>
                    <a:lnTo>
                      <a:pt x="248" y="333"/>
                    </a:lnTo>
                    <a:lnTo>
                      <a:pt x="248" y="333"/>
                    </a:lnTo>
                    <a:lnTo>
                      <a:pt x="248" y="333"/>
                    </a:lnTo>
                    <a:lnTo>
                      <a:pt x="248" y="333"/>
                    </a:lnTo>
                    <a:lnTo>
                      <a:pt x="248" y="333"/>
                    </a:lnTo>
                    <a:lnTo>
                      <a:pt x="248" y="340"/>
                    </a:lnTo>
                    <a:lnTo>
                      <a:pt x="234" y="340"/>
                    </a:lnTo>
                    <a:lnTo>
                      <a:pt x="227" y="340"/>
                    </a:lnTo>
                    <a:lnTo>
                      <a:pt x="227" y="347"/>
                    </a:lnTo>
                    <a:lnTo>
                      <a:pt x="227" y="347"/>
                    </a:lnTo>
                    <a:lnTo>
                      <a:pt x="227" y="347"/>
                    </a:lnTo>
                    <a:lnTo>
                      <a:pt x="220" y="355"/>
                    </a:lnTo>
                    <a:lnTo>
                      <a:pt x="220" y="362"/>
                    </a:lnTo>
                    <a:lnTo>
                      <a:pt x="213" y="362"/>
                    </a:lnTo>
                    <a:lnTo>
                      <a:pt x="213" y="362"/>
                    </a:lnTo>
                    <a:lnTo>
                      <a:pt x="213" y="362"/>
                    </a:lnTo>
                    <a:lnTo>
                      <a:pt x="213" y="355"/>
                    </a:lnTo>
                    <a:lnTo>
                      <a:pt x="213" y="347"/>
                    </a:lnTo>
                    <a:lnTo>
                      <a:pt x="213" y="347"/>
                    </a:lnTo>
                    <a:lnTo>
                      <a:pt x="205" y="347"/>
                    </a:lnTo>
                    <a:lnTo>
                      <a:pt x="205" y="340"/>
                    </a:lnTo>
                    <a:lnTo>
                      <a:pt x="205" y="340"/>
                    </a:lnTo>
                    <a:lnTo>
                      <a:pt x="205" y="340"/>
                    </a:lnTo>
                    <a:lnTo>
                      <a:pt x="198" y="347"/>
                    </a:lnTo>
                    <a:lnTo>
                      <a:pt x="191" y="347"/>
                    </a:lnTo>
                    <a:lnTo>
                      <a:pt x="191" y="347"/>
                    </a:lnTo>
                    <a:lnTo>
                      <a:pt x="191" y="347"/>
                    </a:lnTo>
                    <a:lnTo>
                      <a:pt x="191" y="340"/>
                    </a:lnTo>
                    <a:lnTo>
                      <a:pt x="191" y="340"/>
                    </a:lnTo>
                    <a:lnTo>
                      <a:pt x="191" y="347"/>
                    </a:lnTo>
                    <a:lnTo>
                      <a:pt x="184" y="347"/>
                    </a:lnTo>
                    <a:lnTo>
                      <a:pt x="184" y="347"/>
                    </a:lnTo>
                    <a:lnTo>
                      <a:pt x="184" y="347"/>
                    </a:lnTo>
                    <a:lnTo>
                      <a:pt x="184" y="340"/>
                    </a:lnTo>
                    <a:lnTo>
                      <a:pt x="184" y="340"/>
                    </a:lnTo>
                    <a:lnTo>
                      <a:pt x="184" y="333"/>
                    </a:lnTo>
                    <a:lnTo>
                      <a:pt x="184" y="333"/>
                    </a:lnTo>
                    <a:lnTo>
                      <a:pt x="184" y="333"/>
                    </a:lnTo>
                    <a:lnTo>
                      <a:pt x="184" y="333"/>
                    </a:lnTo>
                    <a:lnTo>
                      <a:pt x="184" y="333"/>
                    </a:lnTo>
                    <a:lnTo>
                      <a:pt x="177" y="333"/>
                    </a:lnTo>
                    <a:lnTo>
                      <a:pt x="177" y="333"/>
                    </a:lnTo>
                    <a:lnTo>
                      <a:pt x="177" y="333"/>
                    </a:lnTo>
                    <a:lnTo>
                      <a:pt x="177" y="333"/>
                    </a:lnTo>
                    <a:lnTo>
                      <a:pt x="170" y="333"/>
                    </a:lnTo>
                    <a:lnTo>
                      <a:pt x="170" y="333"/>
                    </a:lnTo>
                    <a:lnTo>
                      <a:pt x="163" y="333"/>
                    </a:lnTo>
                    <a:lnTo>
                      <a:pt x="156" y="333"/>
                    </a:lnTo>
                    <a:lnTo>
                      <a:pt x="156" y="333"/>
                    </a:lnTo>
                    <a:lnTo>
                      <a:pt x="156" y="333"/>
                    </a:lnTo>
                    <a:lnTo>
                      <a:pt x="156" y="333"/>
                    </a:lnTo>
                    <a:lnTo>
                      <a:pt x="149" y="333"/>
                    </a:lnTo>
                    <a:lnTo>
                      <a:pt x="149" y="333"/>
                    </a:lnTo>
                    <a:lnTo>
                      <a:pt x="149" y="333"/>
                    </a:lnTo>
                    <a:lnTo>
                      <a:pt x="149" y="333"/>
                    </a:lnTo>
                    <a:lnTo>
                      <a:pt x="149" y="326"/>
                    </a:lnTo>
                    <a:lnTo>
                      <a:pt x="149" y="326"/>
                    </a:lnTo>
                    <a:lnTo>
                      <a:pt x="142" y="333"/>
                    </a:lnTo>
                    <a:lnTo>
                      <a:pt x="142" y="333"/>
                    </a:lnTo>
                    <a:lnTo>
                      <a:pt x="134" y="333"/>
                    </a:lnTo>
                    <a:lnTo>
                      <a:pt x="134" y="333"/>
                    </a:lnTo>
                    <a:lnTo>
                      <a:pt x="134" y="333"/>
                    </a:lnTo>
                    <a:lnTo>
                      <a:pt x="134" y="333"/>
                    </a:lnTo>
                    <a:lnTo>
                      <a:pt x="134" y="333"/>
                    </a:lnTo>
                    <a:lnTo>
                      <a:pt x="134" y="333"/>
                    </a:lnTo>
                    <a:lnTo>
                      <a:pt x="134" y="326"/>
                    </a:lnTo>
                    <a:lnTo>
                      <a:pt x="127" y="326"/>
                    </a:lnTo>
                    <a:lnTo>
                      <a:pt x="127" y="333"/>
                    </a:lnTo>
                    <a:lnTo>
                      <a:pt x="127" y="333"/>
                    </a:lnTo>
                    <a:lnTo>
                      <a:pt x="127" y="333"/>
                    </a:lnTo>
                    <a:lnTo>
                      <a:pt x="127" y="333"/>
                    </a:lnTo>
                    <a:lnTo>
                      <a:pt x="120" y="340"/>
                    </a:lnTo>
                    <a:lnTo>
                      <a:pt x="120" y="340"/>
                    </a:lnTo>
                    <a:lnTo>
                      <a:pt x="120" y="340"/>
                    </a:lnTo>
                    <a:lnTo>
                      <a:pt x="120" y="340"/>
                    </a:lnTo>
                    <a:lnTo>
                      <a:pt x="120" y="333"/>
                    </a:lnTo>
                    <a:lnTo>
                      <a:pt x="120" y="333"/>
                    </a:lnTo>
                    <a:lnTo>
                      <a:pt x="120" y="333"/>
                    </a:lnTo>
                    <a:lnTo>
                      <a:pt x="120" y="333"/>
                    </a:lnTo>
                    <a:lnTo>
                      <a:pt x="120" y="326"/>
                    </a:lnTo>
                    <a:lnTo>
                      <a:pt x="120" y="326"/>
                    </a:lnTo>
                    <a:lnTo>
                      <a:pt x="120" y="326"/>
                    </a:lnTo>
                    <a:lnTo>
                      <a:pt x="113" y="326"/>
                    </a:lnTo>
                    <a:lnTo>
                      <a:pt x="113" y="326"/>
                    </a:lnTo>
                    <a:lnTo>
                      <a:pt x="113" y="326"/>
                    </a:lnTo>
                    <a:lnTo>
                      <a:pt x="113" y="326"/>
                    </a:lnTo>
                    <a:lnTo>
                      <a:pt x="106" y="326"/>
                    </a:lnTo>
                    <a:lnTo>
                      <a:pt x="99" y="326"/>
                    </a:lnTo>
                    <a:lnTo>
                      <a:pt x="99" y="326"/>
                    </a:lnTo>
                    <a:lnTo>
                      <a:pt x="99" y="326"/>
                    </a:lnTo>
                    <a:lnTo>
                      <a:pt x="99" y="326"/>
                    </a:lnTo>
                    <a:lnTo>
                      <a:pt x="92" y="326"/>
                    </a:lnTo>
                    <a:lnTo>
                      <a:pt x="92" y="326"/>
                    </a:lnTo>
                    <a:lnTo>
                      <a:pt x="92" y="326"/>
                    </a:lnTo>
                    <a:lnTo>
                      <a:pt x="92" y="333"/>
                    </a:lnTo>
                    <a:lnTo>
                      <a:pt x="85" y="333"/>
                    </a:lnTo>
                    <a:lnTo>
                      <a:pt x="78" y="333"/>
                    </a:lnTo>
                    <a:lnTo>
                      <a:pt x="71" y="333"/>
                    </a:lnTo>
                    <a:lnTo>
                      <a:pt x="64" y="333"/>
                    </a:lnTo>
                    <a:lnTo>
                      <a:pt x="64" y="333"/>
                    </a:lnTo>
                    <a:lnTo>
                      <a:pt x="64" y="340"/>
                    </a:lnTo>
                    <a:lnTo>
                      <a:pt x="56" y="340"/>
                    </a:lnTo>
                    <a:lnTo>
                      <a:pt x="56" y="347"/>
                    </a:lnTo>
                    <a:lnTo>
                      <a:pt x="56" y="347"/>
                    </a:lnTo>
                    <a:lnTo>
                      <a:pt x="56" y="347"/>
                    </a:lnTo>
                    <a:lnTo>
                      <a:pt x="56" y="347"/>
                    </a:lnTo>
                    <a:lnTo>
                      <a:pt x="49" y="355"/>
                    </a:lnTo>
                    <a:lnTo>
                      <a:pt x="49" y="355"/>
                    </a:lnTo>
                    <a:lnTo>
                      <a:pt x="49" y="355"/>
                    </a:lnTo>
                    <a:lnTo>
                      <a:pt x="49" y="362"/>
                    </a:lnTo>
                    <a:lnTo>
                      <a:pt x="49" y="362"/>
                    </a:lnTo>
                    <a:lnTo>
                      <a:pt x="49" y="362"/>
                    </a:lnTo>
                    <a:lnTo>
                      <a:pt x="49" y="362"/>
                    </a:lnTo>
                    <a:lnTo>
                      <a:pt x="49" y="369"/>
                    </a:lnTo>
                    <a:lnTo>
                      <a:pt x="49" y="369"/>
                    </a:lnTo>
                    <a:lnTo>
                      <a:pt x="49" y="369"/>
                    </a:lnTo>
                    <a:lnTo>
                      <a:pt x="49" y="369"/>
                    </a:lnTo>
                    <a:lnTo>
                      <a:pt x="49" y="376"/>
                    </a:lnTo>
                    <a:lnTo>
                      <a:pt x="49" y="376"/>
                    </a:lnTo>
                    <a:lnTo>
                      <a:pt x="49" y="376"/>
                    </a:lnTo>
                    <a:lnTo>
                      <a:pt x="49" y="383"/>
                    </a:lnTo>
                    <a:lnTo>
                      <a:pt x="49" y="383"/>
                    </a:lnTo>
                    <a:lnTo>
                      <a:pt x="56" y="383"/>
                    </a:lnTo>
                    <a:lnTo>
                      <a:pt x="56" y="383"/>
                    </a:lnTo>
                    <a:lnTo>
                      <a:pt x="56" y="383"/>
                    </a:lnTo>
                    <a:lnTo>
                      <a:pt x="56" y="390"/>
                    </a:lnTo>
                    <a:lnTo>
                      <a:pt x="56" y="390"/>
                    </a:lnTo>
                    <a:lnTo>
                      <a:pt x="56" y="390"/>
                    </a:lnTo>
                    <a:lnTo>
                      <a:pt x="56" y="390"/>
                    </a:lnTo>
                    <a:lnTo>
                      <a:pt x="56" y="390"/>
                    </a:lnTo>
                    <a:lnTo>
                      <a:pt x="56" y="390"/>
                    </a:lnTo>
                    <a:lnTo>
                      <a:pt x="49" y="390"/>
                    </a:lnTo>
                    <a:lnTo>
                      <a:pt x="49" y="390"/>
                    </a:lnTo>
                    <a:lnTo>
                      <a:pt x="42" y="397"/>
                    </a:lnTo>
                    <a:lnTo>
                      <a:pt x="42" y="397"/>
                    </a:lnTo>
                    <a:lnTo>
                      <a:pt x="42" y="397"/>
                    </a:lnTo>
                    <a:lnTo>
                      <a:pt x="42" y="404"/>
                    </a:lnTo>
                    <a:lnTo>
                      <a:pt x="42" y="404"/>
                    </a:lnTo>
                    <a:lnTo>
                      <a:pt x="42" y="404"/>
                    </a:lnTo>
                    <a:lnTo>
                      <a:pt x="42" y="404"/>
                    </a:lnTo>
                    <a:lnTo>
                      <a:pt x="42" y="404"/>
                    </a:lnTo>
                    <a:lnTo>
                      <a:pt x="35" y="411"/>
                    </a:lnTo>
                    <a:lnTo>
                      <a:pt x="35" y="411"/>
                    </a:lnTo>
                    <a:lnTo>
                      <a:pt x="35" y="404"/>
                    </a:lnTo>
                    <a:lnTo>
                      <a:pt x="35" y="390"/>
                    </a:lnTo>
                    <a:lnTo>
                      <a:pt x="35" y="383"/>
                    </a:lnTo>
                    <a:lnTo>
                      <a:pt x="35" y="376"/>
                    </a:lnTo>
                    <a:lnTo>
                      <a:pt x="28" y="369"/>
                    </a:lnTo>
                    <a:lnTo>
                      <a:pt x="28" y="355"/>
                    </a:lnTo>
                    <a:lnTo>
                      <a:pt x="28" y="355"/>
                    </a:lnTo>
                    <a:lnTo>
                      <a:pt x="28" y="340"/>
                    </a:lnTo>
                    <a:lnTo>
                      <a:pt x="28" y="340"/>
                    </a:lnTo>
                    <a:lnTo>
                      <a:pt x="28" y="340"/>
                    </a:lnTo>
                    <a:lnTo>
                      <a:pt x="28" y="340"/>
                    </a:lnTo>
                    <a:lnTo>
                      <a:pt x="21" y="340"/>
                    </a:lnTo>
                    <a:lnTo>
                      <a:pt x="28" y="333"/>
                    </a:lnTo>
                    <a:lnTo>
                      <a:pt x="28" y="333"/>
                    </a:lnTo>
                    <a:lnTo>
                      <a:pt x="28" y="333"/>
                    </a:lnTo>
                    <a:lnTo>
                      <a:pt x="28" y="333"/>
                    </a:lnTo>
                    <a:lnTo>
                      <a:pt x="28" y="333"/>
                    </a:lnTo>
                    <a:lnTo>
                      <a:pt x="28" y="333"/>
                    </a:lnTo>
                    <a:lnTo>
                      <a:pt x="28" y="333"/>
                    </a:lnTo>
                    <a:lnTo>
                      <a:pt x="28" y="333"/>
                    </a:lnTo>
                    <a:lnTo>
                      <a:pt x="28" y="333"/>
                    </a:lnTo>
                    <a:lnTo>
                      <a:pt x="28" y="333"/>
                    </a:lnTo>
                    <a:lnTo>
                      <a:pt x="28" y="333"/>
                    </a:lnTo>
                    <a:lnTo>
                      <a:pt x="21" y="333"/>
                    </a:lnTo>
                    <a:lnTo>
                      <a:pt x="21" y="333"/>
                    </a:lnTo>
                    <a:lnTo>
                      <a:pt x="21" y="333"/>
                    </a:lnTo>
                    <a:lnTo>
                      <a:pt x="21" y="333"/>
                    </a:lnTo>
                    <a:lnTo>
                      <a:pt x="21" y="326"/>
                    </a:lnTo>
                    <a:lnTo>
                      <a:pt x="21" y="326"/>
                    </a:lnTo>
                    <a:lnTo>
                      <a:pt x="14" y="326"/>
                    </a:lnTo>
                    <a:lnTo>
                      <a:pt x="14" y="319"/>
                    </a:lnTo>
                    <a:lnTo>
                      <a:pt x="14" y="319"/>
                    </a:lnTo>
                    <a:lnTo>
                      <a:pt x="14" y="319"/>
                    </a:lnTo>
                    <a:lnTo>
                      <a:pt x="14" y="319"/>
                    </a:lnTo>
                    <a:lnTo>
                      <a:pt x="14" y="312"/>
                    </a:lnTo>
                    <a:lnTo>
                      <a:pt x="14" y="312"/>
                    </a:lnTo>
                    <a:lnTo>
                      <a:pt x="14" y="312"/>
                    </a:lnTo>
                    <a:lnTo>
                      <a:pt x="7" y="305"/>
                    </a:lnTo>
                    <a:lnTo>
                      <a:pt x="7" y="305"/>
                    </a:lnTo>
                    <a:lnTo>
                      <a:pt x="7" y="312"/>
                    </a:lnTo>
                    <a:lnTo>
                      <a:pt x="7" y="312"/>
                    </a:lnTo>
                    <a:lnTo>
                      <a:pt x="0" y="305"/>
                    </a:lnTo>
                    <a:lnTo>
                      <a:pt x="0" y="305"/>
                    </a:lnTo>
                    <a:lnTo>
                      <a:pt x="0" y="305"/>
                    </a:lnTo>
                    <a:lnTo>
                      <a:pt x="0" y="305"/>
                    </a:lnTo>
                    <a:lnTo>
                      <a:pt x="7" y="305"/>
                    </a:lnTo>
                    <a:lnTo>
                      <a:pt x="7" y="305"/>
                    </a:lnTo>
                    <a:lnTo>
                      <a:pt x="14" y="298"/>
                    </a:lnTo>
                    <a:lnTo>
                      <a:pt x="14" y="298"/>
                    </a:lnTo>
                    <a:lnTo>
                      <a:pt x="14" y="298"/>
                    </a:lnTo>
                    <a:lnTo>
                      <a:pt x="14" y="298"/>
                    </a:lnTo>
                    <a:lnTo>
                      <a:pt x="14" y="298"/>
                    </a:lnTo>
                    <a:lnTo>
                      <a:pt x="14" y="298"/>
                    </a:lnTo>
                    <a:lnTo>
                      <a:pt x="14" y="291"/>
                    </a:lnTo>
                    <a:lnTo>
                      <a:pt x="14" y="291"/>
                    </a:lnTo>
                    <a:lnTo>
                      <a:pt x="14" y="291"/>
                    </a:lnTo>
                    <a:lnTo>
                      <a:pt x="14" y="291"/>
                    </a:lnTo>
                    <a:lnTo>
                      <a:pt x="14" y="284"/>
                    </a:lnTo>
                    <a:lnTo>
                      <a:pt x="14" y="284"/>
                    </a:lnTo>
                    <a:lnTo>
                      <a:pt x="21" y="284"/>
                    </a:lnTo>
                    <a:lnTo>
                      <a:pt x="21" y="284"/>
                    </a:lnTo>
                    <a:lnTo>
                      <a:pt x="21" y="284"/>
                    </a:lnTo>
                    <a:lnTo>
                      <a:pt x="21" y="284"/>
                    </a:lnTo>
                    <a:lnTo>
                      <a:pt x="21" y="284"/>
                    </a:lnTo>
                    <a:lnTo>
                      <a:pt x="21" y="277"/>
                    </a:lnTo>
                    <a:lnTo>
                      <a:pt x="21" y="277"/>
                    </a:lnTo>
                    <a:lnTo>
                      <a:pt x="21" y="277"/>
                    </a:lnTo>
                    <a:lnTo>
                      <a:pt x="21" y="277"/>
                    </a:lnTo>
                    <a:lnTo>
                      <a:pt x="21" y="277"/>
                    </a:lnTo>
                    <a:lnTo>
                      <a:pt x="21" y="277"/>
                    </a:lnTo>
                    <a:lnTo>
                      <a:pt x="21" y="277"/>
                    </a:lnTo>
                    <a:lnTo>
                      <a:pt x="21" y="277"/>
                    </a:lnTo>
                    <a:lnTo>
                      <a:pt x="21" y="262"/>
                    </a:lnTo>
                    <a:lnTo>
                      <a:pt x="21" y="262"/>
                    </a:lnTo>
                    <a:lnTo>
                      <a:pt x="28" y="255"/>
                    </a:lnTo>
                    <a:lnTo>
                      <a:pt x="28" y="255"/>
                    </a:lnTo>
                    <a:lnTo>
                      <a:pt x="28" y="255"/>
                    </a:lnTo>
                    <a:lnTo>
                      <a:pt x="28" y="255"/>
                    </a:lnTo>
                    <a:lnTo>
                      <a:pt x="28" y="255"/>
                    </a:lnTo>
                    <a:lnTo>
                      <a:pt x="21" y="241"/>
                    </a:lnTo>
                    <a:lnTo>
                      <a:pt x="21" y="234"/>
                    </a:lnTo>
                    <a:lnTo>
                      <a:pt x="21" y="227"/>
                    </a:lnTo>
                    <a:lnTo>
                      <a:pt x="21" y="227"/>
                    </a:lnTo>
                    <a:lnTo>
                      <a:pt x="21" y="227"/>
                    </a:lnTo>
                    <a:lnTo>
                      <a:pt x="21" y="227"/>
                    </a:lnTo>
                    <a:lnTo>
                      <a:pt x="21" y="227"/>
                    </a:lnTo>
                    <a:lnTo>
                      <a:pt x="28" y="227"/>
                    </a:lnTo>
                    <a:lnTo>
                      <a:pt x="35" y="227"/>
                    </a:lnTo>
                    <a:lnTo>
                      <a:pt x="49" y="220"/>
                    </a:lnTo>
                    <a:lnTo>
                      <a:pt x="56" y="220"/>
                    </a:lnTo>
                    <a:lnTo>
                      <a:pt x="56" y="220"/>
                    </a:lnTo>
                    <a:lnTo>
                      <a:pt x="56" y="206"/>
                    </a:lnTo>
                    <a:lnTo>
                      <a:pt x="64" y="206"/>
                    </a:lnTo>
                    <a:lnTo>
                      <a:pt x="64" y="206"/>
                    </a:lnTo>
                    <a:lnTo>
                      <a:pt x="71" y="206"/>
                    </a:lnTo>
                    <a:lnTo>
                      <a:pt x="71" y="206"/>
                    </a:lnTo>
                    <a:lnTo>
                      <a:pt x="71" y="198"/>
                    </a:lnTo>
                    <a:lnTo>
                      <a:pt x="78" y="198"/>
                    </a:lnTo>
                    <a:lnTo>
                      <a:pt x="78" y="198"/>
                    </a:lnTo>
                    <a:lnTo>
                      <a:pt x="78" y="198"/>
                    </a:lnTo>
                    <a:lnTo>
                      <a:pt x="85" y="198"/>
                    </a:lnTo>
                    <a:lnTo>
                      <a:pt x="99" y="206"/>
                    </a:lnTo>
                    <a:lnTo>
                      <a:pt x="113" y="213"/>
                    </a:lnTo>
                    <a:lnTo>
                      <a:pt x="127" y="213"/>
                    </a:lnTo>
                    <a:lnTo>
                      <a:pt x="170" y="213"/>
                    </a:lnTo>
                    <a:lnTo>
                      <a:pt x="177" y="206"/>
                    </a:lnTo>
                    <a:lnTo>
                      <a:pt x="177" y="206"/>
                    </a:lnTo>
                    <a:lnTo>
                      <a:pt x="184" y="206"/>
                    </a:lnTo>
                    <a:lnTo>
                      <a:pt x="191" y="206"/>
                    </a:lnTo>
                    <a:lnTo>
                      <a:pt x="198" y="206"/>
                    </a:lnTo>
                    <a:lnTo>
                      <a:pt x="198" y="206"/>
                    </a:lnTo>
                    <a:lnTo>
                      <a:pt x="198" y="213"/>
                    </a:lnTo>
                    <a:lnTo>
                      <a:pt x="205" y="206"/>
                    </a:lnTo>
                    <a:lnTo>
                      <a:pt x="205" y="206"/>
                    </a:lnTo>
                    <a:lnTo>
                      <a:pt x="205" y="206"/>
                    </a:lnTo>
                    <a:lnTo>
                      <a:pt x="213" y="206"/>
                    </a:lnTo>
                    <a:lnTo>
                      <a:pt x="213" y="206"/>
                    </a:lnTo>
                    <a:lnTo>
                      <a:pt x="213" y="198"/>
                    </a:lnTo>
                    <a:lnTo>
                      <a:pt x="213" y="198"/>
                    </a:lnTo>
                    <a:lnTo>
                      <a:pt x="213" y="198"/>
                    </a:lnTo>
                    <a:lnTo>
                      <a:pt x="220" y="191"/>
                    </a:lnTo>
                    <a:lnTo>
                      <a:pt x="220" y="191"/>
                    </a:lnTo>
                    <a:lnTo>
                      <a:pt x="227" y="191"/>
                    </a:lnTo>
                    <a:lnTo>
                      <a:pt x="227" y="191"/>
                    </a:lnTo>
                    <a:lnTo>
                      <a:pt x="227" y="198"/>
                    </a:lnTo>
                    <a:lnTo>
                      <a:pt x="234" y="206"/>
                    </a:lnTo>
                    <a:lnTo>
                      <a:pt x="234" y="206"/>
                    </a:lnTo>
                    <a:lnTo>
                      <a:pt x="234" y="206"/>
                    </a:lnTo>
                    <a:lnTo>
                      <a:pt x="241" y="206"/>
                    </a:lnTo>
                    <a:lnTo>
                      <a:pt x="241" y="198"/>
                    </a:lnTo>
                    <a:lnTo>
                      <a:pt x="248" y="206"/>
                    </a:lnTo>
                    <a:lnTo>
                      <a:pt x="248" y="206"/>
                    </a:lnTo>
                    <a:lnTo>
                      <a:pt x="255" y="206"/>
                    </a:lnTo>
                    <a:lnTo>
                      <a:pt x="262" y="198"/>
                    </a:lnTo>
                    <a:lnTo>
                      <a:pt x="269" y="191"/>
                    </a:lnTo>
                    <a:lnTo>
                      <a:pt x="269" y="191"/>
                    </a:lnTo>
                    <a:lnTo>
                      <a:pt x="276" y="191"/>
                    </a:lnTo>
                    <a:lnTo>
                      <a:pt x="276" y="198"/>
                    </a:lnTo>
                    <a:lnTo>
                      <a:pt x="276" y="198"/>
                    </a:lnTo>
                    <a:lnTo>
                      <a:pt x="276" y="198"/>
                    </a:lnTo>
                    <a:lnTo>
                      <a:pt x="276" y="198"/>
                    </a:lnTo>
                    <a:lnTo>
                      <a:pt x="276" y="198"/>
                    </a:lnTo>
                    <a:lnTo>
                      <a:pt x="276" y="198"/>
                    </a:lnTo>
                    <a:lnTo>
                      <a:pt x="276" y="198"/>
                    </a:lnTo>
                    <a:lnTo>
                      <a:pt x="276" y="191"/>
                    </a:lnTo>
                    <a:lnTo>
                      <a:pt x="276" y="191"/>
                    </a:lnTo>
                    <a:lnTo>
                      <a:pt x="276" y="191"/>
                    </a:lnTo>
                    <a:lnTo>
                      <a:pt x="284" y="191"/>
                    </a:lnTo>
                    <a:lnTo>
                      <a:pt x="284" y="191"/>
                    </a:lnTo>
                    <a:lnTo>
                      <a:pt x="291" y="191"/>
                    </a:lnTo>
                    <a:lnTo>
                      <a:pt x="291" y="191"/>
                    </a:lnTo>
                    <a:lnTo>
                      <a:pt x="298" y="191"/>
                    </a:lnTo>
                    <a:lnTo>
                      <a:pt x="305" y="184"/>
                    </a:lnTo>
                    <a:lnTo>
                      <a:pt x="305" y="184"/>
                    </a:lnTo>
                    <a:lnTo>
                      <a:pt x="305" y="184"/>
                    </a:lnTo>
                    <a:lnTo>
                      <a:pt x="319" y="184"/>
                    </a:lnTo>
                    <a:lnTo>
                      <a:pt x="326" y="184"/>
                    </a:lnTo>
                    <a:lnTo>
                      <a:pt x="326" y="177"/>
                    </a:lnTo>
                    <a:lnTo>
                      <a:pt x="333" y="177"/>
                    </a:lnTo>
                    <a:lnTo>
                      <a:pt x="333" y="177"/>
                    </a:lnTo>
                    <a:lnTo>
                      <a:pt x="340" y="177"/>
                    </a:lnTo>
                    <a:lnTo>
                      <a:pt x="355" y="170"/>
                    </a:lnTo>
                    <a:lnTo>
                      <a:pt x="362" y="170"/>
                    </a:lnTo>
                    <a:lnTo>
                      <a:pt x="369" y="170"/>
                    </a:lnTo>
                    <a:lnTo>
                      <a:pt x="369" y="163"/>
                    </a:lnTo>
                    <a:lnTo>
                      <a:pt x="369" y="163"/>
                    </a:lnTo>
                    <a:lnTo>
                      <a:pt x="376" y="163"/>
                    </a:lnTo>
                    <a:lnTo>
                      <a:pt x="376" y="156"/>
                    </a:lnTo>
                    <a:lnTo>
                      <a:pt x="376" y="156"/>
                    </a:lnTo>
                    <a:lnTo>
                      <a:pt x="383" y="156"/>
                    </a:lnTo>
                    <a:lnTo>
                      <a:pt x="397" y="156"/>
                    </a:lnTo>
                    <a:lnTo>
                      <a:pt x="404" y="163"/>
                    </a:lnTo>
                    <a:lnTo>
                      <a:pt x="411" y="163"/>
                    </a:lnTo>
                    <a:lnTo>
                      <a:pt x="411" y="163"/>
                    </a:lnTo>
                    <a:lnTo>
                      <a:pt x="411" y="163"/>
                    </a:lnTo>
                    <a:lnTo>
                      <a:pt x="411" y="170"/>
                    </a:lnTo>
                    <a:lnTo>
                      <a:pt x="411" y="170"/>
                    </a:lnTo>
                    <a:lnTo>
                      <a:pt x="411" y="170"/>
                    </a:lnTo>
                    <a:lnTo>
                      <a:pt x="418" y="170"/>
                    </a:lnTo>
                    <a:lnTo>
                      <a:pt x="426" y="170"/>
                    </a:lnTo>
                    <a:lnTo>
                      <a:pt x="468" y="163"/>
                    </a:lnTo>
                    <a:lnTo>
                      <a:pt x="468" y="163"/>
                    </a:lnTo>
                    <a:lnTo>
                      <a:pt x="475" y="163"/>
                    </a:lnTo>
                    <a:lnTo>
                      <a:pt x="475" y="170"/>
                    </a:lnTo>
                    <a:lnTo>
                      <a:pt x="475" y="170"/>
                    </a:lnTo>
                    <a:lnTo>
                      <a:pt x="482" y="170"/>
                    </a:lnTo>
                    <a:lnTo>
                      <a:pt x="489" y="163"/>
                    </a:lnTo>
                    <a:lnTo>
                      <a:pt x="489" y="163"/>
                    </a:lnTo>
                    <a:lnTo>
                      <a:pt x="497" y="163"/>
                    </a:lnTo>
                    <a:lnTo>
                      <a:pt x="497" y="163"/>
                    </a:lnTo>
                    <a:lnTo>
                      <a:pt x="504" y="156"/>
                    </a:lnTo>
                    <a:lnTo>
                      <a:pt x="511" y="156"/>
                    </a:lnTo>
                    <a:lnTo>
                      <a:pt x="511" y="156"/>
                    </a:lnTo>
                    <a:lnTo>
                      <a:pt x="511" y="149"/>
                    </a:lnTo>
                    <a:lnTo>
                      <a:pt x="518" y="149"/>
                    </a:lnTo>
                    <a:lnTo>
                      <a:pt x="525" y="149"/>
                    </a:lnTo>
                    <a:lnTo>
                      <a:pt x="525" y="142"/>
                    </a:lnTo>
                    <a:lnTo>
                      <a:pt x="525" y="142"/>
                    </a:lnTo>
                    <a:lnTo>
                      <a:pt x="518" y="142"/>
                    </a:lnTo>
                    <a:lnTo>
                      <a:pt x="518" y="135"/>
                    </a:lnTo>
                    <a:lnTo>
                      <a:pt x="518" y="135"/>
                    </a:lnTo>
                    <a:lnTo>
                      <a:pt x="525" y="127"/>
                    </a:lnTo>
                    <a:lnTo>
                      <a:pt x="539" y="113"/>
                    </a:lnTo>
                    <a:lnTo>
                      <a:pt x="539" y="106"/>
                    </a:lnTo>
                    <a:lnTo>
                      <a:pt x="546" y="99"/>
                    </a:lnTo>
                    <a:lnTo>
                      <a:pt x="568" y="78"/>
                    </a:lnTo>
                    <a:lnTo>
                      <a:pt x="568" y="78"/>
                    </a:lnTo>
                    <a:lnTo>
                      <a:pt x="568" y="78"/>
                    </a:lnTo>
                    <a:lnTo>
                      <a:pt x="568" y="78"/>
                    </a:lnTo>
                    <a:lnTo>
                      <a:pt x="560" y="71"/>
                    </a:lnTo>
                    <a:lnTo>
                      <a:pt x="560" y="71"/>
                    </a:lnTo>
                    <a:lnTo>
                      <a:pt x="560" y="71"/>
                    </a:lnTo>
                    <a:lnTo>
                      <a:pt x="560" y="71"/>
                    </a:lnTo>
                    <a:lnTo>
                      <a:pt x="560" y="64"/>
                    </a:lnTo>
                    <a:lnTo>
                      <a:pt x="560" y="64"/>
                    </a:lnTo>
                    <a:lnTo>
                      <a:pt x="560" y="64"/>
                    </a:lnTo>
                    <a:lnTo>
                      <a:pt x="560" y="64"/>
                    </a:lnTo>
                    <a:lnTo>
                      <a:pt x="568" y="64"/>
                    </a:lnTo>
                    <a:lnTo>
                      <a:pt x="568" y="64"/>
                    </a:lnTo>
                    <a:lnTo>
                      <a:pt x="568" y="64"/>
                    </a:lnTo>
                    <a:lnTo>
                      <a:pt x="568" y="71"/>
                    </a:lnTo>
                    <a:lnTo>
                      <a:pt x="575" y="71"/>
                    </a:lnTo>
                    <a:lnTo>
                      <a:pt x="575" y="71"/>
                    </a:lnTo>
                    <a:lnTo>
                      <a:pt x="575" y="71"/>
                    </a:lnTo>
                    <a:lnTo>
                      <a:pt x="589" y="64"/>
                    </a:lnTo>
                    <a:lnTo>
                      <a:pt x="589" y="71"/>
                    </a:lnTo>
                    <a:lnTo>
                      <a:pt x="596" y="71"/>
                    </a:lnTo>
                    <a:lnTo>
                      <a:pt x="596" y="71"/>
                    </a:lnTo>
                    <a:lnTo>
                      <a:pt x="603" y="64"/>
                    </a:lnTo>
                    <a:lnTo>
                      <a:pt x="610" y="64"/>
                    </a:lnTo>
                    <a:lnTo>
                      <a:pt x="617" y="56"/>
                    </a:lnTo>
                    <a:lnTo>
                      <a:pt x="624" y="56"/>
                    </a:lnTo>
                    <a:lnTo>
                      <a:pt x="631" y="49"/>
                    </a:lnTo>
                    <a:lnTo>
                      <a:pt x="646" y="42"/>
                    </a:lnTo>
                    <a:lnTo>
                      <a:pt x="681" y="21"/>
                    </a:lnTo>
                    <a:lnTo>
                      <a:pt x="688" y="21"/>
                    </a:lnTo>
                    <a:lnTo>
                      <a:pt x="688" y="21"/>
                    </a:lnTo>
                    <a:lnTo>
                      <a:pt x="688" y="21"/>
                    </a:lnTo>
                    <a:lnTo>
                      <a:pt x="695" y="21"/>
                    </a:lnTo>
                    <a:lnTo>
                      <a:pt x="695" y="21"/>
                    </a:lnTo>
                    <a:lnTo>
                      <a:pt x="695" y="21"/>
                    </a:lnTo>
                    <a:lnTo>
                      <a:pt x="702" y="21"/>
                    </a:lnTo>
                    <a:lnTo>
                      <a:pt x="702" y="21"/>
                    </a:lnTo>
                    <a:lnTo>
                      <a:pt x="709" y="21"/>
                    </a:lnTo>
                    <a:lnTo>
                      <a:pt x="717" y="14"/>
                    </a:lnTo>
                    <a:lnTo>
                      <a:pt x="724" y="14"/>
                    </a:lnTo>
                    <a:lnTo>
                      <a:pt x="724" y="14"/>
                    </a:lnTo>
                    <a:lnTo>
                      <a:pt x="731" y="7"/>
                    </a:lnTo>
                    <a:lnTo>
                      <a:pt x="738" y="0"/>
                    </a:lnTo>
                    <a:lnTo>
                      <a:pt x="766" y="0"/>
                    </a:lnTo>
                    <a:lnTo>
                      <a:pt x="766" y="0"/>
                    </a:lnTo>
                    <a:lnTo>
                      <a:pt x="766" y="0"/>
                    </a:lnTo>
                    <a:lnTo>
                      <a:pt x="766" y="7"/>
                    </a:lnTo>
                    <a:lnTo>
                      <a:pt x="766" y="7"/>
                    </a:lnTo>
                    <a:lnTo>
                      <a:pt x="766" y="14"/>
                    </a:lnTo>
                    <a:lnTo>
                      <a:pt x="766" y="21"/>
                    </a:lnTo>
                    <a:lnTo>
                      <a:pt x="752" y="35"/>
                    </a:lnTo>
                    <a:lnTo>
                      <a:pt x="752" y="35"/>
                    </a:lnTo>
                    <a:lnTo>
                      <a:pt x="752" y="42"/>
                    </a:lnTo>
                    <a:lnTo>
                      <a:pt x="752" y="42"/>
                    </a:lnTo>
                    <a:lnTo>
                      <a:pt x="752" y="42"/>
                    </a:lnTo>
                    <a:lnTo>
                      <a:pt x="759" y="49"/>
                    </a:lnTo>
                    <a:lnTo>
                      <a:pt x="759" y="56"/>
                    </a:lnTo>
                    <a:lnTo>
                      <a:pt x="759" y="56"/>
                    </a:lnTo>
                    <a:lnTo>
                      <a:pt x="759" y="56"/>
                    </a:lnTo>
                    <a:lnTo>
                      <a:pt x="759" y="56"/>
                    </a:lnTo>
                    <a:lnTo>
                      <a:pt x="759" y="56"/>
                    </a:lnTo>
                    <a:lnTo>
                      <a:pt x="759" y="56"/>
                    </a:lnTo>
                    <a:lnTo>
                      <a:pt x="766" y="56"/>
                    </a:lnTo>
                    <a:lnTo>
                      <a:pt x="766" y="64"/>
                    </a:lnTo>
                    <a:lnTo>
                      <a:pt x="766" y="64"/>
                    </a:lnTo>
                    <a:lnTo>
                      <a:pt x="766" y="64"/>
                    </a:lnTo>
                    <a:lnTo>
                      <a:pt x="773" y="71"/>
                    </a:lnTo>
                    <a:lnTo>
                      <a:pt x="773" y="71"/>
                    </a:lnTo>
                    <a:lnTo>
                      <a:pt x="773" y="78"/>
                    </a:lnTo>
                    <a:lnTo>
                      <a:pt x="773" y="78"/>
                    </a:lnTo>
                    <a:lnTo>
                      <a:pt x="773" y="78"/>
                    </a:lnTo>
                    <a:lnTo>
                      <a:pt x="773" y="78"/>
                    </a:lnTo>
                    <a:lnTo>
                      <a:pt x="773" y="78"/>
                    </a:lnTo>
                    <a:lnTo>
                      <a:pt x="773" y="85"/>
                    </a:lnTo>
                    <a:lnTo>
                      <a:pt x="773" y="85"/>
                    </a:lnTo>
                    <a:lnTo>
                      <a:pt x="773" y="85"/>
                    </a:lnTo>
                    <a:lnTo>
                      <a:pt x="773" y="85"/>
                    </a:lnTo>
                    <a:lnTo>
                      <a:pt x="773" y="85"/>
                    </a:lnTo>
                    <a:lnTo>
                      <a:pt x="780" y="78"/>
                    </a:lnTo>
                    <a:lnTo>
                      <a:pt x="780" y="78"/>
                    </a:lnTo>
                    <a:lnTo>
                      <a:pt x="780" y="78"/>
                    </a:lnTo>
                    <a:lnTo>
                      <a:pt x="780" y="78"/>
                    </a:lnTo>
                    <a:lnTo>
                      <a:pt x="780" y="78"/>
                    </a:lnTo>
                    <a:lnTo>
                      <a:pt x="780" y="78"/>
                    </a:lnTo>
                    <a:lnTo>
                      <a:pt x="780" y="78"/>
                    </a:lnTo>
                    <a:lnTo>
                      <a:pt x="780" y="78"/>
                    </a:lnTo>
                    <a:lnTo>
                      <a:pt x="788" y="78"/>
                    </a:lnTo>
                    <a:lnTo>
                      <a:pt x="788" y="78"/>
                    </a:lnTo>
                    <a:lnTo>
                      <a:pt x="788" y="85"/>
                    </a:lnTo>
                    <a:lnTo>
                      <a:pt x="788" y="85"/>
                    </a:lnTo>
                    <a:lnTo>
                      <a:pt x="788" y="85"/>
                    </a:lnTo>
                    <a:lnTo>
                      <a:pt x="788" y="92"/>
                    </a:lnTo>
                    <a:lnTo>
                      <a:pt x="788" y="92"/>
                    </a:lnTo>
                    <a:lnTo>
                      <a:pt x="788" y="92"/>
                    </a:lnTo>
                    <a:lnTo>
                      <a:pt x="788" y="92"/>
                    </a:lnTo>
                    <a:lnTo>
                      <a:pt x="788" y="92"/>
                    </a:lnTo>
                    <a:lnTo>
                      <a:pt x="788" y="92"/>
                    </a:lnTo>
                    <a:lnTo>
                      <a:pt x="788" y="92"/>
                    </a:lnTo>
                    <a:lnTo>
                      <a:pt x="788" y="92"/>
                    </a:lnTo>
                    <a:lnTo>
                      <a:pt x="788" y="99"/>
                    </a:lnTo>
                    <a:lnTo>
                      <a:pt x="788" y="99"/>
                    </a:lnTo>
                    <a:lnTo>
                      <a:pt x="788" y="99"/>
                    </a:lnTo>
                    <a:lnTo>
                      <a:pt x="788" y="99"/>
                    </a:lnTo>
                    <a:lnTo>
                      <a:pt x="780" y="99"/>
                    </a:lnTo>
                    <a:lnTo>
                      <a:pt x="780" y="99"/>
                    </a:lnTo>
                    <a:lnTo>
                      <a:pt x="780" y="99"/>
                    </a:lnTo>
                    <a:lnTo>
                      <a:pt x="780" y="99"/>
                    </a:lnTo>
                    <a:lnTo>
                      <a:pt x="780" y="99"/>
                    </a:lnTo>
                    <a:lnTo>
                      <a:pt x="780" y="99"/>
                    </a:lnTo>
                    <a:lnTo>
                      <a:pt x="780" y="106"/>
                    </a:lnTo>
                    <a:lnTo>
                      <a:pt x="780" y="106"/>
                    </a:lnTo>
                    <a:lnTo>
                      <a:pt x="773" y="99"/>
                    </a:lnTo>
                    <a:lnTo>
                      <a:pt x="773" y="99"/>
                    </a:lnTo>
                    <a:lnTo>
                      <a:pt x="773" y="99"/>
                    </a:lnTo>
                    <a:lnTo>
                      <a:pt x="773" y="99"/>
                    </a:lnTo>
                    <a:lnTo>
                      <a:pt x="773" y="99"/>
                    </a:lnTo>
                    <a:lnTo>
                      <a:pt x="766" y="99"/>
                    </a:lnTo>
                    <a:lnTo>
                      <a:pt x="766" y="99"/>
                    </a:lnTo>
                    <a:lnTo>
                      <a:pt x="745" y="113"/>
                    </a:lnTo>
                    <a:lnTo>
                      <a:pt x="745" y="113"/>
                    </a:lnTo>
                    <a:lnTo>
                      <a:pt x="738" y="106"/>
                    </a:lnTo>
                    <a:lnTo>
                      <a:pt x="738" y="106"/>
                    </a:lnTo>
                    <a:lnTo>
                      <a:pt x="738" y="106"/>
                    </a:lnTo>
                    <a:lnTo>
                      <a:pt x="731" y="106"/>
                    </a:lnTo>
                    <a:lnTo>
                      <a:pt x="731" y="106"/>
                    </a:lnTo>
                    <a:lnTo>
                      <a:pt x="731" y="106"/>
                    </a:lnTo>
                    <a:lnTo>
                      <a:pt x="731" y="106"/>
                    </a:lnTo>
                    <a:lnTo>
                      <a:pt x="731" y="113"/>
                    </a:lnTo>
                    <a:lnTo>
                      <a:pt x="731" y="113"/>
                    </a:lnTo>
                    <a:lnTo>
                      <a:pt x="731" y="113"/>
                    </a:lnTo>
                    <a:lnTo>
                      <a:pt x="724" y="113"/>
                    </a:lnTo>
                    <a:lnTo>
                      <a:pt x="724" y="120"/>
                    </a:lnTo>
                    <a:lnTo>
                      <a:pt x="724" y="120"/>
                    </a:lnTo>
                    <a:lnTo>
                      <a:pt x="724" y="120"/>
                    </a:lnTo>
                    <a:lnTo>
                      <a:pt x="724" y="127"/>
                    </a:lnTo>
                    <a:lnTo>
                      <a:pt x="717" y="127"/>
                    </a:lnTo>
                    <a:lnTo>
                      <a:pt x="717" y="127"/>
                    </a:lnTo>
                    <a:lnTo>
                      <a:pt x="717" y="127"/>
                    </a:lnTo>
                    <a:lnTo>
                      <a:pt x="717" y="127"/>
                    </a:lnTo>
                    <a:lnTo>
                      <a:pt x="709" y="135"/>
                    </a:lnTo>
                    <a:lnTo>
                      <a:pt x="702" y="142"/>
                    </a:lnTo>
                    <a:lnTo>
                      <a:pt x="702" y="142"/>
                    </a:lnTo>
                    <a:lnTo>
                      <a:pt x="702" y="142"/>
                    </a:lnTo>
                    <a:lnTo>
                      <a:pt x="695" y="142"/>
                    </a:lnTo>
                    <a:lnTo>
                      <a:pt x="695" y="142"/>
                    </a:lnTo>
                    <a:lnTo>
                      <a:pt x="695" y="142"/>
                    </a:lnTo>
                    <a:lnTo>
                      <a:pt x="695" y="142"/>
                    </a:lnTo>
                    <a:lnTo>
                      <a:pt x="695" y="142"/>
                    </a:lnTo>
                    <a:lnTo>
                      <a:pt x="695" y="142"/>
                    </a:lnTo>
                    <a:lnTo>
                      <a:pt x="688" y="149"/>
                    </a:lnTo>
                    <a:lnTo>
                      <a:pt x="688" y="149"/>
                    </a:lnTo>
                    <a:lnTo>
                      <a:pt x="688" y="149"/>
                    </a:lnTo>
                    <a:lnTo>
                      <a:pt x="688" y="149"/>
                    </a:lnTo>
                    <a:lnTo>
                      <a:pt x="688" y="149"/>
                    </a:lnTo>
                    <a:lnTo>
                      <a:pt x="674" y="156"/>
                    </a:lnTo>
                    <a:lnTo>
                      <a:pt x="674" y="163"/>
                    </a:lnTo>
                    <a:lnTo>
                      <a:pt x="674" y="163"/>
                    </a:lnTo>
                    <a:lnTo>
                      <a:pt x="674" y="163"/>
                    </a:lnTo>
                    <a:lnTo>
                      <a:pt x="667" y="163"/>
                    </a:lnTo>
                    <a:lnTo>
                      <a:pt x="667" y="163"/>
                    </a:lnTo>
                    <a:lnTo>
                      <a:pt x="667" y="156"/>
                    </a:lnTo>
                    <a:lnTo>
                      <a:pt x="667" y="156"/>
                    </a:lnTo>
                    <a:lnTo>
                      <a:pt x="660" y="156"/>
                    </a:lnTo>
                    <a:lnTo>
                      <a:pt x="660" y="156"/>
                    </a:lnTo>
                    <a:lnTo>
                      <a:pt x="660" y="163"/>
                    </a:lnTo>
                    <a:lnTo>
                      <a:pt x="660" y="163"/>
                    </a:lnTo>
                    <a:lnTo>
                      <a:pt x="660" y="163"/>
                    </a:lnTo>
                    <a:lnTo>
                      <a:pt x="653" y="170"/>
                    </a:lnTo>
                    <a:lnTo>
                      <a:pt x="653" y="177"/>
                    </a:lnTo>
                    <a:lnTo>
                      <a:pt x="646" y="184"/>
                    </a:lnTo>
                    <a:lnTo>
                      <a:pt x="639" y="191"/>
                    </a:lnTo>
                    <a:lnTo>
                      <a:pt x="639" y="191"/>
                    </a:lnTo>
                    <a:lnTo>
                      <a:pt x="624" y="198"/>
                    </a:lnTo>
                    <a:lnTo>
                      <a:pt x="624" y="198"/>
                    </a:lnTo>
                    <a:lnTo>
                      <a:pt x="624" y="198"/>
                    </a:lnTo>
                    <a:lnTo>
                      <a:pt x="624" y="198"/>
                    </a:lnTo>
                    <a:lnTo>
                      <a:pt x="617" y="198"/>
                    </a:lnTo>
                    <a:lnTo>
                      <a:pt x="617" y="198"/>
                    </a:lnTo>
                    <a:lnTo>
                      <a:pt x="617" y="198"/>
                    </a:lnTo>
                    <a:lnTo>
                      <a:pt x="617" y="198"/>
                    </a:lnTo>
                    <a:lnTo>
                      <a:pt x="617" y="198"/>
                    </a:lnTo>
                    <a:lnTo>
                      <a:pt x="617" y="198"/>
                    </a:lnTo>
                    <a:lnTo>
                      <a:pt x="610" y="206"/>
                    </a:lnTo>
                    <a:lnTo>
                      <a:pt x="610" y="206"/>
                    </a:lnTo>
                    <a:lnTo>
                      <a:pt x="610" y="213"/>
                    </a:lnTo>
                    <a:lnTo>
                      <a:pt x="610" y="213"/>
                    </a:lnTo>
                    <a:lnTo>
                      <a:pt x="610" y="213"/>
                    </a:lnTo>
                    <a:lnTo>
                      <a:pt x="610" y="213"/>
                    </a:lnTo>
                    <a:lnTo>
                      <a:pt x="610" y="220"/>
                    </a:lnTo>
                    <a:lnTo>
                      <a:pt x="603" y="220"/>
                    </a:lnTo>
                    <a:lnTo>
                      <a:pt x="603" y="220"/>
                    </a:lnTo>
                    <a:lnTo>
                      <a:pt x="603" y="227"/>
                    </a:lnTo>
                    <a:lnTo>
                      <a:pt x="603" y="227"/>
                    </a:lnTo>
                    <a:lnTo>
                      <a:pt x="603" y="227"/>
                    </a:lnTo>
                    <a:lnTo>
                      <a:pt x="596" y="227"/>
                    </a:lnTo>
                    <a:lnTo>
                      <a:pt x="596" y="227"/>
                    </a:lnTo>
                    <a:lnTo>
                      <a:pt x="596" y="227"/>
                    </a:lnTo>
                    <a:lnTo>
                      <a:pt x="596" y="227"/>
                    </a:lnTo>
                    <a:lnTo>
                      <a:pt x="596" y="227"/>
                    </a:lnTo>
                    <a:lnTo>
                      <a:pt x="596" y="227"/>
                    </a:lnTo>
                    <a:lnTo>
                      <a:pt x="596" y="227"/>
                    </a:lnTo>
                    <a:lnTo>
                      <a:pt x="596" y="220"/>
                    </a:lnTo>
                    <a:lnTo>
                      <a:pt x="596" y="220"/>
                    </a:lnTo>
                    <a:lnTo>
                      <a:pt x="589" y="220"/>
                    </a:lnTo>
                    <a:lnTo>
                      <a:pt x="589" y="227"/>
                    </a:lnTo>
                    <a:lnTo>
                      <a:pt x="582" y="227"/>
                    </a:lnTo>
                    <a:lnTo>
                      <a:pt x="582" y="234"/>
                    </a:lnTo>
                    <a:lnTo>
                      <a:pt x="582" y="234"/>
                    </a:lnTo>
                    <a:lnTo>
                      <a:pt x="582" y="241"/>
                    </a:lnTo>
                    <a:lnTo>
                      <a:pt x="582" y="248"/>
                    </a:lnTo>
                    <a:lnTo>
                      <a:pt x="582" y="248"/>
                    </a:lnTo>
                    <a:lnTo>
                      <a:pt x="582" y="248"/>
                    </a:lnTo>
                    <a:lnTo>
                      <a:pt x="575" y="255"/>
                    </a:lnTo>
                    <a:lnTo>
                      <a:pt x="575" y="255"/>
                    </a:lnTo>
                    <a:lnTo>
                      <a:pt x="568" y="277"/>
                    </a:lnTo>
                    <a:lnTo>
                      <a:pt x="568" y="277"/>
                    </a:lnTo>
                    <a:lnTo>
                      <a:pt x="568" y="277"/>
                    </a:lnTo>
                    <a:lnTo>
                      <a:pt x="568" y="284"/>
                    </a:lnTo>
                    <a:lnTo>
                      <a:pt x="568" y="284"/>
                    </a:lnTo>
                    <a:lnTo>
                      <a:pt x="568" y="291"/>
                    </a:lnTo>
                    <a:lnTo>
                      <a:pt x="568" y="291"/>
                    </a:lnTo>
                    <a:lnTo>
                      <a:pt x="568" y="291"/>
                    </a:lnTo>
                    <a:lnTo>
                      <a:pt x="568" y="291"/>
                    </a:lnTo>
                    <a:lnTo>
                      <a:pt x="560" y="298"/>
                    </a:lnTo>
                    <a:lnTo>
                      <a:pt x="560" y="298"/>
                    </a:lnTo>
                    <a:lnTo>
                      <a:pt x="560" y="305"/>
                    </a:lnTo>
                    <a:lnTo>
                      <a:pt x="560" y="305"/>
                    </a:lnTo>
                    <a:lnTo>
                      <a:pt x="568" y="305"/>
                    </a:lnTo>
                    <a:lnTo>
                      <a:pt x="568" y="305"/>
                    </a:lnTo>
                    <a:lnTo>
                      <a:pt x="568" y="305"/>
                    </a:lnTo>
                    <a:lnTo>
                      <a:pt x="568" y="312"/>
                    </a:lnTo>
                    <a:lnTo>
                      <a:pt x="568" y="312"/>
                    </a:lnTo>
                    <a:lnTo>
                      <a:pt x="568" y="312"/>
                    </a:lnTo>
                    <a:lnTo>
                      <a:pt x="568" y="312"/>
                    </a:lnTo>
                    <a:lnTo>
                      <a:pt x="560" y="319"/>
                    </a:lnTo>
                    <a:lnTo>
                      <a:pt x="560" y="319"/>
                    </a:lnTo>
                    <a:lnTo>
                      <a:pt x="560" y="326"/>
                    </a:lnTo>
                    <a:lnTo>
                      <a:pt x="553" y="326"/>
                    </a:lnTo>
                    <a:lnTo>
                      <a:pt x="546" y="326"/>
                    </a:lnTo>
                    <a:lnTo>
                      <a:pt x="546" y="326"/>
                    </a:lnTo>
                    <a:lnTo>
                      <a:pt x="546" y="326"/>
                    </a:lnTo>
                    <a:lnTo>
                      <a:pt x="546" y="326"/>
                    </a:lnTo>
                    <a:lnTo>
                      <a:pt x="539" y="326"/>
                    </a:lnTo>
                    <a:lnTo>
                      <a:pt x="539" y="326"/>
                    </a:lnTo>
                    <a:lnTo>
                      <a:pt x="539" y="326"/>
                    </a:lnTo>
                    <a:lnTo>
                      <a:pt x="539" y="326"/>
                    </a:lnTo>
                    <a:lnTo>
                      <a:pt x="546" y="319"/>
                    </a:lnTo>
                    <a:lnTo>
                      <a:pt x="546" y="319"/>
                    </a:lnTo>
                    <a:lnTo>
                      <a:pt x="546" y="319"/>
                    </a:lnTo>
                    <a:lnTo>
                      <a:pt x="546" y="319"/>
                    </a:lnTo>
                    <a:lnTo>
                      <a:pt x="546" y="312"/>
                    </a:lnTo>
                    <a:lnTo>
                      <a:pt x="546" y="312"/>
                    </a:lnTo>
                    <a:lnTo>
                      <a:pt x="546" y="312"/>
                    </a:lnTo>
                    <a:lnTo>
                      <a:pt x="539" y="312"/>
                    </a:lnTo>
                    <a:lnTo>
                      <a:pt x="539" y="312"/>
                    </a:lnTo>
                    <a:lnTo>
                      <a:pt x="539" y="312"/>
                    </a:lnTo>
                    <a:lnTo>
                      <a:pt x="539" y="312"/>
                    </a:lnTo>
                    <a:lnTo>
                      <a:pt x="539" y="312"/>
                    </a:lnTo>
                    <a:lnTo>
                      <a:pt x="539" y="312"/>
                    </a:lnTo>
                    <a:lnTo>
                      <a:pt x="532" y="312"/>
                    </a:lnTo>
                    <a:lnTo>
                      <a:pt x="532" y="312"/>
                    </a:lnTo>
                    <a:lnTo>
                      <a:pt x="532" y="312"/>
                    </a:lnTo>
                    <a:lnTo>
                      <a:pt x="525" y="312"/>
                    </a:lnTo>
                    <a:lnTo>
                      <a:pt x="525" y="319"/>
                    </a:lnTo>
                    <a:lnTo>
                      <a:pt x="532" y="319"/>
                    </a:lnTo>
                    <a:lnTo>
                      <a:pt x="532" y="319"/>
                    </a:lnTo>
                    <a:lnTo>
                      <a:pt x="532" y="319"/>
                    </a:lnTo>
                    <a:lnTo>
                      <a:pt x="532" y="319"/>
                    </a:lnTo>
                    <a:lnTo>
                      <a:pt x="532" y="319"/>
                    </a:lnTo>
                    <a:lnTo>
                      <a:pt x="532" y="326"/>
                    </a:lnTo>
                    <a:lnTo>
                      <a:pt x="532" y="326"/>
                    </a:lnTo>
                    <a:lnTo>
                      <a:pt x="518" y="333"/>
                    </a:lnTo>
                    <a:lnTo>
                      <a:pt x="518" y="340"/>
                    </a:lnTo>
                    <a:lnTo>
                      <a:pt x="511" y="347"/>
                    </a:lnTo>
                    <a:lnTo>
                      <a:pt x="511" y="355"/>
                    </a:lnTo>
                    <a:lnTo>
                      <a:pt x="504" y="362"/>
                    </a:lnTo>
                    <a:lnTo>
                      <a:pt x="497" y="369"/>
                    </a:lnTo>
                    <a:lnTo>
                      <a:pt x="489" y="369"/>
                    </a:lnTo>
                    <a:lnTo>
                      <a:pt x="489" y="369"/>
                    </a:lnTo>
                    <a:lnTo>
                      <a:pt x="489" y="376"/>
                    </a:lnTo>
                    <a:lnTo>
                      <a:pt x="489" y="376"/>
                    </a:lnTo>
                    <a:lnTo>
                      <a:pt x="497" y="376"/>
                    </a:lnTo>
                    <a:lnTo>
                      <a:pt x="497" y="376"/>
                    </a:lnTo>
                    <a:lnTo>
                      <a:pt x="497" y="376"/>
                    </a:lnTo>
                    <a:lnTo>
                      <a:pt x="497" y="376"/>
                    </a:lnTo>
                    <a:lnTo>
                      <a:pt x="497" y="376"/>
                    </a:lnTo>
                    <a:lnTo>
                      <a:pt x="497" y="376"/>
                    </a:lnTo>
                    <a:lnTo>
                      <a:pt x="497" y="383"/>
                    </a:lnTo>
                    <a:lnTo>
                      <a:pt x="497" y="383"/>
                    </a:lnTo>
                    <a:lnTo>
                      <a:pt x="504" y="383"/>
                    </a:lnTo>
                    <a:lnTo>
                      <a:pt x="504" y="383"/>
                    </a:lnTo>
                    <a:lnTo>
                      <a:pt x="504" y="383"/>
                    </a:lnTo>
                    <a:lnTo>
                      <a:pt x="504" y="383"/>
                    </a:lnTo>
                    <a:lnTo>
                      <a:pt x="504" y="383"/>
                    </a:lnTo>
                    <a:lnTo>
                      <a:pt x="511" y="390"/>
                    </a:lnTo>
                    <a:lnTo>
                      <a:pt x="511" y="390"/>
                    </a:lnTo>
                    <a:lnTo>
                      <a:pt x="511" y="390"/>
                    </a:lnTo>
                    <a:lnTo>
                      <a:pt x="511" y="390"/>
                    </a:lnTo>
                    <a:lnTo>
                      <a:pt x="511" y="397"/>
                    </a:lnTo>
                    <a:lnTo>
                      <a:pt x="511" y="397"/>
                    </a:lnTo>
                    <a:lnTo>
                      <a:pt x="511" y="404"/>
                    </a:lnTo>
                    <a:lnTo>
                      <a:pt x="511" y="404"/>
                    </a:lnTo>
                    <a:lnTo>
                      <a:pt x="511" y="404"/>
                    </a:lnTo>
                    <a:lnTo>
                      <a:pt x="511" y="411"/>
                    </a:lnTo>
                    <a:lnTo>
                      <a:pt x="504" y="411"/>
                    </a:lnTo>
                    <a:lnTo>
                      <a:pt x="504" y="418"/>
                    </a:lnTo>
                    <a:lnTo>
                      <a:pt x="504" y="426"/>
                    </a:lnTo>
                    <a:lnTo>
                      <a:pt x="504" y="433"/>
                    </a:lnTo>
                    <a:lnTo>
                      <a:pt x="504" y="433"/>
                    </a:lnTo>
                    <a:lnTo>
                      <a:pt x="497" y="440"/>
                    </a:lnTo>
                    <a:lnTo>
                      <a:pt x="497" y="440"/>
                    </a:lnTo>
                    <a:lnTo>
                      <a:pt x="497" y="440"/>
                    </a:lnTo>
                    <a:lnTo>
                      <a:pt x="497" y="440"/>
                    </a:lnTo>
                    <a:lnTo>
                      <a:pt x="497" y="440"/>
                    </a:lnTo>
                    <a:lnTo>
                      <a:pt x="497" y="440"/>
                    </a:lnTo>
                    <a:lnTo>
                      <a:pt x="497" y="440"/>
                    </a:lnTo>
                    <a:lnTo>
                      <a:pt x="497" y="447"/>
                    </a:lnTo>
                    <a:lnTo>
                      <a:pt x="497" y="447"/>
                    </a:lnTo>
                    <a:lnTo>
                      <a:pt x="489" y="447"/>
                    </a:lnTo>
                    <a:lnTo>
                      <a:pt x="489" y="447"/>
                    </a:lnTo>
                    <a:lnTo>
                      <a:pt x="489" y="447"/>
                    </a:lnTo>
                    <a:lnTo>
                      <a:pt x="497" y="454"/>
                    </a:lnTo>
                    <a:lnTo>
                      <a:pt x="497" y="454"/>
                    </a:lnTo>
                    <a:lnTo>
                      <a:pt x="497" y="454"/>
                    </a:lnTo>
                    <a:lnTo>
                      <a:pt x="497" y="454"/>
                    </a:lnTo>
                    <a:lnTo>
                      <a:pt x="497" y="461"/>
                    </a:lnTo>
                    <a:lnTo>
                      <a:pt x="489" y="461"/>
                    </a:lnTo>
                    <a:lnTo>
                      <a:pt x="489" y="461"/>
                    </a:lnTo>
                    <a:lnTo>
                      <a:pt x="489" y="461"/>
                    </a:lnTo>
                    <a:lnTo>
                      <a:pt x="489" y="461"/>
                    </a:lnTo>
                    <a:lnTo>
                      <a:pt x="489" y="461"/>
                    </a:lnTo>
                    <a:lnTo>
                      <a:pt x="489" y="461"/>
                    </a:lnTo>
                    <a:lnTo>
                      <a:pt x="497" y="461"/>
                    </a:lnTo>
                    <a:lnTo>
                      <a:pt x="497" y="461"/>
                    </a:lnTo>
                    <a:lnTo>
                      <a:pt x="489" y="468"/>
                    </a:lnTo>
                    <a:lnTo>
                      <a:pt x="489" y="475"/>
                    </a:lnTo>
                    <a:lnTo>
                      <a:pt x="489" y="475"/>
                    </a:lnTo>
                    <a:lnTo>
                      <a:pt x="489" y="475"/>
                    </a:lnTo>
                    <a:lnTo>
                      <a:pt x="489" y="475"/>
                    </a:lnTo>
                    <a:lnTo>
                      <a:pt x="489" y="482"/>
                    </a:lnTo>
                    <a:lnTo>
                      <a:pt x="489" y="482"/>
                    </a:lnTo>
                    <a:lnTo>
                      <a:pt x="482" y="482"/>
                    </a:lnTo>
                    <a:lnTo>
                      <a:pt x="482" y="482"/>
                    </a:lnTo>
                    <a:lnTo>
                      <a:pt x="482" y="475"/>
                    </a:lnTo>
                    <a:lnTo>
                      <a:pt x="482" y="475"/>
                    </a:lnTo>
                    <a:lnTo>
                      <a:pt x="482" y="475"/>
                    </a:lnTo>
                    <a:lnTo>
                      <a:pt x="482" y="475"/>
                    </a:lnTo>
                    <a:lnTo>
                      <a:pt x="482" y="475"/>
                    </a:lnTo>
                    <a:lnTo>
                      <a:pt x="482" y="475"/>
                    </a:lnTo>
                    <a:lnTo>
                      <a:pt x="482" y="482"/>
                    </a:lnTo>
                    <a:lnTo>
                      <a:pt x="482" y="482"/>
                    </a:lnTo>
                    <a:lnTo>
                      <a:pt x="475" y="482"/>
                    </a:lnTo>
                    <a:lnTo>
                      <a:pt x="475" y="482"/>
                    </a:lnTo>
                    <a:lnTo>
                      <a:pt x="475" y="489"/>
                    </a:lnTo>
                    <a:lnTo>
                      <a:pt x="475" y="489"/>
                    </a:lnTo>
                    <a:lnTo>
                      <a:pt x="475" y="497"/>
                    </a:lnTo>
                    <a:lnTo>
                      <a:pt x="475" y="497"/>
                    </a:lnTo>
                    <a:lnTo>
                      <a:pt x="475" y="497"/>
                    </a:lnTo>
                    <a:lnTo>
                      <a:pt x="475" y="497"/>
                    </a:lnTo>
                    <a:lnTo>
                      <a:pt x="475" y="497"/>
                    </a:lnTo>
                    <a:lnTo>
                      <a:pt x="475" y="497"/>
                    </a:lnTo>
                    <a:lnTo>
                      <a:pt x="482" y="497"/>
                    </a:lnTo>
                    <a:lnTo>
                      <a:pt x="482" y="504"/>
                    </a:lnTo>
                    <a:lnTo>
                      <a:pt x="475" y="504"/>
                    </a:lnTo>
                    <a:lnTo>
                      <a:pt x="482" y="511"/>
                    </a:lnTo>
                    <a:lnTo>
                      <a:pt x="482" y="511"/>
                    </a:lnTo>
                    <a:lnTo>
                      <a:pt x="482" y="518"/>
                    </a:lnTo>
                    <a:lnTo>
                      <a:pt x="475" y="518"/>
                    </a:lnTo>
                    <a:lnTo>
                      <a:pt x="475" y="518"/>
                    </a:lnTo>
                    <a:lnTo>
                      <a:pt x="475" y="525"/>
                    </a:lnTo>
                    <a:lnTo>
                      <a:pt x="475" y="532"/>
                    </a:lnTo>
                    <a:lnTo>
                      <a:pt x="475" y="539"/>
                    </a:lnTo>
                    <a:lnTo>
                      <a:pt x="475" y="539"/>
                    </a:lnTo>
                    <a:lnTo>
                      <a:pt x="475" y="539"/>
                    </a:lnTo>
                    <a:lnTo>
                      <a:pt x="468" y="546"/>
                    </a:lnTo>
                    <a:lnTo>
                      <a:pt x="468" y="546"/>
                    </a:lnTo>
                    <a:lnTo>
                      <a:pt x="461" y="546"/>
                    </a:lnTo>
                    <a:lnTo>
                      <a:pt x="461" y="539"/>
                    </a:lnTo>
                    <a:lnTo>
                      <a:pt x="454" y="546"/>
                    </a:lnTo>
                    <a:lnTo>
                      <a:pt x="454" y="546"/>
                    </a:lnTo>
                    <a:lnTo>
                      <a:pt x="447" y="546"/>
                    </a:lnTo>
                    <a:lnTo>
                      <a:pt x="447" y="546"/>
                    </a:lnTo>
                    <a:lnTo>
                      <a:pt x="440" y="532"/>
                    </a:lnTo>
                    <a:lnTo>
                      <a:pt x="440" y="532"/>
                    </a:lnTo>
                    <a:lnTo>
                      <a:pt x="440" y="532"/>
                    </a:lnTo>
                    <a:lnTo>
                      <a:pt x="440" y="532"/>
                    </a:lnTo>
                    <a:lnTo>
                      <a:pt x="440" y="532"/>
                    </a:lnTo>
                    <a:lnTo>
                      <a:pt x="440" y="532"/>
                    </a:lnTo>
                    <a:lnTo>
                      <a:pt x="433" y="546"/>
                    </a:lnTo>
                    <a:lnTo>
                      <a:pt x="433" y="546"/>
                    </a:lnTo>
                    <a:lnTo>
                      <a:pt x="433" y="546"/>
                    </a:lnTo>
                    <a:lnTo>
                      <a:pt x="433" y="546"/>
                    </a:lnTo>
                    <a:lnTo>
                      <a:pt x="433" y="553"/>
                    </a:lnTo>
                    <a:lnTo>
                      <a:pt x="426" y="560"/>
                    </a:lnTo>
                    <a:lnTo>
                      <a:pt x="426" y="560"/>
                    </a:lnTo>
                    <a:lnTo>
                      <a:pt x="426" y="560"/>
                    </a:lnTo>
                    <a:lnTo>
                      <a:pt x="426" y="568"/>
                    </a:lnTo>
                    <a:lnTo>
                      <a:pt x="426" y="568"/>
                    </a:lnTo>
                    <a:lnTo>
                      <a:pt x="426" y="568"/>
                    </a:lnTo>
                    <a:lnTo>
                      <a:pt x="426" y="568"/>
                    </a:lnTo>
                    <a:lnTo>
                      <a:pt x="426" y="568"/>
                    </a:lnTo>
                    <a:lnTo>
                      <a:pt x="418" y="568"/>
                    </a:lnTo>
                    <a:lnTo>
                      <a:pt x="418" y="568"/>
                    </a:lnTo>
                    <a:lnTo>
                      <a:pt x="418" y="575"/>
                    </a:lnTo>
                    <a:lnTo>
                      <a:pt x="411" y="575"/>
                    </a:lnTo>
                    <a:lnTo>
                      <a:pt x="411" y="582"/>
                    </a:lnTo>
                    <a:lnTo>
                      <a:pt x="411" y="582"/>
                    </a:lnTo>
                    <a:lnTo>
                      <a:pt x="411" y="582"/>
                    </a:lnTo>
                    <a:lnTo>
                      <a:pt x="411" y="582"/>
                    </a:lnTo>
                    <a:lnTo>
                      <a:pt x="404" y="582"/>
                    </a:lnTo>
                    <a:lnTo>
                      <a:pt x="404" y="582"/>
                    </a:lnTo>
                    <a:lnTo>
                      <a:pt x="404" y="582"/>
                    </a:lnTo>
                    <a:lnTo>
                      <a:pt x="404" y="582"/>
                    </a:lnTo>
                    <a:lnTo>
                      <a:pt x="404" y="582"/>
                    </a:lnTo>
                    <a:lnTo>
                      <a:pt x="404" y="582"/>
                    </a:lnTo>
                    <a:lnTo>
                      <a:pt x="397" y="575"/>
                    </a:lnTo>
                    <a:lnTo>
                      <a:pt x="397" y="575"/>
                    </a:lnTo>
                    <a:lnTo>
                      <a:pt x="397" y="575"/>
                    </a:lnTo>
                    <a:lnTo>
                      <a:pt x="397" y="575"/>
                    </a:lnTo>
                    <a:lnTo>
                      <a:pt x="397" y="568"/>
                    </a:lnTo>
                    <a:lnTo>
                      <a:pt x="397" y="568"/>
                    </a:lnTo>
                    <a:lnTo>
                      <a:pt x="397" y="568"/>
                    </a:lnTo>
                    <a:lnTo>
                      <a:pt x="397" y="568"/>
                    </a:lnTo>
                    <a:lnTo>
                      <a:pt x="397" y="568"/>
                    </a:lnTo>
                    <a:lnTo>
                      <a:pt x="397" y="568"/>
                    </a:lnTo>
                    <a:lnTo>
                      <a:pt x="397" y="568"/>
                    </a:lnTo>
                    <a:lnTo>
                      <a:pt x="390" y="568"/>
                    </a:lnTo>
                    <a:lnTo>
                      <a:pt x="383" y="568"/>
                    </a:lnTo>
                    <a:lnTo>
                      <a:pt x="376" y="568"/>
                    </a:lnTo>
                    <a:lnTo>
                      <a:pt x="376" y="568"/>
                    </a:lnTo>
                    <a:lnTo>
                      <a:pt x="369" y="568"/>
                    </a:lnTo>
                    <a:lnTo>
                      <a:pt x="376" y="553"/>
                    </a:lnTo>
                    <a:lnTo>
                      <a:pt x="376" y="553"/>
                    </a:lnTo>
                    <a:lnTo>
                      <a:pt x="376" y="553"/>
                    </a:lnTo>
                    <a:lnTo>
                      <a:pt x="376" y="546"/>
                    </a:lnTo>
                    <a:lnTo>
                      <a:pt x="376" y="546"/>
                    </a:lnTo>
                    <a:lnTo>
                      <a:pt x="369" y="539"/>
                    </a:lnTo>
                    <a:lnTo>
                      <a:pt x="369" y="539"/>
                    </a:lnTo>
                    <a:lnTo>
                      <a:pt x="369" y="539"/>
                    </a:lnTo>
                    <a:lnTo>
                      <a:pt x="369" y="532"/>
                    </a:lnTo>
                    <a:lnTo>
                      <a:pt x="369" y="532"/>
                    </a:lnTo>
                    <a:lnTo>
                      <a:pt x="369" y="532"/>
                    </a:lnTo>
                    <a:lnTo>
                      <a:pt x="369" y="532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1" name="Freeform 39"/>
              <p:cNvSpPr>
                <a:spLocks/>
              </p:cNvSpPr>
              <p:nvPr/>
            </p:nvSpPr>
            <p:spPr bwMode="auto">
              <a:xfrm>
                <a:off x="5295" y="1464"/>
                <a:ext cx="206" cy="270"/>
              </a:xfrm>
              <a:custGeom>
                <a:avLst/>
                <a:gdLst>
                  <a:gd name="T0" fmla="*/ 185 w 206"/>
                  <a:gd name="T1" fmla="*/ 43 h 270"/>
                  <a:gd name="T2" fmla="*/ 199 w 206"/>
                  <a:gd name="T3" fmla="*/ 78 h 270"/>
                  <a:gd name="T4" fmla="*/ 199 w 206"/>
                  <a:gd name="T5" fmla="*/ 114 h 270"/>
                  <a:gd name="T6" fmla="*/ 192 w 206"/>
                  <a:gd name="T7" fmla="*/ 142 h 270"/>
                  <a:gd name="T8" fmla="*/ 185 w 206"/>
                  <a:gd name="T9" fmla="*/ 149 h 270"/>
                  <a:gd name="T10" fmla="*/ 178 w 206"/>
                  <a:gd name="T11" fmla="*/ 178 h 270"/>
                  <a:gd name="T12" fmla="*/ 171 w 206"/>
                  <a:gd name="T13" fmla="*/ 192 h 270"/>
                  <a:gd name="T14" fmla="*/ 164 w 206"/>
                  <a:gd name="T15" fmla="*/ 199 h 270"/>
                  <a:gd name="T16" fmla="*/ 164 w 206"/>
                  <a:gd name="T17" fmla="*/ 235 h 270"/>
                  <a:gd name="T18" fmla="*/ 156 w 206"/>
                  <a:gd name="T19" fmla="*/ 249 h 270"/>
                  <a:gd name="T20" fmla="*/ 149 w 206"/>
                  <a:gd name="T21" fmla="*/ 270 h 270"/>
                  <a:gd name="T22" fmla="*/ 135 w 206"/>
                  <a:gd name="T23" fmla="*/ 263 h 270"/>
                  <a:gd name="T24" fmla="*/ 100 w 206"/>
                  <a:gd name="T25" fmla="*/ 256 h 270"/>
                  <a:gd name="T26" fmla="*/ 78 w 206"/>
                  <a:gd name="T27" fmla="*/ 256 h 270"/>
                  <a:gd name="T28" fmla="*/ 71 w 206"/>
                  <a:gd name="T29" fmla="*/ 256 h 270"/>
                  <a:gd name="T30" fmla="*/ 64 w 206"/>
                  <a:gd name="T31" fmla="*/ 256 h 270"/>
                  <a:gd name="T32" fmla="*/ 43 w 206"/>
                  <a:gd name="T33" fmla="*/ 242 h 270"/>
                  <a:gd name="T34" fmla="*/ 36 w 206"/>
                  <a:gd name="T35" fmla="*/ 256 h 270"/>
                  <a:gd name="T36" fmla="*/ 36 w 206"/>
                  <a:gd name="T37" fmla="*/ 249 h 270"/>
                  <a:gd name="T38" fmla="*/ 29 w 206"/>
                  <a:gd name="T39" fmla="*/ 249 h 270"/>
                  <a:gd name="T40" fmla="*/ 22 w 206"/>
                  <a:gd name="T41" fmla="*/ 249 h 270"/>
                  <a:gd name="T42" fmla="*/ 22 w 206"/>
                  <a:gd name="T43" fmla="*/ 249 h 270"/>
                  <a:gd name="T44" fmla="*/ 14 w 206"/>
                  <a:gd name="T45" fmla="*/ 249 h 270"/>
                  <a:gd name="T46" fmla="*/ 0 w 206"/>
                  <a:gd name="T47" fmla="*/ 242 h 270"/>
                  <a:gd name="T48" fmla="*/ 0 w 206"/>
                  <a:gd name="T49" fmla="*/ 235 h 270"/>
                  <a:gd name="T50" fmla="*/ 0 w 206"/>
                  <a:gd name="T51" fmla="*/ 220 h 270"/>
                  <a:gd name="T52" fmla="*/ 0 w 206"/>
                  <a:gd name="T53" fmla="*/ 213 h 270"/>
                  <a:gd name="T54" fmla="*/ 0 w 206"/>
                  <a:gd name="T55" fmla="*/ 199 h 270"/>
                  <a:gd name="T56" fmla="*/ 7 w 206"/>
                  <a:gd name="T57" fmla="*/ 178 h 270"/>
                  <a:gd name="T58" fmla="*/ 0 w 206"/>
                  <a:gd name="T59" fmla="*/ 157 h 270"/>
                  <a:gd name="T60" fmla="*/ 0 w 206"/>
                  <a:gd name="T61" fmla="*/ 149 h 270"/>
                  <a:gd name="T62" fmla="*/ 7 w 206"/>
                  <a:gd name="T63" fmla="*/ 135 h 270"/>
                  <a:gd name="T64" fmla="*/ 7 w 206"/>
                  <a:gd name="T65" fmla="*/ 142 h 270"/>
                  <a:gd name="T66" fmla="*/ 14 w 206"/>
                  <a:gd name="T67" fmla="*/ 135 h 270"/>
                  <a:gd name="T68" fmla="*/ 14 w 206"/>
                  <a:gd name="T69" fmla="*/ 121 h 270"/>
                  <a:gd name="T70" fmla="*/ 22 w 206"/>
                  <a:gd name="T71" fmla="*/ 114 h 270"/>
                  <a:gd name="T72" fmla="*/ 14 w 206"/>
                  <a:gd name="T73" fmla="*/ 107 h 270"/>
                  <a:gd name="T74" fmla="*/ 22 w 206"/>
                  <a:gd name="T75" fmla="*/ 100 h 270"/>
                  <a:gd name="T76" fmla="*/ 29 w 206"/>
                  <a:gd name="T77" fmla="*/ 86 h 270"/>
                  <a:gd name="T78" fmla="*/ 36 w 206"/>
                  <a:gd name="T79" fmla="*/ 71 h 270"/>
                  <a:gd name="T80" fmla="*/ 43 w 206"/>
                  <a:gd name="T81" fmla="*/ 71 h 270"/>
                  <a:gd name="T82" fmla="*/ 50 w 206"/>
                  <a:gd name="T83" fmla="*/ 71 h 270"/>
                  <a:gd name="T84" fmla="*/ 57 w 206"/>
                  <a:gd name="T85" fmla="*/ 78 h 270"/>
                  <a:gd name="T86" fmla="*/ 71 w 206"/>
                  <a:gd name="T87" fmla="*/ 57 h 270"/>
                  <a:gd name="T88" fmla="*/ 78 w 206"/>
                  <a:gd name="T89" fmla="*/ 36 h 270"/>
                  <a:gd name="T90" fmla="*/ 71 w 206"/>
                  <a:gd name="T91" fmla="*/ 36 h 270"/>
                  <a:gd name="T92" fmla="*/ 78 w 206"/>
                  <a:gd name="T93" fmla="*/ 29 h 270"/>
                  <a:gd name="T94" fmla="*/ 107 w 206"/>
                  <a:gd name="T95" fmla="*/ 29 h 270"/>
                  <a:gd name="T96" fmla="*/ 121 w 206"/>
                  <a:gd name="T97" fmla="*/ 29 h 270"/>
                  <a:gd name="T98" fmla="*/ 128 w 206"/>
                  <a:gd name="T99" fmla="*/ 29 h 270"/>
                  <a:gd name="T100" fmla="*/ 149 w 206"/>
                  <a:gd name="T101" fmla="*/ 22 h 270"/>
                  <a:gd name="T102" fmla="*/ 171 w 206"/>
                  <a:gd name="T103" fmla="*/ 0 h 270"/>
                  <a:gd name="T104" fmla="*/ 171 w 206"/>
                  <a:gd name="T105" fmla="*/ 15 h 270"/>
                  <a:gd name="T106" fmla="*/ 178 w 206"/>
                  <a:gd name="T107" fmla="*/ 29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6" h="270">
                    <a:moveTo>
                      <a:pt x="178" y="36"/>
                    </a:moveTo>
                    <a:lnTo>
                      <a:pt x="178" y="36"/>
                    </a:lnTo>
                    <a:lnTo>
                      <a:pt x="185" y="36"/>
                    </a:lnTo>
                    <a:lnTo>
                      <a:pt x="185" y="36"/>
                    </a:lnTo>
                    <a:lnTo>
                      <a:pt x="185" y="36"/>
                    </a:lnTo>
                    <a:lnTo>
                      <a:pt x="185" y="43"/>
                    </a:lnTo>
                    <a:lnTo>
                      <a:pt x="178" y="64"/>
                    </a:lnTo>
                    <a:lnTo>
                      <a:pt x="178" y="71"/>
                    </a:lnTo>
                    <a:lnTo>
                      <a:pt x="185" y="78"/>
                    </a:lnTo>
                    <a:lnTo>
                      <a:pt x="192" y="78"/>
                    </a:lnTo>
                    <a:lnTo>
                      <a:pt x="192" y="78"/>
                    </a:lnTo>
                    <a:lnTo>
                      <a:pt x="199" y="78"/>
                    </a:lnTo>
                    <a:lnTo>
                      <a:pt x="199" y="86"/>
                    </a:lnTo>
                    <a:lnTo>
                      <a:pt x="206" y="93"/>
                    </a:lnTo>
                    <a:lnTo>
                      <a:pt x="206" y="100"/>
                    </a:lnTo>
                    <a:lnTo>
                      <a:pt x="199" y="100"/>
                    </a:lnTo>
                    <a:lnTo>
                      <a:pt x="199" y="107"/>
                    </a:lnTo>
                    <a:lnTo>
                      <a:pt x="199" y="114"/>
                    </a:lnTo>
                    <a:lnTo>
                      <a:pt x="199" y="121"/>
                    </a:lnTo>
                    <a:lnTo>
                      <a:pt x="192" y="128"/>
                    </a:lnTo>
                    <a:lnTo>
                      <a:pt x="192" y="135"/>
                    </a:lnTo>
                    <a:lnTo>
                      <a:pt x="192" y="135"/>
                    </a:lnTo>
                    <a:lnTo>
                      <a:pt x="192" y="135"/>
                    </a:lnTo>
                    <a:lnTo>
                      <a:pt x="192" y="142"/>
                    </a:lnTo>
                    <a:lnTo>
                      <a:pt x="192" y="142"/>
                    </a:lnTo>
                    <a:lnTo>
                      <a:pt x="192" y="142"/>
                    </a:lnTo>
                    <a:lnTo>
                      <a:pt x="192" y="142"/>
                    </a:lnTo>
                    <a:lnTo>
                      <a:pt x="185" y="142"/>
                    </a:lnTo>
                    <a:lnTo>
                      <a:pt x="185" y="142"/>
                    </a:lnTo>
                    <a:lnTo>
                      <a:pt x="185" y="149"/>
                    </a:lnTo>
                    <a:lnTo>
                      <a:pt x="185" y="157"/>
                    </a:lnTo>
                    <a:lnTo>
                      <a:pt x="185" y="164"/>
                    </a:lnTo>
                    <a:lnTo>
                      <a:pt x="178" y="164"/>
                    </a:lnTo>
                    <a:lnTo>
                      <a:pt x="178" y="164"/>
                    </a:lnTo>
                    <a:lnTo>
                      <a:pt x="178" y="171"/>
                    </a:lnTo>
                    <a:lnTo>
                      <a:pt x="178" y="178"/>
                    </a:lnTo>
                    <a:lnTo>
                      <a:pt x="171" y="178"/>
                    </a:lnTo>
                    <a:lnTo>
                      <a:pt x="171" y="178"/>
                    </a:lnTo>
                    <a:lnTo>
                      <a:pt x="171" y="178"/>
                    </a:lnTo>
                    <a:lnTo>
                      <a:pt x="171" y="185"/>
                    </a:lnTo>
                    <a:lnTo>
                      <a:pt x="171" y="185"/>
                    </a:lnTo>
                    <a:lnTo>
                      <a:pt x="171" y="192"/>
                    </a:lnTo>
                    <a:lnTo>
                      <a:pt x="171" y="192"/>
                    </a:lnTo>
                    <a:lnTo>
                      <a:pt x="171" y="192"/>
                    </a:lnTo>
                    <a:lnTo>
                      <a:pt x="171" y="192"/>
                    </a:lnTo>
                    <a:lnTo>
                      <a:pt x="171" y="192"/>
                    </a:lnTo>
                    <a:lnTo>
                      <a:pt x="171" y="199"/>
                    </a:lnTo>
                    <a:lnTo>
                      <a:pt x="164" y="199"/>
                    </a:lnTo>
                    <a:lnTo>
                      <a:pt x="164" y="199"/>
                    </a:lnTo>
                    <a:lnTo>
                      <a:pt x="164" y="199"/>
                    </a:lnTo>
                    <a:lnTo>
                      <a:pt x="164" y="206"/>
                    </a:lnTo>
                    <a:lnTo>
                      <a:pt x="164" y="213"/>
                    </a:lnTo>
                    <a:lnTo>
                      <a:pt x="164" y="228"/>
                    </a:lnTo>
                    <a:lnTo>
                      <a:pt x="164" y="235"/>
                    </a:lnTo>
                    <a:lnTo>
                      <a:pt x="164" y="235"/>
                    </a:lnTo>
                    <a:lnTo>
                      <a:pt x="164" y="242"/>
                    </a:lnTo>
                    <a:lnTo>
                      <a:pt x="156" y="242"/>
                    </a:lnTo>
                    <a:lnTo>
                      <a:pt x="156" y="242"/>
                    </a:lnTo>
                    <a:lnTo>
                      <a:pt x="156" y="249"/>
                    </a:lnTo>
                    <a:lnTo>
                      <a:pt x="156" y="249"/>
                    </a:lnTo>
                    <a:lnTo>
                      <a:pt x="156" y="256"/>
                    </a:lnTo>
                    <a:lnTo>
                      <a:pt x="156" y="263"/>
                    </a:lnTo>
                    <a:lnTo>
                      <a:pt x="156" y="263"/>
                    </a:lnTo>
                    <a:lnTo>
                      <a:pt x="156" y="270"/>
                    </a:lnTo>
                    <a:lnTo>
                      <a:pt x="156" y="270"/>
                    </a:lnTo>
                    <a:lnTo>
                      <a:pt x="149" y="270"/>
                    </a:lnTo>
                    <a:lnTo>
                      <a:pt x="149" y="270"/>
                    </a:lnTo>
                    <a:lnTo>
                      <a:pt x="149" y="270"/>
                    </a:lnTo>
                    <a:lnTo>
                      <a:pt x="142" y="270"/>
                    </a:lnTo>
                    <a:lnTo>
                      <a:pt x="142" y="270"/>
                    </a:lnTo>
                    <a:lnTo>
                      <a:pt x="135" y="263"/>
                    </a:lnTo>
                    <a:lnTo>
                      <a:pt x="135" y="263"/>
                    </a:lnTo>
                    <a:lnTo>
                      <a:pt x="128" y="263"/>
                    </a:lnTo>
                    <a:lnTo>
                      <a:pt x="121" y="263"/>
                    </a:lnTo>
                    <a:lnTo>
                      <a:pt x="121" y="263"/>
                    </a:lnTo>
                    <a:lnTo>
                      <a:pt x="107" y="263"/>
                    </a:lnTo>
                    <a:lnTo>
                      <a:pt x="107" y="263"/>
                    </a:lnTo>
                    <a:lnTo>
                      <a:pt x="100" y="256"/>
                    </a:lnTo>
                    <a:lnTo>
                      <a:pt x="100" y="249"/>
                    </a:lnTo>
                    <a:lnTo>
                      <a:pt x="93" y="249"/>
                    </a:lnTo>
                    <a:lnTo>
                      <a:pt x="85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1" y="256"/>
                    </a:lnTo>
                    <a:lnTo>
                      <a:pt x="71" y="256"/>
                    </a:lnTo>
                    <a:lnTo>
                      <a:pt x="71" y="263"/>
                    </a:lnTo>
                    <a:lnTo>
                      <a:pt x="64" y="263"/>
                    </a:lnTo>
                    <a:lnTo>
                      <a:pt x="64" y="263"/>
                    </a:lnTo>
                    <a:lnTo>
                      <a:pt x="64" y="263"/>
                    </a:lnTo>
                    <a:lnTo>
                      <a:pt x="64" y="256"/>
                    </a:lnTo>
                    <a:lnTo>
                      <a:pt x="64" y="256"/>
                    </a:lnTo>
                    <a:lnTo>
                      <a:pt x="57" y="249"/>
                    </a:lnTo>
                    <a:lnTo>
                      <a:pt x="57" y="249"/>
                    </a:lnTo>
                    <a:lnTo>
                      <a:pt x="50" y="242"/>
                    </a:lnTo>
                    <a:lnTo>
                      <a:pt x="50" y="242"/>
                    </a:lnTo>
                    <a:lnTo>
                      <a:pt x="43" y="242"/>
                    </a:lnTo>
                    <a:lnTo>
                      <a:pt x="43" y="249"/>
                    </a:lnTo>
                    <a:lnTo>
                      <a:pt x="43" y="249"/>
                    </a:lnTo>
                    <a:lnTo>
                      <a:pt x="43" y="249"/>
                    </a:lnTo>
                    <a:lnTo>
                      <a:pt x="43" y="249"/>
                    </a:lnTo>
                    <a:lnTo>
                      <a:pt x="36" y="256"/>
                    </a:lnTo>
                    <a:lnTo>
                      <a:pt x="36" y="256"/>
                    </a:lnTo>
                    <a:lnTo>
                      <a:pt x="36" y="256"/>
                    </a:lnTo>
                    <a:lnTo>
                      <a:pt x="36" y="249"/>
                    </a:lnTo>
                    <a:lnTo>
                      <a:pt x="36" y="249"/>
                    </a:lnTo>
                    <a:lnTo>
                      <a:pt x="36" y="249"/>
                    </a:lnTo>
                    <a:lnTo>
                      <a:pt x="36" y="249"/>
                    </a:lnTo>
                    <a:lnTo>
                      <a:pt x="36" y="249"/>
                    </a:lnTo>
                    <a:lnTo>
                      <a:pt x="36" y="249"/>
                    </a:lnTo>
                    <a:lnTo>
                      <a:pt x="36" y="249"/>
                    </a:lnTo>
                    <a:lnTo>
                      <a:pt x="29" y="249"/>
                    </a:lnTo>
                    <a:lnTo>
                      <a:pt x="29" y="249"/>
                    </a:lnTo>
                    <a:lnTo>
                      <a:pt x="29" y="249"/>
                    </a:lnTo>
                    <a:lnTo>
                      <a:pt x="29" y="249"/>
                    </a:lnTo>
                    <a:lnTo>
                      <a:pt x="29" y="249"/>
                    </a:lnTo>
                    <a:lnTo>
                      <a:pt x="29" y="249"/>
                    </a:lnTo>
                    <a:lnTo>
                      <a:pt x="29" y="249"/>
                    </a:lnTo>
                    <a:lnTo>
                      <a:pt x="29" y="249"/>
                    </a:lnTo>
                    <a:lnTo>
                      <a:pt x="22" y="249"/>
                    </a:lnTo>
                    <a:lnTo>
                      <a:pt x="22" y="249"/>
                    </a:lnTo>
                    <a:lnTo>
                      <a:pt x="22" y="249"/>
                    </a:lnTo>
                    <a:lnTo>
                      <a:pt x="22" y="249"/>
                    </a:lnTo>
                    <a:lnTo>
                      <a:pt x="22" y="249"/>
                    </a:lnTo>
                    <a:lnTo>
                      <a:pt x="22" y="249"/>
                    </a:lnTo>
                    <a:lnTo>
                      <a:pt x="22" y="249"/>
                    </a:lnTo>
                    <a:lnTo>
                      <a:pt x="22" y="249"/>
                    </a:lnTo>
                    <a:lnTo>
                      <a:pt x="22" y="249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14" y="249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35"/>
                    </a:lnTo>
                    <a:lnTo>
                      <a:pt x="0" y="235"/>
                    </a:lnTo>
                    <a:lnTo>
                      <a:pt x="0" y="228"/>
                    </a:lnTo>
                    <a:lnTo>
                      <a:pt x="0" y="228"/>
                    </a:lnTo>
                    <a:lnTo>
                      <a:pt x="0" y="228"/>
                    </a:lnTo>
                    <a:lnTo>
                      <a:pt x="0" y="228"/>
                    </a:lnTo>
                    <a:lnTo>
                      <a:pt x="0" y="220"/>
                    </a:lnTo>
                    <a:lnTo>
                      <a:pt x="0" y="220"/>
                    </a:lnTo>
                    <a:lnTo>
                      <a:pt x="0" y="220"/>
                    </a:lnTo>
                    <a:lnTo>
                      <a:pt x="0" y="213"/>
                    </a:lnTo>
                    <a:lnTo>
                      <a:pt x="0" y="213"/>
                    </a:lnTo>
                    <a:lnTo>
                      <a:pt x="0" y="213"/>
                    </a:lnTo>
                    <a:lnTo>
                      <a:pt x="0" y="213"/>
                    </a:lnTo>
                    <a:lnTo>
                      <a:pt x="0" y="206"/>
                    </a:lnTo>
                    <a:lnTo>
                      <a:pt x="0" y="206"/>
                    </a:lnTo>
                    <a:lnTo>
                      <a:pt x="0" y="206"/>
                    </a:lnTo>
                    <a:lnTo>
                      <a:pt x="0" y="199"/>
                    </a:lnTo>
                    <a:lnTo>
                      <a:pt x="0" y="199"/>
                    </a:lnTo>
                    <a:lnTo>
                      <a:pt x="0" y="199"/>
                    </a:lnTo>
                    <a:lnTo>
                      <a:pt x="0" y="199"/>
                    </a:lnTo>
                    <a:lnTo>
                      <a:pt x="0" y="192"/>
                    </a:lnTo>
                    <a:lnTo>
                      <a:pt x="0" y="185"/>
                    </a:lnTo>
                    <a:lnTo>
                      <a:pt x="0" y="178"/>
                    </a:lnTo>
                    <a:lnTo>
                      <a:pt x="0" y="178"/>
                    </a:lnTo>
                    <a:lnTo>
                      <a:pt x="7" y="178"/>
                    </a:lnTo>
                    <a:lnTo>
                      <a:pt x="7" y="171"/>
                    </a:lnTo>
                    <a:lnTo>
                      <a:pt x="7" y="171"/>
                    </a:lnTo>
                    <a:lnTo>
                      <a:pt x="0" y="164"/>
                    </a:lnTo>
                    <a:lnTo>
                      <a:pt x="7" y="164"/>
                    </a:lnTo>
                    <a:lnTo>
                      <a:pt x="7" y="157"/>
                    </a:lnTo>
                    <a:lnTo>
                      <a:pt x="0" y="157"/>
                    </a:lnTo>
                    <a:lnTo>
                      <a:pt x="0" y="157"/>
                    </a:lnTo>
                    <a:lnTo>
                      <a:pt x="0" y="157"/>
                    </a:lnTo>
                    <a:lnTo>
                      <a:pt x="0" y="157"/>
                    </a:lnTo>
                    <a:lnTo>
                      <a:pt x="0" y="157"/>
                    </a:lnTo>
                    <a:lnTo>
                      <a:pt x="0" y="157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42"/>
                    </a:lnTo>
                    <a:lnTo>
                      <a:pt x="0" y="142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7" y="135"/>
                    </a:lnTo>
                    <a:lnTo>
                      <a:pt x="7" y="135"/>
                    </a:lnTo>
                    <a:lnTo>
                      <a:pt x="7" y="135"/>
                    </a:lnTo>
                    <a:lnTo>
                      <a:pt x="7" y="135"/>
                    </a:lnTo>
                    <a:lnTo>
                      <a:pt x="7" y="135"/>
                    </a:lnTo>
                    <a:lnTo>
                      <a:pt x="7" y="135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14" y="142"/>
                    </a:lnTo>
                    <a:lnTo>
                      <a:pt x="14" y="142"/>
                    </a:lnTo>
                    <a:lnTo>
                      <a:pt x="14" y="135"/>
                    </a:lnTo>
                    <a:lnTo>
                      <a:pt x="14" y="135"/>
                    </a:lnTo>
                    <a:lnTo>
                      <a:pt x="14" y="135"/>
                    </a:lnTo>
                    <a:lnTo>
                      <a:pt x="14" y="135"/>
                    </a:lnTo>
                    <a:lnTo>
                      <a:pt x="14" y="128"/>
                    </a:lnTo>
                    <a:lnTo>
                      <a:pt x="22" y="121"/>
                    </a:lnTo>
                    <a:lnTo>
                      <a:pt x="22" y="121"/>
                    </a:lnTo>
                    <a:lnTo>
                      <a:pt x="14" y="121"/>
                    </a:lnTo>
                    <a:lnTo>
                      <a:pt x="14" y="121"/>
                    </a:lnTo>
                    <a:lnTo>
                      <a:pt x="14" y="121"/>
                    </a:lnTo>
                    <a:lnTo>
                      <a:pt x="14" y="121"/>
                    </a:lnTo>
                    <a:lnTo>
                      <a:pt x="14" y="121"/>
                    </a:lnTo>
                    <a:lnTo>
                      <a:pt x="14" y="121"/>
                    </a:lnTo>
                    <a:lnTo>
                      <a:pt x="22" y="121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14" y="107"/>
                    </a:lnTo>
                    <a:lnTo>
                      <a:pt x="14" y="107"/>
                    </a:lnTo>
                    <a:lnTo>
                      <a:pt x="14" y="107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9" y="93"/>
                    </a:lnTo>
                    <a:lnTo>
                      <a:pt x="29" y="93"/>
                    </a:lnTo>
                    <a:lnTo>
                      <a:pt x="29" y="86"/>
                    </a:lnTo>
                    <a:lnTo>
                      <a:pt x="29" y="78"/>
                    </a:lnTo>
                    <a:lnTo>
                      <a:pt x="29" y="71"/>
                    </a:lnTo>
                    <a:lnTo>
                      <a:pt x="36" y="71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6" y="71"/>
                    </a:lnTo>
                    <a:lnTo>
                      <a:pt x="43" y="71"/>
                    </a:lnTo>
                    <a:lnTo>
                      <a:pt x="43" y="71"/>
                    </a:lnTo>
                    <a:lnTo>
                      <a:pt x="43" y="71"/>
                    </a:lnTo>
                    <a:lnTo>
                      <a:pt x="43" y="71"/>
                    </a:lnTo>
                    <a:lnTo>
                      <a:pt x="43" y="71"/>
                    </a:lnTo>
                    <a:lnTo>
                      <a:pt x="43" y="71"/>
                    </a:lnTo>
                    <a:lnTo>
                      <a:pt x="43" y="71"/>
                    </a:lnTo>
                    <a:lnTo>
                      <a:pt x="43" y="71"/>
                    </a:lnTo>
                    <a:lnTo>
                      <a:pt x="50" y="71"/>
                    </a:lnTo>
                    <a:lnTo>
                      <a:pt x="50" y="71"/>
                    </a:lnTo>
                    <a:lnTo>
                      <a:pt x="50" y="71"/>
                    </a:lnTo>
                    <a:lnTo>
                      <a:pt x="50" y="71"/>
                    </a:lnTo>
                    <a:lnTo>
                      <a:pt x="57" y="78"/>
                    </a:lnTo>
                    <a:lnTo>
                      <a:pt x="57" y="78"/>
                    </a:lnTo>
                    <a:lnTo>
                      <a:pt x="57" y="78"/>
                    </a:lnTo>
                    <a:lnTo>
                      <a:pt x="57" y="78"/>
                    </a:lnTo>
                    <a:lnTo>
                      <a:pt x="57" y="78"/>
                    </a:lnTo>
                    <a:lnTo>
                      <a:pt x="57" y="78"/>
                    </a:lnTo>
                    <a:lnTo>
                      <a:pt x="64" y="71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57"/>
                    </a:lnTo>
                    <a:lnTo>
                      <a:pt x="64" y="57"/>
                    </a:lnTo>
                    <a:lnTo>
                      <a:pt x="71" y="57"/>
                    </a:lnTo>
                    <a:lnTo>
                      <a:pt x="78" y="43"/>
                    </a:lnTo>
                    <a:lnTo>
                      <a:pt x="78" y="43"/>
                    </a:lnTo>
                    <a:lnTo>
                      <a:pt x="78" y="43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1" y="36"/>
                    </a:lnTo>
                    <a:lnTo>
                      <a:pt x="71" y="36"/>
                    </a:lnTo>
                    <a:lnTo>
                      <a:pt x="71" y="36"/>
                    </a:lnTo>
                    <a:lnTo>
                      <a:pt x="71" y="36"/>
                    </a:lnTo>
                    <a:lnTo>
                      <a:pt x="71" y="36"/>
                    </a:lnTo>
                    <a:lnTo>
                      <a:pt x="71" y="36"/>
                    </a:lnTo>
                    <a:lnTo>
                      <a:pt x="71" y="36"/>
                    </a:lnTo>
                    <a:lnTo>
                      <a:pt x="71" y="29"/>
                    </a:lnTo>
                    <a:lnTo>
                      <a:pt x="71" y="29"/>
                    </a:lnTo>
                    <a:lnTo>
                      <a:pt x="71" y="29"/>
                    </a:lnTo>
                    <a:lnTo>
                      <a:pt x="78" y="29"/>
                    </a:lnTo>
                    <a:lnTo>
                      <a:pt x="93" y="29"/>
                    </a:lnTo>
                    <a:lnTo>
                      <a:pt x="100" y="29"/>
                    </a:lnTo>
                    <a:lnTo>
                      <a:pt x="100" y="29"/>
                    </a:lnTo>
                    <a:lnTo>
                      <a:pt x="107" y="29"/>
                    </a:lnTo>
                    <a:lnTo>
                      <a:pt x="107" y="29"/>
                    </a:lnTo>
                    <a:lnTo>
                      <a:pt x="107" y="29"/>
                    </a:lnTo>
                    <a:lnTo>
                      <a:pt x="114" y="29"/>
                    </a:lnTo>
                    <a:lnTo>
                      <a:pt x="114" y="29"/>
                    </a:lnTo>
                    <a:lnTo>
                      <a:pt x="114" y="29"/>
                    </a:lnTo>
                    <a:lnTo>
                      <a:pt x="114" y="29"/>
                    </a:lnTo>
                    <a:lnTo>
                      <a:pt x="121" y="29"/>
                    </a:lnTo>
                    <a:lnTo>
                      <a:pt x="121" y="29"/>
                    </a:lnTo>
                    <a:lnTo>
                      <a:pt x="121" y="29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8" y="36"/>
                    </a:lnTo>
                    <a:lnTo>
                      <a:pt x="128" y="36"/>
                    </a:lnTo>
                    <a:lnTo>
                      <a:pt x="135" y="29"/>
                    </a:lnTo>
                    <a:lnTo>
                      <a:pt x="142" y="29"/>
                    </a:lnTo>
                    <a:lnTo>
                      <a:pt x="149" y="29"/>
                    </a:lnTo>
                    <a:lnTo>
                      <a:pt x="149" y="22"/>
                    </a:lnTo>
                    <a:lnTo>
                      <a:pt x="156" y="22"/>
                    </a:lnTo>
                    <a:lnTo>
                      <a:pt x="156" y="15"/>
                    </a:lnTo>
                    <a:lnTo>
                      <a:pt x="156" y="15"/>
                    </a:lnTo>
                    <a:lnTo>
                      <a:pt x="164" y="15"/>
                    </a:lnTo>
                    <a:lnTo>
                      <a:pt x="164" y="15"/>
                    </a:lnTo>
                    <a:lnTo>
                      <a:pt x="171" y="0"/>
                    </a:lnTo>
                    <a:lnTo>
                      <a:pt x="171" y="0"/>
                    </a:lnTo>
                    <a:lnTo>
                      <a:pt x="171" y="0"/>
                    </a:lnTo>
                    <a:lnTo>
                      <a:pt x="171" y="0"/>
                    </a:lnTo>
                    <a:lnTo>
                      <a:pt x="171" y="7"/>
                    </a:lnTo>
                    <a:lnTo>
                      <a:pt x="171" y="7"/>
                    </a:lnTo>
                    <a:lnTo>
                      <a:pt x="171" y="15"/>
                    </a:lnTo>
                    <a:lnTo>
                      <a:pt x="171" y="15"/>
                    </a:lnTo>
                    <a:lnTo>
                      <a:pt x="171" y="15"/>
                    </a:lnTo>
                    <a:lnTo>
                      <a:pt x="171" y="29"/>
                    </a:lnTo>
                    <a:lnTo>
                      <a:pt x="171" y="29"/>
                    </a:lnTo>
                    <a:lnTo>
                      <a:pt x="171" y="29"/>
                    </a:lnTo>
                    <a:lnTo>
                      <a:pt x="178" y="29"/>
                    </a:lnTo>
                    <a:lnTo>
                      <a:pt x="178" y="36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3" name="Freeform 41"/>
              <p:cNvSpPr>
                <a:spLocks/>
              </p:cNvSpPr>
              <p:nvPr/>
            </p:nvSpPr>
            <p:spPr bwMode="auto">
              <a:xfrm>
                <a:off x="5309" y="1266"/>
                <a:ext cx="220" cy="276"/>
              </a:xfrm>
              <a:custGeom>
                <a:avLst/>
                <a:gdLst>
                  <a:gd name="T0" fmla="*/ 220 w 220"/>
                  <a:gd name="T1" fmla="*/ 56 h 276"/>
                  <a:gd name="T2" fmla="*/ 206 w 220"/>
                  <a:gd name="T3" fmla="*/ 64 h 276"/>
                  <a:gd name="T4" fmla="*/ 206 w 220"/>
                  <a:gd name="T5" fmla="*/ 71 h 276"/>
                  <a:gd name="T6" fmla="*/ 199 w 220"/>
                  <a:gd name="T7" fmla="*/ 85 h 276"/>
                  <a:gd name="T8" fmla="*/ 206 w 220"/>
                  <a:gd name="T9" fmla="*/ 106 h 276"/>
                  <a:gd name="T10" fmla="*/ 213 w 220"/>
                  <a:gd name="T11" fmla="*/ 120 h 276"/>
                  <a:gd name="T12" fmla="*/ 213 w 220"/>
                  <a:gd name="T13" fmla="*/ 135 h 276"/>
                  <a:gd name="T14" fmla="*/ 220 w 220"/>
                  <a:gd name="T15" fmla="*/ 149 h 276"/>
                  <a:gd name="T16" fmla="*/ 206 w 220"/>
                  <a:gd name="T17" fmla="*/ 170 h 276"/>
                  <a:gd name="T18" fmla="*/ 206 w 220"/>
                  <a:gd name="T19" fmla="*/ 191 h 276"/>
                  <a:gd name="T20" fmla="*/ 199 w 220"/>
                  <a:gd name="T21" fmla="*/ 213 h 276"/>
                  <a:gd name="T22" fmla="*/ 192 w 220"/>
                  <a:gd name="T23" fmla="*/ 220 h 276"/>
                  <a:gd name="T24" fmla="*/ 178 w 220"/>
                  <a:gd name="T25" fmla="*/ 234 h 276"/>
                  <a:gd name="T26" fmla="*/ 157 w 220"/>
                  <a:gd name="T27" fmla="*/ 227 h 276"/>
                  <a:gd name="T28" fmla="*/ 157 w 220"/>
                  <a:gd name="T29" fmla="*/ 205 h 276"/>
                  <a:gd name="T30" fmla="*/ 150 w 220"/>
                  <a:gd name="T31" fmla="*/ 213 h 276"/>
                  <a:gd name="T32" fmla="*/ 128 w 220"/>
                  <a:gd name="T33" fmla="*/ 227 h 276"/>
                  <a:gd name="T34" fmla="*/ 114 w 220"/>
                  <a:gd name="T35" fmla="*/ 227 h 276"/>
                  <a:gd name="T36" fmla="*/ 100 w 220"/>
                  <a:gd name="T37" fmla="*/ 227 h 276"/>
                  <a:gd name="T38" fmla="*/ 93 w 220"/>
                  <a:gd name="T39" fmla="*/ 227 h 276"/>
                  <a:gd name="T40" fmla="*/ 57 w 220"/>
                  <a:gd name="T41" fmla="*/ 227 h 276"/>
                  <a:gd name="T42" fmla="*/ 57 w 220"/>
                  <a:gd name="T43" fmla="*/ 234 h 276"/>
                  <a:gd name="T44" fmla="*/ 64 w 220"/>
                  <a:gd name="T45" fmla="*/ 234 h 276"/>
                  <a:gd name="T46" fmla="*/ 50 w 220"/>
                  <a:gd name="T47" fmla="*/ 255 h 276"/>
                  <a:gd name="T48" fmla="*/ 43 w 220"/>
                  <a:gd name="T49" fmla="*/ 276 h 276"/>
                  <a:gd name="T50" fmla="*/ 36 w 220"/>
                  <a:gd name="T51" fmla="*/ 269 h 276"/>
                  <a:gd name="T52" fmla="*/ 29 w 220"/>
                  <a:gd name="T53" fmla="*/ 269 h 276"/>
                  <a:gd name="T54" fmla="*/ 22 w 220"/>
                  <a:gd name="T55" fmla="*/ 262 h 276"/>
                  <a:gd name="T56" fmla="*/ 22 w 220"/>
                  <a:gd name="T57" fmla="*/ 248 h 276"/>
                  <a:gd name="T58" fmla="*/ 15 w 220"/>
                  <a:gd name="T59" fmla="*/ 241 h 276"/>
                  <a:gd name="T60" fmla="*/ 8 w 220"/>
                  <a:gd name="T61" fmla="*/ 234 h 276"/>
                  <a:gd name="T62" fmla="*/ 0 w 220"/>
                  <a:gd name="T63" fmla="*/ 227 h 276"/>
                  <a:gd name="T64" fmla="*/ 29 w 220"/>
                  <a:gd name="T65" fmla="*/ 198 h 276"/>
                  <a:gd name="T66" fmla="*/ 43 w 220"/>
                  <a:gd name="T67" fmla="*/ 177 h 276"/>
                  <a:gd name="T68" fmla="*/ 43 w 220"/>
                  <a:gd name="T69" fmla="*/ 170 h 276"/>
                  <a:gd name="T70" fmla="*/ 50 w 220"/>
                  <a:gd name="T71" fmla="*/ 170 h 276"/>
                  <a:gd name="T72" fmla="*/ 57 w 220"/>
                  <a:gd name="T73" fmla="*/ 177 h 276"/>
                  <a:gd name="T74" fmla="*/ 50 w 220"/>
                  <a:gd name="T75" fmla="*/ 184 h 276"/>
                  <a:gd name="T76" fmla="*/ 71 w 220"/>
                  <a:gd name="T77" fmla="*/ 184 h 276"/>
                  <a:gd name="T78" fmla="*/ 79 w 220"/>
                  <a:gd name="T79" fmla="*/ 170 h 276"/>
                  <a:gd name="T80" fmla="*/ 71 w 220"/>
                  <a:gd name="T81" fmla="*/ 156 h 276"/>
                  <a:gd name="T82" fmla="*/ 79 w 220"/>
                  <a:gd name="T83" fmla="*/ 142 h 276"/>
                  <a:gd name="T84" fmla="*/ 86 w 220"/>
                  <a:gd name="T85" fmla="*/ 113 h 276"/>
                  <a:gd name="T86" fmla="*/ 93 w 220"/>
                  <a:gd name="T87" fmla="*/ 92 h 276"/>
                  <a:gd name="T88" fmla="*/ 107 w 220"/>
                  <a:gd name="T89" fmla="*/ 85 h 276"/>
                  <a:gd name="T90" fmla="*/ 107 w 220"/>
                  <a:gd name="T91" fmla="*/ 85 h 276"/>
                  <a:gd name="T92" fmla="*/ 121 w 220"/>
                  <a:gd name="T93" fmla="*/ 78 h 276"/>
                  <a:gd name="T94" fmla="*/ 121 w 220"/>
                  <a:gd name="T95" fmla="*/ 64 h 276"/>
                  <a:gd name="T96" fmla="*/ 128 w 220"/>
                  <a:gd name="T97" fmla="*/ 56 h 276"/>
                  <a:gd name="T98" fmla="*/ 150 w 220"/>
                  <a:gd name="T99" fmla="*/ 49 h 276"/>
                  <a:gd name="T100" fmla="*/ 171 w 220"/>
                  <a:gd name="T101" fmla="*/ 21 h 276"/>
                  <a:gd name="T102" fmla="*/ 178 w 220"/>
                  <a:gd name="T103" fmla="*/ 21 h 276"/>
                  <a:gd name="T104" fmla="*/ 199 w 220"/>
                  <a:gd name="T105" fmla="*/ 7 h 276"/>
                  <a:gd name="T106" fmla="*/ 206 w 220"/>
                  <a:gd name="T107" fmla="*/ 7 h 276"/>
                  <a:gd name="T108" fmla="*/ 213 w 220"/>
                  <a:gd name="T109" fmla="*/ 14 h 276"/>
                  <a:gd name="T110" fmla="*/ 213 w 220"/>
                  <a:gd name="T111" fmla="*/ 21 h 276"/>
                  <a:gd name="T112" fmla="*/ 213 w 220"/>
                  <a:gd name="T113" fmla="*/ 35 h 276"/>
                  <a:gd name="T114" fmla="*/ 220 w 220"/>
                  <a:gd name="T115" fmla="*/ 42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0" h="276">
                    <a:moveTo>
                      <a:pt x="220" y="42"/>
                    </a:moveTo>
                    <a:lnTo>
                      <a:pt x="220" y="42"/>
                    </a:lnTo>
                    <a:lnTo>
                      <a:pt x="220" y="49"/>
                    </a:lnTo>
                    <a:lnTo>
                      <a:pt x="220" y="56"/>
                    </a:lnTo>
                    <a:lnTo>
                      <a:pt x="220" y="56"/>
                    </a:lnTo>
                    <a:lnTo>
                      <a:pt x="220" y="56"/>
                    </a:lnTo>
                    <a:lnTo>
                      <a:pt x="213" y="56"/>
                    </a:lnTo>
                    <a:lnTo>
                      <a:pt x="213" y="56"/>
                    </a:lnTo>
                    <a:lnTo>
                      <a:pt x="213" y="56"/>
                    </a:lnTo>
                    <a:lnTo>
                      <a:pt x="213" y="56"/>
                    </a:lnTo>
                    <a:lnTo>
                      <a:pt x="213" y="56"/>
                    </a:lnTo>
                    <a:lnTo>
                      <a:pt x="206" y="64"/>
                    </a:lnTo>
                    <a:lnTo>
                      <a:pt x="206" y="64"/>
                    </a:lnTo>
                    <a:lnTo>
                      <a:pt x="206" y="64"/>
                    </a:lnTo>
                    <a:lnTo>
                      <a:pt x="206" y="64"/>
                    </a:lnTo>
                    <a:lnTo>
                      <a:pt x="206" y="71"/>
                    </a:lnTo>
                    <a:lnTo>
                      <a:pt x="206" y="71"/>
                    </a:lnTo>
                    <a:lnTo>
                      <a:pt x="206" y="71"/>
                    </a:lnTo>
                    <a:lnTo>
                      <a:pt x="206" y="71"/>
                    </a:lnTo>
                    <a:lnTo>
                      <a:pt x="206" y="71"/>
                    </a:lnTo>
                    <a:lnTo>
                      <a:pt x="206" y="78"/>
                    </a:lnTo>
                    <a:lnTo>
                      <a:pt x="199" y="78"/>
                    </a:lnTo>
                    <a:lnTo>
                      <a:pt x="199" y="78"/>
                    </a:lnTo>
                    <a:lnTo>
                      <a:pt x="199" y="85"/>
                    </a:lnTo>
                    <a:lnTo>
                      <a:pt x="199" y="85"/>
                    </a:lnTo>
                    <a:lnTo>
                      <a:pt x="206" y="92"/>
                    </a:lnTo>
                    <a:lnTo>
                      <a:pt x="206" y="92"/>
                    </a:lnTo>
                    <a:lnTo>
                      <a:pt x="206" y="92"/>
                    </a:lnTo>
                    <a:lnTo>
                      <a:pt x="206" y="99"/>
                    </a:lnTo>
                    <a:lnTo>
                      <a:pt x="206" y="106"/>
                    </a:lnTo>
                    <a:lnTo>
                      <a:pt x="206" y="113"/>
                    </a:lnTo>
                    <a:lnTo>
                      <a:pt x="206" y="113"/>
                    </a:lnTo>
                    <a:lnTo>
                      <a:pt x="206" y="120"/>
                    </a:lnTo>
                    <a:lnTo>
                      <a:pt x="206" y="120"/>
                    </a:lnTo>
                    <a:lnTo>
                      <a:pt x="213" y="120"/>
                    </a:lnTo>
                    <a:lnTo>
                      <a:pt x="213" y="120"/>
                    </a:lnTo>
                    <a:lnTo>
                      <a:pt x="213" y="120"/>
                    </a:lnTo>
                    <a:lnTo>
                      <a:pt x="213" y="120"/>
                    </a:lnTo>
                    <a:lnTo>
                      <a:pt x="213" y="120"/>
                    </a:lnTo>
                    <a:lnTo>
                      <a:pt x="213" y="127"/>
                    </a:lnTo>
                    <a:lnTo>
                      <a:pt x="213" y="127"/>
                    </a:lnTo>
                    <a:lnTo>
                      <a:pt x="213" y="135"/>
                    </a:lnTo>
                    <a:lnTo>
                      <a:pt x="213" y="135"/>
                    </a:lnTo>
                    <a:lnTo>
                      <a:pt x="220" y="142"/>
                    </a:lnTo>
                    <a:lnTo>
                      <a:pt x="220" y="142"/>
                    </a:lnTo>
                    <a:lnTo>
                      <a:pt x="220" y="142"/>
                    </a:lnTo>
                    <a:lnTo>
                      <a:pt x="220" y="149"/>
                    </a:lnTo>
                    <a:lnTo>
                      <a:pt x="220" y="149"/>
                    </a:lnTo>
                    <a:lnTo>
                      <a:pt x="213" y="156"/>
                    </a:lnTo>
                    <a:lnTo>
                      <a:pt x="213" y="156"/>
                    </a:lnTo>
                    <a:lnTo>
                      <a:pt x="206" y="163"/>
                    </a:lnTo>
                    <a:lnTo>
                      <a:pt x="206" y="163"/>
                    </a:lnTo>
                    <a:lnTo>
                      <a:pt x="206" y="163"/>
                    </a:lnTo>
                    <a:lnTo>
                      <a:pt x="206" y="170"/>
                    </a:lnTo>
                    <a:lnTo>
                      <a:pt x="213" y="184"/>
                    </a:lnTo>
                    <a:lnTo>
                      <a:pt x="213" y="184"/>
                    </a:lnTo>
                    <a:lnTo>
                      <a:pt x="213" y="191"/>
                    </a:lnTo>
                    <a:lnTo>
                      <a:pt x="213" y="191"/>
                    </a:lnTo>
                    <a:lnTo>
                      <a:pt x="206" y="191"/>
                    </a:lnTo>
                    <a:lnTo>
                      <a:pt x="206" y="191"/>
                    </a:lnTo>
                    <a:lnTo>
                      <a:pt x="206" y="191"/>
                    </a:lnTo>
                    <a:lnTo>
                      <a:pt x="199" y="213"/>
                    </a:lnTo>
                    <a:lnTo>
                      <a:pt x="199" y="213"/>
                    </a:lnTo>
                    <a:lnTo>
                      <a:pt x="199" y="213"/>
                    </a:lnTo>
                    <a:lnTo>
                      <a:pt x="199" y="213"/>
                    </a:lnTo>
                    <a:lnTo>
                      <a:pt x="199" y="213"/>
                    </a:lnTo>
                    <a:lnTo>
                      <a:pt x="199" y="213"/>
                    </a:lnTo>
                    <a:lnTo>
                      <a:pt x="199" y="213"/>
                    </a:lnTo>
                    <a:lnTo>
                      <a:pt x="199" y="213"/>
                    </a:lnTo>
                    <a:lnTo>
                      <a:pt x="192" y="213"/>
                    </a:lnTo>
                    <a:lnTo>
                      <a:pt x="192" y="220"/>
                    </a:lnTo>
                    <a:lnTo>
                      <a:pt x="192" y="220"/>
                    </a:lnTo>
                    <a:lnTo>
                      <a:pt x="192" y="227"/>
                    </a:lnTo>
                    <a:lnTo>
                      <a:pt x="185" y="227"/>
                    </a:lnTo>
                    <a:lnTo>
                      <a:pt x="185" y="227"/>
                    </a:lnTo>
                    <a:lnTo>
                      <a:pt x="178" y="227"/>
                    </a:lnTo>
                    <a:lnTo>
                      <a:pt x="178" y="227"/>
                    </a:lnTo>
                    <a:lnTo>
                      <a:pt x="178" y="234"/>
                    </a:lnTo>
                    <a:lnTo>
                      <a:pt x="171" y="234"/>
                    </a:lnTo>
                    <a:lnTo>
                      <a:pt x="171" y="234"/>
                    </a:lnTo>
                    <a:lnTo>
                      <a:pt x="164" y="234"/>
                    </a:lnTo>
                    <a:lnTo>
                      <a:pt x="164" y="227"/>
                    </a:lnTo>
                    <a:lnTo>
                      <a:pt x="157" y="227"/>
                    </a:lnTo>
                    <a:lnTo>
                      <a:pt x="157" y="227"/>
                    </a:lnTo>
                    <a:lnTo>
                      <a:pt x="157" y="227"/>
                    </a:lnTo>
                    <a:lnTo>
                      <a:pt x="157" y="213"/>
                    </a:lnTo>
                    <a:lnTo>
                      <a:pt x="157" y="213"/>
                    </a:lnTo>
                    <a:lnTo>
                      <a:pt x="157" y="213"/>
                    </a:lnTo>
                    <a:lnTo>
                      <a:pt x="157" y="205"/>
                    </a:lnTo>
                    <a:lnTo>
                      <a:pt x="157" y="205"/>
                    </a:lnTo>
                    <a:lnTo>
                      <a:pt x="157" y="198"/>
                    </a:lnTo>
                    <a:lnTo>
                      <a:pt x="157" y="198"/>
                    </a:lnTo>
                    <a:lnTo>
                      <a:pt x="157" y="198"/>
                    </a:lnTo>
                    <a:lnTo>
                      <a:pt x="157" y="198"/>
                    </a:lnTo>
                    <a:lnTo>
                      <a:pt x="150" y="213"/>
                    </a:lnTo>
                    <a:lnTo>
                      <a:pt x="150" y="213"/>
                    </a:lnTo>
                    <a:lnTo>
                      <a:pt x="142" y="213"/>
                    </a:lnTo>
                    <a:lnTo>
                      <a:pt x="142" y="213"/>
                    </a:lnTo>
                    <a:lnTo>
                      <a:pt x="142" y="220"/>
                    </a:lnTo>
                    <a:lnTo>
                      <a:pt x="135" y="220"/>
                    </a:lnTo>
                    <a:lnTo>
                      <a:pt x="135" y="227"/>
                    </a:lnTo>
                    <a:lnTo>
                      <a:pt x="128" y="227"/>
                    </a:lnTo>
                    <a:lnTo>
                      <a:pt x="121" y="227"/>
                    </a:lnTo>
                    <a:lnTo>
                      <a:pt x="114" y="234"/>
                    </a:lnTo>
                    <a:lnTo>
                      <a:pt x="114" y="234"/>
                    </a:lnTo>
                    <a:lnTo>
                      <a:pt x="114" y="227"/>
                    </a:lnTo>
                    <a:lnTo>
                      <a:pt x="114" y="227"/>
                    </a:lnTo>
                    <a:lnTo>
                      <a:pt x="114" y="227"/>
                    </a:lnTo>
                    <a:lnTo>
                      <a:pt x="114" y="227"/>
                    </a:lnTo>
                    <a:lnTo>
                      <a:pt x="114" y="227"/>
                    </a:lnTo>
                    <a:lnTo>
                      <a:pt x="107" y="227"/>
                    </a:lnTo>
                    <a:lnTo>
                      <a:pt x="107" y="227"/>
                    </a:lnTo>
                    <a:lnTo>
                      <a:pt x="107" y="227"/>
                    </a:lnTo>
                    <a:lnTo>
                      <a:pt x="100" y="227"/>
                    </a:lnTo>
                    <a:lnTo>
                      <a:pt x="100" y="227"/>
                    </a:lnTo>
                    <a:lnTo>
                      <a:pt x="100" y="227"/>
                    </a:lnTo>
                    <a:lnTo>
                      <a:pt x="100" y="227"/>
                    </a:lnTo>
                    <a:lnTo>
                      <a:pt x="93" y="227"/>
                    </a:lnTo>
                    <a:lnTo>
                      <a:pt x="93" y="227"/>
                    </a:lnTo>
                    <a:lnTo>
                      <a:pt x="93" y="227"/>
                    </a:lnTo>
                    <a:lnTo>
                      <a:pt x="86" y="227"/>
                    </a:lnTo>
                    <a:lnTo>
                      <a:pt x="86" y="227"/>
                    </a:lnTo>
                    <a:lnTo>
                      <a:pt x="79" y="227"/>
                    </a:lnTo>
                    <a:lnTo>
                      <a:pt x="64" y="227"/>
                    </a:lnTo>
                    <a:lnTo>
                      <a:pt x="57" y="227"/>
                    </a:lnTo>
                    <a:lnTo>
                      <a:pt x="57" y="227"/>
                    </a:lnTo>
                    <a:lnTo>
                      <a:pt x="57" y="227"/>
                    </a:lnTo>
                    <a:lnTo>
                      <a:pt x="57" y="234"/>
                    </a:lnTo>
                    <a:lnTo>
                      <a:pt x="57" y="234"/>
                    </a:lnTo>
                    <a:lnTo>
                      <a:pt x="57" y="234"/>
                    </a:lnTo>
                    <a:lnTo>
                      <a:pt x="57" y="234"/>
                    </a:lnTo>
                    <a:lnTo>
                      <a:pt x="57" y="234"/>
                    </a:lnTo>
                    <a:lnTo>
                      <a:pt x="57" y="234"/>
                    </a:lnTo>
                    <a:lnTo>
                      <a:pt x="57" y="234"/>
                    </a:lnTo>
                    <a:lnTo>
                      <a:pt x="64" y="234"/>
                    </a:lnTo>
                    <a:lnTo>
                      <a:pt x="64" y="234"/>
                    </a:lnTo>
                    <a:lnTo>
                      <a:pt x="64" y="234"/>
                    </a:lnTo>
                    <a:lnTo>
                      <a:pt x="64" y="234"/>
                    </a:lnTo>
                    <a:lnTo>
                      <a:pt x="64" y="241"/>
                    </a:lnTo>
                    <a:lnTo>
                      <a:pt x="64" y="241"/>
                    </a:lnTo>
                    <a:lnTo>
                      <a:pt x="64" y="241"/>
                    </a:lnTo>
                    <a:lnTo>
                      <a:pt x="57" y="255"/>
                    </a:lnTo>
                    <a:lnTo>
                      <a:pt x="50" y="255"/>
                    </a:lnTo>
                    <a:lnTo>
                      <a:pt x="50" y="255"/>
                    </a:lnTo>
                    <a:lnTo>
                      <a:pt x="50" y="262"/>
                    </a:lnTo>
                    <a:lnTo>
                      <a:pt x="50" y="262"/>
                    </a:lnTo>
                    <a:lnTo>
                      <a:pt x="50" y="269"/>
                    </a:lnTo>
                    <a:lnTo>
                      <a:pt x="43" y="276"/>
                    </a:lnTo>
                    <a:lnTo>
                      <a:pt x="43" y="276"/>
                    </a:lnTo>
                    <a:lnTo>
                      <a:pt x="43" y="276"/>
                    </a:lnTo>
                    <a:lnTo>
                      <a:pt x="43" y="276"/>
                    </a:lnTo>
                    <a:lnTo>
                      <a:pt x="43" y="276"/>
                    </a:lnTo>
                    <a:lnTo>
                      <a:pt x="43" y="276"/>
                    </a:lnTo>
                    <a:lnTo>
                      <a:pt x="36" y="269"/>
                    </a:lnTo>
                    <a:lnTo>
                      <a:pt x="36" y="269"/>
                    </a:lnTo>
                    <a:lnTo>
                      <a:pt x="36" y="269"/>
                    </a:lnTo>
                    <a:lnTo>
                      <a:pt x="36" y="269"/>
                    </a:lnTo>
                    <a:lnTo>
                      <a:pt x="29" y="269"/>
                    </a:lnTo>
                    <a:lnTo>
                      <a:pt x="29" y="269"/>
                    </a:lnTo>
                    <a:lnTo>
                      <a:pt x="29" y="269"/>
                    </a:lnTo>
                    <a:lnTo>
                      <a:pt x="29" y="269"/>
                    </a:lnTo>
                    <a:lnTo>
                      <a:pt x="29" y="269"/>
                    </a:lnTo>
                    <a:lnTo>
                      <a:pt x="29" y="269"/>
                    </a:lnTo>
                    <a:lnTo>
                      <a:pt x="29" y="269"/>
                    </a:lnTo>
                    <a:lnTo>
                      <a:pt x="29" y="269"/>
                    </a:lnTo>
                    <a:lnTo>
                      <a:pt x="22" y="269"/>
                    </a:lnTo>
                    <a:lnTo>
                      <a:pt x="22" y="262"/>
                    </a:lnTo>
                    <a:lnTo>
                      <a:pt x="22" y="262"/>
                    </a:lnTo>
                    <a:lnTo>
                      <a:pt x="22" y="262"/>
                    </a:lnTo>
                    <a:lnTo>
                      <a:pt x="22" y="262"/>
                    </a:lnTo>
                    <a:lnTo>
                      <a:pt x="22" y="255"/>
                    </a:lnTo>
                    <a:lnTo>
                      <a:pt x="22" y="255"/>
                    </a:lnTo>
                    <a:lnTo>
                      <a:pt x="22" y="248"/>
                    </a:lnTo>
                    <a:lnTo>
                      <a:pt x="22" y="248"/>
                    </a:lnTo>
                    <a:lnTo>
                      <a:pt x="22" y="248"/>
                    </a:lnTo>
                    <a:lnTo>
                      <a:pt x="22" y="248"/>
                    </a:lnTo>
                    <a:lnTo>
                      <a:pt x="15" y="241"/>
                    </a:lnTo>
                    <a:lnTo>
                      <a:pt x="15" y="241"/>
                    </a:lnTo>
                    <a:lnTo>
                      <a:pt x="15" y="241"/>
                    </a:lnTo>
                    <a:lnTo>
                      <a:pt x="15" y="241"/>
                    </a:lnTo>
                    <a:lnTo>
                      <a:pt x="15" y="241"/>
                    </a:lnTo>
                    <a:lnTo>
                      <a:pt x="8" y="241"/>
                    </a:lnTo>
                    <a:lnTo>
                      <a:pt x="8" y="241"/>
                    </a:lnTo>
                    <a:lnTo>
                      <a:pt x="8" y="234"/>
                    </a:lnTo>
                    <a:lnTo>
                      <a:pt x="8" y="234"/>
                    </a:lnTo>
                    <a:lnTo>
                      <a:pt x="8" y="234"/>
                    </a:lnTo>
                    <a:lnTo>
                      <a:pt x="8" y="234"/>
                    </a:lnTo>
                    <a:lnTo>
                      <a:pt x="8" y="234"/>
                    </a:lnTo>
                    <a:lnTo>
                      <a:pt x="8" y="234"/>
                    </a:lnTo>
                    <a:lnTo>
                      <a:pt x="0" y="234"/>
                    </a:lnTo>
                    <a:lnTo>
                      <a:pt x="0" y="234"/>
                    </a:lnTo>
                    <a:lnTo>
                      <a:pt x="0" y="227"/>
                    </a:lnTo>
                    <a:lnTo>
                      <a:pt x="0" y="227"/>
                    </a:lnTo>
                    <a:lnTo>
                      <a:pt x="8" y="227"/>
                    </a:lnTo>
                    <a:lnTo>
                      <a:pt x="15" y="220"/>
                    </a:lnTo>
                    <a:lnTo>
                      <a:pt x="22" y="213"/>
                    </a:lnTo>
                    <a:lnTo>
                      <a:pt x="22" y="205"/>
                    </a:lnTo>
                    <a:lnTo>
                      <a:pt x="29" y="198"/>
                    </a:lnTo>
                    <a:lnTo>
                      <a:pt x="29" y="191"/>
                    </a:lnTo>
                    <a:lnTo>
                      <a:pt x="43" y="184"/>
                    </a:lnTo>
                    <a:lnTo>
                      <a:pt x="43" y="184"/>
                    </a:lnTo>
                    <a:lnTo>
                      <a:pt x="43" y="177"/>
                    </a:lnTo>
                    <a:lnTo>
                      <a:pt x="43" y="177"/>
                    </a:lnTo>
                    <a:lnTo>
                      <a:pt x="43" y="177"/>
                    </a:lnTo>
                    <a:lnTo>
                      <a:pt x="43" y="177"/>
                    </a:lnTo>
                    <a:lnTo>
                      <a:pt x="43" y="177"/>
                    </a:lnTo>
                    <a:lnTo>
                      <a:pt x="36" y="177"/>
                    </a:lnTo>
                    <a:lnTo>
                      <a:pt x="36" y="170"/>
                    </a:lnTo>
                    <a:lnTo>
                      <a:pt x="43" y="170"/>
                    </a:lnTo>
                    <a:lnTo>
                      <a:pt x="43" y="170"/>
                    </a:lnTo>
                    <a:lnTo>
                      <a:pt x="43" y="170"/>
                    </a:lnTo>
                    <a:lnTo>
                      <a:pt x="50" y="170"/>
                    </a:lnTo>
                    <a:lnTo>
                      <a:pt x="50" y="170"/>
                    </a:lnTo>
                    <a:lnTo>
                      <a:pt x="50" y="170"/>
                    </a:lnTo>
                    <a:lnTo>
                      <a:pt x="50" y="170"/>
                    </a:lnTo>
                    <a:lnTo>
                      <a:pt x="50" y="170"/>
                    </a:lnTo>
                    <a:lnTo>
                      <a:pt x="50" y="170"/>
                    </a:lnTo>
                    <a:lnTo>
                      <a:pt x="57" y="170"/>
                    </a:lnTo>
                    <a:lnTo>
                      <a:pt x="57" y="170"/>
                    </a:lnTo>
                    <a:lnTo>
                      <a:pt x="57" y="170"/>
                    </a:lnTo>
                    <a:lnTo>
                      <a:pt x="57" y="177"/>
                    </a:lnTo>
                    <a:lnTo>
                      <a:pt x="57" y="177"/>
                    </a:lnTo>
                    <a:lnTo>
                      <a:pt x="57" y="177"/>
                    </a:lnTo>
                    <a:lnTo>
                      <a:pt x="57" y="177"/>
                    </a:lnTo>
                    <a:lnTo>
                      <a:pt x="50" y="184"/>
                    </a:lnTo>
                    <a:lnTo>
                      <a:pt x="50" y="184"/>
                    </a:lnTo>
                    <a:lnTo>
                      <a:pt x="50" y="184"/>
                    </a:lnTo>
                    <a:lnTo>
                      <a:pt x="50" y="184"/>
                    </a:lnTo>
                    <a:lnTo>
                      <a:pt x="57" y="184"/>
                    </a:lnTo>
                    <a:lnTo>
                      <a:pt x="57" y="184"/>
                    </a:lnTo>
                    <a:lnTo>
                      <a:pt x="57" y="184"/>
                    </a:lnTo>
                    <a:lnTo>
                      <a:pt x="57" y="184"/>
                    </a:lnTo>
                    <a:lnTo>
                      <a:pt x="64" y="184"/>
                    </a:lnTo>
                    <a:lnTo>
                      <a:pt x="71" y="184"/>
                    </a:lnTo>
                    <a:lnTo>
                      <a:pt x="71" y="177"/>
                    </a:lnTo>
                    <a:lnTo>
                      <a:pt x="71" y="177"/>
                    </a:lnTo>
                    <a:lnTo>
                      <a:pt x="79" y="170"/>
                    </a:lnTo>
                    <a:lnTo>
                      <a:pt x="79" y="170"/>
                    </a:lnTo>
                    <a:lnTo>
                      <a:pt x="79" y="170"/>
                    </a:lnTo>
                    <a:lnTo>
                      <a:pt x="79" y="170"/>
                    </a:lnTo>
                    <a:lnTo>
                      <a:pt x="79" y="163"/>
                    </a:lnTo>
                    <a:lnTo>
                      <a:pt x="79" y="163"/>
                    </a:lnTo>
                    <a:lnTo>
                      <a:pt x="79" y="163"/>
                    </a:lnTo>
                    <a:lnTo>
                      <a:pt x="71" y="163"/>
                    </a:lnTo>
                    <a:lnTo>
                      <a:pt x="71" y="163"/>
                    </a:lnTo>
                    <a:lnTo>
                      <a:pt x="71" y="156"/>
                    </a:lnTo>
                    <a:lnTo>
                      <a:pt x="71" y="156"/>
                    </a:lnTo>
                    <a:lnTo>
                      <a:pt x="79" y="149"/>
                    </a:lnTo>
                    <a:lnTo>
                      <a:pt x="79" y="149"/>
                    </a:lnTo>
                    <a:lnTo>
                      <a:pt x="79" y="149"/>
                    </a:lnTo>
                    <a:lnTo>
                      <a:pt x="79" y="149"/>
                    </a:lnTo>
                    <a:lnTo>
                      <a:pt x="79" y="142"/>
                    </a:lnTo>
                    <a:lnTo>
                      <a:pt x="79" y="142"/>
                    </a:lnTo>
                    <a:lnTo>
                      <a:pt x="79" y="135"/>
                    </a:lnTo>
                    <a:lnTo>
                      <a:pt x="79" y="135"/>
                    </a:lnTo>
                    <a:lnTo>
                      <a:pt x="79" y="135"/>
                    </a:lnTo>
                    <a:lnTo>
                      <a:pt x="86" y="113"/>
                    </a:lnTo>
                    <a:lnTo>
                      <a:pt x="86" y="113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93" y="99"/>
                    </a:lnTo>
                    <a:lnTo>
                      <a:pt x="93" y="92"/>
                    </a:lnTo>
                    <a:lnTo>
                      <a:pt x="93" y="92"/>
                    </a:lnTo>
                    <a:lnTo>
                      <a:pt x="93" y="85"/>
                    </a:lnTo>
                    <a:lnTo>
                      <a:pt x="100" y="85"/>
                    </a:lnTo>
                    <a:lnTo>
                      <a:pt x="100" y="78"/>
                    </a:lnTo>
                    <a:lnTo>
                      <a:pt x="107" y="78"/>
                    </a:lnTo>
                    <a:lnTo>
                      <a:pt x="107" y="78"/>
                    </a:lnTo>
                    <a:lnTo>
                      <a:pt x="107" y="85"/>
                    </a:lnTo>
                    <a:lnTo>
                      <a:pt x="107" y="85"/>
                    </a:lnTo>
                    <a:lnTo>
                      <a:pt x="107" y="85"/>
                    </a:lnTo>
                    <a:lnTo>
                      <a:pt x="107" y="85"/>
                    </a:lnTo>
                    <a:lnTo>
                      <a:pt x="107" y="85"/>
                    </a:lnTo>
                    <a:lnTo>
                      <a:pt x="107" y="85"/>
                    </a:lnTo>
                    <a:lnTo>
                      <a:pt x="107" y="85"/>
                    </a:lnTo>
                    <a:lnTo>
                      <a:pt x="114" y="85"/>
                    </a:lnTo>
                    <a:lnTo>
                      <a:pt x="114" y="85"/>
                    </a:lnTo>
                    <a:lnTo>
                      <a:pt x="114" y="85"/>
                    </a:lnTo>
                    <a:lnTo>
                      <a:pt x="114" y="78"/>
                    </a:lnTo>
                    <a:lnTo>
                      <a:pt x="114" y="78"/>
                    </a:lnTo>
                    <a:lnTo>
                      <a:pt x="121" y="78"/>
                    </a:lnTo>
                    <a:lnTo>
                      <a:pt x="121" y="71"/>
                    </a:lnTo>
                    <a:lnTo>
                      <a:pt x="121" y="71"/>
                    </a:lnTo>
                    <a:lnTo>
                      <a:pt x="121" y="71"/>
                    </a:lnTo>
                    <a:lnTo>
                      <a:pt x="121" y="71"/>
                    </a:lnTo>
                    <a:lnTo>
                      <a:pt x="121" y="64"/>
                    </a:lnTo>
                    <a:lnTo>
                      <a:pt x="121" y="64"/>
                    </a:lnTo>
                    <a:lnTo>
                      <a:pt x="128" y="56"/>
                    </a:lnTo>
                    <a:lnTo>
                      <a:pt x="128" y="56"/>
                    </a:lnTo>
                    <a:lnTo>
                      <a:pt x="128" y="56"/>
                    </a:lnTo>
                    <a:lnTo>
                      <a:pt x="128" y="56"/>
                    </a:lnTo>
                    <a:lnTo>
                      <a:pt x="128" y="56"/>
                    </a:lnTo>
                    <a:lnTo>
                      <a:pt x="128" y="56"/>
                    </a:lnTo>
                    <a:lnTo>
                      <a:pt x="135" y="56"/>
                    </a:lnTo>
                    <a:lnTo>
                      <a:pt x="135" y="56"/>
                    </a:lnTo>
                    <a:lnTo>
                      <a:pt x="135" y="56"/>
                    </a:lnTo>
                    <a:lnTo>
                      <a:pt x="135" y="56"/>
                    </a:lnTo>
                    <a:lnTo>
                      <a:pt x="150" y="49"/>
                    </a:lnTo>
                    <a:lnTo>
                      <a:pt x="150" y="49"/>
                    </a:lnTo>
                    <a:lnTo>
                      <a:pt x="157" y="42"/>
                    </a:lnTo>
                    <a:lnTo>
                      <a:pt x="164" y="35"/>
                    </a:lnTo>
                    <a:lnTo>
                      <a:pt x="164" y="28"/>
                    </a:lnTo>
                    <a:lnTo>
                      <a:pt x="171" y="21"/>
                    </a:lnTo>
                    <a:lnTo>
                      <a:pt x="171" y="21"/>
                    </a:lnTo>
                    <a:lnTo>
                      <a:pt x="171" y="21"/>
                    </a:lnTo>
                    <a:lnTo>
                      <a:pt x="171" y="14"/>
                    </a:lnTo>
                    <a:lnTo>
                      <a:pt x="171" y="14"/>
                    </a:lnTo>
                    <a:lnTo>
                      <a:pt x="178" y="14"/>
                    </a:lnTo>
                    <a:lnTo>
                      <a:pt x="178" y="14"/>
                    </a:lnTo>
                    <a:lnTo>
                      <a:pt x="178" y="21"/>
                    </a:lnTo>
                    <a:lnTo>
                      <a:pt x="178" y="21"/>
                    </a:lnTo>
                    <a:lnTo>
                      <a:pt x="185" y="21"/>
                    </a:lnTo>
                    <a:lnTo>
                      <a:pt x="185" y="21"/>
                    </a:lnTo>
                    <a:lnTo>
                      <a:pt x="185" y="21"/>
                    </a:lnTo>
                    <a:lnTo>
                      <a:pt x="185" y="14"/>
                    </a:lnTo>
                    <a:lnTo>
                      <a:pt x="199" y="7"/>
                    </a:lnTo>
                    <a:lnTo>
                      <a:pt x="199" y="7"/>
                    </a:lnTo>
                    <a:lnTo>
                      <a:pt x="199" y="7"/>
                    </a:lnTo>
                    <a:lnTo>
                      <a:pt x="199" y="7"/>
                    </a:lnTo>
                    <a:lnTo>
                      <a:pt x="199" y="7"/>
                    </a:lnTo>
                    <a:lnTo>
                      <a:pt x="206" y="0"/>
                    </a:lnTo>
                    <a:lnTo>
                      <a:pt x="206" y="0"/>
                    </a:lnTo>
                    <a:lnTo>
                      <a:pt x="206" y="7"/>
                    </a:lnTo>
                    <a:lnTo>
                      <a:pt x="206" y="7"/>
                    </a:lnTo>
                    <a:lnTo>
                      <a:pt x="206" y="7"/>
                    </a:lnTo>
                    <a:lnTo>
                      <a:pt x="206" y="7"/>
                    </a:lnTo>
                    <a:lnTo>
                      <a:pt x="213" y="7"/>
                    </a:lnTo>
                    <a:lnTo>
                      <a:pt x="213" y="14"/>
                    </a:lnTo>
                    <a:lnTo>
                      <a:pt x="213" y="14"/>
                    </a:lnTo>
                    <a:lnTo>
                      <a:pt x="213" y="21"/>
                    </a:lnTo>
                    <a:lnTo>
                      <a:pt x="213" y="21"/>
                    </a:lnTo>
                    <a:lnTo>
                      <a:pt x="213" y="21"/>
                    </a:lnTo>
                    <a:lnTo>
                      <a:pt x="213" y="21"/>
                    </a:lnTo>
                    <a:lnTo>
                      <a:pt x="213" y="21"/>
                    </a:lnTo>
                    <a:lnTo>
                      <a:pt x="213" y="21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3" y="35"/>
                    </a:lnTo>
                    <a:lnTo>
                      <a:pt x="213" y="35"/>
                    </a:lnTo>
                    <a:lnTo>
                      <a:pt x="220" y="35"/>
                    </a:lnTo>
                    <a:lnTo>
                      <a:pt x="220" y="35"/>
                    </a:lnTo>
                    <a:lnTo>
                      <a:pt x="220" y="42"/>
                    </a:lnTo>
                    <a:lnTo>
                      <a:pt x="220" y="42"/>
                    </a:lnTo>
                    <a:lnTo>
                      <a:pt x="220" y="42"/>
                    </a:lnTo>
                    <a:lnTo>
                      <a:pt x="220" y="42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5" name="Freeform 43"/>
              <p:cNvSpPr>
                <a:spLocks/>
              </p:cNvSpPr>
              <p:nvPr/>
            </p:nvSpPr>
            <p:spPr bwMode="auto">
              <a:xfrm>
                <a:off x="4855" y="1429"/>
                <a:ext cx="398" cy="149"/>
              </a:xfrm>
              <a:custGeom>
                <a:avLst/>
                <a:gdLst>
                  <a:gd name="T0" fmla="*/ 334 w 398"/>
                  <a:gd name="T1" fmla="*/ 149 h 149"/>
                  <a:gd name="T2" fmla="*/ 320 w 398"/>
                  <a:gd name="T3" fmla="*/ 135 h 149"/>
                  <a:gd name="T4" fmla="*/ 305 w 398"/>
                  <a:gd name="T5" fmla="*/ 135 h 149"/>
                  <a:gd name="T6" fmla="*/ 291 w 398"/>
                  <a:gd name="T7" fmla="*/ 128 h 149"/>
                  <a:gd name="T8" fmla="*/ 256 w 398"/>
                  <a:gd name="T9" fmla="*/ 135 h 149"/>
                  <a:gd name="T10" fmla="*/ 249 w 398"/>
                  <a:gd name="T11" fmla="*/ 142 h 149"/>
                  <a:gd name="T12" fmla="*/ 234 w 398"/>
                  <a:gd name="T13" fmla="*/ 135 h 149"/>
                  <a:gd name="T14" fmla="*/ 220 w 398"/>
                  <a:gd name="T15" fmla="*/ 142 h 149"/>
                  <a:gd name="T16" fmla="*/ 156 w 398"/>
                  <a:gd name="T17" fmla="*/ 135 h 149"/>
                  <a:gd name="T18" fmla="*/ 128 w 398"/>
                  <a:gd name="T19" fmla="*/ 142 h 149"/>
                  <a:gd name="T20" fmla="*/ 114 w 398"/>
                  <a:gd name="T21" fmla="*/ 142 h 149"/>
                  <a:gd name="T22" fmla="*/ 43 w 398"/>
                  <a:gd name="T23" fmla="*/ 135 h 149"/>
                  <a:gd name="T24" fmla="*/ 0 w 398"/>
                  <a:gd name="T25" fmla="*/ 113 h 149"/>
                  <a:gd name="T26" fmla="*/ 7 w 398"/>
                  <a:gd name="T27" fmla="*/ 99 h 149"/>
                  <a:gd name="T28" fmla="*/ 21 w 398"/>
                  <a:gd name="T29" fmla="*/ 85 h 149"/>
                  <a:gd name="T30" fmla="*/ 21 w 398"/>
                  <a:gd name="T31" fmla="*/ 78 h 149"/>
                  <a:gd name="T32" fmla="*/ 14 w 398"/>
                  <a:gd name="T33" fmla="*/ 64 h 149"/>
                  <a:gd name="T34" fmla="*/ 14 w 398"/>
                  <a:gd name="T35" fmla="*/ 57 h 149"/>
                  <a:gd name="T36" fmla="*/ 21 w 398"/>
                  <a:gd name="T37" fmla="*/ 42 h 149"/>
                  <a:gd name="T38" fmla="*/ 50 w 398"/>
                  <a:gd name="T39" fmla="*/ 28 h 149"/>
                  <a:gd name="T40" fmla="*/ 64 w 398"/>
                  <a:gd name="T41" fmla="*/ 21 h 149"/>
                  <a:gd name="T42" fmla="*/ 85 w 398"/>
                  <a:gd name="T43" fmla="*/ 21 h 149"/>
                  <a:gd name="T44" fmla="*/ 85 w 398"/>
                  <a:gd name="T45" fmla="*/ 35 h 149"/>
                  <a:gd name="T46" fmla="*/ 92 w 398"/>
                  <a:gd name="T47" fmla="*/ 28 h 149"/>
                  <a:gd name="T48" fmla="*/ 99 w 398"/>
                  <a:gd name="T49" fmla="*/ 28 h 149"/>
                  <a:gd name="T50" fmla="*/ 114 w 398"/>
                  <a:gd name="T51" fmla="*/ 28 h 149"/>
                  <a:gd name="T52" fmla="*/ 128 w 398"/>
                  <a:gd name="T53" fmla="*/ 28 h 149"/>
                  <a:gd name="T54" fmla="*/ 149 w 398"/>
                  <a:gd name="T55" fmla="*/ 28 h 149"/>
                  <a:gd name="T56" fmla="*/ 149 w 398"/>
                  <a:gd name="T57" fmla="*/ 42 h 149"/>
                  <a:gd name="T58" fmla="*/ 156 w 398"/>
                  <a:gd name="T59" fmla="*/ 42 h 149"/>
                  <a:gd name="T60" fmla="*/ 178 w 398"/>
                  <a:gd name="T61" fmla="*/ 42 h 149"/>
                  <a:gd name="T62" fmla="*/ 185 w 398"/>
                  <a:gd name="T63" fmla="*/ 50 h 149"/>
                  <a:gd name="T64" fmla="*/ 213 w 398"/>
                  <a:gd name="T65" fmla="*/ 28 h 149"/>
                  <a:gd name="T66" fmla="*/ 206 w 398"/>
                  <a:gd name="T67" fmla="*/ 28 h 149"/>
                  <a:gd name="T68" fmla="*/ 220 w 398"/>
                  <a:gd name="T69" fmla="*/ 14 h 149"/>
                  <a:gd name="T70" fmla="*/ 227 w 398"/>
                  <a:gd name="T71" fmla="*/ 7 h 149"/>
                  <a:gd name="T72" fmla="*/ 227 w 398"/>
                  <a:gd name="T73" fmla="*/ 21 h 149"/>
                  <a:gd name="T74" fmla="*/ 241 w 398"/>
                  <a:gd name="T75" fmla="*/ 14 h 149"/>
                  <a:gd name="T76" fmla="*/ 249 w 398"/>
                  <a:gd name="T77" fmla="*/ 0 h 149"/>
                  <a:gd name="T78" fmla="*/ 270 w 398"/>
                  <a:gd name="T79" fmla="*/ 7 h 149"/>
                  <a:gd name="T80" fmla="*/ 291 w 398"/>
                  <a:gd name="T81" fmla="*/ 0 h 149"/>
                  <a:gd name="T82" fmla="*/ 298 w 398"/>
                  <a:gd name="T83" fmla="*/ 14 h 149"/>
                  <a:gd name="T84" fmla="*/ 305 w 398"/>
                  <a:gd name="T85" fmla="*/ 21 h 149"/>
                  <a:gd name="T86" fmla="*/ 298 w 398"/>
                  <a:gd name="T87" fmla="*/ 42 h 149"/>
                  <a:gd name="T88" fmla="*/ 305 w 398"/>
                  <a:gd name="T89" fmla="*/ 57 h 149"/>
                  <a:gd name="T90" fmla="*/ 327 w 398"/>
                  <a:gd name="T91" fmla="*/ 42 h 149"/>
                  <a:gd name="T92" fmla="*/ 348 w 398"/>
                  <a:gd name="T93" fmla="*/ 57 h 149"/>
                  <a:gd name="T94" fmla="*/ 362 w 398"/>
                  <a:gd name="T95" fmla="*/ 64 h 149"/>
                  <a:gd name="T96" fmla="*/ 369 w 398"/>
                  <a:gd name="T97" fmla="*/ 64 h 149"/>
                  <a:gd name="T98" fmla="*/ 369 w 398"/>
                  <a:gd name="T99" fmla="*/ 71 h 149"/>
                  <a:gd name="T100" fmla="*/ 362 w 398"/>
                  <a:gd name="T101" fmla="*/ 85 h 149"/>
                  <a:gd name="T102" fmla="*/ 376 w 398"/>
                  <a:gd name="T103" fmla="*/ 85 h 149"/>
                  <a:gd name="T104" fmla="*/ 391 w 398"/>
                  <a:gd name="T105" fmla="*/ 99 h 149"/>
                  <a:gd name="T106" fmla="*/ 391 w 398"/>
                  <a:gd name="T107" fmla="*/ 113 h 149"/>
                  <a:gd name="T108" fmla="*/ 376 w 398"/>
                  <a:gd name="T109" fmla="*/ 121 h 149"/>
                  <a:gd name="T110" fmla="*/ 362 w 398"/>
                  <a:gd name="T111" fmla="*/ 128 h 149"/>
                  <a:gd name="T112" fmla="*/ 355 w 398"/>
                  <a:gd name="T113" fmla="*/ 135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98" h="149">
                    <a:moveTo>
                      <a:pt x="355" y="142"/>
                    </a:moveTo>
                    <a:lnTo>
                      <a:pt x="355" y="142"/>
                    </a:lnTo>
                    <a:lnTo>
                      <a:pt x="348" y="149"/>
                    </a:lnTo>
                    <a:lnTo>
                      <a:pt x="341" y="149"/>
                    </a:lnTo>
                    <a:lnTo>
                      <a:pt x="341" y="149"/>
                    </a:lnTo>
                    <a:lnTo>
                      <a:pt x="341" y="149"/>
                    </a:lnTo>
                    <a:lnTo>
                      <a:pt x="334" y="149"/>
                    </a:lnTo>
                    <a:lnTo>
                      <a:pt x="334" y="142"/>
                    </a:lnTo>
                    <a:lnTo>
                      <a:pt x="334" y="142"/>
                    </a:lnTo>
                    <a:lnTo>
                      <a:pt x="327" y="142"/>
                    </a:lnTo>
                    <a:lnTo>
                      <a:pt x="320" y="142"/>
                    </a:lnTo>
                    <a:lnTo>
                      <a:pt x="320" y="142"/>
                    </a:lnTo>
                    <a:lnTo>
                      <a:pt x="320" y="142"/>
                    </a:lnTo>
                    <a:lnTo>
                      <a:pt x="320" y="135"/>
                    </a:lnTo>
                    <a:lnTo>
                      <a:pt x="312" y="135"/>
                    </a:lnTo>
                    <a:lnTo>
                      <a:pt x="312" y="135"/>
                    </a:lnTo>
                    <a:lnTo>
                      <a:pt x="312" y="135"/>
                    </a:lnTo>
                    <a:lnTo>
                      <a:pt x="312" y="135"/>
                    </a:lnTo>
                    <a:lnTo>
                      <a:pt x="312" y="135"/>
                    </a:lnTo>
                    <a:lnTo>
                      <a:pt x="312" y="135"/>
                    </a:lnTo>
                    <a:lnTo>
                      <a:pt x="305" y="135"/>
                    </a:lnTo>
                    <a:lnTo>
                      <a:pt x="305" y="135"/>
                    </a:lnTo>
                    <a:lnTo>
                      <a:pt x="305" y="135"/>
                    </a:lnTo>
                    <a:lnTo>
                      <a:pt x="305" y="135"/>
                    </a:lnTo>
                    <a:lnTo>
                      <a:pt x="305" y="128"/>
                    </a:lnTo>
                    <a:lnTo>
                      <a:pt x="298" y="128"/>
                    </a:lnTo>
                    <a:lnTo>
                      <a:pt x="298" y="128"/>
                    </a:lnTo>
                    <a:lnTo>
                      <a:pt x="291" y="128"/>
                    </a:lnTo>
                    <a:lnTo>
                      <a:pt x="284" y="128"/>
                    </a:lnTo>
                    <a:lnTo>
                      <a:pt x="284" y="128"/>
                    </a:lnTo>
                    <a:lnTo>
                      <a:pt x="277" y="128"/>
                    </a:lnTo>
                    <a:lnTo>
                      <a:pt x="263" y="135"/>
                    </a:lnTo>
                    <a:lnTo>
                      <a:pt x="256" y="135"/>
                    </a:lnTo>
                    <a:lnTo>
                      <a:pt x="256" y="135"/>
                    </a:lnTo>
                    <a:lnTo>
                      <a:pt x="256" y="135"/>
                    </a:lnTo>
                    <a:lnTo>
                      <a:pt x="256" y="135"/>
                    </a:lnTo>
                    <a:lnTo>
                      <a:pt x="256" y="135"/>
                    </a:lnTo>
                    <a:lnTo>
                      <a:pt x="256" y="135"/>
                    </a:lnTo>
                    <a:lnTo>
                      <a:pt x="249" y="135"/>
                    </a:lnTo>
                    <a:lnTo>
                      <a:pt x="249" y="135"/>
                    </a:lnTo>
                    <a:lnTo>
                      <a:pt x="249" y="135"/>
                    </a:lnTo>
                    <a:lnTo>
                      <a:pt x="249" y="142"/>
                    </a:lnTo>
                    <a:lnTo>
                      <a:pt x="241" y="142"/>
                    </a:lnTo>
                    <a:lnTo>
                      <a:pt x="241" y="142"/>
                    </a:lnTo>
                    <a:lnTo>
                      <a:pt x="241" y="142"/>
                    </a:lnTo>
                    <a:lnTo>
                      <a:pt x="234" y="135"/>
                    </a:lnTo>
                    <a:lnTo>
                      <a:pt x="234" y="135"/>
                    </a:lnTo>
                    <a:lnTo>
                      <a:pt x="234" y="135"/>
                    </a:lnTo>
                    <a:lnTo>
                      <a:pt x="234" y="135"/>
                    </a:lnTo>
                    <a:lnTo>
                      <a:pt x="234" y="135"/>
                    </a:lnTo>
                    <a:lnTo>
                      <a:pt x="227" y="135"/>
                    </a:lnTo>
                    <a:lnTo>
                      <a:pt x="227" y="135"/>
                    </a:lnTo>
                    <a:lnTo>
                      <a:pt x="227" y="135"/>
                    </a:lnTo>
                    <a:lnTo>
                      <a:pt x="227" y="142"/>
                    </a:lnTo>
                    <a:lnTo>
                      <a:pt x="220" y="142"/>
                    </a:lnTo>
                    <a:lnTo>
                      <a:pt x="220" y="142"/>
                    </a:lnTo>
                    <a:lnTo>
                      <a:pt x="199" y="135"/>
                    </a:lnTo>
                    <a:lnTo>
                      <a:pt x="192" y="135"/>
                    </a:lnTo>
                    <a:lnTo>
                      <a:pt x="192" y="135"/>
                    </a:lnTo>
                    <a:lnTo>
                      <a:pt x="185" y="135"/>
                    </a:lnTo>
                    <a:lnTo>
                      <a:pt x="185" y="135"/>
                    </a:lnTo>
                    <a:lnTo>
                      <a:pt x="178" y="135"/>
                    </a:lnTo>
                    <a:lnTo>
                      <a:pt x="156" y="135"/>
                    </a:lnTo>
                    <a:lnTo>
                      <a:pt x="156" y="142"/>
                    </a:lnTo>
                    <a:lnTo>
                      <a:pt x="135" y="142"/>
                    </a:lnTo>
                    <a:lnTo>
                      <a:pt x="135" y="142"/>
                    </a:lnTo>
                    <a:lnTo>
                      <a:pt x="135" y="142"/>
                    </a:lnTo>
                    <a:lnTo>
                      <a:pt x="128" y="142"/>
                    </a:lnTo>
                    <a:lnTo>
                      <a:pt x="128" y="142"/>
                    </a:lnTo>
                    <a:lnTo>
                      <a:pt x="128" y="142"/>
                    </a:lnTo>
                    <a:lnTo>
                      <a:pt x="128" y="142"/>
                    </a:lnTo>
                    <a:lnTo>
                      <a:pt x="121" y="142"/>
                    </a:lnTo>
                    <a:lnTo>
                      <a:pt x="121" y="142"/>
                    </a:lnTo>
                    <a:lnTo>
                      <a:pt x="121" y="142"/>
                    </a:lnTo>
                    <a:lnTo>
                      <a:pt x="121" y="142"/>
                    </a:lnTo>
                    <a:lnTo>
                      <a:pt x="114" y="142"/>
                    </a:lnTo>
                    <a:lnTo>
                      <a:pt x="114" y="142"/>
                    </a:lnTo>
                    <a:lnTo>
                      <a:pt x="114" y="142"/>
                    </a:lnTo>
                    <a:lnTo>
                      <a:pt x="107" y="142"/>
                    </a:lnTo>
                    <a:lnTo>
                      <a:pt x="92" y="142"/>
                    </a:lnTo>
                    <a:lnTo>
                      <a:pt x="85" y="142"/>
                    </a:lnTo>
                    <a:lnTo>
                      <a:pt x="78" y="142"/>
                    </a:lnTo>
                    <a:lnTo>
                      <a:pt x="64" y="142"/>
                    </a:lnTo>
                    <a:lnTo>
                      <a:pt x="43" y="135"/>
                    </a:lnTo>
                    <a:lnTo>
                      <a:pt x="14" y="128"/>
                    </a:lnTo>
                    <a:lnTo>
                      <a:pt x="7" y="128"/>
                    </a:lnTo>
                    <a:lnTo>
                      <a:pt x="7" y="128"/>
                    </a:lnTo>
                    <a:lnTo>
                      <a:pt x="0" y="128"/>
                    </a:lnTo>
                    <a:lnTo>
                      <a:pt x="0" y="128"/>
                    </a:lnTo>
                    <a:lnTo>
                      <a:pt x="0" y="121"/>
                    </a:lnTo>
                    <a:lnTo>
                      <a:pt x="0" y="113"/>
                    </a:lnTo>
                    <a:lnTo>
                      <a:pt x="0" y="106"/>
                    </a:lnTo>
                    <a:lnTo>
                      <a:pt x="0" y="106"/>
                    </a:lnTo>
                    <a:lnTo>
                      <a:pt x="0" y="106"/>
                    </a:lnTo>
                    <a:lnTo>
                      <a:pt x="7" y="99"/>
                    </a:lnTo>
                    <a:lnTo>
                      <a:pt x="7" y="99"/>
                    </a:lnTo>
                    <a:lnTo>
                      <a:pt x="7" y="99"/>
                    </a:lnTo>
                    <a:lnTo>
                      <a:pt x="7" y="99"/>
                    </a:lnTo>
                    <a:lnTo>
                      <a:pt x="7" y="99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14" y="85"/>
                    </a:lnTo>
                    <a:lnTo>
                      <a:pt x="14" y="85"/>
                    </a:lnTo>
                    <a:lnTo>
                      <a:pt x="21" y="85"/>
                    </a:lnTo>
                    <a:lnTo>
                      <a:pt x="21" y="85"/>
                    </a:lnTo>
                    <a:lnTo>
                      <a:pt x="21" y="85"/>
                    </a:lnTo>
                    <a:lnTo>
                      <a:pt x="21" y="85"/>
                    </a:lnTo>
                    <a:lnTo>
                      <a:pt x="21" y="85"/>
                    </a:lnTo>
                    <a:lnTo>
                      <a:pt x="21" y="85"/>
                    </a:lnTo>
                    <a:lnTo>
                      <a:pt x="21" y="78"/>
                    </a:lnTo>
                    <a:lnTo>
                      <a:pt x="21" y="78"/>
                    </a:lnTo>
                    <a:lnTo>
                      <a:pt x="21" y="78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14" y="71"/>
                    </a:lnTo>
                    <a:lnTo>
                      <a:pt x="14" y="71"/>
                    </a:lnTo>
                    <a:lnTo>
                      <a:pt x="14" y="71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1" y="35"/>
                    </a:lnTo>
                    <a:lnTo>
                      <a:pt x="29" y="35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36" y="28"/>
                    </a:lnTo>
                    <a:lnTo>
                      <a:pt x="43" y="28"/>
                    </a:lnTo>
                    <a:lnTo>
                      <a:pt x="50" y="28"/>
                    </a:lnTo>
                    <a:lnTo>
                      <a:pt x="57" y="28"/>
                    </a:lnTo>
                    <a:lnTo>
                      <a:pt x="57" y="21"/>
                    </a:lnTo>
                    <a:lnTo>
                      <a:pt x="57" y="21"/>
                    </a:lnTo>
                    <a:lnTo>
                      <a:pt x="57" y="21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71" y="21"/>
                    </a:lnTo>
                    <a:lnTo>
                      <a:pt x="78" y="21"/>
                    </a:lnTo>
                    <a:lnTo>
                      <a:pt x="78" y="21"/>
                    </a:lnTo>
                    <a:lnTo>
                      <a:pt x="78" y="21"/>
                    </a:lnTo>
                    <a:lnTo>
                      <a:pt x="78" y="21"/>
                    </a:lnTo>
                    <a:lnTo>
                      <a:pt x="85" y="21"/>
                    </a:lnTo>
                    <a:lnTo>
                      <a:pt x="85" y="21"/>
                    </a:lnTo>
                    <a:lnTo>
                      <a:pt x="85" y="21"/>
                    </a:lnTo>
                    <a:lnTo>
                      <a:pt x="85" y="28"/>
                    </a:lnTo>
                    <a:lnTo>
                      <a:pt x="85" y="28"/>
                    </a:lnTo>
                    <a:lnTo>
                      <a:pt x="85" y="28"/>
                    </a:lnTo>
                    <a:lnTo>
                      <a:pt x="85" y="28"/>
                    </a:lnTo>
                    <a:lnTo>
                      <a:pt x="85" y="35"/>
                    </a:lnTo>
                    <a:lnTo>
                      <a:pt x="85" y="35"/>
                    </a:lnTo>
                    <a:lnTo>
                      <a:pt x="85" y="35"/>
                    </a:lnTo>
                    <a:lnTo>
                      <a:pt x="85" y="35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21"/>
                    </a:lnTo>
                    <a:lnTo>
                      <a:pt x="99" y="21"/>
                    </a:lnTo>
                    <a:lnTo>
                      <a:pt x="99" y="28"/>
                    </a:lnTo>
                    <a:lnTo>
                      <a:pt x="99" y="28"/>
                    </a:lnTo>
                    <a:lnTo>
                      <a:pt x="99" y="28"/>
                    </a:lnTo>
                    <a:lnTo>
                      <a:pt x="99" y="28"/>
                    </a:lnTo>
                    <a:lnTo>
                      <a:pt x="99" y="28"/>
                    </a:lnTo>
                    <a:lnTo>
                      <a:pt x="99" y="28"/>
                    </a:lnTo>
                    <a:lnTo>
                      <a:pt x="107" y="28"/>
                    </a:lnTo>
                    <a:lnTo>
                      <a:pt x="107" y="28"/>
                    </a:lnTo>
                    <a:lnTo>
                      <a:pt x="114" y="21"/>
                    </a:lnTo>
                    <a:lnTo>
                      <a:pt x="114" y="21"/>
                    </a:lnTo>
                    <a:lnTo>
                      <a:pt x="114" y="28"/>
                    </a:lnTo>
                    <a:lnTo>
                      <a:pt x="114" y="28"/>
                    </a:lnTo>
                    <a:lnTo>
                      <a:pt x="114" y="28"/>
                    </a:lnTo>
                    <a:lnTo>
                      <a:pt x="114" y="28"/>
                    </a:lnTo>
                    <a:lnTo>
                      <a:pt x="121" y="28"/>
                    </a:lnTo>
                    <a:lnTo>
                      <a:pt x="121" y="28"/>
                    </a:lnTo>
                    <a:lnTo>
                      <a:pt x="121" y="28"/>
                    </a:lnTo>
                    <a:lnTo>
                      <a:pt x="121" y="28"/>
                    </a:lnTo>
                    <a:lnTo>
                      <a:pt x="128" y="28"/>
                    </a:lnTo>
                    <a:lnTo>
                      <a:pt x="135" y="28"/>
                    </a:lnTo>
                    <a:lnTo>
                      <a:pt x="135" y="28"/>
                    </a:lnTo>
                    <a:lnTo>
                      <a:pt x="142" y="28"/>
                    </a:lnTo>
                    <a:lnTo>
                      <a:pt x="142" y="28"/>
                    </a:lnTo>
                    <a:lnTo>
                      <a:pt x="142" y="28"/>
                    </a:lnTo>
                    <a:lnTo>
                      <a:pt x="142" y="28"/>
                    </a:lnTo>
                    <a:lnTo>
                      <a:pt x="149" y="28"/>
                    </a:lnTo>
                    <a:lnTo>
                      <a:pt x="149" y="28"/>
                    </a:lnTo>
                    <a:lnTo>
                      <a:pt x="149" y="28"/>
                    </a:lnTo>
                    <a:lnTo>
                      <a:pt x="149" y="28"/>
                    </a:lnTo>
                    <a:lnTo>
                      <a:pt x="149" y="28"/>
                    </a:lnTo>
                    <a:lnTo>
                      <a:pt x="149" y="35"/>
                    </a:lnTo>
                    <a:lnTo>
                      <a:pt x="149" y="35"/>
                    </a:lnTo>
                    <a:lnTo>
                      <a:pt x="149" y="42"/>
                    </a:lnTo>
                    <a:lnTo>
                      <a:pt x="149" y="42"/>
                    </a:lnTo>
                    <a:lnTo>
                      <a:pt x="149" y="42"/>
                    </a:lnTo>
                    <a:lnTo>
                      <a:pt x="156" y="42"/>
                    </a:lnTo>
                    <a:lnTo>
                      <a:pt x="156" y="35"/>
                    </a:lnTo>
                    <a:lnTo>
                      <a:pt x="156" y="35"/>
                    </a:lnTo>
                    <a:lnTo>
                      <a:pt x="156" y="42"/>
                    </a:lnTo>
                    <a:lnTo>
                      <a:pt x="156" y="42"/>
                    </a:lnTo>
                    <a:lnTo>
                      <a:pt x="156" y="42"/>
                    </a:lnTo>
                    <a:lnTo>
                      <a:pt x="163" y="42"/>
                    </a:lnTo>
                    <a:lnTo>
                      <a:pt x="170" y="35"/>
                    </a:lnTo>
                    <a:lnTo>
                      <a:pt x="170" y="35"/>
                    </a:lnTo>
                    <a:lnTo>
                      <a:pt x="170" y="35"/>
                    </a:lnTo>
                    <a:lnTo>
                      <a:pt x="170" y="42"/>
                    </a:lnTo>
                    <a:lnTo>
                      <a:pt x="178" y="42"/>
                    </a:lnTo>
                    <a:lnTo>
                      <a:pt x="178" y="42"/>
                    </a:lnTo>
                    <a:lnTo>
                      <a:pt x="178" y="50"/>
                    </a:lnTo>
                    <a:lnTo>
                      <a:pt x="178" y="57"/>
                    </a:lnTo>
                    <a:lnTo>
                      <a:pt x="178" y="57"/>
                    </a:lnTo>
                    <a:lnTo>
                      <a:pt x="178" y="57"/>
                    </a:lnTo>
                    <a:lnTo>
                      <a:pt x="185" y="57"/>
                    </a:lnTo>
                    <a:lnTo>
                      <a:pt x="185" y="50"/>
                    </a:lnTo>
                    <a:lnTo>
                      <a:pt x="192" y="42"/>
                    </a:lnTo>
                    <a:lnTo>
                      <a:pt x="192" y="42"/>
                    </a:lnTo>
                    <a:lnTo>
                      <a:pt x="192" y="42"/>
                    </a:lnTo>
                    <a:lnTo>
                      <a:pt x="192" y="35"/>
                    </a:lnTo>
                    <a:lnTo>
                      <a:pt x="199" y="35"/>
                    </a:lnTo>
                    <a:lnTo>
                      <a:pt x="213" y="35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06" y="28"/>
                    </a:lnTo>
                    <a:lnTo>
                      <a:pt x="206" y="28"/>
                    </a:lnTo>
                    <a:lnTo>
                      <a:pt x="206" y="28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3" y="21"/>
                    </a:lnTo>
                    <a:lnTo>
                      <a:pt x="213" y="21"/>
                    </a:lnTo>
                    <a:lnTo>
                      <a:pt x="220" y="14"/>
                    </a:lnTo>
                    <a:lnTo>
                      <a:pt x="220" y="14"/>
                    </a:lnTo>
                    <a:lnTo>
                      <a:pt x="220" y="14"/>
                    </a:lnTo>
                    <a:lnTo>
                      <a:pt x="220" y="7"/>
                    </a:lnTo>
                    <a:lnTo>
                      <a:pt x="220" y="7"/>
                    </a:lnTo>
                    <a:lnTo>
                      <a:pt x="220" y="7"/>
                    </a:lnTo>
                    <a:lnTo>
                      <a:pt x="227" y="7"/>
                    </a:lnTo>
                    <a:lnTo>
                      <a:pt x="227" y="7"/>
                    </a:lnTo>
                    <a:lnTo>
                      <a:pt x="227" y="14"/>
                    </a:lnTo>
                    <a:lnTo>
                      <a:pt x="227" y="14"/>
                    </a:lnTo>
                    <a:lnTo>
                      <a:pt x="227" y="14"/>
                    </a:lnTo>
                    <a:lnTo>
                      <a:pt x="227" y="14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27" y="21"/>
                    </a:lnTo>
                    <a:lnTo>
                      <a:pt x="227" y="21"/>
                    </a:lnTo>
                    <a:lnTo>
                      <a:pt x="227" y="21"/>
                    </a:lnTo>
                    <a:lnTo>
                      <a:pt x="234" y="21"/>
                    </a:lnTo>
                    <a:lnTo>
                      <a:pt x="234" y="21"/>
                    </a:lnTo>
                    <a:lnTo>
                      <a:pt x="234" y="21"/>
                    </a:lnTo>
                    <a:lnTo>
                      <a:pt x="241" y="21"/>
                    </a:lnTo>
                    <a:lnTo>
                      <a:pt x="241" y="14"/>
                    </a:lnTo>
                    <a:lnTo>
                      <a:pt x="241" y="14"/>
                    </a:lnTo>
                    <a:lnTo>
                      <a:pt x="241" y="14"/>
                    </a:lnTo>
                    <a:lnTo>
                      <a:pt x="241" y="7"/>
                    </a:lnTo>
                    <a:lnTo>
                      <a:pt x="241" y="7"/>
                    </a:lnTo>
                    <a:lnTo>
                      <a:pt x="241" y="7"/>
                    </a:lnTo>
                    <a:lnTo>
                      <a:pt x="249" y="0"/>
                    </a:lnTo>
                    <a:lnTo>
                      <a:pt x="249" y="0"/>
                    </a:lnTo>
                    <a:lnTo>
                      <a:pt x="249" y="0"/>
                    </a:lnTo>
                    <a:lnTo>
                      <a:pt x="256" y="0"/>
                    </a:lnTo>
                    <a:lnTo>
                      <a:pt x="256" y="7"/>
                    </a:lnTo>
                    <a:lnTo>
                      <a:pt x="263" y="7"/>
                    </a:lnTo>
                    <a:lnTo>
                      <a:pt x="263" y="7"/>
                    </a:lnTo>
                    <a:lnTo>
                      <a:pt x="263" y="7"/>
                    </a:lnTo>
                    <a:lnTo>
                      <a:pt x="270" y="7"/>
                    </a:lnTo>
                    <a:lnTo>
                      <a:pt x="277" y="0"/>
                    </a:lnTo>
                    <a:lnTo>
                      <a:pt x="277" y="0"/>
                    </a:lnTo>
                    <a:lnTo>
                      <a:pt x="277" y="0"/>
                    </a:lnTo>
                    <a:lnTo>
                      <a:pt x="284" y="0"/>
                    </a:lnTo>
                    <a:lnTo>
                      <a:pt x="291" y="0"/>
                    </a:lnTo>
                    <a:lnTo>
                      <a:pt x="291" y="0"/>
                    </a:lnTo>
                    <a:lnTo>
                      <a:pt x="291" y="0"/>
                    </a:lnTo>
                    <a:lnTo>
                      <a:pt x="305" y="0"/>
                    </a:lnTo>
                    <a:lnTo>
                      <a:pt x="305" y="0"/>
                    </a:lnTo>
                    <a:lnTo>
                      <a:pt x="305" y="0"/>
                    </a:lnTo>
                    <a:lnTo>
                      <a:pt x="305" y="0"/>
                    </a:lnTo>
                    <a:lnTo>
                      <a:pt x="305" y="0"/>
                    </a:lnTo>
                    <a:lnTo>
                      <a:pt x="298" y="14"/>
                    </a:lnTo>
                    <a:lnTo>
                      <a:pt x="298" y="14"/>
                    </a:lnTo>
                    <a:lnTo>
                      <a:pt x="298" y="14"/>
                    </a:lnTo>
                    <a:lnTo>
                      <a:pt x="298" y="14"/>
                    </a:lnTo>
                    <a:lnTo>
                      <a:pt x="298" y="14"/>
                    </a:lnTo>
                    <a:lnTo>
                      <a:pt x="298" y="14"/>
                    </a:lnTo>
                    <a:lnTo>
                      <a:pt x="298" y="21"/>
                    </a:lnTo>
                    <a:lnTo>
                      <a:pt x="305" y="21"/>
                    </a:lnTo>
                    <a:lnTo>
                      <a:pt x="305" y="21"/>
                    </a:lnTo>
                    <a:lnTo>
                      <a:pt x="305" y="21"/>
                    </a:lnTo>
                    <a:lnTo>
                      <a:pt x="305" y="28"/>
                    </a:lnTo>
                    <a:lnTo>
                      <a:pt x="305" y="28"/>
                    </a:lnTo>
                    <a:lnTo>
                      <a:pt x="298" y="35"/>
                    </a:lnTo>
                    <a:lnTo>
                      <a:pt x="298" y="35"/>
                    </a:lnTo>
                    <a:lnTo>
                      <a:pt x="298" y="35"/>
                    </a:lnTo>
                    <a:lnTo>
                      <a:pt x="298" y="42"/>
                    </a:lnTo>
                    <a:lnTo>
                      <a:pt x="305" y="42"/>
                    </a:lnTo>
                    <a:lnTo>
                      <a:pt x="305" y="42"/>
                    </a:lnTo>
                    <a:lnTo>
                      <a:pt x="305" y="50"/>
                    </a:lnTo>
                    <a:lnTo>
                      <a:pt x="305" y="57"/>
                    </a:lnTo>
                    <a:lnTo>
                      <a:pt x="305" y="57"/>
                    </a:lnTo>
                    <a:lnTo>
                      <a:pt x="305" y="57"/>
                    </a:lnTo>
                    <a:lnTo>
                      <a:pt x="305" y="57"/>
                    </a:lnTo>
                    <a:lnTo>
                      <a:pt x="305" y="50"/>
                    </a:lnTo>
                    <a:lnTo>
                      <a:pt x="312" y="50"/>
                    </a:lnTo>
                    <a:lnTo>
                      <a:pt x="312" y="50"/>
                    </a:lnTo>
                    <a:lnTo>
                      <a:pt x="320" y="50"/>
                    </a:lnTo>
                    <a:lnTo>
                      <a:pt x="327" y="50"/>
                    </a:lnTo>
                    <a:lnTo>
                      <a:pt x="327" y="42"/>
                    </a:lnTo>
                    <a:lnTo>
                      <a:pt x="327" y="42"/>
                    </a:lnTo>
                    <a:lnTo>
                      <a:pt x="327" y="42"/>
                    </a:lnTo>
                    <a:lnTo>
                      <a:pt x="327" y="42"/>
                    </a:lnTo>
                    <a:lnTo>
                      <a:pt x="334" y="42"/>
                    </a:lnTo>
                    <a:lnTo>
                      <a:pt x="334" y="42"/>
                    </a:lnTo>
                    <a:lnTo>
                      <a:pt x="334" y="50"/>
                    </a:lnTo>
                    <a:lnTo>
                      <a:pt x="341" y="50"/>
                    </a:lnTo>
                    <a:lnTo>
                      <a:pt x="348" y="57"/>
                    </a:lnTo>
                    <a:lnTo>
                      <a:pt x="362" y="64"/>
                    </a:lnTo>
                    <a:lnTo>
                      <a:pt x="362" y="64"/>
                    </a:lnTo>
                    <a:lnTo>
                      <a:pt x="362" y="64"/>
                    </a:lnTo>
                    <a:lnTo>
                      <a:pt x="362" y="64"/>
                    </a:lnTo>
                    <a:lnTo>
                      <a:pt x="362" y="64"/>
                    </a:lnTo>
                    <a:lnTo>
                      <a:pt x="362" y="64"/>
                    </a:lnTo>
                    <a:lnTo>
                      <a:pt x="362" y="64"/>
                    </a:lnTo>
                    <a:lnTo>
                      <a:pt x="369" y="64"/>
                    </a:lnTo>
                    <a:lnTo>
                      <a:pt x="369" y="64"/>
                    </a:lnTo>
                    <a:lnTo>
                      <a:pt x="369" y="64"/>
                    </a:lnTo>
                    <a:lnTo>
                      <a:pt x="369" y="64"/>
                    </a:lnTo>
                    <a:lnTo>
                      <a:pt x="369" y="64"/>
                    </a:lnTo>
                    <a:lnTo>
                      <a:pt x="369" y="64"/>
                    </a:lnTo>
                    <a:lnTo>
                      <a:pt x="369" y="64"/>
                    </a:lnTo>
                    <a:lnTo>
                      <a:pt x="369" y="64"/>
                    </a:lnTo>
                    <a:lnTo>
                      <a:pt x="369" y="64"/>
                    </a:lnTo>
                    <a:lnTo>
                      <a:pt x="369" y="71"/>
                    </a:lnTo>
                    <a:lnTo>
                      <a:pt x="369" y="71"/>
                    </a:lnTo>
                    <a:lnTo>
                      <a:pt x="369" y="71"/>
                    </a:lnTo>
                    <a:lnTo>
                      <a:pt x="369" y="71"/>
                    </a:lnTo>
                    <a:lnTo>
                      <a:pt x="369" y="71"/>
                    </a:lnTo>
                    <a:lnTo>
                      <a:pt x="362" y="78"/>
                    </a:lnTo>
                    <a:lnTo>
                      <a:pt x="362" y="78"/>
                    </a:lnTo>
                    <a:lnTo>
                      <a:pt x="362" y="78"/>
                    </a:lnTo>
                    <a:lnTo>
                      <a:pt x="362" y="78"/>
                    </a:lnTo>
                    <a:lnTo>
                      <a:pt x="362" y="78"/>
                    </a:lnTo>
                    <a:lnTo>
                      <a:pt x="362" y="78"/>
                    </a:lnTo>
                    <a:lnTo>
                      <a:pt x="362" y="85"/>
                    </a:lnTo>
                    <a:lnTo>
                      <a:pt x="369" y="85"/>
                    </a:lnTo>
                    <a:lnTo>
                      <a:pt x="369" y="85"/>
                    </a:lnTo>
                    <a:lnTo>
                      <a:pt x="369" y="85"/>
                    </a:lnTo>
                    <a:lnTo>
                      <a:pt x="369" y="85"/>
                    </a:lnTo>
                    <a:lnTo>
                      <a:pt x="376" y="85"/>
                    </a:lnTo>
                    <a:lnTo>
                      <a:pt x="376" y="85"/>
                    </a:lnTo>
                    <a:lnTo>
                      <a:pt x="376" y="85"/>
                    </a:lnTo>
                    <a:lnTo>
                      <a:pt x="376" y="92"/>
                    </a:lnTo>
                    <a:lnTo>
                      <a:pt x="383" y="92"/>
                    </a:lnTo>
                    <a:lnTo>
                      <a:pt x="383" y="92"/>
                    </a:lnTo>
                    <a:lnTo>
                      <a:pt x="383" y="99"/>
                    </a:lnTo>
                    <a:lnTo>
                      <a:pt x="391" y="99"/>
                    </a:lnTo>
                    <a:lnTo>
                      <a:pt x="391" y="99"/>
                    </a:lnTo>
                    <a:lnTo>
                      <a:pt x="391" y="99"/>
                    </a:lnTo>
                    <a:lnTo>
                      <a:pt x="391" y="99"/>
                    </a:lnTo>
                    <a:lnTo>
                      <a:pt x="391" y="106"/>
                    </a:lnTo>
                    <a:lnTo>
                      <a:pt x="391" y="106"/>
                    </a:lnTo>
                    <a:lnTo>
                      <a:pt x="391" y="106"/>
                    </a:lnTo>
                    <a:lnTo>
                      <a:pt x="391" y="106"/>
                    </a:lnTo>
                    <a:lnTo>
                      <a:pt x="391" y="106"/>
                    </a:lnTo>
                    <a:lnTo>
                      <a:pt x="391" y="113"/>
                    </a:lnTo>
                    <a:lnTo>
                      <a:pt x="391" y="113"/>
                    </a:lnTo>
                    <a:lnTo>
                      <a:pt x="391" y="113"/>
                    </a:lnTo>
                    <a:lnTo>
                      <a:pt x="391" y="113"/>
                    </a:lnTo>
                    <a:lnTo>
                      <a:pt x="398" y="113"/>
                    </a:lnTo>
                    <a:lnTo>
                      <a:pt x="398" y="113"/>
                    </a:lnTo>
                    <a:lnTo>
                      <a:pt x="398" y="113"/>
                    </a:lnTo>
                    <a:lnTo>
                      <a:pt x="376" y="121"/>
                    </a:lnTo>
                    <a:lnTo>
                      <a:pt x="376" y="128"/>
                    </a:lnTo>
                    <a:lnTo>
                      <a:pt x="376" y="128"/>
                    </a:lnTo>
                    <a:lnTo>
                      <a:pt x="369" y="128"/>
                    </a:lnTo>
                    <a:lnTo>
                      <a:pt x="369" y="128"/>
                    </a:lnTo>
                    <a:lnTo>
                      <a:pt x="362" y="128"/>
                    </a:lnTo>
                    <a:lnTo>
                      <a:pt x="362" y="128"/>
                    </a:lnTo>
                    <a:lnTo>
                      <a:pt x="362" y="128"/>
                    </a:lnTo>
                    <a:lnTo>
                      <a:pt x="362" y="135"/>
                    </a:lnTo>
                    <a:lnTo>
                      <a:pt x="362" y="135"/>
                    </a:lnTo>
                    <a:lnTo>
                      <a:pt x="362" y="135"/>
                    </a:lnTo>
                    <a:lnTo>
                      <a:pt x="362" y="135"/>
                    </a:lnTo>
                    <a:lnTo>
                      <a:pt x="362" y="135"/>
                    </a:lnTo>
                    <a:lnTo>
                      <a:pt x="355" y="135"/>
                    </a:lnTo>
                    <a:lnTo>
                      <a:pt x="355" y="135"/>
                    </a:lnTo>
                    <a:lnTo>
                      <a:pt x="355" y="142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7" name="Freeform 45"/>
              <p:cNvSpPr>
                <a:spLocks/>
              </p:cNvSpPr>
              <p:nvPr/>
            </p:nvSpPr>
            <p:spPr bwMode="auto">
              <a:xfrm>
                <a:off x="4983" y="1308"/>
                <a:ext cx="50" cy="29"/>
              </a:xfrm>
              <a:custGeom>
                <a:avLst/>
                <a:gdLst>
                  <a:gd name="T0" fmla="*/ 50 w 50"/>
                  <a:gd name="T1" fmla="*/ 14 h 29"/>
                  <a:gd name="T2" fmla="*/ 50 w 50"/>
                  <a:gd name="T3" fmla="*/ 14 h 29"/>
                  <a:gd name="T4" fmla="*/ 50 w 50"/>
                  <a:gd name="T5" fmla="*/ 14 h 29"/>
                  <a:gd name="T6" fmla="*/ 50 w 50"/>
                  <a:gd name="T7" fmla="*/ 14 h 29"/>
                  <a:gd name="T8" fmla="*/ 50 w 50"/>
                  <a:gd name="T9" fmla="*/ 14 h 29"/>
                  <a:gd name="T10" fmla="*/ 50 w 50"/>
                  <a:gd name="T11" fmla="*/ 22 h 29"/>
                  <a:gd name="T12" fmla="*/ 50 w 50"/>
                  <a:gd name="T13" fmla="*/ 22 h 29"/>
                  <a:gd name="T14" fmla="*/ 42 w 50"/>
                  <a:gd name="T15" fmla="*/ 22 h 29"/>
                  <a:gd name="T16" fmla="*/ 42 w 50"/>
                  <a:gd name="T17" fmla="*/ 22 h 29"/>
                  <a:gd name="T18" fmla="*/ 42 w 50"/>
                  <a:gd name="T19" fmla="*/ 22 h 29"/>
                  <a:gd name="T20" fmla="*/ 35 w 50"/>
                  <a:gd name="T21" fmla="*/ 29 h 29"/>
                  <a:gd name="T22" fmla="*/ 35 w 50"/>
                  <a:gd name="T23" fmla="*/ 22 h 29"/>
                  <a:gd name="T24" fmla="*/ 35 w 50"/>
                  <a:gd name="T25" fmla="*/ 22 h 29"/>
                  <a:gd name="T26" fmla="*/ 28 w 50"/>
                  <a:gd name="T27" fmla="*/ 22 h 29"/>
                  <a:gd name="T28" fmla="*/ 21 w 50"/>
                  <a:gd name="T29" fmla="*/ 22 h 29"/>
                  <a:gd name="T30" fmla="*/ 14 w 50"/>
                  <a:gd name="T31" fmla="*/ 22 h 29"/>
                  <a:gd name="T32" fmla="*/ 14 w 50"/>
                  <a:gd name="T33" fmla="*/ 22 h 29"/>
                  <a:gd name="T34" fmla="*/ 7 w 50"/>
                  <a:gd name="T35" fmla="*/ 29 h 29"/>
                  <a:gd name="T36" fmla="*/ 0 w 50"/>
                  <a:gd name="T37" fmla="*/ 22 h 29"/>
                  <a:gd name="T38" fmla="*/ 0 w 50"/>
                  <a:gd name="T39" fmla="*/ 22 h 29"/>
                  <a:gd name="T40" fmla="*/ 0 w 50"/>
                  <a:gd name="T41" fmla="*/ 22 h 29"/>
                  <a:gd name="T42" fmla="*/ 0 w 50"/>
                  <a:gd name="T43" fmla="*/ 22 h 29"/>
                  <a:gd name="T44" fmla="*/ 0 w 50"/>
                  <a:gd name="T45" fmla="*/ 22 h 29"/>
                  <a:gd name="T46" fmla="*/ 0 w 50"/>
                  <a:gd name="T47" fmla="*/ 14 h 29"/>
                  <a:gd name="T48" fmla="*/ 7 w 50"/>
                  <a:gd name="T49" fmla="*/ 14 h 29"/>
                  <a:gd name="T50" fmla="*/ 7 w 50"/>
                  <a:gd name="T51" fmla="*/ 14 h 29"/>
                  <a:gd name="T52" fmla="*/ 7 w 50"/>
                  <a:gd name="T53" fmla="*/ 14 h 29"/>
                  <a:gd name="T54" fmla="*/ 14 w 50"/>
                  <a:gd name="T55" fmla="*/ 14 h 29"/>
                  <a:gd name="T56" fmla="*/ 14 w 50"/>
                  <a:gd name="T57" fmla="*/ 14 h 29"/>
                  <a:gd name="T58" fmla="*/ 14 w 50"/>
                  <a:gd name="T59" fmla="*/ 14 h 29"/>
                  <a:gd name="T60" fmla="*/ 14 w 50"/>
                  <a:gd name="T61" fmla="*/ 14 h 29"/>
                  <a:gd name="T62" fmla="*/ 14 w 50"/>
                  <a:gd name="T63" fmla="*/ 14 h 29"/>
                  <a:gd name="T64" fmla="*/ 21 w 50"/>
                  <a:gd name="T65" fmla="*/ 7 h 29"/>
                  <a:gd name="T66" fmla="*/ 21 w 50"/>
                  <a:gd name="T67" fmla="*/ 7 h 29"/>
                  <a:gd name="T68" fmla="*/ 21 w 50"/>
                  <a:gd name="T69" fmla="*/ 7 h 29"/>
                  <a:gd name="T70" fmla="*/ 21 w 50"/>
                  <a:gd name="T71" fmla="*/ 0 h 29"/>
                  <a:gd name="T72" fmla="*/ 28 w 50"/>
                  <a:gd name="T73" fmla="*/ 0 h 29"/>
                  <a:gd name="T74" fmla="*/ 28 w 50"/>
                  <a:gd name="T75" fmla="*/ 0 h 29"/>
                  <a:gd name="T76" fmla="*/ 35 w 50"/>
                  <a:gd name="T77" fmla="*/ 0 h 29"/>
                  <a:gd name="T78" fmla="*/ 35 w 50"/>
                  <a:gd name="T79" fmla="*/ 0 h 29"/>
                  <a:gd name="T80" fmla="*/ 35 w 50"/>
                  <a:gd name="T81" fmla="*/ 0 h 29"/>
                  <a:gd name="T82" fmla="*/ 35 w 50"/>
                  <a:gd name="T83" fmla="*/ 0 h 29"/>
                  <a:gd name="T84" fmla="*/ 35 w 50"/>
                  <a:gd name="T85" fmla="*/ 0 h 29"/>
                  <a:gd name="T86" fmla="*/ 42 w 50"/>
                  <a:gd name="T87" fmla="*/ 7 h 29"/>
                  <a:gd name="T88" fmla="*/ 42 w 50"/>
                  <a:gd name="T89" fmla="*/ 7 h 29"/>
                  <a:gd name="T90" fmla="*/ 42 w 50"/>
                  <a:gd name="T91" fmla="*/ 7 h 29"/>
                  <a:gd name="T92" fmla="*/ 42 w 50"/>
                  <a:gd name="T93" fmla="*/ 7 h 29"/>
                  <a:gd name="T94" fmla="*/ 42 w 50"/>
                  <a:gd name="T95" fmla="*/ 7 h 29"/>
                  <a:gd name="T96" fmla="*/ 42 w 50"/>
                  <a:gd name="T97" fmla="*/ 7 h 29"/>
                  <a:gd name="T98" fmla="*/ 42 w 50"/>
                  <a:gd name="T99" fmla="*/ 14 h 29"/>
                  <a:gd name="T100" fmla="*/ 50 w 50"/>
                  <a:gd name="T101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29">
                    <a:moveTo>
                      <a:pt x="50" y="14"/>
                    </a:move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35" y="29"/>
                    </a:lnTo>
                    <a:lnTo>
                      <a:pt x="35" y="22"/>
                    </a:lnTo>
                    <a:lnTo>
                      <a:pt x="35" y="22"/>
                    </a:lnTo>
                    <a:lnTo>
                      <a:pt x="28" y="22"/>
                    </a:lnTo>
                    <a:lnTo>
                      <a:pt x="21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7" y="29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2" y="14"/>
                    </a:lnTo>
                    <a:lnTo>
                      <a:pt x="50" y="1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8" name="Freeform 46"/>
              <p:cNvSpPr>
                <a:spLocks/>
              </p:cNvSpPr>
              <p:nvPr/>
            </p:nvSpPr>
            <p:spPr bwMode="auto">
              <a:xfrm>
                <a:off x="4983" y="1308"/>
                <a:ext cx="50" cy="29"/>
              </a:xfrm>
              <a:custGeom>
                <a:avLst/>
                <a:gdLst>
                  <a:gd name="T0" fmla="*/ 50 w 50"/>
                  <a:gd name="T1" fmla="*/ 14 h 29"/>
                  <a:gd name="T2" fmla="*/ 50 w 50"/>
                  <a:gd name="T3" fmla="*/ 14 h 29"/>
                  <a:gd name="T4" fmla="*/ 50 w 50"/>
                  <a:gd name="T5" fmla="*/ 14 h 29"/>
                  <a:gd name="T6" fmla="*/ 50 w 50"/>
                  <a:gd name="T7" fmla="*/ 14 h 29"/>
                  <a:gd name="T8" fmla="*/ 50 w 50"/>
                  <a:gd name="T9" fmla="*/ 14 h 29"/>
                  <a:gd name="T10" fmla="*/ 50 w 50"/>
                  <a:gd name="T11" fmla="*/ 22 h 29"/>
                  <a:gd name="T12" fmla="*/ 50 w 50"/>
                  <a:gd name="T13" fmla="*/ 22 h 29"/>
                  <a:gd name="T14" fmla="*/ 42 w 50"/>
                  <a:gd name="T15" fmla="*/ 22 h 29"/>
                  <a:gd name="T16" fmla="*/ 42 w 50"/>
                  <a:gd name="T17" fmla="*/ 22 h 29"/>
                  <a:gd name="T18" fmla="*/ 42 w 50"/>
                  <a:gd name="T19" fmla="*/ 22 h 29"/>
                  <a:gd name="T20" fmla="*/ 35 w 50"/>
                  <a:gd name="T21" fmla="*/ 29 h 29"/>
                  <a:gd name="T22" fmla="*/ 35 w 50"/>
                  <a:gd name="T23" fmla="*/ 22 h 29"/>
                  <a:gd name="T24" fmla="*/ 35 w 50"/>
                  <a:gd name="T25" fmla="*/ 22 h 29"/>
                  <a:gd name="T26" fmla="*/ 28 w 50"/>
                  <a:gd name="T27" fmla="*/ 22 h 29"/>
                  <a:gd name="T28" fmla="*/ 21 w 50"/>
                  <a:gd name="T29" fmla="*/ 22 h 29"/>
                  <a:gd name="T30" fmla="*/ 14 w 50"/>
                  <a:gd name="T31" fmla="*/ 22 h 29"/>
                  <a:gd name="T32" fmla="*/ 14 w 50"/>
                  <a:gd name="T33" fmla="*/ 22 h 29"/>
                  <a:gd name="T34" fmla="*/ 7 w 50"/>
                  <a:gd name="T35" fmla="*/ 29 h 29"/>
                  <a:gd name="T36" fmla="*/ 0 w 50"/>
                  <a:gd name="T37" fmla="*/ 22 h 29"/>
                  <a:gd name="T38" fmla="*/ 0 w 50"/>
                  <a:gd name="T39" fmla="*/ 22 h 29"/>
                  <a:gd name="T40" fmla="*/ 0 w 50"/>
                  <a:gd name="T41" fmla="*/ 22 h 29"/>
                  <a:gd name="T42" fmla="*/ 0 w 50"/>
                  <a:gd name="T43" fmla="*/ 22 h 29"/>
                  <a:gd name="T44" fmla="*/ 0 w 50"/>
                  <a:gd name="T45" fmla="*/ 22 h 29"/>
                  <a:gd name="T46" fmla="*/ 0 w 50"/>
                  <a:gd name="T47" fmla="*/ 14 h 29"/>
                  <a:gd name="T48" fmla="*/ 7 w 50"/>
                  <a:gd name="T49" fmla="*/ 14 h 29"/>
                  <a:gd name="T50" fmla="*/ 7 w 50"/>
                  <a:gd name="T51" fmla="*/ 14 h 29"/>
                  <a:gd name="T52" fmla="*/ 7 w 50"/>
                  <a:gd name="T53" fmla="*/ 14 h 29"/>
                  <a:gd name="T54" fmla="*/ 14 w 50"/>
                  <a:gd name="T55" fmla="*/ 14 h 29"/>
                  <a:gd name="T56" fmla="*/ 14 w 50"/>
                  <a:gd name="T57" fmla="*/ 14 h 29"/>
                  <a:gd name="T58" fmla="*/ 14 w 50"/>
                  <a:gd name="T59" fmla="*/ 14 h 29"/>
                  <a:gd name="T60" fmla="*/ 14 w 50"/>
                  <a:gd name="T61" fmla="*/ 14 h 29"/>
                  <a:gd name="T62" fmla="*/ 14 w 50"/>
                  <a:gd name="T63" fmla="*/ 14 h 29"/>
                  <a:gd name="T64" fmla="*/ 21 w 50"/>
                  <a:gd name="T65" fmla="*/ 7 h 29"/>
                  <a:gd name="T66" fmla="*/ 21 w 50"/>
                  <a:gd name="T67" fmla="*/ 7 h 29"/>
                  <a:gd name="T68" fmla="*/ 21 w 50"/>
                  <a:gd name="T69" fmla="*/ 7 h 29"/>
                  <a:gd name="T70" fmla="*/ 21 w 50"/>
                  <a:gd name="T71" fmla="*/ 0 h 29"/>
                  <a:gd name="T72" fmla="*/ 28 w 50"/>
                  <a:gd name="T73" fmla="*/ 0 h 29"/>
                  <a:gd name="T74" fmla="*/ 28 w 50"/>
                  <a:gd name="T75" fmla="*/ 0 h 29"/>
                  <a:gd name="T76" fmla="*/ 35 w 50"/>
                  <a:gd name="T77" fmla="*/ 0 h 29"/>
                  <a:gd name="T78" fmla="*/ 35 w 50"/>
                  <a:gd name="T79" fmla="*/ 0 h 29"/>
                  <a:gd name="T80" fmla="*/ 35 w 50"/>
                  <a:gd name="T81" fmla="*/ 0 h 29"/>
                  <a:gd name="T82" fmla="*/ 35 w 50"/>
                  <a:gd name="T83" fmla="*/ 0 h 29"/>
                  <a:gd name="T84" fmla="*/ 35 w 50"/>
                  <a:gd name="T85" fmla="*/ 0 h 29"/>
                  <a:gd name="T86" fmla="*/ 42 w 50"/>
                  <a:gd name="T87" fmla="*/ 7 h 29"/>
                  <a:gd name="T88" fmla="*/ 42 w 50"/>
                  <a:gd name="T89" fmla="*/ 7 h 29"/>
                  <a:gd name="T90" fmla="*/ 42 w 50"/>
                  <a:gd name="T91" fmla="*/ 7 h 29"/>
                  <a:gd name="T92" fmla="*/ 42 w 50"/>
                  <a:gd name="T93" fmla="*/ 7 h 29"/>
                  <a:gd name="T94" fmla="*/ 42 w 50"/>
                  <a:gd name="T95" fmla="*/ 7 h 29"/>
                  <a:gd name="T96" fmla="*/ 42 w 50"/>
                  <a:gd name="T97" fmla="*/ 7 h 29"/>
                  <a:gd name="T98" fmla="*/ 42 w 50"/>
                  <a:gd name="T99" fmla="*/ 14 h 29"/>
                  <a:gd name="T100" fmla="*/ 50 w 50"/>
                  <a:gd name="T101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29">
                    <a:moveTo>
                      <a:pt x="50" y="14"/>
                    </a:move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35" y="29"/>
                    </a:lnTo>
                    <a:lnTo>
                      <a:pt x="35" y="22"/>
                    </a:lnTo>
                    <a:lnTo>
                      <a:pt x="35" y="22"/>
                    </a:lnTo>
                    <a:lnTo>
                      <a:pt x="28" y="22"/>
                    </a:lnTo>
                    <a:lnTo>
                      <a:pt x="21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7" y="29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2" y="7"/>
                    </a:lnTo>
                    <a:lnTo>
                      <a:pt x="42" y="14"/>
                    </a:lnTo>
                    <a:lnTo>
                      <a:pt x="50" y="14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9" name="Freeform 47"/>
              <p:cNvSpPr>
                <a:spLocks/>
              </p:cNvSpPr>
              <p:nvPr/>
            </p:nvSpPr>
            <p:spPr bwMode="auto">
              <a:xfrm>
                <a:off x="2711" y="570"/>
                <a:ext cx="398" cy="419"/>
              </a:xfrm>
              <a:custGeom>
                <a:avLst/>
                <a:gdLst>
                  <a:gd name="T0" fmla="*/ 7 w 398"/>
                  <a:gd name="T1" fmla="*/ 298 h 419"/>
                  <a:gd name="T2" fmla="*/ 29 w 398"/>
                  <a:gd name="T3" fmla="*/ 284 h 419"/>
                  <a:gd name="T4" fmla="*/ 43 w 398"/>
                  <a:gd name="T5" fmla="*/ 263 h 419"/>
                  <a:gd name="T6" fmla="*/ 57 w 398"/>
                  <a:gd name="T7" fmla="*/ 241 h 419"/>
                  <a:gd name="T8" fmla="*/ 78 w 398"/>
                  <a:gd name="T9" fmla="*/ 227 h 419"/>
                  <a:gd name="T10" fmla="*/ 100 w 398"/>
                  <a:gd name="T11" fmla="*/ 206 h 419"/>
                  <a:gd name="T12" fmla="*/ 93 w 398"/>
                  <a:gd name="T13" fmla="*/ 192 h 419"/>
                  <a:gd name="T14" fmla="*/ 100 w 398"/>
                  <a:gd name="T15" fmla="*/ 128 h 419"/>
                  <a:gd name="T16" fmla="*/ 93 w 398"/>
                  <a:gd name="T17" fmla="*/ 106 h 419"/>
                  <a:gd name="T18" fmla="*/ 128 w 398"/>
                  <a:gd name="T19" fmla="*/ 78 h 419"/>
                  <a:gd name="T20" fmla="*/ 149 w 398"/>
                  <a:gd name="T21" fmla="*/ 64 h 419"/>
                  <a:gd name="T22" fmla="*/ 178 w 398"/>
                  <a:gd name="T23" fmla="*/ 57 h 419"/>
                  <a:gd name="T24" fmla="*/ 192 w 398"/>
                  <a:gd name="T25" fmla="*/ 28 h 419"/>
                  <a:gd name="T26" fmla="*/ 213 w 398"/>
                  <a:gd name="T27" fmla="*/ 28 h 419"/>
                  <a:gd name="T28" fmla="*/ 249 w 398"/>
                  <a:gd name="T29" fmla="*/ 14 h 419"/>
                  <a:gd name="T30" fmla="*/ 270 w 398"/>
                  <a:gd name="T31" fmla="*/ 14 h 419"/>
                  <a:gd name="T32" fmla="*/ 227 w 398"/>
                  <a:gd name="T33" fmla="*/ 43 h 419"/>
                  <a:gd name="T34" fmla="*/ 235 w 398"/>
                  <a:gd name="T35" fmla="*/ 50 h 419"/>
                  <a:gd name="T36" fmla="*/ 249 w 398"/>
                  <a:gd name="T37" fmla="*/ 71 h 419"/>
                  <a:gd name="T38" fmla="*/ 270 w 398"/>
                  <a:gd name="T39" fmla="*/ 99 h 419"/>
                  <a:gd name="T40" fmla="*/ 306 w 398"/>
                  <a:gd name="T41" fmla="*/ 170 h 419"/>
                  <a:gd name="T42" fmla="*/ 320 w 398"/>
                  <a:gd name="T43" fmla="*/ 163 h 419"/>
                  <a:gd name="T44" fmla="*/ 341 w 398"/>
                  <a:gd name="T45" fmla="*/ 170 h 419"/>
                  <a:gd name="T46" fmla="*/ 348 w 398"/>
                  <a:gd name="T47" fmla="*/ 177 h 419"/>
                  <a:gd name="T48" fmla="*/ 355 w 398"/>
                  <a:gd name="T49" fmla="*/ 177 h 419"/>
                  <a:gd name="T50" fmla="*/ 362 w 398"/>
                  <a:gd name="T51" fmla="*/ 185 h 419"/>
                  <a:gd name="T52" fmla="*/ 362 w 398"/>
                  <a:gd name="T53" fmla="*/ 206 h 419"/>
                  <a:gd name="T54" fmla="*/ 384 w 398"/>
                  <a:gd name="T55" fmla="*/ 234 h 419"/>
                  <a:gd name="T56" fmla="*/ 377 w 398"/>
                  <a:gd name="T57" fmla="*/ 241 h 419"/>
                  <a:gd name="T58" fmla="*/ 384 w 398"/>
                  <a:gd name="T59" fmla="*/ 263 h 419"/>
                  <a:gd name="T60" fmla="*/ 391 w 398"/>
                  <a:gd name="T61" fmla="*/ 263 h 419"/>
                  <a:gd name="T62" fmla="*/ 398 w 398"/>
                  <a:gd name="T63" fmla="*/ 277 h 419"/>
                  <a:gd name="T64" fmla="*/ 398 w 398"/>
                  <a:gd name="T65" fmla="*/ 298 h 419"/>
                  <a:gd name="T66" fmla="*/ 384 w 398"/>
                  <a:gd name="T67" fmla="*/ 298 h 419"/>
                  <a:gd name="T68" fmla="*/ 377 w 398"/>
                  <a:gd name="T69" fmla="*/ 305 h 419"/>
                  <a:gd name="T70" fmla="*/ 355 w 398"/>
                  <a:gd name="T71" fmla="*/ 319 h 419"/>
                  <a:gd name="T72" fmla="*/ 362 w 398"/>
                  <a:gd name="T73" fmla="*/ 319 h 419"/>
                  <a:gd name="T74" fmla="*/ 369 w 398"/>
                  <a:gd name="T75" fmla="*/ 327 h 419"/>
                  <a:gd name="T76" fmla="*/ 341 w 398"/>
                  <a:gd name="T77" fmla="*/ 341 h 419"/>
                  <a:gd name="T78" fmla="*/ 334 w 398"/>
                  <a:gd name="T79" fmla="*/ 334 h 419"/>
                  <a:gd name="T80" fmla="*/ 327 w 398"/>
                  <a:gd name="T81" fmla="*/ 334 h 419"/>
                  <a:gd name="T82" fmla="*/ 313 w 398"/>
                  <a:gd name="T83" fmla="*/ 334 h 419"/>
                  <a:gd name="T84" fmla="*/ 313 w 398"/>
                  <a:gd name="T85" fmla="*/ 341 h 419"/>
                  <a:gd name="T86" fmla="*/ 313 w 398"/>
                  <a:gd name="T87" fmla="*/ 355 h 419"/>
                  <a:gd name="T88" fmla="*/ 313 w 398"/>
                  <a:gd name="T89" fmla="*/ 376 h 419"/>
                  <a:gd name="T90" fmla="*/ 277 w 398"/>
                  <a:gd name="T91" fmla="*/ 390 h 419"/>
                  <a:gd name="T92" fmla="*/ 256 w 398"/>
                  <a:gd name="T93" fmla="*/ 383 h 419"/>
                  <a:gd name="T94" fmla="*/ 235 w 398"/>
                  <a:gd name="T95" fmla="*/ 390 h 419"/>
                  <a:gd name="T96" fmla="*/ 206 w 398"/>
                  <a:gd name="T97" fmla="*/ 390 h 419"/>
                  <a:gd name="T98" fmla="*/ 192 w 398"/>
                  <a:gd name="T99" fmla="*/ 405 h 419"/>
                  <a:gd name="T100" fmla="*/ 185 w 398"/>
                  <a:gd name="T101" fmla="*/ 412 h 419"/>
                  <a:gd name="T102" fmla="*/ 178 w 398"/>
                  <a:gd name="T103" fmla="*/ 405 h 419"/>
                  <a:gd name="T104" fmla="*/ 178 w 398"/>
                  <a:gd name="T105" fmla="*/ 397 h 419"/>
                  <a:gd name="T106" fmla="*/ 185 w 398"/>
                  <a:gd name="T107" fmla="*/ 390 h 419"/>
                  <a:gd name="T108" fmla="*/ 178 w 398"/>
                  <a:gd name="T109" fmla="*/ 383 h 419"/>
                  <a:gd name="T110" fmla="*/ 164 w 398"/>
                  <a:gd name="T111" fmla="*/ 383 h 419"/>
                  <a:gd name="T112" fmla="*/ 164 w 398"/>
                  <a:gd name="T113" fmla="*/ 369 h 419"/>
                  <a:gd name="T114" fmla="*/ 164 w 398"/>
                  <a:gd name="T115" fmla="*/ 369 h 419"/>
                  <a:gd name="T116" fmla="*/ 142 w 398"/>
                  <a:gd name="T117" fmla="*/ 369 h 419"/>
                  <a:gd name="T118" fmla="*/ 128 w 398"/>
                  <a:gd name="T119" fmla="*/ 362 h 419"/>
                  <a:gd name="T120" fmla="*/ 107 w 398"/>
                  <a:gd name="T121" fmla="*/ 362 h 419"/>
                  <a:gd name="T122" fmla="*/ 7 w 398"/>
                  <a:gd name="T123" fmla="*/ 355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98" h="419">
                    <a:moveTo>
                      <a:pt x="22" y="334"/>
                    </a:moveTo>
                    <a:lnTo>
                      <a:pt x="22" y="334"/>
                    </a:lnTo>
                    <a:lnTo>
                      <a:pt x="22" y="327"/>
                    </a:lnTo>
                    <a:lnTo>
                      <a:pt x="15" y="327"/>
                    </a:lnTo>
                    <a:lnTo>
                      <a:pt x="15" y="327"/>
                    </a:lnTo>
                    <a:lnTo>
                      <a:pt x="15" y="319"/>
                    </a:lnTo>
                    <a:lnTo>
                      <a:pt x="15" y="312"/>
                    </a:lnTo>
                    <a:lnTo>
                      <a:pt x="7" y="312"/>
                    </a:lnTo>
                    <a:lnTo>
                      <a:pt x="0" y="305"/>
                    </a:lnTo>
                    <a:lnTo>
                      <a:pt x="0" y="305"/>
                    </a:lnTo>
                    <a:lnTo>
                      <a:pt x="7" y="305"/>
                    </a:lnTo>
                    <a:lnTo>
                      <a:pt x="7" y="298"/>
                    </a:lnTo>
                    <a:lnTo>
                      <a:pt x="7" y="298"/>
                    </a:lnTo>
                    <a:lnTo>
                      <a:pt x="15" y="298"/>
                    </a:lnTo>
                    <a:lnTo>
                      <a:pt x="15" y="298"/>
                    </a:lnTo>
                    <a:lnTo>
                      <a:pt x="7" y="298"/>
                    </a:lnTo>
                    <a:lnTo>
                      <a:pt x="7" y="298"/>
                    </a:lnTo>
                    <a:lnTo>
                      <a:pt x="15" y="298"/>
                    </a:lnTo>
                    <a:lnTo>
                      <a:pt x="15" y="298"/>
                    </a:lnTo>
                    <a:lnTo>
                      <a:pt x="15" y="298"/>
                    </a:lnTo>
                    <a:lnTo>
                      <a:pt x="22" y="284"/>
                    </a:lnTo>
                    <a:lnTo>
                      <a:pt x="22" y="284"/>
                    </a:lnTo>
                    <a:lnTo>
                      <a:pt x="22" y="284"/>
                    </a:lnTo>
                    <a:lnTo>
                      <a:pt x="29" y="284"/>
                    </a:lnTo>
                    <a:lnTo>
                      <a:pt x="29" y="284"/>
                    </a:ln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0"/>
                    </a:lnTo>
                    <a:lnTo>
                      <a:pt x="36" y="270"/>
                    </a:lnTo>
                    <a:lnTo>
                      <a:pt x="36" y="270"/>
                    </a:lnTo>
                    <a:lnTo>
                      <a:pt x="36" y="263"/>
                    </a:lnTo>
                    <a:lnTo>
                      <a:pt x="36" y="263"/>
                    </a:lnTo>
                    <a:lnTo>
                      <a:pt x="43" y="263"/>
                    </a:lnTo>
                    <a:lnTo>
                      <a:pt x="43" y="263"/>
                    </a:lnTo>
                    <a:lnTo>
                      <a:pt x="43" y="263"/>
                    </a:lnTo>
                    <a:lnTo>
                      <a:pt x="43" y="263"/>
                    </a:lnTo>
                    <a:lnTo>
                      <a:pt x="43" y="263"/>
                    </a:lnTo>
                    <a:lnTo>
                      <a:pt x="50" y="256"/>
                    </a:lnTo>
                    <a:lnTo>
                      <a:pt x="50" y="256"/>
                    </a:lnTo>
                    <a:lnTo>
                      <a:pt x="50" y="256"/>
                    </a:lnTo>
                    <a:lnTo>
                      <a:pt x="50" y="256"/>
                    </a:lnTo>
                    <a:lnTo>
                      <a:pt x="57" y="248"/>
                    </a:lnTo>
                    <a:lnTo>
                      <a:pt x="57" y="248"/>
                    </a:lnTo>
                    <a:lnTo>
                      <a:pt x="57" y="248"/>
                    </a:lnTo>
                    <a:lnTo>
                      <a:pt x="57" y="248"/>
                    </a:lnTo>
                    <a:lnTo>
                      <a:pt x="57" y="241"/>
                    </a:lnTo>
                    <a:lnTo>
                      <a:pt x="57" y="241"/>
                    </a:lnTo>
                    <a:lnTo>
                      <a:pt x="57" y="241"/>
                    </a:lnTo>
                    <a:lnTo>
                      <a:pt x="57" y="241"/>
                    </a:lnTo>
                    <a:lnTo>
                      <a:pt x="64" y="241"/>
                    </a:lnTo>
                    <a:lnTo>
                      <a:pt x="64" y="234"/>
                    </a:lnTo>
                    <a:lnTo>
                      <a:pt x="64" y="234"/>
                    </a:lnTo>
                    <a:lnTo>
                      <a:pt x="64" y="234"/>
                    </a:lnTo>
                    <a:lnTo>
                      <a:pt x="64" y="227"/>
                    </a:lnTo>
                    <a:lnTo>
                      <a:pt x="64" y="227"/>
                    </a:lnTo>
                    <a:lnTo>
                      <a:pt x="71" y="227"/>
                    </a:lnTo>
                    <a:lnTo>
                      <a:pt x="71" y="227"/>
                    </a:lnTo>
                    <a:lnTo>
                      <a:pt x="71" y="227"/>
                    </a:lnTo>
                    <a:lnTo>
                      <a:pt x="78" y="227"/>
                    </a:lnTo>
                    <a:lnTo>
                      <a:pt x="78" y="227"/>
                    </a:lnTo>
                    <a:lnTo>
                      <a:pt x="78" y="227"/>
                    </a:lnTo>
                    <a:lnTo>
                      <a:pt x="78" y="227"/>
                    </a:lnTo>
                    <a:lnTo>
                      <a:pt x="78" y="220"/>
                    </a:lnTo>
                    <a:lnTo>
                      <a:pt x="85" y="220"/>
                    </a:lnTo>
                    <a:lnTo>
                      <a:pt x="85" y="220"/>
                    </a:lnTo>
                    <a:lnTo>
                      <a:pt x="85" y="220"/>
                    </a:lnTo>
                    <a:lnTo>
                      <a:pt x="93" y="220"/>
                    </a:lnTo>
                    <a:lnTo>
                      <a:pt x="93" y="220"/>
                    </a:lnTo>
                    <a:lnTo>
                      <a:pt x="93" y="213"/>
                    </a:lnTo>
                    <a:lnTo>
                      <a:pt x="100" y="213"/>
                    </a:lnTo>
                    <a:lnTo>
                      <a:pt x="100" y="213"/>
                    </a:lnTo>
                    <a:lnTo>
                      <a:pt x="100" y="206"/>
                    </a:lnTo>
                    <a:lnTo>
                      <a:pt x="100" y="206"/>
                    </a:lnTo>
                    <a:lnTo>
                      <a:pt x="107" y="206"/>
                    </a:lnTo>
                    <a:lnTo>
                      <a:pt x="107" y="199"/>
                    </a:lnTo>
                    <a:lnTo>
                      <a:pt x="107" y="199"/>
                    </a:lnTo>
                    <a:lnTo>
                      <a:pt x="107" y="199"/>
                    </a:lnTo>
                    <a:lnTo>
                      <a:pt x="100" y="199"/>
                    </a:lnTo>
                    <a:lnTo>
                      <a:pt x="93" y="199"/>
                    </a:lnTo>
                    <a:lnTo>
                      <a:pt x="93" y="199"/>
                    </a:lnTo>
                    <a:lnTo>
                      <a:pt x="93" y="199"/>
                    </a:lnTo>
                    <a:lnTo>
                      <a:pt x="93" y="199"/>
                    </a:lnTo>
                    <a:lnTo>
                      <a:pt x="93" y="192"/>
                    </a:lnTo>
                    <a:lnTo>
                      <a:pt x="93" y="192"/>
                    </a:lnTo>
                    <a:lnTo>
                      <a:pt x="93" y="185"/>
                    </a:lnTo>
                    <a:lnTo>
                      <a:pt x="93" y="185"/>
                    </a:lnTo>
                    <a:lnTo>
                      <a:pt x="93" y="177"/>
                    </a:lnTo>
                    <a:lnTo>
                      <a:pt x="93" y="170"/>
                    </a:lnTo>
                    <a:lnTo>
                      <a:pt x="100" y="163"/>
                    </a:lnTo>
                    <a:lnTo>
                      <a:pt x="100" y="156"/>
                    </a:lnTo>
                    <a:lnTo>
                      <a:pt x="100" y="156"/>
                    </a:lnTo>
                    <a:lnTo>
                      <a:pt x="107" y="156"/>
                    </a:lnTo>
                    <a:lnTo>
                      <a:pt x="107" y="149"/>
                    </a:lnTo>
                    <a:lnTo>
                      <a:pt x="107" y="149"/>
                    </a:lnTo>
                    <a:lnTo>
                      <a:pt x="100" y="142"/>
                    </a:lnTo>
                    <a:lnTo>
                      <a:pt x="100" y="128"/>
                    </a:lnTo>
                    <a:lnTo>
                      <a:pt x="93" y="114"/>
                    </a:lnTo>
                    <a:lnTo>
                      <a:pt x="85" y="114"/>
                    </a:lnTo>
                    <a:lnTo>
                      <a:pt x="85" y="114"/>
                    </a:lnTo>
                    <a:lnTo>
                      <a:pt x="93" y="114"/>
                    </a:lnTo>
                    <a:lnTo>
                      <a:pt x="93" y="114"/>
                    </a:lnTo>
                    <a:lnTo>
                      <a:pt x="93" y="114"/>
                    </a:lnTo>
                    <a:lnTo>
                      <a:pt x="93" y="114"/>
                    </a:lnTo>
                    <a:lnTo>
                      <a:pt x="93" y="114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93" y="99"/>
                    </a:lnTo>
                    <a:lnTo>
                      <a:pt x="93" y="99"/>
                    </a:lnTo>
                    <a:lnTo>
                      <a:pt x="100" y="99"/>
                    </a:lnTo>
                    <a:lnTo>
                      <a:pt x="107" y="92"/>
                    </a:lnTo>
                    <a:lnTo>
                      <a:pt x="107" y="92"/>
                    </a:lnTo>
                    <a:lnTo>
                      <a:pt x="114" y="85"/>
                    </a:lnTo>
                    <a:lnTo>
                      <a:pt x="114" y="85"/>
                    </a:lnTo>
                    <a:lnTo>
                      <a:pt x="121" y="85"/>
                    </a:lnTo>
                    <a:lnTo>
                      <a:pt x="128" y="85"/>
                    </a:lnTo>
                    <a:lnTo>
                      <a:pt x="128" y="78"/>
                    </a:lnTo>
                    <a:lnTo>
                      <a:pt x="128" y="78"/>
                    </a:lnTo>
                    <a:lnTo>
                      <a:pt x="128" y="71"/>
                    </a:lnTo>
                    <a:lnTo>
                      <a:pt x="135" y="71"/>
                    </a:lnTo>
                    <a:lnTo>
                      <a:pt x="142" y="71"/>
                    </a:lnTo>
                    <a:lnTo>
                      <a:pt x="142" y="71"/>
                    </a:lnTo>
                    <a:lnTo>
                      <a:pt x="142" y="71"/>
                    </a:lnTo>
                    <a:lnTo>
                      <a:pt x="149" y="71"/>
                    </a:lnTo>
                    <a:lnTo>
                      <a:pt x="149" y="71"/>
                    </a:lnTo>
                    <a:lnTo>
                      <a:pt x="149" y="71"/>
                    </a:lnTo>
                    <a:lnTo>
                      <a:pt x="149" y="71"/>
                    </a:lnTo>
                    <a:lnTo>
                      <a:pt x="149" y="64"/>
                    </a:lnTo>
                    <a:lnTo>
                      <a:pt x="149" y="64"/>
                    </a:lnTo>
                    <a:lnTo>
                      <a:pt x="156" y="64"/>
                    </a:lnTo>
                    <a:lnTo>
                      <a:pt x="156" y="64"/>
                    </a:lnTo>
                    <a:lnTo>
                      <a:pt x="156" y="64"/>
                    </a:lnTo>
                    <a:lnTo>
                      <a:pt x="156" y="64"/>
                    </a:lnTo>
                    <a:lnTo>
                      <a:pt x="164" y="64"/>
                    </a:lnTo>
                    <a:lnTo>
                      <a:pt x="171" y="64"/>
                    </a:lnTo>
                    <a:lnTo>
                      <a:pt x="171" y="64"/>
                    </a:lnTo>
                    <a:lnTo>
                      <a:pt x="171" y="64"/>
                    </a:lnTo>
                    <a:lnTo>
                      <a:pt x="171" y="64"/>
                    </a:lnTo>
                    <a:lnTo>
                      <a:pt x="171" y="64"/>
                    </a:lnTo>
                    <a:lnTo>
                      <a:pt x="178" y="64"/>
                    </a:lnTo>
                    <a:lnTo>
                      <a:pt x="178" y="57"/>
                    </a:lnTo>
                    <a:lnTo>
                      <a:pt x="178" y="57"/>
                    </a:lnTo>
                    <a:lnTo>
                      <a:pt x="185" y="57"/>
                    </a:lnTo>
                    <a:lnTo>
                      <a:pt x="185" y="57"/>
                    </a:lnTo>
                    <a:lnTo>
                      <a:pt x="185" y="57"/>
                    </a:lnTo>
                    <a:lnTo>
                      <a:pt x="192" y="57"/>
                    </a:lnTo>
                    <a:lnTo>
                      <a:pt x="192" y="50"/>
                    </a:lnTo>
                    <a:lnTo>
                      <a:pt x="192" y="50"/>
                    </a:lnTo>
                    <a:lnTo>
                      <a:pt x="192" y="43"/>
                    </a:lnTo>
                    <a:lnTo>
                      <a:pt x="199" y="43"/>
                    </a:lnTo>
                    <a:lnTo>
                      <a:pt x="199" y="35"/>
                    </a:lnTo>
                    <a:lnTo>
                      <a:pt x="199" y="35"/>
                    </a:lnTo>
                    <a:lnTo>
                      <a:pt x="192" y="28"/>
                    </a:lnTo>
                    <a:lnTo>
                      <a:pt x="192" y="28"/>
                    </a:lnTo>
                    <a:lnTo>
                      <a:pt x="192" y="28"/>
                    </a:lnTo>
                    <a:lnTo>
                      <a:pt x="206" y="28"/>
                    </a:lnTo>
                    <a:lnTo>
                      <a:pt x="206" y="28"/>
                    </a:lnTo>
                    <a:lnTo>
                      <a:pt x="206" y="28"/>
                    </a:lnTo>
                    <a:lnTo>
                      <a:pt x="206" y="28"/>
                    </a:lnTo>
                    <a:lnTo>
                      <a:pt x="206" y="28"/>
                    </a:lnTo>
                    <a:lnTo>
                      <a:pt x="213" y="28"/>
                    </a:lnTo>
                    <a:lnTo>
                      <a:pt x="206" y="28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3" y="35"/>
                    </a:lnTo>
                    <a:lnTo>
                      <a:pt x="220" y="35"/>
                    </a:lnTo>
                    <a:lnTo>
                      <a:pt x="220" y="28"/>
                    </a:lnTo>
                    <a:lnTo>
                      <a:pt x="227" y="21"/>
                    </a:lnTo>
                    <a:lnTo>
                      <a:pt x="227" y="21"/>
                    </a:lnTo>
                    <a:lnTo>
                      <a:pt x="242" y="21"/>
                    </a:lnTo>
                    <a:lnTo>
                      <a:pt x="242" y="21"/>
                    </a:lnTo>
                    <a:lnTo>
                      <a:pt x="242" y="14"/>
                    </a:lnTo>
                    <a:lnTo>
                      <a:pt x="242" y="14"/>
                    </a:lnTo>
                    <a:lnTo>
                      <a:pt x="249" y="14"/>
                    </a:lnTo>
                    <a:lnTo>
                      <a:pt x="249" y="14"/>
                    </a:lnTo>
                    <a:lnTo>
                      <a:pt x="249" y="14"/>
                    </a:lnTo>
                    <a:lnTo>
                      <a:pt x="249" y="7"/>
                    </a:lnTo>
                    <a:lnTo>
                      <a:pt x="256" y="7"/>
                    </a:lnTo>
                    <a:lnTo>
                      <a:pt x="256" y="7"/>
                    </a:lnTo>
                    <a:lnTo>
                      <a:pt x="256" y="7"/>
                    </a:lnTo>
                    <a:lnTo>
                      <a:pt x="263" y="7"/>
                    </a:lnTo>
                    <a:lnTo>
                      <a:pt x="263" y="0"/>
                    </a:lnTo>
                    <a:lnTo>
                      <a:pt x="263" y="0"/>
                    </a:lnTo>
                    <a:lnTo>
                      <a:pt x="263" y="7"/>
                    </a:lnTo>
                    <a:lnTo>
                      <a:pt x="263" y="7"/>
                    </a:lnTo>
                    <a:lnTo>
                      <a:pt x="270" y="14"/>
                    </a:lnTo>
                    <a:lnTo>
                      <a:pt x="270" y="14"/>
                    </a:lnTo>
                    <a:lnTo>
                      <a:pt x="270" y="14"/>
                    </a:lnTo>
                    <a:lnTo>
                      <a:pt x="270" y="14"/>
                    </a:lnTo>
                    <a:lnTo>
                      <a:pt x="263" y="21"/>
                    </a:lnTo>
                    <a:lnTo>
                      <a:pt x="256" y="28"/>
                    </a:lnTo>
                    <a:lnTo>
                      <a:pt x="249" y="35"/>
                    </a:lnTo>
                    <a:lnTo>
                      <a:pt x="249" y="35"/>
                    </a:lnTo>
                    <a:lnTo>
                      <a:pt x="242" y="35"/>
                    </a:lnTo>
                    <a:lnTo>
                      <a:pt x="242" y="35"/>
                    </a:lnTo>
                    <a:lnTo>
                      <a:pt x="235" y="43"/>
                    </a:lnTo>
                    <a:lnTo>
                      <a:pt x="235" y="43"/>
                    </a:lnTo>
                    <a:lnTo>
                      <a:pt x="235" y="43"/>
                    </a:lnTo>
                    <a:lnTo>
                      <a:pt x="227" y="43"/>
                    </a:lnTo>
                    <a:lnTo>
                      <a:pt x="227" y="43"/>
                    </a:lnTo>
                    <a:lnTo>
                      <a:pt x="227" y="43"/>
                    </a:lnTo>
                    <a:lnTo>
                      <a:pt x="235" y="50"/>
                    </a:lnTo>
                    <a:lnTo>
                      <a:pt x="235" y="50"/>
                    </a:lnTo>
                    <a:lnTo>
                      <a:pt x="235" y="50"/>
                    </a:lnTo>
                    <a:lnTo>
                      <a:pt x="235" y="50"/>
                    </a:lnTo>
                    <a:lnTo>
                      <a:pt x="235" y="50"/>
                    </a:lnTo>
                    <a:lnTo>
                      <a:pt x="235" y="50"/>
                    </a:lnTo>
                    <a:lnTo>
                      <a:pt x="235" y="50"/>
                    </a:lnTo>
                    <a:lnTo>
                      <a:pt x="235" y="50"/>
                    </a:lnTo>
                    <a:lnTo>
                      <a:pt x="235" y="50"/>
                    </a:lnTo>
                    <a:lnTo>
                      <a:pt x="235" y="50"/>
                    </a:lnTo>
                    <a:lnTo>
                      <a:pt x="235" y="50"/>
                    </a:lnTo>
                    <a:lnTo>
                      <a:pt x="235" y="57"/>
                    </a:lnTo>
                    <a:lnTo>
                      <a:pt x="227" y="64"/>
                    </a:lnTo>
                    <a:lnTo>
                      <a:pt x="227" y="64"/>
                    </a:lnTo>
                    <a:lnTo>
                      <a:pt x="227" y="64"/>
                    </a:lnTo>
                    <a:lnTo>
                      <a:pt x="227" y="64"/>
                    </a:lnTo>
                    <a:lnTo>
                      <a:pt x="227" y="64"/>
                    </a:lnTo>
                    <a:lnTo>
                      <a:pt x="235" y="64"/>
                    </a:lnTo>
                    <a:lnTo>
                      <a:pt x="242" y="71"/>
                    </a:lnTo>
                    <a:lnTo>
                      <a:pt x="242" y="64"/>
                    </a:lnTo>
                    <a:lnTo>
                      <a:pt x="242" y="71"/>
                    </a:lnTo>
                    <a:lnTo>
                      <a:pt x="249" y="71"/>
                    </a:lnTo>
                    <a:lnTo>
                      <a:pt x="256" y="71"/>
                    </a:lnTo>
                    <a:lnTo>
                      <a:pt x="263" y="78"/>
                    </a:lnTo>
                    <a:lnTo>
                      <a:pt x="263" y="78"/>
                    </a:lnTo>
                    <a:lnTo>
                      <a:pt x="270" y="78"/>
                    </a:lnTo>
                    <a:lnTo>
                      <a:pt x="270" y="85"/>
                    </a:lnTo>
                    <a:lnTo>
                      <a:pt x="277" y="99"/>
                    </a:lnTo>
                    <a:lnTo>
                      <a:pt x="277" y="99"/>
                    </a:lnTo>
                    <a:lnTo>
                      <a:pt x="277" y="99"/>
                    </a:lnTo>
                    <a:lnTo>
                      <a:pt x="277" y="99"/>
                    </a:lnTo>
                    <a:lnTo>
                      <a:pt x="277" y="99"/>
                    </a:lnTo>
                    <a:lnTo>
                      <a:pt x="277" y="99"/>
                    </a:lnTo>
                    <a:lnTo>
                      <a:pt x="270" y="99"/>
                    </a:lnTo>
                    <a:lnTo>
                      <a:pt x="270" y="99"/>
                    </a:lnTo>
                    <a:lnTo>
                      <a:pt x="270" y="99"/>
                    </a:lnTo>
                    <a:lnTo>
                      <a:pt x="270" y="99"/>
                    </a:lnTo>
                    <a:lnTo>
                      <a:pt x="270" y="99"/>
                    </a:lnTo>
                    <a:lnTo>
                      <a:pt x="277" y="106"/>
                    </a:lnTo>
                    <a:lnTo>
                      <a:pt x="291" y="135"/>
                    </a:lnTo>
                    <a:lnTo>
                      <a:pt x="298" y="156"/>
                    </a:lnTo>
                    <a:lnTo>
                      <a:pt x="298" y="163"/>
                    </a:lnTo>
                    <a:lnTo>
                      <a:pt x="298" y="163"/>
                    </a:lnTo>
                    <a:lnTo>
                      <a:pt x="306" y="170"/>
                    </a:lnTo>
                    <a:lnTo>
                      <a:pt x="306" y="170"/>
                    </a:lnTo>
                    <a:lnTo>
                      <a:pt x="306" y="170"/>
                    </a:lnTo>
                    <a:lnTo>
                      <a:pt x="313" y="170"/>
                    </a:lnTo>
                    <a:lnTo>
                      <a:pt x="313" y="170"/>
                    </a:lnTo>
                    <a:lnTo>
                      <a:pt x="313" y="170"/>
                    </a:lnTo>
                    <a:lnTo>
                      <a:pt x="313" y="170"/>
                    </a:lnTo>
                    <a:lnTo>
                      <a:pt x="320" y="170"/>
                    </a:lnTo>
                    <a:lnTo>
                      <a:pt x="320" y="170"/>
                    </a:lnTo>
                    <a:lnTo>
                      <a:pt x="320" y="170"/>
                    </a:lnTo>
                    <a:lnTo>
                      <a:pt x="320" y="170"/>
                    </a:lnTo>
                    <a:lnTo>
                      <a:pt x="320" y="170"/>
                    </a:lnTo>
                    <a:lnTo>
                      <a:pt x="320" y="163"/>
                    </a:lnTo>
                    <a:lnTo>
                      <a:pt x="320" y="163"/>
                    </a:lnTo>
                    <a:lnTo>
                      <a:pt x="320" y="163"/>
                    </a:lnTo>
                    <a:lnTo>
                      <a:pt x="320" y="163"/>
                    </a:lnTo>
                    <a:lnTo>
                      <a:pt x="320" y="163"/>
                    </a:lnTo>
                    <a:lnTo>
                      <a:pt x="320" y="156"/>
                    </a:lnTo>
                    <a:lnTo>
                      <a:pt x="320" y="156"/>
                    </a:lnTo>
                    <a:lnTo>
                      <a:pt x="327" y="156"/>
                    </a:lnTo>
                    <a:lnTo>
                      <a:pt x="327" y="156"/>
                    </a:lnTo>
                    <a:lnTo>
                      <a:pt x="327" y="156"/>
                    </a:lnTo>
                    <a:lnTo>
                      <a:pt x="327" y="156"/>
                    </a:lnTo>
                    <a:lnTo>
                      <a:pt x="327" y="156"/>
                    </a:lnTo>
                    <a:lnTo>
                      <a:pt x="327" y="156"/>
                    </a:lnTo>
                    <a:lnTo>
                      <a:pt x="334" y="163"/>
                    </a:lnTo>
                    <a:lnTo>
                      <a:pt x="341" y="170"/>
                    </a:lnTo>
                    <a:lnTo>
                      <a:pt x="341" y="170"/>
                    </a:lnTo>
                    <a:lnTo>
                      <a:pt x="341" y="170"/>
                    </a:lnTo>
                    <a:lnTo>
                      <a:pt x="341" y="170"/>
                    </a:lnTo>
                    <a:lnTo>
                      <a:pt x="341" y="170"/>
                    </a:lnTo>
                    <a:lnTo>
                      <a:pt x="341" y="170"/>
                    </a:lnTo>
                    <a:lnTo>
                      <a:pt x="341" y="170"/>
                    </a:lnTo>
                    <a:lnTo>
                      <a:pt x="341" y="170"/>
                    </a:lnTo>
                    <a:lnTo>
                      <a:pt x="341" y="177"/>
                    </a:lnTo>
                    <a:lnTo>
                      <a:pt x="348" y="177"/>
                    </a:lnTo>
                    <a:lnTo>
                      <a:pt x="348" y="177"/>
                    </a:lnTo>
                    <a:lnTo>
                      <a:pt x="348" y="177"/>
                    </a:lnTo>
                    <a:lnTo>
                      <a:pt x="348" y="177"/>
                    </a:lnTo>
                    <a:lnTo>
                      <a:pt x="348" y="177"/>
                    </a:lnTo>
                    <a:lnTo>
                      <a:pt x="348" y="177"/>
                    </a:lnTo>
                    <a:lnTo>
                      <a:pt x="348" y="177"/>
                    </a:lnTo>
                    <a:lnTo>
                      <a:pt x="348" y="177"/>
                    </a:lnTo>
                    <a:lnTo>
                      <a:pt x="348" y="177"/>
                    </a:lnTo>
                    <a:lnTo>
                      <a:pt x="348" y="177"/>
                    </a:lnTo>
                    <a:lnTo>
                      <a:pt x="348" y="177"/>
                    </a:lnTo>
                    <a:lnTo>
                      <a:pt x="348" y="177"/>
                    </a:lnTo>
                    <a:lnTo>
                      <a:pt x="355" y="177"/>
                    </a:lnTo>
                    <a:lnTo>
                      <a:pt x="355" y="177"/>
                    </a:lnTo>
                    <a:lnTo>
                      <a:pt x="355" y="177"/>
                    </a:lnTo>
                    <a:lnTo>
                      <a:pt x="355" y="177"/>
                    </a:lnTo>
                    <a:lnTo>
                      <a:pt x="355" y="177"/>
                    </a:lnTo>
                    <a:lnTo>
                      <a:pt x="355" y="177"/>
                    </a:lnTo>
                    <a:lnTo>
                      <a:pt x="355" y="177"/>
                    </a:lnTo>
                    <a:lnTo>
                      <a:pt x="355" y="177"/>
                    </a:lnTo>
                    <a:lnTo>
                      <a:pt x="355" y="177"/>
                    </a:lnTo>
                    <a:lnTo>
                      <a:pt x="355" y="177"/>
                    </a:lnTo>
                    <a:lnTo>
                      <a:pt x="355" y="185"/>
                    </a:lnTo>
                    <a:lnTo>
                      <a:pt x="355" y="185"/>
                    </a:lnTo>
                    <a:lnTo>
                      <a:pt x="355" y="185"/>
                    </a:lnTo>
                    <a:lnTo>
                      <a:pt x="362" y="185"/>
                    </a:lnTo>
                    <a:lnTo>
                      <a:pt x="362" y="185"/>
                    </a:lnTo>
                    <a:lnTo>
                      <a:pt x="362" y="185"/>
                    </a:lnTo>
                    <a:lnTo>
                      <a:pt x="362" y="185"/>
                    </a:lnTo>
                    <a:lnTo>
                      <a:pt x="362" y="185"/>
                    </a:lnTo>
                    <a:lnTo>
                      <a:pt x="362" y="192"/>
                    </a:lnTo>
                    <a:lnTo>
                      <a:pt x="362" y="192"/>
                    </a:lnTo>
                    <a:lnTo>
                      <a:pt x="362" y="199"/>
                    </a:lnTo>
                    <a:lnTo>
                      <a:pt x="362" y="199"/>
                    </a:lnTo>
                    <a:lnTo>
                      <a:pt x="362" y="199"/>
                    </a:lnTo>
                    <a:lnTo>
                      <a:pt x="362" y="199"/>
                    </a:lnTo>
                    <a:lnTo>
                      <a:pt x="362" y="199"/>
                    </a:lnTo>
                    <a:lnTo>
                      <a:pt x="362" y="206"/>
                    </a:lnTo>
                    <a:lnTo>
                      <a:pt x="362" y="206"/>
                    </a:lnTo>
                    <a:lnTo>
                      <a:pt x="362" y="206"/>
                    </a:lnTo>
                    <a:lnTo>
                      <a:pt x="362" y="206"/>
                    </a:lnTo>
                    <a:lnTo>
                      <a:pt x="362" y="206"/>
                    </a:lnTo>
                    <a:lnTo>
                      <a:pt x="362" y="213"/>
                    </a:lnTo>
                    <a:lnTo>
                      <a:pt x="362" y="213"/>
                    </a:lnTo>
                    <a:lnTo>
                      <a:pt x="362" y="213"/>
                    </a:lnTo>
                    <a:lnTo>
                      <a:pt x="369" y="220"/>
                    </a:lnTo>
                    <a:lnTo>
                      <a:pt x="377" y="220"/>
                    </a:lnTo>
                    <a:lnTo>
                      <a:pt x="384" y="227"/>
                    </a:lnTo>
                    <a:lnTo>
                      <a:pt x="384" y="227"/>
                    </a:lnTo>
                    <a:lnTo>
                      <a:pt x="384" y="234"/>
                    </a:lnTo>
                    <a:lnTo>
                      <a:pt x="384" y="234"/>
                    </a:lnTo>
                    <a:lnTo>
                      <a:pt x="384" y="234"/>
                    </a:lnTo>
                    <a:lnTo>
                      <a:pt x="384" y="234"/>
                    </a:lnTo>
                    <a:lnTo>
                      <a:pt x="391" y="234"/>
                    </a:lnTo>
                    <a:lnTo>
                      <a:pt x="391" y="234"/>
                    </a:lnTo>
                    <a:lnTo>
                      <a:pt x="391" y="234"/>
                    </a:lnTo>
                    <a:lnTo>
                      <a:pt x="391" y="234"/>
                    </a:lnTo>
                    <a:lnTo>
                      <a:pt x="391" y="241"/>
                    </a:lnTo>
                    <a:lnTo>
                      <a:pt x="391" y="241"/>
                    </a:lnTo>
                    <a:lnTo>
                      <a:pt x="391" y="241"/>
                    </a:lnTo>
                    <a:lnTo>
                      <a:pt x="391" y="241"/>
                    </a:lnTo>
                    <a:lnTo>
                      <a:pt x="384" y="241"/>
                    </a:lnTo>
                    <a:lnTo>
                      <a:pt x="384" y="241"/>
                    </a:lnTo>
                    <a:lnTo>
                      <a:pt x="377" y="241"/>
                    </a:lnTo>
                    <a:lnTo>
                      <a:pt x="377" y="248"/>
                    </a:lnTo>
                    <a:lnTo>
                      <a:pt x="369" y="248"/>
                    </a:lnTo>
                    <a:lnTo>
                      <a:pt x="369" y="248"/>
                    </a:lnTo>
                    <a:lnTo>
                      <a:pt x="369" y="248"/>
                    </a:lnTo>
                    <a:lnTo>
                      <a:pt x="369" y="248"/>
                    </a:lnTo>
                    <a:lnTo>
                      <a:pt x="369" y="248"/>
                    </a:lnTo>
                    <a:lnTo>
                      <a:pt x="377" y="248"/>
                    </a:lnTo>
                    <a:lnTo>
                      <a:pt x="377" y="256"/>
                    </a:lnTo>
                    <a:lnTo>
                      <a:pt x="384" y="256"/>
                    </a:lnTo>
                    <a:lnTo>
                      <a:pt x="384" y="256"/>
                    </a:lnTo>
                    <a:lnTo>
                      <a:pt x="384" y="263"/>
                    </a:lnTo>
                    <a:lnTo>
                      <a:pt x="384" y="263"/>
                    </a:lnTo>
                    <a:lnTo>
                      <a:pt x="384" y="263"/>
                    </a:lnTo>
                    <a:lnTo>
                      <a:pt x="384" y="263"/>
                    </a:lnTo>
                    <a:lnTo>
                      <a:pt x="384" y="263"/>
                    </a:lnTo>
                    <a:lnTo>
                      <a:pt x="384" y="263"/>
                    </a:lnTo>
                    <a:lnTo>
                      <a:pt x="391" y="263"/>
                    </a:lnTo>
                    <a:lnTo>
                      <a:pt x="391" y="263"/>
                    </a:lnTo>
                    <a:lnTo>
                      <a:pt x="391" y="263"/>
                    </a:lnTo>
                    <a:lnTo>
                      <a:pt x="391" y="263"/>
                    </a:lnTo>
                    <a:lnTo>
                      <a:pt x="391" y="263"/>
                    </a:lnTo>
                    <a:lnTo>
                      <a:pt x="391" y="263"/>
                    </a:lnTo>
                    <a:lnTo>
                      <a:pt x="391" y="263"/>
                    </a:lnTo>
                    <a:lnTo>
                      <a:pt x="391" y="263"/>
                    </a:lnTo>
                    <a:lnTo>
                      <a:pt x="391" y="263"/>
                    </a:lnTo>
                    <a:lnTo>
                      <a:pt x="391" y="263"/>
                    </a:lnTo>
                    <a:lnTo>
                      <a:pt x="398" y="263"/>
                    </a:lnTo>
                    <a:lnTo>
                      <a:pt x="398" y="263"/>
                    </a:lnTo>
                    <a:lnTo>
                      <a:pt x="398" y="263"/>
                    </a:lnTo>
                    <a:lnTo>
                      <a:pt x="398" y="263"/>
                    </a:lnTo>
                    <a:lnTo>
                      <a:pt x="398" y="270"/>
                    </a:lnTo>
                    <a:lnTo>
                      <a:pt x="398" y="270"/>
                    </a:lnTo>
                    <a:lnTo>
                      <a:pt x="398" y="270"/>
                    </a:lnTo>
                    <a:lnTo>
                      <a:pt x="398" y="270"/>
                    </a:lnTo>
                    <a:lnTo>
                      <a:pt x="398" y="270"/>
                    </a:lnTo>
                    <a:lnTo>
                      <a:pt x="398" y="277"/>
                    </a:lnTo>
                    <a:lnTo>
                      <a:pt x="398" y="277"/>
                    </a:lnTo>
                    <a:lnTo>
                      <a:pt x="398" y="277"/>
                    </a:lnTo>
                    <a:lnTo>
                      <a:pt x="398" y="284"/>
                    </a:lnTo>
                    <a:lnTo>
                      <a:pt x="398" y="284"/>
                    </a:lnTo>
                    <a:lnTo>
                      <a:pt x="398" y="284"/>
                    </a:lnTo>
                    <a:lnTo>
                      <a:pt x="398" y="284"/>
                    </a:lnTo>
                    <a:lnTo>
                      <a:pt x="398" y="284"/>
                    </a:lnTo>
                    <a:lnTo>
                      <a:pt x="398" y="284"/>
                    </a:lnTo>
                    <a:lnTo>
                      <a:pt x="398" y="284"/>
                    </a:lnTo>
                    <a:lnTo>
                      <a:pt x="398" y="291"/>
                    </a:lnTo>
                    <a:lnTo>
                      <a:pt x="398" y="291"/>
                    </a:lnTo>
                    <a:lnTo>
                      <a:pt x="398" y="298"/>
                    </a:lnTo>
                    <a:lnTo>
                      <a:pt x="398" y="298"/>
                    </a:lnTo>
                    <a:lnTo>
                      <a:pt x="398" y="298"/>
                    </a:lnTo>
                    <a:lnTo>
                      <a:pt x="398" y="305"/>
                    </a:lnTo>
                    <a:lnTo>
                      <a:pt x="398" y="305"/>
                    </a:lnTo>
                    <a:lnTo>
                      <a:pt x="398" y="305"/>
                    </a:lnTo>
                    <a:lnTo>
                      <a:pt x="398" y="305"/>
                    </a:lnTo>
                    <a:lnTo>
                      <a:pt x="398" y="305"/>
                    </a:lnTo>
                    <a:lnTo>
                      <a:pt x="391" y="298"/>
                    </a:lnTo>
                    <a:lnTo>
                      <a:pt x="391" y="298"/>
                    </a:lnTo>
                    <a:lnTo>
                      <a:pt x="391" y="298"/>
                    </a:lnTo>
                    <a:lnTo>
                      <a:pt x="391" y="298"/>
                    </a:lnTo>
                    <a:lnTo>
                      <a:pt x="384" y="298"/>
                    </a:lnTo>
                    <a:lnTo>
                      <a:pt x="384" y="298"/>
                    </a:lnTo>
                    <a:lnTo>
                      <a:pt x="384" y="298"/>
                    </a:lnTo>
                    <a:lnTo>
                      <a:pt x="384" y="298"/>
                    </a:lnTo>
                    <a:lnTo>
                      <a:pt x="377" y="298"/>
                    </a:lnTo>
                    <a:lnTo>
                      <a:pt x="377" y="298"/>
                    </a:lnTo>
                    <a:lnTo>
                      <a:pt x="377" y="298"/>
                    </a:lnTo>
                    <a:lnTo>
                      <a:pt x="377" y="305"/>
                    </a:lnTo>
                    <a:lnTo>
                      <a:pt x="377" y="305"/>
                    </a:lnTo>
                    <a:lnTo>
                      <a:pt x="377" y="305"/>
                    </a:lnTo>
                    <a:lnTo>
                      <a:pt x="377" y="305"/>
                    </a:lnTo>
                    <a:lnTo>
                      <a:pt x="377" y="305"/>
                    </a:lnTo>
                    <a:lnTo>
                      <a:pt x="377" y="305"/>
                    </a:lnTo>
                    <a:lnTo>
                      <a:pt x="377" y="305"/>
                    </a:lnTo>
                    <a:lnTo>
                      <a:pt x="377" y="305"/>
                    </a:lnTo>
                    <a:lnTo>
                      <a:pt x="377" y="305"/>
                    </a:lnTo>
                    <a:lnTo>
                      <a:pt x="377" y="305"/>
                    </a:lnTo>
                    <a:lnTo>
                      <a:pt x="369" y="312"/>
                    </a:lnTo>
                    <a:lnTo>
                      <a:pt x="369" y="312"/>
                    </a:lnTo>
                    <a:lnTo>
                      <a:pt x="362" y="319"/>
                    </a:lnTo>
                    <a:lnTo>
                      <a:pt x="362" y="319"/>
                    </a:lnTo>
                    <a:lnTo>
                      <a:pt x="355" y="319"/>
                    </a:lnTo>
                    <a:lnTo>
                      <a:pt x="355" y="319"/>
                    </a:lnTo>
                    <a:lnTo>
                      <a:pt x="355" y="319"/>
                    </a:lnTo>
                    <a:lnTo>
                      <a:pt x="355" y="319"/>
                    </a:lnTo>
                    <a:lnTo>
                      <a:pt x="355" y="327"/>
                    </a:lnTo>
                    <a:lnTo>
                      <a:pt x="355" y="327"/>
                    </a:lnTo>
                    <a:lnTo>
                      <a:pt x="355" y="327"/>
                    </a:lnTo>
                    <a:lnTo>
                      <a:pt x="355" y="327"/>
                    </a:lnTo>
                    <a:lnTo>
                      <a:pt x="355" y="327"/>
                    </a:lnTo>
                    <a:lnTo>
                      <a:pt x="355" y="327"/>
                    </a:lnTo>
                    <a:lnTo>
                      <a:pt x="355" y="319"/>
                    </a:lnTo>
                    <a:lnTo>
                      <a:pt x="362" y="319"/>
                    </a:lnTo>
                    <a:lnTo>
                      <a:pt x="362" y="319"/>
                    </a:lnTo>
                    <a:lnTo>
                      <a:pt x="362" y="319"/>
                    </a:lnTo>
                    <a:lnTo>
                      <a:pt x="362" y="319"/>
                    </a:lnTo>
                    <a:lnTo>
                      <a:pt x="362" y="319"/>
                    </a:lnTo>
                    <a:lnTo>
                      <a:pt x="362" y="319"/>
                    </a:lnTo>
                    <a:lnTo>
                      <a:pt x="362" y="327"/>
                    </a:lnTo>
                    <a:lnTo>
                      <a:pt x="362" y="327"/>
                    </a:lnTo>
                    <a:lnTo>
                      <a:pt x="362" y="327"/>
                    </a:lnTo>
                    <a:lnTo>
                      <a:pt x="362" y="327"/>
                    </a:lnTo>
                    <a:lnTo>
                      <a:pt x="362" y="327"/>
                    </a:lnTo>
                    <a:lnTo>
                      <a:pt x="362" y="327"/>
                    </a:lnTo>
                    <a:lnTo>
                      <a:pt x="362" y="327"/>
                    </a:lnTo>
                    <a:lnTo>
                      <a:pt x="369" y="327"/>
                    </a:lnTo>
                    <a:lnTo>
                      <a:pt x="369" y="327"/>
                    </a:lnTo>
                    <a:lnTo>
                      <a:pt x="369" y="327"/>
                    </a:lnTo>
                    <a:lnTo>
                      <a:pt x="369" y="327"/>
                    </a:lnTo>
                    <a:lnTo>
                      <a:pt x="369" y="327"/>
                    </a:lnTo>
                    <a:lnTo>
                      <a:pt x="362" y="334"/>
                    </a:lnTo>
                    <a:lnTo>
                      <a:pt x="362" y="334"/>
                    </a:lnTo>
                    <a:lnTo>
                      <a:pt x="362" y="334"/>
                    </a:lnTo>
                    <a:lnTo>
                      <a:pt x="362" y="334"/>
                    </a:lnTo>
                    <a:lnTo>
                      <a:pt x="362" y="341"/>
                    </a:lnTo>
                    <a:lnTo>
                      <a:pt x="355" y="341"/>
                    </a:lnTo>
                    <a:lnTo>
                      <a:pt x="348" y="341"/>
                    </a:lnTo>
                    <a:lnTo>
                      <a:pt x="348" y="341"/>
                    </a:lnTo>
                    <a:lnTo>
                      <a:pt x="341" y="341"/>
                    </a:lnTo>
                    <a:lnTo>
                      <a:pt x="341" y="341"/>
                    </a:lnTo>
                    <a:lnTo>
                      <a:pt x="341" y="341"/>
                    </a:lnTo>
                    <a:lnTo>
                      <a:pt x="341" y="341"/>
                    </a:lnTo>
                    <a:lnTo>
                      <a:pt x="341" y="334"/>
                    </a:lnTo>
                    <a:lnTo>
                      <a:pt x="341" y="334"/>
                    </a:lnTo>
                    <a:lnTo>
                      <a:pt x="334" y="327"/>
                    </a:lnTo>
                    <a:lnTo>
                      <a:pt x="334" y="327"/>
                    </a:lnTo>
                    <a:lnTo>
                      <a:pt x="334" y="327"/>
                    </a:lnTo>
                    <a:lnTo>
                      <a:pt x="334" y="327"/>
                    </a:lnTo>
                    <a:lnTo>
                      <a:pt x="334" y="334"/>
                    </a:lnTo>
                    <a:lnTo>
                      <a:pt x="334" y="334"/>
                    </a:lnTo>
                    <a:lnTo>
                      <a:pt x="334" y="334"/>
                    </a:lnTo>
                    <a:lnTo>
                      <a:pt x="334" y="334"/>
                    </a:lnTo>
                    <a:lnTo>
                      <a:pt x="334" y="334"/>
                    </a:lnTo>
                    <a:lnTo>
                      <a:pt x="334" y="334"/>
                    </a:lnTo>
                    <a:lnTo>
                      <a:pt x="334" y="334"/>
                    </a:lnTo>
                    <a:lnTo>
                      <a:pt x="334" y="341"/>
                    </a:lnTo>
                    <a:lnTo>
                      <a:pt x="334" y="341"/>
                    </a:lnTo>
                    <a:lnTo>
                      <a:pt x="334" y="341"/>
                    </a:lnTo>
                    <a:lnTo>
                      <a:pt x="334" y="341"/>
                    </a:lnTo>
                    <a:lnTo>
                      <a:pt x="334" y="341"/>
                    </a:lnTo>
                    <a:lnTo>
                      <a:pt x="327" y="341"/>
                    </a:lnTo>
                    <a:lnTo>
                      <a:pt x="327" y="334"/>
                    </a:lnTo>
                    <a:lnTo>
                      <a:pt x="327" y="334"/>
                    </a:lnTo>
                    <a:lnTo>
                      <a:pt x="327" y="334"/>
                    </a:lnTo>
                    <a:lnTo>
                      <a:pt x="327" y="334"/>
                    </a:lnTo>
                    <a:lnTo>
                      <a:pt x="327" y="341"/>
                    </a:lnTo>
                    <a:lnTo>
                      <a:pt x="327" y="341"/>
                    </a:lnTo>
                    <a:lnTo>
                      <a:pt x="327" y="341"/>
                    </a:lnTo>
                    <a:lnTo>
                      <a:pt x="327" y="341"/>
                    </a:lnTo>
                    <a:lnTo>
                      <a:pt x="327" y="341"/>
                    </a:lnTo>
                    <a:lnTo>
                      <a:pt x="327" y="341"/>
                    </a:lnTo>
                    <a:lnTo>
                      <a:pt x="320" y="341"/>
                    </a:lnTo>
                    <a:lnTo>
                      <a:pt x="320" y="341"/>
                    </a:lnTo>
                    <a:lnTo>
                      <a:pt x="320" y="341"/>
                    </a:lnTo>
                    <a:lnTo>
                      <a:pt x="320" y="341"/>
                    </a:lnTo>
                    <a:lnTo>
                      <a:pt x="320" y="341"/>
                    </a:lnTo>
                    <a:lnTo>
                      <a:pt x="313" y="334"/>
                    </a:lnTo>
                    <a:lnTo>
                      <a:pt x="313" y="334"/>
                    </a:lnTo>
                    <a:lnTo>
                      <a:pt x="313" y="334"/>
                    </a:lnTo>
                    <a:lnTo>
                      <a:pt x="313" y="341"/>
                    </a:lnTo>
                    <a:lnTo>
                      <a:pt x="313" y="341"/>
                    </a:lnTo>
                    <a:lnTo>
                      <a:pt x="313" y="341"/>
                    </a:lnTo>
                    <a:lnTo>
                      <a:pt x="313" y="341"/>
                    </a:lnTo>
                    <a:lnTo>
                      <a:pt x="313" y="341"/>
                    </a:lnTo>
                    <a:lnTo>
                      <a:pt x="313" y="341"/>
                    </a:lnTo>
                    <a:lnTo>
                      <a:pt x="313" y="341"/>
                    </a:lnTo>
                    <a:lnTo>
                      <a:pt x="313" y="341"/>
                    </a:lnTo>
                    <a:lnTo>
                      <a:pt x="320" y="341"/>
                    </a:lnTo>
                    <a:lnTo>
                      <a:pt x="313" y="341"/>
                    </a:lnTo>
                    <a:lnTo>
                      <a:pt x="313" y="348"/>
                    </a:lnTo>
                    <a:lnTo>
                      <a:pt x="313" y="348"/>
                    </a:lnTo>
                    <a:lnTo>
                      <a:pt x="313" y="348"/>
                    </a:lnTo>
                    <a:lnTo>
                      <a:pt x="313" y="348"/>
                    </a:lnTo>
                    <a:lnTo>
                      <a:pt x="313" y="348"/>
                    </a:lnTo>
                    <a:lnTo>
                      <a:pt x="313" y="348"/>
                    </a:lnTo>
                    <a:lnTo>
                      <a:pt x="313" y="348"/>
                    </a:lnTo>
                    <a:lnTo>
                      <a:pt x="313" y="348"/>
                    </a:lnTo>
                    <a:lnTo>
                      <a:pt x="313" y="348"/>
                    </a:lnTo>
                    <a:lnTo>
                      <a:pt x="313" y="348"/>
                    </a:lnTo>
                    <a:lnTo>
                      <a:pt x="313" y="348"/>
                    </a:lnTo>
                    <a:lnTo>
                      <a:pt x="313" y="355"/>
                    </a:lnTo>
                    <a:lnTo>
                      <a:pt x="306" y="362"/>
                    </a:lnTo>
                    <a:lnTo>
                      <a:pt x="306" y="362"/>
                    </a:lnTo>
                    <a:lnTo>
                      <a:pt x="306" y="362"/>
                    </a:lnTo>
                    <a:lnTo>
                      <a:pt x="306" y="362"/>
                    </a:lnTo>
                    <a:lnTo>
                      <a:pt x="306" y="369"/>
                    </a:lnTo>
                    <a:lnTo>
                      <a:pt x="306" y="369"/>
                    </a:lnTo>
                    <a:lnTo>
                      <a:pt x="306" y="369"/>
                    </a:lnTo>
                    <a:lnTo>
                      <a:pt x="306" y="369"/>
                    </a:lnTo>
                    <a:lnTo>
                      <a:pt x="313" y="369"/>
                    </a:lnTo>
                    <a:lnTo>
                      <a:pt x="313" y="369"/>
                    </a:lnTo>
                    <a:lnTo>
                      <a:pt x="313" y="376"/>
                    </a:lnTo>
                    <a:lnTo>
                      <a:pt x="313" y="376"/>
                    </a:lnTo>
                    <a:lnTo>
                      <a:pt x="313" y="376"/>
                    </a:lnTo>
                    <a:lnTo>
                      <a:pt x="306" y="376"/>
                    </a:lnTo>
                    <a:lnTo>
                      <a:pt x="306" y="383"/>
                    </a:lnTo>
                    <a:lnTo>
                      <a:pt x="306" y="383"/>
                    </a:lnTo>
                    <a:lnTo>
                      <a:pt x="298" y="383"/>
                    </a:lnTo>
                    <a:lnTo>
                      <a:pt x="291" y="383"/>
                    </a:lnTo>
                    <a:lnTo>
                      <a:pt x="291" y="390"/>
                    </a:lnTo>
                    <a:lnTo>
                      <a:pt x="291" y="390"/>
                    </a:lnTo>
                    <a:lnTo>
                      <a:pt x="291" y="390"/>
                    </a:lnTo>
                    <a:lnTo>
                      <a:pt x="284" y="390"/>
                    </a:lnTo>
                    <a:lnTo>
                      <a:pt x="284" y="390"/>
                    </a:lnTo>
                    <a:lnTo>
                      <a:pt x="277" y="390"/>
                    </a:lnTo>
                    <a:lnTo>
                      <a:pt x="277" y="390"/>
                    </a:lnTo>
                    <a:lnTo>
                      <a:pt x="277" y="390"/>
                    </a:lnTo>
                    <a:lnTo>
                      <a:pt x="270" y="390"/>
                    </a:lnTo>
                    <a:lnTo>
                      <a:pt x="270" y="390"/>
                    </a:lnTo>
                    <a:lnTo>
                      <a:pt x="270" y="390"/>
                    </a:lnTo>
                    <a:lnTo>
                      <a:pt x="270" y="390"/>
                    </a:lnTo>
                    <a:lnTo>
                      <a:pt x="263" y="383"/>
                    </a:lnTo>
                    <a:lnTo>
                      <a:pt x="263" y="383"/>
                    </a:lnTo>
                    <a:lnTo>
                      <a:pt x="263" y="383"/>
                    </a:lnTo>
                    <a:lnTo>
                      <a:pt x="263" y="383"/>
                    </a:lnTo>
                    <a:lnTo>
                      <a:pt x="256" y="383"/>
                    </a:lnTo>
                    <a:lnTo>
                      <a:pt x="256" y="383"/>
                    </a:lnTo>
                    <a:lnTo>
                      <a:pt x="256" y="383"/>
                    </a:lnTo>
                    <a:lnTo>
                      <a:pt x="256" y="383"/>
                    </a:lnTo>
                    <a:lnTo>
                      <a:pt x="249" y="383"/>
                    </a:lnTo>
                    <a:lnTo>
                      <a:pt x="249" y="383"/>
                    </a:lnTo>
                    <a:lnTo>
                      <a:pt x="249" y="383"/>
                    </a:lnTo>
                    <a:lnTo>
                      <a:pt x="249" y="383"/>
                    </a:lnTo>
                    <a:lnTo>
                      <a:pt x="249" y="390"/>
                    </a:lnTo>
                    <a:lnTo>
                      <a:pt x="249" y="390"/>
                    </a:lnTo>
                    <a:lnTo>
                      <a:pt x="242" y="390"/>
                    </a:lnTo>
                    <a:lnTo>
                      <a:pt x="242" y="390"/>
                    </a:lnTo>
                    <a:lnTo>
                      <a:pt x="235" y="390"/>
                    </a:lnTo>
                    <a:lnTo>
                      <a:pt x="235" y="390"/>
                    </a:lnTo>
                    <a:lnTo>
                      <a:pt x="235" y="390"/>
                    </a:lnTo>
                    <a:lnTo>
                      <a:pt x="227" y="390"/>
                    </a:lnTo>
                    <a:lnTo>
                      <a:pt x="227" y="383"/>
                    </a:lnTo>
                    <a:lnTo>
                      <a:pt x="220" y="383"/>
                    </a:lnTo>
                    <a:lnTo>
                      <a:pt x="220" y="383"/>
                    </a:lnTo>
                    <a:lnTo>
                      <a:pt x="220" y="383"/>
                    </a:lnTo>
                    <a:lnTo>
                      <a:pt x="213" y="383"/>
                    </a:lnTo>
                    <a:lnTo>
                      <a:pt x="213" y="383"/>
                    </a:lnTo>
                    <a:lnTo>
                      <a:pt x="213" y="383"/>
                    </a:lnTo>
                    <a:lnTo>
                      <a:pt x="213" y="383"/>
                    </a:lnTo>
                    <a:lnTo>
                      <a:pt x="206" y="383"/>
                    </a:lnTo>
                    <a:lnTo>
                      <a:pt x="206" y="390"/>
                    </a:lnTo>
                    <a:lnTo>
                      <a:pt x="206" y="397"/>
                    </a:lnTo>
                    <a:lnTo>
                      <a:pt x="199" y="397"/>
                    </a:lnTo>
                    <a:lnTo>
                      <a:pt x="199" y="397"/>
                    </a:lnTo>
                    <a:lnTo>
                      <a:pt x="199" y="397"/>
                    </a:lnTo>
                    <a:lnTo>
                      <a:pt x="199" y="405"/>
                    </a:lnTo>
                    <a:lnTo>
                      <a:pt x="199" y="405"/>
                    </a:lnTo>
                    <a:lnTo>
                      <a:pt x="199" y="405"/>
                    </a:lnTo>
                    <a:lnTo>
                      <a:pt x="199" y="405"/>
                    </a:lnTo>
                    <a:lnTo>
                      <a:pt x="199" y="405"/>
                    </a:lnTo>
                    <a:lnTo>
                      <a:pt x="192" y="405"/>
                    </a:lnTo>
                    <a:lnTo>
                      <a:pt x="192" y="405"/>
                    </a:lnTo>
                    <a:lnTo>
                      <a:pt x="192" y="405"/>
                    </a:lnTo>
                    <a:lnTo>
                      <a:pt x="192" y="412"/>
                    </a:lnTo>
                    <a:lnTo>
                      <a:pt x="192" y="412"/>
                    </a:lnTo>
                    <a:lnTo>
                      <a:pt x="192" y="412"/>
                    </a:lnTo>
                    <a:lnTo>
                      <a:pt x="192" y="412"/>
                    </a:lnTo>
                    <a:lnTo>
                      <a:pt x="192" y="412"/>
                    </a:lnTo>
                    <a:lnTo>
                      <a:pt x="192" y="419"/>
                    </a:lnTo>
                    <a:lnTo>
                      <a:pt x="192" y="419"/>
                    </a:lnTo>
                    <a:lnTo>
                      <a:pt x="185" y="419"/>
                    </a:lnTo>
                    <a:lnTo>
                      <a:pt x="185" y="419"/>
                    </a:lnTo>
                    <a:lnTo>
                      <a:pt x="185" y="419"/>
                    </a:lnTo>
                    <a:lnTo>
                      <a:pt x="185" y="412"/>
                    </a:lnTo>
                    <a:lnTo>
                      <a:pt x="185" y="412"/>
                    </a:lnTo>
                    <a:lnTo>
                      <a:pt x="185" y="412"/>
                    </a:lnTo>
                    <a:lnTo>
                      <a:pt x="185" y="412"/>
                    </a:lnTo>
                    <a:lnTo>
                      <a:pt x="185" y="412"/>
                    </a:lnTo>
                    <a:lnTo>
                      <a:pt x="185" y="412"/>
                    </a:lnTo>
                    <a:lnTo>
                      <a:pt x="178" y="412"/>
                    </a:lnTo>
                    <a:lnTo>
                      <a:pt x="178" y="412"/>
                    </a:lnTo>
                    <a:lnTo>
                      <a:pt x="178" y="405"/>
                    </a:lnTo>
                    <a:lnTo>
                      <a:pt x="178" y="405"/>
                    </a:lnTo>
                    <a:lnTo>
                      <a:pt x="178" y="405"/>
                    </a:lnTo>
                    <a:lnTo>
                      <a:pt x="178" y="405"/>
                    </a:lnTo>
                    <a:lnTo>
                      <a:pt x="178" y="405"/>
                    </a:lnTo>
                    <a:lnTo>
                      <a:pt x="178" y="405"/>
                    </a:lnTo>
                    <a:lnTo>
                      <a:pt x="178" y="405"/>
                    </a:lnTo>
                    <a:lnTo>
                      <a:pt x="178" y="405"/>
                    </a:lnTo>
                    <a:lnTo>
                      <a:pt x="178" y="397"/>
                    </a:lnTo>
                    <a:lnTo>
                      <a:pt x="178" y="397"/>
                    </a:lnTo>
                    <a:lnTo>
                      <a:pt x="178" y="397"/>
                    </a:lnTo>
                    <a:lnTo>
                      <a:pt x="178" y="397"/>
                    </a:lnTo>
                    <a:lnTo>
                      <a:pt x="178" y="397"/>
                    </a:lnTo>
                    <a:lnTo>
                      <a:pt x="178" y="397"/>
                    </a:lnTo>
                    <a:lnTo>
                      <a:pt x="178" y="397"/>
                    </a:lnTo>
                    <a:lnTo>
                      <a:pt x="178" y="397"/>
                    </a:lnTo>
                    <a:lnTo>
                      <a:pt x="178" y="397"/>
                    </a:lnTo>
                    <a:lnTo>
                      <a:pt x="178" y="397"/>
                    </a:lnTo>
                    <a:lnTo>
                      <a:pt x="178" y="390"/>
                    </a:lnTo>
                    <a:lnTo>
                      <a:pt x="178" y="390"/>
                    </a:lnTo>
                    <a:lnTo>
                      <a:pt x="178" y="390"/>
                    </a:lnTo>
                    <a:lnTo>
                      <a:pt x="178" y="390"/>
                    </a:lnTo>
                    <a:lnTo>
                      <a:pt x="178" y="390"/>
                    </a:lnTo>
                    <a:lnTo>
                      <a:pt x="178" y="390"/>
                    </a:lnTo>
                    <a:lnTo>
                      <a:pt x="185" y="390"/>
                    </a:lnTo>
                    <a:lnTo>
                      <a:pt x="185" y="390"/>
                    </a:lnTo>
                    <a:lnTo>
                      <a:pt x="185" y="390"/>
                    </a:lnTo>
                    <a:lnTo>
                      <a:pt x="185" y="390"/>
                    </a:lnTo>
                    <a:lnTo>
                      <a:pt x="185" y="390"/>
                    </a:lnTo>
                    <a:lnTo>
                      <a:pt x="185" y="390"/>
                    </a:lnTo>
                    <a:lnTo>
                      <a:pt x="185" y="390"/>
                    </a:lnTo>
                    <a:lnTo>
                      <a:pt x="185" y="390"/>
                    </a:lnTo>
                    <a:lnTo>
                      <a:pt x="185" y="390"/>
                    </a:lnTo>
                    <a:lnTo>
                      <a:pt x="178" y="383"/>
                    </a:lnTo>
                    <a:lnTo>
                      <a:pt x="178" y="383"/>
                    </a:lnTo>
                    <a:lnTo>
                      <a:pt x="178" y="383"/>
                    </a:lnTo>
                    <a:lnTo>
                      <a:pt x="178" y="383"/>
                    </a:lnTo>
                    <a:lnTo>
                      <a:pt x="178" y="383"/>
                    </a:lnTo>
                    <a:lnTo>
                      <a:pt x="178" y="383"/>
                    </a:lnTo>
                    <a:lnTo>
                      <a:pt x="178" y="376"/>
                    </a:lnTo>
                    <a:lnTo>
                      <a:pt x="178" y="383"/>
                    </a:lnTo>
                    <a:lnTo>
                      <a:pt x="178" y="383"/>
                    </a:lnTo>
                    <a:lnTo>
                      <a:pt x="171" y="383"/>
                    </a:lnTo>
                    <a:lnTo>
                      <a:pt x="171" y="383"/>
                    </a:lnTo>
                    <a:lnTo>
                      <a:pt x="171" y="383"/>
                    </a:lnTo>
                    <a:lnTo>
                      <a:pt x="171" y="383"/>
                    </a:lnTo>
                    <a:lnTo>
                      <a:pt x="171" y="383"/>
                    </a:lnTo>
                    <a:lnTo>
                      <a:pt x="171" y="383"/>
                    </a:lnTo>
                    <a:lnTo>
                      <a:pt x="171" y="383"/>
                    </a:lnTo>
                    <a:lnTo>
                      <a:pt x="171" y="383"/>
                    </a:lnTo>
                    <a:lnTo>
                      <a:pt x="171" y="383"/>
                    </a:lnTo>
                    <a:lnTo>
                      <a:pt x="171" y="383"/>
                    </a:lnTo>
                    <a:lnTo>
                      <a:pt x="164" y="383"/>
                    </a:lnTo>
                    <a:lnTo>
                      <a:pt x="164" y="383"/>
                    </a:lnTo>
                    <a:lnTo>
                      <a:pt x="164" y="376"/>
                    </a:lnTo>
                    <a:lnTo>
                      <a:pt x="164" y="376"/>
                    </a:lnTo>
                    <a:lnTo>
                      <a:pt x="164" y="376"/>
                    </a:lnTo>
                    <a:lnTo>
                      <a:pt x="164" y="376"/>
                    </a:lnTo>
                    <a:lnTo>
                      <a:pt x="164" y="376"/>
                    </a:lnTo>
                    <a:lnTo>
                      <a:pt x="164" y="376"/>
                    </a:lnTo>
                    <a:lnTo>
                      <a:pt x="164" y="376"/>
                    </a:lnTo>
                    <a:lnTo>
                      <a:pt x="164" y="376"/>
                    </a:lnTo>
                    <a:lnTo>
                      <a:pt x="164" y="376"/>
                    </a:lnTo>
                    <a:lnTo>
                      <a:pt x="164" y="376"/>
                    </a:lnTo>
                    <a:lnTo>
                      <a:pt x="164" y="369"/>
                    </a:lnTo>
                    <a:lnTo>
                      <a:pt x="164" y="369"/>
                    </a:lnTo>
                    <a:lnTo>
                      <a:pt x="171" y="369"/>
                    </a:lnTo>
                    <a:lnTo>
                      <a:pt x="171" y="369"/>
                    </a:lnTo>
                    <a:lnTo>
                      <a:pt x="164" y="369"/>
                    </a:lnTo>
                    <a:lnTo>
                      <a:pt x="164" y="369"/>
                    </a:lnTo>
                    <a:lnTo>
                      <a:pt x="164" y="369"/>
                    </a:lnTo>
                    <a:lnTo>
                      <a:pt x="164" y="369"/>
                    </a:lnTo>
                    <a:lnTo>
                      <a:pt x="164" y="369"/>
                    </a:lnTo>
                    <a:lnTo>
                      <a:pt x="164" y="369"/>
                    </a:lnTo>
                    <a:lnTo>
                      <a:pt x="164" y="369"/>
                    </a:lnTo>
                    <a:lnTo>
                      <a:pt x="164" y="369"/>
                    </a:lnTo>
                    <a:lnTo>
                      <a:pt x="164" y="369"/>
                    </a:lnTo>
                    <a:lnTo>
                      <a:pt x="164" y="369"/>
                    </a:lnTo>
                    <a:lnTo>
                      <a:pt x="164" y="369"/>
                    </a:lnTo>
                    <a:lnTo>
                      <a:pt x="164" y="369"/>
                    </a:lnTo>
                    <a:lnTo>
                      <a:pt x="156" y="369"/>
                    </a:lnTo>
                    <a:lnTo>
                      <a:pt x="156" y="376"/>
                    </a:lnTo>
                    <a:lnTo>
                      <a:pt x="156" y="376"/>
                    </a:lnTo>
                    <a:lnTo>
                      <a:pt x="149" y="376"/>
                    </a:lnTo>
                    <a:lnTo>
                      <a:pt x="149" y="376"/>
                    </a:lnTo>
                    <a:lnTo>
                      <a:pt x="149" y="376"/>
                    </a:lnTo>
                    <a:lnTo>
                      <a:pt x="149" y="369"/>
                    </a:lnTo>
                    <a:lnTo>
                      <a:pt x="149" y="369"/>
                    </a:lnTo>
                    <a:lnTo>
                      <a:pt x="149" y="369"/>
                    </a:lnTo>
                    <a:lnTo>
                      <a:pt x="142" y="369"/>
                    </a:lnTo>
                    <a:lnTo>
                      <a:pt x="142" y="369"/>
                    </a:lnTo>
                    <a:lnTo>
                      <a:pt x="142" y="369"/>
                    </a:lnTo>
                    <a:lnTo>
                      <a:pt x="142" y="369"/>
                    </a:lnTo>
                    <a:lnTo>
                      <a:pt x="142" y="362"/>
                    </a:lnTo>
                    <a:lnTo>
                      <a:pt x="142" y="362"/>
                    </a:lnTo>
                    <a:lnTo>
                      <a:pt x="142" y="362"/>
                    </a:lnTo>
                    <a:lnTo>
                      <a:pt x="142" y="362"/>
                    </a:lnTo>
                    <a:lnTo>
                      <a:pt x="142" y="362"/>
                    </a:lnTo>
                    <a:lnTo>
                      <a:pt x="135" y="362"/>
                    </a:lnTo>
                    <a:lnTo>
                      <a:pt x="135" y="362"/>
                    </a:lnTo>
                    <a:lnTo>
                      <a:pt x="135" y="362"/>
                    </a:lnTo>
                    <a:lnTo>
                      <a:pt x="128" y="362"/>
                    </a:lnTo>
                    <a:lnTo>
                      <a:pt x="128" y="362"/>
                    </a:lnTo>
                    <a:lnTo>
                      <a:pt x="128" y="355"/>
                    </a:lnTo>
                    <a:lnTo>
                      <a:pt x="128" y="355"/>
                    </a:lnTo>
                    <a:lnTo>
                      <a:pt x="128" y="355"/>
                    </a:lnTo>
                    <a:lnTo>
                      <a:pt x="121" y="362"/>
                    </a:lnTo>
                    <a:lnTo>
                      <a:pt x="121" y="362"/>
                    </a:lnTo>
                    <a:lnTo>
                      <a:pt x="121" y="362"/>
                    </a:lnTo>
                    <a:lnTo>
                      <a:pt x="114" y="362"/>
                    </a:lnTo>
                    <a:lnTo>
                      <a:pt x="114" y="362"/>
                    </a:lnTo>
                    <a:lnTo>
                      <a:pt x="114" y="362"/>
                    </a:lnTo>
                    <a:lnTo>
                      <a:pt x="114" y="362"/>
                    </a:lnTo>
                    <a:lnTo>
                      <a:pt x="107" y="362"/>
                    </a:lnTo>
                    <a:lnTo>
                      <a:pt x="107" y="369"/>
                    </a:lnTo>
                    <a:lnTo>
                      <a:pt x="107" y="369"/>
                    </a:lnTo>
                    <a:lnTo>
                      <a:pt x="107" y="369"/>
                    </a:lnTo>
                    <a:lnTo>
                      <a:pt x="107" y="369"/>
                    </a:lnTo>
                    <a:lnTo>
                      <a:pt x="100" y="362"/>
                    </a:lnTo>
                    <a:lnTo>
                      <a:pt x="93" y="362"/>
                    </a:lnTo>
                    <a:lnTo>
                      <a:pt x="71" y="362"/>
                    </a:lnTo>
                    <a:lnTo>
                      <a:pt x="64" y="362"/>
                    </a:lnTo>
                    <a:lnTo>
                      <a:pt x="15" y="362"/>
                    </a:lnTo>
                    <a:lnTo>
                      <a:pt x="7" y="355"/>
                    </a:lnTo>
                    <a:lnTo>
                      <a:pt x="7" y="355"/>
                    </a:lnTo>
                    <a:lnTo>
                      <a:pt x="7" y="355"/>
                    </a:lnTo>
                    <a:lnTo>
                      <a:pt x="7" y="355"/>
                    </a:lnTo>
                    <a:lnTo>
                      <a:pt x="7" y="348"/>
                    </a:lnTo>
                    <a:lnTo>
                      <a:pt x="22" y="334"/>
                    </a:lnTo>
                    <a:lnTo>
                      <a:pt x="22" y="334"/>
                    </a:lnTo>
                    <a:lnTo>
                      <a:pt x="22" y="334"/>
                    </a:lnTo>
                    <a:lnTo>
                      <a:pt x="22" y="33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1" name="Freeform 49"/>
              <p:cNvSpPr>
                <a:spLocks/>
              </p:cNvSpPr>
              <p:nvPr/>
            </p:nvSpPr>
            <p:spPr bwMode="auto">
              <a:xfrm>
                <a:off x="2122" y="897"/>
                <a:ext cx="1179" cy="1036"/>
              </a:xfrm>
              <a:custGeom>
                <a:avLst/>
                <a:gdLst>
                  <a:gd name="T0" fmla="*/ 100 w 1179"/>
                  <a:gd name="T1" fmla="*/ 638 h 1036"/>
                  <a:gd name="T2" fmla="*/ 7 w 1179"/>
                  <a:gd name="T3" fmla="*/ 447 h 1036"/>
                  <a:gd name="T4" fmla="*/ 185 w 1179"/>
                  <a:gd name="T5" fmla="*/ 354 h 1036"/>
                  <a:gd name="T6" fmla="*/ 554 w 1179"/>
                  <a:gd name="T7" fmla="*/ 28 h 1036"/>
                  <a:gd name="T8" fmla="*/ 674 w 1179"/>
                  <a:gd name="T9" fmla="*/ 56 h 1036"/>
                  <a:gd name="T10" fmla="*/ 689 w 1179"/>
                  <a:gd name="T11" fmla="*/ 92 h 1036"/>
                  <a:gd name="T12" fmla="*/ 703 w 1179"/>
                  <a:gd name="T13" fmla="*/ 120 h 1036"/>
                  <a:gd name="T14" fmla="*/ 745 w 1179"/>
                  <a:gd name="T15" fmla="*/ 127 h 1036"/>
                  <a:gd name="T16" fmla="*/ 788 w 1179"/>
                  <a:gd name="T17" fmla="*/ 134 h 1036"/>
                  <a:gd name="T18" fmla="*/ 795 w 1179"/>
                  <a:gd name="T19" fmla="*/ 163 h 1036"/>
                  <a:gd name="T20" fmla="*/ 838 w 1179"/>
                  <a:gd name="T21" fmla="*/ 241 h 1036"/>
                  <a:gd name="T22" fmla="*/ 880 w 1179"/>
                  <a:gd name="T23" fmla="*/ 291 h 1036"/>
                  <a:gd name="T24" fmla="*/ 873 w 1179"/>
                  <a:gd name="T25" fmla="*/ 312 h 1036"/>
                  <a:gd name="T26" fmla="*/ 902 w 1179"/>
                  <a:gd name="T27" fmla="*/ 333 h 1036"/>
                  <a:gd name="T28" fmla="*/ 923 w 1179"/>
                  <a:gd name="T29" fmla="*/ 298 h 1036"/>
                  <a:gd name="T30" fmla="*/ 937 w 1179"/>
                  <a:gd name="T31" fmla="*/ 298 h 1036"/>
                  <a:gd name="T32" fmla="*/ 951 w 1179"/>
                  <a:gd name="T33" fmla="*/ 319 h 1036"/>
                  <a:gd name="T34" fmla="*/ 987 w 1179"/>
                  <a:gd name="T35" fmla="*/ 276 h 1036"/>
                  <a:gd name="T36" fmla="*/ 1001 w 1179"/>
                  <a:gd name="T37" fmla="*/ 340 h 1036"/>
                  <a:gd name="T38" fmla="*/ 1015 w 1179"/>
                  <a:gd name="T39" fmla="*/ 340 h 1036"/>
                  <a:gd name="T40" fmla="*/ 1051 w 1179"/>
                  <a:gd name="T41" fmla="*/ 362 h 1036"/>
                  <a:gd name="T42" fmla="*/ 1086 w 1179"/>
                  <a:gd name="T43" fmla="*/ 411 h 1036"/>
                  <a:gd name="T44" fmla="*/ 1079 w 1179"/>
                  <a:gd name="T45" fmla="*/ 447 h 1036"/>
                  <a:gd name="T46" fmla="*/ 1072 w 1179"/>
                  <a:gd name="T47" fmla="*/ 468 h 1036"/>
                  <a:gd name="T48" fmla="*/ 1122 w 1179"/>
                  <a:gd name="T49" fmla="*/ 468 h 1036"/>
                  <a:gd name="T50" fmla="*/ 1164 w 1179"/>
                  <a:gd name="T51" fmla="*/ 461 h 1036"/>
                  <a:gd name="T52" fmla="*/ 1157 w 1179"/>
                  <a:gd name="T53" fmla="*/ 489 h 1036"/>
                  <a:gd name="T54" fmla="*/ 1100 w 1179"/>
                  <a:gd name="T55" fmla="*/ 525 h 1036"/>
                  <a:gd name="T56" fmla="*/ 1022 w 1179"/>
                  <a:gd name="T57" fmla="*/ 567 h 1036"/>
                  <a:gd name="T58" fmla="*/ 980 w 1179"/>
                  <a:gd name="T59" fmla="*/ 610 h 1036"/>
                  <a:gd name="T60" fmla="*/ 951 w 1179"/>
                  <a:gd name="T61" fmla="*/ 681 h 1036"/>
                  <a:gd name="T62" fmla="*/ 1029 w 1179"/>
                  <a:gd name="T63" fmla="*/ 695 h 1036"/>
                  <a:gd name="T64" fmla="*/ 1065 w 1179"/>
                  <a:gd name="T65" fmla="*/ 695 h 1036"/>
                  <a:gd name="T66" fmla="*/ 1044 w 1179"/>
                  <a:gd name="T67" fmla="*/ 731 h 1036"/>
                  <a:gd name="T68" fmla="*/ 987 w 1179"/>
                  <a:gd name="T69" fmla="*/ 766 h 1036"/>
                  <a:gd name="T70" fmla="*/ 1001 w 1179"/>
                  <a:gd name="T71" fmla="*/ 816 h 1036"/>
                  <a:gd name="T72" fmla="*/ 1001 w 1179"/>
                  <a:gd name="T73" fmla="*/ 858 h 1036"/>
                  <a:gd name="T74" fmla="*/ 951 w 1179"/>
                  <a:gd name="T75" fmla="*/ 858 h 1036"/>
                  <a:gd name="T76" fmla="*/ 895 w 1179"/>
                  <a:gd name="T77" fmla="*/ 851 h 1036"/>
                  <a:gd name="T78" fmla="*/ 845 w 1179"/>
                  <a:gd name="T79" fmla="*/ 908 h 1036"/>
                  <a:gd name="T80" fmla="*/ 816 w 1179"/>
                  <a:gd name="T81" fmla="*/ 887 h 1036"/>
                  <a:gd name="T82" fmla="*/ 852 w 1179"/>
                  <a:gd name="T83" fmla="*/ 844 h 1036"/>
                  <a:gd name="T84" fmla="*/ 852 w 1179"/>
                  <a:gd name="T85" fmla="*/ 787 h 1036"/>
                  <a:gd name="T86" fmla="*/ 767 w 1179"/>
                  <a:gd name="T87" fmla="*/ 766 h 1036"/>
                  <a:gd name="T88" fmla="*/ 781 w 1179"/>
                  <a:gd name="T89" fmla="*/ 759 h 1036"/>
                  <a:gd name="T90" fmla="*/ 753 w 1179"/>
                  <a:gd name="T91" fmla="*/ 745 h 1036"/>
                  <a:gd name="T92" fmla="*/ 717 w 1179"/>
                  <a:gd name="T93" fmla="*/ 766 h 1036"/>
                  <a:gd name="T94" fmla="*/ 717 w 1179"/>
                  <a:gd name="T95" fmla="*/ 787 h 1036"/>
                  <a:gd name="T96" fmla="*/ 710 w 1179"/>
                  <a:gd name="T97" fmla="*/ 844 h 1036"/>
                  <a:gd name="T98" fmla="*/ 731 w 1179"/>
                  <a:gd name="T99" fmla="*/ 922 h 1036"/>
                  <a:gd name="T100" fmla="*/ 682 w 1179"/>
                  <a:gd name="T101" fmla="*/ 1000 h 1036"/>
                  <a:gd name="T102" fmla="*/ 639 w 1179"/>
                  <a:gd name="T103" fmla="*/ 1029 h 1036"/>
                  <a:gd name="T104" fmla="*/ 589 w 1179"/>
                  <a:gd name="T105" fmla="*/ 986 h 1036"/>
                  <a:gd name="T106" fmla="*/ 533 w 1179"/>
                  <a:gd name="T107" fmla="*/ 951 h 1036"/>
                  <a:gd name="T108" fmla="*/ 525 w 1179"/>
                  <a:gd name="T109" fmla="*/ 894 h 1036"/>
                  <a:gd name="T110" fmla="*/ 476 w 1179"/>
                  <a:gd name="T111" fmla="*/ 858 h 1036"/>
                  <a:gd name="T112" fmla="*/ 483 w 1179"/>
                  <a:gd name="T113" fmla="*/ 830 h 1036"/>
                  <a:gd name="T114" fmla="*/ 462 w 1179"/>
                  <a:gd name="T115" fmla="*/ 837 h 1036"/>
                  <a:gd name="T116" fmla="*/ 398 w 1179"/>
                  <a:gd name="T117" fmla="*/ 830 h 1036"/>
                  <a:gd name="T118" fmla="*/ 369 w 1179"/>
                  <a:gd name="T119" fmla="*/ 802 h 1036"/>
                  <a:gd name="T120" fmla="*/ 312 w 1179"/>
                  <a:gd name="T121" fmla="*/ 787 h 1036"/>
                  <a:gd name="T122" fmla="*/ 234 w 1179"/>
                  <a:gd name="T123" fmla="*/ 795 h 10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79" h="1036">
                    <a:moveTo>
                      <a:pt x="213" y="795"/>
                    </a:moveTo>
                    <a:lnTo>
                      <a:pt x="213" y="795"/>
                    </a:lnTo>
                    <a:lnTo>
                      <a:pt x="206" y="787"/>
                    </a:lnTo>
                    <a:lnTo>
                      <a:pt x="206" y="787"/>
                    </a:lnTo>
                    <a:lnTo>
                      <a:pt x="199" y="787"/>
                    </a:lnTo>
                    <a:lnTo>
                      <a:pt x="199" y="773"/>
                    </a:lnTo>
                    <a:lnTo>
                      <a:pt x="192" y="759"/>
                    </a:lnTo>
                    <a:lnTo>
                      <a:pt x="185" y="752"/>
                    </a:lnTo>
                    <a:lnTo>
                      <a:pt x="185" y="745"/>
                    </a:lnTo>
                    <a:lnTo>
                      <a:pt x="178" y="724"/>
                    </a:lnTo>
                    <a:lnTo>
                      <a:pt x="178" y="716"/>
                    </a:lnTo>
                    <a:lnTo>
                      <a:pt x="178" y="716"/>
                    </a:lnTo>
                    <a:lnTo>
                      <a:pt x="163" y="709"/>
                    </a:lnTo>
                    <a:lnTo>
                      <a:pt x="163" y="702"/>
                    </a:lnTo>
                    <a:lnTo>
                      <a:pt x="163" y="702"/>
                    </a:lnTo>
                    <a:lnTo>
                      <a:pt x="163" y="695"/>
                    </a:lnTo>
                    <a:lnTo>
                      <a:pt x="156" y="695"/>
                    </a:lnTo>
                    <a:lnTo>
                      <a:pt x="156" y="688"/>
                    </a:lnTo>
                    <a:lnTo>
                      <a:pt x="149" y="688"/>
                    </a:lnTo>
                    <a:lnTo>
                      <a:pt x="149" y="681"/>
                    </a:lnTo>
                    <a:lnTo>
                      <a:pt x="156" y="653"/>
                    </a:lnTo>
                    <a:lnTo>
                      <a:pt x="156" y="645"/>
                    </a:lnTo>
                    <a:lnTo>
                      <a:pt x="149" y="638"/>
                    </a:lnTo>
                    <a:lnTo>
                      <a:pt x="142" y="638"/>
                    </a:lnTo>
                    <a:lnTo>
                      <a:pt x="142" y="638"/>
                    </a:lnTo>
                    <a:lnTo>
                      <a:pt x="135" y="645"/>
                    </a:lnTo>
                    <a:lnTo>
                      <a:pt x="128" y="645"/>
                    </a:lnTo>
                    <a:lnTo>
                      <a:pt x="114" y="645"/>
                    </a:lnTo>
                    <a:lnTo>
                      <a:pt x="107" y="645"/>
                    </a:lnTo>
                    <a:lnTo>
                      <a:pt x="100" y="638"/>
                    </a:lnTo>
                    <a:lnTo>
                      <a:pt x="100" y="638"/>
                    </a:lnTo>
                    <a:lnTo>
                      <a:pt x="100" y="638"/>
                    </a:lnTo>
                    <a:lnTo>
                      <a:pt x="92" y="631"/>
                    </a:lnTo>
                    <a:lnTo>
                      <a:pt x="92" y="624"/>
                    </a:lnTo>
                    <a:lnTo>
                      <a:pt x="85" y="617"/>
                    </a:lnTo>
                    <a:lnTo>
                      <a:pt x="78" y="617"/>
                    </a:lnTo>
                    <a:lnTo>
                      <a:pt x="78" y="610"/>
                    </a:lnTo>
                    <a:lnTo>
                      <a:pt x="78" y="603"/>
                    </a:lnTo>
                    <a:lnTo>
                      <a:pt x="78" y="596"/>
                    </a:lnTo>
                    <a:lnTo>
                      <a:pt x="78" y="589"/>
                    </a:lnTo>
                    <a:lnTo>
                      <a:pt x="78" y="582"/>
                    </a:lnTo>
                    <a:lnTo>
                      <a:pt x="78" y="582"/>
                    </a:lnTo>
                    <a:lnTo>
                      <a:pt x="85" y="567"/>
                    </a:lnTo>
                    <a:lnTo>
                      <a:pt x="85" y="567"/>
                    </a:lnTo>
                    <a:lnTo>
                      <a:pt x="85" y="560"/>
                    </a:lnTo>
                    <a:lnTo>
                      <a:pt x="85" y="553"/>
                    </a:lnTo>
                    <a:lnTo>
                      <a:pt x="85" y="553"/>
                    </a:lnTo>
                    <a:lnTo>
                      <a:pt x="85" y="546"/>
                    </a:lnTo>
                    <a:lnTo>
                      <a:pt x="92" y="546"/>
                    </a:lnTo>
                    <a:lnTo>
                      <a:pt x="92" y="546"/>
                    </a:lnTo>
                    <a:lnTo>
                      <a:pt x="92" y="539"/>
                    </a:lnTo>
                    <a:lnTo>
                      <a:pt x="92" y="525"/>
                    </a:lnTo>
                    <a:lnTo>
                      <a:pt x="92" y="518"/>
                    </a:lnTo>
                    <a:lnTo>
                      <a:pt x="85" y="518"/>
                    </a:lnTo>
                    <a:lnTo>
                      <a:pt x="85" y="511"/>
                    </a:lnTo>
                    <a:lnTo>
                      <a:pt x="78" y="511"/>
                    </a:lnTo>
                    <a:lnTo>
                      <a:pt x="43" y="511"/>
                    </a:lnTo>
                    <a:lnTo>
                      <a:pt x="43" y="511"/>
                    </a:lnTo>
                    <a:lnTo>
                      <a:pt x="29" y="504"/>
                    </a:lnTo>
                    <a:lnTo>
                      <a:pt x="29" y="496"/>
                    </a:lnTo>
                    <a:lnTo>
                      <a:pt x="7" y="489"/>
                    </a:lnTo>
                    <a:lnTo>
                      <a:pt x="0" y="482"/>
                    </a:lnTo>
                    <a:lnTo>
                      <a:pt x="0" y="482"/>
                    </a:lnTo>
                    <a:lnTo>
                      <a:pt x="7" y="447"/>
                    </a:lnTo>
                    <a:lnTo>
                      <a:pt x="14" y="433"/>
                    </a:lnTo>
                    <a:lnTo>
                      <a:pt x="14" y="425"/>
                    </a:lnTo>
                    <a:lnTo>
                      <a:pt x="29" y="411"/>
                    </a:lnTo>
                    <a:lnTo>
                      <a:pt x="36" y="404"/>
                    </a:lnTo>
                    <a:lnTo>
                      <a:pt x="57" y="390"/>
                    </a:lnTo>
                    <a:lnTo>
                      <a:pt x="64" y="383"/>
                    </a:lnTo>
                    <a:lnTo>
                      <a:pt x="78" y="369"/>
                    </a:lnTo>
                    <a:lnTo>
                      <a:pt x="78" y="369"/>
                    </a:lnTo>
                    <a:lnTo>
                      <a:pt x="92" y="340"/>
                    </a:lnTo>
                    <a:lnTo>
                      <a:pt x="92" y="333"/>
                    </a:lnTo>
                    <a:lnTo>
                      <a:pt x="107" y="326"/>
                    </a:lnTo>
                    <a:lnTo>
                      <a:pt x="114" y="319"/>
                    </a:lnTo>
                    <a:lnTo>
                      <a:pt x="121" y="312"/>
                    </a:lnTo>
                    <a:lnTo>
                      <a:pt x="121" y="305"/>
                    </a:lnTo>
                    <a:lnTo>
                      <a:pt x="128" y="305"/>
                    </a:lnTo>
                    <a:lnTo>
                      <a:pt x="135" y="305"/>
                    </a:lnTo>
                    <a:lnTo>
                      <a:pt x="135" y="305"/>
                    </a:lnTo>
                    <a:lnTo>
                      <a:pt x="142" y="305"/>
                    </a:lnTo>
                    <a:lnTo>
                      <a:pt x="142" y="305"/>
                    </a:lnTo>
                    <a:lnTo>
                      <a:pt x="149" y="305"/>
                    </a:lnTo>
                    <a:lnTo>
                      <a:pt x="149" y="305"/>
                    </a:lnTo>
                    <a:lnTo>
                      <a:pt x="156" y="312"/>
                    </a:lnTo>
                    <a:lnTo>
                      <a:pt x="156" y="312"/>
                    </a:lnTo>
                    <a:lnTo>
                      <a:pt x="163" y="319"/>
                    </a:lnTo>
                    <a:lnTo>
                      <a:pt x="163" y="319"/>
                    </a:lnTo>
                    <a:lnTo>
                      <a:pt x="163" y="326"/>
                    </a:lnTo>
                    <a:lnTo>
                      <a:pt x="163" y="326"/>
                    </a:lnTo>
                    <a:lnTo>
                      <a:pt x="163" y="333"/>
                    </a:lnTo>
                    <a:lnTo>
                      <a:pt x="163" y="340"/>
                    </a:lnTo>
                    <a:lnTo>
                      <a:pt x="170" y="347"/>
                    </a:lnTo>
                    <a:lnTo>
                      <a:pt x="178" y="354"/>
                    </a:lnTo>
                    <a:lnTo>
                      <a:pt x="185" y="354"/>
                    </a:lnTo>
                    <a:lnTo>
                      <a:pt x="199" y="347"/>
                    </a:lnTo>
                    <a:lnTo>
                      <a:pt x="227" y="333"/>
                    </a:lnTo>
                    <a:lnTo>
                      <a:pt x="241" y="333"/>
                    </a:lnTo>
                    <a:lnTo>
                      <a:pt x="249" y="333"/>
                    </a:lnTo>
                    <a:lnTo>
                      <a:pt x="263" y="333"/>
                    </a:lnTo>
                    <a:lnTo>
                      <a:pt x="277" y="333"/>
                    </a:lnTo>
                    <a:lnTo>
                      <a:pt x="284" y="333"/>
                    </a:lnTo>
                    <a:lnTo>
                      <a:pt x="327" y="319"/>
                    </a:lnTo>
                    <a:lnTo>
                      <a:pt x="327" y="319"/>
                    </a:lnTo>
                    <a:lnTo>
                      <a:pt x="327" y="319"/>
                    </a:lnTo>
                    <a:lnTo>
                      <a:pt x="327" y="298"/>
                    </a:lnTo>
                    <a:lnTo>
                      <a:pt x="334" y="298"/>
                    </a:lnTo>
                    <a:lnTo>
                      <a:pt x="334" y="291"/>
                    </a:lnTo>
                    <a:lnTo>
                      <a:pt x="341" y="276"/>
                    </a:lnTo>
                    <a:lnTo>
                      <a:pt x="362" y="269"/>
                    </a:lnTo>
                    <a:lnTo>
                      <a:pt x="362" y="262"/>
                    </a:lnTo>
                    <a:lnTo>
                      <a:pt x="369" y="255"/>
                    </a:lnTo>
                    <a:lnTo>
                      <a:pt x="369" y="248"/>
                    </a:lnTo>
                    <a:lnTo>
                      <a:pt x="383" y="220"/>
                    </a:lnTo>
                    <a:lnTo>
                      <a:pt x="383" y="212"/>
                    </a:lnTo>
                    <a:lnTo>
                      <a:pt x="391" y="205"/>
                    </a:lnTo>
                    <a:lnTo>
                      <a:pt x="398" y="198"/>
                    </a:lnTo>
                    <a:lnTo>
                      <a:pt x="469" y="170"/>
                    </a:lnTo>
                    <a:lnTo>
                      <a:pt x="469" y="163"/>
                    </a:lnTo>
                    <a:lnTo>
                      <a:pt x="469" y="163"/>
                    </a:lnTo>
                    <a:lnTo>
                      <a:pt x="476" y="156"/>
                    </a:lnTo>
                    <a:lnTo>
                      <a:pt x="476" y="149"/>
                    </a:lnTo>
                    <a:lnTo>
                      <a:pt x="483" y="134"/>
                    </a:lnTo>
                    <a:lnTo>
                      <a:pt x="511" y="92"/>
                    </a:lnTo>
                    <a:lnTo>
                      <a:pt x="533" y="42"/>
                    </a:lnTo>
                    <a:lnTo>
                      <a:pt x="533" y="35"/>
                    </a:lnTo>
                    <a:lnTo>
                      <a:pt x="554" y="28"/>
                    </a:lnTo>
                    <a:lnTo>
                      <a:pt x="575" y="21"/>
                    </a:lnTo>
                    <a:lnTo>
                      <a:pt x="582" y="21"/>
                    </a:lnTo>
                    <a:lnTo>
                      <a:pt x="604" y="0"/>
                    </a:lnTo>
                    <a:lnTo>
                      <a:pt x="604" y="0"/>
                    </a:lnTo>
                    <a:lnTo>
                      <a:pt x="611" y="0"/>
                    </a:lnTo>
                    <a:lnTo>
                      <a:pt x="611" y="7"/>
                    </a:lnTo>
                    <a:lnTo>
                      <a:pt x="611" y="7"/>
                    </a:lnTo>
                    <a:lnTo>
                      <a:pt x="611" y="7"/>
                    </a:lnTo>
                    <a:lnTo>
                      <a:pt x="611" y="7"/>
                    </a:lnTo>
                    <a:lnTo>
                      <a:pt x="596" y="21"/>
                    </a:lnTo>
                    <a:lnTo>
                      <a:pt x="596" y="28"/>
                    </a:lnTo>
                    <a:lnTo>
                      <a:pt x="596" y="28"/>
                    </a:lnTo>
                    <a:lnTo>
                      <a:pt x="596" y="28"/>
                    </a:lnTo>
                    <a:lnTo>
                      <a:pt x="596" y="28"/>
                    </a:lnTo>
                    <a:lnTo>
                      <a:pt x="604" y="35"/>
                    </a:lnTo>
                    <a:lnTo>
                      <a:pt x="653" y="35"/>
                    </a:lnTo>
                    <a:lnTo>
                      <a:pt x="660" y="35"/>
                    </a:lnTo>
                    <a:lnTo>
                      <a:pt x="682" y="35"/>
                    </a:lnTo>
                    <a:lnTo>
                      <a:pt x="682" y="42"/>
                    </a:lnTo>
                    <a:lnTo>
                      <a:pt x="682" y="42"/>
                    </a:lnTo>
                    <a:lnTo>
                      <a:pt x="682" y="42"/>
                    </a:lnTo>
                    <a:lnTo>
                      <a:pt x="682" y="42"/>
                    </a:lnTo>
                    <a:lnTo>
                      <a:pt x="682" y="42"/>
                    </a:lnTo>
                    <a:lnTo>
                      <a:pt x="682" y="49"/>
                    </a:lnTo>
                    <a:lnTo>
                      <a:pt x="682" y="49"/>
                    </a:lnTo>
                    <a:lnTo>
                      <a:pt x="682" y="49"/>
                    </a:lnTo>
                    <a:lnTo>
                      <a:pt x="682" y="49"/>
                    </a:lnTo>
                    <a:lnTo>
                      <a:pt x="682" y="49"/>
                    </a:lnTo>
                    <a:lnTo>
                      <a:pt x="682" y="49"/>
                    </a:lnTo>
                    <a:lnTo>
                      <a:pt x="674" y="56"/>
                    </a:lnTo>
                    <a:lnTo>
                      <a:pt x="674" y="56"/>
                    </a:lnTo>
                    <a:lnTo>
                      <a:pt x="674" y="56"/>
                    </a:lnTo>
                    <a:lnTo>
                      <a:pt x="674" y="56"/>
                    </a:lnTo>
                    <a:lnTo>
                      <a:pt x="674" y="56"/>
                    </a:lnTo>
                    <a:lnTo>
                      <a:pt x="674" y="63"/>
                    </a:lnTo>
                    <a:lnTo>
                      <a:pt x="674" y="63"/>
                    </a:lnTo>
                    <a:lnTo>
                      <a:pt x="674" y="63"/>
                    </a:lnTo>
                    <a:lnTo>
                      <a:pt x="674" y="63"/>
                    </a:lnTo>
                    <a:lnTo>
                      <a:pt x="674" y="63"/>
                    </a:lnTo>
                    <a:lnTo>
                      <a:pt x="674" y="63"/>
                    </a:lnTo>
                    <a:lnTo>
                      <a:pt x="674" y="63"/>
                    </a:lnTo>
                    <a:lnTo>
                      <a:pt x="674" y="63"/>
                    </a:lnTo>
                    <a:lnTo>
                      <a:pt x="682" y="63"/>
                    </a:lnTo>
                    <a:lnTo>
                      <a:pt x="682" y="63"/>
                    </a:lnTo>
                    <a:lnTo>
                      <a:pt x="682" y="63"/>
                    </a:lnTo>
                    <a:lnTo>
                      <a:pt x="682" y="63"/>
                    </a:lnTo>
                    <a:lnTo>
                      <a:pt x="682" y="63"/>
                    </a:lnTo>
                    <a:lnTo>
                      <a:pt x="682" y="63"/>
                    </a:lnTo>
                    <a:lnTo>
                      <a:pt x="689" y="63"/>
                    </a:lnTo>
                    <a:lnTo>
                      <a:pt x="689" y="63"/>
                    </a:lnTo>
                    <a:lnTo>
                      <a:pt x="689" y="63"/>
                    </a:lnTo>
                    <a:lnTo>
                      <a:pt x="689" y="63"/>
                    </a:lnTo>
                    <a:lnTo>
                      <a:pt x="689" y="63"/>
                    </a:lnTo>
                    <a:lnTo>
                      <a:pt x="689" y="63"/>
                    </a:lnTo>
                    <a:lnTo>
                      <a:pt x="689" y="63"/>
                    </a:lnTo>
                    <a:lnTo>
                      <a:pt x="689" y="63"/>
                    </a:lnTo>
                    <a:lnTo>
                      <a:pt x="689" y="63"/>
                    </a:lnTo>
                    <a:lnTo>
                      <a:pt x="689" y="70"/>
                    </a:lnTo>
                    <a:lnTo>
                      <a:pt x="689" y="70"/>
                    </a:lnTo>
                    <a:lnTo>
                      <a:pt x="689" y="78"/>
                    </a:lnTo>
                    <a:lnTo>
                      <a:pt x="689" y="85"/>
                    </a:lnTo>
                    <a:lnTo>
                      <a:pt x="689" y="92"/>
                    </a:lnTo>
                    <a:lnTo>
                      <a:pt x="689" y="92"/>
                    </a:lnTo>
                    <a:lnTo>
                      <a:pt x="689" y="92"/>
                    </a:lnTo>
                    <a:lnTo>
                      <a:pt x="689" y="99"/>
                    </a:lnTo>
                    <a:lnTo>
                      <a:pt x="689" y="99"/>
                    </a:lnTo>
                    <a:lnTo>
                      <a:pt x="689" y="99"/>
                    </a:lnTo>
                    <a:lnTo>
                      <a:pt x="689" y="106"/>
                    </a:lnTo>
                    <a:lnTo>
                      <a:pt x="689" y="106"/>
                    </a:lnTo>
                    <a:lnTo>
                      <a:pt x="689" y="106"/>
                    </a:lnTo>
                    <a:lnTo>
                      <a:pt x="689" y="106"/>
                    </a:lnTo>
                    <a:lnTo>
                      <a:pt x="682" y="106"/>
                    </a:lnTo>
                    <a:lnTo>
                      <a:pt x="682" y="106"/>
                    </a:lnTo>
                    <a:lnTo>
                      <a:pt x="682" y="106"/>
                    </a:lnTo>
                    <a:lnTo>
                      <a:pt x="682" y="106"/>
                    </a:lnTo>
                    <a:lnTo>
                      <a:pt x="682" y="106"/>
                    </a:lnTo>
                    <a:lnTo>
                      <a:pt x="682" y="106"/>
                    </a:lnTo>
                    <a:lnTo>
                      <a:pt x="682" y="113"/>
                    </a:lnTo>
                    <a:lnTo>
                      <a:pt x="682" y="113"/>
                    </a:lnTo>
                    <a:lnTo>
                      <a:pt x="682" y="113"/>
                    </a:lnTo>
                    <a:lnTo>
                      <a:pt x="689" y="113"/>
                    </a:lnTo>
                    <a:lnTo>
                      <a:pt x="689" y="120"/>
                    </a:lnTo>
                    <a:lnTo>
                      <a:pt x="689" y="120"/>
                    </a:lnTo>
                    <a:lnTo>
                      <a:pt x="689" y="120"/>
                    </a:lnTo>
                    <a:lnTo>
                      <a:pt x="689" y="120"/>
                    </a:lnTo>
                    <a:lnTo>
                      <a:pt x="689" y="127"/>
                    </a:lnTo>
                    <a:lnTo>
                      <a:pt x="696" y="127"/>
                    </a:lnTo>
                    <a:lnTo>
                      <a:pt x="696" y="127"/>
                    </a:lnTo>
                    <a:lnTo>
                      <a:pt x="696" y="120"/>
                    </a:lnTo>
                    <a:lnTo>
                      <a:pt x="696" y="120"/>
                    </a:lnTo>
                    <a:lnTo>
                      <a:pt x="696" y="120"/>
                    </a:lnTo>
                    <a:lnTo>
                      <a:pt x="696" y="120"/>
                    </a:lnTo>
                    <a:lnTo>
                      <a:pt x="696" y="120"/>
                    </a:lnTo>
                    <a:lnTo>
                      <a:pt x="696" y="120"/>
                    </a:lnTo>
                    <a:lnTo>
                      <a:pt x="696" y="120"/>
                    </a:lnTo>
                    <a:lnTo>
                      <a:pt x="703" y="120"/>
                    </a:lnTo>
                    <a:lnTo>
                      <a:pt x="703" y="120"/>
                    </a:lnTo>
                    <a:lnTo>
                      <a:pt x="703" y="120"/>
                    </a:lnTo>
                    <a:lnTo>
                      <a:pt x="710" y="120"/>
                    </a:lnTo>
                    <a:lnTo>
                      <a:pt x="710" y="120"/>
                    </a:lnTo>
                    <a:lnTo>
                      <a:pt x="710" y="120"/>
                    </a:lnTo>
                    <a:lnTo>
                      <a:pt x="710" y="120"/>
                    </a:lnTo>
                    <a:lnTo>
                      <a:pt x="717" y="120"/>
                    </a:lnTo>
                    <a:lnTo>
                      <a:pt x="717" y="113"/>
                    </a:lnTo>
                    <a:lnTo>
                      <a:pt x="717" y="113"/>
                    </a:lnTo>
                    <a:lnTo>
                      <a:pt x="717" y="113"/>
                    </a:lnTo>
                    <a:lnTo>
                      <a:pt x="717" y="113"/>
                    </a:lnTo>
                    <a:lnTo>
                      <a:pt x="724" y="113"/>
                    </a:lnTo>
                    <a:lnTo>
                      <a:pt x="724" y="113"/>
                    </a:lnTo>
                    <a:lnTo>
                      <a:pt x="724" y="113"/>
                    </a:lnTo>
                    <a:lnTo>
                      <a:pt x="724" y="113"/>
                    </a:lnTo>
                    <a:lnTo>
                      <a:pt x="731" y="120"/>
                    </a:lnTo>
                    <a:lnTo>
                      <a:pt x="731" y="120"/>
                    </a:lnTo>
                    <a:lnTo>
                      <a:pt x="731" y="120"/>
                    </a:lnTo>
                    <a:lnTo>
                      <a:pt x="731" y="120"/>
                    </a:lnTo>
                    <a:lnTo>
                      <a:pt x="731" y="120"/>
                    </a:lnTo>
                    <a:lnTo>
                      <a:pt x="731" y="120"/>
                    </a:lnTo>
                    <a:lnTo>
                      <a:pt x="738" y="127"/>
                    </a:lnTo>
                    <a:lnTo>
                      <a:pt x="738" y="127"/>
                    </a:lnTo>
                    <a:lnTo>
                      <a:pt x="738" y="127"/>
                    </a:lnTo>
                    <a:lnTo>
                      <a:pt x="738" y="127"/>
                    </a:lnTo>
                    <a:lnTo>
                      <a:pt x="738" y="134"/>
                    </a:lnTo>
                    <a:lnTo>
                      <a:pt x="738" y="134"/>
                    </a:lnTo>
                    <a:lnTo>
                      <a:pt x="738" y="134"/>
                    </a:lnTo>
                    <a:lnTo>
                      <a:pt x="745" y="134"/>
                    </a:lnTo>
                    <a:lnTo>
                      <a:pt x="745" y="127"/>
                    </a:lnTo>
                    <a:lnTo>
                      <a:pt x="745" y="127"/>
                    </a:lnTo>
                    <a:lnTo>
                      <a:pt x="745" y="127"/>
                    </a:lnTo>
                    <a:lnTo>
                      <a:pt x="745" y="134"/>
                    </a:lnTo>
                    <a:lnTo>
                      <a:pt x="753" y="134"/>
                    </a:lnTo>
                    <a:lnTo>
                      <a:pt x="753" y="134"/>
                    </a:lnTo>
                    <a:lnTo>
                      <a:pt x="753" y="134"/>
                    </a:lnTo>
                    <a:lnTo>
                      <a:pt x="753" y="134"/>
                    </a:lnTo>
                    <a:lnTo>
                      <a:pt x="753" y="134"/>
                    </a:lnTo>
                    <a:lnTo>
                      <a:pt x="753" y="134"/>
                    </a:lnTo>
                    <a:lnTo>
                      <a:pt x="760" y="134"/>
                    </a:lnTo>
                    <a:lnTo>
                      <a:pt x="760" y="134"/>
                    </a:lnTo>
                    <a:lnTo>
                      <a:pt x="760" y="134"/>
                    </a:lnTo>
                    <a:lnTo>
                      <a:pt x="760" y="134"/>
                    </a:lnTo>
                    <a:lnTo>
                      <a:pt x="760" y="134"/>
                    </a:lnTo>
                    <a:lnTo>
                      <a:pt x="767" y="134"/>
                    </a:lnTo>
                    <a:lnTo>
                      <a:pt x="767" y="134"/>
                    </a:lnTo>
                    <a:lnTo>
                      <a:pt x="767" y="134"/>
                    </a:lnTo>
                    <a:lnTo>
                      <a:pt x="767" y="134"/>
                    </a:lnTo>
                    <a:lnTo>
                      <a:pt x="774" y="134"/>
                    </a:lnTo>
                    <a:lnTo>
                      <a:pt x="774" y="134"/>
                    </a:lnTo>
                    <a:lnTo>
                      <a:pt x="774" y="134"/>
                    </a:lnTo>
                    <a:lnTo>
                      <a:pt x="774" y="134"/>
                    </a:lnTo>
                    <a:lnTo>
                      <a:pt x="774" y="134"/>
                    </a:lnTo>
                    <a:lnTo>
                      <a:pt x="781" y="134"/>
                    </a:lnTo>
                    <a:lnTo>
                      <a:pt x="781" y="134"/>
                    </a:lnTo>
                    <a:lnTo>
                      <a:pt x="781" y="134"/>
                    </a:lnTo>
                    <a:lnTo>
                      <a:pt x="781" y="134"/>
                    </a:lnTo>
                    <a:lnTo>
                      <a:pt x="781" y="127"/>
                    </a:lnTo>
                    <a:lnTo>
                      <a:pt x="788" y="127"/>
                    </a:lnTo>
                    <a:lnTo>
                      <a:pt x="788" y="127"/>
                    </a:lnTo>
                    <a:lnTo>
                      <a:pt x="788" y="127"/>
                    </a:lnTo>
                    <a:lnTo>
                      <a:pt x="788" y="134"/>
                    </a:lnTo>
                    <a:lnTo>
                      <a:pt x="788" y="134"/>
                    </a:lnTo>
                    <a:lnTo>
                      <a:pt x="788" y="134"/>
                    </a:lnTo>
                    <a:lnTo>
                      <a:pt x="788" y="134"/>
                    </a:lnTo>
                    <a:lnTo>
                      <a:pt x="788" y="134"/>
                    </a:lnTo>
                    <a:lnTo>
                      <a:pt x="788" y="134"/>
                    </a:lnTo>
                    <a:lnTo>
                      <a:pt x="788" y="134"/>
                    </a:lnTo>
                    <a:lnTo>
                      <a:pt x="788" y="134"/>
                    </a:lnTo>
                    <a:lnTo>
                      <a:pt x="788" y="134"/>
                    </a:lnTo>
                    <a:lnTo>
                      <a:pt x="788" y="134"/>
                    </a:lnTo>
                    <a:lnTo>
                      <a:pt x="795" y="134"/>
                    </a:lnTo>
                    <a:lnTo>
                      <a:pt x="795" y="134"/>
                    </a:lnTo>
                    <a:lnTo>
                      <a:pt x="795" y="134"/>
                    </a:lnTo>
                    <a:lnTo>
                      <a:pt x="795" y="134"/>
                    </a:lnTo>
                    <a:lnTo>
                      <a:pt x="795" y="141"/>
                    </a:lnTo>
                    <a:lnTo>
                      <a:pt x="795" y="141"/>
                    </a:lnTo>
                    <a:lnTo>
                      <a:pt x="795" y="141"/>
                    </a:lnTo>
                    <a:lnTo>
                      <a:pt x="795" y="141"/>
                    </a:lnTo>
                    <a:lnTo>
                      <a:pt x="795" y="141"/>
                    </a:lnTo>
                    <a:lnTo>
                      <a:pt x="795" y="141"/>
                    </a:lnTo>
                    <a:lnTo>
                      <a:pt x="795" y="141"/>
                    </a:lnTo>
                    <a:lnTo>
                      <a:pt x="795" y="141"/>
                    </a:lnTo>
                    <a:lnTo>
                      <a:pt x="795" y="149"/>
                    </a:lnTo>
                    <a:lnTo>
                      <a:pt x="795" y="149"/>
                    </a:lnTo>
                    <a:lnTo>
                      <a:pt x="795" y="149"/>
                    </a:lnTo>
                    <a:lnTo>
                      <a:pt x="795" y="149"/>
                    </a:lnTo>
                    <a:lnTo>
                      <a:pt x="795" y="149"/>
                    </a:lnTo>
                    <a:lnTo>
                      <a:pt x="795" y="149"/>
                    </a:lnTo>
                    <a:lnTo>
                      <a:pt x="795" y="149"/>
                    </a:lnTo>
                    <a:lnTo>
                      <a:pt x="795" y="156"/>
                    </a:lnTo>
                    <a:lnTo>
                      <a:pt x="795" y="156"/>
                    </a:lnTo>
                    <a:lnTo>
                      <a:pt x="795" y="156"/>
                    </a:lnTo>
                    <a:lnTo>
                      <a:pt x="795" y="156"/>
                    </a:lnTo>
                    <a:lnTo>
                      <a:pt x="795" y="156"/>
                    </a:lnTo>
                    <a:lnTo>
                      <a:pt x="795" y="163"/>
                    </a:lnTo>
                    <a:lnTo>
                      <a:pt x="795" y="163"/>
                    </a:lnTo>
                    <a:lnTo>
                      <a:pt x="802" y="170"/>
                    </a:lnTo>
                    <a:lnTo>
                      <a:pt x="802" y="170"/>
                    </a:lnTo>
                    <a:lnTo>
                      <a:pt x="809" y="170"/>
                    </a:lnTo>
                    <a:lnTo>
                      <a:pt x="809" y="170"/>
                    </a:lnTo>
                    <a:lnTo>
                      <a:pt x="809" y="170"/>
                    </a:lnTo>
                    <a:lnTo>
                      <a:pt x="809" y="170"/>
                    </a:lnTo>
                    <a:lnTo>
                      <a:pt x="809" y="177"/>
                    </a:lnTo>
                    <a:lnTo>
                      <a:pt x="809" y="177"/>
                    </a:lnTo>
                    <a:lnTo>
                      <a:pt x="809" y="177"/>
                    </a:lnTo>
                    <a:lnTo>
                      <a:pt x="809" y="177"/>
                    </a:lnTo>
                    <a:lnTo>
                      <a:pt x="809" y="177"/>
                    </a:lnTo>
                    <a:lnTo>
                      <a:pt x="809" y="177"/>
                    </a:lnTo>
                    <a:lnTo>
                      <a:pt x="809" y="184"/>
                    </a:lnTo>
                    <a:lnTo>
                      <a:pt x="809" y="184"/>
                    </a:lnTo>
                    <a:lnTo>
                      <a:pt x="809" y="184"/>
                    </a:lnTo>
                    <a:lnTo>
                      <a:pt x="809" y="191"/>
                    </a:lnTo>
                    <a:lnTo>
                      <a:pt x="809" y="191"/>
                    </a:lnTo>
                    <a:lnTo>
                      <a:pt x="809" y="191"/>
                    </a:lnTo>
                    <a:lnTo>
                      <a:pt x="809" y="198"/>
                    </a:lnTo>
                    <a:lnTo>
                      <a:pt x="809" y="198"/>
                    </a:lnTo>
                    <a:lnTo>
                      <a:pt x="809" y="198"/>
                    </a:lnTo>
                    <a:lnTo>
                      <a:pt x="816" y="205"/>
                    </a:lnTo>
                    <a:lnTo>
                      <a:pt x="816" y="220"/>
                    </a:lnTo>
                    <a:lnTo>
                      <a:pt x="824" y="220"/>
                    </a:lnTo>
                    <a:lnTo>
                      <a:pt x="824" y="227"/>
                    </a:lnTo>
                    <a:lnTo>
                      <a:pt x="824" y="227"/>
                    </a:lnTo>
                    <a:lnTo>
                      <a:pt x="831" y="234"/>
                    </a:lnTo>
                    <a:lnTo>
                      <a:pt x="831" y="234"/>
                    </a:lnTo>
                    <a:lnTo>
                      <a:pt x="831" y="234"/>
                    </a:lnTo>
                    <a:lnTo>
                      <a:pt x="831" y="234"/>
                    </a:lnTo>
                    <a:lnTo>
                      <a:pt x="838" y="241"/>
                    </a:lnTo>
                    <a:lnTo>
                      <a:pt x="838" y="241"/>
                    </a:lnTo>
                    <a:lnTo>
                      <a:pt x="845" y="248"/>
                    </a:lnTo>
                    <a:lnTo>
                      <a:pt x="845" y="248"/>
                    </a:lnTo>
                    <a:lnTo>
                      <a:pt x="845" y="248"/>
                    </a:lnTo>
                    <a:lnTo>
                      <a:pt x="845" y="248"/>
                    </a:lnTo>
                    <a:lnTo>
                      <a:pt x="845" y="248"/>
                    </a:lnTo>
                    <a:lnTo>
                      <a:pt x="845" y="255"/>
                    </a:lnTo>
                    <a:lnTo>
                      <a:pt x="845" y="255"/>
                    </a:lnTo>
                    <a:lnTo>
                      <a:pt x="845" y="255"/>
                    </a:lnTo>
                    <a:lnTo>
                      <a:pt x="845" y="255"/>
                    </a:lnTo>
                    <a:lnTo>
                      <a:pt x="852" y="255"/>
                    </a:lnTo>
                    <a:lnTo>
                      <a:pt x="852" y="255"/>
                    </a:lnTo>
                    <a:lnTo>
                      <a:pt x="852" y="255"/>
                    </a:lnTo>
                    <a:lnTo>
                      <a:pt x="859" y="255"/>
                    </a:lnTo>
                    <a:lnTo>
                      <a:pt x="859" y="255"/>
                    </a:lnTo>
                    <a:lnTo>
                      <a:pt x="859" y="255"/>
                    </a:lnTo>
                    <a:lnTo>
                      <a:pt x="866" y="262"/>
                    </a:lnTo>
                    <a:lnTo>
                      <a:pt x="866" y="262"/>
                    </a:lnTo>
                    <a:lnTo>
                      <a:pt x="880" y="276"/>
                    </a:lnTo>
                    <a:lnTo>
                      <a:pt x="880" y="276"/>
                    </a:lnTo>
                    <a:lnTo>
                      <a:pt x="880" y="283"/>
                    </a:lnTo>
                    <a:lnTo>
                      <a:pt x="880" y="283"/>
                    </a:lnTo>
                    <a:lnTo>
                      <a:pt x="880" y="283"/>
                    </a:lnTo>
                    <a:lnTo>
                      <a:pt x="887" y="283"/>
                    </a:lnTo>
                    <a:lnTo>
                      <a:pt x="887" y="291"/>
                    </a:lnTo>
                    <a:lnTo>
                      <a:pt x="887" y="291"/>
                    </a:lnTo>
                    <a:lnTo>
                      <a:pt x="887" y="291"/>
                    </a:lnTo>
                    <a:lnTo>
                      <a:pt x="880" y="291"/>
                    </a:lnTo>
                    <a:lnTo>
                      <a:pt x="880" y="291"/>
                    </a:lnTo>
                    <a:lnTo>
                      <a:pt x="880" y="291"/>
                    </a:lnTo>
                    <a:lnTo>
                      <a:pt x="880" y="283"/>
                    </a:lnTo>
                    <a:lnTo>
                      <a:pt x="880" y="291"/>
                    </a:lnTo>
                    <a:lnTo>
                      <a:pt x="880" y="291"/>
                    </a:lnTo>
                    <a:lnTo>
                      <a:pt x="873" y="291"/>
                    </a:lnTo>
                    <a:lnTo>
                      <a:pt x="873" y="291"/>
                    </a:lnTo>
                    <a:lnTo>
                      <a:pt x="873" y="291"/>
                    </a:lnTo>
                    <a:lnTo>
                      <a:pt x="873" y="291"/>
                    </a:lnTo>
                    <a:lnTo>
                      <a:pt x="873" y="291"/>
                    </a:lnTo>
                    <a:lnTo>
                      <a:pt x="866" y="298"/>
                    </a:lnTo>
                    <a:lnTo>
                      <a:pt x="866" y="298"/>
                    </a:lnTo>
                    <a:lnTo>
                      <a:pt x="866" y="298"/>
                    </a:lnTo>
                    <a:lnTo>
                      <a:pt x="866" y="298"/>
                    </a:lnTo>
                    <a:lnTo>
                      <a:pt x="866" y="298"/>
                    </a:lnTo>
                    <a:lnTo>
                      <a:pt x="873" y="305"/>
                    </a:lnTo>
                    <a:lnTo>
                      <a:pt x="873" y="305"/>
                    </a:lnTo>
                    <a:lnTo>
                      <a:pt x="873" y="298"/>
                    </a:lnTo>
                    <a:lnTo>
                      <a:pt x="873" y="298"/>
                    </a:lnTo>
                    <a:lnTo>
                      <a:pt x="873" y="298"/>
                    </a:lnTo>
                    <a:lnTo>
                      <a:pt x="873" y="298"/>
                    </a:lnTo>
                    <a:lnTo>
                      <a:pt x="873" y="298"/>
                    </a:lnTo>
                    <a:lnTo>
                      <a:pt x="880" y="298"/>
                    </a:lnTo>
                    <a:lnTo>
                      <a:pt x="880" y="298"/>
                    </a:lnTo>
                    <a:lnTo>
                      <a:pt x="880" y="298"/>
                    </a:lnTo>
                    <a:lnTo>
                      <a:pt x="880" y="298"/>
                    </a:lnTo>
                    <a:lnTo>
                      <a:pt x="880" y="305"/>
                    </a:lnTo>
                    <a:lnTo>
                      <a:pt x="873" y="305"/>
                    </a:lnTo>
                    <a:lnTo>
                      <a:pt x="873" y="305"/>
                    </a:lnTo>
                    <a:lnTo>
                      <a:pt x="873" y="305"/>
                    </a:lnTo>
                    <a:lnTo>
                      <a:pt x="873" y="312"/>
                    </a:lnTo>
                    <a:lnTo>
                      <a:pt x="873" y="312"/>
                    </a:lnTo>
                    <a:lnTo>
                      <a:pt x="873" y="312"/>
                    </a:lnTo>
                    <a:lnTo>
                      <a:pt x="873" y="312"/>
                    </a:lnTo>
                    <a:lnTo>
                      <a:pt x="873" y="312"/>
                    </a:lnTo>
                    <a:lnTo>
                      <a:pt x="873" y="312"/>
                    </a:lnTo>
                    <a:lnTo>
                      <a:pt x="873" y="312"/>
                    </a:lnTo>
                    <a:lnTo>
                      <a:pt x="873" y="312"/>
                    </a:lnTo>
                    <a:lnTo>
                      <a:pt x="873" y="312"/>
                    </a:lnTo>
                    <a:lnTo>
                      <a:pt x="873" y="319"/>
                    </a:lnTo>
                    <a:lnTo>
                      <a:pt x="873" y="319"/>
                    </a:lnTo>
                    <a:lnTo>
                      <a:pt x="873" y="319"/>
                    </a:lnTo>
                    <a:lnTo>
                      <a:pt x="873" y="319"/>
                    </a:lnTo>
                    <a:lnTo>
                      <a:pt x="873" y="319"/>
                    </a:lnTo>
                    <a:lnTo>
                      <a:pt x="866" y="319"/>
                    </a:lnTo>
                    <a:lnTo>
                      <a:pt x="866" y="319"/>
                    </a:lnTo>
                    <a:lnTo>
                      <a:pt x="866" y="319"/>
                    </a:lnTo>
                    <a:lnTo>
                      <a:pt x="866" y="326"/>
                    </a:lnTo>
                    <a:lnTo>
                      <a:pt x="866" y="326"/>
                    </a:lnTo>
                    <a:lnTo>
                      <a:pt x="873" y="326"/>
                    </a:lnTo>
                    <a:lnTo>
                      <a:pt x="873" y="326"/>
                    </a:lnTo>
                    <a:lnTo>
                      <a:pt x="873" y="326"/>
                    </a:lnTo>
                    <a:lnTo>
                      <a:pt x="873" y="333"/>
                    </a:lnTo>
                    <a:lnTo>
                      <a:pt x="873" y="333"/>
                    </a:lnTo>
                    <a:lnTo>
                      <a:pt x="873" y="333"/>
                    </a:lnTo>
                    <a:lnTo>
                      <a:pt x="873" y="333"/>
                    </a:lnTo>
                    <a:lnTo>
                      <a:pt x="873" y="333"/>
                    </a:lnTo>
                    <a:lnTo>
                      <a:pt x="887" y="333"/>
                    </a:lnTo>
                    <a:lnTo>
                      <a:pt x="895" y="333"/>
                    </a:lnTo>
                    <a:lnTo>
                      <a:pt x="895" y="340"/>
                    </a:lnTo>
                    <a:lnTo>
                      <a:pt x="902" y="340"/>
                    </a:lnTo>
                    <a:lnTo>
                      <a:pt x="902" y="340"/>
                    </a:lnTo>
                    <a:lnTo>
                      <a:pt x="902" y="340"/>
                    </a:lnTo>
                    <a:lnTo>
                      <a:pt x="902" y="333"/>
                    </a:lnTo>
                    <a:lnTo>
                      <a:pt x="902" y="333"/>
                    </a:lnTo>
                    <a:lnTo>
                      <a:pt x="902" y="333"/>
                    </a:lnTo>
                    <a:lnTo>
                      <a:pt x="902" y="333"/>
                    </a:lnTo>
                    <a:lnTo>
                      <a:pt x="902" y="333"/>
                    </a:lnTo>
                    <a:lnTo>
                      <a:pt x="902" y="333"/>
                    </a:lnTo>
                    <a:lnTo>
                      <a:pt x="902" y="326"/>
                    </a:lnTo>
                    <a:lnTo>
                      <a:pt x="902" y="326"/>
                    </a:lnTo>
                    <a:lnTo>
                      <a:pt x="902" y="326"/>
                    </a:lnTo>
                    <a:lnTo>
                      <a:pt x="902" y="326"/>
                    </a:lnTo>
                    <a:lnTo>
                      <a:pt x="902" y="319"/>
                    </a:lnTo>
                    <a:lnTo>
                      <a:pt x="902" y="319"/>
                    </a:lnTo>
                    <a:lnTo>
                      <a:pt x="895" y="312"/>
                    </a:lnTo>
                    <a:lnTo>
                      <a:pt x="895" y="312"/>
                    </a:lnTo>
                    <a:lnTo>
                      <a:pt x="895" y="312"/>
                    </a:lnTo>
                    <a:lnTo>
                      <a:pt x="895" y="305"/>
                    </a:lnTo>
                    <a:lnTo>
                      <a:pt x="895" y="305"/>
                    </a:lnTo>
                    <a:lnTo>
                      <a:pt x="895" y="305"/>
                    </a:lnTo>
                    <a:lnTo>
                      <a:pt x="895" y="305"/>
                    </a:lnTo>
                    <a:lnTo>
                      <a:pt x="902" y="305"/>
                    </a:lnTo>
                    <a:lnTo>
                      <a:pt x="902" y="305"/>
                    </a:lnTo>
                    <a:lnTo>
                      <a:pt x="902" y="305"/>
                    </a:lnTo>
                    <a:lnTo>
                      <a:pt x="902" y="305"/>
                    </a:lnTo>
                    <a:lnTo>
                      <a:pt x="902" y="305"/>
                    </a:lnTo>
                    <a:lnTo>
                      <a:pt x="902" y="305"/>
                    </a:lnTo>
                    <a:lnTo>
                      <a:pt x="909" y="305"/>
                    </a:lnTo>
                    <a:lnTo>
                      <a:pt x="909" y="305"/>
                    </a:lnTo>
                    <a:lnTo>
                      <a:pt x="909" y="305"/>
                    </a:lnTo>
                    <a:lnTo>
                      <a:pt x="909" y="305"/>
                    </a:lnTo>
                    <a:lnTo>
                      <a:pt x="909" y="305"/>
                    </a:lnTo>
                    <a:lnTo>
                      <a:pt x="916" y="305"/>
                    </a:lnTo>
                    <a:lnTo>
                      <a:pt x="916" y="305"/>
                    </a:lnTo>
                    <a:lnTo>
                      <a:pt x="916" y="305"/>
                    </a:lnTo>
                    <a:lnTo>
                      <a:pt x="923" y="305"/>
                    </a:lnTo>
                    <a:lnTo>
                      <a:pt x="923" y="305"/>
                    </a:lnTo>
                    <a:lnTo>
                      <a:pt x="923" y="298"/>
                    </a:lnTo>
                    <a:lnTo>
                      <a:pt x="923" y="298"/>
                    </a:lnTo>
                    <a:lnTo>
                      <a:pt x="916" y="298"/>
                    </a:lnTo>
                    <a:lnTo>
                      <a:pt x="916" y="298"/>
                    </a:lnTo>
                    <a:lnTo>
                      <a:pt x="916" y="298"/>
                    </a:lnTo>
                    <a:lnTo>
                      <a:pt x="916" y="298"/>
                    </a:lnTo>
                    <a:lnTo>
                      <a:pt x="916" y="298"/>
                    </a:lnTo>
                    <a:lnTo>
                      <a:pt x="916" y="298"/>
                    </a:lnTo>
                    <a:lnTo>
                      <a:pt x="916" y="298"/>
                    </a:lnTo>
                    <a:lnTo>
                      <a:pt x="923" y="298"/>
                    </a:lnTo>
                    <a:lnTo>
                      <a:pt x="923" y="291"/>
                    </a:lnTo>
                    <a:lnTo>
                      <a:pt x="923" y="291"/>
                    </a:lnTo>
                    <a:lnTo>
                      <a:pt x="916" y="291"/>
                    </a:lnTo>
                    <a:lnTo>
                      <a:pt x="916" y="291"/>
                    </a:lnTo>
                    <a:lnTo>
                      <a:pt x="916" y="291"/>
                    </a:lnTo>
                    <a:lnTo>
                      <a:pt x="916" y="291"/>
                    </a:lnTo>
                    <a:lnTo>
                      <a:pt x="916" y="283"/>
                    </a:lnTo>
                    <a:lnTo>
                      <a:pt x="916" y="283"/>
                    </a:lnTo>
                    <a:lnTo>
                      <a:pt x="916" y="283"/>
                    </a:lnTo>
                    <a:lnTo>
                      <a:pt x="916" y="283"/>
                    </a:lnTo>
                    <a:lnTo>
                      <a:pt x="916" y="283"/>
                    </a:lnTo>
                    <a:lnTo>
                      <a:pt x="923" y="283"/>
                    </a:lnTo>
                    <a:lnTo>
                      <a:pt x="923" y="291"/>
                    </a:lnTo>
                    <a:lnTo>
                      <a:pt x="923" y="291"/>
                    </a:lnTo>
                    <a:lnTo>
                      <a:pt x="923" y="291"/>
                    </a:lnTo>
                    <a:lnTo>
                      <a:pt x="923" y="291"/>
                    </a:lnTo>
                    <a:lnTo>
                      <a:pt x="923" y="291"/>
                    </a:lnTo>
                    <a:lnTo>
                      <a:pt x="923" y="291"/>
                    </a:lnTo>
                    <a:lnTo>
                      <a:pt x="923" y="291"/>
                    </a:lnTo>
                    <a:lnTo>
                      <a:pt x="930" y="291"/>
                    </a:lnTo>
                    <a:lnTo>
                      <a:pt x="930" y="291"/>
                    </a:lnTo>
                    <a:lnTo>
                      <a:pt x="937" y="291"/>
                    </a:lnTo>
                    <a:lnTo>
                      <a:pt x="937" y="291"/>
                    </a:lnTo>
                    <a:lnTo>
                      <a:pt x="937" y="298"/>
                    </a:lnTo>
                    <a:lnTo>
                      <a:pt x="937" y="298"/>
                    </a:lnTo>
                    <a:lnTo>
                      <a:pt x="937" y="298"/>
                    </a:lnTo>
                    <a:lnTo>
                      <a:pt x="937" y="298"/>
                    </a:lnTo>
                    <a:lnTo>
                      <a:pt x="937" y="298"/>
                    </a:lnTo>
                    <a:lnTo>
                      <a:pt x="937" y="298"/>
                    </a:lnTo>
                    <a:lnTo>
                      <a:pt x="937" y="298"/>
                    </a:lnTo>
                    <a:lnTo>
                      <a:pt x="937" y="298"/>
                    </a:lnTo>
                    <a:lnTo>
                      <a:pt x="930" y="298"/>
                    </a:lnTo>
                    <a:lnTo>
                      <a:pt x="930" y="298"/>
                    </a:lnTo>
                    <a:lnTo>
                      <a:pt x="937" y="298"/>
                    </a:lnTo>
                    <a:lnTo>
                      <a:pt x="937" y="298"/>
                    </a:lnTo>
                    <a:lnTo>
                      <a:pt x="937" y="298"/>
                    </a:lnTo>
                    <a:lnTo>
                      <a:pt x="937" y="298"/>
                    </a:lnTo>
                    <a:lnTo>
                      <a:pt x="937" y="305"/>
                    </a:lnTo>
                    <a:lnTo>
                      <a:pt x="937" y="305"/>
                    </a:lnTo>
                    <a:lnTo>
                      <a:pt x="937" y="305"/>
                    </a:lnTo>
                    <a:lnTo>
                      <a:pt x="937" y="305"/>
                    </a:lnTo>
                    <a:lnTo>
                      <a:pt x="937" y="305"/>
                    </a:lnTo>
                    <a:lnTo>
                      <a:pt x="937" y="305"/>
                    </a:lnTo>
                    <a:lnTo>
                      <a:pt x="937" y="305"/>
                    </a:lnTo>
                    <a:lnTo>
                      <a:pt x="937" y="305"/>
                    </a:lnTo>
                    <a:lnTo>
                      <a:pt x="944" y="305"/>
                    </a:lnTo>
                    <a:lnTo>
                      <a:pt x="944" y="305"/>
                    </a:lnTo>
                    <a:lnTo>
                      <a:pt x="944" y="305"/>
                    </a:lnTo>
                    <a:lnTo>
                      <a:pt x="944" y="305"/>
                    </a:lnTo>
                    <a:lnTo>
                      <a:pt x="944" y="312"/>
                    </a:lnTo>
                    <a:lnTo>
                      <a:pt x="944" y="312"/>
                    </a:lnTo>
                    <a:lnTo>
                      <a:pt x="944" y="319"/>
                    </a:lnTo>
                    <a:lnTo>
                      <a:pt x="944" y="319"/>
                    </a:lnTo>
                    <a:lnTo>
                      <a:pt x="951" y="319"/>
                    </a:lnTo>
                    <a:lnTo>
                      <a:pt x="951" y="319"/>
                    </a:lnTo>
                    <a:lnTo>
                      <a:pt x="951" y="319"/>
                    </a:lnTo>
                    <a:lnTo>
                      <a:pt x="951" y="312"/>
                    </a:lnTo>
                    <a:lnTo>
                      <a:pt x="951" y="312"/>
                    </a:lnTo>
                    <a:lnTo>
                      <a:pt x="951" y="312"/>
                    </a:lnTo>
                    <a:lnTo>
                      <a:pt x="958" y="312"/>
                    </a:lnTo>
                    <a:lnTo>
                      <a:pt x="958" y="312"/>
                    </a:lnTo>
                    <a:lnTo>
                      <a:pt x="958" y="312"/>
                    </a:lnTo>
                    <a:lnTo>
                      <a:pt x="958" y="312"/>
                    </a:lnTo>
                    <a:lnTo>
                      <a:pt x="966" y="312"/>
                    </a:lnTo>
                    <a:lnTo>
                      <a:pt x="966" y="312"/>
                    </a:lnTo>
                    <a:lnTo>
                      <a:pt x="966" y="312"/>
                    </a:lnTo>
                    <a:lnTo>
                      <a:pt x="958" y="305"/>
                    </a:lnTo>
                    <a:lnTo>
                      <a:pt x="958" y="305"/>
                    </a:lnTo>
                    <a:lnTo>
                      <a:pt x="958" y="305"/>
                    </a:lnTo>
                    <a:lnTo>
                      <a:pt x="958" y="305"/>
                    </a:lnTo>
                    <a:lnTo>
                      <a:pt x="958" y="305"/>
                    </a:lnTo>
                    <a:lnTo>
                      <a:pt x="958" y="298"/>
                    </a:lnTo>
                    <a:lnTo>
                      <a:pt x="958" y="298"/>
                    </a:lnTo>
                    <a:lnTo>
                      <a:pt x="966" y="298"/>
                    </a:lnTo>
                    <a:lnTo>
                      <a:pt x="966" y="298"/>
                    </a:lnTo>
                    <a:lnTo>
                      <a:pt x="966" y="298"/>
                    </a:lnTo>
                    <a:lnTo>
                      <a:pt x="966" y="298"/>
                    </a:lnTo>
                    <a:lnTo>
                      <a:pt x="966" y="298"/>
                    </a:lnTo>
                    <a:lnTo>
                      <a:pt x="973" y="298"/>
                    </a:lnTo>
                    <a:lnTo>
                      <a:pt x="973" y="291"/>
                    </a:lnTo>
                    <a:lnTo>
                      <a:pt x="973" y="291"/>
                    </a:lnTo>
                    <a:lnTo>
                      <a:pt x="973" y="291"/>
                    </a:lnTo>
                    <a:lnTo>
                      <a:pt x="980" y="283"/>
                    </a:lnTo>
                    <a:lnTo>
                      <a:pt x="980" y="283"/>
                    </a:lnTo>
                    <a:lnTo>
                      <a:pt x="980" y="283"/>
                    </a:lnTo>
                    <a:lnTo>
                      <a:pt x="980" y="283"/>
                    </a:lnTo>
                    <a:lnTo>
                      <a:pt x="987" y="283"/>
                    </a:lnTo>
                    <a:lnTo>
                      <a:pt x="987" y="276"/>
                    </a:lnTo>
                    <a:lnTo>
                      <a:pt x="987" y="276"/>
                    </a:lnTo>
                    <a:lnTo>
                      <a:pt x="987" y="276"/>
                    </a:lnTo>
                    <a:lnTo>
                      <a:pt x="987" y="283"/>
                    </a:lnTo>
                    <a:lnTo>
                      <a:pt x="987" y="283"/>
                    </a:lnTo>
                    <a:lnTo>
                      <a:pt x="987" y="283"/>
                    </a:lnTo>
                    <a:lnTo>
                      <a:pt x="994" y="283"/>
                    </a:lnTo>
                    <a:lnTo>
                      <a:pt x="994" y="283"/>
                    </a:lnTo>
                    <a:lnTo>
                      <a:pt x="1001" y="291"/>
                    </a:lnTo>
                    <a:lnTo>
                      <a:pt x="1001" y="291"/>
                    </a:lnTo>
                    <a:lnTo>
                      <a:pt x="1001" y="291"/>
                    </a:lnTo>
                    <a:lnTo>
                      <a:pt x="1001" y="291"/>
                    </a:lnTo>
                    <a:lnTo>
                      <a:pt x="1001" y="298"/>
                    </a:lnTo>
                    <a:lnTo>
                      <a:pt x="1001" y="305"/>
                    </a:lnTo>
                    <a:lnTo>
                      <a:pt x="994" y="305"/>
                    </a:lnTo>
                    <a:lnTo>
                      <a:pt x="994" y="305"/>
                    </a:lnTo>
                    <a:lnTo>
                      <a:pt x="1001" y="312"/>
                    </a:lnTo>
                    <a:lnTo>
                      <a:pt x="1001" y="312"/>
                    </a:lnTo>
                    <a:lnTo>
                      <a:pt x="1001" y="312"/>
                    </a:lnTo>
                    <a:lnTo>
                      <a:pt x="1001" y="319"/>
                    </a:lnTo>
                    <a:lnTo>
                      <a:pt x="1001" y="319"/>
                    </a:lnTo>
                    <a:lnTo>
                      <a:pt x="1001" y="319"/>
                    </a:lnTo>
                    <a:lnTo>
                      <a:pt x="1001" y="319"/>
                    </a:lnTo>
                    <a:lnTo>
                      <a:pt x="1001" y="319"/>
                    </a:lnTo>
                    <a:lnTo>
                      <a:pt x="1001" y="326"/>
                    </a:lnTo>
                    <a:lnTo>
                      <a:pt x="1001" y="326"/>
                    </a:lnTo>
                    <a:lnTo>
                      <a:pt x="1001" y="326"/>
                    </a:lnTo>
                    <a:lnTo>
                      <a:pt x="1001" y="326"/>
                    </a:lnTo>
                    <a:lnTo>
                      <a:pt x="1001" y="333"/>
                    </a:lnTo>
                    <a:lnTo>
                      <a:pt x="1001" y="333"/>
                    </a:lnTo>
                    <a:lnTo>
                      <a:pt x="1001" y="333"/>
                    </a:lnTo>
                    <a:lnTo>
                      <a:pt x="1001" y="333"/>
                    </a:lnTo>
                    <a:lnTo>
                      <a:pt x="1001" y="340"/>
                    </a:lnTo>
                    <a:lnTo>
                      <a:pt x="994" y="340"/>
                    </a:lnTo>
                    <a:lnTo>
                      <a:pt x="994" y="347"/>
                    </a:lnTo>
                    <a:lnTo>
                      <a:pt x="994" y="354"/>
                    </a:lnTo>
                    <a:lnTo>
                      <a:pt x="994" y="354"/>
                    </a:lnTo>
                    <a:lnTo>
                      <a:pt x="994" y="354"/>
                    </a:lnTo>
                    <a:lnTo>
                      <a:pt x="994" y="354"/>
                    </a:lnTo>
                    <a:lnTo>
                      <a:pt x="1001" y="354"/>
                    </a:lnTo>
                    <a:lnTo>
                      <a:pt x="1001" y="354"/>
                    </a:lnTo>
                    <a:lnTo>
                      <a:pt x="1001" y="354"/>
                    </a:lnTo>
                    <a:lnTo>
                      <a:pt x="994" y="354"/>
                    </a:lnTo>
                    <a:lnTo>
                      <a:pt x="994" y="354"/>
                    </a:lnTo>
                    <a:lnTo>
                      <a:pt x="994" y="354"/>
                    </a:lnTo>
                    <a:lnTo>
                      <a:pt x="994" y="362"/>
                    </a:lnTo>
                    <a:lnTo>
                      <a:pt x="994" y="362"/>
                    </a:lnTo>
                    <a:lnTo>
                      <a:pt x="994" y="362"/>
                    </a:lnTo>
                    <a:lnTo>
                      <a:pt x="994" y="362"/>
                    </a:lnTo>
                    <a:lnTo>
                      <a:pt x="1001" y="362"/>
                    </a:lnTo>
                    <a:lnTo>
                      <a:pt x="1008" y="362"/>
                    </a:lnTo>
                    <a:lnTo>
                      <a:pt x="1008" y="354"/>
                    </a:lnTo>
                    <a:lnTo>
                      <a:pt x="1008" y="354"/>
                    </a:lnTo>
                    <a:lnTo>
                      <a:pt x="1008" y="354"/>
                    </a:lnTo>
                    <a:lnTo>
                      <a:pt x="1008" y="347"/>
                    </a:lnTo>
                    <a:lnTo>
                      <a:pt x="1015" y="347"/>
                    </a:lnTo>
                    <a:lnTo>
                      <a:pt x="1022" y="347"/>
                    </a:lnTo>
                    <a:lnTo>
                      <a:pt x="1015" y="347"/>
                    </a:lnTo>
                    <a:lnTo>
                      <a:pt x="1015" y="347"/>
                    </a:lnTo>
                    <a:lnTo>
                      <a:pt x="1015" y="347"/>
                    </a:lnTo>
                    <a:lnTo>
                      <a:pt x="1015" y="347"/>
                    </a:lnTo>
                    <a:lnTo>
                      <a:pt x="1015" y="340"/>
                    </a:lnTo>
                    <a:lnTo>
                      <a:pt x="1015" y="340"/>
                    </a:lnTo>
                    <a:lnTo>
                      <a:pt x="1015" y="340"/>
                    </a:lnTo>
                    <a:lnTo>
                      <a:pt x="1015" y="340"/>
                    </a:lnTo>
                    <a:lnTo>
                      <a:pt x="1022" y="340"/>
                    </a:lnTo>
                    <a:lnTo>
                      <a:pt x="1022" y="340"/>
                    </a:lnTo>
                    <a:lnTo>
                      <a:pt x="1029" y="340"/>
                    </a:lnTo>
                    <a:lnTo>
                      <a:pt x="1029" y="340"/>
                    </a:lnTo>
                    <a:lnTo>
                      <a:pt x="1029" y="340"/>
                    </a:lnTo>
                    <a:lnTo>
                      <a:pt x="1029" y="340"/>
                    </a:lnTo>
                    <a:lnTo>
                      <a:pt x="1029" y="340"/>
                    </a:lnTo>
                    <a:lnTo>
                      <a:pt x="1029" y="340"/>
                    </a:lnTo>
                    <a:lnTo>
                      <a:pt x="1029" y="340"/>
                    </a:lnTo>
                    <a:lnTo>
                      <a:pt x="1037" y="340"/>
                    </a:lnTo>
                    <a:lnTo>
                      <a:pt x="1037" y="340"/>
                    </a:lnTo>
                    <a:lnTo>
                      <a:pt x="1037" y="340"/>
                    </a:lnTo>
                    <a:lnTo>
                      <a:pt x="1037" y="340"/>
                    </a:lnTo>
                    <a:lnTo>
                      <a:pt x="1037" y="340"/>
                    </a:lnTo>
                    <a:lnTo>
                      <a:pt x="1037" y="340"/>
                    </a:lnTo>
                    <a:lnTo>
                      <a:pt x="1037" y="340"/>
                    </a:lnTo>
                    <a:lnTo>
                      <a:pt x="1037" y="340"/>
                    </a:lnTo>
                    <a:lnTo>
                      <a:pt x="1037" y="340"/>
                    </a:lnTo>
                    <a:lnTo>
                      <a:pt x="1044" y="340"/>
                    </a:lnTo>
                    <a:lnTo>
                      <a:pt x="1044" y="340"/>
                    </a:lnTo>
                    <a:lnTo>
                      <a:pt x="1044" y="340"/>
                    </a:lnTo>
                    <a:lnTo>
                      <a:pt x="1051" y="347"/>
                    </a:lnTo>
                    <a:lnTo>
                      <a:pt x="1051" y="347"/>
                    </a:lnTo>
                    <a:lnTo>
                      <a:pt x="1051" y="354"/>
                    </a:lnTo>
                    <a:lnTo>
                      <a:pt x="1051" y="354"/>
                    </a:lnTo>
                    <a:lnTo>
                      <a:pt x="1051" y="354"/>
                    </a:lnTo>
                    <a:lnTo>
                      <a:pt x="1051" y="354"/>
                    </a:lnTo>
                    <a:lnTo>
                      <a:pt x="1051" y="354"/>
                    </a:lnTo>
                    <a:lnTo>
                      <a:pt x="1051" y="354"/>
                    </a:lnTo>
                    <a:lnTo>
                      <a:pt x="1051" y="354"/>
                    </a:lnTo>
                    <a:lnTo>
                      <a:pt x="1051" y="354"/>
                    </a:lnTo>
                    <a:lnTo>
                      <a:pt x="1051" y="362"/>
                    </a:lnTo>
                    <a:lnTo>
                      <a:pt x="1051" y="362"/>
                    </a:lnTo>
                    <a:lnTo>
                      <a:pt x="1051" y="362"/>
                    </a:lnTo>
                    <a:lnTo>
                      <a:pt x="1051" y="362"/>
                    </a:lnTo>
                    <a:lnTo>
                      <a:pt x="1051" y="362"/>
                    </a:lnTo>
                    <a:lnTo>
                      <a:pt x="1051" y="369"/>
                    </a:lnTo>
                    <a:lnTo>
                      <a:pt x="1051" y="369"/>
                    </a:lnTo>
                    <a:lnTo>
                      <a:pt x="1051" y="369"/>
                    </a:lnTo>
                    <a:lnTo>
                      <a:pt x="1051" y="369"/>
                    </a:lnTo>
                    <a:lnTo>
                      <a:pt x="1051" y="369"/>
                    </a:lnTo>
                    <a:lnTo>
                      <a:pt x="1058" y="369"/>
                    </a:lnTo>
                    <a:lnTo>
                      <a:pt x="1058" y="369"/>
                    </a:lnTo>
                    <a:lnTo>
                      <a:pt x="1058" y="369"/>
                    </a:lnTo>
                    <a:lnTo>
                      <a:pt x="1051" y="376"/>
                    </a:lnTo>
                    <a:lnTo>
                      <a:pt x="1051" y="376"/>
                    </a:lnTo>
                    <a:lnTo>
                      <a:pt x="1058" y="376"/>
                    </a:lnTo>
                    <a:lnTo>
                      <a:pt x="1058" y="376"/>
                    </a:lnTo>
                    <a:lnTo>
                      <a:pt x="1058" y="383"/>
                    </a:lnTo>
                    <a:lnTo>
                      <a:pt x="1065" y="390"/>
                    </a:lnTo>
                    <a:lnTo>
                      <a:pt x="1065" y="390"/>
                    </a:lnTo>
                    <a:lnTo>
                      <a:pt x="1065" y="397"/>
                    </a:lnTo>
                    <a:lnTo>
                      <a:pt x="1065" y="397"/>
                    </a:lnTo>
                    <a:lnTo>
                      <a:pt x="1072" y="397"/>
                    </a:lnTo>
                    <a:lnTo>
                      <a:pt x="1072" y="397"/>
                    </a:lnTo>
                    <a:lnTo>
                      <a:pt x="1072" y="404"/>
                    </a:lnTo>
                    <a:lnTo>
                      <a:pt x="1072" y="404"/>
                    </a:lnTo>
                    <a:lnTo>
                      <a:pt x="1072" y="404"/>
                    </a:lnTo>
                    <a:lnTo>
                      <a:pt x="1072" y="404"/>
                    </a:lnTo>
                    <a:lnTo>
                      <a:pt x="1079" y="404"/>
                    </a:lnTo>
                    <a:lnTo>
                      <a:pt x="1086" y="404"/>
                    </a:lnTo>
                    <a:lnTo>
                      <a:pt x="1086" y="411"/>
                    </a:lnTo>
                    <a:lnTo>
                      <a:pt x="1086" y="411"/>
                    </a:lnTo>
                    <a:lnTo>
                      <a:pt x="1086" y="411"/>
                    </a:lnTo>
                    <a:lnTo>
                      <a:pt x="1093" y="411"/>
                    </a:lnTo>
                    <a:lnTo>
                      <a:pt x="1093" y="411"/>
                    </a:lnTo>
                    <a:lnTo>
                      <a:pt x="1093" y="411"/>
                    </a:lnTo>
                    <a:lnTo>
                      <a:pt x="1093" y="411"/>
                    </a:lnTo>
                    <a:lnTo>
                      <a:pt x="1093" y="411"/>
                    </a:lnTo>
                    <a:lnTo>
                      <a:pt x="1093" y="418"/>
                    </a:lnTo>
                    <a:lnTo>
                      <a:pt x="1093" y="418"/>
                    </a:lnTo>
                    <a:lnTo>
                      <a:pt x="1093" y="418"/>
                    </a:lnTo>
                    <a:lnTo>
                      <a:pt x="1093" y="418"/>
                    </a:lnTo>
                    <a:lnTo>
                      <a:pt x="1093" y="425"/>
                    </a:lnTo>
                    <a:lnTo>
                      <a:pt x="1093" y="425"/>
                    </a:lnTo>
                    <a:lnTo>
                      <a:pt x="1093" y="425"/>
                    </a:lnTo>
                    <a:lnTo>
                      <a:pt x="1100" y="425"/>
                    </a:lnTo>
                    <a:lnTo>
                      <a:pt x="1100" y="425"/>
                    </a:lnTo>
                    <a:lnTo>
                      <a:pt x="1093" y="433"/>
                    </a:lnTo>
                    <a:lnTo>
                      <a:pt x="1093" y="433"/>
                    </a:lnTo>
                    <a:lnTo>
                      <a:pt x="1093" y="433"/>
                    </a:lnTo>
                    <a:lnTo>
                      <a:pt x="1093" y="433"/>
                    </a:lnTo>
                    <a:lnTo>
                      <a:pt x="1093" y="433"/>
                    </a:lnTo>
                    <a:lnTo>
                      <a:pt x="1086" y="440"/>
                    </a:lnTo>
                    <a:lnTo>
                      <a:pt x="1086" y="440"/>
                    </a:lnTo>
                    <a:lnTo>
                      <a:pt x="1079" y="440"/>
                    </a:lnTo>
                    <a:lnTo>
                      <a:pt x="1079" y="440"/>
                    </a:lnTo>
                    <a:lnTo>
                      <a:pt x="1079" y="440"/>
                    </a:lnTo>
                    <a:lnTo>
                      <a:pt x="1079" y="440"/>
                    </a:lnTo>
                    <a:lnTo>
                      <a:pt x="1079" y="447"/>
                    </a:lnTo>
                    <a:lnTo>
                      <a:pt x="1079" y="447"/>
                    </a:lnTo>
                    <a:lnTo>
                      <a:pt x="1079" y="447"/>
                    </a:lnTo>
                    <a:lnTo>
                      <a:pt x="1079" y="447"/>
                    </a:lnTo>
                    <a:lnTo>
                      <a:pt x="1079" y="447"/>
                    </a:lnTo>
                    <a:lnTo>
                      <a:pt x="1079" y="447"/>
                    </a:lnTo>
                    <a:lnTo>
                      <a:pt x="1079" y="447"/>
                    </a:lnTo>
                    <a:lnTo>
                      <a:pt x="1079" y="447"/>
                    </a:lnTo>
                    <a:lnTo>
                      <a:pt x="1079" y="447"/>
                    </a:lnTo>
                    <a:lnTo>
                      <a:pt x="1079" y="447"/>
                    </a:lnTo>
                    <a:lnTo>
                      <a:pt x="1086" y="447"/>
                    </a:lnTo>
                    <a:lnTo>
                      <a:pt x="1086" y="447"/>
                    </a:lnTo>
                    <a:lnTo>
                      <a:pt x="1086" y="454"/>
                    </a:lnTo>
                    <a:lnTo>
                      <a:pt x="1093" y="454"/>
                    </a:lnTo>
                    <a:lnTo>
                      <a:pt x="1093" y="454"/>
                    </a:lnTo>
                    <a:lnTo>
                      <a:pt x="1093" y="454"/>
                    </a:lnTo>
                    <a:lnTo>
                      <a:pt x="1093" y="454"/>
                    </a:lnTo>
                    <a:lnTo>
                      <a:pt x="1093" y="447"/>
                    </a:lnTo>
                    <a:lnTo>
                      <a:pt x="1093" y="447"/>
                    </a:lnTo>
                    <a:lnTo>
                      <a:pt x="1093" y="447"/>
                    </a:lnTo>
                    <a:lnTo>
                      <a:pt x="1093" y="447"/>
                    </a:lnTo>
                    <a:lnTo>
                      <a:pt x="1100" y="447"/>
                    </a:lnTo>
                    <a:lnTo>
                      <a:pt x="1100" y="447"/>
                    </a:lnTo>
                    <a:lnTo>
                      <a:pt x="1100" y="454"/>
                    </a:lnTo>
                    <a:lnTo>
                      <a:pt x="1100" y="454"/>
                    </a:lnTo>
                    <a:lnTo>
                      <a:pt x="1100" y="454"/>
                    </a:lnTo>
                    <a:lnTo>
                      <a:pt x="1100" y="454"/>
                    </a:lnTo>
                    <a:lnTo>
                      <a:pt x="1100" y="454"/>
                    </a:lnTo>
                    <a:lnTo>
                      <a:pt x="1100" y="454"/>
                    </a:lnTo>
                    <a:lnTo>
                      <a:pt x="1108" y="454"/>
                    </a:lnTo>
                    <a:lnTo>
                      <a:pt x="1108" y="454"/>
                    </a:lnTo>
                    <a:lnTo>
                      <a:pt x="1108" y="454"/>
                    </a:lnTo>
                    <a:lnTo>
                      <a:pt x="1108" y="454"/>
                    </a:lnTo>
                    <a:lnTo>
                      <a:pt x="1108" y="454"/>
                    </a:lnTo>
                    <a:lnTo>
                      <a:pt x="1108" y="454"/>
                    </a:lnTo>
                    <a:lnTo>
                      <a:pt x="1108" y="461"/>
                    </a:lnTo>
                    <a:lnTo>
                      <a:pt x="1100" y="461"/>
                    </a:lnTo>
                    <a:lnTo>
                      <a:pt x="1093" y="461"/>
                    </a:lnTo>
                    <a:lnTo>
                      <a:pt x="1072" y="468"/>
                    </a:lnTo>
                    <a:lnTo>
                      <a:pt x="1065" y="475"/>
                    </a:lnTo>
                    <a:lnTo>
                      <a:pt x="1065" y="475"/>
                    </a:lnTo>
                    <a:lnTo>
                      <a:pt x="1065" y="475"/>
                    </a:lnTo>
                    <a:lnTo>
                      <a:pt x="1065" y="475"/>
                    </a:lnTo>
                    <a:lnTo>
                      <a:pt x="1065" y="475"/>
                    </a:lnTo>
                    <a:lnTo>
                      <a:pt x="1065" y="482"/>
                    </a:lnTo>
                    <a:lnTo>
                      <a:pt x="1065" y="482"/>
                    </a:lnTo>
                    <a:lnTo>
                      <a:pt x="1065" y="489"/>
                    </a:lnTo>
                    <a:lnTo>
                      <a:pt x="1065" y="489"/>
                    </a:lnTo>
                    <a:lnTo>
                      <a:pt x="1065" y="489"/>
                    </a:lnTo>
                    <a:lnTo>
                      <a:pt x="1065" y="489"/>
                    </a:lnTo>
                    <a:lnTo>
                      <a:pt x="1072" y="489"/>
                    </a:lnTo>
                    <a:lnTo>
                      <a:pt x="1072" y="482"/>
                    </a:lnTo>
                    <a:lnTo>
                      <a:pt x="1072" y="482"/>
                    </a:lnTo>
                    <a:lnTo>
                      <a:pt x="1072" y="482"/>
                    </a:lnTo>
                    <a:lnTo>
                      <a:pt x="1072" y="482"/>
                    </a:lnTo>
                    <a:lnTo>
                      <a:pt x="1072" y="482"/>
                    </a:lnTo>
                    <a:lnTo>
                      <a:pt x="1079" y="482"/>
                    </a:lnTo>
                    <a:lnTo>
                      <a:pt x="1079" y="482"/>
                    </a:lnTo>
                    <a:lnTo>
                      <a:pt x="1079" y="482"/>
                    </a:lnTo>
                    <a:lnTo>
                      <a:pt x="1093" y="475"/>
                    </a:lnTo>
                    <a:lnTo>
                      <a:pt x="1100" y="468"/>
                    </a:lnTo>
                    <a:lnTo>
                      <a:pt x="1100" y="468"/>
                    </a:lnTo>
                    <a:lnTo>
                      <a:pt x="1108" y="468"/>
                    </a:lnTo>
                    <a:lnTo>
                      <a:pt x="1108" y="468"/>
                    </a:lnTo>
                    <a:lnTo>
                      <a:pt x="1108" y="468"/>
                    </a:lnTo>
                    <a:lnTo>
                      <a:pt x="1115" y="468"/>
                    </a:lnTo>
                    <a:lnTo>
                      <a:pt x="1122" y="468"/>
                    </a:lnTo>
                    <a:lnTo>
                      <a:pt x="1122" y="468"/>
                    </a:lnTo>
                    <a:lnTo>
                      <a:pt x="1122" y="468"/>
                    </a:lnTo>
                    <a:lnTo>
                      <a:pt x="1122" y="468"/>
                    </a:lnTo>
                    <a:lnTo>
                      <a:pt x="1122" y="468"/>
                    </a:lnTo>
                    <a:lnTo>
                      <a:pt x="1122" y="468"/>
                    </a:lnTo>
                    <a:lnTo>
                      <a:pt x="1129" y="468"/>
                    </a:lnTo>
                    <a:lnTo>
                      <a:pt x="1129" y="468"/>
                    </a:lnTo>
                    <a:lnTo>
                      <a:pt x="1129" y="468"/>
                    </a:lnTo>
                    <a:lnTo>
                      <a:pt x="1129" y="468"/>
                    </a:lnTo>
                    <a:lnTo>
                      <a:pt x="1136" y="468"/>
                    </a:lnTo>
                    <a:lnTo>
                      <a:pt x="1143" y="468"/>
                    </a:lnTo>
                    <a:lnTo>
                      <a:pt x="1143" y="468"/>
                    </a:lnTo>
                    <a:lnTo>
                      <a:pt x="1143" y="468"/>
                    </a:lnTo>
                    <a:lnTo>
                      <a:pt x="1143" y="468"/>
                    </a:lnTo>
                    <a:lnTo>
                      <a:pt x="1143" y="475"/>
                    </a:lnTo>
                    <a:lnTo>
                      <a:pt x="1143" y="475"/>
                    </a:lnTo>
                    <a:lnTo>
                      <a:pt x="1143" y="475"/>
                    </a:lnTo>
                    <a:lnTo>
                      <a:pt x="1150" y="475"/>
                    </a:lnTo>
                    <a:lnTo>
                      <a:pt x="1150" y="475"/>
                    </a:lnTo>
                    <a:lnTo>
                      <a:pt x="1150" y="475"/>
                    </a:lnTo>
                    <a:lnTo>
                      <a:pt x="1150" y="468"/>
                    </a:lnTo>
                    <a:lnTo>
                      <a:pt x="1150" y="468"/>
                    </a:lnTo>
                    <a:lnTo>
                      <a:pt x="1150" y="468"/>
                    </a:lnTo>
                    <a:lnTo>
                      <a:pt x="1150" y="468"/>
                    </a:lnTo>
                    <a:lnTo>
                      <a:pt x="1150" y="468"/>
                    </a:lnTo>
                    <a:lnTo>
                      <a:pt x="1150" y="468"/>
                    </a:lnTo>
                    <a:lnTo>
                      <a:pt x="1150" y="468"/>
                    </a:lnTo>
                    <a:lnTo>
                      <a:pt x="1157" y="468"/>
                    </a:lnTo>
                    <a:lnTo>
                      <a:pt x="1157" y="468"/>
                    </a:lnTo>
                    <a:lnTo>
                      <a:pt x="1157" y="468"/>
                    </a:lnTo>
                    <a:lnTo>
                      <a:pt x="1157" y="468"/>
                    </a:lnTo>
                    <a:lnTo>
                      <a:pt x="1157" y="461"/>
                    </a:lnTo>
                    <a:lnTo>
                      <a:pt x="1157" y="461"/>
                    </a:lnTo>
                    <a:lnTo>
                      <a:pt x="1164" y="461"/>
                    </a:lnTo>
                    <a:lnTo>
                      <a:pt x="1164" y="461"/>
                    </a:lnTo>
                    <a:lnTo>
                      <a:pt x="1164" y="461"/>
                    </a:lnTo>
                    <a:lnTo>
                      <a:pt x="1171" y="461"/>
                    </a:lnTo>
                    <a:lnTo>
                      <a:pt x="1171" y="461"/>
                    </a:lnTo>
                    <a:lnTo>
                      <a:pt x="1171" y="461"/>
                    </a:lnTo>
                    <a:lnTo>
                      <a:pt x="1171" y="461"/>
                    </a:lnTo>
                    <a:lnTo>
                      <a:pt x="1179" y="468"/>
                    </a:lnTo>
                    <a:lnTo>
                      <a:pt x="1179" y="468"/>
                    </a:lnTo>
                    <a:lnTo>
                      <a:pt x="1179" y="468"/>
                    </a:lnTo>
                    <a:lnTo>
                      <a:pt x="1179" y="468"/>
                    </a:lnTo>
                    <a:lnTo>
                      <a:pt x="1179" y="468"/>
                    </a:lnTo>
                    <a:lnTo>
                      <a:pt x="1179" y="468"/>
                    </a:lnTo>
                    <a:lnTo>
                      <a:pt x="1171" y="475"/>
                    </a:lnTo>
                    <a:lnTo>
                      <a:pt x="1171" y="475"/>
                    </a:lnTo>
                    <a:lnTo>
                      <a:pt x="1171" y="475"/>
                    </a:lnTo>
                    <a:lnTo>
                      <a:pt x="1171" y="475"/>
                    </a:lnTo>
                    <a:lnTo>
                      <a:pt x="1171" y="475"/>
                    </a:lnTo>
                    <a:lnTo>
                      <a:pt x="1171" y="475"/>
                    </a:lnTo>
                    <a:lnTo>
                      <a:pt x="1171" y="475"/>
                    </a:lnTo>
                    <a:lnTo>
                      <a:pt x="1171" y="475"/>
                    </a:lnTo>
                    <a:lnTo>
                      <a:pt x="1171" y="475"/>
                    </a:lnTo>
                    <a:lnTo>
                      <a:pt x="1171" y="475"/>
                    </a:lnTo>
                    <a:lnTo>
                      <a:pt x="1171" y="482"/>
                    </a:lnTo>
                    <a:lnTo>
                      <a:pt x="1171" y="482"/>
                    </a:lnTo>
                    <a:lnTo>
                      <a:pt x="1171" y="482"/>
                    </a:lnTo>
                    <a:lnTo>
                      <a:pt x="1164" y="482"/>
                    </a:lnTo>
                    <a:lnTo>
                      <a:pt x="1164" y="482"/>
                    </a:lnTo>
                    <a:lnTo>
                      <a:pt x="1164" y="489"/>
                    </a:lnTo>
                    <a:lnTo>
                      <a:pt x="1164" y="482"/>
                    </a:lnTo>
                    <a:lnTo>
                      <a:pt x="1157" y="482"/>
                    </a:lnTo>
                    <a:lnTo>
                      <a:pt x="1157" y="489"/>
                    </a:lnTo>
                    <a:lnTo>
                      <a:pt x="1157" y="489"/>
                    </a:lnTo>
                    <a:lnTo>
                      <a:pt x="1157" y="489"/>
                    </a:lnTo>
                    <a:lnTo>
                      <a:pt x="1157" y="489"/>
                    </a:lnTo>
                    <a:lnTo>
                      <a:pt x="1157" y="489"/>
                    </a:lnTo>
                    <a:lnTo>
                      <a:pt x="1157" y="496"/>
                    </a:lnTo>
                    <a:lnTo>
                      <a:pt x="1157" y="496"/>
                    </a:lnTo>
                    <a:lnTo>
                      <a:pt x="1157" y="496"/>
                    </a:lnTo>
                    <a:lnTo>
                      <a:pt x="1157" y="504"/>
                    </a:lnTo>
                    <a:lnTo>
                      <a:pt x="1157" y="504"/>
                    </a:lnTo>
                    <a:lnTo>
                      <a:pt x="1150" y="504"/>
                    </a:lnTo>
                    <a:lnTo>
                      <a:pt x="1150" y="504"/>
                    </a:lnTo>
                    <a:lnTo>
                      <a:pt x="1150" y="504"/>
                    </a:lnTo>
                    <a:lnTo>
                      <a:pt x="1150" y="504"/>
                    </a:lnTo>
                    <a:lnTo>
                      <a:pt x="1150" y="504"/>
                    </a:lnTo>
                    <a:lnTo>
                      <a:pt x="1150" y="496"/>
                    </a:lnTo>
                    <a:lnTo>
                      <a:pt x="1143" y="496"/>
                    </a:lnTo>
                    <a:lnTo>
                      <a:pt x="1143" y="504"/>
                    </a:lnTo>
                    <a:lnTo>
                      <a:pt x="1136" y="504"/>
                    </a:lnTo>
                    <a:lnTo>
                      <a:pt x="1136" y="504"/>
                    </a:lnTo>
                    <a:lnTo>
                      <a:pt x="1136" y="504"/>
                    </a:lnTo>
                    <a:lnTo>
                      <a:pt x="1136" y="504"/>
                    </a:lnTo>
                    <a:lnTo>
                      <a:pt x="1129" y="504"/>
                    </a:lnTo>
                    <a:lnTo>
                      <a:pt x="1129" y="504"/>
                    </a:lnTo>
                    <a:lnTo>
                      <a:pt x="1129" y="511"/>
                    </a:lnTo>
                    <a:lnTo>
                      <a:pt x="1129" y="511"/>
                    </a:lnTo>
                    <a:lnTo>
                      <a:pt x="1129" y="511"/>
                    </a:lnTo>
                    <a:lnTo>
                      <a:pt x="1122" y="511"/>
                    </a:lnTo>
                    <a:lnTo>
                      <a:pt x="1122" y="518"/>
                    </a:lnTo>
                    <a:lnTo>
                      <a:pt x="1122" y="518"/>
                    </a:lnTo>
                    <a:lnTo>
                      <a:pt x="1115" y="518"/>
                    </a:lnTo>
                    <a:lnTo>
                      <a:pt x="1115" y="525"/>
                    </a:lnTo>
                    <a:lnTo>
                      <a:pt x="1108" y="525"/>
                    </a:lnTo>
                    <a:lnTo>
                      <a:pt x="1108" y="525"/>
                    </a:lnTo>
                    <a:lnTo>
                      <a:pt x="1108" y="525"/>
                    </a:lnTo>
                    <a:lnTo>
                      <a:pt x="1100" y="525"/>
                    </a:lnTo>
                    <a:lnTo>
                      <a:pt x="1100" y="532"/>
                    </a:lnTo>
                    <a:lnTo>
                      <a:pt x="1093" y="532"/>
                    </a:lnTo>
                    <a:lnTo>
                      <a:pt x="1093" y="532"/>
                    </a:lnTo>
                    <a:lnTo>
                      <a:pt x="1086" y="539"/>
                    </a:lnTo>
                    <a:lnTo>
                      <a:pt x="1079" y="539"/>
                    </a:lnTo>
                    <a:lnTo>
                      <a:pt x="1079" y="539"/>
                    </a:lnTo>
                    <a:lnTo>
                      <a:pt x="1079" y="539"/>
                    </a:lnTo>
                    <a:lnTo>
                      <a:pt x="1072" y="539"/>
                    </a:lnTo>
                    <a:lnTo>
                      <a:pt x="1072" y="539"/>
                    </a:lnTo>
                    <a:lnTo>
                      <a:pt x="1072" y="546"/>
                    </a:lnTo>
                    <a:lnTo>
                      <a:pt x="1072" y="546"/>
                    </a:lnTo>
                    <a:lnTo>
                      <a:pt x="1072" y="546"/>
                    </a:lnTo>
                    <a:lnTo>
                      <a:pt x="1065" y="546"/>
                    </a:lnTo>
                    <a:lnTo>
                      <a:pt x="1065" y="546"/>
                    </a:lnTo>
                    <a:lnTo>
                      <a:pt x="1065" y="546"/>
                    </a:lnTo>
                    <a:lnTo>
                      <a:pt x="1065" y="546"/>
                    </a:lnTo>
                    <a:lnTo>
                      <a:pt x="1058" y="546"/>
                    </a:lnTo>
                    <a:lnTo>
                      <a:pt x="1058" y="546"/>
                    </a:lnTo>
                    <a:lnTo>
                      <a:pt x="1058" y="546"/>
                    </a:lnTo>
                    <a:lnTo>
                      <a:pt x="1051" y="553"/>
                    </a:lnTo>
                    <a:lnTo>
                      <a:pt x="1051" y="553"/>
                    </a:lnTo>
                    <a:lnTo>
                      <a:pt x="1051" y="553"/>
                    </a:lnTo>
                    <a:lnTo>
                      <a:pt x="1051" y="560"/>
                    </a:lnTo>
                    <a:lnTo>
                      <a:pt x="1051" y="560"/>
                    </a:lnTo>
                    <a:lnTo>
                      <a:pt x="1051" y="560"/>
                    </a:lnTo>
                    <a:lnTo>
                      <a:pt x="1044" y="560"/>
                    </a:lnTo>
                    <a:lnTo>
                      <a:pt x="1044" y="560"/>
                    </a:lnTo>
                    <a:lnTo>
                      <a:pt x="1044" y="567"/>
                    </a:lnTo>
                    <a:lnTo>
                      <a:pt x="1037" y="567"/>
                    </a:lnTo>
                    <a:lnTo>
                      <a:pt x="1029" y="567"/>
                    </a:lnTo>
                    <a:lnTo>
                      <a:pt x="1029" y="567"/>
                    </a:lnTo>
                    <a:lnTo>
                      <a:pt x="1022" y="567"/>
                    </a:lnTo>
                    <a:lnTo>
                      <a:pt x="1022" y="567"/>
                    </a:lnTo>
                    <a:lnTo>
                      <a:pt x="1022" y="574"/>
                    </a:lnTo>
                    <a:lnTo>
                      <a:pt x="1022" y="574"/>
                    </a:lnTo>
                    <a:lnTo>
                      <a:pt x="1022" y="574"/>
                    </a:lnTo>
                    <a:lnTo>
                      <a:pt x="1022" y="574"/>
                    </a:lnTo>
                    <a:lnTo>
                      <a:pt x="1022" y="574"/>
                    </a:lnTo>
                    <a:lnTo>
                      <a:pt x="1022" y="574"/>
                    </a:lnTo>
                    <a:lnTo>
                      <a:pt x="1015" y="574"/>
                    </a:lnTo>
                    <a:lnTo>
                      <a:pt x="1015" y="574"/>
                    </a:lnTo>
                    <a:lnTo>
                      <a:pt x="1015" y="582"/>
                    </a:lnTo>
                    <a:lnTo>
                      <a:pt x="1015" y="582"/>
                    </a:lnTo>
                    <a:lnTo>
                      <a:pt x="1008" y="582"/>
                    </a:lnTo>
                    <a:lnTo>
                      <a:pt x="1008" y="582"/>
                    </a:lnTo>
                    <a:lnTo>
                      <a:pt x="1008" y="582"/>
                    </a:lnTo>
                    <a:lnTo>
                      <a:pt x="1008" y="589"/>
                    </a:lnTo>
                    <a:lnTo>
                      <a:pt x="1001" y="589"/>
                    </a:lnTo>
                    <a:lnTo>
                      <a:pt x="1001" y="589"/>
                    </a:lnTo>
                    <a:lnTo>
                      <a:pt x="1001" y="589"/>
                    </a:lnTo>
                    <a:lnTo>
                      <a:pt x="1001" y="589"/>
                    </a:lnTo>
                    <a:lnTo>
                      <a:pt x="1001" y="589"/>
                    </a:lnTo>
                    <a:lnTo>
                      <a:pt x="994" y="589"/>
                    </a:lnTo>
                    <a:lnTo>
                      <a:pt x="994" y="596"/>
                    </a:lnTo>
                    <a:lnTo>
                      <a:pt x="987" y="596"/>
                    </a:lnTo>
                    <a:lnTo>
                      <a:pt x="987" y="603"/>
                    </a:lnTo>
                    <a:lnTo>
                      <a:pt x="987" y="603"/>
                    </a:lnTo>
                    <a:lnTo>
                      <a:pt x="987" y="603"/>
                    </a:lnTo>
                    <a:lnTo>
                      <a:pt x="987" y="603"/>
                    </a:lnTo>
                    <a:lnTo>
                      <a:pt x="987" y="603"/>
                    </a:lnTo>
                    <a:lnTo>
                      <a:pt x="987" y="610"/>
                    </a:lnTo>
                    <a:lnTo>
                      <a:pt x="980" y="610"/>
                    </a:lnTo>
                    <a:lnTo>
                      <a:pt x="980" y="610"/>
                    </a:lnTo>
                    <a:lnTo>
                      <a:pt x="980" y="610"/>
                    </a:lnTo>
                    <a:lnTo>
                      <a:pt x="980" y="610"/>
                    </a:lnTo>
                    <a:lnTo>
                      <a:pt x="973" y="610"/>
                    </a:lnTo>
                    <a:lnTo>
                      <a:pt x="973" y="610"/>
                    </a:lnTo>
                    <a:lnTo>
                      <a:pt x="973" y="610"/>
                    </a:lnTo>
                    <a:lnTo>
                      <a:pt x="966" y="610"/>
                    </a:lnTo>
                    <a:lnTo>
                      <a:pt x="966" y="610"/>
                    </a:lnTo>
                    <a:lnTo>
                      <a:pt x="966" y="610"/>
                    </a:lnTo>
                    <a:lnTo>
                      <a:pt x="966" y="617"/>
                    </a:lnTo>
                    <a:lnTo>
                      <a:pt x="958" y="617"/>
                    </a:lnTo>
                    <a:lnTo>
                      <a:pt x="958" y="617"/>
                    </a:lnTo>
                    <a:lnTo>
                      <a:pt x="958" y="617"/>
                    </a:lnTo>
                    <a:lnTo>
                      <a:pt x="958" y="617"/>
                    </a:lnTo>
                    <a:lnTo>
                      <a:pt x="951" y="624"/>
                    </a:lnTo>
                    <a:lnTo>
                      <a:pt x="951" y="624"/>
                    </a:lnTo>
                    <a:lnTo>
                      <a:pt x="951" y="624"/>
                    </a:lnTo>
                    <a:lnTo>
                      <a:pt x="951" y="631"/>
                    </a:lnTo>
                    <a:lnTo>
                      <a:pt x="951" y="631"/>
                    </a:lnTo>
                    <a:lnTo>
                      <a:pt x="944" y="631"/>
                    </a:lnTo>
                    <a:lnTo>
                      <a:pt x="951" y="638"/>
                    </a:lnTo>
                    <a:lnTo>
                      <a:pt x="944" y="638"/>
                    </a:lnTo>
                    <a:lnTo>
                      <a:pt x="944" y="638"/>
                    </a:lnTo>
                    <a:lnTo>
                      <a:pt x="944" y="638"/>
                    </a:lnTo>
                    <a:lnTo>
                      <a:pt x="944" y="638"/>
                    </a:lnTo>
                    <a:lnTo>
                      <a:pt x="944" y="638"/>
                    </a:lnTo>
                    <a:lnTo>
                      <a:pt x="944" y="645"/>
                    </a:lnTo>
                    <a:lnTo>
                      <a:pt x="944" y="645"/>
                    </a:lnTo>
                    <a:lnTo>
                      <a:pt x="944" y="645"/>
                    </a:lnTo>
                    <a:lnTo>
                      <a:pt x="951" y="667"/>
                    </a:lnTo>
                    <a:lnTo>
                      <a:pt x="951" y="674"/>
                    </a:lnTo>
                    <a:lnTo>
                      <a:pt x="951" y="681"/>
                    </a:lnTo>
                    <a:lnTo>
                      <a:pt x="951" y="681"/>
                    </a:lnTo>
                    <a:lnTo>
                      <a:pt x="951" y="681"/>
                    </a:lnTo>
                    <a:lnTo>
                      <a:pt x="958" y="681"/>
                    </a:lnTo>
                    <a:lnTo>
                      <a:pt x="958" y="681"/>
                    </a:lnTo>
                    <a:lnTo>
                      <a:pt x="958" y="681"/>
                    </a:lnTo>
                    <a:lnTo>
                      <a:pt x="958" y="681"/>
                    </a:lnTo>
                    <a:lnTo>
                      <a:pt x="958" y="681"/>
                    </a:lnTo>
                    <a:lnTo>
                      <a:pt x="966" y="688"/>
                    </a:lnTo>
                    <a:lnTo>
                      <a:pt x="966" y="688"/>
                    </a:lnTo>
                    <a:lnTo>
                      <a:pt x="966" y="688"/>
                    </a:lnTo>
                    <a:lnTo>
                      <a:pt x="966" y="688"/>
                    </a:lnTo>
                    <a:lnTo>
                      <a:pt x="973" y="688"/>
                    </a:lnTo>
                    <a:lnTo>
                      <a:pt x="973" y="688"/>
                    </a:lnTo>
                    <a:lnTo>
                      <a:pt x="973" y="695"/>
                    </a:lnTo>
                    <a:lnTo>
                      <a:pt x="973" y="695"/>
                    </a:lnTo>
                    <a:lnTo>
                      <a:pt x="980" y="695"/>
                    </a:lnTo>
                    <a:lnTo>
                      <a:pt x="980" y="695"/>
                    </a:lnTo>
                    <a:lnTo>
                      <a:pt x="987" y="695"/>
                    </a:lnTo>
                    <a:lnTo>
                      <a:pt x="987" y="695"/>
                    </a:lnTo>
                    <a:lnTo>
                      <a:pt x="987" y="695"/>
                    </a:lnTo>
                    <a:lnTo>
                      <a:pt x="987" y="695"/>
                    </a:lnTo>
                    <a:lnTo>
                      <a:pt x="994" y="695"/>
                    </a:lnTo>
                    <a:lnTo>
                      <a:pt x="994" y="695"/>
                    </a:lnTo>
                    <a:lnTo>
                      <a:pt x="1001" y="695"/>
                    </a:lnTo>
                    <a:lnTo>
                      <a:pt x="1001" y="702"/>
                    </a:lnTo>
                    <a:lnTo>
                      <a:pt x="1001" y="702"/>
                    </a:lnTo>
                    <a:lnTo>
                      <a:pt x="1008" y="702"/>
                    </a:lnTo>
                    <a:lnTo>
                      <a:pt x="1008" y="702"/>
                    </a:lnTo>
                    <a:lnTo>
                      <a:pt x="1015" y="702"/>
                    </a:lnTo>
                    <a:lnTo>
                      <a:pt x="1015" y="695"/>
                    </a:lnTo>
                    <a:lnTo>
                      <a:pt x="1022" y="695"/>
                    </a:lnTo>
                    <a:lnTo>
                      <a:pt x="1022" y="695"/>
                    </a:lnTo>
                    <a:lnTo>
                      <a:pt x="1029" y="695"/>
                    </a:lnTo>
                    <a:lnTo>
                      <a:pt x="1029" y="695"/>
                    </a:lnTo>
                    <a:lnTo>
                      <a:pt x="1029" y="695"/>
                    </a:lnTo>
                    <a:lnTo>
                      <a:pt x="1037" y="695"/>
                    </a:lnTo>
                    <a:lnTo>
                      <a:pt x="1037" y="695"/>
                    </a:lnTo>
                    <a:lnTo>
                      <a:pt x="1037" y="695"/>
                    </a:lnTo>
                    <a:lnTo>
                      <a:pt x="1044" y="695"/>
                    </a:lnTo>
                    <a:lnTo>
                      <a:pt x="1044" y="695"/>
                    </a:lnTo>
                    <a:lnTo>
                      <a:pt x="1044" y="695"/>
                    </a:lnTo>
                    <a:lnTo>
                      <a:pt x="1044" y="688"/>
                    </a:lnTo>
                    <a:lnTo>
                      <a:pt x="1044" y="688"/>
                    </a:lnTo>
                    <a:lnTo>
                      <a:pt x="1044" y="688"/>
                    </a:lnTo>
                    <a:lnTo>
                      <a:pt x="1044" y="681"/>
                    </a:lnTo>
                    <a:lnTo>
                      <a:pt x="1051" y="681"/>
                    </a:lnTo>
                    <a:lnTo>
                      <a:pt x="1051" y="681"/>
                    </a:lnTo>
                    <a:lnTo>
                      <a:pt x="1058" y="681"/>
                    </a:lnTo>
                    <a:lnTo>
                      <a:pt x="1058" y="681"/>
                    </a:lnTo>
                    <a:lnTo>
                      <a:pt x="1058" y="681"/>
                    </a:lnTo>
                    <a:lnTo>
                      <a:pt x="1058" y="681"/>
                    </a:lnTo>
                    <a:lnTo>
                      <a:pt x="1058" y="681"/>
                    </a:lnTo>
                    <a:lnTo>
                      <a:pt x="1058" y="681"/>
                    </a:lnTo>
                    <a:lnTo>
                      <a:pt x="1065" y="681"/>
                    </a:lnTo>
                    <a:lnTo>
                      <a:pt x="1065" y="688"/>
                    </a:lnTo>
                    <a:lnTo>
                      <a:pt x="1065" y="688"/>
                    </a:lnTo>
                    <a:lnTo>
                      <a:pt x="1065" y="688"/>
                    </a:lnTo>
                    <a:lnTo>
                      <a:pt x="1065" y="688"/>
                    </a:lnTo>
                    <a:lnTo>
                      <a:pt x="1065" y="688"/>
                    </a:lnTo>
                    <a:lnTo>
                      <a:pt x="1058" y="688"/>
                    </a:lnTo>
                    <a:lnTo>
                      <a:pt x="1058" y="688"/>
                    </a:lnTo>
                    <a:lnTo>
                      <a:pt x="1058" y="695"/>
                    </a:lnTo>
                    <a:lnTo>
                      <a:pt x="1058" y="695"/>
                    </a:lnTo>
                    <a:lnTo>
                      <a:pt x="1065" y="695"/>
                    </a:lnTo>
                    <a:lnTo>
                      <a:pt x="1065" y="695"/>
                    </a:lnTo>
                    <a:lnTo>
                      <a:pt x="1065" y="695"/>
                    </a:lnTo>
                    <a:lnTo>
                      <a:pt x="1065" y="702"/>
                    </a:lnTo>
                    <a:lnTo>
                      <a:pt x="1065" y="702"/>
                    </a:lnTo>
                    <a:lnTo>
                      <a:pt x="1065" y="702"/>
                    </a:lnTo>
                    <a:lnTo>
                      <a:pt x="1065" y="702"/>
                    </a:lnTo>
                    <a:lnTo>
                      <a:pt x="1065" y="702"/>
                    </a:lnTo>
                    <a:lnTo>
                      <a:pt x="1065" y="702"/>
                    </a:lnTo>
                    <a:lnTo>
                      <a:pt x="1065" y="709"/>
                    </a:lnTo>
                    <a:lnTo>
                      <a:pt x="1065" y="709"/>
                    </a:lnTo>
                    <a:lnTo>
                      <a:pt x="1065" y="709"/>
                    </a:lnTo>
                    <a:lnTo>
                      <a:pt x="1065" y="709"/>
                    </a:lnTo>
                    <a:lnTo>
                      <a:pt x="1065" y="716"/>
                    </a:lnTo>
                    <a:lnTo>
                      <a:pt x="1072" y="716"/>
                    </a:lnTo>
                    <a:lnTo>
                      <a:pt x="1072" y="716"/>
                    </a:lnTo>
                    <a:lnTo>
                      <a:pt x="1065" y="716"/>
                    </a:lnTo>
                    <a:lnTo>
                      <a:pt x="1065" y="716"/>
                    </a:lnTo>
                    <a:lnTo>
                      <a:pt x="1065" y="716"/>
                    </a:lnTo>
                    <a:lnTo>
                      <a:pt x="1065" y="724"/>
                    </a:lnTo>
                    <a:lnTo>
                      <a:pt x="1065" y="724"/>
                    </a:lnTo>
                    <a:lnTo>
                      <a:pt x="1065" y="724"/>
                    </a:lnTo>
                    <a:lnTo>
                      <a:pt x="1065" y="724"/>
                    </a:lnTo>
                    <a:lnTo>
                      <a:pt x="1065" y="724"/>
                    </a:lnTo>
                    <a:lnTo>
                      <a:pt x="1065" y="724"/>
                    </a:lnTo>
                    <a:lnTo>
                      <a:pt x="1065" y="724"/>
                    </a:lnTo>
                    <a:lnTo>
                      <a:pt x="1065" y="731"/>
                    </a:lnTo>
                    <a:lnTo>
                      <a:pt x="1058" y="731"/>
                    </a:lnTo>
                    <a:lnTo>
                      <a:pt x="1058" y="731"/>
                    </a:lnTo>
                    <a:lnTo>
                      <a:pt x="1058" y="731"/>
                    </a:lnTo>
                    <a:lnTo>
                      <a:pt x="1058" y="731"/>
                    </a:lnTo>
                    <a:lnTo>
                      <a:pt x="1051" y="731"/>
                    </a:lnTo>
                    <a:lnTo>
                      <a:pt x="1051" y="724"/>
                    </a:lnTo>
                    <a:lnTo>
                      <a:pt x="1051" y="724"/>
                    </a:lnTo>
                    <a:lnTo>
                      <a:pt x="1044" y="731"/>
                    </a:lnTo>
                    <a:lnTo>
                      <a:pt x="1044" y="731"/>
                    </a:lnTo>
                    <a:lnTo>
                      <a:pt x="1044" y="724"/>
                    </a:lnTo>
                    <a:lnTo>
                      <a:pt x="1044" y="731"/>
                    </a:lnTo>
                    <a:lnTo>
                      <a:pt x="1029" y="731"/>
                    </a:lnTo>
                    <a:lnTo>
                      <a:pt x="1022" y="731"/>
                    </a:lnTo>
                    <a:lnTo>
                      <a:pt x="1015" y="731"/>
                    </a:lnTo>
                    <a:lnTo>
                      <a:pt x="1015" y="731"/>
                    </a:lnTo>
                    <a:lnTo>
                      <a:pt x="1015" y="731"/>
                    </a:lnTo>
                    <a:lnTo>
                      <a:pt x="1001" y="738"/>
                    </a:lnTo>
                    <a:lnTo>
                      <a:pt x="1001" y="738"/>
                    </a:lnTo>
                    <a:lnTo>
                      <a:pt x="994" y="738"/>
                    </a:lnTo>
                    <a:lnTo>
                      <a:pt x="994" y="738"/>
                    </a:lnTo>
                    <a:lnTo>
                      <a:pt x="994" y="745"/>
                    </a:lnTo>
                    <a:lnTo>
                      <a:pt x="994" y="745"/>
                    </a:lnTo>
                    <a:lnTo>
                      <a:pt x="994" y="745"/>
                    </a:lnTo>
                    <a:lnTo>
                      <a:pt x="994" y="745"/>
                    </a:lnTo>
                    <a:lnTo>
                      <a:pt x="994" y="745"/>
                    </a:lnTo>
                    <a:lnTo>
                      <a:pt x="994" y="745"/>
                    </a:lnTo>
                    <a:lnTo>
                      <a:pt x="994" y="752"/>
                    </a:lnTo>
                    <a:lnTo>
                      <a:pt x="1001" y="752"/>
                    </a:lnTo>
                    <a:lnTo>
                      <a:pt x="1001" y="759"/>
                    </a:lnTo>
                    <a:lnTo>
                      <a:pt x="1001" y="759"/>
                    </a:lnTo>
                    <a:lnTo>
                      <a:pt x="1001" y="759"/>
                    </a:lnTo>
                    <a:lnTo>
                      <a:pt x="1001" y="766"/>
                    </a:lnTo>
                    <a:lnTo>
                      <a:pt x="994" y="766"/>
                    </a:lnTo>
                    <a:lnTo>
                      <a:pt x="994" y="766"/>
                    </a:lnTo>
                    <a:lnTo>
                      <a:pt x="994" y="766"/>
                    </a:lnTo>
                    <a:lnTo>
                      <a:pt x="994" y="766"/>
                    </a:lnTo>
                    <a:lnTo>
                      <a:pt x="987" y="766"/>
                    </a:lnTo>
                    <a:lnTo>
                      <a:pt x="987" y="766"/>
                    </a:lnTo>
                    <a:lnTo>
                      <a:pt x="987" y="766"/>
                    </a:lnTo>
                    <a:lnTo>
                      <a:pt x="987" y="766"/>
                    </a:lnTo>
                    <a:lnTo>
                      <a:pt x="987" y="766"/>
                    </a:lnTo>
                    <a:lnTo>
                      <a:pt x="987" y="773"/>
                    </a:lnTo>
                    <a:lnTo>
                      <a:pt x="987" y="773"/>
                    </a:lnTo>
                    <a:lnTo>
                      <a:pt x="994" y="780"/>
                    </a:lnTo>
                    <a:lnTo>
                      <a:pt x="1001" y="780"/>
                    </a:lnTo>
                    <a:lnTo>
                      <a:pt x="1008" y="780"/>
                    </a:lnTo>
                    <a:lnTo>
                      <a:pt x="1008" y="780"/>
                    </a:lnTo>
                    <a:lnTo>
                      <a:pt x="1008" y="780"/>
                    </a:lnTo>
                    <a:lnTo>
                      <a:pt x="1008" y="780"/>
                    </a:lnTo>
                    <a:lnTo>
                      <a:pt x="1008" y="780"/>
                    </a:lnTo>
                    <a:lnTo>
                      <a:pt x="1008" y="787"/>
                    </a:lnTo>
                    <a:lnTo>
                      <a:pt x="1015" y="787"/>
                    </a:lnTo>
                    <a:lnTo>
                      <a:pt x="1022" y="795"/>
                    </a:lnTo>
                    <a:lnTo>
                      <a:pt x="1022" y="795"/>
                    </a:lnTo>
                    <a:lnTo>
                      <a:pt x="1022" y="795"/>
                    </a:lnTo>
                    <a:lnTo>
                      <a:pt x="1022" y="802"/>
                    </a:lnTo>
                    <a:lnTo>
                      <a:pt x="1022" y="809"/>
                    </a:lnTo>
                    <a:lnTo>
                      <a:pt x="1022" y="809"/>
                    </a:lnTo>
                    <a:lnTo>
                      <a:pt x="1022" y="809"/>
                    </a:lnTo>
                    <a:lnTo>
                      <a:pt x="1022" y="809"/>
                    </a:lnTo>
                    <a:lnTo>
                      <a:pt x="1022" y="816"/>
                    </a:lnTo>
                    <a:lnTo>
                      <a:pt x="1008" y="816"/>
                    </a:lnTo>
                    <a:lnTo>
                      <a:pt x="1008" y="816"/>
                    </a:lnTo>
                    <a:lnTo>
                      <a:pt x="1008" y="816"/>
                    </a:lnTo>
                    <a:lnTo>
                      <a:pt x="1001" y="816"/>
                    </a:lnTo>
                    <a:lnTo>
                      <a:pt x="1001" y="816"/>
                    </a:lnTo>
                    <a:lnTo>
                      <a:pt x="1001" y="816"/>
                    </a:lnTo>
                    <a:lnTo>
                      <a:pt x="1001" y="816"/>
                    </a:lnTo>
                    <a:lnTo>
                      <a:pt x="1001" y="816"/>
                    </a:lnTo>
                    <a:lnTo>
                      <a:pt x="1001" y="816"/>
                    </a:lnTo>
                    <a:lnTo>
                      <a:pt x="1001" y="816"/>
                    </a:lnTo>
                    <a:lnTo>
                      <a:pt x="1001" y="816"/>
                    </a:lnTo>
                    <a:lnTo>
                      <a:pt x="1001" y="809"/>
                    </a:lnTo>
                    <a:lnTo>
                      <a:pt x="1001" y="809"/>
                    </a:lnTo>
                    <a:lnTo>
                      <a:pt x="1001" y="809"/>
                    </a:lnTo>
                    <a:lnTo>
                      <a:pt x="1001" y="809"/>
                    </a:lnTo>
                    <a:lnTo>
                      <a:pt x="1001" y="809"/>
                    </a:lnTo>
                    <a:lnTo>
                      <a:pt x="994" y="809"/>
                    </a:lnTo>
                    <a:lnTo>
                      <a:pt x="994" y="809"/>
                    </a:lnTo>
                    <a:lnTo>
                      <a:pt x="994" y="809"/>
                    </a:lnTo>
                    <a:lnTo>
                      <a:pt x="994" y="809"/>
                    </a:lnTo>
                    <a:lnTo>
                      <a:pt x="994" y="809"/>
                    </a:lnTo>
                    <a:lnTo>
                      <a:pt x="994" y="809"/>
                    </a:lnTo>
                    <a:lnTo>
                      <a:pt x="987" y="809"/>
                    </a:lnTo>
                    <a:lnTo>
                      <a:pt x="987" y="809"/>
                    </a:lnTo>
                    <a:lnTo>
                      <a:pt x="987" y="809"/>
                    </a:lnTo>
                    <a:lnTo>
                      <a:pt x="994" y="816"/>
                    </a:lnTo>
                    <a:lnTo>
                      <a:pt x="994" y="816"/>
                    </a:lnTo>
                    <a:lnTo>
                      <a:pt x="994" y="816"/>
                    </a:lnTo>
                    <a:lnTo>
                      <a:pt x="994" y="816"/>
                    </a:lnTo>
                    <a:lnTo>
                      <a:pt x="987" y="823"/>
                    </a:lnTo>
                    <a:lnTo>
                      <a:pt x="987" y="823"/>
                    </a:lnTo>
                    <a:lnTo>
                      <a:pt x="987" y="823"/>
                    </a:lnTo>
                    <a:lnTo>
                      <a:pt x="987" y="823"/>
                    </a:lnTo>
                    <a:lnTo>
                      <a:pt x="994" y="830"/>
                    </a:lnTo>
                    <a:lnTo>
                      <a:pt x="994" y="837"/>
                    </a:lnTo>
                    <a:lnTo>
                      <a:pt x="994" y="844"/>
                    </a:lnTo>
                    <a:lnTo>
                      <a:pt x="994" y="844"/>
                    </a:lnTo>
                    <a:lnTo>
                      <a:pt x="1001" y="851"/>
                    </a:lnTo>
                    <a:lnTo>
                      <a:pt x="1001" y="858"/>
                    </a:lnTo>
                    <a:lnTo>
                      <a:pt x="1001" y="858"/>
                    </a:lnTo>
                    <a:lnTo>
                      <a:pt x="1001" y="858"/>
                    </a:lnTo>
                    <a:lnTo>
                      <a:pt x="1001" y="858"/>
                    </a:lnTo>
                    <a:lnTo>
                      <a:pt x="1001" y="858"/>
                    </a:lnTo>
                    <a:lnTo>
                      <a:pt x="1001" y="866"/>
                    </a:lnTo>
                    <a:lnTo>
                      <a:pt x="1001" y="866"/>
                    </a:lnTo>
                    <a:lnTo>
                      <a:pt x="1001" y="866"/>
                    </a:lnTo>
                    <a:lnTo>
                      <a:pt x="994" y="866"/>
                    </a:lnTo>
                    <a:lnTo>
                      <a:pt x="994" y="866"/>
                    </a:lnTo>
                    <a:lnTo>
                      <a:pt x="994" y="866"/>
                    </a:lnTo>
                    <a:lnTo>
                      <a:pt x="994" y="866"/>
                    </a:lnTo>
                    <a:lnTo>
                      <a:pt x="994" y="866"/>
                    </a:lnTo>
                    <a:lnTo>
                      <a:pt x="987" y="866"/>
                    </a:lnTo>
                    <a:lnTo>
                      <a:pt x="987" y="866"/>
                    </a:lnTo>
                    <a:lnTo>
                      <a:pt x="980" y="866"/>
                    </a:lnTo>
                    <a:lnTo>
                      <a:pt x="980" y="866"/>
                    </a:lnTo>
                    <a:lnTo>
                      <a:pt x="973" y="858"/>
                    </a:lnTo>
                    <a:lnTo>
                      <a:pt x="973" y="858"/>
                    </a:lnTo>
                    <a:lnTo>
                      <a:pt x="973" y="858"/>
                    </a:lnTo>
                    <a:lnTo>
                      <a:pt x="973" y="858"/>
                    </a:lnTo>
                    <a:lnTo>
                      <a:pt x="973" y="851"/>
                    </a:lnTo>
                    <a:lnTo>
                      <a:pt x="973" y="851"/>
                    </a:lnTo>
                    <a:lnTo>
                      <a:pt x="973" y="851"/>
                    </a:lnTo>
                    <a:lnTo>
                      <a:pt x="973" y="851"/>
                    </a:lnTo>
                    <a:lnTo>
                      <a:pt x="973" y="844"/>
                    </a:lnTo>
                    <a:lnTo>
                      <a:pt x="973" y="844"/>
                    </a:lnTo>
                    <a:lnTo>
                      <a:pt x="966" y="844"/>
                    </a:lnTo>
                    <a:lnTo>
                      <a:pt x="966" y="851"/>
                    </a:lnTo>
                    <a:lnTo>
                      <a:pt x="958" y="851"/>
                    </a:lnTo>
                    <a:lnTo>
                      <a:pt x="958" y="851"/>
                    </a:lnTo>
                    <a:lnTo>
                      <a:pt x="958" y="851"/>
                    </a:lnTo>
                    <a:lnTo>
                      <a:pt x="958" y="851"/>
                    </a:lnTo>
                    <a:lnTo>
                      <a:pt x="958" y="858"/>
                    </a:lnTo>
                    <a:lnTo>
                      <a:pt x="958" y="858"/>
                    </a:lnTo>
                    <a:lnTo>
                      <a:pt x="951" y="858"/>
                    </a:lnTo>
                    <a:lnTo>
                      <a:pt x="951" y="858"/>
                    </a:lnTo>
                    <a:lnTo>
                      <a:pt x="951" y="858"/>
                    </a:lnTo>
                    <a:lnTo>
                      <a:pt x="951" y="858"/>
                    </a:lnTo>
                    <a:lnTo>
                      <a:pt x="944" y="858"/>
                    </a:lnTo>
                    <a:lnTo>
                      <a:pt x="944" y="858"/>
                    </a:lnTo>
                    <a:lnTo>
                      <a:pt x="944" y="858"/>
                    </a:lnTo>
                    <a:lnTo>
                      <a:pt x="944" y="858"/>
                    </a:lnTo>
                    <a:lnTo>
                      <a:pt x="944" y="851"/>
                    </a:lnTo>
                    <a:lnTo>
                      <a:pt x="944" y="851"/>
                    </a:lnTo>
                    <a:lnTo>
                      <a:pt x="937" y="851"/>
                    </a:lnTo>
                    <a:lnTo>
                      <a:pt x="930" y="851"/>
                    </a:lnTo>
                    <a:lnTo>
                      <a:pt x="930" y="851"/>
                    </a:lnTo>
                    <a:lnTo>
                      <a:pt x="923" y="851"/>
                    </a:lnTo>
                    <a:lnTo>
                      <a:pt x="916" y="851"/>
                    </a:lnTo>
                    <a:lnTo>
                      <a:pt x="916" y="851"/>
                    </a:lnTo>
                    <a:lnTo>
                      <a:pt x="909" y="851"/>
                    </a:lnTo>
                    <a:lnTo>
                      <a:pt x="909" y="851"/>
                    </a:lnTo>
                    <a:lnTo>
                      <a:pt x="909" y="851"/>
                    </a:lnTo>
                    <a:lnTo>
                      <a:pt x="909" y="851"/>
                    </a:lnTo>
                    <a:lnTo>
                      <a:pt x="909" y="844"/>
                    </a:lnTo>
                    <a:lnTo>
                      <a:pt x="909" y="844"/>
                    </a:lnTo>
                    <a:lnTo>
                      <a:pt x="909" y="844"/>
                    </a:lnTo>
                    <a:lnTo>
                      <a:pt x="909" y="844"/>
                    </a:lnTo>
                    <a:lnTo>
                      <a:pt x="909" y="844"/>
                    </a:lnTo>
                    <a:lnTo>
                      <a:pt x="909" y="837"/>
                    </a:lnTo>
                    <a:lnTo>
                      <a:pt x="902" y="837"/>
                    </a:lnTo>
                    <a:lnTo>
                      <a:pt x="902" y="844"/>
                    </a:lnTo>
                    <a:lnTo>
                      <a:pt x="902" y="844"/>
                    </a:lnTo>
                    <a:lnTo>
                      <a:pt x="902" y="844"/>
                    </a:lnTo>
                    <a:lnTo>
                      <a:pt x="895" y="844"/>
                    </a:lnTo>
                    <a:lnTo>
                      <a:pt x="895" y="844"/>
                    </a:lnTo>
                    <a:lnTo>
                      <a:pt x="895" y="844"/>
                    </a:lnTo>
                    <a:lnTo>
                      <a:pt x="895" y="851"/>
                    </a:lnTo>
                    <a:lnTo>
                      <a:pt x="895" y="851"/>
                    </a:lnTo>
                    <a:lnTo>
                      <a:pt x="895" y="858"/>
                    </a:lnTo>
                    <a:lnTo>
                      <a:pt x="895" y="858"/>
                    </a:lnTo>
                    <a:lnTo>
                      <a:pt x="895" y="866"/>
                    </a:lnTo>
                    <a:lnTo>
                      <a:pt x="895" y="866"/>
                    </a:lnTo>
                    <a:lnTo>
                      <a:pt x="895" y="866"/>
                    </a:lnTo>
                    <a:lnTo>
                      <a:pt x="895" y="873"/>
                    </a:lnTo>
                    <a:lnTo>
                      <a:pt x="895" y="873"/>
                    </a:lnTo>
                    <a:lnTo>
                      <a:pt x="895" y="880"/>
                    </a:lnTo>
                    <a:lnTo>
                      <a:pt x="880" y="887"/>
                    </a:lnTo>
                    <a:lnTo>
                      <a:pt x="880" y="887"/>
                    </a:lnTo>
                    <a:lnTo>
                      <a:pt x="880" y="887"/>
                    </a:lnTo>
                    <a:lnTo>
                      <a:pt x="880" y="887"/>
                    </a:lnTo>
                    <a:lnTo>
                      <a:pt x="880" y="894"/>
                    </a:lnTo>
                    <a:lnTo>
                      <a:pt x="880" y="894"/>
                    </a:lnTo>
                    <a:lnTo>
                      <a:pt x="880" y="894"/>
                    </a:lnTo>
                    <a:lnTo>
                      <a:pt x="880" y="894"/>
                    </a:lnTo>
                    <a:lnTo>
                      <a:pt x="880" y="894"/>
                    </a:lnTo>
                    <a:lnTo>
                      <a:pt x="880" y="894"/>
                    </a:lnTo>
                    <a:lnTo>
                      <a:pt x="880" y="894"/>
                    </a:lnTo>
                    <a:lnTo>
                      <a:pt x="873" y="901"/>
                    </a:lnTo>
                    <a:lnTo>
                      <a:pt x="866" y="901"/>
                    </a:lnTo>
                    <a:lnTo>
                      <a:pt x="859" y="908"/>
                    </a:lnTo>
                    <a:lnTo>
                      <a:pt x="852" y="908"/>
                    </a:lnTo>
                    <a:lnTo>
                      <a:pt x="852" y="908"/>
                    </a:lnTo>
                    <a:lnTo>
                      <a:pt x="852" y="908"/>
                    </a:lnTo>
                    <a:lnTo>
                      <a:pt x="845" y="908"/>
                    </a:lnTo>
                    <a:lnTo>
                      <a:pt x="845" y="908"/>
                    </a:lnTo>
                    <a:lnTo>
                      <a:pt x="845" y="908"/>
                    </a:lnTo>
                    <a:lnTo>
                      <a:pt x="845" y="901"/>
                    </a:lnTo>
                    <a:lnTo>
                      <a:pt x="845" y="901"/>
                    </a:lnTo>
                    <a:lnTo>
                      <a:pt x="845" y="908"/>
                    </a:lnTo>
                    <a:lnTo>
                      <a:pt x="845" y="908"/>
                    </a:lnTo>
                    <a:lnTo>
                      <a:pt x="845" y="908"/>
                    </a:lnTo>
                    <a:lnTo>
                      <a:pt x="845" y="908"/>
                    </a:lnTo>
                    <a:lnTo>
                      <a:pt x="845" y="908"/>
                    </a:lnTo>
                    <a:lnTo>
                      <a:pt x="845" y="915"/>
                    </a:lnTo>
                    <a:lnTo>
                      <a:pt x="838" y="915"/>
                    </a:lnTo>
                    <a:lnTo>
                      <a:pt x="838" y="915"/>
                    </a:lnTo>
                    <a:lnTo>
                      <a:pt x="838" y="922"/>
                    </a:lnTo>
                    <a:lnTo>
                      <a:pt x="838" y="922"/>
                    </a:lnTo>
                    <a:lnTo>
                      <a:pt x="838" y="922"/>
                    </a:lnTo>
                    <a:lnTo>
                      <a:pt x="838" y="922"/>
                    </a:lnTo>
                    <a:lnTo>
                      <a:pt x="838" y="922"/>
                    </a:lnTo>
                    <a:lnTo>
                      <a:pt x="831" y="922"/>
                    </a:lnTo>
                    <a:lnTo>
                      <a:pt x="831" y="922"/>
                    </a:lnTo>
                    <a:lnTo>
                      <a:pt x="831" y="922"/>
                    </a:lnTo>
                    <a:lnTo>
                      <a:pt x="824" y="922"/>
                    </a:lnTo>
                    <a:lnTo>
                      <a:pt x="824" y="915"/>
                    </a:lnTo>
                    <a:lnTo>
                      <a:pt x="824" y="915"/>
                    </a:lnTo>
                    <a:lnTo>
                      <a:pt x="824" y="908"/>
                    </a:lnTo>
                    <a:lnTo>
                      <a:pt x="824" y="908"/>
                    </a:lnTo>
                    <a:lnTo>
                      <a:pt x="816" y="908"/>
                    </a:lnTo>
                    <a:lnTo>
                      <a:pt x="809" y="901"/>
                    </a:lnTo>
                    <a:lnTo>
                      <a:pt x="809" y="901"/>
                    </a:lnTo>
                    <a:lnTo>
                      <a:pt x="809" y="901"/>
                    </a:lnTo>
                    <a:lnTo>
                      <a:pt x="809" y="894"/>
                    </a:lnTo>
                    <a:lnTo>
                      <a:pt x="809" y="894"/>
                    </a:lnTo>
                    <a:lnTo>
                      <a:pt x="809" y="887"/>
                    </a:lnTo>
                    <a:lnTo>
                      <a:pt x="809" y="887"/>
                    </a:lnTo>
                    <a:lnTo>
                      <a:pt x="816" y="887"/>
                    </a:lnTo>
                    <a:lnTo>
                      <a:pt x="816" y="887"/>
                    </a:lnTo>
                    <a:lnTo>
                      <a:pt x="816" y="887"/>
                    </a:lnTo>
                    <a:lnTo>
                      <a:pt x="816" y="887"/>
                    </a:lnTo>
                    <a:lnTo>
                      <a:pt x="824" y="887"/>
                    </a:lnTo>
                    <a:lnTo>
                      <a:pt x="824" y="887"/>
                    </a:lnTo>
                    <a:lnTo>
                      <a:pt x="824" y="887"/>
                    </a:lnTo>
                    <a:lnTo>
                      <a:pt x="824" y="894"/>
                    </a:lnTo>
                    <a:lnTo>
                      <a:pt x="824" y="894"/>
                    </a:lnTo>
                    <a:lnTo>
                      <a:pt x="831" y="894"/>
                    </a:lnTo>
                    <a:lnTo>
                      <a:pt x="831" y="894"/>
                    </a:lnTo>
                    <a:lnTo>
                      <a:pt x="831" y="894"/>
                    </a:lnTo>
                    <a:lnTo>
                      <a:pt x="838" y="887"/>
                    </a:lnTo>
                    <a:lnTo>
                      <a:pt x="838" y="887"/>
                    </a:lnTo>
                    <a:lnTo>
                      <a:pt x="838" y="887"/>
                    </a:lnTo>
                    <a:lnTo>
                      <a:pt x="838" y="894"/>
                    </a:lnTo>
                    <a:lnTo>
                      <a:pt x="845" y="894"/>
                    </a:lnTo>
                    <a:lnTo>
                      <a:pt x="845" y="894"/>
                    </a:lnTo>
                    <a:lnTo>
                      <a:pt x="845" y="894"/>
                    </a:lnTo>
                    <a:lnTo>
                      <a:pt x="845" y="894"/>
                    </a:lnTo>
                    <a:lnTo>
                      <a:pt x="845" y="887"/>
                    </a:lnTo>
                    <a:lnTo>
                      <a:pt x="845" y="887"/>
                    </a:lnTo>
                    <a:lnTo>
                      <a:pt x="845" y="887"/>
                    </a:lnTo>
                    <a:lnTo>
                      <a:pt x="852" y="880"/>
                    </a:lnTo>
                    <a:lnTo>
                      <a:pt x="852" y="880"/>
                    </a:lnTo>
                    <a:lnTo>
                      <a:pt x="852" y="880"/>
                    </a:lnTo>
                    <a:lnTo>
                      <a:pt x="852" y="873"/>
                    </a:lnTo>
                    <a:lnTo>
                      <a:pt x="845" y="873"/>
                    </a:lnTo>
                    <a:lnTo>
                      <a:pt x="845" y="873"/>
                    </a:lnTo>
                    <a:lnTo>
                      <a:pt x="845" y="866"/>
                    </a:lnTo>
                    <a:lnTo>
                      <a:pt x="845" y="866"/>
                    </a:lnTo>
                    <a:lnTo>
                      <a:pt x="845" y="858"/>
                    </a:lnTo>
                    <a:lnTo>
                      <a:pt x="852" y="858"/>
                    </a:lnTo>
                    <a:lnTo>
                      <a:pt x="852" y="851"/>
                    </a:lnTo>
                    <a:lnTo>
                      <a:pt x="852" y="851"/>
                    </a:lnTo>
                    <a:lnTo>
                      <a:pt x="852" y="844"/>
                    </a:lnTo>
                    <a:lnTo>
                      <a:pt x="852" y="844"/>
                    </a:lnTo>
                    <a:lnTo>
                      <a:pt x="852" y="844"/>
                    </a:lnTo>
                    <a:lnTo>
                      <a:pt x="852" y="844"/>
                    </a:lnTo>
                    <a:lnTo>
                      <a:pt x="845" y="844"/>
                    </a:lnTo>
                    <a:lnTo>
                      <a:pt x="845" y="844"/>
                    </a:lnTo>
                    <a:lnTo>
                      <a:pt x="845" y="844"/>
                    </a:lnTo>
                    <a:lnTo>
                      <a:pt x="845" y="837"/>
                    </a:lnTo>
                    <a:lnTo>
                      <a:pt x="845" y="837"/>
                    </a:lnTo>
                    <a:lnTo>
                      <a:pt x="845" y="830"/>
                    </a:lnTo>
                    <a:lnTo>
                      <a:pt x="845" y="830"/>
                    </a:lnTo>
                    <a:lnTo>
                      <a:pt x="845" y="830"/>
                    </a:lnTo>
                    <a:lnTo>
                      <a:pt x="845" y="823"/>
                    </a:lnTo>
                    <a:lnTo>
                      <a:pt x="845" y="823"/>
                    </a:lnTo>
                    <a:lnTo>
                      <a:pt x="845" y="823"/>
                    </a:lnTo>
                    <a:lnTo>
                      <a:pt x="852" y="823"/>
                    </a:lnTo>
                    <a:lnTo>
                      <a:pt x="852" y="823"/>
                    </a:lnTo>
                    <a:lnTo>
                      <a:pt x="852" y="823"/>
                    </a:lnTo>
                    <a:lnTo>
                      <a:pt x="859" y="823"/>
                    </a:lnTo>
                    <a:lnTo>
                      <a:pt x="859" y="823"/>
                    </a:lnTo>
                    <a:lnTo>
                      <a:pt x="859" y="823"/>
                    </a:lnTo>
                    <a:lnTo>
                      <a:pt x="859" y="823"/>
                    </a:lnTo>
                    <a:lnTo>
                      <a:pt x="859" y="823"/>
                    </a:lnTo>
                    <a:lnTo>
                      <a:pt x="859" y="816"/>
                    </a:lnTo>
                    <a:lnTo>
                      <a:pt x="859" y="816"/>
                    </a:lnTo>
                    <a:lnTo>
                      <a:pt x="859" y="802"/>
                    </a:lnTo>
                    <a:lnTo>
                      <a:pt x="859" y="802"/>
                    </a:lnTo>
                    <a:lnTo>
                      <a:pt x="852" y="795"/>
                    </a:lnTo>
                    <a:lnTo>
                      <a:pt x="852" y="795"/>
                    </a:lnTo>
                    <a:lnTo>
                      <a:pt x="852" y="795"/>
                    </a:lnTo>
                    <a:lnTo>
                      <a:pt x="852" y="795"/>
                    </a:lnTo>
                    <a:lnTo>
                      <a:pt x="852" y="787"/>
                    </a:lnTo>
                    <a:lnTo>
                      <a:pt x="852" y="787"/>
                    </a:lnTo>
                    <a:lnTo>
                      <a:pt x="852" y="780"/>
                    </a:lnTo>
                    <a:lnTo>
                      <a:pt x="845" y="780"/>
                    </a:lnTo>
                    <a:lnTo>
                      <a:pt x="845" y="780"/>
                    </a:lnTo>
                    <a:lnTo>
                      <a:pt x="845" y="780"/>
                    </a:lnTo>
                    <a:lnTo>
                      <a:pt x="845" y="780"/>
                    </a:lnTo>
                    <a:lnTo>
                      <a:pt x="838" y="780"/>
                    </a:lnTo>
                    <a:lnTo>
                      <a:pt x="831" y="787"/>
                    </a:lnTo>
                    <a:lnTo>
                      <a:pt x="824" y="787"/>
                    </a:lnTo>
                    <a:lnTo>
                      <a:pt x="816" y="787"/>
                    </a:lnTo>
                    <a:lnTo>
                      <a:pt x="802" y="787"/>
                    </a:lnTo>
                    <a:lnTo>
                      <a:pt x="802" y="787"/>
                    </a:lnTo>
                    <a:lnTo>
                      <a:pt x="795" y="787"/>
                    </a:lnTo>
                    <a:lnTo>
                      <a:pt x="788" y="787"/>
                    </a:lnTo>
                    <a:lnTo>
                      <a:pt x="781" y="787"/>
                    </a:lnTo>
                    <a:lnTo>
                      <a:pt x="781" y="787"/>
                    </a:lnTo>
                    <a:lnTo>
                      <a:pt x="774" y="787"/>
                    </a:lnTo>
                    <a:lnTo>
                      <a:pt x="774" y="787"/>
                    </a:lnTo>
                    <a:lnTo>
                      <a:pt x="767" y="787"/>
                    </a:lnTo>
                    <a:lnTo>
                      <a:pt x="767" y="787"/>
                    </a:lnTo>
                    <a:lnTo>
                      <a:pt x="767" y="787"/>
                    </a:lnTo>
                    <a:lnTo>
                      <a:pt x="767" y="780"/>
                    </a:lnTo>
                    <a:lnTo>
                      <a:pt x="767" y="780"/>
                    </a:lnTo>
                    <a:lnTo>
                      <a:pt x="767" y="780"/>
                    </a:lnTo>
                    <a:lnTo>
                      <a:pt x="767" y="780"/>
                    </a:lnTo>
                    <a:lnTo>
                      <a:pt x="767" y="773"/>
                    </a:lnTo>
                    <a:lnTo>
                      <a:pt x="774" y="773"/>
                    </a:lnTo>
                    <a:lnTo>
                      <a:pt x="774" y="773"/>
                    </a:lnTo>
                    <a:lnTo>
                      <a:pt x="774" y="773"/>
                    </a:lnTo>
                    <a:lnTo>
                      <a:pt x="767" y="766"/>
                    </a:lnTo>
                    <a:lnTo>
                      <a:pt x="767" y="766"/>
                    </a:lnTo>
                    <a:lnTo>
                      <a:pt x="767" y="766"/>
                    </a:lnTo>
                    <a:lnTo>
                      <a:pt x="767" y="766"/>
                    </a:lnTo>
                    <a:lnTo>
                      <a:pt x="767" y="759"/>
                    </a:lnTo>
                    <a:lnTo>
                      <a:pt x="767" y="759"/>
                    </a:lnTo>
                    <a:lnTo>
                      <a:pt x="767" y="759"/>
                    </a:lnTo>
                    <a:lnTo>
                      <a:pt x="774" y="766"/>
                    </a:lnTo>
                    <a:lnTo>
                      <a:pt x="774" y="766"/>
                    </a:lnTo>
                    <a:lnTo>
                      <a:pt x="774" y="766"/>
                    </a:lnTo>
                    <a:lnTo>
                      <a:pt x="781" y="766"/>
                    </a:lnTo>
                    <a:lnTo>
                      <a:pt x="781" y="773"/>
                    </a:lnTo>
                    <a:lnTo>
                      <a:pt x="781" y="773"/>
                    </a:lnTo>
                    <a:lnTo>
                      <a:pt x="788" y="773"/>
                    </a:lnTo>
                    <a:lnTo>
                      <a:pt x="788" y="766"/>
                    </a:lnTo>
                    <a:lnTo>
                      <a:pt x="788" y="766"/>
                    </a:lnTo>
                    <a:lnTo>
                      <a:pt x="795" y="766"/>
                    </a:lnTo>
                    <a:lnTo>
                      <a:pt x="795" y="766"/>
                    </a:lnTo>
                    <a:lnTo>
                      <a:pt x="795" y="766"/>
                    </a:lnTo>
                    <a:lnTo>
                      <a:pt x="795" y="766"/>
                    </a:lnTo>
                    <a:lnTo>
                      <a:pt x="795" y="759"/>
                    </a:lnTo>
                    <a:lnTo>
                      <a:pt x="795" y="759"/>
                    </a:lnTo>
                    <a:lnTo>
                      <a:pt x="795" y="759"/>
                    </a:lnTo>
                    <a:lnTo>
                      <a:pt x="795" y="759"/>
                    </a:lnTo>
                    <a:lnTo>
                      <a:pt x="795" y="759"/>
                    </a:lnTo>
                    <a:lnTo>
                      <a:pt x="788" y="759"/>
                    </a:lnTo>
                    <a:lnTo>
                      <a:pt x="788" y="766"/>
                    </a:lnTo>
                    <a:lnTo>
                      <a:pt x="781" y="766"/>
                    </a:lnTo>
                    <a:lnTo>
                      <a:pt x="781" y="759"/>
                    </a:lnTo>
                    <a:lnTo>
                      <a:pt x="774" y="759"/>
                    </a:lnTo>
                    <a:lnTo>
                      <a:pt x="774" y="759"/>
                    </a:lnTo>
                    <a:lnTo>
                      <a:pt x="774" y="759"/>
                    </a:lnTo>
                    <a:lnTo>
                      <a:pt x="774" y="759"/>
                    </a:lnTo>
                    <a:lnTo>
                      <a:pt x="774" y="759"/>
                    </a:lnTo>
                    <a:lnTo>
                      <a:pt x="774" y="759"/>
                    </a:lnTo>
                    <a:lnTo>
                      <a:pt x="781" y="759"/>
                    </a:lnTo>
                    <a:lnTo>
                      <a:pt x="781" y="759"/>
                    </a:lnTo>
                    <a:lnTo>
                      <a:pt x="781" y="759"/>
                    </a:lnTo>
                    <a:lnTo>
                      <a:pt x="781" y="759"/>
                    </a:lnTo>
                    <a:lnTo>
                      <a:pt x="781" y="759"/>
                    </a:lnTo>
                    <a:lnTo>
                      <a:pt x="788" y="759"/>
                    </a:lnTo>
                    <a:lnTo>
                      <a:pt x="788" y="759"/>
                    </a:lnTo>
                    <a:lnTo>
                      <a:pt x="788" y="752"/>
                    </a:lnTo>
                    <a:lnTo>
                      <a:pt x="788" y="752"/>
                    </a:lnTo>
                    <a:lnTo>
                      <a:pt x="781" y="752"/>
                    </a:lnTo>
                    <a:lnTo>
                      <a:pt x="781" y="752"/>
                    </a:lnTo>
                    <a:lnTo>
                      <a:pt x="781" y="752"/>
                    </a:lnTo>
                    <a:lnTo>
                      <a:pt x="781" y="745"/>
                    </a:lnTo>
                    <a:lnTo>
                      <a:pt x="781" y="745"/>
                    </a:lnTo>
                    <a:lnTo>
                      <a:pt x="788" y="738"/>
                    </a:lnTo>
                    <a:lnTo>
                      <a:pt x="788" y="738"/>
                    </a:lnTo>
                    <a:lnTo>
                      <a:pt x="788" y="738"/>
                    </a:lnTo>
                    <a:lnTo>
                      <a:pt x="788" y="738"/>
                    </a:lnTo>
                    <a:lnTo>
                      <a:pt x="788" y="738"/>
                    </a:lnTo>
                    <a:lnTo>
                      <a:pt x="781" y="738"/>
                    </a:lnTo>
                    <a:lnTo>
                      <a:pt x="781" y="738"/>
                    </a:lnTo>
                    <a:lnTo>
                      <a:pt x="774" y="738"/>
                    </a:lnTo>
                    <a:lnTo>
                      <a:pt x="774" y="738"/>
                    </a:lnTo>
                    <a:lnTo>
                      <a:pt x="767" y="738"/>
                    </a:lnTo>
                    <a:lnTo>
                      <a:pt x="760" y="738"/>
                    </a:lnTo>
                    <a:lnTo>
                      <a:pt x="760" y="738"/>
                    </a:lnTo>
                    <a:lnTo>
                      <a:pt x="760" y="745"/>
                    </a:lnTo>
                    <a:lnTo>
                      <a:pt x="760" y="745"/>
                    </a:lnTo>
                    <a:lnTo>
                      <a:pt x="760" y="745"/>
                    </a:lnTo>
                    <a:lnTo>
                      <a:pt x="760" y="745"/>
                    </a:lnTo>
                    <a:lnTo>
                      <a:pt x="760" y="745"/>
                    </a:lnTo>
                    <a:lnTo>
                      <a:pt x="760" y="745"/>
                    </a:lnTo>
                    <a:lnTo>
                      <a:pt x="753" y="745"/>
                    </a:lnTo>
                    <a:lnTo>
                      <a:pt x="753" y="752"/>
                    </a:lnTo>
                    <a:lnTo>
                      <a:pt x="753" y="752"/>
                    </a:lnTo>
                    <a:lnTo>
                      <a:pt x="753" y="752"/>
                    </a:lnTo>
                    <a:lnTo>
                      <a:pt x="760" y="752"/>
                    </a:lnTo>
                    <a:lnTo>
                      <a:pt x="760" y="759"/>
                    </a:lnTo>
                    <a:lnTo>
                      <a:pt x="753" y="759"/>
                    </a:lnTo>
                    <a:lnTo>
                      <a:pt x="753" y="759"/>
                    </a:lnTo>
                    <a:lnTo>
                      <a:pt x="753" y="759"/>
                    </a:lnTo>
                    <a:lnTo>
                      <a:pt x="753" y="766"/>
                    </a:lnTo>
                    <a:lnTo>
                      <a:pt x="753" y="766"/>
                    </a:lnTo>
                    <a:lnTo>
                      <a:pt x="753" y="759"/>
                    </a:lnTo>
                    <a:lnTo>
                      <a:pt x="753" y="759"/>
                    </a:lnTo>
                    <a:lnTo>
                      <a:pt x="745" y="759"/>
                    </a:lnTo>
                    <a:lnTo>
                      <a:pt x="745" y="759"/>
                    </a:lnTo>
                    <a:lnTo>
                      <a:pt x="745" y="766"/>
                    </a:lnTo>
                    <a:lnTo>
                      <a:pt x="745" y="766"/>
                    </a:lnTo>
                    <a:lnTo>
                      <a:pt x="738" y="766"/>
                    </a:lnTo>
                    <a:lnTo>
                      <a:pt x="738" y="766"/>
                    </a:lnTo>
                    <a:lnTo>
                      <a:pt x="738" y="766"/>
                    </a:lnTo>
                    <a:lnTo>
                      <a:pt x="738" y="766"/>
                    </a:lnTo>
                    <a:lnTo>
                      <a:pt x="731" y="766"/>
                    </a:lnTo>
                    <a:lnTo>
                      <a:pt x="731" y="759"/>
                    </a:lnTo>
                    <a:lnTo>
                      <a:pt x="731" y="759"/>
                    </a:lnTo>
                    <a:lnTo>
                      <a:pt x="731" y="759"/>
                    </a:lnTo>
                    <a:lnTo>
                      <a:pt x="724" y="759"/>
                    </a:lnTo>
                    <a:lnTo>
                      <a:pt x="724" y="759"/>
                    </a:lnTo>
                    <a:lnTo>
                      <a:pt x="724" y="759"/>
                    </a:lnTo>
                    <a:lnTo>
                      <a:pt x="724" y="759"/>
                    </a:lnTo>
                    <a:lnTo>
                      <a:pt x="717" y="759"/>
                    </a:lnTo>
                    <a:lnTo>
                      <a:pt x="717" y="759"/>
                    </a:lnTo>
                    <a:lnTo>
                      <a:pt x="717" y="759"/>
                    </a:lnTo>
                    <a:lnTo>
                      <a:pt x="717" y="766"/>
                    </a:lnTo>
                    <a:lnTo>
                      <a:pt x="717" y="766"/>
                    </a:lnTo>
                    <a:lnTo>
                      <a:pt x="717" y="766"/>
                    </a:lnTo>
                    <a:lnTo>
                      <a:pt x="717" y="773"/>
                    </a:lnTo>
                    <a:lnTo>
                      <a:pt x="717" y="773"/>
                    </a:lnTo>
                    <a:lnTo>
                      <a:pt x="717" y="773"/>
                    </a:lnTo>
                    <a:lnTo>
                      <a:pt x="717" y="773"/>
                    </a:lnTo>
                    <a:lnTo>
                      <a:pt x="724" y="773"/>
                    </a:lnTo>
                    <a:lnTo>
                      <a:pt x="724" y="773"/>
                    </a:lnTo>
                    <a:lnTo>
                      <a:pt x="731" y="773"/>
                    </a:lnTo>
                    <a:lnTo>
                      <a:pt x="731" y="780"/>
                    </a:lnTo>
                    <a:lnTo>
                      <a:pt x="731" y="780"/>
                    </a:lnTo>
                    <a:lnTo>
                      <a:pt x="731" y="780"/>
                    </a:lnTo>
                    <a:lnTo>
                      <a:pt x="738" y="780"/>
                    </a:lnTo>
                    <a:lnTo>
                      <a:pt x="738" y="780"/>
                    </a:lnTo>
                    <a:lnTo>
                      <a:pt x="738" y="780"/>
                    </a:lnTo>
                    <a:lnTo>
                      <a:pt x="738" y="780"/>
                    </a:lnTo>
                    <a:lnTo>
                      <a:pt x="738" y="780"/>
                    </a:lnTo>
                    <a:lnTo>
                      <a:pt x="738" y="780"/>
                    </a:lnTo>
                    <a:lnTo>
                      <a:pt x="738" y="780"/>
                    </a:lnTo>
                    <a:lnTo>
                      <a:pt x="738" y="787"/>
                    </a:lnTo>
                    <a:lnTo>
                      <a:pt x="738" y="787"/>
                    </a:lnTo>
                    <a:lnTo>
                      <a:pt x="738" y="787"/>
                    </a:lnTo>
                    <a:lnTo>
                      <a:pt x="738" y="795"/>
                    </a:lnTo>
                    <a:lnTo>
                      <a:pt x="738" y="795"/>
                    </a:lnTo>
                    <a:lnTo>
                      <a:pt x="731" y="795"/>
                    </a:lnTo>
                    <a:lnTo>
                      <a:pt x="731" y="795"/>
                    </a:lnTo>
                    <a:lnTo>
                      <a:pt x="731" y="795"/>
                    </a:lnTo>
                    <a:lnTo>
                      <a:pt x="724" y="795"/>
                    </a:lnTo>
                    <a:lnTo>
                      <a:pt x="724" y="795"/>
                    </a:lnTo>
                    <a:lnTo>
                      <a:pt x="724" y="795"/>
                    </a:lnTo>
                    <a:lnTo>
                      <a:pt x="724" y="795"/>
                    </a:lnTo>
                    <a:lnTo>
                      <a:pt x="717" y="787"/>
                    </a:lnTo>
                    <a:lnTo>
                      <a:pt x="717" y="787"/>
                    </a:lnTo>
                    <a:lnTo>
                      <a:pt x="717" y="787"/>
                    </a:lnTo>
                    <a:lnTo>
                      <a:pt x="717" y="787"/>
                    </a:lnTo>
                    <a:lnTo>
                      <a:pt x="717" y="787"/>
                    </a:lnTo>
                    <a:lnTo>
                      <a:pt x="717" y="780"/>
                    </a:lnTo>
                    <a:lnTo>
                      <a:pt x="717" y="780"/>
                    </a:lnTo>
                    <a:lnTo>
                      <a:pt x="717" y="780"/>
                    </a:lnTo>
                    <a:lnTo>
                      <a:pt x="710" y="780"/>
                    </a:lnTo>
                    <a:lnTo>
                      <a:pt x="710" y="780"/>
                    </a:lnTo>
                    <a:lnTo>
                      <a:pt x="710" y="780"/>
                    </a:lnTo>
                    <a:lnTo>
                      <a:pt x="710" y="787"/>
                    </a:lnTo>
                    <a:lnTo>
                      <a:pt x="710" y="787"/>
                    </a:lnTo>
                    <a:lnTo>
                      <a:pt x="710" y="787"/>
                    </a:lnTo>
                    <a:lnTo>
                      <a:pt x="710" y="795"/>
                    </a:lnTo>
                    <a:lnTo>
                      <a:pt x="710" y="795"/>
                    </a:lnTo>
                    <a:lnTo>
                      <a:pt x="710" y="809"/>
                    </a:lnTo>
                    <a:lnTo>
                      <a:pt x="703" y="816"/>
                    </a:lnTo>
                    <a:lnTo>
                      <a:pt x="703" y="816"/>
                    </a:lnTo>
                    <a:lnTo>
                      <a:pt x="703" y="816"/>
                    </a:lnTo>
                    <a:lnTo>
                      <a:pt x="703" y="816"/>
                    </a:lnTo>
                    <a:lnTo>
                      <a:pt x="703" y="816"/>
                    </a:lnTo>
                    <a:lnTo>
                      <a:pt x="703" y="816"/>
                    </a:lnTo>
                    <a:lnTo>
                      <a:pt x="717" y="823"/>
                    </a:lnTo>
                    <a:lnTo>
                      <a:pt x="717" y="823"/>
                    </a:lnTo>
                    <a:lnTo>
                      <a:pt x="724" y="823"/>
                    </a:lnTo>
                    <a:lnTo>
                      <a:pt x="724" y="830"/>
                    </a:lnTo>
                    <a:lnTo>
                      <a:pt x="717" y="830"/>
                    </a:lnTo>
                    <a:lnTo>
                      <a:pt x="717" y="830"/>
                    </a:lnTo>
                    <a:lnTo>
                      <a:pt x="710" y="837"/>
                    </a:lnTo>
                    <a:lnTo>
                      <a:pt x="710" y="844"/>
                    </a:lnTo>
                    <a:lnTo>
                      <a:pt x="710" y="844"/>
                    </a:lnTo>
                    <a:lnTo>
                      <a:pt x="710" y="844"/>
                    </a:lnTo>
                    <a:lnTo>
                      <a:pt x="710" y="851"/>
                    </a:lnTo>
                    <a:lnTo>
                      <a:pt x="710" y="851"/>
                    </a:lnTo>
                    <a:lnTo>
                      <a:pt x="703" y="851"/>
                    </a:lnTo>
                    <a:lnTo>
                      <a:pt x="703" y="851"/>
                    </a:lnTo>
                    <a:lnTo>
                      <a:pt x="703" y="851"/>
                    </a:lnTo>
                    <a:lnTo>
                      <a:pt x="710" y="851"/>
                    </a:lnTo>
                    <a:lnTo>
                      <a:pt x="710" y="851"/>
                    </a:lnTo>
                    <a:lnTo>
                      <a:pt x="717" y="851"/>
                    </a:lnTo>
                    <a:lnTo>
                      <a:pt x="717" y="851"/>
                    </a:lnTo>
                    <a:lnTo>
                      <a:pt x="717" y="858"/>
                    </a:lnTo>
                    <a:lnTo>
                      <a:pt x="724" y="858"/>
                    </a:lnTo>
                    <a:lnTo>
                      <a:pt x="724" y="858"/>
                    </a:lnTo>
                    <a:lnTo>
                      <a:pt x="724" y="858"/>
                    </a:lnTo>
                    <a:lnTo>
                      <a:pt x="724" y="866"/>
                    </a:lnTo>
                    <a:lnTo>
                      <a:pt x="724" y="873"/>
                    </a:lnTo>
                    <a:lnTo>
                      <a:pt x="724" y="873"/>
                    </a:lnTo>
                    <a:lnTo>
                      <a:pt x="731" y="873"/>
                    </a:lnTo>
                    <a:lnTo>
                      <a:pt x="731" y="880"/>
                    </a:lnTo>
                    <a:lnTo>
                      <a:pt x="731" y="880"/>
                    </a:lnTo>
                    <a:lnTo>
                      <a:pt x="731" y="880"/>
                    </a:lnTo>
                    <a:lnTo>
                      <a:pt x="738" y="887"/>
                    </a:lnTo>
                    <a:lnTo>
                      <a:pt x="738" y="887"/>
                    </a:lnTo>
                    <a:lnTo>
                      <a:pt x="738" y="887"/>
                    </a:lnTo>
                    <a:lnTo>
                      <a:pt x="738" y="887"/>
                    </a:lnTo>
                    <a:lnTo>
                      <a:pt x="738" y="887"/>
                    </a:lnTo>
                    <a:lnTo>
                      <a:pt x="738" y="887"/>
                    </a:lnTo>
                    <a:lnTo>
                      <a:pt x="738" y="894"/>
                    </a:lnTo>
                    <a:lnTo>
                      <a:pt x="731" y="908"/>
                    </a:lnTo>
                    <a:lnTo>
                      <a:pt x="731" y="915"/>
                    </a:lnTo>
                    <a:lnTo>
                      <a:pt x="731" y="915"/>
                    </a:lnTo>
                    <a:lnTo>
                      <a:pt x="731" y="922"/>
                    </a:lnTo>
                    <a:lnTo>
                      <a:pt x="731" y="922"/>
                    </a:lnTo>
                    <a:lnTo>
                      <a:pt x="731" y="922"/>
                    </a:lnTo>
                    <a:lnTo>
                      <a:pt x="731" y="929"/>
                    </a:lnTo>
                    <a:lnTo>
                      <a:pt x="731" y="937"/>
                    </a:lnTo>
                    <a:lnTo>
                      <a:pt x="731" y="937"/>
                    </a:lnTo>
                    <a:lnTo>
                      <a:pt x="731" y="937"/>
                    </a:lnTo>
                    <a:lnTo>
                      <a:pt x="731" y="944"/>
                    </a:lnTo>
                    <a:lnTo>
                      <a:pt x="731" y="944"/>
                    </a:lnTo>
                    <a:lnTo>
                      <a:pt x="731" y="944"/>
                    </a:lnTo>
                    <a:lnTo>
                      <a:pt x="731" y="944"/>
                    </a:lnTo>
                    <a:lnTo>
                      <a:pt x="731" y="951"/>
                    </a:lnTo>
                    <a:lnTo>
                      <a:pt x="724" y="951"/>
                    </a:lnTo>
                    <a:lnTo>
                      <a:pt x="724" y="958"/>
                    </a:lnTo>
                    <a:lnTo>
                      <a:pt x="724" y="958"/>
                    </a:lnTo>
                    <a:lnTo>
                      <a:pt x="724" y="958"/>
                    </a:lnTo>
                    <a:lnTo>
                      <a:pt x="724" y="965"/>
                    </a:lnTo>
                    <a:lnTo>
                      <a:pt x="717" y="965"/>
                    </a:lnTo>
                    <a:lnTo>
                      <a:pt x="717" y="965"/>
                    </a:lnTo>
                    <a:lnTo>
                      <a:pt x="710" y="965"/>
                    </a:lnTo>
                    <a:lnTo>
                      <a:pt x="710" y="965"/>
                    </a:lnTo>
                    <a:lnTo>
                      <a:pt x="703" y="972"/>
                    </a:lnTo>
                    <a:lnTo>
                      <a:pt x="703" y="972"/>
                    </a:lnTo>
                    <a:lnTo>
                      <a:pt x="696" y="979"/>
                    </a:lnTo>
                    <a:lnTo>
                      <a:pt x="689" y="979"/>
                    </a:lnTo>
                    <a:lnTo>
                      <a:pt x="682" y="986"/>
                    </a:lnTo>
                    <a:lnTo>
                      <a:pt x="682" y="986"/>
                    </a:lnTo>
                    <a:lnTo>
                      <a:pt x="674" y="993"/>
                    </a:lnTo>
                    <a:lnTo>
                      <a:pt x="674" y="1000"/>
                    </a:lnTo>
                    <a:lnTo>
                      <a:pt x="674" y="1000"/>
                    </a:lnTo>
                    <a:lnTo>
                      <a:pt x="674" y="1000"/>
                    </a:lnTo>
                    <a:lnTo>
                      <a:pt x="682" y="1000"/>
                    </a:lnTo>
                    <a:lnTo>
                      <a:pt x="682" y="1000"/>
                    </a:lnTo>
                    <a:lnTo>
                      <a:pt x="682" y="1000"/>
                    </a:lnTo>
                    <a:lnTo>
                      <a:pt x="682" y="1000"/>
                    </a:lnTo>
                    <a:lnTo>
                      <a:pt x="689" y="1008"/>
                    </a:lnTo>
                    <a:lnTo>
                      <a:pt x="689" y="1008"/>
                    </a:lnTo>
                    <a:lnTo>
                      <a:pt x="696" y="1008"/>
                    </a:lnTo>
                    <a:lnTo>
                      <a:pt x="696" y="1008"/>
                    </a:lnTo>
                    <a:lnTo>
                      <a:pt x="696" y="1008"/>
                    </a:lnTo>
                    <a:lnTo>
                      <a:pt x="696" y="1008"/>
                    </a:lnTo>
                    <a:lnTo>
                      <a:pt x="696" y="1008"/>
                    </a:lnTo>
                    <a:lnTo>
                      <a:pt x="703" y="1008"/>
                    </a:lnTo>
                    <a:lnTo>
                      <a:pt x="703" y="1015"/>
                    </a:lnTo>
                    <a:lnTo>
                      <a:pt x="703" y="1015"/>
                    </a:lnTo>
                    <a:lnTo>
                      <a:pt x="703" y="1015"/>
                    </a:lnTo>
                    <a:lnTo>
                      <a:pt x="696" y="1015"/>
                    </a:lnTo>
                    <a:lnTo>
                      <a:pt x="689" y="1022"/>
                    </a:lnTo>
                    <a:lnTo>
                      <a:pt x="682" y="1022"/>
                    </a:lnTo>
                    <a:lnTo>
                      <a:pt x="667" y="1029"/>
                    </a:lnTo>
                    <a:lnTo>
                      <a:pt x="667" y="1029"/>
                    </a:lnTo>
                    <a:lnTo>
                      <a:pt x="667" y="1029"/>
                    </a:lnTo>
                    <a:lnTo>
                      <a:pt x="660" y="1029"/>
                    </a:lnTo>
                    <a:lnTo>
                      <a:pt x="660" y="1029"/>
                    </a:lnTo>
                    <a:lnTo>
                      <a:pt x="660" y="1029"/>
                    </a:lnTo>
                    <a:lnTo>
                      <a:pt x="653" y="1029"/>
                    </a:lnTo>
                    <a:lnTo>
                      <a:pt x="653" y="1029"/>
                    </a:lnTo>
                    <a:lnTo>
                      <a:pt x="653" y="1029"/>
                    </a:lnTo>
                    <a:lnTo>
                      <a:pt x="653" y="1029"/>
                    </a:lnTo>
                    <a:lnTo>
                      <a:pt x="646" y="1036"/>
                    </a:lnTo>
                    <a:lnTo>
                      <a:pt x="646" y="1029"/>
                    </a:lnTo>
                    <a:lnTo>
                      <a:pt x="646" y="1029"/>
                    </a:lnTo>
                    <a:lnTo>
                      <a:pt x="646" y="1029"/>
                    </a:lnTo>
                    <a:lnTo>
                      <a:pt x="646" y="1029"/>
                    </a:lnTo>
                    <a:lnTo>
                      <a:pt x="646" y="1029"/>
                    </a:lnTo>
                    <a:lnTo>
                      <a:pt x="639" y="1029"/>
                    </a:lnTo>
                    <a:lnTo>
                      <a:pt x="639" y="1022"/>
                    </a:lnTo>
                    <a:lnTo>
                      <a:pt x="639" y="1022"/>
                    </a:lnTo>
                    <a:lnTo>
                      <a:pt x="639" y="1015"/>
                    </a:lnTo>
                    <a:lnTo>
                      <a:pt x="639" y="1015"/>
                    </a:lnTo>
                    <a:lnTo>
                      <a:pt x="632" y="1015"/>
                    </a:lnTo>
                    <a:lnTo>
                      <a:pt x="632" y="1015"/>
                    </a:lnTo>
                    <a:lnTo>
                      <a:pt x="632" y="1015"/>
                    </a:lnTo>
                    <a:lnTo>
                      <a:pt x="625" y="1015"/>
                    </a:lnTo>
                    <a:lnTo>
                      <a:pt x="625" y="1015"/>
                    </a:lnTo>
                    <a:lnTo>
                      <a:pt x="625" y="1015"/>
                    </a:lnTo>
                    <a:lnTo>
                      <a:pt x="625" y="1015"/>
                    </a:lnTo>
                    <a:lnTo>
                      <a:pt x="625" y="1015"/>
                    </a:lnTo>
                    <a:lnTo>
                      <a:pt x="618" y="1015"/>
                    </a:lnTo>
                    <a:lnTo>
                      <a:pt x="618" y="1008"/>
                    </a:lnTo>
                    <a:lnTo>
                      <a:pt x="618" y="1008"/>
                    </a:lnTo>
                    <a:lnTo>
                      <a:pt x="618" y="1008"/>
                    </a:lnTo>
                    <a:lnTo>
                      <a:pt x="618" y="1008"/>
                    </a:lnTo>
                    <a:lnTo>
                      <a:pt x="618" y="1000"/>
                    </a:lnTo>
                    <a:lnTo>
                      <a:pt x="618" y="1000"/>
                    </a:lnTo>
                    <a:lnTo>
                      <a:pt x="618" y="1000"/>
                    </a:lnTo>
                    <a:lnTo>
                      <a:pt x="611" y="993"/>
                    </a:lnTo>
                    <a:lnTo>
                      <a:pt x="604" y="993"/>
                    </a:lnTo>
                    <a:lnTo>
                      <a:pt x="596" y="986"/>
                    </a:lnTo>
                    <a:lnTo>
                      <a:pt x="596" y="986"/>
                    </a:lnTo>
                    <a:lnTo>
                      <a:pt x="596" y="986"/>
                    </a:lnTo>
                    <a:lnTo>
                      <a:pt x="596" y="986"/>
                    </a:lnTo>
                    <a:lnTo>
                      <a:pt x="596" y="986"/>
                    </a:lnTo>
                    <a:lnTo>
                      <a:pt x="596" y="986"/>
                    </a:lnTo>
                    <a:lnTo>
                      <a:pt x="596" y="986"/>
                    </a:lnTo>
                    <a:lnTo>
                      <a:pt x="596" y="986"/>
                    </a:lnTo>
                    <a:lnTo>
                      <a:pt x="589" y="986"/>
                    </a:lnTo>
                    <a:lnTo>
                      <a:pt x="589" y="986"/>
                    </a:lnTo>
                    <a:lnTo>
                      <a:pt x="589" y="986"/>
                    </a:lnTo>
                    <a:lnTo>
                      <a:pt x="589" y="986"/>
                    </a:lnTo>
                    <a:lnTo>
                      <a:pt x="582" y="986"/>
                    </a:lnTo>
                    <a:lnTo>
                      <a:pt x="582" y="979"/>
                    </a:lnTo>
                    <a:lnTo>
                      <a:pt x="575" y="972"/>
                    </a:lnTo>
                    <a:lnTo>
                      <a:pt x="575" y="972"/>
                    </a:lnTo>
                    <a:lnTo>
                      <a:pt x="575" y="972"/>
                    </a:lnTo>
                    <a:lnTo>
                      <a:pt x="561" y="979"/>
                    </a:lnTo>
                    <a:lnTo>
                      <a:pt x="561" y="979"/>
                    </a:lnTo>
                    <a:lnTo>
                      <a:pt x="561" y="972"/>
                    </a:lnTo>
                    <a:lnTo>
                      <a:pt x="561" y="972"/>
                    </a:lnTo>
                    <a:lnTo>
                      <a:pt x="554" y="972"/>
                    </a:lnTo>
                    <a:lnTo>
                      <a:pt x="554" y="972"/>
                    </a:lnTo>
                    <a:lnTo>
                      <a:pt x="554" y="972"/>
                    </a:lnTo>
                    <a:lnTo>
                      <a:pt x="554" y="965"/>
                    </a:lnTo>
                    <a:lnTo>
                      <a:pt x="554" y="965"/>
                    </a:lnTo>
                    <a:lnTo>
                      <a:pt x="554" y="965"/>
                    </a:lnTo>
                    <a:lnTo>
                      <a:pt x="554" y="965"/>
                    </a:lnTo>
                    <a:lnTo>
                      <a:pt x="554" y="958"/>
                    </a:lnTo>
                    <a:lnTo>
                      <a:pt x="554" y="958"/>
                    </a:lnTo>
                    <a:lnTo>
                      <a:pt x="554" y="951"/>
                    </a:lnTo>
                    <a:lnTo>
                      <a:pt x="554" y="951"/>
                    </a:lnTo>
                    <a:lnTo>
                      <a:pt x="547" y="944"/>
                    </a:lnTo>
                    <a:lnTo>
                      <a:pt x="547" y="944"/>
                    </a:lnTo>
                    <a:lnTo>
                      <a:pt x="547" y="944"/>
                    </a:lnTo>
                    <a:lnTo>
                      <a:pt x="547" y="944"/>
                    </a:lnTo>
                    <a:lnTo>
                      <a:pt x="540" y="951"/>
                    </a:lnTo>
                    <a:lnTo>
                      <a:pt x="540" y="951"/>
                    </a:lnTo>
                    <a:lnTo>
                      <a:pt x="540" y="951"/>
                    </a:lnTo>
                    <a:lnTo>
                      <a:pt x="533" y="951"/>
                    </a:lnTo>
                    <a:lnTo>
                      <a:pt x="533" y="951"/>
                    </a:lnTo>
                    <a:lnTo>
                      <a:pt x="533" y="951"/>
                    </a:lnTo>
                    <a:lnTo>
                      <a:pt x="533" y="944"/>
                    </a:lnTo>
                    <a:lnTo>
                      <a:pt x="533" y="944"/>
                    </a:lnTo>
                    <a:lnTo>
                      <a:pt x="540" y="944"/>
                    </a:lnTo>
                    <a:lnTo>
                      <a:pt x="540" y="937"/>
                    </a:lnTo>
                    <a:lnTo>
                      <a:pt x="540" y="937"/>
                    </a:lnTo>
                    <a:lnTo>
                      <a:pt x="540" y="937"/>
                    </a:lnTo>
                    <a:lnTo>
                      <a:pt x="533" y="937"/>
                    </a:lnTo>
                    <a:lnTo>
                      <a:pt x="533" y="937"/>
                    </a:lnTo>
                    <a:lnTo>
                      <a:pt x="533" y="937"/>
                    </a:lnTo>
                    <a:lnTo>
                      <a:pt x="533" y="937"/>
                    </a:lnTo>
                    <a:lnTo>
                      <a:pt x="525" y="929"/>
                    </a:lnTo>
                    <a:lnTo>
                      <a:pt x="525" y="929"/>
                    </a:lnTo>
                    <a:lnTo>
                      <a:pt x="525" y="929"/>
                    </a:lnTo>
                    <a:lnTo>
                      <a:pt x="525" y="929"/>
                    </a:lnTo>
                    <a:lnTo>
                      <a:pt x="525" y="922"/>
                    </a:lnTo>
                    <a:lnTo>
                      <a:pt x="525" y="922"/>
                    </a:lnTo>
                    <a:lnTo>
                      <a:pt x="525" y="922"/>
                    </a:lnTo>
                    <a:lnTo>
                      <a:pt x="518" y="922"/>
                    </a:lnTo>
                    <a:lnTo>
                      <a:pt x="518" y="922"/>
                    </a:lnTo>
                    <a:lnTo>
                      <a:pt x="518" y="922"/>
                    </a:lnTo>
                    <a:lnTo>
                      <a:pt x="518" y="922"/>
                    </a:lnTo>
                    <a:lnTo>
                      <a:pt x="518" y="915"/>
                    </a:lnTo>
                    <a:lnTo>
                      <a:pt x="518" y="915"/>
                    </a:lnTo>
                    <a:lnTo>
                      <a:pt x="518" y="908"/>
                    </a:lnTo>
                    <a:lnTo>
                      <a:pt x="518" y="908"/>
                    </a:lnTo>
                    <a:lnTo>
                      <a:pt x="518" y="908"/>
                    </a:lnTo>
                    <a:lnTo>
                      <a:pt x="518" y="908"/>
                    </a:lnTo>
                    <a:lnTo>
                      <a:pt x="518" y="901"/>
                    </a:lnTo>
                    <a:lnTo>
                      <a:pt x="525" y="901"/>
                    </a:lnTo>
                    <a:lnTo>
                      <a:pt x="525" y="901"/>
                    </a:lnTo>
                    <a:lnTo>
                      <a:pt x="525" y="901"/>
                    </a:lnTo>
                    <a:lnTo>
                      <a:pt x="525" y="894"/>
                    </a:lnTo>
                    <a:lnTo>
                      <a:pt x="525" y="894"/>
                    </a:lnTo>
                    <a:lnTo>
                      <a:pt x="525" y="894"/>
                    </a:lnTo>
                    <a:lnTo>
                      <a:pt x="525" y="894"/>
                    </a:lnTo>
                    <a:lnTo>
                      <a:pt x="525" y="894"/>
                    </a:lnTo>
                    <a:lnTo>
                      <a:pt x="525" y="887"/>
                    </a:lnTo>
                    <a:lnTo>
                      <a:pt x="518" y="887"/>
                    </a:lnTo>
                    <a:lnTo>
                      <a:pt x="518" y="887"/>
                    </a:lnTo>
                    <a:lnTo>
                      <a:pt x="518" y="880"/>
                    </a:lnTo>
                    <a:lnTo>
                      <a:pt x="518" y="873"/>
                    </a:lnTo>
                    <a:lnTo>
                      <a:pt x="511" y="880"/>
                    </a:lnTo>
                    <a:lnTo>
                      <a:pt x="511" y="880"/>
                    </a:lnTo>
                    <a:lnTo>
                      <a:pt x="511" y="880"/>
                    </a:lnTo>
                    <a:lnTo>
                      <a:pt x="511" y="887"/>
                    </a:lnTo>
                    <a:lnTo>
                      <a:pt x="511" y="887"/>
                    </a:lnTo>
                    <a:lnTo>
                      <a:pt x="511" y="887"/>
                    </a:lnTo>
                    <a:lnTo>
                      <a:pt x="504" y="887"/>
                    </a:lnTo>
                    <a:lnTo>
                      <a:pt x="504" y="887"/>
                    </a:lnTo>
                    <a:lnTo>
                      <a:pt x="497" y="887"/>
                    </a:lnTo>
                    <a:lnTo>
                      <a:pt x="497" y="887"/>
                    </a:lnTo>
                    <a:lnTo>
                      <a:pt x="497" y="880"/>
                    </a:lnTo>
                    <a:lnTo>
                      <a:pt x="497" y="880"/>
                    </a:lnTo>
                    <a:lnTo>
                      <a:pt x="497" y="880"/>
                    </a:lnTo>
                    <a:lnTo>
                      <a:pt x="497" y="880"/>
                    </a:lnTo>
                    <a:lnTo>
                      <a:pt x="490" y="880"/>
                    </a:lnTo>
                    <a:lnTo>
                      <a:pt x="490" y="873"/>
                    </a:lnTo>
                    <a:lnTo>
                      <a:pt x="490" y="873"/>
                    </a:lnTo>
                    <a:lnTo>
                      <a:pt x="490" y="873"/>
                    </a:lnTo>
                    <a:lnTo>
                      <a:pt x="483" y="873"/>
                    </a:lnTo>
                    <a:lnTo>
                      <a:pt x="483" y="873"/>
                    </a:lnTo>
                    <a:lnTo>
                      <a:pt x="483" y="866"/>
                    </a:lnTo>
                    <a:lnTo>
                      <a:pt x="483" y="866"/>
                    </a:lnTo>
                    <a:lnTo>
                      <a:pt x="476" y="858"/>
                    </a:lnTo>
                    <a:lnTo>
                      <a:pt x="476" y="858"/>
                    </a:lnTo>
                    <a:lnTo>
                      <a:pt x="476" y="858"/>
                    </a:lnTo>
                    <a:lnTo>
                      <a:pt x="483" y="851"/>
                    </a:lnTo>
                    <a:lnTo>
                      <a:pt x="483" y="851"/>
                    </a:lnTo>
                    <a:lnTo>
                      <a:pt x="483" y="844"/>
                    </a:lnTo>
                    <a:lnTo>
                      <a:pt x="483" y="844"/>
                    </a:lnTo>
                    <a:lnTo>
                      <a:pt x="490" y="844"/>
                    </a:lnTo>
                    <a:lnTo>
                      <a:pt x="490" y="844"/>
                    </a:lnTo>
                    <a:lnTo>
                      <a:pt x="490" y="844"/>
                    </a:lnTo>
                    <a:lnTo>
                      <a:pt x="490" y="844"/>
                    </a:lnTo>
                    <a:lnTo>
                      <a:pt x="490" y="844"/>
                    </a:lnTo>
                    <a:lnTo>
                      <a:pt x="490" y="844"/>
                    </a:lnTo>
                    <a:lnTo>
                      <a:pt x="490" y="844"/>
                    </a:lnTo>
                    <a:lnTo>
                      <a:pt x="497" y="844"/>
                    </a:lnTo>
                    <a:lnTo>
                      <a:pt x="497" y="844"/>
                    </a:lnTo>
                    <a:lnTo>
                      <a:pt x="497" y="844"/>
                    </a:lnTo>
                    <a:lnTo>
                      <a:pt x="497" y="837"/>
                    </a:lnTo>
                    <a:lnTo>
                      <a:pt x="497" y="837"/>
                    </a:lnTo>
                    <a:lnTo>
                      <a:pt x="497" y="837"/>
                    </a:lnTo>
                    <a:lnTo>
                      <a:pt x="497" y="837"/>
                    </a:lnTo>
                    <a:lnTo>
                      <a:pt x="497" y="837"/>
                    </a:lnTo>
                    <a:lnTo>
                      <a:pt x="497" y="837"/>
                    </a:lnTo>
                    <a:lnTo>
                      <a:pt x="497" y="837"/>
                    </a:lnTo>
                    <a:lnTo>
                      <a:pt x="490" y="837"/>
                    </a:lnTo>
                    <a:lnTo>
                      <a:pt x="490" y="837"/>
                    </a:lnTo>
                    <a:lnTo>
                      <a:pt x="490" y="837"/>
                    </a:lnTo>
                    <a:lnTo>
                      <a:pt x="483" y="837"/>
                    </a:lnTo>
                    <a:lnTo>
                      <a:pt x="483" y="830"/>
                    </a:lnTo>
                    <a:lnTo>
                      <a:pt x="483" y="830"/>
                    </a:lnTo>
                    <a:lnTo>
                      <a:pt x="483" y="830"/>
                    </a:lnTo>
                    <a:lnTo>
                      <a:pt x="483" y="830"/>
                    </a:lnTo>
                    <a:lnTo>
                      <a:pt x="483" y="830"/>
                    </a:lnTo>
                    <a:lnTo>
                      <a:pt x="483" y="830"/>
                    </a:lnTo>
                    <a:lnTo>
                      <a:pt x="483" y="823"/>
                    </a:lnTo>
                    <a:lnTo>
                      <a:pt x="483" y="823"/>
                    </a:lnTo>
                    <a:lnTo>
                      <a:pt x="483" y="823"/>
                    </a:lnTo>
                    <a:lnTo>
                      <a:pt x="483" y="816"/>
                    </a:lnTo>
                    <a:lnTo>
                      <a:pt x="483" y="816"/>
                    </a:lnTo>
                    <a:lnTo>
                      <a:pt x="483" y="816"/>
                    </a:lnTo>
                    <a:lnTo>
                      <a:pt x="483" y="816"/>
                    </a:lnTo>
                    <a:lnTo>
                      <a:pt x="483" y="816"/>
                    </a:lnTo>
                    <a:lnTo>
                      <a:pt x="476" y="816"/>
                    </a:lnTo>
                    <a:lnTo>
                      <a:pt x="476" y="816"/>
                    </a:lnTo>
                    <a:lnTo>
                      <a:pt x="469" y="816"/>
                    </a:lnTo>
                    <a:lnTo>
                      <a:pt x="469" y="823"/>
                    </a:lnTo>
                    <a:lnTo>
                      <a:pt x="469" y="823"/>
                    </a:lnTo>
                    <a:lnTo>
                      <a:pt x="469" y="823"/>
                    </a:lnTo>
                    <a:lnTo>
                      <a:pt x="469" y="823"/>
                    </a:lnTo>
                    <a:lnTo>
                      <a:pt x="469" y="823"/>
                    </a:lnTo>
                    <a:lnTo>
                      <a:pt x="462" y="823"/>
                    </a:lnTo>
                    <a:lnTo>
                      <a:pt x="462" y="823"/>
                    </a:lnTo>
                    <a:lnTo>
                      <a:pt x="462" y="823"/>
                    </a:lnTo>
                    <a:lnTo>
                      <a:pt x="462" y="830"/>
                    </a:lnTo>
                    <a:lnTo>
                      <a:pt x="462" y="830"/>
                    </a:lnTo>
                    <a:lnTo>
                      <a:pt x="462" y="830"/>
                    </a:lnTo>
                    <a:lnTo>
                      <a:pt x="462" y="830"/>
                    </a:lnTo>
                    <a:lnTo>
                      <a:pt x="462" y="830"/>
                    </a:lnTo>
                    <a:lnTo>
                      <a:pt x="462" y="830"/>
                    </a:lnTo>
                    <a:lnTo>
                      <a:pt x="462" y="830"/>
                    </a:lnTo>
                    <a:lnTo>
                      <a:pt x="462" y="830"/>
                    </a:lnTo>
                    <a:lnTo>
                      <a:pt x="462" y="837"/>
                    </a:lnTo>
                    <a:lnTo>
                      <a:pt x="462" y="837"/>
                    </a:lnTo>
                    <a:lnTo>
                      <a:pt x="462" y="837"/>
                    </a:lnTo>
                    <a:lnTo>
                      <a:pt x="462" y="837"/>
                    </a:lnTo>
                    <a:lnTo>
                      <a:pt x="454" y="837"/>
                    </a:lnTo>
                    <a:lnTo>
                      <a:pt x="454" y="837"/>
                    </a:lnTo>
                    <a:lnTo>
                      <a:pt x="454" y="837"/>
                    </a:lnTo>
                    <a:lnTo>
                      <a:pt x="447" y="837"/>
                    </a:lnTo>
                    <a:lnTo>
                      <a:pt x="447" y="837"/>
                    </a:lnTo>
                    <a:lnTo>
                      <a:pt x="440" y="837"/>
                    </a:lnTo>
                    <a:lnTo>
                      <a:pt x="433" y="837"/>
                    </a:lnTo>
                    <a:lnTo>
                      <a:pt x="433" y="837"/>
                    </a:lnTo>
                    <a:lnTo>
                      <a:pt x="426" y="837"/>
                    </a:lnTo>
                    <a:lnTo>
                      <a:pt x="426" y="830"/>
                    </a:lnTo>
                    <a:lnTo>
                      <a:pt x="426" y="830"/>
                    </a:lnTo>
                    <a:lnTo>
                      <a:pt x="426" y="830"/>
                    </a:lnTo>
                    <a:lnTo>
                      <a:pt x="426" y="823"/>
                    </a:lnTo>
                    <a:lnTo>
                      <a:pt x="426" y="823"/>
                    </a:lnTo>
                    <a:lnTo>
                      <a:pt x="426" y="823"/>
                    </a:lnTo>
                    <a:lnTo>
                      <a:pt x="419" y="823"/>
                    </a:lnTo>
                    <a:lnTo>
                      <a:pt x="419" y="823"/>
                    </a:lnTo>
                    <a:lnTo>
                      <a:pt x="419" y="823"/>
                    </a:lnTo>
                    <a:lnTo>
                      <a:pt x="419" y="823"/>
                    </a:lnTo>
                    <a:lnTo>
                      <a:pt x="412" y="823"/>
                    </a:lnTo>
                    <a:lnTo>
                      <a:pt x="405" y="816"/>
                    </a:lnTo>
                    <a:lnTo>
                      <a:pt x="405" y="816"/>
                    </a:lnTo>
                    <a:lnTo>
                      <a:pt x="405" y="816"/>
                    </a:lnTo>
                    <a:lnTo>
                      <a:pt x="405" y="816"/>
                    </a:lnTo>
                    <a:lnTo>
                      <a:pt x="398" y="816"/>
                    </a:lnTo>
                    <a:lnTo>
                      <a:pt x="398" y="816"/>
                    </a:lnTo>
                    <a:lnTo>
                      <a:pt x="398" y="816"/>
                    </a:lnTo>
                    <a:lnTo>
                      <a:pt x="398" y="816"/>
                    </a:lnTo>
                    <a:lnTo>
                      <a:pt x="398" y="823"/>
                    </a:lnTo>
                    <a:lnTo>
                      <a:pt x="398" y="830"/>
                    </a:lnTo>
                    <a:lnTo>
                      <a:pt x="398" y="830"/>
                    </a:lnTo>
                    <a:lnTo>
                      <a:pt x="398" y="830"/>
                    </a:lnTo>
                    <a:lnTo>
                      <a:pt x="398" y="830"/>
                    </a:lnTo>
                    <a:lnTo>
                      <a:pt x="398" y="830"/>
                    </a:lnTo>
                    <a:lnTo>
                      <a:pt x="391" y="830"/>
                    </a:lnTo>
                    <a:lnTo>
                      <a:pt x="391" y="830"/>
                    </a:lnTo>
                    <a:lnTo>
                      <a:pt x="391" y="823"/>
                    </a:lnTo>
                    <a:lnTo>
                      <a:pt x="391" y="823"/>
                    </a:lnTo>
                    <a:lnTo>
                      <a:pt x="391" y="823"/>
                    </a:lnTo>
                    <a:lnTo>
                      <a:pt x="391" y="823"/>
                    </a:lnTo>
                    <a:lnTo>
                      <a:pt x="391" y="816"/>
                    </a:lnTo>
                    <a:lnTo>
                      <a:pt x="391" y="816"/>
                    </a:lnTo>
                    <a:lnTo>
                      <a:pt x="391" y="816"/>
                    </a:lnTo>
                    <a:lnTo>
                      <a:pt x="391" y="816"/>
                    </a:lnTo>
                    <a:lnTo>
                      <a:pt x="391" y="816"/>
                    </a:lnTo>
                    <a:lnTo>
                      <a:pt x="383" y="816"/>
                    </a:lnTo>
                    <a:lnTo>
                      <a:pt x="383" y="816"/>
                    </a:lnTo>
                    <a:lnTo>
                      <a:pt x="383" y="816"/>
                    </a:lnTo>
                    <a:lnTo>
                      <a:pt x="383" y="816"/>
                    </a:lnTo>
                    <a:lnTo>
                      <a:pt x="383" y="816"/>
                    </a:lnTo>
                    <a:lnTo>
                      <a:pt x="376" y="816"/>
                    </a:lnTo>
                    <a:lnTo>
                      <a:pt x="376" y="809"/>
                    </a:lnTo>
                    <a:lnTo>
                      <a:pt x="376" y="809"/>
                    </a:lnTo>
                    <a:lnTo>
                      <a:pt x="376" y="809"/>
                    </a:lnTo>
                    <a:lnTo>
                      <a:pt x="376" y="809"/>
                    </a:lnTo>
                    <a:lnTo>
                      <a:pt x="376" y="809"/>
                    </a:lnTo>
                    <a:lnTo>
                      <a:pt x="376" y="809"/>
                    </a:lnTo>
                    <a:lnTo>
                      <a:pt x="369" y="809"/>
                    </a:lnTo>
                    <a:lnTo>
                      <a:pt x="369" y="809"/>
                    </a:lnTo>
                    <a:lnTo>
                      <a:pt x="369" y="809"/>
                    </a:lnTo>
                    <a:lnTo>
                      <a:pt x="369" y="802"/>
                    </a:lnTo>
                    <a:lnTo>
                      <a:pt x="362" y="802"/>
                    </a:lnTo>
                    <a:lnTo>
                      <a:pt x="369" y="802"/>
                    </a:lnTo>
                    <a:lnTo>
                      <a:pt x="369" y="802"/>
                    </a:lnTo>
                    <a:lnTo>
                      <a:pt x="369" y="802"/>
                    </a:lnTo>
                    <a:lnTo>
                      <a:pt x="376" y="802"/>
                    </a:lnTo>
                    <a:lnTo>
                      <a:pt x="376" y="802"/>
                    </a:lnTo>
                    <a:lnTo>
                      <a:pt x="376" y="802"/>
                    </a:lnTo>
                    <a:lnTo>
                      <a:pt x="376" y="802"/>
                    </a:lnTo>
                    <a:lnTo>
                      <a:pt x="376" y="802"/>
                    </a:lnTo>
                    <a:lnTo>
                      <a:pt x="376" y="802"/>
                    </a:lnTo>
                    <a:lnTo>
                      <a:pt x="376" y="795"/>
                    </a:lnTo>
                    <a:lnTo>
                      <a:pt x="376" y="795"/>
                    </a:lnTo>
                    <a:lnTo>
                      <a:pt x="376" y="795"/>
                    </a:lnTo>
                    <a:lnTo>
                      <a:pt x="369" y="802"/>
                    </a:lnTo>
                    <a:lnTo>
                      <a:pt x="362" y="802"/>
                    </a:lnTo>
                    <a:lnTo>
                      <a:pt x="355" y="802"/>
                    </a:lnTo>
                    <a:lnTo>
                      <a:pt x="348" y="795"/>
                    </a:lnTo>
                    <a:lnTo>
                      <a:pt x="341" y="795"/>
                    </a:lnTo>
                    <a:lnTo>
                      <a:pt x="341" y="787"/>
                    </a:lnTo>
                    <a:lnTo>
                      <a:pt x="341" y="787"/>
                    </a:lnTo>
                    <a:lnTo>
                      <a:pt x="341" y="787"/>
                    </a:lnTo>
                    <a:lnTo>
                      <a:pt x="334" y="787"/>
                    </a:lnTo>
                    <a:lnTo>
                      <a:pt x="334" y="787"/>
                    </a:lnTo>
                    <a:lnTo>
                      <a:pt x="327" y="787"/>
                    </a:lnTo>
                    <a:lnTo>
                      <a:pt x="327" y="787"/>
                    </a:lnTo>
                    <a:lnTo>
                      <a:pt x="327" y="795"/>
                    </a:lnTo>
                    <a:lnTo>
                      <a:pt x="327" y="795"/>
                    </a:lnTo>
                    <a:lnTo>
                      <a:pt x="327" y="795"/>
                    </a:lnTo>
                    <a:lnTo>
                      <a:pt x="320" y="795"/>
                    </a:lnTo>
                    <a:lnTo>
                      <a:pt x="320" y="795"/>
                    </a:lnTo>
                    <a:lnTo>
                      <a:pt x="320" y="795"/>
                    </a:lnTo>
                    <a:lnTo>
                      <a:pt x="320" y="787"/>
                    </a:lnTo>
                    <a:lnTo>
                      <a:pt x="312" y="787"/>
                    </a:lnTo>
                    <a:lnTo>
                      <a:pt x="312" y="787"/>
                    </a:lnTo>
                    <a:lnTo>
                      <a:pt x="312" y="787"/>
                    </a:lnTo>
                    <a:lnTo>
                      <a:pt x="312" y="795"/>
                    </a:lnTo>
                    <a:lnTo>
                      <a:pt x="312" y="795"/>
                    </a:lnTo>
                    <a:lnTo>
                      <a:pt x="305" y="795"/>
                    </a:lnTo>
                    <a:lnTo>
                      <a:pt x="305" y="795"/>
                    </a:lnTo>
                    <a:lnTo>
                      <a:pt x="305" y="795"/>
                    </a:lnTo>
                    <a:lnTo>
                      <a:pt x="305" y="795"/>
                    </a:lnTo>
                    <a:lnTo>
                      <a:pt x="305" y="795"/>
                    </a:lnTo>
                    <a:lnTo>
                      <a:pt x="305" y="795"/>
                    </a:lnTo>
                    <a:lnTo>
                      <a:pt x="305" y="795"/>
                    </a:lnTo>
                    <a:lnTo>
                      <a:pt x="298" y="795"/>
                    </a:lnTo>
                    <a:lnTo>
                      <a:pt x="298" y="795"/>
                    </a:lnTo>
                    <a:lnTo>
                      <a:pt x="298" y="795"/>
                    </a:lnTo>
                    <a:lnTo>
                      <a:pt x="298" y="795"/>
                    </a:lnTo>
                    <a:lnTo>
                      <a:pt x="298" y="795"/>
                    </a:lnTo>
                    <a:lnTo>
                      <a:pt x="284" y="795"/>
                    </a:lnTo>
                    <a:lnTo>
                      <a:pt x="284" y="795"/>
                    </a:lnTo>
                    <a:lnTo>
                      <a:pt x="277" y="795"/>
                    </a:lnTo>
                    <a:lnTo>
                      <a:pt x="277" y="795"/>
                    </a:lnTo>
                    <a:lnTo>
                      <a:pt x="277" y="787"/>
                    </a:lnTo>
                    <a:lnTo>
                      <a:pt x="277" y="787"/>
                    </a:lnTo>
                    <a:lnTo>
                      <a:pt x="270" y="787"/>
                    </a:lnTo>
                    <a:lnTo>
                      <a:pt x="263" y="787"/>
                    </a:lnTo>
                    <a:lnTo>
                      <a:pt x="256" y="787"/>
                    </a:lnTo>
                    <a:lnTo>
                      <a:pt x="256" y="795"/>
                    </a:lnTo>
                    <a:lnTo>
                      <a:pt x="249" y="795"/>
                    </a:lnTo>
                    <a:lnTo>
                      <a:pt x="249" y="795"/>
                    </a:lnTo>
                    <a:lnTo>
                      <a:pt x="249" y="795"/>
                    </a:lnTo>
                    <a:lnTo>
                      <a:pt x="241" y="795"/>
                    </a:lnTo>
                    <a:lnTo>
                      <a:pt x="241" y="795"/>
                    </a:lnTo>
                    <a:lnTo>
                      <a:pt x="241" y="795"/>
                    </a:lnTo>
                    <a:lnTo>
                      <a:pt x="234" y="795"/>
                    </a:lnTo>
                    <a:lnTo>
                      <a:pt x="234" y="795"/>
                    </a:lnTo>
                    <a:lnTo>
                      <a:pt x="234" y="795"/>
                    </a:lnTo>
                    <a:lnTo>
                      <a:pt x="227" y="795"/>
                    </a:lnTo>
                    <a:lnTo>
                      <a:pt x="227" y="795"/>
                    </a:lnTo>
                    <a:lnTo>
                      <a:pt x="227" y="795"/>
                    </a:lnTo>
                    <a:lnTo>
                      <a:pt x="213" y="795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3" name="Freeform 51"/>
              <p:cNvSpPr>
                <a:spLocks/>
              </p:cNvSpPr>
              <p:nvPr/>
            </p:nvSpPr>
            <p:spPr bwMode="auto">
              <a:xfrm>
                <a:off x="3130" y="868"/>
                <a:ext cx="1029" cy="923"/>
              </a:xfrm>
              <a:custGeom>
                <a:avLst/>
                <a:gdLst>
                  <a:gd name="T0" fmla="*/ 469 w 1029"/>
                  <a:gd name="T1" fmla="*/ 241 h 923"/>
                  <a:gd name="T2" fmla="*/ 554 w 1029"/>
                  <a:gd name="T3" fmla="*/ 298 h 923"/>
                  <a:gd name="T4" fmla="*/ 625 w 1029"/>
                  <a:gd name="T5" fmla="*/ 341 h 923"/>
                  <a:gd name="T6" fmla="*/ 831 w 1029"/>
                  <a:gd name="T7" fmla="*/ 419 h 923"/>
                  <a:gd name="T8" fmla="*/ 916 w 1029"/>
                  <a:gd name="T9" fmla="*/ 433 h 923"/>
                  <a:gd name="T10" fmla="*/ 966 w 1029"/>
                  <a:gd name="T11" fmla="*/ 483 h 923"/>
                  <a:gd name="T12" fmla="*/ 951 w 1029"/>
                  <a:gd name="T13" fmla="*/ 525 h 923"/>
                  <a:gd name="T14" fmla="*/ 937 w 1029"/>
                  <a:gd name="T15" fmla="*/ 547 h 923"/>
                  <a:gd name="T16" fmla="*/ 951 w 1029"/>
                  <a:gd name="T17" fmla="*/ 575 h 923"/>
                  <a:gd name="T18" fmla="*/ 987 w 1029"/>
                  <a:gd name="T19" fmla="*/ 625 h 923"/>
                  <a:gd name="T20" fmla="*/ 1001 w 1029"/>
                  <a:gd name="T21" fmla="*/ 646 h 923"/>
                  <a:gd name="T22" fmla="*/ 980 w 1029"/>
                  <a:gd name="T23" fmla="*/ 653 h 923"/>
                  <a:gd name="T24" fmla="*/ 866 w 1029"/>
                  <a:gd name="T25" fmla="*/ 753 h 923"/>
                  <a:gd name="T26" fmla="*/ 895 w 1029"/>
                  <a:gd name="T27" fmla="*/ 816 h 923"/>
                  <a:gd name="T28" fmla="*/ 873 w 1029"/>
                  <a:gd name="T29" fmla="*/ 887 h 923"/>
                  <a:gd name="T30" fmla="*/ 795 w 1029"/>
                  <a:gd name="T31" fmla="*/ 902 h 923"/>
                  <a:gd name="T32" fmla="*/ 788 w 1029"/>
                  <a:gd name="T33" fmla="*/ 831 h 923"/>
                  <a:gd name="T34" fmla="*/ 745 w 1029"/>
                  <a:gd name="T35" fmla="*/ 802 h 923"/>
                  <a:gd name="T36" fmla="*/ 724 w 1029"/>
                  <a:gd name="T37" fmla="*/ 795 h 923"/>
                  <a:gd name="T38" fmla="*/ 667 w 1029"/>
                  <a:gd name="T39" fmla="*/ 774 h 923"/>
                  <a:gd name="T40" fmla="*/ 625 w 1029"/>
                  <a:gd name="T41" fmla="*/ 753 h 923"/>
                  <a:gd name="T42" fmla="*/ 589 w 1029"/>
                  <a:gd name="T43" fmla="*/ 745 h 923"/>
                  <a:gd name="T44" fmla="*/ 568 w 1029"/>
                  <a:gd name="T45" fmla="*/ 781 h 923"/>
                  <a:gd name="T46" fmla="*/ 525 w 1029"/>
                  <a:gd name="T47" fmla="*/ 760 h 923"/>
                  <a:gd name="T48" fmla="*/ 511 w 1029"/>
                  <a:gd name="T49" fmla="*/ 753 h 923"/>
                  <a:gd name="T50" fmla="*/ 476 w 1029"/>
                  <a:gd name="T51" fmla="*/ 753 h 923"/>
                  <a:gd name="T52" fmla="*/ 454 w 1029"/>
                  <a:gd name="T53" fmla="*/ 767 h 923"/>
                  <a:gd name="T54" fmla="*/ 469 w 1029"/>
                  <a:gd name="T55" fmla="*/ 731 h 923"/>
                  <a:gd name="T56" fmla="*/ 433 w 1029"/>
                  <a:gd name="T57" fmla="*/ 717 h 923"/>
                  <a:gd name="T58" fmla="*/ 383 w 1029"/>
                  <a:gd name="T59" fmla="*/ 745 h 923"/>
                  <a:gd name="T60" fmla="*/ 334 w 1029"/>
                  <a:gd name="T61" fmla="*/ 760 h 923"/>
                  <a:gd name="T62" fmla="*/ 320 w 1029"/>
                  <a:gd name="T63" fmla="*/ 738 h 923"/>
                  <a:gd name="T64" fmla="*/ 298 w 1029"/>
                  <a:gd name="T65" fmla="*/ 745 h 923"/>
                  <a:gd name="T66" fmla="*/ 277 w 1029"/>
                  <a:gd name="T67" fmla="*/ 738 h 923"/>
                  <a:gd name="T68" fmla="*/ 270 w 1029"/>
                  <a:gd name="T69" fmla="*/ 710 h 923"/>
                  <a:gd name="T70" fmla="*/ 249 w 1029"/>
                  <a:gd name="T71" fmla="*/ 703 h 923"/>
                  <a:gd name="T72" fmla="*/ 227 w 1029"/>
                  <a:gd name="T73" fmla="*/ 710 h 923"/>
                  <a:gd name="T74" fmla="*/ 241 w 1029"/>
                  <a:gd name="T75" fmla="*/ 795 h 923"/>
                  <a:gd name="T76" fmla="*/ 270 w 1029"/>
                  <a:gd name="T77" fmla="*/ 845 h 923"/>
                  <a:gd name="T78" fmla="*/ 234 w 1029"/>
                  <a:gd name="T79" fmla="*/ 873 h 923"/>
                  <a:gd name="T80" fmla="*/ 185 w 1029"/>
                  <a:gd name="T81" fmla="*/ 852 h 923"/>
                  <a:gd name="T82" fmla="*/ 171 w 1029"/>
                  <a:gd name="T83" fmla="*/ 788 h 923"/>
                  <a:gd name="T84" fmla="*/ 213 w 1029"/>
                  <a:gd name="T85" fmla="*/ 689 h 923"/>
                  <a:gd name="T86" fmla="*/ 263 w 1029"/>
                  <a:gd name="T87" fmla="*/ 625 h 923"/>
                  <a:gd name="T88" fmla="*/ 277 w 1029"/>
                  <a:gd name="T89" fmla="*/ 575 h 923"/>
                  <a:gd name="T90" fmla="*/ 220 w 1029"/>
                  <a:gd name="T91" fmla="*/ 518 h 923"/>
                  <a:gd name="T92" fmla="*/ 163 w 1029"/>
                  <a:gd name="T93" fmla="*/ 504 h 923"/>
                  <a:gd name="T94" fmla="*/ 142 w 1029"/>
                  <a:gd name="T95" fmla="*/ 504 h 923"/>
                  <a:gd name="T96" fmla="*/ 64 w 1029"/>
                  <a:gd name="T97" fmla="*/ 511 h 923"/>
                  <a:gd name="T98" fmla="*/ 85 w 1029"/>
                  <a:gd name="T99" fmla="*/ 476 h 923"/>
                  <a:gd name="T100" fmla="*/ 92 w 1029"/>
                  <a:gd name="T101" fmla="*/ 454 h 923"/>
                  <a:gd name="T102" fmla="*/ 50 w 1029"/>
                  <a:gd name="T103" fmla="*/ 398 h 923"/>
                  <a:gd name="T104" fmla="*/ 57 w 1029"/>
                  <a:gd name="T105" fmla="*/ 355 h 923"/>
                  <a:gd name="T106" fmla="*/ 71 w 1029"/>
                  <a:gd name="T107" fmla="*/ 305 h 923"/>
                  <a:gd name="T108" fmla="*/ 43 w 1029"/>
                  <a:gd name="T109" fmla="*/ 270 h 923"/>
                  <a:gd name="T110" fmla="*/ 21 w 1029"/>
                  <a:gd name="T111" fmla="*/ 192 h 923"/>
                  <a:gd name="T112" fmla="*/ 7 w 1029"/>
                  <a:gd name="T113" fmla="*/ 128 h 923"/>
                  <a:gd name="T114" fmla="*/ 29 w 1029"/>
                  <a:gd name="T115" fmla="*/ 57 h 923"/>
                  <a:gd name="T116" fmla="*/ 114 w 1029"/>
                  <a:gd name="T117" fmla="*/ 21 h 923"/>
                  <a:gd name="T118" fmla="*/ 149 w 1029"/>
                  <a:gd name="T119" fmla="*/ 64 h 923"/>
                  <a:gd name="T120" fmla="*/ 227 w 1029"/>
                  <a:gd name="T121" fmla="*/ 149 h 923"/>
                  <a:gd name="T122" fmla="*/ 312 w 1029"/>
                  <a:gd name="T123" fmla="*/ 199 h 923"/>
                  <a:gd name="T124" fmla="*/ 376 w 1029"/>
                  <a:gd name="T125" fmla="*/ 220 h 9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923">
                    <a:moveTo>
                      <a:pt x="405" y="227"/>
                    </a:moveTo>
                    <a:lnTo>
                      <a:pt x="405" y="227"/>
                    </a:lnTo>
                    <a:lnTo>
                      <a:pt x="405" y="220"/>
                    </a:lnTo>
                    <a:lnTo>
                      <a:pt x="405" y="220"/>
                    </a:lnTo>
                    <a:lnTo>
                      <a:pt x="405" y="220"/>
                    </a:lnTo>
                    <a:lnTo>
                      <a:pt x="405" y="220"/>
                    </a:lnTo>
                    <a:lnTo>
                      <a:pt x="412" y="227"/>
                    </a:lnTo>
                    <a:lnTo>
                      <a:pt x="412" y="227"/>
                    </a:lnTo>
                    <a:lnTo>
                      <a:pt x="419" y="227"/>
                    </a:lnTo>
                    <a:lnTo>
                      <a:pt x="419" y="234"/>
                    </a:lnTo>
                    <a:lnTo>
                      <a:pt x="426" y="234"/>
                    </a:lnTo>
                    <a:lnTo>
                      <a:pt x="426" y="234"/>
                    </a:lnTo>
                    <a:lnTo>
                      <a:pt x="426" y="234"/>
                    </a:lnTo>
                    <a:lnTo>
                      <a:pt x="426" y="234"/>
                    </a:lnTo>
                    <a:lnTo>
                      <a:pt x="426" y="234"/>
                    </a:lnTo>
                    <a:lnTo>
                      <a:pt x="433" y="234"/>
                    </a:lnTo>
                    <a:lnTo>
                      <a:pt x="433" y="241"/>
                    </a:lnTo>
                    <a:lnTo>
                      <a:pt x="433" y="249"/>
                    </a:lnTo>
                    <a:lnTo>
                      <a:pt x="440" y="249"/>
                    </a:lnTo>
                    <a:lnTo>
                      <a:pt x="440" y="249"/>
                    </a:lnTo>
                    <a:lnTo>
                      <a:pt x="440" y="249"/>
                    </a:lnTo>
                    <a:lnTo>
                      <a:pt x="447" y="249"/>
                    </a:lnTo>
                    <a:lnTo>
                      <a:pt x="447" y="249"/>
                    </a:lnTo>
                    <a:lnTo>
                      <a:pt x="447" y="249"/>
                    </a:lnTo>
                    <a:lnTo>
                      <a:pt x="454" y="256"/>
                    </a:lnTo>
                    <a:lnTo>
                      <a:pt x="462" y="256"/>
                    </a:lnTo>
                    <a:lnTo>
                      <a:pt x="462" y="256"/>
                    </a:lnTo>
                    <a:lnTo>
                      <a:pt x="454" y="249"/>
                    </a:lnTo>
                    <a:lnTo>
                      <a:pt x="454" y="241"/>
                    </a:lnTo>
                    <a:lnTo>
                      <a:pt x="462" y="241"/>
                    </a:lnTo>
                    <a:lnTo>
                      <a:pt x="462" y="241"/>
                    </a:lnTo>
                    <a:lnTo>
                      <a:pt x="469" y="241"/>
                    </a:lnTo>
                    <a:lnTo>
                      <a:pt x="469" y="241"/>
                    </a:lnTo>
                    <a:lnTo>
                      <a:pt x="469" y="241"/>
                    </a:lnTo>
                    <a:lnTo>
                      <a:pt x="469" y="241"/>
                    </a:lnTo>
                    <a:lnTo>
                      <a:pt x="469" y="241"/>
                    </a:lnTo>
                    <a:lnTo>
                      <a:pt x="469" y="249"/>
                    </a:lnTo>
                    <a:lnTo>
                      <a:pt x="476" y="249"/>
                    </a:lnTo>
                    <a:lnTo>
                      <a:pt x="476" y="249"/>
                    </a:lnTo>
                    <a:lnTo>
                      <a:pt x="476" y="249"/>
                    </a:lnTo>
                    <a:lnTo>
                      <a:pt x="483" y="256"/>
                    </a:lnTo>
                    <a:lnTo>
                      <a:pt x="483" y="256"/>
                    </a:lnTo>
                    <a:lnTo>
                      <a:pt x="483" y="256"/>
                    </a:lnTo>
                    <a:lnTo>
                      <a:pt x="490" y="256"/>
                    </a:lnTo>
                    <a:lnTo>
                      <a:pt x="490" y="256"/>
                    </a:lnTo>
                    <a:lnTo>
                      <a:pt x="497" y="263"/>
                    </a:lnTo>
                    <a:lnTo>
                      <a:pt x="497" y="263"/>
                    </a:lnTo>
                    <a:lnTo>
                      <a:pt x="504" y="263"/>
                    </a:lnTo>
                    <a:lnTo>
                      <a:pt x="504" y="263"/>
                    </a:lnTo>
                    <a:lnTo>
                      <a:pt x="511" y="263"/>
                    </a:lnTo>
                    <a:lnTo>
                      <a:pt x="511" y="270"/>
                    </a:lnTo>
                    <a:lnTo>
                      <a:pt x="511" y="270"/>
                    </a:lnTo>
                    <a:lnTo>
                      <a:pt x="511" y="270"/>
                    </a:lnTo>
                    <a:lnTo>
                      <a:pt x="511" y="270"/>
                    </a:lnTo>
                    <a:lnTo>
                      <a:pt x="518" y="270"/>
                    </a:lnTo>
                    <a:lnTo>
                      <a:pt x="518" y="277"/>
                    </a:lnTo>
                    <a:lnTo>
                      <a:pt x="518" y="277"/>
                    </a:lnTo>
                    <a:lnTo>
                      <a:pt x="525" y="270"/>
                    </a:lnTo>
                    <a:lnTo>
                      <a:pt x="525" y="277"/>
                    </a:lnTo>
                    <a:lnTo>
                      <a:pt x="525" y="277"/>
                    </a:lnTo>
                    <a:lnTo>
                      <a:pt x="525" y="277"/>
                    </a:lnTo>
                    <a:lnTo>
                      <a:pt x="525" y="277"/>
                    </a:lnTo>
                    <a:lnTo>
                      <a:pt x="547" y="284"/>
                    </a:lnTo>
                    <a:lnTo>
                      <a:pt x="547" y="284"/>
                    </a:lnTo>
                    <a:lnTo>
                      <a:pt x="554" y="284"/>
                    </a:lnTo>
                    <a:lnTo>
                      <a:pt x="554" y="298"/>
                    </a:lnTo>
                    <a:lnTo>
                      <a:pt x="561" y="298"/>
                    </a:lnTo>
                    <a:lnTo>
                      <a:pt x="568" y="305"/>
                    </a:lnTo>
                    <a:lnTo>
                      <a:pt x="568" y="312"/>
                    </a:lnTo>
                    <a:lnTo>
                      <a:pt x="568" y="312"/>
                    </a:lnTo>
                    <a:lnTo>
                      <a:pt x="568" y="312"/>
                    </a:lnTo>
                    <a:lnTo>
                      <a:pt x="568" y="312"/>
                    </a:lnTo>
                    <a:lnTo>
                      <a:pt x="568" y="312"/>
                    </a:lnTo>
                    <a:lnTo>
                      <a:pt x="568" y="320"/>
                    </a:lnTo>
                    <a:lnTo>
                      <a:pt x="568" y="320"/>
                    </a:lnTo>
                    <a:lnTo>
                      <a:pt x="575" y="320"/>
                    </a:lnTo>
                    <a:lnTo>
                      <a:pt x="575" y="312"/>
                    </a:lnTo>
                    <a:lnTo>
                      <a:pt x="575" y="312"/>
                    </a:lnTo>
                    <a:lnTo>
                      <a:pt x="575" y="312"/>
                    </a:lnTo>
                    <a:lnTo>
                      <a:pt x="575" y="312"/>
                    </a:lnTo>
                    <a:lnTo>
                      <a:pt x="575" y="312"/>
                    </a:lnTo>
                    <a:lnTo>
                      <a:pt x="582" y="312"/>
                    </a:lnTo>
                    <a:lnTo>
                      <a:pt x="582" y="312"/>
                    </a:lnTo>
                    <a:lnTo>
                      <a:pt x="589" y="312"/>
                    </a:lnTo>
                    <a:lnTo>
                      <a:pt x="589" y="320"/>
                    </a:lnTo>
                    <a:lnTo>
                      <a:pt x="589" y="320"/>
                    </a:lnTo>
                    <a:lnTo>
                      <a:pt x="589" y="320"/>
                    </a:lnTo>
                    <a:lnTo>
                      <a:pt x="589" y="327"/>
                    </a:lnTo>
                    <a:lnTo>
                      <a:pt x="589" y="327"/>
                    </a:lnTo>
                    <a:lnTo>
                      <a:pt x="604" y="334"/>
                    </a:lnTo>
                    <a:lnTo>
                      <a:pt x="604" y="334"/>
                    </a:lnTo>
                    <a:lnTo>
                      <a:pt x="611" y="334"/>
                    </a:lnTo>
                    <a:lnTo>
                      <a:pt x="611" y="334"/>
                    </a:lnTo>
                    <a:lnTo>
                      <a:pt x="611" y="334"/>
                    </a:lnTo>
                    <a:lnTo>
                      <a:pt x="611" y="334"/>
                    </a:lnTo>
                    <a:lnTo>
                      <a:pt x="611" y="334"/>
                    </a:lnTo>
                    <a:lnTo>
                      <a:pt x="618" y="341"/>
                    </a:lnTo>
                    <a:lnTo>
                      <a:pt x="625" y="341"/>
                    </a:lnTo>
                    <a:lnTo>
                      <a:pt x="625" y="341"/>
                    </a:lnTo>
                    <a:lnTo>
                      <a:pt x="632" y="348"/>
                    </a:lnTo>
                    <a:lnTo>
                      <a:pt x="639" y="348"/>
                    </a:lnTo>
                    <a:lnTo>
                      <a:pt x="639" y="355"/>
                    </a:lnTo>
                    <a:lnTo>
                      <a:pt x="646" y="355"/>
                    </a:lnTo>
                    <a:lnTo>
                      <a:pt x="646" y="355"/>
                    </a:lnTo>
                    <a:lnTo>
                      <a:pt x="653" y="355"/>
                    </a:lnTo>
                    <a:lnTo>
                      <a:pt x="653" y="348"/>
                    </a:lnTo>
                    <a:lnTo>
                      <a:pt x="660" y="348"/>
                    </a:lnTo>
                    <a:lnTo>
                      <a:pt x="667" y="348"/>
                    </a:lnTo>
                    <a:lnTo>
                      <a:pt x="667" y="348"/>
                    </a:lnTo>
                    <a:lnTo>
                      <a:pt x="675" y="348"/>
                    </a:lnTo>
                    <a:lnTo>
                      <a:pt x="675" y="348"/>
                    </a:lnTo>
                    <a:lnTo>
                      <a:pt x="675" y="355"/>
                    </a:lnTo>
                    <a:lnTo>
                      <a:pt x="682" y="355"/>
                    </a:lnTo>
                    <a:lnTo>
                      <a:pt x="703" y="369"/>
                    </a:lnTo>
                    <a:lnTo>
                      <a:pt x="710" y="369"/>
                    </a:lnTo>
                    <a:lnTo>
                      <a:pt x="717" y="376"/>
                    </a:lnTo>
                    <a:lnTo>
                      <a:pt x="724" y="376"/>
                    </a:lnTo>
                    <a:lnTo>
                      <a:pt x="731" y="376"/>
                    </a:lnTo>
                    <a:lnTo>
                      <a:pt x="753" y="376"/>
                    </a:lnTo>
                    <a:lnTo>
                      <a:pt x="753" y="376"/>
                    </a:lnTo>
                    <a:lnTo>
                      <a:pt x="760" y="376"/>
                    </a:lnTo>
                    <a:lnTo>
                      <a:pt x="760" y="383"/>
                    </a:lnTo>
                    <a:lnTo>
                      <a:pt x="760" y="398"/>
                    </a:lnTo>
                    <a:lnTo>
                      <a:pt x="760" y="398"/>
                    </a:lnTo>
                    <a:lnTo>
                      <a:pt x="767" y="405"/>
                    </a:lnTo>
                    <a:lnTo>
                      <a:pt x="781" y="405"/>
                    </a:lnTo>
                    <a:lnTo>
                      <a:pt x="788" y="405"/>
                    </a:lnTo>
                    <a:lnTo>
                      <a:pt x="795" y="405"/>
                    </a:lnTo>
                    <a:lnTo>
                      <a:pt x="802" y="412"/>
                    </a:lnTo>
                    <a:lnTo>
                      <a:pt x="816" y="412"/>
                    </a:lnTo>
                    <a:lnTo>
                      <a:pt x="824" y="412"/>
                    </a:lnTo>
                    <a:lnTo>
                      <a:pt x="831" y="419"/>
                    </a:lnTo>
                    <a:lnTo>
                      <a:pt x="831" y="419"/>
                    </a:lnTo>
                    <a:lnTo>
                      <a:pt x="831" y="419"/>
                    </a:lnTo>
                    <a:lnTo>
                      <a:pt x="831" y="426"/>
                    </a:lnTo>
                    <a:lnTo>
                      <a:pt x="838" y="426"/>
                    </a:lnTo>
                    <a:lnTo>
                      <a:pt x="838" y="426"/>
                    </a:lnTo>
                    <a:lnTo>
                      <a:pt x="838" y="426"/>
                    </a:lnTo>
                    <a:lnTo>
                      <a:pt x="845" y="426"/>
                    </a:lnTo>
                    <a:lnTo>
                      <a:pt x="845" y="419"/>
                    </a:lnTo>
                    <a:lnTo>
                      <a:pt x="845" y="419"/>
                    </a:lnTo>
                    <a:lnTo>
                      <a:pt x="852" y="412"/>
                    </a:lnTo>
                    <a:lnTo>
                      <a:pt x="852" y="412"/>
                    </a:lnTo>
                    <a:lnTo>
                      <a:pt x="845" y="412"/>
                    </a:lnTo>
                    <a:lnTo>
                      <a:pt x="845" y="412"/>
                    </a:lnTo>
                    <a:lnTo>
                      <a:pt x="845" y="405"/>
                    </a:lnTo>
                    <a:lnTo>
                      <a:pt x="845" y="405"/>
                    </a:lnTo>
                    <a:lnTo>
                      <a:pt x="852" y="405"/>
                    </a:lnTo>
                    <a:lnTo>
                      <a:pt x="859" y="405"/>
                    </a:lnTo>
                    <a:lnTo>
                      <a:pt x="880" y="405"/>
                    </a:lnTo>
                    <a:lnTo>
                      <a:pt x="887" y="412"/>
                    </a:lnTo>
                    <a:lnTo>
                      <a:pt x="909" y="419"/>
                    </a:lnTo>
                    <a:lnTo>
                      <a:pt x="909" y="419"/>
                    </a:lnTo>
                    <a:lnTo>
                      <a:pt x="916" y="419"/>
                    </a:lnTo>
                    <a:lnTo>
                      <a:pt x="916" y="419"/>
                    </a:lnTo>
                    <a:lnTo>
                      <a:pt x="916" y="426"/>
                    </a:lnTo>
                    <a:lnTo>
                      <a:pt x="916" y="426"/>
                    </a:lnTo>
                    <a:lnTo>
                      <a:pt x="916" y="426"/>
                    </a:lnTo>
                    <a:lnTo>
                      <a:pt x="916" y="426"/>
                    </a:lnTo>
                    <a:lnTo>
                      <a:pt x="916" y="426"/>
                    </a:lnTo>
                    <a:lnTo>
                      <a:pt x="916" y="426"/>
                    </a:lnTo>
                    <a:lnTo>
                      <a:pt x="916" y="426"/>
                    </a:lnTo>
                    <a:lnTo>
                      <a:pt x="916" y="426"/>
                    </a:lnTo>
                    <a:lnTo>
                      <a:pt x="916" y="433"/>
                    </a:lnTo>
                    <a:lnTo>
                      <a:pt x="916" y="433"/>
                    </a:lnTo>
                    <a:lnTo>
                      <a:pt x="923" y="433"/>
                    </a:lnTo>
                    <a:lnTo>
                      <a:pt x="923" y="433"/>
                    </a:lnTo>
                    <a:lnTo>
                      <a:pt x="923" y="433"/>
                    </a:lnTo>
                    <a:lnTo>
                      <a:pt x="923" y="433"/>
                    </a:lnTo>
                    <a:lnTo>
                      <a:pt x="923" y="440"/>
                    </a:lnTo>
                    <a:lnTo>
                      <a:pt x="923" y="440"/>
                    </a:lnTo>
                    <a:lnTo>
                      <a:pt x="923" y="440"/>
                    </a:lnTo>
                    <a:lnTo>
                      <a:pt x="923" y="447"/>
                    </a:lnTo>
                    <a:lnTo>
                      <a:pt x="930" y="447"/>
                    </a:lnTo>
                    <a:lnTo>
                      <a:pt x="930" y="447"/>
                    </a:lnTo>
                    <a:lnTo>
                      <a:pt x="930" y="454"/>
                    </a:lnTo>
                    <a:lnTo>
                      <a:pt x="930" y="454"/>
                    </a:lnTo>
                    <a:lnTo>
                      <a:pt x="937" y="454"/>
                    </a:lnTo>
                    <a:lnTo>
                      <a:pt x="937" y="462"/>
                    </a:lnTo>
                    <a:lnTo>
                      <a:pt x="937" y="462"/>
                    </a:lnTo>
                    <a:lnTo>
                      <a:pt x="937" y="462"/>
                    </a:lnTo>
                    <a:lnTo>
                      <a:pt x="937" y="462"/>
                    </a:lnTo>
                    <a:lnTo>
                      <a:pt x="937" y="469"/>
                    </a:lnTo>
                    <a:lnTo>
                      <a:pt x="937" y="469"/>
                    </a:lnTo>
                    <a:lnTo>
                      <a:pt x="937" y="469"/>
                    </a:lnTo>
                    <a:lnTo>
                      <a:pt x="944" y="476"/>
                    </a:lnTo>
                    <a:lnTo>
                      <a:pt x="944" y="483"/>
                    </a:lnTo>
                    <a:lnTo>
                      <a:pt x="951" y="483"/>
                    </a:lnTo>
                    <a:lnTo>
                      <a:pt x="951" y="483"/>
                    </a:lnTo>
                    <a:lnTo>
                      <a:pt x="951" y="483"/>
                    </a:lnTo>
                    <a:lnTo>
                      <a:pt x="951" y="483"/>
                    </a:lnTo>
                    <a:lnTo>
                      <a:pt x="958" y="490"/>
                    </a:lnTo>
                    <a:lnTo>
                      <a:pt x="958" y="490"/>
                    </a:lnTo>
                    <a:lnTo>
                      <a:pt x="958" y="490"/>
                    </a:lnTo>
                    <a:lnTo>
                      <a:pt x="958" y="483"/>
                    </a:lnTo>
                    <a:lnTo>
                      <a:pt x="958" y="483"/>
                    </a:lnTo>
                    <a:lnTo>
                      <a:pt x="966" y="483"/>
                    </a:lnTo>
                    <a:lnTo>
                      <a:pt x="966" y="483"/>
                    </a:lnTo>
                    <a:lnTo>
                      <a:pt x="966" y="483"/>
                    </a:lnTo>
                    <a:lnTo>
                      <a:pt x="966" y="483"/>
                    </a:lnTo>
                    <a:lnTo>
                      <a:pt x="966" y="483"/>
                    </a:lnTo>
                    <a:lnTo>
                      <a:pt x="966" y="483"/>
                    </a:lnTo>
                    <a:lnTo>
                      <a:pt x="973" y="490"/>
                    </a:lnTo>
                    <a:lnTo>
                      <a:pt x="973" y="490"/>
                    </a:lnTo>
                    <a:lnTo>
                      <a:pt x="973" y="490"/>
                    </a:lnTo>
                    <a:lnTo>
                      <a:pt x="973" y="497"/>
                    </a:lnTo>
                    <a:lnTo>
                      <a:pt x="973" y="504"/>
                    </a:lnTo>
                    <a:lnTo>
                      <a:pt x="973" y="504"/>
                    </a:lnTo>
                    <a:lnTo>
                      <a:pt x="973" y="504"/>
                    </a:lnTo>
                    <a:lnTo>
                      <a:pt x="973" y="504"/>
                    </a:lnTo>
                    <a:lnTo>
                      <a:pt x="973" y="504"/>
                    </a:lnTo>
                    <a:lnTo>
                      <a:pt x="980" y="504"/>
                    </a:lnTo>
                    <a:lnTo>
                      <a:pt x="980" y="504"/>
                    </a:lnTo>
                    <a:lnTo>
                      <a:pt x="980" y="504"/>
                    </a:lnTo>
                    <a:lnTo>
                      <a:pt x="987" y="518"/>
                    </a:lnTo>
                    <a:lnTo>
                      <a:pt x="994" y="518"/>
                    </a:lnTo>
                    <a:lnTo>
                      <a:pt x="994" y="518"/>
                    </a:lnTo>
                    <a:lnTo>
                      <a:pt x="994" y="518"/>
                    </a:lnTo>
                    <a:lnTo>
                      <a:pt x="994" y="518"/>
                    </a:lnTo>
                    <a:lnTo>
                      <a:pt x="994" y="518"/>
                    </a:lnTo>
                    <a:lnTo>
                      <a:pt x="973" y="518"/>
                    </a:lnTo>
                    <a:lnTo>
                      <a:pt x="966" y="518"/>
                    </a:lnTo>
                    <a:lnTo>
                      <a:pt x="958" y="518"/>
                    </a:lnTo>
                    <a:lnTo>
                      <a:pt x="958" y="518"/>
                    </a:lnTo>
                    <a:lnTo>
                      <a:pt x="958" y="518"/>
                    </a:lnTo>
                    <a:lnTo>
                      <a:pt x="951" y="518"/>
                    </a:lnTo>
                    <a:lnTo>
                      <a:pt x="951" y="518"/>
                    </a:lnTo>
                    <a:lnTo>
                      <a:pt x="951" y="518"/>
                    </a:lnTo>
                    <a:lnTo>
                      <a:pt x="951" y="518"/>
                    </a:lnTo>
                    <a:lnTo>
                      <a:pt x="951" y="525"/>
                    </a:lnTo>
                    <a:lnTo>
                      <a:pt x="951" y="525"/>
                    </a:lnTo>
                    <a:lnTo>
                      <a:pt x="951" y="533"/>
                    </a:lnTo>
                    <a:lnTo>
                      <a:pt x="951" y="533"/>
                    </a:lnTo>
                    <a:lnTo>
                      <a:pt x="951" y="533"/>
                    </a:lnTo>
                    <a:lnTo>
                      <a:pt x="944" y="533"/>
                    </a:lnTo>
                    <a:lnTo>
                      <a:pt x="944" y="533"/>
                    </a:lnTo>
                    <a:lnTo>
                      <a:pt x="937" y="533"/>
                    </a:lnTo>
                    <a:lnTo>
                      <a:pt x="937" y="533"/>
                    </a:lnTo>
                    <a:lnTo>
                      <a:pt x="937" y="533"/>
                    </a:lnTo>
                    <a:lnTo>
                      <a:pt x="937" y="540"/>
                    </a:lnTo>
                    <a:lnTo>
                      <a:pt x="937" y="540"/>
                    </a:lnTo>
                    <a:lnTo>
                      <a:pt x="937" y="540"/>
                    </a:lnTo>
                    <a:lnTo>
                      <a:pt x="937" y="540"/>
                    </a:lnTo>
                    <a:lnTo>
                      <a:pt x="937" y="540"/>
                    </a:lnTo>
                    <a:lnTo>
                      <a:pt x="937" y="540"/>
                    </a:lnTo>
                    <a:lnTo>
                      <a:pt x="937" y="540"/>
                    </a:lnTo>
                    <a:lnTo>
                      <a:pt x="937" y="540"/>
                    </a:lnTo>
                    <a:lnTo>
                      <a:pt x="937" y="540"/>
                    </a:lnTo>
                    <a:lnTo>
                      <a:pt x="937" y="533"/>
                    </a:lnTo>
                    <a:lnTo>
                      <a:pt x="930" y="533"/>
                    </a:lnTo>
                    <a:lnTo>
                      <a:pt x="930" y="533"/>
                    </a:lnTo>
                    <a:lnTo>
                      <a:pt x="930" y="533"/>
                    </a:lnTo>
                    <a:lnTo>
                      <a:pt x="930" y="533"/>
                    </a:lnTo>
                    <a:lnTo>
                      <a:pt x="930" y="540"/>
                    </a:lnTo>
                    <a:lnTo>
                      <a:pt x="930" y="540"/>
                    </a:lnTo>
                    <a:lnTo>
                      <a:pt x="930" y="540"/>
                    </a:lnTo>
                    <a:lnTo>
                      <a:pt x="930" y="540"/>
                    </a:lnTo>
                    <a:lnTo>
                      <a:pt x="930" y="547"/>
                    </a:lnTo>
                    <a:lnTo>
                      <a:pt x="930" y="547"/>
                    </a:lnTo>
                    <a:lnTo>
                      <a:pt x="930" y="547"/>
                    </a:lnTo>
                    <a:lnTo>
                      <a:pt x="937" y="547"/>
                    </a:lnTo>
                    <a:lnTo>
                      <a:pt x="937" y="547"/>
                    </a:lnTo>
                    <a:lnTo>
                      <a:pt x="937" y="547"/>
                    </a:lnTo>
                    <a:lnTo>
                      <a:pt x="937" y="547"/>
                    </a:lnTo>
                    <a:lnTo>
                      <a:pt x="937" y="547"/>
                    </a:lnTo>
                    <a:lnTo>
                      <a:pt x="944" y="547"/>
                    </a:lnTo>
                    <a:lnTo>
                      <a:pt x="944" y="547"/>
                    </a:lnTo>
                    <a:lnTo>
                      <a:pt x="944" y="547"/>
                    </a:lnTo>
                    <a:lnTo>
                      <a:pt x="944" y="547"/>
                    </a:lnTo>
                    <a:lnTo>
                      <a:pt x="944" y="547"/>
                    </a:lnTo>
                    <a:lnTo>
                      <a:pt x="944" y="547"/>
                    </a:lnTo>
                    <a:lnTo>
                      <a:pt x="944" y="547"/>
                    </a:lnTo>
                    <a:lnTo>
                      <a:pt x="951" y="554"/>
                    </a:lnTo>
                    <a:lnTo>
                      <a:pt x="951" y="554"/>
                    </a:lnTo>
                    <a:lnTo>
                      <a:pt x="958" y="554"/>
                    </a:lnTo>
                    <a:lnTo>
                      <a:pt x="966" y="554"/>
                    </a:lnTo>
                    <a:lnTo>
                      <a:pt x="966" y="554"/>
                    </a:lnTo>
                    <a:lnTo>
                      <a:pt x="966" y="554"/>
                    </a:lnTo>
                    <a:lnTo>
                      <a:pt x="966" y="561"/>
                    </a:lnTo>
                    <a:lnTo>
                      <a:pt x="966" y="561"/>
                    </a:lnTo>
                    <a:lnTo>
                      <a:pt x="966" y="561"/>
                    </a:lnTo>
                    <a:lnTo>
                      <a:pt x="966" y="568"/>
                    </a:lnTo>
                    <a:lnTo>
                      <a:pt x="966" y="568"/>
                    </a:lnTo>
                    <a:lnTo>
                      <a:pt x="966" y="568"/>
                    </a:lnTo>
                    <a:lnTo>
                      <a:pt x="966" y="568"/>
                    </a:lnTo>
                    <a:lnTo>
                      <a:pt x="966" y="575"/>
                    </a:lnTo>
                    <a:lnTo>
                      <a:pt x="966" y="575"/>
                    </a:lnTo>
                    <a:lnTo>
                      <a:pt x="966" y="575"/>
                    </a:lnTo>
                    <a:lnTo>
                      <a:pt x="966" y="575"/>
                    </a:lnTo>
                    <a:lnTo>
                      <a:pt x="966" y="575"/>
                    </a:lnTo>
                    <a:lnTo>
                      <a:pt x="958" y="575"/>
                    </a:lnTo>
                    <a:lnTo>
                      <a:pt x="958" y="575"/>
                    </a:lnTo>
                    <a:lnTo>
                      <a:pt x="958" y="575"/>
                    </a:lnTo>
                    <a:lnTo>
                      <a:pt x="958" y="575"/>
                    </a:lnTo>
                    <a:lnTo>
                      <a:pt x="958" y="575"/>
                    </a:lnTo>
                    <a:lnTo>
                      <a:pt x="958" y="575"/>
                    </a:lnTo>
                    <a:lnTo>
                      <a:pt x="951" y="575"/>
                    </a:lnTo>
                    <a:lnTo>
                      <a:pt x="944" y="575"/>
                    </a:lnTo>
                    <a:lnTo>
                      <a:pt x="944" y="575"/>
                    </a:lnTo>
                    <a:lnTo>
                      <a:pt x="944" y="575"/>
                    </a:lnTo>
                    <a:lnTo>
                      <a:pt x="944" y="575"/>
                    </a:lnTo>
                    <a:lnTo>
                      <a:pt x="944" y="582"/>
                    </a:lnTo>
                    <a:lnTo>
                      <a:pt x="944" y="582"/>
                    </a:lnTo>
                    <a:lnTo>
                      <a:pt x="944" y="582"/>
                    </a:lnTo>
                    <a:lnTo>
                      <a:pt x="944" y="582"/>
                    </a:lnTo>
                    <a:lnTo>
                      <a:pt x="944" y="582"/>
                    </a:lnTo>
                    <a:lnTo>
                      <a:pt x="944" y="582"/>
                    </a:lnTo>
                    <a:lnTo>
                      <a:pt x="944" y="589"/>
                    </a:lnTo>
                    <a:lnTo>
                      <a:pt x="951" y="589"/>
                    </a:lnTo>
                    <a:lnTo>
                      <a:pt x="951" y="596"/>
                    </a:lnTo>
                    <a:lnTo>
                      <a:pt x="958" y="596"/>
                    </a:lnTo>
                    <a:lnTo>
                      <a:pt x="958" y="603"/>
                    </a:lnTo>
                    <a:lnTo>
                      <a:pt x="958" y="603"/>
                    </a:lnTo>
                    <a:lnTo>
                      <a:pt x="958" y="603"/>
                    </a:lnTo>
                    <a:lnTo>
                      <a:pt x="966" y="603"/>
                    </a:lnTo>
                    <a:lnTo>
                      <a:pt x="966" y="603"/>
                    </a:lnTo>
                    <a:lnTo>
                      <a:pt x="966" y="603"/>
                    </a:lnTo>
                    <a:lnTo>
                      <a:pt x="966" y="603"/>
                    </a:lnTo>
                    <a:lnTo>
                      <a:pt x="966" y="611"/>
                    </a:lnTo>
                    <a:lnTo>
                      <a:pt x="973" y="611"/>
                    </a:lnTo>
                    <a:lnTo>
                      <a:pt x="973" y="611"/>
                    </a:lnTo>
                    <a:lnTo>
                      <a:pt x="973" y="611"/>
                    </a:lnTo>
                    <a:lnTo>
                      <a:pt x="973" y="611"/>
                    </a:lnTo>
                    <a:lnTo>
                      <a:pt x="973" y="611"/>
                    </a:lnTo>
                    <a:lnTo>
                      <a:pt x="980" y="618"/>
                    </a:lnTo>
                    <a:lnTo>
                      <a:pt x="980" y="618"/>
                    </a:lnTo>
                    <a:lnTo>
                      <a:pt x="980" y="618"/>
                    </a:lnTo>
                    <a:lnTo>
                      <a:pt x="980" y="625"/>
                    </a:lnTo>
                    <a:lnTo>
                      <a:pt x="980" y="625"/>
                    </a:lnTo>
                    <a:lnTo>
                      <a:pt x="987" y="625"/>
                    </a:lnTo>
                    <a:lnTo>
                      <a:pt x="987" y="625"/>
                    </a:lnTo>
                    <a:lnTo>
                      <a:pt x="994" y="625"/>
                    </a:lnTo>
                    <a:lnTo>
                      <a:pt x="994" y="625"/>
                    </a:lnTo>
                    <a:lnTo>
                      <a:pt x="994" y="625"/>
                    </a:lnTo>
                    <a:lnTo>
                      <a:pt x="1001" y="625"/>
                    </a:lnTo>
                    <a:lnTo>
                      <a:pt x="1001" y="625"/>
                    </a:lnTo>
                    <a:lnTo>
                      <a:pt x="1001" y="625"/>
                    </a:lnTo>
                    <a:lnTo>
                      <a:pt x="1001" y="625"/>
                    </a:lnTo>
                    <a:lnTo>
                      <a:pt x="1001" y="632"/>
                    </a:lnTo>
                    <a:lnTo>
                      <a:pt x="1008" y="632"/>
                    </a:lnTo>
                    <a:lnTo>
                      <a:pt x="1008" y="632"/>
                    </a:lnTo>
                    <a:lnTo>
                      <a:pt x="1015" y="632"/>
                    </a:lnTo>
                    <a:lnTo>
                      <a:pt x="1015" y="632"/>
                    </a:lnTo>
                    <a:lnTo>
                      <a:pt x="1022" y="632"/>
                    </a:lnTo>
                    <a:lnTo>
                      <a:pt x="1029" y="639"/>
                    </a:lnTo>
                    <a:lnTo>
                      <a:pt x="1029" y="639"/>
                    </a:lnTo>
                    <a:lnTo>
                      <a:pt x="1029" y="646"/>
                    </a:lnTo>
                    <a:lnTo>
                      <a:pt x="1029" y="646"/>
                    </a:lnTo>
                    <a:lnTo>
                      <a:pt x="1029" y="646"/>
                    </a:lnTo>
                    <a:lnTo>
                      <a:pt x="1029" y="646"/>
                    </a:lnTo>
                    <a:lnTo>
                      <a:pt x="1029" y="653"/>
                    </a:lnTo>
                    <a:lnTo>
                      <a:pt x="1029" y="653"/>
                    </a:lnTo>
                    <a:lnTo>
                      <a:pt x="1022" y="653"/>
                    </a:lnTo>
                    <a:lnTo>
                      <a:pt x="1022" y="653"/>
                    </a:lnTo>
                    <a:lnTo>
                      <a:pt x="1022" y="653"/>
                    </a:lnTo>
                    <a:lnTo>
                      <a:pt x="1015" y="653"/>
                    </a:lnTo>
                    <a:lnTo>
                      <a:pt x="1015" y="653"/>
                    </a:lnTo>
                    <a:lnTo>
                      <a:pt x="1015" y="653"/>
                    </a:lnTo>
                    <a:lnTo>
                      <a:pt x="1015" y="653"/>
                    </a:lnTo>
                    <a:lnTo>
                      <a:pt x="1008" y="653"/>
                    </a:lnTo>
                    <a:lnTo>
                      <a:pt x="1008" y="653"/>
                    </a:lnTo>
                    <a:lnTo>
                      <a:pt x="1001" y="646"/>
                    </a:lnTo>
                    <a:lnTo>
                      <a:pt x="1001" y="646"/>
                    </a:lnTo>
                    <a:lnTo>
                      <a:pt x="994" y="646"/>
                    </a:lnTo>
                    <a:lnTo>
                      <a:pt x="994" y="646"/>
                    </a:lnTo>
                    <a:lnTo>
                      <a:pt x="994" y="646"/>
                    </a:lnTo>
                    <a:lnTo>
                      <a:pt x="994" y="653"/>
                    </a:lnTo>
                    <a:lnTo>
                      <a:pt x="994" y="653"/>
                    </a:lnTo>
                    <a:lnTo>
                      <a:pt x="994" y="660"/>
                    </a:lnTo>
                    <a:lnTo>
                      <a:pt x="994" y="660"/>
                    </a:lnTo>
                    <a:lnTo>
                      <a:pt x="994" y="660"/>
                    </a:lnTo>
                    <a:lnTo>
                      <a:pt x="994" y="660"/>
                    </a:lnTo>
                    <a:lnTo>
                      <a:pt x="994" y="660"/>
                    </a:lnTo>
                    <a:lnTo>
                      <a:pt x="994" y="660"/>
                    </a:lnTo>
                    <a:lnTo>
                      <a:pt x="994" y="660"/>
                    </a:lnTo>
                    <a:lnTo>
                      <a:pt x="994" y="660"/>
                    </a:lnTo>
                    <a:lnTo>
                      <a:pt x="994" y="660"/>
                    </a:lnTo>
                    <a:lnTo>
                      <a:pt x="987" y="667"/>
                    </a:lnTo>
                    <a:lnTo>
                      <a:pt x="987" y="667"/>
                    </a:lnTo>
                    <a:lnTo>
                      <a:pt x="987" y="667"/>
                    </a:lnTo>
                    <a:lnTo>
                      <a:pt x="987" y="667"/>
                    </a:lnTo>
                    <a:lnTo>
                      <a:pt x="980" y="667"/>
                    </a:lnTo>
                    <a:lnTo>
                      <a:pt x="980" y="667"/>
                    </a:lnTo>
                    <a:lnTo>
                      <a:pt x="980" y="660"/>
                    </a:lnTo>
                    <a:lnTo>
                      <a:pt x="980" y="660"/>
                    </a:lnTo>
                    <a:lnTo>
                      <a:pt x="980" y="660"/>
                    </a:lnTo>
                    <a:lnTo>
                      <a:pt x="980" y="660"/>
                    </a:lnTo>
                    <a:lnTo>
                      <a:pt x="980" y="660"/>
                    </a:lnTo>
                    <a:lnTo>
                      <a:pt x="980" y="660"/>
                    </a:lnTo>
                    <a:lnTo>
                      <a:pt x="980" y="660"/>
                    </a:lnTo>
                    <a:lnTo>
                      <a:pt x="980" y="660"/>
                    </a:lnTo>
                    <a:lnTo>
                      <a:pt x="980" y="660"/>
                    </a:lnTo>
                    <a:lnTo>
                      <a:pt x="980" y="660"/>
                    </a:lnTo>
                    <a:lnTo>
                      <a:pt x="980" y="653"/>
                    </a:lnTo>
                    <a:lnTo>
                      <a:pt x="980" y="653"/>
                    </a:lnTo>
                    <a:lnTo>
                      <a:pt x="980" y="653"/>
                    </a:lnTo>
                    <a:lnTo>
                      <a:pt x="973" y="653"/>
                    </a:lnTo>
                    <a:lnTo>
                      <a:pt x="966" y="653"/>
                    </a:lnTo>
                    <a:lnTo>
                      <a:pt x="958" y="660"/>
                    </a:lnTo>
                    <a:lnTo>
                      <a:pt x="951" y="667"/>
                    </a:lnTo>
                    <a:lnTo>
                      <a:pt x="951" y="674"/>
                    </a:lnTo>
                    <a:lnTo>
                      <a:pt x="937" y="682"/>
                    </a:lnTo>
                    <a:lnTo>
                      <a:pt x="937" y="682"/>
                    </a:lnTo>
                    <a:lnTo>
                      <a:pt x="937" y="682"/>
                    </a:lnTo>
                    <a:lnTo>
                      <a:pt x="937" y="682"/>
                    </a:lnTo>
                    <a:lnTo>
                      <a:pt x="930" y="689"/>
                    </a:lnTo>
                    <a:lnTo>
                      <a:pt x="930" y="689"/>
                    </a:lnTo>
                    <a:lnTo>
                      <a:pt x="930" y="689"/>
                    </a:lnTo>
                    <a:lnTo>
                      <a:pt x="923" y="689"/>
                    </a:lnTo>
                    <a:lnTo>
                      <a:pt x="923" y="696"/>
                    </a:lnTo>
                    <a:lnTo>
                      <a:pt x="923" y="696"/>
                    </a:lnTo>
                    <a:lnTo>
                      <a:pt x="909" y="703"/>
                    </a:lnTo>
                    <a:lnTo>
                      <a:pt x="887" y="717"/>
                    </a:lnTo>
                    <a:lnTo>
                      <a:pt x="887" y="717"/>
                    </a:lnTo>
                    <a:lnTo>
                      <a:pt x="887" y="717"/>
                    </a:lnTo>
                    <a:lnTo>
                      <a:pt x="880" y="724"/>
                    </a:lnTo>
                    <a:lnTo>
                      <a:pt x="873" y="724"/>
                    </a:lnTo>
                    <a:lnTo>
                      <a:pt x="873" y="724"/>
                    </a:lnTo>
                    <a:lnTo>
                      <a:pt x="873" y="731"/>
                    </a:lnTo>
                    <a:lnTo>
                      <a:pt x="866" y="731"/>
                    </a:lnTo>
                    <a:lnTo>
                      <a:pt x="866" y="731"/>
                    </a:lnTo>
                    <a:lnTo>
                      <a:pt x="866" y="731"/>
                    </a:lnTo>
                    <a:lnTo>
                      <a:pt x="866" y="731"/>
                    </a:lnTo>
                    <a:lnTo>
                      <a:pt x="866" y="738"/>
                    </a:lnTo>
                    <a:lnTo>
                      <a:pt x="866" y="738"/>
                    </a:lnTo>
                    <a:lnTo>
                      <a:pt x="866" y="745"/>
                    </a:lnTo>
                    <a:lnTo>
                      <a:pt x="866" y="753"/>
                    </a:lnTo>
                    <a:lnTo>
                      <a:pt x="866" y="753"/>
                    </a:lnTo>
                    <a:lnTo>
                      <a:pt x="866" y="753"/>
                    </a:lnTo>
                    <a:lnTo>
                      <a:pt x="866" y="753"/>
                    </a:lnTo>
                    <a:lnTo>
                      <a:pt x="873" y="760"/>
                    </a:lnTo>
                    <a:lnTo>
                      <a:pt x="873" y="760"/>
                    </a:lnTo>
                    <a:lnTo>
                      <a:pt x="873" y="760"/>
                    </a:lnTo>
                    <a:lnTo>
                      <a:pt x="873" y="767"/>
                    </a:lnTo>
                    <a:lnTo>
                      <a:pt x="873" y="774"/>
                    </a:lnTo>
                    <a:lnTo>
                      <a:pt x="873" y="774"/>
                    </a:lnTo>
                    <a:lnTo>
                      <a:pt x="873" y="774"/>
                    </a:lnTo>
                    <a:lnTo>
                      <a:pt x="873" y="774"/>
                    </a:lnTo>
                    <a:lnTo>
                      <a:pt x="873" y="781"/>
                    </a:lnTo>
                    <a:lnTo>
                      <a:pt x="873" y="781"/>
                    </a:lnTo>
                    <a:lnTo>
                      <a:pt x="873" y="781"/>
                    </a:lnTo>
                    <a:lnTo>
                      <a:pt x="873" y="781"/>
                    </a:lnTo>
                    <a:lnTo>
                      <a:pt x="873" y="781"/>
                    </a:lnTo>
                    <a:lnTo>
                      <a:pt x="880" y="788"/>
                    </a:lnTo>
                    <a:lnTo>
                      <a:pt x="880" y="788"/>
                    </a:lnTo>
                    <a:lnTo>
                      <a:pt x="880" y="788"/>
                    </a:lnTo>
                    <a:lnTo>
                      <a:pt x="880" y="788"/>
                    </a:lnTo>
                    <a:lnTo>
                      <a:pt x="880" y="795"/>
                    </a:lnTo>
                    <a:lnTo>
                      <a:pt x="887" y="795"/>
                    </a:lnTo>
                    <a:lnTo>
                      <a:pt x="887" y="795"/>
                    </a:lnTo>
                    <a:lnTo>
                      <a:pt x="895" y="795"/>
                    </a:lnTo>
                    <a:lnTo>
                      <a:pt x="895" y="795"/>
                    </a:lnTo>
                    <a:lnTo>
                      <a:pt x="895" y="795"/>
                    </a:lnTo>
                    <a:lnTo>
                      <a:pt x="895" y="802"/>
                    </a:lnTo>
                    <a:lnTo>
                      <a:pt x="895" y="802"/>
                    </a:lnTo>
                    <a:lnTo>
                      <a:pt x="895" y="802"/>
                    </a:lnTo>
                    <a:lnTo>
                      <a:pt x="895" y="809"/>
                    </a:lnTo>
                    <a:lnTo>
                      <a:pt x="895" y="809"/>
                    </a:lnTo>
                    <a:lnTo>
                      <a:pt x="895" y="809"/>
                    </a:lnTo>
                    <a:lnTo>
                      <a:pt x="895" y="816"/>
                    </a:lnTo>
                    <a:lnTo>
                      <a:pt x="895" y="816"/>
                    </a:lnTo>
                    <a:lnTo>
                      <a:pt x="895" y="816"/>
                    </a:lnTo>
                    <a:lnTo>
                      <a:pt x="895" y="816"/>
                    </a:lnTo>
                    <a:lnTo>
                      <a:pt x="895" y="824"/>
                    </a:lnTo>
                    <a:lnTo>
                      <a:pt x="895" y="831"/>
                    </a:lnTo>
                    <a:lnTo>
                      <a:pt x="887" y="831"/>
                    </a:lnTo>
                    <a:lnTo>
                      <a:pt x="880" y="831"/>
                    </a:lnTo>
                    <a:lnTo>
                      <a:pt x="880" y="831"/>
                    </a:lnTo>
                    <a:lnTo>
                      <a:pt x="880" y="831"/>
                    </a:lnTo>
                    <a:lnTo>
                      <a:pt x="880" y="838"/>
                    </a:lnTo>
                    <a:lnTo>
                      <a:pt x="880" y="838"/>
                    </a:lnTo>
                    <a:lnTo>
                      <a:pt x="880" y="838"/>
                    </a:lnTo>
                    <a:lnTo>
                      <a:pt x="880" y="838"/>
                    </a:lnTo>
                    <a:lnTo>
                      <a:pt x="880" y="838"/>
                    </a:lnTo>
                    <a:lnTo>
                      <a:pt x="880" y="838"/>
                    </a:lnTo>
                    <a:lnTo>
                      <a:pt x="880" y="845"/>
                    </a:lnTo>
                    <a:lnTo>
                      <a:pt x="880" y="845"/>
                    </a:lnTo>
                    <a:lnTo>
                      <a:pt x="887" y="845"/>
                    </a:lnTo>
                    <a:lnTo>
                      <a:pt x="887" y="852"/>
                    </a:lnTo>
                    <a:lnTo>
                      <a:pt x="887" y="852"/>
                    </a:lnTo>
                    <a:lnTo>
                      <a:pt x="887" y="852"/>
                    </a:lnTo>
                    <a:lnTo>
                      <a:pt x="887" y="852"/>
                    </a:lnTo>
                    <a:lnTo>
                      <a:pt x="887" y="852"/>
                    </a:lnTo>
                    <a:lnTo>
                      <a:pt x="887" y="859"/>
                    </a:lnTo>
                    <a:lnTo>
                      <a:pt x="887" y="859"/>
                    </a:lnTo>
                    <a:lnTo>
                      <a:pt x="887" y="859"/>
                    </a:lnTo>
                    <a:lnTo>
                      <a:pt x="887" y="866"/>
                    </a:lnTo>
                    <a:lnTo>
                      <a:pt x="887" y="866"/>
                    </a:lnTo>
                    <a:lnTo>
                      <a:pt x="887" y="866"/>
                    </a:lnTo>
                    <a:lnTo>
                      <a:pt x="887" y="866"/>
                    </a:lnTo>
                    <a:lnTo>
                      <a:pt x="880" y="866"/>
                    </a:lnTo>
                    <a:lnTo>
                      <a:pt x="880" y="873"/>
                    </a:lnTo>
                    <a:lnTo>
                      <a:pt x="880" y="873"/>
                    </a:lnTo>
                    <a:lnTo>
                      <a:pt x="880" y="880"/>
                    </a:lnTo>
                    <a:lnTo>
                      <a:pt x="873" y="887"/>
                    </a:lnTo>
                    <a:lnTo>
                      <a:pt x="873" y="887"/>
                    </a:lnTo>
                    <a:lnTo>
                      <a:pt x="873" y="895"/>
                    </a:lnTo>
                    <a:lnTo>
                      <a:pt x="873" y="895"/>
                    </a:lnTo>
                    <a:lnTo>
                      <a:pt x="873" y="895"/>
                    </a:lnTo>
                    <a:lnTo>
                      <a:pt x="866" y="902"/>
                    </a:lnTo>
                    <a:lnTo>
                      <a:pt x="866" y="902"/>
                    </a:lnTo>
                    <a:lnTo>
                      <a:pt x="866" y="902"/>
                    </a:lnTo>
                    <a:lnTo>
                      <a:pt x="866" y="909"/>
                    </a:lnTo>
                    <a:lnTo>
                      <a:pt x="866" y="909"/>
                    </a:lnTo>
                    <a:lnTo>
                      <a:pt x="866" y="909"/>
                    </a:lnTo>
                    <a:lnTo>
                      <a:pt x="859" y="916"/>
                    </a:lnTo>
                    <a:lnTo>
                      <a:pt x="859" y="916"/>
                    </a:lnTo>
                    <a:lnTo>
                      <a:pt x="859" y="916"/>
                    </a:lnTo>
                    <a:lnTo>
                      <a:pt x="859" y="916"/>
                    </a:lnTo>
                    <a:lnTo>
                      <a:pt x="859" y="916"/>
                    </a:lnTo>
                    <a:lnTo>
                      <a:pt x="852" y="916"/>
                    </a:lnTo>
                    <a:lnTo>
                      <a:pt x="852" y="916"/>
                    </a:lnTo>
                    <a:lnTo>
                      <a:pt x="845" y="923"/>
                    </a:lnTo>
                    <a:lnTo>
                      <a:pt x="845" y="923"/>
                    </a:lnTo>
                    <a:lnTo>
                      <a:pt x="845" y="923"/>
                    </a:lnTo>
                    <a:lnTo>
                      <a:pt x="838" y="923"/>
                    </a:lnTo>
                    <a:lnTo>
                      <a:pt x="831" y="923"/>
                    </a:lnTo>
                    <a:lnTo>
                      <a:pt x="831" y="923"/>
                    </a:lnTo>
                    <a:lnTo>
                      <a:pt x="824" y="923"/>
                    </a:lnTo>
                    <a:lnTo>
                      <a:pt x="824" y="923"/>
                    </a:lnTo>
                    <a:lnTo>
                      <a:pt x="816" y="916"/>
                    </a:lnTo>
                    <a:lnTo>
                      <a:pt x="816" y="916"/>
                    </a:lnTo>
                    <a:lnTo>
                      <a:pt x="809" y="909"/>
                    </a:lnTo>
                    <a:lnTo>
                      <a:pt x="802" y="909"/>
                    </a:lnTo>
                    <a:lnTo>
                      <a:pt x="802" y="902"/>
                    </a:lnTo>
                    <a:lnTo>
                      <a:pt x="795" y="902"/>
                    </a:lnTo>
                    <a:lnTo>
                      <a:pt x="795" y="902"/>
                    </a:lnTo>
                    <a:lnTo>
                      <a:pt x="795" y="902"/>
                    </a:lnTo>
                    <a:lnTo>
                      <a:pt x="795" y="902"/>
                    </a:lnTo>
                    <a:lnTo>
                      <a:pt x="795" y="895"/>
                    </a:lnTo>
                    <a:lnTo>
                      <a:pt x="795" y="895"/>
                    </a:lnTo>
                    <a:lnTo>
                      <a:pt x="795" y="895"/>
                    </a:lnTo>
                    <a:lnTo>
                      <a:pt x="795" y="895"/>
                    </a:lnTo>
                    <a:lnTo>
                      <a:pt x="795" y="895"/>
                    </a:lnTo>
                    <a:lnTo>
                      <a:pt x="788" y="887"/>
                    </a:lnTo>
                    <a:lnTo>
                      <a:pt x="788" y="887"/>
                    </a:lnTo>
                    <a:lnTo>
                      <a:pt x="788" y="887"/>
                    </a:lnTo>
                    <a:lnTo>
                      <a:pt x="788" y="887"/>
                    </a:lnTo>
                    <a:lnTo>
                      <a:pt x="788" y="880"/>
                    </a:lnTo>
                    <a:lnTo>
                      <a:pt x="788" y="880"/>
                    </a:lnTo>
                    <a:lnTo>
                      <a:pt x="788" y="880"/>
                    </a:lnTo>
                    <a:lnTo>
                      <a:pt x="788" y="880"/>
                    </a:lnTo>
                    <a:lnTo>
                      <a:pt x="788" y="880"/>
                    </a:lnTo>
                    <a:lnTo>
                      <a:pt x="788" y="880"/>
                    </a:lnTo>
                    <a:lnTo>
                      <a:pt x="795" y="880"/>
                    </a:lnTo>
                    <a:lnTo>
                      <a:pt x="795" y="866"/>
                    </a:lnTo>
                    <a:lnTo>
                      <a:pt x="795" y="866"/>
                    </a:lnTo>
                    <a:lnTo>
                      <a:pt x="795" y="859"/>
                    </a:lnTo>
                    <a:lnTo>
                      <a:pt x="795" y="859"/>
                    </a:lnTo>
                    <a:lnTo>
                      <a:pt x="795" y="852"/>
                    </a:lnTo>
                    <a:lnTo>
                      <a:pt x="795" y="852"/>
                    </a:lnTo>
                    <a:lnTo>
                      <a:pt x="795" y="852"/>
                    </a:lnTo>
                    <a:lnTo>
                      <a:pt x="795" y="852"/>
                    </a:lnTo>
                    <a:lnTo>
                      <a:pt x="788" y="845"/>
                    </a:lnTo>
                    <a:lnTo>
                      <a:pt x="788" y="845"/>
                    </a:lnTo>
                    <a:lnTo>
                      <a:pt x="788" y="845"/>
                    </a:lnTo>
                    <a:lnTo>
                      <a:pt x="788" y="838"/>
                    </a:lnTo>
                    <a:lnTo>
                      <a:pt x="788" y="838"/>
                    </a:lnTo>
                    <a:lnTo>
                      <a:pt x="788" y="831"/>
                    </a:lnTo>
                    <a:lnTo>
                      <a:pt x="788" y="831"/>
                    </a:lnTo>
                    <a:lnTo>
                      <a:pt x="788" y="831"/>
                    </a:lnTo>
                    <a:lnTo>
                      <a:pt x="788" y="831"/>
                    </a:lnTo>
                    <a:lnTo>
                      <a:pt x="788" y="824"/>
                    </a:lnTo>
                    <a:lnTo>
                      <a:pt x="795" y="824"/>
                    </a:lnTo>
                    <a:lnTo>
                      <a:pt x="795" y="824"/>
                    </a:lnTo>
                    <a:lnTo>
                      <a:pt x="795" y="831"/>
                    </a:lnTo>
                    <a:lnTo>
                      <a:pt x="795" y="824"/>
                    </a:lnTo>
                    <a:lnTo>
                      <a:pt x="802" y="824"/>
                    </a:lnTo>
                    <a:lnTo>
                      <a:pt x="802" y="824"/>
                    </a:lnTo>
                    <a:lnTo>
                      <a:pt x="802" y="824"/>
                    </a:lnTo>
                    <a:lnTo>
                      <a:pt x="802" y="824"/>
                    </a:lnTo>
                    <a:lnTo>
                      <a:pt x="795" y="824"/>
                    </a:lnTo>
                    <a:lnTo>
                      <a:pt x="795" y="816"/>
                    </a:lnTo>
                    <a:lnTo>
                      <a:pt x="795" y="816"/>
                    </a:lnTo>
                    <a:lnTo>
                      <a:pt x="795" y="816"/>
                    </a:lnTo>
                    <a:lnTo>
                      <a:pt x="795" y="809"/>
                    </a:lnTo>
                    <a:lnTo>
                      <a:pt x="795" y="809"/>
                    </a:lnTo>
                    <a:lnTo>
                      <a:pt x="795" y="809"/>
                    </a:lnTo>
                    <a:lnTo>
                      <a:pt x="788" y="809"/>
                    </a:lnTo>
                    <a:lnTo>
                      <a:pt x="788" y="809"/>
                    </a:lnTo>
                    <a:lnTo>
                      <a:pt x="788" y="809"/>
                    </a:lnTo>
                    <a:lnTo>
                      <a:pt x="788" y="809"/>
                    </a:lnTo>
                    <a:lnTo>
                      <a:pt x="788" y="802"/>
                    </a:lnTo>
                    <a:lnTo>
                      <a:pt x="788" y="802"/>
                    </a:lnTo>
                    <a:lnTo>
                      <a:pt x="788" y="802"/>
                    </a:lnTo>
                    <a:lnTo>
                      <a:pt x="781" y="802"/>
                    </a:lnTo>
                    <a:lnTo>
                      <a:pt x="781" y="802"/>
                    </a:lnTo>
                    <a:lnTo>
                      <a:pt x="774" y="809"/>
                    </a:lnTo>
                    <a:lnTo>
                      <a:pt x="774" y="809"/>
                    </a:lnTo>
                    <a:lnTo>
                      <a:pt x="767" y="809"/>
                    </a:lnTo>
                    <a:lnTo>
                      <a:pt x="767" y="809"/>
                    </a:lnTo>
                    <a:lnTo>
                      <a:pt x="753" y="802"/>
                    </a:lnTo>
                    <a:lnTo>
                      <a:pt x="745" y="802"/>
                    </a:lnTo>
                    <a:lnTo>
                      <a:pt x="745" y="802"/>
                    </a:lnTo>
                    <a:lnTo>
                      <a:pt x="745" y="809"/>
                    </a:lnTo>
                    <a:lnTo>
                      <a:pt x="745" y="809"/>
                    </a:lnTo>
                    <a:lnTo>
                      <a:pt x="745" y="809"/>
                    </a:lnTo>
                    <a:lnTo>
                      <a:pt x="745" y="809"/>
                    </a:lnTo>
                    <a:lnTo>
                      <a:pt x="745" y="809"/>
                    </a:lnTo>
                    <a:lnTo>
                      <a:pt x="745" y="816"/>
                    </a:lnTo>
                    <a:lnTo>
                      <a:pt x="745" y="816"/>
                    </a:lnTo>
                    <a:lnTo>
                      <a:pt x="745" y="816"/>
                    </a:lnTo>
                    <a:lnTo>
                      <a:pt x="745" y="816"/>
                    </a:lnTo>
                    <a:lnTo>
                      <a:pt x="738" y="816"/>
                    </a:lnTo>
                    <a:lnTo>
                      <a:pt x="731" y="816"/>
                    </a:lnTo>
                    <a:lnTo>
                      <a:pt x="731" y="816"/>
                    </a:lnTo>
                    <a:lnTo>
                      <a:pt x="731" y="816"/>
                    </a:lnTo>
                    <a:lnTo>
                      <a:pt x="731" y="809"/>
                    </a:lnTo>
                    <a:lnTo>
                      <a:pt x="731" y="809"/>
                    </a:lnTo>
                    <a:lnTo>
                      <a:pt x="731" y="809"/>
                    </a:lnTo>
                    <a:lnTo>
                      <a:pt x="731" y="809"/>
                    </a:lnTo>
                    <a:lnTo>
                      <a:pt x="731" y="809"/>
                    </a:lnTo>
                    <a:lnTo>
                      <a:pt x="731" y="809"/>
                    </a:lnTo>
                    <a:lnTo>
                      <a:pt x="731" y="809"/>
                    </a:lnTo>
                    <a:lnTo>
                      <a:pt x="724" y="809"/>
                    </a:lnTo>
                    <a:lnTo>
                      <a:pt x="724" y="809"/>
                    </a:lnTo>
                    <a:lnTo>
                      <a:pt x="724" y="809"/>
                    </a:lnTo>
                    <a:lnTo>
                      <a:pt x="724" y="809"/>
                    </a:lnTo>
                    <a:lnTo>
                      <a:pt x="724" y="809"/>
                    </a:lnTo>
                    <a:lnTo>
                      <a:pt x="724" y="802"/>
                    </a:lnTo>
                    <a:lnTo>
                      <a:pt x="724" y="802"/>
                    </a:lnTo>
                    <a:lnTo>
                      <a:pt x="724" y="795"/>
                    </a:lnTo>
                    <a:lnTo>
                      <a:pt x="724" y="795"/>
                    </a:lnTo>
                    <a:lnTo>
                      <a:pt x="724" y="795"/>
                    </a:lnTo>
                    <a:lnTo>
                      <a:pt x="724" y="795"/>
                    </a:lnTo>
                    <a:lnTo>
                      <a:pt x="724" y="795"/>
                    </a:lnTo>
                    <a:lnTo>
                      <a:pt x="724" y="795"/>
                    </a:lnTo>
                    <a:lnTo>
                      <a:pt x="724" y="802"/>
                    </a:lnTo>
                    <a:lnTo>
                      <a:pt x="717" y="802"/>
                    </a:lnTo>
                    <a:lnTo>
                      <a:pt x="717" y="802"/>
                    </a:lnTo>
                    <a:lnTo>
                      <a:pt x="717" y="802"/>
                    </a:lnTo>
                    <a:lnTo>
                      <a:pt x="717" y="802"/>
                    </a:lnTo>
                    <a:lnTo>
                      <a:pt x="717" y="795"/>
                    </a:lnTo>
                    <a:lnTo>
                      <a:pt x="717" y="795"/>
                    </a:lnTo>
                    <a:lnTo>
                      <a:pt x="717" y="795"/>
                    </a:lnTo>
                    <a:lnTo>
                      <a:pt x="717" y="795"/>
                    </a:lnTo>
                    <a:lnTo>
                      <a:pt x="717" y="795"/>
                    </a:lnTo>
                    <a:lnTo>
                      <a:pt x="717" y="788"/>
                    </a:lnTo>
                    <a:lnTo>
                      <a:pt x="717" y="788"/>
                    </a:lnTo>
                    <a:lnTo>
                      <a:pt x="717" y="788"/>
                    </a:lnTo>
                    <a:lnTo>
                      <a:pt x="717" y="788"/>
                    </a:lnTo>
                    <a:lnTo>
                      <a:pt x="717" y="788"/>
                    </a:lnTo>
                    <a:lnTo>
                      <a:pt x="717" y="788"/>
                    </a:lnTo>
                    <a:lnTo>
                      <a:pt x="710" y="795"/>
                    </a:lnTo>
                    <a:lnTo>
                      <a:pt x="710" y="795"/>
                    </a:lnTo>
                    <a:lnTo>
                      <a:pt x="710" y="795"/>
                    </a:lnTo>
                    <a:lnTo>
                      <a:pt x="703" y="795"/>
                    </a:lnTo>
                    <a:lnTo>
                      <a:pt x="703" y="795"/>
                    </a:lnTo>
                    <a:lnTo>
                      <a:pt x="703" y="795"/>
                    </a:lnTo>
                    <a:lnTo>
                      <a:pt x="703" y="795"/>
                    </a:lnTo>
                    <a:lnTo>
                      <a:pt x="696" y="788"/>
                    </a:lnTo>
                    <a:lnTo>
                      <a:pt x="689" y="788"/>
                    </a:lnTo>
                    <a:lnTo>
                      <a:pt x="689" y="788"/>
                    </a:lnTo>
                    <a:lnTo>
                      <a:pt x="689" y="788"/>
                    </a:lnTo>
                    <a:lnTo>
                      <a:pt x="682" y="788"/>
                    </a:lnTo>
                    <a:lnTo>
                      <a:pt x="682" y="788"/>
                    </a:lnTo>
                    <a:lnTo>
                      <a:pt x="682" y="781"/>
                    </a:lnTo>
                    <a:lnTo>
                      <a:pt x="675" y="774"/>
                    </a:lnTo>
                    <a:lnTo>
                      <a:pt x="667" y="774"/>
                    </a:lnTo>
                    <a:lnTo>
                      <a:pt x="667" y="774"/>
                    </a:lnTo>
                    <a:lnTo>
                      <a:pt x="667" y="774"/>
                    </a:lnTo>
                    <a:lnTo>
                      <a:pt x="667" y="774"/>
                    </a:lnTo>
                    <a:lnTo>
                      <a:pt x="667" y="774"/>
                    </a:lnTo>
                    <a:lnTo>
                      <a:pt x="667" y="774"/>
                    </a:lnTo>
                    <a:lnTo>
                      <a:pt x="667" y="767"/>
                    </a:lnTo>
                    <a:lnTo>
                      <a:pt x="667" y="767"/>
                    </a:lnTo>
                    <a:lnTo>
                      <a:pt x="667" y="767"/>
                    </a:lnTo>
                    <a:lnTo>
                      <a:pt x="667" y="767"/>
                    </a:lnTo>
                    <a:lnTo>
                      <a:pt x="667" y="767"/>
                    </a:lnTo>
                    <a:lnTo>
                      <a:pt x="667" y="767"/>
                    </a:lnTo>
                    <a:lnTo>
                      <a:pt x="667" y="760"/>
                    </a:lnTo>
                    <a:lnTo>
                      <a:pt x="660" y="760"/>
                    </a:lnTo>
                    <a:lnTo>
                      <a:pt x="660" y="760"/>
                    </a:lnTo>
                    <a:lnTo>
                      <a:pt x="660" y="760"/>
                    </a:lnTo>
                    <a:lnTo>
                      <a:pt x="660" y="760"/>
                    </a:lnTo>
                    <a:lnTo>
                      <a:pt x="660" y="760"/>
                    </a:lnTo>
                    <a:lnTo>
                      <a:pt x="653" y="760"/>
                    </a:lnTo>
                    <a:lnTo>
                      <a:pt x="653" y="760"/>
                    </a:lnTo>
                    <a:lnTo>
                      <a:pt x="653" y="767"/>
                    </a:lnTo>
                    <a:lnTo>
                      <a:pt x="653" y="760"/>
                    </a:lnTo>
                    <a:lnTo>
                      <a:pt x="646" y="760"/>
                    </a:lnTo>
                    <a:lnTo>
                      <a:pt x="646" y="760"/>
                    </a:lnTo>
                    <a:lnTo>
                      <a:pt x="646" y="760"/>
                    </a:lnTo>
                    <a:lnTo>
                      <a:pt x="646" y="760"/>
                    </a:lnTo>
                    <a:lnTo>
                      <a:pt x="646" y="760"/>
                    </a:lnTo>
                    <a:lnTo>
                      <a:pt x="639" y="760"/>
                    </a:lnTo>
                    <a:lnTo>
                      <a:pt x="632" y="753"/>
                    </a:lnTo>
                    <a:lnTo>
                      <a:pt x="632" y="753"/>
                    </a:lnTo>
                    <a:lnTo>
                      <a:pt x="632" y="753"/>
                    </a:lnTo>
                    <a:lnTo>
                      <a:pt x="632" y="753"/>
                    </a:lnTo>
                    <a:lnTo>
                      <a:pt x="625" y="753"/>
                    </a:lnTo>
                    <a:lnTo>
                      <a:pt x="625" y="753"/>
                    </a:lnTo>
                    <a:lnTo>
                      <a:pt x="625" y="753"/>
                    </a:lnTo>
                    <a:lnTo>
                      <a:pt x="632" y="753"/>
                    </a:lnTo>
                    <a:lnTo>
                      <a:pt x="632" y="753"/>
                    </a:lnTo>
                    <a:lnTo>
                      <a:pt x="632" y="753"/>
                    </a:lnTo>
                    <a:lnTo>
                      <a:pt x="632" y="745"/>
                    </a:lnTo>
                    <a:lnTo>
                      <a:pt x="625" y="745"/>
                    </a:lnTo>
                    <a:lnTo>
                      <a:pt x="625" y="745"/>
                    </a:lnTo>
                    <a:lnTo>
                      <a:pt x="625" y="745"/>
                    </a:lnTo>
                    <a:lnTo>
                      <a:pt x="625" y="738"/>
                    </a:lnTo>
                    <a:lnTo>
                      <a:pt x="611" y="738"/>
                    </a:lnTo>
                    <a:lnTo>
                      <a:pt x="611" y="745"/>
                    </a:lnTo>
                    <a:lnTo>
                      <a:pt x="611" y="745"/>
                    </a:lnTo>
                    <a:lnTo>
                      <a:pt x="611" y="745"/>
                    </a:lnTo>
                    <a:lnTo>
                      <a:pt x="611" y="745"/>
                    </a:lnTo>
                    <a:lnTo>
                      <a:pt x="611" y="745"/>
                    </a:lnTo>
                    <a:lnTo>
                      <a:pt x="611" y="745"/>
                    </a:lnTo>
                    <a:lnTo>
                      <a:pt x="611" y="753"/>
                    </a:lnTo>
                    <a:lnTo>
                      <a:pt x="611" y="753"/>
                    </a:lnTo>
                    <a:lnTo>
                      <a:pt x="611" y="753"/>
                    </a:lnTo>
                    <a:lnTo>
                      <a:pt x="611" y="753"/>
                    </a:lnTo>
                    <a:lnTo>
                      <a:pt x="604" y="753"/>
                    </a:lnTo>
                    <a:lnTo>
                      <a:pt x="604" y="753"/>
                    </a:lnTo>
                    <a:lnTo>
                      <a:pt x="604" y="753"/>
                    </a:lnTo>
                    <a:lnTo>
                      <a:pt x="596" y="753"/>
                    </a:lnTo>
                    <a:lnTo>
                      <a:pt x="596" y="753"/>
                    </a:lnTo>
                    <a:lnTo>
                      <a:pt x="596" y="745"/>
                    </a:lnTo>
                    <a:lnTo>
                      <a:pt x="604" y="745"/>
                    </a:lnTo>
                    <a:lnTo>
                      <a:pt x="604" y="745"/>
                    </a:lnTo>
                    <a:lnTo>
                      <a:pt x="604" y="745"/>
                    </a:lnTo>
                    <a:lnTo>
                      <a:pt x="596" y="745"/>
                    </a:lnTo>
                    <a:lnTo>
                      <a:pt x="596" y="745"/>
                    </a:lnTo>
                    <a:lnTo>
                      <a:pt x="596" y="745"/>
                    </a:lnTo>
                    <a:lnTo>
                      <a:pt x="596" y="745"/>
                    </a:lnTo>
                    <a:lnTo>
                      <a:pt x="589" y="745"/>
                    </a:lnTo>
                    <a:lnTo>
                      <a:pt x="589" y="745"/>
                    </a:lnTo>
                    <a:lnTo>
                      <a:pt x="589" y="745"/>
                    </a:lnTo>
                    <a:lnTo>
                      <a:pt x="589" y="745"/>
                    </a:lnTo>
                    <a:lnTo>
                      <a:pt x="582" y="745"/>
                    </a:lnTo>
                    <a:lnTo>
                      <a:pt x="582" y="745"/>
                    </a:lnTo>
                    <a:lnTo>
                      <a:pt x="582" y="745"/>
                    </a:lnTo>
                    <a:lnTo>
                      <a:pt x="582" y="745"/>
                    </a:lnTo>
                    <a:lnTo>
                      <a:pt x="582" y="753"/>
                    </a:lnTo>
                    <a:lnTo>
                      <a:pt x="582" y="753"/>
                    </a:lnTo>
                    <a:lnTo>
                      <a:pt x="582" y="753"/>
                    </a:lnTo>
                    <a:lnTo>
                      <a:pt x="582" y="753"/>
                    </a:lnTo>
                    <a:lnTo>
                      <a:pt x="582" y="753"/>
                    </a:lnTo>
                    <a:lnTo>
                      <a:pt x="582" y="760"/>
                    </a:lnTo>
                    <a:lnTo>
                      <a:pt x="582" y="760"/>
                    </a:lnTo>
                    <a:lnTo>
                      <a:pt x="575" y="767"/>
                    </a:lnTo>
                    <a:lnTo>
                      <a:pt x="575" y="767"/>
                    </a:lnTo>
                    <a:lnTo>
                      <a:pt x="575" y="767"/>
                    </a:lnTo>
                    <a:lnTo>
                      <a:pt x="575" y="767"/>
                    </a:lnTo>
                    <a:lnTo>
                      <a:pt x="575" y="767"/>
                    </a:lnTo>
                    <a:lnTo>
                      <a:pt x="575" y="767"/>
                    </a:lnTo>
                    <a:lnTo>
                      <a:pt x="575" y="767"/>
                    </a:lnTo>
                    <a:lnTo>
                      <a:pt x="575" y="767"/>
                    </a:lnTo>
                    <a:lnTo>
                      <a:pt x="575" y="774"/>
                    </a:lnTo>
                    <a:lnTo>
                      <a:pt x="575" y="774"/>
                    </a:lnTo>
                    <a:lnTo>
                      <a:pt x="575" y="774"/>
                    </a:lnTo>
                    <a:lnTo>
                      <a:pt x="575" y="774"/>
                    </a:lnTo>
                    <a:lnTo>
                      <a:pt x="575" y="774"/>
                    </a:lnTo>
                    <a:lnTo>
                      <a:pt x="575" y="774"/>
                    </a:lnTo>
                    <a:lnTo>
                      <a:pt x="575" y="774"/>
                    </a:lnTo>
                    <a:lnTo>
                      <a:pt x="568" y="774"/>
                    </a:lnTo>
                    <a:lnTo>
                      <a:pt x="568" y="774"/>
                    </a:lnTo>
                    <a:lnTo>
                      <a:pt x="568" y="774"/>
                    </a:lnTo>
                    <a:lnTo>
                      <a:pt x="568" y="781"/>
                    </a:lnTo>
                    <a:lnTo>
                      <a:pt x="561" y="781"/>
                    </a:lnTo>
                    <a:lnTo>
                      <a:pt x="554" y="774"/>
                    </a:lnTo>
                    <a:lnTo>
                      <a:pt x="554" y="774"/>
                    </a:lnTo>
                    <a:lnTo>
                      <a:pt x="554" y="774"/>
                    </a:lnTo>
                    <a:lnTo>
                      <a:pt x="554" y="774"/>
                    </a:lnTo>
                    <a:lnTo>
                      <a:pt x="547" y="774"/>
                    </a:lnTo>
                    <a:lnTo>
                      <a:pt x="547" y="774"/>
                    </a:lnTo>
                    <a:lnTo>
                      <a:pt x="547" y="774"/>
                    </a:lnTo>
                    <a:lnTo>
                      <a:pt x="540" y="774"/>
                    </a:lnTo>
                    <a:lnTo>
                      <a:pt x="540" y="774"/>
                    </a:lnTo>
                    <a:lnTo>
                      <a:pt x="540" y="774"/>
                    </a:lnTo>
                    <a:lnTo>
                      <a:pt x="540" y="774"/>
                    </a:lnTo>
                    <a:lnTo>
                      <a:pt x="540" y="774"/>
                    </a:lnTo>
                    <a:lnTo>
                      <a:pt x="540" y="774"/>
                    </a:lnTo>
                    <a:lnTo>
                      <a:pt x="533" y="774"/>
                    </a:lnTo>
                    <a:lnTo>
                      <a:pt x="525" y="774"/>
                    </a:lnTo>
                    <a:lnTo>
                      <a:pt x="525" y="774"/>
                    </a:lnTo>
                    <a:lnTo>
                      <a:pt x="518" y="774"/>
                    </a:lnTo>
                    <a:lnTo>
                      <a:pt x="518" y="774"/>
                    </a:lnTo>
                    <a:lnTo>
                      <a:pt x="518" y="774"/>
                    </a:lnTo>
                    <a:lnTo>
                      <a:pt x="518" y="767"/>
                    </a:lnTo>
                    <a:lnTo>
                      <a:pt x="518" y="767"/>
                    </a:lnTo>
                    <a:lnTo>
                      <a:pt x="518" y="767"/>
                    </a:lnTo>
                    <a:lnTo>
                      <a:pt x="518" y="767"/>
                    </a:lnTo>
                    <a:lnTo>
                      <a:pt x="518" y="767"/>
                    </a:lnTo>
                    <a:lnTo>
                      <a:pt x="525" y="767"/>
                    </a:lnTo>
                    <a:lnTo>
                      <a:pt x="525" y="767"/>
                    </a:lnTo>
                    <a:lnTo>
                      <a:pt x="525" y="760"/>
                    </a:lnTo>
                    <a:lnTo>
                      <a:pt x="525" y="760"/>
                    </a:lnTo>
                    <a:lnTo>
                      <a:pt x="525" y="760"/>
                    </a:lnTo>
                    <a:lnTo>
                      <a:pt x="525" y="760"/>
                    </a:lnTo>
                    <a:lnTo>
                      <a:pt x="525" y="760"/>
                    </a:lnTo>
                    <a:lnTo>
                      <a:pt x="525" y="760"/>
                    </a:lnTo>
                    <a:lnTo>
                      <a:pt x="525" y="760"/>
                    </a:lnTo>
                    <a:lnTo>
                      <a:pt x="525" y="753"/>
                    </a:lnTo>
                    <a:lnTo>
                      <a:pt x="525" y="753"/>
                    </a:lnTo>
                    <a:lnTo>
                      <a:pt x="525" y="753"/>
                    </a:lnTo>
                    <a:lnTo>
                      <a:pt x="533" y="738"/>
                    </a:lnTo>
                    <a:lnTo>
                      <a:pt x="533" y="738"/>
                    </a:lnTo>
                    <a:lnTo>
                      <a:pt x="533" y="738"/>
                    </a:lnTo>
                    <a:lnTo>
                      <a:pt x="533" y="738"/>
                    </a:lnTo>
                    <a:lnTo>
                      <a:pt x="525" y="738"/>
                    </a:lnTo>
                    <a:lnTo>
                      <a:pt x="525" y="738"/>
                    </a:lnTo>
                    <a:lnTo>
                      <a:pt x="525" y="738"/>
                    </a:lnTo>
                    <a:lnTo>
                      <a:pt x="525" y="738"/>
                    </a:lnTo>
                    <a:lnTo>
                      <a:pt x="525" y="738"/>
                    </a:lnTo>
                    <a:lnTo>
                      <a:pt x="525" y="738"/>
                    </a:lnTo>
                    <a:lnTo>
                      <a:pt x="525" y="738"/>
                    </a:lnTo>
                    <a:lnTo>
                      <a:pt x="525" y="738"/>
                    </a:lnTo>
                    <a:lnTo>
                      <a:pt x="525" y="738"/>
                    </a:lnTo>
                    <a:lnTo>
                      <a:pt x="525" y="738"/>
                    </a:lnTo>
                    <a:lnTo>
                      <a:pt x="518" y="745"/>
                    </a:lnTo>
                    <a:lnTo>
                      <a:pt x="518" y="745"/>
                    </a:lnTo>
                    <a:lnTo>
                      <a:pt x="518" y="745"/>
                    </a:lnTo>
                    <a:lnTo>
                      <a:pt x="518" y="745"/>
                    </a:lnTo>
                    <a:lnTo>
                      <a:pt x="518" y="745"/>
                    </a:lnTo>
                    <a:lnTo>
                      <a:pt x="504" y="745"/>
                    </a:lnTo>
                    <a:lnTo>
                      <a:pt x="504" y="745"/>
                    </a:lnTo>
                    <a:lnTo>
                      <a:pt x="504" y="745"/>
                    </a:lnTo>
                    <a:lnTo>
                      <a:pt x="504" y="745"/>
                    </a:lnTo>
                    <a:lnTo>
                      <a:pt x="504" y="745"/>
                    </a:lnTo>
                    <a:lnTo>
                      <a:pt x="504" y="745"/>
                    </a:lnTo>
                    <a:lnTo>
                      <a:pt x="504" y="745"/>
                    </a:lnTo>
                    <a:lnTo>
                      <a:pt x="511" y="753"/>
                    </a:lnTo>
                    <a:lnTo>
                      <a:pt x="511" y="753"/>
                    </a:lnTo>
                    <a:lnTo>
                      <a:pt x="511" y="753"/>
                    </a:lnTo>
                    <a:lnTo>
                      <a:pt x="511" y="753"/>
                    </a:lnTo>
                    <a:lnTo>
                      <a:pt x="511" y="760"/>
                    </a:lnTo>
                    <a:lnTo>
                      <a:pt x="511" y="760"/>
                    </a:lnTo>
                    <a:lnTo>
                      <a:pt x="511" y="760"/>
                    </a:lnTo>
                    <a:lnTo>
                      <a:pt x="504" y="760"/>
                    </a:lnTo>
                    <a:lnTo>
                      <a:pt x="504" y="760"/>
                    </a:lnTo>
                    <a:lnTo>
                      <a:pt x="504" y="760"/>
                    </a:lnTo>
                    <a:lnTo>
                      <a:pt x="504" y="760"/>
                    </a:lnTo>
                    <a:lnTo>
                      <a:pt x="497" y="760"/>
                    </a:lnTo>
                    <a:lnTo>
                      <a:pt x="497" y="753"/>
                    </a:lnTo>
                    <a:lnTo>
                      <a:pt x="497" y="753"/>
                    </a:lnTo>
                    <a:lnTo>
                      <a:pt x="497" y="753"/>
                    </a:lnTo>
                    <a:lnTo>
                      <a:pt x="497" y="745"/>
                    </a:lnTo>
                    <a:lnTo>
                      <a:pt x="490" y="745"/>
                    </a:lnTo>
                    <a:lnTo>
                      <a:pt x="490" y="745"/>
                    </a:lnTo>
                    <a:lnTo>
                      <a:pt x="490" y="745"/>
                    </a:lnTo>
                    <a:lnTo>
                      <a:pt x="490" y="745"/>
                    </a:lnTo>
                    <a:lnTo>
                      <a:pt x="490" y="745"/>
                    </a:lnTo>
                    <a:lnTo>
                      <a:pt x="490" y="745"/>
                    </a:lnTo>
                    <a:lnTo>
                      <a:pt x="490" y="753"/>
                    </a:lnTo>
                    <a:lnTo>
                      <a:pt x="490" y="753"/>
                    </a:lnTo>
                    <a:lnTo>
                      <a:pt x="490" y="753"/>
                    </a:lnTo>
                    <a:lnTo>
                      <a:pt x="490" y="753"/>
                    </a:lnTo>
                    <a:lnTo>
                      <a:pt x="490" y="753"/>
                    </a:lnTo>
                    <a:lnTo>
                      <a:pt x="490" y="753"/>
                    </a:lnTo>
                    <a:lnTo>
                      <a:pt x="490" y="753"/>
                    </a:lnTo>
                    <a:lnTo>
                      <a:pt x="483" y="753"/>
                    </a:lnTo>
                    <a:lnTo>
                      <a:pt x="483" y="753"/>
                    </a:lnTo>
                    <a:lnTo>
                      <a:pt x="476" y="753"/>
                    </a:lnTo>
                    <a:lnTo>
                      <a:pt x="476" y="753"/>
                    </a:lnTo>
                    <a:lnTo>
                      <a:pt x="476" y="753"/>
                    </a:lnTo>
                    <a:lnTo>
                      <a:pt x="476" y="753"/>
                    </a:lnTo>
                    <a:lnTo>
                      <a:pt x="476" y="753"/>
                    </a:lnTo>
                    <a:lnTo>
                      <a:pt x="476" y="753"/>
                    </a:lnTo>
                    <a:lnTo>
                      <a:pt x="476" y="753"/>
                    </a:lnTo>
                    <a:lnTo>
                      <a:pt x="476" y="760"/>
                    </a:lnTo>
                    <a:lnTo>
                      <a:pt x="476" y="760"/>
                    </a:lnTo>
                    <a:lnTo>
                      <a:pt x="483" y="760"/>
                    </a:lnTo>
                    <a:lnTo>
                      <a:pt x="483" y="760"/>
                    </a:lnTo>
                    <a:lnTo>
                      <a:pt x="483" y="760"/>
                    </a:lnTo>
                    <a:lnTo>
                      <a:pt x="483" y="760"/>
                    </a:lnTo>
                    <a:lnTo>
                      <a:pt x="483" y="767"/>
                    </a:lnTo>
                    <a:lnTo>
                      <a:pt x="483" y="767"/>
                    </a:lnTo>
                    <a:lnTo>
                      <a:pt x="476" y="767"/>
                    </a:lnTo>
                    <a:lnTo>
                      <a:pt x="476" y="767"/>
                    </a:lnTo>
                    <a:lnTo>
                      <a:pt x="476" y="767"/>
                    </a:lnTo>
                    <a:lnTo>
                      <a:pt x="476" y="767"/>
                    </a:lnTo>
                    <a:lnTo>
                      <a:pt x="476" y="760"/>
                    </a:lnTo>
                    <a:lnTo>
                      <a:pt x="469" y="760"/>
                    </a:lnTo>
                    <a:lnTo>
                      <a:pt x="469" y="760"/>
                    </a:lnTo>
                    <a:lnTo>
                      <a:pt x="469" y="760"/>
                    </a:lnTo>
                    <a:lnTo>
                      <a:pt x="469" y="760"/>
                    </a:lnTo>
                    <a:lnTo>
                      <a:pt x="469" y="760"/>
                    </a:lnTo>
                    <a:lnTo>
                      <a:pt x="469" y="767"/>
                    </a:lnTo>
                    <a:lnTo>
                      <a:pt x="469" y="767"/>
                    </a:lnTo>
                    <a:lnTo>
                      <a:pt x="469" y="767"/>
                    </a:lnTo>
                    <a:lnTo>
                      <a:pt x="469" y="767"/>
                    </a:lnTo>
                    <a:lnTo>
                      <a:pt x="469" y="767"/>
                    </a:lnTo>
                    <a:lnTo>
                      <a:pt x="469" y="767"/>
                    </a:lnTo>
                    <a:lnTo>
                      <a:pt x="469" y="767"/>
                    </a:lnTo>
                    <a:lnTo>
                      <a:pt x="469" y="767"/>
                    </a:lnTo>
                    <a:lnTo>
                      <a:pt x="462" y="767"/>
                    </a:lnTo>
                    <a:lnTo>
                      <a:pt x="462" y="767"/>
                    </a:lnTo>
                    <a:lnTo>
                      <a:pt x="454" y="767"/>
                    </a:lnTo>
                    <a:lnTo>
                      <a:pt x="454" y="767"/>
                    </a:lnTo>
                    <a:lnTo>
                      <a:pt x="454" y="767"/>
                    </a:lnTo>
                    <a:lnTo>
                      <a:pt x="454" y="767"/>
                    </a:lnTo>
                    <a:lnTo>
                      <a:pt x="454" y="767"/>
                    </a:lnTo>
                    <a:lnTo>
                      <a:pt x="454" y="760"/>
                    </a:lnTo>
                    <a:lnTo>
                      <a:pt x="454" y="760"/>
                    </a:lnTo>
                    <a:lnTo>
                      <a:pt x="454" y="760"/>
                    </a:lnTo>
                    <a:lnTo>
                      <a:pt x="454" y="760"/>
                    </a:lnTo>
                    <a:lnTo>
                      <a:pt x="454" y="760"/>
                    </a:lnTo>
                    <a:lnTo>
                      <a:pt x="454" y="760"/>
                    </a:lnTo>
                    <a:lnTo>
                      <a:pt x="454" y="760"/>
                    </a:lnTo>
                    <a:lnTo>
                      <a:pt x="454" y="760"/>
                    </a:lnTo>
                    <a:lnTo>
                      <a:pt x="454" y="760"/>
                    </a:lnTo>
                    <a:lnTo>
                      <a:pt x="454" y="753"/>
                    </a:lnTo>
                    <a:lnTo>
                      <a:pt x="462" y="753"/>
                    </a:lnTo>
                    <a:lnTo>
                      <a:pt x="462" y="753"/>
                    </a:lnTo>
                    <a:lnTo>
                      <a:pt x="462" y="753"/>
                    </a:lnTo>
                    <a:lnTo>
                      <a:pt x="462" y="753"/>
                    </a:lnTo>
                    <a:lnTo>
                      <a:pt x="462" y="745"/>
                    </a:lnTo>
                    <a:lnTo>
                      <a:pt x="462" y="745"/>
                    </a:lnTo>
                    <a:lnTo>
                      <a:pt x="462" y="745"/>
                    </a:lnTo>
                    <a:lnTo>
                      <a:pt x="469" y="745"/>
                    </a:lnTo>
                    <a:lnTo>
                      <a:pt x="469" y="745"/>
                    </a:lnTo>
                    <a:lnTo>
                      <a:pt x="469" y="745"/>
                    </a:lnTo>
                    <a:lnTo>
                      <a:pt x="469" y="745"/>
                    </a:lnTo>
                    <a:lnTo>
                      <a:pt x="469" y="745"/>
                    </a:lnTo>
                    <a:lnTo>
                      <a:pt x="469" y="745"/>
                    </a:lnTo>
                    <a:lnTo>
                      <a:pt x="469" y="745"/>
                    </a:lnTo>
                    <a:lnTo>
                      <a:pt x="469" y="738"/>
                    </a:lnTo>
                    <a:lnTo>
                      <a:pt x="469" y="738"/>
                    </a:lnTo>
                    <a:lnTo>
                      <a:pt x="469" y="738"/>
                    </a:lnTo>
                    <a:lnTo>
                      <a:pt x="469" y="738"/>
                    </a:lnTo>
                    <a:lnTo>
                      <a:pt x="469" y="738"/>
                    </a:lnTo>
                    <a:lnTo>
                      <a:pt x="469" y="731"/>
                    </a:lnTo>
                    <a:lnTo>
                      <a:pt x="469" y="731"/>
                    </a:lnTo>
                    <a:lnTo>
                      <a:pt x="469" y="731"/>
                    </a:lnTo>
                    <a:lnTo>
                      <a:pt x="469" y="731"/>
                    </a:lnTo>
                    <a:lnTo>
                      <a:pt x="469" y="731"/>
                    </a:lnTo>
                    <a:lnTo>
                      <a:pt x="469" y="731"/>
                    </a:lnTo>
                    <a:lnTo>
                      <a:pt x="462" y="731"/>
                    </a:lnTo>
                    <a:lnTo>
                      <a:pt x="462" y="731"/>
                    </a:lnTo>
                    <a:lnTo>
                      <a:pt x="462" y="731"/>
                    </a:lnTo>
                    <a:lnTo>
                      <a:pt x="462" y="731"/>
                    </a:lnTo>
                    <a:lnTo>
                      <a:pt x="462" y="731"/>
                    </a:lnTo>
                    <a:lnTo>
                      <a:pt x="462" y="731"/>
                    </a:lnTo>
                    <a:lnTo>
                      <a:pt x="462" y="731"/>
                    </a:lnTo>
                    <a:lnTo>
                      <a:pt x="454" y="731"/>
                    </a:lnTo>
                    <a:lnTo>
                      <a:pt x="454" y="724"/>
                    </a:lnTo>
                    <a:lnTo>
                      <a:pt x="454" y="724"/>
                    </a:lnTo>
                    <a:lnTo>
                      <a:pt x="454" y="717"/>
                    </a:lnTo>
                    <a:lnTo>
                      <a:pt x="454" y="717"/>
                    </a:lnTo>
                    <a:lnTo>
                      <a:pt x="454" y="717"/>
                    </a:lnTo>
                    <a:lnTo>
                      <a:pt x="454" y="710"/>
                    </a:lnTo>
                    <a:lnTo>
                      <a:pt x="454" y="710"/>
                    </a:lnTo>
                    <a:lnTo>
                      <a:pt x="447" y="710"/>
                    </a:lnTo>
                    <a:lnTo>
                      <a:pt x="447" y="710"/>
                    </a:lnTo>
                    <a:lnTo>
                      <a:pt x="447" y="710"/>
                    </a:lnTo>
                    <a:lnTo>
                      <a:pt x="447" y="710"/>
                    </a:lnTo>
                    <a:lnTo>
                      <a:pt x="447" y="710"/>
                    </a:lnTo>
                    <a:lnTo>
                      <a:pt x="440" y="710"/>
                    </a:lnTo>
                    <a:lnTo>
                      <a:pt x="440" y="710"/>
                    </a:lnTo>
                    <a:lnTo>
                      <a:pt x="440" y="710"/>
                    </a:lnTo>
                    <a:lnTo>
                      <a:pt x="440" y="710"/>
                    </a:lnTo>
                    <a:lnTo>
                      <a:pt x="440" y="710"/>
                    </a:lnTo>
                    <a:lnTo>
                      <a:pt x="440" y="710"/>
                    </a:lnTo>
                    <a:lnTo>
                      <a:pt x="440" y="717"/>
                    </a:lnTo>
                    <a:lnTo>
                      <a:pt x="433" y="717"/>
                    </a:lnTo>
                    <a:lnTo>
                      <a:pt x="433" y="717"/>
                    </a:lnTo>
                    <a:lnTo>
                      <a:pt x="433" y="717"/>
                    </a:lnTo>
                    <a:lnTo>
                      <a:pt x="426" y="717"/>
                    </a:lnTo>
                    <a:lnTo>
                      <a:pt x="426" y="717"/>
                    </a:lnTo>
                    <a:lnTo>
                      <a:pt x="426" y="717"/>
                    </a:lnTo>
                    <a:lnTo>
                      <a:pt x="419" y="724"/>
                    </a:lnTo>
                    <a:lnTo>
                      <a:pt x="412" y="724"/>
                    </a:lnTo>
                    <a:lnTo>
                      <a:pt x="412" y="724"/>
                    </a:lnTo>
                    <a:lnTo>
                      <a:pt x="405" y="731"/>
                    </a:lnTo>
                    <a:lnTo>
                      <a:pt x="405" y="731"/>
                    </a:lnTo>
                    <a:lnTo>
                      <a:pt x="398" y="731"/>
                    </a:lnTo>
                    <a:lnTo>
                      <a:pt x="398" y="731"/>
                    </a:lnTo>
                    <a:lnTo>
                      <a:pt x="391" y="731"/>
                    </a:lnTo>
                    <a:lnTo>
                      <a:pt x="391" y="738"/>
                    </a:lnTo>
                    <a:lnTo>
                      <a:pt x="391" y="738"/>
                    </a:lnTo>
                    <a:lnTo>
                      <a:pt x="391" y="738"/>
                    </a:lnTo>
                    <a:lnTo>
                      <a:pt x="391" y="738"/>
                    </a:lnTo>
                    <a:lnTo>
                      <a:pt x="391" y="738"/>
                    </a:lnTo>
                    <a:lnTo>
                      <a:pt x="391" y="738"/>
                    </a:lnTo>
                    <a:lnTo>
                      <a:pt x="391" y="738"/>
                    </a:lnTo>
                    <a:lnTo>
                      <a:pt x="391" y="745"/>
                    </a:lnTo>
                    <a:lnTo>
                      <a:pt x="398" y="745"/>
                    </a:lnTo>
                    <a:lnTo>
                      <a:pt x="398" y="745"/>
                    </a:lnTo>
                    <a:lnTo>
                      <a:pt x="398" y="745"/>
                    </a:lnTo>
                    <a:lnTo>
                      <a:pt x="398" y="745"/>
                    </a:lnTo>
                    <a:lnTo>
                      <a:pt x="398" y="745"/>
                    </a:lnTo>
                    <a:lnTo>
                      <a:pt x="398" y="745"/>
                    </a:lnTo>
                    <a:lnTo>
                      <a:pt x="391" y="753"/>
                    </a:lnTo>
                    <a:lnTo>
                      <a:pt x="391" y="753"/>
                    </a:lnTo>
                    <a:lnTo>
                      <a:pt x="391" y="753"/>
                    </a:lnTo>
                    <a:lnTo>
                      <a:pt x="383" y="753"/>
                    </a:lnTo>
                    <a:lnTo>
                      <a:pt x="383" y="753"/>
                    </a:lnTo>
                    <a:lnTo>
                      <a:pt x="383" y="745"/>
                    </a:lnTo>
                    <a:lnTo>
                      <a:pt x="383" y="745"/>
                    </a:lnTo>
                    <a:lnTo>
                      <a:pt x="383" y="745"/>
                    </a:lnTo>
                    <a:lnTo>
                      <a:pt x="376" y="745"/>
                    </a:lnTo>
                    <a:lnTo>
                      <a:pt x="369" y="753"/>
                    </a:lnTo>
                    <a:lnTo>
                      <a:pt x="369" y="753"/>
                    </a:lnTo>
                    <a:lnTo>
                      <a:pt x="362" y="745"/>
                    </a:lnTo>
                    <a:lnTo>
                      <a:pt x="355" y="745"/>
                    </a:lnTo>
                    <a:lnTo>
                      <a:pt x="355" y="745"/>
                    </a:lnTo>
                    <a:lnTo>
                      <a:pt x="355" y="745"/>
                    </a:lnTo>
                    <a:lnTo>
                      <a:pt x="355" y="745"/>
                    </a:lnTo>
                    <a:lnTo>
                      <a:pt x="355" y="745"/>
                    </a:lnTo>
                    <a:lnTo>
                      <a:pt x="348" y="745"/>
                    </a:lnTo>
                    <a:lnTo>
                      <a:pt x="348" y="745"/>
                    </a:lnTo>
                    <a:lnTo>
                      <a:pt x="348" y="753"/>
                    </a:lnTo>
                    <a:lnTo>
                      <a:pt x="348" y="753"/>
                    </a:lnTo>
                    <a:lnTo>
                      <a:pt x="348" y="753"/>
                    </a:lnTo>
                    <a:lnTo>
                      <a:pt x="341" y="760"/>
                    </a:lnTo>
                    <a:lnTo>
                      <a:pt x="341" y="760"/>
                    </a:lnTo>
                    <a:lnTo>
                      <a:pt x="341" y="760"/>
                    </a:lnTo>
                    <a:lnTo>
                      <a:pt x="341" y="753"/>
                    </a:lnTo>
                    <a:lnTo>
                      <a:pt x="341" y="753"/>
                    </a:lnTo>
                    <a:lnTo>
                      <a:pt x="341" y="753"/>
                    </a:lnTo>
                    <a:lnTo>
                      <a:pt x="341" y="753"/>
                    </a:lnTo>
                    <a:lnTo>
                      <a:pt x="341" y="753"/>
                    </a:lnTo>
                    <a:lnTo>
                      <a:pt x="341" y="753"/>
                    </a:lnTo>
                    <a:lnTo>
                      <a:pt x="334" y="753"/>
                    </a:lnTo>
                    <a:lnTo>
                      <a:pt x="334" y="753"/>
                    </a:lnTo>
                    <a:lnTo>
                      <a:pt x="334" y="753"/>
                    </a:lnTo>
                    <a:lnTo>
                      <a:pt x="334" y="753"/>
                    </a:lnTo>
                    <a:lnTo>
                      <a:pt x="334" y="753"/>
                    </a:lnTo>
                    <a:lnTo>
                      <a:pt x="334" y="753"/>
                    </a:lnTo>
                    <a:lnTo>
                      <a:pt x="334" y="760"/>
                    </a:lnTo>
                    <a:lnTo>
                      <a:pt x="334" y="760"/>
                    </a:lnTo>
                    <a:lnTo>
                      <a:pt x="334" y="760"/>
                    </a:lnTo>
                    <a:lnTo>
                      <a:pt x="327" y="760"/>
                    </a:lnTo>
                    <a:lnTo>
                      <a:pt x="327" y="760"/>
                    </a:lnTo>
                    <a:lnTo>
                      <a:pt x="327" y="760"/>
                    </a:lnTo>
                    <a:lnTo>
                      <a:pt x="327" y="760"/>
                    </a:lnTo>
                    <a:lnTo>
                      <a:pt x="327" y="760"/>
                    </a:lnTo>
                    <a:lnTo>
                      <a:pt x="327" y="753"/>
                    </a:lnTo>
                    <a:lnTo>
                      <a:pt x="327" y="753"/>
                    </a:lnTo>
                    <a:lnTo>
                      <a:pt x="327" y="753"/>
                    </a:lnTo>
                    <a:lnTo>
                      <a:pt x="327" y="753"/>
                    </a:lnTo>
                    <a:lnTo>
                      <a:pt x="327" y="753"/>
                    </a:lnTo>
                    <a:lnTo>
                      <a:pt x="327" y="745"/>
                    </a:lnTo>
                    <a:lnTo>
                      <a:pt x="327" y="745"/>
                    </a:lnTo>
                    <a:lnTo>
                      <a:pt x="334" y="738"/>
                    </a:lnTo>
                    <a:lnTo>
                      <a:pt x="334" y="731"/>
                    </a:lnTo>
                    <a:lnTo>
                      <a:pt x="341" y="731"/>
                    </a:lnTo>
                    <a:lnTo>
                      <a:pt x="341" y="731"/>
                    </a:lnTo>
                    <a:lnTo>
                      <a:pt x="341" y="724"/>
                    </a:lnTo>
                    <a:lnTo>
                      <a:pt x="334" y="731"/>
                    </a:lnTo>
                    <a:lnTo>
                      <a:pt x="334" y="731"/>
                    </a:lnTo>
                    <a:lnTo>
                      <a:pt x="334" y="731"/>
                    </a:lnTo>
                    <a:lnTo>
                      <a:pt x="334" y="731"/>
                    </a:lnTo>
                    <a:lnTo>
                      <a:pt x="334" y="731"/>
                    </a:lnTo>
                    <a:lnTo>
                      <a:pt x="327" y="731"/>
                    </a:lnTo>
                    <a:lnTo>
                      <a:pt x="327" y="731"/>
                    </a:lnTo>
                    <a:lnTo>
                      <a:pt x="327" y="731"/>
                    </a:lnTo>
                    <a:lnTo>
                      <a:pt x="327" y="731"/>
                    </a:lnTo>
                    <a:lnTo>
                      <a:pt x="327" y="731"/>
                    </a:lnTo>
                    <a:lnTo>
                      <a:pt x="327" y="731"/>
                    </a:lnTo>
                    <a:lnTo>
                      <a:pt x="327" y="738"/>
                    </a:lnTo>
                    <a:lnTo>
                      <a:pt x="320" y="738"/>
                    </a:lnTo>
                    <a:lnTo>
                      <a:pt x="320" y="738"/>
                    </a:lnTo>
                    <a:lnTo>
                      <a:pt x="320" y="738"/>
                    </a:lnTo>
                    <a:lnTo>
                      <a:pt x="320" y="738"/>
                    </a:lnTo>
                    <a:lnTo>
                      <a:pt x="320" y="738"/>
                    </a:lnTo>
                    <a:lnTo>
                      <a:pt x="320" y="731"/>
                    </a:lnTo>
                    <a:lnTo>
                      <a:pt x="320" y="731"/>
                    </a:lnTo>
                    <a:lnTo>
                      <a:pt x="320" y="731"/>
                    </a:lnTo>
                    <a:lnTo>
                      <a:pt x="320" y="731"/>
                    </a:lnTo>
                    <a:lnTo>
                      <a:pt x="320" y="731"/>
                    </a:lnTo>
                    <a:lnTo>
                      <a:pt x="320" y="731"/>
                    </a:lnTo>
                    <a:lnTo>
                      <a:pt x="320" y="724"/>
                    </a:lnTo>
                    <a:lnTo>
                      <a:pt x="320" y="724"/>
                    </a:lnTo>
                    <a:lnTo>
                      <a:pt x="320" y="717"/>
                    </a:lnTo>
                    <a:lnTo>
                      <a:pt x="320" y="717"/>
                    </a:lnTo>
                    <a:lnTo>
                      <a:pt x="320" y="717"/>
                    </a:lnTo>
                    <a:lnTo>
                      <a:pt x="320" y="717"/>
                    </a:lnTo>
                    <a:lnTo>
                      <a:pt x="312" y="724"/>
                    </a:lnTo>
                    <a:lnTo>
                      <a:pt x="312" y="724"/>
                    </a:lnTo>
                    <a:lnTo>
                      <a:pt x="312" y="731"/>
                    </a:lnTo>
                    <a:lnTo>
                      <a:pt x="312" y="731"/>
                    </a:lnTo>
                    <a:lnTo>
                      <a:pt x="312" y="731"/>
                    </a:lnTo>
                    <a:lnTo>
                      <a:pt x="320" y="745"/>
                    </a:lnTo>
                    <a:lnTo>
                      <a:pt x="320" y="745"/>
                    </a:lnTo>
                    <a:lnTo>
                      <a:pt x="320" y="745"/>
                    </a:lnTo>
                    <a:lnTo>
                      <a:pt x="320" y="745"/>
                    </a:lnTo>
                    <a:lnTo>
                      <a:pt x="320" y="745"/>
                    </a:lnTo>
                    <a:lnTo>
                      <a:pt x="312" y="745"/>
                    </a:lnTo>
                    <a:lnTo>
                      <a:pt x="312" y="745"/>
                    </a:lnTo>
                    <a:lnTo>
                      <a:pt x="312" y="745"/>
                    </a:lnTo>
                    <a:lnTo>
                      <a:pt x="312" y="745"/>
                    </a:lnTo>
                    <a:lnTo>
                      <a:pt x="305" y="745"/>
                    </a:lnTo>
                    <a:lnTo>
                      <a:pt x="305" y="745"/>
                    </a:lnTo>
                    <a:lnTo>
                      <a:pt x="305" y="745"/>
                    </a:lnTo>
                    <a:lnTo>
                      <a:pt x="305" y="745"/>
                    </a:lnTo>
                    <a:lnTo>
                      <a:pt x="305" y="745"/>
                    </a:lnTo>
                    <a:lnTo>
                      <a:pt x="298" y="745"/>
                    </a:lnTo>
                    <a:lnTo>
                      <a:pt x="298" y="745"/>
                    </a:lnTo>
                    <a:lnTo>
                      <a:pt x="298" y="753"/>
                    </a:lnTo>
                    <a:lnTo>
                      <a:pt x="298" y="753"/>
                    </a:lnTo>
                    <a:lnTo>
                      <a:pt x="298" y="753"/>
                    </a:lnTo>
                    <a:lnTo>
                      <a:pt x="298" y="753"/>
                    </a:lnTo>
                    <a:lnTo>
                      <a:pt x="291" y="753"/>
                    </a:lnTo>
                    <a:lnTo>
                      <a:pt x="291" y="745"/>
                    </a:lnTo>
                    <a:lnTo>
                      <a:pt x="291" y="745"/>
                    </a:lnTo>
                    <a:lnTo>
                      <a:pt x="291" y="745"/>
                    </a:lnTo>
                    <a:lnTo>
                      <a:pt x="291" y="745"/>
                    </a:lnTo>
                    <a:lnTo>
                      <a:pt x="284" y="745"/>
                    </a:lnTo>
                    <a:lnTo>
                      <a:pt x="284" y="745"/>
                    </a:lnTo>
                    <a:lnTo>
                      <a:pt x="284" y="745"/>
                    </a:lnTo>
                    <a:lnTo>
                      <a:pt x="284" y="745"/>
                    </a:lnTo>
                    <a:lnTo>
                      <a:pt x="277" y="745"/>
                    </a:lnTo>
                    <a:lnTo>
                      <a:pt x="277" y="745"/>
                    </a:lnTo>
                    <a:lnTo>
                      <a:pt x="277" y="745"/>
                    </a:lnTo>
                    <a:lnTo>
                      <a:pt x="277" y="738"/>
                    </a:lnTo>
                    <a:lnTo>
                      <a:pt x="284" y="738"/>
                    </a:lnTo>
                    <a:lnTo>
                      <a:pt x="284" y="738"/>
                    </a:lnTo>
                    <a:lnTo>
                      <a:pt x="284" y="738"/>
                    </a:lnTo>
                    <a:lnTo>
                      <a:pt x="284" y="731"/>
                    </a:lnTo>
                    <a:lnTo>
                      <a:pt x="284" y="731"/>
                    </a:lnTo>
                    <a:lnTo>
                      <a:pt x="284" y="731"/>
                    </a:lnTo>
                    <a:lnTo>
                      <a:pt x="284" y="731"/>
                    </a:lnTo>
                    <a:lnTo>
                      <a:pt x="284" y="731"/>
                    </a:lnTo>
                    <a:lnTo>
                      <a:pt x="284" y="731"/>
                    </a:lnTo>
                    <a:lnTo>
                      <a:pt x="277" y="731"/>
                    </a:lnTo>
                    <a:lnTo>
                      <a:pt x="277" y="731"/>
                    </a:lnTo>
                    <a:lnTo>
                      <a:pt x="277" y="731"/>
                    </a:lnTo>
                    <a:lnTo>
                      <a:pt x="277" y="731"/>
                    </a:lnTo>
                    <a:lnTo>
                      <a:pt x="277" y="731"/>
                    </a:lnTo>
                    <a:lnTo>
                      <a:pt x="277" y="738"/>
                    </a:lnTo>
                    <a:lnTo>
                      <a:pt x="277" y="738"/>
                    </a:lnTo>
                    <a:lnTo>
                      <a:pt x="277" y="738"/>
                    </a:lnTo>
                    <a:lnTo>
                      <a:pt x="277" y="738"/>
                    </a:lnTo>
                    <a:lnTo>
                      <a:pt x="270" y="738"/>
                    </a:lnTo>
                    <a:lnTo>
                      <a:pt x="270" y="738"/>
                    </a:lnTo>
                    <a:lnTo>
                      <a:pt x="270" y="738"/>
                    </a:lnTo>
                    <a:lnTo>
                      <a:pt x="270" y="738"/>
                    </a:lnTo>
                    <a:lnTo>
                      <a:pt x="270" y="745"/>
                    </a:lnTo>
                    <a:lnTo>
                      <a:pt x="263" y="745"/>
                    </a:lnTo>
                    <a:lnTo>
                      <a:pt x="263" y="745"/>
                    </a:lnTo>
                    <a:lnTo>
                      <a:pt x="263" y="745"/>
                    </a:lnTo>
                    <a:lnTo>
                      <a:pt x="263" y="745"/>
                    </a:lnTo>
                    <a:lnTo>
                      <a:pt x="263" y="745"/>
                    </a:lnTo>
                    <a:lnTo>
                      <a:pt x="263" y="745"/>
                    </a:lnTo>
                    <a:lnTo>
                      <a:pt x="263" y="738"/>
                    </a:lnTo>
                    <a:lnTo>
                      <a:pt x="263" y="738"/>
                    </a:lnTo>
                    <a:lnTo>
                      <a:pt x="263" y="738"/>
                    </a:lnTo>
                    <a:lnTo>
                      <a:pt x="263" y="731"/>
                    </a:lnTo>
                    <a:lnTo>
                      <a:pt x="263" y="731"/>
                    </a:lnTo>
                    <a:lnTo>
                      <a:pt x="270" y="731"/>
                    </a:lnTo>
                    <a:lnTo>
                      <a:pt x="270" y="731"/>
                    </a:lnTo>
                    <a:lnTo>
                      <a:pt x="270" y="731"/>
                    </a:lnTo>
                    <a:lnTo>
                      <a:pt x="270" y="724"/>
                    </a:lnTo>
                    <a:lnTo>
                      <a:pt x="270" y="724"/>
                    </a:lnTo>
                    <a:lnTo>
                      <a:pt x="270" y="724"/>
                    </a:lnTo>
                    <a:lnTo>
                      <a:pt x="270" y="724"/>
                    </a:lnTo>
                    <a:lnTo>
                      <a:pt x="270" y="717"/>
                    </a:lnTo>
                    <a:lnTo>
                      <a:pt x="270" y="717"/>
                    </a:lnTo>
                    <a:lnTo>
                      <a:pt x="270" y="717"/>
                    </a:lnTo>
                    <a:lnTo>
                      <a:pt x="270" y="710"/>
                    </a:lnTo>
                    <a:lnTo>
                      <a:pt x="270" y="710"/>
                    </a:lnTo>
                    <a:lnTo>
                      <a:pt x="270" y="710"/>
                    </a:lnTo>
                    <a:lnTo>
                      <a:pt x="270" y="710"/>
                    </a:lnTo>
                    <a:lnTo>
                      <a:pt x="270" y="710"/>
                    </a:lnTo>
                    <a:lnTo>
                      <a:pt x="270" y="710"/>
                    </a:lnTo>
                    <a:lnTo>
                      <a:pt x="270" y="710"/>
                    </a:lnTo>
                    <a:lnTo>
                      <a:pt x="263" y="710"/>
                    </a:lnTo>
                    <a:lnTo>
                      <a:pt x="263" y="710"/>
                    </a:lnTo>
                    <a:lnTo>
                      <a:pt x="263" y="710"/>
                    </a:lnTo>
                    <a:lnTo>
                      <a:pt x="263" y="710"/>
                    </a:lnTo>
                    <a:lnTo>
                      <a:pt x="263" y="703"/>
                    </a:lnTo>
                    <a:lnTo>
                      <a:pt x="263" y="703"/>
                    </a:lnTo>
                    <a:lnTo>
                      <a:pt x="263" y="703"/>
                    </a:lnTo>
                    <a:lnTo>
                      <a:pt x="263" y="696"/>
                    </a:lnTo>
                    <a:lnTo>
                      <a:pt x="263" y="696"/>
                    </a:lnTo>
                    <a:lnTo>
                      <a:pt x="263" y="696"/>
                    </a:lnTo>
                    <a:lnTo>
                      <a:pt x="263" y="696"/>
                    </a:lnTo>
                    <a:lnTo>
                      <a:pt x="263" y="696"/>
                    </a:lnTo>
                    <a:lnTo>
                      <a:pt x="263" y="696"/>
                    </a:lnTo>
                    <a:lnTo>
                      <a:pt x="263" y="696"/>
                    </a:lnTo>
                    <a:lnTo>
                      <a:pt x="256" y="696"/>
                    </a:lnTo>
                    <a:lnTo>
                      <a:pt x="256" y="703"/>
                    </a:lnTo>
                    <a:lnTo>
                      <a:pt x="256" y="703"/>
                    </a:lnTo>
                    <a:lnTo>
                      <a:pt x="256" y="703"/>
                    </a:lnTo>
                    <a:lnTo>
                      <a:pt x="256" y="703"/>
                    </a:lnTo>
                    <a:lnTo>
                      <a:pt x="256" y="710"/>
                    </a:lnTo>
                    <a:lnTo>
                      <a:pt x="256" y="710"/>
                    </a:lnTo>
                    <a:lnTo>
                      <a:pt x="256" y="710"/>
                    </a:lnTo>
                    <a:lnTo>
                      <a:pt x="256" y="710"/>
                    </a:lnTo>
                    <a:lnTo>
                      <a:pt x="256" y="710"/>
                    </a:lnTo>
                    <a:lnTo>
                      <a:pt x="249" y="710"/>
                    </a:lnTo>
                    <a:lnTo>
                      <a:pt x="249" y="710"/>
                    </a:lnTo>
                    <a:lnTo>
                      <a:pt x="249" y="710"/>
                    </a:lnTo>
                    <a:lnTo>
                      <a:pt x="249" y="703"/>
                    </a:lnTo>
                    <a:lnTo>
                      <a:pt x="249" y="703"/>
                    </a:lnTo>
                    <a:lnTo>
                      <a:pt x="249" y="703"/>
                    </a:lnTo>
                    <a:lnTo>
                      <a:pt x="249" y="696"/>
                    </a:lnTo>
                    <a:lnTo>
                      <a:pt x="249" y="696"/>
                    </a:lnTo>
                    <a:lnTo>
                      <a:pt x="241" y="696"/>
                    </a:lnTo>
                    <a:lnTo>
                      <a:pt x="241" y="696"/>
                    </a:lnTo>
                    <a:lnTo>
                      <a:pt x="241" y="696"/>
                    </a:lnTo>
                    <a:lnTo>
                      <a:pt x="241" y="703"/>
                    </a:lnTo>
                    <a:lnTo>
                      <a:pt x="241" y="703"/>
                    </a:lnTo>
                    <a:lnTo>
                      <a:pt x="241" y="703"/>
                    </a:lnTo>
                    <a:lnTo>
                      <a:pt x="241" y="703"/>
                    </a:lnTo>
                    <a:lnTo>
                      <a:pt x="241" y="710"/>
                    </a:lnTo>
                    <a:lnTo>
                      <a:pt x="241" y="710"/>
                    </a:lnTo>
                    <a:lnTo>
                      <a:pt x="241" y="710"/>
                    </a:lnTo>
                    <a:lnTo>
                      <a:pt x="241" y="710"/>
                    </a:lnTo>
                    <a:lnTo>
                      <a:pt x="241" y="710"/>
                    </a:lnTo>
                    <a:lnTo>
                      <a:pt x="241" y="717"/>
                    </a:lnTo>
                    <a:lnTo>
                      <a:pt x="241" y="717"/>
                    </a:lnTo>
                    <a:lnTo>
                      <a:pt x="241" y="717"/>
                    </a:lnTo>
                    <a:lnTo>
                      <a:pt x="241" y="717"/>
                    </a:lnTo>
                    <a:lnTo>
                      <a:pt x="241" y="717"/>
                    </a:lnTo>
                    <a:lnTo>
                      <a:pt x="241" y="717"/>
                    </a:lnTo>
                    <a:lnTo>
                      <a:pt x="241" y="724"/>
                    </a:lnTo>
                    <a:lnTo>
                      <a:pt x="241" y="724"/>
                    </a:lnTo>
                    <a:lnTo>
                      <a:pt x="241" y="724"/>
                    </a:lnTo>
                    <a:lnTo>
                      <a:pt x="241" y="724"/>
                    </a:lnTo>
                    <a:lnTo>
                      <a:pt x="234" y="717"/>
                    </a:lnTo>
                    <a:lnTo>
                      <a:pt x="234" y="717"/>
                    </a:lnTo>
                    <a:lnTo>
                      <a:pt x="234" y="717"/>
                    </a:lnTo>
                    <a:lnTo>
                      <a:pt x="234" y="717"/>
                    </a:lnTo>
                    <a:lnTo>
                      <a:pt x="234" y="717"/>
                    </a:lnTo>
                    <a:lnTo>
                      <a:pt x="234" y="717"/>
                    </a:lnTo>
                    <a:lnTo>
                      <a:pt x="227" y="710"/>
                    </a:lnTo>
                    <a:lnTo>
                      <a:pt x="227" y="710"/>
                    </a:lnTo>
                    <a:lnTo>
                      <a:pt x="227" y="710"/>
                    </a:lnTo>
                    <a:lnTo>
                      <a:pt x="220" y="710"/>
                    </a:lnTo>
                    <a:lnTo>
                      <a:pt x="220" y="710"/>
                    </a:lnTo>
                    <a:lnTo>
                      <a:pt x="220" y="717"/>
                    </a:lnTo>
                    <a:lnTo>
                      <a:pt x="220" y="717"/>
                    </a:lnTo>
                    <a:lnTo>
                      <a:pt x="220" y="717"/>
                    </a:lnTo>
                    <a:lnTo>
                      <a:pt x="220" y="717"/>
                    </a:lnTo>
                    <a:lnTo>
                      <a:pt x="220" y="717"/>
                    </a:lnTo>
                    <a:lnTo>
                      <a:pt x="220" y="717"/>
                    </a:lnTo>
                    <a:lnTo>
                      <a:pt x="220" y="717"/>
                    </a:lnTo>
                    <a:lnTo>
                      <a:pt x="220" y="717"/>
                    </a:lnTo>
                    <a:lnTo>
                      <a:pt x="220" y="724"/>
                    </a:lnTo>
                    <a:lnTo>
                      <a:pt x="220" y="724"/>
                    </a:lnTo>
                    <a:lnTo>
                      <a:pt x="213" y="724"/>
                    </a:lnTo>
                    <a:lnTo>
                      <a:pt x="213" y="731"/>
                    </a:lnTo>
                    <a:lnTo>
                      <a:pt x="213" y="731"/>
                    </a:lnTo>
                    <a:lnTo>
                      <a:pt x="213" y="731"/>
                    </a:lnTo>
                    <a:lnTo>
                      <a:pt x="213" y="731"/>
                    </a:lnTo>
                    <a:lnTo>
                      <a:pt x="213" y="731"/>
                    </a:lnTo>
                    <a:lnTo>
                      <a:pt x="213" y="738"/>
                    </a:lnTo>
                    <a:lnTo>
                      <a:pt x="213" y="738"/>
                    </a:lnTo>
                    <a:lnTo>
                      <a:pt x="220" y="738"/>
                    </a:lnTo>
                    <a:lnTo>
                      <a:pt x="220" y="738"/>
                    </a:lnTo>
                    <a:lnTo>
                      <a:pt x="220" y="745"/>
                    </a:lnTo>
                    <a:lnTo>
                      <a:pt x="227" y="753"/>
                    </a:lnTo>
                    <a:lnTo>
                      <a:pt x="227" y="760"/>
                    </a:lnTo>
                    <a:lnTo>
                      <a:pt x="227" y="767"/>
                    </a:lnTo>
                    <a:lnTo>
                      <a:pt x="227" y="781"/>
                    </a:lnTo>
                    <a:lnTo>
                      <a:pt x="234" y="781"/>
                    </a:lnTo>
                    <a:lnTo>
                      <a:pt x="234" y="781"/>
                    </a:lnTo>
                    <a:lnTo>
                      <a:pt x="241" y="788"/>
                    </a:lnTo>
                    <a:lnTo>
                      <a:pt x="241" y="788"/>
                    </a:lnTo>
                    <a:lnTo>
                      <a:pt x="241" y="795"/>
                    </a:lnTo>
                    <a:lnTo>
                      <a:pt x="241" y="795"/>
                    </a:lnTo>
                    <a:lnTo>
                      <a:pt x="241" y="802"/>
                    </a:lnTo>
                    <a:lnTo>
                      <a:pt x="241" y="809"/>
                    </a:lnTo>
                    <a:lnTo>
                      <a:pt x="241" y="809"/>
                    </a:lnTo>
                    <a:lnTo>
                      <a:pt x="241" y="809"/>
                    </a:lnTo>
                    <a:lnTo>
                      <a:pt x="241" y="816"/>
                    </a:lnTo>
                    <a:lnTo>
                      <a:pt x="241" y="816"/>
                    </a:lnTo>
                    <a:lnTo>
                      <a:pt x="241" y="816"/>
                    </a:lnTo>
                    <a:lnTo>
                      <a:pt x="241" y="816"/>
                    </a:lnTo>
                    <a:lnTo>
                      <a:pt x="241" y="824"/>
                    </a:lnTo>
                    <a:lnTo>
                      <a:pt x="241" y="824"/>
                    </a:lnTo>
                    <a:lnTo>
                      <a:pt x="241" y="824"/>
                    </a:lnTo>
                    <a:lnTo>
                      <a:pt x="241" y="824"/>
                    </a:lnTo>
                    <a:lnTo>
                      <a:pt x="249" y="824"/>
                    </a:lnTo>
                    <a:lnTo>
                      <a:pt x="249" y="824"/>
                    </a:lnTo>
                    <a:lnTo>
                      <a:pt x="249" y="824"/>
                    </a:lnTo>
                    <a:lnTo>
                      <a:pt x="256" y="824"/>
                    </a:lnTo>
                    <a:lnTo>
                      <a:pt x="256" y="824"/>
                    </a:lnTo>
                    <a:lnTo>
                      <a:pt x="256" y="824"/>
                    </a:lnTo>
                    <a:lnTo>
                      <a:pt x="263" y="824"/>
                    </a:lnTo>
                    <a:lnTo>
                      <a:pt x="263" y="824"/>
                    </a:lnTo>
                    <a:lnTo>
                      <a:pt x="263" y="824"/>
                    </a:lnTo>
                    <a:lnTo>
                      <a:pt x="263" y="831"/>
                    </a:lnTo>
                    <a:lnTo>
                      <a:pt x="263" y="831"/>
                    </a:lnTo>
                    <a:lnTo>
                      <a:pt x="263" y="831"/>
                    </a:lnTo>
                    <a:lnTo>
                      <a:pt x="270" y="838"/>
                    </a:lnTo>
                    <a:lnTo>
                      <a:pt x="270" y="838"/>
                    </a:lnTo>
                    <a:lnTo>
                      <a:pt x="270" y="838"/>
                    </a:lnTo>
                    <a:lnTo>
                      <a:pt x="270" y="845"/>
                    </a:lnTo>
                    <a:lnTo>
                      <a:pt x="270" y="845"/>
                    </a:lnTo>
                    <a:lnTo>
                      <a:pt x="270" y="845"/>
                    </a:lnTo>
                    <a:lnTo>
                      <a:pt x="270" y="845"/>
                    </a:lnTo>
                    <a:lnTo>
                      <a:pt x="270" y="845"/>
                    </a:lnTo>
                    <a:lnTo>
                      <a:pt x="270" y="845"/>
                    </a:lnTo>
                    <a:lnTo>
                      <a:pt x="270" y="845"/>
                    </a:lnTo>
                    <a:lnTo>
                      <a:pt x="270" y="845"/>
                    </a:lnTo>
                    <a:lnTo>
                      <a:pt x="270" y="845"/>
                    </a:lnTo>
                    <a:lnTo>
                      <a:pt x="270" y="845"/>
                    </a:lnTo>
                    <a:lnTo>
                      <a:pt x="277" y="852"/>
                    </a:lnTo>
                    <a:lnTo>
                      <a:pt x="277" y="852"/>
                    </a:lnTo>
                    <a:lnTo>
                      <a:pt x="277" y="852"/>
                    </a:lnTo>
                    <a:lnTo>
                      <a:pt x="277" y="859"/>
                    </a:lnTo>
                    <a:lnTo>
                      <a:pt x="277" y="859"/>
                    </a:lnTo>
                    <a:lnTo>
                      <a:pt x="277" y="859"/>
                    </a:lnTo>
                    <a:lnTo>
                      <a:pt x="277" y="859"/>
                    </a:lnTo>
                    <a:lnTo>
                      <a:pt x="270" y="866"/>
                    </a:lnTo>
                    <a:lnTo>
                      <a:pt x="270" y="866"/>
                    </a:lnTo>
                    <a:lnTo>
                      <a:pt x="270" y="873"/>
                    </a:lnTo>
                    <a:lnTo>
                      <a:pt x="263" y="873"/>
                    </a:lnTo>
                    <a:lnTo>
                      <a:pt x="263" y="880"/>
                    </a:lnTo>
                    <a:lnTo>
                      <a:pt x="263" y="880"/>
                    </a:lnTo>
                    <a:lnTo>
                      <a:pt x="256" y="887"/>
                    </a:lnTo>
                    <a:lnTo>
                      <a:pt x="256" y="887"/>
                    </a:lnTo>
                    <a:lnTo>
                      <a:pt x="256" y="887"/>
                    </a:lnTo>
                    <a:lnTo>
                      <a:pt x="249" y="887"/>
                    </a:lnTo>
                    <a:lnTo>
                      <a:pt x="249" y="887"/>
                    </a:lnTo>
                    <a:lnTo>
                      <a:pt x="249" y="880"/>
                    </a:lnTo>
                    <a:lnTo>
                      <a:pt x="249" y="880"/>
                    </a:lnTo>
                    <a:lnTo>
                      <a:pt x="249" y="880"/>
                    </a:lnTo>
                    <a:lnTo>
                      <a:pt x="249" y="880"/>
                    </a:lnTo>
                    <a:lnTo>
                      <a:pt x="249" y="880"/>
                    </a:lnTo>
                    <a:lnTo>
                      <a:pt x="249" y="880"/>
                    </a:lnTo>
                    <a:lnTo>
                      <a:pt x="241" y="880"/>
                    </a:lnTo>
                    <a:lnTo>
                      <a:pt x="241" y="880"/>
                    </a:lnTo>
                    <a:lnTo>
                      <a:pt x="234" y="873"/>
                    </a:lnTo>
                    <a:lnTo>
                      <a:pt x="234" y="873"/>
                    </a:lnTo>
                    <a:lnTo>
                      <a:pt x="234" y="873"/>
                    </a:lnTo>
                    <a:lnTo>
                      <a:pt x="227" y="873"/>
                    </a:lnTo>
                    <a:lnTo>
                      <a:pt x="227" y="866"/>
                    </a:lnTo>
                    <a:lnTo>
                      <a:pt x="220" y="859"/>
                    </a:lnTo>
                    <a:lnTo>
                      <a:pt x="213" y="859"/>
                    </a:lnTo>
                    <a:lnTo>
                      <a:pt x="213" y="859"/>
                    </a:lnTo>
                    <a:lnTo>
                      <a:pt x="213" y="859"/>
                    </a:lnTo>
                    <a:lnTo>
                      <a:pt x="206" y="859"/>
                    </a:lnTo>
                    <a:lnTo>
                      <a:pt x="206" y="859"/>
                    </a:lnTo>
                    <a:lnTo>
                      <a:pt x="206" y="859"/>
                    </a:lnTo>
                    <a:lnTo>
                      <a:pt x="206" y="866"/>
                    </a:lnTo>
                    <a:lnTo>
                      <a:pt x="206" y="866"/>
                    </a:lnTo>
                    <a:lnTo>
                      <a:pt x="206" y="866"/>
                    </a:lnTo>
                    <a:lnTo>
                      <a:pt x="206" y="866"/>
                    </a:lnTo>
                    <a:lnTo>
                      <a:pt x="206" y="866"/>
                    </a:lnTo>
                    <a:lnTo>
                      <a:pt x="206" y="866"/>
                    </a:lnTo>
                    <a:lnTo>
                      <a:pt x="206" y="873"/>
                    </a:lnTo>
                    <a:lnTo>
                      <a:pt x="206" y="873"/>
                    </a:lnTo>
                    <a:lnTo>
                      <a:pt x="199" y="873"/>
                    </a:lnTo>
                    <a:lnTo>
                      <a:pt x="199" y="873"/>
                    </a:lnTo>
                    <a:lnTo>
                      <a:pt x="199" y="873"/>
                    </a:lnTo>
                    <a:lnTo>
                      <a:pt x="192" y="873"/>
                    </a:lnTo>
                    <a:lnTo>
                      <a:pt x="192" y="873"/>
                    </a:lnTo>
                    <a:lnTo>
                      <a:pt x="192" y="873"/>
                    </a:lnTo>
                    <a:lnTo>
                      <a:pt x="192" y="866"/>
                    </a:lnTo>
                    <a:lnTo>
                      <a:pt x="192" y="866"/>
                    </a:lnTo>
                    <a:lnTo>
                      <a:pt x="192" y="866"/>
                    </a:lnTo>
                    <a:lnTo>
                      <a:pt x="192" y="859"/>
                    </a:lnTo>
                    <a:lnTo>
                      <a:pt x="192" y="859"/>
                    </a:lnTo>
                    <a:lnTo>
                      <a:pt x="192" y="859"/>
                    </a:lnTo>
                    <a:lnTo>
                      <a:pt x="192" y="859"/>
                    </a:lnTo>
                    <a:lnTo>
                      <a:pt x="192" y="859"/>
                    </a:lnTo>
                    <a:lnTo>
                      <a:pt x="185" y="859"/>
                    </a:lnTo>
                    <a:lnTo>
                      <a:pt x="185" y="852"/>
                    </a:lnTo>
                    <a:lnTo>
                      <a:pt x="185" y="852"/>
                    </a:lnTo>
                    <a:lnTo>
                      <a:pt x="185" y="852"/>
                    </a:lnTo>
                    <a:lnTo>
                      <a:pt x="185" y="852"/>
                    </a:lnTo>
                    <a:lnTo>
                      <a:pt x="178" y="852"/>
                    </a:lnTo>
                    <a:lnTo>
                      <a:pt x="178" y="852"/>
                    </a:lnTo>
                    <a:lnTo>
                      <a:pt x="178" y="845"/>
                    </a:lnTo>
                    <a:lnTo>
                      <a:pt x="178" y="845"/>
                    </a:lnTo>
                    <a:lnTo>
                      <a:pt x="178" y="845"/>
                    </a:lnTo>
                    <a:lnTo>
                      <a:pt x="178" y="845"/>
                    </a:lnTo>
                    <a:lnTo>
                      <a:pt x="178" y="845"/>
                    </a:lnTo>
                    <a:lnTo>
                      <a:pt x="178" y="838"/>
                    </a:lnTo>
                    <a:lnTo>
                      <a:pt x="178" y="831"/>
                    </a:lnTo>
                    <a:lnTo>
                      <a:pt x="185" y="831"/>
                    </a:lnTo>
                    <a:lnTo>
                      <a:pt x="185" y="831"/>
                    </a:lnTo>
                    <a:lnTo>
                      <a:pt x="185" y="831"/>
                    </a:lnTo>
                    <a:lnTo>
                      <a:pt x="178" y="824"/>
                    </a:lnTo>
                    <a:lnTo>
                      <a:pt x="178" y="824"/>
                    </a:lnTo>
                    <a:lnTo>
                      <a:pt x="178" y="824"/>
                    </a:lnTo>
                    <a:lnTo>
                      <a:pt x="178" y="824"/>
                    </a:lnTo>
                    <a:lnTo>
                      <a:pt x="178" y="816"/>
                    </a:lnTo>
                    <a:lnTo>
                      <a:pt x="178" y="816"/>
                    </a:lnTo>
                    <a:lnTo>
                      <a:pt x="178" y="816"/>
                    </a:lnTo>
                    <a:lnTo>
                      <a:pt x="178" y="809"/>
                    </a:lnTo>
                    <a:lnTo>
                      <a:pt x="178" y="809"/>
                    </a:lnTo>
                    <a:lnTo>
                      <a:pt x="178" y="809"/>
                    </a:lnTo>
                    <a:lnTo>
                      <a:pt x="178" y="802"/>
                    </a:lnTo>
                    <a:lnTo>
                      <a:pt x="171" y="795"/>
                    </a:lnTo>
                    <a:lnTo>
                      <a:pt x="171" y="795"/>
                    </a:lnTo>
                    <a:lnTo>
                      <a:pt x="171" y="795"/>
                    </a:lnTo>
                    <a:lnTo>
                      <a:pt x="171" y="795"/>
                    </a:lnTo>
                    <a:lnTo>
                      <a:pt x="163" y="795"/>
                    </a:lnTo>
                    <a:lnTo>
                      <a:pt x="163" y="788"/>
                    </a:lnTo>
                    <a:lnTo>
                      <a:pt x="171" y="788"/>
                    </a:lnTo>
                    <a:lnTo>
                      <a:pt x="178" y="781"/>
                    </a:lnTo>
                    <a:lnTo>
                      <a:pt x="178" y="781"/>
                    </a:lnTo>
                    <a:lnTo>
                      <a:pt x="185" y="774"/>
                    </a:lnTo>
                    <a:lnTo>
                      <a:pt x="185" y="774"/>
                    </a:lnTo>
                    <a:lnTo>
                      <a:pt x="192" y="767"/>
                    </a:lnTo>
                    <a:lnTo>
                      <a:pt x="192" y="767"/>
                    </a:lnTo>
                    <a:lnTo>
                      <a:pt x="185" y="767"/>
                    </a:lnTo>
                    <a:lnTo>
                      <a:pt x="185" y="760"/>
                    </a:lnTo>
                    <a:lnTo>
                      <a:pt x="192" y="760"/>
                    </a:lnTo>
                    <a:lnTo>
                      <a:pt x="192" y="760"/>
                    </a:lnTo>
                    <a:lnTo>
                      <a:pt x="192" y="753"/>
                    </a:lnTo>
                    <a:lnTo>
                      <a:pt x="192" y="753"/>
                    </a:lnTo>
                    <a:lnTo>
                      <a:pt x="192" y="753"/>
                    </a:lnTo>
                    <a:lnTo>
                      <a:pt x="192" y="745"/>
                    </a:lnTo>
                    <a:lnTo>
                      <a:pt x="192" y="745"/>
                    </a:lnTo>
                    <a:lnTo>
                      <a:pt x="192" y="745"/>
                    </a:lnTo>
                    <a:lnTo>
                      <a:pt x="192" y="738"/>
                    </a:lnTo>
                    <a:lnTo>
                      <a:pt x="185" y="724"/>
                    </a:lnTo>
                    <a:lnTo>
                      <a:pt x="178" y="724"/>
                    </a:lnTo>
                    <a:lnTo>
                      <a:pt x="178" y="724"/>
                    </a:lnTo>
                    <a:lnTo>
                      <a:pt x="178" y="717"/>
                    </a:lnTo>
                    <a:lnTo>
                      <a:pt x="178" y="717"/>
                    </a:lnTo>
                    <a:lnTo>
                      <a:pt x="178" y="717"/>
                    </a:lnTo>
                    <a:lnTo>
                      <a:pt x="178" y="717"/>
                    </a:lnTo>
                    <a:lnTo>
                      <a:pt x="178" y="717"/>
                    </a:lnTo>
                    <a:lnTo>
                      <a:pt x="185" y="703"/>
                    </a:lnTo>
                    <a:lnTo>
                      <a:pt x="192" y="703"/>
                    </a:lnTo>
                    <a:lnTo>
                      <a:pt x="192" y="696"/>
                    </a:lnTo>
                    <a:lnTo>
                      <a:pt x="192" y="696"/>
                    </a:lnTo>
                    <a:lnTo>
                      <a:pt x="206" y="689"/>
                    </a:lnTo>
                    <a:lnTo>
                      <a:pt x="206" y="689"/>
                    </a:lnTo>
                    <a:lnTo>
                      <a:pt x="206" y="689"/>
                    </a:lnTo>
                    <a:lnTo>
                      <a:pt x="213" y="689"/>
                    </a:lnTo>
                    <a:lnTo>
                      <a:pt x="213" y="689"/>
                    </a:lnTo>
                    <a:lnTo>
                      <a:pt x="220" y="689"/>
                    </a:lnTo>
                    <a:lnTo>
                      <a:pt x="220" y="689"/>
                    </a:lnTo>
                    <a:lnTo>
                      <a:pt x="220" y="689"/>
                    </a:lnTo>
                    <a:lnTo>
                      <a:pt x="227" y="682"/>
                    </a:lnTo>
                    <a:lnTo>
                      <a:pt x="234" y="682"/>
                    </a:lnTo>
                    <a:lnTo>
                      <a:pt x="241" y="682"/>
                    </a:lnTo>
                    <a:lnTo>
                      <a:pt x="241" y="682"/>
                    </a:lnTo>
                    <a:lnTo>
                      <a:pt x="241" y="674"/>
                    </a:lnTo>
                    <a:lnTo>
                      <a:pt x="241" y="674"/>
                    </a:lnTo>
                    <a:lnTo>
                      <a:pt x="241" y="674"/>
                    </a:lnTo>
                    <a:lnTo>
                      <a:pt x="241" y="674"/>
                    </a:lnTo>
                    <a:lnTo>
                      <a:pt x="241" y="674"/>
                    </a:lnTo>
                    <a:lnTo>
                      <a:pt x="241" y="674"/>
                    </a:lnTo>
                    <a:lnTo>
                      <a:pt x="241" y="667"/>
                    </a:lnTo>
                    <a:lnTo>
                      <a:pt x="241" y="667"/>
                    </a:lnTo>
                    <a:lnTo>
                      <a:pt x="241" y="667"/>
                    </a:lnTo>
                    <a:lnTo>
                      <a:pt x="241" y="667"/>
                    </a:lnTo>
                    <a:lnTo>
                      <a:pt x="241" y="660"/>
                    </a:lnTo>
                    <a:lnTo>
                      <a:pt x="241" y="660"/>
                    </a:lnTo>
                    <a:lnTo>
                      <a:pt x="241" y="660"/>
                    </a:lnTo>
                    <a:lnTo>
                      <a:pt x="241" y="653"/>
                    </a:lnTo>
                    <a:lnTo>
                      <a:pt x="241" y="653"/>
                    </a:lnTo>
                    <a:lnTo>
                      <a:pt x="249" y="653"/>
                    </a:lnTo>
                    <a:lnTo>
                      <a:pt x="249" y="653"/>
                    </a:lnTo>
                    <a:lnTo>
                      <a:pt x="249" y="653"/>
                    </a:lnTo>
                    <a:lnTo>
                      <a:pt x="249" y="646"/>
                    </a:lnTo>
                    <a:lnTo>
                      <a:pt x="256" y="639"/>
                    </a:lnTo>
                    <a:lnTo>
                      <a:pt x="256" y="632"/>
                    </a:lnTo>
                    <a:lnTo>
                      <a:pt x="263" y="632"/>
                    </a:lnTo>
                    <a:lnTo>
                      <a:pt x="263" y="632"/>
                    </a:lnTo>
                    <a:lnTo>
                      <a:pt x="263" y="625"/>
                    </a:lnTo>
                    <a:lnTo>
                      <a:pt x="263" y="625"/>
                    </a:lnTo>
                    <a:lnTo>
                      <a:pt x="270" y="618"/>
                    </a:lnTo>
                    <a:lnTo>
                      <a:pt x="270" y="611"/>
                    </a:lnTo>
                    <a:lnTo>
                      <a:pt x="270" y="611"/>
                    </a:lnTo>
                    <a:lnTo>
                      <a:pt x="270" y="611"/>
                    </a:lnTo>
                    <a:lnTo>
                      <a:pt x="263" y="611"/>
                    </a:lnTo>
                    <a:lnTo>
                      <a:pt x="263" y="611"/>
                    </a:lnTo>
                    <a:lnTo>
                      <a:pt x="263" y="603"/>
                    </a:lnTo>
                    <a:lnTo>
                      <a:pt x="263" y="603"/>
                    </a:lnTo>
                    <a:lnTo>
                      <a:pt x="263" y="603"/>
                    </a:lnTo>
                    <a:lnTo>
                      <a:pt x="263" y="603"/>
                    </a:lnTo>
                    <a:lnTo>
                      <a:pt x="270" y="603"/>
                    </a:lnTo>
                    <a:lnTo>
                      <a:pt x="270" y="596"/>
                    </a:lnTo>
                    <a:lnTo>
                      <a:pt x="270" y="596"/>
                    </a:lnTo>
                    <a:lnTo>
                      <a:pt x="270" y="596"/>
                    </a:lnTo>
                    <a:lnTo>
                      <a:pt x="270" y="596"/>
                    </a:lnTo>
                    <a:lnTo>
                      <a:pt x="263" y="596"/>
                    </a:lnTo>
                    <a:lnTo>
                      <a:pt x="263" y="589"/>
                    </a:lnTo>
                    <a:lnTo>
                      <a:pt x="263" y="589"/>
                    </a:lnTo>
                    <a:lnTo>
                      <a:pt x="263" y="589"/>
                    </a:lnTo>
                    <a:lnTo>
                      <a:pt x="270" y="589"/>
                    </a:lnTo>
                    <a:lnTo>
                      <a:pt x="270" y="589"/>
                    </a:lnTo>
                    <a:lnTo>
                      <a:pt x="270" y="589"/>
                    </a:lnTo>
                    <a:lnTo>
                      <a:pt x="270" y="589"/>
                    </a:lnTo>
                    <a:lnTo>
                      <a:pt x="277" y="582"/>
                    </a:lnTo>
                    <a:lnTo>
                      <a:pt x="277" y="582"/>
                    </a:lnTo>
                    <a:lnTo>
                      <a:pt x="277" y="582"/>
                    </a:lnTo>
                    <a:lnTo>
                      <a:pt x="277" y="582"/>
                    </a:lnTo>
                    <a:lnTo>
                      <a:pt x="284" y="575"/>
                    </a:lnTo>
                    <a:lnTo>
                      <a:pt x="284" y="575"/>
                    </a:lnTo>
                    <a:lnTo>
                      <a:pt x="284" y="575"/>
                    </a:lnTo>
                    <a:lnTo>
                      <a:pt x="284" y="575"/>
                    </a:lnTo>
                    <a:lnTo>
                      <a:pt x="277" y="575"/>
                    </a:lnTo>
                    <a:lnTo>
                      <a:pt x="277" y="575"/>
                    </a:lnTo>
                    <a:lnTo>
                      <a:pt x="277" y="575"/>
                    </a:lnTo>
                    <a:lnTo>
                      <a:pt x="277" y="568"/>
                    </a:lnTo>
                    <a:lnTo>
                      <a:pt x="277" y="561"/>
                    </a:lnTo>
                    <a:lnTo>
                      <a:pt x="277" y="561"/>
                    </a:lnTo>
                    <a:lnTo>
                      <a:pt x="277" y="554"/>
                    </a:lnTo>
                    <a:lnTo>
                      <a:pt x="270" y="547"/>
                    </a:lnTo>
                    <a:lnTo>
                      <a:pt x="270" y="540"/>
                    </a:lnTo>
                    <a:lnTo>
                      <a:pt x="263" y="533"/>
                    </a:lnTo>
                    <a:lnTo>
                      <a:pt x="263" y="533"/>
                    </a:lnTo>
                    <a:lnTo>
                      <a:pt x="263" y="533"/>
                    </a:lnTo>
                    <a:lnTo>
                      <a:pt x="263" y="533"/>
                    </a:lnTo>
                    <a:lnTo>
                      <a:pt x="263" y="525"/>
                    </a:lnTo>
                    <a:lnTo>
                      <a:pt x="263" y="525"/>
                    </a:lnTo>
                    <a:lnTo>
                      <a:pt x="263" y="525"/>
                    </a:lnTo>
                    <a:lnTo>
                      <a:pt x="263" y="525"/>
                    </a:lnTo>
                    <a:lnTo>
                      <a:pt x="256" y="525"/>
                    </a:lnTo>
                    <a:lnTo>
                      <a:pt x="256" y="525"/>
                    </a:lnTo>
                    <a:lnTo>
                      <a:pt x="256" y="525"/>
                    </a:lnTo>
                    <a:lnTo>
                      <a:pt x="249" y="525"/>
                    </a:lnTo>
                    <a:lnTo>
                      <a:pt x="249" y="518"/>
                    </a:lnTo>
                    <a:lnTo>
                      <a:pt x="241" y="518"/>
                    </a:lnTo>
                    <a:lnTo>
                      <a:pt x="241" y="518"/>
                    </a:lnTo>
                    <a:lnTo>
                      <a:pt x="241" y="518"/>
                    </a:lnTo>
                    <a:lnTo>
                      <a:pt x="241" y="518"/>
                    </a:lnTo>
                    <a:lnTo>
                      <a:pt x="241" y="518"/>
                    </a:lnTo>
                    <a:lnTo>
                      <a:pt x="241" y="511"/>
                    </a:lnTo>
                    <a:lnTo>
                      <a:pt x="234" y="511"/>
                    </a:lnTo>
                    <a:lnTo>
                      <a:pt x="234" y="511"/>
                    </a:lnTo>
                    <a:lnTo>
                      <a:pt x="234" y="518"/>
                    </a:lnTo>
                    <a:lnTo>
                      <a:pt x="234" y="511"/>
                    </a:lnTo>
                    <a:lnTo>
                      <a:pt x="227" y="511"/>
                    </a:lnTo>
                    <a:lnTo>
                      <a:pt x="227" y="518"/>
                    </a:lnTo>
                    <a:lnTo>
                      <a:pt x="220" y="518"/>
                    </a:lnTo>
                    <a:lnTo>
                      <a:pt x="220" y="518"/>
                    </a:lnTo>
                    <a:lnTo>
                      <a:pt x="220" y="518"/>
                    </a:lnTo>
                    <a:lnTo>
                      <a:pt x="220" y="518"/>
                    </a:lnTo>
                    <a:lnTo>
                      <a:pt x="220" y="518"/>
                    </a:lnTo>
                    <a:lnTo>
                      <a:pt x="220" y="518"/>
                    </a:lnTo>
                    <a:lnTo>
                      <a:pt x="213" y="518"/>
                    </a:lnTo>
                    <a:lnTo>
                      <a:pt x="213" y="518"/>
                    </a:lnTo>
                    <a:lnTo>
                      <a:pt x="206" y="518"/>
                    </a:lnTo>
                    <a:lnTo>
                      <a:pt x="206" y="511"/>
                    </a:lnTo>
                    <a:lnTo>
                      <a:pt x="199" y="511"/>
                    </a:lnTo>
                    <a:lnTo>
                      <a:pt x="199" y="511"/>
                    </a:lnTo>
                    <a:lnTo>
                      <a:pt x="199" y="511"/>
                    </a:lnTo>
                    <a:lnTo>
                      <a:pt x="192" y="511"/>
                    </a:lnTo>
                    <a:lnTo>
                      <a:pt x="192" y="511"/>
                    </a:lnTo>
                    <a:lnTo>
                      <a:pt x="192" y="511"/>
                    </a:lnTo>
                    <a:lnTo>
                      <a:pt x="192" y="511"/>
                    </a:lnTo>
                    <a:lnTo>
                      <a:pt x="192" y="511"/>
                    </a:lnTo>
                    <a:lnTo>
                      <a:pt x="185" y="504"/>
                    </a:lnTo>
                    <a:lnTo>
                      <a:pt x="185" y="504"/>
                    </a:lnTo>
                    <a:lnTo>
                      <a:pt x="178" y="504"/>
                    </a:lnTo>
                    <a:lnTo>
                      <a:pt x="178" y="504"/>
                    </a:lnTo>
                    <a:lnTo>
                      <a:pt x="178" y="504"/>
                    </a:lnTo>
                    <a:lnTo>
                      <a:pt x="171" y="504"/>
                    </a:lnTo>
                    <a:lnTo>
                      <a:pt x="171" y="511"/>
                    </a:lnTo>
                    <a:lnTo>
                      <a:pt x="171" y="511"/>
                    </a:lnTo>
                    <a:lnTo>
                      <a:pt x="171" y="511"/>
                    </a:lnTo>
                    <a:lnTo>
                      <a:pt x="163" y="511"/>
                    </a:lnTo>
                    <a:lnTo>
                      <a:pt x="163" y="511"/>
                    </a:lnTo>
                    <a:lnTo>
                      <a:pt x="163" y="511"/>
                    </a:lnTo>
                    <a:lnTo>
                      <a:pt x="163" y="504"/>
                    </a:lnTo>
                    <a:lnTo>
                      <a:pt x="163" y="504"/>
                    </a:lnTo>
                    <a:lnTo>
                      <a:pt x="163" y="504"/>
                    </a:lnTo>
                    <a:lnTo>
                      <a:pt x="163" y="504"/>
                    </a:lnTo>
                    <a:lnTo>
                      <a:pt x="163" y="504"/>
                    </a:lnTo>
                    <a:lnTo>
                      <a:pt x="163" y="504"/>
                    </a:lnTo>
                    <a:lnTo>
                      <a:pt x="163" y="504"/>
                    </a:lnTo>
                    <a:lnTo>
                      <a:pt x="163" y="504"/>
                    </a:lnTo>
                    <a:lnTo>
                      <a:pt x="163" y="504"/>
                    </a:lnTo>
                    <a:lnTo>
                      <a:pt x="163" y="504"/>
                    </a:lnTo>
                    <a:lnTo>
                      <a:pt x="171" y="497"/>
                    </a:lnTo>
                    <a:lnTo>
                      <a:pt x="171" y="497"/>
                    </a:lnTo>
                    <a:lnTo>
                      <a:pt x="171" y="497"/>
                    </a:lnTo>
                    <a:lnTo>
                      <a:pt x="171" y="497"/>
                    </a:lnTo>
                    <a:lnTo>
                      <a:pt x="171" y="497"/>
                    </a:lnTo>
                    <a:lnTo>
                      <a:pt x="171" y="497"/>
                    </a:lnTo>
                    <a:lnTo>
                      <a:pt x="163" y="490"/>
                    </a:lnTo>
                    <a:lnTo>
                      <a:pt x="163" y="490"/>
                    </a:lnTo>
                    <a:lnTo>
                      <a:pt x="163" y="490"/>
                    </a:lnTo>
                    <a:lnTo>
                      <a:pt x="163" y="490"/>
                    </a:lnTo>
                    <a:lnTo>
                      <a:pt x="156" y="490"/>
                    </a:lnTo>
                    <a:lnTo>
                      <a:pt x="156" y="490"/>
                    </a:lnTo>
                    <a:lnTo>
                      <a:pt x="156" y="490"/>
                    </a:lnTo>
                    <a:lnTo>
                      <a:pt x="149" y="490"/>
                    </a:lnTo>
                    <a:lnTo>
                      <a:pt x="149" y="490"/>
                    </a:lnTo>
                    <a:lnTo>
                      <a:pt x="149" y="497"/>
                    </a:lnTo>
                    <a:lnTo>
                      <a:pt x="149" y="497"/>
                    </a:lnTo>
                    <a:lnTo>
                      <a:pt x="149" y="497"/>
                    </a:lnTo>
                    <a:lnTo>
                      <a:pt x="149" y="497"/>
                    </a:lnTo>
                    <a:lnTo>
                      <a:pt x="142" y="497"/>
                    </a:lnTo>
                    <a:lnTo>
                      <a:pt x="142" y="497"/>
                    </a:lnTo>
                    <a:lnTo>
                      <a:pt x="142" y="497"/>
                    </a:lnTo>
                    <a:lnTo>
                      <a:pt x="142" y="497"/>
                    </a:lnTo>
                    <a:lnTo>
                      <a:pt x="142" y="497"/>
                    </a:lnTo>
                    <a:lnTo>
                      <a:pt x="142" y="497"/>
                    </a:lnTo>
                    <a:lnTo>
                      <a:pt x="142" y="497"/>
                    </a:lnTo>
                    <a:lnTo>
                      <a:pt x="142" y="504"/>
                    </a:lnTo>
                    <a:lnTo>
                      <a:pt x="142" y="504"/>
                    </a:lnTo>
                    <a:lnTo>
                      <a:pt x="142" y="504"/>
                    </a:lnTo>
                    <a:lnTo>
                      <a:pt x="135" y="504"/>
                    </a:lnTo>
                    <a:lnTo>
                      <a:pt x="135" y="504"/>
                    </a:lnTo>
                    <a:lnTo>
                      <a:pt x="135" y="504"/>
                    </a:lnTo>
                    <a:lnTo>
                      <a:pt x="135" y="497"/>
                    </a:lnTo>
                    <a:lnTo>
                      <a:pt x="135" y="497"/>
                    </a:lnTo>
                    <a:lnTo>
                      <a:pt x="135" y="497"/>
                    </a:lnTo>
                    <a:lnTo>
                      <a:pt x="135" y="497"/>
                    </a:lnTo>
                    <a:lnTo>
                      <a:pt x="128" y="497"/>
                    </a:lnTo>
                    <a:lnTo>
                      <a:pt x="121" y="497"/>
                    </a:lnTo>
                    <a:lnTo>
                      <a:pt x="121" y="497"/>
                    </a:lnTo>
                    <a:lnTo>
                      <a:pt x="121" y="497"/>
                    </a:lnTo>
                    <a:lnTo>
                      <a:pt x="121" y="497"/>
                    </a:lnTo>
                    <a:lnTo>
                      <a:pt x="114" y="497"/>
                    </a:lnTo>
                    <a:lnTo>
                      <a:pt x="114" y="497"/>
                    </a:lnTo>
                    <a:lnTo>
                      <a:pt x="114" y="497"/>
                    </a:lnTo>
                    <a:lnTo>
                      <a:pt x="114" y="497"/>
                    </a:lnTo>
                    <a:lnTo>
                      <a:pt x="114" y="497"/>
                    </a:lnTo>
                    <a:lnTo>
                      <a:pt x="114" y="497"/>
                    </a:lnTo>
                    <a:lnTo>
                      <a:pt x="107" y="497"/>
                    </a:lnTo>
                    <a:lnTo>
                      <a:pt x="100" y="497"/>
                    </a:lnTo>
                    <a:lnTo>
                      <a:pt x="100" y="497"/>
                    </a:lnTo>
                    <a:lnTo>
                      <a:pt x="100" y="497"/>
                    </a:lnTo>
                    <a:lnTo>
                      <a:pt x="92" y="497"/>
                    </a:lnTo>
                    <a:lnTo>
                      <a:pt x="92" y="497"/>
                    </a:lnTo>
                    <a:lnTo>
                      <a:pt x="85" y="504"/>
                    </a:lnTo>
                    <a:lnTo>
                      <a:pt x="71" y="511"/>
                    </a:lnTo>
                    <a:lnTo>
                      <a:pt x="71" y="511"/>
                    </a:lnTo>
                    <a:lnTo>
                      <a:pt x="71" y="511"/>
                    </a:lnTo>
                    <a:lnTo>
                      <a:pt x="64" y="511"/>
                    </a:lnTo>
                    <a:lnTo>
                      <a:pt x="64" y="511"/>
                    </a:lnTo>
                    <a:lnTo>
                      <a:pt x="64" y="511"/>
                    </a:lnTo>
                    <a:lnTo>
                      <a:pt x="64" y="511"/>
                    </a:lnTo>
                    <a:lnTo>
                      <a:pt x="64" y="511"/>
                    </a:lnTo>
                    <a:lnTo>
                      <a:pt x="64" y="518"/>
                    </a:lnTo>
                    <a:lnTo>
                      <a:pt x="57" y="518"/>
                    </a:lnTo>
                    <a:lnTo>
                      <a:pt x="57" y="518"/>
                    </a:lnTo>
                    <a:lnTo>
                      <a:pt x="57" y="518"/>
                    </a:lnTo>
                    <a:lnTo>
                      <a:pt x="57" y="518"/>
                    </a:lnTo>
                    <a:lnTo>
                      <a:pt x="57" y="511"/>
                    </a:lnTo>
                    <a:lnTo>
                      <a:pt x="57" y="511"/>
                    </a:lnTo>
                    <a:lnTo>
                      <a:pt x="57" y="504"/>
                    </a:lnTo>
                    <a:lnTo>
                      <a:pt x="57" y="504"/>
                    </a:lnTo>
                    <a:lnTo>
                      <a:pt x="57" y="504"/>
                    </a:lnTo>
                    <a:lnTo>
                      <a:pt x="57" y="504"/>
                    </a:lnTo>
                    <a:lnTo>
                      <a:pt x="57" y="504"/>
                    </a:lnTo>
                    <a:lnTo>
                      <a:pt x="64" y="497"/>
                    </a:lnTo>
                    <a:lnTo>
                      <a:pt x="85" y="490"/>
                    </a:lnTo>
                    <a:lnTo>
                      <a:pt x="92" y="490"/>
                    </a:lnTo>
                    <a:lnTo>
                      <a:pt x="100" y="490"/>
                    </a:lnTo>
                    <a:lnTo>
                      <a:pt x="100" y="483"/>
                    </a:lnTo>
                    <a:lnTo>
                      <a:pt x="100" y="483"/>
                    </a:lnTo>
                    <a:lnTo>
                      <a:pt x="100" y="483"/>
                    </a:lnTo>
                    <a:lnTo>
                      <a:pt x="100" y="483"/>
                    </a:lnTo>
                    <a:lnTo>
                      <a:pt x="100" y="483"/>
                    </a:lnTo>
                    <a:lnTo>
                      <a:pt x="100" y="483"/>
                    </a:lnTo>
                    <a:lnTo>
                      <a:pt x="92" y="483"/>
                    </a:lnTo>
                    <a:lnTo>
                      <a:pt x="92" y="483"/>
                    </a:lnTo>
                    <a:lnTo>
                      <a:pt x="92" y="483"/>
                    </a:lnTo>
                    <a:lnTo>
                      <a:pt x="92" y="483"/>
                    </a:lnTo>
                    <a:lnTo>
                      <a:pt x="92" y="483"/>
                    </a:lnTo>
                    <a:lnTo>
                      <a:pt x="92" y="483"/>
                    </a:lnTo>
                    <a:lnTo>
                      <a:pt x="92" y="476"/>
                    </a:lnTo>
                    <a:lnTo>
                      <a:pt x="92" y="476"/>
                    </a:lnTo>
                    <a:lnTo>
                      <a:pt x="85" y="476"/>
                    </a:lnTo>
                    <a:lnTo>
                      <a:pt x="85" y="476"/>
                    </a:lnTo>
                    <a:lnTo>
                      <a:pt x="85" y="476"/>
                    </a:lnTo>
                    <a:lnTo>
                      <a:pt x="85" y="476"/>
                    </a:lnTo>
                    <a:lnTo>
                      <a:pt x="85" y="483"/>
                    </a:lnTo>
                    <a:lnTo>
                      <a:pt x="85" y="483"/>
                    </a:lnTo>
                    <a:lnTo>
                      <a:pt x="85" y="483"/>
                    </a:lnTo>
                    <a:lnTo>
                      <a:pt x="85" y="483"/>
                    </a:lnTo>
                    <a:lnTo>
                      <a:pt x="78" y="483"/>
                    </a:lnTo>
                    <a:lnTo>
                      <a:pt x="78" y="476"/>
                    </a:lnTo>
                    <a:lnTo>
                      <a:pt x="78" y="476"/>
                    </a:lnTo>
                    <a:lnTo>
                      <a:pt x="71" y="476"/>
                    </a:lnTo>
                    <a:lnTo>
                      <a:pt x="71" y="476"/>
                    </a:lnTo>
                    <a:lnTo>
                      <a:pt x="71" y="476"/>
                    </a:lnTo>
                    <a:lnTo>
                      <a:pt x="71" y="476"/>
                    </a:lnTo>
                    <a:lnTo>
                      <a:pt x="71" y="476"/>
                    </a:lnTo>
                    <a:lnTo>
                      <a:pt x="71" y="476"/>
                    </a:lnTo>
                    <a:lnTo>
                      <a:pt x="71" y="476"/>
                    </a:lnTo>
                    <a:lnTo>
                      <a:pt x="71" y="476"/>
                    </a:lnTo>
                    <a:lnTo>
                      <a:pt x="71" y="476"/>
                    </a:lnTo>
                    <a:lnTo>
                      <a:pt x="71" y="476"/>
                    </a:lnTo>
                    <a:lnTo>
                      <a:pt x="71" y="469"/>
                    </a:lnTo>
                    <a:lnTo>
                      <a:pt x="71" y="469"/>
                    </a:lnTo>
                    <a:lnTo>
                      <a:pt x="71" y="469"/>
                    </a:lnTo>
                    <a:lnTo>
                      <a:pt x="71" y="469"/>
                    </a:lnTo>
                    <a:lnTo>
                      <a:pt x="78" y="469"/>
                    </a:lnTo>
                    <a:lnTo>
                      <a:pt x="78" y="469"/>
                    </a:lnTo>
                    <a:lnTo>
                      <a:pt x="85" y="462"/>
                    </a:lnTo>
                    <a:lnTo>
                      <a:pt x="85" y="462"/>
                    </a:lnTo>
                    <a:lnTo>
                      <a:pt x="85" y="462"/>
                    </a:lnTo>
                    <a:lnTo>
                      <a:pt x="85" y="462"/>
                    </a:lnTo>
                    <a:lnTo>
                      <a:pt x="85" y="462"/>
                    </a:lnTo>
                    <a:lnTo>
                      <a:pt x="92" y="454"/>
                    </a:lnTo>
                    <a:lnTo>
                      <a:pt x="92" y="454"/>
                    </a:lnTo>
                    <a:lnTo>
                      <a:pt x="85" y="454"/>
                    </a:lnTo>
                    <a:lnTo>
                      <a:pt x="85" y="454"/>
                    </a:lnTo>
                    <a:lnTo>
                      <a:pt x="85" y="454"/>
                    </a:lnTo>
                    <a:lnTo>
                      <a:pt x="85" y="447"/>
                    </a:lnTo>
                    <a:lnTo>
                      <a:pt x="85" y="447"/>
                    </a:lnTo>
                    <a:lnTo>
                      <a:pt x="85" y="447"/>
                    </a:lnTo>
                    <a:lnTo>
                      <a:pt x="85" y="447"/>
                    </a:lnTo>
                    <a:lnTo>
                      <a:pt x="85" y="440"/>
                    </a:lnTo>
                    <a:lnTo>
                      <a:pt x="85" y="440"/>
                    </a:lnTo>
                    <a:lnTo>
                      <a:pt x="85" y="440"/>
                    </a:lnTo>
                    <a:lnTo>
                      <a:pt x="85" y="440"/>
                    </a:lnTo>
                    <a:lnTo>
                      <a:pt x="85" y="440"/>
                    </a:lnTo>
                    <a:lnTo>
                      <a:pt x="78" y="440"/>
                    </a:lnTo>
                    <a:lnTo>
                      <a:pt x="78" y="440"/>
                    </a:lnTo>
                    <a:lnTo>
                      <a:pt x="78" y="440"/>
                    </a:lnTo>
                    <a:lnTo>
                      <a:pt x="78" y="433"/>
                    </a:lnTo>
                    <a:lnTo>
                      <a:pt x="71" y="433"/>
                    </a:lnTo>
                    <a:lnTo>
                      <a:pt x="64" y="433"/>
                    </a:lnTo>
                    <a:lnTo>
                      <a:pt x="64" y="433"/>
                    </a:lnTo>
                    <a:lnTo>
                      <a:pt x="64" y="433"/>
                    </a:lnTo>
                    <a:lnTo>
                      <a:pt x="64" y="433"/>
                    </a:lnTo>
                    <a:lnTo>
                      <a:pt x="64" y="426"/>
                    </a:lnTo>
                    <a:lnTo>
                      <a:pt x="64" y="426"/>
                    </a:lnTo>
                    <a:lnTo>
                      <a:pt x="57" y="426"/>
                    </a:lnTo>
                    <a:lnTo>
                      <a:pt x="57" y="426"/>
                    </a:lnTo>
                    <a:lnTo>
                      <a:pt x="57" y="419"/>
                    </a:lnTo>
                    <a:lnTo>
                      <a:pt x="57" y="419"/>
                    </a:lnTo>
                    <a:lnTo>
                      <a:pt x="50" y="412"/>
                    </a:lnTo>
                    <a:lnTo>
                      <a:pt x="50" y="405"/>
                    </a:lnTo>
                    <a:lnTo>
                      <a:pt x="50" y="405"/>
                    </a:lnTo>
                    <a:lnTo>
                      <a:pt x="43" y="405"/>
                    </a:lnTo>
                    <a:lnTo>
                      <a:pt x="43" y="405"/>
                    </a:lnTo>
                    <a:lnTo>
                      <a:pt x="50" y="398"/>
                    </a:lnTo>
                    <a:lnTo>
                      <a:pt x="50" y="398"/>
                    </a:lnTo>
                    <a:lnTo>
                      <a:pt x="50" y="398"/>
                    </a:lnTo>
                    <a:lnTo>
                      <a:pt x="43" y="398"/>
                    </a:lnTo>
                    <a:lnTo>
                      <a:pt x="43" y="398"/>
                    </a:lnTo>
                    <a:lnTo>
                      <a:pt x="43" y="398"/>
                    </a:lnTo>
                    <a:lnTo>
                      <a:pt x="43" y="398"/>
                    </a:lnTo>
                    <a:lnTo>
                      <a:pt x="43" y="398"/>
                    </a:lnTo>
                    <a:lnTo>
                      <a:pt x="43" y="391"/>
                    </a:lnTo>
                    <a:lnTo>
                      <a:pt x="43" y="391"/>
                    </a:lnTo>
                    <a:lnTo>
                      <a:pt x="43" y="391"/>
                    </a:lnTo>
                    <a:lnTo>
                      <a:pt x="43" y="391"/>
                    </a:lnTo>
                    <a:lnTo>
                      <a:pt x="43" y="391"/>
                    </a:lnTo>
                    <a:lnTo>
                      <a:pt x="43" y="383"/>
                    </a:lnTo>
                    <a:lnTo>
                      <a:pt x="43" y="383"/>
                    </a:lnTo>
                    <a:lnTo>
                      <a:pt x="43" y="383"/>
                    </a:lnTo>
                    <a:lnTo>
                      <a:pt x="43" y="383"/>
                    </a:lnTo>
                    <a:lnTo>
                      <a:pt x="43" y="383"/>
                    </a:lnTo>
                    <a:lnTo>
                      <a:pt x="43" y="383"/>
                    </a:lnTo>
                    <a:lnTo>
                      <a:pt x="43" y="383"/>
                    </a:lnTo>
                    <a:lnTo>
                      <a:pt x="43" y="383"/>
                    </a:lnTo>
                    <a:lnTo>
                      <a:pt x="43" y="376"/>
                    </a:lnTo>
                    <a:lnTo>
                      <a:pt x="43" y="376"/>
                    </a:lnTo>
                    <a:lnTo>
                      <a:pt x="36" y="369"/>
                    </a:lnTo>
                    <a:lnTo>
                      <a:pt x="43" y="369"/>
                    </a:lnTo>
                    <a:lnTo>
                      <a:pt x="43" y="362"/>
                    </a:lnTo>
                    <a:lnTo>
                      <a:pt x="43" y="362"/>
                    </a:lnTo>
                    <a:lnTo>
                      <a:pt x="43" y="362"/>
                    </a:lnTo>
                    <a:lnTo>
                      <a:pt x="43" y="362"/>
                    </a:lnTo>
                    <a:lnTo>
                      <a:pt x="43" y="362"/>
                    </a:lnTo>
                    <a:lnTo>
                      <a:pt x="50" y="362"/>
                    </a:lnTo>
                    <a:lnTo>
                      <a:pt x="50" y="362"/>
                    </a:lnTo>
                    <a:lnTo>
                      <a:pt x="50" y="362"/>
                    </a:lnTo>
                    <a:lnTo>
                      <a:pt x="57" y="355"/>
                    </a:lnTo>
                    <a:lnTo>
                      <a:pt x="57" y="355"/>
                    </a:lnTo>
                    <a:lnTo>
                      <a:pt x="57" y="355"/>
                    </a:lnTo>
                    <a:lnTo>
                      <a:pt x="64" y="355"/>
                    </a:lnTo>
                    <a:lnTo>
                      <a:pt x="64" y="355"/>
                    </a:lnTo>
                    <a:lnTo>
                      <a:pt x="64" y="355"/>
                    </a:lnTo>
                    <a:lnTo>
                      <a:pt x="64" y="355"/>
                    </a:lnTo>
                    <a:lnTo>
                      <a:pt x="64" y="355"/>
                    </a:lnTo>
                    <a:lnTo>
                      <a:pt x="71" y="348"/>
                    </a:lnTo>
                    <a:lnTo>
                      <a:pt x="71" y="348"/>
                    </a:lnTo>
                    <a:lnTo>
                      <a:pt x="71" y="348"/>
                    </a:lnTo>
                    <a:lnTo>
                      <a:pt x="71" y="341"/>
                    </a:lnTo>
                    <a:lnTo>
                      <a:pt x="64" y="341"/>
                    </a:lnTo>
                    <a:lnTo>
                      <a:pt x="64" y="341"/>
                    </a:lnTo>
                    <a:lnTo>
                      <a:pt x="64" y="334"/>
                    </a:lnTo>
                    <a:lnTo>
                      <a:pt x="64" y="334"/>
                    </a:lnTo>
                    <a:lnTo>
                      <a:pt x="64" y="334"/>
                    </a:lnTo>
                    <a:lnTo>
                      <a:pt x="64" y="327"/>
                    </a:lnTo>
                    <a:lnTo>
                      <a:pt x="64" y="327"/>
                    </a:lnTo>
                    <a:lnTo>
                      <a:pt x="64" y="327"/>
                    </a:lnTo>
                    <a:lnTo>
                      <a:pt x="64" y="327"/>
                    </a:lnTo>
                    <a:lnTo>
                      <a:pt x="64" y="320"/>
                    </a:lnTo>
                    <a:lnTo>
                      <a:pt x="64" y="320"/>
                    </a:lnTo>
                    <a:lnTo>
                      <a:pt x="71" y="312"/>
                    </a:lnTo>
                    <a:lnTo>
                      <a:pt x="71" y="312"/>
                    </a:lnTo>
                    <a:lnTo>
                      <a:pt x="64" y="312"/>
                    </a:lnTo>
                    <a:lnTo>
                      <a:pt x="64" y="312"/>
                    </a:lnTo>
                    <a:lnTo>
                      <a:pt x="64" y="312"/>
                    </a:lnTo>
                    <a:lnTo>
                      <a:pt x="64" y="312"/>
                    </a:lnTo>
                    <a:lnTo>
                      <a:pt x="71" y="312"/>
                    </a:lnTo>
                    <a:lnTo>
                      <a:pt x="71" y="312"/>
                    </a:lnTo>
                    <a:lnTo>
                      <a:pt x="71" y="305"/>
                    </a:lnTo>
                    <a:lnTo>
                      <a:pt x="71" y="305"/>
                    </a:lnTo>
                    <a:lnTo>
                      <a:pt x="71" y="305"/>
                    </a:lnTo>
                    <a:lnTo>
                      <a:pt x="71" y="305"/>
                    </a:lnTo>
                    <a:lnTo>
                      <a:pt x="71" y="305"/>
                    </a:lnTo>
                    <a:lnTo>
                      <a:pt x="64" y="305"/>
                    </a:lnTo>
                    <a:lnTo>
                      <a:pt x="64" y="305"/>
                    </a:lnTo>
                    <a:lnTo>
                      <a:pt x="64" y="305"/>
                    </a:lnTo>
                    <a:lnTo>
                      <a:pt x="64" y="298"/>
                    </a:lnTo>
                    <a:lnTo>
                      <a:pt x="64" y="298"/>
                    </a:lnTo>
                    <a:lnTo>
                      <a:pt x="64" y="298"/>
                    </a:lnTo>
                    <a:lnTo>
                      <a:pt x="64" y="291"/>
                    </a:lnTo>
                    <a:lnTo>
                      <a:pt x="64" y="284"/>
                    </a:lnTo>
                    <a:lnTo>
                      <a:pt x="64" y="284"/>
                    </a:lnTo>
                    <a:lnTo>
                      <a:pt x="64" y="284"/>
                    </a:lnTo>
                    <a:lnTo>
                      <a:pt x="64" y="284"/>
                    </a:lnTo>
                    <a:lnTo>
                      <a:pt x="64" y="277"/>
                    </a:lnTo>
                    <a:lnTo>
                      <a:pt x="57" y="277"/>
                    </a:lnTo>
                    <a:lnTo>
                      <a:pt x="57" y="277"/>
                    </a:lnTo>
                    <a:lnTo>
                      <a:pt x="57" y="277"/>
                    </a:lnTo>
                    <a:lnTo>
                      <a:pt x="57" y="277"/>
                    </a:lnTo>
                    <a:lnTo>
                      <a:pt x="57" y="277"/>
                    </a:lnTo>
                    <a:lnTo>
                      <a:pt x="57" y="277"/>
                    </a:lnTo>
                    <a:lnTo>
                      <a:pt x="57" y="277"/>
                    </a:lnTo>
                    <a:lnTo>
                      <a:pt x="57" y="277"/>
                    </a:lnTo>
                    <a:lnTo>
                      <a:pt x="50" y="277"/>
                    </a:lnTo>
                    <a:lnTo>
                      <a:pt x="50" y="277"/>
                    </a:lnTo>
                    <a:lnTo>
                      <a:pt x="50" y="277"/>
                    </a:lnTo>
                    <a:lnTo>
                      <a:pt x="50" y="277"/>
                    </a:lnTo>
                    <a:lnTo>
                      <a:pt x="50" y="277"/>
                    </a:lnTo>
                    <a:lnTo>
                      <a:pt x="50" y="277"/>
                    </a:lnTo>
                    <a:lnTo>
                      <a:pt x="50" y="270"/>
                    </a:lnTo>
                    <a:lnTo>
                      <a:pt x="50" y="270"/>
                    </a:lnTo>
                    <a:lnTo>
                      <a:pt x="43" y="270"/>
                    </a:lnTo>
                    <a:lnTo>
                      <a:pt x="43" y="270"/>
                    </a:lnTo>
                    <a:lnTo>
                      <a:pt x="43" y="270"/>
                    </a:lnTo>
                    <a:lnTo>
                      <a:pt x="43" y="270"/>
                    </a:lnTo>
                    <a:lnTo>
                      <a:pt x="36" y="263"/>
                    </a:lnTo>
                    <a:lnTo>
                      <a:pt x="36" y="263"/>
                    </a:lnTo>
                    <a:lnTo>
                      <a:pt x="36" y="256"/>
                    </a:lnTo>
                    <a:lnTo>
                      <a:pt x="36" y="256"/>
                    </a:lnTo>
                    <a:lnTo>
                      <a:pt x="43" y="256"/>
                    </a:lnTo>
                    <a:lnTo>
                      <a:pt x="43" y="256"/>
                    </a:lnTo>
                    <a:lnTo>
                      <a:pt x="43" y="256"/>
                    </a:lnTo>
                    <a:lnTo>
                      <a:pt x="43" y="256"/>
                    </a:lnTo>
                    <a:lnTo>
                      <a:pt x="43" y="256"/>
                    </a:lnTo>
                    <a:lnTo>
                      <a:pt x="43" y="249"/>
                    </a:lnTo>
                    <a:lnTo>
                      <a:pt x="43" y="249"/>
                    </a:lnTo>
                    <a:lnTo>
                      <a:pt x="43" y="241"/>
                    </a:lnTo>
                    <a:lnTo>
                      <a:pt x="43" y="241"/>
                    </a:lnTo>
                    <a:lnTo>
                      <a:pt x="43" y="241"/>
                    </a:lnTo>
                    <a:lnTo>
                      <a:pt x="43" y="241"/>
                    </a:lnTo>
                    <a:lnTo>
                      <a:pt x="36" y="241"/>
                    </a:lnTo>
                    <a:lnTo>
                      <a:pt x="29" y="227"/>
                    </a:lnTo>
                    <a:lnTo>
                      <a:pt x="29" y="227"/>
                    </a:lnTo>
                    <a:lnTo>
                      <a:pt x="29" y="227"/>
                    </a:lnTo>
                    <a:lnTo>
                      <a:pt x="29" y="220"/>
                    </a:lnTo>
                    <a:lnTo>
                      <a:pt x="21" y="220"/>
                    </a:lnTo>
                    <a:lnTo>
                      <a:pt x="29" y="213"/>
                    </a:lnTo>
                    <a:lnTo>
                      <a:pt x="29" y="213"/>
                    </a:lnTo>
                    <a:lnTo>
                      <a:pt x="29" y="213"/>
                    </a:lnTo>
                    <a:lnTo>
                      <a:pt x="29" y="213"/>
                    </a:lnTo>
                    <a:lnTo>
                      <a:pt x="29" y="206"/>
                    </a:lnTo>
                    <a:lnTo>
                      <a:pt x="21" y="206"/>
                    </a:lnTo>
                    <a:lnTo>
                      <a:pt x="21" y="206"/>
                    </a:lnTo>
                    <a:lnTo>
                      <a:pt x="21" y="199"/>
                    </a:lnTo>
                    <a:lnTo>
                      <a:pt x="21" y="199"/>
                    </a:lnTo>
                    <a:lnTo>
                      <a:pt x="21" y="199"/>
                    </a:lnTo>
                    <a:lnTo>
                      <a:pt x="21" y="192"/>
                    </a:lnTo>
                    <a:lnTo>
                      <a:pt x="14" y="185"/>
                    </a:lnTo>
                    <a:lnTo>
                      <a:pt x="14" y="185"/>
                    </a:lnTo>
                    <a:lnTo>
                      <a:pt x="14" y="185"/>
                    </a:lnTo>
                    <a:lnTo>
                      <a:pt x="14" y="185"/>
                    </a:lnTo>
                    <a:lnTo>
                      <a:pt x="14" y="185"/>
                    </a:lnTo>
                    <a:lnTo>
                      <a:pt x="14" y="185"/>
                    </a:lnTo>
                    <a:lnTo>
                      <a:pt x="14" y="185"/>
                    </a:lnTo>
                    <a:lnTo>
                      <a:pt x="14" y="185"/>
                    </a:lnTo>
                    <a:lnTo>
                      <a:pt x="14" y="178"/>
                    </a:lnTo>
                    <a:lnTo>
                      <a:pt x="14" y="156"/>
                    </a:lnTo>
                    <a:lnTo>
                      <a:pt x="14" y="156"/>
                    </a:lnTo>
                    <a:lnTo>
                      <a:pt x="14" y="156"/>
                    </a:lnTo>
                    <a:lnTo>
                      <a:pt x="14" y="156"/>
                    </a:lnTo>
                    <a:lnTo>
                      <a:pt x="14" y="156"/>
                    </a:lnTo>
                    <a:lnTo>
                      <a:pt x="14" y="149"/>
                    </a:lnTo>
                    <a:lnTo>
                      <a:pt x="14" y="149"/>
                    </a:lnTo>
                    <a:lnTo>
                      <a:pt x="14" y="149"/>
                    </a:lnTo>
                    <a:lnTo>
                      <a:pt x="14" y="142"/>
                    </a:lnTo>
                    <a:lnTo>
                      <a:pt x="14" y="142"/>
                    </a:lnTo>
                    <a:lnTo>
                      <a:pt x="14" y="142"/>
                    </a:lnTo>
                    <a:lnTo>
                      <a:pt x="14" y="142"/>
                    </a:lnTo>
                    <a:lnTo>
                      <a:pt x="14" y="142"/>
                    </a:lnTo>
                    <a:lnTo>
                      <a:pt x="14" y="142"/>
                    </a:lnTo>
                    <a:lnTo>
                      <a:pt x="7" y="135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7" y="135"/>
                    </a:lnTo>
                    <a:lnTo>
                      <a:pt x="7" y="135"/>
                    </a:lnTo>
                    <a:lnTo>
                      <a:pt x="14" y="128"/>
                    </a:lnTo>
                    <a:lnTo>
                      <a:pt x="7" y="128"/>
                    </a:lnTo>
                    <a:lnTo>
                      <a:pt x="7" y="128"/>
                    </a:lnTo>
                    <a:lnTo>
                      <a:pt x="7" y="128"/>
                    </a:lnTo>
                    <a:lnTo>
                      <a:pt x="7" y="128"/>
                    </a:lnTo>
                    <a:lnTo>
                      <a:pt x="7" y="128"/>
                    </a:lnTo>
                    <a:lnTo>
                      <a:pt x="7" y="121"/>
                    </a:lnTo>
                    <a:lnTo>
                      <a:pt x="7" y="121"/>
                    </a:lnTo>
                    <a:lnTo>
                      <a:pt x="7" y="121"/>
                    </a:lnTo>
                    <a:lnTo>
                      <a:pt x="0" y="121"/>
                    </a:lnTo>
                    <a:lnTo>
                      <a:pt x="7" y="121"/>
                    </a:lnTo>
                    <a:lnTo>
                      <a:pt x="7" y="121"/>
                    </a:lnTo>
                    <a:lnTo>
                      <a:pt x="7" y="114"/>
                    </a:lnTo>
                    <a:lnTo>
                      <a:pt x="7" y="114"/>
                    </a:lnTo>
                    <a:lnTo>
                      <a:pt x="7" y="114"/>
                    </a:lnTo>
                    <a:lnTo>
                      <a:pt x="7" y="114"/>
                    </a:lnTo>
                    <a:lnTo>
                      <a:pt x="7" y="114"/>
                    </a:lnTo>
                    <a:lnTo>
                      <a:pt x="7" y="107"/>
                    </a:lnTo>
                    <a:lnTo>
                      <a:pt x="7" y="107"/>
                    </a:lnTo>
                    <a:lnTo>
                      <a:pt x="7" y="99"/>
                    </a:lnTo>
                    <a:lnTo>
                      <a:pt x="7" y="99"/>
                    </a:lnTo>
                    <a:lnTo>
                      <a:pt x="14" y="99"/>
                    </a:lnTo>
                    <a:lnTo>
                      <a:pt x="14" y="99"/>
                    </a:lnTo>
                    <a:lnTo>
                      <a:pt x="14" y="92"/>
                    </a:lnTo>
                    <a:lnTo>
                      <a:pt x="14" y="92"/>
                    </a:lnTo>
                    <a:lnTo>
                      <a:pt x="14" y="92"/>
                    </a:lnTo>
                    <a:lnTo>
                      <a:pt x="14" y="92"/>
                    </a:lnTo>
                    <a:lnTo>
                      <a:pt x="14" y="92"/>
                    </a:lnTo>
                    <a:lnTo>
                      <a:pt x="14" y="92"/>
                    </a:lnTo>
                    <a:lnTo>
                      <a:pt x="14" y="92"/>
                    </a:lnTo>
                    <a:lnTo>
                      <a:pt x="14" y="92"/>
                    </a:lnTo>
                    <a:lnTo>
                      <a:pt x="14" y="92"/>
                    </a:lnTo>
                    <a:lnTo>
                      <a:pt x="21" y="85"/>
                    </a:lnTo>
                    <a:lnTo>
                      <a:pt x="21" y="64"/>
                    </a:lnTo>
                    <a:lnTo>
                      <a:pt x="21" y="64"/>
                    </a:lnTo>
                    <a:lnTo>
                      <a:pt x="21" y="64"/>
                    </a:lnTo>
                    <a:lnTo>
                      <a:pt x="29" y="57"/>
                    </a:lnTo>
                    <a:lnTo>
                      <a:pt x="29" y="57"/>
                    </a:lnTo>
                    <a:lnTo>
                      <a:pt x="29" y="57"/>
                    </a:lnTo>
                    <a:lnTo>
                      <a:pt x="29" y="57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43" y="43"/>
                    </a:lnTo>
                    <a:lnTo>
                      <a:pt x="50" y="43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7" y="21"/>
                    </a:lnTo>
                    <a:lnTo>
                      <a:pt x="64" y="21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7"/>
                    </a:lnTo>
                    <a:lnTo>
                      <a:pt x="71" y="0"/>
                    </a:lnTo>
                    <a:lnTo>
                      <a:pt x="71" y="0"/>
                    </a:lnTo>
                    <a:lnTo>
                      <a:pt x="71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92" y="7"/>
                    </a:lnTo>
                    <a:lnTo>
                      <a:pt x="100" y="14"/>
                    </a:lnTo>
                    <a:lnTo>
                      <a:pt x="114" y="21"/>
                    </a:lnTo>
                    <a:lnTo>
                      <a:pt x="114" y="21"/>
                    </a:lnTo>
                    <a:lnTo>
                      <a:pt x="114" y="29"/>
                    </a:lnTo>
                    <a:lnTo>
                      <a:pt x="114" y="29"/>
                    </a:lnTo>
                    <a:lnTo>
                      <a:pt x="107" y="36"/>
                    </a:lnTo>
                    <a:lnTo>
                      <a:pt x="107" y="36"/>
                    </a:lnTo>
                    <a:lnTo>
                      <a:pt x="100" y="50"/>
                    </a:lnTo>
                    <a:lnTo>
                      <a:pt x="92" y="57"/>
                    </a:lnTo>
                    <a:lnTo>
                      <a:pt x="92" y="64"/>
                    </a:lnTo>
                    <a:lnTo>
                      <a:pt x="92" y="71"/>
                    </a:lnTo>
                    <a:lnTo>
                      <a:pt x="92" y="71"/>
                    </a:lnTo>
                    <a:lnTo>
                      <a:pt x="92" y="78"/>
                    </a:lnTo>
                    <a:lnTo>
                      <a:pt x="92" y="85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7" y="107"/>
                    </a:lnTo>
                    <a:lnTo>
                      <a:pt x="114" y="99"/>
                    </a:lnTo>
                    <a:lnTo>
                      <a:pt x="121" y="92"/>
                    </a:lnTo>
                    <a:lnTo>
                      <a:pt x="121" y="92"/>
                    </a:lnTo>
                    <a:lnTo>
                      <a:pt x="121" y="99"/>
                    </a:lnTo>
                    <a:lnTo>
                      <a:pt x="135" y="99"/>
                    </a:lnTo>
                    <a:lnTo>
                      <a:pt x="135" y="107"/>
                    </a:lnTo>
                    <a:lnTo>
                      <a:pt x="135" y="107"/>
                    </a:lnTo>
                    <a:lnTo>
                      <a:pt x="142" y="107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92"/>
                    </a:lnTo>
                    <a:lnTo>
                      <a:pt x="149" y="85"/>
                    </a:lnTo>
                    <a:lnTo>
                      <a:pt x="149" y="71"/>
                    </a:lnTo>
                    <a:lnTo>
                      <a:pt x="149" y="71"/>
                    </a:lnTo>
                    <a:lnTo>
                      <a:pt x="142" y="64"/>
                    </a:lnTo>
                    <a:lnTo>
                      <a:pt x="149" y="64"/>
                    </a:lnTo>
                    <a:lnTo>
                      <a:pt x="149" y="64"/>
                    </a:lnTo>
                    <a:lnTo>
                      <a:pt x="149" y="64"/>
                    </a:lnTo>
                    <a:lnTo>
                      <a:pt x="149" y="64"/>
                    </a:lnTo>
                    <a:lnTo>
                      <a:pt x="149" y="64"/>
                    </a:lnTo>
                    <a:lnTo>
                      <a:pt x="156" y="64"/>
                    </a:lnTo>
                    <a:lnTo>
                      <a:pt x="156" y="64"/>
                    </a:lnTo>
                    <a:lnTo>
                      <a:pt x="163" y="71"/>
                    </a:lnTo>
                    <a:lnTo>
                      <a:pt x="171" y="78"/>
                    </a:lnTo>
                    <a:lnTo>
                      <a:pt x="171" y="85"/>
                    </a:lnTo>
                    <a:lnTo>
                      <a:pt x="171" y="85"/>
                    </a:lnTo>
                    <a:lnTo>
                      <a:pt x="178" y="92"/>
                    </a:lnTo>
                    <a:lnTo>
                      <a:pt x="192" y="92"/>
                    </a:lnTo>
                    <a:lnTo>
                      <a:pt x="192" y="99"/>
                    </a:lnTo>
                    <a:lnTo>
                      <a:pt x="199" y="107"/>
                    </a:lnTo>
                    <a:lnTo>
                      <a:pt x="199" y="107"/>
                    </a:lnTo>
                    <a:lnTo>
                      <a:pt x="206" y="114"/>
                    </a:lnTo>
                    <a:lnTo>
                      <a:pt x="213" y="121"/>
                    </a:lnTo>
                    <a:lnTo>
                      <a:pt x="234" y="135"/>
                    </a:lnTo>
                    <a:lnTo>
                      <a:pt x="234" y="135"/>
                    </a:lnTo>
                    <a:lnTo>
                      <a:pt x="249" y="135"/>
                    </a:lnTo>
                    <a:lnTo>
                      <a:pt x="249" y="135"/>
                    </a:lnTo>
                    <a:lnTo>
                      <a:pt x="249" y="135"/>
                    </a:lnTo>
                    <a:lnTo>
                      <a:pt x="249" y="142"/>
                    </a:lnTo>
                    <a:lnTo>
                      <a:pt x="249" y="142"/>
                    </a:lnTo>
                    <a:lnTo>
                      <a:pt x="241" y="149"/>
                    </a:lnTo>
                    <a:lnTo>
                      <a:pt x="241" y="149"/>
                    </a:lnTo>
                    <a:lnTo>
                      <a:pt x="234" y="149"/>
                    </a:lnTo>
                    <a:lnTo>
                      <a:pt x="234" y="149"/>
                    </a:lnTo>
                    <a:lnTo>
                      <a:pt x="234" y="149"/>
                    </a:lnTo>
                    <a:lnTo>
                      <a:pt x="234" y="149"/>
                    </a:lnTo>
                    <a:lnTo>
                      <a:pt x="234" y="149"/>
                    </a:lnTo>
                    <a:lnTo>
                      <a:pt x="234" y="149"/>
                    </a:lnTo>
                    <a:lnTo>
                      <a:pt x="234" y="149"/>
                    </a:lnTo>
                    <a:lnTo>
                      <a:pt x="227" y="149"/>
                    </a:lnTo>
                    <a:lnTo>
                      <a:pt x="227" y="149"/>
                    </a:lnTo>
                    <a:lnTo>
                      <a:pt x="227" y="149"/>
                    </a:lnTo>
                    <a:lnTo>
                      <a:pt x="227" y="149"/>
                    </a:lnTo>
                    <a:lnTo>
                      <a:pt x="227" y="149"/>
                    </a:lnTo>
                    <a:lnTo>
                      <a:pt x="220" y="149"/>
                    </a:lnTo>
                    <a:lnTo>
                      <a:pt x="220" y="149"/>
                    </a:lnTo>
                    <a:lnTo>
                      <a:pt x="220" y="156"/>
                    </a:lnTo>
                    <a:lnTo>
                      <a:pt x="220" y="156"/>
                    </a:lnTo>
                    <a:lnTo>
                      <a:pt x="220" y="156"/>
                    </a:lnTo>
                    <a:lnTo>
                      <a:pt x="220" y="156"/>
                    </a:lnTo>
                    <a:lnTo>
                      <a:pt x="220" y="156"/>
                    </a:lnTo>
                    <a:lnTo>
                      <a:pt x="220" y="156"/>
                    </a:lnTo>
                    <a:lnTo>
                      <a:pt x="241" y="163"/>
                    </a:lnTo>
                    <a:lnTo>
                      <a:pt x="241" y="170"/>
                    </a:lnTo>
                    <a:lnTo>
                      <a:pt x="249" y="170"/>
                    </a:lnTo>
                    <a:lnTo>
                      <a:pt x="249" y="178"/>
                    </a:lnTo>
                    <a:lnTo>
                      <a:pt x="249" y="185"/>
                    </a:lnTo>
                    <a:lnTo>
                      <a:pt x="256" y="178"/>
                    </a:lnTo>
                    <a:lnTo>
                      <a:pt x="263" y="178"/>
                    </a:lnTo>
                    <a:lnTo>
                      <a:pt x="263" y="178"/>
                    </a:lnTo>
                    <a:lnTo>
                      <a:pt x="263" y="178"/>
                    </a:lnTo>
                    <a:lnTo>
                      <a:pt x="270" y="178"/>
                    </a:lnTo>
                    <a:lnTo>
                      <a:pt x="277" y="178"/>
                    </a:lnTo>
                    <a:lnTo>
                      <a:pt x="277" y="185"/>
                    </a:lnTo>
                    <a:lnTo>
                      <a:pt x="277" y="185"/>
                    </a:lnTo>
                    <a:lnTo>
                      <a:pt x="277" y="185"/>
                    </a:lnTo>
                    <a:lnTo>
                      <a:pt x="277" y="185"/>
                    </a:lnTo>
                    <a:lnTo>
                      <a:pt x="277" y="185"/>
                    </a:lnTo>
                    <a:lnTo>
                      <a:pt x="284" y="192"/>
                    </a:lnTo>
                    <a:lnTo>
                      <a:pt x="298" y="199"/>
                    </a:lnTo>
                    <a:lnTo>
                      <a:pt x="305" y="199"/>
                    </a:lnTo>
                    <a:lnTo>
                      <a:pt x="305" y="199"/>
                    </a:lnTo>
                    <a:lnTo>
                      <a:pt x="305" y="199"/>
                    </a:lnTo>
                    <a:lnTo>
                      <a:pt x="305" y="199"/>
                    </a:lnTo>
                    <a:lnTo>
                      <a:pt x="312" y="199"/>
                    </a:lnTo>
                    <a:lnTo>
                      <a:pt x="312" y="199"/>
                    </a:lnTo>
                    <a:lnTo>
                      <a:pt x="312" y="206"/>
                    </a:lnTo>
                    <a:lnTo>
                      <a:pt x="312" y="206"/>
                    </a:lnTo>
                    <a:lnTo>
                      <a:pt x="312" y="206"/>
                    </a:lnTo>
                    <a:lnTo>
                      <a:pt x="312" y="206"/>
                    </a:lnTo>
                    <a:lnTo>
                      <a:pt x="320" y="213"/>
                    </a:lnTo>
                    <a:lnTo>
                      <a:pt x="320" y="220"/>
                    </a:lnTo>
                    <a:lnTo>
                      <a:pt x="327" y="213"/>
                    </a:lnTo>
                    <a:lnTo>
                      <a:pt x="334" y="213"/>
                    </a:lnTo>
                    <a:lnTo>
                      <a:pt x="334" y="213"/>
                    </a:lnTo>
                    <a:lnTo>
                      <a:pt x="341" y="213"/>
                    </a:lnTo>
                    <a:lnTo>
                      <a:pt x="341" y="220"/>
                    </a:lnTo>
                    <a:lnTo>
                      <a:pt x="341" y="220"/>
                    </a:lnTo>
                    <a:lnTo>
                      <a:pt x="341" y="220"/>
                    </a:lnTo>
                    <a:lnTo>
                      <a:pt x="341" y="213"/>
                    </a:lnTo>
                    <a:lnTo>
                      <a:pt x="355" y="220"/>
                    </a:lnTo>
                    <a:lnTo>
                      <a:pt x="355" y="213"/>
                    </a:lnTo>
                    <a:lnTo>
                      <a:pt x="355" y="213"/>
                    </a:lnTo>
                    <a:lnTo>
                      <a:pt x="355" y="213"/>
                    </a:lnTo>
                    <a:lnTo>
                      <a:pt x="355" y="213"/>
                    </a:lnTo>
                    <a:lnTo>
                      <a:pt x="355" y="213"/>
                    </a:lnTo>
                    <a:lnTo>
                      <a:pt x="362" y="213"/>
                    </a:lnTo>
                    <a:lnTo>
                      <a:pt x="369" y="213"/>
                    </a:lnTo>
                    <a:lnTo>
                      <a:pt x="369" y="213"/>
                    </a:lnTo>
                    <a:lnTo>
                      <a:pt x="369" y="213"/>
                    </a:lnTo>
                    <a:lnTo>
                      <a:pt x="369" y="220"/>
                    </a:lnTo>
                    <a:lnTo>
                      <a:pt x="369" y="220"/>
                    </a:lnTo>
                    <a:lnTo>
                      <a:pt x="369" y="220"/>
                    </a:lnTo>
                    <a:lnTo>
                      <a:pt x="369" y="220"/>
                    </a:lnTo>
                    <a:lnTo>
                      <a:pt x="369" y="220"/>
                    </a:lnTo>
                    <a:lnTo>
                      <a:pt x="376" y="220"/>
                    </a:lnTo>
                    <a:lnTo>
                      <a:pt x="376" y="220"/>
                    </a:lnTo>
                    <a:lnTo>
                      <a:pt x="376" y="220"/>
                    </a:lnTo>
                    <a:lnTo>
                      <a:pt x="376" y="220"/>
                    </a:lnTo>
                    <a:lnTo>
                      <a:pt x="376" y="227"/>
                    </a:lnTo>
                    <a:lnTo>
                      <a:pt x="376" y="227"/>
                    </a:lnTo>
                    <a:lnTo>
                      <a:pt x="376" y="227"/>
                    </a:lnTo>
                    <a:lnTo>
                      <a:pt x="383" y="227"/>
                    </a:lnTo>
                    <a:lnTo>
                      <a:pt x="383" y="227"/>
                    </a:lnTo>
                    <a:lnTo>
                      <a:pt x="383" y="227"/>
                    </a:lnTo>
                    <a:lnTo>
                      <a:pt x="383" y="227"/>
                    </a:lnTo>
                    <a:lnTo>
                      <a:pt x="383" y="227"/>
                    </a:lnTo>
                    <a:lnTo>
                      <a:pt x="383" y="227"/>
                    </a:lnTo>
                    <a:lnTo>
                      <a:pt x="383" y="234"/>
                    </a:lnTo>
                    <a:lnTo>
                      <a:pt x="391" y="234"/>
                    </a:lnTo>
                    <a:lnTo>
                      <a:pt x="391" y="234"/>
                    </a:lnTo>
                    <a:lnTo>
                      <a:pt x="391" y="234"/>
                    </a:lnTo>
                    <a:lnTo>
                      <a:pt x="391" y="234"/>
                    </a:lnTo>
                    <a:lnTo>
                      <a:pt x="398" y="234"/>
                    </a:lnTo>
                    <a:lnTo>
                      <a:pt x="398" y="227"/>
                    </a:lnTo>
                    <a:lnTo>
                      <a:pt x="398" y="227"/>
                    </a:lnTo>
                    <a:lnTo>
                      <a:pt x="405" y="227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5" name="Freeform 53"/>
              <p:cNvSpPr>
                <a:spLocks/>
              </p:cNvSpPr>
              <p:nvPr/>
            </p:nvSpPr>
            <p:spPr bwMode="auto">
              <a:xfrm>
                <a:off x="3194" y="719"/>
                <a:ext cx="447" cy="383"/>
              </a:xfrm>
              <a:custGeom>
                <a:avLst/>
                <a:gdLst>
                  <a:gd name="T0" fmla="*/ 177 w 447"/>
                  <a:gd name="T1" fmla="*/ 14 h 383"/>
                  <a:gd name="T2" fmla="*/ 199 w 447"/>
                  <a:gd name="T3" fmla="*/ 7 h 383"/>
                  <a:gd name="T4" fmla="*/ 213 w 447"/>
                  <a:gd name="T5" fmla="*/ 14 h 383"/>
                  <a:gd name="T6" fmla="*/ 213 w 447"/>
                  <a:gd name="T7" fmla="*/ 28 h 383"/>
                  <a:gd name="T8" fmla="*/ 220 w 447"/>
                  <a:gd name="T9" fmla="*/ 43 h 383"/>
                  <a:gd name="T10" fmla="*/ 234 w 447"/>
                  <a:gd name="T11" fmla="*/ 57 h 383"/>
                  <a:gd name="T12" fmla="*/ 248 w 447"/>
                  <a:gd name="T13" fmla="*/ 64 h 383"/>
                  <a:gd name="T14" fmla="*/ 263 w 447"/>
                  <a:gd name="T15" fmla="*/ 71 h 383"/>
                  <a:gd name="T16" fmla="*/ 298 w 447"/>
                  <a:gd name="T17" fmla="*/ 71 h 383"/>
                  <a:gd name="T18" fmla="*/ 327 w 447"/>
                  <a:gd name="T19" fmla="*/ 92 h 383"/>
                  <a:gd name="T20" fmla="*/ 341 w 447"/>
                  <a:gd name="T21" fmla="*/ 107 h 383"/>
                  <a:gd name="T22" fmla="*/ 341 w 447"/>
                  <a:gd name="T23" fmla="*/ 114 h 383"/>
                  <a:gd name="T24" fmla="*/ 362 w 447"/>
                  <a:gd name="T25" fmla="*/ 128 h 383"/>
                  <a:gd name="T26" fmla="*/ 398 w 447"/>
                  <a:gd name="T27" fmla="*/ 135 h 383"/>
                  <a:gd name="T28" fmla="*/ 440 w 447"/>
                  <a:gd name="T29" fmla="*/ 163 h 383"/>
                  <a:gd name="T30" fmla="*/ 440 w 447"/>
                  <a:gd name="T31" fmla="*/ 178 h 383"/>
                  <a:gd name="T32" fmla="*/ 426 w 447"/>
                  <a:gd name="T33" fmla="*/ 185 h 383"/>
                  <a:gd name="T34" fmla="*/ 405 w 447"/>
                  <a:gd name="T35" fmla="*/ 206 h 383"/>
                  <a:gd name="T36" fmla="*/ 376 w 447"/>
                  <a:gd name="T37" fmla="*/ 234 h 383"/>
                  <a:gd name="T38" fmla="*/ 369 w 447"/>
                  <a:gd name="T39" fmla="*/ 263 h 383"/>
                  <a:gd name="T40" fmla="*/ 369 w 447"/>
                  <a:gd name="T41" fmla="*/ 270 h 383"/>
                  <a:gd name="T42" fmla="*/ 362 w 447"/>
                  <a:gd name="T43" fmla="*/ 277 h 383"/>
                  <a:gd name="T44" fmla="*/ 362 w 447"/>
                  <a:gd name="T45" fmla="*/ 298 h 383"/>
                  <a:gd name="T46" fmla="*/ 355 w 447"/>
                  <a:gd name="T47" fmla="*/ 312 h 383"/>
                  <a:gd name="T48" fmla="*/ 348 w 447"/>
                  <a:gd name="T49" fmla="*/ 327 h 383"/>
                  <a:gd name="T50" fmla="*/ 334 w 447"/>
                  <a:gd name="T51" fmla="*/ 348 h 383"/>
                  <a:gd name="T52" fmla="*/ 341 w 447"/>
                  <a:gd name="T53" fmla="*/ 369 h 383"/>
                  <a:gd name="T54" fmla="*/ 327 w 447"/>
                  <a:gd name="T55" fmla="*/ 383 h 383"/>
                  <a:gd name="T56" fmla="*/ 319 w 447"/>
                  <a:gd name="T57" fmla="*/ 376 h 383"/>
                  <a:gd name="T58" fmla="*/ 305 w 447"/>
                  <a:gd name="T59" fmla="*/ 369 h 383"/>
                  <a:gd name="T60" fmla="*/ 298 w 447"/>
                  <a:gd name="T61" fmla="*/ 362 h 383"/>
                  <a:gd name="T62" fmla="*/ 277 w 447"/>
                  <a:gd name="T63" fmla="*/ 369 h 383"/>
                  <a:gd name="T64" fmla="*/ 256 w 447"/>
                  <a:gd name="T65" fmla="*/ 362 h 383"/>
                  <a:gd name="T66" fmla="*/ 241 w 447"/>
                  <a:gd name="T67" fmla="*/ 348 h 383"/>
                  <a:gd name="T68" fmla="*/ 213 w 447"/>
                  <a:gd name="T69" fmla="*/ 334 h 383"/>
                  <a:gd name="T70" fmla="*/ 185 w 447"/>
                  <a:gd name="T71" fmla="*/ 334 h 383"/>
                  <a:gd name="T72" fmla="*/ 156 w 447"/>
                  <a:gd name="T73" fmla="*/ 305 h 383"/>
                  <a:gd name="T74" fmla="*/ 163 w 447"/>
                  <a:gd name="T75" fmla="*/ 298 h 383"/>
                  <a:gd name="T76" fmla="*/ 170 w 447"/>
                  <a:gd name="T77" fmla="*/ 298 h 383"/>
                  <a:gd name="T78" fmla="*/ 170 w 447"/>
                  <a:gd name="T79" fmla="*/ 284 h 383"/>
                  <a:gd name="T80" fmla="*/ 114 w 447"/>
                  <a:gd name="T81" fmla="*/ 241 h 383"/>
                  <a:gd name="T82" fmla="*/ 85 w 447"/>
                  <a:gd name="T83" fmla="*/ 213 h 383"/>
                  <a:gd name="T84" fmla="*/ 85 w 447"/>
                  <a:gd name="T85" fmla="*/ 241 h 383"/>
                  <a:gd name="T86" fmla="*/ 57 w 447"/>
                  <a:gd name="T87" fmla="*/ 241 h 383"/>
                  <a:gd name="T88" fmla="*/ 28 w 447"/>
                  <a:gd name="T89" fmla="*/ 220 h 383"/>
                  <a:gd name="T90" fmla="*/ 50 w 447"/>
                  <a:gd name="T91" fmla="*/ 178 h 383"/>
                  <a:gd name="T92" fmla="*/ 7 w 447"/>
                  <a:gd name="T93" fmla="*/ 149 h 383"/>
                  <a:gd name="T94" fmla="*/ 14 w 447"/>
                  <a:gd name="T95" fmla="*/ 142 h 383"/>
                  <a:gd name="T96" fmla="*/ 36 w 447"/>
                  <a:gd name="T97" fmla="*/ 128 h 383"/>
                  <a:gd name="T98" fmla="*/ 28 w 447"/>
                  <a:gd name="T99" fmla="*/ 121 h 383"/>
                  <a:gd name="T100" fmla="*/ 21 w 447"/>
                  <a:gd name="T101" fmla="*/ 99 h 383"/>
                  <a:gd name="T102" fmla="*/ 28 w 447"/>
                  <a:gd name="T103" fmla="*/ 85 h 383"/>
                  <a:gd name="T104" fmla="*/ 28 w 447"/>
                  <a:gd name="T105" fmla="*/ 71 h 383"/>
                  <a:gd name="T106" fmla="*/ 28 w 447"/>
                  <a:gd name="T107" fmla="*/ 64 h 383"/>
                  <a:gd name="T108" fmla="*/ 50 w 447"/>
                  <a:gd name="T109" fmla="*/ 43 h 383"/>
                  <a:gd name="T110" fmla="*/ 71 w 447"/>
                  <a:gd name="T111" fmla="*/ 36 h 383"/>
                  <a:gd name="T112" fmla="*/ 107 w 447"/>
                  <a:gd name="T113" fmla="*/ 21 h 383"/>
                  <a:gd name="T114" fmla="*/ 114 w 447"/>
                  <a:gd name="T115" fmla="*/ 28 h 383"/>
                  <a:gd name="T116" fmla="*/ 135 w 447"/>
                  <a:gd name="T117" fmla="*/ 36 h 383"/>
                  <a:gd name="T118" fmla="*/ 156 w 447"/>
                  <a:gd name="T119" fmla="*/ 36 h 383"/>
                  <a:gd name="T120" fmla="*/ 185 w 447"/>
                  <a:gd name="T121" fmla="*/ 43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47" h="383">
                    <a:moveTo>
                      <a:pt x="170" y="28"/>
                    </a:moveTo>
                    <a:lnTo>
                      <a:pt x="170" y="28"/>
                    </a:lnTo>
                    <a:lnTo>
                      <a:pt x="170" y="21"/>
                    </a:lnTo>
                    <a:lnTo>
                      <a:pt x="170" y="21"/>
                    </a:lnTo>
                    <a:lnTo>
                      <a:pt x="170" y="21"/>
                    </a:lnTo>
                    <a:lnTo>
                      <a:pt x="170" y="21"/>
                    </a:lnTo>
                    <a:lnTo>
                      <a:pt x="170" y="14"/>
                    </a:lnTo>
                    <a:lnTo>
                      <a:pt x="177" y="14"/>
                    </a:lnTo>
                    <a:lnTo>
                      <a:pt x="177" y="14"/>
                    </a:lnTo>
                    <a:lnTo>
                      <a:pt x="177" y="21"/>
                    </a:lnTo>
                    <a:lnTo>
                      <a:pt x="185" y="14"/>
                    </a:lnTo>
                    <a:lnTo>
                      <a:pt x="185" y="7"/>
                    </a:lnTo>
                    <a:lnTo>
                      <a:pt x="185" y="0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9" y="7"/>
                    </a:lnTo>
                    <a:lnTo>
                      <a:pt x="199" y="7"/>
                    </a:lnTo>
                    <a:lnTo>
                      <a:pt x="206" y="7"/>
                    </a:lnTo>
                    <a:lnTo>
                      <a:pt x="206" y="14"/>
                    </a:lnTo>
                    <a:lnTo>
                      <a:pt x="206" y="14"/>
                    </a:lnTo>
                    <a:lnTo>
                      <a:pt x="206" y="14"/>
                    </a:lnTo>
                    <a:lnTo>
                      <a:pt x="206" y="14"/>
                    </a:lnTo>
                    <a:lnTo>
                      <a:pt x="206" y="14"/>
                    </a:lnTo>
                    <a:lnTo>
                      <a:pt x="213" y="14"/>
                    </a:lnTo>
                    <a:lnTo>
                      <a:pt x="206" y="21"/>
                    </a:lnTo>
                    <a:lnTo>
                      <a:pt x="206" y="21"/>
                    </a:lnTo>
                    <a:lnTo>
                      <a:pt x="206" y="21"/>
                    </a:lnTo>
                    <a:lnTo>
                      <a:pt x="213" y="21"/>
                    </a:lnTo>
                    <a:lnTo>
                      <a:pt x="213" y="21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20" y="28"/>
                    </a:lnTo>
                    <a:lnTo>
                      <a:pt x="220" y="36"/>
                    </a:lnTo>
                    <a:lnTo>
                      <a:pt x="220" y="36"/>
                    </a:lnTo>
                    <a:lnTo>
                      <a:pt x="220" y="36"/>
                    </a:lnTo>
                    <a:lnTo>
                      <a:pt x="220" y="43"/>
                    </a:lnTo>
                    <a:lnTo>
                      <a:pt x="220" y="43"/>
                    </a:lnTo>
                    <a:lnTo>
                      <a:pt x="220" y="43"/>
                    </a:lnTo>
                    <a:lnTo>
                      <a:pt x="227" y="50"/>
                    </a:lnTo>
                    <a:lnTo>
                      <a:pt x="227" y="50"/>
                    </a:lnTo>
                    <a:lnTo>
                      <a:pt x="234" y="50"/>
                    </a:lnTo>
                    <a:lnTo>
                      <a:pt x="234" y="50"/>
                    </a:lnTo>
                    <a:lnTo>
                      <a:pt x="234" y="57"/>
                    </a:lnTo>
                    <a:lnTo>
                      <a:pt x="234" y="57"/>
                    </a:lnTo>
                    <a:lnTo>
                      <a:pt x="241" y="57"/>
                    </a:lnTo>
                    <a:lnTo>
                      <a:pt x="241" y="57"/>
                    </a:lnTo>
                    <a:lnTo>
                      <a:pt x="241" y="57"/>
                    </a:lnTo>
                    <a:lnTo>
                      <a:pt x="248" y="57"/>
                    </a:lnTo>
                    <a:lnTo>
                      <a:pt x="248" y="57"/>
                    </a:lnTo>
                    <a:lnTo>
                      <a:pt x="248" y="64"/>
                    </a:lnTo>
                    <a:lnTo>
                      <a:pt x="248" y="64"/>
                    </a:lnTo>
                    <a:lnTo>
                      <a:pt x="248" y="64"/>
                    </a:lnTo>
                    <a:lnTo>
                      <a:pt x="248" y="64"/>
                    </a:lnTo>
                    <a:lnTo>
                      <a:pt x="248" y="64"/>
                    </a:lnTo>
                    <a:lnTo>
                      <a:pt x="248" y="64"/>
                    </a:lnTo>
                    <a:lnTo>
                      <a:pt x="256" y="71"/>
                    </a:lnTo>
                    <a:lnTo>
                      <a:pt x="256" y="71"/>
                    </a:lnTo>
                    <a:lnTo>
                      <a:pt x="256" y="71"/>
                    </a:lnTo>
                    <a:lnTo>
                      <a:pt x="263" y="71"/>
                    </a:lnTo>
                    <a:lnTo>
                      <a:pt x="263" y="71"/>
                    </a:lnTo>
                    <a:lnTo>
                      <a:pt x="270" y="64"/>
                    </a:lnTo>
                    <a:lnTo>
                      <a:pt x="270" y="64"/>
                    </a:lnTo>
                    <a:lnTo>
                      <a:pt x="277" y="64"/>
                    </a:lnTo>
                    <a:lnTo>
                      <a:pt x="284" y="64"/>
                    </a:lnTo>
                    <a:lnTo>
                      <a:pt x="284" y="64"/>
                    </a:lnTo>
                    <a:lnTo>
                      <a:pt x="291" y="64"/>
                    </a:lnTo>
                    <a:lnTo>
                      <a:pt x="298" y="71"/>
                    </a:lnTo>
                    <a:lnTo>
                      <a:pt x="298" y="71"/>
                    </a:lnTo>
                    <a:lnTo>
                      <a:pt x="298" y="71"/>
                    </a:lnTo>
                    <a:lnTo>
                      <a:pt x="305" y="78"/>
                    </a:lnTo>
                    <a:lnTo>
                      <a:pt x="305" y="78"/>
                    </a:lnTo>
                    <a:lnTo>
                      <a:pt x="319" y="85"/>
                    </a:lnTo>
                    <a:lnTo>
                      <a:pt x="319" y="85"/>
                    </a:lnTo>
                    <a:lnTo>
                      <a:pt x="319" y="85"/>
                    </a:lnTo>
                    <a:lnTo>
                      <a:pt x="327" y="92"/>
                    </a:lnTo>
                    <a:lnTo>
                      <a:pt x="327" y="92"/>
                    </a:lnTo>
                    <a:lnTo>
                      <a:pt x="327" y="92"/>
                    </a:lnTo>
                    <a:lnTo>
                      <a:pt x="334" y="92"/>
                    </a:lnTo>
                    <a:lnTo>
                      <a:pt x="334" y="92"/>
                    </a:lnTo>
                    <a:lnTo>
                      <a:pt x="341" y="92"/>
                    </a:lnTo>
                    <a:lnTo>
                      <a:pt x="341" y="99"/>
                    </a:lnTo>
                    <a:lnTo>
                      <a:pt x="348" y="99"/>
                    </a:lnTo>
                    <a:lnTo>
                      <a:pt x="348" y="99"/>
                    </a:lnTo>
                    <a:lnTo>
                      <a:pt x="341" y="107"/>
                    </a:lnTo>
                    <a:lnTo>
                      <a:pt x="341" y="107"/>
                    </a:lnTo>
                    <a:lnTo>
                      <a:pt x="341" y="107"/>
                    </a:lnTo>
                    <a:lnTo>
                      <a:pt x="341" y="107"/>
                    </a:lnTo>
                    <a:lnTo>
                      <a:pt x="341" y="107"/>
                    </a:lnTo>
                    <a:lnTo>
                      <a:pt x="341" y="107"/>
                    </a:lnTo>
                    <a:lnTo>
                      <a:pt x="341" y="107"/>
                    </a:lnTo>
                    <a:lnTo>
                      <a:pt x="341" y="114"/>
                    </a:lnTo>
                    <a:lnTo>
                      <a:pt x="341" y="114"/>
                    </a:lnTo>
                    <a:lnTo>
                      <a:pt x="341" y="114"/>
                    </a:lnTo>
                    <a:lnTo>
                      <a:pt x="341" y="114"/>
                    </a:lnTo>
                    <a:lnTo>
                      <a:pt x="341" y="121"/>
                    </a:lnTo>
                    <a:lnTo>
                      <a:pt x="341" y="121"/>
                    </a:lnTo>
                    <a:lnTo>
                      <a:pt x="341" y="121"/>
                    </a:lnTo>
                    <a:lnTo>
                      <a:pt x="348" y="121"/>
                    </a:lnTo>
                    <a:lnTo>
                      <a:pt x="348" y="121"/>
                    </a:lnTo>
                    <a:lnTo>
                      <a:pt x="362" y="128"/>
                    </a:lnTo>
                    <a:lnTo>
                      <a:pt x="369" y="128"/>
                    </a:lnTo>
                    <a:lnTo>
                      <a:pt x="376" y="135"/>
                    </a:lnTo>
                    <a:lnTo>
                      <a:pt x="383" y="135"/>
                    </a:lnTo>
                    <a:lnTo>
                      <a:pt x="383" y="135"/>
                    </a:lnTo>
                    <a:lnTo>
                      <a:pt x="390" y="135"/>
                    </a:lnTo>
                    <a:lnTo>
                      <a:pt x="390" y="135"/>
                    </a:lnTo>
                    <a:lnTo>
                      <a:pt x="390" y="135"/>
                    </a:lnTo>
                    <a:lnTo>
                      <a:pt x="398" y="135"/>
                    </a:lnTo>
                    <a:lnTo>
                      <a:pt x="405" y="142"/>
                    </a:lnTo>
                    <a:lnTo>
                      <a:pt x="412" y="142"/>
                    </a:lnTo>
                    <a:lnTo>
                      <a:pt x="412" y="149"/>
                    </a:lnTo>
                    <a:lnTo>
                      <a:pt x="419" y="149"/>
                    </a:lnTo>
                    <a:lnTo>
                      <a:pt x="419" y="156"/>
                    </a:lnTo>
                    <a:lnTo>
                      <a:pt x="419" y="156"/>
                    </a:lnTo>
                    <a:lnTo>
                      <a:pt x="433" y="156"/>
                    </a:lnTo>
                    <a:lnTo>
                      <a:pt x="440" y="163"/>
                    </a:lnTo>
                    <a:lnTo>
                      <a:pt x="447" y="163"/>
                    </a:lnTo>
                    <a:lnTo>
                      <a:pt x="447" y="170"/>
                    </a:lnTo>
                    <a:lnTo>
                      <a:pt x="447" y="170"/>
                    </a:lnTo>
                    <a:lnTo>
                      <a:pt x="447" y="170"/>
                    </a:lnTo>
                    <a:lnTo>
                      <a:pt x="447" y="170"/>
                    </a:lnTo>
                    <a:lnTo>
                      <a:pt x="447" y="170"/>
                    </a:lnTo>
                    <a:lnTo>
                      <a:pt x="447" y="170"/>
                    </a:lnTo>
                    <a:lnTo>
                      <a:pt x="440" y="178"/>
                    </a:lnTo>
                    <a:lnTo>
                      <a:pt x="440" y="178"/>
                    </a:lnTo>
                    <a:lnTo>
                      <a:pt x="433" y="170"/>
                    </a:lnTo>
                    <a:lnTo>
                      <a:pt x="433" y="170"/>
                    </a:lnTo>
                    <a:lnTo>
                      <a:pt x="433" y="170"/>
                    </a:lnTo>
                    <a:lnTo>
                      <a:pt x="433" y="178"/>
                    </a:lnTo>
                    <a:lnTo>
                      <a:pt x="426" y="178"/>
                    </a:lnTo>
                    <a:lnTo>
                      <a:pt x="433" y="178"/>
                    </a:lnTo>
                    <a:lnTo>
                      <a:pt x="426" y="185"/>
                    </a:lnTo>
                    <a:lnTo>
                      <a:pt x="419" y="192"/>
                    </a:lnTo>
                    <a:lnTo>
                      <a:pt x="419" y="192"/>
                    </a:lnTo>
                    <a:lnTo>
                      <a:pt x="412" y="199"/>
                    </a:lnTo>
                    <a:lnTo>
                      <a:pt x="412" y="199"/>
                    </a:lnTo>
                    <a:lnTo>
                      <a:pt x="412" y="199"/>
                    </a:lnTo>
                    <a:lnTo>
                      <a:pt x="405" y="206"/>
                    </a:lnTo>
                    <a:lnTo>
                      <a:pt x="405" y="206"/>
                    </a:lnTo>
                    <a:lnTo>
                      <a:pt x="405" y="206"/>
                    </a:lnTo>
                    <a:lnTo>
                      <a:pt x="398" y="206"/>
                    </a:lnTo>
                    <a:lnTo>
                      <a:pt x="398" y="206"/>
                    </a:lnTo>
                    <a:lnTo>
                      <a:pt x="398" y="213"/>
                    </a:lnTo>
                    <a:lnTo>
                      <a:pt x="390" y="213"/>
                    </a:lnTo>
                    <a:lnTo>
                      <a:pt x="390" y="220"/>
                    </a:lnTo>
                    <a:lnTo>
                      <a:pt x="383" y="227"/>
                    </a:lnTo>
                    <a:lnTo>
                      <a:pt x="383" y="234"/>
                    </a:lnTo>
                    <a:lnTo>
                      <a:pt x="376" y="234"/>
                    </a:lnTo>
                    <a:lnTo>
                      <a:pt x="369" y="234"/>
                    </a:lnTo>
                    <a:lnTo>
                      <a:pt x="369" y="241"/>
                    </a:lnTo>
                    <a:lnTo>
                      <a:pt x="369" y="241"/>
                    </a:lnTo>
                    <a:lnTo>
                      <a:pt x="369" y="248"/>
                    </a:lnTo>
                    <a:lnTo>
                      <a:pt x="369" y="248"/>
                    </a:lnTo>
                    <a:lnTo>
                      <a:pt x="376" y="256"/>
                    </a:lnTo>
                    <a:lnTo>
                      <a:pt x="376" y="256"/>
                    </a:lnTo>
                    <a:lnTo>
                      <a:pt x="369" y="263"/>
                    </a:lnTo>
                    <a:lnTo>
                      <a:pt x="369" y="263"/>
                    </a:lnTo>
                    <a:lnTo>
                      <a:pt x="369" y="263"/>
                    </a:lnTo>
                    <a:lnTo>
                      <a:pt x="369" y="263"/>
                    </a:lnTo>
                    <a:lnTo>
                      <a:pt x="369" y="263"/>
                    </a:lnTo>
                    <a:lnTo>
                      <a:pt x="369" y="270"/>
                    </a:lnTo>
                    <a:lnTo>
                      <a:pt x="369" y="270"/>
                    </a:lnTo>
                    <a:lnTo>
                      <a:pt x="369" y="270"/>
                    </a:lnTo>
                    <a:lnTo>
                      <a:pt x="369" y="270"/>
                    </a:lnTo>
                    <a:lnTo>
                      <a:pt x="369" y="270"/>
                    </a:lnTo>
                    <a:lnTo>
                      <a:pt x="362" y="270"/>
                    </a:lnTo>
                    <a:lnTo>
                      <a:pt x="362" y="270"/>
                    </a:lnTo>
                    <a:lnTo>
                      <a:pt x="362" y="270"/>
                    </a:lnTo>
                    <a:lnTo>
                      <a:pt x="362" y="277"/>
                    </a:lnTo>
                    <a:lnTo>
                      <a:pt x="362" y="277"/>
                    </a:lnTo>
                    <a:lnTo>
                      <a:pt x="362" y="277"/>
                    </a:lnTo>
                    <a:lnTo>
                      <a:pt x="362" y="277"/>
                    </a:lnTo>
                    <a:lnTo>
                      <a:pt x="355" y="277"/>
                    </a:lnTo>
                    <a:lnTo>
                      <a:pt x="355" y="284"/>
                    </a:lnTo>
                    <a:lnTo>
                      <a:pt x="355" y="284"/>
                    </a:lnTo>
                    <a:lnTo>
                      <a:pt x="355" y="284"/>
                    </a:lnTo>
                    <a:lnTo>
                      <a:pt x="355" y="284"/>
                    </a:lnTo>
                    <a:lnTo>
                      <a:pt x="355" y="291"/>
                    </a:lnTo>
                    <a:lnTo>
                      <a:pt x="355" y="298"/>
                    </a:lnTo>
                    <a:lnTo>
                      <a:pt x="362" y="298"/>
                    </a:lnTo>
                    <a:lnTo>
                      <a:pt x="362" y="298"/>
                    </a:lnTo>
                    <a:lnTo>
                      <a:pt x="362" y="298"/>
                    </a:lnTo>
                    <a:lnTo>
                      <a:pt x="362" y="298"/>
                    </a:lnTo>
                    <a:lnTo>
                      <a:pt x="362" y="305"/>
                    </a:lnTo>
                    <a:lnTo>
                      <a:pt x="362" y="305"/>
                    </a:lnTo>
                    <a:lnTo>
                      <a:pt x="362" y="312"/>
                    </a:lnTo>
                    <a:lnTo>
                      <a:pt x="362" y="312"/>
                    </a:lnTo>
                    <a:lnTo>
                      <a:pt x="355" y="312"/>
                    </a:lnTo>
                    <a:lnTo>
                      <a:pt x="355" y="312"/>
                    </a:lnTo>
                    <a:lnTo>
                      <a:pt x="355" y="312"/>
                    </a:lnTo>
                    <a:lnTo>
                      <a:pt x="355" y="319"/>
                    </a:lnTo>
                    <a:lnTo>
                      <a:pt x="355" y="327"/>
                    </a:lnTo>
                    <a:lnTo>
                      <a:pt x="355" y="327"/>
                    </a:lnTo>
                    <a:lnTo>
                      <a:pt x="355" y="327"/>
                    </a:lnTo>
                    <a:lnTo>
                      <a:pt x="348" y="327"/>
                    </a:lnTo>
                    <a:lnTo>
                      <a:pt x="348" y="327"/>
                    </a:lnTo>
                    <a:lnTo>
                      <a:pt x="341" y="327"/>
                    </a:lnTo>
                    <a:lnTo>
                      <a:pt x="341" y="334"/>
                    </a:lnTo>
                    <a:lnTo>
                      <a:pt x="341" y="341"/>
                    </a:lnTo>
                    <a:lnTo>
                      <a:pt x="341" y="348"/>
                    </a:lnTo>
                    <a:lnTo>
                      <a:pt x="341" y="348"/>
                    </a:lnTo>
                    <a:lnTo>
                      <a:pt x="341" y="348"/>
                    </a:lnTo>
                    <a:lnTo>
                      <a:pt x="341" y="348"/>
                    </a:lnTo>
                    <a:lnTo>
                      <a:pt x="334" y="348"/>
                    </a:lnTo>
                    <a:lnTo>
                      <a:pt x="334" y="348"/>
                    </a:lnTo>
                    <a:lnTo>
                      <a:pt x="334" y="355"/>
                    </a:lnTo>
                    <a:lnTo>
                      <a:pt x="334" y="355"/>
                    </a:lnTo>
                    <a:lnTo>
                      <a:pt x="334" y="362"/>
                    </a:lnTo>
                    <a:lnTo>
                      <a:pt x="334" y="362"/>
                    </a:lnTo>
                    <a:lnTo>
                      <a:pt x="334" y="369"/>
                    </a:lnTo>
                    <a:lnTo>
                      <a:pt x="334" y="369"/>
                    </a:lnTo>
                    <a:lnTo>
                      <a:pt x="341" y="369"/>
                    </a:lnTo>
                    <a:lnTo>
                      <a:pt x="341" y="369"/>
                    </a:lnTo>
                    <a:lnTo>
                      <a:pt x="341" y="376"/>
                    </a:lnTo>
                    <a:lnTo>
                      <a:pt x="334" y="376"/>
                    </a:lnTo>
                    <a:lnTo>
                      <a:pt x="334" y="376"/>
                    </a:lnTo>
                    <a:lnTo>
                      <a:pt x="334" y="383"/>
                    </a:lnTo>
                    <a:lnTo>
                      <a:pt x="327" y="383"/>
                    </a:lnTo>
                    <a:lnTo>
                      <a:pt x="327" y="383"/>
                    </a:lnTo>
                    <a:lnTo>
                      <a:pt x="327" y="383"/>
                    </a:lnTo>
                    <a:lnTo>
                      <a:pt x="327" y="383"/>
                    </a:lnTo>
                    <a:lnTo>
                      <a:pt x="319" y="383"/>
                    </a:lnTo>
                    <a:lnTo>
                      <a:pt x="319" y="376"/>
                    </a:lnTo>
                    <a:lnTo>
                      <a:pt x="319" y="376"/>
                    </a:lnTo>
                    <a:lnTo>
                      <a:pt x="319" y="376"/>
                    </a:lnTo>
                    <a:lnTo>
                      <a:pt x="319" y="376"/>
                    </a:lnTo>
                    <a:lnTo>
                      <a:pt x="319" y="376"/>
                    </a:lnTo>
                    <a:lnTo>
                      <a:pt x="319" y="376"/>
                    </a:lnTo>
                    <a:lnTo>
                      <a:pt x="312" y="376"/>
                    </a:lnTo>
                    <a:lnTo>
                      <a:pt x="312" y="376"/>
                    </a:lnTo>
                    <a:lnTo>
                      <a:pt x="312" y="376"/>
                    </a:lnTo>
                    <a:lnTo>
                      <a:pt x="312" y="369"/>
                    </a:lnTo>
                    <a:lnTo>
                      <a:pt x="312" y="369"/>
                    </a:lnTo>
                    <a:lnTo>
                      <a:pt x="312" y="369"/>
                    </a:lnTo>
                    <a:lnTo>
                      <a:pt x="312" y="369"/>
                    </a:lnTo>
                    <a:lnTo>
                      <a:pt x="305" y="369"/>
                    </a:lnTo>
                    <a:lnTo>
                      <a:pt x="305" y="369"/>
                    </a:lnTo>
                    <a:lnTo>
                      <a:pt x="305" y="369"/>
                    </a:lnTo>
                    <a:lnTo>
                      <a:pt x="305" y="369"/>
                    </a:lnTo>
                    <a:lnTo>
                      <a:pt x="305" y="369"/>
                    </a:lnTo>
                    <a:lnTo>
                      <a:pt x="305" y="362"/>
                    </a:lnTo>
                    <a:lnTo>
                      <a:pt x="305" y="362"/>
                    </a:lnTo>
                    <a:lnTo>
                      <a:pt x="305" y="362"/>
                    </a:lnTo>
                    <a:lnTo>
                      <a:pt x="298" y="362"/>
                    </a:lnTo>
                    <a:lnTo>
                      <a:pt x="291" y="362"/>
                    </a:lnTo>
                    <a:lnTo>
                      <a:pt x="291" y="362"/>
                    </a:lnTo>
                    <a:lnTo>
                      <a:pt x="291" y="362"/>
                    </a:lnTo>
                    <a:lnTo>
                      <a:pt x="291" y="362"/>
                    </a:lnTo>
                    <a:lnTo>
                      <a:pt x="291" y="362"/>
                    </a:lnTo>
                    <a:lnTo>
                      <a:pt x="291" y="369"/>
                    </a:lnTo>
                    <a:lnTo>
                      <a:pt x="277" y="362"/>
                    </a:lnTo>
                    <a:lnTo>
                      <a:pt x="277" y="369"/>
                    </a:lnTo>
                    <a:lnTo>
                      <a:pt x="277" y="369"/>
                    </a:lnTo>
                    <a:lnTo>
                      <a:pt x="277" y="369"/>
                    </a:lnTo>
                    <a:lnTo>
                      <a:pt x="277" y="362"/>
                    </a:lnTo>
                    <a:lnTo>
                      <a:pt x="270" y="362"/>
                    </a:lnTo>
                    <a:lnTo>
                      <a:pt x="270" y="362"/>
                    </a:lnTo>
                    <a:lnTo>
                      <a:pt x="263" y="362"/>
                    </a:lnTo>
                    <a:lnTo>
                      <a:pt x="256" y="369"/>
                    </a:lnTo>
                    <a:lnTo>
                      <a:pt x="256" y="362"/>
                    </a:lnTo>
                    <a:lnTo>
                      <a:pt x="248" y="355"/>
                    </a:lnTo>
                    <a:lnTo>
                      <a:pt x="248" y="355"/>
                    </a:lnTo>
                    <a:lnTo>
                      <a:pt x="248" y="355"/>
                    </a:lnTo>
                    <a:lnTo>
                      <a:pt x="248" y="355"/>
                    </a:lnTo>
                    <a:lnTo>
                      <a:pt x="248" y="348"/>
                    </a:lnTo>
                    <a:lnTo>
                      <a:pt x="248" y="348"/>
                    </a:lnTo>
                    <a:lnTo>
                      <a:pt x="241" y="348"/>
                    </a:lnTo>
                    <a:lnTo>
                      <a:pt x="241" y="348"/>
                    </a:lnTo>
                    <a:lnTo>
                      <a:pt x="241" y="348"/>
                    </a:lnTo>
                    <a:lnTo>
                      <a:pt x="241" y="348"/>
                    </a:lnTo>
                    <a:lnTo>
                      <a:pt x="234" y="348"/>
                    </a:lnTo>
                    <a:lnTo>
                      <a:pt x="220" y="341"/>
                    </a:lnTo>
                    <a:lnTo>
                      <a:pt x="213" y="334"/>
                    </a:lnTo>
                    <a:lnTo>
                      <a:pt x="213" y="334"/>
                    </a:lnTo>
                    <a:lnTo>
                      <a:pt x="213" y="334"/>
                    </a:lnTo>
                    <a:lnTo>
                      <a:pt x="213" y="334"/>
                    </a:lnTo>
                    <a:lnTo>
                      <a:pt x="213" y="334"/>
                    </a:lnTo>
                    <a:lnTo>
                      <a:pt x="213" y="327"/>
                    </a:lnTo>
                    <a:lnTo>
                      <a:pt x="206" y="327"/>
                    </a:lnTo>
                    <a:lnTo>
                      <a:pt x="199" y="327"/>
                    </a:lnTo>
                    <a:lnTo>
                      <a:pt x="199" y="327"/>
                    </a:lnTo>
                    <a:lnTo>
                      <a:pt x="199" y="327"/>
                    </a:lnTo>
                    <a:lnTo>
                      <a:pt x="192" y="327"/>
                    </a:lnTo>
                    <a:lnTo>
                      <a:pt x="185" y="334"/>
                    </a:lnTo>
                    <a:lnTo>
                      <a:pt x="185" y="327"/>
                    </a:lnTo>
                    <a:lnTo>
                      <a:pt x="185" y="319"/>
                    </a:lnTo>
                    <a:lnTo>
                      <a:pt x="177" y="319"/>
                    </a:lnTo>
                    <a:lnTo>
                      <a:pt x="177" y="312"/>
                    </a:lnTo>
                    <a:lnTo>
                      <a:pt x="156" y="305"/>
                    </a:lnTo>
                    <a:lnTo>
                      <a:pt x="156" y="305"/>
                    </a:lnTo>
                    <a:lnTo>
                      <a:pt x="156" y="305"/>
                    </a:lnTo>
                    <a:lnTo>
                      <a:pt x="156" y="305"/>
                    </a:lnTo>
                    <a:lnTo>
                      <a:pt x="156" y="305"/>
                    </a:lnTo>
                    <a:lnTo>
                      <a:pt x="156" y="305"/>
                    </a:lnTo>
                    <a:lnTo>
                      <a:pt x="156" y="298"/>
                    </a:lnTo>
                    <a:lnTo>
                      <a:pt x="156" y="298"/>
                    </a:lnTo>
                    <a:lnTo>
                      <a:pt x="163" y="298"/>
                    </a:lnTo>
                    <a:lnTo>
                      <a:pt x="163" y="298"/>
                    </a:lnTo>
                    <a:lnTo>
                      <a:pt x="163" y="298"/>
                    </a:lnTo>
                    <a:lnTo>
                      <a:pt x="163" y="298"/>
                    </a:lnTo>
                    <a:lnTo>
                      <a:pt x="163" y="298"/>
                    </a:lnTo>
                    <a:lnTo>
                      <a:pt x="170" y="298"/>
                    </a:lnTo>
                    <a:lnTo>
                      <a:pt x="170" y="298"/>
                    </a:lnTo>
                    <a:lnTo>
                      <a:pt x="170" y="298"/>
                    </a:lnTo>
                    <a:lnTo>
                      <a:pt x="170" y="298"/>
                    </a:lnTo>
                    <a:lnTo>
                      <a:pt x="170" y="298"/>
                    </a:lnTo>
                    <a:lnTo>
                      <a:pt x="170" y="298"/>
                    </a:lnTo>
                    <a:lnTo>
                      <a:pt x="170" y="298"/>
                    </a:lnTo>
                    <a:lnTo>
                      <a:pt x="177" y="298"/>
                    </a:lnTo>
                    <a:lnTo>
                      <a:pt x="177" y="298"/>
                    </a:lnTo>
                    <a:lnTo>
                      <a:pt x="185" y="291"/>
                    </a:lnTo>
                    <a:lnTo>
                      <a:pt x="185" y="291"/>
                    </a:lnTo>
                    <a:lnTo>
                      <a:pt x="185" y="284"/>
                    </a:lnTo>
                    <a:lnTo>
                      <a:pt x="185" y="284"/>
                    </a:lnTo>
                    <a:lnTo>
                      <a:pt x="185" y="284"/>
                    </a:lnTo>
                    <a:lnTo>
                      <a:pt x="170" y="284"/>
                    </a:lnTo>
                    <a:lnTo>
                      <a:pt x="170" y="284"/>
                    </a:lnTo>
                    <a:lnTo>
                      <a:pt x="149" y="270"/>
                    </a:lnTo>
                    <a:lnTo>
                      <a:pt x="142" y="263"/>
                    </a:lnTo>
                    <a:lnTo>
                      <a:pt x="135" y="256"/>
                    </a:lnTo>
                    <a:lnTo>
                      <a:pt x="135" y="256"/>
                    </a:lnTo>
                    <a:lnTo>
                      <a:pt x="128" y="248"/>
                    </a:lnTo>
                    <a:lnTo>
                      <a:pt x="128" y="241"/>
                    </a:lnTo>
                    <a:lnTo>
                      <a:pt x="114" y="241"/>
                    </a:lnTo>
                    <a:lnTo>
                      <a:pt x="107" y="234"/>
                    </a:lnTo>
                    <a:lnTo>
                      <a:pt x="107" y="234"/>
                    </a:lnTo>
                    <a:lnTo>
                      <a:pt x="107" y="227"/>
                    </a:lnTo>
                    <a:lnTo>
                      <a:pt x="99" y="220"/>
                    </a:lnTo>
                    <a:lnTo>
                      <a:pt x="92" y="213"/>
                    </a:lnTo>
                    <a:lnTo>
                      <a:pt x="92" y="213"/>
                    </a:lnTo>
                    <a:lnTo>
                      <a:pt x="85" y="213"/>
                    </a:lnTo>
                    <a:lnTo>
                      <a:pt x="85" y="213"/>
                    </a:lnTo>
                    <a:lnTo>
                      <a:pt x="85" y="213"/>
                    </a:lnTo>
                    <a:lnTo>
                      <a:pt x="85" y="213"/>
                    </a:lnTo>
                    <a:lnTo>
                      <a:pt x="85" y="213"/>
                    </a:lnTo>
                    <a:lnTo>
                      <a:pt x="78" y="213"/>
                    </a:lnTo>
                    <a:lnTo>
                      <a:pt x="85" y="220"/>
                    </a:lnTo>
                    <a:lnTo>
                      <a:pt x="85" y="220"/>
                    </a:lnTo>
                    <a:lnTo>
                      <a:pt x="85" y="234"/>
                    </a:lnTo>
                    <a:lnTo>
                      <a:pt x="85" y="241"/>
                    </a:lnTo>
                    <a:lnTo>
                      <a:pt x="85" y="248"/>
                    </a:lnTo>
                    <a:lnTo>
                      <a:pt x="85" y="248"/>
                    </a:lnTo>
                    <a:lnTo>
                      <a:pt x="78" y="256"/>
                    </a:lnTo>
                    <a:lnTo>
                      <a:pt x="71" y="256"/>
                    </a:lnTo>
                    <a:lnTo>
                      <a:pt x="71" y="256"/>
                    </a:lnTo>
                    <a:lnTo>
                      <a:pt x="71" y="248"/>
                    </a:lnTo>
                    <a:lnTo>
                      <a:pt x="57" y="248"/>
                    </a:lnTo>
                    <a:lnTo>
                      <a:pt x="57" y="241"/>
                    </a:lnTo>
                    <a:lnTo>
                      <a:pt x="57" y="241"/>
                    </a:lnTo>
                    <a:lnTo>
                      <a:pt x="50" y="248"/>
                    </a:lnTo>
                    <a:lnTo>
                      <a:pt x="43" y="256"/>
                    </a:lnTo>
                    <a:lnTo>
                      <a:pt x="36" y="241"/>
                    </a:lnTo>
                    <a:lnTo>
                      <a:pt x="36" y="241"/>
                    </a:lnTo>
                    <a:lnTo>
                      <a:pt x="28" y="234"/>
                    </a:lnTo>
                    <a:lnTo>
                      <a:pt x="28" y="227"/>
                    </a:lnTo>
                    <a:lnTo>
                      <a:pt x="28" y="220"/>
                    </a:lnTo>
                    <a:lnTo>
                      <a:pt x="28" y="220"/>
                    </a:lnTo>
                    <a:lnTo>
                      <a:pt x="28" y="213"/>
                    </a:lnTo>
                    <a:lnTo>
                      <a:pt x="28" y="206"/>
                    </a:lnTo>
                    <a:lnTo>
                      <a:pt x="36" y="199"/>
                    </a:lnTo>
                    <a:lnTo>
                      <a:pt x="43" y="185"/>
                    </a:lnTo>
                    <a:lnTo>
                      <a:pt x="43" y="185"/>
                    </a:lnTo>
                    <a:lnTo>
                      <a:pt x="50" y="178"/>
                    </a:lnTo>
                    <a:lnTo>
                      <a:pt x="50" y="178"/>
                    </a:lnTo>
                    <a:lnTo>
                      <a:pt x="50" y="170"/>
                    </a:lnTo>
                    <a:lnTo>
                      <a:pt x="50" y="170"/>
                    </a:lnTo>
                    <a:lnTo>
                      <a:pt x="36" y="163"/>
                    </a:lnTo>
                    <a:lnTo>
                      <a:pt x="28" y="156"/>
                    </a:lnTo>
                    <a:lnTo>
                      <a:pt x="14" y="149"/>
                    </a:lnTo>
                    <a:lnTo>
                      <a:pt x="14" y="149"/>
                    </a:lnTo>
                    <a:lnTo>
                      <a:pt x="7" y="149"/>
                    </a:lnTo>
                    <a:lnTo>
                      <a:pt x="7" y="149"/>
                    </a:lnTo>
                    <a:lnTo>
                      <a:pt x="7" y="149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14" y="142"/>
                    </a:lnTo>
                    <a:lnTo>
                      <a:pt x="14" y="142"/>
                    </a:lnTo>
                    <a:lnTo>
                      <a:pt x="21" y="142"/>
                    </a:lnTo>
                    <a:lnTo>
                      <a:pt x="28" y="135"/>
                    </a:lnTo>
                    <a:lnTo>
                      <a:pt x="36" y="135"/>
                    </a:lnTo>
                    <a:lnTo>
                      <a:pt x="36" y="135"/>
                    </a:lnTo>
                    <a:lnTo>
                      <a:pt x="36" y="135"/>
                    </a:lnTo>
                    <a:lnTo>
                      <a:pt x="36" y="128"/>
                    </a:lnTo>
                    <a:lnTo>
                      <a:pt x="36" y="128"/>
                    </a:lnTo>
                    <a:lnTo>
                      <a:pt x="36" y="128"/>
                    </a:lnTo>
                    <a:lnTo>
                      <a:pt x="36" y="128"/>
                    </a:lnTo>
                    <a:lnTo>
                      <a:pt x="36" y="128"/>
                    </a:lnTo>
                    <a:lnTo>
                      <a:pt x="28" y="128"/>
                    </a:lnTo>
                    <a:lnTo>
                      <a:pt x="28" y="128"/>
                    </a:lnTo>
                    <a:lnTo>
                      <a:pt x="28" y="128"/>
                    </a:lnTo>
                    <a:lnTo>
                      <a:pt x="28" y="121"/>
                    </a:lnTo>
                    <a:lnTo>
                      <a:pt x="28" y="121"/>
                    </a:lnTo>
                    <a:lnTo>
                      <a:pt x="28" y="121"/>
                    </a:lnTo>
                    <a:lnTo>
                      <a:pt x="28" y="121"/>
                    </a:lnTo>
                    <a:lnTo>
                      <a:pt x="28" y="114"/>
                    </a:lnTo>
                    <a:lnTo>
                      <a:pt x="28" y="114"/>
                    </a:lnTo>
                    <a:lnTo>
                      <a:pt x="28" y="114"/>
                    </a:lnTo>
                    <a:lnTo>
                      <a:pt x="28" y="107"/>
                    </a:lnTo>
                    <a:lnTo>
                      <a:pt x="21" y="107"/>
                    </a:lnTo>
                    <a:lnTo>
                      <a:pt x="21" y="107"/>
                    </a:lnTo>
                    <a:lnTo>
                      <a:pt x="21" y="99"/>
                    </a:lnTo>
                    <a:lnTo>
                      <a:pt x="21" y="99"/>
                    </a:lnTo>
                    <a:lnTo>
                      <a:pt x="21" y="99"/>
                    </a:lnTo>
                    <a:lnTo>
                      <a:pt x="21" y="92"/>
                    </a:lnTo>
                    <a:lnTo>
                      <a:pt x="21" y="85"/>
                    </a:lnTo>
                    <a:lnTo>
                      <a:pt x="21" y="85"/>
                    </a:lnTo>
                    <a:lnTo>
                      <a:pt x="28" y="78"/>
                    </a:lnTo>
                    <a:lnTo>
                      <a:pt x="28" y="78"/>
                    </a:lnTo>
                    <a:lnTo>
                      <a:pt x="28" y="85"/>
                    </a:lnTo>
                    <a:lnTo>
                      <a:pt x="28" y="85"/>
                    </a:lnTo>
                    <a:lnTo>
                      <a:pt x="28" y="85"/>
                    </a:lnTo>
                    <a:lnTo>
                      <a:pt x="28" y="78"/>
                    </a:lnTo>
                    <a:lnTo>
                      <a:pt x="28" y="78"/>
                    </a:lnTo>
                    <a:lnTo>
                      <a:pt x="28" y="71"/>
                    </a:lnTo>
                    <a:lnTo>
                      <a:pt x="28" y="71"/>
                    </a:lnTo>
                    <a:lnTo>
                      <a:pt x="28" y="71"/>
                    </a:lnTo>
                    <a:lnTo>
                      <a:pt x="28" y="71"/>
                    </a:lnTo>
                    <a:lnTo>
                      <a:pt x="28" y="71"/>
                    </a:lnTo>
                    <a:lnTo>
                      <a:pt x="28" y="71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28" y="71"/>
                    </a:lnTo>
                    <a:lnTo>
                      <a:pt x="28" y="71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28" y="57"/>
                    </a:lnTo>
                    <a:lnTo>
                      <a:pt x="28" y="57"/>
                    </a:lnTo>
                    <a:lnTo>
                      <a:pt x="28" y="57"/>
                    </a:lnTo>
                    <a:lnTo>
                      <a:pt x="43" y="50"/>
                    </a:lnTo>
                    <a:lnTo>
                      <a:pt x="43" y="43"/>
                    </a:lnTo>
                    <a:lnTo>
                      <a:pt x="50" y="43"/>
                    </a:lnTo>
                    <a:lnTo>
                      <a:pt x="50" y="43"/>
                    </a:lnTo>
                    <a:lnTo>
                      <a:pt x="50" y="43"/>
                    </a:lnTo>
                    <a:lnTo>
                      <a:pt x="50" y="43"/>
                    </a:lnTo>
                    <a:lnTo>
                      <a:pt x="57" y="43"/>
                    </a:lnTo>
                    <a:lnTo>
                      <a:pt x="57" y="43"/>
                    </a:lnTo>
                    <a:lnTo>
                      <a:pt x="64" y="43"/>
                    </a:lnTo>
                    <a:lnTo>
                      <a:pt x="64" y="36"/>
                    </a:lnTo>
                    <a:lnTo>
                      <a:pt x="71" y="36"/>
                    </a:lnTo>
                    <a:lnTo>
                      <a:pt x="78" y="28"/>
                    </a:lnTo>
                    <a:lnTo>
                      <a:pt x="85" y="28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9" y="21"/>
                    </a:lnTo>
                    <a:lnTo>
                      <a:pt x="99" y="21"/>
                    </a:lnTo>
                    <a:lnTo>
                      <a:pt x="107" y="21"/>
                    </a:lnTo>
                    <a:lnTo>
                      <a:pt x="107" y="21"/>
                    </a:lnTo>
                    <a:lnTo>
                      <a:pt x="107" y="21"/>
                    </a:lnTo>
                    <a:lnTo>
                      <a:pt x="107" y="28"/>
                    </a:lnTo>
                    <a:lnTo>
                      <a:pt x="107" y="28"/>
                    </a:lnTo>
                    <a:lnTo>
                      <a:pt x="107" y="28"/>
                    </a:lnTo>
                    <a:lnTo>
                      <a:pt x="114" y="28"/>
                    </a:lnTo>
                    <a:lnTo>
                      <a:pt x="114" y="28"/>
                    </a:lnTo>
                    <a:lnTo>
                      <a:pt x="114" y="28"/>
                    </a:lnTo>
                    <a:lnTo>
                      <a:pt x="114" y="28"/>
                    </a:lnTo>
                    <a:lnTo>
                      <a:pt x="121" y="36"/>
                    </a:lnTo>
                    <a:lnTo>
                      <a:pt x="121" y="36"/>
                    </a:lnTo>
                    <a:lnTo>
                      <a:pt x="121" y="36"/>
                    </a:lnTo>
                    <a:lnTo>
                      <a:pt x="128" y="36"/>
                    </a:lnTo>
                    <a:lnTo>
                      <a:pt x="128" y="28"/>
                    </a:lnTo>
                    <a:lnTo>
                      <a:pt x="135" y="28"/>
                    </a:lnTo>
                    <a:lnTo>
                      <a:pt x="135" y="28"/>
                    </a:lnTo>
                    <a:lnTo>
                      <a:pt x="135" y="36"/>
                    </a:lnTo>
                    <a:lnTo>
                      <a:pt x="142" y="36"/>
                    </a:lnTo>
                    <a:lnTo>
                      <a:pt x="142" y="36"/>
                    </a:lnTo>
                    <a:lnTo>
                      <a:pt x="142" y="36"/>
                    </a:lnTo>
                    <a:lnTo>
                      <a:pt x="149" y="36"/>
                    </a:lnTo>
                    <a:lnTo>
                      <a:pt x="156" y="36"/>
                    </a:lnTo>
                    <a:lnTo>
                      <a:pt x="156" y="36"/>
                    </a:lnTo>
                    <a:lnTo>
                      <a:pt x="156" y="36"/>
                    </a:lnTo>
                    <a:lnTo>
                      <a:pt x="156" y="36"/>
                    </a:lnTo>
                    <a:lnTo>
                      <a:pt x="163" y="43"/>
                    </a:lnTo>
                    <a:lnTo>
                      <a:pt x="163" y="43"/>
                    </a:lnTo>
                    <a:lnTo>
                      <a:pt x="163" y="43"/>
                    </a:lnTo>
                    <a:lnTo>
                      <a:pt x="170" y="50"/>
                    </a:lnTo>
                    <a:lnTo>
                      <a:pt x="177" y="50"/>
                    </a:lnTo>
                    <a:lnTo>
                      <a:pt x="177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77" y="36"/>
                    </a:lnTo>
                    <a:lnTo>
                      <a:pt x="177" y="28"/>
                    </a:lnTo>
                    <a:lnTo>
                      <a:pt x="170" y="2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7" name="Freeform 55"/>
              <p:cNvSpPr>
                <a:spLocks/>
              </p:cNvSpPr>
              <p:nvPr/>
            </p:nvSpPr>
            <p:spPr bwMode="auto">
              <a:xfrm>
                <a:off x="4003" y="1564"/>
                <a:ext cx="611" cy="497"/>
              </a:xfrm>
              <a:custGeom>
                <a:avLst/>
                <a:gdLst>
                  <a:gd name="T0" fmla="*/ 589 w 611"/>
                  <a:gd name="T1" fmla="*/ 35 h 497"/>
                  <a:gd name="T2" fmla="*/ 597 w 611"/>
                  <a:gd name="T3" fmla="*/ 78 h 497"/>
                  <a:gd name="T4" fmla="*/ 611 w 611"/>
                  <a:gd name="T5" fmla="*/ 92 h 497"/>
                  <a:gd name="T6" fmla="*/ 604 w 611"/>
                  <a:gd name="T7" fmla="*/ 106 h 497"/>
                  <a:gd name="T8" fmla="*/ 597 w 611"/>
                  <a:gd name="T9" fmla="*/ 120 h 497"/>
                  <a:gd name="T10" fmla="*/ 582 w 611"/>
                  <a:gd name="T11" fmla="*/ 156 h 497"/>
                  <a:gd name="T12" fmla="*/ 575 w 611"/>
                  <a:gd name="T13" fmla="*/ 170 h 497"/>
                  <a:gd name="T14" fmla="*/ 561 w 611"/>
                  <a:gd name="T15" fmla="*/ 191 h 497"/>
                  <a:gd name="T16" fmla="*/ 533 w 611"/>
                  <a:gd name="T17" fmla="*/ 191 h 497"/>
                  <a:gd name="T18" fmla="*/ 533 w 611"/>
                  <a:gd name="T19" fmla="*/ 213 h 497"/>
                  <a:gd name="T20" fmla="*/ 526 w 611"/>
                  <a:gd name="T21" fmla="*/ 220 h 497"/>
                  <a:gd name="T22" fmla="*/ 483 w 611"/>
                  <a:gd name="T23" fmla="*/ 213 h 497"/>
                  <a:gd name="T24" fmla="*/ 433 w 611"/>
                  <a:gd name="T25" fmla="*/ 248 h 497"/>
                  <a:gd name="T26" fmla="*/ 405 w 611"/>
                  <a:gd name="T27" fmla="*/ 277 h 497"/>
                  <a:gd name="T28" fmla="*/ 377 w 611"/>
                  <a:gd name="T29" fmla="*/ 255 h 497"/>
                  <a:gd name="T30" fmla="*/ 348 w 611"/>
                  <a:gd name="T31" fmla="*/ 277 h 497"/>
                  <a:gd name="T32" fmla="*/ 355 w 611"/>
                  <a:gd name="T33" fmla="*/ 298 h 497"/>
                  <a:gd name="T34" fmla="*/ 398 w 611"/>
                  <a:gd name="T35" fmla="*/ 341 h 497"/>
                  <a:gd name="T36" fmla="*/ 447 w 611"/>
                  <a:gd name="T37" fmla="*/ 348 h 497"/>
                  <a:gd name="T38" fmla="*/ 433 w 611"/>
                  <a:gd name="T39" fmla="*/ 376 h 497"/>
                  <a:gd name="T40" fmla="*/ 483 w 611"/>
                  <a:gd name="T41" fmla="*/ 404 h 497"/>
                  <a:gd name="T42" fmla="*/ 483 w 611"/>
                  <a:gd name="T43" fmla="*/ 419 h 497"/>
                  <a:gd name="T44" fmla="*/ 490 w 611"/>
                  <a:gd name="T45" fmla="*/ 447 h 497"/>
                  <a:gd name="T46" fmla="*/ 440 w 611"/>
                  <a:gd name="T47" fmla="*/ 447 h 497"/>
                  <a:gd name="T48" fmla="*/ 384 w 611"/>
                  <a:gd name="T49" fmla="*/ 411 h 497"/>
                  <a:gd name="T50" fmla="*/ 384 w 611"/>
                  <a:gd name="T51" fmla="*/ 433 h 497"/>
                  <a:gd name="T52" fmla="*/ 384 w 611"/>
                  <a:gd name="T53" fmla="*/ 482 h 497"/>
                  <a:gd name="T54" fmla="*/ 355 w 611"/>
                  <a:gd name="T55" fmla="*/ 475 h 497"/>
                  <a:gd name="T56" fmla="*/ 306 w 611"/>
                  <a:gd name="T57" fmla="*/ 475 h 497"/>
                  <a:gd name="T58" fmla="*/ 249 w 611"/>
                  <a:gd name="T59" fmla="*/ 482 h 497"/>
                  <a:gd name="T60" fmla="*/ 242 w 611"/>
                  <a:gd name="T61" fmla="*/ 433 h 497"/>
                  <a:gd name="T62" fmla="*/ 178 w 611"/>
                  <a:gd name="T63" fmla="*/ 440 h 497"/>
                  <a:gd name="T64" fmla="*/ 135 w 611"/>
                  <a:gd name="T65" fmla="*/ 447 h 497"/>
                  <a:gd name="T66" fmla="*/ 107 w 611"/>
                  <a:gd name="T67" fmla="*/ 411 h 497"/>
                  <a:gd name="T68" fmla="*/ 135 w 611"/>
                  <a:gd name="T69" fmla="*/ 383 h 497"/>
                  <a:gd name="T70" fmla="*/ 149 w 611"/>
                  <a:gd name="T71" fmla="*/ 355 h 497"/>
                  <a:gd name="T72" fmla="*/ 121 w 611"/>
                  <a:gd name="T73" fmla="*/ 355 h 497"/>
                  <a:gd name="T74" fmla="*/ 107 w 611"/>
                  <a:gd name="T75" fmla="*/ 333 h 497"/>
                  <a:gd name="T76" fmla="*/ 93 w 611"/>
                  <a:gd name="T77" fmla="*/ 298 h 497"/>
                  <a:gd name="T78" fmla="*/ 100 w 611"/>
                  <a:gd name="T79" fmla="*/ 262 h 497"/>
                  <a:gd name="T80" fmla="*/ 85 w 611"/>
                  <a:gd name="T81" fmla="*/ 270 h 497"/>
                  <a:gd name="T82" fmla="*/ 57 w 611"/>
                  <a:gd name="T83" fmla="*/ 255 h 497"/>
                  <a:gd name="T84" fmla="*/ 29 w 611"/>
                  <a:gd name="T85" fmla="*/ 199 h 497"/>
                  <a:gd name="T86" fmla="*/ 14 w 611"/>
                  <a:gd name="T87" fmla="*/ 163 h 497"/>
                  <a:gd name="T88" fmla="*/ 7 w 611"/>
                  <a:gd name="T89" fmla="*/ 135 h 497"/>
                  <a:gd name="T90" fmla="*/ 78 w 611"/>
                  <a:gd name="T91" fmla="*/ 128 h 497"/>
                  <a:gd name="T92" fmla="*/ 107 w 611"/>
                  <a:gd name="T93" fmla="*/ 142 h 497"/>
                  <a:gd name="T94" fmla="*/ 114 w 611"/>
                  <a:gd name="T95" fmla="*/ 135 h 497"/>
                  <a:gd name="T96" fmla="*/ 135 w 611"/>
                  <a:gd name="T97" fmla="*/ 142 h 497"/>
                  <a:gd name="T98" fmla="*/ 164 w 611"/>
                  <a:gd name="T99" fmla="*/ 163 h 497"/>
                  <a:gd name="T100" fmla="*/ 185 w 611"/>
                  <a:gd name="T101" fmla="*/ 142 h 497"/>
                  <a:gd name="T102" fmla="*/ 213 w 611"/>
                  <a:gd name="T103" fmla="*/ 156 h 497"/>
                  <a:gd name="T104" fmla="*/ 249 w 611"/>
                  <a:gd name="T105" fmla="*/ 142 h 497"/>
                  <a:gd name="T106" fmla="*/ 298 w 611"/>
                  <a:gd name="T107" fmla="*/ 128 h 497"/>
                  <a:gd name="T108" fmla="*/ 313 w 611"/>
                  <a:gd name="T109" fmla="*/ 106 h 497"/>
                  <a:gd name="T110" fmla="*/ 362 w 611"/>
                  <a:gd name="T111" fmla="*/ 92 h 497"/>
                  <a:gd name="T112" fmla="*/ 384 w 611"/>
                  <a:gd name="T113" fmla="*/ 113 h 497"/>
                  <a:gd name="T114" fmla="*/ 419 w 611"/>
                  <a:gd name="T115" fmla="*/ 142 h 497"/>
                  <a:gd name="T116" fmla="*/ 455 w 611"/>
                  <a:gd name="T117" fmla="*/ 120 h 497"/>
                  <a:gd name="T118" fmla="*/ 490 w 611"/>
                  <a:gd name="T119" fmla="*/ 113 h 497"/>
                  <a:gd name="T120" fmla="*/ 504 w 611"/>
                  <a:gd name="T121" fmla="*/ 71 h 497"/>
                  <a:gd name="T122" fmla="*/ 526 w 611"/>
                  <a:gd name="T123" fmla="*/ 21 h 497"/>
                  <a:gd name="T124" fmla="*/ 547 w 611"/>
                  <a:gd name="T125" fmla="*/ 0 h 4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11" h="497">
                    <a:moveTo>
                      <a:pt x="582" y="14"/>
                    </a:moveTo>
                    <a:lnTo>
                      <a:pt x="582" y="14"/>
                    </a:lnTo>
                    <a:lnTo>
                      <a:pt x="589" y="14"/>
                    </a:lnTo>
                    <a:lnTo>
                      <a:pt x="589" y="14"/>
                    </a:lnTo>
                    <a:lnTo>
                      <a:pt x="589" y="14"/>
                    </a:lnTo>
                    <a:lnTo>
                      <a:pt x="589" y="21"/>
                    </a:lnTo>
                    <a:lnTo>
                      <a:pt x="589" y="21"/>
                    </a:lnTo>
                    <a:lnTo>
                      <a:pt x="589" y="21"/>
                    </a:lnTo>
                    <a:lnTo>
                      <a:pt x="589" y="21"/>
                    </a:lnTo>
                    <a:lnTo>
                      <a:pt x="589" y="21"/>
                    </a:lnTo>
                    <a:lnTo>
                      <a:pt x="589" y="28"/>
                    </a:lnTo>
                    <a:lnTo>
                      <a:pt x="589" y="28"/>
                    </a:lnTo>
                    <a:lnTo>
                      <a:pt x="589" y="28"/>
                    </a:lnTo>
                    <a:lnTo>
                      <a:pt x="589" y="35"/>
                    </a:lnTo>
                    <a:lnTo>
                      <a:pt x="589" y="35"/>
                    </a:lnTo>
                    <a:lnTo>
                      <a:pt x="589" y="35"/>
                    </a:lnTo>
                    <a:lnTo>
                      <a:pt x="589" y="35"/>
                    </a:lnTo>
                    <a:lnTo>
                      <a:pt x="589" y="35"/>
                    </a:lnTo>
                    <a:lnTo>
                      <a:pt x="597" y="42"/>
                    </a:lnTo>
                    <a:lnTo>
                      <a:pt x="597" y="42"/>
                    </a:lnTo>
                    <a:lnTo>
                      <a:pt x="597" y="42"/>
                    </a:lnTo>
                    <a:lnTo>
                      <a:pt x="604" y="42"/>
                    </a:lnTo>
                    <a:lnTo>
                      <a:pt x="604" y="57"/>
                    </a:lnTo>
                    <a:lnTo>
                      <a:pt x="604" y="57"/>
                    </a:lnTo>
                    <a:lnTo>
                      <a:pt x="604" y="64"/>
                    </a:lnTo>
                    <a:lnTo>
                      <a:pt x="604" y="64"/>
                    </a:lnTo>
                    <a:lnTo>
                      <a:pt x="604" y="64"/>
                    </a:lnTo>
                    <a:lnTo>
                      <a:pt x="604" y="64"/>
                    </a:lnTo>
                    <a:lnTo>
                      <a:pt x="604" y="78"/>
                    </a:lnTo>
                    <a:lnTo>
                      <a:pt x="604" y="78"/>
                    </a:lnTo>
                    <a:lnTo>
                      <a:pt x="604" y="78"/>
                    </a:lnTo>
                    <a:lnTo>
                      <a:pt x="604" y="78"/>
                    </a:lnTo>
                    <a:lnTo>
                      <a:pt x="604" y="78"/>
                    </a:lnTo>
                    <a:lnTo>
                      <a:pt x="597" y="78"/>
                    </a:lnTo>
                    <a:lnTo>
                      <a:pt x="597" y="78"/>
                    </a:lnTo>
                    <a:lnTo>
                      <a:pt x="597" y="78"/>
                    </a:lnTo>
                    <a:lnTo>
                      <a:pt x="597" y="78"/>
                    </a:lnTo>
                    <a:lnTo>
                      <a:pt x="597" y="78"/>
                    </a:lnTo>
                    <a:lnTo>
                      <a:pt x="597" y="78"/>
                    </a:lnTo>
                    <a:lnTo>
                      <a:pt x="597" y="78"/>
                    </a:lnTo>
                    <a:lnTo>
                      <a:pt x="597" y="78"/>
                    </a:lnTo>
                    <a:lnTo>
                      <a:pt x="604" y="78"/>
                    </a:lnTo>
                    <a:lnTo>
                      <a:pt x="604" y="78"/>
                    </a:lnTo>
                    <a:lnTo>
                      <a:pt x="604" y="85"/>
                    </a:lnTo>
                    <a:lnTo>
                      <a:pt x="604" y="85"/>
                    </a:lnTo>
                    <a:lnTo>
                      <a:pt x="604" y="85"/>
                    </a:lnTo>
                    <a:lnTo>
                      <a:pt x="604" y="85"/>
                    </a:lnTo>
                    <a:lnTo>
                      <a:pt x="604" y="92"/>
                    </a:lnTo>
                    <a:lnTo>
                      <a:pt x="611" y="92"/>
                    </a:lnTo>
                    <a:lnTo>
                      <a:pt x="611" y="92"/>
                    </a:lnTo>
                    <a:lnTo>
                      <a:pt x="611" y="92"/>
                    </a:lnTo>
                    <a:lnTo>
                      <a:pt x="611" y="92"/>
                    </a:lnTo>
                    <a:lnTo>
                      <a:pt x="611" y="92"/>
                    </a:lnTo>
                    <a:lnTo>
                      <a:pt x="611" y="92"/>
                    </a:lnTo>
                    <a:lnTo>
                      <a:pt x="611" y="99"/>
                    </a:lnTo>
                    <a:lnTo>
                      <a:pt x="611" y="99"/>
                    </a:lnTo>
                    <a:lnTo>
                      <a:pt x="604" y="99"/>
                    </a:lnTo>
                    <a:lnTo>
                      <a:pt x="611" y="99"/>
                    </a:lnTo>
                    <a:lnTo>
                      <a:pt x="611" y="99"/>
                    </a:lnTo>
                    <a:lnTo>
                      <a:pt x="611" y="99"/>
                    </a:lnTo>
                    <a:lnTo>
                      <a:pt x="611" y="99"/>
                    </a:lnTo>
                    <a:lnTo>
                      <a:pt x="611" y="106"/>
                    </a:lnTo>
                    <a:lnTo>
                      <a:pt x="611" y="106"/>
                    </a:lnTo>
                    <a:lnTo>
                      <a:pt x="611" y="106"/>
                    </a:lnTo>
                    <a:lnTo>
                      <a:pt x="604" y="106"/>
                    </a:lnTo>
                    <a:lnTo>
                      <a:pt x="604" y="106"/>
                    </a:lnTo>
                    <a:lnTo>
                      <a:pt x="604" y="106"/>
                    </a:lnTo>
                    <a:lnTo>
                      <a:pt x="604" y="106"/>
                    </a:lnTo>
                    <a:lnTo>
                      <a:pt x="597" y="106"/>
                    </a:lnTo>
                    <a:lnTo>
                      <a:pt x="597" y="106"/>
                    </a:lnTo>
                    <a:lnTo>
                      <a:pt x="597" y="106"/>
                    </a:lnTo>
                    <a:lnTo>
                      <a:pt x="597" y="106"/>
                    </a:lnTo>
                    <a:lnTo>
                      <a:pt x="597" y="106"/>
                    </a:lnTo>
                    <a:lnTo>
                      <a:pt x="589" y="106"/>
                    </a:lnTo>
                    <a:lnTo>
                      <a:pt x="589" y="106"/>
                    </a:lnTo>
                    <a:lnTo>
                      <a:pt x="589" y="106"/>
                    </a:lnTo>
                    <a:lnTo>
                      <a:pt x="597" y="106"/>
                    </a:lnTo>
                    <a:lnTo>
                      <a:pt x="597" y="106"/>
                    </a:lnTo>
                    <a:lnTo>
                      <a:pt x="597" y="106"/>
                    </a:lnTo>
                    <a:lnTo>
                      <a:pt x="597" y="106"/>
                    </a:lnTo>
                    <a:lnTo>
                      <a:pt x="597" y="106"/>
                    </a:lnTo>
                    <a:lnTo>
                      <a:pt x="597" y="113"/>
                    </a:lnTo>
                    <a:lnTo>
                      <a:pt x="597" y="113"/>
                    </a:lnTo>
                    <a:lnTo>
                      <a:pt x="597" y="113"/>
                    </a:lnTo>
                    <a:lnTo>
                      <a:pt x="597" y="120"/>
                    </a:lnTo>
                    <a:lnTo>
                      <a:pt x="597" y="120"/>
                    </a:lnTo>
                    <a:lnTo>
                      <a:pt x="597" y="120"/>
                    </a:lnTo>
                    <a:lnTo>
                      <a:pt x="597" y="120"/>
                    </a:lnTo>
                    <a:lnTo>
                      <a:pt x="597" y="120"/>
                    </a:lnTo>
                    <a:lnTo>
                      <a:pt x="597" y="120"/>
                    </a:lnTo>
                    <a:lnTo>
                      <a:pt x="597" y="120"/>
                    </a:lnTo>
                    <a:lnTo>
                      <a:pt x="597" y="128"/>
                    </a:lnTo>
                    <a:lnTo>
                      <a:pt x="597" y="128"/>
                    </a:lnTo>
                    <a:lnTo>
                      <a:pt x="597" y="128"/>
                    </a:lnTo>
                    <a:lnTo>
                      <a:pt x="597" y="128"/>
                    </a:lnTo>
                    <a:lnTo>
                      <a:pt x="597" y="142"/>
                    </a:lnTo>
                    <a:lnTo>
                      <a:pt x="589" y="149"/>
                    </a:lnTo>
                    <a:lnTo>
                      <a:pt x="589" y="149"/>
                    </a:lnTo>
                    <a:lnTo>
                      <a:pt x="582" y="149"/>
                    </a:lnTo>
                    <a:lnTo>
                      <a:pt x="582" y="149"/>
                    </a:lnTo>
                    <a:lnTo>
                      <a:pt x="582" y="156"/>
                    </a:lnTo>
                    <a:lnTo>
                      <a:pt x="582" y="156"/>
                    </a:lnTo>
                    <a:lnTo>
                      <a:pt x="582" y="156"/>
                    </a:lnTo>
                    <a:lnTo>
                      <a:pt x="582" y="156"/>
                    </a:lnTo>
                    <a:lnTo>
                      <a:pt x="582" y="156"/>
                    </a:lnTo>
                    <a:lnTo>
                      <a:pt x="582" y="163"/>
                    </a:lnTo>
                    <a:lnTo>
                      <a:pt x="582" y="163"/>
                    </a:lnTo>
                    <a:lnTo>
                      <a:pt x="582" y="163"/>
                    </a:lnTo>
                    <a:lnTo>
                      <a:pt x="582" y="163"/>
                    </a:lnTo>
                    <a:lnTo>
                      <a:pt x="582" y="163"/>
                    </a:lnTo>
                    <a:lnTo>
                      <a:pt x="582" y="163"/>
                    </a:lnTo>
                    <a:lnTo>
                      <a:pt x="582" y="163"/>
                    </a:lnTo>
                    <a:lnTo>
                      <a:pt x="582" y="163"/>
                    </a:lnTo>
                    <a:lnTo>
                      <a:pt x="582" y="163"/>
                    </a:lnTo>
                    <a:lnTo>
                      <a:pt x="582" y="163"/>
                    </a:lnTo>
                    <a:lnTo>
                      <a:pt x="575" y="163"/>
                    </a:lnTo>
                    <a:lnTo>
                      <a:pt x="575" y="163"/>
                    </a:lnTo>
                    <a:lnTo>
                      <a:pt x="575" y="170"/>
                    </a:lnTo>
                    <a:lnTo>
                      <a:pt x="575" y="170"/>
                    </a:lnTo>
                    <a:lnTo>
                      <a:pt x="575" y="170"/>
                    </a:lnTo>
                    <a:lnTo>
                      <a:pt x="575" y="177"/>
                    </a:lnTo>
                    <a:lnTo>
                      <a:pt x="575" y="177"/>
                    </a:lnTo>
                    <a:lnTo>
                      <a:pt x="568" y="177"/>
                    </a:lnTo>
                    <a:lnTo>
                      <a:pt x="568" y="170"/>
                    </a:lnTo>
                    <a:lnTo>
                      <a:pt x="568" y="170"/>
                    </a:lnTo>
                    <a:lnTo>
                      <a:pt x="568" y="170"/>
                    </a:lnTo>
                    <a:lnTo>
                      <a:pt x="561" y="170"/>
                    </a:lnTo>
                    <a:lnTo>
                      <a:pt x="561" y="170"/>
                    </a:lnTo>
                    <a:lnTo>
                      <a:pt x="561" y="177"/>
                    </a:lnTo>
                    <a:lnTo>
                      <a:pt x="561" y="177"/>
                    </a:lnTo>
                    <a:lnTo>
                      <a:pt x="561" y="184"/>
                    </a:lnTo>
                    <a:lnTo>
                      <a:pt x="561" y="184"/>
                    </a:lnTo>
                    <a:lnTo>
                      <a:pt x="561" y="184"/>
                    </a:lnTo>
                    <a:lnTo>
                      <a:pt x="561" y="184"/>
                    </a:lnTo>
                    <a:lnTo>
                      <a:pt x="561" y="191"/>
                    </a:lnTo>
                    <a:lnTo>
                      <a:pt x="561" y="191"/>
                    </a:lnTo>
                    <a:lnTo>
                      <a:pt x="561" y="191"/>
                    </a:lnTo>
                    <a:lnTo>
                      <a:pt x="554" y="191"/>
                    </a:lnTo>
                    <a:lnTo>
                      <a:pt x="554" y="191"/>
                    </a:lnTo>
                    <a:lnTo>
                      <a:pt x="547" y="191"/>
                    </a:lnTo>
                    <a:lnTo>
                      <a:pt x="547" y="191"/>
                    </a:lnTo>
                    <a:lnTo>
                      <a:pt x="540" y="191"/>
                    </a:lnTo>
                    <a:lnTo>
                      <a:pt x="540" y="191"/>
                    </a:lnTo>
                    <a:lnTo>
                      <a:pt x="540" y="191"/>
                    </a:lnTo>
                    <a:lnTo>
                      <a:pt x="540" y="184"/>
                    </a:lnTo>
                    <a:lnTo>
                      <a:pt x="540" y="184"/>
                    </a:lnTo>
                    <a:lnTo>
                      <a:pt x="540" y="184"/>
                    </a:lnTo>
                    <a:lnTo>
                      <a:pt x="540" y="184"/>
                    </a:lnTo>
                    <a:lnTo>
                      <a:pt x="533" y="184"/>
                    </a:lnTo>
                    <a:lnTo>
                      <a:pt x="533" y="191"/>
                    </a:lnTo>
                    <a:lnTo>
                      <a:pt x="533" y="191"/>
                    </a:lnTo>
                    <a:lnTo>
                      <a:pt x="526" y="191"/>
                    </a:lnTo>
                    <a:lnTo>
                      <a:pt x="533" y="191"/>
                    </a:lnTo>
                    <a:lnTo>
                      <a:pt x="533" y="191"/>
                    </a:lnTo>
                    <a:lnTo>
                      <a:pt x="533" y="191"/>
                    </a:lnTo>
                    <a:lnTo>
                      <a:pt x="533" y="199"/>
                    </a:lnTo>
                    <a:lnTo>
                      <a:pt x="533" y="199"/>
                    </a:lnTo>
                    <a:lnTo>
                      <a:pt x="533" y="199"/>
                    </a:lnTo>
                    <a:lnTo>
                      <a:pt x="540" y="199"/>
                    </a:lnTo>
                    <a:lnTo>
                      <a:pt x="540" y="199"/>
                    </a:lnTo>
                    <a:lnTo>
                      <a:pt x="540" y="206"/>
                    </a:lnTo>
                    <a:lnTo>
                      <a:pt x="540" y="206"/>
                    </a:lnTo>
                    <a:lnTo>
                      <a:pt x="540" y="206"/>
                    </a:lnTo>
                    <a:lnTo>
                      <a:pt x="533" y="206"/>
                    </a:lnTo>
                    <a:lnTo>
                      <a:pt x="533" y="206"/>
                    </a:lnTo>
                    <a:lnTo>
                      <a:pt x="533" y="206"/>
                    </a:lnTo>
                    <a:lnTo>
                      <a:pt x="533" y="206"/>
                    </a:lnTo>
                    <a:lnTo>
                      <a:pt x="533" y="213"/>
                    </a:lnTo>
                    <a:lnTo>
                      <a:pt x="533" y="213"/>
                    </a:lnTo>
                    <a:lnTo>
                      <a:pt x="533" y="213"/>
                    </a:lnTo>
                    <a:lnTo>
                      <a:pt x="533" y="220"/>
                    </a:lnTo>
                    <a:lnTo>
                      <a:pt x="533" y="220"/>
                    </a:lnTo>
                    <a:lnTo>
                      <a:pt x="533" y="213"/>
                    </a:lnTo>
                    <a:lnTo>
                      <a:pt x="526" y="213"/>
                    </a:lnTo>
                    <a:lnTo>
                      <a:pt x="526" y="213"/>
                    </a:lnTo>
                    <a:lnTo>
                      <a:pt x="526" y="213"/>
                    </a:lnTo>
                    <a:lnTo>
                      <a:pt x="526" y="213"/>
                    </a:lnTo>
                    <a:lnTo>
                      <a:pt x="518" y="213"/>
                    </a:lnTo>
                    <a:lnTo>
                      <a:pt x="518" y="213"/>
                    </a:lnTo>
                    <a:lnTo>
                      <a:pt x="518" y="213"/>
                    </a:lnTo>
                    <a:lnTo>
                      <a:pt x="518" y="213"/>
                    </a:lnTo>
                    <a:lnTo>
                      <a:pt x="518" y="213"/>
                    </a:lnTo>
                    <a:lnTo>
                      <a:pt x="518" y="213"/>
                    </a:lnTo>
                    <a:lnTo>
                      <a:pt x="526" y="220"/>
                    </a:lnTo>
                    <a:lnTo>
                      <a:pt x="526" y="220"/>
                    </a:lnTo>
                    <a:lnTo>
                      <a:pt x="526" y="220"/>
                    </a:lnTo>
                    <a:lnTo>
                      <a:pt x="526" y="220"/>
                    </a:lnTo>
                    <a:lnTo>
                      <a:pt x="518" y="227"/>
                    </a:lnTo>
                    <a:lnTo>
                      <a:pt x="511" y="220"/>
                    </a:lnTo>
                    <a:lnTo>
                      <a:pt x="511" y="220"/>
                    </a:lnTo>
                    <a:lnTo>
                      <a:pt x="504" y="220"/>
                    </a:lnTo>
                    <a:lnTo>
                      <a:pt x="504" y="213"/>
                    </a:lnTo>
                    <a:lnTo>
                      <a:pt x="504" y="213"/>
                    </a:lnTo>
                    <a:lnTo>
                      <a:pt x="497" y="213"/>
                    </a:lnTo>
                    <a:lnTo>
                      <a:pt x="497" y="213"/>
                    </a:lnTo>
                    <a:lnTo>
                      <a:pt x="497" y="213"/>
                    </a:lnTo>
                    <a:lnTo>
                      <a:pt x="490" y="213"/>
                    </a:lnTo>
                    <a:lnTo>
                      <a:pt x="483" y="206"/>
                    </a:lnTo>
                    <a:lnTo>
                      <a:pt x="483" y="206"/>
                    </a:lnTo>
                    <a:lnTo>
                      <a:pt x="483" y="213"/>
                    </a:lnTo>
                    <a:lnTo>
                      <a:pt x="483" y="213"/>
                    </a:lnTo>
                    <a:lnTo>
                      <a:pt x="483" y="213"/>
                    </a:lnTo>
                    <a:lnTo>
                      <a:pt x="483" y="213"/>
                    </a:lnTo>
                    <a:lnTo>
                      <a:pt x="483" y="213"/>
                    </a:lnTo>
                    <a:lnTo>
                      <a:pt x="483" y="213"/>
                    </a:lnTo>
                    <a:lnTo>
                      <a:pt x="483" y="213"/>
                    </a:lnTo>
                    <a:lnTo>
                      <a:pt x="476" y="220"/>
                    </a:lnTo>
                    <a:lnTo>
                      <a:pt x="476" y="220"/>
                    </a:lnTo>
                    <a:lnTo>
                      <a:pt x="476" y="220"/>
                    </a:lnTo>
                    <a:lnTo>
                      <a:pt x="476" y="220"/>
                    </a:lnTo>
                    <a:lnTo>
                      <a:pt x="476" y="227"/>
                    </a:lnTo>
                    <a:lnTo>
                      <a:pt x="476" y="227"/>
                    </a:lnTo>
                    <a:lnTo>
                      <a:pt x="476" y="227"/>
                    </a:lnTo>
                    <a:lnTo>
                      <a:pt x="476" y="227"/>
                    </a:lnTo>
                    <a:lnTo>
                      <a:pt x="476" y="234"/>
                    </a:lnTo>
                    <a:lnTo>
                      <a:pt x="476" y="234"/>
                    </a:lnTo>
                    <a:lnTo>
                      <a:pt x="469" y="241"/>
                    </a:lnTo>
                    <a:lnTo>
                      <a:pt x="455" y="241"/>
                    </a:lnTo>
                    <a:lnTo>
                      <a:pt x="447" y="241"/>
                    </a:lnTo>
                    <a:lnTo>
                      <a:pt x="440" y="248"/>
                    </a:lnTo>
                    <a:lnTo>
                      <a:pt x="433" y="248"/>
                    </a:lnTo>
                    <a:lnTo>
                      <a:pt x="426" y="255"/>
                    </a:lnTo>
                    <a:lnTo>
                      <a:pt x="419" y="255"/>
                    </a:lnTo>
                    <a:lnTo>
                      <a:pt x="419" y="262"/>
                    </a:lnTo>
                    <a:lnTo>
                      <a:pt x="419" y="262"/>
                    </a:lnTo>
                    <a:lnTo>
                      <a:pt x="419" y="262"/>
                    </a:lnTo>
                    <a:lnTo>
                      <a:pt x="419" y="262"/>
                    </a:lnTo>
                    <a:lnTo>
                      <a:pt x="419" y="270"/>
                    </a:lnTo>
                    <a:lnTo>
                      <a:pt x="419" y="270"/>
                    </a:lnTo>
                    <a:lnTo>
                      <a:pt x="419" y="270"/>
                    </a:lnTo>
                    <a:lnTo>
                      <a:pt x="412" y="270"/>
                    </a:lnTo>
                    <a:lnTo>
                      <a:pt x="412" y="270"/>
                    </a:lnTo>
                    <a:lnTo>
                      <a:pt x="412" y="270"/>
                    </a:lnTo>
                    <a:lnTo>
                      <a:pt x="412" y="270"/>
                    </a:lnTo>
                    <a:lnTo>
                      <a:pt x="412" y="270"/>
                    </a:lnTo>
                    <a:lnTo>
                      <a:pt x="412" y="277"/>
                    </a:lnTo>
                    <a:lnTo>
                      <a:pt x="412" y="277"/>
                    </a:lnTo>
                    <a:lnTo>
                      <a:pt x="405" y="277"/>
                    </a:lnTo>
                    <a:lnTo>
                      <a:pt x="405" y="284"/>
                    </a:lnTo>
                    <a:lnTo>
                      <a:pt x="405" y="284"/>
                    </a:lnTo>
                    <a:lnTo>
                      <a:pt x="398" y="277"/>
                    </a:lnTo>
                    <a:lnTo>
                      <a:pt x="398" y="277"/>
                    </a:lnTo>
                    <a:lnTo>
                      <a:pt x="398" y="277"/>
                    </a:lnTo>
                    <a:lnTo>
                      <a:pt x="391" y="277"/>
                    </a:lnTo>
                    <a:lnTo>
                      <a:pt x="391" y="277"/>
                    </a:lnTo>
                    <a:lnTo>
                      <a:pt x="391" y="277"/>
                    </a:lnTo>
                    <a:lnTo>
                      <a:pt x="391" y="277"/>
                    </a:lnTo>
                    <a:lnTo>
                      <a:pt x="384" y="270"/>
                    </a:lnTo>
                    <a:lnTo>
                      <a:pt x="384" y="270"/>
                    </a:lnTo>
                    <a:lnTo>
                      <a:pt x="384" y="270"/>
                    </a:lnTo>
                    <a:lnTo>
                      <a:pt x="384" y="270"/>
                    </a:lnTo>
                    <a:lnTo>
                      <a:pt x="391" y="262"/>
                    </a:lnTo>
                    <a:lnTo>
                      <a:pt x="384" y="262"/>
                    </a:lnTo>
                    <a:lnTo>
                      <a:pt x="384" y="262"/>
                    </a:lnTo>
                    <a:lnTo>
                      <a:pt x="377" y="255"/>
                    </a:lnTo>
                    <a:lnTo>
                      <a:pt x="377" y="255"/>
                    </a:lnTo>
                    <a:lnTo>
                      <a:pt x="369" y="255"/>
                    </a:lnTo>
                    <a:lnTo>
                      <a:pt x="369" y="255"/>
                    </a:lnTo>
                    <a:lnTo>
                      <a:pt x="369" y="262"/>
                    </a:lnTo>
                    <a:lnTo>
                      <a:pt x="369" y="262"/>
                    </a:lnTo>
                    <a:lnTo>
                      <a:pt x="369" y="262"/>
                    </a:lnTo>
                    <a:lnTo>
                      <a:pt x="369" y="262"/>
                    </a:lnTo>
                    <a:lnTo>
                      <a:pt x="369" y="270"/>
                    </a:lnTo>
                    <a:lnTo>
                      <a:pt x="369" y="270"/>
                    </a:lnTo>
                    <a:lnTo>
                      <a:pt x="369" y="270"/>
                    </a:lnTo>
                    <a:lnTo>
                      <a:pt x="369" y="270"/>
                    </a:lnTo>
                    <a:lnTo>
                      <a:pt x="369" y="270"/>
                    </a:lnTo>
                    <a:lnTo>
                      <a:pt x="362" y="270"/>
                    </a:lnTo>
                    <a:lnTo>
                      <a:pt x="362" y="277"/>
                    </a:lnTo>
                    <a:lnTo>
                      <a:pt x="355" y="277"/>
                    </a:lnTo>
                    <a:lnTo>
                      <a:pt x="348" y="277"/>
                    </a:lnTo>
                    <a:lnTo>
                      <a:pt x="348" y="277"/>
                    </a:lnTo>
                    <a:lnTo>
                      <a:pt x="348" y="277"/>
                    </a:lnTo>
                    <a:lnTo>
                      <a:pt x="348" y="277"/>
                    </a:lnTo>
                    <a:lnTo>
                      <a:pt x="348" y="284"/>
                    </a:lnTo>
                    <a:lnTo>
                      <a:pt x="348" y="284"/>
                    </a:lnTo>
                    <a:lnTo>
                      <a:pt x="348" y="284"/>
                    </a:lnTo>
                    <a:lnTo>
                      <a:pt x="348" y="284"/>
                    </a:lnTo>
                    <a:lnTo>
                      <a:pt x="348" y="284"/>
                    </a:lnTo>
                    <a:lnTo>
                      <a:pt x="355" y="284"/>
                    </a:lnTo>
                    <a:lnTo>
                      <a:pt x="355" y="284"/>
                    </a:lnTo>
                    <a:lnTo>
                      <a:pt x="355" y="284"/>
                    </a:lnTo>
                    <a:lnTo>
                      <a:pt x="355" y="284"/>
                    </a:lnTo>
                    <a:lnTo>
                      <a:pt x="355" y="291"/>
                    </a:lnTo>
                    <a:lnTo>
                      <a:pt x="355" y="291"/>
                    </a:lnTo>
                    <a:lnTo>
                      <a:pt x="355" y="291"/>
                    </a:lnTo>
                    <a:lnTo>
                      <a:pt x="355" y="298"/>
                    </a:lnTo>
                    <a:lnTo>
                      <a:pt x="355" y="298"/>
                    </a:lnTo>
                    <a:lnTo>
                      <a:pt x="355" y="298"/>
                    </a:lnTo>
                    <a:lnTo>
                      <a:pt x="348" y="305"/>
                    </a:lnTo>
                    <a:lnTo>
                      <a:pt x="348" y="305"/>
                    </a:lnTo>
                    <a:lnTo>
                      <a:pt x="348" y="312"/>
                    </a:lnTo>
                    <a:lnTo>
                      <a:pt x="348" y="312"/>
                    </a:lnTo>
                    <a:lnTo>
                      <a:pt x="355" y="319"/>
                    </a:lnTo>
                    <a:lnTo>
                      <a:pt x="355" y="319"/>
                    </a:lnTo>
                    <a:lnTo>
                      <a:pt x="355" y="319"/>
                    </a:lnTo>
                    <a:lnTo>
                      <a:pt x="355" y="319"/>
                    </a:lnTo>
                    <a:lnTo>
                      <a:pt x="362" y="326"/>
                    </a:lnTo>
                    <a:lnTo>
                      <a:pt x="362" y="319"/>
                    </a:lnTo>
                    <a:lnTo>
                      <a:pt x="369" y="319"/>
                    </a:lnTo>
                    <a:lnTo>
                      <a:pt x="369" y="319"/>
                    </a:lnTo>
                    <a:lnTo>
                      <a:pt x="369" y="319"/>
                    </a:lnTo>
                    <a:lnTo>
                      <a:pt x="377" y="319"/>
                    </a:lnTo>
                    <a:lnTo>
                      <a:pt x="377" y="326"/>
                    </a:lnTo>
                    <a:lnTo>
                      <a:pt x="398" y="341"/>
                    </a:lnTo>
                    <a:lnTo>
                      <a:pt x="398" y="341"/>
                    </a:lnTo>
                    <a:lnTo>
                      <a:pt x="398" y="348"/>
                    </a:lnTo>
                    <a:lnTo>
                      <a:pt x="405" y="348"/>
                    </a:lnTo>
                    <a:lnTo>
                      <a:pt x="405" y="341"/>
                    </a:lnTo>
                    <a:lnTo>
                      <a:pt x="405" y="341"/>
                    </a:lnTo>
                    <a:lnTo>
                      <a:pt x="412" y="341"/>
                    </a:lnTo>
                    <a:lnTo>
                      <a:pt x="419" y="341"/>
                    </a:lnTo>
                    <a:lnTo>
                      <a:pt x="440" y="341"/>
                    </a:lnTo>
                    <a:lnTo>
                      <a:pt x="440" y="341"/>
                    </a:lnTo>
                    <a:lnTo>
                      <a:pt x="440" y="348"/>
                    </a:lnTo>
                    <a:lnTo>
                      <a:pt x="440" y="348"/>
                    </a:lnTo>
                    <a:lnTo>
                      <a:pt x="440" y="348"/>
                    </a:lnTo>
                    <a:lnTo>
                      <a:pt x="440" y="348"/>
                    </a:lnTo>
                    <a:lnTo>
                      <a:pt x="440" y="348"/>
                    </a:lnTo>
                    <a:lnTo>
                      <a:pt x="440" y="348"/>
                    </a:lnTo>
                    <a:lnTo>
                      <a:pt x="447" y="348"/>
                    </a:lnTo>
                    <a:lnTo>
                      <a:pt x="447" y="348"/>
                    </a:lnTo>
                    <a:lnTo>
                      <a:pt x="447" y="348"/>
                    </a:lnTo>
                    <a:lnTo>
                      <a:pt x="447" y="348"/>
                    </a:lnTo>
                    <a:lnTo>
                      <a:pt x="440" y="348"/>
                    </a:lnTo>
                    <a:lnTo>
                      <a:pt x="440" y="348"/>
                    </a:lnTo>
                    <a:lnTo>
                      <a:pt x="440" y="348"/>
                    </a:lnTo>
                    <a:lnTo>
                      <a:pt x="440" y="348"/>
                    </a:lnTo>
                    <a:lnTo>
                      <a:pt x="433" y="348"/>
                    </a:lnTo>
                    <a:lnTo>
                      <a:pt x="433" y="355"/>
                    </a:lnTo>
                    <a:lnTo>
                      <a:pt x="433" y="355"/>
                    </a:lnTo>
                    <a:lnTo>
                      <a:pt x="433" y="355"/>
                    </a:lnTo>
                    <a:lnTo>
                      <a:pt x="433" y="355"/>
                    </a:lnTo>
                    <a:lnTo>
                      <a:pt x="433" y="355"/>
                    </a:lnTo>
                    <a:lnTo>
                      <a:pt x="433" y="362"/>
                    </a:lnTo>
                    <a:lnTo>
                      <a:pt x="433" y="362"/>
                    </a:lnTo>
                    <a:lnTo>
                      <a:pt x="433" y="362"/>
                    </a:lnTo>
                    <a:lnTo>
                      <a:pt x="433" y="369"/>
                    </a:lnTo>
                    <a:lnTo>
                      <a:pt x="433" y="369"/>
                    </a:lnTo>
                    <a:lnTo>
                      <a:pt x="433" y="376"/>
                    </a:lnTo>
                    <a:lnTo>
                      <a:pt x="433" y="376"/>
                    </a:lnTo>
                    <a:lnTo>
                      <a:pt x="440" y="383"/>
                    </a:lnTo>
                    <a:lnTo>
                      <a:pt x="440" y="383"/>
                    </a:lnTo>
                    <a:lnTo>
                      <a:pt x="447" y="383"/>
                    </a:lnTo>
                    <a:lnTo>
                      <a:pt x="447" y="383"/>
                    </a:lnTo>
                    <a:lnTo>
                      <a:pt x="447" y="383"/>
                    </a:lnTo>
                    <a:lnTo>
                      <a:pt x="447" y="383"/>
                    </a:lnTo>
                    <a:lnTo>
                      <a:pt x="462" y="390"/>
                    </a:lnTo>
                    <a:lnTo>
                      <a:pt x="462" y="397"/>
                    </a:lnTo>
                    <a:lnTo>
                      <a:pt x="462" y="397"/>
                    </a:lnTo>
                    <a:lnTo>
                      <a:pt x="462" y="404"/>
                    </a:lnTo>
                    <a:lnTo>
                      <a:pt x="469" y="404"/>
                    </a:lnTo>
                    <a:lnTo>
                      <a:pt x="469" y="404"/>
                    </a:lnTo>
                    <a:lnTo>
                      <a:pt x="476" y="404"/>
                    </a:lnTo>
                    <a:lnTo>
                      <a:pt x="476" y="404"/>
                    </a:lnTo>
                    <a:lnTo>
                      <a:pt x="483" y="404"/>
                    </a:lnTo>
                    <a:lnTo>
                      <a:pt x="483" y="404"/>
                    </a:lnTo>
                    <a:lnTo>
                      <a:pt x="483" y="411"/>
                    </a:lnTo>
                    <a:lnTo>
                      <a:pt x="483" y="411"/>
                    </a:lnTo>
                    <a:lnTo>
                      <a:pt x="483" y="411"/>
                    </a:lnTo>
                    <a:lnTo>
                      <a:pt x="483" y="411"/>
                    </a:lnTo>
                    <a:lnTo>
                      <a:pt x="483" y="419"/>
                    </a:lnTo>
                    <a:lnTo>
                      <a:pt x="483" y="419"/>
                    </a:lnTo>
                    <a:lnTo>
                      <a:pt x="483" y="419"/>
                    </a:lnTo>
                    <a:lnTo>
                      <a:pt x="483" y="419"/>
                    </a:lnTo>
                    <a:lnTo>
                      <a:pt x="476" y="419"/>
                    </a:lnTo>
                    <a:lnTo>
                      <a:pt x="476" y="419"/>
                    </a:lnTo>
                    <a:lnTo>
                      <a:pt x="476" y="419"/>
                    </a:lnTo>
                    <a:lnTo>
                      <a:pt x="476" y="419"/>
                    </a:lnTo>
                    <a:lnTo>
                      <a:pt x="476" y="419"/>
                    </a:lnTo>
                    <a:lnTo>
                      <a:pt x="476" y="419"/>
                    </a:lnTo>
                    <a:lnTo>
                      <a:pt x="476" y="419"/>
                    </a:lnTo>
                    <a:lnTo>
                      <a:pt x="483" y="419"/>
                    </a:lnTo>
                    <a:lnTo>
                      <a:pt x="483" y="419"/>
                    </a:lnTo>
                    <a:lnTo>
                      <a:pt x="483" y="426"/>
                    </a:lnTo>
                    <a:lnTo>
                      <a:pt x="483" y="426"/>
                    </a:lnTo>
                    <a:lnTo>
                      <a:pt x="490" y="426"/>
                    </a:lnTo>
                    <a:lnTo>
                      <a:pt x="490" y="426"/>
                    </a:lnTo>
                    <a:lnTo>
                      <a:pt x="490" y="433"/>
                    </a:lnTo>
                    <a:lnTo>
                      <a:pt x="490" y="433"/>
                    </a:lnTo>
                    <a:lnTo>
                      <a:pt x="490" y="440"/>
                    </a:lnTo>
                    <a:lnTo>
                      <a:pt x="497" y="440"/>
                    </a:lnTo>
                    <a:lnTo>
                      <a:pt x="497" y="440"/>
                    </a:lnTo>
                    <a:lnTo>
                      <a:pt x="497" y="447"/>
                    </a:lnTo>
                    <a:lnTo>
                      <a:pt x="497" y="447"/>
                    </a:lnTo>
                    <a:lnTo>
                      <a:pt x="497" y="447"/>
                    </a:lnTo>
                    <a:lnTo>
                      <a:pt x="497" y="447"/>
                    </a:lnTo>
                    <a:lnTo>
                      <a:pt x="490" y="447"/>
                    </a:lnTo>
                    <a:lnTo>
                      <a:pt x="490" y="447"/>
                    </a:lnTo>
                    <a:lnTo>
                      <a:pt x="490" y="447"/>
                    </a:lnTo>
                    <a:lnTo>
                      <a:pt x="490" y="447"/>
                    </a:lnTo>
                    <a:lnTo>
                      <a:pt x="490" y="454"/>
                    </a:lnTo>
                    <a:lnTo>
                      <a:pt x="490" y="454"/>
                    </a:lnTo>
                    <a:lnTo>
                      <a:pt x="490" y="454"/>
                    </a:lnTo>
                    <a:lnTo>
                      <a:pt x="490" y="454"/>
                    </a:lnTo>
                    <a:lnTo>
                      <a:pt x="483" y="454"/>
                    </a:lnTo>
                    <a:lnTo>
                      <a:pt x="483" y="454"/>
                    </a:lnTo>
                    <a:lnTo>
                      <a:pt x="483" y="454"/>
                    </a:lnTo>
                    <a:lnTo>
                      <a:pt x="483" y="454"/>
                    </a:lnTo>
                    <a:lnTo>
                      <a:pt x="476" y="454"/>
                    </a:lnTo>
                    <a:lnTo>
                      <a:pt x="476" y="461"/>
                    </a:lnTo>
                    <a:lnTo>
                      <a:pt x="476" y="454"/>
                    </a:lnTo>
                    <a:lnTo>
                      <a:pt x="469" y="447"/>
                    </a:lnTo>
                    <a:lnTo>
                      <a:pt x="455" y="440"/>
                    </a:lnTo>
                    <a:lnTo>
                      <a:pt x="447" y="440"/>
                    </a:lnTo>
                    <a:lnTo>
                      <a:pt x="447" y="440"/>
                    </a:lnTo>
                    <a:lnTo>
                      <a:pt x="447" y="440"/>
                    </a:lnTo>
                    <a:lnTo>
                      <a:pt x="440" y="447"/>
                    </a:lnTo>
                    <a:lnTo>
                      <a:pt x="440" y="447"/>
                    </a:lnTo>
                    <a:lnTo>
                      <a:pt x="440" y="447"/>
                    </a:lnTo>
                    <a:lnTo>
                      <a:pt x="433" y="447"/>
                    </a:lnTo>
                    <a:lnTo>
                      <a:pt x="433" y="440"/>
                    </a:lnTo>
                    <a:lnTo>
                      <a:pt x="433" y="440"/>
                    </a:lnTo>
                    <a:lnTo>
                      <a:pt x="426" y="440"/>
                    </a:lnTo>
                    <a:lnTo>
                      <a:pt x="426" y="440"/>
                    </a:lnTo>
                    <a:lnTo>
                      <a:pt x="426" y="433"/>
                    </a:lnTo>
                    <a:lnTo>
                      <a:pt x="419" y="433"/>
                    </a:lnTo>
                    <a:lnTo>
                      <a:pt x="419" y="433"/>
                    </a:lnTo>
                    <a:lnTo>
                      <a:pt x="398" y="419"/>
                    </a:lnTo>
                    <a:lnTo>
                      <a:pt x="391" y="411"/>
                    </a:lnTo>
                    <a:lnTo>
                      <a:pt x="391" y="411"/>
                    </a:lnTo>
                    <a:lnTo>
                      <a:pt x="391" y="411"/>
                    </a:lnTo>
                    <a:lnTo>
                      <a:pt x="384" y="411"/>
                    </a:lnTo>
                    <a:lnTo>
                      <a:pt x="384" y="411"/>
                    </a:lnTo>
                    <a:lnTo>
                      <a:pt x="384" y="411"/>
                    </a:lnTo>
                    <a:lnTo>
                      <a:pt x="384" y="419"/>
                    </a:lnTo>
                    <a:lnTo>
                      <a:pt x="384" y="419"/>
                    </a:lnTo>
                    <a:lnTo>
                      <a:pt x="384" y="419"/>
                    </a:lnTo>
                    <a:lnTo>
                      <a:pt x="377" y="419"/>
                    </a:lnTo>
                    <a:lnTo>
                      <a:pt x="377" y="419"/>
                    </a:lnTo>
                    <a:lnTo>
                      <a:pt x="377" y="419"/>
                    </a:lnTo>
                    <a:lnTo>
                      <a:pt x="377" y="419"/>
                    </a:lnTo>
                    <a:lnTo>
                      <a:pt x="377" y="419"/>
                    </a:lnTo>
                    <a:lnTo>
                      <a:pt x="369" y="419"/>
                    </a:lnTo>
                    <a:lnTo>
                      <a:pt x="369" y="419"/>
                    </a:lnTo>
                    <a:lnTo>
                      <a:pt x="369" y="419"/>
                    </a:lnTo>
                    <a:lnTo>
                      <a:pt x="369" y="419"/>
                    </a:lnTo>
                    <a:lnTo>
                      <a:pt x="377" y="426"/>
                    </a:lnTo>
                    <a:lnTo>
                      <a:pt x="377" y="426"/>
                    </a:lnTo>
                    <a:lnTo>
                      <a:pt x="377" y="433"/>
                    </a:lnTo>
                    <a:lnTo>
                      <a:pt x="377" y="433"/>
                    </a:lnTo>
                    <a:lnTo>
                      <a:pt x="384" y="433"/>
                    </a:lnTo>
                    <a:lnTo>
                      <a:pt x="384" y="447"/>
                    </a:lnTo>
                    <a:lnTo>
                      <a:pt x="384" y="447"/>
                    </a:lnTo>
                    <a:lnTo>
                      <a:pt x="384" y="447"/>
                    </a:lnTo>
                    <a:lnTo>
                      <a:pt x="377" y="454"/>
                    </a:lnTo>
                    <a:lnTo>
                      <a:pt x="377" y="454"/>
                    </a:lnTo>
                    <a:lnTo>
                      <a:pt x="377" y="454"/>
                    </a:lnTo>
                    <a:lnTo>
                      <a:pt x="384" y="461"/>
                    </a:lnTo>
                    <a:lnTo>
                      <a:pt x="384" y="461"/>
                    </a:lnTo>
                    <a:lnTo>
                      <a:pt x="384" y="468"/>
                    </a:lnTo>
                    <a:lnTo>
                      <a:pt x="384" y="468"/>
                    </a:lnTo>
                    <a:lnTo>
                      <a:pt x="384" y="468"/>
                    </a:lnTo>
                    <a:lnTo>
                      <a:pt x="384" y="475"/>
                    </a:lnTo>
                    <a:lnTo>
                      <a:pt x="384" y="475"/>
                    </a:lnTo>
                    <a:lnTo>
                      <a:pt x="384" y="475"/>
                    </a:lnTo>
                    <a:lnTo>
                      <a:pt x="384" y="475"/>
                    </a:lnTo>
                    <a:lnTo>
                      <a:pt x="384" y="475"/>
                    </a:lnTo>
                    <a:lnTo>
                      <a:pt x="384" y="482"/>
                    </a:lnTo>
                    <a:lnTo>
                      <a:pt x="377" y="490"/>
                    </a:lnTo>
                    <a:lnTo>
                      <a:pt x="369" y="490"/>
                    </a:lnTo>
                    <a:lnTo>
                      <a:pt x="369" y="497"/>
                    </a:lnTo>
                    <a:lnTo>
                      <a:pt x="362" y="497"/>
                    </a:lnTo>
                    <a:lnTo>
                      <a:pt x="355" y="490"/>
                    </a:lnTo>
                    <a:lnTo>
                      <a:pt x="355" y="490"/>
                    </a:lnTo>
                    <a:lnTo>
                      <a:pt x="355" y="490"/>
                    </a:lnTo>
                    <a:lnTo>
                      <a:pt x="355" y="490"/>
                    </a:lnTo>
                    <a:lnTo>
                      <a:pt x="355" y="482"/>
                    </a:lnTo>
                    <a:lnTo>
                      <a:pt x="355" y="482"/>
                    </a:lnTo>
                    <a:lnTo>
                      <a:pt x="355" y="482"/>
                    </a:lnTo>
                    <a:lnTo>
                      <a:pt x="355" y="482"/>
                    </a:lnTo>
                    <a:lnTo>
                      <a:pt x="355" y="475"/>
                    </a:lnTo>
                    <a:lnTo>
                      <a:pt x="355" y="475"/>
                    </a:lnTo>
                    <a:lnTo>
                      <a:pt x="355" y="475"/>
                    </a:lnTo>
                    <a:lnTo>
                      <a:pt x="355" y="475"/>
                    </a:lnTo>
                    <a:lnTo>
                      <a:pt x="355" y="475"/>
                    </a:lnTo>
                    <a:lnTo>
                      <a:pt x="355" y="475"/>
                    </a:lnTo>
                    <a:lnTo>
                      <a:pt x="355" y="475"/>
                    </a:lnTo>
                    <a:lnTo>
                      <a:pt x="348" y="482"/>
                    </a:lnTo>
                    <a:lnTo>
                      <a:pt x="348" y="482"/>
                    </a:lnTo>
                    <a:lnTo>
                      <a:pt x="348" y="482"/>
                    </a:lnTo>
                    <a:lnTo>
                      <a:pt x="348" y="482"/>
                    </a:lnTo>
                    <a:lnTo>
                      <a:pt x="341" y="482"/>
                    </a:lnTo>
                    <a:lnTo>
                      <a:pt x="341" y="482"/>
                    </a:lnTo>
                    <a:lnTo>
                      <a:pt x="341" y="482"/>
                    </a:lnTo>
                    <a:lnTo>
                      <a:pt x="334" y="482"/>
                    </a:lnTo>
                    <a:lnTo>
                      <a:pt x="327" y="482"/>
                    </a:lnTo>
                    <a:lnTo>
                      <a:pt x="313" y="475"/>
                    </a:lnTo>
                    <a:lnTo>
                      <a:pt x="313" y="468"/>
                    </a:lnTo>
                    <a:lnTo>
                      <a:pt x="306" y="468"/>
                    </a:lnTo>
                    <a:lnTo>
                      <a:pt x="306" y="468"/>
                    </a:lnTo>
                    <a:lnTo>
                      <a:pt x="306" y="475"/>
                    </a:lnTo>
                    <a:lnTo>
                      <a:pt x="306" y="475"/>
                    </a:lnTo>
                    <a:lnTo>
                      <a:pt x="298" y="475"/>
                    </a:lnTo>
                    <a:lnTo>
                      <a:pt x="291" y="475"/>
                    </a:lnTo>
                    <a:lnTo>
                      <a:pt x="291" y="475"/>
                    </a:lnTo>
                    <a:lnTo>
                      <a:pt x="284" y="482"/>
                    </a:lnTo>
                    <a:lnTo>
                      <a:pt x="284" y="490"/>
                    </a:lnTo>
                    <a:lnTo>
                      <a:pt x="277" y="490"/>
                    </a:lnTo>
                    <a:lnTo>
                      <a:pt x="277" y="490"/>
                    </a:lnTo>
                    <a:lnTo>
                      <a:pt x="277" y="490"/>
                    </a:lnTo>
                    <a:lnTo>
                      <a:pt x="277" y="490"/>
                    </a:lnTo>
                    <a:lnTo>
                      <a:pt x="277" y="490"/>
                    </a:lnTo>
                    <a:lnTo>
                      <a:pt x="263" y="482"/>
                    </a:lnTo>
                    <a:lnTo>
                      <a:pt x="263" y="482"/>
                    </a:lnTo>
                    <a:lnTo>
                      <a:pt x="256" y="482"/>
                    </a:lnTo>
                    <a:lnTo>
                      <a:pt x="256" y="482"/>
                    </a:lnTo>
                    <a:lnTo>
                      <a:pt x="256" y="482"/>
                    </a:lnTo>
                    <a:lnTo>
                      <a:pt x="256" y="482"/>
                    </a:lnTo>
                    <a:lnTo>
                      <a:pt x="249" y="482"/>
                    </a:lnTo>
                    <a:lnTo>
                      <a:pt x="249" y="482"/>
                    </a:lnTo>
                    <a:lnTo>
                      <a:pt x="249" y="482"/>
                    </a:lnTo>
                    <a:lnTo>
                      <a:pt x="249" y="482"/>
                    </a:lnTo>
                    <a:lnTo>
                      <a:pt x="249" y="475"/>
                    </a:lnTo>
                    <a:lnTo>
                      <a:pt x="249" y="475"/>
                    </a:lnTo>
                    <a:lnTo>
                      <a:pt x="249" y="475"/>
                    </a:lnTo>
                    <a:lnTo>
                      <a:pt x="256" y="468"/>
                    </a:lnTo>
                    <a:lnTo>
                      <a:pt x="256" y="454"/>
                    </a:lnTo>
                    <a:lnTo>
                      <a:pt x="263" y="454"/>
                    </a:lnTo>
                    <a:lnTo>
                      <a:pt x="263" y="454"/>
                    </a:lnTo>
                    <a:lnTo>
                      <a:pt x="263" y="447"/>
                    </a:lnTo>
                    <a:lnTo>
                      <a:pt x="263" y="447"/>
                    </a:lnTo>
                    <a:lnTo>
                      <a:pt x="263" y="440"/>
                    </a:lnTo>
                    <a:lnTo>
                      <a:pt x="256" y="433"/>
                    </a:lnTo>
                    <a:lnTo>
                      <a:pt x="256" y="426"/>
                    </a:lnTo>
                    <a:lnTo>
                      <a:pt x="249" y="426"/>
                    </a:lnTo>
                    <a:lnTo>
                      <a:pt x="242" y="433"/>
                    </a:lnTo>
                    <a:lnTo>
                      <a:pt x="242" y="433"/>
                    </a:lnTo>
                    <a:lnTo>
                      <a:pt x="242" y="433"/>
                    </a:lnTo>
                    <a:lnTo>
                      <a:pt x="235" y="433"/>
                    </a:lnTo>
                    <a:lnTo>
                      <a:pt x="235" y="433"/>
                    </a:lnTo>
                    <a:lnTo>
                      <a:pt x="235" y="433"/>
                    </a:lnTo>
                    <a:lnTo>
                      <a:pt x="235" y="433"/>
                    </a:lnTo>
                    <a:lnTo>
                      <a:pt x="235" y="433"/>
                    </a:lnTo>
                    <a:lnTo>
                      <a:pt x="227" y="433"/>
                    </a:lnTo>
                    <a:lnTo>
                      <a:pt x="220" y="433"/>
                    </a:lnTo>
                    <a:lnTo>
                      <a:pt x="220" y="433"/>
                    </a:lnTo>
                    <a:lnTo>
                      <a:pt x="213" y="433"/>
                    </a:lnTo>
                    <a:lnTo>
                      <a:pt x="213" y="433"/>
                    </a:lnTo>
                    <a:lnTo>
                      <a:pt x="213" y="433"/>
                    </a:lnTo>
                    <a:lnTo>
                      <a:pt x="213" y="433"/>
                    </a:lnTo>
                    <a:lnTo>
                      <a:pt x="213" y="433"/>
                    </a:lnTo>
                    <a:lnTo>
                      <a:pt x="206" y="433"/>
                    </a:lnTo>
                    <a:lnTo>
                      <a:pt x="178" y="440"/>
                    </a:lnTo>
                    <a:lnTo>
                      <a:pt x="178" y="440"/>
                    </a:lnTo>
                    <a:lnTo>
                      <a:pt x="178" y="440"/>
                    </a:lnTo>
                    <a:lnTo>
                      <a:pt x="178" y="440"/>
                    </a:lnTo>
                    <a:lnTo>
                      <a:pt x="178" y="440"/>
                    </a:lnTo>
                    <a:lnTo>
                      <a:pt x="178" y="440"/>
                    </a:lnTo>
                    <a:lnTo>
                      <a:pt x="178" y="440"/>
                    </a:lnTo>
                    <a:lnTo>
                      <a:pt x="178" y="447"/>
                    </a:lnTo>
                    <a:lnTo>
                      <a:pt x="178" y="447"/>
                    </a:lnTo>
                    <a:lnTo>
                      <a:pt x="178" y="447"/>
                    </a:lnTo>
                    <a:lnTo>
                      <a:pt x="178" y="447"/>
                    </a:lnTo>
                    <a:lnTo>
                      <a:pt x="164" y="454"/>
                    </a:lnTo>
                    <a:lnTo>
                      <a:pt x="164" y="454"/>
                    </a:lnTo>
                    <a:lnTo>
                      <a:pt x="149" y="454"/>
                    </a:lnTo>
                    <a:lnTo>
                      <a:pt x="149" y="454"/>
                    </a:lnTo>
                    <a:lnTo>
                      <a:pt x="142" y="447"/>
                    </a:lnTo>
                    <a:lnTo>
                      <a:pt x="135" y="447"/>
                    </a:lnTo>
                    <a:lnTo>
                      <a:pt x="135" y="447"/>
                    </a:lnTo>
                    <a:lnTo>
                      <a:pt x="135" y="447"/>
                    </a:lnTo>
                    <a:lnTo>
                      <a:pt x="135" y="447"/>
                    </a:lnTo>
                    <a:lnTo>
                      <a:pt x="128" y="447"/>
                    </a:lnTo>
                    <a:lnTo>
                      <a:pt x="128" y="440"/>
                    </a:lnTo>
                    <a:lnTo>
                      <a:pt x="128" y="440"/>
                    </a:lnTo>
                    <a:lnTo>
                      <a:pt x="128" y="440"/>
                    </a:lnTo>
                    <a:lnTo>
                      <a:pt x="114" y="426"/>
                    </a:lnTo>
                    <a:lnTo>
                      <a:pt x="114" y="426"/>
                    </a:lnTo>
                    <a:lnTo>
                      <a:pt x="107" y="426"/>
                    </a:lnTo>
                    <a:lnTo>
                      <a:pt x="100" y="426"/>
                    </a:lnTo>
                    <a:lnTo>
                      <a:pt x="107" y="419"/>
                    </a:lnTo>
                    <a:lnTo>
                      <a:pt x="107" y="419"/>
                    </a:lnTo>
                    <a:lnTo>
                      <a:pt x="107" y="419"/>
                    </a:lnTo>
                    <a:lnTo>
                      <a:pt x="107" y="419"/>
                    </a:lnTo>
                    <a:lnTo>
                      <a:pt x="107" y="411"/>
                    </a:lnTo>
                    <a:lnTo>
                      <a:pt x="107" y="411"/>
                    </a:lnTo>
                    <a:lnTo>
                      <a:pt x="107" y="411"/>
                    </a:lnTo>
                    <a:lnTo>
                      <a:pt x="107" y="411"/>
                    </a:lnTo>
                    <a:lnTo>
                      <a:pt x="107" y="411"/>
                    </a:lnTo>
                    <a:lnTo>
                      <a:pt x="114" y="411"/>
                    </a:lnTo>
                    <a:lnTo>
                      <a:pt x="114" y="404"/>
                    </a:lnTo>
                    <a:lnTo>
                      <a:pt x="114" y="404"/>
                    </a:lnTo>
                    <a:lnTo>
                      <a:pt x="121" y="404"/>
                    </a:lnTo>
                    <a:lnTo>
                      <a:pt x="121" y="404"/>
                    </a:lnTo>
                    <a:lnTo>
                      <a:pt x="121" y="404"/>
                    </a:lnTo>
                    <a:lnTo>
                      <a:pt x="121" y="404"/>
                    </a:lnTo>
                    <a:lnTo>
                      <a:pt x="128" y="404"/>
                    </a:lnTo>
                    <a:lnTo>
                      <a:pt x="135" y="397"/>
                    </a:lnTo>
                    <a:lnTo>
                      <a:pt x="135" y="397"/>
                    </a:lnTo>
                    <a:lnTo>
                      <a:pt x="135" y="397"/>
                    </a:lnTo>
                    <a:lnTo>
                      <a:pt x="135" y="390"/>
                    </a:lnTo>
                    <a:lnTo>
                      <a:pt x="135" y="390"/>
                    </a:lnTo>
                    <a:lnTo>
                      <a:pt x="135" y="383"/>
                    </a:lnTo>
                    <a:lnTo>
                      <a:pt x="135" y="383"/>
                    </a:lnTo>
                    <a:lnTo>
                      <a:pt x="135" y="383"/>
                    </a:lnTo>
                    <a:lnTo>
                      <a:pt x="142" y="383"/>
                    </a:lnTo>
                    <a:lnTo>
                      <a:pt x="142" y="383"/>
                    </a:lnTo>
                    <a:lnTo>
                      <a:pt x="142" y="383"/>
                    </a:lnTo>
                    <a:lnTo>
                      <a:pt x="142" y="376"/>
                    </a:lnTo>
                    <a:lnTo>
                      <a:pt x="149" y="376"/>
                    </a:lnTo>
                    <a:lnTo>
                      <a:pt x="149" y="376"/>
                    </a:lnTo>
                    <a:lnTo>
                      <a:pt x="149" y="369"/>
                    </a:lnTo>
                    <a:lnTo>
                      <a:pt x="149" y="369"/>
                    </a:lnTo>
                    <a:lnTo>
                      <a:pt x="149" y="369"/>
                    </a:lnTo>
                    <a:lnTo>
                      <a:pt x="149" y="369"/>
                    </a:lnTo>
                    <a:lnTo>
                      <a:pt x="149" y="362"/>
                    </a:lnTo>
                    <a:lnTo>
                      <a:pt x="149" y="362"/>
                    </a:lnTo>
                    <a:lnTo>
                      <a:pt x="149" y="362"/>
                    </a:lnTo>
                    <a:lnTo>
                      <a:pt x="149" y="355"/>
                    </a:lnTo>
                    <a:lnTo>
                      <a:pt x="149" y="355"/>
                    </a:lnTo>
                    <a:lnTo>
                      <a:pt x="149" y="355"/>
                    </a:lnTo>
                    <a:lnTo>
                      <a:pt x="142" y="355"/>
                    </a:lnTo>
                    <a:lnTo>
                      <a:pt x="142" y="355"/>
                    </a:lnTo>
                    <a:lnTo>
                      <a:pt x="142" y="355"/>
                    </a:lnTo>
                    <a:lnTo>
                      <a:pt x="142" y="355"/>
                    </a:lnTo>
                    <a:lnTo>
                      <a:pt x="135" y="355"/>
                    </a:lnTo>
                    <a:lnTo>
                      <a:pt x="135" y="355"/>
                    </a:lnTo>
                    <a:lnTo>
                      <a:pt x="135" y="355"/>
                    </a:lnTo>
                    <a:lnTo>
                      <a:pt x="135" y="355"/>
                    </a:lnTo>
                    <a:lnTo>
                      <a:pt x="135" y="355"/>
                    </a:lnTo>
                    <a:lnTo>
                      <a:pt x="135" y="355"/>
                    </a:lnTo>
                    <a:lnTo>
                      <a:pt x="128" y="355"/>
                    </a:lnTo>
                    <a:lnTo>
                      <a:pt x="128" y="355"/>
                    </a:lnTo>
                    <a:lnTo>
                      <a:pt x="128" y="348"/>
                    </a:lnTo>
                    <a:lnTo>
                      <a:pt x="121" y="348"/>
                    </a:lnTo>
                    <a:lnTo>
                      <a:pt x="121" y="348"/>
                    </a:lnTo>
                    <a:lnTo>
                      <a:pt x="121" y="355"/>
                    </a:lnTo>
                    <a:lnTo>
                      <a:pt x="121" y="355"/>
                    </a:lnTo>
                    <a:lnTo>
                      <a:pt x="121" y="355"/>
                    </a:lnTo>
                    <a:lnTo>
                      <a:pt x="121" y="355"/>
                    </a:lnTo>
                    <a:lnTo>
                      <a:pt x="121" y="355"/>
                    </a:lnTo>
                    <a:lnTo>
                      <a:pt x="121" y="355"/>
                    </a:lnTo>
                    <a:lnTo>
                      <a:pt x="121" y="355"/>
                    </a:lnTo>
                    <a:lnTo>
                      <a:pt x="121" y="355"/>
                    </a:lnTo>
                    <a:lnTo>
                      <a:pt x="121" y="355"/>
                    </a:lnTo>
                    <a:lnTo>
                      <a:pt x="121" y="355"/>
                    </a:lnTo>
                    <a:lnTo>
                      <a:pt x="121" y="355"/>
                    </a:lnTo>
                    <a:lnTo>
                      <a:pt x="121" y="355"/>
                    </a:lnTo>
                    <a:lnTo>
                      <a:pt x="114" y="348"/>
                    </a:lnTo>
                    <a:lnTo>
                      <a:pt x="114" y="348"/>
                    </a:lnTo>
                    <a:lnTo>
                      <a:pt x="114" y="341"/>
                    </a:lnTo>
                    <a:lnTo>
                      <a:pt x="114" y="341"/>
                    </a:lnTo>
                    <a:lnTo>
                      <a:pt x="114" y="341"/>
                    </a:lnTo>
                    <a:lnTo>
                      <a:pt x="107" y="333"/>
                    </a:lnTo>
                    <a:lnTo>
                      <a:pt x="107" y="333"/>
                    </a:lnTo>
                    <a:lnTo>
                      <a:pt x="107" y="326"/>
                    </a:lnTo>
                    <a:lnTo>
                      <a:pt x="107" y="319"/>
                    </a:lnTo>
                    <a:lnTo>
                      <a:pt x="107" y="312"/>
                    </a:lnTo>
                    <a:lnTo>
                      <a:pt x="107" y="305"/>
                    </a:lnTo>
                    <a:lnTo>
                      <a:pt x="100" y="298"/>
                    </a:lnTo>
                    <a:lnTo>
                      <a:pt x="100" y="298"/>
                    </a:lnTo>
                    <a:lnTo>
                      <a:pt x="100" y="298"/>
                    </a:lnTo>
                    <a:lnTo>
                      <a:pt x="100" y="298"/>
                    </a:lnTo>
                    <a:lnTo>
                      <a:pt x="100" y="298"/>
                    </a:lnTo>
                    <a:lnTo>
                      <a:pt x="93" y="305"/>
                    </a:lnTo>
                    <a:lnTo>
                      <a:pt x="93" y="305"/>
                    </a:lnTo>
                    <a:lnTo>
                      <a:pt x="93" y="305"/>
                    </a:lnTo>
                    <a:lnTo>
                      <a:pt x="93" y="305"/>
                    </a:lnTo>
                    <a:lnTo>
                      <a:pt x="93" y="298"/>
                    </a:lnTo>
                    <a:lnTo>
                      <a:pt x="93" y="298"/>
                    </a:lnTo>
                    <a:lnTo>
                      <a:pt x="93" y="298"/>
                    </a:lnTo>
                    <a:lnTo>
                      <a:pt x="93" y="298"/>
                    </a:lnTo>
                    <a:lnTo>
                      <a:pt x="93" y="291"/>
                    </a:lnTo>
                    <a:lnTo>
                      <a:pt x="93" y="291"/>
                    </a:lnTo>
                    <a:lnTo>
                      <a:pt x="93" y="291"/>
                    </a:lnTo>
                    <a:lnTo>
                      <a:pt x="93" y="291"/>
                    </a:lnTo>
                    <a:lnTo>
                      <a:pt x="93" y="284"/>
                    </a:lnTo>
                    <a:lnTo>
                      <a:pt x="93" y="284"/>
                    </a:lnTo>
                    <a:lnTo>
                      <a:pt x="93" y="284"/>
                    </a:lnTo>
                    <a:lnTo>
                      <a:pt x="93" y="284"/>
                    </a:lnTo>
                    <a:lnTo>
                      <a:pt x="100" y="277"/>
                    </a:lnTo>
                    <a:lnTo>
                      <a:pt x="100" y="277"/>
                    </a:lnTo>
                    <a:lnTo>
                      <a:pt x="100" y="277"/>
                    </a:lnTo>
                    <a:lnTo>
                      <a:pt x="100" y="277"/>
                    </a:lnTo>
                    <a:lnTo>
                      <a:pt x="100" y="270"/>
                    </a:lnTo>
                    <a:lnTo>
                      <a:pt x="100" y="270"/>
                    </a:lnTo>
                    <a:lnTo>
                      <a:pt x="100" y="270"/>
                    </a:lnTo>
                    <a:lnTo>
                      <a:pt x="100" y="262"/>
                    </a:lnTo>
                    <a:lnTo>
                      <a:pt x="100" y="262"/>
                    </a:lnTo>
                    <a:lnTo>
                      <a:pt x="93" y="262"/>
                    </a:lnTo>
                    <a:lnTo>
                      <a:pt x="93" y="262"/>
                    </a:lnTo>
                    <a:lnTo>
                      <a:pt x="93" y="262"/>
                    </a:lnTo>
                    <a:lnTo>
                      <a:pt x="93" y="262"/>
                    </a:lnTo>
                    <a:lnTo>
                      <a:pt x="93" y="262"/>
                    </a:lnTo>
                    <a:lnTo>
                      <a:pt x="93" y="262"/>
                    </a:lnTo>
                    <a:lnTo>
                      <a:pt x="93" y="262"/>
                    </a:lnTo>
                    <a:lnTo>
                      <a:pt x="85" y="262"/>
                    </a:lnTo>
                    <a:lnTo>
                      <a:pt x="85" y="262"/>
                    </a:lnTo>
                    <a:lnTo>
                      <a:pt x="85" y="262"/>
                    </a:lnTo>
                    <a:lnTo>
                      <a:pt x="85" y="262"/>
                    </a:lnTo>
                    <a:lnTo>
                      <a:pt x="85" y="262"/>
                    </a:lnTo>
                    <a:lnTo>
                      <a:pt x="85" y="262"/>
                    </a:lnTo>
                    <a:lnTo>
                      <a:pt x="85" y="270"/>
                    </a:lnTo>
                    <a:lnTo>
                      <a:pt x="85" y="270"/>
                    </a:lnTo>
                    <a:lnTo>
                      <a:pt x="85" y="270"/>
                    </a:lnTo>
                    <a:lnTo>
                      <a:pt x="85" y="270"/>
                    </a:lnTo>
                    <a:lnTo>
                      <a:pt x="85" y="270"/>
                    </a:lnTo>
                    <a:lnTo>
                      <a:pt x="85" y="270"/>
                    </a:lnTo>
                    <a:lnTo>
                      <a:pt x="85" y="270"/>
                    </a:lnTo>
                    <a:lnTo>
                      <a:pt x="78" y="270"/>
                    </a:lnTo>
                    <a:lnTo>
                      <a:pt x="78" y="270"/>
                    </a:lnTo>
                    <a:lnTo>
                      <a:pt x="71" y="270"/>
                    </a:lnTo>
                    <a:lnTo>
                      <a:pt x="71" y="270"/>
                    </a:lnTo>
                    <a:lnTo>
                      <a:pt x="71" y="270"/>
                    </a:lnTo>
                    <a:lnTo>
                      <a:pt x="71" y="270"/>
                    </a:lnTo>
                    <a:lnTo>
                      <a:pt x="64" y="270"/>
                    </a:lnTo>
                    <a:lnTo>
                      <a:pt x="64" y="270"/>
                    </a:lnTo>
                    <a:lnTo>
                      <a:pt x="64" y="270"/>
                    </a:lnTo>
                    <a:lnTo>
                      <a:pt x="64" y="270"/>
                    </a:lnTo>
                    <a:lnTo>
                      <a:pt x="64" y="262"/>
                    </a:lnTo>
                    <a:lnTo>
                      <a:pt x="57" y="262"/>
                    </a:lnTo>
                    <a:lnTo>
                      <a:pt x="57" y="255"/>
                    </a:lnTo>
                    <a:lnTo>
                      <a:pt x="57" y="255"/>
                    </a:lnTo>
                    <a:lnTo>
                      <a:pt x="57" y="255"/>
                    </a:lnTo>
                    <a:lnTo>
                      <a:pt x="57" y="255"/>
                    </a:lnTo>
                    <a:lnTo>
                      <a:pt x="57" y="248"/>
                    </a:lnTo>
                    <a:lnTo>
                      <a:pt x="57" y="248"/>
                    </a:lnTo>
                    <a:lnTo>
                      <a:pt x="57" y="248"/>
                    </a:lnTo>
                    <a:lnTo>
                      <a:pt x="57" y="241"/>
                    </a:lnTo>
                    <a:lnTo>
                      <a:pt x="57" y="241"/>
                    </a:lnTo>
                    <a:lnTo>
                      <a:pt x="57" y="234"/>
                    </a:lnTo>
                    <a:lnTo>
                      <a:pt x="36" y="220"/>
                    </a:lnTo>
                    <a:lnTo>
                      <a:pt x="29" y="220"/>
                    </a:lnTo>
                    <a:lnTo>
                      <a:pt x="29" y="213"/>
                    </a:lnTo>
                    <a:lnTo>
                      <a:pt x="29" y="213"/>
                    </a:lnTo>
                    <a:lnTo>
                      <a:pt x="29" y="213"/>
                    </a:lnTo>
                    <a:lnTo>
                      <a:pt x="29" y="206"/>
                    </a:lnTo>
                    <a:lnTo>
                      <a:pt x="29" y="206"/>
                    </a:lnTo>
                    <a:lnTo>
                      <a:pt x="29" y="199"/>
                    </a:lnTo>
                    <a:lnTo>
                      <a:pt x="29" y="199"/>
                    </a:lnTo>
                    <a:lnTo>
                      <a:pt x="29" y="199"/>
                    </a:lnTo>
                    <a:lnTo>
                      <a:pt x="22" y="199"/>
                    </a:lnTo>
                    <a:lnTo>
                      <a:pt x="22" y="191"/>
                    </a:lnTo>
                    <a:lnTo>
                      <a:pt x="14" y="191"/>
                    </a:lnTo>
                    <a:lnTo>
                      <a:pt x="14" y="191"/>
                    </a:lnTo>
                    <a:lnTo>
                      <a:pt x="7" y="191"/>
                    </a:lnTo>
                    <a:lnTo>
                      <a:pt x="0" y="191"/>
                    </a:lnTo>
                    <a:lnTo>
                      <a:pt x="7" y="184"/>
                    </a:lnTo>
                    <a:lnTo>
                      <a:pt x="7" y="177"/>
                    </a:lnTo>
                    <a:lnTo>
                      <a:pt x="7" y="177"/>
                    </a:lnTo>
                    <a:lnTo>
                      <a:pt x="7" y="170"/>
                    </a:lnTo>
                    <a:lnTo>
                      <a:pt x="14" y="170"/>
                    </a:lnTo>
                    <a:lnTo>
                      <a:pt x="14" y="170"/>
                    </a:lnTo>
                    <a:lnTo>
                      <a:pt x="14" y="170"/>
                    </a:lnTo>
                    <a:lnTo>
                      <a:pt x="14" y="170"/>
                    </a:lnTo>
                    <a:lnTo>
                      <a:pt x="14" y="163"/>
                    </a:lnTo>
                    <a:lnTo>
                      <a:pt x="14" y="163"/>
                    </a:lnTo>
                    <a:lnTo>
                      <a:pt x="14" y="163"/>
                    </a:lnTo>
                    <a:lnTo>
                      <a:pt x="14" y="156"/>
                    </a:lnTo>
                    <a:lnTo>
                      <a:pt x="14" y="156"/>
                    </a:lnTo>
                    <a:lnTo>
                      <a:pt x="14" y="156"/>
                    </a:lnTo>
                    <a:lnTo>
                      <a:pt x="14" y="156"/>
                    </a:lnTo>
                    <a:lnTo>
                      <a:pt x="14" y="156"/>
                    </a:lnTo>
                    <a:lnTo>
                      <a:pt x="14" y="149"/>
                    </a:lnTo>
                    <a:lnTo>
                      <a:pt x="7" y="149"/>
                    </a:lnTo>
                    <a:lnTo>
                      <a:pt x="7" y="149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7" y="135"/>
                    </a:lnTo>
                    <a:lnTo>
                      <a:pt x="7" y="135"/>
                    </a:lnTo>
                    <a:lnTo>
                      <a:pt x="7" y="135"/>
                    </a:lnTo>
                    <a:lnTo>
                      <a:pt x="14" y="135"/>
                    </a:lnTo>
                    <a:lnTo>
                      <a:pt x="22" y="135"/>
                    </a:lnTo>
                    <a:lnTo>
                      <a:pt x="29" y="135"/>
                    </a:lnTo>
                    <a:lnTo>
                      <a:pt x="43" y="135"/>
                    </a:lnTo>
                    <a:lnTo>
                      <a:pt x="50" y="135"/>
                    </a:lnTo>
                    <a:lnTo>
                      <a:pt x="57" y="135"/>
                    </a:lnTo>
                    <a:lnTo>
                      <a:pt x="57" y="135"/>
                    </a:lnTo>
                    <a:lnTo>
                      <a:pt x="57" y="128"/>
                    </a:lnTo>
                    <a:lnTo>
                      <a:pt x="64" y="128"/>
                    </a:lnTo>
                    <a:lnTo>
                      <a:pt x="64" y="128"/>
                    </a:lnTo>
                    <a:lnTo>
                      <a:pt x="64" y="128"/>
                    </a:lnTo>
                    <a:lnTo>
                      <a:pt x="71" y="128"/>
                    </a:lnTo>
                    <a:lnTo>
                      <a:pt x="71" y="128"/>
                    </a:lnTo>
                    <a:lnTo>
                      <a:pt x="71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85" y="128"/>
                    </a:lnTo>
                    <a:lnTo>
                      <a:pt x="85" y="120"/>
                    </a:lnTo>
                    <a:lnTo>
                      <a:pt x="85" y="120"/>
                    </a:lnTo>
                    <a:lnTo>
                      <a:pt x="85" y="120"/>
                    </a:lnTo>
                    <a:lnTo>
                      <a:pt x="85" y="120"/>
                    </a:lnTo>
                    <a:lnTo>
                      <a:pt x="85" y="120"/>
                    </a:lnTo>
                    <a:lnTo>
                      <a:pt x="85" y="113"/>
                    </a:lnTo>
                    <a:lnTo>
                      <a:pt x="93" y="113"/>
                    </a:lnTo>
                    <a:lnTo>
                      <a:pt x="93" y="113"/>
                    </a:lnTo>
                    <a:lnTo>
                      <a:pt x="93" y="113"/>
                    </a:lnTo>
                    <a:lnTo>
                      <a:pt x="93" y="120"/>
                    </a:lnTo>
                    <a:lnTo>
                      <a:pt x="100" y="128"/>
                    </a:lnTo>
                    <a:lnTo>
                      <a:pt x="100" y="135"/>
                    </a:lnTo>
                    <a:lnTo>
                      <a:pt x="107" y="135"/>
                    </a:lnTo>
                    <a:lnTo>
                      <a:pt x="107" y="142"/>
                    </a:lnTo>
                    <a:lnTo>
                      <a:pt x="107" y="142"/>
                    </a:lnTo>
                    <a:lnTo>
                      <a:pt x="107" y="142"/>
                    </a:lnTo>
                    <a:lnTo>
                      <a:pt x="107" y="142"/>
                    </a:lnTo>
                    <a:lnTo>
                      <a:pt x="107" y="135"/>
                    </a:lnTo>
                    <a:lnTo>
                      <a:pt x="107" y="135"/>
                    </a:lnTo>
                    <a:lnTo>
                      <a:pt x="107" y="135"/>
                    </a:lnTo>
                    <a:lnTo>
                      <a:pt x="107" y="135"/>
                    </a:lnTo>
                    <a:lnTo>
                      <a:pt x="107" y="135"/>
                    </a:lnTo>
                    <a:lnTo>
                      <a:pt x="114" y="135"/>
                    </a:lnTo>
                    <a:lnTo>
                      <a:pt x="114" y="135"/>
                    </a:lnTo>
                    <a:lnTo>
                      <a:pt x="114" y="135"/>
                    </a:lnTo>
                    <a:lnTo>
                      <a:pt x="114" y="135"/>
                    </a:lnTo>
                    <a:lnTo>
                      <a:pt x="114" y="135"/>
                    </a:lnTo>
                    <a:lnTo>
                      <a:pt x="114" y="142"/>
                    </a:lnTo>
                    <a:lnTo>
                      <a:pt x="114" y="142"/>
                    </a:lnTo>
                    <a:lnTo>
                      <a:pt x="114" y="135"/>
                    </a:lnTo>
                    <a:lnTo>
                      <a:pt x="114" y="135"/>
                    </a:lnTo>
                    <a:lnTo>
                      <a:pt x="114" y="135"/>
                    </a:lnTo>
                    <a:lnTo>
                      <a:pt x="114" y="135"/>
                    </a:lnTo>
                    <a:lnTo>
                      <a:pt x="114" y="135"/>
                    </a:lnTo>
                    <a:lnTo>
                      <a:pt x="114" y="135"/>
                    </a:lnTo>
                    <a:lnTo>
                      <a:pt x="121" y="135"/>
                    </a:lnTo>
                    <a:lnTo>
                      <a:pt x="121" y="135"/>
                    </a:lnTo>
                    <a:lnTo>
                      <a:pt x="121" y="128"/>
                    </a:lnTo>
                    <a:lnTo>
                      <a:pt x="121" y="128"/>
                    </a:lnTo>
                    <a:lnTo>
                      <a:pt x="121" y="135"/>
                    </a:lnTo>
                    <a:lnTo>
                      <a:pt x="121" y="135"/>
                    </a:lnTo>
                    <a:lnTo>
                      <a:pt x="128" y="135"/>
                    </a:lnTo>
                    <a:lnTo>
                      <a:pt x="128" y="135"/>
                    </a:lnTo>
                    <a:lnTo>
                      <a:pt x="128" y="128"/>
                    </a:lnTo>
                    <a:lnTo>
                      <a:pt x="128" y="128"/>
                    </a:lnTo>
                    <a:lnTo>
                      <a:pt x="128" y="128"/>
                    </a:lnTo>
                    <a:lnTo>
                      <a:pt x="128" y="135"/>
                    </a:lnTo>
                    <a:lnTo>
                      <a:pt x="135" y="135"/>
                    </a:lnTo>
                    <a:lnTo>
                      <a:pt x="135" y="142"/>
                    </a:lnTo>
                    <a:lnTo>
                      <a:pt x="135" y="142"/>
                    </a:lnTo>
                    <a:lnTo>
                      <a:pt x="128" y="142"/>
                    </a:lnTo>
                    <a:lnTo>
                      <a:pt x="135" y="142"/>
                    </a:lnTo>
                    <a:lnTo>
                      <a:pt x="135" y="149"/>
                    </a:lnTo>
                    <a:lnTo>
                      <a:pt x="135" y="149"/>
                    </a:lnTo>
                    <a:lnTo>
                      <a:pt x="142" y="149"/>
                    </a:lnTo>
                    <a:lnTo>
                      <a:pt x="142" y="149"/>
                    </a:lnTo>
                    <a:lnTo>
                      <a:pt x="142" y="156"/>
                    </a:lnTo>
                    <a:lnTo>
                      <a:pt x="149" y="156"/>
                    </a:lnTo>
                    <a:lnTo>
                      <a:pt x="149" y="156"/>
                    </a:lnTo>
                    <a:lnTo>
                      <a:pt x="149" y="156"/>
                    </a:lnTo>
                    <a:lnTo>
                      <a:pt x="149" y="163"/>
                    </a:lnTo>
                    <a:lnTo>
                      <a:pt x="156" y="163"/>
                    </a:lnTo>
                    <a:lnTo>
                      <a:pt x="156" y="163"/>
                    </a:lnTo>
                    <a:lnTo>
                      <a:pt x="156" y="163"/>
                    </a:lnTo>
                    <a:lnTo>
                      <a:pt x="156" y="163"/>
                    </a:lnTo>
                    <a:lnTo>
                      <a:pt x="164" y="163"/>
                    </a:lnTo>
                    <a:lnTo>
                      <a:pt x="164" y="156"/>
                    </a:lnTo>
                    <a:lnTo>
                      <a:pt x="164" y="156"/>
                    </a:lnTo>
                    <a:lnTo>
                      <a:pt x="164" y="156"/>
                    </a:lnTo>
                    <a:lnTo>
                      <a:pt x="164" y="156"/>
                    </a:lnTo>
                    <a:lnTo>
                      <a:pt x="171" y="149"/>
                    </a:lnTo>
                    <a:lnTo>
                      <a:pt x="171" y="149"/>
                    </a:lnTo>
                    <a:lnTo>
                      <a:pt x="171" y="149"/>
                    </a:lnTo>
                    <a:lnTo>
                      <a:pt x="171" y="149"/>
                    </a:lnTo>
                    <a:lnTo>
                      <a:pt x="171" y="149"/>
                    </a:lnTo>
                    <a:lnTo>
                      <a:pt x="171" y="149"/>
                    </a:lnTo>
                    <a:lnTo>
                      <a:pt x="171" y="149"/>
                    </a:lnTo>
                    <a:lnTo>
                      <a:pt x="178" y="149"/>
                    </a:lnTo>
                    <a:lnTo>
                      <a:pt x="178" y="149"/>
                    </a:lnTo>
                    <a:lnTo>
                      <a:pt x="178" y="149"/>
                    </a:lnTo>
                    <a:lnTo>
                      <a:pt x="178" y="149"/>
                    </a:lnTo>
                    <a:lnTo>
                      <a:pt x="178" y="149"/>
                    </a:lnTo>
                    <a:lnTo>
                      <a:pt x="185" y="142"/>
                    </a:lnTo>
                    <a:lnTo>
                      <a:pt x="185" y="142"/>
                    </a:lnTo>
                    <a:lnTo>
                      <a:pt x="192" y="135"/>
                    </a:lnTo>
                    <a:lnTo>
                      <a:pt x="192" y="135"/>
                    </a:lnTo>
                    <a:lnTo>
                      <a:pt x="192" y="135"/>
                    </a:lnTo>
                    <a:lnTo>
                      <a:pt x="192" y="135"/>
                    </a:lnTo>
                    <a:lnTo>
                      <a:pt x="199" y="135"/>
                    </a:lnTo>
                    <a:lnTo>
                      <a:pt x="199" y="135"/>
                    </a:lnTo>
                    <a:lnTo>
                      <a:pt x="199" y="135"/>
                    </a:lnTo>
                    <a:lnTo>
                      <a:pt x="199" y="142"/>
                    </a:lnTo>
                    <a:lnTo>
                      <a:pt x="206" y="142"/>
                    </a:lnTo>
                    <a:lnTo>
                      <a:pt x="206" y="142"/>
                    </a:lnTo>
                    <a:lnTo>
                      <a:pt x="206" y="142"/>
                    </a:lnTo>
                    <a:lnTo>
                      <a:pt x="206" y="142"/>
                    </a:lnTo>
                    <a:lnTo>
                      <a:pt x="206" y="142"/>
                    </a:lnTo>
                    <a:lnTo>
                      <a:pt x="213" y="149"/>
                    </a:lnTo>
                    <a:lnTo>
                      <a:pt x="213" y="149"/>
                    </a:lnTo>
                    <a:lnTo>
                      <a:pt x="213" y="156"/>
                    </a:lnTo>
                    <a:lnTo>
                      <a:pt x="220" y="156"/>
                    </a:lnTo>
                    <a:lnTo>
                      <a:pt x="220" y="156"/>
                    </a:lnTo>
                    <a:lnTo>
                      <a:pt x="227" y="149"/>
                    </a:lnTo>
                    <a:lnTo>
                      <a:pt x="227" y="149"/>
                    </a:lnTo>
                    <a:lnTo>
                      <a:pt x="235" y="149"/>
                    </a:lnTo>
                    <a:lnTo>
                      <a:pt x="235" y="149"/>
                    </a:lnTo>
                    <a:lnTo>
                      <a:pt x="235" y="149"/>
                    </a:lnTo>
                    <a:lnTo>
                      <a:pt x="235" y="149"/>
                    </a:lnTo>
                    <a:lnTo>
                      <a:pt x="235" y="156"/>
                    </a:lnTo>
                    <a:lnTo>
                      <a:pt x="235" y="156"/>
                    </a:lnTo>
                    <a:lnTo>
                      <a:pt x="242" y="156"/>
                    </a:lnTo>
                    <a:lnTo>
                      <a:pt x="242" y="149"/>
                    </a:lnTo>
                    <a:lnTo>
                      <a:pt x="242" y="149"/>
                    </a:lnTo>
                    <a:lnTo>
                      <a:pt x="249" y="149"/>
                    </a:lnTo>
                    <a:lnTo>
                      <a:pt x="249" y="142"/>
                    </a:lnTo>
                    <a:lnTo>
                      <a:pt x="249" y="142"/>
                    </a:lnTo>
                    <a:lnTo>
                      <a:pt x="249" y="142"/>
                    </a:lnTo>
                    <a:lnTo>
                      <a:pt x="249" y="142"/>
                    </a:lnTo>
                    <a:lnTo>
                      <a:pt x="263" y="135"/>
                    </a:lnTo>
                    <a:lnTo>
                      <a:pt x="263" y="135"/>
                    </a:lnTo>
                    <a:lnTo>
                      <a:pt x="263" y="135"/>
                    </a:lnTo>
                    <a:lnTo>
                      <a:pt x="263" y="135"/>
                    </a:lnTo>
                    <a:lnTo>
                      <a:pt x="263" y="135"/>
                    </a:lnTo>
                    <a:lnTo>
                      <a:pt x="263" y="135"/>
                    </a:lnTo>
                    <a:lnTo>
                      <a:pt x="277" y="128"/>
                    </a:lnTo>
                    <a:lnTo>
                      <a:pt x="277" y="128"/>
                    </a:lnTo>
                    <a:lnTo>
                      <a:pt x="284" y="128"/>
                    </a:lnTo>
                    <a:lnTo>
                      <a:pt x="284" y="128"/>
                    </a:lnTo>
                    <a:lnTo>
                      <a:pt x="291" y="128"/>
                    </a:lnTo>
                    <a:lnTo>
                      <a:pt x="291" y="128"/>
                    </a:lnTo>
                    <a:lnTo>
                      <a:pt x="291" y="128"/>
                    </a:lnTo>
                    <a:lnTo>
                      <a:pt x="291" y="128"/>
                    </a:lnTo>
                    <a:lnTo>
                      <a:pt x="291" y="128"/>
                    </a:lnTo>
                    <a:lnTo>
                      <a:pt x="298" y="128"/>
                    </a:lnTo>
                    <a:lnTo>
                      <a:pt x="298" y="128"/>
                    </a:lnTo>
                    <a:lnTo>
                      <a:pt x="298" y="120"/>
                    </a:lnTo>
                    <a:lnTo>
                      <a:pt x="298" y="120"/>
                    </a:lnTo>
                    <a:lnTo>
                      <a:pt x="298" y="120"/>
                    </a:lnTo>
                    <a:lnTo>
                      <a:pt x="306" y="120"/>
                    </a:lnTo>
                    <a:lnTo>
                      <a:pt x="306" y="120"/>
                    </a:lnTo>
                    <a:lnTo>
                      <a:pt x="306" y="120"/>
                    </a:lnTo>
                    <a:lnTo>
                      <a:pt x="313" y="120"/>
                    </a:lnTo>
                    <a:lnTo>
                      <a:pt x="313" y="120"/>
                    </a:lnTo>
                    <a:lnTo>
                      <a:pt x="313" y="120"/>
                    </a:lnTo>
                    <a:lnTo>
                      <a:pt x="313" y="113"/>
                    </a:lnTo>
                    <a:lnTo>
                      <a:pt x="313" y="113"/>
                    </a:lnTo>
                    <a:lnTo>
                      <a:pt x="313" y="113"/>
                    </a:lnTo>
                    <a:lnTo>
                      <a:pt x="313" y="106"/>
                    </a:lnTo>
                    <a:lnTo>
                      <a:pt x="313" y="106"/>
                    </a:lnTo>
                    <a:lnTo>
                      <a:pt x="313" y="106"/>
                    </a:lnTo>
                    <a:lnTo>
                      <a:pt x="313" y="106"/>
                    </a:lnTo>
                    <a:lnTo>
                      <a:pt x="313" y="106"/>
                    </a:lnTo>
                    <a:lnTo>
                      <a:pt x="313" y="106"/>
                    </a:lnTo>
                    <a:lnTo>
                      <a:pt x="313" y="99"/>
                    </a:lnTo>
                    <a:lnTo>
                      <a:pt x="313" y="99"/>
                    </a:lnTo>
                    <a:lnTo>
                      <a:pt x="313" y="99"/>
                    </a:lnTo>
                    <a:lnTo>
                      <a:pt x="320" y="92"/>
                    </a:lnTo>
                    <a:lnTo>
                      <a:pt x="320" y="92"/>
                    </a:lnTo>
                    <a:lnTo>
                      <a:pt x="320" y="92"/>
                    </a:lnTo>
                    <a:lnTo>
                      <a:pt x="320" y="92"/>
                    </a:lnTo>
                    <a:lnTo>
                      <a:pt x="334" y="92"/>
                    </a:lnTo>
                    <a:lnTo>
                      <a:pt x="334" y="92"/>
                    </a:lnTo>
                    <a:lnTo>
                      <a:pt x="334" y="92"/>
                    </a:lnTo>
                    <a:lnTo>
                      <a:pt x="341" y="99"/>
                    </a:lnTo>
                    <a:lnTo>
                      <a:pt x="348" y="99"/>
                    </a:lnTo>
                    <a:lnTo>
                      <a:pt x="355" y="92"/>
                    </a:lnTo>
                    <a:lnTo>
                      <a:pt x="355" y="92"/>
                    </a:lnTo>
                    <a:lnTo>
                      <a:pt x="362" y="92"/>
                    </a:lnTo>
                    <a:lnTo>
                      <a:pt x="362" y="92"/>
                    </a:lnTo>
                    <a:lnTo>
                      <a:pt x="362" y="92"/>
                    </a:lnTo>
                    <a:lnTo>
                      <a:pt x="362" y="92"/>
                    </a:lnTo>
                    <a:lnTo>
                      <a:pt x="362" y="99"/>
                    </a:lnTo>
                    <a:lnTo>
                      <a:pt x="362" y="99"/>
                    </a:lnTo>
                    <a:lnTo>
                      <a:pt x="362" y="99"/>
                    </a:lnTo>
                    <a:lnTo>
                      <a:pt x="362" y="99"/>
                    </a:lnTo>
                    <a:lnTo>
                      <a:pt x="369" y="99"/>
                    </a:lnTo>
                    <a:lnTo>
                      <a:pt x="369" y="99"/>
                    </a:lnTo>
                    <a:lnTo>
                      <a:pt x="369" y="99"/>
                    </a:lnTo>
                    <a:lnTo>
                      <a:pt x="377" y="113"/>
                    </a:lnTo>
                    <a:lnTo>
                      <a:pt x="377" y="113"/>
                    </a:lnTo>
                    <a:lnTo>
                      <a:pt x="377" y="113"/>
                    </a:lnTo>
                    <a:lnTo>
                      <a:pt x="377" y="120"/>
                    </a:lnTo>
                    <a:lnTo>
                      <a:pt x="384" y="120"/>
                    </a:lnTo>
                    <a:lnTo>
                      <a:pt x="384" y="120"/>
                    </a:lnTo>
                    <a:lnTo>
                      <a:pt x="384" y="113"/>
                    </a:lnTo>
                    <a:lnTo>
                      <a:pt x="391" y="113"/>
                    </a:lnTo>
                    <a:lnTo>
                      <a:pt x="391" y="120"/>
                    </a:lnTo>
                    <a:lnTo>
                      <a:pt x="398" y="120"/>
                    </a:lnTo>
                    <a:lnTo>
                      <a:pt x="398" y="120"/>
                    </a:lnTo>
                    <a:lnTo>
                      <a:pt x="398" y="120"/>
                    </a:lnTo>
                    <a:lnTo>
                      <a:pt x="398" y="128"/>
                    </a:lnTo>
                    <a:lnTo>
                      <a:pt x="398" y="128"/>
                    </a:lnTo>
                    <a:lnTo>
                      <a:pt x="398" y="128"/>
                    </a:lnTo>
                    <a:lnTo>
                      <a:pt x="398" y="135"/>
                    </a:lnTo>
                    <a:lnTo>
                      <a:pt x="398" y="135"/>
                    </a:lnTo>
                    <a:lnTo>
                      <a:pt x="398" y="135"/>
                    </a:lnTo>
                    <a:lnTo>
                      <a:pt x="405" y="142"/>
                    </a:lnTo>
                    <a:lnTo>
                      <a:pt x="419" y="149"/>
                    </a:lnTo>
                    <a:lnTo>
                      <a:pt x="419" y="149"/>
                    </a:lnTo>
                    <a:lnTo>
                      <a:pt x="419" y="149"/>
                    </a:lnTo>
                    <a:lnTo>
                      <a:pt x="419" y="149"/>
                    </a:lnTo>
                    <a:lnTo>
                      <a:pt x="419" y="142"/>
                    </a:lnTo>
                    <a:lnTo>
                      <a:pt x="419" y="142"/>
                    </a:lnTo>
                    <a:lnTo>
                      <a:pt x="419" y="142"/>
                    </a:lnTo>
                    <a:lnTo>
                      <a:pt x="419" y="142"/>
                    </a:lnTo>
                    <a:lnTo>
                      <a:pt x="419" y="142"/>
                    </a:lnTo>
                    <a:lnTo>
                      <a:pt x="426" y="142"/>
                    </a:lnTo>
                    <a:lnTo>
                      <a:pt x="426" y="135"/>
                    </a:lnTo>
                    <a:lnTo>
                      <a:pt x="426" y="135"/>
                    </a:lnTo>
                    <a:lnTo>
                      <a:pt x="426" y="128"/>
                    </a:lnTo>
                    <a:lnTo>
                      <a:pt x="426" y="128"/>
                    </a:lnTo>
                    <a:lnTo>
                      <a:pt x="433" y="120"/>
                    </a:lnTo>
                    <a:lnTo>
                      <a:pt x="433" y="113"/>
                    </a:lnTo>
                    <a:lnTo>
                      <a:pt x="440" y="113"/>
                    </a:lnTo>
                    <a:lnTo>
                      <a:pt x="440" y="113"/>
                    </a:lnTo>
                    <a:lnTo>
                      <a:pt x="447" y="120"/>
                    </a:lnTo>
                    <a:lnTo>
                      <a:pt x="447" y="120"/>
                    </a:lnTo>
                    <a:lnTo>
                      <a:pt x="447" y="120"/>
                    </a:lnTo>
                    <a:lnTo>
                      <a:pt x="455" y="120"/>
                    </a:lnTo>
                    <a:lnTo>
                      <a:pt x="455" y="113"/>
                    </a:lnTo>
                    <a:lnTo>
                      <a:pt x="455" y="113"/>
                    </a:lnTo>
                    <a:lnTo>
                      <a:pt x="455" y="113"/>
                    </a:lnTo>
                    <a:lnTo>
                      <a:pt x="462" y="113"/>
                    </a:lnTo>
                    <a:lnTo>
                      <a:pt x="462" y="113"/>
                    </a:lnTo>
                    <a:lnTo>
                      <a:pt x="462" y="113"/>
                    </a:lnTo>
                    <a:lnTo>
                      <a:pt x="469" y="113"/>
                    </a:lnTo>
                    <a:lnTo>
                      <a:pt x="476" y="120"/>
                    </a:lnTo>
                    <a:lnTo>
                      <a:pt x="476" y="120"/>
                    </a:lnTo>
                    <a:lnTo>
                      <a:pt x="476" y="113"/>
                    </a:lnTo>
                    <a:lnTo>
                      <a:pt x="476" y="113"/>
                    </a:lnTo>
                    <a:lnTo>
                      <a:pt x="476" y="113"/>
                    </a:lnTo>
                    <a:lnTo>
                      <a:pt x="483" y="106"/>
                    </a:lnTo>
                    <a:lnTo>
                      <a:pt x="483" y="106"/>
                    </a:lnTo>
                    <a:lnTo>
                      <a:pt x="483" y="106"/>
                    </a:lnTo>
                    <a:lnTo>
                      <a:pt x="483" y="106"/>
                    </a:lnTo>
                    <a:lnTo>
                      <a:pt x="490" y="113"/>
                    </a:lnTo>
                    <a:lnTo>
                      <a:pt x="497" y="113"/>
                    </a:lnTo>
                    <a:lnTo>
                      <a:pt x="497" y="106"/>
                    </a:lnTo>
                    <a:lnTo>
                      <a:pt x="497" y="106"/>
                    </a:lnTo>
                    <a:lnTo>
                      <a:pt x="497" y="106"/>
                    </a:lnTo>
                    <a:lnTo>
                      <a:pt x="497" y="106"/>
                    </a:lnTo>
                    <a:lnTo>
                      <a:pt x="497" y="99"/>
                    </a:lnTo>
                    <a:lnTo>
                      <a:pt x="497" y="92"/>
                    </a:lnTo>
                    <a:lnTo>
                      <a:pt x="497" y="85"/>
                    </a:lnTo>
                    <a:lnTo>
                      <a:pt x="497" y="85"/>
                    </a:lnTo>
                    <a:lnTo>
                      <a:pt x="497" y="85"/>
                    </a:lnTo>
                    <a:lnTo>
                      <a:pt x="497" y="85"/>
                    </a:lnTo>
                    <a:lnTo>
                      <a:pt x="497" y="78"/>
                    </a:lnTo>
                    <a:lnTo>
                      <a:pt x="497" y="78"/>
                    </a:lnTo>
                    <a:lnTo>
                      <a:pt x="497" y="78"/>
                    </a:lnTo>
                    <a:lnTo>
                      <a:pt x="504" y="78"/>
                    </a:lnTo>
                    <a:lnTo>
                      <a:pt x="504" y="71"/>
                    </a:lnTo>
                    <a:lnTo>
                      <a:pt x="504" y="71"/>
                    </a:lnTo>
                    <a:lnTo>
                      <a:pt x="504" y="71"/>
                    </a:lnTo>
                    <a:lnTo>
                      <a:pt x="504" y="57"/>
                    </a:lnTo>
                    <a:lnTo>
                      <a:pt x="504" y="49"/>
                    </a:lnTo>
                    <a:lnTo>
                      <a:pt x="504" y="49"/>
                    </a:lnTo>
                    <a:lnTo>
                      <a:pt x="504" y="42"/>
                    </a:lnTo>
                    <a:lnTo>
                      <a:pt x="511" y="42"/>
                    </a:lnTo>
                    <a:lnTo>
                      <a:pt x="511" y="42"/>
                    </a:lnTo>
                    <a:lnTo>
                      <a:pt x="511" y="35"/>
                    </a:lnTo>
                    <a:lnTo>
                      <a:pt x="518" y="35"/>
                    </a:lnTo>
                    <a:lnTo>
                      <a:pt x="518" y="42"/>
                    </a:lnTo>
                    <a:lnTo>
                      <a:pt x="518" y="42"/>
                    </a:lnTo>
                    <a:lnTo>
                      <a:pt x="518" y="35"/>
                    </a:lnTo>
                    <a:lnTo>
                      <a:pt x="518" y="28"/>
                    </a:lnTo>
                    <a:lnTo>
                      <a:pt x="518" y="28"/>
                    </a:lnTo>
                    <a:lnTo>
                      <a:pt x="526" y="21"/>
                    </a:lnTo>
                    <a:lnTo>
                      <a:pt x="526" y="21"/>
                    </a:lnTo>
                    <a:lnTo>
                      <a:pt x="526" y="21"/>
                    </a:lnTo>
                    <a:lnTo>
                      <a:pt x="526" y="21"/>
                    </a:lnTo>
                    <a:lnTo>
                      <a:pt x="526" y="21"/>
                    </a:lnTo>
                    <a:lnTo>
                      <a:pt x="533" y="21"/>
                    </a:lnTo>
                    <a:lnTo>
                      <a:pt x="533" y="21"/>
                    </a:lnTo>
                    <a:lnTo>
                      <a:pt x="533" y="21"/>
                    </a:lnTo>
                    <a:lnTo>
                      <a:pt x="533" y="21"/>
                    </a:lnTo>
                    <a:lnTo>
                      <a:pt x="533" y="21"/>
                    </a:lnTo>
                    <a:lnTo>
                      <a:pt x="540" y="21"/>
                    </a:lnTo>
                    <a:lnTo>
                      <a:pt x="540" y="21"/>
                    </a:lnTo>
                    <a:lnTo>
                      <a:pt x="540" y="21"/>
                    </a:lnTo>
                    <a:lnTo>
                      <a:pt x="540" y="14"/>
                    </a:lnTo>
                    <a:lnTo>
                      <a:pt x="540" y="14"/>
                    </a:lnTo>
                    <a:lnTo>
                      <a:pt x="547" y="14"/>
                    </a:lnTo>
                    <a:lnTo>
                      <a:pt x="547" y="14"/>
                    </a:lnTo>
                    <a:lnTo>
                      <a:pt x="547" y="7"/>
                    </a:lnTo>
                    <a:lnTo>
                      <a:pt x="547" y="7"/>
                    </a:lnTo>
                    <a:lnTo>
                      <a:pt x="547" y="0"/>
                    </a:lnTo>
                    <a:lnTo>
                      <a:pt x="554" y="0"/>
                    </a:lnTo>
                    <a:lnTo>
                      <a:pt x="554" y="0"/>
                    </a:lnTo>
                    <a:lnTo>
                      <a:pt x="554" y="0"/>
                    </a:lnTo>
                    <a:lnTo>
                      <a:pt x="554" y="0"/>
                    </a:lnTo>
                    <a:lnTo>
                      <a:pt x="554" y="0"/>
                    </a:lnTo>
                    <a:lnTo>
                      <a:pt x="561" y="0"/>
                    </a:lnTo>
                    <a:lnTo>
                      <a:pt x="561" y="7"/>
                    </a:lnTo>
                    <a:lnTo>
                      <a:pt x="561" y="7"/>
                    </a:lnTo>
                    <a:lnTo>
                      <a:pt x="561" y="7"/>
                    </a:lnTo>
                    <a:lnTo>
                      <a:pt x="568" y="7"/>
                    </a:lnTo>
                    <a:lnTo>
                      <a:pt x="575" y="14"/>
                    </a:lnTo>
                    <a:lnTo>
                      <a:pt x="582" y="7"/>
                    </a:lnTo>
                    <a:lnTo>
                      <a:pt x="582" y="7"/>
                    </a:lnTo>
                    <a:lnTo>
                      <a:pt x="582" y="14"/>
                    </a:lnTo>
                    <a:lnTo>
                      <a:pt x="582" y="1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9" name="Freeform 57"/>
              <p:cNvSpPr>
                <a:spLocks/>
              </p:cNvSpPr>
              <p:nvPr/>
            </p:nvSpPr>
            <p:spPr bwMode="auto">
              <a:xfrm>
                <a:off x="4351" y="1287"/>
                <a:ext cx="497" cy="830"/>
              </a:xfrm>
              <a:custGeom>
                <a:avLst/>
                <a:gdLst>
                  <a:gd name="T0" fmla="*/ 462 w 497"/>
                  <a:gd name="T1" fmla="*/ 156 h 830"/>
                  <a:gd name="T2" fmla="*/ 433 w 497"/>
                  <a:gd name="T3" fmla="*/ 170 h 830"/>
                  <a:gd name="T4" fmla="*/ 391 w 497"/>
                  <a:gd name="T5" fmla="*/ 121 h 830"/>
                  <a:gd name="T6" fmla="*/ 383 w 497"/>
                  <a:gd name="T7" fmla="*/ 135 h 830"/>
                  <a:gd name="T8" fmla="*/ 341 w 497"/>
                  <a:gd name="T9" fmla="*/ 121 h 830"/>
                  <a:gd name="T10" fmla="*/ 298 w 497"/>
                  <a:gd name="T11" fmla="*/ 85 h 830"/>
                  <a:gd name="T12" fmla="*/ 312 w 497"/>
                  <a:gd name="T13" fmla="*/ 121 h 830"/>
                  <a:gd name="T14" fmla="*/ 277 w 497"/>
                  <a:gd name="T15" fmla="*/ 163 h 830"/>
                  <a:gd name="T16" fmla="*/ 320 w 497"/>
                  <a:gd name="T17" fmla="*/ 234 h 830"/>
                  <a:gd name="T18" fmla="*/ 376 w 497"/>
                  <a:gd name="T19" fmla="*/ 255 h 830"/>
                  <a:gd name="T20" fmla="*/ 391 w 497"/>
                  <a:gd name="T21" fmla="*/ 291 h 830"/>
                  <a:gd name="T22" fmla="*/ 327 w 497"/>
                  <a:gd name="T23" fmla="*/ 319 h 830"/>
                  <a:gd name="T24" fmla="*/ 284 w 497"/>
                  <a:gd name="T25" fmla="*/ 355 h 830"/>
                  <a:gd name="T26" fmla="*/ 369 w 497"/>
                  <a:gd name="T27" fmla="*/ 419 h 830"/>
                  <a:gd name="T28" fmla="*/ 383 w 497"/>
                  <a:gd name="T29" fmla="*/ 461 h 830"/>
                  <a:gd name="T30" fmla="*/ 362 w 497"/>
                  <a:gd name="T31" fmla="*/ 518 h 830"/>
                  <a:gd name="T32" fmla="*/ 391 w 497"/>
                  <a:gd name="T33" fmla="*/ 575 h 830"/>
                  <a:gd name="T34" fmla="*/ 426 w 497"/>
                  <a:gd name="T35" fmla="*/ 625 h 830"/>
                  <a:gd name="T36" fmla="*/ 440 w 497"/>
                  <a:gd name="T37" fmla="*/ 696 h 830"/>
                  <a:gd name="T38" fmla="*/ 447 w 497"/>
                  <a:gd name="T39" fmla="*/ 767 h 830"/>
                  <a:gd name="T40" fmla="*/ 462 w 497"/>
                  <a:gd name="T41" fmla="*/ 809 h 830"/>
                  <a:gd name="T42" fmla="*/ 426 w 497"/>
                  <a:gd name="T43" fmla="*/ 809 h 830"/>
                  <a:gd name="T44" fmla="*/ 412 w 497"/>
                  <a:gd name="T45" fmla="*/ 774 h 830"/>
                  <a:gd name="T46" fmla="*/ 405 w 497"/>
                  <a:gd name="T47" fmla="*/ 767 h 830"/>
                  <a:gd name="T48" fmla="*/ 398 w 497"/>
                  <a:gd name="T49" fmla="*/ 738 h 830"/>
                  <a:gd name="T50" fmla="*/ 398 w 497"/>
                  <a:gd name="T51" fmla="*/ 816 h 830"/>
                  <a:gd name="T52" fmla="*/ 383 w 497"/>
                  <a:gd name="T53" fmla="*/ 788 h 830"/>
                  <a:gd name="T54" fmla="*/ 376 w 497"/>
                  <a:gd name="T55" fmla="*/ 816 h 830"/>
                  <a:gd name="T56" fmla="*/ 355 w 497"/>
                  <a:gd name="T57" fmla="*/ 795 h 830"/>
                  <a:gd name="T58" fmla="*/ 341 w 497"/>
                  <a:gd name="T59" fmla="*/ 809 h 830"/>
                  <a:gd name="T60" fmla="*/ 312 w 497"/>
                  <a:gd name="T61" fmla="*/ 724 h 830"/>
                  <a:gd name="T62" fmla="*/ 334 w 497"/>
                  <a:gd name="T63" fmla="*/ 745 h 830"/>
                  <a:gd name="T64" fmla="*/ 270 w 497"/>
                  <a:gd name="T65" fmla="*/ 816 h 830"/>
                  <a:gd name="T66" fmla="*/ 192 w 497"/>
                  <a:gd name="T67" fmla="*/ 774 h 830"/>
                  <a:gd name="T68" fmla="*/ 156 w 497"/>
                  <a:gd name="T69" fmla="*/ 745 h 830"/>
                  <a:gd name="T70" fmla="*/ 149 w 497"/>
                  <a:gd name="T71" fmla="*/ 717 h 830"/>
                  <a:gd name="T72" fmla="*/ 135 w 497"/>
                  <a:gd name="T73" fmla="*/ 681 h 830"/>
                  <a:gd name="T74" fmla="*/ 85 w 497"/>
                  <a:gd name="T75" fmla="*/ 632 h 830"/>
                  <a:gd name="T76" fmla="*/ 50 w 497"/>
                  <a:gd name="T77" fmla="*/ 618 h 830"/>
                  <a:gd name="T78" fmla="*/ 0 w 497"/>
                  <a:gd name="T79" fmla="*/ 561 h 830"/>
                  <a:gd name="T80" fmla="*/ 36 w 497"/>
                  <a:gd name="T81" fmla="*/ 539 h 830"/>
                  <a:gd name="T82" fmla="*/ 71 w 497"/>
                  <a:gd name="T83" fmla="*/ 539 h 830"/>
                  <a:gd name="T84" fmla="*/ 135 w 497"/>
                  <a:gd name="T85" fmla="*/ 490 h 830"/>
                  <a:gd name="T86" fmla="*/ 178 w 497"/>
                  <a:gd name="T87" fmla="*/ 490 h 830"/>
                  <a:gd name="T88" fmla="*/ 185 w 497"/>
                  <a:gd name="T89" fmla="*/ 461 h 830"/>
                  <a:gd name="T90" fmla="*/ 220 w 497"/>
                  <a:gd name="T91" fmla="*/ 454 h 830"/>
                  <a:gd name="T92" fmla="*/ 241 w 497"/>
                  <a:gd name="T93" fmla="*/ 426 h 830"/>
                  <a:gd name="T94" fmla="*/ 249 w 497"/>
                  <a:gd name="T95" fmla="*/ 383 h 830"/>
                  <a:gd name="T96" fmla="*/ 256 w 497"/>
                  <a:gd name="T97" fmla="*/ 362 h 830"/>
                  <a:gd name="T98" fmla="*/ 249 w 497"/>
                  <a:gd name="T99" fmla="*/ 319 h 830"/>
                  <a:gd name="T100" fmla="*/ 241 w 497"/>
                  <a:gd name="T101" fmla="*/ 270 h 830"/>
                  <a:gd name="T102" fmla="*/ 249 w 497"/>
                  <a:gd name="T103" fmla="*/ 255 h 830"/>
                  <a:gd name="T104" fmla="*/ 270 w 497"/>
                  <a:gd name="T105" fmla="*/ 234 h 830"/>
                  <a:gd name="T106" fmla="*/ 227 w 497"/>
                  <a:gd name="T107" fmla="*/ 192 h 830"/>
                  <a:gd name="T108" fmla="*/ 263 w 497"/>
                  <a:gd name="T109" fmla="*/ 149 h 830"/>
                  <a:gd name="T110" fmla="*/ 284 w 497"/>
                  <a:gd name="T111" fmla="*/ 114 h 830"/>
                  <a:gd name="T112" fmla="*/ 270 w 497"/>
                  <a:gd name="T113" fmla="*/ 71 h 830"/>
                  <a:gd name="T114" fmla="*/ 249 w 497"/>
                  <a:gd name="T115" fmla="*/ 7 h 830"/>
                  <a:gd name="T116" fmla="*/ 348 w 497"/>
                  <a:gd name="T117" fmla="*/ 14 h 830"/>
                  <a:gd name="T118" fmla="*/ 391 w 497"/>
                  <a:gd name="T119" fmla="*/ 57 h 830"/>
                  <a:gd name="T120" fmla="*/ 483 w 497"/>
                  <a:gd name="T121" fmla="*/ 64 h 830"/>
                  <a:gd name="T122" fmla="*/ 490 w 497"/>
                  <a:gd name="T123" fmla="*/ 114 h 8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97" h="830">
                    <a:moveTo>
                      <a:pt x="476" y="142"/>
                    </a:moveTo>
                    <a:lnTo>
                      <a:pt x="476" y="142"/>
                    </a:lnTo>
                    <a:lnTo>
                      <a:pt x="476" y="142"/>
                    </a:lnTo>
                    <a:lnTo>
                      <a:pt x="469" y="142"/>
                    </a:lnTo>
                    <a:lnTo>
                      <a:pt x="469" y="135"/>
                    </a:lnTo>
                    <a:lnTo>
                      <a:pt x="469" y="135"/>
                    </a:lnTo>
                    <a:lnTo>
                      <a:pt x="469" y="135"/>
                    </a:lnTo>
                    <a:lnTo>
                      <a:pt x="462" y="135"/>
                    </a:lnTo>
                    <a:lnTo>
                      <a:pt x="462" y="135"/>
                    </a:lnTo>
                    <a:lnTo>
                      <a:pt x="462" y="142"/>
                    </a:lnTo>
                    <a:lnTo>
                      <a:pt x="469" y="142"/>
                    </a:lnTo>
                    <a:lnTo>
                      <a:pt x="469" y="142"/>
                    </a:lnTo>
                    <a:lnTo>
                      <a:pt x="462" y="142"/>
                    </a:lnTo>
                    <a:lnTo>
                      <a:pt x="462" y="142"/>
                    </a:lnTo>
                    <a:lnTo>
                      <a:pt x="462" y="142"/>
                    </a:lnTo>
                    <a:lnTo>
                      <a:pt x="462" y="142"/>
                    </a:lnTo>
                    <a:lnTo>
                      <a:pt x="462" y="149"/>
                    </a:lnTo>
                    <a:lnTo>
                      <a:pt x="462" y="149"/>
                    </a:lnTo>
                    <a:lnTo>
                      <a:pt x="462" y="149"/>
                    </a:lnTo>
                    <a:lnTo>
                      <a:pt x="469" y="149"/>
                    </a:lnTo>
                    <a:lnTo>
                      <a:pt x="462" y="149"/>
                    </a:lnTo>
                    <a:lnTo>
                      <a:pt x="462" y="156"/>
                    </a:lnTo>
                    <a:lnTo>
                      <a:pt x="462" y="156"/>
                    </a:lnTo>
                    <a:lnTo>
                      <a:pt x="462" y="156"/>
                    </a:lnTo>
                    <a:lnTo>
                      <a:pt x="462" y="156"/>
                    </a:lnTo>
                    <a:lnTo>
                      <a:pt x="462" y="156"/>
                    </a:lnTo>
                    <a:lnTo>
                      <a:pt x="469" y="156"/>
                    </a:lnTo>
                    <a:lnTo>
                      <a:pt x="469" y="156"/>
                    </a:lnTo>
                    <a:lnTo>
                      <a:pt x="469" y="163"/>
                    </a:lnTo>
                    <a:lnTo>
                      <a:pt x="462" y="163"/>
                    </a:lnTo>
                    <a:lnTo>
                      <a:pt x="462" y="170"/>
                    </a:lnTo>
                    <a:lnTo>
                      <a:pt x="462" y="170"/>
                    </a:lnTo>
                    <a:lnTo>
                      <a:pt x="462" y="170"/>
                    </a:lnTo>
                    <a:lnTo>
                      <a:pt x="462" y="177"/>
                    </a:lnTo>
                    <a:lnTo>
                      <a:pt x="462" y="177"/>
                    </a:lnTo>
                    <a:lnTo>
                      <a:pt x="454" y="177"/>
                    </a:lnTo>
                    <a:lnTo>
                      <a:pt x="454" y="170"/>
                    </a:lnTo>
                    <a:lnTo>
                      <a:pt x="454" y="170"/>
                    </a:lnTo>
                    <a:lnTo>
                      <a:pt x="454" y="170"/>
                    </a:lnTo>
                    <a:lnTo>
                      <a:pt x="454" y="170"/>
                    </a:lnTo>
                    <a:lnTo>
                      <a:pt x="454" y="170"/>
                    </a:lnTo>
                    <a:lnTo>
                      <a:pt x="447" y="170"/>
                    </a:lnTo>
                    <a:lnTo>
                      <a:pt x="447" y="170"/>
                    </a:lnTo>
                    <a:lnTo>
                      <a:pt x="447" y="170"/>
                    </a:lnTo>
                    <a:lnTo>
                      <a:pt x="447" y="170"/>
                    </a:lnTo>
                    <a:lnTo>
                      <a:pt x="440" y="170"/>
                    </a:lnTo>
                    <a:lnTo>
                      <a:pt x="440" y="170"/>
                    </a:lnTo>
                    <a:lnTo>
                      <a:pt x="440" y="170"/>
                    </a:lnTo>
                    <a:lnTo>
                      <a:pt x="440" y="170"/>
                    </a:lnTo>
                    <a:lnTo>
                      <a:pt x="440" y="170"/>
                    </a:lnTo>
                    <a:lnTo>
                      <a:pt x="440" y="170"/>
                    </a:lnTo>
                    <a:lnTo>
                      <a:pt x="433" y="170"/>
                    </a:lnTo>
                    <a:lnTo>
                      <a:pt x="433" y="170"/>
                    </a:lnTo>
                    <a:lnTo>
                      <a:pt x="433" y="170"/>
                    </a:lnTo>
                    <a:lnTo>
                      <a:pt x="426" y="170"/>
                    </a:lnTo>
                    <a:lnTo>
                      <a:pt x="426" y="170"/>
                    </a:lnTo>
                    <a:lnTo>
                      <a:pt x="426" y="163"/>
                    </a:lnTo>
                    <a:lnTo>
                      <a:pt x="419" y="163"/>
                    </a:lnTo>
                    <a:lnTo>
                      <a:pt x="419" y="163"/>
                    </a:lnTo>
                    <a:lnTo>
                      <a:pt x="419" y="156"/>
                    </a:lnTo>
                    <a:lnTo>
                      <a:pt x="412" y="156"/>
                    </a:lnTo>
                    <a:lnTo>
                      <a:pt x="412" y="156"/>
                    </a:lnTo>
                    <a:lnTo>
                      <a:pt x="405" y="149"/>
                    </a:lnTo>
                    <a:lnTo>
                      <a:pt x="405" y="149"/>
                    </a:lnTo>
                    <a:lnTo>
                      <a:pt x="398" y="149"/>
                    </a:lnTo>
                    <a:lnTo>
                      <a:pt x="398" y="142"/>
                    </a:lnTo>
                    <a:lnTo>
                      <a:pt x="398" y="135"/>
                    </a:lnTo>
                    <a:lnTo>
                      <a:pt x="391" y="135"/>
                    </a:lnTo>
                    <a:lnTo>
                      <a:pt x="391" y="128"/>
                    </a:lnTo>
                    <a:lnTo>
                      <a:pt x="391" y="128"/>
                    </a:lnTo>
                    <a:lnTo>
                      <a:pt x="391" y="128"/>
                    </a:lnTo>
                    <a:lnTo>
                      <a:pt x="398" y="128"/>
                    </a:lnTo>
                    <a:lnTo>
                      <a:pt x="398" y="128"/>
                    </a:lnTo>
                    <a:lnTo>
                      <a:pt x="398" y="121"/>
                    </a:lnTo>
                    <a:lnTo>
                      <a:pt x="398" y="121"/>
                    </a:lnTo>
                    <a:lnTo>
                      <a:pt x="391" y="121"/>
                    </a:lnTo>
                    <a:lnTo>
                      <a:pt x="391" y="121"/>
                    </a:lnTo>
                    <a:lnTo>
                      <a:pt x="391" y="121"/>
                    </a:lnTo>
                    <a:lnTo>
                      <a:pt x="391" y="121"/>
                    </a:lnTo>
                    <a:lnTo>
                      <a:pt x="391" y="121"/>
                    </a:lnTo>
                    <a:lnTo>
                      <a:pt x="391" y="114"/>
                    </a:lnTo>
                    <a:lnTo>
                      <a:pt x="383" y="114"/>
                    </a:lnTo>
                    <a:lnTo>
                      <a:pt x="383" y="114"/>
                    </a:lnTo>
                    <a:lnTo>
                      <a:pt x="383" y="114"/>
                    </a:lnTo>
                    <a:lnTo>
                      <a:pt x="376" y="114"/>
                    </a:lnTo>
                    <a:lnTo>
                      <a:pt x="376" y="114"/>
                    </a:lnTo>
                    <a:lnTo>
                      <a:pt x="376" y="114"/>
                    </a:lnTo>
                    <a:lnTo>
                      <a:pt x="376" y="106"/>
                    </a:lnTo>
                    <a:lnTo>
                      <a:pt x="376" y="106"/>
                    </a:lnTo>
                    <a:lnTo>
                      <a:pt x="369" y="106"/>
                    </a:lnTo>
                    <a:lnTo>
                      <a:pt x="369" y="114"/>
                    </a:lnTo>
                    <a:lnTo>
                      <a:pt x="369" y="114"/>
                    </a:lnTo>
                    <a:lnTo>
                      <a:pt x="369" y="114"/>
                    </a:lnTo>
                    <a:lnTo>
                      <a:pt x="369" y="121"/>
                    </a:lnTo>
                    <a:lnTo>
                      <a:pt x="369" y="121"/>
                    </a:lnTo>
                    <a:lnTo>
                      <a:pt x="376" y="121"/>
                    </a:lnTo>
                    <a:lnTo>
                      <a:pt x="376" y="128"/>
                    </a:lnTo>
                    <a:lnTo>
                      <a:pt x="383" y="128"/>
                    </a:lnTo>
                    <a:lnTo>
                      <a:pt x="383" y="128"/>
                    </a:lnTo>
                    <a:lnTo>
                      <a:pt x="383" y="128"/>
                    </a:lnTo>
                    <a:lnTo>
                      <a:pt x="383" y="128"/>
                    </a:lnTo>
                    <a:lnTo>
                      <a:pt x="383" y="128"/>
                    </a:lnTo>
                    <a:lnTo>
                      <a:pt x="383" y="135"/>
                    </a:lnTo>
                    <a:lnTo>
                      <a:pt x="383" y="135"/>
                    </a:lnTo>
                    <a:lnTo>
                      <a:pt x="383" y="135"/>
                    </a:lnTo>
                    <a:lnTo>
                      <a:pt x="391" y="135"/>
                    </a:lnTo>
                    <a:lnTo>
                      <a:pt x="391" y="135"/>
                    </a:lnTo>
                    <a:lnTo>
                      <a:pt x="383" y="135"/>
                    </a:lnTo>
                    <a:lnTo>
                      <a:pt x="383" y="142"/>
                    </a:lnTo>
                    <a:lnTo>
                      <a:pt x="376" y="135"/>
                    </a:lnTo>
                    <a:lnTo>
                      <a:pt x="369" y="135"/>
                    </a:lnTo>
                    <a:lnTo>
                      <a:pt x="369" y="135"/>
                    </a:lnTo>
                    <a:lnTo>
                      <a:pt x="362" y="135"/>
                    </a:lnTo>
                    <a:lnTo>
                      <a:pt x="362" y="142"/>
                    </a:lnTo>
                    <a:lnTo>
                      <a:pt x="362" y="142"/>
                    </a:lnTo>
                    <a:lnTo>
                      <a:pt x="362" y="142"/>
                    </a:lnTo>
                    <a:lnTo>
                      <a:pt x="355" y="135"/>
                    </a:lnTo>
                    <a:lnTo>
                      <a:pt x="355" y="135"/>
                    </a:lnTo>
                    <a:lnTo>
                      <a:pt x="355" y="135"/>
                    </a:lnTo>
                    <a:lnTo>
                      <a:pt x="348" y="128"/>
                    </a:lnTo>
                    <a:lnTo>
                      <a:pt x="341" y="135"/>
                    </a:lnTo>
                    <a:lnTo>
                      <a:pt x="341" y="135"/>
                    </a:lnTo>
                    <a:lnTo>
                      <a:pt x="341" y="135"/>
                    </a:lnTo>
                    <a:lnTo>
                      <a:pt x="341" y="128"/>
                    </a:lnTo>
                    <a:lnTo>
                      <a:pt x="341" y="128"/>
                    </a:lnTo>
                    <a:lnTo>
                      <a:pt x="348" y="128"/>
                    </a:lnTo>
                    <a:lnTo>
                      <a:pt x="348" y="121"/>
                    </a:lnTo>
                    <a:lnTo>
                      <a:pt x="341" y="121"/>
                    </a:lnTo>
                    <a:lnTo>
                      <a:pt x="341" y="121"/>
                    </a:lnTo>
                    <a:lnTo>
                      <a:pt x="341" y="121"/>
                    </a:lnTo>
                    <a:lnTo>
                      <a:pt x="341" y="121"/>
                    </a:lnTo>
                    <a:lnTo>
                      <a:pt x="341" y="121"/>
                    </a:lnTo>
                    <a:lnTo>
                      <a:pt x="334" y="121"/>
                    </a:lnTo>
                    <a:lnTo>
                      <a:pt x="334" y="114"/>
                    </a:lnTo>
                    <a:lnTo>
                      <a:pt x="334" y="114"/>
                    </a:lnTo>
                    <a:lnTo>
                      <a:pt x="334" y="114"/>
                    </a:lnTo>
                    <a:lnTo>
                      <a:pt x="334" y="114"/>
                    </a:lnTo>
                    <a:lnTo>
                      <a:pt x="334" y="114"/>
                    </a:lnTo>
                    <a:lnTo>
                      <a:pt x="334" y="114"/>
                    </a:lnTo>
                    <a:lnTo>
                      <a:pt x="327" y="114"/>
                    </a:lnTo>
                    <a:lnTo>
                      <a:pt x="327" y="106"/>
                    </a:lnTo>
                    <a:lnTo>
                      <a:pt x="327" y="106"/>
                    </a:lnTo>
                    <a:lnTo>
                      <a:pt x="327" y="106"/>
                    </a:lnTo>
                    <a:lnTo>
                      <a:pt x="320" y="106"/>
                    </a:lnTo>
                    <a:lnTo>
                      <a:pt x="320" y="106"/>
                    </a:lnTo>
                    <a:lnTo>
                      <a:pt x="320" y="106"/>
                    </a:lnTo>
                    <a:lnTo>
                      <a:pt x="312" y="106"/>
                    </a:lnTo>
                    <a:lnTo>
                      <a:pt x="312" y="106"/>
                    </a:lnTo>
                    <a:lnTo>
                      <a:pt x="312" y="99"/>
                    </a:lnTo>
                    <a:lnTo>
                      <a:pt x="312" y="99"/>
                    </a:lnTo>
                    <a:lnTo>
                      <a:pt x="312" y="99"/>
                    </a:lnTo>
                    <a:lnTo>
                      <a:pt x="305" y="99"/>
                    </a:lnTo>
                    <a:lnTo>
                      <a:pt x="305" y="99"/>
                    </a:lnTo>
                    <a:lnTo>
                      <a:pt x="298" y="92"/>
                    </a:lnTo>
                    <a:lnTo>
                      <a:pt x="298" y="92"/>
                    </a:lnTo>
                    <a:lnTo>
                      <a:pt x="298" y="85"/>
                    </a:lnTo>
                    <a:lnTo>
                      <a:pt x="298" y="85"/>
                    </a:lnTo>
                    <a:lnTo>
                      <a:pt x="298" y="85"/>
                    </a:lnTo>
                    <a:lnTo>
                      <a:pt x="298" y="85"/>
                    </a:lnTo>
                    <a:lnTo>
                      <a:pt x="298" y="92"/>
                    </a:lnTo>
                    <a:lnTo>
                      <a:pt x="291" y="92"/>
                    </a:lnTo>
                    <a:lnTo>
                      <a:pt x="291" y="99"/>
                    </a:lnTo>
                    <a:lnTo>
                      <a:pt x="291" y="106"/>
                    </a:lnTo>
                    <a:lnTo>
                      <a:pt x="291" y="106"/>
                    </a:lnTo>
                    <a:lnTo>
                      <a:pt x="291" y="106"/>
                    </a:lnTo>
                    <a:lnTo>
                      <a:pt x="291" y="106"/>
                    </a:lnTo>
                    <a:lnTo>
                      <a:pt x="291" y="114"/>
                    </a:lnTo>
                    <a:lnTo>
                      <a:pt x="291" y="114"/>
                    </a:lnTo>
                    <a:lnTo>
                      <a:pt x="291" y="106"/>
                    </a:lnTo>
                    <a:lnTo>
                      <a:pt x="291" y="106"/>
                    </a:lnTo>
                    <a:lnTo>
                      <a:pt x="298" y="106"/>
                    </a:lnTo>
                    <a:lnTo>
                      <a:pt x="298" y="106"/>
                    </a:lnTo>
                    <a:lnTo>
                      <a:pt x="298" y="106"/>
                    </a:lnTo>
                    <a:lnTo>
                      <a:pt x="305" y="106"/>
                    </a:lnTo>
                    <a:lnTo>
                      <a:pt x="312" y="106"/>
                    </a:lnTo>
                    <a:lnTo>
                      <a:pt x="312" y="114"/>
                    </a:lnTo>
                    <a:lnTo>
                      <a:pt x="312" y="121"/>
                    </a:lnTo>
                    <a:lnTo>
                      <a:pt x="320" y="121"/>
                    </a:lnTo>
                    <a:lnTo>
                      <a:pt x="312" y="121"/>
                    </a:lnTo>
                    <a:lnTo>
                      <a:pt x="312" y="121"/>
                    </a:lnTo>
                    <a:lnTo>
                      <a:pt x="312" y="121"/>
                    </a:lnTo>
                    <a:lnTo>
                      <a:pt x="312" y="121"/>
                    </a:lnTo>
                    <a:lnTo>
                      <a:pt x="312" y="121"/>
                    </a:lnTo>
                    <a:lnTo>
                      <a:pt x="305" y="121"/>
                    </a:lnTo>
                    <a:lnTo>
                      <a:pt x="305" y="121"/>
                    </a:lnTo>
                    <a:lnTo>
                      <a:pt x="305" y="128"/>
                    </a:lnTo>
                    <a:lnTo>
                      <a:pt x="305" y="128"/>
                    </a:lnTo>
                    <a:lnTo>
                      <a:pt x="298" y="128"/>
                    </a:lnTo>
                    <a:lnTo>
                      <a:pt x="298" y="135"/>
                    </a:lnTo>
                    <a:lnTo>
                      <a:pt x="298" y="135"/>
                    </a:lnTo>
                    <a:lnTo>
                      <a:pt x="298" y="135"/>
                    </a:lnTo>
                    <a:lnTo>
                      <a:pt x="298" y="142"/>
                    </a:lnTo>
                    <a:lnTo>
                      <a:pt x="298" y="142"/>
                    </a:lnTo>
                    <a:lnTo>
                      <a:pt x="291" y="149"/>
                    </a:lnTo>
                    <a:lnTo>
                      <a:pt x="284" y="149"/>
                    </a:lnTo>
                    <a:lnTo>
                      <a:pt x="284" y="149"/>
                    </a:lnTo>
                    <a:lnTo>
                      <a:pt x="284" y="149"/>
                    </a:lnTo>
                    <a:lnTo>
                      <a:pt x="284" y="149"/>
                    </a:lnTo>
                    <a:lnTo>
                      <a:pt x="284" y="149"/>
                    </a:lnTo>
                    <a:lnTo>
                      <a:pt x="277" y="156"/>
                    </a:lnTo>
                    <a:lnTo>
                      <a:pt x="277" y="156"/>
                    </a:lnTo>
                    <a:lnTo>
                      <a:pt x="277" y="156"/>
                    </a:lnTo>
                    <a:lnTo>
                      <a:pt x="277" y="163"/>
                    </a:lnTo>
                    <a:lnTo>
                      <a:pt x="277" y="163"/>
                    </a:lnTo>
                    <a:lnTo>
                      <a:pt x="277" y="163"/>
                    </a:lnTo>
                    <a:lnTo>
                      <a:pt x="277" y="163"/>
                    </a:lnTo>
                    <a:lnTo>
                      <a:pt x="277" y="163"/>
                    </a:lnTo>
                    <a:lnTo>
                      <a:pt x="277" y="163"/>
                    </a:lnTo>
                    <a:lnTo>
                      <a:pt x="277" y="170"/>
                    </a:lnTo>
                    <a:lnTo>
                      <a:pt x="277" y="170"/>
                    </a:lnTo>
                    <a:lnTo>
                      <a:pt x="277" y="170"/>
                    </a:lnTo>
                    <a:lnTo>
                      <a:pt x="270" y="177"/>
                    </a:lnTo>
                    <a:lnTo>
                      <a:pt x="270" y="177"/>
                    </a:lnTo>
                    <a:lnTo>
                      <a:pt x="270" y="184"/>
                    </a:lnTo>
                    <a:lnTo>
                      <a:pt x="270" y="192"/>
                    </a:lnTo>
                    <a:lnTo>
                      <a:pt x="270" y="192"/>
                    </a:lnTo>
                    <a:lnTo>
                      <a:pt x="270" y="192"/>
                    </a:lnTo>
                    <a:lnTo>
                      <a:pt x="270" y="199"/>
                    </a:lnTo>
                    <a:lnTo>
                      <a:pt x="270" y="199"/>
                    </a:lnTo>
                    <a:lnTo>
                      <a:pt x="270" y="199"/>
                    </a:lnTo>
                    <a:lnTo>
                      <a:pt x="270" y="199"/>
                    </a:lnTo>
                    <a:lnTo>
                      <a:pt x="270" y="206"/>
                    </a:lnTo>
                    <a:lnTo>
                      <a:pt x="277" y="206"/>
                    </a:lnTo>
                    <a:lnTo>
                      <a:pt x="277" y="206"/>
                    </a:lnTo>
                    <a:lnTo>
                      <a:pt x="277" y="206"/>
                    </a:lnTo>
                    <a:lnTo>
                      <a:pt x="277" y="206"/>
                    </a:lnTo>
                    <a:lnTo>
                      <a:pt x="284" y="206"/>
                    </a:lnTo>
                    <a:lnTo>
                      <a:pt x="284" y="206"/>
                    </a:lnTo>
                    <a:lnTo>
                      <a:pt x="291" y="206"/>
                    </a:lnTo>
                    <a:lnTo>
                      <a:pt x="291" y="206"/>
                    </a:lnTo>
                    <a:lnTo>
                      <a:pt x="305" y="213"/>
                    </a:lnTo>
                    <a:lnTo>
                      <a:pt x="312" y="220"/>
                    </a:lnTo>
                    <a:lnTo>
                      <a:pt x="320" y="227"/>
                    </a:lnTo>
                    <a:lnTo>
                      <a:pt x="320" y="234"/>
                    </a:lnTo>
                    <a:lnTo>
                      <a:pt x="320" y="234"/>
                    </a:lnTo>
                    <a:lnTo>
                      <a:pt x="327" y="241"/>
                    </a:lnTo>
                    <a:lnTo>
                      <a:pt x="327" y="241"/>
                    </a:lnTo>
                    <a:lnTo>
                      <a:pt x="334" y="241"/>
                    </a:lnTo>
                    <a:lnTo>
                      <a:pt x="334" y="248"/>
                    </a:lnTo>
                    <a:lnTo>
                      <a:pt x="334" y="248"/>
                    </a:lnTo>
                    <a:lnTo>
                      <a:pt x="334" y="248"/>
                    </a:lnTo>
                    <a:lnTo>
                      <a:pt x="341" y="248"/>
                    </a:lnTo>
                    <a:lnTo>
                      <a:pt x="348" y="248"/>
                    </a:lnTo>
                    <a:lnTo>
                      <a:pt x="348" y="248"/>
                    </a:lnTo>
                    <a:lnTo>
                      <a:pt x="355" y="248"/>
                    </a:lnTo>
                    <a:lnTo>
                      <a:pt x="355" y="248"/>
                    </a:lnTo>
                    <a:lnTo>
                      <a:pt x="355" y="248"/>
                    </a:lnTo>
                    <a:lnTo>
                      <a:pt x="355" y="248"/>
                    </a:lnTo>
                    <a:lnTo>
                      <a:pt x="355" y="248"/>
                    </a:lnTo>
                    <a:lnTo>
                      <a:pt x="355" y="248"/>
                    </a:lnTo>
                    <a:lnTo>
                      <a:pt x="362" y="248"/>
                    </a:lnTo>
                    <a:lnTo>
                      <a:pt x="362" y="248"/>
                    </a:lnTo>
                    <a:lnTo>
                      <a:pt x="362" y="248"/>
                    </a:lnTo>
                    <a:lnTo>
                      <a:pt x="362" y="241"/>
                    </a:lnTo>
                    <a:lnTo>
                      <a:pt x="369" y="248"/>
                    </a:lnTo>
                    <a:lnTo>
                      <a:pt x="369" y="248"/>
                    </a:lnTo>
                    <a:lnTo>
                      <a:pt x="369" y="248"/>
                    </a:lnTo>
                    <a:lnTo>
                      <a:pt x="369" y="248"/>
                    </a:lnTo>
                    <a:lnTo>
                      <a:pt x="369" y="248"/>
                    </a:lnTo>
                    <a:lnTo>
                      <a:pt x="376" y="255"/>
                    </a:lnTo>
                    <a:lnTo>
                      <a:pt x="369" y="263"/>
                    </a:lnTo>
                    <a:lnTo>
                      <a:pt x="369" y="263"/>
                    </a:lnTo>
                    <a:lnTo>
                      <a:pt x="369" y="263"/>
                    </a:lnTo>
                    <a:lnTo>
                      <a:pt x="376" y="263"/>
                    </a:lnTo>
                    <a:lnTo>
                      <a:pt x="376" y="263"/>
                    </a:lnTo>
                    <a:lnTo>
                      <a:pt x="376" y="263"/>
                    </a:lnTo>
                    <a:lnTo>
                      <a:pt x="376" y="270"/>
                    </a:lnTo>
                    <a:lnTo>
                      <a:pt x="376" y="270"/>
                    </a:lnTo>
                    <a:lnTo>
                      <a:pt x="383" y="270"/>
                    </a:lnTo>
                    <a:lnTo>
                      <a:pt x="383" y="270"/>
                    </a:lnTo>
                    <a:lnTo>
                      <a:pt x="383" y="270"/>
                    </a:lnTo>
                    <a:lnTo>
                      <a:pt x="383" y="270"/>
                    </a:lnTo>
                    <a:lnTo>
                      <a:pt x="391" y="270"/>
                    </a:lnTo>
                    <a:lnTo>
                      <a:pt x="398" y="270"/>
                    </a:lnTo>
                    <a:lnTo>
                      <a:pt x="398" y="277"/>
                    </a:lnTo>
                    <a:lnTo>
                      <a:pt x="398" y="277"/>
                    </a:lnTo>
                    <a:lnTo>
                      <a:pt x="398" y="277"/>
                    </a:lnTo>
                    <a:lnTo>
                      <a:pt x="398" y="277"/>
                    </a:lnTo>
                    <a:lnTo>
                      <a:pt x="391" y="284"/>
                    </a:lnTo>
                    <a:lnTo>
                      <a:pt x="391" y="284"/>
                    </a:lnTo>
                    <a:lnTo>
                      <a:pt x="391" y="284"/>
                    </a:lnTo>
                    <a:lnTo>
                      <a:pt x="391" y="284"/>
                    </a:lnTo>
                    <a:lnTo>
                      <a:pt x="391" y="291"/>
                    </a:lnTo>
                    <a:lnTo>
                      <a:pt x="391" y="291"/>
                    </a:lnTo>
                    <a:lnTo>
                      <a:pt x="391" y="291"/>
                    </a:lnTo>
                    <a:lnTo>
                      <a:pt x="391" y="291"/>
                    </a:lnTo>
                    <a:lnTo>
                      <a:pt x="376" y="291"/>
                    </a:lnTo>
                    <a:lnTo>
                      <a:pt x="376" y="291"/>
                    </a:lnTo>
                    <a:lnTo>
                      <a:pt x="376" y="291"/>
                    </a:lnTo>
                    <a:lnTo>
                      <a:pt x="376" y="291"/>
                    </a:lnTo>
                    <a:lnTo>
                      <a:pt x="376" y="291"/>
                    </a:lnTo>
                    <a:lnTo>
                      <a:pt x="376" y="291"/>
                    </a:lnTo>
                    <a:lnTo>
                      <a:pt x="369" y="291"/>
                    </a:lnTo>
                    <a:lnTo>
                      <a:pt x="362" y="291"/>
                    </a:lnTo>
                    <a:lnTo>
                      <a:pt x="355" y="291"/>
                    </a:lnTo>
                    <a:lnTo>
                      <a:pt x="355" y="291"/>
                    </a:lnTo>
                    <a:lnTo>
                      <a:pt x="348" y="291"/>
                    </a:lnTo>
                    <a:lnTo>
                      <a:pt x="348" y="291"/>
                    </a:lnTo>
                    <a:lnTo>
                      <a:pt x="348" y="291"/>
                    </a:lnTo>
                    <a:lnTo>
                      <a:pt x="341" y="291"/>
                    </a:lnTo>
                    <a:lnTo>
                      <a:pt x="341" y="291"/>
                    </a:lnTo>
                    <a:lnTo>
                      <a:pt x="341" y="291"/>
                    </a:lnTo>
                    <a:lnTo>
                      <a:pt x="341" y="291"/>
                    </a:lnTo>
                    <a:lnTo>
                      <a:pt x="341" y="291"/>
                    </a:lnTo>
                    <a:lnTo>
                      <a:pt x="334" y="291"/>
                    </a:lnTo>
                    <a:lnTo>
                      <a:pt x="334" y="291"/>
                    </a:lnTo>
                    <a:lnTo>
                      <a:pt x="327" y="291"/>
                    </a:lnTo>
                    <a:lnTo>
                      <a:pt x="327" y="291"/>
                    </a:lnTo>
                    <a:lnTo>
                      <a:pt x="327" y="305"/>
                    </a:lnTo>
                    <a:lnTo>
                      <a:pt x="327" y="312"/>
                    </a:lnTo>
                    <a:lnTo>
                      <a:pt x="327" y="319"/>
                    </a:lnTo>
                    <a:lnTo>
                      <a:pt x="327" y="319"/>
                    </a:lnTo>
                    <a:lnTo>
                      <a:pt x="327" y="326"/>
                    </a:lnTo>
                    <a:lnTo>
                      <a:pt x="320" y="326"/>
                    </a:lnTo>
                    <a:lnTo>
                      <a:pt x="320" y="334"/>
                    </a:lnTo>
                    <a:lnTo>
                      <a:pt x="312" y="341"/>
                    </a:lnTo>
                    <a:lnTo>
                      <a:pt x="312" y="341"/>
                    </a:lnTo>
                    <a:lnTo>
                      <a:pt x="312" y="341"/>
                    </a:lnTo>
                    <a:lnTo>
                      <a:pt x="305" y="341"/>
                    </a:lnTo>
                    <a:lnTo>
                      <a:pt x="305" y="341"/>
                    </a:lnTo>
                    <a:lnTo>
                      <a:pt x="305" y="334"/>
                    </a:lnTo>
                    <a:lnTo>
                      <a:pt x="305" y="334"/>
                    </a:lnTo>
                    <a:lnTo>
                      <a:pt x="298" y="334"/>
                    </a:lnTo>
                    <a:lnTo>
                      <a:pt x="298" y="326"/>
                    </a:lnTo>
                    <a:lnTo>
                      <a:pt x="298" y="326"/>
                    </a:lnTo>
                    <a:lnTo>
                      <a:pt x="291" y="326"/>
                    </a:lnTo>
                    <a:lnTo>
                      <a:pt x="291" y="334"/>
                    </a:lnTo>
                    <a:lnTo>
                      <a:pt x="291" y="334"/>
                    </a:lnTo>
                    <a:lnTo>
                      <a:pt x="291" y="334"/>
                    </a:lnTo>
                    <a:lnTo>
                      <a:pt x="291" y="334"/>
                    </a:lnTo>
                    <a:lnTo>
                      <a:pt x="291" y="341"/>
                    </a:lnTo>
                    <a:lnTo>
                      <a:pt x="291" y="341"/>
                    </a:lnTo>
                    <a:lnTo>
                      <a:pt x="291" y="348"/>
                    </a:lnTo>
                    <a:lnTo>
                      <a:pt x="291" y="348"/>
                    </a:lnTo>
                    <a:lnTo>
                      <a:pt x="291" y="348"/>
                    </a:lnTo>
                    <a:lnTo>
                      <a:pt x="284" y="348"/>
                    </a:lnTo>
                    <a:lnTo>
                      <a:pt x="284" y="348"/>
                    </a:lnTo>
                    <a:lnTo>
                      <a:pt x="284" y="355"/>
                    </a:lnTo>
                    <a:lnTo>
                      <a:pt x="284" y="355"/>
                    </a:lnTo>
                    <a:lnTo>
                      <a:pt x="284" y="355"/>
                    </a:lnTo>
                    <a:lnTo>
                      <a:pt x="284" y="355"/>
                    </a:lnTo>
                    <a:lnTo>
                      <a:pt x="284" y="355"/>
                    </a:lnTo>
                    <a:lnTo>
                      <a:pt x="284" y="362"/>
                    </a:lnTo>
                    <a:lnTo>
                      <a:pt x="277" y="369"/>
                    </a:lnTo>
                    <a:lnTo>
                      <a:pt x="277" y="369"/>
                    </a:lnTo>
                    <a:lnTo>
                      <a:pt x="277" y="376"/>
                    </a:lnTo>
                    <a:lnTo>
                      <a:pt x="284" y="376"/>
                    </a:lnTo>
                    <a:lnTo>
                      <a:pt x="284" y="376"/>
                    </a:lnTo>
                    <a:lnTo>
                      <a:pt x="284" y="376"/>
                    </a:lnTo>
                    <a:lnTo>
                      <a:pt x="291" y="376"/>
                    </a:lnTo>
                    <a:lnTo>
                      <a:pt x="291" y="383"/>
                    </a:lnTo>
                    <a:lnTo>
                      <a:pt x="291" y="390"/>
                    </a:lnTo>
                    <a:lnTo>
                      <a:pt x="291" y="390"/>
                    </a:lnTo>
                    <a:lnTo>
                      <a:pt x="291" y="390"/>
                    </a:lnTo>
                    <a:lnTo>
                      <a:pt x="291" y="390"/>
                    </a:lnTo>
                    <a:lnTo>
                      <a:pt x="291" y="390"/>
                    </a:lnTo>
                    <a:lnTo>
                      <a:pt x="291" y="390"/>
                    </a:lnTo>
                    <a:lnTo>
                      <a:pt x="298" y="397"/>
                    </a:lnTo>
                    <a:lnTo>
                      <a:pt x="334" y="412"/>
                    </a:lnTo>
                    <a:lnTo>
                      <a:pt x="341" y="419"/>
                    </a:lnTo>
                    <a:lnTo>
                      <a:pt x="348" y="419"/>
                    </a:lnTo>
                    <a:lnTo>
                      <a:pt x="355" y="419"/>
                    </a:lnTo>
                    <a:lnTo>
                      <a:pt x="362" y="419"/>
                    </a:lnTo>
                    <a:lnTo>
                      <a:pt x="369" y="419"/>
                    </a:lnTo>
                    <a:lnTo>
                      <a:pt x="369" y="419"/>
                    </a:lnTo>
                    <a:lnTo>
                      <a:pt x="369" y="412"/>
                    </a:lnTo>
                    <a:lnTo>
                      <a:pt x="369" y="412"/>
                    </a:lnTo>
                    <a:lnTo>
                      <a:pt x="376" y="419"/>
                    </a:lnTo>
                    <a:lnTo>
                      <a:pt x="376" y="419"/>
                    </a:lnTo>
                    <a:lnTo>
                      <a:pt x="383" y="426"/>
                    </a:lnTo>
                    <a:lnTo>
                      <a:pt x="383" y="426"/>
                    </a:lnTo>
                    <a:lnTo>
                      <a:pt x="383" y="433"/>
                    </a:lnTo>
                    <a:lnTo>
                      <a:pt x="383" y="433"/>
                    </a:lnTo>
                    <a:lnTo>
                      <a:pt x="383" y="433"/>
                    </a:lnTo>
                    <a:lnTo>
                      <a:pt x="383" y="433"/>
                    </a:lnTo>
                    <a:lnTo>
                      <a:pt x="383" y="433"/>
                    </a:lnTo>
                    <a:lnTo>
                      <a:pt x="376" y="440"/>
                    </a:lnTo>
                    <a:lnTo>
                      <a:pt x="376" y="440"/>
                    </a:lnTo>
                    <a:lnTo>
                      <a:pt x="376" y="440"/>
                    </a:lnTo>
                    <a:lnTo>
                      <a:pt x="376" y="440"/>
                    </a:lnTo>
                    <a:lnTo>
                      <a:pt x="376" y="440"/>
                    </a:lnTo>
                    <a:lnTo>
                      <a:pt x="376" y="447"/>
                    </a:lnTo>
                    <a:lnTo>
                      <a:pt x="376" y="447"/>
                    </a:lnTo>
                    <a:lnTo>
                      <a:pt x="376" y="447"/>
                    </a:lnTo>
                    <a:lnTo>
                      <a:pt x="376" y="454"/>
                    </a:lnTo>
                    <a:lnTo>
                      <a:pt x="376" y="454"/>
                    </a:lnTo>
                    <a:lnTo>
                      <a:pt x="376" y="454"/>
                    </a:lnTo>
                    <a:lnTo>
                      <a:pt x="376" y="454"/>
                    </a:lnTo>
                    <a:lnTo>
                      <a:pt x="383" y="454"/>
                    </a:lnTo>
                    <a:lnTo>
                      <a:pt x="383" y="461"/>
                    </a:lnTo>
                    <a:lnTo>
                      <a:pt x="383" y="461"/>
                    </a:lnTo>
                    <a:lnTo>
                      <a:pt x="376" y="461"/>
                    </a:lnTo>
                    <a:lnTo>
                      <a:pt x="383" y="468"/>
                    </a:lnTo>
                    <a:lnTo>
                      <a:pt x="383" y="468"/>
                    </a:lnTo>
                    <a:lnTo>
                      <a:pt x="383" y="468"/>
                    </a:lnTo>
                    <a:lnTo>
                      <a:pt x="383" y="476"/>
                    </a:lnTo>
                    <a:lnTo>
                      <a:pt x="383" y="476"/>
                    </a:lnTo>
                    <a:lnTo>
                      <a:pt x="376" y="483"/>
                    </a:lnTo>
                    <a:lnTo>
                      <a:pt x="376" y="483"/>
                    </a:lnTo>
                    <a:lnTo>
                      <a:pt x="369" y="483"/>
                    </a:lnTo>
                    <a:lnTo>
                      <a:pt x="369" y="483"/>
                    </a:lnTo>
                    <a:lnTo>
                      <a:pt x="369" y="483"/>
                    </a:lnTo>
                    <a:lnTo>
                      <a:pt x="362" y="483"/>
                    </a:lnTo>
                    <a:lnTo>
                      <a:pt x="362" y="490"/>
                    </a:lnTo>
                    <a:lnTo>
                      <a:pt x="362" y="490"/>
                    </a:lnTo>
                    <a:lnTo>
                      <a:pt x="362" y="490"/>
                    </a:lnTo>
                    <a:lnTo>
                      <a:pt x="362" y="490"/>
                    </a:lnTo>
                    <a:lnTo>
                      <a:pt x="362" y="490"/>
                    </a:lnTo>
                    <a:lnTo>
                      <a:pt x="362" y="497"/>
                    </a:lnTo>
                    <a:lnTo>
                      <a:pt x="362" y="497"/>
                    </a:lnTo>
                    <a:lnTo>
                      <a:pt x="362" y="497"/>
                    </a:lnTo>
                    <a:lnTo>
                      <a:pt x="362" y="504"/>
                    </a:lnTo>
                    <a:lnTo>
                      <a:pt x="362" y="504"/>
                    </a:lnTo>
                    <a:lnTo>
                      <a:pt x="362" y="518"/>
                    </a:lnTo>
                    <a:lnTo>
                      <a:pt x="362" y="518"/>
                    </a:lnTo>
                    <a:lnTo>
                      <a:pt x="362" y="518"/>
                    </a:lnTo>
                    <a:lnTo>
                      <a:pt x="362" y="518"/>
                    </a:lnTo>
                    <a:lnTo>
                      <a:pt x="369" y="518"/>
                    </a:lnTo>
                    <a:lnTo>
                      <a:pt x="369" y="518"/>
                    </a:lnTo>
                    <a:lnTo>
                      <a:pt x="369" y="518"/>
                    </a:lnTo>
                    <a:lnTo>
                      <a:pt x="369" y="525"/>
                    </a:lnTo>
                    <a:lnTo>
                      <a:pt x="369" y="525"/>
                    </a:lnTo>
                    <a:lnTo>
                      <a:pt x="369" y="525"/>
                    </a:lnTo>
                    <a:lnTo>
                      <a:pt x="369" y="525"/>
                    </a:lnTo>
                    <a:lnTo>
                      <a:pt x="369" y="525"/>
                    </a:lnTo>
                    <a:lnTo>
                      <a:pt x="376" y="525"/>
                    </a:lnTo>
                    <a:lnTo>
                      <a:pt x="376" y="532"/>
                    </a:lnTo>
                    <a:lnTo>
                      <a:pt x="383" y="532"/>
                    </a:lnTo>
                    <a:lnTo>
                      <a:pt x="383" y="539"/>
                    </a:lnTo>
                    <a:lnTo>
                      <a:pt x="383" y="539"/>
                    </a:lnTo>
                    <a:lnTo>
                      <a:pt x="391" y="539"/>
                    </a:lnTo>
                    <a:lnTo>
                      <a:pt x="391" y="539"/>
                    </a:lnTo>
                    <a:lnTo>
                      <a:pt x="391" y="539"/>
                    </a:lnTo>
                    <a:lnTo>
                      <a:pt x="391" y="539"/>
                    </a:lnTo>
                    <a:lnTo>
                      <a:pt x="398" y="539"/>
                    </a:lnTo>
                    <a:lnTo>
                      <a:pt x="398" y="539"/>
                    </a:lnTo>
                    <a:lnTo>
                      <a:pt x="391" y="561"/>
                    </a:lnTo>
                    <a:lnTo>
                      <a:pt x="391" y="561"/>
                    </a:lnTo>
                    <a:lnTo>
                      <a:pt x="391" y="568"/>
                    </a:lnTo>
                    <a:lnTo>
                      <a:pt x="391" y="568"/>
                    </a:lnTo>
                    <a:lnTo>
                      <a:pt x="391" y="575"/>
                    </a:lnTo>
                    <a:lnTo>
                      <a:pt x="391" y="575"/>
                    </a:lnTo>
                    <a:lnTo>
                      <a:pt x="398" y="575"/>
                    </a:lnTo>
                    <a:lnTo>
                      <a:pt x="405" y="575"/>
                    </a:lnTo>
                    <a:lnTo>
                      <a:pt x="405" y="575"/>
                    </a:lnTo>
                    <a:lnTo>
                      <a:pt x="405" y="575"/>
                    </a:lnTo>
                    <a:lnTo>
                      <a:pt x="405" y="575"/>
                    </a:lnTo>
                    <a:lnTo>
                      <a:pt x="405" y="575"/>
                    </a:lnTo>
                    <a:lnTo>
                      <a:pt x="412" y="575"/>
                    </a:lnTo>
                    <a:lnTo>
                      <a:pt x="419" y="575"/>
                    </a:lnTo>
                    <a:lnTo>
                      <a:pt x="419" y="575"/>
                    </a:lnTo>
                    <a:lnTo>
                      <a:pt x="419" y="575"/>
                    </a:lnTo>
                    <a:lnTo>
                      <a:pt x="426" y="575"/>
                    </a:lnTo>
                    <a:lnTo>
                      <a:pt x="426" y="575"/>
                    </a:lnTo>
                    <a:lnTo>
                      <a:pt x="426" y="582"/>
                    </a:lnTo>
                    <a:lnTo>
                      <a:pt x="426" y="582"/>
                    </a:lnTo>
                    <a:lnTo>
                      <a:pt x="426" y="582"/>
                    </a:lnTo>
                    <a:lnTo>
                      <a:pt x="419" y="589"/>
                    </a:lnTo>
                    <a:lnTo>
                      <a:pt x="412" y="596"/>
                    </a:lnTo>
                    <a:lnTo>
                      <a:pt x="412" y="596"/>
                    </a:lnTo>
                    <a:lnTo>
                      <a:pt x="412" y="603"/>
                    </a:lnTo>
                    <a:lnTo>
                      <a:pt x="412" y="610"/>
                    </a:lnTo>
                    <a:lnTo>
                      <a:pt x="412" y="610"/>
                    </a:lnTo>
                    <a:lnTo>
                      <a:pt x="412" y="610"/>
                    </a:lnTo>
                    <a:lnTo>
                      <a:pt x="419" y="618"/>
                    </a:lnTo>
                    <a:lnTo>
                      <a:pt x="419" y="618"/>
                    </a:lnTo>
                    <a:lnTo>
                      <a:pt x="419" y="625"/>
                    </a:lnTo>
                    <a:lnTo>
                      <a:pt x="426" y="625"/>
                    </a:lnTo>
                    <a:lnTo>
                      <a:pt x="426" y="632"/>
                    </a:lnTo>
                    <a:lnTo>
                      <a:pt x="426" y="632"/>
                    </a:lnTo>
                    <a:lnTo>
                      <a:pt x="426" y="632"/>
                    </a:lnTo>
                    <a:lnTo>
                      <a:pt x="426" y="632"/>
                    </a:lnTo>
                    <a:lnTo>
                      <a:pt x="426" y="639"/>
                    </a:lnTo>
                    <a:lnTo>
                      <a:pt x="426" y="639"/>
                    </a:lnTo>
                    <a:lnTo>
                      <a:pt x="426" y="639"/>
                    </a:lnTo>
                    <a:lnTo>
                      <a:pt x="426" y="646"/>
                    </a:lnTo>
                    <a:lnTo>
                      <a:pt x="426" y="646"/>
                    </a:lnTo>
                    <a:lnTo>
                      <a:pt x="426" y="646"/>
                    </a:lnTo>
                    <a:lnTo>
                      <a:pt x="426" y="653"/>
                    </a:lnTo>
                    <a:lnTo>
                      <a:pt x="426" y="653"/>
                    </a:lnTo>
                    <a:lnTo>
                      <a:pt x="426" y="660"/>
                    </a:lnTo>
                    <a:lnTo>
                      <a:pt x="433" y="660"/>
                    </a:lnTo>
                    <a:lnTo>
                      <a:pt x="433" y="667"/>
                    </a:lnTo>
                    <a:lnTo>
                      <a:pt x="433" y="667"/>
                    </a:lnTo>
                    <a:lnTo>
                      <a:pt x="433" y="674"/>
                    </a:lnTo>
                    <a:lnTo>
                      <a:pt x="433" y="674"/>
                    </a:lnTo>
                    <a:lnTo>
                      <a:pt x="433" y="674"/>
                    </a:lnTo>
                    <a:lnTo>
                      <a:pt x="433" y="674"/>
                    </a:lnTo>
                    <a:lnTo>
                      <a:pt x="440" y="681"/>
                    </a:lnTo>
                    <a:lnTo>
                      <a:pt x="440" y="688"/>
                    </a:lnTo>
                    <a:lnTo>
                      <a:pt x="440" y="688"/>
                    </a:lnTo>
                    <a:lnTo>
                      <a:pt x="440" y="696"/>
                    </a:lnTo>
                    <a:lnTo>
                      <a:pt x="440" y="696"/>
                    </a:lnTo>
                    <a:lnTo>
                      <a:pt x="440" y="696"/>
                    </a:lnTo>
                    <a:lnTo>
                      <a:pt x="440" y="696"/>
                    </a:lnTo>
                    <a:lnTo>
                      <a:pt x="440" y="703"/>
                    </a:lnTo>
                    <a:lnTo>
                      <a:pt x="447" y="710"/>
                    </a:lnTo>
                    <a:lnTo>
                      <a:pt x="447" y="710"/>
                    </a:lnTo>
                    <a:lnTo>
                      <a:pt x="447" y="710"/>
                    </a:lnTo>
                    <a:lnTo>
                      <a:pt x="447" y="717"/>
                    </a:lnTo>
                    <a:lnTo>
                      <a:pt x="454" y="724"/>
                    </a:lnTo>
                    <a:lnTo>
                      <a:pt x="454" y="724"/>
                    </a:lnTo>
                    <a:lnTo>
                      <a:pt x="454" y="731"/>
                    </a:lnTo>
                    <a:lnTo>
                      <a:pt x="454" y="731"/>
                    </a:lnTo>
                    <a:lnTo>
                      <a:pt x="454" y="738"/>
                    </a:lnTo>
                    <a:lnTo>
                      <a:pt x="454" y="731"/>
                    </a:lnTo>
                    <a:lnTo>
                      <a:pt x="454" y="738"/>
                    </a:lnTo>
                    <a:lnTo>
                      <a:pt x="454" y="738"/>
                    </a:lnTo>
                    <a:lnTo>
                      <a:pt x="454" y="738"/>
                    </a:lnTo>
                    <a:lnTo>
                      <a:pt x="454" y="738"/>
                    </a:lnTo>
                    <a:lnTo>
                      <a:pt x="454" y="745"/>
                    </a:lnTo>
                    <a:lnTo>
                      <a:pt x="454" y="745"/>
                    </a:lnTo>
                    <a:lnTo>
                      <a:pt x="454" y="752"/>
                    </a:lnTo>
                    <a:lnTo>
                      <a:pt x="454" y="759"/>
                    </a:lnTo>
                    <a:lnTo>
                      <a:pt x="454" y="767"/>
                    </a:lnTo>
                    <a:lnTo>
                      <a:pt x="454" y="767"/>
                    </a:lnTo>
                    <a:lnTo>
                      <a:pt x="454" y="767"/>
                    </a:lnTo>
                    <a:lnTo>
                      <a:pt x="447" y="767"/>
                    </a:lnTo>
                    <a:lnTo>
                      <a:pt x="447" y="767"/>
                    </a:lnTo>
                    <a:lnTo>
                      <a:pt x="447" y="767"/>
                    </a:lnTo>
                    <a:lnTo>
                      <a:pt x="447" y="767"/>
                    </a:lnTo>
                    <a:lnTo>
                      <a:pt x="440" y="767"/>
                    </a:lnTo>
                    <a:lnTo>
                      <a:pt x="440" y="767"/>
                    </a:lnTo>
                    <a:lnTo>
                      <a:pt x="440" y="759"/>
                    </a:lnTo>
                    <a:lnTo>
                      <a:pt x="440" y="759"/>
                    </a:lnTo>
                    <a:lnTo>
                      <a:pt x="440" y="759"/>
                    </a:lnTo>
                    <a:lnTo>
                      <a:pt x="433" y="759"/>
                    </a:lnTo>
                    <a:lnTo>
                      <a:pt x="433" y="759"/>
                    </a:lnTo>
                    <a:lnTo>
                      <a:pt x="433" y="759"/>
                    </a:lnTo>
                    <a:lnTo>
                      <a:pt x="440" y="767"/>
                    </a:lnTo>
                    <a:lnTo>
                      <a:pt x="440" y="767"/>
                    </a:lnTo>
                    <a:lnTo>
                      <a:pt x="440" y="767"/>
                    </a:lnTo>
                    <a:lnTo>
                      <a:pt x="447" y="767"/>
                    </a:lnTo>
                    <a:lnTo>
                      <a:pt x="447" y="774"/>
                    </a:lnTo>
                    <a:lnTo>
                      <a:pt x="454" y="774"/>
                    </a:lnTo>
                    <a:lnTo>
                      <a:pt x="454" y="788"/>
                    </a:lnTo>
                    <a:lnTo>
                      <a:pt x="454" y="795"/>
                    </a:lnTo>
                    <a:lnTo>
                      <a:pt x="454" y="795"/>
                    </a:lnTo>
                    <a:lnTo>
                      <a:pt x="462" y="795"/>
                    </a:lnTo>
                    <a:lnTo>
                      <a:pt x="462" y="802"/>
                    </a:lnTo>
                    <a:lnTo>
                      <a:pt x="462" y="802"/>
                    </a:lnTo>
                    <a:lnTo>
                      <a:pt x="462" y="809"/>
                    </a:lnTo>
                    <a:lnTo>
                      <a:pt x="462" y="809"/>
                    </a:lnTo>
                    <a:lnTo>
                      <a:pt x="462" y="809"/>
                    </a:lnTo>
                    <a:lnTo>
                      <a:pt x="462" y="809"/>
                    </a:lnTo>
                    <a:lnTo>
                      <a:pt x="462" y="809"/>
                    </a:lnTo>
                    <a:lnTo>
                      <a:pt x="454" y="809"/>
                    </a:lnTo>
                    <a:lnTo>
                      <a:pt x="454" y="809"/>
                    </a:lnTo>
                    <a:lnTo>
                      <a:pt x="454" y="809"/>
                    </a:lnTo>
                    <a:lnTo>
                      <a:pt x="454" y="809"/>
                    </a:lnTo>
                    <a:lnTo>
                      <a:pt x="454" y="809"/>
                    </a:lnTo>
                    <a:lnTo>
                      <a:pt x="454" y="809"/>
                    </a:lnTo>
                    <a:lnTo>
                      <a:pt x="454" y="809"/>
                    </a:lnTo>
                    <a:lnTo>
                      <a:pt x="447" y="809"/>
                    </a:lnTo>
                    <a:lnTo>
                      <a:pt x="440" y="809"/>
                    </a:lnTo>
                    <a:lnTo>
                      <a:pt x="440" y="809"/>
                    </a:lnTo>
                    <a:lnTo>
                      <a:pt x="440" y="809"/>
                    </a:lnTo>
                    <a:lnTo>
                      <a:pt x="433" y="802"/>
                    </a:lnTo>
                    <a:lnTo>
                      <a:pt x="433" y="802"/>
                    </a:lnTo>
                    <a:lnTo>
                      <a:pt x="433" y="795"/>
                    </a:lnTo>
                    <a:lnTo>
                      <a:pt x="433" y="788"/>
                    </a:lnTo>
                    <a:lnTo>
                      <a:pt x="433" y="788"/>
                    </a:lnTo>
                    <a:lnTo>
                      <a:pt x="433" y="795"/>
                    </a:lnTo>
                    <a:lnTo>
                      <a:pt x="433" y="795"/>
                    </a:lnTo>
                    <a:lnTo>
                      <a:pt x="426" y="802"/>
                    </a:lnTo>
                    <a:lnTo>
                      <a:pt x="433" y="802"/>
                    </a:lnTo>
                    <a:lnTo>
                      <a:pt x="433" y="809"/>
                    </a:lnTo>
                    <a:lnTo>
                      <a:pt x="433" y="809"/>
                    </a:lnTo>
                    <a:lnTo>
                      <a:pt x="433" y="809"/>
                    </a:lnTo>
                    <a:lnTo>
                      <a:pt x="426" y="809"/>
                    </a:lnTo>
                    <a:lnTo>
                      <a:pt x="426" y="809"/>
                    </a:lnTo>
                    <a:lnTo>
                      <a:pt x="426" y="809"/>
                    </a:lnTo>
                    <a:lnTo>
                      <a:pt x="426" y="809"/>
                    </a:lnTo>
                    <a:lnTo>
                      <a:pt x="426" y="809"/>
                    </a:lnTo>
                    <a:lnTo>
                      <a:pt x="426" y="802"/>
                    </a:lnTo>
                    <a:lnTo>
                      <a:pt x="426" y="802"/>
                    </a:lnTo>
                    <a:lnTo>
                      <a:pt x="426" y="802"/>
                    </a:lnTo>
                    <a:lnTo>
                      <a:pt x="426" y="802"/>
                    </a:lnTo>
                    <a:lnTo>
                      <a:pt x="426" y="802"/>
                    </a:lnTo>
                    <a:lnTo>
                      <a:pt x="426" y="809"/>
                    </a:lnTo>
                    <a:lnTo>
                      <a:pt x="426" y="809"/>
                    </a:lnTo>
                    <a:lnTo>
                      <a:pt x="419" y="809"/>
                    </a:lnTo>
                    <a:lnTo>
                      <a:pt x="419" y="809"/>
                    </a:lnTo>
                    <a:lnTo>
                      <a:pt x="419" y="809"/>
                    </a:lnTo>
                    <a:lnTo>
                      <a:pt x="426" y="809"/>
                    </a:lnTo>
                    <a:lnTo>
                      <a:pt x="426" y="816"/>
                    </a:lnTo>
                    <a:lnTo>
                      <a:pt x="426" y="816"/>
                    </a:lnTo>
                    <a:lnTo>
                      <a:pt x="426" y="816"/>
                    </a:lnTo>
                    <a:lnTo>
                      <a:pt x="419" y="823"/>
                    </a:lnTo>
                    <a:lnTo>
                      <a:pt x="419" y="823"/>
                    </a:lnTo>
                    <a:lnTo>
                      <a:pt x="412" y="816"/>
                    </a:lnTo>
                    <a:lnTo>
                      <a:pt x="412" y="816"/>
                    </a:lnTo>
                    <a:lnTo>
                      <a:pt x="412" y="802"/>
                    </a:lnTo>
                    <a:lnTo>
                      <a:pt x="412" y="802"/>
                    </a:lnTo>
                    <a:lnTo>
                      <a:pt x="412" y="781"/>
                    </a:lnTo>
                    <a:lnTo>
                      <a:pt x="412" y="781"/>
                    </a:lnTo>
                    <a:lnTo>
                      <a:pt x="405" y="781"/>
                    </a:lnTo>
                    <a:lnTo>
                      <a:pt x="412" y="774"/>
                    </a:lnTo>
                    <a:lnTo>
                      <a:pt x="412" y="767"/>
                    </a:lnTo>
                    <a:lnTo>
                      <a:pt x="412" y="759"/>
                    </a:lnTo>
                    <a:lnTo>
                      <a:pt x="412" y="759"/>
                    </a:lnTo>
                    <a:lnTo>
                      <a:pt x="412" y="759"/>
                    </a:lnTo>
                    <a:lnTo>
                      <a:pt x="412" y="752"/>
                    </a:lnTo>
                    <a:lnTo>
                      <a:pt x="412" y="752"/>
                    </a:lnTo>
                    <a:lnTo>
                      <a:pt x="412" y="752"/>
                    </a:lnTo>
                    <a:lnTo>
                      <a:pt x="412" y="745"/>
                    </a:lnTo>
                    <a:lnTo>
                      <a:pt x="405" y="745"/>
                    </a:lnTo>
                    <a:lnTo>
                      <a:pt x="405" y="745"/>
                    </a:lnTo>
                    <a:lnTo>
                      <a:pt x="412" y="738"/>
                    </a:lnTo>
                    <a:lnTo>
                      <a:pt x="412" y="738"/>
                    </a:lnTo>
                    <a:lnTo>
                      <a:pt x="412" y="738"/>
                    </a:lnTo>
                    <a:lnTo>
                      <a:pt x="412" y="738"/>
                    </a:lnTo>
                    <a:lnTo>
                      <a:pt x="405" y="738"/>
                    </a:lnTo>
                    <a:lnTo>
                      <a:pt x="405" y="745"/>
                    </a:lnTo>
                    <a:lnTo>
                      <a:pt x="405" y="745"/>
                    </a:lnTo>
                    <a:lnTo>
                      <a:pt x="405" y="745"/>
                    </a:lnTo>
                    <a:lnTo>
                      <a:pt x="405" y="745"/>
                    </a:lnTo>
                    <a:lnTo>
                      <a:pt x="412" y="752"/>
                    </a:lnTo>
                    <a:lnTo>
                      <a:pt x="412" y="752"/>
                    </a:lnTo>
                    <a:lnTo>
                      <a:pt x="412" y="752"/>
                    </a:lnTo>
                    <a:lnTo>
                      <a:pt x="405" y="759"/>
                    </a:lnTo>
                    <a:lnTo>
                      <a:pt x="405" y="759"/>
                    </a:lnTo>
                    <a:lnTo>
                      <a:pt x="405" y="767"/>
                    </a:lnTo>
                    <a:lnTo>
                      <a:pt x="405" y="767"/>
                    </a:lnTo>
                    <a:lnTo>
                      <a:pt x="405" y="767"/>
                    </a:lnTo>
                    <a:lnTo>
                      <a:pt x="405" y="767"/>
                    </a:lnTo>
                    <a:lnTo>
                      <a:pt x="398" y="767"/>
                    </a:lnTo>
                    <a:lnTo>
                      <a:pt x="398" y="767"/>
                    </a:lnTo>
                    <a:lnTo>
                      <a:pt x="398" y="767"/>
                    </a:lnTo>
                    <a:lnTo>
                      <a:pt x="398" y="759"/>
                    </a:lnTo>
                    <a:lnTo>
                      <a:pt x="398" y="759"/>
                    </a:lnTo>
                    <a:lnTo>
                      <a:pt x="398" y="759"/>
                    </a:lnTo>
                    <a:lnTo>
                      <a:pt x="398" y="752"/>
                    </a:lnTo>
                    <a:lnTo>
                      <a:pt x="398" y="752"/>
                    </a:lnTo>
                    <a:lnTo>
                      <a:pt x="398" y="752"/>
                    </a:lnTo>
                    <a:lnTo>
                      <a:pt x="398" y="745"/>
                    </a:lnTo>
                    <a:lnTo>
                      <a:pt x="398" y="745"/>
                    </a:lnTo>
                    <a:lnTo>
                      <a:pt x="398" y="738"/>
                    </a:lnTo>
                    <a:lnTo>
                      <a:pt x="398" y="731"/>
                    </a:lnTo>
                    <a:lnTo>
                      <a:pt x="398" y="731"/>
                    </a:lnTo>
                    <a:lnTo>
                      <a:pt x="405" y="731"/>
                    </a:lnTo>
                    <a:lnTo>
                      <a:pt x="405" y="724"/>
                    </a:lnTo>
                    <a:lnTo>
                      <a:pt x="398" y="724"/>
                    </a:lnTo>
                    <a:lnTo>
                      <a:pt x="398" y="724"/>
                    </a:lnTo>
                    <a:lnTo>
                      <a:pt x="398" y="731"/>
                    </a:lnTo>
                    <a:lnTo>
                      <a:pt x="398" y="731"/>
                    </a:lnTo>
                    <a:lnTo>
                      <a:pt x="398" y="731"/>
                    </a:lnTo>
                    <a:lnTo>
                      <a:pt x="398" y="731"/>
                    </a:lnTo>
                    <a:lnTo>
                      <a:pt x="398" y="738"/>
                    </a:lnTo>
                    <a:lnTo>
                      <a:pt x="398" y="738"/>
                    </a:lnTo>
                    <a:lnTo>
                      <a:pt x="398" y="738"/>
                    </a:lnTo>
                    <a:lnTo>
                      <a:pt x="398" y="738"/>
                    </a:lnTo>
                    <a:lnTo>
                      <a:pt x="398" y="738"/>
                    </a:lnTo>
                    <a:lnTo>
                      <a:pt x="398" y="745"/>
                    </a:lnTo>
                    <a:lnTo>
                      <a:pt x="398" y="745"/>
                    </a:lnTo>
                    <a:lnTo>
                      <a:pt x="398" y="752"/>
                    </a:lnTo>
                    <a:lnTo>
                      <a:pt x="398" y="752"/>
                    </a:lnTo>
                    <a:lnTo>
                      <a:pt x="391" y="752"/>
                    </a:lnTo>
                    <a:lnTo>
                      <a:pt x="391" y="759"/>
                    </a:lnTo>
                    <a:lnTo>
                      <a:pt x="391" y="767"/>
                    </a:lnTo>
                    <a:lnTo>
                      <a:pt x="391" y="767"/>
                    </a:lnTo>
                    <a:lnTo>
                      <a:pt x="391" y="781"/>
                    </a:lnTo>
                    <a:lnTo>
                      <a:pt x="391" y="781"/>
                    </a:lnTo>
                    <a:lnTo>
                      <a:pt x="391" y="788"/>
                    </a:lnTo>
                    <a:lnTo>
                      <a:pt x="391" y="788"/>
                    </a:lnTo>
                    <a:lnTo>
                      <a:pt x="391" y="788"/>
                    </a:lnTo>
                    <a:lnTo>
                      <a:pt x="398" y="788"/>
                    </a:lnTo>
                    <a:lnTo>
                      <a:pt x="398" y="788"/>
                    </a:lnTo>
                    <a:lnTo>
                      <a:pt x="398" y="795"/>
                    </a:lnTo>
                    <a:lnTo>
                      <a:pt x="398" y="795"/>
                    </a:lnTo>
                    <a:lnTo>
                      <a:pt x="398" y="802"/>
                    </a:lnTo>
                    <a:lnTo>
                      <a:pt x="398" y="802"/>
                    </a:lnTo>
                    <a:lnTo>
                      <a:pt x="398" y="802"/>
                    </a:lnTo>
                    <a:lnTo>
                      <a:pt x="398" y="802"/>
                    </a:lnTo>
                    <a:lnTo>
                      <a:pt x="398" y="809"/>
                    </a:lnTo>
                    <a:lnTo>
                      <a:pt x="398" y="816"/>
                    </a:lnTo>
                    <a:lnTo>
                      <a:pt x="398" y="809"/>
                    </a:lnTo>
                    <a:lnTo>
                      <a:pt x="398" y="816"/>
                    </a:lnTo>
                    <a:lnTo>
                      <a:pt x="398" y="823"/>
                    </a:lnTo>
                    <a:lnTo>
                      <a:pt x="391" y="823"/>
                    </a:lnTo>
                    <a:lnTo>
                      <a:pt x="391" y="823"/>
                    </a:lnTo>
                    <a:lnTo>
                      <a:pt x="391" y="816"/>
                    </a:lnTo>
                    <a:lnTo>
                      <a:pt x="391" y="823"/>
                    </a:lnTo>
                    <a:lnTo>
                      <a:pt x="391" y="823"/>
                    </a:lnTo>
                    <a:lnTo>
                      <a:pt x="391" y="823"/>
                    </a:lnTo>
                    <a:lnTo>
                      <a:pt x="391" y="823"/>
                    </a:lnTo>
                    <a:lnTo>
                      <a:pt x="391" y="830"/>
                    </a:lnTo>
                    <a:lnTo>
                      <a:pt x="383" y="823"/>
                    </a:lnTo>
                    <a:lnTo>
                      <a:pt x="383" y="823"/>
                    </a:lnTo>
                    <a:lnTo>
                      <a:pt x="383" y="816"/>
                    </a:lnTo>
                    <a:lnTo>
                      <a:pt x="383" y="816"/>
                    </a:lnTo>
                    <a:lnTo>
                      <a:pt x="383" y="816"/>
                    </a:lnTo>
                    <a:lnTo>
                      <a:pt x="383" y="816"/>
                    </a:lnTo>
                    <a:lnTo>
                      <a:pt x="383" y="816"/>
                    </a:lnTo>
                    <a:lnTo>
                      <a:pt x="383" y="809"/>
                    </a:lnTo>
                    <a:lnTo>
                      <a:pt x="383" y="809"/>
                    </a:lnTo>
                    <a:lnTo>
                      <a:pt x="391" y="809"/>
                    </a:lnTo>
                    <a:lnTo>
                      <a:pt x="391" y="809"/>
                    </a:lnTo>
                    <a:lnTo>
                      <a:pt x="383" y="802"/>
                    </a:lnTo>
                    <a:lnTo>
                      <a:pt x="383" y="795"/>
                    </a:lnTo>
                    <a:lnTo>
                      <a:pt x="383" y="795"/>
                    </a:lnTo>
                    <a:lnTo>
                      <a:pt x="383" y="788"/>
                    </a:lnTo>
                    <a:lnTo>
                      <a:pt x="383" y="781"/>
                    </a:lnTo>
                    <a:lnTo>
                      <a:pt x="383" y="781"/>
                    </a:lnTo>
                    <a:lnTo>
                      <a:pt x="383" y="774"/>
                    </a:lnTo>
                    <a:lnTo>
                      <a:pt x="383" y="767"/>
                    </a:lnTo>
                    <a:lnTo>
                      <a:pt x="383" y="767"/>
                    </a:lnTo>
                    <a:lnTo>
                      <a:pt x="376" y="767"/>
                    </a:lnTo>
                    <a:lnTo>
                      <a:pt x="383" y="767"/>
                    </a:lnTo>
                    <a:lnTo>
                      <a:pt x="376" y="767"/>
                    </a:lnTo>
                    <a:lnTo>
                      <a:pt x="376" y="774"/>
                    </a:lnTo>
                    <a:lnTo>
                      <a:pt x="376" y="774"/>
                    </a:lnTo>
                    <a:lnTo>
                      <a:pt x="376" y="774"/>
                    </a:lnTo>
                    <a:lnTo>
                      <a:pt x="383" y="781"/>
                    </a:lnTo>
                    <a:lnTo>
                      <a:pt x="383" y="781"/>
                    </a:lnTo>
                    <a:lnTo>
                      <a:pt x="383" y="788"/>
                    </a:lnTo>
                    <a:lnTo>
                      <a:pt x="383" y="788"/>
                    </a:lnTo>
                    <a:lnTo>
                      <a:pt x="376" y="788"/>
                    </a:lnTo>
                    <a:lnTo>
                      <a:pt x="376" y="788"/>
                    </a:lnTo>
                    <a:lnTo>
                      <a:pt x="376" y="788"/>
                    </a:lnTo>
                    <a:lnTo>
                      <a:pt x="376" y="795"/>
                    </a:lnTo>
                    <a:lnTo>
                      <a:pt x="376" y="795"/>
                    </a:lnTo>
                    <a:lnTo>
                      <a:pt x="376" y="795"/>
                    </a:lnTo>
                    <a:lnTo>
                      <a:pt x="376" y="802"/>
                    </a:lnTo>
                    <a:lnTo>
                      <a:pt x="376" y="802"/>
                    </a:lnTo>
                    <a:lnTo>
                      <a:pt x="383" y="809"/>
                    </a:lnTo>
                    <a:lnTo>
                      <a:pt x="383" y="809"/>
                    </a:lnTo>
                    <a:lnTo>
                      <a:pt x="376" y="816"/>
                    </a:lnTo>
                    <a:lnTo>
                      <a:pt x="376" y="816"/>
                    </a:lnTo>
                    <a:lnTo>
                      <a:pt x="376" y="816"/>
                    </a:lnTo>
                    <a:lnTo>
                      <a:pt x="369" y="816"/>
                    </a:lnTo>
                    <a:lnTo>
                      <a:pt x="369" y="816"/>
                    </a:lnTo>
                    <a:lnTo>
                      <a:pt x="369" y="809"/>
                    </a:lnTo>
                    <a:lnTo>
                      <a:pt x="369" y="809"/>
                    </a:lnTo>
                    <a:lnTo>
                      <a:pt x="369" y="802"/>
                    </a:lnTo>
                    <a:lnTo>
                      <a:pt x="369" y="802"/>
                    </a:lnTo>
                    <a:lnTo>
                      <a:pt x="362" y="802"/>
                    </a:lnTo>
                    <a:lnTo>
                      <a:pt x="362" y="802"/>
                    </a:lnTo>
                    <a:lnTo>
                      <a:pt x="362" y="802"/>
                    </a:lnTo>
                    <a:lnTo>
                      <a:pt x="362" y="802"/>
                    </a:lnTo>
                    <a:lnTo>
                      <a:pt x="362" y="802"/>
                    </a:lnTo>
                    <a:lnTo>
                      <a:pt x="362" y="802"/>
                    </a:lnTo>
                    <a:lnTo>
                      <a:pt x="362" y="802"/>
                    </a:lnTo>
                    <a:lnTo>
                      <a:pt x="362" y="802"/>
                    </a:lnTo>
                    <a:lnTo>
                      <a:pt x="362" y="802"/>
                    </a:lnTo>
                    <a:lnTo>
                      <a:pt x="362" y="809"/>
                    </a:lnTo>
                    <a:lnTo>
                      <a:pt x="362" y="809"/>
                    </a:lnTo>
                    <a:lnTo>
                      <a:pt x="362" y="809"/>
                    </a:lnTo>
                    <a:lnTo>
                      <a:pt x="362" y="809"/>
                    </a:lnTo>
                    <a:lnTo>
                      <a:pt x="362" y="816"/>
                    </a:lnTo>
                    <a:lnTo>
                      <a:pt x="362" y="816"/>
                    </a:lnTo>
                    <a:lnTo>
                      <a:pt x="362" y="816"/>
                    </a:lnTo>
                    <a:lnTo>
                      <a:pt x="355" y="809"/>
                    </a:lnTo>
                    <a:lnTo>
                      <a:pt x="355" y="795"/>
                    </a:lnTo>
                    <a:lnTo>
                      <a:pt x="355" y="795"/>
                    </a:lnTo>
                    <a:lnTo>
                      <a:pt x="355" y="788"/>
                    </a:lnTo>
                    <a:lnTo>
                      <a:pt x="348" y="788"/>
                    </a:lnTo>
                    <a:lnTo>
                      <a:pt x="348" y="788"/>
                    </a:lnTo>
                    <a:lnTo>
                      <a:pt x="348" y="795"/>
                    </a:lnTo>
                    <a:lnTo>
                      <a:pt x="355" y="809"/>
                    </a:lnTo>
                    <a:lnTo>
                      <a:pt x="355" y="809"/>
                    </a:lnTo>
                    <a:lnTo>
                      <a:pt x="355" y="809"/>
                    </a:lnTo>
                    <a:lnTo>
                      <a:pt x="355" y="816"/>
                    </a:lnTo>
                    <a:lnTo>
                      <a:pt x="355" y="816"/>
                    </a:lnTo>
                    <a:lnTo>
                      <a:pt x="355" y="816"/>
                    </a:lnTo>
                    <a:lnTo>
                      <a:pt x="355" y="816"/>
                    </a:lnTo>
                    <a:lnTo>
                      <a:pt x="355" y="823"/>
                    </a:lnTo>
                    <a:lnTo>
                      <a:pt x="362" y="823"/>
                    </a:lnTo>
                    <a:lnTo>
                      <a:pt x="355" y="823"/>
                    </a:lnTo>
                    <a:lnTo>
                      <a:pt x="355" y="823"/>
                    </a:lnTo>
                    <a:lnTo>
                      <a:pt x="355" y="823"/>
                    </a:lnTo>
                    <a:lnTo>
                      <a:pt x="355" y="823"/>
                    </a:lnTo>
                    <a:lnTo>
                      <a:pt x="355" y="823"/>
                    </a:lnTo>
                    <a:lnTo>
                      <a:pt x="355" y="823"/>
                    </a:lnTo>
                    <a:lnTo>
                      <a:pt x="348" y="823"/>
                    </a:lnTo>
                    <a:lnTo>
                      <a:pt x="348" y="823"/>
                    </a:lnTo>
                    <a:lnTo>
                      <a:pt x="348" y="816"/>
                    </a:lnTo>
                    <a:lnTo>
                      <a:pt x="348" y="816"/>
                    </a:lnTo>
                    <a:lnTo>
                      <a:pt x="348" y="816"/>
                    </a:lnTo>
                    <a:lnTo>
                      <a:pt x="341" y="809"/>
                    </a:lnTo>
                    <a:lnTo>
                      <a:pt x="341" y="809"/>
                    </a:lnTo>
                    <a:lnTo>
                      <a:pt x="341" y="802"/>
                    </a:lnTo>
                    <a:lnTo>
                      <a:pt x="341" y="802"/>
                    </a:lnTo>
                    <a:lnTo>
                      <a:pt x="341" y="802"/>
                    </a:lnTo>
                    <a:lnTo>
                      <a:pt x="341" y="795"/>
                    </a:lnTo>
                    <a:lnTo>
                      <a:pt x="341" y="795"/>
                    </a:lnTo>
                    <a:lnTo>
                      <a:pt x="341" y="788"/>
                    </a:lnTo>
                    <a:lnTo>
                      <a:pt x="341" y="788"/>
                    </a:lnTo>
                    <a:lnTo>
                      <a:pt x="334" y="774"/>
                    </a:lnTo>
                    <a:lnTo>
                      <a:pt x="334" y="774"/>
                    </a:lnTo>
                    <a:lnTo>
                      <a:pt x="334" y="774"/>
                    </a:lnTo>
                    <a:lnTo>
                      <a:pt x="334" y="767"/>
                    </a:lnTo>
                    <a:lnTo>
                      <a:pt x="334" y="759"/>
                    </a:lnTo>
                    <a:lnTo>
                      <a:pt x="334" y="759"/>
                    </a:lnTo>
                    <a:lnTo>
                      <a:pt x="334" y="759"/>
                    </a:lnTo>
                    <a:lnTo>
                      <a:pt x="341" y="752"/>
                    </a:lnTo>
                    <a:lnTo>
                      <a:pt x="341" y="745"/>
                    </a:lnTo>
                    <a:lnTo>
                      <a:pt x="341" y="745"/>
                    </a:lnTo>
                    <a:lnTo>
                      <a:pt x="341" y="738"/>
                    </a:lnTo>
                    <a:lnTo>
                      <a:pt x="334" y="731"/>
                    </a:lnTo>
                    <a:lnTo>
                      <a:pt x="334" y="731"/>
                    </a:lnTo>
                    <a:lnTo>
                      <a:pt x="327" y="731"/>
                    </a:lnTo>
                    <a:lnTo>
                      <a:pt x="320" y="731"/>
                    </a:lnTo>
                    <a:lnTo>
                      <a:pt x="320" y="724"/>
                    </a:lnTo>
                    <a:lnTo>
                      <a:pt x="320" y="724"/>
                    </a:lnTo>
                    <a:lnTo>
                      <a:pt x="312" y="724"/>
                    </a:lnTo>
                    <a:lnTo>
                      <a:pt x="312" y="724"/>
                    </a:lnTo>
                    <a:lnTo>
                      <a:pt x="312" y="724"/>
                    </a:lnTo>
                    <a:lnTo>
                      <a:pt x="305" y="724"/>
                    </a:lnTo>
                    <a:lnTo>
                      <a:pt x="305" y="717"/>
                    </a:lnTo>
                    <a:lnTo>
                      <a:pt x="305" y="717"/>
                    </a:lnTo>
                    <a:lnTo>
                      <a:pt x="305" y="710"/>
                    </a:lnTo>
                    <a:lnTo>
                      <a:pt x="298" y="710"/>
                    </a:lnTo>
                    <a:lnTo>
                      <a:pt x="298" y="703"/>
                    </a:lnTo>
                    <a:lnTo>
                      <a:pt x="298" y="703"/>
                    </a:lnTo>
                    <a:lnTo>
                      <a:pt x="298" y="703"/>
                    </a:lnTo>
                    <a:lnTo>
                      <a:pt x="298" y="696"/>
                    </a:lnTo>
                    <a:lnTo>
                      <a:pt x="291" y="696"/>
                    </a:lnTo>
                    <a:lnTo>
                      <a:pt x="291" y="696"/>
                    </a:lnTo>
                    <a:lnTo>
                      <a:pt x="298" y="703"/>
                    </a:lnTo>
                    <a:lnTo>
                      <a:pt x="298" y="710"/>
                    </a:lnTo>
                    <a:lnTo>
                      <a:pt x="298" y="717"/>
                    </a:lnTo>
                    <a:lnTo>
                      <a:pt x="305" y="724"/>
                    </a:lnTo>
                    <a:lnTo>
                      <a:pt x="305" y="724"/>
                    </a:lnTo>
                    <a:lnTo>
                      <a:pt x="305" y="731"/>
                    </a:lnTo>
                    <a:lnTo>
                      <a:pt x="312" y="731"/>
                    </a:lnTo>
                    <a:lnTo>
                      <a:pt x="312" y="731"/>
                    </a:lnTo>
                    <a:lnTo>
                      <a:pt x="320" y="731"/>
                    </a:lnTo>
                    <a:lnTo>
                      <a:pt x="320" y="731"/>
                    </a:lnTo>
                    <a:lnTo>
                      <a:pt x="327" y="731"/>
                    </a:lnTo>
                    <a:lnTo>
                      <a:pt x="334" y="738"/>
                    </a:lnTo>
                    <a:lnTo>
                      <a:pt x="334" y="745"/>
                    </a:lnTo>
                    <a:lnTo>
                      <a:pt x="334" y="745"/>
                    </a:lnTo>
                    <a:lnTo>
                      <a:pt x="327" y="752"/>
                    </a:lnTo>
                    <a:lnTo>
                      <a:pt x="327" y="752"/>
                    </a:lnTo>
                    <a:lnTo>
                      <a:pt x="320" y="759"/>
                    </a:lnTo>
                    <a:lnTo>
                      <a:pt x="320" y="759"/>
                    </a:lnTo>
                    <a:lnTo>
                      <a:pt x="320" y="759"/>
                    </a:lnTo>
                    <a:lnTo>
                      <a:pt x="320" y="759"/>
                    </a:lnTo>
                    <a:lnTo>
                      <a:pt x="320" y="759"/>
                    </a:lnTo>
                    <a:lnTo>
                      <a:pt x="320" y="759"/>
                    </a:lnTo>
                    <a:lnTo>
                      <a:pt x="320" y="767"/>
                    </a:lnTo>
                    <a:lnTo>
                      <a:pt x="320" y="767"/>
                    </a:lnTo>
                    <a:lnTo>
                      <a:pt x="312" y="781"/>
                    </a:lnTo>
                    <a:lnTo>
                      <a:pt x="312" y="781"/>
                    </a:lnTo>
                    <a:lnTo>
                      <a:pt x="305" y="788"/>
                    </a:lnTo>
                    <a:lnTo>
                      <a:pt x="305" y="788"/>
                    </a:lnTo>
                    <a:lnTo>
                      <a:pt x="305" y="788"/>
                    </a:lnTo>
                    <a:lnTo>
                      <a:pt x="298" y="788"/>
                    </a:lnTo>
                    <a:lnTo>
                      <a:pt x="298" y="788"/>
                    </a:lnTo>
                    <a:lnTo>
                      <a:pt x="298" y="795"/>
                    </a:lnTo>
                    <a:lnTo>
                      <a:pt x="298" y="795"/>
                    </a:lnTo>
                    <a:lnTo>
                      <a:pt x="298" y="795"/>
                    </a:lnTo>
                    <a:lnTo>
                      <a:pt x="298" y="795"/>
                    </a:lnTo>
                    <a:lnTo>
                      <a:pt x="291" y="802"/>
                    </a:lnTo>
                    <a:lnTo>
                      <a:pt x="284" y="809"/>
                    </a:lnTo>
                    <a:lnTo>
                      <a:pt x="277" y="809"/>
                    </a:lnTo>
                    <a:lnTo>
                      <a:pt x="270" y="816"/>
                    </a:lnTo>
                    <a:lnTo>
                      <a:pt x="270" y="816"/>
                    </a:lnTo>
                    <a:lnTo>
                      <a:pt x="263" y="816"/>
                    </a:lnTo>
                    <a:lnTo>
                      <a:pt x="249" y="816"/>
                    </a:lnTo>
                    <a:lnTo>
                      <a:pt x="241" y="816"/>
                    </a:lnTo>
                    <a:lnTo>
                      <a:pt x="241" y="809"/>
                    </a:lnTo>
                    <a:lnTo>
                      <a:pt x="241" y="809"/>
                    </a:lnTo>
                    <a:lnTo>
                      <a:pt x="234" y="809"/>
                    </a:lnTo>
                    <a:lnTo>
                      <a:pt x="234" y="802"/>
                    </a:lnTo>
                    <a:lnTo>
                      <a:pt x="234" y="802"/>
                    </a:lnTo>
                    <a:lnTo>
                      <a:pt x="234" y="795"/>
                    </a:lnTo>
                    <a:lnTo>
                      <a:pt x="234" y="795"/>
                    </a:lnTo>
                    <a:lnTo>
                      <a:pt x="234" y="795"/>
                    </a:lnTo>
                    <a:lnTo>
                      <a:pt x="213" y="788"/>
                    </a:lnTo>
                    <a:lnTo>
                      <a:pt x="213" y="788"/>
                    </a:lnTo>
                    <a:lnTo>
                      <a:pt x="213" y="788"/>
                    </a:lnTo>
                    <a:lnTo>
                      <a:pt x="206" y="788"/>
                    </a:lnTo>
                    <a:lnTo>
                      <a:pt x="206" y="781"/>
                    </a:lnTo>
                    <a:lnTo>
                      <a:pt x="206" y="781"/>
                    </a:lnTo>
                    <a:lnTo>
                      <a:pt x="206" y="774"/>
                    </a:lnTo>
                    <a:lnTo>
                      <a:pt x="206" y="774"/>
                    </a:lnTo>
                    <a:lnTo>
                      <a:pt x="199" y="774"/>
                    </a:lnTo>
                    <a:lnTo>
                      <a:pt x="199" y="767"/>
                    </a:lnTo>
                    <a:lnTo>
                      <a:pt x="192" y="767"/>
                    </a:lnTo>
                    <a:lnTo>
                      <a:pt x="192" y="767"/>
                    </a:lnTo>
                    <a:lnTo>
                      <a:pt x="192" y="767"/>
                    </a:lnTo>
                    <a:lnTo>
                      <a:pt x="192" y="774"/>
                    </a:lnTo>
                    <a:lnTo>
                      <a:pt x="192" y="774"/>
                    </a:lnTo>
                    <a:lnTo>
                      <a:pt x="192" y="774"/>
                    </a:lnTo>
                    <a:lnTo>
                      <a:pt x="185" y="774"/>
                    </a:lnTo>
                    <a:lnTo>
                      <a:pt x="185" y="774"/>
                    </a:lnTo>
                    <a:lnTo>
                      <a:pt x="185" y="774"/>
                    </a:lnTo>
                    <a:lnTo>
                      <a:pt x="185" y="774"/>
                    </a:lnTo>
                    <a:lnTo>
                      <a:pt x="185" y="781"/>
                    </a:lnTo>
                    <a:lnTo>
                      <a:pt x="185" y="781"/>
                    </a:lnTo>
                    <a:lnTo>
                      <a:pt x="178" y="781"/>
                    </a:lnTo>
                    <a:lnTo>
                      <a:pt x="178" y="774"/>
                    </a:lnTo>
                    <a:lnTo>
                      <a:pt x="178" y="774"/>
                    </a:lnTo>
                    <a:lnTo>
                      <a:pt x="178" y="767"/>
                    </a:lnTo>
                    <a:lnTo>
                      <a:pt x="178" y="767"/>
                    </a:lnTo>
                    <a:lnTo>
                      <a:pt x="178" y="767"/>
                    </a:lnTo>
                    <a:lnTo>
                      <a:pt x="178" y="767"/>
                    </a:lnTo>
                    <a:lnTo>
                      <a:pt x="178" y="759"/>
                    </a:lnTo>
                    <a:lnTo>
                      <a:pt x="178" y="759"/>
                    </a:lnTo>
                    <a:lnTo>
                      <a:pt x="178" y="759"/>
                    </a:lnTo>
                    <a:lnTo>
                      <a:pt x="178" y="759"/>
                    </a:lnTo>
                    <a:lnTo>
                      <a:pt x="170" y="752"/>
                    </a:lnTo>
                    <a:lnTo>
                      <a:pt x="170" y="752"/>
                    </a:lnTo>
                    <a:lnTo>
                      <a:pt x="163" y="752"/>
                    </a:lnTo>
                    <a:lnTo>
                      <a:pt x="156" y="745"/>
                    </a:lnTo>
                    <a:lnTo>
                      <a:pt x="156" y="745"/>
                    </a:lnTo>
                    <a:lnTo>
                      <a:pt x="156" y="745"/>
                    </a:lnTo>
                    <a:lnTo>
                      <a:pt x="156" y="745"/>
                    </a:lnTo>
                    <a:lnTo>
                      <a:pt x="149" y="745"/>
                    </a:lnTo>
                    <a:lnTo>
                      <a:pt x="142" y="745"/>
                    </a:lnTo>
                    <a:lnTo>
                      <a:pt x="142" y="745"/>
                    </a:lnTo>
                    <a:lnTo>
                      <a:pt x="142" y="738"/>
                    </a:lnTo>
                    <a:lnTo>
                      <a:pt x="135" y="738"/>
                    </a:lnTo>
                    <a:lnTo>
                      <a:pt x="135" y="738"/>
                    </a:lnTo>
                    <a:lnTo>
                      <a:pt x="135" y="738"/>
                    </a:lnTo>
                    <a:lnTo>
                      <a:pt x="128" y="738"/>
                    </a:lnTo>
                    <a:lnTo>
                      <a:pt x="128" y="731"/>
                    </a:lnTo>
                    <a:lnTo>
                      <a:pt x="135" y="731"/>
                    </a:lnTo>
                    <a:lnTo>
                      <a:pt x="135" y="731"/>
                    </a:lnTo>
                    <a:lnTo>
                      <a:pt x="135" y="731"/>
                    </a:lnTo>
                    <a:lnTo>
                      <a:pt x="135" y="731"/>
                    </a:lnTo>
                    <a:lnTo>
                      <a:pt x="142" y="731"/>
                    </a:lnTo>
                    <a:lnTo>
                      <a:pt x="142" y="731"/>
                    </a:lnTo>
                    <a:lnTo>
                      <a:pt x="142" y="731"/>
                    </a:lnTo>
                    <a:lnTo>
                      <a:pt x="142" y="731"/>
                    </a:lnTo>
                    <a:lnTo>
                      <a:pt x="142" y="724"/>
                    </a:lnTo>
                    <a:lnTo>
                      <a:pt x="142" y="724"/>
                    </a:lnTo>
                    <a:lnTo>
                      <a:pt x="142" y="724"/>
                    </a:lnTo>
                    <a:lnTo>
                      <a:pt x="142" y="724"/>
                    </a:lnTo>
                    <a:lnTo>
                      <a:pt x="149" y="724"/>
                    </a:lnTo>
                    <a:lnTo>
                      <a:pt x="149" y="724"/>
                    </a:lnTo>
                    <a:lnTo>
                      <a:pt x="149" y="724"/>
                    </a:lnTo>
                    <a:lnTo>
                      <a:pt x="149" y="724"/>
                    </a:lnTo>
                    <a:lnTo>
                      <a:pt x="149" y="717"/>
                    </a:lnTo>
                    <a:lnTo>
                      <a:pt x="149" y="717"/>
                    </a:lnTo>
                    <a:lnTo>
                      <a:pt x="142" y="717"/>
                    </a:lnTo>
                    <a:lnTo>
                      <a:pt x="142" y="710"/>
                    </a:lnTo>
                    <a:lnTo>
                      <a:pt x="142" y="710"/>
                    </a:lnTo>
                    <a:lnTo>
                      <a:pt x="142" y="703"/>
                    </a:lnTo>
                    <a:lnTo>
                      <a:pt x="142" y="703"/>
                    </a:lnTo>
                    <a:lnTo>
                      <a:pt x="135" y="703"/>
                    </a:lnTo>
                    <a:lnTo>
                      <a:pt x="135" y="703"/>
                    </a:lnTo>
                    <a:lnTo>
                      <a:pt x="135" y="696"/>
                    </a:lnTo>
                    <a:lnTo>
                      <a:pt x="135" y="696"/>
                    </a:lnTo>
                    <a:lnTo>
                      <a:pt x="128" y="696"/>
                    </a:lnTo>
                    <a:lnTo>
                      <a:pt x="128" y="696"/>
                    </a:lnTo>
                    <a:lnTo>
                      <a:pt x="128" y="696"/>
                    </a:lnTo>
                    <a:lnTo>
                      <a:pt x="128" y="696"/>
                    </a:lnTo>
                    <a:lnTo>
                      <a:pt x="128" y="696"/>
                    </a:lnTo>
                    <a:lnTo>
                      <a:pt x="128" y="696"/>
                    </a:lnTo>
                    <a:lnTo>
                      <a:pt x="128" y="696"/>
                    </a:lnTo>
                    <a:lnTo>
                      <a:pt x="135" y="696"/>
                    </a:lnTo>
                    <a:lnTo>
                      <a:pt x="135" y="696"/>
                    </a:lnTo>
                    <a:lnTo>
                      <a:pt x="135" y="696"/>
                    </a:lnTo>
                    <a:lnTo>
                      <a:pt x="135" y="696"/>
                    </a:lnTo>
                    <a:lnTo>
                      <a:pt x="135" y="688"/>
                    </a:lnTo>
                    <a:lnTo>
                      <a:pt x="135" y="688"/>
                    </a:lnTo>
                    <a:lnTo>
                      <a:pt x="135" y="688"/>
                    </a:lnTo>
                    <a:lnTo>
                      <a:pt x="135" y="688"/>
                    </a:lnTo>
                    <a:lnTo>
                      <a:pt x="135" y="681"/>
                    </a:lnTo>
                    <a:lnTo>
                      <a:pt x="135" y="681"/>
                    </a:lnTo>
                    <a:lnTo>
                      <a:pt x="128" y="681"/>
                    </a:lnTo>
                    <a:lnTo>
                      <a:pt x="128" y="681"/>
                    </a:lnTo>
                    <a:lnTo>
                      <a:pt x="121" y="681"/>
                    </a:lnTo>
                    <a:lnTo>
                      <a:pt x="121" y="681"/>
                    </a:lnTo>
                    <a:lnTo>
                      <a:pt x="114" y="681"/>
                    </a:lnTo>
                    <a:lnTo>
                      <a:pt x="114" y="674"/>
                    </a:lnTo>
                    <a:lnTo>
                      <a:pt x="114" y="674"/>
                    </a:lnTo>
                    <a:lnTo>
                      <a:pt x="114" y="667"/>
                    </a:lnTo>
                    <a:lnTo>
                      <a:pt x="99" y="660"/>
                    </a:lnTo>
                    <a:lnTo>
                      <a:pt x="99" y="660"/>
                    </a:lnTo>
                    <a:lnTo>
                      <a:pt x="99" y="660"/>
                    </a:lnTo>
                    <a:lnTo>
                      <a:pt x="99" y="660"/>
                    </a:lnTo>
                    <a:lnTo>
                      <a:pt x="92" y="660"/>
                    </a:lnTo>
                    <a:lnTo>
                      <a:pt x="92" y="660"/>
                    </a:lnTo>
                    <a:lnTo>
                      <a:pt x="85" y="653"/>
                    </a:lnTo>
                    <a:lnTo>
                      <a:pt x="85" y="653"/>
                    </a:lnTo>
                    <a:lnTo>
                      <a:pt x="85" y="646"/>
                    </a:lnTo>
                    <a:lnTo>
                      <a:pt x="85" y="646"/>
                    </a:lnTo>
                    <a:lnTo>
                      <a:pt x="85" y="639"/>
                    </a:lnTo>
                    <a:lnTo>
                      <a:pt x="85" y="639"/>
                    </a:lnTo>
                    <a:lnTo>
                      <a:pt x="85" y="639"/>
                    </a:lnTo>
                    <a:lnTo>
                      <a:pt x="85" y="632"/>
                    </a:lnTo>
                    <a:lnTo>
                      <a:pt x="85" y="632"/>
                    </a:lnTo>
                    <a:lnTo>
                      <a:pt x="85" y="632"/>
                    </a:lnTo>
                    <a:lnTo>
                      <a:pt x="85" y="632"/>
                    </a:lnTo>
                    <a:lnTo>
                      <a:pt x="85" y="632"/>
                    </a:lnTo>
                    <a:lnTo>
                      <a:pt x="85" y="625"/>
                    </a:lnTo>
                    <a:lnTo>
                      <a:pt x="92" y="625"/>
                    </a:lnTo>
                    <a:lnTo>
                      <a:pt x="92" y="625"/>
                    </a:lnTo>
                    <a:lnTo>
                      <a:pt x="92" y="625"/>
                    </a:lnTo>
                    <a:lnTo>
                      <a:pt x="92" y="625"/>
                    </a:lnTo>
                    <a:lnTo>
                      <a:pt x="99" y="625"/>
                    </a:lnTo>
                    <a:lnTo>
                      <a:pt x="99" y="625"/>
                    </a:lnTo>
                    <a:lnTo>
                      <a:pt x="99" y="625"/>
                    </a:lnTo>
                    <a:lnTo>
                      <a:pt x="99" y="625"/>
                    </a:lnTo>
                    <a:lnTo>
                      <a:pt x="92" y="625"/>
                    </a:lnTo>
                    <a:lnTo>
                      <a:pt x="92" y="625"/>
                    </a:lnTo>
                    <a:lnTo>
                      <a:pt x="92" y="625"/>
                    </a:lnTo>
                    <a:lnTo>
                      <a:pt x="92" y="625"/>
                    </a:lnTo>
                    <a:lnTo>
                      <a:pt x="92" y="625"/>
                    </a:lnTo>
                    <a:lnTo>
                      <a:pt x="92" y="625"/>
                    </a:lnTo>
                    <a:lnTo>
                      <a:pt x="92" y="618"/>
                    </a:lnTo>
                    <a:lnTo>
                      <a:pt x="92" y="618"/>
                    </a:lnTo>
                    <a:lnTo>
                      <a:pt x="71" y="618"/>
                    </a:lnTo>
                    <a:lnTo>
                      <a:pt x="64" y="618"/>
                    </a:lnTo>
                    <a:lnTo>
                      <a:pt x="57" y="618"/>
                    </a:lnTo>
                    <a:lnTo>
                      <a:pt x="57" y="618"/>
                    </a:lnTo>
                    <a:lnTo>
                      <a:pt x="57" y="625"/>
                    </a:lnTo>
                    <a:lnTo>
                      <a:pt x="50" y="625"/>
                    </a:lnTo>
                    <a:lnTo>
                      <a:pt x="50" y="618"/>
                    </a:lnTo>
                    <a:lnTo>
                      <a:pt x="50" y="618"/>
                    </a:lnTo>
                    <a:lnTo>
                      <a:pt x="29" y="603"/>
                    </a:lnTo>
                    <a:lnTo>
                      <a:pt x="29" y="596"/>
                    </a:lnTo>
                    <a:lnTo>
                      <a:pt x="21" y="596"/>
                    </a:lnTo>
                    <a:lnTo>
                      <a:pt x="21" y="596"/>
                    </a:lnTo>
                    <a:lnTo>
                      <a:pt x="21" y="596"/>
                    </a:lnTo>
                    <a:lnTo>
                      <a:pt x="14" y="596"/>
                    </a:lnTo>
                    <a:lnTo>
                      <a:pt x="14" y="603"/>
                    </a:lnTo>
                    <a:lnTo>
                      <a:pt x="7" y="596"/>
                    </a:lnTo>
                    <a:lnTo>
                      <a:pt x="7" y="596"/>
                    </a:lnTo>
                    <a:lnTo>
                      <a:pt x="7" y="596"/>
                    </a:lnTo>
                    <a:lnTo>
                      <a:pt x="7" y="596"/>
                    </a:lnTo>
                    <a:lnTo>
                      <a:pt x="0" y="589"/>
                    </a:lnTo>
                    <a:lnTo>
                      <a:pt x="0" y="589"/>
                    </a:lnTo>
                    <a:lnTo>
                      <a:pt x="0" y="582"/>
                    </a:lnTo>
                    <a:lnTo>
                      <a:pt x="0" y="582"/>
                    </a:lnTo>
                    <a:lnTo>
                      <a:pt x="7" y="575"/>
                    </a:lnTo>
                    <a:lnTo>
                      <a:pt x="7" y="575"/>
                    </a:lnTo>
                    <a:lnTo>
                      <a:pt x="7" y="575"/>
                    </a:lnTo>
                    <a:lnTo>
                      <a:pt x="7" y="568"/>
                    </a:lnTo>
                    <a:lnTo>
                      <a:pt x="7" y="568"/>
                    </a:lnTo>
                    <a:lnTo>
                      <a:pt x="7" y="568"/>
                    </a:lnTo>
                    <a:lnTo>
                      <a:pt x="7" y="561"/>
                    </a:lnTo>
                    <a:lnTo>
                      <a:pt x="7" y="561"/>
                    </a:lnTo>
                    <a:lnTo>
                      <a:pt x="7" y="561"/>
                    </a:lnTo>
                    <a:lnTo>
                      <a:pt x="7" y="561"/>
                    </a:lnTo>
                    <a:lnTo>
                      <a:pt x="0" y="561"/>
                    </a:lnTo>
                    <a:lnTo>
                      <a:pt x="0" y="561"/>
                    </a:lnTo>
                    <a:lnTo>
                      <a:pt x="0" y="561"/>
                    </a:lnTo>
                    <a:lnTo>
                      <a:pt x="0" y="561"/>
                    </a:lnTo>
                    <a:lnTo>
                      <a:pt x="0" y="561"/>
                    </a:lnTo>
                    <a:lnTo>
                      <a:pt x="0" y="554"/>
                    </a:lnTo>
                    <a:lnTo>
                      <a:pt x="0" y="554"/>
                    </a:lnTo>
                    <a:lnTo>
                      <a:pt x="0" y="554"/>
                    </a:lnTo>
                    <a:lnTo>
                      <a:pt x="0" y="554"/>
                    </a:lnTo>
                    <a:lnTo>
                      <a:pt x="7" y="554"/>
                    </a:lnTo>
                    <a:lnTo>
                      <a:pt x="14" y="554"/>
                    </a:lnTo>
                    <a:lnTo>
                      <a:pt x="14" y="547"/>
                    </a:lnTo>
                    <a:lnTo>
                      <a:pt x="21" y="547"/>
                    </a:lnTo>
                    <a:lnTo>
                      <a:pt x="21" y="547"/>
                    </a:lnTo>
                    <a:lnTo>
                      <a:pt x="21" y="547"/>
                    </a:lnTo>
                    <a:lnTo>
                      <a:pt x="21" y="547"/>
                    </a:lnTo>
                    <a:lnTo>
                      <a:pt x="21" y="547"/>
                    </a:lnTo>
                    <a:lnTo>
                      <a:pt x="21" y="539"/>
                    </a:lnTo>
                    <a:lnTo>
                      <a:pt x="21" y="539"/>
                    </a:lnTo>
                    <a:lnTo>
                      <a:pt x="21" y="539"/>
                    </a:lnTo>
                    <a:lnTo>
                      <a:pt x="21" y="539"/>
                    </a:lnTo>
                    <a:lnTo>
                      <a:pt x="21" y="532"/>
                    </a:lnTo>
                    <a:lnTo>
                      <a:pt x="21" y="532"/>
                    </a:lnTo>
                    <a:lnTo>
                      <a:pt x="29" y="532"/>
                    </a:lnTo>
                    <a:lnTo>
                      <a:pt x="29" y="532"/>
                    </a:lnTo>
                    <a:lnTo>
                      <a:pt x="36" y="539"/>
                    </a:lnTo>
                    <a:lnTo>
                      <a:pt x="36" y="539"/>
                    </a:lnTo>
                    <a:lnTo>
                      <a:pt x="43" y="539"/>
                    </a:lnTo>
                    <a:lnTo>
                      <a:pt x="36" y="547"/>
                    </a:lnTo>
                    <a:lnTo>
                      <a:pt x="36" y="547"/>
                    </a:lnTo>
                    <a:lnTo>
                      <a:pt x="36" y="547"/>
                    </a:lnTo>
                    <a:lnTo>
                      <a:pt x="36" y="547"/>
                    </a:lnTo>
                    <a:lnTo>
                      <a:pt x="43" y="554"/>
                    </a:lnTo>
                    <a:lnTo>
                      <a:pt x="43" y="554"/>
                    </a:lnTo>
                    <a:lnTo>
                      <a:pt x="43" y="554"/>
                    </a:lnTo>
                    <a:lnTo>
                      <a:pt x="43" y="554"/>
                    </a:lnTo>
                    <a:lnTo>
                      <a:pt x="50" y="554"/>
                    </a:lnTo>
                    <a:lnTo>
                      <a:pt x="50" y="554"/>
                    </a:lnTo>
                    <a:lnTo>
                      <a:pt x="50" y="554"/>
                    </a:lnTo>
                    <a:lnTo>
                      <a:pt x="57" y="561"/>
                    </a:lnTo>
                    <a:lnTo>
                      <a:pt x="57" y="561"/>
                    </a:lnTo>
                    <a:lnTo>
                      <a:pt x="57" y="554"/>
                    </a:lnTo>
                    <a:lnTo>
                      <a:pt x="64" y="554"/>
                    </a:lnTo>
                    <a:lnTo>
                      <a:pt x="64" y="554"/>
                    </a:lnTo>
                    <a:lnTo>
                      <a:pt x="64" y="547"/>
                    </a:lnTo>
                    <a:lnTo>
                      <a:pt x="64" y="547"/>
                    </a:lnTo>
                    <a:lnTo>
                      <a:pt x="64" y="547"/>
                    </a:lnTo>
                    <a:lnTo>
                      <a:pt x="64" y="547"/>
                    </a:lnTo>
                    <a:lnTo>
                      <a:pt x="64" y="547"/>
                    </a:lnTo>
                    <a:lnTo>
                      <a:pt x="71" y="547"/>
                    </a:lnTo>
                    <a:lnTo>
                      <a:pt x="71" y="547"/>
                    </a:lnTo>
                    <a:lnTo>
                      <a:pt x="71" y="547"/>
                    </a:lnTo>
                    <a:lnTo>
                      <a:pt x="71" y="539"/>
                    </a:lnTo>
                    <a:lnTo>
                      <a:pt x="71" y="539"/>
                    </a:lnTo>
                    <a:lnTo>
                      <a:pt x="71" y="539"/>
                    </a:lnTo>
                    <a:lnTo>
                      <a:pt x="71" y="539"/>
                    </a:lnTo>
                    <a:lnTo>
                      <a:pt x="71" y="532"/>
                    </a:lnTo>
                    <a:lnTo>
                      <a:pt x="78" y="532"/>
                    </a:lnTo>
                    <a:lnTo>
                      <a:pt x="85" y="525"/>
                    </a:lnTo>
                    <a:lnTo>
                      <a:pt x="92" y="525"/>
                    </a:lnTo>
                    <a:lnTo>
                      <a:pt x="99" y="518"/>
                    </a:lnTo>
                    <a:lnTo>
                      <a:pt x="107" y="518"/>
                    </a:lnTo>
                    <a:lnTo>
                      <a:pt x="121" y="518"/>
                    </a:lnTo>
                    <a:lnTo>
                      <a:pt x="128" y="511"/>
                    </a:lnTo>
                    <a:lnTo>
                      <a:pt x="128" y="511"/>
                    </a:lnTo>
                    <a:lnTo>
                      <a:pt x="128" y="504"/>
                    </a:lnTo>
                    <a:lnTo>
                      <a:pt x="128" y="504"/>
                    </a:lnTo>
                    <a:lnTo>
                      <a:pt x="128" y="504"/>
                    </a:lnTo>
                    <a:lnTo>
                      <a:pt x="128" y="504"/>
                    </a:lnTo>
                    <a:lnTo>
                      <a:pt x="128" y="497"/>
                    </a:lnTo>
                    <a:lnTo>
                      <a:pt x="128" y="497"/>
                    </a:lnTo>
                    <a:lnTo>
                      <a:pt x="128" y="497"/>
                    </a:lnTo>
                    <a:lnTo>
                      <a:pt x="128" y="497"/>
                    </a:lnTo>
                    <a:lnTo>
                      <a:pt x="135" y="490"/>
                    </a:lnTo>
                    <a:lnTo>
                      <a:pt x="135" y="490"/>
                    </a:lnTo>
                    <a:lnTo>
                      <a:pt x="135" y="490"/>
                    </a:lnTo>
                    <a:lnTo>
                      <a:pt x="135" y="490"/>
                    </a:lnTo>
                    <a:lnTo>
                      <a:pt x="135" y="490"/>
                    </a:lnTo>
                    <a:lnTo>
                      <a:pt x="135" y="490"/>
                    </a:lnTo>
                    <a:lnTo>
                      <a:pt x="135" y="490"/>
                    </a:lnTo>
                    <a:lnTo>
                      <a:pt x="135" y="483"/>
                    </a:lnTo>
                    <a:lnTo>
                      <a:pt x="135" y="483"/>
                    </a:lnTo>
                    <a:lnTo>
                      <a:pt x="142" y="490"/>
                    </a:lnTo>
                    <a:lnTo>
                      <a:pt x="149" y="490"/>
                    </a:lnTo>
                    <a:lnTo>
                      <a:pt x="149" y="490"/>
                    </a:lnTo>
                    <a:lnTo>
                      <a:pt x="149" y="490"/>
                    </a:lnTo>
                    <a:lnTo>
                      <a:pt x="156" y="490"/>
                    </a:lnTo>
                    <a:lnTo>
                      <a:pt x="156" y="490"/>
                    </a:lnTo>
                    <a:lnTo>
                      <a:pt x="156" y="497"/>
                    </a:lnTo>
                    <a:lnTo>
                      <a:pt x="163" y="497"/>
                    </a:lnTo>
                    <a:lnTo>
                      <a:pt x="163" y="497"/>
                    </a:lnTo>
                    <a:lnTo>
                      <a:pt x="170" y="504"/>
                    </a:lnTo>
                    <a:lnTo>
                      <a:pt x="178" y="497"/>
                    </a:lnTo>
                    <a:lnTo>
                      <a:pt x="178" y="497"/>
                    </a:lnTo>
                    <a:lnTo>
                      <a:pt x="178" y="497"/>
                    </a:lnTo>
                    <a:lnTo>
                      <a:pt x="178" y="497"/>
                    </a:lnTo>
                    <a:lnTo>
                      <a:pt x="170" y="490"/>
                    </a:lnTo>
                    <a:lnTo>
                      <a:pt x="170" y="490"/>
                    </a:lnTo>
                    <a:lnTo>
                      <a:pt x="170" y="490"/>
                    </a:lnTo>
                    <a:lnTo>
                      <a:pt x="170" y="490"/>
                    </a:lnTo>
                    <a:lnTo>
                      <a:pt x="170" y="490"/>
                    </a:lnTo>
                    <a:lnTo>
                      <a:pt x="170" y="490"/>
                    </a:lnTo>
                    <a:lnTo>
                      <a:pt x="178" y="490"/>
                    </a:lnTo>
                    <a:lnTo>
                      <a:pt x="178" y="490"/>
                    </a:lnTo>
                    <a:lnTo>
                      <a:pt x="178" y="490"/>
                    </a:lnTo>
                    <a:lnTo>
                      <a:pt x="178" y="490"/>
                    </a:lnTo>
                    <a:lnTo>
                      <a:pt x="185" y="490"/>
                    </a:lnTo>
                    <a:lnTo>
                      <a:pt x="185" y="497"/>
                    </a:lnTo>
                    <a:lnTo>
                      <a:pt x="185" y="497"/>
                    </a:lnTo>
                    <a:lnTo>
                      <a:pt x="185" y="490"/>
                    </a:lnTo>
                    <a:lnTo>
                      <a:pt x="185" y="490"/>
                    </a:lnTo>
                    <a:lnTo>
                      <a:pt x="185" y="490"/>
                    </a:lnTo>
                    <a:lnTo>
                      <a:pt x="185" y="483"/>
                    </a:lnTo>
                    <a:lnTo>
                      <a:pt x="185" y="483"/>
                    </a:lnTo>
                    <a:lnTo>
                      <a:pt x="185" y="483"/>
                    </a:lnTo>
                    <a:lnTo>
                      <a:pt x="185" y="483"/>
                    </a:lnTo>
                    <a:lnTo>
                      <a:pt x="192" y="483"/>
                    </a:lnTo>
                    <a:lnTo>
                      <a:pt x="192" y="483"/>
                    </a:lnTo>
                    <a:lnTo>
                      <a:pt x="192" y="483"/>
                    </a:lnTo>
                    <a:lnTo>
                      <a:pt x="192" y="476"/>
                    </a:lnTo>
                    <a:lnTo>
                      <a:pt x="192" y="476"/>
                    </a:lnTo>
                    <a:lnTo>
                      <a:pt x="185" y="476"/>
                    </a:lnTo>
                    <a:lnTo>
                      <a:pt x="185" y="476"/>
                    </a:lnTo>
                    <a:lnTo>
                      <a:pt x="185" y="476"/>
                    </a:lnTo>
                    <a:lnTo>
                      <a:pt x="185" y="468"/>
                    </a:lnTo>
                    <a:lnTo>
                      <a:pt x="185" y="468"/>
                    </a:lnTo>
                    <a:lnTo>
                      <a:pt x="185" y="468"/>
                    </a:lnTo>
                    <a:lnTo>
                      <a:pt x="178" y="468"/>
                    </a:lnTo>
                    <a:lnTo>
                      <a:pt x="185" y="468"/>
                    </a:lnTo>
                    <a:lnTo>
                      <a:pt x="185" y="468"/>
                    </a:lnTo>
                    <a:lnTo>
                      <a:pt x="185" y="461"/>
                    </a:lnTo>
                    <a:lnTo>
                      <a:pt x="192" y="461"/>
                    </a:lnTo>
                    <a:lnTo>
                      <a:pt x="192" y="461"/>
                    </a:lnTo>
                    <a:lnTo>
                      <a:pt x="192" y="461"/>
                    </a:lnTo>
                    <a:lnTo>
                      <a:pt x="192" y="461"/>
                    </a:lnTo>
                    <a:lnTo>
                      <a:pt x="192" y="468"/>
                    </a:lnTo>
                    <a:lnTo>
                      <a:pt x="192" y="468"/>
                    </a:lnTo>
                    <a:lnTo>
                      <a:pt x="192" y="468"/>
                    </a:lnTo>
                    <a:lnTo>
                      <a:pt x="199" y="468"/>
                    </a:lnTo>
                    <a:lnTo>
                      <a:pt x="199" y="468"/>
                    </a:lnTo>
                    <a:lnTo>
                      <a:pt x="206" y="468"/>
                    </a:lnTo>
                    <a:lnTo>
                      <a:pt x="206" y="468"/>
                    </a:lnTo>
                    <a:lnTo>
                      <a:pt x="213" y="468"/>
                    </a:lnTo>
                    <a:lnTo>
                      <a:pt x="213" y="468"/>
                    </a:lnTo>
                    <a:lnTo>
                      <a:pt x="213" y="468"/>
                    </a:lnTo>
                    <a:lnTo>
                      <a:pt x="213" y="461"/>
                    </a:lnTo>
                    <a:lnTo>
                      <a:pt x="213" y="461"/>
                    </a:lnTo>
                    <a:lnTo>
                      <a:pt x="213" y="461"/>
                    </a:lnTo>
                    <a:lnTo>
                      <a:pt x="213" y="461"/>
                    </a:lnTo>
                    <a:lnTo>
                      <a:pt x="213" y="454"/>
                    </a:lnTo>
                    <a:lnTo>
                      <a:pt x="213" y="454"/>
                    </a:lnTo>
                    <a:lnTo>
                      <a:pt x="213" y="447"/>
                    </a:lnTo>
                    <a:lnTo>
                      <a:pt x="213" y="447"/>
                    </a:lnTo>
                    <a:lnTo>
                      <a:pt x="220" y="447"/>
                    </a:lnTo>
                    <a:lnTo>
                      <a:pt x="220" y="447"/>
                    </a:lnTo>
                    <a:lnTo>
                      <a:pt x="220" y="447"/>
                    </a:lnTo>
                    <a:lnTo>
                      <a:pt x="220" y="454"/>
                    </a:lnTo>
                    <a:lnTo>
                      <a:pt x="227" y="454"/>
                    </a:lnTo>
                    <a:lnTo>
                      <a:pt x="227" y="454"/>
                    </a:lnTo>
                    <a:lnTo>
                      <a:pt x="227" y="447"/>
                    </a:lnTo>
                    <a:lnTo>
                      <a:pt x="227" y="447"/>
                    </a:lnTo>
                    <a:lnTo>
                      <a:pt x="227" y="447"/>
                    </a:lnTo>
                    <a:lnTo>
                      <a:pt x="227" y="440"/>
                    </a:lnTo>
                    <a:lnTo>
                      <a:pt x="227" y="440"/>
                    </a:lnTo>
                    <a:lnTo>
                      <a:pt x="234" y="440"/>
                    </a:lnTo>
                    <a:lnTo>
                      <a:pt x="234" y="440"/>
                    </a:lnTo>
                    <a:lnTo>
                      <a:pt x="234" y="440"/>
                    </a:lnTo>
                    <a:lnTo>
                      <a:pt x="234" y="440"/>
                    </a:lnTo>
                    <a:lnTo>
                      <a:pt x="234" y="440"/>
                    </a:lnTo>
                    <a:lnTo>
                      <a:pt x="234" y="440"/>
                    </a:lnTo>
                    <a:lnTo>
                      <a:pt x="234" y="440"/>
                    </a:lnTo>
                    <a:lnTo>
                      <a:pt x="234" y="440"/>
                    </a:lnTo>
                    <a:lnTo>
                      <a:pt x="234" y="440"/>
                    </a:lnTo>
                    <a:lnTo>
                      <a:pt x="234" y="440"/>
                    </a:lnTo>
                    <a:lnTo>
                      <a:pt x="234" y="433"/>
                    </a:lnTo>
                    <a:lnTo>
                      <a:pt x="234" y="433"/>
                    </a:lnTo>
                    <a:lnTo>
                      <a:pt x="234" y="433"/>
                    </a:lnTo>
                    <a:lnTo>
                      <a:pt x="234" y="433"/>
                    </a:lnTo>
                    <a:lnTo>
                      <a:pt x="234" y="433"/>
                    </a:lnTo>
                    <a:lnTo>
                      <a:pt x="234" y="426"/>
                    </a:lnTo>
                    <a:lnTo>
                      <a:pt x="234" y="426"/>
                    </a:lnTo>
                    <a:lnTo>
                      <a:pt x="241" y="426"/>
                    </a:lnTo>
                    <a:lnTo>
                      <a:pt x="241" y="426"/>
                    </a:lnTo>
                    <a:lnTo>
                      <a:pt x="249" y="419"/>
                    </a:lnTo>
                    <a:lnTo>
                      <a:pt x="249" y="405"/>
                    </a:lnTo>
                    <a:lnTo>
                      <a:pt x="249" y="405"/>
                    </a:lnTo>
                    <a:lnTo>
                      <a:pt x="249" y="405"/>
                    </a:lnTo>
                    <a:lnTo>
                      <a:pt x="249" y="405"/>
                    </a:lnTo>
                    <a:lnTo>
                      <a:pt x="249" y="397"/>
                    </a:lnTo>
                    <a:lnTo>
                      <a:pt x="249" y="397"/>
                    </a:lnTo>
                    <a:lnTo>
                      <a:pt x="249" y="397"/>
                    </a:lnTo>
                    <a:lnTo>
                      <a:pt x="249" y="397"/>
                    </a:lnTo>
                    <a:lnTo>
                      <a:pt x="249" y="397"/>
                    </a:lnTo>
                    <a:lnTo>
                      <a:pt x="249" y="397"/>
                    </a:lnTo>
                    <a:lnTo>
                      <a:pt x="249" y="397"/>
                    </a:lnTo>
                    <a:lnTo>
                      <a:pt x="249" y="390"/>
                    </a:lnTo>
                    <a:lnTo>
                      <a:pt x="249" y="390"/>
                    </a:lnTo>
                    <a:lnTo>
                      <a:pt x="249" y="390"/>
                    </a:lnTo>
                    <a:lnTo>
                      <a:pt x="249" y="383"/>
                    </a:lnTo>
                    <a:lnTo>
                      <a:pt x="249" y="383"/>
                    </a:lnTo>
                    <a:lnTo>
                      <a:pt x="249" y="383"/>
                    </a:lnTo>
                    <a:lnTo>
                      <a:pt x="249" y="383"/>
                    </a:lnTo>
                    <a:lnTo>
                      <a:pt x="249" y="383"/>
                    </a:lnTo>
                    <a:lnTo>
                      <a:pt x="241" y="383"/>
                    </a:lnTo>
                    <a:lnTo>
                      <a:pt x="241" y="383"/>
                    </a:lnTo>
                    <a:lnTo>
                      <a:pt x="241" y="383"/>
                    </a:lnTo>
                    <a:lnTo>
                      <a:pt x="249" y="383"/>
                    </a:lnTo>
                    <a:lnTo>
                      <a:pt x="249" y="383"/>
                    </a:lnTo>
                    <a:lnTo>
                      <a:pt x="249" y="383"/>
                    </a:lnTo>
                    <a:lnTo>
                      <a:pt x="249" y="383"/>
                    </a:lnTo>
                    <a:lnTo>
                      <a:pt x="249" y="383"/>
                    </a:lnTo>
                    <a:lnTo>
                      <a:pt x="256" y="383"/>
                    </a:lnTo>
                    <a:lnTo>
                      <a:pt x="256" y="383"/>
                    </a:lnTo>
                    <a:lnTo>
                      <a:pt x="256" y="383"/>
                    </a:lnTo>
                    <a:lnTo>
                      <a:pt x="256" y="383"/>
                    </a:lnTo>
                    <a:lnTo>
                      <a:pt x="263" y="383"/>
                    </a:lnTo>
                    <a:lnTo>
                      <a:pt x="263" y="383"/>
                    </a:lnTo>
                    <a:lnTo>
                      <a:pt x="263" y="383"/>
                    </a:lnTo>
                    <a:lnTo>
                      <a:pt x="263" y="376"/>
                    </a:lnTo>
                    <a:lnTo>
                      <a:pt x="263" y="376"/>
                    </a:lnTo>
                    <a:lnTo>
                      <a:pt x="263" y="376"/>
                    </a:lnTo>
                    <a:lnTo>
                      <a:pt x="263" y="376"/>
                    </a:lnTo>
                    <a:lnTo>
                      <a:pt x="256" y="376"/>
                    </a:lnTo>
                    <a:lnTo>
                      <a:pt x="263" y="376"/>
                    </a:lnTo>
                    <a:lnTo>
                      <a:pt x="263" y="376"/>
                    </a:lnTo>
                    <a:lnTo>
                      <a:pt x="263" y="369"/>
                    </a:lnTo>
                    <a:lnTo>
                      <a:pt x="263" y="369"/>
                    </a:lnTo>
                    <a:lnTo>
                      <a:pt x="263" y="369"/>
                    </a:lnTo>
                    <a:lnTo>
                      <a:pt x="263" y="369"/>
                    </a:lnTo>
                    <a:lnTo>
                      <a:pt x="263" y="369"/>
                    </a:lnTo>
                    <a:lnTo>
                      <a:pt x="263" y="369"/>
                    </a:lnTo>
                    <a:lnTo>
                      <a:pt x="256" y="369"/>
                    </a:lnTo>
                    <a:lnTo>
                      <a:pt x="256" y="362"/>
                    </a:lnTo>
                    <a:lnTo>
                      <a:pt x="256" y="362"/>
                    </a:lnTo>
                    <a:lnTo>
                      <a:pt x="256" y="362"/>
                    </a:lnTo>
                    <a:lnTo>
                      <a:pt x="256" y="362"/>
                    </a:lnTo>
                    <a:lnTo>
                      <a:pt x="256" y="355"/>
                    </a:lnTo>
                    <a:lnTo>
                      <a:pt x="256" y="355"/>
                    </a:lnTo>
                    <a:lnTo>
                      <a:pt x="249" y="355"/>
                    </a:lnTo>
                    <a:lnTo>
                      <a:pt x="249" y="355"/>
                    </a:lnTo>
                    <a:lnTo>
                      <a:pt x="249" y="355"/>
                    </a:lnTo>
                    <a:lnTo>
                      <a:pt x="249" y="355"/>
                    </a:lnTo>
                    <a:lnTo>
                      <a:pt x="249" y="355"/>
                    </a:lnTo>
                    <a:lnTo>
                      <a:pt x="249" y="355"/>
                    </a:lnTo>
                    <a:lnTo>
                      <a:pt x="249" y="355"/>
                    </a:lnTo>
                    <a:lnTo>
                      <a:pt x="249" y="355"/>
                    </a:lnTo>
                    <a:lnTo>
                      <a:pt x="256" y="355"/>
                    </a:lnTo>
                    <a:lnTo>
                      <a:pt x="256" y="355"/>
                    </a:lnTo>
                    <a:lnTo>
                      <a:pt x="256" y="355"/>
                    </a:lnTo>
                    <a:lnTo>
                      <a:pt x="256" y="355"/>
                    </a:lnTo>
                    <a:lnTo>
                      <a:pt x="256" y="355"/>
                    </a:lnTo>
                    <a:lnTo>
                      <a:pt x="256" y="341"/>
                    </a:lnTo>
                    <a:lnTo>
                      <a:pt x="256" y="341"/>
                    </a:lnTo>
                    <a:lnTo>
                      <a:pt x="256" y="341"/>
                    </a:lnTo>
                    <a:lnTo>
                      <a:pt x="256" y="341"/>
                    </a:lnTo>
                    <a:lnTo>
                      <a:pt x="256" y="334"/>
                    </a:lnTo>
                    <a:lnTo>
                      <a:pt x="256" y="334"/>
                    </a:lnTo>
                    <a:lnTo>
                      <a:pt x="256" y="319"/>
                    </a:lnTo>
                    <a:lnTo>
                      <a:pt x="249" y="319"/>
                    </a:lnTo>
                    <a:lnTo>
                      <a:pt x="249" y="319"/>
                    </a:lnTo>
                    <a:lnTo>
                      <a:pt x="249" y="319"/>
                    </a:lnTo>
                    <a:lnTo>
                      <a:pt x="241" y="312"/>
                    </a:lnTo>
                    <a:lnTo>
                      <a:pt x="241" y="312"/>
                    </a:lnTo>
                    <a:lnTo>
                      <a:pt x="241" y="312"/>
                    </a:lnTo>
                    <a:lnTo>
                      <a:pt x="241" y="312"/>
                    </a:lnTo>
                    <a:lnTo>
                      <a:pt x="241" y="312"/>
                    </a:lnTo>
                    <a:lnTo>
                      <a:pt x="241" y="305"/>
                    </a:lnTo>
                    <a:lnTo>
                      <a:pt x="241" y="305"/>
                    </a:lnTo>
                    <a:lnTo>
                      <a:pt x="241" y="305"/>
                    </a:lnTo>
                    <a:lnTo>
                      <a:pt x="241" y="298"/>
                    </a:lnTo>
                    <a:lnTo>
                      <a:pt x="241" y="298"/>
                    </a:lnTo>
                    <a:lnTo>
                      <a:pt x="241" y="298"/>
                    </a:lnTo>
                    <a:lnTo>
                      <a:pt x="241" y="298"/>
                    </a:lnTo>
                    <a:lnTo>
                      <a:pt x="241" y="298"/>
                    </a:lnTo>
                    <a:lnTo>
                      <a:pt x="241" y="291"/>
                    </a:lnTo>
                    <a:lnTo>
                      <a:pt x="241" y="291"/>
                    </a:lnTo>
                    <a:lnTo>
                      <a:pt x="241" y="284"/>
                    </a:lnTo>
                    <a:lnTo>
                      <a:pt x="249" y="284"/>
                    </a:lnTo>
                    <a:lnTo>
                      <a:pt x="249" y="284"/>
                    </a:lnTo>
                    <a:lnTo>
                      <a:pt x="241" y="277"/>
                    </a:lnTo>
                    <a:lnTo>
                      <a:pt x="241" y="277"/>
                    </a:lnTo>
                    <a:lnTo>
                      <a:pt x="241" y="277"/>
                    </a:lnTo>
                    <a:lnTo>
                      <a:pt x="241" y="270"/>
                    </a:lnTo>
                    <a:lnTo>
                      <a:pt x="241" y="270"/>
                    </a:lnTo>
                    <a:lnTo>
                      <a:pt x="241" y="270"/>
                    </a:lnTo>
                    <a:lnTo>
                      <a:pt x="241" y="270"/>
                    </a:lnTo>
                    <a:lnTo>
                      <a:pt x="241" y="270"/>
                    </a:lnTo>
                    <a:lnTo>
                      <a:pt x="241" y="270"/>
                    </a:lnTo>
                    <a:lnTo>
                      <a:pt x="234" y="270"/>
                    </a:lnTo>
                    <a:lnTo>
                      <a:pt x="234" y="270"/>
                    </a:lnTo>
                    <a:lnTo>
                      <a:pt x="234" y="270"/>
                    </a:lnTo>
                    <a:lnTo>
                      <a:pt x="234" y="270"/>
                    </a:lnTo>
                    <a:lnTo>
                      <a:pt x="234" y="270"/>
                    </a:lnTo>
                    <a:lnTo>
                      <a:pt x="234" y="270"/>
                    </a:lnTo>
                    <a:lnTo>
                      <a:pt x="234" y="270"/>
                    </a:lnTo>
                    <a:lnTo>
                      <a:pt x="234" y="270"/>
                    </a:lnTo>
                    <a:lnTo>
                      <a:pt x="234" y="263"/>
                    </a:lnTo>
                    <a:lnTo>
                      <a:pt x="234" y="263"/>
                    </a:lnTo>
                    <a:lnTo>
                      <a:pt x="234" y="263"/>
                    </a:lnTo>
                    <a:lnTo>
                      <a:pt x="234" y="263"/>
                    </a:lnTo>
                    <a:lnTo>
                      <a:pt x="234" y="263"/>
                    </a:lnTo>
                    <a:lnTo>
                      <a:pt x="234" y="263"/>
                    </a:lnTo>
                    <a:lnTo>
                      <a:pt x="234" y="263"/>
                    </a:lnTo>
                    <a:lnTo>
                      <a:pt x="234" y="263"/>
                    </a:lnTo>
                    <a:lnTo>
                      <a:pt x="234" y="263"/>
                    </a:lnTo>
                    <a:lnTo>
                      <a:pt x="234" y="263"/>
                    </a:lnTo>
                    <a:lnTo>
                      <a:pt x="234" y="263"/>
                    </a:lnTo>
                    <a:lnTo>
                      <a:pt x="234" y="263"/>
                    </a:lnTo>
                    <a:lnTo>
                      <a:pt x="234" y="255"/>
                    </a:lnTo>
                    <a:lnTo>
                      <a:pt x="241" y="255"/>
                    </a:lnTo>
                    <a:lnTo>
                      <a:pt x="241" y="255"/>
                    </a:lnTo>
                    <a:lnTo>
                      <a:pt x="249" y="255"/>
                    </a:lnTo>
                    <a:lnTo>
                      <a:pt x="249" y="255"/>
                    </a:lnTo>
                    <a:lnTo>
                      <a:pt x="249" y="248"/>
                    </a:lnTo>
                    <a:lnTo>
                      <a:pt x="249" y="248"/>
                    </a:lnTo>
                    <a:lnTo>
                      <a:pt x="249" y="248"/>
                    </a:lnTo>
                    <a:lnTo>
                      <a:pt x="249" y="248"/>
                    </a:lnTo>
                    <a:lnTo>
                      <a:pt x="249" y="248"/>
                    </a:lnTo>
                    <a:lnTo>
                      <a:pt x="256" y="248"/>
                    </a:lnTo>
                    <a:lnTo>
                      <a:pt x="256" y="248"/>
                    </a:lnTo>
                    <a:lnTo>
                      <a:pt x="256" y="241"/>
                    </a:lnTo>
                    <a:lnTo>
                      <a:pt x="263" y="248"/>
                    </a:lnTo>
                    <a:lnTo>
                      <a:pt x="263" y="248"/>
                    </a:lnTo>
                    <a:lnTo>
                      <a:pt x="263" y="248"/>
                    </a:lnTo>
                    <a:lnTo>
                      <a:pt x="263" y="248"/>
                    </a:lnTo>
                    <a:lnTo>
                      <a:pt x="263" y="248"/>
                    </a:lnTo>
                    <a:lnTo>
                      <a:pt x="270" y="248"/>
                    </a:lnTo>
                    <a:lnTo>
                      <a:pt x="270" y="248"/>
                    </a:lnTo>
                    <a:lnTo>
                      <a:pt x="270" y="248"/>
                    </a:lnTo>
                    <a:lnTo>
                      <a:pt x="270" y="248"/>
                    </a:lnTo>
                    <a:lnTo>
                      <a:pt x="270" y="241"/>
                    </a:lnTo>
                    <a:lnTo>
                      <a:pt x="270" y="241"/>
                    </a:lnTo>
                    <a:lnTo>
                      <a:pt x="270" y="241"/>
                    </a:lnTo>
                    <a:lnTo>
                      <a:pt x="270" y="241"/>
                    </a:lnTo>
                    <a:lnTo>
                      <a:pt x="270" y="241"/>
                    </a:lnTo>
                    <a:lnTo>
                      <a:pt x="270" y="234"/>
                    </a:lnTo>
                    <a:lnTo>
                      <a:pt x="270" y="234"/>
                    </a:lnTo>
                    <a:lnTo>
                      <a:pt x="270" y="234"/>
                    </a:lnTo>
                    <a:lnTo>
                      <a:pt x="270" y="234"/>
                    </a:lnTo>
                    <a:lnTo>
                      <a:pt x="270" y="227"/>
                    </a:lnTo>
                    <a:lnTo>
                      <a:pt x="270" y="227"/>
                    </a:lnTo>
                    <a:lnTo>
                      <a:pt x="270" y="220"/>
                    </a:lnTo>
                    <a:lnTo>
                      <a:pt x="263" y="220"/>
                    </a:lnTo>
                    <a:lnTo>
                      <a:pt x="263" y="220"/>
                    </a:lnTo>
                    <a:lnTo>
                      <a:pt x="256" y="213"/>
                    </a:lnTo>
                    <a:lnTo>
                      <a:pt x="249" y="213"/>
                    </a:lnTo>
                    <a:lnTo>
                      <a:pt x="249" y="213"/>
                    </a:lnTo>
                    <a:lnTo>
                      <a:pt x="249" y="213"/>
                    </a:lnTo>
                    <a:lnTo>
                      <a:pt x="249" y="206"/>
                    </a:lnTo>
                    <a:lnTo>
                      <a:pt x="249" y="206"/>
                    </a:lnTo>
                    <a:lnTo>
                      <a:pt x="241" y="206"/>
                    </a:lnTo>
                    <a:lnTo>
                      <a:pt x="241" y="206"/>
                    </a:lnTo>
                    <a:lnTo>
                      <a:pt x="241" y="206"/>
                    </a:lnTo>
                    <a:lnTo>
                      <a:pt x="241" y="199"/>
                    </a:lnTo>
                    <a:lnTo>
                      <a:pt x="241" y="199"/>
                    </a:lnTo>
                    <a:lnTo>
                      <a:pt x="234" y="199"/>
                    </a:lnTo>
                    <a:lnTo>
                      <a:pt x="234" y="199"/>
                    </a:lnTo>
                    <a:lnTo>
                      <a:pt x="234" y="199"/>
                    </a:lnTo>
                    <a:lnTo>
                      <a:pt x="234" y="192"/>
                    </a:lnTo>
                    <a:lnTo>
                      <a:pt x="234" y="192"/>
                    </a:lnTo>
                    <a:lnTo>
                      <a:pt x="234" y="192"/>
                    </a:lnTo>
                    <a:lnTo>
                      <a:pt x="234" y="192"/>
                    </a:lnTo>
                    <a:lnTo>
                      <a:pt x="227" y="192"/>
                    </a:lnTo>
                    <a:lnTo>
                      <a:pt x="227" y="192"/>
                    </a:lnTo>
                    <a:lnTo>
                      <a:pt x="227" y="192"/>
                    </a:lnTo>
                    <a:lnTo>
                      <a:pt x="227" y="192"/>
                    </a:lnTo>
                    <a:lnTo>
                      <a:pt x="227" y="192"/>
                    </a:lnTo>
                    <a:lnTo>
                      <a:pt x="234" y="192"/>
                    </a:lnTo>
                    <a:lnTo>
                      <a:pt x="234" y="192"/>
                    </a:lnTo>
                    <a:lnTo>
                      <a:pt x="234" y="184"/>
                    </a:lnTo>
                    <a:lnTo>
                      <a:pt x="234" y="184"/>
                    </a:lnTo>
                    <a:lnTo>
                      <a:pt x="234" y="184"/>
                    </a:lnTo>
                    <a:lnTo>
                      <a:pt x="234" y="184"/>
                    </a:lnTo>
                    <a:lnTo>
                      <a:pt x="234" y="177"/>
                    </a:lnTo>
                    <a:lnTo>
                      <a:pt x="234" y="177"/>
                    </a:lnTo>
                    <a:lnTo>
                      <a:pt x="234" y="177"/>
                    </a:lnTo>
                    <a:lnTo>
                      <a:pt x="234" y="177"/>
                    </a:lnTo>
                    <a:lnTo>
                      <a:pt x="234" y="177"/>
                    </a:lnTo>
                    <a:lnTo>
                      <a:pt x="234" y="177"/>
                    </a:lnTo>
                    <a:lnTo>
                      <a:pt x="241" y="170"/>
                    </a:lnTo>
                    <a:lnTo>
                      <a:pt x="249" y="163"/>
                    </a:lnTo>
                    <a:lnTo>
                      <a:pt x="249" y="156"/>
                    </a:lnTo>
                    <a:lnTo>
                      <a:pt x="249" y="156"/>
                    </a:lnTo>
                    <a:lnTo>
                      <a:pt x="256" y="156"/>
                    </a:lnTo>
                    <a:lnTo>
                      <a:pt x="256" y="156"/>
                    </a:lnTo>
                    <a:lnTo>
                      <a:pt x="256" y="156"/>
                    </a:lnTo>
                    <a:lnTo>
                      <a:pt x="256" y="156"/>
                    </a:lnTo>
                    <a:lnTo>
                      <a:pt x="256" y="156"/>
                    </a:lnTo>
                    <a:lnTo>
                      <a:pt x="256" y="149"/>
                    </a:lnTo>
                    <a:lnTo>
                      <a:pt x="263" y="149"/>
                    </a:lnTo>
                    <a:lnTo>
                      <a:pt x="263" y="149"/>
                    </a:lnTo>
                    <a:lnTo>
                      <a:pt x="263" y="149"/>
                    </a:lnTo>
                    <a:lnTo>
                      <a:pt x="270" y="149"/>
                    </a:lnTo>
                    <a:lnTo>
                      <a:pt x="270" y="142"/>
                    </a:lnTo>
                    <a:lnTo>
                      <a:pt x="270" y="135"/>
                    </a:lnTo>
                    <a:lnTo>
                      <a:pt x="277" y="135"/>
                    </a:lnTo>
                    <a:lnTo>
                      <a:pt x="277" y="135"/>
                    </a:lnTo>
                    <a:lnTo>
                      <a:pt x="277" y="135"/>
                    </a:lnTo>
                    <a:lnTo>
                      <a:pt x="284" y="135"/>
                    </a:lnTo>
                    <a:lnTo>
                      <a:pt x="284" y="128"/>
                    </a:lnTo>
                    <a:lnTo>
                      <a:pt x="284" y="128"/>
                    </a:lnTo>
                    <a:lnTo>
                      <a:pt x="291" y="128"/>
                    </a:lnTo>
                    <a:lnTo>
                      <a:pt x="291" y="128"/>
                    </a:lnTo>
                    <a:lnTo>
                      <a:pt x="291" y="128"/>
                    </a:lnTo>
                    <a:lnTo>
                      <a:pt x="291" y="128"/>
                    </a:lnTo>
                    <a:lnTo>
                      <a:pt x="291" y="128"/>
                    </a:lnTo>
                    <a:lnTo>
                      <a:pt x="291" y="128"/>
                    </a:lnTo>
                    <a:lnTo>
                      <a:pt x="291" y="121"/>
                    </a:lnTo>
                    <a:lnTo>
                      <a:pt x="291" y="121"/>
                    </a:lnTo>
                    <a:lnTo>
                      <a:pt x="291" y="121"/>
                    </a:lnTo>
                    <a:lnTo>
                      <a:pt x="284" y="121"/>
                    </a:lnTo>
                    <a:lnTo>
                      <a:pt x="284" y="121"/>
                    </a:lnTo>
                    <a:lnTo>
                      <a:pt x="284" y="121"/>
                    </a:lnTo>
                    <a:lnTo>
                      <a:pt x="284" y="121"/>
                    </a:lnTo>
                    <a:lnTo>
                      <a:pt x="284" y="114"/>
                    </a:lnTo>
                    <a:lnTo>
                      <a:pt x="284" y="114"/>
                    </a:lnTo>
                    <a:lnTo>
                      <a:pt x="284" y="114"/>
                    </a:lnTo>
                    <a:lnTo>
                      <a:pt x="284" y="114"/>
                    </a:lnTo>
                    <a:lnTo>
                      <a:pt x="284" y="114"/>
                    </a:lnTo>
                    <a:lnTo>
                      <a:pt x="284" y="114"/>
                    </a:lnTo>
                    <a:lnTo>
                      <a:pt x="284" y="114"/>
                    </a:lnTo>
                    <a:lnTo>
                      <a:pt x="284" y="106"/>
                    </a:lnTo>
                    <a:lnTo>
                      <a:pt x="277" y="106"/>
                    </a:lnTo>
                    <a:lnTo>
                      <a:pt x="277" y="106"/>
                    </a:lnTo>
                    <a:lnTo>
                      <a:pt x="277" y="106"/>
                    </a:lnTo>
                    <a:lnTo>
                      <a:pt x="277" y="106"/>
                    </a:lnTo>
                    <a:lnTo>
                      <a:pt x="277" y="106"/>
                    </a:lnTo>
                    <a:lnTo>
                      <a:pt x="277" y="106"/>
                    </a:lnTo>
                    <a:lnTo>
                      <a:pt x="277" y="106"/>
                    </a:lnTo>
                    <a:lnTo>
                      <a:pt x="277" y="99"/>
                    </a:lnTo>
                    <a:lnTo>
                      <a:pt x="277" y="99"/>
                    </a:lnTo>
                    <a:lnTo>
                      <a:pt x="277" y="99"/>
                    </a:lnTo>
                    <a:lnTo>
                      <a:pt x="277" y="99"/>
                    </a:lnTo>
                    <a:lnTo>
                      <a:pt x="270" y="99"/>
                    </a:lnTo>
                    <a:lnTo>
                      <a:pt x="263" y="99"/>
                    </a:lnTo>
                    <a:lnTo>
                      <a:pt x="263" y="99"/>
                    </a:lnTo>
                    <a:lnTo>
                      <a:pt x="263" y="99"/>
                    </a:lnTo>
                    <a:lnTo>
                      <a:pt x="263" y="99"/>
                    </a:lnTo>
                    <a:lnTo>
                      <a:pt x="263" y="92"/>
                    </a:lnTo>
                    <a:lnTo>
                      <a:pt x="263" y="78"/>
                    </a:lnTo>
                    <a:lnTo>
                      <a:pt x="270" y="78"/>
                    </a:lnTo>
                    <a:lnTo>
                      <a:pt x="270" y="71"/>
                    </a:lnTo>
                    <a:lnTo>
                      <a:pt x="270" y="71"/>
                    </a:lnTo>
                    <a:lnTo>
                      <a:pt x="270" y="64"/>
                    </a:lnTo>
                    <a:lnTo>
                      <a:pt x="263" y="64"/>
                    </a:lnTo>
                    <a:lnTo>
                      <a:pt x="263" y="57"/>
                    </a:lnTo>
                    <a:lnTo>
                      <a:pt x="263" y="50"/>
                    </a:lnTo>
                    <a:lnTo>
                      <a:pt x="263" y="50"/>
                    </a:lnTo>
                    <a:lnTo>
                      <a:pt x="256" y="43"/>
                    </a:lnTo>
                    <a:lnTo>
                      <a:pt x="256" y="43"/>
                    </a:lnTo>
                    <a:lnTo>
                      <a:pt x="256" y="35"/>
                    </a:lnTo>
                    <a:lnTo>
                      <a:pt x="249" y="35"/>
                    </a:lnTo>
                    <a:lnTo>
                      <a:pt x="249" y="28"/>
                    </a:lnTo>
                    <a:lnTo>
                      <a:pt x="249" y="28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1" y="21"/>
                    </a:lnTo>
                    <a:lnTo>
                      <a:pt x="234" y="21"/>
                    </a:lnTo>
                    <a:lnTo>
                      <a:pt x="234" y="21"/>
                    </a:lnTo>
                    <a:lnTo>
                      <a:pt x="234" y="14"/>
                    </a:lnTo>
                    <a:lnTo>
                      <a:pt x="234" y="14"/>
                    </a:lnTo>
                    <a:lnTo>
                      <a:pt x="234" y="14"/>
                    </a:lnTo>
                    <a:lnTo>
                      <a:pt x="234" y="0"/>
                    </a:lnTo>
                    <a:lnTo>
                      <a:pt x="241" y="0"/>
                    </a:lnTo>
                    <a:lnTo>
                      <a:pt x="241" y="0"/>
                    </a:lnTo>
                    <a:lnTo>
                      <a:pt x="241" y="0"/>
                    </a:lnTo>
                    <a:lnTo>
                      <a:pt x="249" y="0"/>
                    </a:lnTo>
                    <a:lnTo>
                      <a:pt x="249" y="7"/>
                    </a:lnTo>
                    <a:lnTo>
                      <a:pt x="249" y="7"/>
                    </a:lnTo>
                    <a:lnTo>
                      <a:pt x="249" y="7"/>
                    </a:lnTo>
                    <a:lnTo>
                      <a:pt x="249" y="7"/>
                    </a:lnTo>
                    <a:lnTo>
                      <a:pt x="249" y="14"/>
                    </a:lnTo>
                    <a:lnTo>
                      <a:pt x="256" y="14"/>
                    </a:lnTo>
                    <a:lnTo>
                      <a:pt x="256" y="14"/>
                    </a:lnTo>
                    <a:lnTo>
                      <a:pt x="256" y="14"/>
                    </a:lnTo>
                    <a:lnTo>
                      <a:pt x="263" y="14"/>
                    </a:lnTo>
                    <a:lnTo>
                      <a:pt x="270" y="14"/>
                    </a:lnTo>
                    <a:lnTo>
                      <a:pt x="284" y="14"/>
                    </a:lnTo>
                    <a:lnTo>
                      <a:pt x="284" y="21"/>
                    </a:lnTo>
                    <a:lnTo>
                      <a:pt x="284" y="21"/>
                    </a:lnTo>
                    <a:lnTo>
                      <a:pt x="284" y="21"/>
                    </a:lnTo>
                    <a:lnTo>
                      <a:pt x="291" y="21"/>
                    </a:lnTo>
                    <a:lnTo>
                      <a:pt x="291" y="21"/>
                    </a:lnTo>
                    <a:lnTo>
                      <a:pt x="298" y="14"/>
                    </a:lnTo>
                    <a:lnTo>
                      <a:pt x="298" y="14"/>
                    </a:lnTo>
                    <a:lnTo>
                      <a:pt x="305" y="7"/>
                    </a:lnTo>
                    <a:lnTo>
                      <a:pt x="312" y="7"/>
                    </a:lnTo>
                    <a:lnTo>
                      <a:pt x="320" y="7"/>
                    </a:lnTo>
                    <a:lnTo>
                      <a:pt x="327" y="7"/>
                    </a:lnTo>
                    <a:lnTo>
                      <a:pt x="327" y="7"/>
                    </a:lnTo>
                    <a:lnTo>
                      <a:pt x="327" y="7"/>
                    </a:lnTo>
                    <a:lnTo>
                      <a:pt x="334" y="7"/>
                    </a:lnTo>
                    <a:lnTo>
                      <a:pt x="334" y="7"/>
                    </a:lnTo>
                    <a:lnTo>
                      <a:pt x="334" y="7"/>
                    </a:lnTo>
                    <a:lnTo>
                      <a:pt x="348" y="14"/>
                    </a:lnTo>
                    <a:lnTo>
                      <a:pt x="348" y="14"/>
                    </a:lnTo>
                    <a:lnTo>
                      <a:pt x="348" y="21"/>
                    </a:lnTo>
                    <a:lnTo>
                      <a:pt x="348" y="21"/>
                    </a:lnTo>
                    <a:lnTo>
                      <a:pt x="355" y="28"/>
                    </a:lnTo>
                    <a:lnTo>
                      <a:pt x="355" y="28"/>
                    </a:lnTo>
                    <a:lnTo>
                      <a:pt x="355" y="35"/>
                    </a:lnTo>
                    <a:lnTo>
                      <a:pt x="355" y="35"/>
                    </a:lnTo>
                    <a:lnTo>
                      <a:pt x="355" y="28"/>
                    </a:lnTo>
                    <a:lnTo>
                      <a:pt x="362" y="28"/>
                    </a:lnTo>
                    <a:lnTo>
                      <a:pt x="362" y="35"/>
                    </a:lnTo>
                    <a:lnTo>
                      <a:pt x="362" y="35"/>
                    </a:lnTo>
                    <a:lnTo>
                      <a:pt x="362" y="35"/>
                    </a:lnTo>
                    <a:lnTo>
                      <a:pt x="362" y="35"/>
                    </a:lnTo>
                    <a:lnTo>
                      <a:pt x="362" y="43"/>
                    </a:lnTo>
                    <a:lnTo>
                      <a:pt x="369" y="43"/>
                    </a:lnTo>
                    <a:lnTo>
                      <a:pt x="369" y="43"/>
                    </a:lnTo>
                    <a:lnTo>
                      <a:pt x="369" y="43"/>
                    </a:lnTo>
                    <a:lnTo>
                      <a:pt x="369" y="43"/>
                    </a:lnTo>
                    <a:lnTo>
                      <a:pt x="369" y="35"/>
                    </a:lnTo>
                    <a:lnTo>
                      <a:pt x="376" y="43"/>
                    </a:lnTo>
                    <a:lnTo>
                      <a:pt x="376" y="43"/>
                    </a:lnTo>
                    <a:lnTo>
                      <a:pt x="383" y="43"/>
                    </a:lnTo>
                    <a:lnTo>
                      <a:pt x="383" y="50"/>
                    </a:lnTo>
                    <a:lnTo>
                      <a:pt x="383" y="50"/>
                    </a:lnTo>
                    <a:lnTo>
                      <a:pt x="391" y="50"/>
                    </a:lnTo>
                    <a:lnTo>
                      <a:pt x="391" y="57"/>
                    </a:lnTo>
                    <a:lnTo>
                      <a:pt x="398" y="57"/>
                    </a:lnTo>
                    <a:lnTo>
                      <a:pt x="405" y="57"/>
                    </a:lnTo>
                    <a:lnTo>
                      <a:pt x="405" y="50"/>
                    </a:lnTo>
                    <a:lnTo>
                      <a:pt x="405" y="50"/>
                    </a:lnTo>
                    <a:lnTo>
                      <a:pt x="412" y="50"/>
                    </a:lnTo>
                    <a:lnTo>
                      <a:pt x="412" y="50"/>
                    </a:lnTo>
                    <a:lnTo>
                      <a:pt x="412" y="50"/>
                    </a:lnTo>
                    <a:lnTo>
                      <a:pt x="412" y="50"/>
                    </a:lnTo>
                    <a:lnTo>
                      <a:pt x="419" y="50"/>
                    </a:lnTo>
                    <a:lnTo>
                      <a:pt x="426" y="50"/>
                    </a:lnTo>
                    <a:lnTo>
                      <a:pt x="433" y="57"/>
                    </a:lnTo>
                    <a:lnTo>
                      <a:pt x="440" y="50"/>
                    </a:lnTo>
                    <a:lnTo>
                      <a:pt x="447" y="57"/>
                    </a:lnTo>
                    <a:lnTo>
                      <a:pt x="454" y="57"/>
                    </a:lnTo>
                    <a:lnTo>
                      <a:pt x="454" y="57"/>
                    </a:lnTo>
                    <a:lnTo>
                      <a:pt x="454" y="64"/>
                    </a:lnTo>
                    <a:lnTo>
                      <a:pt x="454" y="64"/>
                    </a:lnTo>
                    <a:lnTo>
                      <a:pt x="454" y="64"/>
                    </a:lnTo>
                    <a:lnTo>
                      <a:pt x="462" y="64"/>
                    </a:lnTo>
                    <a:lnTo>
                      <a:pt x="462" y="64"/>
                    </a:lnTo>
                    <a:lnTo>
                      <a:pt x="469" y="64"/>
                    </a:lnTo>
                    <a:lnTo>
                      <a:pt x="476" y="64"/>
                    </a:lnTo>
                    <a:lnTo>
                      <a:pt x="476" y="64"/>
                    </a:lnTo>
                    <a:lnTo>
                      <a:pt x="483" y="64"/>
                    </a:lnTo>
                    <a:lnTo>
                      <a:pt x="483" y="64"/>
                    </a:lnTo>
                    <a:lnTo>
                      <a:pt x="483" y="64"/>
                    </a:lnTo>
                    <a:lnTo>
                      <a:pt x="483" y="64"/>
                    </a:lnTo>
                    <a:lnTo>
                      <a:pt x="483" y="64"/>
                    </a:lnTo>
                    <a:lnTo>
                      <a:pt x="483" y="64"/>
                    </a:lnTo>
                    <a:lnTo>
                      <a:pt x="483" y="64"/>
                    </a:lnTo>
                    <a:lnTo>
                      <a:pt x="483" y="64"/>
                    </a:lnTo>
                    <a:lnTo>
                      <a:pt x="483" y="64"/>
                    </a:lnTo>
                    <a:lnTo>
                      <a:pt x="483" y="64"/>
                    </a:lnTo>
                    <a:lnTo>
                      <a:pt x="483" y="64"/>
                    </a:lnTo>
                    <a:lnTo>
                      <a:pt x="483" y="64"/>
                    </a:lnTo>
                    <a:lnTo>
                      <a:pt x="483" y="64"/>
                    </a:lnTo>
                    <a:lnTo>
                      <a:pt x="490" y="64"/>
                    </a:lnTo>
                    <a:lnTo>
                      <a:pt x="490" y="64"/>
                    </a:lnTo>
                    <a:lnTo>
                      <a:pt x="490" y="64"/>
                    </a:lnTo>
                    <a:lnTo>
                      <a:pt x="490" y="64"/>
                    </a:lnTo>
                    <a:lnTo>
                      <a:pt x="490" y="71"/>
                    </a:lnTo>
                    <a:lnTo>
                      <a:pt x="490" y="78"/>
                    </a:lnTo>
                    <a:lnTo>
                      <a:pt x="497" y="92"/>
                    </a:lnTo>
                    <a:lnTo>
                      <a:pt x="497" y="92"/>
                    </a:lnTo>
                    <a:lnTo>
                      <a:pt x="497" y="92"/>
                    </a:lnTo>
                    <a:lnTo>
                      <a:pt x="497" y="92"/>
                    </a:lnTo>
                    <a:lnTo>
                      <a:pt x="497" y="92"/>
                    </a:lnTo>
                    <a:lnTo>
                      <a:pt x="490" y="99"/>
                    </a:lnTo>
                    <a:lnTo>
                      <a:pt x="490" y="99"/>
                    </a:lnTo>
                    <a:lnTo>
                      <a:pt x="490" y="114"/>
                    </a:lnTo>
                    <a:lnTo>
                      <a:pt x="490" y="114"/>
                    </a:lnTo>
                    <a:lnTo>
                      <a:pt x="490" y="114"/>
                    </a:lnTo>
                    <a:lnTo>
                      <a:pt x="490" y="114"/>
                    </a:lnTo>
                    <a:lnTo>
                      <a:pt x="490" y="114"/>
                    </a:lnTo>
                    <a:lnTo>
                      <a:pt x="490" y="114"/>
                    </a:lnTo>
                    <a:lnTo>
                      <a:pt x="490" y="114"/>
                    </a:lnTo>
                    <a:lnTo>
                      <a:pt x="490" y="114"/>
                    </a:lnTo>
                    <a:lnTo>
                      <a:pt x="490" y="121"/>
                    </a:lnTo>
                    <a:lnTo>
                      <a:pt x="490" y="121"/>
                    </a:lnTo>
                    <a:lnTo>
                      <a:pt x="490" y="121"/>
                    </a:lnTo>
                    <a:lnTo>
                      <a:pt x="490" y="121"/>
                    </a:lnTo>
                    <a:lnTo>
                      <a:pt x="490" y="121"/>
                    </a:lnTo>
                    <a:lnTo>
                      <a:pt x="483" y="121"/>
                    </a:lnTo>
                    <a:lnTo>
                      <a:pt x="483" y="121"/>
                    </a:lnTo>
                    <a:lnTo>
                      <a:pt x="483" y="128"/>
                    </a:lnTo>
                    <a:lnTo>
                      <a:pt x="483" y="128"/>
                    </a:lnTo>
                    <a:lnTo>
                      <a:pt x="483" y="128"/>
                    </a:lnTo>
                    <a:lnTo>
                      <a:pt x="483" y="128"/>
                    </a:lnTo>
                    <a:lnTo>
                      <a:pt x="483" y="135"/>
                    </a:lnTo>
                    <a:lnTo>
                      <a:pt x="483" y="135"/>
                    </a:lnTo>
                    <a:lnTo>
                      <a:pt x="483" y="135"/>
                    </a:lnTo>
                    <a:lnTo>
                      <a:pt x="483" y="135"/>
                    </a:lnTo>
                    <a:lnTo>
                      <a:pt x="483" y="135"/>
                    </a:lnTo>
                    <a:lnTo>
                      <a:pt x="483" y="135"/>
                    </a:lnTo>
                    <a:lnTo>
                      <a:pt x="476" y="142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1" name="Freeform 59"/>
              <p:cNvSpPr>
                <a:spLocks/>
              </p:cNvSpPr>
              <p:nvPr/>
            </p:nvSpPr>
            <p:spPr bwMode="auto">
              <a:xfrm>
                <a:off x="3996" y="1266"/>
                <a:ext cx="646" cy="461"/>
              </a:xfrm>
              <a:custGeom>
                <a:avLst/>
                <a:gdLst>
                  <a:gd name="T0" fmla="*/ 57 w 646"/>
                  <a:gd name="T1" fmla="*/ 7 h 461"/>
                  <a:gd name="T2" fmla="*/ 100 w 646"/>
                  <a:gd name="T3" fmla="*/ 7 h 461"/>
                  <a:gd name="T4" fmla="*/ 171 w 646"/>
                  <a:gd name="T5" fmla="*/ 71 h 461"/>
                  <a:gd name="T6" fmla="*/ 206 w 646"/>
                  <a:gd name="T7" fmla="*/ 85 h 461"/>
                  <a:gd name="T8" fmla="*/ 256 w 646"/>
                  <a:gd name="T9" fmla="*/ 99 h 461"/>
                  <a:gd name="T10" fmla="*/ 313 w 646"/>
                  <a:gd name="T11" fmla="*/ 120 h 461"/>
                  <a:gd name="T12" fmla="*/ 355 w 646"/>
                  <a:gd name="T13" fmla="*/ 120 h 461"/>
                  <a:gd name="T14" fmla="*/ 384 w 646"/>
                  <a:gd name="T15" fmla="*/ 120 h 461"/>
                  <a:gd name="T16" fmla="*/ 440 w 646"/>
                  <a:gd name="T17" fmla="*/ 142 h 461"/>
                  <a:gd name="T18" fmla="*/ 483 w 646"/>
                  <a:gd name="T19" fmla="*/ 135 h 461"/>
                  <a:gd name="T20" fmla="*/ 518 w 646"/>
                  <a:gd name="T21" fmla="*/ 149 h 461"/>
                  <a:gd name="T22" fmla="*/ 575 w 646"/>
                  <a:gd name="T23" fmla="*/ 135 h 461"/>
                  <a:gd name="T24" fmla="*/ 604 w 646"/>
                  <a:gd name="T25" fmla="*/ 142 h 461"/>
                  <a:gd name="T26" fmla="*/ 632 w 646"/>
                  <a:gd name="T27" fmla="*/ 127 h 461"/>
                  <a:gd name="T28" fmla="*/ 639 w 646"/>
                  <a:gd name="T29" fmla="*/ 142 h 461"/>
                  <a:gd name="T30" fmla="*/ 632 w 646"/>
                  <a:gd name="T31" fmla="*/ 156 h 461"/>
                  <a:gd name="T32" fmla="*/ 604 w 646"/>
                  <a:gd name="T33" fmla="*/ 184 h 461"/>
                  <a:gd name="T34" fmla="*/ 582 w 646"/>
                  <a:gd name="T35" fmla="*/ 213 h 461"/>
                  <a:gd name="T36" fmla="*/ 604 w 646"/>
                  <a:gd name="T37" fmla="*/ 227 h 461"/>
                  <a:gd name="T38" fmla="*/ 625 w 646"/>
                  <a:gd name="T39" fmla="*/ 262 h 461"/>
                  <a:gd name="T40" fmla="*/ 604 w 646"/>
                  <a:gd name="T41" fmla="*/ 269 h 461"/>
                  <a:gd name="T42" fmla="*/ 589 w 646"/>
                  <a:gd name="T43" fmla="*/ 284 h 461"/>
                  <a:gd name="T44" fmla="*/ 596 w 646"/>
                  <a:gd name="T45" fmla="*/ 291 h 461"/>
                  <a:gd name="T46" fmla="*/ 575 w 646"/>
                  <a:gd name="T47" fmla="*/ 305 h 461"/>
                  <a:gd name="T48" fmla="*/ 547 w 646"/>
                  <a:gd name="T49" fmla="*/ 312 h 461"/>
                  <a:gd name="T50" fmla="*/ 525 w 646"/>
                  <a:gd name="T51" fmla="*/ 333 h 461"/>
                  <a:gd name="T52" fmla="*/ 504 w 646"/>
                  <a:gd name="T53" fmla="*/ 376 h 461"/>
                  <a:gd name="T54" fmla="*/ 490 w 646"/>
                  <a:gd name="T55" fmla="*/ 404 h 461"/>
                  <a:gd name="T56" fmla="*/ 454 w 646"/>
                  <a:gd name="T57" fmla="*/ 418 h 461"/>
                  <a:gd name="T58" fmla="*/ 426 w 646"/>
                  <a:gd name="T59" fmla="*/ 447 h 461"/>
                  <a:gd name="T60" fmla="*/ 391 w 646"/>
                  <a:gd name="T61" fmla="*/ 411 h 461"/>
                  <a:gd name="T62" fmla="*/ 369 w 646"/>
                  <a:gd name="T63" fmla="*/ 390 h 461"/>
                  <a:gd name="T64" fmla="*/ 320 w 646"/>
                  <a:gd name="T65" fmla="*/ 404 h 461"/>
                  <a:gd name="T66" fmla="*/ 305 w 646"/>
                  <a:gd name="T67" fmla="*/ 418 h 461"/>
                  <a:gd name="T68" fmla="*/ 270 w 646"/>
                  <a:gd name="T69" fmla="*/ 433 h 461"/>
                  <a:gd name="T70" fmla="*/ 242 w 646"/>
                  <a:gd name="T71" fmla="*/ 447 h 461"/>
                  <a:gd name="T72" fmla="*/ 206 w 646"/>
                  <a:gd name="T73" fmla="*/ 433 h 461"/>
                  <a:gd name="T74" fmla="*/ 178 w 646"/>
                  <a:gd name="T75" fmla="*/ 447 h 461"/>
                  <a:gd name="T76" fmla="*/ 149 w 646"/>
                  <a:gd name="T77" fmla="*/ 454 h 461"/>
                  <a:gd name="T78" fmla="*/ 128 w 646"/>
                  <a:gd name="T79" fmla="*/ 433 h 461"/>
                  <a:gd name="T80" fmla="*/ 121 w 646"/>
                  <a:gd name="T81" fmla="*/ 433 h 461"/>
                  <a:gd name="T82" fmla="*/ 100 w 646"/>
                  <a:gd name="T83" fmla="*/ 411 h 461"/>
                  <a:gd name="T84" fmla="*/ 71 w 646"/>
                  <a:gd name="T85" fmla="*/ 426 h 461"/>
                  <a:gd name="T86" fmla="*/ 29 w 646"/>
                  <a:gd name="T87" fmla="*/ 411 h 461"/>
                  <a:gd name="T88" fmla="*/ 7 w 646"/>
                  <a:gd name="T89" fmla="*/ 383 h 461"/>
                  <a:gd name="T90" fmla="*/ 0 w 646"/>
                  <a:gd name="T91" fmla="*/ 347 h 461"/>
                  <a:gd name="T92" fmla="*/ 57 w 646"/>
                  <a:gd name="T93" fmla="*/ 298 h 461"/>
                  <a:gd name="T94" fmla="*/ 114 w 646"/>
                  <a:gd name="T95" fmla="*/ 255 h 461"/>
                  <a:gd name="T96" fmla="*/ 121 w 646"/>
                  <a:gd name="T97" fmla="*/ 269 h 461"/>
                  <a:gd name="T98" fmla="*/ 135 w 646"/>
                  <a:gd name="T99" fmla="*/ 248 h 461"/>
                  <a:gd name="T100" fmla="*/ 163 w 646"/>
                  <a:gd name="T101" fmla="*/ 241 h 461"/>
                  <a:gd name="T102" fmla="*/ 121 w 646"/>
                  <a:gd name="T103" fmla="*/ 227 h 461"/>
                  <a:gd name="T104" fmla="*/ 92 w 646"/>
                  <a:gd name="T105" fmla="*/ 205 h 461"/>
                  <a:gd name="T106" fmla="*/ 78 w 646"/>
                  <a:gd name="T107" fmla="*/ 177 h 461"/>
                  <a:gd name="T108" fmla="*/ 100 w 646"/>
                  <a:gd name="T109" fmla="*/ 170 h 461"/>
                  <a:gd name="T110" fmla="*/ 78 w 646"/>
                  <a:gd name="T111" fmla="*/ 149 h 461"/>
                  <a:gd name="T112" fmla="*/ 64 w 646"/>
                  <a:gd name="T113" fmla="*/ 135 h 461"/>
                  <a:gd name="T114" fmla="*/ 85 w 646"/>
                  <a:gd name="T115" fmla="*/ 135 h 461"/>
                  <a:gd name="T116" fmla="*/ 128 w 646"/>
                  <a:gd name="T117" fmla="*/ 120 h 461"/>
                  <a:gd name="T118" fmla="*/ 100 w 646"/>
                  <a:gd name="T119" fmla="*/ 85 h 461"/>
                  <a:gd name="T120" fmla="*/ 78 w 646"/>
                  <a:gd name="T121" fmla="*/ 78 h 461"/>
                  <a:gd name="T122" fmla="*/ 57 w 646"/>
                  <a:gd name="T123" fmla="*/ 42 h 4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46" h="461">
                    <a:moveTo>
                      <a:pt x="50" y="28"/>
                    </a:moveTo>
                    <a:lnTo>
                      <a:pt x="50" y="28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0" y="14"/>
                    </a:lnTo>
                    <a:lnTo>
                      <a:pt x="43" y="14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50" y="7"/>
                    </a:lnTo>
                    <a:lnTo>
                      <a:pt x="57" y="7"/>
                    </a:lnTo>
                    <a:lnTo>
                      <a:pt x="57" y="7"/>
                    </a:lnTo>
                    <a:lnTo>
                      <a:pt x="64" y="7"/>
                    </a:lnTo>
                    <a:lnTo>
                      <a:pt x="64" y="7"/>
                    </a:lnTo>
                    <a:lnTo>
                      <a:pt x="71" y="7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85" y="7"/>
                    </a:lnTo>
                    <a:lnTo>
                      <a:pt x="85" y="7"/>
                    </a:lnTo>
                    <a:lnTo>
                      <a:pt x="92" y="7"/>
                    </a:lnTo>
                    <a:lnTo>
                      <a:pt x="92" y="7"/>
                    </a:lnTo>
                    <a:lnTo>
                      <a:pt x="92" y="7"/>
                    </a:lnTo>
                    <a:lnTo>
                      <a:pt x="100" y="7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7" y="14"/>
                    </a:lnTo>
                    <a:lnTo>
                      <a:pt x="142" y="21"/>
                    </a:lnTo>
                    <a:lnTo>
                      <a:pt x="149" y="28"/>
                    </a:lnTo>
                    <a:lnTo>
                      <a:pt x="149" y="28"/>
                    </a:lnTo>
                    <a:lnTo>
                      <a:pt x="156" y="35"/>
                    </a:lnTo>
                    <a:lnTo>
                      <a:pt x="156" y="42"/>
                    </a:lnTo>
                    <a:lnTo>
                      <a:pt x="156" y="42"/>
                    </a:lnTo>
                    <a:lnTo>
                      <a:pt x="156" y="49"/>
                    </a:lnTo>
                    <a:lnTo>
                      <a:pt x="156" y="56"/>
                    </a:lnTo>
                    <a:lnTo>
                      <a:pt x="149" y="56"/>
                    </a:lnTo>
                    <a:lnTo>
                      <a:pt x="149" y="64"/>
                    </a:lnTo>
                    <a:lnTo>
                      <a:pt x="149" y="64"/>
                    </a:lnTo>
                    <a:lnTo>
                      <a:pt x="156" y="64"/>
                    </a:lnTo>
                    <a:lnTo>
                      <a:pt x="171" y="71"/>
                    </a:lnTo>
                    <a:lnTo>
                      <a:pt x="171" y="71"/>
                    </a:lnTo>
                    <a:lnTo>
                      <a:pt x="171" y="71"/>
                    </a:lnTo>
                    <a:lnTo>
                      <a:pt x="178" y="64"/>
                    </a:lnTo>
                    <a:lnTo>
                      <a:pt x="178" y="71"/>
                    </a:lnTo>
                    <a:lnTo>
                      <a:pt x="178" y="71"/>
                    </a:lnTo>
                    <a:lnTo>
                      <a:pt x="178" y="71"/>
                    </a:lnTo>
                    <a:lnTo>
                      <a:pt x="185" y="71"/>
                    </a:lnTo>
                    <a:lnTo>
                      <a:pt x="192" y="71"/>
                    </a:lnTo>
                    <a:lnTo>
                      <a:pt x="192" y="78"/>
                    </a:lnTo>
                    <a:lnTo>
                      <a:pt x="192" y="78"/>
                    </a:lnTo>
                    <a:lnTo>
                      <a:pt x="199" y="78"/>
                    </a:lnTo>
                    <a:lnTo>
                      <a:pt x="199" y="85"/>
                    </a:lnTo>
                    <a:lnTo>
                      <a:pt x="199" y="85"/>
                    </a:lnTo>
                    <a:lnTo>
                      <a:pt x="199" y="85"/>
                    </a:lnTo>
                    <a:lnTo>
                      <a:pt x="206" y="85"/>
                    </a:lnTo>
                    <a:lnTo>
                      <a:pt x="206" y="85"/>
                    </a:lnTo>
                    <a:lnTo>
                      <a:pt x="206" y="85"/>
                    </a:lnTo>
                    <a:lnTo>
                      <a:pt x="206" y="92"/>
                    </a:lnTo>
                    <a:lnTo>
                      <a:pt x="213" y="92"/>
                    </a:lnTo>
                    <a:lnTo>
                      <a:pt x="220" y="85"/>
                    </a:lnTo>
                    <a:lnTo>
                      <a:pt x="220" y="85"/>
                    </a:lnTo>
                    <a:lnTo>
                      <a:pt x="227" y="92"/>
                    </a:lnTo>
                    <a:lnTo>
                      <a:pt x="227" y="92"/>
                    </a:lnTo>
                    <a:lnTo>
                      <a:pt x="227" y="99"/>
                    </a:lnTo>
                    <a:lnTo>
                      <a:pt x="234" y="99"/>
                    </a:lnTo>
                    <a:lnTo>
                      <a:pt x="242" y="106"/>
                    </a:lnTo>
                    <a:lnTo>
                      <a:pt x="249" y="106"/>
                    </a:lnTo>
                    <a:lnTo>
                      <a:pt x="249" y="106"/>
                    </a:lnTo>
                    <a:lnTo>
                      <a:pt x="249" y="99"/>
                    </a:lnTo>
                    <a:lnTo>
                      <a:pt x="256" y="99"/>
                    </a:lnTo>
                    <a:lnTo>
                      <a:pt x="256" y="99"/>
                    </a:lnTo>
                    <a:lnTo>
                      <a:pt x="256" y="99"/>
                    </a:lnTo>
                    <a:lnTo>
                      <a:pt x="263" y="99"/>
                    </a:lnTo>
                    <a:lnTo>
                      <a:pt x="263" y="99"/>
                    </a:lnTo>
                    <a:lnTo>
                      <a:pt x="270" y="92"/>
                    </a:lnTo>
                    <a:lnTo>
                      <a:pt x="270" y="92"/>
                    </a:lnTo>
                    <a:lnTo>
                      <a:pt x="284" y="85"/>
                    </a:lnTo>
                    <a:lnTo>
                      <a:pt x="284" y="85"/>
                    </a:lnTo>
                    <a:lnTo>
                      <a:pt x="298" y="92"/>
                    </a:lnTo>
                    <a:lnTo>
                      <a:pt x="298" y="92"/>
                    </a:lnTo>
                    <a:lnTo>
                      <a:pt x="298" y="99"/>
                    </a:lnTo>
                    <a:lnTo>
                      <a:pt x="298" y="113"/>
                    </a:lnTo>
                    <a:lnTo>
                      <a:pt x="298" y="113"/>
                    </a:lnTo>
                    <a:lnTo>
                      <a:pt x="305" y="120"/>
                    </a:lnTo>
                    <a:lnTo>
                      <a:pt x="313" y="120"/>
                    </a:lnTo>
                    <a:lnTo>
                      <a:pt x="313" y="120"/>
                    </a:lnTo>
                    <a:lnTo>
                      <a:pt x="313" y="120"/>
                    </a:lnTo>
                    <a:lnTo>
                      <a:pt x="313" y="120"/>
                    </a:lnTo>
                    <a:lnTo>
                      <a:pt x="313" y="120"/>
                    </a:lnTo>
                    <a:lnTo>
                      <a:pt x="313" y="120"/>
                    </a:lnTo>
                    <a:lnTo>
                      <a:pt x="313" y="127"/>
                    </a:lnTo>
                    <a:lnTo>
                      <a:pt x="320" y="127"/>
                    </a:lnTo>
                    <a:lnTo>
                      <a:pt x="320" y="127"/>
                    </a:lnTo>
                    <a:lnTo>
                      <a:pt x="320" y="127"/>
                    </a:lnTo>
                    <a:lnTo>
                      <a:pt x="320" y="127"/>
                    </a:lnTo>
                    <a:lnTo>
                      <a:pt x="334" y="120"/>
                    </a:lnTo>
                    <a:lnTo>
                      <a:pt x="334" y="113"/>
                    </a:lnTo>
                    <a:lnTo>
                      <a:pt x="334" y="113"/>
                    </a:lnTo>
                    <a:lnTo>
                      <a:pt x="341" y="113"/>
                    </a:lnTo>
                    <a:lnTo>
                      <a:pt x="341" y="113"/>
                    </a:lnTo>
                    <a:lnTo>
                      <a:pt x="355" y="120"/>
                    </a:lnTo>
                    <a:lnTo>
                      <a:pt x="355" y="120"/>
                    </a:lnTo>
                    <a:lnTo>
                      <a:pt x="355" y="120"/>
                    </a:lnTo>
                    <a:lnTo>
                      <a:pt x="355" y="120"/>
                    </a:lnTo>
                    <a:lnTo>
                      <a:pt x="362" y="120"/>
                    </a:lnTo>
                    <a:lnTo>
                      <a:pt x="362" y="120"/>
                    </a:lnTo>
                    <a:lnTo>
                      <a:pt x="362" y="120"/>
                    </a:lnTo>
                    <a:lnTo>
                      <a:pt x="362" y="120"/>
                    </a:lnTo>
                    <a:lnTo>
                      <a:pt x="362" y="120"/>
                    </a:lnTo>
                    <a:lnTo>
                      <a:pt x="362" y="120"/>
                    </a:lnTo>
                    <a:lnTo>
                      <a:pt x="369" y="120"/>
                    </a:lnTo>
                    <a:lnTo>
                      <a:pt x="369" y="120"/>
                    </a:lnTo>
                    <a:lnTo>
                      <a:pt x="376" y="120"/>
                    </a:lnTo>
                    <a:lnTo>
                      <a:pt x="376" y="120"/>
                    </a:lnTo>
                    <a:lnTo>
                      <a:pt x="376" y="120"/>
                    </a:lnTo>
                    <a:lnTo>
                      <a:pt x="384" y="120"/>
                    </a:lnTo>
                    <a:lnTo>
                      <a:pt x="384" y="120"/>
                    </a:lnTo>
                    <a:lnTo>
                      <a:pt x="384" y="120"/>
                    </a:lnTo>
                    <a:lnTo>
                      <a:pt x="384" y="120"/>
                    </a:lnTo>
                    <a:lnTo>
                      <a:pt x="384" y="120"/>
                    </a:lnTo>
                    <a:lnTo>
                      <a:pt x="384" y="120"/>
                    </a:lnTo>
                    <a:lnTo>
                      <a:pt x="391" y="120"/>
                    </a:lnTo>
                    <a:lnTo>
                      <a:pt x="398" y="127"/>
                    </a:lnTo>
                    <a:lnTo>
                      <a:pt x="405" y="127"/>
                    </a:lnTo>
                    <a:lnTo>
                      <a:pt x="405" y="127"/>
                    </a:lnTo>
                    <a:lnTo>
                      <a:pt x="405" y="127"/>
                    </a:lnTo>
                    <a:lnTo>
                      <a:pt x="412" y="135"/>
                    </a:lnTo>
                    <a:lnTo>
                      <a:pt x="412" y="135"/>
                    </a:lnTo>
                    <a:lnTo>
                      <a:pt x="412" y="135"/>
                    </a:lnTo>
                    <a:lnTo>
                      <a:pt x="412" y="135"/>
                    </a:lnTo>
                    <a:lnTo>
                      <a:pt x="426" y="142"/>
                    </a:lnTo>
                    <a:lnTo>
                      <a:pt x="433" y="142"/>
                    </a:lnTo>
                    <a:lnTo>
                      <a:pt x="433" y="142"/>
                    </a:lnTo>
                    <a:lnTo>
                      <a:pt x="440" y="142"/>
                    </a:lnTo>
                    <a:lnTo>
                      <a:pt x="440" y="142"/>
                    </a:lnTo>
                    <a:lnTo>
                      <a:pt x="440" y="142"/>
                    </a:lnTo>
                    <a:lnTo>
                      <a:pt x="440" y="142"/>
                    </a:lnTo>
                    <a:lnTo>
                      <a:pt x="447" y="142"/>
                    </a:lnTo>
                    <a:lnTo>
                      <a:pt x="447" y="142"/>
                    </a:lnTo>
                    <a:lnTo>
                      <a:pt x="447" y="142"/>
                    </a:lnTo>
                    <a:lnTo>
                      <a:pt x="454" y="142"/>
                    </a:lnTo>
                    <a:lnTo>
                      <a:pt x="454" y="135"/>
                    </a:lnTo>
                    <a:lnTo>
                      <a:pt x="454" y="135"/>
                    </a:lnTo>
                    <a:lnTo>
                      <a:pt x="462" y="127"/>
                    </a:lnTo>
                    <a:lnTo>
                      <a:pt x="469" y="127"/>
                    </a:lnTo>
                    <a:lnTo>
                      <a:pt x="469" y="127"/>
                    </a:lnTo>
                    <a:lnTo>
                      <a:pt x="476" y="120"/>
                    </a:lnTo>
                    <a:lnTo>
                      <a:pt x="476" y="120"/>
                    </a:lnTo>
                    <a:lnTo>
                      <a:pt x="476" y="120"/>
                    </a:lnTo>
                    <a:lnTo>
                      <a:pt x="476" y="120"/>
                    </a:lnTo>
                    <a:lnTo>
                      <a:pt x="476" y="127"/>
                    </a:lnTo>
                    <a:lnTo>
                      <a:pt x="483" y="135"/>
                    </a:lnTo>
                    <a:lnTo>
                      <a:pt x="483" y="135"/>
                    </a:lnTo>
                    <a:lnTo>
                      <a:pt x="483" y="135"/>
                    </a:lnTo>
                    <a:lnTo>
                      <a:pt x="483" y="135"/>
                    </a:lnTo>
                    <a:lnTo>
                      <a:pt x="483" y="142"/>
                    </a:lnTo>
                    <a:lnTo>
                      <a:pt x="490" y="142"/>
                    </a:lnTo>
                    <a:lnTo>
                      <a:pt x="490" y="149"/>
                    </a:lnTo>
                    <a:lnTo>
                      <a:pt x="497" y="142"/>
                    </a:lnTo>
                    <a:lnTo>
                      <a:pt x="504" y="142"/>
                    </a:lnTo>
                    <a:lnTo>
                      <a:pt x="504" y="142"/>
                    </a:lnTo>
                    <a:lnTo>
                      <a:pt x="504" y="149"/>
                    </a:lnTo>
                    <a:lnTo>
                      <a:pt x="504" y="149"/>
                    </a:lnTo>
                    <a:lnTo>
                      <a:pt x="511" y="149"/>
                    </a:lnTo>
                    <a:lnTo>
                      <a:pt x="511" y="149"/>
                    </a:lnTo>
                    <a:lnTo>
                      <a:pt x="518" y="149"/>
                    </a:lnTo>
                    <a:lnTo>
                      <a:pt x="518" y="149"/>
                    </a:lnTo>
                    <a:lnTo>
                      <a:pt x="518" y="149"/>
                    </a:lnTo>
                    <a:lnTo>
                      <a:pt x="518" y="142"/>
                    </a:lnTo>
                    <a:lnTo>
                      <a:pt x="525" y="142"/>
                    </a:lnTo>
                    <a:lnTo>
                      <a:pt x="525" y="142"/>
                    </a:lnTo>
                    <a:lnTo>
                      <a:pt x="533" y="142"/>
                    </a:lnTo>
                    <a:lnTo>
                      <a:pt x="540" y="142"/>
                    </a:lnTo>
                    <a:lnTo>
                      <a:pt x="547" y="142"/>
                    </a:lnTo>
                    <a:lnTo>
                      <a:pt x="554" y="149"/>
                    </a:lnTo>
                    <a:lnTo>
                      <a:pt x="554" y="142"/>
                    </a:lnTo>
                    <a:lnTo>
                      <a:pt x="561" y="142"/>
                    </a:lnTo>
                    <a:lnTo>
                      <a:pt x="561" y="142"/>
                    </a:lnTo>
                    <a:lnTo>
                      <a:pt x="568" y="142"/>
                    </a:lnTo>
                    <a:lnTo>
                      <a:pt x="568" y="142"/>
                    </a:lnTo>
                    <a:lnTo>
                      <a:pt x="568" y="142"/>
                    </a:lnTo>
                    <a:lnTo>
                      <a:pt x="568" y="142"/>
                    </a:lnTo>
                    <a:lnTo>
                      <a:pt x="575" y="135"/>
                    </a:lnTo>
                    <a:lnTo>
                      <a:pt x="575" y="135"/>
                    </a:lnTo>
                    <a:lnTo>
                      <a:pt x="575" y="135"/>
                    </a:lnTo>
                    <a:lnTo>
                      <a:pt x="575" y="135"/>
                    </a:lnTo>
                    <a:lnTo>
                      <a:pt x="582" y="135"/>
                    </a:lnTo>
                    <a:lnTo>
                      <a:pt x="582" y="135"/>
                    </a:lnTo>
                    <a:lnTo>
                      <a:pt x="582" y="135"/>
                    </a:lnTo>
                    <a:lnTo>
                      <a:pt x="589" y="135"/>
                    </a:lnTo>
                    <a:lnTo>
                      <a:pt x="589" y="135"/>
                    </a:lnTo>
                    <a:lnTo>
                      <a:pt x="589" y="135"/>
                    </a:lnTo>
                    <a:lnTo>
                      <a:pt x="589" y="135"/>
                    </a:lnTo>
                    <a:lnTo>
                      <a:pt x="589" y="135"/>
                    </a:lnTo>
                    <a:lnTo>
                      <a:pt x="596" y="142"/>
                    </a:lnTo>
                    <a:lnTo>
                      <a:pt x="596" y="142"/>
                    </a:lnTo>
                    <a:lnTo>
                      <a:pt x="596" y="142"/>
                    </a:lnTo>
                    <a:lnTo>
                      <a:pt x="604" y="142"/>
                    </a:lnTo>
                    <a:lnTo>
                      <a:pt x="604" y="149"/>
                    </a:lnTo>
                    <a:lnTo>
                      <a:pt x="604" y="142"/>
                    </a:lnTo>
                    <a:lnTo>
                      <a:pt x="611" y="142"/>
                    </a:lnTo>
                    <a:lnTo>
                      <a:pt x="618" y="135"/>
                    </a:lnTo>
                    <a:lnTo>
                      <a:pt x="618" y="127"/>
                    </a:lnTo>
                    <a:lnTo>
                      <a:pt x="618" y="127"/>
                    </a:lnTo>
                    <a:lnTo>
                      <a:pt x="618" y="127"/>
                    </a:lnTo>
                    <a:lnTo>
                      <a:pt x="618" y="120"/>
                    </a:lnTo>
                    <a:lnTo>
                      <a:pt x="618" y="120"/>
                    </a:lnTo>
                    <a:lnTo>
                      <a:pt x="618" y="120"/>
                    </a:lnTo>
                    <a:lnTo>
                      <a:pt x="618" y="120"/>
                    </a:lnTo>
                    <a:lnTo>
                      <a:pt x="618" y="120"/>
                    </a:lnTo>
                    <a:lnTo>
                      <a:pt x="625" y="120"/>
                    </a:lnTo>
                    <a:lnTo>
                      <a:pt x="632" y="120"/>
                    </a:lnTo>
                    <a:lnTo>
                      <a:pt x="632" y="120"/>
                    </a:lnTo>
                    <a:lnTo>
                      <a:pt x="632" y="120"/>
                    </a:lnTo>
                    <a:lnTo>
                      <a:pt x="632" y="120"/>
                    </a:lnTo>
                    <a:lnTo>
                      <a:pt x="632" y="127"/>
                    </a:lnTo>
                    <a:lnTo>
                      <a:pt x="632" y="127"/>
                    </a:lnTo>
                    <a:lnTo>
                      <a:pt x="632" y="127"/>
                    </a:lnTo>
                    <a:lnTo>
                      <a:pt x="632" y="127"/>
                    </a:lnTo>
                    <a:lnTo>
                      <a:pt x="632" y="127"/>
                    </a:lnTo>
                    <a:lnTo>
                      <a:pt x="632" y="127"/>
                    </a:lnTo>
                    <a:lnTo>
                      <a:pt x="632" y="127"/>
                    </a:lnTo>
                    <a:lnTo>
                      <a:pt x="639" y="127"/>
                    </a:lnTo>
                    <a:lnTo>
                      <a:pt x="639" y="135"/>
                    </a:lnTo>
                    <a:lnTo>
                      <a:pt x="639" y="135"/>
                    </a:lnTo>
                    <a:lnTo>
                      <a:pt x="639" y="135"/>
                    </a:lnTo>
                    <a:lnTo>
                      <a:pt x="639" y="135"/>
                    </a:lnTo>
                    <a:lnTo>
                      <a:pt x="639" y="135"/>
                    </a:lnTo>
                    <a:lnTo>
                      <a:pt x="639" y="135"/>
                    </a:lnTo>
                    <a:lnTo>
                      <a:pt x="639" y="135"/>
                    </a:lnTo>
                    <a:lnTo>
                      <a:pt x="639" y="142"/>
                    </a:lnTo>
                    <a:lnTo>
                      <a:pt x="639" y="142"/>
                    </a:lnTo>
                    <a:lnTo>
                      <a:pt x="639" y="142"/>
                    </a:lnTo>
                    <a:lnTo>
                      <a:pt x="639" y="142"/>
                    </a:lnTo>
                    <a:lnTo>
                      <a:pt x="646" y="142"/>
                    </a:lnTo>
                    <a:lnTo>
                      <a:pt x="646" y="142"/>
                    </a:lnTo>
                    <a:lnTo>
                      <a:pt x="646" y="142"/>
                    </a:lnTo>
                    <a:lnTo>
                      <a:pt x="646" y="149"/>
                    </a:lnTo>
                    <a:lnTo>
                      <a:pt x="646" y="149"/>
                    </a:lnTo>
                    <a:lnTo>
                      <a:pt x="646" y="149"/>
                    </a:lnTo>
                    <a:lnTo>
                      <a:pt x="646" y="149"/>
                    </a:lnTo>
                    <a:lnTo>
                      <a:pt x="646" y="149"/>
                    </a:lnTo>
                    <a:lnTo>
                      <a:pt x="646" y="149"/>
                    </a:lnTo>
                    <a:lnTo>
                      <a:pt x="639" y="149"/>
                    </a:lnTo>
                    <a:lnTo>
                      <a:pt x="639" y="149"/>
                    </a:lnTo>
                    <a:lnTo>
                      <a:pt x="639" y="156"/>
                    </a:lnTo>
                    <a:lnTo>
                      <a:pt x="632" y="156"/>
                    </a:lnTo>
                    <a:lnTo>
                      <a:pt x="632" y="156"/>
                    </a:lnTo>
                    <a:lnTo>
                      <a:pt x="632" y="156"/>
                    </a:lnTo>
                    <a:lnTo>
                      <a:pt x="625" y="156"/>
                    </a:lnTo>
                    <a:lnTo>
                      <a:pt x="625" y="163"/>
                    </a:lnTo>
                    <a:lnTo>
                      <a:pt x="625" y="170"/>
                    </a:lnTo>
                    <a:lnTo>
                      <a:pt x="618" y="170"/>
                    </a:lnTo>
                    <a:lnTo>
                      <a:pt x="618" y="170"/>
                    </a:lnTo>
                    <a:lnTo>
                      <a:pt x="618" y="170"/>
                    </a:lnTo>
                    <a:lnTo>
                      <a:pt x="611" y="170"/>
                    </a:lnTo>
                    <a:lnTo>
                      <a:pt x="611" y="177"/>
                    </a:lnTo>
                    <a:lnTo>
                      <a:pt x="611" y="177"/>
                    </a:lnTo>
                    <a:lnTo>
                      <a:pt x="611" y="177"/>
                    </a:lnTo>
                    <a:lnTo>
                      <a:pt x="611" y="177"/>
                    </a:lnTo>
                    <a:lnTo>
                      <a:pt x="611" y="177"/>
                    </a:lnTo>
                    <a:lnTo>
                      <a:pt x="604" y="177"/>
                    </a:lnTo>
                    <a:lnTo>
                      <a:pt x="604" y="177"/>
                    </a:lnTo>
                    <a:lnTo>
                      <a:pt x="604" y="184"/>
                    </a:lnTo>
                    <a:lnTo>
                      <a:pt x="596" y="191"/>
                    </a:lnTo>
                    <a:lnTo>
                      <a:pt x="589" y="198"/>
                    </a:lnTo>
                    <a:lnTo>
                      <a:pt x="589" y="198"/>
                    </a:lnTo>
                    <a:lnTo>
                      <a:pt x="589" y="198"/>
                    </a:lnTo>
                    <a:lnTo>
                      <a:pt x="589" y="198"/>
                    </a:lnTo>
                    <a:lnTo>
                      <a:pt x="589" y="198"/>
                    </a:lnTo>
                    <a:lnTo>
                      <a:pt x="589" y="198"/>
                    </a:lnTo>
                    <a:lnTo>
                      <a:pt x="589" y="205"/>
                    </a:lnTo>
                    <a:lnTo>
                      <a:pt x="589" y="205"/>
                    </a:lnTo>
                    <a:lnTo>
                      <a:pt x="589" y="205"/>
                    </a:lnTo>
                    <a:lnTo>
                      <a:pt x="589" y="205"/>
                    </a:lnTo>
                    <a:lnTo>
                      <a:pt x="589" y="213"/>
                    </a:lnTo>
                    <a:lnTo>
                      <a:pt x="589" y="213"/>
                    </a:lnTo>
                    <a:lnTo>
                      <a:pt x="582" y="213"/>
                    </a:lnTo>
                    <a:lnTo>
                      <a:pt x="582" y="213"/>
                    </a:lnTo>
                    <a:lnTo>
                      <a:pt x="582" y="213"/>
                    </a:lnTo>
                    <a:lnTo>
                      <a:pt x="582" y="213"/>
                    </a:lnTo>
                    <a:lnTo>
                      <a:pt x="582" y="213"/>
                    </a:lnTo>
                    <a:lnTo>
                      <a:pt x="589" y="213"/>
                    </a:lnTo>
                    <a:lnTo>
                      <a:pt x="589" y="213"/>
                    </a:lnTo>
                    <a:lnTo>
                      <a:pt x="589" y="213"/>
                    </a:lnTo>
                    <a:lnTo>
                      <a:pt x="589" y="213"/>
                    </a:lnTo>
                    <a:lnTo>
                      <a:pt x="589" y="220"/>
                    </a:lnTo>
                    <a:lnTo>
                      <a:pt x="589" y="220"/>
                    </a:lnTo>
                    <a:lnTo>
                      <a:pt x="589" y="220"/>
                    </a:lnTo>
                    <a:lnTo>
                      <a:pt x="596" y="220"/>
                    </a:lnTo>
                    <a:lnTo>
                      <a:pt x="596" y="220"/>
                    </a:lnTo>
                    <a:lnTo>
                      <a:pt x="596" y="227"/>
                    </a:lnTo>
                    <a:lnTo>
                      <a:pt x="596" y="227"/>
                    </a:lnTo>
                    <a:lnTo>
                      <a:pt x="596" y="227"/>
                    </a:lnTo>
                    <a:lnTo>
                      <a:pt x="604" y="227"/>
                    </a:lnTo>
                    <a:lnTo>
                      <a:pt x="604" y="227"/>
                    </a:lnTo>
                    <a:lnTo>
                      <a:pt x="604" y="234"/>
                    </a:lnTo>
                    <a:lnTo>
                      <a:pt x="604" y="234"/>
                    </a:lnTo>
                    <a:lnTo>
                      <a:pt x="604" y="234"/>
                    </a:lnTo>
                    <a:lnTo>
                      <a:pt x="611" y="234"/>
                    </a:lnTo>
                    <a:lnTo>
                      <a:pt x="618" y="241"/>
                    </a:lnTo>
                    <a:lnTo>
                      <a:pt x="618" y="241"/>
                    </a:lnTo>
                    <a:lnTo>
                      <a:pt x="625" y="241"/>
                    </a:lnTo>
                    <a:lnTo>
                      <a:pt x="625" y="248"/>
                    </a:lnTo>
                    <a:lnTo>
                      <a:pt x="625" y="248"/>
                    </a:lnTo>
                    <a:lnTo>
                      <a:pt x="625" y="255"/>
                    </a:lnTo>
                    <a:lnTo>
                      <a:pt x="625" y="255"/>
                    </a:lnTo>
                    <a:lnTo>
                      <a:pt x="625" y="255"/>
                    </a:lnTo>
                    <a:lnTo>
                      <a:pt x="625" y="255"/>
                    </a:lnTo>
                    <a:lnTo>
                      <a:pt x="625" y="262"/>
                    </a:lnTo>
                    <a:lnTo>
                      <a:pt x="625" y="262"/>
                    </a:lnTo>
                    <a:lnTo>
                      <a:pt x="625" y="262"/>
                    </a:lnTo>
                    <a:lnTo>
                      <a:pt x="625" y="262"/>
                    </a:lnTo>
                    <a:lnTo>
                      <a:pt x="625" y="262"/>
                    </a:lnTo>
                    <a:lnTo>
                      <a:pt x="625" y="269"/>
                    </a:lnTo>
                    <a:lnTo>
                      <a:pt x="625" y="269"/>
                    </a:lnTo>
                    <a:lnTo>
                      <a:pt x="625" y="269"/>
                    </a:lnTo>
                    <a:lnTo>
                      <a:pt x="625" y="269"/>
                    </a:lnTo>
                    <a:lnTo>
                      <a:pt x="618" y="269"/>
                    </a:lnTo>
                    <a:lnTo>
                      <a:pt x="618" y="269"/>
                    </a:lnTo>
                    <a:lnTo>
                      <a:pt x="618" y="269"/>
                    </a:lnTo>
                    <a:lnTo>
                      <a:pt x="618" y="269"/>
                    </a:lnTo>
                    <a:lnTo>
                      <a:pt x="618" y="269"/>
                    </a:lnTo>
                    <a:lnTo>
                      <a:pt x="611" y="262"/>
                    </a:lnTo>
                    <a:lnTo>
                      <a:pt x="611" y="269"/>
                    </a:lnTo>
                    <a:lnTo>
                      <a:pt x="611" y="269"/>
                    </a:lnTo>
                    <a:lnTo>
                      <a:pt x="604" y="269"/>
                    </a:lnTo>
                    <a:lnTo>
                      <a:pt x="604" y="269"/>
                    </a:lnTo>
                    <a:lnTo>
                      <a:pt x="604" y="269"/>
                    </a:lnTo>
                    <a:lnTo>
                      <a:pt x="604" y="269"/>
                    </a:lnTo>
                    <a:lnTo>
                      <a:pt x="604" y="269"/>
                    </a:lnTo>
                    <a:lnTo>
                      <a:pt x="604" y="276"/>
                    </a:lnTo>
                    <a:lnTo>
                      <a:pt x="604" y="276"/>
                    </a:lnTo>
                    <a:lnTo>
                      <a:pt x="596" y="276"/>
                    </a:lnTo>
                    <a:lnTo>
                      <a:pt x="596" y="276"/>
                    </a:lnTo>
                    <a:lnTo>
                      <a:pt x="589" y="276"/>
                    </a:lnTo>
                    <a:lnTo>
                      <a:pt x="589" y="284"/>
                    </a:lnTo>
                    <a:lnTo>
                      <a:pt x="589" y="284"/>
                    </a:lnTo>
                    <a:lnTo>
                      <a:pt x="589" y="284"/>
                    </a:lnTo>
                    <a:lnTo>
                      <a:pt x="589" y="284"/>
                    </a:lnTo>
                    <a:lnTo>
                      <a:pt x="589" y="284"/>
                    </a:lnTo>
                    <a:lnTo>
                      <a:pt x="589" y="284"/>
                    </a:lnTo>
                    <a:lnTo>
                      <a:pt x="589" y="284"/>
                    </a:lnTo>
                    <a:lnTo>
                      <a:pt x="589" y="284"/>
                    </a:lnTo>
                    <a:lnTo>
                      <a:pt x="589" y="284"/>
                    </a:lnTo>
                    <a:lnTo>
                      <a:pt x="589" y="284"/>
                    </a:lnTo>
                    <a:lnTo>
                      <a:pt x="589" y="284"/>
                    </a:lnTo>
                    <a:lnTo>
                      <a:pt x="589" y="284"/>
                    </a:lnTo>
                    <a:lnTo>
                      <a:pt x="589" y="291"/>
                    </a:lnTo>
                    <a:lnTo>
                      <a:pt x="589" y="291"/>
                    </a:lnTo>
                    <a:lnTo>
                      <a:pt x="589" y="291"/>
                    </a:lnTo>
                    <a:lnTo>
                      <a:pt x="589" y="291"/>
                    </a:lnTo>
                    <a:lnTo>
                      <a:pt x="589" y="291"/>
                    </a:lnTo>
                    <a:lnTo>
                      <a:pt x="589" y="291"/>
                    </a:lnTo>
                    <a:lnTo>
                      <a:pt x="589" y="291"/>
                    </a:lnTo>
                    <a:lnTo>
                      <a:pt x="589" y="291"/>
                    </a:lnTo>
                    <a:lnTo>
                      <a:pt x="596" y="291"/>
                    </a:lnTo>
                    <a:lnTo>
                      <a:pt x="596" y="291"/>
                    </a:lnTo>
                    <a:lnTo>
                      <a:pt x="596" y="291"/>
                    </a:lnTo>
                    <a:lnTo>
                      <a:pt x="596" y="291"/>
                    </a:lnTo>
                    <a:lnTo>
                      <a:pt x="596" y="291"/>
                    </a:lnTo>
                    <a:lnTo>
                      <a:pt x="596" y="291"/>
                    </a:lnTo>
                    <a:lnTo>
                      <a:pt x="596" y="298"/>
                    </a:lnTo>
                    <a:lnTo>
                      <a:pt x="596" y="298"/>
                    </a:lnTo>
                    <a:lnTo>
                      <a:pt x="596" y="298"/>
                    </a:lnTo>
                    <a:lnTo>
                      <a:pt x="604" y="305"/>
                    </a:lnTo>
                    <a:lnTo>
                      <a:pt x="604" y="305"/>
                    </a:lnTo>
                    <a:lnTo>
                      <a:pt x="596" y="305"/>
                    </a:lnTo>
                    <a:lnTo>
                      <a:pt x="596" y="312"/>
                    </a:lnTo>
                    <a:lnTo>
                      <a:pt x="596" y="312"/>
                    </a:lnTo>
                    <a:lnTo>
                      <a:pt x="589" y="312"/>
                    </a:lnTo>
                    <a:lnTo>
                      <a:pt x="589" y="312"/>
                    </a:lnTo>
                    <a:lnTo>
                      <a:pt x="589" y="305"/>
                    </a:lnTo>
                    <a:lnTo>
                      <a:pt x="589" y="305"/>
                    </a:lnTo>
                    <a:lnTo>
                      <a:pt x="582" y="312"/>
                    </a:lnTo>
                    <a:lnTo>
                      <a:pt x="575" y="305"/>
                    </a:lnTo>
                    <a:lnTo>
                      <a:pt x="568" y="305"/>
                    </a:lnTo>
                    <a:lnTo>
                      <a:pt x="568" y="305"/>
                    </a:lnTo>
                    <a:lnTo>
                      <a:pt x="568" y="305"/>
                    </a:lnTo>
                    <a:lnTo>
                      <a:pt x="568" y="298"/>
                    </a:lnTo>
                    <a:lnTo>
                      <a:pt x="561" y="298"/>
                    </a:lnTo>
                    <a:lnTo>
                      <a:pt x="561" y="298"/>
                    </a:lnTo>
                    <a:lnTo>
                      <a:pt x="561" y="298"/>
                    </a:lnTo>
                    <a:lnTo>
                      <a:pt x="561" y="298"/>
                    </a:lnTo>
                    <a:lnTo>
                      <a:pt x="561" y="298"/>
                    </a:lnTo>
                    <a:lnTo>
                      <a:pt x="554" y="298"/>
                    </a:lnTo>
                    <a:lnTo>
                      <a:pt x="554" y="305"/>
                    </a:lnTo>
                    <a:lnTo>
                      <a:pt x="554" y="305"/>
                    </a:lnTo>
                    <a:lnTo>
                      <a:pt x="554" y="312"/>
                    </a:lnTo>
                    <a:lnTo>
                      <a:pt x="554" y="312"/>
                    </a:lnTo>
                    <a:lnTo>
                      <a:pt x="547" y="312"/>
                    </a:lnTo>
                    <a:lnTo>
                      <a:pt x="547" y="312"/>
                    </a:lnTo>
                    <a:lnTo>
                      <a:pt x="547" y="319"/>
                    </a:lnTo>
                    <a:lnTo>
                      <a:pt x="547" y="319"/>
                    </a:lnTo>
                    <a:lnTo>
                      <a:pt x="547" y="319"/>
                    </a:lnTo>
                    <a:lnTo>
                      <a:pt x="540" y="319"/>
                    </a:lnTo>
                    <a:lnTo>
                      <a:pt x="540" y="319"/>
                    </a:lnTo>
                    <a:lnTo>
                      <a:pt x="540" y="319"/>
                    </a:lnTo>
                    <a:lnTo>
                      <a:pt x="540" y="319"/>
                    </a:lnTo>
                    <a:lnTo>
                      <a:pt x="540" y="319"/>
                    </a:lnTo>
                    <a:lnTo>
                      <a:pt x="533" y="319"/>
                    </a:lnTo>
                    <a:lnTo>
                      <a:pt x="533" y="319"/>
                    </a:lnTo>
                    <a:lnTo>
                      <a:pt x="533" y="319"/>
                    </a:lnTo>
                    <a:lnTo>
                      <a:pt x="533" y="319"/>
                    </a:lnTo>
                    <a:lnTo>
                      <a:pt x="533" y="319"/>
                    </a:lnTo>
                    <a:lnTo>
                      <a:pt x="525" y="326"/>
                    </a:lnTo>
                    <a:lnTo>
                      <a:pt x="525" y="326"/>
                    </a:lnTo>
                    <a:lnTo>
                      <a:pt x="525" y="333"/>
                    </a:lnTo>
                    <a:lnTo>
                      <a:pt x="525" y="340"/>
                    </a:lnTo>
                    <a:lnTo>
                      <a:pt x="525" y="340"/>
                    </a:lnTo>
                    <a:lnTo>
                      <a:pt x="525" y="333"/>
                    </a:lnTo>
                    <a:lnTo>
                      <a:pt x="518" y="333"/>
                    </a:lnTo>
                    <a:lnTo>
                      <a:pt x="518" y="340"/>
                    </a:lnTo>
                    <a:lnTo>
                      <a:pt x="518" y="340"/>
                    </a:lnTo>
                    <a:lnTo>
                      <a:pt x="511" y="340"/>
                    </a:lnTo>
                    <a:lnTo>
                      <a:pt x="511" y="347"/>
                    </a:lnTo>
                    <a:lnTo>
                      <a:pt x="511" y="347"/>
                    </a:lnTo>
                    <a:lnTo>
                      <a:pt x="511" y="355"/>
                    </a:lnTo>
                    <a:lnTo>
                      <a:pt x="511" y="369"/>
                    </a:lnTo>
                    <a:lnTo>
                      <a:pt x="511" y="369"/>
                    </a:lnTo>
                    <a:lnTo>
                      <a:pt x="511" y="369"/>
                    </a:lnTo>
                    <a:lnTo>
                      <a:pt x="511" y="376"/>
                    </a:lnTo>
                    <a:lnTo>
                      <a:pt x="504" y="376"/>
                    </a:lnTo>
                    <a:lnTo>
                      <a:pt x="504" y="376"/>
                    </a:lnTo>
                    <a:lnTo>
                      <a:pt x="504" y="376"/>
                    </a:lnTo>
                    <a:lnTo>
                      <a:pt x="504" y="383"/>
                    </a:lnTo>
                    <a:lnTo>
                      <a:pt x="504" y="383"/>
                    </a:lnTo>
                    <a:lnTo>
                      <a:pt x="504" y="383"/>
                    </a:lnTo>
                    <a:lnTo>
                      <a:pt x="504" y="383"/>
                    </a:lnTo>
                    <a:lnTo>
                      <a:pt x="504" y="390"/>
                    </a:lnTo>
                    <a:lnTo>
                      <a:pt x="504" y="397"/>
                    </a:lnTo>
                    <a:lnTo>
                      <a:pt x="504" y="404"/>
                    </a:lnTo>
                    <a:lnTo>
                      <a:pt x="504" y="404"/>
                    </a:lnTo>
                    <a:lnTo>
                      <a:pt x="504" y="404"/>
                    </a:lnTo>
                    <a:lnTo>
                      <a:pt x="504" y="404"/>
                    </a:lnTo>
                    <a:lnTo>
                      <a:pt x="504" y="411"/>
                    </a:lnTo>
                    <a:lnTo>
                      <a:pt x="497" y="411"/>
                    </a:lnTo>
                    <a:lnTo>
                      <a:pt x="490" y="404"/>
                    </a:lnTo>
                    <a:lnTo>
                      <a:pt x="490" y="404"/>
                    </a:lnTo>
                    <a:lnTo>
                      <a:pt x="490" y="404"/>
                    </a:lnTo>
                    <a:lnTo>
                      <a:pt x="490" y="404"/>
                    </a:lnTo>
                    <a:lnTo>
                      <a:pt x="483" y="411"/>
                    </a:lnTo>
                    <a:lnTo>
                      <a:pt x="483" y="411"/>
                    </a:lnTo>
                    <a:lnTo>
                      <a:pt x="483" y="411"/>
                    </a:lnTo>
                    <a:lnTo>
                      <a:pt x="483" y="418"/>
                    </a:lnTo>
                    <a:lnTo>
                      <a:pt x="483" y="418"/>
                    </a:lnTo>
                    <a:lnTo>
                      <a:pt x="476" y="411"/>
                    </a:lnTo>
                    <a:lnTo>
                      <a:pt x="469" y="411"/>
                    </a:lnTo>
                    <a:lnTo>
                      <a:pt x="469" y="411"/>
                    </a:lnTo>
                    <a:lnTo>
                      <a:pt x="469" y="411"/>
                    </a:lnTo>
                    <a:lnTo>
                      <a:pt x="462" y="411"/>
                    </a:lnTo>
                    <a:lnTo>
                      <a:pt x="462" y="411"/>
                    </a:lnTo>
                    <a:lnTo>
                      <a:pt x="462" y="411"/>
                    </a:lnTo>
                    <a:lnTo>
                      <a:pt x="462" y="418"/>
                    </a:lnTo>
                    <a:lnTo>
                      <a:pt x="454" y="418"/>
                    </a:lnTo>
                    <a:lnTo>
                      <a:pt x="454" y="418"/>
                    </a:lnTo>
                    <a:lnTo>
                      <a:pt x="454" y="418"/>
                    </a:lnTo>
                    <a:lnTo>
                      <a:pt x="447" y="411"/>
                    </a:lnTo>
                    <a:lnTo>
                      <a:pt x="447" y="411"/>
                    </a:lnTo>
                    <a:lnTo>
                      <a:pt x="440" y="411"/>
                    </a:lnTo>
                    <a:lnTo>
                      <a:pt x="440" y="418"/>
                    </a:lnTo>
                    <a:lnTo>
                      <a:pt x="433" y="426"/>
                    </a:lnTo>
                    <a:lnTo>
                      <a:pt x="433" y="426"/>
                    </a:lnTo>
                    <a:lnTo>
                      <a:pt x="433" y="433"/>
                    </a:lnTo>
                    <a:lnTo>
                      <a:pt x="433" y="433"/>
                    </a:lnTo>
                    <a:lnTo>
                      <a:pt x="433" y="440"/>
                    </a:lnTo>
                    <a:lnTo>
                      <a:pt x="426" y="440"/>
                    </a:lnTo>
                    <a:lnTo>
                      <a:pt x="426" y="440"/>
                    </a:lnTo>
                    <a:lnTo>
                      <a:pt x="426" y="440"/>
                    </a:lnTo>
                    <a:lnTo>
                      <a:pt x="426" y="440"/>
                    </a:lnTo>
                    <a:lnTo>
                      <a:pt x="426" y="440"/>
                    </a:lnTo>
                    <a:lnTo>
                      <a:pt x="426" y="447"/>
                    </a:lnTo>
                    <a:lnTo>
                      <a:pt x="426" y="447"/>
                    </a:lnTo>
                    <a:lnTo>
                      <a:pt x="426" y="447"/>
                    </a:lnTo>
                    <a:lnTo>
                      <a:pt x="426" y="447"/>
                    </a:lnTo>
                    <a:lnTo>
                      <a:pt x="412" y="440"/>
                    </a:lnTo>
                    <a:lnTo>
                      <a:pt x="405" y="433"/>
                    </a:lnTo>
                    <a:lnTo>
                      <a:pt x="405" y="433"/>
                    </a:lnTo>
                    <a:lnTo>
                      <a:pt x="405" y="433"/>
                    </a:lnTo>
                    <a:lnTo>
                      <a:pt x="405" y="426"/>
                    </a:lnTo>
                    <a:lnTo>
                      <a:pt x="405" y="426"/>
                    </a:lnTo>
                    <a:lnTo>
                      <a:pt x="405" y="426"/>
                    </a:lnTo>
                    <a:lnTo>
                      <a:pt x="405" y="418"/>
                    </a:lnTo>
                    <a:lnTo>
                      <a:pt x="405" y="418"/>
                    </a:lnTo>
                    <a:lnTo>
                      <a:pt x="405" y="418"/>
                    </a:lnTo>
                    <a:lnTo>
                      <a:pt x="398" y="418"/>
                    </a:lnTo>
                    <a:lnTo>
                      <a:pt x="398" y="411"/>
                    </a:lnTo>
                    <a:lnTo>
                      <a:pt x="391" y="411"/>
                    </a:lnTo>
                    <a:lnTo>
                      <a:pt x="391" y="418"/>
                    </a:lnTo>
                    <a:lnTo>
                      <a:pt x="391" y="418"/>
                    </a:lnTo>
                    <a:lnTo>
                      <a:pt x="384" y="418"/>
                    </a:lnTo>
                    <a:lnTo>
                      <a:pt x="384" y="411"/>
                    </a:lnTo>
                    <a:lnTo>
                      <a:pt x="384" y="411"/>
                    </a:lnTo>
                    <a:lnTo>
                      <a:pt x="384" y="411"/>
                    </a:lnTo>
                    <a:lnTo>
                      <a:pt x="376" y="397"/>
                    </a:lnTo>
                    <a:lnTo>
                      <a:pt x="376" y="397"/>
                    </a:lnTo>
                    <a:lnTo>
                      <a:pt x="376" y="397"/>
                    </a:lnTo>
                    <a:lnTo>
                      <a:pt x="369" y="397"/>
                    </a:lnTo>
                    <a:lnTo>
                      <a:pt x="369" y="397"/>
                    </a:lnTo>
                    <a:lnTo>
                      <a:pt x="369" y="397"/>
                    </a:lnTo>
                    <a:lnTo>
                      <a:pt x="369" y="397"/>
                    </a:lnTo>
                    <a:lnTo>
                      <a:pt x="369" y="390"/>
                    </a:lnTo>
                    <a:lnTo>
                      <a:pt x="369" y="390"/>
                    </a:lnTo>
                    <a:lnTo>
                      <a:pt x="369" y="390"/>
                    </a:lnTo>
                    <a:lnTo>
                      <a:pt x="369" y="390"/>
                    </a:lnTo>
                    <a:lnTo>
                      <a:pt x="362" y="390"/>
                    </a:lnTo>
                    <a:lnTo>
                      <a:pt x="362" y="390"/>
                    </a:lnTo>
                    <a:lnTo>
                      <a:pt x="355" y="397"/>
                    </a:lnTo>
                    <a:lnTo>
                      <a:pt x="348" y="397"/>
                    </a:lnTo>
                    <a:lnTo>
                      <a:pt x="341" y="390"/>
                    </a:lnTo>
                    <a:lnTo>
                      <a:pt x="341" y="390"/>
                    </a:lnTo>
                    <a:lnTo>
                      <a:pt x="341" y="390"/>
                    </a:lnTo>
                    <a:lnTo>
                      <a:pt x="327" y="390"/>
                    </a:lnTo>
                    <a:lnTo>
                      <a:pt x="327" y="390"/>
                    </a:lnTo>
                    <a:lnTo>
                      <a:pt x="327" y="390"/>
                    </a:lnTo>
                    <a:lnTo>
                      <a:pt x="327" y="390"/>
                    </a:lnTo>
                    <a:lnTo>
                      <a:pt x="320" y="397"/>
                    </a:lnTo>
                    <a:lnTo>
                      <a:pt x="320" y="397"/>
                    </a:lnTo>
                    <a:lnTo>
                      <a:pt x="320" y="397"/>
                    </a:lnTo>
                    <a:lnTo>
                      <a:pt x="320" y="404"/>
                    </a:lnTo>
                    <a:lnTo>
                      <a:pt x="320" y="404"/>
                    </a:lnTo>
                    <a:lnTo>
                      <a:pt x="320" y="404"/>
                    </a:lnTo>
                    <a:lnTo>
                      <a:pt x="320" y="404"/>
                    </a:lnTo>
                    <a:lnTo>
                      <a:pt x="320" y="404"/>
                    </a:lnTo>
                    <a:lnTo>
                      <a:pt x="320" y="404"/>
                    </a:lnTo>
                    <a:lnTo>
                      <a:pt x="320" y="411"/>
                    </a:lnTo>
                    <a:lnTo>
                      <a:pt x="320" y="411"/>
                    </a:lnTo>
                    <a:lnTo>
                      <a:pt x="320" y="411"/>
                    </a:lnTo>
                    <a:lnTo>
                      <a:pt x="320" y="418"/>
                    </a:lnTo>
                    <a:lnTo>
                      <a:pt x="320" y="418"/>
                    </a:lnTo>
                    <a:lnTo>
                      <a:pt x="320" y="418"/>
                    </a:lnTo>
                    <a:lnTo>
                      <a:pt x="313" y="418"/>
                    </a:lnTo>
                    <a:lnTo>
                      <a:pt x="313" y="418"/>
                    </a:lnTo>
                    <a:lnTo>
                      <a:pt x="313" y="418"/>
                    </a:lnTo>
                    <a:lnTo>
                      <a:pt x="305" y="418"/>
                    </a:lnTo>
                    <a:lnTo>
                      <a:pt x="305" y="418"/>
                    </a:lnTo>
                    <a:lnTo>
                      <a:pt x="305" y="418"/>
                    </a:lnTo>
                    <a:lnTo>
                      <a:pt x="305" y="426"/>
                    </a:lnTo>
                    <a:lnTo>
                      <a:pt x="305" y="426"/>
                    </a:lnTo>
                    <a:lnTo>
                      <a:pt x="298" y="426"/>
                    </a:lnTo>
                    <a:lnTo>
                      <a:pt x="298" y="426"/>
                    </a:lnTo>
                    <a:lnTo>
                      <a:pt x="298" y="426"/>
                    </a:lnTo>
                    <a:lnTo>
                      <a:pt x="298" y="426"/>
                    </a:lnTo>
                    <a:lnTo>
                      <a:pt x="298" y="426"/>
                    </a:lnTo>
                    <a:lnTo>
                      <a:pt x="291" y="426"/>
                    </a:lnTo>
                    <a:lnTo>
                      <a:pt x="291" y="426"/>
                    </a:lnTo>
                    <a:lnTo>
                      <a:pt x="284" y="426"/>
                    </a:lnTo>
                    <a:lnTo>
                      <a:pt x="284" y="426"/>
                    </a:lnTo>
                    <a:lnTo>
                      <a:pt x="270" y="433"/>
                    </a:lnTo>
                    <a:lnTo>
                      <a:pt x="270" y="433"/>
                    </a:lnTo>
                    <a:lnTo>
                      <a:pt x="270" y="433"/>
                    </a:lnTo>
                    <a:lnTo>
                      <a:pt x="270" y="433"/>
                    </a:lnTo>
                    <a:lnTo>
                      <a:pt x="270" y="433"/>
                    </a:lnTo>
                    <a:lnTo>
                      <a:pt x="270" y="433"/>
                    </a:lnTo>
                    <a:lnTo>
                      <a:pt x="256" y="440"/>
                    </a:lnTo>
                    <a:lnTo>
                      <a:pt x="256" y="440"/>
                    </a:lnTo>
                    <a:lnTo>
                      <a:pt x="256" y="440"/>
                    </a:lnTo>
                    <a:lnTo>
                      <a:pt x="256" y="440"/>
                    </a:lnTo>
                    <a:lnTo>
                      <a:pt x="256" y="447"/>
                    </a:lnTo>
                    <a:lnTo>
                      <a:pt x="249" y="447"/>
                    </a:lnTo>
                    <a:lnTo>
                      <a:pt x="249" y="447"/>
                    </a:lnTo>
                    <a:lnTo>
                      <a:pt x="249" y="454"/>
                    </a:lnTo>
                    <a:lnTo>
                      <a:pt x="242" y="454"/>
                    </a:lnTo>
                    <a:lnTo>
                      <a:pt x="242" y="454"/>
                    </a:lnTo>
                    <a:lnTo>
                      <a:pt x="242" y="447"/>
                    </a:lnTo>
                    <a:lnTo>
                      <a:pt x="242" y="447"/>
                    </a:lnTo>
                    <a:lnTo>
                      <a:pt x="242" y="447"/>
                    </a:lnTo>
                    <a:lnTo>
                      <a:pt x="242" y="447"/>
                    </a:lnTo>
                    <a:lnTo>
                      <a:pt x="234" y="447"/>
                    </a:lnTo>
                    <a:lnTo>
                      <a:pt x="234" y="447"/>
                    </a:lnTo>
                    <a:lnTo>
                      <a:pt x="227" y="454"/>
                    </a:lnTo>
                    <a:lnTo>
                      <a:pt x="227" y="454"/>
                    </a:lnTo>
                    <a:lnTo>
                      <a:pt x="220" y="454"/>
                    </a:lnTo>
                    <a:lnTo>
                      <a:pt x="220" y="447"/>
                    </a:lnTo>
                    <a:lnTo>
                      <a:pt x="220" y="447"/>
                    </a:lnTo>
                    <a:lnTo>
                      <a:pt x="213" y="440"/>
                    </a:lnTo>
                    <a:lnTo>
                      <a:pt x="213" y="440"/>
                    </a:lnTo>
                    <a:lnTo>
                      <a:pt x="213" y="440"/>
                    </a:lnTo>
                    <a:lnTo>
                      <a:pt x="213" y="440"/>
                    </a:lnTo>
                    <a:lnTo>
                      <a:pt x="213" y="440"/>
                    </a:lnTo>
                    <a:lnTo>
                      <a:pt x="206" y="440"/>
                    </a:lnTo>
                    <a:lnTo>
                      <a:pt x="206" y="433"/>
                    </a:lnTo>
                    <a:lnTo>
                      <a:pt x="206" y="433"/>
                    </a:lnTo>
                    <a:lnTo>
                      <a:pt x="206" y="433"/>
                    </a:lnTo>
                    <a:lnTo>
                      <a:pt x="199" y="433"/>
                    </a:lnTo>
                    <a:lnTo>
                      <a:pt x="199" y="433"/>
                    </a:lnTo>
                    <a:lnTo>
                      <a:pt x="199" y="433"/>
                    </a:lnTo>
                    <a:lnTo>
                      <a:pt x="199" y="433"/>
                    </a:lnTo>
                    <a:lnTo>
                      <a:pt x="192" y="440"/>
                    </a:lnTo>
                    <a:lnTo>
                      <a:pt x="192" y="440"/>
                    </a:lnTo>
                    <a:lnTo>
                      <a:pt x="185" y="447"/>
                    </a:lnTo>
                    <a:lnTo>
                      <a:pt x="185" y="447"/>
                    </a:lnTo>
                    <a:lnTo>
                      <a:pt x="185" y="447"/>
                    </a:lnTo>
                    <a:lnTo>
                      <a:pt x="185" y="447"/>
                    </a:lnTo>
                    <a:lnTo>
                      <a:pt x="185" y="447"/>
                    </a:lnTo>
                    <a:lnTo>
                      <a:pt x="178" y="447"/>
                    </a:lnTo>
                    <a:lnTo>
                      <a:pt x="178" y="447"/>
                    </a:lnTo>
                    <a:lnTo>
                      <a:pt x="178" y="447"/>
                    </a:lnTo>
                    <a:lnTo>
                      <a:pt x="178" y="447"/>
                    </a:lnTo>
                    <a:lnTo>
                      <a:pt x="178" y="447"/>
                    </a:lnTo>
                    <a:lnTo>
                      <a:pt x="178" y="447"/>
                    </a:lnTo>
                    <a:lnTo>
                      <a:pt x="178" y="447"/>
                    </a:lnTo>
                    <a:lnTo>
                      <a:pt x="171" y="454"/>
                    </a:lnTo>
                    <a:lnTo>
                      <a:pt x="171" y="454"/>
                    </a:lnTo>
                    <a:lnTo>
                      <a:pt x="171" y="454"/>
                    </a:lnTo>
                    <a:lnTo>
                      <a:pt x="171" y="454"/>
                    </a:lnTo>
                    <a:lnTo>
                      <a:pt x="171" y="461"/>
                    </a:lnTo>
                    <a:lnTo>
                      <a:pt x="163" y="461"/>
                    </a:lnTo>
                    <a:lnTo>
                      <a:pt x="163" y="461"/>
                    </a:lnTo>
                    <a:lnTo>
                      <a:pt x="163" y="461"/>
                    </a:lnTo>
                    <a:lnTo>
                      <a:pt x="163" y="461"/>
                    </a:lnTo>
                    <a:lnTo>
                      <a:pt x="156" y="461"/>
                    </a:lnTo>
                    <a:lnTo>
                      <a:pt x="156" y="454"/>
                    </a:lnTo>
                    <a:lnTo>
                      <a:pt x="156" y="454"/>
                    </a:lnTo>
                    <a:lnTo>
                      <a:pt x="156" y="454"/>
                    </a:lnTo>
                    <a:lnTo>
                      <a:pt x="149" y="454"/>
                    </a:lnTo>
                    <a:lnTo>
                      <a:pt x="149" y="447"/>
                    </a:lnTo>
                    <a:lnTo>
                      <a:pt x="149" y="447"/>
                    </a:lnTo>
                    <a:lnTo>
                      <a:pt x="142" y="447"/>
                    </a:lnTo>
                    <a:lnTo>
                      <a:pt x="142" y="447"/>
                    </a:lnTo>
                    <a:lnTo>
                      <a:pt x="142" y="440"/>
                    </a:lnTo>
                    <a:lnTo>
                      <a:pt x="135" y="440"/>
                    </a:lnTo>
                    <a:lnTo>
                      <a:pt x="142" y="440"/>
                    </a:lnTo>
                    <a:lnTo>
                      <a:pt x="142" y="440"/>
                    </a:lnTo>
                    <a:lnTo>
                      <a:pt x="142" y="433"/>
                    </a:lnTo>
                    <a:lnTo>
                      <a:pt x="135" y="433"/>
                    </a:lnTo>
                    <a:lnTo>
                      <a:pt x="135" y="426"/>
                    </a:lnTo>
                    <a:lnTo>
                      <a:pt x="135" y="426"/>
                    </a:lnTo>
                    <a:lnTo>
                      <a:pt x="135" y="426"/>
                    </a:lnTo>
                    <a:lnTo>
                      <a:pt x="135" y="433"/>
                    </a:lnTo>
                    <a:lnTo>
                      <a:pt x="135" y="433"/>
                    </a:lnTo>
                    <a:lnTo>
                      <a:pt x="128" y="433"/>
                    </a:lnTo>
                    <a:lnTo>
                      <a:pt x="128" y="433"/>
                    </a:lnTo>
                    <a:lnTo>
                      <a:pt x="128" y="426"/>
                    </a:lnTo>
                    <a:lnTo>
                      <a:pt x="128" y="426"/>
                    </a:lnTo>
                    <a:lnTo>
                      <a:pt x="128" y="433"/>
                    </a:lnTo>
                    <a:lnTo>
                      <a:pt x="128" y="433"/>
                    </a:lnTo>
                    <a:lnTo>
                      <a:pt x="121" y="433"/>
                    </a:lnTo>
                    <a:lnTo>
                      <a:pt x="121" y="433"/>
                    </a:lnTo>
                    <a:lnTo>
                      <a:pt x="121" y="433"/>
                    </a:lnTo>
                    <a:lnTo>
                      <a:pt x="121" y="433"/>
                    </a:lnTo>
                    <a:lnTo>
                      <a:pt x="121" y="433"/>
                    </a:lnTo>
                    <a:lnTo>
                      <a:pt x="121" y="433"/>
                    </a:lnTo>
                    <a:lnTo>
                      <a:pt x="121" y="440"/>
                    </a:lnTo>
                    <a:lnTo>
                      <a:pt x="121" y="440"/>
                    </a:lnTo>
                    <a:lnTo>
                      <a:pt x="121" y="433"/>
                    </a:lnTo>
                    <a:lnTo>
                      <a:pt x="121" y="433"/>
                    </a:lnTo>
                    <a:lnTo>
                      <a:pt x="121" y="433"/>
                    </a:lnTo>
                    <a:lnTo>
                      <a:pt x="121" y="433"/>
                    </a:lnTo>
                    <a:lnTo>
                      <a:pt x="121" y="433"/>
                    </a:lnTo>
                    <a:lnTo>
                      <a:pt x="114" y="433"/>
                    </a:lnTo>
                    <a:lnTo>
                      <a:pt x="114" y="433"/>
                    </a:lnTo>
                    <a:lnTo>
                      <a:pt x="114" y="433"/>
                    </a:lnTo>
                    <a:lnTo>
                      <a:pt x="114" y="433"/>
                    </a:lnTo>
                    <a:lnTo>
                      <a:pt x="114" y="433"/>
                    </a:lnTo>
                    <a:lnTo>
                      <a:pt x="114" y="440"/>
                    </a:lnTo>
                    <a:lnTo>
                      <a:pt x="114" y="440"/>
                    </a:lnTo>
                    <a:lnTo>
                      <a:pt x="114" y="440"/>
                    </a:lnTo>
                    <a:lnTo>
                      <a:pt x="114" y="440"/>
                    </a:lnTo>
                    <a:lnTo>
                      <a:pt x="114" y="433"/>
                    </a:lnTo>
                    <a:lnTo>
                      <a:pt x="107" y="433"/>
                    </a:lnTo>
                    <a:lnTo>
                      <a:pt x="107" y="426"/>
                    </a:lnTo>
                    <a:lnTo>
                      <a:pt x="100" y="418"/>
                    </a:lnTo>
                    <a:lnTo>
                      <a:pt x="100" y="411"/>
                    </a:lnTo>
                    <a:lnTo>
                      <a:pt x="100" y="411"/>
                    </a:lnTo>
                    <a:lnTo>
                      <a:pt x="100" y="411"/>
                    </a:lnTo>
                    <a:lnTo>
                      <a:pt x="92" y="411"/>
                    </a:lnTo>
                    <a:lnTo>
                      <a:pt x="92" y="418"/>
                    </a:lnTo>
                    <a:lnTo>
                      <a:pt x="92" y="418"/>
                    </a:lnTo>
                    <a:lnTo>
                      <a:pt x="92" y="418"/>
                    </a:lnTo>
                    <a:lnTo>
                      <a:pt x="92" y="418"/>
                    </a:lnTo>
                    <a:lnTo>
                      <a:pt x="92" y="418"/>
                    </a:lnTo>
                    <a:lnTo>
                      <a:pt x="92" y="426"/>
                    </a:lnTo>
                    <a:lnTo>
                      <a:pt x="85" y="426"/>
                    </a:lnTo>
                    <a:lnTo>
                      <a:pt x="85" y="426"/>
                    </a:lnTo>
                    <a:lnTo>
                      <a:pt x="85" y="426"/>
                    </a:lnTo>
                    <a:lnTo>
                      <a:pt x="78" y="426"/>
                    </a:lnTo>
                    <a:lnTo>
                      <a:pt x="78" y="426"/>
                    </a:lnTo>
                    <a:lnTo>
                      <a:pt x="78" y="426"/>
                    </a:lnTo>
                    <a:lnTo>
                      <a:pt x="71" y="426"/>
                    </a:lnTo>
                    <a:lnTo>
                      <a:pt x="71" y="426"/>
                    </a:lnTo>
                    <a:lnTo>
                      <a:pt x="71" y="426"/>
                    </a:lnTo>
                    <a:lnTo>
                      <a:pt x="64" y="426"/>
                    </a:lnTo>
                    <a:lnTo>
                      <a:pt x="64" y="433"/>
                    </a:lnTo>
                    <a:lnTo>
                      <a:pt x="64" y="433"/>
                    </a:lnTo>
                    <a:lnTo>
                      <a:pt x="57" y="433"/>
                    </a:lnTo>
                    <a:lnTo>
                      <a:pt x="50" y="433"/>
                    </a:lnTo>
                    <a:lnTo>
                      <a:pt x="36" y="433"/>
                    </a:lnTo>
                    <a:lnTo>
                      <a:pt x="29" y="433"/>
                    </a:lnTo>
                    <a:lnTo>
                      <a:pt x="29" y="426"/>
                    </a:lnTo>
                    <a:lnTo>
                      <a:pt x="29" y="418"/>
                    </a:lnTo>
                    <a:lnTo>
                      <a:pt x="29" y="418"/>
                    </a:lnTo>
                    <a:lnTo>
                      <a:pt x="29" y="418"/>
                    </a:lnTo>
                    <a:lnTo>
                      <a:pt x="29" y="418"/>
                    </a:lnTo>
                    <a:lnTo>
                      <a:pt x="29" y="411"/>
                    </a:lnTo>
                    <a:lnTo>
                      <a:pt x="29" y="411"/>
                    </a:lnTo>
                    <a:lnTo>
                      <a:pt x="29" y="411"/>
                    </a:lnTo>
                    <a:lnTo>
                      <a:pt x="29" y="404"/>
                    </a:lnTo>
                    <a:lnTo>
                      <a:pt x="29" y="404"/>
                    </a:lnTo>
                    <a:lnTo>
                      <a:pt x="29" y="404"/>
                    </a:lnTo>
                    <a:lnTo>
                      <a:pt x="29" y="397"/>
                    </a:lnTo>
                    <a:lnTo>
                      <a:pt x="29" y="397"/>
                    </a:lnTo>
                    <a:lnTo>
                      <a:pt x="29" y="397"/>
                    </a:lnTo>
                    <a:lnTo>
                      <a:pt x="21" y="397"/>
                    </a:lnTo>
                    <a:lnTo>
                      <a:pt x="21" y="397"/>
                    </a:lnTo>
                    <a:lnTo>
                      <a:pt x="14" y="397"/>
                    </a:lnTo>
                    <a:lnTo>
                      <a:pt x="14" y="390"/>
                    </a:lnTo>
                    <a:lnTo>
                      <a:pt x="14" y="390"/>
                    </a:lnTo>
                    <a:lnTo>
                      <a:pt x="14" y="390"/>
                    </a:lnTo>
                    <a:lnTo>
                      <a:pt x="14" y="390"/>
                    </a:lnTo>
                    <a:lnTo>
                      <a:pt x="7" y="383"/>
                    </a:lnTo>
                    <a:lnTo>
                      <a:pt x="7" y="383"/>
                    </a:lnTo>
                    <a:lnTo>
                      <a:pt x="7" y="383"/>
                    </a:lnTo>
                    <a:lnTo>
                      <a:pt x="7" y="383"/>
                    </a:lnTo>
                    <a:lnTo>
                      <a:pt x="7" y="383"/>
                    </a:lnTo>
                    <a:lnTo>
                      <a:pt x="7" y="376"/>
                    </a:lnTo>
                    <a:lnTo>
                      <a:pt x="7" y="376"/>
                    </a:lnTo>
                    <a:lnTo>
                      <a:pt x="7" y="376"/>
                    </a:lnTo>
                    <a:lnTo>
                      <a:pt x="7" y="376"/>
                    </a:lnTo>
                    <a:lnTo>
                      <a:pt x="7" y="369"/>
                    </a:lnTo>
                    <a:lnTo>
                      <a:pt x="7" y="362"/>
                    </a:lnTo>
                    <a:lnTo>
                      <a:pt x="7" y="362"/>
                    </a:lnTo>
                    <a:lnTo>
                      <a:pt x="7" y="362"/>
                    </a:lnTo>
                    <a:lnTo>
                      <a:pt x="0" y="355"/>
                    </a:lnTo>
                    <a:lnTo>
                      <a:pt x="0" y="355"/>
                    </a:lnTo>
                    <a:lnTo>
                      <a:pt x="0" y="355"/>
                    </a:lnTo>
                    <a:lnTo>
                      <a:pt x="0" y="355"/>
                    </a:lnTo>
                    <a:lnTo>
                      <a:pt x="0" y="347"/>
                    </a:lnTo>
                    <a:lnTo>
                      <a:pt x="0" y="340"/>
                    </a:lnTo>
                    <a:lnTo>
                      <a:pt x="0" y="340"/>
                    </a:lnTo>
                    <a:lnTo>
                      <a:pt x="0" y="333"/>
                    </a:lnTo>
                    <a:lnTo>
                      <a:pt x="0" y="333"/>
                    </a:lnTo>
                    <a:lnTo>
                      <a:pt x="0" y="333"/>
                    </a:lnTo>
                    <a:lnTo>
                      <a:pt x="0" y="333"/>
                    </a:lnTo>
                    <a:lnTo>
                      <a:pt x="7" y="333"/>
                    </a:lnTo>
                    <a:lnTo>
                      <a:pt x="7" y="326"/>
                    </a:lnTo>
                    <a:lnTo>
                      <a:pt x="7" y="326"/>
                    </a:lnTo>
                    <a:lnTo>
                      <a:pt x="14" y="326"/>
                    </a:lnTo>
                    <a:lnTo>
                      <a:pt x="21" y="319"/>
                    </a:lnTo>
                    <a:lnTo>
                      <a:pt x="21" y="319"/>
                    </a:lnTo>
                    <a:lnTo>
                      <a:pt x="21" y="319"/>
                    </a:lnTo>
                    <a:lnTo>
                      <a:pt x="43" y="305"/>
                    </a:lnTo>
                    <a:lnTo>
                      <a:pt x="57" y="298"/>
                    </a:lnTo>
                    <a:lnTo>
                      <a:pt x="57" y="298"/>
                    </a:lnTo>
                    <a:lnTo>
                      <a:pt x="57" y="291"/>
                    </a:lnTo>
                    <a:lnTo>
                      <a:pt x="64" y="291"/>
                    </a:lnTo>
                    <a:lnTo>
                      <a:pt x="64" y="291"/>
                    </a:lnTo>
                    <a:lnTo>
                      <a:pt x="64" y="291"/>
                    </a:lnTo>
                    <a:lnTo>
                      <a:pt x="71" y="284"/>
                    </a:lnTo>
                    <a:lnTo>
                      <a:pt x="71" y="284"/>
                    </a:lnTo>
                    <a:lnTo>
                      <a:pt x="71" y="284"/>
                    </a:lnTo>
                    <a:lnTo>
                      <a:pt x="71" y="284"/>
                    </a:lnTo>
                    <a:lnTo>
                      <a:pt x="85" y="276"/>
                    </a:lnTo>
                    <a:lnTo>
                      <a:pt x="85" y="269"/>
                    </a:lnTo>
                    <a:lnTo>
                      <a:pt x="92" y="262"/>
                    </a:lnTo>
                    <a:lnTo>
                      <a:pt x="100" y="255"/>
                    </a:lnTo>
                    <a:lnTo>
                      <a:pt x="107" y="255"/>
                    </a:lnTo>
                    <a:lnTo>
                      <a:pt x="114" y="255"/>
                    </a:lnTo>
                    <a:lnTo>
                      <a:pt x="114" y="255"/>
                    </a:lnTo>
                    <a:lnTo>
                      <a:pt x="114" y="255"/>
                    </a:lnTo>
                    <a:lnTo>
                      <a:pt x="114" y="262"/>
                    </a:lnTo>
                    <a:lnTo>
                      <a:pt x="114" y="262"/>
                    </a:lnTo>
                    <a:lnTo>
                      <a:pt x="114" y="262"/>
                    </a:lnTo>
                    <a:lnTo>
                      <a:pt x="114" y="262"/>
                    </a:lnTo>
                    <a:lnTo>
                      <a:pt x="114" y="262"/>
                    </a:lnTo>
                    <a:lnTo>
                      <a:pt x="114" y="262"/>
                    </a:lnTo>
                    <a:lnTo>
                      <a:pt x="114" y="262"/>
                    </a:lnTo>
                    <a:lnTo>
                      <a:pt x="114" y="262"/>
                    </a:lnTo>
                    <a:lnTo>
                      <a:pt x="114" y="262"/>
                    </a:lnTo>
                    <a:lnTo>
                      <a:pt x="114" y="262"/>
                    </a:lnTo>
                    <a:lnTo>
                      <a:pt x="114" y="269"/>
                    </a:lnTo>
                    <a:lnTo>
                      <a:pt x="114" y="269"/>
                    </a:lnTo>
                    <a:lnTo>
                      <a:pt x="121" y="269"/>
                    </a:lnTo>
                    <a:lnTo>
                      <a:pt x="121" y="269"/>
                    </a:lnTo>
                    <a:lnTo>
                      <a:pt x="121" y="269"/>
                    </a:lnTo>
                    <a:lnTo>
                      <a:pt x="121" y="269"/>
                    </a:lnTo>
                    <a:lnTo>
                      <a:pt x="128" y="262"/>
                    </a:lnTo>
                    <a:lnTo>
                      <a:pt x="128" y="262"/>
                    </a:lnTo>
                    <a:lnTo>
                      <a:pt x="128" y="262"/>
                    </a:lnTo>
                    <a:lnTo>
                      <a:pt x="128" y="262"/>
                    </a:lnTo>
                    <a:lnTo>
                      <a:pt x="128" y="262"/>
                    </a:lnTo>
                    <a:lnTo>
                      <a:pt x="128" y="262"/>
                    </a:lnTo>
                    <a:lnTo>
                      <a:pt x="128" y="262"/>
                    </a:lnTo>
                    <a:lnTo>
                      <a:pt x="128" y="262"/>
                    </a:lnTo>
                    <a:lnTo>
                      <a:pt x="128" y="262"/>
                    </a:lnTo>
                    <a:lnTo>
                      <a:pt x="128" y="255"/>
                    </a:lnTo>
                    <a:lnTo>
                      <a:pt x="128" y="255"/>
                    </a:lnTo>
                    <a:lnTo>
                      <a:pt x="128" y="248"/>
                    </a:lnTo>
                    <a:lnTo>
                      <a:pt x="128" y="248"/>
                    </a:lnTo>
                    <a:lnTo>
                      <a:pt x="128" y="248"/>
                    </a:lnTo>
                    <a:lnTo>
                      <a:pt x="135" y="248"/>
                    </a:lnTo>
                    <a:lnTo>
                      <a:pt x="135" y="248"/>
                    </a:lnTo>
                    <a:lnTo>
                      <a:pt x="142" y="255"/>
                    </a:lnTo>
                    <a:lnTo>
                      <a:pt x="142" y="255"/>
                    </a:lnTo>
                    <a:lnTo>
                      <a:pt x="149" y="255"/>
                    </a:lnTo>
                    <a:lnTo>
                      <a:pt x="149" y="255"/>
                    </a:lnTo>
                    <a:lnTo>
                      <a:pt x="149" y="255"/>
                    </a:lnTo>
                    <a:lnTo>
                      <a:pt x="149" y="255"/>
                    </a:lnTo>
                    <a:lnTo>
                      <a:pt x="156" y="255"/>
                    </a:lnTo>
                    <a:lnTo>
                      <a:pt x="156" y="255"/>
                    </a:lnTo>
                    <a:lnTo>
                      <a:pt x="156" y="255"/>
                    </a:lnTo>
                    <a:lnTo>
                      <a:pt x="163" y="255"/>
                    </a:lnTo>
                    <a:lnTo>
                      <a:pt x="163" y="255"/>
                    </a:lnTo>
                    <a:lnTo>
                      <a:pt x="163" y="248"/>
                    </a:lnTo>
                    <a:lnTo>
                      <a:pt x="163" y="248"/>
                    </a:lnTo>
                    <a:lnTo>
                      <a:pt x="163" y="248"/>
                    </a:lnTo>
                    <a:lnTo>
                      <a:pt x="163" y="248"/>
                    </a:lnTo>
                    <a:lnTo>
                      <a:pt x="163" y="241"/>
                    </a:lnTo>
                    <a:lnTo>
                      <a:pt x="163" y="241"/>
                    </a:lnTo>
                    <a:lnTo>
                      <a:pt x="156" y="234"/>
                    </a:lnTo>
                    <a:lnTo>
                      <a:pt x="149" y="234"/>
                    </a:lnTo>
                    <a:lnTo>
                      <a:pt x="149" y="234"/>
                    </a:lnTo>
                    <a:lnTo>
                      <a:pt x="142" y="234"/>
                    </a:lnTo>
                    <a:lnTo>
                      <a:pt x="142" y="234"/>
                    </a:lnTo>
                    <a:lnTo>
                      <a:pt x="135" y="234"/>
                    </a:lnTo>
                    <a:lnTo>
                      <a:pt x="135" y="227"/>
                    </a:lnTo>
                    <a:lnTo>
                      <a:pt x="135" y="227"/>
                    </a:lnTo>
                    <a:lnTo>
                      <a:pt x="135" y="227"/>
                    </a:lnTo>
                    <a:lnTo>
                      <a:pt x="135" y="227"/>
                    </a:lnTo>
                    <a:lnTo>
                      <a:pt x="128" y="227"/>
                    </a:lnTo>
                    <a:lnTo>
                      <a:pt x="128" y="227"/>
                    </a:lnTo>
                    <a:lnTo>
                      <a:pt x="128" y="227"/>
                    </a:lnTo>
                    <a:lnTo>
                      <a:pt x="121" y="227"/>
                    </a:lnTo>
                    <a:lnTo>
                      <a:pt x="121" y="227"/>
                    </a:lnTo>
                    <a:lnTo>
                      <a:pt x="114" y="227"/>
                    </a:lnTo>
                    <a:lnTo>
                      <a:pt x="114" y="227"/>
                    </a:lnTo>
                    <a:lnTo>
                      <a:pt x="114" y="220"/>
                    </a:lnTo>
                    <a:lnTo>
                      <a:pt x="114" y="220"/>
                    </a:lnTo>
                    <a:lnTo>
                      <a:pt x="114" y="220"/>
                    </a:lnTo>
                    <a:lnTo>
                      <a:pt x="107" y="213"/>
                    </a:lnTo>
                    <a:lnTo>
                      <a:pt x="107" y="213"/>
                    </a:lnTo>
                    <a:lnTo>
                      <a:pt x="107" y="213"/>
                    </a:lnTo>
                    <a:lnTo>
                      <a:pt x="107" y="213"/>
                    </a:lnTo>
                    <a:lnTo>
                      <a:pt x="107" y="213"/>
                    </a:lnTo>
                    <a:lnTo>
                      <a:pt x="100" y="213"/>
                    </a:lnTo>
                    <a:lnTo>
                      <a:pt x="100" y="205"/>
                    </a:lnTo>
                    <a:lnTo>
                      <a:pt x="100" y="205"/>
                    </a:lnTo>
                    <a:lnTo>
                      <a:pt x="100" y="205"/>
                    </a:lnTo>
                    <a:lnTo>
                      <a:pt x="100" y="205"/>
                    </a:lnTo>
                    <a:lnTo>
                      <a:pt x="92" y="205"/>
                    </a:lnTo>
                    <a:lnTo>
                      <a:pt x="92" y="205"/>
                    </a:lnTo>
                    <a:lnTo>
                      <a:pt x="92" y="205"/>
                    </a:lnTo>
                    <a:lnTo>
                      <a:pt x="92" y="198"/>
                    </a:lnTo>
                    <a:lnTo>
                      <a:pt x="85" y="198"/>
                    </a:lnTo>
                    <a:lnTo>
                      <a:pt x="85" y="191"/>
                    </a:lnTo>
                    <a:lnTo>
                      <a:pt x="78" y="191"/>
                    </a:lnTo>
                    <a:lnTo>
                      <a:pt x="78" y="184"/>
                    </a:lnTo>
                    <a:lnTo>
                      <a:pt x="78" y="184"/>
                    </a:lnTo>
                    <a:lnTo>
                      <a:pt x="78" y="184"/>
                    </a:lnTo>
                    <a:lnTo>
                      <a:pt x="78" y="184"/>
                    </a:lnTo>
                    <a:lnTo>
                      <a:pt x="78" y="184"/>
                    </a:lnTo>
                    <a:lnTo>
                      <a:pt x="78" y="184"/>
                    </a:lnTo>
                    <a:lnTo>
                      <a:pt x="78" y="177"/>
                    </a:lnTo>
                    <a:lnTo>
                      <a:pt x="78" y="177"/>
                    </a:lnTo>
                    <a:lnTo>
                      <a:pt x="78" y="177"/>
                    </a:lnTo>
                    <a:lnTo>
                      <a:pt x="78" y="177"/>
                    </a:lnTo>
                    <a:lnTo>
                      <a:pt x="85" y="177"/>
                    </a:lnTo>
                    <a:lnTo>
                      <a:pt x="92" y="177"/>
                    </a:lnTo>
                    <a:lnTo>
                      <a:pt x="92" y="177"/>
                    </a:lnTo>
                    <a:lnTo>
                      <a:pt x="92" y="177"/>
                    </a:lnTo>
                    <a:lnTo>
                      <a:pt x="92" y="177"/>
                    </a:lnTo>
                    <a:lnTo>
                      <a:pt x="92" y="177"/>
                    </a:lnTo>
                    <a:lnTo>
                      <a:pt x="92" y="177"/>
                    </a:lnTo>
                    <a:lnTo>
                      <a:pt x="100" y="177"/>
                    </a:lnTo>
                    <a:lnTo>
                      <a:pt x="100" y="177"/>
                    </a:lnTo>
                    <a:lnTo>
                      <a:pt x="100" y="177"/>
                    </a:lnTo>
                    <a:lnTo>
                      <a:pt x="100" y="177"/>
                    </a:lnTo>
                    <a:lnTo>
                      <a:pt x="100" y="177"/>
                    </a:lnTo>
                    <a:lnTo>
                      <a:pt x="100" y="170"/>
                    </a:lnTo>
                    <a:lnTo>
                      <a:pt x="100" y="170"/>
                    </a:lnTo>
                    <a:lnTo>
                      <a:pt x="100" y="170"/>
                    </a:lnTo>
                    <a:lnTo>
                      <a:pt x="100" y="170"/>
                    </a:lnTo>
                    <a:lnTo>
                      <a:pt x="100" y="163"/>
                    </a:lnTo>
                    <a:lnTo>
                      <a:pt x="100" y="163"/>
                    </a:lnTo>
                    <a:lnTo>
                      <a:pt x="100" y="163"/>
                    </a:lnTo>
                    <a:lnTo>
                      <a:pt x="100" y="156"/>
                    </a:lnTo>
                    <a:lnTo>
                      <a:pt x="100" y="156"/>
                    </a:lnTo>
                    <a:lnTo>
                      <a:pt x="100" y="156"/>
                    </a:lnTo>
                    <a:lnTo>
                      <a:pt x="92" y="156"/>
                    </a:lnTo>
                    <a:lnTo>
                      <a:pt x="85" y="156"/>
                    </a:lnTo>
                    <a:lnTo>
                      <a:pt x="85" y="156"/>
                    </a:lnTo>
                    <a:lnTo>
                      <a:pt x="78" y="149"/>
                    </a:lnTo>
                    <a:lnTo>
                      <a:pt x="78" y="149"/>
                    </a:lnTo>
                    <a:lnTo>
                      <a:pt x="78" y="149"/>
                    </a:lnTo>
                    <a:lnTo>
                      <a:pt x="78" y="149"/>
                    </a:lnTo>
                    <a:lnTo>
                      <a:pt x="78" y="149"/>
                    </a:lnTo>
                    <a:lnTo>
                      <a:pt x="78" y="149"/>
                    </a:lnTo>
                    <a:lnTo>
                      <a:pt x="78" y="149"/>
                    </a:lnTo>
                    <a:lnTo>
                      <a:pt x="71" y="149"/>
                    </a:lnTo>
                    <a:lnTo>
                      <a:pt x="71" y="149"/>
                    </a:lnTo>
                    <a:lnTo>
                      <a:pt x="71" y="149"/>
                    </a:lnTo>
                    <a:lnTo>
                      <a:pt x="71" y="149"/>
                    </a:lnTo>
                    <a:lnTo>
                      <a:pt x="71" y="149"/>
                    </a:lnTo>
                    <a:lnTo>
                      <a:pt x="64" y="149"/>
                    </a:lnTo>
                    <a:lnTo>
                      <a:pt x="64" y="149"/>
                    </a:lnTo>
                    <a:lnTo>
                      <a:pt x="64" y="149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35"/>
                    </a:lnTo>
                    <a:lnTo>
                      <a:pt x="64" y="135"/>
                    </a:lnTo>
                    <a:lnTo>
                      <a:pt x="64" y="135"/>
                    </a:lnTo>
                    <a:lnTo>
                      <a:pt x="64" y="135"/>
                    </a:lnTo>
                    <a:lnTo>
                      <a:pt x="71" y="135"/>
                    </a:lnTo>
                    <a:lnTo>
                      <a:pt x="71" y="142"/>
                    </a:lnTo>
                    <a:lnTo>
                      <a:pt x="71" y="142"/>
                    </a:lnTo>
                    <a:lnTo>
                      <a:pt x="71" y="142"/>
                    </a:lnTo>
                    <a:lnTo>
                      <a:pt x="71" y="142"/>
                    </a:lnTo>
                    <a:lnTo>
                      <a:pt x="71" y="142"/>
                    </a:lnTo>
                    <a:lnTo>
                      <a:pt x="71" y="142"/>
                    </a:lnTo>
                    <a:lnTo>
                      <a:pt x="71" y="142"/>
                    </a:lnTo>
                    <a:lnTo>
                      <a:pt x="71" y="142"/>
                    </a:lnTo>
                    <a:lnTo>
                      <a:pt x="71" y="142"/>
                    </a:lnTo>
                    <a:lnTo>
                      <a:pt x="71" y="135"/>
                    </a:lnTo>
                    <a:lnTo>
                      <a:pt x="71" y="135"/>
                    </a:lnTo>
                    <a:lnTo>
                      <a:pt x="71" y="135"/>
                    </a:lnTo>
                    <a:lnTo>
                      <a:pt x="78" y="135"/>
                    </a:lnTo>
                    <a:lnTo>
                      <a:pt x="78" y="135"/>
                    </a:lnTo>
                    <a:lnTo>
                      <a:pt x="85" y="135"/>
                    </a:lnTo>
                    <a:lnTo>
                      <a:pt x="85" y="135"/>
                    </a:lnTo>
                    <a:lnTo>
                      <a:pt x="85" y="135"/>
                    </a:lnTo>
                    <a:lnTo>
                      <a:pt x="85" y="127"/>
                    </a:lnTo>
                    <a:lnTo>
                      <a:pt x="85" y="127"/>
                    </a:lnTo>
                    <a:lnTo>
                      <a:pt x="85" y="120"/>
                    </a:lnTo>
                    <a:lnTo>
                      <a:pt x="85" y="120"/>
                    </a:lnTo>
                    <a:lnTo>
                      <a:pt x="85" y="120"/>
                    </a:lnTo>
                    <a:lnTo>
                      <a:pt x="85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100" y="120"/>
                    </a:lnTo>
                    <a:lnTo>
                      <a:pt x="107" y="120"/>
                    </a:lnTo>
                    <a:lnTo>
                      <a:pt x="128" y="120"/>
                    </a:lnTo>
                    <a:lnTo>
                      <a:pt x="128" y="120"/>
                    </a:lnTo>
                    <a:lnTo>
                      <a:pt x="128" y="120"/>
                    </a:lnTo>
                    <a:lnTo>
                      <a:pt x="128" y="120"/>
                    </a:lnTo>
                    <a:lnTo>
                      <a:pt x="128" y="120"/>
                    </a:lnTo>
                    <a:lnTo>
                      <a:pt x="121" y="120"/>
                    </a:lnTo>
                    <a:lnTo>
                      <a:pt x="114" y="106"/>
                    </a:lnTo>
                    <a:lnTo>
                      <a:pt x="114" y="106"/>
                    </a:lnTo>
                    <a:lnTo>
                      <a:pt x="114" y="106"/>
                    </a:lnTo>
                    <a:lnTo>
                      <a:pt x="107" y="106"/>
                    </a:lnTo>
                    <a:lnTo>
                      <a:pt x="107" y="106"/>
                    </a:lnTo>
                    <a:lnTo>
                      <a:pt x="107" y="106"/>
                    </a:lnTo>
                    <a:lnTo>
                      <a:pt x="107" y="106"/>
                    </a:lnTo>
                    <a:lnTo>
                      <a:pt x="107" y="106"/>
                    </a:lnTo>
                    <a:lnTo>
                      <a:pt x="107" y="99"/>
                    </a:lnTo>
                    <a:lnTo>
                      <a:pt x="107" y="92"/>
                    </a:lnTo>
                    <a:lnTo>
                      <a:pt x="107" y="92"/>
                    </a:lnTo>
                    <a:lnTo>
                      <a:pt x="107" y="92"/>
                    </a:lnTo>
                    <a:lnTo>
                      <a:pt x="100" y="85"/>
                    </a:lnTo>
                    <a:lnTo>
                      <a:pt x="100" y="85"/>
                    </a:lnTo>
                    <a:lnTo>
                      <a:pt x="100" y="85"/>
                    </a:lnTo>
                    <a:lnTo>
                      <a:pt x="100" y="85"/>
                    </a:lnTo>
                    <a:lnTo>
                      <a:pt x="100" y="85"/>
                    </a:lnTo>
                    <a:lnTo>
                      <a:pt x="100" y="85"/>
                    </a:lnTo>
                    <a:lnTo>
                      <a:pt x="92" y="85"/>
                    </a:lnTo>
                    <a:lnTo>
                      <a:pt x="92" y="85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85" y="85"/>
                    </a:lnTo>
                    <a:lnTo>
                      <a:pt x="85" y="85"/>
                    </a:lnTo>
                    <a:lnTo>
                      <a:pt x="85" y="85"/>
                    </a:lnTo>
                    <a:lnTo>
                      <a:pt x="85" y="85"/>
                    </a:lnTo>
                    <a:lnTo>
                      <a:pt x="78" y="85"/>
                    </a:lnTo>
                    <a:lnTo>
                      <a:pt x="78" y="78"/>
                    </a:lnTo>
                    <a:lnTo>
                      <a:pt x="71" y="71"/>
                    </a:lnTo>
                    <a:lnTo>
                      <a:pt x="71" y="71"/>
                    </a:lnTo>
                    <a:lnTo>
                      <a:pt x="71" y="71"/>
                    </a:lnTo>
                    <a:lnTo>
                      <a:pt x="71" y="64"/>
                    </a:lnTo>
                    <a:lnTo>
                      <a:pt x="71" y="64"/>
                    </a:lnTo>
                    <a:lnTo>
                      <a:pt x="71" y="64"/>
                    </a:lnTo>
                    <a:lnTo>
                      <a:pt x="71" y="64"/>
                    </a:lnTo>
                    <a:lnTo>
                      <a:pt x="71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49"/>
                    </a:lnTo>
                    <a:lnTo>
                      <a:pt x="64" y="49"/>
                    </a:lnTo>
                    <a:lnTo>
                      <a:pt x="57" y="49"/>
                    </a:lnTo>
                    <a:lnTo>
                      <a:pt x="57" y="42"/>
                    </a:lnTo>
                    <a:lnTo>
                      <a:pt x="57" y="42"/>
                    </a:lnTo>
                    <a:lnTo>
                      <a:pt x="57" y="42"/>
                    </a:lnTo>
                    <a:lnTo>
                      <a:pt x="57" y="35"/>
                    </a:lnTo>
                    <a:lnTo>
                      <a:pt x="57" y="35"/>
                    </a:lnTo>
                    <a:lnTo>
                      <a:pt x="57" y="35"/>
                    </a:lnTo>
                    <a:lnTo>
                      <a:pt x="57" y="35"/>
                    </a:lnTo>
                    <a:lnTo>
                      <a:pt x="50" y="35"/>
                    </a:lnTo>
                    <a:lnTo>
                      <a:pt x="50" y="35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0" y="2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3" name="Freeform 61"/>
              <p:cNvSpPr>
                <a:spLocks/>
              </p:cNvSpPr>
              <p:nvPr/>
            </p:nvSpPr>
            <p:spPr bwMode="auto">
              <a:xfrm>
                <a:off x="4585" y="1159"/>
                <a:ext cx="121" cy="149"/>
              </a:xfrm>
              <a:custGeom>
                <a:avLst/>
                <a:gdLst>
                  <a:gd name="T0" fmla="*/ 7 w 121"/>
                  <a:gd name="T1" fmla="*/ 128 h 149"/>
                  <a:gd name="T2" fmla="*/ 7 w 121"/>
                  <a:gd name="T3" fmla="*/ 128 h 149"/>
                  <a:gd name="T4" fmla="*/ 7 w 121"/>
                  <a:gd name="T5" fmla="*/ 114 h 149"/>
                  <a:gd name="T6" fmla="*/ 7 w 121"/>
                  <a:gd name="T7" fmla="*/ 114 h 149"/>
                  <a:gd name="T8" fmla="*/ 0 w 121"/>
                  <a:gd name="T9" fmla="*/ 107 h 149"/>
                  <a:gd name="T10" fmla="*/ 7 w 121"/>
                  <a:gd name="T11" fmla="*/ 100 h 149"/>
                  <a:gd name="T12" fmla="*/ 7 w 121"/>
                  <a:gd name="T13" fmla="*/ 100 h 149"/>
                  <a:gd name="T14" fmla="*/ 7 w 121"/>
                  <a:gd name="T15" fmla="*/ 100 h 149"/>
                  <a:gd name="T16" fmla="*/ 7 w 121"/>
                  <a:gd name="T17" fmla="*/ 100 h 149"/>
                  <a:gd name="T18" fmla="*/ 0 w 121"/>
                  <a:gd name="T19" fmla="*/ 92 h 149"/>
                  <a:gd name="T20" fmla="*/ 0 w 121"/>
                  <a:gd name="T21" fmla="*/ 92 h 149"/>
                  <a:gd name="T22" fmla="*/ 15 w 121"/>
                  <a:gd name="T23" fmla="*/ 71 h 149"/>
                  <a:gd name="T24" fmla="*/ 15 w 121"/>
                  <a:gd name="T25" fmla="*/ 50 h 149"/>
                  <a:gd name="T26" fmla="*/ 15 w 121"/>
                  <a:gd name="T27" fmla="*/ 43 h 149"/>
                  <a:gd name="T28" fmla="*/ 15 w 121"/>
                  <a:gd name="T29" fmla="*/ 36 h 149"/>
                  <a:gd name="T30" fmla="*/ 15 w 121"/>
                  <a:gd name="T31" fmla="*/ 36 h 149"/>
                  <a:gd name="T32" fmla="*/ 7 w 121"/>
                  <a:gd name="T33" fmla="*/ 36 h 149"/>
                  <a:gd name="T34" fmla="*/ 7 w 121"/>
                  <a:gd name="T35" fmla="*/ 29 h 149"/>
                  <a:gd name="T36" fmla="*/ 7 w 121"/>
                  <a:gd name="T37" fmla="*/ 21 h 149"/>
                  <a:gd name="T38" fmla="*/ 15 w 121"/>
                  <a:gd name="T39" fmla="*/ 21 h 149"/>
                  <a:gd name="T40" fmla="*/ 22 w 121"/>
                  <a:gd name="T41" fmla="*/ 21 h 149"/>
                  <a:gd name="T42" fmla="*/ 43 w 121"/>
                  <a:gd name="T43" fmla="*/ 14 h 149"/>
                  <a:gd name="T44" fmla="*/ 43 w 121"/>
                  <a:gd name="T45" fmla="*/ 14 h 149"/>
                  <a:gd name="T46" fmla="*/ 50 w 121"/>
                  <a:gd name="T47" fmla="*/ 14 h 149"/>
                  <a:gd name="T48" fmla="*/ 57 w 121"/>
                  <a:gd name="T49" fmla="*/ 14 h 149"/>
                  <a:gd name="T50" fmla="*/ 57 w 121"/>
                  <a:gd name="T51" fmla="*/ 7 h 149"/>
                  <a:gd name="T52" fmla="*/ 64 w 121"/>
                  <a:gd name="T53" fmla="*/ 0 h 149"/>
                  <a:gd name="T54" fmla="*/ 71 w 121"/>
                  <a:gd name="T55" fmla="*/ 0 h 149"/>
                  <a:gd name="T56" fmla="*/ 86 w 121"/>
                  <a:gd name="T57" fmla="*/ 7 h 149"/>
                  <a:gd name="T58" fmla="*/ 93 w 121"/>
                  <a:gd name="T59" fmla="*/ 7 h 149"/>
                  <a:gd name="T60" fmla="*/ 100 w 121"/>
                  <a:gd name="T61" fmla="*/ 14 h 149"/>
                  <a:gd name="T62" fmla="*/ 100 w 121"/>
                  <a:gd name="T63" fmla="*/ 14 h 149"/>
                  <a:gd name="T64" fmla="*/ 100 w 121"/>
                  <a:gd name="T65" fmla="*/ 21 h 149"/>
                  <a:gd name="T66" fmla="*/ 100 w 121"/>
                  <a:gd name="T67" fmla="*/ 29 h 149"/>
                  <a:gd name="T68" fmla="*/ 107 w 121"/>
                  <a:gd name="T69" fmla="*/ 29 h 149"/>
                  <a:gd name="T70" fmla="*/ 107 w 121"/>
                  <a:gd name="T71" fmla="*/ 36 h 149"/>
                  <a:gd name="T72" fmla="*/ 100 w 121"/>
                  <a:gd name="T73" fmla="*/ 71 h 149"/>
                  <a:gd name="T74" fmla="*/ 93 w 121"/>
                  <a:gd name="T75" fmla="*/ 78 h 149"/>
                  <a:gd name="T76" fmla="*/ 93 w 121"/>
                  <a:gd name="T77" fmla="*/ 78 h 149"/>
                  <a:gd name="T78" fmla="*/ 100 w 121"/>
                  <a:gd name="T79" fmla="*/ 85 h 149"/>
                  <a:gd name="T80" fmla="*/ 100 w 121"/>
                  <a:gd name="T81" fmla="*/ 92 h 149"/>
                  <a:gd name="T82" fmla="*/ 107 w 121"/>
                  <a:gd name="T83" fmla="*/ 100 h 149"/>
                  <a:gd name="T84" fmla="*/ 107 w 121"/>
                  <a:gd name="T85" fmla="*/ 107 h 149"/>
                  <a:gd name="T86" fmla="*/ 114 w 121"/>
                  <a:gd name="T87" fmla="*/ 107 h 149"/>
                  <a:gd name="T88" fmla="*/ 121 w 121"/>
                  <a:gd name="T89" fmla="*/ 114 h 149"/>
                  <a:gd name="T90" fmla="*/ 114 w 121"/>
                  <a:gd name="T91" fmla="*/ 121 h 149"/>
                  <a:gd name="T92" fmla="*/ 107 w 121"/>
                  <a:gd name="T93" fmla="*/ 121 h 149"/>
                  <a:gd name="T94" fmla="*/ 100 w 121"/>
                  <a:gd name="T95" fmla="*/ 128 h 149"/>
                  <a:gd name="T96" fmla="*/ 100 w 121"/>
                  <a:gd name="T97" fmla="*/ 135 h 149"/>
                  <a:gd name="T98" fmla="*/ 93 w 121"/>
                  <a:gd name="T99" fmla="*/ 135 h 149"/>
                  <a:gd name="T100" fmla="*/ 93 w 121"/>
                  <a:gd name="T101" fmla="*/ 135 h 149"/>
                  <a:gd name="T102" fmla="*/ 78 w 121"/>
                  <a:gd name="T103" fmla="*/ 135 h 149"/>
                  <a:gd name="T104" fmla="*/ 64 w 121"/>
                  <a:gd name="T105" fmla="*/ 142 h 149"/>
                  <a:gd name="T106" fmla="*/ 57 w 121"/>
                  <a:gd name="T107" fmla="*/ 149 h 149"/>
                  <a:gd name="T108" fmla="*/ 50 w 121"/>
                  <a:gd name="T109" fmla="*/ 149 h 149"/>
                  <a:gd name="T110" fmla="*/ 50 w 121"/>
                  <a:gd name="T111" fmla="*/ 149 h 149"/>
                  <a:gd name="T112" fmla="*/ 36 w 121"/>
                  <a:gd name="T113" fmla="*/ 142 h 149"/>
                  <a:gd name="T114" fmla="*/ 22 w 121"/>
                  <a:gd name="T115" fmla="*/ 142 h 149"/>
                  <a:gd name="T116" fmla="*/ 22 w 121"/>
                  <a:gd name="T117" fmla="*/ 142 h 149"/>
                  <a:gd name="T118" fmla="*/ 15 w 121"/>
                  <a:gd name="T119" fmla="*/ 135 h 149"/>
                  <a:gd name="T120" fmla="*/ 15 w 121"/>
                  <a:gd name="T121" fmla="*/ 135 h 149"/>
                  <a:gd name="T122" fmla="*/ 15 w 121"/>
                  <a:gd name="T123" fmla="*/ 128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21" h="149">
                    <a:moveTo>
                      <a:pt x="7" y="128"/>
                    </a:moveTo>
                    <a:lnTo>
                      <a:pt x="7" y="128"/>
                    </a:lnTo>
                    <a:lnTo>
                      <a:pt x="7" y="128"/>
                    </a:lnTo>
                    <a:lnTo>
                      <a:pt x="7" y="128"/>
                    </a:lnTo>
                    <a:lnTo>
                      <a:pt x="7" y="121"/>
                    </a:lnTo>
                    <a:lnTo>
                      <a:pt x="7" y="114"/>
                    </a:lnTo>
                    <a:lnTo>
                      <a:pt x="7" y="114"/>
                    </a:lnTo>
                    <a:lnTo>
                      <a:pt x="7" y="114"/>
                    </a:lnTo>
                    <a:lnTo>
                      <a:pt x="7" y="107"/>
                    </a:lnTo>
                    <a:lnTo>
                      <a:pt x="0" y="107"/>
                    </a:lnTo>
                    <a:lnTo>
                      <a:pt x="0" y="107"/>
                    </a:lnTo>
                    <a:lnTo>
                      <a:pt x="7" y="100"/>
                    </a:lnTo>
                    <a:lnTo>
                      <a:pt x="7" y="100"/>
                    </a:lnTo>
                    <a:lnTo>
                      <a:pt x="7" y="100"/>
                    </a:lnTo>
                    <a:lnTo>
                      <a:pt x="7" y="100"/>
                    </a:lnTo>
                    <a:lnTo>
                      <a:pt x="7" y="100"/>
                    </a:lnTo>
                    <a:lnTo>
                      <a:pt x="7" y="100"/>
                    </a:lnTo>
                    <a:lnTo>
                      <a:pt x="7" y="100"/>
                    </a:lnTo>
                    <a:lnTo>
                      <a:pt x="7" y="92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7" y="85"/>
                    </a:lnTo>
                    <a:lnTo>
                      <a:pt x="15" y="71"/>
                    </a:lnTo>
                    <a:lnTo>
                      <a:pt x="15" y="57"/>
                    </a:lnTo>
                    <a:lnTo>
                      <a:pt x="15" y="50"/>
                    </a:lnTo>
                    <a:lnTo>
                      <a:pt x="15" y="50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7" y="29"/>
                    </a:lnTo>
                    <a:lnTo>
                      <a:pt x="7" y="29"/>
                    </a:lnTo>
                    <a:lnTo>
                      <a:pt x="7" y="21"/>
                    </a:lnTo>
                    <a:lnTo>
                      <a:pt x="7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22" y="21"/>
                    </a:lnTo>
                    <a:lnTo>
                      <a:pt x="43" y="21"/>
                    </a:lnTo>
                    <a:lnTo>
                      <a:pt x="43" y="14"/>
                    </a:lnTo>
                    <a:lnTo>
                      <a:pt x="43" y="14"/>
                    </a:lnTo>
                    <a:lnTo>
                      <a:pt x="43" y="14"/>
                    </a:lnTo>
                    <a:lnTo>
                      <a:pt x="43" y="14"/>
                    </a:lnTo>
                    <a:lnTo>
                      <a:pt x="50" y="14"/>
                    </a:lnTo>
                    <a:lnTo>
                      <a:pt x="50" y="7"/>
                    </a:lnTo>
                    <a:lnTo>
                      <a:pt x="57" y="14"/>
                    </a:lnTo>
                    <a:lnTo>
                      <a:pt x="57" y="7"/>
                    </a:lnTo>
                    <a:lnTo>
                      <a:pt x="57" y="7"/>
                    </a:lnTo>
                    <a:lnTo>
                      <a:pt x="64" y="7"/>
                    </a:lnTo>
                    <a:lnTo>
                      <a:pt x="64" y="0"/>
                    </a:lnTo>
                    <a:lnTo>
                      <a:pt x="71" y="0"/>
                    </a:lnTo>
                    <a:lnTo>
                      <a:pt x="71" y="0"/>
                    </a:lnTo>
                    <a:lnTo>
                      <a:pt x="78" y="7"/>
                    </a:lnTo>
                    <a:lnTo>
                      <a:pt x="86" y="7"/>
                    </a:lnTo>
                    <a:lnTo>
                      <a:pt x="86" y="7"/>
                    </a:lnTo>
                    <a:lnTo>
                      <a:pt x="93" y="7"/>
                    </a:lnTo>
                    <a:lnTo>
                      <a:pt x="93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21"/>
                    </a:lnTo>
                    <a:lnTo>
                      <a:pt x="100" y="21"/>
                    </a:lnTo>
                    <a:lnTo>
                      <a:pt x="100" y="29"/>
                    </a:lnTo>
                    <a:lnTo>
                      <a:pt x="100" y="29"/>
                    </a:lnTo>
                    <a:lnTo>
                      <a:pt x="107" y="29"/>
                    </a:lnTo>
                    <a:lnTo>
                      <a:pt x="107" y="36"/>
                    </a:lnTo>
                    <a:lnTo>
                      <a:pt x="107" y="36"/>
                    </a:lnTo>
                    <a:lnTo>
                      <a:pt x="100" y="64"/>
                    </a:lnTo>
                    <a:lnTo>
                      <a:pt x="100" y="71"/>
                    </a:lnTo>
                    <a:lnTo>
                      <a:pt x="100" y="71"/>
                    </a:lnTo>
                    <a:lnTo>
                      <a:pt x="93" y="78"/>
                    </a:lnTo>
                    <a:lnTo>
                      <a:pt x="93" y="78"/>
                    </a:lnTo>
                    <a:lnTo>
                      <a:pt x="93" y="78"/>
                    </a:lnTo>
                    <a:lnTo>
                      <a:pt x="100" y="85"/>
                    </a:lnTo>
                    <a:lnTo>
                      <a:pt x="100" y="85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100"/>
                    </a:lnTo>
                    <a:lnTo>
                      <a:pt x="107" y="100"/>
                    </a:lnTo>
                    <a:lnTo>
                      <a:pt x="107" y="100"/>
                    </a:lnTo>
                    <a:lnTo>
                      <a:pt x="107" y="107"/>
                    </a:lnTo>
                    <a:lnTo>
                      <a:pt x="107" y="107"/>
                    </a:lnTo>
                    <a:lnTo>
                      <a:pt x="114" y="107"/>
                    </a:lnTo>
                    <a:lnTo>
                      <a:pt x="114" y="107"/>
                    </a:lnTo>
                    <a:lnTo>
                      <a:pt x="121" y="114"/>
                    </a:lnTo>
                    <a:lnTo>
                      <a:pt x="121" y="114"/>
                    </a:lnTo>
                    <a:lnTo>
                      <a:pt x="114" y="121"/>
                    </a:lnTo>
                    <a:lnTo>
                      <a:pt x="107" y="121"/>
                    </a:lnTo>
                    <a:lnTo>
                      <a:pt x="107" y="121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35"/>
                    </a:lnTo>
                    <a:lnTo>
                      <a:pt x="100" y="135"/>
                    </a:lnTo>
                    <a:lnTo>
                      <a:pt x="100" y="135"/>
                    </a:lnTo>
                    <a:lnTo>
                      <a:pt x="93" y="135"/>
                    </a:lnTo>
                    <a:lnTo>
                      <a:pt x="93" y="135"/>
                    </a:lnTo>
                    <a:lnTo>
                      <a:pt x="93" y="135"/>
                    </a:lnTo>
                    <a:lnTo>
                      <a:pt x="86" y="135"/>
                    </a:lnTo>
                    <a:lnTo>
                      <a:pt x="78" y="135"/>
                    </a:lnTo>
                    <a:lnTo>
                      <a:pt x="71" y="135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57" y="149"/>
                    </a:lnTo>
                    <a:lnTo>
                      <a:pt x="57" y="149"/>
                    </a:lnTo>
                    <a:lnTo>
                      <a:pt x="50" y="149"/>
                    </a:lnTo>
                    <a:lnTo>
                      <a:pt x="50" y="149"/>
                    </a:lnTo>
                    <a:lnTo>
                      <a:pt x="50" y="149"/>
                    </a:lnTo>
                    <a:lnTo>
                      <a:pt x="50" y="142"/>
                    </a:lnTo>
                    <a:lnTo>
                      <a:pt x="36" y="142"/>
                    </a:lnTo>
                    <a:lnTo>
                      <a:pt x="29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15" y="142"/>
                    </a:lnTo>
                    <a:lnTo>
                      <a:pt x="15" y="135"/>
                    </a:lnTo>
                    <a:lnTo>
                      <a:pt x="15" y="135"/>
                    </a:lnTo>
                    <a:lnTo>
                      <a:pt x="15" y="135"/>
                    </a:lnTo>
                    <a:lnTo>
                      <a:pt x="15" y="135"/>
                    </a:lnTo>
                    <a:lnTo>
                      <a:pt x="15" y="128"/>
                    </a:lnTo>
                    <a:lnTo>
                      <a:pt x="7" y="12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5" name="Freeform 63"/>
              <p:cNvSpPr>
                <a:spLocks/>
              </p:cNvSpPr>
              <p:nvPr/>
            </p:nvSpPr>
            <p:spPr bwMode="auto">
              <a:xfrm>
                <a:off x="3613" y="1755"/>
                <a:ext cx="539" cy="945"/>
              </a:xfrm>
              <a:custGeom>
                <a:avLst/>
                <a:gdLst>
                  <a:gd name="T0" fmla="*/ 475 w 539"/>
                  <a:gd name="T1" fmla="*/ 263 h 945"/>
                  <a:gd name="T2" fmla="*/ 433 w 539"/>
                  <a:gd name="T3" fmla="*/ 313 h 945"/>
                  <a:gd name="T4" fmla="*/ 440 w 539"/>
                  <a:gd name="T5" fmla="*/ 341 h 945"/>
                  <a:gd name="T6" fmla="*/ 412 w 539"/>
                  <a:gd name="T7" fmla="*/ 398 h 945"/>
                  <a:gd name="T8" fmla="*/ 404 w 539"/>
                  <a:gd name="T9" fmla="*/ 412 h 945"/>
                  <a:gd name="T10" fmla="*/ 369 w 539"/>
                  <a:gd name="T11" fmla="*/ 441 h 945"/>
                  <a:gd name="T12" fmla="*/ 319 w 539"/>
                  <a:gd name="T13" fmla="*/ 441 h 945"/>
                  <a:gd name="T14" fmla="*/ 291 w 539"/>
                  <a:gd name="T15" fmla="*/ 483 h 945"/>
                  <a:gd name="T16" fmla="*/ 284 w 539"/>
                  <a:gd name="T17" fmla="*/ 512 h 945"/>
                  <a:gd name="T18" fmla="*/ 291 w 539"/>
                  <a:gd name="T19" fmla="*/ 547 h 945"/>
                  <a:gd name="T20" fmla="*/ 305 w 539"/>
                  <a:gd name="T21" fmla="*/ 611 h 945"/>
                  <a:gd name="T22" fmla="*/ 333 w 539"/>
                  <a:gd name="T23" fmla="*/ 611 h 945"/>
                  <a:gd name="T24" fmla="*/ 326 w 539"/>
                  <a:gd name="T25" fmla="*/ 646 h 945"/>
                  <a:gd name="T26" fmla="*/ 291 w 539"/>
                  <a:gd name="T27" fmla="*/ 632 h 945"/>
                  <a:gd name="T28" fmla="*/ 262 w 539"/>
                  <a:gd name="T29" fmla="*/ 611 h 945"/>
                  <a:gd name="T30" fmla="*/ 241 w 539"/>
                  <a:gd name="T31" fmla="*/ 604 h 945"/>
                  <a:gd name="T32" fmla="*/ 234 w 539"/>
                  <a:gd name="T33" fmla="*/ 639 h 945"/>
                  <a:gd name="T34" fmla="*/ 255 w 539"/>
                  <a:gd name="T35" fmla="*/ 689 h 945"/>
                  <a:gd name="T36" fmla="*/ 270 w 539"/>
                  <a:gd name="T37" fmla="*/ 710 h 945"/>
                  <a:gd name="T38" fmla="*/ 277 w 539"/>
                  <a:gd name="T39" fmla="*/ 760 h 945"/>
                  <a:gd name="T40" fmla="*/ 262 w 539"/>
                  <a:gd name="T41" fmla="*/ 795 h 945"/>
                  <a:gd name="T42" fmla="*/ 234 w 539"/>
                  <a:gd name="T43" fmla="*/ 817 h 945"/>
                  <a:gd name="T44" fmla="*/ 213 w 539"/>
                  <a:gd name="T45" fmla="*/ 859 h 945"/>
                  <a:gd name="T46" fmla="*/ 177 w 539"/>
                  <a:gd name="T47" fmla="*/ 881 h 945"/>
                  <a:gd name="T48" fmla="*/ 177 w 539"/>
                  <a:gd name="T49" fmla="*/ 916 h 945"/>
                  <a:gd name="T50" fmla="*/ 163 w 539"/>
                  <a:gd name="T51" fmla="*/ 937 h 945"/>
                  <a:gd name="T52" fmla="*/ 106 w 539"/>
                  <a:gd name="T53" fmla="*/ 916 h 945"/>
                  <a:gd name="T54" fmla="*/ 85 w 539"/>
                  <a:gd name="T55" fmla="*/ 881 h 945"/>
                  <a:gd name="T56" fmla="*/ 71 w 539"/>
                  <a:gd name="T57" fmla="*/ 881 h 945"/>
                  <a:gd name="T58" fmla="*/ 28 w 539"/>
                  <a:gd name="T59" fmla="*/ 824 h 945"/>
                  <a:gd name="T60" fmla="*/ 0 w 539"/>
                  <a:gd name="T61" fmla="*/ 810 h 945"/>
                  <a:gd name="T62" fmla="*/ 21 w 539"/>
                  <a:gd name="T63" fmla="*/ 724 h 945"/>
                  <a:gd name="T64" fmla="*/ 64 w 539"/>
                  <a:gd name="T65" fmla="*/ 724 h 945"/>
                  <a:gd name="T66" fmla="*/ 85 w 539"/>
                  <a:gd name="T67" fmla="*/ 689 h 945"/>
                  <a:gd name="T68" fmla="*/ 42 w 539"/>
                  <a:gd name="T69" fmla="*/ 654 h 945"/>
                  <a:gd name="T70" fmla="*/ 21 w 539"/>
                  <a:gd name="T71" fmla="*/ 654 h 945"/>
                  <a:gd name="T72" fmla="*/ 21 w 539"/>
                  <a:gd name="T73" fmla="*/ 632 h 945"/>
                  <a:gd name="T74" fmla="*/ 28 w 539"/>
                  <a:gd name="T75" fmla="*/ 597 h 945"/>
                  <a:gd name="T76" fmla="*/ 42 w 539"/>
                  <a:gd name="T77" fmla="*/ 568 h 945"/>
                  <a:gd name="T78" fmla="*/ 42 w 539"/>
                  <a:gd name="T79" fmla="*/ 526 h 945"/>
                  <a:gd name="T80" fmla="*/ 35 w 539"/>
                  <a:gd name="T81" fmla="*/ 519 h 945"/>
                  <a:gd name="T82" fmla="*/ 14 w 539"/>
                  <a:gd name="T83" fmla="*/ 476 h 945"/>
                  <a:gd name="T84" fmla="*/ 50 w 539"/>
                  <a:gd name="T85" fmla="*/ 384 h 945"/>
                  <a:gd name="T86" fmla="*/ 85 w 539"/>
                  <a:gd name="T87" fmla="*/ 313 h 945"/>
                  <a:gd name="T88" fmla="*/ 106 w 539"/>
                  <a:gd name="T89" fmla="*/ 249 h 945"/>
                  <a:gd name="T90" fmla="*/ 149 w 539"/>
                  <a:gd name="T91" fmla="*/ 249 h 945"/>
                  <a:gd name="T92" fmla="*/ 192 w 539"/>
                  <a:gd name="T93" fmla="*/ 199 h 945"/>
                  <a:gd name="T94" fmla="*/ 241 w 539"/>
                  <a:gd name="T95" fmla="*/ 142 h 945"/>
                  <a:gd name="T96" fmla="*/ 184 w 539"/>
                  <a:gd name="T97" fmla="*/ 93 h 945"/>
                  <a:gd name="T98" fmla="*/ 170 w 539"/>
                  <a:gd name="T99" fmla="*/ 79 h 945"/>
                  <a:gd name="T100" fmla="*/ 199 w 539"/>
                  <a:gd name="T101" fmla="*/ 50 h 945"/>
                  <a:gd name="T102" fmla="*/ 305 w 539"/>
                  <a:gd name="T103" fmla="*/ 36 h 945"/>
                  <a:gd name="T104" fmla="*/ 362 w 539"/>
                  <a:gd name="T105" fmla="*/ 36 h 945"/>
                  <a:gd name="T106" fmla="*/ 404 w 539"/>
                  <a:gd name="T107" fmla="*/ 0 h 945"/>
                  <a:gd name="T108" fmla="*/ 447 w 539"/>
                  <a:gd name="T109" fmla="*/ 64 h 945"/>
                  <a:gd name="T110" fmla="*/ 475 w 539"/>
                  <a:gd name="T111" fmla="*/ 71 h 945"/>
                  <a:gd name="T112" fmla="*/ 490 w 539"/>
                  <a:gd name="T113" fmla="*/ 86 h 945"/>
                  <a:gd name="T114" fmla="*/ 490 w 539"/>
                  <a:gd name="T115" fmla="*/ 107 h 945"/>
                  <a:gd name="T116" fmla="*/ 511 w 539"/>
                  <a:gd name="T117" fmla="*/ 164 h 945"/>
                  <a:gd name="T118" fmla="*/ 539 w 539"/>
                  <a:gd name="T119" fmla="*/ 171 h 945"/>
                  <a:gd name="T120" fmla="*/ 518 w 539"/>
                  <a:gd name="T121" fmla="*/ 213 h 9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39" h="945">
                    <a:moveTo>
                      <a:pt x="497" y="228"/>
                    </a:moveTo>
                    <a:lnTo>
                      <a:pt x="497" y="228"/>
                    </a:lnTo>
                    <a:lnTo>
                      <a:pt x="497" y="228"/>
                    </a:lnTo>
                    <a:lnTo>
                      <a:pt x="490" y="235"/>
                    </a:lnTo>
                    <a:lnTo>
                      <a:pt x="490" y="235"/>
                    </a:lnTo>
                    <a:lnTo>
                      <a:pt x="497" y="235"/>
                    </a:lnTo>
                    <a:lnTo>
                      <a:pt x="497" y="242"/>
                    </a:lnTo>
                    <a:lnTo>
                      <a:pt x="497" y="242"/>
                    </a:lnTo>
                    <a:lnTo>
                      <a:pt x="497" y="242"/>
                    </a:lnTo>
                    <a:lnTo>
                      <a:pt x="497" y="249"/>
                    </a:lnTo>
                    <a:lnTo>
                      <a:pt x="497" y="249"/>
                    </a:lnTo>
                    <a:lnTo>
                      <a:pt x="497" y="249"/>
                    </a:lnTo>
                    <a:lnTo>
                      <a:pt x="497" y="249"/>
                    </a:lnTo>
                    <a:lnTo>
                      <a:pt x="497" y="249"/>
                    </a:lnTo>
                    <a:lnTo>
                      <a:pt x="490" y="256"/>
                    </a:lnTo>
                    <a:lnTo>
                      <a:pt x="490" y="256"/>
                    </a:lnTo>
                    <a:lnTo>
                      <a:pt x="490" y="256"/>
                    </a:lnTo>
                    <a:lnTo>
                      <a:pt x="490" y="256"/>
                    </a:lnTo>
                    <a:lnTo>
                      <a:pt x="483" y="256"/>
                    </a:lnTo>
                    <a:lnTo>
                      <a:pt x="475" y="263"/>
                    </a:lnTo>
                    <a:lnTo>
                      <a:pt x="475" y="263"/>
                    </a:lnTo>
                    <a:lnTo>
                      <a:pt x="461" y="270"/>
                    </a:lnTo>
                    <a:lnTo>
                      <a:pt x="461" y="277"/>
                    </a:lnTo>
                    <a:lnTo>
                      <a:pt x="454" y="277"/>
                    </a:lnTo>
                    <a:lnTo>
                      <a:pt x="447" y="277"/>
                    </a:lnTo>
                    <a:lnTo>
                      <a:pt x="447" y="277"/>
                    </a:lnTo>
                    <a:lnTo>
                      <a:pt x="447" y="284"/>
                    </a:lnTo>
                    <a:lnTo>
                      <a:pt x="440" y="291"/>
                    </a:lnTo>
                    <a:lnTo>
                      <a:pt x="440" y="299"/>
                    </a:lnTo>
                    <a:lnTo>
                      <a:pt x="440" y="299"/>
                    </a:lnTo>
                    <a:lnTo>
                      <a:pt x="440" y="299"/>
                    </a:lnTo>
                    <a:lnTo>
                      <a:pt x="440" y="299"/>
                    </a:lnTo>
                    <a:lnTo>
                      <a:pt x="440" y="299"/>
                    </a:lnTo>
                    <a:lnTo>
                      <a:pt x="440" y="299"/>
                    </a:lnTo>
                    <a:lnTo>
                      <a:pt x="440" y="299"/>
                    </a:lnTo>
                    <a:lnTo>
                      <a:pt x="440" y="306"/>
                    </a:lnTo>
                    <a:lnTo>
                      <a:pt x="440" y="306"/>
                    </a:lnTo>
                    <a:lnTo>
                      <a:pt x="440" y="306"/>
                    </a:lnTo>
                    <a:lnTo>
                      <a:pt x="440" y="306"/>
                    </a:lnTo>
                    <a:lnTo>
                      <a:pt x="440" y="306"/>
                    </a:lnTo>
                    <a:lnTo>
                      <a:pt x="433" y="306"/>
                    </a:lnTo>
                    <a:lnTo>
                      <a:pt x="433" y="313"/>
                    </a:lnTo>
                    <a:lnTo>
                      <a:pt x="433" y="313"/>
                    </a:lnTo>
                    <a:lnTo>
                      <a:pt x="433" y="313"/>
                    </a:lnTo>
                    <a:lnTo>
                      <a:pt x="433" y="320"/>
                    </a:lnTo>
                    <a:lnTo>
                      <a:pt x="433" y="320"/>
                    </a:lnTo>
                    <a:lnTo>
                      <a:pt x="440" y="320"/>
                    </a:lnTo>
                    <a:lnTo>
                      <a:pt x="440" y="320"/>
                    </a:lnTo>
                    <a:lnTo>
                      <a:pt x="440" y="320"/>
                    </a:lnTo>
                    <a:lnTo>
                      <a:pt x="440" y="320"/>
                    </a:lnTo>
                    <a:lnTo>
                      <a:pt x="447" y="327"/>
                    </a:lnTo>
                    <a:lnTo>
                      <a:pt x="440" y="327"/>
                    </a:lnTo>
                    <a:lnTo>
                      <a:pt x="440" y="327"/>
                    </a:lnTo>
                    <a:lnTo>
                      <a:pt x="440" y="327"/>
                    </a:lnTo>
                    <a:lnTo>
                      <a:pt x="440" y="334"/>
                    </a:lnTo>
                    <a:lnTo>
                      <a:pt x="440" y="334"/>
                    </a:lnTo>
                    <a:lnTo>
                      <a:pt x="440" y="334"/>
                    </a:lnTo>
                    <a:lnTo>
                      <a:pt x="440" y="334"/>
                    </a:lnTo>
                    <a:lnTo>
                      <a:pt x="440" y="334"/>
                    </a:lnTo>
                    <a:lnTo>
                      <a:pt x="440" y="334"/>
                    </a:lnTo>
                    <a:lnTo>
                      <a:pt x="440" y="334"/>
                    </a:lnTo>
                    <a:lnTo>
                      <a:pt x="440" y="341"/>
                    </a:lnTo>
                    <a:lnTo>
                      <a:pt x="440" y="341"/>
                    </a:lnTo>
                    <a:lnTo>
                      <a:pt x="440" y="341"/>
                    </a:lnTo>
                    <a:lnTo>
                      <a:pt x="433" y="341"/>
                    </a:lnTo>
                    <a:lnTo>
                      <a:pt x="433" y="341"/>
                    </a:lnTo>
                    <a:lnTo>
                      <a:pt x="433" y="341"/>
                    </a:lnTo>
                    <a:lnTo>
                      <a:pt x="433" y="341"/>
                    </a:lnTo>
                    <a:lnTo>
                      <a:pt x="433" y="341"/>
                    </a:lnTo>
                    <a:lnTo>
                      <a:pt x="433" y="341"/>
                    </a:lnTo>
                    <a:lnTo>
                      <a:pt x="433" y="341"/>
                    </a:lnTo>
                    <a:lnTo>
                      <a:pt x="433" y="341"/>
                    </a:lnTo>
                    <a:lnTo>
                      <a:pt x="433" y="348"/>
                    </a:lnTo>
                    <a:lnTo>
                      <a:pt x="433" y="348"/>
                    </a:lnTo>
                    <a:lnTo>
                      <a:pt x="426" y="355"/>
                    </a:lnTo>
                    <a:lnTo>
                      <a:pt x="419" y="377"/>
                    </a:lnTo>
                    <a:lnTo>
                      <a:pt x="412" y="377"/>
                    </a:lnTo>
                    <a:lnTo>
                      <a:pt x="412" y="377"/>
                    </a:lnTo>
                    <a:lnTo>
                      <a:pt x="412" y="384"/>
                    </a:lnTo>
                    <a:lnTo>
                      <a:pt x="412" y="384"/>
                    </a:lnTo>
                    <a:lnTo>
                      <a:pt x="412" y="391"/>
                    </a:lnTo>
                    <a:lnTo>
                      <a:pt x="412" y="391"/>
                    </a:lnTo>
                    <a:lnTo>
                      <a:pt x="412" y="391"/>
                    </a:lnTo>
                    <a:lnTo>
                      <a:pt x="412" y="398"/>
                    </a:lnTo>
                    <a:lnTo>
                      <a:pt x="419" y="398"/>
                    </a:lnTo>
                    <a:lnTo>
                      <a:pt x="419" y="398"/>
                    </a:lnTo>
                    <a:lnTo>
                      <a:pt x="419" y="398"/>
                    </a:lnTo>
                    <a:lnTo>
                      <a:pt x="419" y="405"/>
                    </a:lnTo>
                    <a:lnTo>
                      <a:pt x="426" y="405"/>
                    </a:lnTo>
                    <a:lnTo>
                      <a:pt x="426" y="405"/>
                    </a:lnTo>
                    <a:lnTo>
                      <a:pt x="426" y="412"/>
                    </a:lnTo>
                    <a:lnTo>
                      <a:pt x="419" y="412"/>
                    </a:lnTo>
                    <a:lnTo>
                      <a:pt x="419" y="412"/>
                    </a:lnTo>
                    <a:lnTo>
                      <a:pt x="419" y="412"/>
                    </a:lnTo>
                    <a:lnTo>
                      <a:pt x="419" y="412"/>
                    </a:lnTo>
                    <a:lnTo>
                      <a:pt x="419" y="412"/>
                    </a:lnTo>
                    <a:lnTo>
                      <a:pt x="412" y="405"/>
                    </a:lnTo>
                    <a:lnTo>
                      <a:pt x="412" y="405"/>
                    </a:lnTo>
                    <a:lnTo>
                      <a:pt x="404" y="405"/>
                    </a:lnTo>
                    <a:lnTo>
                      <a:pt x="404" y="412"/>
                    </a:lnTo>
                    <a:lnTo>
                      <a:pt x="404" y="412"/>
                    </a:lnTo>
                    <a:lnTo>
                      <a:pt x="404" y="412"/>
                    </a:lnTo>
                    <a:lnTo>
                      <a:pt x="404" y="412"/>
                    </a:lnTo>
                    <a:lnTo>
                      <a:pt x="404" y="412"/>
                    </a:lnTo>
                    <a:lnTo>
                      <a:pt x="404" y="412"/>
                    </a:lnTo>
                    <a:lnTo>
                      <a:pt x="404" y="412"/>
                    </a:lnTo>
                    <a:lnTo>
                      <a:pt x="404" y="412"/>
                    </a:lnTo>
                    <a:lnTo>
                      <a:pt x="404" y="419"/>
                    </a:lnTo>
                    <a:lnTo>
                      <a:pt x="404" y="419"/>
                    </a:lnTo>
                    <a:lnTo>
                      <a:pt x="404" y="419"/>
                    </a:lnTo>
                    <a:lnTo>
                      <a:pt x="404" y="426"/>
                    </a:lnTo>
                    <a:lnTo>
                      <a:pt x="397" y="433"/>
                    </a:lnTo>
                    <a:lnTo>
                      <a:pt x="397" y="441"/>
                    </a:lnTo>
                    <a:lnTo>
                      <a:pt x="397" y="441"/>
                    </a:lnTo>
                    <a:lnTo>
                      <a:pt x="390" y="441"/>
                    </a:lnTo>
                    <a:lnTo>
                      <a:pt x="390" y="441"/>
                    </a:lnTo>
                    <a:lnTo>
                      <a:pt x="390" y="441"/>
                    </a:lnTo>
                    <a:lnTo>
                      <a:pt x="383" y="448"/>
                    </a:lnTo>
                    <a:lnTo>
                      <a:pt x="383" y="441"/>
                    </a:lnTo>
                    <a:lnTo>
                      <a:pt x="376" y="441"/>
                    </a:lnTo>
                    <a:lnTo>
                      <a:pt x="376" y="441"/>
                    </a:lnTo>
                    <a:lnTo>
                      <a:pt x="376" y="441"/>
                    </a:lnTo>
                    <a:lnTo>
                      <a:pt x="376" y="441"/>
                    </a:lnTo>
                    <a:lnTo>
                      <a:pt x="376" y="441"/>
                    </a:lnTo>
                    <a:lnTo>
                      <a:pt x="369" y="441"/>
                    </a:lnTo>
                    <a:lnTo>
                      <a:pt x="369" y="441"/>
                    </a:lnTo>
                    <a:lnTo>
                      <a:pt x="369" y="441"/>
                    </a:lnTo>
                    <a:lnTo>
                      <a:pt x="369" y="433"/>
                    </a:lnTo>
                    <a:lnTo>
                      <a:pt x="369" y="433"/>
                    </a:lnTo>
                    <a:lnTo>
                      <a:pt x="362" y="433"/>
                    </a:lnTo>
                    <a:lnTo>
                      <a:pt x="348" y="441"/>
                    </a:lnTo>
                    <a:lnTo>
                      <a:pt x="348" y="441"/>
                    </a:lnTo>
                    <a:lnTo>
                      <a:pt x="348" y="441"/>
                    </a:lnTo>
                    <a:lnTo>
                      <a:pt x="341" y="441"/>
                    </a:lnTo>
                    <a:lnTo>
                      <a:pt x="341" y="441"/>
                    </a:lnTo>
                    <a:lnTo>
                      <a:pt x="341" y="441"/>
                    </a:lnTo>
                    <a:lnTo>
                      <a:pt x="341" y="441"/>
                    </a:lnTo>
                    <a:lnTo>
                      <a:pt x="341" y="441"/>
                    </a:lnTo>
                    <a:lnTo>
                      <a:pt x="341" y="441"/>
                    </a:lnTo>
                    <a:lnTo>
                      <a:pt x="341" y="441"/>
                    </a:lnTo>
                    <a:lnTo>
                      <a:pt x="333" y="441"/>
                    </a:lnTo>
                    <a:lnTo>
                      <a:pt x="326" y="441"/>
                    </a:lnTo>
                    <a:lnTo>
                      <a:pt x="319" y="441"/>
                    </a:lnTo>
                    <a:lnTo>
                      <a:pt x="319" y="441"/>
                    </a:lnTo>
                    <a:lnTo>
                      <a:pt x="319" y="441"/>
                    </a:lnTo>
                    <a:lnTo>
                      <a:pt x="319" y="441"/>
                    </a:lnTo>
                    <a:lnTo>
                      <a:pt x="319" y="441"/>
                    </a:lnTo>
                    <a:lnTo>
                      <a:pt x="319" y="448"/>
                    </a:lnTo>
                    <a:lnTo>
                      <a:pt x="319" y="448"/>
                    </a:lnTo>
                    <a:lnTo>
                      <a:pt x="319" y="448"/>
                    </a:lnTo>
                    <a:lnTo>
                      <a:pt x="319" y="462"/>
                    </a:lnTo>
                    <a:lnTo>
                      <a:pt x="312" y="469"/>
                    </a:lnTo>
                    <a:lnTo>
                      <a:pt x="312" y="469"/>
                    </a:lnTo>
                    <a:lnTo>
                      <a:pt x="305" y="476"/>
                    </a:lnTo>
                    <a:lnTo>
                      <a:pt x="305" y="476"/>
                    </a:lnTo>
                    <a:lnTo>
                      <a:pt x="305" y="476"/>
                    </a:lnTo>
                    <a:lnTo>
                      <a:pt x="305" y="476"/>
                    </a:lnTo>
                    <a:lnTo>
                      <a:pt x="305" y="476"/>
                    </a:lnTo>
                    <a:lnTo>
                      <a:pt x="298" y="476"/>
                    </a:lnTo>
                    <a:lnTo>
                      <a:pt x="298" y="483"/>
                    </a:lnTo>
                    <a:lnTo>
                      <a:pt x="298" y="483"/>
                    </a:lnTo>
                    <a:lnTo>
                      <a:pt x="298" y="483"/>
                    </a:lnTo>
                    <a:lnTo>
                      <a:pt x="298" y="490"/>
                    </a:lnTo>
                    <a:lnTo>
                      <a:pt x="291" y="490"/>
                    </a:lnTo>
                    <a:lnTo>
                      <a:pt x="291" y="490"/>
                    </a:lnTo>
                    <a:lnTo>
                      <a:pt x="291" y="490"/>
                    </a:lnTo>
                    <a:lnTo>
                      <a:pt x="291" y="490"/>
                    </a:lnTo>
                    <a:lnTo>
                      <a:pt x="291" y="483"/>
                    </a:lnTo>
                    <a:lnTo>
                      <a:pt x="291" y="483"/>
                    </a:lnTo>
                    <a:lnTo>
                      <a:pt x="291" y="483"/>
                    </a:lnTo>
                    <a:lnTo>
                      <a:pt x="291" y="483"/>
                    </a:lnTo>
                    <a:lnTo>
                      <a:pt x="291" y="483"/>
                    </a:lnTo>
                    <a:lnTo>
                      <a:pt x="291" y="483"/>
                    </a:lnTo>
                    <a:lnTo>
                      <a:pt x="291" y="483"/>
                    </a:lnTo>
                    <a:lnTo>
                      <a:pt x="284" y="483"/>
                    </a:lnTo>
                    <a:lnTo>
                      <a:pt x="284" y="483"/>
                    </a:lnTo>
                    <a:lnTo>
                      <a:pt x="284" y="483"/>
                    </a:lnTo>
                    <a:lnTo>
                      <a:pt x="284" y="483"/>
                    </a:lnTo>
                    <a:lnTo>
                      <a:pt x="284" y="483"/>
                    </a:lnTo>
                    <a:lnTo>
                      <a:pt x="284" y="483"/>
                    </a:lnTo>
                    <a:lnTo>
                      <a:pt x="284" y="483"/>
                    </a:lnTo>
                    <a:lnTo>
                      <a:pt x="284" y="497"/>
                    </a:lnTo>
                    <a:lnTo>
                      <a:pt x="284" y="504"/>
                    </a:lnTo>
                    <a:lnTo>
                      <a:pt x="284" y="504"/>
                    </a:lnTo>
                    <a:lnTo>
                      <a:pt x="284" y="504"/>
                    </a:lnTo>
                    <a:lnTo>
                      <a:pt x="284" y="512"/>
                    </a:lnTo>
                    <a:lnTo>
                      <a:pt x="284" y="512"/>
                    </a:lnTo>
                    <a:lnTo>
                      <a:pt x="284" y="512"/>
                    </a:lnTo>
                    <a:lnTo>
                      <a:pt x="284" y="512"/>
                    </a:lnTo>
                    <a:lnTo>
                      <a:pt x="284" y="519"/>
                    </a:lnTo>
                    <a:lnTo>
                      <a:pt x="284" y="519"/>
                    </a:lnTo>
                    <a:lnTo>
                      <a:pt x="284" y="526"/>
                    </a:lnTo>
                    <a:lnTo>
                      <a:pt x="284" y="533"/>
                    </a:lnTo>
                    <a:lnTo>
                      <a:pt x="284" y="533"/>
                    </a:lnTo>
                    <a:lnTo>
                      <a:pt x="284" y="540"/>
                    </a:lnTo>
                    <a:lnTo>
                      <a:pt x="284" y="540"/>
                    </a:lnTo>
                    <a:lnTo>
                      <a:pt x="284" y="540"/>
                    </a:lnTo>
                    <a:lnTo>
                      <a:pt x="284" y="540"/>
                    </a:lnTo>
                    <a:lnTo>
                      <a:pt x="284" y="540"/>
                    </a:lnTo>
                    <a:lnTo>
                      <a:pt x="284" y="540"/>
                    </a:lnTo>
                    <a:lnTo>
                      <a:pt x="291" y="540"/>
                    </a:lnTo>
                    <a:lnTo>
                      <a:pt x="291" y="540"/>
                    </a:lnTo>
                    <a:lnTo>
                      <a:pt x="291" y="540"/>
                    </a:lnTo>
                    <a:lnTo>
                      <a:pt x="291" y="540"/>
                    </a:lnTo>
                    <a:lnTo>
                      <a:pt x="291" y="540"/>
                    </a:lnTo>
                    <a:lnTo>
                      <a:pt x="291" y="540"/>
                    </a:lnTo>
                    <a:lnTo>
                      <a:pt x="291" y="547"/>
                    </a:lnTo>
                    <a:lnTo>
                      <a:pt x="291" y="547"/>
                    </a:lnTo>
                    <a:lnTo>
                      <a:pt x="291" y="547"/>
                    </a:lnTo>
                    <a:lnTo>
                      <a:pt x="291" y="547"/>
                    </a:lnTo>
                    <a:lnTo>
                      <a:pt x="291" y="540"/>
                    </a:lnTo>
                    <a:lnTo>
                      <a:pt x="291" y="540"/>
                    </a:lnTo>
                    <a:lnTo>
                      <a:pt x="298" y="547"/>
                    </a:lnTo>
                    <a:lnTo>
                      <a:pt x="298" y="547"/>
                    </a:lnTo>
                    <a:lnTo>
                      <a:pt x="291" y="561"/>
                    </a:lnTo>
                    <a:lnTo>
                      <a:pt x="291" y="561"/>
                    </a:lnTo>
                    <a:lnTo>
                      <a:pt x="298" y="561"/>
                    </a:lnTo>
                    <a:lnTo>
                      <a:pt x="298" y="561"/>
                    </a:lnTo>
                    <a:lnTo>
                      <a:pt x="298" y="568"/>
                    </a:lnTo>
                    <a:lnTo>
                      <a:pt x="298" y="568"/>
                    </a:lnTo>
                    <a:lnTo>
                      <a:pt x="298" y="575"/>
                    </a:lnTo>
                    <a:lnTo>
                      <a:pt x="298" y="583"/>
                    </a:lnTo>
                    <a:lnTo>
                      <a:pt x="298" y="583"/>
                    </a:lnTo>
                    <a:lnTo>
                      <a:pt x="298" y="590"/>
                    </a:lnTo>
                    <a:lnTo>
                      <a:pt x="298" y="597"/>
                    </a:lnTo>
                    <a:lnTo>
                      <a:pt x="298" y="597"/>
                    </a:lnTo>
                    <a:lnTo>
                      <a:pt x="298" y="604"/>
                    </a:lnTo>
                    <a:lnTo>
                      <a:pt x="305" y="604"/>
                    </a:lnTo>
                    <a:lnTo>
                      <a:pt x="305" y="604"/>
                    </a:lnTo>
                    <a:lnTo>
                      <a:pt x="305" y="604"/>
                    </a:lnTo>
                    <a:lnTo>
                      <a:pt x="305" y="611"/>
                    </a:lnTo>
                    <a:lnTo>
                      <a:pt x="305" y="611"/>
                    </a:lnTo>
                    <a:lnTo>
                      <a:pt x="312" y="611"/>
                    </a:lnTo>
                    <a:lnTo>
                      <a:pt x="319" y="604"/>
                    </a:lnTo>
                    <a:lnTo>
                      <a:pt x="319" y="604"/>
                    </a:lnTo>
                    <a:lnTo>
                      <a:pt x="319" y="611"/>
                    </a:lnTo>
                    <a:lnTo>
                      <a:pt x="319" y="611"/>
                    </a:lnTo>
                    <a:lnTo>
                      <a:pt x="319" y="611"/>
                    </a:lnTo>
                    <a:lnTo>
                      <a:pt x="319" y="611"/>
                    </a:lnTo>
                    <a:lnTo>
                      <a:pt x="319" y="611"/>
                    </a:lnTo>
                    <a:lnTo>
                      <a:pt x="319" y="611"/>
                    </a:lnTo>
                    <a:lnTo>
                      <a:pt x="326" y="611"/>
                    </a:lnTo>
                    <a:lnTo>
                      <a:pt x="326" y="611"/>
                    </a:lnTo>
                    <a:lnTo>
                      <a:pt x="326" y="611"/>
                    </a:lnTo>
                    <a:lnTo>
                      <a:pt x="326" y="611"/>
                    </a:lnTo>
                    <a:lnTo>
                      <a:pt x="326" y="611"/>
                    </a:lnTo>
                    <a:lnTo>
                      <a:pt x="326" y="611"/>
                    </a:lnTo>
                    <a:lnTo>
                      <a:pt x="326" y="611"/>
                    </a:lnTo>
                    <a:lnTo>
                      <a:pt x="326" y="611"/>
                    </a:lnTo>
                    <a:lnTo>
                      <a:pt x="333" y="611"/>
                    </a:lnTo>
                    <a:lnTo>
                      <a:pt x="333" y="611"/>
                    </a:lnTo>
                    <a:lnTo>
                      <a:pt x="333" y="611"/>
                    </a:lnTo>
                    <a:lnTo>
                      <a:pt x="333" y="611"/>
                    </a:lnTo>
                    <a:lnTo>
                      <a:pt x="333" y="611"/>
                    </a:lnTo>
                    <a:lnTo>
                      <a:pt x="333" y="611"/>
                    </a:lnTo>
                    <a:lnTo>
                      <a:pt x="341" y="611"/>
                    </a:lnTo>
                    <a:lnTo>
                      <a:pt x="341" y="618"/>
                    </a:lnTo>
                    <a:lnTo>
                      <a:pt x="341" y="618"/>
                    </a:lnTo>
                    <a:lnTo>
                      <a:pt x="333" y="625"/>
                    </a:lnTo>
                    <a:lnTo>
                      <a:pt x="333" y="625"/>
                    </a:lnTo>
                    <a:lnTo>
                      <a:pt x="333" y="625"/>
                    </a:lnTo>
                    <a:lnTo>
                      <a:pt x="333" y="625"/>
                    </a:lnTo>
                    <a:lnTo>
                      <a:pt x="333" y="625"/>
                    </a:lnTo>
                    <a:lnTo>
                      <a:pt x="341" y="632"/>
                    </a:lnTo>
                    <a:lnTo>
                      <a:pt x="341" y="632"/>
                    </a:lnTo>
                    <a:lnTo>
                      <a:pt x="341" y="632"/>
                    </a:lnTo>
                    <a:lnTo>
                      <a:pt x="341" y="632"/>
                    </a:lnTo>
                    <a:lnTo>
                      <a:pt x="333" y="639"/>
                    </a:lnTo>
                    <a:lnTo>
                      <a:pt x="333" y="639"/>
                    </a:lnTo>
                    <a:lnTo>
                      <a:pt x="333" y="639"/>
                    </a:lnTo>
                    <a:lnTo>
                      <a:pt x="333" y="639"/>
                    </a:lnTo>
                    <a:lnTo>
                      <a:pt x="326" y="639"/>
                    </a:lnTo>
                    <a:lnTo>
                      <a:pt x="326" y="646"/>
                    </a:lnTo>
                    <a:lnTo>
                      <a:pt x="326" y="646"/>
                    </a:lnTo>
                    <a:lnTo>
                      <a:pt x="319" y="646"/>
                    </a:lnTo>
                    <a:lnTo>
                      <a:pt x="319" y="646"/>
                    </a:lnTo>
                    <a:lnTo>
                      <a:pt x="319" y="646"/>
                    </a:lnTo>
                    <a:lnTo>
                      <a:pt x="319" y="646"/>
                    </a:lnTo>
                    <a:lnTo>
                      <a:pt x="319" y="639"/>
                    </a:lnTo>
                    <a:lnTo>
                      <a:pt x="319" y="639"/>
                    </a:lnTo>
                    <a:lnTo>
                      <a:pt x="319" y="639"/>
                    </a:lnTo>
                    <a:lnTo>
                      <a:pt x="319" y="639"/>
                    </a:lnTo>
                    <a:lnTo>
                      <a:pt x="319" y="632"/>
                    </a:lnTo>
                    <a:lnTo>
                      <a:pt x="319" y="632"/>
                    </a:lnTo>
                    <a:lnTo>
                      <a:pt x="319" y="632"/>
                    </a:lnTo>
                    <a:lnTo>
                      <a:pt x="319" y="632"/>
                    </a:lnTo>
                    <a:lnTo>
                      <a:pt x="312" y="632"/>
                    </a:lnTo>
                    <a:lnTo>
                      <a:pt x="312" y="632"/>
                    </a:lnTo>
                    <a:lnTo>
                      <a:pt x="305" y="632"/>
                    </a:lnTo>
                    <a:lnTo>
                      <a:pt x="305" y="632"/>
                    </a:lnTo>
                    <a:lnTo>
                      <a:pt x="291" y="625"/>
                    </a:lnTo>
                    <a:lnTo>
                      <a:pt x="291" y="625"/>
                    </a:lnTo>
                    <a:lnTo>
                      <a:pt x="291" y="625"/>
                    </a:lnTo>
                    <a:lnTo>
                      <a:pt x="291" y="632"/>
                    </a:lnTo>
                    <a:lnTo>
                      <a:pt x="291" y="632"/>
                    </a:lnTo>
                    <a:lnTo>
                      <a:pt x="291" y="632"/>
                    </a:lnTo>
                    <a:lnTo>
                      <a:pt x="284" y="632"/>
                    </a:lnTo>
                    <a:lnTo>
                      <a:pt x="284" y="632"/>
                    </a:lnTo>
                    <a:lnTo>
                      <a:pt x="284" y="639"/>
                    </a:lnTo>
                    <a:lnTo>
                      <a:pt x="284" y="639"/>
                    </a:lnTo>
                    <a:lnTo>
                      <a:pt x="284" y="639"/>
                    </a:lnTo>
                    <a:lnTo>
                      <a:pt x="284" y="639"/>
                    </a:lnTo>
                    <a:lnTo>
                      <a:pt x="284" y="639"/>
                    </a:lnTo>
                    <a:lnTo>
                      <a:pt x="270" y="618"/>
                    </a:lnTo>
                    <a:lnTo>
                      <a:pt x="270" y="618"/>
                    </a:lnTo>
                    <a:lnTo>
                      <a:pt x="270" y="618"/>
                    </a:lnTo>
                    <a:lnTo>
                      <a:pt x="270" y="618"/>
                    </a:lnTo>
                    <a:lnTo>
                      <a:pt x="262" y="618"/>
                    </a:lnTo>
                    <a:lnTo>
                      <a:pt x="262" y="618"/>
                    </a:lnTo>
                    <a:lnTo>
                      <a:pt x="262" y="618"/>
                    </a:lnTo>
                    <a:lnTo>
                      <a:pt x="262" y="618"/>
                    </a:lnTo>
                    <a:lnTo>
                      <a:pt x="262" y="611"/>
                    </a:lnTo>
                    <a:lnTo>
                      <a:pt x="262" y="611"/>
                    </a:lnTo>
                    <a:lnTo>
                      <a:pt x="262" y="611"/>
                    </a:lnTo>
                    <a:lnTo>
                      <a:pt x="262" y="611"/>
                    </a:lnTo>
                    <a:lnTo>
                      <a:pt x="262" y="611"/>
                    </a:lnTo>
                    <a:lnTo>
                      <a:pt x="255" y="611"/>
                    </a:lnTo>
                    <a:lnTo>
                      <a:pt x="255" y="611"/>
                    </a:lnTo>
                    <a:lnTo>
                      <a:pt x="255" y="604"/>
                    </a:lnTo>
                    <a:lnTo>
                      <a:pt x="248" y="604"/>
                    </a:lnTo>
                    <a:lnTo>
                      <a:pt x="248" y="604"/>
                    </a:lnTo>
                    <a:lnTo>
                      <a:pt x="248" y="604"/>
                    </a:lnTo>
                    <a:lnTo>
                      <a:pt x="248" y="604"/>
                    </a:lnTo>
                    <a:lnTo>
                      <a:pt x="248" y="604"/>
                    </a:lnTo>
                    <a:lnTo>
                      <a:pt x="248" y="604"/>
                    </a:lnTo>
                    <a:lnTo>
                      <a:pt x="248" y="604"/>
                    </a:lnTo>
                    <a:lnTo>
                      <a:pt x="248" y="604"/>
                    </a:lnTo>
                    <a:lnTo>
                      <a:pt x="248" y="611"/>
                    </a:lnTo>
                    <a:lnTo>
                      <a:pt x="248" y="611"/>
                    </a:lnTo>
                    <a:lnTo>
                      <a:pt x="241" y="611"/>
                    </a:lnTo>
                    <a:lnTo>
                      <a:pt x="241" y="611"/>
                    </a:lnTo>
                    <a:lnTo>
                      <a:pt x="241" y="611"/>
                    </a:lnTo>
                    <a:lnTo>
                      <a:pt x="241" y="611"/>
                    </a:lnTo>
                    <a:lnTo>
                      <a:pt x="241" y="611"/>
                    </a:lnTo>
                    <a:lnTo>
                      <a:pt x="241" y="611"/>
                    </a:lnTo>
                    <a:lnTo>
                      <a:pt x="241" y="604"/>
                    </a:lnTo>
                    <a:lnTo>
                      <a:pt x="241" y="604"/>
                    </a:lnTo>
                    <a:lnTo>
                      <a:pt x="234" y="597"/>
                    </a:lnTo>
                    <a:lnTo>
                      <a:pt x="234" y="597"/>
                    </a:lnTo>
                    <a:lnTo>
                      <a:pt x="227" y="597"/>
                    </a:lnTo>
                    <a:lnTo>
                      <a:pt x="227" y="597"/>
                    </a:lnTo>
                    <a:lnTo>
                      <a:pt x="227" y="597"/>
                    </a:lnTo>
                    <a:lnTo>
                      <a:pt x="227" y="604"/>
                    </a:lnTo>
                    <a:lnTo>
                      <a:pt x="220" y="604"/>
                    </a:lnTo>
                    <a:lnTo>
                      <a:pt x="220" y="604"/>
                    </a:lnTo>
                    <a:lnTo>
                      <a:pt x="220" y="611"/>
                    </a:lnTo>
                    <a:lnTo>
                      <a:pt x="213" y="618"/>
                    </a:lnTo>
                    <a:lnTo>
                      <a:pt x="213" y="618"/>
                    </a:lnTo>
                    <a:lnTo>
                      <a:pt x="213" y="618"/>
                    </a:lnTo>
                    <a:lnTo>
                      <a:pt x="213" y="625"/>
                    </a:lnTo>
                    <a:lnTo>
                      <a:pt x="213" y="625"/>
                    </a:lnTo>
                    <a:lnTo>
                      <a:pt x="213" y="625"/>
                    </a:lnTo>
                    <a:lnTo>
                      <a:pt x="213" y="625"/>
                    </a:lnTo>
                    <a:lnTo>
                      <a:pt x="220" y="625"/>
                    </a:lnTo>
                    <a:lnTo>
                      <a:pt x="227" y="632"/>
                    </a:lnTo>
                    <a:lnTo>
                      <a:pt x="234" y="639"/>
                    </a:lnTo>
                    <a:lnTo>
                      <a:pt x="234" y="639"/>
                    </a:lnTo>
                    <a:lnTo>
                      <a:pt x="234" y="639"/>
                    </a:lnTo>
                    <a:lnTo>
                      <a:pt x="234" y="646"/>
                    </a:lnTo>
                    <a:lnTo>
                      <a:pt x="234" y="646"/>
                    </a:lnTo>
                    <a:lnTo>
                      <a:pt x="234" y="646"/>
                    </a:lnTo>
                    <a:lnTo>
                      <a:pt x="241" y="646"/>
                    </a:lnTo>
                    <a:lnTo>
                      <a:pt x="241" y="646"/>
                    </a:lnTo>
                    <a:lnTo>
                      <a:pt x="241" y="646"/>
                    </a:lnTo>
                    <a:lnTo>
                      <a:pt x="248" y="646"/>
                    </a:lnTo>
                    <a:lnTo>
                      <a:pt x="248" y="646"/>
                    </a:lnTo>
                    <a:lnTo>
                      <a:pt x="241" y="654"/>
                    </a:lnTo>
                    <a:lnTo>
                      <a:pt x="241" y="661"/>
                    </a:lnTo>
                    <a:lnTo>
                      <a:pt x="248" y="661"/>
                    </a:lnTo>
                    <a:lnTo>
                      <a:pt x="248" y="661"/>
                    </a:lnTo>
                    <a:lnTo>
                      <a:pt x="248" y="668"/>
                    </a:lnTo>
                    <a:lnTo>
                      <a:pt x="248" y="668"/>
                    </a:lnTo>
                    <a:lnTo>
                      <a:pt x="248" y="675"/>
                    </a:lnTo>
                    <a:lnTo>
                      <a:pt x="248" y="682"/>
                    </a:lnTo>
                    <a:lnTo>
                      <a:pt x="248" y="682"/>
                    </a:lnTo>
                    <a:lnTo>
                      <a:pt x="248" y="689"/>
                    </a:lnTo>
                    <a:lnTo>
                      <a:pt x="248" y="689"/>
                    </a:lnTo>
                    <a:lnTo>
                      <a:pt x="255" y="689"/>
                    </a:lnTo>
                    <a:lnTo>
                      <a:pt x="255" y="689"/>
                    </a:lnTo>
                    <a:lnTo>
                      <a:pt x="255" y="689"/>
                    </a:lnTo>
                    <a:lnTo>
                      <a:pt x="255" y="696"/>
                    </a:lnTo>
                    <a:lnTo>
                      <a:pt x="255" y="696"/>
                    </a:lnTo>
                    <a:lnTo>
                      <a:pt x="255" y="696"/>
                    </a:lnTo>
                    <a:lnTo>
                      <a:pt x="255" y="696"/>
                    </a:lnTo>
                    <a:lnTo>
                      <a:pt x="262" y="696"/>
                    </a:lnTo>
                    <a:lnTo>
                      <a:pt x="262" y="696"/>
                    </a:lnTo>
                    <a:lnTo>
                      <a:pt x="262" y="696"/>
                    </a:lnTo>
                    <a:lnTo>
                      <a:pt x="262" y="703"/>
                    </a:lnTo>
                    <a:lnTo>
                      <a:pt x="270" y="703"/>
                    </a:lnTo>
                    <a:lnTo>
                      <a:pt x="270" y="703"/>
                    </a:lnTo>
                    <a:lnTo>
                      <a:pt x="262" y="703"/>
                    </a:lnTo>
                    <a:lnTo>
                      <a:pt x="262" y="703"/>
                    </a:lnTo>
                    <a:lnTo>
                      <a:pt x="262" y="703"/>
                    </a:lnTo>
                    <a:lnTo>
                      <a:pt x="262" y="710"/>
                    </a:lnTo>
                    <a:lnTo>
                      <a:pt x="262" y="710"/>
                    </a:lnTo>
                    <a:lnTo>
                      <a:pt x="262" y="710"/>
                    </a:lnTo>
                    <a:lnTo>
                      <a:pt x="262" y="710"/>
                    </a:lnTo>
                    <a:lnTo>
                      <a:pt x="270" y="710"/>
                    </a:lnTo>
                    <a:lnTo>
                      <a:pt x="270" y="710"/>
                    </a:lnTo>
                    <a:lnTo>
                      <a:pt x="270" y="717"/>
                    </a:lnTo>
                    <a:lnTo>
                      <a:pt x="262" y="717"/>
                    </a:lnTo>
                    <a:lnTo>
                      <a:pt x="262" y="724"/>
                    </a:lnTo>
                    <a:lnTo>
                      <a:pt x="262" y="724"/>
                    </a:lnTo>
                    <a:lnTo>
                      <a:pt x="262" y="724"/>
                    </a:lnTo>
                    <a:lnTo>
                      <a:pt x="262" y="732"/>
                    </a:lnTo>
                    <a:lnTo>
                      <a:pt x="262" y="732"/>
                    </a:lnTo>
                    <a:lnTo>
                      <a:pt x="270" y="732"/>
                    </a:lnTo>
                    <a:lnTo>
                      <a:pt x="270" y="739"/>
                    </a:lnTo>
                    <a:lnTo>
                      <a:pt x="270" y="739"/>
                    </a:lnTo>
                    <a:lnTo>
                      <a:pt x="270" y="739"/>
                    </a:lnTo>
                    <a:lnTo>
                      <a:pt x="270" y="739"/>
                    </a:lnTo>
                    <a:lnTo>
                      <a:pt x="270" y="746"/>
                    </a:lnTo>
                    <a:lnTo>
                      <a:pt x="270" y="746"/>
                    </a:lnTo>
                    <a:lnTo>
                      <a:pt x="270" y="746"/>
                    </a:lnTo>
                    <a:lnTo>
                      <a:pt x="270" y="746"/>
                    </a:lnTo>
                    <a:lnTo>
                      <a:pt x="270" y="753"/>
                    </a:lnTo>
                    <a:lnTo>
                      <a:pt x="277" y="753"/>
                    </a:lnTo>
                    <a:lnTo>
                      <a:pt x="277" y="760"/>
                    </a:lnTo>
                    <a:lnTo>
                      <a:pt x="277" y="760"/>
                    </a:lnTo>
                    <a:lnTo>
                      <a:pt x="277" y="760"/>
                    </a:lnTo>
                    <a:lnTo>
                      <a:pt x="277" y="760"/>
                    </a:lnTo>
                    <a:lnTo>
                      <a:pt x="277" y="767"/>
                    </a:lnTo>
                    <a:lnTo>
                      <a:pt x="277" y="774"/>
                    </a:lnTo>
                    <a:lnTo>
                      <a:pt x="277" y="774"/>
                    </a:lnTo>
                    <a:lnTo>
                      <a:pt x="277" y="774"/>
                    </a:lnTo>
                    <a:lnTo>
                      <a:pt x="270" y="774"/>
                    </a:lnTo>
                    <a:lnTo>
                      <a:pt x="270" y="774"/>
                    </a:lnTo>
                    <a:lnTo>
                      <a:pt x="270" y="774"/>
                    </a:lnTo>
                    <a:lnTo>
                      <a:pt x="270" y="774"/>
                    </a:lnTo>
                    <a:lnTo>
                      <a:pt x="270" y="774"/>
                    </a:lnTo>
                    <a:lnTo>
                      <a:pt x="270" y="781"/>
                    </a:lnTo>
                    <a:lnTo>
                      <a:pt x="270" y="781"/>
                    </a:lnTo>
                    <a:lnTo>
                      <a:pt x="270" y="781"/>
                    </a:lnTo>
                    <a:lnTo>
                      <a:pt x="270" y="781"/>
                    </a:lnTo>
                    <a:lnTo>
                      <a:pt x="270" y="788"/>
                    </a:lnTo>
                    <a:lnTo>
                      <a:pt x="270" y="795"/>
                    </a:lnTo>
                    <a:lnTo>
                      <a:pt x="270" y="795"/>
                    </a:lnTo>
                    <a:lnTo>
                      <a:pt x="270" y="795"/>
                    </a:lnTo>
                    <a:lnTo>
                      <a:pt x="262" y="795"/>
                    </a:lnTo>
                    <a:lnTo>
                      <a:pt x="262" y="795"/>
                    </a:lnTo>
                    <a:lnTo>
                      <a:pt x="262" y="795"/>
                    </a:lnTo>
                    <a:lnTo>
                      <a:pt x="262" y="795"/>
                    </a:lnTo>
                    <a:lnTo>
                      <a:pt x="262" y="795"/>
                    </a:lnTo>
                    <a:lnTo>
                      <a:pt x="262" y="795"/>
                    </a:lnTo>
                    <a:lnTo>
                      <a:pt x="262" y="795"/>
                    </a:lnTo>
                    <a:lnTo>
                      <a:pt x="262" y="795"/>
                    </a:lnTo>
                    <a:lnTo>
                      <a:pt x="255" y="803"/>
                    </a:lnTo>
                    <a:lnTo>
                      <a:pt x="255" y="803"/>
                    </a:lnTo>
                    <a:lnTo>
                      <a:pt x="255" y="803"/>
                    </a:lnTo>
                    <a:lnTo>
                      <a:pt x="255" y="803"/>
                    </a:lnTo>
                    <a:lnTo>
                      <a:pt x="248" y="803"/>
                    </a:lnTo>
                    <a:lnTo>
                      <a:pt x="248" y="803"/>
                    </a:lnTo>
                    <a:lnTo>
                      <a:pt x="248" y="803"/>
                    </a:lnTo>
                    <a:lnTo>
                      <a:pt x="241" y="810"/>
                    </a:lnTo>
                    <a:lnTo>
                      <a:pt x="241" y="810"/>
                    </a:lnTo>
                    <a:lnTo>
                      <a:pt x="241" y="810"/>
                    </a:lnTo>
                    <a:lnTo>
                      <a:pt x="241" y="810"/>
                    </a:lnTo>
                    <a:lnTo>
                      <a:pt x="241" y="810"/>
                    </a:lnTo>
                    <a:lnTo>
                      <a:pt x="234" y="817"/>
                    </a:lnTo>
                    <a:lnTo>
                      <a:pt x="234" y="817"/>
                    </a:lnTo>
                    <a:lnTo>
                      <a:pt x="234" y="817"/>
                    </a:lnTo>
                    <a:lnTo>
                      <a:pt x="234" y="817"/>
                    </a:lnTo>
                    <a:lnTo>
                      <a:pt x="234" y="817"/>
                    </a:lnTo>
                    <a:lnTo>
                      <a:pt x="234" y="817"/>
                    </a:lnTo>
                    <a:lnTo>
                      <a:pt x="234" y="817"/>
                    </a:lnTo>
                    <a:lnTo>
                      <a:pt x="234" y="817"/>
                    </a:lnTo>
                    <a:lnTo>
                      <a:pt x="234" y="817"/>
                    </a:lnTo>
                    <a:lnTo>
                      <a:pt x="241" y="824"/>
                    </a:lnTo>
                    <a:lnTo>
                      <a:pt x="241" y="824"/>
                    </a:lnTo>
                    <a:lnTo>
                      <a:pt x="241" y="824"/>
                    </a:lnTo>
                    <a:lnTo>
                      <a:pt x="241" y="824"/>
                    </a:lnTo>
                    <a:lnTo>
                      <a:pt x="241" y="824"/>
                    </a:lnTo>
                    <a:lnTo>
                      <a:pt x="241" y="824"/>
                    </a:lnTo>
                    <a:lnTo>
                      <a:pt x="234" y="831"/>
                    </a:lnTo>
                    <a:lnTo>
                      <a:pt x="234" y="831"/>
                    </a:lnTo>
                    <a:lnTo>
                      <a:pt x="234" y="831"/>
                    </a:lnTo>
                    <a:lnTo>
                      <a:pt x="227" y="831"/>
                    </a:lnTo>
                    <a:lnTo>
                      <a:pt x="227" y="838"/>
                    </a:lnTo>
                    <a:lnTo>
                      <a:pt x="220" y="845"/>
                    </a:lnTo>
                    <a:lnTo>
                      <a:pt x="220" y="845"/>
                    </a:lnTo>
                    <a:lnTo>
                      <a:pt x="213" y="852"/>
                    </a:lnTo>
                    <a:lnTo>
                      <a:pt x="213" y="859"/>
                    </a:lnTo>
                    <a:lnTo>
                      <a:pt x="213" y="859"/>
                    </a:lnTo>
                    <a:lnTo>
                      <a:pt x="213" y="859"/>
                    </a:lnTo>
                    <a:lnTo>
                      <a:pt x="206" y="859"/>
                    </a:lnTo>
                    <a:lnTo>
                      <a:pt x="206" y="859"/>
                    </a:lnTo>
                    <a:lnTo>
                      <a:pt x="206" y="859"/>
                    </a:lnTo>
                    <a:lnTo>
                      <a:pt x="206" y="859"/>
                    </a:lnTo>
                    <a:lnTo>
                      <a:pt x="199" y="859"/>
                    </a:lnTo>
                    <a:lnTo>
                      <a:pt x="199" y="866"/>
                    </a:lnTo>
                    <a:lnTo>
                      <a:pt x="199" y="866"/>
                    </a:lnTo>
                    <a:lnTo>
                      <a:pt x="199" y="866"/>
                    </a:lnTo>
                    <a:lnTo>
                      <a:pt x="192" y="874"/>
                    </a:lnTo>
                    <a:lnTo>
                      <a:pt x="192" y="874"/>
                    </a:lnTo>
                    <a:lnTo>
                      <a:pt x="184" y="874"/>
                    </a:lnTo>
                    <a:lnTo>
                      <a:pt x="184" y="874"/>
                    </a:lnTo>
                    <a:lnTo>
                      <a:pt x="184" y="874"/>
                    </a:lnTo>
                    <a:lnTo>
                      <a:pt x="184" y="874"/>
                    </a:lnTo>
                    <a:lnTo>
                      <a:pt x="184" y="874"/>
                    </a:lnTo>
                    <a:lnTo>
                      <a:pt x="184" y="874"/>
                    </a:lnTo>
                    <a:lnTo>
                      <a:pt x="184" y="881"/>
                    </a:lnTo>
                    <a:lnTo>
                      <a:pt x="177" y="881"/>
                    </a:lnTo>
                    <a:lnTo>
                      <a:pt x="177" y="881"/>
                    </a:lnTo>
                    <a:lnTo>
                      <a:pt x="177" y="881"/>
                    </a:lnTo>
                    <a:lnTo>
                      <a:pt x="177" y="881"/>
                    </a:lnTo>
                    <a:lnTo>
                      <a:pt x="177" y="881"/>
                    </a:lnTo>
                    <a:lnTo>
                      <a:pt x="184" y="888"/>
                    </a:lnTo>
                    <a:lnTo>
                      <a:pt x="184" y="888"/>
                    </a:lnTo>
                    <a:lnTo>
                      <a:pt x="184" y="888"/>
                    </a:lnTo>
                    <a:lnTo>
                      <a:pt x="184" y="888"/>
                    </a:lnTo>
                    <a:lnTo>
                      <a:pt x="184" y="895"/>
                    </a:lnTo>
                    <a:lnTo>
                      <a:pt x="177" y="895"/>
                    </a:lnTo>
                    <a:lnTo>
                      <a:pt x="177" y="902"/>
                    </a:lnTo>
                    <a:lnTo>
                      <a:pt x="177" y="902"/>
                    </a:lnTo>
                    <a:lnTo>
                      <a:pt x="177" y="902"/>
                    </a:lnTo>
                    <a:lnTo>
                      <a:pt x="177" y="902"/>
                    </a:lnTo>
                    <a:lnTo>
                      <a:pt x="177" y="902"/>
                    </a:lnTo>
                    <a:lnTo>
                      <a:pt x="177" y="902"/>
                    </a:lnTo>
                    <a:lnTo>
                      <a:pt x="177" y="909"/>
                    </a:lnTo>
                    <a:lnTo>
                      <a:pt x="177" y="909"/>
                    </a:lnTo>
                    <a:lnTo>
                      <a:pt x="177" y="909"/>
                    </a:lnTo>
                    <a:lnTo>
                      <a:pt x="177" y="916"/>
                    </a:lnTo>
                    <a:lnTo>
                      <a:pt x="177" y="916"/>
                    </a:lnTo>
                    <a:lnTo>
                      <a:pt x="177" y="916"/>
                    </a:lnTo>
                    <a:lnTo>
                      <a:pt x="177" y="916"/>
                    </a:lnTo>
                    <a:lnTo>
                      <a:pt x="177" y="923"/>
                    </a:lnTo>
                    <a:lnTo>
                      <a:pt x="170" y="923"/>
                    </a:lnTo>
                    <a:lnTo>
                      <a:pt x="170" y="923"/>
                    </a:lnTo>
                    <a:lnTo>
                      <a:pt x="170" y="923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63" y="930"/>
                    </a:lnTo>
                    <a:lnTo>
                      <a:pt x="163" y="930"/>
                    </a:lnTo>
                    <a:lnTo>
                      <a:pt x="163" y="930"/>
                    </a:lnTo>
                    <a:lnTo>
                      <a:pt x="163" y="930"/>
                    </a:lnTo>
                    <a:lnTo>
                      <a:pt x="163" y="930"/>
                    </a:lnTo>
                    <a:lnTo>
                      <a:pt x="163" y="937"/>
                    </a:lnTo>
                    <a:lnTo>
                      <a:pt x="163" y="937"/>
                    </a:lnTo>
                    <a:lnTo>
                      <a:pt x="163" y="937"/>
                    </a:lnTo>
                    <a:lnTo>
                      <a:pt x="156" y="937"/>
                    </a:lnTo>
                    <a:lnTo>
                      <a:pt x="149" y="945"/>
                    </a:lnTo>
                    <a:lnTo>
                      <a:pt x="142" y="945"/>
                    </a:lnTo>
                    <a:lnTo>
                      <a:pt x="142" y="937"/>
                    </a:lnTo>
                    <a:lnTo>
                      <a:pt x="142" y="937"/>
                    </a:lnTo>
                    <a:lnTo>
                      <a:pt x="135" y="937"/>
                    </a:lnTo>
                    <a:lnTo>
                      <a:pt x="135" y="937"/>
                    </a:lnTo>
                    <a:lnTo>
                      <a:pt x="135" y="937"/>
                    </a:lnTo>
                    <a:lnTo>
                      <a:pt x="128" y="937"/>
                    </a:lnTo>
                    <a:lnTo>
                      <a:pt x="128" y="937"/>
                    </a:lnTo>
                    <a:lnTo>
                      <a:pt x="128" y="937"/>
                    </a:lnTo>
                    <a:lnTo>
                      <a:pt x="121" y="945"/>
                    </a:lnTo>
                    <a:lnTo>
                      <a:pt x="121" y="945"/>
                    </a:lnTo>
                    <a:lnTo>
                      <a:pt x="113" y="945"/>
                    </a:lnTo>
                    <a:lnTo>
                      <a:pt x="113" y="945"/>
                    </a:lnTo>
                    <a:lnTo>
                      <a:pt x="113" y="945"/>
                    </a:lnTo>
                    <a:lnTo>
                      <a:pt x="106" y="945"/>
                    </a:lnTo>
                    <a:lnTo>
                      <a:pt x="106" y="937"/>
                    </a:lnTo>
                    <a:lnTo>
                      <a:pt x="106" y="916"/>
                    </a:lnTo>
                    <a:lnTo>
                      <a:pt x="106" y="916"/>
                    </a:lnTo>
                    <a:lnTo>
                      <a:pt x="99" y="909"/>
                    </a:lnTo>
                    <a:lnTo>
                      <a:pt x="99" y="909"/>
                    </a:lnTo>
                    <a:lnTo>
                      <a:pt x="99" y="902"/>
                    </a:lnTo>
                    <a:lnTo>
                      <a:pt x="99" y="902"/>
                    </a:lnTo>
                    <a:lnTo>
                      <a:pt x="99" y="902"/>
                    </a:lnTo>
                    <a:lnTo>
                      <a:pt x="99" y="895"/>
                    </a:lnTo>
                    <a:lnTo>
                      <a:pt x="99" y="895"/>
                    </a:lnTo>
                    <a:lnTo>
                      <a:pt x="99" y="895"/>
                    </a:lnTo>
                    <a:lnTo>
                      <a:pt x="99" y="895"/>
                    </a:lnTo>
                    <a:lnTo>
                      <a:pt x="99" y="888"/>
                    </a:lnTo>
                    <a:lnTo>
                      <a:pt x="99" y="888"/>
                    </a:lnTo>
                    <a:lnTo>
                      <a:pt x="99" y="888"/>
                    </a:lnTo>
                    <a:lnTo>
                      <a:pt x="99" y="888"/>
                    </a:lnTo>
                    <a:lnTo>
                      <a:pt x="92" y="895"/>
                    </a:lnTo>
                    <a:lnTo>
                      <a:pt x="92" y="895"/>
                    </a:lnTo>
                    <a:lnTo>
                      <a:pt x="92" y="895"/>
                    </a:lnTo>
                    <a:lnTo>
                      <a:pt x="85" y="895"/>
                    </a:lnTo>
                    <a:lnTo>
                      <a:pt x="85" y="888"/>
                    </a:lnTo>
                    <a:lnTo>
                      <a:pt x="85" y="888"/>
                    </a:lnTo>
                    <a:lnTo>
                      <a:pt x="85" y="888"/>
                    </a:lnTo>
                    <a:lnTo>
                      <a:pt x="85" y="881"/>
                    </a:lnTo>
                    <a:lnTo>
                      <a:pt x="85" y="881"/>
                    </a:lnTo>
                    <a:lnTo>
                      <a:pt x="85" y="881"/>
                    </a:lnTo>
                    <a:lnTo>
                      <a:pt x="85" y="881"/>
                    </a:lnTo>
                    <a:lnTo>
                      <a:pt x="85" y="881"/>
                    </a:lnTo>
                    <a:lnTo>
                      <a:pt x="78" y="881"/>
                    </a:lnTo>
                    <a:lnTo>
                      <a:pt x="78" y="881"/>
                    </a:lnTo>
                    <a:lnTo>
                      <a:pt x="78" y="888"/>
                    </a:lnTo>
                    <a:lnTo>
                      <a:pt x="78" y="888"/>
                    </a:lnTo>
                    <a:lnTo>
                      <a:pt x="78" y="888"/>
                    </a:lnTo>
                    <a:lnTo>
                      <a:pt x="78" y="888"/>
                    </a:lnTo>
                    <a:lnTo>
                      <a:pt x="78" y="888"/>
                    </a:lnTo>
                    <a:lnTo>
                      <a:pt x="78" y="888"/>
                    </a:lnTo>
                    <a:lnTo>
                      <a:pt x="71" y="888"/>
                    </a:lnTo>
                    <a:lnTo>
                      <a:pt x="71" y="888"/>
                    </a:lnTo>
                    <a:lnTo>
                      <a:pt x="71" y="888"/>
                    </a:lnTo>
                    <a:lnTo>
                      <a:pt x="71" y="888"/>
                    </a:lnTo>
                    <a:lnTo>
                      <a:pt x="71" y="881"/>
                    </a:lnTo>
                    <a:lnTo>
                      <a:pt x="71" y="881"/>
                    </a:lnTo>
                    <a:lnTo>
                      <a:pt x="71" y="881"/>
                    </a:lnTo>
                    <a:lnTo>
                      <a:pt x="71" y="881"/>
                    </a:lnTo>
                    <a:lnTo>
                      <a:pt x="71" y="881"/>
                    </a:lnTo>
                    <a:lnTo>
                      <a:pt x="78" y="881"/>
                    </a:lnTo>
                    <a:lnTo>
                      <a:pt x="78" y="881"/>
                    </a:lnTo>
                    <a:lnTo>
                      <a:pt x="78" y="874"/>
                    </a:lnTo>
                    <a:lnTo>
                      <a:pt x="78" y="874"/>
                    </a:lnTo>
                    <a:lnTo>
                      <a:pt x="71" y="866"/>
                    </a:lnTo>
                    <a:lnTo>
                      <a:pt x="64" y="859"/>
                    </a:lnTo>
                    <a:lnTo>
                      <a:pt x="64" y="859"/>
                    </a:lnTo>
                    <a:lnTo>
                      <a:pt x="64" y="852"/>
                    </a:lnTo>
                    <a:lnTo>
                      <a:pt x="64" y="852"/>
                    </a:lnTo>
                    <a:lnTo>
                      <a:pt x="64" y="852"/>
                    </a:lnTo>
                    <a:lnTo>
                      <a:pt x="57" y="845"/>
                    </a:lnTo>
                    <a:lnTo>
                      <a:pt x="57" y="845"/>
                    </a:lnTo>
                    <a:lnTo>
                      <a:pt x="57" y="838"/>
                    </a:lnTo>
                    <a:lnTo>
                      <a:pt x="50" y="831"/>
                    </a:lnTo>
                    <a:lnTo>
                      <a:pt x="42" y="831"/>
                    </a:lnTo>
                    <a:lnTo>
                      <a:pt x="42" y="831"/>
                    </a:lnTo>
                    <a:lnTo>
                      <a:pt x="42" y="831"/>
                    </a:lnTo>
                    <a:lnTo>
                      <a:pt x="35" y="824"/>
                    </a:lnTo>
                    <a:lnTo>
                      <a:pt x="35" y="824"/>
                    </a:lnTo>
                    <a:lnTo>
                      <a:pt x="35" y="824"/>
                    </a:lnTo>
                    <a:lnTo>
                      <a:pt x="28" y="824"/>
                    </a:lnTo>
                    <a:lnTo>
                      <a:pt x="21" y="824"/>
                    </a:lnTo>
                    <a:lnTo>
                      <a:pt x="21" y="824"/>
                    </a:lnTo>
                    <a:lnTo>
                      <a:pt x="21" y="824"/>
                    </a:lnTo>
                    <a:lnTo>
                      <a:pt x="21" y="824"/>
                    </a:lnTo>
                    <a:lnTo>
                      <a:pt x="21" y="824"/>
                    </a:lnTo>
                    <a:lnTo>
                      <a:pt x="14" y="824"/>
                    </a:lnTo>
                    <a:lnTo>
                      <a:pt x="14" y="824"/>
                    </a:lnTo>
                    <a:lnTo>
                      <a:pt x="14" y="824"/>
                    </a:lnTo>
                    <a:lnTo>
                      <a:pt x="14" y="824"/>
                    </a:lnTo>
                    <a:lnTo>
                      <a:pt x="14" y="824"/>
                    </a:lnTo>
                    <a:lnTo>
                      <a:pt x="14" y="824"/>
                    </a:lnTo>
                    <a:lnTo>
                      <a:pt x="14" y="824"/>
                    </a:lnTo>
                    <a:lnTo>
                      <a:pt x="7" y="817"/>
                    </a:lnTo>
                    <a:lnTo>
                      <a:pt x="7" y="817"/>
                    </a:lnTo>
                    <a:lnTo>
                      <a:pt x="7" y="817"/>
                    </a:lnTo>
                    <a:lnTo>
                      <a:pt x="7" y="817"/>
                    </a:lnTo>
                    <a:lnTo>
                      <a:pt x="7" y="810"/>
                    </a:lnTo>
                    <a:lnTo>
                      <a:pt x="7" y="810"/>
                    </a:lnTo>
                    <a:lnTo>
                      <a:pt x="7" y="810"/>
                    </a:lnTo>
                    <a:lnTo>
                      <a:pt x="7" y="810"/>
                    </a:lnTo>
                    <a:lnTo>
                      <a:pt x="0" y="810"/>
                    </a:lnTo>
                    <a:lnTo>
                      <a:pt x="0" y="810"/>
                    </a:lnTo>
                    <a:lnTo>
                      <a:pt x="0" y="803"/>
                    </a:lnTo>
                    <a:lnTo>
                      <a:pt x="0" y="803"/>
                    </a:lnTo>
                    <a:lnTo>
                      <a:pt x="0" y="803"/>
                    </a:lnTo>
                    <a:lnTo>
                      <a:pt x="0" y="803"/>
                    </a:lnTo>
                    <a:lnTo>
                      <a:pt x="0" y="795"/>
                    </a:lnTo>
                    <a:lnTo>
                      <a:pt x="14" y="795"/>
                    </a:lnTo>
                    <a:lnTo>
                      <a:pt x="14" y="788"/>
                    </a:lnTo>
                    <a:lnTo>
                      <a:pt x="14" y="788"/>
                    </a:lnTo>
                    <a:lnTo>
                      <a:pt x="0" y="774"/>
                    </a:lnTo>
                    <a:lnTo>
                      <a:pt x="0" y="774"/>
                    </a:lnTo>
                    <a:lnTo>
                      <a:pt x="0" y="767"/>
                    </a:lnTo>
                    <a:lnTo>
                      <a:pt x="0" y="760"/>
                    </a:lnTo>
                    <a:lnTo>
                      <a:pt x="14" y="753"/>
                    </a:lnTo>
                    <a:lnTo>
                      <a:pt x="14" y="746"/>
                    </a:lnTo>
                    <a:lnTo>
                      <a:pt x="14" y="746"/>
                    </a:lnTo>
                    <a:lnTo>
                      <a:pt x="14" y="746"/>
                    </a:lnTo>
                    <a:lnTo>
                      <a:pt x="14" y="732"/>
                    </a:lnTo>
                    <a:lnTo>
                      <a:pt x="21" y="724"/>
                    </a:lnTo>
                    <a:lnTo>
                      <a:pt x="21" y="724"/>
                    </a:lnTo>
                    <a:lnTo>
                      <a:pt x="21" y="724"/>
                    </a:lnTo>
                    <a:lnTo>
                      <a:pt x="21" y="724"/>
                    </a:lnTo>
                    <a:lnTo>
                      <a:pt x="28" y="724"/>
                    </a:lnTo>
                    <a:lnTo>
                      <a:pt x="28" y="717"/>
                    </a:lnTo>
                    <a:lnTo>
                      <a:pt x="28" y="717"/>
                    </a:lnTo>
                    <a:lnTo>
                      <a:pt x="28" y="717"/>
                    </a:lnTo>
                    <a:lnTo>
                      <a:pt x="35" y="717"/>
                    </a:lnTo>
                    <a:lnTo>
                      <a:pt x="35" y="710"/>
                    </a:lnTo>
                    <a:lnTo>
                      <a:pt x="35" y="710"/>
                    </a:lnTo>
                    <a:lnTo>
                      <a:pt x="35" y="710"/>
                    </a:lnTo>
                    <a:lnTo>
                      <a:pt x="35" y="710"/>
                    </a:lnTo>
                    <a:lnTo>
                      <a:pt x="42" y="703"/>
                    </a:lnTo>
                    <a:lnTo>
                      <a:pt x="42" y="710"/>
                    </a:lnTo>
                    <a:lnTo>
                      <a:pt x="42" y="717"/>
                    </a:lnTo>
                    <a:lnTo>
                      <a:pt x="50" y="717"/>
                    </a:lnTo>
                    <a:lnTo>
                      <a:pt x="50" y="717"/>
                    </a:lnTo>
                    <a:lnTo>
                      <a:pt x="50" y="717"/>
                    </a:lnTo>
                    <a:lnTo>
                      <a:pt x="57" y="717"/>
                    </a:lnTo>
                    <a:lnTo>
                      <a:pt x="57" y="717"/>
                    </a:lnTo>
                    <a:lnTo>
                      <a:pt x="64" y="724"/>
                    </a:lnTo>
                    <a:lnTo>
                      <a:pt x="64" y="724"/>
                    </a:lnTo>
                    <a:lnTo>
                      <a:pt x="64" y="724"/>
                    </a:lnTo>
                    <a:lnTo>
                      <a:pt x="64" y="724"/>
                    </a:lnTo>
                    <a:lnTo>
                      <a:pt x="64" y="724"/>
                    </a:lnTo>
                    <a:lnTo>
                      <a:pt x="64" y="724"/>
                    </a:lnTo>
                    <a:lnTo>
                      <a:pt x="71" y="717"/>
                    </a:lnTo>
                    <a:lnTo>
                      <a:pt x="71" y="717"/>
                    </a:lnTo>
                    <a:lnTo>
                      <a:pt x="78" y="717"/>
                    </a:lnTo>
                    <a:lnTo>
                      <a:pt x="78" y="717"/>
                    </a:lnTo>
                    <a:lnTo>
                      <a:pt x="78" y="710"/>
                    </a:lnTo>
                    <a:lnTo>
                      <a:pt x="78" y="710"/>
                    </a:lnTo>
                    <a:lnTo>
                      <a:pt x="71" y="710"/>
                    </a:lnTo>
                    <a:lnTo>
                      <a:pt x="71" y="703"/>
                    </a:lnTo>
                    <a:lnTo>
                      <a:pt x="71" y="703"/>
                    </a:lnTo>
                    <a:lnTo>
                      <a:pt x="78" y="703"/>
                    </a:lnTo>
                    <a:lnTo>
                      <a:pt x="78" y="703"/>
                    </a:lnTo>
                    <a:lnTo>
                      <a:pt x="78" y="703"/>
                    </a:lnTo>
                    <a:lnTo>
                      <a:pt x="85" y="703"/>
                    </a:lnTo>
                    <a:lnTo>
                      <a:pt x="85" y="703"/>
                    </a:lnTo>
                    <a:lnTo>
                      <a:pt x="85" y="696"/>
                    </a:lnTo>
                    <a:lnTo>
                      <a:pt x="85" y="696"/>
                    </a:lnTo>
                    <a:lnTo>
                      <a:pt x="85" y="696"/>
                    </a:lnTo>
                    <a:lnTo>
                      <a:pt x="85" y="689"/>
                    </a:lnTo>
                    <a:lnTo>
                      <a:pt x="85" y="689"/>
                    </a:lnTo>
                    <a:lnTo>
                      <a:pt x="78" y="689"/>
                    </a:lnTo>
                    <a:lnTo>
                      <a:pt x="78" y="682"/>
                    </a:lnTo>
                    <a:lnTo>
                      <a:pt x="78" y="682"/>
                    </a:lnTo>
                    <a:lnTo>
                      <a:pt x="78" y="682"/>
                    </a:lnTo>
                    <a:lnTo>
                      <a:pt x="78" y="682"/>
                    </a:lnTo>
                    <a:lnTo>
                      <a:pt x="71" y="682"/>
                    </a:lnTo>
                    <a:lnTo>
                      <a:pt x="71" y="682"/>
                    </a:lnTo>
                    <a:lnTo>
                      <a:pt x="64" y="675"/>
                    </a:lnTo>
                    <a:lnTo>
                      <a:pt x="57" y="675"/>
                    </a:lnTo>
                    <a:lnTo>
                      <a:pt x="57" y="675"/>
                    </a:lnTo>
                    <a:lnTo>
                      <a:pt x="57" y="675"/>
                    </a:lnTo>
                    <a:lnTo>
                      <a:pt x="57" y="675"/>
                    </a:lnTo>
                    <a:lnTo>
                      <a:pt x="57" y="661"/>
                    </a:lnTo>
                    <a:lnTo>
                      <a:pt x="50" y="661"/>
                    </a:lnTo>
                    <a:lnTo>
                      <a:pt x="50" y="661"/>
                    </a:lnTo>
                    <a:lnTo>
                      <a:pt x="50" y="661"/>
                    </a:lnTo>
                    <a:lnTo>
                      <a:pt x="50" y="661"/>
                    </a:lnTo>
                    <a:lnTo>
                      <a:pt x="42" y="661"/>
                    </a:lnTo>
                    <a:lnTo>
                      <a:pt x="42" y="661"/>
                    </a:lnTo>
                    <a:lnTo>
                      <a:pt x="42" y="654"/>
                    </a:lnTo>
                    <a:lnTo>
                      <a:pt x="35" y="654"/>
                    </a:lnTo>
                    <a:lnTo>
                      <a:pt x="35" y="654"/>
                    </a:lnTo>
                    <a:lnTo>
                      <a:pt x="35" y="646"/>
                    </a:lnTo>
                    <a:lnTo>
                      <a:pt x="35" y="646"/>
                    </a:lnTo>
                    <a:lnTo>
                      <a:pt x="35" y="646"/>
                    </a:lnTo>
                    <a:lnTo>
                      <a:pt x="35" y="646"/>
                    </a:lnTo>
                    <a:lnTo>
                      <a:pt x="28" y="646"/>
                    </a:lnTo>
                    <a:lnTo>
                      <a:pt x="28" y="646"/>
                    </a:lnTo>
                    <a:lnTo>
                      <a:pt x="28" y="646"/>
                    </a:lnTo>
                    <a:lnTo>
                      <a:pt x="28" y="646"/>
                    </a:lnTo>
                    <a:lnTo>
                      <a:pt x="28" y="646"/>
                    </a:lnTo>
                    <a:lnTo>
                      <a:pt x="28" y="646"/>
                    </a:lnTo>
                    <a:lnTo>
                      <a:pt x="28" y="646"/>
                    </a:lnTo>
                    <a:lnTo>
                      <a:pt x="28" y="646"/>
                    </a:lnTo>
                    <a:lnTo>
                      <a:pt x="28" y="646"/>
                    </a:lnTo>
                    <a:lnTo>
                      <a:pt x="28" y="654"/>
                    </a:lnTo>
                    <a:lnTo>
                      <a:pt x="28" y="654"/>
                    </a:lnTo>
                    <a:lnTo>
                      <a:pt x="28" y="654"/>
                    </a:lnTo>
                    <a:lnTo>
                      <a:pt x="28" y="654"/>
                    </a:lnTo>
                    <a:lnTo>
                      <a:pt x="28" y="654"/>
                    </a:lnTo>
                    <a:lnTo>
                      <a:pt x="21" y="654"/>
                    </a:lnTo>
                    <a:lnTo>
                      <a:pt x="21" y="654"/>
                    </a:lnTo>
                    <a:lnTo>
                      <a:pt x="21" y="646"/>
                    </a:lnTo>
                    <a:lnTo>
                      <a:pt x="14" y="646"/>
                    </a:lnTo>
                    <a:lnTo>
                      <a:pt x="14" y="646"/>
                    </a:lnTo>
                    <a:lnTo>
                      <a:pt x="14" y="646"/>
                    </a:lnTo>
                    <a:lnTo>
                      <a:pt x="14" y="646"/>
                    </a:lnTo>
                    <a:lnTo>
                      <a:pt x="21" y="646"/>
                    </a:lnTo>
                    <a:lnTo>
                      <a:pt x="21" y="646"/>
                    </a:lnTo>
                    <a:lnTo>
                      <a:pt x="21" y="639"/>
                    </a:lnTo>
                    <a:lnTo>
                      <a:pt x="28" y="639"/>
                    </a:lnTo>
                    <a:lnTo>
                      <a:pt x="28" y="639"/>
                    </a:lnTo>
                    <a:lnTo>
                      <a:pt x="28" y="639"/>
                    </a:lnTo>
                    <a:lnTo>
                      <a:pt x="28" y="639"/>
                    </a:lnTo>
                    <a:lnTo>
                      <a:pt x="28" y="639"/>
                    </a:lnTo>
                    <a:lnTo>
                      <a:pt x="28" y="639"/>
                    </a:lnTo>
                    <a:lnTo>
                      <a:pt x="28" y="632"/>
                    </a:lnTo>
                    <a:lnTo>
                      <a:pt x="28" y="632"/>
                    </a:lnTo>
                    <a:lnTo>
                      <a:pt x="21" y="632"/>
                    </a:lnTo>
                    <a:lnTo>
                      <a:pt x="21" y="632"/>
                    </a:lnTo>
                    <a:lnTo>
                      <a:pt x="21" y="632"/>
                    </a:lnTo>
                    <a:lnTo>
                      <a:pt x="21" y="632"/>
                    </a:lnTo>
                    <a:lnTo>
                      <a:pt x="21" y="632"/>
                    </a:lnTo>
                    <a:lnTo>
                      <a:pt x="21" y="632"/>
                    </a:lnTo>
                    <a:lnTo>
                      <a:pt x="21" y="632"/>
                    </a:lnTo>
                    <a:lnTo>
                      <a:pt x="21" y="625"/>
                    </a:lnTo>
                    <a:lnTo>
                      <a:pt x="21" y="625"/>
                    </a:lnTo>
                    <a:lnTo>
                      <a:pt x="21" y="625"/>
                    </a:lnTo>
                    <a:lnTo>
                      <a:pt x="21" y="625"/>
                    </a:lnTo>
                    <a:lnTo>
                      <a:pt x="28" y="625"/>
                    </a:lnTo>
                    <a:lnTo>
                      <a:pt x="28" y="625"/>
                    </a:lnTo>
                    <a:lnTo>
                      <a:pt x="28" y="625"/>
                    </a:lnTo>
                    <a:lnTo>
                      <a:pt x="35" y="625"/>
                    </a:lnTo>
                    <a:lnTo>
                      <a:pt x="35" y="625"/>
                    </a:lnTo>
                    <a:lnTo>
                      <a:pt x="35" y="625"/>
                    </a:lnTo>
                    <a:lnTo>
                      <a:pt x="35" y="625"/>
                    </a:lnTo>
                    <a:lnTo>
                      <a:pt x="35" y="618"/>
                    </a:lnTo>
                    <a:lnTo>
                      <a:pt x="35" y="611"/>
                    </a:lnTo>
                    <a:lnTo>
                      <a:pt x="35" y="611"/>
                    </a:lnTo>
                    <a:lnTo>
                      <a:pt x="35" y="611"/>
                    </a:lnTo>
                    <a:lnTo>
                      <a:pt x="35" y="611"/>
                    </a:lnTo>
                    <a:lnTo>
                      <a:pt x="35" y="604"/>
                    </a:lnTo>
                    <a:lnTo>
                      <a:pt x="28" y="597"/>
                    </a:lnTo>
                    <a:lnTo>
                      <a:pt x="28" y="597"/>
                    </a:lnTo>
                    <a:lnTo>
                      <a:pt x="28" y="597"/>
                    </a:lnTo>
                    <a:lnTo>
                      <a:pt x="28" y="597"/>
                    </a:lnTo>
                    <a:lnTo>
                      <a:pt x="14" y="597"/>
                    </a:lnTo>
                    <a:lnTo>
                      <a:pt x="14" y="597"/>
                    </a:lnTo>
                    <a:lnTo>
                      <a:pt x="14" y="597"/>
                    </a:lnTo>
                    <a:lnTo>
                      <a:pt x="14" y="590"/>
                    </a:lnTo>
                    <a:lnTo>
                      <a:pt x="14" y="590"/>
                    </a:lnTo>
                    <a:lnTo>
                      <a:pt x="14" y="583"/>
                    </a:lnTo>
                    <a:lnTo>
                      <a:pt x="14" y="583"/>
                    </a:lnTo>
                    <a:lnTo>
                      <a:pt x="14" y="583"/>
                    </a:lnTo>
                    <a:lnTo>
                      <a:pt x="14" y="583"/>
                    </a:lnTo>
                    <a:lnTo>
                      <a:pt x="21" y="583"/>
                    </a:lnTo>
                    <a:lnTo>
                      <a:pt x="21" y="575"/>
                    </a:lnTo>
                    <a:lnTo>
                      <a:pt x="28" y="575"/>
                    </a:lnTo>
                    <a:lnTo>
                      <a:pt x="28" y="575"/>
                    </a:lnTo>
                    <a:lnTo>
                      <a:pt x="28" y="575"/>
                    </a:lnTo>
                    <a:lnTo>
                      <a:pt x="35" y="575"/>
                    </a:lnTo>
                    <a:lnTo>
                      <a:pt x="35" y="568"/>
                    </a:lnTo>
                    <a:lnTo>
                      <a:pt x="35" y="568"/>
                    </a:lnTo>
                    <a:lnTo>
                      <a:pt x="42" y="568"/>
                    </a:lnTo>
                    <a:lnTo>
                      <a:pt x="42" y="568"/>
                    </a:lnTo>
                    <a:lnTo>
                      <a:pt x="42" y="568"/>
                    </a:lnTo>
                    <a:lnTo>
                      <a:pt x="42" y="568"/>
                    </a:lnTo>
                    <a:lnTo>
                      <a:pt x="42" y="568"/>
                    </a:lnTo>
                    <a:lnTo>
                      <a:pt x="42" y="561"/>
                    </a:lnTo>
                    <a:lnTo>
                      <a:pt x="42" y="561"/>
                    </a:lnTo>
                    <a:lnTo>
                      <a:pt x="42" y="561"/>
                    </a:lnTo>
                    <a:lnTo>
                      <a:pt x="42" y="554"/>
                    </a:lnTo>
                    <a:lnTo>
                      <a:pt x="42" y="547"/>
                    </a:lnTo>
                    <a:lnTo>
                      <a:pt x="42" y="547"/>
                    </a:lnTo>
                    <a:lnTo>
                      <a:pt x="42" y="547"/>
                    </a:lnTo>
                    <a:lnTo>
                      <a:pt x="42" y="540"/>
                    </a:lnTo>
                    <a:lnTo>
                      <a:pt x="42" y="540"/>
                    </a:lnTo>
                    <a:lnTo>
                      <a:pt x="42" y="540"/>
                    </a:lnTo>
                    <a:lnTo>
                      <a:pt x="42" y="540"/>
                    </a:lnTo>
                    <a:lnTo>
                      <a:pt x="42" y="540"/>
                    </a:lnTo>
                    <a:lnTo>
                      <a:pt x="42" y="533"/>
                    </a:lnTo>
                    <a:lnTo>
                      <a:pt x="42" y="533"/>
                    </a:lnTo>
                    <a:lnTo>
                      <a:pt x="42" y="526"/>
                    </a:lnTo>
                    <a:lnTo>
                      <a:pt x="42" y="526"/>
                    </a:lnTo>
                    <a:lnTo>
                      <a:pt x="42" y="526"/>
                    </a:lnTo>
                    <a:lnTo>
                      <a:pt x="42" y="526"/>
                    </a:lnTo>
                    <a:lnTo>
                      <a:pt x="42" y="526"/>
                    </a:lnTo>
                    <a:lnTo>
                      <a:pt x="42" y="526"/>
                    </a:lnTo>
                    <a:lnTo>
                      <a:pt x="35" y="526"/>
                    </a:lnTo>
                    <a:lnTo>
                      <a:pt x="35" y="526"/>
                    </a:lnTo>
                    <a:lnTo>
                      <a:pt x="35" y="526"/>
                    </a:lnTo>
                    <a:lnTo>
                      <a:pt x="35" y="526"/>
                    </a:lnTo>
                    <a:lnTo>
                      <a:pt x="28" y="526"/>
                    </a:lnTo>
                    <a:lnTo>
                      <a:pt x="28" y="526"/>
                    </a:lnTo>
                    <a:lnTo>
                      <a:pt x="28" y="526"/>
                    </a:lnTo>
                    <a:lnTo>
                      <a:pt x="28" y="533"/>
                    </a:lnTo>
                    <a:lnTo>
                      <a:pt x="28" y="526"/>
                    </a:lnTo>
                    <a:lnTo>
                      <a:pt x="28" y="526"/>
                    </a:lnTo>
                    <a:lnTo>
                      <a:pt x="21" y="526"/>
                    </a:lnTo>
                    <a:lnTo>
                      <a:pt x="21" y="526"/>
                    </a:lnTo>
                    <a:lnTo>
                      <a:pt x="21" y="526"/>
                    </a:lnTo>
                    <a:lnTo>
                      <a:pt x="21" y="526"/>
                    </a:lnTo>
                    <a:lnTo>
                      <a:pt x="28" y="526"/>
                    </a:lnTo>
                    <a:lnTo>
                      <a:pt x="28" y="519"/>
                    </a:lnTo>
                    <a:lnTo>
                      <a:pt x="28" y="519"/>
                    </a:lnTo>
                    <a:lnTo>
                      <a:pt x="35" y="519"/>
                    </a:lnTo>
                    <a:lnTo>
                      <a:pt x="35" y="519"/>
                    </a:lnTo>
                    <a:lnTo>
                      <a:pt x="35" y="519"/>
                    </a:lnTo>
                    <a:lnTo>
                      <a:pt x="35" y="512"/>
                    </a:lnTo>
                    <a:lnTo>
                      <a:pt x="35" y="497"/>
                    </a:lnTo>
                    <a:lnTo>
                      <a:pt x="28" y="483"/>
                    </a:lnTo>
                    <a:lnTo>
                      <a:pt x="28" y="483"/>
                    </a:lnTo>
                    <a:lnTo>
                      <a:pt x="28" y="483"/>
                    </a:lnTo>
                    <a:lnTo>
                      <a:pt x="28" y="483"/>
                    </a:lnTo>
                    <a:lnTo>
                      <a:pt x="28" y="476"/>
                    </a:lnTo>
                    <a:lnTo>
                      <a:pt x="28" y="476"/>
                    </a:lnTo>
                    <a:lnTo>
                      <a:pt x="28" y="476"/>
                    </a:lnTo>
                    <a:lnTo>
                      <a:pt x="28" y="476"/>
                    </a:lnTo>
                    <a:lnTo>
                      <a:pt x="28" y="476"/>
                    </a:lnTo>
                    <a:lnTo>
                      <a:pt x="21" y="476"/>
                    </a:lnTo>
                    <a:lnTo>
                      <a:pt x="21" y="476"/>
                    </a:lnTo>
                    <a:lnTo>
                      <a:pt x="21" y="476"/>
                    </a:lnTo>
                    <a:lnTo>
                      <a:pt x="21" y="476"/>
                    </a:lnTo>
                    <a:lnTo>
                      <a:pt x="21" y="476"/>
                    </a:lnTo>
                    <a:lnTo>
                      <a:pt x="21" y="476"/>
                    </a:lnTo>
                    <a:lnTo>
                      <a:pt x="14" y="476"/>
                    </a:lnTo>
                    <a:lnTo>
                      <a:pt x="14" y="476"/>
                    </a:lnTo>
                    <a:lnTo>
                      <a:pt x="14" y="469"/>
                    </a:lnTo>
                    <a:lnTo>
                      <a:pt x="14" y="469"/>
                    </a:lnTo>
                    <a:lnTo>
                      <a:pt x="14" y="469"/>
                    </a:lnTo>
                    <a:lnTo>
                      <a:pt x="14" y="462"/>
                    </a:lnTo>
                    <a:lnTo>
                      <a:pt x="14" y="462"/>
                    </a:lnTo>
                    <a:lnTo>
                      <a:pt x="14" y="448"/>
                    </a:lnTo>
                    <a:lnTo>
                      <a:pt x="14" y="448"/>
                    </a:lnTo>
                    <a:lnTo>
                      <a:pt x="14" y="448"/>
                    </a:lnTo>
                    <a:lnTo>
                      <a:pt x="21" y="448"/>
                    </a:lnTo>
                    <a:lnTo>
                      <a:pt x="21" y="441"/>
                    </a:lnTo>
                    <a:lnTo>
                      <a:pt x="28" y="441"/>
                    </a:lnTo>
                    <a:lnTo>
                      <a:pt x="42" y="433"/>
                    </a:lnTo>
                    <a:lnTo>
                      <a:pt x="42" y="433"/>
                    </a:lnTo>
                    <a:lnTo>
                      <a:pt x="42" y="426"/>
                    </a:lnTo>
                    <a:lnTo>
                      <a:pt x="50" y="426"/>
                    </a:lnTo>
                    <a:lnTo>
                      <a:pt x="42" y="419"/>
                    </a:lnTo>
                    <a:lnTo>
                      <a:pt x="50" y="412"/>
                    </a:lnTo>
                    <a:lnTo>
                      <a:pt x="50" y="405"/>
                    </a:lnTo>
                    <a:lnTo>
                      <a:pt x="50" y="398"/>
                    </a:lnTo>
                    <a:lnTo>
                      <a:pt x="50" y="398"/>
                    </a:lnTo>
                    <a:lnTo>
                      <a:pt x="50" y="384"/>
                    </a:lnTo>
                    <a:lnTo>
                      <a:pt x="50" y="377"/>
                    </a:lnTo>
                    <a:lnTo>
                      <a:pt x="50" y="377"/>
                    </a:lnTo>
                    <a:lnTo>
                      <a:pt x="50" y="362"/>
                    </a:lnTo>
                    <a:lnTo>
                      <a:pt x="50" y="355"/>
                    </a:lnTo>
                    <a:lnTo>
                      <a:pt x="57" y="355"/>
                    </a:lnTo>
                    <a:lnTo>
                      <a:pt x="57" y="355"/>
                    </a:lnTo>
                    <a:lnTo>
                      <a:pt x="64" y="355"/>
                    </a:lnTo>
                    <a:lnTo>
                      <a:pt x="64" y="348"/>
                    </a:lnTo>
                    <a:lnTo>
                      <a:pt x="64" y="341"/>
                    </a:lnTo>
                    <a:lnTo>
                      <a:pt x="64" y="334"/>
                    </a:lnTo>
                    <a:lnTo>
                      <a:pt x="64" y="327"/>
                    </a:lnTo>
                    <a:lnTo>
                      <a:pt x="64" y="327"/>
                    </a:lnTo>
                    <a:lnTo>
                      <a:pt x="71" y="313"/>
                    </a:lnTo>
                    <a:lnTo>
                      <a:pt x="71" y="306"/>
                    </a:lnTo>
                    <a:lnTo>
                      <a:pt x="78" y="306"/>
                    </a:lnTo>
                    <a:lnTo>
                      <a:pt x="78" y="306"/>
                    </a:lnTo>
                    <a:lnTo>
                      <a:pt x="78" y="306"/>
                    </a:lnTo>
                    <a:lnTo>
                      <a:pt x="85" y="313"/>
                    </a:lnTo>
                    <a:lnTo>
                      <a:pt x="85" y="313"/>
                    </a:lnTo>
                    <a:lnTo>
                      <a:pt x="85" y="313"/>
                    </a:lnTo>
                    <a:lnTo>
                      <a:pt x="85" y="313"/>
                    </a:lnTo>
                    <a:lnTo>
                      <a:pt x="85" y="306"/>
                    </a:lnTo>
                    <a:lnTo>
                      <a:pt x="85" y="306"/>
                    </a:lnTo>
                    <a:lnTo>
                      <a:pt x="85" y="306"/>
                    </a:lnTo>
                    <a:lnTo>
                      <a:pt x="85" y="306"/>
                    </a:lnTo>
                    <a:lnTo>
                      <a:pt x="85" y="306"/>
                    </a:lnTo>
                    <a:lnTo>
                      <a:pt x="85" y="299"/>
                    </a:lnTo>
                    <a:lnTo>
                      <a:pt x="85" y="299"/>
                    </a:lnTo>
                    <a:lnTo>
                      <a:pt x="92" y="299"/>
                    </a:lnTo>
                    <a:lnTo>
                      <a:pt x="92" y="291"/>
                    </a:lnTo>
                    <a:lnTo>
                      <a:pt x="92" y="291"/>
                    </a:lnTo>
                    <a:lnTo>
                      <a:pt x="92" y="284"/>
                    </a:lnTo>
                    <a:lnTo>
                      <a:pt x="92" y="284"/>
                    </a:lnTo>
                    <a:lnTo>
                      <a:pt x="99" y="284"/>
                    </a:lnTo>
                    <a:lnTo>
                      <a:pt x="99" y="277"/>
                    </a:lnTo>
                    <a:lnTo>
                      <a:pt x="99" y="277"/>
                    </a:lnTo>
                    <a:lnTo>
                      <a:pt x="99" y="270"/>
                    </a:lnTo>
                    <a:lnTo>
                      <a:pt x="99" y="263"/>
                    </a:lnTo>
                    <a:lnTo>
                      <a:pt x="99" y="263"/>
                    </a:lnTo>
                    <a:lnTo>
                      <a:pt x="99" y="256"/>
                    </a:lnTo>
                    <a:lnTo>
                      <a:pt x="106" y="249"/>
                    </a:lnTo>
                    <a:lnTo>
                      <a:pt x="106" y="249"/>
                    </a:lnTo>
                    <a:lnTo>
                      <a:pt x="113" y="249"/>
                    </a:lnTo>
                    <a:lnTo>
                      <a:pt x="113" y="249"/>
                    </a:lnTo>
                    <a:lnTo>
                      <a:pt x="113" y="249"/>
                    </a:lnTo>
                    <a:lnTo>
                      <a:pt x="113" y="256"/>
                    </a:lnTo>
                    <a:lnTo>
                      <a:pt x="113" y="256"/>
                    </a:lnTo>
                    <a:lnTo>
                      <a:pt x="113" y="256"/>
                    </a:lnTo>
                    <a:lnTo>
                      <a:pt x="121" y="256"/>
                    </a:lnTo>
                    <a:lnTo>
                      <a:pt x="121" y="249"/>
                    </a:lnTo>
                    <a:lnTo>
                      <a:pt x="128" y="249"/>
                    </a:lnTo>
                    <a:lnTo>
                      <a:pt x="128" y="249"/>
                    </a:lnTo>
                    <a:lnTo>
                      <a:pt x="135" y="249"/>
                    </a:lnTo>
                    <a:lnTo>
                      <a:pt x="135" y="249"/>
                    </a:lnTo>
                    <a:lnTo>
                      <a:pt x="135" y="249"/>
                    </a:lnTo>
                    <a:lnTo>
                      <a:pt x="135" y="249"/>
                    </a:lnTo>
                    <a:lnTo>
                      <a:pt x="142" y="256"/>
                    </a:lnTo>
                    <a:lnTo>
                      <a:pt x="142" y="256"/>
                    </a:lnTo>
                    <a:lnTo>
                      <a:pt x="142" y="256"/>
                    </a:lnTo>
                    <a:lnTo>
                      <a:pt x="149" y="256"/>
                    </a:lnTo>
                    <a:lnTo>
                      <a:pt x="149" y="249"/>
                    </a:lnTo>
                    <a:lnTo>
                      <a:pt x="149" y="249"/>
                    </a:lnTo>
                    <a:lnTo>
                      <a:pt x="149" y="249"/>
                    </a:lnTo>
                    <a:lnTo>
                      <a:pt x="156" y="242"/>
                    </a:lnTo>
                    <a:lnTo>
                      <a:pt x="156" y="242"/>
                    </a:lnTo>
                    <a:lnTo>
                      <a:pt x="163" y="242"/>
                    </a:lnTo>
                    <a:lnTo>
                      <a:pt x="163" y="242"/>
                    </a:lnTo>
                    <a:lnTo>
                      <a:pt x="170" y="242"/>
                    </a:lnTo>
                    <a:lnTo>
                      <a:pt x="170" y="242"/>
                    </a:lnTo>
                    <a:lnTo>
                      <a:pt x="170" y="235"/>
                    </a:lnTo>
                    <a:lnTo>
                      <a:pt x="170" y="235"/>
                    </a:lnTo>
                    <a:lnTo>
                      <a:pt x="170" y="235"/>
                    </a:lnTo>
                    <a:lnTo>
                      <a:pt x="177" y="235"/>
                    </a:lnTo>
                    <a:lnTo>
                      <a:pt x="177" y="228"/>
                    </a:lnTo>
                    <a:lnTo>
                      <a:pt x="184" y="220"/>
                    </a:lnTo>
                    <a:lnTo>
                      <a:pt x="184" y="220"/>
                    </a:lnTo>
                    <a:lnTo>
                      <a:pt x="192" y="220"/>
                    </a:lnTo>
                    <a:lnTo>
                      <a:pt x="192" y="220"/>
                    </a:lnTo>
                    <a:lnTo>
                      <a:pt x="184" y="213"/>
                    </a:lnTo>
                    <a:lnTo>
                      <a:pt x="184" y="213"/>
                    </a:lnTo>
                    <a:lnTo>
                      <a:pt x="192" y="213"/>
                    </a:lnTo>
                    <a:lnTo>
                      <a:pt x="192" y="206"/>
                    </a:lnTo>
                    <a:lnTo>
                      <a:pt x="192" y="206"/>
                    </a:lnTo>
                    <a:lnTo>
                      <a:pt x="192" y="199"/>
                    </a:lnTo>
                    <a:lnTo>
                      <a:pt x="192" y="192"/>
                    </a:lnTo>
                    <a:lnTo>
                      <a:pt x="192" y="192"/>
                    </a:lnTo>
                    <a:lnTo>
                      <a:pt x="192" y="192"/>
                    </a:lnTo>
                    <a:lnTo>
                      <a:pt x="199" y="192"/>
                    </a:lnTo>
                    <a:lnTo>
                      <a:pt x="199" y="185"/>
                    </a:lnTo>
                    <a:lnTo>
                      <a:pt x="206" y="185"/>
                    </a:lnTo>
                    <a:lnTo>
                      <a:pt x="213" y="178"/>
                    </a:lnTo>
                    <a:lnTo>
                      <a:pt x="213" y="178"/>
                    </a:lnTo>
                    <a:lnTo>
                      <a:pt x="213" y="171"/>
                    </a:lnTo>
                    <a:lnTo>
                      <a:pt x="213" y="171"/>
                    </a:lnTo>
                    <a:lnTo>
                      <a:pt x="213" y="164"/>
                    </a:lnTo>
                    <a:lnTo>
                      <a:pt x="213" y="164"/>
                    </a:lnTo>
                    <a:lnTo>
                      <a:pt x="220" y="157"/>
                    </a:lnTo>
                    <a:lnTo>
                      <a:pt x="227" y="157"/>
                    </a:lnTo>
                    <a:lnTo>
                      <a:pt x="227" y="157"/>
                    </a:lnTo>
                    <a:lnTo>
                      <a:pt x="234" y="157"/>
                    </a:lnTo>
                    <a:lnTo>
                      <a:pt x="234" y="157"/>
                    </a:lnTo>
                    <a:lnTo>
                      <a:pt x="234" y="157"/>
                    </a:lnTo>
                    <a:lnTo>
                      <a:pt x="241" y="150"/>
                    </a:lnTo>
                    <a:lnTo>
                      <a:pt x="241" y="142"/>
                    </a:lnTo>
                    <a:lnTo>
                      <a:pt x="241" y="142"/>
                    </a:lnTo>
                    <a:lnTo>
                      <a:pt x="241" y="128"/>
                    </a:lnTo>
                    <a:lnTo>
                      <a:pt x="241" y="121"/>
                    </a:lnTo>
                    <a:lnTo>
                      <a:pt x="241" y="121"/>
                    </a:lnTo>
                    <a:lnTo>
                      <a:pt x="234" y="121"/>
                    </a:lnTo>
                    <a:lnTo>
                      <a:pt x="234" y="114"/>
                    </a:lnTo>
                    <a:lnTo>
                      <a:pt x="234" y="114"/>
                    </a:lnTo>
                    <a:lnTo>
                      <a:pt x="227" y="114"/>
                    </a:lnTo>
                    <a:lnTo>
                      <a:pt x="220" y="114"/>
                    </a:lnTo>
                    <a:lnTo>
                      <a:pt x="220" y="114"/>
                    </a:lnTo>
                    <a:lnTo>
                      <a:pt x="220" y="114"/>
                    </a:lnTo>
                    <a:lnTo>
                      <a:pt x="220" y="114"/>
                    </a:lnTo>
                    <a:lnTo>
                      <a:pt x="220" y="114"/>
                    </a:lnTo>
                    <a:lnTo>
                      <a:pt x="220" y="114"/>
                    </a:lnTo>
                    <a:lnTo>
                      <a:pt x="213" y="114"/>
                    </a:lnTo>
                    <a:lnTo>
                      <a:pt x="213" y="107"/>
                    </a:lnTo>
                    <a:lnTo>
                      <a:pt x="206" y="100"/>
                    </a:lnTo>
                    <a:lnTo>
                      <a:pt x="206" y="100"/>
                    </a:lnTo>
                    <a:lnTo>
                      <a:pt x="206" y="100"/>
                    </a:lnTo>
                    <a:lnTo>
                      <a:pt x="199" y="100"/>
                    </a:lnTo>
                    <a:lnTo>
                      <a:pt x="184" y="93"/>
                    </a:lnTo>
                    <a:lnTo>
                      <a:pt x="184" y="93"/>
                    </a:lnTo>
                    <a:lnTo>
                      <a:pt x="184" y="93"/>
                    </a:lnTo>
                    <a:lnTo>
                      <a:pt x="177" y="93"/>
                    </a:lnTo>
                    <a:lnTo>
                      <a:pt x="177" y="93"/>
                    </a:lnTo>
                    <a:lnTo>
                      <a:pt x="177" y="93"/>
                    </a:lnTo>
                    <a:lnTo>
                      <a:pt x="170" y="100"/>
                    </a:lnTo>
                    <a:lnTo>
                      <a:pt x="170" y="100"/>
                    </a:lnTo>
                    <a:lnTo>
                      <a:pt x="163" y="100"/>
                    </a:lnTo>
                    <a:lnTo>
                      <a:pt x="163" y="100"/>
                    </a:lnTo>
                    <a:lnTo>
                      <a:pt x="163" y="100"/>
                    </a:lnTo>
                    <a:lnTo>
                      <a:pt x="163" y="93"/>
                    </a:lnTo>
                    <a:lnTo>
                      <a:pt x="163" y="93"/>
                    </a:lnTo>
                    <a:lnTo>
                      <a:pt x="156" y="93"/>
                    </a:lnTo>
                    <a:lnTo>
                      <a:pt x="156" y="93"/>
                    </a:lnTo>
                    <a:lnTo>
                      <a:pt x="156" y="86"/>
                    </a:lnTo>
                    <a:lnTo>
                      <a:pt x="163" y="86"/>
                    </a:lnTo>
                    <a:lnTo>
                      <a:pt x="163" y="86"/>
                    </a:lnTo>
                    <a:lnTo>
                      <a:pt x="163" y="86"/>
                    </a:lnTo>
                    <a:lnTo>
                      <a:pt x="163" y="79"/>
                    </a:lnTo>
                    <a:lnTo>
                      <a:pt x="163" y="79"/>
                    </a:lnTo>
                    <a:lnTo>
                      <a:pt x="163" y="79"/>
                    </a:lnTo>
                    <a:lnTo>
                      <a:pt x="170" y="79"/>
                    </a:lnTo>
                    <a:lnTo>
                      <a:pt x="170" y="71"/>
                    </a:lnTo>
                    <a:lnTo>
                      <a:pt x="170" y="71"/>
                    </a:lnTo>
                    <a:lnTo>
                      <a:pt x="170" y="71"/>
                    </a:lnTo>
                    <a:lnTo>
                      <a:pt x="170" y="71"/>
                    </a:lnTo>
                    <a:lnTo>
                      <a:pt x="170" y="64"/>
                    </a:lnTo>
                    <a:lnTo>
                      <a:pt x="170" y="64"/>
                    </a:lnTo>
                    <a:lnTo>
                      <a:pt x="163" y="50"/>
                    </a:lnTo>
                    <a:lnTo>
                      <a:pt x="163" y="50"/>
                    </a:lnTo>
                    <a:lnTo>
                      <a:pt x="163" y="50"/>
                    </a:lnTo>
                    <a:lnTo>
                      <a:pt x="163" y="50"/>
                    </a:lnTo>
                    <a:lnTo>
                      <a:pt x="163" y="43"/>
                    </a:lnTo>
                    <a:lnTo>
                      <a:pt x="163" y="43"/>
                    </a:lnTo>
                    <a:lnTo>
                      <a:pt x="163" y="43"/>
                    </a:lnTo>
                    <a:lnTo>
                      <a:pt x="170" y="43"/>
                    </a:lnTo>
                    <a:lnTo>
                      <a:pt x="170" y="43"/>
                    </a:lnTo>
                    <a:lnTo>
                      <a:pt x="177" y="50"/>
                    </a:lnTo>
                    <a:lnTo>
                      <a:pt x="184" y="57"/>
                    </a:lnTo>
                    <a:lnTo>
                      <a:pt x="184" y="57"/>
                    </a:lnTo>
                    <a:lnTo>
                      <a:pt x="192" y="57"/>
                    </a:lnTo>
                    <a:lnTo>
                      <a:pt x="192" y="50"/>
                    </a:lnTo>
                    <a:lnTo>
                      <a:pt x="199" y="50"/>
                    </a:lnTo>
                    <a:lnTo>
                      <a:pt x="206" y="50"/>
                    </a:lnTo>
                    <a:lnTo>
                      <a:pt x="213" y="50"/>
                    </a:lnTo>
                    <a:lnTo>
                      <a:pt x="220" y="50"/>
                    </a:lnTo>
                    <a:lnTo>
                      <a:pt x="220" y="50"/>
                    </a:lnTo>
                    <a:lnTo>
                      <a:pt x="227" y="50"/>
                    </a:lnTo>
                    <a:lnTo>
                      <a:pt x="241" y="50"/>
                    </a:lnTo>
                    <a:lnTo>
                      <a:pt x="248" y="57"/>
                    </a:lnTo>
                    <a:lnTo>
                      <a:pt x="248" y="57"/>
                    </a:lnTo>
                    <a:lnTo>
                      <a:pt x="270" y="57"/>
                    </a:lnTo>
                    <a:lnTo>
                      <a:pt x="284" y="57"/>
                    </a:lnTo>
                    <a:lnTo>
                      <a:pt x="284" y="57"/>
                    </a:lnTo>
                    <a:lnTo>
                      <a:pt x="284" y="57"/>
                    </a:lnTo>
                    <a:lnTo>
                      <a:pt x="291" y="50"/>
                    </a:lnTo>
                    <a:lnTo>
                      <a:pt x="291" y="50"/>
                    </a:lnTo>
                    <a:lnTo>
                      <a:pt x="298" y="50"/>
                    </a:lnTo>
                    <a:lnTo>
                      <a:pt x="298" y="43"/>
                    </a:lnTo>
                    <a:lnTo>
                      <a:pt x="298" y="43"/>
                    </a:lnTo>
                    <a:lnTo>
                      <a:pt x="305" y="43"/>
                    </a:lnTo>
                    <a:lnTo>
                      <a:pt x="298" y="43"/>
                    </a:lnTo>
                    <a:lnTo>
                      <a:pt x="305" y="36"/>
                    </a:lnTo>
                    <a:lnTo>
                      <a:pt x="305" y="36"/>
                    </a:lnTo>
                    <a:lnTo>
                      <a:pt x="305" y="36"/>
                    </a:lnTo>
                    <a:lnTo>
                      <a:pt x="312" y="36"/>
                    </a:lnTo>
                    <a:lnTo>
                      <a:pt x="312" y="36"/>
                    </a:lnTo>
                    <a:lnTo>
                      <a:pt x="319" y="29"/>
                    </a:lnTo>
                    <a:lnTo>
                      <a:pt x="319" y="29"/>
                    </a:lnTo>
                    <a:lnTo>
                      <a:pt x="319" y="29"/>
                    </a:lnTo>
                    <a:lnTo>
                      <a:pt x="319" y="29"/>
                    </a:lnTo>
                    <a:lnTo>
                      <a:pt x="319" y="29"/>
                    </a:lnTo>
                    <a:lnTo>
                      <a:pt x="319" y="22"/>
                    </a:lnTo>
                    <a:lnTo>
                      <a:pt x="319" y="22"/>
                    </a:lnTo>
                    <a:lnTo>
                      <a:pt x="326" y="22"/>
                    </a:lnTo>
                    <a:lnTo>
                      <a:pt x="333" y="29"/>
                    </a:lnTo>
                    <a:lnTo>
                      <a:pt x="333" y="29"/>
                    </a:lnTo>
                    <a:lnTo>
                      <a:pt x="341" y="36"/>
                    </a:lnTo>
                    <a:lnTo>
                      <a:pt x="341" y="36"/>
                    </a:lnTo>
                    <a:lnTo>
                      <a:pt x="348" y="36"/>
                    </a:lnTo>
                    <a:lnTo>
                      <a:pt x="348" y="36"/>
                    </a:lnTo>
                    <a:lnTo>
                      <a:pt x="355" y="36"/>
                    </a:lnTo>
                    <a:lnTo>
                      <a:pt x="362" y="36"/>
                    </a:lnTo>
                    <a:lnTo>
                      <a:pt x="362" y="36"/>
                    </a:lnTo>
                    <a:lnTo>
                      <a:pt x="362" y="36"/>
                    </a:lnTo>
                    <a:lnTo>
                      <a:pt x="369" y="29"/>
                    </a:lnTo>
                    <a:lnTo>
                      <a:pt x="369" y="29"/>
                    </a:lnTo>
                    <a:lnTo>
                      <a:pt x="376" y="29"/>
                    </a:lnTo>
                    <a:lnTo>
                      <a:pt x="376" y="29"/>
                    </a:lnTo>
                    <a:lnTo>
                      <a:pt x="376" y="29"/>
                    </a:lnTo>
                    <a:lnTo>
                      <a:pt x="376" y="29"/>
                    </a:lnTo>
                    <a:lnTo>
                      <a:pt x="376" y="29"/>
                    </a:lnTo>
                    <a:lnTo>
                      <a:pt x="383" y="22"/>
                    </a:lnTo>
                    <a:lnTo>
                      <a:pt x="383" y="22"/>
                    </a:lnTo>
                    <a:lnTo>
                      <a:pt x="383" y="22"/>
                    </a:lnTo>
                    <a:lnTo>
                      <a:pt x="383" y="15"/>
                    </a:lnTo>
                    <a:lnTo>
                      <a:pt x="383" y="15"/>
                    </a:lnTo>
                    <a:lnTo>
                      <a:pt x="383" y="15"/>
                    </a:lnTo>
                    <a:lnTo>
                      <a:pt x="390" y="8"/>
                    </a:lnTo>
                    <a:lnTo>
                      <a:pt x="390" y="8"/>
                    </a:lnTo>
                    <a:lnTo>
                      <a:pt x="390" y="8"/>
                    </a:lnTo>
                    <a:lnTo>
                      <a:pt x="390" y="0"/>
                    </a:lnTo>
                    <a:lnTo>
                      <a:pt x="390" y="0"/>
                    </a:lnTo>
                    <a:lnTo>
                      <a:pt x="397" y="0"/>
                    </a:lnTo>
                    <a:lnTo>
                      <a:pt x="404" y="0"/>
                    </a:lnTo>
                    <a:lnTo>
                      <a:pt x="404" y="0"/>
                    </a:lnTo>
                    <a:lnTo>
                      <a:pt x="412" y="0"/>
                    </a:lnTo>
                    <a:lnTo>
                      <a:pt x="412" y="8"/>
                    </a:lnTo>
                    <a:lnTo>
                      <a:pt x="419" y="8"/>
                    </a:lnTo>
                    <a:lnTo>
                      <a:pt x="419" y="8"/>
                    </a:lnTo>
                    <a:lnTo>
                      <a:pt x="419" y="8"/>
                    </a:lnTo>
                    <a:lnTo>
                      <a:pt x="419" y="15"/>
                    </a:lnTo>
                    <a:lnTo>
                      <a:pt x="419" y="15"/>
                    </a:lnTo>
                    <a:lnTo>
                      <a:pt x="419" y="22"/>
                    </a:lnTo>
                    <a:lnTo>
                      <a:pt x="419" y="22"/>
                    </a:lnTo>
                    <a:lnTo>
                      <a:pt x="419" y="22"/>
                    </a:lnTo>
                    <a:lnTo>
                      <a:pt x="419" y="29"/>
                    </a:lnTo>
                    <a:lnTo>
                      <a:pt x="426" y="29"/>
                    </a:lnTo>
                    <a:lnTo>
                      <a:pt x="447" y="43"/>
                    </a:lnTo>
                    <a:lnTo>
                      <a:pt x="447" y="50"/>
                    </a:lnTo>
                    <a:lnTo>
                      <a:pt x="447" y="50"/>
                    </a:lnTo>
                    <a:lnTo>
                      <a:pt x="447" y="57"/>
                    </a:lnTo>
                    <a:lnTo>
                      <a:pt x="447" y="57"/>
                    </a:lnTo>
                    <a:lnTo>
                      <a:pt x="447" y="57"/>
                    </a:lnTo>
                    <a:lnTo>
                      <a:pt x="447" y="64"/>
                    </a:lnTo>
                    <a:lnTo>
                      <a:pt x="447" y="64"/>
                    </a:lnTo>
                    <a:lnTo>
                      <a:pt x="447" y="64"/>
                    </a:lnTo>
                    <a:lnTo>
                      <a:pt x="447" y="64"/>
                    </a:lnTo>
                    <a:lnTo>
                      <a:pt x="447" y="71"/>
                    </a:lnTo>
                    <a:lnTo>
                      <a:pt x="454" y="71"/>
                    </a:lnTo>
                    <a:lnTo>
                      <a:pt x="454" y="79"/>
                    </a:lnTo>
                    <a:lnTo>
                      <a:pt x="454" y="79"/>
                    </a:lnTo>
                    <a:lnTo>
                      <a:pt x="454" y="79"/>
                    </a:lnTo>
                    <a:lnTo>
                      <a:pt x="454" y="79"/>
                    </a:lnTo>
                    <a:lnTo>
                      <a:pt x="461" y="79"/>
                    </a:lnTo>
                    <a:lnTo>
                      <a:pt x="461" y="79"/>
                    </a:lnTo>
                    <a:lnTo>
                      <a:pt x="461" y="79"/>
                    </a:lnTo>
                    <a:lnTo>
                      <a:pt x="461" y="79"/>
                    </a:lnTo>
                    <a:lnTo>
                      <a:pt x="468" y="79"/>
                    </a:lnTo>
                    <a:lnTo>
                      <a:pt x="468" y="79"/>
                    </a:lnTo>
                    <a:lnTo>
                      <a:pt x="475" y="79"/>
                    </a:lnTo>
                    <a:lnTo>
                      <a:pt x="475" y="79"/>
                    </a:lnTo>
                    <a:lnTo>
                      <a:pt x="475" y="79"/>
                    </a:lnTo>
                    <a:lnTo>
                      <a:pt x="475" y="79"/>
                    </a:lnTo>
                    <a:lnTo>
                      <a:pt x="475" y="79"/>
                    </a:lnTo>
                    <a:lnTo>
                      <a:pt x="475" y="79"/>
                    </a:lnTo>
                    <a:lnTo>
                      <a:pt x="475" y="79"/>
                    </a:lnTo>
                    <a:lnTo>
                      <a:pt x="475" y="71"/>
                    </a:lnTo>
                    <a:lnTo>
                      <a:pt x="475" y="71"/>
                    </a:lnTo>
                    <a:lnTo>
                      <a:pt x="475" y="71"/>
                    </a:lnTo>
                    <a:lnTo>
                      <a:pt x="475" y="71"/>
                    </a:lnTo>
                    <a:lnTo>
                      <a:pt x="475" y="71"/>
                    </a:lnTo>
                    <a:lnTo>
                      <a:pt x="475" y="71"/>
                    </a:lnTo>
                    <a:lnTo>
                      <a:pt x="483" y="71"/>
                    </a:lnTo>
                    <a:lnTo>
                      <a:pt x="483" y="71"/>
                    </a:lnTo>
                    <a:lnTo>
                      <a:pt x="483" y="71"/>
                    </a:lnTo>
                    <a:lnTo>
                      <a:pt x="483" y="71"/>
                    </a:lnTo>
                    <a:lnTo>
                      <a:pt x="483" y="71"/>
                    </a:lnTo>
                    <a:lnTo>
                      <a:pt x="483" y="71"/>
                    </a:lnTo>
                    <a:lnTo>
                      <a:pt x="483" y="71"/>
                    </a:lnTo>
                    <a:lnTo>
                      <a:pt x="490" y="71"/>
                    </a:lnTo>
                    <a:lnTo>
                      <a:pt x="490" y="71"/>
                    </a:lnTo>
                    <a:lnTo>
                      <a:pt x="490" y="79"/>
                    </a:lnTo>
                    <a:lnTo>
                      <a:pt x="490" y="79"/>
                    </a:lnTo>
                    <a:lnTo>
                      <a:pt x="490" y="79"/>
                    </a:lnTo>
                    <a:lnTo>
                      <a:pt x="490" y="86"/>
                    </a:lnTo>
                    <a:lnTo>
                      <a:pt x="490" y="86"/>
                    </a:lnTo>
                    <a:lnTo>
                      <a:pt x="490" y="86"/>
                    </a:lnTo>
                    <a:lnTo>
                      <a:pt x="490" y="86"/>
                    </a:lnTo>
                    <a:lnTo>
                      <a:pt x="483" y="93"/>
                    </a:lnTo>
                    <a:lnTo>
                      <a:pt x="483" y="93"/>
                    </a:lnTo>
                    <a:lnTo>
                      <a:pt x="483" y="93"/>
                    </a:lnTo>
                    <a:lnTo>
                      <a:pt x="483" y="93"/>
                    </a:lnTo>
                    <a:lnTo>
                      <a:pt x="483" y="100"/>
                    </a:lnTo>
                    <a:lnTo>
                      <a:pt x="483" y="100"/>
                    </a:lnTo>
                    <a:lnTo>
                      <a:pt x="483" y="100"/>
                    </a:lnTo>
                    <a:lnTo>
                      <a:pt x="483" y="100"/>
                    </a:lnTo>
                    <a:lnTo>
                      <a:pt x="483" y="107"/>
                    </a:lnTo>
                    <a:lnTo>
                      <a:pt x="483" y="107"/>
                    </a:lnTo>
                    <a:lnTo>
                      <a:pt x="483" y="107"/>
                    </a:lnTo>
                    <a:lnTo>
                      <a:pt x="483" y="107"/>
                    </a:lnTo>
                    <a:lnTo>
                      <a:pt x="483" y="114"/>
                    </a:lnTo>
                    <a:lnTo>
                      <a:pt x="483" y="114"/>
                    </a:lnTo>
                    <a:lnTo>
                      <a:pt x="483" y="114"/>
                    </a:lnTo>
                    <a:lnTo>
                      <a:pt x="483" y="114"/>
                    </a:lnTo>
                    <a:lnTo>
                      <a:pt x="490" y="107"/>
                    </a:lnTo>
                    <a:lnTo>
                      <a:pt x="490" y="107"/>
                    </a:lnTo>
                    <a:lnTo>
                      <a:pt x="490" y="107"/>
                    </a:lnTo>
                    <a:lnTo>
                      <a:pt x="490" y="107"/>
                    </a:lnTo>
                    <a:lnTo>
                      <a:pt x="490" y="107"/>
                    </a:lnTo>
                    <a:lnTo>
                      <a:pt x="497" y="114"/>
                    </a:lnTo>
                    <a:lnTo>
                      <a:pt x="497" y="121"/>
                    </a:lnTo>
                    <a:lnTo>
                      <a:pt x="497" y="128"/>
                    </a:lnTo>
                    <a:lnTo>
                      <a:pt x="497" y="135"/>
                    </a:lnTo>
                    <a:lnTo>
                      <a:pt x="497" y="142"/>
                    </a:lnTo>
                    <a:lnTo>
                      <a:pt x="497" y="142"/>
                    </a:lnTo>
                    <a:lnTo>
                      <a:pt x="504" y="150"/>
                    </a:lnTo>
                    <a:lnTo>
                      <a:pt x="504" y="150"/>
                    </a:lnTo>
                    <a:lnTo>
                      <a:pt x="504" y="150"/>
                    </a:lnTo>
                    <a:lnTo>
                      <a:pt x="504" y="157"/>
                    </a:lnTo>
                    <a:lnTo>
                      <a:pt x="504" y="157"/>
                    </a:lnTo>
                    <a:lnTo>
                      <a:pt x="511" y="164"/>
                    </a:lnTo>
                    <a:lnTo>
                      <a:pt x="511" y="164"/>
                    </a:lnTo>
                    <a:lnTo>
                      <a:pt x="511" y="164"/>
                    </a:lnTo>
                    <a:lnTo>
                      <a:pt x="511" y="164"/>
                    </a:lnTo>
                    <a:lnTo>
                      <a:pt x="511" y="164"/>
                    </a:lnTo>
                    <a:lnTo>
                      <a:pt x="511" y="164"/>
                    </a:lnTo>
                    <a:lnTo>
                      <a:pt x="511" y="164"/>
                    </a:lnTo>
                    <a:lnTo>
                      <a:pt x="511" y="164"/>
                    </a:lnTo>
                    <a:lnTo>
                      <a:pt x="511" y="164"/>
                    </a:lnTo>
                    <a:lnTo>
                      <a:pt x="511" y="164"/>
                    </a:lnTo>
                    <a:lnTo>
                      <a:pt x="511" y="164"/>
                    </a:lnTo>
                    <a:lnTo>
                      <a:pt x="511" y="164"/>
                    </a:lnTo>
                    <a:lnTo>
                      <a:pt x="511" y="157"/>
                    </a:lnTo>
                    <a:lnTo>
                      <a:pt x="511" y="157"/>
                    </a:lnTo>
                    <a:lnTo>
                      <a:pt x="518" y="157"/>
                    </a:lnTo>
                    <a:lnTo>
                      <a:pt x="518" y="164"/>
                    </a:lnTo>
                    <a:lnTo>
                      <a:pt x="518" y="164"/>
                    </a:lnTo>
                    <a:lnTo>
                      <a:pt x="525" y="164"/>
                    </a:lnTo>
                    <a:lnTo>
                      <a:pt x="525" y="164"/>
                    </a:lnTo>
                    <a:lnTo>
                      <a:pt x="525" y="164"/>
                    </a:lnTo>
                    <a:lnTo>
                      <a:pt x="525" y="164"/>
                    </a:lnTo>
                    <a:lnTo>
                      <a:pt x="525" y="164"/>
                    </a:lnTo>
                    <a:lnTo>
                      <a:pt x="525" y="164"/>
                    </a:lnTo>
                    <a:lnTo>
                      <a:pt x="532" y="164"/>
                    </a:lnTo>
                    <a:lnTo>
                      <a:pt x="532" y="164"/>
                    </a:lnTo>
                    <a:lnTo>
                      <a:pt x="532" y="164"/>
                    </a:lnTo>
                    <a:lnTo>
                      <a:pt x="532" y="164"/>
                    </a:lnTo>
                    <a:lnTo>
                      <a:pt x="539" y="164"/>
                    </a:lnTo>
                    <a:lnTo>
                      <a:pt x="539" y="164"/>
                    </a:lnTo>
                    <a:lnTo>
                      <a:pt x="539" y="164"/>
                    </a:lnTo>
                    <a:lnTo>
                      <a:pt x="539" y="171"/>
                    </a:lnTo>
                    <a:lnTo>
                      <a:pt x="539" y="171"/>
                    </a:lnTo>
                    <a:lnTo>
                      <a:pt x="539" y="171"/>
                    </a:lnTo>
                    <a:lnTo>
                      <a:pt x="539" y="178"/>
                    </a:lnTo>
                    <a:lnTo>
                      <a:pt x="539" y="178"/>
                    </a:lnTo>
                    <a:lnTo>
                      <a:pt x="539" y="178"/>
                    </a:lnTo>
                    <a:lnTo>
                      <a:pt x="539" y="178"/>
                    </a:lnTo>
                    <a:lnTo>
                      <a:pt x="539" y="185"/>
                    </a:lnTo>
                    <a:lnTo>
                      <a:pt x="539" y="185"/>
                    </a:lnTo>
                    <a:lnTo>
                      <a:pt x="532" y="185"/>
                    </a:lnTo>
                    <a:lnTo>
                      <a:pt x="532" y="192"/>
                    </a:lnTo>
                    <a:lnTo>
                      <a:pt x="532" y="192"/>
                    </a:lnTo>
                    <a:lnTo>
                      <a:pt x="532" y="192"/>
                    </a:lnTo>
                    <a:lnTo>
                      <a:pt x="525" y="192"/>
                    </a:lnTo>
                    <a:lnTo>
                      <a:pt x="525" y="192"/>
                    </a:lnTo>
                    <a:lnTo>
                      <a:pt x="525" y="192"/>
                    </a:lnTo>
                    <a:lnTo>
                      <a:pt x="525" y="199"/>
                    </a:lnTo>
                    <a:lnTo>
                      <a:pt x="525" y="199"/>
                    </a:lnTo>
                    <a:lnTo>
                      <a:pt x="525" y="206"/>
                    </a:lnTo>
                    <a:lnTo>
                      <a:pt x="525" y="206"/>
                    </a:lnTo>
                    <a:lnTo>
                      <a:pt x="525" y="206"/>
                    </a:lnTo>
                    <a:lnTo>
                      <a:pt x="518" y="213"/>
                    </a:lnTo>
                    <a:lnTo>
                      <a:pt x="511" y="213"/>
                    </a:lnTo>
                    <a:lnTo>
                      <a:pt x="511" y="213"/>
                    </a:lnTo>
                    <a:lnTo>
                      <a:pt x="511" y="213"/>
                    </a:lnTo>
                    <a:lnTo>
                      <a:pt x="511" y="213"/>
                    </a:lnTo>
                    <a:lnTo>
                      <a:pt x="504" y="213"/>
                    </a:lnTo>
                    <a:lnTo>
                      <a:pt x="504" y="213"/>
                    </a:lnTo>
                    <a:lnTo>
                      <a:pt x="504" y="220"/>
                    </a:lnTo>
                    <a:lnTo>
                      <a:pt x="497" y="220"/>
                    </a:lnTo>
                    <a:lnTo>
                      <a:pt x="497" y="220"/>
                    </a:lnTo>
                    <a:lnTo>
                      <a:pt x="497" y="220"/>
                    </a:lnTo>
                    <a:lnTo>
                      <a:pt x="497" y="220"/>
                    </a:lnTo>
                    <a:lnTo>
                      <a:pt x="497" y="220"/>
                    </a:lnTo>
                    <a:lnTo>
                      <a:pt x="497" y="228"/>
                    </a:lnTo>
                    <a:lnTo>
                      <a:pt x="497" y="228"/>
                    </a:lnTo>
                    <a:lnTo>
                      <a:pt x="497" y="22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7" name="Freeform 65"/>
              <p:cNvSpPr>
                <a:spLocks/>
              </p:cNvSpPr>
              <p:nvPr/>
            </p:nvSpPr>
            <p:spPr bwMode="auto">
              <a:xfrm>
                <a:off x="2726" y="1372"/>
                <a:ext cx="1206" cy="845"/>
              </a:xfrm>
              <a:custGeom>
                <a:avLst/>
                <a:gdLst>
                  <a:gd name="T0" fmla="*/ 866 w 1206"/>
                  <a:gd name="T1" fmla="*/ 760 h 845"/>
                  <a:gd name="T2" fmla="*/ 773 w 1206"/>
                  <a:gd name="T3" fmla="*/ 774 h 845"/>
                  <a:gd name="T4" fmla="*/ 688 w 1206"/>
                  <a:gd name="T5" fmla="*/ 774 h 845"/>
                  <a:gd name="T6" fmla="*/ 603 w 1206"/>
                  <a:gd name="T7" fmla="*/ 767 h 845"/>
                  <a:gd name="T8" fmla="*/ 489 w 1206"/>
                  <a:gd name="T9" fmla="*/ 795 h 845"/>
                  <a:gd name="T10" fmla="*/ 461 w 1206"/>
                  <a:gd name="T11" fmla="*/ 745 h 845"/>
                  <a:gd name="T12" fmla="*/ 376 w 1206"/>
                  <a:gd name="T13" fmla="*/ 802 h 845"/>
                  <a:gd name="T14" fmla="*/ 298 w 1206"/>
                  <a:gd name="T15" fmla="*/ 816 h 845"/>
                  <a:gd name="T16" fmla="*/ 134 w 1206"/>
                  <a:gd name="T17" fmla="*/ 774 h 845"/>
                  <a:gd name="T18" fmla="*/ 42 w 1206"/>
                  <a:gd name="T19" fmla="*/ 717 h 845"/>
                  <a:gd name="T20" fmla="*/ 21 w 1206"/>
                  <a:gd name="T21" fmla="*/ 660 h 845"/>
                  <a:gd name="T22" fmla="*/ 49 w 1206"/>
                  <a:gd name="T23" fmla="*/ 618 h 845"/>
                  <a:gd name="T24" fmla="*/ 78 w 1206"/>
                  <a:gd name="T25" fmla="*/ 525 h 845"/>
                  <a:gd name="T26" fmla="*/ 134 w 1206"/>
                  <a:gd name="T27" fmla="*/ 412 h 845"/>
                  <a:gd name="T28" fmla="*/ 99 w 1206"/>
                  <a:gd name="T29" fmla="*/ 341 h 845"/>
                  <a:gd name="T30" fmla="*/ 127 w 1206"/>
                  <a:gd name="T31" fmla="*/ 298 h 845"/>
                  <a:gd name="T32" fmla="*/ 149 w 1206"/>
                  <a:gd name="T33" fmla="*/ 277 h 845"/>
                  <a:gd name="T34" fmla="*/ 177 w 1206"/>
                  <a:gd name="T35" fmla="*/ 284 h 845"/>
                  <a:gd name="T36" fmla="*/ 170 w 1206"/>
                  <a:gd name="T37" fmla="*/ 312 h 845"/>
                  <a:gd name="T38" fmla="*/ 241 w 1206"/>
                  <a:gd name="T39" fmla="*/ 355 h 845"/>
                  <a:gd name="T40" fmla="*/ 220 w 1206"/>
                  <a:gd name="T41" fmla="*/ 412 h 845"/>
                  <a:gd name="T42" fmla="*/ 248 w 1206"/>
                  <a:gd name="T43" fmla="*/ 433 h 845"/>
                  <a:gd name="T44" fmla="*/ 305 w 1206"/>
                  <a:gd name="T45" fmla="*/ 376 h 845"/>
                  <a:gd name="T46" fmla="*/ 383 w 1206"/>
                  <a:gd name="T47" fmla="*/ 391 h 845"/>
                  <a:gd name="T48" fmla="*/ 397 w 1206"/>
                  <a:gd name="T49" fmla="*/ 334 h 845"/>
                  <a:gd name="T50" fmla="*/ 390 w 1206"/>
                  <a:gd name="T51" fmla="*/ 291 h 845"/>
                  <a:gd name="T52" fmla="*/ 461 w 1206"/>
                  <a:gd name="T53" fmla="*/ 249 h 845"/>
                  <a:gd name="T54" fmla="*/ 440 w 1206"/>
                  <a:gd name="T55" fmla="*/ 213 h 845"/>
                  <a:gd name="T56" fmla="*/ 354 w 1206"/>
                  <a:gd name="T57" fmla="*/ 206 h 845"/>
                  <a:gd name="T58" fmla="*/ 383 w 1206"/>
                  <a:gd name="T59" fmla="*/ 128 h 845"/>
                  <a:gd name="T60" fmla="*/ 454 w 1206"/>
                  <a:gd name="T61" fmla="*/ 71 h 845"/>
                  <a:gd name="T62" fmla="*/ 546 w 1206"/>
                  <a:gd name="T63" fmla="*/ 29 h 845"/>
                  <a:gd name="T64" fmla="*/ 617 w 1206"/>
                  <a:gd name="T65" fmla="*/ 14 h 845"/>
                  <a:gd name="T66" fmla="*/ 681 w 1206"/>
                  <a:gd name="T67" fmla="*/ 71 h 845"/>
                  <a:gd name="T68" fmla="*/ 653 w 1206"/>
                  <a:gd name="T69" fmla="*/ 149 h 845"/>
                  <a:gd name="T70" fmla="*/ 582 w 1206"/>
                  <a:gd name="T71" fmla="*/ 220 h 845"/>
                  <a:gd name="T72" fmla="*/ 582 w 1206"/>
                  <a:gd name="T73" fmla="*/ 327 h 845"/>
                  <a:gd name="T74" fmla="*/ 617 w 1206"/>
                  <a:gd name="T75" fmla="*/ 355 h 845"/>
                  <a:gd name="T76" fmla="*/ 674 w 1206"/>
                  <a:gd name="T77" fmla="*/ 341 h 845"/>
                  <a:gd name="T78" fmla="*/ 631 w 1206"/>
                  <a:gd name="T79" fmla="*/ 249 h 845"/>
                  <a:gd name="T80" fmla="*/ 645 w 1206"/>
                  <a:gd name="T81" fmla="*/ 213 h 845"/>
                  <a:gd name="T82" fmla="*/ 667 w 1206"/>
                  <a:gd name="T83" fmla="*/ 199 h 845"/>
                  <a:gd name="T84" fmla="*/ 681 w 1206"/>
                  <a:gd name="T85" fmla="*/ 234 h 845"/>
                  <a:gd name="T86" fmla="*/ 709 w 1206"/>
                  <a:gd name="T87" fmla="*/ 241 h 845"/>
                  <a:gd name="T88" fmla="*/ 738 w 1206"/>
                  <a:gd name="T89" fmla="*/ 227 h 845"/>
                  <a:gd name="T90" fmla="*/ 752 w 1206"/>
                  <a:gd name="T91" fmla="*/ 249 h 845"/>
                  <a:gd name="T92" fmla="*/ 809 w 1206"/>
                  <a:gd name="T93" fmla="*/ 227 h 845"/>
                  <a:gd name="T94" fmla="*/ 873 w 1206"/>
                  <a:gd name="T95" fmla="*/ 227 h 845"/>
                  <a:gd name="T96" fmla="*/ 873 w 1206"/>
                  <a:gd name="T97" fmla="*/ 263 h 845"/>
                  <a:gd name="T98" fmla="*/ 894 w 1206"/>
                  <a:gd name="T99" fmla="*/ 249 h 845"/>
                  <a:gd name="T100" fmla="*/ 929 w 1206"/>
                  <a:gd name="T101" fmla="*/ 234 h 845"/>
                  <a:gd name="T102" fmla="*/ 951 w 1206"/>
                  <a:gd name="T103" fmla="*/ 270 h 845"/>
                  <a:gd name="T104" fmla="*/ 1000 w 1206"/>
                  <a:gd name="T105" fmla="*/ 241 h 845"/>
                  <a:gd name="T106" fmla="*/ 1050 w 1206"/>
                  <a:gd name="T107" fmla="*/ 256 h 845"/>
                  <a:gd name="T108" fmla="*/ 1114 w 1206"/>
                  <a:gd name="T109" fmla="*/ 291 h 845"/>
                  <a:gd name="T110" fmla="*/ 1135 w 1206"/>
                  <a:gd name="T111" fmla="*/ 312 h 845"/>
                  <a:gd name="T112" fmla="*/ 1199 w 1206"/>
                  <a:gd name="T113" fmla="*/ 320 h 845"/>
                  <a:gd name="T114" fmla="*/ 1206 w 1206"/>
                  <a:gd name="T115" fmla="*/ 398 h 845"/>
                  <a:gd name="T116" fmla="*/ 1050 w 1206"/>
                  <a:gd name="T117" fmla="*/ 426 h 845"/>
                  <a:gd name="T118" fmla="*/ 1100 w 1206"/>
                  <a:gd name="T119" fmla="*/ 490 h 845"/>
                  <a:gd name="T120" fmla="*/ 1071 w 1206"/>
                  <a:gd name="T121" fmla="*/ 596 h 845"/>
                  <a:gd name="T122" fmla="*/ 986 w 1206"/>
                  <a:gd name="T123" fmla="*/ 639 h 845"/>
                  <a:gd name="T124" fmla="*/ 937 w 1206"/>
                  <a:gd name="T125" fmla="*/ 767 h 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06" h="845">
                    <a:moveTo>
                      <a:pt x="937" y="788"/>
                    </a:moveTo>
                    <a:lnTo>
                      <a:pt x="937" y="788"/>
                    </a:lnTo>
                    <a:lnTo>
                      <a:pt x="937" y="795"/>
                    </a:lnTo>
                    <a:lnTo>
                      <a:pt x="929" y="802"/>
                    </a:lnTo>
                    <a:lnTo>
                      <a:pt x="929" y="802"/>
                    </a:lnTo>
                    <a:lnTo>
                      <a:pt x="929" y="802"/>
                    </a:lnTo>
                    <a:lnTo>
                      <a:pt x="929" y="802"/>
                    </a:lnTo>
                    <a:lnTo>
                      <a:pt x="929" y="802"/>
                    </a:lnTo>
                    <a:lnTo>
                      <a:pt x="922" y="802"/>
                    </a:lnTo>
                    <a:lnTo>
                      <a:pt x="922" y="802"/>
                    </a:lnTo>
                    <a:lnTo>
                      <a:pt x="908" y="795"/>
                    </a:lnTo>
                    <a:lnTo>
                      <a:pt x="908" y="795"/>
                    </a:lnTo>
                    <a:lnTo>
                      <a:pt x="901" y="795"/>
                    </a:lnTo>
                    <a:lnTo>
                      <a:pt x="901" y="795"/>
                    </a:lnTo>
                    <a:lnTo>
                      <a:pt x="901" y="795"/>
                    </a:lnTo>
                    <a:lnTo>
                      <a:pt x="901" y="795"/>
                    </a:lnTo>
                    <a:lnTo>
                      <a:pt x="894" y="795"/>
                    </a:lnTo>
                    <a:lnTo>
                      <a:pt x="894" y="795"/>
                    </a:lnTo>
                    <a:lnTo>
                      <a:pt x="894" y="795"/>
                    </a:lnTo>
                    <a:lnTo>
                      <a:pt x="894" y="795"/>
                    </a:lnTo>
                    <a:lnTo>
                      <a:pt x="894" y="795"/>
                    </a:lnTo>
                    <a:lnTo>
                      <a:pt x="894" y="788"/>
                    </a:lnTo>
                    <a:lnTo>
                      <a:pt x="894" y="788"/>
                    </a:lnTo>
                    <a:lnTo>
                      <a:pt x="894" y="788"/>
                    </a:lnTo>
                    <a:lnTo>
                      <a:pt x="894" y="788"/>
                    </a:lnTo>
                    <a:lnTo>
                      <a:pt x="894" y="788"/>
                    </a:lnTo>
                    <a:lnTo>
                      <a:pt x="894" y="781"/>
                    </a:lnTo>
                    <a:lnTo>
                      <a:pt x="894" y="781"/>
                    </a:lnTo>
                    <a:lnTo>
                      <a:pt x="894" y="781"/>
                    </a:lnTo>
                    <a:lnTo>
                      <a:pt x="894" y="781"/>
                    </a:lnTo>
                    <a:lnTo>
                      <a:pt x="887" y="774"/>
                    </a:lnTo>
                    <a:lnTo>
                      <a:pt x="880" y="774"/>
                    </a:lnTo>
                    <a:lnTo>
                      <a:pt x="880" y="774"/>
                    </a:lnTo>
                    <a:lnTo>
                      <a:pt x="880" y="767"/>
                    </a:lnTo>
                    <a:lnTo>
                      <a:pt x="880" y="767"/>
                    </a:lnTo>
                    <a:lnTo>
                      <a:pt x="880" y="767"/>
                    </a:lnTo>
                    <a:lnTo>
                      <a:pt x="880" y="767"/>
                    </a:lnTo>
                    <a:lnTo>
                      <a:pt x="873" y="767"/>
                    </a:lnTo>
                    <a:lnTo>
                      <a:pt x="873" y="767"/>
                    </a:lnTo>
                    <a:lnTo>
                      <a:pt x="866" y="760"/>
                    </a:lnTo>
                    <a:lnTo>
                      <a:pt x="866" y="760"/>
                    </a:lnTo>
                    <a:lnTo>
                      <a:pt x="866" y="760"/>
                    </a:lnTo>
                    <a:lnTo>
                      <a:pt x="858" y="760"/>
                    </a:lnTo>
                    <a:lnTo>
                      <a:pt x="858" y="760"/>
                    </a:lnTo>
                    <a:lnTo>
                      <a:pt x="851" y="767"/>
                    </a:lnTo>
                    <a:lnTo>
                      <a:pt x="851" y="767"/>
                    </a:lnTo>
                    <a:lnTo>
                      <a:pt x="851" y="767"/>
                    </a:lnTo>
                    <a:lnTo>
                      <a:pt x="837" y="774"/>
                    </a:lnTo>
                    <a:lnTo>
                      <a:pt x="837" y="774"/>
                    </a:lnTo>
                    <a:lnTo>
                      <a:pt x="837" y="774"/>
                    </a:lnTo>
                    <a:lnTo>
                      <a:pt x="837" y="774"/>
                    </a:lnTo>
                    <a:lnTo>
                      <a:pt x="837" y="774"/>
                    </a:lnTo>
                    <a:lnTo>
                      <a:pt x="837" y="767"/>
                    </a:lnTo>
                    <a:lnTo>
                      <a:pt x="837" y="767"/>
                    </a:lnTo>
                    <a:lnTo>
                      <a:pt x="830" y="767"/>
                    </a:lnTo>
                    <a:lnTo>
                      <a:pt x="830" y="774"/>
                    </a:lnTo>
                    <a:lnTo>
                      <a:pt x="830" y="774"/>
                    </a:lnTo>
                    <a:lnTo>
                      <a:pt x="823" y="774"/>
                    </a:lnTo>
                    <a:lnTo>
                      <a:pt x="823" y="774"/>
                    </a:lnTo>
                    <a:lnTo>
                      <a:pt x="823" y="774"/>
                    </a:lnTo>
                    <a:lnTo>
                      <a:pt x="823" y="774"/>
                    </a:lnTo>
                    <a:lnTo>
                      <a:pt x="816" y="774"/>
                    </a:lnTo>
                    <a:lnTo>
                      <a:pt x="816" y="774"/>
                    </a:lnTo>
                    <a:lnTo>
                      <a:pt x="816" y="774"/>
                    </a:lnTo>
                    <a:lnTo>
                      <a:pt x="816" y="774"/>
                    </a:lnTo>
                    <a:lnTo>
                      <a:pt x="816" y="774"/>
                    </a:lnTo>
                    <a:lnTo>
                      <a:pt x="816" y="767"/>
                    </a:lnTo>
                    <a:lnTo>
                      <a:pt x="809" y="767"/>
                    </a:lnTo>
                    <a:lnTo>
                      <a:pt x="809" y="767"/>
                    </a:lnTo>
                    <a:lnTo>
                      <a:pt x="809" y="767"/>
                    </a:lnTo>
                    <a:lnTo>
                      <a:pt x="802" y="767"/>
                    </a:lnTo>
                    <a:lnTo>
                      <a:pt x="795" y="767"/>
                    </a:lnTo>
                    <a:lnTo>
                      <a:pt x="795" y="767"/>
                    </a:lnTo>
                    <a:lnTo>
                      <a:pt x="787" y="767"/>
                    </a:lnTo>
                    <a:lnTo>
                      <a:pt x="787" y="767"/>
                    </a:lnTo>
                    <a:lnTo>
                      <a:pt x="787" y="767"/>
                    </a:lnTo>
                    <a:lnTo>
                      <a:pt x="780" y="774"/>
                    </a:lnTo>
                    <a:lnTo>
                      <a:pt x="780" y="774"/>
                    </a:lnTo>
                    <a:lnTo>
                      <a:pt x="780" y="774"/>
                    </a:lnTo>
                    <a:lnTo>
                      <a:pt x="773" y="774"/>
                    </a:lnTo>
                    <a:lnTo>
                      <a:pt x="773" y="774"/>
                    </a:lnTo>
                    <a:lnTo>
                      <a:pt x="773" y="774"/>
                    </a:lnTo>
                    <a:lnTo>
                      <a:pt x="773" y="767"/>
                    </a:lnTo>
                    <a:lnTo>
                      <a:pt x="773" y="767"/>
                    </a:lnTo>
                    <a:lnTo>
                      <a:pt x="773" y="767"/>
                    </a:lnTo>
                    <a:lnTo>
                      <a:pt x="773" y="767"/>
                    </a:lnTo>
                    <a:lnTo>
                      <a:pt x="773" y="767"/>
                    </a:lnTo>
                    <a:lnTo>
                      <a:pt x="773" y="760"/>
                    </a:lnTo>
                    <a:lnTo>
                      <a:pt x="766" y="760"/>
                    </a:lnTo>
                    <a:lnTo>
                      <a:pt x="766" y="753"/>
                    </a:lnTo>
                    <a:lnTo>
                      <a:pt x="766" y="753"/>
                    </a:lnTo>
                    <a:lnTo>
                      <a:pt x="759" y="753"/>
                    </a:lnTo>
                    <a:lnTo>
                      <a:pt x="752" y="753"/>
                    </a:lnTo>
                    <a:lnTo>
                      <a:pt x="752" y="753"/>
                    </a:lnTo>
                    <a:lnTo>
                      <a:pt x="752" y="753"/>
                    </a:lnTo>
                    <a:lnTo>
                      <a:pt x="752" y="753"/>
                    </a:lnTo>
                    <a:lnTo>
                      <a:pt x="745" y="753"/>
                    </a:lnTo>
                    <a:lnTo>
                      <a:pt x="738" y="753"/>
                    </a:lnTo>
                    <a:lnTo>
                      <a:pt x="738" y="753"/>
                    </a:lnTo>
                    <a:lnTo>
                      <a:pt x="731" y="745"/>
                    </a:lnTo>
                    <a:lnTo>
                      <a:pt x="731" y="753"/>
                    </a:lnTo>
                    <a:lnTo>
                      <a:pt x="731" y="753"/>
                    </a:lnTo>
                    <a:lnTo>
                      <a:pt x="731" y="753"/>
                    </a:lnTo>
                    <a:lnTo>
                      <a:pt x="731" y="753"/>
                    </a:lnTo>
                    <a:lnTo>
                      <a:pt x="731" y="753"/>
                    </a:lnTo>
                    <a:lnTo>
                      <a:pt x="731" y="760"/>
                    </a:lnTo>
                    <a:lnTo>
                      <a:pt x="731" y="760"/>
                    </a:lnTo>
                    <a:lnTo>
                      <a:pt x="724" y="760"/>
                    </a:lnTo>
                    <a:lnTo>
                      <a:pt x="724" y="760"/>
                    </a:lnTo>
                    <a:lnTo>
                      <a:pt x="716" y="760"/>
                    </a:lnTo>
                    <a:lnTo>
                      <a:pt x="709" y="767"/>
                    </a:lnTo>
                    <a:lnTo>
                      <a:pt x="695" y="767"/>
                    </a:lnTo>
                    <a:lnTo>
                      <a:pt x="688" y="767"/>
                    </a:lnTo>
                    <a:lnTo>
                      <a:pt x="688" y="767"/>
                    </a:lnTo>
                    <a:lnTo>
                      <a:pt x="688" y="774"/>
                    </a:lnTo>
                    <a:lnTo>
                      <a:pt x="688" y="774"/>
                    </a:lnTo>
                    <a:lnTo>
                      <a:pt x="688" y="774"/>
                    </a:lnTo>
                    <a:lnTo>
                      <a:pt x="688" y="774"/>
                    </a:lnTo>
                    <a:lnTo>
                      <a:pt x="688" y="774"/>
                    </a:lnTo>
                    <a:lnTo>
                      <a:pt x="688" y="774"/>
                    </a:lnTo>
                    <a:lnTo>
                      <a:pt x="688" y="781"/>
                    </a:lnTo>
                    <a:lnTo>
                      <a:pt x="681" y="781"/>
                    </a:lnTo>
                    <a:lnTo>
                      <a:pt x="681" y="781"/>
                    </a:lnTo>
                    <a:lnTo>
                      <a:pt x="674" y="781"/>
                    </a:lnTo>
                    <a:lnTo>
                      <a:pt x="667" y="781"/>
                    </a:lnTo>
                    <a:lnTo>
                      <a:pt x="660" y="781"/>
                    </a:lnTo>
                    <a:lnTo>
                      <a:pt x="660" y="788"/>
                    </a:lnTo>
                    <a:lnTo>
                      <a:pt x="653" y="788"/>
                    </a:lnTo>
                    <a:lnTo>
                      <a:pt x="645" y="788"/>
                    </a:lnTo>
                    <a:lnTo>
                      <a:pt x="638" y="781"/>
                    </a:lnTo>
                    <a:lnTo>
                      <a:pt x="638" y="781"/>
                    </a:lnTo>
                    <a:lnTo>
                      <a:pt x="631" y="781"/>
                    </a:lnTo>
                    <a:lnTo>
                      <a:pt x="631" y="781"/>
                    </a:lnTo>
                    <a:lnTo>
                      <a:pt x="631" y="781"/>
                    </a:lnTo>
                    <a:lnTo>
                      <a:pt x="624" y="781"/>
                    </a:lnTo>
                    <a:lnTo>
                      <a:pt x="624" y="781"/>
                    </a:lnTo>
                    <a:lnTo>
                      <a:pt x="624" y="781"/>
                    </a:lnTo>
                    <a:lnTo>
                      <a:pt x="624" y="781"/>
                    </a:lnTo>
                    <a:lnTo>
                      <a:pt x="624" y="781"/>
                    </a:lnTo>
                    <a:lnTo>
                      <a:pt x="617" y="781"/>
                    </a:lnTo>
                    <a:lnTo>
                      <a:pt x="617" y="781"/>
                    </a:lnTo>
                    <a:lnTo>
                      <a:pt x="617" y="781"/>
                    </a:lnTo>
                    <a:lnTo>
                      <a:pt x="617" y="781"/>
                    </a:lnTo>
                    <a:lnTo>
                      <a:pt x="617" y="781"/>
                    </a:lnTo>
                    <a:lnTo>
                      <a:pt x="617" y="781"/>
                    </a:lnTo>
                    <a:lnTo>
                      <a:pt x="617" y="781"/>
                    </a:lnTo>
                    <a:lnTo>
                      <a:pt x="617" y="781"/>
                    </a:lnTo>
                    <a:lnTo>
                      <a:pt x="617" y="774"/>
                    </a:lnTo>
                    <a:lnTo>
                      <a:pt x="617" y="774"/>
                    </a:lnTo>
                    <a:lnTo>
                      <a:pt x="617" y="767"/>
                    </a:lnTo>
                    <a:lnTo>
                      <a:pt x="617" y="767"/>
                    </a:lnTo>
                    <a:lnTo>
                      <a:pt x="617" y="767"/>
                    </a:lnTo>
                    <a:lnTo>
                      <a:pt x="610" y="767"/>
                    </a:lnTo>
                    <a:lnTo>
                      <a:pt x="610" y="767"/>
                    </a:lnTo>
                    <a:lnTo>
                      <a:pt x="610" y="767"/>
                    </a:lnTo>
                    <a:lnTo>
                      <a:pt x="610" y="767"/>
                    </a:lnTo>
                    <a:lnTo>
                      <a:pt x="603" y="767"/>
                    </a:lnTo>
                    <a:lnTo>
                      <a:pt x="603" y="767"/>
                    </a:lnTo>
                    <a:lnTo>
                      <a:pt x="603" y="767"/>
                    </a:lnTo>
                    <a:lnTo>
                      <a:pt x="603" y="767"/>
                    </a:lnTo>
                    <a:lnTo>
                      <a:pt x="596" y="774"/>
                    </a:lnTo>
                    <a:lnTo>
                      <a:pt x="589" y="774"/>
                    </a:lnTo>
                    <a:lnTo>
                      <a:pt x="582" y="774"/>
                    </a:lnTo>
                    <a:lnTo>
                      <a:pt x="582" y="774"/>
                    </a:lnTo>
                    <a:lnTo>
                      <a:pt x="582" y="781"/>
                    </a:lnTo>
                    <a:lnTo>
                      <a:pt x="582" y="781"/>
                    </a:lnTo>
                    <a:lnTo>
                      <a:pt x="575" y="781"/>
                    </a:lnTo>
                    <a:lnTo>
                      <a:pt x="567" y="788"/>
                    </a:lnTo>
                    <a:lnTo>
                      <a:pt x="560" y="788"/>
                    </a:lnTo>
                    <a:lnTo>
                      <a:pt x="546" y="795"/>
                    </a:lnTo>
                    <a:lnTo>
                      <a:pt x="546" y="795"/>
                    </a:lnTo>
                    <a:lnTo>
                      <a:pt x="539" y="795"/>
                    </a:lnTo>
                    <a:lnTo>
                      <a:pt x="539" y="795"/>
                    </a:lnTo>
                    <a:lnTo>
                      <a:pt x="532" y="795"/>
                    </a:lnTo>
                    <a:lnTo>
                      <a:pt x="532" y="795"/>
                    </a:lnTo>
                    <a:lnTo>
                      <a:pt x="532" y="795"/>
                    </a:lnTo>
                    <a:lnTo>
                      <a:pt x="525" y="795"/>
                    </a:lnTo>
                    <a:lnTo>
                      <a:pt x="525" y="795"/>
                    </a:lnTo>
                    <a:lnTo>
                      <a:pt x="518" y="802"/>
                    </a:lnTo>
                    <a:lnTo>
                      <a:pt x="518" y="802"/>
                    </a:lnTo>
                    <a:lnTo>
                      <a:pt x="518" y="802"/>
                    </a:lnTo>
                    <a:lnTo>
                      <a:pt x="518" y="802"/>
                    </a:lnTo>
                    <a:lnTo>
                      <a:pt x="518" y="795"/>
                    </a:lnTo>
                    <a:lnTo>
                      <a:pt x="511" y="795"/>
                    </a:lnTo>
                    <a:lnTo>
                      <a:pt x="511" y="795"/>
                    </a:lnTo>
                    <a:lnTo>
                      <a:pt x="511" y="795"/>
                    </a:lnTo>
                    <a:lnTo>
                      <a:pt x="504" y="795"/>
                    </a:lnTo>
                    <a:lnTo>
                      <a:pt x="504" y="795"/>
                    </a:lnTo>
                    <a:lnTo>
                      <a:pt x="504" y="802"/>
                    </a:lnTo>
                    <a:lnTo>
                      <a:pt x="504" y="802"/>
                    </a:lnTo>
                    <a:lnTo>
                      <a:pt x="496" y="802"/>
                    </a:lnTo>
                    <a:lnTo>
                      <a:pt x="496" y="802"/>
                    </a:lnTo>
                    <a:lnTo>
                      <a:pt x="496" y="802"/>
                    </a:lnTo>
                    <a:lnTo>
                      <a:pt x="496" y="795"/>
                    </a:lnTo>
                    <a:lnTo>
                      <a:pt x="496" y="795"/>
                    </a:lnTo>
                    <a:lnTo>
                      <a:pt x="496" y="795"/>
                    </a:lnTo>
                    <a:lnTo>
                      <a:pt x="489" y="795"/>
                    </a:lnTo>
                    <a:lnTo>
                      <a:pt x="489" y="795"/>
                    </a:lnTo>
                    <a:lnTo>
                      <a:pt x="489" y="795"/>
                    </a:lnTo>
                    <a:lnTo>
                      <a:pt x="489" y="795"/>
                    </a:lnTo>
                    <a:lnTo>
                      <a:pt x="489" y="795"/>
                    </a:lnTo>
                    <a:lnTo>
                      <a:pt x="489" y="802"/>
                    </a:lnTo>
                    <a:lnTo>
                      <a:pt x="489" y="802"/>
                    </a:lnTo>
                    <a:lnTo>
                      <a:pt x="489" y="795"/>
                    </a:lnTo>
                    <a:lnTo>
                      <a:pt x="489" y="795"/>
                    </a:lnTo>
                    <a:lnTo>
                      <a:pt x="489" y="795"/>
                    </a:lnTo>
                    <a:lnTo>
                      <a:pt x="482" y="788"/>
                    </a:lnTo>
                    <a:lnTo>
                      <a:pt x="482" y="781"/>
                    </a:lnTo>
                    <a:lnTo>
                      <a:pt x="482" y="781"/>
                    </a:lnTo>
                    <a:lnTo>
                      <a:pt x="475" y="781"/>
                    </a:lnTo>
                    <a:lnTo>
                      <a:pt x="475" y="781"/>
                    </a:lnTo>
                    <a:lnTo>
                      <a:pt x="475" y="781"/>
                    </a:lnTo>
                    <a:lnTo>
                      <a:pt x="482" y="774"/>
                    </a:lnTo>
                    <a:lnTo>
                      <a:pt x="482" y="774"/>
                    </a:lnTo>
                    <a:lnTo>
                      <a:pt x="482" y="774"/>
                    </a:lnTo>
                    <a:lnTo>
                      <a:pt x="496" y="774"/>
                    </a:lnTo>
                    <a:lnTo>
                      <a:pt x="496" y="774"/>
                    </a:lnTo>
                    <a:lnTo>
                      <a:pt x="496" y="774"/>
                    </a:lnTo>
                    <a:lnTo>
                      <a:pt x="496" y="774"/>
                    </a:lnTo>
                    <a:lnTo>
                      <a:pt x="496" y="774"/>
                    </a:lnTo>
                    <a:lnTo>
                      <a:pt x="496" y="774"/>
                    </a:lnTo>
                    <a:lnTo>
                      <a:pt x="496" y="774"/>
                    </a:lnTo>
                    <a:lnTo>
                      <a:pt x="496" y="767"/>
                    </a:lnTo>
                    <a:lnTo>
                      <a:pt x="496" y="767"/>
                    </a:lnTo>
                    <a:lnTo>
                      <a:pt x="496" y="767"/>
                    </a:lnTo>
                    <a:lnTo>
                      <a:pt x="496" y="753"/>
                    </a:lnTo>
                    <a:lnTo>
                      <a:pt x="496" y="753"/>
                    </a:lnTo>
                    <a:lnTo>
                      <a:pt x="496" y="753"/>
                    </a:lnTo>
                    <a:lnTo>
                      <a:pt x="489" y="753"/>
                    </a:lnTo>
                    <a:lnTo>
                      <a:pt x="489" y="753"/>
                    </a:lnTo>
                    <a:lnTo>
                      <a:pt x="489" y="745"/>
                    </a:lnTo>
                    <a:lnTo>
                      <a:pt x="489" y="745"/>
                    </a:lnTo>
                    <a:lnTo>
                      <a:pt x="489" y="745"/>
                    </a:lnTo>
                    <a:lnTo>
                      <a:pt x="489" y="745"/>
                    </a:lnTo>
                    <a:lnTo>
                      <a:pt x="489" y="745"/>
                    </a:lnTo>
                    <a:lnTo>
                      <a:pt x="489" y="745"/>
                    </a:lnTo>
                    <a:lnTo>
                      <a:pt x="482" y="745"/>
                    </a:lnTo>
                    <a:lnTo>
                      <a:pt x="482" y="745"/>
                    </a:lnTo>
                    <a:lnTo>
                      <a:pt x="461" y="745"/>
                    </a:lnTo>
                    <a:lnTo>
                      <a:pt x="461" y="745"/>
                    </a:lnTo>
                    <a:lnTo>
                      <a:pt x="461" y="745"/>
                    </a:lnTo>
                    <a:lnTo>
                      <a:pt x="461" y="745"/>
                    </a:lnTo>
                    <a:lnTo>
                      <a:pt x="461" y="745"/>
                    </a:lnTo>
                    <a:lnTo>
                      <a:pt x="454" y="745"/>
                    </a:lnTo>
                    <a:lnTo>
                      <a:pt x="454" y="753"/>
                    </a:lnTo>
                    <a:lnTo>
                      <a:pt x="454" y="753"/>
                    </a:lnTo>
                    <a:lnTo>
                      <a:pt x="454" y="753"/>
                    </a:lnTo>
                    <a:lnTo>
                      <a:pt x="447" y="753"/>
                    </a:lnTo>
                    <a:lnTo>
                      <a:pt x="447" y="753"/>
                    </a:lnTo>
                    <a:lnTo>
                      <a:pt x="447" y="753"/>
                    </a:lnTo>
                    <a:lnTo>
                      <a:pt x="447" y="753"/>
                    </a:lnTo>
                    <a:lnTo>
                      <a:pt x="447" y="753"/>
                    </a:lnTo>
                    <a:lnTo>
                      <a:pt x="447" y="753"/>
                    </a:lnTo>
                    <a:lnTo>
                      <a:pt x="447" y="753"/>
                    </a:lnTo>
                    <a:lnTo>
                      <a:pt x="447" y="753"/>
                    </a:lnTo>
                    <a:lnTo>
                      <a:pt x="440" y="753"/>
                    </a:lnTo>
                    <a:lnTo>
                      <a:pt x="440" y="753"/>
                    </a:lnTo>
                    <a:lnTo>
                      <a:pt x="433" y="753"/>
                    </a:lnTo>
                    <a:lnTo>
                      <a:pt x="425" y="753"/>
                    </a:lnTo>
                    <a:lnTo>
                      <a:pt x="425" y="753"/>
                    </a:lnTo>
                    <a:lnTo>
                      <a:pt x="404" y="767"/>
                    </a:lnTo>
                    <a:lnTo>
                      <a:pt x="404" y="767"/>
                    </a:lnTo>
                    <a:lnTo>
                      <a:pt x="397" y="767"/>
                    </a:lnTo>
                    <a:lnTo>
                      <a:pt x="390" y="767"/>
                    </a:lnTo>
                    <a:lnTo>
                      <a:pt x="390" y="774"/>
                    </a:lnTo>
                    <a:lnTo>
                      <a:pt x="390" y="774"/>
                    </a:lnTo>
                    <a:lnTo>
                      <a:pt x="390" y="781"/>
                    </a:lnTo>
                    <a:lnTo>
                      <a:pt x="390" y="781"/>
                    </a:lnTo>
                    <a:lnTo>
                      <a:pt x="390" y="781"/>
                    </a:lnTo>
                    <a:lnTo>
                      <a:pt x="390" y="781"/>
                    </a:lnTo>
                    <a:lnTo>
                      <a:pt x="390" y="781"/>
                    </a:lnTo>
                    <a:lnTo>
                      <a:pt x="390" y="781"/>
                    </a:lnTo>
                    <a:lnTo>
                      <a:pt x="390" y="788"/>
                    </a:lnTo>
                    <a:lnTo>
                      <a:pt x="390" y="788"/>
                    </a:lnTo>
                    <a:lnTo>
                      <a:pt x="383" y="788"/>
                    </a:lnTo>
                    <a:lnTo>
                      <a:pt x="383" y="788"/>
                    </a:lnTo>
                    <a:lnTo>
                      <a:pt x="383" y="788"/>
                    </a:lnTo>
                    <a:lnTo>
                      <a:pt x="383" y="795"/>
                    </a:lnTo>
                    <a:lnTo>
                      <a:pt x="376" y="795"/>
                    </a:lnTo>
                    <a:lnTo>
                      <a:pt x="376" y="802"/>
                    </a:lnTo>
                    <a:lnTo>
                      <a:pt x="376" y="802"/>
                    </a:lnTo>
                    <a:lnTo>
                      <a:pt x="369" y="802"/>
                    </a:lnTo>
                    <a:lnTo>
                      <a:pt x="369" y="809"/>
                    </a:lnTo>
                    <a:lnTo>
                      <a:pt x="369" y="809"/>
                    </a:lnTo>
                    <a:lnTo>
                      <a:pt x="369" y="809"/>
                    </a:lnTo>
                    <a:lnTo>
                      <a:pt x="369" y="809"/>
                    </a:lnTo>
                    <a:lnTo>
                      <a:pt x="369" y="816"/>
                    </a:lnTo>
                    <a:lnTo>
                      <a:pt x="369" y="824"/>
                    </a:lnTo>
                    <a:lnTo>
                      <a:pt x="369" y="824"/>
                    </a:lnTo>
                    <a:lnTo>
                      <a:pt x="369" y="824"/>
                    </a:lnTo>
                    <a:lnTo>
                      <a:pt x="369" y="824"/>
                    </a:lnTo>
                    <a:lnTo>
                      <a:pt x="362" y="831"/>
                    </a:lnTo>
                    <a:lnTo>
                      <a:pt x="354" y="831"/>
                    </a:lnTo>
                    <a:lnTo>
                      <a:pt x="354" y="831"/>
                    </a:lnTo>
                    <a:lnTo>
                      <a:pt x="347" y="831"/>
                    </a:lnTo>
                    <a:lnTo>
                      <a:pt x="347" y="831"/>
                    </a:lnTo>
                    <a:lnTo>
                      <a:pt x="347" y="838"/>
                    </a:lnTo>
                    <a:lnTo>
                      <a:pt x="340" y="838"/>
                    </a:lnTo>
                    <a:lnTo>
                      <a:pt x="340" y="845"/>
                    </a:lnTo>
                    <a:lnTo>
                      <a:pt x="333" y="845"/>
                    </a:lnTo>
                    <a:lnTo>
                      <a:pt x="333" y="845"/>
                    </a:lnTo>
                    <a:lnTo>
                      <a:pt x="326" y="845"/>
                    </a:lnTo>
                    <a:lnTo>
                      <a:pt x="319" y="845"/>
                    </a:lnTo>
                    <a:lnTo>
                      <a:pt x="305" y="845"/>
                    </a:lnTo>
                    <a:lnTo>
                      <a:pt x="305" y="845"/>
                    </a:lnTo>
                    <a:lnTo>
                      <a:pt x="298" y="845"/>
                    </a:lnTo>
                    <a:lnTo>
                      <a:pt x="291" y="838"/>
                    </a:lnTo>
                    <a:lnTo>
                      <a:pt x="291" y="831"/>
                    </a:lnTo>
                    <a:lnTo>
                      <a:pt x="291" y="831"/>
                    </a:lnTo>
                    <a:lnTo>
                      <a:pt x="291" y="831"/>
                    </a:lnTo>
                    <a:lnTo>
                      <a:pt x="291" y="831"/>
                    </a:lnTo>
                    <a:lnTo>
                      <a:pt x="291" y="831"/>
                    </a:lnTo>
                    <a:lnTo>
                      <a:pt x="291" y="831"/>
                    </a:lnTo>
                    <a:lnTo>
                      <a:pt x="298" y="831"/>
                    </a:lnTo>
                    <a:lnTo>
                      <a:pt x="298" y="831"/>
                    </a:lnTo>
                    <a:lnTo>
                      <a:pt x="298" y="831"/>
                    </a:lnTo>
                    <a:lnTo>
                      <a:pt x="298" y="831"/>
                    </a:lnTo>
                    <a:lnTo>
                      <a:pt x="298" y="831"/>
                    </a:lnTo>
                    <a:lnTo>
                      <a:pt x="298" y="824"/>
                    </a:lnTo>
                    <a:lnTo>
                      <a:pt x="298" y="816"/>
                    </a:lnTo>
                    <a:lnTo>
                      <a:pt x="291" y="809"/>
                    </a:lnTo>
                    <a:lnTo>
                      <a:pt x="291" y="802"/>
                    </a:lnTo>
                    <a:lnTo>
                      <a:pt x="291" y="802"/>
                    </a:lnTo>
                    <a:lnTo>
                      <a:pt x="291" y="802"/>
                    </a:lnTo>
                    <a:lnTo>
                      <a:pt x="283" y="802"/>
                    </a:lnTo>
                    <a:lnTo>
                      <a:pt x="283" y="802"/>
                    </a:lnTo>
                    <a:lnTo>
                      <a:pt x="283" y="802"/>
                    </a:lnTo>
                    <a:lnTo>
                      <a:pt x="276" y="802"/>
                    </a:lnTo>
                    <a:lnTo>
                      <a:pt x="269" y="802"/>
                    </a:lnTo>
                    <a:lnTo>
                      <a:pt x="269" y="802"/>
                    </a:lnTo>
                    <a:lnTo>
                      <a:pt x="262" y="802"/>
                    </a:lnTo>
                    <a:lnTo>
                      <a:pt x="262" y="802"/>
                    </a:lnTo>
                    <a:lnTo>
                      <a:pt x="255" y="802"/>
                    </a:lnTo>
                    <a:lnTo>
                      <a:pt x="234" y="802"/>
                    </a:lnTo>
                    <a:lnTo>
                      <a:pt x="234" y="802"/>
                    </a:lnTo>
                    <a:lnTo>
                      <a:pt x="227" y="802"/>
                    </a:lnTo>
                    <a:lnTo>
                      <a:pt x="227" y="802"/>
                    </a:lnTo>
                    <a:lnTo>
                      <a:pt x="220" y="802"/>
                    </a:lnTo>
                    <a:lnTo>
                      <a:pt x="220" y="802"/>
                    </a:lnTo>
                    <a:lnTo>
                      <a:pt x="212" y="802"/>
                    </a:lnTo>
                    <a:lnTo>
                      <a:pt x="212" y="802"/>
                    </a:lnTo>
                    <a:lnTo>
                      <a:pt x="205" y="802"/>
                    </a:lnTo>
                    <a:lnTo>
                      <a:pt x="191" y="802"/>
                    </a:lnTo>
                    <a:lnTo>
                      <a:pt x="191" y="802"/>
                    </a:lnTo>
                    <a:lnTo>
                      <a:pt x="191" y="802"/>
                    </a:lnTo>
                    <a:lnTo>
                      <a:pt x="184" y="802"/>
                    </a:lnTo>
                    <a:lnTo>
                      <a:pt x="184" y="802"/>
                    </a:lnTo>
                    <a:lnTo>
                      <a:pt x="170" y="795"/>
                    </a:lnTo>
                    <a:lnTo>
                      <a:pt x="163" y="795"/>
                    </a:lnTo>
                    <a:lnTo>
                      <a:pt x="156" y="795"/>
                    </a:lnTo>
                    <a:lnTo>
                      <a:pt x="156" y="795"/>
                    </a:lnTo>
                    <a:lnTo>
                      <a:pt x="156" y="795"/>
                    </a:lnTo>
                    <a:lnTo>
                      <a:pt x="156" y="788"/>
                    </a:lnTo>
                    <a:lnTo>
                      <a:pt x="156" y="788"/>
                    </a:lnTo>
                    <a:lnTo>
                      <a:pt x="149" y="781"/>
                    </a:lnTo>
                    <a:lnTo>
                      <a:pt x="141" y="774"/>
                    </a:lnTo>
                    <a:lnTo>
                      <a:pt x="141" y="774"/>
                    </a:lnTo>
                    <a:lnTo>
                      <a:pt x="141" y="774"/>
                    </a:lnTo>
                    <a:lnTo>
                      <a:pt x="141" y="774"/>
                    </a:lnTo>
                    <a:lnTo>
                      <a:pt x="134" y="774"/>
                    </a:lnTo>
                    <a:lnTo>
                      <a:pt x="127" y="774"/>
                    </a:lnTo>
                    <a:lnTo>
                      <a:pt x="127" y="774"/>
                    </a:lnTo>
                    <a:lnTo>
                      <a:pt x="127" y="767"/>
                    </a:lnTo>
                    <a:lnTo>
                      <a:pt x="127" y="767"/>
                    </a:lnTo>
                    <a:lnTo>
                      <a:pt x="120" y="767"/>
                    </a:lnTo>
                    <a:lnTo>
                      <a:pt x="120" y="767"/>
                    </a:lnTo>
                    <a:lnTo>
                      <a:pt x="120" y="767"/>
                    </a:lnTo>
                    <a:lnTo>
                      <a:pt x="106" y="767"/>
                    </a:lnTo>
                    <a:lnTo>
                      <a:pt x="99" y="767"/>
                    </a:lnTo>
                    <a:lnTo>
                      <a:pt x="99" y="767"/>
                    </a:lnTo>
                    <a:lnTo>
                      <a:pt x="99" y="767"/>
                    </a:lnTo>
                    <a:lnTo>
                      <a:pt x="92" y="767"/>
                    </a:lnTo>
                    <a:lnTo>
                      <a:pt x="92" y="767"/>
                    </a:lnTo>
                    <a:lnTo>
                      <a:pt x="92" y="760"/>
                    </a:lnTo>
                    <a:lnTo>
                      <a:pt x="85" y="760"/>
                    </a:lnTo>
                    <a:lnTo>
                      <a:pt x="78" y="760"/>
                    </a:lnTo>
                    <a:lnTo>
                      <a:pt x="78" y="753"/>
                    </a:lnTo>
                    <a:lnTo>
                      <a:pt x="70" y="753"/>
                    </a:lnTo>
                    <a:lnTo>
                      <a:pt x="70" y="753"/>
                    </a:lnTo>
                    <a:lnTo>
                      <a:pt x="70" y="753"/>
                    </a:lnTo>
                    <a:lnTo>
                      <a:pt x="70" y="753"/>
                    </a:lnTo>
                    <a:lnTo>
                      <a:pt x="70" y="745"/>
                    </a:lnTo>
                    <a:lnTo>
                      <a:pt x="70" y="745"/>
                    </a:lnTo>
                    <a:lnTo>
                      <a:pt x="70" y="738"/>
                    </a:lnTo>
                    <a:lnTo>
                      <a:pt x="63" y="738"/>
                    </a:lnTo>
                    <a:lnTo>
                      <a:pt x="63" y="738"/>
                    </a:lnTo>
                    <a:lnTo>
                      <a:pt x="70" y="724"/>
                    </a:lnTo>
                    <a:lnTo>
                      <a:pt x="70" y="724"/>
                    </a:lnTo>
                    <a:lnTo>
                      <a:pt x="63" y="717"/>
                    </a:lnTo>
                    <a:lnTo>
                      <a:pt x="56" y="710"/>
                    </a:lnTo>
                    <a:lnTo>
                      <a:pt x="56" y="710"/>
                    </a:lnTo>
                    <a:lnTo>
                      <a:pt x="56" y="710"/>
                    </a:lnTo>
                    <a:lnTo>
                      <a:pt x="49" y="710"/>
                    </a:lnTo>
                    <a:lnTo>
                      <a:pt x="49" y="710"/>
                    </a:lnTo>
                    <a:lnTo>
                      <a:pt x="42" y="717"/>
                    </a:lnTo>
                    <a:lnTo>
                      <a:pt x="42" y="717"/>
                    </a:lnTo>
                    <a:lnTo>
                      <a:pt x="42" y="717"/>
                    </a:lnTo>
                    <a:lnTo>
                      <a:pt x="42" y="717"/>
                    </a:lnTo>
                    <a:lnTo>
                      <a:pt x="42" y="717"/>
                    </a:lnTo>
                    <a:lnTo>
                      <a:pt x="42" y="717"/>
                    </a:lnTo>
                    <a:lnTo>
                      <a:pt x="42" y="717"/>
                    </a:lnTo>
                    <a:lnTo>
                      <a:pt x="35" y="717"/>
                    </a:lnTo>
                    <a:lnTo>
                      <a:pt x="35" y="717"/>
                    </a:lnTo>
                    <a:lnTo>
                      <a:pt x="35" y="724"/>
                    </a:lnTo>
                    <a:lnTo>
                      <a:pt x="28" y="724"/>
                    </a:lnTo>
                    <a:lnTo>
                      <a:pt x="28" y="724"/>
                    </a:lnTo>
                    <a:lnTo>
                      <a:pt x="21" y="724"/>
                    </a:lnTo>
                    <a:lnTo>
                      <a:pt x="21" y="717"/>
                    </a:lnTo>
                    <a:lnTo>
                      <a:pt x="14" y="717"/>
                    </a:lnTo>
                    <a:lnTo>
                      <a:pt x="14" y="710"/>
                    </a:lnTo>
                    <a:lnTo>
                      <a:pt x="21" y="703"/>
                    </a:lnTo>
                    <a:lnTo>
                      <a:pt x="21" y="703"/>
                    </a:lnTo>
                    <a:lnTo>
                      <a:pt x="21" y="696"/>
                    </a:lnTo>
                    <a:lnTo>
                      <a:pt x="14" y="696"/>
                    </a:lnTo>
                    <a:lnTo>
                      <a:pt x="14" y="696"/>
                    </a:lnTo>
                    <a:lnTo>
                      <a:pt x="14" y="696"/>
                    </a:lnTo>
                    <a:lnTo>
                      <a:pt x="14" y="689"/>
                    </a:lnTo>
                    <a:lnTo>
                      <a:pt x="14" y="689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7" y="682"/>
                    </a:lnTo>
                    <a:lnTo>
                      <a:pt x="7" y="682"/>
                    </a:lnTo>
                    <a:lnTo>
                      <a:pt x="7" y="682"/>
                    </a:lnTo>
                    <a:lnTo>
                      <a:pt x="7" y="674"/>
                    </a:lnTo>
                    <a:lnTo>
                      <a:pt x="7" y="674"/>
                    </a:lnTo>
                    <a:lnTo>
                      <a:pt x="7" y="667"/>
                    </a:lnTo>
                    <a:lnTo>
                      <a:pt x="7" y="667"/>
                    </a:lnTo>
                    <a:lnTo>
                      <a:pt x="7" y="660"/>
                    </a:lnTo>
                    <a:lnTo>
                      <a:pt x="7" y="660"/>
                    </a:lnTo>
                    <a:lnTo>
                      <a:pt x="7" y="660"/>
                    </a:lnTo>
                    <a:lnTo>
                      <a:pt x="7" y="660"/>
                    </a:lnTo>
                    <a:lnTo>
                      <a:pt x="14" y="660"/>
                    </a:lnTo>
                    <a:lnTo>
                      <a:pt x="14" y="660"/>
                    </a:lnTo>
                    <a:lnTo>
                      <a:pt x="14" y="660"/>
                    </a:lnTo>
                    <a:lnTo>
                      <a:pt x="14" y="660"/>
                    </a:lnTo>
                    <a:lnTo>
                      <a:pt x="14" y="660"/>
                    </a:lnTo>
                    <a:lnTo>
                      <a:pt x="14" y="660"/>
                    </a:lnTo>
                    <a:lnTo>
                      <a:pt x="21" y="660"/>
                    </a:lnTo>
                    <a:lnTo>
                      <a:pt x="21" y="660"/>
                    </a:lnTo>
                    <a:lnTo>
                      <a:pt x="21" y="660"/>
                    </a:lnTo>
                    <a:lnTo>
                      <a:pt x="28" y="660"/>
                    </a:lnTo>
                    <a:lnTo>
                      <a:pt x="28" y="660"/>
                    </a:lnTo>
                    <a:lnTo>
                      <a:pt x="28" y="660"/>
                    </a:lnTo>
                    <a:lnTo>
                      <a:pt x="35" y="660"/>
                    </a:lnTo>
                    <a:lnTo>
                      <a:pt x="35" y="653"/>
                    </a:lnTo>
                    <a:lnTo>
                      <a:pt x="35" y="653"/>
                    </a:lnTo>
                    <a:lnTo>
                      <a:pt x="35" y="653"/>
                    </a:lnTo>
                    <a:lnTo>
                      <a:pt x="35" y="653"/>
                    </a:lnTo>
                    <a:lnTo>
                      <a:pt x="35" y="653"/>
                    </a:lnTo>
                    <a:lnTo>
                      <a:pt x="28" y="653"/>
                    </a:lnTo>
                    <a:lnTo>
                      <a:pt x="28" y="646"/>
                    </a:lnTo>
                    <a:lnTo>
                      <a:pt x="21" y="646"/>
                    </a:lnTo>
                    <a:lnTo>
                      <a:pt x="14" y="653"/>
                    </a:lnTo>
                    <a:lnTo>
                      <a:pt x="14" y="653"/>
                    </a:lnTo>
                    <a:lnTo>
                      <a:pt x="14" y="646"/>
                    </a:lnTo>
                    <a:lnTo>
                      <a:pt x="14" y="646"/>
                    </a:lnTo>
                    <a:lnTo>
                      <a:pt x="7" y="639"/>
                    </a:lnTo>
                    <a:lnTo>
                      <a:pt x="0" y="639"/>
                    </a:lnTo>
                    <a:lnTo>
                      <a:pt x="0" y="639"/>
                    </a:lnTo>
                    <a:lnTo>
                      <a:pt x="7" y="639"/>
                    </a:lnTo>
                    <a:lnTo>
                      <a:pt x="7" y="632"/>
                    </a:lnTo>
                    <a:lnTo>
                      <a:pt x="7" y="632"/>
                    </a:lnTo>
                    <a:lnTo>
                      <a:pt x="7" y="632"/>
                    </a:lnTo>
                    <a:lnTo>
                      <a:pt x="7" y="632"/>
                    </a:lnTo>
                    <a:lnTo>
                      <a:pt x="14" y="639"/>
                    </a:lnTo>
                    <a:lnTo>
                      <a:pt x="14" y="639"/>
                    </a:lnTo>
                    <a:lnTo>
                      <a:pt x="21" y="639"/>
                    </a:lnTo>
                    <a:lnTo>
                      <a:pt x="21" y="632"/>
                    </a:lnTo>
                    <a:lnTo>
                      <a:pt x="21" y="632"/>
                    </a:lnTo>
                    <a:lnTo>
                      <a:pt x="28" y="632"/>
                    </a:lnTo>
                    <a:lnTo>
                      <a:pt x="35" y="618"/>
                    </a:lnTo>
                    <a:lnTo>
                      <a:pt x="35" y="618"/>
                    </a:lnTo>
                    <a:lnTo>
                      <a:pt x="42" y="618"/>
                    </a:lnTo>
                    <a:lnTo>
                      <a:pt x="42" y="618"/>
                    </a:lnTo>
                    <a:lnTo>
                      <a:pt x="42" y="618"/>
                    </a:lnTo>
                    <a:lnTo>
                      <a:pt x="49" y="618"/>
                    </a:lnTo>
                    <a:lnTo>
                      <a:pt x="49" y="618"/>
                    </a:lnTo>
                    <a:lnTo>
                      <a:pt x="49" y="618"/>
                    </a:lnTo>
                    <a:lnTo>
                      <a:pt x="49" y="618"/>
                    </a:lnTo>
                    <a:lnTo>
                      <a:pt x="49" y="618"/>
                    </a:lnTo>
                    <a:lnTo>
                      <a:pt x="63" y="589"/>
                    </a:lnTo>
                    <a:lnTo>
                      <a:pt x="63" y="589"/>
                    </a:lnTo>
                    <a:lnTo>
                      <a:pt x="63" y="589"/>
                    </a:lnTo>
                    <a:lnTo>
                      <a:pt x="56" y="582"/>
                    </a:lnTo>
                    <a:lnTo>
                      <a:pt x="56" y="582"/>
                    </a:lnTo>
                    <a:lnTo>
                      <a:pt x="56" y="582"/>
                    </a:lnTo>
                    <a:lnTo>
                      <a:pt x="56" y="582"/>
                    </a:lnTo>
                    <a:lnTo>
                      <a:pt x="56" y="582"/>
                    </a:lnTo>
                    <a:lnTo>
                      <a:pt x="49" y="582"/>
                    </a:lnTo>
                    <a:lnTo>
                      <a:pt x="49" y="582"/>
                    </a:lnTo>
                    <a:lnTo>
                      <a:pt x="49" y="582"/>
                    </a:lnTo>
                    <a:lnTo>
                      <a:pt x="49" y="582"/>
                    </a:lnTo>
                    <a:lnTo>
                      <a:pt x="49" y="575"/>
                    </a:lnTo>
                    <a:lnTo>
                      <a:pt x="49" y="568"/>
                    </a:lnTo>
                    <a:lnTo>
                      <a:pt x="42" y="561"/>
                    </a:lnTo>
                    <a:lnTo>
                      <a:pt x="49" y="554"/>
                    </a:lnTo>
                    <a:lnTo>
                      <a:pt x="49" y="554"/>
                    </a:lnTo>
                    <a:lnTo>
                      <a:pt x="49" y="554"/>
                    </a:lnTo>
                    <a:lnTo>
                      <a:pt x="49" y="554"/>
                    </a:lnTo>
                    <a:lnTo>
                      <a:pt x="56" y="554"/>
                    </a:lnTo>
                    <a:lnTo>
                      <a:pt x="56" y="554"/>
                    </a:lnTo>
                    <a:lnTo>
                      <a:pt x="56" y="554"/>
                    </a:lnTo>
                    <a:lnTo>
                      <a:pt x="63" y="554"/>
                    </a:lnTo>
                    <a:lnTo>
                      <a:pt x="63" y="554"/>
                    </a:lnTo>
                    <a:lnTo>
                      <a:pt x="63" y="554"/>
                    </a:lnTo>
                    <a:lnTo>
                      <a:pt x="78" y="547"/>
                    </a:lnTo>
                    <a:lnTo>
                      <a:pt x="85" y="547"/>
                    </a:lnTo>
                    <a:lnTo>
                      <a:pt x="92" y="540"/>
                    </a:lnTo>
                    <a:lnTo>
                      <a:pt x="99" y="540"/>
                    </a:lnTo>
                    <a:lnTo>
                      <a:pt x="99" y="540"/>
                    </a:lnTo>
                    <a:lnTo>
                      <a:pt x="99" y="540"/>
                    </a:lnTo>
                    <a:lnTo>
                      <a:pt x="99" y="533"/>
                    </a:lnTo>
                    <a:lnTo>
                      <a:pt x="92" y="533"/>
                    </a:lnTo>
                    <a:lnTo>
                      <a:pt x="92" y="533"/>
                    </a:lnTo>
                    <a:lnTo>
                      <a:pt x="92" y="533"/>
                    </a:lnTo>
                    <a:lnTo>
                      <a:pt x="92" y="533"/>
                    </a:lnTo>
                    <a:lnTo>
                      <a:pt x="92" y="533"/>
                    </a:lnTo>
                    <a:lnTo>
                      <a:pt x="85" y="533"/>
                    </a:lnTo>
                    <a:lnTo>
                      <a:pt x="85" y="533"/>
                    </a:lnTo>
                    <a:lnTo>
                      <a:pt x="78" y="525"/>
                    </a:lnTo>
                    <a:lnTo>
                      <a:pt x="78" y="525"/>
                    </a:lnTo>
                    <a:lnTo>
                      <a:pt x="78" y="525"/>
                    </a:lnTo>
                    <a:lnTo>
                      <a:pt x="78" y="525"/>
                    </a:lnTo>
                    <a:lnTo>
                      <a:pt x="70" y="525"/>
                    </a:lnTo>
                    <a:lnTo>
                      <a:pt x="70" y="525"/>
                    </a:lnTo>
                    <a:lnTo>
                      <a:pt x="70" y="525"/>
                    </a:lnTo>
                    <a:lnTo>
                      <a:pt x="70" y="518"/>
                    </a:lnTo>
                    <a:lnTo>
                      <a:pt x="78" y="511"/>
                    </a:lnTo>
                    <a:lnTo>
                      <a:pt x="78" y="511"/>
                    </a:lnTo>
                    <a:lnTo>
                      <a:pt x="85" y="504"/>
                    </a:lnTo>
                    <a:lnTo>
                      <a:pt x="92" y="504"/>
                    </a:lnTo>
                    <a:lnTo>
                      <a:pt x="99" y="497"/>
                    </a:lnTo>
                    <a:lnTo>
                      <a:pt x="99" y="497"/>
                    </a:lnTo>
                    <a:lnTo>
                      <a:pt x="106" y="490"/>
                    </a:lnTo>
                    <a:lnTo>
                      <a:pt x="106" y="490"/>
                    </a:lnTo>
                    <a:lnTo>
                      <a:pt x="113" y="490"/>
                    </a:lnTo>
                    <a:lnTo>
                      <a:pt x="113" y="490"/>
                    </a:lnTo>
                    <a:lnTo>
                      <a:pt x="120" y="490"/>
                    </a:lnTo>
                    <a:lnTo>
                      <a:pt x="120" y="483"/>
                    </a:lnTo>
                    <a:lnTo>
                      <a:pt x="120" y="483"/>
                    </a:lnTo>
                    <a:lnTo>
                      <a:pt x="120" y="483"/>
                    </a:lnTo>
                    <a:lnTo>
                      <a:pt x="120" y="476"/>
                    </a:lnTo>
                    <a:lnTo>
                      <a:pt x="127" y="476"/>
                    </a:lnTo>
                    <a:lnTo>
                      <a:pt x="127" y="469"/>
                    </a:lnTo>
                    <a:lnTo>
                      <a:pt x="127" y="469"/>
                    </a:lnTo>
                    <a:lnTo>
                      <a:pt x="127" y="469"/>
                    </a:lnTo>
                    <a:lnTo>
                      <a:pt x="127" y="469"/>
                    </a:lnTo>
                    <a:lnTo>
                      <a:pt x="127" y="462"/>
                    </a:lnTo>
                    <a:lnTo>
                      <a:pt x="127" y="462"/>
                    </a:lnTo>
                    <a:lnTo>
                      <a:pt x="127" y="462"/>
                    </a:lnTo>
                    <a:lnTo>
                      <a:pt x="127" y="454"/>
                    </a:lnTo>
                    <a:lnTo>
                      <a:pt x="127" y="447"/>
                    </a:lnTo>
                    <a:lnTo>
                      <a:pt x="127" y="447"/>
                    </a:lnTo>
                    <a:lnTo>
                      <a:pt x="127" y="447"/>
                    </a:lnTo>
                    <a:lnTo>
                      <a:pt x="127" y="440"/>
                    </a:lnTo>
                    <a:lnTo>
                      <a:pt x="127" y="440"/>
                    </a:lnTo>
                    <a:lnTo>
                      <a:pt x="127" y="433"/>
                    </a:lnTo>
                    <a:lnTo>
                      <a:pt x="134" y="419"/>
                    </a:lnTo>
                    <a:lnTo>
                      <a:pt x="134" y="412"/>
                    </a:lnTo>
                    <a:lnTo>
                      <a:pt x="134" y="412"/>
                    </a:lnTo>
                    <a:lnTo>
                      <a:pt x="134" y="412"/>
                    </a:lnTo>
                    <a:lnTo>
                      <a:pt x="134" y="412"/>
                    </a:lnTo>
                    <a:lnTo>
                      <a:pt x="134" y="412"/>
                    </a:lnTo>
                    <a:lnTo>
                      <a:pt x="134" y="412"/>
                    </a:lnTo>
                    <a:lnTo>
                      <a:pt x="127" y="405"/>
                    </a:lnTo>
                    <a:lnTo>
                      <a:pt x="127" y="405"/>
                    </a:lnTo>
                    <a:lnTo>
                      <a:pt x="127" y="405"/>
                    </a:lnTo>
                    <a:lnTo>
                      <a:pt x="127" y="398"/>
                    </a:lnTo>
                    <a:lnTo>
                      <a:pt x="120" y="398"/>
                    </a:lnTo>
                    <a:lnTo>
                      <a:pt x="120" y="398"/>
                    </a:lnTo>
                    <a:lnTo>
                      <a:pt x="120" y="391"/>
                    </a:lnTo>
                    <a:lnTo>
                      <a:pt x="120" y="383"/>
                    </a:lnTo>
                    <a:lnTo>
                      <a:pt x="120" y="383"/>
                    </a:lnTo>
                    <a:lnTo>
                      <a:pt x="120" y="383"/>
                    </a:lnTo>
                    <a:lnTo>
                      <a:pt x="113" y="383"/>
                    </a:lnTo>
                    <a:lnTo>
                      <a:pt x="113" y="376"/>
                    </a:lnTo>
                    <a:lnTo>
                      <a:pt x="113" y="376"/>
                    </a:lnTo>
                    <a:lnTo>
                      <a:pt x="106" y="376"/>
                    </a:lnTo>
                    <a:lnTo>
                      <a:pt x="106" y="376"/>
                    </a:lnTo>
                    <a:lnTo>
                      <a:pt x="99" y="376"/>
                    </a:lnTo>
                    <a:lnTo>
                      <a:pt x="99" y="376"/>
                    </a:lnTo>
                    <a:lnTo>
                      <a:pt x="99" y="376"/>
                    </a:lnTo>
                    <a:lnTo>
                      <a:pt x="106" y="376"/>
                    </a:lnTo>
                    <a:lnTo>
                      <a:pt x="106" y="376"/>
                    </a:lnTo>
                    <a:lnTo>
                      <a:pt x="106" y="369"/>
                    </a:lnTo>
                    <a:lnTo>
                      <a:pt x="106" y="369"/>
                    </a:lnTo>
                    <a:lnTo>
                      <a:pt x="106" y="369"/>
                    </a:lnTo>
                    <a:lnTo>
                      <a:pt x="106" y="362"/>
                    </a:lnTo>
                    <a:lnTo>
                      <a:pt x="113" y="355"/>
                    </a:lnTo>
                    <a:lnTo>
                      <a:pt x="113" y="355"/>
                    </a:lnTo>
                    <a:lnTo>
                      <a:pt x="120" y="355"/>
                    </a:lnTo>
                    <a:lnTo>
                      <a:pt x="120" y="348"/>
                    </a:lnTo>
                    <a:lnTo>
                      <a:pt x="113" y="348"/>
                    </a:lnTo>
                    <a:lnTo>
                      <a:pt x="113" y="348"/>
                    </a:lnTo>
                    <a:lnTo>
                      <a:pt x="99" y="341"/>
                    </a:lnTo>
                    <a:lnTo>
                      <a:pt x="99" y="341"/>
                    </a:lnTo>
                    <a:lnTo>
                      <a:pt x="99" y="341"/>
                    </a:lnTo>
                    <a:lnTo>
                      <a:pt x="99" y="341"/>
                    </a:lnTo>
                    <a:lnTo>
                      <a:pt x="99" y="341"/>
                    </a:lnTo>
                    <a:lnTo>
                      <a:pt x="99" y="341"/>
                    </a:lnTo>
                    <a:lnTo>
                      <a:pt x="106" y="334"/>
                    </a:lnTo>
                    <a:lnTo>
                      <a:pt x="106" y="320"/>
                    </a:lnTo>
                    <a:lnTo>
                      <a:pt x="106" y="320"/>
                    </a:lnTo>
                    <a:lnTo>
                      <a:pt x="106" y="312"/>
                    </a:lnTo>
                    <a:lnTo>
                      <a:pt x="106" y="312"/>
                    </a:lnTo>
                    <a:lnTo>
                      <a:pt x="106" y="312"/>
                    </a:lnTo>
                    <a:lnTo>
                      <a:pt x="106" y="305"/>
                    </a:lnTo>
                    <a:lnTo>
                      <a:pt x="106" y="305"/>
                    </a:lnTo>
                    <a:lnTo>
                      <a:pt x="106" y="305"/>
                    </a:lnTo>
                    <a:lnTo>
                      <a:pt x="113" y="305"/>
                    </a:lnTo>
                    <a:lnTo>
                      <a:pt x="113" y="305"/>
                    </a:lnTo>
                    <a:lnTo>
                      <a:pt x="113" y="305"/>
                    </a:lnTo>
                    <a:lnTo>
                      <a:pt x="113" y="312"/>
                    </a:lnTo>
                    <a:lnTo>
                      <a:pt x="113" y="312"/>
                    </a:lnTo>
                    <a:lnTo>
                      <a:pt x="113" y="312"/>
                    </a:lnTo>
                    <a:lnTo>
                      <a:pt x="113" y="312"/>
                    </a:lnTo>
                    <a:lnTo>
                      <a:pt x="113" y="312"/>
                    </a:lnTo>
                    <a:lnTo>
                      <a:pt x="120" y="320"/>
                    </a:lnTo>
                    <a:lnTo>
                      <a:pt x="120" y="320"/>
                    </a:lnTo>
                    <a:lnTo>
                      <a:pt x="120" y="320"/>
                    </a:lnTo>
                    <a:lnTo>
                      <a:pt x="120" y="320"/>
                    </a:lnTo>
                    <a:lnTo>
                      <a:pt x="127" y="320"/>
                    </a:lnTo>
                    <a:lnTo>
                      <a:pt x="127" y="320"/>
                    </a:lnTo>
                    <a:lnTo>
                      <a:pt x="127" y="320"/>
                    </a:lnTo>
                    <a:lnTo>
                      <a:pt x="134" y="320"/>
                    </a:lnTo>
                    <a:lnTo>
                      <a:pt x="134" y="320"/>
                    </a:lnTo>
                    <a:lnTo>
                      <a:pt x="134" y="312"/>
                    </a:lnTo>
                    <a:lnTo>
                      <a:pt x="134" y="312"/>
                    </a:lnTo>
                    <a:lnTo>
                      <a:pt x="134" y="312"/>
                    </a:lnTo>
                    <a:lnTo>
                      <a:pt x="134" y="305"/>
                    </a:lnTo>
                    <a:lnTo>
                      <a:pt x="134" y="305"/>
                    </a:lnTo>
                    <a:lnTo>
                      <a:pt x="134" y="305"/>
                    </a:lnTo>
                    <a:lnTo>
                      <a:pt x="134" y="305"/>
                    </a:lnTo>
                    <a:lnTo>
                      <a:pt x="134" y="305"/>
                    </a:lnTo>
                    <a:lnTo>
                      <a:pt x="134" y="305"/>
                    </a:lnTo>
                    <a:lnTo>
                      <a:pt x="134" y="305"/>
                    </a:lnTo>
                    <a:lnTo>
                      <a:pt x="127" y="305"/>
                    </a:lnTo>
                    <a:lnTo>
                      <a:pt x="127" y="305"/>
                    </a:lnTo>
                    <a:lnTo>
                      <a:pt x="127" y="305"/>
                    </a:lnTo>
                    <a:lnTo>
                      <a:pt x="127" y="298"/>
                    </a:lnTo>
                    <a:lnTo>
                      <a:pt x="120" y="298"/>
                    </a:lnTo>
                    <a:lnTo>
                      <a:pt x="120" y="298"/>
                    </a:lnTo>
                    <a:lnTo>
                      <a:pt x="113" y="298"/>
                    </a:lnTo>
                    <a:lnTo>
                      <a:pt x="113" y="298"/>
                    </a:lnTo>
                    <a:lnTo>
                      <a:pt x="113" y="298"/>
                    </a:lnTo>
                    <a:lnTo>
                      <a:pt x="113" y="298"/>
                    </a:lnTo>
                    <a:lnTo>
                      <a:pt x="113" y="291"/>
                    </a:lnTo>
                    <a:lnTo>
                      <a:pt x="113" y="291"/>
                    </a:lnTo>
                    <a:lnTo>
                      <a:pt x="113" y="291"/>
                    </a:lnTo>
                    <a:lnTo>
                      <a:pt x="113" y="284"/>
                    </a:lnTo>
                    <a:lnTo>
                      <a:pt x="113" y="284"/>
                    </a:lnTo>
                    <a:lnTo>
                      <a:pt x="113" y="284"/>
                    </a:lnTo>
                    <a:lnTo>
                      <a:pt x="120" y="284"/>
                    </a:lnTo>
                    <a:lnTo>
                      <a:pt x="120" y="284"/>
                    </a:lnTo>
                    <a:lnTo>
                      <a:pt x="120" y="284"/>
                    </a:lnTo>
                    <a:lnTo>
                      <a:pt x="120" y="284"/>
                    </a:lnTo>
                    <a:lnTo>
                      <a:pt x="127" y="284"/>
                    </a:lnTo>
                    <a:lnTo>
                      <a:pt x="127" y="284"/>
                    </a:lnTo>
                    <a:lnTo>
                      <a:pt x="127" y="284"/>
                    </a:lnTo>
                    <a:lnTo>
                      <a:pt x="127" y="291"/>
                    </a:lnTo>
                    <a:lnTo>
                      <a:pt x="134" y="291"/>
                    </a:lnTo>
                    <a:lnTo>
                      <a:pt x="134" y="291"/>
                    </a:lnTo>
                    <a:lnTo>
                      <a:pt x="134" y="291"/>
                    </a:lnTo>
                    <a:lnTo>
                      <a:pt x="134" y="291"/>
                    </a:lnTo>
                    <a:lnTo>
                      <a:pt x="141" y="291"/>
                    </a:lnTo>
                    <a:lnTo>
                      <a:pt x="141" y="291"/>
                    </a:lnTo>
                    <a:lnTo>
                      <a:pt x="141" y="284"/>
                    </a:lnTo>
                    <a:lnTo>
                      <a:pt x="141" y="284"/>
                    </a:lnTo>
                    <a:lnTo>
                      <a:pt x="149" y="284"/>
                    </a:lnTo>
                    <a:lnTo>
                      <a:pt x="149" y="284"/>
                    </a:lnTo>
                    <a:lnTo>
                      <a:pt x="149" y="291"/>
                    </a:lnTo>
                    <a:lnTo>
                      <a:pt x="149" y="291"/>
                    </a:lnTo>
                    <a:lnTo>
                      <a:pt x="149" y="284"/>
                    </a:lnTo>
                    <a:lnTo>
                      <a:pt x="149" y="284"/>
                    </a:lnTo>
                    <a:lnTo>
                      <a:pt x="149" y="284"/>
                    </a:lnTo>
                    <a:lnTo>
                      <a:pt x="156" y="284"/>
                    </a:lnTo>
                    <a:lnTo>
                      <a:pt x="156" y="277"/>
                    </a:lnTo>
                    <a:lnTo>
                      <a:pt x="149" y="277"/>
                    </a:lnTo>
                    <a:lnTo>
                      <a:pt x="149" y="277"/>
                    </a:lnTo>
                    <a:lnTo>
                      <a:pt x="149" y="277"/>
                    </a:lnTo>
                    <a:lnTo>
                      <a:pt x="149" y="270"/>
                    </a:lnTo>
                    <a:lnTo>
                      <a:pt x="156" y="270"/>
                    </a:lnTo>
                    <a:lnTo>
                      <a:pt x="156" y="270"/>
                    </a:lnTo>
                    <a:lnTo>
                      <a:pt x="156" y="270"/>
                    </a:lnTo>
                    <a:lnTo>
                      <a:pt x="156" y="270"/>
                    </a:lnTo>
                    <a:lnTo>
                      <a:pt x="156" y="270"/>
                    </a:lnTo>
                    <a:lnTo>
                      <a:pt x="156" y="270"/>
                    </a:lnTo>
                    <a:lnTo>
                      <a:pt x="156" y="263"/>
                    </a:lnTo>
                    <a:lnTo>
                      <a:pt x="156" y="263"/>
                    </a:lnTo>
                    <a:lnTo>
                      <a:pt x="163" y="263"/>
                    </a:lnTo>
                    <a:lnTo>
                      <a:pt x="170" y="263"/>
                    </a:lnTo>
                    <a:lnTo>
                      <a:pt x="170" y="263"/>
                    </a:lnTo>
                    <a:lnTo>
                      <a:pt x="177" y="263"/>
                    </a:lnTo>
                    <a:lnTo>
                      <a:pt x="177" y="263"/>
                    </a:lnTo>
                    <a:lnTo>
                      <a:pt x="184" y="263"/>
                    </a:lnTo>
                    <a:lnTo>
                      <a:pt x="184" y="263"/>
                    </a:lnTo>
                    <a:lnTo>
                      <a:pt x="184" y="263"/>
                    </a:lnTo>
                    <a:lnTo>
                      <a:pt x="184" y="263"/>
                    </a:lnTo>
                    <a:lnTo>
                      <a:pt x="184" y="263"/>
                    </a:lnTo>
                    <a:lnTo>
                      <a:pt x="177" y="270"/>
                    </a:lnTo>
                    <a:lnTo>
                      <a:pt x="177" y="270"/>
                    </a:lnTo>
                    <a:lnTo>
                      <a:pt x="177" y="277"/>
                    </a:lnTo>
                    <a:lnTo>
                      <a:pt x="177" y="277"/>
                    </a:lnTo>
                    <a:lnTo>
                      <a:pt x="177" y="277"/>
                    </a:lnTo>
                    <a:lnTo>
                      <a:pt x="184" y="277"/>
                    </a:lnTo>
                    <a:lnTo>
                      <a:pt x="184" y="277"/>
                    </a:lnTo>
                    <a:lnTo>
                      <a:pt x="184" y="284"/>
                    </a:lnTo>
                    <a:lnTo>
                      <a:pt x="184" y="284"/>
                    </a:lnTo>
                    <a:lnTo>
                      <a:pt x="177" y="284"/>
                    </a:lnTo>
                    <a:lnTo>
                      <a:pt x="177" y="284"/>
                    </a:lnTo>
                    <a:lnTo>
                      <a:pt x="177" y="284"/>
                    </a:lnTo>
                    <a:lnTo>
                      <a:pt x="177" y="284"/>
                    </a:lnTo>
                    <a:lnTo>
                      <a:pt x="177" y="284"/>
                    </a:lnTo>
                    <a:lnTo>
                      <a:pt x="170" y="284"/>
                    </a:lnTo>
                    <a:lnTo>
                      <a:pt x="170" y="284"/>
                    </a:lnTo>
                    <a:lnTo>
                      <a:pt x="170" y="284"/>
                    </a:lnTo>
                    <a:lnTo>
                      <a:pt x="170" y="284"/>
                    </a:lnTo>
                    <a:lnTo>
                      <a:pt x="170" y="284"/>
                    </a:lnTo>
                    <a:lnTo>
                      <a:pt x="170" y="284"/>
                    </a:lnTo>
                    <a:lnTo>
                      <a:pt x="177" y="284"/>
                    </a:lnTo>
                    <a:lnTo>
                      <a:pt x="177" y="291"/>
                    </a:lnTo>
                    <a:lnTo>
                      <a:pt x="184" y="291"/>
                    </a:lnTo>
                    <a:lnTo>
                      <a:pt x="184" y="284"/>
                    </a:lnTo>
                    <a:lnTo>
                      <a:pt x="191" y="284"/>
                    </a:lnTo>
                    <a:lnTo>
                      <a:pt x="191" y="284"/>
                    </a:lnTo>
                    <a:lnTo>
                      <a:pt x="191" y="284"/>
                    </a:lnTo>
                    <a:lnTo>
                      <a:pt x="191" y="284"/>
                    </a:lnTo>
                    <a:lnTo>
                      <a:pt x="191" y="284"/>
                    </a:lnTo>
                    <a:lnTo>
                      <a:pt x="191" y="291"/>
                    </a:lnTo>
                    <a:lnTo>
                      <a:pt x="191" y="291"/>
                    </a:lnTo>
                    <a:lnTo>
                      <a:pt x="191" y="291"/>
                    </a:lnTo>
                    <a:lnTo>
                      <a:pt x="191" y="291"/>
                    </a:lnTo>
                    <a:lnTo>
                      <a:pt x="184" y="291"/>
                    </a:lnTo>
                    <a:lnTo>
                      <a:pt x="184" y="291"/>
                    </a:lnTo>
                    <a:lnTo>
                      <a:pt x="184" y="298"/>
                    </a:lnTo>
                    <a:lnTo>
                      <a:pt x="177" y="298"/>
                    </a:lnTo>
                    <a:lnTo>
                      <a:pt x="177" y="298"/>
                    </a:lnTo>
                    <a:lnTo>
                      <a:pt x="177" y="291"/>
                    </a:lnTo>
                    <a:lnTo>
                      <a:pt x="170" y="291"/>
                    </a:lnTo>
                    <a:lnTo>
                      <a:pt x="170" y="291"/>
                    </a:lnTo>
                    <a:lnTo>
                      <a:pt x="170" y="291"/>
                    </a:lnTo>
                    <a:lnTo>
                      <a:pt x="163" y="284"/>
                    </a:lnTo>
                    <a:lnTo>
                      <a:pt x="163" y="284"/>
                    </a:lnTo>
                    <a:lnTo>
                      <a:pt x="163" y="284"/>
                    </a:lnTo>
                    <a:lnTo>
                      <a:pt x="163" y="291"/>
                    </a:lnTo>
                    <a:lnTo>
                      <a:pt x="163" y="291"/>
                    </a:lnTo>
                    <a:lnTo>
                      <a:pt x="163" y="291"/>
                    </a:lnTo>
                    <a:lnTo>
                      <a:pt x="163" y="291"/>
                    </a:lnTo>
                    <a:lnTo>
                      <a:pt x="170" y="298"/>
                    </a:lnTo>
                    <a:lnTo>
                      <a:pt x="170" y="298"/>
                    </a:lnTo>
                    <a:lnTo>
                      <a:pt x="170" y="298"/>
                    </a:lnTo>
                    <a:lnTo>
                      <a:pt x="163" y="298"/>
                    </a:lnTo>
                    <a:lnTo>
                      <a:pt x="163" y="305"/>
                    </a:lnTo>
                    <a:lnTo>
                      <a:pt x="163" y="305"/>
                    </a:lnTo>
                    <a:lnTo>
                      <a:pt x="163" y="305"/>
                    </a:lnTo>
                    <a:lnTo>
                      <a:pt x="163" y="305"/>
                    </a:lnTo>
                    <a:lnTo>
                      <a:pt x="163" y="312"/>
                    </a:lnTo>
                    <a:lnTo>
                      <a:pt x="163" y="312"/>
                    </a:lnTo>
                    <a:lnTo>
                      <a:pt x="163" y="312"/>
                    </a:lnTo>
                    <a:lnTo>
                      <a:pt x="170" y="312"/>
                    </a:lnTo>
                    <a:lnTo>
                      <a:pt x="170" y="312"/>
                    </a:lnTo>
                    <a:lnTo>
                      <a:pt x="177" y="312"/>
                    </a:lnTo>
                    <a:lnTo>
                      <a:pt x="177" y="312"/>
                    </a:lnTo>
                    <a:lnTo>
                      <a:pt x="184" y="312"/>
                    </a:lnTo>
                    <a:lnTo>
                      <a:pt x="191" y="312"/>
                    </a:lnTo>
                    <a:lnTo>
                      <a:pt x="198" y="312"/>
                    </a:lnTo>
                    <a:lnTo>
                      <a:pt x="198" y="312"/>
                    </a:lnTo>
                    <a:lnTo>
                      <a:pt x="212" y="312"/>
                    </a:lnTo>
                    <a:lnTo>
                      <a:pt x="220" y="312"/>
                    </a:lnTo>
                    <a:lnTo>
                      <a:pt x="227" y="312"/>
                    </a:lnTo>
                    <a:lnTo>
                      <a:pt x="234" y="305"/>
                    </a:lnTo>
                    <a:lnTo>
                      <a:pt x="241" y="305"/>
                    </a:lnTo>
                    <a:lnTo>
                      <a:pt x="241" y="305"/>
                    </a:lnTo>
                    <a:lnTo>
                      <a:pt x="241" y="305"/>
                    </a:lnTo>
                    <a:lnTo>
                      <a:pt x="241" y="305"/>
                    </a:lnTo>
                    <a:lnTo>
                      <a:pt x="248" y="305"/>
                    </a:lnTo>
                    <a:lnTo>
                      <a:pt x="248" y="312"/>
                    </a:lnTo>
                    <a:lnTo>
                      <a:pt x="248" y="312"/>
                    </a:lnTo>
                    <a:lnTo>
                      <a:pt x="248" y="320"/>
                    </a:lnTo>
                    <a:lnTo>
                      <a:pt x="248" y="320"/>
                    </a:lnTo>
                    <a:lnTo>
                      <a:pt x="248" y="320"/>
                    </a:lnTo>
                    <a:lnTo>
                      <a:pt x="248" y="320"/>
                    </a:lnTo>
                    <a:lnTo>
                      <a:pt x="255" y="327"/>
                    </a:lnTo>
                    <a:lnTo>
                      <a:pt x="255" y="327"/>
                    </a:lnTo>
                    <a:lnTo>
                      <a:pt x="255" y="341"/>
                    </a:lnTo>
                    <a:lnTo>
                      <a:pt x="255" y="341"/>
                    </a:lnTo>
                    <a:lnTo>
                      <a:pt x="255" y="348"/>
                    </a:lnTo>
                    <a:lnTo>
                      <a:pt x="255" y="348"/>
                    </a:lnTo>
                    <a:lnTo>
                      <a:pt x="255" y="348"/>
                    </a:lnTo>
                    <a:lnTo>
                      <a:pt x="255" y="348"/>
                    </a:lnTo>
                    <a:lnTo>
                      <a:pt x="255" y="348"/>
                    </a:lnTo>
                    <a:lnTo>
                      <a:pt x="248" y="348"/>
                    </a:lnTo>
                    <a:lnTo>
                      <a:pt x="248" y="348"/>
                    </a:lnTo>
                    <a:lnTo>
                      <a:pt x="248" y="348"/>
                    </a:lnTo>
                    <a:lnTo>
                      <a:pt x="241" y="348"/>
                    </a:lnTo>
                    <a:lnTo>
                      <a:pt x="241" y="348"/>
                    </a:lnTo>
                    <a:lnTo>
                      <a:pt x="241" y="348"/>
                    </a:lnTo>
                    <a:lnTo>
                      <a:pt x="241" y="355"/>
                    </a:lnTo>
                    <a:lnTo>
                      <a:pt x="241" y="355"/>
                    </a:lnTo>
                    <a:lnTo>
                      <a:pt x="241" y="355"/>
                    </a:lnTo>
                    <a:lnTo>
                      <a:pt x="241" y="362"/>
                    </a:lnTo>
                    <a:lnTo>
                      <a:pt x="241" y="362"/>
                    </a:lnTo>
                    <a:lnTo>
                      <a:pt x="241" y="369"/>
                    </a:lnTo>
                    <a:lnTo>
                      <a:pt x="241" y="369"/>
                    </a:lnTo>
                    <a:lnTo>
                      <a:pt x="241" y="369"/>
                    </a:lnTo>
                    <a:lnTo>
                      <a:pt x="248" y="369"/>
                    </a:lnTo>
                    <a:lnTo>
                      <a:pt x="248" y="369"/>
                    </a:lnTo>
                    <a:lnTo>
                      <a:pt x="248" y="369"/>
                    </a:lnTo>
                    <a:lnTo>
                      <a:pt x="248" y="369"/>
                    </a:lnTo>
                    <a:lnTo>
                      <a:pt x="248" y="376"/>
                    </a:lnTo>
                    <a:lnTo>
                      <a:pt x="248" y="376"/>
                    </a:lnTo>
                    <a:lnTo>
                      <a:pt x="248" y="383"/>
                    </a:lnTo>
                    <a:lnTo>
                      <a:pt x="241" y="383"/>
                    </a:lnTo>
                    <a:lnTo>
                      <a:pt x="241" y="391"/>
                    </a:lnTo>
                    <a:lnTo>
                      <a:pt x="241" y="391"/>
                    </a:lnTo>
                    <a:lnTo>
                      <a:pt x="241" y="398"/>
                    </a:lnTo>
                    <a:lnTo>
                      <a:pt x="241" y="398"/>
                    </a:lnTo>
                    <a:lnTo>
                      <a:pt x="248" y="398"/>
                    </a:lnTo>
                    <a:lnTo>
                      <a:pt x="248" y="405"/>
                    </a:lnTo>
                    <a:lnTo>
                      <a:pt x="248" y="405"/>
                    </a:lnTo>
                    <a:lnTo>
                      <a:pt x="248" y="405"/>
                    </a:lnTo>
                    <a:lnTo>
                      <a:pt x="241" y="412"/>
                    </a:lnTo>
                    <a:lnTo>
                      <a:pt x="241" y="412"/>
                    </a:lnTo>
                    <a:lnTo>
                      <a:pt x="241" y="412"/>
                    </a:lnTo>
                    <a:lnTo>
                      <a:pt x="241" y="419"/>
                    </a:lnTo>
                    <a:lnTo>
                      <a:pt x="241" y="419"/>
                    </a:lnTo>
                    <a:lnTo>
                      <a:pt x="241" y="419"/>
                    </a:lnTo>
                    <a:lnTo>
                      <a:pt x="241" y="419"/>
                    </a:lnTo>
                    <a:lnTo>
                      <a:pt x="234" y="419"/>
                    </a:lnTo>
                    <a:lnTo>
                      <a:pt x="234" y="412"/>
                    </a:lnTo>
                    <a:lnTo>
                      <a:pt x="234" y="412"/>
                    </a:lnTo>
                    <a:lnTo>
                      <a:pt x="234" y="412"/>
                    </a:lnTo>
                    <a:lnTo>
                      <a:pt x="227" y="419"/>
                    </a:lnTo>
                    <a:lnTo>
                      <a:pt x="227" y="419"/>
                    </a:lnTo>
                    <a:lnTo>
                      <a:pt x="227" y="419"/>
                    </a:lnTo>
                    <a:lnTo>
                      <a:pt x="220" y="419"/>
                    </a:lnTo>
                    <a:lnTo>
                      <a:pt x="220" y="419"/>
                    </a:lnTo>
                    <a:lnTo>
                      <a:pt x="220" y="412"/>
                    </a:lnTo>
                    <a:lnTo>
                      <a:pt x="220" y="412"/>
                    </a:lnTo>
                    <a:lnTo>
                      <a:pt x="220" y="412"/>
                    </a:lnTo>
                    <a:lnTo>
                      <a:pt x="212" y="412"/>
                    </a:lnTo>
                    <a:lnTo>
                      <a:pt x="212" y="412"/>
                    </a:lnTo>
                    <a:lnTo>
                      <a:pt x="212" y="412"/>
                    </a:lnTo>
                    <a:lnTo>
                      <a:pt x="212" y="412"/>
                    </a:lnTo>
                    <a:lnTo>
                      <a:pt x="205" y="412"/>
                    </a:lnTo>
                    <a:lnTo>
                      <a:pt x="205" y="412"/>
                    </a:lnTo>
                    <a:lnTo>
                      <a:pt x="205" y="419"/>
                    </a:lnTo>
                    <a:lnTo>
                      <a:pt x="205" y="419"/>
                    </a:lnTo>
                    <a:lnTo>
                      <a:pt x="205" y="426"/>
                    </a:lnTo>
                    <a:lnTo>
                      <a:pt x="205" y="426"/>
                    </a:lnTo>
                    <a:lnTo>
                      <a:pt x="205" y="426"/>
                    </a:lnTo>
                    <a:lnTo>
                      <a:pt x="212" y="433"/>
                    </a:lnTo>
                    <a:lnTo>
                      <a:pt x="220" y="433"/>
                    </a:lnTo>
                    <a:lnTo>
                      <a:pt x="220" y="433"/>
                    </a:lnTo>
                    <a:lnTo>
                      <a:pt x="220" y="440"/>
                    </a:lnTo>
                    <a:lnTo>
                      <a:pt x="220" y="440"/>
                    </a:lnTo>
                    <a:lnTo>
                      <a:pt x="220" y="447"/>
                    </a:lnTo>
                    <a:lnTo>
                      <a:pt x="227" y="447"/>
                    </a:lnTo>
                    <a:lnTo>
                      <a:pt x="227" y="447"/>
                    </a:lnTo>
                    <a:lnTo>
                      <a:pt x="227" y="447"/>
                    </a:lnTo>
                    <a:lnTo>
                      <a:pt x="234" y="447"/>
                    </a:lnTo>
                    <a:lnTo>
                      <a:pt x="234" y="447"/>
                    </a:lnTo>
                    <a:lnTo>
                      <a:pt x="234" y="447"/>
                    </a:lnTo>
                    <a:lnTo>
                      <a:pt x="234" y="447"/>
                    </a:lnTo>
                    <a:lnTo>
                      <a:pt x="234" y="447"/>
                    </a:lnTo>
                    <a:lnTo>
                      <a:pt x="234" y="440"/>
                    </a:lnTo>
                    <a:lnTo>
                      <a:pt x="234" y="440"/>
                    </a:lnTo>
                    <a:lnTo>
                      <a:pt x="241" y="440"/>
                    </a:lnTo>
                    <a:lnTo>
                      <a:pt x="241" y="433"/>
                    </a:lnTo>
                    <a:lnTo>
                      <a:pt x="241" y="433"/>
                    </a:lnTo>
                    <a:lnTo>
                      <a:pt x="241" y="433"/>
                    </a:lnTo>
                    <a:lnTo>
                      <a:pt x="241" y="433"/>
                    </a:lnTo>
                    <a:lnTo>
                      <a:pt x="241" y="433"/>
                    </a:lnTo>
                    <a:lnTo>
                      <a:pt x="241" y="426"/>
                    </a:lnTo>
                    <a:lnTo>
                      <a:pt x="241" y="426"/>
                    </a:lnTo>
                    <a:lnTo>
                      <a:pt x="241" y="433"/>
                    </a:lnTo>
                    <a:lnTo>
                      <a:pt x="241" y="433"/>
                    </a:lnTo>
                    <a:lnTo>
                      <a:pt x="241" y="433"/>
                    </a:lnTo>
                    <a:lnTo>
                      <a:pt x="248" y="433"/>
                    </a:lnTo>
                    <a:lnTo>
                      <a:pt x="248" y="433"/>
                    </a:lnTo>
                    <a:lnTo>
                      <a:pt x="248" y="433"/>
                    </a:lnTo>
                    <a:lnTo>
                      <a:pt x="255" y="433"/>
                    </a:lnTo>
                    <a:lnTo>
                      <a:pt x="262" y="426"/>
                    </a:lnTo>
                    <a:lnTo>
                      <a:pt x="269" y="426"/>
                    </a:lnTo>
                    <a:lnTo>
                      <a:pt x="276" y="419"/>
                    </a:lnTo>
                    <a:lnTo>
                      <a:pt x="276" y="419"/>
                    </a:lnTo>
                    <a:lnTo>
                      <a:pt x="276" y="419"/>
                    </a:lnTo>
                    <a:lnTo>
                      <a:pt x="276" y="419"/>
                    </a:lnTo>
                    <a:lnTo>
                      <a:pt x="276" y="419"/>
                    </a:lnTo>
                    <a:lnTo>
                      <a:pt x="276" y="419"/>
                    </a:lnTo>
                    <a:lnTo>
                      <a:pt x="276" y="419"/>
                    </a:lnTo>
                    <a:lnTo>
                      <a:pt x="276" y="412"/>
                    </a:lnTo>
                    <a:lnTo>
                      <a:pt x="276" y="412"/>
                    </a:lnTo>
                    <a:lnTo>
                      <a:pt x="276" y="412"/>
                    </a:lnTo>
                    <a:lnTo>
                      <a:pt x="276" y="412"/>
                    </a:lnTo>
                    <a:lnTo>
                      <a:pt x="291" y="405"/>
                    </a:lnTo>
                    <a:lnTo>
                      <a:pt x="291" y="398"/>
                    </a:lnTo>
                    <a:lnTo>
                      <a:pt x="291" y="398"/>
                    </a:lnTo>
                    <a:lnTo>
                      <a:pt x="291" y="391"/>
                    </a:lnTo>
                    <a:lnTo>
                      <a:pt x="291" y="391"/>
                    </a:lnTo>
                    <a:lnTo>
                      <a:pt x="291" y="391"/>
                    </a:lnTo>
                    <a:lnTo>
                      <a:pt x="291" y="383"/>
                    </a:lnTo>
                    <a:lnTo>
                      <a:pt x="291" y="383"/>
                    </a:lnTo>
                    <a:lnTo>
                      <a:pt x="291" y="376"/>
                    </a:lnTo>
                    <a:lnTo>
                      <a:pt x="291" y="376"/>
                    </a:lnTo>
                    <a:lnTo>
                      <a:pt x="291" y="369"/>
                    </a:lnTo>
                    <a:lnTo>
                      <a:pt x="291" y="369"/>
                    </a:lnTo>
                    <a:lnTo>
                      <a:pt x="291" y="369"/>
                    </a:lnTo>
                    <a:lnTo>
                      <a:pt x="298" y="369"/>
                    </a:lnTo>
                    <a:lnTo>
                      <a:pt x="298" y="369"/>
                    </a:lnTo>
                    <a:lnTo>
                      <a:pt x="298" y="369"/>
                    </a:lnTo>
                    <a:lnTo>
                      <a:pt x="298" y="362"/>
                    </a:lnTo>
                    <a:lnTo>
                      <a:pt x="305" y="362"/>
                    </a:lnTo>
                    <a:lnTo>
                      <a:pt x="305" y="369"/>
                    </a:lnTo>
                    <a:lnTo>
                      <a:pt x="305" y="369"/>
                    </a:lnTo>
                    <a:lnTo>
                      <a:pt x="305" y="369"/>
                    </a:lnTo>
                    <a:lnTo>
                      <a:pt x="305" y="369"/>
                    </a:lnTo>
                    <a:lnTo>
                      <a:pt x="305" y="369"/>
                    </a:lnTo>
                    <a:lnTo>
                      <a:pt x="305" y="376"/>
                    </a:lnTo>
                    <a:lnTo>
                      <a:pt x="305" y="376"/>
                    </a:lnTo>
                    <a:lnTo>
                      <a:pt x="305" y="376"/>
                    </a:lnTo>
                    <a:lnTo>
                      <a:pt x="305" y="376"/>
                    </a:lnTo>
                    <a:lnTo>
                      <a:pt x="312" y="376"/>
                    </a:lnTo>
                    <a:lnTo>
                      <a:pt x="312" y="376"/>
                    </a:lnTo>
                    <a:lnTo>
                      <a:pt x="319" y="376"/>
                    </a:lnTo>
                    <a:lnTo>
                      <a:pt x="326" y="376"/>
                    </a:lnTo>
                    <a:lnTo>
                      <a:pt x="326" y="376"/>
                    </a:lnTo>
                    <a:lnTo>
                      <a:pt x="333" y="376"/>
                    </a:lnTo>
                    <a:lnTo>
                      <a:pt x="340" y="376"/>
                    </a:lnTo>
                    <a:lnTo>
                      <a:pt x="340" y="376"/>
                    </a:lnTo>
                    <a:lnTo>
                      <a:pt x="340" y="383"/>
                    </a:lnTo>
                    <a:lnTo>
                      <a:pt x="340" y="383"/>
                    </a:lnTo>
                    <a:lnTo>
                      <a:pt x="340" y="383"/>
                    </a:lnTo>
                    <a:lnTo>
                      <a:pt x="340" y="383"/>
                    </a:lnTo>
                    <a:lnTo>
                      <a:pt x="347" y="383"/>
                    </a:lnTo>
                    <a:lnTo>
                      <a:pt x="347" y="383"/>
                    </a:lnTo>
                    <a:lnTo>
                      <a:pt x="347" y="383"/>
                    </a:lnTo>
                    <a:lnTo>
                      <a:pt x="347" y="383"/>
                    </a:lnTo>
                    <a:lnTo>
                      <a:pt x="354" y="383"/>
                    </a:lnTo>
                    <a:lnTo>
                      <a:pt x="354" y="383"/>
                    </a:lnTo>
                    <a:lnTo>
                      <a:pt x="354" y="376"/>
                    </a:lnTo>
                    <a:lnTo>
                      <a:pt x="354" y="376"/>
                    </a:lnTo>
                    <a:lnTo>
                      <a:pt x="354" y="376"/>
                    </a:lnTo>
                    <a:lnTo>
                      <a:pt x="354" y="376"/>
                    </a:lnTo>
                    <a:lnTo>
                      <a:pt x="362" y="376"/>
                    </a:lnTo>
                    <a:lnTo>
                      <a:pt x="362" y="369"/>
                    </a:lnTo>
                    <a:lnTo>
                      <a:pt x="369" y="369"/>
                    </a:lnTo>
                    <a:lnTo>
                      <a:pt x="369" y="369"/>
                    </a:lnTo>
                    <a:lnTo>
                      <a:pt x="369" y="376"/>
                    </a:lnTo>
                    <a:lnTo>
                      <a:pt x="369" y="376"/>
                    </a:lnTo>
                    <a:lnTo>
                      <a:pt x="369" y="376"/>
                    </a:lnTo>
                    <a:lnTo>
                      <a:pt x="369" y="376"/>
                    </a:lnTo>
                    <a:lnTo>
                      <a:pt x="369" y="383"/>
                    </a:lnTo>
                    <a:lnTo>
                      <a:pt x="369" y="383"/>
                    </a:lnTo>
                    <a:lnTo>
                      <a:pt x="369" y="383"/>
                    </a:lnTo>
                    <a:lnTo>
                      <a:pt x="369" y="383"/>
                    </a:lnTo>
                    <a:lnTo>
                      <a:pt x="376" y="391"/>
                    </a:lnTo>
                    <a:lnTo>
                      <a:pt x="376" y="391"/>
                    </a:lnTo>
                    <a:lnTo>
                      <a:pt x="383" y="391"/>
                    </a:lnTo>
                    <a:lnTo>
                      <a:pt x="383" y="391"/>
                    </a:lnTo>
                    <a:lnTo>
                      <a:pt x="390" y="391"/>
                    </a:lnTo>
                    <a:lnTo>
                      <a:pt x="390" y="391"/>
                    </a:lnTo>
                    <a:lnTo>
                      <a:pt x="390" y="391"/>
                    </a:lnTo>
                    <a:lnTo>
                      <a:pt x="390" y="391"/>
                    </a:lnTo>
                    <a:lnTo>
                      <a:pt x="390" y="391"/>
                    </a:lnTo>
                    <a:lnTo>
                      <a:pt x="397" y="391"/>
                    </a:lnTo>
                    <a:lnTo>
                      <a:pt x="397" y="391"/>
                    </a:lnTo>
                    <a:lnTo>
                      <a:pt x="397" y="391"/>
                    </a:lnTo>
                    <a:lnTo>
                      <a:pt x="397" y="383"/>
                    </a:lnTo>
                    <a:lnTo>
                      <a:pt x="397" y="383"/>
                    </a:lnTo>
                    <a:lnTo>
                      <a:pt x="397" y="383"/>
                    </a:lnTo>
                    <a:lnTo>
                      <a:pt x="397" y="383"/>
                    </a:lnTo>
                    <a:lnTo>
                      <a:pt x="397" y="383"/>
                    </a:lnTo>
                    <a:lnTo>
                      <a:pt x="397" y="376"/>
                    </a:lnTo>
                    <a:lnTo>
                      <a:pt x="390" y="369"/>
                    </a:lnTo>
                    <a:lnTo>
                      <a:pt x="390" y="369"/>
                    </a:lnTo>
                    <a:lnTo>
                      <a:pt x="390" y="362"/>
                    </a:lnTo>
                    <a:lnTo>
                      <a:pt x="390" y="355"/>
                    </a:lnTo>
                    <a:lnTo>
                      <a:pt x="383" y="348"/>
                    </a:lnTo>
                    <a:lnTo>
                      <a:pt x="383" y="348"/>
                    </a:lnTo>
                    <a:lnTo>
                      <a:pt x="383" y="348"/>
                    </a:lnTo>
                    <a:lnTo>
                      <a:pt x="383" y="348"/>
                    </a:lnTo>
                    <a:lnTo>
                      <a:pt x="390" y="341"/>
                    </a:lnTo>
                    <a:lnTo>
                      <a:pt x="390" y="341"/>
                    </a:lnTo>
                    <a:lnTo>
                      <a:pt x="390" y="341"/>
                    </a:lnTo>
                    <a:lnTo>
                      <a:pt x="390" y="341"/>
                    </a:lnTo>
                    <a:lnTo>
                      <a:pt x="383" y="334"/>
                    </a:lnTo>
                    <a:lnTo>
                      <a:pt x="383" y="334"/>
                    </a:lnTo>
                    <a:lnTo>
                      <a:pt x="383" y="334"/>
                    </a:lnTo>
                    <a:lnTo>
                      <a:pt x="390" y="334"/>
                    </a:lnTo>
                    <a:lnTo>
                      <a:pt x="390" y="334"/>
                    </a:lnTo>
                    <a:lnTo>
                      <a:pt x="390" y="334"/>
                    </a:lnTo>
                    <a:lnTo>
                      <a:pt x="390" y="334"/>
                    </a:lnTo>
                    <a:lnTo>
                      <a:pt x="390" y="334"/>
                    </a:lnTo>
                    <a:lnTo>
                      <a:pt x="390" y="334"/>
                    </a:lnTo>
                    <a:lnTo>
                      <a:pt x="397" y="334"/>
                    </a:lnTo>
                    <a:lnTo>
                      <a:pt x="397" y="334"/>
                    </a:lnTo>
                    <a:lnTo>
                      <a:pt x="397" y="334"/>
                    </a:lnTo>
                    <a:lnTo>
                      <a:pt x="397" y="334"/>
                    </a:lnTo>
                    <a:lnTo>
                      <a:pt x="397" y="334"/>
                    </a:lnTo>
                    <a:lnTo>
                      <a:pt x="397" y="341"/>
                    </a:lnTo>
                    <a:lnTo>
                      <a:pt x="397" y="341"/>
                    </a:lnTo>
                    <a:lnTo>
                      <a:pt x="397" y="341"/>
                    </a:lnTo>
                    <a:lnTo>
                      <a:pt x="397" y="341"/>
                    </a:lnTo>
                    <a:lnTo>
                      <a:pt x="397" y="341"/>
                    </a:lnTo>
                    <a:lnTo>
                      <a:pt x="397" y="341"/>
                    </a:lnTo>
                    <a:lnTo>
                      <a:pt x="397" y="341"/>
                    </a:lnTo>
                    <a:lnTo>
                      <a:pt x="397" y="341"/>
                    </a:lnTo>
                    <a:lnTo>
                      <a:pt x="404" y="341"/>
                    </a:lnTo>
                    <a:lnTo>
                      <a:pt x="404" y="341"/>
                    </a:lnTo>
                    <a:lnTo>
                      <a:pt x="404" y="341"/>
                    </a:lnTo>
                    <a:lnTo>
                      <a:pt x="418" y="341"/>
                    </a:lnTo>
                    <a:lnTo>
                      <a:pt x="418" y="334"/>
                    </a:lnTo>
                    <a:lnTo>
                      <a:pt x="418" y="334"/>
                    </a:lnTo>
                    <a:lnTo>
                      <a:pt x="418" y="334"/>
                    </a:lnTo>
                    <a:lnTo>
                      <a:pt x="418" y="334"/>
                    </a:lnTo>
                    <a:lnTo>
                      <a:pt x="418" y="327"/>
                    </a:lnTo>
                    <a:lnTo>
                      <a:pt x="418" y="320"/>
                    </a:lnTo>
                    <a:lnTo>
                      <a:pt x="418" y="320"/>
                    </a:lnTo>
                    <a:lnTo>
                      <a:pt x="418" y="320"/>
                    </a:lnTo>
                    <a:lnTo>
                      <a:pt x="411" y="312"/>
                    </a:lnTo>
                    <a:lnTo>
                      <a:pt x="404" y="312"/>
                    </a:lnTo>
                    <a:lnTo>
                      <a:pt x="404" y="305"/>
                    </a:lnTo>
                    <a:lnTo>
                      <a:pt x="404" y="305"/>
                    </a:lnTo>
                    <a:lnTo>
                      <a:pt x="404" y="305"/>
                    </a:lnTo>
                    <a:lnTo>
                      <a:pt x="404" y="305"/>
                    </a:lnTo>
                    <a:lnTo>
                      <a:pt x="404" y="305"/>
                    </a:lnTo>
                    <a:lnTo>
                      <a:pt x="397" y="305"/>
                    </a:lnTo>
                    <a:lnTo>
                      <a:pt x="390" y="305"/>
                    </a:lnTo>
                    <a:lnTo>
                      <a:pt x="383" y="298"/>
                    </a:lnTo>
                    <a:lnTo>
                      <a:pt x="383" y="298"/>
                    </a:lnTo>
                    <a:lnTo>
                      <a:pt x="383" y="291"/>
                    </a:lnTo>
                    <a:lnTo>
                      <a:pt x="383" y="291"/>
                    </a:lnTo>
                    <a:lnTo>
                      <a:pt x="383" y="291"/>
                    </a:lnTo>
                    <a:lnTo>
                      <a:pt x="383" y="291"/>
                    </a:lnTo>
                    <a:lnTo>
                      <a:pt x="383" y="291"/>
                    </a:lnTo>
                    <a:lnTo>
                      <a:pt x="390" y="291"/>
                    </a:lnTo>
                    <a:lnTo>
                      <a:pt x="390" y="291"/>
                    </a:lnTo>
                    <a:lnTo>
                      <a:pt x="390" y="291"/>
                    </a:lnTo>
                    <a:lnTo>
                      <a:pt x="390" y="291"/>
                    </a:lnTo>
                    <a:lnTo>
                      <a:pt x="397" y="291"/>
                    </a:lnTo>
                    <a:lnTo>
                      <a:pt x="397" y="284"/>
                    </a:lnTo>
                    <a:lnTo>
                      <a:pt x="397" y="284"/>
                    </a:lnTo>
                    <a:lnTo>
                      <a:pt x="397" y="284"/>
                    </a:lnTo>
                    <a:lnTo>
                      <a:pt x="397" y="277"/>
                    </a:lnTo>
                    <a:lnTo>
                      <a:pt x="390" y="277"/>
                    </a:lnTo>
                    <a:lnTo>
                      <a:pt x="390" y="270"/>
                    </a:lnTo>
                    <a:lnTo>
                      <a:pt x="390" y="270"/>
                    </a:lnTo>
                    <a:lnTo>
                      <a:pt x="390" y="270"/>
                    </a:lnTo>
                    <a:lnTo>
                      <a:pt x="390" y="270"/>
                    </a:lnTo>
                    <a:lnTo>
                      <a:pt x="390" y="270"/>
                    </a:lnTo>
                    <a:lnTo>
                      <a:pt x="390" y="270"/>
                    </a:lnTo>
                    <a:lnTo>
                      <a:pt x="390" y="263"/>
                    </a:lnTo>
                    <a:lnTo>
                      <a:pt x="390" y="263"/>
                    </a:lnTo>
                    <a:lnTo>
                      <a:pt x="397" y="263"/>
                    </a:lnTo>
                    <a:lnTo>
                      <a:pt x="397" y="263"/>
                    </a:lnTo>
                    <a:lnTo>
                      <a:pt x="411" y="256"/>
                    </a:lnTo>
                    <a:lnTo>
                      <a:pt x="411" y="256"/>
                    </a:lnTo>
                    <a:lnTo>
                      <a:pt x="411" y="256"/>
                    </a:lnTo>
                    <a:lnTo>
                      <a:pt x="418" y="256"/>
                    </a:lnTo>
                    <a:lnTo>
                      <a:pt x="425" y="256"/>
                    </a:lnTo>
                    <a:lnTo>
                      <a:pt x="440" y="256"/>
                    </a:lnTo>
                    <a:lnTo>
                      <a:pt x="440" y="249"/>
                    </a:lnTo>
                    <a:lnTo>
                      <a:pt x="440" y="256"/>
                    </a:lnTo>
                    <a:lnTo>
                      <a:pt x="440" y="256"/>
                    </a:lnTo>
                    <a:lnTo>
                      <a:pt x="447" y="249"/>
                    </a:lnTo>
                    <a:lnTo>
                      <a:pt x="447" y="249"/>
                    </a:lnTo>
                    <a:lnTo>
                      <a:pt x="447" y="256"/>
                    </a:lnTo>
                    <a:lnTo>
                      <a:pt x="454" y="256"/>
                    </a:lnTo>
                    <a:lnTo>
                      <a:pt x="454" y="256"/>
                    </a:lnTo>
                    <a:lnTo>
                      <a:pt x="454" y="256"/>
                    </a:lnTo>
                    <a:lnTo>
                      <a:pt x="454" y="256"/>
                    </a:lnTo>
                    <a:lnTo>
                      <a:pt x="461" y="256"/>
                    </a:lnTo>
                    <a:lnTo>
                      <a:pt x="461" y="249"/>
                    </a:lnTo>
                    <a:lnTo>
                      <a:pt x="461" y="249"/>
                    </a:lnTo>
                    <a:lnTo>
                      <a:pt x="461" y="249"/>
                    </a:lnTo>
                    <a:lnTo>
                      <a:pt x="461" y="249"/>
                    </a:lnTo>
                    <a:lnTo>
                      <a:pt x="461" y="249"/>
                    </a:lnTo>
                    <a:lnTo>
                      <a:pt x="461" y="249"/>
                    </a:lnTo>
                    <a:lnTo>
                      <a:pt x="461" y="249"/>
                    </a:lnTo>
                    <a:lnTo>
                      <a:pt x="461" y="241"/>
                    </a:lnTo>
                    <a:lnTo>
                      <a:pt x="461" y="241"/>
                    </a:lnTo>
                    <a:lnTo>
                      <a:pt x="461" y="241"/>
                    </a:lnTo>
                    <a:lnTo>
                      <a:pt x="468" y="241"/>
                    </a:lnTo>
                    <a:lnTo>
                      <a:pt x="468" y="241"/>
                    </a:lnTo>
                    <a:lnTo>
                      <a:pt x="461" y="241"/>
                    </a:lnTo>
                    <a:lnTo>
                      <a:pt x="461" y="234"/>
                    </a:lnTo>
                    <a:lnTo>
                      <a:pt x="461" y="234"/>
                    </a:lnTo>
                    <a:lnTo>
                      <a:pt x="461" y="234"/>
                    </a:lnTo>
                    <a:lnTo>
                      <a:pt x="461" y="234"/>
                    </a:lnTo>
                    <a:lnTo>
                      <a:pt x="461" y="227"/>
                    </a:lnTo>
                    <a:lnTo>
                      <a:pt x="461" y="227"/>
                    </a:lnTo>
                    <a:lnTo>
                      <a:pt x="461" y="227"/>
                    </a:lnTo>
                    <a:lnTo>
                      <a:pt x="461" y="227"/>
                    </a:lnTo>
                    <a:lnTo>
                      <a:pt x="461" y="227"/>
                    </a:lnTo>
                    <a:lnTo>
                      <a:pt x="461" y="227"/>
                    </a:lnTo>
                    <a:lnTo>
                      <a:pt x="461" y="220"/>
                    </a:lnTo>
                    <a:lnTo>
                      <a:pt x="461" y="220"/>
                    </a:lnTo>
                    <a:lnTo>
                      <a:pt x="461" y="220"/>
                    </a:lnTo>
                    <a:lnTo>
                      <a:pt x="454" y="220"/>
                    </a:lnTo>
                    <a:lnTo>
                      <a:pt x="454" y="220"/>
                    </a:lnTo>
                    <a:lnTo>
                      <a:pt x="454" y="213"/>
                    </a:lnTo>
                    <a:lnTo>
                      <a:pt x="454" y="213"/>
                    </a:lnTo>
                    <a:lnTo>
                      <a:pt x="461" y="213"/>
                    </a:lnTo>
                    <a:lnTo>
                      <a:pt x="461" y="213"/>
                    </a:lnTo>
                    <a:lnTo>
                      <a:pt x="461" y="213"/>
                    </a:lnTo>
                    <a:lnTo>
                      <a:pt x="461" y="213"/>
                    </a:lnTo>
                    <a:lnTo>
                      <a:pt x="461" y="213"/>
                    </a:lnTo>
                    <a:lnTo>
                      <a:pt x="461" y="206"/>
                    </a:lnTo>
                    <a:lnTo>
                      <a:pt x="454" y="206"/>
                    </a:lnTo>
                    <a:lnTo>
                      <a:pt x="454" y="206"/>
                    </a:lnTo>
                    <a:lnTo>
                      <a:pt x="454" y="206"/>
                    </a:lnTo>
                    <a:lnTo>
                      <a:pt x="454" y="206"/>
                    </a:lnTo>
                    <a:lnTo>
                      <a:pt x="454" y="206"/>
                    </a:lnTo>
                    <a:lnTo>
                      <a:pt x="454" y="206"/>
                    </a:lnTo>
                    <a:lnTo>
                      <a:pt x="447" y="206"/>
                    </a:lnTo>
                    <a:lnTo>
                      <a:pt x="447" y="206"/>
                    </a:lnTo>
                    <a:lnTo>
                      <a:pt x="440" y="206"/>
                    </a:lnTo>
                    <a:lnTo>
                      <a:pt x="440" y="213"/>
                    </a:lnTo>
                    <a:lnTo>
                      <a:pt x="440" y="213"/>
                    </a:lnTo>
                    <a:lnTo>
                      <a:pt x="440" y="213"/>
                    </a:lnTo>
                    <a:lnTo>
                      <a:pt x="440" y="220"/>
                    </a:lnTo>
                    <a:lnTo>
                      <a:pt x="440" y="220"/>
                    </a:lnTo>
                    <a:lnTo>
                      <a:pt x="440" y="220"/>
                    </a:lnTo>
                    <a:lnTo>
                      <a:pt x="433" y="220"/>
                    </a:lnTo>
                    <a:lnTo>
                      <a:pt x="433" y="220"/>
                    </a:lnTo>
                    <a:lnTo>
                      <a:pt x="433" y="220"/>
                    </a:lnTo>
                    <a:lnTo>
                      <a:pt x="425" y="220"/>
                    </a:lnTo>
                    <a:lnTo>
                      <a:pt x="425" y="220"/>
                    </a:lnTo>
                    <a:lnTo>
                      <a:pt x="425" y="220"/>
                    </a:lnTo>
                    <a:lnTo>
                      <a:pt x="418" y="220"/>
                    </a:lnTo>
                    <a:lnTo>
                      <a:pt x="418" y="220"/>
                    </a:lnTo>
                    <a:lnTo>
                      <a:pt x="411" y="220"/>
                    </a:lnTo>
                    <a:lnTo>
                      <a:pt x="411" y="227"/>
                    </a:lnTo>
                    <a:lnTo>
                      <a:pt x="404" y="227"/>
                    </a:lnTo>
                    <a:lnTo>
                      <a:pt x="404" y="227"/>
                    </a:lnTo>
                    <a:lnTo>
                      <a:pt x="397" y="227"/>
                    </a:lnTo>
                    <a:lnTo>
                      <a:pt x="397" y="227"/>
                    </a:lnTo>
                    <a:lnTo>
                      <a:pt x="397" y="220"/>
                    </a:lnTo>
                    <a:lnTo>
                      <a:pt x="390" y="220"/>
                    </a:lnTo>
                    <a:lnTo>
                      <a:pt x="390" y="220"/>
                    </a:lnTo>
                    <a:lnTo>
                      <a:pt x="383" y="220"/>
                    </a:lnTo>
                    <a:lnTo>
                      <a:pt x="383" y="220"/>
                    </a:lnTo>
                    <a:lnTo>
                      <a:pt x="383" y="220"/>
                    </a:lnTo>
                    <a:lnTo>
                      <a:pt x="383" y="220"/>
                    </a:lnTo>
                    <a:lnTo>
                      <a:pt x="376" y="220"/>
                    </a:lnTo>
                    <a:lnTo>
                      <a:pt x="376" y="220"/>
                    </a:lnTo>
                    <a:lnTo>
                      <a:pt x="369" y="220"/>
                    </a:lnTo>
                    <a:lnTo>
                      <a:pt x="369" y="220"/>
                    </a:lnTo>
                    <a:lnTo>
                      <a:pt x="369" y="213"/>
                    </a:lnTo>
                    <a:lnTo>
                      <a:pt x="369" y="213"/>
                    </a:lnTo>
                    <a:lnTo>
                      <a:pt x="362" y="213"/>
                    </a:lnTo>
                    <a:lnTo>
                      <a:pt x="362" y="213"/>
                    </a:lnTo>
                    <a:lnTo>
                      <a:pt x="362" y="213"/>
                    </a:lnTo>
                    <a:lnTo>
                      <a:pt x="362" y="213"/>
                    </a:lnTo>
                    <a:lnTo>
                      <a:pt x="354" y="206"/>
                    </a:lnTo>
                    <a:lnTo>
                      <a:pt x="354" y="206"/>
                    </a:lnTo>
                    <a:lnTo>
                      <a:pt x="354" y="206"/>
                    </a:lnTo>
                    <a:lnTo>
                      <a:pt x="354" y="206"/>
                    </a:lnTo>
                    <a:lnTo>
                      <a:pt x="354" y="206"/>
                    </a:lnTo>
                    <a:lnTo>
                      <a:pt x="347" y="206"/>
                    </a:lnTo>
                    <a:lnTo>
                      <a:pt x="347" y="206"/>
                    </a:lnTo>
                    <a:lnTo>
                      <a:pt x="347" y="206"/>
                    </a:lnTo>
                    <a:lnTo>
                      <a:pt x="347" y="199"/>
                    </a:lnTo>
                    <a:lnTo>
                      <a:pt x="347" y="192"/>
                    </a:lnTo>
                    <a:lnTo>
                      <a:pt x="340" y="170"/>
                    </a:lnTo>
                    <a:lnTo>
                      <a:pt x="340" y="170"/>
                    </a:lnTo>
                    <a:lnTo>
                      <a:pt x="340" y="170"/>
                    </a:lnTo>
                    <a:lnTo>
                      <a:pt x="340" y="163"/>
                    </a:lnTo>
                    <a:lnTo>
                      <a:pt x="340" y="163"/>
                    </a:lnTo>
                    <a:lnTo>
                      <a:pt x="340" y="163"/>
                    </a:lnTo>
                    <a:lnTo>
                      <a:pt x="340" y="163"/>
                    </a:lnTo>
                    <a:lnTo>
                      <a:pt x="340" y="163"/>
                    </a:lnTo>
                    <a:lnTo>
                      <a:pt x="347" y="163"/>
                    </a:lnTo>
                    <a:lnTo>
                      <a:pt x="340" y="156"/>
                    </a:lnTo>
                    <a:lnTo>
                      <a:pt x="347" y="156"/>
                    </a:lnTo>
                    <a:lnTo>
                      <a:pt x="347" y="156"/>
                    </a:lnTo>
                    <a:lnTo>
                      <a:pt x="347" y="149"/>
                    </a:lnTo>
                    <a:lnTo>
                      <a:pt x="347" y="149"/>
                    </a:lnTo>
                    <a:lnTo>
                      <a:pt x="347" y="149"/>
                    </a:lnTo>
                    <a:lnTo>
                      <a:pt x="354" y="142"/>
                    </a:lnTo>
                    <a:lnTo>
                      <a:pt x="354" y="142"/>
                    </a:lnTo>
                    <a:lnTo>
                      <a:pt x="354" y="142"/>
                    </a:lnTo>
                    <a:lnTo>
                      <a:pt x="354" y="142"/>
                    </a:lnTo>
                    <a:lnTo>
                      <a:pt x="362" y="142"/>
                    </a:lnTo>
                    <a:lnTo>
                      <a:pt x="362" y="135"/>
                    </a:lnTo>
                    <a:lnTo>
                      <a:pt x="362" y="135"/>
                    </a:lnTo>
                    <a:lnTo>
                      <a:pt x="362" y="135"/>
                    </a:lnTo>
                    <a:lnTo>
                      <a:pt x="369" y="135"/>
                    </a:lnTo>
                    <a:lnTo>
                      <a:pt x="369" y="135"/>
                    </a:lnTo>
                    <a:lnTo>
                      <a:pt x="369" y="135"/>
                    </a:lnTo>
                    <a:lnTo>
                      <a:pt x="376" y="135"/>
                    </a:lnTo>
                    <a:lnTo>
                      <a:pt x="376" y="135"/>
                    </a:lnTo>
                    <a:lnTo>
                      <a:pt x="376" y="135"/>
                    </a:lnTo>
                    <a:lnTo>
                      <a:pt x="376" y="135"/>
                    </a:lnTo>
                    <a:lnTo>
                      <a:pt x="383" y="135"/>
                    </a:lnTo>
                    <a:lnTo>
                      <a:pt x="383" y="128"/>
                    </a:lnTo>
                    <a:lnTo>
                      <a:pt x="383" y="128"/>
                    </a:lnTo>
                    <a:lnTo>
                      <a:pt x="383" y="128"/>
                    </a:lnTo>
                    <a:lnTo>
                      <a:pt x="383" y="128"/>
                    </a:lnTo>
                    <a:lnTo>
                      <a:pt x="383" y="128"/>
                    </a:lnTo>
                    <a:lnTo>
                      <a:pt x="383" y="121"/>
                    </a:lnTo>
                    <a:lnTo>
                      <a:pt x="390" y="121"/>
                    </a:lnTo>
                    <a:lnTo>
                      <a:pt x="390" y="114"/>
                    </a:lnTo>
                    <a:lnTo>
                      <a:pt x="397" y="114"/>
                    </a:lnTo>
                    <a:lnTo>
                      <a:pt x="397" y="114"/>
                    </a:lnTo>
                    <a:lnTo>
                      <a:pt x="397" y="114"/>
                    </a:lnTo>
                    <a:lnTo>
                      <a:pt x="397" y="114"/>
                    </a:lnTo>
                    <a:lnTo>
                      <a:pt x="397" y="114"/>
                    </a:lnTo>
                    <a:lnTo>
                      <a:pt x="404" y="114"/>
                    </a:lnTo>
                    <a:lnTo>
                      <a:pt x="404" y="107"/>
                    </a:lnTo>
                    <a:lnTo>
                      <a:pt x="404" y="107"/>
                    </a:lnTo>
                    <a:lnTo>
                      <a:pt x="404" y="107"/>
                    </a:lnTo>
                    <a:lnTo>
                      <a:pt x="411" y="107"/>
                    </a:lnTo>
                    <a:lnTo>
                      <a:pt x="411" y="107"/>
                    </a:lnTo>
                    <a:lnTo>
                      <a:pt x="411" y="99"/>
                    </a:lnTo>
                    <a:lnTo>
                      <a:pt x="411" y="99"/>
                    </a:lnTo>
                    <a:lnTo>
                      <a:pt x="418" y="99"/>
                    </a:lnTo>
                    <a:lnTo>
                      <a:pt x="418" y="99"/>
                    </a:lnTo>
                    <a:lnTo>
                      <a:pt x="418" y="99"/>
                    </a:lnTo>
                    <a:lnTo>
                      <a:pt x="418" y="99"/>
                    </a:lnTo>
                    <a:lnTo>
                      <a:pt x="418" y="99"/>
                    </a:lnTo>
                    <a:lnTo>
                      <a:pt x="418" y="99"/>
                    </a:lnTo>
                    <a:lnTo>
                      <a:pt x="418" y="92"/>
                    </a:lnTo>
                    <a:lnTo>
                      <a:pt x="418" y="92"/>
                    </a:lnTo>
                    <a:lnTo>
                      <a:pt x="425" y="92"/>
                    </a:lnTo>
                    <a:lnTo>
                      <a:pt x="425" y="92"/>
                    </a:lnTo>
                    <a:lnTo>
                      <a:pt x="433" y="92"/>
                    </a:lnTo>
                    <a:lnTo>
                      <a:pt x="440" y="92"/>
                    </a:lnTo>
                    <a:lnTo>
                      <a:pt x="440" y="85"/>
                    </a:lnTo>
                    <a:lnTo>
                      <a:pt x="440" y="85"/>
                    </a:lnTo>
                    <a:lnTo>
                      <a:pt x="447" y="85"/>
                    </a:lnTo>
                    <a:lnTo>
                      <a:pt x="447" y="85"/>
                    </a:lnTo>
                    <a:lnTo>
                      <a:pt x="447" y="85"/>
                    </a:lnTo>
                    <a:lnTo>
                      <a:pt x="447" y="78"/>
                    </a:lnTo>
                    <a:lnTo>
                      <a:pt x="447" y="78"/>
                    </a:lnTo>
                    <a:lnTo>
                      <a:pt x="447" y="78"/>
                    </a:lnTo>
                    <a:lnTo>
                      <a:pt x="454" y="71"/>
                    </a:lnTo>
                    <a:lnTo>
                      <a:pt x="454" y="71"/>
                    </a:lnTo>
                    <a:lnTo>
                      <a:pt x="454" y="71"/>
                    </a:lnTo>
                    <a:lnTo>
                      <a:pt x="461" y="71"/>
                    </a:lnTo>
                    <a:lnTo>
                      <a:pt x="461" y="71"/>
                    </a:lnTo>
                    <a:lnTo>
                      <a:pt x="461" y="71"/>
                    </a:lnTo>
                    <a:lnTo>
                      <a:pt x="461" y="71"/>
                    </a:lnTo>
                    <a:lnTo>
                      <a:pt x="468" y="71"/>
                    </a:lnTo>
                    <a:lnTo>
                      <a:pt x="468" y="71"/>
                    </a:lnTo>
                    <a:lnTo>
                      <a:pt x="468" y="71"/>
                    </a:lnTo>
                    <a:lnTo>
                      <a:pt x="468" y="64"/>
                    </a:lnTo>
                    <a:lnTo>
                      <a:pt x="468" y="64"/>
                    </a:lnTo>
                    <a:lnTo>
                      <a:pt x="475" y="64"/>
                    </a:lnTo>
                    <a:lnTo>
                      <a:pt x="475" y="64"/>
                    </a:lnTo>
                    <a:lnTo>
                      <a:pt x="475" y="64"/>
                    </a:lnTo>
                    <a:lnTo>
                      <a:pt x="482" y="64"/>
                    </a:lnTo>
                    <a:lnTo>
                      <a:pt x="489" y="57"/>
                    </a:lnTo>
                    <a:lnTo>
                      <a:pt x="489" y="57"/>
                    </a:lnTo>
                    <a:lnTo>
                      <a:pt x="496" y="57"/>
                    </a:lnTo>
                    <a:lnTo>
                      <a:pt x="496" y="50"/>
                    </a:lnTo>
                    <a:lnTo>
                      <a:pt x="504" y="50"/>
                    </a:lnTo>
                    <a:lnTo>
                      <a:pt x="504" y="50"/>
                    </a:lnTo>
                    <a:lnTo>
                      <a:pt x="504" y="50"/>
                    </a:lnTo>
                    <a:lnTo>
                      <a:pt x="511" y="50"/>
                    </a:lnTo>
                    <a:lnTo>
                      <a:pt x="511" y="43"/>
                    </a:lnTo>
                    <a:lnTo>
                      <a:pt x="518" y="43"/>
                    </a:lnTo>
                    <a:lnTo>
                      <a:pt x="518" y="43"/>
                    </a:lnTo>
                    <a:lnTo>
                      <a:pt x="518" y="36"/>
                    </a:lnTo>
                    <a:lnTo>
                      <a:pt x="525" y="36"/>
                    </a:lnTo>
                    <a:lnTo>
                      <a:pt x="525" y="36"/>
                    </a:lnTo>
                    <a:lnTo>
                      <a:pt x="525" y="36"/>
                    </a:lnTo>
                    <a:lnTo>
                      <a:pt x="525" y="29"/>
                    </a:lnTo>
                    <a:lnTo>
                      <a:pt x="525" y="29"/>
                    </a:lnTo>
                    <a:lnTo>
                      <a:pt x="532" y="29"/>
                    </a:lnTo>
                    <a:lnTo>
                      <a:pt x="532" y="29"/>
                    </a:lnTo>
                    <a:lnTo>
                      <a:pt x="532" y="29"/>
                    </a:lnTo>
                    <a:lnTo>
                      <a:pt x="532" y="29"/>
                    </a:lnTo>
                    <a:lnTo>
                      <a:pt x="539" y="29"/>
                    </a:lnTo>
                    <a:lnTo>
                      <a:pt x="539" y="21"/>
                    </a:lnTo>
                    <a:lnTo>
                      <a:pt x="546" y="21"/>
                    </a:lnTo>
                    <a:lnTo>
                      <a:pt x="546" y="29"/>
                    </a:lnTo>
                    <a:lnTo>
                      <a:pt x="546" y="29"/>
                    </a:lnTo>
                    <a:lnTo>
                      <a:pt x="546" y="29"/>
                    </a:lnTo>
                    <a:lnTo>
                      <a:pt x="546" y="29"/>
                    </a:lnTo>
                    <a:lnTo>
                      <a:pt x="546" y="29"/>
                    </a:lnTo>
                    <a:lnTo>
                      <a:pt x="553" y="29"/>
                    </a:lnTo>
                    <a:lnTo>
                      <a:pt x="553" y="29"/>
                    </a:lnTo>
                    <a:lnTo>
                      <a:pt x="553" y="21"/>
                    </a:lnTo>
                    <a:lnTo>
                      <a:pt x="553" y="21"/>
                    </a:lnTo>
                    <a:lnTo>
                      <a:pt x="553" y="21"/>
                    </a:lnTo>
                    <a:lnTo>
                      <a:pt x="553" y="14"/>
                    </a:lnTo>
                    <a:lnTo>
                      <a:pt x="553" y="14"/>
                    </a:lnTo>
                    <a:lnTo>
                      <a:pt x="553" y="14"/>
                    </a:lnTo>
                    <a:lnTo>
                      <a:pt x="553" y="14"/>
                    </a:lnTo>
                    <a:lnTo>
                      <a:pt x="553" y="14"/>
                    </a:lnTo>
                    <a:lnTo>
                      <a:pt x="553" y="7"/>
                    </a:lnTo>
                    <a:lnTo>
                      <a:pt x="560" y="7"/>
                    </a:lnTo>
                    <a:lnTo>
                      <a:pt x="560" y="14"/>
                    </a:lnTo>
                    <a:lnTo>
                      <a:pt x="560" y="7"/>
                    </a:lnTo>
                    <a:lnTo>
                      <a:pt x="560" y="7"/>
                    </a:lnTo>
                    <a:lnTo>
                      <a:pt x="567" y="7"/>
                    </a:lnTo>
                    <a:lnTo>
                      <a:pt x="567" y="7"/>
                    </a:lnTo>
                    <a:lnTo>
                      <a:pt x="567" y="7"/>
                    </a:lnTo>
                    <a:lnTo>
                      <a:pt x="575" y="7"/>
                    </a:lnTo>
                    <a:lnTo>
                      <a:pt x="575" y="7"/>
                    </a:lnTo>
                    <a:lnTo>
                      <a:pt x="575" y="7"/>
                    </a:lnTo>
                    <a:lnTo>
                      <a:pt x="575" y="0"/>
                    </a:lnTo>
                    <a:lnTo>
                      <a:pt x="582" y="0"/>
                    </a:lnTo>
                    <a:lnTo>
                      <a:pt x="582" y="0"/>
                    </a:lnTo>
                    <a:lnTo>
                      <a:pt x="582" y="0"/>
                    </a:lnTo>
                    <a:lnTo>
                      <a:pt x="589" y="0"/>
                    </a:lnTo>
                    <a:lnTo>
                      <a:pt x="589" y="0"/>
                    </a:lnTo>
                    <a:lnTo>
                      <a:pt x="596" y="7"/>
                    </a:lnTo>
                    <a:lnTo>
                      <a:pt x="596" y="7"/>
                    </a:lnTo>
                    <a:lnTo>
                      <a:pt x="596" y="7"/>
                    </a:lnTo>
                    <a:lnTo>
                      <a:pt x="596" y="7"/>
                    </a:lnTo>
                    <a:lnTo>
                      <a:pt x="596" y="7"/>
                    </a:lnTo>
                    <a:lnTo>
                      <a:pt x="603" y="7"/>
                    </a:lnTo>
                    <a:lnTo>
                      <a:pt x="603" y="7"/>
                    </a:lnTo>
                    <a:lnTo>
                      <a:pt x="603" y="7"/>
                    </a:lnTo>
                    <a:lnTo>
                      <a:pt x="610" y="7"/>
                    </a:lnTo>
                    <a:lnTo>
                      <a:pt x="610" y="14"/>
                    </a:lnTo>
                    <a:lnTo>
                      <a:pt x="617" y="14"/>
                    </a:lnTo>
                    <a:lnTo>
                      <a:pt x="617" y="14"/>
                    </a:lnTo>
                    <a:lnTo>
                      <a:pt x="624" y="14"/>
                    </a:lnTo>
                    <a:lnTo>
                      <a:pt x="624" y="14"/>
                    </a:lnTo>
                    <a:lnTo>
                      <a:pt x="624" y="14"/>
                    </a:lnTo>
                    <a:lnTo>
                      <a:pt x="624" y="14"/>
                    </a:lnTo>
                    <a:lnTo>
                      <a:pt x="624" y="14"/>
                    </a:lnTo>
                    <a:lnTo>
                      <a:pt x="624" y="14"/>
                    </a:lnTo>
                    <a:lnTo>
                      <a:pt x="631" y="14"/>
                    </a:lnTo>
                    <a:lnTo>
                      <a:pt x="631" y="7"/>
                    </a:lnTo>
                    <a:lnTo>
                      <a:pt x="638" y="7"/>
                    </a:lnTo>
                    <a:lnTo>
                      <a:pt x="638" y="14"/>
                    </a:lnTo>
                    <a:lnTo>
                      <a:pt x="638" y="7"/>
                    </a:lnTo>
                    <a:lnTo>
                      <a:pt x="638" y="7"/>
                    </a:lnTo>
                    <a:lnTo>
                      <a:pt x="645" y="7"/>
                    </a:lnTo>
                    <a:lnTo>
                      <a:pt x="645" y="14"/>
                    </a:lnTo>
                    <a:lnTo>
                      <a:pt x="645" y="14"/>
                    </a:lnTo>
                    <a:lnTo>
                      <a:pt x="645" y="14"/>
                    </a:lnTo>
                    <a:lnTo>
                      <a:pt x="645" y="14"/>
                    </a:lnTo>
                    <a:lnTo>
                      <a:pt x="645" y="14"/>
                    </a:lnTo>
                    <a:lnTo>
                      <a:pt x="653" y="14"/>
                    </a:lnTo>
                    <a:lnTo>
                      <a:pt x="653" y="21"/>
                    </a:lnTo>
                    <a:lnTo>
                      <a:pt x="660" y="21"/>
                    </a:lnTo>
                    <a:lnTo>
                      <a:pt x="660" y="21"/>
                    </a:lnTo>
                    <a:lnTo>
                      <a:pt x="660" y="21"/>
                    </a:lnTo>
                    <a:lnTo>
                      <a:pt x="667" y="21"/>
                    </a:lnTo>
                    <a:lnTo>
                      <a:pt x="667" y="21"/>
                    </a:lnTo>
                    <a:lnTo>
                      <a:pt x="667" y="21"/>
                    </a:lnTo>
                    <a:lnTo>
                      <a:pt x="667" y="21"/>
                    </a:lnTo>
                    <a:lnTo>
                      <a:pt x="667" y="29"/>
                    </a:lnTo>
                    <a:lnTo>
                      <a:pt x="667" y="29"/>
                    </a:lnTo>
                    <a:lnTo>
                      <a:pt x="667" y="29"/>
                    </a:lnTo>
                    <a:lnTo>
                      <a:pt x="667" y="29"/>
                    </a:lnTo>
                    <a:lnTo>
                      <a:pt x="674" y="36"/>
                    </a:lnTo>
                    <a:lnTo>
                      <a:pt x="674" y="43"/>
                    </a:lnTo>
                    <a:lnTo>
                      <a:pt x="681" y="50"/>
                    </a:lnTo>
                    <a:lnTo>
                      <a:pt x="681" y="57"/>
                    </a:lnTo>
                    <a:lnTo>
                      <a:pt x="681" y="57"/>
                    </a:lnTo>
                    <a:lnTo>
                      <a:pt x="681" y="64"/>
                    </a:lnTo>
                    <a:lnTo>
                      <a:pt x="681" y="71"/>
                    </a:lnTo>
                    <a:lnTo>
                      <a:pt x="681" y="71"/>
                    </a:lnTo>
                    <a:lnTo>
                      <a:pt x="681" y="71"/>
                    </a:lnTo>
                    <a:lnTo>
                      <a:pt x="688" y="71"/>
                    </a:lnTo>
                    <a:lnTo>
                      <a:pt x="688" y="71"/>
                    </a:lnTo>
                    <a:lnTo>
                      <a:pt x="688" y="71"/>
                    </a:lnTo>
                    <a:lnTo>
                      <a:pt x="688" y="71"/>
                    </a:lnTo>
                    <a:lnTo>
                      <a:pt x="681" y="78"/>
                    </a:lnTo>
                    <a:lnTo>
                      <a:pt x="681" y="78"/>
                    </a:lnTo>
                    <a:lnTo>
                      <a:pt x="681" y="78"/>
                    </a:lnTo>
                    <a:lnTo>
                      <a:pt x="681" y="78"/>
                    </a:lnTo>
                    <a:lnTo>
                      <a:pt x="674" y="85"/>
                    </a:lnTo>
                    <a:lnTo>
                      <a:pt x="674" y="85"/>
                    </a:lnTo>
                    <a:lnTo>
                      <a:pt x="674" y="85"/>
                    </a:lnTo>
                    <a:lnTo>
                      <a:pt x="674" y="85"/>
                    </a:lnTo>
                    <a:lnTo>
                      <a:pt x="667" y="85"/>
                    </a:lnTo>
                    <a:lnTo>
                      <a:pt x="667" y="85"/>
                    </a:lnTo>
                    <a:lnTo>
                      <a:pt x="667" y="85"/>
                    </a:lnTo>
                    <a:lnTo>
                      <a:pt x="667" y="92"/>
                    </a:lnTo>
                    <a:lnTo>
                      <a:pt x="674" y="92"/>
                    </a:lnTo>
                    <a:lnTo>
                      <a:pt x="674" y="92"/>
                    </a:lnTo>
                    <a:lnTo>
                      <a:pt x="674" y="92"/>
                    </a:lnTo>
                    <a:lnTo>
                      <a:pt x="674" y="92"/>
                    </a:lnTo>
                    <a:lnTo>
                      <a:pt x="674" y="99"/>
                    </a:lnTo>
                    <a:lnTo>
                      <a:pt x="667" y="99"/>
                    </a:lnTo>
                    <a:lnTo>
                      <a:pt x="667" y="99"/>
                    </a:lnTo>
                    <a:lnTo>
                      <a:pt x="667" y="99"/>
                    </a:lnTo>
                    <a:lnTo>
                      <a:pt x="667" y="99"/>
                    </a:lnTo>
                    <a:lnTo>
                      <a:pt x="667" y="107"/>
                    </a:lnTo>
                    <a:lnTo>
                      <a:pt x="667" y="107"/>
                    </a:lnTo>
                    <a:lnTo>
                      <a:pt x="674" y="107"/>
                    </a:lnTo>
                    <a:lnTo>
                      <a:pt x="674" y="107"/>
                    </a:lnTo>
                    <a:lnTo>
                      <a:pt x="674" y="107"/>
                    </a:lnTo>
                    <a:lnTo>
                      <a:pt x="674" y="114"/>
                    </a:lnTo>
                    <a:lnTo>
                      <a:pt x="667" y="121"/>
                    </a:lnTo>
                    <a:lnTo>
                      <a:pt x="667" y="121"/>
                    </a:lnTo>
                    <a:lnTo>
                      <a:pt x="667" y="128"/>
                    </a:lnTo>
                    <a:lnTo>
                      <a:pt x="667" y="128"/>
                    </a:lnTo>
                    <a:lnTo>
                      <a:pt x="660" y="128"/>
                    </a:lnTo>
                    <a:lnTo>
                      <a:pt x="660" y="135"/>
                    </a:lnTo>
                    <a:lnTo>
                      <a:pt x="653" y="142"/>
                    </a:lnTo>
                    <a:lnTo>
                      <a:pt x="653" y="149"/>
                    </a:lnTo>
                    <a:lnTo>
                      <a:pt x="653" y="149"/>
                    </a:lnTo>
                    <a:lnTo>
                      <a:pt x="653" y="149"/>
                    </a:lnTo>
                    <a:lnTo>
                      <a:pt x="645" y="149"/>
                    </a:lnTo>
                    <a:lnTo>
                      <a:pt x="645" y="149"/>
                    </a:lnTo>
                    <a:lnTo>
                      <a:pt x="645" y="156"/>
                    </a:lnTo>
                    <a:lnTo>
                      <a:pt x="645" y="156"/>
                    </a:lnTo>
                    <a:lnTo>
                      <a:pt x="645" y="156"/>
                    </a:lnTo>
                    <a:lnTo>
                      <a:pt x="645" y="163"/>
                    </a:lnTo>
                    <a:lnTo>
                      <a:pt x="645" y="163"/>
                    </a:lnTo>
                    <a:lnTo>
                      <a:pt x="645" y="163"/>
                    </a:lnTo>
                    <a:lnTo>
                      <a:pt x="645" y="163"/>
                    </a:lnTo>
                    <a:lnTo>
                      <a:pt x="645" y="170"/>
                    </a:lnTo>
                    <a:lnTo>
                      <a:pt x="645" y="170"/>
                    </a:lnTo>
                    <a:lnTo>
                      <a:pt x="645" y="170"/>
                    </a:lnTo>
                    <a:lnTo>
                      <a:pt x="645" y="170"/>
                    </a:lnTo>
                    <a:lnTo>
                      <a:pt x="645" y="170"/>
                    </a:lnTo>
                    <a:lnTo>
                      <a:pt x="645" y="170"/>
                    </a:lnTo>
                    <a:lnTo>
                      <a:pt x="645" y="178"/>
                    </a:lnTo>
                    <a:lnTo>
                      <a:pt x="645" y="178"/>
                    </a:lnTo>
                    <a:lnTo>
                      <a:pt x="638" y="178"/>
                    </a:lnTo>
                    <a:lnTo>
                      <a:pt x="631" y="178"/>
                    </a:lnTo>
                    <a:lnTo>
                      <a:pt x="624" y="185"/>
                    </a:lnTo>
                    <a:lnTo>
                      <a:pt x="624" y="185"/>
                    </a:lnTo>
                    <a:lnTo>
                      <a:pt x="624" y="185"/>
                    </a:lnTo>
                    <a:lnTo>
                      <a:pt x="617" y="185"/>
                    </a:lnTo>
                    <a:lnTo>
                      <a:pt x="617" y="185"/>
                    </a:lnTo>
                    <a:lnTo>
                      <a:pt x="610" y="185"/>
                    </a:lnTo>
                    <a:lnTo>
                      <a:pt x="610" y="185"/>
                    </a:lnTo>
                    <a:lnTo>
                      <a:pt x="610" y="185"/>
                    </a:lnTo>
                    <a:lnTo>
                      <a:pt x="596" y="192"/>
                    </a:lnTo>
                    <a:lnTo>
                      <a:pt x="596" y="192"/>
                    </a:lnTo>
                    <a:lnTo>
                      <a:pt x="596" y="199"/>
                    </a:lnTo>
                    <a:lnTo>
                      <a:pt x="589" y="199"/>
                    </a:lnTo>
                    <a:lnTo>
                      <a:pt x="582" y="213"/>
                    </a:lnTo>
                    <a:lnTo>
                      <a:pt x="582" y="213"/>
                    </a:lnTo>
                    <a:lnTo>
                      <a:pt x="582" y="213"/>
                    </a:lnTo>
                    <a:lnTo>
                      <a:pt x="582" y="213"/>
                    </a:lnTo>
                    <a:lnTo>
                      <a:pt x="582" y="213"/>
                    </a:lnTo>
                    <a:lnTo>
                      <a:pt x="582" y="220"/>
                    </a:lnTo>
                    <a:lnTo>
                      <a:pt x="582" y="220"/>
                    </a:lnTo>
                    <a:lnTo>
                      <a:pt x="589" y="220"/>
                    </a:lnTo>
                    <a:lnTo>
                      <a:pt x="596" y="234"/>
                    </a:lnTo>
                    <a:lnTo>
                      <a:pt x="596" y="241"/>
                    </a:lnTo>
                    <a:lnTo>
                      <a:pt x="596" y="241"/>
                    </a:lnTo>
                    <a:lnTo>
                      <a:pt x="596" y="241"/>
                    </a:lnTo>
                    <a:lnTo>
                      <a:pt x="596" y="249"/>
                    </a:lnTo>
                    <a:lnTo>
                      <a:pt x="596" y="249"/>
                    </a:lnTo>
                    <a:lnTo>
                      <a:pt x="596" y="249"/>
                    </a:lnTo>
                    <a:lnTo>
                      <a:pt x="596" y="256"/>
                    </a:lnTo>
                    <a:lnTo>
                      <a:pt x="596" y="256"/>
                    </a:lnTo>
                    <a:lnTo>
                      <a:pt x="589" y="256"/>
                    </a:lnTo>
                    <a:lnTo>
                      <a:pt x="589" y="263"/>
                    </a:lnTo>
                    <a:lnTo>
                      <a:pt x="596" y="263"/>
                    </a:lnTo>
                    <a:lnTo>
                      <a:pt x="596" y="263"/>
                    </a:lnTo>
                    <a:lnTo>
                      <a:pt x="589" y="270"/>
                    </a:lnTo>
                    <a:lnTo>
                      <a:pt x="589" y="270"/>
                    </a:lnTo>
                    <a:lnTo>
                      <a:pt x="582" y="277"/>
                    </a:lnTo>
                    <a:lnTo>
                      <a:pt x="582" y="277"/>
                    </a:lnTo>
                    <a:lnTo>
                      <a:pt x="575" y="284"/>
                    </a:lnTo>
                    <a:lnTo>
                      <a:pt x="567" y="284"/>
                    </a:lnTo>
                    <a:lnTo>
                      <a:pt x="567" y="291"/>
                    </a:lnTo>
                    <a:lnTo>
                      <a:pt x="575" y="291"/>
                    </a:lnTo>
                    <a:lnTo>
                      <a:pt x="575" y="291"/>
                    </a:lnTo>
                    <a:lnTo>
                      <a:pt x="575" y="291"/>
                    </a:lnTo>
                    <a:lnTo>
                      <a:pt x="575" y="291"/>
                    </a:lnTo>
                    <a:lnTo>
                      <a:pt x="582" y="298"/>
                    </a:lnTo>
                    <a:lnTo>
                      <a:pt x="582" y="305"/>
                    </a:lnTo>
                    <a:lnTo>
                      <a:pt x="582" y="305"/>
                    </a:lnTo>
                    <a:lnTo>
                      <a:pt x="582" y="305"/>
                    </a:lnTo>
                    <a:lnTo>
                      <a:pt x="582" y="312"/>
                    </a:lnTo>
                    <a:lnTo>
                      <a:pt x="582" y="312"/>
                    </a:lnTo>
                    <a:lnTo>
                      <a:pt x="582" y="312"/>
                    </a:lnTo>
                    <a:lnTo>
                      <a:pt x="582" y="320"/>
                    </a:lnTo>
                    <a:lnTo>
                      <a:pt x="582" y="320"/>
                    </a:lnTo>
                    <a:lnTo>
                      <a:pt x="582" y="320"/>
                    </a:lnTo>
                    <a:lnTo>
                      <a:pt x="582" y="320"/>
                    </a:lnTo>
                    <a:lnTo>
                      <a:pt x="589" y="327"/>
                    </a:lnTo>
                    <a:lnTo>
                      <a:pt x="589" y="327"/>
                    </a:lnTo>
                    <a:lnTo>
                      <a:pt x="589" y="327"/>
                    </a:lnTo>
                    <a:lnTo>
                      <a:pt x="582" y="327"/>
                    </a:lnTo>
                    <a:lnTo>
                      <a:pt x="582" y="334"/>
                    </a:lnTo>
                    <a:lnTo>
                      <a:pt x="582" y="341"/>
                    </a:lnTo>
                    <a:lnTo>
                      <a:pt x="582" y="341"/>
                    </a:lnTo>
                    <a:lnTo>
                      <a:pt x="582" y="341"/>
                    </a:lnTo>
                    <a:lnTo>
                      <a:pt x="582" y="341"/>
                    </a:lnTo>
                    <a:lnTo>
                      <a:pt x="582" y="341"/>
                    </a:lnTo>
                    <a:lnTo>
                      <a:pt x="582" y="348"/>
                    </a:lnTo>
                    <a:lnTo>
                      <a:pt x="582" y="348"/>
                    </a:lnTo>
                    <a:lnTo>
                      <a:pt x="589" y="348"/>
                    </a:lnTo>
                    <a:lnTo>
                      <a:pt x="589" y="348"/>
                    </a:lnTo>
                    <a:lnTo>
                      <a:pt x="589" y="348"/>
                    </a:lnTo>
                    <a:lnTo>
                      <a:pt x="589" y="348"/>
                    </a:lnTo>
                    <a:lnTo>
                      <a:pt x="589" y="355"/>
                    </a:lnTo>
                    <a:lnTo>
                      <a:pt x="596" y="355"/>
                    </a:lnTo>
                    <a:lnTo>
                      <a:pt x="596" y="355"/>
                    </a:lnTo>
                    <a:lnTo>
                      <a:pt x="596" y="355"/>
                    </a:lnTo>
                    <a:lnTo>
                      <a:pt x="596" y="355"/>
                    </a:lnTo>
                    <a:lnTo>
                      <a:pt x="596" y="355"/>
                    </a:lnTo>
                    <a:lnTo>
                      <a:pt x="596" y="362"/>
                    </a:lnTo>
                    <a:lnTo>
                      <a:pt x="596" y="362"/>
                    </a:lnTo>
                    <a:lnTo>
                      <a:pt x="596" y="362"/>
                    </a:lnTo>
                    <a:lnTo>
                      <a:pt x="596" y="369"/>
                    </a:lnTo>
                    <a:lnTo>
                      <a:pt x="596" y="369"/>
                    </a:lnTo>
                    <a:lnTo>
                      <a:pt x="596" y="369"/>
                    </a:lnTo>
                    <a:lnTo>
                      <a:pt x="603" y="369"/>
                    </a:lnTo>
                    <a:lnTo>
                      <a:pt x="603" y="369"/>
                    </a:lnTo>
                    <a:lnTo>
                      <a:pt x="603" y="369"/>
                    </a:lnTo>
                    <a:lnTo>
                      <a:pt x="610" y="369"/>
                    </a:lnTo>
                    <a:lnTo>
                      <a:pt x="610" y="369"/>
                    </a:lnTo>
                    <a:lnTo>
                      <a:pt x="610" y="362"/>
                    </a:lnTo>
                    <a:lnTo>
                      <a:pt x="610" y="362"/>
                    </a:lnTo>
                    <a:lnTo>
                      <a:pt x="610" y="362"/>
                    </a:lnTo>
                    <a:lnTo>
                      <a:pt x="610" y="362"/>
                    </a:lnTo>
                    <a:lnTo>
                      <a:pt x="610" y="362"/>
                    </a:lnTo>
                    <a:lnTo>
                      <a:pt x="610" y="362"/>
                    </a:lnTo>
                    <a:lnTo>
                      <a:pt x="610" y="355"/>
                    </a:lnTo>
                    <a:lnTo>
                      <a:pt x="610" y="355"/>
                    </a:lnTo>
                    <a:lnTo>
                      <a:pt x="610" y="355"/>
                    </a:lnTo>
                    <a:lnTo>
                      <a:pt x="617" y="355"/>
                    </a:lnTo>
                    <a:lnTo>
                      <a:pt x="617" y="355"/>
                    </a:lnTo>
                    <a:lnTo>
                      <a:pt x="617" y="355"/>
                    </a:lnTo>
                    <a:lnTo>
                      <a:pt x="624" y="355"/>
                    </a:lnTo>
                    <a:lnTo>
                      <a:pt x="631" y="362"/>
                    </a:lnTo>
                    <a:lnTo>
                      <a:pt x="631" y="369"/>
                    </a:lnTo>
                    <a:lnTo>
                      <a:pt x="638" y="369"/>
                    </a:lnTo>
                    <a:lnTo>
                      <a:pt x="638" y="369"/>
                    </a:lnTo>
                    <a:lnTo>
                      <a:pt x="638" y="369"/>
                    </a:lnTo>
                    <a:lnTo>
                      <a:pt x="645" y="376"/>
                    </a:lnTo>
                    <a:lnTo>
                      <a:pt x="645" y="376"/>
                    </a:lnTo>
                    <a:lnTo>
                      <a:pt x="653" y="376"/>
                    </a:lnTo>
                    <a:lnTo>
                      <a:pt x="653" y="376"/>
                    </a:lnTo>
                    <a:lnTo>
                      <a:pt x="653" y="376"/>
                    </a:lnTo>
                    <a:lnTo>
                      <a:pt x="653" y="376"/>
                    </a:lnTo>
                    <a:lnTo>
                      <a:pt x="653" y="376"/>
                    </a:lnTo>
                    <a:lnTo>
                      <a:pt x="653" y="376"/>
                    </a:lnTo>
                    <a:lnTo>
                      <a:pt x="653" y="383"/>
                    </a:lnTo>
                    <a:lnTo>
                      <a:pt x="653" y="383"/>
                    </a:lnTo>
                    <a:lnTo>
                      <a:pt x="660" y="383"/>
                    </a:lnTo>
                    <a:lnTo>
                      <a:pt x="660" y="383"/>
                    </a:lnTo>
                    <a:lnTo>
                      <a:pt x="660" y="383"/>
                    </a:lnTo>
                    <a:lnTo>
                      <a:pt x="667" y="376"/>
                    </a:lnTo>
                    <a:lnTo>
                      <a:pt x="667" y="376"/>
                    </a:lnTo>
                    <a:lnTo>
                      <a:pt x="667" y="369"/>
                    </a:lnTo>
                    <a:lnTo>
                      <a:pt x="674" y="369"/>
                    </a:lnTo>
                    <a:lnTo>
                      <a:pt x="674" y="362"/>
                    </a:lnTo>
                    <a:lnTo>
                      <a:pt x="674" y="362"/>
                    </a:lnTo>
                    <a:lnTo>
                      <a:pt x="681" y="355"/>
                    </a:lnTo>
                    <a:lnTo>
                      <a:pt x="681" y="355"/>
                    </a:lnTo>
                    <a:lnTo>
                      <a:pt x="681" y="355"/>
                    </a:lnTo>
                    <a:lnTo>
                      <a:pt x="681" y="355"/>
                    </a:lnTo>
                    <a:lnTo>
                      <a:pt x="681" y="348"/>
                    </a:lnTo>
                    <a:lnTo>
                      <a:pt x="681" y="348"/>
                    </a:lnTo>
                    <a:lnTo>
                      <a:pt x="681" y="348"/>
                    </a:lnTo>
                    <a:lnTo>
                      <a:pt x="674" y="341"/>
                    </a:lnTo>
                    <a:lnTo>
                      <a:pt x="674" y="341"/>
                    </a:lnTo>
                    <a:lnTo>
                      <a:pt x="674" y="341"/>
                    </a:lnTo>
                    <a:lnTo>
                      <a:pt x="674" y="341"/>
                    </a:lnTo>
                    <a:lnTo>
                      <a:pt x="674" y="341"/>
                    </a:lnTo>
                    <a:lnTo>
                      <a:pt x="674" y="341"/>
                    </a:lnTo>
                    <a:lnTo>
                      <a:pt x="674" y="341"/>
                    </a:lnTo>
                    <a:lnTo>
                      <a:pt x="674" y="341"/>
                    </a:lnTo>
                    <a:lnTo>
                      <a:pt x="674" y="341"/>
                    </a:lnTo>
                    <a:lnTo>
                      <a:pt x="674" y="341"/>
                    </a:lnTo>
                    <a:lnTo>
                      <a:pt x="674" y="334"/>
                    </a:lnTo>
                    <a:lnTo>
                      <a:pt x="674" y="334"/>
                    </a:lnTo>
                    <a:lnTo>
                      <a:pt x="674" y="334"/>
                    </a:lnTo>
                    <a:lnTo>
                      <a:pt x="667" y="327"/>
                    </a:lnTo>
                    <a:lnTo>
                      <a:pt x="667" y="327"/>
                    </a:lnTo>
                    <a:lnTo>
                      <a:pt x="667" y="327"/>
                    </a:lnTo>
                    <a:lnTo>
                      <a:pt x="667" y="320"/>
                    </a:lnTo>
                    <a:lnTo>
                      <a:pt x="667" y="320"/>
                    </a:lnTo>
                    <a:lnTo>
                      <a:pt x="667" y="320"/>
                    </a:lnTo>
                    <a:lnTo>
                      <a:pt x="660" y="320"/>
                    </a:lnTo>
                    <a:lnTo>
                      <a:pt x="660" y="320"/>
                    </a:lnTo>
                    <a:lnTo>
                      <a:pt x="660" y="320"/>
                    </a:lnTo>
                    <a:lnTo>
                      <a:pt x="653" y="320"/>
                    </a:lnTo>
                    <a:lnTo>
                      <a:pt x="653" y="320"/>
                    </a:lnTo>
                    <a:lnTo>
                      <a:pt x="653" y="320"/>
                    </a:lnTo>
                    <a:lnTo>
                      <a:pt x="645" y="320"/>
                    </a:lnTo>
                    <a:lnTo>
                      <a:pt x="645" y="320"/>
                    </a:lnTo>
                    <a:lnTo>
                      <a:pt x="645" y="320"/>
                    </a:lnTo>
                    <a:lnTo>
                      <a:pt x="645" y="320"/>
                    </a:lnTo>
                    <a:lnTo>
                      <a:pt x="645" y="312"/>
                    </a:lnTo>
                    <a:lnTo>
                      <a:pt x="645" y="312"/>
                    </a:lnTo>
                    <a:lnTo>
                      <a:pt x="645" y="312"/>
                    </a:lnTo>
                    <a:lnTo>
                      <a:pt x="645" y="312"/>
                    </a:lnTo>
                    <a:lnTo>
                      <a:pt x="645" y="305"/>
                    </a:lnTo>
                    <a:lnTo>
                      <a:pt x="645" y="305"/>
                    </a:lnTo>
                    <a:lnTo>
                      <a:pt x="645" y="305"/>
                    </a:lnTo>
                    <a:lnTo>
                      <a:pt x="645" y="298"/>
                    </a:lnTo>
                    <a:lnTo>
                      <a:pt x="645" y="291"/>
                    </a:lnTo>
                    <a:lnTo>
                      <a:pt x="645" y="291"/>
                    </a:lnTo>
                    <a:lnTo>
                      <a:pt x="645" y="284"/>
                    </a:lnTo>
                    <a:lnTo>
                      <a:pt x="645" y="284"/>
                    </a:lnTo>
                    <a:lnTo>
                      <a:pt x="638" y="277"/>
                    </a:lnTo>
                    <a:lnTo>
                      <a:pt x="638" y="277"/>
                    </a:lnTo>
                    <a:lnTo>
                      <a:pt x="631" y="277"/>
                    </a:lnTo>
                    <a:lnTo>
                      <a:pt x="631" y="263"/>
                    </a:lnTo>
                    <a:lnTo>
                      <a:pt x="631" y="256"/>
                    </a:lnTo>
                    <a:lnTo>
                      <a:pt x="631" y="249"/>
                    </a:lnTo>
                    <a:lnTo>
                      <a:pt x="624" y="241"/>
                    </a:lnTo>
                    <a:lnTo>
                      <a:pt x="624" y="234"/>
                    </a:lnTo>
                    <a:lnTo>
                      <a:pt x="624" y="234"/>
                    </a:lnTo>
                    <a:lnTo>
                      <a:pt x="617" y="234"/>
                    </a:lnTo>
                    <a:lnTo>
                      <a:pt x="617" y="234"/>
                    </a:lnTo>
                    <a:lnTo>
                      <a:pt x="617" y="227"/>
                    </a:lnTo>
                    <a:lnTo>
                      <a:pt x="617" y="227"/>
                    </a:lnTo>
                    <a:lnTo>
                      <a:pt x="617" y="227"/>
                    </a:lnTo>
                    <a:lnTo>
                      <a:pt x="617" y="227"/>
                    </a:lnTo>
                    <a:lnTo>
                      <a:pt x="617" y="227"/>
                    </a:lnTo>
                    <a:lnTo>
                      <a:pt x="617" y="220"/>
                    </a:lnTo>
                    <a:lnTo>
                      <a:pt x="624" y="220"/>
                    </a:lnTo>
                    <a:lnTo>
                      <a:pt x="624" y="220"/>
                    </a:lnTo>
                    <a:lnTo>
                      <a:pt x="624" y="213"/>
                    </a:lnTo>
                    <a:lnTo>
                      <a:pt x="624" y="213"/>
                    </a:lnTo>
                    <a:lnTo>
                      <a:pt x="624" y="213"/>
                    </a:lnTo>
                    <a:lnTo>
                      <a:pt x="624" y="213"/>
                    </a:lnTo>
                    <a:lnTo>
                      <a:pt x="624" y="213"/>
                    </a:lnTo>
                    <a:lnTo>
                      <a:pt x="624" y="213"/>
                    </a:lnTo>
                    <a:lnTo>
                      <a:pt x="624" y="213"/>
                    </a:lnTo>
                    <a:lnTo>
                      <a:pt x="624" y="213"/>
                    </a:lnTo>
                    <a:lnTo>
                      <a:pt x="624" y="206"/>
                    </a:lnTo>
                    <a:lnTo>
                      <a:pt x="624" y="206"/>
                    </a:lnTo>
                    <a:lnTo>
                      <a:pt x="631" y="206"/>
                    </a:lnTo>
                    <a:lnTo>
                      <a:pt x="631" y="206"/>
                    </a:lnTo>
                    <a:lnTo>
                      <a:pt x="631" y="206"/>
                    </a:lnTo>
                    <a:lnTo>
                      <a:pt x="638" y="213"/>
                    </a:lnTo>
                    <a:lnTo>
                      <a:pt x="638" y="213"/>
                    </a:lnTo>
                    <a:lnTo>
                      <a:pt x="638" y="213"/>
                    </a:lnTo>
                    <a:lnTo>
                      <a:pt x="638" y="213"/>
                    </a:lnTo>
                    <a:lnTo>
                      <a:pt x="638" y="213"/>
                    </a:lnTo>
                    <a:lnTo>
                      <a:pt x="638" y="213"/>
                    </a:lnTo>
                    <a:lnTo>
                      <a:pt x="645" y="220"/>
                    </a:lnTo>
                    <a:lnTo>
                      <a:pt x="645" y="220"/>
                    </a:lnTo>
                    <a:lnTo>
                      <a:pt x="645" y="220"/>
                    </a:lnTo>
                    <a:lnTo>
                      <a:pt x="645" y="220"/>
                    </a:lnTo>
                    <a:lnTo>
                      <a:pt x="645" y="213"/>
                    </a:lnTo>
                    <a:lnTo>
                      <a:pt x="645" y="213"/>
                    </a:lnTo>
                    <a:lnTo>
                      <a:pt x="645" y="213"/>
                    </a:lnTo>
                    <a:lnTo>
                      <a:pt x="645" y="213"/>
                    </a:lnTo>
                    <a:lnTo>
                      <a:pt x="645" y="213"/>
                    </a:lnTo>
                    <a:lnTo>
                      <a:pt x="645" y="213"/>
                    </a:lnTo>
                    <a:lnTo>
                      <a:pt x="645" y="206"/>
                    </a:lnTo>
                    <a:lnTo>
                      <a:pt x="645" y="206"/>
                    </a:lnTo>
                    <a:lnTo>
                      <a:pt x="645" y="206"/>
                    </a:lnTo>
                    <a:lnTo>
                      <a:pt x="645" y="206"/>
                    </a:lnTo>
                    <a:lnTo>
                      <a:pt x="645" y="206"/>
                    </a:lnTo>
                    <a:lnTo>
                      <a:pt x="645" y="199"/>
                    </a:lnTo>
                    <a:lnTo>
                      <a:pt x="645" y="199"/>
                    </a:lnTo>
                    <a:lnTo>
                      <a:pt x="645" y="199"/>
                    </a:lnTo>
                    <a:lnTo>
                      <a:pt x="645" y="199"/>
                    </a:lnTo>
                    <a:lnTo>
                      <a:pt x="645" y="192"/>
                    </a:lnTo>
                    <a:lnTo>
                      <a:pt x="645" y="192"/>
                    </a:lnTo>
                    <a:lnTo>
                      <a:pt x="645" y="192"/>
                    </a:lnTo>
                    <a:lnTo>
                      <a:pt x="653" y="192"/>
                    </a:lnTo>
                    <a:lnTo>
                      <a:pt x="653" y="192"/>
                    </a:lnTo>
                    <a:lnTo>
                      <a:pt x="653" y="199"/>
                    </a:lnTo>
                    <a:lnTo>
                      <a:pt x="653" y="199"/>
                    </a:lnTo>
                    <a:lnTo>
                      <a:pt x="653" y="199"/>
                    </a:lnTo>
                    <a:lnTo>
                      <a:pt x="653" y="206"/>
                    </a:lnTo>
                    <a:lnTo>
                      <a:pt x="653" y="206"/>
                    </a:lnTo>
                    <a:lnTo>
                      <a:pt x="653" y="206"/>
                    </a:lnTo>
                    <a:lnTo>
                      <a:pt x="660" y="206"/>
                    </a:lnTo>
                    <a:lnTo>
                      <a:pt x="660" y="206"/>
                    </a:lnTo>
                    <a:lnTo>
                      <a:pt x="660" y="206"/>
                    </a:lnTo>
                    <a:lnTo>
                      <a:pt x="660" y="206"/>
                    </a:lnTo>
                    <a:lnTo>
                      <a:pt x="660" y="206"/>
                    </a:lnTo>
                    <a:lnTo>
                      <a:pt x="660" y="199"/>
                    </a:lnTo>
                    <a:lnTo>
                      <a:pt x="660" y="199"/>
                    </a:lnTo>
                    <a:lnTo>
                      <a:pt x="660" y="199"/>
                    </a:lnTo>
                    <a:lnTo>
                      <a:pt x="660" y="199"/>
                    </a:lnTo>
                    <a:lnTo>
                      <a:pt x="660" y="192"/>
                    </a:lnTo>
                    <a:lnTo>
                      <a:pt x="667" y="192"/>
                    </a:lnTo>
                    <a:lnTo>
                      <a:pt x="667" y="192"/>
                    </a:lnTo>
                    <a:lnTo>
                      <a:pt x="667" y="192"/>
                    </a:lnTo>
                    <a:lnTo>
                      <a:pt x="667" y="192"/>
                    </a:lnTo>
                    <a:lnTo>
                      <a:pt x="667" y="192"/>
                    </a:lnTo>
                    <a:lnTo>
                      <a:pt x="667" y="192"/>
                    </a:lnTo>
                    <a:lnTo>
                      <a:pt x="667" y="192"/>
                    </a:lnTo>
                    <a:lnTo>
                      <a:pt x="667" y="199"/>
                    </a:lnTo>
                    <a:lnTo>
                      <a:pt x="667" y="199"/>
                    </a:lnTo>
                    <a:lnTo>
                      <a:pt x="667" y="199"/>
                    </a:lnTo>
                    <a:lnTo>
                      <a:pt x="667" y="206"/>
                    </a:lnTo>
                    <a:lnTo>
                      <a:pt x="667" y="206"/>
                    </a:lnTo>
                    <a:lnTo>
                      <a:pt x="667" y="206"/>
                    </a:lnTo>
                    <a:lnTo>
                      <a:pt x="667" y="206"/>
                    </a:lnTo>
                    <a:lnTo>
                      <a:pt x="674" y="206"/>
                    </a:lnTo>
                    <a:lnTo>
                      <a:pt x="674" y="206"/>
                    </a:lnTo>
                    <a:lnTo>
                      <a:pt x="674" y="206"/>
                    </a:lnTo>
                    <a:lnTo>
                      <a:pt x="674" y="206"/>
                    </a:lnTo>
                    <a:lnTo>
                      <a:pt x="674" y="206"/>
                    </a:lnTo>
                    <a:lnTo>
                      <a:pt x="674" y="206"/>
                    </a:lnTo>
                    <a:lnTo>
                      <a:pt x="674" y="206"/>
                    </a:lnTo>
                    <a:lnTo>
                      <a:pt x="674" y="213"/>
                    </a:lnTo>
                    <a:lnTo>
                      <a:pt x="674" y="213"/>
                    </a:lnTo>
                    <a:lnTo>
                      <a:pt x="674" y="213"/>
                    </a:lnTo>
                    <a:lnTo>
                      <a:pt x="674" y="220"/>
                    </a:lnTo>
                    <a:lnTo>
                      <a:pt x="674" y="220"/>
                    </a:lnTo>
                    <a:lnTo>
                      <a:pt x="674" y="220"/>
                    </a:lnTo>
                    <a:lnTo>
                      <a:pt x="674" y="220"/>
                    </a:lnTo>
                    <a:lnTo>
                      <a:pt x="674" y="227"/>
                    </a:lnTo>
                    <a:lnTo>
                      <a:pt x="674" y="227"/>
                    </a:lnTo>
                    <a:lnTo>
                      <a:pt x="674" y="227"/>
                    </a:lnTo>
                    <a:lnTo>
                      <a:pt x="667" y="227"/>
                    </a:lnTo>
                    <a:lnTo>
                      <a:pt x="667" y="227"/>
                    </a:lnTo>
                    <a:lnTo>
                      <a:pt x="667" y="234"/>
                    </a:lnTo>
                    <a:lnTo>
                      <a:pt x="667" y="234"/>
                    </a:lnTo>
                    <a:lnTo>
                      <a:pt x="667" y="234"/>
                    </a:lnTo>
                    <a:lnTo>
                      <a:pt x="667" y="241"/>
                    </a:lnTo>
                    <a:lnTo>
                      <a:pt x="667" y="241"/>
                    </a:lnTo>
                    <a:lnTo>
                      <a:pt x="667" y="241"/>
                    </a:lnTo>
                    <a:lnTo>
                      <a:pt x="667" y="241"/>
                    </a:lnTo>
                    <a:lnTo>
                      <a:pt x="667" y="241"/>
                    </a:lnTo>
                    <a:lnTo>
                      <a:pt x="667" y="241"/>
                    </a:lnTo>
                    <a:lnTo>
                      <a:pt x="674" y="241"/>
                    </a:lnTo>
                    <a:lnTo>
                      <a:pt x="674" y="234"/>
                    </a:lnTo>
                    <a:lnTo>
                      <a:pt x="674" y="234"/>
                    </a:lnTo>
                    <a:lnTo>
                      <a:pt x="674" y="234"/>
                    </a:lnTo>
                    <a:lnTo>
                      <a:pt x="674" y="234"/>
                    </a:lnTo>
                    <a:lnTo>
                      <a:pt x="681" y="234"/>
                    </a:lnTo>
                    <a:lnTo>
                      <a:pt x="681" y="234"/>
                    </a:lnTo>
                    <a:lnTo>
                      <a:pt x="681" y="234"/>
                    </a:lnTo>
                    <a:lnTo>
                      <a:pt x="681" y="234"/>
                    </a:lnTo>
                    <a:lnTo>
                      <a:pt x="681" y="227"/>
                    </a:lnTo>
                    <a:lnTo>
                      <a:pt x="681" y="227"/>
                    </a:lnTo>
                    <a:lnTo>
                      <a:pt x="681" y="227"/>
                    </a:lnTo>
                    <a:lnTo>
                      <a:pt x="681" y="227"/>
                    </a:lnTo>
                    <a:lnTo>
                      <a:pt x="681" y="227"/>
                    </a:lnTo>
                    <a:lnTo>
                      <a:pt x="688" y="227"/>
                    </a:lnTo>
                    <a:lnTo>
                      <a:pt x="688" y="227"/>
                    </a:lnTo>
                    <a:lnTo>
                      <a:pt x="688" y="227"/>
                    </a:lnTo>
                    <a:lnTo>
                      <a:pt x="688" y="227"/>
                    </a:lnTo>
                    <a:lnTo>
                      <a:pt x="688" y="227"/>
                    </a:lnTo>
                    <a:lnTo>
                      <a:pt x="688" y="227"/>
                    </a:lnTo>
                    <a:lnTo>
                      <a:pt x="688" y="234"/>
                    </a:lnTo>
                    <a:lnTo>
                      <a:pt x="688" y="234"/>
                    </a:lnTo>
                    <a:lnTo>
                      <a:pt x="688" y="234"/>
                    </a:lnTo>
                    <a:lnTo>
                      <a:pt x="681" y="234"/>
                    </a:lnTo>
                    <a:lnTo>
                      <a:pt x="681" y="241"/>
                    </a:lnTo>
                    <a:lnTo>
                      <a:pt x="681" y="241"/>
                    </a:lnTo>
                    <a:lnTo>
                      <a:pt x="681" y="241"/>
                    </a:lnTo>
                    <a:lnTo>
                      <a:pt x="688" y="241"/>
                    </a:lnTo>
                    <a:lnTo>
                      <a:pt x="688" y="241"/>
                    </a:lnTo>
                    <a:lnTo>
                      <a:pt x="688" y="241"/>
                    </a:lnTo>
                    <a:lnTo>
                      <a:pt x="688" y="241"/>
                    </a:lnTo>
                    <a:lnTo>
                      <a:pt x="695" y="241"/>
                    </a:lnTo>
                    <a:lnTo>
                      <a:pt x="695" y="241"/>
                    </a:lnTo>
                    <a:lnTo>
                      <a:pt x="695" y="241"/>
                    </a:lnTo>
                    <a:lnTo>
                      <a:pt x="695" y="241"/>
                    </a:lnTo>
                    <a:lnTo>
                      <a:pt x="695" y="249"/>
                    </a:lnTo>
                    <a:lnTo>
                      <a:pt x="702" y="249"/>
                    </a:lnTo>
                    <a:lnTo>
                      <a:pt x="702" y="249"/>
                    </a:lnTo>
                    <a:lnTo>
                      <a:pt x="702" y="249"/>
                    </a:lnTo>
                    <a:lnTo>
                      <a:pt x="702" y="249"/>
                    </a:lnTo>
                    <a:lnTo>
                      <a:pt x="702" y="241"/>
                    </a:lnTo>
                    <a:lnTo>
                      <a:pt x="702" y="241"/>
                    </a:lnTo>
                    <a:lnTo>
                      <a:pt x="709" y="241"/>
                    </a:lnTo>
                    <a:lnTo>
                      <a:pt x="709" y="241"/>
                    </a:lnTo>
                    <a:lnTo>
                      <a:pt x="709" y="241"/>
                    </a:lnTo>
                    <a:lnTo>
                      <a:pt x="709" y="241"/>
                    </a:lnTo>
                    <a:lnTo>
                      <a:pt x="709" y="241"/>
                    </a:lnTo>
                    <a:lnTo>
                      <a:pt x="716" y="241"/>
                    </a:lnTo>
                    <a:lnTo>
                      <a:pt x="716" y="241"/>
                    </a:lnTo>
                    <a:lnTo>
                      <a:pt x="716" y="241"/>
                    </a:lnTo>
                    <a:lnTo>
                      <a:pt x="716" y="241"/>
                    </a:lnTo>
                    <a:lnTo>
                      <a:pt x="724" y="241"/>
                    </a:lnTo>
                    <a:lnTo>
                      <a:pt x="724" y="241"/>
                    </a:lnTo>
                    <a:lnTo>
                      <a:pt x="724" y="241"/>
                    </a:lnTo>
                    <a:lnTo>
                      <a:pt x="724" y="241"/>
                    </a:lnTo>
                    <a:lnTo>
                      <a:pt x="724" y="241"/>
                    </a:lnTo>
                    <a:lnTo>
                      <a:pt x="716" y="227"/>
                    </a:lnTo>
                    <a:lnTo>
                      <a:pt x="716" y="227"/>
                    </a:lnTo>
                    <a:lnTo>
                      <a:pt x="716" y="227"/>
                    </a:lnTo>
                    <a:lnTo>
                      <a:pt x="716" y="220"/>
                    </a:lnTo>
                    <a:lnTo>
                      <a:pt x="716" y="220"/>
                    </a:lnTo>
                    <a:lnTo>
                      <a:pt x="724" y="213"/>
                    </a:lnTo>
                    <a:lnTo>
                      <a:pt x="724" y="213"/>
                    </a:lnTo>
                    <a:lnTo>
                      <a:pt x="724" y="213"/>
                    </a:lnTo>
                    <a:lnTo>
                      <a:pt x="724" y="213"/>
                    </a:lnTo>
                    <a:lnTo>
                      <a:pt x="724" y="220"/>
                    </a:lnTo>
                    <a:lnTo>
                      <a:pt x="724" y="220"/>
                    </a:lnTo>
                    <a:lnTo>
                      <a:pt x="724" y="227"/>
                    </a:lnTo>
                    <a:lnTo>
                      <a:pt x="724" y="227"/>
                    </a:lnTo>
                    <a:lnTo>
                      <a:pt x="724" y="227"/>
                    </a:lnTo>
                    <a:lnTo>
                      <a:pt x="724" y="227"/>
                    </a:lnTo>
                    <a:lnTo>
                      <a:pt x="724" y="227"/>
                    </a:lnTo>
                    <a:lnTo>
                      <a:pt x="724" y="227"/>
                    </a:lnTo>
                    <a:lnTo>
                      <a:pt x="724" y="234"/>
                    </a:lnTo>
                    <a:lnTo>
                      <a:pt x="724" y="234"/>
                    </a:lnTo>
                    <a:lnTo>
                      <a:pt x="724" y="234"/>
                    </a:lnTo>
                    <a:lnTo>
                      <a:pt x="724" y="234"/>
                    </a:lnTo>
                    <a:lnTo>
                      <a:pt x="724" y="234"/>
                    </a:lnTo>
                    <a:lnTo>
                      <a:pt x="731" y="234"/>
                    </a:lnTo>
                    <a:lnTo>
                      <a:pt x="731" y="227"/>
                    </a:lnTo>
                    <a:lnTo>
                      <a:pt x="731" y="227"/>
                    </a:lnTo>
                    <a:lnTo>
                      <a:pt x="731" y="227"/>
                    </a:lnTo>
                    <a:lnTo>
                      <a:pt x="731" y="227"/>
                    </a:lnTo>
                    <a:lnTo>
                      <a:pt x="731" y="227"/>
                    </a:lnTo>
                    <a:lnTo>
                      <a:pt x="731" y="227"/>
                    </a:lnTo>
                    <a:lnTo>
                      <a:pt x="738" y="227"/>
                    </a:lnTo>
                    <a:lnTo>
                      <a:pt x="738" y="227"/>
                    </a:lnTo>
                    <a:lnTo>
                      <a:pt x="738" y="227"/>
                    </a:lnTo>
                    <a:lnTo>
                      <a:pt x="738" y="227"/>
                    </a:lnTo>
                    <a:lnTo>
                      <a:pt x="738" y="227"/>
                    </a:lnTo>
                    <a:lnTo>
                      <a:pt x="745" y="220"/>
                    </a:lnTo>
                    <a:lnTo>
                      <a:pt x="745" y="227"/>
                    </a:lnTo>
                    <a:lnTo>
                      <a:pt x="745" y="227"/>
                    </a:lnTo>
                    <a:lnTo>
                      <a:pt x="738" y="227"/>
                    </a:lnTo>
                    <a:lnTo>
                      <a:pt x="738" y="234"/>
                    </a:lnTo>
                    <a:lnTo>
                      <a:pt x="731" y="241"/>
                    </a:lnTo>
                    <a:lnTo>
                      <a:pt x="731" y="241"/>
                    </a:lnTo>
                    <a:lnTo>
                      <a:pt x="731" y="249"/>
                    </a:lnTo>
                    <a:lnTo>
                      <a:pt x="731" y="249"/>
                    </a:lnTo>
                    <a:lnTo>
                      <a:pt x="731" y="249"/>
                    </a:lnTo>
                    <a:lnTo>
                      <a:pt x="731" y="249"/>
                    </a:lnTo>
                    <a:lnTo>
                      <a:pt x="731" y="249"/>
                    </a:lnTo>
                    <a:lnTo>
                      <a:pt x="731" y="256"/>
                    </a:lnTo>
                    <a:lnTo>
                      <a:pt x="731" y="256"/>
                    </a:lnTo>
                    <a:lnTo>
                      <a:pt x="731" y="256"/>
                    </a:lnTo>
                    <a:lnTo>
                      <a:pt x="731" y="256"/>
                    </a:lnTo>
                    <a:lnTo>
                      <a:pt x="731" y="256"/>
                    </a:lnTo>
                    <a:lnTo>
                      <a:pt x="738" y="256"/>
                    </a:lnTo>
                    <a:lnTo>
                      <a:pt x="738" y="256"/>
                    </a:lnTo>
                    <a:lnTo>
                      <a:pt x="738" y="256"/>
                    </a:lnTo>
                    <a:lnTo>
                      <a:pt x="738" y="249"/>
                    </a:lnTo>
                    <a:lnTo>
                      <a:pt x="738" y="249"/>
                    </a:lnTo>
                    <a:lnTo>
                      <a:pt x="738" y="249"/>
                    </a:lnTo>
                    <a:lnTo>
                      <a:pt x="738" y="249"/>
                    </a:lnTo>
                    <a:lnTo>
                      <a:pt x="738" y="249"/>
                    </a:lnTo>
                    <a:lnTo>
                      <a:pt x="738" y="249"/>
                    </a:lnTo>
                    <a:lnTo>
                      <a:pt x="745" y="249"/>
                    </a:lnTo>
                    <a:lnTo>
                      <a:pt x="745" y="249"/>
                    </a:lnTo>
                    <a:lnTo>
                      <a:pt x="745" y="249"/>
                    </a:lnTo>
                    <a:lnTo>
                      <a:pt x="745" y="249"/>
                    </a:lnTo>
                    <a:lnTo>
                      <a:pt x="745" y="249"/>
                    </a:lnTo>
                    <a:lnTo>
                      <a:pt x="745" y="249"/>
                    </a:lnTo>
                    <a:lnTo>
                      <a:pt x="745" y="256"/>
                    </a:lnTo>
                    <a:lnTo>
                      <a:pt x="745" y="256"/>
                    </a:lnTo>
                    <a:lnTo>
                      <a:pt x="745" y="256"/>
                    </a:lnTo>
                    <a:lnTo>
                      <a:pt x="752" y="249"/>
                    </a:lnTo>
                    <a:lnTo>
                      <a:pt x="752" y="249"/>
                    </a:lnTo>
                    <a:lnTo>
                      <a:pt x="752" y="249"/>
                    </a:lnTo>
                    <a:lnTo>
                      <a:pt x="752" y="241"/>
                    </a:lnTo>
                    <a:lnTo>
                      <a:pt x="752" y="241"/>
                    </a:lnTo>
                    <a:lnTo>
                      <a:pt x="759" y="241"/>
                    </a:lnTo>
                    <a:lnTo>
                      <a:pt x="759" y="241"/>
                    </a:lnTo>
                    <a:lnTo>
                      <a:pt x="759" y="241"/>
                    </a:lnTo>
                    <a:lnTo>
                      <a:pt x="759" y="241"/>
                    </a:lnTo>
                    <a:lnTo>
                      <a:pt x="759" y="241"/>
                    </a:lnTo>
                    <a:lnTo>
                      <a:pt x="766" y="241"/>
                    </a:lnTo>
                    <a:lnTo>
                      <a:pt x="773" y="249"/>
                    </a:lnTo>
                    <a:lnTo>
                      <a:pt x="773" y="249"/>
                    </a:lnTo>
                    <a:lnTo>
                      <a:pt x="780" y="241"/>
                    </a:lnTo>
                    <a:lnTo>
                      <a:pt x="787" y="241"/>
                    </a:lnTo>
                    <a:lnTo>
                      <a:pt x="787" y="241"/>
                    </a:lnTo>
                    <a:lnTo>
                      <a:pt x="787" y="241"/>
                    </a:lnTo>
                    <a:lnTo>
                      <a:pt x="787" y="249"/>
                    </a:lnTo>
                    <a:lnTo>
                      <a:pt x="787" y="249"/>
                    </a:lnTo>
                    <a:lnTo>
                      <a:pt x="795" y="249"/>
                    </a:lnTo>
                    <a:lnTo>
                      <a:pt x="795" y="249"/>
                    </a:lnTo>
                    <a:lnTo>
                      <a:pt x="795" y="249"/>
                    </a:lnTo>
                    <a:lnTo>
                      <a:pt x="802" y="241"/>
                    </a:lnTo>
                    <a:lnTo>
                      <a:pt x="802" y="241"/>
                    </a:lnTo>
                    <a:lnTo>
                      <a:pt x="802" y="241"/>
                    </a:lnTo>
                    <a:lnTo>
                      <a:pt x="802" y="241"/>
                    </a:lnTo>
                    <a:lnTo>
                      <a:pt x="802" y="241"/>
                    </a:lnTo>
                    <a:lnTo>
                      <a:pt x="802" y="241"/>
                    </a:lnTo>
                    <a:lnTo>
                      <a:pt x="795" y="241"/>
                    </a:lnTo>
                    <a:lnTo>
                      <a:pt x="795" y="234"/>
                    </a:lnTo>
                    <a:lnTo>
                      <a:pt x="795" y="234"/>
                    </a:lnTo>
                    <a:lnTo>
                      <a:pt x="795" y="234"/>
                    </a:lnTo>
                    <a:lnTo>
                      <a:pt x="795" y="234"/>
                    </a:lnTo>
                    <a:lnTo>
                      <a:pt x="795" y="234"/>
                    </a:lnTo>
                    <a:lnTo>
                      <a:pt x="795" y="234"/>
                    </a:lnTo>
                    <a:lnTo>
                      <a:pt x="795" y="234"/>
                    </a:lnTo>
                    <a:lnTo>
                      <a:pt x="795" y="227"/>
                    </a:lnTo>
                    <a:lnTo>
                      <a:pt x="802" y="227"/>
                    </a:lnTo>
                    <a:lnTo>
                      <a:pt x="802" y="227"/>
                    </a:lnTo>
                    <a:lnTo>
                      <a:pt x="809" y="227"/>
                    </a:lnTo>
                    <a:lnTo>
                      <a:pt x="809" y="227"/>
                    </a:lnTo>
                    <a:lnTo>
                      <a:pt x="816" y="220"/>
                    </a:lnTo>
                    <a:lnTo>
                      <a:pt x="816" y="220"/>
                    </a:lnTo>
                    <a:lnTo>
                      <a:pt x="823" y="220"/>
                    </a:lnTo>
                    <a:lnTo>
                      <a:pt x="830" y="213"/>
                    </a:lnTo>
                    <a:lnTo>
                      <a:pt x="830" y="213"/>
                    </a:lnTo>
                    <a:lnTo>
                      <a:pt x="830" y="213"/>
                    </a:lnTo>
                    <a:lnTo>
                      <a:pt x="837" y="213"/>
                    </a:lnTo>
                    <a:lnTo>
                      <a:pt x="837" y="213"/>
                    </a:lnTo>
                    <a:lnTo>
                      <a:pt x="837" y="213"/>
                    </a:lnTo>
                    <a:lnTo>
                      <a:pt x="844" y="213"/>
                    </a:lnTo>
                    <a:lnTo>
                      <a:pt x="844" y="206"/>
                    </a:lnTo>
                    <a:lnTo>
                      <a:pt x="844" y="206"/>
                    </a:lnTo>
                    <a:lnTo>
                      <a:pt x="844" y="206"/>
                    </a:lnTo>
                    <a:lnTo>
                      <a:pt x="844" y="206"/>
                    </a:lnTo>
                    <a:lnTo>
                      <a:pt x="844" y="206"/>
                    </a:lnTo>
                    <a:lnTo>
                      <a:pt x="844" y="206"/>
                    </a:lnTo>
                    <a:lnTo>
                      <a:pt x="851" y="206"/>
                    </a:lnTo>
                    <a:lnTo>
                      <a:pt x="851" y="206"/>
                    </a:lnTo>
                    <a:lnTo>
                      <a:pt x="851" y="206"/>
                    </a:lnTo>
                    <a:lnTo>
                      <a:pt x="851" y="206"/>
                    </a:lnTo>
                    <a:lnTo>
                      <a:pt x="851" y="206"/>
                    </a:lnTo>
                    <a:lnTo>
                      <a:pt x="858" y="206"/>
                    </a:lnTo>
                    <a:lnTo>
                      <a:pt x="858" y="206"/>
                    </a:lnTo>
                    <a:lnTo>
                      <a:pt x="858" y="213"/>
                    </a:lnTo>
                    <a:lnTo>
                      <a:pt x="858" y="213"/>
                    </a:lnTo>
                    <a:lnTo>
                      <a:pt x="858" y="213"/>
                    </a:lnTo>
                    <a:lnTo>
                      <a:pt x="858" y="220"/>
                    </a:lnTo>
                    <a:lnTo>
                      <a:pt x="858" y="220"/>
                    </a:lnTo>
                    <a:lnTo>
                      <a:pt x="858" y="227"/>
                    </a:lnTo>
                    <a:lnTo>
                      <a:pt x="866" y="227"/>
                    </a:lnTo>
                    <a:lnTo>
                      <a:pt x="866" y="227"/>
                    </a:lnTo>
                    <a:lnTo>
                      <a:pt x="866" y="227"/>
                    </a:lnTo>
                    <a:lnTo>
                      <a:pt x="866" y="227"/>
                    </a:lnTo>
                    <a:lnTo>
                      <a:pt x="866" y="227"/>
                    </a:lnTo>
                    <a:lnTo>
                      <a:pt x="866" y="227"/>
                    </a:lnTo>
                    <a:lnTo>
                      <a:pt x="866" y="227"/>
                    </a:lnTo>
                    <a:lnTo>
                      <a:pt x="873" y="227"/>
                    </a:lnTo>
                    <a:lnTo>
                      <a:pt x="873" y="227"/>
                    </a:lnTo>
                    <a:lnTo>
                      <a:pt x="873" y="227"/>
                    </a:lnTo>
                    <a:lnTo>
                      <a:pt x="873" y="227"/>
                    </a:lnTo>
                    <a:lnTo>
                      <a:pt x="873" y="227"/>
                    </a:lnTo>
                    <a:lnTo>
                      <a:pt x="873" y="227"/>
                    </a:lnTo>
                    <a:lnTo>
                      <a:pt x="873" y="234"/>
                    </a:lnTo>
                    <a:lnTo>
                      <a:pt x="873" y="234"/>
                    </a:lnTo>
                    <a:lnTo>
                      <a:pt x="873" y="234"/>
                    </a:lnTo>
                    <a:lnTo>
                      <a:pt x="873" y="234"/>
                    </a:lnTo>
                    <a:lnTo>
                      <a:pt x="873" y="234"/>
                    </a:lnTo>
                    <a:lnTo>
                      <a:pt x="873" y="241"/>
                    </a:lnTo>
                    <a:lnTo>
                      <a:pt x="873" y="241"/>
                    </a:lnTo>
                    <a:lnTo>
                      <a:pt x="873" y="241"/>
                    </a:lnTo>
                    <a:lnTo>
                      <a:pt x="873" y="241"/>
                    </a:lnTo>
                    <a:lnTo>
                      <a:pt x="873" y="241"/>
                    </a:lnTo>
                    <a:lnTo>
                      <a:pt x="873" y="241"/>
                    </a:lnTo>
                    <a:lnTo>
                      <a:pt x="873" y="241"/>
                    </a:lnTo>
                    <a:lnTo>
                      <a:pt x="866" y="241"/>
                    </a:lnTo>
                    <a:lnTo>
                      <a:pt x="866" y="241"/>
                    </a:lnTo>
                    <a:lnTo>
                      <a:pt x="866" y="241"/>
                    </a:lnTo>
                    <a:lnTo>
                      <a:pt x="866" y="249"/>
                    </a:lnTo>
                    <a:lnTo>
                      <a:pt x="866" y="249"/>
                    </a:lnTo>
                    <a:lnTo>
                      <a:pt x="866" y="249"/>
                    </a:lnTo>
                    <a:lnTo>
                      <a:pt x="866" y="249"/>
                    </a:lnTo>
                    <a:lnTo>
                      <a:pt x="858" y="249"/>
                    </a:lnTo>
                    <a:lnTo>
                      <a:pt x="858" y="256"/>
                    </a:lnTo>
                    <a:lnTo>
                      <a:pt x="858" y="256"/>
                    </a:lnTo>
                    <a:lnTo>
                      <a:pt x="858" y="256"/>
                    </a:lnTo>
                    <a:lnTo>
                      <a:pt x="858" y="256"/>
                    </a:lnTo>
                    <a:lnTo>
                      <a:pt x="858" y="256"/>
                    </a:lnTo>
                    <a:lnTo>
                      <a:pt x="858" y="256"/>
                    </a:lnTo>
                    <a:lnTo>
                      <a:pt x="858" y="256"/>
                    </a:lnTo>
                    <a:lnTo>
                      <a:pt x="858" y="256"/>
                    </a:lnTo>
                    <a:lnTo>
                      <a:pt x="858" y="256"/>
                    </a:lnTo>
                    <a:lnTo>
                      <a:pt x="858" y="263"/>
                    </a:lnTo>
                    <a:lnTo>
                      <a:pt x="858" y="263"/>
                    </a:lnTo>
                    <a:lnTo>
                      <a:pt x="858" y="263"/>
                    </a:lnTo>
                    <a:lnTo>
                      <a:pt x="858" y="263"/>
                    </a:lnTo>
                    <a:lnTo>
                      <a:pt x="858" y="263"/>
                    </a:lnTo>
                    <a:lnTo>
                      <a:pt x="866" y="263"/>
                    </a:lnTo>
                    <a:lnTo>
                      <a:pt x="866" y="263"/>
                    </a:lnTo>
                    <a:lnTo>
                      <a:pt x="873" y="263"/>
                    </a:lnTo>
                    <a:lnTo>
                      <a:pt x="873" y="263"/>
                    </a:lnTo>
                    <a:lnTo>
                      <a:pt x="873" y="263"/>
                    </a:lnTo>
                    <a:lnTo>
                      <a:pt x="873" y="263"/>
                    </a:lnTo>
                    <a:lnTo>
                      <a:pt x="873" y="263"/>
                    </a:lnTo>
                    <a:lnTo>
                      <a:pt x="873" y="263"/>
                    </a:lnTo>
                    <a:lnTo>
                      <a:pt x="873" y="263"/>
                    </a:lnTo>
                    <a:lnTo>
                      <a:pt x="873" y="263"/>
                    </a:lnTo>
                    <a:lnTo>
                      <a:pt x="873" y="256"/>
                    </a:lnTo>
                    <a:lnTo>
                      <a:pt x="873" y="256"/>
                    </a:lnTo>
                    <a:lnTo>
                      <a:pt x="873" y="256"/>
                    </a:lnTo>
                    <a:lnTo>
                      <a:pt x="873" y="256"/>
                    </a:lnTo>
                    <a:lnTo>
                      <a:pt x="873" y="256"/>
                    </a:lnTo>
                    <a:lnTo>
                      <a:pt x="880" y="256"/>
                    </a:lnTo>
                    <a:lnTo>
                      <a:pt x="880" y="263"/>
                    </a:lnTo>
                    <a:lnTo>
                      <a:pt x="880" y="263"/>
                    </a:lnTo>
                    <a:lnTo>
                      <a:pt x="880" y="263"/>
                    </a:lnTo>
                    <a:lnTo>
                      <a:pt x="880" y="263"/>
                    </a:lnTo>
                    <a:lnTo>
                      <a:pt x="887" y="263"/>
                    </a:lnTo>
                    <a:lnTo>
                      <a:pt x="887" y="263"/>
                    </a:lnTo>
                    <a:lnTo>
                      <a:pt x="887" y="256"/>
                    </a:lnTo>
                    <a:lnTo>
                      <a:pt x="887" y="256"/>
                    </a:lnTo>
                    <a:lnTo>
                      <a:pt x="887" y="256"/>
                    </a:lnTo>
                    <a:lnTo>
                      <a:pt x="887" y="256"/>
                    </a:lnTo>
                    <a:lnTo>
                      <a:pt x="880" y="256"/>
                    </a:lnTo>
                    <a:lnTo>
                      <a:pt x="880" y="256"/>
                    </a:lnTo>
                    <a:lnTo>
                      <a:pt x="880" y="249"/>
                    </a:lnTo>
                    <a:lnTo>
                      <a:pt x="880" y="249"/>
                    </a:lnTo>
                    <a:lnTo>
                      <a:pt x="880" y="249"/>
                    </a:lnTo>
                    <a:lnTo>
                      <a:pt x="880" y="249"/>
                    </a:lnTo>
                    <a:lnTo>
                      <a:pt x="880" y="249"/>
                    </a:lnTo>
                    <a:lnTo>
                      <a:pt x="880" y="249"/>
                    </a:lnTo>
                    <a:lnTo>
                      <a:pt x="880" y="249"/>
                    </a:lnTo>
                    <a:lnTo>
                      <a:pt x="887" y="249"/>
                    </a:lnTo>
                    <a:lnTo>
                      <a:pt x="887" y="249"/>
                    </a:lnTo>
                    <a:lnTo>
                      <a:pt x="894" y="249"/>
                    </a:lnTo>
                    <a:lnTo>
                      <a:pt x="894" y="249"/>
                    </a:lnTo>
                    <a:lnTo>
                      <a:pt x="894" y="249"/>
                    </a:lnTo>
                    <a:lnTo>
                      <a:pt x="894" y="249"/>
                    </a:lnTo>
                    <a:lnTo>
                      <a:pt x="894" y="249"/>
                    </a:lnTo>
                    <a:lnTo>
                      <a:pt x="894" y="249"/>
                    </a:lnTo>
                    <a:lnTo>
                      <a:pt x="894" y="249"/>
                    </a:lnTo>
                    <a:lnTo>
                      <a:pt x="894" y="241"/>
                    </a:lnTo>
                    <a:lnTo>
                      <a:pt x="894" y="241"/>
                    </a:lnTo>
                    <a:lnTo>
                      <a:pt x="894" y="241"/>
                    </a:lnTo>
                    <a:lnTo>
                      <a:pt x="894" y="241"/>
                    </a:lnTo>
                    <a:lnTo>
                      <a:pt x="894" y="241"/>
                    </a:lnTo>
                    <a:lnTo>
                      <a:pt x="894" y="241"/>
                    </a:lnTo>
                    <a:lnTo>
                      <a:pt x="901" y="241"/>
                    </a:lnTo>
                    <a:lnTo>
                      <a:pt x="901" y="249"/>
                    </a:lnTo>
                    <a:lnTo>
                      <a:pt x="901" y="249"/>
                    </a:lnTo>
                    <a:lnTo>
                      <a:pt x="901" y="249"/>
                    </a:lnTo>
                    <a:lnTo>
                      <a:pt x="901" y="256"/>
                    </a:lnTo>
                    <a:lnTo>
                      <a:pt x="908" y="256"/>
                    </a:lnTo>
                    <a:lnTo>
                      <a:pt x="908" y="256"/>
                    </a:lnTo>
                    <a:lnTo>
                      <a:pt x="908" y="256"/>
                    </a:lnTo>
                    <a:lnTo>
                      <a:pt x="908" y="256"/>
                    </a:lnTo>
                    <a:lnTo>
                      <a:pt x="915" y="256"/>
                    </a:lnTo>
                    <a:lnTo>
                      <a:pt x="915" y="256"/>
                    </a:lnTo>
                    <a:lnTo>
                      <a:pt x="915" y="256"/>
                    </a:lnTo>
                    <a:lnTo>
                      <a:pt x="915" y="249"/>
                    </a:lnTo>
                    <a:lnTo>
                      <a:pt x="915" y="249"/>
                    </a:lnTo>
                    <a:lnTo>
                      <a:pt x="915" y="249"/>
                    </a:lnTo>
                    <a:lnTo>
                      <a:pt x="915" y="249"/>
                    </a:lnTo>
                    <a:lnTo>
                      <a:pt x="908" y="241"/>
                    </a:lnTo>
                    <a:lnTo>
                      <a:pt x="908" y="241"/>
                    </a:lnTo>
                    <a:lnTo>
                      <a:pt x="908" y="241"/>
                    </a:lnTo>
                    <a:lnTo>
                      <a:pt x="908" y="241"/>
                    </a:lnTo>
                    <a:lnTo>
                      <a:pt x="908" y="241"/>
                    </a:lnTo>
                    <a:lnTo>
                      <a:pt x="908" y="241"/>
                    </a:lnTo>
                    <a:lnTo>
                      <a:pt x="908" y="241"/>
                    </a:lnTo>
                    <a:lnTo>
                      <a:pt x="922" y="241"/>
                    </a:lnTo>
                    <a:lnTo>
                      <a:pt x="922" y="241"/>
                    </a:lnTo>
                    <a:lnTo>
                      <a:pt x="922" y="241"/>
                    </a:lnTo>
                    <a:lnTo>
                      <a:pt x="922" y="241"/>
                    </a:lnTo>
                    <a:lnTo>
                      <a:pt x="922" y="241"/>
                    </a:lnTo>
                    <a:lnTo>
                      <a:pt x="929" y="234"/>
                    </a:lnTo>
                    <a:lnTo>
                      <a:pt x="929" y="234"/>
                    </a:lnTo>
                    <a:lnTo>
                      <a:pt x="929" y="234"/>
                    </a:lnTo>
                    <a:lnTo>
                      <a:pt x="929" y="234"/>
                    </a:lnTo>
                    <a:lnTo>
                      <a:pt x="929" y="234"/>
                    </a:lnTo>
                    <a:lnTo>
                      <a:pt x="929" y="234"/>
                    </a:lnTo>
                    <a:lnTo>
                      <a:pt x="929" y="234"/>
                    </a:lnTo>
                    <a:lnTo>
                      <a:pt x="929" y="234"/>
                    </a:lnTo>
                    <a:lnTo>
                      <a:pt x="929" y="234"/>
                    </a:lnTo>
                    <a:lnTo>
                      <a:pt x="929" y="234"/>
                    </a:lnTo>
                    <a:lnTo>
                      <a:pt x="937" y="234"/>
                    </a:lnTo>
                    <a:lnTo>
                      <a:pt x="937" y="234"/>
                    </a:lnTo>
                    <a:lnTo>
                      <a:pt x="937" y="234"/>
                    </a:lnTo>
                    <a:lnTo>
                      <a:pt x="937" y="234"/>
                    </a:lnTo>
                    <a:lnTo>
                      <a:pt x="929" y="249"/>
                    </a:lnTo>
                    <a:lnTo>
                      <a:pt x="929" y="249"/>
                    </a:lnTo>
                    <a:lnTo>
                      <a:pt x="929" y="249"/>
                    </a:lnTo>
                    <a:lnTo>
                      <a:pt x="929" y="256"/>
                    </a:lnTo>
                    <a:lnTo>
                      <a:pt x="929" y="256"/>
                    </a:lnTo>
                    <a:lnTo>
                      <a:pt x="929" y="256"/>
                    </a:lnTo>
                    <a:lnTo>
                      <a:pt x="929" y="256"/>
                    </a:lnTo>
                    <a:lnTo>
                      <a:pt x="929" y="256"/>
                    </a:lnTo>
                    <a:lnTo>
                      <a:pt x="929" y="256"/>
                    </a:lnTo>
                    <a:lnTo>
                      <a:pt x="929" y="256"/>
                    </a:lnTo>
                    <a:lnTo>
                      <a:pt x="929" y="263"/>
                    </a:lnTo>
                    <a:lnTo>
                      <a:pt x="929" y="263"/>
                    </a:lnTo>
                    <a:lnTo>
                      <a:pt x="922" y="263"/>
                    </a:lnTo>
                    <a:lnTo>
                      <a:pt x="922" y="263"/>
                    </a:lnTo>
                    <a:lnTo>
                      <a:pt x="922" y="263"/>
                    </a:lnTo>
                    <a:lnTo>
                      <a:pt x="922" y="263"/>
                    </a:lnTo>
                    <a:lnTo>
                      <a:pt x="922" y="263"/>
                    </a:lnTo>
                    <a:lnTo>
                      <a:pt x="922" y="270"/>
                    </a:lnTo>
                    <a:lnTo>
                      <a:pt x="922" y="270"/>
                    </a:lnTo>
                    <a:lnTo>
                      <a:pt x="922" y="270"/>
                    </a:lnTo>
                    <a:lnTo>
                      <a:pt x="929" y="270"/>
                    </a:lnTo>
                    <a:lnTo>
                      <a:pt x="929" y="270"/>
                    </a:lnTo>
                    <a:lnTo>
                      <a:pt x="937" y="270"/>
                    </a:lnTo>
                    <a:lnTo>
                      <a:pt x="944" y="270"/>
                    </a:lnTo>
                    <a:lnTo>
                      <a:pt x="944" y="270"/>
                    </a:lnTo>
                    <a:lnTo>
                      <a:pt x="944" y="270"/>
                    </a:lnTo>
                    <a:lnTo>
                      <a:pt x="944" y="270"/>
                    </a:lnTo>
                    <a:lnTo>
                      <a:pt x="944" y="270"/>
                    </a:lnTo>
                    <a:lnTo>
                      <a:pt x="944" y="270"/>
                    </a:lnTo>
                    <a:lnTo>
                      <a:pt x="951" y="270"/>
                    </a:lnTo>
                    <a:lnTo>
                      <a:pt x="951" y="270"/>
                    </a:lnTo>
                    <a:lnTo>
                      <a:pt x="951" y="270"/>
                    </a:lnTo>
                    <a:lnTo>
                      <a:pt x="958" y="270"/>
                    </a:lnTo>
                    <a:lnTo>
                      <a:pt x="958" y="270"/>
                    </a:lnTo>
                    <a:lnTo>
                      <a:pt x="958" y="270"/>
                    </a:lnTo>
                    <a:lnTo>
                      <a:pt x="958" y="270"/>
                    </a:lnTo>
                    <a:lnTo>
                      <a:pt x="965" y="277"/>
                    </a:lnTo>
                    <a:lnTo>
                      <a:pt x="972" y="277"/>
                    </a:lnTo>
                    <a:lnTo>
                      <a:pt x="972" y="270"/>
                    </a:lnTo>
                    <a:lnTo>
                      <a:pt x="972" y="270"/>
                    </a:lnTo>
                    <a:lnTo>
                      <a:pt x="972" y="270"/>
                    </a:lnTo>
                    <a:lnTo>
                      <a:pt x="979" y="270"/>
                    </a:lnTo>
                    <a:lnTo>
                      <a:pt x="979" y="270"/>
                    </a:lnTo>
                    <a:lnTo>
                      <a:pt x="979" y="270"/>
                    </a:lnTo>
                    <a:lnTo>
                      <a:pt x="979" y="270"/>
                    </a:lnTo>
                    <a:lnTo>
                      <a:pt x="979" y="270"/>
                    </a:lnTo>
                    <a:lnTo>
                      <a:pt x="979" y="270"/>
                    </a:lnTo>
                    <a:lnTo>
                      <a:pt x="979" y="270"/>
                    </a:lnTo>
                    <a:lnTo>
                      <a:pt x="979" y="263"/>
                    </a:lnTo>
                    <a:lnTo>
                      <a:pt x="979" y="263"/>
                    </a:lnTo>
                    <a:lnTo>
                      <a:pt x="979" y="263"/>
                    </a:lnTo>
                    <a:lnTo>
                      <a:pt x="979" y="263"/>
                    </a:lnTo>
                    <a:lnTo>
                      <a:pt x="979" y="263"/>
                    </a:lnTo>
                    <a:lnTo>
                      <a:pt x="979" y="263"/>
                    </a:lnTo>
                    <a:lnTo>
                      <a:pt x="979" y="263"/>
                    </a:lnTo>
                    <a:lnTo>
                      <a:pt x="979" y="263"/>
                    </a:lnTo>
                    <a:lnTo>
                      <a:pt x="986" y="256"/>
                    </a:lnTo>
                    <a:lnTo>
                      <a:pt x="986" y="256"/>
                    </a:lnTo>
                    <a:lnTo>
                      <a:pt x="986" y="249"/>
                    </a:lnTo>
                    <a:lnTo>
                      <a:pt x="986" y="249"/>
                    </a:lnTo>
                    <a:lnTo>
                      <a:pt x="986" y="249"/>
                    </a:lnTo>
                    <a:lnTo>
                      <a:pt x="986" y="249"/>
                    </a:lnTo>
                    <a:lnTo>
                      <a:pt x="986" y="249"/>
                    </a:lnTo>
                    <a:lnTo>
                      <a:pt x="986" y="241"/>
                    </a:lnTo>
                    <a:lnTo>
                      <a:pt x="986" y="241"/>
                    </a:lnTo>
                    <a:lnTo>
                      <a:pt x="986" y="241"/>
                    </a:lnTo>
                    <a:lnTo>
                      <a:pt x="986" y="241"/>
                    </a:lnTo>
                    <a:lnTo>
                      <a:pt x="993" y="241"/>
                    </a:lnTo>
                    <a:lnTo>
                      <a:pt x="993" y="241"/>
                    </a:lnTo>
                    <a:lnTo>
                      <a:pt x="993" y="241"/>
                    </a:lnTo>
                    <a:lnTo>
                      <a:pt x="993" y="241"/>
                    </a:lnTo>
                    <a:lnTo>
                      <a:pt x="1000" y="241"/>
                    </a:lnTo>
                    <a:lnTo>
                      <a:pt x="1000" y="241"/>
                    </a:lnTo>
                    <a:lnTo>
                      <a:pt x="1000" y="241"/>
                    </a:lnTo>
                    <a:lnTo>
                      <a:pt x="1000" y="241"/>
                    </a:lnTo>
                    <a:lnTo>
                      <a:pt x="1008" y="241"/>
                    </a:lnTo>
                    <a:lnTo>
                      <a:pt x="1008" y="241"/>
                    </a:lnTo>
                    <a:lnTo>
                      <a:pt x="1008" y="241"/>
                    </a:lnTo>
                    <a:lnTo>
                      <a:pt x="1000" y="241"/>
                    </a:lnTo>
                    <a:lnTo>
                      <a:pt x="1000" y="249"/>
                    </a:lnTo>
                    <a:lnTo>
                      <a:pt x="1000" y="249"/>
                    </a:lnTo>
                    <a:lnTo>
                      <a:pt x="1008" y="249"/>
                    </a:lnTo>
                    <a:lnTo>
                      <a:pt x="1008" y="249"/>
                    </a:lnTo>
                    <a:lnTo>
                      <a:pt x="1008" y="249"/>
                    </a:lnTo>
                    <a:lnTo>
                      <a:pt x="1015" y="249"/>
                    </a:lnTo>
                    <a:lnTo>
                      <a:pt x="1015" y="249"/>
                    </a:lnTo>
                    <a:lnTo>
                      <a:pt x="1015" y="249"/>
                    </a:lnTo>
                    <a:lnTo>
                      <a:pt x="1015" y="249"/>
                    </a:lnTo>
                    <a:lnTo>
                      <a:pt x="1015" y="241"/>
                    </a:lnTo>
                    <a:lnTo>
                      <a:pt x="1015" y="241"/>
                    </a:lnTo>
                    <a:lnTo>
                      <a:pt x="1015" y="241"/>
                    </a:lnTo>
                    <a:lnTo>
                      <a:pt x="1015" y="241"/>
                    </a:lnTo>
                    <a:lnTo>
                      <a:pt x="1015" y="241"/>
                    </a:lnTo>
                    <a:lnTo>
                      <a:pt x="1015" y="241"/>
                    </a:lnTo>
                    <a:lnTo>
                      <a:pt x="1015" y="234"/>
                    </a:lnTo>
                    <a:lnTo>
                      <a:pt x="1029" y="234"/>
                    </a:lnTo>
                    <a:lnTo>
                      <a:pt x="1029" y="241"/>
                    </a:lnTo>
                    <a:lnTo>
                      <a:pt x="1029" y="241"/>
                    </a:lnTo>
                    <a:lnTo>
                      <a:pt x="1029" y="241"/>
                    </a:lnTo>
                    <a:lnTo>
                      <a:pt x="1036" y="241"/>
                    </a:lnTo>
                    <a:lnTo>
                      <a:pt x="1036" y="249"/>
                    </a:lnTo>
                    <a:lnTo>
                      <a:pt x="1036" y="249"/>
                    </a:lnTo>
                    <a:lnTo>
                      <a:pt x="1036" y="249"/>
                    </a:lnTo>
                    <a:lnTo>
                      <a:pt x="1029" y="249"/>
                    </a:lnTo>
                    <a:lnTo>
                      <a:pt x="1029" y="249"/>
                    </a:lnTo>
                    <a:lnTo>
                      <a:pt x="1029" y="249"/>
                    </a:lnTo>
                    <a:lnTo>
                      <a:pt x="1036" y="249"/>
                    </a:lnTo>
                    <a:lnTo>
                      <a:pt x="1036" y="249"/>
                    </a:lnTo>
                    <a:lnTo>
                      <a:pt x="1036" y="249"/>
                    </a:lnTo>
                    <a:lnTo>
                      <a:pt x="1036" y="249"/>
                    </a:lnTo>
                    <a:lnTo>
                      <a:pt x="1043" y="256"/>
                    </a:lnTo>
                    <a:lnTo>
                      <a:pt x="1050" y="256"/>
                    </a:lnTo>
                    <a:lnTo>
                      <a:pt x="1050" y="256"/>
                    </a:lnTo>
                    <a:lnTo>
                      <a:pt x="1050" y="256"/>
                    </a:lnTo>
                    <a:lnTo>
                      <a:pt x="1050" y="256"/>
                    </a:lnTo>
                    <a:lnTo>
                      <a:pt x="1050" y="256"/>
                    </a:lnTo>
                    <a:lnTo>
                      <a:pt x="1057" y="256"/>
                    </a:lnTo>
                    <a:lnTo>
                      <a:pt x="1057" y="263"/>
                    </a:lnTo>
                    <a:lnTo>
                      <a:pt x="1057" y="256"/>
                    </a:lnTo>
                    <a:lnTo>
                      <a:pt x="1057" y="256"/>
                    </a:lnTo>
                    <a:lnTo>
                      <a:pt x="1064" y="256"/>
                    </a:lnTo>
                    <a:lnTo>
                      <a:pt x="1064" y="256"/>
                    </a:lnTo>
                    <a:lnTo>
                      <a:pt x="1064" y="256"/>
                    </a:lnTo>
                    <a:lnTo>
                      <a:pt x="1064" y="256"/>
                    </a:lnTo>
                    <a:lnTo>
                      <a:pt x="1064" y="256"/>
                    </a:lnTo>
                    <a:lnTo>
                      <a:pt x="1071" y="256"/>
                    </a:lnTo>
                    <a:lnTo>
                      <a:pt x="1071" y="263"/>
                    </a:lnTo>
                    <a:lnTo>
                      <a:pt x="1071" y="263"/>
                    </a:lnTo>
                    <a:lnTo>
                      <a:pt x="1071" y="263"/>
                    </a:lnTo>
                    <a:lnTo>
                      <a:pt x="1071" y="263"/>
                    </a:lnTo>
                    <a:lnTo>
                      <a:pt x="1071" y="263"/>
                    </a:lnTo>
                    <a:lnTo>
                      <a:pt x="1071" y="263"/>
                    </a:lnTo>
                    <a:lnTo>
                      <a:pt x="1071" y="270"/>
                    </a:lnTo>
                    <a:lnTo>
                      <a:pt x="1071" y="270"/>
                    </a:lnTo>
                    <a:lnTo>
                      <a:pt x="1071" y="270"/>
                    </a:lnTo>
                    <a:lnTo>
                      <a:pt x="1071" y="270"/>
                    </a:lnTo>
                    <a:lnTo>
                      <a:pt x="1071" y="270"/>
                    </a:lnTo>
                    <a:lnTo>
                      <a:pt x="1071" y="270"/>
                    </a:lnTo>
                    <a:lnTo>
                      <a:pt x="1079" y="270"/>
                    </a:lnTo>
                    <a:lnTo>
                      <a:pt x="1086" y="277"/>
                    </a:lnTo>
                    <a:lnTo>
                      <a:pt x="1086" y="284"/>
                    </a:lnTo>
                    <a:lnTo>
                      <a:pt x="1086" y="284"/>
                    </a:lnTo>
                    <a:lnTo>
                      <a:pt x="1093" y="284"/>
                    </a:lnTo>
                    <a:lnTo>
                      <a:pt x="1093" y="284"/>
                    </a:lnTo>
                    <a:lnTo>
                      <a:pt x="1093" y="284"/>
                    </a:lnTo>
                    <a:lnTo>
                      <a:pt x="1100" y="284"/>
                    </a:lnTo>
                    <a:lnTo>
                      <a:pt x="1107" y="291"/>
                    </a:lnTo>
                    <a:lnTo>
                      <a:pt x="1107" y="291"/>
                    </a:lnTo>
                    <a:lnTo>
                      <a:pt x="1107" y="291"/>
                    </a:lnTo>
                    <a:lnTo>
                      <a:pt x="1107" y="291"/>
                    </a:lnTo>
                    <a:lnTo>
                      <a:pt x="1114" y="291"/>
                    </a:lnTo>
                    <a:lnTo>
                      <a:pt x="1114" y="291"/>
                    </a:lnTo>
                    <a:lnTo>
                      <a:pt x="1114" y="291"/>
                    </a:lnTo>
                    <a:lnTo>
                      <a:pt x="1121" y="284"/>
                    </a:lnTo>
                    <a:lnTo>
                      <a:pt x="1121" y="284"/>
                    </a:lnTo>
                    <a:lnTo>
                      <a:pt x="1121" y="284"/>
                    </a:lnTo>
                    <a:lnTo>
                      <a:pt x="1121" y="284"/>
                    </a:lnTo>
                    <a:lnTo>
                      <a:pt x="1121" y="284"/>
                    </a:lnTo>
                    <a:lnTo>
                      <a:pt x="1121" y="284"/>
                    </a:lnTo>
                    <a:lnTo>
                      <a:pt x="1121" y="291"/>
                    </a:lnTo>
                    <a:lnTo>
                      <a:pt x="1121" y="291"/>
                    </a:lnTo>
                    <a:lnTo>
                      <a:pt x="1121" y="291"/>
                    </a:lnTo>
                    <a:lnTo>
                      <a:pt x="1121" y="291"/>
                    </a:lnTo>
                    <a:lnTo>
                      <a:pt x="1121" y="291"/>
                    </a:lnTo>
                    <a:lnTo>
                      <a:pt x="1121" y="298"/>
                    </a:lnTo>
                    <a:lnTo>
                      <a:pt x="1121" y="298"/>
                    </a:lnTo>
                    <a:lnTo>
                      <a:pt x="1121" y="298"/>
                    </a:lnTo>
                    <a:lnTo>
                      <a:pt x="1121" y="298"/>
                    </a:lnTo>
                    <a:lnTo>
                      <a:pt x="1128" y="298"/>
                    </a:lnTo>
                    <a:lnTo>
                      <a:pt x="1128" y="291"/>
                    </a:lnTo>
                    <a:lnTo>
                      <a:pt x="1128" y="291"/>
                    </a:lnTo>
                    <a:lnTo>
                      <a:pt x="1128" y="291"/>
                    </a:lnTo>
                    <a:lnTo>
                      <a:pt x="1128" y="291"/>
                    </a:lnTo>
                    <a:lnTo>
                      <a:pt x="1128" y="291"/>
                    </a:lnTo>
                    <a:lnTo>
                      <a:pt x="1128" y="291"/>
                    </a:lnTo>
                    <a:lnTo>
                      <a:pt x="1128" y="298"/>
                    </a:lnTo>
                    <a:lnTo>
                      <a:pt x="1128" y="298"/>
                    </a:lnTo>
                    <a:lnTo>
                      <a:pt x="1128" y="305"/>
                    </a:lnTo>
                    <a:lnTo>
                      <a:pt x="1128" y="305"/>
                    </a:lnTo>
                    <a:lnTo>
                      <a:pt x="1128" y="305"/>
                    </a:lnTo>
                    <a:lnTo>
                      <a:pt x="1128" y="305"/>
                    </a:lnTo>
                    <a:lnTo>
                      <a:pt x="1128" y="305"/>
                    </a:lnTo>
                    <a:lnTo>
                      <a:pt x="1135" y="305"/>
                    </a:lnTo>
                    <a:lnTo>
                      <a:pt x="1135" y="305"/>
                    </a:lnTo>
                    <a:lnTo>
                      <a:pt x="1135" y="305"/>
                    </a:lnTo>
                    <a:lnTo>
                      <a:pt x="1135" y="305"/>
                    </a:lnTo>
                    <a:lnTo>
                      <a:pt x="1135" y="305"/>
                    </a:lnTo>
                    <a:lnTo>
                      <a:pt x="1135" y="305"/>
                    </a:lnTo>
                    <a:lnTo>
                      <a:pt x="1135" y="305"/>
                    </a:lnTo>
                    <a:lnTo>
                      <a:pt x="1135" y="312"/>
                    </a:lnTo>
                    <a:lnTo>
                      <a:pt x="1135" y="312"/>
                    </a:lnTo>
                    <a:lnTo>
                      <a:pt x="1135" y="312"/>
                    </a:lnTo>
                    <a:lnTo>
                      <a:pt x="1142" y="312"/>
                    </a:lnTo>
                    <a:lnTo>
                      <a:pt x="1149" y="312"/>
                    </a:lnTo>
                    <a:lnTo>
                      <a:pt x="1149" y="312"/>
                    </a:lnTo>
                    <a:lnTo>
                      <a:pt x="1149" y="312"/>
                    </a:lnTo>
                    <a:lnTo>
                      <a:pt x="1149" y="312"/>
                    </a:lnTo>
                    <a:lnTo>
                      <a:pt x="1149" y="305"/>
                    </a:lnTo>
                    <a:lnTo>
                      <a:pt x="1149" y="305"/>
                    </a:lnTo>
                    <a:lnTo>
                      <a:pt x="1149" y="305"/>
                    </a:lnTo>
                    <a:lnTo>
                      <a:pt x="1149" y="305"/>
                    </a:lnTo>
                    <a:lnTo>
                      <a:pt x="1149" y="305"/>
                    </a:lnTo>
                    <a:lnTo>
                      <a:pt x="1149" y="298"/>
                    </a:lnTo>
                    <a:lnTo>
                      <a:pt x="1149" y="298"/>
                    </a:lnTo>
                    <a:lnTo>
                      <a:pt x="1157" y="298"/>
                    </a:lnTo>
                    <a:lnTo>
                      <a:pt x="1171" y="305"/>
                    </a:lnTo>
                    <a:lnTo>
                      <a:pt x="1171" y="305"/>
                    </a:lnTo>
                    <a:lnTo>
                      <a:pt x="1178" y="305"/>
                    </a:lnTo>
                    <a:lnTo>
                      <a:pt x="1178" y="305"/>
                    </a:lnTo>
                    <a:lnTo>
                      <a:pt x="1185" y="298"/>
                    </a:lnTo>
                    <a:lnTo>
                      <a:pt x="1185" y="298"/>
                    </a:lnTo>
                    <a:lnTo>
                      <a:pt x="1192" y="298"/>
                    </a:lnTo>
                    <a:lnTo>
                      <a:pt x="1192" y="298"/>
                    </a:lnTo>
                    <a:lnTo>
                      <a:pt x="1192" y="298"/>
                    </a:lnTo>
                    <a:lnTo>
                      <a:pt x="1192" y="305"/>
                    </a:lnTo>
                    <a:lnTo>
                      <a:pt x="1192" y="305"/>
                    </a:lnTo>
                    <a:lnTo>
                      <a:pt x="1192" y="305"/>
                    </a:lnTo>
                    <a:lnTo>
                      <a:pt x="1192" y="305"/>
                    </a:lnTo>
                    <a:lnTo>
                      <a:pt x="1199" y="305"/>
                    </a:lnTo>
                    <a:lnTo>
                      <a:pt x="1199" y="305"/>
                    </a:lnTo>
                    <a:lnTo>
                      <a:pt x="1199" y="305"/>
                    </a:lnTo>
                    <a:lnTo>
                      <a:pt x="1199" y="312"/>
                    </a:lnTo>
                    <a:lnTo>
                      <a:pt x="1199" y="312"/>
                    </a:lnTo>
                    <a:lnTo>
                      <a:pt x="1199" y="312"/>
                    </a:lnTo>
                    <a:lnTo>
                      <a:pt x="1199" y="320"/>
                    </a:lnTo>
                    <a:lnTo>
                      <a:pt x="1206" y="320"/>
                    </a:lnTo>
                    <a:lnTo>
                      <a:pt x="1206" y="320"/>
                    </a:lnTo>
                    <a:lnTo>
                      <a:pt x="1206" y="320"/>
                    </a:lnTo>
                    <a:lnTo>
                      <a:pt x="1206" y="320"/>
                    </a:lnTo>
                    <a:lnTo>
                      <a:pt x="1199" y="320"/>
                    </a:lnTo>
                    <a:lnTo>
                      <a:pt x="1199" y="327"/>
                    </a:lnTo>
                    <a:lnTo>
                      <a:pt x="1199" y="320"/>
                    </a:lnTo>
                    <a:lnTo>
                      <a:pt x="1199" y="320"/>
                    </a:lnTo>
                    <a:lnTo>
                      <a:pt x="1192" y="320"/>
                    </a:lnTo>
                    <a:lnTo>
                      <a:pt x="1192" y="327"/>
                    </a:lnTo>
                    <a:lnTo>
                      <a:pt x="1192" y="327"/>
                    </a:lnTo>
                    <a:lnTo>
                      <a:pt x="1192" y="327"/>
                    </a:lnTo>
                    <a:lnTo>
                      <a:pt x="1192" y="327"/>
                    </a:lnTo>
                    <a:lnTo>
                      <a:pt x="1192" y="334"/>
                    </a:lnTo>
                    <a:lnTo>
                      <a:pt x="1192" y="334"/>
                    </a:lnTo>
                    <a:lnTo>
                      <a:pt x="1192" y="341"/>
                    </a:lnTo>
                    <a:lnTo>
                      <a:pt x="1192" y="341"/>
                    </a:lnTo>
                    <a:lnTo>
                      <a:pt x="1192" y="341"/>
                    </a:lnTo>
                    <a:lnTo>
                      <a:pt x="1199" y="348"/>
                    </a:lnTo>
                    <a:lnTo>
                      <a:pt x="1199" y="348"/>
                    </a:lnTo>
                    <a:lnTo>
                      <a:pt x="1199" y="348"/>
                    </a:lnTo>
                    <a:lnTo>
                      <a:pt x="1199" y="348"/>
                    </a:lnTo>
                    <a:lnTo>
                      <a:pt x="1199" y="355"/>
                    </a:lnTo>
                    <a:lnTo>
                      <a:pt x="1199" y="355"/>
                    </a:lnTo>
                    <a:lnTo>
                      <a:pt x="1199" y="362"/>
                    </a:lnTo>
                    <a:lnTo>
                      <a:pt x="1199" y="362"/>
                    </a:lnTo>
                    <a:lnTo>
                      <a:pt x="1199" y="376"/>
                    </a:lnTo>
                    <a:lnTo>
                      <a:pt x="1192" y="376"/>
                    </a:lnTo>
                    <a:lnTo>
                      <a:pt x="1192" y="376"/>
                    </a:lnTo>
                    <a:lnTo>
                      <a:pt x="1192" y="376"/>
                    </a:lnTo>
                    <a:lnTo>
                      <a:pt x="1192" y="376"/>
                    </a:lnTo>
                    <a:lnTo>
                      <a:pt x="1192" y="376"/>
                    </a:lnTo>
                    <a:lnTo>
                      <a:pt x="1192" y="376"/>
                    </a:lnTo>
                    <a:lnTo>
                      <a:pt x="1192" y="383"/>
                    </a:lnTo>
                    <a:lnTo>
                      <a:pt x="1192" y="383"/>
                    </a:lnTo>
                    <a:lnTo>
                      <a:pt x="1192" y="383"/>
                    </a:lnTo>
                    <a:lnTo>
                      <a:pt x="1192" y="383"/>
                    </a:lnTo>
                    <a:lnTo>
                      <a:pt x="1199" y="391"/>
                    </a:lnTo>
                    <a:lnTo>
                      <a:pt x="1199" y="391"/>
                    </a:lnTo>
                    <a:lnTo>
                      <a:pt x="1199" y="391"/>
                    </a:lnTo>
                    <a:lnTo>
                      <a:pt x="1199" y="391"/>
                    </a:lnTo>
                    <a:lnTo>
                      <a:pt x="1199" y="391"/>
                    </a:lnTo>
                    <a:lnTo>
                      <a:pt x="1199" y="398"/>
                    </a:lnTo>
                    <a:lnTo>
                      <a:pt x="1199" y="398"/>
                    </a:lnTo>
                    <a:lnTo>
                      <a:pt x="1199" y="398"/>
                    </a:lnTo>
                    <a:lnTo>
                      <a:pt x="1199" y="398"/>
                    </a:lnTo>
                    <a:lnTo>
                      <a:pt x="1206" y="398"/>
                    </a:lnTo>
                    <a:lnTo>
                      <a:pt x="1206" y="405"/>
                    </a:lnTo>
                    <a:lnTo>
                      <a:pt x="1206" y="405"/>
                    </a:lnTo>
                    <a:lnTo>
                      <a:pt x="1206" y="412"/>
                    </a:lnTo>
                    <a:lnTo>
                      <a:pt x="1206" y="412"/>
                    </a:lnTo>
                    <a:lnTo>
                      <a:pt x="1206" y="412"/>
                    </a:lnTo>
                    <a:lnTo>
                      <a:pt x="1206" y="412"/>
                    </a:lnTo>
                    <a:lnTo>
                      <a:pt x="1206" y="412"/>
                    </a:lnTo>
                    <a:lnTo>
                      <a:pt x="1199" y="419"/>
                    </a:lnTo>
                    <a:lnTo>
                      <a:pt x="1199" y="419"/>
                    </a:lnTo>
                    <a:lnTo>
                      <a:pt x="1192" y="419"/>
                    </a:lnTo>
                    <a:lnTo>
                      <a:pt x="1192" y="419"/>
                    </a:lnTo>
                    <a:lnTo>
                      <a:pt x="1192" y="419"/>
                    </a:lnTo>
                    <a:lnTo>
                      <a:pt x="1185" y="426"/>
                    </a:lnTo>
                    <a:lnTo>
                      <a:pt x="1192" y="426"/>
                    </a:lnTo>
                    <a:lnTo>
                      <a:pt x="1185" y="426"/>
                    </a:lnTo>
                    <a:lnTo>
                      <a:pt x="1185" y="426"/>
                    </a:lnTo>
                    <a:lnTo>
                      <a:pt x="1185" y="433"/>
                    </a:lnTo>
                    <a:lnTo>
                      <a:pt x="1178" y="433"/>
                    </a:lnTo>
                    <a:lnTo>
                      <a:pt x="1178" y="433"/>
                    </a:lnTo>
                    <a:lnTo>
                      <a:pt x="1171" y="440"/>
                    </a:lnTo>
                    <a:lnTo>
                      <a:pt x="1171" y="440"/>
                    </a:lnTo>
                    <a:lnTo>
                      <a:pt x="1171" y="440"/>
                    </a:lnTo>
                    <a:lnTo>
                      <a:pt x="1157" y="440"/>
                    </a:lnTo>
                    <a:lnTo>
                      <a:pt x="1135" y="440"/>
                    </a:lnTo>
                    <a:lnTo>
                      <a:pt x="1135" y="440"/>
                    </a:lnTo>
                    <a:lnTo>
                      <a:pt x="1128" y="433"/>
                    </a:lnTo>
                    <a:lnTo>
                      <a:pt x="1114" y="433"/>
                    </a:lnTo>
                    <a:lnTo>
                      <a:pt x="1107" y="433"/>
                    </a:lnTo>
                    <a:lnTo>
                      <a:pt x="1107" y="433"/>
                    </a:lnTo>
                    <a:lnTo>
                      <a:pt x="1100" y="433"/>
                    </a:lnTo>
                    <a:lnTo>
                      <a:pt x="1093" y="433"/>
                    </a:lnTo>
                    <a:lnTo>
                      <a:pt x="1086" y="433"/>
                    </a:lnTo>
                    <a:lnTo>
                      <a:pt x="1079" y="433"/>
                    </a:lnTo>
                    <a:lnTo>
                      <a:pt x="1079" y="440"/>
                    </a:lnTo>
                    <a:lnTo>
                      <a:pt x="1071" y="440"/>
                    </a:lnTo>
                    <a:lnTo>
                      <a:pt x="1071" y="440"/>
                    </a:lnTo>
                    <a:lnTo>
                      <a:pt x="1064" y="433"/>
                    </a:lnTo>
                    <a:lnTo>
                      <a:pt x="1057" y="426"/>
                    </a:lnTo>
                    <a:lnTo>
                      <a:pt x="1057" y="426"/>
                    </a:lnTo>
                    <a:lnTo>
                      <a:pt x="1050" y="426"/>
                    </a:lnTo>
                    <a:lnTo>
                      <a:pt x="1050" y="426"/>
                    </a:lnTo>
                    <a:lnTo>
                      <a:pt x="1050" y="426"/>
                    </a:lnTo>
                    <a:lnTo>
                      <a:pt x="1050" y="433"/>
                    </a:lnTo>
                    <a:lnTo>
                      <a:pt x="1050" y="433"/>
                    </a:lnTo>
                    <a:lnTo>
                      <a:pt x="1050" y="433"/>
                    </a:lnTo>
                    <a:lnTo>
                      <a:pt x="1050" y="433"/>
                    </a:lnTo>
                    <a:lnTo>
                      <a:pt x="1057" y="447"/>
                    </a:lnTo>
                    <a:lnTo>
                      <a:pt x="1057" y="447"/>
                    </a:lnTo>
                    <a:lnTo>
                      <a:pt x="1057" y="454"/>
                    </a:lnTo>
                    <a:lnTo>
                      <a:pt x="1057" y="454"/>
                    </a:lnTo>
                    <a:lnTo>
                      <a:pt x="1057" y="454"/>
                    </a:lnTo>
                    <a:lnTo>
                      <a:pt x="1057" y="454"/>
                    </a:lnTo>
                    <a:lnTo>
                      <a:pt x="1057" y="462"/>
                    </a:lnTo>
                    <a:lnTo>
                      <a:pt x="1050" y="462"/>
                    </a:lnTo>
                    <a:lnTo>
                      <a:pt x="1050" y="462"/>
                    </a:lnTo>
                    <a:lnTo>
                      <a:pt x="1050" y="462"/>
                    </a:lnTo>
                    <a:lnTo>
                      <a:pt x="1050" y="469"/>
                    </a:lnTo>
                    <a:lnTo>
                      <a:pt x="1050" y="469"/>
                    </a:lnTo>
                    <a:lnTo>
                      <a:pt x="1050" y="469"/>
                    </a:lnTo>
                    <a:lnTo>
                      <a:pt x="1043" y="469"/>
                    </a:lnTo>
                    <a:lnTo>
                      <a:pt x="1043" y="476"/>
                    </a:lnTo>
                    <a:lnTo>
                      <a:pt x="1043" y="476"/>
                    </a:lnTo>
                    <a:lnTo>
                      <a:pt x="1050" y="476"/>
                    </a:lnTo>
                    <a:lnTo>
                      <a:pt x="1050" y="476"/>
                    </a:lnTo>
                    <a:lnTo>
                      <a:pt x="1050" y="483"/>
                    </a:lnTo>
                    <a:lnTo>
                      <a:pt x="1050" y="483"/>
                    </a:lnTo>
                    <a:lnTo>
                      <a:pt x="1050" y="483"/>
                    </a:lnTo>
                    <a:lnTo>
                      <a:pt x="1057" y="483"/>
                    </a:lnTo>
                    <a:lnTo>
                      <a:pt x="1057" y="483"/>
                    </a:lnTo>
                    <a:lnTo>
                      <a:pt x="1064" y="476"/>
                    </a:lnTo>
                    <a:lnTo>
                      <a:pt x="1064" y="476"/>
                    </a:lnTo>
                    <a:lnTo>
                      <a:pt x="1064" y="476"/>
                    </a:lnTo>
                    <a:lnTo>
                      <a:pt x="1071" y="476"/>
                    </a:lnTo>
                    <a:lnTo>
                      <a:pt x="1071" y="476"/>
                    </a:lnTo>
                    <a:lnTo>
                      <a:pt x="1071" y="476"/>
                    </a:lnTo>
                    <a:lnTo>
                      <a:pt x="1086" y="483"/>
                    </a:lnTo>
                    <a:lnTo>
                      <a:pt x="1093" y="483"/>
                    </a:lnTo>
                    <a:lnTo>
                      <a:pt x="1093" y="483"/>
                    </a:lnTo>
                    <a:lnTo>
                      <a:pt x="1093" y="483"/>
                    </a:lnTo>
                    <a:lnTo>
                      <a:pt x="1100" y="490"/>
                    </a:lnTo>
                    <a:lnTo>
                      <a:pt x="1100" y="497"/>
                    </a:lnTo>
                    <a:lnTo>
                      <a:pt x="1107" y="497"/>
                    </a:lnTo>
                    <a:lnTo>
                      <a:pt x="1107" y="497"/>
                    </a:lnTo>
                    <a:lnTo>
                      <a:pt x="1107" y="497"/>
                    </a:lnTo>
                    <a:lnTo>
                      <a:pt x="1107" y="497"/>
                    </a:lnTo>
                    <a:lnTo>
                      <a:pt x="1107" y="497"/>
                    </a:lnTo>
                    <a:lnTo>
                      <a:pt x="1107" y="497"/>
                    </a:lnTo>
                    <a:lnTo>
                      <a:pt x="1114" y="497"/>
                    </a:lnTo>
                    <a:lnTo>
                      <a:pt x="1121" y="497"/>
                    </a:lnTo>
                    <a:lnTo>
                      <a:pt x="1121" y="497"/>
                    </a:lnTo>
                    <a:lnTo>
                      <a:pt x="1121" y="504"/>
                    </a:lnTo>
                    <a:lnTo>
                      <a:pt x="1128" y="504"/>
                    </a:lnTo>
                    <a:lnTo>
                      <a:pt x="1128" y="504"/>
                    </a:lnTo>
                    <a:lnTo>
                      <a:pt x="1128" y="511"/>
                    </a:lnTo>
                    <a:lnTo>
                      <a:pt x="1128" y="525"/>
                    </a:lnTo>
                    <a:lnTo>
                      <a:pt x="1128" y="525"/>
                    </a:lnTo>
                    <a:lnTo>
                      <a:pt x="1128" y="533"/>
                    </a:lnTo>
                    <a:lnTo>
                      <a:pt x="1121" y="540"/>
                    </a:lnTo>
                    <a:lnTo>
                      <a:pt x="1121" y="540"/>
                    </a:lnTo>
                    <a:lnTo>
                      <a:pt x="1121" y="540"/>
                    </a:lnTo>
                    <a:lnTo>
                      <a:pt x="1114" y="540"/>
                    </a:lnTo>
                    <a:lnTo>
                      <a:pt x="1114" y="540"/>
                    </a:lnTo>
                    <a:lnTo>
                      <a:pt x="1107" y="540"/>
                    </a:lnTo>
                    <a:lnTo>
                      <a:pt x="1100" y="547"/>
                    </a:lnTo>
                    <a:lnTo>
                      <a:pt x="1100" y="547"/>
                    </a:lnTo>
                    <a:lnTo>
                      <a:pt x="1100" y="554"/>
                    </a:lnTo>
                    <a:lnTo>
                      <a:pt x="1100" y="554"/>
                    </a:lnTo>
                    <a:lnTo>
                      <a:pt x="1100" y="561"/>
                    </a:lnTo>
                    <a:lnTo>
                      <a:pt x="1100" y="561"/>
                    </a:lnTo>
                    <a:lnTo>
                      <a:pt x="1093" y="568"/>
                    </a:lnTo>
                    <a:lnTo>
                      <a:pt x="1086" y="568"/>
                    </a:lnTo>
                    <a:lnTo>
                      <a:pt x="1086" y="575"/>
                    </a:lnTo>
                    <a:lnTo>
                      <a:pt x="1079" y="575"/>
                    </a:lnTo>
                    <a:lnTo>
                      <a:pt x="1079" y="575"/>
                    </a:lnTo>
                    <a:lnTo>
                      <a:pt x="1079" y="575"/>
                    </a:lnTo>
                    <a:lnTo>
                      <a:pt x="1079" y="582"/>
                    </a:lnTo>
                    <a:lnTo>
                      <a:pt x="1079" y="589"/>
                    </a:lnTo>
                    <a:lnTo>
                      <a:pt x="1079" y="589"/>
                    </a:lnTo>
                    <a:lnTo>
                      <a:pt x="1079" y="596"/>
                    </a:lnTo>
                    <a:lnTo>
                      <a:pt x="1071" y="596"/>
                    </a:lnTo>
                    <a:lnTo>
                      <a:pt x="1071" y="596"/>
                    </a:lnTo>
                    <a:lnTo>
                      <a:pt x="1079" y="603"/>
                    </a:lnTo>
                    <a:lnTo>
                      <a:pt x="1079" y="603"/>
                    </a:lnTo>
                    <a:lnTo>
                      <a:pt x="1071" y="603"/>
                    </a:lnTo>
                    <a:lnTo>
                      <a:pt x="1071" y="603"/>
                    </a:lnTo>
                    <a:lnTo>
                      <a:pt x="1064" y="611"/>
                    </a:lnTo>
                    <a:lnTo>
                      <a:pt x="1064" y="618"/>
                    </a:lnTo>
                    <a:lnTo>
                      <a:pt x="1057" y="618"/>
                    </a:lnTo>
                    <a:lnTo>
                      <a:pt x="1057" y="618"/>
                    </a:lnTo>
                    <a:lnTo>
                      <a:pt x="1057" y="618"/>
                    </a:lnTo>
                    <a:lnTo>
                      <a:pt x="1057" y="625"/>
                    </a:lnTo>
                    <a:lnTo>
                      <a:pt x="1057" y="625"/>
                    </a:lnTo>
                    <a:lnTo>
                      <a:pt x="1050" y="625"/>
                    </a:lnTo>
                    <a:lnTo>
                      <a:pt x="1050" y="625"/>
                    </a:lnTo>
                    <a:lnTo>
                      <a:pt x="1043" y="625"/>
                    </a:lnTo>
                    <a:lnTo>
                      <a:pt x="1043" y="625"/>
                    </a:lnTo>
                    <a:lnTo>
                      <a:pt x="1036" y="632"/>
                    </a:lnTo>
                    <a:lnTo>
                      <a:pt x="1036" y="632"/>
                    </a:lnTo>
                    <a:lnTo>
                      <a:pt x="1036" y="632"/>
                    </a:lnTo>
                    <a:lnTo>
                      <a:pt x="1036" y="639"/>
                    </a:lnTo>
                    <a:lnTo>
                      <a:pt x="1029" y="639"/>
                    </a:lnTo>
                    <a:lnTo>
                      <a:pt x="1029" y="639"/>
                    </a:lnTo>
                    <a:lnTo>
                      <a:pt x="1029" y="639"/>
                    </a:lnTo>
                    <a:lnTo>
                      <a:pt x="1022" y="632"/>
                    </a:lnTo>
                    <a:lnTo>
                      <a:pt x="1022" y="632"/>
                    </a:lnTo>
                    <a:lnTo>
                      <a:pt x="1022" y="632"/>
                    </a:lnTo>
                    <a:lnTo>
                      <a:pt x="1022" y="632"/>
                    </a:lnTo>
                    <a:lnTo>
                      <a:pt x="1015" y="632"/>
                    </a:lnTo>
                    <a:lnTo>
                      <a:pt x="1015" y="632"/>
                    </a:lnTo>
                    <a:lnTo>
                      <a:pt x="1008" y="632"/>
                    </a:lnTo>
                    <a:lnTo>
                      <a:pt x="1008" y="639"/>
                    </a:lnTo>
                    <a:lnTo>
                      <a:pt x="1000" y="639"/>
                    </a:lnTo>
                    <a:lnTo>
                      <a:pt x="1000" y="639"/>
                    </a:lnTo>
                    <a:lnTo>
                      <a:pt x="1000" y="639"/>
                    </a:lnTo>
                    <a:lnTo>
                      <a:pt x="1000" y="632"/>
                    </a:lnTo>
                    <a:lnTo>
                      <a:pt x="1000" y="632"/>
                    </a:lnTo>
                    <a:lnTo>
                      <a:pt x="1000" y="632"/>
                    </a:lnTo>
                    <a:lnTo>
                      <a:pt x="993" y="632"/>
                    </a:lnTo>
                    <a:lnTo>
                      <a:pt x="993" y="632"/>
                    </a:lnTo>
                    <a:lnTo>
                      <a:pt x="986" y="639"/>
                    </a:lnTo>
                    <a:lnTo>
                      <a:pt x="986" y="646"/>
                    </a:lnTo>
                    <a:lnTo>
                      <a:pt x="986" y="646"/>
                    </a:lnTo>
                    <a:lnTo>
                      <a:pt x="986" y="653"/>
                    </a:lnTo>
                    <a:lnTo>
                      <a:pt x="986" y="660"/>
                    </a:lnTo>
                    <a:lnTo>
                      <a:pt x="986" y="660"/>
                    </a:lnTo>
                    <a:lnTo>
                      <a:pt x="986" y="667"/>
                    </a:lnTo>
                    <a:lnTo>
                      <a:pt x="979" y="667"/>
                    </a:lnTo>
                    <a:lnTo>
                      <a:pt x="979" y="667"/>
                    </a:lnTo>
                    <a:lnTo>
                      <a:pt x="979" y="674"/>
                    </a:lnTo>
                    <a:lnTo>
                      <a:pt x="979" y="674"/>
                    </a:lnTo>
                    <a:lnTo>
                      <a:pt x="979" y="682"/>
                    </a:lnTo>
                    <a:lnTo>
                      <a:pt x="972" y="682"/>
                    </a:lnTo>
                    <a:lnTo>
                      <a:pt x="972" y="682"/>
                    </a:lnTo>
                    <a:lnTo>
                      <a:pt x="972" y="689"/>
                    </a:lnTo>
                    <a:lnTo>
                      <a:pt x="972" y="689"/>
                    </a:lnTo>
                    <a:lnTo>
                      <a:pt x="972" y="689"/>
                    </a:lnTo>
                    <a:lnTo>
                      <a:pt x="972" y="689"/>
                    </a:lnTo>
                    <a:lnTo>
                      <a:pt x="972" y="689"/>
                    </a:lnTo>
                    <a:lnTo>
                      <a:pt x="972" y="696"/>
                    </a:lnTo>
                    <a:lnTo>
                      <a:pt x="972" y="696"/>
                    </a:lnTo>
                    <a:lnTo>
                      <a:pt x="972" y="696"/>
                    </a:lnTo>
                    <a:lnTo>
                      <a:pt x="972" y="696"/>
                    </a:lnTo>
                    <a:lnTo>
                      <a:pt x="965" y="689"/>
                    </a:lnTo>
                    <a:lnTo>
                      <a:pt x="965" y="689"/>
                    </a:lnTo>
                    <a:lnTo>
                      <a:pt x="965" y="689"/>
                    </a:lnTo>
                    <a:lnTo>
                      <a:pt x="958" y="689"/>
                    </a:lnTo>
                    <a:lnTo>
                      <a:pt x="958" y="696"/>
                    </a:lnTo>
                    <a:lnTo>
                      <a:pt x="951" y="710"/>
                    </a:lnTo>
                    <a:lnTo>
                      <a:pt x="951" y="710"/>
                    </a:lnTo>
                    <a:lnTo>
                      <a:pt x="951" y="717"/>
                    </a:lnTo>
                    <a:lnTo>
                      <a:pt x="951" y="724"/>
                    </a:lnTo>
                    <a:lnTo>
                      <a:pt x="951" y="731"/>
                    </a:lnTo>
                    <a:lnTo>
                      <a:pt x="951" y="738"/>
                    </a:lnTo>
                    <a:lnTo>
                      <a:pt x="944" y="738"/>
                    </a:lnTo>
                    <a:lnTo>
                      <a:pt x="944" y="738"/>
                    </a:lnTo>
                    <a:lnTo>
                      <a:pt x="937" y="738"/>
                    </a:lnTo>
                    <a:lnTo>
                      <a:pt x="937" y="745"/>
                    </a:lnTo>
                    <a:lnTo>
                      <a:pt x="937" y="760"/>
                    </a:lnTo>
                    <a:lnTo>
                      <a:pt x="937" y="760"/>
                    </a:lnTo>
                    <a:lnTo>
                      <a:pt x="937" y="767"/>
                    </a:lnTo>
                    <a:lnTo>
                      <a:pt x="937" y="781"/>
                    </a:lnTo>
                    <a:lnTo>
                      <a:pt x="937" y="781"/>
                    </a:lnTo>
                    <a:lnTo>
                      <a:pt x="937" y="78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69" name="Freeform 67"/>
              <p:cNvSpPr>
                <a:spLocks noEditPoints="1"/>
              </p:cNvSpPr>
              <p:nvPr/>
            </p:nvSpPr>
            <p:spPr bwMode="auto">
              <a:xfrm>
                <a:off x="2896" y="2849"/>
                <a:ext cx="1015" cy="901"/>
              </a:xfrm>
              <a:custGeom>
                <a:avLst/>
                <a:gdLst>
                  <a:gd name="T0" fmla="*/ 674 w 1015"/>
                  <a:gd name="T1" fmla="*/ 731 h 901"/>
                  <a:gd name="T2" fmla="*/ 667 w 1015"/>
                  <a:gd name="T3" fmla="*/ 731 h 901"/>
                  <a:gd name="T4" fmla="*/ 667 w 1015"/>
                  <a:gd name="T5" fmla="*/ 731 h 901"/>
                  <a:gd name="T6" fmla="*/ 667 w 1015"/>
                  <a:gd name="T7" fmla="*/ 724 h 901"/>
                  <a:gd name="T8" fmla="*/ 660 w 1015"/>
                  <a:gd name="T9" fmla="*/ 724 h 901"/>
                  <a:gd name="T10" fmla="*/ 660 w 1015"/>
                  <a:gd name="T11" fmla="*/ 724 h 901"/>
                  <a:gd name="T12" fmla="*/ 653 w 1015"/>
                  <a:gd name="T13" fmla="*/ 724 h 901"/>
                  <a:gd name="T14" fmla="*/ 660 w 1015"/>
                  <a:gd name="T15" fmla="*/ 731 h 901"/>
                  <a:gd name="T16" fmla="*/ 660 w 1015"/>
                  <a:gd name="T17" fmla="*/ 731 h 901"/>
                  <a:gd name="T18" fmla="*/ 660 w 1015"/>
                  <a:gd name="T19" fmla="*/ 731 h 901"/>
                  <a:gd name="T20" fmla="*/ 660 w 1015"/>
                  <a:gd name="T21" fmla="*/ 738 h 901"/>
                  <a:gd name="T22" fmla="*/ 660 w 1015"/>
                  <a:gd name="T23" fmla="*/ 745 h 901"/>
                  <a:gd name="T24" fmla="*/ 667 w 1015"/>
                  <a:gd name="T25" fmla="*/ 745 h 901"/>
                  <a:gd name="T26" fmla="*/ 667 w 1015"/>
                  <a:gd name="T27" fmla="*/ 745 h 901"/>
                  <a:gd name="T28" fmla="*/ 674 w 1015"/>
                  <a:gd name="T29" fmla="*/ 745 h 901"/>
                  <a:gd name="T30" fmla="*/ 681 w 1015"/>
                  <a:gd name="T31" fmla="*/ 724 h 901"/>
                  <a:gd name="T32" fmla="*/ 14 w 1015"/>
                  <a:gd name="T33" fmla="*/ 709 h 901"/>
                  <a:gd name="T34" fmla="*/ 21 w 1015"/>
                  <a:gd name="T35" fmla="*/ 709 h 901"/>
                  <a:gd name="T36" fmla="*/ 28 w 1015"/>
                  <a:gd name="T37" fmla="*/ 709 h 901"/>
                  <a:gd name="T38" fmla="*/ 21 w 1015"/>
                  <a:gd name="T39" fmla="*/ 702 h 901"/>
                  <a:gd name="T40" fmla="*/ 14 w 1015"/>
                  <a:gd name="T41" fmla="*/ 709 h 901"/>
                  <a:gd name="T42" fmla="*/ 7 w 1015"/>
                  <a:gd name="T43" fmla="*/ 709 h 901"/>
                  <a:gd name="T44" fmla="*/ 0 w 1015"/>
                  <a:gd name="T45" fmla="*/ 724 h 901"/>
                  <a:gd name="T46" fmla="*/ 7 w 1015"/>
                  <a:gd name="T47" fmla="*/ 724 h 901"/>
                  <a:gd name="T48" fmla="*/ 14 w 1015"/>
                  <a:gd name="T49" fmla="*/ 717 h 901"/>
                  <a:gd name="T50" fmla="*/ 674 w 1015"/>
                  <a:gd name="T51" fmla="*/ 873 h 901"/>
                  <a:gd name="T52" fmla="*/ 674 w 1015"/>
                  <a:gd name="T53" fmla="*/ 873 h 901"/>
                  <a:gd name="T54" fmla="*/ 667 w 1015"/>
                  <a:gd name="T55" fmla="*/ 873 h 901"/>
                  <a:gd name="T56" fmla="*/ 667 w 1015"/>
                  <a:gd name="T57" fmla="*/ 880 h 901"/>
                  <a:gd name="T58" fmla="*/ 667 w 1015"/>
                  <a:gd name="T59" fmla="*/ 880 h 901"/>
                  <a:gd name="T60" fmla="*/ 667 w 1015"/>
                  <a:gd name="T61" fmla="*/ 880 h 901"/>
                  <a:gd name="T62" fmla="*/ 667 w 1015"/>
                  <a:gd name="T63" fmla="*/ 887 h 901"/>
                  <a:gd name="T64" fmla="*/ 667 w 1015"/>
                  <a:gd name="T65" fmla="*/ 887 h 901"/>
                  <a:gd name="T66" fmla="*/ 674 w 1015"/>
                  <a:gd name="T67" fmla="*/ 887 h 901"/>
                  <a:gd name="T68" fmla="*/ 674 w 1015"/>
                  <a:gd name="T69" fmla="*/ 887 h 901"/>
                  <a:gd name="T70" fmla="*/ 674 w 1015"/>
                  <a:gd name="T71" fmla="*/ 894 h 901"/>
                  <a:gd name="T72" fmla="*/ 674 w 1015"/>
                  <a:gd name="T73" fmla="*/ 894 h 901"/>
                  <a:gd name="T74" fmla="*/ 681 w 1015"/>
                  <a:gd name="T75" fmla="*/ 901 h 901"/>
                  <a:gd name="T76" fmla="*/ 681 w 1015"/>
                  <a:gd name="T77" fmla="*/ 880 h 901"/>
                  <a:gd name="T78" fmla="*/ 1008 w 1015"/>
                  <a:gd name="T79" fmla="*/ 7 h 901"/>
                  <a:gd name="T80" fmla="*/ 1008 w 1015"/>
                  <a:gd name="T81" fmla="*/ 0 h 901"/>
                  <a:gd name="T82" fmla="*/ 1001 w 1015"/>
                  <a:gd name="T83" fmla="*/ 7 h 901"/>
                  <a:gd name="T84" fmla="*/ 1001 w 1015"/>
                  <a:gd name="T85" fmla="*/ 7 h 901"/>
                  <a:gd name="T86" fmla="*/ 1015 w 1015"/>
                  <a:gd name="T87" fmla="*/ 7 h 901"/>
                  <a:gd name="T88" fmla="*/ 1015 w 1015"/>
                  <a:gd name="T89" fmla="*/ 7 h 901"/>
                  <a:gd name="T90" fmla="*/ 1015 w 1015"/>
                  <a:gd name="T91" fmla="*/ 7 h 901"/>
                  <a:gd name="T92" fmla="*/ 1015 w 1015"/>
                  <a:gd name="T93" fmla="*/ 0 h 901"/>
                  <a:gd name="T94" fmla="*/ 1008 w 1015"/>
                  <a:gd name="T95" fmla="*/ 7 h 9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15" h="901">
                    <a:moveTo>
                      <a:pt x="681" y="731"/>
                    </a:moveTo>
                    <a:lnTo>
                      <a:pt x="681" y="731"/>
                    </a:lnTo>
                    <a:lnTo>
                      <a:pt x="674" y="731"/>
                    </a:lnTo>
                    <a:lnTo>
                      <a:pt x="674" y="731"/>
                    </a:lnTo>
                    <a:lnTo>
                      <a:pt x="674" y="731"/>
                    </a:lnTo>
                    <a:lnTo>
                      <a:pt x="674" y="731"/>
                    </a:lnTo>
                    <a:lnTo>
                      <a:pt x="667" y="731"/>
                    </a:lnTo>
                    <a:lnTo>
                      <a:pt x="667" y="731"/>
                    </a:lnTo>
                    <a:lnTo>
                      <a:pt x="667" y="731"/>
                    </a:lnTo>
                    <a:lnTo>
                      <a:pt x="667" y="731"/>
                    </a:lnTo>
                    <a:lnTo>
                      <a:pt x="667" y="731"/>
                    </a:lnTo>
                    <a:lnTo>
                      <a:pt x="667" y="731"/>
                    </a:lnTo>
                    <a:lnTo>
                      <a:pt x="667" y="724"/>
                    </a:lnTo>
                    <a:lnTo>
                      <a:pt x="667" y="724"/>
                    </a:lnTo>
                    <a:lnTo>
                      <a:pt x="667" y="724"/>
                    </a:lnTo>
                    <a:lnTo>
                      <a:pt x="667" y="724"/>
                    </a:lnTo>
                    <a:lnTo>
                      <a:pt x="667" y="724"/>
                    </a:lnTo>
                    <a:lnTo>
                      <a:pt x="667" y="724"/>
                    </a:lnTo>
                    <a:lnTo>
                      <a:pt x="667" y="724"/>
                    </a:lnTo>
                    <a:lnTo>
                      <a:pt x="660" y="724"/>
                    </a:lnTo>
                    <a:lnTo>
                      <a:pt x="660" y="724"/>
                    </a:lnTo>
                    <a:lnTo>
                      <a:pt x="660" y="724"/>
                    </a:lnTo>
                    <a:lnTo>
                      <a:pt x="660" y="724"/>
                    </a:lnTo>
                    <a:lnTo>
                      <a:pt x="660" y="724"/>
                    </a:lnTo>
                    <a:lnTo>
                      <a:pt x="660" y="724"/>
                    </a:lnTo>
                    <a:lnTo>
                      <a:pt x="660" y="724"/>
                    </a:lnTo>
                    <a:lnTo>
                      <a:pt x="660" y="724"/>
                    </a:lnTo>
                    <a:lnTo>
                      <a:pt x="653" y="724"/>
                    </a:lnTo>
                    <a:lnTo>
                      <a:pt x="653" y="724"/>
                    </a:lnTo>
                    <a:lnTo>
                      <a:pt x="653" y="724"/>
                    </a:lnTo>
                    <a:lnTo>
                      <a:pt x="653" y="724"/>
                    </a:lnTo>
                    <a:lnTo>
                      <a:pt x="660" y="731"/>
                    </a:lnTo>
                    <a:lnTo>
                      <a:pt x="660" y="731"/>
                    </a:lnTo>
                    <a:lnTo>
                      <a:pt x="660" y="731"/>
                    </a:lnTo>
                    <a:lnTo>
                      <a:pt x="660" y="731"/>
                    </a:lnTo>
                    <a:lnTo>
                      <a:pt x="660" y="731"/>
                    </a:lnTo>
                    <a:lnTo>
                      <a:pt x="660" y="731"/>
                    </a:lnTo>
                    <a:lnTo>
                      <a:pt x="660" y="731"/>
                    </a:lnTo>
                    <a:lnTo>
                      <a:pt x="660" y="731"/>
                    </a:lnTo>
                    <a:lnTo>
                      <a:pt x="660" y="731"/>
                    </a:lnTo>
                    <a:lnTo>
                      <a:pt x="660" y="738"/>
                    </a:lnTo>
                    <a:lnTo>
                      <a:pt x="660" y="738"/>
                    </a:lnTo>
                    <a:lnTo>
                      <a:pt x="660" y="738"/>
                    </a:lnTo>
                    <a:lnTo>
                      <a:pt x="660" y="738"/>
                    </a:lnTo>
                    <a:lnTo>
                      <a:pt x="660" y="738"/>
                    </a:lnTo>
                    <a:lnTo>
                      <a:pt x="660" y="738"/>
                    </a:lnTo>
                    <a:lnTo>
                      <a:pt x="660" y="745"/>
                    </a:lnTo>
                    <a:lnTo>
                      <a:pt x="660" y="745"/>
                    </a:lnTo>
                    <a:lnTo>
                      <a:pt x="660" y="745"/>
                    </a:lnTo>
                    <a:lnTo>
                      <a:pt x="660" y="745"/>
                    </a:lnTo>
                    <a:lnTo>
                      <a:pt x="667" y="745"/>
                    </a:lnTo>
                    <a:lnTo>
                      <a:pt x="667" y="745"/>
                    </a:lnTo>
                    <a:lnTo>
                      <a:pt x="667" y="745"/>
                    </a:lnTo>
                    <a:lnTo>
                      <a:pt x="667" y="745"/>
                    </a:lnTo>
                    <a:lnTo>
                      <a:pt x="667" y="745"/>
                    </a:lnTo>
                    <a:lnTo>
                      <a:pt x="667" y="745"/>
                    </a:lnTo>
                    <a:lnTo>
                      <a:pt x="667" y="745"/>
                    </a:lnTo>
                    <a:lnTo>
                      <a:pt x="674" y="745"/>
                    </a:lnTo>
                    <a:lnTo>
                      <a:pt x="674" y="745"/>
                    </a:lnTo>
                    <a:lnTo>
                      <a:pt x="674" y="745"/>
                    </a:lnTo>
                    <a:lnTo>
                      <a:pt x="674" y="738"/>
                    </a:lnTo>
                    <a:lnTo>
                      <a:pt x="681" y="731"/>
                    </a:lnTo>
                    <a:lnTo>
                      <a:pt x="681" y="724"/>
                    </a:lnTo>
                    <a:lnTo>
                      <a:pt x="681" y="724"/>
                    </a:lnTo>
                    <a:lnTo>
                      <a:pt x="681" y="731"/>
                    </a:lnTo>
                    <a:close/>
                    <a:moveTo>
                      <a:pt x="14" y="717"/>
                    </a:moveTo>
                    <a:lnTo>
                      <a:pt x="14" y="717"/>
                    </a:lnTo>
                    <a:lnTo>
                      <a:pt x="14" y="709"/>
                    </a:lnTo>
                    <a:lnTo>
                      <a:pt x="14" y="709"/>
                    </a:lnTo>
                    <a:lnTo>
                      <a:pt x="14" y="709"/>
                    </a:lnTo>
                    <a:lnTo>
                      <a:pt x="21" y="709"/>
                    </a:lnTo>
                    <a:lnTo>
                      <a:pt x="21" y="709"/>
                    </a:lnTo>
                    <a:lnTo>
                      <a:pt x="21" y="709"/>
                    </a:lnTo>
                    <a:lnTo>
                      <a:pt x="21" y="709"/>
                    </a:lnTo>
                    <a:lnTo>
                      <a:pt x="21" y="709"/>
                    </a:lnTo>
                    <a:lnTo>
                      <a:pt x="28" y="709"/>
                    </a:lnTo>
                    <a:lnTo>
                      <a:pt x="28" y="702"/>
                    </a:lnTo>
                    <a:lnTo>
                      <a:pt x="21" y="702"/>
                    </a:lnTo>
                    <a:lnTo>
                      <a:pt x="21" y="702"/>
                    </a:lnTo>
                    <a:lnTo>
                      <a:pt x="21" y="702"/>
                    </a:lnTo>
                    <a:lnTo>
                      <a:pt x="21" y="702"/>
                    </a:lnTo>
                    <a:lnTo>
                      <a:pt x="14" y="702"/>
                    </a:lnTo>
                    <a:lnTo>
                      <a:pt x="14" y="702"/>
                    </a:lnTo>
                    <a:lnTo>
                      <a:pt x="14" y="709"/>
                    </a:lnTo>
                    <a:lnTo>
                      <a:pt x="14" y="709"/>
                    </a:lnTo>
                    <a:lnTo>
                      <a:pt x="7" y="709"/>
                    </a:lnTo>
                    <a:lnTo>
                      <a:pt x="7" y="709"/>
                    </a:lnTo>
                    <a:lnTo>
                      <a:pt x="7" y="709"/>
                    </a:lnTo>
                    <a:lnTo>
                      <a:pt x="7" y="709"/>
                    </a:lnTo>
                    <a:lnTo>
                      <a:pt x="0" y="709"/>
                    </a:lnTo>
                    <a:lnTo>
                      <a:pt x="0" y="717"/>
                    </a:lnTo>
                    <a:lnTo>
                      <a:pt x="0" y="724"/>
                    </a:lnTo>
                    <a:lnTo>
                      <a:pt x="0" y="724"/>
                    </a:lnTo>
                    <a:lnTo>
                      <a:pt x="0" y="724"/>
                    </a:lnTo>
                    <a:lnTo>
                      <a:pt x="7" y="724"/>
                    </a:lnTo>
                    <a:lnTo>
                      <a:pt x="7" y="724"/>
                    </a:lnTo>
                    <a:lnTo>
                      <a:pt x="7" y="731"/>
                    </a:lnTo>
                    <a:lnTo>
                      <a:pt x="7" y="724"/>
                    </a:lnTo>
                    <a:lnTo>
                      <a:pt x="7" y="724"/>
                    </a:lnTo>
                    <a:lnTo>
                      <a:pt x="14" y="717"/>
                    </a:lnTo>
                    <a:lnTo>
                      <a:pt x="14" y="717"/>
                    </a:lnTo>
                    <a:lnTo>
                      <a:pt x="14" y="717"/>
                    </a:lnTo>
                    <a:lnTo>
                      <a:pt x="14" y="717"/>
                    </a:lnTo>
                    <a:close/>
                    <a:moveTo>
                      <a:pt x="674" y="873"/>
                    </a:moveTo>
                    <a:lnTo>
                      <a:pt x="674" y="873"/>
                    </a:lnTo>
                    <a:lnTo>
                      <a:pt x="674" y="873"/>
                    </a:lnTo>
                    <a:lnTo>
                      <a:pt x="674" y="873"/>
                    </a:lnTo>
                    <a:lnTo>
                      <a:pt x="674" y="873"/>
                    </a:lnTo>
                    <a:lnTo>
                      <a:pt x="667" y="873"/>
                    </a:lnTo>
                    <a:lnTo>
                      <a:pt x="667" y="873"/>
                    </a:lnTo>
                    <a:lnTo>
                      <a:pt x="667" y="873"/>
                    </a:lnTo>
                    <a:lnTo>
                      <a:pt x="667" y="873"/>
                    </a:lnTo>
                    <a:lnTo>
                      <a:pt x="667" y="873"/>
                    </a:lnTo>
                    <a:lnTo>
                      <a:pt x="667" y="873"/>
                    </a:lnTo>
                    <a:lnTo>
                      <a:pt x="667" y="880"/>
                    </a:lnTo>
                    <a:lnTo>
                      <a:pt x="667" y="880"/>
                    </a:lnTo>
                    <a:lnTo>
                      <a:pt x="667" y="880"/>
                    </a:lnTo>
                    <a:lnTo>
                      <a:pt x="667" y="880"/>
                    </a:lnTo>
                    <a:lnTo>
                      <a:pt x="667" y="880"/>
                    </a:lnTo>
                    <a:lnTo>
                      <a:pt x="667" y="880"/>
                    </a:lnTo>
                    <a:lnTo>
                      <a:pt x="660" y="880"/>
                    </a:lnTo>
                    <a:lnTo>
                      <a:pt x="660" y="880"/>
                    </a:lnTo>
                    <a:lnTo>
                      <a:pt x="660" y="880"/>
                    </a:lnTo>
                    <a:lnTo>
                      <a:pt x="667" y="880"/>
                    </a:lnTo>
                    <a:lnTo>
                      <a:pt x="667" y="880"/>
                    </a:lnTo>
                    <a:lnTo>
                      <a:pt x="660" y="880"/>
                    </a:lnTo>
                    <a:lnTo>
                      <a:pt x="660" y="887"/>
                    </a:lnTo>
                    <a:lnTo>
                      <a:pt x="667" y="887"/>
                    </a:lnTo>
                    <a:lnTo>
                      <a:pt x="667" y="887"/>
                    </a:lnTo>
                    <a:lnTo>
                      <a:pt x="667" y="887"/>
                    </a:lnTo>
                    <a:lnTo>
                      <a:pt x="667" y="887"/>
                    </a:lnTo>
                    <a:lnTo>
                      <a:pt x="667" y="887"/>
                    </a:lnTo>
                    <a:lnTo>
                      <a:pt x="667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94"/>
                    </a:lnTo>
                    <a:lnTo>
                      <a:pt x="674" y="894"/>
                    </a:lnTo>
                    <a:lnTo>
                      <a:pt x="674" y="894"/>
                    </a:lnTo>
                    <a:lnTo>
                      <a:pt x="674" y="894"/>
                    </a:lnTo>
                    <a:lnTo>
                      <a:pt x="674" y="894"/>
                    </a:lnTo>
                    <a:lnTo>
                      <a:pt x="674" y="894"/>
                    </a:lnTo>
                    <a:lnTo>
                      <a:pt x="681" y="894"/>
                    </a:lnTo>
                    <a:lnTo>
                      <a:pt x="681" y="894"/>
                    </a:lnTo>
                    <a:lnTo>
                      <a:pt x="681" y="901"/>
                    </a:lnTo>
                    <a:lnTo>
                      <a:pt x="681" y="901"/>
                    </a:lnTo>
                    <a:lnTo>
                      <a:pt x="681" y="901"/>
                    </a:lnTo>
                    <a:lnTo>
                      <a:pt x="681" y="887"/>
                    </a:lnTo>
                    <a:lnTo>
                      <a:pt x="681" y="880"/>
                    </a:lnTo>
                    <a:lnTo>
                      <a:pt x="681" y="873"/>
                    </a:lnTo>
                    <a:lnTo>
                      <a:pt x="681" y="873"/>
                    </a:lnTo>
                    <a:lnTo>
                      <a:pt x="674" y="873"/>
                    </a:lnTo>
                    <a:close/>
                    <a:moveTo>
                      <a:pt x="1008" y="7"/>
                    </a:moveTo>
                    <a:lnTo>
                      <a:pt x="1008" y="7"/>
                    </a:lnTo>
                    <a:lnTo>
                      <a:pt x="1008" y="7"/>
                    </a:lnTo>
                    <a:lnTo>
                      <a:pt x="1008" y="0"/>
                    </a:lnTo>
                    <a:lnTo>
                      <a:pt x="1008" y="0"/>
                    </a:lnTo>
                    <a:lnTo>
                      <a:pt x="1001" y="0"/>
                    </a:lnTo>
                    <a:lnTo>
                      <a:pt x="1001" y="7"/>
                    </a:lnTo>
                    <a:lnTo>
                      <a:pt x="1001" y="7"/>
                    </a:lnTo>
                    <a:lnTo>
                      <a:pt x="1001" y="7"/>
                    </a:lnTo>
                    <a:lnTo>
                      <a:pt x="1001" y="7"/>
                    </a:lnTo>
                    <a:lnTo>
                      <a:pt x="1001" y="7"/>
                    </a:lnTo>
                    <a:lnTo>
                      <a:pt x="1001" y="7"/>
                    </a:lnTo>
                    <a:lnTo>
                      <a:pt x="1001" y="7"/>
                    </a:lnTo>
                    <a:lnTo>
                      <a:pt x="1008" y="7"/>
                    </a:lnTo>
                    <a:lnTo>
                      <a:pt x="1008" y="7"/>
                    </a:lnTo>
                    <a:lnTo>
                      <a:pt x="1015" y="14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0"/>
                    </a:lnTo>
                    <a:lnTo>
                      <a:pt x="1015" y="0"/>
                    </a:lnTo>
                    <a:lnTo>
                      <a:pt x="1015" y="0"/>
                    </a:lnTo>
                    <a:lnTo>
                      <a:pt x="1015" y="0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08" y="7"/>
                    </a:lnTo>
                    <a:lnTo>
                      <a:pt x="1008" y="7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0" name="Freeform 68"/>
              <p:cNvSpPr>
                <a:spLocks noEditPoints="1"/>
              </p:cNvSpPr>
              <p:nvPr/>
            </p:nvSpPr>
            <p:spPr bwMode="auto">
              <a:xfrm>
                <a:off x="2896" y="2849"/>
                <a:ext cx="1015" cy="901"/>
              </a:xfrm>
              <a:custGeom>
                <a:avLst/>
                <a:gdLst>
                  <a:gd name="T0" fmla="*/ 674 w 1015"/>
                  <a:gd name="T1" fmla="*/ 731 h 901"/>
                  <a:gd name="T2" fmla="*/ 667 w 1015"/>
                  <a:gd name="T3" fmla="*/ 731 h 901"/>
                  <a:gd name="T4" fmla="*/ 667 w 1015"/>
                  <a:gd name="T5" fmla="*/ 731 h 901"/>
                  <a:gd name="T6" fmla="*/ 667 w 1015"/>
                  <a:gd name="T7" fmla="*/ 724 h 901"/>
                  <a:gd name="T8" fmla="*/ 660 w 1015"/>
                  <a:gd name="T9" fmla="*/ 724 h 901"/>
                  <a:gd name="T10" fmla="*/ 660 w 1015"/>
                  <a:gd name="T11" fmla="*/ 724 h 901"/>
                  <a:gd name="T12" fmla="*/ 653 w 1015"/>
                  <a:gd name="T13" fmla="*/ 724 h 901"/>
                  <a:gd name="T14" fmla="*/ 660 w 1015"/>
                  <a:gd name="T15" fmla="*/ 731 h 901"/>
                  <a:gd name="T16" fmla="*/ 660 w 1015"/>
                  <a:gd name="T17" fmla="*/ 731 h 901"/>
                  <a:gd name="T18" fmla="*/ 660 w 1015"/>
                  <a:gd name="T19" fmla="*/ 731 h 901"/>
                  <a:gd name="T20" fmla="*/ 660 w 1015"/>
                  <a:gd name="T21" fmla="*/ 738 h 901"/>
                  <a:gd name="T22" fmla="*/ 660 w 1015"/>
                  <a:gd name="T23" fmla="*/ 745 h 901"/>
                  <a:gd name="T24" fmla="*/ 667 w 1015"/>
                  <a:gd name="T25" fmla="*/ 745 h 901"/>
                  <a:gd name="T26" fmla="*/ 667 w 1015"/>
                  <a:gd name="T27" fmla="*/ 745 h 901"/>
                  <a:gd name="T28" fmla="*/ 674 w 1015"/>
                  <a:gd name="T29" fmla="*/ 745 h 901"/>
                  <a:gd name="T30" fmla="*/ 681 w 1015"/>
                  <a:gd name="T31" fmla="*/ 724 h 901"/>
                  <a:gd name="T32" fmla="*/ 14 w 1015"/>
                  <a:gd name="T33" fmla="*/ 709 h 901"/>
                  <a:gd name="T34" fmla="*/ 21 w 1015"/>
                  <a:gd name="T35" fmla="*/ 709 h 901"/>
                  <a:gd name="T36" fmla="*/ 28 w 1015"/>
                  <a:gd name="T37" fmla="*/ 709 h 901"/>
                  <a:gd name="T38" fmla="*/ 21 w 1015"/>
                  <a:gd name="T39" fmla="*/ 702 h 901"/>
                  <a:gd name="T40" fmla="*/ 14 w 1015"/>
                  <a:gd name="T41" fmla="*/ 709 h 901"/>
                  <a:gd name="T42" fmla="*/ 7 w 1015"/>
                  <a:gd name="T43" fmla="*/ 709 h 901"/>
                  <a:gd name="T44" fmla="*/ 0 w 1015"/>
                  <a:gd name="T45" fmla="*/ 724 h 901"/>
                  <a:gd name="T46" fmla="*/ 7 w 1015"/>
                  <a:gd name="T47" fmla="*/ 724 h 901"/>
                  <a:gd name="T48" fmla="*/ 14 w 1015"/>
                  <a:gd name="T49" fmla="*/ 717 h 901"/>
                  <a:gd name="T50" fmla="*/ 674 w 1015"/>
                  <a:gd name="T51" fmla="*/ 873 h 901"/>
                  <a:gd name="T52" fmla="*/ 674 w 1015"/>
                  <a:gd name="T53" fmla="*/ 873 h 901"/>
                  <a:gd name="T54" fmla="*/ 667 w 1015"/>
                  <a:gd name="T55" fmla="*/ 873 h 901"/>
                  <a:gd name="T56" fmla="*/ 667 w 1015"/>
                  <a:gd name="T57" fmla="*/ 880 h 901"/>
                  <a:gd name="T58" fmla="*/ 667 w 1015"/>
                  <a:gd name="T59" fmla="*/ 880 h 901"/>
                  <a:gd name="T60" fmla="*/ 667 w 1015"/>
                  <a:gd name="T61" fmla="*/ 880 h 901"/>
                  <a:gd name="T62" fmla="*/ 667 w 1015"/>
                  <a:gd name="T63" fmla="*/ 887 h 901"/>
                  <a:gd name="T64" fmla="*/ 667 w 1015"/>
                  <a:gd name="T65" fmla="*/ 887 h 901"/>
                  <a:gd name="T66" fmla="*/ 674 w 1015"/>
                  <a:gd name="T67" fmla="*/ 887 h 901"/>
                  <a:gd name="T68" fmla="*/ 674 w 1015"/>
                  <a:gd name="T69" fmla="*/ 887 h 901"/>
                  <a:gd name="T70" fmla="*/ 674 w 1015"/>
                  <a:gd name="T71" fmla="*/ 894 h 901"/>
                  <a:gd name="T72" fmla="*/ 674 w 1015"/>
                  <a:gd name="T73" fmla="*/ 894 h 901"/>
                  <a:gd name="T74" fmla="*/ 681 w 1015"/>
                  <a:gd name="T75" fmla="*/ 901 h 901"/>
                  <a:gd name="T76" fmla="*/ 681 w 1015"/>
                  <a:gd name="T77" fmla="*/ 880 h 901"/>
                  <a:gd name="T78" fmla="*/ 1008 w 1015"/>
                  <a:gd name="T79" fmla="*/ 7 h 901"/>
                  <a:gd name="T80" fmla="*/ 1008 w 1015"/>
                  <a:gd name="T81" fmla="*/ 0 h 901"/>
                  <a:gd name="T82" fmla="*/ 1001 w 1015"/>
                  <a:gd name="T83" fmla="*/ 7 h 901"/>
                  <a:gd name="T84" fmla="*/ 1001 w 1015"/>
                  <a:gd name="T85" fmla="*/ 7 h 901"/>
                  <a:gd name="T86" fmla="*/ 1015 w 1015"/>
                  <a:gd name="T87" fmla="*/ 7 h 901"/>
                  <a:gd name="T88" fmla="*/ 1015 w 1015"/>
                  <a:gd name="T89" fmla="*/ 7 h 901"/>
                  <a:gd name="T90" fmla="*/ 1015 w 1015"/>
                  <a:gd name="T91" fmla="*/ 7 h 901"/>
                  <a:gd name="T92" fmla="*/ 1015 w 1015"/>
                  <a:gd name="T93" fmla="*/ 0 h 901"/>
                  <a:gd name="T94" fmla="*/ 1008 w 1015"/>
                  <a:gd name="T95" fmla="*/ 7 h 9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15" h="901">
                    <a:moveTo>
                      <a:pt x="681" y="731"/>
                    </a:moveTo>
                    <a:lnTo>
                      <a:pt x="681" y="731"/>
                    </a:lnTo>
                    <a:lnTo>
                      <a:pt x="674" y="731"/>
                    </a:lnTo>
                    <a:lnTo>
                      <a:pt x="674" y="731"/>
                    </a:lnTo>
                    <a:lnTo>
                      <a:pt x="674" y="731"/>
                    </a:lnTo>
                    <a:lnTo>
                      <a:pt x="674" y="731"/>
                    </a:lnTo>
                    <a:lnTo>
                      <a:pt x="667" y="731"/>
                    </a:lnTo>
                    <a:lnTo>
                      <a:pt x="667" y="731"/>
                    </a:lnTo>
                    <a:lnTo>
                      <a:pt x="667" y="731"/>
                    </a:lnTo>
                    <a:lnTo>
                      <a:pt x="667" y="731"/>
                    </a:lnTo>
                    <a:lnTo>
                      <a:pt x="667" y="731"/>
                    </a:lnTo>
                    <a:lnTo>
                      <a:pt x="667" y="731"/>
                    </a:lnTo>
                    <a:lnTo>
                      <a:pt x="667" y="724"/>
                    </a:lnTo>
                    <a:lnTo>
                      <a:pt x="667" y="724"/>
                    </a:lnTo>
                    <a:lnTo>
                      <a:pt x="667" y="724"/>
                    </a:lnTo>
                    <a:lnTo>
                      <a:pt x="667" y="724"/>
                    </a:lnTo>
                    <a:lnTo>
                      <a:pt x="667" y="724"/>
                    </a:lnTo>
                    <a:lnTo>
                      <a:pt x="667" y="724"/>
                    </a:lnTo>
                    <a:lnTo>
                      <a:pt x="667" y="724"/>
                    </a:lnTo>
                    <a:lnTo>
                      <a:pt x="660" y="724"/>
                    </a:lnTo>
                    <a:lnTo>
                      <a:pt x="660" y="724"/>
                    </a:lnTo>
                    <a:lnTo>
                      <a:pt x="660" y="724"/>
                    </a:lnTo>
                    <a:lnTo>
                      <a:pt x="660" y="724"/>
                    </a:lnTo>
                    <a:lnTo>
                      <a:pt x="660" y="724"/>
                    </a:lnTo>
                    <a:lnTo>
                      <a:pt x="660" y="724"/>
                    </a:lnTo>
                    <a:lnTo>
                      <a:pt x="660" y="724"/>
                    </a:lnTo>
                    <a:lnTo>
                      <a:pt x="660" y="724"/>
                    </a:lnTo>
                    <a:lnTo>
                      <a:pt x="653" y="724"/>
                    </a:lnTo>
                    <a:lnTo>
                      <a:pt x="653" y="724"/>
                    </a:lnTo>
                    <a:lnTo>
                      <a:pt x="653" y="724"/>
                    </a:lnTo>
                    <a:lnTo>
                      <a:pt x="653" y="724"/>
                    </a:lnTo>
                    <a:lnTo>
                      <a:pt x="660" y="731"/>
                    </a:lnTo>
                    <a:lnTo>
                      <a:pt x="660" y="731"/>
                    </a:lnTo>
                    <a:lnTo>
                      <a:pt x="660" y="731"/>
                    </a:lnTo>
                    <a:lnTo>
                      <a:pt x="660" y="731"/>
                    </a:lnTo>
                    <a:lnTo>
                      <a:pt x="660" y="731"/>
                    </a:lnTo>
                    <a:lnTo>
                      <a:pt x="660" y="731"/>
                    </a:lnTo>
                    <a:lnTo>
                      <a:pt x="660" y="731"/>
                    </a:lnTo>
                    <a:lnTo>
                      <a:pt x="660" y="731"/>
                    </a:lnTo>
                    <a:lnTo>
                      <a:pt x="660" y="731"/>
                    </a:lnTo>
                    <a:lnTo>
                      <a:pt x="660" y="738"/>
                    </a:lnTo>
                    <a:lnTo>
                      <a:pt x="660" y="738"/>
                    </a:lnTo>
                    <a:lnTo>
                      <a:pt x="660" y="738"/>
                    </a:lnTo>
                    <a:lnTo>
                      <a:pt x="660" y="738"/>
                    </a:lnTo>
                    <a:lnTo>
                      <a:pt x="660" y="738"/>
                    </a:lnTo>
                    <a:lnTo>
                      <a:pt x="660" y="738"/>
                    </a:lnTo>
                    <a:lnTo>
                      <a:pt x="660" y="745"/>
                    </a:lnTo>
                    <a:lnTo>
                      <a:pt x="660" y="745"/>
                    </a:lnTo>
                    <a:lnTo>
                      <a:pt x="660" y="745"/>
                    </a:lnTo>
                    <a:lnTo>
                      <a:pt x="660" y="745"/>
                    </a:lnTo>
                    <a:lnTo>
                      <a:pt x="667" y="745"/>
                    </a:lnTo>
                    <a:lnTo>
                      <a:pt x="667" y="745"/>
                    </a:lnTo>
                    <a:lnTo>
                      <a:pt x="667" y="745"/>
                    </a:lnTo>
                    <a:lnTo>
                      <a:pt x="667" y="745"/>
                    </a:lnTo>
                    <a:lnTo>
                      <a:pt x="667" y="745"/>
                    </a:lnTo>
                    <a:lnTo>
                      <a:pt x="667" y="745"/>
                    </a:lnTo>
                    <a:lnTo>
                      <a:pt x="667" y="745"/>
                    </a:lnTo>
                    <a:lnTo>
                      <a:pt x="674" y="745"/>
                    </a:lnTo>
                    <a:lnTo>
                      <a:pt x="674" y="745"/>
                    </a:lnTo>
                    <a:lnTo>
                      <a:pt x="674" y="745"/>
                    </a:lnTo>
                    <a:lnTo>
                      <a:pt x="674" y="738"/>
                    </a:lnTo>
                    <a:lnTo>
                      <a:pt x="681" y="731"/>
                    </a:lnTo>
                    <a:lnTo>
                      <a:pt x="681" y="724"/>
                    </a:lnTo>
                    <a:lnTo>
                      <a:pt x="681" y="724"/>
                    </a:lnTo>
                    <a:lnTo>
                      <a:pt x="681" y="731"/>
                    </a:lnTo>
                    <a:moveTo>
                      <a:pt x="14" y="717"/>
                    </a:moveTo>
                    <a:lnTo>
                      <a:pt x="14" y="717"/>
                    </a:lnTo>
                    <a:lnTo>
                      <a:pt x="14" y="709"/>
                    </a:lnTo>
                    <a:lnTo>
                      <a:pt x="14" y="709"/>
                    </a:lnTo>
                    <a:lnTo>
                      <a:pt x="14" y="709"/>
                    </a:lnTo>
                    <a:lnTo>
                      <a:pt x="21" y="709"/>
                    </a:lnTo>
                    <a:lnTo>
                      <a:pt x="21" y="709"/>
                    </a:lnTo>
                    <a:lnTo>
                      <a:pt x="21" y="709"/>
                    </a:lnTo>
                    <a:lnTo>
                      <a:pt x="21" y="709"/>
                    </a:lnTo>
                    <a:lnTo>
                      <a:pt x="21" y="709"/>
                    </a:lnTo>
                    <a:lnTo>
                      <a:pt x="28" y="709"/>
                    </a:lnTo>
                    <a:lnTo>
                      <a:pt x="28" y="702"/>
                    </a:lnTo>
                    <a:lnTo>
                      <a:pt x="21" y="702"/>
                    </a:lnTo>
                    <a:lnTo>
                      <a:pt x="21" y="702"/>
                    </a:lnTo>
                    <a:lnTo>
                      <a:pt x="21" y="702"/>
                    </a:lnTo>
                    <a:lnTo>
                      <a:pt x="21" y="702"/>
                    </a:lnTo>
                    <a:lnTo>
                      <a:pt x="14" y="702"/>
                    </a:lnTo>
                    <a:lnTo>
                      <a:pt x="14" y="702"/>
                    </a:lnTo>
                    <a:lnTo>
                      <a:pt x="14" y="709"/>
                    </a:lnTo>
                    <a:lnTo>
                      <a:pt x="14" y="709"/>
                    </a:lnTo>
                    <a:lnTo>
                      <a:pt x="7" y="709"/>
                    </a:lnTo>
                    <a:lnTo>
                      <a:pt x="7" y="709"/>
                    </a:lnTo>
                    <a:lnTo>
                      <a:pt x="7" y="709"/>
                    </a:lnTo>
                    <a:lnTo>
                      <a:pt x="7" y="709"/>
                    </a:lnTo>
                    <a:lnTo>
                      <a:pt x="0" y="709"/>
                    </a:lnTo>
                    <a:lnTo>
                      <a:pt x="0" y="717"/>
                    </a:lnTo>
                    <a:lnTo>
                      <a:pt x="0" y="724"/>
                    </a:lnTo>
                    <a:lnTo>
                      <a:pt x="0" y="724"/>
                    </a:lnTo>
                    <a:lnTo>
                      <a:pt x="0" y="724"/>
                    </a:lnTo>
                    <a:lnTo>
                      <a:pt x="7" y="724"/>
                    </a:lnTo>
                    <a:lnTo>
                      <a:pt x="7" y="724"/>
                    </a:lnTo>
                    <a:lnTo>
                      <a:pt x="7" y="731"/>
                    </a:lnTo>
                    <a:lnTo>
                      <a:pt x="7" y="724"/>
                    </a:lnTo>
                    <a:lnTo>
                      <a:pt x="7" y="724"/>
                    </a:lnTo>
                    <a:lnTo>
                      <a:pt x="14" y="717"/>
                    </a:lnTo>
                    <a:lnTo>
                      <a:pt x="14" y="717"/>
                    </a:lnTo>
                    <a:lnTo>
                      <a:pt x="14" y="717"/>
                    </a:lnTo>
                    <a:lnTo>
                      <a:pt x="14" y="717"/>
                    </a:lnTo>
                    <a:moveTo>
                      <a:pt x="674" y="873"/>
                    </a:moveTo>
                    <a:lnTo>
                      <a:pt x="674" y="873"/>
                    </a:lnTo>
                    <a:lnTo>
                      <a:pt x="674" y="873"/>
                    </a:lnTo>
                    <a:lnTo>
                      <a:pt x="674" y="873"/>
                    </a:lnTo>
                    <a:lnTo>
                      <a:pt x="674" y="873"/>
                    </a:lnTo>
                    <a:lnTo>
                      <a:pt x="667" y="873"/>
                    </a:lnTo>
                    <a:lnTo>
                      <a:pt x="667" y="873"/>
                    </a:lnTo>
                    <a:lnTo>
                      <a:pt x="667" y="873"/>
                    </a:lnTo>
                    <a:lnTo>
                      <a:pt x="667" y="873"/>
                    </a:lnTo>
                    <a:lnTo>
                      <a:pt x="667" y="873"/>
                    </a:lnTo>
                    <a:lnTo>
                      <a:pt x="667" y="873"/>
                    </a:lnTo>
                    <a:lnTo>
                      <a:pt x="667" y="880"/>
                    </a:lnTo>
                    <a:lnTo>
                      <a:pt x="667" y="880"/>
                    </a:lnTo>
                    <a:lnTo>
                      <a:pt x="667" y="880"/>
                    </a:lnTo>
                    <a:lnTo>
                      <a:pt x="667" y="880"/>
                    </a:lnTo>
                    <a:lnTo>
                      <a:pt x="667" y="880"/>
                    </a:lnTo>
                    <a:lnTo>
                      <a:pt x="667" y="880"/>
                    </a:lnTo>
                    <a:lnTo>
                      <a:pt x="660" y="880"/>
                    </a:lnTo>
                    <a:lnTo>
                      <a:pt x="660" y="880"/>
                    </a:lnTo>
                    <a:lnTo>
                      <a:pt x="660" y="880"/>
                    </a:lnTo>
                    <a:lnTo>
                      <a:pt x="667" y="880"/>
                    </a:lnTo>
                    <a:lnTo>
                      <a:pt x="667" y="880"/>
                    </a:lnTo>
                    <a:lnTo>
                      <a:pt x="660" y="880"/>
                    </a:lnTo>
                    <a:lnTo>
                      <a:pt x="660" y="887"/>
                    </a:lnTo>
                    <a:lnTo>
                      <a:pt x="667" y="887"/>
                    </a:lnTo>
                    <a:lnTo>
                      <a:pt x="667" y="887"/>
                    </a:lnTo>
                    <a:lnTo>
                      <a:pt x="667" y="887"/>
                    </a:lnTo>
                    <a:lnTo>
                      <a:pt x="667" y="887"/>
                    </a:lnTo>
                    <a:lnTo>
                      <a:pt x="667" y="887"/>
                    </a:lnTo>
                    <a:lnTo>
                      <a:pt x="667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87"/>
                    </a:lnTo>
                    <a:lnTo>
                      <a:pt x="674" y="894"/>
                    </a:lnTo>
                    <a:lnTo>
                      <a:pt x="674" y="894"/>
                    </a:lnTo>
                    <a:lnTo>
                      <a:pt x="674" y="894"/>
                    </a:lnTo>
                    <a:lnTo>
                      <a:pt x="674" y="894"/>
                    </a:lnTo>
                    <a:lnTo>
                      <a:pt x="674" y="894"/>
                    </a:lnTo>
                    <a:lnTo>
                      <a:pt x="674" y="894"/>
                    </a:lnTo>
                    <a:lnTo>
                      <a:pt x="681" y="894"/>
                    </a:lnTo>
                    <a:lnTo>
                      <a:pt x="681" y="894"/>
                    </a:lnTo>
                    <a:lnTo>
                      <a:pt x="681" y="901"/>
                    </a:lnTo>
                    <a:lnTo>
                      <a:pt x="681" y="901"/>
                    </a:lnTo>
                    <a:lnTo>
                      <a:pt x="681" y="901"/>
                    </a:lnTo>
                    <a:lnTo>
                      <a:pt x="681" y="887"/>
                    </a:lnTo>
                    <a:lnTo>
                      <a:pt x="681" y="880"/>
                    </a:lnTo>
                    <a:lnTo>
                      <a:pt x="681" y="873"/>
                    </a:lnTo>
                    <a:lnTo>
                      <a:pt x="681" y="873"/>
                    </a:lnTo>
                    <a:lnTo>
                      <a:pt x="674" y="873"/>
                    </a:lnTo>
                    <a:moveTo>
                      <a:pt x="1008" y="7"/>
                    </a:moveTo>
                    <a:lnTo>
                      <a:pt x="1008" y="7"/>
                    </a:lnTo>
                    <a:lnTo>
                      <a:pt x="1008" y="7"/>
                    </a:lnTo>
                    <a:lnTo>
                      <a:pt x="1008" y="0"/>
                    </a:lnTo>
                    <a:lnTo>
                      <a:pt x="1008" y="0"/>
                    </a:lnTo>
                    <a:lnTo>
                      <a:pt x="1001" y="0"/>
                    </a:lnTo>
                    <a:lnTo>
                      <a:pt x="1001" y="7"/>
                    </a:lnTo>
                    <a:lnTo>
                      <a:pt x="1001" y="7"/>
                    </a:lnTo>
                    <a:lnTo>
                      <a:pt x="1001" y="7"/>
                    </a:lnTo>
                    <a:lnTo>
                      <a:pt x="1001" y="7"/>
                    </a:lnTo>
                    <a:lnTo>
                      <a:pt x="1001" y="7"/>
                    </a:lnTo>
                    <a:lnTo>
                      <a:pt x="1001" y="7"/>
                    </a:lnTo>
                    <a:lnTo>
                      <a:pt x="1001" y="7"/>
                    </a:lnTo>
                    <a:lnTo>
                      <a:pt x="1008" y="7"/>
                    </a:lnTo>
                    <a:lnTo>
                      <a:pt x="1008" y="7"/>
                    </a:lnTo>
                    <a:lnTo>
                      <a:pt x="1015" y="14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0"/>
                    </a:lnTo>
                    <a:lnTo>
                      <a:pt x="1015" y="0"/>
                    </a:lnTo>
                    <a:lnTo>
                      <a:pt x="1015" y="0"/>
                    </a:lnTo>
                    <a:lnTo>
                      <a:pt x="1015" y="0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15" y="7"/>
                    </a:lnTo>
                    <a:lnTo>
                      <a:pt x="1008" y="7"/>
                    </a:lnTo>
                    <a:lnTo>
                      <a:pt x="1008" y="7"/>
                    </a:lnTo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1" name="Freeform 69"/>
              <p:cNvSpPr>
                <a:spLocks noEditPoints="1"/>
              </p:cNvSpPr>
              <p:nvPr/>
            </p:nvSpPr>
            <p:spPr bwMode="auto">
              <a:xfrm>
                <a:off x="3045" y="3338"/>
                <a:ext cx="603" cy="824"/>
              </a:xfrm>
              <a:custGeom>
                <a:avLst/>
                <a:gdLst>
                  <a:gd name="T0" fmla="*/ 568 w 603"/>
                  <a:gd name="T1" fmla="*/ 8 h 824"/>
                  <a:gd name="T2" fmla="*/ 554 w 603"/>
                  <a:gd name="T3" fmla="*/ 0 h 824"/>
                  <a:gd name="T4" fmla="*/ 547 w 603"/>
                  <a:gd name="T5" fmla="*/ 22 h 824"/>
                  <a:gd name="T6" fmla="*/ 518 w 603"/>
                  <a:gd name="T7" fmla="*/ 43 h 824"/>
                  <a:gd name="T8" fmla="*/ 490 w 603"/>
                  <a:gd name="T9" fmla="*/ 43 h 824"/>
                  <a:gd name="T10" fmla="*/ 468 w 603"/>
                  <a:gd name="T11" fmla="*/ 43 h 824"/>
                  <a:gd name="T12" fmla="*/ 440 w 603"/>
                  <a:gd name="T13" fmla="*/ 64 h 824"/>
                  <a:gd name="T14" fmla="*/ 405 w 603"/>
                  <a:gd name="T15" fmla="*/ 71 h 824"/>
                  <a:gd name="T16" fmla="*/ 383 w 603"/>
                  <a:gd name="T17" fmla="*/ 71 h 824"/>
                  <a:gd name="T18" fmla="*/ 355 w 603"/>
                  <a:gd name="T19" fmla="*/ 93 h 824"/>
                  <a:gd name="T20" fmla="*/ 334 w 603"/>
                  <a:gd name="T21" fmla="*/ 128 h 824"/>
                  <a:gd name="T22" fmla="*/ 263 w 603"/>
                  <a:gd name="T23" fmla="*/ 107 h 824"/>
                  <a:gd name="T24" fmla="*/ 227 w 603"/>
                  <a:gd name="T25" fmla="*/ 107 h 824"/>
                  <a:gd name="T26" fmla="*/ 206 w 603"/>
                  <a:gd name="T27" fmla="*/ 135 h 824"/>
                  <a:gd name="T28" fmla="*/ 199 w 603"/>
                  <a:gd name="T29" fmla="*/ 164 h 824"/>
                  <a:gd name="T30" fmla="*/ 185 w 603"/>
                  <a:gd name="T31" fmla="*/ 199 h 824"/>
                  <a:gd name="T32" fmla="*/ 227 w 603"/>
                  <a:gd name="T33" fmla="*/ 220 h 824"/>
                  <a:gd name="T34" fmla="*/ 185 w 603"/>
                  <a:gd name="T35" fmla="*/ 249 h 824"/>
                  <a:gd name="T36" fmla="*/ 149 w 603"/>
                  <a:gd name="T37" fmla="*/ 263 h 824"/>
                  <a:gd name="T38" fmla="*/ 99 w 603"/>
                  <a:gd name="T39" fmla="*/ 263 h 824"/>
                  <a:gd name="T40" fmla="*/ 50 w 603"/>
                  <a:gd name="T41" fmla="*/ 284 h 824"/>
                  <a:gd name="T42" fmla="*/ 21 w 603"/>
                  <a:gd name="T43" fmla="*/ 291 h 824"/>
                  <a:gd name="T44" fmla="*/ 0 w 603"/>
                  <a:gd name="T45" fmla="*/ 306 h 824"/>
                  <a:gd name="T46" fmla="*/ 35 w 603"/>
                  <a:gd name="T47" fmla="*/ 327 h 824"/>
                  <a:gd name="T48" fmla="*/ 43 w 603"/>
                  <a:gd name="T49" fmla="*/ 355 h 824"/>
                  <a:gd name="T50" fmla="*/ 71 w 603"/>
                  <a:gd name="T51" fmla="*/ 362 h 824"/>
                  <a:gd name="T52" fmla="*/ 71 w 603"/>
                  <a:gd name="T53" fmla="*/ 384 h 824"/>
                  <a:gd name="T54" fmla="*/ 92 w 603"/>
                  <a:gd name="T55" fmla="*/ 412 h 824"/>
                  <a:gd name="T56" fmla="*/ 92 w 603"/>
                  <a:gd name="T57" fmla="*/ 441 h 824"/>
                  <a:gd name="T58" fmla="*/ 92 w 603"/>
                  <a:gd name="T59" fmla="*/ 490 h 824"/>
                  <a:gd name="T60" fmla="*/ 135 w 603"/>
                  <a:gd name="T61" fmla="*/ 490 h 824"/>
                  <a:gd name="T62" fmla="*/ 149 w 603"/>
                  <a:gd name="T63" fmla="*/ 526 h 824"/>
                  <a:gd name="T64" fmla="*/ 142 w 603"/>
                  <a:gd name="T65" fmla="*/ 597 h 824"/>
                  <a:gd name="T66" fmla="*/ 170 w 603"/>
                  <a:gd name="T67" fmla="*/ 604 h 824"/>
                  <a:gd name="T68" fmla="*/ 142 w 603"/>
                  <a:gd name="T69" fmla="*/ 696 h 824"/>
                  <a:gd name="T70" fmla="*/ 142 w 603"/>
                  <a:gd name="T71" fmla="*/ 739 h 824"/>
                  <a:gd name="T72" fmla="*/ 149 w 603"/>
                  <a:gd name="T73" fmla="*/ 767 h 824"/>
                  <a:gd name="T74" fmla="*/ 142 w 603"/>
                  <a:gd name="T75" fmla="*/ 795 h 824"/>
                  <a:gd name="T76" fmla="*/ 199 w 603"/>
                  <a:gd name="T77" fmla="*/ 817 h 824"/>
                  <a:gd name="T78" fmla="*/ 284 w 603"/>
                  <a:gd name="T79" fmla="*/ 739 h 824"/>
                  <a:gd name="T80" fmla="*/ 291 w 603"/>
                  <a:gd name="T81" fmla="*/ 717 h 824"/>
                  <a:gd name="T82" fmla="*/ 376 w 603"/>
                  <a:gd name="T83" fmla="*/ 653 h 824"/>
                  <a:gd name="T84" fmla="*/ 426 w 603"/>
                  <a:gd name="T85" fmla="*/ 646 h 824"/>
                  <a:gd name="T86" fmla="*/ 461 w 603"/>
                  <a:gd name="T87" fmla="*/ 646 h 824"/>
                  <a:gd name="T88" fmla="*/ 397 w 603"/>
                  <a:gd name="T89" fmla="*/ 611 h 824"/>
                  <a:gd name="T90" fmla="*/ 433 w 603"/>
                  <a:gd name="T91" fmla="*/ 554 h 824"/>
                  <a:gd name="T92" fmla="*/ 454 w 603"/>
                  <a:gd name="T93" fmla="*/ 490 h 824"/>
                  <a:gd name="T94" fmla="*/ 490 w 603"/>
                  <a:gd name="T95" fmla="*/ 483 h 824"/>
                  <a:gd name="T96" fmla="*/ 504 w 603"/>
                  <a:gd name="T97" fmla="*/ 483 h 824"/>
                  <a:gd name="T98" fmla="*/ 532 w 603"/>
                  <a:gd name="T99" fmla="*/ 412 h 824"/>
                  <a:gd name="T100" fmla="*/ 525 w 603"/>
                  <a:gd name="T101" fmla="*/ 398 h 824"/>
                  <a:gd name="T102" fmla="*/ 518 w 603"/>
                  <a:gd name="T103" fmla="*/ 391 h 824"/>
                  <a:gd name="T104" fmla="*/ 532 w 603"/>
                  <a:gd name="T105" fmla="*/ 384 h 824"/>
                  <a:gd name="T106" fmla="*/ 518 w 603"/>
                  <a:gd name="T107" fmla="*/ 327 h 824"/>
                  <a:gd name="T108" fmla="*/ 518 w 603"/>
                  <a:gd name="T109" fmla="*/ 299 h 824"/>
                  <a:gd name="T110" fmla="*/ 518 w 603"/>
                  <a:gd name="T111" fmla="*/ 256 h 824"/>
                  <a:gd name="T112" fmla="*/ 511 w 603"/>
                  <a:gd name="T113" fmla="*/ 242 h 824"/>
                  <a:gd name="T114" fmla="*/ 518 w 603"/>
                  <a:gd name="T115" fmla="*/ 235 h 824"/>
                  <a:gd name="T116" fmla="*/ 532 w 603"/>
                  <a:gd name="T117" fmla="*/ 235 h 824"/>
                  <a:gd name="T118" fmla="*/ 561 w 603"/>
                  <a:gd name="T119" fmla="*/ 192 h 824"/>
                  <a:gd name="T120" fmla="*/ 589 w 603"/>
                  <a:gd name="T121" fmla="*/ 114 h 824"/>
                  <a:gd name="T122" fmla="*/ 596 w 603"/>
                  <a:gd name="T123" fmla="*/ 43 h 824"/>
                  <a:gd name="T124" fmla="*/ 589 w 603"/>
                  <a:gd name="T125" fmla="*/ 8 h 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03" h="824">
                    <a:moveTo>
                      <a:pt x="589" y="0"/>
                    </a:moveTo>
                    <a:lnTo>
                      <a:pt x="589" y="0"/>
                    </a:lnTo>
                    <a:lnTo>
                      <a:pt x="589" y="0"/>
                    </a:lnTo>
                    <a:lnTo>
                      <a:pt x="596" y="15"/>
                    </a:lnTo>
                    <a:lnTo>
                      <a:pt x="596" y="15"/>
                    </a:lnTo>
                    <a:lnTo>
                      <a:pt x="596" y="8"/>
                    </a:lnTo>
                    <a:lnTo>
                      <a:pt x="589" y="0"/>
                    </a:lnTo>
                    <a:lnTo>
                      <a:pt x="589" y="0"/>
                    </a:lnTo>
                    <a:lnTo>
                      <a:pt x="589" y="0"/>
                    </a:lnTo>
                    <a:close/>
                    <a:moveTo>
                      <a:pt x="582" y="15"/>
                    </a:moveTo>
                    <a:lnTo>
                      <a:pt x="582" y="15"/>
                    </a:lnTo>
                    <a:lnTo>
                      <a:pt x="582" y="15"/>
                    </a:lnTo>
                    <a:lnTo>
                      <a:pt x="575" y="15"/>
                    </a:lnTo>
                    <a:lnTo>
                      <a:pt x="568" y="15"/>
                    </a:lnTo>
                    <a:lnTo>
                      <a:pt x="568" y="15"/>
                    </a:lnTo>
                    <a:lnTo>
                      <a:pt x="568" y="15"/>
                    </a:lnTo>
                    <a:lnTo>
                      <a:pt x="568" y="8"/>
                    </a:lnTo>
                    <a:lnTo>
                      <a:pt x="568" y="8"/>
                    </a:lnTo>
                    <a:lnTo>
                      <a:pt x="568" y="8"/>
                    </a:lnTo>
                    <a:lnTo>
                      <a:pt x="568" y="8"/>
                    </a:lnTo>
                    <a:lnTo>
                      <a:pt x="568" y="8"/>
                    </a:lnTo>
                    <a:lnTo>
                      <a:pt x="568" y="8"/>
                    </a:lnTo>
                    <a:lnTo>
                      <a:pt x="568" y="8"/>
                    </a:lnTo>
                    <a:lnTo>
                      <a:pt x="568" y="0"/>
                    </a:lnTo>
                    <a:lnTo>
                      <a:pt x="568" y="0"/>
                    </a:lnTo>
                    <a:lnTo>
                      <a:pt x="561" y="0"/>
                    </a:lnTo>
                    <a:lnTo>
                      <a:pt x="561" y="0"/>
                    </a:lnTo>
                    <a:lnTo>
                      <a:pt x="554" y="0"/>
                    </a:lnTo>
                    <a:lnTo>
                      <a:pt x="554" y="0"/>
                    </a:lnTo>
                    <a:lnTo>
                      <a:pt x="554" y="0"/>
                    </a:lnTo>
                    <a:lnTo>
                      <a:pt x="554" y="0"/>
                    </a:lnTo>
                    <a:lnTo>
                      <a:pt x="554" y="0"/>
                    </a:lnTo>
                    <a:lnTo>
                      <a:pt x="554" y="0"/>
                    </a:lnTo>
                    <a:lnTo>
                      <a:pt x="554" y="0"/>
                    </a:lnTo>
                    <a:lnTo>
                      <a:pt x="554" y="8"/>
                    </a:lnTo>
                    <a:lnTo>
                      <a:pt x="554" y="8"/>
                    </a:lnTo>
                    <a:lnTo>
                      <a:pt x="561" y="8"/>
                    </a:lnTo>
                    <a:lnTo>
                      <a:pt x="561" y="8"/>
                    </a:lnTo>
                    <a:lnTo>
                      <a:pt x="561" y="8"/>
                    </a:lnTo>
                    <a:lnTo>
                      <a:pt x="561" y="8"/>
                    </a:lnTo>
                    <a:lnTo>
                      <a:pt x="554" y="8"/>
                    </a:lnTo>
                    <a:lnTo>
                      <a:pt x="554" y="8"/>
                    </a:lnTo>
                    <a:lnTo>
                      <a:pt x="554" y="15"/>
                    </a:lnTo>
                    <a:lnTo>
                      <a:pt x="547" y="15"/>
                    </a:lnTo>
                    <a:lnTo>
                      <a:pt x="547" y="15"/>
                    </a:lnTo>
                    <a:lnTo>
                      <a:pt x="547" y="15"/>
                    </a:lnTo>
                    <a:lnTo>
                      <a:pt x="547" y="22"/>
                    </a:lnTo>
                    <a:lnTo>
                      <a:pt x="547" y="22"/>
                    </a:lnTo>
                    <a:lnTo>
                      <a:pt x="547" y="22"/>
                    </a:lnTo>
                    <a:lnTo>
                      <a:pt x="547" y="22"/>
                    </a:lnTo>
                    <a:lnTo>
                      <a:pt x="547" y="22"/>
                    </a:lnTo>
                    <a:lnTo>
                      <a:pt x="547" y="29"/>
                    </a:lnTo>
                    <a:lnTo>
                      <a:pt x="532" y="36"/>
                    </a:lnTo>
                    <a:lnTo>
                      <a:pt x="525" y="36"/>
                    </a:lnTo>
                    <a:lnTo>
                      <a:pt x="518" y="36"/>
                    </a:lnTo>
                    <a:lnTo>
                      <a:pt x="518" y="36"/>
                    </a:lnTo>
                    <a:lnTo>
                      <a:pt x="518" y="36"/>
                    </a:lnTo>
                    <a:lnTo>
                      <a:pt x="518" y="36"/>
                    </a:lnTo>
                    <a:lnTo>
                      <a:pt x="518" y="36"/>
                    </a:lnTo>
                    <a:lnTo>
                      <a:pt x="518" y="36"/>
                    </a:lnTo>
                    <a:lnTo>
                      <a:pt x="518" y="36"/>
                    </a:lnTo>
                    <a:lnTo>
                      <a:pt x="518" y="43"/>
                    </a:lnTo>
                    <a:lnTo>
                      <a:pt x="518" y="43"/>
                    </a:lnTo>
                    <a:lnTo>
                      <a:pt x="518" y="43"/>
                    </a:lnTo>
                    <a:lnTo>
                      <a:pt x="518" y="43"/>
                    </a:lnTo>
                    <a:lnTo>
                      <a:pt x="518" y="43"/>
                    </a:lnTo>
                    <a:lnTo>
                      <a:pt x="518" y="43"/>
                    </a:lnTo>
                    <a:lnTo>
                      <a:pt x="518" y="43"/>
                    </a:lnTo>
                    <a:lnTo>
                      <a:pt x="518" y="43"/>
                    </a:lnTo>
                    <a:lnTo>
                      <a:pt x="518" y="50"/>
                    </a:lnTo>
                    <a:lnTo>
                      <a:pt x="518" y="50"/>
                    </a:lnTo>
                    <a:lnTo>
                      <a:pt x="518" y="50"/>
                    </a:lnTo>
                    <a:lnTo>
                      <a:pt x="518" y="50"/>
                    </a:lnTo>
                    <a:lnTo>
                      <a:pt x="511" y="50"/>
                    </a:lnTo>
                    <a:lnTo>
                      <a:pt x="511" y="50"/>
                    </a:lnTo>
                    <a:lnTo>
                      <a:pt x="504" y="43"/>
                    </a:lnTo>
                    <a:lnTo>
                      <a:pt x="504" y="43"/>
                    </a:lnTo>
                    <a:lnTo>
                      <a:pt x="504" y="43"/>
                    </a:lnTo>
                    <a:lnTo>
                      <a:pt x="504" y="43"/>
                    </a:lnTo>
                    <a:lnTo>
                      <a:pt x="504" y="43"/>
                    </a:lnTo>
                    <a:lnTo>
                      <a:pt x="504" y="36"/>
                    </a:lnTo>
                    <a:lnTo>
                      <a:pt x="504" y="36"/>
                    </a:lnTo>
                    <a:lnTo>
                      <a:pt x="504" y="36"/>
                    </a:lnTo>
                    <a:lnTo>
                      <a:pt x="490" y="43"/>
                    </a:lnTo>
                    <a:lnTo>
                      <a:pt x="490" y="43"/>
                    </a:lnTo>
                    <a:lnTo>
                      <a:pt x="490" y="36"/>
                    </a:lnTo>
                    <a:lnTo>
                      <a:pt x="490" y="36"/>
                    </a:lnTo>
                    <a:lnTo>
                      <a:pt x="483" y="36"/>
                    </a:lnTo>
                    <a:lnTo>
                      <a:pt x="483" y="36"/>
                    </a:lnTo>
                    <a:lnTo>
                      <a:pt x="483" y="29"/>
                    </a:lnTo>
                    <a:lnTo>
                      <a:pt x="483" y="29"/>
                    </a:lnTo>
                    <a:lnTo>
                      <a:pt x="476" y="29"/>
                    </a:lnTo>
                    <a:lnTo>
                      <a:pt x="476" y="29"/>
                    </a:lnTo>
                    <a:lnTo>
                      <a:pt x="476" y="29"/>
                    </a:lnTo>
                    <a:lnTo>
                      <a:pt x="468" y="29"/>
                    </a:lnTo>
                    <a:lnTo>
                      <a:pt x="468" y="36"/>
                    </a:lnTo>
                    <a:lnTo>
                      <a:pt x="468" y="36"/>
                    </a:lnTo>
                    <a:lnTo>
                      <a:pt x="468" y="36"/>
                    </a:lnTo>
                    <a:lnTo>
                      <a:pt x="468" y="36"/>
                    </a:lnTo>
                    <a:lnTo>
                      <a:pt x="468" y="36"/>
                    </a:lnTo>
                    <a:lnTo>
                      <a:pt x="468" y="43"/>
                    </a:lnTo>
                    <a:lnTo>
                      <a:pt x="468" y="43"/>
                    </a:lnTo>
                    <a:lnTo>
                      <a:pt x="468" y="43"/>
                    </a:lnTo>
                    <a:lnTo>
                      <a:pt x="468" y="43"/>
                    </a:lnTo>
                    <a:lnTo>
                      <a:pt x="468" y="50"/>
                    </a:lnTo>
                    <a:lnTo>
                      <a:pt x="468" y="50"/>
                    </a:lnTo>
                    <a:lnTo>
                      <a:pt x="461" y="50"/>
                    </a:lnTo>
                    <a:lnTo>
                      <a:pt x="461" y="50"/>
                    </a:lnTo>
                    <a:lnTo>
                      <a:pt x="461" y="57"/>
                    </a:lnTo>
                    <a:lnTo>
                      <a:pt x="454" y="57"/>
                    </a:lnTo>
                    <a:lnTo>
                      <a:pt x="454" y="57"/>
                    </a:lnTo>
                    <a:lnTo>
                      <a:pt x="454" y="64"/>
                    </a:lnTo>
                    <a:lnTo>
                      <a:pt x="447" y="64"/>
                    </a:lnTo>
                    <a:lnTo>
                      <a:pt x="447" y="64"/>
                    </a:lnTo>
                    <a:lnTo>
                      <a:pt x="447" y="64"/>
                    </a:lnTo>
                    <a:lnTo>
                      <a:pt x="447" y="57"/>
                    </a:lnTo>
                    <a:lnTo>
                      <a:pt x="440" y="57"/>
                    </a:lnTo>
                    <a:lnTo>
                      <a:pt x="440" y="57"/>
                    </a:lnTo>
                    <a:lnTo>
                      <a:pt x="440" y="64"/>
                    </a:lnTo>
                    <a:lnTo>
                      <a:pt x="433" y="71"/>
                    </a:lnTo>
                    <a:lnTo>
                      <a:pt x="433" y="71"/>
                    </a:lnTo>
                    <a:lnTo>
                      <a:pt x="433" y="71"/>
                    </a:lnTo>
                    <a:lnTo>
                      <a:pt x="426" y="79"/>
                    </a:lnTo>
                    <a:lnTo>
                      <a:pt x="426" y="79"/>
                    </a:lnTo>
                    <a:lnTo>
                      <a:pt x="419" y="79"/>
                    </a:lnTo>
                    <a:lnTo>
                      <a:pt x="419" y="79"/>
                    </a:lnTo>
                    <a:lnTo>
                      <a:pt x="419" y="79"/>
                    </a:lnTo>
                    <a:lnTo>
                      <a:pt x="412" y="79"/>
                    </a:lnTo>
                    <a:lnTo>
                      <a:pt x="412" y="79"/>
                    </a:lnTo>
                    <a:lnTo>
                      <a:pt x="412" y="71"/>
                    </a:lnTo>
                    <a:lnTo>
                      <a:pt x="412" y="71"/>
                    </a:lnTo>
                    <a:lnTo>
                      <a:pt x="405" y="71"/>
                    </a:lnTo>
                    <a:lnTo>
                      <a:pt x="405" y="71"/>
                    </a:lnTo>
                    <a:lnTo>
                      <a:pt x="405" y="71"/>
                    </a:lnTo>
                    <a:lnTo>
                      <a:pt x="405" y="71"/>
                    </a:lnTo>
                    <a:lnTo>
                      <a:pt x="405" y="71"/>
                    </a:lnTo>
                    <a:lnTo>
                      <a:pt x="405" y="71"/>
                    </a:lnTo>
                    <a:lnTo>
                      <a:pt x="405" y="71"/>
                    </a:lnTo>
                    <a:lnTo>
                      <a:pt x="397" y="71"/>
                    </a:lnTo>
                    <a:lnTo>
                      <a:pt x="397" y="71"/>
                    </a:lnTo>
                    <a:lnTo>
                      <a:pt x="397" y="71"/>
                    </a:lnTo>
                    <a:lnTo>
                      <a:pt x="397" y="71"/>
                    </a:lnTo>
                    <a:lnTo>
                      <a:pt x="397" y="71"/>
                    </a:lnTo>
                    <a:lnTo>
                      <a:pt x="397" y="71"/>
                    </a:lnTo>
                    <a:lnTo>
                      <a:pt x="390" y="71"/>
                    </a:lnTo>
                    <a:lnTo>
                      <a:pt x="390" y="79"/>
                    </a:lnTo>
                    <a:lnTo>
                      <a:pt x="390" y="79"/>
                    </a:lnTo>
                    <a:lnTo>
                      <a:pt x="390" y="79"/>
                    </a:lnTo>
                    <a:lnTo>
                      <a:pt x="390" y="79"/>
                    </a:lnTo>
                    <a:lnTo>
                      <a:pt x="390" y="71"/>
                    </a:lnTo>
                    <a:lnTo>
                      <a:pt x="390" y="71"/>
                    </a:lnTo>
                    <a:lnTo>
                      <a:pt x="383" y="71"/>
                    </a:lnTo>
                    <a:lnTo>
                      <a:pt x="383" y="71"/>
                    </a:lnTo>
                    <a:lnTo>
                      <a:pt x="376" y="71"/>
                    </a:lnTo>
                    <a:lnTo>
                      <a:pt x="376" y="71"/>
                    </a:lnTo>
                    <a:lnTo>
                      <a:pt x="369" y="71"/>
                    </a:lnTo>
                    <a:lnTo>
                      <a:pt x="369" y="71"/>
                    </a:lnTo>
                    <a:lnTo>
                      <a:pt x="362" y="71"/>
                    </a:lnTo>
                    <a:lnTo>
                      <a:pt x="362" y="79"/>
                    </a:lnTo>
                    <a:lnTo>
                      <a:pt x="362" y="79"/>
                    </a:lnTo>
                    <a:lnTo>
                      <a:pt x="362" y="79"/>
                    </a:lnTo>
                    <a:lnTo>
                      <a:pt x="362" y="79"/>
                    </a:lnTo>
                    <a:lnTo>
                      <a:pt x="362" y="79"/>
                    </a:lnTo>
                    <a:lnTo>
                      <a:pt x="355" y="79"/>
                    </a:lnTo>
                    <a:lnTo>
                      <a:pt x="355" y="79"/>
                    </a:lnTo>
                    <a:lnTo>
                      <a:pt x="355" y="86"/>
                    </a:lnTo>
                    <a:lnTo>
                      <a:pt x="355" y="86"/>
                    </a:lnTo>
                    <a:lnTo>
                      <a:pt x="355" y="86"/>
                    </a:lnTo>
                    <a:lnTo>
                      <a:pt x="355" y="86"/>
                    </a:lnTo>
                    <a:lnTo>
                      <a:pt x="355" y="93"/>
                    </a:lnTo>
                    <a:lnTo>
                      <a:pt x="355" y="93"/>
                    </a:lnTo>
                    <a:lnTo>
                      <a:pt x="348" y="93"/>
                    </a:lnTo>
                    <a:lnTo>
                      <a:pt x="348" y="107"/>
                    </a:lnTo>
                    <a:lnTo>
                      <a:pt x="348" y="114"/>
                    </a:lnTo>
                    <a:lnTo>
                      <a:pt x="341" y="121"/>
                    </a:lnTo>
                    <a:lnTo>
                      <a:pt x="341" y="121"/>
                    </a:lnTo>
                    <a:lnTo>
                      <a:pt x="341" y="121"/>
                    </a:lnTo>
                    <a:lnTo>
                      <a:pt x="334" y="121"/>
                    </a:lnTo>
                    <a:lnTo>
                      <a:pt x="334" y="121"/>
                    </a:lnTo>
                    <a:lnTo>
                      <a:pt x="334" y="121"/>
                    </a:lnTo>
                    <a:lnTo>
                      <a:pt x="334" y="121"/>
                    </a:lnTo>
                    <a:lnTo>
                      <a:pt x="334" y="121"/>
                    </a:lnTo>
                    <a:lnTo>
                      <a:pt x="334" y="121"/>
                    </a:lnTo>
                    <a:lnTo>
                      <a:pt x="334" y="121"/>
                    </a:lnTo>
                    <a:lnTo>
                      <a:pt x="334" y="128"/>
                    </a:lnTo>
                    <a:lnTo>
                      <a:pt x="334" y="128"/>
                    </a:lnTo>
                    <a:lnTo>
                      <a:pt x="334" y="128"/>
                    </a:lnTo>
                    <a:lnTo>
                      <a:pt x="326" y="135"/>
                    </a:lnTo>
                    <a:lnTo>
                      <a:pt x="326" y="135"/>
                    </a:lnTo>
                    <a:lnTo>
                      <a:pt x="319" y="135"/>
                    </a:lnTo>
                    <a:lnTo>
                      <a:pt x="319" y="135"/>
                    </a:lnTo>
                    <a:lnTo>
                      <a:pt x="319" y="142"/>
                    </a:lnTo>
                    <a:lnTo>
                      <a:pt x="319" y="135"/>
                    </a:lnTo>
                    <a:lnTo>
                      <a:pt x="312" y="135"/>
                    </a:lnTo>
                    <a:lnTo>
                      <a:pt x="312" y="135"/>
                    </a:lnTo>
                    <a:lnTo>
                      <a:pt x="305" y="135"/>
                    </a:lnTo>
                    <a:lnTo>
                      <a:pt x="298" y="128"/>
                    </a:lnTo>
                    <a:lnTo>
                      <a:pt x="291" y="121"/>
                    </a:lnTo>
                    <a:lnTo>
                      <a:pt x="284" y="121"/>
                    </a:lnTo>
                    <a:lnTo>
                      <a:pt x="277" y="114"/>
                    </a:lnTo>
                    <a:lnTo>
                      <a:pt x="270" y="107"/>
                    </a:lnTo>
                    <a:lnTo>
                      <a:pt x="270" y="107"/>
                    </a:lnTo>
                    <a:lnTo>
                      <a:pt x="263" y="107"/>
                    </a:lnTo>
                    <a:lnTo>
                      <a:pt x="263" y="107"/>
                    </a:lnTo>
                    <a:lnTo>
                      <a:pt x="263" y="107"/>
                    </a:lnTo>
                    <a:lnTo>
                      <a:pt x="263" y="114"/>
                    </a:lnTo>
                    <a:lnTo>
                      <a:pt x="263" y="114"/>
                    </a:lnTo>
                    <a:lnTo>
                      <a:pt x="263" y="114"/>
                    </a:lnTo>
                    <a:lnTo>
                      <a:pt x="263" y="114"/>
                    </a:lnTo>
                    <a:lnTo>
                      <a:pt x="256" y="114"/>
                    </a:lnTo>
                    <a:lnTo>
                      <a:pt x="256" y="114"/>
                    </a:lnTo>
                    <a:lnTo>
                      <a:pt x="256" y="114"/>
                    </a:lnTo>
                    <a:lnTo>
                      <a:pt x="248" y="107"/>
                    </a:lnTo>
                    <a:lnTo>
                      <a:pt x="248" y="107"/>
                    </a:lnTo>
                    <a:lnTo>
                      <a:pt x="248" y="107"/>
                    </a:lnTo>
                    <a:lnTo>
                      <a:pt x="248" y="107"/>
                    </a:lnTo>
                    <a:lnTo>
                      <a:pt x="248" y="107"/>
                    </a:lnTo>
                    <a:lnTo>
                      <a:pt x="248" y="107"/>
                    </a:lnTo>
                    <a:lnTo>
                      <a:pt x="241" y="107"/>
                    </a:lnTo>
                    <a:lnTo>
                      <a:pt x="234" y="107"/>
                    </a:lnTo>
                    <a:lnTo>
                      <a:pt x="227" y="107"/>
                    </a:lnTo>
                    <a:lnTo>
                      <a:pt x="227" y="114"/>
                    </a:lnTo>
                    <a:lnTo>
                      <a:pt x="227" y="114"/>
                    </a:lnTo>
                    <a:lnTo>
                      <a:pt x="227" y="121"/>
                    </a:lnTo>
                    <a:lnTo>
                      <a:pt x="227" y="121"/>
                    </a:lnTo>
                    <a:lnTo>
                      <a:pt x="220" y="121"/>
                    </a:lnTo>
                    <a:lnTo>
                      <a:pt x="227" y="121"/>
                    </a:lnTo>
                    <a:lnTo>
                      <a:pt x="227" y="121"/>
                    </a:lnTo>
                    <a:lnTo>
                      <a:pt x="227" y="128"/>
                    </a:lnTo>
                    <a:lnTo>
                      <a:pt x="227" y="128"/>
                    </a:lnTo>
                    <a:lnTo>
                      <a:pt x="227" y="128"/>
                    </a:lnTo>
                    <a:lnTo>
                      <a:pt x="220" y="128"/>
                    </a:lnTo>
                    <a:lnTo>
                      <a:pt x="220" y="128"/>
                    </a:lnTo>
                    <a:lnTo>
                      <a:pt x="213" y="135"/>
                    </a:lnTo>
                    <a:lnTo>
                      <a:pt x="213" y="135"/>
                    </a:lnTo>
                    <a:lnTo>
                      <a:pt x="213" y="135"/>
                    </a:lnTo>
                    <a:lnTo>
                      <a:pt x="213" y="135"/>
                    </a:lnTo>
                    <a:lnTo>
                      <a:pt x="206" y="135"/>
                    </a:lnTo>
                    <a:lnTo>
                      <a:pt x="206" y="135"/>
                    </a:lnTo>
                    <a:lnTo>
                      <a:pt x="206" y="135"/>
                    </a:lnTo>
                    <a:lnTo>
                      <a:pt x="199" y="135"/>
                    </a:lnTo>
                    <a:lnTo>
                      <a:pt x="199" y="142"/>
                    </a:lnTo>
                    <a:lnTo>
                      <a:pt x="199" y="149"/>
                    </a:lnTo>
                    <a:lnTo>
                      <a:pt x="199" y="149"/>
                    </a:lnTo>
                    <a:lnTo>
                      <a:pt x="199" y="149"/>
                    </a:lnTo>
                    <a:lnTo>
                      <a:pt x="199" y="157"/>
                    </a:lnTo>
                    <a:lnTo>
                      <a:pt x="199" y="157"/>
                    </a:lnTo>
                    <a:lnTo>
                      <a:pt x="199" y="157"/>
                    </a:lnTo>
                    <a:lnTo>
                      <a:pt x="199" y="157"/>
                    </a:lnTo>
                    <a:lnTo>
                      <a:pt x="199" y="157"/>
                    </a:lnTo>
                    <a:lnTo>
                      <a:pt x="199" y="164"/>
                    </a:lnTo>
                    <a:lnTo>
                      <a:pt x="199" y="164"/>
                    </a:lnTo>
                    <a:lnTo>
                      <a:pt x="199" y="164"/>
                    </a:lnTo>
                    <a:lnTo>
                      <a:pt x="199" y="164"/>
                    </a:lnTo>
                    <a:lnTo>
                      <a:pt x="199" y="164"/>
                    </a:lnTo>
                    <a:lnTo>
                      <a:pt x="206" y="164"/>
                    </a:lnTo>
                    <a:lnTo>
                      <a:pt x="206" y="164"/>
                    </a:lnTo>
                    <a:lnTo>
                      <a:pt x="206" y="164"/>
                    </a:lnTo>
                    <a:lnTo>
                      <a:pt x="206" y="164"/>
                    </a:lnTo>
                    <a:lnTo>
                      <a:pt x="199" y="171"/>
                    </a:lnTo>
                    <a:lnTo>
                      <a:pt x="199" y="178"/>
                    </a:lnTo>
                    <a:lnTo>
                      <a:pt x="199" y="178"/>
                    </a:lnTo>
                    <a:lnTo>
                      <a:pt x="199" y="178"/>
                    </a:lnTo>
                    <a:lnTo>
                      <a:pt x="199" y="185"/>
                    </a:lnTo>
                    <a:lnTo>
                      <a:pt x="192" y="192"/>
                    </a:lnTo>
                    <a:lnTo>
                      <a:pt x="185" y="192"/>
                    </a:lnTo>
                    <a:lnTo>
                      <a:pt x="185" y="192"/>
                    </a:lnTo>
                    <a:lnTo>
                      <a:pt x="185" y="192"/>
                    </a:lnTo>
                    <a:lnTo>
                      <a:pt x="185" y="192"/>
                    </a:lnTo>
                    <a:lnTo>
                      <a:pt x="185" y="199"/>
                    </a:lnTo>
                    <a:lnTo>
                      <a:pt x="185" y="199"/>
                    </a:lnTo>
                    <a:lnTo>
                      <a:pt x="185" y="199"/>
                    </a:lnTo>
                    <a:lnTo>
                      <a:pt x="185" y="199"/>
                    </a:lnTo>
                    <a:lnTo>
                      <a:pt x="185" y="206"/>
                    </a:lnTo>
                    <a:lnTo>
                      <a:pt x="185" y="206"/>
                    </a:lnTo>
                    <a:lnTo>
                      <a:pt x="185" y="206"/>
                    </a:lnTo>
                    <a:lnTo>
                      <a:pt x="213" y="206"/>
                    </a:lnTo>
                    <a:lnTo>
                      <a:pt x="213" y="206"/>
                    </a:lnTo>
                    <a:lnTo>
                      <a:pt x="220" y="206"/>
                    </a:lnTo>
                    <a:lnTo>
                      <a:pt x="220" y="206"/>
                    </a:lnTo>
                    <a:lnTo>
                      <a:pt x="220" y="206"/>
                    </a:lnTo>
                    <a:lnTo>
                      <a:pt x="227" y="213"/>
                    </a:lnTo>
                    <a:lnTo>
                      <a:pt x="227" y="213"/>
                    </a:lnTo>
                    <a:lnTo>
                      <a:pt x="227" y="220"/>
                    </a:lnTo>
                    <a:lnTo>
                      <a:pt x="227" y="220"/>
                    </a:lnTo>
                    <a:lnTo>
                      <a:pt x="227" y="220"/>
                    </a:lnTo>
                    <a:lnTo>
                      <a:pt x="227" y="220"/>
                    </a:lnTo>
                    <a:lnTo>
                      <a:pt x="227" y="220"/>
                    </a:lnTo>
                    <a:lnTo>
                      <a:pt x="227" y="220"/>
                    </a:lnTo>
                    <a:lnTo>
                      <a:pt x="227" y="220"/>
                    </a:lnTo>
                    <a:lnTo>
                      <a:pt x="227" y="220"/>
                    </a:lnTo>
                    <a:lnTo>
                      <a:pt x="220" y="220"/>
                    </a:lnTo>
                    <a:lnTo>
                      <a:pt x="220" y="228"/>
                    </a:lnTo>
                    <a:lnTo>
                      <a:pt x="220" y="228"/>
                    </a:lnTo>
                    <a:lnTo>
                      <a:pt x="220" y="228"/>
                    </a:lnTo>
                    <a:lnTo>
                      <a:pt x="213" y="235"/>
                    </a:lnTo>
                    <a:lnTo>
                      <a:pt x="213" y="242"/>
                    </a:lnTo>
                    <a:lnTo>
                      <a:pt x="213" y="242"/>
                    </a:lnTo>
                    <a:lnTo>
                      <a:pt x="213" y="242"/>
                    </a:lnTo>
                    <a:lnTo>
                      <a:pt x="206" y="242"/>
                    </a:lnTo>
                    <a:lnTo>
                      <a:pt x="206" y="242"/>
                    </a:lnTo>
                    <a:lnTo>
                      <a:pt x="192" y="242"/>
                    </a:lnTo>
                    <a:lnTo>
                      <a:pt x="192" y="242"/>
                    </a:lnTo>
                    <a:lnTo>
                      <a:pt x="185" y="249"/>
                    </a:lnTo>
                    <a:lnTo>
                      <a:pt x="185" y="249"/>
                    </a:lnTo>
                    <a:lnTo>
                      <a:pt x="185" y="249"/>
                    </a:lnTo>
                    <a:lnTo>
                      <a:pt x="185" y="256"/>
                    </a:lnTo>
                    <a:lnTo>
                      <a:pt x="177" y="263"/>
                    </a:lnTo>
                    <a:lnTo>
                      <a:pt x="177" y="263"/>
                    </a:lnTo>
                    <a:lnTo>
                      <a:pt x="177" y="263"/>
                    </a:lnTo>
                    <a:lnTo>
                      <a:pt x="177" y="263"/>
                    </a:lnTo>
                    <a:lnTo>
                      <a:pt x="170" y="270"/>
                    </a:lnTo>
                    <a:lnTo>
                      <a:pt x="163" y="270"/>
                    </a:lnTo>
                    <a:lnTo>
                      <a:pt x="163" y="270"/>
                    </a:lnTo>
                    <a:lnTo>
                      <a:pt x="163" y="270"/>
                    </a:lnTo>
                    <a:lnTo>
                      <a:pt x="156" y="263"/>
                    </a:lnTo>
                    <a:lnTo>
                      <a:pt x="156" y="263"/>
                    </a:lnTo>
                    <a:lnTo>
                      <a:pt x="156" y="263"/>
                    </a:lnTo>
                    <a:lnTo>
                      <a:pt x="156" y="263"/>
                    </a:lnTo>
                    <a:lnTo>
                      <a:pt x="149" y="263"/>
                    </a:lnTo>
                    <a:lnTo>
                      <a:pt x="149" y="263"/>
                    </a:lnTo>
                    <a:lnTo>
                      <a:pt x="149" y="263"/>
                    </a:lnTo>
                    <a:lnTo>
                      <a:pt x="149" y="263"/>
                    </a:lnTo>
                    <a:lnTo>
                      <a:pt x="142" y="263"/>
                    </a:lnTo>
                    <a:lnTo>
                      <a:pt x="135" y="263"/>
                    </a:lnTo>
                    <a:lnTo>
                      <a:pt x="135" y="263"/>
                    </a:lnTo>
                    <a:lnTo>
                      <a:pt x="135" y="270"/>
                    </a:lnTo>
                    <a:lnTo>
                      <a:pt x="135" y="270"/>
                    </a:lnTo>
                    <a:lnTo>
                      <a:pt x="128" y="270"/>
                    </a:lnTo>
                    <a:lnTo>
                      <a:pt x="128" y="270"/>
                    </a:lnTo>
                    <a:lnTo>
                      <a:pt x="128" y="270"/>
                    </a:lnTo>
                    <a:lnTo>
                      <a:pt x="128" y="270"/>
                    </a:lnTo>
                    <a:lnTo>
                      <a:pt x="121" y="263"/>
                    </a:lnTo>
                    <a:lnTo>
                      <a:pt x="114" y="263"/>
                    </a:lnTo>
                    <a:lnTo>
                      <a:pt x="114" y="263"/>
                    </a:lnTo>
                    <a:lnTo>
                      <a:pt x="114" y="263"/>
                    </a:lnTo>
                    <a:lnTo>
                      <a:pt x="106" y="263"/>
                    </a:lnTo>
                    <a:lnTo>
                      <a:pt x="106" y="263"/>
                    </a:lnTo>
                    <a:lnTo>
                      <a:pt x="106" y="263"/>
                    </a:lnTo>
                    <a:lnTo>
                      <a:pt x="99" y="263"/>
                    </a:lnTo>
                    <a:lnTo>
                      <a:pt x="99" y="263"/>
                    </a:lnTo>
                    <a:lnTo>
                      <a:pt x="92" y="277"/>
                    </a:lnTo>
                    <a:lnTo>
                      <a:pt x="92" y="277"/>
                    </a:lnTo>
                    <a:lnTo>
                      <a:pt x="92" y="291"/>
                    </a:lnTo>
                    <a:lnTo>
                      <a:pt x="85" y="291"/>
                    </a:lnTo>
                    <a:lnTo>
                      <a:pt x="85" y="291"/>
                    </a:lnTo>
                    <a:lnTo>
                      <a:pt x="78" y="291"/>
                    </a:lnTo>
                    <a:lnTo>
                      <a:pt x="78" y="291"/>
                    </a:lnTo>
                    <a:lnTo>
                      <a:pt x="57" y="291"/>
                    </a:lnTo>
                    <a:lnTo>
                      <a:pt x="50" y="291"/>
                    </a:lnTo>
                    <a:lnTo>
                      <a:pt x="50" y="291"/>
                    </a:lnTo>
                    <a:lnTo>
                      <a:pt x="50" y="291"/>
                    </a:lnTo>
                    <a:lnTo>
                      <a:pt x="50" y="291"/>
                    </a:lnTo>
                    <a:lnTo>
                      <a:pt x="50" y="291"/>
                    </a:lnTo>
                    <a:lnTo>
                      <a:pt x="50" y="284"/>
                    </a:lnTo>
                    <a:lnTo>
                      <a:pt x="50" y="284"/>
                    </a:lnTo>
                    <a:lnTo>
                      <a:pt x="50" y="284"/>
                    </a:lnTo>
                    <a:lnTo>
                      <a:pt x="43" y="277"/>
                    </a:lnTo>
                    <a:lnTo>
                      <a:pt x="43" y="277"/>
                    </a:lnTo>
                    <a:lnTo>
                      <a:pt x="35" y="277"/>
                    </a:lnTo>
                    <a:lnTo>
                      <a:pt x="35" y="277"/>
                    </a:lnTo>
                    <a:lnTo>
                      <a:pt x="35" y="277"/>
                    </a:lnTo>
                    <a:lnTo>
                      <a:pt x="28" y="284"/>
                    </a:lnTo>
                    <a:lnTo>
                      <a:pt x="28" y="284"/>
                    </a:lnTo>
                    <a:lnTo>
                      <a:pt x="28" y="284"/>
                    </a:lnTo>
                    <a:lnTo>
                      <a:pt x="28" y="284"/>
                    </a:lnTo>
                    <a:lnTo>
                      <a:pt x="28" y="284"/>
                    </a:lnTo>
                    <a:lnTo>
                      <a:pt x="28" y="284"/>
                    </a:lnTo>
                    <a:lnTo>
                      <a:pt x="28" y="284"/>
                    </a:lnTo>
                    <a:lnTo>
                      <a:pt x="28" y="291"/>
                    </a:lnTo>
                    <a:lnTo>
                      <a:pt x="28" y="291"/>
                    </a:lnTo>
                    <a:lnTo>
                      <a:pt x="28" y="291"/>
                    </a:lnTo>
                    <a:lnTo>
                      <a:pt x="28" y="291"/>
                    </a:lnTo>
                    <a:lnTo>
                      <a:pt x="21" y="291"/>
                    </a:lnTo>
                    <a:lnTo>
                      <a:pt x="21" y="291"/>
                    </a:lnTo>
                    <a:lnTo>
                      <a:pt x="21" y="291"/>
                    </a:lnTo>
                    <a:lnTo>
                      <a:pt x="21" y="291"/>
                    </a:lnTo>
                    <a:lnTo>
                      <a:pt x="21" y="299"/>
                    </a:lnTo>
                    <a:lnTo>
                      <a:pt x="14" y="299"/>
                    </a:lnTo>
                    <a:lnTo>
                      <a:pt x="14" y="299"/>
                    </a:lnTo>
                    <a:lnTo>
                      <a:pt x="14" y="299"/>
                    </a:lnTo>
                    <a:lnTo>
                      <a:pt x="7" y="299"/>
                    </a:lnTo>
                    <a:lnTo>
                      <a:pt x="7" y="299"/>
                    </a:lnTo>
                    <a:lnTo>
                      <a:pt x="0" y="299"/>
                    </a:lnTo>
                    <a:lnTo>
                      <a:pt x="0" y="299"/>
                    </a:lnTo>
                    <a:lnTo>
                      <a:pt x="0" y="299"/>
                    </a:lnTo>
                    <a:lnTo>
                      <a:pt x="0" y="299"/>
                    </a:lnTo>
                    <a:lnTo>
                      <a:pt x="0" y="306"/>
                    </a:lnTo>
                    <a:lnTo>
                      <a:pt x="0" y="306"/>
                    </a:lnTo>
                    <a:lnTo>
                      <a:pt x="0" y="306"/>
                    </a:lnTo>
                    <a:lnTo>
                      <a:pt x="0" y="306"/>
                    </a:lnTo>
                    <a:lnTo>
                      <a:pt x="0" y="306"/>
                    </a:lnTo>
                    <a:lnTo>
                      <a:pt x="0" y="306"/>
                    </a:lnTo>
                    <a:lnTo>
                      <a:pt x="0" y="313"/>
                    </a:lnTo>
                    <a:lnTo>
                      <a:pt x="0" y="313"/>
                    </a:lnTo>
                    <a:lnTo>
                      <a:pt x="0" y="313"/>
                    </a:lnTo>
                    <a:lnTo>
                      <a:pt x="0" y="313"/>
                    </a:lnTo>
                    <a:lnTo>
                      <a:pt x="0" y="313"/>
                    </a:lnTo>
                    <a:lnTo>
                      <a:pt x="0" y="313"/>
                    </a:lnTo>
                    <a:lnTo>
                      <a:pt x="7" y="313"/>
                    </a:lnTo>
                    <a:lnTo>
                      <a:pt x="14" y="313"/>
                    </a:lnTo>
                    <a:lnTo>
                      <a:pt x="28" y="320"/>
                    </a:lnTo>
                    <a:lnTo>
                      <a:pt x="28" y="320"/>
                    </a:lnTo>
                    <a:lnTo>
                      <a:pt x="28" y="327"/>
                    </a:lnTo>
                    <a:lnTo>
                      <a:pt x="35" y="327"/>
                    </a:lnTo>
                    <a:lnTo>
                      <a:pt x="35" y="327"/>
                    </a:lnTo>
                    <a:lnTo>
                      <a:pt x="35" y="327"/>
                    </a:lnTo>
                    <a:lnTo>
                      <a:pt x="35" y="327"/>
                    </a:lnTo>
                    <a:lnTo>
                      <a:pt x="43" y="327"/>
                    </a:lnTo>
                    <a:lnTo>
                      <a:pt x="43" y="334"/>
                    </a:lnTo>
                    <a:lnTo>
                      <a:pt x="50" y="334"/>
                    </a:lnTo>
                    <a:lnTo>
                      <a:pt x="43" y="341"/>
                    </a:lnTo>
                    <a:lnTo>
                      <a:pt x="35" y="348"/>
                    </a:lnTo>
                    <a:lnTo>
                      <a:pt x="35" y="348"/>
                    </a:lnTo>
                    <a:lnTo>
                      <a:pt x="35" y="348"/>
                    </a:lnTo>
                    <a:lnTo>
                      <a:pt x="28" y="355"/>
                    </a:lnTo>
                    <a:lnTo>
                      <a:pt x="35" y="355"/>
                    </a:lnTo>
                    <a:lnTo>
                      <a:pt x="35" y="355"/>
                    </a:lnTo>
                    <a:lnTo>
                      <a:pt x="35" y="355"/>
                    </a:lnTo>
                    <a:lnTo>
                      <a:pt x="35" y="355"/>
                    </a:lnTo>
                    <a:lnTo>
                      <a:pt x="43" y="355"/>
                    </a:lnTo>
                    <a:lnTo>
                      <a:pt x="43" y="355"/>
                    </a:lnTo>
                    <a:lnTo>
                      <a:pt x="43" y="355"/>
                    </a:lnTo>
                    <a:lnTo>
                      <a:pt x="43" y="355"/>
                    </a:lnTo>
                    <a:lnTo>
                      <a:pt x="43" y="355"/>
                    </a:lnTo>
                    <a:lnTo>
                      <a:pt x="50" y="355"/>
                    </a:lnTo>
                    <a:lnTo>
                      <a:pt x="50" y="355"/>
                    </a:lnTo>
                    <a:lnTo>
                      <a:pt x="50" y="355"/>
                    </a:lnTo>
                    <a:lnTo>
                      <a:pt x="64" y="355"/>
                    </a:lnTo>
                    <a:lnTo>
                      <a:pt x="64" y="355"/>
                    </a:lnTo>
                    <a:lnTo>
                      <a:pt x="64" y="355"/>
                    </a:lnTo>
                    <a:lnTo>
                      <a:pt x="71" y="348"/>
                    </a:lnTo>
                    <a:lnTo>
                      <a:pt x="71" y="348"/>
                    </a:lnTo>
                    <a:lnTo>
                      <a:pt x="71" y="348"/>
                    </a:lnTo>
                    <a:lnTo>
                      <a:pt x="71" y="348"/>
                    </a:lnTo>
                    <a:lnTo>
                      <a:pt x="71" y="355"/>
                    </a:lnTo>
                    <a:lnTo>
                      <a:pt x="71" y="355"/>
                    </a:lnTo>
                    <a:lnTo>
                      <a:pt x="71" y="355"/>
                    </a:lnTo>
                    <a:lnTo>
                      <a:pt x="71" y="362"/>
                    </a:lnTo>
                    <a:lnTo>
                      <a:pt x="71" y="362"/>
                    </a:lnTo>
                    <a:lnTo>
                      <a:pt x="71" y="362"/>
                    </a:lnTo>
                    <a:lnTo>
                      <a:pt x="71" y="362"/>
                    </a:lnTo>
                    <a:lnTo>
                      <a:pt x="71" y="362"/>
                    </a:lnTo>
                    <a:lnTo>
                      <a:pt x="71" y="362"/>
                    </a:lnTo>
                    <a:lnTo>
                      <a:pt x="71" y="370"/>
                    </a:lnTo>
                    <a:lnTo>
                      <a:pt x="78" y="377"/>
                    </a:lnTo>
                    <a:lnTo>
                      <a:pt x="78" y="377"/>
                    </a:lnTo>
                    <a:lnTo>
                      <a:pt x="78" y="377"/>
                    </a:lnTo>
                    <a:lnTo>
                      <a:pt x="78" y="377"/>
                    </a:lnTo>
                    <a:lnTo>
                      <a:pt x="78" y="377"/>
                    </a:lnTo>
                    <a:lnTo>
                      <a:pt x="78" y="377"/>
                    </a:lnTo>
                    <a:lnTo>
                      <a:pt x="78" y="384"/>
                    </a:lnTo>
                    <a:lnTo>
                      <a:pt x="78" y="384"/>
                    </a:lnTo>
                    <a:lnTo>
                      <a:pt x="78" y="384"/>
                    </a:lnTo>
                    <a:lnTo>
                      <a:pt x="78" y="384"/>
                    </a:lnTo>
                    <a:lnTo>
                      <a:pt x="71" y="384"/>
                    </a:lnTo>
                    <a:lnTo>
                      <a:pt x="71" y="377"/>
                    </a:lnTo>
                    <a:lnTo>
                      <a:pt x="71" y="377"/>
                    </a:lnTo>
                    <a:lnTo>
                      <a:pt x="71" y="384"/>
                    </a:lnTo>
                    <a:lnTo>
                      <a:pt x="71" y="384"/>
                    </a:lnTo>
                    <a:lnTo>
                      <a:pt x="71" y="384"/>
                    </a:lnTo>
                    <a:lnTo>
                      <a:pt x="64" y="384"/>
                    </a:lnTo>
                    <a:lnTo>
                      <a:pt x="64" y="384"/>
                    </a:lnTo>
                    <a:lnTo>
                      <a:pt x="64" y="391"/>
                    </a:lnTo>
                    <a:lnTo>
                      <a:pt x="64" y="391"/>
                    </a:lnTo>
                    <a:lnTo>
                      <a:pt x="64" y="391"/>
                    </a:lnTo>
                    <a:lnTo>
                      <a:pt x="71" y="398"/>
                    </a:lnTo>
                    <a:lnTo>
                      <a:pt x="71" y="398"/>
                    </a:lnTo>
                    <a:lnTo>
                      <a:pt x="71" y="398"/>
                    </a:lnTo>
                    <a:lnTo>
                      <a:pt x="78" y="398"/>
                    </a:lnTo>
                    <a:lnTo>
                      <a:pt x="85" y="405"/>
                    </a:lnTo>
                    <a:lnTo>
                      <a:pt x="92" y="405"/>
                    </a:lnTo>
                    <a:lnTo>
                      <a:pt x="92" y="405"/>
                    </a:lnTo>
                    <a:lnTo>
                      <a:pt x="92" y="412"/>
                    </a:lnTo>
                    <a:lnTo>
                      <a:pt x="92" y="412"/>
                    </a:lnTo>
                    <a:lnTo>
                      <a:pt x="92" y="412"/>
                    </a:lnTo>
                    <a:lnTo>
                      <a:pt x="92" y="412"/>
                    </a:lnTo>
                    <a:lnTo>
                      <a:pt x="92" y="412"/>
                    </a:lnTo>
                    <a:lnTo>
                      <a:pt x="92" y="412"/>
                    </a:lnTo>
                    <a:lnTo>
                      <a:pt x="99" y="419"/>
                    </a:lnTo>
                    <a:lnTo>
                      <a:pt x="99" y="419"/>
                    </a:lnTo>
                    <a:lnTo>
                      <a:pt x="99" y="419"/>
                    </a:lnTo>
                    <a:lnTo>
                      <a:pt x="99" y="419"/>
                    </a:lnTo>
                    <a:lnTo>
                      <a:pt x="99" y="419"/>
                    </a:lnTo>
                    <a:lnTo>
                      <a:pt x="99" y="419"/>
                    </a:lnTo>
                    <a:lnTo>
                      <a:pt x="99" y="426"/>
                    </a:lnTo>
                    <a:lnTo>
                      <a:pt x="99" y="426"/>
                    </a:lnTo>
                    <a:lnTo>
                      <a:pt x="99" y="433"/>
                    </a:lnTo>
                    <a:lnTo>
                      <a:pt x="99" y="433"/>
                    </a:lnTo>
                    <a:lnTo>
                      <a:pt x="92" y="433"/>
                    </a:lnTo>
                    <a:lnTo>
                      <a:pt x="92" y="441"/>
                    </a:lnTo>
                    <a:lnTo>
                      <a:pt x="92" y="441"/>
                    </a:lnTo>
                    <a:lnTo>
                      <a:pt x="92" y="441"/>
                    </a:lnTo>
                    <a:lnTo>
                      <a:pt x="92" y="441"/>
                    </a:lnTo>
                    <a:lnTo>
                      <a:pt x="85" y="441"/>
                    </a:lnTo>
                    <a:lnTo>
                      <a:pt x="92" y="455"/>
                    </a:lnTo>
                    <a:lnTo>
                      <a:pt x="92" y="462"/>
                    </a:lnTo>
                    <a:lnTo>
                      <a:pt x="92" y="462"/>
                    </a:lnTo>
                    <a:lnTo>
                      <a:pt x="92" y="462"/>
                    </a:lnTo>
                    <a:lnTo>
                      <a:pt x="85" y="469"/>
                    </a:lnTo>
                    <a:lnTo>
                      <a:pt x="85" y="469"/>
                    </a:lnTo>
                    <a:lnTo>
                      <a:pt x="85" y="476"/>
                    </a:lnTo>
                    <a:lnTo>
                      <a:pt x="85" y="476"/>
                    </a:lnTo>
                    <a:lnTo>
                      <a:pt x="85" y="476"/>
                    </a:lnTo>
                    <a:lnTo>
                      <a:pt x="92" y="476"/>
                    </a:lnTo>
                    <a:lnTo>
                      <a:pt x="92" y="483"/>
                    </a:lnTo>
                    <a:lnTo>
                      <a:pt x="92" y="483"/>
                    </a:lnTo>
                    <a:lnTo>
                      <a:pt x="92" y="483"/>
                    </a:lnTo>
                    <a:lnTo>
                      <a:pt x="92" y="490"/>
                    </a:lnTo>
                    <a:lnTo>
                      <a:pt x="92" y="490"/>
                    </a:lnTo>
                    <a:lnTo>
                      <a:pt x="92" y="490"/>
                    </a:lnTo>
                    <a:lnTo>
                      <a:pt x="99" y="490"/>
                    </a:lnTo>
                    <a:lnTo>
                      <a:pt x="99" y="497"/>
                    </a:lnTo>
                    <a:lnTo>
                      <a:pt x="99" y="497"/>
                    </a:lnTo>
                    <a:lnTo>
                      <a:pt x="99" y="497"/>
                    </a:lnTo>
                    <a:lnTo>
                      <a:pt x="106" y="497"/>
                    </a:lnTo>
                    <a:lnTo>
                      <a:pt x="106" y="504"/>
                    </a:lnTo>
                    <a:lnTo>
                      <a:pt x="106" y="504"/>
                    </a:lnTo>
                    <a:lnTo>
                      <a:pt x="106" y="504"/>
                    </a:lnTo>
                    <a:lnTo>
                      <a:pt x="106" y="504"/>
                    </a:lnTo>
                    <a:lnTo>
                      <a:pt x="114" y="504"/>
                    </a:lnTo>
                    <a:lnTo>
                      <a:pt x="114" y="504"/>
                    </a:lnTo>
                    <a:lnTo>
                      <a:pt x="121" y="497"/>
                    </a:lnTo>
                    <a:lnTo>
                      <a:pt x="128" y="490"/>
                    </a:lnTo>
                    <a:lnTo>
                      <a:pt x="128" y="490"/>
                    </a:lnTo>
                    <a:lnTo>
                      <a:pt x="128" y="490"/>
                    </a:lnTo>
                    <a:lnTo>
                      <a:pt x="135" y="490"/>
                    </a:lnTo>
                    <a:lnTo>
                      <a:pt x="142" y="483"/>
                    </a:lnTo>
                    <a:lnTo>
                      <a:pt x="142" y="483"/>
                    </a:lnTo>
                    <a:lnTo>
                      <a:pt x="149" y="483"/>
                    </a:lnTo>
                    <a:lnTo>
                      <a:pt x="149" y="483"/>
                    </a:lnTo>
                    <a:lnTo>
                      <a:pt x="149" y="490"/>
                    </a:lnTo>
                    <a:lnTo>
                      <a:pt x="149" y="490"/>
                    </a:lnTo>
                    <a:lnTo>
                      <a:pt x="149" y="497"/>
                    </a:lnTo>
                    <a:lnTo>
                      <a:pt x="149" y="497"/>
                    </a:lnTo>
                    <a:lnTo>
                      <a:pt x="156" y="504"/>
                    </a:lnTo>
                    <a:lnTo>
                      <a:pt x="156" y="504"/>
                    </a:lnTo>
                    <a:lnTo>
                      <a:pt x="156" y="504"/>
                    </a:lnTo>
                    <a:lnTo>
                      <a:pt x="156" y="504"/>
                    </a:lnTo>
                    <a:lnTo>
                      <a:pt x="156" y="504"/>
                    </a:lnTo>
                    <a:lnTo>
                      <a:pt x="156" y="504"/>
                    </a:lnTo>
                    <a:lnTo>
                      <a:pt x="156" y="512"/>
                    </a:lnTo>
                    <a:lnTo>
                      <a:pt x="149" y="526"/>
                    </a:lnTo>
                    <a:lnTo>
                      <a:pt x="149" y="526"/>
                    </a:lnTo>
                    <a:lnTo>
                      <a:pt x="149" y="526"/>
                    </a:lnTo>
                    <a:lnTo>
                      <a:pt x="149" y="533"/>
                    </a:lnTo>
                    <a:lnTo>
                      <a:pt x="156" y="540"/>
                    </a:lnTo>
                    <a:lnTo>
                      <a:pt x="156" y="540"/>
                    </a:lnTo>
                    <a:lnTo>
                      <a:pt x="156" y="547"/>
                    </a:lnTo>
                    <a:lnTo>
                      <a:pt x="149" y="554"/>
                    </a:lnTo>
                    <a:lnTo>
                      <a:pt x="149" y="554"/>
                    </a:lnTo>
                    <a:lnTo>
                      <a:pt x="149" y="554"/>
                    </a:lnTo>
                    <a:lnTo>
                      <a:pt x="149" y="561"/>
                    </a:lnTo>
                    <a:lnTo>
                      <a:pt x="149" y="568"/>
                    </a:lnTo>
                    <a:lnTo>
                      <a:pt x="149" y="568"/>
                    </a:lnTo>
                    <a:lnTo>
                      <a:pt x="149" y="568"/>
                    </a:lnTo>
                    <a:lnTo>
                      <a:pt x="142" y="597"/>
                    </a:lnTo>
                    <a:lnTo>
                      <a:pt x="142" y="597"/>
                    </a:lnTo>
                    <a:lnTo>
                      <a:pt x="142" y="597"/>
                    </a:lnTo>
                    <a:lnTo>
                      <a:pt x="142" y="597"/>
                    </a:lnTo>
                    <a:lnTo>
                      <a:pt x="142" y="597"/>
                    </a:lnTo>
                    <a:lnTo>
                      <a:pt x="142" y="597"/>
                    </a:lnTo>
                    <a:lnTo>
                      <a:pt x="149" y="597"/>
                    </a:lnTo>
                    <a:lnTo>
                      <a:pt x="149" y="597"/>
                    </a:lnTo>
                    <a:lnTo>
                      <a:pt x="149" y="597"/>
                    </a:lnTo>
                    <a:lnTo>
                      <a:pt x="149" y="597"/>
                    </a:lnTo>
                    <a:lnTo>
                      <a:pt x="149" y="604"/>
                    </a:lnTo>
                    <a:lnTo>
                      <a:pt x="149" y="604"/>
                    </a:lnTo>
                    <a:lnTo>
                      <a:pt x="149" y="604"/>
                    </a:lnTo>
                    <a:lnTo>
                      <a:pt x="156" y="604"/>
                    </a:lnTo>
                    <a:lnTo>
                      <a:pt x="156" y="604"/>
                    </a:lnTo>
                    <a:lnTo>
                      <a:pt x="163" y="597"/>
                    </a:lnTo>
                    <a:lnTo>
                      <a:pt x="163" y="597"/>
                    </a:lnTo>
                    <a:lnTo>
                      <a:pt x="163" y="597"/>
                    </a:lnTo>
                    <a:lnTo>
                      <a:pt x="163" y="597"/>
                    </a:lnTo>
                    <a:lnTo>
                      <a:pt x="170" y="597"/>
                    </a:lnTo>
                    <a:lnTo>
                      <a:pt x="170" y="604"/>
                    </a:lnTo>
                    <a:lnTo>
                      <a:pt x="170" y="604"/>
                    </a:lnTo>
                    <a:lnTo>
                      <a:pt x="170" y="604"/>
                    </a:lnTo>
                    <a:lnTo>
                      <a:pt x="177" y="611"/>
                    </a:lnTo>
                    <a:lnTo>
                      <a:pt x="177" y="611"/>
                    </a:lnTo>
                    <a:lnTo>
                      <a:pt x="177" y="618"/>
                    </a:lnTo>
                    <a:lnTo>
                      <a:pt x="170" y="618"/>
                    </a:lnTo>
                    <a:lnTo>
                      <a:pt x="170" y="625"/>
                    </a:lnTo>
                    <a:lnTo>
                      <a:pt x="170" y="625"/>
                    </a:lnTo>
                    <a:lnTo>
                      <a:pt x="163" y="632"/>
                    </a:lnTo>
                    <a:lnTo>
                      <a:pt x="163" y="639"/>
                    </a:lnTo>
                    <a:lnTo>
                      <a:pt x="156" y="668"/>
                    </a:lnTo>
                    <a:lnTo>
                      <a:pt x="149" y="675"/>
                    </a:lnTo>
                    <a:lnTo>
                      <a:pt x="149" y="682"/>
                    </a:lnTo>
                    <a:lnTo>
                      <a:pt x="142" y="682"/>
                    </a:lnTo>
                    <a:lnTo>
                      <a:pt x="142" y="689"/>
                    </a:lnTo>
                    <a:lnTo>
                      <a:pt x="142" y="689"/>
                    </a:lnTo>
                    <a:lnTo>
                      <a:pt x="142" y="689"/>
                    </a:lnTo>
                    <a:lnTo>
                      <a:pt x="142" y="696"/>
                    </a:lnTo>
                    <a:lnTo>
                      <a:pt x="149" y="703"/>
                    </a:lnTo>
                    <a:lnTo>
                      <a:pt x="149" y="703"/>
                    </a:lnTo>
                    <a:lnTo>
                      <a:pt x="149" y="703"/>
                    </a:lnTo>
                    <a:lnTo>
                      <a:pt x="156" y="710"/>
                    </a:lnTo>
                    <a:lnTo>
                      <a:pt x="156" y="710"/>
                    </a:lnTo>
                    <a:lnTo>
                      <a:pt x="156" y="710"/>
                    </a:lnTo>
                    <a:lnTo>
                      <a:pt x="156" y="710"/>
                    </a:lnTo>
                    <a:lnTo>
                      <a:pt x="156" y="710"/>
                    </a:lnTo>
                    <a:lnTo>
                      <a:pt x="149" y="717"/>
                    </a:lnTo>
                    <a:lnTo>
                      <a:pt x="142" y="732"/>
                    </a:lnTo>
                    <a:lnTo>
                      <a:pt x="142" y="732"/>
                    </a:lnTo>
                    <a:lnTo>
                      <a:pt x="142" y="732"/>
                    </a:lnTo>
                    <a:lnTo>
                      <a:pt x="142" y="732"/>
                    </a:lnTo>
                    <a:lnTo>
                      <a:pt x="142" y="739"/>
                    </a:lnTo>
                    <a:lnTo>
                      <a:pt x="142" y="739"/>
                    </a:lnTo>
                    <a:lnTo>
                      <a:pt x="142" y="739"/>
                    </a:lnTo>
                    <a:lnTo>
                      <a:pt x="142" y="739"/>
                    </a:lnTo>
                    <a:lnTo>
                      <a:pt x="142" y="746"/>
                    </a:lnTo>
                    <a:lnTo>
                      <a:pt x="149" y="746"/>
                    </a:lnTo>
                    <a:lnTo>
                      <a:pt x="149" y="746"/>
                    </a:lnTo>
                    <a:lnTo>
                      <a:pt x="156" y="753"/>
                    </a:lnTo>
                    <a:lnTo>
                      <a:pt x="156" y="753"/>
                    </a:lnTo>
                    <a:lnTo>
                      <a:pt x="156" y="753"/>
                    </a:lnTo>
                    <a:lnTo>
                      <a:pt x="156" y="760"/>
                    </a:lnTo>
                    <a:lnTo>
                      <a:pt x="156" y="760"/>
                    </a:lnTo>
                    <a:lnTo>
                      <a:pt x="156" y="760"/>
                    </a:lnTo>
                    <a:lnTo>
                      <a:pt x="156" y="760"/>
                    </a:lnTo>
                    <a:lnTo>
                      <a:pt x="156" y="767"/>
                    </a:lnTo>
                    <a:lnTo>
                      <a:pt x="149" y="767"/>
                    </a:lnTo>
                    <a:lnTo>
                      <a:pt x="149" y="767"/>
                    </a:lnTo>
                    <a:lnTo>
                      <a:pt x="149" y="767"/>
                    </a:lnTo>
                    <a:lnTo>
                      <a:pt x="149" y="767"/>
                    </a:lnTo>
                    <a:lnTo>
                      <a:pt x="149" y="767"/>
                    </a:lnTo>
                    <a:lnTo>
                      <a:pt x="149" y="767"/>
                    </a:lnTo>
                    <a:lnTo>
                      <a:pt x="149" y="767"/>
                    </a:lnTo>
                    <a:lnTo>
                      <a:pt x="149" y="767"/>
                    </a:lnTo>
                    <a:lnTo>
                      <a:pt x="149" y="767"/>
                    </a:lnTo>
                    <a:lnTo>
                      <a:pt x="149" y="767"/>
                    </a:lnTo>
                    <a:lnTo>
                      <a:pt x="149" y="774"/>
                    </a:lnTo>
                    <a:lnTo>
                      <a:pt x="149" y="774"/>
                    </a:lnTo>
                    <a:lnTo>
                      <a:pt x="149" y="774"/>
                    </a:lnTo>
                    <a:lnTo>
                      <a:pt x="149" y="781"/>
                    </a:lnTo>
                    <a:lnTo>
                      <a:pt x="142" y="781"/>
                    </a:lnTo>
                    <a:lnTo>
                      <a:pt x="142" y="788"/>
                    </a:lnTo>
                    <a:lnTo>
                      <a:pt x="142" y="788"/>
                    </a:lnTo>
                    <a:lnTo>
                      <a:pt x="142" y="788"/>
                    </a:lnTo>
                    <a:lnTo>
                      <a:pt x="142" y="788"/>
                    </a:lnTo>
                    <a:lnTo>
                      <a:pt x="142" y="788"/>
                    </a:lnTo>
                    <a:lnTo>
                      <a:pt x="142" y="788"/>
                    </a:lnTo>
                    <a:lnTo>
                      <a:pt x="142" y="788"/>
                    </a:lnTo>
                    <a:lnTo>
                      <a:pt x="142" y="795"/>
                    </a:lnTo>
                    <a:lnTo>
                      <a:pt x="142" y="795"/>
                    </a:lnTo>
                    <a:lnTo>
                      <a:pt x="135" y="795"/>
                    </a:lnTo>
                    <a:lnTo>
                      <a:pt x="135" y="795"/>
                    </a:lnTo>
                    <a:lnTo>
                      <a:pt x="135" y="795"/>
                    </a:lnTo>
                    <a:lnTo>
                      <a:pt x="135" y="795"/>
                    </a:lnTo>
                    <a:lnTo>
                      <a:pt x="135" y="795"/>
                    </a:lnTo>
                    <a:lnTo>
                      <a:pt x="149" y="810"/>
                    </a:lnTo>
                    <a:lnTo>
                      <a:pt x="156" y="810"/>
                    </a:lnTo>
                    <a:lnTo>
                      <a:pt x="156" y="810"/>
                    </a:lnTo>
                    <a:lnTo>
                      <a:pt x="163" y="817"/>
                    </a:lnTo>
                    <a:lnTo>
                      <a:pt x="163" y="817"/>
                    </a:lnTo>
                    <a:lnTo>
                      <a:pt x="163" y="817"/>
                    </a:lnTo>
                    <a:lnTo>
                      <a:pt x="163" y="817"/>
                    </a:lnTo>
                    <a:lnTo>
                      <a:pt x="185" y="824"/>
                    </a:lnTo>
                    <a:lnTo>
                      <a:pt x="192" y="824"/>
                    </a:lnTo>
                    <a:lnTo>
                      <a:pt x="199" y="824"/>
                    </a:lnTo>
                    <a:lnTo>
                      <a:pt x="199" y="817"/>
                    </a:lnTo>
                    <a:lnTo>
                      <a:pt x="206" y="817"/>
                    </a:lnTo>
                    <a:lnTo>
                      <a:pt x="213" y="817"/>
                    </a:lnTo>
                    <a:lnTo>
                      <a:pt x="227" y="810"/>
                    </a:lnTo>
                    <a:lnTo>
                      <a:pt x="234" y="810"/>
                    </a:lnTo>
                    <a:lnTo>
                      <a:pt x="234" y="803"/>
                    </a:lnTo>
                    <a:lnTo>
                      <a:pt x="234" y="803"/>
                    </a:lnTo>
                    <a:lnTo>
                      <a:pt x="263" y="781"/>
                    </a:lnTo>
                    <a:lnTo>
                      <a:pt x="270" y="781"/>
                    </a:lnTo>
                    <a:lnTo>
                      <a:pt x="277" y="781"/>
                    </a:lnTo>
                    <a:lnTo>
                      <a:pt x="277" y="781"/>
                    </a:lnTo>
                    <a:lnTo>
                      <a:pt x="277" y="774"/>
                    </a:lnTo>
                    <a:lnTo>
                      <a:pt x="277" y="767"/>
                    </a:lnTo>
                    <a:lnTo>
                      <a:pt x="284" y="767"/>
                    </a:lnTo>
                    <a:lnTo>
                      <a:pt x="284" y="767"/>
                    </a:lnTo>
                    <a:lnTo>
                      <a:pt x="284" y="760"/>
                    </a:lnTo>
                    <a:lnTo>
                      <a:pt x="284" y="746"/>
                    </a:lnTo>
                    <a:lnTo>
                      <a:pt x="284" y="739"/>
                    </a:lnTo>
                    <a:lnTo>
                      <a:pt x="284" y="739"/>
                    </a:lnTo>
                    <a:lnTo>
                      <a:pt x="284" y="739"/>
                    </a:lnTo>
                    <a:lnTo>
                      <a:pt x="284" y="739"/>
                    </a:lnTo>
                    <a:lnTo>
                      <a:pt x="284" y="732"/>
                    </a:lnTo>
                    <a:lnTo>
                      <a:pt x="291" y="732"/>
                    </a:lnTo>
                    <a:lnTo>
                      <a:pt x="291" y="724"/>
                    </a:lnTo>
                    <a:lnTo>
                      <a:pt x="291" y="724"/>
                    </a:lnTo>
                    <a:lnTo>
                      <a:pt x="291" y="724"/>
                    </a:lnTo>
                    <a:lnTo>
                      <a:pt x="298" y="724"/>
                    </a:lnTo>
                    <a:lnTo>
                      <a:pt x="298" y="717"/>
                    </a:lnTo>
                    <a:lnTo>
                      <a:pt x="298" y="717"/>
                    </a:lnTo>
                    <a:lnTo>
                      <a:pt x="298" y="717"/>
                    </a:lnTo>
                    <a:lnTo>
                      <a:pt x="291" y="717"/>
                    </a:lnTo>
                    <a:lnTo>
                      <a:pt x="291" y="724"/>
                    </a:lnTo>
                    <a:lnTo>
                      <a:pt x="291" y="724"/>
                    </a:lnTo>
                    <a:lnTo>
                      <a:pt x="291" y="717"/>
                    </a:lnTo>
                    <a:lnTo>
                      <a:pt x="291" y="717"/>
                    </a:lnTo>
                    <a:lnTo>
                      <a:pt x="291" y="703"/>
                    </a:lnTo>
                    <a:lnTo>
                      <a:pt x="291" y="703"/>
                    </a:lnTo>
                    <a:lnTo>
                      <a:pt x="298" y="696"/>
                    </a:lnTo>
                    <a:lnTo>
                      <a:pt x="298" y="689"/>
                    </a:lnTo>
                    <a:lnTo>
                      <a:pt x="319" y="675"/>
                    </a:lnTo>
                    <a:lnTo>
                      <a:pt x="326" y="668"/>
                    </a:lnTo>
                    <a:lnTo>
                      <a:pt x="334" y="668"/>
                    </a:lnTo>
                    <a:lnTo>
                      <a:pt x="334" y="668"/>
                    </a:lnTo>
                    <a:lnTo>
                      <a:pt x="355" y="661"/>
                    </a:lnTo>
                    <a:lnTo>
                      <a:pt x="362" y="661"/>
                    </a:lnTo>
                    <a:lnTo>
                      <a:pt x="362" y="661"/>
                    </a:lnTo>
                    <a:lnTo>
                      <a:pt x="362" y="661"/>
                    </a:lnTo>
                    <a:lnTo>
                      <a:pt x="362" y="661"/>
                    </a:lnTo>
                    <a:lnTo>
                      <a:pt x="362" y="661"/>
                    </a:lnTo>
                    <a:lnTo>
                      <a:pt x="376" y="653"/>
                    </a:lnTo>
                    <a:lnTo>
                      <a:pt x="376" y="653"/>
                    </a:lnTo>
                    <a:lnTo>
                      <a:pt x="376" y="653"/>
                    </a:lnTo>
                    <a:lnTo>
                      <a:pt x="376" y="653"/>
                    </a:lnTo>
                    <a:lnTo>
                      <a:pt x="383" y="653"/>
                    </a:lnTo>
                    <a:lnTo>
                      <a:pt x="383" y="653"/>
                    </a:lnTo>
                    <a:lnTo>
                      <a:pt x="390" y="646"/>
                    </a:lnTo>
                    <a:lnTo>
                      <a:pt x="390" y="646"/>
                    </a:lnTo>
                    <a:lnTo>
                      <a:pt x="397" y="646"/>
                    </a:lnTo>
                    <a:lnTo>
                      <a:pt x="397" y="646"/>
                    </a:lnTo>
                    <a:lnTo>
                      <a:pt x="397" y="646"/>
                    </a:lnTo>
                    <a:lnTo>
                      <a:pt x="397" y="646"/>
                    </a:lnTo>
                    <a:lnTo>
                      <a:pt x="405" y="646"/>
                    </a:lnTo>
                    <a:lnTo>
                      <a:pt x="405" y="646"/>
                    </a:lnTo>
                    <a:lnTo>
                      <a:pt x="405" y="646"/>
                    </a:lnTo>
                    <a:lnTo>
                      <a:pt x="412" y="639"/>
                    </a:lnTo>
                    <a:lnTo>
                      <a:pt x="419" y="646"/>
                    </a:lnTo>
                    <a:lnTo>
                      <a:pt x="419" y="646"/>
                    </a:lnTo>
                    <a:lnTo>
                      <a:pt x="426" y="646"/>
                    </a:lnTo>
                    <a:lnTo>
                      <a:pt x="426" y="646"/>
                    </a:lnTo>
                    <a:lnTo>
                      <a:pt x="433" y="646"/>
                    </a:lnTo>
                    <a:lnTo>
                      <a:pt x="440" y="639"/>
                    </a:lnTo>
                    <a:lnTo>
                      <a:pt x="440" y="646"/>
                    </a:lnTo>
                    <a:lnTo>
                      <a:pt x="440" y="646"/>
                    </a:lnTo>
                    <a:lnTo>
                      <a:pt x="447" y="646"/>
                    </a:lnTo>
                    <a:lnTo>
                      <a:pt x="447" y="646"/>
                    </a:lnTo>
                    <a:lnTo>
                      <a:pt x="454" y="646"/>
                    </a:lnTo>
                    <a:lnTo>
                      <a:pt x="468" y="653"/>
                    </a:lnTo>
                    <a:lnTo>
                      <a:pt x="476" y="661"/>
                    </a:lnTo>
                    <a:lnTo>
                      <a:pt x="476" y="661"/>
                    </a:lnTo>
                    <a:lnTo>
                      <a:pt x="483" y="661"/>
                    </a:lnTo>
                    <a:lnTo>
                      <a:pt x="476" y="653"/>
                    </a:lnTo>
                    <a:lnTo>
                      <a:pt x="468" y="646"/>
                    </a:lnTo>
                    <a:lnTo>
                      <a:pt x="468" y="646"/>
                    </a:lnTo>
                    <a:lnTo>
                      <a:pt x="461" y="646"/>
                    </a:lnTo>
                    <a:lnTo>
                      <a:pt x="461" y="646"/>
                    </a:lnTo>
                    <a:lnTo>
                      <a:pt x="461" y="646"/>
                    </a:lnTo>
                    <a:lnTo>
                      <a:pt x="461" y="646"/>
                    </a:lnTo>
                    <a:lnTo>
                      <a:pt x="461" y="639"/>
                    </a:lnTo>
                    <a:lnTo>
                      <a:pt x="461" y="639"/>
                    </a:lnTo>
                    <a:lnTo>
                      <a:pt x="461" y="639"/>
                    </a:lnTo>
                    <a:lnTo>
                      <a:pt x="461" y="639"/>
                    </a:lnTo>
                    <a:lnTo>
                      <a:pt x="461" y="639"/>
                    </a:lnTo>
                    <a:lnTo>
                      <a:pt x="461" y="632"/>
                    </a:lnTo>
                    <a:lnTo>
                      <a:pt x="454" y="639"/>
                    </a:lnTo>
                    <a:lnTo>
                      <a:pt x="454" y="639"/>
                    </a:lnTo>
                    <a:lnTo>
                      <a:pt x="447" y="639"/>
                    </a:lnTo>
                    <a:lnTo>
                      <a:pt x="433" y="639"/>
                    </a:lnTo>
                    <a:lnTo>
                      <a:pt x="426" y="639"/>
                    </a:lnTo>
                    <a:lnTo>
                      <a:pt x="419" y="639"/>
                    </a:lnTo>
                    <a:lnTo>
                      <a:pt x="405" y="625"/>
                    </a:lnTo>
                    <a:lnTo>
                      <a:pt x="405" y="625"/>
                    </a:lnTo>
                    <a:lnTo>
                      <a:pt x="397" y="618"/>
                    </a:lnTo>
                    <a:lnTo>
                      <a:pt x="397" y="611"/>
                    </a:lnTo>
                    <a:lnTo>
                      <a:pt x="405" y="604"/>
                    </a:lnTo>
                    <a:lnTo>
                      <a:pt x="405" y="597"/>
                    </a:lnTo>
                    <a:lnTo>
                      <a:pt x="405" y="597"/>
                    </a:lnTo>
                    <a:lnTo>
                      <a:pt x="405" y="597"/>
                    </a:lnTo>
                    <a:lnTo>
                      <a:pt x="405" y="590"/>
                    </a:lnTo>
                    <a:lnTo>
                      <a:pt x="405" y="590"/>
                    </a:lnTo>
                    <a:lnTo>
                      <a:pt x="412" y="590"/>
                    </a:lnTo>
                    <a:lnTo>
                      <a:pt x="412" y="590"/>
                    </a:lnTo>
                    <a:lnTo>
                      <a:pt x="412" y="590"/>
                    </a:lnTo>
                    <a:lnTo>
                      <a:pt x="412" y="583"/>
                    </a:lnTo>
                    <a:lnTo>
                      <a:pt x="412" y="583"/>
                    </a:lnTo>
                    <a:lnTo>
                      <a:pt x="419" y="568"/>
                    </a:lnTo>
                    <a:lnTo>
                      <a:pt x="426" y="568"/>
                    </a:lnTo>
                    <a:lnTo>
                      <a:pt x="426" y="561"/>
                    </a:lnTo>
                    <a:lnTo>
                      <a:pt x="426" y="561"/>
                    </a:lnTo>
                    <a:lnTo>
                      <a:pt x="426" y="561"/>
                    </a:lnTo>
                    <a:lnTo>
                      <a:pt x="433" y="554"/>
                    </a:lnTo>
                    <a:lnTo>
                      <a:pt x="433" y="547"/>
                    </a:lnTo>
                    <a:lnTo>
                      <a:pt x="440" y="540"/>
                    </a:lnTo>
                    <a:lnTo>
                      <a:pt x="447" y="533"/>
                    </a:lnTo>
                    <a:lnTo>
                      <a:pt x="454" y="526"/>
                    </a:lnTo>
                    <a:lnTo>
                      <a:pt x="447" y="526"/>
                    </a:lnTo>
                    <a:lnTo>
                      <a:pt x="447" y="519"/>
                    </a:lnTo>
                    <a:lnTo>
                      <a:pt x="447" y="512"/>
                    </a:lnTo>
                    <a:lnTo>
                      <a:pt x="447" y="512"/>
                    </a:lnTo>
                    <a:lnTo>
                      <a:pt x="447" y="504"/>
                    </a:lnTo>
                    <a:lnTo>
                      <a:pt x="447" y="504"/>
                    </a:lnTo>
                    <a:lnTo>
                      <a:pt x="447" y="504"/>
                    </a:lnTo>
                    <a:lnTo>
                      <a:pt x="454" y="504"/>
                    </a:lnTo>
                    <a:lnTo>
                      <a:pt x="454" y="504"/>
                    </a:lnTo>
                    <a:lnTo>
                      <a:pt x="454" y="497"/>
                    </a:lnTo>
                    <a:lnTo>
                      <a:pt x="454" y="497"/>
                    </a:lnTo>
                    <a:lnTo>
                      <a:pt x="454" y="497"/>
                    </a:lnTo>
                    <a:lnTo>
                      <a:pt x="454" y="490"/>
                    </a:lnTo>
                    <a:lnTo>
                      <a:pt x="461" y="490"/>
                    </a:lnTo>
                    <a:lnTo>
                      <a:pt x="468" y="483"/>
                    </a:lnTo>
                    <a:lnTo>
                      <a:pt x="468" y="483"/>
                    </a:lnTo>
                    <a:lnTo>
                      <a:pt x="468" y="483"/>
                    </a:lnTo>
                    <a:lnTo>
                      <a:pt x="476" y="483"/>
                    </a:lnTo>
                    <a:lnTo>
                      <a:pt x="476" y="483"/>
                    </a:lnTo>
                    <a:lnTo>
                      <a:pt x="490" y="483"/>
                    </a:lnTo>
                    <a:lnTo>
                      <a:pt x="490" y="483"/>
                    </a:lnTo>
                    <a:lnTo>
                      <a:pt x="490" y="483"/>
                    </a:lnTo>
                    <a:lnTo>
                      <a:pt x="490" y="483"/>
                    </a:lnTo>
                    <a:lnTo>
                      <a:pt x="497" y="483"/>
                    </a:lnTo>
                    <a:lnTo>
                      <a:pt x="497" y="483"/>
                    </a:lnTo>
                    <a:lnTo>
                      <a:pt x="504" y="483"/>
                    </a:lnTo>
                    <a:lnTo>
                      <a:pt x="497" y="483"/>
                    </a:lnTo>
                    <a:lnTo>
                      <a:pt x="497" y="483"/>
                    </a:lnTo>
                    <a:lnTo>
                      <a:pt x="497" y="483"/>
                    </a:lnTo>
                    <a:lnTo>
                      <a:pt x="490" y="483"/>
                    </a:lnTo>
                    <a:lnTo>
                      <a:pt x="490" y="483"/>
                    </a:lnTo>
                    <a:lnTo>
                      <a:pt x="490" y="490"/>
                    </a:lnTo>
                    <a:lnTo>
                      <a:pt x="490" y="490"/>
                    </a:lnTo>
                    <a:lnTo>
                      <a:pt x="497" y="490"/>
                    </a:lnTo>
                    <a:lnTo>
                      <a:pt x="497" y="490"/>
                    </a:lnTo>
                    <a:lnTo>
                      <a:pt x="525" y="490"/>
                    </a:lnTo>
                    <a:lnTo>
                      <a:pt x="525" y="490"/>
                    </a:lnTo>
                    <a:lnTo>
                      <a:pt x="525" y="490"/>
                    </a:lnTo>
                    <a:lnTo>
                      <a:pt x="525" y="490"/>
                    </a:lnTo>
                    <a:lnTo>
                      <a:pt x="518" y="490"/>
                    </a:lnTo>
                    <a:lnTo>
                      <a:pt x="518" y="490"/>
                    </a:lnTo>
                    <a:lnTo>
                      <a:pt x="511" y="490"/>
                    </a:lnTo>
                    <a:lnTo>
                      <a:pt x="511" y="490"/>
                    </a:lnTo>
                    <a:lnTo>
                      <a:pt x="511" y="490"/>
                    </a:lnTo>
                    <a:lnTo>
                      <a:pt x="511" y="483"/>
                    </a:lnTo>
                    <a:lnTo>
                      <a:pt x="504" y="483"/>
                    </a:lnTo>
                    <a:lnTo>
                      <a:pt x="504" y="483"/>
                    </a:lnTo>
                    <a:lnTo>
                      <a:pt x="504" y="483"/>
                    </a:lnTo>
                    <a:lnTo>
                      <a:pt x="504" y="483"/>
                    </a:lnTo>
                    <a:lnTo>
                      <a:pt x="504" y="483"/>
                    </a:lnTo>
                    <a:lnTo>
                      <a:pt x="525" y="483"/>
                    </a:lnTo>
                    <a:lnTo>
                      <a:pt x="525" y="490"/>
                    </a:lnTo>
                    <a:lnTo>
                      <a:pt x="525" y="490"/>
                    </a:lnTo>
                    <a:lnTo>
                      <a:pt x="525" y="490"/>
                    </a:lnTo>
                    <a:lnTo>
                      <a:pt x="532" y="490"/>
                    </a:lnTo>
                    <a:lnTo>
                      <a:pt x="532" y="490"/>
                    </a:lnTo>
                    <a:lnTo>
                      <a:pt x="539" y="490"/>
                    </a:lnTo>
                    <a:lnTo>
                      <a:pt x="539" y="490"/>
                    </a:lnTo>
                    <a:lnTo>
                      <a:pt x="539" y="476"/>
                    </a:lnTo>
                    <a:lnTo>
                      <a:pt x="539" y="448"/>
                    </a:lnTo>
                    <a:lnTo>
                      <a:pt x="539" y="441"/>
                    </a:lnTo>
                    <a:lnTo>
                      <a:pt x="532" y="419"/>
                    </a:lnTo>
                    <a:lnTo>
                      <a:pt x="532" y="412"/>
                    </a:lnTo>
                    <a:lnTo>
                      <a:pt x="532" y="412"/>
                    </a:lnTo>
                    <a:lnTo>
                      <a:pt x="532" y="412"/>
                    </a:lnTo>
                    <a:lnTo>
                      <a:pt x="532" y="405"/>
                    </a:lnTo>
                    <a:lnTo>
                      <a:pt x="532" y="405"/>
                    </a:lnTo>
                    <a:lnTo>
                      <a:pt x="525" y="405"/>
                    </a:lnTo>
                    <a:lnTo>
                      <a:pt x="525" y="405"/>
                    </a:lnTo>
                    <a:lnTo>
                      <a:pt x="525" y="405"/>
                    </a:lnTo>
                    <a:lnTo>
                      <a:pt x="525" y="405"/>
                    </a:lnTo>
                    <a:lnTo>
                      <a:pt x="525" y="405"/>
                    </a:lnTo>
                    <a:lnTo>
                      <a:pt x="525" y="405"/>
                    </a:lnTo>
                    <a:lnTo>
                      <a:pt x="525" y="398"/>
                    </a:lnTo>
                    <a:lnTo>
                      <a:pt x="525" y="398"/>
                    </a:lnTo>
                    <a:lnTo>
                      <a:pt x="525" y="398"/>
                    </a:lnTo>
                    <a:lnTo>
                      <a:pt x="525" y="398"/>
                    </a:lnTo>
                    <a:lnTo>
                      <a:pt x="525" y="398"/>
                    </a:lnTo>
                    <a:lnTo>
                      <a:pt x="525" y="398"/>
                    </a:lnTo>
                    <a:lnTo>
                      <a:pt x="525" y="398"/>
                    </a:lnTo>
                    <a:lnTo>
                      <a:pt x="525" y="398"/>
                    </a:lnTo>
                    <a:lnTo>
                      <a:pt x="525" y="398"/>
                    </a:lnTo>
                    <a:lnTo>
                      <a:pt x="525" y="398"/>
                    </a:lnTo>
                    <a:lnTo>
                      <a:pt x="518" y="398"/>
                    </a:lnTo>
                    <a:lnTo>
                      <a:pt x="518" y="398"/>
                    </a:lnTo>
                    <a:lnTo>
                      <a:pt x="518" y="398"/>
                    </a:lnTo>
                    <a:lnTo>
                      <a:pt x="518" y="398"/>
                    </a:lnTo>
                    <a:lnTo>
                      <a:pt x="518" y="398"/>
                    </a:lnTo>
                    <a:lnTo>
                      <a:pt x="518" y="398"/>
                    </a:lnTo>
                    <a:lnTo>
                      <a:pt x="511" y="398"/>
                    </a:lnTo>
                    <a:lnTo>
                      <a:pt x="511" y="391"/>
                    </a:lnTo>
                    <a:lnTo>
                      <a:pt x="518" y="391"/>
                    </a:lnTo>
                    <a:lnTo>
                      <a:pt x="518" y="391"/>
                    </a:lnTo>
                    <a:lnTo>
                      <a:pt x="511" y="391"/>
                    </a:lnTo>
                    <a:lnTo>
                      <a:pt x="511" y="391"/>
                    </a:lnTo>
                    <a:lnTo>
                      <a:pt x="511" y="391"/>
                    </a:lnTo>
                    <a:lnTo>
                      <a:pt x="518" y="391"/>
                    </a:lnTo>
                    <a:lnTo>
                      <a:pt x="518" y="391"/>
                    </a:lnTo>
                    <a:lnTo>
                      <a:pt x="518" y="391"/>
                    </a:lnTo>
                    <a:lnTo>
                      <a:pt x="518" y="391"/>
                    </a:lnTo>
                    <a:lnTo>
                      <a:pt x="518" y="391"/>
                    </a:lnTo>
                    <a:lnTo>
                      <a:pt x="518" y="391"/>
                    </a:lnTo>
                    <a:lnTo>
                      <a:pt x="518" y="384"/>
                    </a:lnTo>
                    <a:lnTo>
                      <a:pt x="518" y="384"/>
                    </a:lnTo>
                    <a:lnTo>
                      <a:pt x="518" y="384"/>
                    </a:lnTo>
                    <a:lnTo>
                      <a:pt x="518" y="384"/>
                    </a:lnTo>
                    <a:lnTo>
                      <a:pt x="518" y="384"/>
                    </a:lnTo>
                    <a:lnTo>
                      <a:pt x="518" y="384"/>
                    </a:lnTo>
                    <a:lnTo>
                      <a:pt x="525" y="384"/>
                    </a:lnTo>
                    <a:lnTo>
                      <a:pt x="525" y="384"/>
                    </a:lnTo>
                    <a:lnTo>
                      <a:pt x="525" y="384"/>
                    </a:lnTo>
                    <a:lnTo>
                      <a:pt x="525" y="384"/>
                    </a:lnTo>
                    <a:lnTo>
                      <a:pt x="532" y="384"/>
                    </a:lnTo>
                    <a:lnTo>
                      <a:pt x="532" y="384"/>
                    </a:lnTo>
                    <a:lnTo>
                      <a:pt x="532" y="384"/>
                    </a:lnTo>
                    <a:lnTo>
                      <a:pt x="532" y="377"/>
                    </a:lnTo>
                    <a:lnTo>
                      <a:pt x="532" y="355"/>
                    </a:lnTo>
                    <a:lnTo>
                      <a:pt x="532" y="341"/>
                    </a:lnTo>
                    <a:lnTo>
                      <a:pt x="532" y="327"/>
                    </a:lnTo>
                    <a:lnTo>
                      <a:pt x="532" y="327"/>
                    </a:lnTo>
                    <a:lnTo>
                      <a:pt x="532" y="327"/>
                    </a:lnTo>
                    <a:lnTo>
                      <a:pt x="525" y="327"/>
                    </a:lnTo>
                    <a:lnTo>
                      <a:pt x="525" y="327"/>
                    </a:lnTo>
                    <a:lnTo>
                      <a:pt x="518" y="327"/>
                    </a:lnTo>
                    <a:lnTo>
                      <a:pt x="518" y="334"/>
                    </a:lnTo>
                    <a:lnTo>
                      <a:pt x="518" y="334"/>
                    </a:lnTo>
                    <a:lnTo>
                      <a:pt x="511" y="334"/>
                    </a:lnTo>
                    <a:lnTo>
                      <a:pt x="511" y="334"/>
                    </a:lnTo>
                    <a:lnTo>
                      <a:pt x="511" y="334"/>
                    </a:lnTo>
                    <a:lnTo>
                      <a:pt x="511" y="334"/>
                    </a:lnTo>
                    <a:lnTo>
                      <a:pt x="518" y="327"/>
                    </a:lnTo>
                    <a:lnTo>
                      <a:pt x="518" y="327"/>
                    </a:lnTo>
                    <a:lnTo>
                      <a:pt x="518" y="327"/>
                    </a:lnTo>
                    <a:lnTo>
                      <a:pt x="525" y="327"/>
                    </a:lnTo>
                    <a:lnTo>
                      <a:pt x="525" y="327"/>
                    </a:lnTo>
                    <a:lnTo>
                      <a:pt x="525" y="327"/>
                    </a:lnTo>
                    <a:lnTo>
                      <a:pt x="525" y="327"/>
                    </a:lnTo>
                    <a:lnTo>
                      <a:pt x="532" y="327"/>
                    </a:lnTo>
                    <a:lnTo>
                      <a:pt x="532" y="320"/>
                    </a:lnTo>
                    <a:lnTo>
                      <a:pt x="532" y="313"/>
                    </a:lnTo>
                    <a:lnTo>
                      <a:pt x="525" y="313"/>
                    </a:lnTo>
                    <a:lnTo>
                      <a:pt x="525" y="313"/>
                    </a:lnTo>
                    <a:lnTo>
                      <a:pt x="525" y="313"/>
                    </a:lnTo>
                    <a:lnTo>
                      <a:pt x="525" y="313"/>
                    </a:lnTo>
                    <a:lnTo>
                      <a:pt x="525" y="320"/>
                    </a:lnTo>
                    <a:lnTo>
                      <a:pt x="525" y="320"/>
                    </a:lnTo>
                    <a:lnTo>
                      <a:pt x="525" y="320"/>
                    </a:lnTo>
                    <a:lnTo>
                      <a:pt x="525" y="313"/>
                    </a:lnTo>
                    <a:lnTo>
                      <a:pt x="518" y="299"/>
                    </a:lnTo>
                    <a:lnTo>
                      <a:pt x="518" y="299"/>
                    </a:lnTo>
                    <a:lnTo>
                      <a:pt x="518" y="291"/>
                    </a:lnTo>
                    <a:lnTo>
                      <a:pt x="518" y="284"/>
                    </a:lnTo>
                    <a:lnTo>
                      <a:pt x="518" y="277"/>
                    </a:lnTo>
                    <a:lnTo>
                      <a:pt x="525" y="263"/>
                    </a:lnTo>
                    <a:lnTo>
                      <a:pt x="525" y="263"/>
                    </a:lnTo>
                    <a:lnTo>
                      <a:pt x="525" y="263"/>
                    </a:lnTo>
                    <a:lnTo>
                      <a:pt x="525" y="256"/>
                    </a:lnTo>
                    <a:lnTo>
                      <a:pt x="525" y="256"/>
                    </a:lnTo>
                    <a:lnTo>
                      <a:pt x="525" y="256"/>
                    </a:lnTo>
                    <a:lnTo>
                      <a:pt x="518" y="256"/>
                    </a:lnTo>
                    <a:lnTo>
                      <a:pt x="518" y="256"/>
                    </a:lnTo>
                    <a:lnTo>
                      <a:pt x="518" y="256"/>
                    </a:lnTo>
                    <a:lnTo>
                      <a:pt x="518" y="256"/>
                    </a:lnTo>
                    <a:lnTo>
                      <a:pt x="518" y="256"/>
                    </a:lnTo>
                    <a:lnTo>
                      <a:pt x="518" y="256"/>
                    </a:lnTo>
                    <a:lnTo>
                      <a:pt x="518" y="256"/>
                    </a:lnTo>
                    <a:lnTo>
                      <a:pt x="511" y="256"/>
                    </a:lnTo>
                    <a:lnTo>
                      <a:pt x="511" y="256"/>
                    </a:lnTo>
                    <a:lnTo>
                      <a:pt x="511" y="256"/>
                    </a:lnTo>
                    <a:lnTo>
                      <a:pt x="511" y="256"/>
                    </a:lnTo>
                    <a:lnTo>
                      <a:pt x="511" y="249"/>
                    </a:lnTo>
                    <a:lnTo>
                      <a:pt x="511" y="249"/>
                    </a:lnTo>
                    <a:lnTo>
                      <a:pt x="511" y="249"/>
                    </a:lnTo>
                    <a:lnTo>
                      <a:pt x="511" y="249"/>
                    </a:lnTo>
                    <a:lnTo>
                      <a:pt x="511" y="249"/>
                    </a:lnTo>
                    <a:lnTo>
                      <a:pt x="511" y="249"/>
                    </a:lnTo>
                    <a:lnTo>
                      <a:pt x="511" y="242"/>
                    </a:lnTo>
                    <a:lnTo>
                      <a:pt x="511" y="242"/>
                    </a:lnTo>
                    <a:lnTo>
                      <a:pt x="511" y="242"/>
                    </a:lnTo>
                    <a:lnTo>
                      <a:pt x="511" y="242"/>
                    </a:lnTo>
                    <a:lnTo>
                      <a:pt x="511" y="242"/>
                    </a:lnTo>
                    <a:lnTo>
                      <a:pt x="511" y="242"/>
                    </a:lnTo>
                    <a:lnTo>
                      <a:pt x="511" y="242"/>
                    </a:lnTo>
                    <a:lnTo>
                      <a:pt x="511" y="242"/>
                    </a:lnTo>
                    <a:lnTo>
                      <a:pt x="511" y="242"/>
                    </a:lnTo>
                    <a:lnTo>
                      <a:pt x="504" y="235"/>
                    </a:lnTo>
                    <a:lnTo>
                      <a:pt x="504" y="235"/>
                    </a:lnTo>
                    <a:lnTo>
                      <a:pt x="504" y="235"/>
                    </a:lnTo>
                    <a:lnTo>
                      <a:pt x="504" y="235"/>
                    </a:lnTo>
                    <a:lnTo>
                      <a:pt x="511" y="235"/>
                    </a:lnTo>
                    <a:lnTo>
                      <a:pt x="511" y="235"/>
                    </a:lnTo>
                    <a:lnTo>
                      <a:pt x="511" y="235"/>
                    </a:lnTo>
                    <a:lnTo>
                      <a:pt x="511" y="235"/>
                    </a:lnTo>
                    <a:lnTo>
                      <a:pt x="511" y="235"/>
                    </a:lnTo>
                    <a:lnTo>
                      <a:pt x="511" y="235"/>
                    </a:lnTo>
                    <a:lnTo>
                      <a:pt x="511" y="235"/>
                    </a:lnTo>
                    <a:lnTo>
                      <a:pt x="511" y="235"/>
                    </a:lnTo>
                    <a:lnTo>
                      <a:pt x="518" y="235"/>
                    </a:lnTo>
                    <a:lnTo>
                      <a:pt x="518" y="235"/>
                    </a:lnTo>
                    <a:lnTo>
                      <a:pt x="518" y="235"/>
                    </a:lnTo>
                    <a:lnTo>
                      <a:pt x="518" y="235"/>
                    </a:lnTo>
                    <a:lnTo>
                      <a:pt x="518" y="235"/>
                    </a:lnTo>
                    <a:lnTo>
                      <a:pt x="518" y="235"/>
                    </a:lnTo>
                    <a:lnTo>
                      <a:pt x="518" y="235"/>
                    </a:lnTo>
                    <a:lnTo>
                      <a:pt x="518" y="242"/>
                    </a:lnTo>
                    <a:lnTo>
                      <a:pt x="518" y="242"/>
                    </a:lnTo>
                    <a:lnTo>
                      <a:pt x="518" y="242"/>
                    </a:lnTo>
                    <a:lnTo>
                      <a:pt x="518" y="242"/>
                    </a:lnTo>
                    <a:lnTo>
                      <a:pt x="518" y="242"/>
                    </a:lnTo>
                    <a:lnTo>
                      <a:pt x="518" y="242"/>
                    </a:lnTo>
                    <a:lnTo>
                      <a:pt x="525" y="242"/>
                    </a:lnTo>
                    <a:lnTo>
                      <a:pt x="525" y="242"/>
                    </a:lnTo>
                    <a:lnTo>
                      <a:pt x="525" y="242"/>
                    </a:lnTo>
                    <a:lnTo>
                      <a:pt x="525" y="242"/>
                    </a:lnTo>
                    <a:lnTo>
                      <a:pt x="532" y="242"/>
                    </a:lnTo>
                    <a:lnTo>
                      <a:pt x="532" y="235"/>
                    </a:lnTo>
                    <a:lnTo>
                      <a:pt x="532" y="235"/>
                    </a:lnTo>
                    <a:lnTo>
                      <a:pt x="532" y="235"/>
                    </a:lnTo>
                    <a:lnTo>
                      <a:pt x="532" y="235"/>
                    </a:lnTo>
                    <a:lnTo>
                      <a:pt x="532" y="235"/>
                    </a:lnTo>
                    <a:lnTo>
                      <a:pt x="532" y="228"/>
                    </a:lnTo>
                    <a:lnTo>
                      <a:pt x="532" y="228"/>
                    </a:lnTo>
                    <a:lnTo>
                      <a:pt x="532" y="228"/>
                    </a:lnTo>
                    <a:lnTo>
                      <a:pt x="539" y="220"/>
                    </a:lnTo>
                    <a:lnTo>
                      <a:pt x="547" y="213"/>
                    </a:lnTo>
                    <a:lnTo>
                      <a:pt x="547" y="213"/>
                    </a:lnTo>
                    <a:lnTo>
                      <a:pt x="547" y="206"/>
                    </a:lnTo>
                    <a:lnTo>
                      <a:pt x="554" y="192"/>
                    </a:lnTo>
                    <a:lnTo>
                      <a:pt x="547" y="199"/>
                    </a:lnTo>
                    <a:lnTo>
                      <a:pt x="547" y="199"/>
                    </a:lnTo>
                    <a:lnTo>
                      <a:pt x="547" y="199"/>
                    </a:lnTo>
                    <a:lnTo>
                      <a:pt x="547" y="199"/>
                    </a:lnTo>
                    <a:lnTo>
                      <a:pt x="554" y="192"/>
                    </a:lnTo>
                    <a:lnTo>
                      <a:pt x="561" y="192"/>
                    </a:lnTo>
                    <a:lnTo>
                      <a:pt x="561" y="178"/>
                    </a:lnTo>
                    <a:lnTo>
                      <a:pt x="561" y="178"/>
                    </a:lnTo>
                    <a:lnTo>
                      <a:pt x="561" y="178"/>
                    </a:lnTo>
                    <a:lnTo>
                      <a:pt x="568" y="178"/>
                    </a:lnTo>
                    <a:lnTo>
                      <a:pt x="568" y="178"/>
                    </a:lnTo>
                    <a:lnTo>
                      <a:pt x="568" y="171"/>
                    </a:lnTo>
                    <a:lnTo>
                      <a:pt x="568" y="171"/>
                    </a:lnTo>
                    <a:lnTo>
                      <a:pt x="575" y="157"/>
                    </a:lnTo>
                    <a:lnTo>
                      <a:pt x="582" y="149"/>
                    </a:lnTo>
                    <a:lnTo>
                      <a:pt x="582" y="149"/>
                    </a:lnTo>
                    <a:lnTo>
                      <a:pt x="582" y="142"/>
                    </a:lnTo>
                    <a:lnTo>
                      <a:pt x="582" y="135"/>
                    </a:lnTo>
                    <a:lnTo>
                      <a:pt x="582" y="135"/>
                    </a:lnTo>
                    <a:lnTo>
                      <a:pt x="582" y="128"/>
                    </a:lnTo>
                    <a:lnTo>
                      <a:pt x="589" y="128"/>
                    </a:lnTo>
                    <a:lnTo>
                      <a:pt x="589" y="121"/>
                    </a:lnTo>
                    <a:lnTo>
                      <a:pt x="589" y="114"/>
                    </a:lnTo>
                    <a:lnTo>
                      <a:pt x="589" y="107"/>
                    </a:lnTo>
                    <a:lnTo>
                      <a:pt x="589" y="86"/>
                    </a:lnTo>
                    <a:lnTo>
                      <a:pt x="596" y="79"/>
                    </a:lnTo>
                    <a:lnTo>
                      <a:pt x="596" y="71"/>
                    </a:lnTo>
                    <a:lnTo>
                      <a:pt x="596" y="71"/>
                    </a:lnTo>
                    <a:lnTo>
                      <a:pt x="596" y="64"/>
                    </a:lnTo>
                    <a:lnTo>
                      <a:pt x="596" y="64"/>
                    </a:lnTo>
                    <a:lnTo>
                      <a:pt x="596" y="57"/>
                    </a:lnTo>
                    <a:lnTo>
                      <a:pt x="596" y="57"/>
                    </a:lnTo>
                    <a:lnTo>
                      <a:pt x="596" y="57"/>
                    </a:lnTo>
                    <a:lnTo>
                      <a:pt x="596" y="50"/>
                    </a:lnTo>
                    <a:lnTo>
                      <a:pt x="596" y="50"/>
                    </a:lnTo>
                    <a:lnTo>
                      <a:pt x="596" y="43"/>
                    </a:lnTo>
                    <a:lnTo>
                      <a:pt x="596" y="50"/>
                    </a:lnTo>
                    <a:lnTo>
                      <a:pt x="596" y="50"/>
                    </a:lnTo>
                    <a:lnTo>
                      <a:pt x="596" y="43"/>
                    </a:lnTo>
                    <a:lnTo>
                      <a:pt x="596" y="43"/>
                    </a:lnTo>
                    <a:lnTo>
                      <a:pt x="596" y="43"/>
                    </a:lnTo>
                    <a:lnTo>
                      <a:pt x="596" y="43"/>
                    </a:lnTo>
                    <a:lnTo>
                      <a:pt x="603" y="36"/>
                    </a:lnTo>
                    <a:lnTo>
                      <a:pt x="603" y="29"/>
                    </a:lnTo>
                    <a:lnTo>
                      <a:pt x="603" y="29"/>
                    </a:lnTo>
                    <a:lnTo>
                      <a:pt x="603" y="22"/>
                    </a:lnTo>
                    <a:lnTo>
                      <a:pt x="596" y="15"/>
                    </a:lnTo>
                    <a:lnTo>
                      <a:pt x="596" y="15"/>
                    </a:lnTo>
                    <a:lnTo>
                      <a:pt x="596" y="15"/>
                    </a:lnTo>
                    <a:lnTo>
                      <a:pt x="596" y="15"/>
                    </a:lnTo>
                    <a:lnTo>
                      <a:pt x="596" y="15"/>
                    </a:lnTo>
                    <a:lnTo>
                      <a:pt x="596" y="15"/>
                    </a:lnTo>
                    <a:lnTo>
                      <a:pt x="589" y="15"/>
                    </a:lnTo>
                    <a:lnTo>
                      <a:pt x="589" y="15"/>
                    </a:lnTo>
                    <a:lnTo>
                      <a:pt x="589" y="8"/>
                    </a:lnTo>
                    <a:lnTo>
                      <a:pt x="589" y="8"/>
                    </a:lnTo>
                    <a:lnTo>
                      <a:pt x="589" y="8"/>
                    </a:lnTo>
                    <a:lnTo>
                      <a:pt x="582" y="15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3" name="Freeform 71"/>
              <p:cNvSpPr>
                <a:spLocks/>
              </p:cNvSpPr>
              <p:nvPr/>
            </p:nvSpPr>
            <p:spPr bwMode="auto">
              <a:xfrm>
                <a:off x="1923" y="1684"/>
                <a:ext cx="866" cy="682"/>
              </a:xfrm>
              <a:custGeom>
                <a:avLst/>
                <a:gdLst>
                  <a:gd name="T0" fmla="*/ 639 w 866"/>
                  <a:gd name="T1" fmla="*/ 625 h 682"/>
                  <a:gd name="T2" fmla="*/ 646 w 866"/>
                  <a:gd name="T3" fmla="*/ 561 h 682"/>
                  <a:gd name="T4" fmla="*/ 632 w 866"/>
                  <a:gd name="T5" fmla="*/ 526 h 682"/>
                  <a:gd name="T6" fmla="*/ 618 w 866"/>
                  <a:gd name="T7" fmla="*/ 519 h 682"/>
                  <a:gd name="T8" fmla="*/ 618 w 866"/>
                  <a:gd name="T9" fmla="*/ 483 h 682"/>
                  <a:gd name="T10" fmla="*/ 668 w 866"/>
                  <a:gd name="T11" fmla="*/ 441 h 682"/>
                  <a:gd name="T12" fmla="*/ 597 w 866"/>
                  <a:gd name="T13" fmla="*/ 448 h 682"/>
                  <a:gd name="T14" fmla="*/ 604 w 866"/>
                  <a:gd name="T15" fmla="*/ 405 h 682"/>
                  <a:gd name="T16" fmla="*/ 625 w 866"/>
                  <a:gd name="T17" fmla="*/ 377 h 682"/>
                  <a:gd name="T18" fmla="*/ 604 w 866"/>
                  <a:gd name="T19" fmla="*/ 355 h 682"/>
                  <a:gd name="T20" fmla="*/ 561 w 866"/>
                  <a:gd name="T21" fmla="*/ 355 h 682"/>
                  <a:gd name="T22" fmla="*/ 561 w 866"/>
                  <a:gd name="T23" fmla="*/ 398 h 682"/>
                  <a:gd name="T24" fmla="*/ 533 w 866"/>
                  <a:gd name="T25" fmla="*/ 405 h 682"/>
                  <a:gd name="T26" fmla="*/ 533 w 866"/>
                  <a:gd name="T27" fmla="*/ 419 h 682"/>
                  <a:gd name="T28" fmla="*/ 554 w 866"/>
                  <a:gd name="T29" fmla="*/ 441 h 682"/>
                  <a:gd name="T30" fmla="*/ 533 w 866"/>
                  <a:gd name="T31" fmla="*/ 504 h 682"/>
                  <a:gd name="T32" fmla="*/ 462 w 866"/>
                  <a:gd name="T33" fmla="*/ 547 h 682"/>
                  <a:gd name="T34" fmla="*/ 341 w 866"/>
                  <a:gd name="T35" fmla="*/ 583 h 682"/>
                  <a:gd name="T36" fmla="*/ 164 w 866"/>
                  <a:gd name="T37" fmla="*/ 426 h 682"/>
                  <a:gd name="T38" fmla="*/ 107 w 866"/>
                  <a:gd name="T39" fmla="*/ 327 h 682"/>
                  <a:gd name="T40" fmla="*/ 135 w 866"/>
                  <a:gd name="T41" fmla="*/ 348 h 682"/>
                  <a:gd name="T42" fmla="*/ 192 w 866"/>
                  <a:gd name="T43" fmla="*/ 341 h 682"/>
                  <a:gd name="T44" fmla="*/ 228 w 866"/>
                  <a:gd name="T45" fmla="*/ 327 h 682"/>
                  <a:gd name="T46" fmla="*/ 320 w 866"/>
                  <a:gd name="T47" fmla="*/ 256 h 682"/>
                  <a:gd name="T48" fmla="*/ 299 w 866"/>
                  <a:gd name="T49" fmla="*/ 256 h 682"/>
                  <a:gd name="T50" fmla="*/ 270 w 866"/>
                  <a:gd name="T51" fmla="*/ 249 h 682"/>
                  <a:gd name="T52" fmla="*/ 178 w 866"/>
                  <a:gd name="T53" fmla="*/ 277 h 682"/>
                  <a:gd name="T54" fmla="*/ 57 w 866"/>
                  <a:gd name="T55" fmla="*/ 206 h 682"/>
                  <a:gd name="T56" fmla="*/ 50 w 866"/>
                  <a:gd name="T57" fmla="*/ 185 h 682"/>
                  <a:gd name="T58" fmla="*/ 36 w 866"/>
                  <a:gd name="T59" fmla="*/ 171 h 682"/>
                  <a:gd name="T60" fmla="*/ 86 w 866"/>
                  <a:gd name="T61" fmla="*/ 121 h 682"/>
                  <a:gd name="T62" fmla="*/ 22 w 866"/>
                  <a:gd name="T63" fmla="*/ 157 h 682"/>
                  <a:gd name="T64" fmla="*/ 0 w 866"/>
                  <a:gd name="T65" fmla="*/ 135 h 682"/>
                  <a:gd name="T66" fmla="*/ 29 w 866"/>
                  <a:gd name="T67" fmla="*/ 107 h 682"/>
                  <a:gd name="T68" fmla="*/ 114 w 866"/>
                  <a:gd name="T69" fmla="*/ 57 h 682"/>
                  <a:gd name="T70" fmla="*/ 313 w 866"/>
                  <a:gd name="T71" fmla="*/ 43 h 682"/>
                  <a:gd name="T72" fmla="*/ 398 w 866"/>
                  <a:gd name="T73" fmla="*/ 43 h 682"/>
                  <a:gd name="T74" fmla="*/ 433 w 866"/>
                  <a:gd name="T75" fmla="*/ 8 h 682"/>
                  <a:gd name="T76" fmla="*/ 504 w 866"/>
                  <a:gd name="T77" fmla="*/ 8 h 682"/>
                  <a:gd name="T78" fmla="*/ 575 w 866"/>
                  <a:gd name="T79" fmla="*/ 15 h 682"/>
                  <a:gd name="T80" fmla="*/ 590 w 866"/>
                  <a:gd name="T81" fmla="*/ 29 h 682"/>
                  <a:gd name="T82" fmla="*/ 625 w 866"/>
                  <a:gd name="T83" fmla="*/ 43 h 682"/>
                  <a:gd name="T84" fmla="*/ 668 w 866"/>
                  <a:gd name="T85" fmla="*/ 36 h 682"/>
                  <a:gd name="T86" fmla="*/ 696 w 866"/>
                  <a:gd name="T87" fmla="*/ 50 h 682"/>
                  <a:gd name="T88" fmla="*/ 696 w 866"/>
                  <a:gd name="T89" fmla="*/ 93 h 682"/>
                  <a:gd name="T90" fmla="*/ 717 w 866"/>
                  <a:gd name="T91" fmla="*/ 121 h 682"/>
                  <a:gd name="T92" fmla="*/ 739 w 866"/>
                  <a:gd name="T93" fmla="*/ 164 h 682"/>
                  <a:gd name="T94" fmla="*/ 795 w 866"/>
                  <a:gd name="T95" fmla="*/ 199 h 682"/>
                  <a:gd name="T96" fmla="*/ 838 w 866"/>
                  <a:gd name="T97" fmla="*/ 235 h 682"/>
                  <a:gd name="T98" fmla="*/ 845 w 866"/>
                  <a:gd name="T99" fmla="*/ 306 h 682"/>
                  <a:gd name="T100" fmla="*/ 838 w 866"/>
                  <a:gd name="T101" fmla="*/ 348 h 682"/>
                  <a:gd name="T102" fmla="*/ 817 w 866"/>
                  <a:gd name="T103" fmla="*/ 384 h 682"/>
                  <a:gd name="T104" fmla="*/ 774 w 866"/>
                  <a:gd name="T105" fmla="*/ 455 h 682"/>
                  <a:gd name="T106" fmla="*/ 824 w 866"/>
                  <a:gd name="T107" fmla="*/ 462 h 682"/>
                  <a:gd name="T108" fmla="*/ 803 w 866"/>
                  <a:gd name="T109" fmla="*/ 483 h 682"/>
                  <a:gd name="T110" fmla="*/ 753 w 866"/>
                  <a:gd name="T111" fmla="*/ 519 h 682"/>
                  <a:gd name="T112" fmla="*/ 781 w 866"/>
                  <a:gd name="T113" fmla="*/ 547 h 682"/>
                  <a:gd name="T114" fmla="*/ 739 w 866"/>
                  <a:gd name="T115" fmla="*/ 604 h 682"/>
                  <a:gd name="T116" fmla="*/ 717 w 866"/>
                  <a:gd name="T117" fmla="*/ 604 h 682"/>
                  <a:gd name="T118" fmla="*/ 710 w 866"/>
                  <a:gd name="T119" fmla="*/ 668 h 682"/>
                  <a:gd name="T120" fmla="*/ 675 w 866"/>
                  <a:gd name="T121" fmla="*/ 668 h 682"/>
                  <a:gd name="T122" fmla="*/ 668 w 866"/>
                  <a:gd name="T123" fmla="*/ 646 h 682"/>
                  <a:gd name="T124" fmla="*/ 646 w 866"/>
                  <a:gd name="T125" fmla="*/ 668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6" h="682">
                    <a:moveTo>
                      <a:pt x="625" y="682"/>
                    </a:moveTo>
                    <a:lnTo>
                      <a:pt x="625" y="682"/>
                    </a:lnTo>
                    <a:lnTo>
                      <a:pt x="618" y="682"/>
                    </a:lnTo>
                    <a:lnTo>
                      <a:pt x="618" y="682"/>
                    </a:lnTo>
                    <a:lnTo>
                      <a:pt x="618" y="682"/>
                    </a:lnTo>
                    <a:lnTo>
                      <a:pt x="618" y="675"/>
                    </a:lnTo>
                    <a:lnTo>
                      <a:pt x="618" y="668"/>
                    </a:lnTo>
                    <a:lnTo>
                      <a:pt x="625" y="668"/>
                    </a:lnTo>
                    <a:lnTo>
                      <a:pt x="625" y="661"/>
                    </a:lnTo>
                    <a:lnTo>
                      <a:pt x="625" y="661"/>
                    </a:lnTo>
                    <a:lnTo>
                      <a:pt x="625" y="661"/>
                    </a:lnTo>
                    <a:lnTo>
                      <a:pt x="625" y="661"/>
                    </a:lnTo>
                    <a:lnTo>
                      <a:pt x="625" y="661"/>
                    </a:lnTo>
                    <a:lnTo>
                      <a:pt x="625" y="661"/>
                    </a:lnTo>
                    <a:lnTo>
                      <a:pt x="625" y="654"/>
                    </a:lnTo>
                    <a:lnTo>
                      <a:pt x="625" y="654"/>
                    </a:lnTo>
                    <a:lnTo>
                      <a:pt x="625" y="654"/>
                    </a:lnTo>
                    <a:lnTo>
                      <a:pt x="625" y="646"/>
                    </a:lnTo>
                    <a:lnTo>
                      <a:pt x="625" y="646"/>
                    </a:lnTo>
                    <a:lnTo>
                      <a:pt x="625" y="646"/>
                    </a:lnTo>
                    <a:lnTo>
                      <a:pt x="625" y="639"/>
                    </a:lnTo>
                    <a:lnTo>
                      <a:pt x="632" y="639"/>
                    </a:lnTo>
                    <a:lnTo>
                      <a:pt x="632" y="639"/>
                    </a:lnTo>
                    <a:lnTo>
                      <a:pt x="632" y="639"/>
                    </a:lnTo>
                    <a:lnTo>
                      <a:pt x="632" y="639"/>
                    </a:lnTo>
                    <a:lnTo>
                      <a:pt x="632" y="639"/>
                    </a:lnTo>
                    <a:lnTo>
                      <a:pt x="632" y="632"/>
                    </a:lnTo>
                    <a:lnTo>
                      <a:pt x="632" y="625"/>
                    </a:lnTo>
                    <a:lnTo>
                      <a:pt x="639" y="625"/>
                    </a:lnTo>
                    <a:lnTo>
                      <a:pt x="639" y="618"/>
                    </a:lnTo>
                    <a:lnTo>
                      <a:pt x="646" y="611"/>
                    </a:lnTo>
                    <a:lnTo>
                      <a:pt x="646" y="611"/>
                    </a:lnTo>
                    <a:lnTo>
                      <a:pt x="646" y="611"/>
                    </a:lnTo>
                    <a:lnTo>
                      <a:pt x="646" y="604"/>
                    </a:lnTo>
                    <a:lnTo>
                      <a:pt x="646" y="604"/>
                    </a:lnTo>
                    <a:lnTo>
                      <a:pt x="646" y="604"/>
                    </a:lnTo>
                    <a:lnTo>
                      <a:pt x="646" y="597"/>
                    </a:lnTo>
                    <a:lnTo>
                      <a:pt x="646" y="597"/>
                    </a:lnTo>
                    <a:lnTo>
                      <a:pt x="646" y="597"/>
                    </a:lnTo>
                    <a:lnTo>
                      <a:pt x="646" y="590"/>
                    </a:lnTo>
                    <a:lnTo>
                      <a:pt x="646" y="590"/>
                    </a:lnTo>
                    <a:lnTo>
                      <a:pt x="646" y="583"/>
                    </a:lnTo>
                    <a:lnTo>
                      <a:pt x="653" y="583"/>
                    </a:lnTo>
                    <a:lnTo>
                      <a:pt x="653" y="583"/>
                    </a:lnTo>
                    <a:lnTo>
                      <a:pt x="653" y="583"/>
                    </a:lnTo>
                    <a:lnTo>
                      <a:pt x="653" y="575"/>
                    </a:lnTo>
                    <a:lnTo>
                      <a:pt x="646" y="575"/>
                    </a:lnTo>
                    <a:lnTo>
                      <a:pt x="646" y="575"/>
                    </a:lnTo>
                    <a:lnTo>
                      <a:pt x="646" y="575"/>
                    </a:lnTo>
                    <a:lnTo>
                      <a:pt x="646" y="575"/>
                    </a:lnTo>
                    <a:lnTo>
                      <a:pt x="646" y="575"/>
                    </a:lnTo>
                    <a:lnTo>
                      <a:pt x="646" y="568"/>
                    </a:lnTo>
                    <a:lnTo>
                      <a:pt x="646" y="575"/>
                    </a:lnTo>
                    <a:lnTo>
                      <a:pt x="646" y="575"/>
                    </a:lnTo>
                    <a:lnTo>
                      <a:pt x="646" y="568"/>
                    </a:lnTo>
                    <a:lnTo>
                      <a:pt x="646" y="568"/>
                    </a:lnTo>
                    <a:lnTo>
                      <a:pt x="646" y="561"/>
                    </a:lnTo>
                    <a:lnTo>
                      <a:pt x="646" y="561"/>
                    </a:lnTo>
                    <a:lnTo>
                      <a:pt x="646" y="568"/>
                    </a:lnTo>
                    <a:lnTo>
                      <a:pt x="639" y="568"/>
                    </a:lnTo>
                    <a:lnTo>
                      <a:pt x="639" y="568"/>
                    </a:lnTo>
                    <a:lnTo>
                      <a:pt x="639" y="568"/>
                    </a:lnTo>
                    <a:lnTo>
                      <a:pt x="639" y="561"/>
                    </a:lnTo>
                    <a:lnTo>
                      <a:pt x="639" y="561"/>
                    </a:lnTo>
                    <a:lnTo>
                      <a:pt x="639" y="554"/>
                    </a:lnTo>
                    <a:lnTo>
                      <a:pt x="639" y="554"/>
                    </a:lnTo>
                    <a:lnTo>
                      <a:pt x="646" y="554"/>
                    </a:lnTo>
                    <a:lnTo>
                      <a:pt x="646" y="547"/>
                    </a:lnTo>
                    <a:lnTo>
                      <a:pt x="646" y="547"/>
                    </a:lnTo>
                    <a:lnTo>
                      <a:pt x="639" y="547"/>
                    </a:lnTo>
                    <a:lnTo>
                      <a:pt x="639" y="547"/>
                    </a:lnTo>
                    <a:lnTo>
                      <a:pt x="632" y="547"/>
                    </a:lnTo>
                    <a:lnTo>
                      <a:pt x="632" y="547"/>
                    </a:lnTo>
                    <a:lnTo>
                      <a:pt x="632" y="547"/>
                    </a:lnTo>
                    <a:lnTo>
                      <a:pt x="632" y="547"/>
                    </a:lnTo>
                    <a:lnTo>
                      <a:pt x="632" y="547"/>
                    </a:lnTo>
                    <a:lnTo>
                      <a:pt x="632" y="547"/>
                    </a:lnTo>
                    <a:lnTo>
                      <a:pt x="632" y="547"/>
                    </a:lnTo>
                    <a:lnTo>
                      <a:pt x="625" y="540"/>
                    </a:lnTo>
                    <a:lnTo>
                      <a:pt x="625" y="540"/>
                    </a:lnTo>
                    <a:lnTo>
                      <a:pt x="632" y="540"/>
                    </a:lnTo>
                    <a:lnTo>
                      <a:pt x="632" y="540"/>
                    </a:lnTo>
                    <a:lnTo>
                      <a:pt x="639" y="540"/>
                    </a:lnTo>
                    <a:lnTo>
                      <a:pt x="639" y="540"/>
                    </a:lnTo>
                    <a:lnTo>
                      <a:pt x="632" y="526"/>
                    </a:lnTo>
                    <a:lnTo>
                      <a:pt x="632" y="526"/>
                    </a:lnTo>
                    <a:lnTo>
                      <a:pt x="632" y="526"/>
                    </a:lnTo>
                    <a:lnTo>
                      <a:pt x="625" y="526"/>
                    </a:lnTo>
                    <a:lnTo>
                      <a:pt x="625" y="526"/>
                    </a:lnTo>
                    <a:lnTo>
                      <a:pt x="625" y="526"/>
                    </a:lnTo>
                    <a:lnTo>
                      <a:pt x="625" y="526"/>
                    </a:lnTo>
                    <a:lnTo>
                      <a:pt x="625" y="526"/>
                    </a:lnTo>
                    <a:lnTo>
                      <a:pt x="625" y="526"/>
                    </a:lnTo>
                    <a:lnTo>
                      <a:pt x="625" y="533"/>
                    </a:lnTo>
                    <a:lnTo>
                      <a:pt x="625" y="533"/>
                    </a:lnTo>
                    <a:lnTo>
                      <a:pt x="618" y="533"/>
                    </a:lnTo>
                    <a:lnTo>
                      <a:pt x="618" y="526"/>
                    </a:lnTo>
                    <a:lnTo>
                      <a:pt x="618" y="526"/>
                    </a:lnTo>
                    <a:lnTo>
                      <a:pt x="625" y="526"/>
                    </a:lnTo>
                    <a:lnTo>
                      <a:pt x="618" y="519"/>
                    </a:lnTo>
                    <a:lnTo>
                      <a:pt x="618" y="519"/>
                    </a:lnTo>
                    <a:lnTo>
                      <a:pt x="618" y="519"/>
                    </a:lnTo>
                    <a:lnTo>
                      <a:pt x="618" y="526"/>
                    </a:lnTo>
                    <a:lnTo>
                      <a:pt x="618" y="526"/>
                    </a:lnTo>
                    <a:lnTo>
                      <a:pt x="618" y="526"/>
                    </a:lnTo>
                    <a:lnTo>
                      <a:pt x="618" y="526"/>
                    </a:lnTo>
                    <a:lnTo>
                      <a:pt x="611" y="533"/>
                    </a:lnTo>
                    <a:lnTo>
                      <a:pt x="611" y="533"/>
                    </a:lnTo>
                    <a:lnTo>
                      <a:pt x="611" y="533"/>
                    </a:lnTo>
                    <a:lnTo>
                      <a:pt x="611" y="533"/>
                    </a:lnTo>
                    <a:lnTo>
                      <a:pt x="611" y="533"/>
                    </a:lnTo>
                    <a:lnTo>
                      <a:pt x="604" y="526"/>
                    </a:lnTo>
                    <a:lnTo>
                      <a:pt x="604" y="526"/>
                    </a:lnTo>
                    <a:lnTo>
                      <a:pt x="611" y="526"/>
                    </a:lnTo>
                    <a:lnTo>
                      <a:pt x="618" y="519"/>
                    </a:lnTo>
                    <a:lnTo>
                      <a:pt x="618" y="519"/>
                    </a:lnTo>
                    <a:lnTo>
                      <a:pt x="625" y="519"/>
                    </a:lnTo>
                    <a:lnTo>
                      <a:pt x="625" y="519"/>
                    </a:lnTo>
                    <a:lnTo>
                      <a:pt x="625" y="512"/>
                    </a:lnTo>
                    <a:lnTo>
                      <a:pt x="618" y="512"/>
                    </a:lnTo>
                    <a:lnTo>
                      <a:pt x="618" y="512"/>
                    </a:lnTo>
                    <a:lnTo>
                      <a:pt x="618" y="512"/>
                    </a:lnTo>
                    <a:lnTo>
                      <a:pt x="611" y="512"/>
                    </a:lnTo>
                    <a:lnTo>
                      <a:pt x="611" y="504"/>
                    </a:lnTo>
                    <a:lnTo>
                      <a:pt x="611" y="504"/>
                    </a:lnTo>
                    <a:lnTo>
                      <a:pt x="611" y="504"/>
                    </a:lnTo>
                    <a:lnTo>
                      <a:pt x="611" y="504"/>
                    </a:lnTo>
                    <a:lnTo>
                      <a:pt x="604" y="504"/>
                    </a:lnTo>
                    <a:lnTo>
                      <a:pt x="604" y="504"/>
                    </a:lnTo>
                    <a:lnTo>
                      <a:pt x="604" y="497"/>
                    </a:lnTo>
                    <a:lnTo>
                      <a:pt x="604" y="497"/>
                    </a:lnTo>
                    <a:lnTo>
                      <a:pt x="604" y="497"/>
                    </a:lnTo>
                    <a:lnTo>
                      <a:pt x="604" y="490"/>
                    </a:lnTo>
                    <a:lnTo>
                      <a:pt x="604" y="490"/>
                    </a:lnTo>
                    <a:lnTo>
                      <a:pt x="611" y="490"/>
                    </a:lnTo>
                    <a:lnTo>
                      <a:pt x="611" y="490"/>
                    </a:lnTo>
                    <a:lnTo>
                      <a:pt x="611" y="490"/>
                    </a:lnTo>
                    <a:lnTo>
                      <a:pt x="611" y="490"/>
                    </a:lnTo>
                    <a:lnTo>
                      <a:pt x="604" y="490"/>
                    </a:lnTo>
                    <a:lnTo>
                      <a:pt x="604" y="490"/>
                    </a:lnTo>
                    <a:lnTo>
                      <a:pt x="604" y="490"/>
                    </a:lnTo>
                    <a:lnTo>
                      <a:pt x="597" y="490"/>
                    </a:lnTo>
                    <a:lnTo>
                      <a:pt x="604" y="490"/>
                    </a:lnTo>
                    <a:lnTo>
                      <a:pt x="611" y="483"/>
                    </a:lnTo>
                    <a:lnTo>
                      <a:pt x="618" y="483"/>
                    </a:lnTo>
                    <a:lnTo>
                      <a:pt x="618" y="483"/>
                    </a:lnTo>
                    <a:lnTo>
                      <a:pt x="625" y="476"/>
                    </a:lnTo>
                    <a:lnTo>
                      <a:pt x="625" y="476"/>
                    </a:lnTo>
                    <a:lnTo>
                      <a:pt x="625" y="476"/>
                    </a:lnTo>
                    <a:lnTo>
                      <a:pt x="625" y="476"/>
                    </a:lnTo>
                    <a:lnTo>
                      <a:pt x="625" y="476"/>
                    </a:lnTo>
                    <a:lnTo>
                      <a:pt x="618" y="476"/>
                    </a:lnTo>
                    <a:lnTo>
                      <a:pt x="611" y="476"/>
                    </a:lnTo>
                    <a:lnTo>
                      <a:pt x="604" y="483"/>
                    </a:lnTo>
                    <a:lnTo>
                      <a:pt x="604" y="483"/>
                    </a:lnTo>
                    <a:lnTo>
                      <a:pt x="604" y="483"/>
                    </a:lnTo>
                    <a:lnTo>
                      <a:pt x="611" y="476"/>
                    </a:lnTo>
                    <a:lnTo>
                      <a:pt x="611" y="469"/>
                    </a:lnTo>
                    <a:lnTo>
                      <a:pt x="611" y="469"/>
                    </a:lnTo>
                    <a:lnTo>
                      <a:pt x="618" y="462"/>
                    </a:lnTo>
                    <a:lnTo>
                      <a:pt x="618" y="462"/>
                    </a:lnTo>
                    <a:lnTo>
                      <a:pt x="625" y="462"/>
                    </a:lnTo>
                    <a:lnTo>
                      <a:pt x="625" y="462"/>
                    </a:lnTo>
                    <a:lnTo>
                      <a:pt x="632" y="462"/>
                    </a:lnTo>
                    <a:lnTo>
                      <a:pt x="632" y="455"/>
                    </a:lnTo>
                    <a:lnTo>
                      <a:pt x="632" y="455"/>
                    </a:lnTo>
                    <a:lnTo>
                      <a:pt x="639" y="448"/>
                    </a:lnTo>
                    <a:lnTo>
                      <a:pt x="639" y="448"/>
                    </a:lnTo>
                    <a:lnTo>
                      <a:pt x="639" y="448"/>
                    </a:lnTo>
                    <a:lnTo>
                      <a:pt x="646" y="448"/>
                    </a:lnTo>
                    <a:lnTo>
                      <a:pt x="646" y="448"/>
                    </a:lnTo>
                    <a:lnTo>
                      <a:pt x="653" y="448"/>
                    </a:lnTo>
                    <a:lnTo>
                      <a:pt x="653" y="448"/>
                    </a:lnTo>
                    <a:lnTo>
                      <a:pt x="668" y="441"/>
                    </a:lnTo>
                    <a:lnTo>
                      <a:pt x="675" y="441"/>
                    </a:lnTo>
                    <a:lnTo>
                      <a:pt x="675" y="441"/>
                    </a:lnTo>
                    <a:lnTo>
                      <a:pt x="675" y="433"/>
                    </a:lnTo>
                    <a:lnTo>
                      <a:pt x="682" y="433"/>
                    </a:lnTo>
                    <a:lnTo>
                      <a:pt x="682" y="433"/>
                    </a:lnTo>
                    <a:lnTo>
                      <a:pt x="682" y="433"/>
                    </a:lnTo>
                    <a:lnTo>
                      <a:pt x="682" y="433"/>
                    </a:lnTo>
                    <a:lnTo>
                      <a:pt x="675" y="433"/>
                    </a:lnTo>
                    <a:lnTo>
                      <a:pt x="668" y="441"/>
                    </a:lnTo>
                    <a:lnTo>
                      <a:pt x="668" y="441"/>
                    </a:lnTo>
                    <a:lnTo>
                      <a:pt x="668" y="441"/>
                    </a:lnTo>
                    <a:lnTo>
                      <a:pt x="661" y="441"/>
                    </a:lnTo>
                    <a:lnTo>
                      <a:pt x="661" y="441"/>
                    </a:lnTo>
                    <a:lnTo>
                      <a:pt x="653" y="441"/>
                    </a:lnTo>
                    <a:lnTo>
                      <a:pt x="653" y="441"/>
                    </a:lnTo>
                    <a:lnTo>
                      <a:pt x="646" y="441"/>
                    </a:lnTo>
                    <a:lnTo>
                      <a:pt x="639" y="441"/>
                    </a:lnTo>
                    <a:lnTo>
                      <a:pt x="639" y="441"/>
                    </a:lnTo>
                    <a:lnTo>
                      <a:pt x="639" y="448"/>
                    </a:lnTo>
                    <a:lnTo>
                      <a:pt x="632" y="448"/>
                    </a:lnTo>
                    <a:lnTo>
                      <a:pt x="625" y="441"/>
                    </a:lnTo>
                    <a:lnTo>
                      <a:pt x="625" y="441"/>
                    </a:lnTo>
                    <a:lnTo>
                      <a:pt x="618" y="448"/>
                    </a:lnTo>
                    <a:lnTo>
                      <a:pt x="611" y="448"/>
                    </a:lnTo>
                    <a:lnTo>
                      <a:pt x="611" y="441"/>
                    </a:lnTo>
                    <a:lnTo>
                      <a:pt x="611" y="441"/>
                    </a:lnTo>
                    <a:lnTo>
                      <a:pt x="604" y="448"/>
                    </a:lnTo>
                    <a:lnTo>
                      <a:pt x="597" y="448"/>
                    </a:lnTo>
                    <a:lnTo>
                      <a:pt x="597" y="448"/>
                    </a:lnTo>
                    <a:lnTo>
                      <a:pt x="597" y="441"/>
                    </a:lnTo>
                    <a:lnTo>
                      <a:pt x="597" y="441"/>
                    </a:lnTo>
                    <a:lnTo>
                      <a:pt x="597" y="433"/>
                    </a:lnTo>
                    <a:lnTo>
                      <a:pt x="597" y="433"/>
                    </a:lnTo>
                    <a:lnTo>
                      <a:pt x="604" y="419"/>
                    </a:lnTo>
                    <a:lnTo>
                      <a:pt x="604" y="419"/>
                    </a:lnTo>
                    <a:lnTo>
                      <a:pt x="604" y="419"/>
                    </a:lnTo>
                    <a:lnTo>
                      <a:pt x="604" y="412"/>
                    </a:lnTo>
                    <a:lnTo>
                      <a:pt x="611" y="405"/>
                    </a:lnTo>
                    <a:lnTo>
                      <a:pt x="611" y="405"/>
                    </a:lnTo>
                    <a:lnTo>
                      <a:pt x="611" y="405"/>
                    </a:lnTo>
                    <a:lnTo>
                      <a:pt x="618" y="405"/>
                    </a:lnTo>
                    <a:lnTo>
                      <a:pt x="618" y="405"/>
                    </a:lnTo>
                    <a:lnTo>
                      <a:pt x="618" y="405"/>
                    </a:lnTo>
                    <a:lnTo>
                      <a:pt x="625" y="398"/>
                    </a:lnTo>
                    <a:lnTo>
                      <a:pt x="625" y="398"/>
                    </a:lnTo>
                    <a:lnTo>
                      <a:pt x="625" y="398"/>
                    </a:lnTo>
                    <a:lnTo>
                      <a:pt x="625" y="398"/>
                    </a:lnTo>
                    <a:lnTo>
                      <a:pt x="625" y="398"/>
                    </a:lnTo>
                    <a:lnTo>
                      <a:pt x="625" y="398"/>
                    </a:lnTo>
                    <a:lnTo>
                      <a:pt x="618" y="398"/>
                    </a:lnTo>
                    <a:lnTo>
                      <a:pt x="618" y="398"/>
                    </a:lnTo>
                    <a:lnTo>
                      <a:pt x="618" y="398"/>
                    </a:lnTo>
                    <a:lnTo>
                      <a:pt x="618" y="398"/>
                    </a:lnTo>
                    <a:lnTo>
                      <a:pt x="618" y="405"/>
                    </a:lnTo>
                    <a:lnTo>
                      <a:pt x="611" y="405"/>
                    </a:lnTo>
                    <a:lnTo>
                      <a:pt x="611" y="405"/>
                    </a:lnTo>
                    <a:lnTo>
                      <a:pt x="604" y="405"/>
                    </a:lnTo>
                    <a:lnTo>
                      <a:pt x="604" y="405"/>
                    </a:lnTo>
                    <a:lnTo>
                      <a:pt x="604" y="412"/>
                    </a:lnTo>
                    <a:lnTo>
                      <a:pt x="597" y="412"/>
                    </a:lnTo>
                    <a:lnTo>
                      <a:pt x="597" y="412"/>
                    </a:lnTo>
                    <a:lnTo>
                      <a:pt x="597" y="405"/>
                    </a:lnTo>
                    <a:lnTo>
                      <a:pt x="590" y="398"/>
                    </a:lnTo>
                    <a:lnTo>
                      <a:pt x="597" y="398"/>
                    </a:lnTo>
                    <a:lnTo>
                      <a:pt x="597" y="391"/>
                    </a:lnTo>
                    <a:lnTo>
                      <a:pt x="597" y="391"/>
                    </a:lnTo>
                    <a:lnTo>
                      <a:pt x="597" y="391"/>
                    </a:lnTo>
                    <a:lnTo>
                      <a:pt x="597" y="384"/>
                    </a:lnTo>
                    <a:lnTo>
                      <a:pt x="597" y="384"/>
                    </a:lnTo>
                    <a:lnTo>
                      <a:pt x="597" y="384"/>
                    </a:lnTo>
                    <a:lnTo>
                      <a:pt x="597" y="377"/>
                    </a:lnTo>
                    <a:lnTo>
                      <a:pt x="597" y="377"/>
                    </a:lnTo>
                    <a:lnTo>
                      <a:pt x="597" y="377"/>
                    </a:lnTo>
                    <a:lnTo>
                      <a:pt x="604" y="370"/>
                    </a:lnTo>
                    <a:lnTo>
                      <a:pt x="604" y="370"/>
                    </a:lnTo>
                    <a:lnTo>
                      <a:pt x="604" y="370"/>
                    </a:lnTo>
                    <a:lnTo>
                      <a:pt x="611" y="370"/>
                    </a:lnTo>
                    <a:lnTo>
                      <a:pt x="611" y="370"/>
                    </a:lnTo>
                    <a:lnTo>
                      <a:pt x="611" y="370"/>
                    </a:lnTo>
                    <a:lnTo>
                      <a:pt x="618" y="370"/>
                    </a:lnTo>
                    <a:lnTo>
                      <a:pt x="618" y="370"/>
                    </a:lnTo>
                    <a:lnTo>
                      <a:pt x="618" y="370"/>
                    </a:lnTo>
                    <a:lnTo>
                      <a:pt x="618" y="370"/>
                    </a:lnTo>
                    <a:lnTo>
                      <a:pt x="625" y="370"/>
                    </a:lnTo>
                    <a:lnTo>
                      <a:pt x="625" y="370"/>
                    </a:lnTo>
                    <a:lnTo>
                      <a:pt x="625" y="370"/>
                    </a:lnTo>
                    <a:lnTo>
                      <a:pt x="625" y="377"/>
                    </a:lnTo>
                    <a:lnTo>
                      <a:pt x="632" y="362"/>
                    </a:lnTo>
                    <a:lnTo>
                      <a:pt x="639" y="362"/>
                    </a:lnTo>
                    <a:lnTo>
                      <a:pt x="639" y="362"/>
                    </a:lnTo>
                    <a:lnTo>
                      <a:pt x="646" y="362"/>
                    </a:lnTo>
                    <a:lnTo>
                      <a:pt x="646" y="362"/>
                    </a:lnTo>
                    <a:lnTo>
                      <a:pt x="646" y="370"/>
                    </a:lnTo>
                    <a:lnTo>
                      <a:pt x="653" y="362"/>
                    </a:lnTo>
                    <a:lnTo>
                      <a:pt x="653" y="362"/>
                    </a:lnTo>
                    <a:lnTo>
                      <a:pt x="653" y="362"/>
                    </a:lnTo>
                    <a:lnTo>
                      <a:pt x="653" y="355"/>
                    </a:lnTo>
                    <a:lnTo>
                      <a:pt x="646" y="355"/>
                    </a:lnTo>
                    <a:lnTo>
                      <a:pt x="646" y="355"/>
                    </a:lnTo>
                    <a:lnTo>
                      <a:pt x="646" y="362"/>
                    </a:lnTo>
                    <a:lnTo>
                      <a:pt x="646" y="362"/>
                    </a:lnTo>
                    <a:lnTo>
                      <a:pt x="639" y="355"/>
                    </a:lnTo>
                    <a:lnTo>
                      <a:pt x="639" y="355"/>
                    </a:lnTo>
                    <a:lnTo>
                      <a:pt x="639" y="355"/>
                    </a:lnTo>
                    <a:lnTo>
                      <a:pt x="632" y="355"/>
                    </a:lnTo>
                    <a:lnTo>
                      <a:pt x="632" y="362"/>
                    </a:lnTo>
                    <a:lnTo>
                      <a:pt x="632" y="362"/>
                    </a:lnTo>
                    <a:lnTo>
                      <a:pt x="625" y="362"/>
                    </a:lnTo>
                    <a:lnTo>
                      <a:pt x="618" y="355"/>
                    </a:lnTo>
                    <a:lnTo>
                      <a:pt x="611" y="355"/>
                    </a:lnTo>
                    <a:lnTo>
                      <a:pt x="611" y="355"/>
                    </a:lnTo>
                    <a:lnTo>
                      <a:pt x="611" y="355"/>
                    </a:lnTo>
                    <a:lnTo>
                      <a:pt x="611" y="355"/>
                    </a:lnTo>
                    <a:lnTo>
                      <a:pt x="604" y="355"/>
                    </a:lnTo>
                    <a:lnTo>
                      <a:pt x="604" y="355"/>
                    </a:lnTo>
                    <a:lnTo>
                      <a:pt x="604" y="355"/>
                    </a:lnTo>
                    <a:lnTo>
                      <a:pt x="597" y="362"/>
                    </a:lnTo>
                    <a:lnTo>
                      <a:pt x="597" y="362"/>
                    </a:lnTo>
                    <a:lnTo>
                      <a:pt x="590" y="362"/>
                    </a:lnTo>
                    <a:lnTo>
                      <a:pt x="590" y="362"/>
                    </a:lnTo>
                    <a:lnTo>
                      <a:pt x="590" y="362"/>
                    </a:lnTo>
                    <a:lnTo>
                      <a:pt x="590" y="362"/>
                    </a:lnTo>
                    <a:lnTo>
                      <a:pt x="590" y="362"/>
                    </a:lnTo>
                    <a:lnTo>
                      <a:pt x="590" y="355"/>
                    </a:lnTo>
                    <a:lnTo>
                      <a:pt x="590" y="355"/>
                    </a:lnTo>
                    <a:lnTo>
                      <a:pt x="582" y="362"/>
                    </a:lnTo>
                    <a:lnTo>
                      <a:pt x="582" y="362"/>
                    </a:lnTo>
                    <a:lnTo>
                      <a:pt x="575" y="362"/>
                    </a:lnTo>
                    <a:lnTo>
                      <a:pt x="575" y="355"/>
                    </a:lnTo>
                    <a:lnTo>
                      <a:pt x="575" y="355"/>
                    </a:lnTo>
                    <a:lnTo>
                      <a:pt x="575" y="348"/>
                    </a:lnTo>
                    <a:lnTo>
                      <a:pt x="575" y="348"/>
                    </a:lnTo>
                    <a:lnTo>
                      <a:pt x="582" y="348"/>
                    </a:lnTo>
                    <a:lnTo>
                      <a:pt x="582" y="348"/>
                    </a:lnTo>
                    <a:lnTo>
                      <a:pt x="582" y="341"/>
                    </a:lnTo>
                    <a:lnTo>
                      <a:pt x="575" y="348"/>
                    </a:lnTo>
                    <a:lnTo>
                      <a:pt x="575" y="348"/>
                    </a:lnTo>
                    <a:lnTo>
                      <a:pt x="575" y="348"/>
                    </a:lnTo>
                    <a:lnTo>
                      <a:pt x="568" y="355"/>
                    </a:lnTo>
                    <a:lnTo>
                      <a:pt x="568" y="355"/>
                    </a:lnTo>
                    <a:lnTo>
                      <a:pt x="568" y="355"/>
                    </a:lnTo>
                    <a:lnTo>
                      <a:pt x="568" y="362"/>
                    </a:lnTo>
                    <a:lnTo>
                      <a:pt x="561" y="355"/>
                    </a:lnTo>
                    <a:lnTo>
                      <a:pt x="561" y="355"/>
                    </a:lnTo>
                    <a:lnTo>
                      <a:pt x="561" y="355"/>
                    </a:lnTo>
                    <a:lnTo>
                      <a:pt x="561" y="355"/>
                    </a:lnTo>
                    <a:lnTo>
                      <a:pt x="561" y="355"/>
                    </a:lnTo>
                    <a:lnTo>
                      <a:pt x="554" y="355"/>
                    </a:lnTo>
                    <a:lnTo>
                      <a:pt x="554" y="355"/>
                    </a:lnTo>
                    <a:lnTo>
                      <a:pt x="554" y="355"/>
                    </a:lnTo>
                    <a:lnTo>
                      <a:pt x="554" y="355"/>
                    </a:lnTo>
                    <a:lnTo>
                      <a:pt x="554" y="355"/>
                    </a:lnTo>
                    <a:lnTo>
                      <a:pt x="547" y="355"/>
                    </a:lnTo>
                    <a:lnTo>
                      <a:pt x="547" y="355"/>
                    </a:lnTo>
                    <a:lnTo>
                      <a:pt x="547" y="355"/>
                    </a:lnTo>
                    <a:lnTo>
                      <a:pt x="547" y="362"/>
                    </a:lnTo>
                    <a:lnTo>
                      <a:pt x="554" y="355"/>
                    </a:lnTo>
                    <a:lnTo>
                      <a:pt x="554" y="355"/>
                    </a:lnTo>
                    <a:lnTo>
                      <a:pt x="561" y="355"/>
                    </a:lnTo>
                    <a:lnTo>
                      <a:pt x="554" y="355"/>
                    </a:lnTo>
                    <a:lnTo>
                      <a:pt x="554" y="362"/>
                    </a:lnTo>
                    <a:lnTo>
                      <a:pt x="554" y="362"/>
                    </a:lnTo>
                    <a:lnTo>
                      <a:pt x="554" y="362"/>
                    </a:lnTo>
                    <a:lnTo>
                      <a:pt x="561" y="362"/>
                    </a:lnTo>
                    <a:lnTo>
                      <a:pt x="568" y="362"/>
                    </a:lnTo>
                    <a:lnTo>
                      <a:pt x="568" y="370"/>
                    </a:lnTo>
                    <a:lnTo>
                      <a:pt x="568" y="384"/>
                    </a:lnTo>
                    <a:lnTo>
                      <a:pt x="561" y="391"/>
                    </a:lnTo>
                    <a:lnTo>
                      <a:pt x="561" y="391"/>
                    </a:lnTo>
                    <a:lnTo>
                      <a:pt x="561" y="391"/>
                    </a:lnTo>
                    <a:lnTo>
                      <a:pt x="561" y="391"/>
                    </a:lnTo>
                    <a:lnTo>
                      <a:pt x="561" y="391"/>
                    </a:lnTo>
                    <a:lnTo>
                      <a:pt x="561" y="391"/>
                    </a:lnTo>
                    <a:lnTo>
                      <a:pt x="561" y="398"/>
                    </a:lnTo>
                    <a:lnTo>
                      <a:pt x="554" y="398"/>
                    </a:lnTo>
                    <a:lnTo>
                      <a:pt x="554" y="398"/>
                    </a:lnTo>
                    <a:lnTo>
                      <a:pt x="554" y="398"/>
                    </a:lnTo>
                    <a:lnTo>
                      <a:pt x="554" y="398"/>
                    </a:lnTo>
                    <a:lnTo>
                      <a:pt x="554" y="398"/>
                    </a:lnTo>
                    <a:lnTo>
                      <a:pt x="554" y="398"/>
                    </a:lnTo>
                    <a:lnTo>
                      <a:pt x="554" y="398"/>
                    </a:lnTo>
                    <a:lnTo>
                      <a:pt x="547" y="398"/>
                    </a:lnTo>
                    <a:lnTo>
                      <a:pt x="547" y="398"/>
                    </a:lnTo>
                    <a:lnTo>
                      <a:pt x="547" y="398"/>
                    </a:lnTo>
                    <a:lnTo>
                      <a:pt x="547" y="398"/>
                    </a:lnTo>
                    <a:lnTo>
                      <a:pt x="547" y="398"/>
                    </a:lnTo>
                    <a:lnTo>
                      <a:pt x="547" y="398"/>
                    </a:lnTo>
                    <a:lnTo>
                      <a:pt x="547" y="398"/>
                    </a:lnTo>
                    <a:lnTo>
                      <a:pt x="547" y="398"/>
                    </a:lnTo>
                    <a:lnTo>
                      <a:pt x="540" y="398"/>
                    </a:lnTo>
                    <a:lnTo>
                      <a:pt x="540" y="398"/>
                    </a:lnTo>
                    <a:lnTo>
                      <a:pt x="540" y="398"/>
                    </a:lnTo>
                    <a:lnTo>
                      <a:pt x="540" y="398"/>
                    </a:lnTo>
                    <a:lnTo>
                      <a:pt x="540" y="398"/>
                    </a:lnTo>
                    <a:lnTo>
                      <a:pt x="540" y="398"/>
                    </a:lnTo>
                    <a:lnTo>
                      <a:pt x="540" y="398"/>
                    </a:lnTo>
                    <a:lnTo>
                      <a:pt x="533" y="398"/>
                    </a:lnTo>
                    <a:lnTo>
                      <a:pt x="533" y="398"/>
                    </a:lnTo>
                    <a:lnTo>
                      <a:pt x="540" y="405"/>
                    </a:lnTo>
                    <a:lnTo>
                      <a:pt x="540" y="405"/>
                    </a:lnTo>
                    <a:lnTo>
                      <a:pt x="540" y="405"/>
                    </a:lnTo>
                    <a:lnTo>
                      <a:pt x="533" y="405"/>
                    </a:lnTo>
                    <a:lnTo>
                      <a:pt x="533" y="405"/>
                    </a:lnTo>
                    <a:lnTo>
                      <a:pt x="533" y="405"/>
                    </a:lnTo>
                    <a:lnTo>
                      <a:pt x="533" y="405"/>
                    </a:lnTo>
                    <a:lnTo>
                      <a:pt x="526" y="405"/>
                    </a:lnTo>
                    <a:lnTo>
                      <a:pt x="526" y="405"/>
                    </a:lnTo>
                    <a:lnTo>
                      <a:pt x="533" y="412"/>
                    </a:lnTo>
                    <a:lnTo>
                      <a:pt x="540" y="412"/>
                    </a:lnTo>
                    <a:lnTo>
                      <a:pt x="540" y="405"/>
                    </a:lnTo>
                    <a:lnTo>
                      <a:pt x="547" y="405"/>
                    </a:lnTo>
                    <a:lnTo>
                      <a:pt x="540" y="412"/>
                    </a:lnTo>
                    <a:lnTo>
                      <a:pt x="540" y="412"/>
                    </a:lnTo>
                    <a:lnTo>
                      <a:pt x="547" y="412"/>
                    </a:lnTo>
                    <a:lnTo>
                      <a:pt x="547" y="412"/>
                    </a:lnTo>
                    <a:lnTo>
                      <a:pt x="547" y="412"/>
                    </a:lnTo>
                    <a:lnTo>
                      <a:pt x="547" y="412"/>
                    </a:lnTo>
                    <a:lnTo>
                      <a:pt x="547" y="419"/>
                    </a:lnTo>
                    <a:lnTo>
                      <a:pt x="547" y="419"/>
                    </a:lnTo>
                    <a:lnTo>
                      <a:pt x="547" y="419"/>
                    </a:lnTo>
                    <a:lnTo>
                      <a:pt x="547" y="419"/>
                    </a:lnTo>
                    <a:lnTo>
                      <a:pt x="540" y="419"/>
                    </a:lnTo>
                    <a:lnTo>
                      <a:pt x="540" y="419"/>
                    </a:lnTo>
                    <a:lnTo>
                      <a:pt x="540" y="419"/>
                    </a:lnTo>
                    <a:lnTo>
                      <a:pt x="533" y="412"/>
                    </a:lnTo>
                    <a:lnTo>
                      <a:pt x="533" y="412"/>
                    </a:lnTo>
                    <a:lnTo>
                      <a:pt x="533" y="412"/>
                    </a:lnTo>
                    <a:lnTo>
                      <a:pt x="533" y="412"/>
                    </a:lnTo>
                    <a:lnTo>
                      <a:pt x="533" y="412"/>
                    </a:lnTo>
                    <a:lnTo>
                      <a:pt x="533" y="412"/>
                    </a:lnTo>
                    <a:lnTo>
                      <a:pt x="533" y="419"/>
                    </a:lnTo>
                    <a:lnTo>
                      <a:pt x="533" y="419"/>
                    </a:lnTo>
                    <a:lnTo>
                      <a:pt x="533" y="419"/>
                    </a:lnTo>
                    <a:lnTo>
                      <a:pt x="540" y="419"/>
                    </a:lnTo>
                    <a:lnTo>
                      <a:pt x="533" y="419"/>
                    </a:lnTo>
                    <a:lnTo>
                      <a:pt x="533" y="419"/>
                    </a:lnTo>
                    <a:lnTo>
                      <a:pt x="526" y="419"/>
                    </a:lnTo>
                    <a:lnTo>
                      <a:pt x="519" y="419"/>
                    </a:lnTo>
                    <a:lnTo>
                      <a:pt x="519" y="419"/>
                    </a:lnTo>
                    <a:lnTo>
                      <a:pt x="519" y="426"/>
                    </a:lnTo>
                    <a:lnTo>
                      <a:pt x="519" y="426"/>
                    </a:lnTo>
                    <a:lnTo>
                      <a:pt x="526" y="426"/>
                    </a:lnTo>
                    <a:lnTo>
                      <a:pt x="526" y="426"/>
                    </a:lnTo>
                    <a:lnTo>
                      <a:pt x="526" y="426"/>
                    </a:lnTo>
                    <a:lnTo>
                      <a:pt x="526" y="426"/>
                    </a:lnTo>
                    <a:lnTo>
                      <a:pt x="526" y="426"/>
                    </a:lnTo>
                    <a:lnTo>
                      <a:pt x="526" y="426"/>
                    </a:lnTo>
                    <a:lnTo>
                      <a:pt x="526" y="433"/>
                    </a:lnTo>
                    <a:lnTo>
                      <a:pt x="533" y="426"/>
                    </a:lnTo>
                    <a:lnTo>
                      <a:pt x="533" y="426"/>
                    </a:lnTo>
                    <a:lnTo>
                      <a:pt x="533" y="426"/>
                    </a:lnTo>
                    <a:lnTo>
                      <a:pt x="540" y="433"/>
                    </a:lnTo>
                    <a:lnTo>
                      <a:pt x="540" y="426"/>
                    </a:lnTo>
                    <a:lnTo>
                      <a:pt x="547" y="426"/>
                    </a:lnTo>
                    <a:lnTo>
                      <a:pt x="547" y="426"/>
                    </a:lnTo>
                    <a:lnTo>
                      <a:pt x="547" y="426"/>
                    </a:lnTo>
                    <a:lnTo>
                      <a:pt x="547" y="433"/>
                    </a:lnTo>
                    <a:lnTo>
                      <a:pt x="547" y="433"/>
                    </a:lnTo>
                    <a:lnTo>
                      <a:pt x="547" y="433"/>
                    </a:lnTo>
                    <a:lnTo>
                      <a:pt x="547" y="433"/>
                    </a:lnTo>
                    <a:lnTo>
                      <a:pt x="554" y="441"/>
                    </a:lnTo>
                    <a:lnTo>
                      <a:pt x="554" y="441"/>
                    </a:lnTo>
                    <a:lnTo>
                      <a:pt x="554" y="441"/>
                    </a:lnTo>
                    <a:lnTo>
                      <a:pt x="554" y="441"/>
                    </a:lnTo>
                    <a:lnTo>
                      <a:pt x="554" y="441"/>
                    </a:lnTo>
                    <a:lnTo>
                      <a:pt x="554" y="441"/>
                    </a:lnTo>
                    <a:lnTo>
                      <a:pt x="561" y="441"/>
                    </a:lnTo>
                    <a:lnTo>
                      <a:pt x="561" y="441"/>
                    </a:lnTo>
                    <a:lnTo>
                      <a:pt x="561" y="448"/>
                    </a:lnTo>
                    <a:lnTo>
                      <a:pt x="561" y="448"/>
                    </a:lnTo>
                    <a:lnTo>
                      <a:pt x="561" y="448"/>
                    </a:lnTo>
                    <a:lnTo>
                      <a:pt x="561" y="448"/>
                    </a:lnTo>
                    <a:lnTo>
                      <a:pt x="561" y="448"/>
                    </a:lnTo>
                    <a:lnTo>
                      <a:pt x="561" y="448"/>
                    </a:lnTo>
                    <a:lnTo>
                      <a:pt x="561" y="455"/>
                    </a:lnTo>
                    <a:lnTo>
                      <a:pt x="561" y="455"/>
                    </a:lnTo>
                    <a:lnTo>
                      <a:pt x="561" y="455"/>
                    </a:lnTo>
                    <a:lnTo>
                      <a:pt x="561" y="455"/>
                    </a:lnTo>
                    <a:lnTo>
                      <a:pt x="561" y="455"/>
                    </a:lnTo>
                    <a:lnTo>
                      <a:pt x="554" y="476"/>
                    </a:lnTo>
                    <a:lnTo>
                      <a:pt x="554" y="476"/>
                    </a:lnTo>
                    <a:lnTo>
                      <a:pt x="547" y="483"/>
                    </a:lnTo>
                    <a:lnTo>
                      <a:pt x="540" y="490"/>
                    </a:lnTo>
                    <a:lnTo>
                      <a:pt x="540" y="490"/>
                    </a:lnTo>
                    <a:lnTo>
                      <a:pt x="540" y="497"/>
                    </a:lnTo>
                    <a:lnTo>
                      <a:pt x="533" y="497"/>
                    </a:lnTo>
                    <a:lnTo>
                      <a:pt x="533" y="497"/>
                    </a:lnTo>
                    <a:lnTo>
                      <a:pt x="540" y="497"/>
                    </a:lnTo>
                    <a:lnTo>
                      <a:pt x="533" y="504"/>
                    </a:lnTo>
                    <a:lnTo>
                      <a:pt x="533" y="504"/>
                    </a:lnTo>
                    <a:lnTo>
                      <a:pt x="533" y="504"/>
                    </a:lnTo>
                    <a:lnTo>
                      <a:pt x="533" y="504"/>
                    </a:lnTo>
                    <a:lnTo>
                      <a:pt x="533" y="504"/>
                    </a:lnTo>
                    <a:lnTo>
                      <a:pt x="533" y="504"/>
                    </a:lnTo>
                    <a:lnTo>
                      <a:pt x="533" y="512"/>
                    </a:lnTo>
                    <a:lnTo>
                      <a:pt x="533" y="512"/>
                    </a:lnTo>
                    <a:lnTo>
                      <a:pt x="533" y="512"/>
                    </a:lnTo>
                    <a:lnTo>
                      <a:pt x="533" y="519"/>
                    </a:lnTo>
                    <a:lnTo>
                      <a:pt x="533" y="519"/>
                    </a:lnTo>
                    <a:lnTo>
                      <a:pt x="533" y="519"/>
                    </a:lnTo>
                    <a:lnTo>
                      <a:pt x="533" y="519"/>
                    </a:lnTo>
                    <a:lnTo>
                      <a:pt x="533" y="519"/>
                    </a:lnTo>
                    <a:lnTo>
                      <a:pt x="526" y="519"/>
                    </a:lnTo>
                    <a:lnTo>
                      <a:pt x="519" y="526"/>
                    </a:lnTo>
                    <a:lnTo>
                      <a:pt x="519" y="526"/>
                    </a:lnTo>
                    <a:lnTo>
                      <a:pt x="511" y="526"/>
                    </a:lnTo>
                    <a:lnTo>
                      <a:pt x="490" y="533"/>
                    </a:lnTo>
                    <a:lnTo>
                      <a:pt x="490" y="540"/>
                    </a:lnTo>
                    <a:lnTo>
                      <a:pt x="490" y="540"/>
                    </a:lnTo>
                    <a:lnTo>
                      <a:pt x="483" y="540"/>
                    </a:lnTo>
                    <a:lnTo>
                      <a:pt x="483" y="540"/>
                    </a:lnTo>
                    <a:lnTo>
                      <a:pt x="483" y="540"/>
                    </a:lnTo>
                    <a:lnTo>
                      <a:pt x="476" y="540"/>
                    </a:lnTo>
                    <a:lnTo>
                      <a:pt x="469" y="547"/>
                    </a:lnTo>
                    <a:lnTo>
                      <a:pt x="462" y="547"/>
                    </a:lnTo>
                    <a:lnTo>
                      <a:pt x="455" y="554"/>
                    </a:lnTo>
                    <a:lnTo>
                      <a:pt x="455" y="547"/>
                    </a:lnTo>
                    <a:lnTo>
                      <a:pt x="462" y="547"/>
                    </a:lnTo>
                    <a:lnTo>
                      <a:pt x="462" y="547"/>
                    </a:lnTo>
                    <a:lnTo>
                      <a:pt x="455" y="547"/>
                    </a:lnTo>
                    <a:lnTo>
                      <a:pt x="455" y="547"/>
                    </a:lnTo>
                    <a:lnTo>
                      <a:pt x="448" y="554"/>
                    </a:lnTo>
                    <a:lnTo>
                      <a:pt x="448" y="554"/>
                    </a:lnTo>
                    <a:lnTo>
                      <a:pt x="448" y="561"/>
                    </a:lnTo>
                    <a:lnTo>
                      <a:pt x="448" y="561"/>
                    </a:lnTo>
                    <a:lnTo>
                      <a:pt x="433" y="561"/>
                    </a:lnTo>
                    <a:lnTo>
                      <a:pt x="426" y="568"/>
                    </a:lnTo>
                    <a:lnTo>
                      <a:pt x="398" y="575"/>
                    </a:lnTo>
                    <a:lnTo>
                      <a:pt x="398" y="575"/>
                    </a:lnTo>
                    <a:lnTo>
                      <a:pt x="391" y="575"/>
                    </a:lnTo>
                    <a:lnTo>
                      <a:pt x="391" y="575"/>
                    </a:lnTo>
                    <a:lnTo>
                      <a:pt x="391" y="575"/>
                    </a:lnTo>
                    <a:lnTo>
                      <a:pt x="391" y="583"/>
                    </a:lnTo>
                    <a:lnTo>
                      <a:pt x="391" y="583"/>
                    </a:lnTo>
                    <a:lnTo>
                      <a:pt x="384" y="583"/>
                    </a:lnTo>
                    <a:lnTo>
                      <a:pt x="384" y="583"/>
                    </a:lnTo>
                    <a:lnTo>
                      <a:pt x="377" y="583"/>
                    </a:lnTo>
                    <a:lnTo>
                      <a:pt x="377" y="583"/>
                    </a:lnTo>
                    <a:lnTo>
                      <a:pt x="377" y="583"/>
                    </a:lnTo>
                    <a:lnTo>
                      <a:pt x="355" y="590"/>
                    </a:lnTo>
                    <a:lnTo>
                      <a:pt x="355" y="590"/>
                    </a:lnTo>
                    <a:lnTo>
                      <a:pt x="348" y="583"/>
                    </a:lnTo>
                    <a:lnTo>
                      <a:pt x="348" y="583"/>
                    </a:lnTo>
                    <a:lnTo>
                      <a:pt x="348" y="583"/>
                    </a:lnTo>
                    <a:lnTo>
                      <a:pt x="348" y="583"/>
                    </a:lnTo>
                    <a:lnTo>
                      <a:pt x="341" y="583"/>
                    </a:lnTo>
                    <a:lnTo>
                      <a:pt x="341" y="583"/>
                    </a:lnTo>
                    <a:lnTo>
                      <a:pt x="341" y="583"/>
                    </a:lnTo>
                    <a:lnTo>
                      <a:pt x="334" y="583"/>
                    </a:lnTo>
                    <a:lnTo>
                      <a:pt x="313" y="568"/>
                    </a:lnTo>
                    <a:lnTo>
                      <a:pt x="306" y="568"/>
                    </a:lnTo>
                    <a:lnTo>
                      <a:pt x="306" y="561"/>
                    </a:lnTo>
                    <a:lnTo>
                      <a:pt x="306" y="561"/>
                    </a:lnTo>
                    <a:lnTo>
                      <a:pt x="299" y="561"/>
                    </a:lnTo>
                    <a:lnTo>
                      <a:pt x="299" y="554"/>
                    </a:lnTo>
                    <a:lnTo>
                      <a:pt x="284" y="554"/>
                    </a:lnTo>
                    <a:lnTo>
                      <a:pt x="284" y="547"/>
                    </a:lnTo>
                    <a:lnTo>
                      <a:pt x="277" y="547"/>
                    </a:lnTo>
                    <a:lnTo>
                      <a:pt x="263" y="533"/>
                    </a:lnTo>
                    <a:lnTo>
                      <a:pt x="249" y="519"/>
                    </a:lnTo>
                    <a:lnTo>
                      <a:pt x="235" y="504"/>
                    </a:lnTo>
                    <a:lnTo>
                      <a:pt x="235" y="504"/>
                    </a:lnTo>
                    <a:lnTo>
                      <a:pt x="235" y="497"/>
                    </a:lnTo>
                    <a:lnTo>
                      <a:pt x="228" y="497"/>
                    </a:lnTo>
                    <a:lnTo>
                      <a:pt x="220" y="483"/>
                    </a:lnTo>
                    <a:lnTo>
                      <a:pt x="213" y="476"/>
                    </a:lnTo>
                    <a:lnTo>
                      <a:pt x="213" y="469"/>
                    </a:lnTo>
                    <a:lnTo>
                      <a:pt x="213" y="469"/>
                    </a:lnTo>
                    <a:lnTo>
                      <a:pt x="213" y="469"/>
                    </a:lnTo>
                    <a:lnTo>
                      <a:pt x="206" y="469"/>
                    </a:lnTo>
                    <a:lnTo>
                      <a:pt x="192" y="448"/>
                    </a:lnTo>
                    <a:lnTo>
                      <a:pt x="185" y="441"/>
                    </a:lnTo>
                    <a:lnTo>
                      <a:pt x="178" y="441"/>
                    </a:lnTo>
                    <a:lnTo>
                      <a:pt x="178" y="433"/>
                    </a:lnTo>
                    <a:lnTo>
                      <a:pt x="171" y="433"/>
                    </a:lnTo>
                    <a:lnTo>
                      <a:pt x="171" y="426"/>
                    </a:lnTo>
                    <a:lnTo>
                      <a:pt x="164" y="426"/>
                    </a:lnTo>
                    <a:lnTo>
                      <a:pt x="164" y="426"/>
                    </a:lnTo>
                    <a:lnTo>
                      <a:pt x="157" y="419"/>
                    </a:lnTo>
                    <a:lnTo>
                      <a:pt x="157" y="419"/>
                    </a:lnTo>
                    <a:lnTo>
                      <a:pt x="157" y="412"/>
                    </a:lnTo>
                    <a:lnTo>
                      <a:pt x="157" y="412"/>
                    </a:lnTo>
                    <a:lnTo>
                      <a:pt x="157" y="412"/>
                    </a:lnTo>
                    <a:lnTo>
                      <a:pt x="157" y="412"/>
                    </a:lnTo>
                    <a:lnTo>
                      <a:pt x="149" y="412"/>
                    </a:lnTo>
                    <a:lnTo>
                      <a:pt x="142" y="398"/>
                    </a:lnTo>
                    <a:lnTo>
                      <a:pt x="135" y="398"/>
                    </a:lnTo>
                    <a:lnTo>
                      <a:pt x="135" y="398"/>
                    </a:lnTo>
                    <a:lnTo>
                      <a:pt x="128" y="384"/>
                    </a:lnTo>
                    <a:lnTo>
                      <a:pt x="121" y="384"/>
                    </a:lnTo>
                    <a:lnTo>
                      <a:pt x="121" y="377"/>
                    </a:lnTo>
                    <a:lnTo>
                      <a:pt x="121" y="377"/>
                    </a:lnTo>
                    <a:lnTo>
                      <a:pt x="114" y="370"/>
                    </a:lnTo>
                    <a:lnTo>
                      <a:pt x="107" y="362"/>
                    </a:lnTo>
                    <a:lnTo>
                      <a:pt x="107" y="362"/>
                    </a:lnTo>
                    <a:lnTo>
                      <a:pt x="107" y="355"/>
                    </a:lnTo>
                    <a:lnTo>
                      <a:pt x="100" y="348"/>
                    </a:lnTo>
                    <a:lnTo>
                      <a:pt x="100" y="348"/>
                    </a:lnTo>
                    <a:lnTo>
                      <a:pt x="100" y="341"/>
                    </a:lnTo>
                    <a:lnTo>
                      <a:pt x="100" y="341"/>
                    </a:lnTo>
                    <a:lnTo>
                      <a:pt x="100" y="341"/>
                    </a:lnTo>
                    <a:lnTo>
                      <a:pt x="100" y="334"/>
                    </a:lnTo>
                    <a:lnTo>
                      <a:pt x="107" y="334"/>
                    </a:lnTo>
                    <a:lnTo>
                      <a:pt x="107" y="334"/>
                    </a:lnTo>
                    <a:lnTo>
                      <a:pt x="107" y="327"/>
                    </a:lnTo>
                    <a:lnTo>
                      <a:pt x="107" y="327"/>
                    </a:lnTo>
                    <a:lnTo>
                      <a:pt x="107" y="327"/>
                    </a:lnTo>
                    <a:lnTo>
                      <a:pt x="114" y="320"/>
                    </a:lnTo>
                    <a:lnTo>
                      <a:pt x="121" y="320"/>
                    </a:lnTo>
                    <a:lnTo>
                      <a:pt x="121" y="320"/>
                    </a:lnTo>
                    <a:lnTo>
                      <a:pt x="121" y="320"/>
                    </a:lnTo>
                    <a:lnTo>
                      <a:pt x="121" y="327"/>
                    </a:lnTo>
                    <a:lnTo>
                      <a:pt x="121" y="327"/>
                    </a:lnTo>
                    <a:lnTo>
                      <a:pt x="114" y="327"/>
                    </a:lnTo>
                    <a:lnTo>
                      <a:pt x="114" y="327"/>
                    </a:lnTo>
                    <a:lnTo>
                      <a:pt x="114" y="334"/>
                    </a:lnTo>
                    <a:lnTo>
                      <a:pt x="121" y="334"/>
                    </a:lnTo>
                    <a:lnTo>
                      <a:pt x="121" y="334"/>
                    </a:lnTo>
                    <a:lnTo>
                      <a:pt x="121" y="334"/>
                    </a:lnTo>
                    <a:lnTo>
                      <a:pt x="121" y="334"/>
                    </a:lnTo>
                    <a:lnTo>
                      <a:pt x="128" y="334"/>
                    </a:lnTo>
                    <a:lnTo>
                      <a:pt x="128" y="334"/>
                    </a:lnTo>
                    <a:lnTo>
                      <a:pt x="128" y="334"/>
                    </a:lnTo>
                    <a:lnTo>
                      <a:pt x="128" y="334"/>
                    </a:lnTo>
                    <a:lnTo>
                      <a:pt x="128" y="334"/>
                    </a:lnTo>
                    <a:lnTo>
                      <a:pt x="128" y="327"/>
                    </a:lnTo>
                    <a:lnTo>
                      <a:pt x="135" y="327"/>
                    </a:lnTo>
                    <a:lnTo>
                      <a:pt x="135" y="327"/>
                    </a:lnTo>
                    <a:lnTo>
                      <a:pt x="135" y="327"/>
                    </a:lnTo>
                    <a:lnTo>
                      <a:pt x="135" y="334"/>
                    </a:lnTo>
                    <a:lnTo>
                      <a:pt x="135" y="334"/>
                    </a:lnTo>
                    <a:lnTo>
                      <a:pt x="135" y="341"/>
                    </a:lnTo>
                    <a:lnTo>
                      <a:pt x="128" y="341"/>
                    </a:lnTo>
                    <a:lnTo>
                      <a:pt x="128" y="348"/>
                    </a:lnTo>
                    <a:lnTo>
                      <a:pt x="135" y="348"/>
                    </a:lnTo>
                    <a:lnTo>
                      <a:pt x="135" y="348"/>
                    </a:lnTo>
                    <a:lnTo>
                      <a:pt x="135" y="348"/>
                    </a:lnTo>
                    <a:lnTo>
                      <a:pt x="149" y="348"/>
                    </a:lnTo>
                    <a:lnTo>
                      <a:pt x="157" y="348"/>
                    </a:lnTo>
                    <a:lnTo>
                      <a:pt x="157" y="341"/>
                    </a:lnTo>
                    <a:lnTo>
                      <a:pt x="157" y="341"/>
                    </a:lnTo>
                    <a:lnTo>
                      <a:pt x="171" y="341"/>
                    </a:lnTo>
                    <a:lnTo>
                      <a:pt x="171" y="341"/>
                    </a:lnTo>
                    <a:lnTo>
                      <a:pt x="171" y="341"/>
                    </a:lnTo>
                    <a:lnTo>
                      <a:pt x="178" y="341"/>
                    </a:lnTo>
                    <a:lnTo>
                      <a:pt x="178" y="341"/>
                    </a:lnTo>
                    <a:lnTo>
                      <a:pt x="178" y="334"/>
                    </a:lnTo>
                    <a:lnTo>
                      <a:pt x="178" y="334"/>
                    </a:lnTo>
                    <a:lnTo>
                      <a:pt x="178" y="334"/>
                    </a:lnTo>
                    <a:lnTo>
                      <a:pt x="178" y="334"/>
                    </a:lnTo>
                    <a:lnTo>
                      <a:pt x="178" y="334"/>
                    </a:lnTo>
                    <a:lnTo>
                      <a:pt x="178" y="334"/>
                    </a:lnTo>
                    <a:lnTo>
                      <a:pt x="178" y="334"/>
                    </a:lnTo>
                    <a:lnTo>
                      <a:pt x="178" y="327"/>
                    </a:lnTo>
                    <a:lnTo>
                      <a:pt x="178" y="327"/>
                    </a:lnTo>
                    <a:lnTo>
                      <a:pt x="178" y="327"/>
                    </a:lnTo>
                    <a:lnTo>
                      <a:pt x="185" y="327"/>
                    </a:lnTo>
                    <a:lnTo>
                      <a:pt x="185" y="327"/>
                    </a:lnTo>
                    <a:lnTo>
                      <a:pt x="185" y="327"/>
                    </a:lnTo>
                    <a:lnTo>
                      <a:pt x="185" y="334"/>
                    </a:lnTo>
                    <a:lnTo>
                      <a:pt x="185" y="334"/>
                    </a:lnTo>
                    <a:lnTo>
                      <a:pt x="185" y="334"/>
                    </a:lnTo>
                    <a:lnTo>
                      <a:pt x="185" y="341"/>
                    </a:lnTo>
                    <a:lnTo>
                      <a:pt x="192" y="341"/>
                    </a:lnTo>
                    <a:lnTo>
                      <a:pt x="192" y="341"/>
                    </a:lnTo>
                    <a:lnTo>
                      <a:pt x="192" y="341"/>
                    </a:lnTo>
                    <a:lnTo>
                      <a:pt x="192" y="341"/>
                    </a:lnTo>
                    <a:lnTo>
                      <a:pt x="192" y="334"/>
                    </a:lnTo>
                    <a:lnTo>
                      <a:pt x="199" y="334"/>
                    </a:lnTo>
                    <a:lnTo>
                      <a:pt x="199" y="334"/>
                    </a:lnTo>
                    <a:lnTo>
                      <a:pt x="199" y="334"/>
                    </a:lnTo>
                    <a:lnTo>
                      <a:pt x="199" y="334"/>
                    </a:lnTo>
                    <a:lnTo>
                      <a:pt x="199" y="334"/>
                    </a:lnTo>
                    <a:lnTo>
                      <a:pt x="199" y="334"/>
                    </a:lnTo>
                    <a:lnTo>
                      <a:pt x="199" y="334"/>
                    </a:lnTo>
                    <a:lnTo>
                      <a:pt x="199" y="334"/>
                    </a:lnTo>
                    <a:lnTo>
                      <a:pt x="199" y="334"/>
                    </a:lnTo>
                    <a:lnTo>
                      <a:pt x="206" y="334"/>
                    </a:lnTo>
                    <a:lnTo>
                      <a:pt x="206" y="334"/>
                    </a:lnTo>
                    <a:lnTo>
                      <a:pt x="206" y="334"/>
                    </a:lnTo>
                    <a:lnTo>
                      <a:pt x="206" y="327"/>
                    </a:lnTo>
                    <a:lnTo>
                      <a:pt x="213" y="320"/>
                    </a:lnTo>
                    <a:lnTo>
                      <a:pt x="213" y="320"/>
                    </a:lnTo>
                    <a:lnTo>
                      <a:pt x="220" y="334"/>
                    </a:lnTo>
                    <a:lnTo>
                      <a:pt x="220" y="334"/>
                    </a:lnTo>
                    <a:lnTo>
                      <a:pt x="220" y="334"/>
                    </a:lnTo>
                    <a:lnTo>
                      <a:pt x="220" y="327"/>
                    </a:lnTo>
                    <a:lnTo>
                      <a:pt x="220" y="327"/>
                    </a:lnTo>
                    <a:lnTo>
                      <a:pt x="220" y="327"/>
                    </a:lnTo>
                    <a:lnTo>
                      <a:pt x="220" y="327"/>
                    </a:lnTo>
                    <a:lnTo>
                      <a:pt x="228" y="327"/>
                    </a:lnTo>
                    <a:lnTo>
                      <a:pt x="228" y="327"/>
                    </a:lnTo>
                    <a:lnTo>
                      <a:pt x="228" y="327"/>
                    </a:lnTo>
                    <a:lnTo>
                      <a:pt x="228" y="327"/>
                    </a:lnTo>
                    <a:lnTo>
                      <a:pt x="235" y="320"/>
                    </a:lnTo>
                    <a:lnTo>
                      <a:pt x="242" y="313"/>
                    </a:lnTo>
                    <a:lnTo>
                      <a:pt x="242" y="313"/>
                    </a:lnTo>
                    <a:lnTo>
                      <a:pt x="242" y="313"/>
                    </a:lnTo>
                    <a:lnTo>
                      <a:pt x="249" y="313"/>
                    </a:lnTo>
                    <a:lnTo>
                      <a:pt x="249" y="313"/>
                    </a:lnTo>
                    <a:lnTo>
                      <a:pt x="249" y="313"/>
                    </a:lnTo>
                    <a:lnTo>
                      <a:pt x="256" y="313"/>
                    </a:lnTo>
                    <a:lnTo>
                      <a:pt x="270" y="313"/>
                    </a:lnTo>
                    <a:lnTo>
                      <a:pt x="270" y="313"/>
                    </a:lnTo>
                    <a:lnTo>
                      <a:pt x="270" y="306"/>
                    </a:lnTo>
                    <a:lnTo>
                      <a:pt x="277" y="306"/>
                    </a:lnTo>
                    <a:lnTo>
                      <a:pt x="277" y="299"/>
                    </a:lnTo>
                    <a:lnTo>
                      <a:pt x="284" y="291"/>
                    </a:lnTo>
                    <a:lnTo>
                      <a:pt x="291" y="277"/>
                    </a:lnTo>
                    <a:lnTo>
                      <a:pt x="291" y="277"/>
                    </a:lnTo>
                    <a:lnTo>
                      <a:pt x="291" y="277"/>
                    </a:lnTo>
                    <a:lnTo>
                      <a:pt x="291" y="270"/>
                    </a:lnTo>
                    <a:lnTo>
                      <a:pt x="291" y="270"/>
                    </a:lnTo>
                    <a:lnTo>
                      <a:pt x="299" y="270"/>
                    </a:lnTo>
                    <a:lnTo>
                      <a:pt x="299" y="263"/>
                    </a:lnTo>
                    <a:lnTo>
                      <a:pt x="306" y="263"/>
                    </a:lnTo>
                    <a:lnTo>
                      <a:pt x="306" y="256"/>
                    </a:lnTo>
                    <a:lnTo>
                      <a:pt x="313" y="256"/>
                    </a:lnTo>
                    <a:lnTo>
                      <a:pt x="313" y="249"/>
                    </a:lnTo>
                    <a:lnTo>
                      <a:pt x="313" y="249"/>
                    </a:lnTo>
                    <a:lnTo>
                      <a:pt x="313" y="256"/>
                    </a:lnTo>
                    <a:lnTo>
                      <a:pt x="320" y="256"/>
                    </a:lnTo>
                    <a:lnTo>
                      <a:pt x="320" y="249"/>
                    </a:lnTo>
                    <a:lnTo>
                      <a:pt x="320" y="249"/>
                    </a:lnTo>
                    <a:lnTo>
                      <a:pt x="320" y="249"/>
                    </a:lnTo>
                    <a:lnTo>
                      <a:pt x="320" y="249"/>
                    </a:lnTo>
                    <a:lnTo>
                      <a:pt x="320" y="242"/>
                    </a:lnTo>
                    <a:lnTo>
                      <a:pt x="320" y="242"/>
                    </a:lnTo>
                    <a:lnTo>
                      <a:pt x="320" y="235"/>
                    </a:lnTo>
                    <a:lnTo>
                      <a:pt x="320" y="235"/>
                    </a:lnTo>
                    <a:lnTo>
                      <a:pt x="320" y="235"/>
                    </a:lnTo>
                    <a:lnTo>
                      <a:pt x="320" y="228"/>
                    </a:lnTo>
                    <a:lnTo>
                      <a:pt x="313" y="228"/>
                    </a:lnTo>
                    <a:lnTo>
                      <a:pt x="313" y="228"/>
                    </a:lnTo>
                    <a:lnTo>
                      <a:pt x="313" y="235"/>
                    </a:lnTo>
                    <a:lnTo>
                      <a:pt x="306" y="235"/>
                    </a:lnTo>
                    <a:lnTo>
                      <a:pt x="306" y="235"/>
                    </a:lnTo>
                    <a:lnTo>
                      <a:pt x="306" y="242"/>
                    </a:lnTo>
                    <a:lnTo>
                      <a:pt x="306" y="242"/>
                    </a:lnTo>
                    <a:lnTo>
                      <a:pt x="306" y="242"/>
                    </a:lnTo>
                    <a:lnTo>
                      <a:pt x="306" y="242"/>
                    </a:lnTo>
                    <a:lnTo>
                      <a:pt x="306" y="249"/>
                    </a:lnTo>
                    <a:lnTo>
                      <a:pt x="306" y="249"/>
                    </a:lnTo>
                    <a:lnTo>
                      <a:pt x="306" y="249"/>
                    </a:lnTo>
                    <a:lnTo>
                      <a:pt x="306" y="249"/>
                    </a:lnTo>
                    <a:lnTo>
                      <a:pt x="306" y="256"/>
                    </a:lnTo>
                    <a:lnTo>
                      <a:pt x="306" y="256"/>
                    </a:lnTo>
                    <a:lnTo>
                      <a:pt x="306" y="256"/>
                    </a:lnTo>
                    <a:lnTo>
                      <a:pt x="306" y="256"/>
                    </a:lnTo>
                    <a:lnTo>
                      <a:pt x="299" y="256"/>
                    </a:lnTo>
                    <a:lnTo>
                      <a:pt x="299" y="256"/>
                    </a:lnTo>
                    <a:lnTo>
                      <a:pt x="299" y="256"/>
                    </a:lnTo>
                    <a:lnTo>
                      <a:pt x="299" y="256"/>
                    </a:lnTo>
                    <a:lnTo>
                      <a:pt x="299" y="256"/>
                    </a:lnTo>
                    <a:lnTo>
                      <a:pt x="299" y="256"/>
                    </a:lnTo>
                    <a:lnTo>
                      <a:pt x="291" y="256"/>
                    </a:lnTo>
                    <a:lnTo>
                      <a:pt x="291" y="256"/>
                    </a:lnTo>
                    <a:lnTo>
                      <a:pt x="291" y="256"/>
                    </a:lnTo>
                    <a:lnTo>
                      <a:pt x="291" y="256"/>
                    </a:lnTo>
                    <a:lnTo>
                      <a:pt x="291" y="256"/>
                    </a:lnTo>
                    <a:lnTo>
                      <a:pt x="291" y="256"/>
                    </a:lnTo>
                    <a:lnTo>
                      <a:pt x="291" y="256"/>
                    </a:lnTo>
                    <a:lnTo>
                      <a:pt x="291" y="256"/>
                    </a:lnTo>
                    <a:lnTo>
                      <a:pt x="291" y="256"/>
                    </a:lnTo>
                    <a:lnTo>
                      <a:pt x="284" y="256"/>
                    </a:lnTo>
                    <a:lnTo>
                      <a:pt x="284" y="249"/>
                    </a:lnTo>
                    <a:lnTo>
                      <a:pt x="284" y="249"/>
                    </a:lnTo>
                    <a:lnTo>
                      <a:pt x="284" y="249"/>
                    </a:lnTo>
                    <a:lnTo>
                      <a:pt x="284" y="249"/>
                    </a:lnTo>
                    <a:lnTo>
                      <a:pt x="277" y="256"/>
                    </a:lnTo>
                    <a:lnTo>
                      <a:pt x="277" y="256"/>
                    </a:lnTo>
                    <a:lnTo>
                      <a:pt x="277" y="256"/>
                    </a:lnTo>
                    <a:lnTo>
                      <a:pt x="270" y="256"/>
                    </a:lnTo>
                    <a:lnTo>
                      <a:pt x="270" y="256"/>
                    </a:lnTo>
                    <a:lnTo>
                      <a:pt x="270" y="256"/>
                    </a:lnTo>
                    <a:lnTo>
                      <a:pt x="270" y="256"/>
                    </a:lnTo>
                    <a:lnTo>
                      <a:pt x="270" y="256"/>
                    </a:lnTo>
                    <a:lnTo>
                      <a:pt x="270" y="249"/>
                    </a:lnTo>
                    <a:lnTo>
                      <a:pt x="270" y="249"/>
                    </a:lnTo>
                    <a:lnTo>
                      <a:pt x="270" y="249"/>
                    </a:lnTo>
                    <a:lnTo>
                      <a:pt x="270" y="249"/>
                    </a:lnTo>
                    <a:lnTo>
                      <a:pt x="270" y="249"/>
                    </a:lnTo>
                    <a:lnTo>
                      <a:pt x="270" y="249"/>
                    </a:lnTo>
                    <a:lnTo>
                      <a:pt x="270" y="249"/>
                    </a:lnTo>
                    <a:lnTo>
                      <a:pt x="263" y="256"/>
                    </a:lnTo>
                    <a:lnTo>
                      <a:pt x="263" y="256"/>
                    </a:lnTo>
                    <a:lnTo>
                      <a:pt x="270" y="256"/>
                    </a:lnTo>
                    <a:lnTo>
                      <a:pt x="270" y="256"/>
                    </a:lnTo>
                    <a:lnTo>
                      <a:pt x="263" y="256"/>
                    </a:lnTo>
                    <a:lnTo>
                      <a:pt x="256" y="256"/>
                    </a:lnTo>
                    <a:lnTo>
                      <a:pt x="249" y="263"/>
                    </a:lnTo>
                    <a:lnTo>
                      <a:pt x="242" y="263"/>
                    </a:lnTo>
                    <a:lnTo>
                      <a:pt x="235" y="263"/>
                    </a:lnTo>
                    <a:lnTo>
                      <a:pt x="228" y="263"/>
                    </a:lnTo>
                    <a:lnTo>
                      <a:pt x="228" y="270"/>
                    </a:lnTo>
                    <a:lnTo>
                      <a:pt x="220" y="270"/>
                    </a:lnTo>
                    <a:lnTo>
                      <a:pt x="220" y="270"/>
                    </a:lnTo>
                    <a:lnTo>
                      <a:pt x="213" y="277"/>
                    </a:lnTo>
                    <a:lnTo>
                      <a:pt x="213" y="284"/>
                    </a:lnTo>
                    <a:lnTo>
                      <a:pt x="206" y="284"/>
                    </a:lnTo>
                    <a:lnTo>
                      <a:pt x="206" y="284"/>
                    </a:lnTo>
                    <a:lnTo>
                      <a:pt x="199" y="277"/>
                    </a:lnTo>
                    <a:lnTo>
                      <a:pt x="192" y="277"/>
                    </a:lnTo>
                    <a:lnTo>
                      <a:pt x="192" y="277"/>
                    </a:lnTo>
                    <a:lnTo>
                      <a:pt x="185" y="277"/>
                    </a:lnTo>
                    <a:lnTo>
                      <a:pt x="185" y="277"/>
                    </a:lnTo>
                    <a:lnTo>
                      <a:pt x="178" y="277"/>
                    </a:lnTo>
                    <a:lnTo>
                      <a:pt x="178" y="277"/>
                    </a:lnTo>
                    <a:lnTo>
                      <a:pt x="178" y="277"/>
                    </a:lnTo>
                    <a:lnTo>
                      <a:pt x="178" y="277"/>
                    </a:lnTo>
                    <a:lnTo>
                      <a:pt x="178" y="277"/>
                    </a:lnTo>
                    <a:lnTo>
                      <a:pt x="178" y="277"/>
                    </a:lnTo>
                    <a:lnTo>
                      <a:pt x="171" y="277"/>
                    </a:lnTo>
                    <a:lnTo>
                      <a:pt x="164" y="270"/>
                    </a:lnTo>
                    <a:lnTo>
                      <a:pt x="164" y="270"/>
                    </a:lnTo>
                    <a:lnTo>
                      <a:pt x="157" y="270"/>
                    </a:lnTo>
                    <a:lnTo>
                      <a:pt x="142" y="270"/>
                    </a:lnTo>
                    <a:lnTo>
                      <a:pt x="135" y="263"/>
                    </a:lnTo>
                    <a:lnTo>
                      <a:pt x="128" y="263"/>
                    </a:lnTo>
                    <a:lnTo>
                      <a:pt x="114" y="249"/>
                    </a:lnTo>
                    <a:lnTo>
                      <a:pt x="93" y="242"/>
                    </a:lnTo>
                    <a:lnTo>
                      <a:pt x="71" y="228"/>
                    </a:lnTo>
                    <a:lnTo>
                      <a:pt x="64" y="221"/>
                    </a:lnTo>
                    <a:lnTo>
                      <a:pt x="64" y="221"/>
                    </a:lnTo>
                    <a:lnTo>
                      <a:pt x="64" y="221"/>
                    </a:lnTo>
                    <a:lnTo>
                      <a:pt x="64" y="221"/>
                    </a:lnTo>
                    <a:lnTo>
                      <a:pt x="64" y="213"/>
                    </a:lnTo>
                    <a:lnTo>
                      <a:pt x="64" y="213"/>
                    </a:lnTo>
                    <a:lnTo>
                      <a:pt x="57" y="213"/>
                    </a:lnTo>
                    <a:lnTo>
                      <a:pt x="57" y="213"/>
                    </a:lnTo>
                    <a:lnTo>
                      <a:pt x="57" y="206"/>
                    </a:lnTo>
                    <a:lnTo>
                      <a:pt x="57" y="206"/>
                    </a:lnTo>
                    <a:lnTo>
                      <a:pt x="57" y="213"/>
                    </a:lnTo>
                    <a:lnTo>
                      <a:pt x="64" y="206"/>
                    </a:lnTo>
                    <a:lnTo>
                      <a:pt x="64" y="206"/>
                    </a:lnTo>
                    <a:lnTo>
                      <a:pt x="64" y="206"/>
                    </a:lnTo>
                    <a:lnTo>
                      <a:pt x="57" y="206"/>
                    </a:lnTo>
                    <a:lnTo>
                      <a:pt x="57" y="206"/>
                    </a:lnTo>
                    <a:lnTo>
                      <a:pt x="50" y="206"/>
                    </a:lnTo>
                    <a:lnTo>
                      <a:pt x="50" y="199"/>
                    </a:lnTo>
                    <a:lnTo>
                      <a:pt x="50" y="199"/>
                    </a:lnTo>
                    <a:lnTo>
                      <a:pt x="57" y="199"/>
                    </a:lnTo>
                    <a:lnTo>
                      <a:pt x="57" y="199"/>
                    </a:lnTo>
                    <a:lnTo>
                      <a:pt x="57" y="192"/>
                    </a:lnTo>
                    <a:lnTo>
                      <a:pt x="57" y="192"/>
                    </a:lnTo>
                    <a:lnTo>
                      <a:pt x="57" y="192"/>
                    </a:lnTo>
                    <a:lnTo>
                      <a:pt x="57" y="192"/>
                    </a:lnTo>
                    <a:lnTo>
                      <a:pt x="57" y="192"/>
                    </a:lnTo>
                    <a:lnTo>
                      <a:pt x="57" y="192"/>
                    </a:lnTo>
                    <a:lnTo>
                      <a:pt x="57" y="192"/>
                    </a:lnTo>
                    <a:lnTo>
                      <a:pt x="50" y="192"/>
                    </a:lnTo>
                    <a:lnTo>
                      <a:pt x="50" y="192"/>
                    </a:lnTo>
                    <a:lnTo>
                      <a:pt x="50" y="192"/>
                    </a:lnTo>
                    <a:lnTo>
                      <a:pt x="50" y="192"/>
                    </a:lnTo>
                    <a:lnTo>
                      <a:pt x="50" y="192"/>
                    </a:lnTo>
                    <a:lnTo>
                      <a:pt x="50" y="192"/>
                    </a:lnTo>
                    <a:lnTo>
                      <a:pt x="50" y="192"/>
                    </a:lnTo>
                    <a:lnTo>
                      <a:pt x="50" y="185"/>
                    </a:lnTo>
                    <a:lnTo>
                      <a:pt x="50" y="185"/>
                    </a:lnTo>
                    <a:lnTo>
                      <a:pt x="50" y="185"/>
                    </a:lnTo>
                    <a:lnTo>
                      <a:pt x="50" y="185"/>
                    </a:lnTo>
                    <a:lnTo>
                      <a:pt x="50" y="185"/>
                    </a:lnTo>
                    <a:lnTo>
                      <a:pt x="50" y="185"/>
                    </a:lnTo>
                    <a:lnTo>
                      <a:pt x="50" y="178"/>
                    </a:lnTo>
                    <a:lnTo>
                      <a:pt x="50" y="178"/>
                    </a:lnTo>
                    <a:lnTo>
                      <a:pt x="50" y="178"/>
                    </a:lnTo>
                    <a:lnTo>
                      <a:pt x="50" y="185"/>
                    </a:lnTo>
                    <a:lnTo>
                      <a:pt x="43" y="178"/>
                    </a:lnTo>
                    <a:lnTo>
                      <a:pt x="43" y="185"/>
                    </a:lnTo>
                    <a:lnTo>
                      <a:pt x="43" y="185"/>
                    </a:lnTo>
                    <a:lnTo>
                      <a:pt x="43" y="185"/>
                    </a:lnTo>
                    <a:lnTo>
                      <a:pt x="43" y="185"/>
                    </a:lnTo>
                    <a:lnTo>
                      <a:pt x="43" y="178"/>
                    </a:lnTo>
                    <a:lnTo>
                      <a:pt x="43" y="178"/>
                    </a:lnTo>
                    <a:lnTo>
                      <a:pt x="43" y="178"/>
                    </a:lnTo>
                    <a:lnTo>
                      <a:pt x="36" y="178"/>
                    </a:lnTo>
                    <a:lnTo>
                      <a:pt x="36" y="178"/>
                    </a:lnTo>
                    <a:lnTo>
                      <a:pt x="36" y="178"/>
                    </a:lnTo>
                    <a:lnTo>
                      <a:pt x="36" y="178"/>
                    </a:lnTo>
                    <a:lnTo>
                      <a:pt x="36" y="178"/>
                    </a:lnTo>
                    <a:lnTo>
                      <a:pt x="36" y="171"/>
                    </a:lnTo>
                    <a:lnTo>
                      <a:pt x="43" y="171"/>
                    </a:lnTo>
                    <a:lnTo>
                      <a:pt x="43" y="171"/>
                    </a:lnTo>
                    <a:lnTo>
                      <a:pt x="43" y="164"/>
                    </a:lnTo>
                    <a:lnTo>
                      <a:pt x="43" y="164"/>
                    </a:lnTo>
                    <a:lnTo>
                      <a:pt x="43" y="164"/>
                    </a:lnTo>
                    <a:lnTo>
                      <a:pt x="43" y="164"/>
                    </a:lnTo>
                    <a:lnTo>
                      <a:pt x="43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71"/>
                    </a:lnTo>
                    <a:lnTo>
                      <a:pt x="36" y="171"/>
                    </a:lnTo>
                    <a:lnTo>
                      <a:pt x="36" y="171"/>
                    </a:lnTo>
                    <a:lnTo>
                      <a:pt x="36" y="171"/>
                    </a:lnTo>
                    <a:lnTo>
                      <a:pt x="36" y="164"/>
                    </a:lnTo>
                    <a:lnTo>
                      <a:pt x="36" y="157"/>
                    </a:lnTo>
                    <a:lnTo>
                      <a:pt x="36" y="150"/>
                    </a:lnTo>
                    <a:lnTo>
                      <a:pt x="36" y="150"/>
                    </a:lnTo>
                    <a:lnTo>
                      <a:pt x="43" y="150"/>
                    </a:lnTo>
                    <a:lnTo>
                      <a:pt x="43" y="150"/>
                    </a:lnTo>
                    <a:lnTo>
                      <a:pt x="43" y="150"/>
                    </a:lnTo>
                    <a:lnTo>
                      <a:pt x="43" y="150"/>
                    </a:lnTo>
                    <a:lnTo>
                      <a:pt x="43" y="150"/>
                    </a:lnTo>
                    <a:lnTo>
                      <a:pt x="43" y="150"/>
                    </a:lnTo>
                    <a:lnTo>
                      <a:pt x="43" y="150"/>
                    </a:lnTo>
                    <a:lnTo>
                      <a:pt x="43" y="150"/>
                    </a:lnTo>
                    <a:lnTo>
                      <a:pt x="43" y="142"/>
                    </a:lnTo>
                    <a:lnTo>
                      <a:pt x="50" y="142"/>
                    </a:lnTo>
                    <a:lnTo>
                      <a:pt x="50" y="142"/>
                    </a:lnTo>
                    <a:lnTo>
                      <a:pt x="50" y="142"/>
                    </a:lnTo>
                    <a:lnTo>
                      <a:pt x="50" y="142"/>
                    </a:lnTo>
                    <a:lnTo>
                      <a:pt x="57" y="142"/>
                    </a:lnTo>
                    <a:lnTo>
                      <a:pt x="57" y="135"/>
                    </a:lnTo>
                    <a:lnTo>
                      <a:pt x="64" y="135"/>
                    </a:lnTo>
                    <a:lnTo>
                      <a:pt x="64" y="128"/>
                    </a:lnTo>
                    <a:lnTo>
                      <a:pt x="71" y="128"/>
                    </a:lnTo>
                    <a:lnTo>
                      <a:pt x="71" y="121"/>
                    </a:lnTo>
                    <a:lnTo>
                      <a:pt x="71" y="121"/>
                    </a:lnTo>
                    <a:lnTo>
                      <a:pt x="78" y="121"/>
                    </a:lnTo>
                    <a:lnTo>
                      <a:pt x="78" y="121"/>
                    </a:lnTo>
                    <a:lnTo>
                      <a:pt x="78" y="121"/>
                    </a:lnTo>
                    <a:lnTo>
                      <a:pt x="86" y="121"/>
                    </a:lnTo>
                    <a:lnTo>
                      <a:pt x="86" y="121"/>
                    </a:lnTo>
                    <a:lnTo>
                      <a:pt x="93" y="114"/>
                    </a:lnTo>
                    <a:lnTo>
                      <a:pt x="93" y="114"/>
                    </a:lnTo>
                    <a:lnTo>
                      <a:pt x="86" y="114"/>
                    </a:lnTo>
                    <a:lnTo>
                      <a:pt x="86" y="114"/>
                    </a:lnTo>
                    <a:lnTo>
                      <a:pt x="78" y="121"/>
                    </a:lnTo>
                    <a:lnTo>
                      <a:pt x="78" y="121"/>
                    </a:lnTo>
                    <a:lnTo>
                      <a:pt x="71" y="121"/>
                    </a:lnTo>
                    <a:lnTo>
                      <a:pt x="71" y="121"/>
                    </a:lnTo>
                    <a:lnTo>
                      <a:pt x="64" y="121"/>
                    </a:lnTo>
                    <a:lnTo>
                      <a:pt x="64" y="121"/>
                    </a:lnTo>
                    <a:lnTo>
                      <a:pt x="64" y="128"/>
                    </a:lnTo>
                    <a:lnTo>
                      <a:pt x="64" y="128"/>
                    </a:lnTo>
                    <a:lnTo>
                      <a:pt x="57" y="128"/>
                    </a:lnTo>
                    <a:lnTo>
                      <a:pt x="57" y="128"/>
                    </a:lnTo>
                    <a:lnTo>
                      <a:pt x="50" y="128"/>
                    </a:lnTo>
                    <a:lnTo>
                      <a:pt x="50" y="135"/>
                    </a:lnTo>
                    <a:lnTo>
                      <a:pt x="50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36" y="135"/>
                    </a:lnTo>
                    <a:lnTo>
                      <a:pt x="36" y="142"/>
                    </a:lnTo>
                    <a:lnTo>
                      <a:pt x="29" y="150"/>
                    </a:lnTo>
                    <a:lnTo>
                      <a:pt x="29" y="150"/>
                    </a:lnTo>
                    <a:lnTo>
                      <a:pt x="29" y="150"/>
                    </a:lnTo>
                    <a:lnTo>
                      <a:pt x="29" y="157"/>
                    </a:lnTo>
                    <a:lnTo>
                      <a:pt x="22" y="157"/>
                    </a:lnTo>
                    <a:lnTo>
                      <a:pt x="22" y="157"/>
                    </a:lnTo>
                    <a:lnTo>
                      <a:pt x="22" y="157"/>
                    </a:lnTo>
                    <a:lnTo>
                      <a:pt x="22" y="157"/>
                    </a:lnTo>
                    <a:lnTo>
                      <a:pt x="22" y="157"/>
                    </a:lnTo>
                    <a:lnTo>
                      <a:pt x="7" y="157"/>
                    </a:lnTo>
                    <a:lnTo>
                      <a:pt x="0" y="157"/>
                    </a:lnTo>
                    <a:lnTo>
                      <a:pt x="0" y="157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7" y="150"/>
                    </a:lnTo>
                    <a:lnTo>
                      <a:pt x="15" y="142"/>
                    </a:lnTo>
                    <a:lnTo>
                      <a:pt x="15" y="142"/>
                    </a:lnTo>
                    <a:lnTo>
                      <a:pt x="15" y="142"/>
                    </a:lnTo>
                    <a:lnTo>
                      <a:pt x="15" y="142"/>
                    </a:lnTo>
                    <a:lnTo>
                      <a:pt x="15" y="142"/>
                    </a:lnTo>
                    <a:lnTo>
                      <a:pt x="15" y="142"/>
                    </a:lnTo>
                    <a:lnTo>
                      <a:pt x="7" y="142"/>
                    </a:lnTo>
                    <a:lnTo>
                      <a:pt x="7" y="142"/>
                    </a:lnTo>
                    <a:lnTo>
                      <a:pt x="7" y="135"/>
                    </a:lnTo>
                    <a:lnTo>
                      <a:pt x="7" y="135"/>
                    </a:lnTo>
                    <a:lnTo>
                      <a:pt x="7" y="128"/>
                    </a:lnTo>
                    <a:lnTo>
                      <a:pt x="7" y="128"/>
                    </a:lnTo>
                    <a:lnTo>
                      <a:pt x="0" y="128"/>
                    </a:lnTo>
                    <a:lnTo>
                      <a:pt x="0" y="135"/>
                    </a:lnTo>
                    <a:lnTo>
                      <a:pt x="0" y="128"/>
                    </a:lnTo>
                    <a:lnTo>
                      <a:pt x="0" y="128"/>
                    </a:lnTo>
                    <a:lnTo>
                      <a:pt x="0" y="128"/>
                    </a:lnTo>
                    <a:lnTo>
                      <a:pt x="7" y="121"/>
                    </a:lnTo>
                    <a:lnTo>
                      <a:pt x="7" y="121"/>
                    </a:lnTo>
                    <a:lnTo>
                      <a:pt x="7" y="121"/>
                    </a:lnTo>
                    <a:lnTo>
                      <a:pt x="7" y="114"/>
                    </a:lnTo>
                    <a:lnTo>
                      <a:pt x="7" y="114"/>
                    </a:lnTo>
                    <a:lnTo>
                      <a:pt x="15" y="114"/>
                    </a:lnTo>
                    <a:lnTo>
                      <a:pt x="15" y="114"/>
                    </a:lnTo>
                    <a:lnTo>
                      <a:pt x="15" y="114"/>
                    </a:lnTo>
                    <a:lnTo>
                      <a:pt x="15" y="114"/>
                    </a:lnTo>
                    <a:lnTo>
                      <a:pt x="15" y="114"/>
                    </a:lnTo>
                    <a:lnTo>
                      <a:pt x="15" y="114"/>
                    </a:lnTo>
                    <a:lnTo>
                      <a:pt x="15" y="114"/>
                    </a:lnTo>
                    <a:lnTo>
                      <a:pt x="15" y="107"/>
                    </a:lnTo>
                    <a:lnTo>
                      <a:pt x="15" y="107"/>
                    </a:lnTo>
                    <a:lnTo>
                      <a:pt x="15" y="107"/>
                    </a:lnTo>
                    <a:lnTo>
                      <a:pt x="15" y="107"/>
                    </a:lnTo>
                    <a:lnTo>
                      <a:pt x="15" y="107"/>
                    </a:lnTo>
                    <a:lnTo>
                      <a:pt x="15" y="107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29" y="107"/>
                    </a:lnTo>
                    <a:lnTo>
                      <a:pt x="29" y="107"/>
                    </a:lnTo>
                    <a:lnTo>
                      <a:pt x="29" y="100"/>
                    </a:lnTo>
                    <a:lnTo>
                      <a:pt x="29" y="100"/>
                    </a:lnTo>
                    <a:lnTo>
                      <a:pt x="29" y="100"/>
                    </a:lnTo>
                    <a:lnTo>
                      <a:pt x="29" y="100"/>
                    </a:lnTo>
                    <a:lnTo>
                      <a:pt x="29" y="100"/>
                    </a:lnTo>
                    <a:lnTo>
                      <a:pt x="29" y="107"/>
                    </a:lnTo>
                    <a:lnTo>
                      <a:pt x="29" y="107"/>
                    </a:lnTo>
                    <a:lnTo>
                      <a:pt x="36" y="100"/>
                    </a:lnTo>
                    <a:lnTo>
                      <a:pt x="43" y="100"/>
                    </a:lnTo>
                    <a:lnTo>
                      <a:pt x="78" y="100"/>
                    </a:lnTo>
                    <a:lnTo>
                      <a:pt x="86" y="57"/>
                    </a:lnTo>
                    <a:lnTo>
                      <a:pt x="86" y="50"/>
                    </a:lnTo>
                    <a:lnTo>
                      <a:pt x="93" y="50"/>
                    </a:lnTo>
                    <a:lnTo>
                      <a:pt x="93" y="50"/>
                    </a:lnTo>
                    <a:lnTo>
                      <a:pt x="93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7" y="57"/>
                    </a:lnTo>
                    <a:lnTo>
                      <a:pt x="107" y="50"/>
                    </a:lnTo>
                    <a:lnTo>
                      <a:pt x="107" y="50"/>
                    </a:lnTo>
                    <a:lnTo>
                      <a:pt x="107" y="50"/>
                    </a:lnTo>
                    <a:lnTo>
                      <a:pt x="107" y="50"/>
                    </a:lnTo>
                    <a:lnTo>
                      <a:pt x="107" y="50"/>
                    </a:lnTo>
                    <a:lnTo>
                      <a:pt x="107" y="50"/>
                    </a:lnTo>
                    <a:lnTo>
                      <a:pt x="107" y="50"/>
                    </a:lnTo>
                    <a:lnTo>
                      <a:pt x="114" y="57"/>
                    </a:lnTo>
                    <a:lnTo>
                      <a:pt x="114" y="57"/>
                    </a:lnTo>
                    <a:lnTo>
                      <a:pt x="114" y="57"/>
                    </a:lnTo>
                    <a:lnTo>
                      <a:pt x="121" y="57"/>
                    </a:lnTo>
                    <a:lnTo>
                      <a:pt x="128" y="57"/>
                    </a:lnTo>
                    <a:lnTo>
                      <a:pt x="128" y="57"/>
                    </a:lnTo>
                    <a:lnTo>
                      <a:pt x="135" y="57"/>
                    </a:lnTo>
                    <a:lnTo>
                      <a:pt x="142" y="57"/>
                    </a:lnTo>
                    <a:lnTo>
                      <a:pt x="142" y="64"/>
                    </a:lnTo>
                    <a:lnTo>
                      <a:pt x="149" y="57"/>
                    </a:lnTo>
                    <a:lnTo>
                      <a:pt x="157" y="57"/>
                    </a:lnTo>
                    <a:lnTo>
                      <a:pt x="199" y="57"/>
                    </a:lnTo>
                    <a:lnTo>
                      <a:pt x="199" y="57"/>
                    </a:lnTo>
                    <a:lnTo>
                      <a:pt x="213" y="71"/>
                    </a:lnTo>
                    <a:lnTo>
                      <a:pt x="213" y="71"/>
                    </a:lnTo>
                    <a:lnTo>
                      <a:pt x="220" y="79"/>
                    </a:lnTo>
                    <a:lnTo>
                      <a:pt x="249" y="79"/>
                    </a:lnTo>
                    <a:lnTo>
                      <a:pt x="256" y="71"/>
                    </a:lnTo>
                    <a:lnTo>
                      <a:pt x="263" y="71"/>
                    </a:lnTo>
                    <a:lnTo>
                      <a:pt x="263" y="71"/>
                    </a:lnTo>
                    <a:lnTo>
                      <a:pt x="270" y="57"/>
                    </a:lnTo>
                    <a:lnTo>
                      <a:pt x="270" y="57"/>
                    </a:lnTo>
                    <a:lnTo>
                      <a:pt x="270" y="57"/>
                    </a:lnTo>
                    <a:lnTo>
                      <a:pt x="277" y="57"/>
                    </a:lnTo>
                    <a:lnTo>
                      <a:pt x="284" y="50"/>
                    </a:lnTo>
                    <a:lnTo>
                      <a:pt x="284" y="50"/>
                    </a:lnTo>
                    <a:lnTo>
                      <a:pt x="291" y="50"/>
                    </a:lnTo>
                    <a:lnTo>
                      <a:pt x="291" y="50"/>
                    </a:lnTo>
                    <a:lnTo>
                      <a:pt x="299" y="50"/>
                    </a:lnTo>
                    <a:lnTo>
                      <a:pt x="306" y="50"/>
                    </a:lnTo>
                    <a:lnTo>
                      <a:pt x="306" y="43"/>
                    </a:lnTo>
                    <a:lnTo>
                      <a:pt x="313" y="43"/>
                    </a:lnTo>
                    <a:lnTo>
                      <a:pt x="327" y="36"/>
                    </a:lnTo>
                    <a:lnTo>
                      <a:pt x="334" y="36"/>
                    </a:lnTo>
                    <a:lnTo>
                      <a:pt x="334" y="43"/>
                    </a:lnTo>
                    <a:lnTo>
                      <a:pt x="334" y="43"/>
                    </a:lnTo>
                    <a:lnTo>
                      <a:pt x="334" y="43"/>
                    </a:lnTo>
                    <a:lnTo>
                      <a:pt x="334" y="50"/>
                    </a:lnTo>
                    <a:lnTo>
                      <a:pt x="334" y="50"/>
                    </a:lnTo>
                    <a:lnTo>
                      <a:pt x="334" y="50"/>
                    </a:lnTo>
                    <a:lnTo>
                      <a:pt x="334" y="57"/>
                    </a:lnTo>
                    <a:lnTo>
                      <a:pt x="334" y="64"/>
                    </a:lnTo>
                    <a:lnTo>
                      <a:pt x="334" y="64"/>
                    </a:lnTo>
                    <a:lnTo>
                      <a:pt x="341" y="64"/>
                    </a:lnTo>
                    <a:lnTo>
                      <a:pt x="362" y="64"/>
                    </a:lnTo>
                    <a:lnTo>
                      <a:pt x="362" y="64"/>
                    </a:lnTo>
                    <a:lnTo>
                      <a:pt x="369" y="64"/>
                    </a:lnTo>
                    <a:lnTo>
                      <a:pt x="369" y="64"/>
                    </a:lnTo>
                    <a:lnTo>
                      <a:pt x="369" y="64"/>
                    </a:lnTo>
                    <a:lnTo>
                      <a:pt x="377" y="64"/>
                    </a:lnTo>
                    <a:lnTo>
                      <a:pt x="369" y="57"/>
                    </a:lnTo>
                    <a:lnTo>
                      <a:pt x="369" y="57"/>
                    </a:lnTo>
                    <a:lnTo>
                      <a:pt x="377" y="57"/>
                    </a:lnTo>
                    <a:lnTo>
                      <a:pt x="384" y="50"/>
                    </a:lnTo>
                    <a:lnTo>
                      <a:pt x="384" y="50"/>
                    </a:lnTo>
                    <a:lnTo>
                      <a:pt x="384" y="50"/>
                    </a:lnTo>
                    <a:lnTo>
                      <a:pt x="391" y="50"/>
                    </a:lnTo>
                    <a:lnTo>
                      <a:pt x="391" y="50"/>
                    </a:lnTo>
                    <a:lnTo>
                      <a:pt x="391" y="50"/>
                    </a:lnTo>
                    <a:lnTo>
                      <a:pt x="398" y="50"/>
                    </a:lnTo>
                    <a:lnTo>
                      <a:pt x="398" y="43"/>
                    </a:lnTo>
                    <a:lnTo>
                      <a:pt x="405" y="43"/>
                    </a:lnTo>
                    <a:lnTo>
                      <a:pt x="405" y="43"/>
                    </a:lnTo>
                    <a:lnTo>
                      <a:pt x="405" y="36"/>
                    </a:lnTo>
                    <a:lnTo>
                      <a:pt x="398" y="36"/>
                    </a:lnTo>
                    <a:lnTo>
                      <a:pt x="391" y="36"/>
                    </a:lnTo>
                    <a:lnTo>
                      <a:pt x="391" y="36"/>
                    </a:lnTo>
                    <a:lnTo>
                      <a:pt x="391" y="36"/>
                    </a:lnTo>
                    <a:lnTo>
                      <a:pt x="391" y="29"/>
                    </a:lnTo>
                    <a:lnTo>
                      <a:pt x="391" y="29"/>
                    </a:lnTo>
                    <a:lnTo>
                      <a:pt x="391" y="29"/>
                    </a:lnTo>
                    <a:lnTo>
                      <a:pt x="391" y="29"/>
                    </a:lnTo>
                    <a:lnTo>
                      <a:pt x="391" y="29"/>
                    </a:lnTo>
                    <a:lnTo>
                      <a:pt x="391" y="22"/>
                    </a:lnTo>
                    <a:lnTo>
                      <a:pt x="391" y="22"/>
                    </a:lnTo>
                    <a:lnTo>
                      <a:pt x="391" y="22"/>
                    </a:lnTo>
                    <a:lnTo>
                      <a:pt x="391" y="22"/>
                    </a:lnTo>
                    <a:lnTo>
                      <a:pt x="391" y="15"/>
                    </a:lnTo>
                    <a:lnTo>
                      <a:pt x="391" y="15"/>
                    </a:lnTo>
                    <a:lnTo>
                      <a:pt x="391" y="8"/>
                    </a:lnTo>
                    <a:lnTo>
                      <a:pt x="398" y="8"/>
                    </a:lnTo>
                    <a:lnTo>
                      <a:pt x="405" y="0"/>
                    </a:lnTo>
                    <a:lnTo>
                      <a:pt x="405" y="0"/>
                    </a:lnTo>
                    <a:lnTo>
                      <a:pt x="405" y="0"/>
                    </a:lnTo>
                    <a:lnTo>
                      <a:pt x="412" y="8"/>
                    </a:lnTo>
                    <a:lnTo>
                      <a:pt x="426" y="8"/>
                    </a:lnTo>
                    <a:lnTo>
                      <a:pt x="426" y="8"/>
                    </a:lnTo>
                    <a:lnTo>
                      <a:pt x="426" y="8"/>
                    </a:lnTo>
                    <a:lnTo>
                      <a:pt x="433" y="8"/>
                    </a:lnTo>
                    <a:lnTo>
                      <a:pt x="433" y="8"/>
                    </a:lnTo>
                    <a:lnTo>
                      <a:pt x="433" y="8"/>
                    </a:lnTo>
                    <a:lnTo>
                      <a:pt x="440" y="8"/>
                    </a:lnTo>
                    <a:lnTo>
                      <a:pt x="440" y="8"/>
                    </a:lnTo>
                    <a:lnTo>
                      <a:pt x="440" y="8"/>
                    </a:lnTo>
                    <a:lnTo>
                      <a:pt x="448" y="8"/>
                    </a:lnTo>
                    <a:lnTo>
                      <a:pt x="448" y="8"/>
                    </a:lnTo>
                    <a:lnTo>
                      <a:pt x="448" y="8"/>
                    </a:lnTo>
                    <a:lnTo>
                      <a:pt x="455" y="8"/>
                    </a:lnTo>
                    <a:lnTo>
                      <a:pt x="455" y="0"/>
                    </a:lnTo>
                    <a:lnTo>
                      <a:pt x="462" y="0"/>
                    </a:lnTo>
                    <a:lnTo>
                      <a:pt x="469" y="0"/>
                    </a:lnTo>
                    <a:lnTo>
                      <a:pt x="476" y="0"/>
                    </a:lnTo>
                    <a:lnTo>
                      <a:pt x="476" y="0"/>
                    </a:lnTo>
                    <a:lnTo>
                      <a:pt x="476" y="8"/>
                    </a:lnTo>
                    <a:lnTo>
                      <a:pt x="476" y="8"/>
                    </a:lnTo>
                    <a:lnTo>
                      <a:pt x="483" y="8"/>
                    </a:lnTo>
                    <a:lnTo>
                      <a:pt x="483" y="8"/>
                    </a:lnTo>
                    <a:lnTo>
                      <a:pt x="497" y="8"/>
                    </a:lnTo>
                    <a:lnTo>
                      <a:pt x="497" y="8"/>
                    </a:lnTo>
                    <a:lnTo>
                      <a:pt x="497" y="8"/>
                    </a:lnTo>
                    <a:lnTo>
                      <a:pt x="497" y="8"/>
                    </a:lnTo>
                    <a:lnTo>
                      <a:pt x="497" y="8"/>
                    </a:lnTo>
                    <a:lnTo>
                      <a:pt x="504" y="8"/>
                    </a:lnTo>
                    <a:lnTo>
                      <a:pt x="504" y="8"/>
                    </a:lnTo>
                    <a:lnTo>
                      <a:pt x="504" y="8"/>
                    </a:lnTo>
                    <a:lnTo>
                      <a:pt x="504" y="8"/>
                    </a:lnTo>
                    <a:lnTo>
                      <a:pt x="504" y="8"/>
                    </a:lnTo>
                    <a:lnTo>
                      <a:pt x="504" y="8"/>
                    </a:lnTo>
                    <a:lnTo>
                      <a:pt x="504" y="8"/>
                    </a:lnTo>
                    <a:lnTo>
                      <a:pt x="511" y="8"/>
                    </a:lnTo>
                    <a:lnTo>
                      <a:pt x="511" y="8"/>
                    </a:lnTo>
                    <a:lnTo>
                      <a:pt x="511" y="0"/>
                    </a:lnTo>
                    <a:lnTo>
                      <a:pt x="511" y="0"/>
                    </a:lnTo>
                    <a:lnTo>
                      <a:pt x="511" y="0"/>
                    </a:lnTo>
                    <a:lnTo>
                      <a:pt x="519" y="0"/>
                    </a:lnTo>
                    <a:lnTo>
                      <a:pt x="519" y="8"/>
                    </a:lnTo>
                    <a:lnTo>
                      <a:pt x="519" y="8"/>
                    </a:lnTo>
                    <a:lnTo>
                      <a:pt x="519" y="8"/>
                    </a:lnTo>
                    <a:lnTo>
                      <a:pt x="526" y="8"/>
                    </a:lnTo>
                    <a:lnTo>
                      <a:pt x="526" y="8"/>
                    </a:lnTo>
                    <a:lnTo>
                      <a:pt x="526" y="8"/>
                    </a:lnTo>
                    <a:lnTo>
                      <a:pt x="526" y="0"/>
                    </a:lnTo>
                    <a:lnTo>
                      <a:pt x="526" y="0"/>
                    </a:lnTo>
                    <a:lnTo>
                      <a:pt x="533" y="0"/>
                    </a:lnTo>
                    <a:lnTo>
                      <a:pt x="533" y="0"/>
                    </a:lnTo>
                    <a:lnTo>
                      <a:pt x="540" y="0"/>
                    </a:lnTo>
                    <a:lnTo>
                      <a:pt x="540" y="0"/>
                    </a:lnTo>
                    <a:lnTo>
                      <a:pt x="540" y="0"/>
                    </a:lnTo>
                    <a:lnTo>
                      <a:pt x="540" y="8"/>
                    </a:lnTo>
                    <a:lnTo>
                      <a:pt x="547" y="8"/>
                    </a:lnTo>
                    <a:lnTo>
                      <a:pt x="554" y="15"/>
                    </a:lnTo>
                    <a:lnTo>
                      <a:pt x="561" y="15"/>
                    </a:lnTo>
                    <a:lnTo>
                      <a:pt x="568" y="15"/>
                    </a:lnTo>
                    <a:lnTo>
                      <a:pt x="575" y="8"/>
                    </a:lnTo>
                    <a:lnTo>
                      <a:pt x="575" y="8"/>
                    </a:lnTo>
                    <a:lnTo>
                      <a:pt x="575" y="8"/>
                    </a:lnTo>
                    <a:lnTo>
                      <a:pt x="575" y="15"/>
                    </a:lnTo>
                    <a:lnTo>
                      <a:pt x="575" y="15"/>
                    </a:lnTo>
                    <a:lnTo>
                      <a:pt x="575" y="15"/>
                    </a:lnTo>
                    <a:lnTo>
                      <a:pt x="575" y="15"/>
                    </a:lnTo>
                    <a:lnTo>
                      <a:pt x="575" y="15"/>
                    </a:lnTo>
                    <a:lnTo>
                      <a:pt x="575" y="15"/>
                    </a:lnTo>
                    <a:lnTo>
                      <a:pt x="568" y="15"/>
                    </a:lnTo>
                    <a:lnTo>
                      <a:pt x="568" y="15"/>
                    </a:lnTo>
                    <a:lnTo>
                      <a:pt x="568" y="15"/>
                    </a:lnTo>
                    <a:lnTo>
                      <a:pt x="561" y="15"/>
                    </a:lnTo>
                    <a:lnTo>
                      <a:pt x="568" y="15"/>
                    </a:lnTo>
                    <a:lnTo>
                      <a:pt x="568" y="22"/>
                    </a:lnTo>
                    <a:lnTo>
                      <a:pt x="568" y="22"/>
                    </a:lnTo>
                    <a:lnTo>
                      <a:pt x="568" y="22"/>
                    </a:lnTo>
                    <a:lnTo>
                      <a:pt x="575" y="22"/>
                    </a:lnTo>
                    <a:lnTo>
                      <a:pt x="575" y="22"/>
                    </a:lnTo>
                    <a:lnTo>
                      <a:pt x="575" y="22"/>
                    </a:lnTo>
                    <a:lnTo>
                      <a:pt x="575" y="22"/>
                    </a:lnTo>
                    <a:lnTo>
                      <a:pt x="575" y="22"/>
                    </a:lnTo>
                    <a:lnTo>
                      <a:pt x="575" y="22"/>
                    </a:lnTo>
                    <a:lnTo>
                      <a:pt x="575" y="29"/>
                    </a:lnTo>
                    <a:lnTo>
                      <a:pt x="582" y="29"/>
                    </a:lnTo>
                    <a:lnTo>
                      <a:pt x="582" y="29"/>
                    </a:lnTo>
                    <a:lnTo>
                      <a:pt x="582" y="29"/>
                    </a:lnTo>
                    <a:lnTo>
                      <a:pt x="582" y="29"/>
                    </a:lnTo>
                    <a:lnTo>
                      <a:pt x="582" y="29"/>
                    </a:lnTo>
                    <a:lnTo>
                      <a:pt x="590" y="29"/>
                    </a:lnTo>
                    <a:lnTo>
                      <a:pt x="590" y="29"/>
                    </a:lnTo>
                    <a:lnTo>
                      <a:pt x="590" y="29"/>
                    </a:lnTo>
                    <a:lnTo>
                      <a:pt x="590" y="29"/>
                    </a:lnTo>
                    <a:lnTo>
                      <a:pt x="590" y="29"/>
                    </a:lnTo>
                    <a:lnTo>
                      <a:pt x="590" y="36"/>
                    </a:lnTo>
                    <a:lnTo>
                      <a:pt x="590" y="36"/>
                    </a:lnTo>
                    <a:lnTo>
                      <a:pt x="590" y="36"/>
                    </a:lnTo>
                    <a:lnTo>
                      <a:pt x="590" y="36"/>
                    </a:lnTo>
                    <a:lnTo>
                      <a:pt x="590" y="43"/>
                    </a:lnTo>
                    <a:lnTo>
                      <a:pt x="590" y="43"/>
                    </a:lnTo>
                    <a:lnTo>
                      <a:pt x="597" y="43"/>
                    </a:lnTo>
                    <a:lnTo>
                      <a:pt x="597" y="43"/>
                    </a:lnTo>
                    <a:lnTo>
                      <a:pt x="597" y="43"/>
                    </a:lnTo>
                    <a:lnTo>
                      <a:pt x="597" y="43"/>
                    </a:lnTo>
                    <a:lnTo>
                      <a:pt x="597" y="43"/>
                    </a:lnTo>
                    <a:lnTo>
                      <a:pt x="597" y="36"/>
                    </a:lnTo>
                    <a:lnTo>
                      <a:pt x="597" y="29"/>
                    </a:lnTo>
                    <a:lnTo>
                      <a:pt x="597" y="29"/>
                    </a:lnTo>
                    <a:lnTo>
                      <a:pt x="597" y="29"/>
                    </a:lnTo>
                    <a:lnTo>
                      <a:pt x="597" y="29"/>
                    </a:lnTo>
                    <a:lnTo>
                      <a:pt x="604" y="29"/>
                    </a:lnTo>
                    <a:lnTo>
                      <a:pt x="604" y="29"/>
                    </a:lnTo>
                    <a:lnTo>
                      <a:pt x="604" y="29"/>
                    </a:lnTo>
                    <a:lnTo>
                      <a:pt x="604" y="29"/>
                    </a:lnTo>
                    <a:lnTo>
                      <a:pt x="611" y="36"/>
                    </a:lnTo>
                    <a:lnTo>
                      <a:pt x="618" y="36"/>
                    </a:lnTo>
                    <a:lnTo>
                      <a:pt x="618" y="36"/>
                    </a:lnTo>
                    <a:lnTo>
                      <a:pt x="618" y="36"/>
                    </a:lnTo>
                    <a:lnTo>
                      <a:pt x="618" y="36"/>
                    </a:lnTo>
                    <a:lnTo>
                      <a:pt x="625" y="36"/>
                    </a:lnTo>
                    <a:lnTo>
                      <a:pt x="625" y="36"/>
                    </a:lnTo>
                    <a:lnTo>
                      <a:pt x="625" y="36"/>
                    </a:lnTo>
                    <a:lnTo>
                      <a:pt x="625" y="43"/>
                    </a:lnTo>
                    <a:lnTo>
                      <a:pt x="625" y="43"/>
                    </a:lnTo>
                    <a:lnTo>
                      <a:pt x="625" y="43"/>
                    </a:lnTo>
                    <a:lnTo>
                      <a:pt x="625" y="50"/>
                    </a:lnTo>
                    <a:lnTo>
                      <a:pt x="632" y="50"/>
                    </a:lnTo>
                    <a:lnTo>
                      <a:pt x="632" y="50"/>
                    </a:lnTo>
                    <a:lnTo>
                      <a:pt x="639" y="50"/>
                    </a:lnTo>
                    <a:lnTo>
                      <a:pt x="646" y="50"/>
                    </a:lnTo>
                    <a:lnTo>
                      <a:pt x="646" y="50"/>
                    </a:lnTo>
                    <a:lnTo>
                      <a:pt x="653" y="50"/>
                    </a:lnTo>
                    <a:lnTo>
                      <a:pt x="653" y="50"/>
                    </a:lnTo>
                    <a:lnTo>
                      <a:pt x="653" y="50"/>
                    </a:lnTo>
                    <a:lnTo>
                      <a:pt x="661" y="50"/>
                    </a:lnTo>
                    <a:lnTo>
                      <a:pt x="661" y="50"/>
                    </a:lnTo>
                    <a:lnTo>
                      <a:pt x="661" y="50"/>
                    </a:lnTo>
                    <a:lnTo>
                      <a:pt x="661" y="50"/>
                    </a:lnTo>
                    <a:lnTo>
                      <a:pt x="661" y="43"/>
                    </a:lnTo>
                    <a:lnTo>
                      <a:pt x="661" y="43"/>
                    </a:lnTo>
                    <a:lnTo>
                      <a:pt x="661" y="43"/>
                    </a:lnTo>
                    <a:lnTo>
                      <a:pt x="661" y="43"/>
                    </a:lnTo>
                    <a:lnTo>
                      <a:pt x="661" y="43"/>
                    </a:lnTo>
                    <a:lnTo>
                      <a:pt x="661" y="43"/>
                    </a:lnTo>
                    <a:lnTo>
                      <a:pt x="661" y="43"/>
                    </a:lnTo>
                    <a:lnTo>
                      <a:pt x="661" y="43"/>
                    </a:lnTo>
                    <a:lnTo>
                      <a:pt x="661" y="36"/>
                    </a:lnTo>
                    <a:lnTo>
                      <a:pt x="661" y="36"/>
                    </a:lnTo>
                    <a:lnTo>
                      <a:pt x="661" y="36"/>
                    </a:lnTo>
                    <a:lnTo>
                      <a:pt x="668" y="36"/>
                    </a:lnTo>
                    <a:lnTo>
                      <a:pt x="668" y="36"/>
                    </a:lnTo>
                    <a:lnTo>
                      <a:pt x="668" y="36"/>
                    </a:lnTo>
                    <a:lnTo>
                      <a:pt x="668" y="36"/>
                    </a:lnTo>
                    <a:lnTo>
                      <a:pt x="668" y="36"/>
                    </a:lnTo>
                    <a:lnTo>
                      <a:pt x="668" y="29"/>
                    </a:lnTo>
                    <a:lnTo>
                      <a:pt x="675" y="29"/>
                    </a:lnTo>
                    <a:lnTo>
                      <a:pt x="675" y="29"/>
                    </a:lnTo>
                    <a:lnTo>
                      <a:pt x="682" y="29"/>
                    </a:lnTo>
                    <a:lnTo>
                      <a:pt x="682" y="29"/>
                    </a:lnTo>
                    <a:lnTo>
                      <a:pt x="682" y="29"/>
                    </a:lnTo>
                    <a:lnTo>
                      <a:pt x="682" y="29"/>
                    </a:lnTo>
                    <a:lnTo>
                      <a:pt x="682" y="29"/>
                    </a:lnTo>
                    <a:lnTo>
                      <a:pt x="682" y="36"/>
                    </a:lnTo>
                    <a:lnTo>
                      <a:pt x="682" y="36"/>
                    </a:lnTo>
                    <a:lnTo>
                      <a:pt x="682" y="36"/>
                    </a:lnTo>
                    <a:lnTo>
                      <a:pt x="682" y="43"/>
                    </a:lnTo>
                    <a:lnTo>
                      <a:pt x="682" y="43"/>
                    </a:lnTo>
                    <a:lnTo>
                      <a:pt x="682" y="43"/>
                    </a:lnTo>
                    <a:lnTo>
                      <a:pt x="682" y="43"/>
                    </a:lnTo>
                    <a:lnTo>
                      <a:pt x="682" y="43"/>
                    </a:lnTo>
                    <a:lnTo>
                      <a:pt x="682" y="43"/>
                    </a:lnTo>
                    <a:lnTo>
                      <a:pt x="682" y="50"/>
                    </a:lnTo>
                    <a:lnTo>
                      <a:pt x="689" y="50"/>
                    </a:lnTo>
                    <a:lnTo>
                      <a:pt x="689" y="50"/>
                    </a:lnTo>
                    <a:lnTo>
                      <a:pt x="689" y="50"/>
                    </a:lnTo>
                    <a:lnTo>
                      <a:pt x="696" y="50"/>
                    </a:lnTo>
                    <a:lnTo>
                      <a:pt x="696" y="50"/>
                    </a:lnTo>
                    <a:lnTo>
                      <a:pt x="696" y="50"/>
                    </a:lnTo>
                    <a:lnTo>
                      <a:pt x="696" y="50"/>
                    </a:lnTo>
                    <a:lnTo>
                      <a:pt x="696" y="50"/>
                    </a:lnTo>
                    <a:lnTo>
                      <a:pt x="696" y="50"/>
                    </a:lnTo>
                    <a:lnTo>
                      <a:pt x="696" y="50"/>
                    </a:lnTo>
                    <a:lnTo>
                      <a:pt x="696" y="57"/>
                    </a:lnTo>
                    <a:lnTo>
                      <a:pt x="696" y="57"/>
                    </a:lnTo>
                    <a:lnTo>
                      <a:pt x="696" y="57"/>
                    </a:lnTo>
                    <a:lnTo>
                      <a:pt x="689" y="57"/>
                    </a:lnTo>
                    <a:lnTo>
                      <a:pt x="689" y="57"/>
                    </a:lnTo>
                    <a:lnTo>
                      <a:pt x="689" y="57"/>
                    </a:lnTo>
                    <a:lnTo>
                      <a:pt x="689" y="57"/>
                    </a:lnTo>
                    <a:lnTo>
                      <a:pt x="689" y="57"/>
                    </a:lnTo>
                    <a:lnTo>
                      <a:pt x="689" y="57"/>
                    </a:lnTo>
                    <a:lnTo>
                      <a:pt x="689" y="57"/>
                    </a:lnTo>
                    <a:lnTo>
                      <a:pt x="682" y="57"/>
                    </a:lnTo>
                    <a:lnTo>
                      <a:pt x="682" y="57"/>
                    </a:lnTo>
                    <a:lnTo>
                      <a:pt x="682" y="64"/>
                    </a:lnTo>
                    <a:lnTo>
                      <a:pt x="682" y="64"/>
                    </a:lnTo>
                    <a:lnTo>
                      <a:pt x="675" y="71"/>
                    </a:lnTo>
                    <a:lnTo>
                      <a:pt x="675" y="71"/>
                    </a:lnTo>
                    <a:lnTo>
                      <a:pt x="675" y="71"/>
                    </a:lnTo>
                    <a:lnTo>
                      <a:pt x="682" y="79"/>
                    </a:lnTo>
                    <a:lnTo>
                      <a:pt x="682" y="79"/>
                    </a:lnTo>
                    <a:lnTo>
                      <a:pt x="682" y="86"/>
                    </a:lnTo>
                    <a:lnTo>
                      <a:pt x="682" y="86"/>
                    </a:lnTo>
                    <a:lnTo>
                      <a:pt x="689" y="86"/>
                    </a:lnTo>
                    <a:lnTo>
                      <a:pt x="689" y="86"/>
                    </a:lnTo>
                    <a:lnTo>
                      <a:pt x="689" y="86"/>
                    </a:lnTo>
                    <a:lnTo>
                      <a:pt x="689" y="93"/>
                    </a:lnTo>
                    <a:lnTo>
                      <a:pt x="696" y="93"/>
                    </a:lnTo>
                    <a:lnTo>
                      <a:pt x="696" y="93"/>
                    </a:lnTo>
                    <a:lnTo>
                      <a:pt x="696" y="93"/>
                    </a:lnTo>
                    <a:lnTo>
                      <a:pt x="696" y="93"/>
                    </a:lnTo>
                    <a:lnTo>
                      <a:pt x="696" y="100"/>
                    </a:lnTo>
                    <a:lnTo>
                      <a:pt x="696" y="100"/>
                    </a:lnTo>
                    <a:lnTo>
                      <a:pt x="703" y="100"/>
                    </a:lnTo>
                    <a:lnTo>
                      <a:pt x="703" y="100"/>
                    </a:lnTo>
                    <a:lnTo>
                      <a:pt x="710" y="100"/>
                    </a:lnTo>
                    <a:lnTo>
                      <a:pt x="710" y="100"/>
                    </a:lnTo>
                    <a:lnTo>
                      <a:pt x="710" y="100"/>
                    </a:lnTo>
                    <a:lnTo>
                      <a:pt x="710" y="93"/>
                    </a:lnTo>
                    <a:lnTo>
                      <a:pt x="710" y="93"/>
                    </a:lnTo>
                    <a:lnTo>
                      <a:pt x="710" y="93"/>
                    </a:lnTo>
                    <a:lnTo>
                      <a:pt x="717" y="86"/>
                    </a:lnTo>
                    <a:lnTo>
                      <a:pt x="717" y="93"/>
                    </a:lnTo>
                    <a:lnTo>
                      <a:pt x="717" y="100"/>
                    </a:lnTo>
                    <a:lnTo>
                      <a:pt x="717" y="100"/>
                    </a:lnTo>
                    <a:lnTo>
                      <a:pt x="724" y="100"/>
                    </a:lnTo>
                    <a:lnTo>
                      <a:pt x="724" y="107"/>
                    </a:lnTo>
                    <a:lnTo>
                      <a:pt x="724" y="107"/>
                    </a:lnTo>
                    <a:lnTo>
                      <a:pt x="724" y="107"/>
                    </a:lnTo>
                    <a:lnTo>
                      <a:pt x="724" y="107"/>
                    </a:lnTo>
                    <a:lnTo>
                      <a:pt x="724" y="107"/>
                    </a:lnTo>
                    <a:lnTo>
                      <a:pt x="724" y="114"/>
                    </a:lnTo>
                    <a:lnTo>
                      <a:pt x="724" y="114"/>
                    </a:lnTo>
                    <a:lnTo>
                      <a:pt x="724" y="114"/>
                    </a:lnTo>
                    <a:lnTo>
                      <a:pt x="717" y="114"/>
                    </a:lnTo>
                    <a:lnTo>
                      <a:pt x="717" y="121"/>
                    </a:lnTo>
                    <a:lnTo>
                      <a:pt x="717" y="121"/>
                    </a:lnTo>
                    <a:lnTo>
                      <a:pt x="717" y="121"/>
                    </a:lnTo>
                    <a:lnTo>
                      <a:pt x="717" y="121"/>
                    </a:lnTo>
                    <a:lnTo>
                      <a:pt x="717" y="128"/>
                    </a:lnTo>
                    <a:lnTo>
                      <a:pt x="717" y="128"/>
                    </a:lnTo>
                    <a:lnTo>
                      <a:pt x="717" y="135"/>
                    </a:lnTo>
                    <a:lnTo>
                      <a:pt x="717" y="135"/>
                    </a:lnTo>
                    <a:lnTo>
                      <a:pt x="717" y="135"/>
                    </a:lnTo>
                    <a:lnTo>
                      <a:pt x="717" y="135"/>
                    </a:lnTo>
                    <a:lnTo>
                      <a:pt x="724" y="135"/>
                    </a:lnTo>
                    <a:lnTo>
                      <a:pt x="724" y="135"/>
                    </a:lnTo>
                    <a:lnTo>
                      <a:pt x="724" y="135"/>
                    </a:lnTo>
                    <a:lnTo>
                      <a:pt x="724" y="142"/>
                    </a:lnTo>
                    <a:lnTo>
                      <a:pt x="724" y="142"/>
                    </a:lnTo>
                    <a:lnTo>
                      <a:pt x="724" y="142"/>
                    </a:lnTo>
                    <a:lnTo>
                      <a:pt x="724" y="142"/>
                    </a:lnTo>
                    <a:lnTo>
                      <a:pt x="732" y="150"/>
                    </a:lnTo>
                    <a:lnTo>
                      <a:pt x="732" y="150"/>
                    </a:lnTo>
                    <a:lnTo>
                      <a:pt x="732" y="150"/>
                    </a:lnTo>
                    <a:lnTo>
                      <a:pt x="732" y="150"/>
                    </a:lnTo>
                    <a:lnTo>
                      <a:pt x="739" y="150"/>
                    </a:lnTo>
                    <a:lnTo>
                      <a:pt x="739" y="150"/>
                    </a:lnTo>
                    <a:lnTo>
                      <a:pt x="739" y="150"/>
                    </a:lnTo>
                    <a:lnTo>
                      <a:pt x="739" y="157"/>
                    </a:lnTo>
                    <a:lnTo>
                      <a:pt x="732" y="157"/>
                    </a:lnTo>
                    <a:lnTo>
                      <a:pt x="732" y="157"/>
                    </a:lnTo>
                    <a:lnTo>
                      <a:pt x="732" y="164"/>
                    </a:lnTo>
                    <a:lnTo>
                      <a:pt x="732" y="164"/>
                    </a:lnTo>
                    <a:lnTo>
                      <a:pt x="732" y="164"/>
                    </a:lnTo>
                    <a:lnTo>
                      <a:pt x="739" y="164"/>
                    </a:lnTo>
                    <a:lnTo>
                      <a:pt x="739" y="164"/>
                    </a:lnTo>
                    <a:lnTo>
                      <a:pt x="739" y="164"/>
                    </a:lnTo>
                    <a:lnTo>
                      <a:pt x="746" y="157"/>
                    </a:lnTo>
                    <a:lnTo>
                      <a:pt x="746" y="157"/>
                    </a:lnTo>
                    <a:lnTo>
                      <a:pt x="746" y="157"/>
                    </a:lnTo>
                    <a:lnTo>
                      <a:pt x="746" y="157"/>
                    </a:lnTo>
                    <a:lnTo>
                      <a:pt x="753" y="164"/>
                    </a:lnTo>
                    <a:lnTo>
                      <a:pt x="753" y="164"/>
                    </a:lnTo>
                    <a:lnTo>
                      <a:pt x="753" y="171"/>
                    </a:lnTo>
                    <a:lnTo>
                      <a:pt x="753" y="171"/>
                    </a:lnTo>
                    <a:lnTo>
                      <a:pt x="753" y="178"/>
                    </a:lnTo>
                    <a:lnTo>
                      <a:pt x="753" y="178"/>
                    </a:lnTo>
                    <a:lnTo>
                      <a:pt x="753" y="178"/>
                    </a:lnTo>
                    <a:lnTo>
                      <a:pt x="753" y="178"/>
                    </a:lnTo>
                    <a:lnTo>
                      <a:pt x="753" y="185"/>
                    </a:lnTo>
                    <a:lnTo>
                      <a:pt x="753" y="185"/>
                    </a:lnTo>
                    <a:lnTo>
                      <a:pt x="753" y="185"/>
                    </a:lnTo>
                    <a:lnTo>
                      <a:pt x="760" y="185"/>
                    </a:lnTo>
                    <a:lnTo>
                      <a:pt x="760" y="185"/>
                    </a:lnTo>
                    <a:lnTo>
                      <a:pt x="760" y="192"/>
                    </a:lnTo>
                    <a:lnTo>
                      <a:pt x="760" y="192"/>
                    </a:lnTo>
                    <a:lnTo>
                      <a:pt x="774" y="185"/>
                    </a:lnTo>
                    <a:lnTo>
                      <a:pt x="774" y="185"/>
                    </a:lnTo>
                    <a:lnTo>
                      <a:pt x="774" y="185"/>
                    </a:lnTo>
                    <a:lnTo>
                      <a:pt x="781" y="192"/>
                    </a:lnTo>
                    <a:lnTo>
                      <a:pt x="781" y="199"/>
                    </a:lnTo>
                    <a:lnTo>
                      <a:pt x="788" y="199"/>
                    </a:lnTo>
                    <a:lnTo>
                      <a:pt x="788" y="199"/>
                    </a:lnTo>
                    <a:lnTo>
                      <a:pt x="788" y="199"/>
                    </a:lnTo>
                    <a:lnTo>
                      <a:pt x="788" y="199"/>
                    </a:lnTo>
                    <a:lnTo>
                      <a:pt x="795" y="199"/>
                    </a:lnTo>
                    <a:lnTo>
                      <a:pt x="795" y="199"/>
                    </a:lnTo>
                    <a:lnTo>
                      <a:pt x="795" y="199"/>
                    </a:lnTo>
                    <a:lnTo>
                      <a:pt x="795" y="199"/>
                    </a:lnTo>
                    <a:lnTo>
                      <a:pt x="795" y="199"/>
                    </a:lnTo>
                    <a:lnTo>
                      <a:pt x="795" y="199"/>
                    </a:lnTo>
                    <a:lnTo>
                      <a:pt x="795" y="199"/>
                    </a:lnTo>
                    <a:lnTo>
                      <a:pt x="795" y="199"/>
                    </a:lnTo>
                    <a:lnTo>
                      <a:pt x="803" y="206"/>
                    </a:lnTo>
                    <a:lnTo>
                      <a:pt x="810" y="206"/>
                    </a:lnTo>
                    <a:lnTo>
                      <a:pt x="817" y="213"/>
                    </a:lnTo>
                    <a:lnTo>
                      <a:pt x="817" y="213"/>
                    </a:lnTo>
                    <a:lnTo>
                      <a:pt x="817" y="213"/>
                    </a:lnTo>
                    <a:lnTo>
                      <a:pt x="817" y="221"/>
                    </a:lnTo>
                    <a:lnTo>
                      <a:pt x="817" y="221"/>
                    </a:lnTo>
                    <a:lnTo>
                      <a:pt x="817" y="221"/>
                    </a:lnTo>
                    <a:lnTo>
                      <a:pt x="817" y="221"/>
                    </a:lnTo>
                    <a:lnTo>
                      <a:pt x="817" y="228"/>
                    </a:lnTo>
                    <a:lnTo>
                      <a:pt x="824" y="228"/>
                    </a:lnTo>
                    <a:lnTo>
                      <a:pt x="824" y="228"/>
                    </a:lnTo>
                    <a:lnTo>
                      <a:pt x="824" y="228"/>
                    </a:lnTo>
                    <a:lnTo>
                      <a:pt x="824" y="228"/>
                    </a:lnTo>
                    <a:lnTo>
                      <a:pt x="824" y="228"/>
                    </a:lnTo>
                    <a:lnTo>
                      <a:pt x="831" y="228"/>
                    </a:lnTo>
                    <a:lnTo>
                      <a:pt x="831" y="228"/>
                    </a:lnTo>
                    <a:lnTo>
                      <a:pt x="831" y="228"/>
                    </a:lnTo>
                    <a:lnTo>
                      <a:pt x="838" y="228"/>
                    </a:lnTo>
                    <a:lnTo>
                      <a:pt x="838" y="228"/>
                    </a:lnTo>
                    <a:lnTo>
                      <a:pt x="838" y="235"/>
                    </a:lnTo>
                    <a:lnTo>
                      <a:pt x="838" y="235"/>
                    </a:lnTo>
                    <a:lnTo>
                      <a:pt x="838" y="242"/>
                    </a:lnTo>
                    <a:lnTo>
                      <a:pt x="845" y="242"/>
                    </a:lnTo>
                    <a:lnTo>
                      <a:pt x="845" y="242"/>
                    </a:lnTo>
                    <a:lnTo>
                      <a:pt x="845" y="242"/>
                    </a:lnTo>
                    <a:lnTo>
                      <a:pt x="845" y="242"/>
                    </a:lnTo>
                    <a:lnTo>
                      <a:pt x="845" y="242"/>
                    </a:lnTo>
                    <a:lnTo>
                      <a:pt x="845" y="249"/>
                    </a:lnTo>
                    <a:lnTo>
                      <a:pt x="852" y="256"/>
                    </a:lnTo>
                    <a:lnTo>
                      <a:pt x="852" y="263"/>
                    </a:lnTo>
                    <a:lnTo>
                      <a:pt x="852" y="270"/>
                    </a:lnTo>
                    <a:lnTo>
                      <a:pt x="852" y="270"/>
                    </a:lnTo>
                    <a:lnTo>
                      <a:pt x="852" y="270"/>
                    </a:lnTo>
                    <a:lnTo>
                      <a:pt x="852" y="270"/>
                    </a:lnTo>
                    <a:lnTo>
                      <a:pt x="859" y="270"/>
                    </a:lnTo>
                    <a:lnTo>
                      <a:pt x="859" y="270"/>
                    </a:lnTo>
                    <a:lnTo>
                      <a:pt x="859" y="270"/>
                    </a:lnTo>
                    <a:lnTo>
                      <a:pt x="859" y="270"/>
                    </a:lnTo>
                    <a:lnTo>
                      <a:pt x="859" y="270"/>
                    </a:lnTo>
                    <a:lnTo>
                      <a:pt x="866" y="277"/>
                    </a:lnTo>
                    <a:lnTo>
                      <a:pt x="866" y="277"/>
                    </a:lnTo>
                    <a:lnTo>
                      <a:pt x="866" y="277"/>
                    </a:lnTo>
                    <a:lnTo>
                      <a:pt x="852" y="306"/>
                    </a:lnTo>
                    <a:lnTo>
                      <a:pt x="852" y="306"/>
                    </a:lnTo>
                    <a:lnTo>
                      <a:pt x="852" y="306"/>
                    </a:lnTo>
                    <a:lnTo>
                      <a:pt x="852" y="306"/>
                    </a:lnTo>
                    <a:lnTo>
                      <a:pt x="852" y="306"/>
                    </a:lnTo>
                    <a:lnTo>
                      <a:pt x="845" y="306"/>
                    </a:lnTo>
                    <a:lnTo>
                      <a:pt x="845" y="306"/>
                    </a:lnTo>
                    <a:lnTo>
                      <a:pt x="845" y="306"/>
                    </a:lnTo>
                    <a:lnTo>
                      <a:pt x="838" y="306"/>
                    </a:lnTo>
                    <a:lnTo>
                      <a:pt x="838" y="306"/>
                    </a:lnTo>
                    <a:lnTo>
                      <a:pt x="831" y="320"/>
                    </a:lnTo>
                    <a:lnTo>
                      <a:pt x="824" y="320"/>
                    </a:lnTo>
                    <a:lnTo>
                      <a:pt x="824" y="320"/>
                    </a:lnTo>
                    <a:lnTo>
                      <a:pt x="824" y="327"/>
                    </a:lnTo>
                    <a:lnTo>
                      <a:pt x="817" y="327"/>
                    </a:lnTo>
                    <a:lnTo>
                      <a:pt x="817" y="327"/>
                    </a:lnTo>
                    <a:lnTo>
                      <a:pt x="810" y="320"/>
                    </a:lnTo>
                    <a:lnTo>
                      <a:pt x="810" y="320"/>
                    </a:lnTo>
                    <a:lnTo>
                      <a:pt x="810" y="320"/>
                    </a:lnTo>
                    <a:lnTo>
                      <a:pt x="810" y="320"/>
                    </a:lnTo>
                    <a:lnTo>
                      <a:pt x="810" y="327"/>
                    </a:lnTo>
                    <a:lnTo>
                      <a:pt x="803" y="327"/>
                    </a:lnTo>
                    <a:lnTo>
                      <a:pt x="803" y="327"/>
                    </a:lnTo>
                    <a:lnTo>
                      <a:pt x="810" y="327"/>
                    </a:lnTo>
                    <a:lnTo>
                      <a:pt x="817" y="334"/>
                    </a:lnTo>
                    <a:lnTo>
                      <a:pt x="817" y="334"/>
                    </a:lnTo>
                    <a:lnTo>
                      <a:pt x="817" y="341"/>
                    </a:lnTo>
                    <a:lnTo>
                      <a:pt x="817" y="341"/>
                    </a:lnTo>
                    <a:lnTo>
                      <a:pt x="824" y="334"/>
                    </a:lnTo>
                    <a:lnTo>
                      <a:pt x="831" y="334"/>
                    </a:lnTo>
                    <a:lnTo>
                      <a:pt x="831" y="341"/>
                    </a:lnTo>
                    <a:lnTo>
                      <a:pt x="838" y="341"/>
                    </a:lnTo>
                    <a:lnTo>
                      <a:pt x="838" y="341"/>
                    </a:lnTo>
                    <a:lnTo>
                      <a:pt x="838" y="341"/>
                    </a:lnTo>
                    <a:lnTo>
                      <a:pt x="838" y="341"/>
                    </a:lnTo>
                    <a:lnTo>
                      <a:pt x="838" y="341"/>
                    </a:lnTo>
                    <a:lnTo>
                      <a:pt x="838" y="348"/>
                    </a:lnTo>
                    <a:lnTo>
                      <a:pt x="831" y="348"/>
                    </a:lnTo>
                    <a:lnTo>
                      <a:pt x="831" y="348"/>
                    </a:lnTo>
                    <a:lnTo>
                      <a:pt x="831" y="348"/>
                    </a:lnTo>
                    <a:lnTo>
                      <a:pt x="824" y="348"/>
                    </a:lnTo>
                    <a:lnTo>
                      <a:pt x="824" y="348"/>
                    </a:lnTo>
                    <a:lnTo>
                      <a:pt x="824" y="348"/>
                    </a:lnTo>
                    <a:lnTo>
                      <a:pt x="817" y="348"/>
                    </a:lnTo>
                    <a:lnTo>
                      <a:pt x="817" y="348"/>
                    </a:lnTo>
                    <a:lnTo>
                      <a:pt x="817" y="348"/>
                    </a:lnTo>
                    <a:lnTo>
                      <a:pt x="817" y="348"/>
                    </a:lnTo>
                    <a:lnTo>
                      <a:pt x="817" y="348"/>
                    </a:lnTo>
                    <a:lnTo>
                      <a:pt x="817" y="348"/>
                    </a:lnTo>
                    <a:lnTo>
                      <a:pt x="810" y="348"/>
                    </a:lnTo>
                    <a:lnTo>
                      <a:pt x="810" y="348"/>
                    </a:lnTo>
                    <a:lnTo>
                      <a:pt x="810" y="348"/>
                    </a:lnTo>
                    <a:lnTo>
                      <a:pt x="810" y="348"/>
                    </a:lnTo>
                    <a:lnTo>
                      <a:pt x="810" y="355"/>
                    </a:lnTo>
                    <a:lnTo>
                      <a:pt x="810" y="355"/>
                    </a:lnTo>
                    <a:lnTo>
                      <a:pt x="810" y="362"/>
                    </a:lnTo>
                    <a:lnTo>
                      <a:pt x="810" y="362"/>
                    </a:lnTo>
                    <a:lnTo>
                      <a:pt x="810" y="370"/>
                    </a:lnTo>
                    <a:lnTo>
                      <a:pt x="810" y="370"/>
                    </a:lnTo>
                    <a:lnTo>
                      <a:pt x="810" y="370"/>
                    </a:lnTo>
                    <a:lnTo>
                      <a:pt x="817" y="370"/>
                    </a:lnTo>
                    <a:lnTo>
                      <a:pt x="817" y="370"/>
                    </a:lnTo>
                    <a:lnTo>
                      <a:pt x="817" y="377"/>
                    </a:lnTo>
                    <a:lnTo>
                      <a:pt x="817" y="377"/>
                    </a:lnTo>
                    <a:lnTo>
                      <a:pt x="817" y="384"/>
                    </a:lnTo>
                    <a:lnTo>
                      <a:pt x="817" y="384"/>
                    </a:lnTo>
                    <a:lnTo>
                      <a:pt x="817" y="384"/>
                    </a:lnTo>
                    <a:lnTo>
                      <a:pt x="824" y="384"/>
                    </a:lnTo>
                    <a:lnTo>
                      <a:pt x="824" y="391"/>
                    </a:lnTo>
                    <a:lnTo>
                      <a:pt x="824" y="391"/>
                    </a:lnTo>
                    <a:lnTo>
                      <a:pt x="817" y="398"/>
                    </a:lnTo>
                    <a:lnTo>
                      <a:pt x="817" y="405"/>
                    </a:lnTo>
                    <a:lnTo>
                      <a:pt x="810" y="405"/>
                    </a:lnTo>
                    <a:lnTo>
                      <a:pt x="795" y="412"/>
                    </a:lnTo>
                    <a:lnTo>
                      <a:pt x="795" y="412"/>
                    </a:lnTo>
                    <a:lnTo>
                      <a:pt x="795" y="419"/>
                    </a:lnTo>
                    <a:lnTo>
                      <a:pt x="788" y="419"/>
                    </a:lnTo>
                    <a:lnTo>
                      <a:pt x="788" y="419"/>
                    </a:lnTo>
                    <a:lnTo>
                      <a:pt x="781" y="419"/>
                    </a:lnTo>
                    <a:lnTo>
                      <a:pt x="781" y="419"/>
                    </a:lnTo>
                    <a:lnTo>
                      <a:pt x="774" y="419"/>
                    </a:lnTo>
                    <a:lnTo>
                      <a:pt x="774" y="419"/>
                    </a:lnTo>
                    <a:lnTo>
                      <a:pt x="774" y="426"/>
                    </a:lnTo>
                    <a:lnTo>
                      <a:pt x="774" y="426"/>
                    </a:lnTo>
                    <a:lnTo>
                      <a:pt x="774" y="426"/>
                    </a:lnTo>
                    <a:lnTo>
                      <a:pt x="774" y="433"/>
                    </a:lnTo>
                    <a:lnTo>
                      <a:pt x="774" y="433"/>
                    </a:lnTo>
                    <a:lnTo>
                      <a:pt x="774" y="433"/>
                    </a:lnTo>
                    <a:lnTo>
                      <a:pt x="774" y="441"/>
                    </a:lnTo>
                    <a:lnTo>
                      <a:pt x="774" y="441"/>
                    </a:lnTo>
                    <a:lnTo>
                      <a:pt x="774" y="441"/>
                    </a:lnTo>
                    <a:lnTo>
                      <a:pt x="781" y="441"/>
                    </a:lnTo>
                    <a:lnTo>
                      <a:pt x="781" y="448"/>
                    </a:lnTo>
                    <a:lnTo>
                      <a:pt x="774" y="448"/>
                    </a:lnTo>
                    <a:lnTo>
                      <a:pt x="774" y="455"/>
                    </a:lnTo>
                    <a:lnTo>
                      <a:pt x="774" y="455"/>
                    </a:lnTo>
                    <a:lnTo>
                      <a:pt x="767" y="455"/>
                    </a:lnTo>
                    <a:lnTo>
                      <a:pt x="767" y="455"/>
                    </a:lnTo>
                    <a:lnTo>
                      <a:pt x="767" y="455"/>
                    </a:lnTo>
                    <a:lnTo>
                      <a:pt x="767" y="455"/>
                    </a:lnTo>
                    <a:lnTo>
                      <a:pt x="767" y="462"/>
                    </a:lnTo>
                    <a:lnTo>
                      <a:pt x="774" y="462"/>
                    </a:lnTo>
                    <a:lnTo>
                      <a:pt x="774" y="469"/>
                    </a:lnTo>
                    <a:lnTo>
                      <a:pt x="774" y="469"/>
                    </a:lnTo>
                    <a:lnTo>
                      <a:pt x="774" y="469"/>
                    </a:lnTo>
                    <a:lnTo>
                      <a:pt x="774" y="469"/>
                    </a:lnTo>
                    <a:lnTo>
                      <a:pt x="774" y="469"/>
                    </a:lnTo>
                    <a:lnTo>
                      <a:pt x="781" y="469"/>
                    </a:lnTo>
                    <a:lnTo>
                      <a:pt x="788" y="469"/>
                    </a:lnTo>
                    <a:lnTo>
                      <a:pt x="795" y="469"/>
                    </a:lnTo>
                    <a:lnTo>
                      <a:pt x="803" y="462"/>
                    </a:lnTo>
                    <a:lnTo>
                      <a:pt x="803" y="462"/>
                    </a:lnTo>
                    <a:lnTo>
                      <a:pt x="810" y="462"/>
                    </a:lnTo>
                    <a:lnTo>
                      <a:pt x="817" y="462"/>
                    </a:lnTo>
                    <a:lnTo>
                      <a:pt x="817" y="462"/>
                    </a:lnTo>
                    <a:lnTo>
                      <a:pt x="817" y="462"/>
                    </a:lnTo>
                    <a:lnTo>
                      <a:pt x="817" y="462"/>
                    </a:lnTo>
                    <a:lnTo>
                      <a:pt x="817" y="462"/>
                    </a:lnTo>
                    <a:lnTo>
                      <a:pt x="824" y="462"/>
                    </a:lnTo>
                    <a:lnTo>
                      <a:pt x="824" y="462"/>
                    </a:lnTo>
                    <a:lnTo>
                      <a:pt x="824" y="462"/>
                    </a:lnTo>
                    <a:lnTo>
                      <a:pt x="824" y="462"/>
                    </a:lnTo>
                    <a:lnTo>
                      <a:pt x="824" y="462"/>
                    </a:lnTo>
                    <a:lnTo>
                      <a:pt x="824" y="462"/>
                    </a:lnTo>
                    <a:lnTo>
                      <a:pt x="824" y="462"/>
                    </a:lnTo>
                    <a:lnTo>
                      <a:pt x="831" y="469"/>
                    </a:lnTo>
                    <a:lnTo>
                      <a:pt x="831" y="462"/>
                    </a:lnTo>
                    <a:lnTo>
                      <a:pt x="838" y="462"/>
                    </a:lnTo>
                    <a:lnTo>
                      <a:pt x="838" y="462"/>
                    </a:lnTo>
                    <a:lnTo>
                      <a:pt x="838" y="462"/>
                    </a:lnTo>
                    <a:lnTo>
                      <a:pt x="838" y="462"/>
                    </a:lnTo>
                    <a:lnTo>
                      <a:pt x="838" y="462"/>
                    </a:lnTo>
                    <a:lnTo>
                      <a:pt x="838" y="462"/>
                    </a:lnTo>
                    <a:lnTo>
                      <a:pt x="845" y="462"/>
                    </a:lnTo>
                    <a:lnTo>
                      <a:pt x="845" y="462"/>
                    </a:lnTo>
                    <a:lnTo>
                      <a:pt x="845" y="462"/>
                    </a:lnTo>
                    <a:lnTo>
                      <a:pt x="845" y="469"/>
                    </a:lnTo>
                    <a:lnTo>
                      <a:pt x="845" y="469"/>
                    </a:lnTo>
                    <a:lnTo>
                      <a:pt x="845" y="469"/>
                    </a:lnTo>
                    <a:lnTo>
                      <a:pt x="845" y="469"/>
                    </a:lnTo>
                    <a:lnTo>
                      <a:pt x="845" y="469"/>
                    </a:lnTo>
                    <a:lnTo>
                      <a:pt x="838" y="469"/>
                    </a:lnTo>
                    <a:lnTo>
                      <a:pt x="838" y="476"/>
                    </a:lnTo>
                    <a:lnTo>
                      <a:pt x="838" y="476"/>
                    </a:lnTo>
                    <a:lnTo>
                      <a:pt x="817" y="476"/>
                    </a:lnTo>
                    <a:lnTo>
                      <a:pt x="817" y="476"/>
                    </a:lnTo>
                    <a:lnTo>
                      <a:pt x="817" y="476"/>
                    </a:lnTo>
                    <a:lnTo>
                      <a:pt x="810" y="476"/>
                    </a:lnTo>
                    <a:lnTo>
                      <a:pt x="810" y="476"/>
                    </a:lnTo>
                    <a:lnTo>
                      <a:pt x="810" y="476"/>
                    </a:lnTo>
                    <a:lnTo>
                      <a:pt x="803" y="476"/>
                    </a:lnTo>
                    <a:lnTo>
                      <a:pt x="803" y="483"/>
                    </a:lnTo>
                    <a:lnTo>
                      <a:pt x="803" y="483"/>
                    </a:lnTo>
                    <a:lnTo>
                      <a:pt x="795" y="483"/>
                    </a:lnTo>
                    <a:lnTo>
                      <a:pt x="795" y="490"/>
                    </a:lnTo>
                    <a:lnTo>
                      <a:pt x="795" y="490"/>
                    </a:lnTo>
                    <a:lnTo>
                      <a:pt x="788" y="497"/>
                    </a:lnTo>
                    <a:lnTo>
                      <a:pt x="788" y="504"/>
                    </a:lnTo>
                    <a:lnTo>
                      <a:pt x="788" y="504"/>
                    </a:lnTo>
                    <a:lnTo>
                      <a:pt x="781" y="504"/>
                    </a:lnTo>
                    <a:lnTo>
                      <a:pt x="781" y="504"/>
                    </a:lnTo>
                    <a:lnTo>
                      <a:pt x="774" y="504"/>
                    </a:lnTo>
                    <a:lnTo>
                      <a:pt x="774" y="504"/>
                    </a:lnTo>
                    <a:lnTo>
                      <a:pt x="774" y="504"/>
                    </a:lnTo>
                    <a:lnTo>
                      <a:pt x="774" y="504"/>
                    </a:lnTo>
                    <a:lnTo>
                      <a:pt x="774" y="504"/>
                    </a:lnTo>
                    <a:lnTo>
                      <a:pt x="767" y="512"/>
                    </a:lnTo>
                    <a:lnTo>
                      <a:pt x="767" y="519"/>
                    </a:lnTo>
                    <a:lnTo>
                      <a:pt x="767" y="519"/>
                    </a:lnTo>
                    <a:lnTo>
                      <a:pt x="767" y="519"/>
                    </a:lnTo>
                    <a:lnTo>
                      <a:pt x="767" y="519"/>
                    </a:lnTo>
                    <a:lnTo>
                      <a:pt x="760" y="519"/>
                    </a:lnTo>
                    <a:lnTo>
                      <a:pt x="760" y="519"/>
                    </a:lnTo>
                    <a:lnTo>
                      <a:pt x="760" y="519"/>
                    </a:lnTo>
                    <a:lnTo>
                      <a:pt x="760" y="519"/>
                    </a:lnTo>
                    <a:lnTo>
                      <a:pt x="760" y="519"/>
                    </a:lnTo>
                    <a:lnTo>
                      <a:pt x="760" y="519"/>
                    </a:lnTo>
                    <a:lnTo>
                      <a:pt x="753" y="519"/>
                    </a:lnTo>
                    <a:lnTo>
                      <a:pt x="753" y="519"/>
                    </a:lnTo>
                    <a:lnTo>
                      <a:pt x="753" y="519"/>
                    </a:lnTo>
                    <a:lnTo>
                      <a:pt x="753" y="519"/>
                    </a:lnTo>
                    <a:lnTo>
                      <a:pt x="753" y="519"/>
                    </a:lnTo>
                    <a:lnTo>
                      <a:pt x="753" y="519"/>
                    </a:lnTo>
                    <a:lnTo>
                      <a:pt x="753" y="519"/>
                    </a:lnTo>
                    <a:lnTo>
                      <a:pt x="739" y="519"/>
                    </a:lnTo>
                    <a:lnTo>
                      <a:pt x="739" y="519"/>
                    </a:lnTo>
                    <a:lnTo>
                      <a:pt x="739" y="519"/>
                    </a:lnTo>
                    <a:lnTo>
                      <a:pt x="739" y="519"/>
                    </a:lnTo>
                    <a:lnTo>
                      <a:pt x="739" y="519"/>
                    </a:lnTo>
                    <a:lnTo>
                      <a:pt x="739" y="519"/>
                    </a:lnTo>
                    <a:lnTo>
                      <a:pt x="739" y="519"/>
                    </a:lnTo>
                    <a:lnTo>
                      <a:pt x="746" y="526"/>
                    </a:lnTo>
                    <a:lnTo>
                      <a:pt x="753" y="526"/>
                    </a:lnTo>
                    <a:lnTo>
                      <a:pt x="753" y="526"/>
                    </a:lnTo>
                    <a:lnTo>
                      <a:pt x="753" y="526"/>
                    </a:lnTo>
                    <a:lnTo>
                      <a:pt x="753" y="526"/>
                    </a:lnTo>
                    <a:lnTo>
                      <a:pt x="760" y="526"/>
                    </a:lnTo>
                    <a:lnTo>
                      <a:pt x="760" y="526"/>
                    </a:lnTo>
                    <a:lnTo>
                      <a:pt x="760" y="526"/>
                    </a:lnTo>
                    <a:lnTo>
                      <a:pt x="760" y="526"/>
                    </a:lnTo>
                    <a:lnTo>
                      <a:pt x="760" y="533"/>
                    </a:lnTo>
                    <a:lnTo>
                      <a:pt x="760" y="533"/>
                    </a:lnTo>
                    <a:lnTo>
                      <a:pt x="767" y="533"/>
                    </a:lnTo>
                    <a:lnTo>
                      <a:pt x="767" y="540"/>
                    </a:lnTo>
                    <a:lnTo>
                      <a:pt x="774" y="540"/>
                    </a:lnTo>
                    <a:lnTo>
                      <a:pt x="774" y="540"/>
                    </a:lnTo>
                    <a:lnTo>
                      <a:pt x="774" y="540"/>
                    </a:lnTo>
                    <a:lnTo>
                      <a:pt x="774" y="547"/>
                    </a:lnTo>
                    <a:lnTo>
                      <a:pt x="781" y="547"/>
                    </a:lnTo>
                    <a:lnTo>
                      <a:pt x="781" y="547"/>
                    </a:lnTo>
                    <a:lnTo>
                      <a:pt x="781" y="547"/>
                    </a:lnTo>
                    <a:lnTo>
                      <a:pt x="781" y="554"/>
                    </a:lnTo>
                    <a:lnTo>
                      <a:pt x="781" y="554"/>
                    </a:lnTo>
                    <a:lnTo>
                      <a:pt x="788" y="561"/>
                    </a:lnTo>
                    <a:lnTo>
                      <a:pt x="788" y="561"/>
                    </a:lnTo>
                    <a:lnTo>
                      <a:pt x="788" y="575"/>
                    </a:lnTo>
                    <a:lnTo>
                      <a:pt x="788" y="575"/>
                    </a:lnTo>
                    <a:lnTo>
                      <a:pt x="788" y="575"/>
                    </a:lnTo>
                    <a:lnTo>
                      <a:pt x="788" y="583"/>
                    </a:lnTo>
                    <a:lnTo>
                      <a:pt x="788" y="583"/>
                    </a:lnTo>
                    <a:lnTo>
                      <a:pt x="788" y="583"/>
                    </a:lnTo>
                    <a:lnTo>
                      <a:pt x="781" y="590"/>
                    </a:lnTo>
                    <a:lnTo>
                      <a:pt x="774" y="597"/>
                    </a:lnTo>
                    <a:lnTo>
                      <a:pt x="774" y="597"/>
                    </a:lnTo>
                    <a:lnTo>
                      <a:pt x="774" y="597"/>
                    </a:lnTo>
                    <a:lnTo>
                      <a:pt x="774" y="597"/>
                    </a:lnTo>
                    <a:lnTo>
                      <a:pt x="774" y="604"/>
                    </a:lnTo>
                    <a:lnTo>
                      <a:pt x="774" y="604"/>
                    </a:lnTo>
                    <a:lnTo>
                      <a:pt x="774" y="604"/>
                    </a:lnTo>
                    <a:lnTo>
                      <a:pt x="767" y="604"/>
                    </a:lnTo>
                    <a:lnTo>
                      <a:pt x="767" y="604"/>
                    </a:lnTo>
                    <a:lnTo>
                      <a:pt x="760" y="611"/>
                    </a:lnTo>
                    <a:lnTo>
                      <a:pt x="760" y="611"/>
                    </a:lnTo>
                    <a:lnTo>
                      <a:pt x="760" y="611"/>
                    </a:lnTo>
                    <a:lnTo>
                      <a:pt x="753" y="611"/>
                    </a:lnTo>
                    <a:lnTo>
                      <a:pt x="753" y="611"/>
                    </a:lnTo>
                    <a:lnTo>
                      <a:pt x="746" y="611"/>
                    </a:lnTo>
                    <a:lnTo>
                      <a:pt x="746" y="611"/>
                    </a:lnTo>
                    <a:lnTo>
                      <a:pt x="746" y="604"/>
                    </a:lnTo>
                    <a:lnTo>
                      <a:pt x="739" y="604"/>
                    </a:lnTo>
                    <a:lnTo>
                      <a:pt x="739" y="604"/>
                    </a:lnTo>
                    <a:lnTo>
                      <a:pt x="739" y="597"/>
                    </a:lnTo>
                    <a:lnTo>
                      <a:pt x="732" y="597"/>
                    </a:lnTo>
                    <a:lnTo>
                      <a:pt x="732" y="597"/>
                    </a:lnTo>
                    <a:lnTo>
                      <a:pt x="732" y="597"/>
                    </a:lnTo>
                    <a:lnTo>
                      <a:pt x="724" y="597"/>
                    </a:lnTo>
                    <a:lnTo>
                      <a:pt x="724" y="590"/>
                    </a:lnTo>
                    <a:lnTo>
                      <a:pt x="724" y="590"/>
                    </a:lnTo>
                    <a:lnTo>
                      <a:pt x="724" y="590"/>
                    </a:lnTo>
                    <a:lnTo>
                      <a:pt x="724" y="590"/>
                    </a:lnTo>
                    <a:lnTo>
                      <a:pt x="724" y="590"/>
                    </a:lnTo>
                    <a:lnTo>
                      <a:pt x="724" y="590"/>
                    </a:lnTo>
                    <a:lnTo>
                      <a:pt x="717" y="590"/>
                    </a:lnTo>
                    <a:lnTo>
                      <a:pt x="717" y="590"/>
                    </a:lnTo>
                    <a:lnTo>
                      <a:pt x="717" y="590"/>
                    </a:lnTo>
                    <a:lnTo>
                      <a:pt x="717" y="597"/>
                    </a:lnTo>
                    <a:lnTo>
                      <a:pt x="710" y="597"/>
                    </a:lnTo>
                    <a:lnTo>
                      <a:pt x="710" y="597"/>
                    </a:lnTo>
                    <a:lnTo>
                      <a:pt x="710" y="597"/>
                    </a:lnTo>
                    <a:lnTo>
                      <a:pt x="710" y="597"/>
                    </a:lnTo>
                    <a:lnTo>
                      <a:pt x="710" y="597"/>
                    </a:lnTo>
                    <a:lnTo>
                      <a:pt x="710" y="597"/>
                    </a:lnTo>
                    <a:lnTo>
                      <a:pt x="717" y="597"/>
                    </a:lnTo>
                    <a:lnTo>
                      <a:pt x="717" y="597"/>
                    </a:lnTo>
                    <a:lnTo>
                      <a:pt x="717" y="597"/>
                    </a:lnTo>
                    <a:lnTo>
                      <a:pt x="717" y="597"/>
                    </a:lnTo>
                    <a:lnTo>
                      <a:pt x="717" y="604"/>
                    </a:lnTo>
                    <a:lnTo>
                      <a:pt x="717" y="604"/>
                    </a:lnTo>
                    <a:lnTo>
                      <a:pt x="717" y="604"/>
                    </a:lnTo>
                    <a:lnTo>
                      <a:pt x="717" y="604"/>
                    </a:lnTo>
                    <a:lnTo>
                      <a:pt x="717" y="604"/>
                    </a:lnTo>
                    <a:lnTo>
                      <a:pt x="717" y="604"/>
                    </a:lnTo>
                    <a:lnTo>
                      <a:pt x="724" y="604"/>
                    </a:lnTo>
                    <a:lnTo>
                      <a:pt x="724" y="604"/>
                    </a:lnTo>
                    <a:lnTo>
                      <a:pt x="724" y="604"/>
                    </a:lnTo>
                    <a:lnTo>
                      <a:pt x="724" y="611"/>
                    </a:lnTo>
                    <a:lnTo>
                      <a:pt x="724" y="611"/>
                    </a:lnTo>
                    <a:lnTo>
                      <a:pt x="724" y="611"/>
                    </a:lnTo>
                    <a:lnTo>
                      <a:pt x="724" y="618"/>
                    </a:lnTo>
                    <a:lnTo>
                      <a:pt x="724" y="618"/>
                    </a:lnTo>
                    <a:lnTo>
                      <a:pt x="717" y="632"/>
                    </a:lnTo>
                    <a:lnTo>
                      <a:pt x="710" y="639"/>
                    </a:lnTo>
                    <a:lnTo>
                      <a:pt x="710" y="639"/>
                    </a:lnTo>
                    <a:lnTo>
                      <a:pt x="710" y="639"/>
                    </a:lnTo>
                    <a:lnTo>
                      <a:pt x="710" y="639"/>
                    </a:lnTo>
                    <a:lnTo>
                      <a:pt x="710" y="639"/>
                    </a:lnTo>
                    <a:lnTo>
                      <a:pt x="710" y="639"/>
                    </a:lnTo>
                    <a:lnTo>
                      <a:pt x="710" y="639"/>
                    </a:lnTo>
                    <a:lnTo>
                      <a:pt x="710" y="646"/>
                    </a:lnTo>
                    <a:lnTo>
                      <a:pt x="710" y="646"/>
                    </a:lnTo>
                    <a:lnTo>
                      <a:pt x="710" y="646"/>
                    </a:lnTo>
                    <a:lnTo>
                      <a:pt x="717" y="654"/>
                    </a:lnTo>
                    <a:lnTo>
                      <a:pt x="717" y="654"/>
                    </a:lnTo>
                    <a:lnTo>
                      <a:pt x="717" y="661"/>
                    </a:lnTo>
                    <a:lnTo>
                      <a:pt x="710" y="661"/>
                    </a:lnTo>
                    <a:lnTo>
                      <a:pt x="710" y="661"/>
                    </a:lnTo>
                    <a:lnTo>
                      <a:pt x="710" y="661"/>
                    </a:lnTo>
                    <a:lnTo>
                      <a:pt x="710" y="668"/>
                    </a:lnTo>
                    <a:lnTo>
                      <a:pt x="710" y="668"/>
                    </a:lnTo>
                    <a:lnTo>
                      <a:pt x="710" y="668"/>
                    </a:lnTo>
                    <a:lnTo>
                      <a:pt x="710" y="668"/>
                    </a:lnTo>
                    <a:lnTo>
                      <a:pt x="710" y="668"/>
                    </a:lnTo>
                    <a:lnTo>
                      <a:pt x="703" y="668"/>
                    </a:lnTo>
                    <a:lnTo>
                      <a:pt x="696" y="668"/>
                    </a:lnTo>
                    <a:lnTo>
                      <a:pt x="696" y="668"/>
                    </a:lnTo>
                    <a:lnTo>
                      <a:pt x="696" y="668"/>
                    </a:lnTo>
                    <a:lnTo>
                      <a:pt x="696" y="668"/>
                    </a:lnTo>
                    <a:lnTo>
                      <a:pt x="696" y="668"/>
                    </a:lnTo>
                    <a:lnTo>
                      <a:pt x="696" y="668"/>
                    </a:lnTo>
                    <a:lnTo>
                      <a:pt x="696" y="668"/>
                    </a:lnTo>
                    <a:lnTo>
                      <a:pt x="696" y="675"/>
                    </a:lnTo>
                    <a:lnTo>
                      <a:pt x="696" y="675"/>
                    </a:lnTo>
                    <a:lnTo>
                      <a:pt x="689" y="675"/>
                    </a:lnTo>
                    <a:lnTo>
                      <a:pt x="689" y="675"/>
                    </a:lnTo>
                    <a:lnTo>
                      <a:pt x="689" y="675"/>
                    </a:lnTo>
                    <a:lnTo>
                      <a:pt x="689" y="675"/>
                    </a:lnTo>
                    <a:lnTo>
                      <a:pt x="689" y="675"/>
                    </a:lnTo>
                    <a:lnTo>
                      <a:pt x="682" y="675"/>
                    </a:lnTo>
                    <a:lnTo>
                      <a:pt x="682" y="668"/>
                    </a:lnTo>
                    <a:lnTo>
                      <a:pt x="682" y="668"/>
                    </a:lnTo>
                    <a:lnTo>
                      <a:pt x="682" y="668"/>
                    </a:lnTo>
                    <a:lnTo>
                      <a:pt x="675" y="668"/>
                    </a:lnTo>
                    <a:lnTo>
                      <a:pt x="675" y="668"/>
                    </a:lnTo>
                    <a:lnTo>
                      <a:pt x="675" y="668"/>
                    </a:lnTo>
                    <a:lnTo>
                      <a:pt x="675" y="668"/>
                    </a:lnTo>
                    <a:lnTo>
                      <a:pt x="675" y="668"/>
                    </a:lnTo>
                    <a:lnTo>
                      <a:pt x="675" y="668"/>
                    </a:lnTo>
                    <a:lnTo>
                      <a:pt x="675" y="675"/>
                    </a:lnTo>
                    <a:lnTo>
                      <a:pt x="675" y="675"/>
                    </a:lnTo>
                    <a:lnTo>
                      <a:pt x="668" y="675"/>
                    </a:lnTo>
                    <a:lnTo>
                      <a:pt x="668" y="675"/>
                    </a:lnTo>
                    <a:lnTo>
                      <a:pt x="668" y="675"/>
                    </a:lnTo>
                    <a:lnTo>
                      <a:pt x="668" y="668"/>
                    </a:lnTo>
                    <a:lnTo>
                      <a:pt x="668" y="668"/>
                    </a:lnTo>
                    <a:lnTo>
                      <a:pt x="661" y="668"/>
                    </a:lnTo>
                    <a:lnTo>
                      <a:pt x="661" y="661"/>
                    </a:lnTo>
                    <a:lnTo>
                      <a:pt x="661" y="661"/>
                    </a:lnTo>
                    <a:lnTo>
                      <a:pt x="661" y="661"/>
                    </a:lnTo>
                    <a:lnTo>
                      <a:pt x="668" y="661"/>
                    </a:lnTo>
                    <a:lnTo>
                      <a:pt x="668" y="661"/>
                    </a:lnTo>
                    <a:lnTo>
                      <a:pt x="668" y="661"/>
                    </a:lnTo>
                    <a:lnTo>
                      <a:pt x="675" y="654"/>
                    </a:lnTo>
                    <a:lnTo>
                      <a:pt x="675" y="654"/>
                    </a:lnTo>
                    <a:lnTo>
                      <a:pt x="675" y="654"/>
                    </a:lnTo>
                    <a:lnTo>
                      <a:pt x="675" y="654"/>
                    </a:lnTo>
                    <a:lnTo>
                      <a:pt x="675" y="654"/>
                    </a:lnTo>
                    <a:lnTo>
                      <a:pt x="675" y="654"/>
                    </a:lnTo>
                    <a:lnTo>
                      <a:pt x="675" y="654"/>
                    </a:lnTo>
                    <a:lnTo>
                      <a:pt x="675" y="654"/>
                    </a:lnTo>
                    <a:lnTo>
                      <a:pt x="675" y="654"/>
                    </a:lnTo>
                    <a:lnTo>
                      <a:pt x="668" y="654"/>
                    </a:lnTo>
                    <a:lnTo>
                      <a:pt x="668" y="654"/>
                    </a:lnTo>
                    <a:lnTo>
                      <a:pt x="668" y="646"/>
                    </a:lnTo>
                    <a:lnTo>
                      <a:pt x="668" y="646"/>
                    </a:lnTo>
                    <a:lnTo>
                      <a:pt x="668" y="646"/>
                    </a:lnTo>
                    <a:lnTo>
                      <a:pt x="668" y="646"/>
                    </a:lnTo>
                    <a:lnTo>
                      <a:pt x="668" y="646"/>
                    </a:lnTo>
                    <a:lnTo>
                      <a:pt x="668" y="646"/>
                    </a:lnTo>
                    <a:lnTo>
                      <a:pt x="668" y="646"/>
                    </a:lnTo>
                    <a:lnTo>
                      <a:pt x="668" y="646"/>
                    </a:lnTo>
                    <a:lnTo>
                      <a:pt x="661" y="646"/>
                    </a:lnTo>
                    <a:lnTo>
                      <a:pt x="661" y="646"/>
                    </a:lnTo>
                    <a:lnTo>
                      <a:pt x="661" y="646"/>
                    </a:lnTo>
                    <a:lnTo>
                      <a:pt x="653" y="646"/>
                    </a:lnTo>
                    <a:lnTo>
                      <a:pt x="653" y="646"/>
                    </a:lnTo>
                    <a:lnTo>
                      <a:pt x="653" y="646"/>
                    </a:lnTo>
                    <a:lnTo>
                      <a:pt x="653" y="646"/>
                    </a:lnTo>
                    <a:lnTo>
                      <a:pt x="653" y="654"/>
                    </a:lnTo>
                    <a:lnTo>
                      <a:pt x="653" y="654"/>
                    </a:lnTo>
                    <a:lnTo>
                      <a:pt x="653" y="654"/>
                    </a:lnTo>
                    <a:lnTo>
                      <a:pt x="653" y="654"/>
                    </a:lnTo>
                    <a:lnTo>
                      <a:pt x="646" y="654"/>
                    </a:lnTo>
                    <a:lnTo>
                      <a:pt x="646" y="654"/>
                    </a:lnTo>
                    <a:lnTo>
                      <a:pt x="646" y="654"/>
                    </a:lnTo>
                    <a:lnTo>
                      <a:pt x="646" y="654"/>
                    </a:lnTo>
                    <a:lnTo>
                      <a:pt x="646" y="654"/>
                    </a:lnTo>
                    <a:lnTo>
                      <a:pt x="646" y="654"/>
                    </a:lnTo>
                    <a:lnTo>
                      <a:pt x="646" y="661"/>
                    </a:lnTo>
                    <a:lnTo>
                      <a:pt x="646" y="661"/>
                    </a:lnTo>
                    <a:lnTo>
                      <a:pt x="646" y="661"/>
                    </a:lnTo>
                    <a:lnTo>
                      <a:pt x="646" y="661"/>
                    </a:lnTo>
                    <a:lnTo>
                      <a:pt x="646" y="661"/>
                    </a:lnTo>
                    <a:lnTo>
                      <a:pt x="646" y="661"/>
                    </a:lnTo>
                    <a:lnTo>
                      <a:pt x="646" y="661"/>
                    </a:lnTo>
                    <a:lnTo>
                      <a:pt x="646" y="668"/>
                    </a:lnTo>
                    <a:lnTo>
                      <a:pt x="653" y="668"/>
                    </a:lnTo>
                    <a:lnTo>
                      <a:pt x="653" y="668"/>
                    </a:lnTo>
                    <a:lnTo>
                      <a:pt x="653" y="675"/>
                    </a:lnTo>
                    <a:lnTo>
                      <a:pt x="653" y="675"/>
                    </a:lnTo>
                    <a:lnTo>
                      <a:pt x="646" y="675"/>
                    </a:lnTo>
                    <a:lnTo>
                      <a:pt x="639" y="675"/>
                    </a:lnTo>
                    <a:lnTo>
                      <a:pt x="639" y="675"/>
                    </a:lnTo>
                    <a:lnTo>
                      <a:pt x="632" y="675"/>
                    </a:lnTo>
                    <a:lnTo>
                      <a:pt x="632" y="675"/>
                    </a:lnTo>
                    <a:lnTo>
                      <a:pt x="632" y="682"/>
                    </a:lnTo>
                    <a:lnTo>
                      <a:pt x="632" y="682"/>
                    </a:lnTo>
                    <a:lnTo>
                      <a:pt x="632" y="682"/>
                    </a:lnTo>
                    <a:lnTo>
                      <a:pt x="625" y="675"/>
                    </a:lnTo>
                    <a:lnTo>
                      <a:pt x="625" y="675"/>
                    </a:lnTo>
                    <a:lnTo>
                      <a:pt x="625" y="675"/>
                    </a:lnTo>
                    <a:lnTo>
                      <a:pt x="625" y="682"/>
                    </a:lnTo>
                    <a:lnTo>
                      <a:pt x="625" y="682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5" name="Freeform 73"/>
              <p:cNvSpPr>
                <a:spLocks/>
              </p:cNvSpPr>
              <p:nvPr/>
            </p:nvSpPr>
            <p:spPr bwMode="auto">
              <a:xfrm>
                <a:off x="2676" y="3005"/>
                <a:ext cx="85" cy="135"/>
              </a:xfrm>
              <a:custGeom>
                <a:avLst/>
                <a:gdLst>
                  <a:gd name="T0" fmla="*/ 57 w 85"/>
                  <a:gd name="T1" fmla="*/ 135 h 135"/>
                  <a:gd name="T2" fmla="*/ 50 w 85"/>
                  <a:gd name="T3" fmla="*/ 128 h 135"/>
                  <a:gd name="T4" fmla="*/ 50 w 85"/>
                  <a:gd name="T5" fmla="*/ 120 h 135"/>
                  <a:gd name="T6" fmla="*/ 42 w 85"/>
                  <a:gd name="T7" fmla="*/ 113 h 135"/>
                  <a:gd name="T8" fmla="*/ 35 w 85"/>
                  <a:gd name="T9" fmla="*/ 99 h 135"/>
                  <a:gd name="T10" fmla="*/ 35 w 85"/>
                  <a:gd name="T11" fmla="*/ 92 h 135"/>
                  <a:gd name="T12" fmla="*/ 21 w 85"/>
                  <a:gd name="T13" fmla="*/ 64 h 135"/>
                  <a:gd name="T14" fmla="*/ 14 w 85"/>
                  <a:gd name="T15" fmla="*/ 57 h 135"/>
                  <a:gd name="T16" fmla="*/ 21 w 85"/>
                  <a:gd name="T17" fmla="*/ 57 h 135"/>
                  <a:gd name="T18" fmla="*/ 35 w 85"/>
                  <a:gd name="T19" fmla="*/ 64 h 135"/>
                  <a:gd name="T20" fmla="*/ 35 w 85"/>
                  <a:gd name="T21" fmla="*/ 64 h 135"/>
                  <a:gd name="T22" fmla="*/ 35 w 85"/>
                  <a:gd name="T23" fmla="*/ 57 h 135"/>
                  <a:gd name="T24" fmla="*/ 21 w 85"/>
                  <a:gd name="T25" fmla="*/ 57 h 135"/>
                  <a:gd name="T26" fmla="*/ 14 w 85"/>
                  <a:gd name="T27" fmla="*/ 49 h 135"/>
                  <a:gd name="T28" fmla="*/ 14 w 85"/>
                  <a:gd name="T29" fmla="*/ 42 h 135"/>
                  <a:gd name="T30" fmla="*/ 21 w 85"/>
                  <a:gd name="T31" fmla="*/ 42 h 135"/>
                  <a:gd name="T32" fmla="*/ 21 w 85"/>
                  <a:gd name="T33" fmla="*/ 35 h 135"/>
                  <a:gd name="T34" fmla="*/ 7 w 85"/>
                  <a:gd name="T35" fmla="*/ 42 h 135"/>
                  <a:gd name="T36" fmla="*/ 7 w 85"/>
                  <a:gd name="T37" fmla="*/ 28 h 135"/>
                  <a:gd name="T38" fmla="*/ 7 w 85"/>
                  <a:gd name="T39" fmla="*/ 28 h 135"/>
                  <a:gd name="T40" fmla="*/ 21 w 85"/>
                  <a:gd name="T41" fmla="*/ 21 h 135"/>
                  <a:gd name="T42" fmla="*/ 7 w 85"/>
                  <a:gd name="T43" fmla="*/ 21 h 135"/>
                  <a:gd name="T44" fmla="*/ 0 w 85"/>
                  <a:gd name="T45" fmla="*/ 21 h 135"/>
                  <a:gd name="T46" fmla="*/ 0 w 85"/>
                  <a:gd name="T47" fmla="*/ 14 h 135"/>
                  <a:gd name="T48" fmla="*/ 0 w 85"/>
                  <a:gd name="T49" fmla="*/ 7 h 135"/>
                  <a:gd name="T50" fmla="*/ 14 w 85"/>
                  <a:gd name="T51" fmla="*/ 7 h 135"/>
                  <a:gd name="T52" fmla="*/ 21 w 85"/>
                  <a:gd name="T53" fmla="*/ 0 h 135"/>
                  <a:gd name="T54" fmla="*/ 21 w 85"/>
                  <a:gd name="T55" fmla="*/ 7 h 135"/>
                  <a:gd name="T56" fmla="*/ 28 w 85"/>
                  <a:gd name="T57" fmla="*/ 7 h 135"/>
                  <a:gd name="T58" fmla="*/ 35 w 85"/>
                  <a:gd name="T59" fmla="*/ 21 h 135"/>
                  <a:gd name="T60" fmla="*/ 42 w 85"/>
                  <a:gd name="T61" fmla="*/ 28 h 135"/>
                  <a:gd name="T62" fmla="*/ 57 w 85"/>
                  <a:gd name="T63" fmla="*/ 21 h 135"/>
                  <a:gd name="T64" fmla="*/ 64 w 85"/>
                  <a:gd name="T65" fmla="*/ 21 h 135"/>
                  <a:gd name="T66" fmla="*/ 71 w 85"/>
                  <a:gd name="T67" fmla="*/ 21 h 135"/>
                  <a:gd name="T68" fmla="*/ 78 w 85"/>
                  <a:gd name="T69" fmla="*/ 28 h 135"/>
                  <a:gd name="T70" fmla="*/ 78 w 85"/>
                  <a:gd name="T71" fmla="*/ 42 h 135"/>
                  <a:gd name="T72" fmla="*/ 78 w 85"/>
                  <a:gd name="T73" fmla="*/ 49 h 135"/>
                  <a:gd name="T74" fmla="*/ 78 w 85"/>
                  <a:gd name="T75" fmla="*/ 57 h 135"/>
                  <a:gd name="T76" fmla="*/ 78 w 85"/>
                  <a:gd name="T77" fmla="*/ 64 h 135"/>
                  <a:gd name="T78" fmla="*/ 85 w 85"/>
                  <a:gd name="T79" fmla="*/ 71 h 135"/>
                  <a:gd name="T80" fmla="*/ 85 w 85"/>
                  <a:gd name="T81" fmla="*/ 78 h 135"/>
                  <a:gd name="T82" fmla="*/ 78 w 85"/>
                  <a:gd name="T83" fmla="*/ 78 h 135"/>
                  <a:gd name="T84" fmla="*/ 78 w 85"/>
                  <a:gd name="T85" fmla="*/ 85 h 135"/>
                  <a:gd name="T86" fmla="*/ 85 w 85"/>
                  <a:gd name="T87" fmla="*/ 92 h 135"/>
                  <a:gd name="T88" fmla="*/ 78 w 85"/>
                  <a:gd name="T89" fmla="*/ 99 h 135"/>
                  <a:gd name="T90" fmla="*/ 78 w 85"/>
                  <a:gd name="T91" fmla="*/ 106 h 135"/>
                  <a:gd name="T92" fmla="*/ 78 w 85"/>
                  <a:gd name="T93" fmla="*/ 113 h 135"/>
                  <a:gd name="T94" fmla="*/ 78 w 85"/>
                  <a:gd name="T95" fmla="*/ 120 h 135"/>
                  <a:gd name="T96" fmla="*/ 71 w 85"/>
                  <a:gd name="T97" fmla="*/ 128 h 135"/>
                  <a:gd name="T98" fmla="*/ 64 w 85"/>
                  <a:gd name="T99" fmla="*/ 128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5" h="135">
                    <a:moveTo>
                      <a:pt x="64" y="128"/>
                    </a:moveTo>
                    <a:lnTo>
                      <a:pt x="64" y="128"/>
                    </a:lnTo>
                    <a:lnTo>
                      <a:pt x="64" y="135"/>
                    </a:lnTo>
                    <a:lnTo>
                      <a:pt x="57" y="135"/>
                    </a:lnTo>
                    <a:lnTo>
                      <a:pt x="57" y="135"/>
                    </a:lnTo>
                    <a:lnTo>
                      <a:pt x="57" y="135"/>
                    </a:lnTo>
                    <a:lnTo>
                      <a:pt x="57" y="135"/>
                    </a:lnTo>
                    <a:lnTo>
                      <a:pt x="50" y="128"/>
                    </a:lnTo>
                    <a:lnTo>
                      <a:pt x="50" y="128"/>
                    </a:lnTo>
                    <a:lnTo>
                      <a:pt x="50" y="128"/>
                    </a:lnTo>
                    <a:lnTo>
                      <a:pt x="50" y="120"/>
                    </a:lnTo>
                    <a:lnTo>
                      <a:pt x="50" y="120"/>
                    </a:lnTo>
                    <a:lnTo>
                      <a:pt x="42" y="120"/>
                    </a:lnTo>
                    <a:lnTo>
                      <a:pt x="42" y="120"/>
                    </a:lnTo>
                    <a:lnTo>
                      <a:pt x="42" y="120"/>
                    </a:lnTo>
                    <a:lnTo>
                      <a:pt x="42" y="113"/>
                    </a:lnTo>
                    <a:lnTo>
                      <a:pt x="35" y="106"/>
                    </a:lnTo>
                    <a:lnTo>
                      <a:pt x="28" y="106"/>
                    </a:lnTo>
                    <a:lnTo>
                      <a:pt x="28" y="99"/>
                    </a:lnTo>
                    <a:lnTo>
                      <a:pt x="35" y="99"/>
                    </a:lnTo>
                    <a:lnTo>
                      <a:pt x="35" y="99"/>
                    </a:lnTo>
                    <a:lnTo>
                      <a:pt x="35" y="99"/>
                    </a:lnTo>
                    <a:lnTo>
                      <a:pt x="35" y="99"/>
                    </a:lnTo>
                    <a:lnTo>
                      <a:pt x="35" y="92"/>
                    </a:lnTo>
                    <a:lnTo>
                      <a:pt x="35" y="92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21" y="64"/>
                    </a:lnTo>
                    <a:lnTo>
                      <a:pt x="21" y="64"/>
                    </a:lnTo>
                    <a:lnTo>
                      <a:pt x="21" y="64"/>
                    </a:lnTo>
                    <a:lnTo>
                      <a:pt x="14" y="64"/>
                    </a:lnTo>
                    <a:lnTo>
                      <a:pt x="14" y="57"/>
                    </a:lnTo>
                    <a:lnTo>
                      <a:pt x="21" y="57"/>
                    </a:lnTo>
                    <a:lnTo>
                      <a:pt x="21" y="57"/>
                    </a:lnTo>
                    <a:lnTo>
                      <a:pt x="21" y="57"/>
                    </a:lnTo>
                    <a:lnTo>
                      <a:pt x="21" y="57"/>
                    </a:lnTo>
                    <a:lnTo>
                      <a:pt x="28" y="57"/>
                    </a:lnTo>
                    <a:lnTo>
                      <a:pt x="28" y="57"/>
                    </a:lnTo>
                    <a:lnTo>
                      <a:pt x="35" y="57"/>
                    </a:lnTo>
                    <a:lnTo>
                      <a:pt x="35" y="64"/>
                    </a:lnTo>
                    <a:lnTo>
                      <a:pt x="35" y="64"/>
                    </a:lnTo>
                    <a:lnTo>
                      <a:pt x="35" y="64"/>
                    </a:lnTo>
                    <a:lnTo>
                      <a:pt x="35" y="64"/>
                    </a:lnTo>
                    <a:lnTo>
                      <a:pt x="35" y="64"/>
                    </a:lnTo>
                    <a:lnTo>
                      <a:pt x="35" y="64"/>
                    </a:lnTo>
                    <a:lnTo>
                      <a:pt x="35" y="64"/>
                    </a:lnTo>
                    <a:lnTo>
                      <a:pt x="35" y="57"/>
                    </a:lnTo>
                    <a:lnTo>
                      <a:pt x="35" y="57"/>
                    </a:lnTo>
                    <a:lnTo>
                      <a:pt x="28" y="57"/>
                    </a:lnTo>
                    <a:lnTo>
                      <a:pt x="28" y="57"/>
                    </a:lnTo>
                    <a:lnTo>
                      <a:pt x="21" y="57"/>
                    </a:lnTo>
                    <a:lnTo>
                      <a:pt x="21" y="57"/>
                    </a:lnTo>
                    <a:lnTo>
                      <a:pt x="21" y="49"/>
                    </a:lnTo>
                    <a:lnTo>
                      <a:pt x="21" y="49"/>
                    </a:lnTo>
                    <a:lnTo>
                      <a:pt x="21" y="49"/>
                    </a:lnTo>
                    <a:lnTo>
                      <a:pt x="14" y="49"/>
                    </a:lnTo>
                    <a:lnTo>
                      <a:pt x="14" y="49"/>
                    </a:lnTo>
                    <a:lnTo>
                      <a:pt x="14" y="49"/>
                    </a:lnTo>
                    <a:lnTo>
                      <a:pt x="14" y="49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21" y="42"/>
                    </a:lnTo>
                    <a:lnTo>
                      <a:pt x="28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1" y="35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7" y="42"/>
                    </a:lnTo>
                    <a:lnTo>
                      <a:pt x="7" y="42"/>
                    </a:lnTo>
                    <a:lnTo>
                      <a:pt x="7" y="35"/>
                    </a:lnTo>
                    <a:lnTo>
                      <a:pt x="7" y="35"/>
                    </a:lnTo>
                    <a:lnTo>
                      <a:pt x="7" y="35"/>
                    </a:lnTo>
                    <a:lnTo>
                      <a:pt x="7" y="28"/>
                    </a:lnTo>
                    <a:lnTo>
                      <a:pt x="7" y="28"/>
                    </a:lnTo>
                    <a:lnTo>
                      <a:pt x="7" y="28"/>
                    </a:lnTo>
                    <a:lnTo>
                      <a:pt x="7" y="28"/>
                    </a:lnTo>
                    <a:lnTo>
                      <a:pt x="7" y="28"/>
                    </a:lnTo>
                    <a:lnTo>
                      <a:pt x="7" y="21"/>
                    </a:lnTo>
                    <a:lnTo>
                      <a:pt x="14" y="21"/>
                    </a:lnTo>
                    <a:lnTo>
                      <a:pt x="21" y="21"/>
                    </a:lnTo>
                    <a:lnTo>
                      <a:pt x="21" y="21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7" y="21"/>
                    </a:lnTo>
                    <a:lnTo>
                      <a:pt x="7" y="28"/>
                    </a:lnTo>
                    <a:lnTo>
                      <a:pt x="7" y="28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7" y="7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8" y="7"/>
                    </a:lnTo>
                    <a:lnTo>
                      <a:pt x="28" y="7"/>
                    </a:lnTo>
                    <a:lnTo>
                      <a:pt x="28" y="7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35" y="21"/>
                    </a:lnTo>
                    <a:lnTo>
                      <a:pt x="35" y="21"/>
                    </a:lnTo>
                    <a:lnTo>
                      <a:pt x="35" y="21"/>
                    </a:lnTo>
                    <a:lnTo>
                      <a:pt x="35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50" y="21"/>
                    </a:lnTo>
                    <a:lnTo>
                      <a:pt x="57" y="21"/>
                    </a:lnTo>
                    <a:lnTo>
                      <a:pt x="57" y="21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71" y="21"/>
                    </a:lnTo>
                    <a:lnTo>
                      <a:pt x="71" y="21"/>
                    </a:lnTo>
                    <a:lnTo>
                      <a:pt x="71" y="21"/>
                    </a:lnTo>
                    <a:lnTo>
                      <a:pt x="71" y="21"/>
                    </a:lnTo>
                    <a:lnTo>
                      <a:pt x="78" y="21"/>
                    </a:lnTo>
                    <a:lnTo>
                      <a:pt x="78" y="28"/>
                    </a:lnTo>
                    <a:lnTo>
                      <a:pt x="78" y="28"/>
                    </a:lnTo>
                    <a:lnTo>
                      <a:pt x="78" y="28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8" y="49"/>
                    </a:lnTo>
                    <a:lnTo>
                      <a:pt x="78" y="49"/>
                    </a:lnTo>
                    <a:lnTo>
                      <a:pt x="78" y="49"/>
                    </a:lnTo>
                    <a:lnTo>
                      <a:pt x="78" y="57"/>
                    </a:lnTo>
                    <a:lnTo>
                      <a:pt x="78" y="57"/>
                    </a:lnTo>
                    <a:lnTo>
                      <a:pt x="78" y="57"/>
                    </a:lnTo>
                    <a:lnTo>
                      <a:pt x="78" y="57"/>
                    </a:lnTo>
                    <a:lnTo>
                      <a:pt x="78" y="57"/>
                    </a:lnTo>
                    <a:lnTo>
                      <a:pt x="78" y="57"/>
                    </a:lnTo>
                    <a:lnTo>
                      <a:pt x="78" y="64"/>
                    </a:lnTo>
                    <a:lnTo>
                      <a:pt x="78" y="64"/>
                    </a:lnTo>
                    <a:lnTo>
                      <a:pt x="85" y="64"/>
                    </a:lnTo>
                    <a:lnTo>
                      <a:pt x="85" y="71"/>
                    </a:lnTo>
                    <a:lnTo>
                      <a:pt x="85" y="71"/>
                    </a:lnTo>
                    <a:lnTo>
                      <a:pt x="85" y="71"/>
                    </a:lnTo>
                    <a:lnTo>
                      <a:pt x="85" y="78"/>
                    </a:lnTo>
                    <a:lnTo>
                      <a:pt x="85" y="78"/>
                    </a:lnTo>
                    <a:lnTo>
                      <a:pt x="85" y="78"/>
                    </a:lnTo>
                    <a:lnTo>
                      <a:pt x="85" y="78"/>
                    </a:lnTo>
                    <a:lnTo>
                      <a:pt x="85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85"/>
                    </a:lnTo>
                    <a:lnTo>
                      <a:pt x="78" y="85"/>
                    </a:lnTo>
                    <a:lnTo>
                      <a:pt x="78" y="85"/>
                    </a:lnTo>
                    <a:lnTo>
                      <a:pt x="78" y="85"/>
                    </a:lnTo>
                    <a:lnTo>
                      <a:pt x="85" y="85"/>
                    </a:lnTo>
                    <a:lnTo>
                      <a:pt x="85" y="85"/>
                    </a:lnTo>
                    <a:lnTo>
                      <a:pt x="85" y="92"/>
                    </a:lnTo>
                    <a:lnTo>
                      <a:pt x="85" y="92"/>
                    </a:lnTo>
                    <a:lnTo>
                      <a:pt x="85" y="92"/>
                    </a:lnTo>
                    <a:lnTo>
                      <a:pt x="85" y="92"/>
                    </a:lnTo>
                    <a:lnTo>
                      <a:pt x="85" y="92"/>
                    </a:lnTo>
                    <a:lnTo>
                      <a:pt x="78" y="99"/>
                    </a:lnTo>
                    <a:lnTo>
                      <a:pt x="78" y="99"/>
                    </a:lnTo>
                    <a:lnTo>
                      <a:pt x="78" y="106"/>
                    </a:lnTo>
                    <a:lnTo>
                      <a:pt x="78" y="106"/>
                    </a:lnTo>
                    <a:lnTo>
                      <a:pt x="78" y="106"/>
                    </a:lnTo>
                    <a:lnTo>
                      <a:pt x="85" y="113"/>
                    </a:lnTo>
                    <a:lnTo>
                      <a:pt x="85" y="113"/>
                    </a:lnTo>
                    <a:lnTo>
                      <a:pt x="85" y="113"/>
                    </a:lnTo>
                    <a:lnTo>
                      <a:pt x="78" y="113"/>
                    </a:lnTo>
                    <a:lnTo>
                      <a:pt x="78" y="113"/>
                    </a:lnTo>
                    <a:lnTo>
                      <a:pt x="78" y="120"/>
                    </a:lnTo>
                    <a:lnTo>
                      <a:pt x="78" y="120"/>
                    </a:lnTo>
                    <a:lnTo>
                      <a:pt x="78" y="120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1" y="128"/>
                    </a:lnTo>
                    <a:lnTo>
                      <a:pt x="71" y="128"/>
                    </a:lnTo>
                    <a:lnTo>
                      <a:pt x="71" y="128"/>
                    </a:lnTo>
                    <a:lnTo>
                      <a:pt x="64" y="128"/>
                    </a:lnTo>
                    <a:lnTo>
                      <a:pt x="64" y="128"/>
                    </a:lnTo>
                    <a:lnTo>
                      <a:pt x="64" y="128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7" name="Freeform 75"/>
              <p:cNvSpPr>
                <a:spLocks/>
              </p:cNvSpPr>
              <p:nvPr/>
            </p:nvSpPr>
            <p:spPr bwMode="auto">
              <a:xfrm>
                <a:off x="5047" y="918"/>
                <a:ext cx="717" cy="404"/>
              </a:xfrm>
              <a:custGeom>
                <a:avLst/>
                <a:gdLst>
                  <a:gd name="T0" fmla="*/ 710 w 717"/>
                  <a:gd name="T1" fmla="*/ 213 h 404"/>
                  <a:gd name="T2" fmla="*/ 688 w 717"/>
                  <a:gd name="T3" fmla="*/ 220 h 404"/>
                  <a:gd name="T4" fmla="*/ 667 w 717"/>
                  <a:gd name="T5" fmla="*/ 241 h 404"/>
                  <a:gd name="T6" fmla="*/ 667 w 717"/>
                  <a:gd name="T7" fmla="*/ 270 h 404"/>
                  <a:gd name="T8" fmla="*/ 710 w 717"/>
                  <a:gd name="T9" fmla="*/ 319 h 404"/>
                  <a:gd name="T10" fmla="*/ 695 w 717"/>
                  <a:gd name="T11" fmla="*/ 326 h 404"/>
                  <a:gd name="T12" fmla="*/ 660 w 717"/>
                  <a:gd name="T13" fmla="*/ 291 h 404"/>
                  <a:gd name="T14" fmla="*/ 632 w 717"/>
                  <a:gd name="T15" fmla="*/ 291 h 404"/>
                  <a:gd name="T16" fmla="*/ 561 w 717"/>
                  <a:gd name="T17" fmla="*/ 326 h 404"/>
                  <a:gd name="T18" fmla="*/ 525 w 717"/>
                  <a:gd name="T19" fmla="*/ 369 h 404"/>
                  <a:gd name="T20" fmla="*/ 490 w 717"/>
                  <a:gd name="T21" fmla="*/ 397 h 404"/>
                  <a:gd name="T22" fmla="*/ 475 w 717"/>
                  <a:gd name="T23" fmla="*/ 383 h 404"/>
                  <a:gd name="T24" fmla="*/ 475 w 717"/>
                  <a:gd name="T25" fmla="*/ 362 h 404"/>
                  <a:gd name="T26" fmla="*/ 475 w 717"/>
                  <a:gd name="T27" fmla="*/ 348 h 404"/>
                  <a:gd name="T28" fmla="*/ 504 w 717"/>
                  <a:gd name="T29" fmla="*/ 319 h 404"/>
                  <a:gd name="T30" fmla="*/ 539 w 717"/>
                  <a:gd name="T31" fmla="*/ 305 h 404"/>
                  <a:gd name="T32" fmla="*/ 553 w 717"/>
                  <a:gd name="T33" fmla="*/ 305 h 404"/>
                  <a:gd name="T34" fmla="*/ 561 w 717"/>
                  <a:gd name="T35" fmla="*/ 298 h 404"/>
                  <a:gd name="T36" fmla="*/ 553 w 717"/>
                  <a:gd name="T37" fmla="*/ 284 h 404"/>
                  <a:gd name="T38" fmla="*/ 546 w 717"/>
                  <a:gd name="T39" fmla="*/ 284 h 404"/>
                  <a:gd name="T40" fmla="*/ 532 w 717"/>
                  <a:gd name="T41" fmla="*/ 262 h 404"/>
                  <a:gd name="T42" fmla="*/ 539 w 717"/>
                  <a:gd name="T43" fmla="*/ 206 h 404"/>
                  <a:gd name="T44" fmla="*/ 468 w 717"/>
                  <a:gd name="T45" fmla="*/ 227 h 404"/>
                  <a:gd name="T46" fmla="*/ 369 w 717"/>
                  <a:gd name="T47" fmla="*/ 277 h 404"/>
                  <a:gd name="T48" fmla="*/ 333 w 717"/>
                  <a:gd name="T49" fmla="*/ 270 h 404"/>
                  <a:gd name="T50" fmla="*/ 312 w 717"/>
                  <a:gd name="T51" fmla="*/ 312 h 404"/>
                  <a:gd name="T52" fmla="*/ 284 w 717"/>
                  <a:gd name="T53" fmla="*/ 362 h 404"/>
                  <a:gd name="T54" fmla="*/ 199 w 717"/>
                  <a:gd name="T55" fmla="*/ 376 h 404"/>
                  <a:gd name="T56" fmla="*/ 149 w 717"/>
                  <a:gd name="T57" fmla="*/ 362 h 404"/>
                  <a:gd name="T58" fmla="*/ 92 w 717"/>
                  <a:gd name="T59" fmla="*/ 390 h 404"/>
                  <a:gd name="T60" fmla="*/ 64 w 717"/>
                  <a:gd name="T61" fmla="*/ 355 h 404"/>
                  <a:gd name="T62" fmla="*/ 49 w 717"/>
                  <a:gd name="T63" fmla="*/ 312 h 404"/>
                  <a:gd name="T64" fmla="*/ 14 w 717"/>
                  <a:gd name="T65" fmla="*/ 312 h 404"/>
                  <a:gd name="T66" fmla="*/ 28 w 717"/>
                  <a:gd name="T67" fmla="*/ 277 h 404"/>
                  <a:gd name="T68" fmla="*/ 78 w 717"/>
                  <a:gd name="T69" fmla="*/ 262 h 404"/>
                  <a:gd name="T70" fmla="*/ 92 w 717"/>
                  <a:gd name="T71" fmla="*/ 255 h 404"/>
                  <a:gd name="T72" fmla="*/ 113 w 717"/>
                  <a:gd name="T73" fmla="*/ 248 h 404"/>
                  <a:gd name="T74" fmla="*/ 135 w 717"/>
                  <a:gd name="T75" fmla="*/ 227 h 404"/>
                  <a:gd name="T76" fmla="*/ 142 w 717"/>
                  <a:gd name="T77" fmla="*/ 206 h 404"/>
                  <a:gd name="T78" fmla="*/ 163 w 717"/>
                  <a:gd name="T79" fmla="*/ 184 h 404"/>
                  <a:gd name="T80" fmla="*/ 184 w 717"/>
                  <a:gd name="T81" fmla="*/ 135 h 404"/>
                  <a:gd name="T82" fmla="*/ 234 w 717"/>
                  <a:gd name="T83" fmla="*/ 128 h 404"/>
                  <a:gd name="T84" fmla="*/ 262 w 717"/>
                  <a:gd name="T85" fmla="*/ 106 h 404"/>
                  <a:gd name="T86" fmla="*/ 277 w 717"/>
                  <a:gd name="T87" fmla="*/ 99 h 404"/>
                  <a:gd name="T88" fmla="*/ 291 w 717"/>
                  <a:gd name="T89" fmla="*/ 78 h 404"/>
                  <a:gd name="T90" fmla="*/ 333 w 717"/>
                  <a:gd name="T91" fmla="*/ 42 h 404"/>
                  <a:gd name="T92" fmla="*/ 369 w 717"/>
                  <a:gd name="T93" fmla="*/ 49 h 404"/>
                  <a:gd name="T94" fmla="*/ 412 w 717"/>
                  <a:gd name="T95" fmla="*/ 57 h 404"/>
                  <a:gd name="T96" fmla="*/ 447 w 717"/>
                  <a:gd name="T97" fmla="*/ 64 h 404"/>
                  <a:gd name="T98" fmla="*/ 461 w 717"/>
                  <a:gd name="T99" fmla="*/ 35 h 404"/>
                  <a:gd name="T100" fmla="*/ 475 w 717"/>
                  <a:gd name="T101" fmla="*/ 21 h 404"/>
                  <a:gd name="T102" fmla="*/ 504 w 717"/>
                  <a:gd name="T103" fmla="*/ 7 h 404"/>
                  <a:gd name="T104" fmla="*/ 539 w 717"/>
                  <a:gd name="T105" fmla="*/ 28 h 404"/>
                  <a:gd name="T106" fmla="*/ 539 w 717"/>
                  <a:gd name="T107" fmla="*/ 42 h 404"/>
                  <a:gd name="T108" fmla="*/ 539 w 717"/>
                  <a:gd name="T109" fmla="*/ 71 h 404"/>
                  <a:gd name="T110" fmla="*/ 575 w 717"/>
                  <a:gd name="T111" fmla="*/ 49 h 404"/>
                  <a:gd name="T112" fmla="*/ 596 w 717"/>
                  <a:gd name="T113" fmla="*/ 85 h 404"/>
                  <a:gd name="T114" fmla="*/ 575 w 717"/>
                  <a:gd name="T115" fmla="*/ 128 h 404"/>
                  <a:gd name="T116" fmla="*/ 575 w 717"/>
                  <a:gd name="T117" fmla="*/ 149 h 404"/>
                  <a:gd name="T118" fmla="*/ 596 w 717"/>
                  <a:gd name="T119" fmla="*/ 142 h 404"/>
                  <a:gd name="T120" fmla="*/ 653 w 717"/>
                  <a:gd name="T121" fmla="*/ 149 h 404"/>
                  <a:gd name="T122" fmla="*/ 703 w 717"/>
                  <a:gd name="T123" fmla="*/ 163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17" h="404">
                    <a:moveTo>
                      <a:pt x="710" y="191"/>
                    </a:moveTo>
                    <a:lnTo>
                      <a:pt x="710" y="191"/>
                    </a:lnTo>
                    <a:lnTo>
                      <a:pt x="717" y="191"/>
                    </a:lnTo>
                    <a:lnTo>
                      <a:pt x="717" y="199"/>
                    </a:lnTo>
                    <a:lnTo>
                      <a:pt x="710" y="199"/>
                    </a:lnTo>
                    <a:lnTo>
                      <a:pt x="710" y="206"/>
                    </a:lnTo>
                    <a:lnTo>
                      <a:pt x="710" y="206"/>
                    </a:lnTo>
                    <a:lnTo>
                      <a:pt x="717" y="206"/>
                    </a:lnTo>
                    <a:lnTo>
                      <a:pt x="710" y="206"/>
                    </a:lnTo>
                    <a:lnTo>
                      <a:pt x="710" y="213"/>
                    </a:lnTo>
                    <a:lnTo>
                      <a:pt x="710" y="213"/>
                    </a:lnTo>
                    <a:lnTo>
                      <a:pt x="710" y="213"/>
                    </a:lnTo>
                    <a:lnTo>
                      <a:pt x="710" y="206"/>
                    </a:lnTo>
                    <a:lnTo>
                      <a:pt x="703" y="206"/>
                    </a:lnTo>
                    <a:lnTo>
                      <a:pt x="703" y="206"/>
                    </a:lnTo>
                    <a:lnTo>
                      <a:pt x="703" y="206"/>
                    </a:lnTo>
                    <a:lnTo>
                      <a:pt x="703" y="206"/>
                    </a:lnTo>
                    <a:lnTo>
                      <a:pt x="695" y="213"/>
                    </a:lnTo>
                    <a:lnTo>
                      <a:pt x="695" y="213"/>
                    </a:lnTo>
                    <a:lnTo>
                      <a:pt x="695" y="213"/>
                    </a:lnTo>
                    <a:lnTo>
                      <a:pt x="688" y="220"/>
                    </a:lnTo>
                    <a:lnTo>
                      <a:pt x="688" y="220"/>
                    </a:lnTo>
                    <a:lnTo>
                      <a:pt x="688" y="220"/>
                    </a:lnTo>
                    <a:lnTo>
                      <a:pt x="688" y="220"/>
                    </a:lnTo>
                    <a:lnTo>
                      <a:pt x="688" y="227"/>
                    </a:lnTo>
                    <a:lnTo>
                      <a:pt x="688" y="227"/>
                    </a:lnTo>
                    <a:lnTo>
                      <a:pt x="681" y="227"/>
                    </a:lnTo>
                    <a:lnTo>
                      <a:pt x="681" y="227"/>
                    </a:lnTo>
                    <a:lnTo>
                      <a:pt x="681" y="227"/>
                    </a:lnTo>
                    <a:lnTo>
                      <a:pt x="681" y="234"/>
                    </a:lnTo>
                    <a:lnTo>
                      <a:pt x="681" y="234"/>
                    </a:lnTo>
                    <a:lnTo>
                      <a:pt x="681" y="234"/>
                    </a:lnTo>
                    <a:lnTo>
                      <a:pt x="674" y="234"/>
                    </a:lnTo>
                    <a:lnTo>
                      <a:pt x="674" y="234"/>
                    </a:lnTo>
                    <a:lnTo>
                      <a:pt x="674" y="241"/>
                    </a:lnTo>
                    <a:lnTo>
                      <a:pt x="667" y="241"/>
                    </a:lnTo>
                    <a:lnTo>
                      <a:pt x="667" y="248"/>
                    </a:lnTo>
                    <a:lnTo>
                      <a:pt x="667" y="248"/>
                    </a:lnTo>
                    <a:lnTo>
                      <a:pt x="660" y="255"/>
                    </a:lnTo>
                    <a:lnTo>
                      <a:pt x="660" y="255"/>
                    </a:lnTo>
                    <a:lnTo>
                      <a:pt x="660" y="255"/>
                    </a:lnTo>
                    <a:lnTo>
                      <a:pt x="667" y="262"/>
                    </a:lnTo>
                    <a:lnTo>
                      <a:pt x="667" y="262"/>
                    </a:lnTo>
                    <a:lnTo>
                      <a:pt x="667" y="262"/>
                    </a:lnTo>
                    <a:lnTo>
                      <a:pt x="667" y="262"/>
                    </a:lnTo>
                    <a:lnTo>
                      <a:pt x="667" y="270"/>
                    </a:lnTo>
                    <a:lnTo>
                      <a:pt x="667" y="270"/>
                    </a:lnTo>
                    <a:lnTo>
                      <a:pt x="667" y="270"/>
                    </a:lnTo>
                    <a:lnTo>
                      <a:pt x="667" y="277"/>
                    </a:lnTo>
                    <a:lnTo>
                      <a:pt x="667" y="277"/>
                    </a:lnTo>
                    <a:lnTo>
                      <a:pt x="674" y="284"/>
                    </a:lnTo>
                    <a:lnTo>
                      <a:pt x="695" y="305"/>
                    </a:lnTo>
                    <a:lnTo>
                      <a:pt x="703" y="312"/>
                    </a:lnTo>
                    <a:lnTo>
                      <a:pt x="703" y="312"/>
                    </a:lnTo>
                    <a:lnTo>
                      <a:pt x="703" y="312"/>
                    </a:lnTo>
                    <a:lnTo>
                      <a:pt x="703" y="319"/>
                    </a:lnTo>
                    <a:lnTo>
                      <a:pt x="703" y="319"/>
                    </a:lnTo>
                    <a:lnTo>
                      <a:pt x="710" y="319"/>
                    </a:lnTo>
                    <a:lnTo>
                      <a:pt x="710" y="319"/>
                    </a:lnTo>
                    <a:lnTo>
                      <a:pt x="710" y="319"/>
                    </a:lnTo>
                    <a:lnTo>
                      <a:pt x="710" y="319"/>
                    </a:lnTo>
                    <a:lnTo>
                      <a:pt x="710" y="326"/>
                    </a:lnTo>
                    <a:lnTo>
                      <a:pt x="710" y="326"/>
                    </a:lnTo>
                    <a:lnTo>
                      <a:pt x="710" y="326"/>
                    </a:lnTo>
                    <a:lnTo>
                      <a:pt x="703" y="326"/>
                    </a:lnTo>
                    <a:lnTo>
                      <a:pt x="703" y="326"/>
                    </a:lnTo>
                    <a:lnTo>
                      <a:pt x="703" y="326"/>
                    </a:lnTo>
                    <a:lnTo>
                      <a:pt x="703" y="326"/>
                    </a:lnTo>
                    <a:lnTo>
                      <a:pt x="703" y="326"/>
                    </a:lnTo>
                    <a:lnTo>
                      <a:pt x="695" y="326"/>
                    </a:lnTo>
                    <a:lnTo>
                      <a:pt x="695" y="326"/>
                    </a:lnTo>
                    <a:lnTo>
                      <a:pt x="695" y="326"/>
                    </a:lnTo>
                    <a:lnTo>
                      <a:pt x="695" y="326"/>
                    </a:lnTo>
                    <a:lnTo>
                      <a:pt x="695" y="319"/>
                    </a:lnTo>
                    <a:lnTo>
                      <a:pt x="674" y="319"/>
                    </a:lnTo>
                    <a:lnTo>
                      <a:pt x="674" y="312"/>
                    </a:lnTo>
                    <a:lnTo>
                      <a:pt x="667" y="312"/>
                    </a:lnTo>
                    <a:lnTo>
                      <a:pt x="674" y="312"/>
                    </a:lnTo>
                    <a:lnTo>
                      <a:pt x="674" y="305"/>
                    </a:lnTo>
                    <a:lnTo>
                      <a:pt x="674" y="305"/>
                    </a:lnTo>
                    <a:lnTo>
                      <a:pt x="667" y="305"/>
                    </a:lnTo>
                    <a:lnTo>
                      <a:pt x="667" y="298"/>
                    </a:lnTo>
                    <a:lnTo>
                      <a:pt x="660" y="298"/>
                    </a:lnTo>
                    <a:lnTo>
                      <a:pt x="660" y="291"/>
                    </a:lnTo>
                    <a:lnTo>
                      <a:pt x="660" y="291"/>
                    </a:lnTo>
                    <a:lnTo>
                      <a:pt x="653" y="291"/>
                    </a:lnTo>
                    <a:lnTo>
                      <a:pt x="653" y="291"/>
                    </a:lnTo>
                    <a:lnTo>
                      <a:pt x="646" y="291"/>
                    </a:lnTo>
                    <a:lnTo>
                      <a:pt x="646" y="291"/>
                    </a:lnTo>
                    <a:lnTo>
                      <a:pt x="646" y="291"/>
                    </a:lnTo>
                    <a:lnTo>
                      <a:pt x="646" y="291"/>
                    </a:lnTo>
                    <a:lnTo>
                      <a:pt x="639" y="291"/>
                    </a:lnTo>
                    <a:lnTo>
                      <a:pt x="639" y="291"/>
                    </a:lnTo>
                    <a:lnTo>
                      <a:pt x="639" y="291"/>
                    </a:lnTo>
                    <a:lnTo>
                      <a:pt x="639" y="291"/>
                    </a:lnTo>
                    <a:lnTo>
                      <a:pt x="632" y="291"/>
                    </a:lnTo>
                    <a:lnTo>
                      <a:pt x="632" y="291"/>
                    </a:lnTo>
                    <a:lnTo>
                      <a:pt x="632" y="298"/>
                    </a:lnTo>
                    <a:lnTo>
                      <a:pt x="632" y="298"/>
                    </a:lnTo>
                    <a:lnTo>
                      <a:pt x="632" y="298"/>
                    </a:lnTo>
                    <a:lnTo>
                      <a:pt x="624" y="305"/>
                    </a:lnTo>
                    <a:lnTo>
                      <a:pt x="624" y="305"/>
                    </a:lnTo>
                    <a:lnTo>
                      <a:pt x="624" y="298"/>
                    </a:lnTo>
                    <a:lnTo>
                      <a:pt x="617" y="305"/>
                    </a:lnTo>
                    <a:lnTo>
                      <a:pt x="582" y="312"/>
                    </a:lnTo>
                    <a:lnTo>
                      <a:pt x="575" y="312"/>
                    </a:lnTo>
                    <a:lnTo>
                      <a:pt x="568" y="319"/>
                    </a:lnTo>
                    <a:lnTo>
                      <a:pt x="561" y="326"/>
                    </a:lnTo>
                    <a:lnTo>
                      <a:pt x="561" y="333"/>
                    </a:lnTo>
                    <a:lnTo>
                      <a:pt x="561" y="341"/>
                    </a:lnTo>
                    <a:lnTo>
                      <a:pt x="553" y="348"/>
                    </a:lnTo>
                    <a:lnTo>
                      <a:pt x="553" y="348"/>
                    </a:lnTo>
                    <a:lnTo>
                      <a:pt x="546" y="348"/>
                    </a:lnTo>
                    <a:lnTo>
                      <a:pt x="546" y="348"/>
                    </a:lnTo>
                    <a:lnTo>
                      <a:pt x="539" y="355"/>
                    </a:lnTo>
                    <a:lnTo>
                      <a:pt x="539" y="362"/>
                    </a:lnTo>
                    <a:lnTo>
                      <a:pt x="532" y="362"/>
                    </a:lnTo>
                    <a:lnTo>
                      <a:pt x="532" y="369"/>
                    </a:lnTo>
                    <a:lnTo>
                      <a:pt x="525" y="369"/>
                    </a:lnTo>
                    <a:lnTo>
                      <a:pt x="525" y="369"/>
                    </a:lnTo>
                    <a:lnTo>
                      <a:pt x="525" y="369"/>
                    </a:lnTo>
                    <a:lnTo>
                      <a:pt x="525" y="376"/>
                    </a:lnTo>
                    <a:lnTo>
                      <a:pt x="525" y="376"/>
                    </a:lnTo>
                    <a:lnTo>
                      <a:pt x="525" y="376"/>
                    </a:lnTo>
                    <a:lnTo>
                      <a:pt x="518" y="376"/>
                    </a:lnTo>
                    <a:lnTo>
                      <a:pt x="518" y="376"/>
                    </a:lnTo>
                    <a:lnTo>
                      <a:pt x="511" y="376"/>
                    </a:lnTo>
                    <a:lnTo>
                      <a:pt x="511" y="383"/>
                    </a:lnTo>
                    <a:lnTo>
                      <a:pt x="504" y="390"/>
                    </a:lnTo>
                    <a:lnTo>
                      <a:pt x="504" y="397"/>
                    </a:lnTo>
                    <a:lnTo>
                      <a:pt x="504" y="397"/>
                    </a:lnTo>
                    <a:lnTo>
                      <a:pt x="490" y="397"/>
                    </a:lnTo>
                    <a:lnTo>
                      <a:pt x="490" y="404"/>
                    </a:lnTo>
                    <a:lnTo>
                      <a:pt x="490" y="404"/>
                    </a:lnTo>
                    <a:lnTo>
                      <a:pt x="482" y="404"/>
                    </a:lnTo>
                    <a:lnTo>
                      <a:pt x="482" y="397"/>
                    </a:lnTo>
                    <a:lnTo>
                      <a:pt x="482" y="390"/>
                    </a:lnTo>
                    <a:lnTo>
                      <a:pt x="482" y="390"/>
                    </a:lnTo>
                    <a:lnTo>
                      <a:pt x="482" y="390"/>
                    </a:lnTo>
                    <a:lnTo>
                      <a:pt x="482" y="390"/>
                    </a:lnTo>
                    <a:lnTo>
                      <a:pt x="482" y="383"/>
                    </a:lnTo>
                    <a:lnTo>
                      <a:pt x="482" y="383"/>
                    </a:lnTo>
                    <a:lnTo>
                      <a:pt x="475" y="383"/>
                    </a:lnTo>
                    <a:lnTo>
                      <a:pt x="475" y="383"/>
                    </a:lnTo>
                    <a:lnTo>
                      <a:pt x="475" y="376"/>
                    </a:lnTo>
                    <a:lnTo>
                      <a:pt x="475" y="376"/>
                    </a:lnTo>
                    <a:lnTo>
                      <a:pt x="475" y="376"/>
                    </a:lnTo>
                    <a:lnTo>
                      <a:pt x="475" y="376"/>
                    </a:lnTo>
                    <a:lnTo>
                      <a:pt x="475" y="369"/>
                    </a:lnTo>
                    <a:lnTo>
                      <a:pt x="475" y="369"/>
                    </a:lnTo>
                    <a:lnTo>
                      <a:pt x="475" y="369"/>
                    </a:lnTo>
                    <a:lnTo>
                      <a:pt x="475" y="369"/>
                    </a:lnTo>
                    <a:lnTo>
                      <a:pt x="475" y="369"/>
                    </a:lnTo>
                    <a:lnTo>
                      <a:pt x="475" y="369"/>
                    </a:lnTo>
                    <a:lnTo>
                      <a:pt x="475" y="362"/>
                    </a:lnTo>
                    <a:lnTo>
                      <a:pt x="475" y="362"/>
                    </a:lnTo>
                    <a:lnTo>
                      <a:pt x="475" y="355"/>
                    </a:lnTo>
                    <a:lnTo>
                      <a:pt x="468" y="355"/>
                    </a:lnTo>
                    <a:lnTo>
                      <a:pt x="468" y="355"/>
                    </a:lnTo>
                    <a:lnTo>
                      <a:pt x="468" y="355"/>
                    </a:lnTo>
                    <a:lnTo>
                      <a:pt x="468" y="355"/>
                    </a:lnTo>
                    <a:lnTo>
                      <a:pt x="468" y="348"/>
                    </a:lnTo>
                    <a:lnTo>
                      <a:pt x="468" y="348"/>
                    </a:lnTo>
                    <a:lnTo>
                      <a:pt x="468" y="348"/>
                    </a:lnTo>
                    <a:lnTo>
                      <a:pt x="468" y="348"/>
                    </a:lnTo>
                    <a:lnTo>
                      <a:pt x="468" y="348"/>
                    </a:lnTo>
                    <a:lnTo>
                      <a:pt x="475" y="348"/>
                    </a:lnTo>
                    <a:lnTo>
                      <a:pt x="475" y="348"/>
                    </a:lnTo>
                    <a:lnTo>
                      <a:pt x="475" y="348"/>
                    </a:lnTo>
                    <a:lnTo>
                      <a:pt x="482" y="341"/>
                    </a:lnTo>
                    <a:lnTo>
                      <a:pt x="490" y="333"/>
                    </a:lnTo>
                    <a:lnTo>
                      <a:pt x="490" y="333"/>
                    </a:lnTo>
                    <a:lnTo>
                      <a:pt x="490" y="333"/>
                    </a:lnTo>
                    <a:lnTo>
                      <a:pt x="490" y="333"/>
                    </a:lnTo>
                    <a:lnTo>
                      <a:pt x="497" y="333"/>
                    </a:lnTo>
                    <a:lnTo>
                      <a:pt x="497" y="326"/>
                    </a:lnTo>
                    <a:lnTo>
                      <a:pt x="497" y="326"/>
                    </a:lnTo>
                    <a:lnTo>
                      <a:pt x="497" y="326"/>
                    </a:lnTo>
                    <a:lnTo>
                      <a:pt x="497" y="319"/>
                    </a:lnTo>
                    <a:lnTo>
                      <a:pt x="504" y="319"/>
                    </a:lnTo>
                    <a:lnTo>
                      <a:pt x="504" y="319"/>
                    </a:lnTo>
                    <a:lnTo>
                      <a:pt x="504" y="319"/>
                    </a:lnTo>
                    <a:lnTo>
                      <a:pt x="504" y="312"/>
                    </a:lnTo>
                    <a:lnTo>
                      <a:pt x="504" y="312"/>
                    </a:lnTo>
                    <a:lnTo>
                      <a:pt x="504" y="312"/>
                    </a:lnTo>
                    <a:lnTo>
                      <a:pt x="504" y="312"/>
                    </a:lnTo>
                    <a:lnTo>
                      <a:pt x="511" y="312"/>
                    </a:lnTo>
                    <a:lnTo>
                      <a:pt x="511" y="312"/>
                    </a:lnTo>
                    <a:lnTo>
                      <a:pt x="511" y="312"/>
                    </a:lnTo>
                    <a:lnTo>
                      <a:pt x="518" y="319"/>
                    </a:lnTo>
                    <a:lnTo>
                      <a:pt x="518" y="319"/>
                    </a:lnTo>
                    <a:lnTo>
                      <a:pt x="539" y="305"/>
                    </a:lnTo>
                    <a:lnTo>
                      <a:pt x="539" y="305"/>
                    </a:lnTo>
                    <a:lnTo>
                      <a:pt x="546" y="305"/>
                    </a:lnTo>
                    <a:lnTo>
                      <a:pt x="546" y="305"/>
                    </a:lnTo>
                    <a:lnTo>
                      <a:pt x="546" y="305"/>
                    </a:lnTo>
                    <a:lnTo>
                      <a:pt x="546" y="305"/>
                    </a:lnTo>
                    <a:lnTo>
                      <a:pt x="546" y="305"/>
                    </a:lnTo>
                    <a:lnTo>
                      <a:pt x="553" y="312"/>
                    </a:lnTo>
                    <a:lnTo>
                      <a:pt x="553" y="312"/>
                    </a:lnTo>
                    <a:lnTo>
                      <a:pt x="553" y="305"/>
                    </a:lnTo>
                    <a:lnTo>
                      <a:pt x="553" y="305"/>
                    </a:lnTo>
                    <a:lnTo>
                      <a:pt x="553" y="305"/>
                    </a:lnTo>
                    <a:lnTo>
                      <a:pt x="553" y="305"/>
                    </a:lnTo>
                    <a:lnTo>
                      <a:pt x="553" y="305"/>
                    </a:lnTo>
                    <a:lnTo>
                      <a:pt x="553" y="305"/>
                    </a:lnTo>
                    <a:lnTo>
                      <a:pt x="561" y="305"/>
                    </a:lnTo>
                    <a:lnTo>
                      <a:pt x="561" y="305"/>
                    </a:lnTo>
                    <a:lnTo>
                      <a:pt x="561" y="305"/>
                    </a:lnTo>
                    <a:lnTo>
                      <a:pt x="561" y="305"/>
                    </a:lnTo>
                    <a:lnTo>
                      <a:pt x="561" y="298"/>
                    </a:lnTo>
                    <a:lnTo>
                      <a:pt x="561" y="298"/>
                    </a:lnTo>
                    <a:lnTo>
                      <a:pt x="561" y="298"/>
                    </a:lnTo>
                    <a:lnTo>
                      <a:pt x="561" y="298"/>
                    </a:lnTo>
                    <a:lnTo>
                      <a:pt x="561" y="298"/>
                    </a:lnTo>
                    <a:lnTo>
                      <a:pt x="561" y="298"/>
                    </a:lnTo>
                    <a:lnTo>
                      <a:pt x="561" y="298"/>
                    </a:lnTo>
                    <a:lnTo>
                      <a:pt x="561" y="298"/>
                    </a:lnTo>
                    <a:lnTo>
                      <a:pt x="561" y="291"/>
                    </a:lnTo>
                    <a:lnTo>
                      <a:pt x="561" y="291"/>
                    </a:lnTo>
                    <a:lnTo>
                      <a:pt x="561" y="291"/>
                    </a:lnTo>
                    <a:lnTo>
                      <a:pt x="561" y="284"/>
                    </a:lnTo>
                    <a:lnTo>
                      <a:pt x="561" y="284"/>
                    </a:lnTo>
                    <a:lnTo>
                      <a:pt x="553" y="284"/>
                    </a:lnTo>
                    <a:lnTo>
                      <a:pt x="553" y="284"/>
                    </a:lnTo>
                    <a:lnTo>
                      <a:pt x="553" y="284"/>
                    </a:lnTo>
                    <a:lnTo>
                      <a:pt x="553" y="284"/>
                    </a:lnTo>
                    <a:lnTo>
                      <a:pt x="553" y="284"/>
                    </a:lnTo>
                    <a:lnTo>
                      <a:pt x="553" y="284"/>
                    </a:lnTo>
                    <a:lnTo>
                      <a:pt x="553" y="284"/>
                    </a:lnTo>
                    <a:lnTo>
                      <a:pt x="553" y="284"/>
                    </a:lnTo>
                    <a:lnTo>
                      <a:pt x="546" y="291"/>
                    </a:lnTo>
                    <a:lnTo>
                      <a:pt x="546" y="291"/>
                    </a:lnTo>
                    <a:lnTo>
                      <a:pt x="546" y="291"/>
                    </a:lnTo>
                    <a:lnTo>
                      <a:pt x="546" y="291"/>
                    </a:lnTo>
                    <a:lnTo>
                      <a:pt x="546" y="291"/>
                    </a:lnTo>
                    <a:lnTo>
                      <a:pt x="546" y="284"/>
                    </a:lnTo>
                    <a:lnTo>
                      <a:pt x="546" y="284"/>
                    </a:lnTo>
                    <a:lnTo>
                      <a:pt x="546" y="284"/>
                    </a:lnTo>
                    <a:lnTo>
                      <a:pt x="546" y="284"/>
                    </a:lnTo>
                    <a:lnTo>
                      <a:pt x="546" y="284"/>
                    </a:lnTo>
                    <a:lnTo>
                      <a:pt x="546" y="277"/>
                    </a:lnTo>
                    <a:lnTo>
                      <a:pt x="546" y="277"/>
                    </a:lnTo>
                    <a:lnTo>
                      <a:pt x="539" y="270"/>
                    </a:lnTo>
                    <a:lnTo>
                      <a:pt x="539" y="270"/>
                    </a:lnTo>
                    <a:lnTo>
                      <a:pt x="539" y="270"/>
                    </a:lnTo>
                    <a:lnTo>
                      <a:pt x="539" y="262"/>
                    </a:lnTo>
                    <a:lnTo>
                      <a:pt x="532" y="262"/>
                    </a:lnTo>
                    <a:lnTo>
                      <a:pt x="532" y="262"/>
                    </a:lnTo>
                    <a:lnTo>
                      <a:pt x="532" y="262"/>
                    </a:lnTo>
                    <a:lnTo>
                      <a:pt x="532" y="262"/>
                    </a:lnTo>
                    <a:lnTo>
                      <a:pt x="532" y="262"/>
                    </a:lnTo>
                    <a:lnTo>
                      <a:pt x="532" y="262"/>
                    </a:lnTo>
                    <a:lnTo>
                      <a:pt x="532" y="255"/>
                    </a:lnTo>
                    <a:lnTo>
                      <a:pt x="525" y="248"/>
                    </a:lnTo>
                    <a:lnTo>
                      <a:pt x="525" y="248"/>
                    </a:lnTo>
                    <a:lnTo>
                      <a:pt x="525" y="248"/>
                    </a:lnTo>
                    <a:lnTo>
                      <a:pt x="525" y="241"/>
                    </a:lnTo>
                    <a:lnTo>
                      <a:pt x="525" y="241"/>
                    </a:lnTo>
                    <a:lnTo>
                      <a:pt x="539" y="227"/>
                    </a:lnTo>
                    <a:lnTo>
                      <a:pt x="539" y="220"/>
                    </a:lnTo>
                    <a:lnTo>
                      <a:pt x="539" y="213"/>
                    </a:lnTo>
                    <a:lnTo>
                      <a:pt x="539" y="213"/>
                    </a:lnTo>
                    <a:lnTo>
                      <a:pt x="539" y="206"/>
                    </a:lnTo>
                    <a:lnTo>
                      <a:pt x="539" y="206"/>
                    </a:lnTo>
                    <a:lnTo>
                      <a:pt x="539" y="206"/>
                    </a:lnTo>
                    <a:lnTo>
                      <a:pt x="511" y="206"/>
                    </a:lnTo>
                    <a:lnTo>
                      <a:pt x="504" y="213"/>
                    </a:lnTo>
                    <a:lnTo>
                      <a:pt x="497" y="220"/>
                    </a:lnTo>
                    <a:lnTo>
                      <a:pt x="497" y="220"/>
                    </a:lnTo>
                    <a:lnTo>
                      <a:pt x="490" y="220"/>
                    </a:lnTo>
                    <a:lnTo>
                      <a:pt x="482" y="227"/>
                    </a:lnTo>
                    <a:lnTo>
                      <a:pt x="475" y="227"/>
                    </a:lnTo>
                    <a:lnTo>
                      <a:pt x="475" y="227"/>
                    </a:lnTo>
                    <a:lnTo>
                      <a:pt x="468" y="227"/>
                    </a:lnTo>
                    <a:lnTo>
                      <a:pt x="468" y="227"/>
                    </a:lnTo>
                    <a:lnTo>
                      <a:pt x="468" y="227"/>
                    </a:lnTo>
                    <a:lnTo>
                      <a:pt x="461" y="227"/>
                    </a:lnTo>
                    <a:lnTo>
                      <a:pt x="461" y="227"/>
                    </a:lnTo>
                    <a:lnTo>
                      <a:pt x="461" y="227"/>
                    </a:lnTo>
                    <a:lnTo>
                      <a:pt x="454" y="227"/>
                    </a:lnTo>
                    <a:lnTo>
                      <a:pt x="419" y="248"/>
                    </a:lnTo>
                    <a:lnTo>
                      <a:pt x="404" y="255"/>
                    </a:lnTo>
                    <a:lnTo>
                      <a:pt x="397" y="262"/>
                    </a:lnTo>
                    <a:lnTo>
                      <a:pt x="390" y="262"/>
                    </a:lnTo>
                    <a:lnTo>
                      <a:pt x="383" y="270"/>
                    </a:lnTo>
                    <a:lnTo>
                      <a:pt x="376" y="270"/>
                    </a:lnTo>
                    <a:lnTo>
                      <a:pt x="369" y="277"/>
                    </a:lnTo>
                    <a:lnTo>
                      <a:pt x="369" y="277"/>
                    </a:lnTo>
                    <a:lnTo>
                      <a:pt x="362" y="277"/>
                    </a:lnTo>
                    <a:lnTo>
                      <a:pt x="362" y="270"/>
                    </a:lnTo>
                    <a:lnTo>
                      <a:pt x="348" y="277"/>
                    </a:lnTo>
                    <a:lnTo>
                      <a:pt x="348" y="277"/>
                    </a:lnTo>
                    <a:lnTo>
                      <a:pt x="348" y="277"/>
                    </a:lnTo>
                    <a:lnTo>
                      <a:pt x="341" y="277"/>
                    </a:lnTo>
                    <a:lnTo>
                      <a:pt x="341" y="270"/>
                    </a:lnTo>
                    <a:lnTo>
                      <a:pt x="341" y="270"/>
                    </a:lnTo>
                    <a:lnTo>
                      <a:pt x="341" y="270"/>
                    </a:lnTo>
                    <a:lnTo>
                      <a:pt x="333" y="270"/>
                    </a:lnTo>
                    <a:lnTo>
                      <a:pt x="333" y="270"/>
                    </a:lnTo>
                    <a:lnTo>
                      <a:pt x="333" y="270"/>
                    </a:lnTo>
                    <a:lnTo>
                      <a:pt x="333" y="270"/>
                    </a:lnTo>
                    <a:lnTo>
                      <a:pt x="333" y="277"/>
                    </a:lnTo>
                    <a:lnTo>
                      <a:pt x="333" y="277"/>
                    </a:lnTo>
                    <a:lnTo>
                      <a:pt x="333" y="277"/>
                    </a:lnTo>
                    <a:lnTo>
                      <a:pt x="333" y="277"/>
                    </a:lnTo>
                    <a:lnTo>
                      <a:pt x="341" y="284"/>
                    </a:lnTo>
                    <a:lnTo>
                      <a:pt x="341" y="284"/>
                    </a:lnTo>
                    <a:lnTo>
                      <a:pt x="341" y="284"/>
                    </a:lnTo>
                    <a:lnTo>
                      <a:pt x="341" y="284"/>
                    </a:lnTo>
                    <a:lnTo>
                      <a:pt x="319" y="305"/>
                    </a:lnTo>
                    <a:lnTo>
                      <a:pt x="312" y="312"/>
                    </a:lnTo>
                    <a:lnTo>
                      <a:pt x="312" y="319"/>
                    </a:lnTo>
                    <a:lnTo>
                      <a:pt x="298" y="333"/>
                    </a:lnTo>
                    <a:lnTo>
                      <a:pt x="291" y="341"/>
                    </a:lnTo>
                    <a:lnTo>
                      <a:pt x="291" y="341"/>
                    </a:lnTo>
                    <a:lnTo>
                      <a:pt x="291" y="348"/>
                    </a:lnTo>
                    <a:lnTo>
                      <a:pt x="298" y="348"/>
                    </a:lnTo>
                    <a:lnTo>
                      <a:pt x="298" y="348"/>
                    </a:lnTo>
                    <a:lnTo>
                      <a:pt x="298" y="355"/>
                    </a:lnTo>
                    <a:lnTo>
                      <a:pt x="291" y="355"/>
                    </a:lnTo>
                    <a:lnTo>
                      <a:pt x="284" y="355"/>
                    </a:lnTo>
                    <a:lnTo>
                      <a:pt x="284" y="362"/>
                    </a:lnTo>
                    <a:lnTo>
                      <a:pt x="284" y="362"/>
                    </a:lnTo>
                    <a:lnTo>
                      <a:pt x="277" y="362"/>
                    </a:lnTo>
                    <a:lnTo>
                      <a:pt x="270" y="369"/>
                    </a:lnTo>
                    <a:lnTo>
                      <a:pt x="270" y="369"/>
                    </a:lnTo>
                    <a:lnTo>
                      <a:pt x="262" y="369"/>
                    </a:lnTo>
                    <a:lnTo>
                      <a:pt x="262" y="369"/>
                    </a:lnTo>
                    <a:lnTo>
                      <a:pt x="255" y="376"/>
                    </a:lnTo>
                    <a:lnTo>
                      <a:pt x="248" y="376"/>
                    </a:lnTo>
                    <a:lnTo>
                      <a:pt x="248" y="376"/>
                    </a:lnTo>
                    <a:lnTo>
                      <a:pt x="248" y="369"/>
                    </a:lnTo>
                    <a:lnTo>
                      <a:pt x="241" y="369"/>
                    </a:lnTo>
                    <a:lnTo>
                      <a:pt x="241" y="369"/>
                    </a:lnTo>
                    <a:lnTo>
                      <a:pt x="199" y="376"/>
                    </a:lnTo>
                    <a:lnTo>
                      <a:pt x="191" y="376"/>
                    </a:lnTo>
                    <a:lnTo>
                      <a:pt x="184" y="376"/>
                    </a:lnTo>
                    <a:lnTo>
                      <a:pt x="184" y="376"/>
                    </a:lnTo>
                    <a:lnTo>
                      <a:pt x="184" y="376"/>
                    </a:lnTo>
                    <a:lnTo>
                      <a:pt x="184" y="369"/>
                    </a:lnTo>
                    <a:lnTo>
                      <a:pt x="184" y="369"/>
                    </a:lnTo>
                    <a:lnTo>
                      <a:pt x="184" y="369"/>
                    </a:lnTo>
                    <a:lnTo>
                      <a:pt x="177" y="369"/>
                    </a:lnTo>
                    <a:lnTo>
                      <a:pt x="170" y="362"/>
                    </a:lnTo>
                    <a:lnTo>
                      <a:pt x="156" y="362"/>
                    </a:lnTo>
                    <a:lnTo>
                      <a:pt x="149" y="362"/>
                    </a:lnTo>
                    <a:lnTo>
                      <a:pt x="149" y="362"/>
                    </a:lnTo>
                    <a:lnTo>
                      <a:pt x="149" y="369"/>
                    </a:lnTo>
                    <a:lnTo>
                      <a:pt x="142" y="369"/>
                    </a:lnTo>
                    <a:lnTo>
                      <a:pt x="142" y="369"/>
                    </a:lnTo>
                    <a:lnTo>
                      <a:pt x="142" y="376"/>
                    </a:lnTo>
                    <a:lnTo>
                      <a:pt x="135" y="376"/>
                    </a:lnTo>
                    <a:lnTo>
                      <a:pt x="128" y="376"/>
                    </a:lnTo>
                    <a:lnTo>
                      <a:pt x="113" y="383"/>
                    </a:lnTo>
                    <a:lnTo>
                      <a:pt x="106" y="383"/>
                    </a:lnTo>
                    <a:lnTo>
                      <a:pt x="106" y="383"/>
                    </a:lnTo>
                    <a:lnTo>
                      <a:pt x="99" y="383"/>
                    </a:lnTo>
                    <a:lnTo>
                      <a:pt x="99" y="390"/>
                    </a:lnTo>
                    <a:lnTo>
                      <a:pt x="92" y="390"/>
                    </a:lnTo>
                    <a:lnTo>
                      <a:pt x="78" y="390"/>
                    </a:lnTo>
                    <a:lnTo>
                      <a:pt x="78" y="390"/>
                    </a:lnTo>
                    <a:lnTo>
                      <a:pt x="78" y="383"/>
                    </a:lnTo>
                    <a:lnTo>
                      <a:pt x="71" y="376"/>
                    </a:lnTo>
                    <a:lnTo>
                      <a:pt x="71" y="376"/>
                    </a:lnTo>
                    <a:lnTo>
                      <a:pt x="71" y="376"/>
                    </a:lnTo>
                    <a:lnTo>
                      <a:pt x="64" y="369"/>
                    </a:lnTo>
                    <a:lnTo>
                      <a:pt x="57" y="362"/>
                    </a:lnTo>
                    <a:lnTo>
                      <a:pt x="57" y="362"/>
                    </a:lnTo>
                    <a:lnTo>
                      <a:pt x="57" y="355"/>
                    </a:lnTo>
                    <a:lnTo>
                      <a:pt x="57" y="355"/>
                    </a:lnTo>
                    <a:lnTo>
                      <a:pt x="64" y="355"/>
                    </a:lnTo>
                    <a:lnTo>
                      <a:pt x="64" y="355"/>
                    </a:lnTo>
                    <a:lnTo>
                      <a:pt x="64" y="348"/>
                    </a:lnTo>
                    <a:lnTo>
                      <a:pt x="64" y="348"/>
                    </a:lnTo>
                    <a:lnTo>
                      <a:pt x="64" y="348"/>
                    </a:lnTo>
                    <a:lnTo>
                      <a:pt x="64" y="348"/>
                    </a:lnTo>
                    <a:lnTo>
                      <a:pt x="64" y="341"/>
                    </a:lnTo>
                    <a:lnTo>
                      <a:pt x="64" y="341"/>
                    </a:lnTo>
                    <a:lnTo>
                      <a:pt x="71" y="341"/>
                    </a:lnTo>
                    <a:lnTo>
                      <a:pt x="71" y="333"/>
                    </a:lnTo>
                    <a:lnTo>
                      <a:pt x="71" y="333"/>
                    </a:lnTo>
                    <a:lnTo>
                      <a:pt x="57" y="312"/>
                    </a:lnTo>
                    <a:lnTo>
                      <a:pt x="49" y="312"/>
                    </a:lnTo>
                    <a:lnTo>
                      <a:pt x="49" y="312"/>
                    </a:lnTo>
                    <a:lnTo>
                      <a:pt x="49" y="312"/>
                    </a:lnTo>
                    <a:lnTo>
                      <a:pt x="42" y="312"/>
                    </a:lnTo>
                    <a:lnTo>
                      <a:pt x="42" y="312"/>
                    </a:lnTo>
                    <a:lnTo>
                      <a:pt x="35" y="312"/>
                    </a:lnTo>
                    <a:lnTo>
                      <a:pt x="28" y="319"/>
                    </a:lnTo>
                    <a:lnTo>
                      <a:pt x="21" y="319"/>
                    </a:lnTo>
                    <a:lnTo>
                      <a:pt x="21" y="319"/>
                    </a:lnTo>
                    <a:lnTo>
                      <a:pt x="21" y="319"/>
                    </a:lnTo>
                    <a:lnTo>
                      <a:pt x="21" y="312"/>
                    </a:lnTo>
                    <a:lnTo>
                      <a:pt x="14" y="312"/>
                    </a:lnTo>
                    <a:lnTo>
                      <a:pt x="14" y="312"/>
                    </a:lnTo>
                    <a:lnTo>
                      <a:pt x="7" y="312"/>
                    </a:lnTo>
                    <a:lnTo>
                      <a:pt x="7" y="312"/>
                    </a:lnTo>
                    <a:lnTo>
                      <a:pt x="7" y="305"/>
                    </a:lnTo>
                    <a:lnTo>
                      <a:pt x="0" y="305"/>
                    </a:lnTo>
                    <a:lnTo>
                      <a:pt x="0" y="305"/>
                    </a:lnTo>
                    <a:lnTo>
                      <a:pt x="0" y="291"/>
                    </a:lnTo>
                    <a:lnTo>
                      <a:pt x="0" y="284"/>
                    </a:lnTo>
                    <a:lnTo>
                      <a:pt x="0" y="277"/>
                    </a:lnTo>
                    <a:lnTo>
                      <a:pt x="0" y="270"/>
                    </a:lnTo>
                    <a:lnTo>
                      <a:pt x="21" y="270"/>
                    </a:lnTo>
                    <a:lnTo>
                      <a:pt x="28" y="270"/>
                    </a:lnTo>
                    <a:lnTo>
                      <a:pt x="28" y="277"/>
                    </a:lnTo>
                    <a:lnTo>
                      <a:pt x="28" y="277"/>
                    </a:lnTo>
                    <a:lnTo>
                      <a:pt x="35" y="277"/>
                    </a:lnTo>
                    <a:lnTo>
                      <a:pt x="42" y="277"/>
                    </a:lnTo>
                    <a:lnTo>
                      <a:pt x="42" y="277"/>
                    </a:lnTo>
                    <a:lnTo>
                      <a:pt x="49" y="270"/>
                    </a:lnTo>
                    <a:lnTo>
                      <a:pt x="57" y="262"/>
                    </a:lnTo>
                    <a:lnTo>
                      <a:pt x="64" y="262"/>
                    </a:lnTo>
                    <a:lnTo>
                      <a:pt x="64" y="262"/>
                    </a:lnTo>
                    <a:lnTo>
                      <a:pt x="71" y="262"/>
                    </a:lnTo>
                    <a:lnTo>
                      <a:pt x="78" y="262"/>
                    </a:lnTo>
                    <a:lnTo>
                      <a:pt x="78" y="262"/>
                    </a:lnTo>
                    <a:lnTo>
                      <a:pt x="78" y="262"/>
                    </a:lnTo>
                    <a:lnTo>
                      <a:pt x="78" y="255"/>
                    </a:lnTo>
                    <a:lnTo>
                      <a:pt x="78" y="255"/>
                    </a:lnTo>
                    <a:lnTo>
                      <a:pt x="78" y="255"/>
                    </a:lnTo>
                    <a:lnTo>
                      <a:pt x="78" y="255"/>
                    </a:lnTo>
                    <a:lnTo>
                      <a:pt x="78" y="255"/>
                    </a:lnTo>
                    <a:lnTo>
                      <a:pt x="78" y="255"/>
                    </a:lnTo>
                    <a:lnTo>
                      <a:pt x="85" y="262"/>
                    </a:lnTo>
                    <a:lnTo>
                      <a:pt x="85" y="262"/>
                    </a:lnTo>
                    <a:lnTo>
                      <a:pt x="85" y="262"/>
                    </a:lnTo>
                    <a:lnTo>
                      <a:pt x="85" y="262"/>
                    </a:lnTo>
                    <a:lnTo>
                      <a:pt x="85" y="255"/>
                    </a:lnTo>
                    <a:lnTo>
                      <a:pt x="92" y="255"/>
                    </a:lnTo>
                    <a:lnTo>
                      <a:pt x="92" y="262"/>
                    </a:lnTo>
                    <a:lnTo>
                      <a:pt x="92" y="262"/>
                    </a:lnTo>
                    <a:lnTo>
                      <a:pt x="92" y="262"/>
                    </a:lnTo>
                    <a:lnTo>
                      <a:pt x="92" y="255"/>
                    </a:lnTo>
                    <a:lnTo>
                      <a:pt x="92" y="255"/>
                    </a:lnTo>
                    <a:lnTo>
                      <a:pt x="99" y="255"/>
                    </a:lnTo>
                    <a:lnTo>
                      <a:pt x="99" y="255"/>
                    </a:lnTo>
                    <a:lnTo>
                      <a:pt x="99" y="255"/>
                    </a:lnTo>
                    <a:lnTo>
                      <a:pt x="99" y="255"/>
                    </a:lnTo>
                    <a:lnTo>
                      <a:pt x="99" y="255"/>
                    </a:lnTo>
                    <a:lnTo>
                      <a:pt x="106" y="255"/>
                    </a:lnTo>
                    <a:lnTo>
                      <a:pt x="113" y="248"/>
                    </a:lnTo>
                    <a:lnTo>
                      <a:pt x="113" y="248"/>
                    </a:lnTo>
                    <a:lnTo>
                      <a:pt x="120" y="248"/>
                    </a:lnTo>
                    <a:lnTo>
                      <a:pt x="120" y="248"/>
                    </a:lnTo>
                    <a:lnTo>
                      <a:pt x="120" y="241"/>
                    </a:lnTo>
                    <a:lnTo>
                      <a:pt x="128" y="241"/>
                    </a:lnTo>
                    <a:lnTo>
                      <a:pt x="128" y="241"/>
                    </a:lnTo>
                    <a:lnTo>
                      <a:pt x="135" y="234"/>
                    </a:lnTo>
                    <a:lnTo>
                      <a:pt x="128" y="234"/>
                    </a:lnTo>
                    <a:lnTo>
                      <a:pt x="128" y="234"/>
                    </a:lnTo>
                    <a:lnTo>
                      <a:pt x="128" y="234"/>
                    </a:lnTo>
                    <a:lnTo>
                      <a:pt x="128" y="234"/>
                    </a:lnTo>
                    <a:lnTo>
                      <a:pt x="135" y="227"/>
                    </a:lnTo>
                    <a:lnTo>
                      <a:pt x="135" y="227"/>
                    </a:lnTo>
                    <a:lnTo>
                      <a:pt x="128" y="220"/>
                    </a:lnTo>
                    <a:lnTo>
                      <a:pt x="128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13"/>
                    </a:lnTo>
                    <a:lnTo>
                      <a:pt x="128" y="213"/>
                    </a:lnTo>
                    <a:lnTo>
                      <a:pt x="128" y="206"/>
                    </a:lnTo>
                    <a:lnTo>
                      <a:pt x="135" y="206"/>
                    </a:lnTo>
                    <a:lnTo>
                      <a:pt x="135" y="199"/>
                    </a:lnTo>
                    <a:lnTo>
                      <a:pt x="142" y="206"/>
                    </a:lnTo>
                    <a:lnTo>
                      <a:pt x="142" y="206"/>
                    </a:lnTo>
                    <a:lnTo>
                      <a:pt x="142" y="206"/>
                    </a:lnTo>
                    <a:lnTo>
                      <a:pt x="142" y="206"/>
                    </a:lnTo>
                    <a:lnTo>
                      <a:pt x="142" y="206"/>
                    </a:lnTo>
                    <a:lnTo>
                      <a:pt x="142" y="206"/>
                    </a:lnTo>
                    <a:lnTo>
                      <a:pt x="149" y="199"/>
                    </a:lnTo>
                    <a:lnTo>
                      <a:pt x="149" y="199"/>
                    </a:lnTo>
                    <a:lnTo>
                      <a:pt x="149" y="199"/>
                    </a:lnTo>
                    <a:lnTo>
                      <a:pt x="149" y="191"/>
                    </a:lnTo>
                    <a:lnTo>
                      <a:pt x="156" y="191"/>
                    </a:lnTo>
                    <a:lnTo>
                      <a:pt x="156" y="191"/>
                    </a:lnTo>
                    <a:lnTo>
                      <a:pt x="163" y="191"/>
                    </a:lnTo>
                    <a:lnTo>
                      <a:pt x="163" y="184"/>
                    </a:lnTo>
                    <a:lnTo>
                      <a:pt x="170" y="177"/>
                    </a:lnTo>
                    <a:lnTo>
                      <a:pt x="177" y="170"/>
                    </a:lnTo>
                    <a:lnTo>
                      <a:pt x="177" y="170"/>
                    </a:lnTo>
                    <a:lnTo>
                      <a:pt x="177" y="163"/>
                    </a:lnTo>
                    <a:lnTo>
                      <a:pt x="177" y="156"/>
                    </a:lnTo>
                    <a:lnTo>
                      <a:pt x="177" y="156"/>
                    </a:lnTo>
                    <a:lnTo>
                      <a:pt x="184" y="142"/>
                    </a:lnTo>
                    <a:lnTo>
                      <a:pt x="184" y="142"/>
                    </a:lnTo>
                    <a:lnTo>
                      <a:pt x="184" y="142"/>
                    </a:lnTo>
                    <a:lnTo>
                      <a:pt x="184" y="135"/>
                    </a:lnTo>
                    <a:lnTo>
                      <a:pt x="184" y="135"/>
                    </a:lnTo>
                    <a:lnTo>
                      <a:pt x="184" y="135"/>
                    </a:lnTo>
                    <a:lnTo>
                      <a:pt x="191" y="135"/>
                    </a:lnTo>
                    <a:lnTo>
                      <a:pt x="191" y="135"/>
                    </a:lnTo>
                    <a:lnTo>
                      <a:pt x="191" y="135"/>
                    </a:lnTo>
                    <a:lnTo>
                      <a:pt x="191" y="135"/>
                    </a:lnTo>
                    <a:lnTo>
                      <a:pt x="191" y="135"/>
                    </a:lnTo>
                    <a:lnTo>
                      <a:pt x="191" y="135"/>
                    </a:lnTo>
                    <a:lnTo>
                      <a:pt x="199" y="135"/>
                    </a:lnTo>
                    <a:lnTo>
                      <a:pt x="199" y="135"/>
                    </a:lnTo>
                    <a:lnTo>
                      <a:pt x="199" y="135"/>
                    </a:lnTo>
                    <a:lnTo>
                      <a:pt x="213" y="128"/>
                    </a:lnTo>
                    <a:lnTo>
                      <a:pt x="227" y="128"/>
                    </a:lnTo>
                    <a:lnTo>
                      <a:pt x="234" y="128"/>
                    </a:lnTo>
                    <a:lnTo>
                      <a:pt x="234" y="128"/>
                    </a:lnTo>
                    <a:lnTo>
                      <a:pt x="234" y="128"/>
                    </a:lnTo>
                    <a:lnTo>
                      <a:pt x="234" y="128"/>
                    </a:lnTo>
                    <a:lnTo>
                      <a:pt x="241" y="120"/>
                    </a:lnTo>
                    <a:lnTo>
                      <a:pt x="241" y="120"/>
                    </a:lnTo>
                    <a:lnTo>
                      <a:pt x="241" y="128"/>
                    </a:lnTo>
                    <a:lnTo>
                      <a:pt x="248" y="120"/>
                    </a:lnTo>
                    <a:lnTo>
                      <a:pt x="255" y="113"/>
                    </a:lnTo>
                    <a:lnTo>
                      <a:pt x="255" y="113"/>
                    </a:lnTo>
                    <a:lnTo>
                      <a:pt x="262" y="113"/>
                    </a:lnTo>
                    <a:lnTo>
                      <a:pt x="262" y="113"/>
                    </a:lnTo>
                    <a:lnTo>
                      <a:pt x="262" y="106"/>
                    </a:lnTo>
                    <a:lnTo>
                      <a:pt x="262" y="106"/>
                    </a:lnTo>
                    <a:lnTo>
                      <a:pt x="262" y="106"/>
                    </a:lnTo>
                    <a:lnTo>
                      <a:pt x="262" y="106"/>
                    </a:lnTo>
                    <a:lnTo>
                      <a:pt x="270" y="106"/>
                    </a:lnTo>
                    <a:lnTo>
                      <a:pt x="262" y="106"/>
                    </a:lnTo>
                    <a:lnTo>
                      <a:pt x="262" y="106"/>
                    </a:lnTo>
                    <a:lnTo>
                      <a:pt x="262" y="106"/>
                    </a:lnTo>
                    <a:lnTo>
                      <a:pt x="270" y="106"/>
                    </a:lnTo>
                    <a:lnTo>
                      <a:pt x="270" y="99"/>
                    </a:lnTo>
                    <a:lnTo>
                      <a:pt x="270" y="99"/>
                    </a:lnTo>
                    <a:lnTo>
                      <a:pt x="277" y="99"/>
                    </a:lnTo>
                    <a:lnTo>
                      <a:pt x="277" y="99"/>
                    </a:lnTo>
                    <a:lnTo>
                      <a:pt x="277" y="99"/>
                    </a:lnTo>
                    <a:lnTo>
                      <a:pt x="277" y="99"/>
                    </a:lnTo>
                    <a:lnTo>
                      <a:pt x="277" y="92"/>
                    </a:lnTo>
                    <a:lnTo>
                      <a:pt x="277" y="92"/>
                    </a:lnTo>
                    <a:lnTo>
                      <a:pt x="277" y="85"/>
                    </a:lnTo>
                    <a:lnTo>
                      <a:pt x="277" y="85"/>
                    </a:lnTo>
                    <a:lnTo>
                      <a:pt x="277" y="85"/>
                    </a:lnTo>
                    <a:lnTo>
                      <a:pt x="277" y="85"/>
                    </a:lnTo>
                    <a:lnTo>
                      <a:pt x="284" y="85"/>
                    </a:lnTo>
                    <a:lnTo>
                      <a:pt x="284" y="85"/>
                    </a:lnTo>
                    <a:lnTo>
                      <a:pt x="284" y="85"/>
                    </a:lnTo>
                    <a:lnTo>
                      <a:pt x="291" y="78"/>
                    </a:lnTo>
                    <a:lnTo>
                      <a:pt x="298" y="57"/>
                    </a:lnTo>
                    <a:lnTo>
                      <a:pt x="305" y="57"/>
                    </a:lnTo>
                    <a:lnTo>
                      <a:pt x="312" y="57"/>
                    </a:lnTo>
                    <a:lnTo>
                      <a:pt x="312" y="57"/>
                    </a:lnTo>
                    <a:lnTo>
                      <a:pt x="312" y="57"/>
                    </a:lnTo>
                    <a:lnTo>
                      <a:pt x="312" y="49"/>
                    </a:lnTo>
                    <a:lnTo>
                      <a:pt x="312" y="49"/>
                    </a:lnTo>
                    <a:lnTo>
                      <a:pt x="319" y="49"/>
                    </a:lnTo>
                    <a:lnTo>
                      <a:pt x="319" y="42"/>
                    </a:lnTo>
                    <a:lnTo>
                      <a:pt x="326" y="42"/>
                    </a:lnTo>
                    <a:lnTo>
                      <a:pt x="326" y="42"/>
                    </a:lnTo>
                    <a:lnTo>
                      <a:pt x="333" y="42"/>
                    </a:lnTo>
                    <a:lnTo>
                      <a:pt x="333" y="42"/>
                    </a:lnTo>
                    <a:lnTo>
                      <a:pt x="341" y="28"/>
                    </a:lnTo>
                    <a:lnTo>
                      <a:pt x="341" y="28"/>
                    </a:lnTo>
                    <a:lnTo>
                      <a:pt x="341" y="28"/>
                    </a:lnTo>
                    <a:lnTo>
                      <a:pt x="348" y="28"/>
                    </a:lnTo>
                    <a:lnTo>
                      <a:pt x="355" y="35"/>
                    </a:lnTo>
                    <a:lnTo>
                      <a:pt x="362" y="42"/>
                    </a:lnTo>
                    <a:lnTo>
                      <a:pt x="362" y="42"/>
                    </a:lnTo>
                    <a:lnTo>
                      <a:pt x="362" y="49"/>
                    </a:lnTo>
                    <a:lnTo>
                      <a:pt x="362" y="49"/>
                    </a:lnTo>
                    <a:lnTo>
                      <a:pt x="369" y="49"/>
                    </a:lnTo>
                    <a:lnTo>
                      <a:pt x="369" y="49"/>
                    </a:lnTo>
                    <a:lnTo>
                      <a:pt x="376" y="49"/>
                    </a:lnTo>
                    <a:lnTo>
                      <a:pt x="376" y="49"/>
                    </a:lnTo>
                    <a:lnTo>
                      <a:pt x="390" y="49"/>
                    </a:lnTo>
                    <a:lnTo>
                      <a:pt x="390" y="57"/>
                    </a:lnTo>
                    <a:lnTo>
                      <a:pt x="390" y="49"/>
                    </a:lnTo>
                    <a:lnTo>
                      <a:pt x="390" y="49"/>
                    </a:lnTo>
                    <a:lnTo>
                      <a:pt x="390" y="49"/>
                    </a:lnTo>
                    <a:lnTo>
                      <a:pt x="390" y="49"/>
                    </a:lnTo>
                    <a:lnTo>
                      <a:pt x="390" y="49"/>
                    </a:lnTo>
                    <a:lnTo>
                      <a:pt x="397" y="49"/>
                    </a:lnTo>
                    <a:lnTo>
                      <a:pt x="404" y="57"/>
                    </a:lnTo>
                    <a:lnTo>
                      <a:pt x="412" y="57"/>
                    </a:lnTo>
                    <a:lnTo>
                      <a:pt x="419" y="57"/>
                    </a:lnTo>
                    <a:lnTo>
                      <a:pt x="419" y="57"/>
                    </a:lnTo>
                    <a:lnTo>
                      <a:pt x="419" y="57"/>
                    </a:lnTo>
                    <a:lnTo>
                      <a:pt x="419" y="57"/>
                    </a:lnTo>
                    <a:lnTo>
                      <a:pt x="419" y="57"/>
                    </a:lnTo>
                    <a:lnTo>
                      <a:pt x="419" y="64"/>
                    </a:lnTo>
                    <a:lnTo>
                      <a:pt x="426" y="64"/>
                    </a:lnTo>
                    <a:lnTo>
                      <a:pt x="433" y="64"/>
                    </a:lnTo>
                    <a:lnTo>
                      <a:pt x="433" y="64"/>
                    </a:lnTo>
                    <a:lnTo>
                      <a:pt x="440" y="64"/>
                    </a:lnTo>
                    <a:lnTo>
                      <a:pt x="440" y="64"/>
                    </a:lnTo>
                    <a:lnTo>
                      <a:pt x="447" y="64"/>
                    </a:lnTo>
                    <a:lnTo>
                      <a:pt x="447" y="64"/>
                    </a:lnTo>
                    <a:lnTo>
                      <a:pt x="447" y="64"/>
                    </a:lnTo>
                    <a:lnTo>
                      <a:pt x="454" y="57"/>
                    </a:lnTo>
                    <a:lnTo>
                      <a:pt x="454" y="57"/>
                    </a:lnTo>
                    <a:lnTo>
                      <a:pt x="454" y="49"/>
                    </a:lnTo>
                    <a:lnTo>
                      <a:pt x="454" y="49"/>
                    </a:lnTo>
                    <a:lnTo>
                      <a:pt x="454" y="49"/>
                    </a:lnTo>
                    <a:lnTo>
                      <a:pt x="454" y="49"/>
                    </a:lnTo>
                    <a:lnTo>
                      <a:pt x="454" y="42"/>
                    </a:lnTo>
                    <a:lnTo>
                      <a:pt x="454" y="42"/>
                    </a:lnTo>
                    <a:lnTo>
                      <a:pt x="454" y="35"/>
                    </a:lnTo>
                    <a:lnTo>
                      <a:pt x="461" y="35"/>
                    </a:lnTo>
                    <a:lnTo>
                      <a:pt x="461" y="35"/>
                    </a:lnTo>
                    <a:lnTo>
                      <a:pt x="461" y="35"/>
                    </a:lnTo>
                    <a:lnTo>
                      <a:pt x="461" y="35"/>
                    </a:lnTo>
                    <a:lnTo>
                      <a:pt x="461" y="35"/>
                    </a:lnTo>
                    <a:lnTo>
                      <a:pt x="461" y="28"/>
                    </a:lnTo>
                    <a:lnTo>
                      <a:pt x="461" y="28"/>
                    </a:lnTo>
                    <a:lnTo>
                      <a:pt x="461" y="28"/>
                    </a:lnTo>
                    <a:lnTo>
                      <a:pt x="468" y="28"/>
                    </a:lnTo>
                    <a:lnTo>
                      <a:pt x="468" y="28"/>
                    </a:lnTo>
                    <a:lnTo>
                      <a:pt x="468" y="21"/>
                    </a:lnTo>
                    <a:lnTo>
                      <a:pt x="475" y="21"/>
                    </a:lnTo>
                    <a:lnTo>
                      <a:pt x="475" y="21"/>
                    </a:lnTo>
                    <a:lnTo>
                      <a:pt x="475" y="21"/>
                    </a:lnTo>
                    <a:lnTo>
                      <a:pt x="475" y="21"/>
                    </a:lnTo>
                    <a:lnTo>
                      <a:pt x="475" y="21"/>
                    </a:lnTo>
                    <a:lnTo>
                      <a:pt x="475" y="21"/>
                    </a:lnTo>
                    <a:lnTo>
                      <a:pt x="482" y="14"/>
                    </a:lnTo>
                    <a:lnTo>
                      <a:pt x="482" y="14"/>
                    </a:lnTo>
                    <a:lnTo>
                      <a:pt x="482" y="14"/>
                    </a:lnTo>
                    <a:lnTo>
                      <a:pt x="490" y="7"/>
                    </a:lnTo>
                    <a:lnTo>
                      <a:pt x="497" y="7"/>
                    </a:lnTo>
                    <a:lnTo>
                      <a:pt x="497" y="7"/>
                    </a:lnTo>
                    <a:lnTo>
                      <a:pt x="497" y="7"/>
                    </a:lnTo>
                    <a:lnTo>
                      <a:pt x="504" y="7"/>
                    </a:lnTo>
                    <a:lnTo>
                      <a:pt x="511" y="0"/>
                    </a:lnTo>
                    <a:lnTo>
                      <a:pt x="511" y="0"/>
                    </a:lnTo>
                    <a:lnTo>
                      <a:pt x="518" y="0"/>
                    </a:lnTo>
                    <a:lnTo>
                      <a:pt x="518" y="0"/>
                    </a:lnTo>
                    <a:lnTo>
                      <a:pt x="518" y="0"/>
                    </a:lnTo>
                    <a:lnTo>
                      <a:pt x="525" y="7"/>
                    </a:lnTo>
                    <a:lnTo>
                      <a:pt x="525" y="7"/>
                    </a:lnTo>
                    <a:lnTo>
                      <a:pt x="525" y="7"/>
                    </a:lnTo>
                    <a:lnTo>
                      <a:pt x="532" y="14"/>
                    </a:lnTo>
                    <a:lnTo>
                      <a:pt x="532" y="21"/>
                    </a:lnTo>
                    <a:lnTo>
                      <a:pt x="532" y="21"/>
                    </a:lnTo>
                    <a:lnTo>
                      <a:pt x="539" y="28"/>
                    </a:lnTo>
                    <a:lnTo>
                      <a:pt x="539" y="28"/>
                    </a:lnTo>
                    <a:lnTo>
                      <a:pt x="546" y="28"/>
                    </a:lnTo>
                    <a:lnTo>
                      <a:pt x="553" y="21"/>
                    </a:lnTo>
                    <a:lnTo>
                      <a:pt x="553" y="21"/>
                    </a:lnTo>
                    <a:lnTo>
                      <a:pt x="553" y="21"/>
                    </a:lnTo>
                    <a:lnTo>
                      <a:pt x="553" y="21"/>
                    </a:lnTo>
                    <a:lnTo>
                      <a:pt x="561" y="21"/>
                    </a:lnTo>
                    <a:lnTo>
                      <a:pt x="561" y="28"/>
                    </a:lnTo>
                    <a:lnTo>
                      <a:pt x="553" y="28"/>
                    </a:lnTo>
                    <a:lnTo>
                      <a:pt x="553" y="35"/>
                    </a:lnTo>
                    <a:lnTo>
                      <a:pt x="553" y="35"/>
                    </a:lnTo>
                    <a:lnTo>
                      <a:pt x="539" y="42"/>
                    </a:lnTo>
                    <a:lnTo>
                      <a:pt x="539" y="42"/>
                    </a:lnTo>
                    <a:lnTo>
                      <a:pt x="539" y="42"/>
                    </a:lnTo>
                    <a:lnTo>
                      <a:pt x="539" y="49"/>
                    </a:lnTo>
                    <a:lnTo>
                      <a:pt x="539" y="49"/>
                    </a:lnTo>
                    <a:lnTo>
                      <a:pt x="532" y="49"/>
                    </a:lnTo>
                    <a:lnTo>
                      <a:pt x="532" y="49"/>
                    </a:lnTo>
                    <a:lnTo>
                      <a:pt x="532" y="57"/>
                    </a:lnTo>
                    <a:lnTo>
                      <a:pt x="532" y="57"/>
                    </a:lnTo>
                    <a:lnTo>
                      <a:pt x="539" y="64"/>
                    </a:lnTo>
                    <a:lnTo>
                      <a:pt x="539" y="64"/>
                    </a:lnTo>
                    <a:lnTo>
                      <a:pt x="539" y="71"/>
                    </a:lnTo>
                    <a:lnTo>
                      <a:pt x="539" y="71"/>
                    </a:lnTo>
                    <a:lnTo>
                      <a:pt x="539" y="78"/>
                    </a:lnTo>
                    <a:lnTo>
                      <a:pt x="546" y="71"/>
                    </a:lnTo>
                    <a:lnTo>
                      <a:pt x="553" y="64"/>
                    </a:lnTo>
                    <a:lnTo>
                      <a:pt x="553" y="64"/>
                    </a:lnTo>
                    <a:lnTo>
                      <a:pt x="553" y="64"/>
                    </a:lnTo>
                    <a:lnTo>
                      <a:pt x="553" y="64"/>
                    </a:lnTo>
                    <a:lnTo>
                      <a:pt x="561" y="57"/>
                    </a:lnTo>
                    <a:lnTo>
                      <a:pt x="575" y="49"/>
                    </a:lnTo>
                    <a:lnTo>
                      <a:pt x="575" y="49"/>
                    </a:lnTo>
                    <a:lnTo>
                      <a:pt x="575" y="49"/>
                    </a:lnTo>
                    <a:lnTo>
                      <a:pt x="575" y="49"/>
                    </a:lnTo>
                    <a:lnTo>
                      <a:pt x="575" y="49"/>
                    </a:lnTo>
                    <a:lnTo>
                      <a:pt x="575" y="49"/>
                    </a:lnTo>
                    <a:lnTo>
                      <a:pt x="575" y="57"/>
                    </a:lnTo>
                    <a:lnTo>
                      <a:pt x="575" y="57"/>
                    </a:lnTo>
                    <a:lnTo>
                      <a:pt x="575" y="64"/>
                    </a:lnTo>
                    <a:lnTo>
                      <a:pt x="575" y="64"/>
                    </a:lnTo>
                    <a:lnTo>
                      <a:pt x="575" y="64"/>
                    </a:lnTo>
                    <a:lnTo>
                      <a:pt x="582" y="64"/>
                    </a:lnTo>
                    <a:lnTo>
                      <a:pt x="582" y="64"/>
                    </a:lnTo>
                    <a:lnTo>
                      <a:pt x="582" y="71"/>
                    </a:lnTo>
                    <a:lnTo>
                      <a:pt x="589" y="78"/>
                    </a:lnTo>
                    <a:lnTo>
                      <a:pt x="589" y="78"/>
                    </a:lnTo>
                    <a:lnTo>
                      <a:pt x="596" y="85"/>
                    </a:lnTo>
                    <a:lnTo>
                      <a:pt x="596" y="92"/>
                    </a:lnTo>
                    <a:lnTo>
                      <a:pt x="596" y="99"/>
                    </a:lnTo>
                    <a:lnTo>
                      <a:pt x="582" y="106"/>
                    </a:lnTo>
                    <a:lnTo>
                      <a:pt x="582" y="106"/>
                    </a:lnTo>
                    <a:lnTo>
                      <a:pt x="582" y="106"/>
                    </a:lnTo>
                    <a:lnTo>
                      <a:pt x="582" y="113"/>
                    </a:lnTo>
                    <a:lnTo>
                      <a:pt x="582" y="113"/>
                    </a:lnTo>
                    <a:lnTo>
                      <a:pt x="582" y="120"/>
                    </a:lnTo>
                    <a:lnTo>
                      <a:pt x="582" y="120"/>
                    </a:lnTo>
                    <a:lnTo>
                      <a:pt x="575" y="120"/>
                    </a:lnTo>
                    <a:lnTo>
                      <a:pt x="575" y="120"/>
                    </a:lnTo>
                    <a:lnTo>
                      <a:pt x="575" y="128"/>
                    </a:lnTo>
                    <a:lnTo>
                      <a:pt x="568" y="128"/>
                    </a:lnTo>
                    <a:lnTo>
                      <a:pt x="575" y="135"/>
                    </a:lnTo>
                    <a:lnTo>
                      <a:pt x="575" y="135"/>
                    </a:lnTo>
                    <a:lnTo>
                      <a:pt x="575" y="135"/>
                    </a:lnTo>
                    <a:lnTo>
                      <a:pt x="575" y="142"/>
                    </a:lnTo>
                    <a:lnTo>
                      <a:pt x="568" y="142"/>
                    </a:lnTo>
                    <a:lnTo>
                      <a:pt x="568" y="149"/>
                    </a:lnTo>
                    <a:lnTo>
                      <a:pt x="568" y="142"/>
                    </a:lnTo>
                    <a:lnTo>
                      <a:pt x="568" y="149"/>
                    </a:lnTo>
                    <a:lnTo>
                      <a:pt x="568" y="149"/>
                    </a:lnTo>
                    <a:lnTo>
                      <a:pt x="575" y="149"/>
                    </a:lnTo>
                    <a:lnTo>
                      <a:pt x="575" y="149"/>
                    </a:lnTo>
                    <a:lnTo>
                      <a:pt x="575" y="149"/>
                    </a:lnTo>
                    <a:lnTo>
                      <a:pt x="582" y="149"/>
                    </a:lnTo>
                    <a:lnTo>
                      <a:pt x="582" y="149"/>
                    </a:lnTo>
                    <a:lnTo>
                      <a:pt x="582" y="149"/>
                    </a:lnTo>
                    <a:lnTo>
                      <a:pt x="582" y="149"/>
                    </a:lnTo>
                    <a:lnTo>
                      <a:pt x="582" y="149"/>
                    </a:lnTo>
                    <a:lnTo>
                      <a:pt x="589" y="149"/>
                    </a:lnTo>
                    <a:lnTo>
                      <a:pt x="589" y="142"/>
                    </a:lnTo>
                    <a:lnTo>
                      <a:pt x="589" y="142"/>
                    </a:lnTo>
                    <a:lnTo>
                      <a:pt x="589" y="142"/>
                    </a:lnTo>
                    <a:lnTo>
                      <a:pt x="596" y="142"/>
                    </a:lnTo>
                    <a:lnTo>
                      <a:pt x="596" y="142"/>
                    </a:lnTo>
                    <a:lnTo>
                      <a:pt x="603" y="135"/>
                    </a:lnTo>
                    <a:lnTo>
                      <a:pt x="603" y="135"/>
                    </a:lnTo>
                    <a:lnTo>
                      <a:pt x="603" y="135"/>
                    </a:lnTo>
                    <a:lnTo>
                      <a:pt x="610" y="135"/>
                    </a:lnTo>
                    <a:lnTo>
                      <a:pt x="610" y="135"/>
                    </a:lnTo>
                    <a:lnTo>
                      <a:pt x="624" y="142"/>
                    </a:lnTo>
                    <a:lnTo>
                      <a:pt x="632" y="142"/>
                    </a:lnTo>
                    <a:lnTo>
                      <a:pt x="632" y="149"/>
                    </a:lnTo>
                    <a:lnTo>
                      <a:pt x="646" y="149"/>
                    </a:lnTo>
                    <a:lnTo>
                      <a:pt x="646" y="149"/>
                    </a:lnTo>
                    <a:lnTo>
                      <a:pt x="653" y="149"/>
                    </a:lnTo>
                    <a:lnTo>
                      <a:pt x="653" y="149"/>
                    </a:lnTo>
                    <a:lnTo>
                      <a:pt x="660" y="149"/>
                    </a:lnTo>
                    <a:lnTo>
                      <a:pt x="667" y="149"/>
                    </a:lnTo>
                    <a:lnTo>
                      <a:pt x="667" y="142"/>
                    </a:lnTo>
                    <a:lnTo>
                      <a:pt x="674" y="142"/>
                    </a:lnTo>
                    <a:lnTo>
                      <a:pt x="681" y="149"/>
                    </a:lnTo>
                    <a:lnTo>
                      <a:pt x="681" y="149"/>
                    </a:lnTo>
                    <a:lnTo>
                      <a:pt x="688" y="149"/>
                    </a:lnTo>
                    <a:lnTo>
                      <a:pt x="688" y="149"/>
                    </a:lnTo>
                    <a:lnTo>
                      <a:pt x="688" y="156"/>
                    </a:lnTo>
                    <a:lnTo>
                      <a:pt x="688" y="156"/>
                    </a:lnTo>
                    <a:lnTo>
                      <a:pt x="695" y="163"/>
                    </a:lnTo>
                    <a:lnTo>
                      <a:pt x="703" y="163"/>
                    </a:lnTo>
                    <a:lnTo>
                      <a:pt x="703" y="170"/>
                    </a:lnTo>
                    <a:lnTo>
                      <a:pt x="703" y="177"/>
                    </a:lnTo>
                    <a:lnTo>
                      <a:pt x="703" y="177"/>
                    </a:lnTo>
                    <a:lnTo>
                      <a:pt x="703" y="184"/>
                    </a:lnTo>
                    <a:lnTo>
                      <a:pt x="710" y="191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79" name="Freeform 77"/>
              <p:cNvSpPr>
                <a:spLocks/>
              </p:cNvSpPr>
              <p:nvPr/>
            </p:nvSpPr>
            <p:spPr bwMode="auto">
              <a:xfrm>
                <a:off x="5203" y="1656"/>
                <a:ext cx="163" cy="369"/>
              </a:xfrm>
              <a:custGeom>
                <a:avLst/>
                <a:gdLst>
                  <a:gd name="T0" fmla="*/ 135 w 163"/>
                  <a:gd name="T1" fmla="*/ 64 h 369"/>
                  <a:gd name="T2" fmla="*/ 142 w 163"/>
                  <a:gd name="T3" fmla="*/ 78 h 369"/>
                  <a:gd name="T4" fmla="*/ 156 w 163"/>
                  <a:gd name="T5" fmla="*/ 107 h 369"/>
                  <a:gd name="T6" fmla="*/ 163 w 163"/>
                  <a:gd name="T7" fmla="*/ 156 h 369"/>
                  <a:gd name="T8" fmla="*/ 163 w 163"/>
                  <a:gd name="T9" fmla="*/ 178 h 369"/>
                  <a:gd name="T10" fmla="*/ 156 w 163"/>
                  <a:gd name="T11" fmla="*/ 206 h 369"/>
                  <a:gd name="T12" fmla="*/ 142 w 163"/>
                  <a:gd name="T13" fmla="*/ 206 h 369"/>
                  <a:gd name="T14" fmla="*/ 135 w 163"/>
                  <a:gd name="T15" fmla="*/ 220 h 369"/>
                  <a:gd name="T16" fmla="*/ 135 w 163"/>
                  <a:gd name="T17" fmla="*/ 241 h 369"/>
                  <a:gd name="T18" fmla="*/ 135 w 163"/>
                  <a:gd name="T19" fmla="*/ 270 h 369"/>
                  <a:gd name="T20" fmla="*/ 142 w 163"/>
                  <a:gd name="T21" fmla="*/ 291 h 369"/>
                  <a:gd name="T22" fmla="*/ 149 w 163"/>
                  <a:gd name="T23" fmla="*/ 319 h 369"/>
                  <a:gd name="T24" fmla="*/ 149 w 163"/>
                  <a:gd name="T25" fmla="*/ 327 h 369"/>
                  <a:gd name="T26" fmla="*/ 135 w 163"/>
                  <a:gd name="T27" fmla="*/ 327 h 369"/>
                  <a:gd name="T28" fmla="*/ 128 w 163"/>
                  <a:gd name="T29" fmla="*/ 341 h 369"/>
                  <a:gd name="T30" fmla="*/ 128 w 163"/>
                  <a:gd name="T31" fmla="*/ 355 h 369"/>
                  <a:gd name="T32" fmla="*/ 128 w 163"/>
                  <a:gd name="T33" fmla="*/ 362 h 369"/>
                  <a:gd name="T34" fmla="*/ 121 w 163"/>
                  <a:gd name="T35" fmla="*/ 355 h 369"/>
                  <a:gd name="T36" fmla="*/ 114 w 163"/>
                  <a:gd name="T37" fmla="*/ 362 h 369"/>
                  <a:gd name="T38" fmla="*/ 85 w 163"/>
                  <a:gd name="T39" fmla="*/ 341 h 369"/>
                  <a:gd name="T40" fmla="*/ 85 w 163"/>
                  <a:gd name="T41" fmla="*/ 348 h 369"/>
                  <a:gd name="T42" fmla="*/ 85 w 163"/>
                  <a:gd name="T43" fmla="*/ 362 h 369"/>
                  <a:gd name="T44" fmla="*/ 78 w 163"/>
                  <a:gd name="T45" fmla="*/ 362 h 369"/>
                  <a:gd name="T46" fmla="*/ 71 w 163"/>
                  <a:gd name="T47" fmla="*/ 341 h 369"/>
                  <a:gd name="T48" fmla="*/ 57 w 163"/>
                  <a:gd name="T49" fmla="*/ 284 h 369"/>
                  <a:gd name="T50" fmla="*/ 50 w 163"/>
                  <a:gd name="T51" fmla="*/ 256 h 369"/>
                  <a:gd name="T52" fmla="*/ 28 w 163"/>
                  <a:gd name="T53" fmla="*/ 227 h 369"/>
                  <a:gd name="T54" fmla="*/ 21 w 163"/>
                  <a:gd name="T55" fmla="*/ 178 h 369"/>
                  <a:gd name="T56" fmla="*/ 21 w 163"/>
                  <a:gd name="T57" fmla="*/ 163 h 369"/>
                  <a:gd name="T58" fmla="*/ 21 w 163"/>
                  <a:gd name="T59" fmla="*/ 156 h 369"/>
                  <a:gd name="T60" fmla="*/ 14 w 163"/>
                  <a:gd name="T61" fmla="*/ 142 h 369"/>
                  <a:gd name="T62" fmla="*/ 0 w 163"/>
                  <a:gd name="T63" fmla="*/ 107 h 369"/>
                  <a:gd name="T64" fmla="*/ 0 w 163"/>
                  <a:gd name="T65" fmla="*/ 99 h 369"/>
                  <a:gd name="T66" fmla="*/ 7 w 163"/>
                  <a:gd name="T67" fmla="*/ 92 h 369"/>
                  <a:gd name="T68" fmla="*/ 7 w 163"/>
                  <a:gd name="T69" fmla="*/ 92 h 369"/>
                  <a:gd name="T70" fmla="*/ 7 w 163"/>
                  <a:gd name="T71" fmla="*/ 85 h 369"/>
                  <a:gd name="T72" fmla="*/ 7 w 163"/>
                  <a:gd name="T73" fmla="*/ 78 h 369"/>
                  <a:gd name="T74" fmla="*/ 7 w 163"/>
                  <a:gd name="T75" fmla="*/ 71 h 369"/>
                  <a:gd name="T76" fmla="*/ 7 w 163"/>
                  <a:gd name="T77" fmla="*/ 57 h 369"/>
                  <a:gd name="T78" fmla="*/ 0 w 163"/>
                  <a:gd name="T79" fmla="*/ 43 h 369"/>
                  <a:gd name="T80" fmla="*/ 14 w 163"/>
                  <a:gd name="T81" fmla="*/ 36 h 369"/>
                  <a:gd name="T82" fmla="*/ 14 w 163"/>
                  <a:gd name="T83" fmla="*/ 43 h 369"/>
                  <a:gd name="T84" fmla="*/ 21 w 163"/>
                  <a:gd name="T85" fmla="*/ 50 h 369"/>
                  <a:gd name="T86" fmla="*/ 28 w 163"/>
                  <a:gd name="T87" fmla="*/ 50 h 369"/>
                  <a:gd name="T88" fmla="*/ 43 w 163"/>
                  <a:gd name="T89" fmla="*/ 36 h 369"/>
                  <a:gd name="T90" fmla="*/ 43 w 163"/>
                  <a:gd name="T91" fmla="*/ 28 h 369"/>
                  <a:gd name="T92" fmla="*/ 50 w 163"/>
                  <a:gd name="T93" fmla="*/ 14 h 369"/>
                  <a:gd name="T94" fmla="*/ 57 w 163"/>
                  <a:gd name="T95" fmla="*/ 0 h 369"/>
                  <a:gd name="T96" fmla="*/ 78 w 163"/>
                  <a:gd name="T97" fmla="*/ 14 h 369"/>
                  <a:gd name="T98" fmla="*/ 92 w 163"/>
                  <a:gd name="T99" fmla="*/ 14 h 369"/>
                  <a:gd name="T100" fmla="*/ 92 w 163"/>
                  <a:gd name="T101" fmla="*/ 28 h 369"/>
                  <a:gd name="T102" fmla="*/ 92 w 163"/>
                  <a:gd name="T103" fmla="*/ 36 h 369"/>
                  <a:gd name="T104" fmla="*/ 92 w 163"/>
                  <a:gd name="T105" fmla="*/ 50 h 369"/>
                  <a:gd name="T106" fmla="*/ 92 w 163"/>
                  <a:gd name="T107" fmla="*/ 50 h 369"/>
                  <a:gd name="T108" fmla="*/ 106 w 163"/>
                  <a:gd name="T109" fmla="*/ 57 h 369"/>
                  <a:gd name="T110" fmla="*/ 114 w 163"/>
                  <a:gd name="T111" fmla="*/ 57 h 369"/>
                  <a:gd name="T112" fmla="*/ 121 w 163"/>
                  <a:gd name="T113" fmla="*/ 57 h 369"/>
                  <a:gd name="T114" fmla="*/ 128 w 163"/>
                  <a:gd name="T115" fmla="*/ 57 h 369"/>
                  <a:gd name="T116" fmla="*/ 128 w 163"/>
                  <a:gd name="T117" fmla="*/ 57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3" h="369">
                    <a:moveTo>
                      <a:pt x="128" y="64"/>
                    </a:moveTo>
                    <a:lnTo>
                      <a:pt x="128" y="64"/>
                    </a:lnTo>
                    <a:lnTo>
                      <a:pt x="135" y="57"/>
                    </a:lnTo>
                    <a:lnTo>
                      <a:pt x="135" y="57"/>
                    </a:lnTo>
                    <a:lnTo>
                      <a:pt x="135" y="64"/>
                    </a:lnTo>
                    <a:lnTo>
                      <a:pt x="135" y="64"/>
                    </a:lnTo>
                    <a:lnTo>
                      <a:pt x="135" y="64"/>
                    </a:lnTo>
                    <a:lnTo>
                      <a:pt x="135" y="71"/>
                    </a:lnTo>
                    <a:lnTo>
                      <a:pt x="142" y="71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85"/>
                    </a:lnTo>
                    <a:lnTo>
                      <a:pt x="149" y="99"/>
                    </a:lnTo>
                    <a:lnTo>
                      <a:pt x="156" y="107"/>
                    </a:lnTo>
                    <a:lnTo>
                      <a:pt x="156" y="107"/>
                    </a:lnTo>
                    <a:lnTo>
                      <a:pt x="156" y="107"/>
                    </a:lnTo>
                    <a:lnTo>
                      <a:pt x="156" y="107"/>
                    </a:lnTo>
                    <a:lnTo>
                      <a:pt x="156" y="114"/>
                    </a:lnTo>
                    <a:lnTo>
                      <a:pt x="156" y="142"/>
                    </a:lnTo>
                    <a:lnTo>
                      <a:pt x="156" y="149"/>
                    </a:lnTo>
                    <a:lnTo>
                      <a:pt x="163" y="156"/>
                    </a:lnTo>
                    <a:lnTo>
                      <a:pt x="163" y="156"/>
                    </a:lnTo>
                    <a:lnTo>
                      <a:pt x="163" y="156"/>
                    </a:lnTo>
                    <a:lnTo>
                      <a:pt x="163" y="156"/>
                    </a:lnTo>
                    <a:lnTo>
                      <a:pt x="156" y="163"/>
                    </a:lnTo>
                    <a:lnTo>
                      <a:pt x="156" y="163"/>
                    </a:lnTo>
                    <a:lnTo>
                      <a:pt x="156" y="170"/>
                    </a:lnTo>
                    <a:lnTo>
                      <a:pt x="163" y="178"/>
                    </a:lnTo>
                    <a:lnTo>
                      <a:pt x="163" y="185"/>
                    </a:lnTo>
                    <a:lnTo>
                      <a:pt x="163" y="185"/>
                    </a:lnTo>
                    <a:lnTo>
                      <a:pt x="163" y="192"/>
                    </a:lnTo>
                    <a:lnTo>
                      <a:pt x="163" y="192"/>
                    </a:lnTo>
                    <a:lnTo>
                      <a:pt x="156" y="199"/>
                    </a:lnTo>
                    <a:lnTo>
                      <a:pt x="156" y="206"/>
                    </a:lnTo>
                    <a:lnTo>
                      <a:pt x="156" y="206"/>
                    </a:lnTo>
                    <a:lnTo>
                      <a:pt x="149" y="206"/>
                    </a:lnTo>
                    <a:lnTo>
                      <a:pt x="149" y="213"/>
                    </a:lnTo>
                    <a:lnTo>
                      <a:pt x="142" y="206"/>
                    </a:lnTo>
                    <a:lnTo>
                      <a:pt x="142" y="206"/>
                    </a:lnTo>
                    <a:lnTo>
                      <a:pt x="142" y="206"/>
                    </a:lnTo>
                    <a:lnTo>
                      <a:pt x="135" y="199"/>
                    </a:lnTo>
                    <a:lnTo>
                      <a:pt x="135" y="206"/>
                    </a:lnTo>
                    <a:lnTo>
                      <a:pt x="135" y="206"/>
                    </a:lnTo>
                    <a:lnTo>
                      <a:pt x="135" y="213"/>
                    </a:lnTo>
                    <a:lnTo>
                      <a:pt x="135" y="213"/>
                    </a:lnTo>
                    <a:lnTo>
                      <a:pt x="135" y="220"/>
                    </a:lnTo>
                    <a:lnTo>
                      <a:pt x="135" y="220"/>
                    </a:lnTo>
                    <a:lnTo>
                      <a:pt x="142" y="227"/>
                    </a:lnTo>
                    <a:lnTo>
                      <a:pt x="142" y="227"/>
                    </a:lnTo>
                    <a:lnTo>
                      <a:pt x="135" y="234"/>
                    </a:lnTo>
                    <a:lnTo>
                      <a:pt x="135" y="234"/>
                    </a:lnTo>
                    <a:lnTo>
                      <a:pt x="135" y="241"/>
                    </a:lnTo>
                    <a:lnTo>
                      <a:pt x="135" y="241"/>
                    </a:lnTo>
                    <a:lnTo>
                      <a:pt x="128" y="241"/>
                    </a:lnTo>
                    <a:lnTo>
                      <a:pt x="128" y="256"/>
                    </a:lnTo>
                    <a:lnTo>
                      <a:pt x="128" y="263"/>
                    </a:lnTo>
                    <a:lnTo>
                      <a:pt x="128" y="263"/>
                    </a:lnTo>
                    <a:lnTo>
                      <a:pt x="135" y="270"/>
                    </a:lnTo>
                    <a:lnTo>
                      <a:pt x="135" y="270"/>
                    </a:lnTo>
                    <a:lnTo>
                      <a:pt x="135" y="277"/>
                    </a:lnTo>
                    <a:lnTo>
                      <a:pt x="135" y="277"/>
                    </a:lnTo>
                    <a:lnTo>
                      <a:pt x="135" y="284"/>
                    </a:lnTo>
                    <a:lnTo>
                      <a:pt x="135" y="291"/>
                    </a:lnTo>
                    <a:lnTo>
                      <a:pt x="142" y="291"/>
                    </a:lnTo>
                    <a:lnTo>
                      <a:pt x="142" y="298"/>
                    </a:lnTo>
                    <a:lnTo>
                      <a:pt x="149" y="298"/>
                    </a:lnTo>
                    <a:lnTo>
                      <a:pt x="149" y="319"/>
                    </a:lnTo>
                    <a:lnTo>
                      <a:pt x="149" y="319"/>
                    </a:lnTo>
                    <a:lnTo>
                      <a:pt x="149" y="319"/>
                    </a:lnTo>
                    <a:lnTo>
                      <a:pt x="149" y="319"/>
                    </a:lnTo>
                    <a:lnTo>
                      <a:pt x="149" y="319"/>
                    </a:lnTo>
                    <a:lnTo>
                      <a:pt x="142" y="327"/>
                    </a:lnTo>
                    <a:lnTo>
                      <a:pt x="142" y="327"/>
                    </a:lnTo>
                    <a:lnTo>
                      <a:pt x="142" y="327"/>
                    </a:lnTo>
                    <a:lnTo>
                      <a:pt x="142" y="327"/>
                    </a:lnTo>
                    <a:lnTo>
                      <a:pt x="149" y="327"/>
                    </a:lnTo>
                    <a:lnTo>
                      <a:pt x="142" y="334"/>
                    </a:lnTo>
                    <a:lnTo>
                      <a:pt x="142" y="334"/>
                    </a:lnTo>
                    <a:lnTo>
                      <a:pt x="142" y="327"/>
                    </a:lnTo>
                    <a:lnTo>
                      <a:pt x="135" y="327"/>
                    </a:lnTo>
                    <a:lnTo>
                      <a:pt x="135" y="327"/>
                    </a:lnTo>
                    <a:lnTo>
                      <a:pt x="135" y="327"/>
                    </a:lnTo>
                    <a:lnTo>
                      <a:pt x="135" y="327"/>
                    </a:lnTo>
                    <a:lnTo>
                      <a:pt x="135" y="327"/>
                    </a:lnTo>
                    <a:lnTo>
                      <a:pt x="135" y="334"/>
                    </a:lnTo>
                    <a:lnTo>
                      <a:pt x="135" y="341"/>
                    </a:lnTo>
                    <a:lnTo>
                      <a:pt x="135" y="341"/>
                    </a:lnTo>
                    <a:lnTo>
                      <a:pt x="128" y="341"/>
                    </a:lnTo>
                    <a:lnTo>
                      <a:pt x="128" y="341"/>
                    </a:lnTo>
                    <a:lnTo>
                      <a:pt x="128" y="348"/>
                    </a:lnTo>
                    <a:lnTo>
                      <a:pt x="128" y="348"/>
                    </a:lnTo>
                    <a:lnTo>
                      <a:pt x="128" y="355"/>
                    </a:lnTo>
                    <a:lnTo>
                      <a:pt x="128" y="355"/>
                    </a:lnTo>
                    <a:lnTo>
                      <a:pt x="128" y="355"/>
                    </a:lnTo>
                    <a:lnTo>
                      <a:pt x="128" y="355"/>
                    </a:lnTo>
                    <a:lnTo>
                      <a:pt x="128" y="355"/>
                    </a:lnTo>
                    <a:lnTo>
                      <a:pt x="128" y="355"/>
                    </a:lnTo>
                    <a:lnTo>
                      <a:pt x="128" y="362"/>
                    </a:lnTo>
                    <a:lnTo>
                      <a:pt x="128" y="362"/>
                    </a:lnTo>
                    <a:lnTo>
                      <a:pt x="128" y="362"/>
                    </a:lnTo>
                    <a:lnTo>
                      <a:pt x="128" y="362"/>
                    </a:lnTo>
                    <a:lnTo>
                      <a:pt x="128" y="362"/>
                    </a:lnTo>
                    <a:lnTo>
                      <a:pt x="128" y="362"/>
                    </a:lnTo>
                    <a:lnTo>
                      <a:pt x="128" y="362"/>
                    </a:lnTo>
                    <a:lnTo>
                      <a:pt x="121" y="355"/>
                    </a:lnTo>
                    <a:lnTo>
                      <a:pt x="121" y="355"/>
                    </a:lnTo>
                    <a:lnTo>
                      <a:pt x="121" y="355"/>
                    </a:lnTo>
                    <a:lnTo>
                      <a:pt x="121" y="362"/>
                    </a:lnTo>
                    <a:lnTo>
                      <a:pt x="121" y="362"/>
                    </a:lnTo>
                    <a:lnTo>
                      <a:pt x="114" y="369"/>
                    </a:lnTo>
                    <a:lnTo>
                      <a:pt x="114" y="362"/>
                    </a:lnTo>
                    <a:lnTo>
                      <a:pt x="114" y="362"/>
                    </a:lnTo>
                    <a:lnTo>
                      <a:pt x="114" y="355"/>
                    </a:lnTo>
                    <a:lnTo>
                      <a:pt x="106" y="355"/>
                    </a:lnTo>
                    <a:lnTo>
                      <a:pt x="99" y="348"/>
                    </a:lnTo>
                    <a:lnTo>
                      <a:pt x="92" y="341"/>
                    </a:lnTo>
                    <a:lnTo>
                      <a:pt x="85" y="341"/>
                    </a:lnTo>
                    <a:lnTo>
                      <a:pt x="85" y="341"/>
                    </a:lnTo>
                    <a:lnTo>
                      <a:pt x="85" y="341"/>
                    </a:lnTo>
                    <a:lnTo>
                      <a:pt x="85" y="348"/>
                    </a:lnTo>
                    <a:lnTo>
                      <a:pt x="85" y="348"/>
                    </a:lnTo>
                    <a:lnTo>
                      <a:pt x="85" y="348"/>
                    </a:lnTo>
                    <a:lnTo>
                      <a:pt x="85" y="348"/>
                    </a:lnTo>
                    <a:lnTo>
                      <a:pt x="85" y="348"/>
                    </a:lnTo>
                    <a:lnTo>
                      <a:pt x="85" y="348"/>
                    </a:lnTo>
                    <a:lnTo>
                      <a:pt x="85" y="355"/>
                    </a:lnTo>
                    <a:lnTo>
                      <a:pt x="85" y="355"/>
                    </a:lnTo>
                    <a:lnTo>
                      <a:pt x="85" y="355"/>
                    </a:lnTo>
                    <a:lnTo>
                      <a:pt x="85" y="355"/>
                    </a:lnTo>
                    <a:lnTo>
                      <a:pt x="85" y="362"/>
                    </a:lnTo>
                    <a:lnTo>
                      <a:pt x="85" y="362"/>
                    </a:lnTo>
                    <a:lnTo>
                      <a:pt x="78" y="362"/>
                    </a:lnTo>
                    <a:lnTo>
                      <a:pt x="78" y="362"/>
                    </a:lnTo>
                    <a:lnTo>
                      <a:pt x="78" y="362"/>
                    </a:lnTo>
                    <a:lnTo>
                      <a:pt x="78" y="362"/>
                    </a:lnTo>
                    <a:lnTo>
                      <a:pt x="78" y="362"/>
                    </a:lnTo>
                    <a:lnTo>
                      <a:pt x="78" y="362"/>
                    </a:lnTo>
                    <a:lnTo>
                      <a:pt x="78" y="362"/>
                    </a:lnTo>
                    <a:lnTo>
                      <a:pt x="78" y="362"/>
                    </a:lnTo>
                    <a:lnTo>
                      <a:pt x="71" y="355"/>
                    </a:lnTo>
                    <a:lnTo>
                      <a:pt x="71" y="341"/>
                    </a:lnTo>
                    <a:lnTo>
                      <a:pt x="71" y="341"/>
                    </a:lnTo>
                    <a:lnTo>
                      <a:pt x="71" y="341"/>
                    </a:lnTo>
                    <a:lnTo>
                      <a:pt x="71" y="341"/>
                    </a:lnTo>
                    <a:lnTo>
                      <a:pt x="71" y="334"/>
                    </a:lnTo>
                    <a:lnTo>
                      <a:pt x="57" y="291"/>
                    </a:lnTo>
                    <a:lnTo>
                      <a:pt x="57" y="284"/>
                    </a:lnTo>
                    <a:lnTo>
                      <a:pt x="57" y="284"/>
                    </a:lnTo>
                    <a:lnTo>
                      <a:pt x="57" y="277"/>
                    </a:lnTo>
                    <a:lnTo>
                      <a:pt x="57" y="270"/>
                    </a:lnTo>
                    <a:lnTo>
                      <a:pt x="50" y="263"/>
                    </a:lnTo>
                    <a:lnTo>
                      <a:pt x="50" y="256"/>
                    </a:lnTo>
                    <a:lnTo>
                      <a:pt x="50" y="256"/>
                    </a:lnTo>
                    <a:lnTo>
                      <a:pt x="50" y="256"/>
                    </a:lnTo>
                    <a:lnTo>
                      <a:pt x="43" y="249"/>
                    </a:lnTo>
                    <a:lnTo>
                      <a:pt x="43" y="249"/>
                    </a:lnTo>
                    <a:lnTo>
                      <a:pt x="43" y="234"/>
                    </a:lnTo>
                    <a:lnTo>
                      <a:pt x="35" y="234"/>
                    </a:lnTo>
                    <a:lnTo>
                      <a:pt x="35" y="234"/>
                    </a:lnTo>
                    <a:lnTo>
                      <a:pt x="28" y="227"/>
                    </a:lnTo>
                    <a:lnTo>
                      <a:pt x="28" y="220"/>
                    </a:lnTo>
                    <a:lnTo>
                      <a:pt x="28" y="213"/>
                    </a:lnTo>
                    <a:lnTo>
                      <a:pt x="21" y="192"/>
                    </a:lnTo>
                    <a:lnTo>
                      <a:pt x="21" y="185"/>
                    </a:lnTo>
                    <a:lnTo>
                      <a:pt x="21" y="185"/>
                    </a:lnTo>
                    <a:lnTo>
                      <a:pt x="21" y="178"/>
                    </a:lnTo>
                    <a:lnTo>
                      <a:pt x="21" y="178"/>
                    </a:lnTo>
                    <a:lnTo>
                      <a:pt x="21" y="178"/>
                    </a:lnTo>
                    <a:lnTo>
                      <a:pt x="21" y="170"/>
                    </a:lnTo>
                    <a:lnTo>
                      <a:pt x="21" y="170"/>
                    </a:lnTo>
                    <a:lnTo>
                      <a:pt x="21" y="170"/>
                    </a:lnTo>
                    <a:lnTo>
                      <a:pt x="21" y="163"/>
                    </a:lnTo>
                    <a:lnTo>
                      <a:pt x="21" y="163"/>
                    </a:lnTo>
                    <a:lnTo>
                      <a:pt x="21" y="163"/>
                    </a:lnTo>
                    <a:lnTo>
                      <a:pt x="21" y="163"/>
                    </a:lnTo>
                    <a:lnTo>
                      <a:pt x="21" y="163"/>
                    </a:lnTo>
                    <a:lnTo>
                      <a:pt x="21" y="163"/>
                    </a:lnTo>
                    <a:lnTo>
                      <a:pt x="21" y="156"/>
                    </a:lnTo>
                    <a:lnTo>
                      <a:pt x="21" y="156"/>
                    </a:lnTo>
                    <a:lnTo>
                      <a:pt x="14" y="156"/>
                    </a:lnTo>
                    <a:lnTo>
                      <a:pt x="14" y="156"/>
                    </a:lnTo>
                    <a:lnTo>
                      <a:pt x="14" y="156"/>
                    </a:lnTo>
                    <a:lnTo>
                      <a:pt x="14" y="149"/>
                    </a:lnTo>
                    <a:lnTo>
                      <a:pt x="14" y="142"/>
                    </a:lnTo>
                    <a:lnTo>
                      <a:pt x="7" y="128"/>
                    </a:lnTo>
                    <a:lnTo>
                      <a:pt x="7" y="121"/>
                    </a:lnTo>
                    <a:lnTo>
                      <a:pt x="7" y="121"/>
                    </a:lnTo>
                    <a:lnTo>
                      <a:pt x="7" y="114"/>
                    </a:lnTo>
                    <a:lnTo>
                      <a:pt x="7" y="114"/>
                    </a:lnTo>
                    <a:lnTo>
                      <a:pt x="0" y="107"/>
                    </a:lnTo>
                    <a:lnTo>
                      <a:pt x="0" y="99"/>
                    </a:lnTo>
                    <a:lnTo>
                      <a:pt x="0" y="99"/>
                    </a:lnTo>
                    <a:lnTo>
                      <a:pt x="0" y="99"/>
                    </a:lnTo>
                    <a:lnTo>
                      <a:pt x="0" y="99"/>
                    </a:lnTo>
                    <a:lnTo>
                      <a:pt x="0" y="99"/>
                    </a:lnTo>
                    <a:lnTo>
                      <a:pt x="0" y="99"/>
                    </a:lnTo>
                    <a:lnTo>
                      <a:pt x="0" y="92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7" y="85"/>
                    </a:lnTo>
                    <a:lnTo>
                      <a:pt x="7" y="85"/>
                    </a:lnTo>
                    <a:lnTo>
                      <a:pt x="7" y="85"/>
                    </a:lnTo>
                    <a:lnTo>
                      <a:pt x="7" y="85"/>
                    </a:lnTo>
                    <a:lnTo>
                      <a:pt x="7" y="85"/>
                    </a:lnTo>
                    <a:lnTo>
                      <a:pt x="7" y="85"/>
                    </a:lnTo>
                    <a:lnTo>
                      <a:pt x="7" y="78"/>
                    </a:lnTo>
                    <a:lnTo>
                      <a:pt x="7" y="78"/>
                    </a:lnTo>
                    <a:lnTo>
                      <a:pt x="7" y="78"/>
                    </a:lnTo>
                    <a:lnTo>
                      <a:pt x="7" y="71"/>
                    </a:lnTo>
                    <a:lnTo>
                      <a:pt x="7" y="71"/>
                    </a:lnTo>
                    <a:lnTo>
                      <a:pt x="7" y="71"/>
                    </a:lnTo>
                    <a:lnTo>
                      <a:pt x="7" y="71"/>
                    </a:lnTo>
                    <a:lnTo>
                      <a:pt x="7" y="71"/>
                    </a:lnTo>
                    <a:lnTo>
                      <a:pt x="7" y="71"/>
                    </a:lnTo>
                    <a:lnTo>
                      <a:pt x="7" y="64"/>
                    </a:lnTo>
                    <a:lnTo>
                      <a:pt x="7" y="64"/>
                    </a:lnTo>
                    <a:lnTo>
                      <a:pt x="7" y="64"/>
                    </a:lnTo>
                    <a:lnTo>
                      <a:pt x="7" y="57"/>
                    </a:lnTo>
                    <a:lnTo>
                      <a:pt x="7" y="57"/>
                    </a:lnTo>
                    <a:lnTo>
                      <a:pt x="7" y="43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0" y="36"/>
                    </a:lnTo>
                    <a:lnTo>
                      <a:pt x="7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43"/>
                    </a:lnTo>
                    <a:lnTo>
                      <a:pt x="14" y="43"/>
                    </a:lnTo>
                    <a:lnTo>
                      <a:pt x="14" y="43"/>
                    </a:lnTo>
                    <a:lnTo>
                      <a:pt x="14" y="43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43"/>
                    </a:lnTo>
                    <a:lnTo>
                      <a:pt x="35" y="43"/>
                    </a:lnTo>
                    <a:lnTo>
                      <a:pt x="35" y="36"/>
                    </a:lnTo>
                    <a:lnTo>
                      <a:pt x="35" y="36"/>
                    </a:lnTo>
                    <a:lnTo>
                      <a:pt x="43" y="36"/>
                    </a:lnTo>
                    <a:lnTo>
                      <a:pt x="43" y="36"/>
                    </a:lnTo>
                    <a:lnTo>
                      <a:pt x="43" y="36"/>
                    </a:lnTo>
                    <a:lnTo>
                      <a:pt x="43" y="36"/>
                    </a:lnTo>
                    <a:lnTo>
                      <a:pt x="43" y="36"/>
                    </a:lnTo>
                    <a:lnTo>
                      <a:pt x="43" y="28"/>
                    </a:lnTo>
                    <a:lnTo>
                      <a:pt x="43" y="28"/>
                    </a:lnTo>
                    <a:lnTo>
                      <a:pt x="43" y="28"/>
                    </a:lnTo>
                    <a:lnTo>
                      <a:pt x="50" y="21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7" y="0"/>
                    </a:lnTo>
                    <a:lnTo>
                      <a:pt x="57" y="0"/>
                    </a:lnTo>
                    <a:lnTo>
                      <a:pt x="57" y="0"/>
                    </a:lnTo>
                    <a:lnTo>
                      <a:pt x="57" y="0"/>
                    </a:lnTo>
                    <a:lnTo>
                      <a:pt x="57" y="0"/>
                    </a:lnTo>
                    <a:lnTo>
                      <a:pt x="57" y="0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8" y="7"/>
                    </a:lnTo>
                    <a:lnTo>
                      <a:pt x="78" y="14"/>
                    </a:lnTo>
                    <a:lnTo>
                      <a:pt x="85" y="14"/>
                    </a:lnTo>
                    <a:lnTo>
                      <a:pt x="85" y="14"/>
                    </a:lnTo>
                    <a:lnTo>
                      <a:pt x="92" y="7"/>
                    </a:lnTo>
                    <a:lnTo>
                      <a:pt x="92" y="7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36"/>
                    </a:lnTo>
                    <a:lnTo>
                      <a:pt x="92" y="36"/>
                    </a:lnTo>
                    <a:lnTo>
                      <a:pt x="92" y="36"/>
                    </a:lnTo>
                    <a:lnTo>
                      <a:pt x="92" y="36"/>
                    </a:lnTo>
                    <a:lnTo>
                      <a:pt x="92" y="43"/>
                    </a:lnTo>
                    <a:lnTo>
                      <a:pt x="92" y="43"/>
                    </a:lnTo>
                    <a:lnTo>
                      <a:pt x="92" y="50"/>
                    </a:lnTo>
                    <a:lnTo>
                      <a:pt x="92" y="50"/>
                    </a:lnTo>
                    <a:lnTo>
                      <a:pt x="92" y="50"/>
                    </a:lnTo>
                    <a:lnTo>
                      <a:pt x="92" y="50"/>
                    </a:lnTo>
                    <a:lnTo>
                      <a:pt x="92" y="50"/>
                    </a:lnTo>
                    <a:lnTo>
                      <a:pt x="92" y="50"/>
                    </a:lnTo>
                    <a:lnTo>
                      <a:pt x="92" y="50"/>
                    </a:lnTo>
                    <a:lnTo>
                      <a:pt x="92" y="50"/>
                    </a:lnTo>
                    <a:lnTo>
                      <a:pt x="92" y="50"/>
                    </a:lnTo>
                    <a:lnTo>
                      <a:pt x="92" y="50"/>
                    </a:lnTo>
                    <a:lnTo>
                      <a:pt x="106" y="57"/>
                    </a:lnTo>
                    <a:lnTo>
                      <a:pt x="106" y="57"/>
                    </a:lnTo>
                    <a:lnTo>
                      <a:pt x="106" y="57"/>
                    </a:lnTo>
                    <a:lnTo>
                      <a:pt x="106" y="57"/>
                    </a:lnTo>
                    <a:lnTo>
                      <a:pt x="106" y="57"/>
                    </a:lnTo>
                    <a:lnTo>
                      <a:pt x="106" y="57"/>
                    </a:lnTo>
                    <a:lnTo>
                      <a:pt x="114" y="57"/>
                    </a:lnTo>
                    <a:lnTo>
                      <a:pt x="114" y="57"/>
                    </a:lnTo>
                    <a:lnTo>
                      <a:pt x="114" y="57"/>
                    </a:lnTo>
                    <a:lnTo>
                      <a:pt x="114" y="57"/>
                    </a:lnTo>
                    <a:lnTo>
                      <a:pt x="114" y="57"/>
                    </a:lnTo>
                    <a:lnTo>
                      <a:pt x="114" y="57"/>
                    </a:lnTo>
                    <a:lnTo>
                      <a:pt x="114" y="57"/>
                    </a:lnTo>
                    <a:lnTo>
                      <a:pt x="114" y="57"/>
                    </a:lnTo>
                    <a:lnTo>
                      <a:pt x="114" y="57"/>
                    </a:lnTo>
                    <a:lnTo>
                      <a:pt x="121" y="57"/>
                    </a:lnTo>
                    <a:lnTo>
                      <a:pt x="121" y="57"/>
                    </a:lnTo>
                    <a:lnTo>
                      <a:pt x="121" y="57"/>
                    </a:lnTo>
                    <a:lnTo>
                      <a:pt x="121" y="57"/>
                    </a:lnTo>
                    <a:lnTo>
                      <a:pt x="121" y="57"/>
                    </a:lnTo>
                    <a:lnTo>
                      <a:pt x="121" y="57"/>
                    </a:lnTo>
                    <a:lnTo>
                      <a:pt x="121" y="57"/>
                    </a:lnTo>
                    <a:lnTo>
                      <a:pt x="121" y="57"/>
                    </a:lnTo>
                    <a:lnTo>
                      <a:pt x="128" y="57"/>
                    </a:lnTo>
                    <a:lnTo>
                      <a:pt x="128" y="57"/>
                    </a:lnTo>
                    <a:lnTo>
                      <a:pt x="128" y="57"/>
                    </a:lnTo>
                    <a:lnTo>
                      <a:pt x="128" y="57"/>
                    </a:lnTo>
                    <a:lnTo>
                      <a:pt x="128" y="57"/>
                    </a:lnTo>
                    <a:lnTo>
                      <a:pt x="128" y="57"/>
                    </a:lnTo>
                    <a:lnTo>
                      <a:pt x="128" y="57"/>
                    </a:lnTo>
                    <a:lnTo>
                      <a:pt x="128" y="64"/>
                    </a:lnTo>
                    <a:lnTo>
                      <a:pt x="128" y="64"/>
                    </a:lnTo>
                    <a:lnTo>
                      <a:pt x="128" y="6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1" name="Freeform 79"/>
              <p:cNvSpPr>
                <a:spLocks/>
              </p:cNvSpPr>
              <p:nvPr/>
            </p:nvSpPr>
            <p:spPr bwMode="auto">
              <a:xfrm>
                <a:off x="5061" y="1649"/>
                <a:ext cx="149" cy="234"/>
              </a:xfrm>
              <a:custGeom>
                <a:avLst/>
                <a:gdLst>
                  <a:gd name="T0" fmla="*/ 149 w 149"/>
                  <a:gd name="T1" fmla="*/ 121 h 234"/>
                  <a:gd name="T2" fmla="*/ 135 w 149"/>
                  <a:gd name="T3" fmla="*/ 128 h 234"/>
                  <a:gd name="T4" fmla="*/ 121 w 149"/>
                  <a:gd name="T5" fmla="*/ 128 h 234"/>
                  <a:gd name="T6" fmla="*/ 106 w 149"/>
                  <a:gd name="T7" fmla="*/ 121 h 234"/>
                  <a:gd name="T8" fmla="*/ 99 w 149"/>
                  <a:gd name="T9" fmla="*/ 135 h 234"/>
                  <a:gd name="T10" fmla="*/ 99 w 149"/>
                  <a:gd name="T11" fmla="*/ 163 h 234"/>
                  <a:gd name="T12" fmla="*/ 85 w 149"/>
                  <a:gd name="T13" fmla="*/ 192 h 234"/>
                  <a:gd name="T14" fmla="*/ 92 w 149"/>
                  <a:gd name="T15" fmla="*/ 213 h 234"/>
                  <a:gd name="T16" fmla="*/ 92 w 149"/>
                  <a:gd name="T17" fmla="*/ 220 h 234"/>
                  <a:gd name="T18" fmla="*/ 92 w 149"/>
                  <a:gd name="T19" fmla="*/ 227 h 234"/>
                  <a:gd name="T20" fmla="*/ 78 w 149"/>
                  <a:gd name="T21" fmla="*/ 234 h 234"/>
                  <a:gd name="T22" fmla="*/ 78 w 149"/>
                  <a:gd name="T23" fmla="*/ 234 h 234"/>
                  <a:gd name="T24" fmla="*/ 71 w 149"/>
                  <a:gd name="T25" fmla="*/ 234 h 234"/>
                  <a:gd name="T26" fmla="*/ 64 w 149"/>
                  <a:gd name="T27" fmla="*/ 234 h 234"/>
                  <a:gd name="T28" fmla="*/ 57 w 149"/>
                  <a:gd name="T29" fmla="*/ 227 h 234"/>
                  <a:gd name="T30" fmla="*/ 50 w 149"/>
                  <a:gd name="T31" fmla="*/ 206 h 234"/>
                  <a:gd name="T32" fmla="*/ 50 w 149"/>
                  <a:gd name="T33" fmla="*/ 199 h 234"/>
                  <a:gd name="T34" fmla="*/ 43 w 149"/>
                  <a:gd name="T35" fmla="*/ 199 h 234"/>
                  <a:gd name="T36" fmla="*/ 35 w 149"/>
                  <a:gd name="T37" fmla="*/ 192 h 234"/>
                  <a:gd name="T38" fmla="*/ 35 w 149"/>
                  <a:gd name="T39" fmla="*/ 220 h 234"/>
                  <a:gd name="T40" fmla="*/ 21 w 149"/>
                  <a:gd name="T41" fmla="*/ 185 h 234"/>
                  <a:gd name="T42" fmla="*/ 21 w 149"/>
                  <a:gd name="T43" fmla="*/ 177 h 234"/>
                  <a:gd name="T44" fmla="*/ 14 w 149"/>
                  <a:gd name="T45" fmla="*/ 163 h 234"/>
                  <a:gd name="T46" fmla="*/ 7 w 149"/>
                  <a:gd name="T47" fmla="*/ 156 h 234"/>
                  <a:gd name="T48" fmla="*/ 0 w 149"/>
                  <a:gd name="T49" fmla="*/ 135 h 234"/>
                  <a:gd name="T50" fmla="*/ 0 w 149"/>
                  <a:gd name="T51" fmla="*/ 135 h 234"/>
                  <a:gd name="T52" fmla="*/ 0 w 149"/>
                  <a:gd name="T53" fmla="*/ 121 h 234"/>
                  <a:gd name="T54" fmla="*/ 7 w 149"/>
                  <a:gd name="T55" fmla="*/ 106 h 234"/>
                  <a:gd name="T56" fmla="*/ 7 w 149"/>
                  <a:gd name="T57" fmla="*/ 92 h 234"/>
                  <a:gd name="T58" fmla="*/ 21 w 149"/>
                  <a:gd name="T59" fmla="*/ 85 h 234"/>
                  <a:gd name="T60" fmla="*/ 28 w 149"/>
                  <a:gd name="T61" fmla="*/ 71 h 234"/>
                  <a:gd name="T62" fmla="*/ 50 w 149"/>
                  <a:gd name="T63" fmla="*/ 71 h 234"/>
                  <a:gd name="T64" fmla="*/ 57 w 149"/>
                  <a:gd name="T65" fmla="*/ 50 h 234"/>
                  <a:gd name="T66" fmla="*/ 64 w 149"/>
                  <a:gd name="T67" fmla="*/ 64 h 234"/>
                  <a:gd name="T68" fmla="*/ 64 w 149"/>
                  <a:gd name="T69" fmla="*/ 50 h 234"/>
                  <a:gd name="T70" fmla="*/ 78 w 149"/>
                  <a:gd name="T71" fmla="*/ 57 h 234"/>
                  <a:gd name="T72" fmla="*/ 92 w 149"/>
                  <a:gd name="T73" fmla="*/ 43 h 234"/>
                  <a:gd name="T74" fmla="*/ 92 w 149"/>
                  <a:gd name="T75" fmla="*/ 35 h 234"/>
                  <a:gd name="T76" fmla="*/ 92 w 149"/>
                  <a:gd name="T77" fmla="*/ 28 h 234"/>
                  <a:gd name="T78" fmla="*/ 114 w 149"/>
                  <a:gd name="T79" fmla="*/ 14 h 234"/>
                  <a:gd name="T80" fmla="*/ 114 w 149"/>
                  <a:gd name="T81" fmla="*/ 0 h 234"/>
                  <a:gd name="T82" fmla="*/ 128 w 149"/>
                  <a:gd name="T83" fmla="*/ 7 h 234"/>
                  <a:gd name="T84" fmla="*/ 135 w 149"/>
                  <a:gd name="T85" fmla="*/ 21 h 234"/>
                  <a:gd name="T86" fmla="*/ 135 w 149"/>
                  <a:gd name="T87" fmla="*/ 43 h 234"/>
                  <a:gd name="T88" fmla="*/ 142 w 149"/>
                  <a:gd name="T89" fmla="*/ 50 h 234"/>
                  <a:gd name="T90" fmla="*/ 149 w 149"/>
                  <a:gd name="T91" fmla="*/ 64 h 234"/>
                  <a:gd name="T92" fmla="*/ 149 w 149"/>
                  <a:gd name="T93" fmla="*/ 78 h 234"/>
                  <a:gd name="T94" fmla="*/ 149 w 149"/>
                  <a:gd name="T95" fmla="*/ 78 h 234"/>
                  <a:gd name="T96" fmla="*/ 149 w 149"/>
                  <a:gd name="T97" fmla="*/ 92 h 234"/>
                  <a:gd name="T98" fmla="*/ 149 w 149"/>
                  <a:gd name="T99" fmla="*/ 99 h 234"/>
                  <a:gd name="T100" fmla="*/ 149 w 149"/>
                  <a:gd name="T101" fmla="*/ 99 h 234"/>
                  <a:gd name="T102" fmla="*/ 149 w 149"/>
                  <a:gd name="T103" fmla="*/ 99 h 234"/>
                  <a:gd name="T104" fmla="*/ 149 w 149"/>
                  <a:gd name="T105" fmla="*/ 99 h 234"/>
                  <a:gd name="T106" fmla="*/ 142 w 149"/>
                  <a:gd name="T107" fmla="*/ 106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9" h="234">
                    <a:moveTo>
                      <a:pt x="142" y="114"/>
                    </a:moveTo>
                    <a:lnTo>
                      <a:pt x="142" y="114"/>
                    </a:lnTo>
                    <a:lnTo>
                      <a:pt x="149" y="121"/>
                    </a:lnTo>
                    <a:lnTo>
                      <a:pt x="149" y="121"/>
                    </a:lnTo>
                    <a:lnTo>
                      <a:pt x="149" y="121"/>
                    </a:lnTo>
                    <a:lnTo>
                      <a:pt x="142" y="121"/>
                    </a:lnTo>
                    <a:lnTo>
                      <a:pt x="142" y="121"/>
                    </a:lnTo>
                    <a:lnTo>
                      <a:pt x="142" y="128"/>
                    </a:lnTo>
                    <a:lnTo>
                      <a:pt x="135" y="128"/>
                    </a:lnTo>
                    <a:lnTo>
                      <a:pt x="135" y="128"/>
                    </a:lnTo>
                    <a:lnTo>
                      <a:pt x="135" y="121"/>
                    </a:lnTo>
                    <a:lnTo>
                      <a:pt x="128" y="121"/>
                    </a:lnTo>
                    <a:lnTo>
                      <a:pt x="128" y="121"/>
                    </a:lnTo>
                    <a:lnTo>
                      <a:pt x="121" y="121"/>
                    </a:lnTo>
                    <a:lnTo>
                      <a:pt x="121" y="128"/>
                    </a:lnTo>
                    <a:lnTo>
                      <a:pt x="121" y="135"/>
                    </a:lnTo>
                    <a:lnTo>
                      <a:pt x="114" y="135"/>
                    </a:lnTo>
                    <a:lnTo>
                      <a:pt x="114" y="135"/>
                    </a:lnTo>
                    <a:lnTo>
                      <a:pt x="106" y="128"/>
                    </a:lnTo>
                    <a:lnTo>
                      <a:pt x="106" y="121"/>
                    </a:lnTo>
                    <a:lnTo>
                      <a:pt x="99" y="121"/>
                    </a:lnTo>
                    <a:lnTo>
                      <a:pt x="99" y="121"/>
                    </a:lnTo>
                    <a:lnTo>
                      <a:pt x="99" y="121"/>
                    </a:lnTo>
                    <a:lnTo>
                      <a:pt x="99" y="128"/>
                    </a:lnTo>
                    <a:lnTo>
                      <a:pt x="99" y="135"/>
                    </a:lnTo>
                    <a:lnTo>
                      <a:pt x="106" y="149"/>
                    </a:lnTo>
                    <a:lnTo>
                      <a:pt x="106" y="156"/>
                    </a:lnTo>
                    <a:lnTo>
                      <a:pt x="106" y="163"/>
                    </a:lnTo>
                    <a:lnTo>
                      <a:pt x="106" y="163"/>
                    </a:lnTo>
                    <a:lnTo>
                      <a:pt x="99" y="163"/>
                    </a:lnTo>
                    <a:lnTo>
                      <a:pt x="92" y="170"/>
                    </a:lnTo>
                    <a:lnTo>
                      <a:pt x="92" y="170"/>
                    </a:lnTo>
                    <a:lnTo>
                      <a:pt x="92" y="177"/>
                    </a:lnTo>
                    <a:lnTo>
                      <a:pt x="85" y="185"/>
                    </a:lnTo>
                    <a:lnTo>
                      <a:pt x="85" y="192"/>
                    </a:lnTo>
                    <a:lnTo>
                      <a:pt x="85" y="192"/>
                    </a:lnTo>
                    <a:lnTo>
                      <a:pt x="92" y="199"/>
                    </a:lnTo>
                    <a:lnTo>
                      <a:pt x="92" y="206"/>
                    </a:lnTo>
                    <a:lnTo>
                      <a:pt x="92" y="213"/>
                    </a:lnTo>
                    <a:lnTo>
                      <a:pt x="92" y="213"/>
                    </a:lnTo>
                    <a:lnTo>
                      <a:pt x="92" y="213"/>
                    </a:lnTo>
                    <a:lnTo>
                      <a:pt x="92" y="220"/>
                    </a:lnTo>
                    <a:lnTo>
                      <a:pt x="92" y="220"/>
                    </a:lnTo>
                    <a:lnTo>
                      <a:pt x="92" y="220"/>
                    </a:lnTo>
                    <a:lnTo>
                      <a:pt x="92" y="220"/>
                    </a:lnTo>
                    <a:lnTo>
                      <a:pt x="92" y="220"/>
                    </a:lnTo>
                    <a:lnTo>
                      <a:pt x="92" y="220"/>
                    </a:lnTo>
                    <a:lnTo>
                      <a:pt x="92" y="220"/>
                    </a:lnTo>
                    <a:lnTo>
                      <a:pt x="92" y="220"/>
                    </a:lnTo>
                    <a:lnTo>
                      <a:pt x="92" y="227"/>
                    </a:lnTo>
                    <a:lnTo>
                      <a:pt x="85" y="227"/>
                    </a:lnTo>
                    <a:lnTo>
                      <a:pt x="85" y="227"/>
                    </a:lnTo>
                    <a:lnTo>
                      <a:pt x="85" y="227"/>
                    </a:lnTo>
                    <a:lnTo>
                      <a:pt x="85" y="227"/>
                    </a:lnTo>
                    <a:lnTo>
                      <a:pt x="78" y="234"/>
                    </a:lnTo>
                    <a:lnTo>
                      <a:pt x="78" y="234"/>
                    </a:lnTo>
                    <a:lnTo>
                      <a:pt x="78" y="234"/>
                    </a:lnTo>
                    <a:lnTo>
                      <a:pt x="78" y="234"/>
                    </a:lnTo>
                    <a:lnTo>
                      <a:pt x="78" y="234"/>
                    </a:lnTo>
                    <a:lnTo>
                      <a:pt x="78" y="234"/>
                    </a:lnTo>
                    <a:lnTo>
                      <a:pt x="71" y="234"/>
                    </a:lnTo>
                    <a:lnTo>
                      <a:pt x="71" y="234"/>
                    </a:lnTo>
                    <a:lnTo>
                      <a:pt x="71" y="234"/>
                    </a:lnTo>
                    <a:lnTo>
                      <a:pt x="71" y="234"/>
                    </a:lnTo>
                    <a:lnTo>
                      <a:pt x="71" y="234"/>
                    </a:lnTo>
                    <a:lnTo>
                      <a:pt x="71" y="234"/>
                    </a:lnTo>
                    <a:lnTo>
                      <a:pt x="71" y="234"/>
                    </a:lnTo>
                    <a:lnTo>
                      <a:pt x="71" y="234"/>
                    </a:lnTo>
                    <a:lnTo>
                      <a:pt x="64" y="234"/>
                    </a:lnTo>
                    <a:lnTo>
                      <a:pt x="64" y="234"/>
                    </a:lnTo>
                    <a:lnTo>
                      <a:pt x="64" y="234"/>
                    </a:lnTo>
                    <a:lnTo>
                      <a:pt x="64" y="227"/>
                    </a:lnTo>
                    <a:lnTo>
                      <a:pt x="57" y="227"/>
                    </a:lnTo>
                    <a:lnTo>
                      <a:pt x="57" y="227"/>
                    </a:lnTo>
                    <a:lnTo>
                      <a:pt x="57" y="227"/>
                    </a:lnTo>
                    <a:lnTo>
                      <a:pt x="57" y="227"/>
                    </a:lnTo>
                    <a:lnTo>
                      <a:pt x="57" y="220"/>
                    </a:lnTo>
                    <a:lnTo>
                      <a:pt x="57" y="220"/>
                    </a:lnTo>
                    <a:lnTo>
                      <a:pt x="50" y="206"/>
                    </a:lnTo>
                    <a:lnTo>
                      <a:pt x="50" y="206"/>
                    </a:lnTo>
                    <a:lnTo>
                      <a:pt x="50" y="206"/>
                    </a:lnTo>
                    <a:lnTo>
                      <a:pt x="50" y="206"/>
                    </a:lnTo>
                    <a:lnTo>
                      <a:pt x="50" y="199"/>
                    </a:lnTo>
                    <a:lnTo>
                      <a:pt x="50" y="199"/>
                    </a:lnTo>
                    <a:lnTo>
                      <a:pt x="50" y="199"/>
                    </a:lnTo>
                    <a:lnTo>
                      <a:pt x="50" y="199"/>
                    </a:lnTo>
                    <a:lnTo>
                      <a:pt x="43" y="199"/>
                    </a:lnTo>
                    <a:lnTo>
                      <a:pt x="43" y="199"/>
                    </a:lnTo>
                    <a:lnTo>
                      <a:pt x="43" y="199"/>
                    </a:lnTo>
                    <a:lnTo>
                      <a:pt x="43" y="199"/>
                    </a:lnTo>
                    <a:lnTo>
                      <a:pt x="43" y="199"/>
                    </a:lnTo>
                    <a:lnTo>
                      <a:pt x="43" y="192"/>
                    </a:lnTo>
                    <a:lnTo>
                      <a:pt x="43" y="192"/>
                    </a:lnTo>
                    <a:lnTo>
                      <a:pt x="35" y="192"/>
                    </a:lnTo>
                    <a:lnTo>
                      <a:pt x="35" y="192"/>
                    </a:lnTo>
                    <a:lnTo>
                      <a:pt x="35" y="199"/>
                    </a:lnTo>
                    <a:lnTo>
                      <a:pt x="35" y="206"/>
                    </a:lnTo>
                    <a:lnTo>
                      <a:pt x="43" y="220"/>
                    </a:lnTo>
                    <a:lnTo>
                      <a:pt x="43" y="220"/>
                    </a:lnTo>
                    <a:lnTo>
                      <a:pt x="35" y="220"/>
                    </a:lnTo>
                    <a:lnTo>
                      <a:pt x="28" y="213"/>
                    </a:lnTo>
                    <a:lnTo>
                      <a:pt x="28" y="213"/>
                    </a:lnTo>
                    <a:lnTo>
                      <a:pt x="21" y="185"/>
                    </a:lnTo>
                    <a:lnTo>
                      <a:pt x="21" y="185"/>
                    </a:lnTo>
                    <a:lnTo>
                      <a:pt x="21" y="185"/>
                    </a:lnTo>
                    <a:lnTo>
                      <a:pt x="21" y="185"/>
                    </a:lnTo>
                    <a:lnTo>
                      <a:pt x="21" y="185"/>
                    </a:lnTo>
                    <a:lnTo>
                      <a:pt x="21" y="177"/>
                    </a:lnTo>
                    <a:lnTo>
                      <a:pt x="21" y="177"/>
                    </a:lnTo>
                    <a:lnTo>
                      <a:pt x="21" y="177"/>
                    </a:lnTo>
                    <a:lnTo>
                      <a:pt x="21" y="177"/>
                    </a:lnTo>
                    <a:lnTo>
                      <a:pt x="21" y="177"/>
                    </a:lnTo>
                    <a:lnTo>
                      <a:pt x="14" y="177"/>
                    </a:lnTo>
                    <a:lnTo>
                      <a:pt x="14" y="170"/>
                    </a:lnTo>
                    <a:lnTo>
                      <a:pt x="14" y="163"/>
                    </a:lnTo>
                    <a:lnTo>
                      <a:pt x="14" y="163"/>
                    </a:lnTo>
                    <a:lnTo>
                      <a:pt x="14" y="163"/>
                    </a:lnTo>
                    <a:lnTo>
                      <a:pt x="7" y="163"/>
                    </a:lnTo>
                    <a:lnTo>
                      <a:pt x="7" y="156"/>
                    </a:lnTo>
                    <a:lnTo>
                      <a:pt x="7" y="156"/>
                    </a:lnTo>
                    <a:lnTo>
                      <a:pt x="7" y="156"/>
                    </a:lnTo>
                    <a:lnTo>
                      <a:pt x="7" y="149"/>
                    </a:lnTo>
                    <a:lnTo>
                      <a:pt x="0" y="142"/>
                    </a:lnTo>
                    <a:lnTo>
                      <a:pt x="0" y="142"/>
                    </a:lnTo>
                    <a:lnTo>
                      <a:pt x="0" y="135"/>
                    </a:lnTo>
                    <a:lnTo>
                      <a:pt x="0" y="135"/>
                    </a:lnTo>
                    <a:lnTo>
                      <a:pt x="0" y="135"/>
                    </a:lnTo>
                    <a:lnTo>
                      <a:pt x="0" y="135"/>
                    </a:lnTo>
                    <a:lnTo>
                      <a:pt x="0" y="135"/>
                    </a:lnTo>
                    <a:lnTo>
                      <a:pt x="0" y="135"/>
                    </a:lnTo>
                    <a:lnTo>
                      <a:pt x="0" y="128"/>
                    </a:lnTo>
                    <a:lnTo>
                      <a:pt x="0" y="128"/>
                    </a:lnTo>
                    <a:lnTo>
                      <a:pt x="0" y="128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7" y="121"/>
                    </a:lnTo>
                    <a:lnTo>
                      <a:pt x="7" y="121"/>
                    </a:lnTo>
                    <a:lnTo>
                      <a:pt x="7" y="114"/>
                    </a:lnTo>
                    <a:lnTo>
                      <a:pt x="7" y="106"/>
                    </a:lnTo>
                    <a:lnTo>
                      <a:pt x="7" y="106"/>
                    </a:lnTo>
                    <a:lnTo>
                      <a:pt x="7" y="106"/>
                    </a:lnTo>
                    <a:lnTo>
                      <a:pt x="7" y="99"/>
                    </a:lnTo>
                    <a:lnTo>
                      <a:pt x="7" y="99"/>
                    </a:lnTo>
                    <a:lnTo>
                      <a:pt x="7" y="92"/>
                    </a:lnTo>
                    <a:lnTo>
                      <a:pt x="7" y="92"/>
                    </a:lnTo>
                    <a:lnTo>
                      <a:pt x="14" y="85"/>
                    </a:lnTo>
                    <a:lnTo>
                      <a:pt x="14" y="85"/>
                    </a:lnTo>
                    <a:lnTo>
                      <a:pt x="14" y="85"/>
                    </a:lnTo>
                    <a:lnTo>
                      <a:pt x="14" y="85"/>
                    </a:lnTo>
                    <a:lnTo>
                      <a:pt x="21" y="85"/>
                    </a:lnTo>
                    <a:lnTo>
                      <a:pt x="21" y="85"/>
                    </a:lnTo>
                    <a:lnTo>
                      <a:pt x="21" y="78"/>
                    </a:lnTo>
                    <a:lnTo>
                      <a:pt x="21" y="71"/>
                    </a:lnTo>
                    <a:lnTo>
                      <a:pt x="21" y="71"/>
                    </a:lnTo>
                    <a:lnTo>
                      <a:pt x="28" y="71"/>
                    </a:lnTo>
                    <a:lnTo>
                      <a:pt x="35" y="71"/>
                    </a:lnTo>
                    <a:lnTo>
                      <a:pt x="43" y="71"/>
                    </a:lnTo>
                    <a:lnTo>
                      <a:pt x="50" y="71"/>
                    </a:lnTo>
                    <a:lnTo>
                      <a:pt x="50" y="71"/>
                    </a:lnTo>
                    <a:lnTo>
                      <a:pt x="50" y="71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7" y="57"/>
                    </a:lnTo>
                    <a:lnTo>
                      <a:pt x="57" y="50"/>
                    </a:lnTo>
                    <a:lnTo>
                      <a:pt x="57" y="50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71" y="57"/>
                    </a:lnTo>
                    <a:lnTo>
                      <a:pt x="71" y="57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78" y="50"/>
                    </a:lnTo>
                    <a:lnTo>
                      <a:pt x="78" y="50"/>
                    </a:lnTo>
                    <a:lnTo>
                      <a:pt x="78" y="50"/>
                    </a:lnTo>
                    <a:lnTo>
                      <a:pt x="78" y="57"/>
                    </a:lnTo>
                    <a:lnTo>
                      <a:pt x="78" y="57"/>
                    </a:lnTo>
                    <a:lnTo>
                      <a:pt x="85" y="57"/>
                    </a:lnTo>
                    <a:lnTo>
                      <a:pt x="85" y="57"/>
                    </a:lnTo>
                    <a:lnTo>
                      <a:pt x="85" y="57"/>
                    </a:lnTo>
                    <a:lnTo>
                      <a:pt x="85" y="57"/>
                    </a:lnTo>
                    <a:lnTo>
                      <a:pt x="92" y="43"/>
                    </a:lnTo>
                    <a:lnTo>
                      <a:pt x="92" y="43"/>
                    </a:lnTo>
                    <a:lnTo>
                      <a:pt x="85" y="35"/>
                    </a:lnTo>
                    <a:lnTo>
                      <a:pt x="85" y="35"/>
                    </a:lnTo>
                    <a:lnTo>
                      <a:pt x="92" y="28"/>
                    </a:lnTo>
                    <a:lnTo>
                      <a:pt x="92" y="35"/>
                    </a:lnTo>
                    <a:lnTo>
                      <a:pt x="92" y="35"/>
                    </a:lnTo>
                    <a:lnTo>
                      <a:pt x="99" y="35"/>
                    </a:lnTo>
                    <a:lnTo>
                      <a:pt x="99" y="35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106" y="28"/>
                    </a:lnTo>
                    <a:lnTo>
                      <a:pt x="106" y="28"/>
                    </a:lnTo>
                    <a:lnTo>
                      <a:pt x="114" y="21"/>
                    </a:lnTo>
                    <a:lnTo>
                      <a:pt x="114" y="21"/>
                    </a:lnTo>
                    <a:lnTo>
                      <a:pt x="114" y="14"/>
                    </a:lnTo>
                    <a:lnTo>
                      <a:pt x="114" y="7"/>
                    </a:lnTo>
                    <a:lnTo>
                      <a:pt x="114" y="7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21" y="0"/>
                    </a:lnTo>
                    <a:lnTo>
                      <a:pt x="128" y="7"/>
                    </a:lnTo>
                    <a:lnTo>
                      <a:pt x="128" y="7"/>
                    </a:lnTo>
                    <a:lnTo>
                      <a:pt x="128" y="7"/>
                    </a:lnTo>
                    <a:lnTo>
                      <a:pt x="128" y="7"/>
                    </a:lnTo>
                    <a:lnTo>
                      <a:pt x="128" y="14"/>
                    </a:lnTo>
                    <a:lnTo>
                      <a:pt x="128" y="14"/>
                    </a:lnTo>
                    <a:lnTo>
                      <a:pt x="128" y="14"/>
                    </a:lnTo>
                    <a:lnTo>
                      <a:pt x="135" y="21"/>
                    </a:lnTo>
                    <a:lnTo>
                      <a:pt x="135" y="21"/>
                    </a:lnTo>
                    <a:lnTo>
                      <a:pt x="135" y="28"/>
                    </a:lnTo>
                    <a:lnTo>
                      <a:pt x="135" y="28"/>
                    </a:lnTo>
                    <a:lnTo>
                      <a:pt x="135" y="28"/>
                    </a:lnTo>
                    <a:lnTo>
                      <a:pt x="128" y="43"/>
                    </a:lnTo>
                    <a:lnTo>
                      <a:pt x="135" y="43"/>
                    </a:lnTo>
                    <a:lnTo>
                      <a:pt x="135" y="43"/>
                    </a:lnTo>
                    <a:lnTo>
                      <a:pt x="142" y="43"/>
                    </a:lnTo>
                    <a:lnTo>
                      <a:pt x="142" y="50"/>
                    </a:lnTo>
                    <a:lnTo>
                      <a:pt x="142" y="50"/>
                    </a:lnTo>
                    <a:lnTo>
                      <a:pt x="142" y="50"/>
                    </a:lnTo>
                    <a:lnTo>
                      <a:pt x="142" y="50"/>
                    </a:lnTo>
                    <a:lnTo>
                      <a:pt x="142" y="50"/>
                    </a:lnTo>
                    <a:lnTo>
                      <a:pt x="142" y="50"/>
                    </a:lnTo>
                    <a:lnTo>
                      <a:pt x="149" y="50"/>
                    </a:lnTo>
                    <a:lnTo>
                      <a:pt x="149" y="64"/>
                    </a:lnTo>
                    <a:lnTo>
                      <a:pt x="149" y="64"/>
                    </a:lnTo>
                    <a:lnTo>
                      <a:pt x="149" y="71"/>
                    </a:lnTo>
                    <a:lnTo>
                      <a:pt x="149" y="71"/>
                    </a:lnTo>
                    <a:lnTo>
                      <a:pt x="149" y="71"/>
                    </a:lnTo>
                    <a:lnTo>
                      <a:pt x="149" y="78"/>
                    </a:lnTo>
                    <a:lnTo>
                      <a:pt x="149" y="78"/>
                    </a:lnTo>
                    <a:lnTo>
                      <a:pt x="149" y="78"/>
                    </a:lnTo>
                    <a:lnTo>
                      <a:pt x="149" y="78"/>
                    </a:lnTo>
                    <a:lnTo>
                      <a:pt x="149" y="78"/>
                    </a:lnTo>
                    <a:lnTo>
                      <a:pt x="149" y="78"/>
                    </a:lnTo>
                    <a:lnTo>
                      <a:pt x="149" y="85"/>
                    </a:lnTo>
                    <a:lnTo>
                      <a:pt x="149" y="85"/>
                    </a:lnTo>
                    <a:lnTo>
                      <a:pt x="149" y="85"/>
                    </a:lnTo>
                    <a:lnTo>
                      <a:pt x="149" y="92"/>
                    </a:lnTo>
                    <a:lnTo>
                      <a:pt x="149" y="92"/>
                    </a:lnTo>
                    <a:lnTo>
                      <a:pt x="149" y="92"/>
                    </a:lnTo>
                    <a:lnTo>
                      <a:pt x="149" y="92"/>
                    </a:lnTo>
                    <a:lnTo>
                      <a:pt x="149" y="92"/>
                    </a:lnTo>
                    <a:lnTo>
                      <a:pt x="149" y="92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9" y="99"/>
                    </a:lnTo>
                    <a:lnTo>
                      <a:pt x="142" y="99"/>
                    </a:lnTo>
                    <a:lnTo>
                      <a:pt x="142" y="106"/>
                    </a:lnTo>
                    <a:lnTo>
                      <a:pt x="142" y="106"/>
                    </a:lnTo>
                    <a:lnTo>
                      <a:pt x="142" y="106"/>
                    </a:lnTo>
                    <a:lnTo>
                      <a:pt x="142" y="106"/>
                    </a:lnTo>
                    <a:lnTo>
                      <a:pt x="142" y="106"/>
                    </a:lnTo>
                    <a:lnTo>
                      <a:pt x="142" y="106"/>
                    </a:lnTo>
                    <a:lnTo>
                      <a:pt x="142" y="114"/>
                    </a:lnTo>
                    <a:close/>
                  </a:path>
                </a:pathLst>
              </a:custGeom>
              <a:solidFill>
                <a:schemeClr val="tx1">
                  <a:alpha val="15000"/>
                </a:schemeClr>
              </a:solidFill>
              <a:ln w="3175" cap="rnd">
                <a:solidFill>
                  <a:schemeClr val="tx1">
                    <a:lumMod val="60000"/>
                    <a:lumOff val="40000"/>
                  </a:schemeClr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97" name="Freeform 81"/>
            <p:cNvSpPr>
              <a:spLocks noEditPoints="1"/>
            </p:cNvSpPr>
            <p:nvPr/>
          </p:nvSpPr>
          <p:spPr bwMode="auto">
            <a:xfrm>
              <a:off x="3052763" y="261938"/>
              <a:ext cx="6097588" cy="6345238"/>
            </a:xfrm>
            <a:custGeom>
              <a:avLst/>
              <a:gdLst>
                <a:gd name="T0" fmla="*/ 1413 w 3841"/>
                <a:gd name="T1" fmla="*/ 228 h 3997"/>
                <a:gd name="T2" fmla="*/ 1413 w 3841"/>
                <a:gd name="T3" fmla="*/ 511 h 3997"/>
                <a:gd name="T4" fmla="*/ 1598 w 3841"/>
                <a:gd name="T5" fmla="*/ 646 h 3997"/>
                <a:gd name="T6" fmla="*/ 1633 w 3841"/>
                <a:gd name="T7" fmla="*/ 859 h 3997"/>
                <a:gd name="T8" fmla="*/ 1796 w 3841"/>
                <a:gd name="T9" fmla="*/ 1023 h 3997"/>
                <a:gd name="T10" fmla="*/ 2222 w 3841"/>
                <a:gd name="T11" fmla="*/ 1165 h 3997"/>
                <a:gd name="T12" fmla="*/ 2542 w 3841"/>
                <a:gd name="T13" fmla="*/ 1228 h 3997"/>
                <a:gd name="T14" fmla="*/ 2677 w 3841"/>
                <a:gd name="T15" fmla="*/ 1044 h 3997"/>
                <a:gd name="T16" fmla="*/ 2854 w 3841"/>
                <a:gd name="T17" fmla="*/ 1172 h 3997"/>
                <a:gd name="T18" fmla="*/ 3188 w 3841"/>
                <a:gd name="T19" fmla="*/ 1108 h 3997"/>
                <a:gd name="T20" fmla="*/ 3287 w 3841"/>
                <a:gd name="T21" fmla="*/ 937 h 3997"/>
                <a:gd name="T22" fmla="*/ 3571 w 3841"/>
                <a:gd name="T23" fmla="*/ 817 h 3997"/>
                <a:gd name="T24" fmla="*/ 3699 w 3841"/>
                <a:gd name="T25" fmla="*/ 881 h 3997"/>
                <a:gd name="T26" fmla="*/ 3827 w 3841"/>
                <a:gd name="T27" fmla="*/ 1072 h 3997"/>
                <a:gd name="T28" fmla="*/ 3599 w 3841"/>
                <a:gd name="T29" fmla="*/ 1221 h 3997"/>
                <a:gd name="T30" fmla="*/ 3514 w 3841"/>
                <a:gd name="T31" fmla="*/ 1569 h 3997"/>
                <a:gd name="T32" fmla="*/ 3422 w 3841"/>
                <a:gd name="T33" fmla="*/ 1818 h 3997"/>
                <a:gd name="T34" fmla="*/ 3294 w 3841"/>
                <a:gd name="T35" fmla="*/ 1640 h 3997"/>
                <a:gd name="T36" fmla="*/ 3159 w 3841"/>
                <a:gd name="T37" fmla="*/ 1661 h 3997"/>
                <a:gd name="T38" fmla="*/ 3259 w 3841"/>
                <a:gd name="T39" fmla="*/ 1434 h 3997"/>
                <a:gd name="T40" fmla="*/ 2932 w 3841"/>
                <a:gd name="T41" fmla="*/ 1385 h 3997"/>
                <a:gd name="T42" fmla="*/ 2826 w 3841"/>
                <a:gd name="T43" fmla="*/ 1257 h 3997"/>
                <a:gd name="T44" fmla="*/ 2740 w 3841"/>
                <a:gd name="T45" fmla="*/ 1228 h 3997"/>
                <a:gd name="T46" fmla="*/ 2819 w 3841"/>
                <a:gd name="T47" fmla="*/ 1413 h 3997"/>
                <a:gd name="T48" fmla="*/ 2811 w 3841"/>
                <a:gd name="T49" fmla="*/ 1583 h 3997"/>
                <a:gd name="T50" fmla="*/ 2875 w 3841"/>
                <a:gd name="T51" fmla="*/ 1832 h 3997"/>
                <a:gd name="T52" fmla="*/ 2833 w 3841"/>
                <a:gd name="T53" fmla="*/ 1867 h 3997"/>
                <a:gd name="T54" fmla="*/ 2811 w 3841"/>
                <a:gd name="T55" fmla="*/ 1903 h 3997"/>
                <a:gd name="T56" fmla="*/ 2733 w 3841"/>
                <a:gd name="T57" fmla="*/ 1846 h 3997"/>
                <a:gd name="T58" fmla="*/ 2584 w 3841"/>
                <a:gd name="T59" fmla="*/ 2144 h 3997"/>
                <a:gd name="T60" fmla="*/ 2414 w 3841"/>
                <a:gd name="T61" fmla="*/ 2201 h 3997"/>
                <a:gd name="T62" fmla="*/ 2329 w 3841"/>
                <a:gd name="T63" fmla="*/ 2322 h 3997"/>
                <a:gd name="T64" fmla="*/ 2116 w 3841"/>
                <a:gd name="T65" fmla="*/ 2556 h 3997"/>
                <a:gd name="T66" fmla="*/ 1867 w 3841"/>
                <a:gd name="T67" fmla="*/ 2748 h 3997"/>
                <a:gd name="T68" fmla="*/ 1676 w 3841"/>
                <a:gd name="T69" fmla="*/ 2925 h 3997"/>
                <a:gd name="T70" fmla="*/ 1718 w 3841"/>
                <a:gd name="T71" fmla="*/ 3216 h 3997"/>
                <a:gd name="T72" fmla="*/ 1626 w 3841"/>
                <a:gd name="T73" fmla="*/ 3656 h 3997"/>
                <a:gd name="T74" fmla="*/ 1534 w 3841"/>
                <a:gd name="T75" fmla="*/ 3812 h 3997"/>
                <a:gd name="T76" fmla="*/ 1186 w 3841"/>
                <a:gd name="T77" fmla="*/ 3862 h 3997"/>
                <a:gd name="T78" fmla="*/ 1165 w 3841"/>
                <a:gd name="T79" fmla="*/ 3777 h 3997"/>
                <a:gd name="T80" fmla="*/ 1044 w 3841"/>
                <a:gd name="T81" fmla="*/ 3493 h 3997"/>
                <a:gd name="T82" fmla="*/ 902 w 3841"/>
                <a:gd name="T83" fmla="*/ 3223 h 3997"/>
                <a:gd name="T84" fmla="*/ 838 w 3841"/>
                <a:gd name="T85" fmla="*/ 3017 h 3997"/>
                <a:gd name="T86" fmla="*/ 767 w 3841"/>
                <a:gd name="T87" fmla="*/ 2889 h 3997"/>
                <a:gd name="T88" fmla="*/ 710 w 3841"/>
                <a:gd name="T89" fmla="*/ 2733 h 3997"/>
                <a:gd name="T90" fmla="*/ 668 w 3841"/>
                <a:gd name="T91" fmla="*/ 2542 h 3997"/>
                <a:gd name="T92" fmla="*/ 639 w 3841"/>
                <a:gd name="T93" fmla="*/ 2393 h 3997"/>
                <a:gd name="T94" fmla="*/ 632 w 3841"/>
                <a:gd name="T95" fmla="*/ 2322 h 3997"/>
                <a:gd name="T96" fmla="*/ 625 w 3841"/>
                <a:gd name="T97" fmla="*/ 2180 h 3997"/>
                <a:gd name="T98" fmla="*/ 625 w 3841"/>
                <a:gd name="T99" fmla="*/ 2031 h 3997"/>
                <a:gd name="T100" fmla="*/ 618 w 3841"/>
                <a:gd name="T101" fmla="*/ 1917 h 3997"/>
                <a:gd name="T102" fmla="*/ 554 w 3841"/>
                <a:gd name="T103" fmla="*/ 1881 h 3997"/>
                <a:gd name="T104" fmla="*/ 561 w 3841"/>
                <a:gd name="T105" fmla="*/ 1967 h 3997"/>
                <a:gd name="T106" fmla="*/ 164 w 3841"/>
                <a:gd name="T107" fmla="*/ 1945 h 3997"/>
                <a:gd name="T108" fmla="*/ 220 w 3841"/>
                <a:gd name="T109" fmla="*/ 1853 h 3997"/>
                <a:gd name="T110" fmla="*/ 235 w 3841"/>
                <a:gd name="T111" fmla="*/ 1782 h 3997"/>
                <a:gd name="T112" fmla="*/ 43 w 3841"/>
                <a:gd name="T113" fmla="*/ 1669 h 3997"/>
                <a:gd name="T114" fmla="*/ 22 w 3841"/>
                <a:gd name="T115" fmla="*/ 1626 h 3997"/>
                <a:gd name="T116" fmla="*/ 391 w 3841"/>
                <a:gd name="T117" fmla="*/ 1541 h 3997"/>
                <a:gd name="T118" fmla="*/ 476 w 3841"/>
                <a:gd name="T119" fmla="*/ 1065 h 3997"/>
                <a:gd name="T120" fmla="*/ 895 w 3841"/>
                <a:gd name="T121" fmla="*/ 604 h 3997"/>
                <a:gd name="T122" fmla="*/ 902 w 3841"/>
                <a:gd name="T123" fmla="*/ 362 h 3997"/>
                <a:gd name="T124" fmla="*/ 831 w 3841"/>
                <a:gd name="T125" fmla="*/ 107 h 39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841" h="3997">
                  <a:moveTo>
                    <a:pt x="2868" y="1945"/>
                  </a:moveTo>
                  <a:lnTo>
                    <a:pt x="2868" y="1945"/>
                  </a:lnTo>
                  <a:lnTo>
                    <a:pt x="2868" y="1945"/>
                  </a:lnTo>
                  <a:lnTo>
                    <a:pt x="2868" y="1945"/>
                  </a:lnTo>
                  <a:lnTo>
                    <a:pt x="2861" y="1945"/>
                  </a:lnTo>
                  <a:lnTo>
                    <a:pt x="2861" y="1945"/>
                  </a:lnTo>
                  <a:lnTo>
                    <a:pt x="2861" y="1938"/>
                  </a:lnTo>
                  <a:lnTo>
                    <a:pt x="2861" y="1931"/>
                  </a:lnTo>
                  <a:lnTo>
                    <a:pt x="2861" y="1938"/>
                  </a:lnTo>
                  <a:lnTo>
                    <a:pt x="2868" y="1938"/>
                  </a:lnTo>
                  <a:lnTo>
                    <a:pt x="2868" y="1938"/>
                  </a:lnTo>
                  <a:lnTo>
                    <a:pt x="2868" y="1938"/>
                  </a:lnTo>
                  <a:lnTo>
                    <a:pt x="2868" y="1945"/>
                  </a:lnTo>
                  <a:lnTo>
                    <a:pt x="2868" y="1945"/>
                  </a:lnTo>
                  <a:moveTo>
                    <a:pt x="2762" y="1938"/>
                  </a:moveTo>
                  <a:lnTo>
                    <a:pt x="2762" y="1938"/>
                  </a:lnTo>
                  <a:lnTo>
                    <a:pt x="2762" y="1938"/>
                  </a:lnTo>
                  <a:lnTo>
                    <a:pt x="2762" y="1938"/>
                  </a:lnTo>
                  <a:lnTo>
                    <a:pt x="2755" y="1938"/>
                  </a:lnTo>
                  <a:lnTo>
                    <a:pt x="2755" y="1938"/>
                  </a:lnTo>
                  <a:lnTo>
                    <a:pt x="2755" y="1931"/>
                  </a:lnTo>
                  <a:lnTo>
                    <a:pt x="2748" y="1931"/>
                  </a:lnTo>
                  <a:lnTo>
                    <a:pt x="2748" y="1931"/>
                  </a:lnTo>
                  <a:lnTo>
                    <a:pt x="2748" y="1931"/>
                  </a:lnTo>
                  <a:lnTo>
                    <a:pt x="2748" y="1924"/>
                  </a:lnTo>
                  <a:lnTo>
                    <a:pt x="2755" y="1910"/>
                  </a:lnTo>
                  <a:lnTo>
                    <a:pt x="2755" y="1903"/>
                  </a:lnTo>
                  <a:lnTo>
                    <a:pt x="2762" y="1903"/>
                  </a:lnTo>
                  <a:lnTo>
                    <a:pt x="2769" y="1917"/>
                  </a:lnTo>
                  <a:lnTo>
                    <a:pt x="2769" y="1924"/>
                  </a:lnTo>
                  <a:lnTo>
                    <a:pt x="2762" y="1931"/>
                  </a:lnTo>
                  <a:lnTo>
                    <a:pt x="2762" y="1931"/>
                  </a:lnTo>
                  <a:lnTo>
                    <a:pt x="2762" y="1931"/>
                  </a:lnTo>
                  <a:lnTo>
                    <a:pt x="2762" y="1938"/>
                  </a:lnTo>
                  <a:moveTo>
                    <a:pt x="2833" y="1903"/>
                  </a:moveTo>
                  <a:lnTo>
                    <a:pt x="2833" y="1903"/>
                  </a:lnTo>
                  <a:lnTo>
                    <a:pt x="2833" y="1910"/>
                  </a:lnTo>
                  <a:lnTo>
                    <a:pt x="2826" y="1910"/>
                  </a:lnTo>
                  <a:lnTo>
                    <a:pt x="2826" y="1910"/>
                  </a:lnTo>
                  <a:lnTo>
                    <a:pt x="2826" y="1910"/>
                  </a:lnTo>
                  <a:lnTo>
                    <a:pt x="2826" y="1903"/>
                  </a:lnTo>
                  <a:lnTo>
                    <a:pt x="2819" y="1903"/>
                  </a:lnTo>
                  <a:lnTo>
                    <a:pt x="2819" y="1903"/>
                  </a:lnTo>
                  <a:lnTo>
                    <a:pt x="2819" y="1903"/>
                  </a:lnTo>
                  <a:lnTo>
                    <a:pt x="2826" y="1896"/>
                  </a:lnTo>
                  <a:lnTo>
                    <a:pt x="2826" y="1896"/>
                  </a:lnTo>
                  <a:lnTo>
                    <a:pt x="2826" y="1889"/>
                  </a:lnTo>
                  <a:lnTo>
                    <a:pt x="2826" y="1889"/>
                  </a:lnTo>
                  <a:lnTo>
                    <a:pt x="2833" y="1889"/>
                  </a:lnTo>
                  <a:lnTo>
                    <a:pt x="2833" y="1889"/>
                  </a:lnTo>
                  <a:lnTo>
                    <a:pt x="2833" y="1896"/>
                  </a:lnTo>
                  <a:lnTo>
                    <a:pt x="2833" y="1896"/>
                  </a:lnTo>
                  <a:lnTo>
                    <a:pt x="2833" y="1903"/>
                  </a:lnTo>
                  <a:moveTo>
                    <a:pt x="2755" y="1903"/>
                  </a:moveTo>
                  <a:lnTo>
                    <a:pt x="2755" y="1903"/>
                  </a:lnTo>
                  <a:lnTo>
                    <a:pt x="2755" y="1903"/>
                  </a:lnTo>
                  <a:lnTo>
                    <a:pt x="2755" y="1903"/>
                  </a:lnTo>
                  <a:lnTo>
                    <a:pt x="2748" y="1903"/>
                  </a:lnTo>
                  <a:lnTo>
                    <a:pt x="2755" y="1896"/>
                  </a:lnTo>
                  <a:lnTo>
                    <a:pt x="2755" y="1896"/>
                  </a:lnTo>
                  <a:lnTo>
                    <a:pt x="2755" y="1896"/>
                  </a:lnTo>
                  <a:lnTo>
                    <a:pt x="2755" y="1889"/>
                  </a:lnTo>
                  <a:lnTo>
                    <a:pt x="2755" y="1889"/>
                  </a:lnTo>
                  <a:lnTo>
                    <a:pt x="2755" y="1889"/>
                  </a:lnTo>
                  <a:lnTo>
                    <a:pt x="2762" y="1896"/>
                  </a:lnTo>
                  <a:lnTo>
                    <a:pt x="2755" y="1896"/>
                  </a:lnTo>
                  <a:lnTo>
                    <a:pt x="2755" y="1903"/>
                  </a:lnTo>
                  <a:moveTo>
                    <a:pt x="1292" y="7"/>
                  </a:moveTo>
                  <a:lnTo>
                    <a:pt x="1292" y="7"/>
                  </a:lnTo>
                  <a:lnTo>
                    <a:pt x="1292" y="7"/>
                  </a:lnTo>
                  <a:lnTo>
                    <a:pt x="1299" y="7"/>
                  </a:lnTo>
                  <a:lnTo>
                    <a:pt x="1307" y="0"/>
                  </a:lnTo>
                  <a:lnTo>
                    <a:pt x="1307" y="0"/>
                  </a:lnTo>
                  <a:lnTo>
                    <a:pt x="1314" y="0"/>
                  </a:lnTo>
                  <a:lnTo>
                    <a:pt x="1314" y="0"/>
                  </a:lnTo>
                  <a:lnTo>
                    <a:pt x="1314" y="7"/>
                  </a:lnTo>
                  <a:lnTo>
                    <a:pt x="1314" y="15"/>
                  </a:lnTo>
                  <a:lnTo>
                    <a:pt x="1307" y="29"/>
                  </a:lnTo>
                  <a:lnTo>
                    <a:pt x="1314" y="36"/>
                  </a:lnTo>
                  <a:lnTo>
                    <a:pt x="1328" y="57"/>
                  </a:lnTo>
                  <a:lnTo>
                    <a:pt x="1328" y="64"/>
                  </a:lnTo>
                  <a:lnTo>
                    <a:pt x="1328" y="71"/>
                  </a:lnTo>
                  <a:lnTo>
                    <a:pt x="1328" y="78"/>
                  </a:lnTo>
                  <a:lnTo>
                    <a:pt x="1335" y="86"/>
                  </a:lnTo>
                  <a:lnTo>
                    <a:pt x="1335" y="86"/>
                  </a:lnTo>
                  <a:lnTo>
                    <a:pt x="1349" y="114"/>
                  </a:lnTo>
                  <a:lnTo>
                    <a:pt x="1349" y="114"/>
                  </a:lnTo>
                  <a:lnTo>
                    <a:pt x="1356" y="121"/>
                  </a:lnTo>
                  <a:lnTo>
                    <a:pt x="1363" y="121"/>
                  </a:lnTo>
                  <a:lnTo>
                    <a:pt x="1385" y="128"/>
                  </a:lnTo>
                  <a:lnTo>
                    <a:pt x="1399" y="128"/>
                  </a:lnTo>
                  <a:lnTo>
                    <a:pt x="1406" y="135"/>
                  </a:lnTo>
                  <a:lnTo>
                    <a:pt x="1413" y="142"/>
                  </a:lnTo>
                  <a:lnTo>
                    <a:pt x="1420" y="149"/>
                  </a:lnTo>
                  <a:lnTo>
                    <a:pt x="1420" y="149"/>
                  </a:lnTo>
                  <a:lnTo>
                    <a:pt x="1427" y="149"/>
                  </a:lnTo>
                  <a:lnTo>
                    <a:pt x="1434" y="149"/>
                  </a:lnTo>
                  <a:lnTo>
                    <a:pt x="1434" y="157"/>
                  </a:lnTo>
                  <a:lnTo>
                    <a:pt x="1434" y="164"/>
                  </a:lnTo>
                  <a:lnTo>
                    <a:pt x="1434" y="164"/>
                  </a:lnTo>
                  <a:lnTo>
                    <a:pt x="1434" y="171"/>
                  </a:lnTo>
                  <a:lnTo>
                    <a:pt x="1434" y="171"/>
                  </a:lnTo>
                  <a:lnTo>
                    <a:pt x="1427" y="178"/>
                  </a:lnTo>
                  <a:lnTo>
                    <a:pt x="1413" y="185"/>
                  </a:lnTo>
                  <a:lnTo>
                    <a:pt x="1406" y="192"/>
                  </a:lnTo>
                  <a:lnTo>
                    <a:pt x="1406" y="199"/>
                  </a:lnTo>
                  <a:lnTo>
                    <a:pt x="1413" y="220"/>
                  </a:lnTo>
                  <a:lnTo>
                    <a:pt x="1413" y="228"/>
                  </a:lnTo>
                  <a:lnTo>
                    <a:pt x="1413" y="235"/>
                  </a:lnTo>
                  <a:lnTo>
                    <a:pt x="1413" y="263"/>
                  </a:lnTo>
                  <a:lnTo>
                    <a:pt x="1420" y="270"/>
                  </a:lnTo>
                  <a:lnTo>
                    <a:pt x="1420" y="277"/>
                  </a:lnTo>
                  <a:lnTo>
                    <a:pt x="1434" y="284"/>
                  </a:lnTo>
                  <a:lnTo>
                    <a:pt x="1441" y="298"/>
                  </a:lnTo>
                  <a:lnTo>
                    <a:pt x="1441" y="298"/>
                  </a:lnTo>
                  <a:lnTo>
                    <a:pt x="1448" y="298"/>
                  </a:lnTo>
                  <a:lnTo>
                    <a:pt x="1448" y="298"/>
                  </a:lnTo>
                  <a:lnTo>
                    <a:pt x="1448" y="298"/>
                  </a:lnTo>
                  <a:lnTo>
                    <a:pt x="1456" y="298"/>
                  </a:lnTo>
                  <a:lnTo>
                    <a:pt x="1456" y="306"/>
                  </a:lnTo>
                  <a:lnTo>
                    <a:pt x="1456" y="306"/>
                  </a:lnTo>
                  <a:lnTo>
                    <a:pt x="1456" y="306"/>
                  </a:lnTo>
                  <a:lnTo>
                    <a:pt x="1463" y="306"/>
                  </a:lnTo>
                  <a:lnTo>
                    <a:pt x="1463" y="306"/>
                  </a:lnTo>
                  <a:lnTo>
                    <a:pt x="1477" y="313"/>
                  </a:lnTo>
                  <a:lnTo>
                    <a:pt x="1477" y="313"/>
                  </a:lnTo>
                  <a:lnTo>
                    <a:pt x="1491" y="313"/>
                  </a:lnTo>
                  <a:lnTo>
                    <a:pt x="1491" y="313"/>
                  </a:lnTo>
                  <a:lnTo>
                    <a:pt x="1491" y="320"/>
                  </a:lnTo>
                  <a:lnTo>
                    <a:pt x="1491" y="320"/>
                  </a:lnTo>
                  <a:lnTo>
                    <a:pt x="1491" y="327"/>
                  </a:lnTo>
                  <a:lnTo>
                    <a:pt x="1491" y="327"/>
                  </a:lnTo>
                  <a:lnTo>
                    <a:pt x="1491" y="334"/>
                  </a:lnTo>
                  <a:lnTo>
                    <a:pt x="1491" y="341"/>
                  </a:lnTo>
                  <a:lnTo>
                    <a:pt x="1491" y="341"/>
                  </a:lnTo>
                  <a:lnTo>
                    <a:pt x="1491" y="348"/>
                  </a:lnTo>
                  <a:lnTo>
                    <a:pt x="1498" y="355"/>
                  </a:lnTo>
                  <a:lnTo>
                    <a:pt x="1498" y="355"/>
                  </a:lnTo>
                  <a:lnTo>
                    <a:pt x="1505" y="362"/>
                  </a:lnTo>
                  <a:lnTo>
                    <a:pt x="1505" y="362"/>
                  </a:lnTo>
                  <a:lnTo>
                    <a:pt x="1505" y="369"/>
                  </a:lnTo>
                  <a:lnTo>
                    <a:pt x="1512" y="369"/>
                  </a:lnTo>
                  <a:lnTo>
                    <a:pt x="1512" y="377"/>
                  </a:lnTo>
                  <a:lnTo>
                    <a:pt x="1512" y="384"/>
                  </a:lnTo>
                  <a:lnTo>
                    <a:pt x="1505" y="384"/>
                  </a:lnTo>
                  <a:lnTo>
                    <a:pt x="1505" y="391"/>
                  </a:lnTo>
                  <a:lnTo>
                    <a:pt x="1491" y="405"/>
                  </a:lnTo>
                  <a:lnTo>
                    <a:pt x="1484" y="405"/>
                  </a:lnTo>
                  <a:lnTo>
                    <a:pt x="1484" y="405"/>
                  </a:lnTo>
                  <a:lnTo>
                    <a:pt x="1484" y="405"/>
                  </a:lnTo>
                  <a:lnTo>
                    <a:pt x="1477" y="405"/>
                  </a:lnTo>
                  <a:lnTo>
                    <a:pt x="1477" y="405"/>
                  </a:lnTo>
                  <a:lnTo>
                    <a:pt x="1470" y="405"/>
                  </a:lnTo>
                  <a:lnTo>
                    <a:pt x="1470" y="405"/>
                  </a:lnTo>
                  <a:lnTo>
                    <a:pt x="1463" y="412"/>
                  </a:lnTo>
                  <a:lnTo>
                    <a:pt x="1463" y="412"/>
                  </a:lnTo>
                  <a:lnTo>
                    <a:pt x="1463" y="412"/>
                  </a:lnTo>
                  <a:lnTo>
                    <a:pt x="1463" y="419"/>
                  </a:lnTo>
                  <a:lnTo>
                    <a:pt x="1456" y="426"/>
                  </a:lnTo>
                  <a:lnTo>
                    <a:pt x="1456" y="426"/>
                  </a:lnTo>
                  <a:lnTo>
                    <a:pt x="1456" y="426"/>
                  </a:lnTo>
                  <a:lnTo>
                    <a:pt x="1456" y="426"/>
                  </a:lnTo>
                  <a:lnTo>
                    <a:pt x="1448" y="426"/>
                  </a:lnTo>
                  <a:lnTo>
                    <a:pt x="1448" y="426"/>
                  </a:lnTo>
                  <a:lnTo>
                    <a:pt x="1448" y="426"/>
                  </a:lnTo>
                  <a:lnTo>
                    <a:pt x="1441" y="426"/>
                  </a:lnTo>
                  <a:lnTo>
                    <a:pt x="1441" y="426"/>
                  </a:lnTo>
                  <a:lnTo>
                    <a:pt x="1434" y="426"/>
                  </a:lnTo>
                  <a:lnTo>
                    <a:pt x="1434" y="419"/>
                  </a:lnTo>
                  <a:lnTo>
                    <a:pt x="1420" y="412"/>
                  </a:lnTo>
                  <a:lnTo>
                    <a:pt x="1420" y="412"/>
                  </a:lnTo>
                  <a:lnTo>
                    <a:pt x="1413" y="405"/>
                  </a:lnTo>
                  <a:lnTo>
                    <a:pt x="1413" y="398"/>
                  </a:lnTo>
                  <a:lnTo>
                    <a:pt x="1413" y="398"/>
                  </a:lnTo>
                  <a:lnTo>
                    <a:pt x="1413" y="398"/>
                  </a:lnTo>
                  <a:lnTo>
                    <a:pt x="1413" y="391"/>
                  </a:lnTo>
                  <a:lnTo>
                    <a:pt x="1413" y="391"/>
                  </a:lnTo>
                  <a:lnTo>
                    <a:pt x="1413" y="391"/>
                  </a:lnTo>
                  <a:lnTo>
                    <a:pt x="1406" y="391"/>
                  </a:lnTo>
                  <a:lnTo>
                    <a:pt x="1406" y="391"/>
                  </a:lnTo>
                  <a:lnTo>
                    <a:pt x="1406" y="398"/>
                  </a:lnTo>
                  <a:lnTo>
                    <a:pt x="1399" y="398"/>
                  </a:lnTo>
                  <a:lnTo>
                    <a:pt x="1399" y="398"/>
                  </a:lnTo>
                  <a:lnTo>
                    <a:pt x="1378" y="398"/>
                  </a:lnTo>
                  <a:lnTo>
                    <a:pt x="1370" y="398"/>
                  </a:lnTo>
                  <a:lnTo>
                    <a:pt x="1370" y="405"/>
                  </a:lnTo>
                  <a:lnTo>
                    <a:pt x="1370" y="405"/>
                  </a:lnTo>
                  <a:lnTo>
                    <a:pt x="1370" y="412"/>
                  </a:lnTo>
                  <a:lnTo>
                    <a:pt x="1378" y="419"/>
                  </a:lnTo>
                  <a:lnTo>
                    <a:pt x="1378" y="419"/>
                  </a:lnTo>
                  <a:lnTo>
                    <a:pt x="1378" y="419"/>
                  </a:lnTo>
                  <a:lnTo>
                    <a:pt x="1378" y="419"/>
                  </a:lnTo>
                  <a:lnTo>
                    <a:pt x="1378" y="426"/>
                  </a:lnTo>
                  <a:lnTo>
                    <a:pt x="1378" y="426"/>
                  </a:lnTo>
                  <a:lnTo>
                    <a:pt x="1378" y="426"/>
                  </a:lnTo>
                  <a:lnTo>
                    <a:pt x="1378" y="426"/>
                  </a:lnTo>
                  <a:lnTo>
                    <a:pt x="1385" y="440"/>
                  </a:lnTo>
                  <a:lnTo>
                    <a:pt x="1385" y="440"/>
                  </a:lnTo>
                  <a:lnTo>
                    <a:pt x="1378" y="448"/>
                  </a:lnTo>
                  <a:lnTo>
                    <a:pt x="1385" y="448"/>
                  </a:lnTo>
                  <a:lnTo>
                    <a:pt x="1385" y="448"/>
                  </a:lnTo>
                  <a:lnTo>
                    <a:pt x="1392" y="448"/>
                  </a:lnTo>
                  <a:lnTo>
                    <a:pt x="1392" y="455"/>
                  </a:lnTo>
                  <a:lnTo>
                    <a:pt x="1392" y="455"/>
                  </a:lnTo>
                  <a:lnTo>
                    <a:pt x="1406" y="476"/>
                  </a:lnTo>
                  <a:lnTo>
                    <a:pt x="1413" y="476"/>
                  </a:lnTo>
                  <a:lnTo>
                    <a:pt x="1413" y="476"/>
                  </a:lnTo>
                  <a:lnTo>
                    <a:pt x="1420" y="483"/>
                  </a:lnTo>
                  <a:lnTo>
                    <a:pt x="1420" y="483"/>
                  </a:lnTo>
                  <a:lnTo>
                    <a:pt x="1420" y="483"/>
                  </a:lnTo>
                  <a:lnTo>
                    <a:pt x="1413" y="490"/>
                  </a:lnTo>
                  <a:lnTo>
                    <a:pt x="1413" y="497"/>
                  </a:lnTo>
                  <a:lnTo>
                    <a:pt x="1413" y="497"/>
                  </a:lnTo>
                  <a:lnTo>
                    <a:pt x="1413" y="504"/>
                  </a:lnTo>
                  <a:lnTo>
                    <a:pt x="1413" y="504"/>
                  </a:lnTo>
                  <a:lnTo>
                    <a:pt x="1413" y="511"/>
                  </a:lnTo>
                  <a:lnTo>
                    <a:pt x="1413" y="511"/>
                  </a:lnTo>
                  <a:lnTo>
                    <a:pt x="1413" y="511"/>
                  </a:lnTo>
                  <a:lnTo>
                    <a:pt x="1413" y="519"/>
                  </a:lnTo>
                  <a:lnTo>
                    <a:pt x="1413" y="519"/>
                  </a:lnTo>
                  <a:lnTo>
                    <a:pt x="1413" y="519"/>
                  </a:lnTo>
                  <a:lnTo>
                    <a:pt x="1413" y="519"/>
                  </a:lnTo>
                  <a:lnTo>
                    <a:pt x="1420" y="526"/>
                  </a:lnTo>
                  <a:lnTo>
                    <a:pt x="1420" y="526"/>
                  </a:lnTo>
                  <a:lnTo>
                    <a:pt x="1420" y="526"/>
                  </a:lnTo>
                  <a:lnTo>
                    <a:pt x="1420" y="526"/>
                  </a:lnTo>
                  <a:lnTo>
                    <a:pt x="1420" y="526"/>
                  </a:lnTo>
                  <a:lnTo>
                    <a:pt x="1427" y="526"/>
                  </a:lnTo>
                  <a:lnTo>
                    <a:pt x="1427" y="533"/>
                  </a:lnTo>
                  <a:lnTo>
                    <a:pt x="1427" y="533"/>
                  </a:lnTo>
                  <a:lnTo>
                    <a:pt x="1427" y="533"/>
                  </a:lnTo>
                  <a:lnTo>
                    <a:pt x="1413" y="547"/>
                  </a:lnTo>
                  <a:lnTo>
                    <a:pt x="1413" y="547"/>
                  </a:lnTo>
                  <a:lnTo>
                    <a:pt x="1420" y="554"/>
                  </a:lnTo>
                  <a:lnTo>
                    <a:pt x="1427" y="554"/>
                  </a:lnTo>
                  <a:lnTo>
                    <a:pt x="1427" y="561"/>
                  </a:lnTo>
                  <a:lnTo>
                    <a:pt x="1420" y="568"/>
                  </a:lnTo>
                  <a:lnTo>
                    <a:pt x="1420" y="568"/>
                  </a:lnTo>
                  <a:lnTo>
                    <a:pt x="1420" y="575"/>
                  </a:lnTo>
                  <a:lnTo>
                    <a:pt x="1420" y="575"/>
                  </a:lnTo>
                  <a:lnTo>
                    <a:pt x="1420" y="575"/>
                  </a:lnTo>
                  <a:lnTo>
                    <a:pt x="1427" y="575"/>
                  </a:lnTo>
                  <a:lnTo>
                    <a:pt x="1427" y="575"/>
                  </a:lnTo>
                  <a:lnTo>
                    <a:pt x="1434" y="575"/>
                  </a:lnTo>
                  <a:lnTo>
                    <a:pt x="1434" y="575"/>
                  </a:lnTo>
                  <a:lnTo>
                    <a:pt x="1434" y="575"/>
                  </a:lnTo>
                  <a:lnTo>
                    <a:pt x="1441" y="575"/>
                  </a:lnTo>
                  <a:lnTo>
                    <a:pt x="1441" y="575"/>
                  </a:lnTo>
                  <a:lnTo>
                    <a:pt x="1441" y="575"/>
                  </a:lnTo>
                  <a:lnTo>
                    <a:pt x="1441" y="568"/>
                  </a:lnTo>
                  <a:lnTo>
                    <a:pt x="1448" y="568"/>
                  </a:lnTo>
                  <a:lnTo>
                    <a:pt x="1448" y="568"/>
                  </a:lnTo>
                  <a:lnTo>
                    <a:pt x="1456" y="575"/>
                  </a:lnTo>
                  <a:lnTo>
                    <a:pt x="1456" y="568"/>
                  </a:lnTo>
                  <a:lnTo>
                    <a:pt x="1456" y="561"/>
                  </a:lnTo>
                  <a:lnTo>
                    <a:pt x="1456" y="554"/>
                  </a:lnTo>
                  <a:lnTo>
                    <a:pt x="1463" y="554"/>
                  </a:lnTo>
                  <a:lnTo>
                    <a:pt x="1463" y="554"/>
                  </a:lnTo>
                  <a:lnTo>
                    <a:pt x="1470" y="561"/>
                  </a:lnTo>
                  <a:lnTo>
                    <a:pt x="1470" y="561"/>
                  </a:lnTo>
                  <a:lnTo>
                    <a:pt x="1477" y="561"/>
                  </a:lnTo>
                  <a:lnTo>
                    <a:pt x="1477" y="568"/>
                  </a:lnTo>
                  <a:lnTo>
                    <a:pt x="1477" y="568"/>
                  </a:lnTo>
                  <a:lnTo>
                    <a:pt x="1477" y="568"/>
                  </a:lnTo>
                  <a:lnTo>
                    <a:pt x="1477" y="568"/>
                  </a:lnTo>
                  <a:lnTo>
                    <a:pt x="1477" y="568"/>
                  </a:lnTo>
                  <a:lnTo>
                    <a:pt x="1484" y="568"/>
                  </a:lnTo>
                  <a:lnTo>
                    <a:pt x="1484" y="575"/>
                  </a:lnTo>
                  <a:lnTo>
                    <a:pt x="1477" y="575"/>
                  </a:lnTo>
                  <a:lnTo>
                    <a:pt x="1477" y="575"/>
                  </a:lnTo>
                  <a:lnTo>
                    <a:pt x="1484" y="575"/>
                  </a:lnTo>
                  <a:lnTo>
                    <a:pt x="1484" y="575"/>
                  </a:lnTo>
                  <a:lnTo>
                    <a:pt x="1484" y="582"/>
                  </a:lnTo>
                  <a:lnTo>
                    <a:pt x="1484" y="582"/>
                  </a:lnTo>
                  <a:lnTo>
                    <a:pt x="1484" y="582"/>
                  </a:lnTo>
                  <a:lnTo>
                    <a:pt x="1484" y="582"/>
                  </a:lnTo>
                  <a:lnTo>
                    <a:pt x="1484" y="582"/>
                  </a:lnTo>
                  <a:lnTo>
                    <a:pt x="1484" y="582"/>
                  </a:lnTo>
                  <a:lnTo>
                    <a:pt x="1491" y="582"/>
                  </a:lnTo>
                  <a:lnTo>
                    <a:pt x="1491" y="590"/>
                  </a:lnTo>
                  <a:lnTo>
                    <a:pt x="1491" y="590"/>
                  </a:lnTo>
                  <a:lnTo>
                    <a:pt x="1491" y="590"/>
                  </a:lnTo>
                  <a:lnTo>
                    <a:pt x="1491" y="597"/>
                  </a:lnTo>
                  <a:lnTo>
                    <a:pt x="1491" y="597"/>
                  </a:lnTo>
                  <a:lnTo>
                    <a:pt x="1491" y="597"/>
                  </a:lnTo>
                  <a:lnTo>
                    <a:pt x="1498" y="604"/>
                  </a:lnTo>
                  <a:lnTo>
                    <a:pt x="1498" y="604"/>
                  </a:lnTo>
                  <a:lnTo>
                    <a:pt x="1505" y="604"/>
                  </a:lnTo>
                  <a:lnTo>
                    <a:pt x="1505" y="604"/>
                  </a:lnTo>
                  <a:lnTo>
                    <a:pt x="1505" y="611"/>
                  </a:lnTo>
                  <a:lnTo>
                    <a:pt x="1505" y="611"/>
                  </a:lnTo>
                  <a:lnTo>
                    <a:pt x="1512" y="611"/>
                  </a:lnTo>
                  <a:lnTo>
                    <a:pt x="1512" y="611"/>
                  </a:lnTo>
                  <a:lnTo>
                    <a:pt x="1512" y="611"/>
                  </a:lnTo>
                  <a:lnTo>
                    <a:pt x="1519" y="611"/>
                  </a:lnTo>
                  <a:lnTo>
                    <a:pt x="1519" y="611"/>
                  </a:lnTo>
                  <a:lnTo>
                    <a:pt x="1519" y="618"/>
                  </a:lnTo>
                  <a:lnTo>
                    <a:pt x="1519" y="618"/>
                  </a:lnTo>
                  <a:lnTo>
                    <a:pt x="1519" y="618"/>
                  </a:lnTo>
                  <a:lnTo>
                    <a:pt x="1519" y="618"/>
                  </a:lnTo>
                  <a:lnTo>
                    <a:pt x="1519" y="618"/>
                  </a:lnTo>
                  <a:lnTo>
                    <a:pt x="1519" y="618"/>
                  </a:lnTo>
                  <a:lnTo>
                    <a:pt x="1527" y="625"/>
                  </a:lnTo>
                  <a:lnTo>
                    <a:pt x="1527" y="625"/>
                  </a:lnTo>
                  <a:lnTo>
                    <a:pt x="1527" y="625"/>
                  </a:lnTo>
                  <a:lnTo>
                    <a:pt x="1534" y="625"/>
                  </a:lnTo>
                  <a:lnTo>
                    <a:pt x="1534" y="625"/>
                  </a:lnTo>
                  <a:lnTo>
                    <a:pt x="1541" y="618"/>
                  </a:lnTo>
                  <a:lnTo>
                    <a:pt x="1541" y="618"/>
                  </a:lnTo>
                  <a:lnTo>
                    <a:pt x="1548" y="618"/>
                  </a:lnTo>
                  <a:lnTo>
                    <a:pt x="1555" y="618"/>
                  </a:lnTo>
                  <a:lnTo>
                    <a:pt x="1555" y="618"/>
                  </a:lnTo>
                  <a:lnTo>
                    <a:pt x="1562" y="618"/>
                  </a:lnTo>
                  <a:lnTo>
                    <a:pt x="1569" y="625"/>
                  </a:lnTo>
                  <a:lnTo>
                    <a:pt x="1569" y="625"/>
                  </a:lnTo>
                  <a:lnTo>
                    <a:pt x="1569" y="625"/>
                  </a:lnTo>
                  <a:lnTo>
                    <a:pt x="1576" y="632"/>
                  </a:lnTo>
                  <a:lnTo>
                    <a:pt x="1576" y="632"/>
                  </a:lnTo>
                  <a:lnTo>
                    <a:pt x="1590" y="639"/>
                  </a:lnTo>
                  <a:lnTo>
                    <a:pt x="1590" y="639"/>
                  </a:lnTo>
                  <a:lnTo>
                    <a:pt x="1590" y="639"/>
                  </a:lnTo>
                  <a:lnTo>
                    <a:pt x="1598" y="646"/>
                  </a:lnTo>
                  <a:lnTo>
                    <a:pt x="1598" y="646"/>
                  </a:lnTo>
                  <a:lnTo>
                    <a:pt x="1598" y="646"/>
                  </a:lnTo>
                  <a:lnTo>
                    <a:pt x="1605" y="646"/>
                  </a:lnTo>
                  <a:lnTo>
                    <a:pt x="1605" y="646"/>
                  </a:lnTo>
                  <a:lnTo>
                    <a:pt x="1612" y="646"/>
                  </a:lnTo>
                  <a:lnTo>
                    <a:pt x="1612" y="653"/>
                  </a:lnTo>
                  <a:lnTo>
                    <a:pt x="1619" y="653"/>
                  </a:lnTo>
                  <a:lnTo>
                    <a:pt x="1619" y="653"/>
                  </a:lnTo>
                  <a:lnTo>
                    <a:pt x="1612" y="661"/>
                  </a:lnTo>
                  <a:lnTo>
                    <a:pt x="1612" y="661"/>
                  </a:lnTo>
                  <a:lnTo>
                    <a:pt x="1612" y="661"/>
                  </a:lnTo>
                  <a:lnTo>
                    <a:pt x="1612" y="661"/>
                  </a:lnTo>
                  <a:lnTo>
                    <a:pt x="1612" y="661"/>
                  </a:lnTo>
                  <a:lnTo>
                    <a:pt x="1612" y="661"/>
                  </a:lnTo>
                  <a:lnTo>
                    <a:pt x="1612" y="661"/>
                  </a:lnTo>
                  <a:lnTo>
                    <a:pt x="1612" y="668"/>
                  </a:lnTo>
                  <a:lnTo>
                    <a:pt x="1612" y="668"/>
                  </a:lnTo>
                  <a:lnTo>
                    <a:pt x="1612" y="668"/>
                  </a:lnTo>
                  <a:lnTo>
                    <a:pt x="1612" y="668"/>
                  </a:lnTo>
                  <a:lnTo>
                    <a:pt x="1612" y="675"/>
                  </a:lnTo>
                  <a:lnTo>
                    <a:pt x="1612" y="675"/>
                  </a:lnTo>
                  <a:lnTo>
                    <a:pt x="1612" y="675"/>
                  </a:lnTo>
                  <a:lnTo>
                    <a:pt x="1619" y="675"/>
                  </a:lnTo>
                  <a:lnTo>
                    <a:pt x="1619" y="675"/>
                  </a:lnTo>
                  <a:lnTo>
                    <a:pt x="1633" y="682"/>
                  </a:lnTo>
                  <a:lnTo>
                    <a:pt x="1640" y="682"/>
                  </a:lnTo>
                  <a:lnTo>
                    <a:pt x="1647" y="689"/>
                  </a:lnTo>
                  <a:lnTo>
                    <a:pt x="1654" y="689"/>
                  </a:lnTo>
                  <a:lnTo>
                    <a:pt x="1654" y="689"/>
                  </a:lnTo>
                  <a:lnTo>
                    <a:pt x="1661" y="689"/>
                  </a:lnTo>
                  <a:lnTo>
                    <a:pt x="1661" y="689"/>
                  </a:lnTo>
                  <a:lnTo>
                    <a:pt x="1661" y="689"/>
                  </a:lnTo>
                  <a:lnTo>
                    <a:pt x="1669" y="689"/>
                  </a:lnTo>
                  <a:lnTo>
                    <a:pt x="1676" y="696"/>
                  </a:lnTo>
                  <a:lnTo>
                    <a:pt x="1683" y="696"/>
                  </a:lnTo>
                  <a:lnTo>
                    <a:pt x="1683" y="703"/>
                  </a:lnTo>
                  <a:lnTo>
                    <a:pt x="1690" y="703"/>
                  </a:lnTo>
                  <a:lnTo>
                    <a:pt x="1690" y="710"/>
                  </a:lnTo>
                  <a:lnTo>
                    <a:pt x="1690" y="710"/>
                  </a:lnTo>
                  <a:lnTo>
                    <a:pt x="1704" y="710"/>
                  </a:lnTo>
                  <a:lnTo>
                    <a:pt x="1711" y="717"/>
                  </a:lnTo>
                  <a:lnTo>
                    <a:pt x="1718" y="717"/>
                  </a:lnTo>
                  <a:lnTo>
                    <a:pt x="1718" y="724"/>
                  </a:lnTo>
                  <a:lnTo>
                    <a:pt x="1718" y="724"/>
                  </a:lnTo>
                  <a:lnTo>
                    <a:pt x="1718" y="724"/>
                  </a:lnTo>
                  <a:lnTo>
                    <a:pt x="1718" y="724"/>
                  </a:lnTo>
                  <a:lnTo>
                    <a:pt x="1718" y="724"/>
                  </a:lnTo>
                  <a:lnTo>
                    <a:pt x="1718" y="724"/>
                  </a:lnTo>
                  <a:lnTo>
                    <a:pt x="1711" y="732"/>
                  </a:lnTo>
                  <a:lnTo>
                    <a:pt x="1711" y="732"/>
                  </a:lnTo>
                  <a:lnTo>
                    <a:pt x="1704" y="724"/>
                  </a:lnTo>
                  <a:lnTo>
                    <a:pt x="1704" y="724"/>
                  </a:lnTo>
                  <a:lnTo>
                    <a:pt x="1704" y="724"/>
                  </a:lnTo>
                  <a:lnTo>
                    <a:pt x="1704" y="732"/>
                  </a:lnTo>
                  <a:lnTo>
                    <a:pt x="1697" y="732"/>
                  </a:lnTo>
                  <a:lnTo>
                    <a:pt x="1704" y="732"/>
                  </a:lnTo>
                  <a:lnTo>
                    <a:pt x="1697" y="739"/>
                  </a:lnTo>
                  <a:lnTo>
                    <a:pt x="1690" y="746"/>
                  </a:lnTo>
                  <a:lnTo>
                    <a:pt x="1690" y="746"/>
                  </a:lnTo>
                  <a:lnTo>
                    <a:pt x="1683" y="753"/>
                  </a:lnTo>
                  <a:lnTo>
                    <a:pt x="1683" y="753"/>
                  </a:lnTo>
                  <a:lnTo>
                    <a:pt x="1683" y="753"/>
                  </a:lnTo>
                  <a:lnTo>
                    <a:pt x="1676" y="760"/>
                  </a:lnTo>
                  <a:lnTo>
                    <a:pt x="1676" y="760"/>
                  </a:lnTo>
                  <a:lnTo>
                    <a:pt x="1676" y="760"/>
                  </a:lnTo>
                  <a:lnTo>
                    <a:pt x="1669" y="760"/>
                  </a:lnTo>
                  <a:lnTo>
                    <a:pt x="1669" y="760"/>
                  </a:lnTo>
                  <a:lnTo>
                    <a:pt x="1669" y="767"/>
                  </a:lnTo>
                  <a:lnTo>
                    <a:pt x="1661" y="767"/>
                  </a:lnTo>
                  <a:lnTo>
                    <a:pt x="1661" y="774"/>
                  </a:lnTo>
                  <a:lnTo>
                    <a:pt x="1654" y="781"/>
                  </a:lnTo>
                  <a:lnTo>
                    <a:pt x="1654" y="788"/>
                  </a:lnTo>
                  <a:lnTo>
                    <a:pt x="1647" y="788"/>
                  </a:lnTo>
                  <a:lnTo>
                    <a:pt x="1640" y="788"/>
                  </a:lnTo>
                  <a:lnTo>
                    <a:pt x="1640" y="795"/>
                  </a:lnTo>
                  <a:lnTo>
                    <a:pt x="1640" y="795"/>
                  </a:lnTo>
                  <a:lnTo>
                    <a:pt x="1640" y="802"/>
                  </a:lnTo>
                  <a:lnTo>
                    <a:pt x="1640" y="802"/>
                  </a:lnTo>
                  <a:lnTo>
                    <a:pt x="1647" y="810"/>
                  </a:lnTo>
                  <a:lnTo>
                    <a:pt x="1647" y="810"/>
                  </a:lnTo>
                  <a:lnTo>
                    <a:pt x="1640" y="817"/>
                  </a:lnTo>
                  <a:lnTo>
                    <a:pt x="1640" y="817"/>
                  </a:lnTo>
                  <a:lnTo>
                    <a:pt x="1640" y="817"/>
                  </a:lnTo>
                  <a:lnTo>
                    <a:pt x="1640" y="817"/>
                  </a:lnTo>
                  <a:lnTo>
                    <a:pt x="1640" y="817"/>
                  </a:lnTo>
                  <a:lnTo>
                    <a:pt x="1640" y="824"/>
                  </a:lnTo>
                  <a:lnTo>
                    <a:pt x="1640" y="824"/>
                  </a:lnTo>
                  <a:lnTo>
                    <a:pt x="1640" y="824"/>
                  </a:lnTo>
                  <a:lnTo>
                    <a:pt x="1640" y="824"/>
                  </a:lnTo>
                  <a:lnTo>
                    <a:pt x="1640" y="824"/>
                  </a:lnTo>
                  <a:lnTo>
                    <a:pt x="1633" y="824"/>
                  </a:lnTo>
                  <a:lnTo>
                    <a:pt x="1633" y="824"/>
                  </a:lnTo>
                  <a:lnTo>
                    <a:pt x="1633" y="824"/>
                  </a:lnTo>
                  <a:lnTo>
                    <a:pt x="1633" y="831"/>
                  </a:lnTo>
                  <a:lnTo>
                    <a:pt x="1633" y="831"/>
                  </a:lnTo>
                  <a:lnTo>
                    <a:pt x="1633" y="831"/>
                  </a:lnTo>
                  <a:lnTo>
                    <a:pt x="1633" y="831"/>
                  </a:lnTo>
                  <a:lnTo>
                    <a:pt x="1626" y="831"/>
                  </a:lnTo>
                  <a:lnTo>
                    <a:pt x="1626" y="838"/>
                  </a:lnTo>
                  <a:lnTo>
                    <a:pt x="1626" y="838"/>
                  </a:lnTo>
                  <a:lnTo>
                    <a:pt x="1626" y="838"/>
                  </a:lnTo>
                  <a:lnTo>
                    <a:pt x="1626" y="838"/>
                  </a:lnTo>
                  <a:lnTo>
                    <a:pt x="1626" y="845"/>
                  </a:lnTo>
                  <a:lnTo>
                    <a:pt x="1626" y="852"/>
                  </a:lnTo>
                  <a:lnTo>
                    <a:pt x="1633" y="852"/>
                  </a:lnTo>
                  <a:lnTo>
                    <a:pt x="1633" y="852"/>
                  </a:lnTo>
                  <a:lnTo>
                    <a:pt x="1633" y="852"/>
                  </a:lnTo>
                  <a:lnTo>
                    <a:pt x="1633" y="852"/>
                  </a:lnTo>
                  <a:lnTo>
                    <a:pt x="1633" y="859"/>
                  </a:lnTo>
                  <a:lnTo>
                    <a:pt x="1633" y="859"/>
                  </a:lnTo>
                  <a:lnTo>
                    <a:pt x="1633" y="866"/>
                  </a:lnTo>
                  <a:lnTo>
                    <a:pt x="1633" y="866"/>
                  </a:lnTo>
                  <a:lnTo>
                    <a:pt x="1626" y="866"/>
                  </a:lnTo>
                  <a:lnTo>
                    <a:pt x="1626" y="866"/>
                  </a:lnTo>
                  <a:lnTo>
                    <a:pt x="1626" y="866"/>
                  </a:lnTo>
                  <a:lnTo>
                    <a:pt x="1626" y="873"/>
                  </a:lnTo>
                  <a:lnTo>
                    <a:pt x="1626" y="881"/>
                  </a:lnTo>
                  <a:lnTo>
                    <a:pt x="1626" y="881"/>
                  </a:lnTo>
                  <a:lnTo>
                    <a:pt x="1626" y="881"/>
                  </a:lnTo>
                  <a:lnTo>
                    <a:pt x="1619" y="881"/>
                  </a:lnTo>
                  <a:lnTo>
                    <a:pt x="1619" y="881"/>
                  </a:lnTo>
                  <a:lnTo>
                    <a:pt x="1612" y="881"/>
                  </a:lnTo>
                  <a:lnTo>
                    <a:pt x="1612" y="888"/>
                  </a:lnTo>
                  <a:lnTo>
                    <a:pt x="1612" y="895"/>
                  </a:lnTo>
                  <a:lnTo>
                    <a:pt x="1612" y="902"/>
                  </a:lnTo>
                  <a:lnTo>
                    <a:pt x="1612" y="902"/>
                  </a:lnTo>
                  <a:lnTo>
                    <a:pt x="1612" y="902"/>
                  </a:lnTo>
                  <a:lnTo>
                    <a:pt x="1612" y="902"/>
                  </a:lnTo>
                  <a:lnTo>
                    <a:pt x="1605" y="902"/>
                  </a:lnTo>
                  <a:lnTo>
                    <a:pt x="1605" y="902"/>
                  </a:lnTo>
                  <a:lnTo>
                    <a:pt x="1605" y="909"/>
                  </a:lnTo>
                  <a:lnTo>
                    <a:pt x="1605" y="909"/>
                  </a:lnTo>
                  <a:lnTo>
                    <a:pt x="1605" y="916"/>
                  </a:lnTo>
                  <a:lnTo>
                    <a:pt x="1605" y="916"/>
                  </a:lnTo>
                  <a:lnTo>
                    <a:pt x="1605" y="923"/>
                  </a:lnTo>
                  <a:lnTo>
                    <a:pt x="1605" y="923"/>
                  </a:lnTo>
                  <a:lnTo>
                    <a:pt x="1612" y="923"/>
                  </a:lnTo>
                  <a:lnTo>
                    <a:pt x="1612" y="923"/>
                  </a:lnTo>
                  <a:lnTo>
                    <a:pt x="1619" y="930"/>
                  </a:lnTo>
                  <a:lnTo>
                    <a:pt x="1619" y="930"/>
                  </a:lnTo>
                  <a:lnTo>
                    <a:pt x="1626" y="930"/>
                  </a:lnTo>
                  <a:lnTo>
                    <a:pt x="1626" y="937"/>
                  </a:lnTo>
                  <a:lnTo>
                    <a:pt x="1633" y="937"/>
                  </a:lnTo>
                  <a:lnTo>
                    <a:pt x="1633" y="937"/>
                  </a:lnTo>
                  <a:lnTo>
                    <a:pt x="1633" y="937"/>
                  </a:lnTo>
                  <a:lnTo>
                    <a:pt x="1633" y="937"/>
                  </a:lnTo>
                  <a:lnTo>
                    <a:pt x="1633" y="937"/>
                  </a:lnTo>
                  <a:lnTo>
                    <a:pt x="1640" y="937"/>
                  </a:lnTo>
                  <a:lnTo>
                    <a:pt x="1640" y="944"/>
                  </a:lnTo>
                  <a:lnTo>
                    <a:pt x="1640" y="952"/>
                  </a:lnTo>
                  <a:lnTo>
                    <a:pt x="1647" y="952"/>
                  </a:lnTo>
                  <a:lnTo>
                    <a:pt x="1647" y="952"/>
                  </a:lnTo>
                  <a:lnTo>
                    <a:pt x="1647" y="952"/>
                  </a:lnTo>
                  <a:lnTo>
                    <a:pt x="1654" y="952"/>
                  </a:lnTo>
                  <a:lnTo>
                    <a:pt x="1654" y="952"/>
                  </a:lnTo>
                  <a:lnTo>
                    <a:pt x="1654" y="952"/>
                  </a:lnTo>
                  <a:lnTo>
                    <a:pt x="1661" y="959"/>
                  </a:lnTo>
                  <a:lnTo>
                    <a:pt x="1669" y="959"/>
                  </a:lnTo>
                  <a:lnTo>
                    <a:pt x="1669" y="959"/>
                  </a:lnTo>
                  <a:lnTo>
                    <a:pt x="1661" y="952"/>
                  </a:lnTo>
                  <a:lnTo>
                    <a:pt x="1661" y="944"/>
                  </a:lnTo>
                  <a:lnTo>
                    <a:pt x="1669" y="944"/>
                  </a:lnTo>
                  <a:lnTo>
                    <a:pt x="1669" y="944"/>
                  </a:lnTo>
                  <a:lnTo>
                    <a:pt x="1676" y="944"/>
                  </a:lnTo>
                  <a:lnTo>
                    <a:pt x="1676" y="944"/>
                  </a:lnTo>
                  <a:lnTo>
                    <a:pt x="1676" y="944"/>
                  </a:lnTo>
                  <a:lnTo>
                    <a:pt x="1676" y="944"/>
                  </a:lnTo>
                  <a:lnTo>
                    <a:pt x="1676" y="944"/>
                  </a:lnTo>
                  <a:lnTo>
                    <a:pt x="1676" y="952"/>
                  </a:lnTo>
                  <a:lnTo>
                    <a:pt x="1683" y="952"/>
                  </a:lnTo>
                  <a:lnTo>
                    <a:pt x="1683" y="952"/>
                  </a:lnTo>
                  <a:lnTo>
                    <a:pt x="1683" y="952"/>
                  </a:lnTo>
                  <a:lnTo>
                    <a:pt x="1690" y="959"/>
                  </a:lnTo>
                  <a:lnTo>
                    <a:pt x="1690" y="959"/>
                  </a:lnTo>
                  <a:lnTo>
                    <a:pt x="1690" y="959"/>
                  </a:lnTo>
                  <a:lnTo>
                    <a:pt x="1697" y="959"/>
                  </a:lnTo>
                  <a:lnTo>
                    <a:pt x="1697" y="959"/>
                  </a:lnTo>
                  <a:lnTo>
                    <a:pt x="1704" y="966"/>
                  </a:lnTo>
                  <a:lnTo>
                    <a:pt x="1704" y="966"/>
                  </a:lnTo>
                  <a:lnTo>
                    <a:pt x="1711" y="966"/>
                  </a:lnTo>
                  <a:lnTo>
                    <a:pt x="1711" y="966"/>
                  </a:lnTo>
                  <a:lnTo>
                    <a:pt x="1718" y="966"/>
                  </a:lnTo>
                  <a:lnTo>
                    <a:pt x="1718" y="973"/>
                  </a:lnTo>
                  <a:lnTo>
                    <a:pt x="1718" y="973"/>
                  </a:lnTo>
                  <a:lnTo>
                    <a:pt x="1718" y="973"/>
                  </a:lnTo>
                  <a:lnTo>
                    <a:pt x="1718" y="973"/>
                  </a:lnTo>
                  <a:lnTo>
                    <a:pt x="1725" y="980"/>
                  </a:lnTo>
                  <a:lnTo>
                    <a:pt x="1725" y="980"/>
                  </a:lnTo>
                  <a:lnTo>
                    <a:pt x="1725" y="980"/>
                  </a:lnTo>
                  <a:lnTo>
                    <a:pt x="1732" y="973"/>
                  </a:lnTo>
                  <a:lnTo>
                    <a:pt x="1732" y="980"/>
                  </a:lnTo>
                  <a:lnTo>
                    <a:pt x="1732" y="980"/>
                  </a:lnTo>
                  <a:lnTo>
                    <a:pt x="1732" y="980"/>
                  </a:lnTo>
                  <a:lnTo>
                    <a:pt x="1732" y="980"/>
                  </a:lnTo>
                  <a:lnTo>
                    <a:pt x="1754" y="987"/>
                  </a:lnTo>
                  <a:lnTo>
                    <a:pt x="1754" y="987"/>
                  </a:lnTo>
                  <a:lnTo>
                    <a:pt x="1761" y="987"/>
                  </a:lnTo>
                  <a:lnTo>
                    <a:pt x="1761" y="1001"/>
                  </a:lnTo>
                  <a:lnTo>
                    <a:pt x="1768" y="1001"/>
                  </a:lnTo>
                  <a:lnTo>
                    <a:pt x="1775" y="1008"/>
                  </a:lnTo>
                  <a:lnTo>
                    <a:pt x="1775" y="1015"/>
                  </a:lnTo>
                  <a:lnTo>
                    <a:pt x="1775" y="1015"/>
                  </a:lnTo>
                  <a:lnTo>
                    <a:pt x="1775" y="1015"/>
                  </a:lnTo>
                  <a:lnTo>
                    <a:pt x="1775" y="1015"/>
                  </a:lnTo>
                  <a:lnTo>
                    <a:pt x="1775" y="1015"/>
                  </a:lnTo>
                  <a:lnTo>
                    <a:pt x="1775" y="1023"/>
                  </a:lnTo>
                  <a:lnTo>
                    <a:pt x="1775" y="1023"/>
                  </a:lnTo>
                  <a:lnTo>
                    <a:pt x="1782" y="1023"/>
                  </a:lnTo>
                  <a:lnTo>
                    <a:pt x="1782" y="1015"/>
                  </a:lnTo>
                  <a:lnTo>
                    <a:pt x="1782" y="1015"/>
                  </a:lnTo>
                  <a:lnTo>
                    <a:pt x="1782" y="1015"/>
                  </a:lnTo>
                  <a:lnTo>
                    <a:pt x="1782" y="1015"/>
                  </a:lnTo>
                  <a:lnTo>
                    <a:pt x="1782" y="1015"/>
                  </a:lnTo>
                  <a:lnTo>
                    <a:pt x="1789" y="1015"/>
                  </a:lnTo>
                  <a:lnTo>
                    <a:pt x="1789" y="1015"/>
                  </a:lnTo>
                  <a:lnTo>
                    <a:pt x="1796" y="1015"/>
                  </a:lnTo>
                  <a:lnTo>
                    <a:pt x="1796" y="1023"/>
                  </a:lnTo>
                  <a:lnTo>
                    <a:pt x="1796" y="1023"/>
                  </a:lnTo>
                  <a:lnTo>
                    <a:pt x="1796" y="1023"/>
                  </a:lnTo>
                  <a:lnTo>
                    <a:pt x="1796" y="1030"/>
                  </a:lnTo>
                  <a:lnTo>
                    <a:pt x="1796" y="1030"/>
                  </a:lnTo>
                  <a:lnTo>
                    <a:pt x="1811" y="1037"/>
                  </a:lnTo>
                  <a:lnTo>
                    <a:pt x="1811" y="1037"/>
                  </a:lnTo>
                  <a:lnTo>
                    <a:pt x="1818" y="1037"/>
                  </a:lnTo>
                  <a:lnTo>
                    <a:pt x="1818" y="1037"/>
                  </a:lnTo>
                  <a:lnTo>
                    <a:pt x="1818" y="1037"/>
                  </a:lnTo>
                  <a:lnTo>
                    <a:pt x="1818" y="1037"/>
                  </a:lnTo>
                  <a:lnTo>
                    <a:pt x="1825" y="1044"/>
                  </a:lnTo>
                  <a:lnTo>
                    <a:pt x="1832" y="1044"/>
                  </a:lnTo>
                  <a:lnTo>
                    <a:pt x="1832" y="1044"/>
                  </a:lnTo>
                  <a:lnTo>
                    <a:pt x="1839" y="1051"/>
                  </a:lnTo>
                  <a:lnTo>
                    <a:pt x="1846" y="1051"/>
                  </a:lnTo>
                  <a:lnTo>
                    <a:pt x="1846" y="1058"/>
                  </a:lnTo>
                  <a:lnTo>
                    <a:pt x="1853" y="1058"/>
                  </a:lnTo>
                  <a:lnTo>
                    <a:pt x="1853" y="1058"/>
                  </a:lnTo>
                  <a:lnTo>
                    <a:pt x="1860" y="1058"/>
                  </a:lnTo>
                  <a:lnTo>
                    <a:pt x="1860" y="1051"/>
                  </a:lnTo>
                  <a:lnTo>
                    <a:pt x="1867" y="1051"/>
                  </a:lnTo>
                  <a:lnTo>
                    <a:pt x="1874" y="1051"/>
                  </a:lnTo>
                  <a:lnTo>
                    <a:pt x="1874" y="1051"/>
                  </a:lnTo>
                  <a:lnTo>
                    <a:pt x="1882" y="1051"/>
                  </a:lnTo>
                  <a:lnTo>
                    <a:pt x="1882" y="1051"/>
                  </a:lnTo>
                  <a:lnTo>
                    <a:pt x="1882" y="1058"/>
                  </a:lnTo>
                  <a:lnTo>
                    <a:pt x="1889" y="1058"/>
                  </a:lnTo>
                  <a:lnTo>
                    <a:pt x="1910" y="1072"/>
                  </a:lnTo>
                  <a:lnTo>
                    <a:pt x="1917" y="1072"/>
                  </a:lnTo>
                  <a:lnTo>
                    <a:pt x="1924" y="1079"/>
                  </a:lnTo>
                  <a:lnTo>
                    <a:pt x="1931" y="1079"/>
                  </a:lnTo>
                  <a:lnTo>
                    <a:pt x="1938" y="1079"/>
                  </a:lnTo>
                  <a:lnTo>
                    <a:pt x="1960" y="1079"/>
                  </a:lnTo>
                  <a:lnTo>
                    <a:pt x="1960" y="1079"/>
                  </a:lnTo>
                  <a:lnTo>
                    <a:pt x="1967" y="1079"/>
                  </a:lnTo>
                  <a:lnTo>
                    <a:pt x="1967" y="1086"/>
                  </a:lnTo>
                  <a:lnTo>
                    <a:pt x="1967" y="1101"/>
                  </a:lnTo>
                  <a:lnTo>
                    <a:pt x="1967" y="1101"/>
                  </a:lnTo>
                  <a:lnTo>
                    <a:pt x="1974" y="1108"/>
                  </a:lnTo>
                  <a:lnTo>
                    <a:pt x="1988" y="1108"/>
                  </a:lnTo>
                  <a:lnTo>
                    <a:pt x="1995" y="1108"/>
                  </a:lnTo>
                  <a:lnTo>
                    <a:pt x="2002" y="1108"/>
                  </a:lnTo>
                  <a:lnTo>
                    <a:pt x="2009" y="1115"/>
                  </a:lnTo>
                  <a:lnTo>
                    <a:pt x="2023" y="1115"/>
                  </a:lnTo>
                  <a:lnTo>
                    <a:pt x="2031" y="1115"/>
                  </a:lnTo>
                  <a:lnTo>
                    <a:pt x="2038" y="1122"/>
                  </a:lnTo>
                  <a:lnTo>
                    <a:pt x="2038" y="1122"/>
                  </a:lnTo>
                  <a:lnTo>
                    <a:pt x="2038" y="1122"/>
                  </a:lnTo>
                  <a:lnTo>
                    <a:pt x="2038" y="1129"/>
                  </a:lnTo>
                  <a:lnTo>
                    <a:pt x="2045" y="1129"/>
                  </a:lnTo>
                  <a:lnTo>
                    <a:pt x="2045" y="1129"/>
                  </a:lnTo>
                  <a:lnTo>
                    <a:pt x="2045" y="1129"/>
                  </a:lnTo>
                  <a:lnTo>
                    <a:pt x="2052" y="1129"/>
                  </a:lnTo>
                  <a:lnTo>
                    <a:pt x="2052" y="1122"/>
                  </a:lnTo>
                  <a:lnTo>
                    <a:pt x="2052" y="1122"/>
                  </a:lnTo>
                  <a:lnTo>
                    <a:pt x="2059" y="1115"/>
                  </a:lnTo>
                  <a:lnTo>
                    <a:pt x="2059" y="1115"/>
                  </a:lnTo>
                  <a:lnTo>
                    <a:pt x="2052" y="1115"/>
                  </a:lnTo>
                  <a:lnTo>
                    <a:pt x="2052" y="1115"/>
                  </a:lnTo>
                  <a:lnTo>
                    <a:pt x="2052" y="1108"/>
                  </a:lnTo>
                  <a:lnTo>
                    <a:pt x="2052" y="1108"/>
                  </a:lnTo>
                  <a:lnTo>
                    <a:pt x="2059" y="1108"/>
                  </a:lnTo>
                  <a:lnTo>
                    <a:pt x="2066" y="1108"/>
                  </a:lnTo>
                  <a:lnTo>
                    <a:pt x="2087" y="1108"/>
                  </a:lnTo>
                  <a:lnTo>
                    <a:pt x="2094" y="1115"/>
                  </a:lnTo>
                  <a:lnTo>
                    <a:pt x="2116" y="1122"/>
                  </a:lnTo>
                  <a:lnTo>
                    <a:pt x="2116" y="1122"/>
                  </a:lnTo>
                  <a:lnTo>
                    <a:pt x="2123" y="1122"/>
                  </a:lnTo>
                  <a:lnTo>
                    <a:pt x="2123" y="1122"/>
                  </a:lnTo>
                  <a:lnTo>
                    <a:pt x="2123" y="1122"/>
                  </a:lnTo>
                  <a:lnTo>
                    <a:pt x="2123" y="1122"/>
                  </a:lnTo>
                  <a:lnTo>
                    <a:pt x="2123" y="1122"/>
                  </a:lnTo>
                  <a:lnTo>
                    <a:pt x="2123" y="1122"/>
                  </a:lnTo>
                  <a:lnTo>
                    <a:pt x="2123" y="1115"/>
                  </a:lnTo>
                  <a:lnTo>
                    <a:pt x="2116" y="1115"/>
                  </a:lnTo>
                  <a:lnTo>
                    <a:pt x="2116" y="1108"/>
                  </a:lnTo>
                  <a:lnTo>
                    <a:pt x="2116" y="1108"/>
                  </a:lnTo>
                  <a:lnTo>
                    <a:pt x="2123" y="1108"/>
                  </a:lnTo>
                  <a:lnTo>
                    <a:pt x="2130" y="1108"/>
                  </a:lnTo>
                  <a:lnTo>
                    <a:pt x="2130" y="1108"/>
                  </a:lnTo>
                  <a:lnTo>
                    <a:pt x="2137" y="1108"/>
                  </a:lnTo>
                  <a:lnTo>
                    <a:pt x="2137" y="1108"/>
                  </a:lnTo>
                  <a:lnTo>
                    <a:pt x="2144" y="1108"/>
                  </a:lnTo>
                  <a:lnTo>
                    <a:pt x="2151" y="1101"/>
                  </a:lnTo>
                  <a:lnTo>
                    <a:pt x="2151" y="1101"/>
                  </a:lnTo>
                  <a:lnTo>
                    <a:pt x="2151" y="1101"/>
                  </a:lnTo>
                  <a:lnTo>
                    <a:pt x="2151" y="1101"/>
                  </a:lnTo>
                  <a:lnTo>
                    <a:pt x="2158" y="1101"/>
                  </a:lnTo>
                  <a:lnTo>
                    <a:pt x="2158" y="1101"/>
                  </a:lnTo>
                  <a:lnTo>
                    <a:pt x="2158" y="1108"/>
                  </a:lnTo>
                  <a:lnTo>
                    <a:pt x="2158" y="1108"/>
                  </a:lnTo>
                  <a:lnTo>
                    <a:pt x="2165" y="1108"/>
                  </a:lnTo>
                  <a:lnTo>
                    <a:pt x="2165" y="1108"/>
                  </a:lnTo>
                  <a:lnTo>
                    <a:pt x="2165" y="1108"/>
                  </a:lnTo>
                  <a:lnTo>
                    <a:pt x="2173" y="1108"/>
                  </a:lnTo>
                  <a:lnTo>
                    <a:pt x="2173" y="1115"/>
                  </a:lnTo>
                  <a:lnTo>
                    <a:pt x="2173" y="1115"/>
                  </a:lnTo>
                  <a:lnTo>
                    <a:pt x="2180" y="1115"/>
                  </a:lnTo>
                  <a:lnTo>
                    <a:pt x="2215" y="1122"/>
                  </a:lnTo>
                  <a:lnTo>
                    <a:pt x="2222" y="1129"/>
                  </a:lnTo>
                  <a:lnTo>
                    <a:pt x="2222" y="1129"/>
                  </a:lnTo>
                  <a:lnTo>
                    <a:pt x="2229" y="1136"/>
                  </a:lnTo>
                  <a:lnTo>
                    <a:pt x="2229" y="1143"/>
                  </a:lnTo>
                  <a:lnTo>
                    <a:pt x="2229" y="1143"/>
                  </a:lnTo>
                  <a:lnTo>
                    <a:pt x="2229" y="1150"/>
                  </a:lnTo>
                  <a:lnTo>
                    <a:pt x="2229" y="1157"/>
                  </a:lnTo>
                  <a:lnTo>
                    <a:pt x="2222" y="1157"/>
                  </a:lnTo>
                  <a:lnTo>
                    <a:pt x="2222" y="1165"/>
                  </a:lnTo>
                  <a:lnTo>
                    <a:pt x="2222" y="1165"/>
                  </a:lnTo>
                  <a:lnTo>
                    <a:pt x="2229" y="1165"/>
                  </a:lnTo>
                  <a:lnTo>
                    <a:pt x="2244" y="1172"/>
                  </a:lnTo>
                  <a:lnTo>
                    <a:pt x="2244" y="1172"/>
                  </a:lnTo>
                  <a:lnTo>
                    <a:pt x="2244" y="1172"/>
                  </a:lnTo>
                  <a:lnTo>
                    <a:pt x="2251" y="1165"/>
                  </a:lnTo>
                  <a:lnTo>
                    <a:pt x="2251" y="1172"/>
                  </a:lnTo>
                  <a:lnTo>
                    <a:pt x="2251" y="1172"/>
                  </a:lnTo>
                  <a:lnTo>
                    <a:pt x="2251" y="1172"/>
                  </a:lnTo>
                  <a:lnTo>
                    <a:pt x="2258" y="1172"/>
                  </a:lnTo>
                  <a:lnTo>
                    <a:pt x="2265" y="1172"/>
                  </a:lnTo>
                  <a:lnTo>
                    <a:pt x="2265" y="1179"/>
                  </a:lnTo>
                  <a:lnTo>
                    <a:pt x="2265" y="1179"/>
                  </a:lnTo>
                  <a:lnTo>
                    <a:pt x="2272" y="1179"/>
                  </a:lnTo>
                  <a:lnTo>
                    <a:pt x="2272" y="1186"/>
                  </a:lnTo>
                  <a:lnTo>
                    <a:pt x="2272" y="1186"/>
                  </a:lnTo>
                  <a:lnTo>
                    <a:pt x="2272" y="1186"/>
                  </a:lnTo>
                  <a:lnTo>
                    <a:pt x="2279" y="1186"/>
                  </a:lnTo>
                  <a:lnTo>
                    <a:pt x="2279" y="1186"/>
                  </a:lnTo>
                  <a:lnTo>
                    <a:pt x="2279" y="1186"/>
                  </a:lnTo>
                  <a:lnTo>
                    <a:pt x="2279" y="1193"/>
                  </a:lnTo>
                  <a:lnTo>
                    <a:pt x="2286" y="1193"/>
                  </a:lnTo>
                  <a:lnTo>
                    <a:pt x="2293" y="1186"/>
                  </a:lnTo>
                  <a:lnTo>
                    <a:pt x="2293" y="1186"/>
                  </a:lnTo>
                  <a:lnTo>
                    <a:pt x="2300" y="1193"/>
                  </a:lnTo>
                  <a:lnTo>
                    <a:pt x="2300" y="1193"/>
                  </a:lnTo>
                  <a:lnTo>
                    <a:pt x="2300" y="1200"/>
                  </a:lnTo>
                  <a:lnTo>
                    <a:pt x="2307" y="1200"/>
                  </a:lnTo>
                  <a:lnTo>
                    <a:pt x="2315" y="1207"/>
                  </a:lnTo>
                  <a:lnTo>
                    <a:pt x="2322" y="1207"/>
                  </a:lnTo>
                  <a:lnTo>
                    <a:pt x="2322" y="1207"/>
                  </a:lnTo>
                  <a:lnTo>
                    <a:pt x="2322" y="1200"/>
                  </a:lnTo>
                  <a:lnTo>
                    <a:pt x="2329" y="1200"/>
                  </a:lnTo>
                  <a:lnTo>
                    <a:pt x="2329" y="1200"/>
                  </a:lnTo>
                  <a:lnTo>
                    <a:pt x="2329" y="1200"/>
                  </a:lnTo>
                  <a:lnTo>
                    <a:pt x="2336" y="1200"/>
                  </a:lnTo>
                  <a:lnTo>
                    <a:pt x="2336" y="1200"/>
                  </a:lnTo>
                  <a:lnTo>
                    <a:pt x="2343" y="1193"/>
                  </a:lnTo>
                  <a:lnTo>
                    <a:pt x="2343" y="1193"/>
                  </a:lnTo>
                  <a:lnTo>
                    <a:pt x="2357" y="1186"/>
                  </a:lnTo>
                  <a:lnTo>
                    <a:pt x="2357" y="1186"/>
                  </a:lnTo>
                  <a:lnTo>
                    <a:pt x="2371" y="1193"/>
                  </a:lnTo>
                  <a:lnTo>
                    <a:pt x="2371" y="1193"/>
                  </a:lnTo>
                  <a:lnTo>
                    <a:pt x="2371" y="1200"/>
                  </a:lnTo>
                  <a:lnTo>
                    <a:pt x="2371" y="1214"/>
                  </a:lnTo>
                  <a:lnTo>
                    <a:pt x="2371" y="1214"/>
                  </a:lnTo>
                  <a:lnTo>
                    <a:pt x="2378" y="1221"/>
                  </a:lnTo>
                  <a:lnTo>
                    <a:pt x="2386" y="1221"/>
                  </a:lnTo>
                  <a:lnTo>
                    <a:pt x="2386" y="1221"/>
                  </a:lnTo>
                  <a:lnTo>
                    <a:pt x="2386" y="1221"/>
                  </a:lnTo>
                  <a:lnTo>
                    <a:pt x="2386" y="1221"/>
                  </a:lnTo>
                  <a:lnTo>
                    <a:pt x="2386" y="1221"/>
                  </a:lnTo>
                  <a:lnTo>
                    <a:pt x="2386" y="1221"/>
                  </a:lnTo>
                  <a:lnTo>
                    <a:pt x="2386" y="1228"/>
                  </a:lnTo>
                  <a:lnTo>
                    <a:pt x="2393" y="1228"/>
                  </a:lnTo>
                  <a:lnTo>
                    <a:pt x="2393" y="1228"/>
                  </a:lnTo>
                  <a:lnTo>
                    <a:pt x="2393" y="1228"/>
                  </a:lnTo>
                  <a:lnTo>
                    <a:pt x="2393" y="1228"/>
                  </a:lnTo>
                  <a:lnTo>
                    <a:pt x="2407" y="1221"/>
                  </a:lnTo>
                  <a:lnTo>
                    <a:pt x="2407" y="1214"/>
                  </a:lnTo>
                  <a:lnTo>
                    <a:pt x="2407" y="1214"/>
                  </a:lnTo>
                  <a:lnTo>
                    <a:pt x="2414" y="1214"/>
                  </a:lnTo>
                  <a:lnTo>
                    <a:pt x="2414" y="1214"/>
                  </a:lnTo>
                  <a:lnTo>
                    <a:pt x="2428" y="1221"/>
                  </a:lnTo>
                  <a:lnTo>
                    <a:pt x="2428" y="1221"/>
                  </a:lnTo>
                  <a:lnTo>
                    <a:pt x="2428" y="1221"/>
                  </a:lnTo>
                  <a:lnTo>
                    <a:pt x="2428" y="1221"/>
                  </a:lnTo>
                  <a:lnTo>
                    <a:pt x="2435" y="1221"/>
                  </a:lnTo>
                  <a:lnTo>
                    <a:pt x="2435" y="1221"/>
                  </a:lnTo>
                  <a:lnTo>
                    <a:pt x="2435" y="1221"/>
                  </a:lnTo>
                  <a:lnTo>
                    <a:pt x="2435" y="1221"/>
                  </a:lnTo>
                  <a:lnTo>
                    <a:pt x="2435" y="1221"/>
                  </a:lnTo>
                  <a:lnTo>
                    <a:pt x="2435" y="1221"/>
                  </a:lnTo>
                  <a:lnTo>
                    <a:pt x="2442" y="1221"/>
                  </a:lnTo>
                  <a:lnTo>
                    <a:pt x="2442" y="1221"/>
                  </a:lnTo>
                  <a:lnTo>
                    <a:pt x="2449" y="1221"/>
                  </a:lnTo>
                  <a:lnTo>
                    <a:pt x="2449" y="1221"/>
                  </a:lnTo>
                  <a:lnTo>
                    <a:pt x="2449" y="1221"/>
                  </a:lnTo>
                  <a:lnTo>
                    <a:pt x="2457" y="1221"/>
                  </a:lnTo>
                  <a:lnTo>
                    <a:pt x="2457" y="1221"/>
                  </a:lnTo>
                  <a:lnTo>
                    <a:pt x="2457" y="1221"/>
                  </a:lnTo>
                  <a:lnTo>
                    <a:pt x="2457" y="1221"/>
                  </a:lnTo>
                  <a:lnTo>
                    <a:pt x="2457" y="1221"/>
                  </a:lnTo>
                  <a:lnTo>
                    <a:pt x="2457" y="1221"/>
                  </a:lnTo>
                  <a:lnTo>
                    <a:pt x="2464" y="1221"/>
                  </a:lnTo>
                  <a:lnTo>
                    <a:pt x="2471" y="1228"/>
                  </a:lnTo>
                  <a:lnTo>
                    <a:pt x="2478" y="1228"/>
                  </a:lnTo>
                  <a:lnTo>
                    <a:pt x="2478" y="1228"/>
                  </a:lnTo>
                  <a:lnTo>
                    <a:pt x="2478" y="1228"/>
                  </a:lnTo>
                  <a:lnTo>
                    <a:pt x="2485" y="1236"/>
                  </a:lnTo>
                  <a:lnTo>
                    <a:pt x="2485" y="1236"/>
                  </a:lnTo>
                  <a:lnTo>
                    <a:pt x="2485" y="1236"/>
                  </a:lnTo>
                  <a:lnTo>
                    <a:pt x="2485" y="1236"/>
                  </a:lnTo>
                  <a:lnTo>
                    <a:pt x="2499" y="1243"/>
                  </a:lnTo>
                  <a:lnTo>
                    <a:pt x="2506" y="1243"/>
                  </a:lnTo>
                  <a:lnTo>
                    <a:pt x="2506" y="1243"/>
                  </a:lnTo>
                  <a:lnTo>
                    <a:pt x="2513" y="1243"/>
                  </a:lnTo>
                  <a:lnTo>
                    <a:pt x="2513" y="1243"/>
                  </a:lnTo>
                  <a:lnTo>
                    <a:pt x="2513" y="1243"/>
                  </a:lnTo>
                  <a:lnTo>
                    <a:pt x="2513" y="1243"/>
                  </a:lnTo>
                  <a:lnTo>
                    <a:pt x="2520" y="1243"/>
                  </a:lnTo>
                  <a:lnTo>
                    <a:pt x="2520" y="1243"/>
                  </a:lnTo>
                  <a:lnTo>
                    <a:pt x="2520" y="1243"/>
                  </a:lnTo>
                  <a:lnTo>
                    <a:pt x="2527" y="1243"/>
                  </a:lnTo>
                  <a:lnTo>
                    <a:pt x="2527" y="1236"/>
                  </a:lnTo>
                  <a:lnTo>
                    <a:pt x="2527" y="1236"/>
                  </a:lnTo>
                  <a:lnTo>
                    <a:pt x="2535" y="1228"/>
                  </a:lnTo>
                  <a:lnTo>
                    <a:pt x="2542" y="1228"/>
                  </a:lnTo>
                  <a:lnTo>
                    <a:pt x="2542" y="1228"/>
                  </a:lnTo>
                  <a:lnTo>
                    <a:pt x="2549" y="1221"/>
                  </a:lnTo>
                  <a:lnTo>
                    <a:pt x="2549" y="1221"/>
                  </a:lnTo>
                  <a:lnTo>
                    <a:pt x="2549" y="1221"/>
                  </a:lnTo>
                  <a:lnTo>
                    <a:pt x="2549" y="1221"/>
                  </a:lnTo>
                  <a:lnTo>
                    <a:pt x="2549" y="1228"/>
                  </a:lnTo>
                  <a:lnTo>
                    <a:pt x="2556" y="1236"/>
                  </a:lnTo>
                  <a:lnTo>
                    <a:pt x="2556" y="1236"/>
                  </a:lnTo>
                  <a:lnTo>
                    <a:pt x="2556" y="1236"/>
                  </a:lnTo>
                  <a:lnTo>
                    <a:pt x="2556" y="1236"/>
                  </a:lnTo>
                  <a:lnTo>
                    <a:pt x="2556" y="1243"/>
                  </a:lnTo>
                  <a:lnTo>
                    <a:pt x="2563" y="1243"/>
                  </a:lnTo>
                  <a:lnTo>
                    <a:pt x="2563" y="1250"/>
                  </a:lnTo>
                  <a:lnTo>
                    <a:pt x="2570" y="1243"/>
                  </a:lnTo>
                  <a:lnTo>
                    <a:pt x="2577" y="1243"/>
                  </a:lnTo>
                  <a:lnTo>
                    <a:pt x="2577" y="1243"/>
                  </a:lnTo>
                  <a:lnTo>
                    <a:pt x="2577" y="1250"/>
                  </a:lnTo>
                  <a:lnTo>
                    <a:pt x="2577" y="1250"/>
                  </a:lnTo>
                  <a:lnTo>
                    <a:pt x="2584" y="1250"/>
                  </a:lnTo>
                  <a:lnTo>
                    <a:pt x="2584" y="1250"/>
                  </a:lnTo>
                  <a:lnTo>
                    <a:pt x="2591" y="1250"/>
                  </a:lnTo>
                  <a:lnTo>
                    <a:pt x="2591" y="1250"/>
                  </a:lnTo>
                  <a:lnTo>
                    <a:pt x="2591" y="1250"/>
                  </a:lnTo>
                  <a:lnTo>
                    <a:pt x="2591" y="1243"/>
                  </a:lnTo>
                  <a:lnTo>
                    <a:pt x="2598" y="1243"/>
                  </a:lnTo>
                  <a:lnTo>
                    <a:pt x="2598" y="1243"/>
                  </a:lnTo>
                  <a:lnTo>
                    <a:pt x="2606" y="1243"/>
                  </a:lnTo>
                  <a:lnTo>
                    <a:pt x="2613" y="1243"/>
                  </a:lnTo>
                  <a:lnTo>
                    <a:pt x="2620" y="1243"/>
                  </a:lnTo>
                  <a:lnTo>
                    <a:pt x="2627" y="1250"/>
                  </a:lnTo>
                  <a:lnTo>
                    <a:pt x="2627" y="1243"/>
                  </a:lnTo>
                  <a:lnTo>
                    <a:pt x="2634" y="1243"/>
                  </a:lnTo>
                  <a:lnTo>
                    <a:pt x="2634" y="1243"/>
                  </a:lnTo>
                  <a:lnTo>
                    <a:pt x="2641" y="1243"/>
                  </a:lnTo>
                  <a:lnTo>
                    <a:pt x="2641" y="1243"/>
                  </a:lnTo>
                  <a:lnTo>
                    <a:pt x="2641" y="1243"/>
                  </a:lnTo>
                  <a:lnTo>
                    <a:pt x="2648" y="1243"/>
                  </a:lnTo>
                  <a:lnTo>
                    <a:pt x="2648" y="1236"/>
                  </a:lnTo>
                  <a:lnTo>
                    <a:pt x="2648" y="1236"/>
                  </a:lnTo>
                  <a:lnTo>
                    <a:pt x="2648" y="1236"/>
                  </a:lnTo>
                  <a:lnTo>
                    <a:pt x="2648" y="1236"/>
                  </a:lnTo>
                  <a:lnTo>
                    <a:pt x="2655" y="1236"/>
                  </a:lnTo>
                  <a:lnTo>
                    <a:pt x="2655" y="1236"/>
                  </a:lnTo>
                  <a:lnTo>
                    <a:pt x="2655" y="1236"/>
                  </a:lnTo>
                  <a:lnTo>
                    <a:pt x="2662" y="1236"/>
                  </a:lnTo>
                  <a:lnTo>
                    <a:pt x="2662" y="1236"/>
                  </a:lnTo>
                  <a:lnTo>
                    <a:pt x="2662" y="1236"/>
                  </a:lnTo>
                  <a:lnTo>
                    <a:pt x="2662" y="1236"/>
                  </a:lnTo>
                  <a:lnTo>
                    <a:pt x="2662" y="1236"/>
                  </a:lnTo>
                  <a:lnTo>
                    <a:pt x="2669" y="1243"/>
                  </a:lnTo>
                  <a:lnTo>
                    <a:pt x="2669" y="1243"/>
                  </a:lnTo>
                  <a:lnTo>
                    <a:pt x="2669" y="1243"/>
                  </a:lnTo>
                  <a:lnTo>
                    <a:pt x="2677" y="1243"/>
                  </a:lnTo>
                  <a:lnTo>
                    <a:pt x="2677" y="1250"/>
                  </a:lnTo>
                  <a:lnTo>
                    <a:pt x="2677" y="1243"/>
                  </a:lnTo>
                  <a:lnTo>
                    <a:pt x="2684" y="1243"/>
                  </a:lnTo>
                  <a:lnTo>
                    <a:pt x="2691" y="1236"/>
                  </a:lnTo>
                  <a:lnTo>
                    <a:pt x="2691" y="1228"/>
                  </a:lnTo>
                  <a:lnTo>
                    <a:pt x="2691" y="1228"/>
                  </a:lnTo>
                  <a:lnTo>
                    <a:pt x="2691" y="1228"/>
                  </a:lnTo>
                  <a:lnTo>
                    <a:pt x="2691" y="1221"/>
                  </a:lnTo>
                  <a:lnTo>
                    <a:pt x="2691" y="1214"/>
                  </a:lnTo>
                  <a:lnTo>
                    <a:pt x="2691" y="1200"/>
                  </a:lnTo>
                  <a:lnTo>
                    <a:pt x="2698" y="1200"/>
                  </a:lnTo>
                  <a:lnTo>
                    <a:pt x="2698" y="1193"/>
                  </a:lnTo>
                  <a:lnTo>
                    <a:pt x="2698" y="1193"/>
                  </a:lnTo>
                  <a:lnTo>
                    <a:pt x="2698" y="1186"/>
                  </a:lnTo>
                  <a:lnTo>
                    <a:pt x="2691" y="1186"/>
                  </a:lnTo>
                  <a:lnTo>
                    <a:pt x="2691" y="1179"/>
                  </a:lnTo>
                  <a:lnTo>
                    <a:pt x="2691" y="1172"/>
                  </a:lnTo>
                  <a:lnTo>
                    <a:pt x="2691" y="1172"/>
                  </a:lnTo>
                  <a:lnTo>
                    <a:pt x="2684" y="1165"/>
                  </a:lnTo>
                  <a:lnTo>
                    <a:pt x="2684" y="1165"/>
                  </a:lnTo>
                  <a:lnTo>
                    <a:pt x="2684" y="1157"/>
                  </a:lnTo>
                  <a:lnTo>
                    <a:pt x="2677" y="1157"/>
                  </a:lnTo>
                  <a:lnTo>
                    <a:pt x="2677" y="1150"/>
                  </a:lnTo>
                  <a:lnTo>
                    <a:pt x="2677" y="1150"/>
                  </a:lnTo>
                  <a:lnTo>
                    <a:pt x="2669" y="1150"/>
                  </a:lnTo>
                  <a:lnTo>
                    <a:pt x="2669" y="1150"/>
                  </a:lnTo>
                  <a:lnTo>
                    <a:pt x="2669" y="1143"/>
                  </a:lnTo>
                  <a:lnTo>
                    <a:pt x="2662" y="1143"/>
                  </a:lnTo>
                  <a:lnTo>
                    <a:pt x="2662" y="1143"/>
                  </a:lnTo>
                  <a:lnTo>
                    <a:pt x="2662" y="1136"/>
                  </a:lnTo>
                  <a:lnTo>
                    <a:pt x="2662" y="1136"/>
                  </a:lnTo>
                  <a:lnTo>
                    <a:pt x="2662" y="1136"/>
                  </a:lnTo>
                  <a:lnTo>
                    <a:pt x="2662" y="1122"/>
                  </a:lnTo>
                  <a:lnTo>
                    <a:pt x="2669" y="1115"/>
                  </a:lnTo>
                  <a:lnTo>
                    <a:pt x="2669" y="1108"/>
                  </a:lnTo>
                  <a:lnTo>
                    <a:pt x="2669" y="1108"/>
                  </a:lnTo>
                  <a:lnTo>
                    <a:pt x="2669" y="1108"/>
                  </a:lnTo>
                  <a:lnTo>
                    <a:pt x="2669" y="1101"/>
                  </a:lnTo>
                  <a:lnTo>
                    <a:pt x="2662" y="1101"/>
                  </a:lnTo>
                  <a:lnTo>
                    <a:pt x="2662" y="1101"/>
                  </a:lnTo>
                  <a:lnTo>
                    <a:pt x="2669" y="1094"/>
                  </a:lnTo>
                  <a:lnTo>
                    <a:pt x="2669" y="1094"/>
                  </a:lnTo>
                  <a:lnTo>
                    <a:pt x="2669" y="1094"/>
                  </a:lnTo>
                  <a:lnTo>
                    <a:pt x="2669" y="1094"/>
                  </a:lnTo>
                  <a:lnTo>
                    <a:pt x="2669" y="1094"/>
                  </a:lnTo>
                  <a:lnTo>
                    <a:pt x="2669" y="1094"/>
                  </a:lnTo>
                  <a:lnTo>
                    <a:pt x="2669" y="1094"/>
                  </a:lnTo>
                  <a:lnTo>
                    <a:pt x="2669" y="1086"/>
                  </a:lnTo>
                  <a:lnTo>
                    <a:pt x="2662" y="1086"/>
                  </a:lnTo>
                  <a:lnTo>
                    <a:pt x="2662" y="1086"/>
                  </a:lnTo>
                  <a:lnTo>
                    <a:pt x="2662" y="1086"/>
                  </a:lnTo>
                  <a:lnTo>
                    <a:pt x="2669" y="1079"/>
                  </a:lnTo>
                  <a:lnTo>
                    <a:pt x="2677" y="1065"/>
                  </a:lnTo>
                  <a:lnTo>
                    <a:pt x="2677" y="1051"/>
                  </a:lnTo>
                  <a:lnTo>
                    <a:pt x="2677" y="1044"/>
                  </a:lnTo>
                  <a:lnTo>
                    <a:pt x="2677" y="1044"/>
                  </a:lnTo>
                  <a:lnTo>
                    <a:pt x="2677" y="1037"/>
                  </a:lnTo>
                  <a:lnTo>
                    <a:pt x="2677" y="1037"/>
                  </a:lnTo>
                  <a:lnTo>
                    <a:pt x="2677" y="1030"/>
                  </a:lnTo>
                  <a:lnTo>
                    <a:pt x="2677" y="1030"/>
                  </a:lnTo>
                  <a:lnTo>
                    <a:pt x="2677" y="1030"/>
                  </a:lnTo>
                  <a:lnTo>
                    <a:pt x="2669" y="1030"/>
                  </a:lnTo>
                  <a:lnTo>
                    <a:pt x="2669" y="1030"/>
                  </a:lnTo>
                  <a:lnTo>
                    <a:pt x="2669" y="1023"/>
                  </a:lnTo>
                  <a:lnTo>
                    <a:pt x="2669" y="1023"/>
                  </a:lnTo>
                  <a:lnTo>
                    <a:pt x="2669" y="1015"/>
                  </a:lnTo>
                  <a:lnTo>
                    <a:pt x="2669" y="1015"/>
                  </a:lnTo>
                  <a:lnTo>
                    <a:pt x="2677" y="1015"/>
                  </a:lnTo>
                  <a:lnTo>
                    <a:pt x="2677" y="1015"/>
                  </a:lnTo>
                  <a:lnTo>
                    <a:pt x="2677" y="1015"/>
                  </a:lnTo>
                  <a:lnTo>
                    <a:pt x="2684" y="1015"/>
                  </a:lnTo>
                  <a:lnTo>
                    <a:pt x="2705" y="1015"/>
                  </a:lnTo>
                  <a:lnTo>
                    <a:pt x="2705" y="1008"/>
                  </a:lnTo>
                  <a:lnTo>
                    <a:pt x="2705" y="1008"/>
                  </a:lnTo>
                  <a:lnTo>
                    <a:pt x="2705" y="1008"/>
                  </a:lnTo>
                  <a:lnTo>
                    <a:pt x="2705" y="1008"/>
                  </a:lnTo>
                  <a:lnTo>
                    <a:pt x="2712" y="1008"/>
                  </a:lnTo>
                  <a:lnTo>
                    <a:pt x="2712" y="1001"/>
                  </a:lnTo>
                  <a:lnTo>
                    <a:pt x="2719" y="1008"/>
                  </a:lnTo>
                  <a:lnTo>
                    <a:pt x="2719" y="1001"/>
                  </a:lnTo>
                  <a:lnTo>
                    <a:pt x="2719" y="1001"/>
                  </a:lnTo>
                  <a:lnTo>
                    <a:pt x="2726" y="1001"/>
                  </a:lnTo>
                  <a:lnTo>
                    <a:pt x="2726" y="994"/>
                  </a:lnTo>
                  <a:lnTo>
                    <a:pt x="2733" y="994"/>
                  </a:lnTo>
                  <a:lnTo>
                    <a:pt x="2733" y="994"/>
                  </a:lnTo>
                  <a:lnTo>
                    <a:pt x="2740" y="1001"/>
                  </a:lnTo>
                  <a:lnTo>
                    <a:pt x="2748" y="1001"/>
                  </a:lnTo>
                  <a:lnTo>
                    <a:pt x="2748" y="1001"/>
                  </a:lnTo>
                  <a:lnTo>
                    <a:pt x="2755" y="1001"/>
                  </a:lnTo>
                  <a:lnTo>
                    <a:pt x="2755" y="1008"/>
                  </a:lnTo>
                  <a:lnTo>
                    <a:pt x="2762" y="1008"/>
                  </a:lnTo>
                  <a:lnTo>
                    <a:pt x="2762" y="1008"/>
                  </a:lnTo>
                  <a:lnTo>
                    <a:pt x="2762" y="1008"/>
                  </a:lnTo>
                  <a:lnTo>
                    <a:pt x="2762" y="1008"/>
                  </a:lnTo>
                  <a:lnTo>
                    <a:pt x="2762" y="1015"/>
                  </a:lnTo>
                  <a:lnTo>
                    <a:pt x="2762" y="1015"/>
                  </a:lnTo>
                  <a:lnTo>
                    <a:pt x="2762" y="1023"/>
                  </a:lnTo>
                  <a:lnTo>
                    <a:pt x="2762" y="1023"/>
                  </a:lnTo>
                  <a:lnTo>
                    <a:pt x="2769" y="1023"/>
                  </a:lnTo>
                  <a:lnTo>
                    <a:pt x="2769" y="1030"/>
                  </a:lnTo>
                  <a:lnTo>
                    <a:pt x="2769" y="1030"/>
                  </a:lnTo>
                  <a:lnTo>
                    <a:pt x="2762" y="1058"/>
                  </a:lnTo>
                  <a:lnTo>
                    <a:pt x="2762" y="1065"/>
                  </a:lnTo>
                  <a:lnTo>
                    <a:pt x="2762" y="1065"/>
                  </a:lnTo>
                  <a:lnTo>
                    <a:pt x="2755" y="1072"/>
                  </a:lnTo>
                  <a:lnTo>
                    <a:pt x="2755" y="1072"/>
                  </a:lnTo>
                  <a:lnTo>
                    <a:pt x="2755" y="1072"/>
                  </a:lnTo>
                  <a:lnTo>
                    <a:pt x="2762" y="1079"/>
                  </a:lnTo>
                  <a:lnTo>
                    <a:pt x="2762" y="1079"/>
                  </a:lnTo>
                  <a:lnTo>
                    <a:pt x="2762" y="1086"/>
                  </a:lnTo>
                  <a:lnTo>
                    <a:pt x="2762" y="1086"/>
                  </a:lnTo>
                  <a:lnTo>
                    <a:pt x="2762" y="1094"/>
                  </a:lnTo>
                  <a:lnTo>
                    <a:pt x="2769" y="1094"/>
                  </a:lnTo>
                  <a:lnTo>
                    <a:pt x="2769" y="1094"/>
                  </a:lnTo>
                  <a:lnTo>
                    <a:pt x="2769" y="1101"/>
                  </a:lnTo>
                  <a:lnTo>
                    <a:pt x="2769" y="1101"/>
                  </a:lnTo>
                  <a:lnTo>
                    <a:pt x="2776" y="1101"/>
                  </a:lnTo>
                  <a:lnTo>
                    <a:pt x="2776" y="1101"/>
                  </a:lnTo>
                  <a:lnTo>
                    <a:pt x="2783" y="1108"/>
                  </a:lnTo>
                  <a:lnTo>
                    <a:pt x="2783" y="1108"/>
                  </a:lnTo>
                  <a:lnTo>
                    <a:pt x="2776" y="1115"/>
                  </a:lnTo>
                  <a:lnTo>
                    <a:pt x="2769" y="1115"/>
                  </a:lnTo>
                  <a:lnTo>
                    <a:pt x="2769" y="1115"/>
                  </a:lnTo>
                  <a:lnTo>
                    <a:pt x="2762" y="1122"/>
                  </a:lnTo>
                  <a:lnTo>
                    <a:pt x="2762" y="1122"/>
                  </a:lnTo>
                  <a:lnTo>
                    <a:pt x="2762" y="1129"/>
                  </a:lnTo>
                  <a:lnTo>
                    <a:pt x="2762" y="1129"/>
                  </a:lnTo>
                  <a:lnTo>
                    <a:pt x="2776" y="1136"/>
                  </a:lnTo>
                  <a:lnTo>
                    <a:pt x="2776" y="1136"/>
                  </a:lnTo>
                  <a:lnTo>
                    <a:pt x="2776" y="1143"/>
                  </a:lnTo>
                  <a:lnTo>
                    <a:pt x="2776" y="1143"/>
                  </a:lnTo>
                  <a:lnTo>
                    <a:pt x="2783" y="1150"/>
                  </a:lnTo>
                  <a:lnTo>
                    <a:pt x="2783" y="1150"/>
                  </a:lnTo>
                  <a:lnTo>
                    <a:pt x="2783" y="1157"/>
                  </a:lnTo>
                  <a:lnTo>
                    <a:pt x="2783" y="1157"/>
                  </a:lnTo>
                  <a:lnTo>
                    <a:pt x="2783" y="1150"/>
                  </a:lnTo>
                  <a:lnTo>
                    <a:pt x="2790" y="1150"/>
                  </a:lnTo>
                  <a:lnTo>
                    <a:pt x="2790" y="1157"/>
                  </a:lnTo>
                  <a:lnTo>
                    <a:pt x="2790" y="1157"/>
                  </a:lnTo>
                  <a:lnTo>
                    <a:pt x="2790" y="1157"/>
                  </a:lnTo>
                  <a:lnTo>
                    <a:pt x="2790" y="1157"/>
                  </a:lnTo>
                  <a:lnTo>
                    <a:pt x="2790" y="1165"/>
                  </a:lnTo>
                  <a:lnTo>
                    <a:pt x="2797" y="1165"/>
                  </a:lnTo>
                  <a:lnTo>
                    <a:pt x="2797" y="1165"/>
                  </a:lnTo>
                  <a:lnTo>
                    <a:pt x="2797" y="1165"/>
                  </a:lnTo>
                  <a:lnTo>
                    <a:pt x="2797" y="1165"/>
                  </a:lnTo>
                  <a:lnTo>
                    <a:pt x="2797" y="1157"/>
                  </a:lnTo>
                  <a:lnTo>
                    <a:pt x="2804" y="1165"/>
                  </a:lnTo>
                  <a:lnTo>
                    <a:pt x="2804" y="1165"/>
                  </a:lnTo>
                  <a:lnTo>
                    <a:pt x="2811" y="1165"/>
                  </a:lnTo>
                  <a:lnTo>
                    <a:pt x="2811" y="1172"/>
                  </a:lnTo>
                  <a:lnTo>
                    <a:pt x="2811" y="1172"/>
                  </a:lnTo>
                  <a:lnTo>
                    <a:pt x="2819" y="1172"/>
                  </a:lnTo>
                  <a:lnTo>
                    <a:pt x="2819" y="1179"/>
                  </a:lnTo>
                  <a:lnTo>
                    <a:pt x="2826" y="1179"/>
                  </a:lnTo>
                  <a:lnTo>
                    <a:pt x="2833" y="1179"/>
                  </a:lnTo>
                  <a:lnTo>
                    <a:pt x="2833" y="1172"/>
                  </a:lnTo>
                  <a:lnTo>
                    <a:pt x="2833" y="1172"/>
                  </a:lnTo>
                  <a:lnTo>
                    <a:pt x="2840" y="1172"/>
                  </a:lnTo>
                  <a:lnTo>
                    <a:pt x="2840" y="1172"/>
                  </a:lnTo>
                  <a:lnTo>
                    <a:pt x="2840" y="1172"/>
                  </a:lnTo>
                  <a:lnTo>
                    <a:pt x="2840" y="1172"/>
                  </a:lnTo>
                  <a:lnTo>
                    <a:pt x="2847" y="1172"/>
                  </a:lnTo>
                  <a:lnTo>
                    <a:pt x="2854" y="1172"/>
                  </a:lnTo>
                  <a:lnTo>
                    <a:pt x="2861" y="1179"/>
                  </a:lnTo>
                  <a:lnTo>
                    <a:pt x="2868" y="1172"/>
                  </a:lnTo>
                  <a:lnTo>
                    <a:pt x="2875" y="1179"/>
                  </a:lnTo>
                  <a:lnTo>
                    <a:pt x="2882" y="1179"/>
                  </a:lnTo>
                  <a:lnTo>
                    <a:pt x="2882" y="1179"/>
                  </a:lnTo>
                  <a:lnTo>
                    <a:pt x="2882" y="1186"/>
                  </a:lnTo>
                  <a:lnTo>
                    <a:pt x="2882" y="1186"/>
                  </a:lnTo>
                  <a:lnTo>
                    <a:pt x="2882" y="1186"/>
                  </a:lnTo>
                  <a:lnTo>
                    <a:pt x="2890" y="1186"/>
                  </a:lnTo>
                  <a:lnTo>
                    <a:pt x="2890" y="1186"/>
                  </a:lnTo>
                  <a:lnTo>
                    <a:pt x="2897" y="1186"/>
                  </a:lnTo>
                  <a:lnTo>
                    <a:pt x="2904" y="1186"/>
                  </a:lnTo>
                  <a:lnTo>
                    <a:pt x="2904" y="1186"/>
                  </a:lnTo>
                  <a:lnTo>
                    <a:pt x="2911" y="1186"/>
                  </a:lnTo>
                  <a:lnTo>
                    <a:pt x="2911" y="1186"/>
                  </a:lnTo>
                  <a:lnTo>
                    <a:pt x="2911" y="1186"/>
                  </a:lnTo>
                  <a:lnTo>
                    <a:pt x="2911" y="1186"/>
                  </a:lnTo>
                  <a:lnTo>
                    <a:pt x="2911" y="1186"/>
                  </a:lnTo>
                  <a:lnTo>
                    <a:pt x="2911" y="1186"/>
                  </a:lnTo>
                  <a:lnTo>
                    <a:pt x="2911" y="1186"/>
                  </a:lnTo>
                  <a:lnTo>
                    <a:pt x="2911" y="1186"/>
                  </a:lnTo>
                  <a:lnTo>
                    <a:pt x="2911" y="1186"/>
                  </a:lnTo>
                  <a:lnTo>
                    <a:pt x="2911" y="1186"/>
                  </a:lnTo>
                  <a:lnTo>
                    <a:pt x="2911" y="1186"/>
                  </a:lnTo>
                  <a:lnTo>
                    <a:pt x="2911" y="1186"/>
                  </a:lnTo>
                  <a:lnTo>
                    <a:pt x="2911" y="1186"/>
                  </a:lnTo>
                  <a:lnTo>
                    <a:pt x="2918" y="1186"/>
                  </a:lnTo>
                  <a:lnTo>
                    <a:pt x="2918" y="1186"/>
                  </a:lnTo>
                  <a:lnTo>
                    <a:pt x="2918" y="1186"/>
                  </a:lnTo>
                  <a:lnTo>
                    <a:pt x="2918" y="1186"/>
                  </a:lnTo>
                  <a:lnTo>
                    <a:pt x="2918" y="1186"/>
                  </a:lnTo>
                  <a:lnTo>
                    <a:pt x="2925" y="1186"/>
                  </a:lnTo>
                  <a:lnTo>
                    <a:pt x="2932" y="1186"/>
                  </a:lnTo>
                  <a:lnTo>
                    <a:pt x="2946" y="1179"/>
                  </a:lnTo>
                  <a:lnTo>
                    <a:pt x="2953" y="1179"/>
                  </a:lnTo>
                  <a:lnTo>
                    <a:pt x="2953" y="1179"/>
                  </a:lnTo>
                  <a:lnTo>
                    <a:pt x="2953" y="1165"/>
                  </a:lnTo>
                  <a:lnTo>
                    <a:pt x="2961" y="1165"/>
                  </a:lnTo>
                  <a:lnTo>
                    <a:pt x="2961" y="1165"/>
                  </a:lnTo>
                  <a:lnTo>
                    <a:pt x="2968" y="1165"/>
                  </a:lnTo>
                  <a:lnTo>
                    <a:pt x="2968" y="1165"/>
                  </a:lnTo>
                  <a:lnTo>
                    <a:pt x="2968" y="1157"/>
                  </a:lnTo>
                  <a:lnTo>
                    <a:pt x="2975" y="1157"/>
                  </a:lnTo>
                  <a:lnTo>
                    <a:pt x="2975" y="1157"/>
                  </a:lnTo>
                  <a:lnTo>
                    <a:pt x="2975" y="1157"/>
                  </a:lnTo>
                  <a:lnTo>
                    <a:pt x="2982" y="1157"/>
                  </a:lnTo>
                  <a:lnTo>
                    <a:pt x="2996" y="1165"/>
                  </a:lnTo>
                  <a:lnTo>
                    <a:pt x="3010" y="1172"/>
                  </a:lnTo>
                  <a:lnTo>
                    <a:pt x="3024" y="1172"/>
                  </a:lnTo>
                  <a:lnTo>
                    <a:pt x="3067" y="1172"/>
                  </a:lnTo>
                  <a:lnTo>
                    <a:pt x="3074" y="1165"/>
                  </a:lnTo>
                  <a:lnTo>
                    <a:pt x="3074" y="1165"/>
                  </a:lnTo>
                  <a:lnTo>
                    <a:pt x="3081" y="1165"/>
                  </a:lnTo>
                  <a:lnTo>
                    <a:pt x="3088" y="1165"/>
                  </a:lnTo>
                  <a:lnTo>
                    <a:pt x="3095" y="1165"/>
                  </a:lnTo>
                  <a:lnTo>
                    <a:pt x="3095" y="1165"/>
                  </a:lnTo>
                  <a:lnTo>
                    <a:pt x="3095" y="1172"/>
                  </a:lnTo>
                  <a:lnTo>
                    <a:pt x="3102" y="1172"/>
                  </a:lnTo>
                  <a:lnTo>
                    <a:pt x="3102" y="1165"/>
                  </a:lnTo>
                  <a:lnTo>
                    <a:pt x="3102" y="1165"/>
                  </a:lnTo>
                  <a:lnTo>
                    <a:pt x="3110" y="1165"/>
                  </a:lnTo>
                  <a:lnTo>
                    <a:pt x="3110" y="1165"/>
                  </a:lnTo>
                  <a:lnTo>
                    <a:pt x="3110" y="1157"/>
                  </a:lnTo>
                  <a:lnTo>
                    <a:pt x="3110" y="1157"/>
                  </a:lnTo>
                  <a:lnTo>
                    <a:pt x="3110" y="1157"/>
                  </a:lnTo>
                  <a:lnTo>
                    <a:pt x="3117" y="1150"/>
                  </a:lnTo>
                  <a:lnTo>
                    <a:pt x="3117" y="1150"/>
                  </a:lnTo>
                  <a:lnTo>
                    <a:pt x="3124" y="1150"/>
                  </a:lnTo>
                  <a:lnTo>
                    <a:pt x="3124" y="1150"/>
                  </a:lnTo>
                  <a:lnTo>
                    <a:pt x="3124" y="1157"/>
                  </a:lnTo>
                  <a:lnTo>
                    <a:pt x="3131" y="1165"/>
                  </a:lnTo>
                  <a:lnTo>
                    <a:pt x="3131" y="1165"/>
                  </a:lnTo>
                  <a:lnTo>
                    <a:pt x="3131" y="1165"/>
                  </a:lnTo>
                  <a:lnTo>
                    <a:pt x="3138" y="1165"/>
                  </a:lnTo>
                  <a:lnTo>
                    <a:pt x="3138" y="1157"/>
                  </a:lnTo>
                  <a:lnTo>
                    <a:pt x="3145" y="1165"/>
                  </a:lnTo>
                  <a:lnTo>
                    <a:pt x="3145" y="1165"/>
                  </a:lnTo>
                  <a:lnTo>
                    <a:pt x="3152" y="1165"/>
                  </a:lnTo>
                  <a:lnTo>
                    <a:pt x="3159" y="1157"/>
                  </a:lnTo>
                  <a:lnTo>
                    <a:pt x="3166" y="1150"/>
                  </a:lnTo>
                  <a:lnTo>
                    <a:pt x="3166" y="1150"/>
                  </a:lnTo>
                  <a:lnTo>
                    <a:pt x="3173" y="1150"/>
                  </a:lnTo>
                  <a:lnTo>
                    <a:pt x="3173" y="1157"/>
                  </a:lnTo>
                  <a:lnTo>
                    <a:pt x="3173" y="1157"/>
                  </a:lnTo>
                  <a:lnTo>
                    <a:pt x="3173" y="1157"/>
                  </a:lnTo>
                  <a:lnTo>
                    <a:pt x="3173" y="1157"/>
                  </a:lnTo>
                  <a:lnTo>
                    <a:pt x="3173" y="1157"/>
                  </a:lnTo>
                  <a:lnTo>
                    <a:pt x="3173" y="1157"/>
                  </a:lnTo>
                  <a:lnTo>
                    <a:pt x="3173" y="1157"/>
                  </a:lnTo>
                  <a:lnTo>
                    <a:pt x="3181" y="1150"/>
                  </a:lnTo>
                  <a:lnTo>
                    <a:pt x="3173" y="1150"/>
                  </a:lnTo>
                  <a:lnTo>
                    <a:pt x="3173" y="1150"/>
                  </a:lnTo>
                  <a:lnTo>
                    <a:pt x="3181" y="1150"/>
                  </a:lnTo>
                  <a:lnTo>
                    <a:pt x="3181" y="1150"/>
                  </a:lnTo>
                  <a:lnTo>
                    <a:pt x="3188" y="1150"/>
                  </a:lnTo>
                  <a:lnTo>
                    <a:pt x="3188" y="1150"/>
                  </a:lnTo>
                  <a:lnTo>
                    <a:pt x="3195" y="1150"/>
                  </a:lnTo>
                  <a:lnTo>
                    <a:pt x="3202" y="1143"/>
                  </a:lnTo>
                  <a:lnTo>
                    <a:pt x="3202" y="1136"/>
                  </a:lnTo>
                  <a:lnTo>
                    <a:pt x="3195" y="1129"/>
                  </a:lnTo>
                  <a:lnTo>
                    <a:pt x="3195" y="1129"/>
                  </a:lnTo>
                  <a:lnTo>
                    <a:pt x="3195" y="1129"/>
                  </a:lnTo>
                  <a:lnTo>
                    <a:pt x="3188" y="1122"/>
                  </a:lnTo>
                  <a:lnTo>
                    <a:pt x="3181" y="1115"/>
                  </a:lnTo>
                  <a:lnTo>
                    <a:pt x="3181" y="1115"/>
                  </a:lnTo>
                  <a:lnTo>
                    <a:pt x="3181" y="1108"/>
                  </a:lnTo>
                  <a:lnTo>
                    <a:pt x="3181" y="1108"/>
                  </a:lnTo>
                  <a:lnTo>
                    <a:pt x="3188" y="1108"/>
                  </a:lnTo>
                  <a:lnTo>
                    <a:pt x="3188" y="1108"/>
                  </a:lnTo>
                  <a:lnTo>
                    <a:pt x="3188" y="1101"/>
                  </a:lnTo>
                  <a:lnTo>
                    <a:pt x="3188" y="1101"/>
                  </a:lnTo>
                  <a:lnTo>
                    <a:pt x="3188" y="1101"/>
                  </a:lnTo>
                  <a:lnTo>
                    <a:pt x="3188" y="1101"/>
                  </a:lnTo>
                  <a:lnTo>
                    <a:pt x="3188" y="1094"/>
                  </a:lnTo>
                  <a:lnTo>
                    <a:pt x="3188" y="1094"/>
                  </a:lnTo>
                  <a:lnTo>
                    <a:pt x="3195" y="1094"/>
                  </a:lnTo>
                  <a:lnTo>
                    <a:pt x="3195" y="1086"/>
                  </a:lnTo>
                  <a:lnTo>
                    <a:pt x="3195" y="1086"/>
                  </a:lnTo>
                  <a:lnTo>
                    <a:pt x="3181" y="1065"/>
                  </a:lnTo>
                  <a:lnTo>
                    <a:pt x="3173" y="1065"/>
                  </a:lnTo>
                  <a:lnTo>
                    <a:pt x="3173" y="1065"/>
                  </a:lnTo>
                  <a:lnTo>
                    <a:pt x="3173" y="1065"/>
                  </a:lnTo>
                  <a:lnTo>
                    <a:pt x="3166" y="1065"/>
                  </a:lnTo>
                  <a:lnTo>
                    <a:pt x="3166" y="1065"/>
                  </a:lnTo>
                  <a:lnTo>
                    <a:pt x="3159" y="1065"/>
                  </a:lnTo>
                  <a:lnTo>
                    <a:pt x="3152" y="1072"/>
                  </a:lnTo>
                  <a:lnTo>
                    <a:pt x="3145" y="1072"/>
                  </a:lnTo>
                  <a:lnTo>
                    <a:pt x="3145" y="1072"/>
                  </a:lnTo>
                  <a:lnTo>
                    <a:pt x="3145" y="1072"/>
                  </a:lnTo>
                  <a:lnTo>
                    <a:pt x="3145" y="1065"/>
                  </a:lnTo>
                  <a:lnTo>
                    <a:pt x="3138" y="1065"/>
                  </a:lnTo>
                  <a:lnTo>
                    <a:pt x="3138" y="1065"/>
                  </a:lnTo>
                  <a:lnTo>
                    <a:pt x="3131" y="1065"/>
                  </a:lnTo>
                  <a:lnTo>
                    <a:pt x="3131" y="1065"/>
                  </a:lnTo>
                  <a:lnTo>
                    <a:pt x="3131" y="1058"/>
                  </a:lnTo>
                  <a:lnTo>
                    <a:pt x="3124" y="1058"/>
                  </a:lnTo>
                  <a:lnTo>
                    <a:pt x="3124" y="1058"/>
                  </a:lnTo>
                  <a:lnTo>
                    <a:pt x="3124" y="1044"/>
                  </a:lnTo>
                  <a:lnTo>
                    <a:pt x="3124" y="1037"/>
                  </a:lnTo>
                  <a:lnTo>
                    <a:pt x="3124" y="1030"/>
                  </a:lnTo>
                  <a:lnTo>
                    <a:pt x="3124" y="1023"/>
                  </a:lnTo>
                  <a:lnTo>
                    <a:pt x="3145" y="1023"/>
                  </a:lnTo>
                  <a:lnTo>
                    <a:pt x="3152" y="1023"/>
                  </a:lnTo>
                  <a:lnTo>
                    <a:pt x="3152" y="1030"/>
                  </a:lnTo>
                  <a:lnTo>
                    <a:pt x="3152" y="1030"/>
                  </a:lnTo>
                  <a:lnTo>
                    <a:pt x="3159" y="1030"/>
                  </a:lnTo>
                  <a:lnTo>
                    <a:pt x="3166" y="1030"/>
                  </a:lnTo>
                  <a:lnTo>
                    <a:pt x="3166" y="1030"/>
                  </a:lnTo>
                  <a:lnTo>
                    <a:pt x="3173" y="1023"/>
                  </a:lnTo>
                  <a:lnTo>
                    <a:pt x="3181" y="1015"/>
                  </a:lnTo>
                  <a:lnTo>
                    <a:pt x="3188" y="1015"/>
                  </a:lnTo>
                  <a:lnTo>
                    <a:pt x="3188" y="1015"/>
                  </a:lnTo>
                  <a:lnTo>
                    <a:pt x="3195" y="1015"/>
                  </a:lnTo>
                  <a:lnTo>
                    <a:pt x="3202" y="1015"/>
                  </a:lnTo>
                  <a:lnTo>
                    <a:pt x="3202" y="1015"/>
                  </a:lnTo>
                  <a:lnTo>
                    <a:pt x="3202" y="1015"/>
                  </a:lnTo>
                  <a:lnTo>
                    <a:pt x="3202" y="1008"/>
                  </a:lnTo>
                  <a:lnTo>
                    <a:pt x="3202" y="1008"/>
                  </a:lnTo>
                  <a:lnTo>
                    <a:pt x="3202" y="1008"/>
                  </a:lnTo>
                  <a:lnTo>
                    <a:pt x="3202" y="1008"/>
                  </a:lnTo>
                  <a:lnTo>
                    <a:pt x="3202" y="1008"/>
                  </a:lnTo>
                  <a:lnTo>
                    <a:pt x="3202" y="1008"/>
                  </a:lnTo>
                  <a:lnTo>
                    <a:pt x="3209" y="1015"/>
                  </a:lnTo>
                  <a:lnTo>
                    <a:pt x="3209" y="1015"/>
                  </a:lnTo>
                  <a:lnTo>
                    <a:pt x="3209" y="1015"/>
                  </a:lnTo>
                  <a:lnTo>
                    <a:pt x="3209" y="1015"/>
                  </a:lnTo>
                  <a:lnTo>
                    <a:pt x="3216" y="1008"/>
                  </a:lnTo>
                  <a:lnTo>
                    <a:pt x="3216" y="1008"/>
                  </a:lnTo>
                  <a:lnTo>
                    <a:pt x="3216" y="1015"/>
                  </a:lnTo>
                  <a:lnTo>
                    <a:pt x="3216" y="1015"/>
                  </a:lnTo>
                  <a:lnTo>
                    <a:pt x="3216" y="1015"/>
                  </a:lnTo>
                  <a:lnTo>
                    <a:pt x="3216" y="1008"/>
                  </a:lnTo>
                  <a:lnTo>
                    <a:pt x="3216" y="1008"/>
                  </a:lnTo>
                  <a:lnTo>
                    <a:pt x="3223" y="1008"/>
                  </a:lnTo>
                  <a:lnTo>
                    <a:pt x="3223" y="1008"/>
                  </a:lnTo>
                  <a:lnTo>
                    <a:pt x="3223" y="1008"/>
                  </a:lnTo>
                  <a:lnTo>
                    <a:pt x="3223" y="1008"/>
                  </a:lnTo>
                  <a:lnTo>
                    <a:pt x="3223" y="1008"/>
                  </a:lnTo>
                  <a:lnTo>
                    <a:pt x="3230" y="1008"/>
                  </a:lnTo>
                  <a:lnTo>
                    <a:pt x="3237" y="1001"/>
                  </a:lnTo>
                  <a:lnTo>
                    <a:pt x="3237" y="1001"/>
                  </a:lnTo>
                  <a:lnTo>
                    <a:pt x="3244" y="1001"/>
                  </a:lnTo>
                  <a:lnTo>
                    <a:pt x="3244" y="1001"/>
                  </a:lnTo>
                  <a:lnTo>
                    <a:pt x="3244" y="994"/>
                  </a:lnTo>
                  <a:lnTo>
                    <a:pt x="3252" y="994"/>
                  </a:lnTo>
                  <a:lnTo>
                    <a:pt x="3252" y="994"/>
                  </a:lnTo>
                  <a:lnTo>
                    <a:pt x="3259" y="987"/>
                  </a:lnTo>
                  <a:lnTo>
                    <a:pt x="3252" y="987"/>
                  </a:lnTo>
                  <a:lnTo>
                    <a:pt x="3252" y="987"/>
                  </a:lnTo>
                  <a:lnTo>
                    <a:pt x="3252" y="987"/>
                  </a:lnTo>
                  <a:lnTo>
                    <a:pt x="3252" y="987"/>
                  </a:lnTo>
                  <a:lnTo>
                    <a:pt x="3259" y="980"/>
                  </a:lnTo>
                  <a:lnTo>
                    <a:pt x="3259" y="980"/>
                  </a:lnTo>
                  <a:lnTo>
                    <a:pt x="3252" y="973"/>
                  </a:lnTo>
                  <a:lnTo>
                    <a:pt x="3252" y="973"/>
                  </a:lnTo>
                  <a:lnTo>
                    <a:pt x="3244" y="973"/>
                  </a:lnTo>
                  <a:lnTo>
                    <a:pt x="3244" y="973"/>
                  </a:lnTo>
                  <a:lnTo>
                    <a:pt x="3252" y="966"/>
                  </a:lnTo>
                  <a:lnTo>
                    <a:pt x="3252" y="966"/>
                  </a:lnTo>
                  <a:lnTo>
                    <a:pt x="3252" y="959"/>
                  </a:lnTo>
                  <a:lnTo>
                    <a:pt x="3259" y="959"/>
                  </a:lnTo>
                  <a:lnTo>
                    <a:pt x="3259" y="952"/>
                  </a:lnTo>
                  <a:lnTo>
                    <a:pt x="3266" y="959"/>
                  </a:lnTo>
                  <a:lnTo>
                    <a:pt x="3266" y="959"/>
                  </a:lnTo>
                  <a:lnTo>
                    <a:pt x="3266" y="959"/>
                  </a:lnTo>
                  <a:lnTo>
                    <a:pt x="3266" y="959"/>
                  </a:lnTo>
                  <a:lnTo>
                    <a:pt x="3266" y="959"/>
                  </a:lnTo>
                  <a:lnTo>
                    <a:pt x="3266" y="959"/>
                  </a:lnTo>
                  <a:lnTo>
                    <a:pt x="3273" y="952"/>
                  </a:lnTo>
                  <a:lnTo>
                    <a:pt x="3273" y="952"/>
                  </a:lnTo>
                  <a:lnTo>
                    <a:pt x="3273" y="952"/>
                  </a:lnTo>
                  <a:lnTo>
                    <a:pt x="3273" y="944"/>
                  </a:lnTo>
                  <a:lnTo>
                    <a:pt x="3280" y="944"/>
                  </a:lnTo>
                  <a:lnTo>
                    <a:pt x="3280" y="944"/>
                  </a:lnTo>
                  <a:lnTo>
                    <a:pt x="3287" y="944"/>
                  </a:lnTo>
                  <a:lnTo>
                    <a:pt x="3287" y="937"/>
                  </a:lnTo>
                  <a:lnTo>
                    <a:pt x="3294" y="930"/>
                  </a:lnTo>
                  <a:lnTo>
                    <a:pt x="3301" y="923"/>
                  </a:lnTo>
                  <a:lnTo>
                    <a:pt x="3301" y="923"/>
                  </a:lnTo>
                  <a:lnTo>
                    <a:pt x="3301" y="916"/>
                  </a:lnTo>
                  <a:lnTo>
                    <a:pt x="3301" y="909"/>
                  </a:lnTo>
                  <a:lnTo>
                    <a:pt x="3301" y="909"/>
                  </a:lnTo>
                  <a:lnTo>
                    <a:pt x="3308" y="895"/>
                  </a:lnTo>
                  <a:lnTo>
                    <a:pt x="3308" y="895"/>
                  </a:lnTo>
                  <a:lnTo>
                    <a:pt x="3308" y="895"/>
                  </a:lnTo>
                  <a:lnTo>
                    <a:pt x="3308" y="888"/>
                  </a:lnTo>
                  <a:lnTo>
                    <a:pt x="3308" y="888"/>
                  </a:lnTo>
                  <a:lnTo>
                    <a:pt x="3308" y="888"/>
                  </a:lnTo>
                  <a:lnTo>
                    <a:pt x="3315" y="888"/>
                  </a:lnTo>
                  <a:lnTo>
                    <a:pt x="3315" y="888"/>
                  </a:lnTo>
                  <a:lnTo>
                    <a:pt x="3315" y="888"/>
                  </a:lnTo>
                  <a:lnTo>
                    <a:pt x="3315" y="888"/>
                  </a:lnTo>
                  <a:lnTo>
                    <a:pt x="3315" y="888"/>
                  </a:lnTo>
                  <a:lnTo>
                    <a:pt x="3315" y="888"/>
                  </a:lnTo>
                  <a:lnTo>
                    <a:pt x="3323" y="888"/>
                  </a:lnTo>
                  <a:lnTo>
                    <a:pt x="3323" y="888"/>
                  </a:lnTo>
                  <a:lnTo>
                    <a:pt x="3323" y="888"/>
                  </a:lnTo>
                  <a:lnTo>
                    <a:pt x="3337" y="881"/>
                  </a:lnTo>
                  <a:lnTo>
                    <a:pt x="3351" y="881"/>
                  </a:lnTo>
                  <a:lnTo>
                    <a:pt x="3358" y="881"/>
                  </a:lnTo>
                  <a:lnTo>
                    <a:pt x="3358" y="881"/>
                  </a:lnTo>
                  <a:lnTo>
                    <a:pt x="3358" y="881"/>
                  </a:lnTo>
                  <a:lnTo>
                    <a:pt x="3358" y="881"/>
                  </a:lnTo>
                  <a:lnTo>
                    <a:pt x="3365" y="873"/>
                  </a:lnTo>
                  <a:lnTo>
                    <a:pt x="3365" y="873"/>
                  </a:lnTo>
                  <a:lnTo>
                    <a:pt x="3365" y="881"/>
                  </a:lnTo>
                  <a:lnTo>
                    <a:pt x="3372" y="873"/>
                  </a:lnTo>
                  <a:lnTo>
                    <a:pt x="3379" y="866"/>
                  </a:lnTo>
                  <a:lnTo>
                    <a:pt x="3379" y="866"/>
                  </a:lnTo>
                  <a:lnTo>
                    <a:pt x="3386" y="866"/>
                  </a:lnTo>
                  <a:lnTo>
                    <a:pt x="3386" y="866"/>
                  </a:lnTo>
                  <a:lnTo>
                    <a:pt x="3386" y="859"/>
                  </a:lnTo>
                  <a:lnTo>
                    <a:pt x="3386" y="859"/>
                  </a:lnTo>
                  <a:lnTo>
                    <a:pt x="3386" y="859"/>
                  </a:lnTo>
                  <a:lnTo>
                    <a:pt x="3386" y="859"/>
                  </a:lnTo>
                  <a:lnTo>
                    <a:pt x="3394" y="859"/>
                  </a:lnTo>
                  <a:lnTo>
                    <a:pt x="3386" y="859"/>
                  </a:lnTo>
                  <a:lnTo>
                    <a:pt x="3386" y="859"/>
                  </a:lnTo>
                  <a:lnTo>
                    <a:pt x="3386" y="859"/>
                  </a:lnTo>
                  <a:lnTo>
                    <a:pt x="3394" y="859"/>
                  </a:lnTo>
                  <a:lnTo>
                    <a:pt x="3394" y="852"/>
                  </a:lnTo>
                  <a:lnTo>
                    <a:pt x="3394" y="852"/>
                  </a:lnTo>
                  <a:lnTo>
                    <a:pt x="3401" y="852"/>
                  </a:lnTo>
                  <a:lnTo>
                    <a:pt x="3401" y="852"/>
                  </a:lnTo>
                  <a:lnTo>
                    <a:pt x="3401" y="852"/>
                  </a:lnTo>
                  <a:lnTo>
                    <a:pt x="3401" y="852"/>
                  </a:lnTo>
                  <a:lnTo>
                    <a:pt x="3401" y="845"/>
                  </a:lnTo>
                  <a:lnTo>
                    <a:pt x="3401" y="845"/>
                  </a:lnTo>
                  <a:lnTo>
                    <a:pt x="3401" y="838"/>
                  </a:lnTo>
                  <a:lnTo>
                    <a:pt x="3401" y="838"/>
                  </a:lnTo>
                  <a:lnTo>
                    <a:pt x="3401" y="838"/>
                  </a:lnTo>
                  <a:lnTo>
                    <a:pt x="3401" y="838"/>
                  </a:lnTo>
                  <a:lnTo>
                    <a:pt x="3408" y="838"/>
                  </a:lnTo>
                  <a:lnTo>
                    <a:pt x="3408" y="838"/>
                  </a:lnTo>
                  <a:lnTo>
                    <a:pt x="3408" y="838"/>
                  </a:lnTo>
                  <a:lnTo>
                    <a:pt x="3415" y="831"/>
                  </a:lnTo>
                  <a:lnTo>
                    <a:pt x="3422" y="810"/>
                  </a:lnTo>
                  <a:lnTo>
                    <a:pt x="3429" y="810"/>
                  </a:lnTo>
                  <a:lnTo>
                    <a:pt x="3436" y="810"/>
                  </a:lnTo>
                  <a:lnTo>
                    <a:pt x="3436" y="810"/>
                  </a:lnTo>
                  <a:lnTo>
                    <a:pt x="3436" y="810"/>
                  </a:lnTo>
                  <a:lnTo>
                    <a:pt x="3436" y="802"/>
                  </a:lnTo>
                  <a:lnTo>
                    <a:pt x="3436" y="802"/>
                  </a:lnTo>
                  <a:lnTo>
                    <a:pt x="3443" y="802"/>
                  </a:lnTo>
                  <a:lnTo>
                    <a:pt x="3443" y="795"/>
                  </a:lnTo>
                  <a:lnTo>
                    <a:pt x="3450" y="795"/>
                  </a:lnTo>
                  <a:lnTo>
                    <a:pt x="3450" y="795"/>
                  </a:lnTo>
                  <a:lnTo>
                    <a:pt x="3457" y="795"/>
                  </a:lnTo>
                  <a:lnTo>
                    <a:pt x="3457" y="795"/>
                  </a:lnTo>
                  <a:lnTo>
                    <a:pt x="3465" y="781"/>
                  </a:lnTo>
                  <a:lnTo>
                    <a:pt x="3465" y="781"/>
                  </a:lnTo>
                  <a:lnTo>
                    <a:pt x="3465" y="781"/>
                  </a:lnTo>
                  <a:lnTo>
                    <a:pt x="3472" y="781"/>
                  </a:lnTo>
                  <a:lnTo>
                    <a:pt x="3479" y="788"/>
                  </a:lnTo>
                  <a:lnTo>
                    <a:pt x="3486" y="795"/>
                  </a:lnTo>
                  <a:lnTo>
                    <a:pt x="3486" y="795"/>
                  </a:lnTo>
                  <a:lnTo>
                    <a:pt x="3486" y="802"/>
                  </a:lnTo>
                  <a:lnTo>
                    <a:pt x="3486" y="802"/>
                  </a:lnTo>
                  <a:lnTo>
                    <a:pt x="3493" y="802"/>
                  </a:lnTo>
                  <a:lnTo>
                    <a:pt x="3493" y="802"/>
                  </a:lnTo>
                  <a:lnTo>
                    <a:pt x="3500" y="802"/>
                  </a:lnTo>
                  <a:lnTo>
                    <a:pt x="3500" y="802"/>
                  </a:lnTo>
                  <a:lnTo>
                    <a:pt x="3514" y="802"/>
                  </a:lnTo>
                  <a:lnTo>
                    <a:pt x="3514" y="810"/>
                  </a:lnTo>
                  <a:lnTo>
                    <a:pt x="3514" y="802"/>
                  </a:lnTo>
                  <a:lnTo>
                    <a:pt x="3514" y="802"/>
                  </a:lnTo>
                  <a:lnTo>
                    <a:pt x="3514" y="802"/>
                  </a:lnTo>
                  <a:lnTo>
                    <a:pt x="3514" y="802"/>
                  </a:lnTo>
                  <a:lnTo>
                    <a:pt x="3514" y="802"/>
                  </a:lnTo>
                  <a:lnTo>
                    <a:pt x="3521" y="802"/>
                  </a:lnTo>
                  <a:lnTo>
                    <a:pt x="3528" y="810"/>
                  </a:lnTo>
                  <a:lnTo>
                    <a:pt x="3536" y="810"/>
                  </a:lnTo>
                  <a:lnTo>
                    <a:pt x="3543" y="810"/>
                  </a:lnTo>
                  <a:lnTo>
                    <a:pt x="3543" y="810"/>
                  </a:lnTo>
                  <a:lnTo>
                    <a:pt x="3543" y="810"/>
                  </a:lnTo>
                  <a:lnTo>
                    <a:pt x="3543" y="810"/>
                  </a:lnTo>
                  <a:lnTo>
                    <a:pt x="3543" y="810"/>
                  </a:lnTo>
                  <a:lnTo>
                    <a:pt x="3543" y="817"/>
                  </a:lnTo>
                  <a:lnTo>
                    <a:pt x="3550" y="817"/>
                  </a:lnTo>
                  <a:lnTo>
                    <a:pt x="3557" y="817"/>
                  </a:lnTo>
                  <a:lnTo>
                    <a:pt x="3557" y="817"/>
                  </a:lnTo>
                  <a:lnTo>
                    <a:pt x="3564" y="817"/>
                  </a:lnTo>
                  <a:lnTo>
                    <a:pt x="3564" y="817"/>
                  </a:lnTo>
                  <a:lnTo>
                    <a:pt x="3571" y="817"/>
                  </a:lnTo>
                  <a:lnTo>
                    <a:pt x="3571" y="817"/>
                  </a:lnTo>
                  <a:lnTo>
                    <a:pt x="3571" y="817"/>
                  </a:lnTo>
                  <a:lnTo>
                    <a:pt x="3578" y="810"/>
                  </a:lnTo>
                  <a:lnTo>
                    <a:pt x="3578" y="810"/>
                  </a:lnTo>
                  <a:lnTo>
                    <a:pt x="3578" y="802"/>
                  </a:lnTo>
                  <a:lnTo>
                    <a:pt x="3578" y="802"/>
                  </a:lnTo>
                  <a:lnTo>
                    <a:pt x="3578" y="802"/>
                  </a:lnTo>
                  <a:lnTo>
                    <a:pt x="3578" y="802"/>
                  </a:lnTo>
                  <a:lnTo>
                    <a:pt x="3578" y="795"/>
                  </a:lnTo>
                  <a:lnTo>
                    <a:pt x="3578" y="795"/>
                  </a:lnTo>
                  <a:lnTo>
                    <a:pt x="3578" y="788"/>
                  </a:lnTo>
                  <a:lnTo>
                    <a:pt x="3585" y="788"/>
                  </a:lnTo>
                  <a:lnTo>
                    <a:pt x="3585" y="788"/>
                  </a:lnTo>
                  <a:lnTo>
                    <a:pt x="3585" y="788"/>
                  </a:lnTo>
                  <a:lnTo>
                    <a:pt x="3585" y="788"/>
                  </a:lnTo>
                  <a:lnTo>
                    <a:pt x="3585" y="788"/>
                  </a:lnTo>
                  <a:lnTo>
                    <a:pt x="3585" y="781"/>
                  </a:lnTo>
                  <a:lnTo>
                    <a:pt x="3585" y="781"/>
                  </a:lnTo>
                  <a:lnTo>
                    <a:pt x="3585" y="781"/>
                  </a:lnTo>
                  <a:lnTo>
                    <a:pt x="3592" y="781"/>
                  </a:lnTo>
                  <a:lnTo>
                    <a:pt x="3592" y="781"/>
                  </a:lnTo>
                  <a:lnTo>
                    <a:pt x="3592" y="774"/>
                  </a:lnTo>
                  <a:lnTo>
                    <a:pt x="3599" y="774"/>
                  </a:lnTo>
                  <a:lnTo>
                    <a:pt x="3599" y="774"/>
                  </a:lnTo>
                  <a:lnTo>
                    <a:pt x="3599" y="774"/>
                  </a:lnTo>
                  <a:lnTo>
                    <a:pt x="3599" y="774"/>
                  </a:lnTo>
                  <a:lnTo>
                    <a:pt x="3599" y="774"/>
                  </a:lnTo>
                  <a:lnTo>
                    <a:pt x="3599" y="774"/>
                  </a:lnTo>
                  <a:lnTo>
                    <a:pt x="3606" y="767"/>
                  </a:lnTo>
                  <a:lnTo>
                    <a:pt x="3606" y="767"/>
                  </a:lnTo>
                  <a:lnTo>
                    <a:pt x="3606" y="767"/>
                  </a:lnTo>
                  <a:lnTo>
                    <a:pt x="3614" y="760"/>
                  </a:lnTo>
                  <a:lnTo>
                    <a:pt x="3621" y="760"/>
                  </a:lnTo>
                  <a:lnTo>
                    <a:pt x="3621" y="760"/>
                  </a:lnTo>
                  <a:lnTo>
                    <a:pt x="3621" y="760"/>
                  </a:lnTo>
                  <a:lnTo>
                    <a:pt x="3628" y="760"/>
                  </a:lnTo>
                  <a:lnTo>
                    <a:pt x="3635" y="753"/>
                  </a:lnTo>
                  <a:lnTo>
                    <a:pt x="3635" y="753"/>
                  </a:lnTo>
                  <a:lnTo>
                    <a:pt x="3642" y="753"/>
                  </a:lnTo>
                  <a:lnTo>
                    <a:pt x="3642" y="753"/>
                  </a:lnTo>
                  <a:lnTo>
                    <a:pt x="3642" y="753"/>
                  </a:lnTo>
                  <a:lnTo>
                    <a:pt x="3649" y="760"/>
                  </a:lnTo>
                  <a:lnTo>
                    <a:pt x="3649" y="760"/>
                  </a:lnTo>
                  <a:lnTo>
                    <a:pt x="3649" y="760"/>
                  </a:lnTo>
                  <a:lnTo>
                    <a:pt x="3656" y="767"/>
                  </a:lnTo>
                  <a:lnTo>
                    <a:pt x="3656" y="774"/>
                  </a:lnTo>
                  <a:lnTo>
                    <a:pt x="3656" y="774"/>
                  </a:lnTo>
                  <a:lnTo>
                    <a:pt x="3663" y="781"/>
                  </a:lnTo>
                  <a:lnTo>
                    <a:pt x="3663" y="781"/>
                  </a:lnTo>
                  <a:lnTo>
                    <a:pt x="3670" y="781"/>
                  </a:lnTo>
                  <a:lnTo>
                    <a:pt x="3677" y="774"/>
                  </a:lnTo>
                  <a:lnTo>
                    <a:pt x="3677" y="774"/>
                  </a:lnTo>
                  <a:lnTo>
                    <a:pt x="3677" y="774"/>
                  </a:lnTo>
                  <a:lnTo>
                    <a:pt x="3677" y="774"/>
                  </a:lnTo>
                  <a:lnTo>
                    <a:pt x="3685" y="774"/>
                  </a:lnTo>
                  <a:lnTo>
                    <a:pt x="3685" y="781"/>
                  </a:lnTo>
                  <a:lnTo>
                    <a:pt x="3677" y="781"/>
                  </a:lnTo>
                  <a:lnTo>
                    <a:pt x="3677" y="788"/>
                  </a:lnTo>
                  <a:lnTo>
                    <a:pt x="3677" y="788"/>
                  </a:lnTo>
                  <a:lnTo>
                    <a:pt x="3663" y="795"/>
                  </a:lnTo>
                  <a:lnTo>
                    <a:pt x="3663" y="795"/>
                  </a:lnTo>
                  <a:lnTo>
                    <a:pt x="3663" y="795"/>
                  </a:lnTo>
                  <a:lnTo>
                    <a:pt x="3663" y="802"/>
                  </a:lnTo>
                  <a:lnTo>
                    <a:pt x="3663" y="802"/>
                  </a:lnTo>
                  <a:lnTo>
                    <a:pt x="3656" y="802"/>
                  </a:lnTo>
                  <a:lnTo>
                    <a:pt x="3656" y="802"/>
                  </a:lnTo>
                  <a:lnTo>
                    <a:pt x="3656" y="810"/>
                  </a:lnTo>
                  <a:lnTo>
                    <a:pt x="3656" y="810"/>
                  </a:lnTo>
                  <a:lnTo>
                    <a:pt x="3663" y="817"/>
                  </a:lnTo>
                  <a:lnTo>
                    <a:pt x="3663" y="817"/>
                  </a:lnTo>
                  <a:lnTo>
                    <a:pt x="3663" y="824"/>
                  </a:lnTo>
                  <a:lnTo>
                    <a:pt x="3663" y="824"/>
                  </a:lnTo>
                  <a:lnTo>
                    <a:pt x="3663" y="831"/>
                  </a:lnTo>
                  <a:lnTo>
                    <a:pt x="3670" y="824"/>
                  </a:lnTo>
                  <a:lnTo>
                    <a:pt x="3677" y="817"/>
                  </a:lnTo>
                  <a:lnTo>
                    <a:pt x="3677" y="817"/>
                  </a:lnTo>
                  <a:lnTo>
                    <a:pt x="3677" y="817"/>
                  </a:lnTo>
                  <a:lnTo>
                    <a:pt x="3677" y="817"/>
                  </a:lnTo>
                  <a:lnTo>
                    <a:pt x="3685" y="810"/>
                  </a:lnTo>
                  <a:lnTo>
                    <a:pt x="3699" y="802"/>
                  </a:lnTo>
                  <a:lnTo>
                    <a:pt x="3699" y="802"/>
                  </a:lnTo>
                  <a:lnTo>
                    <a:pt x="3699" y="802"/>
                  </a:lnTo>
                  <a:lnTo>
                    <a:pt x="3699" y="802"/>
                  </a:lnTo>
                  <a:lnTo>
                    <a:pt x="3699" y="802"/>
                  </a:lnTo>
                  <a:lnTo>
                    <a:pt x="3699" y="802"/>
                  </a:lnTo>
                  <a:lnTo>
                    <a:pt x="3699" y="810"/>
                  </a:lnTo>
                  <a:lnTo>
                    <a:pt x="3699" y="810"/>
                  </a:lnTo>
                  <a:lnTo>
                    <a:pt x="3699" y="817"/>
                  </a:lnTo>
                  <a:lnTo>
                    <a:pt x="3699" y="817"/>
                  </a:lnTo>
                  <a:lnTo>
                    <a:pt x="3699" y="817"/>
                  </a:lnTo>
                  <a:lnTo>
                    <a:pt x="3706" y="817"/>
                  </a:lnTo>
                  <a:lnTo>
                    <a:pt x="3706" y="817"/>
                  </a:lnTo>
                  <a:lnTo>
                    <a:pt x="3706" y="824"/>
                  </a:lnTo>
                  <a:lnTo>
                    <a:pt x="3713" y="831"/>
                  </a:lnTo>
                  <a:lnTo>
                    <a:pt x="3713" y="831"/>
                  </a:lnTo>
                  <a:lnTo>
                    <a:pt x="3720" y="838"/>
                  </a:lnTo>
                  <a:lnTo>
                    <a:pt x="3720" y="845"/>
                  </a:lnTo>
                  <a:lnTo>
                    <a:pt x="3720" y="852"/>
                  </a:lnTo>
                  <a:lnTo>
                    <a:pt x="3706" y="859"/>
                  </a:lnTo>
                  <a:lnTo>
                    <a:pt x="3706" y="859"/>
                  </a:lnTo>
                  <a:lnTo>
                    <a:pt x="3706" y="859"/>
                  </a:lnTo>
                  <a:lnTo>
                    <a:pt x="3706" y="866"/>
                  </a:lnTo>
                  <a:lnTo>
                    <a:pt x="3706" y="866"/>
                  </a:lnTo>
                  <a:lnTo>
                    <a:pt x="3706" y="873"/>
                  </a:lnTo>
                  <a:lnTo>
                    <a:pt x="3706" y="873"/>
                  </a:lnTo>
                  <a:lnTo>
                    <a:pt x="3699" y="873"/>
                  </a:lnTo>
                  <a:lnTo>
                    <a:pt x="3699" y="873"/>
                  </a:lnTo>
                  <a:lnTo>
                    <a:pt x="3699" y="881"/>
                  </a:lnTo>
                  <a:lnTo>
                    <a:pt x="3692" y="881"/>
                  </a:lnTo>
                  <a:lnTo>
                    <a:pt x="3699" y="888"/>
                  </a:lnTo>
                  <a:lnTo>
                    <a:pt x="3699" y="888"/>
                  </a:lnTo>
                  <a:lnTo>
                    <a:pt x="3699" y="888"/>
                  </a:lnTo>
                  <a:lnTo>
                    <a:pt x="3699" y="895"/>
                  </a:lnTo>
                  <a:lnTo>
                    <a:pt x="3692" y="895"/>
                  </a:lnTo>
                  <a:lnTo>
                    <a:pt x="3692" y="902"/>
                  </a:lnTo>
                  <a:lnTo>
                    <a:pt x="3692" y="895"/>
                  </a:lnTo>
                  <a:lnTo>
                    <a:pt x="3692" y="902"/>
                  </a:lnTo>
                  <a:lnTo>
                    <a:pt x="3692" y="902"/>
                  </a:lnTo>
                  <a:lnTo>
                    <a:pt x="3699" y="902"/>
                  </a:lnTo>
                  <a:lnTo>
                    <a:pt x="3699" y="902"/>
                  </a:lnTo>
                  <a:lnTo>
                    <a:pt x="3699" y="902"/>
                  </a:lnTo>
                  <a:lnTo>
                    <a:pt x="3706" y="902"/>
                  </a:lnTo>
                  <a:lnTo>
                    <a:pt x="3706" y="902"/>
                  </a:lnTo>
                  <a:lnTo>
                    <a:pt x="3706" y="902"/>
                  </a:lnTo>
                  <a:lnTo>
                    <a:pt x="3706" y="902"/>
                  </a:lnTo>
                  <a:lnTo>
                    <a:pt x="3706" y="902"/>
                  </a:lnTo>
                  <a:lnTo>
                    <a:pt x="3713" y="902"/>
                  </a:lnTo>
                  <a:lnTo>
                    <a:pt x="3713" y="895"/>
                  </a:lnTo>
                  <a:lnTo>
                    <a:pt x="3713" y="895"/>
                  </a:lnTo>
                  <a:lnTo>
                    <a:pt x="3713" y="895"/>
                  </a:lnTo>
                  <a:lnTo>
                    <a:pt x="3720" y="895"/>
                  </a:lnTo>
                  <a:lnTo>
                    <a:pt x="3720" y="895"/>
                  </a:lnTo>
                  <a:lnTo>
                    <a:pt x="3727" y="888"/>
                  </a:lnTo>
                  <a:lnTo>
                    <a:pt x="3727" y="888"/>
                  </a:lnTo>
                  <a:lnTo>
                    <a:pt x="3727" y="888"/>
                  </a:lnTo>
                  <a:lnTo>
                    <a:pt x="3734" y="888"/>
                  </a:lnTo>
                  <a:lnTo>
                    <a:pt x="3734" y="888"/>
                  </a:lnTo>
                  <a:lnTo>
                    <a:pt x="3748" y="895"/>
                  </a:lnTo>
                  <a:lnTo>
                    <a:pt x="3756" y="895"/>
                  </a:lnTo>
                  <a:lnTo>
                    <a:pt x="3756" y="902"/>
                  </a:lnTo>
                  <a:lnTo>
                    <a:pt x="3770" y="902"/>
                  </a:lnTo>
                  <a:lnTo>
                    <a:pt x="3770" y="902"/>
                  </a:lnTo>
                  <a:lnTo>
                    <a:pt x="3777" y="902"/>
                  </a:lnTo>
                  <a:lnTo>
                    <a:pt x="3777" y="902"/>
                  </a:lnTo>
                  <a:lnTo>
                    <a:pt x="3784" y="902"/>
                  </a:lnTo>
                  <a:lnTo>
                    <a:pt x="3791" y="902"/>
                  </a:lnTo>
                  <a:lnTo>
                    <a:pt x="3791" y="895"/>
                  </a:lnTo>
                  <a:lnTo>
                    <a:pt x="3798" y="895"/>
                  </a:lnTo>
                  <a:lnTo>
                    <a:pt x="3805" y="902"/>
                  </a:lnTo>
                  <a:lnTo>
                    <a:pt x="3805" y="902"/>
                  </a:lnTo>
                  <a:lnTo>
                    <a:pt x="3812" y="902"/>
                  </a:lnTo>
                  <a:lnTo>
                    <a:pt x="3812" y="902"/>
                  </a:lnTo>
                  <a:lnTo>
                    <a:pt x="3812" y="909"/>
                  </a:lnTo>
                  <a:lnTo>
                    <a:pt x="3812" y="909"/>
                  </a:lnTo>
                  <a:lnTo>
                    <a:pt x="3819" y="916"/>
                  </a:lnTo>
                  <a:lnTo>
                    <a:pt x="3827" y="916"/>
                  </a:lnTo>
                  <a:lnTo>
                    <a:pt x="3827" y="923"/>
                  </a:lnTo>
                  <a:lnTo>
                    <a:pt x="3827" y="930"/>
                  </a:lnTo>
                  <a:lnTo>
                    <a:pt x="3827" y="930"/>
                  </a:lnTo>
                  <a:lnTo>
                    <a:pt x="3827" y="937"/>
                  </a:lnTo>
                  <a:lnTo>
                    <a:pt x="3834" y="944"/>
                  </a:lnTo>
                  <a:lnTo>
                    <a:pt x="3841" y="944"/>
                  </a:lnTo>
                  <a:lnTo>
                    <a:pt x="3841" y="952"/>
                  </a:lnTo>
                  <a:lnTo>
                    <a:pt x="3834" y="952"/>
                  </a:lnTo>
                  <a:lnTo>
                    <a:pt x="3834" y="959"/>
                  </a:lnTo>
                  <a:lnTo>
                    <a:pt x="3834" y="959"/>
                  </a:lnTo>
                  <a:lnTo>
                    <a:pt x="3841" y="959"/>
                  </a:lnTo>
                  <a:lnTo>
                    <a:pt x="3841" y="959"/>
                  </a:lnTo>
                  <a:lnTo>
                    <a:pt x="3834" y="966"/>
                  </a:lnTo>
                  <a:lnTo>
                    <a:pt x="3834" y="966"/>
                  </a:lnTo>
                  <a:lnTo>
                    <a:pt x="3834" y="966"/>
                  </a:lnTo>
                  <a:lnTo>
                    <a:pt x="3834" y="959"/>
                  </a:lnTo>
                  <a:lnTo>
                    <a:pt x="3827" y="959"/>
                  </a:lnTo>
                  <a:lnTo>
                    <a:pt x="3827" y="959"/>
                  </a:lnTo>
                  <a:lnTo>
                    <a:pt x="3827" y="959"/>
                  </a:lnTo>
                  <a:lnTo>
                    <a:pt x="3827" y="959"/>
                  </a:lnTo>
                  <a:lnTo>
                    <a:pt x="3819" y="966"/>
                  </a:lnTo>
                  <a:lnTo>
                    <a:pt x="3819" y="966"/>
                  </a:lnTo>
                  <a:lnTo>
                    <a:pt x="3819" y="966"/>
                  </a:lnTo>
                  <a:lnTo>
                    <a:pt x="3812" y="973"/>
                  </a:lnTo>
                  <a:lnTo>
                    <a:pt x="3812" y="973"/>
                  </a:lnTo>
                  <a:lnTo>
                    <a:pt x="3812" y="973"/>
                  </a:lnTo>
                  <a:lnTo>
                    <a:pt x="3812" y="973"/>
                  </a:lnTo>
                  <a:lnTo>
                    <a:pt x="3812" y="980"/>
                  </a:lnTo>
                  <a:lnTo>
                    <a:pt x="3812" y="980"/>
                  </a:lnTo>
                  <a:lnTo>
                    <a:pt x="3805" y="980"/>
                  </a:lnTo>
                  <a:lnTo>
                    <a:pt x="3805" y="980"/>
                  </a:lnTo>
                  <a:lnTo>
                    <a:pt x="3805" y="980"/>
                  </a:lnTo>
                  <a:lnTo>
                    <a:pt x="3805" y="987"/>
                  </a:lnTo>
                  <a:lnTo>
                    <a:pt x="3805" y="987"/>
                  </a:lnTo>
                  <a:lnTo>
                    <a:pt x="3805" y="987"/>
                  </a:lnTo>
                  <a:lnTo>
                    <a:pt x="3798" y="987"/>
                  </a:lnTo>
                  <a:lnTo>
                    <a:pt x="3798" y="987"/>
                  </a:lnTo>
                  <a:lnTo>
                    <a:pt x="3798" y="994"/>
                  </a:lnTo>
                  <a:lnTo>
                    <a:pt x="3791" y="994"/>
                  </a:lnTo>
                  <a:lnTo>
                    <a:pt x="3791" y="1001"/>
                  </a:lnTo>
                  <a:lnTo>
                    <a:pt x="3791" y="1001"/>
                  </a:lnTo>
                  <a:lnTo>
                    <a:pt x="3784" y="1008"/>
                  </a:lnTo>
                  <a:lnTo>
                    <a:pt x="3784" y="1008"/>
                  </a:lnTo>
                  <a:lnTo>
                    <a:pt x="3784" y="1008"/>
                  </a:lnTo>
                  <a:lnTo>
                    <a:pt x="3791" y="1015"/>
                  </a:lnTo>
                  <a:lnTo>
                    <a:pt x="3791" y="1015"/>
                  </a:lnTo>
                  <a:lnTo>
                    <a:pt x="3791" y="1015"/>
                  </a:lnTo>
                  <a:lnTo>
                    <a:pt x="3791" y="1015"/>
                  </a:lnTo>
                  <a:lnTo>
                    <a:pt x="3791" y="1023"/>
                  </a:lnTo>
                  <a:lnTo>
                    <a:pt x="3791" y="1023"/>
                  </a:lnTo>
                  <a:lnTo>
                    <a:pt x="3791" y="1023"/>
                  </a:lnTo>
                  <a:lnTo>
                    <a:pt x="3791" y="1030"/>
                  </a:lnTo>
                  <a:lnTo>
                    <a:pt x="3791" y="1030"/>
                  </a:lnTo>
                  <a:lnTo>
                    <a:pt x="3798" y="1037"/>
                  </a:lnTo>
                  <a:lnTo>
                    <a:pt x="3819" y="1058"/>
                  </a:lnTo>
                  <a:lnTo>
                    <a:pt x="3827" y="1065"/>
                  </a:lnTo>
                  <a:lnTo>
                    <a:pt x="3827" y="1065"/>
                  </a:lnTo>
                  <a:lnTo>
                    <a:pt x="3827" y="1065"/>
                  </a:lnTo>
                  <a:lnTo>
                    <a:pt x="3827" y="1072"/>
                  </a:lnTo>
                  <a:lnTo>
                    <a:pt x="3827" y="1072"/>
                  </a:lnTo>
                  <a:lnTo>
                    <a:pt x="3834" y="1072"/>
                  </a:lnTo>
                  <a:lnTo>
                    <a:pt x="3834" y="1072"/>
                  </a:lnTo>
                  <a:lnTo>
                    <a:pt x="3834" y="1072"/>
                  </a:lnTo>
                  <a:lnTo>
                    <a:pt x="3834" y="1072"/>
                  </a:lnTo>
                  <a:lnTo>
                    <a:pt x="3834" y="1079"/>
                  </a:lnTo>
                  <a:lnTo>
                    <a:pt x="3834" y="1079"/>
                  </a:lnTo>
                  <a:lnTo>
                    <a:pt x="3834" y="1079"/>
                  </a:lnTo>
                  <a:lnTo>
                    <a:pt x="3827" y="1079"/>
                  </a:lnTo>
                  <a:lnTo>
                    <a:pt x="3827" y="1079"/>
                  </a:lnTo>
                  <a:lnTo>
                    <a:pt x="3827" y="1079"/>
                  </a:lnTo>
                  <a:lnTo>
                    <a:pt x="3827" y="1079"/>
                  </a:lnTo>
                  <a:lnTo>
                    <a:pt x="3827" y="1079"/>
                  </a:lnTo>
                  <a:lnTo>
                    <a:pt x="3819" y="1079"/>
                  </a:lnTo>
                  <a:lnTo>
                    <a:pt x="3819" y="1079"/>
                  </a:lnTo>
                  <a:lnTo>
                    <a:pt x="3819" y="1079"/>
                  </a:lnTo>
                  <a:lnTo>
                    <a:pt x="3819" y="1079"/>
                  </a:lnTo>
                  <a:lnTo>
                    <a:pt x="3819" y="1072"/>
                  </a:lnTo>
                  <a:lnTo>
                    <a:pt x="3798" y="1072"/>
                  </a:lnTo>
                  <a:lnTo>
                    <a:pt x="3798" y="1065"/>
                  </a:lnTo>
                  <a:lnTo>
                    <a:pt x="3791" y="1065"/>
                  </a:lnTo>
                  <a:lnTo>
                    <a:pt x="3798" y="1065"/>
                  </a:lnTo>
                  <a:lnTo>
                    <a:pt x="3798" y="1058"/>
                  </a:lnTo>
                  <a:lnTo>
                    <a:pt x="3798" y="1058"/>
                  </a:lnTo>
                  <a:lnTo>
                    <a:pt x="3791" y="1058"/>
                  </a:lnTo>
                  <a:lnTo>
                    <a:pt x="3791" y="1051"/>
                  </a:lnTo>
                  <a:lnTo>
                    <a:pt x="3784" y="1051"/>
                  </a:lnTo>
                  <a:lnTo>
                    <a:pt x="3784" y="1044"/>
                  </a:lnTo>
                  <a:lnTo>
                    <a:pt x="3784" y="1044"/>
                  </a:lnTo>
                  <a:lnTo>
                    <a:pt x="3777" y="1044"/>
                  </a:lnTo>
                  <a:lnTo>
                    <a:pt x="3777" y="1044"/>
                  </a:lnTo>
                  <a:lnTo>
                    <a:pt x="3770" y="1044"/>
                  </a:lnTo>
                  <a:lnTo>
                    <a:pt x="3770" y="1044"/>
                  </a:lnTo>
                  <a:lnTo>
                    <a:pt x="3770" y="1044"/>
                  </a:lnTo>
                  <a:lnTo>
                    <a:pt x="3770" y="1044"/>
                  </a:lnTo>
                  <a:lnTo>
                    <a:pt x="3763" y="1044"/>
                  </a:lnTo>
                  <a:lnTo>
                    <a:pt x="3763" y="1044"/>
                  </a:lnTo>
                  <a:lnTo>
                    <a:pt x="3763" y="1044"/>
                  </a:lnTo>
                  <a:lnTo>
                    <a:pt x="3763" y="1044"/>
                  </a:lnTo>
                  <a:lnTo>
                    <a:pt x="3756" y="1044"/>
                  </a:lnTo>
                  <a:lnTo>
                    <a:pt x="3756" y="1044"/>
                  </a:lnTo>
                  <a:lnTo>
                    <a:pt x="3756" y="1051"/>
                  </a:lnTo>
                  <a:lnTo>
                    <a:pt x="3756" y="1051"/>
                  </a:lnTo>
                  <a:lnTo>
                    <a:pt x="3756" y="1051"/>
                  </a:lnTo>
                  <a:lnTo>
                    <a:pt x="3748" y="1058"/>
                  </a:lnTo>
                  <a:lnTo>
                    <a:pt x="3748" y="1058"/>
                  </a:lnTo>
                  <a:lnTo>
                    <a:pt x="3748" y="1051"/>
                  </a:lnTo>
                  <a:lnTo>
                    <a:pt x="3741" y="1058"/>
                  </a:lnTo>
                  <a:lnTo>
                    <a:pt x="3706" y="1065"/>
                  </a:lnTo>
                  <a:lnTo>
                    <a:pt x="3699" y="1065"/>
                  </a:lnTo>
                  <a:lnTo>
                    <a:pt x="3692" y="1072"/>
                  </a:lnTo>
                  <a:lnTo>
                    <a:pt x="3685" y="1079"/>
                  </a:lnTo>
                  <a:lnTo>
                    <a:pt x="3685" y="1086"/>
                  </a:lnTo>
                  <a:lnTo>
                    <a:pt x="3685" y="1094"/>
                  </a:lnTo>
                  <a:lnTo>
                    <a:pt x="3677" y="1101"/>
                  </a:lnTo>
                  <a:lnTo>
                    <a:pt x="3677" y="1101"/>
                  </a:lnTo>
                  <a:lnTo>
                    <a:pt x="3670" y="1101"/>
                  </a:lnTo>
                  <a:lnTo>
                    <a:pt x="3670" y="1101"/>
                  </a:lnTo>
                  <a:lnTo>
                    <a:pt x="3663" y="1108"/>
                  </a:lnTo>
                  <a:lnTo>
                    <a:pt x="3663" y="1115"/>
                  </a:lnTo>
                  <a:lnTo>
                    <a:pt x="3656" y="1115"/>
                  </a:lnTo>
                  <a:lnTo>
                    <a:pt x="3656" y="1122"/>
                  </a:lnTo>
                  <a:lnTo>
                    <a:pt x="3649" y="1122"/>
                  </a:lnTo>
                  <a:lnTo>
                    <a:pt x="3649" y="1122"/>
                  </a:lnTo>
                  <a:lnTo>
                    <a:pt x="3649" y="1122"/>
                  </a:lnTo>
                  <a:lnTo>
                    <a:pt x="3649" y="1129"/>
                  </a:lnTo>
                  <a:lnTo>
                    <a:pt x="3649" y="1129"/>
                  </a:lnTo>
                  <a:lnTo>
                    <a:pt x="3649" y="1129"/>
                  </a:lnTo>
                  <a:lnTo>
                    <a:pt x="3642" y="1129"/>
                  </a:lnTo>
                  <a:lnTo>
                    <a:pt x="3642" y="1129"/>
                  </a:lnTo>
                  <a:lnTo>
                    <a:pt x="3635" y="1129"/>
                  </a:lnTo>
                  <a:lnTo>
                    <a:pt x="3635" y="1136"/>
                  </a:lnTo>
                  <a:lnTo>
                    <a:pt x="3628" y="1143"/>
                  </a:lnTo>
                  <a:lnTo>
                    <a:pt x="3628" y="1150"/>
                  </a:lnTo>
                  <a:lnTo>
                    <a:pt x="3628" y="1150"/>
                  </a:lnTo>
                  <a:lnTo>
                    <a:pt x="3614" y="1150"/>
                  </a:lnTo>
                  <a:lnTo>
                    <a:pt x="3614" y="1157"/>
                  </a:lnTo>
                  <a:lnTo>
                    <a:pt x="3614" y="1157"/>
                  </a:lnTo>
                  <a:lnTo>
                    <a:pt x="3606" y="1157"/>
                  </a:lnTo>
                  <a:lnTo>
                    <a:pt x="3606" y="1157"/>
                  </a:lnTo>
                  <a:lnTo>
                    <a:pt x="3599" y="1157"/>
                  </a:lnTo>
                  <a:lnTo>
                    <a:pt x="3599" y="1157"/>
                  </a:lnTo>
                  <a:lnTo>
                    <a:pt x="3599" y="1157"/>
                  </a:lnTo>
                  <a:lnTo>
                    <a:pt x="3599" y="1157"/>
                  </a:lnTo>
                  <a:lnTo>
                    <a:pt x="3599" y="1157"/>
                  </a:lnTo>
                  <a:lnTo>
                    <a:pt x="3592" y="1165"/>
                  </a:lnTo>
                  <a:lnTo>
                    <a:pt x="3592" y="1165"/>
                  </a:lnTo>
                  <a:lnTo>
                    <a:pt x="3592" y="1165"/>
                  </a:lnTo>
                  <a:lnTo>
                    <a:pt x="3592" y="1165"/>
                  </a:lnTo>
                  <a:lnTo>
                    <a:pt x="3592" y="1172"/>
                  </a:lnTo>
                  <a:lnTo>
                    <a:pt x="3592" y="1172"/>
                  </a:lnTo>
                  <a:lnTo>
                    <a:pt x="3592" y="1172"/>
                  </a:lnTo>
                  <a:lnTo>
                    <a:pt x="3592" y="1172"/>
                  </a:lnTo>
                  <a:lnTo>
                    <a:pt x="3592" y="1172"/>
                  </a:lnTo>
                  <a:lnTo>
                    <a:pt x="3592" y="1179"/>
                  </a:lnTo>
                  <a:lnTo>
                    <a:pt x="3585" y="1179"/>
                  </a:lnTo>
                  <a:lnTo>
                    <a:pt x="3585" y="1179"/>
                  </a:lnTo>
                  <a:lnTo>
                    <a:pt x="3585" y="1186"/>
                  </a:lnTo>
                  <a:lnTo>
                    <a:pt x="3585" y="1186"/>
                  </a:lnTo>
                  <a:lnTo>
                    <a:pt x="3592" y="1193"/>
                  </a:lnTo>
                  <a:lnTo>
                    <a:pt x="3592" y="1193"/>
                  </a:lnTo>
                  <a:lnTo>
                    <a:pt x="3592" y="1193"/>
                  </a:lnTo>
                  <a:lnTo>
                    <a:pt x="3592" y="1200"/>
                  </a:lnTo>
                  <a:lnTo>
                    <a:pt x="3592" y="1207"/>
                  </a:lnTo>
                  <a:lnTo>
                    <a:pt x="3592" y="1214"/>
                  </a:lnTo>
                  <a:lnTo>
                    <a:pt x="3592" y="1214"/>
                  </a:lnTo>
                  <a:lnTo>
                    <a:pt x="3592" y="1221"/>
                  </a:lnTo>
                  <a:lnTo>
                    <a:pt x="3592" y="1221"/>
                  </a:lnTo>
                  <a:lnTo>
                    <a:pt x="3599" y="1221"/>
                  </a:lnTo>
                  <a:lnTo>
                    <a:pt x="3599" y="1221"/>
                  </a:lnTo>
                  <a:lnTo>
                    <a:pt x="3599" y="1221"/>
                  </a:lnTo>
                  <a:lnTo>
                    <a:pt x="3599" y="1221"/>
                  </a:lnTo>
                  <a:lnTo>
                    <a:pt x="3599" y="1221"/>
                  </a:lnTo>
                  <a:lnTo>
                    <a:pt x="3599" y="1228"/>
                  </a:lnTo>
                  <a:lnTo>
                    <a:pt x="3599" y="1228"/>
                  </a:lnTo>
                  <a:lnTo>
                    <a:pt x="3599" y="1236"/>
                  </a:lnTo>
                  <a:lnTo>
                    <a:pt x="3599" y="1236"/>
                  </a:lnTo>
                  <a:lnTo>
                    <a:pt x="3606" y="1243"/>
                  </a:lnTo>
                  <a:lnTo>
                    <a:pt x="3606" y="1243"/>
                  </a:lnTo>
                  <a:lnTo>
                    <a:pt x="3614" y="1243"/>
                  </a:lnTo>
                  <a:lnTo>
                    <a:pt x="3606" y="1250"/>
                  </a:lnTo>
                  <a:lnTo>
                    <a:pt x="3606" y="1250"/>
                  </a:lnTo>
                  <a:lnTo>
                    <a:pt x="3599" y="1257"/>
                  </a:lnTo>
                  <a:lnTo>
                    <a:pt x="3599" y="1257"/>
                  </a:lnTo>
                  <a:lnTo>
                    <a:pt x="3592" y="1264"/>
                  </a:lnTo>
                  <a:lnTo>
                    <a:pt x="3592" y="1264"/>
                  </a:lnTo>
                  <a:lnTo>
                    <a:pt x="3592" y="1264"/>
                  </a:lnTo>
                  <a:lnTo>
                    <a:pt x="3592" y="1271"/>
                  </a:lnTo>
                  <a:lnTo>
                    <a:pt x="3599" y="1285"/>
                  </a:lnTo>
                  <a:lnTo>
                    <a:pt x="3599" y="1285"/>
                  </a:lnTo>
                  <a:lnTo>
                    <a:pt x="3599" y="1292"/>
                  </a:lnTo>
                  <a:lnTo>
                    <a:pt x="3599" y="1292"/>
                  </a:lnTo>
                  <a:lnTo>
                    <a:pt x="3592" y="1292"/>
                  </a:lnTo>
                  <a:lnTo>
                    <a:pt x="3592" y="1292"/>
                  </a:lnTo>
                  <a:lnTo>
                    <a:pt x="3592" y="1292"/>
                  </a:lnTo>
                  <a:lnTo>
                    <a:pt x="3585" y="1314"/>
                  </a:lnTo>
                  <a:lnTo>
                    <a:pt x="3585" y="1314"/>
                  </a:lnTo>
                  <a:lnTo>
                    <a:pt x="3585" y="1314"/>
                  </a:lnTo>
                  <a:lnTo>
                    <a:pt x="3585" y="1314"/>
                  </a:lnTo>
                  <a:lnTo>
                    <a:pt x="3585" y="1314"/>
                  </a:lnTo>
                  <a:lnTo>
                    <a:pt x="3585" y="1314"/>
                  </a:lnTo>
                  <a:lnTo>
                    <a:pt x="3585" y="1314"/>
                  </a:lnTo>
                  <a:lnTo>
                    <a:pt x="3585" y="1314"/>
                  </a:lnTo>
                  <a:lnTo>
                    <a:pt x="3578" y="1314"/>
                  </a:lnTo>
                  <a:lnTo>
                    <a:pt x="3578" y="1321"/>
                  </a:lnTo>
                  <a:lnTo>
                    <a:pt x="3578" y="1321"/>
                  </a:lnTo>
                  <a:lnTo>
                    <a:pt x="3578" y="1328"/>
                  </a:lnTo>
                  <a:lnTo>
                    <a:pt x="3571" y="1328"/>
                  </a:lnTo>
                  <a:lnTo>
                    <a:pt x="3571" y="1328"/>
                  </a:lnTo>
                  <a:lnTo>
                    <a:pt x="3564" y="1328"/>
                  </a:lnTo>
                  <a:lnTo>
                    <a:pt x="3564" y="1328"/>
                  </a:lnTo>
                  <a:lnTo>
                    <a:pt x="3564" y="1335"/>
                  </a:lnTo>
                  <a:lnTo>
                    <a:pt x="3557" y="1335"/>
                  </a:lnTo>
                  <a:lnTo>
                    <a:pt x="3557" y="1342"/>
                  </a:lnTo>
                  <a:lnTo>
                    <a:pt x="3550" y="1363"/>
                  </a:lnTo>
                  <a:lnTo>
                    <a:pt x="3550" y="1370"/>
                  </a:lnTo>
                  <a:lnTo>
                    <a:pt x="3557" y="1377"/>
                  </a:lnTo>
                  <a:lnTo>
                    <a:pt x="3564" y="1377"/>
                  </a:lnTo>
                  <a:lnTo>
                    <a:pt x="3564" y="1377"/>
                  </a:lnTo>
                  <a:lnTo>
                    <a:pt x="3571" y="1377"/>
                  </a:lnTo>
                  <a:lnTo>
                    <a:pt x="3571" y="1385"/>
                  </a:lnTo>
                  <a:lnTo>
                    <a:pt x="3578" y="1392"/>
                  </a:lnTo>
                  <a:lnTo>
                    <a:pt x="3578" y="1399"/>
                  </a:lnTo>
                  <a:lnTo>
                    <a:pt x="3571" y="1399"/>
                  </a:lnTo>
                  <a:lnTo>
                    <a:pt x="3571" y="1406"/>
                  </a:lnTo>
                  <a:lnTo>
                    <a:pt x="3571" y="1413"/>
                  </a:lnTo>
                  <a:lnTo>
                    <a:pt x="3571" y="1420"/>
                  </a:lnTo>
                  <a:lnTo>
                    <a:pt x="3564" y="1427"/>
                  </a:lnTo>
                  <a:lnTo>
                    <a:pt x="3564" y="1434"/>
                  </a:lnTo>
                  <a:lnTo>
                    <a:pt x="3564" y="1434"/>
                  </a:lnTo>
                  <a:lnTo>
                    <a:pt x="3564" y="1434"/>
                  </a:lnTo>
                  <a:lnTo>
                    <a:pt x="3564" y="1441"/>
                  </a:lnTo>
                  <a:lnTo>
                    <a:pt x="3564" y="1441"/>
                  </a:lnTo>
                  <a:lnTo>
                    <a:pt x="3564" y="1441"/>
                  </a:lnTo>
                  <a:lnTo>
                    <a:pt x="3564" y="1441"/>
                  </a:lnTo>
                  <a:lnTo>
                    <a:pt x="3557" y="1441"/>
                  </a:lnTo>
                  <a:lnTo>
                    <a:pt x="3557" y="1441"/>
                  </a:lnTo>
                  <a:lnTo>
                    <a:pt x="3557" y="1448"/>
                  </a:lnTo>
                  <a:lnTo>
                    <a:pt x="3557" y="1456"/>
                  </a:lnTo>
                  <a:lnTo>
                    <a:pt x="3557" y="1463"/>
                  </a:lnTo>
                  <a:lnTo>
                    <a:pt x="3550" y="1463"/>
                  </a:lnTo>
                  <a:lnTo>
                    <a:pt x="3550" y="1463"/>
                  </a:lnTo>
                  <a:lnTo>
                    <a:pt x="3550" y="1470"/>
                  </a:lnTo>
                  <a:lnTo>
                    <a:pt x="3550" y="1477"/>
                  </a:lnTo>
                  <a:lnTo>
                    <a:pt x="3543" y="1477"/>
                  </a:lnTo>
                  <a:lnTo>
                    <a:pt x="3543" y="1477"/>
                  </a:lnTo>
                  <a:lnTo>
                    <a:pt x="3543" y="1477"/>
                  </a:lnTo>
                  <a:lnTo>
                    <a:pt x="3543" y="1484"/>
                  </a:lnTo>
                  <a:lnTo>
                    <a:pt x="3543" y="1484"/>
                  </a:lnTo>
                  <a:lnTo>
                    <a:pt x="3543" y="1491"/>
                  </a:lnTo>
                  <a:lnTo>
                    <a:pt x="3543" y="1491"/>
                  </a:lnTo>
                  <a:lnTo>
                    <a:pt x="3543" y="1491"/>
                  </a:lnTo>
                  <a:lnTo>
                    <a:pt x="3543" y="1491"/>
                  </a:lnTo>
                  <a:lnTo>
                    <a:pt x="3543" y="1491"/>
                  </a:lnTo>
                  <a:lnTo>
                    <a:pt x="3543" y="1498"/>
                  </a:lnTo>
                  <a:lnTo>
                    <a:pt x="3536" y="1498"/>
                  </a:lnTo>
                  <a:lnTo>
                    <a:pt x="3536" y="1498"/>
                  </a:lnTo>
                  <a:lnTo>
                    <a:pt x="3536" y="1498"/>
                  </a:lnTo>
                  <a:lnTo>
                    <a:pt x="3536" y="1505"/>
                  </a:lnTo>
                  <a:lnTo>
                    <a:pt x="3536" y="1512"/>
                  </a:lnTo>
                  <a:lnTo>
                    <a:pt x="3536" y="1527"/>
                  </a:lnTo>
                  <a:lnTo>
                    <a:pt x="3536" y="1534"/>
                  </a:lnTo>
                  <a:lnTo>
                    <a:pt x="3536" y="1534"/>
                  </a:lnTo>
                  <a:lnTo>
                    <a:pt x="3536" y="1541"/>
                  </a:lnTo>
                  <a:lnTo>
                    <a:pt x="3528" y="1541"/>
                  </a:lnTo>
                  <a:lnTo>
                    <a:pt x="3528" y="1541"/>
                  </a:lnTo>
                  <a:lnTo>
                    <a:pt x="3528" y="1548"/>
                  </a:lnTo>
                  <a:lnTo>
                    <a:pt x="3528" y="1548"/>
                  </a:lnTo>
                  <a:lnTo>
                    <a:pt x="3528" y="1555"/>
                  </a:lnTo>
                  <a:lnTo>
                    <a:pt x="3528" y="1562"/>
                  </a:lnTo>
                  <a:lnTo>
                    <a:pt x="3528" y="1562"/>
                  </a:lnTo>
                  <a:lnTo>
                    <a:pt x="3528" y="1569"/>
                  </a:lnTo>
                  <a:lnTo>
                    <a:pt x="3528" y="1569"/>
                  </a:lnTo>
                  <a:lnTo>
                    <a:pt x="3521" y="1569"/>
                  </a:lnTo>
                  <a:lnTo>
                    <a:pt x="3521" y="1569"/>
                  </a:lnTo>
                  <a:lnTo>
                    <a:pt x="3521" y="1569"/>
                  </a:lnTo>
                  <a:lnTo>
                    <a:pt x="3514" y="1569"/>
                  </a:lnTo>
                  <a:lnTo>
                    <a:pt x="3514" y="1569"/>
                  </a:lnTo>
                  <a:lnTo>
                    <a:pt x="3507" y="1562"/>
                  </a:lnTo>
                  <a:lnTo>
                    <a:pt x="3507" y="1562"/>
                  </a:lnTo>
                  <a:lnTo>
                    <a:pt x="3500" y="1562"/>
                  </a:lnTo>
                  <a:lnTo>
                    <a:pt x="3493" y="1562"/>
                  </a:lnTo>
                  <a:lnTo>
                    <a:pt x="3493" y="1562"/>
                  </a:lnTo>
                  <a:lnTo>
                    <a:pt x="3479" y="1562"/>
                  </a:lnTo>
                  <a:lnTo>
                    <a:pt x="3479" y="1562"/>
                  </a:lnTo>
                  <a:lnTo>
                    <a:pt x="3472" y="1555"/>
                  </a:lnTo>
                  <a:lnTo>
                    <a:pt x="3472" y="1548"/>
                  </a:lnTo>
                  <a:lnTo>
                    <a:pt x="3465" y="1548"/>
                  </a:lnTo>
                  <a:lnTo>
                    <a:pt x="3457" y="1555"/>
                  </a:lnTo>
                  <a:lnTo>
                    <a:pt x="3450" y="1555"/>
                  </a:lnTo>
                  <a:lnTo>
                    <a:pt x="3450" y="1555"/>
                  </a:lnTo>
                  <a:lnTo>
                    <a:pt x="3450" y="1555"/>
                  </a:lnTo>
                  <a:lnTo>
                    <a:pt x="3450" y="1555"/>
                  </a:lnTo>
                  <a:lnTo>
                    <a:pt x="3450" y="1555"/>
                  </a:lnTo>
                  <a:lnTo>
                    <a:pt x="3450" y="1555"/>
                  </a:lnTo>
                  <a:lnTo>
                    <a:pt x="3450" y="1555"/>
                  </a:lnTo>
                  <a:lnTo>
                    <a:pt x="3450" y="1555"/>
                  </a:lnTo>
                  <a:lnTo>
                    <a:pt x="3450" y="1555"/>
                  </a:lnTo>
                  <a:lnTo>
                    <a:pt x="3443" y="1555"/>
                  </a:lnTo>
                  <a:lnTo>
                    <a:pt x="3443" y="1562"/>
                  </a:lnTo>
                  <a:lnTo>
                    <a:pt x="3436" y="1562"/>
                  </a:lnTo>
                  <a:lnTo>
                    <a:pt x="3436" y="1562"/>
                  </a:lnTo>
                  <a:lnTo>
                    <a:pt x="3436" y="1562"/>
                  </a:lnTo>
                  <a:lnTo>
                    <a:pt x="3436" y="1555"/>
                  </a:lnTo>
                  <a:lnTo>
                    <a:pt x="3436" y="1555"/>
                  </a:lnTo>
                  <a:lnTo>
                    <a:pt x="3429" y="1548"/>
                  </a:lnTo>
                  <a:lnTo>
                    <a:pt x="3429" y="1548"/>
                  </a:lnTo>
                  <a:lnTo>
                    <a:pt x="3422" y="1541"/>
                  </a:lnTo>
                  <a:lnTo>
                    <a:pt x="3422" y="1541"/>
                  </a:lnTo>
                  <a:lnTo>
                    <a:pt x="3415" y="1541"/>
                  </a:lnTo>
                  <a:lnTo>
                    <a:pt x="3415" y="1548"/>
                  </a:lnTo>
                  <a:lnTo>
                    <a:pt x="3415" y="1548"/>
                  </a:lnTo>
                  <a:lnTo>
                    <a:pt x="3415" y="1555"/>
                  </a:lnTo>
                  <a:lnTo>
                    <a:pt x="3415" y="1555"/>
                  </a:lnTo>
                  <a:lnTo>
                    <a:pt x="3415" y="1555"/>
                  </a:lnTo>
                  <a:lnTo>
                    <a:pt x="3415" y="1562"/>
                  </a:lnTo>
                  <a:lnTo>
                    <a:pt x="3422" y="1562"/>
                  </a:lnTo>
                  <a:lnTo>
                    <a:pt x="3422" y="1569"/>
                  </a:lnTo>
                  <a:lnTo>
                    <a:pt x="3422" y="1569"/>
                  </a:lnTo>
                  <a:lnTo>
                    <a:pt x="3422" y="1569"/>
                  </a:lnTo>
                  <a:lnTo>
                    <a:pt x="3422" y="1569"/>
                  </a:lnTo>
                  <a:lnTo>
                    <a:pt x="3422" y="1576"/>
                  </a:lnTo>
                  <a:lnTo>
                    <a:pt x="3429" y="1590"/>
                  </a:lnTo>
                  <a:lnTo>
                    <a:pt x="3436" y="1598"/>
                  </a:lnTo>
                  <a:lnTo>
                    <a:pt x="3436" y="1598"/>
                  </a:lnTo>
                  <a:lnTo>
                    <a:pt x="3436" y="1598"/>
                  </a:lnTo>
                  <a:lnTo>
                    <a:pt x="3436" y="1598"/>
                  </a:lnTo>
                  <a:lnTo>
                    <a:pt x="3436" y="1605"/>
                  </a:lnTo>
                  <a:lnTo>
                    <a:pt x="3436" y="1633"/>
                  </a:lnTo>
                  <a:lnTo>
                    <a:pt x="3436" y="1640"/>
                  </a:lnTo>
                  <a:lnTo>
                    <a:pt x="3443" y="1647"/>
                  </a:lnTo>
                  <a:lnTo>
                    <a:pt x="3443" y="1647"/>
                  </a:lnTo>
                  <a:lnTo>
                    <a:pt x="3443" y="1647"/>
                  </a:lnTo>
                  <a:lnTo>
                    <a:pt x="3443" y="1647"/>
                  </a:lnTo>
                  <a:lnTo>
                    <a:pt x="3436" y="1654"/>
                  </a:lnTo>
                  <a:lnTo>
                    <a:pt x="3436" y="1654"/>
                  </a:lnTo>
                  <a:lnTo>
                    <a:pt x="3436" y="1661"/>
                  </a:lnTo>
                  <a:lnTo>
                    <a:pt x="3443" y="1669"/>
                  </a:lnTo>
                  <a:lnTo>
                    <a:pt x="3443" y="1676"/>
                  </a:lnTo>
                  <a:lnTo>
                    <a:pt x="3443" y="1676"/>
                  </a:lnTo>
                  <a:lnTo>
                    <a:pt x="3443" y="1683"/>
                  </a:lnTo>
                  <a:lnTo>
                    <a:pt x="3443" y="1683"/>
                  </a:lnTo>
                  <a:lnTo>
                    <a:pt x="3436" y="1690"/>
                  </a:lnTo>
                  <a:lnTo>
                    <a:pt x="3436" y="1697"/>
                  </a:lnTo>
                  <a:lnTo>
                    <a:pt x="3436" y="1697"/>
                  </a:lnTo>
                  <a:lnTo>
                    <a:pt x="3429" y="1697"/>
                  </a:lnTo>
                  <a:lnTo>
                    <a:pt x="3429" y="1704"/>
                  </a:lnTo>
                  <a:lnTo>
                    <a:pt x="3422" y="1697"/>
                  </a:lnTo>
                  <a:lnTo>
                    <a:pt x="3422" y="1697"/>
                  </a:lnTo>
                  <a:lnTo>
                    <a:pt x="3422" y="1697"/>
                  </a:lnTo>
                  <a:lnTo>
                    <a:pt x="3415" y="1690"/>
                  </a:lnTo>
                  <a:lnTo>
                    <a:pt x="3415" y="1697"/>
                  </a:lnTo>
                  <a:lnTo>
                    <a:pt x="3415" y="1697"/>
                  </a:lnTo>
                  <a:lnTo>
                    <a:pt x="3415" y="1704"/>
                  </a:lnTo>
                  <a:lnTo>
                    <a:pt x="3415" y="1704"/>
                  </a:lnTo>
                  <a:lnTo>
                    <a:pt x="3415" y="1711"/>
                  </a:lnTo>
                  <a:lnTo>
                    <a:pt x="3415" y="1711"/>
                  </a:lnTo>
                  <a:lnTo>
                    <a:pt x="3422" y="1718"/>
                  </a:lnTo>
                  <a:lnTo>
                    <a:pt x="3422" y="1718"/>
                  </a:lnTo>
                  <a:lnTo>
                    <a:pt x="3415" y="1725"/>
                  </a:lnTo>
                  <a:lnTo>
                    <a:pt x="3415" y="1725"/>
                  </a:lnTo>
                  <a:lnTo>
                    <a:pt x="3415" y="1732"/>
                  </a:lnTo>
                  <a:lnTo>
                    <a:pt x="3415" y="1732"/>
                  </a:lnTo>
                  <a:lnTo>
                    <a:pt x="3408" y="1732"/>
                  </a:lnTo>
                  <a:lnTo>
                    <a:pt x="3408" y="1747"/>
                  </a:lnTo>
                  <a:lnTo>
                    <a:pt x="3408" y="1754"/>
                  </a:lnTo>
                  <a:lnTo>
                    <a:pt x="3408" y="1754"/>
                  </a:lnTo>
                  <a:lnTo>
                    <a:pt x="3415" y="1761"/>
                  </a:lnTo>
                  <a:lnTo>
                    <a:pt x="3415" y="1761"/>
                  </a:lnTo>
                  <a:lnTo>
                    <a:pt x="3415" y="1768"/>
                  </a:lnTo>
                  <a:lnTo>
                    <a:pt x="3415" y="1768"/>
                  </a:lnTo>
                  <a:lnTo>
                    <a:pt x="3415" y="1775"/>
                  </a:lnTo>
                  <a:lnTo>
                    <a:pt x="3415" y="1782"/>
                  </a:lnTo>
                  <a:lnTo>
                    <a:pt x="3422" y="1782"/>
                  </a:lnTo>
                  <a:lnTo>
                    <a:pt x="3422" y="1789"/>
                  </a:lnTo>
                  <a:lnTo>
                    <a:pt x="3429" y="1789"/>
                  </a:lnTo>
                  <a:lnTo>
                    <a:pt x="3429" y="1810"/>
                  </a:lnTo>
                  <a:lnTo>
                    <a:pt x="3429" y="1810"/>
                  </a:lnTo>
                  <a:lnTo>
                    <a:pt x="3429" y="1810"/>
                  </a:lnTo>
                  <a:lnTo>
                    <a:pt x="3429" y="1810"/>
                  </a:lnTo>
                  <a:lnTo>
                    <a:pt x="3429" y="1810"/>
                  </a:lnTo>
                  <a:lnTo>
                    <a:pt x="3422" y="1818"/>
                  </a:lnTo>
                  <a:lnTo>
                    <a:pt x="3422" y="1818"/>
                  </a:lnTo>
                  <a:lnTo>
                    <a:pt x="3422" y="1818"/>
                  </a:lnTo>
                  <a:lnTo>
                    <a:pt x="3422" y="1818"/>
                  </a:lnTo>
                  <a:lnTo>
                    <a:pt x="3429" y="1818"/>
                  </a:lnTo>
                  <a:lnTo>
                    <a:pt x="3422" y="1825"/>
                  </a:lnTo>
                  <a:lnTo>
                    <a:pt x="3422" y="1825"/>
                  </a:lnTo>
                  <a:lnTo>
                    <a:pt x="3422" y="1818"/>
                  </a:lnTo>
                  <a:lnTo>
                    <a:pt x="3415" y="1818"/>
                  </a:lnTo>
                  <a:lnTo>
                    <a:pt x="3415" y="1818"/>
                  </a:lnTo>
                  <a:lnTo>
                    <a:pt x="3415" y="1818"/>
                  </a:lnTo>
                  <a:lnTo>
                    <a:pt x="3415" y="1818"/>
                  </a:lnTo>
                  <a:lnTo>
                    <a:pt x="3415" y="1818"/>
                  </a:lnTo>
                  <a:lnTo>
                    <a:pt x="3415" y="1825"/>
                  </a:lnTo>
                  <a:lnTo>
                    <a:pt x="3415" y="1832"/>
                  </a:lnTo>
                  <a:lnTo>
                    <a:pt x="3415" y="1832"/>
                  </a:lnTo>
                  <a:lnTo>
                    <a:pt x="3408" y="1832"/>
                  </a:lnTo>
                  <a:lnTo>
                    <a:pt x="3408" y="1832"/>
                  </a:lnTo>
                  <a:lnTo>
                    <a:pt x="3408" y="1839"/>
                  </a:lnTo>
                  <a:lnTo>
                    <a:pt x="3408" y="1839"/>
                  </a:lnTo>
                  <a:lnTo>
                    <a:pt x="3408" y="1846"/>
                  </a:lnTo>
                  <a:lnTo>
                    <a:pt x="3408" y="1846"/>
                  </a:lnTo>
                  <a:lnTo>
                    <a:pt x="3408" y="1846"/>
                  </a:lnTo>
                  <a:lnTo>
                    <a:pt x="3408" y="1846"/>
                  </a:lnTo>
                  <a:lnTo>
                    <a:pt x="3408" y="1846"/>
                  </a:lnTo>
                  <a:lnTo>
                    <a:pt x="3408" y="1846"/>
                  </a:lnTo>
                  <a:lnTo>
                    <a:pt x="3408" y="1853"/>
                  </a:lnTo>
                  <a:lnTo>
                    <a:pt x="3408" y="1853"/>
                  </a:lnTo>
                  <a:lnTo>
                    <a:pt x="3408" y="1853"/>
                  </a:lnTo>
                  <a:lnTo>
                    <a:pt x="3408" y="1853"/>
                  </a:lnTo>
                  <a:lnTo>
                    <a:pt x="3408" y="1853"/>
                  </a:lnTo>
                  <a:lnTo>
                    <a:pt x="3408" y="1853"/>
                  </a:lnTo>
                  <a:lnTo>
                    <a:pt x="3408" y="1853"/>
                  </a:lnTo>
                  <a:lnTo>
                    <a:pt x="3401" y="1846"/>
                  </a:lnTo>
                  <a:lnTo>
                    <a:pt x="3401" y="1846"/>
                  </a:lnTo>
                  <a:lnTo>
                    <a:pt x="3401" y="1846"/>
                  </a:lnTo>
                  <a:lnTo>
                    <a:pt x="3401" y="1853"/>
                  </a:lnTo>
                  <a:lnTo>
                    <a:pt x="3401" y="1853"/>
                  </a:lnTo>
                  <a:lnTo>
                    <a:pt x="3394" y="1860"/>
                  </a:lnTo>
                  <a:lnTo>
                    <a:pt x="3394" y="1853"/>
                  </a:lnTo>
                  <a:lnTo>
                    <a:pt x="3394" y="1853"/>
                  </a:lnTo>
                  <a:lnTo>
                    <a:pt x="3394" y="1846"/>
                  </a:lnTo>
                  <a:lnTo>
                    <a:pt x="3386" y="1846"/>
                  </a:lnTo>
                  <a:lnTo>
                    <a:pt x="3379" y="1839"/>
                  </a:lnTo>
                  <a:lnTo>
                    <a:pt x="3372" y="1832"/>
                  </a:lnTo>
                  <a:lnTo>
                    <a:pt x="3365" y="1832"/>
                  </a:lnTo>
                  <a:lnTo>
                    <a:pt x="3365" y="1832"/>
                  </a:lnTo>
                  <a:lnTo>
                    <a:pt x="3365" y="1832"/>
                  </a:lnTo>
                  <a:lnTo>
                    <a:pt x="3365" y="1839"/>
                  </a:lnTo>
                  <a:lnTo>
                    <a:pt x="3365" y="1839"/>
                  </a:lnTo>
                  <a:lnTo>
                    <a:pt x="3365" y="1839"/>
                  </a:lnTo>
                  <a:lnTo>
                    <a:pt x="3365" y="1839"/>
                  </a:lnTo>
                  <a:lnTo>
                    <a:pt x="3365" y="1839"/>
                  </a:lnTo>
                  <a:lnTo>
                    <a:pt x="3365" y="1839"/>
                  </a:lnTo>
                  <a:lnTo>
                    <a:pt x="3365" y="1846"/>
                  </a:lnTo>
                  <a:lnTo>
                    <a:pt x="3365" y="1846"/>
                  </a:lnTo>
                  <a:lnTo>
                    <a:pt x="3365" y="1846"/>
                  </a:lnTo>
                  <a:lnTo>
                    <a:pt x="3365" y="1846"/>
                  </a:lnTo>
                  <a:lnTo>
                    <a:pt x="3365" y="1853"/>
                  </a:lnTo>
                  <a:lnTo>
                    <a:pt x="3365" y="1853"/>
                  </a:lnTo>
                  <a:lnTo>
                    <a:pt x="3358" y="1853"/>
                  </a:lnTo>
                  <a:lnTo>
                    <a:pt x="3358" y="1853"/>
                  </a:lnTo>
                  <a:lnTo>
                    <a:pt x="3358" y="1853"/>
                  </a:lnTo>
                  <a:lnTo>
                    <a:pt x="3358" y="1853"/>
                  </a:lnTo>
                  <a:lnTo>
                    <a:pt x="3358" y="1853"/>
                  </a:lnTo>
                  <a:lnTo>
                    <a:pt x="3358" y="1853"/>
                  </a:lnTo>
                  <a:lnTo>
                    <a:pt x="3358" y="1853"/>
                  </a:lnTo>
                  <a:lnTo>
                    <a:pt x="3358" y="1853"/>
                  </a:lnTo>
                  <a:lnTo>
                    <a:pt x="3351" y="1846"/>
                  </a:lnTo>
                  <a:lnTo>
                    <a:pt x="3351" y="1832"/>
                  </a:lnTo>
                  <a:lnTo>
                    <a:pt x="3351" y="1832"/>
                  </a:lnTo>
                  <a:lnTo>
                    <a:pt x="3351" y="1832"/>
                  </a:lnTo>
                  <a:lnTo>
                    <a:pt x="3351" y="1832"/>
                  </a:lnTo>
                  <a:lnTo>
                    <a:pt x="3351" y="1825"/>
                  </a:lnTo>
                  <a:lnTo>
                    <a:pt x="3337" y="1782"/>
                  </a:lnTo>
                  <a:lnTo>
                    <a:pt x="3337" y="1775"/>
                  </a:lnTo>
                  <a:lnTo>
                    <a:pt x="3337" y="1775"/>
                  </a:lnTo>
                  <a:lnTo>
                    <a:pt x="3337" y="1768"/>
                  </a:lnTo>
                  <a:lnTo>
                    <a:pt x="3337" y="1761"/>
                  </a:lnTo>
                  <a:lnTo>
                    <a:pt x="3330" y="1754"/>
                  </a:lnTo>
                  <a:lnTo>
                    <a:pt x="3330" y="1747"/>
                  </a:lnTo>
                  <a:lnTo>
                    <a:pt x="3330" y="1747"/>
                  </a:lnTo>
                  <a:lnTo>
                    <a:pt x="3330" y="1747"/>
                  </a:lnTo>
                  <a:lnTo>
                    <a:pt x="3323" y="1740"/>
                  </a:lnTo>
                  <a:lnTo>
                    <a:pt x="3323" y="1740"/>
                  </a:lnTo>
                  <a:lnTo>
                    <a:pt x="3323" y="1725"/>
                  </a:lnTo>
                  <a:lnTo>
                    <a:pt x="3315" y="1725"/>
                  </a:lnTo>
                  <a:lnTo>
                    <a:pt x="3315" y="1725"/>
                  </a:lnTo>
                  <a:lnTo>
                    <a:pt x="3308" y="1718"/>
                  </a:lnTo>
                  <a:lnTo>
                    <a:pt x="3308" y="1711"/>
                  </a:lnTo>
                  <a:lnTo>
                    <a:pt x="3308" y="1704"/>
                  </a:lnTo>
                  <a:lnTo>
                    <a:pt x="3301" y="1683"/>
                  </a:lnTo>
                  <a:lnTo>
                    <a:pt x="3301" y="1676"/>
                  </a:lnTo>
                  <a:lnTo>
                    <a:pt x="3301" y="1676"/>
                  </a:lnTo>
                  <a:lnTo>
                    <a:pt x="3301" y="1669"/>
                  </a:lnTo>
                  <a:lnTo>
                    <a:pt x="3301" y="1669"/>
                  </a:lnTo>
                  <a:lnTo>
                    <a:pt x="3301" y="1669"/>
                  </a:lnTo>
                  <a:lnTo>
                    <a:pt x="3301" y="1661"/>
                  </a:lnTo>
                  <a:lnTo>
                    <a:pt x="3301" y="1661"/>
                  </a:lnTo>
                  <a:lnTo>
                    <a:pt x="3301" y="1661"/>
                  </a:lnTo>
                  <a:lnTo>
                    <a:pt x="3301" y="1654"/>
                  </a:lnTo>
                  <a:lnTo>
                    <a:pt x="3301" y="1654"/>
                  </a:lnTo>
                  <a:lnTo>
                    <a:pt x="3301" y="1654"/>
                  </a:lnTo>
                  <a:lnTo>
                    <a:pt x="3301" y="1654"/>
                  </a:lnTo>
                  <a:lnTo>
                    <a:pt x="3301" y="1654"/>
                  </a:lnTo>
                  <a:lnTo>
                    <a:pt x="3301" y="1654"/>
                  </a:lnTo>
                  <a:lnTo>
                    <a:pt x="3301" y="1647"/>
                  </a:lnTo>
                  <a:lnTo>
                    <a:pt x="3301" y="1647"/>
                  </a:lnTo>
                  <a:lnTo>
                    <a:pt x="3294" y="1647"/>
                  </a:lnTo>
                  <a:lnTo>
                    <a:pt x="3294" y="1647"/>
                  </a:lnTo>
                  <a:lnTo>
                    <a:pt x="3294" y="1647"/>
                  </a:lnTo>
                  <a:lnTo>
                    <a:pt x="3294" y="1640"/>
                  </a:lnTo>
                  <a:lnTo>
                    <a:pt x="3294" y="1633"/>
                  </a:lnTo>
                  <a:lnTo>
                    <a:pt x="3287" y="1619"/>
                  </a:lnTo>
                  <a:lnTo>
                    <a:pt x="3287" y="1612"/>
                  </a:lnTo>
                  <a:lnTo>
                    <a:pt x="3287" y="1612"/>
                  </a:lnTo>
                  <a:lnTo>
                    <a:pt x="3287" y="1605"/>
                  </a:lnTo>
                  <a:lnTo>
                    <a:pt x="3280" y="1605"/>
                  </a:lnTo>
                  <a:lnTo>
                    <a:pt x="3280" y="1605"/>
                  </a:lnTo>
                  <a:lnTo>
                    <a:pt x="3280" y="1612"/>
                  </a:lnTo>
                  <a:lnTo>
                    <a:pt x="3273" y="1612"/>
                  </a:lnTo>
                  <a:lnTo>
                    <a:pt x="3273" y="1612"/>
                  </a:lnTo>
                  <a:lnTo>
                    <a:pt x="3273" y="1605"/>
                  </a:lnTo>
                  <a:lnTo>
                    <a:pt x="3266" y="1605"/>
                  </a:lnTo>
                  <a:lnTo>
                    <a:pt x="3266" y="1605"/>
                  </a:lnTo>
                  <a:lnTo>
                    <a:pt x="3259" y="1605"/>
                  </a:lnTo>
                  <a:lnTo>
                    <a:pt x="3259" y="1612"/>
                  </a:lnTo>
                  <a:lnTo>
                    <a:pt x="3259" y="1619"/>
                  </a:lnTo>
                  <a:lnTo>
                    <a:pt x="3252" y="1619"/>
                  </a:lnTo>
                  <a:lnTo>
                    <a:pt x="3252" y="1619"/>
                  </a:lnTo>
                  <a:lnTo>
                    <a:pt x="3244" y="1612"/>
                  </a:lnTo>
                  <a:lnTo>
                    <a:pt x="3244" y="1605"/>
                  </a:lnTo>
                  <a:lnTo>
                    <a:pt x="3244" y="1605"/>
                  </a:lnTo>
                  <a:lnTo>
                    <a:pt x="3237" y="1605"/>
                  </a:lnTo>
                  <a:lnTo>
                    <a:pt x="3237" y="1605"/>
                  </a:lnTo>
                  <a:lnTo>
                    <a:pt x="3237" y="1612"/>
                  </a:lnTo>
                  <a:lnTo>
                    <a:pt x="3237" y="1619"/>
                  </a:lnTo>
                  <a:lnTo>
                    <a:pt x="3244" y="1633"/>
                  </a:lnTo>
                  <a:lnTo>
                    <a:pt x="3244" y="1640"/>
                  </a:lnTo>
                  <a:lnTo>
                    <a:pt x="3244" y="1647"/>
                  </a:lnTo>
                  <a:lnTo>
                    <a:pt x="3244" y="1647"/>
                  </a:lnTo>
                  <a:lnTo>
                    <a:pt x="3237" y="1647"/>
                  </a:lnTo>
                  <a:lnTo>
                    <a:pt x="3230" y="1654"/>
                  </a:lnTo>
                  <a:lnTo>
                    <a:pt x="3230" y="1654"/>
                  </a:lnTo>
                  <a:lnTo>
                    <a:pt x="3230" y="1661"/>
                  </a:lnTo>
                  <a:lnTo>
                    <a:pt x="3223" y="1669"/>
                  </a:lnTo>
                  <a:lnTo>
                    <a:pt x="3223" y="1676"/>
                  </a:lnTo>
                  <a:lnTo>
                    <a:pt x="3223" y="1676"/>
                  </a:lnTo>
                  <a:lnTo>
                    <a:pt x="3230" y="1683"/>
                  </a:lnTo>
                  <a:lnTo>
                    <a:pt x="3230" y="1690"/>
                  </a:lnTo>
                  <a:lnTo>
                    <a:pt x="3230" y="1697"/>
                  </a:lnTo>
                  <a:lnTo>
                    <a:pt x="3230" y="1697"/>
                  </a:lnTo>
                  <a:lnTo>
                    <a:pt x="3230" y="1697"/>
                  </a:lnTo>
                  <a:lnTo>
                    <a:pt x="3230" y="1704"/>
                  </a:lnTo>
                  <a:lnTo>
                    <a:pt x="3230" y="1704"/>
                  </a:lnTo>
                  <a:lnTo>
                    <a:pt x="3230" y="1704"/>
                  </a:lnTo>
                  <a:lnTo>
                    <a:pt x="3230" y="1704"/>
                  </a:lnTo>
                  <a:lnTo>
                    <a:pt x="3230" y="1704"/>
                  </a:lnTo>
                  <a:lnTo>
                    <a:pt x="3230" y="1704"/>
                  </a:lnTo>
                  <a:lnTo>
                    <a:pt x="3230" y="1704"/>
                  </a:lnTo>
                  <a:lnTo>
                    <a:pt x="3230" y="1704"/>
                  </a:lnTo>
                  <a:lnTo>
                    <a:pt x="3230" y="1711"/>
                  </a:lnTo>
                  <a:lnTo>
                    <a:pt x="3223" y="1711"/>
                  </a:lnTo>
                  <a:lnTo>
                    <a:pt x="3223" y="1711"/>
                  </a:lnTo>
                  <a:lnTo>
                    <a:pt x="3223" y="1711"/>
                  </a:lnTo>
                  <a:lnTo>
                    <a:pt x="3223" y="1711"/>
                  </a:lnTo>
                  <a:lnTo>
                    <a:pt x="3216" y="1718"/>
                  </a:lnTo>
                  <a:lnTo>
                    <a:pt x="3216" y="1718"/>
                  </a:lnTo>
                  <a:lnTo>
                    <a:pt x="3216" y="1718"/>
                  </a:lnTo>
                  <a:lnTo>
                    <a:pt x="3216" y="1718"/>
                  </a:lnTo>
                  <a:lnTo>
                    <a:pt x="3216" y="1718"/>
                  </a:lnTo>
                  <a:lnTo>
                    <a:pt x="3216" y="1718"/>
                  </a:lnTo>
                  <a:lnTo>
                    <a:pt x="3209" y="1718"/>
                  </a:lnTo>
                  <a:lnTo>
                    <a:pt x="3209" y="1718"/>
                  </a:lnTo>
                  <a:lnTo>
                    <a:pt x="3209" y="1718"/>
                  </a:lnTo>
                  <a:lnTo>
                    <a:pt x="3209" y="1718"/>
                  </a:lnTo>
                  <a:lnTo>
                    <a:pt x="3209" y="1718"/>
                  </a:lnTo>
                  <a:lnTo>
                    <a:pt x="3209" y="1718"/>
                  </a:lnTo>
                  <a:lnTo>
                    <a:pt x="3209" y="1718"/>
                  </a:lnTo>
                  <a:lnTo>
                    <a:pt x="3209" y="1718"/>
                  </a:lnTo>
                  <a:lnTo>
                    <a:pt x="3202" y="1718"/>
                  </a:lnTo>
                  <a:lnTo>
                    <a:pt x="3202" y="1718"/>
                  </a:lnTo>
                  <a:lnTo>
                    <a:pt x="3202" y="1718"/>
                  </a:lnTo>
                  <a:lnTo>
                    <a:pt x="3202" y="1711"/>
                  </a:lnTo>
                  <a:lnTo>
                    <a:pt x="3195" y="1711"/>
                  </a:lnTo>
                  <a:lnTo>
                    <a:pt x="3195" y="1711"/>
                  </a:lnTo>
                  <a:lnTo>
                    <a:pt x="3195" y="1711"/>
                  </a:lnTo>
                  <a:lnTo>
                    <a:pt x="3195" y="1711"/>
                  </a:lnTo>
                  <a:lnTo>
                    <a:pt x="3195" y="1704"/>
                  </a:lnTo>
                  <a:lnTo>
                    <a:pt x="3195" y="1704"/>
                  </a:lnTo>
                  <a:lnTo>
                    <a:pt x="3188" y="1690"/>
                  </a:lnTo>
                  <a:lnTo>
                    <a:pt x="3188" y="1690"/>
                  </a:lnTo>
                  <a:lnTo>
                    <a:pt x="3188" y="1690"/>
                  </a:lnTo>
                  <a:lnTo>
                    <a:pt x="3188" y="1690"/>
                  </a:lnTo>
                  <a:lnTo>
                    <a:pt x="3188" y="1683"/>
                  </a:lnTo>
                  <a:lnTo>
                    <a:pt x="3188" y="1683"/>
                  </a:lnTo>
                  <a:lnTo>
                    <a:pt x="3188" y="1683"/>
                  </a:lnTo>
                  <a:lnTo>
                    <a:pt x="3188" y="1683"/>
                  </a:lnTo>
                  <a:lnTo>
                    <a:pt x="3181" y="1683"/>
                  </a:lnTo>
                  <a:lnTo>
                    <a:pt x="3181" y="1683"/>
                  </a:lnTo>
                  <a:lnTo>
                    <a:pt x="3181" y="1683"/>
                  </a:lnTo>
                  <a:lnTo>
                    <a:pt x="3181" y="1683"/>
                  </a:lnTo>
                  <a:lnTo>
                    <a:pt x="3181" y="1683"/>
                  </a:lnTo>
                  <a:lnTo>
                    <a:pt x="3181" y="1676"/>
                  </a:lnTo>
                  <a:lnTo>
                    <a:pt x="3181" y="1676"/>
                  </a:lnTo>
                  <a:lnTo>
                    <a:pt x="3173" y="1676"/>
                  </a:lnTo>
                  <a:lnTo>
                    <a:pt x="3173" y="1676"/>
                  </a:lnTo>
                  <a:lnTo>
                    <a:pt x="3173" y="1683"/>
                  </a:lnTo>
                  <a:lnTo>
                    <a:pt x="3173" y="1690"/>
                  </a:lnTo>
                  <a:lnTo>
                    <a:pt x="3181" y="1704"/>
                  </a:lnTo>
                  <a:lnTo>
                    <a:pt x="3181" y="1704"/>
                  </a:lnTo>
                  <a:lnTo>
                    <a:pt x="3173" y="1704"/>
                  </a:lnTo>
                  <a:lnTo>
                    <a:pt x="3166" y="1697"/>
                  </a:lnTo>
                  <a:lnTo>
                    <a:pt x="3166" y="1697"/>
                  </a:lnTo>
                  <a:lnTo>
                    <a:pt x="3159" y="1669"/>
                  </a:lnTo>
                  <a:lnTo>
                    <a:pt x="3159" y="1669"/>
                  </a:lnTo>
                  <a:lnTo>
                    <a:pt x="3159" y="1669"/>
                  </a:lnTo>
                  <a:lnTo>
                    <a:pt x="3159" y="1669"/>
                  </a:lnTo>
                  <a:lnTo>
                    <a:pt x="3159" y="1669"/>
                  </a:lnTo>
                  <a:lnTo>
                    <a:pt x="3159" y="1661"/>
                  </a:lnTo>
                  <a:lnTo>
                    <a:pt x="3159" y="1661"/>
                  </a:lnTo>
                  <a:lnTo>
                    <a:pt x="3159" y="1661"/>
                  </a:lnTo>
                  <a:lnTo>
                    <a:pt x="3159" y="1661"/>
                  </a:lnTo>
                  <a:lnTo>
                    <a:pt x="3159" y="1661"/>
                  </a:lnTo>
                  <a:lnTo>
                    <a:pt x="3152" y="1661"/>
                  </a:lnTo>
                  <a:lnTo>
                    <a:pt x="3152" y="1654"/>
                  </a:lnTo>
                  <a:lnTo>
                    <a:pt x="3152" y="1647"/>
                  </a:lnTo>
                  <a:lnTo>
                    <a:pt x="3152" y="1647"/>
                  </a:lnTo>
                  <a:lnTo>
                    <a:pt x="3152" y="1647"/>
                  </a:lnTo>
                  <a:lnTo>
                    <a:pt x="3145" y="1647"/>
                  </a:lnTo>
                  <a:lnTo>
                    <a:pt x="3145" y="1640"/>
                  </a:lnTo>
                  <a:lnTo>
                    <a:pt x="3145" y="1640"/>
                  </a:lnTo>
                  <a:lnTo>
                    <a:pt x="3145" y="1640"/>
                  </a:lnTo>
                  <a:lnTo>
                    <a:pt x="3145" y="1633"/>
                  </a:lnTo>
                  <a:lnTo>
                    <a:pt x="3138" y="1626"/>
                  </a:lnTo>
                  <a:lnTo>
                    <a:pt x="3138" y="1626"/>
                  </a:lnTo>
                  <a:lnTo>
                    <a:pt x="3138" y="1619"/>
                  </a:lnTo>
                  <a:lnTo>
                    <a:pt x="3138" y="1619"/>
                  </a:lnTo>
                  <a:lnTo>
                    <a:pt x="3138" y="1619"/>
                  </a:lnTo>
                  <a:lnTo>
                    <a:pt x="3138" y="1619"/>
                  </a:lnTo>
                  <a:lnTo>
                    <a:pt x="3138" y="1619"/>
                  </a:lnTo>
                  <a:lnTo>
                    <a:pt x="3138" y="1619"/>
                  </a:lnTo>
                  <a:lnTo>
                    <a:pt x="3138" y="1612"/>
                  </a:lnTo>
                  <a:lnTo>
                    <a:pt x="3138" y="1612"/>
                  </a:lnTo>
                  <a:lnTo>
                    <a:pt x="3138" y="1612"/>
                  </a:lnTo>
                  <a:lnTo>
                    <a:pt x="3138" y="1605"/>
                  </a:lnTo>
                  <a:lnTo>
                    <a:pt x="3138" y="1605"/>
                  </a:lnTo>
                  <a:lnTo>
                    <a:pt x="3145" y="1605"/>
                  </a:lnTo>
                  <a:lnTo>
                    <a:pt x="3145" y="1605"/>
                  </a:lnTo>
                  <a:lnTo>
                    <a:pt x="3145" y="1598"/>
                  </a:lnTo>
                  <a:lnTo>
                    <a:pt x="3145" y="1590"/>
                  </a:lnTo>
                  <a:lnTo>
                    <a:pt x="3145" y="1590"/>
                  </a:lnTo>
                  <a:lnTo>
                    <a:pt x="3145" y="1590"/>
                  </a:lnTo>
                  <a:lnTo>
                    <a:pt x="3145" y="1583"/>
                  </a:lnTo>
                  <a:lnTo>
                    <a:pt x="3145" y="1583"/>
                  </a:lnTo>
                  <a:lnTo>
                    <a:pt x="3145" y="1576"/>
                  </a:lnTo>
                  <a:lnTo>
                    <a:pt x="3145" y="1576"/>
                  </a:lnTo>
                  <a:lnTo>
                    <a:pt x="3152" y="1569"/>
                  </a:lnTo>
                  <a:lnTo>
                    <a:pt x="3152" y="1569"/>
                  </a:lnTo>
                  <a:lnTo>
                    <a:pt x="3152" y="1569"/>
                  </a:lnTo>
                  <a:lnTo>
                    <a:pt x="3152" y="1569"/>
                  </a:lnTo>
                  <a:lnTo>
                    <a:pt x="3159" y="1569"/>
                  </a:lnTo>
                  <a:lnTo>
                    <a:pt x="3159" y="1569"/>
                  </a:lnTo>
                  <a:lnTo>
                    <a:pt x="3159" y="1562"/>
                  </a:lnTo>
                  <a:lnTo>
                    <a:pt x="3159" y="1555"/>
                  </a:lnTo>
                  <a:lnTo>
                    <a:pt x="3159" y="1555"/>
                  </a:lnTo>
                  <a:lnTo>
                    <a:pt x="3166" y="1555"/>
                  </a:lnTo>
                  <a:lnTo>
                    <a:pt x="3173" y="1555"/>
                  </a:lnTo>
                  <a:lnTo>
                    <a:pt x="3181" y="1555"/>
                  </a:lnTo>
                  <a:lnTo>
                    <a:pt x="3188" y="1555"/>
                  </a:lnTo>
                  <a:lnTo>
                    <a:pt x="3188" y="1555"/>
                  </a:lnTo>
                  <a:lnTo>
                    <a:pt x="3188" y="1555"/>
                  </a:lnTo>
                  <a:lnTo>
                    <a:pt x="3188" y="1548"/>
                  </a:lnTo>
                  <a:lnTo>
                    <a:pt x="3188" y="1548"/>
                  </a:lnTo>
                  <a:lnTo>
                    <a:pt x="3195" y="1541"/>
                  </a:lnTo>
                  <a:lnTo>
                    <a:pt x="3195" y="1534"/>
                  </a:lnTo>
                  <a:lnTo>
                    <a:pt x="3195" y="1534"/>
                  </a:lnTo>
                  <a:lnTo>
                    <a:pt x="3195" y="1541"/>
                  </a:lnTo>
                  <a:lnTo>
                    <a:pt x="3195" y="1541"/>
                  </a:lnTo>
                  <a:lnTo>
                    <a:pt x="3202" y="1548"/>
                  </a:lnTo>
                  <a:lnTo>
                    <a:pt x="3202" y="1548"/>
                  </a:lnTo>
                  <a:lnTo>
                    <a:pt x="3202" y="1548"/>
                  </a:lnTo>
                  <a:lnTo>
                    <a:pt x="3209" y="1541"/>
                  </a:lnTo>
                  <a:lnTo>
                    <a:pt x="3209" y="1541"/>
                  </a:lnTo>
                  <a:lnTo>
                    <a:pt x="3202" y="1534"/>
                  </a:lnTo>
                  <a:lnTo>
                    <a:pt x="3202" y="1534"/>
                  </a:lnTo>
                  <a:lnTo>
                    <a:pt x="3202" y="1534"/>
                  </a:lnTo>
                  <a:lnTo>
                    <a:pt x="3216" y="1534"/>
                  </a:lnTo>
                  <a:lnTo>
                    <a:pt x="3216" y="1534"/>
                  </a:lnTo>
                  <a:lnTo>
                    <a:pt x="3216" y="1534"/>
                  </a:lnTo>
                  <a:lnTo>
                    <a:pt x="3216" y="1541"/>
                  </a:lnTo>
                  <a:lnTo>
                    <a:pt x="3216" y="1541"/>
                  </a:lnTo>
                  <a:lnTo>
                    <a:pt x="3223" y="1541"/>
                  </a:lnTo>
                  <a:lnTo>
                    <a:pt x="3223" y="1541"/>
                  </a:lnTo>
                  <a:lnTo>
                    <a:pt x="3223" y="1541"/>
                  </a:lnTo>
                  <a:lnTo>
                    <a:pt x="3223" y="1541"/>
                  </a:lnTo>
                  <a:lnTo>
                    <a:pt x="3230" y="1527"/>
                  </a:lnTo>
                  <a:lnTo>
                    <a:pt x="3230" y="1527"/>
                  </a:lnTo>
                  <a:lnTo>
                    <a:pt x="3223" y="1519"/>
                  </a:lnTo>
                  <a:lnTo>
                    <a:pt x="3223" y="1519"/>
                  </a:lnTo>
                  <a:lnTo>
                    <a:pt x="3230" y="1512"/>
                  </a:lnTo>
                  <a:lnTo>
                    <a:pt x="3230" y="1519"/>
                  </a:lnTo>
                  <a:lnTo>
                    <a:pt x="3230" y="1519"/>
                  </a:lnTo>
                  <a:lnTo>
                    <a:pt x="3237" y="1519"/>
                  </a:lnTo>
                  <a:lnTo>
                    <a:pt x="3237" y="1519"/>
                  </a:lnTo>
                  <a:lnTo>
                    <a:pt x="3230" y="1512"/>
                  </a:lnTo>
                  <a:lnTo>
                    <a:pt x="3230" y="1512"/>
                  </a:lnTo>
                  <a:lnTo>
                    <a:pt x="3244" y="1512"/>
                  </a:lnTo>
                  <a:lnTo>
                    <a:pt x="3244" y="1512"/>
                  </a:lnTo>
                  <a:lnTo>
                    <a:pt x="3252" y="1505"/>
                  </a:lnTo>
                  <a:lnTo>
                    <a:pt x="3252" y="1505"/>
                  </a:lnTo>
                  <a:lnTo>
                    <a:pt x="3252" y="1498"/>
                  </a:lnTo>
                  <a:lnTo>
                    <a:pt x="3252" y="1491"/>
                  </a:lnTo>
                  <a:lnTo>
                    <a:pt x="3252" y="1491"/>
                  </a:lnTo>
                  <a:lnTo>
                    <a:pt x="3252" y="1484"/>
                  </a:lnTo>
                  <a:lnTo>
                    <a:pt x="3252" y="1484"/>
                  </a:lnTo>
                  <a:lnTo>
                    <a:pt x="3252" y="1484"/>
                  </a:lnTo>
                  <a:lnTo>
                    <a:pt x="3259" y="1484"/>
                  </a:lnTo>
                  <a:lnTo>
                    <a:pt x="3259" y="1477"/>
                  </a:lnTo>
                  <a:lnTo>
                    <a:pt x="3259" y="1477"/>
                  </a:lnTo>
                  <a:lnTo>
                    <a:pt x="3259" y="1470"/>
                  </a:lnTo>
                  <a:lnTo>
                    <a:pt x="3259" y="1448"/>
                  </a:lnTo>
                  <a:lnTo>
                    <a:pt x="3259" y="1448"/>
                  </a:lnTo>
                  <a:lnTo>
                    <a:pt x="3259" y="1448"/>
                  </a:lnTo>
                  <a:lnTo>
                    <a:pt x="3259" y="1441"/>
                  </a:lnTo>
                  <a:lnTo>
                    <a:pt x="3259" y="1441"/>
                  </a:lnTo>
                  <a:lnTo>
                    <a:pt x="3259" y="1434"/>
                  </a:lnTo>
                  <a:lnTo>
                    <a:pt x="3259" y="1434"/>
                  </a:lnTo>
                  <a:lnTo>
                    <a:pt x="3259" y="1434"/>
                  </a:lnTo>
                  <a:lnTo>
                    <a:pt x="3266" y="1434"/>
                  </a:lnTo>
                  <a:lnTo>
                    <a:pt x="3273" y="1441"/>
                  </a:lnTo>
                  <a:lnTo>
                    <a:pt x="3273" y="1441"/>
                  </a:lnTo>
                  <a:lnTo>
                    <a:pt x="3280" y="1441"/>
                  </a:lnTo>
                  <a:lnTo>
                    <a:pt x="3280" y="1441"/>
                  </a:lnTo>
                  <a:lnTo>
                    <a:pt x="3280" y="1441"/>
                  </a:lnTo>
                  <a:lnTo>
                    <a:pt x="3287" y="1434"/>
                  </a:lnTo>
                  <a:lnTo>
                    <a:pt x="3294" y="1434"/>
                  </a:lnTo>
                  <a:lnTo>
                    <a:pt x="3294" y="1434"/>
                  </a:lnTo>
                  <a:lnTo>
                    <a:pt x="3294" y="1434"/>
                  </a:lnTo>
                  <a:lnTo>
                    <a:pt x="3294" y="1427"/>
                  </a:lnTo>
                  <a:lnTo>
                    <a:pt x="3287" y="1427"/>
                  </a:lnTo>
                  <a:lnTo>
                    <a:pt x="3287" y="1427"/>
                  </a:lnTo>
                  <a:lnTo>
                    <a:pt x="3287" y="1427"/>
                  </a:lnTo>
                  <a:lnTo>
                    <a:pt x="3287" y="1420"/>
                  </a:lnTo>
                  <a:lnTo>
                    <a:pt x="3287" y="1420"/>
                  </a:lnTo>
                  <a:lnTo>
                    <a:pt x="3287" y="1420"/>
                  </a:lnTo>
                  <a:lnTo>
                    <a:pt x="3280" y="1420"/>
                  </a:lnTo>
                  <a:lnTo>
                    <a:pt x="3280" y="1420"/>
                  </a:lnTo>
                  <a:lnTo>
                    <a:pt x="3280" y="1420"/>
                  </a:lnTo>
                  <a:lnTo>
                    <a:pt x="3280" y="1420"/>
                  </a:lnTo>
                  <a:lnTo>
                    <a:pt x="3273" y="1413"/>
                  </a:lnTo>
                  <a:lnTo>
                    <a:pt x="3273" y="1413"/>
                  </a:lnTo>
                  <a:lnTo>
                    <a:pt x="3266" y="1413"/>
                  </a:lnTo>
                  <a:lnTo>
                    <a:pt x="3266" y="1406"/>
                  </a:lnTo>
                  <a:lnTo>
                    <a:pt x="3266" y="1406"/>
                  </a:lnTo>
                  <a:lnTo>
                    <a:pt x="3259" y="1406"/>
                  </a:lnTo>
                  <a:lnTo>
                    <a:pt x="3252" y="1406"/>
                  </a:lnTo>
                  <a:lnTo>
                    <a:pt x="3252" y="1406"/>
                  </a:lnTo>
                  <a:lnTo>
                    <a:pt x="3252" y="1406"/>
                  </a:lnTo>
                  <a:lnTo>
                    <a:pt x="3252" y="1399"/>
                  </a:lnTo>
                  <a:lnTo>
                    <a:pt x="3244" y="1399"/>
                  </a:lnTo>
                  <a:lnTo>
                    <a:pt x="3244" y="1399"/>
                  </a:lnTo>
                  <a:lnTo>
                    <a:pt x="3244" y="1399"/>
                  </a:lnTo>
                  <a:lnTo>
                    <a:pt x="3244" y="1399"/>
                  </a:lnTo>
                  <a:lnTo>
                    <a:pt x="3244" y="1399"/>
                  </a:lnTo>
                  <a:lnTo>
                    <a:pt x="3244" y="1399"/>
                  </a:lnTo>
                  <a:lnTo>
                    <a:pt x="3237" y="1399"/>
                  </a:lnTo>
                  <a:lnTo>
                    <a:pt x="3237" y="1399"/>
                  </a:lnTo>
                  <a:lnTo>
                    <a:pt x="3237" y="1399"/>
                  </a:lnTo>
                  <a:lnTo>
                    <a:pt x="3237" y="1399"/>
                  </a:lnTo>
                  <a:lnTo>
                    <a:pt x="3237" y="1392"/>
                  </a:lnTo>
                  <a:lnTo>
                    <a:pt x="3230" y="1392"/>
                  </a:lnTo>
                  <a:lnTo>
                    <a:pt x="3230" y="1392"/>
                  </a:lnTo>
                  <a:lnTo>
                    <a:pt x="3223" y="1392"/>
                  </a:lnTo>
                  <a:lnTo>
                    <a:pt x="3223" y="1392"/>
                  </a:lnTo>
                  <a:lnTo>
                    <a:pt x="3216" y="1392"/>
                  </a:lnTo>
                  <a:lnTo>
                    <a:pt x="3209" y="1392"/>
                  </a:lnTo>
                  <a:lnTo>
                    <a:pt x="3195" y="1399"/>
                  </a:lnTo>
                  <a:lnTo>
                    <a:pt x="3188" y="1399"/>
                  </a:lnTo>
                  <a:lnTo>
                    <a:pt x="3188" y="1399"/>
                  </a:lnTo>
                  <a:lnTo>
                    <a:pt x="3188" y="1399"/>
                  </a:lnTo>
                  <a:lnTo>
                    <a:pt x="3188" y="1399"/>
                  </a:lnTo>
                  <a:lnTo>
                    <a:pt x="3188" y="1399"/>
                  </a:lnTo>
                  <a:lnTo>
                    <a:pt x="3188" y="1399"/>
                  </a:lnTo>
                  <a:lnTo>
                    <a:pt x="3181" y="1399"/>
                  </a:lnTo>
                  <a:lnTo>
                    <a:pt x="3181" y="1399"/>
                  </a:lnTo>
                  <a:lnTo>
                    <a:pt x="3181" y="1399"/>
                  </a:lnTo>
                  <a:lnTo>
                    <a:pt x="3181" y="1406"/>
                  </a:lnTo>
                  <a:lnTo>
                    <a:pt x="3173" y="1406"/>
                  </a:lnTo>
                  <a:lnTo>
                    <a:pt x="3173" y="1406"/>
                  </a:lnTo>
                  <a:lnTo>
                    <a:pt x="3173" y="1406"/>
                  </a:lnTo>
                  <a:lnTo>
                    <a:pt x="3166" y="1399"/>
                  </a:lnTo>
                  <a:lnTo>
                    <a:pt x="3166" y="1399"/>
                  </a:lnTo>
                  <a:lnTo>
                    <a:pt x="3166" y="1399"/>
                  </a:lnTo>
                  <a:lnTo>
                    <a:pt x="3166" y="1399"/>
                  </a:lnTo>
                  <a:lnTo>
                    <a:pt x="3166" y="1399"/>
                  </a:lnTo>
                  <a:lnTo>
                    <a:pt x="3159" y="1399"/>
                  </a:lnTo>
                  <a:lnTo>
                    <a:pt x="3159" y="1399"/>
                  </a:lnTo>
                  <a:lnTo>
                    <a:pt x="3159" y="1399"/>
                  </a:lnTo>
                  <a:lnTo>
                    <a:pt x="3159" y="1406"/>
                  </a:lnTo>
                  <a:lnTo>
                    <a:pt x="3152" y="1406"/>
                  </a:lnTo>
                  <a:lnTo>
                    <a:pt x="3152" y="1406"/>
                  </a:lnTo>
                  <a:lnTo>
                    <a:pt x="3131" y="1399"/>
                  </a:lnTo>
                  <a:lnTo>
                    <a:pt x="3124" y="1399"/>
                  </a:lnTo>
                  <a:lnTo>
                    <a:pt x="3124" y="1399"/>
                  </a:lnTo>
                  <a:lnTo>
                    <a:pt x="3117" y="1399"/>
                  </a:lnTo>
                  <a:lnTo>
                    <a:pt x="3117" y="1399"/>
                  </a:lnTo>
                  <a:lnTo>
                    <a:pt x="3110" y="1399"/>
                  </a:lnTo>
                  <a:lnTo>
                    <a:pt x="3088" y="1399"/>
                  </a:lnTo>
                  <a:lnTo>
                    <a:pt x="3088" y="1406"/>
                  </a:lnTo>
                  <a:lnTo>
                    <a:pt x="3067" y="1406"/>
                  </a:lnTo>
                  <a:lnTo>
                    <a:pt x="3067" y="1406"/>
                  </a:lnTo>
                  <a:lnTo>
                    <a:pt x="3067" y="1406"/>
                  </a:lnTo>
                  <a:lnTo>
                    <a:pt x="3060" y="1406"/>
                  </a:lnTo>
                  <a:lnTo>
                    <a:pt x="3060" y="1406"/>
                  </a:lnTo>
                  <a:lnTo>
                    <a:pt x="3060" y="1406"/>
                  </a:lnTo>
                  <a:lnTo>
                    <a:pt x="3060" y="1406"/>
                  </a:lnTo>
                  <a:lnTo>
                    <a:pt x="3053" y="1406"/>
                  </a:lnTo>
                  <a:lnTo>
                    <a:pt x="3053" y="1406"/>
                  </a:lnTo>
                  <a:lnTo>
                    <a:pt x="3053" y="1406"/>
                  </a:lnTo>
                  <a:lnTo>
                    <a:pt x="3053" y="1406"/>
                  </a:lnTo>
                  <a:lnTo>
                    <a:pt x="3046" y="1406"/>
                  </a:lnTo>
                  <a:lnTo>
                    <a:pt x="3046" y="1406"/>
                  </a:lnTo>
                  <a:lnTo>
                    <a:pt x="3046" y="1406"/>
                  </a:lnTo>
                  <a:lnTo>
                    <a:pt x="3039" y="1406"/>
                  </a:lnTo>
                  <a:lnTo>
                    <a:pt x="3024" y="1406"/>
                  </a:lnTo>
                  <a:lnTo>
                    <a:pt x="3017" y="1406"/>
                  </a:lnTo>
                  <a:lnTo>
                    <a:pt x="3010" y="1406"/>
                  </a:lnTo>
                  <a:lnTo>
                    <a:pt x="2996" y="1406"/>
                  </a:lnTo>
                  <a:lnTo>
                    <a:pt x="2975" y="1399"/>
                  </a:lnTo>
                  <a:lnTo>
                    <a:pt x="2946" y="1392"/>
                  </a:lnTo>
                  <a:lnTo>
                    <a:pt x="2939" y="1392"/>
                  </a:lnTo>
                  <a:lnTo>
                    <a:pt x="2939" y="1392"/>
                  </a:lnTo>
                  <a:lnTo>
                    <a:pt x="2932" y="1392"/>
                  </a:lnTo>
                  <a:lnTo>
                    <a:pt x="2932" y="1392"/>
                  </a:lnTo>
                  <a:lnTo>
                    <a:pt x="2932" y="1385"/>
                  </a:lnTo>
                  <a:lnTo>
                    <a:pt x="2932" y="1377"/>
                  </a:lnTo>
                  <a:lnTo>
                    <a:pt x="2932" y="1370"/>
                  </a:lnTo>
                  <a:lnTo>
                    <a:pt x="2932" y="1363"/>
                  </a:lnTo>
                  <a:lnTo>
                    <a:pt x="2932" y="1349"/>
                  </a:lnTo>
                  <a:lnTo>
                    <a:pt x="2932" y="1342"/>
                  </a:lnTo>
                  <a:lnTo>
                    <a:pt x="2932" y="1335"/>
                  </a:lnTo>
                  <a:lnTo>
                    <a:pt x="2925" y="1328"/>
                  </a:lnTo>
                  <a:lnTo>
                    <a:pt x="2925" y="1314"/>
                  </a:lnTo>
                  <a:lnTo>
                    <a:pt x="2925" y="1314"/>
                  </a:lnTo>
                  <a:lnTo>
                    <a:pt x="2925" y="1299"/>
                  </a:lnTo>
                  <a:lnTo>
                    <a:pt x="2925" y="1299"/>
                  </a:lnTo>
                  <a:lnTo>
                    <a:pt x="2925" y="1299"/>
                  </a:lnTo>
                  <a:lnTo>
                    <a:pt x="2925" y="1299"/>
                  </a:lnTo>
                  <a:lnTo>
                    <a:pt x="2918" y="1299"/>
                  </a:lnTo>
                  <a:lnTo>
                    <a:pt x="2925" y="1292"/>
                  </a:lnTo>
                  <a:lnTo>
                    <a:pt x="2925" y="1292"/>
                  </a:lnTo>
                  <a:lnTo>
                    <a:pt x="2925" y="1292"/>
                  </a:lnTo>
                  <a:lnTo>
                    <a:pt x="2925" y="1292"/>
                  </a:lnTo>
                  <a:lnTo>
                    <a:pt x="2925" y="1292"/>
                  </a:lnTo>
                  <a:lnTo>
                    <a:pt x="2925" y="1292"/>
                  </a:lnTo>
                  <a:lnTo>
                    <a:pt x="2925" y="1292"/>
                  </a:lnTo>
                  <a:lnTo>
                    <a:pt x="2925" y="1292"/>
                  </a:lnTo>
                  <a:lnTo>
                    <a:pt x="2925" y="1292"/>
                  </a:lnTo>
                  <a:lnTo>
                    <a:pt x="2925" y="1292"/>
                  </a:lnTo>
                  <a:lnTo>
                    <a:pt x="2918" y="1292"/>
                  </a:lnTo>
                  <a:lnTo>
                    <a:pt x="2918" y="1292"/>
                  </a:lnTo>
                  <a:lnTo>
                    <a:pt x="2918" y="1292"/>
                  </a:lnTo>
                  <a:lnTo>
                    <a:pt x="2918" y="1292"/>
                  </a:lnTo>
                  <a:lnTo>
                    <a:pt x="2918" y="1285"/>
                  </a:lnTo>
                  <a:lnTo>
                    <a:pt x="2918" y="1285"/>
                  </a:lnTo>
                  <a:lnTo>
                    <a:pt x="2911" y="1285"/>
                  </a:lnTo>
                  <a:lnTo>
                    <a:pt x="2911" y="1278"/>
                  </a:lnTo>
                  <a:lnTo>
                    <a:pt x="2911" y="1278"/>
                  </a:lnTo>
                  <a:lnTo>
                    <a:pt x="2911" y="1278"/>
                  </a:lnTo>
                  <a:lnTo>
                    <a:pt x="2911" y="1278"/>
                  </a:lnTo>
                  <a:lnTo>
                    <a:pt x="2911" y="1271"/>
                  </a:lnTo>
                  <a:lnTo>
                    <a:pt x="2911" y="1271"/>
                  </a:lnTo>
                  <a:lnTo>
                    <a:pt x="2911" y="1271"/>
                  </a:lnTo>
                  <a:lnTo>
                    <a:pt x="2904" y="1264"/>
                  </a:lnTo>
                  <a:lnTo>
                    <a:pt x="2904" y="1264"/>
                  </a:lnTo>
                  <a:lnTo>
                    <a:pt x="2904" y="1271"/>
                  </a:lnTo>
                  <a:lnTo>
                    <a:pt x="2904" y="1271"/>
                  </a:lnTo>
                  <a:lnTo>
                    <a:pt x="2897" y="1264"/>
                  </a:lnTo>
                  <a:lnTo>
                    <a:pt x="2897" y="1264"/>
                  </a:lnTo>
                  <a:lnTo>
                    <a:pt x="2897" y="1264"/>
                  </a:lnTo>
                  <a:lnTo>
                    <a:pt x="2897" y="1257"/>
                  </a:lnTo>
                  <a:lnTo>
                    <a:pt x="2897" y="1257"/>
                  </a:lnTo>
                  <a:lnTo>
                    <a:pt x="2897" y="1257"/>
                  </a:lnTo>
                  <a:lnTo>
                    <a:pt x="2890" y="1257"/>
                  </a:lnTo>
                  <a:lnTo>
                    <a:pt x="2890" y="1257"/>
                  </a:lnTo>
                  <a:lnTo>
                    <a:pt x="2890" y="1264"/>
                  </a:lnTo>
                  <a:lnTo>
                    <a:pt x="2897" y="1264"/>
                  </a:lnTo>
                  <a:lnTo>
                    <a:pt x="2897" y="1264"/>
                  </a:lnTo>
                  <a:lnTo>
                    <a:pt x="2890" y="1264"/>
                  </a:lnTo>
                  <a:lnTo>
                    <a:pt x="2890" y="1264"/>
                  </a:lnTo>
                  <a:lnTo>
                    <a:pt x="2890" y="1264"/>
                  </a:lnTo>
                  <a:lnTo>
                    <a:pt x="2890" y="1264"/>
                  </a:lnTo>
                  <a:lnTo>
                    <a:pt x="2890" y="1271"/>
                  </a:lnTo>
                  <a:lnTo>
                    <a:pt x="2890" y="1271"/>
                  </a:lnTo>
                  <a:lnTo>
                    <a:pt x="2890" y="1271"/>
                  </a:lnTo>
                  <a:lnTo>
                    <a:pt x="2897" y="1271"/>
                  </a:lnTo>
                  <a:lnTo>
                    <a:pt x="2890" y="1271"/>
                  </a:lnTo>
                  <a:lnTo>
                    <a:pt x="2890" y="1278"/>
                  </a:lnTo>
                  <a:lnTo>
                    <a:pt x="2890" y="1278"/>
                  </a:lnTo>
                  <a:lnTo>
                    <a:pt x="2890" y="1278"/>
                  </a:lnTo>
                  <a:lnTo>
                    <a:pt x="2890" y="1278"/>
                  </a:lnTo>
                  <a:lnTo>
                    <a:pt x="2890" y="1278"/>
                  </a:lnTo>
                  <a:lnTo>
                    <a:pt x="2897" y="1278"/>
                  </a:lnTo>
                  <a:lnTo>
                    <a:pt x="2897" y="1278"/>
                  </a:lnTo>
                  <a:lnTo>
                    <a:pt x="2897" y="1285"/>
                  </a:lnTo>
                  <a:lnTo>
                    <a:pt x="2890" y="1285"/>
                  </a:lnTo>
                  <a:lnTo>
                    <a:pt x="2890" y="1292"/>
                  </a:lnTo>
                  <a:lnTo>
                    <a:pt x="2890" y="1292"/>
                  </a:lnTo>
                  <a:lnTo>
                    <a:pt x="2890" y="1292"/>
                  </a:lnTo>
                  <a:lnTo>
                    <a:pt x="2890" y="1299"/>
                  </a:lnTo>
                  <a:lnTo>
                    <a:pt x="2890" y="1299"/>
                  </a:lnTo>
                  <a:lnTo>
                    <a:pt x="2882" y="1299"/>
                  </a:lnTo>
                  <a:lnTo>
                    <a:pt x="2882" y="1292"/>
                  </a:lnTo>
                  <a:lnTo>
                    <a:pt x="2882" y="1292"/>
                  </a:lnTo>
                  <a:lnTo>
                    <a:pt x="2882" y="1292"/>
                  </a:lnTo>
                  <a:lnTo>
                    <a:pt x="2882" y="1292"/>
                  </a:lnTo>
                  <a:lnTo>
                    <a:pt x="2882" y="1292"/>
                  </a:lnTo>
                  <a:lnTo>
                    <a:pt x="2875" y="1292"/>
                  </a:lnTo>
                  <a:lnTo>
                    <a:pt x="2875" y="1292"/>
                  </a:lnTo>
                  <a:lnTo>
                    <a:pt x="2875" y="1292"/>
                  </a:lnTo>
                  <a:lnTo>
                    <a:pt x="2875" y="1292"/>
                  </a:lnTo>
                  <a:lnTo>
                    <a:pt x="2868" y="1292"/>
                  </a:lnTo>
                  <a:lnTo>
                    <a:pt x="2868" y="1292"/>
                  </a:lnTo>
                  <a:lnTo>
                    <a:pt x="2868" y="1292"/>
                  </a:lnTo>
                  <a:lnTo>
                    <a:pt x="2868" y="1292"/>
                  </a:lnTo>
                  <a:lnTo>
                    <a:pt x="2868" y="1292"/>
                  </a:lnTo>
                  <a:lnTo>
                    <a:pt x="2868" y="1292"/>
                  </a:lnTo>
                  <a:lnTo>
                    <a:pt x="2861" y="1292"/>
                  </a:lnTo>
                  <a:lnTo>
                    <a:pt x="2861" y="1292"/>
                  </a:lnTo>
                  <a:lnTo>
                    <a:pt x="2861" y="1292"/>
                  </a:lnTo>
                  <a:lnTo>
                    <a:pt x="2854" y="1292"/>
                  </a:lnTo>
                  <a:lnTo>
                    <a:pt x="2854" y="1292"/>
                  </a:lnTo>
                  <a:lnTo>
                    <a:pt x="2854" y="1285"/>
                  </a:lnTo>
                  <a:lnTo>
                    <a:pt x="2847" y="1285"/>
                  </a:lnTo>
                  <a:lnTo>
                    <a:pt x="2847" y="1285"/>
                  </a:lnTo>
                  <a:lnTo>
                    <a:pt x="2847" y="1278"/>
                  </a:lnTo>
                  <a:lnTo>
                    <a:pt x="2840" y="1278"/>
                  </a:lnTo>
                  <a:lnTo>
                    <a:pt x="2840" y="1278"/>
                  </a:lnTo>
                  <a:lnTo>
                    <a:pt x="2833" y="1271"/>
                  </a:lnTo>
                  <a:lnTo>
                    <a:pt x="2833" y="1271"/>
                  </a:lnTo>
                  <a:lnTo>
                    <a:pt x="2826" y="1271"/>
                  </a:lnTo>
                  <a:lnTo>
                    <a:pt x="2826" y="1264"/>
                  </a:lnTo>
                  <a:lnTo>
                    <a:pt x="2826" y="1257"/>
                  </a:lnTo>
                  <a:lnTo>
                    <a:pt x="2819" y="1257"/>
                  </a:lnTo>
                  <a:lnTo>
                    <a:pt x="2819" y="1250"/>
                  </a:lnTo>
                  <a:lnTo>
                    <a:pt x="2819" y="1250"/>
                  </a:lnTo>
                  <a:lnTo>
                    <a:pt x="2819" y="1250"/>
                  </a:lnTo>
                  <a:lnTo>
                    <a:pt x="2826" y="1250"/>
                  </a:lnTo>
                  <a:lnTo>
                    <a:pt x="2826" y="1250"/>
                  </a:lnTo>
                  <a:lnTo>
                    <a:pt x="2826" y="1243"/>
                  </a:lnTo>
                  <a:lnTo>
                    <a:pt x="2826" y="1243"/>
                  </a:lnTo>
                  <a:lnTo>
                    <a:pt x="2819" y="1243"/>
                  </a:lnTo>
                  <a:lnTo>
                    <a:pt x="2819" y="1243"/>
                  </a:lnTo>
                  <a:lnTo>
                    <a:pt x="2819" y="1243"/>
                  </a:lnTo>
                  <a:lnTo>
                    <a:pt x="2819" y="1243"/>
                  </a:lnTo>
                  <a:lnTo>
                    <a:pt x="2819" y="1243"/>
                  </a:lnTo>
                  <a:lnTo>
                    <a:pt x="2819" y="1236"/>
                  </a:lnTo>
                  <a:lnTo>
                    <a:pt x="2811" y="1236"/>
                  </a:lnTo>
                  <a:lnTo>
                    <a:pt x="2811" y="1236"/>
                  </a:lnTo>
                  <a:lnTo>
                    <a:pt x="2811" y="1236"/>
                  </a:lnTo>
                  <a:lnTo>
                    <a:pt x="2804" y="1236"/>
                  </a:lnTo>
                  <a:lnTo>
                    <a:pt x="2804" y="1236"/>
                  </a:lnTo>
                  <a:lnTo>
                    <a:pt x="2804" y="1236"/>
                  </a:lnTo>
                  <a:lnTo>
                    <a:pt x="2804" y="1228"/>
                  </a:lnTo>
                  <a:lnTo>
                    <a:pt x="2804" y="1228"/>
                  </a:lnTo>
                  <a:lnTo>
                    <a:pt x="2797" y="1228"/>
                  </a:lnTo>
                  <a:lnTo>
                    <a:pt x="2797" y="1236"/>
                  </a:lnTo>
                  <a:lnTo>
                    <a:pt x="2797" y="1236"/>
                  </a:lnTo>
                  <a:lnTo>
                    <a:pt x="2797" y="1236"/>
                  </a:lnTo>
                  <a:lnTo>
                    <a:pt x="2797" y="1243"/>
                  </a:lnTo>
                  <a:lnTo>
                    <a:pt x="2797" y="1243"/>
                  </a:lnTo>
                  <a:lnTo>
                    <a:pt x="2804" y="1243"/>
                  </a:lnTo>
                  <a:lnTo>
                    <a:pt x="2804" y="1250"/>
                  </a:lnTo>
                  <a:lnTo>
                    <a:pt x="2811" y="1250"/>
                  </a:lnTo>
                  <a:lnTo>
                    <a:pt x="2811" y="1250"/>
                  </a:lnTo>
                  <a:lnTo>
                    <a:pt x="2811" y="1250"/>
                  </a:lnTo>
                  <a:lnTo>
                    <a:pt x="2811" y="1250"/>
                  </a:lnTo>
                  <a:lnTo>
                    <a:pt x="2811" y="1250"/>
                  </a:lnTo>
                  <a:lnTo>
                    <a:pt x="2811" y="1257"/>
                  </a:lnTo>
                  <a:lnTo>
                    <a:pt x="2811" y="1257"/>
                  </a:lnTo>
                  <a:lnTo>
                    <a:pt x="2811" y="1257"/>
                  </a:lnTo>
                  <a:lnTo>
                    <a:pt x="2819" y="1257"/>
                  </a:lnTo>
                  <a:lnTo>
                    <a:pt x="2819" y="1257"/>
                  </a:lnTo>
                  <a:lnTo>
                    <a:pt x="2811" y="1257"/>
                  </a:lnTo>
                  <a:lnTo>
                    <a:pt x="2811" y="1264"/>
                  </a:lnTo>
                  <a:lnTo>
                    <a:pt x="2804" y="1257"/>
                  </a:lnTo>
                  <a:lnTo>
                    <a:pt x="2797" y="1257"/>
                  </a:lnTo>
                  <a:lnTo>
                    <a:pt x="2797" y="1257"/>
                  </a:lnTo>
                  <a:lnTo>
                    <a:pt x="2790" y="1257"/>
                  </a:lnTo>
                  <a:lnTo>
                    <a:pt x="2790" y="1264"/>
                  </a:lnTo>
                  <a:lnTo>
                    <a:pt x="2790" y="1264"/>
                  </a:lnTo>
                  <a:lnTo>
                    <a:pt x="2790" y="1264"/>
                  </a:lnTo>
                  <a:lnTo>
                    <a:pt x="2783" y="1257"/>
                  </a:lnTo>
                  <a:lnTo>
                    <a:pt x="2783" y="1257"/>
                  </a:lnTo>
                  <a:lnTo>
                    <a:pt x="2783" y="1257"/>
                  </a:lnTo>
                  <a:lnTo>
                    <a:pt x="2776" y="1250"/>
                  </a:lnTo>
                  <a:lnTo>
                    <a:pt x="2769" y="1257"/>
                  </a:lnTo>
                  <a:lnTo>
                    <a:pt x="2769" y="1257"/>
                  </a:lnTo>
                  <a:lnTo>
                    <a:pt x="2769" y="1257"/>
                  </a:lnTo>
                  <a:lnTo>
                    <a:pt x="2769" y="1250"/>
                  </a:lnTo>
                  <a:lnTo>
                    <a:pt x="2769" y="1250"/>
                  </a:lnTo>
                  <a:lnTo>
                    <a:pt x="2776" y="1250"/>
                  </a:lnTo>
                  <a:lnTo>
                    <a:pt x="2776" y="1250"/>
                  </a:lnTo>
                  <a:lnTo>
                    <a:pt x="2769" y="1243"/>
                  </a:lnTo>
                  <a:lnTo>
                    <a:pt x="2769" y="1243"/>
                  </a:lnTo>
                  <a:lnTo>
                    <a:pt x="2769" y="1243"/>
                  </a:lnTo>
                  <a:lnTo>
                    <a:pt x="2769" y="1243"/>
                  </a:lnTo>
                  <a:lnTo>
                    <a:pt x="2769" y="1243"/>
                  </a:lnTo>
                  <a:lnTo>
                    <a:pt x="2762" y="1243"/>
                  </a:lnTo>
                  <a:lnTo>
                    <a:pt x="2762" y="1236"/>
                  </a:lnTo>
                  <a:lnTo>
                    <a:pt x="2762" y="1236"/>
                  </a:lnTo>
                  <a:lnTo>
                    <a:pt x="2762" y="1236"/>
                  </a:lnTo>
                  <a:lnTo>
                    <a:pt x="2762" y="1236"/>
                  </a:lnTo>
                  <a:lnTo>
                    <a:pt x="2762" y="1236"/>
                  </a:lnTo>
                  <a:lnTo>
                    <a:pt x="2762" y="1236"/>
                  </a:lnTo>
                  <a:lnTo>
                    <a:pt x="2755" y="1236"/>
                  </a:lnTo>
                  <a:lnTo>
                    <a:pt x="2755" y="1228"/>
                  </a:lnTo>
                  <a:lnTo>
                    <a:pt x="2755" y="1228"/>
                  </a:lnTo>
                  <a:lnTo>
                    <a:pt x="2755" y="1228"/>
                  </a:lnTo>
                  <a:lnTo>
                    <a:pt x="2748" y="1228"/>
                  </a:lnTo>
                  <a:lnTo>
                    <a:pt x="2748" y="1228"/>
                  </a:lnTo>
                  <a:lnTo>
                    <a:pt x="2748" y="1228"/>
                  </a:lnTo>
                  <a:lnTo>
                    <a:pt x="2740" y="1228"/>
                  </a:lnTo>
                  <a:lnTo>
                    <a:pt x="2740" y="1228"/>
                  </a:lnTo>
                  <a:lnTo>
                    <a:pt x="2740" y="1221"/>
                  </a:lnTo>
                  <a:lnTo>
                    <a:pt x="2740" y="1221"/>
                  </a:lnTo>
                  <a:lnTo>
                    <a:pt x="2740" y="1221"/>
                  </a:lnTo>
                  <a:lnTo>
                    <a:pt x="2733" y="1221"/>
                  </a:lnTo>
                  <a:lnTo>
                    <a:pt x="2733" y="1221"/>
                  </a:lnTo>
                  <a:lnTo>
                    <a:pt x="2726" y="1214"/>
                  </a:lnTo>
                  <a:lnTo>
                    <a:pt x="2726" y="1214"/>
                  </a:lnTo>
                  <a:lnTo>
                    <a:pt x="2726" y="1207"/>
                  </a:lnTo>
                  <a:lnTo>
                    <a:pt x="2726" y="1207"/>
                  </a:lnTo>
                  <a:lnTo>
                    <a:pt x="2726" y="1207"/>
                  </a:lnTo>
                  <a:lnTo>
                    <a:pt x="2726" y="1207"/>
                  </a:lnTo>
                  <a:lnTo>
                    <a:pt x="2726" y="1214"/>
                  </a:lnTo>
                  <a:lnTo>
                    <a:pt x="2719" y="1214"/>
                  </a:lnTo>
                  <a:lnTo>
                    <a:pt x="2719" y="1221"/>
                  </a:lnTo>
                  <a:lnTo>
                    <a:pt x="2719" y="1228"/>
                  </a:lnTo>
                  <a:lnTo>
                    <a:pt x="2719" y="1228"/>
                  </a:lnTo>
                  <a:lnTo>
                    <a:pt x="2719" y="1228"/>
                  </a:lnTo>
                  <a:lnTo>
                    <a:pt x="2719" y="1228"/>
                  </a:lnTo>
                  <a:lnTo>
                    <a:pt x="2719" y="1236"/>
                  </a:lnTo>
                  <a:lnTo>
                    <a:pt x="2719" y="1236"/>
                  </a:lnTo>
                  <a:lnTo>
                    <a:pt x="2719" y="1228"/>
                  </a:lnTo>
                  <a:lnTo>
                    <a:pt x="2719" y="1228"/>
                  </a:lnTo>
                  <a:lnTo>
                    <a:pt x="2726" y="1228"/>
                  </a:lnTo>
                  <a:lnTo>
                    <a:pt x="2726" y="1228"/>
                  </a:lnTo>
                  <a:lnTo>
                    <a:pt x="2726" y="1228"/>
                  </a:lnTo>
                  <a:lnTo>
                    <a:pt x="2733" y="1228"/>
                  </a:lnTo>
                  <a:lnTo>
                    <a:pt x="2740" y="1228"/>
                  </a:lnTo>
                  <a:lnTo>
                    <a:pt x="2740" y="1236"/>
                  </a:lnTo>
                  <a:lnTo>
                    <a:pt x="2748" y="1243"/>
                  </a:lnTo>
                  <a:lnTo>
                    <a:pt x="2748" y="1243"/>
                  </a:lnTo>
                  <a:lnTo>
                    <a:pt x="2740" y="1243"/>
                  </a:lnTo>
                  <a:lnTo>
                    <a:pt x="2740" y="1243"/>
                  </a:lnTo>
                  <a:lnTo>
                    <a:pt x="2740" y="1243"/>
                  </a:lnTo>
                  <a:lnTo>
                    <a:pt x="2740" y="1243"/>
                  </a:lnTo>
                  <a:lnTo>
                    <a:pt x="2740" y="1243"/>
                  </a:lnTo>
                  <a:lnTo>
                    <a:pt x="2733" y="1243"/>
                  </a:lnTo>
                  <a:lnTo>
                    <a:pt x="2733" y="1243"/>
                  </a:lnTo>
                  <a:lnTo>
                    <a:pt x="2733" y="1250"/>
                  </a:lnTo>
                  <a:lnTo>
                    <a:pt x="2733" y="1250"/>
                  </a:lnTo>
                  <a:lnTo>
                    <a:pt x="2726" y="1250"/>
                  </a:lnTo>
                  <a:lnTo>
                    <a:pt x="2726" y="1257"/>
                  </a:lnTo>
                  <a:lnTo>
                    <a:pt x="2726" y="1257"/>
                  </a:lnTo>
                  <a:lnTo>
                    <a:pt x="2726" y="1257"/>
                  </a:lnTo>
                  <a:lnTo>
                    <a:pt x="2726" y="1264"/>
                  </a:lnTo>
                  <a:lnTo>
                    <a:pt x="2726" y="1264"/>
                  </a:lnTo>
                  <a:lnTo>
                    <a:pt x="2719" y="1271"/>
                  </a:lnTo>
                  <a:lnTo>
                    <a:pt x="2712" y="1271"/>
                  </a:lnTo>
                  <a:lnTo>
                    <a:pt x="2712" y="1271"/>
                  </a:lnTo>
                  <a:lnTo>
                    <a:pt x="2712" y="1271"/>
                  </a:lnTo>
                  <a:lnTo>
                    <a:pt x="2712" y="1271"/>
                  </a:lnTo>
                  <a:lnTo>
                    <a:pt x="2712" y="1271"/>
                  </a:lnTo>
                  <a:lnTo>
                    <a:pt x="2705" y="1278"/>
                  </a:lnTo>
                  <a:lnTo>
                    <a:pt x="2705" y="1278"/>
                  </a:lnTo>
                  <a:lnTo>
                    <a:pt x="2705" y="1278"/>
                  </a:lnTo>
                  <a:lnTo>
                    <a:pt x="2705" y="1285"/>
                  </a:lnTo>
                  <a:lnTo>
                    <a:pt x="2705" y="1285"/>
                  </a:lnTo>
                  <a:lnTo>
                    <a:pt x="2705" y="1285"/>
                  </a:lnTo>
                  <a:lnTo>
                    <a:pt x="2705" y="1285"/>
                  </a:lnTo>
                  <a:lnTo>
                    <a:pt x="2705" y="1285"/>
                  </a:lnTo>
                  <a:lnTo>
                    <a:pt x="2705" y="1285"/>
                  </a:lnTo>
                  <a:lnTo>
                    <a:pt x="2705" y="1292"/>
                  </a:lnTo>
                  <a:lnTo>
                    <a:pt x="2705" y="1292"/>
                  </a:lnTo>
                  <a:lnTo>
                    <a:pt x="2705" y="1292"/>
                  </a:lnTo>
                  <a:lnTo>
                    <a:pt x="2698" y="1299"/>
                  </a:lnTo>
                  <a:lnTo>
                    <a:pt x="2698" y="1299"/>
                  </a:lnTo>
                  <a:lnTo>
                    <a:pt x="2698" y="1306"/>
                  </a:lnTo>
                  <a:lnTo>
                    <a:pt x="2698" y="1314"/>
                  </a:lnTo>
                  <a:lnTo>
                    <a:pt x="2698" y="1314"/>
                  </a:lnTo>
                  <a:lnTo>
                    <a:pt x="2698" y="1314"/>
                  </a:lnTo>
                  <a:lnTo>
                    <a:pt x="2698" y="1321"/>
                  </a:lnTo>
                  <a:lnTo>
                    <a:pt x="2698" y="1321"/>
                  </a:lnTo>
                  <a:lnTo>
                    <a:pt x="2698" y="1321"/>
                  </a:lnTo>
                  <a:lnTo>
                    <a:pt x="2698" y="1321"/>
                  </a:lnTo>
                  <a:lnTo>
                    <a:pt x="2698" y="1328"/>
                  </a:lnTo>
                  <a:lnTo>
                    <a:pt x="2705" y="1328"/>
                  </a:lnTo>
                  <a:lnTo>
                    <a:pt x="2705" y="1328"/>
                  </a:lnTo>
                  <a:lnTo>
                    <a:pt x="2705" y="1328"/>
                  </a:lnTo>
                  <a:lnTo>
                    <a:pt x="2705" y="1328"/>
                  </a:lnTo>
                  <a:lnTo>
                    <a:pt x="2712" y="1328"/>
                  </a:lnTo>
                  <a:lnTo>
                    <a:pt x="2712" y="1328"/>
                  </a:lnTo>
                  <a:lnTo>
                    <a:pt x="2719" y="1328"/>
                  </a:lnTo>
                  <a:lnTo>
                    <a:pt x="2719" y="1328"/>
                  </a:lnTo>
                  <a:lnTo>
                    <a:pt x="2733" y="1335"/>
                  </a:lnTo>
                  <a:lnTo>
                    <a:pt x="2740" y="1342"/>
                  </a:lnTo>
                  <a:lnTo>
                    <a:pt x="2748" y="1349"/>
                  </a:lnTo>
                  <a:lnTo>
                    <a:pt x="2748" y="1356"/>
                  </a:lnTo>
                  <a:lnTo>
                    <a:pt x="2748" y="1356"/>
                  </a:lnTo>
                  <a:lnTo>
                    <a:pt x="2755" y="1363"/>
                  </a:lnTo>
                  <a:lnTo>
                    <a:pt x="2755" y="1363"/>
                  </a:lnTo>
                  <a:lnTo>
                    <a:pt x="2762" y="1363"/>
                  </a:lnTo>
                  <a:lnTo>
                    <a:pt x="2762" y="1370"/>
                  </a:lnTo>
                  <a:lnTo>
                    <a:pt x="2762" y="1370"/>
                  </a:lnTo>
                  <a:lnTo>
                    <a:pt x="2762" y="1370"/>
                  </a:lnTo>
                  <a:lnTo>
                    <a:pt x="2769" y="1370"/>
                  </a:lnTo>
                  <a:lnTo>
                    <a:pt x="2776" y="1370"/>
                  </a:lnTo>
                  <a:lnTo>
                    <a:pt x="2776" y="1370"/>
                  </a:lnTo>
                  <a:lnTo>
                    <a:pt x="2783" y="1370"/>
                  </a:lnTo>
                  <a:lnTo>
                    <a:pt x="2783" y="1370"/>
                  </a:lnTo>
                  <a:lnTo>
                    <a:pt x="2783" y="1370"/>
                  </a:lnTo>
                  <a:lnTo>
                    <a:pt x="2783" y="1370"/>
                  </a:lnTo>
                  <a:lnTo>
                    <a:pt x="2783" y="1370"/>
                  </a:lnTo>
                  <a:lnTo>
                    <a:pt x="2783" y="1370"/>
                  </a:lnTo>
                  <a:lnTo>
                    <a:pt x="2790" y="1370"/>
                  </a:lnTo>
                  <a:lnTo>
                    <a:pt x="2790" y="1370"/>
                  </a:lnTo>
                  <a:lnTo>
                    <a:pt x="2790" y="1370"/>
                  </a:lnTo>
                  <a:lnTo>
                    <a:pt x="2790" y="1363"/>
                  </a:lnTo>
                  <a:lnTo>
                    <a:pt x="2797" y="1370"/>
                  </a:lnTo>
                  <a:lnTo>
                    <a:pt x="2797" y="1370"/>
                  </a:lnTo>
                  <a:lnTo>
                    <a:pt x="2797" y="1370"/>
                  </a:lnTo>
                  <a:lnTo>
                    <a:pt x="2797" y="1370"/>
                  </a:lnTo>
                  <a:lnTo>
                    <a:pt x="2797" y="1370"/>
                  </a:lnTo>
                  <a:lnTo>
                    <a:pt x="2804" y="1377"/>
                  </a:lnTo>
                  <a:lnTo>
                    <a:pt x="2797" y="1385"/>
                  </a:lnTo>
                  <a:lnTo>
                    <a:pt x="2797" y="1385"/>
                  </a:lnTo>
                  <a:lnTo>
                    <a:pt x="2804" y="1385"/>
                  </a:lnTo>
                  <a:lnTo>
                    <a:pt x="2804" y="1385"/>
                  </a:lnTo>
                  <a:lnTo>
                    <a:pt x="2804" y="1385"/>
                  </a:lnTo>
                  <a:lnTo>
                    <a:pt x="2804" y="1385"/>
                  </a:lnTo>
                  <a:lnTo>
                    <a:pt x="2804" y="1392"/>
                  </a:lnTo>
                  <a:lnTo>
                    <a:pt x="2804" y="1392"/>
                  </a:lnTo>
                  <a:lnTo>
                    <a:pt x="2811" y="1392"/>
                  </a:lnTo>
                  <a:lnTo>
                    <a:pt x="2811" y="1392"/>
                  </a:lnTo>
                  <a:lnTo>
                    <a:pt x="2811" y="1392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6" y="1392"/>
                  </a:lnTo>
                  <a:lnTo>
                    <a:pt x="2826" y="1399"/>
                  </a:lnTo>
                  <a:lnTo>
                    <a:pt x="2826" y="1399"/>
                  </a:lnTo>
                  <a:lnTo>
                    <a:pt x="2826" y="1399"/>
                  </a:lnTo>
                  <a:lnTo>
                    <a:pt x="2826" y="1399"/>
                  </a:lnTo>
                  <a:lnTo>
                    <a:pt x="2819" y="1406"/>
                  </a:lnTo>
                  <a:lnTo>
                    <a:pt x="2819" y="1406"/>
                  </a:lnTo>
                  <a:lnTo>
                    <a:pt x="2819" y="1406"/>
                  </a:lnTo>
                  <a:lnTo>
                    <a:pt x="2819" y="1406"/>
                  </a:lnTo>
                  <a:lnTo>
                    <a:pt x="2819" y="1413"/>
                  </a:lnTo>
                  <a:lnTo>
                    <a:pt x="2819" y="1413"/>
                  </a:lnTo>
                  <a:lnTo>
                    <a:pt x="2819" y="1413"/>
                  </a:lnTo>
                  <a:lnTo>
                    <a:pt x="2819" y="1413"/>
                  </a:lnTo>
                  <a:lnTo>
                    <a:pt x="2804" y="1413"/>
                  </a:lnTo>
                  <a:lnTo>
                    <a:pt x="2804" y="1413"/>
                  </a:lnTo>
                  <a:lnTo>
                    <a:pt x="2804" y="1413"/>
                  </a:lnTo>
                  <a:lnTo>
                    <a:pt x="2804" y="1413"/>
                  </a:lnTo>
                  <a:lnTo>
                    <a:pt x="2804" y="1413"/>
                  </a:lnTo>
                  <a:lnTo>
                    <a:pt x="2804" y="1413"/>
                  </a:lnTo>
                  <a:lnTo>
                    <a:pt x="2804" y="1413"/>
                  </a:lnTo>
                  <a:lnTo>
                    <a:pt x="2790" y="1413"/>
                  </a:lnTo>
                  <a:lnTo>
                    <a:pt x="2783" y="1413"/>
                  </a:lnTo>
                  <a:lnTo>
                    <a:pt x="2783" y="1413"/>
                  </a:lnTo>
                  <a:lnTo>
                    <a:pt x="2776" y="1413"/>
                  </a:lnTo>
                  <a:lnTo>
                    <a:pt x="2776" y="1413"/>
                  </a:lnTo>
                  <a:lnTo>
                    <a:pt x="2776" y="1413"/>
                  </a:lnTo>
                  <a:lnTo>
                    <a:pt x="2776" y="1413"/>
                  </a:lnTo>
                  <a:lnTo>
                    <a:pt x="2769" y="1413"/>
                  </a:lnTo>
                  <a:lnTo>
                    <a:pt x="2769" y="1413"/>
                  </a:lnTo>
                  <a:lnTo>
                    <a:pt x="2769" y="1413"/>
                  </a:lnTo>
                  <a:lnTo>
                    <a:pt x="2769" y="1413"/>
                  </a:lnTo>
                  <a:lnTo>
                    <a:pt x="2762" y="1413"/>
                  </a:lnTo>
                  <a:lnTo>
                    <a:pt x="2762" y="1413"/>
                  </a:lnTo>
                  <a:lnTo>
                    <a:pt x="2755" y="1413"/>
                  </a:lnTo>
                  <a:lnTo>
                    <a:pt x="2755" y="1413"/>
                  </a:lnTo>
                  <a:lnTo>
                    <a:pt x="2755" y="1427"/>
                  </a:lnTo>
                  <a:lnTo>
                    <a:pt x="2755" y="1434"/>
                  </a:lnTo>
                  <a:lnTo>
                    <a:pt x="2755" y="1441"/>
                  </a:lnTo>
                  <a:lnTo>
                    <a:pt x="2755" y="1441"/>
                  </a:lnTo>
                  <a:lnTo>
                    <a:pt x="2755" y="1448"/>
                  </a:lnTo>
                  <a:lnTo>
                    <a:pt x="2748" y="1448"/>
                  </a:lnTo>
                  <a:lnTo>
                    <a:pt x="2748" y="1456"/>
                  </a:lnTo>
                  <a:lnTo>
                    <a:pt x="2740" y="1463"/>
                  </a:lnTo>
                  <a:lnTo>
                    <a:pt x="2740" y="1463"/>
                  </a:lnTo>
                  <a:lnTo>
                    <a:pt x="2740" y="1463"/>
                  </a:lnTo>
                  <a:lnTo>
                    <a:pt x="2733" y="1463"/>
                  </a:lnTo>
                  <a:lnTo>
                    <a:pt x="2733" y="1463"/>
                  </a:lnTo>
                  <a:lnTo>
                    <a:pt x="2733" y="1456"/>
                  </a:lnTo>
                  <a:lnTo>
                    <a:pt x="2733" y="1456"/>
                  </a:lnTo>
                  <a:lnTo>
                    <a:pt x="2726" y="1456"/>
                  </a:lnTo>
                  <a:lnTo>
                    <a:pt x="2726" y="1448"/>
                  </a:lnTo>
                  <a:lnTo>
                    <a:pt x="2726" y="1448"/>
                  </a:lnTo>
                  <a:lnTo>
                    <a:pt x="2719" y="1448"/>
                  </a:lnTo>
                  <a:lnTo>
                    <a:pt x="2719" y="1456"/>
                  </a:lnTo>
                  <a:lnTo>
                    <a:pt x="2719" y="1456"/>
                  </a:lnTo>
                  <a:lnTo>
                    <a:pt x="2719" y="1456"/>
                  </a:lnTo>
                  <a:lnTo>
                    <a:pt x="2719" y="1456"/>
                  </a:lnTo>
                  <a:lnTo>
                    <a:pt x="2719" y="1463"/>
                  </a:lnTo>
                  <a:lnTo>
                    <a:pt x="2719" y="1463"/>
                  </a:lnTo>
                  <a:lnTo>
                    <a:pt x="2719" y="1470"/>
                  </a:lnTo>
                  <a:lnTo>
                    <a:pt x="2719" y="1470"/>
                  </a:lnTo>
                  <a:lnTo>
                    <a:pt x="2719" y="1470"/>
                  </a:lnTo>
                  <a:lnTo>
                    <a:pt x="2712" y="1470"/>
                  </a:lnTo>
                  <a:lnTo>
                    <a:pt x="2712" y="1470"/>
                  </a:lnTo>
                  <a:lnTo>
                    <a:pt x="2712" y="1477"/>
                  </a:lnTo>
                  <a:lnTo>
                    <a:pt x="2712" y="1477"/>
                  </a:lnTo>
                  <a:lnTo>
                    <a:pt x="2712" y="1477"/>
                  </a:lnTo>
                  <a:lnTo>
                    <a:pt x="2712" y="1477"/>
                  </a:lnTo>
                  <a:lnTo>
                    <a:pt x="2712" y="1477"/>
                  </a:lnTo>
                  <a:lnTo>
                    <a:pt x="2712" y="1484"/>
                  </a:lnTo>
                  <a:lnTo>
                    <a:pt x="2705" y="1491"/>
                  </a:lnTo>
                  <a:lnTo>
                    <a:pt x="2705" y="1491"/>
                  </a:lnTo>
                  <a:lnTo>
                    <a:pt x="2705" y="1498"/>
                  </a:lnTo>
                  <a:lnTo>
                    <a:pt x="2712" y="1498"/>
                  </a:lnTo>
                  <a:lnTo>
                    <a:pt x="2712" y="1498"/>
                  </a:lnTo>
                  <a:lnTo>
                    <a:pt x="2712" y="1498"/>
                  </a:lnTo>
                  <a:lnTo>
                    <a:pt x="2719" y="1498"/>
                  </a:lnTo>
                  <a:lnTo>
                    <a:pt x="2719" y="1505"/>
                  </a:lnTo>
                  <a:lnTo>
                    <a:pt x="2719" y="1512"/>
                  </a:lnTo>
                  <a:lnTo>
                    <a:pt x="2719" y="1512"/>
                  </a:lnTo>
                  <a:lnTo>
                    <a:pt x="2719" y="1512"/>
                  </a:lnTo>
                  <a:lnTo>
                    <a:pt x="2719" y="1512"/>
                  </a:lnTo>
                  <a:lnTo>
                    <a:pt x="2719" y="1512"/>
                  </a:lnTo>
                  <a:lnTo>
                    <a:pt x="2719" y="1512"/>
                  </a:lnTo>
                  <a:lnTo>
                    <a:pt x="2726" y="1519"/>
                  </a:lnTo>
                  <a:lnTo>
                    <a:pt x="2762" y="1534"/>
                  </a:lnTo>
                  <a:lnTo>
                    <a:pt x="2769" y="1541"/>
                  </a:lnTo>
                  <a:lnTo>
                    <a:pt x="2776" y="1541"/>
                  </a:lnTo>
                  <a:lnTo>
                    <a:pt x="2783" y="1541"/>
                  </a:lnTo>
                  <a:lnTo>
                    <a:pt x="2790" y="1541"/>
                  </a:lnTo>
                  <a:lnTo>
                    <a:pt x="2797" y="1541"/>
                  </a:lnTo>
                  <a:lnTo>
                    <a:pt x="2797" y="1541"/>
                  </a:lnTo>
                  <a:lnTo>
                    <a:pt x="2797" y="1534"/>
                  </a:lnTo>
                  <a:lnTo>
                    <a:pt x="2797" y="1534"/>
                  </a:lnTo>
                  <a:lnTo>
                    <a:pt x="2804" y="1541"/>
                  </a:lnTo>
                  <a:lnTo>
                    <a:pt x="2804" y="1541"/>
                  </a:lnTo>
                  <a:lnTo>
                    <a:pt x="2811" y="1548"/>
                  </a:lnTo>
                  <a:lnTo>
                    <a:pt x="2811" y="1548"/>
                  </a:lnTo>
                  <a:lnTo>
                    <a:pt x="2811" y="1555"/>
                  </a:lnTo>
                  <a:lnTo>
                    <a:pt x="2811" y="1555"/>
                  </a:lnTo>
                  <a:lnTo>
                    <a:pt x="2811" y="1555"/>
                  </a:lnTo>
                  <a:lnTo>
                    <a:pt x="2811" y="1555"/>
                  </a:lnTo>
                  <a:lnTo>
                    <a:pt x="2811" y="1555"/>
                  </a:lnTo>
                  <a:lnTo>
                    <a:pt x="2804" y="1562"/>
                  </a:lnTo>
                  <a:lnTo>
                    <a:pt x="2804" y="1562"/>
                  </a:lnTo>
                  <a:lnTo>
                    <a:pt x="2804" y="1562"/>
                  </a:lnTo>
                  <a:lnTo>
                    <a:pt x="2804" y="1562"/>
                  </a:lnTo>
                  <a:lnTo>
                    <a:pt x="2804" y="1562"/>
                  </a:lnTo>
                  <a:lnTo>
                    <a:pt x="2804" y="1569"/>
                  </a:lnTo>
                  <a:lnTo>
                    <a:pt x="2804" y="1569"/>
                  </a:lnTo>
                  <a:lnTo>
                    <a:pt x="2804" y="1569"/>
                  </a:lnTo>
                  <a:lnTo>
                    <a:pt x="2804" y="1576"/>
                  </a:lnTo>
                  <a:lnTo>
                    <a:pt x="2804" y="1576"/>
                  </a:lnTo>
                  <a:lnTo>
                    <a:pt x="2804" y="1576"/>
                  </a:lnTo>
                  <a:lnTo>
                    <a:pt x="2804" y="1576"/>
                  </a:lnTo>
                  <a:lnTo>
                    <a:pt x="2811" y="1576"/>
                  </a:lnTo>
                  <a:lnTo>
                    <a:pt x="2811" y="1583"/>
                  </a:lnTo>
                  <a:lnTo>
                    <a:pt x="2811" y="1583"/>
                  </a:lnTo>
                  <a:lnTo>
                    <a:pt x="2804" y="1583"/>
                  </a:lnTo>
                  <a:lnTo>
                    <a:pt x="2811" y="1590"/>
                  </a:lnTo>
                  <a:lnTo>
                    <a:pt x="2811" y="1590"/>
                  </a:lnTo>
                  <a:lnTo>
                    <a:pt x="2811" y="1590"/>
                  </a:lnTo>
                  <a:lnTo>
                    <a:pt x="2811" y="1598"/>
                  </a:lnTo>
                  <a:lnTo>
                    <a:pt x="2811" y="1598"/>
                  </a:lnTo>
                  <a:lnTo>
                    <a:pt x="2804" y="1605"/>
                  </a:lnTo>
                  <a:lnTo>
                    <a:pt x="2804" y="1605"/>
                  </a:lnTo>
                  <a:lnTo>
                    <a:pt x="2797" y="1605"/>
                  </a:lnTo>
                  <a:lnTo>
                    <a:pt x="2797" y="1605"/>
                  </a:lnTo>
                  <a:lnTo>
                    <a:pt x="2797" y="1605"/>
                  </a:lnTo>
                  <a:lnTo>
                    <a:pt x="2790" y="1605"/>
                  </a:lnTo>
                  <a:lnTo>
                    <a:pt x="2790" y="1612"/>
                  </a:lnTo>
                  <a:lnTo>
                    <a:pt x="2790" y="1612"/>
                  </a:lnTo>
                  <a:lnTo>
                    <a:pt x="2790" y="1612"/>
                  </a:lnTo>
                  <a:lnTo>
                    <a:pt x="2790" y="1612"/>
                  </a:lnTo>
                  <a:lnTo>
                    <a:pt x="2790" y="1612"/>
                  </a:lnTo>
                  <a:lnTo>
                    <a:pt x="2790" y="1619"/>
                  </a:lnTo>
                  <a:lnTo>
                    <a:pt x="2790" y="1619"/>
                  </a:lnTo>
                  <a:lnTo>
                    <a:pt x="2790" y="1619"/>
                  </a:lnTo>
                  <a:lnTo>
                    <a:pt x="2790" y="1626"/>
                  </a:lnTo>
                  <a:lnTo>
                    <a:pt x="2790" y="1626"/>
                  </a:lnTo>
                  <a:lnTo>
                    <a:pt x="2790" y="1640"/>
                  </a:lnTo>
                  <a:lnTo>
                    <a:pt x="2790" y="1640"/>
                  </a:lnTo>
                  <a:lnTo>
                    <a:pt x="2790" y="1640"/>
                  </a:lnTo>
                  <a:lnTo>
                    <a:pt x="2790" y="1640"/>
                  </a:lnTo>
                  <a:lnTo>
                    <a:pt x="2797" y="1640"/>
                  </a:lnTo>
                  <a:lnTo>
                    <a:pt x="2797" y="1640"/>
                  </a:lnTo>
                  <a:lnTo>
                    <a:pt x="2797" y="1640"/>
                  </a:lnTo>
                  <a:lnTo>
                    <a:pt x="2797" y="1647"/>
                  </a:lnTo>
                  <a:lnTo>
                    <a:pt x="2797" y="1647"/>
                  </a:lnTo>
                  <a:lnTo>
                    <a:pt x="2797" y="1647"/>
                  </a:lnTo>
                  <a:lnTo>
                    <a:pt x="2797" y="1647"/>
                  </a:lnTo>
                  <a:lnTo>
                    <a:pt x="2797" y="1647"/>
                  </a:lnTo>
                  <a:lnTo>
                    <a:pt x="2804" y="1647"/>
                  </a:lnTo>
                  <a:lnTo>
                    <a:pt x="2804" y="1654"/>
                  </a:lnTo>
                  <a:lnTo>
                    <a:pt x="2811" y="1654"/>
                  </a:lnTo>
                  <a:lnTo>
                    <a:pt x="2811" y="1661"/>
                  </a:lnTo>
                  <a:lnTo>
                    <a:pt x="2811" y="1661"/>
                  </a:lnTo>
                  <a:lnTo>
                    <a:pt x="2819" y="1661"/>
                  </a:lnTo>
                  <a:lnTo>
                    <a:pt x="2819" y="1661"/>
                  </a:lnTo>
                  <a:lnTo>
                    <a:pt x="2819" y="1661"/>
                  </a:lnTo>
                  <a:lnTo>
                    <a:pt x="2819" y="1661"/>
                  </a:lnTo>
                  <a:lnTo>
                    <a:pt x="2826" y="1661"/>
                  </a:lnTo>
                  <a:lnTo>
                    <a:pt x="2826" y="1661"/>
                  </a:lnTo>
                  <a:lnTo>
                    <a:pt x="2819" y="1683"/>
                  </a:lnTo>
                  <a:lnTo>
                    <a:pt x="2819" y="1683"/>
                  </a:lnTo>
                  <a:lnTo>
                    <a:pt x="2819" y="1690"/>
                  </a:lnTo>
                  <a:lnTo>
                    <a:pt x="2819" y="1690"/>
                  </a:lnTo>
                  <a:lnTo>
                    <a:pt x="2819" y="1697"/>
                  </a:lnTo>
                  <a:lnTo>
                    <a:pt x="2819" y="1697"/>
                  </a:lnTo>
                  <a:lnTo>
                    <a:pt x="2826" y="1697"/>
                  </a:lnTo>
                  <a:lnTo>
                    <a:pt x="2833" y="1697"/>
                  </a:lnTo>
                  <a:lnTo>
                    <a:pt x="2833" y="1697"/>
                  </a:lnTo>
                  <a:lnTo>
                    <a:pt x="2833" y="1697"/>
                  </a:lnTo>
                  <a:lnTo>
                    <a:pt x="2833" y="1697"/>
                  </a:lnTo>
                  <a:lnTo>
                    <a:pt x="2833" y="1697"/>
                  </a:lnTo>
                  <a:lnTo>
                    <a:pt x="2840" y="1697"/>
                  </a:lnTo>
                  <a:lnTo>
                    <a:pt x="2847" y="1697"/>
                  </a:lnTo>
                  <a:lnTo>
                    <a:pt x="2847" y="1697"/>
                  </a:lnTo>
                  <a:lnTo>
                    <a:pt x="2847" y="1697"/>
                  </a:lnTo>
                  <a:lnTo>
                    <a:pt x="2854" y="1697"/>
                  </a:lnTo>
                  <a:lnTo>
                    <a:pt x="2854" y="1697"/>
                  </a:lnTo>
                  <a:lnTo>
                    <a:pt x="2854" y="1704"/>
                  </a:lnTo>
                  <a:lnTo>
                    <a:pt x="2854" y="1704"/>
                  </a:lnTo>
                  <a:lnTo>
                    <a:pt x="2854" y="1704"/>
                  </a:lnTo>
                  <a:lnTo>
                    <a:pt x="2847" y="1711"/>
                  </a:lnTo>
                  <a:lnTo>
                    <a:pt x="2840" y="1718"/>
                  </a:lnTo>
                  <a:lnTo>
                    <a:pt x="2840" y="1718"/>
                  </a:lnTo>
                  <a:lnTo>
                    <a:pt x="2840" y="1725"/>
                  </a:lnTo>
                  <a:lnTo>
                    <a:pt x="2840" y="1732"/>
                  </a:lnTo>
                  <a:lnTo>
                    <a:pt x="2840" y="1732"/>
                  </a:lnTo>
                  <a:lnTo>
                    <a:pt x="2840" y="1732"/>
                  </a:lnTo>
                  <a:lnTo>
                    <a:pt x="2847" y="1740"/>
                  </a:lnTo>
                  <a:lnTo>
                    <a:pt x="2847" y="1740"/>
                  </a:lnTo>
                  <a:lnTo>
                    <a:pt x="2847" y="1747"/>
                  </a:lnTo>
                  <a:lnTo>
                    <a:pt x="2854" y="1747"/>
                  </a:lnTo>
                  <a:lnTo>
                    <a:pt x="2854" y="1754"/>
                  </a:lnTo>
                  <a:lnTo>
                    <a:pt x="2854" y="1754"/>
                  </a:lnTo>
                  <a:lnTo>
                    <a:pt x="2854" y="1754"/>
                  </a:lnTo>
                  <a:lnTo>
                    <a:pt x="2854" y="1754"/>
                  </a:lnTo>
                  <a:lnTo>
                    <a:pt x="2854" y="1761"/>
                  </a:lnTo>
                  <a:lnTo>
                    <a:pt x="2854" y="1761"/>
                  </a:lnTo>
                  <a:lnTo>
                    <a:pt x="2854" y="1761"/>
                  </a:lnTo>
                  <a:lnTo>
                    <a:pt x="2854" y="1768"/>
                  </a:lnTo>
                  <a:lnTo>
                    <a:pt x="2854" y="1768"/>
                  </a:lnTo>
                  <a:lnTo>
                    <a:pt x="2854" y="1768"/>
                  </a:lnTo>
                  <a:lnTo>
                    <a:pt x="2854" y="1775"/>
                  </a:lnTo>
                  <a:lnTo>
                    <a:pt x="2854" y="1775"/>
                  </a:lnTo>
                  <a:lnTo>
                    <a:pt x="2854" y="1782"/>
                  </a:lnTo>
                  <a:lnTo>
                    <a:pt x="2861" y="1782"/>
                  </a:lnTo>
                  <a:lnTo>
                    <a:pt x="2861" y="1789"/>
                  </a:lnTo>
                  <a:lnTo>
                    <a:pt x="2861" y="1789"/>
                  </a:lnTo>
                  <a:lnTo>
                    <a:pt x="2861" y="1796"/>
                  </a:lnTo>
                  <a:lnTo>
                    <a:pt x="2861" y="1796"/>
                  </a:lnTo>
                  <a:lnTo>
                    <a:pt x="2861" y="1796"/>
                  </a:lnTo>
                  <a:lnTo>
                    <a:pt x="2861" y="1796"/>
                  </a:lnTo>
                  <a:lnTo>
                    <a:pt x="2868" y="1803"/>
                  </a:lnTo>
                  <a:lnTo>
                    <a:pt x="2868" y="1810"/>
                  </a:lnTo>
                  <a:lnTo>
                    <a:pt x="2868" y="1810"/>
                  </a:lnTo>
                  <a:lnTo>
                    <a:pt x="2868" y="1818"/>
                  </a:lnTo>
                  <a:lnTo>
                    <a:pt x="2868" y="1818"/>
                  </a:lnTo>
                  <a:lnTo>
                    <a:pt x="2868" y="1818"/>
                  </a:lnTo>
                  <a:lnTo>
                    <a:pt x="2868" y="1818"/>
                  </a:lnTo>
                  <a:lnTo>
                    <a:pt x="2868" y="1825"/>
                  </a:lnTo>
                  <a:lnTo>
                    <a:pt x="2875" y="1832"/>
                  </a:lnTo>
                  <a:lnTo>
                    <a:pt x="2875" y="1832"/>
                  </a:lnTo>
                  <a:lnTo>
                    <a:pt x="2875" y="1832"/>
                  </a:lnTo>
                  <a:lnTo>
                    <a:pt x="2875" y="1839"/>
                  </a:lnTo>
                  <a:lnTo>
                    <a:pt x="2882" y="1846"/>
                  </a:lnTo>
                  <a:lnTo>
                    <a:pt x="2882" y="1846"/>
                  </a:lnTo>
                  <a:lnTo>
                    <a:pt x="2882" y="1853"/>
                  </a:lnTo>
                  <a:lnTo>
                    <a:pt x="2882" y="1853"/>
                  </a:lnTo>
                  <a:lnTo>
                    <a:pt x="2882" y="1860"/>
                  </a:lnTo>
                  <a:lnTo>
                    <a:pt x="2882" y="1853"/>
                  </a:lnTo>
                  <a:lnTo>
                    <a:pt x="2882" y="1860"/>
                  </a:lnTo>
                  <a:lnTo>
                    <a:pt x="2882" y="1860"/>
                  </a:lnTo>
                  <a:lnTo>
                    <a:pt x="2882" y="1860"/>
                  </a:lnTo>
                  <a:lnTo>
                    <a:pt x="2882" y="1860"/>
                  </a:lnTo>
                  <a:lnTo>
                    <a:pt x="2882" y="1867"/>
                  </a:lnTo>
                  <a:lnTo>
                    <a:pt x="2882" y="1867"/>
                  </a:lnTo>
                  <a:lnTo>
                    <a:pt x="2882" y="1874"/>
                  </a:lnTo>
                  <a:lnTo>
                    <a:pt x="2882" y="1881"/>
                  </a:lnTo>
                  <a:lnTo>
                    <a:pt x="2882" y="1889"/>
                  </a:lnTo>
                  <a:lnTo>
                    <a:pt x="2882" y="1889"/>
                  </a:lnTo>
                  <a:lnTo>
                    <a:pt x="2882" y="1889"/>
                  </a:lnTo>
                  <a:lnTo>
                    <a:pt x="2875" y="1889"/>
                  </a:lnTo>
                  <a:lnTo>
                    <a:pt x="2875" y="1889"/>
                  </a:lnTo>
                  <a:lnTo>
                    <a:pt x="2875" y="1889"/>
                  </a:lnTo>
                  <a:lnTo>
                    <a:pt x="2875" y="1889"/>
                  </a:lnTo>
                  <a:lnTo>
                    <a:pt x="2868" y="1889"/>
                  </a:lnTo>
                  <a:lnTo>
                    <a:pt x="2868" y="1889"/>
                  </a:lnTo>
                  <a:lnTo>
                    <a:pt x="2868" y="1881"/>
                  </a:lnTo>
                  <a:lnTo>
                    <a:pt x="2868" y="1881"/>
                  </a:lnTo>
                  <a:lnTo>
                    <a:pt x="2868" y="1881"/>
                  </a:lnTo>
                  <a:lnTo>
                    <a:pt x="2861" y="1881"/>
                  </a:lnTo>
                  <a:lnTo>
                    <a:pt x="2861" y="1881"/>
                  </a:lnTo>
                  <a:lnTo>
                    <a:pt x="2861" y="1881"/>
                  </a:lnTo>
                  <a:lnTo>
                    <a:pt x="2868" y="1889"/>
                  </a:lnTo>
                  <a:lnTo>
                    <a:pt x="2868" y="1889"/>
                  </a:lnTo>
                  <a:lnTo>
                    <a:pt x="2868" y="1889"/>
                  </a:lnTo>
                  <a:lnTo>
                    <a:pt x="2875" y="1889"/>
                  </a:lnTo>
                  <a:lnTo>
                    <a:pt x="2875" y="1896"/>
                  </a:lnTo>
                  <a:lnTo>
                    <a:pt x="2882" y="1896"/>
                  </a:lnTo>
                  <a:lnTo>
                    <a:pt x="2882" y="1910"/>
                  </a:lnTo>
                  <a:lnTo>
                    <a:pt x="2882" y="1917"/>
                  </a:lnTo>
                  <a:lnTo>
                    <a:pt x="2882" y="1917"/>
                  </a:lnTo>
                  <a:lnTo>
                    <a:pt x="2890" y="1917"/>
                  </a:lnTo>
                  <a:lnTo>
                    <a:pt x="2890" y="1924"/>
                  </a:lnTo>
                  <a:lnTo>
                    <a:pt x="2890" y="1924"/>
                  </a:lnTo>
                  <a:lnTo>
                    <a:pt x="2890" y="1931"/>
                  </a:lnTo>
                  <a:lnTo>
                    <a:pt x="2890" y="1931"/>
                  </a:lnTo>
                  <a:lnTo>
                    <a:pt x="2890" y="1931"/>
                  </a:lnTo>
                  <a:lnTo>
                    <a:pt x="2890" y="1931"/>
                  </a:lnTo>
                  <a:lnTo>
                    <a:pt x="2890" y="1931"/>
                  </a:lnTo>
                  <a:lnTo>
                    <a:pt x="2882" y="1931"/>
                  </a:lnTo>
                  <a:lnTo>
                    <a:pt x="2882" y="1931"/>
                  </a:lnTo>
                  <a:lnTo>
                    <a:pt x="2882" y="1931"/>
                  </a:lnTo>
                  <a:lnTo>
                    <a:pt x="2882" y="1931"/>
                  </a:lnTo>
                  <a:lnTo>
                    <a:pt x="2882" y="1931"/>
                  </a:lnTo>
                  <a:lnTo>
                    <a:pt x="2882" y="1931"/>
                  </a:lnTo>
                  <a:lnTo>
                    <a:pt x="2882" y="1931"/>
                  </a:lnTo>
                  <a:lnTo>
                    <a:pt x="2875" y="1931"/>
                  </a:lnTo>
                  <a:lnTo>
                    <a:pt x="2868" y="1931"/>
                  </a:lnTo>
                  <a:lnTo>
                    <a:pt x="2868" y="1931"/>
                  </a:lnTo>
                  <a:lnTo>
                    <a:pt x="2868" y="1931"/>
                  </a:lnTo>
                  <a:lnTo>
                    <a:pt x="2861" y="1924"/>
                  </a:lnTo>
                  <a:lnTo>
                    <a:pt x="2861" y="1924"/>
                  </a:lnTo>
                  <a:lnTo>
                    <a:pt x="2861" y="1917"/>
                  </a:lnTo>
                  <a:lnTo>
                    <a:pt x="2861" y="1910"/>
                  </a:lnTo>
                  <a:lnTo>
                    <a:pt x="2861" y="1910"/>
                  </a:lnTo>
                  <a:lnTo>
                    <a:pt x="2861" y="1917"/>
                  </a:lnTo>
                  <a:lnTo>
                    <a:pt x="2861" y="1917"/>
                  </a:lnTo>
                  <a:lnTo>
                    <a:pt x="2854" y="1924"/>
                  </a:lnTo>
                  <a:lnTo>
                    <a:pt x="2861" y="1924"/>
                  </a:lnTo>
                  <a:lnTo>
                    <a:pt x="2861" y="1931"/>
                  </a:lnTo>
                  <a:lnTo>
                    <a:pt x="2861" y="1931"/>
                  </a:lnTo>
                  <a:lnTo>
                    <a:pt x="2861" y="1931"/>
                  </a:lnTo>
                  <a:lnTo>
                    <a:pt x="2854" y="1931"/>
                  </a:lnTo>
                  <a:lnTo>
                    <a:pt x="2854" y="1931"/>
                  </a:lnTo>
                  <a:lnTo>
                    <a:pt x="2854" y="1931"/>
                  </a:lnTo>
                  <a:lnTo>
                    <a:pt x="2854" y="1931"/>
                  </a:lnTo>
                  <a:lnTo>
                    <a:pt x="2854" y="1931"/>
                  </a:lnTo>
                  <a:lnTo>
                    <a:pt x="2854" y="1924"/>
                  </a:lnTo>
                  <a:lnTo>
                    <a:pt x="2854" y="1924"/>
                  </a:lnTo>
                  <a:lnTo>
                    <a:pt x="2854" y="1924"/>
                  </a:lnTo>
                  <a:lnTo>
                    <a:pt x="2854" y="1924"/>
                  </a:lnTo>
                  <a:lnTo>
                    <a:pt x="2854" y="1924"/>
                  </a:lnTo>
                  <a:lnTo>
                    <a:pt x="2854" y="1931"/>
                  </a:lnTo>
                  <a:lnTo>
                    <a:pt x="2854" y="1931"/>
                  </a:lnTo>
                  <a:lnTo>
                    <a:pt x="2847" y="1931"/>
                  </a:lnTo>
                  <a:lnTo>
                    <a:pt x="2847" y="1931"/>
                  </a:lnTo>
                  <a:lnTo>
                    <a:pt x="2847" y="1931"/>
                  </a:lnTo>
                  <a:lnTo>
                    <a:pt x="2854" y="1931"/>
                  </a:lnTo>
                  <a:lnTo>
                    <a:pt x="2854" y="1938"/>
                  </a:lnTo>
                  <a:lnTo>
                    <a:pt x="2854" y="1938"/>
                  </a:lnTo>
                  <a:lnTo>
                    <a:pt x="2854" y="1938"/>
                  </a:lnTo>
                  <a:lnTo>
                    <a:pt x="2847" y="1945"/>
                  </a:lnTo>
                  <a:lnTo>
                    <a:pt x="2847" y="1945"/>
                  </a:lnTo>
                  <a:lnTo>
                    <a:pt x="2840" y="1938"/>
                  </a:lnTo>
                  <a:lnTo>
                    <a:pt x="2840" y="1938"/>
                  </a:lnTo>
                  <a:lnTo>
                    <a:pt x="2840" y="1924"/>
                  </a:lnTo>
                  <a:lnTo>
                    <a:pt x="2840" y="1924"/>
                  </a:lnTo>
                  <a:lnTo>
                    <a:pt x="2840" y="1903"/>
                  </a:lnTo>
                  <a:lnTo>
                    <a:pt x="2840" y="1903"/>
                  </a:lnTo>
                  <a:lnTo>
                    <a:pt x="2833" y="1903"/>
                  </a:lnTo>
                  <a:lnTo>
                    <a:pt x="2840" y="1896"/>
                  </a:lnTo>
                  <a:lnTo>
                    <a:pt x="2840" y="1889"/>
                  </a:lnTo>
                  <a:lnTo>
                    <a:pt x="2840" y="1881"/>
                  </a:lnTo>
                  <a:lnTo>
                    <a:pt x="2840" y="1881"/>
                  </a:lnTo>
                  <a:lnTo>
                    <a:pt x="2840" y="1881"/>
                  </a:lnTo>
                  <a:lnTo>
                    <a:pt x="2840" y="1874"/>
                  </a:lnTo>
                  <a:lnTo>
                    <a:pt x="2840" y="1874"/>
                  </a:lnTo>
                  <a:lnTo>
                    <a:pt x="2840" y="1874"/>
                  </a:lnTo>
                  <a:lnTo>
                    <a:pt x="2840" y="1867"/>
                  </a:lnTo>
                  <a:lnTo>
                    <a:pt x="2833" y="1867"/>
                  </a:lnTo>
                  <a:lnTo>
                    <a:pt x="2833" y="1867"/>
                  </a:lnTo>
                  <a:lnTo>
                    <a:pt x="2840" y="1860"/>
                  </a:lnTo>
                  <a:lnTo>
                    <a:pt x="2840" y="1860"/>
                  </a:lnTo>
                  <a:lnTo>
                    <a:pt x="2840" y="1860"/>
                  </a:lnTo>
                  <a:lnTo>
                    <a:pt x="2840" y="1860"/>
                  </a:lnTo>
                  <a:lnTo>
                    <a:pt x="2833" y="1860"/>
                  </a:lnTo>
                  <a:lnTo>
                    <a:pt x="2833" y="1867"/>
                  </a:lnTo>
                  <a:lnTo>
                    <a:pt x="2833" y="1867"/>
                  </a:lnTo>
                  <a:lnTo>
                    <a:pt x="2833" y="1867"/>
                  </a:lnTo>
                  <a:lnTo>
                    <a:pt x="2833" y="1867"/>
                  </a:lnTo>
                  <a:lnTo>
                    <a:pt x="2840" y="1874"/>
                  </a:lnTo>
                  <a:lnTo>
                    <a:pt x="2840" y="1874"/>
                  </a:lnTo>
                  <a:lnTo>
                    <a:pt x="2840" y="1874"/>
                  </a:lnTo>
                  <a:lnTo>
                    <a:pt x="2833" y="1881"/>
                  </a:lnTo>
                  <a:lnTo>
                    <a:pt x="2833" y="1881"/>
                  </a:lnTo>
                  <a:lnTo>
                    <a:pt x="2833" y="1889"/>
                  </a:lnTo>
                  <a:lnTo>
                    <a:pt x="2833" y="1889"/>
                  </a:lnTo>
                  <a:lnTo>
                    <a:pt x="2833" y="1889"/>
                  </a:lnTo>
                  <a:lnTo>
                    <a:pt x="2833" y="1889"/>
                  </a:lnTo>
                  <a:lnTo>
                    <a:pt x="2826" y="1889"/>
                  </a:lnTo>
                  <a:lnTo>
                    <a:pt x="2826" y="1889"/>
                  </a:lnTo>
                  <a:lnTo>
                    <a:pt x="2826" y="1889"/>
                  </a:lnTo>
                  <a:lnTo>
                    <a:pt x="2826" y="1881"/>
                  </a:lnTo>
                  <a:lnTo>
                    <a:pt x="2826" y="1881"/>
                  </a:lnTo>
                  <a:lnTo>
                    <a:pt x="2826" y="1881"/>
                  </a:lnTo>
                  <a:lnTo>
                    <a:pt x="2826" y="1874"/>
                  </a:lnTo>
                  <a:lnTo>
                    <a:pt x="2826" y="1874"/>
                  </a:lnTo>
                  <a:lnTo>
                    <a:pt x="2826" y="1874"/>
                  </a:lnTo>
                  <a:lnTo>
                    <a:pt x="2826" y="1867"/>
                  </a:lnTo>
                  <a:lnTo>
                    <a:pt x="2826" y="1867"/>
                  </a:lnTo>
                  <a:lnTo>
                    <a:pt x="2826" y="1860"/>
                  </a:lnTo>
                  <a:lnTo>
                    <a:pt x="2826" y="1853"/>
                  </a:lnTo>
                  <a:lnTo>
                    <a:pt x="2826" y="1853"/>
                  </a:lnTo>
                  <a:lnTo>
                    <a:pt x="2833" y="1853"/>
                  </a:lnTo>
                  <a:lnTo>
                    <a:pt x="2833" y="1846"/>
                  </a:lnTo>
                  <a:lnTo>
                    <a:pt x="2826" y="1846"/>
                  </a:lnTo>
                  <a:lnTo>
                    <a:pt x="2826" y="1846"/>
                  </a:lnTo>
                  <a:lnTo>
                    <a:pt x="2826" y="1853"/>
                  </a:lnTo>
                  <a:lnTo>
                    <a:pt x="2826" y="1853"/>
                  </a:lnTo>
                  <a:lnTo>
                    <a:pt x="2826" y="1853"/>
                  </a:lnTo>
                  <a:lnTo>
                    <a:pt x="2826" y="1853"/>
                  </a:lnTo>
                  <a:lnTo>
                    <a:pt x="2826" y="1860"/>
                  </a:lnTo>
                  <a:lnTo>
                    <a:pt x="2826" y="1860"/>
                  </a:lnTo>
                  <a:lnTo>
                    <a:pt x="2826" y="1860"/>
                  </a:lnTo>
                  <a:lnTo>
                    <a:pt x="2826" y="1860"/>
                  </a:lnTo>
                  <a:lnTo>
                    <a:pt x="2826" y="1860"/>
                  </a:lnTo>
                  <a:lnTo>
                    <a:pt x="2826" y="1867"/>
                  </a:lnTo>
                  <a:lnTo>
                    <a:pt x="2826" y="1867"/>
                  </a:lnTo>
                  <a:lnTo>
                    <a:pt x="2826" y="1874"/>
                  </a:lnTo>
                  <a:lnTo>
                    <a:pt x="2826" y="1874"/>
                  </a:lnTo>
                  <a:lnTo>
                    <a:pt x="2819" y="1874"/>
                  </a:lnTo>
                  <a:lnTo>
                    <a:pt x="2819" y="1881"/>
                  </a:lnTo>
                  <a:lnTo>
                    <a:pt x="2819" y="1889"/>
                  </a:lnTo>
                  <a:lnTo>
                    <a:pt x="2819" y="1889"/>
                  </a:lnTo>
                  <a:lnTo>
                    <a:pt x="2819" y="1903"/>
                  </a:lnTo>
                  <a:lnTo>
                    <a:pt x="2819" y="1903"/>
                  </a:lnTo>
                  <a:lnTo>
                    <a:pt x="2819" y="1910"/>
                  </a:lnTo>
                  <a:lnTo>
                    <a:pt x="2819" y="1910"/>
                  </a:lnTo>
                  <a:lnTo>
                    <a:pt x="2819" y="1910"/>
                  </a:lnTo>
                  <a:lnTo>
                    <a:pt x="2826" y="1910"/>
                  </a:lnTo>
                  <a:lnTo>
                    <a:pt x="2826" y="1910"/>
                  </a:lnTo>
                  <a:lnTo>
                    <a:pt x="2826" y="1917"/>
                  </a:lnTo>
                  <a:lnTo>
                    <a:pt x="2826" y="1917"/>
                  </a:lnTo>
                  <a:lnTo>
                    <a:pt x="2826" y="1924"/>
                  </a:lnTo>
                  <a:lnTo>
                    <a:pt x="2826" y="1924"/>
                  </a:lnTo>
                  <a:lnTo>
                    <a:pt x="2826" y="1924"/>
                  </a:lnTo>
                  <a:lnTo>
                    <a:pt x="2826" y="1924"/>
                  </a:lnTo>
                  <a:lnTo>
                    <a:pt x="2826" y="1931"/>
                  </a:lnTo>
                  <a:lnTo>
                    <a:pt x="2826" y="1938"/>
                  </a:lnTo>
                  <a:lnTo>
                    <a:pt x="2826" y="1931"/>
                  </a:lnTo>
                  <a:lnTo>
                    <a:pt x="2826" y="1945"/>
                  </a:lnTo>
                  <a:lnTo>
                    <a:pt x="2826" y="1945"/>
                  </a:lnTo>
                  <a:lnTo>
                    <a:pt x="2819" y="1945"/>
                  </a:lnTo>
                  <a:lnTo>
                    <a:pt x="2819" y="1945"/>
                  </a:lnTo>
                  <a:lnTo>
                    <a:pt x="2819" y="1938"/>
                  </a:lnTo>
                  <a:lnTo>
                    <a:pt x="2819" y="1945"/>
                  </a:lnTo>
                  <a:lnTo>
                    <a:pt x="2819" y="1945"/>
                  </a:lnTo>
                  <a:lnTo>
                    <a:pt x="2819" y="1945"/>
                  </a:lnTo>
                  <a:lnTo>
                    <a:pt x="2819" y="1945"/>
                  </a:lnTo>
                  <a:lnTo>
                    <a:pt x="2819" y="1952"/>
                  </a:lnTo>
                  <a:lnTo>
                    <a:pt x="2811" y="1945"/>
                  </a:lnTo>
                  <a:lnTo>
                    <a:pt x="2811" y="1945"/>
                  </a:lnTo>
                  <a:lnTo>
                    <a:pt x="2811" y="1938"/>
                  </a:lnTo>
                  <a:lnTo>
                    <a:pt x="2811" y="1938"/>
                  </a:lnTo>
                  <a:lnTo>
                    <a:pt x="2811" y="1938"/>
                  </a:lnTo>
                  <a:lnTo>
                    <a:pt x="2811" y="1938"/>
                  </a:lnTo>
                  <a:lnTo>
                    <a:pt x="2811" y="1938"/>
                  </a:lnTo>
                  <a:lnTo>
                    <a:pt x="2811" y="1931"/>
                  </a:lnTo>
                  <a:lnTo>
                    <a:pt x="2811" y="1931"/>
                  </a:lnTo>
                  <a:lnTo>
                    <a:pt x="2819" y="1931"/>
                  </a:lnTo>
                  <a:lnTo>
                    <a:pt x="2819" y="1931"/>
                  </a:lnTo>
                  <a:lnTo>
                    <a:pt x="2811" y="1924"/>
                  </a:lnTo>
                  <a:lnTo>
                    <a:pt x="2811" y="1917"/>
                  </a:lnTo>
                  <a:lnTo>
                    <a:pt x="2811" y="1917"/>
                  </a:lnTo>
                  <a:lnTo>
                    <a:pt x="2811" y="1910"/>
                  </a:lnTo>
                  <a:lnTo>
                    <a:pt x="2811" y="1903"/>
                  </a:lnTo>
                  <a:lnTo>
                    <a:pt x="2811" y="1903"/>
                  </a:lnTo>
                  <a:lnTo>
                    <a:pt x="2811" y="1896"/>
                  </a:lnTo>
                  <a:lnTo>
                    <a:pt x="2811" y="1889"/>
                  </a:lnTo>
                  <a:lnTo>
                    <a:pt x="2811" y="1889"/>
                  </a:lnTo>
                  <a:lnTo>
                    <a:pt x="2804" y="1889"/>
                  </a:lnTo>
                  <a:lnTo>
                    <a:pt x="2811" y="1889"/>
                  </a:lnTo>
                  <a:lnTo>
                    <a:pt x="2804" y="1889"/>
                  </a:lnTo>
                  <a:lnTo>
                    <a:pt x="2804" y="1896"/>
                  </a:lnTo>
                  <a:lnTo>
                    <a:pt x="2804" y="1896"/>
                  </a:lnTo>
                  <a:lnTo>
                    <a:pt x="2804" y="1896"/>
                  </a:lnTo>
                  <a:lnTo>
                    <a:pt x="2811" y="1903"/>
                  </a:lnTo>
                  <a:lnTo>
                    <a:pt x="2811" y="1903"/>
                  </a:lnTo>
                  <a:lnTo>
                    <a:pt x="2811" y="1910"/>
                  </a:lnTo>
                  <a:lnTo>
                    <a:pt x="2811" y="1910"/>
                  </a:lnTo>
                  <a:lnTo>
                    <a:pt x="2804" y="1910"/>
                  </a:lnTo>
                  <a:lnTo>
                    <a:pt x="2804" y="1910"/>
                  </a:lnTo>
                  <a:lnTo>
                    <a:pt x="2804" y="1910"/>
                  </a:lnTo>
                  <a:lnTo>
                    <a:pt x="2804" y="1917"/>
                  </a:lnTo>
                  <a:lnTo>
                    <a:pt x="2804" y="1917"/>
                  </a:lnTo>
                  <a:lnTo>
                    <a:pt x="2804" y="1917"/>
                  </a:lnTo>
                  <a:lnTo>
                    <a:pt x="2804" y="1924"/>
                  </a:lnTo>
                  <a:lnTo>
                    <a:pt x="2804" y="1924"/>
                  </a:lnTo>
                  <a:lnTo>
                    <a:pt x="2811" y="1931"/>
                  </a:lnTo>
                  <a:lnTo>
                    <a:pt x="2811" y="1931"/>
                  </a:lnTo>
                  <a:lnTo>
                    <a:pt x="2804" y="1938"/>
                  </a:lnTo>
                  <a:lnTo>
                    <a:pt x="2804" y="1938"/>
                  </a:lnTo>
                  <a:lnTo>
                    <a:pt x="2804" y="1938"/>
                  </a:lnTo>
                  <a:lnTo>
                    <a:pt x="2797" y="1938"/>
                  </a:lnTo>
                  <a:lnTo>
                    <a:pt x="2797" y="1938"/>
                  </a:lnTo>
                  <a:lnTo>
                    <a:pt x="2797" y="1931"/>
                  </a:lnTo>
                  <a:lnTo>
                    <a:pt x="2797" y="1931"/>
                  </a:lnTo>
                  <a:lnTo>
                    <a:pt x="2797" y="1924"/>
                  </a:lnTo>
                  <a:lnTo>
                    <a:pt x="2797" y="1924"/>
                  </a:lnTo>
                  <a:lnTo>
                    <a:pt x="2790" y="1924"/>
                  </a:lnTo>
                  <a:lnTo>
                    <a:pt x="2790" y="1924"/>
                  </a:lnTo>
                  <a:lnTo>
                    <a:pt x="2790" y="1924"/>
                  </a:lnTo>
                  <a:lnTo>
                    <a:pt x="2790" y="1924"/>
                  </a:lnTo>
                  <a:lnTo>
                    <a:pt x="2790" y="1924"/>
                  </a:lnTo>
                  <a:lnTo>
                    <a:pt x="2790" y="1924"/>
                  </a:lnTo>
                  <a:lnTo>
                    <a:pt x="2790" y="1924"/>
                  </a:lnTo>
                  <a:lnTo>
                    <a:pt x="2790" y="1924"/>
                  </a:lnTo>
                  <a:lnTo>
                    <a:pt x="2790" y="1924"/>
                  </a:lnTo>
                  <a:lnTo>
                    <a:pt x="2790" y="1931"/>
                  </a:lnTo>
                  <a:lnTo>
                    <a:pt x="2790" y="1931"/>
                  </a:lnTo>
                  <a:lnTo>
                    <a:pt x="2790" y="1931"/>
                  </a:lnTo>
                  <a:lnTo>
                    <a:pt x="2790" y="1931"/>
                  </a:lnTo>
                  <a:lnTo>
                    <a:pt x="2790" y="1938"/>
                  </a:lnTo>
                  <a:lnTo>
                    <a:pt x="2790" y="1938"/>
                  </a:lnTo>
                  <a:lnTo>
                    <a:pt x="2790" y="1938"/>
                  </a:lnTo>
                  <a:lnTo>
                    <a:pt x="2783" y="1931"/>
                  </a:lnTo>
                  <a:lnTo>
                    <a:pt x="2783" y="1917"/>
                  </a:lnTo>
                  <a:lnTo>
                    <a:pt x="2783" y="1917"/>
                  </a:lnTo>
                  <a:lnTo>
                    <a:pt x="2783" y="1910"/>
                  </a:lnTo>
                  <a:lnTo>
                    <a:pt x="2783" y="1910"/>
                  </a:lnTo>
                  <a:lnTo>
                    <a:pt x="2776" y="1910"/>
                  </a:lnTo>
                  <a:lnTo>
                    <a:pt x="2776" y="1917"/>
                  </a:lnTo>
                  <a:lnTo>
                    <a:pt x="2783" y="1931"/>
                  </a:lnTo>
                  <a:lnTo>
                    <a:pt x="2783" y="1931"/>
                  </a:lnTo>
                  <a:lnTo>
                    <a:pt x="2783" y="1931"/>
                  </a:lnTo>
                  <a:lnTo>
                    <a:pt x="2783" y="1938"/>
                  </a:lnTo>
                  <a:lnTo>
                    <a:pt x="2783" y="1938"/>
                  </a:lnTo>
                  <a:lnTo>
                    <a:pt x="2783" y="1938"/>
                  </a:lnTo>
                  <a:lnTo>
                    <a:pt x="2783" y="1938"/>
                  </a:lnTo>
                  <a:lnTo>
                    <a:pt x="2783" y="1945"/>
                  </a:lnTo>
                  <a:lnTo>
                    <a:pt x="2790" y="1945"/>
                  </a:lnTo>
                  <a:lnTo>
                    <a:pt x="2790" y="1945"/>
                  </a:lnTo>
                  <a:lnTo>
                    <a:pt x="2783" y="1945"/>
                  </a:lnTo>
                  <a:lnTo>
                    <a:pt x="2783" y="1945"/>
                  </a:lnTo>
                  <a:lnTo>
                    <a:pt x="2783" y="1945"/>
                  </a:lnTo>
                  <a:lnTo>
                    <a:pt x="2783" y="1945"/>
                  </a:lnTo>
                  <a:lnTo>
                    <a:pt x="2783" y="1945"/>
                  </a:lnTo>
                  <a:lnTo>
                    <a:pt x="2776" y="1945"/>
                  </a:lnTo>
                  <a:lnTo>
                    <a:pt x="2776" y="1945"/>
                  </a:lnTo>
                  <a:lnTo>
                    <a:pt x="2776" y="1938"/>
                  </a:lnTo>
                  <a:lnTo>
                    <a:pt x="2776" y="1938"/>
                  </a:lnTo>
                  <a:lnTo>
                    <a:pt x="2776" y="1938"/>
                  </a:lnTo>
                  <a:lnTo>
                    <a:pt x="2769" y="1931"/>
                  </a:lnTo>
                  <a:lnTo>
                    <a:pt x="2769" y="1931"/>
                  </a:lnTo>
                  <a:lnTo>
                    <a:pt x="2769" y="1924"/>
                  </a:lnTo>
                  <a:lnTo>
                    <a:pt x="2769" y="1924"/>
                  </a:lnTo>
                  <a:lnTo>
                    <a:pt x="2769" y="1924"/>
                  </a:lnTo>
                  <a:lnTo>
                    <a:pt x="2769" y="1917"/>
                  </a:lnTo>
                  <a:lnTo>
                    <a:pt x="2769" y="1917"/>
                  </a:lnTo>
                  <a:lnTo>
                    <a:pt x="2769" y="1910"/>
                  </a:lnTo>
                  <a:lnTo>
                    <a:pt x="2769" y="1910"/>
                  </a:lnTo>
                  <a:lnTo>
                    <a:pt x="2762" y="1896"/>
                  </a:lnTo>
                  <a:lnTo>
                    <a:pt x="2762" y="1896"/>
                  </a:lnTo>
                  <a:lnTo>
                    <a:pt x="2762" y="1896"/>
                  </a:lnTo>
                  <a:lnTo>
                    <a:pt x="2762" y="1889"/>
                  </a:lnTo>
                  <a:lnTo>
                    <a:pt x="2762" y="1881"/>
                  </a:lnTo>
                  <a:lnTo>
                    <a:pt x="2762" y="1881"/>
                  </a:lnTo>
                  <a:lnTo>
                    <a:pt x="2762" y="1881"/>
                  </a:lnTo>
                  <a:lnTo>
                    <a:pt x="2769" y="1874"/>
                  </a:lnTo>
                  <a:lnTo>
                    <a:pt x="2769" y="1867"/>
                  </a:lnTo>
                  <a:lnTo>
                    <a:pt x="2769" y="1867"/>
                  </a:lnTo>
                  <a:lnTo>
                    <a:pt x="2769" y="1860"/>
                  </a:lnTo>
                  <a:lnTo>
                    <a:pt x="2762" y="1853"/>
                  </a:lnTo>
                  <a:lnTo>
                    <a:pt x="2762" y="1853"/>
                  </a:lnTo>
                  <a:lnTo>
                    <a:pt x="2755" y="1853"/>
                  </a:lnTo>
                  <a:lnTo>
                    <a:pt x="2748" y="1853"/>
                  </a:lnTo>
                  <a:lnTo>
                    <a:pt x="2748" y="1846"/>
                  </a:lnTo>
                  <a:lnTo>
                    <a:pt x="2748" y="1846"/>
                  </a:lnTo>
                  <a:lnTo>
                    <a:pt x="2740" y="1846"/>
                  </a:lnTo>
                  <a:lnTo>
                    <a:pt x="2740" y="1846"/>
                  </a:lnTo>
                  <a:lnTo>
                    <a:pt x="2740" y="1846"/>
                  </a:lnTo>
                  <a:lnTo>
                    <a:pt x="2733" y="1846"/>
                  </a:lnTo>
                  <a:lnTo>
                    <a:pt x="2733" y="1839"/>
                  </a:lnTo>
                  <a:lnTo>
                    <a:pt x="2733" y="1839"/>
                  </a:lnTo>
                  <a:lnTo>
                    <a:pt x="2733" y="1839"/>
                  </a:lnTo>
                  <a:lnTo>
                    <a:pt x="2726" y="1832"/>
                  </a:lnTo>
                  <a:lnTo>
                    <a:pt x="2726" y="1825"/>
                  </a:lnTo>
                  <a:lnTo>
                    <a:pt x="2726" y="1825"/>
                  </a:lnTo>
                  <a:lnTo>
                    <a:pt x="2726" y="1825"/>
                  </a:lnTo>
                  <a:lnTo>
                    <a:pt x="2726" y="1818"/>
                  </a:lnTo>
                  <a:lnTo>
                    <a:pt x="2719" y="1818"/>
                  </a:lnTo>
                  <a:lnTo>
                    <a:pt x="2719" y="1818"/>
                  </a:lnTo>
                  <a:lnTo>
                    <a:pt x="2726" y="1825"/>
                  </a:lnTo>
                  <a:lnTo>
                    <a:pt x="2726" y="1832"/>
                  </a:lnTo>
                  <a:lnTo>
                    <a:pt x="2726" y="1839"/>
                  </a:lnTo>
                  <a:lnTo>
                    <a:pt x="2733" y="1846"/>
                  </a:lnTo>
                  <a:lnTo>
                    <a:pt x="2733" y="1846"/>
                  </a:lnTo>
                  <a:lnTo>
                    <a:pt x="2733" y="1853"/>
                  </a:lnTo>
                  <a:lnTo>
                    <a:pt x="2740" y="1853"/>
                  </a:lnTo>
                  <a:lnTo>
                    <a:pt x="2740" y="1853"/>
                  </a:lnTo>
                  <a:lnTo>
                    <a:pt x="2748" y="1853"/>
                  </a:lnTo>
                  <a:lnTo>
                    <a:pt x="2748" y="1853"/>
                  </a:lnTo>
                  <a:lnTo>
                    <a:pt x="2755" y="1853"/>
                  </a:lnTo>
                  <a:lnTo>
                    <a:pt x="2762" y="1860"/>
                  </a:lnTo>
                  <a:lnTo>
                    <a:pt x="2762" y="1867"/>
                  </a:lnTo>
                  <a:lnTo>
                    <a:pt x="2762" y="1867"/>
                  </a:lnTo>
                  <a:lnTo>
                    <a:pt x="2755" y="1874"/>
                  </a:lnTo>
                  <a:lnTo>
                    <a:pt x="2755" y="1874"/>
                  </a:lnTo>
                  <a:lnTo>
                    <a:pt x="2748" y="1881"/>
                  </a:lnTo>
                  <a:lnTo>
                    <a:pt x="2748" y="1881"/>
                  </a:lnTo>
                  <a:lnTo>
                    <a:pt x="2748" y="1881"/>
                  </a:lnTo>
                  <a:lnTo>
                    <a:pt x="2748" y="1881"/>
                  </a:lnTo>
                  <a:lnTo>
                    <a:pt x="2748" y="1881"/>
                  </a:lnTo>
                  <a:lnTo>
                    <a:pt x="2748" y="1881"/>
                  </a:lnTo>
                  <a:lnTo>
                    <a:pt x="2748" y="1889"/>
                  </a:lnTo>
                  <a:lnTo>
                    <a:pt x="2748" y="1889"/>
                  </a:lnTo>
                  <a:lnTo>
                    <a:pt x="2740" y="1903"/>
                  </a:lnTo>
                  <a:lnTo>
                    <a:pt x="2740" y="1903"/>
                  </a:lnTo>
                  <a:lnTo>
                    <a:pt x="2733" y="1910"/>
                  </a:lnTo>
                  <a:lnTo>
                    <a:pt x="2733" y="1910"/>
                  </a:lnTo>
                  <a:lnTo>
                    <a:pt x="2733" y="1910"/>
                  </a:lnTo>
                  <a:lnTo>
                    <a:pt x="2726" y="1910"/>
                  </a:lnTo>
                  <a:lnTo>
                    <a:pt x="2726" y="1910"/>
                  </a:lnTo>
                  <a:lnTo>
                    <a:pt x="2726" y="1917"/>
                  </a:lnTo>
                  <a:lnTo>
                    <a:pt x="2726" y="1917"/>
                  </a:lnTo>
                  <a:lnTo>
                    <a:pt x="2726" y="1917"/>
                  </a:lnTo>
                  <a:lnTo>
                    <a:pt x="2726" y="1917"/>
                  </a:lnTo>
                  <a:lnTo>
                    <a:pt x="2719" y="1924"/>
                  </a:lnTo>
                  <a:lnTo>
                    <a:pt x="2712" y="1931"/>
                  </a:lnTo>
                  <a:lnTo>
                    <a:pt x="2705" y="1931"/>
                  </a:lnTo>
                  <a:lnTo>
                    <a:pt x="2698" y="1938"/>
                  </a:lnTo>
                  <a:lnTo>
                    <a:pt x="2698" y="1938"/>
                  </a:lnTo>
                  <a:lnTo>
                    <a:pt x="2691" y="1938"/>
                  </a:lnTo>
                  <a:lnTo>
                    <a:pt x="2669" y="1945"/>
                  </a:lnTo>
                  <a:lnTo>
                    <a:pt x="2662" y="1945"/>
                  </a:lnTo>
                  <a:lnTo>
                    <a:pt x="2655" y="1952"/>
                  </a:lnTo>
                  <a:lnTo>
                    <a:pt x="2648" y="1952"/>
                  </a:lnTo>
                  <a:lnTo>
                    <a:pt x="2641" y="1952"/>
                  </a:lnTo>
                  <a:lnTo>
                    <a:pt x="2641" y="1952"/>
                  </a:lnTo>
                  <a:lnTo>
                    <a:pt x="2641" y="1952"/>
                  </a:lnTo>
                  <a:lnTo>
                    <a:pt x="2641" y="1952"/>
                  </a:lnTo>
                  <a:lnTo>
                    <a:pt x="2634" y="1952"/>
                  </a:lnTo>
                  <a:lnTo>
                    <a:pt x="2627" y="1960"/>
                  </a:lnTo>
                  <a:lnTo>
                    <a:pt x="2620" y="1967"/>
                  </a:lnTo>
                  <a:lnTo>
                    <a:pt x="2598" y="1988"/>
                  </a:lnTo>
                  <a:lnTo>
                    <a:pt x="2591" y="1995"/>
                  </a:lnTo>
                  <a:lnTo>
                    <a:pt x="2591" y="2009"/>
                  </a:lnTo>
                  <a:lnTo>
                    <a:pt x="2591" y="2023"/>
                  </a:lnTo>
                  <a:lnTo>
                    <a:pt x="2613" y="2059"/>
                  </a:lnTo>
                  <a:lnTo>
                    <a:pt x="2613" y="2066"/>
                  </a:lnTo>
                  <a:lnTo>
                    <a:pt x="2613" y="2066"/>
                  </a:lnTo>
                  <a:lnTo>
                    <a:pt x="2606" y="2066"/>
                  </a:lnTo>
                  <a:lnTo>
                    <a:pt x="2606" y="2066"/>
                  </a:lnTo>
                  <a:lnTo>
                    <a:pt x="2598" y="2066"/>
                  </a:lnTo>
                  <a:lnTo>
                    <a:pt x="2606" y="2073"/>
                  </a:lnTo>
                  <a:lnTo>
                    <a:pt x="2606" y="2073"/>
                  </a:lnTo>
                  <a:lnTo>
                    <a:pt x="2613" y="2073"/>
                  </a:lnTo>
                  <a:lnTo>
                    <a:pt x="2613" y="2073"/>
                  </a:lnTo>
                  <a:lnTo>
                    <a:pt x="2613" y="2073"/>
                  </a:lnTo>
                  <a:lnTo>
                    <a:pt x="2620" y="2073"/>
                  </a:lnTo>
                  <a:lnTo>
                    <a:pt x="2620" y="2073"/>
                  </a:lnTo>
                  <a:lnTo>
                    <a:pt x="2620" y="2073"/>
                  </a:lnTo>
                  <a:lnTo>
                    <a:pt x="2620" y="2080"/>
                  </a:lnTo>
                  <a:lnTo>
                    <a:pt x="2620" y="2080"/>
                  </a:lnTo>
                  <a:lnTo>
                    <a:pt x="2613" y="2080"/>
                  </a:lnTo>
                  <a:lnTo>
                    <a:pt x="2613" y="2080"/>
                  </a:lnTo>
                  <a:lnTo>
                    <a:pt x="2613" y="2080"/>
                  </a:lnTo>
                  <a:lnTo>
                    <a:pt x="2613" y="2080"/>
                  </a:lnTo>
                  <a:lnTo>
                    <a:pt x="2613" y="2080"/>
                  </a:lnTo>
                  <a:lnTo>
                    <a:pt x="2613" y="2080"/>
                  </a:lnTo>
                  <a:lnTo>
                    <a:pt x="2613" y="2080"/>
                  </a:lnTo>
                  <a:lnTo>
                    <a:pt x="2613" y="2080"/>
                  </a:lnTo>
                  <a:lnTo>
                    <a:pt x="2613" y="2080"/>
                  </a:lnTo>
                  <a:lnTo>
                    <a:pt x="2620" y="2080"/>
                  </a:lnTo>
                  <a:lnTo>
                    <a:pt x="2620" y="2080"/>
                  </a:lnTo>
                  <a:lnTo>
                    <a:pt x="2620" y="2080"/>
                  </a:lnTo>
                  <a:lnTo>
                    <a:pt x="2620" y="2080"/>
                  </a:lnTo>
                  <a:lnTo>
                    <a:pt x="2620" y="2080"/>
                  </a:lnTo>
                  <a:lnTo>
                    <a:pt x="2627" y="2080"/>
                  </a:lnTo>
                  <a:lnTo>
                    <a:pt x="2620" y="2080"/>
                  </a:lnTo>
                  <a:lnTo>
                    <a:pt x="2620" y="2087"/>
                  </a:lnTo>
                  <a:lnTo>
                    <a:pt x="2613" y="2087"/>
                  </a:lnTo>
                  <a:lnTo>
                    <a:pt x="2606" y="2087"/>
                  </a:lnTo>
                  <a:lnTo>
                    <a:pt x="2591" y="2109"/>
                  </a:lnTo>
                  <a:lnTo>
                    <a:pt x="2584" y="2109"/>
                  </a:lnTo>
                  <a:lnTo>
                    <a:pt x="2584" y="2116"/>
                  </a:lnTo>
                  <a:lnTo>
                    <a:pt x="2584" y="2123"/>
                  </a:lnTo>
                  <a:lnTo>
                    <a:pt x="2584" y="2130"/>
                  </a:lnTo>
                  <a:lnTo>
                    <a:pt x="2584" y="2130"/>
                  </a:lnTo>
                  <a:lnTo>
                    <a:pt x="2591" y="2123"/>
                  </a:lnTo>
                  <a:lnTo>
                    <a:pt x="2591" y="2123"/>
                  </a:lnTo>
                  <a:lnTo>
                    <a:pt x="2591" y="2123"/>
                  </a:lnTo>
                  <a:lnTo>
                    <a:pt x="2591" y="2123"/>
                  </a:lnTo>
                  <a:lnTo>
                    <a:pt x="2591" y="2123"/>
                  </a:lnTo>
                  <a:lnTo>
                    <a:pt x="2591" y="2116"/>
                  </a:lnTo>
                  <a:lnTo>
                    <a:pt x="2598" y="2123"/>
                  </a:lnTo>
                  <a:lnTo>
                    <a:pt x="2591" y="2130"/>
                  </a:lnTo>
                  <a:lnTo>
                    <a:pt x="2591" y="2130"/>
                  </a:lnTo>
                  <a:lnTo>
                    <a:pt x="2591" y="2137"/>
                  </a:lnTo>
                  <a:lnTo>
                    <a:pt x="2584" y="2137"/>
                  </a:lnTo>
                  <a:lnTo>
                    <a:pt x="2584" y="2137"/>
                  </a:lnTo>
                  <a:lnTo>
                    <a:pt x="2584" y="2137"/>
                  </a:lnTo>
                  <a:lnTo>
                    <a:pt x="2577" y="2137"/>
                  </a:lnTo>
                  <a:lnTo>
                    <a:pt x="2584" y="2144"/>
                  </a:lnTo>
                  <a:lnTo>
                    <a:pt x="2584" y="2144"/>
                  </a:lnTo>
                  <a:lnTo>
                    <a:pt x="2591" y="2137"/>
                  </a:lnTo>
                  <a:lnTo>
                    <a:pt x="2584" y="2144"/>
                  </a:lnTo>
                  <a:lnTo>
                    <a:pt x="2570" y="2151"/>
                  </a:lnTo>
                  <a:lnTo>
                    <a:pt x="2563" y="2151"/>
                  </a:lnTo>
                  <a:lnTo>
                    <a:pt x="2556" y="2151"/>
                  </a:lnTo>
                  <a:lnTo>
                    <a:pt x="2556" y="2158"/>
                  </a:lnTo>
                  <a:lnTo>
                    <a:pt x="2556" y="2158"/>
                  </a:lnTo>
                  <a:lnTo>
                    <a:pt x="2556" y="2158"/>
                  </a:lnTo>
                  <a:lnTo>
                    <a:pt x="2556" y="2165"/>
                  </a:lnTo>
                  <a:lnTo>
                    <a:pt x="2549" y="2165"/>
                  </a:lnTo>
                  <a:lnTo>
                    <a:pt x="2549" y="2173"/>
                  </a:lnTo>
                  <a:lnTo>
                    <a:pt x="2542" y="2180"/>
                  </a:lnTo>
                  <a:lnTo>
                    <a:pt x="2542" y="2180"/>
                  </a:lnTo>
                  <a:lnTo>
                    <a:pt x="2542" y="2187"/>
                  </a:lnTo>
                  <a:lnTo>
                    <a:pt x="2542" y="2187"/>
                  </a:lnTo>
                  <a:lnTo>
                    <a:pt x="2542" y="2187"/>
                  </a:lnTo>
                  <a:lnTo>
                    <a:pt x="2549" y="2187"/>
                  </a:lnTo>
                  <a:lnTo>
                    <a:pt x="2542" y="2187"/>
                  </a:lnTo>
                  <a:lnTo>
                    <a:pt x="2535" y="2187"/>
                  </a:lnTo>
                  <a:lnTo>
                    <a:pt x="2527" y="2173"/>
                  </a:lnTo>
                  <a:lnTo>
                    <a:pt x="2520" y="2180"/>
                  </a:lnTo>
                  <a:lnTo>
                    <a:pt x="2513" y="2180"/>
                  </a:lnTo>
                  <a:lnTo>
                    <a:pt x="2513" y="2173"/>
                  </a:lnTo>
                  <a:lnTo>
                    <a:pt x="2513" y="2173"/>
                  </a:lnTo>
                  <a:lnTo>
                    <a:pt x="2513" y="2173"/>
                  </a:lnTo>
                  <a:lnTo>
                    <a:pt x="2506" y="2173"/>
                  </a:lnTo>
                  <a:lnTo>
                    <a:pt x="2506" y="2165"/>
                  </a:lnTo>
                  <a:lnTo>
                    <a:pt x="2506" y="2165"/>
                  </a:lnTo>
                  <a:lnTo>
                    <a:pt x="2506" y="2165"/>
                  </a:lnTo>
                  <a:lnTo>
                    <a:pt x="2506" y="2165"/>
                  </a:lnTo>
                  <a:lnTo>
                    <a:pt x="2506" y="2173"/>
                  </a:lnTo>
                  <a:lnTo>
                    <a:pt x="2506" y="2173"/>
                  </a:lnTo>
                  <a:lnTo>
                    <a:pt x="2513" y="2173"/>
                  </a:lnTo>
                  <a:lnTo>
                    <a:pt x="2513" y="2180"/>
                  </a:lnTo>
                  <a:lnTo>
                    <a:pt x="2513" y="2180"/>
                  </a:lnTo>
                  <a:lnTo>
                    <a:pt x="2520" y="2180"/>
                  </a:lnTo>
                  <a:lnTo>
                    <a:pt x="2527" y="2180"/>
                  </a:lnTo>
                  <a:lnTo>
                    <a:pt x="2527" y="2180"/>
                  </a:lnTo>
                  <a:lnTo>
                    <a:pt x="2527" y="2180"/>
                  </a:lnTo>
                  <a:lnTo>
                    <a:pt x="2527" y="2180"/>
                  </a:lnTo>
                  <a:lnTo>
                    <a:pt x="2527" y="2180"/>
                  </a:lnTo>
                  <a:lnTo>
                    <a:pt x="2527" y="2187"/>
                  </a:lnTo>
                  <a:lnTo>
                    <a:pt x="2527" y="2187"/>
                  </a:lnTo>
                  <a:lnTo>
                    <a:pt x="2527" y="2187"/>
                  </a:lnTo>
                  <a:lnTo>
                    <a:pt x="2527" y="2187"/>
                  </a:lnTo>
                  <a:lnTo>
                    <a:pt x="2527" y="2187"/>
                  </a:lnTo>
                  <a:lnTo>
                    <a:pt x="2535" y="2187"/>
                  </a:lnTo>
                  <a:lnTo>
                    <a:pt x="2535" y="2187"/>
                  </a:lnTo>
                  <a:lnTo>
                    <a:pt x="2535" y="2187"/>
                  </a:lnTo>
                  <a:lnTo>
                    <a:pt x="2535" y="2187"/>
                  </a:lnTo>
                  <a:lnTo>
                    <a:pt x="2542" y="2194"/>
                  </a:lnTo>
                  <a:lnTo>
                    <a:pt x="2527" y="2201"/>
                  </a:lnTo>
                  <a:lnTo>
                    <a:pt x="2506" y="2208"/>
                  </a:lnTo>
                  <a:lnTo>
                    <a:pt x="2499" y="2208"/>
                  </a:lnTo>
                  <a:lnTo>
                    <a:pt x="2499" y="2208"/>
                  </a:lnTo>
                  <a:lnTo>
                    <a:pt x="2499" y="2208"/>
                  </a:lnTo>
                  <a:lnTo>
                    <a:pt x="2499" y="2208"/>
                  </a:lnTo>
                  <a:lnTo>
                    <a:pt x="2492" y="2208"/>
                  </a:lnTo>
                  <a:lnTo>
                    <a:pt x="2492" y="2208"/>
                  </a:lnTo>
                  <a:lnTo>
                    <a:pt x="2492" y="2208"/>
                  </a:lnTo>
                  <a:lnTo>
                    <a:pt x="2492" y="2208"/>
                  </a:lnTo>
                  <a:lnTo>
                    <a:pt x="2471" y="2215"/>
                  </a:lnTo>
                  <a:lnTo>
                    <a:pt x="2471" y="2215"/>
                  </a:lnTo>
                  <a:lnTo>
                    <a:pt x="2464" y="2222"/>
                  </a:lnTo>
                  <a:lnTo>
                    <a:pt x="2464" y="2222"/>
                  </a:lnTo>
                  <a:lnTo>
                    <a:pt x="2457" y="2222"/>
                  </a:lnTo>
                  <a:lnTo>
                    <a:pt x="2457" y="2222"/>
                  </a:lnTo>
                  <a:lnTo>
                    <a:pt x="2449" y="2222"/>
                  </a:lnTo>
                  <a:lnTo>
                    <a:pt x="2449" y="2222"/>
                  </a:lnTo>
                  <a:lnTo>
                    <a:pt x="2449" y="2229"/>
                  </a:lnTo>
                  <a:lnTo>
                    <a:pt x="2435" y="2229"/>
                  </a:lnTo>
                  <a:lnTo>
                    <a:pt x="2435" y="2229"/>
                  </a:lnTo>
                  <a:lnTo>
                    <a:pt x="2442" y="2229"/>
                  </a:lnTo>
                  <a:lnTo>
                    <a:pt x="2442" y="2229"/>
                  </a:lnTo>
                  <a:lnTo>
                    <a:pt x="2435" y="2229"/>
                  </a:lnTo>
                  <a:lnTo>
                    <a:pt x="2428" y="2236"/>
                  </a:lnTo>
                  <a:lnTo>
                    <a:pt x="2421" y="2236"/>
                  </a:lnTo>
                  <a:lnTo>
                    <a:pt x="2414" y="2236"/>
                  </a:lnTo>
                  <a:lnTo>
                    <a:pt x="2414" y="2236"/>
                  </a:lnTo>
                  <a:lnTo>
                    <a:pt x="2414" y="2236"/>
                  </a:lnTo>
                  <a:lnTo>
                    <a:pt x="2414" y="2236"/>
                  </a:lnTo>
                  <a:lnTo>
                    <a:pt x="2414" y="2236"/>
                  </a:lnTo>
                  <a:lnTo>
                    <a:pt x="2414" y="2236"/>
                  </a:lnTo>
                  <a:lnTo>
                    <a:pt x="2414" y="2236"/>
                  </a:lnTo>
                  <a:lnTo>
                    <a:pt x="2414" y="2236"/>
                  </a:lnTo>
                  <a:lnTo>
                    <a:pt x="2414" y="2236"/>
                  </a:lnTo>
                  <a:lnTo>
                    <a:pt x="2414" y="2236"/>
                  </a:lnTo>
                  <a:lnTo>
                    <a:pt x="2414" y="2236"/>
                  </a:lnTo>
                  <a:lnTo>
                    <a:pt x="2414" y="2236"/>
                  </a:lnTo>
                  <a:lnTo>
                    <a:pt x="2414" y="2229"/>
                  </a:lnTo>
                  <a:lnTo>
                    <a:pt x="2414" y="2229"/>
                  </a:lnTo>
                  <a:lnTo>
                    <a:pt x="2421" y="2229"/>
                  </a:lnTo>
                  <a:lnTo>
                    <a:pt x="2421" y="2229"/>
                  </a:lnTo>
                  <a:lnTo>
                    <a:pt x="2421" y="2229"/>
                  </a:lnTo>
                  <a:lnTo>
                    <a:pt x="2421" y="2229"/>
                  </a:lnTo>
                  <a:lnTo>
                    <a:pt x="2421" y="2229"/>
                  </a:lnTo>
                  <a:lnTo>
                    <a:pt x="2428" y="2229"/>
                  </a:lnTo>
                  <a:lnTo>
                    <a:pt x="2428" y="2229"/>
                  </a:lnTo>
                  <a:lnTo>
                    <a:pt x="2428" y="2229"/>
                  </a:lnTo>
                  <a:lnTo>
                    <a:pt x="2428" y="2222"/>
                  </a:lnTo>
                  <a:lnTo>
                    <a:pt x="2428" y="2222"/>
                  </a:lnTo>
                  <a:lnTo>
                    <a:pt x="2428" y="2222"/>
                  </a:lnTo>
                  <a:lnTo>
                    <a:pt x="2428" y="2222"/>
                  </a:lnTo>
                  <a:lnTo>
                    <a:pt x="2428" y="2208"/>
                  </a:lnTo>
                  <a:lnTo>
                    <a:pt x="2428" y="2208"/>
                  </a:lnTo>
                  <a:lnTo>
                    <a:pt x="2421" y="2208"/>
                  </a:lnTo>
                  <a:lnTo>
                    <a:pt x="2414" y="2201"/>
                  </a:lnTo>
                  <a:lnTo>
                    <a:pt x="2414" y="2201"/>
                  </a:lnTo>
                  <a:lnTo>
                    <a:pt x="2414" y="2208"/>
                  </a:lnTo>
                  <a:lnTo>
                    <a:pt x="2407" y="2208"/>
                  </a:lnTo>
                  <a:lnTo>
                    <a:pt x="2400" y="2215"/>
                  </a:lnTo>
                  <a:lnTo>
                    <a:pt x="2393" y="2222"/>
                  </a:lnTo>
                  <a:lnTo>
                    <a:pt x="2393" y="2222"/>
                  </a:lnTo>
                  <a:lnTo>
                    <a:pt x="2393" y="2222"/>
                  </a:lnTo>
                  <a:lnTo>
                    <a:pt x="2386" y="2222"/>
                  </a:lnTo>
                  <a:lnTo>
                    <a:pt x="2386" y="2222"/>
                  </a:lnTo>
                  <a:lnTo>
                    <a:pt x="2386" y="2229"/>
                  </a:lnTo>
                  <a:lnTo>
                    <a:pt x="2378" y="2229"/>
                  </a:lnTo>
                  <a:lnTo>
                    <a:pt x="2378" y="2236"/>
                  </a:lnTo>
                  <a:lnTo>
                    <a:pt x="2378" y="2236"/>
                  </a:lnTo>
                  <a:lnTo>
                    <a:pt x="2378" y="2236"/>
                  </a:lnTo>
                  <a:lnTo>
                    <a:pt x="2378" y="2244"/>
                  </a:lnTo>
                  <a:lnTo>
                    <a:pt x="2371" y="2244"/>
                  </a:lnTo>
                  <a:lnTo>
                    <a:pt x="2371" y="2251"/>
                  </a:lnTo>
                  <a:lnTo>
                    <a:pt x="2371" y="2251"/>
                  </a:lnTo>
                  <a:lnTo>
                    <a:pt x="2371" y="2251"/>
                  </a:lnTo>
                  <a:lnTo>
                    <a:pt x="2371" y="2258"/>
                  </a:lnTo>
                  <a:lnTo>
                    <a:pt x="2371" y="2258"/>
                  </a:lnTo>
                  <a:lnTo>
                    <a:pt x="2371" y="2258"/>
                  </a:lnTo>
                  <a:lnTo>
                    <a:pt x="2371" y="2258"/>
                  </a:lnTo>
                  <a:lnTo>
                    <a:pt x="2364" y="2258"/>
                  </a:lnTo>
                  <a:lnTo>
                    <a:pt x="2364" y="2258"/>
                  </a:lnTo>
                  <a:lnTo>
                    <a:pt x="2364" y="2265"/>
                  </a:lnTo>
                  <a:lnTo>
                    <a:pt x="2371" y="2265"/>
                  </a:lnTo>
                  <a:lnTo>
                    <a:pt x="2371" y="2265"/>
                  </a:lnTo>
                  <a:lnTo>
                    <a:pt x="2371" y="2265"/>
                  </a:lnTo>
                  <a:lnTo>
                    <a:pt x="2371" y="2265"/>
                  </a:lnTo>
                  <a:lnTo>
                    <a:pt x="2371" y="2265"/>
                  </a:lnTo>
                  <a:lnTo>
                    <a:pt x="2371" y="2265"/>
                  </a:lnTo>
                  <a:lnTo>
                    <a:pt x="2371" y="2272"/>
                  </a:lnTo>
                  <a:lnTo>
                    <a:pt x="2371" y="2265"/>
                  </a:lnTo>
                  <a:lnTo>
                    <a:pt x="2371" y="2265"/>
                  </a:lnTo>
                  <a:lnTo>
                    <a:pt x="2371" y="2265"/>
                  </a:lnTo>
                  <a:lnTo>
                    <a:pt x="2371" y="2265"/>
                  </a:lnTo>
                  <a:lnTo>
                    <a:pt x="2378" y="2265"/>
                  </a:lnTo>
                  <a:lnTo>
                    <a:pt x="2378" y="2265"/>
                  </a:lnTo>
                  <a:lnTo>
                    <a:pt x="2378" y="2265"/>
                  </a:lnTo>
                  <a:lnTo>
                    <a:pt x="2378" y="2265"/>
                  </a:lnTo>
                  <a:lnTo>
                    <a:pt x="2378" y="2265"/>
                  </a:lnTo>
                  <a:lnTo>
                    <a:pt x="2378" y="2258"/>
                  </a:lnTo>
                  <a:lnTo>
                    <a:pt x="2378" y="2258"/>
                  </a:lnTo>
                  <a:lnTo>
                    <a:pt x="2378" y="2258"/>
                  </a:lnTo>
                  <a:lnTo>
                    <a:pt x="2378" y="2258"/>
                  </a:lnTo>
                  <a:lnTo>
                    <a:pt x="2386" y="2258"/>
                  </a:lnTo>
                  <a:lnTo>
                    <a:pt x="2386" y="2258"/>
                  </a:lnTo>
                  <a:lnTo>
                    <a:pt x="2386" y="2258"/>
                  </a:lnTo>
                  <a:lnTo>
                    <a:pt x="2378" y="2258"/>
                  </a:lnTo>
                  <a:lnTo>
                    <a:pt x="2378" y="2251"/>
                  </a:lnTo>
                  <a:lnTo>
                    <a:pt x="2378" y="2251"/>
                  </a:lnTo>
                  <a:lnTo>
                    <a:pt x="2378" y="2251"/>
                  </a:lnTo>
                  <a:lnTo>
                    <a:pt x="2386" y="2251"/>
                  </a:lnTo>
                  <a:lnTo>
                    <a:pt x="2386" y="2251"/>
                  </a:lnTo>
                  <a:lnTo>
                    <a:pt x="2386" y="2251"/>
                  </a:lnTo>
                  <a:lnTo>
                    <a:pt x="2386" y="2251"/>
                  </a:lnTo>
                  <a:lnTo>
                    <a:pt x="2386" y="2251"/>
                  </a:lnTo>
                  <a:lnTo>
                    <a:pt x="2386" y="2244"/>
                  </a:lnTo>
                  <a:lnTo>
                    <a:pt x="2386" y="2244"/>
                  </a:lnTo>
                  <a:lnTo>
                    <a:pt x="2386" y="2244"/>
                  </a:lnTo>
                  <a:lnTo>
                    <a:pt x="2386" y="2244"/>
                  </a:lnTo>
                  <a:lnTo>
                    <a:pt x="2386" y="2244"/>
                  </a:lnTo>
                  <a:lnTo>
                    <a:pt x="2386" y="2244"/>
                  </a:lnTo>
                  <a:lnTo>
                    <a:pt x="2386" y="2244"/>
                  </a:lnTo>
                  <a:lnTo>
                    <a:pt x="2393" y="2244"/>
                  </a:lnTo>
                  <a:lnTo>
                    <a:pt x="2400" y="2236"/>
                  </a:lnTo>
                  <a:lnTo>
                    <a:pt x="2400" y="2236"/>
                  </a:lnTo>
                  <a:lnTo>
                    <a:pt x="2407" y="2236"/>
                  </a:lnTo>
                  <a:lnTo>
                    <a:pt x="2407" y="2236"/>
                  </a:lnTo>
                  <a:lnTo>
                    <a:pt x="2407" y="2236"/>
                  </a:lnTo>
                  <a:lnTo>
                    <a:pt x="2407" y="2236"/>
                  </a:lnTo>
                  <a:lnTo>
                    <a:pt x="2407" y="2236"/>
                  </a:lnTo>
                  <a:lnTo>
                    <a:pt x="2407" y="2244"/>
                  </a:lnTo>
                  <a:lnTo>
                    <a:pt x="2407" y="2244"/>
                  </a:lnTo>
                  <a:lnTo>
                    <a:pt x="2407" y="2244"/>
                  </a:lnTo>
                  <a:lnTo>
                    <a:pt x="2407" y="2244"/>
                  </a:lnTo>
                  <a:lnTo>
                    <a:pt x="2407" y="2244"/>
                  </a:lnTo>
                  <a:lnTo>
                    <a:pt x="2407" y="2244"/>
                  </a:lnTo>
                  <a:lnTo>
                    <a:pt x="2407" y="2244"/>
                  </a:lnTo>
                  <a:lnTo>
                    <a:pt x="2407" y="2251"/>
                  </a:lnTo>
                  <a:lnTo>
                    <a:pt x="2400" y="2251"/>
                  </a:lnTo>
                  <a:lnTo>
                    <a:pt x="2400" y="2251"/>
                  </a:lnTo>
                  <a:lnTo>
                    <a:pt x="2400" y="2251"/>
                  </a:lnTo>
                  <a:lnTo>
                    <a:pt x="2400" y="2251"/>
                  </a:lnTo>
                  <a:lnTo>
                    <a:pt x="2400" y="2244"/>
                  </a:lnTo>
                  <a:lnTo>
                    <a:pt x="2393" y="2244"/>
                  </a:lnTo>
                  <a:lnTo>
                    <a:pt x="2393" y="2251"/>
                  </a:lnTo>
                  <a:lnTo>
                    <a:pt x="2393" y="2251"/>
                  </a:lnTo>
                  <a:lnTo>
                    <a:pt x="2393" y="2251"/>
                  </a:lnTo>
                  <a:lnTo>
                    <a:pt x="2393" y="2251"/>
                  </a:lnTo>
                  <a:lnTo>
                    <a:pt x="2393" y="2251"/>
                  </a:lnTo>
                  <a:lnTo>
                    <a:pt x="2393" y="2251"/>
                  </a:lnTo>
                  <a:lnTo>
                    <a:pt x="2393" y="2251"/>
                  </a:lnTo>
                  <a:lnTo>
                    <a:pt x="2393" y="2251"/>
                  </a:lnTo>
                  <a:lnTo>
                    <a:pt x="2400" y="2251"/>
                  </a:lnTo>
                  <a:lnTo>
                    <a:pt x="2428" y="2236"/>
                  </a:lnTo>
                  <a:lnTo>
                    <a:pt x="2428" y="2236"/>
                  </a:lnTo>
                  <a:lnTo>
                    <a:pt x="2414" y="2244"/>
                  </a:lnTo>
                  <a:lnTo>
                    <a:pt x="2407" y="2251"/>
                  </a:lnTo>
                  <a:lnTo>
                    <a:pt x="2400" y="2251"/>
                  </a:lnTo>
                  <a:lnTo>
                    <a:pt x="2393" y="2258"/>
                  </a:lnTo>
                  <a:lnTo>
                    <a:pt x="2386" y="2265"/>
                  </a:lnTo>
                  <a:lnTo>
                    <a:pt x="2378" y="2272"/>
                  </a:lnTo>
                  <a:lnTo>
                    <a:pt x="2364" y="2286"/>
                  </a:lnTo>
                  <a:lnTo>
                    <a:pt x="2357" y="2293"/>
                  </a:lnTo>
                  <a:lnTo>
                    <a:pt x="2336" y="2307"/>
                  </a:lnTo>
                  <a:lnTo>
                    <a:pt x="2329" y="2322"/>
                  </a:lnTo>
                  <a:lnTo>
                    <a:pt x="2322" y="2322"/>
                  </a:lnTo>
                  <a:lnTo>
                    <a:pt x="2322" y="2322"/>
                  </a:lnTo>
                  <a:lnTo>
                    <a:pt x="2322" y="2322"/>
                  </a:lnTo>
                  <a:lnTo>
                    <a:pt x="2322" y="2322"/>
                  </a:lnTo>
                  <a:lnTo>
                    <a:pt x="2322" y="2322"/>
                  </a:lnTo>
                  <a:lnTo>
                    <a:pt x="2322" y="2322"/>
                  </a:lnTo>
                  <a:lnTo>
                    <a:pt x="2315" y="2322"/>
                  </a:lnTo>
                  <a:lnTo>
                    <a:pt x="2315" y="2329"/>
                  </a:lnTo>
                  <a:lnTo>
                    <a:pt x="2315" y="2329"/>
                  </a:lnTo>
                  <a:lnTo>
                    <a:pt x="2322" y="2329"/>
                  </a:lnTo>
                  <a:lnTo>
                    <a:pt x="2322" y="2329"/>
                  </a:lnTo>
                  <a:lnTo>
                    <a:pt x="2322" y="2329"/>
                  </a:lnTo>
                  <a:lnTo>
                    <a:pt x="2322" y="2329"/>
                  </a:lnTo>
                  <a:lnTo>
                    <a:pt x="2322" y="2329"/>
                  </a:lnTo>
                  <a:lnTo>
                    <a:pt x="2322" y="2329"/>
                  </a:lnTo>
                  <a:lnTo>
                    <a:pt x="2329" y="2329"/>
                  </a:lnTo>
                  <a:lnTo>
                    <a:pt x="2329" y="2329"/>
                  </a:lnTo>
                  <a:lnTo>
                    <a:pt x="2322" y="2336"/>
                  </a:lnTo>
                  <a:lnTo>
                    <a:pt x="2322" y="2336"/>
                  </a:lnTo>
                  <a:lnTo>
                    <a:pt x="2315" y="2343"/>
                  </a:lnTo>
                  <a:lnTo>
                    <a:pt x="2315" y="2350"/>
                  </a:lnTo>
                  <a:lnTo>
                    <a:pt x="2307" y="2350"/>
                  </a:lnTo>
                  <a:lnTo>
                    <a:pt x="2307" y="2357"/>
                  </a:lnTo>
                  <a:lnTo>
                    <a:pt x="2293" y="2371"/>
                  </a:lnTo>
                  <a:lnTo>
                    <a:pt x="2293" y="2378"/>
                  </a:lnTo>
                  <a:lnTo>
                    <a:pt x="2279" y="2393"/>
                  </a:lnTo>
                  <a:lnTo>
                    <a:pt x="2279" y="2393"/>
                  </a:lnTo>
                  <a:lnTo>
                    <a:pt x="2279" y="2393"/>
                  </a:lnTo>
                  <a:lnTo>
                    <a:pt x="2279" y="2400"/>
                  </a:lnTo>
                  <a:lnTo>
                    <a:pt x="2272" y="2400"/>
                  </a:lnTo>
                  <a:lnTo>
                    <a:pt x="2272" y="2407"/>
                  </a:lnTo>
                  <a:lnTo>
                    <a:pt x="2265" y="2407"/>
                  </a:lnTo>
                  <a:lnTo>
                    <a:pt x="2265" y="2407"/>
                  </a:lnTo>
                  <a:lnTo>
                    <a:pt x="2265" y="2414"/>
                  </a:lnTo>
                  <a:lnTo>
                    <a:pt x="2258" y="2414"/>
                  </a:lnTo>
                  <a:lnTo>
                    <a:pt x="2258" y="2414"/>
                  </a:lnTo>
                  <a:lnTo>
                    <a:pt x="2258" y="2414"/>
                  </a:lnTo>
                  <a:lnTo>
                    <a:pt x="2258" y="2414"/>
                  </a:lnTo>
                  <a:lnTo>
                    <a:pt x="2258" y="2414"/>
                  </a:lnTo>
                  <a:lnTo>
                    <a:pt x="2251" y="2414"/>
                  </a:lnTo>
                  <a:lnTo>
                    <a:pt x="2258" y="2414"/>
                  </a:lnTo>
                  <a:lnTo>
                    <a:pt x="2258" y="2414"/>
                  </a:lnTo>
                  <a:lnTo>
                    <a:pt x="2265" y="2414"/>
                  </a:lnTo>
                  <a:lnTo>
                    <a:pt x="2265" y="2414"/>
                  </a:lnTo>
                  <a:lnTo>
                    <a:pt x="2272" y="2407"/>
                  </a:lnTo>
                  <a:lnTo>
                    <a:pt x="2265" y="2414"/>
                  </a:lnTo>
                  <a:lnTo>
                    <a:pt x="2258" y="2414"/>
                  </a:lnTo>
                  <a:lnTo>
                    <a:pt x="2258" y="2421"/>
                  </a:lnTo>
                  <a:lnTo>
                    <a:pt x="2251" y="2428"/>
                  </a:lnTo>
                  <a:lnTo>
                    <a:pt x="2251" y="2428"/>
                  </a:lnTo>
                  <a:lnTo>
                    <a:pt x="2244" y="2435"/>
                  </a:lnTo>
                  <a:lnTo>
                    <a:pt x="2244" y="2435"/>
                  </a:lnTo>
                  <a:lnTo>
                    <a:pt x="2244" y="2435"/>
                  </a:lnTo>
                  <a:lnTo>
                    <a:pt x="2244" y="2435"/>
                  </a:lnTo>
                  <a:lnTo>
                    <a:pt x="2244" y="2442"/>
                  </a:lnTo>
                  <a:lnTo>
                    <a:pt x="2244" y="2442"/>
                  </a:lnTo>
                  <a:lnTo>
                    <a:pt x="2236" y="2442"/>
                  </a:lnTo>
                  <a:lnTo>
                    <a:pt x="2236" y="2449"/>
                  </a:lnTo>
                  <a:lnTo>
                    <a:pt x="2236" y="2449"/>
                  </a:lnTo>
                  <a:lnTo>
                    <a:pt x="2194" y="2471"/>
                  </a:lnTo>
                  <a:lnTo>
                    <a:pt x="2173" y="2485"/>
                  </a:lnTo>
                  <a:lnTo>
                    <a:pt x="2165" y="2492"/>
                  </a:lnTo>
                  <a:lnTo>
                    <a:pt x="2165" y="2492"/>
                  </a:lnTo>
                  <a:lnTo>
                    <a:pt x="2165" y="2499"/>
                  </a:lnTo>
                  <a:lnTo>
                    <a:pt x="2158" y="2499"/>
                  </a:lnTo>
                  <a:lnTo>
                    <a:pt x="2158" y="2499"/>
                  </a:lnTo>
                  <a:lnTo>
                    <a:pt x="2158" y="2499"/>
                  </a:lnTo>
                  <a:lnTo>
                    <a:pt x="2158" y="2499"/>
                  </a:lnTo>
                  <a:lnTo>
                    <a:pt x="2158" y="2506"/>
                  </a:lnTo>
                  <a:lnTo>
                    <a:pt x="2151" y="2506"/>
                  </a:lnTo>
                  <a:lnTo>
                    <a:pt x="2151" y="2506"/>
                  </a:lnTo>
                  <a:lnTo>
                    <a:pt x="2151" y="2506"/>
                  </a:lnTo>
                  <a:lnTo>
                    <a:pt x="2151" y="2506"/>
                  </a:lnTo>
                  <a:lnTo>
                    <a:pt x="2144" y="2506"/>
                  </a:lnTo>
                  <a:lnTo>
                    <a:pt x="2144" y="2506"/>
                  </a:lnTo>
                  <a:lnTo>
                    <a:pt x="2144" y="2513"/>
                  </a:lnTo>
                  <a:lnTo>
                    <a:pt x="2144" y="2513"/>
                  </a:lnTo>
                  <a:lnTo>
                    <a:pt x="2144" y="2513"/>
                  </a:lnTo>
                  <a:lnTo>
                    <a:pt x="2144" y="2520"/>
                  </a:lnTo>
                  <a:lnTo>
                    <a:pt x="2144" y="2520"/>
                  </a:lnTo>
                  <a:lnTo>
                    <a:pt x="2144" y="2527"/>
                  </a:lnTo>
                  <a:lnTo>
                    <a:pt x="2130" y="2535"/>
                  </a:lnTo>
                  <a:lnTo>
                    <a:pt x="2130" y="2542"/>
                  </a:lnTo>
                  <a:lnTo>
                    <a:pt x="2130" y="2542"/>
                  </a:lnTo>
                  <a:lnTo>
                    <a:pt x="2130" y="2542"/>
                  </a:lnTo>
                  <a:lnTo>
                    <a:pt x="2130" y="2542"/>
                  </a:lnTo>
                  <a:lnTo>
                    <a:pt x="2123" y="2542"/>
                  </a:lnTo>
                  <a:lnTo>
                    <a:pt x="2123" y="2542"/>
                  </a:lnTo>
                  <a:lnTo>
                    <a:pt x="2123" y="2542"/>
                  </a:lnTo>
                  <a:lnTo>
                    <a:pt x="2123" y="2542"/>
                  </a:lnTo>
                  <a:lnTo>
                    <a:pt x="2123" y="2542"/>
                  </a:lnTo>
                  <a:lnTo>
                    <a:pt x="2123" y="2542"/>
                  </a:lnTo>
                  <a:lnTo>
                    <a:pt x="2123" y="2542"/>
                  </a:lnTo>
                  <a:lnTo>
                    <a:pt x="2123" y="2535"/>
                  </a:lnTo>
                  <a:lnTo>
                    <a:pt x="2123" y="2535"/>
                  </a:lnTo>
                  <a:lnTo>
                    <a:pt x="2116" y="2542"/>
                  </a:lnTo>
                  <a:lnTo>
                    <a:pt x="2123" y="2542"/>
                  </a:lnTo>
                  <a:lnTo>
                    <a:pt x="2123" y="2542"/>
                  </a:lnTo>
                  <a:lnTo>
                    <a:pt x="2123" y="2542"/>
                  </a:lnTo>
                  <a:lnTo>
                    <a:pt x="2130" y="2542"/>
                  </a:lnTo>
                  <a:lnTo>
                    <a:pt x="2130" y="2549"/>
                  </a:lnTo>
                  <a:lnTo>
                    <a:pt x="2123" y="2549"/>
                  </a:lnTo>
                  <a:lnTo>
                    <a:pt x="2123" y="2549"/>
                  </a:lnTo>
                  <a:lnTo>
                    <a:pt x="2123" y="2549"/>
                  </a:lnTo>
                  <a:lnTo>
                    <a:pt x="2123" y="2549"/>
                  </a:lnTo>
                  <a:lnTo>
                    <a:pt x="2116" y="2549"/>
                  </a:lnTo>
                  <a:lnTo>
                    <a:pt x="2116" y="2556"/>
                  </a:lnTo>
                  <a:lnTo>
                    <a:pt x="2116" y="2556"/>
                  </a:lnTo>
                  <a:lnTo>
                    <a:pt x="2116" y="2556"/>
                  </a:lnTo>
                  <a:lnTo>
                    <a:pt x="2116" y="2556"/>
                  </a:lnTo>
                  <a:lnTo>
                    <a:pt x="2116" y="2556"/>
                  </a:lnTo>
                  <a:lnTo>
                    <a:pt x="2109" y="2563"/>
                  </a:lnTo>
                  <a:lnTo>
                    <a:pt x="2102" y="2563"/>
                  </a:lnTo>
                  <a:lnTo>
                    <a:pt x="2094" y="2570"/>
                  </a:lnTo>
                  <a:lnTo>
                    <a:pt x="2087" y="2570"/>
                  </a:lnTo>
                  <a:lnTo>
                    <a:pt x="2087" y="2577"/>
                  </a:lnTo>
                  <a:lnTo>
                    <a:pt x="2080" y="2577"/>
                  </a:lnTo>
                  <a:lnTo>
                    <a:pt x="2080" y="2577"/>
                  </a:lnTo>
                  <a:lnTo>
                    <a:pt x="2080" y="2577"/>
                  </a:lnTo>
                  <a:lnTo>
                    <a:pt x="2080" y="2577"/>
                  </a:lnTo>
                  <a:lnTo>
                    <a:pt x="2073" y="2584"/>
                  </a:lnTo>
                  <a:lnTo>
                    <a:pt x="2073" y="2584"/>
                  </a:lnTo>
                  <a:lnTo>
                    <a:pt x="2073" y="2584"/>
                  </a:lnTo>
                  <a:lnTo>
                    <a:pt x="2066" y="2584"/>
                  </a:lnTo>
                  <a:lnTo>
                    <a:pt x="2066" y="2584"/>
                  </a:lnTo>
                  <a:lnTo>
                    <a:pt x="2066" y="2584"/>
                  </a:lnTo>
                  <a:lnTo>
                    <a:pt x="2059" y="2591"/>
                  </a:lnTo>
                  <a:lnTo>
                    <a:pt x="2052" y="2591"/>
                  </a:lnTo>
                  <a:lnTo>
                    <a:pt x="2045" y="2591"/>
                  </a:lnTo>
                  <a:lnTo>
                    <a:pt x="2016" y="2620"/>
                  </a:lnTo>
                  <a:lnTo>
                    <a:pt x="2009" y="2620"/>
                  </a:lnTo>
                  <a:lnTo>
                    <a:pt x="2009" y="2627"/>
                  </a:lnTo>
                  <a:lnTo>
                    <a:pt x="2009" y="2627"/>
                  </a:lnTo>
                  <a:lnTo>
                    <a:pt x="2002" y="2627"/>
                  </a:lnTo>
                  <a:lnTo>
                    <a:pt x="1995" y="2634"/>
                  </a:lnTo>
                  <a:lnTo>
                    <a:pt x="1995" y="2634"/>
                  </a:lnTo>
                  <a:lnTo>
                    <a:pt x="1988" y="2641"/>
                  </a:lnTo>
                  <a:lnTo>
                    <a:pt x="1988" y="2641"/>
                  </a:lnTo>
                  <a:lnTo>
                    <a:pt x="1988" y="2648"/>
                  </a:lnTo>
                  <a:lnTo>
                    <a:pt x="1981" y="2655"/>
                  </a:lnTo>
                  <a:lnTo>
                    <a:pt x="1981" y="2662"/>
                  </a:lnTo>
                  <a:lnTo>
                    <a:pt x="1981" y="2662"/>
                  </a:lnTo>
                  <a:lnTo>
                    <a:pt x="1988" y="2669"/>
                  </a:lnTo>
                  <a:lnTo>
                    <a:pt x="1988" y="2669"/>
                  </a:lnTo>
                  <a:lnTo>
                    <a:pt x="1988" y="2669"/>
                  </a:lnTo>
                  <a:lnTo>
                    <a:pt x="1988" y="2669"/>
                  </a:lnTo>
                  <a:lnTo>
                    <a:pt x="1995" y="2669"/>
                  </a:lnTo>
                  <a:lnTo>
                    <a:pt x="1995" y="2669"/>
                  </a:lnTo>
                  <a:lnTo>
                    <a:pt x="1995" y="2669"/>
                  </a:lnTo>
                  <a:lnTo>
                    <a:pt x="1995" y="2669"/>
                  </a:lnTo>
                  <a:lnTo>
                    <a:pt x="1995" y="2669"/>
                  </a:lnTo>
                  <a:lnTo>
                    <a:pt x="1995" y="2669"/>
                  </a:lnTo>
                  <a:lnTo>
                    <a:pt x="2002" y="2669"/>
                  </a:lnTo>
                  <a:lnTo>
                    <a:pt x="1995" y="2662"/>
                  </a:lnTo>
                  <a:lnTo>
                    <a:pt x="1995" y="2662"/>
                  </a:lnTo>
                  <a:lnTo>
                    <a:pt x="1995" y="2655"/>
                  </a:lnTo>
                  <a:lnTo>
                    <a:pt x="1995" y="2655"/>
                  </a:lnTo>
                  <a:lnTo>
                    <a:pt x="2002" y="2662"/>
                  </a:lnTo>
                  <a:lnTo>
                    <a:pt x="2002" y="2669"/>
                  </a:lnTo>
                  <a:lnTo>
                    <a:pt x="2002" y="2677"/>
                  </a:lnTo>
                  <a:lnTo>
                    <a:pt x="1995" y="2684"/>
                  </a:lnTo>
                  <a:lnTo>
                    <a:pt x="1995" y="2691"/>
                  </a:lnTo>
                  <a:lnTo>
                    <a:pt x="1995" y="2698"/>
                  </a:lnTo>
                  <a:lnTo>
                    <a:pt x="1995" y="2705"/>
                  </a:lnTo>
                  <a:lnTo>
                    <a:pt x="1995" y="2705"/>
                  </a:lnTo>
                  <a:lnTo>
                    <a:pt x="1995" y="2705"/>
                  </a:lnTo>
                  <a:lnTo>
                    <a:pt x="1995" y="2705"/>
                  </a:lnTo>
                  <a:lnTo>
                    <a:pt x="1995" y="2705"/>
                  </a:lnTo>
                  <a:lnTo>
                    <a:pt x="1988" y="2705"/>
                  </a:lnTo>
                  <a:lnTo>
                    <a:pt x="1988" y="2705"/>
                  </a:lnTo>
                  <a:lnTo>
                    <a:pt x="1988" y="2705"/>
                  </a:lnTo>
                  <a:lnTo>
                    <a:pt x="1988" y="2705"/>
                  </a:lnTo>
                  <a:lnTo>
                    <a:pt x="1988" y="2705"/>
                  </a:lnTo>
                  <a:lnTo>
                    <a:pt x="1988" y="2712"/>
                  </a:lnTo>
                  <a:lnTo>
                    <a:pt x="1995" y="2712"/>
                  </a:lnTo>
                  <a:lnTo>
                    <a:pt x="1988" y="2712"/>
                  </a:lnTo>
                  <a:lnTo>
                    <a:pt x="1981" y="2719"/>
                  </a:lnTo>
                  <a:lnTo>
                    <a:pt x="1974" y="2719"/>
                  </a:lnTo>
                  <a:lnTo>
                    <a:pt x="1974" y="2726"/>
                  </a:lnTo>
                  <a:lnTo>
                    <a:pt x="1967" y="2726"/>
                  </a:lnTo>
                  <a:lnTo>
                    <a:pt x="1960" y="2733"/>
                  </a:lnTo>
                  <a:lnTo>
                    <a:pt x="1960" y="2733"/>
                  </a:lnTo>
                  <a:lnTo>
                    <a:pt x="1952" y="2733"/>
                  </a:lnTo>
                  <a:lnTo>
                    <a:pt x="1952" y="2733"/>
                  </a:lnTo>
                  <a:lnTo>
                    <a:pt x="1952" y="2733"/>
                  </a:lnTo>
                  <a:lnTo>
                    <a:pt x="1945" y="2740"/>
                  </a:lnTo>
                  <a:lnTo>
                    <a:pt x="1945" y="2740"/>
                  </a:lnTo>
                  <a:lnTo>
                    <a:pt x="1945" y="2740"/>
                  </a:lnTo>
                  <a:lnTo>
                    <a:pt x="1945" y="2740"/>
                  </a:lnTo>
                  <a:lnTo>
                    <a:pt x="1945" y="2740"/>
                  </a:lnTo>
                  <a:lnTo>
                    <a:pt x="1938" y="2740"/>
                  </a:lnTo>
                  <a:lnTo>
                    <a:pt x="1938" y="2740"/>
                  </a:lnTo>
                  <a:lnTo>
                    <a:pt x="1931" y="2740"/>
                  </a:lnTo>
                  <a:lnTo>
                    <a:pt x="1931" y="2740"/>
                  </a:lnTo>
                  <a:lnTo>
                    <a:pt x="1917" y="2748"/>
                  </a:lnTo>
                  <a:lnTo>
                    <a:pt x="1917" y="2748"/>
                  </a:lnTo>
                  <a:lnTo>
                    <a:pt x="1910" y="2755"/>
                  </a:lnTo>
                  <a:lnTo>
                    <a:pt x="1910" y="2755"/>
                  </a:lnTo>
                  <a:lnTo>
                    <a:pt x="1903" y="2755"/>
                  </a:lnTo>
                  <a:lnTo>
                    <a:pt x="1903" y="2748"/>
                  </a:lnTo>
                  <a:lnTo>
                    <a:pt x="1903" y="2748"/>
                  </a:lnTo>
                  <a:lnTo>
                    <a:pt x="1896" y="2748"/>
                  </a:lnTo>
                  <a:lnTo>
                    <a:pt x="1896" y="2748"/>
                  </a:lnTo>
                  <a:lnTo>
                    <a:pt x="1889" y="2748"/>
                  </a:lnTo>
                  <a:lnTo>
                    <a:pt x="1889" y="2748"/>
                  </a:lnTo>
                  <a:lnTo>
                    <a:pt x="1889" y="2748"/>
                  </a:lnTo>
                  <a:lnTo>
                    <a:pt x="1889" y="2748"/>
                  </a:lnTo>
                  <a:lnTo>
                    <a:pt x="1889" y="2740"/>
                  </a:lnTo>
                  <a:lnTo>
                    <a:pt x="1882" y="2740"/>
                  </a:lnTo>
                  <a:lnTo>
                    <a:pt x="1882" y="2748"/>
                  </a:lnTo>
                  <a:lnTo>
                    <a:pt x="1882" y="2748"/>
                  </a:lnTo>
                  <a:lnTo>
                    <a:pt x="1874" y="2748"/>
                  </a:lnTo>
                  <a:lnTo>
                    <a:pt x="1874" y="2748"/>
                  </a:lnTo>
                  <a:lnTo>
                    <a:pt x="1867" y="2748"/>
                  </a:lnTo>
                  <a:lnTo>
                    <a:pt x="1867" y="2748"/>
                  </a:lnTo>
                  <a:lnTo>
                    <a:pt x="1867" y="2748"/>
                  </a:lnTo>
                  <a:lnTo>
                    <a:pt x="1867" y="2748"/>
                  </a:lnTo>
                  <a:lnTo>
                    <a:pt x="1867" y="2748"/>
                  </a:lnTo>
                  <a:lnTo>
                    <a:pt x="1867" y="2740"/>
                  </a:lnTo>
                  <a:lnTo>
                    <a:pt x="1860" y="2740"/>
                  </a:lnTo>
                  <a:lnTo>
                    <a:pt x="1860" y="2740"/>
                  </a:lnTo>
                  <a:lnTo>
                    <a:pt x="1860" y="2748"/>
                  </a:lnTo>
                  <a:lnTo>
                    <a:pt x="1860" y="2748"/>
                  </a:lnTo>
                  <a:lnTo>
                    <a:pt x="1853" y="2748"/>
                  </a:lnTo>
                  <a:lnTo>
                    <a:pt x="1853" y="2748"/>
                  </a:lnTo>
                  <a:lnTo>
                    <a:pt x="1853" y="2748"/>
                  </a:lnTo>
                  <a:lnTo>
                    <a:pt x="1846" y="2748"/>
                  </a:lnTo>
                  <a:lnTo>
                    <a:pt x="1839" y="2755"/>
                  </a:lnTo>
                  <a:lnTo>
                    <a:pt x="1839" y="2755"/>
                  </a:lnTo>
                  <a:lnTo>
                    <a:pt x="1846" y="2755"/>
                  </a:lnTo>
                  <a:lnTo>
                    <a:pt x="1846" y="2755"/>
                  </a:lnTo>
                  <a:lnTo>
                    <a:pt x="1846" y="2762"/>
                  </a:lnTo>
                  <a:lnTo>
                    <a:pt x="1839" y="2762"/>
                  </a:lnTo>
                  <a:lnTo>
                    <a:pt x="1839" y="2769"/>
                  </a:lnTo>
                  <a:lnTo>
                    <a:pt x="1832" y="2783"/>
                  </a:lnTo>
                  <a:lnTo>
                    <a:pt x="1832" y="2790"/>
                  </a:lnTo>
                  <a:lnTo>
                    <a:pt x="1832" y="2790"/>
                  </a:lnTo>
                  <a:lnTo>
                    <a:pt x="1832" y="2797"/>
                  </a:lnTo>
                  <a:lnTo>
                    <a:pt x="1832" y="2804"/>
                  </a:lnTo>
                  <a:lnTo>
                    <a:pt x="1832" y="2804"/>
                  </a:lnTo>
                  <a:lnTo>
                    <a:pt x="1825" y="2804"/>
                  </a:lnTo>
                  <a:lnTo>
                    <a:pt x="1818" y="2811"/>
                  </a:lnTo>
                  <a:lnTo>
                    <a:pt x="1818" y="2818"/>
                  </a:lnTo>
                  <a:lnTo>
                    <a:pt x="1811" y="2818"/>
                  </a:lnTo>
                  <a:lnTo>
                    <a:pt x="1811" y="2826"/>
                  </a:lnTo>
                  <a:lnTo>
                    <a:pt x="1811" y="2826"/>
                  </a:lnTo>
                  <a:lnTo>
                    <a:pt x="1811" y="2826"/>
                  </a:lnTo>
                  <a:lnTo>
                    <a:pt x="1811" y="2826"/>
                  </a:lnTo>
                  <a:lnTo>
                    <a:pt x="1811" y="2833"/>
                  </a:lnTo>
                  <a:lnTo>
                    <a:pt x="1811" y="2833"/>
                  </a:lnTo>
                  <a:lnTo>
                    <a:pt x="1811" y="2833"/>
                  </a:lnTo>
                  <a:lnTo>
                    <a:pt x="1811" y="2833"/>
                  </a:lnTo>
                  <a:lnTo>
                    <a:pt x="1811" y="2833"/>
                  </a:lnTo>
                  <a:lnTo>
                    <a:pt x="1811" y="2833"/>
                  </a:lnTo>
                  <a:lnTo>
                    <a:pt x="1803" y="2833"/>
                  </a:lnTo>
                  <a:lnTo>
                    <a:pt x="1803" y="2833"/>
                  </a:lnTo>
                  <a:lnTo>
                    <a:pt x="1803" y="2826"/>
                  </a:lnTo>
                  <a:lnTo>
                    <a:pt x="1803" y="2826"/>
                  </a:lnTo>
                  <a:lnTo>
                    <a:pt x="1796" y="2826"/>
                  </a:lnTo>
                  <a:lnTo>
                    <a:pt x="1796" y="2826"/>
                  </a:lnTo>
                  <a:lnTo>
                    <a:pt x="1796" y="2818"/>
                  </a:lnTo>
                  <a:lnTo>
                    <a:pt x="1796" y="2818"/>
                  </a:lnTo>
                  <a:lnTo>
                    <a:pt x="1796" y="2804"/>
                  </a:lnTo>
                  <a:lnTo>
                    <a:pt x="1796" y="2804"/>
                  </a:lnTo>
                  <a:lnTo>
                    <a:pt x="1796" y="2804"/>
                  </a:lnTo>
                  <a:lnTo>
                    <a:pt x="1789" y="2797"/>
                  </a:lnTo>
                  <a:lnTo>
                    <a:pt x="1789" y="2797"/>
                  </a:lnTo>
                  <a:lnTo>
                    <a:pt x="1796" y="2797"/>
                  </a:lnTo>
                  <a:lnTo>
                    <a:pt x="1789" y="2804"/>
                  </a:lnTo>
                  <a:lnTo>
                    <a:pt x="1789" y="2797"/>
                  </a:lnTo>
                  <a:lnTo>
                    <a:pt x="1789" y="2797"/>
                  </a:lnTo>
                  <a:lnTo>
                    <a:pt x="1789" y="2797"/>
                  </a:lnTo>
                  <a:lnTo>
                    <a:pt x="1789" y="2804"/>
                  </a:lnTo>
                  <a:lnTo>
                    <a:pt x="1796" y="2811"/>
                  </a:lnTo>
                  <a:lnTo>
                    <a:pt x="1789" y="2818"/>
                  </a:lnTo>
                  <a:lnTo>
                    <a:pt x="1789" y="2826"/>
                  </a:lnTo>
                  <a:lnTo>
                    <a:pt x="1782" y="2840"/>
                  </a:lnTo>
                  <a:lnTo>
                    <a:pt x="1782" y="2840"/>
                  </a:lnTo>
                  <a:lnTo>
                    <a:pt x="1782" y="2847"/>
                  </a:lnTo>
                  <a:lnTo>
                    <a:pt x="1782" y="2833"/>
                  </a:lnTo>
                  <a:lnTo>
                    <a:pt x="1782" y="2826"/>
                  </a:lnTo>
                  <a:lnTo>
                    <a:pt x="1775" y="2818"/>
                  </a:lnTo>
                  <a:lnTo>
                    <a:pt x="1775" y="2818"/>
                  </a:lnTo>
                  <a:lnTo>
                    <a:pt x="1768" y="2818"/>
                  </a:lnTo>
                  <a:lnTo>
                    <a:pt x="1761" y="2818"/>
                  </a:lnTo>
                  <a:lnTo>
                    <a:pt x="1761" y="2818"/>
                  </a:lnTo>
                  <a:lnTo>
                    <a:pt x="1761" y="2818"/>
                  </a:lnTo>
                  <a:lnTo>
                    <a:pt x="1761" y="2818"/>
                  </a:lnTo>
                  <a:lnTo>
                    <a:pt x="1761" y="2818"/>
                  </a:lnTo>
                  <a:lnTo>
                    <a:pt x="1761" y="2818"/>
                  </a:lnTo>
                  <a:lnTo>
                    <a:pt x="1761" y="2818"/>
                  </a:lnTo>
                  <a:lnTo>
                    <a:pt x="1754" y="2818"/>
                  </a:lnTo>
                  <a:lnTo>
                    <a:pt x="1754" y="2818"/>
                  </a:lnTo>
                  <a:lnTo>
                    <a:pt x="1747" y="2818"/>
                  </a:lnTo>
                  <a:lnTo>
                    <a:pt x="1747" y="2818"/>
                  </a:lnTo>
                  <a:lnTo>
                    <a:pt x="1747" y="2818"/>
                  </a:lnTo>
                  <a:lnTo>
                    <a:pt x="1747" y="2818"/>
                  </a:lnTo>
                  <a:lnTo>
                    <a:pt x="1740" y="2826"/>
                  </a:lnTo>
                  <a:lnTo>
                    <a:pt x="1740" y="2826"/>
                  </a:lnTo>
                  <a:lnTo>
                    <a:pt x="1732" y="2826"/>
                  </a:lnTo>
                  <a:lnTo>
                    <a:pt x="1732" y="2826"/>
                  </a:lnTo>
                  <a:lnTo>
                    <a:pt x="1732" y="2826"/>
                  </a:lnTo>
                  <a:lnTo>
                    <a:pt x="1732" y="2826"/>
                  </a:lnTo>
                  <a:lnTo>
                    <a:pt x="1732" y="2826"/>
                  </a:lnTo>
                  <a:lnTo>
                    <a:pt x="1725" y="2833"/>
                  </a:lnTo>
                  <a:lnTo>
                    <a:pt x="1725" y="2833"/>
                  </a:lnTo>
                  <a:lnTo>
                    <a:pt x="1718" y="2833"/>
                  </a:lnTo>
                  <a:lnTo>
                    <a:pt x="1718" y="2840"/>
                  </a:lnTo>
                  <a:lnTo>
                    <a:pt x="1704" y="2847"/>
                  </a:lnTo>
                  <a:lnTo>
                    <a:pt x="1704" y="2854"/>
                  </a:lnTo>
                  <a:lnTo>
                    <a:pt x="1697" y="2868"/>
                  </a:lnTo>
                  <a:lnTo>
                    <a:pt x="1697" y="2868"/>
                  </a:lnTo>
                  <a:lnTo>
                    <a:pt x="1697" y="2875"/>
                  </a:lnTo>
                  <a:lnTo>
                    <a:pt x="1697" y="2875"/>
                  </a:lnTo>
                  <a:lnTo>
                    <a:pt x="1697" y="2875"/>
                  </a:lnTo>
                  <a:lnTo>
                    <a:pt x="1697" y="2882"/>
                  </a:lnTo>
                  <a:lnTo>
                    <a:pt x="1690" y="2882"/>
                  </a:lnTo>
                  <a:lnTo>
                    <a:pt x="1690" y="2889"/>
                  </a:lnTo>
                  <a:lnTo>
                    <a:pt x="1683" y="2889"/>
                  </a:lnTo>
                  <a:lnTo>
                    <a:pt x="1683" y="2897"/>
                  </a:lnTo>
                  <a:lnTo>
                    <a:pt x="1683" y="2897"/>
                  </a:lnTo>
                  <a:lnTo>
                    <a:pt x="1683" y="2911"/>
                  </a:lnTo>
                  <a:lnTo>
                    <a:pt x="1683" y="2911"/>
                  </a:lnTo>
                  <a:lnTo>
                    <a:pt x="1676" y="2925"/>
                  </a:lnTo>
                  <a:lnTo>
                    <a:pt x="1676" y="2939"/>
                  </a:lnTo>
                  <a:lnTo>
                    <a:pt x="1676" y="2953"/>
                  </a:lnTo>
                  <a:lnTo>
                    <a:pt x="1676" y="2960"/>
                  </a:lnTo>
                  <a:lnTo>
                    <a:pt x="1676" y="2960"/>
                  </a:lnTo>
                  <a:lnTo>
                    <a:pt x="1676" y="2968"/>
                  </a:lnTo>
                  <a:lnTo>
                    <a:pt x="1683" y="2989"/>
                  </a:lnTo>
                  <a:lnTo>
                    <a:pt x="1683" y="2996"/>
                  </a:lnTo>
                  <a:lnTo>
                    <a:pt x="1683" y="2996"/>
                  </a:lnTo>
                  <a:lnTo>
                    <a:pt x="1683" y="2996"/>
                  </a:lnTo>
                  <a:lnTo>
                    <a:pt x="1690" y="3003"/>
                  </a:lnTo>
                  <a:lnTo>
                    <a:pt x="1690" y="3003"/>
                  </a:lnTo>
                  <a:lnTo>
                    <a:pt x="1690" y="3003"/>
                  </a:lnTo>
                  <a:lnTo>
                    <a:pt x="1690" y="3010"/>
                  </a:lnTo>
                  <a:lnTo>
                    <a:pt x="1697" y="3010"/>
                  </a:lnTo>
                  <a:lnTo>
                    <a:pt x="1697" y="3010"/>
                  </a:lnTo>
                  <a:lnTo>
                    <a:pt x="1697" y="3017"/>
                  </a:lnTo>
                  <a:lnTo>
                    <a:pt x="1690" y="3017"/>
                  </a:lnTo>
                  <a:lnTo>
                    <a:pt x="1690" y="3017"/>
                  </a:lnTo>
                  <a:lnTo>
                    <a:pt x="1690" y="3017"/>
                  </a:lnTo>
                  <a:lnTo>
                    <a:pt x="1690" y="3017"/>
                  </a:lnTo>
                  <a:lnTo>
                    <a:pt x="1690" y="3017"/>
                  </a:lnTo>
                  <a:lnTo>
                    <a:pt x="1697" y="3017"/>
                  </a:lnTo>
                  <a:lnTo>
                    <a:pt x="1697" y="3017"/>
                  </a:lnTo>
                  <a:lnTo>
                    <a:pt x="1697" y="3017"/>
                  </a:lnTo>
                  <a:lnTo>
                    <a:pt x="1697" y="3017"/>
                  </a:lnTo>
                  <a:lnTo>
                    <a:pt x="1697" y="3017"/>
                  </a:lnTo>
                  <a:lnTo>
                    <a:pt x="1697" y="3017"/>
                  </a:lnTo>
                  <a:lnTo>
                    <a:pt x="1697" y="3024"/>
                  </a:lnTo>
                  <a:lnTo>
                    <a:pt x="1697" y="3031"/>
                  </a:lnTo>
                  <a:lnTo>
                    <a:pt x="1697" y="3046"/>
                  </a:lnTo>
                  <a:lnTo>
                    <a:pt x="1697" y="3053"/>
                  </a:lnTo>
                  <a:lnTo>
                    <a:pt x="1690" y="3053"/>
                  </a:lnTo>
                  <a:lnTo>
                    <a:pt x="1690" y="3060"/>
                  </a:lnTo>
                  <a:lnTo>
                    <a:pt x="1690" y="3067"/>
                  </a:lnTo>
                  <a:lnTo>
                    <a:pt x="1683" y="3067"/>
                  </a:lnTo>
                  <a:lnTo>
                    <a:pt x="1683" y="3067"/>
                  </a:lnTo>
                  <a:lnTo>
                    <a:pt x="1683" y="3067"/>
                  </a:lnTo>
                  <a:lnTo>
                    <a:pt x="1683" y="3067"/>
                  </a:lnTo>
                  <a:lnTo>
                    <a:pt x="1676" y="3067"/>
                  </a:lnTo>
                  <a:lnTo>
                    <a:pt x="1676" y="3074"/>
                  </a:lnTo>
                  <a:lnTo>
                    <a:pt x="1676" y="3074"/>
                  </a:lnTo>
                  <a:lnTo>
                    <a:pt x="1683" y="3074"/>
                  </a:lnTo>
                  <a:lnTo>
                    <a:pt x="1683" y="3074"/>
                  </a:lnTo>
                  <a:lnTo>
                    <a:pt x="1683" y="3067"/>
                  </a:lnTo>
                  <a:lnTo>
                    <a:pt x="1690" y="3067"/>
                  </a:lnTo>
                  <a:lnTo>
                    <a:pt x="1690" y="3067"/>
                  </a:lnTo>
                  <a:lnTo>
                    <a:pt x="1690" y="3074"/>
                  </a:lnTo>
                  <a:lnTo>
                    <a:pt x="1690" y="3081"/>
                  </a:lnTo>
                  <a:lnTo>
                    <a:pt x="1690" y="3102"/>
                  </a:lnTo>
                  <a:lnTo>
                    <a:pt x="1697" y="3102"/>
                  </a:lnTo>
                  <a:lnTo>
                    <a:pt x="1704" y="3124"/>
                  </a:lnTo>
                  <a:lnTo>
                    <a:pt x="1704" y="3131"/>
                  </a:lnTo>
                  <a:lnTo>
                    <a:pt x="1704" y="3138"/>
                  </a:lnTo>
                  <a:lnTo>
                    <a:pt x="1704" y="3145"/>
                  </a:lnTo>
                  <a:lnTo>
                    <a:pt x="1704" y="3145"/>
                  </a:lnTo>
                  <a:lnTo>
                    <a:pt x="1704" y="3152"/>
                  </a:lnTo>
                  <a:lnTo>
                    <a:pt x="1704" y="3152"/>
                  </a:lnTo>
                  <a:lnTo>
                    <a:pt x="1711" y="3166"/>
                  </a:lnTo>
                  <a:lnTo>
                    <a:pt x="1718" y="3181"/>
                  </a:lnTo>
                  <a:lnTo>
                    <a:pt x="1718" y="3188"/>
                  </a:lnTo>
                  <a:lnTo>
                    <a:pt x="1718" y="3188"/>
                  </a:lnTo>
                  <a:lnTo>
                    <a:pt x="1704" y="3166"/>
                  </a:lnTo>
                  <a:lnTo>
                    <a:pt x="1697" y="3159"/>
                  </a:lnTo>
                  <a:lnTo>
                    <a:pt x="1697" y="3152"/>
                  </a:lnTo>
                  <a:lnTo>
                    <a:pt x="1697" y="3145"/>
                  </a:lnTo>
                  <a:lnTo>
                    <a:pt x="1690" y="3145"/>
                  </a:lnTo>
                  <a:lnTo>
                    <a:pt x="1690" y="3159"/>
                  </a:lnTo>
                  <a:lnTo>
                    <a:pt x="1690" y="3159"/>
                  </a:lnTo>
                  <a:lnTo>
                    <a:pt x="1690" y="3159"/>
                  </a:lnTo>
                  <a:lnTo>
                    <a:pt x="1690" y="3159"/>
                  </a:lnTo>
                  <a:lnTo>
                    <a:pt x="1690" y="3152"/>
                  </a:lnTo>
                  <a:lnTo>
                    <a:pt x="1690" y="3152"/>
                  </a:lnTo>
                  <a:lnTo>
                    <a:pt x="1690" y="3152"/>
                  </a:lnTo>
                  <a:lnTo>
                    <a:pt x="1683" y="3152"/>
                  </a:lnTo>
                  <a:lnTo>
                    <a:pt x="1683" y="3152"/>
                  </a:lnTo>
                  <a:lnTo>
                    <a:pt x="1683" y="3152"/>
                  </a:lnTo>
                  <a:lnTo>
                    <a:pt x="1683" y="3152"/>
                  </a:lnTo>
                  <a:lnTo>
                    <a:pt x="1683" y="3159"/>
                  </a:lnTo>
                  <a:lnTo>
                    <a:pt x="1683" y="3159"/>
                  </a:lnTo>
                  <a:lnTo>
                    <a:pt x="1683" y="3166"/>
                  </a:lnTo>
                  <a:lnTo>
                    <a:pt x="1683" y="3166"/>
                  </a:lnTo>
                  <a:lnTo>
                    <a:pt x="1690" y="3173"/>
                  </a:lnTo>
                  <a:lnTo>
                    <a:pt x="1690" y="3173"/>
                  </a:lnTo>
                  <a:lnTo>
                    <a:pt x="1690" y="3181"/>
                  </a:lnTo>
                  <a:lnTo>
                    <a:pt x="1690" y="3181"/>
                  </a:lnTo>
                  <a:lnTo>
                    <a:pt x="1697" y="3181"/>
                  </a:lnTo>
                  <a:lnTo>
                    <a:pt x="1697" y="3181"/>
                  </a:lnTo>
                  <a:lnTo>
                    <a:pt x="1704" y="3181"/>
                  </a:lnTo>
                  <a:lnTo>
                    <a:pt x="1704" y="3181"/>
                  </a:lnTo>
                  <a:lnTo>
                    <a:pt x="1704" y="3181"/>
                  </a:lnTo>
                  <a:lnTo>
                    <a:pt x="1711" y="3181"/>
                  </a:lnTo>
                  <a:lnTo>
                    <a:pt x="1711" y="3181"/>
                  </a:lnTo>
                  <a:lnTo>
                    <a:pt x="1711" y="3181"/>
                  </a:lnTo>
                  <a:lnTo>
                    <a:pt x="1711" y="3188"/>
                  </a:lnTo>
                  <a:lnTo>
                    <a:pt x="1711" y="3188"/>
                  </a:lnTo>
                  <a:lnTo>
                    <a:pt x="1718" y="3188"/>
                  </a:lnTo>
                  <a:lnTo>
                    <a:pt x="1718" y="3188"/>
                  </a:lnTo>
                  <a:lnTo>
                    <a:pt x="1718" y="3188"/>
                  </a:lnTo>
                  <a:lnTo>
                    <a:pt x="1718" y="3188"/>
                  </a:lnTo>
                  <a:lnTo>
                    <a:pt x="1718" y="3188"/>
                  </a:lnTo>
                  <a:lnTo>
                    <a:pt x="1718" y="3188"/>
                  </a:lnTo>
                  <a:lnTo>
                    <a:pt x="1725" y="3195"/>
                  </a:lnTo>
                  <a:lnTo>
                    <a:pt x="1725" y="3202"/>
                  </a:lnTo>
                  <a:lnTo>
                    <a:pt x="1725" y="3202"/>
                  </a:lnTo>
                  <a:lnTo>
                    <a:pt x="1725" y="3209"/>
                  </a:lnTo>
                  <a:lnTo>
                    <a:pt x="1718" y="3216"/>
                  </a:lnTo>
                  <a:lnTo>
                    <a:pt x="1718" y="3216"/>
                  </a:lnTo>
                  <a:lnTo>
                    <a:pt x="1718" y="3216"/>
                  </a:lnTo>
                  <a:lnTo>
                    <a:pt x="1718" y="3216"/>
                  </a:lnTo>
                  <a:lnTo>
                    <a:pt x="1718" y="3223"/>
                  </a:lnTo>
                  <a:lnTo>
                    <a:pt x="1718" y="3223"/>
                  </a:lnTo>
                  <a:lnTo>
                    <a:pt x="1718" y="3223"/>
                  </a:lnTo>
                  <a:lnTo>
                    <a:pt x="1718" y="3223"/>
                  </a:lnTo>
                  <a:lnTo>
                    <a:pt x="1718" y="3223"/>
                  </a:lnTo>
                  <a:lnTo>
                    <a:pt x="1718" y="3230"/>
                  </a:lnTo>
                  <a:lnTo>
                    <a:pt x="1718" y="3230"/>
                  </a:lnTo>
                  <a:lnTo>
                    <a:pt x="1718" y="3230"/>
                  </a:lnTo>
                  <a:lnTo>
                    <a:pt x="1718" y="3237"/>
                  </a:lnTo>
                  <a:lnTo>
                    <a:pt x="1718" y="3237"/>
                  </a:lnTo>
                  <a:lnTo>
                    <a:pt x="1718" y="3244"/>
                  </a:lnTo>
                  <a:lnTo>
                    <a:pt x="1718" y="3244"/>
                  </a:lnTo>
                  <a:lnTo>
                    <a:pt x="1718" y="3252"/>
                  </a:lnTo>
                  <a:lnTo>
                    <a:pt x="1711" y="3259"/>
                  </a:lnTo>
                  <a:lnTo>
                    <a:pt x="1711" y="3280"/>
                  </a:lnTo>
                  <a:lnTo>
                    <a:pt x="1711" y="3287"/>
                  </a:lnTo>
                  <a:lnTo>
                    <a:pt x="1711" y="3294"/>
                  </a:lnTo>
                  <a:lnTo>
                    <a:pt x="1711" y="3301"/>
                  </a:lnTo>
                  <a:lnTo>
                    <a:pt x="1704" y="3301"/>
                  </a:lnTo>
                  <a:lnTo>
                    <a:pt x="1704" y="3308"/>
                  </a:lnTo>
                  <a:lnTo>
                    <a:pt x="1704" y="3308"/>
                  </a:lnTo>
                  <a:lnTo>
                    <a:pt x="1704" y="3315"/>
                  </a:lnTo>
                  <a:lnTo>
                    <a:pt x="1704" y="3322"/>
                  </a:lnTo>
                  <a:lnTo>
                    <a:pt x="1704" y="3322"/>
                  </a:lnTo>
                  <a:lnTo>
                    <a:pt x="1697" y="3330"/>
                  </a:lnTo>
                  <a:lnTo>
                    <a:pt x="1690" y="3344"/>
                  </a:lnTo>
                  <a:lnTo>
                    <a:pt x="1690" y="3344"/>
                  </a:lnTo>
                  <a:lnTo>
                    <a:pt x="1690" y="3351"/>
                  </a:lnTo>
                  <a:lnTo>
                    <a:pt x="1690" y="3351"/>
                  </a:lnTo>
                  <a:lnTo>
                    <a:pt x="1683" y="3351"/>
                  </a:lnTo>
                  <a:lnTo>
                    <a:pt x="1683" y="3351"/>
                  </a:lnTo>
                  <a:lnTo>
                    <a:pt x="1683" y="3351"/>
                  </a:lnTo>
                  <a:lnTo>
                    <a:pt x="1683" y="3365"/>
                  </a:lnTo>
                  <a:lnTo>
                    <a:pt x="1676" y="3365"/>
                  </a:lnTo>
                  <a:lnTo>
                    <a:pt x="1669" y="3372"/>
                  </a:lnTo>
                  <a:lnTo>
                    <a:pt x="1669" y="3372"/>
                  </a:lnTo>
                  <a:lnTo>
                    <a:pt x="1669" y="3372"/>
                  </a:lnTo>
                  <a:lnTo>
                    <a:pt x="1669" y="3372"/>
                  </a:lnTo>
                  <a:lnTo>
                    <a:pt x="1676" y="3365"/>
                  </a:lnTo>
                  <a:lnTo>
                    <a:pt x="1669" y="3379"/>
                  </a:lnTo>
                  <a:lnTo>
                    <a:pt x="1669" y="3386"/>
                  </a:lnTo>
                  <a:lnTo>
                    <a:pt x="1669" y="3386"/>
                  </a:lnTo>
                  <a:lnTo>
                    <a:pt x="1661" y="3393"/>
                  </a:lnTo>
                  <a:lnTo>
                    <a:pt x="1654" y="3401"/>
                  </a:lnTo>
                  <a:lnTo>
                    <a:pt x="1654" y="3401"/>
                  </a:lnTo>
                  <a:lnTo>
                    <a:pt x="1654" y="3401"/>
                  </a:lnTo>
                  <a:lnTo>
                    <a:pt x="1654" y="3408"/>
                  </a:lnTo>
                  <a:lnTo>
                    <a:pt x="1654" y="3408"/>
                  </a:lnTo>
                  <a:lnTo>
                    <a:pt x="1654" y="3408"/>
                  </a:lnTo>
                  <a:lnTo>
                    <a:pt x="1654" y="3415"/>
                  </a:lnTo>
                  <a:lnTo>
                    <a:pt x="1647" y="3422"/>
                  </a:lnTo>
                  <a:lnTo>
                    <a:pt x="1647" y="3436"/>
                  </a:lnTo>
                  <a:lnTo>
                    <a:pt x="1647" y="3436"/>
                  </a:lnTo>
                  <a:lnTo>
                    <a:pt x="1647" y="3436"/>
                  </a:lnTo>
                  <a:lnTo>
                    <a:pt x="1640" y="3450"/>
                  </a:lnTo>
                  <a:lnTo>
                    <a:pt x="1640" y="3457"/>
                  </a:lnTo>
                  <a:lnTo>
                    <a:pt x="1640" y="3464"/>
                  </a:lnTo>
                  <a:lnTo>
                    <a:pt x="1640" y="3472"/>
                  </a:lnTo>
                  <a:lnTo>
                    <a:pt x="1640" y="3472"/>
                  </a:lnTo>
                  <a:lnTo>
                    <a:pt x="1647" y="3486"/>
                  </a:lnTo>
                  <a:lnTo>
                    <a:pt x="1647" y="3493"/>
                  </a:lnTo>
                  <a:lnTo>
                    <a:pt x="1647" y="3493"/>
                  </a:lnTo>
                  <a:lnTo>
                    <a:pt x="1647" y="3493"/>
                  </a:lnTo>
                  <a:lnTo>
                    <a:pt x="1647" y="3486"/>
                  </a:lnTo>
                  <a:lnTo>
                    <a:pt x="1647" y="3486"/>
                  </a:lnTo>
                  <a:lnTo>
                    <a:pt x="1647" y="3486"/>
                  </a:lnTo>
                  <a:lnTo>
                    <a:pt x="1647" y="3486"/>
                  </a:lnTo>
                  <a:lnTo>
                    <a:pt x="1654" y="3486"/>
                  </a:lnTo>
                  <a:lnTo>
                    <a:pt x="1654" y="3493"/>
                  </a:lnTo>
                  <a:lnTo>
                    <a:pt x="1654" y="3500"/>
                  </a:lnTo>
                  <a:lnTo>
                    <a:pt x="1647" y="3500"/>
                  </a:lnTo>
                  <a:lnTo>
                    <a:pt x="1647" y="3500"/>
                  </a:lnTo>
                  <a:lnTo>
                    <a:pt x="1647" y="3500"/>
                  </a:lnTo>
                  <a:lnTo>
                    <a:pt x="1647" y="3500"/>
                  </a:lnTo>
                  <a:lnTo>
                    <a:pt x="1640" y="3500"/>
                  </a:lnTo>
                  <a:lnTo>
                    <a:pt x="1640" y="3500"/>
                  </a:lnTo>
                  <a:lnTo>
                    <a:pt x="1640" y="3500"/>
                  </a:lnTo>
                  <a:lnTo>
                    <a:pt x="1633" y="3507"/>
                  </a:lnTo>
                  <a:lnTo>
                    <a:pt x="1633" y="3507"/>
                  </a:lnTo>
                  <a:lnTo>
                    <a:pt x="1633" y="3507"/>
                  </a:lnTo>
                  <a:lnTo>
                    <a:pt x="1633" y="3507"/>
                  </a:lnTo>
                  <a:lnTo>
                    <a:pt x="1640" y="3507"/>
                  </a:lnTo>
                  <a:lnTo>
                    <a:pt x="1640" y="3507"/>
                  </a:lnTo>
                  <a:lnTo>
                    <a:pt x="1640" y="3500"/>
                  </a:lnTo>
                  <a:lnTo>
                    <a:pt x="1647" y="3500"/>
                  </a:lnTo>
                  <a:lnTo>
                    <a:pt x="1647" y="3500"/>
                  </a:lnTo>
                  <a:lnTo>
                    <a:pt x="1654" y="3500"/>
                  </a:lnTo>
                  <a:lnTo>
                    <a:pt x="1654" y="3500"/>
                  </a:lnTo>
                  <a:lnTo>
                    <a:pt x="1654" y="3500"/>
                  </a:lnTo>
                  <a:lnTo>
                    <a:pt x="1654" y="3514"/>
                  </a:lnTo>
                  <a:lnTo>
                    <a:pt x="1654" y="3528"/>
                  </a:lnTo>
                  <a:lnTo>
                    <a:pt x="1654" y="3557"/>
                  </a:lnTo>
                  <a:lnTo>
                    <a:pt x="1654" y="3564"/>
                  </a:lnTo>
                  <a:lnTo>
                    <a:pt x="1654" y="3592"/>
                  </a:lnTo>
                  <a:lnTo>
                    <a:pt x="1661" y="3614"/>
                  </a:lnTo>
                  <a:lnTo>
                    <a:pt x="1661" y="3621"/>
                  </a:lnTo>
                  <a:lnTo>
                    <a:pt x="1661" y="3649"/>
                  </a:lnTo>
                  <a:lnTo>
                    <a:pt x="1661" y="3663"/>
                  </a:lnTo>
                  <a:lnTo>
                    <a:pt x="1661" y="3663"/>
                  </a:lnTo>
                  <a:lnTo>
                    <a:pt x="1654" y="3663"/>
                  </a:lnTo>
                  <a:lnTo>
                    <a:pt x="1654" y="3663"/>
                  </a:lnTo>
                  <a:lnTo>
                    <a:pt x="1647" y="3663"/>
                  </a:lnTo>
                  <a:lnTo>
                    <a:pt x="1647" y="3663"/>
                  </a:lnTo>
                  <a:lnTo>
                    <a:pt x="1647" y="3663"/>
                  </a:lnTo>
                  <a:lnTo>
                    <a:pt x="1647" y="3656"/>
                  </a:lnTo>
                  <a:lnTo>
                    <a:pt x="1626" y="3656"/>
                  </a:lnTo>
                  <a:lnTo>
                    <a:pt x="1626" y="3656"/>
                  </a:lnTo>
                  <a:lnTo>
                    <a:pt x="1626" y="3656"/>
                  </a:lnTo>
                  <a:lnTo>
                    <a:pt x="1626" y="3656"/>
                  </a:lnTo>
                  <a:lnTo>
                    <a:pt x="1626" y="3656"/>
                  </a:lnTo>
                  <a:lnTo>
                    <a:pt x="1633" y="3656"/>
                  </a:lnTo>
                  <a:lnTo>
                    <a:pt x="1633" y="3663"/>
                  </a:lnTo>
                  <a:lnTo>
                    <a:pt x="1633" y="3663"/>
                  </a:lnTo>
                  <a:lnTo>
                    <a:pt x="1633" y="3663"/>
                  </a:lnTo>
                  <a:lnTo>
                    <a:pt x="1640" y="3663"/>
                  </a:lnTo>
                  <a:lnTo>
                    <a:pt x="1640" y="3663"/>
                  </a:lnTo>
                  <a:lnTo>
                    <a:pt x="1647" y="3663"/>
                  </a:lnTo>
                  <a:lnTo>
                    <a:pt x="1647" y="3663"/>
                  </a:lnTo>
                  <a:lnTo>
                    <a:pt x="1647" y="3663"/>
                  </a:lnTo>
                  <a:lnTo>
                    <a:pt x="1647" y="3663"/>
                  </a:lnTo>
                  <a:lnTo>
                    <a:pt x="1619" y="3663"/>
                  </a:lnTo>
                  <a:lnTo>
                    <a:pt x="1619" y="3663"/>
                  </a:lnTo>
                  <a:lnTo>
                    <a:pt x="1619" y="3663"/>
                  </a:lnTo>
                  <a:lnTo>
                    <a:pt x="1612" y="3663"/>
                  </a:lnTo>
                  <a:lnTo>
                    <a:pt x="1612" y="3656"/>
                  </a:lnTo>
                  <a:lnTo>
                    <a:pt x="1619" y="3656"/>
                  </a:lnTo>
                  <a:lnTo>
                    <a:pt x="1619" y="3656"/>
                  </a:lnTo>
                  <a:lnTo>
                    <a:pt x="1619" y="3656"/>
                  </a:lnTo>
                  <a:lnTo>
                    <a:pt x="1619" y="3656"/>
                  </a:lnTo>
                  <a:lnTo>
                    <a:pt x="1626" y="3656"/>
                  </a:lnTo>
                  <a:lnTo>
                    <a:pt x="1619" y="3656"/>
                  </a:lnTo>
                  <a:lnTo>
                    <a:pt x="1619" y="3656"/>
                  </a:lnTo>
                  <a:lnTo>
                    <a:pt x="1612" y="3656"/>
                  </a:lnTo>
                  <a:lnTo>
                    <a:pt x="1612" y="3656"/>
                  </a:lnTo>
                  <a:lnTo>
                    <a:pt x="1612" y="3656"/>
                  </a:lnTo>
                  <a:lnTo>
                    <a:pt x="1612" y="3656"/>
                  </a:lnTo>
                  <a:lnTo>
                    <a:pt x="1598" y="3656"/>
                  </a:lnTo>
                  <a:lnTo>
                    <a:pt x="1598" y="3656"/>
                  </a:lnTo>
                  <a:lnTo>
                    <a:pt x="1590" y="3656"/>
                  </a:lnTo>
                  <a:lnTo>
                    <a:pt x="1590" y="3656"/>
                  </a:lnTo>
                  <a:lnTo>
                    <a:pt x="1590" y="3656"/>
                  </a:lnTo>
                  <a:lnTo>
                    <a:pt x="1583" y="3663"/>
                  </a:lnTo>
                  <a:lnTo>
                    <a:pt x="1576" y="3663"/>
                  </a:lnTo>
                  <a:lnTo>
                    <a:pt x="1576" y="3670"/>
                  </a:lnTo>
                  <a:lnTo>
                    <a:pt x="1576" y="3670"/>
                  </a:lnTo>
                  <a:lnTo>
                    <a:pt x="1576" y="3670"/>
                  </a:lnTo>
                  <a:lnTo>
                    <a:pt x="1576" y="3677"/>
                  </a:lnTo>
                  <a:lnTo>
                    <a:pt x="1576" y="3677"/>
                  </a:lnTo>
                  <a:lnTo>
                    <a:pt x="1569" y="3677"/>
                  </a:lnTo>
                  <a:lnTo>
                    <a:pt x="1569" y="3677"/>
                  </a:lnTo>
                  <a:lnTo>
                    <a:pt x="1569" y="3677"/>
                  </a:lnTo>
                  <a:lnTo>
                    <a:pt x="1569" y="3685"/>
                  </a:lnTo>
                  <a:lnTo>
                    <a:pt x="1569" y="3685"/>
                  </a:lnTo>
                  <a:lnTo>
                    <a:pt x="1569" y="3692"/>
                  </a:lnTo>
                  <a:lnTo>
                    <a:pt x="1569" y="3699"/>
                  </a:lnTo>
                  <a:lnTo>
                    <a:pt x="1576" y="3699"/>
                  </a:lnTo>
                  <a:lnTo>
                    <a:pt x="1569" y="3706"/>
                  </a:lnTo>
                  <a:lnTo>
                    <a:pt x="1562" y="3713"/>
                  </a:lnTo>
                  <a:lnTo>
                    <a:pt x="1555" y="3720"/>
                  </a:lnTo>
                  <a:lnTo>
                    <a:pt x="1555" y="3727"/>
                  </a:lnTo>
                  <a:lnTo>
                    <a:pt x="1548" y="3734"/>
                  </a:lnTo>
                  <a:lnTo>
                    <a:pt x="1548" y="3734"/>
                  </a:lnTo>
                  <a:lnTo>
                    <a:pt x="1548" y="3734"/>
                  </a:lnTo>
                  <a:lnTo>
                    <a:pt x="1548" y="3741"/>
                  </a:lnTo>
                  <a:lnTo>
                    <a:pt x="1541" y="3741"/>
                  </a:lnTo>
                  <a:lnTo>
                    <a:pt x="1534" y="3756"/>
                  </a:lnTo>
                  <a:lnTo>
                    <a:pt x="1534" y="3756"/>
                  </a:lnTo>
                  <a:lnTo>
                    <a:pt x="1534" y="3763"/>
                  </a:lnTo>
                  <a:lnTo>
                    <a:pt x="1534" y="3763"/>
                  </a:lnTo>
                  <a:lnTo>
                    <a:pt x="1534" y="3763"/>
                  </a:lnTo>
                  <a:lnTo>
                    <a:pt x="1527" y="3763"/>
                  </a:lnTo>
                  <a:lnTo>
                    <a:pt x="1527" y="3763"/>
                  </a:lnTo>
                  <a:lnTo>
                    <a:pt x="1527" y="3770"/>
                  </a:lnTo>
                  <a:lnTo>
                    <a:pt x="1527" y="3770"/>
                  </a:lnTo>
                  <a:lnTo>
                    <a:pt x="1527" y="3770"/>
                  </a:lnTo>
                  <a:lnTo>
                    <a:pt x="1527" y="3777"/>
                  </a:lnTo>
                  <a:lnTo>
                    <a:pt x="1519" y="3784"/>
                  </a:lnTo>
                  <a:lnTo>
                    <a:pt x="1519" y="3791"/>
                  </a:lnTo>
                  <a:lnTo>
                    <a:pt x="1527" y="3798"/>
                  </a:lnTo>
                  <a:lnTo>
                    <a:pt x="1527" y="3798"/>
                  </a:lnTo>
                  <a:lnTo>
                    <a:pt x="1541" y="3812"/>
                  </a:lnTo>
                  <a:lnTo>
                    <a:pt x="1548" y="3812"/>
                  </a:lnTo>
                  <a:lnTo>
                    <a:pt x="1555" y="3812"/>
                  </a:lnTo>
                  <a:lnTo>
                    <a:pt x="1569" y="3812"/>
                  </a:lnTo>
                  <a:lnTo>
                    <a:pt x="1576" y="3812"/>
                  </a:lnTo>
                  <a:lnTo>
                    <a:pt x="1576" y="3812"/>
                  </a:lnTo>
                  <a:lnTo>
                    <a:pt x="1583" y="3805"/>
                  </a:lnTo>
                  <a:lnTo>
                    <a:pt x="1583" y="3812"/>
                  </a:lnTo>
                  <a:lnTo>
                    <a:pt x="1583" y="3812"/>
                  </a:lnTo>
                  <a:lnTo>
                    <a:pt x="1583" y="3812"/>
                  </a:lnTo>
                  <a:lnTo>
                    <a:pt x="1583" y="3812"/>
                  </a:lnTo>
                  <a:lnTo>
                    <a:pt x="1583" y="3812"/>
                  </a:lnTo>
                  <a:lnTo>
                    <a:pt x="1583" y="3819"/>
                  </a:lnTo>
                  <a:lnTo>
                    <a:pt x="1583" y="3819"/>
                  </a:lnTo>
                  <a:lnTo>
                    <a:pt x="1583" y="3819"/>
                  </a:lnTo>
                  <a:lnTo>
                    <a:pt x="1583" y="3819"/>
                  </a:lnTo>
                  <a:lnTo>
                    <a:pt x="1590" y="3819"/>
                  </a:lnTo>
                  <a:lnTo>
                    <a:pt x="1590" y="3819"/>
                  </a:lnTo>
                  <a:lnTo>
                    <a:pt x="1598" y="3826"/>
                  </a:lnTo>
                  <a:lnTo>
                    <a:pt x="1605" y="3834"/>
                  </a:lnTo>
                  <a:lnTo>
                    <a:pt x="1598" y="3834"/>
                  </a:lnTo>
                  <a:lnTo>
                    <a:pt x="1598" y="3834"/>
                  </a:lnTo>
                  <a:lnTo>
                    <a:pt x="1590" y="3826"/>
                  </a:lnTo>
                  <a:lnTo>
                    <a:pt x="1576" y="3819"/>
                  </a:lnTo>
                  <a:lnTo>
                    <a:pt x="1569" y="3819"/>
                  </a:lnTo>
                  <a:lnTo>
                    <a:pt x="1569" y="3819"/>
                  </a:lnTo>
                  <a:lnTo>
                    <a:pt x="1562" y="3819"/>
                  </a:lnTo>
                  <a:lnTo>
                    <a:pt x="1562" y="3819"/>
                  </a:lnTo>
                  <a:lnTo>
                    <a:pt x="1562" y="3812"/>
                  </a:lnTo>
                  <a:lnTo>
                    <a:pt x="1555" y="3819"/>
                  </a:lnTo>
                  <a:lnTo>
                    <a:pt x="1548" y="3819"/>
                  </a:lnTo>
                  <a:lnTo>
                    <a:pt x="1548" y="3819"/>
                  </a:lnTo>
                  <a:lnTo>
                    <a:pt x="1541" y="3819"/>
                  </a:lnTo>
                  <a:lnTo>
                    <a:pt x="1541" y="3819"/>
                  </a:lnTo>
                  <a:lnTo>
                    <a:pt x="1534" y="3812"/>
                  </a:lnTo>
                  <a:lnTo>
                    <a:pt x="1527" y="3819"/>
                  </a:lnTo>
                  <a:lnTo>
                    <a:pt x="1527" y="3819"/>
                  </a:lnTo>
                  <a:lnTo>
                    <a:pt x="1527" y="3819"/>
                  </a:lnTo>
                  <a:lnTo>
                    <a:pt x="1519" y="3819"/>
                  </a:lnTo>
                  <a:lnTo>
                    <a:pt x="1519" y="3819"/>
                  </a:lnTo>
                  <a:lnTo>
                    <a:pt x="1519" y="3819"/>
                  </a:lnTo>
                  <a:lnTo>
                    <a:pt x="1519" y="3819"/>
                  </a:lnTo>
                  <a:lnTo>
                    <a:pt x="1512" y="3819"/>
                  </a:lnTo>
                  <a:lnTo>
                    <a:pt x="1512" y="3819"/>
                  </a:lnTo>
                  <a:lnTo>
                    <a:pt x="1505" y="3826"/>
                  </a:lnTo>
                  <a:lnTo>
                    <a:pt x="1505" y="3826"/>
                  </a:lnTo>
                  <a:lnTo>
                    <a:pt x="1498" y="3826"/>
                  </a:lnTo>
                  <a:lnTo>
                    <a:pt x="1498" y="3826"/>
                  </a:lnTo>
                  <a:lnTo>
                    <a:pt x="1498" y="3826"/>
                  </a:lnTo>
                  <a:lnTo>
                    <a:pt x="1498" y="3826"/>
                  </a:lnTo>
                  <a:lnTo>
                    <a:pt x="1484" y="3834"/>
                  </a:lnTo>
                  <a:lnTo>
                    <a:pt x="1484" y="3834"/>
                  </a:lnTo>
                  <a:lnTo>
                    <a:pt x="1484" y="3834"/>
                  </a:lnTo>
                  <a:lnTo>
                    <a:pt x="1484" y="3834"/>
                  </a:lnTo>
                  <a:lnTo>
                    <a:pt x="1484" y="3834"/>
                  </a:lnTo>
                  <a:lnTo>
                    <a:pt x="1477" y="3834"/>
                  </a:lnTo>
                  <a:lnTo>
                    <a:pt x="1456" y="3841"/>
                  </a:lnTo>
                  <a:lnTo>
                    <a:pt x="1456" y="3841"/>
                  </a:lnTo>
                  <a:lnTo>
                    <a:pt x="1448" y="3841"/>
                  </a:lnTo>
                  <a:lnTo>
                    <a:pt x="1441" y="3848"/>
                  </a:lnTo>
                  <a:lnTo>
                    <a:pt x="1420" y="3862"/>
                  </a:lnTo>
                  <a:lnTo>
                    <a:pt x="1420" y="3869"/>
                  </a:lnTo>
                  <a:lnTo>
                    <a:pt x="1413" y="3876"/>
                  </a:lnTo>
                  <a:lnTo>
                    <a:pt x="1413" y="3876"/>
                  </a:lnTo>
                  <a:lnTo>
                    <a:pt x="1413" y="3890"/>
                  </a:lnTo>
                  <a:lnTo>
                    <a:pt x="1413" y="3890"/>
                  </a:lnTo>
                  <a:lnTo>
                    <a:pt x="1413" y="3897"/>
                  </a:lnTo>
                  <a:lnTo>
                    <a:pt x="1413" y="3897"/>
                  </a:lnTo>
                  <a:lnTo>
                    <a:pt x="1413" y="3890"/>
                  </a:lnTo>
                  <a:lnTo>
                    <a:pt x="1420" y="3890"/>
                  </a:lnTo>
                  <a:lnTo>
                    <a:pt x="1420" y="3890"/>
                  </a:lnTo>
                  <a:lnTo>
                    <a:pt x="1420" y="3890"/>
                  </a:lnTo>
                  <a:lnTo>
                    <a:pt x="1420" y="3897"/>
                  </a:lnTo>
                  <a:lnTo>
                    <a:pt x="1413" y="3897"/>
                  </a:lnTo>
                  <a:lnTo>
                    <a:pt x="1413" y="3897"/>
                  </a:lnTo>
                  <a:lnTo>
                    <a:pt x="1413" y="3897"/>
                  </a:lnTo>
                  <a:lnTo>
                    <a:pt x="1413" y="3905"/>
                  </a:lnTo>
                  <a:lnTo>
                    <a:pt x="1406" y="3905"/>
                  </a:lnTo>
                  <a:lnTo>
                    <a:pt x="1406" y="3912"/>
                  </a:lnTo>
                  <a:lnTo>
                    <a:pt x="1406" y="3912"/>
                  </a:lnTo>
                  <a:lnTo>
                    <a:pt x="1406" y="3912"/>
                  </a:lnTo>
                  <a:lnTo>
                    <a:pt x="1406" y="3912"/>
                  </a:lnTo>
                  <a:lnTo>
                    <a:pt x="1406" y="3919"/>
                  </a:lnTo>
                  <a:lnTo>
                    <a:pt x="1406" y="3933"/>
                  </a:lnTo>
                  <a:lnTo>
                    <a:pt x="1406" y="3940"/>
                  </a:lnTo>
                  <a:lnTo>
                    <a:pt x="1406" y="3940"/>
                  </a:lnTo>
                  <a:lnTo>
                    <a:pt x="1399" y="3940"/>
                  </a:lnTo>
                  <a:lnTo>
                    <a:pt x="1399" y="3947"/>
                  </a:lnTo>
                  <a:lnTo>
                    <a:pt x="1399" y="3954"/>
                  </a:lnTo>
                  <a:lnTo>
                    <a:pt x="1399" y="3954"/>
                  </a:lnTo>
                  <a:lnTo>
                    <a:pt x="1392" y="3954"/>
                  </a:lnTo>
                  <a:lnTo>
                    <a:pt x="1385" y="3954"/>
                  </a:lnTo>
                  <a:lnTo>
                    <a:pt x="1356" y="3976"/>
                  </a:lnTo>
                  <a:lnTo>
                    <a:pt x="1356" y="3976"/>
                  </a:lnTo>
                  <a:lnTo>
                    <a:pt x="1356" y="3983"/>
                  </a:lnTo>
                  <a:lnTo>
                    <a:pt x="1349" y="3983"/>
                  </a:lnTo>
                  <a:lnTo>
                    <a:pt x="1335" y="3990"/>
                  </a:lnTo>
                  <a:lnTo>
                    <a:pt x="1328" y="3990"/>
                  </a:lnTo>
                  <a:lnTo>
                    <a:pt x="1321" y="3990"/>
                  </a:lnTo>
                  <a:lnTo>
                    <a:pt x="1321" y="3997"/>
                  </a:lnTo>
                  <a:lnTo>
                    <a:pt x="1314" y="3997"/>
                  </a:lnTo>
                  <a:lnTo>
                    <a:pt x="1307" y="3997"/>
                  </a:lnTo>
                  <a:lnTo>
                    <a:pt x="1285" y="3990"/>
                  </a:lnTo>
                  <a:lnTo>
                    <a:pt x="1285" y="3990"/>
                  </a:lnTo>
                  <a:lnTo>
                    <a:pt x="1285" y="3990"/>
                  </a:lnTo>
                  <a:lnTo>
                    <a:pt x="1285" y="3990"/>
                  </a:lnTo>
                  <a:lnTo>
                    <a:pt x="1278" y="3983"/>
                  </a:lnTo>
                  <a:lnTo>
                    <a:pt x="1278" y="3983"/>
                  </a:lnTo>
                  <a:lnTo>
                    <a:pt x="1271" y="3983"/>
                  </a:lnTo>
                  <a:lnTo>
                    <a:pt x="1257" y="3968"/>
                  </a:lnTo>
                  <a:lnTo>
                    <a:pt x="1236" y="3954"/>
                  </a:lnTo>
                  <a:lnTo>
                    <a:pt x="1236" y="3947"/>
                  </a:lnTo>
                  <a:lnTo>
                    <a:pt x="1221" y="3933"/>
                  </a:lnTo>
                  <a:lnTo>
                    <a:pt x="1214" y="3926"/>
                  </a:lnTo>
                  <a:lnTo>
                    <a:pt x="1214" y="3919"/>
                  </a:lnTo>
                  <a:lnTo>
                    <a:pt x="1200" y="3905"/>
                  </a:lnTo>
                  <a:lnTo>
                    <a:pt x="1200" y="3905"/>
                  </a:lnTo>
                  <a:lnTo>
                    <a:pt x="1193" y="3897"/>
                  </a:lnTo>
                  <a:lnTo>
                    <a:pt x="1186" y="3890"/>
                  </a:lnTo>
                  <a:lnTo>
                    <a:pt x="1186" y="3890"/>
                  </a:lnTo>
                  <a:lnTo>
                    <a:pt x="1172" y="3876"/>
                  </a:lnTo>
                  <a:lnTo>
                    <a:pt x="1172" y="3876"/>
                  </a:lnTo>
                  <a:lnTo>
                    <a:pt x="1172" y="3869"/>
                  </a:lnTo>
                  <a:lnTo>
                    <a:pt x="1172" y="3869"/>
                  </a:lnTo>
                  <a:lnTo>
                    <a:pt x="1179" y="3876"/>
                  </a:lnTo>
                  <a:lnTo>
                    <a:pt x="1179" y="3876"/>
                  </a:lnTo>
                  <a:lnTo>
                    <a:pt x="1179" y="3876"/>
                  </a:lnTo>
                  <a:lnTo>
                    <a:pt x="1179" y="3869"/>
                  </a:lnTo>
                  <a:lnTo>
                    <a:pt x="1179" y="3869"/>
                  </a:lnTo>
                  <a:lnTo>
                    <a:pt x="1179" y="3869"/>
                  </a:lnTo>
                  <a:lnTo>
                    <a:pt x="1179" y="3869"/>
                  </a:lnTo>
                  <a:lnTo>
                    <a:pt x="1172" y="3869"/>
                  </a:lnTo>
                  <a:lnTo>
                    <a:pt x="1179" y="3869"/>
                  </a:lnTo>
                  <a:lnTo>
                    <a:pt x="1179" y="3869"/>
                  </a:lnTo>
                  <a:lnTo>
                    <a:pt x="1179" y="3862"/>
                  </a:lnTo>
                  <a:lnTo>
                    <a:pt x="1179" y="3862"/>
                  </a:lnTo>
                  <a:lnTo>
                    <a:pt x="1186" y="3862"/>
                  </a:lnTo>
                  <a:lnTo>
                    <a:pt x="1186" y="3862"/>
                  </a:lnTo>
                  <a:lnTo>
                    <a:pt x="1186" y="3862"/>
                  </a:lnTo>
                  <a:lnTo>
                    <a:pt x="1186" y="3862"/>
                  </a:lnTo>
                  <a:lnTo>
                    <a:pt x="1186" y="3862"/>
                  </a:lnTo>
                  <a:lnTo>
                    <a:pt x="1186" y="3862"/>
                  </a:lnTo>
                  <a:lnTo>
                    <a:pt x="1186" y="3862"/>
                  </a:lnTo>
                  <a:lnTo>
                    <a:pt x="1186" y="3862"/>
                  </a:lnTo>
                  <a:lnTo>
                    <a:pt x="1186" y="3862"/>
                  </a:lnTo>
                  <a:lnTo>
                    <a:pt x="1186" y="3862"/>
                  </a:lnTo>
                  <a:lnTo>
                    <a:pt x="1186" y="3862"/>
                  </a:lnTo>
                  <a:lnTo>
                    <a:pt x="1186" y="3862"/>
                  </a:lnTo>
                  <a:lnTo>
                    <a:pt x="1186" y="3862"/>
                  </a:lnTo>
                  <a:lnTo>
                    <a:pt x="1179" y="3862"/>
                  </a:lnTo>
                  <a:lnTo>
                    <a:pt x="1179" y="3862"/>
                  </a:lnTo>
                  <a:lnTo>
                    <a:pt x="1179" y="3862"/>
                  </a:lnTo>
                  <a:lnTo>
                    <a:pt x="1179" y="3862"/>
                  </a:lnTo>
                  <a:lnTo>
                    <a:pt x="1172" y="3869"/>
                  </a:lnTo>
                  <a:lnTo>
                    <a:pt x="1172" y="3869"/>
                  </a:lnTo>
                  <a:lnTo>
                    <a:pt x="1172" y="3862"/>
                  </a:lnTo>
                  <a:lnTo>
                    <a:pt x="1172" y="3862"/>
                  </a:lnTo>
                  <a:lnTo>
                    <a:pt x="1172" y="3862"/>
                  </a:lnTo>
                  <a:lnTo>
                    <a:pt x="1172" y="3862"/>
                  </a:lnTo>
                  <a:lnTo>
                    <a:pt x="1172" y="3862"/>
                  </a:lnTo>
                  <a:lnTo>
                    <a:pt x="1172" y="3862"/>
                  </a:lnTo>
                  <a:lnTo>
                    <a:pt x="1172" y="3869"/>
                  </a:lnTo>
                  <a:lnTo>
                    <a:pt x="1172" y="3869"/>
                  </a:lnTo>
                  <a:lnTo>
                    <a:pt x="1172" y="3869"/>
                  </a:lnTo>
                  <a:lnTo>
                    <a:pt x="1165" y="3869"/>
                  </a:lnTo>
                  <a:lnTo>
                    <a:pt x="1165" y="3862"/>
                  </a:lnTo>
                  <a:lnTo>
                    <a:pt x="1165" y="3862"/>
                  </a:lnTo>
                  <a:lnTo>
                    <a:pt x="1165" y="3862"/>
                  </a:lnTo>
                  <a:lnTo>
                    <a:pt x="1165" y="3855"/>
                  </a:lnTo>
                  <a:lnTo>
                    <a:pt x="1165" y="3855"/>
                  </a:lnTo>
                  <a:lnTo>
                    <a:pt x="1157" y="3841"/>
                  </a:lnTo>
                  <a:lnTo>
                    <a:pt x="1157" y="3841"/>
                  </a:lnTo>
                  <a:lnTo>
                    <a:pt x="1157" y="3841"/>
                  </a:lnTo>
                  <a:lnTo>
                    <a:pt x="1157" y="3841"/>
                  </a:lnTo>
                  <a:lnTo>
                    <a:pt x="1157" y="3841"/>
                  </a:lnTo>
                  <a:lnTo>
                    <a:pt x="1157" y="3841"/>
                  </a:lnTo>
                  <a:lnTo>
                    <a:pt x="1157" y="3841"/>
                  </a:lnTo>
                  <a:lnTo>
                    <a:pt x="1157" y="3841"/>
                  </a:lnTo>
                  <a:lnTo>
                    <a:pt x="1165" y="3834"/>
                  </a:lnTo>
                  <a:lnTo>
                    <a:pt x="1157" y="3834"/>
                  </a:lnTo>
                  <a:lnTo>
                    <a:pt x="1157" y="3834"/>
                  </a:lnTo>
                  <a:lnTo>
                    <a:pt x="1157" y="3841"/>
                  </a:lnTo>
                  <a:lnTo>
                    <a:pt x="1157" y="3841"/>
                  </a:lnTo>
                  <a:lnTo>
                    <a:pt x="1157" y="3826"/>
                  </a:lnTo>
                  <a:lnTo>
                    <a:pt x="1150" y="3826"/>
                  </a:lnTo>
                  <a:lnTo>
                    <a:pt x="1150" y="3826"/>
                  </a:lnTo>
                  <a:lnTo>
                    <a:pt x="1150" y="3826"/>
                  </a:lnTo>
                  <a:lnTo>
                    <a:pt x="1157" y="3834"/>
                  </a:lnTo>
                  <a:lnTo>
                    <a:pt x="1157" y="3841"/>
                  </a:lnTo>
                  <a:lnTo>
                    <a:pt x="1157" y="3841"/>
                  </a:lnTo>
                  <a:lnTo>
                    <a:pt x="1143" y="3812"/>
                  </a:lnTo>
                  <a:lnTo>
                    <a:pt x="1136" y="3784"/>
                  </a:lnTo>
                  <a:lnTo>
                    <a:pt x="1136" y="3763"/>
                  </a:lnTo>
                  <a:lnTo>
                    <a:pt x="1136" y="3763"/>
                  </a:lnTo>
                  <a:lnTo>
                    <a:pt x="1129" y="3741"/>
                  </a:lnTo>
                  <a:lnTo>
                    <a:pt x="1129" y="3727"/>
                  </a:lnTo>
                  <a:lnTo>
                    <a:pt x="1129" y="3727"/>
                  </a:lnTo>
                  <a:lnTo>
                    <a:pt x="1122" y="3720"/>
                  </a:lnTo>
                  <a:lnTo>
                    <a:pt x="1122" y="3720"/>
                  </a:lnTo>
                  <a:lnTo>
                    <a:pt x="1129" y="3713"/>
                  </a:lnTo>
                  <a:lnTo>
                    <a:pt x="1129" y="3720"/>
                  </a:lnTo>
                  <a:lnTo>
                    <a:pt x="1129" y="3720"/>
                  </a:lnTo>
                  <a:lnTo>
                    <a:pt x="1136" y="3727"/>
                  </a:lnTo>
                  <a:lnTo>
                    <a:pt x="1129" y="3727"/>
                  </a:lnTo>
                  <a:lnTo>
                    <a:pt x="1129" y="3720"/>
                  </a:lnTo>
                  <a:lnTo>
                    <a:pt x="1129" y="3727"/>
                  </a:lnTo>
                  <a:lnTo>
                    <a:pt x="1129" y="3727"/>
                  </a:lnTo>
                  <a:lnTo>
                    <a:pt x="1129" y="3727"/>
                  </a:lnTo>
                  <a:lnTo>
                    <a:pt x="1129" y="3727"/>
                  </a:lnTo>
                  <a:lnTo>
                    <a:pt x="1129" y="3727"/>
                  </a:lnTo>
                  <a:lnTo>
                    <a:pt x="1129" y="3727"/>
                  </a:lnTo>
                  <a:lnTo>
                    <a:pt x="1129" y="3727"/>
                  </a:lnTo>
                  <a:lnTo>
                    <a:pt x="1129" y="3727"/>
                  </a:lnTo>
                  <a:lnTo>
                    <a:pt x="1129" y="3734"/>
                  </a:lnTo>
                  <a:lnTo>
                    <a:pt x="1129" y="3734"/>
                  </a:lnTo>
                  <a:lnTo>
                    <a:pt x="1129" y="3734"/>
                  </a:lnTo>
                  <a:lnTo>
                    <a:pt x="1129" y="3734"/>
                  </a:lnTo>
                  <a:lnTo>
                    <a:pt x="1136" y="3734"/>
                  </a:lnTo>
                  <a:lnTo>
                    <a:pt x="1136" y="3734"/>
                  </a:lnTo>
                  <a:lnTo>
                    <a:pt x="1136" y="3727"/>
                  </a:lnTo>
                  <a:lnTo>
                    <a:pt x="1136" y="3727"/>
                  </a:lnTo>
                  <a:lnTo>
                    <a:pt x="1136" y="3734"/>
                  </a:lnTo>
                  <a:lnTo>
                    <a:pt x="1143" y="3756"/>
                  </a:lnTo>
                  <a:lnTo>
                    <a:pt x="1143" y="3756"/>
                  </a:lnTo>
                  <a:lnTo>
                    <a:pt x="1143" y="3748"/>
                  </a:lnTo>
                  <a:lnTo>
                    <a:pt x="1136" y="3741"/>
                  </a:lnTo>
                  <a:lnTo>
                    <a:pt x="1143" y="3734"/>
                  </a:lnTo>
                  <a:lnTo>
                    <a:pt x="1136" y="3734"/>
                  </a:lnTo>
                  <a:lnTo>
                    <a:pt x="1136" y="3734"/>
                  </a:lnTo>
                  <a:lnTo>
                    <a:pt x="1136" y="3727"/>
                  </a:lnTo>
                  <a:lnTo>
                    <a:pt x="1136" y="3734"/>
                  </a:lnTo>
                  <a:lnTo>
                    <a:pt x="1143" y="3734"/>
                  </a:lnTo>
                  <a:lnTo>
                    <a:pt x="1143" y="3734"/>
                  </a:lnTo>
                  <a:lnTo>
                    <a:pt x="1143" y="3741"/>
                  </a:lnTo>
                  <a:lnTo>
                    <a:pt x="1143" y="3741"/>
                  </a:lnTo>
                  <a:lnTo>
                    <a:pt x="1143" y="3741"/>
                  </a:lnTo>
                  <a:lnTo>
                    <a:pt x="1143" y="3756"/>
                  </a:lnTo>
                  <a:lnTo>
                    <a:pt x="1143" y="3756"/>
                  </a:lnTo>
                  <a:lnTo>
                    <a:pt x="1150" y="3756"/>
                  </a:lnTo>
                  <a:lnTo>
                    <a:pt x="1150" y="3763"/>
                  </a:lnTo>
                  <a:lnTo>
                    <a:pt x="1150" y="3763"/>
                  </a:lnTo>
                  <a:lnTo>
                    <a:pt x="1143" y="3763"/>
                  </a:lnTo>
                  <a:lnTo>
                    <a:pt x="1143" y="3770"/>
                  </a:lnTo>
                  <a:lnTo>
                    <a:pt x="1143" y="3777"/>
                  </a:lnTo>
                  <a:lnTo>
                    <a:pt x="1143" y="3784"/>
                  </a:lnTo>
                  <a:lnTo>
                    <a:pt x="1143" y="3784"/>
                  </a:lnTo>
                  <a:lnTo>
                    <a:pt x="1150" y="3784"/>
                  </a:lnTo>
                  <a:lnTo>
                    <a:pt x="1157" y="3784"/>
                  </a:lnTo>
                  <a:lnTo>
                    <a:pt x="1157" y="3784"/>
                  </a:lnTo>
                  <a:lnTo>
                    <a:pt x="1157" y="3784"/>
                  </a:lnTo>
                  <a:lnTo>
                    <a:pt x="1165" y="3777"/>
                  </a:lnTo>
                  <a:lnTo>
                    <a:pt x="1165" y="3777"/>
                  </a:lnTo>
                  <a:lnTo>
                    <a:pt x="1157" y="3777"/>
                  </a:lnTo>
                  <a:lnTo>
                    <a:pt x="1157" y="3777"/>
                  </a:lnTo>
                  <a:lnTo>
                    <a:pt x="1150" y="3777"/>
                  </a:lnTo>
                  <a:lnTo>
                    <a:pt x="1150" y="3777"/>
                  </a:lnTo>
                  <a:lnTo>
                    <a:pt x="1150" y="3777"/>
                  </a:lnTo>
                  <a:lnTo>
                    <a:pt x="1150" y="3770"/>
                  </a:lnTo>
                  <a:lnTo>
                    <a:pt x="1150" y="3770"/>
                  </a:lnTo>
                  <a:lnTo>
                    <a:pt x="1150" y="3763"/>
                  </a:lnTo>
                  <a:lnTo>
                    <a:pt x="1150" y="3756"/>
                  </a:lnTo>
                  <a:lnTo>
                    <a:pt x="1150" y="3756"/>
                  </a:lnTo>
                  <a:lnTo>
                    <a:pt x="1150" y="3756"/>
                  </a:lnTo>
                  <a:lnTo>
                    <a:pt x="1150" y="3756"/>
                  </a:lnTo>
                  <a:lnTo>
                    <a:pt x="1150" y="3756"/>
                  </a:lnTo>
                  <a:lnTo>
                    <a:pt x="1150" y="3748"/>
                  </a:lnTo>
                  <a:lnTo>
                    <a:pt x="1150" y="3748"/>
                  </a:lnTo>
                  <a:lnTo>
                    <a:pt x="1150" y="3748"/>
                  </a:lnTo>
                  <a:lnTo>
                    <a:pt x="1143" y="3741"/>
                  </a:lnTo>
                  <a:lnTo>
                    <a:pt x="1143" y="3741"/>
                  </a:lnTo>
                  <a:lnTo>
                    <a:pt x="1143" y="3741"/>
                  </a:lnTo>
                  <a:lnTo>
                    <a:pt x="1150" y="3741"/>
                  </a:lnTo>
                  <a:lnTo>
                    <a:pt x="1150" y="3734"/>
                  </a:lnTo>
                  <a:lnTo>
                    <a:pt x="1150" y="3734"/>
                  </a:lnTo>
                  <a:lnTo>
                    <a:pt x="1143" y="3734"/>
                  </a:lnTo>
                  <a:lnTo>
                    <a:pt x="1143" y="3727"/>
                  </a:lnTo>
                  <a:lnTo>
                    <a:pt x="1143" y="3720"/>
                  </a:lnTo>
                  <a:lnTo>
                    <a:pt x="1136" y="3720"/>
                  </a:lnTo>
                  <a:lnTo>
                    <a:pt x="1136" y="3713"/>
                  </a:lnTo>
                  <a:lnTo>
                    <a:pt x="1136" y="3720"/>
                  </a:lnTo>
                  <a:lnTo>
                    <a:pt x="1129" y="3713"/>
                  </a:lnTo>
                  <a:lnTo>
                    <a:pt x="1129" y="3706"/>
                  </a:lnTo>
                  <a:lnTo>
                    <a:pt x="1129" y="3706"/>
                  </a:lnTo>
                  <a:lnTo>
                    <a:pt x="1129" y="3706"/>
                  </a:lnTo>
                  <a:lnTo>
                    <a:pt x="1129" y="3692"/>
                  </a:lnTo>
                  <a:lnTo>
                    <a:pt x="1122" y="3692"/>
                  </a:lnTo>
                  <a:lnTo>
                    <a:pt x="1122" y="3692"/>
                  </a:lnTo>
                  <a:lnTo>
                    <a:pt x="1122" y="3692"/>
                  </a:lnTo>
                  <a:lnTo>
                    <a:pt x="1122" y="3692"/>
                  </a:lnTo>
                  <a:lnTo>
                    <a:pt x="1122" y="3692"/>
                  </a:lnTo>
                  <a:lnTo>
                    <a:pt x="1122" y="3699"/>
                  </a:lnTo>
                  <a:lnTo>
                    <a:pt x="1122" y="3699"/>
                  </a:lnTo>
                  <a:lnTo>
                    <a:pt x="1122" y="3699"/>
                  </a:lnTo>
                  <a:lnTo>
                    <a:pt x="1122" y="3706"/>
                  </a:lnTo>
                  <a:lnTo>
                    <a:pt x="1122" y="3706"/>
                  </a:lnTo>
                  <a:lnTo>
                    <a:pt x="1122" y="3713"/>
                  </a:lnTo>
                  <a:lnTo>
                    <a:pt x="1122" y="3713"/>
                  </a:lnTo>
                  <a:lnTo>
                    <a:pt x="1122" y="3706"/>
                  </a:lnTo>
                  <a:lnTo>
                    <a:pt x="1115" y="3692"/>
                  </a:lnTo>
                  <a:lnTo>
                    <a:pt x="1115" y="3692"/>
                  </a:lnTo>
                  <a:lnTo>
                    <a:pt x="1115" y="3692"/>
                  </a:lnTo>
                  <a:lnTo>
                    <a:pt x="1115" y="3692"/>
                  </a:lnTo>
                  <a:lnTo>
                    <a:pt x="1115" y="3685"/>
                  </a:lnTo>
                  <a:lnTo>
                    <a:pt x="1115" y="3685"/>
                  </a:lnTo>
                  <a:lnTo>
                    <a:pt x="1122" y="3677"/>
                  </a:lnTo>
                  <a:lnTo>
                    <a:pt x="1122" y="3677"/>
                  </a:lnTo>
                  <a:lnTo>
                    <a:pt x="1122" y="3677"/>
                  </a:lnTo>
                  <a:lnTo>
                    <a:pt x="1122" y="3677"/>
                  </a:lnTo>
                  <a:lnTo>
                    <a:pt x="1122" y="3677"/>
                  </a:lnTo>
                  <a:lnTo>
                    <a:pt x="1122" y="3677"/>
                  </a:lnTo>
                  <a:lnTo>
                    <a:pt x="1122" y="3677"/>
                  </a:lnTo>
                  <a:lnTo>
                    <a:pt x="1122" y="3677"/>
                  </a:lnTo>
                  <a:lnTo>
                    <a:pt x="1122" y="3677"/>
                  </a:lnTo>
                  <a:lnTo>
                    <a:pt x="1122" y="3670"/>
                  </a:lnTo>
                  <a:lnTo>
                    <a:pt x="1122" y="3670"/>
                  </a:lnTo>
                  <a:lnTo>
                    <a:pt x="1115" y="3670"/>
                  </a:lnTo>
                  <a:lnTo>
                    <a:pt x="1122" y="3677"/>
                  </a:lnTo>
                  <a:lnTo>
                    <a:pt x="1122" y="3677"/>
                  </a:lnTo>
                  <a:lnTo>
                    <a:pt x="1122" y="3677"/>
                  </a:lnTo>
                  <a:lnTo>
                    <a:pt x="1115" y="3685"/>
                  </a:lnTo>
                  <a:lnTo>
                    <a:pt x="1115" y="3677"/>
                  </a:lnTo>
                  <a:lnTo>
                    <a:pt x="1115" y="3677"/>
                  </a:lnTo>
                  <a:lnTo>
                    <a:pt x="1115" y="3677"/>
                  </a:lnTo>
                  <a:lnTo>
                    <a:pt x="1108" y="3670"/>
                  </a:lnTo>
                  <a:lnTo>
                    <a:pt x="1108" y="3656"/>
                  </a:lnTo>
                  <a:lnTo>
                    <a:pt x="1108" y="3649"/>
                  </a:lnTo>
                  <a:lnTo>
                    <a:pt x="1101" y="3642"/>
                  </a:lnTo>
                  <a:lnTo>
                    <a:pt x="1101" y="3642"/>
                  </a:lnTo>
                  <a:lnTo>
                    <a:pt x="1101" y="3642"/>
                  </a:lnTo>
                  <a:lnTo>
                    <a:pt x="1094" y="3635"/>
                  </a:lnTo>
                  <a:lnTo>
                    <a:pt x="1094" y="3628"/>
                  </a:lnTo>
                  <a:lnTo>
                    <a:pt x="1094" y="3628"/>
                  </a:lnTo>
                  <a:lnTo>
                    <a:pt x="1094" y="3628"/>
                  </a:lnTo>
                  <a:lnTo>
                    <a:pt x="1086" y="3621"/>
                  </a:lnTo>
                  <a:lnTo>
                    <a:pt x="1079" y="3599"/>
                  </a:lnTo>
                  <a:lnTo>
                    <a:pt x="1079" y="3599"/>
                  </a:lnTo>
                  <a:lnTo>
                    <a:pt x="1079" y="3599"/>
                  </a:lnTo>
                  <a:lnTo>
                    <a:pt x="1079" y="3599"/>
                  </a:lnTo>
                  <a:lnTo>
                    <a:pt x="1079" y="3592"/>
                  </a:lnTo>
                  <a:lnTo>
                    <a:pt x="1079" y="3592"/>
                  </a:lnTo>
                  <a:lnTo>
                    <a:pt x="1079" y="3592"/>
                  </a:lnTo>
                  <a:lnTo>
                    <a:pt x="1079" y="3592"/>
                  </a:lnTo>
                  <a:lnTo>
                    <a:pt x="1079" y="3592"/>
                  </a:lnTo>
                  <a:lnTo>
                    <a:pt x="1079" y="3585"/>
                  </a:lnTo>
                  <a:lnTo>
                    <a:pt x="1072" y="3585"/>
                  </a:lnTo>
                  <a:lnTo>
                    <a:pt x="1072" y="3571"/>
                  </a:lnTo>
                  <a:lnTo>
                    <a:pt x="1065" y="3543"/>
                  </a:lnTo>
                  <a:lnTo>
                    <a:pt x="1051" y="3514"/>
                  </a:lnTo>
                  <a:lnTo>
                    <a:pt x="1051" y="3514"/>
                  </a:lnTo>
                  <a:lnTo>
                    <a:pt x="1051" y="3514"/>
                  </a:lnTo>
                  <a:lnTo>
                    <a:pt x="1051" y="3507"/>
                  </a:lnTo>
                  <a:lnTo>
                    <a:pt x="1051" y="3507"/>
                  </a:lnTo>
                  <a:lnTo>
                    <a:pt x="1051" y="3507"/>
                  </a:lnTo>
                  <a:lnTo>
                    <a:pt x="1051" y="3507"/>
                  </a:lnTo>
                  <a:lnTo>
                    <a:pt x="1051" y="3507"/>
                  </a:lnTo>
                  <a:lnTo>
                    <a:pt x="1051" y="3507"/>
                  </a:lnTo>
                  <a:lnTo>
                    <a:pt x="1044" y="3500"/>
                  </a:lnTo>
                  <a:lnTo>
                    <a:pt x="1044" y="3500"/>
                  </a:lnTo>
                  <a:lnTo>
                    <a:pt x="1044" y="3493"/>
                  </a:lnTo>
                  <a:lnTo>
                    <a:pt x="1037" y="3493"/>
                  </a:lnTo>
                  <a:lnTo>
                    <a:pt x="1037" y="3493"/>
                  </a:lnTo>
                  <a:lnTo>
                    <a:pt x="1037" y="3486"/>
                  </a:lnTo>
                  <a:lnTo>
                    <a:pt x="1030" y="3486"/>
                  </a:lnTo>
                  <a:lnTo>
                    <a:pt x="1030" y="3486"/>
                  </a:lnTo>
                  <a:lnTo>
                    <a:pt x="1030" y="3486"/>
                  </a:lnTo>
                  <a:lnTo>
                    <a:pt x="1030" y="3479"/>
                  </a:lnTo>
                  <a:lnTo>
                    <a:pt x="1030" y="3479"/>
                  </a:lnTo>
                  <a:lnTo>
                    <a:pt x="1030" y="3472"/>
                  </a:lnTo>
                  <a:lnTo>
                    <a:pt x="1023" y="3457"/>
                  </a:lnTo>
                  <a:lnTo>
                    <a:pt x="1015" y="3450"/>
                  </a:lnTo>
                  <a:lnTo>
                    <a:pt x="994" y="3429"/>
                  </a:lnTo>
                  <a:lnTo>
                    <a:pt x="994" y="3429"/>
                  </a:lnTo>
                  <a:lnTo>
                    <a:pt x="994" y="3429"/>
                  </a:lnTo>
                  <a:lnTo>
                    <a:pt x="994" y="3429"/>
                  </a:lnTo>
                  <a:lnTo>
                    <a:pt x="994" y="3429"/>
                  </a:lnTo>
                  <a:lnTo>
                    <a:pt x="987" y="3422"/>
                  </a:lnTo>
                  <a:lnTo>
                    <a:pt x="987" y="3422"/>
                  </a:lnTo>
                  <a:lnTo>
                    <a:pt x="987" y="3422"/>
                  </a:lnTo>
                  <a:lnTo>
                    <a:pt x="1001" y="3422"/>
                  </a:lnTo>
                  <a:lnTo>
                    <a:pt x="1001" y="3422"/>
                  </a:lnTo>
                  <a:lnTo>
                    <a:pt x="1001" y="3422"/>
                  </a:lnTo>
                  <a:lnTo>
                    <a:pt x="994" y="3415"/>
                  </a:lnTo>
                  <a:lnTo>
                    <a:pt x="1001" y="3415"/>
                  </a:lnTo>
                  <a:lnTo>
                    <a:pt x="1001" y="3415"/>
                  </a:lnTo>
                  <a:lnTo>
                    <a:pt x="994" y="3415"/>
                  </a:lnTo>
                  <a:lnTo>
                    <a:pt x="994" y="3415"/>
                  </a:lnTo>
                  <a:lnTo>
                    <a:pt x="994" y="3415"/>
                  </a:lnTo>
                  <a:lnTo>
                    <a:pt x="987" y="3415"/>
                  </a:lnTo>
                  <a:lnTo>
                    <a:pt x="987" y="3415"/>
                  </a:lnTo>
                  <a:lnTo>
                    <a:pt x="987" y="3415"/>
                  </a:lnTo>
                  <a:lnTo>
                    <a:pt x="987" y="3415"/>
                  </a:lnTo>
                  <a:lnTo>
                    <a:pt x="980" y="3408"/>
                  </a:lnTo>
                  <a:lnTo>
                    <a:pt x="980" y="3408"/>
                  </a:lnTo>
                  <a:lnTo>
                    <a:pt x="987" y="3408"/>
                  </a:lnTo>
                  <a:lnTo>
                    <a:pt x="987" y="3408"/>
                  </a:lnTo>
                  <a:lnTo>
                    <a:pt x="987" y="3408"/>
                  </a:lnTo>
                  <a:lnTo>
                    <a:pt x="987" y="3401"/>
                  </a:lnTo>
                  <a:lnTo>
                    <a:pt x="980" y="3408"/>
                  </a:lnTo>
                  <a:lnTo>
                    <a:pt x="980" y="3408"/>
                  </a:lnTo>
                  <a:lnTo>
                    <a:pt x="980" y="3415"/>
                  </a:lnTo>
                  <a:lnTo>
                    <a:pt x="980" y="3408"/>
                  </a:lnTo>
                  <a:lnTo>
                    <a:pt x="980" y="3408"/>
                  </a:lnTo>
                  <a:lnTo>
                    <a:pt x="973" y="3408"/>
                  </a:lnTo>
                  <a:lnTo>
                    <a:pt x="973" y="3408"/>
                  </a:lnTo>
                  <a:lnTo>
                    <a:pt x="973" y="3408"/>
                  </a:lnTo>
                  <a:lnTo>
                    <a:pt x="973" y="3408"/>
                  </a:lnTo>
                  <a:lnTo>
                    <a:pt x="973" y="3408"/>
                  </a:lnTo>
                  <a:lnTo>
                    <a:pt x="973" y="3408"/>
                  </a:lnTo>
                  <a:lnTo>
                    <a:pt x="973" y="3408"/>
                  </a:lnTo>
                  <a:lnTo>
                    <a:pt x="973" y="3408"/>
                  </a:lnTo>
                  <a:lnTo>
                    <a:pt x="966" y="3401"/>
                  </a:lnTo>
                  <a:lnTo>
                    <a:pt x="966" y="3401"/>
                  </a:lnTo>
                  <a:lnTo>
                    <a:pt x="966" y="3386"/>
                  </a:lnTo>
                  <a:lnTo>
                    <a:pt x="959" y="3379"/>
                  </a:lnTo>
                  <a:lnTo>
                    <a:pt x="959" y="3372"/>
                  </a:lnTo>
                  <a:lnTo>
                    <a:pt x="959" y="3372"/>
                  </a:lnTo>
                  <a:lnTo>
                    <a:pt x="959" y="3372"/>
                  </a:lnTo>
                  <a:lnTo>
                    <a:pt x="959" y="3372"/>
                  </a:lnTo>
                  <a:lnTo>
                    <a:pt x="959" y="3372"/>
                  </a:lnTo>
                  <a:lnTo>
                    <a:pt x="959" y="3379"/>
                  </a:lnTo>
                  <a:lnTo>
                    <a:pt x="959" y="3372"/>
                  </a:lnTo>
                  <a:lnTo>
                    <a:pt x="959" y="3372"/>
                  </a:lnTo>
                  <a:lnTo>
                    <a:pt x="959" y="3372"/>
                  </a:lnTo>
                  <a:lnTo>
                    <a:pt x="952" y="3365"/>
                  </a:lnTo>
                  <a:lnTo>
                    <a:pt x="944" y="3344"/>
                  </a:lnTo>
                  <a:lnTo>
                    <a:pt x="944" y="3344"/>
                  </a:lnTo>
                  <a:lnTo>
                    <a:pt x="944" y="3344"/>
                  </a:lnTo>
                  <a:lnTo>
                    <a:pt x="944" y="3344"/>
                  </a:lnTo>
                  <a:lnTo>
                    <a:pt x="944" y="3344"/>
                  </a:lnTo>
                  <a:lnTo>
                    <a:pt x="937" y="3337"/>
                  </a:lnTo>
                  <a:lnTo>
                    <a:pt x="937" y="3337"/>
                  </a:lnTo>
                  <a:lnTo>
                    <a:pt x="937" y="3337"/>
                  </a:lnTo>
                  <a:lnTo>
                    <a:pt x="937" y="3337"/>
                  </a:lnTo>
                  <a:lnTo>
                    <a:pt x="937" y="3330"/>
                  </a:lnTo>
                  <a:lnTo>
                    <a:pt x="923" y="3301"/>
                  </a:lnTo>
                  <a:lnTo>
                    <a:pt x="923" y="3301"/>
                  </a:lnTo>
                  <a:lnTo>
                    <a:pt x="923" y="3294"/>
                  </a:lnTo>
                  <a:lnTo>
                    <a:pt x="923" y="3294"/>
                  </a:lnTo>
                  <a:lnTo>
                    <a:pt x="923" y="3294"/>
                  </a:lnTo>
                  <a:lnTo>
                    <a:pt x="916" y="3287"/>
                  </a:lnTo>
                  <a:lnTo>
                    <a:pt x="916" y="3287"/>
                  </a:lnTo>
                  <a:lnTo>
                    <a:pt x="916" y="3287"/>
                  </a:lnTo>
                  <a:lnTo>
                    <a:pt x="916" y="3287"/>
                  </a:lnTo>
                  <a:lnTo>
                    <a:pt x="916" y="3280"/>
                  </a:lnTo>
                  <a:lnTo>
                    <a:pt x="916" y="3287"/>
                  </a:lnTo>
                  <a:lnTo>
                    <a:pt x="923" y="3287"/>
                  </a:lnTo>
                  <a:lnTo>
                    <a:pt x="923" y="3287"/>
                  </a:lnTo>
                  <a:lnTo>
                    <a:pt x="923" y="3280"/>
                  </a:lnTo>
                  <a:lnTo>
                    <a:pt x="923" y="3280"/>
                  </a:lnTo>
                  <a:lnTo>
                    <a:pt x="930" y="3280"/>
                  </a:lnTo>
                  <a:lnTo>
                    <a:pt x="930" y="3280"/>
                  </a:lnTo>
                  <a:lnTo>
                    <a:pt x="930" y="3280"/>
                  </a:lnTo>
                  <a:lnTo>
                    <a:pt x="930" y="3280"/>
                  </a:lnTo>
                  <a:lnTo>
                    <a:pt x="923" y="3280"/>
                  </a:lnTo>
                  <a:lnTo>
                    <a:pt x="916" y="3280"/>
                  </a:lnTo>
                  <a:lnTo>
                    <a:pt x="916" y="3280"/>
                  </a:lnTo>
                  <a:lnTo>
                    <a:pt x="909" y="3252"/>
                  </a:lnTo>
                  <a:lnTo>
                    <a:pt x="909" y="3244"/>
                  </a:lnTo>
                  <a:lnTo>
                    <a:pt x="909" y="3244"/>
                  </a:lnTo>
                  <a:lnTo>
                    <a:pt x="909" y="3244"/>
                  </a:lnTo>
                  <a:lnTo>
                    <a:pt x="909" y="3244"/>
                  </a:lnTo>
                  <a:lnTo>
                    <a:pt x="909" y="3237"/>
                  </a:lnTo>
                  <a:lnTo>
                    <a:pt x="909" y="3237"/>
                  </a:lnTo>
                  <a:lnTo>
                    <a:pt x="902" y="3237"/>
                  </a:lnTo>
                  <a:lnTo>
                    <a:pt x="902" y="3230"/>
                  </a:lnTo>
                  <a:lnTo>
                    <a:pt x="902" y="3223"/>
                  </a:lnTo>
                  <a:lnTo>
                    <a:pt x="902" y="3223"/>
                  </a:lnTo>
                  <a:lnTo>
                    <a:pt x="902" y="3209"/>
                  </a:lnTo>
                  <a:lnTo>
                    <a:pt x="902" y="3209"/>
                  </a:lnTo>
                  <a:lnTo>
                    <a:pt x="895" y="3202"/>
                  </a:lnTo>
                  <a:lnTo>
                    <a:pt x="895" y="3202"/>
                  </a:lnTo>
                  <a:lnTo>
                    <a:pt x="895" y="3202"/>
                  </a:lnTo>
                  <a:lnTo>
                    <a:pt x="895" y="3195"/>
                  </a:lnTo>
                  <a:lnTo>
                    <a:pt x="895" y="3195"/>
                  </a:lnTo>
                  <a:lnTo>
                    <a:pt x="895" y="3188"/>
                  </a:lnTo>
                  <a:lnTo>
                    <a:pt x="895" y="3195"/>
                  </a:lnTo>
                  <a:lnTo>
                    <a:pt x="895" y="3195"/>
                  </a:lnTo>
                  <a:lnTo>
                    <a:pt x="902" y="3195"/>
                  </a:lnTo>
                  <a:lnTo>
                    <a:pt x="895" y="3195"/>
                  </a:lnTo>
                  <a:lnTo>
                    <a:pt x="895" y="3195"/>
                  </a:lnTo>
                  <a:lnTo>
                    <a:pt x="895" y="3188"/>
                  </a:lnTo>
                  <a:lnTo>
                    <a:pt x="895" y="3181"/>
                  </a:lnTo>
                  <a:lnTo>
                    <a:pt x="895" y="3173"/>
                  </a:lnTo>
                  <a:lnTo>
                    <a:pt x="895" y="3166"/>
                  </a:lnTo>
                  <a:lnTo>
                    <a:pt x="895" y="3166"/>
                  </a:lnTo>
                  <a:lnTo>
                    <a:pt x="895" y="3166"/>
                  </a:lnTo>
                  <a:lnTo>
                    <a:pt x="895" y="3166"/>
                  </a:lnTo>
                  <a:lnTo>
                    <a:pt x="895" y="3166"/>
                  </a:lnTo>
                  <a:lnTo>
                    <a:pt x="895" y="3166"/>
                  </a:lnTo>
                  <a:lnTo>
                    <a:pt x="895" y="3166"/>
                  </a:lnTo>
                  <a:lnTo>
                    <a:pt x="895" y="3166"/>
                  </a:lnTo>
                  <a:lnTo>
                    <a:pt x="895" y="3166"/>
                  </a:lnTo>
                  <a:lnTo>
                    <a:pt x="895" y="3159"/>
                  </a:lnTo>
                  <a:lnTo>
                    <a:pt x="895" y="3159"/>
                  </a:lnTo>
                  <a:lnTo>
                    <a:pt x="895" y="3166"/>
                  </a:lnTo>
                  <a:lnTo>
                    <a:pt x="902" y="3166"/>
                  </a:lnTo>
                  <a:lnTo>
                    <a:pt x="902" y="3159"/>
                  </a:lnTo>
                  <a:lnTo>
                    <a:pt x="902" y="3159"/>
                  </a:lnTo>
                  <a:lnTo>
                    <a:pt x="902" y="3159"/>
                  </a:lnTo>
                  <a:lnTo>
                    <a:pt x="902" y="3159"/>
                  </a:lnTo>
                  <a:lnTo>
                    <a:pt x="895" y="3159"/>
                  </a:lnTo>
                  <a:lnTo>
                    <a:pt x="895" y="3159"/>
                  </a:lnTo>
                  <a:lnTo>
                    <a:pt x="895" y="3152"/>
                  </a:lnTo>
                  <a:lnTo>
                    <a:pt x="895" y="3152"/>
                  </a:lnTo>
                  <a:lnTo>
                    <a:pt x="895" y="3152"/>
                  </a:lnTo>
                  <a:lnTo>
                    <a:pt x="895" y="3152"/>
                  </a:lnTo>
                  <a:lnTo>
                    <a:pt x="895" y="3159"/>
                  </a:lnTo>
                  <a:lnTo>
                    <a:pt x="888" y="3152"/>
                  </a:lnTo>
                  <a:lnTo>
                    <a:pt x="888" y="3145"/>
                  </a:lnTo>
                  <a:lnTo>
                    <a:pt x="888" y="3131"/>
                  </a:lnTo>
                  <a:lnTo>
                    <a:pt x="881" y="3131"/>
                  </a:lnTo>
                  <a:lnTo>
                    <a:pt x="881" y="3124"/>
                  </a:lnTo>
                  <a:lnTo>
                    <a:pt x="873" y="3117"/>
                  </a:lnTo>
                  <a:lnTo>
                    <a:pt x="873" y="3117"/>
                  </a:lnTo>
                  <a:lnTo>
                    <a:pt x="866" y="3110"/>
                  </a:lnTo>
                  <a:lnTo>
                    <a:pt x="866" y="3102"/>
                  </a:lnTo>
                  <a:lnTo>
                    <a:pt x="866" y="3102"/>
                  </a:lnTo>
                  <a:lnTo>
                    <a:pt x="866" y="3102"/>
                  </a:lnTo>
                  <a:lnTo>
                    <a:pt x="866" y="3095"/>
                  </a:lnTo>
                  <a:lnTo>
                    <a:pt x="866" y="3095"/>
                  </a:lnTo>
                  <a:lnTo>
                    <a:pt x="866" y="3095"/>
                  </a:lnTo>
                  <a:lnTo>
                    <a:pt x="866" y="3095"/>
                  </a:lnTo>
                  <a:lnTo>
                    <a:pt x="866" y="3081"/>
                  </a:lnTo>
                  <a:lnTo>
                    <a:pt x="866" y="3081"/>
                  </a:lnTo>
                  <a:lnTo>
                    <a:pt x="859" y="3074"/>
                  </a:lnTo>
                  <a:lnTo>
                    <a:pt x="859" y="3074"/>
                  </a:lnTo>
                  <a:lnTo>
                    <a:pt x="859" y="3067"/>
                  </a:lnTo>
                  <a:lnTo>
                    <a:pt x="859" y="3074"/>
                  </a:lnTo>
                  <a:lnTo>
                    <a:pt x="866" y="3074"/>
                  </a:lnTo>
                  <a:lnTo>
                    <a:pt x="866" y="3074"/>
                  </a:lnTo>
                  <a:lnTo>
                    <a:pt x="866" y="3074"/>
                  </a:lnTo>
                  <a:lnTo>
                    <a:pt x="866" y="3067"/>
                  </a:lnTo>
                  <a:lnTo>
                    <a:pt x="859" y="3067"/>
                  </a:lnTo>
                  <a:lnTo>
                    <a:pt x="859" y="3067"/>
                  </a:lnTo>
                  <a:lnTo>
                    <a:pt x="859" y="3067"/>
                  </a:lnTo>
                  <a:lnTo>
                    <a:pt x="852" y="3060"/>
                  </a:lnTo>
                  <a:lnTo>
                    <a:pt x="852" y="3053"/>
                  </a:lnTo>
                  <a:lnTo>
                    <a:pt x="852" y="3053"/>
                  </a:lnTo>
                  <a:lnTo>
                    <a:pt x="852" y="3053"/>
                  </a:lnTo>
                  <a:lnTo>
                    <a:pt x="852" y="3046"/>
                  </a:lnTo>
                  <a:lnTo>
                    <a:pt x="852" y="3046"/>
                  </a:lnTo>
                  <a:lnTo>
                    <a:pt x="852" y="3046"/>
                  </a:lnTo>
                  <a:lnTo>
                    <a:pt x="852" y="3046"/>
                  </a:lnTo>
                  <a:lnTo>
                    <a:pt x="852" y="3039"/>
                  </a:lnTo>
                  <a:lnTo>
                    <a:pt x="845" y="3031"/>
                  </a:lnTo>
                  <a:lnTo>
                    <a:pt x="845" y="3031"/>
                  </a:lnTo>
                  <a:lnTo>
                    <a:pt x="852" y="3031"/>
                  </a:lnTo>
                  <a:lnTo>
                    <a:pt x="852" y="3039"/>
                  </a:lnTo>
                  <a:lnTo>
                    <a:pt x="852" y="3039"/>
                  </a:lnTo>
                  <a:lnTo>
                    <a:pt x="852" y="3039"/>
                  </a:lnTo>
                  <a:lnTo>
                    <a:pt x="852" y="3039"/>
                  </a:lnTo>
                  <a:lnTo>
                    <a:pt x="852" y="3039"/>
                  </a:lnTo>
                  <a:lnTo>
                    <a:pt x="859" y="3039"/>
                  </a:lnTo>
                  <a:lnTo>
                    <a:pt x="852" y="3031"/>
                  </a:lnTo>
                  <a:lnTo>
                    <a:pt x="852" y="3031"/>
                  </a:lnTo>
                  <a:lnTo>
                    <a:pt x="852" y="3031"/>
                  </a:lnTo>
                  <a:lnTo>
                    <a:pt x="852" y="3024"/>
                  </a:lnTo>
                  <a:lnTo>
                    <a:pt x="852" y="3024"/>
                  </a:lnTo>
                  <a:lnTo>
                    <a:pt x="852" y="3024"/>
                  </a:lnTo>
                  <a:lnTo>
                    <a:pt x="852" y="3024"/>
                  </a:lnTo>
                  <a:lnTo>
                    <a:pt x="845" y="3024"/>
                  </a:lnTo>
                  <a:lnTo>
                    <a:pt x="845" y="3024"/>
                  </a:lnTo>
                  <a:lnTo>
                    <a:pt x="845" y="3024"/>
                  </a:lnTo>
                  <a:lnTo>
                    <a:pt x="845" y="3024"/>
                  </a:lnTo>
                  <a:lnTo>
                    <a:pt x="845" y="3024"/>
                  </a:lnTo>
                  <a:lnTo>
                    <a:pt x="845" y="3024"/>
                  </a:lnTo>
                  <a:lnTo>
                    <a:pt x="845" y="3031"/>
                  </a:lnTo>
                  <a:lnTo>
                    <a:pt x="845" y="3031"/>
                  </a:lnTo>
                  <a:lnTo>
                    <a:pt x="845" y="3031"/>
                  </a:lnTo>
                  <a:lnTo>
                    <a:pt x="838" y="3031"/>
                  </a:lnTo>
                  <a:lnTo>
                    <a:pt x="838" y="3031"/>
                  </a:lnTo>
                  <a:lnTo>
                    <a:pt x="838" y="3031"/>
                  </a:lnTo>
                  <a:lnTo>
                    <a:pt x="838" y="3024"/>
                  </a:lnTo>
                  <a:lnTo>
                    <a:pt x="838" y="3017"/>
                  </a:lnTo>
                  <a:lnTo>
                    <a:pt x="838" y="3017"/>
                  </a:lnTo>
                  <a:lnTo>
                    <a:pt x="845" y="3017"/>
                  </a:lnTo>
                  <a:lnTo>
                    <a:pt x="845" y="3017"/>
                  </a:lnTo>
                  <a:lnTo>
                    <a:pt x="845" y="3017"/>
                  </a:lnTo>
                  <a:lnTo>
                    <a:pt x="838" y="3017"/>
                  </a:lnTo>
                  <a:lnTo>
                    <a:pt x="838" y="3017"/>
                  </a:lnTo>
                  <a:lnTo>
                    <a:pt x="838" y="3017"/>
                  </a:lnTo>
                  <a:lnTo>
                    <a:pt x="838" y="3017"/>
                  </a:lnTo>
                  <a:lnTo>
                    <a:pt x="838" y="3017"/>
                  </a:lnTo>
                  <a:lnTo>
                    <a:pt x="838" y="3017"/>
                  </a:lnTo>
                  <a:lnTo>
                    <a:pt x="838" y="3010"/>
                  </a:lnTo>
                  <a:lnTo>
                    <a:pt x="838" y="3010"/>
                  </a:lnTo>
                  <a:lnTo>
                    <a:pt x="831" y="3003"/>
                  </a:lnTo>
                  <a:lnTo>
                    <a:pt x="831" y="3003"/>
                  </a:lnTo>
                  <a:lnTo>
                    <a:pt x="831" y="2996"/>
                  </a:lnTo>
                  <a:lnTo>
                    <a:pt x="831" y="2996"/>
                  </a:lnTo>
                  <a:lnTo>
                    <a:pt x="824" y="2996"/>
                  </a:lnTo>
                  <a:lnTo>
                    <a:pt x="824" y="3003"/>
                  </a:lnTo>
                  <a:lnTo>
                    <a:pt x="824" y="2996"/>
                  </a:lnTo>
                  <a:lnTo>
                    <a:pt x="824" y="2996"/>
                  </a:lnTo>
                  <a:lnTo>
                    <a:pt x="824" y="2996"/>
                  </a:lnTo>
                  <a:lnTo>
                    <a:pt x="817" y="2996"/>
                  </a:lnTo>
                  <a:lnTo>
                    <a:pt x="817" y="2996"/>
                  </a:lnTo>
                  <a:lnTo>
                    <a:pt x="817" y="2996"/>
                  </a:lnTo>
                  <a:lnTo>
                    <a:pt x="817" y="2996"/>
                  </a:lnTo>
                  <a:lnTo>
                    <a:pt x="810" y="2989"/>
                  </a:lnTo>
                  <a:lnTo>
                    <a:pt x="810" y="2989"/>
                  </a:lnTo>
                  <a:lnTo>
                    <a:pt x="810" y="2989"/>
                  </a:lnTo>
                  <a:lnTo>
                    <a:pt x="810" y="2989"/>
                  </a:lnTo>
                  <a:lnTo>
                    <a:pt x="810" y="2989"/>
                  </a:lnTo>
                  <a:lnTo>
                    <a:pt x="810" y="2989"/>
                  </a:lnTo>
                  <a:lnTo>
                    <a:pt x="810" y="2982"/>
                  </a:lnTo>
                  <a:lnTo>
                    <a:pt x="817" y="2982"/>
                  </a:lnTo>
                  <a:lnTo>
                    <a:pt x="817" y="2982"/>
                  </a:lnTo>
                  <a:lnTo>
                    <a:pt x="817" y="2982"/>
                  </a:lnTo>
                  <a:lnTo>
                    <a:pt x="817" y="2982"/>
                  </a:lnTo>
                  <a:lnTo>
                    <a:pt x="824" y="2982"/>
                  </a:lnTo>
                  <a:lnTo>
                    <a:pt x="824" y="2982"/>
                  </a:lnTo>
                  <a:lnTo>
                    <a:pt x="824" y="2982"/>
                  </a:lnTo>
                  <a:lnTo>
                    <a:pt x="824" y="2982"/>
                  </a:lnTo>
                  <a:lnTo>
                    <a:pt x="831" y="2982"/>
                  </a:lnTo>
                  <a:lnTo>
                    <a:pt x="831" y="2982"/>
                  </a:lnTo>
                  <a:lnTo>
                    <a:pt x="831" y="2982"/>
                  </a:lnTo>
                  <a:lnTo>
                    <a:pt x="831" y="2975"/>
                  </a:lnTo>
                  <a:lnTo>
                    <a:pt x="831" y="2975"/>
                  </a:lnTo>
                  <a:lnTo>
                    <a:pt x="831" y="2975"/>
                  </a:lnTo>
                  <a:lnTo>
                    <a:pt x="824" y="2975"/>
                  </a:lnTo>
                  <a:lnTo>
                    <a:pt x="824" y="2975"/>
                  </a:lnTo>
                  <a:lnTo>
                    <a:pt x="824" y="2975"/>
                  </a:lnTo>
                  <a:lnTo>
                    <a:pt x="817" y="2975"/>
                  </a:lnTo>
                  <a:lnTo>
                    <a:pt x="817" y="2982"/>
                  </a:lnTo>
                  <a:lnTo>
                    <a:pt x="817" y="2982"/>
                  </a:lnTo>
                  <a:lnTo>
                    <a:pt x="817" y="2982"/>
                  </a:lnTo>
                  <a:lnTo>
                    <a:pt x="817" y="2982"/>
                  </a:lnTo>
                  <a:lnTo>
                    <a:pt x="810" y="2982"/>
                  </a:lnTo>
                  <a:lnTo>
                    <a:pt x="810" y="2982"/>
                  </a:lnTo>
                  <a:lnTo>
                    <a:pt x="810" y="2975"/>
                  </a:lnTo>
                  <a:lnTo>
                    <a:pt x="810" y="2975"/>
                  </a:lnTo>
                  <a:lnTo>
                    <a:pt x="810" y="2975"/>
                  </a:lnTo>
                  <a:lnTo>
                    <a:pt x="803" y="2968"/>
                  </a:lnTo>
                  <a:lnTo>
                    <a:pt x="803" y="2968"/>
                  </a:lnTo>
                  <a:lnTo>
                    <a:pt x="803" y="2968"/>
                  </a:lnTo>
                  <a:lnTo>
                    <a:pt x="803" y="2960"/>
                  </a:lnTo>
                  <a:lnTo>
                    <a:pt x="803" y="2960"/>
                  </a:lnTo>
                  <a:lnTo>
                    <a:pt x="795" y="2960"/>
                  </a:lnTo>
                  <a:lnTo>
                    <a:pt x="795" y="2960"/>
                  </a:lnTo>
                  <a:lnTo>
                    <a:pt x="795" y="2960"/>
                  </a:lnTo>
                  <a:lnTo>
                    <a:pt x="795" y="2953"/>
                  </a:lnTo>
                  <a:lnTo>
                    <a:pt x="788" y="2946"/>
                  </a:lnTo>
                  <a:lnTo>
                    <a:pt x="781" y="2946"/>
                  </a:lnTo>
                  <a:lnTo>
                    <a:pt x="781" y="2939"/>
                  </a:lnTo>
                  <a:lnTo>
                    <a:pt x="788" y="2939"/>
                  </a:lnTo>
                  <a:lnTo>
                    <a:pt x="788" y="2939"/>
                  </a:lnTo>
                  <a:lnTo>
                    <a:pt x="788" y="2939"/>
                  </a:lnTo>
                  <a:lnTo>
                    <a:pt x="788" y="2939"/>
                  </a:lnTo>
                  <a:lnTo>
                    <a:pt x="788" y="2932"/>
                  </a:lnTo>
                  <a:lnTo>
                    <a:pt x="788" y="2932"/>
                  </a:lnTo>
                  <a:lnTo>
                    <a:pt x="781" y="2904"/>
                  </a:lnTo>
                  <a:lnTo>
                    <a:pt x="781" y="2904"/>
                  </a:lnTo>
                  <a:lnTo>
                    <a:pt x="774" y="2904"/>
                  </a:lnTo>
                  <a:lnTo>
                    <a:pt x="774" y="2904"/>
                  </a:lnTo>
                  <a:lnTo>
                    <a:pt x="774" y="2904"/>
                  </a:lnTo>
                  <a:lnTo>
                    <a:pt x="767" y="2904"/>
                  </a:lnTo>
                  <a:lnTo>
                    <a:pt x="767" y="2897"/>
                  </a:lnTo>
                  <a:lnTo>
                    <a:pt x="774" y="2897"/>
                  </a:lnTo>
                  <a:lnTo>
                    <a:pt x="774" y="2897"/>
                  </a:lnTo>
                  <a:lnTo>
                    <a:pt x="774" y="2897"/>
                  </a:lnTo>
                  <a:lnTo>
                    <a:pt x="774" y="2897"/>
                  </a:lnTo>
                  <a:lnTo>
                    <a:pt x="781" y="2897"/>
                  </a:lnTo>
                  <a:lnTo>
                    <a:pt x="781" y="2897"/>
                  </a:lnTo>
                  <a:lnTo>
                    <a:pt x="788" y="2897"/>
                  </a:lnTo>
                  <a:lnTo>
                    <a:pt x="788" y="2904"/>
                  </a:lnTo>
                  <a:lnTo>
                    <a:pt x="788" y="2904"/>
                  </a:lnTo>
                  <a:lnTo>
                    <a:pt x="788" y="2904"/>
                  </a:lnTo>
                  <a:lnTo>
                    <a:pt x="788" y="2904"/>
                  </a:lnTo>
                  <a:lnTo>
                    <a:pt x="788" y="2904"/>
                  </a:lnTo>
                  <a:lnTo>
                    <a:pt x="788" y="2904"/>
                  </a:lnTo>
                  <a:lnTo>
                    <a:pt x="788" y="2904"/>
                  </a:lnTo>
                  <a:lnTo>
                    <a:pt x="788" y="2897"/>
                  </a:lnTo>
                  <a:lnTo>
                    <a:pt x="788" y="2897"/>
                  </a:lnTo>
                  <a:lnTo>
                    <a:pt x="781" y="2897"/>
                  </a:lnTo>
                  <a:lnTo>
                    <a:pt x="781" y="2897"/>
                  </a:lnTo>
                  <a:lnTo>
                    <a:pt x="774" y="2897"/>
                  </a:lnTo>
                  <a:lnTo>
                    <a:pt x="774" y="2897"/>
                  </a:lnTo>
                  <a:lnTo>
                    <a:pt x="774" y="2889"/>
                  </a:lnTo>
                  <a:lnTo>
                    <a:pt x="774" y="2889"/>
                  </a:lnTo>
                  <a:lnTo>
                    <a:pt x="774" y="2889"/>
                  </a:lnTo>
                  <a:lnTo>
                    <a:pt x="767" y="2889"/>
                  </a:lnTo>
                  <a:lnTo>
                    <a:pt x="767" y="2889"/>
                  </a:lnTo>
                  <a:lnTo>
                    <a:pt x="767" y="2889"/>
                  </a:lnTo>
                  <a:lnTo>
                    <a:pt x="767" y="2889"/>
                  </a:lnTo>
                  <a:lnTo>
                    <a:pt x="767" y="2882"/>
                  </a:lnTo>
                  <a:lnTo>
                    <a:pt x="767" y="2882"/>
                  </a:lnTo>
                  <a:lnTo>
                    <a:pt x="774" y="2882"/>
                  </a:lnTo>
                  <a:lnTo>
                    <a:pt x="781" y="2882"/>
                  </a:lnTo>
                  <a:lnTo>
                    <a:pt x="774" y="2882"/>
                  </a:lnTo>
                  <a:lnTo>
                    <a:pt x="774" y="2882"/>
                  </a:lnTo>
                  <a:lnTo>
                    <a:pt x="774" y="2882"/>
                  </a:lnTo>
                  <a:lnTo>
                    <a:pt x="774" y="2882"/>
                  </a:lnTo>
                  <a:lnTo>
                    <a:pt x="774" y="2875"/>
                  </a:lnTo>
                  <a:lnTo>
                    <a:pt x="767" y="2882"/>
                  </a:lnTo>
                  <a:lnTo>
                    <a:pt x="767" y="2882"/>
                  </a:lnTo>
                  <a:lnTo>
                    <a:pt x="760" y="2882"/>
                  </a:lnTo>
                  <a:lnTo>
                    <a:pt x="760" y="2882"/>
                  </a:lnTo>
                  <a:lnTo>
                    <a:pt x="760" y="2875"/>
                  </a:lnTo>
                  <a:lnTo>
                    <a:pt x="760" y="2875"/>
                  </a:lnTo>
                  <a:lnTo>
                    <a:pt x="760" y="2875"/>
                  </a:lnTo>
                  <a:lnTo>
                    <a:pt x="760" y="2868"/>
                  </a:lnTo>
                  <a:lnTo>
                    <a:pt x="760" y="2868"/>
                  </a:lnTo>
                  <a:lnTo>
                    <a:pt x="760" y="2868"/>
                  </a:lnTo>
                  <a:lnTo>
                    <a:pt x="760" y="2868"/>
                  </a:lnTo>
                  <a:lnTo>
                    <a:pt x="760" y="2868"/>
                  </a:lnTo>
                  <a:lnTo>
                    <a:pt x="760" y="2861"/>
                  </a:lnTo>
                  <a:lnTo>
                    <a:pt x="767" y="2861"/>
                  </a:lnTo>
                  <a:lnTo>
                    <a:pt x="774" y="2861"/>
                  </a:lnTo>
                  <a:lnTo>
                    <a:pt x="774" y="2861"/>
                  </a:lnTo>
                  <a:lnTo>
                    <a:pt x="767" y="2861"/>
                  </a:lnTo>
                  <a:lnTo>
                    <a:pt x="767" y="2861"/>
                  </a:lnTo>
                  <a:lnTo>
                    <a:pt x="767" y="2861"/>
                  </a:lnTo>
                  <a:lnTo>
                    <a:pt x="760" y="2861"/>
                  </a:lnTo>
                  <a:lnTo>
                    <a:pt x="760" y="2868"/>
                  </a:lnTo>
                  <a:lnTo>
                    <a:pt x="760" y="2868"/>
                  </a:lnTo>
                  <a:lnTo>
                    <a:pt x="753" y="2861"/>
                  </a:lnTo>
                  <a:lnTo>
                    <a:pt x="753" y="2861"/>
                  </a:lnTo>
                  <a:lnTo>
                    <a:pt x="753" y="2861"/>
                  </a:lnTo>
                  <a:lnTo>
                    <a:pt x="753" y="2854"/>
                  </a:lnTo>
                  <a:lnTo>
                    <a:pt x="753" y="2854"/>
                  </a:lnTo>
                  <a:lnTo>
                    <a:pt x="753" y="2854"/>
                  </a:lnTo>
                  <a:lnTo>
                    <a:pt x="753" y="2847"/>
                  </a:lnTo>
                  <a:lnTo>
                    <a:pt x="746" y="2847"/>
                  </a:lnTo>
                  <a:lnTo>
                    <a:pt x="746" y="2847"/>
                  </a:lnTo>
                  <a:lnTo>
                    <a:pt x="746" y="2847"/>
                  </a:lnTo>
                  <a:lnTo>
                    <a:pt x="746" y="2847"/>
                  </a:lnTo>
                  <a:lnTo>
                    <a:pt x="746" y="2840"/>
                  </a:lnTo>
                  <a:lnTo>
                    <a:pt x="746" y="2833"/>
                  </a:lnTo>
                  <a:lnTo>
                    <a:pt x="739" y="2826"/>
                  </a:lnTo>
                  <a:lnTo>
                    <a:pt x="739" y="2826"/>
                  </a:lnTo>
                  <a:lnTo>
                    <a:pt x="732" y="2818"/>
                  </a:lnTo>
                  <a:lnTo>
                    <a:pt x="724" y="2811"/>
                  </a:lnTo>
                  <a:lnTo>
                    <a:pt x="724" y="2811"/>
                  </a:lnTo>
                  <a:lnTo>
                    <a:pt x="724" y="2804"/>
                  </a:lnTo>
                  <a:lnTo>
                    <a:pt x="724" y="2804"/>
                  </a:lnTo>
                  <a:lnTo>
                    <a:pt x="724" y="2804"/>
                  </a:lnTo>
                  <a:lnTo>
                    <a:pt x="724" y="2804"/>
                  </a:lnTo>
                  <a:lnTo>
                    <a:pt x="724" y="2804"/>
                  </a:lnTo>
                  <a:lnTo>
                    <a:pt x="717" y="2804"/>
                  </a:lnTo>
                  <a:lnTo>
                    <a:pt x="717" y="2804"/>
                  </a:lnTo>
                  <a:lnTo>
                    <a:pt x="717" y="2804"/>
                  </a:lnTo>
                  <a:lnTo>
                    <a:pt x="717" y="2797"/>
                  </a:lnTo>
                  <a:lnTo>
                    <a:pt x="717" y="2797"/>
                  </a:lnTo>
                  <a:lnTo>
                    <a:pt x="717" y="2797"/>
                  </a:lnTo>
                  <a:lnTo>
                    <a:pt x="717" y="2797"/>
                  </a:lnTo>
                  <a:lnTo>
                    <a:pt x="717" y="2797"/>
                  </a:lnTo>
                  <a:lnTo>
                    <a:pt x="717" y="2797"/>
                  </a:lnTo>
                  <a:lnTo>
                    <a:pt x="717" y="2790"/>
                  </a:lnTo>
                  <a:lnTo>
                    <a:pt x="717" y="2783"/>
                  </a:lnTo>
                  <a:lnTo>
                    <a:pt x="717" y="2783"/>
                  </a:lnTo>
                  <a:lnTo>
                    <a:pt x="724" y="2783"/>
                  </a:lnTo>
                  <a:lnTo>
                    <a:pt x="724" y="2783"/>
                  </a:lnTo>
                  <a:lnTo>
                    <a:pt x="717" y="2783"/>
                  </a:lnTo>
                  <a:lnTo>
                    <a:pt x="717" y="2783"/>
                  </a:lnTo>
                  <a:lnTo>
                    <a:pt x="717" y="2790"/>
                  </a:lnTo>
                  <a:lnTo>
                    <a:pt x="717" y="2790"/>
                  </a:lnTo>
                  <a:lnTo>
                    <a:pt x="717" y="2783"/>
                  </a:lnTo>
                  <a:lnTo>
                    <a:pt x="717" y="2776"/>
                  </a:lnTo>
                  <a:lnTo>
                    <a:pt x="717" y="2776"/>
                  </a:lnTo>
                  <a:lnTo>
                    <a:pt x="717" y="2776"/>
                  </a:lnTo>
                  <a:lnTo>
                    <a:pt x="717" y="2776"/>
                  </a:lnTo>
                  <a:lnTo>
                    <a:pt x="710" y="2776"/>
                  </a:lnTo>
                  <a:lnTo>
                    <a:pt x="710" y="2776"/>
                  </a:lnTo>
                  <a:lnTo>
                    <a:pt x="710" y="2776"/>
                  </a:lnTo>
                  <a:lnTo>
                    <a:pt x="710" y="2769"/>
                  </a:lnTo>
                  <a:lnTo>
                    <a:pt x="710" y="2762"/>
                  </a:lnTo>
                  <a:lnTo>
                    <a:pt x="710" y="2755"/>
                  </a:lnTo>
                  <a:lnTo>
                    <a:pt x="710" y="2755"/>
                  </a:lnTo>
                  <a:lnTo>
                    <a:pt x="710" y="2755"/>
                  </a:lnTo>
                  <a:lnTo>
                    <a:pt x="703" y="2755"/>
                  </a:lnTo>
                  <a:lnTo>
                    <a:pt x="703" y="2755"/>
                  </a:lnTo>
                  <a:lnTo>
                    <a:pt x="703" y="2748"/>
                  </a:lnTo>
                  <a:lnTo>
                    <a:pt x="703" y="2748"/>
                  </a:lnTo>
                  <a:lnTo>
                    <a:pt x="710" y="2748"/>
                  </a:lnTo>
                  <a:lnTo>
                    <a:pt x="703" y="2748"/>
                  </a:lnTo>
                  <a:lnTo>
                    <a:pt x="703" y="2748"/>
                  </a:lnTo>
                  <a:lnTo>
                    <a:pt x="703" y="2740"/>
                  </a:lnTo>
                  <a:lnTo>
                    <a:pt x="703" y="2740"/>
                  </a:lnTo>
                  <a:lnTo>
                    <a:pt x="696" y="2733"/>
                  </a:lnTo>
                  <a:lnTo>
                    <a:pt x="696" y="2733"/>
                  </a:lnTo>
                  <a:lnTo>
                    <a:pt x="696" y="2733"/>
                  </a:lnTo>
                  <a:lnTo>
                    <a:pt x="696" y="2726"/>
                  </a:lnTo>
                  <a:lnTo>
                    <a:pt x="696" y="2726"/>
                  </a:lnTo>
                  <a:lnTo>
                    <a:pt x="696" y="2726"/>
                  </a:lnTo>
                  <a:lnTo>
                    <a:pt x="696" y="2726"/>
                  </a:lnTo>
                  <a:lnTo>
                    <a:pt x="696" y="2726"/>
                  </a:lnTo>
                  <a:lnTo>
                    <a:pt x="696" y="2726"/>
                  </a:lnTo>
                  <a:lnTo>
                    <a:pt x="703" y="2733"/>
                  </a:lnTo>
                  <a:lnTo>
                    <a:pt x="703" y="2733"/>
                  </a:lnTo>
                  <a:lnTo>
                    <a:pt x="710" y="2733"/>
                  </a:lnTo>
                  <a:lnTo>
                    <a:pt x="703" y="2733"/>
                  </a:lnTo>
                  <a:lnTo>
                    <a:pt x="703" y="2733"/>
                  </a:lnTo>
                  <a:lnTo>
                    <a:pt x="703" y="2726"/>
                  </a:lnTo>
                  <a:lnTo>
                    <a:pt x="703" y="2726"/>
                  </a:lnTo>
                  <a:lnTo>
                    <a:pt x="703" y="2726"/>
                  </a:lnTo>
                  <a:lnTo>
                    <a:pt x="703" y="2726"/>
                  </a:lnTo>
                  <a:lnTo>
                    <a:pt x="703" y="2726"/>
                  </a:lnTo>
                  <a:lnTo>
                    <a:pt x="703" y="2726"/>
                  </a:lnTo>
                  <a:lnTo>
                    <a:pt x="703" y="2726"/>
                  </a:lnTo>
                  <a:lnTo>
                    <a:pt x="696" y="2719"/>
                  </a:lnTo>
                  <a:lnTo>
                    <a:pt x="696" y="2719"/>
                  </a:lnTo>
                  <a:lnTo>
                    <a:pt x="696" y="2719"/>
                  </a:lnTo>
                  <a:lnTo>
                    <a:pt x="696" y="2719"/>
                  </a:lnTo>
                  <a:lnTo>
                    <a:pt x="696" y="2719"/>
                  </a:lnTo>
                  <a:lnTo>
                    <a:pt x="696" y="2719"/>
                  </a:lnTo>
                  <a:lnTo>
                    <a:pt x="703" y="2719"/>
                  </a:lnTo>
                  <a:lnTo>
                    <a:pt x="703" y="2719"/>
                  </a:lnTo>
                  <a:lnTo>
                    <a:pt x="703" y="2719"/>
                  </a:lnTo>
                  <a:lnTo>
                    <a:pt x="703" y="2719"/>
                  </a:lnTo>
                  <a:lnTo>
                    <a:pt x="703" y="2719"/>
                  </a:lnTo>
                  <a:lnTo>
                    <a:pt x="703" y="2719"/>
                  </a:lnTo>
                  <a:lnTo>
                    <a:pt x="703" y="2712"/>
                  </a:lnTo>
                  <a:lnTo>
                    <a:pt x="703" y="2712"/>
                  </a:lnTo>
                  <a:lnTo>
                    <a:pt x="703" y="2712"/>
                  </a:lnTo>
                  <a:lnTo>
                    <a:pt x="696" y="2719"/>
                  </a:lnTo>
                  <a:lnTo>
                    <a:pt x="696" y="2712"/>
                  </a:lnTo>
                  <a:lnTo>
                    <a:pt x="696" y="2712"/>
                  </a:lnTo>
                  <a:lnTo>
                    <a:pt x="696" y="2712"/>
                  </a:lnTo>
                  <a:lnTo>
                    <a:pt x="696" y="2705"/>
                  </a:lnTo>
                  <a:lnTo>
                    <a:pt x="703" y="2705"/>
                  </a:lnTo>
                  <a:lnTo>
                    <a:pt x="696" y="2705"/>
                  </a:lnTo>
                  <a:lnTo>
                    <a:pt x="696" y="2705"/>
                  </a:lnTo>
                  <a:lnTo>
                    <a:pt x="696" y="2705"/>
                  </a:lnTo>
                  <a:lnTo>
                    <a:pt x="696" y="2698"/>
                  </a:lnTo>
                  <a:lnTo>
                    <a:pt x="696" y="2691"/>
                  </a:lnTo>
                  <a:lnTo>
                    <a:pt x="696" y="2691"/>
                  </a:lnTo>
                  <a:lnTo>
                    <a:pt x="696" y="2684"/>
                  </a:lnTo>
                  <a:lnTo>
                    <a:pt x="696" y="2691"/>
                  </a:lnTo>
                  <a:lnTo>
                    <a:pt x="696" y="2684"/>
                  </a:lnTo>
                  <a:lnTo>
                    <a:pt x="696" y="2684"/>
                  </a:lnTo>
                  <a:lnTo>
                    <a:pt x="689" y="2677"/>
                  </a:lnTo>
                  <a:lnTo>
                    <a:pt x="696" y="2677"/>
                  </a:lnTo>
                  <a:lnTo>
                    <a:pt x="696" y="2677"/>
                  </a:lnTo>
                  <a:lnTo>
                    <a:pt x="689" y="2669"/>
                  </a:lnTo>
                  <a:lnTo>
                    <a:pt x="689" y="2669"/>
                  </a:lnTo>
                  <a:lnTo>
                    <a:pt x="696" y="2662"/>
                  </a:lnTo>
                  <a:lnTo>
                    <a:pt x="696" y="2662"/>
                  </a:lnTo>
                  <a:lnTo>
                    <a:pt x="689" y="2662"/>
                  </a:lnTo>
                  <a:lnTo>
                    <a:pt x="689" y="2655"/>
                  </a:lnTo>
                  <a:lnTo>
                    <a:pt x="689" y="2655"/>
                  </a:lnTo>
                  <a:lnTo>
                    <a:pt x="689" y="2655"/>
                  </a:lnTo>
                  <a:lnTo>
                    <a:pt x="689" y="2655"/>
                  </a:lnTo>
                  <a:lnTo>
                    <a:pt x="689" y="2655"/>
                  </a:lnTo>
                  <a:lnTo>
                    <a:pt x="689" y="2655"/>
                  </a:lnTo>
                  <a:lnTo>
                    <a:pt x="696" y="2648"/>
                  </a:lnTo>
                  <a:lnTo>
                    <a:pt x="696" y="2648"/>
                  </a:lnTo>
                  <a:lnTo>
                    <a:pt x="689" y="2641"/>
                  </a:lnTo>
                  <a:lnTo>
                    <a:pt x="689" y="2641"/>
                  </a:lnTo>
                  <a:lnTo>
                    <a:pt x="689" y="2641"/>
                  </a:lnTo>
                  <a:lnTo>
                    <a:pt x="689" y="2634"/>
                  </a:lnTo>
                  <a:lnTo>
                    <a:pt x="689" y="2634"/>
                  </a:lnTo>
                  <a:lnTo>
                    <a:pt x="689" y="2627"/>
                  </a:lnTo>
                  <a:lnTo>
                    <a:pt x="689" y="2627"/>
                  </a:lnTo>
                  <a:lnTo>
                    <a:pt x="682" y="2620"/>
                  </a:lnTo>
                  <a:lnTo>
                    <a:pt x="682" y="2620"/>
                  </a:lnTo>
                  <a:lnTo>
                    <a:pt x="682" y="2620"/>
                  </a:lnTo>
                  <a:lnTo>
                    <a:pt x="682" y="2613"/>
                  </a:lnTo>
                  <a:lnTo>
                    <a:pt x="682" y="2613"/>
                  </a:lnTo>
                  <a:lnTo>
                    <a:pt x="682" y="2613"/>
                  </a:lnTo>
                  <a:lnTo>
                    <a:pt x="682" y="2613"/>
                  </a:lnTo>
                  <a:lnTo>
                    <a:pt x="689" y="2620"/>
                  </a:lnTo>
                  <a:lnTo>
                    <a:pt x="689" y="2620"/>
                  </a:lnTo>
                  <a:lnTo>
                    <a:pt x="689" y="2613"/>
                  </a:lnTo>
                  <a:lnTo>
                    <a:pt x="682" y="2606"/>
                  </a:lnTo>
                  <a:lnTo>
                    <a:pt x="682" y="2606"/>
                  </a:lnTo>
                  <a:lnTo>
                    <a:pt x="682" y="2598"/>
                  </a:lnTo>
                  <a:lnTo>
                    <a:pt x="675" y="2598"/>
                  </a:lnTo>
                  <a:lnTo>
                    <a:pt x="675" y="2598"/>
                  </a:lnTo>
                  <a:lnTo>
                    <a:pt x="682" y="2598"/>
                  </a:lnTo>
                  <a:lnTo>
                    <a:pt x="682" y="2591"/>
                  </a:lnTo>
                  <a:lnTo>
                    <a:pt x="682" y="2591"/>
                  </a:lnTo>
                  <a:lnTo>
                    <a:pt x="682" y="2584"/>
                  </a:lnTo>
                  <a:lnTo>
                    <a:pt x="675" y="2584"/>
                  </a:lnTo>
                  <a:lnTo>
                    <a:pt x="675" y="2577"/>
                  </a:lnTo>
                  <a:lnTo>
                    <a:pt x="675" y="2577"/>
                  </a:lnTo>
                  <a:lnTo>
                    <a:pt x="675" y="2577"/>
                  </a:lnTo>
                  <a:lnTo>
                    <a:pt x="675" y="2577"/>
                  </a:lnTo>
                  <a:lnTo>
                    <a:pt x="675" y="2577"/>
                  </a:lnTo>
                  <a:lnTo>
                    <a:pt x="675" y="2577"/>
                  </a:lnTo>
                  <a:lnTo>
                    <a:pt x="682" y="2570"/>
                  </a:lnTo>
                  <a:lnTo>
                    <a:pt x="682" y="2570"/>
                  </a:lnTo>
                  <a:lnTo>
                    <a:pt x="675" y="2570"/>
                  </a:lnTo>
                  <a:lnTo>
                    <a:pt x="675" y="2570"/>
                  </a:lnTo>
                  <a:lnTo>
                    <a:pt x="675" y="2570"/>
                  </a:lnTo>
                  <a:lnTo>
                    <a:pt x="675" y="2563"/>
                  </a:lnTo>
                  <a:lnTo>
                    <a:pt x="675" y="2563"/>
                  </a:lnTo>
                  <a:lnTo>
                    <a:pt x="675" y="2563"/>
                  </a:lnTo>
                  <a:lnTo>
                    <a:pt x="675" y="2563"/>
                  </a:lnTo>
                  <a:lnTo>
                    <a:pt x="668" y="2556"/>
                  </a:lnTo>
                  <a:lnTo>
                    <a:pt x="668" y="2556"/>
                  </a:lnTo>
                  <a:lnTo>
                    <a:pt x="668" y="2556"/>
                  </a:lnTo>
                  <a:lnTo>
                    <a:pt x="675" y="2556"/>
                  </a:lnTo>
                  <a:lnTo>
                    <a:pt x="675" y="2549"/>
                  </a:lnTo>
                  <a:lnTo>
                    <a:pt x="675" y="2549"/>
                  </a:lnTo>
                  <a:lnTo>
                    <a:pt x="668" y="2549"/>
                  </a:lnTo>
                  <a:lnTo>
                    <a:pt x="668" y="2549"/>
                  </a:lnTo>
                  <a:lnTo>
                    <a:pt x="668" y="2542"/>
                  </a:lnTo>
                  <a:lnTo>
                    <a:pt x="668" y="2542"/>
                  </a:lnTo>
                  <a:lnTo>
                    <a:pt x="668" y="2535"/>
                  </a:lnTo>
                  <a:lnTo>
                    <a:pt x="668" y="2535"/>
                  </a:lnTo>
                  <a:lnTo>
                    <a:pt x="668" y="2527"/>
                  </a:lnTo>
                  <a:lnTo>
                    <a:pt x="668" y="2527"/>
                  </a:lnTo>
                  <a:lnTo>
                    <a:pt x="661" y="2513"/>
                  </a:lnTo>
                  <a:lnTo>
                    <a:pt x="661" y="2513"/>
                  </a:lnTo>
                  <a:lnTo>
                    <a:pt x="661" y="2513"/>
                  </a:lnTo>
                  <a:lnTo>
                    <a:pt x="661" y="2513"/>
                  </a:lnTo>
                  <a:lnTo>
                    <a:pt x="653" y="2506"/>
                  </a:lnTo>
                  <a:lnTo>
                    <a:pt x="653" y="2506"/>
                  </a:lnTo>
                  <a:lnTo>
                    <a:pt x="653" y="2506"/>
                  </a:lnTo>
                  <a:lnTo>
                    <a:pt x="661" y="2506"/>
                  </a:lnTo>
                  <a:lnTo>
                    <a:pt x="661" y="2506"/>
                  </a:lnTo>
                  <a:lnTo>
                    <a:pt x="661" y="2499"/>
                  </a:lnTo>
                  <a:lnTo>
                    <a:pt x="661" y="2499"/>
                  </a:lnTo>
                  <a:lnTo>
                    <a:pt x="661" y="2499"/>
                  </a:lnTo>
                  <a:lnTo>
                    <a:pt x="661" y="2499"/>
                  </a:lnTo>
                  <a:lnTo>
                    <a:pt x="661" y="2499"/>
                  </a:lnTo>
                  <a:lnTo>
                    <a:pt x="653" y="2506"/>
                  </a:lnTo>
                  <a:lnTo>
                    <a:pt x="653" y="2499"/>
                  </a:lnTo>
                  <a:lnTo>
                    <a:pt x="653" y="2499"/>
                  </a:lnTo>
                  <a:lnTo>
                    <a:pt x="653" y="2499"/>
                  </a:lnTo>
                  <a:lnTo>
                    <a:pt x="653" y="2499"/>
                  </a:lnTo>
                  <a:lnTo>
                    <a:pt x="653" y="2499"/>
                  </a:lnTo>
                  <a:lnTo>
                    <a:pt x="653" y="2492"/>
                  </a:lnTo>
                  <a:lnTo>
                    <a:pt x="653" y="2492"/>
                  </a:lnTo>
                  <a:lnTo>
                    <a:pt x="653" y="2492"/>
                  </a:lnTo>
                  <a:lnTo>
                    <a:pt x="653" y="2492"/>
                  </a:lnTo>
                  <a:lnTo>
                    <a:pt x="653" y="2478"/>
                  </a:lnTo>
                  <a:lnTo>
                    <a:pt x="646" y="2478"/>
                  </a:lnTo>
                  <a:lnTo>
                    <a:pt x="646" y="2478"/>
                  </a:lnTo>
                  <a:lnTo>
                    <a:pt x="646" y="2471"/>
                  </a:lnTo>
                  <a:lnTo>
                    <a:pt x="646" y="2471"/>
                  </a:lnTo>
                  <a:lnTo>
                    <a:pt x="646" y="2471"/>
                  </a:lnTo>
                  <a:lnTo>
                    <a:pt x="646" y="2471"/>
                  </a:lnTo>
                  <a:lnTo>
                    <a:pt x="646" y="2471"/>
                  </a:lnTo>
                  <a:lnTo>
                    <a:pt x="646" y="2464"/>
                  </a:lnTo>
                  <a:lnTo>
                    <a:pt x="646" y="2471"/>
                  </a:lnTo>
                  <a:lnTo>
                    <a:pt x="646" y="2471"/>
                  </a:lnTo>
                  <a:lnTo>
                    <a:pt x="646" y="2471"/>
                  </a:lnTo>
                  <a:lnTo>
                    <a:pt x="653" y="2471"/>
                  </a:lnTo>
                  <a:lnTo>
                    <a:pt x="653" y="2471"/>
                  </a:lnTo>
                  <a:lnTo>
                    <a:pt x="653" y="2471"/>
                  </a:lnTo>
                  <a:lnTo>
                    <a:pt x="653" y="2471"/>
                  </a:lnTo>
                  <a:lnTo>
                    <a:pt x="653" y="2471"/>
                  </a:lnTo>
                  <a:lnTo>
                    <a:pt x="661" y="2471"/>
                  </a:lnTo>
                  <a:lnTo>
                    <a:pt x="661" y="2471"/>
                  </a:lnTo>
                  <a:lnTo>
                    <a:pt x="661" y="2478"/>
                  </a:lnTo>
                  <a:lnTo>
                    <a:pt x="668" y="2478"/>
                  </a:lnTo>
                  <a:lnTo>
                    <a:pt x="661" y="2478"/>
                  </a:lnTo>
                  <a:lnTo>
                    <a:pt x="661" y="2485"/>
                  </a:lnTo>
                  <a:lnTo>
                    <a:pt x="661" y="2485"/>
                  </a:lnTo>
                  <a:lnTo>
                    <a:pt x="668" y="2478"/>
                  </a:lnTo>
                  <a:lnTo>
                    <a:pt x="668" y="2478"/>
                  </a:lnTo>
                  <a:lnTo>
                    <a:pt x="668" y="2471"/>
                  </a:lnTo>
                  <a:lnTo>
                    <a:pt x="668" y="2471"/>
                  </a:lnTo>
                  <a:lnTo>
                    <a:pt x="661" y="2471"/>
                  </a:lnTo>
                  <a:lnTo>
                    <a:pt x="661" y="2471"/>
                  </a:lnTo>
                  <a:lnTo>
                    <a:pt x="661" y="2471"/>
                  </a:lnTo>
                  <a:lnTo>
                    <a:pt x="653" y="2471"/>
                  </a:lnTo>
                  <a:lnTo>
                    <a:pt x="653" y="2464"/>
                  </a:lnTo>
                  <a:lnTo>
                    <a:pt x="653" y="2464"/>
                  </a:lnTo>
                  <a:lnTo>
                    <a:pt x="653" y="2464"/>
                  </a:lnTo>
                  <a:lnTo>
                    <a:pt x="646" y="2464"/>
                  </a:lnTo>
                  <a:lnTo>
                    <a:pt x="646" y="2456"/>
                  </a:lnTo>
                  <a:lnTo>
                    <a:pt x="646" y="2456"/>
                  </a:lnTo>
                  <a:lnTo>
                    <a:pt x="646" y="2456"/>
                  </a:lnTo>
                  <a:lnTo>
                    <a:pt x="646" y="2456"/>
                  </a:lnTo>
                  <a:lnTo>
                    <a:pt x="646" y="2456"/>
                  </a:lnTo>
                  <a:lnTo>
                    <a:pt x="646" y="2456"/>
                  </a:lnTo>
                  <a:lnTo>
                    <a:pt x="646" y="2456"/>
                  </a:lnTo>
                  <a:lnTo>
                    <a:pt x="646" y="2456"/>
                  </a:lnTo>
                  <a:lnTo>
                    <a:pt x="646" y="2456"/>
                  </a:lnTo>
                  <a:lnTo>
                    <a:pt x="646" y="2449"/>
                  </a:lnTo>
                  <a:lnTo>
                    <a:pt x="646" y="2449"/>
                  </a:lnTo>
                  <a:lnTo>
                    <a:pt x="639" y="2449"/>
                  </a:lnTo>
                  <a:lnTo>
                    <a:pt x="639" y="2449"/>
                  </a:lnTo>
                  <a:lnTo>
                    <a:pt x="639" y="2442"/>
                  </a:lnTo>
                  <a:lnTo>
                    <a:pt x="639" y="2442"/>
                  </a:lnTo>
                  <a:lnTo>
                    <a:pt x="639" y="2435"/>
                  </a:lnTo>
                  <a:lnTo>
                    <a:pt x="639" y="2435"/>
                  </a:lnTo>
                  <a:lnTo>
                    <a:pt x="639" y="2428"/>
                  </a:lnTo>
                  <a:lnTo>
                    <a:pt x="646" y="2428"/>
                  </a:lnTo>
                  <a:lnTo>
                    <a:pt x="646" y="2428"/>
                  </a:lnTo>
                  <a:lnTo>
                    <a:pt x="653" y="2435"/>
                  </a:lnTo>
                  <a:lnTo>
                    <a:pt x="653" y="2442"/>
                  </a:lnTo>
                  <a:lnTo>
                    <a:pt x="661" y="2442"/>
                  </a:lnTo>
                  <a:lnTo>
                    <a:pt x="661" y="2442"/>
                  </a:lnTo>
                  <a:lnTo>
                    <a:pt x="653" y="2435"/>
                  </a:lnTo>
                  <a:lnTo>
                    <a:pt x="653" y="2435"/>
                  </a:lnTo>
                  <a:lnTo>
                    <a:pt x="653" y="2435"/>
                  </a:lnTo>
                  <a:lnTo>
                    <a:pt x="653" y="2428"/>
                  </a:lnTo>
                  <a:lnTo>
                    <a:pt x="653" y="2428"/>
                  </a:lnTo>
                  <a:lnTo>
                    <a:pt x="653" y="2428"/>
                  </a:lnTo>
                  <a:lnTo>
                    <a:pt x="646" y="2428"/>
                  </a:lnTo>
                  <a:lnTo>
                    <a:pt x="646" y="2428"/>
                  </a:lnTo>
                  <a:lnTo>
                    <a:pt x="646" y="2428"/>
                  </a:lnTo>
                  <a:lnTo>
                    <a:pt x="639" y="2421"/>
                  </a:lnTo>
                  <a:lnTo>
                    <a:pt x="639" y="2414"/>
                  </a:lnTo>
                  <a:lnTo>
                    <a:pt x="639" y="2414"/>
                  </a:lnTo>
                  <a:lnTo>
                    <a:pt x="632" y="2407"/>
                  </a:lnTo>
                  <a:lnTo>
                    <a:pt x="632" y="2400"/>
                  </a:lnTo>
                  <a:lnTo>
                    <a:pt x="632" y="2393"/>
                  </a:lnTo>
                  <a:lnTo>
                    <a:pt x="639" y="2393"/>
                  </a:lnTo>
                  <a:lnTo>
                    <a:pt x="639" y="2393"/>
                  </a:lnTo>
                  <a:lnTo>
                    <a:pt x="639" y="2393"/>
                  </a:lnTo>
                  <a:lnTo>
                    <a:pt x="639" y="2393"/>
                  </a:lnTo>
                  <a:lnTo>
                    <a:pt x="639" y="2393"/>
                  </a:lnTo>
                  <a:lnTo>
                    <a:pt x="646" y="2393"/>
                  </a:lnTo>
                  <a:lnTo>
                    <a:pt x="646" y="2385"/>
                  </a:lnTo>
                  <a:lnTo>
                    <a:pt x="646" y="2385"/>
                  </a:lnTo>
                  <a:lnTo>
                    <a:pt x="653" y="2393"/>
                  </a:lnTo>
                  <a:lnTo>
                    <a:pt x="653" y="2393"/>
                  </a:lnTo>
                  <a:lnTo>
                    <a:pt x="653" y="2400"/>
                  </a:lnTo>
                  <a:lnTo>
                    <a:pt x="653" y="2400"/>
                  </a:lnTo>
                  <a:lnTo>
                    <a:pt x="653" y="2400"/>
                  </a:lnTo>
                  <a:lnTo>
                    <a:pt x="653" y="2400"/>
                  </a:lnTo>
                  <a:lnTo>
                    <a:pt x="653" y="2393"/>
                  </a:lnTo>
                  <a:lnTo>
                    <a:pt x="653" y="2393"/>
                  </a:lnTo>
                  <a:lnTo>
                    <a:pt x="661" y="2385"/>
                  </a:lnTo>
                  <a:lnTo>
                    <a:pt x="653" y="2385"/>
                  </a:lnTo>
                  <a:lnTo>
                    <a:pt x="653" y="2385"/>
                  </a:lnTo>
                  <a:lnTo>
                    <a:pt x="653" y="2385"/>
                  </a:lnTo>
                  <a:lnTo>
                    <a:pt x="653" y="2385"/>
                  </a:lnTo>
                  <a:lnTo>
                    <a:pt x="653" y="2378"/>
                  </a:lnTo>
                  <a:lnTo>
                    <a:pt x="653" y="2378"/>
                  </a:lnTo>
                  <a:lnTo>
                    <a:pt x="653" y="2378"/>
                  </a:lnTo>
                  <a:lnTo>
                    <a:pt x="653" y="2378"/>
                  </a:lnTo>
                  <a:lnTo>
                    <a:pt x="653" y="2378"/>
                  </a:lnTo>
                  <a:lnTo>
                    <a:pt x="653" y="2378"/>
                  </a:lnTo>
                  <a:lnTo>
                    <a:pt x="653" y="2378"/>
                  </a:lnTo>
                  <a:lnTo>
                    <a:pt x="646" y="2378"/>
                  </a:lnTo>
                  <a:lnTo>
                    <a:pt x="646" y="2378"/>
                  </a:lnTo>
                  <a:lnTo>
                    <a:pt x="639" y="2378"/>
                  </a:lnTo>
                  <a:lnTo>
                    <a:pt x="646" y="2371"/>
                  </a:lnTo>
                  <a:lnTo>
                    <a:pt x="646" y="2371"/>
                  </a:lnTo>
                  <a:lnTo>
                    <a:pt x="646" y="2371"/>
                  </a:lnTo>
                  <a:lnTo>
                    <a:pt x="646" y="2371"/>
                  </a:lnTo>
                  <a:lnTo>
                    <a:pt x="646" y="2371"/>
                  </a:lnTo>
                  <a:lnTo>
                    <a:pt x="653" y="2371"/>
                  </a:lnTo>
                  <a:lnTo>
                    <a:pt x="653" y="2371"/>
                  </a:lnTo>
                  <a:lnTo>
                    <a:pt x="653" y="2364"/>
                  </a:lnTo>
                  <a:lnTo>
                    <a:pt x="653" y="2364"/>
                  </a:lnTo>
                  <a:lnTo>
                    <a:pt x="653" y="2364"/>
                  </a:lnTo>
                  <a:lnTo>
                    <a:pt x="653" y="2364"/>
                  </a:lnTo>
                  <a:lnTo>
                    <a:pt x="653" y="2364"/>
                  </a:lnTo>
                  <a:lnTo>
                    <a:pt x="661" y="2364"/>
                  </a:lnTo>
                  <a:lnTo>
                    <a:pt x="661" y="2364"/>
                  </a:lnTo>
                  <a:lnTo>
                    <a:pt x="668" y="2357"/>
                  </a:lnTo>
                  <a:lnTo>
                    <a:pt x="661" y="2357"/>
                  </a:lnTo>
                  <a:lnTo>
                    <a:pt x="661" y="2357"/>
                  </a:lnTo>
                  <a:lnTo>
                    <a:pt x="653" y="2364"/>
                  </a:lnTo>
                  <a:lnTo>
                    <a:pt x="653" y="2357"/>
                  </a:lnTo>
                  <a:lnTo>
                    <a:pt x="653" y="2357"/>
                  </a:lnTo>
                  <a:lnTo>
                    <a:pt x="653" y="2357"/>
                  </a:lnTo>
                  <a:lnTo>
                    <a:pt x="653" y="2350"/>
                  </a:lnTo>
                  <a:lnTo>
                    <a:pt x="653" y="2350"/>
                  </a:lnTo>
                  <a:lnTo>
                    <a:pt x="653" y="2350"/>
                  </a:lnTo>
                  <a:lnTo>
                    <a:pt x="653" y="2350"/>
                  </a:lnTo>
                  <a:lnTo>
                    <a:pt x="653" y="2336"/>
                  </a:lnTo>
                  <a:lnTo>
                    <a:pt x="653" y="2336"/>
                  </a:lnTo>
                  <a:lnTo>
                    <a:pt x="646" y="2343"/>
                  </a:lnTo>
                  <a:lnTo>
                    <a:pt x="646" y="2343"/>
                  </a:lnTo>
                  <a:lnTo>
                    <a:pt x="646" y="2350"/>
                  </a:lnTo>
                  <a:lnTo>
                    <a:pt x="646" y="2350"/>
                  </a:lnTo>
                  <a:lnTo>
                    <a:pt x="646" y="2350"/>
                  </a:lnTo>
                  <a:lnTo>
                    <a:pt x="646" y="2357"/>
                  </a:lnTo>
                  <a:lnTo>
                    <a:pt x="639" y="2364"/>
                  </a:lnTo>
                  <a:lnTo>
                    <a:pt x="639" y="2357"/>
                  </a:lnTo>
                  <a:lnTo>
                    <a:pt x="639" y="2357"/>
                  </a:lnTo>
                  <a:lnTo>
                    <a:pt x="639" y="2357"/>
                  </a:lnTo>
                  <a:lnTo>
                    <a:pt x="632" y="2364"/>
                  </a:lnTo>
                  <a:lnTo>
                    <a:pt x="632" y="2364"/>
                  </a:lnTo>
                  <a:lnTo>
                    <a:pt x="632" y="2371"/>
                  </a:lnTo>
                  <a:lnTo>
                    <a:pt x="632" y="2378"/>
                  </a:lnTo>
                  <a:lnTo>
                    <a:pt x="632" y="2378"/>
                  </a:lnTo>
                  <a:lnTo>
                    <a:pt x="625" y="2371"/>
                  </a:lnTo>
                  <a:lnTo>
                    <a:pt x="625" y="2371"/>
                  </a:lnTo>
                  <a:lnTo>
                    <a:pt x="632" y="2371"/>
                  </a:lnTo>
                  <a:lnTo>
                    <a:pt x="632" y="2371"/>
                  </a:lnTo>
                  <a:lnTo>
                    <a:pt x="632" y="2364"/>
                  </a:lnTo>
                  <a:lnTo>
                    <a:pt x="625" y="2364"/>
                  </a:lnTo>
                  <a:lnTo>
                    <a:pt x="625" y="2364"/>
                  </a:lnTo>
                  <a:lnTo>
                    <a:pt x="625" y="2371"/>
                  </a:lnTo>
                  <a:lnTo>
                    <a:pt x="625" y="2371"/>
                  </a:lnTo>
                  <a:lnTo>
                    <a:pt x="625" y="2371"/>
                  </a:lnTo>
                  <a:lnTo>
                    <a:pt x="625" y="2364"/>
                  </a:lnTo>
                  <a:lnTo>
                    <a:pt x="625" y="2364"/>
                  </a:lnTo>
                  <a:lnTo>
                    <a:pt x="632" y="2357"/>
                  </a:lnTo>
                  <a:lnTo>
                    <a:pt x="632" y="2357"/>
                  </a:lnTo>
                  <a:lnTo>
                    <a:pt x="632" y="2357"/>
                  </a:lnTo>
                  <a:lnTo>
                    <a:pt x="632" y="2357"/>
                  </a:lnTo>
                  <a:lnTo>
                    <a:pt x="632" y="2357"/>
                  </a:lnTo>
                  <a:lnTo>
                    <a:pt x="632" y="2357"/>
                  </a:lnTo>
                  <a:lnTo>
                    <a:pt x="632" y="2350"/>
                  </a:lnTo>
                  <a:lnTo>
                    <a:pt x="632" y="2350"/>
                  </a:lnTo>
                  <a:lnTo>
                    <a:pt x="632" y="2350"/>
                  </a:lnTo>
                  <a:lnTo>
                    <a:pt x="632" y="2343"/>
                  </a:lnTo>
                  <a:lnTo>
                    <a:pt x="632" y="2343"/>
                  </a:lnTo>
                  <a:lnTo>
                    <a:pt x="632" y="2343"/>
                  </a:lnTo>
                  <a:lnTo>
                    <a:pt x="632" y="2343"/>
                  </a:lnTo>
                  <a:lnTo>
                    <a:pt x="632" y="2336"/>
                  </a:lnTo>
                  <a:lnTo>
                    <a:pt x="632" y="2336"/>
                  </a:lnTo>
                  <a:lnTo>
                    <a:pt x="632" y="2336"/>
                  </a:lnTo>
                  <a:lnTo>
                    <a:pt x="632" y="2336"/>
                  </a:lnTo>
                  <a:lnTo>
                    <a:pt x="632" y="2336"/>
                  </a:lnTo>
                  <a:lnTo>
                    <a:pt x="632" y="2336"/>
                  </a:lnTo>
                  <a:lnTo>
                    <a:pt x="632" y="2336"/>
                  </a:lnTo>
                  <a:lnTo>
                    <a:pt x="625" y="2336"/>
                  </a:lnTo>
                  <a:lnTo>
                    <a:pt x="625" y="2336"/>
                  </a:lnTo>
                  <a:lnTo>
                    <a:pt x="625" y="2336"/>
                  </a:lnTo>
                  <a:lnTo>
                    <a:pt x="625" y="2336"/>
                  </a:lnTo>
                  <a:lnTo>
                    <a:pt x="625" y="2336"/>
                  </a:lnTo>
                  <a:lnTo>
                    <a:pt x="632" y="2329"/>
                  </a:lnTo>
                  <a:lnTo>
                    <a:pt x="632" y="2322"/>
                  </a:lnTo>
                  <a:lnTo>
                    <a:pt x="632" y="2322"/>
                  </a:lnTo>
                  <a:lnTo>
                    <a:pt x="632" y="2322"/>
                  </a:lnTo>
                  <a:lnTo>
                    <a:pt x="632" y="2322"/>
                  </a:lnTo>
                  <a:lnTo>
                    <a:pt x="625" y="2329"/>
                  </a:lnTo>
                  <a:lnTo>
                    <a:pt x="625" y="2329"/>
                  </a:lnTo>
                  <a:lnTo>
                    <a:pt x="625" y="2322"/>
                  </a:lnTo>
                  <a:lnTo>
                    <a:pt x="625" y="2314"/>
                  </a:lnTo>
                  <a:lnTo>
                    <a:pt x="625" y="2314"/>
                  </a:lnTo>
                  <a:lnTo>
                    <a:pt x="632" y="2314"/>
                  </a:lnTo>
                  <a:lnTo>
                    <a:pt x="639" y="2314"/>
                  </a:lnTo>
                  <a:lnTo>
                    <a:pt x="639" y="2314"/>
                  </a:lnTo>
                  <a:lnTo>
                    <a:pt x="646" y="2314"/>
                  </a:lnTo>
                  <a:lnTo>
                    <a:pt x="646" y="2314"/>
                  </a:lnTo>
                  <a:lnTo>
                    <a:pt x="646" y="2314"/>
                  </a:lnTo>
                  <a:lnTo>
                    <a:pt x="653" y="2314"/>
                  </a:lnTo>
                  <a:lnTo>
                    <a:pt x="653" y="2314"/>
                  </a:lnTo>
                  <a:lnTo>
                    <a:pt x="653" y="2322"/>
                  </a:lnTo>
                  <a:lnTo>
                    <a:pt x="661" y="2329"/>
                  </a:lnTo>
                  <a:lnTo>
                    <a:pt x="661" y="2329"/>
                  </a:lnTo>
                  <a:lnTo>
                    <a:pt x="668" y="2329"/>
                  </a:lnTo>
                  <a:lnTo>
                    <a:pt x="661" y="2329"/>
                  </a:lnTo>
                  <a:lnTo>
                    <a:pt x="661" y="2322"/>
                  </a:lnTo>
                  <a:lnTo>
                    <a:pt x="661" y="2322"/>
                  </a:lnTo>
                  <a:lnTo>
                    <a:pt x="661" y="2322"/>
                  </a:lnTo>
                  <a:lnTo>
                    <a:pt x="661" y="2322"/>
                  </a:lnTo>
                  <a:lnTo>
                    <a:pt x="661" y="2322"/>
                  </a:lnTo>
                  <a:lnTo>
                    <a:pt x="653" y="2314"/>
                  </a:lnTo>
                  <a:lnTo>
                    <a:pt x="653" y="2314"/>
                  </a:lnTo>
                  <a:lnTo>
                    <a:pt x="646" y="2314"/>
                  </a:lnTo>
                  <a:lnTo>
                    <a:pt x="646" y="2314"/>
                  </a:lnTo>
                  <a:lnTo>
                    <a:pt x="639" y="2314"/>
                  </a:lnTo>
                  <a:lnTo>
                    <a:pt x="639" y="2307"/>
                  </a:lnTo>
                  <a:lnTo>
                    <a:pt x="632" y="2307"/>
                  </a:lnTo>
                  <a:lnTo>
                    <a:pt x="632" y="2314"/>
                  </a:lnTo>
                  <a:lnTo>
                    <a:pt x="632" y="2314"/>
                  </a:lnTo>
                  <a:lnTo>
                    <a:pt x="625" y="2307"/>
                  </a:lnTo>
                  <a:lnTo>
                    <a:pt x="625" y="2307"/>
                  </a:lnTo>
                  <a:lnTo>
                    <a:pt x="625" y="2300"/>
                  </a:lnTo>
                  <a:lnTo>
                    <a:pt x="625" y="2293"/>
                  </a:lnTo>
                  <a:lnTo>
                    <a:pt x="625" y="2293"/>
                  </a:lnTo>
                  <a:lnTo>
                    <a:pt x="625" y="2286"/>
                  </a:lnTo>
                  <a:lnTo>
                    <a:pt x="625" y="2286"/>
                  </a:lnTo>
                  <a:lnTo>
                    <a:pt x="639" y="2279"/>
                  </a:lnTo>
                  <a:lnTo>
                    <a:pt x="639" y="2279"/>
                  </a:lnTo>
                  <a:lnTo>
                    <a:pt x="632" y="2279"/>
                  </a:lnTo>
                  <a:lnTo>
                    <a:pt x="632" y="2279"/>
                  </a:lnTo>
                  <a:lnTo>
                    <a:pt x="632" y="2279"/>
                  </a:lnTo>
                  <a:lnTo>
                    <a:pt x="625" y="2279"/>
                  </a:lnTo>
                  <a:lnTo>
                    <a:pt x="625" y="2279"/>
                  </a:lnTo>
                  <a:lnTo>
                    <a:pt x="625" y="2279"/>
                  </a:lnTo>
                  <a:lnTo>
                    <a:pt x="625" y="2279"/>
                  </a:lnTo>
                  <a:lnTo>
                    <a:pt x="625" y="2279"/>
                  </a:lnTo>
                  <a:lnTo>
                    <a:pt x="625" y="2272"/>
                  </a:lnTo>
                  <a:lnTo>
                    <a:pt x="618" y="2272"/>
                  </a:lnTo>
                  <a:lnTo>
                    <a:pt x="618" y="2272"/>
                  </a:lnTo>
                  <a:lnTo>
                    <a:pt x="618" y="2279"/>
                  </a:lnTo>
                  <a:lnTo>
                    <a:pt x="618" y="2279"/>
                  </a:lnTo>
                  <a:lnTo>
                    <a:pt x="618" y="2279"/>
                  </a:lnTo>
                  <a:lnTo>
                    <a:pt x="618" y="2279"/>
                  </a:lnTo>
                  <a:lnTo>
                    <a:pt x="625" y="2279"/>
                  </a:lnTo>
                  <a:lnTo>
                    <a:pt x="625" y="2279"/>
                  </a:lnTo>
                  <a:lnTo>
                    <a:pt x="625" y="2286"/>
                  </a:lnTo>
                  <a:lnTo>
                    <a:pt x="625" y="2286"/>
                  </a:lnTo>
                  <a:lnTo>
                    <a:pt x="618" y="2286"/>
                  </a:lnTo>
                  <a:lnTo>
                    <a:pt x="618" y="2279"/>
                  </a:lnTo>
                  <a:lnTo>
                    <a:pt x="618" y="2272"/>
                  </a:lnTo>
                  <a:lnTo>
                    <a:pt x="618" y="2272"/>
                  </a:lnTo>
                  <a:lnTo>
                    <a:pt x="618" y="2265"/>
                  </a:lnTo>
                  <a:lnTo>
                    <a:pt x="611" y="2251"/>
                  </a:lnTo>
                  <a:lnTo>
                    <a:pt x="618" y="2251"/>
                  </a:lnTo>
                  <a:lnTo>
                    <a:pt x="618" y="2258"/>
                  </a:lnTo>
                  <a:lnTo>
                    <a:pt x="618" y="2258"/>
                  </a:lnTo>
                  <a:lnTo>
                    <a:pt x="618" y="2258"/>
                  </a:lnTo>
                  <a:lnTo>
                    <a:pt x="618" y="2258"/>
                  </a:lnTo>
                  <a:lnTo>
                    <a:pt x="618" y="2258"/>
                  </a:lnTo>
                  <a:lnTo>
                    <a:pt x="618" y="2251"/>
                  </a:lnTo>
                  <a:lnTo>
                    <a:pt x="618" y="2251"/>
                  </a:lnTo>
                  <a:lnTo>
                    <a:pt x="618" y="2251"/>
                  </a:lnTo>
                  <a:lnTo>
                    <a:pt x="618" y="2251"/>
                  </a:lnTo>
                  <a:lnTo>
                    <a:pt x="618" y="2251"/>
                  </a:lnTo>
                  <a:lnTo>
                    <a:pt x="618" y="2251"/>
                  </a:lnTo>
                  <a:lnTo>
                    <a:pt x="618" y="2244"/>
                  </a:lnTo>
                  <a:lnTo>
                    <a:pt x="618" y="2244"/>
                  </a:lnTo>
                  <a:lnTo>
                    <a:pt x="618" y="2244"/>
                  </a:lnTo>
                  <a:lnTo>
                    <a:pt x="611" y="2251"/>
                  </a:lnTo>
                  <a:lnTo>
                    <a:pt x="611" y="2251"/>
                  </a:lnTo>
                  <a:lnTo>
                    <a:pt x="611" y="2244"/>
                  </a:lnTo>
                  <a:lnTo>
                    <a:pt x="611" y="2244"/>
                  </a:lnTo>
                  <a:lnTo>
                    <a:pt x="611" y="2236"/>
                  </a:lnTo>
                  <a:lnTo>
                    <a:pt x="611" y="2236"/>
                  </a:lnTo>
                  <a:lnTo>
                    <a:pt x="611" y="2236"/>
                  </a:lnTo>
                  <a:lnTo>
                    <a:pt x="611" y="2229"/>
                  </a:lnTo>
                  <a:lnTo>
                    <a:pt x="611" y="2229"/>
                  </a:lnTo>
                  <a:lnTo>
                    <a:pt x="611" y="2222"/>
                  </a:lnTo>
                  <a:lnTo>
                    <a:pt x="611" y="2222"/>
                  </a:lnTo>
                  <a:lnTo>
                    <a:pt x="611" y="2222"/>
                  </a:lnTo>
                  <a:lnTo>
                    <a:pt x="611" y="2215"/>
                  </a:lnTo>
                  <a:lnTo>
                    <a:pt x="611" y="2215"/>
                  </a:lnTo>
                  <a:lnTo>
                    <a:pt x="618" y="2215"/>
                  </a:lnTo>
                  <a:lnTo>
                    <a:pt x="618" y="2215"/>
                  </a:lnTo>
                  <a:lnTo>
                    <a:pt x="618" y="2208"/>
                  </a:lnTo>
                  <a:lnTo>
                    <a:pt x="618" y="2201"/>
                  </a:lnTo>
                  <a:lnTo>
                    <a:pt x="618" y="2201"/>
                  </a:lnTo>
                  <a:lnTo>
                    <a:pt x="618" y="2194"/>
                  </a:lnTo>
                  <a:lnTo>
                    <a:pt x="618" y="2187"/>
                  </a:lnTo>
                  <a:lnTo>
                    <a:pt x="625" y="2187"/>
                  </a:lnTo>
                  <a:lnTo>
                    <a:pt x="625" y="2180"/>
                  </a:lnTo>
                  <a:lnTo>
                    <a:pt x="625" y="2180"/>
                  </a:lnTo>
                  <a:lnTo>
                    <a:pt x="625" y="2180"/>
                  </a:lnTo>
                  <a:lnTo>
                    <a:pt x="625" y="2180"/>
                  </a:lnTo>
                  <a:lnTo>
                    <a:pt x="625" y="2180"/>
                  </a:lnTo>
                  <a:lnTo>
                    <a:pt x="625" y="2180"/>
                  </a:lnTo>
                  <a:lnTo>
                    <a:pt x="625" y="2173"/>
                  </a:lnTo>
                  <a:lnTo>
                    <a:pt x="625" y="2173"/>
                  </a:lnTo>
                  <a:lnTo>
                    <a:pt x="625" y="2173"/>
                  </a:lnTo>
                  <a:lnTo>
                    <a:pt x="625" y="2165"/>
                  </a:lnTo>
                  <a:lnTo>
                    <a:pt x="625" y="2165"/>
                  </a:lnTo>
                  <a:lnTo>
                    <a:pt x="625" y="2165"/>
                  </a:lnTo>
                  <a:lnTo>
                    <a:pt x="625" y="2158"/>
                  </a:lnTo>
                  <a:lnTo>
                    <a:pt x="632" y="2158"/>
                  </a:lnTo>
                  <a:lnTo>
                    <a:pt x="632" y="2158"/>
                  </a:lnTo>
                  <a:lnTo>
                    <a:pt x="632" y="2158"/>
                  </a:lnTo>
                  <a:lnTo>
                    <a:pt x="632" y="2158"/>
                  </a:lnTo>
                  <a:lnTo>
                    <a:pt x="632" y="2158"/>
                  </a:lnTo>
                  <a:lnTo>
                    <a:pt x="632" y="2151"/>
                  </a:lnTo>
                  <a:lnTo>
                    <a:pt x="632" y="2144"/>
                  </a:lnTo>
                  <a:lnTo>
                    <a:pt x="639" y="2144"/>
                  </a:lnTo>
                  <a:lnTo>
                    <a:pt x="639" y="2137"/>
                  </a:lnTo>
                  <a:lnTo>
                    <a:pt x="646" y="2130"/>
                  </a:lnTo>
                  <a:lnTo>
                    <a:pt x="646" y="2130"/>
                  </a:lnTo>
                  <a:lnTo>
                    <a:pt x="646" y="2130"/>
                  </a:lnTo>
                  <a:lnTo>
                    <a:pt x="646" y="2123"/>
                  </a:lnTo>
                  <a:lnTo>
                    <a:pt x="646" y="2123"/>
                  </a:lnTo>
                  <a:lnTo>
                    <a:pt x="646" y="2123"/>
                  </a:lnTo>
                  <a:lnTo>
                    <a:pt x="646" y="2116"/>
                  </a:lnTo>
                  <a:lnTo>
                    <a:pt x="646" y="2116"/>
                  </a:lnTo>
                  <a:lnTo>
                    <a:pt x="646" y="2116"/>
                  </a:lnTo>
                  <a:lnTo>
                    <a:pt x="646" y="2109"/>
                  </a:lnTo>
                  <a:lnTo>
                    <a:pt x="646" y="2109"/>
                  </a:lnTo>
                  <a:lnTo>
                    <a:pt x="646" y="2102"/>
                  </a:lnTo>
                  <a:lnTo>
                    <a:pt x="653" y="2102"/>
                  </a:lnTo>
                  <a:lnTo>
                    <a:pt x="653" y="2102"/>
                  </a:lnTo>
                  <a:lnTo>
                    <a:pt x="653" y="2102"/>
                  </a:lnTo>
                  <a:lnTo>
                    <a:pt x="653" y="2094"/>
                  </a:lnTo>
                  <a:lnTo>
                    <a:pt x="646" y="2094"/>
                  </a:lnTo>
                  <a:lnTo>
                    <a:pt x="646" y="2094"/>
                  </a:lnTo>
                  <a:lnTo>
                    <a:pt x="646" y="2094"/>
                  </a:lnTo>
                  <a:lnTo>
                    <a:pt x="646" y="2094"/>
                  </a:lnTo>
                  <a:lnTo>
                    <a:pt x="646" y="2094"/>
                  </a:lnTo>
                  <a:lnTo>
                    <a:pt x="646" y="2087"/>
                  </a:lnTo>
                  <a:lnTo>
                    <a:pt x="646" y="2094"/>
                  </a:lnTo>
                  <a:lnTo>
                    <a:pt x="646" y="2094"/>
                  </a:lnTo>
                  <a:lnTo>
                    <a:pt x="646" y="2087"/>
                  </a:lnTo>
                  <a:lnTo>
                    <a:pt x="646" y="2087"/>
                  </a:lnTo>
                  <a:lnTo>
                    <a:pt x="646" y="2080"/>
                  </a:lnTo>
                  <a:lnTo>
                    <a:pt x="646" y="2080"/>
                  </a:lnTo>
                  <a:lnTo>
                    <a:pt x="646" y="2087"/>
                  </a:lnTo>
                  <a:lnTo>
                    <a:pt x="639" y="2087"/>
                  </a:lnTo>
                  <a:lnTo>
                    <a:pt x="639" y="2087"/>
                  </a:lnTo>
                  <a:lnTo>
                    <a:pt x="639" y="2087"/>
                  </a:lnTo>
                  <a:lnTo>
                    <a:pt x="639" y="2080"/>
                  </a:lnTo>
                  <a:lnTo>
                    <a:pt x="639" y="2080"/>
                  </a:lnTo>
                  <a:lnTo>
                    <a:pt x="639" y="2073"/>
                  </a:lnTo>
                  <a:lnTo>
                    <a:pt x="639" y="2073"/>
                  </a:lnTo>
                  <a:lnTo>
                    <a:pt x="646" y="2073"/>
                  </a:lnTo>
                  <a:lnTo>
                    <a:pt x="646" y="2066"/>
                  </a:lnTo>
                  <a:lnTo>
                    <a:pt x="646" y="2066"/>
                  </a:lnTo>
                  <a:lnTo>
                    <a:pt x="639" y="2066"/>
                  </a:lnTo>
                  <a:lnTo>
                    <a:pt x="639" y="2066"/>
                  </a:lnTo>
                  <a:lnTo>
                    <a:pt x="632" y="2066"/>
                  </a:lnTo>
                  <a:lnTo>
                    <a:pt x="632" y="2066"/>
                  </a:lnTo>
                  <a:lnTo>
                    <a:pt x="632" y="2066"/>
                  </a:lnTo>
                  <a:lnTo>
                    <a:pt x="632" y="2066"/>
                  </a:lnTo>
                  <a:lnTo>
                    <a:pt x="632" y="2066"/>
                  </a:lnTo>
                  <a:lnTo>
                    <a:pt x="632" y="2066"/>
                  </a:lnTo>
                  <a:lnTo>
                    <a:pt x="632" y="2066"/>
                  </a:lnTo>
                  <a:lnTo>
                    <a:pt x="625" y="2059"/>
                  </a:lnTo>
                  <a:lnTo>
                    <a:pt x="625" y="2059"/>
                  </a:lnTo>
                  <a:lnTo>
                    <a:pt x="632" y="2059"/>
                  </a:lnTo>
                  <a:lnTo>
                    <a:pt x="632" y="2059"/>
                  </a:lnTo>
                  <a:lnTo>
                    <a:pt x="639" y="2059"/>
                  </a:lnTo>
                  <a:lnTo>
                    <a:pt x="639" y="2059"/>
                  </a:lnTo>
                  <a:lnTo>
                    <a:pt x="632" y="2045"/>
                  </a:lnTo>
                  <a:lnTo>
                    <a:pt x="632" y="2045"/>
                  </a:lnTo>
                  <a:lnTo>
                    <a:pt x="632" y="2045"/>
                  </a:lnTo>
                  <a:lnTo>
                    <a:pt x="625" y="2045"/>
                  </a:lnTo>
                  <a:lnTo>
                    <a:pt x="625" y="2045"/>
                  </a:lnTo>
                  <a:lnTo>
                    <a:pt x="625" y="2045"/>
                  </a:lnTo>
                  <a:lnTo>
                    <a:pt x="625" y="2045"/>
                  </a:lnTo>
                  <a:lnTo>
                    <a:pt x="625" y="2045"/>
                  </a:lnTo>
                  <a:lnTo>
                    <a:pt x="625" y="2045"/>
                  </a:lnTo>
                  <a:lnTo>
                    <a:pt x="625" y="2052"/>
                  </a:lnTo>
                  <a:lnTo>
                    <a:pt x="625" y="2052"/>
                  </a:lnTo>
                  <a:lnTo>
                    <a:pt x="618" y="2052"/>
                  </a:lnTo>
                  <a:lnTo>
                    <a:pt x="618" y="2045"/>
                  </a:lnTo>
                  <a:lnTo>
                    <a:pt x="618" y="2045"/>
                  </a:lnTo>
                  <a:lnTo>
                    <a:pt x="625" y="2045"/>
                  </a:lnTo>
                  <a:lnTo>
                    <a:pt x="618" y="2038"/>
                  </a:lnTo>
                  <a:lnTo>
                    <a:pt x="618" y="2038"/>
                  </a:lnTo>
                  <a:lnTo>
                    <a:pt x="618" y="2038"/>
                  </a:lnTo>
                  <a:lnTo>
                    <a:pt x="618" y="2045"/>
                  </a:lnTo>
                  <a:lnTo>
                    <a:pt x="618" y="2045"/>
                  </a:lnTo>
                  <a:lnTo>
                    <a:pt x="618" y="2045"/>
                  </a:lnTo>
                  <a:lnTo>
                    <a:pt x="618" y="2045"/>
                  </a:lnTo>
                  <a:lnTo>
                    <a:pt x="618" y="2052"/>
                  </a:lnTo>
                  <a:lnTo>
                    <a:pt x="611" y="2052"/>
                  </a:lnTo>
                  <a:lnTo>
                    <a:pt x="611" y="2052"/>
                  </a:lnTo>
                  <a:lnTo>
                    <a:pt x="611" y="2052"/>
                  </a:lnTo>
                  <a:lnTo>
                    <a:pt x="611" y="2052"/>
                  </a:lnTo>
                  <a:lnTo>
                    <a:pt x="604" y="2045"/>
                  </a:lnTo>
                  <a:lnTo>
                    <a:pt x="604" y="2045"/>
                  </a:lnTo>
                  <a:lnTo>
                    <a:pt x="611" y="2045"/>
                  </a:lnTo>
                  <a:lnTo>
                    <a:pt x="618" y="2038"/>
                  </a:lnTo>
                  <a:lnTo>
                    <a:pt x="618" y="2038"/>
                  </a:lnTo>
                  <a:lnTo>
                    <a:pt x="625" y="2038"/>
                  </a:lnTo>
                  <a:lnTo>
                    <a:pt x="625" y="2038"/>
                  </a:lnTo>
                  <a:lnTo>
                    <a:pt x="625" y="2031"/>
                  </a:lnTo>
                  <a:lnTo>
                    <a:pt x="618" y="2031"/>
                  </a:lnTo>
                  <a:lnTo>
                    <a:pt x="618" y="2031"/>
                  </a:lnTo>
                  <a:lnTo>
                    <a:pt x="618" y="2031"/>
                  </a:lnTo>
                  <a:lnTo>
                    <a:pt x="611" y="2031"/>
                  </a:lnTo>
                  <a:lnTo>
                    <a:pt x="611" y="2023"/>
                  </a:lnTo>
                  <a:lnTo>
                    <a:pt x="611" y="2023"/>
                  </a:lnTo>
                  <a:lnTo>
                    <a:pt x="611" y="2023"/>
                  </a:lnTo>
                  <a:lnTo>
                    <a:pt x="611" y="2023"/>
                  </a:lnTo>
                  <a:lnTo>
                    <a:pt x="604" y="2023"/>
                  </a:lnTo>
                  <a:lnTo>
                    <a:pt x="604" y="2023"/>
                  </a:lnTo>
                  <a:lnTo>
                    <a:pt x="604" y="2016"/>
                  </a:lnTo>
                  <a:lnTo>
                    <a:pt x="604" y="2016"/>
                  </a:lnTo>
                  <a:lnTo>
                    <a:pt x="604" y="2016"/>
                  </a:lnTo>
                  <a:lnTo>
                    <a:pt x="604" y="2009"/>
                  </a:lnTo>
                  <a:lnTo>
                    <a:pt x="604" y="2009"/>
                  </a:lnTo>
                  <a:lnTo>
                    <a:pt x="611" y="2009"/>
                  </a:lnTo>
                  <a:lnTo>
                    <a:pt x="611" y="2009"/>
                  </a:lnTo>
                  <a:lnTo>
                    <a:pt x="611" y="2009"/>
                  </a:lnTo>
                  <a:lnTo>
                    <a:pt x="611" y="2009"/>
                  </a:lnTo>
                  <a:lnTo>
                    <a:pt x="604" y="2009"/>
                  </a:lnTo>
                  <a:lnTo>
                    <a:pt x="604" y="2009"/>
                  </a:lnTo>
                  <a:lnTo>
                    <a:pt x="604" y="2009"/>
                  </a:lnTo>
                  <a:lnTo>
                    <a:pt x="597" y="2009"/>
                  </a:lnTo>
                  <a:lnTo>
                    <a:pt x="604" y="2009"/>
                  </a:lnTo>
                  <a:lnTo>
                    <a:pt x="611" y="2002"/>
                  </a:lnTo>
                  <a:lnTo>
                    <a:pt x="618" y="2002"/>
                  </a:lnTo>
                  <a:lnTo>
                    <a:pt x="618" y="2002"/>
                  </a:lnTo>
                  <a:lnTo>
                    <a:pt x="625" y="1995"/>
                  </a:lnTo>
                  <a:lnTo>
                    <a:pt x="625" y="1995"/>
                  </a:lnTo>
                  <a:lnTo>
                    <a:pt x="625" y="1995"/>
                  </a:lnTo>
                  <a:lnTo>
                    <a:pt x="625" y="1995"/>
                  </a:lnTo>
                  <a:lnTo>
                    <a:pt x="625" y="1995"/>
                  </a:lnTo>
                  <a:lnTo>
                    <a:pt x="618" y="1995"/>
                  </a:lnTo>
                  <a:lnTo>
                    <a:pt x="611" y="1995"/>
                  </a:lnTo>
                  <a:lnTo>
                    <a:pt x="604" y="2002"/>
                  </a:lnTo>
                  <a:lnTo>
                    <a:pt x="604" y="2002"/>
                  </a:lnTo>
                  <a:lnTo>
                    <a:pt x="604" y="2002"/>
                  </a:lnTo>
                  <a:lnTo>
                    <a:pt x="611" y="1995"/>
                  </a:lnTo>
                  <a:lnTo>
                    <a:pt x="611" y="1988"/>
                  </a:lnTo>
                  <a:lnTo>
                    <a:pt x="611" y="1988"/>
                  </a:lnTo>
                  <a:lnTo>
                    <a:pt x="618" y="1981"/>
                  </a:lnTo>
                  <a:lnTo>
                    <a:pt x="618" y="1981"/>
                  </a:lnTo>
                  <a:lnTo>
                    <a:pt x="625" y="1981"/>
                  </a:lnTo>
                  <a:lnTo>
                    <a:pt x="625" y="1981"/>
                  </a:lnTo>
                  <a:lnTo>
                    <a:pt x="632" y="1981"/>
                  </a:lnTo>
                  <a:lnTo>
                    <a:pt x="632" y="1974"/>
                  </a:lnTo>
                  <a:lnTo>
                    <a:pt x="632" y="1974"/>
                  </a:lnTo>
                  <a:lnTo>
                    <a:pt x="639" y="1967"/>
                  </a:lnTo>
                  <a:lnTo>
                    <a:pt x="639" y="1967"/>
                  </a:lnTo>
                  <a:lnTo>
                    <a:pt x="639" y="1967"/>
                  </a:lnTo>
                  <a:lnTo>
                    <a:pt x="646" y="1974"/>
                  </a:lnTo>
                  <a:lnTo>
                    <a:pt x="646" y="1967"/>
                  </a:lnTo>
                  <a:lnTo>
                    <a:pt x="653" y="1967"/>
                  </a:lnTo>
                  <a:lnTo>
                    <a:pt x="653" y="1967"/>
                  </a:lnTo>
                  <a:lnTo>
                    <a:pt x="668" y="1960"/>
                  </a:lnTo>
                  <a:lnTo>
                    <a:pt x="675" y="1960"/>
                  </a:lnTo>
                  <a:lnTo>
                    <a:pt x="675" y="1960"/>
                  </a:lnTo>
                  <a:lnTo>
                    <a:pt x="675" y="1952"/>
                  </a:lnTo>
                  <a:lnTo>
                    <a:pt x="682" y="1952"/>
                  </a:lnTo>
                  <a:lnTo>
                    <a:pt x="682" y="1952"/>
                  </a:lnTo>
                  <a:lnTo>
                    <a:pt x="682" y="1952"/>
                  </a:lnTo>
                  <a:lnTo>
                    <a:pt x="682" y="1952"/>
                  </a:lnTo>
                  <a:lnTo>
                    <a:pt x="675" y="1952"/>
                  </a:lnTo>
                  <a:lnTo>
                    <a:pt x="668" y="1960"/>
                  </a:lnTo>
                  <a:lnTo>
                    <a:pt x="668" y="1960"/>
                  </a:lnTo>
                  <a:lnTo>
                    <a:pt x="668" y="1960"/>
                  </a:lnTo>
                  <a:lnTo>
                    <a:pt x="661" y="1960"/>
                  </a:lnTo>
                  <a:lnTo>
                    <a:pt x="661" y="1960"/>
                  </a:lnTo>
                  <a:lnTo>
                    <a:pt x="653" y="1960"/>
                  </a:lnTo>
                  <a:lnTo>
                    <a:pt x="653" y="1967"/>
                  </a:lnTo>
                  <a:lnTo>
                    <a:pt x="646" y="1960"/>
                  </a:lnTo>
                  <a:lnTo>
                    <a:pt x="639" y="1960"/>
                  </a:lnTo>
                  <a:lnTo>
                    <a:pt x="639" y="1960"/>
                  </a:lnTo>
                  <a:lnTo>
                    <a:pt x="639" y="1967"/>
                  </a:lnTo>
                  <a:lnTo>
                    <a:pt x="632" y="1967"/>
                  </a:lnTo>
                  <a:lnTo>
                    <a:pt x="625" y="1960"/>
                  </a:lnTo>
                  <a:lnTo>
                    <a:pt x="625" y="1960"/>
                  </a:lnTo>
                  <a:lnTo>
                    <a:pt x="618" y="1967"/>
                  </a:lnTo>
                  <a:lnTo>
                    <a:pt x="611" y="1967"/>
                  </a:lnTo>
                  <a:lnTo>
                    <a:pt x="611" y="1960"/>
                  </a:lnTo>
                  <a:lnTo>
                    <a:pt x="611" y="1960"/>
                  </a:lnTo>
                  <a:lnTo>
                    <a:pt x="604" y="1967"/>
                  </a:lnTo>
                  <a:lnTo>
                    <a:pt x="597" y="1967"/>
                  </a:lnTo>
                  <a:lnTo>
                    <a:pt x="597" y="1967"/>
                  </a:lnTo>
                  <a:lnTo>
                    <a:pt x="597" y="1960"/>
                  </a:lnTo>
                  <a:lnTo>
                    <a:pt x="597" y="1960"/>
                  </a:lnTo>
                  <a:lnTo>
                    <a:pt x="597" y="1952"/>
                  </a:lnTo>
                  <a:lnTo>
                    <a:pt x="597" y="1952"/>
                  </a:lnTo>
                  <a:lnTo>
                    <a:pt x="604" y="1938"/>
                  </a:lnTo>
                  <a:lnTo>
                    <a:pt x="604" y="1938"/>
                  </a:lnTo>
                  <a:lnTo>
                    <a:pt x="604" y="1938"/>
                  </a:lnTo>
                  <a:lnTo>
                    <a:pt x="604" y="1931"/>
                  </a:lnTo>
                  <a:lnTo>
                    <a:pt x="611" y="1924"/>
                  </a:lnTo>
                  <a:lnTo>
                    <a:pt x="611" y="1924"/>
                  </a:lnTo>
                  <a:lnTo>
                    <a:pt x="611" y="1924"/>
                  </a:lnTo>
                  <a:lnTo>
                    <a:pt x="618" y="1924"/>
                  </a:lnTo>
                  <a:lnTo>
                    <a:pt x="618" y="1924"/>
                  </a:lnTo>
                  <a:lnTo>
                    <a:pt x="618" y="1924"/>
                  </a:lnTo>
                  <a:lnTo>
                    <a:pt x="625" y="1917"/>
                  </a:lnTo>
                  <a:lnTo>
                    <a:pt x="625" y="1917"/>
                  </a:lnTo>
                  <a:lnTo>
                    <a:pt x="625" y="1917"/>
                  </a:lnTo>
                  <a:lnTo>
                    <a:pt x="625" y="1917"/>
                  </a:lnTo>
                  <a:lnTo>
                    <a:pt x="625" y="1917"/>
                  </a:lnTo>
                  <a:lnTo>
                    <a:pt x="625" y="1917"/>
                  </a:lnTo>
                  <a:lnTo>
                    <a:pt x="625" y="1917"/>
                  </a:lnTo>
                  <a:lnTo>
                    <a:pt x="618" y="1917"/>
                  </a:lnTo>
                  <a:lnTo>
                    <a:pt x="618" y="1917"/>
                  </a:lnTo>
                  <a:lnTo>
                    <a:pt x="618" y="1917"/>
                  </a:lnTo>
                  <a:lnTo>
                    <a:pt x="618" y="1924"/>
                  </a:lnTo>
                  <a:lnTo>
                    <a:pt x="611" y="1924"/>
                  </a:lnTo>
                  <a:lnTo>
                    <a:pt x="611" y="1924"/>
                  </a:lnTo>
                  <a:lnTo>
                    <a:pt x="604" y="1924"/>
                  </a:lnTo>
                  <a:lnTo>
                    <a:pt x="604" y="1924"/>
                  </a:lnTo>
                  <a:lnTo>
                    <a:pt x="604" y="1931"/>
                  </a:lnTo>
                  <a:lnTo>
                    <a:pt x="597" y="1931"/>
                  </a:lnTo>
                  <a:lnTo>
                    <a:pt x="597" y="1931"/>
                  </a:lnTo>
                  <a:lnTo>
                    <a:pt x="597" y="1924"/>
                  </a:lnTo>
                  <a:lnTo>
                    <a:pt x="590" y="1917"/>
                  </a:lnTo>
                  <a:lnTo>
                    <a:pt x="597" y="1917"/>
                  </a:lnTo>
                  <a:lnTo>
                    <a:pt x="597" y="1910"/>
                  </a:lnTo>
                  <a:lnTo>
                    <a:pt x="597" y="1910"/>
                  </a:lnTo>
                  <a:lnTo>
                    <a:pt x="597" y="1910"/>
                  </a:lnTo>
                  <a:lnTo>
                    <a:pt x="597" y="1903"/>
                  </a:lnTo>
                  <a:lnTo>
                    <a:pt x="597" y="1903"/>
                  </a:lnTo>
                  <a:lnTo>
                    <a:pt x="597" y="1903"/>
                  </a:lnTo>
                  <a:lnTo>
                    <a:pt x="597" y="1896"/>
                  </a:lnTo>
                  <a:lnTo>
                    <a:pt x="597" y="1896"/>
                  </a:lnTo>
                  <a:lnTo>
                    <a:pt x="597" y="1896"/>
                  </a:lnTo>
                  <a:lnTo>
                    <a:pt x="604" y="1889"/>
                  </a:lnTo>
                  <a:lnTo>
                    <a:pt x="604" y="1889"/>
                  </a:lnTo>
                  <a:lnTo>
                    <a:pt x="604" y="1889"/>
                  </a:lnTo>
                  <a:lnTo>
                    <a:pt x="611" y="1889"/>
                  </a:lnTo>
                  <a:lnTo>
                    <a:pt x="611" y="1889"/>
                  </a:lnTo>
                  <a:lnTo>
                    <a:pt x="611" y="1889"/>
                  </a:lnTo>
                  <a:lnTo>
                    <a:pt x="618" y="1889"/>
                  </a:lnTo>
                  <a:lnTo>
                    <a:pt x="618" y="1889"/>
                  </a:lnTo>
                  <a:lnTo>
                    <a:pt x="618" y="1889"/>
                  </a:lnTo>
                  <a:lnTo>
                    <a:pt x="618" y="1889"/>
                  </a:lnTo>
                  <a:lnTo>
                    <a:pt x="625" y="1889"/>
                  </a:lnTo>
                  <a:lnTo>
                    <a:pt x="625" y="1889"/>
                  </a:lnTo>
                  <a:lnTo>
                    <a:pt x="625" y="1889"/>
                  </a:lnTo>
                  <a:lnTo>
                    <a:pt x="625" y="1896"/>
                  </a:lnTo>
                  <a:lnTo>
                    <a:pt x="632" y="1881"/>
                  </a:lnTo>
                  <a:lnTo>
                    <a:pt x="639" y="1881"/>
                  </a:lnTo>
                  <a:lnTo>
                    <a:pt x="639" y="1881"/>
                  </a:lnTo>
                  <a:lnTo>
                    <a:pt x="646" y="1881"/>
                  </a:lnTo>
                  <a:lnTo>
                    <a:pt x="646" y="1881"/>
                  </a:lnTo>
                  <a:lnTo>
                    <a:pt x="646" y="1889"/>
                  </a:lnTo>
                  <a:lnTo>
                    <a:pt x="653" y="1881"/>
                  </a:lnTo>
                  <a:lnTo>
                    <a:pt x="653" y="1881"/>
                  </a:lnTo>
                  <a:lnTo>
                    <a:pt x="653" y="1881"/>
                  </a:lnTo>
                  <a:lnTo>
                    <a:pt x="653" y="1874"/>
                  </a:lnTo>
                  <a:lnTo>
                    <a:pt x="646" y="1874"/>
                  </a:lnTo>
                  <a:lnTo>
                    <a:pt x="646" y="1874"/>
                  </a:lnTo>
                  <a:lnTo>
                    <a:pt x="646" y="1881"/>
                  </a:lnTo>
                  <a:lnTo>
                    <a:pt x="646" y="1881"/>
                  </a:lnTo>
                  <a:lnTo>
                    <a:pt x="639" y="1874"/>
                  </a:lnTo>
                  <a:lnTo>
                    <a:pt x="639" y="1874"/>
                  </a:lnTo>
                  <a:lnTo>
                    <a:pt x="639" y="1874"/>
                  </a:lnTo>
                  <a:lnTo>
                    <a:pt x="632" y="1874"/>
                  </a:lnTo>
                  <a:lnTo>
                    <a:pt x="632" y="1881"/>
                  </a:lnTo>
                  <a:lnTo>
                    <a:pt x="632" y="1881"/>
                  </a:lnTo>
                  <a:lnTo>
                    <a:pt x="625" y="1881"/>
                  </a:lnTo>
                  <a:lnTo>
                    <a:pt x="618" y="1874"/>
                  </a:lnTo>
                  <a:lnTo>
                    <a:pt x="611" y="1874"/>
                  </a:lnTo>
                  <a:lnTo>
                    <a:pt x="611" y="1874"/>
                  </a:lnTo>
                  <a:lnTo>
                    <a:pt x="611" y="1874"/>
                  </a:lnTo>
                  <a:lnTo>
                    <a:pt x="611" y="1874"/>
                  </a:lnTo>
                  <a:lnTo>
                    <a:pt x="604" y="1874"/>
                  </a:lnTo>
                  <a:lnTo>
                    <a:pt x="604" y="1874"/>
                  </a:lnTo>
                  <a:lnTo>
                    <a:pt x="604" y="1874"/>
                  </a:lnTo>
                  <a:lnTo>
                    <a:pt x="597" y="1881"/>
                  </a:lnTo>
                  <a:lnTo>
                    <a:pt x="597" y="1881"/>
                  </a:lnTo>
                  <a:lnTo>
                    <a:pt x="590" y="1881"/>
                  </a:lnTo>
                  <a:lnTo>
                    <a:pt x="590" y="1881"/>
                  </a:lnTo>
                  <a:lnTo>
                    <a:pt x="590" y="1881"/>
                  </a:lnTo>
                  <a:lnTo>
                    <a:pt x="590" y="1881"/>
                  </a:lnTo>
                  <a:lnTo>
                    <a:pt x="590" y="1881"/>
                  </a:lnTo>
                  <a:lnTo>
                    <a:pt x="590" y="1874"/>
                  </a:lnTo>
                  <a:lnTo>
                    <a:pt x="590" y="1874"/>
                  </a:lnTo>
                  <a:lnTo>
                    <a:pt x="582" y="1881"/>
                  </a:lnTo>
                  <a:lnTo>
                    <a:pt x="582" y="1881"/>
                  </a:lnTo>
                  <a:lnTo>
                    <a:pt x="575" y="1881"/>
                  </a:lnTo>
                  <a:lnTo>
                    <a:pt x="575" y="1874"/>
                  </a:lnTo>
                  <a:lnTo>
                    <a:pt x="575" y="1874"/>
                  </a:lnTo>
                  <a:lnTo>
                    <a:pt x="575" y="1867"/>
                  </a:lnTo>
                  <a:lnTo>
                    <a:pt x="575" y="1867"/>
                  </a:lnTo>
                  <a:lnTo>
                    <a:pt x="582" y="1867"/>
                  </a:lnTo>
                  <a:lnTo>
                    <a:pt x="582" y="1867"/>
                  </a:lnTo>
                  <a:lnTo>
                    <a:pt x="582" y="1860"/>
                  </a:lnTo>
                  <a:lnTo>
                    <a:pt x="575" y="1867"/>
                  </a:lnTo>
                  <a:lnTo>
                    <a:pt x="575" y="1867"/>
                  </a:lnTo>
                  <a:lnTo>
                    <a:pt x="575" y="1867"/>
                  </a:lnTo>
                  <a:lnTo>
                    <a:pt x="568" y="1874"/>
                  </a:lnTo>
                  <a:lnTo>
                    <a:pt x="568" y="1874"/>
                  </a:lnTo>
                  <a:lnTo>
                    <a:pt x="568" y="1874"/>
                  </a:lnTo>
                  <a:lnTo>
                    <a:pt x="568" y="1881"/>
                  </a:lnTo>
                  <a:lnTo>
                    <a:pt x="561" y="1874"/>
                  </a:lnTo>
                  <a:lnTo>
                    <a:pt x="561" y="1874"/>
                  </a:lnTo>
                  <a:lnTo>
                    <a:pt x="561" y="1874"/>
                  </a:lnTo>
                  <a:lnTo>
                    <a:pt x="561" y="1874"/>
                  </a:lnTo>
                  <a:lnTo>
                    <a:pt x="561" y="1874"/>
                  </a:lnTo>
                  <a:lnTo>
                    <a:pt x="554" y="1874"/>
                  </a:lnTo>
                  <a:lnTo>
                    <a:pt x="554" y="1874"/>
                  </a:lnTo>
                  <a:lnTo>
                    <a:pt x="554" y="1874"/>
                  </a:lnTo>
                  <a:lnTo>
                    <a:pt x="554" y="1874"/>
                  </a:lnTo>
                  <a:lnTo>
                    <a:pt x="554" y="1874"/>
                  </a:lnTo>
                  <a:lnTo>
                    <a:pt x="547" y="1874"/>
                  </a:lnTo>
                  <a:lnTo>
                    <a:pt x="547" y="1874"/>
                  </a:lnTo>
                  <a:lnTo>
                    <a:pt x="547" y="1874"/>
                  </a:lnTo>
                  <a:lnTo>
                    <a:pt x="547" y="1881"/>
                  </a:lnTo>
                  <a:lnTo>
                    <a:pt x="554" y="1874"/>
                  </a:lnTo>
                  <a:lnTo>
                    <a:pt x="554" y="1874"/>
                  </a:lnTo>
                  <a:lnTo>
                    <a:pt x="561" y="1874"/>
                  </a:lnTo>
                  <a:lnTo>
                    <a:pt x="554" y="1874"/>
                  </a:lnTo>
                  <a:lnTo>
                    <a:pt x="554" y="1881"/>
                  </a:lnTo>
                  <a:lnTo>
                    <a:pt x="554" y="1881"/>
                  </a:lnTo>
                  <a:lnTo>
                    <a:pt x="554" y="1881"/>
                  </a:lnTo>
                  <a:lnTo>
                    <a:pt x="561" y="1881"/>
                  </a:lnTo>
                  <a:lnTo>
                    <a:pt x="568" y="1881"/>
                  </a:lnTo>
                  <a:lnTo>
                    <a:pt x="568" y="1889"/>
                  </a:lnTo>
                  <a:lnTo>
                    <a:pt x="568" y="1903"/>
                  </a:lnTo>
                  <a:lnTo>
                    <a:pt x="561" y="1910"/>
                  </a:lnTo>
                  <a:lnTo>
                    <a:pt x="561" y="1910"/>
                  </a:lnTo>
                  <a:lnTo>
                    <a:pt x="561" y="1910"/>
                  </a:lnTo>
                  <a:lnTo>
                    <a:pt x="561" y="1910"/>
                  </a:lnTo>
                  <a:lnTo>
                    <a:pt x="561" y="1910"/>
                  </a:lnTo>
                  <a:lnTo>
                    <a:pt x="561" y="1910"/>
                  </a:lnTo>
                  <a:lnTo>
                    <a:pt x="561" y="1917"/>
                  </a:lnTo>
                  <a:lnTo>
                    <a:pt x="561" y="1917"/>
                  </a:lnTo>
                  <a:lnTo>
                    <a:pt x="554" y="1917"/>
                  </a:lnTo>
                  <a:lnTo>
                    <a:pt x="554" y="1917"/>
                  </a:lnTo>
                  <a:lnTo>
                    <a:pt x="554" y="1917"/>
                  </a:lnTo>
                  <a:lnTo>
                    <a:pt x="554" y="1917"/>
                  </a:lnTo>
                  <a:lnTo>
                    <a:pt x="554" y="1917"/>
                  </a:lnTo>
                  <a:lnTo>
                    <a:pt x="554" y="1917"/>
                  </a:lnTo>
                  <a:lnTo>
                    <a:pt x="547" y="1917"/>
                  </a:lnTo>
                  <a:lnTo>
                    <a:pt x="547" y="1917"/>
                  </a:lnTo>
                  <a:lnTo>
                    <a:pt x="547" y="1917"/>
                  </a:lnTo>
                  <a:lnTo>
                    <a:pt x="547" y="1917"/>
                  </a:lnTo>
                  <a:lnTo>
                    <a:pt x="547" y="1917"/>
                  </a:lnTo>
                  <a:lnTo>
                    <a:pt x="547" y="1917"/>
                  </a:lnTo>
                  <a:lnTo>
                    <a:pt x="547" y="1917"/>
                  </a:lnTo>
                  <a:lnTo>
                    <a:pt x="547" y="1917"/>
                  </a:lnTo>
                  <a:lnTo>
                    <a:pt x="540" y="1917"/>
                  </a:lnTo>
                  <a:lnTo>
                    <a:pt x="540" y="1917"/>
                  </a:lnTo>
                  <a:lnTo>
                    <a:pt x="540" y="1917"/>
                  </a:lnTo>
                  <a:lnTo>
                    <a:pt x="540" y="1917"/>
                  </a:lnTo>
                  <a:lnTo>
                    <a:pt x="540" y="1917"/>
                  </a:lnTo>
                  <a:lnTo>
                    <a:pt x="540" y="1917"/>
                  </a:lnTo>
                  <a:lnTo>
                    <a:pt x="540" y="1917"/>
                  </a:lnTo>
                  <a:lnTo>
                    <a:pt x="533" y="1917"/>
                  </a:lnTo>
                  <a:lnTo>
                    <a:pt x="533" y="1917"/>
                  </a:lnTo>
                  <a:lnTo>
                    <a:pt x="540" y="1924"/>
                  </a:lnTo>
                  <a:lnTo>
                    <a:pt x="540" y="1924"/>
                  </a:lnTo>
                  <a:lnTo>
                    <a:pt x="540" y="1924"/>
                  </a:lnTo>
                  <a:lnTo>
                    <a:pt x="533" y="1924"/>
                  </a:lnTo>
                  <a:lnTo>
                    <a:pt x="533" y="1924"/>
                  </a:lnTo>
                  <a:lnTo>
                    <a:pt x="533" y="1924"/>
                  </a:lnTo>
                  <a:lnTo>
                    <a:pt x="533" y="1924"/>
                  </a:lnTo>
                  <a:lnTo>
                    <a:pt x="526" y="1924"/>
                  </a:lnTo>
                  <a:lnTo>
                    <a:pt x="526" y="1924"/>
                  </a:lnTo>
                  <a:lnTo>
                    <a:pt x="533" y="1931"/>
                  </a:lnTo>
                  <a:lnTo>
                    <a:pt x="540" y="1931"/>
                  </a:lnTo>
                  <a:lnTo>
                    <a:pt x="540" y="1924"/>
                  </a:lnTo>
                  <a:lnTo>
                    <a:pt x="547" y="1924"/>
                  </a:lnTo>
                  <a:lnTo>
                    <a:pt x="540" y="1931"/>
                  </a:lnTo>
                  <a:lnTo>
                    <a:pt x="540" y="1931"/>
                  </a:lnTo>
                  <a:lnTo>
                    <a:pt x="547" y="1931"/>
                  </a:lnTo>
                  <a:lnTo>
                    <a:pt x="547" y="1931"/>
                  </a:lnTo>
                  <a:lnTo>
                    <a:pt x="547" y="1931"/>
                  </a:lnTo>
                  <a:lnTo>
                    <a:pt x="547" y="1931"/>
                  </a:lnTo>
                  <a:lnTo>
                    <a:pt x="547" y="1938"/>
                  </a:lnTo>
                  <a:lnTo>
                    <a:pt x="547" y="1938"/>
                  </a:lnTo>
                  <a:lnTo>
                    <a:pt x="547" y="1938"/>
                  </a:lnTo>
                  <a:lnTo>
                    <a:pt x="547" y="1938"/>
                  </a:lnTo>
                  <a:lnTo>
                    <a:pt x="540" y="1938"/>
                  </a:lnTo>
                  <a:lnTo>
                    <a:pt x="540" y="1938"/>
                  </a:lnTo>
                  <a:lnTo>
                    <a:pt x="540" y="1938"/>
                  </a:lnTo>
                  <a:lnTo>
                    <a:pt x="533" y="1931"/>
                  </a:lnTo>
                  <a:lnTo>
                    <a:pt x="533" y="1931"/>
                  </a:lnTo>
                  <a:lnTo>
                    <a:pt x="533" y="1931"/>
                  </a:lnTo>
                  <a:lnTo>
                    <a:pt x="533" y="1931"/>
                  </a:lnTo>
                  <a:lnTo>
                    <a:pt x="533" y="1931"/>
                  </a:lnTo>
                  <a:lnTo>
                    <a:pt x="533" y="1931"/>
                  </a:lnTo>
                  <a:lnTo>
                    <a:pt x="533" y="1938"/>
                  </a:lnTo>
                  <a:lnTo>
                    <a:pt x="533" y="1938"/>
                  </a:lnTo>
                  <a:lnTo>
                    <a:pt x="533" y="1938"/>
                  </a:lnTo>
                  <a:lnTo>
                    <a:pt x="540" y="1938"/>
                  </a:lnTo>
                  <a:lnTo>
                    <a:pt x="533" y="1938"/>
                  </a:lnTo>
                  <a:lnTo>
                    <a:pt x="533" y="1938"/>
                  </a:lnTo>
                  <a:lnTo>
                    <a:pt x="526" y="1938"/>
                  </a:lnTo>
                  <a:lnTo>
                    <a:pt x="519" y="1938"/>
                  </a:lnTo>
                  <a:lnTo>
                    <a:pt x="519" y="1938"/>
                  </a:lnTo>
                  <a:lnTo>
                    <a:pt x="519" y="1945"/>
                  </a:lnTo>
                  <a:lnTo>
                    <a:pt x="519" y="1945"/>
                  </a:lnTo>
                  <a:lnTo>
                    <a:pt x="526" y="1945"/>
                  </a:lnTo>
                  <a:lnTo>
                    <a:pt x="526" y="1945"/>
                  </a:lnTo>
                  <a:lnTo>
                    <a:pt x="526" y="1945"/>
                  </a:lnTo>
                  <a:lnTo>
                    <a:pt x="526" y="1945"/>
                  </a:lnTo>
                  <a:lnTo>
                    <a:pt x="526" y="1945"/>
                  </a:lnTo>
                  <a:lnTo>
                    <a:pt x="526" y="1945"/>
                  </a:lnTo>
                  <a:lnTo>
                    <a:pt x="526" y="1952"/>
                  </a:lnTo>
                  <a:lnTo>
                    <a:pt x="533" y="1945"/>
                  </a:lnTo>
                  <a:lnTo>
                    <a:pt x="533" y="1945"/>
                  </a:lnTo>
                  <a:lnTo>
                    <a:pt x="533" y="1945"/>
                  </a:lnTo>
                  <a:lnTo>
                    <a:pt x="540" y="1952"/>
                  </a:lnTo>
                  <a:lnTo>
                    <a:pt x="540" y="1945"/>
                  </a:lnTo>
                  <a:lnTo>
                    <a:pt x="547" y="1945"/>
                  </a:lnTo>
                  <a:lnTo>
                    <a:pt x="547" y="1945"/>
                  </a:lnTo>
                  <a:lnTo>
                    <a:pt x="547" y="1945"/>
                  </a:lnTo>
                  <a:lnTo>
                    <a:pt x="547" y="1952"/>
                  </a:lnTo>
                  <a:lnTo>
                    <a:pt x="547" y="1952"/>
                  </a:lnTo>
                  <a:lnTo>
                    <a:pt x="547" y="1952"/>
                  </a:lnTo>
                  <a:lnTo>
                    <a:pt x="547" y="1952"/>
                  </a:lnTo>
                  <a:lnTo>
                    <a:pt x="554" y="1960"/>
                  </a:lnTo>
                  <a:lnTo>
                    <a:pt x="554" y="1960"/>
                  </a:lnTo>
                  <a:lnTo>
                    <a:pt x="554" y="1960"/>
                  </a:lnTo>
                  <a:lnTo>
                    <a:pt x="554" y="1960"/>
                  </a:lnTo>
                  <a:lnTo>
                    <a:pt x="554" y="1960"/>
                  </a:lnTo>
                  <a:lnTo>
                    <a:pt x="554" y="1960"/>
                  </a:lnTo>
                  <a:lnTo>
                    <a:pt x="561" y="1960"/>
                  </a:lnTo>
                  <a:lnTo>
                    <a:pt x="561" y="1960"/>
                  </a:lnTo>
                  <a:lnTo>
                    <a:pt x="561" y="1967"/>
                  </a:lnTo>
                  <a:lnTo>
                    <a:pt x="561" y="1967"/>
                  </a:lnTo>
                  <a:lnTo>
                    <a:pt x="561" y="1967"/>
                  </a:lnTo>
                  <a:lnTo>
                    <a:pt x="561" y="1967"/>
                  </a:lnTo>
                  <a:lnTo>
                    <a:pt x="561" y="1967"/>
                  </a:lnTo>
                  <a:lnTo>
                    <a:pt x="561" y="1967"/>
                  </a:lnTo>
                  <a:lnTo>
                    <a:pt x="561" y="1974"/>
                  </a:lnTo>
                  <a:lnTo>
                    <a:pt x="561" y="1974"/>
                  </a:lnTo>
                  <a:lnTo>
                    <a:pt x="561" y="1974"/>
                  </a:lnTo>
                  <a:lnTo>
                    <a:pt x="561" y="1974"/>
                  </a:lnTo>
                  <a:lnTo>
                    <a:pt x="561" y="1974"/>
                  </a:lnTo>
                  <a:lnTo>
                    <a:pt x="554" y="1995"/>
                  </a:lnTo>
                  <a:lnTo>
                    <a:pt x="554" y="1995"/>
                  </a:lnTo>
                  <a:lnTo>
                    <a:pt x="547" y="2002"/>
                  </a:lnTo>
                  <a:lnTo>
                    <a:pt x="540" y="2009"/>
                  </a:lnTo>
                  <a:lnTo>
                    <a:pt x="540" y="2009"/>
                  </a:lnTo>
                  <a:lnTo>
                    <a:pt x="540" y="2016"/>
                  </a:lnTo>
                  <a:lnTo>
                    <a:pt x="533" y="2016"/>
                  </a:lnTo>
                  <a:lnTo>
                    <a:pt x="533" y="2016"/>
                  </a:lnTo>
                  <a:lnTo>
                    <a:pt x="540" y="2016"/>
                  </a:lnTo>
                  <a:lnTo>
                    <a:pt x="533" y="2023"/>
                  </a:lnTo>
                  <a:lnTo>
                    <a:pt x="533" y="2023"/>
                  </a:lnTo>
                  <a:lnTo>
                    <a:pt x="533" y="2023"/>
                  </a:lnTo>
                  <a:lnTo>
                    <a:pt x="533" y="2023"/>
                  </a:lnTo>
                  <a:lnTo>
                    <a:pt x="533" y="2023"/>
                  </a:lnTo>
                  <a:lnTo>
                    <a:pt x="533" y="2023"/>
                  </a:lnTo>
                  <a:lnTo>
                    <a:pt x="533" y="2031"/>
                  </a:lnTo>
                  <a:lnTo>
                    <a:pt x="533" y="2031"/>
                  </a:lnTo>
                  <a:lnTo>
                    <a:pt x="533" y="2031"/>
                  </a:lnTo>
                  <a:lnTo>
                    <a:pt x="533" y="2038"/>
                  </a:lnTo>
                  <a:lnTo>
                    <a:pt x="533" y="2038"/>
                  </a:lnTo>
                  <a:lnTo>
                    <a:pt x="533" y="2038"/>
                  </a:lnTo>
                  <a:lnTo>
                    <a:pt x="533" y="2038"/>
                  </a:lnTo>
                  <a:lnTo>
                    <a:pt x="533" y="2038"/>
                  </a:lnTo>
                  <a:lnTo>
                    <a:pt x="526" y="2038"/>
                  </a:lnTo>
                  <a:lnTo>
                    <a:pt x="519" y="2045"/>
                  </a:lnTo>
                  <a:lnTo>
                    <a:pt x="519" y="2045"/>
                  </a:lnTo>
                  <a:lnTo>
                    <a:pt x="511" y="2045"/>
                  </a:lnTo>
                  <a:lnTo>
                    <a:pt x="490" y="2052"/>
                  </a:lnTo>
                  <a:lnTo>
                    <a:pt x="490" y="2059"/>
                  </a:lnTo>
                  <a:lnTo>
                    <a:pt x="490" y="2059"/>
                  </a:lnTo>
                  <a:lnTo>
                    <a:pt x="483" y="2059"/>
                  </a:lnTo>
                  <a:lnTo>
                    <a:pt x="483" y="2059"/>
                  </a:lnTo>
                  <a:lnTo>
                    <a:pt x="483" y="2059"/>
                  </a:lnTo>
                  <a:lnTo>
                    <a:pt x="476" y="2059"/>
                  </a:lnTo>
                  <a:lnTo>
                    <a:pt x="469" y="2066"/>
                  </a:lnTo>
                  <a:lnTo>
                    <a:pt x="462" y="2066"/>
                  </a:lnTo>
                  <a:lnTo>
                    <a:pt x="455" y="2073"/>
                  </a:lnTo>
                  <a:lnTo>
                    <a:pt x="455" y="2066"/>
                  </a:lnTo>
                  <a:lnTo>
                    <a:pt x="462" y="2066"/>
                  </a:lnTo>
                  <a:lnTo>
                    <a:pt x="462" y="2066"/>
                  </a:lnTo>
                  <a:lnTo>
                    <a:pt x="455" y="2066"/>
                  </a:lnTo>
                  <a:lnTo>
                    <a:pt x="455" y="2066"/>
                  </a:lnTo>
                  <a:lnTo>
                    <a:pt x="448" y="2073"/>
                  </a:lnTo>
                  <a:lnTo>
                    <a:pt x="448" y="2073"/>
                  </a:lnTo>
                  <a:lnTo>
                    <a:pt x="448" y="2080"/>
                  </a:lnTo>
                  <a:lnTo>
                    <a:pt x="448" y="2080"/>
                  </a:lnTo>
                  <a:lnTo>
                    <a:pt x="433" y="2080"/>
                  </a:lnTo>
                  <a:lnTo>
                    <a:pt x="426" y="2087"/>
                  </a:lnTo>
                  <a:lnTo>
                    <a:pt x="398" y="2094"/>
                  </a:lnTo>
                  <a:lnTo>
                    <a:pt x="398" y="2094"/>
                  </a:lnTo>
                  <a:lnTo>
                    <a:pt x="391" y="2094"/>
                  </a:lnTo>
                  <a:lnTo>
                    <a:pt x="391" y="2094"/>
                  </a:lnTo>
                  <a:lnTo>
                    <a:pt x="391" y="2094"/>
                  </a:lnTo>
                  <a:lnTo>
                    <a:pt x="391" y="2102"/>
                  </a:lnTo>
                  <a:lnTo>
                    <a:pt x="391" y="2102"/>
                  </a:lnTo>
                  <a:lnTo>
                    <a:pt x="384" y="2102"/>
                  </a:lnTo>
                  <a:lnTo>
                    <a:pt x="384" y="2102"/>
                  </a:lnTo>
                  <a:lnTo>
                    <a:pt x="377" y="2102"/>
                  </a:lnTo>
                  <a:lnTo>
                    <a:pt x="377" y="2102"/>
                  </a:lnTo>
                  <a:lnTo>
                    <a:pt x="377" y="2102"/>
                  </a:lnTo>
                  <a:lnTo>
                    <a:pt x="355" y="2109"/>
                  </a:lnTo>
                  <a:lnTo>
                    <a:pt x="355" y="2109"/>
                  </a:lnTo>
                  <a:lnTo>
                    <a:pt x="348" y="2102"/>
                  </a:lnTo>
                  <a:lnTo>
                    <a:pt x="348" y="2102"/>
                  </a:lnTo>
                  <a:lnTo>
                    <a:pt x="348" y="2102"/>
                  </a:lnTo>
                  <a:lnTo>
                    <a:pt x="348" y="2102"/>
                  </a:lnTo>
                  <a:lnTo>
                    <a:pt x="341" y="2102"/>
                  </a:lnTo>
                  <a:lnTo>
                    <a:pt x="341" y="2102"/>
                  </a:lnTo>
                  <a:lnTo>
                    <a:pt x="341" y="2102"/>
                  </a:lnTo>
                  <a:lnTo>
                    <a:pt x="334" y="2102"/>
                  </a:lnTo>
                  <a:lnTo>
                    <a:pt x="313" y="2087"/>
                  </a:lnTo>
                  <a:lnTo>
                    <a:pt x="306" y="2087"/>
                  </a:lnTo>
                  <a:lnTo>
                    <a:pt x="306" y="2080"/>
                  </a:lnTo>
                  <a:lnTo>
                    <a:pt x="306" y="2080"/>
                  </a:lnTo>
                  <a:lnTo>
                    <a:pt x="299" y="2080"/>
                  </a:lnTo>
                  <a:lnTo>
                    <a:pt x="299" y="2073"/>
                  </a:lnTo>
                  <a:lnTo>
                    <a:pt x="284" y="2073"/>
                  </a:lnTo>
                  <a:lnTo>
                    <a:pt x="284" y="2066"/>
                  </a:lnTo>
                  <a:lnTo>
                    <a:pt x="277" y="2066"/>
                  </a:lnTo>
                  <a:lnTo>
                    <a:pt x="263" y="2052"/>
                  </a:lnTo>
                  <a:lnTo>
                    <a:pt x="249" y="2038"/>
                  </a:lnTo>
                  <a:lnTo>
                    <a:pt x="235" y="2023"/>
                  </a:lnTo>
                  <a:lnTo>
                    <a:pt x="235" y="2023"/>
                  </a:lnTo>
                  <a:lnTo>
                    <a:pt x="235" y="2016"/>
                  </a:lnTo>
                  <a:lnTo>
                    <a:pt x="228" y="2016"/>
                  </a:lnTo>
                  <a:lnTo>
                    <a:pt x="220" y="2002"/>
                  </a:lnTo>
                  <a:lnTo>
                    <a:pt x="213" y="1995"/>
                  </a:lnTo>
                  <a:lnTo>
                    <a:pt x="213" y="1988"/>
                  </a:lnTo>
                  <a:lnTo>
                    <a:pt x="213" y="1988"/>
                  </a:lnTo>
                  <a:lnTo>
                    <a:pt x="213" y="1988"/>
                  </a:lnTo>
                  <a:lnTo>
                    <a:pt x="206" y="1988"/>
                  </a:lnTo>
                  <a:lnTo>
                    <a:pt x="192" y="1967"/>
                  </a:lnTo>
                  <a:lnTo>
                    <a:pt x="185" y="1960"/>
                  </a:lnTo>
                  <a:lnTo>
                    <a:pt x="178" y="1960"/>
                  </a:lnTo>
                  <a:lnTo>
                    <a:pt x="178" y="1952"/>
                  </a:lnTo>
                  <a:lnTo>
                    <a:pt x="171" y="1952"/>
                  </a:lnTo>
                  <a:lnTo>
                    <a:pt x="171" y="1945"/>
                  </a:lnTo>
                  <a:lnTo>
                    <a:pt x="164" y="1945"/>
                  </a:lnTo>
                  <a:lnTo>
                    <a:pt x="164" y="1945"/>
                  </a:lnTo>
                  <a:lnTo>
                    <a:pt x="157" y="1938"/>
                  </a:lnTo>
                  <a:lnTo>
                    <a:pt x="157" y="1938"/>
                  </a:lnTo>
                  <a:lnTo>
                    <a:pt x="157" y="1931"/>
                  </a:lnTo>
                  <a:lnTo>
                    <a:pt x="157" y="1931"/>
                  </a:lnTo>
                  <a:lnTo>
                    <a:pt x="157" y="1931"/>
                  </a:lnTo>
                  <a:lnTo>
                    <a:pt x="157" y="1931"/>
                  </a:lnTo>
                  <a:lnTo>
                    <a:pt x="149" y="1931"/>
                  </a:lnTo>
                  <a:lnTo>
                    <a:pt x="142" y="1917"/>
                  </a:lnTo>
                  <a:lnTo>
                    <a:pt x="135" y="1917"/>
                  </a:lnTo>
                  <a:lnTo>
                    <a:pt x="135" y="1917"/>
                  </a:lnTo>
                  <a:lnTo>
                    <a:pt x="128" y="1903"/>
                  </a:lnTo>
                  <a:lnTo>
                    <a:pt x="121" y="1903"/>
                  </a:lnTo>
                  <a:lnTo>
                    <a:pt x="121" y="1896"/>
                  </a:lnTo>
                  <a:lnTo>
                    <a:pt x="121" y="1896"/>
                  </a:lnTo>
                  <a:lnTo>
                    <a:pt x="114" y="1889"/>
                  </a:lnTo>
                  <a:lnTo>
                    <a:pt x="107" y="1881"/>
                  </a:lnTo>
                  <a:lnTo>
                    <a:pt x="107" y="1881"/>
                  </a:lnTo>
                  <a:lnTo>
                    <a:pt x="107" y="1874"/>
                  </a:lnTo>
                  <a:lnTo>
                    <a:pt x="100" y="1867"/>
                  </a:lnTo>
                  <a:lnTo>
                    <a:pt x="100" y="1867"/>
                  </a:lnTo>
                  <a:lnTo>
                    <a:pt x="100" y="1860"/>
                  </a:lnTo>
                  <a:lnTo>
                    <a:pt x="100" y="1860"/>
                  </a:lnTo>
                  <a:lnTo>
                    <a:pt x="100" y="1860"/>
                  </a:lnTo>
                  <a:lnTo>
                    <a:pt x="100" y="1853"/>
                  </a:lnTo>
                  <a:lnTo>
                    <a:pt x="107" y="1853"/>
                  </a:lnTo>
                  <a:lnTo>
                    <a:pt x="107" y="1853"/>
                  </a:lnTo>
                  <a:lnTo>
                    <a:pt x="107" y="1846"/>
                  </a:lnTo>
                  <a:lnTo>
                    <a:pt x="107" y="1846"/>
                  </a:lnTo>
                  <a:lnTo>
                    <a:pt x="107" y="1846"/>
                  </a:lnTo>
                  <a:lnTo>
                    <a:pt x="114" y="1839"/>
                  </a:lnTo>
                  <a:lnTo>
                    <a:pt x="121" y="1839"/>
                  </a:lnTo>
                  <a:lnTo>
                    <a:pt x="121" y="1839"/>
                  </a:lnTo>
                  <a:lnTo>
                    <a:pt x="121" y="1839"/>
                  </a:lnTo>
                  <a:lnTo>
                    <a:pt x="121" y="1846"/>
                  </a:lnTo>
                  <a:lnTo>
                    <a:pt x="121" y="1846"/>
                  </a:lnTo>
                  <a:lnTo>
                    <a:pt x="114" y="1846"/>
                  </a:lnTo>
                  <a:lnTo>
                    <a:pt x="114" y="1846"/>
                  </a:lnTo>
                  <a:lnTo>
                    <a:pt x="114" y="1853"/>
                  </a:lnTo>
                  <a:lnTo>
                    <a:pt x="121" y="1853"/>
                  </a:lnTo>
                  <a:lnTo>
                    <a:pt x="121" y="1853"/>
                  </a:lnTo>
                  <a:lnTo>
                    <a:pt x="121" y="1853"/>
                  </a:lnTo>
                  <a:lnTo>
                    <a:pt x="121" y="1853"/>
                  </a:lnTo>
                  <a:lnTo>
                    <a:pt x="128" y="1853"/>
                  </a:lnTo>
                  <a:lnTo>
                    <a:pt x="128" y="1853"/>
                  </a:lnTo>
                  <a:lnTo>
                    <a:pt x="128" y="1853"/>
                  </a:lnTo>
                  <a:lnTo>
                    <a:pt x="128" y="1853"/>
                  </a:lnTo>
                  <a:lnTo>
                    <a:pt x="128" y="1853"/>
                  </a:lnTo>
                  <a:lnTo>
                    <a:pt x="128" y="1846"/>
                  </a:lnTo>
                  <a:lnTo>
                    <a:pt x="135" y="1846"/>
                  </a:lnTo>
                  <a:lnTo>
                    <a:pt x="135" y="1846"/>
                  </a:lnTo>
                  <a:lnTo>
                    <a:pt x="135" y="1846"/>
                  </a:lnTo>
                  <a:lnTo>
                    <a:pt x="135" y="1853"/>
                  </a:lnTo>
                  <a:lnTo>
                    <a:pt x="135" y="1853"/>
                  </a:lnTo>
                  <a:lnTo>
                    <a:pt x="135" y="1860"/>
                  </a:lnTo>
                  <a:lnTo>
                    <a:pt x="128" y="1860"/>
                  </a:lnTo>
                  <a:lnTo>
                    <a:pt x="128" y="1867"/>
                  </a:lnTo>
                  <a:lnTo>
                    <a:pt x="135" y="1867"/>
                  </a:lnTo>
                  <a:lnTo>
                    <a:pt x="135" y="1867"/>
                  </a:lnTo>
                  <a:lnTo>
                    <a:pt x="135" y="1867"/>
                  </a:lnTo>
                  <a:lnTo>
                    <a:pt x="149" y="1867"/>
                  </a:lnTo>
                  <a:lnTo>
                    <a:pt x="157" y="1867"/>
                  </a:lnTo>
                  <a:lnTo>
                    <a:pt x="157" y="1860"/>
                  </a:lnTo>
                  <a:lnTo>
                    <a:pt x="157" y="1860"/>
                  </a:lnTo>
                  <a:lnTo>
                    <a:pt x="171" y="1860"/>
                  </a:lnTo>
                  <a:lnTo>
                    <a:pt x="171" y="1860"/>
                  </a:lnTo>
                  <a:lnTo>
                    <a:pt x="171" y="1860"/>
                  </a:lnTo>
                  <a:lnTo>
                    <a:pt x="178" y="1860"/>
                  </a:lnTo>
                  <a:lnTo>
                    <a:pt x="178" y="1860"/>
                  </a:lnTo>
                  <a:lnTo>
                    <a:pt x="178" y="1853"/>
                  </a:lnTo>
                  <a:lnTo>
                    <a:pt x="178" y="1853"/>
                  </a:lnTo>
                  <a:lnTo>
                    <a:pt x="178" y="1853"/>
                  </a:lnTo>
                  <a:lnTo>
                    <a:pt x="178" y="1853"/>
                  </a:lnTo>
                  <a:lnTo>
                    <a:pt x="178" y="1853"/>
                  </a:lnTo>
                  <a:lnTo>
                    <a:pt x="178" y="1853"/>
                  </a:lnTo>
                  <a:lnTo>
                    <a:pt x="178" y="1853"/>
                  </a:lnTo>
                  <a:lnTo>
                    <a:pt x="178" y="1846"/>
                  </a:lnTo>
                  <a:lnTo>
                    <a:pt x="178" y="1846"/>
                  </a:lnTo>
                  <a:lnTo>
                    <a:pt x="178" y="1846"/>
                  </a:lnTo>
                  <a:lnTo>
                    <a:pt x="185" y="1846"/>
                  </a:lnTo>
                  <a:lnTo>
                    <a:pt x="185" y="1846"/>
                  </a:lnTo>
                  <a:lnTo>
                    <a:pt x="185" y="1846"/>
                  </a:lnTo>
                  <a:lnTo>
                    <a:pt x="185" y="1853"/>
                  </a:lnTo>
                  <a:lnTo>
                    <a:pt x="185" y="1853"/>
                  </a:lnTo>
                  <a:lnTo>
                    <a:pt x="185" y="1853"/>
                  </a:lnTo>
                  <a:lnTo>
                    <a:pt x="185" y="1860"/>
                  </a:lnTo>
                  <a:lnTo>
                    <a:pt x="192" y="1860"/>
                  </a:lnTo>
                  <a:lnTo>
                    <a:pt x="192" y="1860"/>
                  </a:lnTo>
                  <a:lnTo>
                    <a:pt x="192" y="1860"/>
                  </a:lnTo>
                  <a:lnTo>
                    <a:pt x="192" y="1860"/>
                  </a:lnTo>
                  <a:lnTo>
                    <a:pt x="192" y="1853"/>
                  </a:lnTo>
                  <a:lnTo>
                    <a:pt x="199" y="1853"/>
                  </a:lnTo>
                  <a:lnTo>
                    <a:pt x="199" y="1853"/>
                  </a:lnTo>
                  <a:lnTo>
                    <a:pt x="199" y="1853"/>
                  </a:lnTo>
                  <a:lnTo>
                    <a:pt x="199" y="1853"/>
                  </a:lnTo>
                  <a:lnTo>
                    <a:pt x="199" y="1853"/>
                  </a:lnTo>
                  <a:lnTo>
                    <a:pt x="199" y="1853"/>
                  </a:lnTo>
                  <a:lnTo>
                    <a:pt x="199" y="1853"/>
                  </a:lnTo>
                  <a:lnTo>
                    <a:pt x="199" y="1853"/>
                  </a:lnTo>
                  <a:lnTo>
                    <a:pt x="199" y="1853"/>
                  </a:lnTo>
                  <a:lnTo>
                    <a:pt x="206" y="1853"/>
                  </a:lnTo>
                  <a:lnTo>
                    <a:pt x="206" y="1853"/>
                  </a:lnTo>
                  <a:lnTo>
                    <a:pt x="206" y="1853"/>
                  </a:lnTo>
                  <a:lnTo>
                    <a:pt x="206" y="1846"/>
                  </a:lnTo>
                  <a:lnTo>
                    <a:pt x="213" y="1839"/>
                  </a:lnTo>
                  <a:lnTo>
                    <a:pt x="213" y="1839"/>
                  </a:lnTo>
                  <a:lnTo>
                    <a:pt x="220" y="1853"/>
                  </a:lnTo>
                  <a:lnTo>
                    <a:pt x="220" y="1853"/>
                  </a:lnTo>
                  <a:lnTo>
                    <a:pt x="220" y="1853"/>
                  </a:lnTo>
                  <a:lnTo>
                    <a:pt x="220" y="1846"/>
                  </a:lnTo>
                  <a:lnTo>
                    <a:pt x="220" y="1846"/>
                  </a:lnTo>
                  <a:lnTo>
                    <a:pt x="220" y="1846"/>
                  </a:lnTo>
                  <a:lnTo>
                    <a:pt x="220" y="1846"/>
                  </a:lnTo>
                  <a:lnTo>
                    <a:pt x="228" y="1846"/>
                  </a:lnTo>
                  <a:lnTo>
                    <a:pt x="228" y="1846"/>
                  </a:lnTo>
                  <a:lnTo>
                    <a:pt x="228" y="1846"/>
                  </a:lnTo>
                  <a:lnTo>
                    <a:pt x="228" y="1846"/>
                  </a:lnTo>
                  <a:lnTo>
                    <a:pt x="235" y="1839"/>
                  </a:lnTo>
                  <a:lnTo>
                    <a:pt x="242" y="1832"/>
                  </a:lnTo>
                  <a:lnTo>
                    <a:pt x="242" y="1832"/>
                  </a:lnTo>
                  <a:lnTo>
                    <a:pt x="242" y="1832"/>
                  </a:lnTo>
                  <a:lnTo>
                    <a:pt x="249" y="1832"/>
                  </a:lnTo>
                  <a:lnTo>
                    <a:pt x="249" y="1832"/>
                  </a:lnTo>
                  <a:lnTo>
                    <a:pt x="249" y="1832"/>
                  </a:lnTo>
                  <a:lnTo>
                    <a:pt x="256" y="1832"/>
                  </a:lnTo>
                  <a:lnTo>
                    <a:pt x="270" y="1832"/>
                  </a:lnTo>
                  <a:lnTo>
                    <a:pt x="270" y="1832"/>
                  </a:lnTo>
                  <a:lnTo>
                    <a:pt x="270" y="1825"/>
                  </a:lnTo>
                  <a:lnTo>
                    <a:pt x="277" y="1825"/>
                  </a:lnTo>
                  <a:lnTo>
                    <a:pt x="277" y="1818"/>
                  </a:lnTo>
                  <a:lnTo>
                    <a:pt x="284" y="1810"/>
                  </a:lnTo>
                  <a:lnTo>
                    <a:pt x="291" y="1796"/>
                  </a:lnTo>
                  <a:lnTo>
                    <a:pt x="291" y="1796"/>
                  </a:lnTo>
                  <a:lnTo>
                    <a:pt x="291" y="1796"/>
                  </a:lnTo>
                  <a:lnTo>
                    <a:pt x="291" y="1789"/>
                  </a:lnTo>
                  <a:lnTo>
                    <a:pt x="291" y="1789"/>
                  </a:lnTo>
                  <a:lnTo>
                    <a:pt x="299" y="1789"/>
                  </a:lnTo>
                  <a:lnTo>
                    <a:pt x="299" y="1782"/>
                  </a:lnTo>
                  <a:lnTo>
                    <a:pt x="306" y="1782"/>
                  </a:lnTo>
                  <a:lnTo>
                    <a:pt x="306" y="1775"/>
                  </a:lnTo>
                  <a:lnTo>
                    <a:pt x="313" y="1775"/>
                  </a:lnTo>
                  <a:lnTo>
                    <a:pt x="313" y="1768"/>
                  </a:lnTo>
                  <a:lnTo>
                    <a:pt x="313" y="1768"/>
                  </a:lnTo>
                  <a:lnTo>
                    <a:pt x="313" y="1775"/>
                  </a:lnTo>
                  <a:lnTo>
                    <a:pt x="320" y="1775"/>
                  </a:lnTo>
                  <a:lnTo>
                    <a:pt x="320" y="1768"/>
                  </a:lnTo>
                  <a:lnTo>
                    <a:pt x="320" y="1768"/>
                  </a:lnTo>
                  <a:lnTo>
                    <a:pt x="320" y="1768"/>
                  </a:lnTo>
                  <a:lnTo>
                    <a:pt x="320" y="1768"/>
                  </a:lnTo>
                  <a:lnTo>
                    <a:pt x="320" y="1761"/>
                  </a:lnTo>
                  <a:lnTo>
                    <a:pt x="320" y="1761"/>
                  </a:lnTo>
                  <a:lnTo>
                    <a:pt x="320" y="1754"/>
                  </a:lnTo>
                  <a:lnTo>
                    <a:pt x="320" y="1754"/>
                  </a:lnTo>
                  <a:lnTo>
                    <a:pt x="320" y="1754"/>
                  </a:lnTo>
                  <a:lnTo>
                    <a:pt x="320" y="1747"/>
                  </a:lnTo>
                  <a:lnTo>
                    <a:pt x="313" y="1747"/>
                  </a:lnTo>
                  <a:lnTo>
                    <a:pt x="313" y="1747"/>
                  </a:lnTo>
                  <a:lnTo>
                    <a:pt x="313" y="1754"/>
                  </a:lnTo>
                  <a:lnTo>
                    <a:pt x="306" y="1754"/>
                  </a:lnTo>
                  <a:lnTo>
                    <a:pt x="306" y="1754"/>
                  </a:lnTo>
                  <a:lnTo>
                    <a:pt x="306" y="1761"/>
                  </a:lnTo>
                  <a:lnTo>
                    <a:pt x="306" y="1761"/>
                  </a:lnTo>
                  <a:lnTo>
                    <a:pt x="306" y="1761"/>
                  </a:lnTo>
                  <a:lnTo>
                    <a:pt x="306" y="1761"/>
                  </a:lnTo>
                  <a:lnTo>
                    <a:pt x="306" y="1768"/>
                  </a:lnTo>
                  <a:lnTo>
                    <a:pt x="306" y="1768"/>
                  </a:lnTo>
                  <a:lnTo>
                    <a:pt x="306" y="1768"/>
                  </a:lnTo>
                  <a:lnTo>
                    <a:pt x="306" y="1768"/>
                  </a:lnTo>
                  <a:lnTo>
                    <a:pt x="306" y="1775"/>
                  </a:lnTo>
                  <a:lnTo>
                    <a:pt x="306" y="1775"/>
                  </a:lnTo>
                  <a:lnTo>
                    <a:pt x="306" y="1775"/>
                  </a:lnTo>
                  <a:lnTo>
                    <a:pt x="306" y="1775"/>
                  </a:lnTo>
                  <a:lnTo>
                    <a:pt x="299" y="1775"/>
                  </a:lnTo>
                  <a:lnTo>
                    <a:pt x="299" y="1775"/>
                  </a:lnTo>
                  <a:lnTo>
                    <a:pt x="299" y="1775"/>
                  </a:lnTo>
                  <a:lnTo>
                    <a:pt x="299" y="1775"/>
                  </a:lnTo>
                  <a:lnTo>
                    <a:pt x="299" y="1775"/>
                  </a:lnTo>
                  <a:lnTo>
                    <a:pt x="299" y="1775"/>
                  </a:lnTo>
                  <a:lnTo>
                    <a:pt x="291" y="1775"/>
                  </a:lnTo>
                  <a:lnTo>
                    <a:pt x="291" y="1775"/>
                  </a:lnTo>
                  <a:lnTo>
                    <a:pt x="291" y="1775"/>
                  </a:lnTo>
                  <a:lnTo>
                    <a:pt x="291" y="1775"/>
                  </a:lnTo>
                  <a:lnTo>
                    <a:pt x="291" y="1775"/>
                  </a:lnTo>
                  <a:lnTo>
                    <a:pt x="291" y="1775"/>
                  </a:lnTo>
                  <a:lnTo>
                    <a:pt x="291" y="1775"/>
                  </a:lnTo>
                  <a:lnTo>
                    <a:pt x="291" y="1775"/>
                  </a:lnTo>
                  <a:lnTo>
                    <a:pt x="291" y="1775"/>
                  </a:lnTo>
                  <a:lnTo>
                    <a:pt x="284" y="1775"/>
                  </a:lnTo>
                  <a:lnTo>
                    <a:pt x="284" y="1768"/>
                  </a:lnTo>
                  <a:lnTo>
                    <a:pt x="284" y="1768"/>
                  </a:lnTo>
                  <a:lnTo>
                    <a:pt x="284" y="1768"/>
                  </a:lnTo>
                  <a:lnTo>
                    <a:pt x="284" y="1768"/>
                  </a:lnTo>
                  <a:lnTo>
                    <a:pt x="277" y="1775"/>
                  </a:lnTo>
                  <a:lnTo>
                    <a:pt x="277" y="1775"/>
                  </a:lnTo>
                  <a:lnTo>
                    <a:pt x="277" y="1775"/>
                  </a:lnTo>
                  <a:lnTo>
                    <a:pt x="270" y="1775"/>
                  </a:lnTo>
                  <a:lnTo>
                    <a:pt x="270" y="1775"/>
                  </a:lnTo>
                  <a:lnTo>
                    <a:pt x="270" y="1775"/>
                  </a:lnTo>
                  <a:lnTo>
                    <a:pt x="270" y="1775"/>
                  </a:lnTo>
                  <a:lnTo>
                    <a:pt x="270" y="1775"/>
                  </a:lnTo>
                  <a:lnTo>
                    <a:pt x="270" y="1768"/>
                  </a:lnTo>
                  <a:lnTo>
                    <a:pt x="270" y="1768"/>
                  </a:lnTo>
                  <a:lnTo>
                    <a:pt x="270" y="1768"/>
                  </a:lnTo>
                  <a:lnTo>
                    <a:pt x="270" y="1768"/>
                  </a:lnTo>
                  <a:lnTo>
                    <a:pt x="270" y="1768"/>
                  </a:lnTo>
                  <a:lnTo>
                    <a:pt x="270" y="1768"/>
                  </a:lnTo>
                  <a:lnTo>
                    <a:pt x="270" y="1768"/>
                  </a:lnTo>
                  <a:lnTo>
                    <a:pt x="263" y="1775"/>
                  </a:lnTo>
                  <a:lnTo>
                    <a:pt x="263" y="1775"/>
                  </a:lnTo>
                  <a:lnTo>
                    <a:pt x="270" y="1775"/>
                  </a:lnTo>
                  <a:lnTo>
                    <a:pt x="270" y="1775"/>
                  </a:lnTo>
                  <a:lnTo>
                    <a:pt x="263" y="1775"/>
                  </a:lnTo>
                  <a:lnTo>
                    <a:pt x="256" y="1775"/>
                  </a:lnTo>
                  <a:lnTo>
                    <a:pt x="249" y="1782"/>
                  </a:lnTo>
                  <a:lnTo>
                    <a:pt x="242" y="1782"/>
                  </a:lnTo>
                  <a:lnTo>
                    <a:pt x="235" y="1782"/>
                  </a:lnTo>
                  <a:lnTo>
                    <a:pt x="228" y="1782"/>
                  </a:lnTo>
                  <a:lnTo>
                    <a:pt x="228" y="1789"/>
                  </a:lnTo>
                  <a:lnTo>
                    <a:pt x="220" y="1789"/>
                  </a:lnTo>
                  <a:lnTo>
                    <a:pt x="220" y="1789"/>
                  </a:lnTo>
                  <a:lnTo>
                    <a:pt x="213" y="1796"/>
                  </a:lnTo>
                  <a:lnTo>
                    <a:pt x="213" y="1803"/>
                  </a:lnTo>
                  <a:lnTo>
                    <a:pt x="206" y="1803"/>
                  </a:lnTo>
                  <a:lnTo>
                    <a:pt x="206" y="1803"/>
                  </a:lnTo>
                  <a:lnTo>
                    <a:pt x="199" y="1796"/>
                  </a:lnTo>
                  <a:lnTo>
                    <a:pt x="192" y="1796"/>
                  </a:lnTo>
                  <a:lnTo>
                    <a:pt x="192" y="1796"/>
                  </a:lnTo>
                  <a:lnTo>
                    <a:pt x="185" y="1796"/>
                  </a:lnTo>
                  <a:lnTo>
                    <a:pt x="185" y="1796"/>
                  </a:lnTo>
                  <a:lnTo>
                    <a:pt x="178" y="1796"/>
                  </a:lnTo>
                  <a:lnTo>
                    <a:pt x="178" y="1796"/>
                  </a:lnTo>
                  <a:lnTo>
                    <a:pt x="178" y="1796"/>
                  </a:lnTo>
                  <a:lnTo>
                    <a:pt x="178" y="1796"/>
                  </a:lnTo>
                  <a:lnTo>
                    <a:pt x="178" y="1796"/>
                  </a:lnTo>
                  <a:lnTo>
                    <a:pt x="178" y="1796"/>
                  </a:lnTo>
                  <a:lnTo>
                    <a:pt x="171" y="1796"/>
                  </a:lnTo>
                  <a:lnTo>
                    <a:pt x="164" y="1789"/>
                  </a:lnTo>
                  <a:lnTo>
                    <a:pt x="164" y="1789"/>
                  </a:lnTo>
                  <a:lnTo>
                    <a:pt x="157" y="1789"/>
                  </a:lnTo>
                  <a:lnTo>
                    <a:pt x="142" y="1789"/>
                  </a:lnTo>
                  <a:lnTo>
                    <a:pt x="135" y="1782"/>
                  </a:lnTo>
                  <a:lnTo>
                    <a:pt x="128" y="1782"/>
                  </a:lnTo>
                  <a:lnTo>
                    <a:pt x="114" y="1768"/>
                  </a:lnTo>
                  <a:lnTo>
                    <a:pt x="93" y="1761"/>
                  </a:lnTo>
                  <a:lnTo>
                    <a:pt x="71" y="1747"/>
                  </a:lnTo>
                  <a:lnTo>
                    <a:pt x="64" y="1740"/>
                  </a:lnTo>
                  <a:lnTo>
                    <a:pt x="64" y="1740"/>
                  </a:lnTo>
                  <a:lnTo>
                    <a:pt x="64" y="1740"/>
                  </a:lnTo>
                  <a:lnTo>
                    <a:pt x="64" y="1740"/>
                  </a:lnTo>
                  <a:lnTo>
                    <a:pt x="64" y="1732"/>
                  </a:lnTo>
                  <a:lnTo>
                    <a:pt x="64" y="1732"/>
                  </a:lnTo>
                  <a:lnTo>
                    <a:pt x="57" y="1732"/>
                  </a:lnTo>
                  <a:lnTo>
                    <a:pt x="57" y="1732"/>
                  </a:lnTo>
                  <a:lnTo>
                    <a:pt x="57" y="1725"/>
                  </a:lnTo>
                  <a:lnTo>
                    <a:pt x="57" y="1725"/>
                  </a:lnTo>
                  <a:lnTo>
                    <a:pt x="57" y="1732"/>
                  </a:lnTo>
                  <a:lnTo>
                    <a:pt x="64" y="1725"/>
                  </a:lnTo>
                  <a:lnTo>
                    <a:pt x="64" y="1725"/>
                  </a:lnTo>
                  <a:lnTo>
                    <a:pt x="64" y="1725"/>
                  </a:lnTo>
                  <a:lnTo>
                    <a:pt x="57" y="1725"/>
                  </a:lnTo>
                  <a:lnTo>
                    <a:pt x="57" y="1725"/>
                  </a:lnTo>
                  <a:lnTo>
                    <a:pt x="50" y="1725"/>
                  </a:lnTo>
                  <a:lnTo>
                    <a:pt x="50" y="1718"/>
                  </a:lnTo>
                  <a:lnTo>
                    <a:pt x="50" y="1718"/>
                  </a:lnTo>
                  <a:lnTo>
                    <a:pt x="57" y="1718"/>
                  </a:lnTo>
                  <a:lnTo>
                    <a:pt x="57" y="1718"/>
                  </a:lnTo>
                  <a:lnTo>
                    <a:pt x="57" y="1711"/>
                  </a:lnTo>
                  <a:lnTo>
                    <a:pt x="57" y="1711"/>
                  </a:lnTo>
                  <a:lnTo>
                    <a:pt x="57" y="1711"/>
                  </a:lnTo>
                  <a:lnTo>
                    <a:pt x="57" y="1711"/>
                  </a:lnTo>
                  <a:lnTo>
                    <a:pt x="57" y="1711"/>
                  </a:lnTo>
                  <a:lnTo>
                    <a:pt x="57" y="1711"/>
                  </a:lnTo>
                  <a:lnTo>
                    <a:pt x="57" y="1711"/>
                  </a:lnTo>
                  <a:lnTo>
                    <a:pt x="50" y="1711"/>
                  </a:lnTo>
                  <a:lnTo>
                    <a:pt x="50" y="1711"/>
                  </a:lnTo>
                  <a:lnTo>
                    <a:pt x="50" y="1711"/>
                  </a:lnTo>
                  <a:lnTo>
                    <a:pt x="50" y="1711"/>
                  </a:lnTo>
                  <a:lnTo>
                    <a:pt x="50" y="1711"/>
                  </a:lnTo>
                  <a:lnTo>
                    <a:pt x="50" y="1711"/>
                  </a:lnTo>
                  <a:lnTo>
                    <a:pt x="50" y="1711"/>
                  </a:lnTo>
                  <a:lnTo>
                    <a:pt x="50" y="1704"/>
                  </a:lnTo>
                  <a:lnTo>
                    <a:pt x="50" y="1704"/>
                  </a:lnTo>
                  <a:lnTo>
                    <a:pt x="50" y="1704"/>
                  </a:lnTo>
                  <a:lnTo>
                    <a:pt x="50" y="1704"/>
                  </a:lnTo>
                  <a:lnTo>
                    <a:pt x="50" y="1704"/>
                  </a:lnTo>
                  <a:lnTo>
                    <a:pt x="50" y="1704"/>
                  </a:lnTo>
                  <a:lnTo>
                    <a:pt x="50" y="1697"/>
                  </a:lnTo>
                  <a:lnTo>
                    <a:pt x="50" y="1697"/>
                  </a:lnTo>
                  <a:lnTo>
                    <a:pt x="50" y="1697"/>
                  </a:lnTo>
                  <a:lnTo>
                    <a:pt x="50" y="1704"/>
                  </a:lnTo>
                  <a:lnTo>
                    <a:pt x="43" y="1697"/>
                  </a:lnTo>
                  <a:lnTo>
                    <a:pt x="43" y="1704"/>
                  </a:lnTo>
                  <a:lnTo>
                    <a:pt x="43" y="1704"/>
                  </a:lnTo>
                  <a:lnTo>
                    <a:pt x="43" y="1704"/>
                  </a:lnTo>
                  <a:lnTo>
                    <a:pt x="43" y="1704"/>
                  </a:lnTo>
                  <a:lnTo>
                    <a:pt x="43" y="1697"/>
                  </a:lnTo>
                  <a:lnTo>
                    <a:pt x="43" y="1697"/>
                  </a:lnTo>
                  <a:lnTo>
                    <a:pt x="43" y="1697"/>
                  </a:lnTo>
                  <a:lnTo>
                    <a:pt x="36" y="1697"/>
                  </a:lnTo>
                  <a:lnTo>
                    <a:pt x="36" y="1697"/>
                  </a:lnTo>
                  <a:lnTo>
                    <a:pt x="36" y="1697"/>
                  </a:lnTo>
                  <a:lnTo>
                    <a:pt x="36" y="1697"/>
                  </a:lnTo>
                  <a:lnTo>
                    <a:pt x="36" y="1697"/>
                  </a:lnTo>
                  <a:lnTo>
                    <a:pt x="36" y="1690"/>
                  </a:lnTo>
                  <a:lnTo>
                    <a:pt x="43" y="1690"/>
                  </a:lnTo>
                  <a:lnTo>
                    <a:pt x="43" y="1690"/>
                  </a:lnTo>
                  <a:lnTo>
                    <a:pt x="43" y="1683"/>
                  </a:lnTo>
                  <a:lnTo>
                    <a:pt x="43" y="1683"/>
                  </a:lnTo>
                  <a:lnTo>
                    <a:pt x="43" y="1683"/>
                  </a:lnTo>
                  <a:lnTo>
                    <a:pt x="43" y="1683"/>
                  </a:lnTo>
                  <a:lnTo>
                    <a:pt x="43" y="1683"/>
                  </a:lnTo>
                  <a:lnTo>
                    <a:pt x="36" y="1683"/>
                  </a:lnTo>
                  <a:lnTo>
                    <a:pt x="36" y="1683"/>
                  </a:lnTo>
                  <a:lnTo>
                    <a:pt x="36" y="1683"/>
                  </a:lnTo>
                  <a:lnTo>
                    <a:pt x="36" y="1683"/>
                  </a:lnTo>
                  <a:lnTo>
                    <a:pt x="36" y="1690"/>
                  </a:lnTo>
                  <a:lnTo>
                    <a:pt x="36" y="1690"/>
                  </a:lnTo>
                  <a:lnTo>
                    <a:pt x="36" y="1690"/>
                  </a:lnTo>
                  <a:lnTo>
                    <a:pt x="36" y="1690"/>
                  </a:lnTo>
                  <a:lnTo>
                    <a:pt x="36" y="1683"/>
                  </a:lnTo>
                  <a:lnTo>
                    <a:pt x="36" y="1676"/>
                  </a:lnTo>
                  <a:lnTo>
                    <a:pt x="36" y="1669"/>
                  </a:lnTo>
                  <a:lnTo>
                    <a:pt x="36" y="1669"/>
                  </a:lnTo>
                  <a:lnTo>
                    <a:pt x="43" y="1669"/>
                  </a:lnTo>
                  <a:lnTo>
                    <a:pt x="43" y="1669"/>
                  </a:lnTo>
                  <a:lnTo>
                    <a:pt x="43" y="1669"/>
                  </a:lnTo>
                  <a:lnTo>
                    <a:pt x="43" y="1669"/>
                  </a:lnTo>
                  <a:lnTo>
                    <a:pt x="43" y="1669"/>
                  </a:lnTo>
                  <a:lnTo>
                    <a:pt x="43" y="1669"/>
                  </a:lnTo>
                  <a:lnTo>
                    <a:pt x="43" y="1669"/>
                  </a:lnTo>
                  <a:lnTo>
                    <a:pt x="43" y="1669"/>
                  </a:lnTo>
                  <a:lnTo>
                    <a:pt x="43" y="1661"/>
                  </a:lnTo>
                  <a:lnTo>
                    <a:pt x="50" y="1661"/>
                  </a:lnTo>
                  <a:lnTo>
                    <a:pt x="50" y="1661"/>
                  </a:lnTo>
                  <a:lnTo>
                    <a:pt x="50" y="1661"/>
                  </a:lnTo>
                  <a:lnTo>
                    <a:pt x="50" y="1661"/>
                  </a:lnTo>
                  <a:lnTo>
                    <a:pt x="57" y="1661"/>
                  </a:lnTo>
                  <a:lnTo>
                    <a:pt x="57" y="1654"/>
                  </a:lnTo>
                  <a:lnTo>
                    <a:pt x="64" y="1654"/>
                  </a:lnTo>
                  <a:lnTo>
                    <a:pt x="64" y="1647"/>
                  </a:lnTo>
                  <a:lnTo>
                    <a:pt x="71" y="1647"/>
                  </a:lnTo>
                  <a:lnTo>
                    <a:pt x="71" y="1640"/>
                  </a:lnTo>
                  <a:lnTo>
                    <a:pt x="71" y="1640"/>
                  </a:lnTo>
                  <a:lnTo>
                    <a:pt x="78" y="1640"/>
                  </a:lnTo>
                  <a:lnTo>
                    <a:pt x="78" y="1640"/>
                  </a:lnTo>
                  <a:lnTo>
                    <a:pt x="78" y="1640"/>
                  </a:lnTo>
                  <a:lnTo>
                    <a:pt x="86" y="1640"/>
                  </a:lnTo>
                  <a:lnTo>
                    <a:pt x="86" y="1640"/>
                  </a:lnTo>
                  <a:lnTo>
                    <a:pt x="93" y="1633"/>
                  </a:lnTo>
                  <a:lnTo>
                    <a:pt x="93" y="1633"/>
                  </a:lnTo>
                  <a:lnTo>
                    <a:pt x="86" y="1633"/>
                  </a:lnTo>
                  <a:lnTo>
                    <a:pt x="86" y="1633"/>
                  </a:lnTo>
                  <a:lnTo>
                    <a:pt x="78" y="1640"/>
                  </a:lnTo>
                  <a:lnTo>
                    <a:pt x="78" y="1640"/>
                  </a:lnTo>
                  <a:lnTo>
                    <a:pt x="71" y="1640"/>
                  </a:lnTo>
                  <a:lnTo>
                    <a:pt x="71" y="1640"/>
                  </a:lnTo>
                  <a:lnTo>
                    <a:pt x="64" y="1640"/>
                  </a:lnTo>
                  <a:lnTo>
                    <a:pt x="64" y="1640"/>
                  </a:lnTo>
                  <a:lnTo>
                    <a:pt x="64" y="1647"/>
                  </a:lnTo>
                  <a:lnTo>
                    <a:pt x="64" y="1647"/>
                  </a:lnTo>
                  <a:lnTo>
                    <a:pt x="57" y="1647"/>
                  </a:lnTo>
                  <a:lnTo>
                    <a:pt x="57" y="1647"/>
                  </a:lnTo>
                  <a:lnTo>
                    <a:pt x="50" y="1647"/>
                  </a:lnTo>
                  <a:lnTo>
                    <a:pt x="50" y="1654"/>
                  </a:lnTo>
                  <a:lnTo>
                    <a:pt x="50" y="1654"/>
                  </a:lnTo>
                  <a:lnTo>
                    <a:pt x="43" y="1654"/>
                  </a:lnTo>
                  <a:lnTo>
                    <a:pt x="43" y="1654"/>
                  </a:lnTo>
                  <a:lnTo>
                    <a:pt x="36" y="1654"/>
                  </a:lnTo>
                  <a:lnTo>
                    <a:pt x="36" y="1661"/>
                  </a:lnTo>
                  <a:lnTo>
                    <a:pt x="29" y="1669"/>
                  </a:lnTo>
                  <a:lnTo>
                    <a:pt x="29" y="1669"/>
                  </a:lnTo>
                  <a:lnTo>
                    <a:pt x="29" y="1669"/>
                  </a:lnTo>
                  <a:lnTo>
                    <a:pt x="29" y="1676"/>
                  </a:lnTo>
                  <a:lnTo>
                    <a:pt x="22" y="1676"/>
                  </a:lnTo>
                  <a:lnTo>
                    <a:pt x="22" y="1676"/>
                  </a:lnTo>
                  <a:lnTo>
                    <a:pt x="22" y="1676"/>
                  </a:lnTo>
                  <a:lnTo>
                    <a:pt x="22" y="1676"/>
                  </a:lnTo>
                  <a:lnTo>
                    <a:pt x="22" y="1676"/>
                  </a:lnTo>
                  <a:lnTo>
                    <a:pt x="7" y="1676"/>
                  </a:lnTo>
                  <a:lnTo>
                    <a:pt x="0" y="1676"/>
                  </a:lnTo>
                  <a:lnTo>
                    <a:pt x="0" y="1676"/>
                  </a:lnTo>
                  <a:lnTo>
                    <a:pt x="0" y="1669"/>
                  </a:lnTo>
                  <a:lnTo>
                    <a:pt x="0" y="1669"/>
                  </a:lnTo>
                  <a:lnTo>
                    <a:pt x="0" y="1669"/>
                  </a:lnTo>
                  <a:lnTo>
                    <a:pt x="0" y="1669"/>
                  </a:lnTo>
                  <a:lnTo>
                    <a:pt x="0" y="1669"/>
                  </a:lnTo>
                  <a:lnTo>
                    <a:pt x="0" y="1669"/>
                  </a:lnTo>
                  <a:lnTo>
                    <a:pt x="7" y="1669"/>
                  </a:lnTo>
                  <a:lnTo>
                    <a:pt x="7" y="1661"/>
                  </a:lnTo>
                  <a:lnTo>
                    <a:pt x="7" y="1661"/>
                  </a:lnTo>
                  <a:lnTo>
                    <a:pt x="7" y="1661"/>
                  </a:lnTo>
                  <a:lnTo>
                    <a:pt x="7" y="1669"/>
                  </a:lnTo>
                  <a:lnTo>
                    <a:pt x="15" y="1661"/>
                  </a:lnTo>
                  <a:lnTo>
                    <a:pt x="15" y="1661"/>
                  </a:lnTo>
                  <a:lnTo>
                    <a:pt x="15" y="1661"/>
                  </a:lnTo>
                  <a:lnTo>
                    <a:pt x="15" y="1661"/>
                  </a:lnTo>
                  <a:lnTo>
                    <a:pt x="15" y="1661"/>
                  </a:lnTo>
                  <a:lnTo>
                    <a:pt x="15" y="1661"/>
                  </a:lnTo>
                  <a:lnTo>
                    <a:pt x="7" y="1661"/>
                  </a:lnTo>
                  <a:lnTo>
                    <a:pt x="7" y="1661"/>
                  </a:lnTo>
                  <a:lnTo>
                    <a:pt x="7" y="1654"/>
                  </a:lnTo>
                  <a:lnTo>
                    <a:pt x="7" y="1654"/>
                  </a:lnTo>
                  <a:lnTo>
                    <a:pt x="7" y="1647"/>
                  </a:lnTo>
                  <a:lnTo>
                    <a:pt x="7" y="1647"/>
                  </a:lnTo>
                  <a:lnTo>
                    <a:pt x="0" y="1647"/>
                  </a:lnTo>
                  <a:lnTo>
                    <a:pt x="0" y="1654"/>
                  </a:lnTo>
                  <a:lnTo>
                    <a:pt x="0" y="1647"/>
                  </a:lnTo>
                  <a:lnTo>
                    <a:pt x="0" y="1647"/>
                  </a:lnTo>
                  <a:lnTo>
                    <a:pt x="0" y="1647"/>
                  </a:lnTo>
                  <a:lnTo>
                    <a:pt x="7" y="1640"/>
                  </a:lnTo>
                  <a:lnTo>
                    <a:pt x="7" y="1640"/>
                  </a:lnTo>
                  <a:lnTo>
                    <a:pt x="7" y="1640"/>
                  </a:lnTo>
                  <a:lnTo>
                    <a:pt x="7" y="1633"/>
                  </a:lnTo>
                  <a:lnTo>
                    <a:pt x="7" y="1633"/>
                  </a:lnTo>
                  <a:lnTo>
                    <a:pt x="15" y="1633"/>
                  </a:lnTo>
                  <a:lnTo>
                    <a:pt x="15" y="1633"/>
                  </a:lnTo>
                  <a:lnTo>
                    <a:pt x="15" y="1633"/>
                  </a:lnTo>
                  <a:lnTo>
                    <a:pt x="15" y="1633"/>
                  </a:lnTo>
                  <a:lnTo>
                    <a:pt x="15" y="1633"/>
                  </a:lnTo>
                  <a:lnTo>
                    <a:pt x="15" y="1633"/>
                  </a:lnTo>
                  <a:lnTo>
                    <a:pt x="15" y="1633"/>
                  </a:lnTo>
                  <a:lnTo>
                    <a:pt x="15" y="1626"/>
                  </a:lnTo>
                  <a:lnTo>
                    <a:pt x="15" y="1626"/>
                  </a:lnTo>
                  <a:lnTo>
                    <a:pt x="15" y="1626"/>
                  </a:lnTo>
                  <a:lnTo>
                    <a:pt x="15" y="1626"/>
                  </a:lnTo>
                  <a:lnTo>
                    <a:pt x="15" y="1626"/>
                  </a:lnTo>
                  <a:lnTo>
                    <a:pt x="15" y="1626"/>
                  </a:lnTo>
                  <a:lnTo>
                    <a:pt x="22" y="1626"/>
                  </a:lnTo>
                  <a:lnTo>
                    <a:pt x="22" y="1626"/>
                  </a:lnTo>
                  <a:lnTo>
                    <a:pt x="22" y="1626"/>
                  </a:lnTo>
                  <a:lnTo>
                    <a:pt x="22" y="1626"/>
                  </a:lnTo>
                  <a:lnTo>
                    <a:pt x="22" y="1626"/>
                  </a:lnTo>
                  <a:lnTo>
                    <a:pt x="22" y="1626"/>
                  </a:lnTo>
                  <a:lnTo>
                    <a:pt x="29" y="1626"/>
                  </a:lnTo>
                  <a:lnTo>
                    <a:pt x="29" y="1626"/>
                  </a:lnTo>
                  <a:lnTo>
                    <a:pt x="29" y="1626"/>
                  </a:lnTo>
                  <a:lnTo>
                    <a:pt x="29" y="1619"/>
                  </a:lnTo>
                  <a:lnTo>
                    <a:pt x="29" y="1619"/>
                  </a:lnTo>
                  <a:lnTo>
                    <a:pt x="29" y="1619"/>
                  </a:lnTo>
                  <a:lnTo>
                    <a:pt x="29" y="1619"/>
                  </a:lnTo>
                  <a:lnTo>
                    <a:pt x="29" y="1619"/>
                  </a:lnTo>
                  <a:lnTo>
                    <a:pt x="29" y="1626"/>
                  </a:lnTo>
                  <a:lnTo>
                    <a:pt x="29" y="1626"/>
                  </a:lnTo>
                  <a:lnTo>
                    <a:pt x="36" y="1619"/>
                  </a:lnTo>
                  <a:lnTo>
                    <a:pt x="43" y="1619"/>
                  </a:lnTo>
                  <a:lnTo>
                    <a:pt x="57" y="1619"/>
                  </a:lnTo>
                  <a:lnTo>
                    <a:pt x="71" y="1619"/>
                  </a:lnTo>
                  <a:lnTo>
                    <a:pt x="78" y="1619"/>
                  </a:lnTo>
                  <a:lnTo>
                    <a:pt x="78" y="1598"/>
                  </a:lnTo>
                  <a:lnTo>
                    <a:pt x="78" y="1583"/>
                  </a:lnTo>
                  <a:lnTo>
                    <a:pt x="86" y="1576"/>
                  </a:lnTo>
                  <a:lnTo>
                    <a:pt x="86" y="1569"/>
                  </a:lnTo>
                  <a:lnTo>
                    <a:pt x="93" y="1569"/>
                  </a:lnTo>
                  <a:lnTo>
                    <a:pt x="93" y="1569"/>
                  </a:lnTo>
                  <a:lnTo>
                    <a:pt x="93" y="1583"/>
                  </a:lnTo>
                  <a:lnTo>
                    <a:pt x="100" y="1583"/>
                  </a:lnTo>
                  <a:lnTo>
                    <a:pt x="100" y="1583"/>
                  </a:lnTo>
                  <a:lnTo>
                    <a:pt x="107" y="1576"/>
                  </a:lnTo>
                  <a:lnTo>
                    <a:pt x="107" y="1569"/>
                  </a:lnTo>
                  <a:lnTo>
                    <a:pt x="107" y="1569"/>
                  </a:lnTo>
                  <a:lnTo>
                    <a:pt x="107" y="1569"/>
                  </a:lnTo>
                  <a:lnTo>
                    <a:pt x="107" y="1569"/>
                  </a:lnTo>
                  <a:lnTo>
                    <a:pt x="107" y="1569"/>
                  </a:lnTo>
                  <a:lnTo>
                    <a:pt x="107" y="1569"/>
                  </a:lnTo>
                  <a:lnTo>
                    <a:pt x="107" y="1569"/>
                  </a:lnTo>
                  <a:lnTo>
                    <a:pt x="114" y="1576"/>
                  </a:lnTo>
                  <a:lnTo>
                    <a:pt x="114" y="1576"/>
                  </a:lnTo>
                  <a:lnTo>
                    <a:pt x="114" y="1576"/>
                  </a:lnTo>
                  <a:lnTo>
                    <a:pt x="121" y="1576"/>
                  </a:lnTo>
                  <a:lnTo>
                    <a:pt x="128" y="1576"/>
                  </a:lnTo>
                  <a:lnTo>
                    <a:pt x="128" y="1576"/>
                  </a:lnTo>
                  <a:lnTo>
                    <a:pt x="135" y="1576"/>
                  </a:lnTo>
                  <a:lnTo>
                    <a:pt x="142" y="1576"/>
                  </a:lnTo>
                  <a:lnTo>
                    <a:pt x="142" y="1583"/>
                  </a:lnTo>
                  <a:lnTo>
                    <a:pt x="149" y="1576"/>
                  </a:lnTo>
                  <a:lnTo>
                    <a:pt x="157" y="1576"/>
                  </a:lnTo>
                  <a:lnTo>
                    <a:pt x="199" y="1576"/>
                  </a:lnTo>
                  <a:lnTo>
                    <a:pt x="199" y="1576"/>
                  </a:lnTo>
                  <a:lnTo>
                    <a:pt x="213" y="1590"/>
                  </a:lnTo>
                  <a:lnTo>
                    <a:pt x="213" y="1590"/>
                  </a:lnTo>
                  <a:lnTo>
                    <a:pt x="228" y="1598"/>
                  </a:lnTo>
                  <a:lnTo>
                    <a:pt x="249" y="1598"/>
                  </a:lnTo>
                  <a:lnTo>
                    <a:pt x="256" y="1590"/>
                  </a:lnTo>
                  <a:lnTo>
                    <a:pt x="263" y="1590"/>
                  </a:lnTo>
                  <a:lnTo>
                    <a:pt x="263" y="1590"/>
                  </a:lnTo>
                  <a:lnTo>
                    <a:pt x="270" y="1576"/>
                  </a:lnTo>
                  <a:lnTo>
                    <a:pt x="270" y="1576"/>
                  </a:lnTo>
                  <a:lnTo>
                    <a:pt x="270" y="1576"/>
                  </a:lnTo>
                  <a:lnTo>
                    <a:pt x="277" y="1576"/>
                  </a:lnTo>
                  <a:lnTo>
                    <a:pt x="284" y="1569"/>
                  </a:lnTo>
                  <a:lnTo>
                    <a:pt x="284" y="1569"/>
                  </a:lnTo>
                  <a:lnTo>
                    <a:pt x="291" y="1569"/>
                  </a:lnTo>
                  <a:lnTo>
                    <a:pt x="291" y="1569"/>
                  </a:lnTo>
                  <a:lnTo>
                    <a:pt x="299" y="1569"/>
                  </a:lnTo>
                  <a:lnTo>
                    <a:pt x="306" y="1569"/>
                  </a:lnTo>
                  <a:lnTo>
                    <a:pt x="306" y="1562"/>
                  </a:lnTo>
                  <a:lnTo>
                    <a:pt x="313" y="1562"/>
                  </a:lnTo>
                  <a:lnTo>
                    <a:pt x="327" y="1555"/>
                  </a:lnTo>
                  <a:lnTo>
                    <a:pt x="334" y="1555"/>
                  </a:lnTo>
                  <a:lnTo>
                    <a:pt x="334" y="1562"/>
                  </a:lnTo>
                  <a:lnTo>
                    <a:pt x="334" y="1562"/>
                  </a:lnTo>
                  <a:lnTo>
                    <a:pt x="334" y="1562"/>
                  </a:lnTo>
                  <a:lnTo>
                    <a:pt x="334" y="1569"/>
                  </a:lnTo>
                  <a:lnTo>
                    <a:pt x="334" y="1569"/>
                  </a:lnTo>
                  <a:lnTo>
                    <a:pt x="334" y="1569"/>
                  </a:lnTo>
                  <a:lnTo>
                    <a:pt x="334" y="1576"/>
                  </a:lnTo>
                  <a:lnTo>
                    <a:pt x="334" y="1583"/>
                  </a:lnTo>
                  <a:lnTo>
                    <a:pt x="334" y="1583"/>
                  </a:lnTo>
                  <a:lnTo>
                    <a:pt x="341" y="1583"/>
                  </a:lnTo>
                  <a:lnTo>
                    <a:pt x="362" y="1583"/>
                  </a:lnTo>
                  <a:lnTo>
                    <a:pt x="362" y="1583"/>
                  </a:lnTo>
                  <a:lnTo>
                    <a:pt x="369" y="1583"/>
                  </a:lnTo>
                  <a:lnTo>
                    <a:pt x="369" y="1583"/>
                  </a:lnTo>
                  <a:lnTo>
                    <a:pt x="369" y="1583"/>
                  </a:lnTo>
                  <a:lnTo>
                    <a:pt x="377" y="1583"/>
                  </a:lnTo>
                  <a:lnTo>
                    <a:pt x="369" y="1576"/>
                  </a:lnTo>
                  <a:lnTo>
                    <a:pt x="369" y="1576"/>
                  </a:lnTo>
                  <a:lnTo>
                    <a:pt x="377" y="1576"/>
                  </a:lnTo>
                  <a:lnTo>
                    <a:pt x="384" y="1569"/>
                  </a:lnTo>
                  <a:lnTo>
                    <a:pt x="384" y="1569"/>
                  </a:lnTo>
                  <a:lnTo>
                    <a:pt x="384" y="1569"/>
                  </a:lnTo>
                  <a:lnTo>
                    <a:pt x="391" y="1569"/>
                  </a:lnTo>
                  <a:lnTo>
                    <a:pt x="391" y="1569"/>
                  </a:lnTo>
                  <a:lnTo>
                    <a:pt x="391" y="1569"/>
                  </a:lnTo>
                  <a:lnTo>
                    <a:pt x="398" y="1569"/>
                  </a:lnTo>
                  <a:lnTo>
                    <a:pt x="398" y="1562"/>
                  </a:lnTo>
                  <a:lnTo>
                    <a:pt x="405" y="1562"/>
                  </a:lnTo>
                  <a:lnTo>
                    <a:pt x="405" y="1562"/>
                  </a:lnTo>
                  <a:lnTo>
                    <a:pt x="405" y="1555"/>
                  </a:lnTo>
                  <a:lnTo>
                    <a:pt x="398" y="1555"/>
                  </a:lnTo>
                  <a:lnTo>
                    <a:pt x="391" y="1555"/>
                  </a:lnTo>
                  <a:lnTo>
                    <a:pt x="391" y="1555"/>
                  </a:lnTo>
                  <a:lnTo>
                    <a:pt x="391" y="1555"/>
                  </a:lnTo>
                  <a:lnTo>
                    <a:pt x="391" y="1548"/>
                  </a:lnTo>
                  <a:lnTo>
                    <a:pt x="391" y="1548"/>
                  </a:lnTo>
                  <a:lnTo>
                    <a:pt x="391" y="1548"/>
                  </a:lnTo>
                  <a:lnTo>
                    <a:pt x="391" y="1548"/>
                  </a:lnTo>
                  <a:lnTo>
                    <a:pt x="391" y="1548"/>
                  </a:lnTo>
                  <a:lnTo>
                    <a:pt x="391" y="1541"/>
                  </a:lnTo>
                  <a:lnTo>
                    <a:pt x="391" y="1541"/>
                  </a:lnTo>
                  <a:lnTo>
                    <a:pt x="391" y="1541"/>
                  </a:lnTo>
                  <a:lnTo>
                    <a:pt x="391" y="1541"/>
                  </a:lnTo>
                  <a:lnTo>
                    <a:pt x="391" y="1534"/>
                  </a:lnTo>
                  <a:lnTo>
                    <a:pt x="391" y="1534"/>
                  </a:lnTo>
                  <a:lnTo>
                    <a:pt x="391" y="1527"/>
                  </a:lnTo>
                  <a:lnTo>
                    <a:pt x="398" y="1527"/>
                  </a:lnTo>
                  <a:lnTo>
                    <a:pt x="405" y="1519"/>
                  </a:lnTo>
                  <a:lnTo>
                    <a:pt x="398" y="1519"/>
                  </a:lnTo>
                  <a:lnTo>
                    <a:pt x="398" y="1505"/>
                  </a:lnTo>
                  <a:lnTo>
                    <a:pt x="391" y="1491"/>
                  </a:lnTo>
                  <a:lnTo>
                    <a:pt x="384" y="1484"/>
                  </a:lnTo>
                  <a:lnTo>
                    <a:pt x="384" y="1477"/>
                  </a:lnTo>
                  <a:lnTo>
                    <a:pt x="377" y="1456"/>
                  </a:lnTo>
                  <a:lnTo>
                    <a:pt x="377" y="1448"/>
                  </a:lnTo>
                  <a:lnTo>
                    <a:pt x="377" y="1448"/>
                  </a:lnTo>
                  <a:lnTo>
                    <a:pt x="362" y="1441"/>
                  </a:lnTo>
                  <a:lnTo>
                    <a:pt x="362" y="1434"/>
                  </a:lnTo>
                  <a:lnTo>
                    <a:pt x="362" y="1434"/>
                  </a:lnTo>
                  <a:lnTo>
                    <a:pt x="362" y="1427"/>
                  </a:lnTo>
                  <a:lnTo>
                    <a:pt x="355" y="1427"/>
                  </a:lnTo>
                  <a:lnTo>
                    <a:pt x="355" y="1420"/>
                  </a:lnTo>
                  <a:lnTo>
                    <a:pt x="348" y="1420"/>
                  </a:lnTo>
                  <a:lnTo>
                    <a:pt x="348" y="1413"/>
                  </a:lnTo>
                  <a:lnTo>
                    <a:pt x="348" y="1399"/>
                  </a:lnTo>
                  <a:lnTo>
                    <a:pt x="355" y="1385"/>
                  </a:lnTo>
                  <a:lnTo>
                    <a:pt x="355" y="1377"/>
                  </a:lnTo>
                  <a:lnTo>
                    <a:pt x="348" y="1370"/>
                  </a:lnTo>
                  <a:lnTo>
                    <a:pt x="341" y="1370"/>
                  </a:lnTo>
                  <a:lnTo>
                    <a:pt x="341" y="1370"/>
                  </a:lnTo>
                  <a:lnTo>
                    <a:pt x="334" y="1377"/>
                  </a:lnTo>
                  <a:lnTo>
                    <a:pt x="327" y="1377"/>
                  </a:lnTo>
                  <a:lnTo>
                    <a:pt x="313" y="1377"/>
                  </a:lnTo>
                  <a:lnTo>
                    <a:pt x="306" y="1377"/>
                  </a:lnTo>
                  <a:lnTo>
                    <a:pt x="299" y="1370"/>
                  </a:lnTo>
                  <a:lnTo>
                    <a:pt x="299" y="1370"/>
                  </a:lnTo>
                  <a:lnTo>
                    <a:pt x="299" y="1370"/>
                  </a:lnTo>
                  <a:lnTo>
                    <a:pt x="291" y="1363"/>
                  </a:lnTo>
                  <a:lnTo>
                    <a:pt x="291" y="1356"/>
                  </a:lnTo>
                  <a:lnTo>
                    <a:pt x="284" y="1349"/>
                  </a:lnTo>
                  <a:lnTo>
                    <a:pt x="277" y="1349"/>
                  </a:lnTo>
                  <a:lnTo>
                    <a:pt x="277" y="1342"/>
                  </a:lnTo>
                  <a:lnTo>
                    <a:pt x="277" y="1335"/>
                  </a:lnTo>
                  <a:lnTo>
                    <a:pt x="277" y="1328"/>
                  </a:lnTo>
                  <a:lnTo>
                    <a:pt x="277" y="1321"/>
                  </a:lnTo>
                  <a:lnTo>
                    <a:pt x="277" y="1314"/>
                  </a:lnTo>
                  <a:lnTo>
                    <a:pt x="277" y="1314"/>
                  </a:lnTo>
                  <a:lnTo>
                    <a:pt x="284" y="1299"/>
                  </a:lnTo>
                  <a:lnTo>
                    <a:pt x="284" y="1299"/>
                  </a:lnTo>
                  <a:lnTo>
                    <a:pt x="284" y="1292"/>
                  </a:lnTo>
                  <a:lnTo>
                    <a:pt x="284" y="1285"/>
                  </a:lnTo>
                  <a:lnTo>
                    <a:pt x="284" y="1285"/>
                  </a:lnTo>
                  <a:lnTo>
                    <a:pt x="284" y="1278"/>
                  </a:lnTo>
                  <a:lnTo>
                    <a:pt x="291" y="1278"/>
                  </a:lnTo>
                  <a:lnTo>
                    <a:pt x="291" y="1278"/>
                  </a:lnTo>
                  <a:lnTo>
                    <a:pt x="291" y="1271"/>
                  </a:lnTo>
                  <a:lnTo>
                    <a:pt x="291" y="1257"/>
                  </a:lnTo>
                  <a:lnTo>
                    <a:pt x="291" y="1250"/>
                  </a:lnTo>
                  <a:lnTo>
                    <a:pt x="284" y="1250"/>
                  </a:lnTo>
                  <a:lnTo>
                    <a:pt x="284" y="1243"/>
                  </a:lnTo>
                  <a:lnTo>
                    <a:pt x="277" y="1243"/>
                  </a:lnTo>
                  <a:lnTo>
                    <a:pt x="242" y="1243"/>
                  </a:lnTo>
                  <a:lnTo>
                    <a:pt x="242" y="1243"/>
                  </a:lnTo>
                  <a:lnTo>
                    <a:pt x="228" y="1236"/>
                  </a:lnTo>
                  <a:lnTo>
                    <a:pt x="228" y="1228"/>
                  </a:lnTo>
                  <a:lnTo>
                    <a:pt x="206" y="1221"/>
                  </a:lnTo>
                  <a:lnTo>
                    <a:pt x="199" y="1214"/>
                  </a:lnTo>
                  <a:lnTo>
                    <a:pt x="199" y="1214"/>
                  </a:lnTo>
                  <a:lnTo>
                    <a:pt x="199" y="1193"/>
                  </a:lnTo>
                  <a:lnTo>
                    <a:pt x="206" y="1179"/>
                  </a:lnTo>
                  <a:lnTo>
                    <a:pt x="213" y="1165"/>
                  </a:lnTo>
                  <a:lnTo>
                    <a:pt x="213" y="1157"/>
                  </a:lnTo>
                  <a:lnTo>
                    <a:pt x="228" y="1143"/>
                  </a:lnTo>
                  <a:lnTo>
                    <a:pt x="235" y="1136"/>
                  </a:lnTo>
                  <a:lnTo>
                    <a:pt x="256" y="1122"/>
                  </a:lnTo>
                  <a:lnTo>
                    <a:pt x="263" y="1115"/>
                  </a:lnTo>
                  <a:lnTo>
                    <a:pt x="277" y="1101"/>
                  </a:lnTo>
                  <a:lnTo>
                    <a:pt x="277" y="1101"/>
                  </a:lnTo>
                  <a:lnTo>
                    <a:pt x="291" y="1072"/>
                  </a:lnTo>
                  <a:lnTo>
                    <a:pt x="291" y="1065"/>
                  </a:lnTo>
                  <a:lnTo>
                    <a:pt x="306" y="1058"/>
                  </a:lnTo>
                  <a:lnTo>
                    <a:pt x="313" y="1051"/>
                  </a:lnTo>
                  <a:lnTo>
                    <a:pt x="320" y="1044"/>
                  </a:lnTo>
                  <a:lnTo>
                    <a:pt x="320" y="1037"/>
                  </a:lnTo>
                  <a:lnTo>
                    <a:pt x="327" y="1037"/>
                  </a:lnTo>
                  <a:lnTo>
                    <a:pt x="334" y="1037"/>
                  </a:lnTo>
                  <a:lnTo>
                    <a:pt x="334" y="1037"/>
                  </a:lnTo>
                  <a:lnTo>
                    <a:pt x="341" y="1037"/>
                  </a:lnTo>
                  <a:lnTo>
                    <a:pt x="341" y="1037"/>
                  </a:lnTo>
                  <a:lnTo>
                    <a:pt x="348" y="1037"/>
                  </a:lnTo>
                  <a:lnTo>
                    <a:pt x="348" y="1037"/>
                  </a:lnTo>
                  <a:lnTo>
                    <a:pt x="355" y="1044"/>
                  </a:lnTo>
                  <a:lnTo>
                    <a:pt x="355" y="1044"/>
                  </a:lnTo>
                  <a:lnTo>
                    <a:pt x="362" y="1051"/>
                  </a:lnTo>
                  <a:lnTo>
                    <a:pt x="362" y="1051"/>
                  </a:lnTo>
                  <a:lnTo>
                    <a:pt x="362" y="1058"/>
                  </a:lnTo>
                  <a:lnTo>
                    <a:pt x="362" y="1058"/>
                  </a:lnTo>
                  <a:lnTo>
                    <a:pt x="362" y="1065"/>
                  </a:lnTo>
                  <a:lnTo>
                    <a:pt x="362" y="1072"/>
                  </a:lnTo>
                  <a:lnTo>
                    <a:pt x="369" y="1079"/>
                  </a:lnTo>
                  <a:lnTo>
                    <a:pt x="377" y="1086"/>
                  </a:lnTo>
                  <a:lnTo>
                    <a:pt x="384" y="1086"/>
                  </a:lnTo>
                  <a:lnTo>
                    <a:pt x="398" y="1079"/>
                  </a:lnTo>
                  <a:lnTo>
                    <a:pt x="412" y="1079"/>
                  </a:lnTo>
                  <a:lnTo>
                    <a:pt x="426" y="1065"/>
                  </a:lnTo>
                  <a:lnTo>
                    <a:pt x="440" y="1065"/>
                  </a:lnTo>
                  <a:lnTo>
                    <a:pt x="448" y="1065"/>
                  </a:lnTo>
                  <a:lnTo>
                    <a:pt x="462" y="1065"/>
                  </a:lnTo>
                  <a:lnTo>
                    <a:pt x="476" y="1065"/>
                  </a:lnTo>
                  <a:lnTo>
                    <a:pt x="483" y="1065"/>
                  </a:lnTo>
                  <a:lnTo>
                    <a:pt x="504" y="1058"/>
                  </a:lnTo>
                  <a:lnTo>
                    <a:pt x="526" y="1051"/>
                  </a:lnTo>
                  <a:lnTo>
                    <a:pt x="526" y="1051"/>
                  </a:lnTo>
                  <a:lnTo>
                    <a:pt x="526" y="1051"/>
                  </a:lnTo>
                  <a:lnTo>
                    <a:pt x="526" y="1030"/>
                  </a:lnTo>
                  <a:lnTo>
                    <a:pt x="533" y="1030"/>
                  </a:lnTo>
                  <a:lnTo>
                    <a:pt x="533" y="1023"/>
                  </a:lnTo>
                  <a:lnTo>
                    <a:pt x="540" y="1008"/>
                  </a:lnTo>
                  <a:lnTo>
                    <a:pt x="561" y="1001"/>
                  </a:lnTo>
                  <a:lnTo>
                    <a:pt x="561" y="994"/>
                  </a:lnTo>
                  <a:lnTo>
                    <a:pt x="568" y="987"/>
                  </a:lnTo>
                  <a:lnTo>
                    <a:pt x="568" y="980"/>
                  </a:lnTo>
                  <a:lnTo>
                    <a:pt x="582" y="952"/>
                  </a:lnTo>
                  <a:lnTo>
                    <a:pt x="582" y="944"/>
                  </a:lnTo>
                  <a:lnTo>
                    <a:pt x="590" y="937"/>
                  </a:lnTo>
                  <a:lnTo>
                    <a:pt x="597" y="930"/>
                  </a:lnTo>
                  <a:lnTo>
                    <a:pt x="618" y="923"/>
                  </a:lnTo>
                  <a:lnTo>
                    <a:pt x="632" y="916"/>
                  </a:lnTo>
                  <a:lnTo>
                    <a:pt x="646" y="909"/>
                  </a:lnTo>
                  <a:lnTo>
                    <a:pt x="668" y="902"/>
                  </a:lnTo>
                  <a:lnTo>
                    <a:pt x="668" y="895"/>
                  </a:lnTo>
                  <a:lnTo>
                    <a:pt x="668" y="895"/>
                  </a:lnTo>
                  <a:lnTo>
                    <a:pt x="675" y="888"/>
                  </a:lnTo>
                  <a:lnTo>
                    <a:pt x="675" y="881"/>
                  </a:lnTo>
                  <a:lnTo>
                    <a:pt x="682" y="866"/>
                  </a:lnTo>
                  <a:lnTo>
                    <a:pt x="696" y="852"/>
                  </a:lnTo>
                  <a:lnTo>
                    <a:pt x="703" y="838"/>
                  </a:lnTo>
                  <a:lnTo>
                    <a:pt x="710" y="824"/>
                  </a:lnTo>
                  <a:lnTo>
                    <a:pt x="717" y="802"/>
                  </a:lnTo>
                  <a:lnTo>
                    <a:pt x="724" y="788"/>
                  </a:lnTo>
                  <a:lnTo>
                    <a:pt x="732" y="774"/>
                  </a:lnTo>
                  <a:lnTo>
                    <a:pt x="732" y="767"/>
                  </a:lnTo>
                  <a:lnTo>
                    <a:pt x="753" y="760"/>
                  </a:lnTo>
                  <a:lnTo>
                    <a:pt x="774" y="753"/>
                  </a:lnTo>
                  <a:lnTo>
                    <a:pt x="781" y="753"/>
                  </a:lnTo>
                  <a:lnTo>
                    <a:pt x="803" y="732"/>
                  </a:lnTo>
                  <a:lnTo>
                    <a:pt x="803" y="732"/>
                  </a:lnTo>
                  <a:lnTo>
                    <a:pt x="803" y="724"/>
                  </a:lnTo>
                  <a:lnTo>
                    <a:pt x="803" y="717"/>
                  </a:lnTo>
                  <a:lnTo>
                    <a:pt x="795" y="717"/>
                  </a:lnTo>
                  <a:lnTo>
                    <a:pt x="788" y="710"/>
                  </a:lnTo>
                  <a:lnTo>
                    <a:pt x="788" y="710"/>
                  </a:lnTo>
                  <a:lnTo>
                    <a:pt x="795" y="710"/>
                  </a:lnTo>
                  <a:lnTo>
                    <a:pt x="795" y="703"/>
                  </a:lnTo>
                  <a:lnTo>
                    <a:pt x="795" y="703"/>
                  </a:lnTo>
                  <a:lnTo>
                    <a:pt x="803" y="703"/>
                  </a:lnTo>
                  <a:lnTo>
                    <a:pt x="803" y="703"/>
                  </a:lnTo>
                  <a:lnTo>
                    <a:pt x="795" y="703"/>
                  </a:lnTo>
                  <a:lnTo>
                    <a:pt x="795" y="703"/>
                  </a:lnTo>
                  <a:lnTo>
                    <a:pt x="803" y="703"/>
                  </a:lnTo>
                  <a:lnTo>
                    <a:pt x="803" y="703"/>
                  </a:lnTo>
                  <a:lnTo>
                    <a:pt x="803" y="703"/>
                  </a:lnTo>
                  <a:lnTo>
                    <a:pt x="810" y="689"/>
                  </a:lnTo>
                  <a:lnTo>
                    <a:pt x="810" y="689"/>
                  </a:lnTo>
                  <a:lnTo>
                    <a:pt x="810" y="689"/>
                  </a:lnTo>
                  <a:lnTo>
                    <a:pt x="817" y="689"/>
                  </a:lnTo>
                  <a:lnTo>
                    <a:pt x="817" y="689"/>
                  </a:lnTo>
                  <a:lnTo>
                    <a:pt x="817" y="682"/>
                  </a:lnTo>
                  <a:lnTo>
                    <a:pt x="817" y="682"/>
                  </a:lnTo>
                  <a:lnTo>
                    <a:pt x="817" y="675"/>
                  </a:lnTo>
                  <a:lnTo>
                    <a:pt x="824" y="675"/>
                  </a:lnTo>
                  <a:lnTo>
                    <a:pt x="824" y="675"/>
                  </a:lnTo>
                  <a:lnTo>
                    <a:pt x="824" y="668"/>
                  </a:lnTo>
                  <a:lnTo>
                    <a:pt x="824" y="668"/>
                  </a:lnTo>
                  <a:lnTo>
                    <a:pt x="831" y="668"/>
                  </a:lnTo>
                  <a:lnTo>
                    <a:pt x="831" y="668"/>
                  </a:lnTo>
                  <a:lnTo>
                    <a:pt x="831" y="668"/>
                  </a:lnTo>
                  <a:lnTo>
                    <a:pt x="831" y="668"/>
                  </a:lnTo>
                  <a:lnTo>
                    <a:pt x="831" y="668"/>
                  </a:lnTo>
                  <a:lnTo>
                    <a:pt x="838" y="661"/>
                  </a:lnTo>
                  <a:lnTo>
                    <a:pt x="838" y="661"/>
                  </a:lnTo>
                  <a:lnTo>
                    <a:pt x="838" y="661"/>
                  </a:lnTo>
                  <a:lnTo>
                    <a:pt x="838" y="661"/>
                  </a:lnTo>
                  <a:lnTo>
                    <a:pt x="845" y="653"/>
                  </a:lnTo>
                  <a:lnTo>
                    <a:pt x="845" y="653"/>
                  </a:lnTo>
                  <a:lnTo>
                    <a:pt x="845" y="653"/>
                  </a:lnTo>
                  <a:lnTo>
                    <a:pt x="845" y="653"/>
                  </a:lnTo>
                  <a:lnTo>
                    <a:pt x="845" y="646"/>
                  </a:lnTo>
                  <a:lnTo>
                    <a:pt x="845" y="646"/>
                  </a:lnTo>
                  <a:lnTo>
                    <a:pt x="845" y="646"/>
                  </a:lnTo>
                  <a:lnTo>
                    <a:pt x="845" y="646"/>
                  </a:lnTo>
                  <a:lnTo>
                    <a:pt x="852" y="646"/>
                  </a:lnTo>
                  <a:lnTo>
                    <a:pt x="852" y="639"/>
                  </a:lnTo>
                  <a:lnTo>
                    <a:pt x="852" y="639"/>
                  </a:lnTo>
                  <a:lnTo>
                    <a:pt x="852" y="639"/>
                  </a:lnTo>
                  <a:lnTo>
                    <a:pt x="852" y="632"/>
                  </a:lnTo>
                  <a:lnTo>
                    <a:pt x="852" y="632"/>
                  </a:lnTo>
                  <a:lnTo>
                    <a:pt x="859" y="632"/>
                  </a:lnTo>
                  <a:lnTo>
                    <a:pt x="859" y="632"/>
                  </a:lnTo>
                  <a:lnTo>
                    <a:pt x="859" y="632"/>
                  </a:lnTo>
                  <a:lnTo>
                    <a:pt x="866" y="632"/>
                  </a:lnTo>
                  <a:lnTo>
                    <a:pt x="866" y="632"/>
                  </a:lnTo>
                  <a:lnTo>
                    <a:pt x="866" y="632"/>
                  </a:lnTo>
                  <a:lnTo>
                    <a:pt x="866" y="632"/>
                  </a:lnTo>
                  <a:lnTo>
                    <a:pt x="866" y="625"/>
                  </a:lnTo>
                  <a:lnTo>
                    <a:pt x="873" y="625"/>
                  </a:lnTo>
                  <a:lnTo>
                    <a:pt x="873" y="625"/>
                  </a:lnTo>
                  <a:lnTo>
                    <a:pt x="873" y="625"/>
                  </a:lnTo>
                  <a:lnTo>
                    <a:pt x="881" y="625"/>
                  </a:lnTo>
                  <a:lnTo>
                    <a:pt x="881" y="625"/>
                  </a:lnTo>
                  <a:lnTo>
                    <a:pt x="881" y="618"/>
                  </a:lnTo>
                  <a:lnTo>
                    <a:pt x="888" y="618"/>
                  </a:lnTo>
                  <a:lnTo>
                    <a:pt x="888" y="618"/>
                  </a:lnTo>
                  <a:lnTo>
                    <a:pt x="888" y="611"/>
                  </a:lnTo>
                  <a:lnTo>
                    <a:pt x="888" y="611"/>
                  </a:lnTo>
                  <a:lnTo>
                    <a:pt x="895" y="611"/>
                  </a:lnTo>
                  <a:lnTo>
                    <a:pt x="895" y="604"/>
                  </a:lnTo>
                  <a:lnTo>
                    <a:pt x="895" y="604"/>
                  </a:lnTo>
                  <a:lnTo>
                    <a:pt x="895" y="604"/>
                  </a:lnTo>
                  <a:lnTo>
                    <a:pt x="888" y="604"/>
                  </a:lnTo>
                  <a:lnTo>
                    <a:pt x="881" y="604"/>
                  </a:lnTo>
                  <a:lnTo>
                    <a:pt x="881" y="604"/>
                  </a:lnTo>
                  <a:lnTo>
                    <a:pt x="881" y="604"/>
                  </a:lnTo>
                  <a:lnTo>
                    <a:pt x="881" y="604"/>
                  </a:lnTo>
                  <a:lnTo>
                    <a:pt x="881" y="597"/>
                  </a:lnTo>
                  <a:lnTo>
                    <a:pt x="881" y="597"/>
                  </a:lnTo>
                  <a:lnTo>
                    <a:pt x="881" y="590"/>
                  </a:lnTo>
                  <a:lnTo>
                    <a:pt x="881" y="590"/>
                  </a:lnTo>
                  <a:lnTo>
                    <a:pt x="881" y="582"/>
                  </a:lnTo>
                  <a:lnTo>
                    <a:pt x="881" y="575"/>
                  </a:lnTo>
                  <a:lnTo>
                    <a:pt x="888" y="568"/>
                  </a:lnTo>
                  <a:lnTo>
                    <a:pt x="888" y="561"/>
                  </a:lnTo>
                  <a:lnTo>
                    <a:pt x="888" y="561"/>
                  </a:lnTo>
                  <a:lnTo>
                    <a:pt x="895" y="561"/>
                  </a:lnTo>
                  <a:lnTo>
                    <a:pt x="895" y="554"/>
                  </a:lnTo>
                  <a:lnTo>
                    <a:pt x="895" y="554"/>
                  </a:lnTo>
                  <a:lnTo>
                    <a:pt x="888" y="547"/>
                  </a:lnTo>
                  <a:lnTo>
                    <a:pt x="888" y="533"/>
                  </a:lnTo>
                  <a:lnTo>
                    <a:pt x="881" y="526"/>
                  </a:lnTo>
                  <a:lnTo>
                    <a:pt x="873" y="519"/>
                  </a:lnTo>
                  <a:lnTo>
                    <a:pt x="873" y="519"/>
                  </a:lnTo>
                  <a:lnTo>
                    <a:pt x="881" y="519"/>
                  </a:lnTo>
                  <a:lnTo>
                    <a:pt x="881" y="519"/>
                  </a:lnTo>
                  <a:lnTo>
                    <a:pt x="881" y="519"/>
                  </a:lnTo>
                  <a:lnTo>
                    <a:pt x="881" y="519"/>
                  </a:lnTo>
                  <a:lnTo>
                    <a:pt x="881" y="519"/>
                  </a:lnTo>
                  <a:lnTo>
                    <a:pt x="881" y="511"/>
                  </a:lnTo>
                  <a:lnTo>
                    <a:pt x="881" y="511"/>
                  </a:lnTo>
                  <a:lnTo>
                    <a:pt x="881" y="511"/>
                  </a:lnTo>
                  <a:lnTo>
                    <a:pt x="881" y="511"/>
                  </a:lnTo>
                  <a:lnTo>
                    <a:pt x="881" y="511"/>
                  </a:lnTo>
                  <a:lnTo>
                    <a:pt x="881" y="511"/>
                  </a:lnTo>
                  <a:lnTo>
                    <a:pt x="881" y="504"/>
                  </a:lnTo>
                  <a:lnTo>
                    <a:pt x="881" y="504"/>
                  </a:lnTo>
                  <a:lnTo>
                    <a:pt x="888" y="504"/>
                  </a:lnTo>
                  <a:lnTo>
                    <a:pt x="895" y="497"/>
                  </a:lnTo>
                  <a:lnTo>
                    <a:pt x="895" y="497"/>
                  </a:lnTo>
                  <a:lnTo>
                    <a:pt x="902" y="490"/>
                  </a:lnTo>
                  <a:lnTo>
                    <a:pt x="902" y="490"/>
                  </a:lnTo>
                  <a:lnTo>
                    <a:pt x="909" y="490"/>
                  </a:lnTo>
                  <a:lnTo>
                    <a:pt x="916" y="490"/>
                  </a:lnTo>
                  <a:lnTo>
                    <a:pt x="916" y="483"/>
                  </a:lnTo>
                  <a:lnTo>
                    <a:pt x="916" y="483"/>
                  </a:lnTo>
                  <a:lnTo>
                    <a:pt x="916" y="476"/>
                  </a:lnTo>
                  <a:lnTo>
                    <a:pt x="923" y="476"/>
                  </a:lnTo>
                  <a:lnTo>
                    <a:pt x="930" y="476"/>
                  </a:lnTo>
                  <a:lnTo>
                    <a:pt x="930" y="476"/>
                  </a:lnTo>
                  <a:lnTo>
                    <a:pt x="930" y="476"/>
                  </a:lnTo>
                  <a:lnTo>
                    <a:pt x="937" y="476"/>
                  </a:lnTo>
                  <a:lnTo>
                    <a:pt x="937" y="476"/>
                  </a:lnTo>
                  <a:lnTo>
                    <a:pt x="937" y="476"/>
                  </a:lnTo>
                  <a:lnTo>
                    <a:pt x="937" y="476"/>
                  </a:lnTo>
                  <a:lnTo>
                    <a:pt x="937" y="469"/>
                  </a:lnTo>
                  <a:lnTo>
                    <a:pt x="937" y="469"/>
                  </a:lnTo>
                  <a:lnTo>
                    <a:pt x="944" y="469"/>
                  </a:lnTo>
                  <a:lnTo>
                    <a:pt x="944" y="469"/>
                  </a:lnTo>
                  <a:lnTo>
                    <a:pt x="944" y="469"/>
                  </a:lnTo>
                  <a:lnTo>
                    <a:pt x="944" y="469"/>
                  </a:lnTo>
                  <a:lnTo>
                    <a:pt x="952" y="469"/>
                  </a:lnTo>
                  <a:lnTo>
                    <a:pt x="959" y="469"/>
                  </a:lnTo>
                  <a:lnTo>
                    <a:pt x="959" y="469"/>
                  </a:lnTo>
                  <a:lnTo>
                    <a:pt x="959" y="469"/>
                  </a:lnTo>
                  <a:lnTo>
                    <a:pt x="959" y="469"/>
                  </a:lnTo>
                  <a:lnTo>
                    <a:pt x="959" y="469"/>
                  </a:lnTo>
                  <a:lnTo>
                    <a:pt x="966" y="469"/>
                  </a:lnTo>
                  <a:lnTo>
                    <a:pt x="966" y="462"/>
                  </a:lnTo>
                  <a:lnTo>
                    <a:pt x="966" y="462"/>
                  </a:lnTo>
                  <a:lnTo>
                    <a:pt x="973" y="462"/>
                  </a:lnTo>
                  <a:lnTo>
                    <a:pt x="973" y="462"/>
                  </a:lnTo>
                  <a:lnTo>
                    <a:pt x="973" y="462"/>
                  </a:lnTo>
                  <a:lnTo>
                    <a:pt x="980" y="462"/>
                  </a:lnTo>
                  <a:lnTo>
                    <a:pt x="980" y="455"/>
                  </a:lnTo>
                  <a:lnTo>
                    <a:pt x="980" y="455"/>
                  </a:lnTo>
                  <a:lnTo>
                    <a:pt x="980" y="448"/>
                  </a:lnTo>
                  <a:lnTo>
                    <a:pt x="987" y="448"/>
                  </a:lnTo>
                  <a:lnTo>
                    <a:pt x="987" y="440"/>
                  </a:lnTo>
                  <a:lnTo>
                    <a:pt x="987" y="440"/>
                  </a:lnTo>
                  <a:lnTo>
                    <a:pt x="980" y="433"/>
                  </a:lnTo>
                  <a:lnTo>
                    <a:pt x="973" y="426"/>
                  </a:lnTo>
                  <a:lnTo>
                    <a:pt x="966" y="426"/>
                  </a:lnTo>
                  <a:lnTo>
                    <a:pt x="959" y="426"/>
                  </a:lnTo>
                  <a:lnTo>
                    <a:pt x="952" y="419"/>
                  </a:lnTo>
                  <a:lnTo>
                    <a:pt x="952" y="419"/>
                  </a:lnTo>
                  <a:lnTo>
                    <a:pt x="944" y="412"/>
                  </a:lnTo>
                  <a:lnTo>
                    <a:pt x="937" y="419"/>
                  </a:lnTo>
                  <a:lnTo>
                    <a:pt x="937" y="419"/>
                  </a:lnTo>
                  <a:lnTo>
                    <a:pt x="930" y="419"/>
                  </a:lnTo>
                  <a:lnTo>
                    <a:pt x="923" y="412"/>
                  </a:lnTo>
                  <a:lnTo>
                    <a:pt x="916" y="412"/>
                  </a:lnTo>
                  <a:lnTo>
                    <a:pt x="909" y="419"/>
                  </a:lnTo>
                  <a:lnTo>
                    <a:pt x="909" y="419"/>
                  </a:lnTo>
                  <a:lnTo>
                    <a:pt x="902" y="412"/>
                  </a:lnTo>
                  <a:lnTo>
                    <a:pt x="902" y="412"/>
                  </a:lnTo>
                  <a:lnTo>
                    <a:pt x="895" y="398"/>
                  </a:lnTo>
                  <a:lnTo>
                    <a:pt x="895" y="398"/>
                  </a:lnTo>
                  <a:lnTo>
                    <a:pt x="895" y="398"/>
                  </a:lnTo>
                  <a:lnTo>
                    <a:pt x="895" y="391"/>
                  </a:lnTo>
                  <a:lnTo>
                    <a:pt x="895" y="391"/>
                  </a:lnTo>
                  <a:lnTo>
                    <a:pt x="895" y="391"/>
                  </a:lnTo>
                  <a:lnTo>
                    <a:pt x="895" y="384"/>
                  </a:lnTo>
                  <a:lnTo>
                    <a:pt x="895" y="377"/>
                  </a:lnTo>
                  <a:lnTo>
                    <a:pt x="895" y="377"/>
                  </a:lnTo>
                  <a:lnTo>
                    <a:pt x="902" y="369"/>
                  </a:lnTo>
                  <a:lnTo>
                    <a:pt x="902" y="369"/>
                  </a:lnTo>
                  <a:lnTo>
                    <a:pt x="902" y="362"/>
                  </a:lnTo>
                  <a:lnTo>
                    <a:pt x="902" y="362"/>
                  </a:lnTo>
                  <a:lnTo>
                    <a:pt x="895" y="362"/>
                  </a:lnTo>
                  <a:lnTo>
                    <a:pt x="895" y="362"/>
                  </a:lnTo>
                  <a:lnTo>
                    <a:pt x="895" y="369"/>
                  </a:lnTo>
                  <a:lnTo>
                    <a:pt x="895" y="369"/>
                  </a:lnTo>
                  <a:lnTo>
                    <a:pt x="895" y="369"/>
                  </a:lnTo>
                  <a:lnTo>
                    <a:pt x="888" y="377"/>
                  </a:lnTo>
                  <a:lnTo>
                    <a:pt x="888" y="377"/>
                  </a:lnTo>
                  <a:lnTo>
                    <a:pt x="881" y="377"/>
                  </a:lnTo>
                  <a:lnTo>
                    <a:pt x="881" y="377"/>
                  </a:lnTo>
                  <a:lnTo>
                    <a:pt x="873" y="377"/>
                  </a:lnTo>
                  <a:lnTo>
                    <a:pt x="873" y="369"/>
                  </a:lnTo>
                  <a:lnTo>
                    <a:pt x="873" y="369"/>
                  </a:lnTo>
                  <a:lnTo>
                    <a:pt x="866" y="369"/>
                  </a:lnTo>
                  <a:lnTo>
                    <a:pt x="866" y="377"/>
                  </a:lnTo>
                  <a:lnTo>
                    <a:pt x="859" y="377"/>
                  </a:lnTo>
                  <a:lnTo>
                    <a:pt x="859" y="377"/>
                  </a:lnTo>
                  <a:lnTo>
                    <a:pt x="859" y="369"/>
                  </a:lnTo>
                  <a:lnTo>
                    <a:pt x="852" y="369"/>
                  </a:lnTo>
                  <a:lnTo>
                    <a:pt x="852" y="369"/>
                  </a:lnTo>
                  <a:lnTo>
                    <a:pt x="852" y="362"/>
                  </a:lnTo>
                  <a:lnTo>
                    <a:pt x="859" y="362"/>
                  </a:lnTo>
                  <a:lnTo>
                    <a:pt x="859" y="362"/>
                  </a:lnTo>
                  <a:lnTo>
                    <a:pt x="859" y="355"/>
                  </a:lnTo>
                  <a:lnTo>
                    <a:pt x="852" y="348"/>
                  </a:lnTo>
                  <a:lnTo>
                    <a:pt x="852" y="341"/>
                  </a:lnTo>
                  <a:lnTo>
                    <a:pt x="852" y="341"/>
                  </a:lnTo>
                  <a:lnTo>
                    <a:pt x="838" y="341"/>
                  </a:lnTo>
                  <a:lnTo>
                    <a:pt x="838" y="334"/>
                  </a:lnTo>
                  <a:lnTo>
                    <a:pt x="831" y="327"/>
                  </a:lnTo>
                  <a:lnTo>
                    <a:pt x="824" y="320"/>
                  </a:lnTo>
                  <a:lnTo>
                    <a:pt x="817" y="320"/>
                  </a:lnTo>
                  <a:lnTo>
                    <a:pt x="817" y="320"/>
                  </a:lnTo>
                  <a:lnTo>
                    <a:pt x="817" y="313"/>
                  </a:lnTo>
                  <a:lnTo>
                    <a:pt x="817" y="306"/>
                  </a:lnTo>
                  <a:lnTo>
                    <a:pt x="817" y="306"/>
                  </a:lnTo>
                  <a:lnTo>
                    <a:pt x="817" y="306"/>
                  </a:lnTo>
                  <a:lnTo>
                    <a:pt x="824" y="298"/>
                  </a:lnTo>
                  <a:lnTo>
                    <a:pt x="824" y="298"/>
                  </a:lnTo>
                  <a:lnTo>
                    <a:pt x="824" y="298"/>
                  </a:lnTo>
                  <a:lnTo>
                    <a:pt x="831" y="298"/>
                  </a:lnTo>
                  <a:lnTo>
                    <a:pt x="831" y="291"/>
                  </a:lnTo>
                  <a:lnTo>
                    <a:pt x="831" y="284"/>
                  </a:lnTo>
                  <a:lnTo>
                    <a:pt x="838" y="270"/>
                  </a:lnTo>
                  <a:lnTo>
                    <a:pt x="831" y="263"/>
                  </a:lnTo>
                  <a:lnTo>
                    <a:pt x="824" y="263"/>
                  </a:lnTo>
                  <a:lnTo>
                    <a:pt x="817" y="256"/>
                  </a:lnTo>
                  <a:lnTo>
                    <a:pt x="810" y="249"/>
                  </a:lnTo>
                  <a:lnTo>
                    <a:pt x="810" y="249"/>
                  </a:lnTo>
                  <a:lnTo>
                    <a:pt x="810" y="249"/>
                  </a:lnTo>
                  <a:lnTo>
                    <a:pt x="810" y="249"/>
                  </a:lnTo>
                  <a:lnTo>
                    <a:pt x="810" y="242"/>
                  </a:lnTo>
                  <a:lnTo>
                    <a:pt x="810" y="242"/>
                  </a:lnTo>
                  <a:lnTo>
                    <a:pt x="810" y="235"/>
                  </a:lnTo>
                  <a:lnTo>
                    <a:pt x="817" y="235"/>
                  </a:lnTo>
                  <a:lnTo>
                    <a:pt x="817" y="228"/>
                  </a:lnTo>
                  <a:lnTo>
                    <a:pt x="824" y="228"/>
                  </a:lnTo>
                  <a:lnTo>
                    <a:pt x="831" y="228"/>
                  </a:lnTo>
                  <a:lnTo>
                    <a:pt x="838" y="220"/>
                  </a:lnTo>
                  <a:lnTo>
                    <a:pt x="845" y="220"/>
                  </a:lnTo>
                  <a:lnTo>
                    <a:pt x="845" y="213"/>
                  </a:lnTo>
                  <a:lnTo>
                    <a:pt x="852" y="213"/>
                  </a:lnTo>
                  <a:lnTo>
                    <a:pt x="852" y="206"/>
                  </a:lnTo>
                  <a:lnTo>
                    <a:pt x="852" y="206"/>
                  </a:lnTo>
                  <a:lnTo>
                    <a:pt x="845" y="199"/>
                  </a:lnTo>
                  <a:lnTo>
                    <a:pt x="838" y="199"/>
                  </a:lnTo>
                  <a:lnTo>
                    <a:pt x="838" y="199"/>
                  </a:lnTo>
                  <a:lnTo>
                    <a:pt x="831" y="206"/>
                  </a:lnTo>
                  <a:lnTo>
                    <a:pt x="824" y="199"/>
                  </a:lnTo>
                  <a:lnTo>
                    <a:pt x="824" y="199"/>
                  </a:lnTo>
                  <a:lnTo>
                    <a:pt x="817" y="199"/>
                  </a:lnTo>
                  <a:lnTo>
                    <a:pt x="810" y="199"/>
                  </a:lnTo>
                  <a:lnTo>
                    <a:pt x="810" y="199"/>
                  </a:lnTo>
                  <a:lnTo>
                    <a:pt x="803" y="192"/>
                  </a:lnTo>
                  <a:lnTo>
                    <a:pt x="803" y="192"/>
                  </a:lnTo>
                  <a:lnTo>
                    <a:pt x="803" y="185"/>
                  </a:lnTo>
                  <a:lnTo>
                    <a:pt x="810" y="185"/>
                  </a:lnTo>
                  <a:lnTo>
                    <a:pt x="817" y="178"/>
                  </a:lnTo>
                  <a:lnTo>
                    <a:pt x="817" y="178"/>
                  </a:lnTo>
                  <a:lnTo>
                    <a:pt x="817" y="178"/>
                  </a:lnTo>
                  <a:lnTo>
                    <a:pt x="817" y="171"/>
                  </a:lnTo>
                  <a:lnTo>
                    <a:pt x="817" y="171"/>
                  </a:lnTo>
                  <a:lnTo>
                    <a:pt x="810" y="164"/>
                  </a:lnTo>
                  <a:lnTo>
                    <a:pt x="810" y="164"/>
                  </a:lnTo>
                  <a:lnTo>
                    <a:pt x="803" y="164"/>
                  </a:lnTo>
                  <a:lnTo>
                    <a:pt x="803" y="164"/>
                  </a:lnTo>
                  <a:lnTo>
                    <a:pt x="795" y="164"/>
                  </a:lnTo>
                  <a:lnTo>
                    <a:pt x="795" y="157"/>
                  </a:lnTo>
                  <a:lnTo>
                    <a:pt x="795" y="157"/>
                  </a:lnTo>
                  <a:lnTo>
                    <a:pt x="788" y="157"/>
                  </a:lnTo>
                  <a:lnTo>
                    <a:pt x="788" y="149"/>
                  </a:lnTo>
                  <a:lnTo>
                    <a:pt x="788" y="149"/>
                  </a:lnTo>
                  <a:lnTo>
                    <a:pt x="788" y="142"/>
                  </a:lnTo>
                  <a:lnTo>
                    <a:pt x="795" y="142"/>
                  </a:lnTo>
                  <a:lnTo>
                    <a:pt x="795" y="142"/>
                  </a:lnTo>
                  <a:lnTo>
                    <a:pt x="795" y="142"/>
                  </a:lnTo>
                  <a:lnTo>
                    <a:pt x="795" y="142"/>
                  </a:lnTo>
                  <a:lnTo>
                    <a:pt x="795" y="135"/>
                  </a:lnTo>
                  <a:lnTo>
                    <a:pt x="795" y="135"/>
                  </a:lnTo>
                  <a:lnTo>
                    <a:pt x="803" y="135"/>
                  </a:lnTo>
                  <a:lnTo>
                    <a:pt x="810" y="128"/>
                  </a:lnTo>
                  <a:lnTo>
                    <a:pt x="810" y="128"/>
                  </a:lnTo>
                  <a:lnTo>
                    <a:pt x="810" y="121"/>
                  </a:lnTo>
                  <a:lnTo>
                    <a:pt x="810" y="121"/>
                  </a:lnTo>
                  <a:lnTo>
                    <a:pt x="810" y="114"/>
                  </a:lnTo>
                  <a:lnTo>
                    <a:pt x="810" y="114"/>
                  </a:lnTo>
                  <a:lnTo>
                    <a:pt x="810" y="114"/>
                  </a:lnTo>
                  <a:lnTo>
                    <a:pt x="831" y="107"/>
                  </a:lnTo>
                  <a:lnTo>
                    <a:pt x="838" y="107"/>
                  </a:lnTo>
                  <a:lnTo>
                    <a:pt x="845" y="100"/>
                  </a:lnTo>
                  <a:lnTo>
                    <a:pt x="852" y="100"/>
                  </a:lnTo>
                  <a:lnTo>
                    <a:pt x="859" y="100"/>
                  </a:lnTo>
                  <a:lnTo>
                    <a:pt x="866" y="100"/>
                  </a:lnTo>
                  <a:lnTo>
                    <a:pt x="902" y="107"/>
                  </a:lnTo>
                  <a:lnTo>
                    <a:pt x="944" y="114"/>
                  </a:lnTo>
                  <a:lnTo>
                    <a:pt x="952" y="114"/>
                  </a:lnTo>
                  <a:lnTo>
                    <a:pt x="966" y="114"/>
                  </a:lnTo>
                  <a:lnTo>
                    <a:pt x="966" y="114"/>
                  </a:lnTo>
                  <a:lnTo>
                    <a:pt x="973" y="114"/>
                  </a:lnTo>
                  <a:lnTo>
                    <a:pt x="973" y="121"/>
                  </a:lnTo>
                  <a:lnTo>
                    <a:pt x="973" y="121"/>
                  </a:lnTo>
                  <a:lnTo>
                    <a:pt x="980" y="121"/>
                  </a:lnTo>
                  <a:lnTo>
                    <a:pt x="987" y="128"/>
                  </a:lnTo>
                  <a:lnTo>
                    <a:pt x="1015" y="135"/>
                  </a:lnTo>
                  <a:lnTo>
                    <a:pt x="1023" y="135"/>
                  </a:lnTo>
                  <a:lnTo>
                    <a:pt x="1030" y="135"/>
                  </a:lnTo>
                  <a:lnTo>
                    <a:pt x="1030" y="135"/>
                  </a:lnTo>
                  <a:lnTo>
                    <a:pt x="1037" y="135"/>
                  </a:lnTo>
                  <a:lnTo>
                    <a:pt x="1037" y="135"/>
                  </a:lnTo>
                  <a:lnTo>
                    <a:pt x="1044" y="128"/>
                  </a:lnTo>
                  <a:lnTo>
                    <a:pt x="1051" y="128"/>
                  </a:lnTo>
                  <a:lnTo>
                    <a:pt x="1058" y="121"/>
                  </a:lnTo>
                  <a:lnTo>
                    <a:pt x="1058" y="121"/>
                  </a:lnTo>
                  <a:lnTo>
                    <a:pt x="1065" y="121"/>
                  </a:lnTo>
                  <a:lnTo>
                    <a:pt x="1065" y="114"/>
                  </a:lnTo>
                  <a:lnTo>
                    <a:pt x="1065" y="114"/>
                  </a:lnTo>
                  <a:lnTo>
                    <a:pt x="1065" y="107"/>
                  </a:lnTo>
                  <a:lnTo>
                    <a:pt x="1072" y="107"/>
                  </a:lnTo>
                  <a:lnTo>
                    <a:pt x="1079" y="114"/>
                  </a:lnTo>
                  <a:lnTo>
                    <a:pt x="1086" y="114"/>
                  </a:lnTo>
                  <a:lnTo>
                    <a:pt x="1101" y="107"/>
                  </a:lnTo>
                  <a:lnTo>
                    <a:pt x="1115" y="100"/>
                  </a:lnTo>
                  <a:lnTo>
                    <a:pt x="1122" y="100"/>
                  </a:lnTo>
                  <a:lnTo>
                    <a:pt x="1122" y="100"/>
                  </a:lnTo>
                  <a:lnTo>
                    <a:pt x="1129" y="100"/>
                  </a:lnTo>
                  <a:lnTo>
                    <a:pt x="1129" y="100"/>
                  </a:lnTo>
                  <a:lnTo>
                    <a:pt x="1136" y="100"/>
                  </a:lnTo>
                  <a:lnTo>
                    <a:pt x="1143" y="100"/>
                  </a:lnTo>
                  <a:lnTo>
                    <a:pt x="1143" y="100"/>
                  </a:lnTo>
                  <a:lnTo>
                    <a:pt x="1157" y="93"/>
                  </a:lnTo>
                  <a:lnTo>
                    <a:pt x="1157" y="86"/>
                  </a:lnTo>
                  <a:lnTo>
                    <a:pt x="1157" y="78"/>
                  </a:lnTo>
                  <a:lnTo>
                    <a:pt x="1157" y="78"/>
                  </a:lnTo>
                  <a:lnTo>
                    <a:pt x="1165" y="78"/>
                  </a:lnTo>
                  <a:lnTo>
                    <a:pt x="1165" y="71"/>
                  </a:lnTo>
                  <a:lnTo>
                    <a:pt x="1172" y="71"/>
                  </a:lnTo>
                  <a:lnTo>
                    <a:pt x="1172" y="71"/>
                  </a:lnTo>
                  <a:lnTo>
                    <a:pt x="1179" y="78"/>
                  </a:lnTo>
                  <a:lnTo>
                    <a:pt x="1179" y="78"/>
                  </a:lnTo>
                  <a:lnTo>
                    <a:pt x="1179" y="78"/>
                  </a:lnTo>
                  <a:lnTo>
                    <a:pt x="1179" y="71"/>
                  </a:lnTo>
                  <a:lnTo>
                    <a:pt x="1193" y="64"/>
                  </a:lnTo>
                  <a:lnTo>
                    <a:pt x="1193" y="64"/>
                  </a:lnTo>
                  <a:lnTo>
                    <a:pt x="1193" y="64"/>
                  </a:lnTo>
                  <a:lnTo>
                    <a:pt x="1193" y="57"/>
                  </a:lnTo>
                  <a:lnTo>
                    <a:pt x="1193" y="57"/>
                  </a:lnTo>
                  <a:lnTo>
                    <a:pt x="1193" y="50"/>
                  </a:lnTo>
                  <a:lnTo>
                    <a:pt x="1193" y="50"/>
                  </a:lnTo>
                  <a:lnTo>
                    <a:pt x="1285" y="0"/>
                  </a:lnTo>
                  <a:lnTo>
                    <a:pt x="1285" y="0"/>
                  </a:lnTo>
                  <a:lnTo>
                    <a:pt x="1285" y="0"/>
                  </a:lnTo>
                  <a:lnTo>
                    <a:pt x="1292" y="7"/>
                  </a:lnTo>
                </a:path>
              </a:pathLst>
            </a:custGeom>
            <a:noFill/>
            <a:ln w="12700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06F6F-0D77-CA42-B3C8-04BEF7E799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9" name="Oval 118"/>
          <p:cNvSpPr/>
          <p:nvPr/>
        </p:nvSpPr>
        <p:spPr>
          <a:xfrm>
            <a:off x="1302469" y="3302057"/>
            <a:ext cx="176564" cy="1765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0" name="Oval 119"/>
          <p:cNvSpPr/>
          <p:nvPr/>
        </p:nvSpPr>
        <p:spPr>
          <a:xfrm>
            <a:off x="1941939" y="1982122"/>
            <a:ext cx="176564" cy="1765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1" name="Oval 120"/>
          <p:cNvSpPr/>
          <p:nvPr/>
        </p:nvSpPr>
        <p:spPr>
          <a:xfrm>
            <a:off x="1710622" y="1553731"/>
            <a:ext cx="176564" cy="1765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2" name="Oval 121"/>
          <p:cNvSpPr/>
          <p:nvPr/>
        </p:nvSpPr>
        <p:spPr>
          <a:xfrm>
            <a:off x="1125186" y="2454361"/>
            <a:ext cx="176564" cy="1765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3" name="TextBox 122"/>
          <p:cNvSpPr txBox="1"/>
          <p:nvPr/>
        </p:nvSpPr>
        <p:spPr>
          <a:xfrm>
            <a:off x="5224194" y="873078"/>
            <a:ext cx="1665521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100" dirty="0"/>
              <a:t>Xxx </a:t>
            </a:r>
            <a:r>
              <a:rPr lang="en-US" sz="1100" dirty="0" err="1"/>
              <a:t>xxx</a:t>
            </a:r>
            <a:r>
              <a:rPr lang="en-US" sz="1100" dirty="0"/>
              <a:t> </a:t>
            </a:r>
            <a:r>
              <a:rPr lang="en-US" sz="1100" dirty="0" err="1"/>
              <a:t>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r>
              <a:rPr lang="en-US" sz="1100" dirty="0"/>
              <a:t> x 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7330444" y="3794467"/>
            <a:ext cx="1249673" cy="571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2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5%</a:t>
            </a:r>
          </a:p>
          <a:p>
            <a:pPr>
              <a:lnSpc>
                <a:spcPct val="89000"/>
              </a:lnSpc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endParaRPr lang="en-US" sz="1100" dirty="0"/>
          </a:p>
        </p:txBody>
      </p:sp>
      <p:sp>
        <p:nvSpPr>
          <p:cNvPr id="125" name="TextBox 124"/>
          <p:cNvSpPr txBox="1"/>
          <p:nvPr/>
        </p:nvSpPr>
        <p:spPr>
          <a:xfrm>
            <a:off x="5685920" y="3794467"/>
            <a:ext cx="1249673" cy="571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2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5%</a:t>
            </a:r>
          </a:p>
          <a:p>
            <a:pPr>
              <a:lnSpc>
                <a:spcPct val="89000"/>
              </a:lnSpc>
            </a:pPr>
            <a:r>
              <a:rPr lang="en-US" sz="1100" dirty="0" err="1"/>
              <a:t>Xxxxx</a:t>
            </a:r>
            <a:r>
              <a:rPr lang="en-US" sz="1100" dirty="0"/>
              <a:t> </a:t>
            </a:r>
            <a:r>
              <a:rPr lang="en-US" sz="1100" dirty="0" err="1"/>
              <a:t>xxxxx</a:t>
            </a:r>
            <a:endParaRPr lang="en-US" sz="1100" dirty="0"/>
          </a:p>
        </p:txBody>
      </p:sp>
      <p:grpSp>
        <p:nvGrpSpPr>
          <p:cNvPr id="126" name="Group 125"/>
          <p:cNvGrpSpPr/>
          <p:nvPr/>
        </p:nvGrpSpPr>
        <p:grpSpPr>
          <a:xfrm>
            <a:off x="6787839" y="3789506"/>
            <a:ext cx="499479" cy="499479"/>
            <a:chOff x="5076056" y="1050744"/>
            <a:chExt cx="684076" cy="684076"/>
          </a:xfrm>
        </p:grpSpPr>
        <p:sp>
          <p:nvSpPr>
            <p:cNvPr id="127" name="Oval 126"/>
            <p:cNvSpPr/>
            <p:nvPr/>
          </p:nvSpPr>
          <p:spPr>
            <a:xfrm>
              <a:off x="5076056" y="1050744"/>
              <a:ext cx="684076" cy="68407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28" name="Freeform 5"/>
            <p:cNvSpPr>
              <a:spLocks noChangeAspect="1" noEditPoints="1"/>
            </p:cNvSpPr>
            <p:nvPr/>
          </p:nvSpPr>
          <p:spPr bwMode="auto">
            <a:xfrm>
              <a:off x="5295608" y="1139532"/>
              <a:ext cx="254168" cy="506500"/>
            </a:xfrm>
            <a:custGeom>
              <a:avLst/>
              <a:gdLst>
                <a:gd name="T0" fmla="*/ 116 w 117"/>
                <a:gd name="T1" fmla="*/ 130 h 233"/>
                <a:gd name="T2" fmla="*/ 93 w 117"/>
                <a:gd name="T3" fmla="*/ 63 h 233"/>
                <a:gd name="T4" fmla="*/ 24 w 117"/>
                <a:gd name="T5" fmla="*/ 63 h 233"/>
                <a:gd name="T6" fmla="*/ 1 w 117"/>
                <a:gd name="T7" fmla="*/ 130 h 233"/>
                <a:gd name="T8" fmla="*/ 7 w 117"/>
                <a:gd name="T9" fmla="*/ 140 h 233"/>
                <a:gd name="T10" fmla="*/ 18 w 117"/>
                <a:gd name="T11" fmla="*/ 136 h 233"/>
                <a:gd name="T12" fmla="*/ 30 w 117"/>
                <a:gd name="T13" fmla="*/ 223 h 233"/>
                <a:gd name="T14" fmla="*/ 41 w 117"/>
                <a:gd name="T15" fmla="*/ 233 h 233"/>
                <a:gd name="T16" fmla="*/ 59 w 117"/>
                <a:gd name="T17" fmla="*/ 165 h 233"/>
                <a:gd name="T18" fmla="*/ 76 w 117"/>
                <a:gd name="T19" fmla="*/ 233 h 233"/>
                <a:gd name="T20" fmla="*/ 87 w 117"/>
                <a:gd name="T21" fmla="*/ 224 h 233"/>
                <a:gd name="T22" fmla="*/ 84 w 117"/>
                <a:gd name="T23" fmla="*/ 101 h 233"/>
                <a:gd name="T24" fmla="*/ 107 w 117"/>
                <a:gd name="T25" fmla="*/ 141 h 233"/>
                <a:gd name="T26" fmla="*/ 116 w 117"/>
                <a:gd name="T27" fmla="*/ 130 h 233"/>
                <a:gd name="T28" fmla="*/ 104 w 117"/>
                <a:gd name="T29" fmla="*/ 134 h 233"/>
                <a:gd name="T30" fmla="*/ 80 w 117"/>
                <a:gd name="T31" fmla="*/ 87 h 233"/>
                <a:gd name="T32" fmla="*/ 80 w 117"/>
                <a:gd name="T33" fmla="*/ 157 h 233"/>
                <a:gd name="T34" fmla="*/ 82 w 117"/>
                <a:gd name="T35" fmla="*/ 218 h 233"/>
                <a:gd name="T36" fmla="*/ 82 w 117"/>
                <a:gd name="T37" fmla="*/ 223 h 233"/>
                <a:gd name="T38" fmla="*/ 76 w 117"/>
                <a:gd name="T39" fmla="*/ 230 h 233"/>
                <a:gd name="T40" fmla="*/ 70 w 117"/>
                <a:gd name="T41" fmla="*/ 223 h 233"/>
                <a:gd name="T42" fmla="*/ 59 w 117"/>
                <a:gd name="T43" fmla="*/ 143 h 233"/>
                <a:gd name="T44" fmla="*/ 47 w 117"/>
                <a:gd name="T45" fmla="*/ 223 h 233"/>
                <a:gd name="T46" fmla="*/ 35 w 117"/>
                <a:gd name="T47" fmla="*/ 223 h 233"/>
                <a:gd name="T48" fmla="*/ 35 w 117"/>
                <a:gd name="T49" fmla="*/ 218 h 233"/>
                <a:gd name="T50" fmla="*/ 37 w 117"/>
                <a:gd name="T51" fmla="*/ 157 h 233"/>
                <a:gd name="T52" fmla="*/ 37 w 117"/>
                <a:gd name="T53" fmla="*/ 87 h 233"/>
                <a:gd name="T54" fmla="*/ 13 w 117"/>
                <a:gd name="T55" fmla="*/ 134 h 233"/>
                <a:gd name="T56" fmla="*/ 9 w 117"/>
                <a:gd name="T57" fmla="*/ 136 h 233"/>
                <a:gd name="T58" fmla="*/ 6 w 117"/>
                <a:gd name="T59" fmla="*/ 131 h 233"/>
                <a:gd name="T60" fmla="*/ 8 w 117"/>
                <a:gd name="T61" fmla="*/ 123 h 233"/>
                <a:gd name="T62" fmla="*/ 59 w 117"/>
                <a:gd name="T63" fmla="*/ 54 h 233"/>
                <a:gd name="T64" fmla="*/ 109 w 117"/>
                <a:gd name="T65" fmla="*/ 123 h 233"/>
                <a:gd name="T66" fmla="*/ 111 w 117"/>
                <a:gd name="T67" fmla="*/ 131 h 233"/>
                <a:gd name="T68" fmla="*/ 109 w 117"/>
                <a:gd name="T69" fmla="*/ 136 h 233"/>
                <a:gd name="T70" fmla="*/ 81 w 117"/>
                <a:gd name="T71" fmla="*/ 22 h 233"/>
                <a:gd name="T72" fmla="*/ 36 w 117"/>
                <a:gd name="T73" fmla="*/ 22 h 233"/>
                <a:gd name="T74" fmla="*/ 59 w 117"/>
                <a:gd name="T75" fmla="*/ 4 h 233"/>
                <a:gd name="T76" fmla="*/ 59 w 117"/>
                <a:gd name="T77" fmla="*/ 39 h 233"/>
                <a:gd name="T78" fmla="*/ 59 w 117"/>
                <a:gd name="T79" fmla="*/ 4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7" h="233">
                  <a:moveTo>
                    <a:pt x="116" y="130"/>
                  </a:moveTo>
                  <a:cubicBezTo>
                    <a:pt x="116" y="130"/>
                    <a:pt x="116" y="130"/>
                    <a:pt x="116" y="130"/>
                  </a:cubicBezTo>
                  <a:cubicBezTo>
                    <a:pt x="116" y="129"/>
                    <a:pt x="115" y="126"/>
                    <a:pt x="113" y="122"/>
                  </a:cubicBezTo>
                  <a:cubicBezTo>
                    <a:pt x="108" y="105"/>
                    <a:pt x="96" y="69"/>
                    <a:pt x="93" y="63"/>
                  </a:cubicBezTo>
                  <a:cubicBezTo>
                    <a:pt x="88" y="53"/>
                    <a:pt x="78" y="49"/>
                    <a:pt x="59" y="49"/>
                  </a:cubicBezTo>
                  <a:cubicBezTo>
                    <a:pt x="39" y="49"/>
                    <a:pt x="29" y="53"/>
                    <a:pt x="24" y="63"/>
                  </a:cubicBezTo>
                  <a:cubicBezTo>
                    <a:pt x="21" y="69"/>
                    <a:pt x="9" y="105"/>
                    <a:pt x="4" y="122"/>
                  </a:cubicBezTo>
                  <a:cubicBezTo>
                    <a:pt x="3" y="126"/>
                    <a:pt x="1" y="129"/>
                    <a:pt x="1" y="130"/>
                  </a:cubicBezTo>
                  <a:cubicBezTo>
                    <a:pt x="1" y="130"/>
                    <a:pt x="1" y="130"/>
                    <a:pt x="1" y="130"/>
                  </a:cubicBezTo>
                  <a:cubicBezTo>
                    <a:pt x="0" y="134"/>
                    <a:pt x="3" y="139"/>
                    <a:pt x="7" y="140"/>
                  </a:cubicBezTo>
                  <a:cubicBezTo>
                    <a:pt x="8" y="141"/>
                    <a:pt x="9" y="141"/>
                    <a:pt x="10" y="141"/>
                  </a:cubicBezTo>
                  <a:cubicBezTo>
                    <a:pt x="13" y="141"/>
                    <a:pt x="16" y="139"/>
                    <a:pt x="18" y="136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32" y="148"/>
                    <a:pt x="31" y="220"/>
                    <a:pt x="30" y="223"/>
                  </a:cubicBezTo>
                  <a:cubicBezTo>
                    <a:pt x="30" y="223"/>
                    <a:pt x="30" y="223"/>
                    <a:pt x="30" y="224"/>
                  </a:cubicBezTo>
                  <a:cubicBezTo>
                    <a:pt x="31" y="229"/>
                    <a:pt x="35" y="233"/>
                    <a:pt x="41" y="233"/>
                  </a:cubicBezTo>
                  <a:cubicBezTo>
                    <a:pt x="47" y="233"/>
                    <a:pt x="51" y="229"/>
                    <a:pt x="52" y="224"/>
                  </a:cubicBezTo>
                  <a:cubicBezTo>
                    <a:pt x="59" y="165"/>
                    <a:pt x="59" y="165"/>
                    <a:pt x="59" y="165"/>
                  </a:cubicBezTo>
                  <a:cubicBezTo>
                    <a:pt x="65" y="224"/>
                    <a:pt x="65" y="224"/>
                    <a:pt x="65" y="224"/>
                  </a:cubicBezTo>
                  <a:cubicBezTo>
                    <a:pt x="66" y="229"/>
                    <a:pt x="71" y="233"/>
                    <a:pt x="76" y="233"/>
                  </a:cubicBezTo>
                  <a:cubicBezTo>
                    <a:pt x="76" y="233"/>
                    <a:pt x="76" y="233"/>
                    <a:pt x="76" y="233"/>
                  </a:cubicBezTo>
                  <a:cubicBezTo>
                    <a:pt x="82" y="233"/>
                    <a:pt x="86" y="229"/>
                    <a:pt x="87" y="224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87" y="220"/>
                    <a:pt x="85" y="148"/>
                    <a:pt x="84" y="101"/>
                  </a:cubicBezTo>
                  <a:cubicBezTo>
                    <a:pt x="99" y="136"/>
                    <a:pt x="99" y="136"/>
                    <a:pt x="99" y="136"/>
                  </a:cubicBezTo>
                  <a:cubicBezTo>
                    <a:pt x="101" y="139"/>
                    <a:pt x="104" y="141"/>
                    <a:pt x="107" y="141"/>
                  </a:cubicBezTo>
                  <a:cubicBezTo>
                    <a:pt x="108" y="141"/>
                    <a:pt x="109" y="141"/>
                    <a:pt x="110" y="140"/>
                  </a:cubicBezTo>
                  <a:cubicBezTo>
                    <a:pt x="114" y="139"/>
                    <a:pt x="117" y="134"/>
                    <a:pt x="116" y="130"/>
                  </a:cubicBezTo>
                  <a:close/>
                  <a:moveTo>
                    <a:pt x="109" y="136"/>
                  </a:moveTo>
                  <a:cubicBezTo>
                    <a:pt x="107" y="136"/>
                    <a:pt x="104" y="136"/>
                    <a:pt x="104" y="134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88"/>
                    <a:pt x="82" y="87"/>
                    <a:pt x="80" y="87"/>
                  </a:cubicBezTo>
                  <a:cubicBezTo>
                    <a:pt x="79" y="88"/>
                    <a:pt x="79" y="89"/>
                    <a:pt x="79" y="90"/>
                  </a:cubicBezTo>
                  <a:cubicBezTo>
                    <a:pt x="79" y="90"/>
                    <a:pt x="79" y="123"/>
                    <a:pt x="80" y="157"/>
                  </a:cubicBezTo>
                  <a:cubicBezTo>
                    <a:pt x="81" y="173"/>
                    <a:pt x="81" y="190"/>
                    <a:pt x="81" y="203"/>
                  </a:cubicBezTo>
                  <a:cubicBezTo>
                    <a:pt x="82" y="209"/>
                    <a:pt x="82" y="214"/>
                    <a:pt x="82" y="218"/>
                  </a:cubicBezTo>
                  <a:cubicBezTo>
                    <a:pt x="82" y="221"/>
                    <a:pt x="82" y="222"/>
                    <a:pt x="82" y="223"/>
                  </a:cubicBezTo>
                  <a:cubicBezTo>
                    <a:pt x="82" y="223"/>
                    <a:pt x="82" y="223"/>
                    <a:pt x="82" y="223"/>
                  </a:cubicBezTo>
                  <a:cubicBezTo>
                    <a:pt x="82" y="226"/>
                    <a:pt x="79" y="228"/>
                    <a:pt x="76" y="228"/>
                  </a:cubicBezTo>
                  <a:cubicBezTo>
                    <a:pt x="76" y="230"/>
                    <a:pt x="76" y="230"/>
                    <a:pt x="76" y="230"/>
                  </a:cubicBezTo>
                  <a:cubicBezTo>
                    <a:pt x="76" y="228"/>
                    <a:pt x="76" y="228"/>
                    <a:pt x="76" y="228"/>
                  </a:cubicBezTo>
                  <a:cubicBezTo>
                    <a:pt x="73" y="228"/>
                    <a:pt x="70" y="226"/>
                    <a:pt x="70" y="223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1" y="143"/>
                    <a:pt x="60" y="143"/>
                    <a:pt x="59" y="143"/>
                  </a:cubicBezTo>
                  <a:cubicBezTo>
                    <a:pt x="57" y="143"/>
                    <a:pt x="56" y="143"/>
                    <a:pt x="56" y="145"/>
                  </a:cubicBezTo>
                  <a:cubicBezTo>
                    <a:pt x="47" y="223"/>
                    <a:pt x="47" y="223"/>
                    <a:pt x="47" y="223"/>
                  </a:cubicBezTo>
                  <a:cubicBezTo>
                    <a:pt x="47" y="226"/>
                    <a:pt x="44" y="228"/>
                    <a:pt x="41" y="228"/>
                  </a:cubicBezTo>
                  <a:cubicBezTo>
                    <a:pt x="38" y="228"/>
                    <a:pt x="35" y="226"/>
                    <a:pt x="35" y="223"/>
                  </a:cubicBezTo>
                  <a:cubicBezTo>
                    <a:pt x="35" y="223"/>
                    <a:pt x="35" y="222"/>
                    <a:pt x="35" y="222"/>
                  </a:cubicBezTo>
                  <a:cubicBezTo>
                    <a:pt x="35" y="221"/>
                    <a:pt x="35" y="220"/>
                    <a:pt x="35" y="218"/>
                  </a:cubicBezTo>
                  <a:cubicBezTo>
                    <a:pt x="35" y="214"/>
                    <a:pt x="35" y="209"/>
                    <a:pt x="36" y="203"/>
                  </a:cubicBezTo>
                  <a:cubicBezTo>
                    <a:pt x="36" y="190"/>
                    <a:pt x="36" y="173"/>
                    <a:pt x="37" y="157"/>
                  </a:cubicBezTo>
                  <a:cubicBezTo>
                    <a:pt x="38" y="123"/>
                    <a:pt x="38" y="90"/>
                    <a:pt x="38" y="90"/>
                  </a:cubicBezTo>
                  <a:cubicBezTo>
                    <a:pt x="38" y="89"/>
                    <a:pt x="38" y="88"/>
                    <a:pt x="37" y="87"/>
                  </a:cubicBezTo>
                  <a:cubicBezTo>
                    <a:pt x="36" y="87"/>
                    <a:pt x="34" y="88"/>
                    <a:pt x="34" y="89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5"/>
                    <a:pt x="12" y="136"/>
                    <a:pt x="10" y="136"/>
                  </a:cubicBezTo>
                  <a:cubicBezTo>
                    <a:pt x="10" y="136"/>
                    <a:pt x="9" y="136"/>
                    <a:pt x="9" y="136"/>
                  </a:cubicBezTo>
                  <a:cubicBezTo>
                    <a:pt x="6" y="135"/>
                    <a:pt x="5" y="133"/>
                    <a:pt x="6" y="131"/>
                  </a:cubicBezTo>
                  <a:cubicBezTo>
                    <a:pt x="6" y="131"/>
                    <a:pt x="6" y="131"/>
                    <a:pt x="6" y="131"/>
                  </a:cubicBezTo>
                  <a:cubicBezTo>
                    <a:pt x="6" y="131"/>
                    <a:pt x="6" y="130"/>
                    <a:pt x="6" y="129"/>
                  </a:cubicBezTo>
                  <a:cubicBezTo>
                    <a:pt x="7" y="128"/>
                    <a:pt x="8" y="126"/>
                    <a:pt x="8" y="123"/>
                  </a:cubicBezTo>
                  <a:cubicBezTo>
                    <a:pt x="13" y="108"/>
                    <a:pt x="25" y="71"/>
                    <a:pt x="28" y="65"/>
                  </a:cubicBezTo>
                  <a:cubicBezTo>
                    <a:pt x="31" y="59"/>
                    <a:pt x="37" y="54"/>
                    <a:pt x="59" y="54"/>
                  </a:cubicBezTo>
                  <a:cubicBezTo>
                    <a:pt x="80" y="54"/>
                    <a:pt x="86" y="59"/>
                    <a:pt x="89" y="65"/>
                  </a:cubicBezTo>
                  <a:cubicBezTo>
                    <a:pt x="92" y="71"/>
                    <a:pt x="104" y="108"/>
                    <a:pt x="109" y="123"/>
                  </a:cubicBezTo>
                  <a:cubicBezTo>
                    <a:pt x="110" y="126"/>
                    <a:pt x="110" y="128"/>
                    <a:pt x="111" y="129"/>
                  </a:cubicBezTo>
                  <a:cubicBezTo>
                    <a:pt x="111" y="130"/>
                    <a:pt x="111" y="131"/>
                    <a:pt x="111" y="131"/>
                  </a:cubicBezTo>
                  <a:cubicBezTo>
                    <a:pt x="111" y="131"/>
                    <a:pt x="111" y="131"/>
                    <a:pt x="111" y="131"/>
                  </a:cubicBezTo>
                  <a:cubicBezTo>
                    <a:pt x="112" y="133"/>
                    <a:pt x="111" y="135"/>
                    <a:pt x="109" y="136"/>
                  </a:cubicBezTo>
                  <a:close/>
                  <a:moveTo>
                    <a:pt x="59" y="44"/>
                  </a:moveTo>
                  <a:cubicBezTo>
                    <a:pt x="71" y="44"/>
                    <a:pt x="81" y="34"/>
                    <a:pt x="81" y="22"/>
                  </a:cubicBezTo>
                  <a:cubicBezTo>
                    <a:pt x="81" y="10"/>
                    <a:pt x="71" y="0"/>
                    <a:pt x="59" y="0"/>
                  </a:cubicBezTo>
                  <a:cubicBezTo>
                    <a:pt x="46" y="0"/>
                    <a:pt x="36" y="10"/>
                    <a:pt x="36" y="22"/>
                  </a:cubicBezTo>
                  <a:cubicBezTo>
                    <a:pt x="36" y="34"/>
                    <a:pt x="46" y="44"/>
                    <a:pt x="59" y="44"/>
                  </a:cubicBezTo>
                  <a:close/>
                  <a:moveTo>
                    <a:pt x="59" y="4"/>
                  </a:moveTo>
                  <a:cubicBezTo>
                    <a:pt x="68" y="4"/>
                    <a:pt x="76" y="12"/>
                    <a:pt x="76" y="22"/>
                  </a:cubicBezTo>
                  <a:cubicBezTo>
                    <a:pt x="76" y="31"/>
                    <a:pt x="68" y="39"/>
                    <a:pt x="59" y="39"/>
                  </a:cubicBezTo>
                  <a:cubicBezTo>
                    <a:pt x="49" y="39"/>
                    <a:pt x="41" y="31"/>
                    <a:pt x="41" y="22"/>
                  </a:cubicBezTo>
                  <a:cubicBezTo>
                    <a:pt x="41" y="12"/>
                    <a:pt x="49" y="4"/>
                    <a:pt x="59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5167659" y="3789506"/>
            <a:ext cx="499479" cy="499479"/>
            <a:chOff x="5076056" y="123478"/>
            <a:chExt cx="684076" cy="684076"/>
          </a:xfrm>
        </p:grpSpPr>
        <p:sp>
          <p:nvSpPr>
            <p:cNvPr id="130" name="Oval 129"/>
            <p:cNvSpPr/>
            <p:nvPr/>
          </p:nvSpPr>
          <p:spPr>
            <a:xfrm>
              <a:off x="5076056" y="123478"/>
              <a:ext cx="684076" cy="68407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31" name="Freeform 6"/>
            <p:cNvSpPr>
              <a:spLocks noChangeAspect="1" noEditPoints="1"/>
            </p:cNvSpPr>
            <p:nvPr/>
          </p:nvSpPr>
          <p:spPr bwMode="auto">
            <a:xfrm>
              <a:off x="5292080" y="212267"/>
              <a:ext cx="252028" cy="506498"/>
            </a:xfrm>
            <a:custGeom>
              <a:avLst/>
              <a:gdLst>
                <a:gd name="T0" fmla="*/ 80 w 116"/>
                <a:gd name="T1" fmla="*/ 22 h 233"/>
                <a:gd name="T2" fmla="*/ 36 w 116"/>
                <a:gd name="T3" fmla="*/ 22 h 233"/>
                <a:gd name="T4" fmla="*/ 58 w 116"/>
                <a:gd name="T5" fmla="*/ 5 h 233"/>
                <a:gd name="T6" fmla="*/ 58 w 116"/>
                <a:gd name="T7" fmla="*/ 40 h 233"/>
                <a:gd name="T8" fmla="*/ 58 w 116"/>
                <a:gd name="T9" fmla="*/ 5 h 233"/>
                <a:gd name="T10" fmla="*/ 115 w 116"/>
                <a:gd name="T11" fmla="*/ 130 h 233"/>
                <a:gd name="T12" fmla="*/ 93 w 116"/>
                <a:gd name="T13" fmla="*/ 63 h 233"/>
                <a:gd name="T14" fmla="*/ 23 w 116"/>
                <a:gd name="T15" fmla="*/ 63 h 233"/>
                <a:gd name="T16" fmla="*/ 1 w 116"/>
                <a:gd name="T17" fmla="*/ 130 h 233"/>
                <a:gd name="T18" fmla="*/ 6 w 116"/>
                <a:gd name="T19" fmla="*/ 140 h 233"/>
                <a:gd name="T20" fmla="*/ 17 w 116"/>
                <a:gd name="T21" fmla="*/ 136 h 233"/>
                <a:gd name="T22" fmla="*/ 18 w 116"/>
                <a:gd name="T23" fmla="*/ 170 h 233"/>
                <a:gd name="T24" fmla="*/ 21 w 116"/>
                <a:gd name="T25" fmla="*/ 172 h 233"/>
                <a:gd name="T26" fmla="*/ 30 w 116"/>
                <a:gd name="T27" fmla="*/ 223 h 233"/>
                <a:gd name="T28" fmla="*/ 40 w 116"/>
                <a:gd name="T29" fmla="*/ 233 h 233"/>
                <a:gd name="T30" fmla="*/ 57 w 116"/>
                <a:gd name="T31" fmla="*/ 172 h 233"/>
                <a:gd name="T32" fmla="*/ 65 w 116"/>
                <a:gd name="T33" fmla="*/ 224 h 233"/>
                <a:gd name="T34" fmla="*/ 76 w 116"/>
                <a:gd name="T35" fmla="*/ 233 h 233"/>
                <a:gd name="T36" fmla="*/ 86 w 116"/>
                <a:gd name="T37" fmla="*/ 223 h 233"/>
                <a:gd name="T38" fmla="*/ 95 w 116"/>
                <a:gd name="T39" fmla="*/ 172 h 233"/>
                <a:gd name="T40" fmla="*/ 98 w 116"/>
                <a:gd name="T41" fmla="*/ 169 h 233"/>
                <a:gd name="T42" fmla="*/ 99 w 116"/>
                <a:gd name="T43" fmla="*/ 136 h 233"/>
                <a:gd name="T44" fmla="*/ 107 w 116"/>
                <a:gd name="T45" fmla="*/ 141 h 233"/>
                <a:gd name="T46" fmla="*/ 115 w 116"/>
                <a:gd name="T47" fmla="*/ 130 h 233"/>
                <a:gd name="T48" fmla="*/ 107 w 116"/>
                <a:gd name="T49" fmla="*/ 136 h 233"/>
                <a:gd name="T50" fmla="*/ 103 w 116"/>
                <a:gd name="T51" fmla="*/ 134 h 233"/>
                <a:gd name="T52" fmla="*/ 81 w 116"/>
                <a:gd name="T53" fmla="*/ 87 h 233"/>
                <a:gd name="T54" fmla="*/ 93 w 116"/>
                <a:gd name="T55" fmla="*/ 168 h 233"/>
                <a:gd name="T56" fmla="*/ 81 w 116"/>
                <a:gd name="T57" fmla="*/ 168 h 233"/>
                <a:gd name="T58" fmla="*/ 81 w 116"/>
                <a:gd name="T59" fmla="*/ 197 h 233"/>
                <a:gd name="T60" fmla="*/ 82 w 116"/>
                <a:gd name="T61" fmla="*/ 223 h 233"/>
                <a:gd name="T62" fmla="*/ 76 w 116"/>
                <a:gd name="T63" fmla="*/ 228 h 233"/>
                <a:gd name="T64" fmla="*/ 76 w 116"/>
                <a:gd name="T65" fmla="*/ 228 h 233"/>
                <a:gd name="T66" fmla="*/ 63 w 116"/>
                <a:gd name="T67" fmla="*/ 170 h 233"/>
                <a:gd name="T68" fmla="*/ 55 w 116"/>
                <a:gd name="T69" fmla="*/ 168 h 233"/>
                <a:gd name="T70" fmla="*/ 46 w 116"/>
                <a:gd name="T71" fmla="*/ 223 h 233"/>
                <a:gd name="T72" fmla="*/ 34 w 116"/>
                <a:gd name="T73" fmla="*/ 223 h 233"/>
                <a:gd name="T74" fmla="*/ 35 w 116"/>
                <a:gd name="T75" fmla="*/ 221 h 233"/>
                <a:gd name="T76" fmla="*/ 35 w 116"/>
                <a:gd name="T77" fmla="*/ 197 h 233"/>
                <a:gd name="T78" fmla="*/ 35 w 116"/>
                <a:gd name="T79" fmla="*/ 168 h 233"/>
                <a:gd name="T80" fmla="*/ 23 w 116"/>
                <a:gd name="T81" fmla="*/ 168 h 233"/>
                <a:gd name="T82" fmla="*/ 35 w 116"/>
                <a:gd name="T83" fmla="*/ 87 h 233"/>
                <a:gd name="T84" fmla="*/ 13 w 116"/>
                <a:gd name="T85" fmla="*/ 134 h 233"/>
                <a:gd name="T86" fmla="*/ 5 w 116"/>
                <a:gd name="T87" fmla="*/ 131 h 233"/>
                <a:gd name="T88" fmla="*/ 6 w 116"/>
                <a:gd name="T89" fmla="*/ 129 h 233"/>
                <a:gd name="T90" fmla="*/ 28 w 116"/>
                <a:gd name="T91" fmla="*/ 65 h 233"/>
                <a:gd name="T92" fmla="*/ 88 w 116"/>
                <a:gd name="T93" fmla="*/ 65 h 233"/>
                <a:gd name="T94" fmla="*/ 110 w 116"/>
                <a:gd name="T95" fmla="*/ 129 h 233"/>
                <a:gd name="T96" fmla="*/ 111 w 116"/>
                <a:gd name="T97" fmla="*/ 131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6" h="233">
                  <a:moveTo>
                    <a:pt x="58" y="44"/>
                  </a:moveTo>
                  <a:cubicBezTo>
                    <a:pt x="70" y="44"/>
                    <a:pt x="80" y="34"/>
                    <a:pt x="80" y="22"/>
                  </a:cubicBezTo>
                  <a:cubicBezTo>
                    <a:pt x="80" y="10"/>
                    <a:pt x="70" y="0"/>
                    <a:pt x="58" y="0"/>
                  </a:cubicBezTo>
                  <a:cubicBezTo>
                    <a:pt x="46" y="0"/>
                    <a:pt x="36" y="10"/>
                    <a:pt x="36" y="22"/>
                  </a:cubicBezTo>
                  <a:cubicBezTo>
                    <a:pt x="36" y="34"/>
                    <a:pt x="46" y="44"/>
                    <a:pt x="58" y="44"/>
                  </a:cubicBezTo>
                  <a:close/>
                  <a:moveTo>
                    <a:pt x="58" y="5"/>
                  </a:moveTo>
                  <a:cubicBezTo>
                    <a:pt x="68" y="5"/>
                    <a:pt x="75" y="13"/>
                    <a:pt x="75" y="22"/>
                  </a:cubicBezTo>
                  <a:cubicBezTo>
                    <a:pt x="75" y="32"/>
                    <a:pt x="68" y="40"/>
                    <a:pt x="58" y="40"/>
                  </a:cubicBezTo>
                  <a:cubicBezTo>
                    <a:pt x="48" y="40"/>
                    <a:pt x="41" y="32"/>
                    <a:pt x="41" y="22"/>
                  </a:cubicBezTo>
                  <a:cubicBezTo>
                    <a:pt x="41" y="13"/>
                    <a:pt x="48" y="5"/>
                    <a:pt x="58" y="5"/>
                  </a:cubicBezTo>
                  <a:close/>
                  <a:moveTo>
                    <a:pt x="115" y="130"/>
                  </a:moveTo>
                  <a:cubicBezTo>
                    <a:pt x="115" y="130"/>
                    <a:pt x="115" y="130"/>
                    <a:pt x="115" y="130"/>
                  </a:cubicBezTo>
                  <a:cubicBezTo>
                    <a:pt x="115" y="129"/>
                    <a:pt x="114" y="126"/>
                    <a:pt x="113" y="122"/>
                  </a:cubicBezTo>
                  <a:cubicBezTo>
                    <a:pt x="107" y="105"/>
                    <a:pt x="96" y="69"/>
                    <a:pt x="93" y="63"/>
                  </a:cubicBezTo>
                  <a:cubicBezTo>
                    <a:pt x="88" y="53"/>
                    <a:pt x="77" y="49"/>
                    <a:pt x="58" y="49"/>
                  </a:cubicBezTo>
                  <a:cubicBezTo>
                    <a:pt x="39" y="49"/>
                    <a:pt x="28" y="53"/>
                    <a:pt x="23" y="63"/>
                  </a:cubicBezTo>
                  <a:cubicBezTo>
                    <a:pt x="20" y="69"/>
                    <a:pt x="9" y="105"/>
                    <a:pt x="3" y="122"/>
                  </a:cubicBezTo>
                  <a:cubicBezTo>
                    <a:pt x="2" y="126"/>
                    <a:pt x="1" y="129"/>
                    <a:pt x="1" y="130"/>
                  </a:cubicBezTo>
                  <a:cubicBezTo>
                    <a:pt x="1" y="130"/>
                    <a:pt x="1" y="130"/>
                    <a:pt x="1" y="130"/>
                  </a:cubicBezTo>
                  <a:cubicBezTo>
                    <a:pt x="0" y="134"/>
                    <a:pt x="2" y="139"/>
                    <a:pt x="6" y="140"/>
                  </a:cubicBezTo>
                  <a:cubicBezTo>
                    <a:pt x="7" y="141"/>
                    <a:pt x="8" y="141"/>
                    <a:pt x="10" y="141"/>
                  </a:cubicBezTo>
                  <a:cubicBezTo>
                    <a:pt x="13" y="141"/>
                    <a:pt x="16" y="139"/>
                    <a:pt x="17" y="136"/>
                  </a:cubicBezTo>
                  <a:cubicBezTo>
                    <a:pt x="29" y="109"/>
                    <a:pt x="29" y="109"/>
                    <a:pt x="29" y="109"/>
                  </a:cubicBezTo>
                  <a:cubicBezTo>
                    <a:pt x="18" y="170"/>
                    <a:pt x="18" y="170"/>
                    <a:pt x="18" y="170"/>
                  </a:cubicBezTo>
                  <a:cubicBezTo>
                    <a:pt x="18" y="170"/>
                    <a:pt x="18" y="171"/>
                    <a:pt x="19" y="172"/>
                  </a:cubicBezTo>
                  <a:cubicBezTo>
                    <a:pt x="19" y="172"/>
                    <a:pt x="20" y="172"/>
                    <a:pt x="21" y="172"/>
                  </a:cubicBezTo>
                  <a:cubicBezTo>
                    <a:pt x="31" y="172"/>
                    <a:pt x="31" y="172"/>
                    <a:pt x="31" y="172"/>
                  </a:cubicBezTo>
                  <a:cubicBezTo>
                    <a:pt x="31" y="188"/>
                    <a:pt x="30" y="221"/>
                    <a:pt x="30" y="223"/>
                  </a:cubicBezTo>
                  <a:cubicBezTo>
                    <a:pt x="30" y="223"/>
                    <a:pt x="30" y="223"/>
                    <a:pt x="30" y="224"/>
                  </a:cubicBezTo>
                  <a:cubicBezTo>
                    <a:pt x="30" y="229"/>
                    <a:pt x="35" y="233"/>
                    <a:pt x="40" y="233"/>
                  </a:cubicBezTo>
                  <a:cubicBezTo>
                    <a:pt x="46" y="233"/>
                    <a:pt x="51" y="229"/>
                    <a:pt x="51" y="224"/>
                  </a:cubicBezTo>
                  <a:cubicBezTo>
                    <a:pt x="57" y="172"/>
                    <a:pt x="57" y="172"/>
                    <a:pt x="57" y="172"/>
                  </a:cubicBezTo>
                  <a:cubicBezTo>
                    <a:pt x="59" y="172"/>
                    <a:pt x="59" y="172"/>
                    <a:pt x="59" y="172"/>
                  </a:cubicBezTo>
                  <a:cubicBezTo>
                    <a:pt x="65" y="224"/>
                    <a:pt x="65" y="224"/>
                    <a:pt x="65" y="224"/>
                  </a:cubicBezTo>
                  <a:cubicBezTo>
                    <a:pt x="65" y="229"/>
                    <a:pt x="70" y="233"/>
                    <a:pt x="76" y="233"/>
                  </a:cubicBezTo>
                  <a:cubicBezTo>
                    <a:pt x="76" y="233"/>
                    <a:pt x="76" y="233"/>
                    <a:pt x="76" y="233"/>
                  </a:cubicBezTo>
                  <a:cubicBezTo>
                    <a:pt x="81" y="233"/>
                    <a:pt x="86" y="229"/>
                    <a:pt x="86" y="224"/>
                  </a:cubicBezTo>
                  <a:cubicBezTo>
                    <a:pt x="86" y="223"/>
                    <a:pt x="86" y="223"/>
                    <a:pt x="86" y="223"/>
                  </a:cubicBezTo>
                  <a:cubicBezTo>
                    <a:pt x="86" y="221"/>
                    <a:pt x="85" y="188"/>
                    <a:pt x="85" y="172"/>
                  </a:cubicBezTo>
                  <a:cubicBezTo>
                    <a:pt x="95" y="172"/>
                    <a:pt x="95" y="172"/>
                    <a:pt x="95" y="172"/>
                  </a:cubicBezTo>
                  <a:cubicBezTo>
                    <a:pt x="97" y="172"/>
                    <a:pt x="98" y="171"/>
                    <a:pt x="98" y="170"/>
                  </a:cubicBezTo>
                  <a:cubicBezTo>
                    <a:pt x="98" y="170"/>
                    <a:pt x="98" y="170"/>
                    <a:pt x="98" y="169"/>
                  </a:cubicBezTo>
                  <a:cubicBezTo>
                    <a:pt x="87" y="109"/>
                    <a:pt x="87" y="109"/>
                    <a:pt x="87" y="109"/>
                  </a:cubicBezTo>
                  <a:cubicBezTo>
                    <a:pt x="99" y="136"/>
                    <a:pt x="99" y="136"/>
                    <a:pt x="99" y="136"/>
                  </a:cubicBezTo>
                  <a:cubicBezTo>
                    <a:pt x="100" y="139"/>
                    <a:pt x="103" y="141"/>
                    <a:pt x="107" y="141"/>
                  </a:cubicBezTo>
                  <a:cubicBezTo>
                    <a:pt x="107" y="141"/>
                    <a:pt x="107" y="141"/>
                    <a:pt x="107" y="141"/>
                  </a:cubicBezTo>
                  <a:cubicBezTo>
                    <a:pt x="108" y="141"/>
                    <a:pt x="109" y="141"/>
                    <a:pt x="110" y="140"/>
                  </a:cubicBezTo>
                  <a:cubicBezTo>
                    <a:pt x="114" y="139"/>
                    <a:pt x="116" y="134"/>
                    <a:pt x="115" y="130"/>
                  </a:cubicBezTo>
                  <a:close/>
                  <a:moveTo>
                    <a:pt x="108" y="136"/>
                  </a:moveTo>
                  <a:cubicBezTo>
                    <a:pt x="108" y="136"/>
                    <a:pt x="107" y="136"/>
                    <a:pt x="107" y="136"/>
                  </a:cubicBezTo>
                  <a:cubicBezTo>
                    <a:pt x="107" y="136"/>
                    <a:pt x="107" y="136"/>
                    <a:pt x="107" y="136"/>
                  </a:cubicBezTo>
                  <a:cubicBezTo>
                    <a:pt x="105" y="136"/>
                    <a:pt x="104" y="135"/>
                    <a:pt x="103" y="134"/>
                  </a:cubicBezTo>
                  <a:cubicBezTo>
                    <a:pt x="84" y="89"/>
                    <a:pt x="84" y="89"/>
                    <a:pt x="84" y="89"/>
                  </a:cubicBezTo>
                  <a:cubicBezTo>
                    <a:pt x="84" y="88"/>
                    <a:pt x="82" y="87"/>
                    <a:pt x="81" y="87"/>
                  </a:cubicBezTo>
                  <a:cubicBezTo>
                    <a:pt x="80" y="88"/>
                    <a:pt x="79" y="89"/>
                    <a:pt x="80" y="90"/>
                  </a:cubicBezTo>
                  <a:cubicBezTo>
                    <a:pt x="93" y="168"/>
                    <a:pt x="93" y="168"/>
                    <a:pt x="93" y="168"/>
                  </a:cubicBezTo>
                  <a:cubicBezTo>
                    <a:pt x="82" y="168"/>
                    <a:pt x="82" y="168"/>
                    <a:pt x="82" y="168"/>
                  </a:cubicBezTo>
                  <a:cubicBezTo>
                    <a:pt x="82" y="168"/>
                    <a:pt x="81" y="168"/>
                    <a:pt x="81" y="168"/>
                  </a:cubicBezTo>
                  <a:cubicBezTo>
                    <a:pt x="80" y="169"/>
                    <a:pt x="80" y="170"/>
                    <a:pt x="80" y="170"/>
                  </a:cubicBezTo>
                  <a:cubicBezTo>
                    <a:pt x="80" y="170"/>
                    <a:pt x="80" y="183"/>
                    <a:pt x="81" y="197"/>
                  </a:cubicBezTo>
                  <a:cubicBezTo>
                    <a:pt x="81" y="203"/>
                    <a:pt x="81" y="210"/>
                    <a:pt x="81" y="215"/>
                  </a:cubicBezTo>
                  <a:cubicBezTo>
                    <a:pt x="81" y="220"/>
                    <a:pt x="81" y="222"/>
                    <a:pt x="82" y="223"/>
                  </a:cubicBezTo>
                  <a:cubicBezTo>
                    <a:pt x="82" y="223"/>
                    <a:pt x="82" y="223"/>
                    <a:pt x="82" y="223"/>
                  </a:cubicBezTo>
                  <a:cubicBezTo>
                    <a:pt x="81" y="226"/>
                    <a:pt x="79" y="228"/>
                    <a:pt x="76" y="228"/>
                  </a:cubicBezTo>
                  <a:cubicBezTo>
                    <a:pt x="76" y="230"/>
                    <a:pt x="76" y="230"/>
                    <a:pt x="76" y="230"/>
                  </a:cubicBezTo>
                  <a:cubicBezTo>
                    <a:pt x="76" y="228"/>
                    <a:pt x="76" y="228"/>
                    <a:pt x="76" y="228"/>
                  </a:cubicBezTo>
                  <a:cubicBezTo>
                    <a:pt x="72" y="228"/>
                    <a:pt x="70" y="226"/>
                    <a:pt x="70" y="223"/>
                  </a:cubicBezTo>
                  <a:cubicBezTo>
                    <a:pt x="63" y="170"/>
                    <a:pt x="63" y="170"/>
                    <a:pt x="63" y="170"/>
                  </a:cubicBezTo>
                  <a:cubicBezTo>
                    <a:pt x="63" y="169"/>
                    <a:pt x="62" y="168"/>
                    <a:pt x="61" y="168"/>
                  </a:cubicBezTo>
                  <a:cubicBezTo>
                    <a:pt x="55" y="168"/>
                    <a:pt x="55" y="168"/>
                    <a:pt x="55" y="168"/>
                  </a:cubicBezTo>
                  <a:cubicBezTo>
                    <a:pt x="54" y="168"/>
                    <a:pt x="53" y="169"/>
                    <a:pt x="53" y="170"/>
                  </a:cubicBezTo>
                  <a:cubicBezTo>
                    <a:pt x="46" y="223"/>
                    <a:pt x="46" y="223"/>
                    <a:pt x="46" y="223"/>
                  </a:cubicBezTo>
                  <a:cubicBezTo>
                    <a:pt x="46" y="226"/>
                    <a:pt x="44" y="228"/>
                    <a:pt x="40" y="228"/>
                  </a:cubicBezTo>
                  <a:cubicBezTo>
                    <a:pt x="37" y="228"/>
                    <a:pt x="35" y="226"/>
                    <a:pt x="34" y="223"/>
                  </a:cubicBezTo>
                  <a:cubicBezTo>
                    <a:pt x="34" y="223"/>
                    <a:pt x="34" y="223"/>
                    <a:pt x="34" y="223"/>
                  </a:cubicBezTo>
                  <a:cubicBezTo>
                    <a:pt x="35" y="223"/>
                    <a:pt x="35" y="222"/>
                    <a:pt x="35" y="221"/>
                  </a:cubicBezTo>
                  <a:cubicBezTo>
                    <a:pt x="35" y="220"/>
                    <a:pt x="35" y="218"/>
                    <a:pt x="35" y="215"/>
                  </a:cubicBezTo>
                  <a:cubicBezTo>
                    <a:pt x="35" y="210"/>
                    <a:pt x="35" y="203"/>
                    <a:pt x="35" y="197"/>
                  </a:cubicBezTo>
                  <a:cubicBezTo>
                    <a:pt x="36" y="184"/>
                    <a:pt x="36" y="170"/>
                    <a:pt x="36" y="170"/>
                  </a:cubicBezTo>
                  <a:cubicBezTo>
                    <a:pt x="36" y="170"/>
                    <a:pt x="36" y="169"/>
                    <a:pt x="35" y="168"/>
                  </a:cubicBezTo>
                  <a:cubicBezTo>
                    <a:pt x="35" y="168"/>
                    <a:pt x="34" y="168"/>
                    <a:pt x="34" y="168"/>
                  </a:cubicBezTo>
                  <a:cubicBezTo>
                    <a:pt x="23" y="168"/>
                    <a:pt x="23" y="168"/>
                    <a:pt x="23" y="168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7" y="89"/>
                    <a:pt x="36" y="88"/>
                    <a:pt x="35" y="87"/>
                  </a:cubicBezTo>
                  <a:cubicBezTo>
                    <a:pt x="34" y="87"/>
                    <a:pt x="32" y="88"/>
                    <a:pt x="32" y="89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2" y="136"/>
                    <a:pt x="10" y="136"/>
                    <a:pt x="8" y="136"/>
                  </a:cubicBezTo>
                  <a:cubicBezTo>
                    <a:pt x="6" y="135"/>
                    <a:pt x="5" y="133"/>
                    <a:pt x="5" y="131"/>
                  </a:cubicBezTo>
                  <a:cubicBezTo>
                    <a:pt x="5" y="131"/>
                    <a:pt x="5" y="131"/>
                    <a:pt x="5" y="131"/>
                  </a:cubicBezTo>
                  <a:cubicBezTo>
                    <a:pt x="5" y="131"/>
                    <a:pt x="6" y="130"/>
                    <a:pt x="6" y="129"/>
                  </a:cubicBezTo>
                  <a:cubicBezTo>
                    <a:pt x="6" y="128"/>
                    <a:pt x="7" y="126"/>
                    <a:pt x="8" y="123"/>
                  </a:cubicBezTo>
                  <a:cubicBezTo>
                    <a:pt x="13" y="108"/>
                    <a:pt x="25" y="71"/>
                    <a:pt x="28" y="65"/>
                  </a:cubicBezTo>
                  <a:cubicBezTo>
                    <a:pt x="30" y="59"/>
                    <a:pt x="36" y="54"/>
                    <a:pt x="58" y="54"/>
                  </a:cubicBezTo>
                  <a:cubicBezTo>
                    <a:pt x="80" y="54"/>
                    <a:pt x="86" y="59"/>
                    <a:pt x="88" y="65"/>
                  </a:cubicBezTo>
                  <a:cubicBezTo>
                    <a:pt x="91" y="71"/>
                    <a:pt x="103" y="108"/>
                    <a:pt x="108" y="123"/>
                  </a:cubicBezTo>
                  <a:cubicBezTo>
                    <a:pt x="109" y="126"/>
                    <a:pt x="110" y="128"/>
                    <a:pt x="110" y="129"/>
                  </a:cubicBezTo>
                  <a:cubicBezTo>
                    <a:pt x="111" y="130"/>
                    <a:pt x="111" y="131"/>
                    <a:pt x="111" y="131"/>
                  </a:cubicBezTo>
                  <a:cubicBezTo>
                    <a:pt x="111" y="131"/>
                    <a:pt x="111" y="131"/>
                    <a:pt x="111" y="131"/>
                  </a:cubicBezTo>
                  <a:cubicBezTo>
                    <a:pt x="111" y="133"/>
                    <a:pt x="110" y="135"/>
                    <a:pt x="108" y="1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38" name="Rounded Rectangle 137"/>
          <p:cNvSpPr/>
          <p:nvPr/>
        </p:nvSpPr>
        <p:spPr>
          <a:xfrm rot="5400000">
            <a:off x="6987442" y="-152850"/>
            <a:ext cx="246888" cy="2820827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  <a:alpha val="50000"/>
            </a:schemeClr>
          </a:solidFill>
          <a:ln w="793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39" name="Rounded Rectangle 138"/>
          <p:cNvSpPr/>
          <p:nvPr/>
        </p:nvSpPr>
        <p:spPr>
          <a:xfrm>
            <a:off x="5700473" y="1134119"/>
            <a:ext cx="937392" cy="24688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 dirty="0">
                <a:solidFill>
                  <a:srgbClr val="FFFFFF"/>
                </a:solidFill>
              </a:rPr>
              <a:t>18%</a:t>
            </a:r>
          </a:p>
        </p:txBody>
      </p:sp>
      <p:sp>
        <p:nvSpPr>
          <p:cNvPr id="140" name="Rounded Rectangle 139"/>
          <p:cNvSpPr/>
          <p:nvPr/>
        </p:nvSpPr>
        <p:spPr>
          <a:xfrm rot="5400000">
            <a:off x="6987442" y="262321"/>
            <a:ext cx="246888" cy="2820827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  <a:alpha val="50000"/>
            </a:schemeClr>
          </a:solidFill>
          <a:ln w="793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41" name="Rounded Rectangle 140"/>
          <p:cNvSpPr/>
          <p:nvPr/>
        </p:nvSpPr>
        <p:spPr>
          <a:xfrm>
            <a:off x="5700472" y="1549289"/>
            <a:ext cx="1530671" cy="24688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 dirty="0">
                <a:solidFill>
                  <a:srgbClr val="FFFFFF"/>
                </a:solidFill>
              </a:rPr>
              <a:t>45%</a:t>
            </a:r>
          </a:p>
        </p:txBody>
      </p:sp>
      <p:sp>
        <p:nvSpPr>
          <p:cNvPr id="142" name="Rounded Rectangle 141"/>
          <p:cNvSpPr/>
          <p:nvPr/>
        </p:nvSpPr>
        <p:spPr>
          <a:xfrm rot="5400000">
            <a:off x="6987442" y="677491"/>
            <a:ext cx="246888" cy="2820827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  <a:alpha val="50000"/>
            </a:schemeClr>
          </a:solidFill>
          <a:ln w="793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43" name="Rounded Rectangle 142"/>
          <p:cNvSpPr/>
          <p:nvPr/>
        </p:nvSpPr>
        <p:spPr>
          <a:xfrm>
            <a:off x="5700472" y="1964459"/>
            <a:ext cx="1481232" cy="246888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 dirty="0">
                <a:solidFill>
                  <a:srgbClr val="FFFFFF"/>
                </a:solidFill>
              </a:rPr>
              <a:t>40%</a:t>
            </a:r>
          </a:p>
        </p:txBody>
      </p:sp>
      <p:sp>
        <p:nvSpPr>
          <p:cNvPr id="144" name="Rounded Rectangle 143"/>
          <p:cNvSpPr/>
          <p:nvPr/>
        </p:nvSpPr>
        <p:spPr>
          <a:xfrm rot="5400000">
            <a:off x="6987442" y="1092661"/>
            <a:ext cx="246888" cy="2820827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  <a:alpha val="50000"/>
            </a:schemeClr>
          </a:solidFill>
          <a:ln w="793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45" name="Rounded Rectangle 144"/>
          <p:cNvSpPr/>
          <p:nvPr/>
        </p:nvSpPr>
        <p:spPr>
          <a:xfrm>
            <a:off x="5700472" y="2379629"/>
            <a:ext cx="1974935" cy="24688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 dirty="0">
                <a:solidFill>
                  <a:srgbClr val="FFFFFF"/>
                </a:solidFill>
              </a:rPr>
              <a:t>68%</a:t>
            </a:r>
          </a:p>
        </p:txBody>
      </p:sp>
      <p:sp>
        <p:nvSpPr>
          <p:cNvPr id="146" name="Rounded Rectangle 145"/>
          <p:cNvSpPr/>
          <p:nvPr/>
        </p:nvSpPr>
        <p:spPr>
          <a:xfrm rot="5400000">
            <a:off x="6987442" y="1507831"/>
            <a:ext cx="246888" cy="2820827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  <a:alpha val="50000"/>
            </a:schemeClr>
          </a:solidFill>
          <a:ln w="793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47" name="Rounded Rectangle 146"/>
          <p:cNvSpPr/>
          <p:nvPr/>
        </p:nvSpPr>
        <p:spPr>
          <a:xfrm>
            <a:off x="5700472" y="2794799"/>
            <a:ext cx="1827311" cy="246888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 anchorCtr="0"/>
          <a:lstStyle/>
          <a:p>
            <a:r>
              <a:rPr lang="en-US" sz="1000" dirty="0">
                <a:solidFill>
                  <a:srgbClr val="FFFFFF"/>
                </a:solidFill>
              </a:rPr>
              <a:t>62%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912533" y="1130991"/>
            <a:ext cx="3840052" cy="2262375"/>
            <a:chOff x="6550044" y="1507987"/>
            <a:chExt cx="5120069" cy="3016500"/>
          </a:xfrm>
        </p:grpSpPr>
        <p:sp>
          <p:nvSpPr>
            <p:cNvPr id="133" name="Rectangle 132"/>
            <p:cNvSpPr/>
            <p:nvPr/>
          </p:nvSpPr>
          <p:spPr>
            <a:xfrm>
              <a:off x="6550044" y="3722227"/>
              <a:ext cx="935592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 dirty="0"/>
                <a:t>2015</a:t>
              </a:r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6550044" y="3168667"/>
              <a:ext cx="935592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 dirty="0"/>
                <a:t>2014</a:t>
              </a:r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6550044" y="2615107"/>
              <a:ext cx="935592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 dirty="0"/>
                <a:t>2013</a:t>
              </a:r>
            </a:p>
          </p:txBody>
        </p:sp>
        <p:sp>
          <p:nvSpPr>
            <p:cNvPr id="136" name="Rectangle 135"/>
            <p:cNvSpPr/>
            <p:nvPr/>
          </p:nvSpPr>
          <p:spPr>
            <a:xfrm>
              <a:off x="6550044" y="2061547"/>
              <a:ext cx="935592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 dirty="0"/>
                <a:t>2012</a:t>
              </a:r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6550044" y="1507987"/>
              <a:ext cx="935592" cy="33752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sz="1100" dirty="0"/>
                <a:t>2011</a:t>
              </a:r>
            </a:p>
          </p:txBody>
        </p:sp>
        <p:grpSp>
          <p:nvGrpSpPr>
            <p:cNvPr id="148" name="Group 147"/>
            <p:cNvGrpSpPr/>
            <p:nvPr/>
          </p:nvGrpSpPr>
          <p:grpSpPr>
            <a:xfrm>
              <a:off x="7523463" y="4186959"/>
              <a:ext cx="4146650" cy="337528"/>
              <a:chOff x="5984569" y="2907631"/>
              <a:chExt cx="3013765" cy="253145"/>
            </a:xfrm>
          </p:grpSpPr>
          <p:sp>
            <p:nvSpPr>
              <p:cNvPr id="149" name="Rectangle 148"/>
              <p:cNvSpPr/>
              <p:nvPr/>
            </p:nvSpPr>
            <p:spPr>
              <a:xfrm>
                <a:off x="8237578" y="2907631"/>
                <a:ext cx="760756" cy="25314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95000"/>
                  </a:lnSpc>
                </a:pPr>
                <a:r>
                  <a:rPr lang="en-US" sz="1100" dirty="0"/>
                  <a:t>100%</a:t>
                </a:r>
              </a:p>
            </p:txBody>
          </p:sp>
          <p:sp>
            <p:nvSpPr>
              <p:cNvPr id="150" name="Rectangle 149"/>
              <p:cNvSpPr/>
              <p:nvPr/>
            </p:nvSpPr>
            <p:spPr>
              <a:xfrm>
                <a:off x="7674327" y="2907631"/>
                <a:ext cx="760756" cy="25314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95000"/>
                  </a:lnSpc>
                </a:pPr>
                <a:r>
                  <a:rPr lang="en-US" sz="1100" dirty="0"/>
                  <a:t>75%</a:t>
                </a:r>
              </a:p>
            </p:txBody>
          </p:sp>
          <p:sp>
            <p:nvSpPr>
              <p:cNvPr id="151" name="Rectangle 150"/>
              <p:cNvSpPr/>
              <p:nvPr/>
            </p:nvSpPr>
            <p:spPr>
              <a:xfrm>
                <a:off x="7111075" y="2907631"/>
                <a:ext cx="760756" cy="25314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95000"/>
                  </a:lnSpc>
                </a:pPr>
                <a:r>
                  <a:rPr lang="en-US" sz="1100" dirty="0"/>
                  <a:t>50%</a:t>
                </a:r>
              </a:p>
            </p:txBody>
          </p:sp>
          <p:sp>
            <p:nvSpPr>
              <p:cNvPr id="152" name="Rectangle 151"/>
              <p:cNvSpPr/>
              <p:nvPr/>
            </p:nvSpPr>
            <p:spPr>
              <a:xfrm>
                <a:off x="5984569" y="2907631"/>
                <a:ext cx="760756" cy="25314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95000"/>
                  </a:lnSpc>
                </a:pPr>
                <a:r>
                  <a:rPr lang="en-US" sz="1100" dirty="0"/>
                  <a:t>0%</a:t>
                </a:r>
              </a:p>
            </p:txBody>
          </p:sp>
          <p:sp>
            <p:nvSpPr>
              <p:cNvPr id="153" name="Rectangle 152"/>
              <p:cNvSpPr/>
              <p:nvPr/>
            </p:nvSpPr>
            <p:spPr>
              <a:xfrm>
                <a:off x="6547822" y="2907631"/>
                <a:ext cx="760756" cy="25314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95000"/>
                  </a:lnSpc>
                </a:pPr>
                <a:r>
                  <a:rPr lang="en-US" sz="1100" dirty="0"/>
                  <a:t>25%</a:t>
                </a:r>
              </a:p>
            </p:txBody>
          </p:sp>
        </p:grpSp>
      </p:grpSp>
      <p:sp>
        <p:nvSpPr>
          <p:cNvPr id="154" name="Oval 153"/>
          <p:cNvSpPr/>
          <p:nvPr/>
        </p:nvSpPr>
        <p:spPr>
          <a:xfrm>
            <a:off x="2962386" y="2496073"/>
            <a:ext cx="176564" cy="1765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5" name="Oval 154"/>
          <p:cNvSpPr/>
          <p:nvPr/>
        </p:nvSpPr>
        <p:spPr>
          <a:xfrm>
            <a:off x="1446186" y="2099783"/>
            <a:ext cx="176564" cy="1765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6" name="Oval 155"/>
          <p:cNvSpPr/>
          <p:nvPr/>
        </p:nvSpPr>
        <p:spPr>
          <a:xfrm>
            <a:off x="2414575" y="2758113"/>
            <a:ext cx="176564" cy="1765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7" name="Rounded Rectangle 156"/>
          <p:cNvSpPr/>
          <p:nvPr/>
        </p:nvSpPr>
        <p:spPr>
          <a:xfrm>
            <a:off x="2180725" y="900393"/>
            <a:ext cx="1310593" cy="35017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err="1">
                <a:solidFill>
                  <a:srgbClr val="FFFFFF"/>
                </a:solidFill>
              </a:rPr>
              <a:t>Xxxxxxxxx</a:t>
            </a:r>
            <a:endParaRPr lang="en-US" sz="1050" dirty="0">
              <a:solidFill>
                <a:srgbClr val="FFFFFF"/>
              </a:solidFill>
            </a:endParaRPr>
          </a:p>
        </p:txBody>
      </p:sp>
      <p:cxnSp>
        <p:nvCxnSpPr>
          <p:cNvPr id="159" name="Straight Connector 158"/>
          <p:cNvCxnSpPr>
            <a:stCxn id="157" idx="2"/>
            <a:endCxn id="121" idx="7"/>
          </p:cNvCxnSpPr>
          <p:nvPr/>
        </p:nvCxnSpPr>
        <p:spPr>
          <a:xfrm flipH="1">
            <a:off x="1861329" y="1250569"/>
            <a:ext cx="974693" cy="3290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itle 4">
            <a:extLst>
              <a:ext uri="{FF2B5EF4-FFF2-40B4-BE49-F238E27FC236}">
                <a16:creationId xmlns:a16="http://schemas.microsoft.com/office/drawing/2014/main" id="{95EA8899-4CCC-4D12-AB96-501C42449A41}"/>
              </a:ext>
            </a:extLst>
          </p:cNvPr>
          <p:cNvSpPr txBox="1">
            <a:spLocks/>
          </p:cNvSpPr>
          <p:nvPr/>
        </p:nvSpPr>
        <p:spPr>
          <a:xfrm>
            <a:off x="381000" y="167742"/>
            <a:ext cx="8686800" cy="545464"/>
          </a:xfrm>
          <a:prstGeom prst="rect">
            <a:avLst/>
          </a:prstGeom>
        </p:spPr>
        <p:txBody>
          <a:bodyPr vert="horz" lIns="0" tIns="0" rIns="1097280" bIns="0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err="1"/>
              <a:t>Xxx</a:t>
            </a:r>
            <a:r>
              <a:rPr lang="en-US" dirty="0"/>
              <a:t> x </a:t>
            </a:r>
            <a:r>
              <a:rPr lang="en-US" dirty="0" err="1"/>
              <a:t>xxxxxxx</a:t>
            </a:r>
            <a:r>
              <a:rPr lang="en-US" dirty="0"/>
              <a:t> xxx </a:t>
            </a:r>
            <a:r>
              <a:rPr lang="en-US" dirty="0" err="1"/>
              <a:t>xxx</a:t>
            </a:r>
            <a:r>
              <a:rPr lang="en-US" dirty="0"/>
              <a:t> </a:t>
            </a:r>
            <a:r>
              <a:rPr lang="en-US" dirty="0" err="1"/>
              <a:t>xxx</a:t>
            </a:r>
            <a:r>
              <a:rPr lang="en-US" dirty="0"/>
              <a:t> x xxx xx </a:t>
            </a:r>
            <a:r>
              <a:rPr lang="en-US" dirty="0" err="1"/>
              <a:t>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215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1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1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"/>
                            </p:stCondLst>
                            <p:childTnLst>
                              <p:par>
                                <p:cTn id="4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1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25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85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100"/>
                            </p:stCondLst>
                            <p:childTnLst>
                              <p:par>
                                <p:cTn id="6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2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4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500"/>
                            </p:stCondLst>
                            <p:childTnLst>
                              <p:par>
                                <p:cTn id="6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2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4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900"/>
                            </p:stCondLst>
                            <p:childTnLst>
                              <p:par>
                                <p:cTn id="7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2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4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2300"/>
                            </p:stCondLst>
                            <p:childTnLst>
                              <p:par>
                                <p:cTn id="8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2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4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2700"/>
                            </p:stCondLst>
                            <p:childTnLst>
                              <p:par>
                                <p:cTn id="8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2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4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3100"/>
                            </p:stCondLst>
                            <p:childTnLst>
                              <p:par>
                                <p:cTn id="9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25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25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3600"/>
                            </p:stCondLst>
                            <p:childTnLst>
                              <p:par>
                                <p:cTn id="10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25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25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 animBg="1"/>
      <p:bldP spid="120" grpId="0" animBg="1"/>
      <p:bldP spid="121" grpId="0" animBg="1"/>
      <p:bldP spid="122" grpId="0" animBg="1"/>
      <p:bldP spid="123" grpId="0"/>
      <p:bldP spid="124" grpId="0"/>
      <p:bldP spid="125" grpId="0"/>
      <p:bldP spid="138" grpId="0" animBg="1"/>
      <p:bldP spid="139" grpId="0" animBg="1"/>
      <p:bldP spid="140" grpId="0" animBg="1"/>
      <p:bldP spid="141" grpId="0" animBg="1"/>
      <p:bldP spid="142" grpId="0" animBg="1"/>
      <p:bldP spid="143" grpId="0" animBg="1"/>
      <p:bldP spid="144" grpId="0" animBg="1"/>
      <p:bldP spid="145" grpId="0" animBg="1"/>
      <p:bldP spid="146" grpId="0" animBg="1"/>
      <p:bldP spid="147" grpId="0" animBg="1"/>
      <p:bldP spid="154" grpId="0" animBg="1"/>
      <p:bldP spid="155" grpId="0" animBg="1"/>
      <p:bldP spid="156" grpId="0" animBg="1"/>
      <p:bldP spid="157" grpId="0" animBg="1"/>
    </p:bld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layou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34918E-7EB0-EB45-92D8-C32124FE5C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EAF9DB-6F40-460F-BF1F-2A84CCEEEA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89329B-CA23-AE4D-AC50-E5E895A9E3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086600" y="4933950"/>
            <a:ext cx="2057400" cy="182563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75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554072-2822-4C1D-9551-C73A1134819B}"/>
              </a:ext>
            </a:extLst>
          </p:cNvPr>
          <p:cNvSpPr/>
          <p:nvPr/>
        </p:nvSpPr>
        <p:spPr>
          <a:xfrm>
            <a:off x="203661" y="191193"/>
            <a:ext cx="8740833" cy="4671752"/>
          </a:xfrm>
          <a:prstGeom prst="rect">
            <a:avLst/>
          </a:prstGeom>
          <a:solidFill>
            <a:srgbClr val="336FCA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 indent="-631825" algn="ctr"/>
            <a:r>
              <a:rPr lang="en-US" sz="2800" dirty="0">
                <a:solidFill>
                  <a:schemeClr val="bg1"/>
                </a:solidFill>
              </a:rPr>
              <a:t>Icons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1982532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 128">
            <a:extLst>
              <a:ext uri="{FF2B5EF4-FFF2-40B4-BE49-F238E27FC236}">
                <a16:creationId xmlns:a16="http://schemas.microsoft.com/office/drawing/2014/main" id="{F44F0EAC-6F65-064A-B052-8BBBEE4A806B}"/>
              </a:ext>
            </a:extLst>
          </p:cNvPr>
          <p:cNvSpPr/>
          <p:nvPr/>
        </p:nvSpPr>
        <p:spPr>
          <a:xfrm>
            <a:off x="6779796" y="971550"/>
            <a:ext cx="2364203" cy="41465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56426D-E772-4B18-8476-7FC48FA96F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84733" y="4474888"/>
            <a:ext cx="457200" cy="4572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B23873A5-A430-45CB-BF35-F20D339D1A0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37143" y="4474888"/>
            <a:ext cx="457200" cy="4572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AD45661B-0799-4D6C-81C5-7F631319F1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9553" y="4474888"/>
            <a:ext cx="457200" cy="4572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ACE79709-DF1E-410B-AB5F-146CF7622D1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1963" y="4474888"/>
            <a:ext cx="457200" cy="4572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6F340BFE-2CDA-4FAD-B6D6-0855A29E67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75093" y="4474888"/>
            <a:ext cx="457200" cy="4572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39AC7B3D-F22B-4A62-9454-2A0EACA2B57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27503" y="4474888"/>
            <a:ext cx="457200" cy="4572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CC041A74-39E1-45FB-A5A6-1FF869FCFF3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79913" y="4474888"/>
            <a:ext cx="457200" cy="45720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072302DE-02D3-49C3-981D-11C266B0DBD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432323" y="4474888"/>
            <a:ext cx="457200" cy="457200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5C46ADFE-E72E-4C18-A361-780C076D540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265453" y="4474888"/>
            <a:ext cx="457200" cy="457200"/>
          </a:xfrm>
          <a:prstGeom prst="rect">
            <a:avLst/>
          </a:prstGeom>
        </p:spPr>
      </p:pic>
      <p:pic>
        <p:nvPicPr>
          <p:cNvPr id="75" name="Graphic 74">
            <a:extLst>
              <a:ext uri="{FF2B5EF4-FFF2-40B4-BE49-F238E27FC236}">
                <a16:creationId xmlns:a16="http://schemas.microsoft.com/office/drawing/2014/main" id="{F1A13230-32B3-4DA3-9F43-584A3EA7C05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717863" y="4474888"/>
            <a:ext cx="457200" cy="457200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6E379FBE-73FB-4CEA-B573-41ED858EA3F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170273" y="4474888"/>
            <a:ext cx="457200" cy="457200"/>
          </a:xfrm>
          <a:prstGeom prst="rect">
            <a:avLst/>
          </a:pr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06E44F99-FB30-4FA5-BE64-81AF1638A09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622683" y="4474888"/>
            <a:ext cx="457200" cy="457200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235E7466-CFEE-4872-BC47-7774075E218C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455819" y="4474888"/>
            <a:ext cx="457200" cy="457200"/>
          </a:xfrm>
          <a:prstGeom prst="rect">
            <a:avLst/>
          </a:prstGeom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B5E100C3-6345-4D6F-90AC-0D4D5CA46A1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908223" y="4474888"/>
            <a:ext cx="457200" cy="457200"/>
          </a:xfrm>
          <a:prstGeom prst="rect">
            <a:avLst/>
          </a:prstGeom>
        </p:spPr>
      </p:pic>
      <p:pic>
        <p:nvPicPr>
          <p:cNvPr id="104" name="Graphic 103">
            <a:extLst>
              <a:ext uri="{FF2B5EF4-FFF2-40B4-BE49-F238E27FC236}">
                <a16:creationId xmlns:a16="http://schemas.microsoft.com/office/drawing/2014/main" id="{D2AED7CA-89F7-43EE-8B1B-92F197E68441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7360633" y="4474888"/>
            <a:ext cx="457200" cy="457200"/>
          </a:xfrm>
          <a:prstGeom prst="rect">
            <a:avLst/>
          </a:prstGeom>
        </p:spPr>
      </p:pic>
      <p:pic>
        <p:nvPicPr>
          <p:cNvPr id="105" name="Graphic 104">
            <a:extLst>
              <a:ext uri="{FF2B5EF4-FFF2-40B4-BE49-F238E27FC236}">
                <a16:creationId xmlns:a16="http://schemas.microsoft.com/office/drawing/2014/main" id="{3EBA7B96-B3DD-42EF-BDCD-444C8133EA27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6813043" y="4474888"/>
            <a:ext cx="457200" cy="4572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0EFB4A34-9D09-44E2-A908-C76586F40440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884733" y="3917770"/>
            <a:ext cx="457200" cy="4572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8A4E91E6-BFF2-460B-9678-91D6156A0C41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1337143" y="3917770"/>
            <a:ext cx="457200" cy="4572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C4EF454C-EEE5-446A-B33B-F38EB9FED8BE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789553" y="3917770"/>
            <a:ext cx="457200" cy="4572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6F7CD826-6AE6-402E-826A-9EEA20FC9CF2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241963" y="3917770"/>
            <a:ext cx="457200" cy="45720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D95A5E39-D71C-4594-B769-548FF066D871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075093" y="3917770"/>
            <a:ext cx="457200" cy="457200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1EB0BA67-5CF9-403D-AF92-70E1AA57034D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527503" y="3917770"/>
            <a:ext cx="457200" cy="4572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3C7F9D26-A32D-4B5E-8425-6676A9CF3AC0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2979913" y="3917770"/>
            <a:ext cx="457200" cy="4572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2B266B6F-F332-4329-868D-14968256C864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2432323" y="3917770"/>
            <a:ext cx="457200" cy="457200"/>
          </a:xfrm>
          <a:prstGeom prst="rect">
            <a:avLst/>
          </a:prstGeom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49B39177-3F4B-4686-B602-17E1F703C96A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265453" y="3917770"/>
            <a:ext cx="457200" cy="457200"/>
          </a:xfrm>
          <a:prstGeom prst="rect">
            <a:avLst/>
          </a:prstGeom>
        </p:spPr>
      </p:pic>
      <p:pic>
        <p:nvPicPr>
          <p:cNvPr id="79" name="Graphic 78">
            <a:extLst>
              <a:ext uri="{FF2B5EF4-FFF2-40B4-BE49-F238E27FC236}">
                <a16:creationId xmlns:a16="http://schemas.microsoft.com/office/drawing/2014/main" id="{E9BA6DBA-0D6D-4F8D-9341-9ACAF34D57A8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5717863" y="3917770"/>
            <a:ext cx="457200" cy="457200"/>
          </a:xfrm>
          <a:prstGeom prst="rect">
            <a:avLst/>
          </a:prstGeom>
        </p:spPr>
      </p:pic>
      <p:pic>
        <p:nvPicPr>
          <p:cNvPr id="80" name="Graphic 79">
            <a:extLst>
              <a:ext uri="{FF2B5EF4-FFF2-40B4-BE49-F238E27FC236}">
                <a16:creationId xmlns:a16="http://schemas.microsoft.com/office/drawing/2014/main" id="{0340B43C-F8B3-40EF-A5C3-BFCBDF6DFC0D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5170273" y="3917770"/>
            <a:ext cx="457200" cy="457200"/>
          </a:xfrm>
          <a:prstGeom prst="rect">
            <a:avLst/>
          </a:prstGeom>
        </p:spPr>
      </p:pic>
      <p:pic>
        <p:nvPicPr>
          <p:cNvPr id="81" name="Graphic 80">
            <a:extLst>
              <a:ext uri="{FF2B5EF4-FFF2-40B4-BE49-F238E27FC236}">
                <a16:creationId xmlns:a16="http://schemas.microsoft.com/office/drawing/2014/main" id="{79C2262E-F36A-47C0-AFA1-3EE9D21C459C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4622683" y="3917770"/>
            <a:ext cx="457200" cy="457200"/>
          </a:xfrm>
          <a:prstGeom prst="rect">
            <a:avLst/>
          </a:prstGeom>
        </p:spPr>
      </p:pic>
      <p:pic>
        <p:nvPicPr>
          <p:cNvPr id="106" name="Graphic 105">
            <a:extLst>
              <a:ext uri="{FF2B5EF4-FFF2-40B4-BE49-F238E27FC236}">
                <a16:creationId xmlns:a16="http://schemas.microsoft.com/office/drawing/2014/main" id="{E51DBB1E-FCDF-4164-A054-A661688CF225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8455819" y="3917770"/>
            <a:ext cx="457200" cy="457200"/>
          </a:xfrm>
          <a:prstGeom prst="rect">
            <a:avLst/>
          </a:prstGeom>
        </p:spPr>
      </p:pic>
      <p:pic>
        <p:nvPicPr>
          <p:cNvPr id="107" name="Graphic 106">
            <a:extLst>
              <a:ext uri="{FF2B5EF4-FFF2-40B4-BE49-F238E27FC236}">
                <a16:creationId xmlns:a16="http://schemas.microsoft.com/office/drawing/2014/main" id="{06B9529E-6B6F-4C0E-8802-CE9C5638789D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7908223" y="3917770"/>
            <a:ext cx="457200" cy="457200"/>
          </a:xfrm>
          <a:prstGeom prst="rect">
            <a:avLst/>
          </a:prstGeom>
        </p:spPr>
      </p:pic>
      <p:pic>
        <p:nvPicPr>
          <p:cNvPr id="108" name="Graphic 107">
            <a:extLst>
              <a:ext uri="{FF2B5EF4-FFF2-40B4-BE49-F238E27FC236}">
                <a16:creationId xmlns:a16="http://schemas.microsoft.com/office/drawing/2014/main" id="{D737BC6E-5733-4287-BED9-82B5ADAA10D0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360633" y="3917770"/>
            <a:ext cx="457200" cy="457200"/>
          </a:xfrm>
          <a:prstGeom prst="rect">
            <a:avLst/>
          </a:prstGeom>
        </p:spPr>
      </p:pic>
      <p:pic>
        <p:nvPicPr>
          <p:cNvPr id="109" name="Graphic 108">
            <a:extLst>
              <a:ext uri="{FF2B5EF4-FFF2-40B4-BE49-F238E27FC236}">
                <a16:creationId xmlns:a16="http://schemas.microsoft.com/office/drawing/2014/main" id="{48D5DFF4-0CFE-4555-BE25-DC9427B8753B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6813043" y="3917770"/>
            <a:ext cx="457200" cy="45720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9FA77221-0F6A-4B2C-A4EB-421283F29395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884733" y="3360650"/>
            <a:ext cx="457200" cy="4572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11D272A8-6351-48D8-808E-8F75ECC14385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337143" y="3360650"/>
            <a:ext cx="457200" cy="45720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935DFD84-9B1C-46CE-AFD6-E8452FD91DC4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89553" y="3360650"/>
            <a:ext cx="457200" cy="4572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4A2DE88B-3E3B-4942-8C54-4F672D36E423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241963" y="3360650"/>
            <a:ext cx="457200" cy="4572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EEE0952E-DA2A-4089-89B6-C6656F6739DD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4075093" y="3360650"/>
            <a:ext cx="457200" cy="457200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B218332-F9F2-498F-846E-47B71202BC87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3527503" y="3360650"/>
            <a:ext cx="457200" cy="457200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067D2359-D8F7-4D62-A267-C404509F7427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9"/>
              </a:ext>
            </a:extLst>
          </a:blip>
          <a:stretch>
            <a:fillRect/>
          </a:stretch>
        </p:blipFill>
        <p:spPr>
          <a:xfrm>
            <a:off x="2979913" y="3360650"/>
            <a:ext cx="457200" cy="457200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42AEA500-65B7-4070-BF42-D79015EE700C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1"/>
              </a:ext>
            </a:extLst>
          </a:blip>
          <a:stretch>
            <a:fillRect/>
          </a:stretch>
        </p:blipFill>
        <p:spPr>
          <a:xfrm>
            <a:off x="2432323" y="3360650"/>
            <a:ext cx="457200" cy="457200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784D1052-2B57-48CE-9F0D-8840DD30D358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3"/>
              </a:ext>
            </a:extLst>
          </a:blip>
          <a:stretch>
            <a:fillRect/>
          </a:stretch>
        </p:blipFill>
        <p:spPr>
          <a:xfrm>
            <a:off x="6265453" y="3360650"/>
            <a:ext cx="457200" cy="457200"/>
          </a:xfrm>
          <a:prstGeom prst="rect">
            <a:avLst/>
          </a:prstGeom>
        </p:spPr>
      </p:pic>
      <p:pic>
        <p:nvPicPr>
          <p:cNvPr id="83" name="Graphic 82">
            <a:extLst>
              <a:ext uri="{FF2B5EF4-FFF2-40B4-BE49-F238E27FC236}">
                <a16:creationId xmlns:a16="http://schemas.microsoft.com/office/drawing/2014/main" id="{557A221E-958C-49A4-A4E4-C575632E6394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5"/>
              </a:ext>
            </a:extLst>
          </a:blip>
          <a:stretch>
            <a:fillRect/>
          </a:stretch>
        </p:blipFill>
        <p:spPr>
          <a:xfrm>
            <a:off x="5717863" y="3360650"/>
            <a:ext cx="457200" cy="457200"/>
          </a:xfrm>
          <a:prstGeom prst="rect">
            <a:avLst/>
          </a:prstGeom>
        </p:spPr>
      </p:pic>
      <p:pic>
        <p:nvPicPr>
          <p:cNvPr id="84" name="Graphic 83">
            <a:extLst>
              <a:ext uri="{FF2B5EF4-FFF2-40B4-BE49-F238E27FC236}">
                <a16:creationId xmlns:a16="http://schemas.microsoft.com/office/drawing/2014/main" id="{E0E6FE65-5B44-4473-97A5-50CAEAE308C7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7"/>
              </a:ext>
            </a:extLst>
          </a:blip>
          <a:stretch>
            <a:fillRect/>
          </a:stretch>
        </p:blipFill>
        <p:spPr>
          <a:xfrm>
            <a:off x="5170273" y="3360650"/>
            <a:ext cx="457200" cy="4572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317A3833-50C6-423A-9A90-62C0E93512F9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9"/>
              </a:ext>
            </a:extLst>
          </a:blip>
          <a:stretch>
            <a:fillRect/>
          </a:stretch>
        </p:blipFill>
        <p:spPr>
          <a:xfrm>
            <a:off x="4622683" y="3360650"/>
            <a:ext cx="457200" cy="457200"/>
          </a:xfrm>
          <a:prstGeom prst="rect">
            <a:avLst/>
          </a:prstGeom>
        </p:spPr>
      </p:pic>
      <p:pic>
        <p:nvPicPr>
          <p:cNvPr id="110" name="Graphic 109">
            <a:extLst>
              <a:ext uri="{FF2B5EF4-FFF2-40B4-BE49-F238E27FC236}">
                <a16:creationId xmlns:a16="http://schemas.microsoft.com/office/drawing/2014/main" id="{284FE93E-BE97-4DEE-BC09-914EF6A59696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1"/>
              </a:ext>
            </a:extLst>
          </a:blip>
          <a:stretch>
            <a:fillRect/>
          </a:stretch>
        </p:blipFill>
        <p:spPr>
          <a:xfrm>
            <a:off x="8455819" y="3360650"/>
            <a:ext cx="457200" cy="457200"/>
          </a:xfrm>
          <a:prstGeom prst="rect">
            <a:avLst/>
          </a:prstGeom>
        </p:spPr>
      </p:pic>
      <p:pic>
        <p:nvPicPr>
          <p:cNvPr id="111" name="Graphic 110">
            <a:extLst>
              <a:ext uri="{FF2B5EF4-FFF2-40B4-BE49-F238E27FC236}">
                <a16:creationId xmlns:a16="http://schemas.microsoft.com/office/drawing/2014/main" id="{670406A6-04A3-47DB-9B9C-F96BBE593107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3"/>
              </a:ext>
            </a:extLst>
          </a:blip>
          <a:stretch>
            <a:fillRect/>
          </a:stretch>
        </p:blipFill>
        <p:spPr>
          <a:xfrm>
            <a:off x="7908223" y="3360650"/>
            <a:ext cx="457200" cy="457200"/>
          </a:xfrm>
          <a:prstGeom prst="rect">
            <a:avLst/>
          </a:prstGeom>
        </p:spPr>
      </p:pic>
      <p:pic>
        <p:nvPicPr>
          <p:cNvPr id="112" name="Graphic 111">
            <a:extLst>
              <a:ext uri="{FF2B5EF4-FFF2-40B4-BE49-F238E27FC236}">
                <a16:creationId xmlns:a16="http://schemas.microsoft.com/office/drawing/2014/main" id="{BC996220-FBD8-428B-95BF-CC0470162662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5"/>
              </a:ext>
            </a:extLst>
          </a:blip>
          <a:stretch>
            <a:fillRect/>
          </a:stretch>
        </p:blipFill>
        <p:spPr>
          <a:xfrm>
            <a:off x="7360633" y="3360650"/>
            <a:ext cx="457200" cy="457200"/>
          </a:xfrm>
          <a:prstGeom prst="rect">
            <a:avLst/>
          </a:prstGeom>
        </p:spPr>
      </p:pic>
      <p:pic>
        <p:nvPicPr>
          <p:cNvPr id="113" name="Graphic 112">
            <a:extLst>
              <a:ext uri="{FF2B5EF4-FFF2-40B4-BE49-F238E27FC236}">
                <a16:creationId xmlns:a16="http://schemas.microsoft.com/office/drawing/2014/main" id="{9F8E19D5-5EC3-4463-8395-F8E67FF4C86B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7"/>
              </a:ext>
            </a:extLst>
          </a:blip>
          <a:stretch>
            <a:fillRect/>
          </a:stretch>
        </p:blipFill>
        <p:spPr>
          <a:xfrm>
            <a:off x="6813043" y="3360650"/>
            <a:ext cx="457200" cy="4572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C3781369-1A8E-4E1C-95CE-BCDFDD295294}"/>
              </a:ext>
            </a:extLst>
          </p:cNvPr>
          <p:cNvPicPr>
            <a:picLocks noChangeAspect="1"/>
          </p:cNvPicPr>
          <p:nvPr/>
        </p:nvPicPr>
        <p:blipFill>
          <a:blip r:embed="rId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9"/>
              </a:ext>
            </a:extLst>
          </a:blip>
          <a:stretch>
            <a:fillRect/>
          </a:stretch>
        </p:blipFill>
        <p:spPr>
          <a:xfrm>
            <a:off x="1884733" y="2803530"/>
            <a:ext cx="457200" cy="457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96511DF4-76FA-40D9-A742-81A1D8203839}"/>
              </a:ext>
            </a:extLst>
          </p:cNvPr>
          <p:cNvPicPr>
            <a:picLocks noChangeAspect="1"/>
          </p:cNvPicPr>
          <p:nvPr/>
        </p:nvPicPr>
        <p:blipFill>
          <a:blip r:embed="rId1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1"/>
              </a:ext>
            </a:extLst>
          </a:blip>
          <a:stretch>
            <a:fillRect/>
          </a:stretch>
        </p:blipFill>
        <p:spPr>
          <a:xfrm>
            <a:off x="1337143" y="2803530"/>
            <a:ext cx="457200" cy="4572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4E792282-FE8D-4DAB-BAAE-F17EBAAB0759}"/>
              </a:ext>
            </a:extLst>
          </p:cNvPr>
          <p:cNvPicPr>
            <a:picLocks noChangeAspect="1"/>
          </p:cNvPicPr>
          <p:nvPr/>
        </p:nvPicPr>
        <p:blipFill>
          <a:blip r:embed="rId1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3"/>
              </a:ext>
            </a:extLst>
          </a:blip>
          <a:stretch>
            <a:fillRect/>
          </a:stretch>
        </p:blipFill>
        <p:spPr>
          <a:xfrm>
            <a:off x="241963" y="2803530"/>
            <a:ext cx="457200" cy="4572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FA3413A1-BDAC-4770-A45E-708742C542BA}"/>
              </a:ext>
            </a:extLst>
          </p:cNvPr>
          <p:cNvPicPr>
            <a:picLocks noChangeAspect="1"/>
          </p:cNvPicPr>
          <p:nvPr/>
        </p:nvPicPr>
        <p:blipFill>
          <a:blip r:embed="rId1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5"/>
              </a:ext>
            </a:extLst>
          </a:blip>
          <a:stretch>
            <a:fillRect/>
          </a:stretch>
        </p:blipFill>
        <p:spPr>
          <a:xfrm>
            <a:off x="789553" y="2803530"/>
            <a:ext cx="457200" cy="457200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ED242BF0-A14F-4BE3-821A-3C4FF15FE1D9}"/>
              </a:ext>
            </a:extLst>
          </p:cNvPr>
          <p:cNvPicPr>
            <a:picLocks noChangeAspect="1"/>
          </p:cNvPicPr>
          <p:nvPr/>
        </p:nvPicPr>
        <p:blipFill>
          <a:blip r:embed="rId1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7"/>
              </a:ext>
            </a:extLst>
          </a:blip>
          <a:stretch>
            <a:fillRect/>
          </a:stretch>
        </p:blipFill>
        <p:spPr>
          <a:xfrm>
            <a:off x="4075093" y="2803530"/>
            <a:ext cx="457200" cy="45720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73402F80-C15E-4773-AD8F-3F4B4B93129F}"/>
              </a:ext>
            </a:extLst>
          </p:cNvPr>
          <p:cNvPicPr>
            <a:picLocks noChangeAspect="1"/>
          </p:cNvPicPr>
          <p:nvPr/>
        </p:nvPicPr>
        <p:blipFill>
          <a:blip r:embed="rId1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9"/>
              </a:ext>
            </a:extLst>
          </a:blip>
          <a:stretch>
            <a:fillRect/>
          </a:stretch>
        </p:blipFill>
        <p:spPr>
          <a:xfrm>
            <a:off x="3527503" y="2803530"/>
            <a:ext cx="457200" cy="45720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24481D75-D243-44D8-ACD4-E58A82F5185E}"/>
              </a:ext>
            </a:extLst>
          </p:cNvPr>
          <p:cNvPicPr>
            <a:picLocks noChangeAspect="1"/>
          </p:cNvPicPr>
          <p:nvPr/>
        </p:nvPicPr>
        <p:blipFill>
          <a:blip r:embed="rId1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1"/>
              </a:ext>
            </a:extLst>
          </a:blip>
          <a:stretch>
            <a:fillRect/>
          </a:stretch>
        </p:blipFill>
        <p:spPr>
          <a:xfrm>
            <a:off x="2432323" y="2803530"/>
            <a:ext cx="457200" cy="45720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1656E6A1-21C3-4053-9615-6F6BC7AD47E7}"/>
              </a:ext>
            </a:extLst>
          </p:cNvPr>
          <p:cNvPicPr>
            <a:picLocks noChangeAspect="1"/>
          </p:cNvPicPr>
          <p:nvPr/>
        </p:nvPicPr>
        <p:blipFill>
          <a:blip r:embed="rId1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3"/>
              </a:ext>
            </a:extLst>
          </a:blip>
          <a:stretch>
            <a:fillRect/>
          </a:stretch>
        </p:blipFill>
        <p:spPr>
          <a:xfrm>
            <a:off x="2979913" y="2803530"/>
            <a:ext cx="457200" cy="457200"/>
          </a:xfrm>
          <a:prstGeom prst="rect">
            <a:avLst/>
          </a:prstGeom>
        </p:spPr>
      </p:pic>
      <p:pic>
        <p:nvPicPr>
          <p:cNvPr id="86" name="Graphic 85">
            <a:extLst>
              <a:ext uri="{FF2B5EF4-FFF2-40B4-BE49-F238E27FC236}">
                <a16:creationId xmlns:a16="http://schemas.microsoft.com/office/drawing/2014/main" id="{3A9F756E-5F3B-44A1-A2A2-01FB33AFEB0F}"/>
              </a:ext>
            </a:extLst>
          </p:cNvPr>
          <p:cNvPicPr>
            <a:picLocks noChangeAspect="1"/>
          </p:cNvPicPr>
          <p:nvPr/>
        </p:nvPicPr>
        <p:blipFill>
          <a:blip r:embed="rId1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5"/>
              </a:ext>
            </a:extLst>
          </a:blip>
          <a:stretch>
            <a:fillRect/>
          </a:stretch>
        </p:blipFill>
        <p:spPr>
          <a:xfrm>
            <a:off x="6265453" y="2803530"/>
            <a:ext cx="457200" cy="457200"/>
          </a:xfrm>
          <a:prstGeom prst="rect">
            <a:avLst/>
          </a:prstGeom>
        </p:spPr>
      </p:pic>
      <p:pic>
        <p:nvPicPr>
          <p:cNvPr id="87" name="Graphic 86">
            <a:extLst>
              <a:ext uri="{FF2B5EF4-FFF2-40B4-BE49-F238E27FC236}">
                <a16:creationId xmlns:a16="http://schemas.microsoft.com/office/drawing/2014/main" id="{E9E53FCA-5F58-41AF-B2EE-F60482605238}"/>
              </a:ext>
            </a:extLst>
          </p:cNvPr>
          <p:cNvPicPr>
            <a:picLocks noChangeAspect="1"/>
          </p:cNvPicPr>
          <p:nvPr/>
        </p:nvPicPr>
        <p:blipFill>
          <a:blip r:embed="rId1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7"/>
              </a:ext>
            </a:extLst>
          </a:blip>
          <a:stretch>
            <a:fillRect/>
          </a:stretch>
        </p:blipFill>
        <p:spPr>
          <a:xfrm>
            <a:off x="5717863" y="2803530"/>
            <a:ext cx="457200" cy="457200"/>
          </a:xfrm>
          <a:prstGeom prst="rect">
            <a:avLst/>
          </a:prstGeom>
        </p:spPr>
      </p:pic>
      <p:pic>
        <p:nvPicPr>
          <p:cNvPr id="88" name="Graphic 87">
            <a:extLst>
              <a:ext uri="{FF2B5EF4-FFF2-40B4-BE49-F238E27FC236}">
                <a16:creationId xmlns:a16="http://schemas.microsoft.com/office/drawing/2014/main" id="{3343AEF6-9E4E-4E46-9537-B372FB2281D3}"/>
              </a:ext>
            </a:extLst>
          </p:cNvPr>
          <p:cNvPicPr>
            <a:picLocks noChangeAspect="1"/>
          </p:cNvPicPr>
          <p:nvPr/>
        </p:nvPicPr>
        <p:blipFill>
          <a:blip r:embed="rId1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9"/>
              </a:ext>
            </a:extLst>
          </a:blip>
          <a:stretch>
            <a:fillRect/>
          </a:stretch>
        </p:blipFill>
        <p:spPr>
          <a:xfrm>
            <a:off x="4622683" y="2803530"/>
            <a:ext cx="457200" cy="457200"/>
          </a:xfrm>
          <a:prstGeom prst="rect">
            <a:avLst/>
          </a:prstGeom>
        </p:spPr>
      </p:pic>
      <p:pic>
        <p:nvPicPr>
          <p:cNvPr id="89" name="Graphic 88">
            <a:extLst>
              <a:ext uri="{FF2B5EF4-FFF2-40B4-BE49-F238E27FC236}">
                <a16:creationId xmlns:a16="http://schemas.microsoft.com/office/drawing/2014/main" id="{6B3146BB-12DE-47C1-A22E-4117FF8E4571}"/>
              </a:ext>
            </a:extLst>
          </p:cNvPr>
          <p:cNvPicPr>
            <a:picLocks noChangeAspect="1"/>
          </p:cNvPicPr>
          <p:nvPr/>
        </p:nvPicPr>
        <p:blipFill>
          <a:blip r:embed="rId1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1"/>
              </a:ext>
            </a:extLst>
          </a:blip>
          <a:stretch>
            <a:fillRect/>
          </a:stretch>
        </p:blipFill>
        <p:spPr>
          <a:xfrm>
            <a:off x="5170273" y="2803530"/>
            <a:ext cx="457200" cy="457200"/>
          </a:xfrm>
          <a:prstGeom prst="rect">
            <a:avLst/>
          </a:prstGeom>
        </p:spPr>
      </p:pic>
      <p:pic>
        <p:nvPicPr>
          <p:cNvPr id="114" name="Graphic 113">
            <a:extLst>
              <a:ext uri="{FF2B5EF4-FFF2-40B4-BE49-F238E27FC236}">
                <a16:creationId xmlns:a16="http://schemas.microsoft.com/office/drawing/2014/main" id="{1424F8CB-2C7C-4FDD-9DB0-88ACFB41CA3F}"/>
              </a:ext>
            </a:extLst>
          </p:cNvPr>
          <p:cNvPicPr>
            <a:picLocks noChangeAspect="1"/>
          </p:cNvPicPr>
          <p:nvPr/>
        </p:nvPicPr>
        <p:blipFill>
          <a:blip r:embed="rId1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3"/>
              </a:ext>
            </a:extLst>
          </a:blip>
          <a:stretch>
            <a:fillRect/>
          </a:stretch>
        </p:blipFill>
        <p:spPr>
          <a:xfrm>
            <a:off x="8455819" y="2803530"/>
            <a:ext cx="457200" cy="457200"/>
          </a:xfrm>
          <a:prstGeom prst="rect">
            <a:avLst/>
          </a:prstGeom>
        </p:spPr>
      </p:pic>
      <p:pic>
        <p:nvPicPr>
          <p:cNvPr id="115" name="Graphic 114">
            <a:extLst>
              <a:ext uri="{FF2B5EF4-FFF2-40B4-BE49-F238E27FC236}">
                <a16:creationId xmlns:a16="http://schemas.microsoft.com/office/drawing/2014/main" id="{76ABF74D-AC1E-4767-8903-F08801093BA4}"/>
              </a:ext>
            </a:extLst>
          </p:cNvPr>
          <p:cNvPicPr>
            <a:picLocks noChangeAspect="1"/>
          </p:cNvPicPr>
          <p:nvPr/>
        </p:nvPicPr>
        <p:blipFill>
          <a:blip r:embed="rId1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5"/>
              </a:ext>
            </a:extLst>
          </a:blip>
          <a:stretch>
            <a:fillRect/>
          </a:stretch>
        </p:blipFill>
        <p:spPr>
          <a:xfrm>
            <a:off x="7908223" y="2803530"/>
            <a:ext cx="457200" cy="457200"/>
          </a:xfrm>
          <a:prstGeom prst="rect">
            <a:avLst/>
          </a:prstGeom>
        </p:spPr>
      </p:pic>
      <p:pic>
        <p:nvPicPr>
          <p:cNvPr id="116" name="Graphic 115">
            <a:extLst>
              <a:ext uri="{FF2B5EF4-FFF2-40B4-BE49-F238E27FC236}">
                <a16:creationId xmlns:a16="http://schemas.microsoft.com/office/drawing/2014/main" id="{98BCF7EA-4606-4D9E-9555-CAF3531D0494}"/>
              </a:ext>
            </a:extLst>
          </p:cNvPr>
          <p:cNvPicPr>
            <a:picLocks noChangeAspect="1"/>
          </p:cNvPicPr>
          <p:nvPr/>
        </p:nvPicPr>
        <p:blipFill>
          <a:blip r:embed="rId1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7"/>
              </a:ext>
            </a:extLst>
          </a:blip>
          <a:stretch>
            <a:fillRect/>
          </a:stretch>
        </p:blipFill>
        <p:spPr>
          <a:xfrm>
            <a:off x="6813043" y="2803530"/>
            <a:ext cx="457200" cy="457200"/>
          </a:xfrm>
          <a:prstGeom prst="rect">
            <a:avLst/>
          </a:prstGeom>
        </p:spPr>
      </p:pic>
      <p:pic>
        <p:nvPicPr>
          <p:cNvPr id="117" name="Graphic 116">
            <a:extLst>
              <a:ext uri="{FF2B5EF4-FFF2-40B4-BE49-F238E27FC236}">
                <a16:creationId xmlns:a16="http://schemas.microsoft.com/office/drawing/2014/main" id="{338DA7E5-7C1F-4150-9719-91048EAC9B61}"/>
              </a:ext>
            </a:extLst>
          </p:cNvPr>
          <p:cNvPicPr>
            <a:picLocks noChangeAspect="1"/>
          </p:cNvPicPr>
          <p:nvPr/>
        </p:nvPicPr>
        <p:blipFill>
          <a:blip r:embed="rId1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9"/>
              </a:ext>
            </a:extLst>
          </a:blip>
          <a:stretch>
            <a:fillRect/>
          </a:stretch>
        </p:blipFill>
        <p:spPr>
          <a:xfrm>
            <a:off x="7360633" y="2803530"/>
            <a:ext cx="457200" cy="4572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B824F1DF-FB6C-4E1F-A865-E4C971E5E8B1}"/>
              </a:ext>
            </a:extLst>
          </p:cNvPr>
          <p:cNvPicPr>
            <a:picLocks noChangeAspect="1"/>
          </p:cNvPicPr>
          <p:nvPr/>
        </p:nvPicPr>
        <p:blipFill>
          <a:blip r:embed="rId1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1"/>
              </a:ext>
            </a:extLst>
          </a:blip>
          <a:stretch>
            <a:fillRect/>
          </a:stretch>
        </p:blipFill>
        <p:spPr>
          <a:xfrm>
            <a:off x="1884733" y="2246410"/>
            <a:ext cx="457200" cy="45720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0E73ABCA-E952-49A0-B161-EC85D6449895}"/>
              </a:ext>
            </a:extLst>
          </p:cNvPr>
          <p:cNvPicPr>
            <a:picLocks noChangeAspect="1"/>
          </p:cNvPicPr>
          <p:nvPr/>
        </p:nvPicPr>
        <p:blipFill>
          <a:blip r:embed="rId1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3"/>
              </a:ext>
            </a:extLst>
          </a:blip>
          <a:stretch>
            <a:fillRect/>
          </a:stretch>
        </p:blipFill>
        <p:spPr>
          <a:xfrm>
            <a:off x="1337143" y="2246410"/>
            <a:ext cx="457200" cy="4572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53D437BA-B8AA-4B86-AF22-D67982B424AA}"/>
              </a:ext>
            </a:extLst>
          </p:cNvPr>
          <p:cNvPicPr>
            <a:picLocks noChangeAspect="1"/>
          </p:cNvPicPr>
          <p:nvPr/>
        </p:nvPicPr>
        <p:blipFill>
          <a:blip r:embed="rId1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5"/>
              </a:ext>
            </a:extLst>
          </a:blip>
          <a:stretch>
            <a:fillRect/>
          </a:stretch>
        </p:blipFill>
        <p:spPr>
          <a:xfrm>
            <a:off x="789553" y="2246410"/>
            <a:ext cx="457200" cy="457200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D8602199-26D6-44A0-8E5A-6D5E664E09A4}"/>
              </a:ext>
            </a:extLst>
          </p:cNvPr>
          <p:cNvPicPr>
            <a:picLocks noChangeAspect="1"/>
          </p:cNvPicPr>
          <p:nvPr/>
        </p:nvPicPr>
        <p:blipFill>
          <a:blip r:embed="rId1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7"/>
              </a:ext>
            </a:extLst>
          </a:blip>
          <a:stretch>
            <a:fillRect/>
          </a:stretch>
        </p:blipFill>
        <p:spPr>
          <a:xfrm>
            <a:off x="241963" y="2246410"/>
            <a:ext cx="457200" cy="457200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D3CA0B1B-0A6E-4A3E-BCF1-68005EFA0365}"/>
              </a:ext>
            </a:extLst>
          </p:cNvPr>
          <p:cNvPicPr>
            <a:picLocks noChangeAspect="1"/>
          </p:cNvPicPr>
          <p:nvPr/>
        </p:nvPicPr>
        <p:blipFill>
          <a:blip r:embed="rId1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9"/>
              </a:ext>
            </a:extLst>
          </a:blip>
          <a:stretch>
            <a:fillRect/>
          </a:stretch>
        </p:blipFill>
        <p:spPr>
          <a:xfrm>
            <a:off x="4075093" y="2246410"/>
            <a:ext cx="457200" cy="457200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4269087B-23A4-4E73-9E0E-093656756C3C}"/>
              </a:ext>
            </a:extLst>
          </p:cNvPr>
          <p:cNvPicPr>
            <a:picLocks noChangeAspect="1"/>
          </p:cNvPicPr>
          <p:nvPr/>
        </p:nvPicPr>
        <p:blipFill>
          <a:blip r:embed="rId1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1"/>
              </a:ext>
            </a:extLst>
          </a:blip>
          <a:stretch>
            <a:fillRect/>
          </a:stretch>
        </p:blipFill>
        <p:spPr>
          <a:xfrm>
            <a:off x="3527503" y="2246410"/>
            <a:ext cx="457200" cy="457200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60B4002D-2D61-417D-B2C4-52F709035B46}"/>
              </a:ext>
            </a:extLst>
          </p:cNvPr>
          <p:cNvPicPr>
            <a:picLocks noChangeAspect="1"/>
          </p:cNvPicPr>
          <p:nvPr/>
        </p:nvPicPr>
        <p:blipFill>
          <a:blip r:embed="rId1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3"/>
              </a:ext>
            </a:extLst>
          </a:blip>
          <a:stretch>
            <a:fillRect/>
          </a:stretch>
        </p:blipFill>
        <p:spPr>
          <a:xfrm>
            <a:off x="2979913" y="2246410"/>
            <a:ext cx="457200" cy="457200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CB4C17AF-8E28-46F6-9676-FAD115A8CFFB}"/>
              </a:ext>
            </a:extLst>
          </p:cNvPr>
          <p:cNvPicPr>
            <a:picLocks noChangeAspect="1"/>
          </p:cNvPicPr>
          <p:nvPr/>
        </p:nvPicPr>
        <p:blipFill>
          <a:blip r:embed="rId1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5"/>
              </a:ext>
            </a:extLst>
          </a:blip>
          <a:stretch>
            <a:fillRect/>
          </a:stretch>
        </p:blipFill>
        <p:spPr>
          <a:xfrm>
            <a:off x="2432323" y="2246410"/>
            <a:ext cx="457200" cy="457200"/>
          </a:xfrm>
          <a:prstGeom prst="rect">
            <a:avLst/>
          </a:prstGeom>
        </p:spPr>
      </p:pic>
      <p:pic>
        <p:nvPicPr>
          <p:cNvPr id="90" name="Graphic 89">
            <a:extLst>
              <a:ext uri="{FF2B5EF4-FFF2-40B4-BE49-F238E27FC236}">
                <a16:creationId xmlns:a16="http://schemas.microsoft.com/office/drawing/2014/main" id="{75934643-5AA0-41B1-872B-5CA30443BA36}"/>
              </a:ext>
            </a:extLst>
          </p:cNvPr>
          <p:cNvPicPr>
            <a:picLocks noChangeAspect="1"/>
          </p:cNvPicPr>
          <p:nvPr/>
        </p:nvPicPr>
        <p:blipFill>
          <a:blip r:embed="rId1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7"/>
              </a:ext>
            </a:extLst>
          </a:blip>
          <a:stretch>
            <a:fillRect/>
          </a:stretch>
        </p:blipFill>
        <p:spPr>
          <a:xfrm>
            <a:off x="6265453" y="2246410"/>
            <a:ext cx="457200" cy="457200"/>
          </a:xfrm>
          <a:prstGeom prst="rect">
            <a:avLst/>
          </a:prstGeom>
        </p:spPr>
      </p:pic>
      <p:pic>
        <p:nvPicPr>
          <p:cNvPr id="91" name="Graphic 90">
            <a:extLst>
              <a:ext uri="{FF2B5EF4-FFF2-40B4-BE49-F238E27FC236}">
                <a16:creationId xmlns:a16="http://schemas.microsoft.com/office/drawing/2014/main" id="{817F17CD-3457-4A2A-BEA0-7B846413EAB6}"/>
              </a:ext>
            </a:extLst>
          </p:cNvPr>
          <p:cNvPicPr>
            <a:picLocks noChangeAspect="1"/>
          </p:cNvPicPr>
          <p:nvPr/>
        </p:nvPicPr>
        <p:blipFill>
          <a:blip r:embed="rId1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9"/>
              </a:ext>
            </a:extLst>
          </a:blip>
          <a:stretch>
            <a:fillRect/>
          </a:stretch>
        </p:blipFill>
        <p:spPr>
          <a:xfrm>
            <a:off x="5717863" y="2246410"/>
            <a:ext cx="457200" cy="457200"/>
          </a:xfrm>
          <a:prstGeom prst="rect">
            <a:avLst/>
          </a:prstGeom>
        </p:spPr>
      </p:pic>
      <p:pic>
        <p:nvPicPr>
          <p:cNvPr id="92" name="Graphic 91">
            <a:extLst>
              <a:ext uri="{FF2B5EF4-FFF2-40B4-BE49-F238E27FC236}">
                <a16:creationId xmlns:a16="http://schemas.microsoft.com/office/drawing/2014/main" id="{4C6A5883-4E82-4FAC-982B-A3423B1AEB59}"/>
              </a:ext>
            </a:extLst>
          </p:cNvPr>
          <p:cNvPicPr>
            <a:picLocks noChangeAspect="1"/>
          </p:cNvPicPr>
          <p:nvPr/>
        </p:nvPicPr>
        <p:blipFill>
          <a:blip r:embed="rId1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1"/>
              </a:ext>
            </a:extLst>
          </a:blip>
          <a:stretch>
            <a:fillRect/>
          </a:stretch>
        </p:blipFill>
        <p:spPr>
          <a:xfrm>
            <a:off x="5170273" y="2246410"/>
            <a:ext cx="457200" cy="457200"/>
          </a:xfrm>
          <a:prstGeom prst="rect">
            <a:avLst/>
          </a:prstGeom>
        </p:spPr>
      </p:pic>
      <p:pic>
        <p:nvPicPr>
          <p:cNvPr id="93" name="Graphic 92">
            <a:extLst>
              <a:ext uri="{FF2B5EF4-FFF2-40B4-BE49-F238E27FC236}">
                <a16:creationId xmlns:a16="http://schemas.microsoft.com/office/drawing/2014/main" id="{D616418F-9FE8-4465-8A5F-F57721DA4460}"/>
              </a:ext>
            </a:extLst>
          </p:cNvPr>
          <p:cNvPicPr>
            <a:picLocks noChangeAspect="1"/>
          </p:cNvPicPr>
          <p:nvPr/>
        </p:nvPicPr>
        <p:blipFill>
          <a:blip r:embed="rId1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3"/>
              </a:ext>
            </a:extLst>
          </a:blip>
          <a:stretch>
            <a:fillRect/>
          </a:stretch>
        </p:blipFill>
        <p:spPr>
          <a:xfrm>
            <a:off x="4622683" y="2246410"/>
            <a:ext cx="457200" cy="457200"/>
          </a:xfrm>
          <a:prstGeom prst="rect">
            <a:avLst/>
          </a:prstGeom>
        </p:spPr>
      </p:pic>
      <p:pic>
        <p:nvPicPr>
          <p:cNvPr id="118" name="Graphic 117">
            <a:extLst>
              <a:ext uri="{FF2B5EF4-FFF2-40B4-BE49-F238E27FC236}">
                <a16:creationId xmlns:a16="http://schemas.microsoft.com/office/drawing/2014/main" id="{E299CE17-267A-4973-A709-73EA27C3F558}"/>
              </a:ext>
            </a:extLst>
          </p:cNvPr>
          <p:cNvPicPr>
            <a:picLocks noChangeAspect="1"/>
          </p:cNvPicPr>
          <p:nvPr/>
        </p:nvPicPr>
        <p:blipFill>
          <a:blip r:embed="rId1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5"/>
              </a:ext>
            </a:extLst>
          </a:blip>
          <a:stretch>
            <a:fillRect/>
          </a:stretch>
        </p:blipFill>
        <p:spPr>
          <a:xfrm>
            <a:off x="8455819" y="2246410"/>
            <a:ext cx="457200" cy="457200"/>
          </a:xfrm>
          <a:prstGeom prst="rect">
            <a:avLst/>
          </a:prstGeom>
        </p:spPr>
      </p:pic>
      <p:pic>
        <p:nvPicPr>
          <p:cNvPr id="119" name="Graphic 118">
            <a:extLst>
              <a:ext uri="{FF2B5EF4-FFF2-40B4-BE49-F238E27FC236}">
                <a16:creationId xmlns:a16="http://schemas.microsoft.com/office/drawing/2014/main" id="{308ED640-49F1-47B0-8B7F-D5920D866E7E}"/>
              </a:ext>
            </a:extLst>
          </p:cNvPr>
          <p:cNvPicPr>
            <a:picLocks noChangeAspect="1"/>
          </p:cNvPicPr>
          <p:nvPr/>
        </p:nvPicPr>
        <p:blipFill>
          <a:blip r:embed="rId1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7"/>
              </a:ext>
            </a:extLst>
          </a:blip>
          <a:stretch>
            <a:fillRect/>
          </a:stretch>
        </p:blipFill>
        <p:spPr>
          <a:xfrm>
            <a:off x="7908223" y="2246410"/>
            <a:ext cx="457200" cy="457200"/>
          </a:xfrm>
          <a:prstGeom prst="rect">
            <a:avLst/>
          </a:prstGeom>
        </p:spPr>
      </p:pic>
      <p:pic>
        <p:nvPicPr>
          <p:cNvPr id="120" name="Graphic 119">
            <a:extLst>
              <a:ext uri="{FF2B5EF4-FFF2-40B4-BE49-F238E27FC236}">
                <a16:creationId xmlns:a16="http://schemas.microsoft.com/office/drawing/2014/main" id="{9B633AA2-1D1E-47CF-AD9A-5C079E97D769}"/>
              </a:ext>
            </a:extLst>
          </p:cNvPr>
          <p:cNvPicPr>
            <a:picLocks noChangeAspect="1"/>
          </p:cNvPicPr>
          <p:nvPr/>
        </p:nvPicPr>
        <p:blipFill>
          <a:blip r:embed="rId1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9"/>
              </a:ext>
            </a:extLst>
          </a:blip>
          <a:stretch>
            <a:fillRect/>
          </a:stretch>
        </p:blipFill>
        <p:spPr>
          <a:xfrm>
            <a:off x="7360633" y="2246410"/>
            <a:ext cx="457200" cy="457200"/>
          </a:xfrm>
          <a:prstGeom prst="rect">
            <a:avLst/>
          </a:prstGeom>
        </p:spPr>
      </p:pic>
      <p:pic>
        <p:nvPicPr>
          <p:cNvPr id="121" name="Graphic 120">
            <a:extLst>
              <a:ext uri="{FF2B5EF4-FFF2-40B4-BE49-F238E27FC236}">
                <a16:creationId xmlns:a16="http://schemas.microsoft.com/office/drawing/2014/main" id="{A426319C-30B7-4534-B504-7BBC183440BE}"/>
              </a:ext>
            </a:extLst>
          </p:cNvPr>
          <p:cNvPicPr>
            <a:picLocks noChangeAspect="1"/>
          </p:cNvPicPr>
          <p:nvPr/>
        </p:nvPicPr>
        <p:blipFill>
          <a:blip r:embed="rId1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1"/>
              </a:ext>
            </a:extLst>
          </a:blip>
          <a:stretch>
            <a:fillRect/>
          </a:stretch>
        </p:blipFill>
        <p:spPr>
          <a:xfrm>
            <a:off x="6813043" y="2246410"/>
            <a:ext cx="457200" cy="4572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D192819B-49F8-4768-8884-07B88315453E}"/>
              </a:ext>
            </a:extLst>
          </p:cNvPr>
          <p:cNvPicPr>
            <a:picLocks noChangeAspect="1"/>
          </p:cNvPicPr>
          <p:nvPr/>
        </p:nvPicPr>
        <p:blipFill>
          <a:blip r:embed="rId1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3"/>
              </a:ext>
            </a:extLst>
          </a:blip>
          <a:stretch>
            <a:fillRect/>
          </a:stretch>
        </p:blipFill>
        <p:spPr>
          <a:xfrm>
            <a:off x="1884733" y="1689291"/>
            <a:ext cx="457200" cy="45720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B57E6945-F146-46A9-9B29-797453EF521E}"/>
              </a:ext>
            </a:extLst>
          </p:cNvPr>
          <p:cNvPicPr>
            <a:picLocks noChangeAspect="1"/>
          </p:cNvPicPr>
          <p:nvPr/>
        </p:nvPicPr>
        <p:blipFill>
          <a:blip r:embed="rId1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5"/>
              </a:ext>
            </a:extLst>
          </a:blip>
          <a:stretch>
            <a:fillRect/>
          </a:stretch>
        </p:blipFill>
        <p:spPr>
          <a:xfrm>
            <a:off x="1337143" y="1689291"/>
            <a:ext cx="457200" cy="457200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E12FB487-2DAA-4EA2-8561-5A98E6D25CD9}"/>
              </a:ext>
            </a:extLst>
          </p:cNvPr>
          <p:cNvPicPr>
            <a:picLocks noChangeAspect="1"/>
          </p:cNvPicPr>
          <p:nvPr/>
        </p:nvPicPr>
        <p:blipFill>
          <a:blip r:embed="rId1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7"/>
              </a:ext>
            </a:extLst>
          </a:blip>
          <a:stretch>
            <a:fillRect/>
          </a:stretch>
        </p:blipFill>
        <p:spPr>
          <a:xfrm>
            <a:off x="789553" y="1689291"/>
            <a:ext cx="457200" cy="457200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6B7AF93D-8828-4BC9-9D17-D6E4122081D9}"/>
              </a:ext>
            </a:extLst>
          </p:cNvPr>
          <p:cNvPicPr>
            <a:picLocks noChangeAspect="1"/>
          </p:cNvPicPr>
          <p:nvPr/>
        </p:nvPicPr>
        <p:blipFill>
          <a:blip r:embed="rId1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9"/>
              </a:ext>
            </a:extLst>
          </a:blip>
          <a:stretch>
            <a:fillRect/>
          </a:stretch>
        </p:blipFill>
        <p:spPr>
          <a:xfrm>
            <a:off x="241963" y="1689291"/>
            <a:ext cx="457200" cy="457200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B8603A0C-164C-479A-8F11-4BED64710065}"/>
              </a:ext>
            </a:extLst>
          </p:cNvPr>
          <p:cNvPicPr>
            <a:picLocks noChangeAspect="1"/>
          </p:cNvPicPr>
          <p:nvPr/>
        </p:nvPicPr>
        <p:blipFill>
          <a:blip r:embed="rId1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1"/>
              </a:ext>
            </a:extLst>
          </a:blip>
          <a:stretch>
            <a:fillRect/>
          </a:stretch>
        </p:blipFill>
        <p:spPr>
          <a:xfrm>
            <a:off x="4075093" y="1689291"/>
            <a:ext cx="457200" cy="45720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47B016B1-1233-4BF2-ADD4-C3322D878EF5}"/>
              </a:ext>
            </a:extLst>
          </p:cNvPr>
          <p:cNvPicPr>
            <a:picLocks noChangeAspect="1"/>
          </p:cNvPicPr>
          <p:nvPr/>
        </p:nvPicPr>
        <p:blipFill>
          <a:blip r:embed="rId1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3"/>
              </a:ext>
            </a:extLst>
          </a:blip>
          <a:stretch>
            <a:fillRect/>
          </a:stretch>
        </p:blipFill>
        <p:spPr>
          <a:xfrm>
            <a:off x="3527503" y="1689291"/>
            <a:ext cx="457200" cy="457200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6556DD81-E721-4AD7-8D2D-E222EDBAF053}"/>
              </a:ext>
            </a:extLst>
          </p:cNvPr>
          <p:cNvPicPr>
            <a:picLocks noChangeAspect="1"/>
          </p:cNvPicPr>
          <p:nvPr/>
        </p:nvPicPr>
        <p:blipFill>
          <a:blip r:embed="rId1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5"/>
              </a:ext>
            </a:extLst>
          </a:blip>
          <a:stretch>
            <a:fillRect/>
          </a:stretch>
        </p:blipFill>
        <p:spPr>
          <a:xfrm>
            <a:off x="2979913" y="1689291"/>
            <a:ext cx="457200" cy="457200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0490DA74-B1AC-4B4E-8B5F-B233201C4A89}"/>
              </a:ext>
            </a:extLst>
          </p:cNvPr>
          <p:cNvPicPr>
            <a:picLocks noChangeAspect="1"/>
          </p:cNvPicPr>
          <p:nvPr/>
        </p:nvPicPr>
        <p:blipFill>
          <a:blip r:embed="rId1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7"/>
              </a:ext>
            </a:extLst>
          </a:blip>
          <a:stretch>
            <a:fillRect/>
          </a:stretch>
        </p:blipFill>
        <p:spPr>
          <a:xfrm>
            <a:off x="2432323" y="1689291"/>
            <a:ext cx="457200" cy="457200"/>
          </a:xfrm>
          <a:prstGeom prst="rect">
            <a:avLst/>
          </a:prstGeom>
        </p:spPr>
      </p:pic>
      <p:pic>
        <p:nvPicPr>
          <p:cNvPr id="94" name="Graphic 93">
            <a:extLst>
              <a:ext uri="{FF2B5EF4-FFF2-40B4-BE49-F238E27FC236}">
                <a16:creationId xmlns:a16="http://schemas.microsoft.com/office/drawing/2014/main" id="{32D74DD2-1DF9-4030-9C39-0AE9983799C4}"/>
              </a:ext>
            </a:extLst>
          </p:cNvPr>
          <p:cNvPicPr>
            <a:picLocks noChangeAspect="1"/>
          </p:cNvPicPr>
          <p:nvPr/>
        </p:nvPicPr>
        <p:blipFill>
          <a:blip r:embed="rId1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9"/>
              </a:ext>
            </a:extLst>
          </a:blip>
          <a:stretch>
            <a:fillRect/>
          </a:stretch>
        </p:blipFill>
        <p:spPr>
          <a:xfrm>
            <a:off x="6265453" y="1689291"/>
            <a:ext cx="457200" cy="457200"/>
          </a:xfrm>
          <a:prstGeom prst="rect">
            <a:avLst/>
          </a:prstGeom>
        </p:spPr>
      </p:pic>
      <p:pic>
        <p:nvPicPr>
          <p:cNvPr id="95" name="Graphic 94">
            <a:extLst>
              <a:ext uri="{FF2B5EF4-FFF2-40B4-BE49-F238E27FC236}">
                <a16:creationId xmlns:a16="http://schemas.microsoft.com/office/drawing/2014/main" id="{85259B8A-D04D-4DA8-A401-982FC2D5B9C1}"/>
              </a:ext>
            </a:extLst>
          </p:cNvPr>
          <p:cNvPicPr>
            <a:picLocks noChangeAspect="1"/>
          </p:cNvPicPr>
          <p:nvPr/>
        </p:nvPicPr>
        <p:blipFill>
          <a:blip r:embed="rId1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1"/>
              </a:ext>
            </a:extLst>
          </a:blip>
          <a:stretch>
            <a:fillRect/>
          </a:stretch>
        </p:blipFill>
        <p:spPr>
          <a:xfrm>
            <a:off x="5717863" y="1689291"/>
            <a:ext cx="457200" cy="457200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5E073892-C857-4142-90A2-986483844164}"/>
              </a:ext>
            </a:extLst>
          </p:cNvPr>
          <p:cNvPicPr>
            <a:picLocks noChangeAspect="1"/>
          </p:cNvPicPr>
          <p:nvPr/>
        </p:nvPicPr>
        <p:blipFill>
          <a:blip r:embed="rId1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3"/>
              </a:ext>
            </a:extLst>
          </a:blip>
          <a:stretch>
            <a:fillRect/>
          </a:stretch>
        </p:blipFill>
        <p:spPr>
          <a:xfrm>
            <a:off x="5170273" y="1689291"/>
            <a:ext cx="457200" cy="457200"/>
          </a:xfrm>
          <a:prstGeom prst="rect">
            <a:avLst/>
          </a:prstGeom>
        </p:spPr>
      </p:pic>
      <p:pic>
        <p:nvPicPr>
          <p:cNvPr id="97" name="Graphic 96">
            <a:extLst>
              <a:ext uri="{FF2B5EF4-FFF2-40B4-BE49-F238E27FC236}">
                <a16:creationId xmlns:a16="http://schemas.microsoft.com/office/drawing/2014/main" id="{165E8EB0-265F-40EE-A68F-FF6225C0EABE}"/>
              </a:ext>
            </a:extLst>
          </p:cNvPr>
          <p:cNvPicPr>
            <a:picLocks noChangeAspect="1"/>
          </p:cNvPicPr>
          <p:nvPr/>
        </p:nvPicPr>
        <p:blipFill>
          <a:blip r:embed="rId1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5"/>
              </a:ext>
            </a:extLst>
          </a:blip>
          <a:stretch>
            <a:fillRect/>
          </a:stretch>
        </p:blipFill>
        <p:spPr>
          <a:xfrm>
            <a:off x="4622683" y="1689291"/>
            <a:ext cx="457200" cy="457200"/>
          </a:xfrm>
          <a:prstGeom prst="rect">
            <a:avLst/>
          </a:prstGeom>
        </p:spPr>
      </p:pic>
      <p:pic>
        <p:nvPicPr>
          <p:cNvPr id="122" name="Graphic 121">
            <a:extLst>
              <a:ext uri="{FF2B5EF4-FFF2-40B4-BE49-F238E27FC236}">
                <a16:creationId xmlns:a16="http://schemas.microsoft.com/office/drawing/2014/main" id="{01F7B956-5145-4BAB-9D89-58DA32239A6A}"/>
              </a:ext>
            </a:extLst>
          </p:cNvPr>
          <p:cNvPicPr>
            <a:picLocks noChangeAspect="1"/>
          </p:cNvPicPr>
          <p:nvPr/>
        </p:nvPicPr>
        <p:blipFill>
          <a:blip r:embed="rId1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7"/>
              </a:ext>
            </a:extLst>
          </a:blip>
          <a:stretch>
            <a:fillRect/>
          </a:stretch>
        </p:blipFill>
        <p:spPr>
          <a:xfrm>
            <a:off x="8455819" y="1689291"/>
            <a:ext cx="457200" cy="457200"/>
          </a:xfrm>
          <a:prstGeom prst="rect">
            <a:avLst/>
          </a:prstGeom>
        </p:spPr>
      </p:pic>
      <p:pic>
        <p:nvPicPr>
          <p:cNvPr id="123" name="Graphic 122">
            <a:extLst>
              <a:ext uri="{FF2B5EF4-FFF2-40B4-BE49-F238E27FC236}">
                <a16:creationId xmlns:a16="http://schemas.microsoft.com/office/drawing/2014/main" id="{D52B2F67-A0C9-45C1-902B-D687A612F360}"/>
              </a:ext>
            </a:extLst>
          </p:cNvPr>
          <p:cNvPicPr>
            <a:picLocks noChangeAspect="1"/>
          </p:cNvPicPr>
          <p:nvPr/>
        </p:nvPicPr>
        <p:blipFill>
          <a:blip r:embed="rId1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9"/>
              </a:ext>
            </a:extLst>
          </a:blip>
          <a:stretch>
            <a:fillRect/>
          </a:stretch>
        </p:blipFill>
        <p:spPr>
          <a:xfrm>
            <a:off x="7908223" y="1689291"/>
            <a:ext cx="457200" cy="457200"/>
          </a:xfrm>
          <a:prstGeom prst="rect">
            <a:avLst/>
          </a:prstGeom>
        </p:spPr>
      </p:pic>
      <p:pic>
        <p:nvPicPr>
          <p:cNvPr id="124" name="Graphic 123">
            <a:extLst>
              <a:ext uri="{FF2B5EF4-FFF2-40B4-BE49-F238E27FC236}">
                <a16:creationId xmlns:a16="http://schemas.microsoft.com/office/drawing/2014/main" id="{97050EF0-B807-496A-8A93-EA3039ADFA7E}"/>
              </a:ext>
            </a:extLst>
          </p:cNvPr>
          <p:cNvPicPr>
            <a:picLocks noChangeAspect="1"/>
          </p:cNvPicPr>
          <p:nvPr/>
        </p:nvPicPr>
        <p:blipFill>
          <a:blip r:embed="rId1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1"/>
              </a:ext>
            </a:extLst>
          </a:blip>
          <a:stretch>
            <a:fillRect/>
          </a:stretch>
        </p:blipFill>
        <p:spPr>
          <a:xfrm>
            <a:off x="7360633" y="1689291"/>
            <a:ext cx="457200" cy="457200"/>
          </a:xfrm>
          <a:prstGeom prst="rect">
            <a:avLst/>
          </a:prstGeom>
        </p:spPr>
      </p:pic>
      <p:pic>
        <p:nvPicPr>
          <p:cNvPr id="125" name="Graphic 124">
            <a:extLst>
              <a:ext uri="{FF2B5EF4-FFF2-40B4-BE49-F238E27FC236}">
                <a16:creationId xmlns:a16="http://schemas.microsoft.com/office/drawing/2014/main" id="{D2B1ADD1-BBF3-41D9-BEF7-AB55AA244439}"/>
              </a:ext>
            </a:extLst>
          </p:cNvPr>
          <p:cNvPicPr>
            <a:picLocks noChangeAspect="1"/>
          </p:cNvPicPr>
          <p:nvPr/>
        </p:nvPicPr>
        <p:blipFill>
          <a:blip r:embed="rId1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3"/>
              </a:ext>
            </a:extLst>
          </a:blip>
          <a:stretch>
            <a:fillRect/>
          </a:stretch>
        </p:blipFill>
        <p:spPr>
          <a:xfrm>
            <a:off x="6813043" y="1689291"/>
            <a:ext cx="457200" cy="4572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FEF09FAD-C8A7-42AA-A61D-4D99B1498034}"/>
              </a:ext>
            </a:extLst>
          </p:cNvPr>
          <p:cNvPicPr>
            <a:picLocks noChangeAspect="1"/>
          </p:cNvPicPr>
          <p:nvPr/>
        </p:nvPicPr>
        <p:blipFill>
          <a:blip r:embed="rId1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5"/>
              </a:ext>
            </a:extLst>
          </a:blip>
          <a:stretch>
            <a:fillRect/>
          </a:stretch>
        </p:blipFill>
        <p:spPr>
          <a:xfrm>
            <a:off x="241963" y="1132171"/>
            <a:ext cx="457200" cy="4572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CDDF7C4F-16FD-4D75-BFB6-42CB4694F1E3}"/>
              </a:ext>
            </a:extLst>
          </p:cNvPr>
          <p:cNvPicPr>
            <a:picLocks noChangeAspect="1"/>
          </p:cNvPicPr>
          <p:nvPr/>
        </p:nvPicPr>
        <p:blipFill>
          <a:blip r:embed="rId1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7"/>
              </a:ext>
            </a:extLst>
          </a:blip>
          <a:stretch>
            <a:fillRect/>
          </a:stretch>
        </p:blipFill>
        <p:spPr>
          <a:xfrm>
            <a:off x="1884736" y="1132171"/>
            <a:ext cx="457200" cy="457200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D41D8213-4DF2-4EC0-BDF7-8C96A1713CF0}"/>
              </a:ext>
            </a:extLst>
          </p:cNvPr>
          <p:cNvPicPr>
            <a:picLocks noChangeAspect="1"/>
          </p:cNvPicPr>
          <p:nvPr/>
        </p:nvPicPr>
        <p:blipFill>
          <a:blip r:embed="rId1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9"/>
              </a:ext>
            </a:extLst>
          </a:blip>
          <a:stretch>
            <a:fillRect/>
          </a:stretch>
        </p:blipFill>
        <p:spPr>
          <a:xfrm>
            <a:off x="1337145" y="1132171"/>
            <a:ext cx="457200" cy="457200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04DB5196-DA39-448C-8675-C2D824995BBC}"/>
              </a:ext>
            </a:extLst>
          </p:cNvPr>
          <p:cNvPicPr>
            <a:picLocks noChangeAspect="1"/>
          </p:cNvPicPr>
          <p:nvPr/>
        </p:nvPicPr>
        <p:blipFill>
          <a:blip r:embed="rId2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1"/>
              </a:ext>
            </a:extLst>
          </a:blip>
          <a:stretch>
            <a:fillRect/>
          </a:stretch>
        </p:blipFill>
        <p:spPr>
          <a:xfrm>
            <a:off x="789554" y="1132171"/>
            <a:ext cx="457200" cy="4572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D219FDEA-D5FC-4FBE-86DA-E28361C4A635}"/>
              </a:ext>
            </a:extLst>
          </p:cNvPr>
          <p:cNvPicPr>
            <a:picLocks noChangeAspect="1"/>
          </p:cNvPicPr>
          <p:nvPr/>
        </p:nvPicPr>
        <p:blipFill>
          <a:blip r:embed="rId2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3"/>
              </a:ext>
            </a:extLst>
          </a:blip>
          <a:stretch>
            <a:fillRect/>
          </a:stretch>
        </p:blipFill>
        <p:spPr>
          <a:xfrm>
            <a:off x="2432327" y="1132171"/>
            <a:ext cx="457200" cy="45720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C860A496-CDB6-4A57-9F8C-7F914ABB7CC9}"/>
              </a:ext>
            </a:extLst>
          </p:cNvPr>
          <p:cNvPicPr>
            <a:picLocks noChangeAspect="1"/>
          </p:cNvPicPr>
          <p:nvPr/>
        </p:nvPicPr>
        <p:blipFill>
          <a:blip r:embed="rId2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5"/>
              </a:ext>
            </a:extLst>
          </a:blip>
          <a:stretch>
            <a:fillRect/>
          </a:stretch>
        </p:blipFill>
        <p:spPr>
          <a:xfrm>
            <a:off x="4075100" y="1132171"/>
            <a:ext cx="457200" cy="457200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ABAA5C72-D344-405B-A93B-CD62547B6AD6}"/>
              </a:ext>
            </a:extLst>
          </p:cNvPr>
          <p:cNvPicPr>
            <a:picLocks noChangeAspect="1"/>
          </p:cNvPicPr>
          <p:nvPr/>
        </p:nvPicPr>
        <p:blipFill>
          <a:blip r:embed="rId2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7"/>
              </a:ext>
            </a:extLst>
          </a:blip>
          <a:stretch>
            <a:fillRect/>
          </a:stretch>
        </p:blipFill>
        <p:spPr>
          <a:xfrm>
            <a:off x="3527509" y="1132171"/>
            <a:ext cx="457200" cy="457200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FAB46AEB-F535-4FEF-BE04-02623E7AD770}"/>
              </a:ext>
            </a:extLst>
          </p:cNvPr>
          <p:cNvPicPr>
            <a:picLocks noChangeAspect="1"/>
          </p:cNvPicPr>
          <p:nvPr/>
        </p:nvPicPr>
        <p:blipFill>
          <a:blip r:embed="rId2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9"/>
              </a:ext>
            </a:extLst>
          </a:blip>
          <a:stretch>
            <a:fillRect/>
          </a:stretch>
        </p:blipFill>
        <p:spPr>
          <a:xfrm>
            <a:off x="2979918" y="1132171"/>
            <a:ext cx="457200" cy="457200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D2BB0269-DD8C-4B97-9A2F-0EBC6ED5FF18}"/>
              </a:ext>
            </a:extLst>
          </p:cNvPr>
          <p:cNvPicPr>
            <a:picLocks noChangeAspect="1"/>
          </p:cNvPicPr>
          <p:nvPr/>
        </p:nvPicPr>
        <p:blipFill>
          <a:blip r:embed="rId2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1"/>
              </a:ext>
            </a:extLst>
          </a:blip>
          <a:stretch>
            <a:fillRect/>
          </a:stretch>
        </p:blipFill>
        <p:spPr>
          <a:xfrm>
            <a:off x="4622691" y="1132171"/>
            <a:ext cx="457200" cy="457200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633AE442-5E51-4EDC-ACF4-31682C3D94A9}"/>
              </a:ext>
            </a:extLst>
          </p:cNvPr>
          <p:cNvPicPr>
            <a:picLocks noChangeAspect="1"/>
          </p:cNvPicPr>
          <p:nvPr/>
        </p:nvPicPr>
        <p:blipFill>
          <a:blip r:embed="rId2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3"/>
              </a:ext>
            </a:extLst>
          </a:blip>
          <a:stretch>
            <a:fillRect/>
          </a:stretch>
        </p:blipFill>
        <p:spPr>
          <a:xfrm>
            <a:off x="6265464" y="1132171"/>
            <a:ext cx="457200" cy="457200"/>
          </a:xfrm>
          <a:prstGeom prst="rect">
            <a:avLst/>
          </a:prstGeom>
        </p:spPr>
      </p:pic>
      <p:pic>
        <p:nvPicPr>
          <p:cNvPr id="99" name="Graphic 98">
            <a:extLst>
              <a:ext uri="{FF2B5EF4-FFF2-40B4-BE49-F238E27FC236}">
                <a16:creationId xmlns:a16="http://schemas.microsoft.com/office/drawing/2014/main" id="{A0E1F364-E768-4DBF-8816-3F34C35EAD33}"/>
              </a:ext>
            </a:extLst>
          </p:cNvPr>
          <p:cNvPicPr>
            <a:picLocks noChangeAspect="1"/>
          </p:cNvPicPr>
          <p:nvPr/>
        </p:nvPicPr>
        <p:blipFill>
          <a:blip r:embed="rId2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5"/>
              </a:ext>
            </a:extLst>
          </a:blip>
          <a:stretch>
            <a:fillRect/>
          </a:stretch>
        </p:blipFill>
        <p:spPr>
          <a:xfrm>
            <a:off x="5717873" y="1132171"/>
            <a:ext cx="457200" cy="457200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9AD027EC-36C8-4AA9-90BA-7F6718321113}"/>
              </a:ext>
            </a:extLst>
          </p:cNvPr>
          <p:cNvPicPr>
            <a:picLocks noChangeAspect="1"/>
          </p:cNvPicPr>
          <p:nvPr/>
        </p:nvPicPr>
        <p:blipFill>
          <a:blip r:embed="rId2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7"/>
              </a:ext>
            </a:extLst>
          </a:blip>
          <a:stretch>
            <a:fillRect/>
          </a:stretch>
        </p:blipFill>
        <p:spPr>
          <a:xfrm>
            <a:off x="5170282" y="1132171"/>
            <a:ext cx="457200" cy="457200"/>
          </a:xfrm>
          <a:prstGeom prst="rect">
            <a:avLst/>
          </a:prstGeom>
        </p:spPr>
      </p:pic>
      <p:pic>
        <p:nvPicPr>
          <p:cNvPr id="101" name="Graphic 100">
            <a:extLst>
              <a:ext uri="{FF2B5EF4-FFF2-40B4-BE49-F238E27FC236}">
                <a16:creationId xmlns:a16="http://schemas.microsoft.com/office/drawing/2014/main" id="{A23A60E3-9A89-4B11-856E-10DD461A0443}"/>
              </a:ext>
            </a:extLst>
          </p:cNvPr>
          <p:cNvPicPr>
            <a:picLocks noChangeAspect="1"/>
          </p:cNvPicPr>
          <p:nvPr/>
        </p:nvPicPr>
        <p:blipFill>
          <a:blip r:embed="rId2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9"/>
              </a:ext>
            </a:extLst>
          </a:blip>
          <a:stretch>
            <a:fillRect/>
          </a:stretch>
        </p:blipFill>
        <p:spPr>
          <a:xfrm>
            <a:off x="6813055" y="1132171"/>
            <a:ext cx="457200" cy="457200"/>
          </a:xfrm>
          <a:prstGeom prst="rect">
            <a:avLst/>
          </a:prstGeom>
        </p:spPr>
      </p:pic>
      <p:pic>
        <p:nvPicPr>
          <p:cNvPr id="126" name="Graphic 125">
            <a:extLst>
              <a:ext uri="{FF2B5EF4-FFF2-40B4-BE49-F238E27FC236}">
                <a16:creationId xmlns:a16="http://schemas.microsoft.com/office/drawing/2014/main" id="{C8528E05-F045-4566-A8DA-6291BAE3E5FD}"/>
              </a:ext>
            </a:extLst>
          </p:cNvPr>
          <p:cNvPicPr>
            <a:picLocks noChangeAspect="1"/>
          </p:cNvPicPr>
          <p:nvPr/>
        </p:nvPicPr>
        <p:blipFill>
          <a:blip r:embed="rId2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1"/>
              </a:ext>
            </a:extLst>
          </a:blip>
          <a:stretch>
            <a:fillRect/>
          </a:stretch>
        </p:blipFill>
        <p:spPr>
          <a:xfrm>
            <a:off x="8455819" y="1132171"/>
            <a:ext cx="457200" cy="457200"/>
          </a:xfrm>
          <a:prstGeom prst="rect">
            <a:avLst/>
          </a:prstGeom>
        </p:spPr>
      </p:pic>
      <p:pic>
        <p:nvPicPr>
          <p:cNvPr id="127" name="Graphic 126">
            <a:extLst>
              <a:ext uri="{FF2B5EF4-FFF2-40B4-BE49-F238E27FC236}">
                <a16:creationId xmlns:a16="http://schemas.microsoft.com/office/drawing/2014/main" id="{D0391B28-1461-490E-9C7F-28694FE552E3}"/>
              </a:ext>
            </a:extLst>
          </p:cNvPr>
          <p:cNvPicPr>
            <a:picLocks noChangeAspect="1"/>
          </p:cNvPicPr>
          <p:nvPr/>
        </p:nvPicPr>
        <p:blipFill>
          <a:blip r:embed="rId2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3"/>
              </a:ext>
            </a:extLst>
          </a:blip>
          <a:stretch>
            <a:fillRect/>
          </a:stretch>
        </p:blipFill>
        <p:spPr>
          <a:xfrm>
            <a:off x="7908237" y="1132171"/>
            <a:ext cx="457200" cy="457200"/>
          </a:xfrm>
          <a:prstGeom prst="rect">
            <a:avLst/>
          </a:prstGeom>
        </p:spPr>
      </p:pic>
      <p:pic>
        <p:nvPicPr>
          <p:cNvPr id="128" name="Graphic 127">
            <a:extLst>
              <a:ext uri="{FF2B5EF4-FFF2-40B4-BE49-F238E27FC236}">
                <a16:creationId xmlns:a16="http://schemas.microsoft.com/office/drawing/2014/main" id="{30C4A3DA-9A7B-4BD3-8D65-867850C03F0A}"/>
              </a:ext>
            </a:extLst>
          </p:cNvPr>
          <p:cNvPicPr>
            <a:picLocks noChangeAspect="1"/>
          </p:cNvPicPr>
          <p:nvPr/>
        </p:nvPicPr>
        <p:blipFill>
          <a:blip r:embed="rId2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5"/>
              </a:ext>
            </a:extLst>
          </a:blip>
          <a:stretch>
            <a:fillRect/>
          </a:stretch>
        </p:blipFill>
        <p:spPr>
          <a:xfrm>
            <a:off x="7360646" y="1132171"/>
            <a:ext cx="457200" cy="4572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D52D7F-4275-CA49-BC44-2EC67869A85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Nucleo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60B991-3FD8-424E-AEB5-657A656FE8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76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7D15A3-0F77-3D48-97DE-5DA9FB73D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bjec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28029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 128">
            <a:extLst>
              <a:ext uri="{FF2B5EF4-FFF2-40B4-BE49-F238E27FC236}">
                <a16:creationId xmlns:a16="http://schemas.microsoft.com/office/drawing/2014/main" id="{0C5A6DB2-08CE-7E40-AA46-BA2F821BF1EB}"/>
              </a:ext>
            </a:extLst>
          </p:cNvPr>
          <p:cNvSpPr/>
          <p:nvPr/>
        </p:nvSpPr>
        <p:spPr>
          <a:xfrm>
            <a:off x="6779796" y="971550"/>
            <a:ext cx="2364203" cy="41465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62BA62B-B6CC-4387-89D8-C8EC182574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85848" y="4474162"/>
            <a:ext cx="457200" cy="4572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2E6DB924-34AF-4C01-9B3C-D942173AE4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2778" y="4474162"/>
            <a:ext cx="457200" cy="4572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6BB4E9F1-E5B5-4133-BA14-ABEEFC3664A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38158" y="4474162"/>
            <a:ext cx="457200" cy="4572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A4A4ABB8-19F0-45E0-9D8D-7B057A0B30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0468" y="4474162"/>
            <a:ext cx="457200" cy="4572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C194C73F-203E-40EB-B567-D7724D5F513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76608" y="4474162"/>
            <a:ext cx="457200" cy="45720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90FEF831-98E7-41F7-A2A1-D5B91F50747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433538" y="4474162"/>
            <a:ext cx="457200" cy="457200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8CE44BF9-5F13-46EB-9776-E88D2B30AC1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528918" y="4474162"/>
            <a:ext cx="457200" cy="4572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78A934C2-4F74-4FCE-9CD1-010803B970B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981228" y="4474162"/>
            <a:ext cx="457200" cy="457200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8124F498-F7DD-4EBD-883B-2269DD0DFE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267368" y="4474162"/>
            <a:ext cx="457200" cy="457200"/>
          </a:xfrm>
          <a:prstGeom prst="rect">
            <a:avLst/>
          </a:prstGeom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4B08297F-946C-48BD-9C6E-565E591E469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624298" y="4474162"/>
            <a:ext cx="457200" cy="457200"/>
          </a:xfrm>
          <a:prstGeom prst="rect">
            <a:avLst/>
          </a:prstGeom>
        </p:spPr>
      </p:pic>
      <p:pic>
        <p:nvPicPr>
          <p:cNvPr id="79" name="Graphic 78">
            <a:extLst>
              <a:ext uri="{FF2B5EF4-FFF2-40B4-BE49-F238E27FC236}">
                <a16:creationId xmlns:a16="http://schemas.microsoft.com/office/drawing/2014/main" id="{DD1E3955-C62B-4927-AEF0-6A328AED8850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719678" y="4474162"/>
            <a:ext cx="457200" cy="457200"/>
          </a:xfrm>
          <a:prstGeom prst="rect">
            <a:avLst/>
          </a:prstGeom>
        </p:spPr>
      </p:pic>
      <p:pic>
        <p:nvPicPr>
          <p:cNvPr id="81" name="Graphic 80">
            <a:extLst>
              <a:ext uri="{FF2B5EF4-FFF2-40B4-BE49-F238E27FC236}">
                <a16:creationId xmlns:a16="http://schemas.microsoft.com/office/drawing/2014/main" id="{88106C9F-E971-48C1-BAAD-F4B0E145166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171988" y="4474162"/>
            <a:ext cx="457200" cy="457200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039ECED9-EA20-4047-A4BD-17103F50E80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458131" y="4474162"/>
            <a:ext cx="457200" cy="457200"/>
          </a:xfrm>
          <a:prstGeom prst="rect">
            <a:avLst/>
          </a:prstGeom>
        </p:spPr>
      </p:pic>
      <p:pic>
        <p:nvPicPr>
          <p:cNvPr id="106" name="Graphic 105">
            <a:extLst>
              <a:ext uri="{FF2B5EF4-FFF2-40B4-BE49-F238E27FC236}">
                <a16:creationId xmlns:a16="http://schemas.microsoft.com/office/drawing/2014/main" id="{E987ED32-CDF9-431D-ACC5-7486E941CCF8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815058" y="4474162"/>
            <a:ext cx="457200" cy="457200"/>
          </a:xfrm>
          <a:prstGeom prst="rect">
            <a:avLst/>
          </a:prstGeom>
        </p:spPr>
      </p:pic>
      <p:pic>
        <p:nvPicPr>
          <p:cNvPr id="107" name="Graphic 106">
            <a:extLst>
              <a:ext uri="{FF2B5EF4-FFF2-40B4-BE49-F238E27FC236}">
                <a16:creationId xmlns:a16="http://schemas.microsoft.com/office/drawing/2014/main" id="{1FAFBB17-7D2E-4B86-9D06-9B746A8E2D89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7910438" y="4474162"/>
            <a:ext cx="457200" cy="457200"/>
          </a:xfrm>
          <a:prstGeom prst="rect">
            <a:avLst/>
          </a:prstGeom>
        </p:spPr>
      </p:pic>
      <p:pic>
        <p:nvPicPr>
          <p:cNvPr id="109" name="Graphic 108">
            <a:extLst>
              <a:ext uri="{FF2B5EF4-FFF2-40B4-BE49-F238E27FC236}">
                <a16:creationId xmlns:a16="http://schemas.microsoft.com/office/drawing/2014/main" id="{C8D504D9-60D4-4C82-8DD8-EE6A54A39E87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7362748" y="4474162"/>
            <a:ext cx="457200" cy="4572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E0A5E898-D6A0-4D95-A448-FDCFA925770E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885848" y="3917038"/>
            <a:ext cx="457200" cy="4572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78A780F0-A659-4258-BE5E-79FFCB3DE895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242778" y="3917038"/>
            <a:ext cx="457200" cy="4572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3B6EA6BC-BD6D-4150-99B3-8B60A38FD82D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338158" y="3917038"/>
            <a:ext cx="457200" cy="4572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8C3196E-7E50-42E5-9CDB-BACF85C10836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790468" y="3917038"/>
            <a:ext cx="457200" cy="4572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7F129BEB-95AE-40C5-8AFB-8F809BC5F730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076608" y="3917038"/>
            <a:ext cx="457200" cy="4572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702ACF6B-16D6-4F84-AA66-E0DE60934456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2433538" y="3917038"/>
            <a:ext cx="457200" cy="4572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8DB81B0F-ECBA-48C8-844E-C447C690947C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3528918" y="3917038"/>
            <a:ext cx="457200" cy="457200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E1933AA9-F253-45AE-960E-4C62F9455BA0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2981228" y="3917038"/>
            <a:ext cx="457200" cy="457200"/>
          </a:xfrm>
          <a:prstGeom prst="rect">
            <a:avLst/>
          </a:prstGeom>
        </p:spPr>
      </p:pic>
      <p:pic>
        <p:nvPicPr>
          <p:cNvPr id="75" name="Graphic 74">
            <a:extLst>
              <a:ext uri="{FF2B5EF4-FFF2-40B4-BE49-F238E27FC236}">
                <a16:creationId xmlns:a16="http://schemas.microsoft.com/office/drawing/2014/main" id="{5FF2EE5A-604C-49A0-B2DD-864B1BB3E33B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267368" y="3917038"/>
            <a:ext cx="457200" cy="457200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CBC68AB0-238B-4A62-975F-6CD08EB009F0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4624298" y="3917038"/>
            <a:ext cx="457200" cy="457200"/>
          </a:xfrm>
          <a:prstGeom prst="rect">
            <a:avLst/>
          </a:prstGeom>
        </p:spPr>
      </p:pic>
      <p:pic>
        <p:nvPicPr>
          <p:cNvPr id="80" name="Graphic 79">
            <a:extLst>
              <a:ext uri="{FF2B5EF4-FFF2-40B4-BE49-F238E27FC236}">
                <a16:creationId xmlns:a16="http://schemas.microsoft.com/office/drawing/2014/main" id="{A13B4F45-A7EA-4993-8AC7-EE0797154054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5719678" y="3917038"/>
            <a:ext cx="457200" cy="4572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F2A8BCF6-AC22-4955-B98B-07FECE3D7B1D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5171988" y="3917038"/>
            <a:ext cx="457200" cy="457200"/>
          </a:xfrm>
          <a:prstGeom prst="rect">
            <a:avLst/>
          </a:prstGeom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3B947B37-DA32-4A45-BDE7-7C5FC958A70A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8458131" y="3917038"/>
            <a:ext cx="457200" cy="457200"/>
          </a:xfrm>
          <a:prstGeom prst="rect">
            <a:avLst/>
          </a:prstGeom>
        </p:spPr>
      </p:pic>
      <p:pic>
        <p:nvPicPr>
          <p:cNvPr id="104" name="Graphic 103">
            <a:extLst>
              <a:ext uri="{FF2B5EF4-FFF2-40B4-BE49-F238E27FC236}">
                <a16:creationId xmlns:a16="http://schemas.microsoft.com/office/drawing/2014/main" id="{DAF479C3-2033-4169-8663-EED1765C1B10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6815058" y="3917038"/>
            <a:ext cx="457200" cy="457200"/>
          </a:xfrm>
          <a:prstGeom prst="rect">
            <a:avLst/>
          </a:prstGeom>
        </p:spPr>
      </p:pic>
      <p:pic>
        <p:nvPicPr>
          <p:cNvPr id="108" name="Graphic 107">
            <a:extLst>
              <a:ext uri="{FF2B5EF4-FFF2-40B4-BE49-F238E27FC236}">
                <a16:creationId xmlns:a16="http://schemas.microsoft.com/office/drawing/2014/main" id="{705E4740-34EA-4121-8E66-FA83B99CBF25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910438" y="3917038"/>
            <a:ext cx="457200" cy="457200"/>
          </a:xfrm>
          <a:prstGeom prst="rect">
            <a:avLst/>
          </a:prstGeom>
        </p:spPr>
      </p:pic>
      <p:pic>
        <p:nvPicPr>
          <p:cNvPr id="113" name="Graphic 112">
            <a:extLst>
              <a:ext uri="{FF2B5EF4-FFF2-40B4-BE49-F238E27FC236}">
                <a16:creationId xmlns:a16="http://schemas.microsoft.com/office/drawing/2014/main" id="{85E12E33-88A3-46DC-B4FA-B7EE0FE3C090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7362748" y="3917038"/>
            <a:ext cx="457200" cy="4572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27655414-5599-430A-B5CB-EB598B71B0DF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242778" y="2802786"/>
            <a:ext cx="457200" cy="4572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2FE49A66-C39B-4F16-AE3E-E8C734BFF303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885848" y="2802786"/>
            <a:ext cx="457200" cy="4572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EC211005-4843-4EA8-8395-B06B96182642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1338158" y="2802786"/>
            <a:ext cx="457200" cy="457200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61A18873-04CA-4D9F-A7EE-139BE5E31EB6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790468" y="2802786"/>
            <a:ext cx="457200" cy="45720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E62D3166-5277-43C5-B1E9-659F9936B424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2433538" y="2802786"/>
            <a:ext cx="457200" cy="45720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C79853B0-821A-4DBE-B421-880AD6AE454E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4076608" y="2802786"/>
            <a:ext cx="457200" cy="457200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0610DEDC-A2FD-497A-B8CD-0E241A5D4FF7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9"/>
              </a:ext>
            </a:extLst>
          </a:blip>
          <a:stretch>
            <a:fillRect/>
          </a:stretch>
        </p:blipFill>
        <p:spPr>
          <a:xfrm>
            <a:off x="3528918" y="2802786"/>
            <a:ext cx="457200" cy="457200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7E125779-5222-484D-A611-ECF29FC3723E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1"/>
              </a:ext>
            </a:extLst>
          </a:blip>
          <a:stretch>
            <a:fillRect/>
          </a:stretch>
        </p:blipFill>
        <p:spPr>
          <a:xfrm>
            <a:off x="2981228" y="2802786"/>
            <a:ext cx="457200" cy="457200"/>
          </a:xfrm>
          <a:prstGeom prst="rect">
            <a:avLst/>
          </a:prstGeom>
        </p:spPr>
      </p:pic>
      <p:pic>
        <p:nvPicPr>
          <p:cNvPr id="88" name="Graphic 87">
            <a:extLst>
              <a:ext uri="{FF2B5EF4-FFF2-40B4-BE49-F238E27FC236}">
                <a16:creationId xmlns:a16="http://schemas.microsoft.com/office/drawing/2014/main" id="{A48B8308-A8E3-40F8-9349-5D2D1FD80FD4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3"/>
              </a:ext>
            </a:extLst>
          </a:blip>
          <a:stretch>
            <a:fillRect/>
          </a:stretch>
        </p:blipFill>
        <p:spPr>
          <a:xfrm>
            <a:off x="4624298" y="2802786"/>
            <a:ext cx="457200" cy="457200"/>
          </a:xfrm>
          <a:prstGeom prst="rect">
            <a:avLst/>
          </a:prstGeom>
        </p:spPr>
      </p:pic>
      <p:pic>
        <p:nvPicPr>
          <p:cNvPr id="89" name="Graphic 88">
            <a:extLst>
              <a:ext uri="{FF2B5EF4-FFF2-40B4-BE49-F238E27FC236}">
                <a16:creationId xmlns:a16="http://schemas.microsoft.com/office/drawing/2014/main" id="{5F0C7737-2819-4400-8933-3A2C12D38734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5"/>
              </a:ext>
            </a:extLst>
          </a:blip>
          <a:stretch>
            <a:fillRect/>
          </a:stretch>
        </p:blipFill>
        <p:spPr>
          <a:xfrm>
            <a:off x="6267368" y="2802786"/>
            <a:ext cx="457200" cy="457200"/>
          </a:xfrm>
          <a:prstGeom prst="rect">
            <a:avLst/>
          </a:prstGeom>
        </p:spPr>
      </p:pic>
      <p:pic>
        <p:nvPicPr>
          <p:cNvPr id="92" name="Graphic 91">
            <a:extLst>
              <a:ext uri="{FF2B5EF4-FFF2-40B4-BE49-F238E27FC236}">
                <a16:creationId xmlns:a16="http://schemas.microsoft.com/office/drawing/2014/main" id="{A55495D6-1EC3-4B37-B3B0-C414EAD5C0DA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7"/>
              </a:ext>
            </a:extLst>
          </a:blip>
          <a:stretch>
            <a:fillRect/>
          </a:stretch>
        </p:blipFill>
        <p:spPr>
          <a:xfrm>
            <a:off x="5719678" y="2802786"/>
            <a:ext cx="457200" cy="457200"/>
          </a:xfrm>
          <a:prstGeom prst="rect">
            <a:avLst/>
          </a:prstGeom>
        </p:spPr>
      </p:pic>
      <p:pic>
        <p:nvPicPr>
          <p:cNvPr id="93" name="Graphic 92">
            <a:extLst>
              <a:ext uri="{FF2B5EF4-FFF2-40B4-BE49-F238E27FC236}">
                <a16:creationId xmlns:a16="http://schemas.microsoft.com/office/drawing/2014/main" id="{0A00BA9A-A009-4660-9644-BFB21F02331E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9"/>
              </a:ext>
            </a:extLst>
          </a:blip>
          <a:stretch>
            <a:fillRect/>
          </a:stretch>
        </p:blipFill>
        <p:spPr>
          <a:xfrm>
            <a:off x="5171988" y="2802786"/>
            <a:ext cx="457200" cy="457200"/>
          </a:xfrm>
          <a:prstGeom prst="rect">
            <a:avLst/>
          </a:prstGeom>
        </p:spPr>
      </p:pic>
      <p:pic>
        <p:nvPicPr>
          <p:cNvPr id="116" name="Graphic 115">
            <a:extLst>
              <a:ext uri="{FF2B5EF4-FFF2-40B4-BE49-F238E27FC236}">
                <a16:creationId xmlns:a16="http://schemas.microsoft.com/office/drawing/2014/main" id="{7931DF31-AEE1-4DD9-9BEE-0B9039DD5B52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1"/>
              </a:ext>
            </a:extLst>
          </a:blip>
          <a:stretch>
            <a:fillRect/>
          </a:stretch>
        </p:blipFill>
        <p:spPr>
          <a:xfrm>
            <a:off x="6815058" y="2802786"/>
            <a:ext cx="457200" cy="457200"/>
          </a:xfrm>
          <a:prstGeom prst="rect">
            <a:avLst/>
          </a:prstGeom>
        </p:spPr>
      </p:pic>
      <p:pic>
        <p:nvPicPr>
          <p:cNvPr id="117" name="Graphic 116">
            <a:extLst>
              <a:ext uri="{FF2B5EF4-FFF2-40B4-BE49-F238E27FC236}">
                <a16:creationId xmlns:a16="http://schemas.microsoft.com/office/drawing/2014/main" id="{711F94E1-692D-4C43-AA5D-37B7908DB5E0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3"/>
              </a:ext>
            </a:extLst>
          </a:blip>
          <a:stretch>
            <a:fillRect/>
          </a:stretch>
        </p:blipFill>
        <p:spPr>
          <a:xfrm>
            <a:off x="8458131" y="2802786"/>
            <a:ext cx="457200" cy="457200"/>
          </a:xfrm>
          <a:prstGeom prst="rect">
            <a:avLst/>
          </a:prstGeom>
        </p:spPr>
      </p:pic>
      <p:pic>
        <p:nvPicPr>
          <p:cNvPr id="120" name="Graphic 119">
            <a:extLst>
              <a:ext uri="{FF2B5EF4-FFF2-40B4-BE49-F238E27FC236}">
                <a16:creationId xmlns:a16="http://schemas.microsoft.com/office/drawing/2014/main" id="{A43BDC24-3A29-46F3-93A5-6196A2B394DA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5"/>
              </a:ext>
            </a:extLst>
          </a:blip>
          <a:stretch>
            <a:fillRect/>
          </a:stretch>
        </p:blipFill>
        <p:spPr>
          <a:xfrm>
            <a:off x="7910438" y="2802786"/>
            <a:ext cx="457200" cy="457200"/>
          </a:xfrm>
          <a:prstGeom prst="rect">
            <a:avLst/>
          </a:prstGeom>
        </p:spPr>
      </p:pic>
      <p:pic>
        <p:nvPicPr>
          <p:cNvPr id="121" name="Graphic 120">
            <a:extLst>
              <a:ext uri="{FF2B5EF4-FFF2-40B4-BE49-F238E27FC236}">
                <a16:creationId xmlns:a16="http://schemas.microsoft.com/office/drawing/2014/main" id="{52BED0A8-2BE5-46B2-9887-F5759C375E17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7"/>
              </a:ext>
            </a:extLst>
          </a:blip>
          <a:stretch>
            <a:fillRect/>
          </a:stretch>
        </p:blipFill>
        <p:spPr>
          <a:xfrm>
            <a:off x="7362748" y="2802786"/>
            <a:ext cx="457200" cy="4572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F1E3C916-F853-4D30-BB18-A398958C94DC}"/>
              </a:ext>
            </a:extLst>
          </p:cNvPr>
          <p:cNvPicPr>
            <a:picLocks noChangeAspect="1"/>
          </p:cNvPicPr>
          <p:nvPr/>
        </p:nvPicPr>
        <p:blipFill>
          <a:blip r:embed="rId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9"/>
              </a:ext>
            </a:extLst>
          </a:blip>
          <a:stretch>
            <a:fillRect/>
          </a:stretch>
        </p:blipFill>
        <p:spPr>
          <a:xfrm>
            <a:off x="1885755" y="1688534"/>
            <a:ext cx="457200" cy="4572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6C1E7BEA-215F-4BB5-AA66-7F6D2C38F6DC}"/>
              </a:ext>
            </a:extLst>
          </p:cNvPr>
          <p:cNvPicPr>
            <a:picLocks noChangeAspect="1"/>
          </p:cNvPicPr>
          <p:nvPr/>
        </p:nvPicPr>
        <p:blipFill>
          <a:blip r:embed="rId1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1"/>
              </a:ext>
            </a:extLst>
          </a:blip>
          <a:stretch>
            <a:fillRect/>
          </a:stretch>
        </p:blipFill>
        <p:spPr>
          <a:xfrm>
            <a:off x="242778" y="1688534"/>
            <a:ext cx="457200" cy="4572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95843C1B-8FC0-4CD2-AC92-42CA3430FED7}"/>
              </a:ext>
            </a:extLst>
          </p:cNvPr>
          <p:cNvPicPr>
            <a:picLocks noChangeAspect="1"/>
          </p:cNvPicPr>
          <p:nvPr/>
        </p:nvPicPr>
        <p:blipFill>
          <a:blip r:embed="rId1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3"/>
              </a:ext>
            </a:extLst>
          </a:blip>
          <a:stretch>
            <a:fillRect/>
          </a:stretch>
        </p:blipFill>
        <p:spPr>
          <a:xfrm>
            <a:off x="1338096" y="1688534"/>
            <a:ext cx="457200" cy="45720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28118698-FC69-4FB3-B358-9C3EEFBF92E1}"/>
              </a:ext>
            </a:extLst>
          </p:cNvPr>
          <p:cNvPicPr>
            <a:picLocks noChangeAspect="1"/>
          </p:cNvPicPr>
          <p:nvPr/>
        </p:nvPicPr>
        <p:blipFill>
          <a:blip r:embed="rId1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5"/>
              </a:ext>
            </a:extLst>
          </a:blip>
          <a:stretch>
            <a:fillRect/>
          </a:stretch>
        </p:blipFill>
        <p:spPr>
          <a:xfrm>
            <a:off x="790437" y="1688534"/>
            <a:ext cx="457200" cy="4572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DDC739D9-A51E-40D9-923D-31BEFCC33B12}"/>
              </a:ext>
            </a:extLst>
          </p:cNvPr>
          <p:cNvPicPr>
            <a:picLocks noChangeAspect="1"/>
          </p:cNvPicPr>
          <p:nvPr/>
        </p:nvPicPr>
        <p:blipFill>
          <a:blip r:embed="rId1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7"/>
              </a:ext>
            </a:extLst>
          </a:blip>
          <a:stretch>
            <a:fillRect/>
          </a:stretch>
        </p:blipFill>
        <p:spPr>
          <a:xfrm>
            <a:off x="4076391" y="1688534"/>
            <a:ext cx="457200" cy="457200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8A41C085-3A54-4A03-9E61-5F19E7C66642}"/>
              </a:ext>
            </a:extLst>
          </p:cNvPr>
          <p:cNvPicPr>
            <a:picLocks noChangeAspect="1"/>
          </p:cNvPicPr>
          <p:nvPr/>
        </p:nvPicPr>
        <p:blipFill>
          <a:blip r:embed="rId1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9"/>
              </a:ext>
            </a:extLst>
          </a:blip>
          <a:stretch>
            <a:fillRect/>
          </a:stretch>
        </p:blipFill>
        <p:spPr>
          <a:xfrm>
            <a:off x="2433414" y="1688534"/>
            <a:ext cx="457200" cy="457200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FD98C980-0A17-45B6-8267-2F232FC7BB4A}"/>
              </a:ext>
            </a:extLst>
          </p:cNvPr>
          <p:cNvPicPr>
            <a:picLocks noChangeAspect="1"/>
          </p:cNvPicPr>
          <p:nvPr/>
        </p:nvPicPr>
        <p:blipFill>
          <a:blip r:embed="rId1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1"/>
              </a:ext>
            </a:extLst>
          </a:blip>
          <a:stretch>
            <a:fillRect/>
          </a:stretch>
        </p:blipFill>
        <p:spPr>
          <a:xfrm>
            <a:off x="3528732" y="1688534"/>
            <a:ext cx="457200" cy="45720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D8B65750-4366-4CDF-9176-F756675A2013}"/>
              </a:ext>
            </a:extLst>
          </p:cNvPr>
          <p:cNvPicPr>
            <a:picLocks noChangeAspect="1"/>
          </p:cNvPicPr>
          <p:nvPr/>
        </p:nvPicPr>
        <p:blipFill>
          <a:blip r:embed="rId1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3"/>
              </a:ext>
            </a:extLst>
          </a:blip>
          <a:stretch>
            <a:fillRect/>
          </a:stretch>
        </p:blipFill>
        <p:spPr>
          <a:xfrm>
            <a:off x="2981073" y="1688534"/>
            <a:ext cx="457200" cy="457200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D76044AE-F75A-4079-9B74-FE971E5B0F42}"/>
              </a:ext>
            </a:extLst>
          </p:cNvPr>
          <p:cNvPicPr>
            <a:picLocks noChangeAspect="1"/>
          </p:cNvPicPr>
          <p:nvPr/>
        </p:nvPicPr>
        <p:blipFill>
          <a:blip r:embed="rId1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5"/>
              </a:ext>
            </a:extLst>
          </a:blip>
          <a:stretch>
            <a:fillRect/>
          </a:stretch>
        </p:blipFill>
        <p:spPr>
          <a:xfrm>
            <a:off x="6267027" y="1688534"/>
            <a:ext cx="457200" cy="457200"/>
          </a:xfrm>
          <a:prstGeom prst="rect">
            <a:avLst/>
          </a:prstGeom>
        </p:spPr>
      </p:pic>
      <p:pic>
        <p:nvPicPr>
          <p:cNvPr id="83" name="Graphic 82">
            <a:extLst>
              <a:ext uri="{FF2B5EF4-FFF2-40B4-BE49-F238E27FC236}">
                <a16:creationId xmlns:a16="http://schemas.microsoft.com/office/drawing/2014/main" id="{1E993F56-535D-4F93-9747-68FA2FCB23F8}"/>
              </a:ext>
            </a:extLst>
          </p:cNvPr>
          <p:cNvPicPr>
            <a:picLocks noChangeAspect="1"/>
          </p:cNvPicPr>
          <p:nvPr/>
        </p:nvPicPr>
        <p:blipFill>
          <a:blip r:embed="rId1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7"/>
              </a:ext>
            </a:extLst>
          </a:blip>
          <a:stretch>
            <a:fillRect/>
          </a:stretch>
        </p:blipFill>
        <p:spPr>
          <a:xfrm>
            <a:off x="4624050" y="1688534"/>
            <a:ext cx="457200" cy="457200"/>
          </a:xfrm>
          <a:prstGeom prst="rect">
            <a:avLst/>
          </a:prstGeom>
        </p:spPr>
      </p:pic>
      <p:pic>
        <p:nvPicPr>
          <p:cNvPr id="86" name="Graphic 85">
            <a:extLst>
              <a:ext uri="{FF2B5EF4-FFF2-40B4-BE49-F238E27FC236}">
                <a16:creationId xmlns:a16="http://schemas.microsoft.com/office/drawing/2014/main" id="{1EC96F16-622C-4AEA-B950-228AA2ACA33F}"/>
              </a:ext>
            </a:extLst>
          </p:cNvPr>
          <p:cNvPicPr>
            <a:picLocks noChangeAspect="1"/>
          </p:cNvPicPr>
          <p:nvPr/>
        </p:nvPicPr>
        <p:blipFill>
          <a:blip r:embed="rId1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9"/>
              </a:ext>
            </a:extLst>
          </a:blip>
          <a:stretch>
            <a:fillRect/>
          </a:stretch>
        </p:blipFill>
        <p:spPr>
          <a:xfrm>
            <a:off x="5719368" y="1688534"/>
            <a:ext cx="457200" cy="457200"/>
          </a:xfrm>
          <a:prstGeom prst="rect">
            <a:avLst/>
          </a:prstGeom>
        </p:spPr>
      </p:pic>
      <p:pic>
        <p:nvPicPr>
          <p:cNvPr id="95" name="Graphic 94">
            <a:extLst>
              <a:ext uri="{FF2B5EF4-FFF2-40B4-BE49-F238E27FC236}">
                <a16:creationId xmlns:a16="http://schemas.microsoft.com/office/drawing/2014/main" id="{CBC61095-4F07-4235-965D-2A76284421DF}"/>
              </a:ext>
            </a:extLst>
          </p:cNvPr>
          <p:cNvPicPr>
            <a:picLocks noChangeAspect="1"/>
          </p:cNvPicPr>
          <p:nvPr/>
        </p:nvPicPr>
        <p:blipFill>
          <a:blip r:embed="rId1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1"/>
              </a:ext>
            </a:extLst>
          </a:blip>
          <a:stretch>
            <a:fillRect/>
          </a:stretch>
        </p:blipFill>
        <p:spPr>
          <a:xfrm>
            <a:off x="5171709" y="1688534"/>
            <a:ext cx="457200" cy="457200"/>
          </a:xfrm>
          <a:prstGeom prst="rect">
            <a:avLst/>
          </a:prstGeom>
        </p:spPr>
      </p:pic>
      <p:pic>
        <p:nvPicPr>
          <p:cNvPr id="101" name="Graphic 100">
            <a:extLst>
              <a:ext uri="{FF2B5EF4-FFF2-40B4-BE49-F238E27FC236}">
                <a16:creationId xmlns:a16="http://schemas.microsoft.com/office/drawing/2014/main" id="{062853CE-F416-430D-8E9C-666EDA86194C}"/>
              </a:ext>
            </a:extLst>
          </p:cNvPr>
          <p:cNvPicPr>
            <a:picLocks noChangeAspect="1"/>
          </p:cNvPicPr>
          <p:nvPr/>
        </p:nvPicPr>
        <p:blipFill>
          <a:blip r:embed="rId1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3"/>
              </a:ext>
            </a:extLst>
          </a:blip>
          <a:stretch>
            <a:fillRect/>
          </a:stretch>
        </p:blipFill>
        <p:spPr>
          <a:xfrm>
            <a:off x="8458131" y="1688534"/>
            <a:ext cx="457200" cy="457200"/>
          </a:xfrm>
          <a:prstGeom prst="rect">
            <a:avLst/>
          </a:prstGeom>
        </p:spPr>
      </p:pic>
      <p:pic>
        <p:nvPicPr>
          <p:cNvPr id="111" name="Graphic 110">
            <a:extLst>
              <a:ext uri="{FF2B5EF4-FFF2-40B4-BE49-F238E27FC236}">
                <a16:creationId xmlns:a16="http://schemas.microsoft.com/office/drawing/2014/main" id="{FFB2C317-B294-4FCE-A1EB-29FDFFE91CBE}"/>
              </a:ext>
            </a:extLst>
          </p:cNvPr>
          <p:cNvPicPr>
            <a:picLocks noChangeAspect="1"/>
          </p:cNvPicPr>
          <p:nvPr/>
        </p:nvPicPr>
        <p:blipFill>
          <a:blip r:embed="rId1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5"/>
              </a:ext>
            </a:extLst>
          </a:blip>
          <a:stretch>
            <a:fillRect/>
          </a:stretch>
        </p:blipFill>
        <p:spPr>
          <a:xfrm>
            <a:off x="6814686" y="1688534"/>
            <a:ext cx="457200" cy="457200"/>
          </a:xfrm>
          <a:prstGeom prst="rect">
            <a:avLst/>
          </a:prstGeom>
        </p:spPr>
      </p:pic>
      <p:pic>
        <p:nvPicPr>
          <p:cNvPr id="114" name="Graphic 113">
            <a:extLst>
              <a:ext uri="{FF2B5EF4-FFF2-40B4-BE49-F238E27FC236}">
                <a16:creationId xmlns:a16="http://schemas.microsoft.com/office/drawing/2014/main" id="{7F94BC1A-3F93-4E2D-BF2D-99B10EBE9B82}"/>
              </a:ext>
            </a:extLst>
          </p:cNvPr>
          <p:cNvPicPr>
            <a:picLocks noChangeAspect="1"/>
          </p:cNvPicPr>
          <p:nvPr/>
        </p:nvPicPr>
        <p:blipFill>
          <a:blip r:embed="rId1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7"/>
              </a:ext>
            </a:extLst>
          </a:blip>
          <a:stretch>
            <a:fillRect/>
          </a:stretch>
        </p:blipFill>
        <p:spPr>
          <a:xfrm>
            <a:off x="7910004" y="1688534"/>
            <a:ext cx="457200" cy="457200"/>
          </a:xfrm>
          <a:prstGeom prst="rect">
            <a:avLst/>
          </a:prstGeom>
        </p:spPr>
      </p:pic>
      <p:pic>
        <p:nvPicPr>
          <p:cNvPr id="123" name="Graphic 122">
            <a:extLst>
              <a:ext uri="{FF2B5EF4-FFF2-40B4-BE49-F238E27FC236}">
                <a16:creationId xmlns:a16="http://schemas.microsoft.com/office/drawing/2014/main" id="{5EF758AB-4632-4106-BBBA-D25DB1276DB9}"/>
              </a:ext>
            </a:extLst>
          </p:cNvPr>
          <p:cNvPicPr>
            <a:picLocks noChangeAspect="1"/>
          </p:cNvPicPr>
          <p:nvPr/>
        </p:nvPicPr>
        <p:blipFill>
          <a:blip r:embed="rId1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9"/>
              </a:ext>
            </a:extLst>
          </a:blip>
          <a:stretch>
            <a:fillRect/>
          </a:stretch>
        </p:blipFill>
        <p:spPr>
          <a:xfrm>
            <a:off x="7362345" y="1688534"/>
            <a:ext cx="457200" cy="4572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19A3B0FC-AA43-452B-9BFA-7648A6332D08}"/>
              </a:ext>
            </a:extLst>
          </p:cNvPr>
          <p:cNvPicPr>
            <a:picLocks noChangeAspect="1"/>
          </p:cNvPicPr>
          <p:nvPr/>
        </p:nvPicPr>
        <p:blipFill>
          <a:blip r:embed="rId1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1"/>
              </a:ext>
            </a:extLst>
          </a:blip>
          <a:stretch>
            <a:fillRect/>
          </a:stretch>
        </p:blipFill>
        <p:spPr>
          <a:xfrm>
            <a:off x="1885848" y="3359912"/>
            <a:ext cx="457200" cy="45720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A7D1C888-E4C6-4D03-AFB5-E6B3DC1A06F3}"/>
              </a:ext>
            </a:extLst>
          </p:cNvPr>
          <p:cNvPicPr>
            <a:picLocks noChangeAspect="1"/>
          </p:cNvPicPr>
          <p:nvPr/>
        </p:nvPicPr>
        <p:blipFill>
          <a:blip r:embed="rId1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3"/>
              </a:ext>
            </a:extLst>
          </a:blip>
          <a:stretch>
            <a:fillRect/>
          </a:stretch>
        </p:blipFill>
        <p:spPr>
          <a:xfrm>
            <a:off x="790468" y="3359912"/>
            <a:ext cx="457200" cy="4572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9EBC7030-90AC-4C60-BAE7-734277E2B1E3}"/>
              </a:ext>
            </a:extLst>
          </p:cNvPr>
          <p:cNvPicPr>
            <a:picLocks noChangeAspect="1"/>
          </p:cNvPicPr>
          <p:nvPr/>
        </p:nvPicPr>
        <p:blipFill>
          <a:blip r:embed="rId1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5"/>
              </a:ext>
            </a:extLst>
          </a:blip>
          <a:stretch>
            <a:fillRect/>
          </a:stretch>
        </p:blipFill>
        <p:spPr>
          <a:xfrm>
            <a:off x="242778" y="3359912"/>
            <a:ext cx="457200" cy="457200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45DA4FB5-05B8-4BB0-BC3E-F7916BC65944}"/>
              </a:ext>
            </a:extLst>
          </p:cNvPr>
          <p:cNvPicPr>
            <a:picLocks noChangeAspect="1"/>
          </p:cNvPicPr>
          <p:nvPr/>
        </p:nvPicPr>
        <p:blipFill>
          <a:blip r:embed="rId1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7"/>
              </a:ext>
            </a:extLst>
          </a:blip>
          <a:stretch>
            <a:fillRect/>
          </a:stretch>
        </p:blipFill>
        <p:spPr>
          <a:xfrm>
            <a:off x="1338158" y="3359912"/>
            <a:ext cx="457200" cy="45720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D47A3003-E051-45F2-8275-8E15072992DB}"/>
              </a:ext>
            </a:extLst>
          </p:cNvPr>
          <p:cNvPicPr>
            <a:picLocks noChangeAspect="1"/>
          </p:cNvPicPr>
          <p:nvPr/>
        </p:nvPicPr>
        <p:blipFill>
          <a:blip r:embed="rId1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9"/>
              </a:ext>
            </a:extLst>
          </a:blip>
          <a:stretch>
            <a:fillRect/>
          </a:stretch>
        </p:blipFill>
        <p:spPr>
          <a:xfrm>
            <a:off x="4076608" y="3359912"/>
            <a:ext cx="457200" cy="4572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40EBE4A0-DECE-4054-8A97-E15C3E63430E}"/>
              </a:ext>
            </a:extLst>
          </p:cNvPr>
          <p:cNvPicPr>
            <a:picLocks noChangeAspect="1"/>
          </p:cNvPicPr>
          <p:nvPr/>
        </p:nvPicPr>
        <p:blipFill>
          <a:blip r:embed="rId1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1"/>
              </a:ext>
            </a:extLst>
          </a:blip>
          <a:stretch>
            <a:fillRect/>
          </a:stretch>
        </p:blipFill>
        <p:spPr>
          <a:xfrm>
            <a:off x="2981228" y="3359912"/>
            <a:ext cx="457200" cy="457200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026FA004-87B1-43AB-8101-3686F5A8F87E}"/>
              </a:ext>
            </a:extLst>
          </p:cNvPr>
          <p:cNvPicPr>
            <a:picLocks noChangeAspect="1"/>
          </p:cNvPicPr>
          <p:nvPr/>
        </p:nvPicPr>
        <p:blipFill>
          <a:blip r:embed="rId1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3"/>
              </a:ext>
            </a:extLst>
          </a:blip>
          <a:stretch>
            <a:fillRect/>
          </a:stretch>
        </p:blipFill>
        <p:spPr>
          <a:xfrm>
            <a:off x="2433538" y="3359912"/>
            <a:ext cx="457200" cy="457200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5455AC7D-E002-42C9-AF71-1BE2364FEF27}"/>
              </a:ext>
            </a:extLst>
          </p:cNvPr>
          <p:cNvPicPr>
            <a:picLocks noChangeAspect="1"/>
          </p:cNvPicPr>
          <p:nvPr/>
        </p:nvPicPr>
        <p:blipFill>
          <a:blip r:embed="rId1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5"/>
              </a:ext>
            </a:extLst>
          </a:blip>
          <a:stretch>
            <a:fillRect/>
          </a:stretch>
        </p:blipFill>
        <p:spPr>
          <a:xfrm>
            <a:off x="3528918" y="3359912"/>
            <a:ext cx="457200" cy="457200"/>
          </a:xfrm>
          <a:prstGeom prst="rect">
            <a:avLst/>
          </a:pr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AFC700BC-F4DF-441E-8729-1DA36E1859D7}"/>
              </a:ext>
            </a:extLst>
          </p:cNvPr>
          <p:cNvPicPr>
            <a:picLocks noChangeAspect="1"/>
          </p:cNvPicPr>
          <p:nvPr/>
        </p:nvPicPr>
        <p:blipFill>
          <a:blip r:embed="rId1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7"/>
              </a:ext>
            </a:extLst>
          </a:blip>
          <a:stretch>
            <a:fillRect/>
          </a:stretch>
        </p:blipFill>
        <p:spPr>
          <a:xfrm>
            <a:off x="6267368" y="3359912"/>
            <a:ext cx="457200" cy="457200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13B62487-EDA8-4543-85BB-967CEB9CED75}"/>
              </a:ext>
            </a:extLst>
          </p:cNvPr>
          <p:cNvPicPr>
            <a:picLocks noChangeAspect="1"/>
          </p:cNvPicPr>
          <p:nvPr/>
        </p:nvPicPr>
        <p:blipFill>
          <a:blip r:embed="rId1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9"/>
              </a:ext>
            </a:extLst>
          </a:blip>
          <a:stretch>
            <a:fillRect/>
          </a:stretch>
        </p:blipFill>
        <p:spPr>
          <a:xfrm>
            <a:off x="5171988" y="3359912"/>
            <a:ext cx="457200" cy="457200"/>
          </a:xfrm>
          <a:prstGeom prst="rect">
            <a:avLst/>
          </a:prstGeom>
        </p:spPr>
      </p:pic>
      <p:pic>
        <p:nvPicPr>
          <p:cNvPr id="94" name="Graphic 93">
            <a:extLst>
              <a:ext uri="{FF2B5EF4-FFF2-40B4-BE49-F238E27FC236}">
                <a16:creationId xmlns:a16="http://schemas.microsoft.com/office/drawing/2014/main" id="{DB7E23DF-2E4C-4B4C-BD72-08F587A07C57}"/>
              </a:ext>
            </a:extLst>
          </p:cNvPr>
          <p:cNvPicPr>
            <a:picLocks noChangeAspect="1"/>
          </p:cNvPicPr>
          <p:nvPr/>
        </p:nvPicPr>
        <p:blipFill>
          <a:blip r:embed="rId1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1"/>
              </a:ext>
            </a:extLst>
          </a:blip>
          <a:stretch>
            <a:fillRect/>
          </a:stretch>
        </p:blipFill>
        <p:spPr>
          <a:xfrm>
            <a:off x="4624298" y="3359912"/>
            <a:ext cx="457200" cy="457200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5CC074E0-E121-47F1-A5AD-A72F9BA7CC31}"/>
              </a:ext>
            </a:extLst>
          </p:cNvPr>
          <p:cNvPicPr>
            <a:picLocks noChangeAspect="1"/>
          </p:cNvPicPr>
          <p:nvPr/>
        </p:nvPicPr>
        <p:blipFill>
          <a:blip r:embed="rId1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3"/>
              </a:ext>
            </a:extLst>
          </a:blip>
          <a:stretch>
            <a:fillRect/>
          </a:stretch>
        </p:blipFill>
        <p:spPr>
          <a:xfrm>
            <a:off x="5719678" y="3359912"/>
            <a:ext cx="457200" cy="457200"/>
          </a:xfrm>
          <a:prstGeom prst="rect">
            <a:avLst/>
          </a:prstGeom>
        </p:spPr>
      </p:pic>
      <p:pic>
        <p:nvPicPr>
          <p:cNvPr id="105" name="Graphic 104">
            <a:extLst>
              <a:ext uri="{FF2B5EF4-FFF2-40B4-BE49-F238E27FC236}">
                <a16:creationId xmlns:a16="http://schemas.microsoft.com/office/drawing/2014/main" id="{E456CD7F-315A-44DF-834A-3C244EFA0B1D}"/>
              </a:ext>
            </a:extLst>
          </p:cNvPr>
          <p:cNvPicPr>
            <a:picLocks noChangeAspect="1"/>
          </p:cNvPicPr>
          <p:nvPr/>
        </p:nvPicPr>
        <p:blipFill>
          <a:blip r:embed="rId1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5"/>
              </a:ext>
            </a:extLst>
          </a:blip>
          <a:stretch>
            <a:fillRect/>
          </a:stretch>
        </p:blipFill>
        <p:spPr>
          <a:xfrm>
            <a:off x="8458131" y="3359912"/>
            <a:ext cx="457200" cy="457200"/>
          </a:xfrm>
          <a:prstGeom prst="rect">
            <a:avLst/>
          </a:prstGeom>
        </p:spPr>
      </p:pic>
      <p:pic>
        <p:nvPicPr>
          <p:cNvPr id="110" name="Graphic 109">
            <a:extLst>
              <a:ext uri="{FF2B5EF4-FFF2-40B4-BE49-F238E27FC236}">
                <a16:creationId xmlns:a16="http://schemas.microsoft.com/office/drawing/2014/main" id="{13D4FC53-35FA-486C-B2B1-91A5FA284CC6}"/>
              </a:ext>
            </a:extLst>
          </p:cNvPr>
          <p:cNvPicPr>
            <a:picLocks noChangeAspect="1"/>
          </p:cNvPicPr>
          <p:nvPr/>
        </p:nvPicPr>
        <p:blipFill>
          <a:blip r:embed="rId1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7"/>
              </a:ext>
            </a:extLst>
          </a:blip>
          <a:stretch>
            <a:fillRect/>
          </a:stretch>
        </p:blipFill>
        <p:spPr>
          <a:xfrm>
            <a:off x="7362748" y="3359912"/>
            <a:ext cx="457200" cy="457200"/>
          </a:xfrm>
          <a:prstGeom prst="rect">
            <a:avLst/>
          </a:prstGeom>
        </p:spPr>
      </p:pic>
      <p:pic>
        <p:nvPicPr>
          <p:cNvPr id="122" name="Graphic 121">
            <a:extLst>
              <a:ext uri="{FF2B5EF4-FFF2-40B4-BE49-F238E27FC236}">
                <a16:creationId xmlns:a16="http://schemas.microsoft.com/office/drawing/2014/main" id="{C713C9AA-E9A2-4034-BC5F-F1275689C922}"/>
              </a:ext>
            </a:extLst>
          </p:cNvPr>
          <p:cNvPicPr>
            <a:picLocks noChangeAspect="1"/>
          </p:cNvPicPr>
          <p:nvPr/>
        </p:nvPicPr>
        <p:blipFill>
          <a:blip r:embed="rId1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9"/>
              </a:ext>
            </a:extLst>
          </a:blip>
          <a:stretch>
            <a:fillRect/>
          </a:stretch>
        </p:blipFill>
        <p:spPr>
          <a:xfrm>
            <a:off x="6815058" y="3359912"/>
            <a:ext cx="457200" cy="457200"/>
          </a:xfrm>
          <a:prstGeom prst="rect">
            <a:avLst/>
          </a:prstGeom>
        </p:spPr>
      </p:pic>
      <p:pic>
        <p:nvPicPr>
          <p:cNvPr id="124" name="Graphic 123">
            <a:extLst>
              <a:ext uri="{FF2B5EF4-FFF2-40B4-BE49-F238E27FC236}">
                <a16:creationId xmlns:a16="http://schemas.microsoft.com/office/drawing/2014/main" id="{127BFC6E-7E7C-435B-BC4D-811AB8C8097D}"/>
              </a:ext>
            </a:extLst>
          </p:cNvPr>
          <p:cNvPicPr>
            <a:picLocks noChangeAspect="1"/>
          </p:cNvPicPr>
          <p:nvPr/>
        </p:nvPicPr>
        <p:blipFill>
          <a:blip r:embed="rId1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1"/>
              </a:ext>
            </a:extLst>
          </a:blip>
          <a:stretch>
            <a:fillRect/>
          </a:stretch>
        </p:blipFill>
        <p:spPr>
          <a:xfrm>
            <a:off x="7910438" y="3359912"/>
            <a:ext cx="457200" cy="45720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F99D9799-8127-4D72-8D69-C909DF27F2EF}"/>
              </a:ext>
            </a:extLst>
          </p:cNvPr>
          <p:cNvPicPr>
            <a:picLocks noChangeAspect="1"/>
          </p:cNvPicPr>
          <p:nvPr/>
        </p:nvPicPr>
        <p:blipFill>
          <a:blip r:embed="rId1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3"/>
              </a:ext>
            </a:extLst>
          </a:blip>
          <a:stretch>
            <a:fillRect/>
          </a:stretch>
        </p:blipFill>
        <p:spPr>
          <a:xfrm>
            <a:off x="1885848" y="2245660"/>
            <a:ext cx="457200" cy="4572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20823D23-0E29-4A1E-9A02-E5178EB44226}"/>
              </a:ext>
            </a:extLst>
          </p:cNvPr>
          <p:cNvPicPr>
            <a:picLocks noChangeAspect="1"/>
          </p:cNvPicPr>
          <p:nvPr/>
        </p:nvPicPr>
        <p:blipFill>
          <a:blip r:embed="rId1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5"/>
              </a:ext>
            </a:extLst>
          </a:blip>
          <a:stretch>
            <a:fillRect/>
          </a:stretch>
        </p:blipFill>
        <p:spPr>
          <a:xfrm>
            <a:off x="242778" y="2245660"/>
            <a:ext cx="457200" cy="45720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DD63F896-E5BF-4323-8E08-3ECDB8039A9D}"/>
              </a:ext>
            </a:extLst>
          </p:cNvPr>
          <p:cNvPicPr>
            <a:picLocks noChangeAspect="1"/>
          </p:cNvPicPr>
          <p:nvPr/>
        </p:nvPicPr>
        <p:blipFill>
          <a:blip r:embed="rId1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7"/>
              </a:ext>
            </a:extLst>
          </a:blip>
          <a:stretch>
            <a:fillRect/>
          </a:stretch>
        </p:blipFill>
        <p:spPr>
          <a:xfrm>
            <a:off x="790468" y="2245660"/>
            <a:ext cx="457200" cy="4572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F7393CB2-195F-4781-8F3D-BA02271E87A5}"/>
              </a:ext>
            </a:extLst>
          </p:cNvPr>
          <p:cNvPicPr>
            <a:picLocks noChangeAspect="1"/>
          </p:cNvPicPr>
          <p:nvPr/>
        </p:nvPicPr>
        <p:blipFill>
          <a:blip r:embed="rId1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9"/>
              </a:ext>
            </a:extLst>
          </a:blip>
          <a:stretch>
            <a:fillRect/>
          </a:stretch>
        </p:blipFill>
        <p:spPr>
          <a:xfrm>
            <a:off x="1338158" y="2245660"/>
            <a:ext cx="457200" cy="457200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3502E1B3-CD50-4459-98A4-63AD3B1F0F56}"/>
              </a:ext>
            </a:extLst>
          </p:cNvPr>
          <p:cNvPicPr>
            <a:picLocks noChangeAspect="1"/>
          </p:cNvPicPr>
          <p:nvPr/>
        </p:nvPicPr>
        <p:blipFill>
          <a:blip r:embed="rId1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1"/>
              </a:ext>
            </a:extLst>
          </a:blip>
          <a:stretch>
            <a:fillRect/>
          </a:stretch>
        </p:blipFill>
        <p:spPr>
          <a:xfrm>
            <a:off x="4076608" y="2245660"/>
            <a:ext cx="457200" cy="457200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28456BC7-8567-447F-B147-5134A3627E61}"/>
              </a:ext>
            </a:extLst>
          </p:cNvPr>
          <p:cNvPicPr>
            <a:picLocks noChangeAspect="1"/>
          </p:cNvPicPr>
          <p:nvPr/>
        </p:nvPicPr>
        <p:blipFill>
          <a:blip r:embed="rId1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3"/>
              </a:ext>
            </a:extLst>
          </a:blip>
          <a:stretch>
            <a:fillRect/>
          </a:stretch>
        </p:blipFill>
        <p:spPr>
          <a:xfrm>
            <a:off x="2433538" y="2245660"/>
            <a:ext cx="457200" cy="457200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F9C5440F-12FC-4E61-A478-BF2336C60CF5}"/>
              </a:ext>
            </a:extLst>
          </p:cNvPr>
          <p:cNvPicPr>
            <a:picLocks noChangeAspect="1"/>
          </p:cNvPicPr>
          <p:nvPr/>
        </p:nvPicPr>
        <p:blipFill>
          <a:blip r:embed="rId1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5"/>
              </a:ext>
            </a:extLst>
          </a:blip>
          <a:stretch>
            <a:fillRect/>
          </a:stretch>
        </p:blipFill>
        <p:spPr>
          <a:xfrm>
            <a:off x="2981228" y="2245660"/>
            <a:ext cx="457200" cy="45720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9A35803C-4836-4395-95C3-C6FAB237B509}"/>
              </a:ext>
            </a:extLst>
          </p:cNvPr>
          <p:cNvPicPr>
            <a:picLocks noChangeAspect="1"/>
          </p:cNvPicPr>
          <p:nvPr/>
        </p:nvPicPr>
        <p:blipFill>
          <a:blip r:embed="rId1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7"/>
              </a:ext>
            </a:extLst>
          </a:blip>
          <a:stretch>
            <a:fillRect/>
          </a:stretch>
        </p:blipFill>
        <p:spPr>
          <a:xfrm>
            <a:off x="3528918" y="2245660"/>
            <a:ext cx="457200" cy="457200"/>
          </a:xfrm>
          <a:prstGeom prst="rect">
            <a:avLst/>
          </a:prstGeom>
        </p:spPr>
      </p:pic>
      <p:pic>
        <p:nvPicPr>
          <p:cNvPr id="84" name="Graphic 83">
            <a:extLst>
              <a:ext uri="{FF2B5EF4-FFF2-40B4-BE49-F238E27FC236}">
                <a16:creationId xmlns:a16="http://schemas.microsoft.com/office/drawing/2014/main" id="{9311D960-A695-40DB-BDAA-0F38EEC29B52}"/>
              </a:ext>
            </a:extLst>
          </p:cNvPr>
          <p:cNvPicPr>
            <a:picLocks noChangeAspect="1"/>
          </p:cNvPicPr>
          <p:nvPr/>
        </p:nvPicPr>
        <p:blipFill>
          <a:blip r:embed="rId1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9"/>
              </a:ext>
            </a:extLst>
          </a:blip>
          <a:stretch>
            <a:fillRect/>
          </a:stretch>
        </p:blipFill>
        <p:spPr>
          <a:xfrm>
            <a:off x="6267368" y="2245660"/>
            <a:ext cx="457200" cy="457200"/>
          </a:xfrm>
          <a:prstGeom prst="rect">
            <a:avLst/>
          </a:prstGeom>
        </p:spPr>
      </p:pic>
      <p:pic>
        <p:nvPicPr>
          <p:cNvPr id="90" name="Graphic 89">
            <a:extLst>
              <a:ext uri="{FF2B5EF4-FFF2-40B4-BE49-F238E27FC236}">
                <a16:creationId xmlns:a16="http://schemas.microsoft.com/office/drawing/2014/main" id="{E5E1C9DB-744B-4149-BFBE-528745944071}"/>
              </a:ext>
            </a:extLst>
          </p:cNvPr>
          <p:cNvPicPr>
            <a:picLocks noChangeAspect="1"/>
          </p:cNvPicPr>
          <p:nvPr/>
        </p:nvPicPr>
        <p:blipFill>
          <a:blip r:embed="rId1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1"/>
              </a:ext>
            </a:extLst>
          </a:blip>
          <a:stretch>
            <a:fillRect/>
          </a:stretch>
        </p:blipFill>
        <p:spPr>
          <a:xfrm>
            <a:off x="4624298" y="2245660"/>
            <a:ext cx="457200" cy="457200"/>
          </a:xfrm>
          <a:prstGeom prst="rect">
            <a:avLst/>
          </a:prstGeom>
        </p:spPr>
      </p:pic>
      <p:pic>
        <p:nvPicPr>
          <p:cNvPr id="91" name="Graphic 90">
            <a:extLst>
              <a:ext uri="{FF2B5EF4-FFF2-40B4-BE49-F238E27FC236}">
                <a16:creationId xmlns:a16="http://schemas.microsoft.com/office/drawing/2014/main" id="{9CC40E8D-A3FF-460C-99F6-86AFF37BAF73}"/>
              </a:ext>
            </a:extLst>
          </p:cNvPr>
          <p:cNvPicPr>
            <a:picLocks noChangeAspect="1"/>
          </p:cNvPicPr>
          <p:nvPr/>
        </p:nvPicPr>
        <p:blipFill>
          <a:blip r:embed="rId1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3"/>
              </a:ext>
            </a:extLst>
          </a:blip>
          <a:stretch>
            <a:fillRect/>
          </a:stretch>
        </p:blipFill>
        <p:spPr>
          <a:xfrm>
            <a:off x="5171988" y="2245660"/>
            <a:ext cx="457200" cy="457200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56ABAA8A-3D85-4BCB-9271-C7B9C78CF8AC}"/>
              </a:ext>
            </a:extLst>
          </p:cNvPr>
          <p:cNvPicPr>
            <a:picLocks noChangeAspect="1"/>
          </p:cNvPicPr>
          <p:nvPr/>
        </p:nvPicPr>
        <p:blipFill>
          <a:blip r:embed="rId1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5"/>
              </a:ext>
            </a:extLst>
          </a:blip>
          <a:stretch>
            <a:fillRect/>
          </a:stretch>
        </p:blipFill>
        <p:spPr>
          <a:xfrm>
            <a:off x="5719678" y="2245660"/>
            <a:ext cx="457200" cy="457200"/>
          </a:xfrm>
          <a:prstGeom prst="rect">
            <a:avLst/>
          </a:prstGeom>
        </p:spPr>
      </p:pic>
      <p:pic>
        <p:nvPicPr>
          <p:cNvPr id="112" name="Graphic 111">
            <a:extLst>
              <a:ext uri="{FF2B5EF4-FFF2-40B4-BE49-F238E27FC236}">
                <a16:creationId xmlns:a16="http://schemas.microsoft.com/office/drawing/2014/main" id="{F42D4365-D811-4B1C-A697-292A32FD5AD4}"/>
              </a:ext>
            </a:extLst>
          </p:cNvPr>
          <p:cNvPicPr>
            <a:picLocks noChangeAspect="1"/>
          </p:cNvPicPr>
          <p:nvPr/>
        </p:nvPicPr>
        <p:blipFill>
          <a:blip r:embed="rId1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7"/>
              </a:ext>
            </a:extLst>
          </a:blip>
          <a:stretch>
            <a:fillRect/>
          </a:stretch>
        </p:blipFill>
        <p:spPr>
          <a:xfrm>
            <a:off x="8458131" y="2245660"/>
            <a:ext cx="457200" cy="457200"/>
          </a:xfrm>
          <a:prstGeom prst="rect">
            <a:avLst/>
          </a:prstGeom>
        </p:spPr>
      </p:pic>
      <p:pic>
        <p:nvPicPr>
          <p:cNvPr id="118" name="Graphic 117">
            <a:extLst>
              <a:ext uri="{FF2B5EF4-FFF2-40B4-BE49-F238E27FC236}">
                <a16:creationId xmlns:a16="http://schemas.microsoft.com/office/drawing/2014/main" id="{0E1525B2-8DF0-4FFB-9241-1B53AE897320}"/>
              </a:ext>
            </a:extLst>
          </p:cNvPr>
          <p:cNvPicPr>
            <a:picLocks noChangeAspect="1"/>
          </p:cNvPicPr>
          <p:nvPr/>
        </p:nvPicPr>
        <p:blipFill>
          <a:blip r:embed="rId1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9"/>
              </a:ext>
            </a:extLst>
          </a:blip>
          <a:stretch>
            <a:fillRect/>
          </a:stretch>
        </p:blipFill>
        <p:spPr>
          <a:xfrm>
            <a:off x="6815058" y="2245660"/>
            <a:ext cx="457200" cy="457200"/>
          </a:xfrm>
          <a:prstGeom prst="rect">
            <a:avLst/>
          </a:prstGeom>
        </p:spPr>
      </p:pic>
      <p:pic>
        <p:nvPicPr>
          <p:cNvPr id="119" name="Graphic 118">
            <a:extLst>
              <a:ext uri="{FF2B5EF4-FFF2-40B4-BE49-F238E27FC236}">
                <a16:creationId xmlns:a16="http://schemas.microsoft.com/office/drawing/2014/main" id="{C20A4BD6-D813-4940-B55B-D4E04AB15D75}"/>
              </a:ext>
            </a:extLst>
          </p:cNvPr>
          <p:cNvPicPr>
            <a:picLocks noChangeAspect="1"/>
          </p:cNvPicPr>
          <p:nvPr/>
        </p:nvPicPr>
        <p:blipFill>
          <a:blip r:embed="rId1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1"/>
              </a:ext>
            </a:extLst>
          </a:blip>
          <a:stretch>
            <a:fillRect/>
          </a:stretch>
        </p:blipFill>
        <p:spPr>
          <a:xfrm>
            <a:off x="7362748" y="2245660"/>
            <a:ext cx="457200" cy="457200"/>
          </a:xfrm>
          <a:prstGeom prst="rect">
            <a:avLst/>
          </a:prstGeom>
        </p:spPr>
      </p:pic>
      <p:pic>
        <p:nvPicPr>
          <p:cNvPr id="126" name="Graphic 125">
            <a:extLst>
              <a:ext uri="{FF2B5EF4-FFF2-40B4-BE49-F238E27FC236}">
                <a16:creationId xmlns:a16="http://schemas.microsoft.com/office/drawing/2014/main" id="{5FE714E2-0FCF-4F16-B82B-7D0F6FDC9CA6}"/>
              </a:ext>
            </a:extLst>
          </p:cNvPr>
          <p:cNvPicPr>
            <a:picLocks noChangeAspect="1"/>
          </p:cNvPicPr>
          <p:nvPr/>
        </p:nvPicPr>
        <p:blipFill>
          <a:blip r:embed="rId1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3"/>
              </a:ext>
            </a:extLst>
          </a:blip>
          <a:stretch>
            <a:fillRect/>
          </a:stretch>
        </p:blipFill>
        <p:spPr>
          <a:xfrm>
            <a:off x="7910438" y="2245660"/>
            <a:ext cx="457200" cy="457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58A40F4F-7F1E-4869-A6AA-3DE1F3C342D6}"/>
              </a:ext>
            </a:extLst>
          </p:cNvPr>
          <p:cNvPicPr>
            <a:picLocks noChangeAspect="1"/>
          </p:cNvPicPr>
          <p:nvPr/>
        </p:nvPicPr>
        <p:blipFill>
          <a:blip r:embed="rId1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5"/>
              </a:ext>
            </a:extLst>
          </a:blip>
          <a:stretch>
            <a:fillRect/>
          </a:stretch>
        </p:blipFill>
        <p:spPr>
          <a:xfrm>
            <a:off x="242778" y="1131408"/>
            <a:ext cx="457200" cy="457200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8A3EC7BE-907D-421A-9307-144506AFB22C}"/>
              </a:ext>
            </a:extLst>
          </p:cNvPr>
          <p:cNvPicPr>
            <a:picLocks noChangeAspect="1"/>
          </p:cNvPicPr>
          <p:nvPr/>
        </p:nvPicPr>
        <p:blipFill>
          <a:blip r:embed="rId1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7"/>
              </a:ext>
            </a:extLst>
          </a:blip>
          <a:stretch>
            <a:fillRect/>
          </a:stretch>
        </p:blipFill>
        <p:spPr>
          <a:xfrm>
            <a:off x="793314" y="1131408"/>
            <a:ext cx="457200" cy="457200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9FAD61E7-D1C3-4468-A456-33FF95C07EB2}"/>
              </a:ext>
            </a:extLst>
          </p:cNvPr>
          <p:cNvPicPr>
            <a:picLocks noChangeAspect="1"/>
          </p:cNvPicPr>
          <p:nvPr/>
        </p:nvPicPr>
        <p:blipFill>
          <a:blip r:embed="rId1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9"/>
              </a:ext>
            </a:extLst>
          </a:blip>
          <a:stretch>
            <a:fillRect/>
          </a:stretch>
        </p:blipFill>
        <p:spPr>
          <a:xfrm>
            <a:off x="1887130" y="1131408"/>
            <a:ext cx="457200" cy="457200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8A384A40-A75B-4719-A148-1981E2E7333F}"/>
              </a:ext>
            </a:extLst>
          </p:cNvPr>
          <p:cNvPicPr>
            <a:picLocks noChangeAspect="1"/>
          </p:cNvPicPr>
          <p:nvPr/>
        </p:nvPicPr>
        <p:blipFill>
          <a:blip r:embed="rId2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1"/>
              </a:ext>
            </a:extLst>
          </a:blip>
          <a:stretch>
            <a:fillRect/>
          </a:stretch>
        </p:blipFill>
        <p:spPr>
          <a:xfrm>
            <a:off x="1340222" y="1131408"/>
            <a:ext cx="457200" cy="45720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DEEFC618-751E-42D6-AB6F-AC91082B6E82}"/>
              </a:ext>
            </a:extLst>
          </p:cNvPr>
          <p:cNvPicPr>
            <a:picLocks noChangeAspect="1"/>
          </p:cNvPicPr>
          <p:nvPr/>
        </p:nvPicPr>
        <p:blipFill>
          <a:blip r:embed="rId2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3"/>
              </a:ext>
            </a:extLst>
          </a:blip>
          <a:stretch>
            <a:fillRect/>
          </a:stretch>
        </p:blipFill>
        <p:spPr>
          <a:xfrm>
            <a:off x="2434038" y="1131408"/>
            <a:ext cx="457200" cy="457200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9221B225-3EFC-45D1-A682-CC6B4E1A52E3}"/>
              </a:ext>
            </a:extLst>
          </p:cNvPr>
          <p:cNvPicPr>
            <a:picLocks noChangeAspect="1"/>
          </p:cNvPicPr>
          <p:nvPr/>
        </p:nvPicPr>
        <p:blipFill>
          <a:blip r:embed="rId2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5"/>
              </a:ext>
            </a:extLst>
          </a:blip>
          <a:stretch>
            <a:fillRect/>
          </a:stretch>
        </p:blipFill>
        <p:spPr>
          <a:xfrm>
            <a:off x="2980946" y="1131408"/>
            <a:ext cx="457200" cy="457200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A9BFF191-CA71-4FB7-90F7-498D97A5D302}"/>
              </a:ext>
            </a:extLst>
          </p:cNvPr>
          <p:cNvPicPr>
            <a:picLocks noChangeAspect="1"/>
          </p:cNvPicPr>
          <p:nvPr/>
        </p:nvPicPr>
        <p:blipFill>
          <a:blip r:embed="rId2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7"/>
              </a:ext>
            </a:extLst>
          </a:blip>
          <a:stretch>
            <a:fillRect/>
          </a:stretch>
        </p:blipFill>
        <p:spPr>
          <a:xfrm>
            <a:off x="4074762" y="1131408"/>
            <a:ext cx="457200" cy="457200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D617675F-4A8E-4DA8-BE03-33591F5D2972}"/>
              </a:ext>
            </a:extLst>
          </p:cNvPr>
          <p:cNvPicPr>
            <a:picLocks noChangeAspect="1"/>
          </p:cNvPicPr>
          <p:nvPr/>
        </p:nvPicPr>
        <p:blipFill>
          <a:blip r:embed="rId2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9"/>
              </a:ext>
            </a:extLst>
          </a:blip>
          <a:stretch>
            <a:fillRect/>
          </a:stretch>
        </p:blipFill>
        <p:spPr>
          <a:xfrm>
            <a:off x="3527854" y="1131408"/>
            <a:ext cx="457200" cy="457200"/>
          </a:xfrm>
          <a:prstGeom prst="rect">
            <a:avLst/>
          </a:prstGeom>
        </p:spPr>
      </p:pic>
      <p:pic>
        <p:nvPicPr>
          <p:cNvPr id="87" name="Graphic 86">
            <a:extLst>
              <a:ext uri="{FF2B5EF4-FFF2-40B4-BE49-F238E27FC236}">
                <a16:creationId xmlns:a16="http://schemas.microsoft.com/office/drawing/2014/main" id="{2C244A31-9384-41DD-AF12-FF033C35488E}"/>
              </a:ext>
            </a:extLst>
          </p:cNvPr>
          <p:cNvPicPr>
            <a:picLocks noChangeAspect="1"/>
          </p:cNvPicPr>
          <p:nvPr/>
        </p:nvPicPr>
        <p:blipFill>
          <a:blip r:embed="rId2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1"/>
              </a:ext>
            </a:extLst>
          </a:blip>
          <a:stretch>
            <a:fillRect/>
          </a:stretch>
        </p:blipFill>
        <p:spPr>
          <a:xfrm>
            <a:off x="4621670" y="1131408"/>
            <a:ext cx="457200" cy="457200"/>
          </a:xfrm>
          <a:prstGeom prst="rect">
            <a:avLst/>
          </a:prstGeom>
        </p:spPr>
      </p:pic>
      <p:pic>
        <p:nvPicPr>
          <p:cNvPr id="97" name="Graphic 96">
            <a:extLst>
              <a:ext uri="{FF2B5EF4-FFF2-40B4-BE49-F238E27FC236}">
                <a16:creationId xmlns:a16="http://schemas.microsoft.com/office/drawing/2014/main" id="{ACF57C64-B987-4F57-AC21-E126BDA174A9}"/>
              </a:ext>
            </a:extLst>
          </p:cNvPr>
          <p:cNvPicPr>
            <a:picLocks noChangeAspect="1"/>
          </p:cNvPicPr>
          <p:nvPr/>
        </p:nvPicPr>
        <p:blipFill>
          <a:blip r:embed="rId2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3"/>
              </a:ext>
            </a:extLst>
          </a:blip>
          <a:stretch>
            <a:fillRect/>
          </a:stretch>
        </p:blipFill>
        <p:spPr>
          <a:xfrm>
            <a:off x="5168578" y="1131408"/>
            <a:ext cx="457200" cy="457200"/>
          </a:xfrm>
          <a:prstGeom prst="rect">
            <a:avLst/>
          </a:prstGeom>
        </p:spPr>
      </p:pic>
      <p:pic>
        <p:nvPicPr>
          <p:cNvPr id="99" name="Graphic 98">
            <a:extLst>
              <a:ext uri="{FF2B5EF4-FFF2-40B4-BE49-F238E27FC236}">
                <a16:creationId xmlns:a16="http://schemas.microsoft.com/office/drawing/2014/main" id="{C55B770B-9E23-4080-AFEC-B92C724568BB}"/>
              </a:ext>
            </a:extLst>
          </p:cNvPr>
          <p:cNvPicPr>
            <a:picLocks noChangeAspect="1"/>
          </p:cNvPicPr>
          <p:nvPr/>
        </p:nvPicPr>
        <p:blipFill>
          <a:blip r:embed="rId2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5"/>
              </a:ext>
            </a:extLst>
          </a:blip>
          <a:stretch>
            <a:fillRect/>
          </a:stretch>
        </p:blipFill>
        <p:spPr>
          <a:xfrm>
            <a:off x="6262394" y="1131408"/>
            <a:ext cx="457200" cy="457200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DDDC9436-4920-4E4F-8B2C-29874F6B5E56}"/>
              </a:ext>
            </a:extLst>
          </p:cNvPr>
          <p:cNvPicPr>
            <a:picLocks noChangeAspect="1"/>
          </p:cNvPicPr>
          <p:nvPr/>
        </p:nvPicPr>
        <p:blipFill>
          <a:blip r:embed="rId2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7"/>
              </a:ext>
            </a:extLst>
          </a:blip>
          <a:stretch>
            <a:fillRect/>
          </a:stretch>
        </p:blipFill>
        <p:spPr>
          <a:xfrm>
            <a:off x="5715486" y="1131408"/>
            <a:ext cx="457200" cy="457200"/>
          </a:xfrm>
          <a:prstGeom prst="rect">
            <a:avLst/>
          </a:prstGeom>
        </p:spPr>
      </p:pic>
      <p:pic>
        <p:nvPicPr>
          <p:cNvPr id="115" name="Graphic 114">
            <a:extLst>
              <a:ext uri="{FF2B5EF4-FFF2-40B4-BE49-F238E27FC236}">
                <a16:creationId xmlns:a16="http://schemas.microsoft.com/office/drawing/2014/main" id="{9B8EA3D3-7395-4413-BFF7-E12C67EF69F0}"/>
              </a:ext>
            </a:extLst>
          </p:cNvPr>
          <p:cNvPicPr>
            <a:picLocks noChangeAspect="1"/>
          </p:cNvPicPr>
          <p:nvPr/>
        </p:nvPicPr>
        <p:blipFill>
          <a:blip r:embed="rId2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9"/>
              </a:ext>
            </a:extLst>
          </a:blip>
          <a:stretch>
            <a:fillRect/>
          </a:stretch>
        </p:blipFill>
        <p:spPr>
          <a:xfrm>
            <a:off x="6809302" y="1131408"/>
            <a:ext cx="457200" cy="457200"/>
          </a:xfrm>
          <a:prstGeom prst="rect">
            <a:avLst/>
          </a:prstGeom>
        </p:spPr>
      </p:pic>
      <p:pic>
        <p:nvPicPr>
          <p:cNvPr id="125" name="Graphic 124">
            <a:extLst>
              <a:ext uri="{FF2B5EF4-FFF2-40B4-BE49-F238E27FC236}">
                <a16:creationId xmlns:a16="http://schemas.microsoft.com/office/drawing/2014/main" id="{6E64D562-C000-4E15-871A-247BAB4F3FBA}"/>
              </a:ext>
            </a:extLst>
          </p:cNvPr>
          <p:cNvPicPr>
            <a:picLocks noChangeAspect="1"/>
          </p:cNvPicPr>
          <p:nvPr/>
        </p:nvPicPr>
        <p:blipFill>
          <a:blip r:embed="rId2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1"/>
              </a:ext>
            </a:extLst>
          </a:blip>
          <a:stretch>
            <a:fillRect/>
          </a:stretch>
        </p:blipFill>
        <p:spPr>
          <a:xfrm>
            <a:off x="7356210" y="1131408"/>
            <a:ext cx="457200" cy="457200"/>
          </a:xfrm>
          <a:prstGeom prst="rect">
            <a:avLst/>
          </a:prstGeom>
        </p:spPr>
      </p:pic>
      <p:pic>
        <p:nvPicPr>
          <p:cNvPr id="127" name="Graphic 126">
            <a:extLst>
              <a:ext uri="{FF2B5EF4-FFF2-40B4-BE49-F238E27FC236}">
                <a16:creationId xmlns:a16="http://schemas.microsoft.com/office/drawing/2014/main" id="{BE59ECDA-E1D6-4980-93B7-CE1E2A5B2A6D}"/>
              </a:ext>
            </a:extLst>
          </p:cNvPr>
          <p:cNvPicPr>
            <a:picLocks noChangeAspect="1"/>
          </p:cNvPicPr>
          <p:nvPr/>
        </p:nvPicPr>
        <p:blipFill>
          <a:blip r:embed="rId2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3"/>
              </a:ext>
            </a:extLst>
          </a:blip>
          <a:stretch>
            <a:fillRect/>
          </a:stretch>
        </p:blipFill>
        <p:spPr>
          <a:xfrm>
            <a:off x="8458131" y="1131408"/>
            <a:ext cx="457200" cy="457200"/>
          </a:xfrm>
          <a:prstGeom prst="rect">
            <a:avLst/>
          </a:prstGeom>
        </p:spPr>
      </p:pic>
      <p:pic>
        <p:nvPicPr>
          <p:cNvPr id="128" name="Graphic 127">
            <a:extLst>
              <a:ext uri="{FF2B5EF4-FFF2-40B4-BE49-F238E27FC236}">
                <a16:creationId xmlns:a16="http://schemas.microsoft.com/office/drawing/2014/main" id="{E502B43B-7DFD-408C-A55C-178FF9415DFD}"/>
              </a:ext>
            </a:extLst>
          </p:cNvPr>
          <p:cNvPicPr>
            <a:picLocks noChangeAspect="1"/>
          </p:cNvPicPr>
          <p:nvPr/>
        </p:nvPicPr>
        <p:blipFill>
          <a:blip r:embed="rId2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5"/>
              </a:ext>
            </a:extLst>
          </a:blip>
          <a:stretch>
            <a:fillRect/>
          </a:stretch>
        </p:blipFill>
        <p:spPr>
          <a:xfrm>
            <a:off x="7903118" y="1131408"/>
            <a:ext cx="457200" cy="4572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6F5C58-4C17-A643-8526-6984AFE6526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Nucleo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CCA682-3D3C-5C4A-9810-B061CA0D07B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77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97688E-856F-7C4F-A6C0-D688CB32FE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eop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139482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 128">
            <a:extLst>
              <a:ext uri="{FF2B5EF4-FFF2-40B4-BE49-F238E27FC236}">
                <a16:creationId xmlns:a16="http://schemas.microsoft.com/office/drawing/2014/main" id="{4F24D76A-1719-BC46-9B9F-D2650DA4BF1F}"/>
              </a:ext>
            </a:extLst>
          </p:cNvPr>
          <p:cNvSpPr/>
          <p:nvPr/>
        </p:nvSpPr>
        <p:spPr>
          <a:xfrm>
            <a:off x="6779796" y="971550"/>
            <a:ext cx="2364203" cy="41465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A4FB46E-BD63-4843-9573-30BF332F36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35653" y="4471119"/>
            <a:ext cx="457200" cy="4572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4A0063E7-90CA-4C16-BA38-1C19B462BB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83065" y="4471119"/>
            <a:ext cx="457200" cy="4572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BADD17E0-7C3E-46D2-BA63-D7852D31C4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8241" y="4471119"/>
            <a:ext cx="457200" cy="4572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0965F71E-B236-441C-A5BB-8A95A725626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6225" y="4471119"/>
            <a:ext cx="457200" cy="4572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11AF8B7E-2137-453C-A082-DB5F1107D7B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525301" y="4471119"/>
            <a:ext cx="457200" cy="4572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7440B39B-0CCF-4C17-946F-87F1A65D01A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72713" y="4471119"/>
            <a:ext cx="457200" cy="4572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387FABC4-B081-4844-8605-C2B56E21B48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77889" y="4471119"/>
            <a:ext cx="457200" cy="45720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425419EE-C6BB-4A04-8076-CD1E0FBE391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430477" y="4471119"/>
            <a:ext cx="457200" cy="457200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01F8626A-DFEB-4A6A-AAFF-0758DCEF8D8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904597" y="4471119"/>
            <a:ext cx="457200" cy="457200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8EF20411-2B3C-44F9-A6D1-48AA3DE43D1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8454622" y="4471119"/>
            <a:ext cx="457200" cy="457200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E8D30860-C950-49BF-BFD1-6E0E460BBB2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7357185" y="4471119"/>
            <a:ext cx="457200" cy="457200"/>
          </a:xfrm>
          <a:prstGeom prst="rect">
            <a:avLst/>
          </a:pr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3CBCBED3-1636-4225-A881-BBAF818FF26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809773" y="4471119"/>
            <a:ext cx="457200" cy="457200"/>
          </a:xfrm>
          <a:prstGeom prst="rect">
            <a:avLst/>
          </a:prstGeom>
        </p:spPr>
      </p:pic>
      <p:pic>
        <p:nvPicPr>
          <p:cNvPr id="101" name="Graphic 100">
            <a:extLst>
              <a:ext uri="{FF2B5EF4-FFF2-40B4-BE49-F238E27FC236}">
                <a16:creationId xmlns:a16="http://schemas.microsoft.com/office/drawing/2014/main" id="{8F908A55-0500-49D3-A32B-44DC62D400F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714949" y="4471119"/>
            <a:ext cx="457200" cy="457200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7A71EFF8-0CA8-4C29-BC7A-0F4095CE22C1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262361" y="4471119"/>
            <a:ext cx="457200" cy="457200"/>
          </a:xfrm>
          <a:prstGeom prst="rect">
            <a:avLst/>
          </a:prstGeom>
        </p:spPr>
      </p:pic>
      <p:pic>
        <p:nvPicPr>
          <p:cNvPr id="104" name="Graphic 103">
            <a:extLst>
              <a:ext uri="{FF2B5EF4-FFF2-40B4-BE49-F238E27FC236}">
                <a16:creationId xmlns:a16="http://schemas.microsoft.com/office/drawing/2014/main" id="{452C9383-A4B4-4BD2-9644-AF6C8DEFEB30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167537" y="4471119"/>
            <a:ext cx="457200" cy="457200"/>
          </a:xfrm>
          <a:prstGeom prst="rect">
            <a:avLst/>
          </a:prstGeom>
        </p:spPr>
      </p:pic>
      <p:pic>
        <p:nvPicPr>
          <p:cNvPr id="105" name="Graphic 104">
            <a:extLst>
              <a:ext uri="{FF2B5EF4-FFF2-40B4-BE49-F238E27FC236}">
                <a16:creationId xmlns:a16="http://schemas.microsoft.com/office/drawing/2014/main" id="{A38C9F51-35D1-4546-B2F1-1B8D4E3A3F20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620125" y="4471119"/>
            <a:ext cx="457200" cy="4572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BD0E45E1-BA44-4567-A917-9E5464C8DC03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887903" y="3914624"/>
            <a:ext cx="457200" cy="4572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AD2AC486-A7D6-4BCB-9423-955FA8419D6D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1340677" y="3914624"/>
            <a:ext cx="457200" cy="4572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C6D0D6E7-8AF7-4688-9AC4-F239696E05E5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793451" y="3914624"/>
            <a:ext cx="457200" cy="4572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515F4A00-2A1C-4D4E-A1F5-51AAC6D23D05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246225" y="3914624"/>
            <a:ext cx="457200" cy="45720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28109DBC-1F30-48BD-A17C-ABC3CCF88308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076807" y="3914624"/>
            <a:ext cx="457200" cy="457200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B2F617AF-DFF9-425E-921F-45CE4CEDAA0D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529581" y="3914624"/>
            <a:ext cx="457200" cy="4572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6F23CF5E-C418-40D5-8528-C77E9E67343F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2982355" y="3914624"/>
            <a:ext cx="457200" cy="4572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68B8E411-D719-4879-89E2-37A44C3D41BE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2435129" y="3914624"/>
            <a:ext cx="457200" cy="457200"/>
          </a:xfrm>
          <a:prstGeom prst="rect">
            <a:avLst/>
          </a:prstGeom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787FA553-AE33-4B1B-BFBB-81930BCCD11C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8454622" y="3914624"/>
            <a:ext cx="457200" cy="457200"/>
          </a:xfrm>
          <a:prstGeom prst="rect">
            <a:avLst/>
          </a:prstGeom>
        </p:spPr>
      </p:pic>
      <p:pic>
        <p:nvPicPr>
          <p:cNvPr id="79" name="Graphic 78">
            <a:extLst>
              <a:ext uri="{FF2B5EF4-FFF2-40B4-BE49-F238E27FC236}">
                <a16:creationId xmlns:a16="http://schemas.microsoft.com/office/drawing/2014/main" id="{6B27007D-F790-43AB-87BE-278541E8CD41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7907389" y="3914624"/>
            <a:ext cx="457200" cy="457200"/>
          </a:xfrm>
          <a:prstGeom prst="rect">
            <a:avLst/>
          </a:prstGeom>
        </p:spPr>
      </p:pic>
      <p:pic>
        <p:nvPicPr>
          <p:cNvPr id="80" name="Graphic 79">
            <a:extLst>
              <a:ext uri="{FF2B5EF4-FFF2-40B4-BE49-F238E27FC236}">
                <a16:creationId xmlns:a16="http://schemas.microsoft.com/office/drawing/2014/main" id="{EA0F9918-8C9A-422E-8825-BDCB242C396B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7360163" y="3914624"/>
            <a:ext cx="457200" cy="457200"/>
          </a:xfrm>
          <a:prstGeom prst="rect">
            <a:avLst/>
          </a:prstGeom>
        </p:spPr>
      </p:pic>
      <p:pic>
        <p:nvPicPr>
          <p:cNvPr id="81" name="Graphic 80">
            <a:extLst>
              <a:ext uri="{FF2B5EF4-FFF2-40B4-BE49-F238E27FC236}">
                <a16:creationId xmlns:a16="http://schemas.microsoft.com/office/drawing/2014/main" id="{985E2457-EB40-4851-9DE6-AC3E42FD368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6812937" y="3914624"/>
            <a:ext cx="457200" cy="457200"/>
          </a:xfrm>
          <a:prstGeom prst="rect">
            <a:avLst/>
          </a:prstGeom>
        </p:spPr>
      </p:pic>
      <p:pic>
        <p:nvPicPr>
          <p:cNvPr id="106" name="Graphic 105">
            <a:extLst>
              <a:ext uri="{FF2B5EF4-FFF2-40B4-BE49-F238E27FC236}">
                <a16:creationId xmlns:a16="http://schemas.microsoft.com/office/drawing/2014/main" id="{FB4E3091-B2FC-432D-8916-E75C232DF378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6265711" y="3914624"/>
            <a:ext cx="457200" cy="457200"/>
          </a:xfrm>
          <a:prstGeom prst="rect">
            <a:avLst/>
          </a:prstGeom>
        </p:spPr>
      </p:pic>
      <p:pic>
        <p:nvPicPr>
          <p:cNvPr id="107" name="Graphic 106">
            <a:extLst>
              <a:ext uri="{FF2B5EF4-FFF2-40B4-BE49-F238E27FC236}">
                <a16:creationId xmlns:a16="http://schemas.microsoft.com/office/drawing/2014/main" id="{3CDED797-8A1D-49FC-AD3C-B117F54D47DB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5718485" y="3914624"/>
            <a:ext cx="457200" cy="457200"/>
          </a:xfrm>
          <a:prstGeom prst="rect">
            <a:avLst/>
          </a:prstGeom>
        </p:spPr>
      </p:pic>
      <p:pic>
        <p:nvPicPr>
          <p:cNvPr id="108" name="Graphic 107">
            <a:extLst>
              <a:ext uri="{FF2B5EF4-FFF2-40B4-BE49-F238E27FC236}">
                <a16:creationId xmlns:a16="http://schemas.microsoft.com/office/drawing/2014/main" id="{B271020E-0892-48C7-B80D-C9D89A439F68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5171259" y="3914624"/>
            <a:ext cx="457200" cy="457200"/>
          </a:xfrm>
          <a:prstGeom prst="rect">
            <a:avLst/>
          </a:prstGeom>
        </p:spPr>
      </p:pic>
      <p:pic>
        <p:nvPicPr>
          <p:cNvPr id="109" name="Graphic 108">
            <a:extLst>
              <a:ext uri="{FF2B5EF4-FFF2-40B4-BE49-F238E27FC236}">
                <a16:creationId xmlns:a16="http://schemas.microsoft.com/office/drawing/2014/main" id="{656F61D1-84C8-412E-997E-E22A3263F7A6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4624033" y="3914624"/>
            <a:ext cx="457200" cy="45720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6AFDE368-208F-4015-979F-981B870BCE54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887903" y="3358130"/>
            <a:ext cx="457200" cy="4572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859278F0-6698-4478-AE77-A60A5712B748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340677" y="3358130"/>
            <a:ext cx="457200" cy="45720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6FA37070-172E-4902-9D86-00E000F1F1B8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93451" y="3358130"/>
            <a:ext cx="457200" cy="457200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52C4593D-8F7F-4A63-A94B-284AD51DE9BB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246225" y="3358130"/>
            <a:ext cx="457200" cy="4572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5AF36DD6-3A67-49D6-A434-23207895C02F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4076807" y="3358130"/>
            <a:ext cx="457200" cy="457200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B6CAB227-7A35-4F85-941E-0D6F94198AFE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3529581" y="3358130"/>
            <a:ext cx="457200" cy="457200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2D7D276B-2C4E-4378-A057-34BDE79D4552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9"/>
              </a:ext>
            </a:extLst>
          </a:blip>
          <a:stretch>
            <a:fillRect/>
          </a:stretch>
        </p:blipFill>
        <p:spPr>
          <a:xfrm>
            <a:off x="2982355" y="3358130"/>
            <a:ext cx="457200" cy="457200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254045B0-6EE1-48E0-A7C9-44107FF82B55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1"/>
              </a:ext>
            </a:extLst>
          </a:blip>
          <a:stretch>
            <a:fillRect/>
          </a:stretch>
        </p:blipFill>
        <p:spPr>
          <a:xfrm>
            <a:off x="2435129" y="3358130"/>
            <a:ext cx="457200" cy="457200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CFAD971E-6501-4BC0-80E5-F4EC44390C33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3"/>
              </a:ext>
            </a:extLst>
          </a:blip>
          <a:stretch>
            <a:fillRect/>
          </a:stretch>
        </p:blipFill>
        <p:spPr>
          <a:xfrm>
            <a:off x="8454622" y="3358130"/>
            <a:ext cx="457200" cy="457200"/>
          </a:xfrm>
          <a:prstGeom prst="rect">
            <a:avLst/>
          </a:prstGeom>
        </p:spPr>
      </p:pic>
      <p:pic>
        <p:nvPicPr>
          <p:cNvPr id="83" name="Graphic 82">
            <a:extLst>
              <a:ext uri="{FF2B5EF4-FFF2-40B4-BE49-F238E27FC236}">
                <a16:creationId xmlns:a16="http://schemas.microsoft.com/office/drawing/2014/main" id="{481B83D9-3C54-4410-B234-EE9E26B89619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5"/>
              </a:ext>
            </a:extLst>
          </a:blip>
          <a:stretch>
            <a:fillRect/>
          </a:stretch>
        </p:blipFill>
        <p:spPr>
          <a:xfrm>
            <a:off x="7907389" y="3358130"/>
            <a:ext cx="457200" cy="457200"/>
          </a:xfrm>
          <a:prstGeom prst="rect">
            <a:avLst/>
          </a:prstGeom>
        </p:spPr>
      </p:pic>
      <p:pic>
        <p:nvPicPr>
          <p:cNvPr id="91" name="Graphic 90">
            <a:extLst>
              <a:ext uri="{FF2B5EF4-FFF2-40B4-BE49-F238E27FC236}">
                <a16:creationId xmlns:a16="http://schemas.microsoft.com/office/drawing/2014/main" id="{BCDDED7A-A39E-45B7-A72A-A7459129D9E7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7"/>
              </a:ext>
            </a:extLst>
          </a:blip>
          <a:stretch>
            <a:fillRect/>
          </a:stretch>
        </p:blipFill>
        <p:spPr>
          <a:xfrm>
            <a:off x="7360163" y="3358130"/>
            <a:ext cx="457200" cy="457200"/>
          </a:xfrm>
          <a:prstGeom prst="rect">
            <a:avLst/>
          </a:prstGeom>
        </p:spPr>
      </p:pic>
      <p:pic>
        <p:nvPicPr>
          <p:cNvPr id="93" name="Graphic 92">
            <a:extLst>
              <a:ext uri="{FF2B5EF4-FFF2-40B4-BE49-F238E27FC236}">
                <a16:creationId xmlns:a16="http://schemas.microsoft.com/office/drawing/2014/main" id="{1AD93AA7-AE20-41D7-AA82-82D1B4D3AEF4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9"/>
              </a:ext>
            </a:extLst>
          </a:blip>
          <a:stretch>
            <a:fillRect/>
          </a:stretch>
        </p:blipFill>
        <p:spPr>
          <a:xfrm>
            <a:off x="6812937" y="3358130"/>
            <a:ext cx="457200" cy="457200"/>
          </a:xfrm>
          <a:prstGeom prst="rect">
            <a:avLst/>
          </a:prstGeom>
        </p:spPr>
      </p:pic>
      <p:pic>
        <p:nvPicPr>
          <p:cNvPr id="110" name="Graphic 109">
            <a:extLst>
              <a:ext uri="{FF2B5EF4-FFF2-40B4-BE49-F238E27FC236}">
                <a16:creationId xmlns:a16="http://schemas.microsoft.com/office/drawing/2014/main" id="{59128A30-DAA7-4022-AA30-82B8DFCDFE4F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1"/>
              </a:ext>
            </a:extLst>
          </a:blip>
          <a:stretch>
            <a:fillRect/>
          </a:stretch>
        </p:blipFill>
        <p:spPr>
          <a:xfrm>
            <a:off x="6265711" y="3358130"/>
            <a:ext cx="457200" cy="457200"/>
          </a:xfrm>
          <a:prstGeom prst="rect">
            <a:avLst/>
          </a:prstGeom>
        </p:spPr>
      </p:pic>
      <p:pic>
        <p:nvPicPr>
          <p:cNvPr id="111" name="Graphic 110">
            <a:extLst>
              <a:ext uri="{FF2B5EF4-FFF2-40B4-BE49-F238E27FC236}">
                <a16:creationId xmlns:a16="http://schemas.microsoft.com/office/drawing/2014/main" id="{2BF606E4-38B3-4CDE-B704-A6618718C78C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3"/>
              </a:ext>
            </a:extLst>
          </a:blip>
          <a:stretch>
            <a:fillRect/>
          </a:stretch>
        </p:blipFill>
        <p:spPr>
          <a:xfrm>
            <a:off x="5718485" y="3358130"/>
            <a:ext cx="457200" cy="457200"/>
          </a:xfrm>
          <a:prstGeom prst="rect">
            <a:avLst/>
          </a:prstGeom>
        </p:spPr>
      </p:pic>
      <p:pic>
        <p:nvPicPr>
          <p:cNvPr id="119" name="Graphic 118">
            <a:extLst>
              <a:ext uri="{FF2B5EF4-FFF2-40B4-BE49-F238E27FC236}">
                <a16:creationId xmlns:a16="http://schemas.microsoft.com/office/drawing/2014/main" id="{24303057-FE3F-46A5-BC33-72B0576C1BE0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5"/>
              </a:ext>
            </a:extLst>
          </a:blip>
          <a:stretch>
            <a:fillRect/>
          </a:stretch>
        </p:blipFill>
        <p:spPr>
          <a:xfrm>
            <a:off x="5171259" y="3358130"/>
            <a:ext cx="457200" cy="457200"/>
          </a:xfrm>
          <a:prstGeom prst="rect">
            <a:avLst/>
          </a:prstGeom>
        </p:spPr>
      </p:pic>
      <p:pic>
        <p:nvPicPr>
          <p:cNvPr id="121" name="Graphic 120">
            <a:extLst>
              <a:ext uri="{FF2B5EF4-FFF2-40B4-BE49-F238E27FC236}">
                <a16:creationId xmlns:a16="http://schemas.microsoft.com/office/drawing/2014/main" id="{2D51DD81-5ED5-4181-8B23-E40815E2E552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7"/>
              </a:ext>
            </a:extLst>
          </a:blip>
          <a:stretch>
            <a:fillRect/>
          </a:stretch>
        </p:blipFill>
        <p:spPr>
          <a:xfrm>
            <a:off x="4624033" y="3358130"/>
            <a:ext cx="457200" cy="4572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F3CF4A5A-5FB6-45A6-8C4A-FD74B5DAF903}"/>
              </a:ext>
            </a:extLst>
          </p:cNvPr>
          <p:cNvPicPr>
            <a:picLocks noChangeAspect="1"/>
          </p:cNvPicPr>
          <p:nvPr/>
        </p:nvPicPr>
        <p:blipFill>
          <a:blip r:embed="rId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9"/>
              </a:ext>
            </a:extLst>
          </a:blip>
          <a:stretch>
            <a:fillRect/>
          </a:stretch>
        </p:blipFill>
        <p:spPr>
          <a:xfrm>
            <a:off x="246225" y="1688648"/>
            <a:ext cx="457200" cy="4572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B2A7AECA-95C5-4EA0-B9EC-4FBEFF4DFB65}"/>
              </a:ext>
            </a:extLst>
          </p:cNvPr>
          <p:cNvPicPr>
            <a:picLocks noChangeAspect="1"/>
          </p:cNvPicPr>
          <p:nvPr/>
        </p:nvPicPr>
        <p:blipFill>
          <a:blip r:embed="rId1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1"/>
              </a:ext>
            </a:extLst>
          </a:blip>
          <a:stretch>
            <a:fillRect/>
          </a:stretch>
        </p:blipFill>
        <p:spPr>
          <a:xfrm>
            <a:off x="793451" y="1688648"/>
            <a:ext cx="457200" cy="4572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EF855C64-9284-488B-B14C-4E9AED1987A3}"/>
              </a:ext>
            </a:extLst>
          </p:cNvPr>
          <p:cNvPicPr>
            <a:picLocks noChangeAspect="1"/>
          </p:cNvPicPr>
          <p:nvPr/>
        </p:nvPicPr>
        <p:blipFill>
          <a:blip r:embed="rId1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3"/>
              </a:ext>
            </a:extLst>
          </a:blip>
          <a:stretch>
            <a:fillRect/>
          </a:stretch>
        </p:blipFill>
        <p:spPr>
          <a:xfrm>
            <a:off x="1887903" y="1688648"/>
            <a:ext cx="457200" cy="45720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2FB1BF92-34B9-4FFA-8C96-C8856EB9C580}"/>
              </a:ext>
            </a:extLst>
          </p:cNvPr>
          <p:cNvPicPr>
            <a:picLocks noChangeAspect="1"/>
          </p:cNvPicPr>
          <p:nvPr/>
        </p:nvPicPr>
        <p:blipFill>
          <a:blip r:embed="rId1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5"/>
              </a:ext>
            </a:extLst>
          </a:blip>
          <a:stretch>
            <a:fillRect/>
          </a:stretch>
        </p:blipFill>
        <p:spPr>
          <a:xfrm>
            <a:off x="1340677" y="1688648"/>
            <a:ext cx="457200" cy="45720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CDD8820E-8E3C-4155-AA0D-B9E8BD3F5119}"/>
              </a:ext>
            </a:extLst>
          </p:cNvPr>
          <p:cNvPicPr>
            <a:picLocks noChangeAspect="1"/>
          </p:cNvPicPr>
          <p:nvPr/>
        </p:nvPicPr>
        <p:blipFill>
          <a:blip r:embed="rId1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7"/>
              </a:ext>
            </a:extLst>
          </a:blip>
          <a:stretch>
            <a:fillRect/>
          </a:stretch>
        </p:blipFill>
        <p:spPr>
          <a:xfrm>
            <a:off x="2435129" y="1688648"/>
            <a:ext cx="457200" cy="457200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002CD0B2-F898-4290-B369-3932C416AFC0}"/>
              </a:ext>
            </a:extLst>
          </p:cNvPr>
          <p:cNvPicPr>
            <a:picLocks noChangeAspect="1"/>
          </p:cNvPicPr>
          <p:nvPr/>
        </p:nvPicPr>
        <p:blipFill>
          <a:blip r:embed="rId1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9"/>
              </a:ext>
            </a:extLst>
          </a:blip>
          <a:stretch>
            <a:fillRect/>
          </a:stretch>
        </p:blipFill>
        <p:spPr>
          <a:xfrm>
            <a:off x="2982355" y="1688648"/>
            <a:ext cx="457200" cy="457200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AC21BB8E-06F8-4BC9-9A74-C3B415BA2A38}"/>
              </a:ext>
            </a:extLst>
          </p:cNvPr>
          <p:cNvPicPr>
            <a:picLocks noChangeAspect="1"/>
          </p:cNvPicPr>
          <p:nvPr/>
        </p:nvPicPr>
        <p:blipFill>
          <a:blip r:embed="rId1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1"/>
              </a:ext>
            </a:extLst>
          </a:blip>
          <a:stretch>
            <a:fillRect/>
          </a:stretch>
        </p:blipFill>
        <p:spPr>
          <a:xfrm>
            <a:off x="4076807" y="1688648"/>
            <a:ext cx="457200" cy="45720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96E7FB66-56DE-4750-BEC3-A85C0E4F1F80}"/>
              </a:ext>
            </a:extLst>
          </p:cNvPr>
          <p:cNvPicPr>
            <a:picLocks noChangeAspect="1"/>
          </p:cNvPicPr>
          <p:nvPr/>
        </p:nvPicPr>
        <p:blipFill>
          <a:blip r:embed="rId1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3"/>
              </a:ext>
            </a:extLst>
          </a:blip>
          <a:stretch>
            <a:fillRect/>
          </a:stretch>
        </p:blipFill>
        <p:spPr>
          <a:xfrm>
            <a:off x="3529581" y="1688648"/>
            <a:ext cx="457200" cy="457200"/>
          </a:xfrm>
          <a:prstGeom prst="rect">
            <a:avLst/>
          </a:prstGeom>
        </p:spPr>
      </p:pic>
      <p:pic>
        <p:nvPicPr>
          <p:cNvPr id="89" name="Graphic 88">
            <a:extLst>
              <a:ext uri="{FF2B5EF4-FFF2-40B4-BE49-F238E27FC236}">
                <a16:creationId xmlns:a16="http://schemas.microsoft.com/office/drawing/2014/main" id="{2D7C882B-0D8F-405A-B63E-52EBBC02B60D}"/>
              </a:ext>
            </a:extLst>
          </p:cNvPr>
          <p:cNvPicPr>
            <a:picLocks noChangeAspect="1"/>
          </p:cNvPicPr>
          <p:nvPr/>
        </p:nvPicPr>
        <p:blipFill>
          <a:blip r:embed="rId1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5"/>
              </a:ext>
            </a:extLst>
          </a:blip>
          <a:stretch>
            <a:fillRect/>
          </a:stretch>
        </p:blipFill>
        <p:spPr>
          <a:xfrm>
            <a:off x="6812937" y="1688648"/>
            <a:ext cx="457200" cy="457200"/>
          </a:xfrm>
          <a:prstGeom prst="rect">
            <a:avLst/>
          </a:prstGeom>
        </p:spPr>
      </p:pic>
      <p:pic>
        <p:nvPicPr>
          <p:cNvPr id="90" name="Graphic 89">
            <a:extLst>
              <a:ext uri="{FF2B5EF4-FFF2-40B4-BE49-F238E27FC236}">
                <a16:creationId xmlns:a16="http://schemas.microsoft.com/office/drawing/2014/main" id="{40B7C1C5-45BB-4668-AABE-9FFA6B4F4942}"/>
              </a:ext>
            </a:extLst>
          </p:cNvPr>
          <p:cNvPicPr>
            <a:picLocks noChangeAspect="1"/>
          </p:cNvPicPr>
          <p:nvPr/>
        </p:nvPicPr>
        <p:blipFill>
          <a:blip r:embed="rId1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7"/>
              </a:ext>
            </a:extLst>
          </a:blip>
          <a:stretch>
            <a:fillRect/>
          </a:stretch>
        </p:blipFill>
        <p:spPr>
          <a:xfrm>
            <a:off x="7360163" y="1688648"/>
            <a:ext cx="457200" cy="457200"/>
          </a:xfrm>
          <a:prstGeom prst="rect">
            <a:avLst/>
          </a:prstGeom>
        </p:spPr>
      </p:pic>
      <p:pic>
        <p:nvPicPr>
          <p:cNvPr id="94" name="Graphic 93">
            <a:extLst>
              <a:ext uri="{FF2B5EF4-FFF2-40B4-BE49-F238E27FC236}">
                <a16:creationId xmlns:a16="http://schemas.microsoft.com/office/drawing/2014/main" id="{5941EB63-C176-4BA1-955A-2E620383B735}"/>
              </a:ext>
            </a:extLst>
          </p:cNvPr>
          <p:cNvPicPr>
            <a:picLocks noChangeAspect="1"/>
          </p:cNvPicPr>
          <p:nvPr/>
        </p:nvPicPr>
        <p:blipFill>
          <a:blip r:embed="rId1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9"/>
              </a:ext>
            </a:extLst>
          </a:blip>
          <a:stretch>
            <a:fillRect/>
          </a:stretch>
        </p:blipFill>
        <p:spPr>
          <a:xfrm>
            <a:off x="8454622" y="1688648"/>
            <a:ext cx="457200" cy="457200"/>
          </a:xfrm>
          <a:prstGeom prst="rect">
            <a:avLst/>
          </a:prstGeom>
        </p:spPr>
      </p:pic>
      <p:pic>
        <p:nvPicPr>
          <p:cNvPr id="95" name="Graphic 94">
            <a:extLst>
              <a:ext uri="{FF2B5EF4-FFF2-40B4-BE49-F238E27FC236}">
                <a16:creationId xmlns:a16="http://schemas.microsoft.com/office/drawing/2014/main" id="{877E43D1-6185-48E5-984A-9B3AD1BA00EB}"/>
              </a:ext>
            </a:extLst>
          </p:cNvPr>
          <p:cNvPicPr>
            <a:picLocks noChangeAspect="1"/>
          </p:cNvPicPr>
          <p:nvPr/>
        </p:nvPicPr>
        <p:blipFill>
          <a:blip r:embed="rId1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1"/>
              </a:ext>
            </a:extLst>
          </a:blip>
          <a:stretch>
            <a:fillRect/>
          </a:stretch>
        </p:blipFill>
        <p:spPr>
          <a:xfrm>
            <a:off x="7907389" y="1688648"/>
            <a:ext cx="457200" cy="457200"/>
          </a:xfrm>
          <a:prstGeom prst="rect">
            <a:avLst/>
          </a:prstGeom>
        </p:spPr>
      </p:pic>
      <p:pic>
        <p:nvPicPr>
          <p:cNvPr id="117" name="Graphic 116">
            <a:extLst>
              <a:ext uri="{FF2B5EF4-FFF2-40B4-BE49-F238E27FC236}">
                <a16:creationId xmlns:a16="http://schemas.microsoft.com/office/drawing/2014/main" id="{530E78F5-D598-4C27-B0BF-AB5717812A04}"/>
              </a:ext>
            </a:extLst>
          </p:cNvPr>
          <p:cNvPicPr>
            <a:picLocks noChangeAspect="1"/>
          </p:cNvPicPr>
          <p:nvPr/>
        </p:nvPicPr>
        <p:blipFill>
          <a:blip r:embed="rId1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3"/>
              </a:ext>
            </a:extLst>
          </a:blip>
          <a:stretch>
            <a:fillRect/>
          </a:stretch>
        </p:blipFill>
        <p:spPr>
          <a:xfrm>
            <a:off x="4624033" y="1688648"/>
            <a:ext cx="457200" cy="457200"/>
          </a:xfrm>
          <a:prstGeom prst="rect">
            <a:avLst/>
          </a:prstGeom>
        </p:spPr>
      </p:pic>
      <p:pic>
        <p:nvPicPr>
          <p:cNvPr id="118" name="Graphic 117">
            <a:extLst>
              <a:ext uri="{FF2B5EF4-FFF2-40B4-BE49-F238E27FC236}">
                <a16:creationId xmlns:a16="http://schemas.microsoft.com/office/drawing/2014/main" id="{ABC79573-9411-41A8-956D-0D4BBE7D8CEC}"/>
              </a:ext>
            </a:extLst>
          </p:cNvPr>
          <p:cNvPicPr>
            <a:picLocks noChangeAspect="1"/>
          </p:cNvPicPr>
          <p:nvPr/>
        </p:nvPicPr>
        <p:blipFill>
          <a:blip r:embed="rId1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5"/>
              </a:ext>
            </a:extLst>
          </a:blip>
          <a:stretch>
            <a:fillRect/>
          </a:stretch>
        </p:blipFill>
        <p:spPr>
          <a:xfrm>
            <a:off x="5171259" y="1688648"/>
            <a:ext cx="457200" cy="457200"/>
          </a:xfrm>
          <a:prstGeom prst="rect">
            <a:avLst/>
          </a:prstGeom>
        </p:spPr>
      </p:pic>
      <p:pic>
        <p:nvPicPr>
          <p:cNvPr id="122" name="Graphic 121">
            <a:extLst>
              <a:ext uri="{FF2B5EF4-FFF2-40B4-BE49-F238E27FC236}">
                <a16:creationId xmlns:a16="http://schemas.microsoft.com/office/drawing/2014/main" id="{126D9219-8407-4ECD-ABD7-0C7B6CC91282}"/>
              </a:ext>
            </a:extLst>
          </p:cNvPr>
          <p:cNvPicPr>
            <a:picLocks noChangeAspect="1"/>
          </p:cNvPicPr>
          <p:nvPr/>
        </p:nvPicPr>
        <p:blipFill>
          <a:blip r:embed="rId1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7"/>
              </a:ext>
            </a:extLst>
          </a:blip>
          <a:stretch>
            <a:fillRect/>
          </a:stretch>
        </p:blipFill>
        <p:spPr>
          <a:xfrm>
            <a:off x="6265711" y="1688648"/>
            <a:ext cx="457200" cy="457200"/>
          </a:xfrm>
          <a:prstGeom prst="rect">
            <a:avLst/>
          </a:prstGeom>
        </p:spPr>
      </p:pic>
      <p:pic>
        <p:nvPicPr>
          <p:cNvPr id="123" name="Graphic 122">
            <a:extLst>
              <a:ext uri="{FF2B5EF4-FFF2-40B4-BE49-F238E27FC236}">
                <a16:creationId xmlns:a16="http://schemas.microsoft.com/office/drawing/2014/main" id="{26CA2963-A5A0-4278-A192-553514742286}"/>
              </a:ext>
            </a:extLst>
          </p:cNvPr>
          <p:cNvPicPr>
            <a:picLocks noChangeAspect="1"/>
          </p:cNvPicPr>
          <p:nvPr/>
        </p:nvPicPr>
        <p:blipFill>
          <a:blip r:embed="rId1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9"/>
              </a:ext>
            </a:extLst>
          </a:blip>
          <a:stretch>
            <a:fillRect/>
          </a:stretch>
        </p:blipFill>
        <p:spPr>
          <a:xfrm>
            <a:off x="5718485" y="1688648"/>
            <a:ext cx="457200" cy="457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44B6DDA0-BB60-41CA-AF46-26B9CD7B48E2}"/>
              </a:ext>
            </a:extLst>
          </p:cNvPr>
          <p:cNvPicPr>
            <a:picLocks noChangeAspect="1"/>
          </p:cNvPicPr>
          <p:nvPr/>
        </p:nvPicPr>
        <p:blipFill>
          <a:blip r:embed="rId1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1"/>
              </a:ext>
            </a:extLst>
          </a:blip>
          <a:stretch>
            <a:fillRect/>
          </a:stretch>
        </p:blipFill>
        <p:spPr>
          <a:xfrm>
            <a:off x="1340677" y="2801636"/>
            <a:ext cx="457200" cy="4572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9D89E996-7413-4928-847E-6CC1564058EC}"/>
              </a:ext>
            </a:extLst>
          </p:cNvPr>
          <p:cNvPicPr>
            <a:picLocks noChangeAspect="1"/>
          </p:cNvPicPr>
          <p:nvPr/>
        </p:nvPicPr>
        <p:blipFill>
          <a:blip r:embed="rId1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3"/>
              </a:ext>
            </a:extLst>
          </a:blip>
          <a:stretch>
            <a:fillRect/>
          </a:stretch>
        </p:blipFill>
        <p:spPr>
          <a:xfrm>
            <a:off x="793451" y="2801636"/>
            <a:ext cx="457200" cy="4572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728D6328-1A9A-4F10-B948-9FC8DF14AC97}"/>
              </a:ext>
            </a:extLst>
          </p:cNvPr>
          <p:cNvPicPr>
            <a:picLocks noChangeAspect="1"/>
          </p:cNvPicPr>
          <p:nvPr/>
        </p:nvPicPr>
        <p:blipFill>
          <a:blip r:embed="rId1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5"/>
              </a:ext>
            </a:extLst>
          </a:blip>
          <a:stretch>
            <a:fillRect/>
          </a:stretch>
        </p:blipFill>
        <p:spPr>
          <a:xfrm>
            <a:off x="1887903" y="2801636"/>
            <a:ext cx="457200" cy="457200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8B1A5B33-A09E-4EF6-A857-CB578FFE7878}"/>
              </a:ext>
            </a:extLst>
          </p:cNvPr>
          <p:cNvPicPr>
            <a:picLocks noChangeAspect="1"/>
          </p:cNvPicPr>
          <p:nvPr/>
        </p:nvPicPr>
        <p:blipFill>
          <a:blip r:embed="rId1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7"/>
              </a:ext>
            </a:extLst>
          </a:blip>
          <a:stretch>
            <a:fillRect/>
          </a:stretch>
        </p:blipFill>
        <p:spPr>
          <a:xfrm>
            <a:off x="246225" y="2801636"/>
            <a:ext cx="457200" cy="45720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91022123-5DE4-4F6D-8BEC-21089599852A}"/>
              </a:ext>
            </a:extLst>
          </p:cNvPr>
          <p:cNvPicPr>
            <a:picLocks noChangeAspect="1"/>
          </p:cNvPicPr>
          <p:nvPr/>
        </p:nvPicPr>
        <p:blipFill>
          <a:blip r:embed="rId1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9"/>
              </a:ext>
            </a:extLst>
          </a:blip>
          <a:stretch>
            <a:fillRect/>
          </a:stretch>
        </p:blipFill>
        <p:spPr>
          <a:xfrm>
            <a:off x="3529581" y="2801636"/>
            <a:ext cx="457200" cy="45720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97A95586-E753-42A5-BE8A-3819EC9A8F4C}"/>
              </a:ext>
            </a:extLst>
          </p:cNvPr>
          <p:cNvPicPr>
            <a:picLocks noChangeAspect="1"/>
          </p:cNvPicPr>
          <p:nvPr/>
        </p:nvPicPr>
        <p:blipFill>
          <a:blip r:embed="rId1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1"/>
              </a:ext>
            </a:extLst>
          </a:blip>
          <a:stretch>
            <a:fillRect/>
          </a:stretch>
        </p:blipFill>
        <p:spPr>
          <a:xfrm>
            <a:off x="2982355" y="2801636"/>
            <a:ext cx="457200" cy="457200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12412247-7F66-4115-AB0F-F8E6BECFFDA5}"/>
              </a:ext>
            </a:extLst>
          </p:cNvPr>
          <p:cNvPicPr>
            <a:picLocks noChangeAspect="1"/>
          </p:cNvPicPr>
          <p:nvPr/>
        </p:nvPicPr>
        <p:blipFill>
          <a:blip r:embed="rId1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3"/>
              </a:ext>
            </a:extLst>
          </a:blip>
          <a:stretch>
            <a:fillRect/>
          </a:stretch>
        </p:blipFill>
        <p:spPr>
          <a:xfrm>
            <a:off x="4076807" y="2801636"/>
            <a:ext cx="457200" cy="457200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9ED9A7DB-1724-4DE7-A3E0-68FB71E94453}"/>
              </a:ext>
            </a:extLst>
          </p:cNvPr>
          <p:cNvPicPr>
            <a:picLocks noChangeAspect="1"/>
          </p:cNvPicPr>
          <p:nvPr/>
        </p:nvPicPr>
        <p:blipFill>
          <a:blip r:embed="rId1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5"/>
              </a:ext>
            </a:extLst>
          </a:blip>
          <a:stretch>
            <a:fillRect/>
          </a:stretch>
        </p:blipFill>
        <p:spPr>
          <a:xfrm>
            <a:off x="2435129" y="2801636"/>
            <a:ext cx="457200" cy="457200"/>
          </a:xfrm>
          <a:prstGeom prst="rect">
            <a:avLst/>
          </a:prstGeom>
        </p:spPr>
      </p:pic>
      <p:pic>
        <p:nvPicPr>
          <p:cNvPr id="87" name="Graphic 86">
            <a:extLst>
              <a:ext uri="{FF2B5EF4-FFF2-40B4-BE49-F238E27FC236}">
                <a16:creationId xmlns:a16="http://schemas.microsoft.com/office/drawing/2014/main" id="{97BEA0C7-5BCD-4C33-9F0E-5DFAC655D868}"/>
              </a:ext>
            </a:extLst>
          </p:cNvPr>
          <p:cNvPicPr>
            <a:picLocks noChangeAspect="1"/>
          </p:cNvPicPr>
          <p:nvPr/>
        </p:nvPicPr>
        <p:blipFill>
          <a:blip r:embed="rId1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7"/>
              </a:ext>
            </a:extLst>
          </a:blip>
          <a:stretch>
            <a:fillRect/>
          </a:stretch>
        </p:blipFill>
        <p:spPr>
          <a:xfrm>
            <a:off x="7907389" y="2801636"/>
            <a:ext cx="457200" cy="457200"/>
          </a:xfrm>
          <a:prstGeom prst="rect">
            <a:avLst/>
          </a:prstGeom>
        </p:spPr>
      </p:pic>
      <p:pic>
        <p:nvPicPr>
          <p:cNvPr id="88" name="Graphic 87">
            <a:extLst>
              <a:ext uri="{FF2B5EF4-FFF2-40B4-BE49-F238E27FC236}">
                <a16:creationId xmlns:a16="http://schemas.microsoft.com/office/drawing/2014/main" id="{F49D350F-AE37-40C1-B334-2C1FE6A45BF0}"/>
              </a:ext>
            </a:extLst>
          </p:cNvPr>
          <p:cNvPicPr>
            <a:picLocks noChangeAspect="1"/>
          </p:cNvPicPr>
          <p:nvPr/>
        </p:nvPicPr>
        <p:blipFill>
          <a:blip r:embed="rId1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9"/>
              </a:ext>
            </a:extLst>
          </a:blip>
          <a:stretch>
            <a:fillRect/>
          </a:stretch>
        </p:blipFill>
        <p:spPr>
          <a:xfrm>
            <a:off x="7360163" y="2801636"/>
            <a:ext cx="457200" cy="457200"/>
          </a:xfrm>
          <a:prstGeom prst="rect">
            <a:avLst/>
          </a:prstGeom>
        </p:spPr>
      </p:pic>
      <p:pic>
        <p:nvPicPr>
          <p:cNvPr id="92" name="Graphic 91">
            <a:extLst>
              <a:ext uri="{FF2B5EF4-FFF2-40B4-BE49-F238E27FC236}">
                <a16:creationId xmlns:a16="http://schemas.microsoft.com/office/drawing/2014/main" id="{9106BC76-7C98-4E02-8F07-84ED2D9F921A}"/>
              </a:ext>
            </a:extLst>
          </p:cNvPr>
          <p:cNvPicPr>
            <a:picLocks noChangeAspect="1"/>
          </p:cNvPicPr>
          <p:nvPr/>
        </p:nvPicPr>
        <p:blipFill>
          <a:blip r:embed="rId1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1"/>
              </a:ext>
            </a:extLst>
          </a:blip>
          <a:stretch>
            <a:fillRect/>
          </a:stretch>
        </p:blipFill>
        <p:spPr>
          <a:xfrm>
            <a:off x="8454622" y="2801636"/>
            <a:ext cx="457200" cy="457200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1F6037DC-4529-440C-A500-A8BA07DD49BB}"/>
              </a:ext>
            </a:extLst>
          </p:cNvPr>
          <p:cNvPicPr>
            <a:picLocks noChangeAspect="1"/>
          </p:cNvPicPr>
          <p:nvPr/>
        </p:nvPicPr>
        <p:blipFill>
          <a:blip r:embed="rId1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3"/>
              </a:ext>
            </a:extLst>
          </a:blip>
          <a:stretch>
            <a:fillRect/>
          </a:stretch>
        </p:blipFill>
        <p:spPr>
          <a:xfrm>
            <a:off x="6812937" y="2801636"/>
            <a:ext cx="457200" cy="457200"/>
          </a:xfrm>
          <a:prstGeom prst="rect">
            <a:avLst/>
          </a:prstGeom>
        </p:spPr>
      </p:pic>
      <p:pic>
        <p:nvPicPr>
          <p:cNvPr id="115" name="Graphic 114">
            <a:extLst>
              <a:ext uri="{FF2B5EF4-FFF2-40B4-BE49-F238E27FC236}">
                <a16:creationId xmlns:a16="http://schemas.microsoft.com/office/drawing/2014/main" id="{804A65B2-79F3-4047-94E2-13734A665EC3}"/>
              </a:ext>
            </a:extLst>
          </p:cNvPr>
          <p:cNvPicPr>
            <a:picLocks noChangeAspect="1"/>
          </p:cNvPicPr>
          <p:nvPr/>
        </p:nvPicPr>
        <p:blipFill>
          <a:blip r:embed="rId1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5"/>
              </a:ext>
            </a:extLst>
          </a:blip>
          <a:stretch>
            <a:fillRect/>
          </a:stretch>
        </p:blipFill>
        <p:spPr>
          <a:xfrm>
            <a:off x="5718485" y="2801636"/>
            <a:ext cx="457200" cy="457200"/>
          </a:xfrm>
          <a:prstGeom prst="rect">
            <a:avLst/>
          </a:prstGeom>
        </p:spPr>
      </p:pic>
      <p:pic>
        <p:nvPicPr>
          <p:cNvPr id="116" name="Graphic 115">
            <a:extLst>
              <a:ext uri="{FF2B5EF4-FFF2-40B4-BE49-F238E27FC236}">
                <a16:creationId xmlns:a16="http://schemas.microsoft.com/office/drawing/2014/main" id="{D5F2C06C-6492-44A5-8AC5-0B23E8F68A20}"/>
              </a:ext>
            </a:extLst>
          </p:cNvPr>
          <p:cNvPicPr>
            <a:picLocks noChangeAspect="1"/>
          </p:cNvPicPr>
          <p:nvPr/>
        </p:nvPicPr>
        <p:blipFill>
          <a:blip r:embed="rId1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7"/>
              </a:ext>
            </a:extLst>
          </a:blip>
          <a:stretch>
            <a:fillRect/>
          </a:stretch>
        </p:blipFill>
        <p:spPr>
          <a:xfrm>
            <a:off x="5171259" y="2801636"/>
            <a:ext cx="457200" cy="457200"/>
          </a:xfrm>
          <a:prstGeom prst="rect">
            <a:avLst/>
          </a:prstGeom>
        </p:spPr>
      </p:pic>
      <p:pic>
        <p:nvPicPr>
          <p:cNvPr id="120" name="Graphic 119">
            <a:extLst>
              <a:ext uri="{FF2B5EF4-FFF2-40B4-BE49-F238E27FC236}">
                <a16:creationId xmlns:a16="http://schemas.microsoft.com/office/drawing/2014/main" id="{CC94F705-39A8-4D07-9666-23F571F932CB}"/>
              </a:ext>
            </a:extLst>
          </p:cNvPr>
          <p:cNvPicPr>
            <a:picLocks noChangeAspect="1"/>
          </p:cNvPicPr>
          <p:nvPr/>
        </p:nvPicPr>
        <p:blipFill>
          <a:blip r:embed="rId1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9"/>
              </a:ext>
            </a:extLst>
          </a:blip>
          <a:stretch>
            <a:fillRect/>
          </a:stretch>
        </p:blipFill>
        <p:spPr>
          <a:xfrm>
            <a:off x="6265711" y="2801636"/>
            <a:ext cx="457200" cy="457200"/>
          </a:xfrm>
          <a:prstGeom prst="rect">
            <a:avLst/>
          </a:prstGeom>
        </p:spPr>
      </p:pic>
      <p:pic>
        <p:nvPicPr>
          <p:cNvPr id="124" name="Graphic 123">
            <a:extLst>
              <a:ext uri="{FF2B5EF4-FFF2-40B4-BE49-F238E27FC236}">
                <a16:creationId xmlns:a16="http://schemas.microsoft.com/office/drawing/2014/main" id="{C14823AA-CD24-4E02-84FC-F25C597E6B61}"/>
              </a:ext>
            </a:extLst>
          </p:cNvPr>
          <p:cNvPicPr>
            <a:picLocks noChangeAspect="1"/>
          </p:cNvPicPr>
          <p:nvPr/>
        </p:nvPicPr>
        <p:blipFill>
          <a:blip r:embed="rId1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1"/>
              </a:ext>
            </a:extLst>
          </a:blip>
          <a:stretch>
            <a:fillRect/>
          </a:stretch>
        </p:blipFill>
        <p:spPr>
          <a:xfrm>
            <a:off x="4624033" y="2801636"/>
            <a:ext cx="457200" cy="45720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419DA6DF-68B0-4CDC-95A3-FFDA79594A6B}"/>
              </a:ext>
            </a:extLst>
          </p:cNvPr>
          <p:cNvPicPr>
            <a:picLocks noChangeAspect="1"/>
          </p:cNvPicPr>
          <p:nvPr/>
        </p:nvPicPr>
        <p:blipFill>
          <a:blip r:embed="rId1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3"/>
              </a:ext>
            </a:extLst>
          </a:blip>
          <a:stretch>
            <a:fillRect/>
          </a:stretch>
        </p:blipFill>
        <p:spPr>
          <a:xfrm>
            <a:off x="1340677" y="2245142"/>
            <a:ext cx="457200" cy="4572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D23C8325-B935-4060-A49C-DB6ABB2CCA1A}"/>
              </a:ext>
            </a:extLst>
          </p:cNvPr>
          <p:cNvPicPr>
            <a:picLocks noChangeAspect="1"/>
          </p:cNvPicPr>
          <p:nvPr/>
        </p:nvPicPr>
        <p:blipFill>
          <a:blip r:embed="rId1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5"/>
              </a:ext>
            </a:extLst>
          </a:blip>
          <a:stretch>
            <a:fillRect/>
          </a:stretch>
        </p:blipFill>
        <p:spPr>
          <a:xfrm>
            <a:off x="246225" y="2245142"/>
            <a:ext cx="457200" cy="4572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E542D39A-7A60-40DA-986C-00DC06B83126}"/>
              </a:ext>
            </a:extLst>
          </p:cNvPr>
          <p:cNvPicPr>
            <a:picLocks noChangeAspect="1"/>
          </p:cNvPicPr>
          <p:nvPr/>
        </p:nvPicPr>
        <p:blipFill>
          <a:blip r:embed="rId1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7"/>
              </a:ext>
            </a:extLst>
          </a:blip>
          <a:stretch>
            <a:fillRect/>
          </a:stretch>
        </p:blipFill>
        <p:spPr>
          <a:xfrm>
            <a:off x="793451" y="2245142"/>
            <a:ext cx="457200" cy="457200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1302DDD5-8A63-409E-B6E7-47CD13F21CBC}"/>
              </a:ext>
            </a:extLst>
          </p:cNvPr>
          <p:cNvPicPr>
            <a:picLocks noChangeAspect="1"/>
          </p:cNvPicPr>
          <p:nvPr/>
        </p:nvPicPr>
        <p:blipFill>
          <a:blip r:embed="rId1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9"/>
              </a:ext>
            </a:extLst>
          </a:blip>
          <a:stretch>
            <a:fillRect/>
          </a:stretch>
        </p:blipFill>
        <p:spPr>
          <a:xfrm>
            <a:off x="1887903" y="2245142"/>
            <a:ext cx="457200" cy="457200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3EE54A08-6804-40B0-85F0-3F0FF064059F}"/>
              </a:ext>
            </a:extLst>
          </p:cNvPr>
          <p:cNvPicPr>
            <a:picLocks noChangeAspect="1"/>
          </p:cNvPicPr>
          <p:nvPr/>
        </p:nvPicPr>
        <p:blipFill>
          <a:blip r:embed="rId1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1"/>
              </a:ext>
            </a:extLst>
          </a:blip>
          <a:stretch>
            <a:fillRect/>
          </a:stretch>
        </p:blipFill>
        <p:spPr>
          <a:xfrm>
            <a:off x="3529581" y="2245142"/>
            <a:ext cx="457200" cy="457200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A4A7A5CA-565C-40BD-B854-5A1C31535C18}"/>
              </a:ext>
            </a:extLst>
          </p:cNvPr>
          <p:cNvPicPr>
            <a:picLocks noChangeAspect="1"/>
          </p:cNvPicPr>
          <p:nvPr/>
        </p:nvPicPr>
        <p:blipFill>
          <a:blip r:embed="rId1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3"/>
              </a:ext>
            </a:extLst>
          </a:blip>
          <a:stretch>
            <a:fillRect/>
          </a:stretch>
        </p:blipFill>
        <p:spPr>
          <a:xfrm>
            <a:off x="2435129" y="2245142"/>
            <a:ext cx="457200" cy="457200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8BE040A4-4C29-4F18-A481-04D5D67611FA}"/>
              </a:ext>
            </a:extLst>
          </p:cNvPr>
          <p:cNvPicPr>
            <a:picLocks noChangeAspect="1"/>
          </p:cNvPicPr>
          <p:nvPr/>
        </p:nvPicPr>
        <p:blipFill>
          <a:blip r:embed="rId1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5"/>
              </a:ext>
            </a:extLst>
          </a:blip>
          <a:stretch>
            <a:fillRect/>
          </a:stretch>
        </p:blipFill>
        <p:spPr>
          <a:xfrm>
            <a:off x="2982355" y="2245142"/>
            <a:ext cx="457200" cy="457200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C40295E6-EFB0-4B99-9EA6-FC8D56A1766B}"/>
              </a:ext>
            </a:extLst>
          </p:cNvPr>
          <p:cNvPicPr>
            <a:picLocks noChangeAspect="1"/>
          </p:cNvPicPr>
          <p:nvPr/>
        </p:nvPicPr>
        <p:blipFill>
          <a:blip r:embed="rId1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7"/>
              </a:ext>
            </a:extLst>
          </a:blip>
          <a:stretch>
            <a:fillRect/>
          </a:stretch>
        </p:blipFill>
        <p:spPr>
          <a:xfrm>
            <a:off x="4076807" y="2245142"/>
            <a:ext cx="457200" cy="457200"/>
          </a:xfrm>
          <a:prstGeom prst="rect">
            <a:avLst/>
          </a:prstGeom>
        </p:spPr>
      </p:pic>
      <p:pic>
        <p:nvPicPr>
          <p:cNvPr id="84" name="Graphic 83">
            <a:extLst>
              <a:ext uri="{FF2B5EF4-FFF2-40B4-BE49-F238E27FC236}">
                <a16:creationId xmlns:a16="http://schemas.microsoft.com/office/drawing/2014/main" id="{D926A056-7354-4E55-A913-53722EDC668F}"/>
              </a:ext>
            </a:extLst>
          </p:cNvPr>
          <p:cNvPicPr>
            <a:picLocks noChangeAspect="1"/>
          </p:cNvPicPr>
          <p:nvPr/>
        </p:nvPicPr>
        <p:blipFill>
          <a:blip r:embed="rId1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9"/>
              </a:ext>
            </a:extLst>
          </a:blip>
          <a:stretch>
            <a:fillRect/>
          </a:stretch>
        </p:blipFill>
        <p:spPr>
          <a:xfrm>
            <a:off x="7907389" y="2245142"/>
            <a:ext cx="457200" cy="4572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98E6B53E-CE2A-4958-8313-2B51C3A3754D}"/>
              </a:ext>
            </a:extLst>
          </p:cNvPr>
          <p:cNvPicPr>
            <a:picLocks noChangeAspect="1"/>
          </p:cNvPicPr>
          <p:nvPr/>
        </p:nvPicPr>
        <p:blipFill>
          <a:blip r:embed="rId1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1"/>
              </a:ext>
            </a:extLst>
          </a:blip>
          <a:stretch>
            <a:fillRect/>
          </a:stretch>
        </p:blipFill>
        <p:spPr>
          <a:xfrm>
            <a:off x="6812937" y="2245142"/>
            <a:ext cx="457200" cy="457200"/>
          </a:xfrm>
          <a:prstGeom prst="rect">
            <a:avLst/>
          </a:prstGeom>
        </p:spPr>
      </p:pic>
      <p:pic>
        <p:nvPicPr>
          <p:cNvPr id="86" name="Graphic 85">
            <a:extLst>
              <a:ext uri="{FF2B5EF4-FFF2-40B4-BE49-F238E27FC236}">
                <a16:creationId xmlns:a16="http://schemas.microsoft.com/office/drawing/2014/main" id="{A0F62599-7BF1-49E2-8A45-1057AF3B720A}"/>
              </a:ext>
            </a:extLst>
          </p:cNvPr>
          <p:cNvPicPr>
            <a:picLocks noChangeAspect="1"/>
          </p:cNvPicPr>
          <p:nvPr/>
        </p:nvPicPr>
        <p:blipFill>
          <a:blip r:embed="rId1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3"/>
              </a:ext>
            </a:extLst>
          </a:blip>
          <a:stretch>
            <a:fillRect/>
          </a:stretch>
        </p:blipFill>
        <p:spPr>
          <a:xfrm>
            <a:off x="7360163" y="2245142"/>
            <a:ext cx="457200" cy="457200"/>
          </a:xfrm>
          <a:prstGeom prst="rect">
            <a:avLst/>
          </a:prstGeom>
        </p:spPr>
      </p:pic>
      <p:pic>
        <p:nvPicPr>
          <p:cNvPr id="97" name="Graphic 96">
            <a:extLst>
              <a:ext uri="{FF2B5EF4-FFF2-40B4-BE49-F238E27FC236}">
                <a16:creationId xmlns:a16="http://schemas.microsoft.com/office/drawing/2014/main" id="{83B7793F-4E68-4A3D-97A4-89B99FF2CFDE}"/>
              </a:ext>
            </a:extLst>
          </p:cNvPr>
          <p:cNvPicPr>
            <a:picLocks noChangeAspect="1"/>
          </p:cNvPicPr>
          <p:nvPr/>
        </p:nvPicPr>
        <p:blipFill>
          <a:blip r:embed="rId1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5"/>
              </a:ext>
            </a:extLst>
          </a:blip>
          <a:stretch>
            <a:fillRect/>
          </a:stretch>
        </p:blipFill>
        <p:spPr>
          <a:xfrm>
            <a:off x="8454622" y="2245142"/>
            <a:ext cx="457200" cy="457200"/>
          </a:xfrm>
          <a:prstGeom prst="rect">
            <a:avLst/>
          </a:prstGeom>
        </p:spPr>
      </p:pic>
      <p:pic>
        <p:nvPicPr>
          <p:cNvPr id="112" name="Graphic 111">
            <a:extLst>
              <a:ext uri="{FF2B5EF4-FFF2-40B4-BE49-F238E27FC236}">
                <a16:creationId xmlns:a16="http://schemas.microsoft.com/office/drawing/2014/main" id="{5C2F33AE-D9CD-4C4D-B750-9B747F3C620D}"/>
              </a:ext>
            </a:extLst>
          </p:cNvPr>
          <p:cNvPicPr>
            <a:picLocks noChangeAspect="1"/>
          </p:cNvPicPr>
          <p:nvPr/>
        </p:nvPicPr>
        <p:blipFill>
          <a:blip r:embed="rId1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7"/>
              </a:ext>
            </a:extLst>
          </a:blip>
          <a:stretch>
            <a:fillRect/>
          </a:stretch>
        </p:blipFill>
        <p:spPr>
          <a:xfrm>
            <a:off x="5718485" y="2245142"/>
            <a:ext cx="457200" cy="457200"/>
          </a:xfrm>
          <a:prstGeom prst="rect">
            <a:avLst/>
          </a:prstGeom>
        </p:spPr>
      </p:pic>
      <p:pic>
        <p:nvPicPr>
          <p:cNvPr id="113" name="Graphic 112">
            <a:extLst>
              <a:ext uri="{FF2B5EF4-FFF2-40B4-BE49-F238E27FC236}">
                <a16:creationId xmlns:a16="http://schemas.microsoft.com/office/drawing/2014/main" id="{02ABA87D-24E1-4C4A-A75E-6870753D7F6D}"/>
              </a:ext>
            </a:extLst>
          </p:cNvPr>
          <p:cNvPicPr>
            <a:picLocks noChangeAspect="1"/>
          </p:cNvPicPr>
          <p:nvPr/>
        </p:nvPicPr>
        <p:blipFill>
          <a:blip r:embed="rId1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9"/>
              </a:ext>
            </a:extLst>
          </a:blip>
          <a:stretch>
            <a:fillRect/>
          </a:stretch>
        </p:blipFill>
        <p:spPr>
          <a:xfrm>
            <a:off x="4624033" y="2245142"/>
            <a:ext cx="457200" cy="457200"/>
          </a:xfrm>
          <a:prstGeom prst="rect">
            <a:avLst/>
          </a:prstGeom>
        </p:spPr>
      </p:pic>
      <p:pic>
        <p:nvPicPr>
          <p:cNvPr id="114" name="Graphic 113">
            <a:extLst>
              <a:ext uri="{FF2B5EF4-FFF2-40B4-BE49-F238E27FC236}">
                <a16:creationId xmlns:a16="http://schemas.microsoft.com/office/drawing/2014/main" id="{6C442945-FF7B-4996-864C-FA6F64A31733}"/>
              </a:ext>
            </a:extLst>
          </p:cNvPr>
          <p:cNvPicPr>
            <a:picLocks noChangeAspect="1"/>
          </p:cNvPicPr>
          <p:nvPr/>
        </p:nvPicPr>
        <p:blipFill>
          <a:blip r:embed="rId1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1"/>
              </a:ext>
            </a:extLst>
          </a:blip>
          <a:stretch>
            <a:fillRect/>
          </a:stretch>
        </p:blipFill>
        <p:spPr>
          <a:xfrm>
            <a:off x="5171259" y="2245142"/>
            <a:ext cx="457200" cy="457200"/>
          </a:xfrm>
          <a:prstGeom prst="rect">
            <a:avLst/>
          </a:prstGeom>
        </p:spPr>
      </p:pic>
      <p:pic>
        <p:nvPicPr>
          <p:cNvPr id="125" name="Graphic 124">
            <a:extLst>
              <a:ext uri="{FF2B5EF4-FFF2-40B4-BE49-F238E27FC236}">
                <a16:creationId xmlns:a16="http://schemas.microsoft.com/office/drawing/2014/main" id="{E0627CB7-903E-45D8-9BC6-E502A5F524BD}"/>
              </a:ext>
            </a:extLst>
          </p:cNvPr>
          <p:cNvPicPr>
            <a:picLocks noChangeAspect="1"/>
          </p:cNvPicPr>
          <p:nvPr/>
        </p:nvPicPr>
        <p:blipFill>
          <a:blip r:embed="rId1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3"/>
              </a:ext>
            </a:extLst>
          </a:blip>
          <a:stretch>
            <a:fillRect/>
          </a:stretch>
        </p:blipFill>
        <p:spPr>
          <a:xfrm>
            <a:off x="6265711" y="2245142"/>
            <a:ext cx="457200" cy="4572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28906DBD-1019-4AF0-97EB-243D439C76ED}"/>
              </a:ext>
            </a:extLst>
          </p:cNvPr>
          <p:cNvPicPr>
            <a:picLocks noChangeAspect="1"/>
          </p:cNvPicPr>
          <p:nvPr/>
        </p:nvPicPr>
        <p:blipFill>
          <a:blip r:embed="rId1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5"/>
              </a:ext>
            </a:extLst>
          </a:blip>
          <a:stretch>
            <a:fillRect/>
          </a:stretch>
        </p:blipFill>
        <p:spPr>
          <a:xfrm>
            <a:off x="246225" y="1132154"/>
            <a:ext cx="457200" cy="4572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B15B0180-C53F-433F-A7B1-06996ED2C9C9}"/>
              </a:ext>
            </a:extLst>
          </p:cNvPr>
          <p:cNvPicPr>
            <a:picLocks noChangeAspect="1"/>
          </p:cNvPicPr>
          <p:nvPr/>
        </p:nvPicPr>
        <p:blipFill>
          <a:blip r:embed="rId1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7"/>
              </a:ext>
            </a:extLst>
          </a:blip>
          <a:stretch>
            <a:fillRect/>
          </a:stretch>
        </p:blipFill>
        <p:spPr>
          <a:xfrm>
            <a:off x="1886583" y="1132154"/>
            <a:ext cx="457200" cy="457200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0701E62A-8244-4EE1-95FF-E665B8DE192C}"/>
              </a:ext>
            </a:extLst>
          </p:cNvPr>
          <p:cNvPicPr>
            <a:picLocks noChangeAspect="1"/>
          </p:cNvPicPr>
          <p:nvPr/>
        </p:nvPicPr>
        <p:blipFill>
          <a:blip r:embed="rId1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9"/>
              </a:ext>
            </a:extLst>
          </a:blip>
          <a:stretch>
            <a:fillRect/>
          </a:stretch>
        </p:blipFill>
        <p:spPr>
          <a:xfrm>
            <a:off x="791909" y="1132154"/>
            <a:ext cx="457200" cy="457200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E93407D9-316B-43F4-9799-006CE10675C9}"/>
              </a:ext>
            </a:extLst>
          </p:cNvPr>
          <p:cNvPicPr>
            <a:picLocks noChangeAspect="1"/>
          </p:cNvPicPr>
          <p:nvPr/>
        </p:nvPicPr>
        <p:blipFill>
          <a:blip r:embed="rId2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1"/>
              </a:ext>
            </a:extLst>
          </a:blip>
          <a:stretch>
            <a:fillRect/>
          </a:stretch>
        </p:blipFill>
        <p:spPr>
          <a:xfrm>
            <a:off x="1339246" y="1132154"/>
            <a:ext cx="457200" cy="4572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3A3137CC-BC2C-49AD-B6D5-13A23F7C8B1E}"/>
              </a:ext>
            </a:extLst>
          </p:cNvPr>
          <p:cNvPicPr>
            <a:picLocks noChangeAspect="1"/>
          </p:cNvPicPr>
          <p:nvPr/>
        </p:nvPicPr>
        <p:blipFill>
          <a:blip r:embed="rId2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3"/>
              </a:ext>
            </a:extLst>
          </a:blip>
          <a:stretch>
            <a:fillRect/>
          </a:stretch>
        </p:blipFill>
        <p:spPr>
          <a:xfrm>
            <a:off x="2433920" y="1132154"/>
            <a:ext cx="457200" cy="45720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5D235A5A-BACD-400B-9F75-B3E56A7AD77C}"/>
              </a:ext>
            </a:extLst>
          </p:cNvPr>
          <p:cNvPicPr>
            <a:picLocks noChangeAspect="1"/>
          </p:cNvPicPr>
          <p:nvPr/>
        </p:nvPicPr>
        <p:blipFill>
          <a:blip r:embed="rId2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5"/>
              </a:ext>
            </a:extLst>
          </a:blip>
          <a:stretch>
            <a:fillRect/>
          </a:stretch>
        </p:blipFill>
        <p:spPr>
          <a:xfrm>
            <a:off x="4075931" y="1132154"/>
            <a:ext cx="457200" cy="457200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7257C2A7-E9A8-465D-8246-45B74AA22FFF}"/>
              </a:ext>
            </a:extLst>
          </p:cNvPr>
          <p:cNvPicPr>
            <a:picLocks noChangeAspect="1"/>
          </p:cNvPicPr>
          <p:nvPr/>
        </p:nvPicPr>
        <p:blipFill>
          <a:blip r:embed="rId2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7"/>
              </a:ext>
            </a:extLst>
          </a:blip>
          <a:stretch>
            <a:fillRect/>
          </a:stretch>
        </p:blipFill>
        <p:spPr>
          <a:xfrm>
            <a:off x="2981257" y="1132154"/>
            <a:ext cx="457200" cy="457200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8FB9030A-D7E6-4005-BF38-EA65A6AAD3E1}"/>
              </a:ext>
            </a:extLst>
          </p:cNvPr>
          <p:cNvPicPr>
            <a:picLocks noChangeAspect="1"/>
          </p:cNvPicPr>
          <p:nvPr/>
        </p:nvPicPr>
        <p:blipFill>
          <a:blip r:embed="rId2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9"/>
              </a:ext>
            </a:extLst>
          </a:blip>
          <a:stretch>
            <a:fillRect/>
          </a:stretch>
        </p:blipFill>
        <p:spPr>
          <a:xfrm>
            <a:off x="3528594" y="1132154"/>
            <a:ext cx="457200" cy="457200"/>
          </a:xfrm>
          <a:prstGeom prst="rect">
            <a:avLst/>
          </a:prstGeom>
        </p:spPr>
      </p:pic>
      <p:pic>
        <p:nvPicPr>
          <p:cNvPr id="75" name="Graphic 74">
            <a:extLst>
              <a:ext uri="{FF2B5EF4-FFF2-40B4-BE49-F238E27FC236}">
                <a16:creationId xmlns:a16="http://schemas.microsoft.com/office/drawing/2014/main" id="{BF3327CC-37F0-4A56-A816-BD84878A18C3}"/>
              </a:ext>
            </a:extLst>
          </p:cNvPr>
          <p:cNvPicPr>
            <a:picLocks noChangeAspect="1"/>
          </p:cNvPicPr>
          <p:nvPr/>
        </p:nvPicPr>
        <p:blipFill>
          <a:blip r:embed="rId2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1"/>
              </a:ext>
            </a:extLst>
          </a:blip>
          <a:stretch>
            <a:fillRect/>
          </a:stretch>
        </p:blipFill>
        <p:spPr>
          <a:xfrm>
            <a:off x="6812616" y="1132154"/>
            <a:ext cx="457200" cy="457200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8AF4190A-1CAC-4653-AD67-053F2E29C13B}"/>
              </a:ext>
            </a:extLst>
          </p:cNvPr>
          <p:cNvPicPr>
            <a:picLocks noChangeAspect="1"/>
          </p:cNvPicPr>
          <p:nvPr/>
        </p:nvPicPr>
        <p:blipFill>
          <a:blip r:embed="rId2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3"/>
              </a:ext>
            </a:extLst>
          </a:blip>
          <a:stretch>
            <a:fillRect/>
          </a:stretch>
        </p:blipFill>
        <p:spPr>
          <a:xfrm>
            <a:off x="8454622" y="1132154"/>
            <a:ext cx="457200" cy="457200"/>
          </a:xfrm>
          <a:prstGeom prst="rect">
            <a:avLst/>
          </a:prstGeom>
        </p:spPr>
      </p:pic>
      <p:pic>
        <p:nvPicPr>
          <p:cNvPr id="99" name="Graphic 98">
            <a:extLst>
              <a:ext uri="{FF2B5EF4-FFF2-40B4-BE49-F238E27FC236}">
                <a16:creationId xmlns:a16="http://schemas.microsoft.com/office/drawing/2014/main" id="{3F560AD9-9375-4315-9984-1F8EF6CF31B1}"/>
              </a:ext>
            </a:extLst>
          </p:cNvPr>
          <p:cNvPicPr>
            <a:picLocks noChangeAspect="1"/>
          </p:cNvPicPr>
          <p:nvPr/>
        </p:nvPicPr>
        <p:blipFill>
          <a:blip r:embed="rId2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5"/>
              </a:ext>
            </a:extLst>
          </a:blip>
          <a:stretch>
            <a:fillRect/>
          </a:stretch>
        </p:blipFill>
        <p:spPr>
          <a:xfrm>
            <a:off x="7359953" y="1132154"/>
            <a:ext cx="457200" cy="457200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E58C084E-A67B-4512-9C05-1981E150329C}"/>
              </a:ext>
            </a:extLst>
          </p:cNvPr>
          <p:cNvPicPr>
            <a:picLocks noChangeAspect="1"/>
          </p:cNvPicPr>
          <p:nvPr/>
        </p:nvPicPr>
        <p:blipFill>
          <a:blip r:embed="rId2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7"/>
              </a:ext>
            </a:extLst>
          </a:blip>
          <a:stretch>
            <a:fillRect/>
          </a:stretch>
        </p:blipFill>
        <p:spPr>
          <a:xfrm>
            <a:off x="7907290" y="1132154"/>
            <a:ext cx="457200" cy="457200"/>
          </a:xfrm>
          <a:prstGeom prst="rect">
            <a:avLst/>
          </a:prstGeom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64B69BE3-B7E3-430D-9BCA-EF13C2C96869}"/>
              </a:ext>
            </a:extLst>
          </p:cNvPr>
          <p:cNvPicPr>
            <a:picLocks noChangeAspect="1"/>
          </p:cNvPicPr>
          <p:nvPr/>
        </p:nvPicPr>
        <p:blipFill>
          <a:blip r:embed="rId2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9"/>
              </a:ext>
            </a:extLst>
          </a:blip>
          <a:stretch>
            <a:fillRect/>
          </a:stretch>
        </p:blipFill>
        <p:spPr>
          <a:xfrm>
            <a:off x="4623268" y="1132154"/>
            <a:ext cx="457200" cy="457200"/>
          </a:xfrm>
          <a:prstGeom prst="rect">
            <a:avLst/>
          </a:prstGeom>
        </p:spPr>
      </p:pic>
      <p:pic>
        <p:nvPicPr>
          <p:cNvPr id="126" name="Graphic 125">
            <a:extLst>
              <a:ext uri="{FF2B5EF4-FFF2-40B4-BE49-F238E27FC236}">
                <a16:creationId xmlns:a16="http://schemas.microsoft.com/office/drawing/2014/main" id="{57EBD975-1529-4F72-829D-83C7B7E2665D}"/>
              </a:ext>
            </a:extLst>
          </p:cNvPr>
          <p:cNvPicPr>
            <a:picLocks noChangeAspect="1"/>
          </p:cNvPicPr>
          <p:nvPr/>
        </p:nvPicPr>
        <p:blipFill>
          <a:blip r:embed="rId2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1"/>
              </a:ext>
            </a:extLst>
          </a:blip>
          <a:stretch>
            <a:fillRect/>
          </a:stretch>
        </p:blipFill>
        <p:spPr>
          <a:xfrm>
            <a:off x="6265279" y="1132154"/>
            <a:ext cx="457200" cy="457200"/>
          </a:xfrm>
          <a:prstGeom prst="rect">
            <a:avLst/>
          </a:prstGeom>
        </p:spPr>
      </p:pic>
      <p:pic>
        <p:nvPicPr>
          <p:cNvPr id="127" name="Graphic 126">
            <a:extLst>
              <a:ext uri="{FF2B5EF4-FFF2-40B4-BE49-F238E27FC236}">
                <a16:creationId xmlns:a16="http://schemas.microsoft.com/office/drawing/2014/main" id="{98EB2B67-396A-4D6B-B1AE-0DB52B26DC40}"/>
              </a:ext>
            </a:extLst>
          </p:cNvPr>
          <p:cNvPicPr>
            <a:picLocks noChangeAspect="1"/>
          </p:cNvPicPr>
          <p:nvPr/>
        </p:nvPicPr>
        <p:blipFill>
          <a:blip r:embed="rId2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3"/>
              </a:ext>
            </a:extLst>
          </a:blip>
          <a:stretch>
            <a:fillRect/>
          </a:stretch>
        </p:blipFill>
        <p:spPr>
          <a:xfrm>
            <a:off x="5170605" y="1132154"/>
            <a:ext cx="457200" cy="457200"/>
          </a:xfrm>
          <a:prstGeom prst="rect">
            <a:avLst/>
          </a:prstGeom>
        </p:spPr>
      </p:pic>
      <p:pic>
        <p:nvPicPr>
          <p:cNvPr id="128" name="Graphic 127">
            <a:extLst>
              <a:ext uri="{FF2B5EF4-FFF2-40B4-BE49-F238E27FC236}">
                <a16:creationId xmlns:a16="http://schemas.microsoft.com/office/drawing/2014/main" id="{C9B536AB-BC5F-4A78-AE47-69A9D1A64699}"/>
              </a:ext>
            </a:extLst>
          </p:cNvPr>
          <p:cNvPicPr>
            <a:picLocks noChangeAspect="1"/>
          </p:cNvPicPr>
          <p:nvPr/>
        </p:nvPicPr>
        <p:blipFill>
          <a:blip r:embed="rId2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5"/>
              </a:ext>
            </a:extLst>
          </a:blip>
          <a:stretch>
            <a:fillRect/>
          </a:stretch>
        </p:blipFill>
        <p:spPr>
          <a:xfrm>
            <a:off x="5717942" y="1132154"/>
            <a:ext cx="457200" cy="4572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BCE8D1-C015-3443-989C-7B059FB2207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Nucleo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037BCD-1666-104E-8938-F831A1B003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78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FA8ED3-6B04-8849-A4AA-DA2741D5F7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git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95142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 128">
            <a:extLst>
              <a:ext uri="{FF2B5EF4-FFF2-40B4-BE49-F238E27FC236}">
                <a16:creationId xmlns:a16="http://schemas.microsoft.com/office/drawing/2014/main" id="{C1CFE928-BAF4-FE44-B324-92A20100A9E5}"/>
              </a:ext>
            </a:extLst>
          </p:cNvPr>
          <p:cNvSpPr/>
          <p:nvPr/>
        </p:nvSpPr>
        <p:spPr>
          <a:xfrm>
            <a:off x="6779796" y="971550"/>
            <a:ext cx="2364203" cy="41465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D622EC3-C01F-438B-B946-CAE51A4FC7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85351" y="4473430"/>
            <a:ext cx="457200" cy="4572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F0482AB3-9A1D-47BD-A85D-E803BF2210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37740" y="4473430"/>
            <a:ext cx="457200" cy="4572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AADB16D3-0DD2-4C24-B493-8D550E9B27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0129" y="4473430"/>
            <a:ext cx="457200" cy="45720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78B5117F-5CC6-476D-9EF4-CADC2EBC72D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2518" y="4473430"/>
            <a:ext cx="457200" cy="45720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5FF1CC42-88D7-4953-B093-D60363F5BF6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75795" y="4473430"/>
            <a:ext cx="457200" cy="45720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35CDFD95-7A4D-42C5-B553-DCCA8A9A2F9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28184" y="4473430"/>
            <a:ext cx="457200" cy="4572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8EB80CED-B5AB-4111-A5CA-EE394E639A3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80573" y="4473430"/>
            <a:ext cx="457200" cy="4572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B16248AE-26C8-42EB-BEEF-E7687A4222D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432962" y="4473430"/>
            <a:ext cx="457200" cy="457200"/>
          </a:xfrm>
          <a:prstGeom prst="rect">
            <a:avLst/>
          </a:pr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5B4401A1-4C5D-4627-B7B2-B19B324AC56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266239" y="4473430"/>
            <a:ext cx="457200" cy="457200"/>
          </a:xfrm>
          <a:prstGeom prst="rect">
            <a:avLst/>
          </a:prstGeom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3F81D6B3-AA68-47CE-9679-BE6E4254D5B5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718628" y="4473430"/>
            <a:ext cx="457200" cy="457200"/>
          </a:xfrm>
          <a:prstGeom prst="rect">
            <a:avLst/>
          </a:prstGeom>
        </p:spPr>
      </p:pic>
      <p:pic>
        <p:nvPicPr>
          <p:cNvPr id="80" name="Graphic 79">
            <a:extLst>
              <a:ext uri="{FF2B5EF4-FFF2-40B4-BE49-F238E27FC236}">
                <a16:creationId xmlns:a16="http://schemas.microsoft.com/office/drawing/2014/main" id="{41A10FED-CADA-4E82-82A0-DC7EC49A8B6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171017" y="4473430"/>
            <a:ext cx="457200" cy="457200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EFF98019-7A9C-4533-A5FB-5974CEC8953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623406" y="4473430"/>
            <a:ext cx="457200" cy="457200"/>
          </a:xfrm>
          <a:prstGeom prst="rect">
            <a:avLst/>
          </a:prstGeom>
        </p:spPr>
      </p:pic>
      <p:pic>
        <p:nvPicPr>
          <p:cNvPr id="105" name="Graphic 104">
            <a:extLst>
              <a:ext uri="{FF2B5EF4-FFF2-40B4-BE49-F238E27FC236}">
                <a16:creationId xmlns:a16="http://schemas.microsoft.com/office/drawing/2014/main" id="{DEDBF711-2A6F-44ED-B551-B02EE26B499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456680" y="4473430"/>
            <a:ext cx="457200" cy="457200"/>
          </a:xfrm>
          <a:prstGeom prst="rect">
            <a:avLst/>
          </a:prstGeom>
        </p:spPr>
      </p:pic>
      <p:pic>
        <p:nvPicPr>
          <p:cNvPr id="106" name="Graphic 105">
            <a:extLst>
              <a:ext uri="{FF2B5EF4-FFF2-40B4-BE49-F238E27FC236}">
                <a16:creationId xmlns:a16="http://schemas.microsoft.com/office/drawing/2014/main" id="{2EB9CFCC-50A5-4AB6-9238-6B24FD37C6A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909072" y="4473430"/>
            <a:ext cx="457200" cy="457200"/>
          </a:xfrm>
          <a:prstGeom prst="rect">
            <a:avLst/>
          </a:prstGeom>
        </p:spPr>
      </p:pic>
      <p:pic>
        <p:nvPicPr>
          <p:cNvPr id="108" name="Graphic 107">
            <a:extLst>
              <a:ext uri="{FF2B5EF4-FFF2-40B4-BE49-F238E27FC236}">
                <a16:creationId xmlns:a16="http://schemas.microsoft.com/office/drawing/2014/main" id="{24AA5C4D-512E-4232-A593-B7C85EEB599A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7361461" y="4473430"/>
            <a:ext cx="457200" cy="457200"/>
          </a:xfrm>
          <a:prstGeom prst="rect">
            <a:avLst/>
          </a:prstGeom>
        </p:spPr>
      </p:pic>
      <p:pic>
        <p:nvPicPr>
          <p:cNvPr id="110" name="Graphic 109">
            <a:extLst>
              <a:ext uri="{FF2B5EF4-FFF2-40B4-BE49-F238E27FC236}">
                <a16:creationId xmlns:a16="http://schemas.microsoft.com/office/drawing/2014/main" id="{494C999C-A193-44D7-ADF0-61BCE389052C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6813850" y="4473430"/>
            <a:ext cx="457200" cy="4572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30A45433-363E-4C17-8646-2C645B40E00F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242518" y="1696964"/>
            <a:ext cx="457200" cy="4572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147529F3-9DFE-45FF-AAC4-F7B255128E36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790129" y="1696964"/>
            <a:ext cx="457200" cy="4572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64C2A3AF-1E89-4BE9-ABFE-B099BF05D97C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337740" y="1696964"/>
            <a:ext cx="457200" cy="45720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A568BAAE-560E-475E-9BCD-2DE958EA9727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885351" y="1696964"/>
            <a:ext cx="457200" cy="4572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8E10352E-5CF7-45D8-8370-6C9183F0CC98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2432962" y="1696964"/>
            <a:ext cx="457200" cy="457200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ECE802B2-C417-4FBF-9B61-22298C7DC26B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2980573" y="1696964"/>
            <a:ext cx="457200" cy="457200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F5E141D5-96FA-48D8-AE15-B67E11CCB625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3528184" y="1696964"/>
            <a:ext cx="457200" cy="457200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3C20C564-E37F-4CF3-B5FA-43839FC35D3D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4075795" y="1696964"/>
            <a:ext cx="457200" cy="457200"/>
          </a:xfrm>
          <a:prstGeom prst="rect">
            <a:avLst/>
          </a:prstGeom>
        </p:spPr>
      </p:pic>
      <p:pic>
        <p:nvPicPr>
          <p:cNvPr id="75" name="Graphic 74">
            <a:extLst>
              <a:ext uri="{FF2B5EF4-FFF2-40B4-BE49-F238E27FC236}">
                <a16:creationId xmlns:a16="http://schemas.microsoft.com/office/drawing/2014/main" id="{01F1D225-8B7E-43C5-8DC4-A43F95726FDE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4623406" y="1696964"/>
            <a:ext cx="457200" cy="457200"/>
          </a:xfrm>
          <a:prstGeom prst="rect">
            <a:avLst/>
          </a:prstGeom>
        </p:spPr>
      </p:pic>
      <p:pic>
        <p:nvPicPr>
          <p:cNvPr id="79" name="Graphic 78">
            <a:extLst>
              <a:ext uri="{FF2B5EF4-FFF2-40B4-BE49-F238E27FC236}">
                <a16:creationId xmlns:a16="http://schemas.microsoft.com/office/drawing/2014/main" id="{5A1C86F5-35FF-4367-8969-CD2DECEFB406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5171017" y="1696964"/>
            <a:ext cx="457200" cy="457200"/>
          </a:xfrm>
          <a:prstGeom prst="rect">
            <a:avLst/>
          </a:prstGeom>
        </p:spPr>
      </p:pic>
      <p:pic>
        <p:nvPicPr>
          <p:cNvPr id="83" name="Graphic 82">
            <a:extLst>
              <a:ext uri="{FF2B5EF4-FFF2-40B4-BE49-F238E27FC236}">
                <a16:creationId xmlns:a16="http://schemas.microsoft.com/office/drawing/2014/main" id="{15838FAC-4908-4612-A8A7-22E53B00B6CD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5718628" y="1696964"/>
            <a:ext cx="457200" cy="457200"/>
          </a:xfrm>
          <a:prstGeom prst="rect">
            <a:avLst/>
          </a:prstGeom>
        </p:spPr>
      </p:pic>
      <p:pic>
        <p:nvPicPr>
          <p:cNvPr id="84" name="Graphic 83">
            <a:extLst>
              <a:ext uri="{FF2B5EF4-FFF2-40B4-BE49-F238E27FC236}">
                <a16:creationId xmlns:a16="http://schemas.microsoft.com/office/drawing/2014/main" id="{46655D83-2E3A-4EDC-B948-E274B8F29CE7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6266239" y="1696964"/>
            <a:ext cx="457200" cy="457200"/>
          </a:xfrm>
          <a:prstGeom prst="rect">
            <a:avLst/>
          </a:prstGeom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B67E4A96-F7EA-446E-9327-BC9E33FD8D7B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6813850" y="1696964"/>
            <a:ext cx="457200" cy="457200"/>
          </a:xfrm>
          <a:prstGeom prst="rect">
            <a:avLst/>
          </a:prstGeom>
        </p:spPr>
      </p:pic>
      <p:pic>
        <p:nvPicPr>
          <p:cNvPr id="107" name="Graphic 106">
            <a:extLst>
              <a:ext uri="{FF2B5EF4-FFF2-40B4-BE49-F238E27FC236}">
                <a16:creationId xmlns:a16="http://schemas.microsoft.com/office/drawing/2014/main" id="{4FE700F3-9078-4CAF-B475-07A75897745C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7361461" y="1696964"/>
            <a:ext cx="457200" cy="457200"/>
          </a:xfrm>
          <a:prstGeom prst="rect">
            <a:avLst/>
          </a:prstGeom>
        </p:spPr>
      </p:pic>
      <p:pic>
        <p:nvPicPr>
          <p:cNvPr id="111" name="Graphic 110">
            <a:extLst>
              <a:ext uri="{FF2B5EF4-FFF2-40B4-BE49-F238E27FC236}">
                <a16:creationId xmlns:a16="http://schemas.microsoft.com/office/drawing/2014/main" id="{2466B6A2-CCCC-4100-A8D8-20BA1CCC4009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909072" y="1696964"/>
            <a:ext cx="457200" cy="457200"/>
          </a:xfrm>
          <a:prstGeom prst="rect">
            <a:avLst/>
          </a:prstGeom>
        </p:spPr>
      </p:pic>
      <p:pic>
        <p:nvPicPr>
          <p:cNvPr id="112" name="Graphic 111">
            <a:extLst>
              <a:ext uri="{FF2B5EF4-FFF2-40B4-BE49-F238E27FC236}">
                <a16:creationId xmlns:a16="http://schemas.microsoft.com/office/drawing/2014/main" id="{F6018BF5-8A82-4A4C-BCCB-E483655381CF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8456680" y="1696964"/>
            <a:ext cx="457200" cy="4572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161F36C9-3A34-4EA5-94D6-E94552B56968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885351" y="3918136"/>
            <a:ext cx="457200" cy="4572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CE945B8A-085C-43BB-AC6B-DB02DE201FD9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337740" y="3918136"/>
            <a:ext cx="457200" cy="457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DBC15C90-5E2E-44C8-AE7E-F5060FAF10F9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90129" y="3918136"/>
            <a:ext cx="457200" cy="4572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169F1B1A-FA63-49E5-94CA-115F63FF3F3C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242518" y="3918136"/>
            <a:ext cx="457200" cy="457200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C5AADE6F-4BCA-469E-9705-5877C0846598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4075795" y="3918136"/>
            <a:ext cx="457200" cy="457200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7B3EF316-1D14-443E-AE9E-728392625ED3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3528184" y="3918136"/>
            <a:ext cx="457200" cy="45720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7E97E6CC-9A56-4F04-BFBC-1E35C384F418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9"/>
              </a:ext>
            </a:extLst>
          </a:blip>
          <a:stretch>
            <a:fillRect/>
          </a:stretch>
        </p:blipFill>
        <p:spPr>
          <a:xfrm>
            <a:off x="2980573" y="3918136"/>
            <a:ext cx="457200" cy="457200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C04D9C22-F123-4A72-BCB7-2E089169C888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1"/>
              </a:ext>
            </a:extLst>
          </a:blip>
          <a:stretch>
            <a:fillRect/>
          </a:stretch>
        </p:blipFill>
        <p:spPr>
          <a:xfrm>
            <a:off x="2432962" y="3918136"/>
            <a:ext cx="457200" cy="4572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422FB516-AAE9-4683-8A64-604684438817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3"/>
              </a:ext>
            </a:extLst>
          </a:blip>
          <a:stretch>
            <a:fillRect/>
          </a:stretch>
        </p:blipFill>
        <p:spPr>
          <a:xfrm>
            <a:off x="6266239" y="3918136"/>
            <a:ext cx="457200" cy="457200"/>
          </a:xfrm>
          <a:prstGeom prst="rect">
            <a:avLst/>
          </a:prstGeom>
        </p:spPr>
      </p:pic>
      <p:pic>
        <p:nvPicPr>
          <p:cNvPr id="86" name="Graphic 85">
            <a:extLst>
              <a:ext uri="{FF2B5EF4-FFF2-40B4-BE49-F238E27FC236}">
                <a16:creationId xmlns:a16="http://schemas.microsoft.com/office/drawing/2014/main" id="{48391906-A6A6-471E-9F31-C427731EE699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5"/>
              </a:ext>
            </a:extLst>
          </a:blip>
          <a:stretch>
            <a:fillRect/>
          </a:stretch>
        </p:blipFill>
        <p:spPr>
          <a:xfrm>
            <a:off x="5718628" y="3918136"/>
            <a:ext cx="457200" cy="457200"/>
          </a:xfrm>
          <a:prstGeom prst="rect">
            <a:avLst/>
          </a:prstGeom>
        </p:spPr>
      </p:pic>
      <p:pic>
        <p:nvPicPr>
          <p:cNvPr id="87" name="Graphic 86">
            <a:extLst>
              <a:ext uri="{FF2B5EF4-FFF2-40B4-BE49-F238E27FC236}">
                <a16:creationId xmlns:a16="http://schemas.microsoft.com/office/drawing/2014/main" id="{6C938126-774D-4643-95F8-07BB491C7175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7"/>
              </a:ext>
            </a:extLst>
          </a:blip>
          <a:stretch>
            <a:fillRect/>
          </a:stretch>
        </p:blipFill>
        <p:spPr>
          <a:xfrm>
            <a:off x="5171017" y="3918136"/>
            <a:ext cx="457200" cy="457200"/>
          </a:xfrm>
          <a:prstGeom prst="rect">
            <a:avLst/>
          </a:prstGeom>
        </p:spPr>
      </p:pic>
      <p:pic>
        <p:nvPicPr>
          <p:cNvPr id="90" name="Graphic 89">
            <a:extLst>
              <a:ext uri="{FF2B5EF4-FFF2-40B4-BE49-F238E27FC236}">
                <a16:creationId xmlns:a16="http://schemas.microsoft.com/office/drawing/2014/main" id="{C042EA90-8B8F-49BA-9A76-0FB69312832F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9"/>
              </a:ext>
            </a:extLst>
          </a:blip>
          <a:stretch>
            <a:fillRect/>
          </a:stretch>
        </p:blipFill>
        <p:spPr>
          <a:xfrm>
            <a:off x="4623406" y="3918136"/>
            <a:ext cx="457200" cy="457200"/>
          </a:xfrm>
          <a:prstGeom prst="rect">
            <a:avLst/>
          </a:prstGeom>
        </p:spPr>
      </p:pic>
      <p:pic>
        <p:nvPicPr>
          <p:cNvPr id="113" name="Graphic 112">
            <a:extLst>
              <a:ext uri="{FF2B5EF4-FFF2-40B4-BE49-F238E27FC236}">
                <a16:creationId xmlns:a16="http://schemas.microsoft.com/office/drawing/2014/main" id="{67564A6C-4177-4C4D-90B6-E3CD6937EDF0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1"/>
              </a:ext>
            </a:extLst>
          </a:blip>
          <a:stretch>
            <a:fillRect/>
          </a:stretch>
        </p:blipFill>
        <p:spPr>
          <a:xfrm>
            <a:off x="8456680" y="3918136"/>
            <a:ext cx="457200" cy="457200"/>
          </a:xfrm>
          <a:prstGeom prst="rect">
            <a:avLst/>
          </a:prstGeom>
        </p:spPr>
      </p:pic>
      <p:pic>
        <p:nvPicPr>
          <p:cNvPr id="114" name="Graphic 113">
            <a:extLst>
              <a:ext uri="{FF2B5EF4-FFF2-40B4-BE49-F238E27FC236}">
                <a16:creationId xmlns:a16="http://schemas.microsoft.com/office/drawing/2014/main" id="{77086A44-1315-4E07-9EF5-75C6FDBA612A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3"/>
              </a:ext>
            </a:extLst>
          </a:blip>
          <a:stretch>
            <a:fillRect/>
          </a:stretch>
        </p:blipFill>
        <p:spPr>
          <a:xfrm>
            <a:off x="7909072" y="3918136"/>
            <a:ext cx="457200" cy="457200"/>
          </a:xfrm>
          <a:prstGeom prst="rect">
            <a:avLst/>
          </a:prstGeom>
        </p:spPr>
      </p:pic>
      <p:pic>
        <p:nvPicPr>
          <p:cNvPr id="115" name="Graphic 114">
            <a:extLst>
              <a:ext uri="{FF2B5EF4-FFF2-40B4-BE49-F238E27FC236}">
                <a16:creationId xmlns:a16="http://schemas.microsoft.com/office/drawing/2014/main" id="{9266D4F9-A282-4ABE-9C75-9A264B3DC2C9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5"/>
              </a:ext>
            </a:extLst>
          </a:blip>
          <a:stretch>
            <a:fillRect/>
          </a:stretch>
        </p:blipFill>
        <p:spPr>
          <a:xfrm>
            <a:off x="7361461" y="3918136"/>
            <a:ext cx="457200" cy="457200"/>
          </a:xfrm>
          <a:prstGeom prst="rect">
            <a:avLst/>
          </a:prstGeom>
        </p:spPr>
      </p:pic>
      <p:pic>
        <p:nvPicPr>
          <p:cNvPr id="118" name="Graphic 117">
            <a:extLst>
              <a:ext uri="{FF2B5EF4-FFF2-40B4-BE49-F238E27FC236}">
                <a16:creationId xmlns:a16="http://schemas.microsoft.com/office/drawing/2014/main" id="{BCF247A6-1015-453B-BB42-619E62EF9307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7"/>
              </a:ext>
            </a:extLst>
          </a:blip>
          <a:stretch>
            <a:fillRect/>
          </a:stretch>
        </p:blipFill>
        <p:spPr>
          <a:xfrm>
            <a:off x="6813850" y="3918136"/>
            <a:ext cx="457200" cy="45720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07142F7C-76BB-40E5-9890-F807AAE0CB31}"/>
              </a:ext>
            </a:extLst>
          </p:cNvPr>
          <p:cNvPicPr>
            <a:picLocks noChangeAspect="1"/>
          </p:cNvPicPr>
          <p:nvPr/>
        </p:nvPicPr>
        <p:blipFill>
          <a:blip r:embed="rId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9"/>
              </a:ext>
            </a:extLst>
          </a:blip>
          <a:stretch>
            <a:fillRect/>
          </a:stretch>
        </p:blipFill>
        <p:spPr>
          <a:xfrm>
            <a:off x="1885351" y="3362843"/>
            <a:ext cx="457200" cy="4572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521AFC41-B79A-43BC-802A-13DADF1E8B5E}"/>
              </a:ext>
            </a:extLst>
          </p:cNvPr>
          <p:cNvPicPr>
            <a:picLocks noChangeAspect="1"/>
          </p:cNvPicPr>
          <p:nvPr/>
        </p:nvPicPr>
        <p:blipFill>
          <a:blip r:embed="rId1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1"/>
              </a:ext>
            </a:extLst>
          </a:blip>
          <a:stretch>
            <a:fillRect/>
          </a:stretch>
        </p:blipFill>
        <p:spPr>
          <a:xfrm>
            <a:off x="1337740" y="3362843"/>
            <a:ext cx="457200" cy="4572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859FC6CE-1A58-4091-9BE4-94A42686FCE0}"/>
              </a:ext>
            </a:extLst>
          </p:cNvPr>
          <p:cNvPicPr>
            <a:picLocks noChangeAspect="1"/>
          </p:cNvPicPr>
          <p:nvPr/>
        </p:nvPicPr>
        <p:blipFill>
          <a:blip r:embed="rId1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3"/>
              </a:ext>
            </a:extLst>
          </a:blip>
          <a:stretch>
            <a:fillRect/>
          </a:stretch>
        </p:blipFill>
        <p:spPr>
          <a:xfrm>
            <a:off x="790129" y="3362843"/>
            <a:ext cx="457200" cy="45720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8DEA46AE-18C2-423B-B58A-80AFDA936887}"/>
              </a:ext>
            </a:extLst>
          </p:cNvPr>
          <p:cNvPicPr>
            <a:picLocks noChangeAspect="1"/>
          </p:cNvPicPr>
          <p:nvPr/>
        </p:nvPicPr>
        <p:blipFill>
          <a:blip r:embed="rId1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5"/>
              </a:ext>
            </a:extLst>
          </a:blip>
          <a:stretch>
            <a:fillRect/>
          </a:stretch>
        </p:blipFill>
        <p:spPr>
          <a:xfrm>
            <a:off x="242518" y="3362843"/>
            <a:ext cx="457200" cy="457200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02111704-5BB2-4576-9B83-0E283BC572A7}"/>
              </a:ext>
            </a:extLst>
          </p:cNvPr>
          <p:cNvPicPr>
            <a:picLocks noChangeAspect="1"/>
          </p:cNvPicPr>
          <p:nvPr/>
        </p:nvPicPr>
        <p:blipFill>
          <a:blip r:embed="rId1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7"/>
              </a:ext>
            </a:extLst>
          </a:blip>
          <a:stretch>
            <a:fillRect/>
          </a:stretch>
        </p:blipFill>
        <p:spPr>
          <a:xfrm>
            <a:off x="4075795" y="3362843"/>
            <a:ext cx="457200" cy="457200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00E00523-D722-49C6-99B4-5B4D09603CD4}"/>
              </a:ext>
            </a:extLst>
          </p:cNvPr>
          <p:cNvPicPr>
            <a:picLocks noChangeAspect="1"/>
          </p:cNvPicPr>
          <p:nvPr/>
        </p:nvPicPr>
        <p:blipFill>
          <a:blip r:embed="rId1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9"/>
              </a:ext>
            </a:extLst>
          </a:blip>
          <a:stretch>
            <a:fillRect/>
          </a:stretch>
        </p:blipFill>
        <p:spPr>
          <a:xfrm>
            <a:off x="3528184" y="3362843"/>
            <a:ext cx="457200" cy="457200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FD08A2F6-6E40-47E1-8432-30F7034E1BF9}"/>
              </a:ext>
            </a:extLst>
          </p:cNvPr>
          <p:cNvPicPr>
            <a:picLocks noChangeAspect="1"/>
          </p:cNvPicPr>
          <p:nvPr/>
        </p:nvPicPr>
        <p:blipFill>
          <a:blip r:embed="rId1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1"/>
              </a:ext>
            </a:extLst>
          </a:blip>
          <a:stretch>
            <a:fillRect/>
          </a:stretch>
        </p:blipFill>
        <p:spPr>
          <a:xfrm>
            <a:off x="2980573" y="3362843"/>
            <a:ext cx="457200" cy="45720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4EC3CB78-3F07-4F5A-BA47-CFEB16B3B9AD}"/>
              </a:ext>
            </a:extLst>
          </p:cNvPr>
          <p:cNvPicPr>
            <a:picLocks noChangeAspect="1"/>
          </p:cNvPicPr>
          <p:nvPr/>
        </p:nvPicPr>
        <p:blipFill>
          <a:blip r:embed="rId1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3"/>
              </a:ext>
            </a:extLst>
          </a:blip>
          <a:stretch>
            <a:fillRect/>
          </a:stretch>
        </p:blipFill>
        <p:spPr>
          <a:xfrm>
            <a:off x="2432962" y="3362843"/>
            <a:ext cx="457200" cy="457200"/>
          </a:xfrm>
          <a:prstGeom prst="rect">
            <a:avLst/>
          </a:prstGeom>
        </p:spPr>
      </p:pic>
      <p:pic>
        <p:nvPicPr>
          <p:cNvPr id="91" name="Graphic 90">
            <a:extLst>
              <a:ext uri="{FF2B5EF4-FFF2-40B4-BE49-F238E27FC236}">
                <a16:creationId xmlns:a16="http://schemas.microsoft.com/office/drawing/2014/main" id="{BD5209D4-AA31-4126-B076-FBD65990FAF8}"/>
              </a:ext>
            </a:extLst>
          </p:cNvPr>
          <p:cNvPicPr>
            <a:picLocks noChangeAspect="1"/>
          </p:cNvPicPr>
          <p:nvPr/>
        </p:nvPicPr>
        <p:blipFill>
          <a:blip r:embed="rId1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5"/>
              </a:ext>
            </a:extLst>
          </a:blip>
          <a:stretch>
            <a:fillRect/>
          </a:stretch>
        </p:blipFill>
        <p:spPr>
          <a:xfrm>
            <a:off x="6266239" y="3362843"/>
            <a:ext cx="457200" cy="457200"/>
          </a:xfrm>
          <a:prstGeom prst="rect">
            <a:avLst/>
          </a:prstGeom>
        </p:spPr>
      </p:pic>
      <p:pic>
        <p:nvPicPr>
          <p:cNvPr id="92" name="Graphic 91">
            <a:extLst>
              <a:ext uri="{FF2B5EF4-FFF2-40B4-BE49-F238E27FC236}">
                <a16:creationId xmlns:a16="http://schemas.microsoft.com/office/drawing/2014/main" id="{6A847DDE-E249-4798-B73A-D04497F24AB7}"/>
              </a:ext>
            </a:extLst>
          </p:cNvPr>
          <p:cNvPicPr>
            <a:picLocks noChangeAspect="1"/>
          </p:cNvPicPr>
          <p:nvPr/>
        </p:nvPicPr>
        <p:blipFill>
          <a:blip r:embed="rId1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7"/>
              </a:ext>
            </a:extLst>
          </a:blip>
          <a:stretch>
            <a:fillRect/>
          </a:stretch>
        </p:blipFill>
        <p:spPr>
          <a:xfrm>
            <a:off x="5718628" y="3362843"/>
            <a:ext cx="457200" cy="457200"/>
          </a:xfrm>
          <a:prstGeom prst="rect">
            <a:avLst/>
          </a:prstGeom>
        </p:spPr>
      </p:pic>
      <p:pic>
        <p:nvPicPr>
          <p:cNvPr id="94" name="Graphic 93">
            <a:extLst>
              <a:ext uri="{FF2B5EF4-FFF2-40B4-BE49-F238E27FC236}">
                <a16:creationId xmlns:a16="http://schemas.microsoft.com/office/drawing/2014/main" id="{AE6466D8-57DD-4FF3-A015-7AC90203A7C4}"/>
              </a:ext>
            </a:extLst>
          </p:cNvPr>
          <p:cNvPicPr>
            <a:picLocks noChangeAspect="1"/>
          </p:cNvPicPr>
          <p:nvPr/>
        </p:nvPicPr>
        <p:blipFill>
          <a:blip r:embed="rId1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9"/>
              </a:ext>
            </a:extLst>
          </a:blip>
          <a:stretch>
            <a:fillRect/>
          </a:stretch>
        </p:blipFill>
        <p:spPr>
          <a:xfrm>
            <a:off x="5171017" y="3362843"/>
            <a:ext cx="457200" cy="457200"/>
          </a:xfrm>
          <a:prstGeom prst="rect">
            <a:avLst/>
          </a:prstGeom>
        </p:spPr>
      </p:pic>
      <p:pic>
        <p:nvPicPr>
          <p:cNvPr id="95" name="Graphic 94">
            <a:extLst>
              <a:ext uri="{FF2B5EF4-FFF2-40B4-BE49-F238E27FC236}">
                <a16:creationId xmlns:a16="http://schemas.microsoft.com/office/drawing/2014/main" id="{B2312F41-8889-4E8B-8247-6416565D9114}"/>
              </a:ext>
            </a:extLst>
          </p:cNvPr>
          <p:cNvPicPr>
            <a:picLocks noChangeAspect="1"/>
          </p:cNvPicPr>
          <p:nvPr/>
        </p:nvPicPr>
        <p:blipFill>
          <a:blip r:embed="rId1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1"/>
              </a:ext>
            </a:extLst>
          </a:blip>
          <a:stretch>
            <a:fillRect/>
          </a:stretch>
        </p:blipFill>
        <p:spPr>
          <a:xfrm>
            <a:off x="4623406" y="3362843"/>
            <a:ext cx="457200" cy="457200"/>
          </a:xfrm>
          <a:prstGeom prst="rect">
            <a:avLst/>
          </a:prstGeom>
        </p:spPr>
      </p:pic>
      <p:pic>
        <p:nvPicPr>
          <p:cNvPr id="119" name="Graphic 118">
            <a:extLst>
              <a:ext uri="{FF2B5EF4-FFF2-40B4-BE49-F238E27FC236}">
                <a16:creationId xmlns:a16="http://schemas.microsoft.com/office/drawing/2014/main" id="{13EB6FF9-50FE-4B5E-BB6F-02BD576DA79D}"/>
              </a:ext>
            </a:extLst>
          </p:cNvPr>
          <p:cNvPicPr>
            <a:picLocks noChangeAspect="1"/>
          </p:cNvPicPr>
          <p:nvPr/>
        </p:nvPicPr>
        <p:blipFill>
          <a:blip r:embed="rId1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3"/>
              </a:ext>
            </a:extLst>
          </a:blip>
          <a:stretch>
            <a:fillRect/>
          </a:stretch>
        </p:blipFill>
        <p:spPr>
          <a:xfrm>
            <a:off x="8456680" y="3362843"/>
            <a:ext cx="457200" cy="457200"/>
          </a:xfrm>
          <a:prstGeom prst="rect">
            <a:avLst/>
          </a:prstGeom>
        </p:spPr>
      </p:pic>
      <p:pic>
        <p:nvPicPr>
          <p:cNvPr id="120" name="Graphic 119">
            <a:extLst>
              <a:ext uri="{FF2B5EF4-FFF2-40B4-BE49-F238E27FC236}">
                <a16:creationId xmlns:a16="http://schemas.microsoft.com/office/drawing/2014/main" id="{12E04E07-3B22-4A2F-BCA5-CCDA65608444}"/>
              </a:ext>
            </a:extLst>
          </p:cNvPr>
          <p:cNvPicPr>
            <a:picLocks noChangeAspect="1"/>
          </p:cNvPicPr>
          <p:nvPr/>
        </p:nvPicPr>
        <p:blipFill>
          <a:blip r:embed="rId1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5"/>
              </a:ext>
            </a:extLst>
          </a:blip>
          <a:stretch>
            <a:fillRect/>
          </a:stretch>
        </p:blipFill>
        <p:spPr>
          <a:xfrm>
            <a:off x="7909072" y="3362843"/>
            <a:ext cx="457200" cy="457200"/>
          </a:xfrm>
          <a:prstGeom prst="rect">
            <a:avLst/>
          </a:prstGeom>
        </p:spPr>
      </p:pic>
      <p:pic>
        <p:nvPicPr>
          <p:cNvPr id="122" name="Graphic 121">
            <a:extLst>
              <a:ext uri="{FF2B5EF4-FFF2-40B4-BE49-F238E27FC236}">
                <a16:creationId xmlns:a16="http://schemas.microsoft.com/office/drawing/2014/main" id="{4F4FAAA6-C7EF-416E-ABBF-459E66FA33BA}"/>
              </a:ext>
            </a:extLst>
          </p:cNvPr>
          <p:cNvPicPr>
            <a:picLocks noChangeAspect="1"/>
          </p:cNvPicPr>
          <p:nvPr/>
        </p:nvPicPr>
        <p:blipFill>
          <a:blip r:embed="rId1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7"/>
              </a:ext>
            </a:extLst>
          </a:blip>
          <a:stretch>
            <a:fillRect/>
          </a:stretch>
        </p:blipFill>
        <p:spPr>
          <a:xfrm>
            <a:off x="7361461" y="3362843"/>
            <a:ext cx="457200" cy="457200"/>
          </a:xfrm>
          <a:prstGeom prst="rect">
            <a:avLst/>
          </a:prstGeom>
        </p:spPr>
      </p:pic>
      <p:pic>
        <p:nvPicPr>
          <p:cNvPr id="123" name="Graphic 122">
            <a:extLst>
              <a:ext uri="{FF2B5EF4-FFF2-40B4-BE49-F238E27FC236}">
                <a16:creationId xmlns:a16="http://schemas.microsoft.com/office/drawing/2014/main" id="{6DC58935-F89F-4589-8B48-4AD8340EB999}"/>
              </a:ext>
            </a:extLst>
          </p:cNvPr>
          <p:cNvPicPr>
            <a:picLocks noChangeAspect="1"/>
          </p:cNvPicPr>
          <p:nvPr/>
        </p:nvPicPr>
        <p:blipFill>
          <a:blip r:embed="rId1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9"/>
              </a:ext>
            </a:extLst>
          </a:blip>
          <a:stretch>
            <a:fillRect/>
          </a:stretch>
        </p:blipFill>
        <p:spPr>
          <a:xfrm>
            <a:off x="6813850" y="3362843"/>
            <a:ext cx="457200" cy="4572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1970ECEF-E17F-4C79-BC3D-96D2A79B8AD0}"/>
              </a:ext>
            </a:extLst>
          </p:cNvPr>
          <p:cNvPicPr>
            <a:picLocks noChangeAspect="1"/>
          </p:cNvPicPr>
          <p:nvPr/>
        </p:nvPicPr>
        <p:blipFill>
          <a:blip r:embed="rId1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1"/>
              </a:ext>
            </a:extLst>
          </a:blip>
          <a:stretch>
            <a:fillRect/>
          </a:stretch>
        </p:blipFill>
        <p:spPr>
          <a:xfrm>
            <a:off x="242518" y="2252257"/>
            <a:ext cx="457200" cy="4572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0645B8CE-44D8-4052-B5AF-9AA8DD1D5AF4}"/>
              </a:ext>
            </a:extLst>
          </p:cNvPr>
          <p:cNvPicPr>
            <a:picLocks noChangeAspect="1"/>
          </p:cNvPicPr>
          <p:nvPr/>
        </p:nvPicPr>
        <p:blipFill>
          <a:blip r:embed="rId1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3"/>
              </a:ext>
            </a:extLst>
          </a:blip>
          <a:stretch>
            <a:fillRect/>
          </a:stretch>
        </p:blipFill>
        <p:spPr>
          <a:xfrm>
            <a:off x="790129" y="2252257"/>
            <a:ext cx="457200" cy="457200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627020F7-249A-40FD-B453-004683A2B123}"/>
              </a:ext>
            </a:extLst>
          </p:cNvPr>
          <p:cNvPicPr>
            <a:picLocks noChangeAspect="1"/>
          </p:cNvPicPr>
          <p:nvPr/>
        </p:nvPicPr>
        <p:blipFill>
          <a:blip r:embed="rId1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5"/>
              </a:ext>
            </a:extLst>
          </a:blip>
          <a:stretch>
            <a:fillRect/>
          </a:stretch>
        </p:blipFill>
        <p:spPr>
          <a:xfrm>
            <a:off x="1337740" y="2252257"/>
            <a:ext cx="457200" cy="457200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E65F3B23-7F11-4257-9E97-D290FD44130D}"/>
              </a:ext>
            </a:extLst>
          </p:cNvPr>
          <p:cNvPicPr>
            <a:picLocks noChangeAspect="1"/>
          </p:cNvPicPr>
          <p:nvPr/>
        </p:nvPicPr>
        <p:blipFill>
          <a:blip r:embed="rId1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7"/>
              </a:ext>
            </a:extLst>
          </a:blip>
          <a:stretch>
            <a:fillRect/>
          </a:stretch>
        </p:blipFill>
        <p:spPr>
          <a:xfrm>
            <a:off x="1885351" y="2252257"/>
            <a:ext cx="457200" cy="45720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D200B89F-808B-4A25-A444-101F09FC8D98}"/>
              </a:ext>
            </a:extLst>
          </p:cNvPr>
          <p:cNvPicPr>
            <a:picLocks noChangeAspect="1"/>
          </p:cNvPicPr>
          <p:nvPr/>
        </p:nvPicPr>
        <p:blipFill>
          <a:blip r:embed="rId1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9"/>
              </a:ext>
            </a:extLst>
          </a:blip>
          <a:stretch>
            <a:fillRect/>
          </a:stretch>
        </p:blipFill>
        <p:spPr>
          <a:xfrm>
            <a:off x="2432962" y="2252257"/>
            <a:ext cx="457200" cy="45720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90C9F6A2-643B-466B-A258-AC40DBC84ABE}"/>
              </a:ext>
            </a:extLst>
          </p:cNvPr>
          <p:cNvPicPr>
            <a:picLocks noChangeAspect="1"/>
          </p:cNvPicPr>
          <p:nvPr/>
        </p:nvPicPr>
        <p:blipFill>
          <a:blip r:embed="rId1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1"/>
              </a:ext>
            </a:extLst>
          </a:blip>
          <a:stretch>
            <a:fillRect/>
          </a:stretch>
        </p:blipFill>
        <p:spPr>
          <a:xfrm>
            <a:off x="2980573" y="2252257"/>
            <a:ext cx="457200" cy="457200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2596538B-133C-4BDC-8C51-946F7F1B6A68}"/>
              </a:ext>
            </a:extLst>
          </p:cNvPr>
          <p:cNvPicPr>
            <a:picLocks noChangeAspect="1"/>
          </p:cNvPicPr>
          <p:nvPr/>
        </p:nvPicPr>
        <p:blipFill>
          <a:blip r:embed="rId1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3"/>
              </a:ext>
            </a:extLst>
          </a:blip>
          <a:stretch>
            <a:fillRect/>
          </a:stretch>
        </p:blipFill>
        <p:spPr>
          <a:xfrm>
            <a:off x="3528184" y="2252257"/>
            <a:ext cx="457200" cy="457200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AC0EB3D0-964E-4B26-9711-344C5280F5FB}"/>
              </a:ext>
            </a:extLst>
          </p:cNvPr>
          <p:cNvPicPr>
            <a:picLocks noChangeAspect="1"/>
          </p:cNvPicPr>
          <p:nvPr/>
        </p:nvPicPr>
        <p:blipFill>
          <a:blip r:embed="rId1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5"/>
              </a:ext>
            </a:extLst>
          </a:blip>
          <a:stretch>
            <a:fillRect/>
          </a:stretch>
        </p:blipFill>
        <p:spPr>
          <a:xfrm>
            <a:off x="4075795" y="2252257"/>
            <a:ext cx="457200" cy="457200"/>
          </a:xfrm>
          <a:prstGeom prst="rect">
            <a:avLst/>
          </a:prstGeom>
        </p:spPr>
      </p:pic>
      <p:pic>
        <p:nvPicPr>
          <p:cNvPr id="88" name="Graphic 87">
            <a:extLst>
              <a:ext uri="{FF2B5EF4-FFF2-40B4-BE49-F238E27FC236}">
                <a16:creationId xmlns:a16="http://schemas.microsoft.com/office/drawing/2014/main" id="{8D965D8F-91FC-4BF6-B13A-B5346A4C16F6}"/>
              </a:ext>
            </a:extLst>
          </p:cNvPr>
          <p:cNvPicPr>
            <a:picLocks noChangeAspect="1"/>
          </p:cNvPicPr>
          <p:nvPr/>
        </p:nvPicPr>
        <p:blipFill>
          <a:blip r:embed="rId1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7"/>
              </a:ext>
            </a:extLst>
          </a:blip>
          <a:stretch>
            <a:fillRect/>
          </a:stretch>
        </p:blipFill>
        <p:spPr>
          <a:xfrm>
            <a:off x="4623406" y="2252257"/>
            <a:ext cx="457200" cy="457200"/>
          </a:xfrm>
          <a:prstGeom prst="rect">
            <a:avLst/>
          </a:prstGeom>
        </p:spPr>
      </p:pic>
      <p:pic>
        <p:nvPicPr>
          <p:cNvPr id="89" name="Graphic 88">
            <a:extLst>
              <a:ext uri="{FF2B5EF4-FFF2-40B4-BE49-F238E27FC236}">
                <a16:creationId xmlns:a16="http://schemas.microsoft.com/office/drawing/2014/main" id="{B339465C-EF0E-4DF7-9433-98BD33CAFE93}"/>
              </a:ext>
            </a:extLst>
          </p:cNvPr>
          <p:cNvPicPr>
            <a:picLocks noChangeAspect="1"/>
          </p:cNvPicPr>
          <p:nvPr/>
        </p:nvPicPr>
        <p:blipFill>
          <a:blip r:embed="rId1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9"/>
              </a:ext>
            </a:extLst>
          </a:blip>
          <a:stretch>
            <a:fillRect/>
          </a:stretch>
        </p:blipFill>
        <p:spPr>
          <a:xfrm>
            <a:off x="5079577" y="1200697"/>
            <a:ext cx="457200" cy="457200"/>
          </a:xfrm>
          <a:prstGeom prst="rect">
            <a:avLst/>
          </a:prstGeom>
        </p:spPr>
      </p:pic>
      <p:pic>
        <p:nvPicPr>
          <p:cNvPr id="93" name="Graphic 92">
            <a:extLst>
              <a:ext uri="{FF2B5EF4-FFF2-40B4-BE49-F238E27FC236}">
                <a16:creationId xmlns:a16="http://schemas.microsoft.com/office/drawing/2014/main" id="{B23DF03D-A9E3-4D56-923B-E6A4F9A6AFA5}"/>
              </a:ext>
            </a:extLst>
          </p:cNvPr>
          <p:cNvPicPr>
            <a:picLocks noChangeAspect="1"/>
          </p:cNvPicPr>
          <p:nvPr/>
        </p:nvPicPr>
        <p:blipFill>
          <a:blip r:embed="rId1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1"/>
              </a:ext>
            </a:extLst>
          </a:blip>
          <a:stretch>
            <a:fillRect/>
          </a:stretch>
        </p:blipFill>
        <p:spPr>
          <a:xfrm>
            <a:off x="5718628" y="2252257"/>
            <a:ext cx="457200" cy="457200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C76896D3-019E-4BEB-8509-CCEAFA37274B}"/>
              </a:ext>
            </a:extLst>
          </p:cNvPr>
          <p:cNvPicPr>
            <a:picLocks noChangeAspect="1"/>
          </p:cNvPicPr>
          <p:nvPr/>
        </p:nvPicPr>
        <p:blipFill>
          <a:blip r:embed="rId1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3"/>
              </a:ext>
            </a:extLst>
          </a:blip>
          <a:stretch>
            <a:fillRect/>
          </a:stretch>
        </p:blipFill>
        <p:spPr>
          <a:xfrm>
            <a:off x="6266239" y="2252257"/>
            <a:ext cx="457200" cy="457200"/>
          </a:xfrm>
          <a:prstGeom prst="rect">
            <a:avLst/>
          </a:prstGeom>
        </p:spPr>
      </p:pic>
      <p:pic>
        <p:nvPicPr>
          <p:cNvPr id="116" name="Graphic 115">
            <a:extLst>
              <a:ext uri="{FF2B5EF4-FFF2-40B4-BE49-F238E27FC236}">
                <a16:creationId xmlns:a16="http://schemas.microsoft.com/office/drawing/2014/main" id="{D323CB2F-2DD2-4120-882A-99EDB1C313C2}"/>
              </a:ext>
            </a:extLst>
          </p:cNvPr>
          <p:cNvPicPr>
            <a:picLocks noChangeAspect="1"/>
          </p:cNvPicPr>
          <p:nvPr/>
        </p:nvPicPr>
        <p:blipFill>
          <a:blip r:embed="rId1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5"/>
              </a:ext>
            </a:extLst>
          </a:blip>
          <a:stretch>
            <a:fillRect/>
          </a:stretch>
        </p:blipFill>
        <p:spPr>
          <a:xfrm>
            <a:off x="6813850" y="2252257"/>
            <a:ext cx="457200" cy="457200"/>
          </a:xfrm>
          <a:prstGeom prst="rect">
            <a:avLst/>
          </a:prstGeom>
        </p:spPr>
      </p:pic>
      <p:pic>
        <p:nvPicPr>
          <p:cNvPr id="117" name="Graphic 116">
            <a:extLst>
              <a:ext uri="{FF2B5EF4-FFF2-40B4-BE49-F238E27FC236}">
                <a16:creationId xmlns:a16="http://schemas.microsoft.com/office/drawing/2014/main" id="{87750CC3-2A7F-410B-8442-0DDFCE5482A9}"/>
              </a:ext>
            </a:extLst>
          </p:cNvPr>
          <p:cNvPicPr>
            <a:picLocks noChangeAspect="1"/>
          </p:cNvPicPr>
          <p:nvPr/>
        </p:nvPicPr>
        <p:blipFill>
          <a:blip r:embed="rId1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7"/>
              </a:ext>
            </a:extLst>
          </a:blip>
          <a:stretch>
            <a:fillRect/>
          </a:stretch>
        </p:blipFill>
        <p:spPr>
          <a:xfrm>
            <a:off x="7361461" y="2252257"/>
            <a:ext cx="457200" cy="457200"/>
          </a:xfrm>
          <a:prstGeom prst="rect">
            <a:avLst/>
          </a:prstGeom>
        </p:spPr>
      </p:pic>
      <p:pic>
        <p:nvPicPr>
          <p:cNvPr id="121" name="Graphic 120">
            <a:extLst>
              <a:ext uri="{FF2B5EF4-FFF2-40B4-BE49-F238E27FC236}">
                <a16:creationId xmlns:a16="http://schemas.microsoft.com/office/drawing/2014/main" id="{51BF2030-9725-4B8B-9707-9C39DA812DE2}"/>
              </a:ext>
            </a:extLst>
          </p:cNvPr>
          <p:cNvPicPr>
            <a:picLocks noChangeAspect="1"/>
          </p:cNvPicPr>
          <p:nvPr/>
        </p:nvPicPr>
        <p:blipFill>
          <a:blip r:embed="rId1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9"/>
              </a:ext>
            </a:extLst>
          </a:blip>
          <a:stretch>
            <a:fillRect/>
          </a:stretch>
        </p:blipFill>
        <p:spPr>
          <a:xfrm>
            <a:off x="7909072" y="2252257"/>
            <a:ext cx="457200" cy="457200"/>
          </a:xfrm>
          <a:prstGeom prst="rect">
            <a:avLst/>
          </a:prstGeom>
        </p:spPr>
      </p:pic>
      <p:pic>
        <p:nvPicPr>
          <p:cNvPr id="124" name="Graphic 123">
            <a:extLst>
              <a:ext uri="{FF2B5EF4-FFF2-40B4-BE49-F238E27FC236}">
                <a16:creationId xmlns:a16="http://schemas.microsoft.com/office/drawing/2014/main" id="{B6635685-C02A-4179-BF06-10CE6D3C5A4F}"/>
              </a:ext>
            </a:extLst>
          </p:cNvPr>
          <p:cNvPicPr>
            <a:picLocks noChangeAspect="1"/>
          </p:cNvPicPr>
          <p:nvPr/>
        </p:nvPicPr>
        <p:blipFill>
          <a:blip r:embed="rId1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1"/>
              </a:ext>
            </a:extLst>
          </a:blip>
          <a:stretch>
            <a:fillRect/>
          </a:stretch>
        </p:blipFill>
        <p:spPr>
          <a:xfrm>
            <a:off x="8456680" y="2252257"/>
            <a:ext cx="457200" cy="4572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6B93969C-AAE4-4C90-AA23-31EE6CFAB1BB}"/>
              </a:ext>
            </a:extLst>
          </p:cNvPr>
          <p:cNvPicPr>
            <a:picLocks noChangeAspect="1"/>
          </p:cNvPicPr>
          <p:nvPr/>
        </p:nvPicPr>
        <p:blipFill>
          <a:blip r:embed="rId1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3"/>
              </a:ext>
            </a:extLst>
          </a:blip>
          <a:stretch>
            <a:fillRect/>
          </a:stretch>
        </p:blipFill>
        <p:spPr>
          <a:xfrm>
            <a:off x="1337740" y="2807550"/>
            <a:ext cx="457200" cy="4572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8D95CFAB-6763-459A-850A-A07038DEF9EC}"/>
              </a:ext>
            </a:extLst>
          </p:cNvPr>
          <p:cNvPicPr>
            <a:picLocks noChangeAspect="1"/>
          </p:cNvPicPr>
          <p:nvPr/>
        </p:nvPicPr>
        <p:blipFill>
          <a:blip r:embed="rId1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5"/>
              </a:ext>
            </a:extLst>
          </a:blip>
          <a:stretch>
            <a:fillRect/>
          </a:stretch>
        </p:blipFill>
        <p:spPr>
          <a:xfrm>
            <a:off x="790129" y="2807550"/>
            <a:ext cx="457200" cy="457200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11DFE1D2-65CD-4D63-8666-50509090603F}"/>
              </a:ext>
            </a:extLst>
          </p:cNvPr>
          <p:cNvPicPr>
            <a:picLocks noChangeAspect="1"/>
          </p:cNvPicPr>
          <p:nvPr/>
        </p:nvPicPr>
        <p:blipFill>
          <a:blip r:embed="rId1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7"/>
              </a:ext>
            </a:extLst>
          </a:blip>
          <a:stretch>
            <a:fillRect/>
          </a:stretch>
        </p:blipFill>
        <p:spPr>
          <a:xfrm>
            <a:off x="242518" y="2807550"/>
            <a:ext cx="457200" cy="4572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18F89D07-8107-4EB9-A086-7DAFC83537DD}"/>
              </a:ext>
            </a:extLst>
          </p:cNvPr>
          <p:cNvPicPr>
            <a:picLocks noChangeAspect="1"/>
          </p:cNvPicPr>
          <p:nvPr/>
        </p:nvPicPr>
        <p:blipFill>
          <a:blip r:embed="rId1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9"/>
              </a:ext>
            </a:extLst>
          </a:blip>
          <a:stretch>
            <a:fillRect/>
          </a:stretch>
        </p:blipFill>
        <p:spPr>
          <a:xfrm>
            <a:off x="1885351" y="2807550"/>
            <a:ext cx="457200" cy="4572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96CE2BE6-F1A6-4107-B418-A723B7873FF5}"/>
              </a:ext>
            </a:extLst>
          </p:cNvPr>
          <p:cNvPicPr>
            <a:picLocks noChangeAspect="1"/>
          </p:cNvPicPr>
          <p:nvPr/>
        </p:nvPicPr>
        <p:blipFill>
          <a:blip r:embed="rId1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1"/>
              </a:ext>
            </a:extLst>
          </a:blip>
          <a:stretch>
            <a:fillRect/>
          </a:stretch>
        </p:blipFill>
        <p:spPr>
          <a:xfrm>
            <a:off x="3528184" y="2807550"/>
            <a:ext cx="457200" cy="4572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13AF5654-4524-43C9-B477-BFF650485D0C}"/>
              </a:ext>
            </a:extLst>
          </p:cNvPr>
          <p:cNvPicPr>
            <a:picLocks noChangeAspect="1"/>
          </p:cNvPicPr>
          <p:nvPr/>
        </p:nvPicPr>
        <p:blipFill>
          <a:blip r:embed="rId1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3"/>
              </a:ext>
            </a:extLst>
          </a:blip>
          <a:stretch>
            <a:fillRect/>
          </a:stretch>
        </p:blipFill>
        <p:spPr>
          <a:xfrm>
            <a:off x="2980573" y="2807550"/>
            <a:ext cx="457200" cy="457200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D12C255D-A626-45BE-90C1-D5450921EBDE}"/>
              </a:ext>
            </a:extLst>
          </p:cNvPr>
          <p:cNvPicPr>
            <a:picLocks noChangeAspect="1"/>
          </p:cNvPicPr>
          <p:nvPr/>
        </p:nvPicPr>
        <p:blipFill>
          <a:blip r:embed="rId1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5"/>
              </a:ext>
            </a:extLst>
          </a:blip>
          <a:stretch>
            <a:fillRect/>
          </a:stretch>
        </p:blipFill>
        <p:spPr>
          <a:xfrm>
            <a:off x="2432962" y="2807550"/>
            <a:ext cx="457200" cy="45720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00EB4AD6-DFD9-46DF-B8C9-DD8F9C66A229}"/>
              </a:ext>
            </a:extLst>
          </p:cNvPr>
          <p:cNvPicPr>
            <a:picLocks noChangeAspect="1"/>
          </p:cNvPicPr>
          <p:nvPr/>
        </p:nvPicPr>
        <p:blipFill>
          <a:blip r:embed="rId1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7"/>
              </a:ext>
            </a:extLst>
          </a:blip>
          <a:stretch>
            <a:fillRect/>
          </a:stretch>
        </p:blipFill>
        <p:spPr>
          <a:xfrm>
            <a:off x="4075795" y="2807550"/>
            <a:ext cx="457200" cy="457200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24D97703-923B-42D2-8CDD-3ADA4F139309}"/>
              </a:ext>
            </a:extLst>
          </p:cNvPr>
          <p:cNvPicPr>
            <a:picLocks noChangeAspect="1"/>
          </p:cNvPicPr>
          <p:nvPr/>
        </p:nvPicPr>
        <p:blipFill>
          <a:blip r:embed="rId1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9"/>
              </a:ext>
            </a:extLst>
          </a:blip>
          <a:stretch>
            <a:fillRect/>
          </a:stretch>
        </p:blipFill>
        <p:spPr>
          <a:xfrm>
            <a:off x="5718628" y="2807550"/>
            <a:ext cx="457200" cy="457200"/>
          </a:xfrm>
          <a:prstGeom prst="rect">
            <a:avLst/>
          </a:prstGeom>
        </p:spPr>
      </p:pic>
      <p:pic>
        <p:nvPicPr>
          <p:cNvPr id="81" name="Graphic 80">
            <a:extLst>
              <a:ext uri="{FF2B5EF4-FFF2-40B4-BE49-F238E27FC236}">
                <a16:creationId xmlns:a16="http://schemas.microsoft.com/office/drawing/2014/main" id="{1906249D-D6F8-408A-ADBE-6A7FA445C915}"/>
              </a:ext>
            </a:extLst>
          </p:cNvPr>
          <p:cNvPicPr>
            <a:picLocks noChangeAspect="1"/>
          </p:cNvPicPr>
          <p:nvPr/>
        </p:nvPicPr>
        <p:blipFill>
          <a:blip r:embed="rId1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1"/>
              </a:ext>
            </a:extLst>
          </a:blip>
          <a:stretch>
            <a:fillRect/>
          </a:stretch>
        </p:blipFill>
        <p:spPr>
          <a:xfrm>
            <a:off x="5171017" y="2807550"/>
            <a:ext cx="457200" cy="457200"/>
          </a:xfrm>
          <a:prstGeom prst="rect">
            <a:avLst/>
          </a:prstGeom>
        </p:spPr>
      </p:pic>
      <p:pic>
        <p:nvPicPr>
          <p:cNvPr id="97" name="Graphic 96">
            <a:extLst>
              <a:ext uri="{FF2B5EF4-FFF2-40B4-BE49-F238E27FC236}">
                <a16:creationId xmlns:a16="http://schemas.microsoft.com/office/drawing/2014/main" id="{9AAFB275-0789-4936-B02F-28D11E8C00A0}"/>
              </a:ext>
            </a:extLst>
          </p:cNvPr>
          <p:cNvPicPr>
            <a:picLocks noChangeAspect="1"/>
          </p:cNvPicPr>
          <p:nvPr/>
        </p:nvPicPr>
        <p:blipFill>
          <a:blip r:embed="rId1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3"/>
              </a:ext>
            </a:extLst>
          </a:blip>
          <a:stretch>
            <a:fillRect/>
          </a:stretch>
        </p:blipFill>
        <p:spPr>
          <a:xfrm>
            <a:off x="4623406" y="2807550"/>
            <a:ext cx="457200" cy="457200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2B935681-B82E-4636-A782-D5BC1446E50B}"/>
              </a:ext>
            </a:extLst>
          </p:cNvPr>
          <p:cNvPicPr>
            <a:picLocks noChangeAspect="1"/>
          </p:cNvPicPr>
          <p:nvPr/>
        </p:nvPicPr>
        <p:blipFill>
          <a:blip r:embed="rId1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5"/>
              </a:ext>
            </a:extLst>
          </a:blip>
          <a:stretch>
            <a:fillRect/>
          </a:stretch>
        </p:blipFill>
        <p:spPr>
          <a:xfrm>
            <a:off x="6266239" y="2807550"/>
            <a:ext cx="457200" cy="457200"/>
          </a:xfrm>
          <a:prstGeom prst="rect">
            <a:avLst/>
          </a:prstGeom>
        </p:spPr>
      </p:pic>
      <p:pic>
        <p:nvPicPr>
          <p:cNvPr id="104" name="Graphic 103">
            <a:extLst>
              <a:ext uri="{FF2B5EF4-FFF2-40B4-BE49-F238E27FC236}">
                <a16:creationId xmlns:a16="http://schemas.microsoft.com/office/drawing/2014/main" id="{2AFC7C29-FCA3-439F-9A3A-6BD198D00812}"/>
              </a:ext>
            </a:extLst>
          </p:cNvPr>
          <p:cNvPicPr>
            <a:picLocks noChangeAspect="1"/>
          </p:cNvPicPr>
          <p:nvPr/>
        </p:nvPicPr>
        <p:blipFill>
          <a:blip r:embed="rId1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7"/>
              </a:ext>
            </a:extLst>
          </a:blip>
          <a:stretch>
            <a:fillRect/>
          </a:stretch>
        </p:blipFill>
        <p:spPr>
          <a:xfrm>
            <a:off x="7909072" y="2807550"/>
            <a:ext cx="457200" cy="457200"/>
          </a:xfrm>
          <a:prstGeom prst="rect">
            <a:avLst/>
          </a:prstGeom>
        </p:spPr>
      </p:pic>
      <p:pic>
        <p:nvPicPr>
          <p:cNvPr id="109" name="Graphic 108">
            <a:extLst>
              <a:ext uri="{FF2B5EF4-FFF2-40B4-BE49-F238E27FC236}">
                <a16:creationId xmlns:a16="http://schemas.microsoft.com/office/drawing/2014/main" id="{CF70DAC4-47F8-4DEA-BCB3-ED9FDD696A28}"/>
              </a:ext>
            </a:extLst>
          </p:cNvPr>
          <p:cNvPicPr>
            <a:picLocks noChangeAspect="1"/>
          </p:cNvPicPr>
          <p:nvPr/>
        </p:nvPicPr>
        <p:blipFill>
          <a:blip r:embed="rId1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9"/>
              </a:ext>
            </a:extLst>
          </a:blip>
          <a:stretch>
            <a:fillRect/>
          </a:stretch>
        </p:blipFill>
        <p:spPr>
          <a:xfrm>
            <a:off x="7361461" y="2807550"/>
            <a:ext cx="457200" cy="457200"/>
          </a:xfrm>
          <a:prstGeom prst="rect">
            <a:avLst/>
          </a:prstGeom>
        </p:spPr>
      </p:pic>
      <p:pic>
        <p:nvPicPr>
          <p:cNvPr id="125" name="Graphic 124">
            <a:extLst>
              <a:ext uri="{FF2B5EF4-FFF2-40B4-BE49-F238E27FC236}">
                <a16:creationId xmlns:a16="http://schemas.microsoft.com/office/drawing/2014/main" id="{2EDDA53E-AB4D-45FE-83A9-E28DF540B74F}"/>
              </a:ext>
            </a:extLst>
          </p:cNvPr>
          <p:cNvPicPr>
            <a:picLocks noChangeAspect="1"/>
          </p:cNvPicPr>
          <p:nvPr/>
        </p:nvPicPr>
        <p:blipFill>
          <a:blip r:embed="rId1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1"/>
              </a:ext>
            </a:extLst>
          </a:blip>
          <a:stretch>
            <a:fillRect/>
          </a:stretch>
        </p:blipFill>
        <p:spPr>
          <a:xfrm>
            <a:off x="6813850" y="2807550"/>
            <a:ext cx="457200" cy="457200"/>
          </a:xfrm>
          <a:prstGeom prst="rect">
            <a:avLst/>
          </a:prstGeom>
        </p:spPr>
      </p:pic>
      <p:pic>
        <p:nvPicPr>
          <p:cNvPr id="126" name="Graphic 125">
            <a:extLst>
              <a:ext uri="{FF2B5EF4-FFF2-40B4-BE49-F238E27FC236}">
                <a16:creationId xmlns:a16="http://schemas.microsoft.com/office/drawing/2014/main" id="{4E6BACB1-9080-43B1-9002-280ACA5DD4F9}"/>
              </a:ext>
            </a:extLst>
          </p:cNvPr>
          <p:cNvPicPr>
            <a:picLocks noChangeAspect="1"/>
          </p:cNvPicPr>
          <p:nvPr/>
        </p:nvPicPr>
        <p:blipFill>
          <a:blip r:embed="rId1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3"/>
              </a:ext>
            </a:extLst>
          </a:blip>
          <a:stretch>
            <a:fillRect/>
          </a:stretch>
        </p:blipFill>
        <p:spPr>
          <a:xfrm>
            <a:off x="8456680" y="2807550"/>
            <a:ext cx="457200" cy="4572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8A07A488-3E90-4C8D-8F9B-78D6E952F6E7}"/>
              </a:ext>
            </a:extLst>
          </p:cNvPr>
          <p:cNvPicPr>
            <a:picLocks noChangeAspect="1"/>
          </p:cNvPicPr>
          <p:nvPr/>
        </p:nvPicPr>
        <p:blipFill>
          <a:blip r:embed="rId1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5"/>
              </a:ext>
            </a:extLst>
          </a:blip>
          <a:stretch>
            <a:fillRect/>
          </a:stretch>
        </p:blipFill>
        <p:spPr>
          <a:xfrm>
            <a:off x="789854" y="1141671"/>
            <a:ext cx="457200" cy="4572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BDE634B2-DA53-4E0D-A5AE-8044DD4A7978}"/>
              </a:ext>
            </a:extLst>
          </p:cNvPr>
          <p:cNvPicPr>
            <a:picLocks noChangeAspect="1"/>
          </p:cNvPicPr>
          <p:nvPr/>
        </p:nvPicPr>
        <p:blipFill>
          <a:blip r:embed="rId1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7"/>
              </a:ext>
            </a:extLst>
          </a:blip>
          <a:stretch>
            <a:fillRect/>
          </a:stretch>
        </p:blipFill>
        <p:spPr>
          <a:xfrm>
            <a:off x="242518" y="1141671"/>
            <a:ext cx="457200" cy="457200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1F4E9FFA-0B16-4DDD-94DA-D70A5EE67521}"/>
              </a:ext>
            </a:extLst>
          </p:cNvPr>
          <p:cNvPicPr>
            <a:picLocks noChangeAspect="1"/>
          </p:cNvPicPr>
          <p:nvPr/>
        </p:nvPicPr>
        <p:blipFill>
          <a:blip r:embed="rId1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9"/>
              </a:ext>
            </a:extLst>
          </a:blip>
          <a:stretch>
            <a:fillRect/>
          </a:stretch>
        </p:blipFill>
        <p:spPr>
          <a:xfrm>
            <a:off x="1337190" y="1141671"/>
            <a:ext cx="457200" cy="457200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5547E48B-9FE1-4A7F-8795-207EB58770BF}"/>
              </a:ext>
            </a:extLst>
          </p:cNvPr>
          <p:cNvPicPr>
            <a:picLocks noChangeAspect="1"/>
          </p:cNvPicPr>
          <p:nvPr/>
        </p:nvPicPr>
        <p:blipFill>
          <a:blip r:embed="rId2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1"/>
              </a:ext>
            </a:extLst>
          </a:blip>
          <a:stretch>
            <a:fillRect/>
          </a:stretch>
        </p:blipFill>
        <p:spPr>
          <a:xfrm>
            <a:off x="1884526" y="1141671"/>
            <a:ext cx="457200" cy="4572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89C40901-7787-4D2D-9D37-DDDFB90342FF}"/>
              </a:ext>
            </a:extLst>
          </p:cNvPr>
          <p:cNvPicPr>
            <a:picLocks noChangeAspect="1"/>
          </p:cNvPicPr>
          <p:nvPr/>
        </p:nvPicPr>
        <p:blipFill>
          <a:blip r:embed="rId2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3"/>
              </a:ext>
            </a:extLst>
          </a:blip>
          <a:stretch>
            <a:fillRect/>
          </a:stretch>
        </p:blipFill>
        <p:spPr>
          <a:xfrm>
            <a:off x="2979198" y="1141671"/>
            <a:ext cx="457200" cy="4572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96E4A343-3564-4F78-AFFA-071D4640F969}"/>
              </a:ext>
            </a:extLst>
          </p:cNvPr>
          <p:cNvPicPr>
            <a:picLocks noChangeAspect="1"/>
          </p:cNvPicPr>
          <p:nvPr/>
        </p:nvPicPr>
        <p:blipFill>
          <a:blip r:embed="rId2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5"/>
              </a:ext>
            </a:extLst>
          </a:blip>
          <a:stretch>
            <a:fillRect/>
          </a:stretch>
        </p:blipFill>
        <p:spPr>
          <a:xfrm>
            <a:off x="2431862" y="1141671"/>
            <a:ext cx="457200" cy="457200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CC676537-2C05-4695-96F5-8868C212DEDF}"/>
              </a:ext>
            </a:extLst>
          </p:cNvPr>
          <p:cNvPicPr>
            <a:picLocks noChangeAspect="1"/>
          </p:cNvPicPr>
          <p:nvPr/>
        </p:nvPicPr>
        <p:blipFill>
          <a:blip r:embed="rId2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7"/>
              </a:ext>
            </a:extLst>
          </a:blip>
          <a:stretch>
            <a:fillRect/>
          </a:stretch>
        </p:blipFill>
        <p:spPr>
          <a:xfrm>
            <a:off x="3526534" y="1141671"/>
            <a:ext cx="457200" cy="457200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78341F60-F9A1-420C-BBC6-659B5581FB2F}"/>
              </a:ext>
            </a:extLst>
          </p:cNvPr>
          <p:cNvPicPr>
            <a:picLocks noChangeAspect="1"/>
          </p:cNvPicPr>
          <p:nvPr/>
        </p:nvPicPr>
        <p:blipFill>
          <a:blip r:embed="rId2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9"/>
              </a:ext>
            </a:extLst>
          </a:blip>
          <a:stretch>
            <a:fillRect/>
          </a:stretch>
        </p:blipFill>
        <p:spPr>
          <a:xfrm>
            <a:off x="4073870" y="1141671"/>
            <a:ext cx="457200" cy="457200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F7CBD6CB-0B39-4EA2-982A-ACEE44047243}"/>
              </a:ext>
            </a:extLst>
          </p:cNvPr>
          <p:cNvPicPr>
            <a:picLocks noChangeAspect="1"/>
          </p:cNvPicPr>
          <p:nvPr/>
        </p:nvPicPr>
        <p:blipFill>
          <a:blip r:embed="rId2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1"/>
              </a:ext>
            </a:extLst>
          </a:blip>
          <a:stretch>
            <a:fillRect/>
          </a:stretch>
        </p:blipFill>
        <p:spPr>
          <a:xfrm>
            <a:off x="5168542" y="1141671"/>
            <a:ext cx="457200" cy="457200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252B634E-AD3A-49E8-BF1D-FFCA4E6438EF}"/>
              </a:ext>
            </a:extLst>
          </p:cNvPr>
          <p:cNvPicPr>
            <a:picLocks noChangeAspect="1"/>
          </p:cNvPicPr>
          <p:nvPr/>
        </p:nvPicPr>
        <p:blipFill>
          <a:blip r:embed="rId2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3"/>
              </a:ext>
            </a:extLst>
          </a:blip>
          <a:stretch>
            <a:fillRect/>
          </a:stretch>
        </p:blipFill>
        <p:spPr>
          <a:xfrm>
            <a:off x="4621206" y="1141671"/>
            <a:ext cx="457200" cy="457200"/>
          </a:xfrm>
          <a:prstGeom prst="rect">
            <a:avLst/>
          </a:prstGeom>
        </p:spPr>
      </p:pic>
      <p:pic>
        <p:nvPicPr>
          <p:cNvPr id="99" name="Graphic 98">
            <a:extLst>
              <a:ext uri="{FF2B5EF4-FFF2-40B4-BE49-F238E27FC236}">
                <a16:creationId xmlns:a16="http://schemas.microsoft.com/office/drawing/2014/main" id="{F9EBCEF2-F523-4BF7-9DDF-A5DF4946F1D5}"/>
              </a:ext>
            </a:extLst>
          </p:cNvPr>
          <p:cNvPicPr>
            <a:picLocks noChangeAspect="1"/>
          </p:cNvPicPr>
          <p:nvPr/>
        </p:nvPicPr>
        <p:blipFill>
          <a:blip r:embed="rId2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5"/>
              </a:ext>
            </a:extLst>
          </a:blip>
          <a:stretch>
            <a:fillRect/>
          </a:stretch>
        </p:blipFill>
        <p:spPr>
          <a:xfrm>
            <a:off x="5715878" y="1141671"/>
            <a:ext cx="457200" cy="457200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E35CD5FD-1ABB-44F9-8BC4-BD26437A9126}"/>
              </a:ext>
            </a:extLst>
          </p:cNvPr>
          <p:cNvPicPr>
            <a:picLocks noChangeAspect="1"/>
          </p:cNvPicPr>
          <p:nvPr/>
        </p:nvPicPr>
        <p:blipFill>
          <a:blip r:embed="rId2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7"/>
              </a:ext>
            </a:extLst>
          </a:blip>
          <a:stretch>
            <a:fillRect/>
          </a:stretch>
        </p:blipFill>
        <p:spPr>
          <a:xfrm>
            <a:off x="6263214" y="1141671"/>
            <a:ext cx="457200" cy="457200"/>
          </a:xfrm>
          <a:prstGeom prst="rect">
            <a:avLst/>
          </a:prstGeom>
        </p:spPr>
      </p:pic>
      <p:pic>
        <p:nvPicPr>
          <p:cNvPr id="101" name="Graphic 100">
            <a:extLst>
              <a:ext uri="{FF2B5EF4-FFF2-40B4-BE49-F238E27FC236}">
                <a16:creationId xmlns:a16="http://schemas.microsoft.com/office/drawing/2014/main" id="{C651E9FB-6D28-4080-BED8-C8077933E8E0}"/>
              </a:ext>
            </a:extLst>
          </p:cNvPr>
          <p:cNvPicPr>
            <a:picLocks noChangeAspect="1"/>
          </p:cNvPicPr>
          <p:nvPr/>
        </p:nvPicPr>
        <p:blipFill>
          <a:blip r:embed="rId2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9"/>
              </a:ext>
            </a:extLst>
          </a:blip>
          <a:stretch>
            <a:fillRect/>
          </a:stretch>
        </p:blipFill>
        <p:spPr>
          <a:xfrm>
            <a:off x="7357886" y="1141671"/>
            <a:ext cx="457200" cy="457200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D05A6FC6-0EE2-49FF-89DF-05341F135A47}"/>
              </a:ext>
            </a:extLst>
          </p:cNvPr>
          <p:cNvPicPr>
            <a:picLocks noChangeAspect="1"/>
          </p:cNvPicPr>
          <p:nvPr/>
        </p:nvPicPr>
        <p:blipFill>
          <a:blip r:embed="rId2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1"/>
              </a:ext>
            </a:extLst>
          </a:blip>
          <a:stretch>
            <a:fillRect/>
          </a:stretch>
        </p:blipFill>
        <p:spPr>
          <a:xfrm>
            <a:off x="6810550" y="1141671"/>
            <a:ext cx="457200" cy="457200"/>
          </a:xfrm>
          <a:prstGeom prst="rect">
            <a:avLst/>
          </a:prstGeom>
        </p:spPr>
      </p:pic>
      <p:pic>
        <p:nvPicPr>
          <p:cNvPr id="127" name="Graphic 126">
            <a:extLst>
              <a:ext uri="{FF2B5EF4-FFF2-40B4-BE49-F238E27FC236}">
                <a16:creationId xmlns:a16="http://schemas.microsoft.com/office/drawing/2014/main" id="{781DA7AD-69D5-4914-AD99-037E28837603}"/>
              </a:ext>
            </a:extLst>
          </p:cNvPr>
          <p:cNvPicPr>
            <a:picLocks noChangeAspect="1"/>
          </p:cNvPicPr>
          <p:nvPr/>
        </p:nvPicPr>
        <p:blipFill>
          <a:blip r:embed="rId2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3"/>
              </a:ext>
            </a:extLst>
          </a:blip>
          <a:stretch>
            <a:fillRect/>
          </a:stretch>
        </p:blipFill>
        <p:spPr>
          <a:xfrm>
            <a:off x="7905222" y="1141671"/>
            <a:ext cx="457200" cy="457200"/>
          </a:xfrm>
          <a:prstGeom prst="rect">
            <a:avLst/>
          </a:prstGeom>
        </p:spPr>
      </p:pic>
      <p:pic>
        <p:nvPicPr>
          <p:cNvPr id="128" name="Graphic 127">
            <a:extLst>
              <a:ext uri="{FF2B5EF4-FFF2-40B4-BE49-F238E27FC236}">
                <a16:creationId xmlns:a16="http://schemas.microsoft.com/office/drawing/2014/main" id="{9A146D09-602C-4AEE-A8D7-722733D50C34}"/>
              </a:ext>
            </a:extLst>
          </p:cNvPr>
          <p:cNvPicPr>
            <a:picLocks noChangeAspect="1"/>
          </p:cNvPicPr>
          <p:nvPr/>
        </p:nvPicPr>
        <p:blipFill>
          <a:blip r:embed="rId2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5"/>
              </a:ext>
            </a:extLst>
          </a:blip>
          <a:stretch>
            <a:fillRect/>
          </a:stretch>
        </p:blipFill>
        <p:spPr>
          <a:xfrm>
            <a:off x="8456680" y="1141671"/>
            <a:ext cx="457200" cy="4572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1665C0-E943-2D47-8956-5D06C8595C9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Nucleo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5F9AB4-9EDB-584B-B45D-334FFB8FE0C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79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A62782-86D7-234C-A4E6-9F2FC15BC3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na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77735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C3B9DB-4486-7D4B-B011-17B4587281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0A1998-BC7C-554A-9FF1-709F77AC137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52E26E-012C-F346-9681-65C7E1BB978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 tree 2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28600" y="971550"/>
            <a:ext cx="8686800" cy="457200"/>
          </a:xfrm>
          <a:prstGeom prst="rect">
            <a:avLst/>
          </a:prstGeom>
          <a:solidFill>
            <a:schemeClr val="tx2"/>
          </a:solidFill>
          <a:ln w="9525"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dirty="0">
                <a:solidFill>
                  <a:schemeClr val="bg1"/>
                </a:solidFill>
              </a:rPr>
              <a:t>Primary Question</a:t>
            </a:r>
          </a:p>
        </p:txBody>
      </p:sp>
      <p:cxnSp>
        <p:nvCxnSpPr>
          <p:cNvPr id="39" name="Straight Connector 38"/>
          <p:cNvCxnSpPr>
            <a:cxnSpLocks/>
          </p:cNvCxnSpPr>
          <p:nvPr/>
        </p:nvCxnSpPr>
        <p:spPr>
          <a:xfrm>
            <a:off x="1600200" y="1396271"/>
            <a:ext cx="0" cy="228600"/>
          </a:xfrm>
          <a:prstGeom prst="line">
            <a:avLst/>
          </a:prstGeom>
          <a:ln w="1905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cxnSpLocks/>
          </p:cNvCxnSpPr>
          <p:nvPr/>
        </p:nvCxnSpPr>
        <p:spPr>
          <a:xfrm>
            <a:off x="7543800" y="1396271"/>
            <a:ext cx="0" cy="228600"/>
          </a:xfrm>
          <a:prstGeom prst="line">
            <a:avLst/>
          </a:prstGeom>
          <a:ln w="1905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1600200" y="2086444"/>
            <a:ext cx="0" cy="212361"/>
          </a:xfrm>
          <a:prstGeom prst="line">
            <a:avLst/>
          </a:prstGeom>
          <a:ln w="190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>
            <a:off x="228600" y="1635178"/>
            <a:ext cx="2743200" cy="457200"/>
          </a:xfrm>
          <a:prstGeom prst="rect">
            <a:avLst/>
          </a:prstGeom>
          <a:ln w="19050">
            <a:solidFill>
              <a:schemeClr val="accent2"/>
            </a:solidFill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100" dirty="0"/>
              <a:t>Secondary Question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28600" y="2298804"/>
            <a:ext cx="2743200" cy="2025545"/>
          </a:xfrm>
          <a:prstGeom prst="rect">
            <a:avLst/>
          </a:prstGeom>
          <a:ln w="19050">
            <a:solidFill>
              <a:schemeClr val="accent3"/>
            </a:solidFill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/>
              <a:t>Tertiary Question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/>
              <a:t>Tertiary Question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200400" y="1635178"/>
            <a:ext cx="2743200" cy="457200"/>
          </a:xfrm>
          <a:prstGeom prst="rect">
            <a:avLst/>
          </a:prstGeom>
          <a:ln w="19050">
            <a:solidFill>
              <a:schemeClr val="accent2"/>
            </a:solidFill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100" dirty="0"/>
              <a:t>Secondary Question</a:t>
            </a:r>
          </a:p>
        </p:txBody>
      </p:sp>
      <p:sp>
        <p:nvSpPr>
          <p:cNvPr id="42" name="Rectangle 41"/>
          <p:cNvSpPr/>
          <p:nvPr/>
        </p:nvSpPr>
        <p:spPr>
          <a:xfrm>
            <a:off x="3200400" y="2298804"/>
            <a:ext cx="2743200" cy="2025545"/>
          </a:xfrm>
          <a:prstGeom prst="rect">
            <a:avLst/>
          </a:prstGeom>
          <a:ln w="19050">
            <a:solidFill>
              <a:schemeClr val="accent3"/>
            </a:solidFill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/>
              <a:t>Tertiary Question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/>
              <a:t>Tertiary Questions</a:t>
            </a:r>
            <a:endParaRPr lang="en-US" sz="1100" dirty="0"/>
          </a:p>
        </p:txBody>
      </p:sp>
      <p:cxnSp>
        <p:nvCxnSpPr>
          <p:cNvPr id="43" name="Straight Connector 42"/>
          <p:cNvCxnSpPr/>
          <p:nvPr/>
        </p:nvCxnSpPr>
        <p:spPr>
          <a:xfrm>
            <a:off x="4572000" y="2086444"/>
            <a:ext cx="0" cy="212361"/>
          </a:xfrm>
          <a:prstGeom prst="line">
            <a:avLst/>
          </a:prstGeom>
          <a:ln w="190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6172200" y="1635178"/>
            <a:ext cx="2743200" cy="457200"/>
          </a:xfrm>
          <a:prstGeom prst="rect">
            <a:avLst/>
          </a:prstGeom>
          <a:ln w="19050">
            <a:solidFill>
              <a:schemeClr val="accent2"/>
            </a:solidFill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100" dirty="0"/>
              <a:t>Secondary Question</a:t>
            </a:r>
          </a:p>
        </p:txBody>
      </p:sp>
      <p:sp>
        <p:nvSpPr>
          <p:cNvPr id="44" name="Rectangle 43"/>
          <p:cNvSpPr/>
          <p:nvPr/>
        </p:nvSpPr>
        <p:spPr>
          <a:xfrm>
            <a:off x="6172200" y="2298804"/>
            <a:ext cx="2743200" cy="2025545"/>
          </a:xfrm>
          <a:prstGeom prst="rect">
            <a:avLst/>
          </a:prstGeom>
          <a:ln w="19050">
            <a:solidFill>
              <a:schemeClr val="accent3"/>
            </a:solidFill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/>
              <a:t>Tertiary Question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/>
              <a:t>Tertiary Questions</a:t>
            </a:r>
            <a:endParaRPr lang="en-US" sz="1100" dirty="0"/>
          </a:p>
        </p:txBody>
      </p:sp>
      <p:cxnSp>
        <p:nvCxnSpPr>
          <p:cNvPr id="45" name="Straight Connector 44"/>
          <p:cNvCxnSpPr/>
          <p:nvPr/>
        </p:nvCxnSpPr>
        <p:spPr>
          <a:xfrm>
            <a:off x="7543800" y="2086444"/>
            <a:ext cx="0" cy="212361"/>
          </a:xfrm>
          <a:prstGeom prst="line">
            <a:avLst/>
          </a:prstGeom>
          <a:ln w="190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>
          <a:xfrm>
            <a:off x="4572000" y="1396271"/>
            <a:ext cx="0" cy="228600"/>
          </a:xfrm>
          <a:prstGeom prst="line">
            <a:avLst/>
          </a:prstGeom>
          <a:ln w="1905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1839249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Rectangle 129">
            <a:extLst>
              <a:ext uri="{FF2B5EF4-FFF2-40B4-BE49-F238E27FC236}">
                <a16:creationId xmlns:a16="http://schemas.microsoft.com/office/drawing/2014/main" id="{42A10D61-05B8-3843-91E7-1C783DDE08B4}"/>
              </a:ext>
            </a:extLst>
          </p:cNvPr>
          <p:cNvSpPr/>
          <p:nvPr/>
        </p:nvSpPr>
        <p:spPr>
          <a:xfrm>
            <a:off x="6779796" y="971550"/>
            <a:ext cx="2364203" cy="41465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4E67171-1194-4CEC-B876-3D84AB1DDF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84529" y="4463635"/>
            <a:ext cx="457200" cy="4572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1E43540-DA2F-48D0-82B3-AA9EEC4180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37035" y="4463635"/>
            <a:ext cx="457200" cy="4572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3A37BF5D-A9A4-4C76-9180-A2F62B316E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9541" y="4463635"/>
            <a:ext cx="457200" cy="4572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5C4565E9-597F-43E5-9E81-7DC73EF1A89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2047" y="4463635"/>
            <a:ext cx="457200" cy="4572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A5DF2A69-B13E-4F46-AA69-A96F2839D0A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74505" y="4463635"/>
            <a:ext cx="457200" cy="4572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DDCB56F1-6A18-4245-83B6-224E912A041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27011" y="4463635"/>
            <a:ext cx="457200" cy="4572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0C963ED9-1869-44AC-9FB2-7396BF0ECCF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79517" y="4463635"/>
            <a:ext cx="457200" cy="45720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8C122BF2-0543-4322-9114-7A20AA95321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432023" y="4463635"/>
            <a:ext cx="457200" cy="457200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7B0CFB3E-D78E-428B-8103-FB25FC7D77A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264481" y="4463635"/>
            <a:ext cx="457200" cy="457200"/>
          </a:xfrm>
          <a:prstGeom prst="rect">
            <a:avLst/>
          </a:prstGeom>
        </p:spPr>
      </p:pic>
      <p:pic>
        <p:nvPicPr>
          <p:cNvPr id="75" name="Graphic 74">
            <a:extLst>
              <a:ext uri="{FF2B5EF4-FFF2-40B4-BE49-F238E27FC236}">
                <a16:creationId xmlns:a16="http://schemas.microsoft.com/office/drawing/2014/main" id="{5678220B-E6D7-408A-A86F-F71C54303EE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716987" y="4463635"/>
            <a:ext cx="457200" cy="457200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1BE1B1DA-B616-4ABA-A2DB-3EE4E0E8353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169493" y="4463635"/>
            <a:ext cx="457200" cy="457200"/>
          </a:xfrm>
          <a:prstGeom prst="rect">
            <a:avLst/>
          </a:pr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295CAAEC-DD88-4A78-B416-0F58561FD90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621999" y="4463635"/>
            <a:ext cx="457200" cy="457200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2EEF20D2-D008-4DFF-94CC-455DFE4AA48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454456" y="4463635"/>
            <a:ext cx="457200" cy="457200"/>
          </a:xfrm>
          <a:prstGeom prst="rect">
            <a:avLst/>
          </a:prstGeom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800B6C52-6DE8-4D1E-A0DF-27F745836C8F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906963" y="4463635"/>
            <a:ext cx="457200" cy="457200"/>
          </a:xfrm>
          <a:prstGeom prst="rect">
            <a:avLst/>
          </a:prstGeom>
        </p:spPr>
      </p:pic>
      <p:pic>
        <p:nvPicPr>
          <p:cNvPr id="104" name="Graphic 103">
            <a:extLst>
              <a:ext uri="{FF2B5EF4-FFF2-40B4-BE49-F238E27FC236}">
                <a16:creationId xmlns:a16="http://schemas.microsoft.com/office/drawing/2014/main" id="{6478D184-5256-4673-8C3F-A68915CF3991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7359469" y="4463635"/>
            <a:ext cx="457200" cy="457200"/>
          </a:xfrm>
          <a:prstGeom prst="rect">
            <a:avLst/>
          </a:prstGeom>
        </p:spPr>
      </p:pic>
      <p:pic>
        <p:nvPicPr>
          <p:cNvPr id="105" name="Graphic 104">
            <a:extLst>
              <a:ext uri="{FF2B5EF4-FFF2-40B4-BE49-F238E27FC236}">
                <a16:creationId xmlns:a16="http://schemas.microsoft.com/office/drawing/2014/main" id="{6E1B8CAA-D9F2-4C3C-97CF-076F2922FBB0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6811975" y="4463635"/>
            <a:ext cx="457200" cy="4572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FE7951DE-04AB-4EC3-8BAA-B0F777AE3E6B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884529" y="3909671"/>
            <a:ext cx="457200" cy="4572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97703D30-34F0-4291-84EE-A3E3A2532D10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1337035" y="3909671"/>
            <a:ext cx="457200" cy="4572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B58D55F5-784C-4BDE-87E8-2ACD20836A8A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789541" y="3909671"/>
            <a:ext cx="457200" cy="4572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1EFB9159-5DC6-43B4-9FAF-5CF147A2C487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242047" y="3909671"/>
            <a:ext cx="457200" cy="45720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6A7B9C26-A77F-4BE6-8884-9C80B8318953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074505" y="3909671"/>
            <a:ext cx="457200" cy="457200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E1E21E5F-ACB4-4D0A-A24A-3C524B6EC1FA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527011" y="3909671"/>
            <a:ext cx="457200" cy="4572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2B065215-E645-4767-8113-D56EEE67A57F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2979517" y="3909671"/>
            <a:ext cx="457200" cy="4572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5A109AA0-0C68-4100-BBC0-BEA3D8819DF5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2432023" y="3909671"/>
            <a:ext cx="457200" cy="457200"/>
          </a:xfrm>
          <a:prstGeom prst="rect">
            <a:avLst/>
          </a:prstGeom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89268083-ED69-45AC-8093-61EBE0267534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264481" y="3909671"/>
            <a:ext cx="457200" cy="457200"/>
          </a:xfrm>
          <a:prstGeom prst="rect">
            <a:avLst/>
          </a:prstGeom>
        </p:spPr>
      </p:pic>
      <p:pic>
        <p:nvPicPr>
          <p:cNvPr id="79" name="Graphic 78">
            <a:extLst>
              <a:ext uri="{FF2B5EF4-FFF2-40B4-BE49-F238E27FC236}">
                <a16:creationId xmlns:a16="http://schemas.microsoft.com/office/drawing/2014/main" id="{69B37ED8-6D6E-487E-90CF-0EDA54099746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5716987" y="3909671"/>
            <a:ext cx="457200" cy="457200"/>
          </a:xfrm>
          <a:prstGeom prst="rect">
            <a:avLst/>
          </a:prstGeom>
        </p:spPr>
      </p:pic>
      <p:pic>
        <p:nvPicPr>
          <p:cNvPr id="80" name="Graphic 79">
            <a:extLst>
              <a:ext uri="{FF2B5EF4-FFF2-40B4-BE49-F238E27FC236}">
                <a16:creationId xmlns:a16="http://schemas.microsoft.com/office/drawing/2014/main" id="{97233F5C-170A-48B9-88B1-3D42A4436250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5169493" y="3909671"/>
            <a:ext cx="457200" cy="457200"/>
          </a:xfrm>
          <a:prstGeom prst="rect">
            <a:avLst/>
          </a:prstGeom>
        </p:spPr>
      </p:pic>
      <p:pic>
        <p:nvPicPr>
          <p:cNvPr id="81" name="Graphic 80">
            <a:extLst>
              <a:ext uri="{FF2B5EF4-FFF2-40B4-BE49-F238E27FC236}">
                <a16:creationId xmlns:a16="http://schemas.microsoft.com/office/drawing/2014/main" id="{32B5A3AE-6E47-4D3D-8874-54E0B68B24A8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4621999" y="3909671"/>
            <a:ext cx="457200" cy="457200"/>
          </a:xfrm>
          <a:prstGeom prst="rect">
            <a:avLst/>
          </a:prstGeom>
        </p:spPr>
      </p:pic>
      <p:pic>
        <p:nvPicPr>
          <p:cNvPr id="106" name="Graphic 105">
            <a:extLst>
              <a:ext uri="{FF2B5EF4-FFF2-40B4-BE49-F238E27FC236}">
                <a16:creationId xmlns:a16="http://schemas.microsoft.com/office/drawing/2014/main" id="{FC32E97F-A812-40D8-B850-278D06EA2DEF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8454456" y="3909671"/>
            <a:ext cx="457200" cy="457200"/>
          </a:xfrm>
          <a:prstGeom prst="rect">
            <a:avLst/>
          </a:prstGeom>
        </p:spPr>
      </p:pic>
      <p:pic>
        <p:nvPicPr>
          <p:cNvPr id="107" name="Graphic 106">
            <a:extLst>
              <a:ext uri="{FF2B5EF4-FFF2-40B4-BE49-F238E27FC236}">
                <a16:creationId xmlns:a16="http://schemas.microsoft.com/office/drawing/2014/main" id="{4F616D30-76E8-41D4-AF19-6EF548AD7C6B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7906963" y="3909671"/>
            <a:ext cx="457200" cy="457200"/>
          </a:xfrm>
          <a:prstGeom prst="rect">
            <a:avLst/>
          </a:prstGeom>
        </p:spPr>
      </p:pic>
      <p:pic>
        <p:nvPicPr>
          <p:cNvPr id="108" name="Graphic 107">
            <a:extLst>
              <a:ext uri="{FF2B5EF4-FFF2-40B4-BE49-F238E27FC236}">
                <a16:creationId xmlns:a16="http://schemas.microsoft.com/office/drawing/2014/main" id="{9B20A66D-0E7C-42CC-A22C-927B5A989EF7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359469" y="3909671"/>
            <a:ext cx="457200" cy="457200"/>
          </a:xfrm>
          <a:prstGeom prst="rect">
            <a:avLst/>
          </a:prstGeom>
        </p:spPr>
      </p:pic>
      <p:pic>
        <p:nvPicPr>
          <p:cNvPr id="109" name="Graphic 108">
            <a:extLst>
              <a:ext uri="{FF2B5EF4-FFF2-40B4-BE49-F238E27FC236}">
                <a16:creationId xmlns:a16="http://schemas.microsoft.com/office/drawing/2014/main" id="{05E639E0-6403-4968-81CF-4403502951D5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6811975" y="3909671"/>
            <a:ext cx="457200" cy="45720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3620283E-E88C-4AB6-AA20-43F69F73D1F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884529" y="3355707"/>
            <a:ext cx="457200" cy="4572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06F338D3-7E37-43A7-BE21-F1CA9853F58F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337035" y="3355707"/>
            <a:ext cx="457200" cy="45720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7AD47CB4-7CAA-4791-A3BF-9D416FA21EA1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89541" y="3355707"/>
            <a:ext cx="457200" cy="4572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7737FFE3-B011-4B3E-9020-2B20391C10C9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242047" y="3355707"/>
            <a:ext cx="457200" cy="4572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58B70785-FE8F-4494-8CEC-5A97D1B44200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4074505" y="3355707"/>
            <a:ext cx="457200" cy="457200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63FAB397-9841-4727-B1E2-659497F97DE4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3527011" y="3355707"/>
            <a:ext cx="457200" cy="457200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0C8437FB-193F-4926-92AA-13D069EC587F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9"/>
              </a:ext>
            </a:extLst>
          </a:blip>
          <a:stretch>
            <a:fillRect/>
          </a:stretch>
        </p:blipFill>
        <p:spPr>
          <a:xfrm>
            <a:off x="2979517" y="3355707"/>
            <a:ext cx="457200" cy="457200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066C1E4B-76E6-4E7E-98F2-60B522A7D481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1"/>
              </a:ext>
            </a:extLst>
          </a:blip>
          <a:stretch>
            <a:fillRect/>
          </a:stretch>
        </p:blipFill>
        <p:spPr>
          <a:xfrm>
            <a:off x="2432023" y="3355707"/>
            <a:ext cx="457200" cy="457200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82F6448B-503F-46A4-A5A9-BF7026D45945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3"/>
              </a:ext>
            </a:extLst>
          </a:blip>
          <a:stretch>
            <a:fillRect/>
          </a:stretch>
        </p:blipFill>
        <p:spPr>
          <a:xfrm>
            <a:off x="6264481" y="3355707"/>
            <a:ext cx="457200" cy="457200"/>
          </a:xfrm>
          <a:prstGeom prst="rect">
            <a:avLst/>
          </a:prstGeom>
        </p:spPr>
      </p:pic>
      <p:pic>
        <p:nvPicPr>
          <p:cNvPr id="83" name="Graphic 82">
            <a:extLst>
              <a:ext uri="{FF2B5EF4-FFF2-40B4-BE49-F238E27FC236}">
                <a16:creationId xmlns:a16="http://schemas.microsoft.com/office/drawing/2014/main" id="{EACBE371-4270-4045-A399-5A2952554A78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5"/>
              </a:ext>
            </a:extLst>
          </a:blip>
          <a:stretch>
            <a:fillRect/>
          </a:stretch>
        </p:blipFill>
        <p:spPr>
          <a:xfrm>
            <a:off x="5716987" y="3355707"/>
            <a:ext cx="457200" cy="457200"/>
          </a:xfrm>
          <a:prstGeom prst="rect">
            <a:avLst/>
          </a:prstGeom>
        </p:spPr>
      </p:pic>
      <p:pic>
        <p:nvPicPr>
          <p:cNvPr id="84" name="Graphic 83">
            <a:extLst>
              <a:ext uri="{FF2B5EF4-FFF2-40B4-BE49-F238E27FC236}">
                <a16:creationId xmlns:a16="http://schemas.microsoft.com/office/drawing/2014/main" id="{99D7BA44-DDF3-471A-B67D-583CFDE3B048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7"/>
              </a:ext>
            </a:extLst>
          </a:blip>
          <a:stretch>
            <a:fillRect/>
          </a:stretch>
        </p:blipFill>
        <p:spPr>
          <a:xfrm>
            <a:off x="5169493" y="3355707"/>
            <a:ext cx="457200" cy="4572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34637AAE-77C4-4A75-AF96-2CD414E546DB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9"/>
              </a:ext>
            </a:extLst>
          </a:blip>
          <a:stretch>
            <a:fillRect/>
          </a:stretch>
        </p:blipFill>
        <p:spPr>
          <a:xfrm>
            <a:off x="4621999" y="3355707"/>
            <a:ext cx="457200" cy="457200"/>
          </a:xfrm>
          <a:prstGeom prst="rect">
            <a:avLst/>
          </a:prstGeom>
        </p:spPr>
      </p:pic>
      <p:pic>
        <p:nvPicPr>
          <p:cNvPr id="110" name="Graphic 109">
            <a:extLst>
              <a:ext uri="{FF2B5EF4-FFF2-40B4-BE49-F238E27FC236}">
                <a16:creationId xmlns:a16="http://schemas.microsoft.com/office/drawing/2014/main" id="{C8EAFEDC-2031-4338-BEA2-7915CDE6FCE9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1"/>
              </a:ext>
            </a:extLst>
          </a:blip>
          <a:stretch>
            <a:fillRect/>
          </a:stretch>
        </p:blipFill>
        <p:spPr>
          <a:xfrm>
            <a:off x="8454456" y="3355707"/>
            <a:ext cx="457200" cy="457200"/>
          </a:xfrm>
          <a:prstGeom prst="rect">
            <a:avLst/>
          </a:prstGeom>
        </p:spPr>
      </p:pic>
      <p:pic>
        <p:nvPicPr>
          <p:cNvPr id="111" name="Graphic 110">
            <a:extLst>
              <a:ext uri="{FF2B5EF4-FFF2-40B4-BE49-F238E27FC236}">
                <a16:creationId xmlns:a16="http://schemas.microsoft.com/office/drawing/2014/main" id="{AA21D506-55C3-4D7B-845B-F3590644F0CE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3"/>
              </a:ext>
            </a:extLst>
          </a:blip>
          <a:stretch>
            <a:fillRect/>
          </a:stretch>
        </p:blipFill>
        <p:spPr>
          <a:xfrm>
            <a:off x="7906963" y="3355707"/>
            <a:ext cx="457200" cy="457200"/>
          </a:xfrm>
          <a:prstGeom prst="rect">
            <a:avLst/>
          </a:prstGeom>
        </p:spPr>
      </p:pic>
      <p:pic>
        <p:nvPicPr>
          <p:cNvPr id="112" name="Graphic 111">
            <a:extLst>
              <a:ext uri="{FF2B5EF4-FFF2-40B4-BE49-F238E27FC236}">
                <a16:creationId xmlns:a16="http://schemas.microsoft.com/office/drawing/2014/main" id="{F1145D48-2DEE-4F95-8DBD-559BC3E90FE3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5"/>
              </a:ext>
            </a:extLst>
          </a:blip>
          <a:stretch>
            <a:fillRect/>
          </a:stretch>
        </p:blipFill>
        <p:spPr>
          <a:xfrm>
            <a:off x="7359469" y="3355707"/>
            <a:ext cx="457200" cy="457200"/>
          </a:xfrm>
          <a:prstGeom prst="rect">
            <a:avLst/>
          </a:prstGeom>
        </p:spPr>
      </p:pic>
      <p:pic>
        <p:nvPicPr>
          <p:cNvPr id="113" name="Graphic 112">
            <a:extLst>
              <a:ext uri="{FF2B5EF4-FFF2-40B4-BE49-F238E27FC236}">
                <a16:creationId xmlns:a16="http://schemas.microsoft.com/office/drawing/2014/main" id="{D6D9E288-DC46-4ECB-84CF-153DCFCDF6F2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7"/>
              </a:ext>
            </a:extLst>
          </a:blip>
          <a:stretch>
            <a:fillRect/>
          </a:stretch>
        </p:blipFill>
        <p:spPr>
          <a:xfrm>
            <a:off x="6811975" y="3355707"/>
            <a:ext cx="457200" cy="4572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38D5BBE2-037C-4D1A-9C5B-1C249CBDF38D}"/>
              </a:ext>
            </a:extLst>
          </p:cNvPr>
          <p:cNvPicPr>
            <a:picLocks noChangeAspect="1"/>
          </p:cNvPicPr>
          <p:nvPr/>
        </p:nvPicPr>
        <p:blipFill>
          <a:blip r:embed="rId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9"/>
              </a:ext>
            </a:extLst>
          </a:blip>
          <a:stretch>
            <a:fillRect/>
          </a:stretch>
        </p:blipFill>
        <p:spPr>
          <a:xfrm>
            <a:off x="1884529" y="2801743"/>
            <a:ext cx="457200" cy="457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B8B1FE73-BD39-4AF4-94AA-74D9BB2D90BF}"/>
              </a:ext>
            </a:extLst>
          </p:cNvPr>
          <p:cNvPicPr>
            <a:picLocks noChangeAspect="1"/>
          </p:cNvPicPr>
          <p:nvPr/>
        </p:nvPicPr>
        <p:blipFill>
          <a:blip r:embed="rId1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1"/>
              </a:ext>
            </a:extLst>
          </a:blip>
          <a:stretch>
            <a:fillRect/>
          </a:stretch>
        </p:blipFill>
        <p:spPr>
          <a:xfrm>
            <a:off x="1337035" y="2801743"/>
            <a:ext cx="457200" cy="4572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9DB5458D-8475-4C4E-B6B7-4C7C5C067325}"/>
              </a:ext>
            </a:extLst>
          </p:cNvPr>
          <p:cNvPicPr>
            <a:picLocks noChangeAspect="1"/>
          </p:cNvPicPr>
          <p:nvPr/>
        </p:nvPicPr>
        <p:blipFill>
          <a:blip r:embed="rId1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3"/>
              </a:ext>
            </a:extLst>
          </a:blip>
          <a:stretch>
            <a:fillRect/>
          </a:stretch>
        </p:blipFill>
        <p:spPr>
          <a:xfrm>
            <a:off x="789541" y="2801743"/>
            <a:ext cx="457200" cy="4572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75283823-2454-40AB-8AE4-F98D508696ED}"/>
              </a:ext>
            </a:extLst>
          </p:cNvPr>
          <p:cNvPicPr>
            <a:picLocks noChangeAspect="1"/>
          </p:cNvPicPr>
          <p:nvPr/>
        </p:nvPicPr>
        <p:blipFill>
          <a:blip r:embed="rId1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5"/>
              </a:ext>
            </a:extLst>
          </a:blip>
          <a:stretch>
            <a:fillRect/>
          </a:stretch>
        </p:blipFill>
        <p:spPr>
          <a:xfrm>
            <a:off x="242047" y="2801743"/>
            <a:ext cx="457200" cy="457200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FB7595F8-AD36-4175-A1D9-82AFF5FCA6CF}"/>
              </a:ext>
            </a:extLst>
          </p:cNvPr>
          <p:cNvPicPr>
            <a:picLocks noChangeAspect="1"/>
          </p:cNvPicPr>
          <p:nvPr/>
        </p:nvPicPr>
        <p:blipFill>
          <a:blip r:embed="rId1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7"/>
              </a:ext>
            </a:extLst>
          </a:blip>
          <a:stretch>
            <a:fillRect/>
          </a:stretch>
        </p:blipFill>
        <p:spPr>
          <a:xfrm>
            <a:off x="4074505" y="2801743"/>
            <a:ext cx="457200" cy="45720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B25C3189-E8D5-41AF-AF8E-04C8CDB7BE15}"/>
              </a:ext>
            </a:extLst>
          </p:cNvPr>
          <p:cNvPicPr>
            <a:picLocks noChangeAspect="1"/>
          </p:cNvPicPr>
          <p:nvPr/>
        </p:nvPicPr>
        <p:blipFill>
          <a:blip r:embed="rId1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9"/>
              </a:ext>
            </a:extLst>
          </a:blip>
          <a:stretch>
            <a:fillRect/>
          </a:stretch>
        </p:blipFill>
        <p:spPr>
          <a:xfrm>
            <a:off x="3527011" y="2801743"/>
            <a:ext cx="457200" cy="45720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13CD8A7A-297B-4A91-911C-246613603235}"/>
              </a:ext>
            </a:extLst>
          </p:cNvPr>
          <p:cNvPicPr>
            <a:picLocks noChangeAspect="1"/>
          </p:cNvPicPr>
          <p:nvPr/>
        </p:nvPicPr>
        <p:blipFill>
          <a:blip r:embed="rId1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1"/>
              </a:ext>
            </a:extLst>
          </a:blip>
          <a:stretch>
            <a:fillRect/>
          </a:stretch>
        </p:blipFill>
        <p:spPr>
          <a:xfrm>
            <a:off x="2979517" y="2801743"/>
            <a:ext cx="457200" cy="45720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9CBE41AC-1AAF-4EE9-B30C-D606C6607B74}"/>
              </a:ext>
            </a:extLst>
          </p:cNvPr>
          <p:cNvPicPr>
            <a:picLocks noChangeAspect="1"/>
          </p:cNvPicPr>
          <p:nvPr/>
        </p:nvPicPr>
        <p:blipFill>
          <a:blip r:embed="rId1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3"/>
              </a:ext>
            </a:extLst>
          </a:blip>
          <a:stretch>
            <a:fillRect/>
          </a:stretch>
        </p:blipFill>
        <p:spPr>
          <a:xfrm>
            <a:off x="2432023" y="2801743"/>
            <a:ext cx="457200" cy="457200"/>
          </a:xfrm>
          <a:prstGeom prst="rect">
            <a:avLst/>
          </a:prstGeom>
        </p:spPr>
      </p:pic>
      <p:pic>
        <p:nvPicPr>
          <p:cNvPr id="86" name="Graphic 85">
            <a:extLst>
              <a:ext uri="{FF2B5EF4-FFF2-40B4-BE49-F238E27FC236}">
                <a16:creationId xmlns:a16="http://schemas.microsoft.com/office/drawing/2014/main" id="{CAFD68FE-9728-4204-BBF1-F7143BACADD5}"/>
              </a:ext>
            </a:extLst>
          </p:cNvPr>
          <p:cNvPicPr>
            <a:picLocks noChangeAspect="1"/>
          </p:cNvPicPr>
          <p:nvPr/>
        </p:nvPicPr>
        <p:blipFill>
          <a:blip r:embed="rId1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5"/>
              </a:ext>
            </a:extLst>
          </a:blip>
          <a:stretch>
            <a:fillRect/>
          </a:stretch>
        </p:blipFill>
        <p:spPr>
          <a:xfrm>
            <a:off x="6264481" y="2801743"/>
            <a:ext cx="457200" cy="457200"/>
          </a:xfrm>
          <a:prstGeom prst="rect">
            <a:avLst/>
          </a:prstGeom>
        </p:spPr>
      </p:pic>
      <p:pic>
        <p:nvPicPr>
          <p:cNvPr id="87" name="Graphic 86">
            <a:extLst>
              <a:ext uri="{FF2B5EF4-FFF2-40B4-BE49-F238E27FC236}">
                <a16:creationId xmlns:a16="http://schemas.microsoft.com/office/drawing/2014/main" id="{DF1796F1-4DF2-4D31-B21A-5BE5C9435AA4}"/>
              </a:ext>
            </a:extLst>
          </p:cNvPr>
          <p:cNvPicPr>
            <a:picLocks noChangeAspect="1"/>
          </p:cNvPicPr>
          <p:nvPr/>
        </p:nvPicPr>
        <p:blipFill>
          <a:blip r:embed="rId1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7"/>
              </a:ext>
            </a:extLst>
          </a:blip>
          <a:stretch>
            <a:fillRect/>
          </a:stretch>
        </p:blipFill>
        <p:spPr>
          <a:xfrm>
            <a:off x="5716987" y="2801743"/>
            <a:ext cx="457200" cy="457200"/>
          </a:xfrm>
          <a:prstGeom prst="rect">
            <a:avLst/>
          </a:prstGeom>
        </p:spPr>
      </p:pic>
      <p:pic>
        <p:nvPicPr>
          <p:cNvPr id="88" name="Graphic 87">
            <a:extLst>
              <a:ext uri="{FF2B5EF4-FFF2-40B4-BE49-F238E27FC236}">
                <a16:creationId xmlns:a16="http://schemas.microsoft.com/office/drawing/2014/main" id="{EB79A53F-C813-4922-A528-CC5181C4D02D}"/>
              </a:ext>
            </a:extLst>
          </p:cNvPr>
          <p:cNvPicPr>
            <a:picLocks noChangeAspect="1"/>
          </p:cNvPicPr>
          <p:nvPr/>
        </p:nvPicPr>
        <p:blipFill>
          <a:blip r:embed="rId1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9"/>
              </a:ext>
            </a:extLst>
          </a:blip>
          <a:stretch>
            <a:fillRect/>
          </a:stretch>
        </p:blipFill>
        <p:spPr>
          <a:xfrm>
            <a:off x="5169493" y="2801743"/>
            <a:ext cx="457200" cy="457200"/>
          </a:xfrm>
          <a:prstGeom prst="rect">
            <a:avLst/>
          </a:prstGeom>
        </p:spPr>
      </p:pic>
      <p:pic>
        <p:nvPicPr>
          <p:cNvPr id="89" name="Graphic 88">
            <a:extLst>
              <a:ext uri="{FF2B5EF4-FFF2-40B4-BE49-F238E27FC236}">
                <a16:creationId xmlns:a16="http://schemas.microsoft.com/office/drawing/2014/main" id="{36794172-4CB6-4EA5-B63A-4D8C427FA566}"/>
              </a:ext>
            </a:extLst>
          </p:cNvPr>
          <p:cNvPicPr>
            <a:picLocks noChangeAspect="1"/>
          </p:cNvPicPr>
          <p:nvPr/>
        </p:nvPicPr>
        <p:blipFill>
          <a:blip r:embed="rId1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1"/>
              </a:ext>
            </a:extLst>
          </a:blip>
          <a:stretch>
            <a:fillRect/>
          </a:stretch>
        </p:blipFill>
        <p:spPr>
          <a:xfrm>
            <a:off x="4621999" y="2801743"/>
            <a:ext cx="457200" cy="457200"/>
          </a:xfrm>
          <a:prstGeom prst="rect">
            <a:avLst/>
          </a:prstGeom>
        </p:spPr>
      </p:pic>
      <p:pic>
        <p:nvPicPr>
          <p:cNvPr id="114" name="Graphic 113">
            <a:extLst>
              <a:ext uri="{FF2B5EF4-FFF2-40B4-BE49-F238E27FC236}">
                <a16:creationId xmlns:a16="http://schemas.microsoft.com/office/drawing/2014/main" id="{78191698-6E4D-4506-A552-BD185C7E8CB0}"/>
              </a:ext>
            </a:extLst>
          </p:cNvPr>
          <p:cNvPicPr>
            <a:picLocks noChangeAspect="1"/>
          </p:cNvPicPr>
          <p:nvPr/>
        </p:nvPicPr>
        <p:blipFill>
          <a:blip r:embed="rId1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3"/>
              </a:ext>
            </a:extLst>
          </a:blip>
          <a:stretch>
            <a:fillRect/>
          </a:stretch>
        </p:blipFill>
        <p:spPr>
          <a:xfrm>
            <a:off x="8454456" y="2801743"/>
            <a:ext cx="457200" cy="457200"/>
          </a:xfrm>
          <a:prstGeom prst="rect">
            <a:avLst/>
          </a:prstGeom>
        </p:spPr>
      </p:pic>
      <p:pic>
        <p:nvPicPr>
          <p:cNvPr id="115" name="Graphic 114">
            <a:extLst>
              <a:ext uri="{FF2B5EF4-FFF2-40B4-BE49-F238E27FC236}">
                <a16:creationId xmlns:a16="http://schemas.microsoft.com/office/drawing/2014/main" id="{7BCCEBAD-8F21-46DB-888D-8C7DB4813C6D}"/>
              </a:ext>
            </a:extLst>
          </p:cNvPr>
          <p:cNvPicPr>
            <a:picLocks noChangeAspect="1"/>
          </p:cNvPicPr>
          <p:nvPr/>
        </p:nvPicPr>
        <p:blipFill>
          <a:blip r:embed="rId1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5"/>
              </a:ext>
            </a:extLst>
          </a:blip>
          <a:stretch>
            <a:fillRect/>
          </a:stretch>
        </p:blipFill>
        <p:spPr>
          <a:xfrm>
            <a:off x="7906963" y="2801743"/>
            <a:ext cx="457200" cy="457200"/>
          </a:xfrm>
          <a:prstGeom prst="rect">
            <a:avLst/>
          </a:prstGeom>
        </p:spPr>
      </p:pic>
      <p:pic>
        <p:nvPicPr>
          <p:cNvPr id="116" name="Graphic 115">
            <a:extLst>
              <a:ext uri="{FF2B5EF4-FFF2-40B4-BE49-F238E27FC236}">
                <a16:creationId xmlns:a16="http://schemas.microsoft.com/office/drawing/2014/main" id="{8CE78BC8-2104-43D4-8402-D4EB0FFC5A14}"/>
              </a:ext>
            </a:extLst>
          </p:cNvPr>
          <p:cNvPicPr>
            <a:picLocks noChangeAspect="1"/>
          </p:cNvPicPr>
          <p:nvPr/>
        </p:nvPicPr>
        <p:blipFill>
          <a:blip r:embed="rId1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7"/>
              </a:ext>
            </a:extLst>
          </a:blip>
          <a:stretch>
            <a:fillRect/>
          </a:stretch>
        </p:blipFill>
        <p:spPr>
          <a:xfrm>
            <a:off x="7359469" y="2801743"/>
            <a:ext cx="457200" cy="457200"/>
          </a:xfrm>
          <a:prstGeom prst="rect">
            <a:avLst/>
          </a:prstGeom>
        </p:spPr>
      </p:pic>
      <p:pic>
        <p:nvPicPr>
          <p:cNvPr id="117" name="Graphic 116">
            <a:extLst>
              <a:ext uri="{FF2B5EF4-FFF2-40B4-BE49-F238E27FC236}">
                <a16:creationId xmlns:a16="http://schemas.microsoft.com/office/drawing/2014/main" id="{AD1C9FC3-F4B7-4EF4-8944-711F1FDDB6E1}"/>
              </a:ext>
            </a:extLst>
          </p:cNvPr>
          <p:cNvPicPr>
            <a:picLocks noChangeAspect="1"/>
          </p:cNvPicPr>
          <p:nvPr/>
        </p:nvPicPr>
        <p:blipFill>
          <a:blip r:embed="rId1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9"/>
              </a:ext>
            </a:extLst>
          </a:blip>
          <a:stretch>
            <a:fillRect/>
          </a:stretch>
        </p:blipFill>
        <p:spPr>
          <a:xfrm>
            <a:off x="6811975" y="2801743"/>
            <a:ext cx="457200" cy="4572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F566D624-5719-46AB-8644-5D8F302EF754}"/>
              </a:ext>
            </a:extLst>
          </p:cNvPr>
          <p:cNvPicPr>
            <a:picLocks noChangeAspect="1"/>
          </p:cNvPicPr>
          <p:nvPr/>
        </p:nvPicPr>
        <p:blipFill>
          <a:blip r:embed="rId1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1"/>
              </a:ext>
            </a:extLst>
          </a:blip>
          <a:stretch>
            <a:fillRect/>
          </a:stretch>
        </p:blipFill>
        <p:spPr>
          <a:xfrm>
            <a:off x="1884529" y="2247779"/>
            <a:ext cx="457200" cy="45720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EA391366-2815-437C-991C-D396F5DC555D}"/>
              </a:ext>
            </a:extLst>
          </p:cNvPr>
          <p:cNvPicPr>
            <a:picLocks noChangeAspect="1"/>
          </p:cNvPicPr>
          <p:nvPr/>
        </p:nvPicPr>
        <p:blipFill>
          <a:blip r:embed="rId1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3"/>
              </a:ext>
            </a:extLst>
          </a:blip>
          <a:stretch>
            <a:fillRect/>
          </a:stretch>
        </p:blipFill>
        <p:spPr>
          <a:xfrm>
            <a:off x="1337035" y="2247779"/>
            <a:ext cx="457200" cy="4572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BC8C7D33-238A-4D99-A4B5-8D635285BCBF}"/>
              </a:ext>
            </a:extLst>
          </p:cNvPr>
          <p:cNvPicPr>
            <a:picLocks noChangeAspect="1"/>
          </p:cNvPicPr>
          <p:nvPr/>
        </p:nvPicPr>
        <p:blipFill>
          <a:blip r:embed="rId1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5"/>
              </a:ext>
            </a:extLst>
          </a:blip>
          <a:stretch>
            <a:fillRect/>
          </a:stretch>
        </p:blipFill>
        <p:spPr>
          <a:xfrm>
            <a:off x="789541" y="2247779"/>
            <a:ext cx="457200" cy="457200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249AD334-0192-45ED-9EBE-588A57B369B8}"/>
              </a:ext>
            </a:extLst>
          </p:cNvPr>
          <p:cNvPicPr>
            <a:picLocks noChangeAspect="1"/>
          </p:cNvPicPr>
          <p:nvPr/>
        </p:nvPicPr>
        <p:blipFill>
          <a:blip r:embed="rId1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7"/>
              </a:ext>
            </a:extLst>
          </a:blip>
          <a:stretch>
            <a:fillRect/>
          </a:stretch>
        </p:blipFill>
        <p:spPr>
          <a:xfrm>
            <a:off x="242047" y="2247779"/>
            <a:ext cx="457200" cy="457200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34D71D3E-81E0-4F74-8AEE-C17EF1255AF3}"/>
              </a:ext>
            </a:extLst>
          </p:cNvPr>
          <p:cNvPicPr>
            <a:picLocks noChangeAspect="1"/>
          </p:cNvPicPr>
          <p:nvPr/>
        </p:nvPicPr>
        <p:blipFill>
          <a:blip r:embed="rId1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9"/>
              </a:ext>
            </a:extLst>
          </a:blip>
          <a:stretch>
            <a:fillRect/>
          </a:stretch>
        </p:blipFill>
        <p:spPr>
          <a:xfrm>
            <a:off x="4074505" y="2247779"/>
            <a:ext cx="457200" cy="457200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5CD8762E-1887-4B89-A282-BE64B75CADE3}"/>
              </a:ext>
            </a:extLst>
          </p:cNvPr>
          <p:cNvPicPr>
            <a:picLocks noChangeAspect="1"/>
          </p:cNvPicPr>
          <p:nvPr/>
        </p:nvPicPr>
        <p:blipFill>
          <a:blip r:embed="rId1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1"/>
              </a:ext>
            </a:extLst>
          </a:blip>
          <a:stretch>
            <a:fillRect/>
          </a:stretch>
        </p:blipFill>
        <p:spPr>
          <a:xfrm>
            <a:off x="3527011" y="2247779"/>
            <a:ext cx="457200" cy="457200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E7095FBB-C4B3-46EF-AFF8-62CD3CD6DBAA}"/>
              </a:ext>
            </a:extLst>
          </p:cNvPr>
          <p:cNvPicPr>
            <a:picLocks noChangeAspect="1"/>
          </p:cNvPicPr>
          <p:nvPr/>
        </p:nvPicPr>
        <p:blipFill>
          <a:blip r:embed="rId1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3"/>
              </a:ext>
            </a:extLst>
          </a:blip>
          <a:stretch>
            <a:fillRect/>
          </a:stretch>
        </p:blipFill>
        <p:spPr>
          <a:xfrm>
            <a:off x="2979517" y="2247779"/>
            <a:ext cx="457200" cy="457200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5D0A7084-2920-46BE-B293-9E23E2287790}"/>
              </a:ext>
            </a:extLst>
          </p:cNvPr>
          <p:cNvPicPr>
            <a:picLocks noChangeAspect="1"/>
          </p:cNvPicPr>
          <p:nvPr/>
        </p:nvPicPr>
        <p:blipFill>
          <a:blip r:embed="rId1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5"/>
              </a:ext>
            </a:extLst>
          </a:blip>
          <a:stretch>
            <a:fillRect/>
          </a:stretch>
        </p:blipFill>
        <p:spPr>
          <a:xfrm>
            <a:off x="2432023" y="2247779"/>
            <a:ext cx="457200" cy="457200"/>
          </a:xfrm>
          <a:prstGeom prst="rect">
            <a:avLst/>
          </a:prstGeom>
        </p:spPr>
      </p:pic>
      <p:pic>
        <p:nvPicPr>
          <p:cNvPr id="90" name="Graphic 89">
            <a:extLst>
              <a:ext uri="{FF2B5EF4-FFF2-40B4-BE49-F238E27FC236}">
                <a16:creationId xmlns:a16="http://schemas.microsoft.com/office/drawing/2014/main" id="{53A7E14E-998D-4BFE-A90C-4B5389388AAA}"/>
              </a:ext>
            </a:extLst>
          </p:cNvPr>
          <p:cNvPicPr>
            <a:picLocks noChangeAspect="1"/>
          </p:cNvPicPr>
          <p:nvPr/>
        </p:nvPicPr>
        <p:blipFill>
          <a:blip r:embed="rId1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7"/>
              </a:ext>
            </a:extLst>
          </a:blip>
          <a:stretch>
            <a:fillRect/>
          </a:stretch>
        </p:blipFill>
        <p:spPr>
          <a:xfrm>
            <a:off x="6264481" y="2247779"/>
            <a:ext cx="457200" cy="457200"/>
          </a:xfrm>
          <a:prstGeom prst="rect">
            <a:avLst/>
          </a:prstGeom>
        </p:spPr>
      </p:pic>
      <p:pic>
        <p:nvPicPr>
          <p:cNvPr id="91" name="Graphic 90">
            <a:extLst>
              <a:ext uri="{FF2B5EF4-FFF2-40B4-BE49-F238E27FC236}">
                <a16:creationId xmlns:a16="http://schemas.microsoft.com/office/drawing/2014/main" id="{BFDA3CD3-9B98-421E-8678-A628D2A5A866}"/>
              </a:ext>
            </a:extLst>
          </p:cNvPr>
          <p:cNvPicPr>
            <a:picLocks noChangeAspect="1"/>
          </p:cNvPicPr>
          <p:nvPr/>
        </p:nvPicPr>
        <p:blipFill>
          <a:blip r:embed="rId1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9"/>
              </a:ext>
            </a:extLst>
          </a:blip>
          <a:stretch>
            <a:fillRect/>
          </a:stretch>
        </p:blipFill>
        <p:spPr>
          <a:xfrm>
            <a:off x="5716987" y="2247779"/>
            <a:ext cx="457200" cy="457200"/>
          </a:xfrm>
          <a:prstGeom prst="rect">
            <a:avLst/>
          </a:prstGeom>
        </p:spPr>
      </p:pic>
      <p:pic>
        <p:nvPicPr>
          <p:cNvPr id="92" name="Graphic 91">
            <a:extLst>
              <a:ext uri="{FF2B5EF4-FFF2-40B4-BE49-F238E27FC236}">
                <a16:creationId xmlns:a16="http://schemas.microsoft.com/office/drawing/2014/main" id="{606C313D-8C1A-4AE9-AB1D-C5CED4BE53B6}"/>
              </a:ext>
            </a:extLst>
          </p:cNvPr>
          <p:cNvPicPr>
            <a:picLocks noChangeAspect="1"/>
          </p:cNvPicPr>
          <p:nvPr/>
        </p:nvPicPr>
        <p:blipFill>
          <a:blip r:embed="rId1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1"/>
              </a:ext>
            </a:extLst>
          </a:blip>
          <a:stretch>
            <a:fillRect/>
          </a:stretch>
        </p:blipFill>
        <p:spPr>
          <a:xfrm>
            <a:off x="5169493" y="2247779"/>
            <a:ext cx="457200" cy="457200"/>
          </a:xfrm>
          <a:prstGeom prst="rect">
            <a:avLst/>
          </a:prstGeom>
        </p:spPr>
      </p:pic>
      <p:pic>
        <p:nvPicPr>
          <p:cNvPr id="93" name="Graphic 92">
            <a:extLst>
              <a:ext uri="{FF2B5EF4-FFF2-40B4-BE49-F238E27FC236}">
                <a16:creationId xmlns:a16="http://schemas.microsoft.com/office/drawing/2014/main" id="{6692B0A9-E34E-4A22-8E81-D9B586A73AC5}"/>
              </a:ext>
            </a:extLst>
          </p:cNvPr>
          <p:cNvPicPr>
            <a:picLocks noChangeAspect="1"/>
          </p:cNvPicPr>
          <p:nvPr/>
        </p:nvPicPr>
        <p:blipFill>
          <a:blip r:embed="rId1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3"/>
              </a:ext>
            </a:extLst>
          </a:blip>
          <a:stretch>
            <a:fillRect/>
          </a:stretch>
        </p:blipFill>
        <p:spPr>
          <a:xfrm>
            <a:off x="4621999" y="2247779"/>
            <a:ext cx="457200" cy="457200"/>
          </a:xfrm>
          <a:prstGeom prst="rect">
            <a:avLst/>
          </a:prstGeom>
        </p:spPr>
      </p:pic>
      <p:pic>
        <p:nvPicPr>
          <p:cNvPr id="118" name="Graphic 117">
            <a:extLst>
              <a:ext uri="{FF2B5EF4-FFF2-40B4-BE49-F238E27FC236}">
                <a16:creationId xmlns:a16="http://schemas.microsoft.com/office/drawing/2014/main" id="{C6E01C91-F083-4BEB-9615-018B5B2B8C53}"/>
              </a:ext>
            </a:extLst>
          </p:cNvPr>
          <p:cNvPicPr>
            <a:picLocks noChangeAspect="1"/>
          </p:cNvPicPr>
          <p:nvPr/>
        </p:nvPicPr>
        <p:blipFill>
          <a:blip r:embed="rId1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5"/>
              </a:ext>
            </a:extLst>
          </a:blip>
          <a:stretch>
            <a:fillRect/>
          </a:stretch>
        </p:blipFill>
        <p:spPr>
          <a:xfrm>
            <a:off x="8454456" y="2247779"/>
            <a:ext cx="457200" cy="457200"/>
          </a:xfrm>
          <a:prstGeom prst="rect">
            <a:avLst/>
          </a:prstGeom>
        </p:spPr>
      </p:pic>
      <p:pic>
        <p:nvPicPr>
          <p:cNvPr id="119" name="Graphic 118">
            <a:extLst>
              <a:ext uri="{FF2B5EF4-FFF2-40B4-BE49-F238E27FC236}">
                <a16:creationId xmlns:a16="http://schemas.microsoft.com/office/drawing/2014/main" id="{67D114C5-CFAB-4866-BAE1-AA7F49E31ABA}"/>
              </a:ext>
            </a:extLst>
          </p:cNvPr>
          <p:cNvPicPr>
            <a:picLocks noChangeAspect="1"/>
          </p:cNvPicPr>
          <p:nvPr/>
        </p:nvPicPr>
        <p:blipFill>
          <a:blip r:embed="rId1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7"/>
              </a:ext>
            </a:extLst>
          </a:blip>
          <a:stretch>
            <a:fillRect/>
          </a:stretch>
        </p:blipFill>
        <p:spPr>
          <a:xfrm>
            <a:off x="7906963" y="2247779"/>
            <a:ext cx="457200" cy="457200"/>
          </a:xfrm>
          <a:prstGeom prst="rect">
            <a:avLst/>
          </a:prstGeom>
        </p:spPr>
      </p:pic>
      <p:pic>
        <p:nvPicPr>
          <p:cNvPr id="120" name="Graphic 119">
            <a:extLst>
              <a:ext uri="{FF2B5EF4-FFF2-40B4-BE49-F238E27FC236}">
                <a16:creationId xmlns:a16="http://schemas.microsoft.com/office/drawing/2014/main" id="{BA9B0B89-A22B-4F05-9032-25680A796004}"/>
              </a:ext>
            </a:extLst>
          </p:cNvPr>
          <p:cNvPicPr>
            <a:picLocks noChangeAspect="1"/>
          </p:cNvPicPr>
          <p:nvPr/>
        </p:nvPicPr>
        <p:blipFill>
          <a:blip r:embed="rId1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9"/>
              </a:ext>
            </a:extLst>
          </a:blip>
          <a:stretch>
            <a:fillRect/>
          </a:stretch>
        </p:blipFill>
        <p:spPr>
          <a:xfrm>
            <a:off x="7359469" y="2247779"/>
            <a:ext cx="457200" cy="457200"/>
          </a:xfrm>
          <a:prstGeom prst="rect">
            <a:avLst/>
          </a:prstGeom>
        </p:spPr>
      </p:pic>
      <p:pic>
        <p:nvPicPr>
          <p:cNvPr id="121" name="Graphic 120">
            <a:extLst>
              <a:ext uri="{FF2B5EF4-FFF2-40B4-BE49-F238E27FC236}">
                <a16:creationId xmlns:a16="http://schemas.microsoft.com/office/drawing/2014/main" id="{0D76AEC9-E39E-4E86-89D6-59366278D411}"/>
              </a:ext>
            </a:extLst>
          </p:cNvPr>
          <p:cNvPicPr>
            <a:picLocks noChangeAspect="1"/>
          </p:cNvPicPr>
          <p:nvPr/>
        </p:nvPicPr>
        <p:blipFill>
          <a:blip r:embed="rId1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1"/>
              </a:ext>
            </a:extLst>
          </a:blip>
          <a:stretch>
            <a:fillRect/>
          </a:stretch>
        </p:blipFill>
        <p:spPr>
          <a:xfrm>
            <a:off x="6811975" y="2247779"/>
            <a:ext cx="457200" cy="4572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D6F00BF3-3969-4885-9F3C-5105AD19E77B}"/>
              </a:ext>
            </a:extLst>
          </p:cNvPr>
          <p:cNvPicPr>
            <a:picLocks noChangeAspect="1"/>
          </p:cNvPicPr>
          <p:nvPr/>
        </p:nvPicPr>
        <p:blipFill>
          <a:blip r:embed="rId1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3"/>
              </a:ext>
            </a:extLst>
          </a:blip>
          <a:stretch>
            <a:fillRect/>
          </a:stretch>
        </p:blipFill>
        <p:spPr>
          <a:xfrm>
            <a:off x="1884529" y="1693815"/>
            <a:ext cx="457200" cy="45720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AD8FDDF5-6091-4D6D-AF75-05E0DE23F300}"/>
              </a:ext>
            </a:extLst>
          </p:cNvPr>
          <p:cNvPicPr>
            <a:picLocks noChangeAspect="1"/>
          </p:cNvPicPr>
          <p:nvPr/>
        </p:nvPicPr>
        <p:blipFill>
          <a:blip r:embed="rId1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5"/>
              </a:ext>
            </a:extLst>
          </a:blip>
          <a:stretch>
            <a:fillRect/>
          </a:stretch>
        </p:blipFill>
        <p:spPr>
          <a:xfrm>
            <a:off x="1337035" y="1693815"/>
            <a:ext cx="457200" cy="457200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5A189958-00ED-40AB-B612-951C86483273}"/>
              </a:ext>
            </a:extLst>
          </p:cNvPr>
          <p:cNvPicPr>
            <a:picLocks noChangeAspect="1"/>
          </p:cNvPicPr>
          <p:nvPr/>
        </p:nvPicPr>
        <p:blipFill>
          <a:blip r:embed="rId1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7"/>
              </a:ext>
            </a:extLst>
          </a:blip>
          <a:stretch>
            <a:fillRect/>
          </a:stretch>
        </p:blipFill>
        <p:spPr>
          <a:xfrm>
            <a:off x="789541" y="1693815"/>
            <a:ext cx="457200" cy="457200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08FE89DD-4319-4311-A331-2A1049AC24F0}"/>
              </a:ext>
            </a:extLst>
          </p:cNvPr>
          <p:cNvPicPr>
            <a:picLocks noChangeAspect="1"/>
          </p:cNvPicPr>
          <p:nvPr/>
        </p:nvPicPr>
        <p:blipFill>
          <a:blip r:embed="rId1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9"/>
              </a:ext>
            </a:extLst>
          </a:blip>
          <a:stretch>
            <a:fillRect/>
          </a:stretch>
        </p:blipFill>
        <p:spPr>
          <a:xfrm>
            <a:off x="242047" y="1693815"/>
            <a:ext cx="457200" cy="457200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50F1D1D3-8706-4763-99BA-F34E994B567E}"/>
              </a:ext>
            </a:extLst>
          </p:cNvPr>
          <p:cNvPicPr>
            <a:picLocks noChangeAspect="1"/>
          </p:cNvPicPr>
          <p:nvPr/>
        </p:nvPicPr>
        <p:blipFill>
          <a:blip r:embed="rId1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1"/>
              </a:ext>
            </a:extLst>
          </a:blip>
          <a:stretch>
            <a:fillRect/>
          </a:stretch>
        </p:blipFill>
        <p:spPr>
          <a:xfrm>
            <a:off x="4074505" y="1693815"/>
            <a:ext cx="457200" cy="45720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C47B6D5B-7829-4411-8418-C0E50B9929DD}"/>
              </a:ext>
            </a:extLst>
          </p:cNvPr>
          <p:cNvPicPr>
            <a:picLocks noChangeAspect="1"/>
          </p:cNvPicPr>
          <p:nvPr/>
        </p:nvPicPr>
        <p:blipFill>
          <a:blip r:embed="rId1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3"/>
              </a:ext>
            </a:extLst>
          </a:blip>
          <a:stretch>
            <a:fillRect/>
          </a:stretch>
        </p:blipFill>
        <p:spPr>
          <a:xfrm>
            <a:off x="3527011" y="1693815"/>
            <a:ext cx="457200" cy="457200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C50AB6CC-7A60-4E0E-8B35-69155C79C5D3}"/>
              </a:ext>
            </a:extLst>
          </p:cNvPr>
          <p:cNvPicPr>
            <a:picLocks noChangeAspect="1"/>
          </p:cNvPicPr>
          <p:nvPr/>
        </p:nvPicPr>
        <p:blipFill>
          <a:blip r:embed="rId1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5"/>
              </a:ext>
            </a:extLst>
          </a:blip>
          <a:stretch>
            <a:fillRect/>
          </a:stretch>
        </p:blipFill>
        <p:spPr>
          <a:xfrm>
            <a:off x="2979517" y="1693815"/>
            <a:ext cx="457200" cy="457200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9DC73BAB-58CA-4B19-9E8A-E335FB2C50AE}"/>
              </a:ext>
            </a:extLst>
          </p:cNvPr>
          <p:cNvPicPr>
            <a:picLocks noChangeAspect="1"/>
          </p:cNvPicPr>
          <p:nvPr/>
        </p:nvPicPr>
        <p:blipFill>
          <a:blip r:embed="rId1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7"/>
              </a:ext>
            </a:extLst>
          </a:blip>
          <a:stretch>
            <a:fillRect/>
          </a:stretch>
        </p:blipFill>
        <p:spPr>
          <a:xfrm>
            <a:off x="2432023" y="1693815"/>
            <a:ext cx="457200" cy="457200"/>
          </a:xfrm>
          <a:prstGeom prst="rect">
            <a:avLst/>
          </a:prstGeom>
        </p:spPr>
      </p:pic>
      <p:pic>
        <p:nvPicPr>
          <p:cNvPr id="94" name="Graphic 93">
            <a:extLst>
              <a:ext uri="{FF2B5EF4-FFF2-40B4-BE49-F238E27FC236}">
                <a16:creationId xmlns:a16="http://schemas.microsoft.com/office/drawing/2014/main" id="{8287AFC3-948A-4797-9147-318BBD115009}"/>
              </a:ext>
            </a:extLst>
          </p:cNvPr>
          <p:cNvPicPr>
            <a:picLocks noChangeAspect="1"/>
          </p:cNvPicPr>
          <p:nvPr/>
        </p:nvPicPr>
        <p:blipFill>
          <a:blip r:embed="rId1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9"/>
              </a:ext>
            </a:extLst>
          </a:blip>
          <a:stretch>
            <a:fillRect/>
          </a:stretch>
        </p:blipFill>
        <p:spPr>
          <a:xfrm>
            <a:off x="6264481" y="1693815"/>
            <a:ext cx="457200" cy="457200"/>
          </a:xfrm>
          <a:prstGeom prst="rect">
            <a:avLst/>
          </a:prstGeom>
        </p:spPr>
      </p:pic>
      <p:pic>
        <p:nvPicPr>
          <p:cNvPr id="95" name="Graphic 94">
            <a:extLst>
              <a:ext uri="{FF2B5EF4-FFF2-40B4-BE49-F238E27FC236}">
                <a16:creationId xmlns:a16="http://schemas.microsoft.com/office/drawing/2014/main" id="{A943C8AC-8746-4535-92A5-09D5FF7E30A4}"/>
              </a:ext>
            </a:extLst>
          </p:cNvPr>
          <p:cNvPicPr>
            <a:picLocks noChangeAspect="1"/>
          </p:cNvPicPr>
          <p:nvPr/>
        </p:nvPicPr>
        <p:blipFill>
          <a:blip r:embed="rId1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1"/>
              </a:ext>
            </a:extLst>
          </a:blip>
          <a:stretch>
            <a:fillRect/>
          </a:stretch>
        </p:blipFill>
        <p:spPr>
          <a:xfrm>
            <a:off x="5716987" y="1693815"/>
            <a:ext cx="457200" cy="457200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E625F223-CB91-4465-A746-67C9004C2476}"/>
              </a:ext>
            </a:extLst>
          </p:cNvPr>
          <p:cNvPicPr>
            <a:picLocks noChangeAspect="1"/>
          </p:cNvPicPr>
          <p:nvPr/>
        </p:nvPicPr>
        <p:blipFill>
          <a:blip r:embed="rId1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3"/>
              </a:ext>
            </a:extLst>
          </a:blip>
          <a:stretch>
            <a:fillRect/>
          </a:stretch>
        </p:blipFill>
        <p:spPr>
          <a:xfrm>
            <a:off x="5169493" y="1693815"/>
            <a:ext cx="457200" cy="457200"/>
          </a:xfrm>
          <a:prstGeom prst="rect">
            <a:avLst/>
          </a:prstGeom>
        </p:spPr>
      </p:pic>
      <p:pic>
        <p:nvPicPr>
          <p:cNvPr id="97" name="Graphic 96">
            <a:extLst>
              <a:ext uri="{FF2B5EF4-FFF2-40B4-BE49-F238E27FC236}">
                <a16:creationId xmlns:a16="http://schemas.microsoft.com/office/drawing/2014/main" id="{E22469F7-C48C-4582-AB38-3DBACA0629D8}"/>
              </a:ext>
            </a:extLst>
          </p:cNvPr>
          <p:cNvPicPr>
            <a:picLocks noChangeAspect="1"/>
          </p:cNvPicPr>
          <p:nvPr/>
        </p:nvPicPr>
        <p:blipFill>
          <a:blip r:embed="rId1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5"/>
              </a:ext>
            </a:extLst>
          </a:blip>
          <a:stretch>
            <a:fillRect/>
          </a:stretch>
        </p:blipFill>
        <p:spPr>
          <a:xfrm>
            <a:off x="4621999" y="1693815"/>
            <a:ext cx="457200" cy="457200"/>
          </a:xfrm>
          <a:prstGeom prst="rect">
            <a:avLst/>
          </a:prstGeom>
        </p:spPr>
      </p:pic>
      <p:pic>
        <p:nvPicPr>
          <p:cNvPr id="122" name="Graphic 121">
            <a:extLst>
              <a:ext uri="{FF2B5EF4-FFF2-40B4-BE49-F238E27FC236}">
                <a16:creationId xmlns:a16="http://schemas.microsoft.com/office/drawing/2014/main" id="{666675C0-CE4F-4E2E-851E-DBA3EE54C9F5}"/>
              </a:ext>
            </a:extLst>
          </p:cNvPr>
          <p:cNvPicPr>
            <a:picLocks noChangeAspect="1"/>
          </p:cNvPicPr>
          <p:nvPr/>
        </p:nvPicPr>
        <p:blipFill>
          <a:blip r:embed="rId1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7"/>
              </a:ext>
            </a:extLst>
          </a:blip>
          <a:stretch>
            <a:fillRect/>
          </a:stretch>
        </p:blipFill>
        <p:spPr>
          <a:xfrm>
            <a:off x="8454456" y="1693815"/>
            <a:ext cx="457200" cy="457200"/>
          </a:xfrm>
          <a:prstGeom prst="rect">
            <a:avLst/>
          </a:prstGeom>
        </p:spPr>
      </p:pic>
      <p:pic>
        <p:nvPicPr>
          <p:cNvPr id="123" name="Graphic 122">
            <a:extLst>
              <a:ext uri="{FF2B5EF4-FFF2-40B4-BE49-F238E27FC236}">
                <a16:creationId xmlns:a16="http://schemas.microsoft.com/office/drawing/2014/main" id="{403DEF38-1395-41F4-BDDF-C827288D6C5A}"/>
              </a:ext>
            </a:extLst>
          </p:cNvPr>
          <p:cNvPicPr>
            <a:picLocks noChangeAspect="1"/>
          </p:cNvPicPr>
          <p:nvPr/>
        </p:nvPicPr>
        <p:blipFill>
          <a:blip r:embed="rId1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9"/>
              </a:ext>
            </a:extLst>
          </a:blip>
          <a:stretch>
            <a:fillRect/>
          </a:stretch>
        </p:blipFill>
        <p:spPr>
          <a:xfrm>
            <a:off x="7906963" y="1693815"/>
            <a:ext cx="457200" cy="457200"/>
          </a:xfrm>
          <a:prstGeom prst="rect">
            <a:avLst/>
          </a:prstGeom>
        </p:spPr>
      </p:pic>
      <p:pic>
        <p:nvPicPr>
          <p:cNvPr id="124" name="Graphic 123">
            <a:extLst>
              <a:ext uri="{FF2B5EF4-FFF2-40B4-BE49-F238E27FC236}">
                <a16:creationId xmlns:a16="http://schemas.microsoft.com/office/drawing/2014/main" id="{CB088127-40E5-49CB-BDCC-AA725114D54D}"/>
              </a:ext>
            </a:extLst>
          </p:cNvPr>
          <p:cNvPicPr>
            <a:picLocks noChangeAspect="1"/>
          </p:cNvPicPr>
          <p:nvPr/>
        </p:nvPicPr>
        <p:blipFill>
          <a:blip r:embed="rId1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1"/>
              </a:ext>
            </a:extLst>
          </a:blip>
          <a:stretch>
            <a:fillRect/>
          </a:stretch>
        </p:blipFill>
        <p:spPr>
          <a:xfrm>
            <a:off x="7359469" y="1693815"/>
            <a:ext cx="457200" cy="457200"/>
          </a:xfrm>
          <a:prstGeom prst="rect">
            <a:avLst/>
          </a:prstGeom>
        </p:spPr>
      </p:pic>
      <p:pic>
        <p:nvPicPr>
          <p:cNvPr id="125" name="Graphic 124">
            <a:extLst>
              <a:ext uri="{FF2B5EF4-FFF2-40B4-BE49-F238E27FC236}">
                <a16:creationId xmlns:a16="http://schemas.microsoft.com/office/drawing/2014/main" id="{5C9FE1D4-535F-4978-BE21-2B4A192BC322}"/>
              </a:ext>
            </a:extLst>
          </p:cNvPr>
          <p:cNvPicPr>
            <a:picLocks noChangeAspect="1"/>
          </p:cNvPicPr>
          <p:nvPr/>
        </p:nvPicPr>
        <p:blipFill>
          <a:blip r:embed="rId1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3"/>
              </a:ext>
            </a:extLst>
          </a:blip>
          <a:stretch>
            <a:fillRect/>
          </a:stretch>
        </p:blipFill>
        <p:spPr>
          <a:xfrm>
            <a:off x="6811975" y="1693815"/>
            <a:ext cx="457200" cy="4572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005C5754-E546-4ABF-A37A-0DCA48DCE7DA}"/>
              </a:ext>
            </a:extLst>
          </p:cNvPr>
          <p:cNvPicPr>
            <a:picLocks noChangeAspect="1"/>
          </p:cNvPicPr>
          <p:nvPr/>
        </p:nvPicPr>
        <p:blipFill>
          <a:blip r:embed="rId1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5"/>
              </a:ext>
            </a:extLst>
          </a:blip>
          <a:stretch>
            <a:fillRect/>
          </a:stretch>
        </p:blipFill>
        <p:spPr>
          <a:xfrm>
            <a:off x="242047" y="1139851"/>
            <a:ext cx="457200" cy="4572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F23E4575-DA4B-4379-B44F-551278A88325}"/>
              </a:ext>
            </a:extLst>
          </p:cNvPr>
          <p:cNvPicPr>
            <a:picLocks noChangeAspect="1"/>
          </p:cNvPicPr>
          <p:nvPr/>
        </p:nvPicPr>
        <p:blipFill>
          <a:blip r:embed="rId1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7"/>
              </a:ext>
            </a:extLst>
          </a:blip>
          <a:stretch>
            <a:fillRect/>
          </a:stretch>
        </p:blipFill>
        <p:spPr>
          <a:xfrm>
            <a:off x="1880944" y="1139851"/>
            <a:ext cx="457200" cy="457200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08F9A258-05C9-40E9-BE0E-E1BAEE62A6B4}"/>
              </a:ext>
            </a:extLst>
          </p:cNvPr>
          <p:cNvPicPr>
            <a:picLocks noChangeAspect="1"/>
          </p:cNvPicPr>
          <p:nvPr/>
        </p:nvPicPr>
        <p:blipFill>
          <a:blip r:embed="rId1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9"/>
              </a:ext>
            </a:extLst>
          </a:blip>
          <a:stretch>
            <a:fillRect/>
          </a:stretch>
        </p:blipFill>
        <p:spPr>
          <a:xfrm>
            <a:off x="1333151" y="1139851"/>
            <a:ext cx="457200" cy="457200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7C1463BE-7C6B-4C53-BF3F-508203AF6AB9}"/>
              </a:ext>
            </a:extLst>
          </p:cNvPr>
          <p:cNvPicPr>
            <a:picLocks noChangeAspect="1"/>
          </p:cNvPicPr>
          <p:nvPr/>
        </p:nvPicPr>
        <p:blipFill>
          <a:blip r:embed="rId2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1"/>
              </a:ext>
            </a:extLst>
          </a:blip>
          <a:stretch>
            <a:fillRect/>
          </a:stretch>
        </p:blipFill>
        <p:spPr>
          <a:xfrm>
            <a:off x="785358" y="1139851"/>
            <a:ext cx="457200" cy="4572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785E4B9A-55D4-4DCE-82C8-D582A26D1D34}"/>
              </a:ext>
            </a:extLst>
          </p:cNvPr>
          <p:cNvPicPr>
            <a:picLocks noChangeAspect="1"/>
          </p:cNvPicPr>
          <p:nvPr/>
        </p:nvPicPr>
        <p:blipFill>
          <a:blip r:embed="rId2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3"/>
              </a:ext>
            </a:extLst>
          </a:blip>
          <a:stretch>
            <a:fillRect/>
          </a:stretch>
        </p:blipFill>
        <p:spPr>
          <a:xfrm>
            <a:off x="2428737" y="1139851"/>
            <a:ext cx="457200" cy="45720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67F9537A-AB16-4A53-ADC7-F020D30F0A63}"/>
              </a:ext>
            </a:extLst>
          </p:cNvPr>
          <p:cNvPicPr>
            <a:picLocks noChangeAspect="1"/>
          </p:cNvPicPr>
          <p:nvPr/>
        </p:nvPicPr>
        <p:blipFill>
          <a:blip r:embed="rId2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5"/>
              </a:ext>
            </a:extLst>
          </a:blip>
          <a:stretch>
            <a:fillRect/>
          </a:stretch>
        </p:blipFill>
        <p:spPr>
          <a:xfrm>
            <a:off x="4072116" y="1139851"/>
            <a:ext cx="457200" cy="457200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D9B79AE2-E7AD-4FC1-9ECB-7FBA436D78F6}"/>
              </a:ext>
            </a:extLst>
          </p:cNvPr>
          <p:cNvPicPr>
            <a:picLocks noChangeAspect="1"/>
          </p:cNvPicPr>
          <p:nvPr/>
        </p:nvPicPr>
        <p:blipFill>
          <a:blip r:embed="rId2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7"/>
              </a:ext>
            </a:extLst>
          </a:blip>
          <a:stretch>
            <a:fillRect/>
          </a:stretch>
        </p:blipFill>
        <p:spPr>
          <a:xfrm>
            <a:off x="3524323" y="1139851"/>
            <a:ext cx="457200" cy="457200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8C25A91A-F38A-41CE-BA5B-909E12BCD068}"/>
              </a:ext>
            </a:extLst>
          </p:cNvPr>
          <p:cNvPicPr>
            <a:picLocks noChangeAspect="1"/>
          </p:cNvPicPr>
          <p:nvPr/>
        </p:nvPicPr>
        <p:blipFill>
          <a:blip r:embed="rId2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9"/>
              </a:ext>
            </a:extLst>
          </a:blip>
          <a:stretch>
            <a:fillRect/>
          </a:stretch>
        </p:blipFill>
        <p:spPr>
          <a:xfrm>
            <a:off x="2976530" y="1139851"/>
            <a:ext cx="457200" cy="457200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C0BC6F02-CE8B-4BAB-B302-B4ADB2501507}"/>
              </a:ext>
            </a:extLst>
          </p:cNvPr>
          <p:cNvPicPr>
            <a:picLocks noChangeAspect="1"/>
          </p:cNvPicPr>
          <p:nvPr/>
        </p:nvPicPr>
        <p:blipFill>
          <a:blip r:embed="rId2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1"/>
              </a:ext>
            </a:extLst>
          </a:blip>
          <a:stretch>
            <a:fillRect/>
          </a:stretch>
        </p:blipFill>
        <p:spPr>
          <a:xfrm>
            <a:off x="4619909" y="1139851"/>
            <a:ext cx="457200" cy="457200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A51413D3-D329-4A67-8D6F-6AAB7638B7F0}"/>
              </a:ext>
            </a:extLst>
          </p:cNvPr>
          <p:cNvPicPr>
            <a:picLocks noChangeAspect="1"/>
          </p:cNvPicPr>
          <p:nvPr/>
        </p:nvPicPr>
        <p:blipFill>
          <a:blip r:embed="rId2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3"/>
              </a:ext>
            </a:extLst>
          </a:blip>
          <a:stretch>
            <a:fillRect/>
          </a:stretch>
        </p:blipFill>
        <p:spPr>
          <a:xfrm>
            <a:off x="6263288" y="1139851"/>
            <a:ext cx="457200" cy="457200"/>
          </a:xfrm>
          <a:prstGeom prst="rect">
            <a:avLst/>
          </a:prstGeom>
        </p:spPr>
      </p:pic>
      <p:pic>
        <p:nvPicPr>
          <p:cNvPr id="99" name="Graphic 98">
            <a:extLst>
              <a:ext uri="{FF2B5EF4-FFF2-40B4-BE49-F238E27FC236}">
                <a16:creationId xmlns:a16="http://schemas.microsoft.com/office/drawing/2014/main" id="{0DC56557-10D2-4FAC-B2ED-CDD9A927564D}"/>
              </a:ext>
            </a:extLst>
          </p:cNvPr>
          <p:cNvPicPr>
            <a:picLocks noChangeAspect="1"/>
          </p:cNvPicPr>
          <p:nvPr/>
        </p:nvPicPr>
        <p:blipFill>
          <a:blip r:embed="rId2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5"/>
              </a:ext>
            </a:extLst>
          </a:blip>
          <a:stretch>
            <a:fillRect/>
          </a:stretch>
        </p:blipFill>
        <p:spPr>
          <a:xfrm>
            <a:off x="5715495" y="1139851"/>
            <a:ext cx="457200" cy="457200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528F05B9-8C01-4358-944C-38C99FA00CB1}"/>
              </a:ext>
            </a:extLst>
          </p:cNvPr>
          <p:cNvPicPr>
            <a:picLocks noChangeAspect="1"/>
          </p:cNvPicPr>
          <p:nvPr/>
        </p:nvPicPr>
        <p:blipFill>
          <a:blip r:embed="rId2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7"/>
              </a:ext>
            </a:extLst>
          </a:blip>
          <a:stretch>
            <a:fillRect/>
          </a:stretch>
        </p:blipFill>
        <p:spPr>
          <a:xfrm>
            <a:off x="5167702" y="1139851"/>
            <a:ext cx="457200" cy="457200"/>
          </a:xfrm>
          <a:prstGeom prst="rect">
            <a:avLst/>
          </a:prstGeom>
        </p:spPr>
      </p:pic>
      <p:pic>
        <p:nvPicPr>
          <p:cNvPr id="101" name="Graphic 100">
            <a:extLst>
              <a:ext uri="{FF2B5EF4-FFF2-40B4-BE49-F238E27FC236}">
                <a16:creationId xmlns:a16="http://schemas.microsoft.com/office/drawing/2014/main" id="{A2C6A327-6A80-43F8-95A6-2F01AD47AF31}"/>
              </a:ext>
            </a:extLst>
          </p:cNvPr>
          <p:cNvPicPr>
            <a:picLocks noChangeAspect="1"/>
          </p:cNvPicPr>
          <p:nvPr/>
        </p:nvPicPr>
        <p:blipFill>
          <a:blip r:embed="rId2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9"/>
              </a:ext>
            </a:extLst>
          </a:blip>
          <a:stretch>
            <a:fillRect/>
          </a:stretch>
        </p:blipFill>
        <p:spPr>
          <a:xfrm>
            <a:off x="6811081" y="1139851"/>
            <a:ext cx="457200" cy="457200"/>
          </a:xfrm>
          <a:prstGeom prst="rect">
            <a:avLst/>
          </a:prstGeom>
        </p:spPr>
      </p:pic>
      <p:pic>
        <p:nvPicPr>
          <p:cNvPr id="126" name="Graphic 125">
            <a:extLst>
              <a:ext uri="{FF2B5EF4-FFF2-40B4-BE49-F238E27FC236}">
                <a16:creationId xmlns:a16="http://schemas.microsoft.com/office/drawing/2014/main" id="{76E0D7E1-9DE8-494C-96FA-8C7FFD2A9F5B}"/>
              </a:ext>
            </a:extLst>
          </p:cNvPr>
          <p:cNvPicPr>
            <a:picLocks noChangeAspect="1"/>
          </p:cNvPicPr>
          <p:nvPr/>
        </p:nvPicPr>
        <p:blipFill>
          <a:blip r:embed="rId2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1"/>
              </a:ext>
            </a:extLst>
          </a:blip>
          <a:stretch>
            <a:fillRect/>
          </a:stretch>
        </p:blipFill>
        <p:spPr>
          <a:xfrm>
            <a:off x="8454456" y="1139851"/>
            <a:ext cx="457200" cy="457200"/>
          </a:xfrm>
          <a:prstGeom prst="rect">
            <a:avLst/>
          </a:prstGeom>
        </p:spPr>
      </p:pic>
      <p:pic>
        <p:nvPicPr>
          <p:cNvPr id="127" name="Graphic 126">
            <a:extLst>
              <a:ext uri="{FF2B5EF4-FFF2-40B4-BE49-F238E27FC236}">
                <a16:creationId xmlns:a16="http://schemas.microsoft.com/office/drawing/2014/main" id="{DF0435A9-7872-44CB-8693-86D1196A2A90}"/>
              </a:ext>
            </a:extLst>
          </p:cNvPr>
          <p:cNvPicPr>
            <a:picLocks noChangeAspect="1"/>
          </p:cNvPicPr>
          <p:nvPr/>
        </p:nvPicPr>
        <p:blipFill>
          <a:blip r:embed="rId2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3"/>
              </a:ext>
            </a:extLst>
          </a:blip>
          <a:stretch>
            <a:fillRect/>
          </a:stretch>
        </p:blipFill>
        <p:spPr>
          <a:xfrm>
            <a:off x="7906667" y="1139851"/>
            <a:ext cx="457200" cy="457200"/>
          </a:xfrm>
          <a:prstGeom prst="rect">
            <a:avLst/>
          </a:prstGeom>
        </p:spPr>
      </p:pic>
      <p:pic>
        <p:nvPicPr>
          <p:cNvPr id="128" name="Graphic 127">
            <a:extLst>
              <a:ext uri="{FF2B5EF4-FFF2-40B4-BE49-F238E27FC236}">
                <a16:creationId xmlns:a16="http://schemas.microsoft.com/office/drawing/2014/main" id="{960EE258-2ABB-40E9-AA0D-F827914735CD}"/>
              </a:ext>
            </a:extLst>
          </p:cNvPr>
          <p:cNvPicPr>
            <a:picLocks noChangeAspect="1"/>
          </p:cNvPicPr>
          <p:nvPr/>
        </p:nvPicPr>
        <p:blipFill>
          <a:blip r:embed="rId2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5"/>
              </a:ext>
            </a:extLst>
          </a:blip>
          <a:stretch>
            <a:fillRect/>
          </a:stretch>
        </p:blipFill>
        <p:spPr>
          <a:xfrm>
            <a:off x="7358874" y="1139851"/>
            <a:ext cx="457200" cy="4572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72C5AE-8B6D-534E-AFDB-AE6799BDEB9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Nucleo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6238B9-EECB-4D44-879A-A2ACE1548B4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80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DC5C39-C72F-674B-8BBC-606CEE9D49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vel, buildings, transportation</a:t>
            </a:r>
          </a:p>
        </p:txBody>
      </p:sp>
    </p:spTree>
    <p:extLst>
      <p:ext uri="{BB962C8B-B14F-4D97-AF65-F5344CB8AC3E}">
        <p14:creationId xmlns:p14="http://schemas.microsoft.com/office/powerpoint/2010/main" val="2690174779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0EA67EDB-B4E1-4328-97CF-B8F4C83068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4162" y="2242746"/>
            <a:ext cx="457200" cy="4572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49937FCA-5A62-462D-84AF-D559C5E8FA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32036" y="2242746"/>
            <a:ext cx="457200" cy="4572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182A339A-71B4-429C-810C-1934FF8EBB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79910" y="2242746"/>
            <a:ext cx="457200" cy="4572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7AA108A-BEE9-4B8E-967C-1AE5C8DB38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79910" y="2799598"/>
            <a:ext cx="457200" cy="4572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5C2676E6-6B60-4B6E-BBAD-22620F5C6DE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32036" y="2799598"/>
            <a:ext cx="457200" cy="4572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7DEF2B15-6192-4F4A-A0BC-4134ADBFCFC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79910" y="3356450"/>
            <a:ext cx="457200" cy="4572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E0D07506-8BBE-45E0-8BA0-15F41AEBD88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32036" y="3356450"/>
            <a:ext cx="457200" cy="4572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6062AEDE-A4E4-407B-886E-287E1CD21DB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332036" y="3913302"/>
            <a:ext cx="457200" cy="4572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63E8049F-3CDE-45B7-AC31-042ED5F1251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879910" y="3913302"/>
            <a:ext cx="457200" cy="45720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4A3E2B57-FF0C-4F66-92AA-9C0B3CAAC91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879910" y="4470154"/>
            <a:ext cx="457200" cy="4572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A470C4F0-2C27-46B1-B943-8BB5AADFFB20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332036" y="4470154"/>
            <a:ext cx="457200" cy="45720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B07875A9-0C19-44DB-BF1E-509A844A149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84162" y="2799598"/>
            <a:ext cx="457200" cy="4572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6AD58A10-53B1-4BE1-9850-105CE300D64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784162" y="3356450"/>
            <a:ext cx="457200" cy="4572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16BE520B-0922-471F-B69B-ACA9710E3CD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84162" y="3913302"/>
            <a:ext cx="457200" cy="457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6E5829FD-9A5A-4D7F-9D8F-82F90669D8E3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784162" y="4470154"/>
            <a:ext cx="457200" cy="4572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56A592BA-6444-42CB-8D19-04E30B8D32F7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36288" y="4470154"/>
            <a:ext cx="457200" cy="4572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4A5CC331-C2BF-4C0F-8D0B-5F3675101EBC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236288" y="3913302"/>
            <a:ext cx="457200" cy="4572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1F8790B4-E922-4715-B58B-D5676A33D481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236288" y="3356450"/>
            <a:ext cx="457200" cy="45720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698C2FB6-1B20-4023-A26D-235DE126764F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36288" y="2799598"/>
            <a:ext cx="457200" cy="4572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AC5CE85F-B556-4190-9A4F-E92A973E0030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236288" y="2242746"/>
            <a:ext cx="457200" cy="457200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B42C3757-3D4F-494C-8626-36C8D4BD7E45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879910" y="1685894"/>
            <a:ext cx="457200" cy="4572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233EB890-41F7-49C1-AF31-B761E6968108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1332036" y="1685894"/>
            <a:ext cx="457200" cy="45720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B2DC4241-A50C-4741-B30E-EF02AA01F62A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784162" y="1685894"/>
            <a:ext cx="457200" cy="457200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139F2A5B-EFE8-40D5-AC9B-E50B84206A29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236288" y="1685894"/>
            <a:ext cx="457200" cy="457200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6ABC04B3-8F97-4DFC-9897-4D90B52B796A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883209" y="1129042"/>
            <a:ext cx="457200" cy="4572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37D8EFED-F3E5-49A3-A71E-7E91E161D80E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335748" y="1129042"/>
            <a:ext cx="457200" cy="457200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61A2BE99-6C71-4ACF-B84C-3782EB5C17E8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788287" y="1129042"/>
            <a:ext cx="457200" cy="457200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C5F34C19-AA16-4954-A494-759A14440A2F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240826" y="1129042"/>
            <a:ext cx="457200" cy="4572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6982DAB1-70A8-4CF8-9646-885D57079CC9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2965331" y="2242746"/>
            <a:ext cx="457200" cy="4572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3090AB09-9E8F-442D-9EA7-E40C264177BE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3513205" y="2242746"/>
            <a:ext cx="457200" cy="4572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ADB0C063-CDDB-40BC-A9EA-A3F3C6D672DB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4061079" y="2242746"/>
            <a:ext cx="457200" cy="4572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1C6FB333-8B95-4D3D-A068-470FC22EADF4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4061079" y="2799598"/>
            <a:ext cx="457200" cy="45720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A35EBA82-CD9B-4B19-BDAB-8D08F49486AB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3513205" y="2799598"/>
            <a:ext cx="457200" cy="45720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39F07538-5510-4115-8AE2-531BF45B83BE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4061079" y="3356450"/>
            <a:ext cx="457200" cy="457200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41844190-7986-4975-ADF0-0FD9B51E49A6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3513205" y="3356450"/>
            <a:ext cx="457200" cy="4572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CE36E1E7-120D-4902-9C4A-37E0929C4E2D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3513205" y="3913302"/>
            <a:ext cx="457200" cy="4572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48EF2E86-0509-457C-A816-E48BE713E967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4061079" y="3913302"/>
            <a:ext cx="457200" cy="4572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DA44E6CD-4C68-4197-81E2-003807AF180E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4061079" y="4470154"/>
            <a:ext cx="457200" cy="457200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60B1DB7B-E451-4350-A887-95B9DD01D042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9"/>
              </a:ext>
            </a:extLst>
          </a:blip>
          <a:stretch>
            <a:fillRect/>
          </a:stretch>
        </p:blipFill>
        <p:spPr>
          <a:xfrm>
            <a:off x="3513205" y="4470154"/>
            <a:ext cx="457200" cy="457200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AB54E9D1-2F8C-4E9A-ABBE-A844D2D27280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1"/>
              </a:ext>
            </a:extLst>
          </a:blip>
          <a:stretch>
            <a:fillRect/>
          </a:stretch>
        </p:blipFill>
        <p:spPr>
          <a:xfrm>
            <a:off x="2965331" y="2799598"/>
            <a:ext cx="457200" cy="457200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DFCC4491-3FA1-4C28-B600-F1FBDAB4E1AD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3"/>
              </a:ext>
            </a:extLst>
          </a:blip>
          <a:stretch>
            <a:fillRect/>
          </a:stretch>
        </p:blipFill>
        <p:spPr>
          <a:xfrm>
            <a:off x="2965331" y="3356450"/>
            <a:ext cx="457200" cy="457200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5C06E65B-A313-463A-BAE7-5A8249AE8AA4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5"/>
              </a:ext>
            </a:extLst>
          </a:blip>
          <a:stretch>
            <a:fillRect/>
          </a:stretch>
        </p:blipFill>
        <p:spPr>
          <a:xfrm>
            <a:off x="2965331" y="3913302"/>
            <a:ext cx="457200" cy="45720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953C3E57-B6C5-4CB5-9326-A1E96F8F334F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7"/>
              </a:ext>
            </a:extLst>
          </a:blip>
          <a:stretch>
            <a:fillRect/>
          </a:stretch>
        </p:blipFill>
        <p:spPr>
          <a:xfrm>
            <a:off x="2965331" y="4470154"/>
            <a:ext cx="457200" cy="45720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E6A2129E-4583-4238-BF74-2537F33D86D3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9"/>
              </a:ext>
            </a:extLst>
          </a:blip>
          <a:stretch>
            <a:fillRect/>
          </a:stretch>
        </p:blipFill>
        <p:spPr>
          <a:xfrm>
            <a:off x="2417457" y="4470154"/>
            <a:ext cx="457200" cy="45720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E601D644-FAA1-4009-AF48-B4B105F5F9C3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1"/>
              </a:ext>
            </a:extLst>
          </a:blip>
          <a:stretch>
            <a:fillRect/>
          </a:stretch>
        </p:blipFill>
        <p:spPr>
          <a:xfrm>
            <a:off x="2417457" y="3913302"/>
            <a:ext cx="457200" cy="457200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B85F4CB3-5655-4225-95F9-E9EA4BB6F6EE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3"/>
              </a:ext>
            </a:extLst>
          </a:blip>
          <a:stretch>
            <a:fillRect/>
          </a:stretch>
        </p:blipFill>
        <p:spPr>
          <a:xfrm>
            <a:off x="2417457" y="3356450"/>
            <a:ext cx="457200" cy="457200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CA322C7D-43E8-46F3-916B-38752EC4B8B5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5"/>
              </a:ext>
            </a:extLst>
          </a:blip>
          <a:stretch>
            <a:fillRect/>
          </a:stretch>
        </p:blipFill>
        <p:spPr>
          <a:xfrm>
            <a:off x="2417457" y="2799598"/>
            <a:ext cx="457200" cy="457200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0FEB9E5A-FB91-4987-8A98-358CC8E9BFC9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7"/>
              </a:ext>
            </a:extLst>
          </a:blip>
          <a:stretch>
            <a:fillRect/>
          </a:stretch>
        </p:blipFill>
        <p:spPr>
          <a:xfrm>
            <a:off x="2417457" y="2242746"/>
            <a:ext cx="457200" cy="457200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D0842630-B123-4EBB-9274-1965AD4647A6}"/>
              </a:ext>
            </a:extLst>
          </p:cNvPr>
          <p:cNvPicPr>
            <a:picLocks noChangeAspect="1"/>
          </p:cNvPicPr>
          <p:nvPr/>
        </p:nvPicPr>
        <p:blipFill>
          <a:blip r:embed="rId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9"/>
              </a:ext>
            </a:extLst>
          </a:blip>
          <a:stretch>
            <a:fillRect/>
          </a:stretch>
        </p:blipFill>
        <p:spPr>
          <a:xfrm>
            <a:off x="4061079" y="1685894"/>
            <a:ext cx="457200" cy="457200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910A6A12-AB71-44FD-AE57-2DB9D7686B1F}"/>
              </a:ext>
            </a:extLst>
          </p:cNvPr>
          <p:cNvPicPr>
            <a:picLocks noChangeAspect="1"/>
          </p:cNvPicPr>
          <p:nvPr/>
        </p:nvPicPr>
        <p:blipFill>
          <a:blip r:embed="rId1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1"/>
              </a:ext>
            </a:extLst>
          </a:blip>
          <a:stretch>
            <a:fillRect/>
          </a:stretch>
        </p:blipFill>
        <p:spPr>
          <a:xfrm>
            <a:off x="3513205" y="1685894"/>
            <a:ext cx="457200" cy="45720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E6EE42BE-A93C-4267-B6E1-D18C3A0B0498}"/>
              </a:ext>
            </a:extLst>
          </p:cNvPr>
          <p:cNvPicPr>
            <a:picLocks noChangeAspect="1"/>
          </p:cNvPicPr>
          <p:nvPr/>
        </p:nvPicPr>
        <p:blipFill>
          <a:blip r:embed="rId1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3"/>
              </a:ext>
            </a:extLst>
          </a:blip>
          <a:stretch>
            <a:fillRect/>
          </a:stretch>
        </p:blipFill>
        <p:spPr>
          <a:xfrm>
            <a:off x="2965331" y="1685894"/>
            <a:ext cx="457200" cy="457200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150DF49F-3027-4903-813E-CAF5667C5C2E}"/>
              </a:ext>
            </a:extLst>
          </p:cNvPr>
          <p:cNvPicPr>
            <a:picLocks noChangeAspect="1"/>
          </p:cNvPicPr>
          <p:nvPr/>
        </p:nvPicPr>
        <p:blipFill>
          <a:blip r:embed="rId1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5"/>
              </a:ext>
            </a:extLst>
          </a:blip>
          <a:stretch>
            <a:fillRect/>
          </a:stretch>
        </p:blipFill>
        <p:spPr>
          <a:xfrm>
            <a:off x="2417457" y="1685894"/>
            <a:ext cx="457200" cy="457200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18192D8C-BF26-4CC9-BF8C-DECD42A8FF7A}"/>
              </a:ext>
            </a:extLst>
          </p:cNvPr>
          <p:cNvPicPr>
            <a:picLocks noChangeAspect="1"/>
          </p:cNvPicPr>
          <p:nvPr/>
        </p:nvPicPr>
        <p:blipFill>
          <a:blip r:embed="rId1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7"/>
              </a:ext>
            </a:extLst>
          </a:blip>
          <a:stretch>
            <a:fillRect/>
          </a:stretch>
        </p:blipFill>
        <p:spPr>
          <a:xfrm>
            <a:off x="4066030" y="1129042"/>
            <a:ext cx="457200" cy="45720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A24AC6FC-94B0-4ED6-A624-8F07F9C6F327}"/>
              </a:ext>
            </a:extLst>
          </p:cNvPr>
          <p:cNvPicPr>
            <a:picLocks noChangeAspect="1"/>
          </p:cNvPicPr>
          <p:nvPr/>
        </p:nvPicPr>
        <p:blipFill>
          <a:blip r:embed="rId1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9"/>
              </a:ext>
            </a:extLst>
          </a:blip>
          <a:stretch>
            <a:fillRect/>
          </a:stretch>
        </p:blipFill>
        <p:spPr>
          <a:xfrm>
            <a:off x="3518569" y="1129042"/>
            <a:ext cx="457200" cy="457200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A88D6066-E444-405C-A722-47579EC31077}"/>
              </a:ext>
            </a:extLst>
          </p:cNvPr>
          <p:cNvPicPr>
            <a:picLocks noChangeAspect="1"/>
          </p:cNvPicPr>
          <p:nvPr/>
        </p:nvPicPr>
        <p:blipFill>
          <a:blip r:embed="rId1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1"/>
              </a:ext>
            </a:extLst>
          </a:blip>
          <a:stretch>
            <a:fillRect/>
          </a:stretch>
        </p:blipFill>
        <p:spPr>
          <a:xfrm>
            <a:off x="2971108" y="1129042"/>
            <a:ext cx="457200" cy="457200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2CEB50E4-DB96-43CA-82A5-51C8CB035965}"/>
              </a:ext>
            </a:extLst>
          </p:cNvPr>
          <p:cNvPicPr>
            <a:picLocks noChangeAspect="1"/>
          </p:cNvPicPr>
          <p:nvPr/>
        </p:nvPicPr>
        <p:blipFill>
          <a:blip r:embed="rId1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3"/>
              </a:ext>
            </a:extLst>
          </a:blip>
          <a:stretch>
            <a:fillRect/>
          </a:stretch>
        </p:blipFill>
        <p:spPr>
          <a:xfrm>
            <a:off x="2417457" y="1129042"/>
            <a:ext cx="457200" cy="457200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BD2FF99F-587B-41CA-B0C1-DD3050EE8439}"/>
              </a:ext>
            </a:extLst>
          </p:cNvPr>
          <p:cNvPicPr>
            <a:picLocks noChangeAspect="1"/>
          </p:cNvPicPr>
          <p:nvPr/>
        </p:nvPicPr>
        <p:blipFill>
          <a:blip r:embed="rId1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5"/>
              </a:ext>
            </a:extLst>
          </a:blip>
          <a:stretch>
            <a:fillRect/>
          </a:stretch>
        </p:blipFill>
        <p:spPr>
          <a:xfrm>
            <a:off x="5148152" y="2242746"/>
            <a:ext cx="457200" cy="457200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765C4E29-4786-4B0F-941A-C7F29F2C890D}"/>
              </a:ext>
            </a:extLst>
          </p:cNvPr>
          <p:cNvPicPr>
            <a:picLocks noChangeAspect="1"/>
          </p:cNvPicPr>
          <p:nvPr/>
        </p:nvPicPr>
        <p:blipFill>
          <a:blip r:embed="rId1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7"/>
              </a:ext>
            </a:extLst>
          </a:blip>
          <a:stretch>
            <a:fillRect/>
          </a:stretch>
        </p:blipFill>
        <p:spPr>
          <a:xfrm>
            <a:off x="5696026" y="2242746"/>
            <a:ext cx="457200" cy="457200"/>
          </a:xfrm>
          <a:prstGeom prst="rect">
            <a:avLst/>
          </a:prstGeom>
        </p:spPr>
      </p:pic>
      <p:pic>
        <p:nvPicPr>
          <p:cNvPr id="75" name="Graphic 74">
            <a:extLst>
              <a:ext uri="{FF2B5EF4-FFF2-40B4-BE49-F238E27FC236}">
                <a16:creationId xmlns:a16="http://schemas.microsoft.com/office/drawing/2014/main" id="{C3015DDE-B4E0-47B3-97FA-84FC87E257A4}"/>
              </a:ext>
            </a:extLst>
          </p:cNvPr>
          <p:cNvPicPr>
            <a:picLocks noChangeAspect="1"/>
          </p:cNvPicPr>
          <p:nvPr/>
        </p:nvPicPr>
        <p:blipFill>
          <a:blip r:embed="rId1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9"/>
              </a:ext>
            </a:extLst>
          </a:blip>
          <a:stretch>
            <a:fillRect/>
          </a:stretch>
        </p:blipFill>
        <p:spPr>
          <a:xfrm>
            <a:off x="6243900" y="2242746"/>
            <a:ext cx="457200" cy="457200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37A1ABF8-40CE-4DF9-8EB9-C6585314B5A1}"/>
              </a:ext>
            </a:extLst>
          </p:cNvPr>
          <p:cNvPicPr>
            <a:picLocks noChangeAspect="1"/>
          </p:cNvPicPr>
          <p:nvPr/>
        </p:nvPicPr>
        <p:blipFill>
          <a:blip r:embed="rId1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1"/>
              </a:ext>
            </a:extLst>
          </a:blip>
          <a:stretch>
            <a:fillRect/>
          </a:stretch>
        </p:blipFill>
        <p:spPr>
          <a:xfrm>
            <a:off x="6243900" y="2799598"/>
            <a:ext cx="457200" cy="457200"/>
          </a:xfrm>
          <a:prstGeom prst="rect">
            <a:avLst/>
          </a:pr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4ECF262E-C949-42B2-89AE-EE55786EBBDA}"/>
              </a:ext>
            </a:extLst>
          </p:cNvPr>
          <p:cNvPicPr>
            <a:picLocks noChangeAspect="1"/>
          </p:cNvPicPr>
          <p:nvPr/>
        </p:nvPicPr>
        <p:blipFill>
          <a:blip r:embed="rId1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3"/>
              </a:ext>
            </a:extLst>
          </a:blip>
          <a:stretch>
            <a:fillRect/>
          </a:stretch>
        </p:blipFill>
        <p:spPr>
          <a:xfrm>
            <a:off x="5696026" y="2799598"/>
            <a:ext cx="457200" cy="457200"/>
          </a:xfrm>
          <a:prstGeom prst="rect">
            <a:avLst/>
          </a:prstGeom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AFA11F0A-D775-4F08-94A5-C93441F80BB7}"/>
              </a:ext>
            </a:extLst>
          </p:cNvPr>
          <p:cNvPicPr>
            <a:picLocks noChangeAspect="1"/>
          </p:cNvPicPr>
          <p:nvPr/>
        </p:nvPicPr>
        <p:blipFill>
          <a:blip r:embed="rId1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5"/>
              </a:ext>
            </a:extLst>
          </a:blip>
          <a:stretch>
            <a:fillRect/>
          </a:stretch>
        </p:blipFill>
        <p:spPr>
          <a:xfrm>
            <a:off x="6243900" y="3356450"/>
            <a:ext cx="457200" cy="457200"/>
          </a:xfrm>
          <a:prstGeom prst="rect">
            <a:avLst/>
          </a:prstGeom>
        </p:spPr>
      </p:pic>
      <p:pic>
        <p:nvPicPr>
          <p:cNvPr id="79" name="Graphic 78">
            <a:extLst>
              <a:ext uri="{FF2B5EF4-FFF2-40B4-BE49-F238E27FC236}">
                <a16:creationId xmlns:a16="http://schemas.microsoft.com/office/drawing/2014/main" id="{9426AC68-DC52-4E54-AF84-EBB6A9BC4D53}"/>
              </a:ext>
            </a:extLst>
          </p:cNvPr>
          <p:cNvPicPr>
            <a:picLocks noChangeAspect="1"/>
          </p:cNvPicPr>
          <p:nvPr/>
        </p:nvPicPr>
        <p:blipFill>
          <a:blip r:embed="rId1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7"/>
              </a:ext>
            </a:extLst>
          </a:blip>
          <a:stretch>
            <a:fillRect/>
          </a:stretch>
        </p:blipFill>
        <p:spPr>
          <a:xfrm>
            <a:off x="5696026" y="3356450"/>
            <a:ext cx="457200" cy="457200"/>
          </a:xfrm>
          <a:prstGeom prst="rect">
            <a:avLst/>
          </a:prstGeom>
        </p:spPr>
      </p:pic>
      <p:pic>
        <p:nvPicPr>
          <p:cNvPr id="80" name="Graphic 79">
            <a:extLst>
              <a:ext uri="{FF2B5EF4-FFF2-40B4-BE49-F238E27FC236}">
                <a16:creationId xmlns:a16="http://schemas.microsoft.com/office/drawing/2014/main" id="{26468E51-DD53-45AD-BF23-9CD8B568F57A}"/>
              </a:ext>
            </a:extLst>
          </p:cNvPr>
          <p:cNvPicPr>
            <a:picLocks noChangeAspect="1"/>
          </p:cNvPicPr>
          <p:nvPr/>
        </p:nvPicPr>
        <p:blipFill>
          <a:blip r:embed="rId1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9"/>
              </a:ext>
            </a:extLst>
          </a:blip>
          <a:stretch>
            <a:fillRect/>
          </a:stretch>
        </p:blipFill>
        <p:spPr>
          <a:xfrm>
            <a:off x="5696026" y="3913302"/>
            <a:ext cx="457200" cy="457200"/>
          </a:xfrm>
          <a:prstGeom prst="rect">
            <a:avLst/>
          </a:prstGeom>
        </p:spPr>
      </p:pic>
      <p:pic>
        <p:nvPicPr>
          <p:cNvPr id="81" name="Graphic 80">
            <a:extLst>
              <a:ext uri="{FF2B5EF4-FFF2-40B4-BE49-F238E27FC236}">
                <a16:creationId xmlns:a16="http://schemas.microsoft.com/office/drawing/2014/main" id="{CFAB7B70-A5F2-466D-9260-D5CCA238F20F}"/>
              </a:ext>
            </a:extLst>
          </p:cNvPr>
          <p:cNvPicPr>
            <a:picLocks noChangeAspect="1"/>
          </p:cNvPicPr>
          <p:nvPr/>
        </p:nvPicPr>
        <p:blipFill>
          <a:blip r:embed="rId1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1"/>
              </a:ext>
            </a:extLst>
          </a:blip>
          <a:stretch>
            <a:fillRect/>
          </a:stretch>
        </p:blipFill>
        <p:spPr>
          <a:xfrm>
            <a:off x="6243900" y="3913302"/>
            <a:ext cx="457200" cy="457200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6BE7E38D-8B13-422F-B111-3C2E4422BEBD}"/>
              </a:ext>
            </a:extLst>
          </p:cNvPr>
          <p:cNvPicPr>
            <a:picLocks noChangeAspect="1"/>
          </p:cNvPicPr>
          <p:nvPr/>
        </p:nvPicPr>
        <p:blipFill>
          <a:blip r:embed="rId1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3"/>
              </a:ext>
            </a:extLst>
          </a:blip>
          <a:stretch>
            <a:fillRect/>
          </a:stretch>
        </p:blipFill>
        <p:spPr>
          <a:xfrm>
            <a:off x="6243900" y="4470154"/>
            <a:ext cx="457200" cy="457200"/>
          </a:xfrm>
          <a:prstGeom prst="rect">
            <a:avLst/>
          </a:prstGeom>
        </p:spPr>
      </p:pic>
      <p:pic>
        <p:nvPicPr>
          <p:cNvPr id="83" name="Graphic 82">
            <a:extLst>
              <a:ext uri="{FF2B5EF4-FFF2-40B4-BE49-F238E27FC236}">
                <a16:creationId xmlns:a16="http://schemas.microsoft.com/office/drawing/2014/main" id="{4CF3A808-C707-431A-B0AB-6E540DB3F14F}"/>
              </a:ext>
            </a:extLst>
          </p:cNvPr>
          <p:cNvPicPr>
            <a:picLocks noChangeAspect="1"/>
          </p:cNvPicPr>
          <p:nvPr/>
        </p:nvPicPr>
        <p:blipFill>
          <a:blip r:embed="rId1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5"/>
              </a:ext>
            </a:extLst>
          </a:blip>
          <a:stretch>
            <a:fillRect/>
          </a:stretch>
        </p:blipFill>
        <p:spPr>
          <a:xfrm>
            <a:off x="5696026" y="4470154"/>
            <a:ext cx="457200" cy="457200"/>
          </a:xfrm>
          <a:prstGeom prst="rect">
            <a:avLst/>
          </a:prstGeom>
        </p:spPr>
      </p:pic>
      <p:pic>
        <p:nvPicPr>
          <p:cNvPr id="84" name="Graphic 83">
            <a:extLst>
              <a:ext uri="{FF2B5EF4-FFF2-40B4-BE49-F238E27FC236}">
                <a16:creationId xmlns:a16="http://schemas.microsoft.com/office/drawing/2014/main" id="{4F762A58-4071-4ABF-A7AF-8347FE663075}"/>
              </a:ext>
            </a:extLst>
          </p:cNvPr>
          <p:cNvPicPr>
            <a:picLocks noChangeAspect="1"/>
          </p:cNvPicPr>
          <p:nvPr/>
        </p:nvPicPr>
        <p:blipFill>
          <a:blip r:embed="rId1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7"/>
              </a:ext>
            </a:extLst>
          </a:blip>
          <a:stretch>
            <a:fillRect/>
          </a:stretch>
        </p:blipFill>
        <p:spPr>
          <a:xfrm>
            <a:off x="5148152" y="2799598"/>
            <a:ext cx="457200" cy="4572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7B2B0DC5-7C17-4BE5-970F-73934C66782E}"/>
              </a:ext>
            </a:extLst>
          </p:cNvPr>
          <p:cNvPicPr>
            <a:picLocks noChangeAspect="1"/>
          </p:cNvPicPr>
          <p:nvPr/>
        </p:nvPicPr>
        <p:blipFill>
          <a:blip r:embed="rId1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9"/>
              </a:ext>
            </a:extLst>
          </a:blip>
          <a:stretch>
            <a:fillRect/>
          </a:stretch>
        </p:blipFill>
        <p:spPr>
          <a:xfrm>
            <a:off x="5148152" y="3356450"/>
            <a:ext cx="457200" cy="457200"/>
          </a:xfrm>
          <a:prstGeom prst="rect">
            <a:avLst/>
          </a:prstGeom>
        </p:spPr>
      </p:pic>
      <p:pic>
        <p:nvPicPr>
          <p:cNvPr id="86" name="Graphic 85">
            <a:extLst>
              <a:ext uri="{FF2B5EF4-FFF2-40B4-BE49-F238E27FC236}">
                <a16:creationId xmlns:a16="http://schemas.microsoft.com/office/drawing/2014/main" id="{0D7C579C-D039-497B-8E58-F28C634D5896}"/>
              </a:ext>
            </a:extLst>
          </p:cNvPr>
          <p:cNvPicPr>
            <a:picLocks noChangeAspect="1"/>
          </p:cNvPicPr>
          <p:nvPr/>
        </p:nvPicPr>
        <p:blipFill>
          <a:blip r:embed="rId1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1"/>
              </a:ext>
            </a:extLst>
          </a:blip>
          <a:stretch>
            <a:fillRect/>
          </a:stretch>
        </p:blipFill>
        <p:spPr>
          <a:xfrm>
            <a:off x="5148152" y="3913302"/>
            <a:ext cx="457200" cy="457200"/>
          </a:xfrm>
          <a:prstGeom prst="rect">
            <a:avLst/>
          </a:prstGeom>
        </p:spPr>
      </p:pic>
      <p:pic>
        <p:nvPicPr>
          <p:cNvPr id="87" name="Graphic 86">
            <a:extLst>
              <a:ext uri="{FF2B5EF4-FFF2-40B4-BE49-F238E27FC236}">
                <a16:creationId xmlns:a16="http://schemas.microsoft.com/office/drawing/2014/main" id="{AA2D00AA-F30F-4EE7-A01E-E15D5A5F8D92}"/>
              </a:ext>
            </a:extLst>
          </p:cNvPr>
          <p:cNvPicPr>
            <a:picLocks noChangeAspect="1"/>
          </p:cNvPicPr>
          <p:nvPr/>
        </p:nvPicPr>
        <p:blipFill>
          <a:blip r:embed="rId1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3"/>
              </a:ext>
            </a:extLst>
          </a:blip>
          <a:stretch>
            <a:fillRect/>
          </a:stretch>
        </p:blipFill>
        <p:spPr>
          <a:xfrm>
            <a:off x="5148152" y="4470154"/>
            <a:ext cx="457200" cy="457200"/>
          </a:xfrm>
          <a:prstGeom prst="rect">
            <a:avLst/>
          </a:prstGeom>
        </p:spPr>
      </p:pic>
      <p:pic>
        <p:nvPicPr>
          <p:cNvPr id="88" name="Graphic 87">
            <a:extLst>
              <a:ext uri="{FF2B5EF4-FFF2-40B4-BE49-F238E27FC236}">
                <a16:creationId xmlns:a16="http://schemas.microsoft.com/office/drawing/2014/main" id="{A65E869D-7801-4BCF-8B26-80B8028A8011}"/>
              </a:ext>
            </a:extLst>
          </p:cNvPr>
          <p:cNvPicPr>
            <a:picLocks noChangeAspect="1"/>
          </p:cNvPicPr>
          <p:nvPr/>
        </p:nvPicPr>
        <p:blipFill>
          <a:blip r:embed="rId1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5"/>
              </a:ext>
            </a:extLst>
          </a:blip>
          <a:stretch>
            <a:fillRect/>
          </a:stretch>
        </p:blipFill>
        <p:spPr>
          <a:xfrm>
            <a:off x="4600278" y="4470154"/>
            <a:ext cx="457200" cy="457200"/>
          </a:xfrm>
          <a:prstGeom prst="rect">
            <a:avLst/>
          </a:prstGeom>
        </p:spPr>
      </p:pic>
      <p:pic>
        <p:nvPicPr>
          <p:cNvPr id="89" name="Graphic 88">
            <a:extLst>
              <a:ext uri="{FF2B5EF4-FFF2-40B4-BE49-F238E27FC236}">
                <a16:creationId xmlns:a16="http://schemas.microsoft.com/office/drawing/2014/main" id="{FB4933B7-53C1-4857-B8A9-35C8943C3147}"/>
              </a:ext>
            </a:extLst>
          </p:cNvPr>
          <p:cNvPicPr>
            <a:picLocks noChangeAspect="1"/>
          </p:cNvPicPr>
          <p:nvPr/>
        </p:nvPicPr>
        <p:blipFill>
          <a:blip r:embed="rId1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7"/>
              </a:ext>
            </a:extLst>
          </a:blip>
          <a:stretch>
            <a:fillRect/>
          </a:stretch>
        </p:blipFill>
        <p:spPr>
          <a:xfrm>
            <a:off x="4600278" y="3913302"/>
            <a:ext cx="457200" cy="457200"/>
          </a:xfrm>
          <a:prstGeom prst="rect">
            <a:avLst/>
          </a:prstGeom>
        </p:spPr>
      </p:pic>
      <p:pic>
        <p:nvPicPr>
          <p:cNvPr id="90" name="Graphic 89">
            <a:extLst>
              <a:ext uri="{FF2B5EF4-FFF2-40B4-BE49-F238E27FC236}">
                <a16:creationId xmlns:a16="http://schemas.microsoft.com/office/drawing/2014/main" id="{FA67890D-F298-406F-8568-5E300F754929}"/>
              </a:ext>
            </a:extLst>
          </p:cNvPr>
          <p:cNvPicPr>
            <a:picLocks noChangeAspect="1"/>
          </p:cNvPicPr>
          <p:nvPr/>
        </p:nvPicPr>
        <p:blipFill>
          <a:blip r:embed="rId1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9"/>
              </a:ext>
            </a:extLst>
          </a:blip>
          <a:stretch>
            <a:fillRect/>
          </a:stretch>
        </p:blipFill>
        <p:spPr>
          <a:xfrm>
            <a:off x="4600278" y="3356450"/>
            <a:ext cx="457200" cy="457200"/>
          </a:xfrm>
          <a:prstGeom prst="rect">
            <a:avLst/>
          </a:prstGeom>
        </p:spPr>
      </p:pic>
      <p:pic>
        <p:nvPicPr>
          <p:cNvPr id="91" name="Graphic 90">
            <a:extLst>
              <a:ext uri="{FF2B5EF4-FFF2-40B4-BE49-F238E27FC236}">
                <a16:creationId xmlns:a16="http://schemas.microsoft.com/office/drawing/2014/main" id="{2C361B9A-EDDC-4A88-8A73-32B09EC3DAB2}"/>
              </a:ext>
            </a:extLst>
          </p:cNvPr>
          <p:cNvPicPr>
            <a:picLocks noChangeAspect="1"/>
          </p:cNvPicPr>
          <p:nvPr/>
        </p:nvPicPr>
        <p:blipFill>
          <a:blip r:embed="rId1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1"/>
              </a:ext>
            </a:extLst>
          </a:blip>
          <a:stretch>
            <a:fillRect/>
          </a:stretch>
        </p:blipFill>
        <p:spPr>
          <a:xfrm>
            <a:off x="4600278" y="2799598"/>
            <a:ext cx="457200" cy="457200"/>
          </a:xfrm>
          <a:prstGeom prst="rect">
            <a:avLst/>
          </a:prstGeom>
        </p:spPr>
      </p:pic>
      <p:pic>
        <p:nvPicPr>
          <p:cNvPr id="92" name="Graphic 91">
            <a:extLst>
              <a:ext uri="{FF2B5EF4-FFF2-40B4-BE49-F238E27FC236}">
                <a16:creationId xmlns:a16="http://schemas.microsoft.com/office/drawing/2014/main" id="{0E320DE4-74C9-4AD8-BF1B-D0E11378AA55}"/>
              </a:ext>
            </a:extLst>
          </p:cNvPr>
          <p:cNvPicPr>
            <a:picLocks noChangeAspect="1"/>
          </p:cNvPicPr>
          <p:nvPr/>
        </p:nvPicPr>
        <p:blipFill>
          <a:blip r:embed="rId1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3"/>
              </a:ext>
            </a:extLst>
          </a:blip>
          <a:stretch>
            <a:fillRect/>
          </a:stretch>
        </p:blipFill>
        <p:spPr>
          <a:xfrm>
            <a:off x="4600278" y="2242746"/>
            <a:ext cx="457200" cy="457200"/>
          </a:xfrm>
          <a:prstGeom prst="rect">
            <a:avLst/>
          </a:prstGeom>
        </p:spPr>
      </p:pic>
      <p:pic>
        <p:nvPicPr>
          <p:cNvPr id="93" name="Graphic 92">
            <a:extLst>
              <a:ext uri="{FF2B5EF4-FFF2-40B4-BE49-F238E27FC236}">
                <a16:creationId xmlns:a16="http://schemas.microsoft.com/office/drawing/2014/main" id="{C8700DD1-A3F5-4A03-9FF7-C68818492922}"/>
              </a:ext>
            </a:extLst>
          </p:cNvPr>
          <p:cNvPicPr>
            <a:picLocks noChangeAspect="1"/>
          </p:cNvPicPr>
          <p:nvPr/>
        </p:nvPicPr>
        <p:blipFill>
          <a:blip r:embed="rId1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5"/>
              </a:ext>
            </a:extLst>
          </a:blip>
          <a:stretch>
            <a:fillRect/>
          </a:stretch>
        </p:blipFill>
        <p:spPr>
          <a:xfrm>
            <a:off x="6243900" y="1685894"/>
            <a:ext cx="457200" cy="457200"/>
          </a:xfrm>
          <a:prstGeom prst="rect">
            <a:avLst/>
          </a:prstGeom>
        </p:spPr>
      </p:pic>
      <p:pic>
        <p:nvPicPr>
          <p:cNvPr id="94" name="Graphic 93">
            <a:extLst>
              <a:ext uri="{FF2B5EF4-FFF2-40B4-BE49-F238E27FC236}">
                <a16:creationId xmlns:a16="http://schemas.microsoft.com/office/drawing/2014/main" id="{73474B18-8E0A-444B-90C2-0EB99CE4F968}"/>
              </a:ext>
            </a:extLst>
          </p:cNvPr>
          <p:cNvPicPr>
            <a:picLocks noChangeAspect="1"/>
          </p:cNvPicPr>
          <p:nvPr/>
        </p:nvPicPr>
        <p:blipFill>
          <a:blip r:embed="rId1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7"/>
              </a:ext>
            </a:extLst>
          </a:blip>
          <a:stretch>
            <a:fillRect/>
          </a:stretch>
        </p:blipFill>
        <p:spPr>
          <a:xfrm>
            <a:off x="5696026" y="1685894"/>
            <a:ext cx="457200" cy="457200"/>
          </a:xfrm>
          <a:prstGeom prst="rect">
            <a:avLst/>
          </a:prstGeom>
        </p:spPr>
      </p:pic>
      <p:pic>
        <p:nvPicPr>
          <p:cNvPr id="95" name="Graphic 94">
            <a:extLst>
              <a:ext uri="{FF2B5EF4-FFF2-40B4-BE49-F238E27FC236}">
                <a16:creationId xmlns:a16="http://schemas.microsoft.com/office/drawing/2014/main" id="{F6112752-3509-42C1-8BAF-B602B45C1CFF}"/>
              </a:ext>
            </a:extLst>
          </p:cNvPr>
          <p:cNvPicPr>
            <a:picLocks noChangeAspect="1"/>
          </p:cNvPicPr>
          <p:nvPr/>
        </p:nvPicPr>
        <p:blipFill>
          <a:blip r:embed="rId1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9"/>
              </a:ext>
            </a:extLst>
          </a:blip>
          <a:stretch>
            <a:fillRect/>
          </a:stretch>
        </p:blipFill>
        <p:spPr>
          <a:xfrm>
            <a:off x="5148152" y="1685894"/>
            <a:ext cx="457200" cy="457200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6BBF20F3-3EF9-494A-B34F-3DA0A3E0BF39}"/>
              </a:ext>
            </a:extLst>
          </p:cNvPr>
          <p:cNvPicPr>
            <a:picLocks noChangeAspect="1"/>
          </p:cNvPicPr>
          <p:nvPr/>
        </p:nvPicPr>
        <p:blipFill>
          <a:blip r:embed="rId1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1"/>
              </a:ext>
            </a:extLst>
          </a:blip>
          <a:stretch>
            <a:fillRect/>
          </a:stretch>
        </p:blipFill>
        <p:spPr>
          <a:xfrm>
            <a:off x="4600278" y="1685894"/>
            <a:ext cx="457200" cy="457200"/>
          </a:xfrm>
          <a:prstGeom prst="rect">
            <a:avLst/>
          </a:prstGeom>
        </p:spPr>
      </p:pic>
      <p:pic>
        <p:nvPicPr>
          <p:cNvPr id="97" name="Graphic 96">
            <a:extLst>
              <a:ext uri="{FF2B5EF4-FFF2-40B4-BE49-F238E27FC236}">
                <a16:creationId xmlns:a16="http://schemas.microsoft.com/office/drawing/2014/main" id="{21FF257C-2657-49DA-AEBC-9C80027BCF2E}"/>
              </a:ext>
            </a:extLst>
          </p:cNvPr>
          <p:cNvPicPr>
            <a:picLocks noChangeAspect="1"/>
          </p:cNvPicPr>
          <p:nvPr/>
        </p:nvPicPr>
        <p:blipFill>
          <a:blip r:embed="rId1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3"/>
              </a:ext>
            </a:extLst>
          </a:blip>
          <a:stretch>
            <a:fillRect/>
          </a:stretch>
        </p:blipFill>
        <p:spPr>
          <a:xfrm>
            <a:off x="6245547" y="1129042"/>
            <a:ext cx="457200" cy="457200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257A7E9F-139D-49DE-A9B7-4AAB3CA82E3E}"/>
              </a:ext>
            </a:extLst>
          </p:cNvPr>
          <p:cNvPicPr>
            <a:picLocks noChangeAspect="1"/>
          </p:cNvPicPr>
          <p:nvPr/>
        </p:nvPicPr>
        <p:blipFill>
          <a:blip r:embed="rId1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5"/>
              </a:ext>
            </a:extLst>
          </a:blip>
          <a:stretch>
            <a:fillRect/>
          </a:stretch>
        </p:blipFill>
        <p:spPr>
          <a:xfrm>
            <a:off x="5698086" y="1129042"/>
            <a:ext cx="457200" cy="457200"/>
          </a:xfrm>
          <a:prstGeom prst="rect">
            <a:avLst/>
          </a:prstGeom>
        </p:spPr>
      </p:pic>
      <p:pic>
        <p:nvPicPr>
          <p:cNvPr id="99" name="Graphic 98">
            <a:extLst>
              <a:ext uri="{FF2B5EF4-FFF2-40B4-BE49-F238E27FC236}">
                <a16:creationId xmlns:a16="http://schemas.microsoft.com/office/drawing/2014/main" id="{AE2B549D-7B9A-4527-890A-3D078D9280BD}"/>
              </a:ext>
            </a:extLst>
          </p:cNvPr>
          <p:cNvPicPr>
            <a:picLocks noChangeAspect="1"/>
          </p:cNvPicPr>
          <p:nvPr/>
        </p:nvPicPr>
        <p:blipFill>
          <a:blip r:embed="rId1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7"/>
              </a:ext>
            </a:extLst>
          </a:blip>
          <a:stretch>
            <a:fillRect/>
          </a:stretch>
        </p:blipFill>
        <p:spPr>
          <a:xfrm>
            <a:off x="5150625" y="1129042"/>
            <a:ext cx="457200" cy="457200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8CFDDDDC-BF6F-4250-9BEB-F13D70A15448}"/>
              </a:ext>
            </a:extLst>
          </p:cNvPr>
          <p:cNvPicPr>
            <a:picLocks noChangeAspect="1"/>
          </p:cNvPicPr>
          <p:nvPr/>
        </p:nvPicPr>
        <p:blipFill>
          <a:blip r:embed="rId1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9"/>
              </a:ext>
            </a:extLst>
          </a:blip>
          <a:stretch>
            <a:fillRect/>
          </a:stretch>
        </p:blipFill>
        <p:spPr>
          <a:xfrm>
            <a:off x="4603164" y="1129042"/>
            <a:ext cx="457200" cy="4572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00BE3E-50E4-DB4B-9A37-2670FF84C0D3}"/>
              </a:ext>
            </a:extLst>
          </p:cNvPr>
          <p:cNvSpPr/>
          <p:nvPr/>
        </p:nvSpPr>
        <p:spPr>
          <a:xfrm>
            <a:off x="6779796" y="971550"/>
            <a:ext cx="2364203" cy="41465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1" name="Graphic 100">
            <a:extLst>
              <a:ext uri="{FF2B5EF4-FFF2-40B4-BE49-F238E27FC236}">
                <a16:creationId xmlns:a16="http://schemas.microsoft.com/office/drawing/2014/main" id="{90AD0CB6-2DE1-41B5-BAEE-AFEA8FE99DC0}"/>
              </a:ext>
            </a:extLst>
          </p:cNvPr>
          <p:cNvPicPr>
            <a:picLocks noChangeAspect="1"/>
          </p:cNvPicPr>
          <p:nvPr/>
        </p:nvPicPr>
        <p:blipFill>
          <a:blip r:embed="rId1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1"/>
              </a:ext>
            </a:extLst>
          </a:blip>
          <a:stretch>
            <a:fillRect/>
          </a:stretch>
        </p:blipFill>
        <p:spPr>
          <a:xfrm>
            <a:off x="7359927" y="2242746"/>
            <a:ext cx="457200" cy="457200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CAF6BECE-D9FD-45CA-A3AC-DE1DAA6FDB5B}"/>
              </a:ext>
            </a:extLst>
          </p:cNvPr>
          <p:cNvPicPr>
            <a:picLocks noChangeAspect="1"/>
          </p:cNvPicPr>
          <p:nvPr/>
        </p:nvPicPr>
        <p:blipFill>
          <a:blip r:embed="rId1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3"/>
              </a:ext>
            </a:extLst>
          </a:blip>
          <a:stretch>
            <a:fillRect/>
          </a:stretch>
        </p:blipFill>
        <p:spPr>
          <a:xfrm>
            <a:off x="7907801" y="2242746"/>
            <a:ext cx="457200" cy="457200"/>
          </a:xfrm>
          <a:prstGeom prst="rect">
            <a:avLst/>
          </a:prstGeom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70689779-2E1C-46DD-8904-ADEB99D6BDBB}"/>
              </a:ext>
            </a:extLst>
          </p:cNvPr>
          <p:cNvPicPr>
            <a:picLocks noChangeAspect="1"/>
          </p:cNvPicPr>
          <p:nvPr/>
        </p:nvPicPr>
        <p:blipFill>
          <a:blip r:embed="rId1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5"/>
              </a:ext>
            </a:extLst>
          </a:blip>
          <a:stretch>
            <a:fillRect/>
          </a:stretch>
        </p:blipFill>
        <p:spPr>
          <a:xfrm>
            <a:off x="8455669" y="2242746"/>
            <a:ext cx="457200" cy="457200"/>
          </a:xfrm>
          <a:prstGeom prst="rect">
            <a:avLst/>
          </a:prstGeom>
        </p:spPr>
      </p:pic>
      <p:pic>
        <p:nvPicPr>
          <p:cNvPr id="104" name="Graphic 103">
            <a:extLst>
              <a:ext uri="{FF2B5EF4-FFF2-40B4-BE49-F238E27FC236}">
                <a16:creationId xmlns:a16="http://schemas.microsoft.com/office/drawing/2014/main" id="{5D542C32-73B5-44CB-B189-092888CAF218}"/>
              </a:ext>
            </a:extLst>
          </p:cNvPr>
          <p:cNvPicPr>
            <a:picLocks noChangeAspect="1"/>
          </p:cNvPicPr>
          <p:nvPr/>
        </p:nvPicPr>
        <p:blipFill>
          <a:blip r:embed="rId1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7"/>
              </a:ext>
            </a:extLst>
          </a:blip>
          <a:stretch>
            <a:fillRect/>
          </a:stretch>
        </p:blipFill>
        <p:spPr>
          <a:xfrm>
            <a:off x="7907801" y="2799598"/>
            <a:ext cx="457200" cy="457200"/>
          </a:xfrm>
          <a:prstGeom prst="rect">
            <a:avLst/>
          </a:prstGeom>
        </p:spPr>
      </p:pic>
      <p:pic>
        <p:nvPicPr>
          <p:cNvPr id="105" name="Graphic 104">
            <a:extLst>
              <a:ext uri="{FF2B5EF4-FFF2-40B4-BE49-F238E27FC236}">
                <a16:creationId xmlns:a16="http://schemas.microsoft.com/office/drawing/2014/main" id="{5C76137C-8FE2-4C59-83CC-01841EBE690E}"/>
              </a:ext>
            </a:extLst>
          </p:cNvPr>
          <p:cNvPicPr>
            <a:picLocks noChangeAspect="1"/>
          </p:cNvPicPr>
          <p:nvPr/>
        </p:nvPicPr>
        <p:blipFill>
          <a:blip r:embed="rId1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9"/>
              </a:ext>
            </a:extLst>
          </a:blip>
          <a:stretch>
            <a:fillRect/>
          </a:stretch>
        </p:blipFill>
        <p:spPr>
          <a:xfrm>
            <a:off x="8455669" y="2799598"/>
            <a:ext cx="457200" cy="457200"/>
          </a:xfrm>
          <a:prstGeom prst="rect">
            <a:avLst/>
          </a:prstGeom>
        </p:spPr>
      </p:pic>
      <p:pic>
        <p:nvPicPr>
          <p:cNvPr id="106" name="Graphic 105">
            <a:extLst>
              <a:ext uri="{FF2B5EF4-FFF2-40B4-BE49-F238E27FC236}">
                <a16:creationId xmlns:a16="http://schemas.microsoft.com/office/drawing/2014/main" id="{D8A31B36-6917-4398-A4AA-D55DBE4C8460}"/>
              </a:ext>
            </a:extLst>
          </p:cNvPr>
          <p:cNvPicPr>
            <a:picLocks noChangeAspect="1"/>
          </p:cNvPicPr>
          <p:nvPr/>
        </p:nvPicPr>
        <p:blipFill>
          <a:blip r:embed="rId1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1"/>
              </a:ext>
            </a:extLst>
          </a:blip>
          <a:stretch>
            <a:fillRect/>
          </a:stretch>
        </p:blipFill>
        <p:spPr>
          <a:xfrm>
            <a:off x="8455669" y="3356450"/>
            <a:ext cx="457200" cy="457200"/>
          </a:xfrm>
          <a:prstGeom prst="rect">
            <a:avLst/>
          </a:prstGeom>
        </p:spPr>
      </p:pic>
      <p:pic>
        <p:nvPicPr>
          <p:cNvPr id="107" name="Graphic 106">
            <a:extLst>
              <a:ext uri="{FF2B5EF4-FFF2-40B4-BE49-F238E27FC236}">
                <a16:creationId xmlns:a16="http://schemas.microsoft.com/office/drawing/2014/main" id="{6F2BBBAF-6976-45C9-A7D1-0930FD2830FD}"/>
              </a:ext>
            </a:extLst>
          </p:cNvPr>
          <p:cNvPicPr>
            <a:picLocks noChangeAspect="1"/>
          </p:cNvPicPr>
          <p:nvPr/>
        </p:nvPicPr>
        <p:blipFill>
          <a:blip r:embed="rId1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3"/>
              </a:ext>
            </a:extLst>
          </a:blip>
          <a:stretch>
            <a:fillRect/>
          </a:stretch>
        </p:blipFill>
        <p:spPr>
          <a:xfrm>
            <a:off x="7907801" y="3356450"/>
            <a:ext cx="457200" cy="457200"/>
          </a:xfrm>
          <a:prstGeom prst="rect">
            <a:avLst/>
          </a:prstGeom>
        </p:spPr>
      </p:pic>
      <p:pic>
        <p:nvPicPr>
          <p:cNvPr id="108" name="Graphic 107">
            <a:extLst>
              <a:ext uri="{FF2B5EF4-FFF2-40B4-BE49-F238E27FC236}">
                <a16:creationId xmlns:a16="http://schemas.microsoft.com/office/drawing/2014/main" id="{F7BBBE8C-C160-48DB-B3D4-AD7CDAA201CE}"/>
              </a:ext>
            </a:extLst>
          </p:cNvPr>
          <p:cNvPicPr>
            <a:picLocks noChangeAspect="1"/>
          </p:cNvPicPr>
          <p:nvPr/>
        </p:nvPicPr>
        <p:blipFill>
          <a:blip r:embed="rId1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5"/>
              </a:ext>
            </a:extLst>
          </a:blip>
          <a:stretch>
            <a:fillRect/>
          </a:stretch>
        </p:blipFill>
        <p:spPr>
          <a:xfrm>
            <a:off x="7907801" y="3913302"/>
            <a:ext cx="457200" cy="457200"/>
          </a:xfrm>
          <a:prstGeom prst="rect">
            <a:avLst/>
          </a:prstGeom>
        </p:spPr>
      </p:pic>
      <p:pic>
        <p:nvPicPr>
          <p:cNvPr id="109" name="Graphic 108">
            <a:extLst>
              <a:ext uri="{FF2B5EF4-FFF2-40B4-BE49-F238E27FC236}">
                <a16:creationId xmlns:a16="http://schemas.microsoft.com/office/drawing/2014/main" id="{4375411B-6EF4-4B13-9218-36343BFC2827}"/>
              </a:ext>
            </a:extLst>
          </p:cNvPr>
          <p:cNvPicPr>
            <a:picLocks noChangeAspect="1"/>
          </p:cNvPicPr>
          <p:nvPr/>
        </p:nvPicPr>
        <p:blipFill>
          <a:blip r:embed="rId1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7"/>
              </a:ext>
            </a:extLst>
          </a:blip>
          <a:stretch>
            <a:fillRect/>
          </a:stretch>
        </p:blipFill>
        <p:spPr>
          <a:xfrm>
            <a:off x="8455669" y="3913302"/>
            <a:ext cx="457200" cy="457200"/>
          </a:xfrm>
          <a:prstGeom prst="rect">
            <a:avLst/>
          </a:prstGeom>
        </p:spPr>
      </p:pic>
      <p:pic>
        <p:nvPicPr>
          <p:cNvPr id="110" name="Graphic 109">
            <a:extLst>
              <a:ext uri="{FF2B5EF4-FFF2-40B4-BE49-F238E27FC236}">
                <a16:creationId xmlns:a16="http://schemas.microsoft.com/office/drawing/2014/main" id="{AC7A4175-EB26-4687-880D-BBC2472F757F}"/>
              </a:ext>
            </a:extLst>
          </p:cNvPr>
          <p:cNvPicPr>
            <a:picLocks noChangeAspect="1"/>
          </p:cNvPicPr>
          <p:nvPr/>
        </p:nvPicPr>
        <p:blipFill>
          <a:blip r:embed="rId1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9"/>
              </a:ext>
            </a:extLst>
          </a:blip>
          <a:stretch>
            <a:fillRect/>
          </a:stretch>
        </p:blipFill>
        <p:spPr>
          <a:xfrm>
            <a:off x="8455669" y="4470154"/>
            <a:ext cx="457200" cy="457200"/>
          </a:xfrm>
          <a:prstGeom prst="rect">
            <a:avLst/>
          </a:prstGeom>
        </p:spPr>
      </p:pic>
      <p:pic>
        <p:nvPicPr>
          <p:cNvPr id="111" name="Graphic 110">
            <a:extLst>
              <a:ext uri="{FF2B5EF4-FFF2-40B4-BE49-F238E27FC236}">
                <a16:creationId xmlns:a16="http://schemas.microsoft.com/office/drawing/2014/main" id="{268ED9E0-01AA-4015-906F-5AE839555807}"/>
              </a:ext>
            </a:extLst>
          </p:cNvPr>
          <p:cNvPicPr>
            <a:picLocks noChangeAspect="1"/>
          </p:cNvPicPr>
          <p:nvPr/>
        </p:nvPicPr>
        <p:blipFill>
          <a:blip r:embed="rId1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1"/>
              </a:ext>
            </a:extLst>
          </a:blip>
          <a:stretch>
            <a:fillRect/>
          </a:stretch>
        </p:blipFill>
        <p:spPr>
          <a:xfrm>
            <a:off x="7907801" y="4470154"/>
            <a:ext cx="457200" cy="457200"/>
          </a:xfrm>
          <a:prstGeom prst="rect">
            <a:avLst/>
          </a:prstGeom>
        </p:spPr>
      </p:pic>
      <p:pic>
        <p:nvPicPr>
          <p:cNvPr id="112" name="Graphic 111">
            <a:extLst>
              <a:ext uri="{FF2B5EF4-FFF2-40B4-BE49-F238E27FC236}">
                <a16:creationId xmlns:a16="http://schemas.microsoft.com/office/drawing/2014/main" id="{2353D6CC-60D5-4D02-AF30-63E3C5F790EF}"/>
              </a:ext>
            </a:extLst>
          </p:cNvPr>
          <p:cNvPicPr>
            <a:picLocks noChangeAspect="1"/>
          </p:cNvPicPr>
          <p:nvPr/>
        </p:nvPicPr>
        <p:blipFill>
          <a:blip r:embed="rId1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3"/>
              </a:ext>
            </a:extLst>
          </a:blip>
          <a:stretch>
            <a:fillRect/>
          </a:stretch>
        </p:blipFill>
        <p:spPr>
          <a:xfrm>
            <a:off x="7359927" y="2799598"/>
            <a:ext cx="457200" cy="457200"/>
          </a:xfrm>
          <a:prstGeom prst="rect">
            <a:avLst/>
          </a:prstGeom>
        </p:spPr>
      </p:pic>
      <p:pic>
        <p:nvPicPr>
          <p:cNvPr id="113" name="Graphic 112">
            <a:extLst>
              <a:ext uri="{FF2B5EF4-FFF2-40B4-BE49-F238E27FC236}">
                <a16:creationId xmlns:a16="http://schemas.microsoft.com/office/drawing/2014/main" id="{4AC636E5-12BE-4FB6-946F-DEC430C76571}"/>
              </a:ext>
            </a:extLst>
          </p:cNvPr>
          <p:cNvPicPr>
            <a:picLocks noChangeAspect="1"/>
          </p:cNvPicPr>
          <p:nvPr/>
        </p:nvPicPr>
        <p:blipFill>
          <a:blip r:embed="rId1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5"/>
              </a:ext>
            </a:extLst>
          </a:blip>
          <a:stretch>
            <a:fillRect/>
          </a:stretch>
        </p:blipFill>
        <p:spPr>
          <a:xfrm>
            <a:off x="7359927" y="3356450"/>
            <a:ext cx="457200" cy="457200"/>
          </a:xfrm>
          <a:prstGeom prst="rect">
            <a:avLst/>
          </a:prstGeom>
        </p:spPr>
      </p:pic>
      <p:pic>
        <p:nvPicPr>
          <p:cNvPr id="114" name="Graphic 113">
            <a:extLst>
              <a:ext uri="{FF2B5EF4-FFF2-40B4-BE49-F238E27FC236}">
                <a16:creationId xmlns:a16="http://schemas.microsoft.com/office/drawing/2014/main" id="{D486A7EC-76C7-4F73-AFE1-51146471A1C8}"/>
              </a:ext>
            </a:extLst>
          </p:cNvPr>
          <p:cNvPicPr>
            <a:picLocks noChangeAspect="1"/>
          </p:cNvPicPr>
          <p:nvPr/>
        </p:nvPicPr>
        <p:blipFill>
          <a:blip r:embed="rId1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7"/>
              </a:ext>
            </a:extLst>
          </a:blip>
          <a:stretch>
            <a:fillRect/>
          </a:stretch>
        </p:blipFill>
        <p:spPr>
          <a:xfrm>
            <a:off x="7359927" y="3913302"/>
            <a:ext cx="457200" cy="457200"/>
          </a:xfrm>
          <a:prstGeom prst="rect">
            <a:avLst/>
          </a:prstGeom>
        </p:spPr>
      </p:pic>
      <p:pic>
        <p:nvPicPr>
          <p:cNvPr id="115" name="Graphic 114">
            <a:extLst>
              <a:ext uri="{FF2B5EF4-FFF2-40B4-BE49-F238E27FC236}">
                <a16:creationId xmlns:a16="http://schemas.microsoft.com/office/drawing/2014/main" id="{2E550461-54E7-4D71-AFCC-1CA12CAF6470}"/>
              </a:ext>
            </a:extLst>
          </p:cNvPr>
          <p:cNvPicPr>
            <a:picLocks noChangeAspect="1"/>
          </p:cNvPicPr>
          <p:nvPr/>
        </p:nvPicPr>
        <p:blipFill>
          <a:blip r:embed="rId1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9"/>
              </a:ext>
            </a:extLst>
          </a:blip>
          <a:stretch>
            <a:fillRect/>
          </a:stretch>
        </p:blipFill>
        <p:spPr>
          <a:xfrm>
            <a:off x="7359927" y="4470154"/>
            <a:ext cx="457200" cy="457200"/>
          </a:xfrm>
          <a:prstGeom prst="rect">
            <a:avLst/>
          </a:prstGeom>
        </p:spPr>
      </p:pic>
      <p:pic>
        <p:nvPicPr>
          <p:cNvPr id="116" name="Graphic 115">
            <a:extLst>
              <a:ext uri="{FF2B5EF4-FFF2-40B4-BE49-F238E27FC236}">
                <a16:creationId xmlns:a16="http://schemas.microsoft.com/office/drawing/2014/main" id="{B66C0B5F-BBD7-4917-BB5D-0763495ABEF0}"/>
              </a:ext>
            </a:extLst>
          </p:cNvPr>
          <p:cNvPicPr>
            <a:picLocks noChangeAspect="1"/>
          </p:cNvPicPr>
          <p:nvPr/>
        </p:nvPicPr>
        <p:blipFill>
          <a:blip r:embed="rId2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1"/>
              </a:ext>
            </a:extLst>
          </a:blip>
          <a:stretch>
            <a:fillRect/>
          </a:stretch>
        </p:blipFill>
        <p:spPr>
          <a:xfrm>
            <a:off x="6812053" y="4470154"/>
            <a:ext cx="457200" cy="457200"/>
          </a:xfrm>
          <a:prstGeom prst="rect">
            <a:avLst/>
          </a:prstGeom>
        </p:spPr>
      </p:pic>
      <p:pic>
        <p:nvPicPr>
          <p:cNvPr id="117" name="Graphic 116">
            <a:extLst>
              <a:ext uri="{FF2B5EF4-FFF2-40B4-BE49-F238E27FC236}">
                <a16:creationId xmlns:a16="http://schemas.microsoft.com/office/drawing/2014/main" id="{6D723298-A547-4468-8C34-6A1D61E1EC08}"/>
              </a:ext>
            </a:extLst>
          </p:cNvPr>
          <p:cNvPicPr>
            <a:picLocks noChangeAspect="1"/>
          </p:cNvPicPr>
          <p:nvPr/>
        </p:nvPicPr>
        <p:blipFill>
          <a:blip r:embed="rId2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3"/>
              </a:ext>
            </a:extLst>
          </a:blip>
          <a:stretch>
            <a:fillRect/>
          </a:stretch>
        </p:blipFill>
        <p:spPr>
          <a:xfrm>
            <a:off x="6812053" y="3913302"/>
            <a:ext cx="457200" cy="457200"/>
          </a:xfrm>
          <a:prstGeom prst="rect">
            <a:avLst/>
          </a:prstGeom>
        </p:spPr>
      </p:pic>
      <p:pic>
        <p:nvPicPr>
          <p:cNvPr id="118" name="Graphic 117">
            <a:extLst>
              <a:ext uri="{FF2B5EF4-FFF2-40B4-BE49-F238E27FC236}">
                <a16:creationId xmlns:a16="http://schemas.microsoft.com/office/drawing/2014/main" id="{E96C5F29-370C-4FD6-A75D-130DC7F05655}"/>
              </a:ext>
            </a:extLst>
          </p:cNvPr>
          <p:cNvPicPr>
            <a:picLocks noChangeAspect="1"/>
          </p:cNvPicPr>
          <p:nvPr/>
        </p:nvPicPr>
        <p:blipFill>
          <a:blip r:embed="rId2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5"/>
              </a:ext>
            </a:extLst>
          </a:blip>
          <a:stretch>
            <a:fillRect/>
          </a:stretch>
        </p:blipFill>
        <p:spPr>
          <a:xfrm>
            <a:off x="6812053" y="3356450"/>
            <a:ext cx="457200" cy="457200"/>
          </a:xfrm>
          <a:prstGeom prst="rect">
            <a:avLst/>
          </a:prstGeom>
        </p:spPr>
      </p:pic>
      <p:pic>
        <p:nvPicPr>
          <p:cNvPr id="119" name="Graphic 118">
            <a:extLst>
              <a:ext uri="{FF2B5EF4-FFF2-40B4-BE49-F238E27FC236}">
                <a16:creationId xmlns:a16="http://schemas.microsoft.com/office/drawing/2014/main" id="{5B06AE26-7383-45D6-AA71-4A4A2391250D}"/>
              </a:ext>
            </a:extLst>
          </p:cNvPr>
          <p:cNvPicPr>
            <a:picLocks noChangeAspect="1"/>
          </p:cNvPicPr>
          <p:nvPr/>
        </p:nvPicPr>
        <p:blipFill>
          <a:blip r:embed="rId2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7"/>
              </a:ext>
            </a:extLst>
          </a:blip>
          <a:stretch>
            <a:fillRect/>
          </a:stretch>
        </p:blipFill>
        <p:spPr>
          <a:xfrm>
            <a:off x="6812053" y="2799598"/>
            <a:ext cx="457200" cy="457200"/>
          </a:xfrm>
          <a:prstGeom prst="rect">
            <a:avLst/>
          </a:prstGeom>
        </p:spPr>
      </p:pic>
      <p:pic>
        <p:nvPicPr>
          <p:cNvPr id="120" name="Graphic 119">
            <a:extLst>
              <a:ext uri="{FF2B5EF4-FFF2-40B4-BE49-F238E27FC236}">
                <a16:creationId xmlns:a16="http://schemas.microsoft.com/office/drawing/2014/main" id="{AF8EC357-B170-4A61-93D8-4D581CB3B331}"/>
              </a:ext>
            </a:extLst>
          </p:cNvPr>
          <p:cNvPicPr>
            <a:picLocks noChangeAspect="1"/>
          </p:cNvPicPr>
          <p:nvPr/>
        </p:nvPicPr>
        <p:blipFill>
          <a:blip r:embed="rId2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9"/>
              </a:ext>
            </a:extLst>
          </a:blip>
          <a:stretch>
            <a:fillRect/>
          </a:stretch>
        </p:blipFill>
        <p:spPr>
          <a:xfrm>
            <a:off x="6812053" y="2242746"/>
            <a:ext cx="457200" cy="457200"/>
          </a:xfrm>
          <a:prstGeom prst="rect">
            <a:avLst/>
          </a:prstGeom>
        </p:spPr>
      </p:pic>
      <p:pic>
        <p:nvPicPr>
          <p:cNvPr id="121" name="Graphic 120">
            <a:extLst>
              <a:ext uri="{FF2B5EF4-FFF2-40B4-BE49-F238E27FC236}">
                <a16:creationId xmlns:a16="http://schemas.microsoft.com/office/drawing/2014/main" id="{98697B92-FEB1-4077-AF93-316672B50393}"/>
              </a:ext>
            </a:extLst>
          </p:cNvPr>
          <p:cNvPicPr>
            <a:picLocks noChangeAspect="1"/>
          </p:cNvPicPr>
          <p:nvPr/>
        </p:nvPicPr>
        <p:blipFill>
          <a:blip r:embed="rId2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1"/>
              </a:ext>
            </a:extLst>
          </a:blip>
          <a:stretch>
            <a:fillRect/>
          </a:stretch>
        </p:blipFill>
        <p:spPr>
          <a:xfrm>
            <a:off x="8455669" y="1685894"/>
            <a:ext cx="457200" cy="457200"/>
          </a:xfrm>
          <a:prstGeom prst="rect">
            <a:avLst/>
          </a:prstGeom>
        </p:spPr>
      </p:pic>
      <p:pic>
        <p:nvPicPr>
          <p:cNvPr id="122" name="Graphic 121">
            <a:extLst>
              <a:ext uri="{FF2B5EF4-FFF2-40B4-BE49-F238E27FC236}">
                <a16:creationId xmlns:a16="http://schemas.microsoft.com/office/drawing/2014/main" id="{20298109-DD40-4395-9608-EADF531EC0BA}"/>
              </a:ext>
            </a:extLst>
          </p:cNvPr>
          <p:cNvPicPr>
            <a:picLocks noChangeAspect="1"/>
          </p:cNvPicPr>
          <p:nvPr/>
        </p:nvPicPr>
        <p:blipFill>
          <a:blip r:embed="rId2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3"/>
              </a:ext>
            </a:extLst>
          </a:blip>
          <a:stretch>
            <a:fillRect/>
          </a:stretch>
        </p:blipFill>
        <p:spPr>
          <a:xfrm>
            <a:off x="7907801" y="1685894"/>
            <a:ext cx="457200" cy="457200"/>
          </a:xfrm>
          <a:prstGeom prst="rect">
            <a:avLst/>
          </a:prstGeom>
        </p:spPr>
      </p:pic>
      <p:pic>
        <p:nvPicPr>
          <p:cNvPr id="123" name="Graphic 122">
            <a:extLst>
              <a:ext uri="{FF2B5EF4-FFF2-40B4-BE49-F238E27FC236}">
                <a16:creationId xmlns:a16="http://schemas.microsoft.com/office/drawing/2014/main" id="{99F5AA0F-9160-4FDC-A5A2-FB622E2F8374}"/>
              </a:ext>
            </a:extLst>
          </p:cNvPr>
          <p:cNvPicPr>
            <a:picLocks noChangeAspect="1"/>
          </p:cNvPicPr>
          <p:nvPr/>
        </p:nvPicPr>
        <p:blipFill>
          <a:blip r:embed="rId2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5"/>
              </a:ext>
            </a:extLst>
          </a:blip>
          <a:stretch>
            <a:fillRect/>
          </a:stretch>
        </p:blipFill>
        <p:spPr>
          <a:xfrm>
            <a:off x="7359927" y="1685894"/>
            <a:ext cx="457200" cy="457200"/>
          </a:xfrm>
          <a:prstGeom prst="rect">
            <a:avLst/>
          </a:prstGeom>
        </p:spPr>
      </p:pic>
      <p:pic>
        <p:nvPicPr>
          <p:cNvPr id="124" name="Graphic 123">
            <a:extLst>
              <a:ext uri="{FF2B5EF4-FFF2-40B4-BE49-F238E27FC236}">
                <a16:creationId xmlns:a16="http://schemas.microsoft.com/office/drawing/2014/main" id="{83F350E2-EC72-47C2-9CB0-B81360DC8C55}"/>
              </a:ext>
            </a:extLst>
          </p:cNvPr>
          <p:cNvPicPr>
            <a:picLocks noChangeAspect="1"/>
          </p:cNvPicPr>
          <p:nvPr/>
        </p:nvPicPr>
        <p:blipFill>
          <a:blip r:embed="rId2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7"/>
              </a:ext>
            </a:extLst>
          </a:blip>
          <a:stretch>
            <a:fillRect/>
          </a:stretch>
        </p:blipFill>
        <p:spPr>
          <a:xfrm>
            <a:off x="6812053" y="1685894"/>
            <a:ext cx="457200" cy="457200"/>
          </a:xfrm>
          <a:prstGeom prst="rect">
            <a:avLst/>
          </a:prstGeom>
        </p:spPr>
      </p:pic>
      <p:pic>
        <p:nvPicPr>
          <p:cNvPr id="125" name="Graphic 124">
            <a:extLst>
              <a:ext uri="{FF2B5EF4-FFF2-40B4-BE49-F238E27FC236}">
                <a16:creationId xmlns:a16="http://schemas.microsoft.com/office/drawing/2014/main" id="{47E48103-5A32-4A1E-85AC-81B50E5DB496}"/>
              </a:ext>
            </a:extLst>
          </p:cNvPr>
          <p:cNvPicPr>
            <a:picLocks noChangeAspect="1"/>
          </p:cNvPicPr>
          <p:nvPr/>
        </p:nvPicPr>
        <p:blipFill>
          <a:blip r:embed="rId2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9"/>
              </a:ext>
            </a:extLst>
          </a:blip>
          <a:stretch>
            <a:fillRect/>
          </a:stretch>
        </p:blipFill>
        <p:spPr>
          <a:xfrm>
            <a:off x="8455669" y="1129042"/>
            <a:ext cx="457200" cy="457200"/>
          </a:xfrm>
          <a:prstGeom prst="rect">
            <a:avLst/>
          </a:prstGeom>
        </p:spPr>
      </p:pic>
      <p:pic>
        <p:nvPicPr>
          <p:cNvPr id="126" name="Graphic 125">
            <a:extLst>
              <a:ext uri="{FF2B5EF4-FFF2-40B4-BE49-F238E27FC236}">
                <a16:creationId xmlns:a16="http://schemas.microsoft.com/office/drawing/2014/main" id="{B544AA68-81E0-4CA4-9BEC-5321BF2575B0}"/>
              </a:ext>
            </a:extLst>
          </p:cNvPr>
          <p:cNvPicPr>
            <a:picLocks noChangeAspect="1"/>
          </p:cNvPicPr>
          <p:nvPr/>
        </p:nvPicPr>
        <p:blipFill>
          <a:blip r:embed="rId2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1"/>
              </a:ext>
            </a:extLst>
          </a:blip>
          <a:stretch>
            <a:fillRect/>
          </a:stretch>
        </p:blipFill>
        <p:spPr>
          <a:xfrm>
            <a:off x="7908209" y="1129042"/>
            <a:ext cx="457200" cy="457200"/>
          </a:xfrm>
          <a:prstGeom prst="rect">
            <a:avLst/>
          </a:prstGeom>
        </p:spPr>
      </p:pic>
      <p:pic>
        <p:nvPicPr>
          <p:cNvPr id="127" name="Graphic 126">
            <a:extLst>
              <a:ext uri="{FF2B5EF4-FFF2-40B4-BE49-F238E27FC236}">
                <a16:creationId xmlns:a16="http://schemas.microsoft.com/office/drawing/2014/main" id="{D72FA9E4-67F2-4B57-9408-E1EDA7B926F2}"/>
              </a:ext>
            </a:extLst>
          </p:cNvPr>
          <p:cNvPicPr>
            <a:picLocks noChangeAspect="1"/>
          </p:cNvPicPr>
          <p:nvPr/>
        </p:nvPicPr>
        <p:blipFill>
          <a:blip r:embed="rId2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3"/>
              </a:ext>
            </a:extLst>
          </a:blip>
          <a:stretch>
            <a:fillRect/>
          </a:stretch>
        </p:blipFill>
        <p:spPr>
          <a:xfrm>
            <a:off x="7360748" y="1129042"/>
            <a:ext cx="457200" cy="457200"/>
          </a:xfrm>
          <a:prstGeom prst="rect">
            <a:avLst/>
          </a:prstGeom>
        </p:spPr>
      </p:pic>
      <p:pic>
        <p:nvPicPr>
          <p:cNvPr id="128" name="Graphic 127">
            <a:extLst>
              <a:ext uri="{FF2B5EF4-FFF2-40B4-BE49-F238E27FC236}">
                <a16:creationId xmlns:a16="http://schemas.microsoft.com/office/drawing/2014/main" id="{E49361A4-4A08-41CC-9EE1-D65BF178E319}"/>
              </a:ext>
            </a:extLst>
          </p:cNvPr>
          <p:cNvPicPr>
            <a:picLocks noChangeAspect="1"/>
          </p:cNvPicPr>
          <p:nvPr/>
        </p:nvPicPr>
        <p:blipFill>
          <a:blip r:embed="rId2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5"/>
              </a:ext>
            </a:extLst>
          </a:blip>
          <a:stretch>
            <a:fillRect/>
          </a:stretch>
        </p:blipFill>
        <p:spPr>
          <a:xfrm>
            <a:off x="6813287" y="1129042"/>
            <a:ext cx="457200" cy="4572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2A3253-BF16-7240-86FE-8992C66CD2A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Nucleo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B0908C6-FBE8-584C-A454-CB25CCE6ED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81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8B5D406-21F4-0845-A471-60DDCF35B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od, animals</a:t>
            </a:r>
          </a:p>
        </p:txBody>
      </p:sp>
    </p:spTree>
    <p:extLst>
      <p:ext uri="{BB962C8B-B14F-4D97-AF65-F5344CB8AC3E}">
        <p14:creationId xmlns:p14="http://schemas.microsoft.com/office/powerpoint/2010/main" val="939129478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 128">
            <a:extLst>
              <a:ext uri="{FF2B5EF4-FFF2-40B4-BE49-F238E27FC236}">
                <a16:creationId xmlns:a16="http://schemas.microsoft.com/office/drawing/2014/main" id="{7895E5CF-BAF0-E940-ABD4-9E5F16BFDB8E}"/>
              </a:ext>
            </a:extLst>
          </p:cNvPr>
          <p:cNvSpPr/>
          <p:nvPr/>
        </p:nvSpPr>
        <p:spPr>
          <a:xfrm>
            <a:off x="6779796" y="971550"/>
            <a:ext cx="2364203" cy="41465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3F1CC68-AE93-4F94-8F55-4C79597A15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80317" y="4465721"/>
            <a:ext cx="457200" cy="4572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9147AF7F-CFC8-453D-BF76-EBFF8A9758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32733" y="4465721"/>
            <a:ext cx="457200" cy="4572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DFD8D304-3CA5-41FC-AB14-C3A8FAF4CD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5149" y="4465721"/>
            <a:ext cx="457200" cy="4572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6BF99DC9-7304-4069-A7EE-6CCD132369C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7565" y="4465721"/>
            <a:ext cx="457200" cy="4572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1D7789F2-E91B-4174-A513-032ED3BDC7B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70653" y="4465721"/>
            <a:ext cx="457200" cy="4572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A8F2785C-6384-4340-AE72-D04354DE401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23069" y="4465721"/>
            <a:ext cx="457200" cy="4572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79A4B11F-D079-4838-8B2E-902773E697D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75485" y="4465721"/>
            <a:ext cx="457200" cy="45720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38E88693-F6C0-44ED-82FC-9A5F2DECA23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427901" y="4465721"/>
            <a:ext cx="457200" cy="457200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0F8B3C9B-9C9E-4863-9EC8-1831BD88B4F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260989" y="4465721"/>
            <a:ext cx="457200" cy="457200"/>
          </a:xfrm>
          <a:prstGeom prst="rect">
            <a:avLst/>
          </a:prstGeom>
        </p:spPr>
      </p:pic>
      <p:pic>
        <p:nvPicPr>
          <p:cNvPr id="75" name="Graphic 74">
            <a:extLst>
              <a:ext uri="{FF2B5EF4-FFF2-40B4-BE49-F238E27FC236}">
                <a16:creationId xmlns:a16="http://schemas.microsoft.com/office/drawing/2014/main" id="{0FF53D13-ADFE-48A7-9BBC-18CAE92B1BF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713405" y="4465721"/>
            <a:ext cx="457200" cy="457200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34B42548-C5C4-4805-938C-03D3F7C69AAB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165821" y="4465721"/>
            <a:ext cx="457200" cy="457200"/>
          </a:xfrm>
          <a:prstGeom prst="rect">
            <a:avLst/>
          </a:pr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2858BEA2-B8AA-4F28-A51B-E8D7BBF6A94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618237" y="4465721"/>
            <a:ext cx="457200" cy="457200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31E665E8-83F4-41C6-8207-9E3C341327CC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451319" y="4465721"/>
            <a:ext cx="457200" cy="457200"/>
          </a:xfrm>
          <a:prstGeom prst="rect">
            <a:avLst/>
          </a:prstGeom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9530BBA7-5F1D-4CC8-8164-5C675053884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903741" y="4465721"/>
            <a:ext cx="457200" cy="457200"/>
          </a:xfrm>
          <a:prstGeom prst="rect">
            <a:avLst/>
          </a:prstGeom>
        </p:spPr>
      </p:pic>
      <p:pic>
        <p:nvPicPr>
          <p:cNvPr id="104" name="Graphic 103">
            <a:extLst>
              <a:ext uri="{FF2B5EF4-FFF2-40B4-BE49-F238E27FC236}">
                <a16:creationId xmlns:a16="http://schemas.microsoft.com/office/drawing/2014/main" id="{21456F26-F3EE-4743-86EA-6E0AFC6D0EFF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7356157" y="4465721"/>
            <a:ext cx="457200" cy="457200"/>
          </a:xfrm>
          <a:prstGeom prst="rect">
            <a:avLst/>
          </a:prstGeom>
        </p:spPr>
      </p:pic>
      <p:pic>
        <p:nvPicPr>
          <p:cNvPr id="105" name="Graphic 104">
            <a:extLst>
              <a:ext uri="{FF2B5EF4-FFF2-40B4-BE49-F238E27FC236}">
                <a16:creationId xmlns:a16="http://schemas.microsoft.com/office/drawing/2014/main" id="{37D19145-D045-48C9-ABAA-BEA8B9FEC211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6808573" y="4465721"/>
            <a:ext cx="457200" cy="4572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1DE5B7C0-2494-4B40-9F19-07063A96F910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880317" y="3910825"/>
            <a:ext cx="457200" cy="4572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9B690640-2DEB-4DEB-BB3F-4A64A4CF54EF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1332733" y="3910825"/>
            <a:ext cx="457200" cy="4572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E4E269A7-CA24-479D-86F4-522F7FECCFB4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785149" y="3910825"/>
            <a:ext cx="457200" cy="4572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AAF9C177-9FF4-41B1-AD47-616C35AAA27F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237565" y="3910825"/>
            <a:ext cx="457200" cy="45720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FAAB04F9-4434-4C4E-B54C-3AFD100F2FE9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070653" y="3910825"/>
            <a:ext cx="457200" cy="457200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E6FD7183-B629-42CA-9580-5FBD9986F4D1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523069" y="3910825"/>
            <a:ext cx="457200" cy="4572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78A2ECFC-8E51-4A18-86CA-808FE4B58366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2975485" y="3910825"/>
            <a:ext cx="457200" cy="4572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912A52E8-F36A-432C-871E-368732095BEE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2427901" y="3910825"/>
            <a:ext cx="457200" cy="457200"/>
          </a:xfrm>
          <a:prstGeom prst="rect">
            <a:avLst/>
          </a:prstGeom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AD422BAE-739B-4942-8F92-80F6B2414B35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260989" y="3910825"/>
            <a:ext cx="457200" cy="457200"/>
          </a:xfrm>
          <a:prstGeom prst="rect">
            <a:avLst/>
          </a:prstGeom>
        </p:spPr>
      </p:pic>
      <p:pic>
        <p:nvPicPr>
          <p:cNvPr id="79" name="Graphic 78">
            <a:extLst>
              <a:ext uri="{FF2B5EF4-FFF2-40B4-BE49-F238E27FC236}">
                <a16:creationId xmlns:a16="http://schemas.microsoft.com/office/drawing/2014/main" id="{E487D42D-0906-4066-90B1-25CADC98517A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5713405" y="3910825"/>
            <a:ext cx="457200" cy="457200"/>
          </a:xfrm>
          <a:prstGeom prst="rect">
            <a:avLst/>
          </a:prstGeom>
        </p:spPr>
      </p:pic>
      <p:pic>
        <p:nvPicPr>
          <p:cNvPr id="80" name="Graphic 79">
            <a:extLst>
              <a:ext uri="{FF2B5EF4-FFF2-40B4-BE49-F238E27FC236}">
                <a16:creationId xmlns:a16="http://schemas.microsoft.com/office/drawing/2014/main" id="{965CA093-9B15-4D69-94F2-8D1036A06FF7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5165821" y="3910825"/>
            <a:ext cx="457200" cy="457200"/>
          </a:xfrm>
          <a:prstGeom prst="rect">
            <a:avLst/>
          </a:prstGeom>
        </p:spPr>
      </p:pic>
      <p:pic>
        <p:nvPicPr>
          <p:cNvPr id="81" name="Graphic 80">
            <a:extLst>
              <a:ext uri="{FF2B5EF4-FFF2-40B4-BE49-F238E27FC236}">
                <a16:creationId xmlns:a16="http://schemas.microsoft.com/office/drawing/2014/main" id="{1B2C7C61-5AC8-429F-B6EB-1193629A3308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4618237" y="3910825"/>
            <a:ext cx="457200" cy="457200"/>
          </a:xfrm>
          <a:prstGeom prst="rect">
            <a:avLst/>
          </a:prstGeom>
        </p:spPr>
      </p:pic>
      <p:pic>
        <p:nvPicPr>
          <p:cNvPr id="106" name="Graphic 105">
            <a:extLst>
              <a:ext uri="{FF2B5EF4-FFF2-40B4-BE49-F238E27FC236}">
                <a16:creationId xmlns:a16="http://schemas.microsoft.com/office/drawing/2014/main" id="{E474BAE3-2CD9-449F-89AB-D595B838D8F6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8451319" y="3910825"/>
            <a:ext cx="457200" cy="457200"/>
          </a:xfrm>
          <a:prstGeom prst="rect">
            <a:avLst/>
          </a:prstGeom>
        </p:spPr>
      </p:pic>
      <p:pic>
        <p:nvPicPr>
          <p:cNvPr id="107" name="Graphic 106">
            <a:extLst>
              <a:ext uri="{FF2B5EF4-FFF2-40B4-BE49-F238E27FC236}">
                <a16:creationId xmlns:a16="http://schemas.microsoft.com/office/drawing/2014/main" id="{1C8935ED-DFCF-4530-BBD6-BA2CAA7B6AA8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7903741" y="3910825"/>
            <a:ext cx="457200" cy="457200"/>
          </a:xfrm>
          <a:prstGeom prst="rect">
            <a:avLst/>
          </a:prstGeom>
        </p:spPr>
      </p:pic>
      <p:pic>
        <p:nvPicPr>
          <p:cNvPr id="108" name="Graphic 107">
            <a:extLst>
              <a:ext uri="{FF2B5EF4-FFF2-40B4-BE49-F238E27FC236}">
                <a16:creationId xmlns:a16="http://schemas.microsoft.com/office/drawing/2014/main" id="{9FDF5772-E94E-4820-9CDB-91B3989368C5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356157" y="3910825"/>
            <a:ext cx="457200" cy="457200"/>
          </a:xfrm>
          <a:prstGeom prst="rect">
            <a:avLst/>
          </a:prstGeom>
        </p:spPr>
      </p:pic>
      <p:pic>
        <p:nvPicPr>
          <p:cNvPr id="109" name="Graphic 108">
            <a:extLst>
              <a:ext uri="{FF2B5EF4-FFF2-40B4-BE49-F238E27FC236}">
                <a16:creationId xmlns:a16="http://schemas.microsoft.com/office/drawing/2014/main" id="{F4B0D226-4479-4A19-959E-EFABA3F86778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6808573" y="3910825"/>
            <a:ext cx="457200" cy="45720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CE1EC796-BC56-4FEE-9B38-31D53B825506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880317" y="3355927"/>
            <a:ext cx="457200" cy="4572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C3BE39BE-9610-4E5F-9922-E58262C102B5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332733" y="3355927"/>
            <a:ext cx="457200" cy="45720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3B9EBFDD-22DF-405B-A752-B28904DA0029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85149" y="3355927"/>
            <a:ext cx="457200" cy="4572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7EB399BF-4BDA-4A4F-857D-0FB3403492A4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237565" y="3355927"/>
            <a:ext cx="457200" cy="4572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323C09E1-35F5-4EF8-9DDD-D5A0D2C5167F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4070653" y="3355927"/>
            <a:ext cx="457200" cy="457200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A802711F-7187-4B24-BFDD-D6CE377E9CF6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3523069" y="3355927"/>
            <a:ext cx="457200" cy="457200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304F0B83-550A-4C0D-B72F-975F8D7B76C9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9"/>
              </a:ext>
            </a:extLst>
          </a:blip>
          <a:stretch>
            <a:fillRect/>
          </a:stretch>
        </p:blipFill>
        <p:spPr>
          <a:xfrm>
            <a:off x="2975485" y="3355927"/>
            <a:ext cx="457200" cy="457200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EEE8CA11-EBA0-4399-BB64-22CBD7466369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1"/>
              </a:ext>
            </a:extLst>
          </a:blip>
          <a:stretch>
            <a:fillRect/>
          </a:stretch>
        </p:blipFill>
        <p:spPr>
          <a:xfrm>
            <a:off x="2427901" y="3355927"/>
            <a:ext cx="457200" cy="457200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218775CD-5A78-4725-802C-598383438DFF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3"/>
              </a:ext>
            </a:extLst>
          </a:blip>
          <a:stretch>
            <a:fillRect/>
          </a:stretch>
        </p:blipFill>
        <p:spPr>
          <a:xfrm>
            <a:off x="6260989" y="3355927"/>
            <a:ext cx="457200" cy="457200"/>
          </a:xfrm>
          <a:prstGeom prst="rect">
            <a:avLst/>
          </a:prstGeom>
        </p:spPr>
      </p:pic>
      <p:pic>
        <p:nvPicPr>
          <p:cNvPr id="83" name="Graphic 82">
            <a:extLst>
              <a:ext uri="{FF2B5EF4-FFF2-40B4-BE49-F238E27FC236}">
                <a16:creationId xmlns:a16="http://schemas.microsoft.com/office/drawing/2014/main" id="{A8C98290-F488-4C6D-B336-F301EED7EED2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5"/>
              </a:ext>
            </a:extLst>
          </a:blip>
          <a:stretch>
            <a:fillRect/>
          </a:stretch>
        </p:blipFill>
        <p:spPr>
          <a:xfrm>
            <a:off x="5713405" y="3355927"/>
            <a:ext cx="457200" cy="457200"/>
          </a:xfrm>
          <a:prstGeom prst="rect">
            <a:avLst/>
          </a:prstGeom>
        </p:spPr>
      </p:pic>
      <p:pic>
        <p:nvPicPr>
          <p:cNvPr id="84" name="Graphic 83">
            <a:extLst>
              <a:ext uri="{FF2B5EF4-FFF2-40B4-BE49-F238E27FC236}">
                <a16:creationId xmlns:a16="http://schemas.microsoft.com/office/drawing/2014/main" id="{95A34EE5-665D-4066-9D74-53BF859466EA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7"/>
              </a:ext>
            </a:extLst>
          </a:blip>
          <a:stretch>
            <a:fillRect/>
          </a:stretch>
        </p:blipFill>
        <p:spPr>
          <a:xfrm>
            <a:off x="5165821" y="3355927"/>
            <a:ext cx="457200" cy="4572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DC88FF7E-493E-4664-8435-A0F66C248F2C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9"/>
              </a:ext>
            </a:extLst>
          </a:blip>
          <a:stretch>
            <a:fillRect/>
          </a:stretch>
        </p:blipFill>
        <p:spPr>
          <a:xfrm>
            <a:off x="4618237" y="3355927"/>
            <a:ext cx="457200" cy="457200"/>
          </a:xfrm>
          <a:prstGeom prst="rect">
            <a:avLst/>
          </a:prstGeom>
        </p:spPr>
      </p:pic>
      <p:pic>
        <p:nvPicPr>
          <p:cNvPr id="110" name="Graphic 109">
            <a:extLst>
              <a:ext uri="{FF2B5EF4-FFF2-40B4-BE49-F238E27FC236}">
                <a16:creationId xmlns:a16="http://schemas.microsoft.com/office/drawing/2014/main" id="{1EE2E1BD-C6FC-4130-A8D4-5FC3DCEF6D50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1"/>
              </a:ext>
            </a:extLst>
          </a:blip>
          <a:stretch>
            <a:fillRect/>
          </a:stretch>
        </p:blipFill>
        <p:spPr>
          <a:xfrm>
            <a:off x="8451319" y="3355927"/>
            <a:ext cx="457200" cy="457200"/>
          </a:xfrm>
          <a:prstGeom prst="rect">
            <a:avLst/>
          </a:prstGeom>
        </p:spPr>
      </p:pic>
      <p:pic>
        <p:nvPicPr>
          <p:cNvPr id="111" name="Graphic 110">
            <a:extLst>
              <a:ext uri="{FF2B5EF4-FFF2-40B4-BE49-F238E27FC236}">
                <a16:creationId xmlns:a16="http://schemas.microsoft.com/office/drawing/2014/main" id="{0C336C4A-5729-4891-92B8-56E536275D2E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3"/>
              </a:ext>
            </a:extLst>
          </a:blip>
          <a:stretch>
            <a:fillRect/>
          </a:stretch>
        </p:blipFill>
        <p:spPr>
          <a:xfrm>
            <a:off x="7903741" y="3355927"/>
            <a:ext cx="457200" cy="457200"/>
          </a:xfrm>
          <a:prstGeom prst="rect">
            <a:avLst/>
          </a:prstGeom>
        </p:spPr>
      </p:pic>
      <p:pic>
        <p:nvPicPr>
          <p:cNvPr id="112" name="Graphic 111">
            <a:extLst>
              <a:ext uri="{FF2B5EF4-FFF2-40B4-BE49-F238E27FC236}">
                <a16:creationId xmlns:a16="http://schemas.microsoft.com/office/drawing/2014/main" id="{14196280-23B7-49BE-AC28-F79B62BA8877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5"/>
              </a:ext>
            </a:extLst>
          </a:blip>
          <a:stretch>
            <a:fillRect/>
          </a:stretch>
        </p:blipFill>
        <p:spPr>
          <a:xfrm>
            <a:off x="7356157" y="3355927"/>
            <a:ext cx="457200" cy="457200"/>
          </a:xfrm>
          <a:prstGeom prst="rect">
            <a:avLst/>
          </a:prstGeom>
        </p:spPr>
      </p:pic>
      <p:pic>
        <p:nvPicPr>
          <p:cNvPr id="113" name="Graphic 112">
            <a:extLst>
              <a:ext uri="{FF2B5EF4-FFF2-40B4-BE49-F238E27FC236}">
                <a16:creationId xmlns:a16="http://schemas.microsoft.com/office/drawing/2014/main" id="{4D93AF38-8622-4F5F-A6EF-21BB08DAD21B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7"/>
              </a:ext>
            </a:extLst>
          </a:blip>
          <a:stretch>
            <a:fillRect/>
          </a:stretch>
        </p:blipFill>
        <p:spPr>
          <a:xfrm>
            <a:off x="6808573" y="3355927"/>
            <a:ext cx="457200" cy="4572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4FCBADD3-5510-4C10-87CA-FA0639455BBA}"/>
              </a:ext>
            </a:extLst>
          </p:cNvPr>
          <p:cNvPicPr>
            <a:picLocks noChangeAspect="1"/>
          </p:cNvPicPr>
          <p:nvPr/>
        </p:nvPicPr>
        <p:blipFill>
          <a:blip r:embed="rId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9"/>
              </a:ext>
            </a:extLst>
          </a:blip>
          <a:stretch>
            <a:fillRect/>
          </a:stretch>
        </p:blipFill>
        <p:spPr>
          <a:xfrm>
            <a:off x="1880317" y="2801029"/>
            <a:ext cx="457200" cy="457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F882D131-1B3E-4BFB-ADF4-1BF8FE6B6B34}"/>
              </a:ext>
            </a:extLst>
          </p:cNvPr>
          <p:cNvPicPr>
            <a:picLocks noChangeAspect="1"/>
          </p:cNvPicPr>
          <p:nvPr/>
        </p:nvPicPr>
        <p:blipFill>
          <a:blip r:embed="rId1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1"/>
              </a:ext>
            </a:extLst>
          </a:blip>
          <a:stretch>
            <a:fillRect/>
          </a:stretch>
        </p:blipFill>
        <p:spPr>
          <a:xfrm>
            <a:off x="1332733" y="2801029"/>
            <a:ext cx="457200" cy="4572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FD8EE42D-A334-462B-9C74-D8FEF1CD18F1}"/>
              </a:ext>
            </a:extLst>
          </p:cNvPr>
          <p:cNvPicPr>
            <a:picLocks noChangeAspect="1"/>
          </p:cNvPicPr>
          <p:nvPr/>
        </p:nvPicPr>
        <p:blipFill>
          <a:blip r:embed="rId1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3"/>
              </a:ext>
            </a:extLst>
          </a:blip>
          <a:stretch>
            <a:fillRect/>
          </a:stretch>
        </p:blipFill>
        <p:spPr>
          <a:xfrm>
            <a:off x="785149" y="2801029"/>
            <a:ext cx="457200" cy="4572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90ED9059-5C53-4FD1-9F79-F3BC2324EF2E}"/>
              </a:ext>
            </a:extLst>
          </p:cNvPr>
          <p:cNvPicPr>
            <a:picLocks noChangeAspect="1"/>
          </p:cNvPicPr>
          <p:nvPr/>
        </p:nvPicPr>
        <p:blipFill>
          <a:blip r:embed="rId1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5"/>
              </a:ext>
            </a:extLst>
          </a:blip>
          <a:stretch>
            <a:fillRect/>
          </a:stretch>
        </p:blipFill>
        <p:spPr>
          <a:xfrm>
            <a:off x="237565" y="2801029"/>
            <a:ext cx="457200" cy="457200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DBF30E13-B06C-492B-A120-3D6CE03D1788}"/>
              </a:ext>
            </a:extLst>
          </p:cNvPr>
          <p:cNvPicPr>
            <a:picLocks noChangeAspect="1"/>
          </p:cNvPicPr>
          <p:nvPr/>
        </p:nvPicPr>
        <p:blipFill>
          <a:blip r:embed="rId1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7"/>
              </a:ext>
            </a:extLst>
          </a:blip>
          <a:stretch>
            <a:fillRect/>
          </a:stretch>
        </p:blipFill>
        <p:spPr>
          <a:xfrm>
            <a:off x="4070653" y="2801029"/>
            <a:ext cx="457200" cy="45720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4C9BA34F-392B-4441-B742-BCF9AB5AD0B7}"/>
              </a:ext>
            </a:extLst>
          </p:cNvPr>
          <p:cNvPicPr>
            <a:picLocks noChangeAspect="1"/>
          </p:cNvPicPr>
          <p:nvPr/>
        </p:nvPicPr>
        <p:blipFill>
          <a:blip r:embed="rId1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9"/>
              </a:ext>
            </a:extLst>
          </a:blip>
          <a:stretch>
            <a:fillRect/>
          </a:stretch>
        </p:blipFill>
        <p:spPr>
          <a:xfrm>
            <a:off x="3523069" y="2801029"/>
            <a:ext cx="457200" cy="45720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2BC8C391-CA1F-4DAE-BBDF-720CC90569FC}"/>
              </a:ext>
            </a:extLst>
          </p:cNvPr>
          <p:cNvPicPr>
            <a:picLocks noChangeAspect="1"/>
          </p:cNvPicPr>
          <p:nvPr/>
        </p:nvPicPr>
        <p:blipFill>
          <a:blip r:embed="rId1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1"/>
              </a:ext>
            </a:extLst>
          </a:blip>
          <a:stretch>
            <a:fillRect/>
          </a:stretch>
        </p:blipFill>
        <p:spPr>
          <a:xfrm>
            <a:off x="2975485" y="2801029"/>
            <a:ext cx="457200" cy="45720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F401FA8E-C2F0-4595-A198-70B2CAF881DD}"/>
              </a:ext>
            </a:extLst>
          </p:cNvPr>
          <p:cNvPicPr>
            <a:picLocks noChangeAspect="1"/>
          </p:cNvPicPr>
          <p:nvPr/>
        </p:nvPicPr>
        <p:blipFill>
          <a:blip r:embed="rId1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3"/>
              </a:ext>
            </a:extLst>
          </a:blip>
          <a:stretch>
            <a:fillRect/>
          </a:stretch>
        </p:blipFill>
        <p:spPr>
          <a:xfrm>
            <a:off x="2427901" y="2801029"/>
            <a:ext cx="457200" cy="457200"/>
          </a:xfrm>
          <a:prstGeom prst="rect">
            <a:avLst/>
          </a:prstGeom>
        </p:spPr>
      </p:pic>
      <p:pic>
        <p:nvPicPr>
          <p:cNvPr id="86" name="Graphic 85">
            <a:extLst>
              <a:ext uri="{FF2B5EF4-FFF2-40B4-BE49-F238E27FC236}">
                <a16:creationId xmlns:a16="http://schemas.microsoft.com/office/drawing/2014/main" id="{FD932216-CDF4-4602-846E-8539C601A15F}"/>
              </a:ext>
            </a:extLst>
          </p:cNvPr>
          <p:cNvPicPr>
            <a:picLocks noChangeAspect="1"/>
          </p:cNvPicPr>
          <p:nvPr/>
        </p:nvPicPr>
        <p:blipFill>
          <a:blip r:embed="rId1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5"/>
              </a:ext>
            </a:extLst>
          </a:blip>
          <a:stretch>
            <a:fillRect/>
          </a:stretch>
        </p:blipFill>
        <p:spPr>
          <a:xfrm>
            <a:off x="6260989" y="2801029"/>
            <a:ext cx="457200" cy="457200"/>
          </a:xfrm>
          <a:prstGeom prst="rect">
            <a:avLst/>
          </a:prstGeom>
        </p:spPr>
      </p:pic>
      <p:pic>
        <p:nvPicPr>
          <p:cNvPr id="87" name="Graphic 86">
            <a:extLst>
              <a:ext uri="{FF2B5EF4-FFF2-40B4-BE49-F238E27FC236}">
                <a16:creationId xmlns:a16="http://schemas.microsoft.com/office/drawing/2014/main" id="{C8662AFD-32B6-4970-9C27-C1633D74794D}"/>
              </a:ext>
            </a:extLst>
          </p:cNvPr>
          <p:cNvPicPr>
            <a:picLocks noChangeAspect="1"/>
          </p:cNvPicPr>
          <p:nvPr/>
        </p:nvPicPr>
        <p:blipFill>
          <a:blip r:embed="rId1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7"/>
              </a:ext>
            </a:extLst>
          </a:blip>
          <a:stretch>
            <a:fillRect/>
          </a:stretch>
        </p:blipFill>
        <p:spPr>
          <a:xfrm>
            <a:off x="5713405" y="2801029"/>
            <a:ext cx="457200" cy="457200"/>
          </a:xfrm>
          <a:prstGeom prst="rect">
            <a:avLst/>
          </a:prstGeom>
        </p:spPr>
      </p:pic>
      <p:pic>
        <p:nvPicPr>
          <p:cNvPr id="88" name="Graphic 87">
            <a:extLst>
              <a:ext uri="{FF2B5EF4-FFF2-40B4-BE49-F238E27FC236}">
                <a16:creationId xmlns:a16="http://schemas.microsoft.com/office/drawing/2014/main" id="{A6A75D2D-3D4C-4BC0-BA95-78403C0A5420}"/>
              </a:ext>
            </a:extLst>
          </p:cNvPr>
          <p:cNvPicPr>
            <a:picLocks noChangeAspect="1"/>
          </p:cNvPicPr>
          <p:nvPr/>
        </p:nvPicPr>
        <p:blipFill>
          <a:blip r:embed="rId1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9"/>
              </a:ext>
            </a:extLst>
          </a:blip>
          <a:stretch>
            <a:fillRect/>
          </a:stretch>
        </p:blipFill>
        <p:spPr>
          <a:xfrm>
            <a:off x="5165821" y="2801029"/>
            <a:ext cx="457200" cy="457200"/>
          </a:xfrm>
          <a:prstGeom prst="rect">
            <a:avLst/>
          </a:prstGeom>
        </p:spPr>
      </p:pic>
      <p:pic>
        <p:nvPicPr>
          <p:cNvPr id="89" name="Graphic 88">
            <a:extLst>
              <a:ext uri="{FF2B5EF4-FFF2-40B4-BE49-F238E27FC236}">
                <a16:creationId xmlns:a16="http://schemas.microsoft.com/office/drawing/2014/main" id="{54B9430A-AC4A-40C7-960B-41433C3B8CE7}"/>
              </a:ext>
            </a:extLst>
          </p:cNvPr>
          <p:cNvPicPr>
            <a:picLocks noChangeAspect="1"/>
          </p:cNvPicPr>
          <p:nvPr/>
        </p:nvPicPr>
        <p:blipFill>
          <a:blip r:embed="rId1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1"/>
              </a:ext>
            </a:extLst>
          </a:blip>
          <a:stretch>
            <a:fillRect/>
          </a:stretch>
        </p:blipFill>
        <p:spPr>
          <a:xfrm>
            <a:off x="4618237" y="2801029"/>
            <a:ext cx="457200" cy="457200"/>
          </a:xfrm>
          <a:prstGeom prst="rect">
            <a:avLst/>
          </a:prstGeom>
        </p:spPr>
      </p:pic>
      <p:pic>
        <p:nvPicPr>
          <p:cNvPr id="114" name="Graphic 113">
            <a:extLst>
              <a:ext uri="{FF2B5EF4-FFF2-40B4-BE49-F238E27FC236}">
                <a16:creationId xmlns:a16="http://schemas.microsoft.com/office/drawing/2014/main" id="{13FE7C2C-2B0C-473A-8525-CF8D5A18CAF2}"/>
              </a:ext>
            </a:extLst>
          </p:cNvPr>
          <p:cNvPicPr>
            <a:picLocks noChangeAspect="1"/>
          </p:cNvPicPr>
          <p:nvPr/>
        </p:nvPicPr>
        <p:blipFill>
          <a:blip r:embed="rId1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3"/>
              </a:ext>
            </a:extLst>
          </a:blip>
          <a:stretch>
            <a:fillRect/>
          </a:stretch>
        </p:blipFill>
        <p:spPr>
          <a:xfrm>
            <a:off x="8451319" y="2801029"/>
            <a:ext cx="457200" cy="457200"/>
          </a:xfrm>
          <a:prstGeom prst="rect">
            <a:avLst/>
          </a:prstGeom>
        </p:spPr>
      </p:pic>
      <p:pic>
        <p:nvPicPr>
          <p:cNvPr id="115" name="Graphic 114">
            <a:extLst>
              <a:ext uri="{FF2B5EF4-FFF2-40B4-BE49-F238E27FC236}">
                <a16:creationId xmlns:a16="http://schemas.microsoft.com/office/drawing/2014/main" id="{32C6F07A-987E-4050-BA2E-BFA8E4694B4B}"/>
              </a:ext>
            </a:extLst>
          </p:cNvPr>
          <p:cNvPicPr>
            <a:picLocks noChangeAspect="1"/>
          </p:cNvPicPr>
          <p:nvPr/>
        </p:nvPicPr>
        <p:blipFill>
          <a:blip r:embed="rId1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5"/>
              </a:ext>
            </a:extLst>
          </a:blip>
          <a:stretch>
            <a:fillRect/>
          </a:stretch>
        </p:blipFill>
        <p:spPr>
          <a:xfrm>
            <a:off x="7903741" y="2801029"/>
            <a:ext cx="457200" cy="457200"/>
          </a:xfrm>
          <a:prstGeom prst="rect">
            <a:avLst/>
          </a:prstGeom>
        </p:spPr>
      </p:pic>
      <p:pic>
        <p:nvPicPr>
          <p:cNvPr id="116" name="Graphic 115">
            <a:extLst>
              <a:ext uri="{FF2B5EF4-FFF2-40B4-BE49-F238E27FC236}">
                <a16:creationId xmlns:a16="http://schemas.microsoft.com/office/drawing/2014/main" id="{A4467AFF-64C9-4DB8-890F-E70DF5938537}"/>
              </a:ext>
            </a:extLst>
          </p:cNvPr>
          <p:cNvPicPr>
            <a:picLocks noChangeAspect="1"/>
          </p:cNvPicPr>
          <p:nvPr/>
        </p:nvPicPr>
        <p:blipFill>
          <a:blip r:embed="rId1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7"/>
              </a:ext>
            </a:extLst>
          </a:blip>
          <a:stretch>
            <a:fillRect/>
          </a:stretch>
        </p:blipFill>
        <p:spPr>
          <a:xfrm>
            <a:off x="7356157" y="2801029"/>
            <a:ext cx="457200" cy="457200"/>
          </a:xfrm>
          <a:prstGeom prst="rect">
            <a:avLst/>
          </a:prstGeom>
        </p:spPr>
      </p:pic>
      <p:pic>
        <p:nvPicPr>
          <p:cNvPr id="117" name="Graphic 116">
            <a:extLst>
              <a:ext uri="{FF2B5EF4-FFF2-40B4-BE49-F238E27FC236}">
                <a16:creationId xmlns:a16="http://schemas.microsoft.com/office/drawing/2014/main" id="{3C4C94D9-47BF-41A1-B399-F3D2D156D7F0}"/>
              </a:ext>
            </a:extLst>
          </p:cNvPr>
          <p:cNvPicPr>
            <a:picLocks noChangeAspect="1"/>
          </p:cNvPicPr>
          <p:nvPr/>
        </p:nvPicPr>
        <p:blipFill>
          <a:blip r:embed="rId1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9"/>
              </a:ext>
            </a:extLst>
          </a:blip>
          <a:stretch>
            <a:fillRect/>
          </a:stretch>
        </p:blipFill>
        <p:spPr>
          <a:xfrm>
            <a:off x="6808573" y="2801029"/>
            <a:ext cx="457200" cy="4572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5DB7E119-C117-476A-9901-65CE1B6F0914}"/>
              </a:ext>
            </a:extLst>
          </p:cNvPr>
          <p:cNvPicPr>
            <a:picLocks noChangeAspect="1"/>
          </p:cNvPicPr>
          <p:nvPr/>
        </p:nvPicPr>
        <p:blipFill>
          <a:blip r:embed="rId1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1"/>
              </a:ext>
            </a:extLst>
          </a:blip>
          <a:stretch>
            <a:fillRect/>
          </a:stretch>
        </p:blipFill>
        <p:spPr>
          <a:xfrm>
            <a:off x="1880317" y="2246131"/>
            <a:ext cx="457200" cy="45720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46475C1B-031A-4606-8E32-CF70CE04D56C}"/>
              </a:ext>
            </a:extLst>
          </p:cNvPr>
          <p:cNvPicPr>
            <a:picLocks noChangeAspect="1"/>
          </p:cNvPicPr>
          <p:nvPr/>
        </p:nvPicPr>
        <p:blipFill>
          <a:blip r:embed="rId1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3"/>
              </a:ext>
            </a:extLst>
          </a:blip>
          <a:stretch>
            <a:fillRect/>
          </a:stretch>
        </p:blipFill>
        <p:spPr>
          <a:xfrm>
            <a:off x="1332733" y="2246131"/>
            <a:ext cx="457200" cy="4572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91870C5A-26B1-43F6-B39F-4528005DBA80}"/>
              </a:ext>
            </a:extLst>
          </p:cNvPr>
          <p:cNvPicPr>
            <a:picLocks noChangeAspect="1"/>
          </p:cNvPicPr>
          <p:nvPr/>
        </p:nvPicPr>
        <p:blipFill>
          <a:blip r:embed="rId1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5"/>
              </a:ext>
            </a:extLst>
          </a:blip>
          <a:stretch>
            <a:fillRect/>
          </a:stretch>
        </p:blipFill>
        <p:spPr>
          <a:xfrm>
            <a:off x="785149" y="2246131"/>
            <a:ext cx="457200" cy="457200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9986F197-5760-419D-8E58-27A61ECF96A5}"/>
              </a:ext>
            </a:extLst>
          </p:cNvPr>
          <p:cNvPicPr>
            <a:picLocks noChangeAspect="1"/>
          </p:cNvPicPr>
          <p:nvPr/>
        </p:nvPicPr>
        <p:blipFill>
          <a:blip r:embed="rId1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7"/>
              </a:ext>
            </a:extLst>
          </a:blip>
          <a:stretch>
            <a:fillRect/>
          </a:stretch>
        </p:blipFill>
        <p:spPr>
          <a:xfrm>
            <a:off x="237565" y="2246131"/>
            <a:ext cx="457200" cy="457200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EE167241-FAFB-4E15-98AC-CB2FBF799372}"/>
              </a:ext>
            </a:extLst>
          </p:cNvPr>
          <p:cNvPicPr>
            <a:picLocks noChangeAspect="1"/>
          </p:cNvPicPr>
          <p:nvPr/>
        </p:nvPicPr>
        <p:blipFill>
          <a:blip r:embed="rId1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9"/>
              </a:ext>
            </a:extLst>
          </a:blip>
          <a:stretch>
            <a:fillRect/>
          </a:stretch>
        </p:blipFill>
        <p:spPr>
          <a:xfrm>
            <a:off x="4070653" y="2246131"/>
            <a:ext cx="457200" cy="457200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20D36253-62CD-434A-B52F-10C0D55EB7E1}"/>
              </a:ext>
            </a:extLst>
          </p:cNvPr>
          <p:cNvPicPr>
            <a:picLocks noChangeAspect="1"/>
          </p:cNvPicPr>
          <p:nvPr/>
        </p:nvPicPr>
        <p:blipFill>
          <a:blip r:embed="rId1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1"/>
              </a:ext>
            </a:extLst>
          </a:blip>
          <a:stretch>
            <a:fillRect/>
          </a:stretch>
        </p:blipFill>
        <p:spPr>
          <a:xfrm>
            <a:off x="3523069" y="2246131"/>
            <a:ext cx="457200" cy="457200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2B5D55A8-0309-408A-90E8-C9FD44B1A626}"/>
              </a:ext>
            </a:extLst>
          </p:cNvPr>
          <p:cNvPicPr>
            <a:picLocks noChangeAspect="1"/>
          </p:cNvPicPr>
          <p:nvPr/>
        </p:nvPicPr>
        <p:blipFill>
          <a:blip r:embed="rId1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3"/>
              </a:ext>
            </a:extLst>
          </a:blip>
          <a:stretch>
            <a:fillRect/>
          </a:stretch>
        </p:blipFill>
        <p:spPr>
          <a:xfrm>
            <a:off x="2975485" y="2246131"/>
            <a:ext cx="457200" cy="457200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766930C5-4CF6-4156-8355-7FFA3C1309AD}"/>
              </a:ext>
            </a:extLst>
          </p:cNvPr>
          <p:cNvPicPr>
            <a:picLocks noChangeAspect="1"/>
          </p:cNvPicPr>
          <p:nvPr/>
        </p:nvPicPr>
        <p:blipFill>
          <a:blip r:embed="rId1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5"/>
              </a:ext>
            </a:extLst>
          </a:blip>
          <a:stretch>
            <a:fillRect/>
          </a:stretch>
        </p:blipFill>
        <p:spPr>
          <a:xfrm>
            <a:off x="2427901" y="2246131"/>
            <a:ext cx="457200" cy="457200"/>
          </a:xfrm>
          <a:prstGeom prst="rect">
            <a:avLst/>
          </a:prstGeom>
        </p:spPr>
      </p:pic>
      <p:pic>
        <p:nvPicPr>
          <p:cNvPr id="90" name="Graphic 89">
            <a:extLst>
              <a:ext uri="{FF2B5EF4-FFF2-40B4-BE49-F238E27FC236}">
                <a16:creationId xmlns:a16="http://schemas.microsoft.com/office/drawing/2014/main" id="{68B42FEC-02FF-4A6B-B8BE-E39E51530467}"/>
              </a:ext>
            </a:extLst>
          </p:cNvPr>
          <p:cNvPicPr>
            <a:picLocks noChangeAspect="1"/>
          </p:cNvPicPr>
          <p:nvPr/>
        </p:nvPicPr>
        <p:blipFill>
          <a:blip r:embed="rId1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7"/>
              </a:ext>
            </a:extLst>
          </a:blip>
          <a:stretch>
            <a:fillRect/>
          </a:stretch>
        </p:blipFill>
        <p:spPr>
          <a:xfrm>
            <a:off x="6260989" y="2246131"/>
            <a:ext cx="457200" cy="457200"/>
          </a:xfrm>
          <a:prstGeom prst="rect">
            <a:avLst/>
          </a:prstGeom>
        </p:spPr>
      </p:pic>
      <p:pic>
        <p:nvPicPr>
          <p:cNvPr id="91" name="Graphic 90">
            <a:extLst>
              <a:ext uri="{FF2B5EF4-FFF2-40B4-BE49-F238E27FC236}">
                <a16:creationId xmlns:a16="http://schemas.microsoft.com/office/drawing/2014/main" id="{A35D2574-40CD-4724-BE28-F9A18D22307A}"/>
              </a:ext>
            </a:extLst>
          </p:cNvPr>
          <p:cNvPicPr>
            <a:picLocks noChangeAspect="1"/>
          </p:cNvPicPr>
          <p:nvPr/>
        </p:nvPicPr>
        <p:blipFill>
          <a:blip r:embed="rId1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9"/>
              </a:ext>
            </a:extLst>
          </a:blip>
          <a:stretch>
            <a:fillRect/>
          </a:stretch>
        </p:blipFill>
        <p:spPr>
          <a:xfrm>
            <a:off x="5713405" y="2246131"/>
            <a:ext cx="457200" cy="457200"/>
          </a:xfrm>
          <a:prstGeom prst="rect">
            <a:avLst/>
          </a:prstGeom>
        </p:spPr>
      </p:pic>
      <p:pic>
        <p:nvPicPr>
          <p:cNvPr id="92" name="Graphic 91">
            <a:extLst>
              <a:ext uri="{FF2B5EF4-FFF2-40B4-BE49-F238E27FC236}">
                <a16:creationId xmlns:a16="http://schemas.microsoft.com/office/drawing/2014/main" id="{EFF72889-2C5C-42E6-AD49-53B951656E6A}"/>
              </a:ext>
            </a:extLst>
          </p:cNvPr>
          <p:cNvPicPr>
            <a:picLocks noChangeAspect="1"/>
          </p:cNvPicPr>
          <p:nvPr/>
        </p:nvPicPr>
        <p:blipFill>
          <a:blip r:embed="rId1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1"/>
              </a:ext>
            </a:extLst>
          </a:blip>
          <a:stretch>
            <a:fillRect/>
          </a:stretch>
        </p:blipFill>
        <p:spPr>
          <a:xfrm>
            <a:off x="5165821" y="2246131"/>
            <a:ext cx="457200" cy="457200"/>
          </a:xfrm>
          <a:prstGeom prst="rect">
            <a:avLst/>
          </a:prstGeom>
        </p:spPr>
      </p:pic>
      <p:pic>
        <p:nvPicPr>
          <p:cNvPr id="93" name="Graphic 92">
            <a:extLst>
              <a:ext uri="{FF2B5EF4-FFF2-40B4-BE49-F238E27FC236}">
                <a16:creationId xmlns:a16="http://schemas.microsoft.com/office/drawing/2014/main" id="{D163504C-C830-4DAB-BD83-840F82496A45}"/>
              </a:ext>
            </a:extLst>
          </p:cNvPr>
          <p:cNvPicPr>
            <a:picLocks noChangeAspect="1"/>
          </p:cNvPicPr>
          <p:nvPr/>
        </p:nvPicPr>
        <p:blipFill>
          <a:blip r:embed="rId1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3"/>
              </a:ext>
            </a:extLst>
          </a:blip>
          <a:stretch>
            <a:fillRect/>
          </a:stretch>
        </p:blipFill>
        <p:spPr>
          <a:xfrm>
            <a:off x="4618237" y="2246131"/>
            <a:ext cx="457200" cy="457200"/>
          </a:xfrm>
          <a:prstGeom prst="rect">
            <a:avLst/>
          </a:prstGeom>
        </p:spPr>
      </p:pic>
      <p:pic>
        <p:nvPicPr>
          <p:cNvPr id="118" name="Graphic 117">
            <a:extLst>
              <a:ext uri="{FF2B5EF4-FFF2-40B4-BE49-F238E27FC236}">
                <a16:creationId xmlns:a16="http://schemas.microsoft.com/office/drawing/2014/main" id="{2E2C1610-E494-4CAA-9442-7328CDD8E16D}"/>
              </a:ext>
            </a:extLst>
          </p:cNvPr>
          <p:cNvPicPr>
            <a:picLocks noChangeAspect="1"/>
          </p:cNvPicPr>
          <p:nvPr/>
        </p:nvPicPr>
        <p:blipFill>
          <a:blip r:embed="rId1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5"/>
              </a:ext>
            </a:extLst>
          </a:blip>
          <a:stretch>
            <a:fillRect/>
          </a:stretch>
        </p:blipFill>
        <p:spPr>
          <a:xfrm>
            <a:off x="8451319" y="2246131"/>
            <a:ext cx="457200" cy="457200"/>
          </a:xfrm>
          <a:prstGeom prst="rect">
            <a:avLst/>
          </a:prstGeom>
        </p:spPr>
      </p:pic>
      <p:pic>
        <p:nvPicPr>
          <p:cNvPr id="119" name="Graphic 118">
            <a:extLst>
              <a:ext uri="{FF2B5EF4-FFF2-40B4-BE49-F238E27FC236}">
                <a16:creationId xmlns:a16="http://schemas.microsoft.com/office/drawing/2014/main" id="{A0E9FA8E-A30D-4AD7-8E2A-A15FF0E617FF}"/>
              </a:ext>
            </a:extLst>
          </p:cNvPr>
          <p:cNvPicPr>
            <a:picLocks noChangeAspect="1"/>
          </p:cNvPicPr>
          <p:nvPr/>
        </p:nvPicPr>
        <p:blipFill>
          <a:blip r:embed="rId1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7"/>
              </a:ext>
            </a:extLst>
          </a:blip>
          <a:stretch>
            <a:fillRect/>
          </a:stretch>
        </p:blipFill>
        <p:spPr>
          <a:xfrm>
            <a:off x="7903741" y="2246131"/>
            <a:ext cx="457200" cy="457200"/>
          </a:xfrm>
          <a:prstGeom prst="rect">
            <a:avLst/>
          </a:prstGeom>
        </p:spPr>
      </p:pic>
      <p:pic>
        <p:nvPicPr>
          <p:cNvPr id="120" name="Graphic 119">
            <a:extLst>
              <a:ext uri="{FF2B5EF4-FFF2-40B4-BE49-F238E27FC236}">
                <a16:creationId xmlns:a16="http://schemas.microsoft.com/office/drawing/2014/main" id="{886F5338-7476-4B53-B247-9F6CC74840CC}"/>
              </a:ext>
            </a:extLst>
          </p:cNvPr>
          <p:cNvPicPr>
            <a:picLocks noChangeAspect="1"/>
          </p:cNvPicPr>
          <p:nvPr/>
        </p:nvPicPr>
        <p:blipFill>
          <a:blip r:embed="rId1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9"/>
              </a:ext>
            </a:extLst>
          </a:blip>
          <a:stretch>
            <a:fillRect/>
          </a:stretch>
        </p:blipFill>
        <p:spPr>
          <a:xfrm>
            <a:off x="7356157" y="2246131"/>
            <a:ext cx="457200" cy="457200"/>
          </a:xfrm>
          <a:prstGeom prst="rect">
            <a:avLst/>
          </a:prstGeom>
        </p:spPr>
      </p:pic>
      <p:pic>
        <p:nvPicPr>
          <p:cNvPr id="121" name="Graphic 120">
            <a:extLst>
              <a:ext uri="{FF2B5EF4-FFF2-40B4-BE49-F238E27FC236}">
                <a16:creationId xmlns:a16="http://schemas.microsoft.com/office/drawing/2014/main" id="{82FE2E09-1244-4A86-A962-742B3B3D8784}"/>
              </a:ext>
            </a:extLst>
          </p:cNvPr>
          <p:cNvPicPr>
            <a:picLocks noChangeAspect="1"/>
          </p:cNvPicPr>
          <p:nvPr/>
        </p:nvPicPr>
        <p:blipFill>
          <a:blip r:embed="rId1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1"/>
              </a:ext>
            </a:extLst>
          </a:blip>
          <a:stretch>
            <a:fillRect/>
          </a:stretch>
        </p:blipFill>
        <p:spPr>
          <a:xfrm>
            <a:off x="6808573" y="2246131"/>
            <a:ext cx="457200" cy="4572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55CD8EE5-9E8C-433E-AD27-F2BB2D5EBCC4}"/>
              </a:ext>
            </a:extLst>
          </p:cNvPr>
          <p:cNvPicPr>
            <a:picLocks noChangeAspect="1"/>
          </p:cNvPicPr>
          <p:nvPr/>
        </p:nvPicPr>
        <p:blipFill>
          <a:blip r:embed="rId1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3"/>
              </a:ext>
            </a:extLst>
          </a:blip>
          <a:stretch>
            <a:fillRect/>
          </a:stretch>
        </p:blipFill>
        <p:spPr>
          <a:xfrm>
            <a:off x="1880317" y="1691233"/>
            <a:ext cx="457200" cy="45720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EDAB3CC2-7CFC-4D66-A964-3C639FF9E1CD}"/>
              </a:ext>
            </a:extLst>
          </p:cNvPr>
          <p:cNvPicPr>
            <a:picLocks noChangeAspect="1"/>
          </p:cNvPicPr>
          <p:nvPr/>
        </p:nvPicPr>
        <p:blipFill>
          <a:blip r:embed="rId1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5"/>
              </a:ext>
            </a:extLst>
          </a:blip>
          <a:stretch>
            <a:fillRect/>
          </a:stretch>
        </p:blipFill>
        <p:spPr>
          <a:xfrm>
            <a:off x="1332733" y="1691233"/>
            <a:ext cx="457200" cy="457200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198A77E1-A97B-4808-B69F-C59C09D1145C}"/>
              </a:ext>
            </a:extLst>
          </p:cNvPr>
          <p:cNvPicPr>
            <a:picLocks noChangeAspect="1"/>
          </p:cNvPicPr>
          <p:nvPr/>
        </p:nvPicPr>
        <p:blipFill>
          <a:blip r:embed="rId1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7"/>
              </a:ext>
            </a:extLst>
          </a:blip>
          <a:stretch>
            <a:fillRect/>
          </a:stretch>
        </p:blipFill>
        <p:spPr>
          <a:xfrm>
            <a:off x="785149" y="1691233"/>
            <a:ext cx="457200" cy="457200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4A7783D2-469E-4489-BDDE-5F2270637690}"/>
              </a:ext>
            </a:extLst>
          </p:cNvPr>
          <p:cNvPicPr>
            <a:picLocks noChangeAspect="1"/>
          </p:cNvPicPr>
          <p:nvPr/>
        </p:nvPicPr>
        <p:blipFill>
          <a:blip r:embed="rId1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9"/>
              </a:ext>
            </a:extLst>
          </a:blip>
          <a:stretch>
            <a:fillRect/>
          </a:stretch>
        </p:blipFill>
        <p:spPr>
          <a:xfrm>
            <a:off x="237565" y="1691233"/>
            <a:ext cx="457200" cy="457200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82FED105-9631-4F52-8855-BB3E7F14A0F6}"/>
              </a:ext>
            </a:extLst>
          </p:cNvPr>
          <p:cNvPicPr>
            <a:picLocks noChangeAspect="1"/>
          </p:cNvPicPr>
          <p:nvPr/>
        </p:nvPicPr>
        <p:blipFill>
          <a:blip r:embed="rId1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1"/>
              </a:ext>
            </a:extLst>
          </a:blip>
          <a:stretch>
            <a:fillRect/>
          </a:stretch>
        </p:blipFill>
        <p:spPr>
          <a:xfrm>
            <a:off x="4070653" y="1691233"/>
            <a:ext cx="457200" cy="45720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36483DC5-DA13-4FE1-A325-CDCA37D93E77}"/>
              </a:ext>
            </a:extLst>
          </p:cNvPr>
          <p:cNvPicPr>
            <a:picLocks noChangeAspect="1"/>
          </p:cNvPicPr>
          <p:nvPr/>
        </p:nvPicPr>
        <p:blipFill>
          <a:blip r:embed="rId1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3"/>
              </a:ext>
            </a:extLst>
          </a:blip>
          <a:stretch>
            <a:fillRect/>
          </a:stretch>
        </p:blipFill>
        <p:spPr>
          <a:xfrm>
            <a:off x="3523069" y="1691233"/>
            <a:ext cx="457200" cy="457200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612A8A6C-6161-47D3-A790-01B719F66846}"/>
              </a:ext>
            </a:extLst>
          </p:cNvPr>
          <p:cNvPicPr>
            <a:picLocks noChangeAspect="1"/>
          </p:cNvPicPr>
          <p:nvPr/>
        </p:nvPicPr>
        <p:blipFill>
          <a:blip r:embed="rId1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5"/>
              </a:ext>
            </a:extLst>
          </a:blip>
          <a:stretch>
            <a:fillRect/>
          </a:stretch>
        </p:blipFill>
        <p:spPr>
          <a:xfrm>
            <a:off x="2975485" y="1691233"/>
            <a:ext cx="457200" cy="457200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7E2D091B-0E87-48DB-8CCD-8E739612E3C6}"/>
              </a:ext>
            </a:extLst>
          </p:cNvPr>
          <p:cNvPicPr>
            <a:picLocks noChangeAspect="1"/>
          </p:cNvPicPr>
          <p:nvPr/>
        </p:nvPicPr>
        <p:blipFill>
          <a:blip r:embed="rId1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7"/>
              </a:ext>
            </a:extLst>
          </a:blip>
          <a:stretch>
            <a:fillRect/>
          </a:stretch>
        </p:blipFill>
        <p:spPr>
          <a:xfrm>
            <a:off x="2427901" y="1691233"/>
            <a:ext cx="457200" cy="457200"/>
          </a:xfrm>
          <a:prstGeom prst="rect">
            <a:avLst/>
          </a:prstGeom>
        </p:spPr>
      </p:pic>
      <p:pic>
        <p:nvPicPr>
          <p:cNvPr id="94" name="Graphic 93">
            <a:extLst>
              <a:ext uri="{FF2B5EF4-FFF2-40B4-BE49-F238E27FC236}">
                <a16:creationId xmlns:a16="http://schemas.microsoft.com/office/drawing/2014/main" id="{70710B8D-BCF2-4D42-BB78-DC0975654A99}"/>
              </a:ext>
            </a:extLst>
          </p:cNvPr>
          <p:cNvPicPr>
            <a:picLocks noChangeAspect="1"/>
          </p:cNvPicPr>
          <p:nvPr/>
        </p:nvPicPr>
        <p:blipFill>
          <a:blip r:embed="rId1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9"/>
              </a:ext>
            </a:extLst>
          </a:blip>
          <a:stretch>
            <a:fillRect/>
          </a:stretch>
        </p:blipFill>
        <p:spPr>
          <a:xfrm>
            <a:off x="6260989" y="1691233"/>
            <a:ext cx="457200" cy="457200"/>
          </a:xfrm>
          <a:prstGeom prst="rect">
            <a:avLst/>
          </a:prstGeom>
        </p:spPr>
      </p:pic>
      <p:pic>
        <p:nvPicPr>
          <p:cNvPr id="95" name="Graphic 94">
            <a:extLst>
              <a:ext uri="{FF2B5EF4-FFF2-40B4-BE49-F238E27FC236}">
                <a16:creationId xmlns:a16="http://schemas.microsoft.com/office/drawing/2014/main" id="{864DC8FA-8014-4171-A3B6-D192B663D399}"/>
              </a:ext>
            </a:extLst>
          </p:cNvPr>
          <p:cNvPicPr>
            <a:picLocks noChangeAspect="1"/>
          </p:cNvPicPr>
          <p:nvPr/>
        </p:nvPicPr>
        <p:blipFill>
          <a:blip r:embed="rId1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1"/>
              </a:ext>
            </a:extLst>
          </a:blip>
          <a:stretch>
            <a:fillRect/>
          </a:stretch>
        </p:blipFill>
        <p:spPr>
          <a:xfrm>
            <a:off x="5713405" y="1691233"/>
            <a:ext cx="457200" cy="457200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DCFE5525-DEC6-40CF-B74A-28EC500B67AC}"/>
              </a:ext>
            </a:extLst>
          </p:cNvPr>
          <p:cNvPicPr>
            <a:picLocks noChangeAspect="1"/>
          </p:cNvPicPr>
          <p:nvPr/>
        </p:nvPicPr>
        <p:blipFill>
          <a:blip r:embed="rId1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3"/>
              </a:ext>
            </a:extLst>
          </a:blip>
          <a:stretch>
            <a:fillRect/>
          </a:stretch>
        </p:blipFill>
        <p:spPr>
          <a:xfrm>
            <a:off x="5165821" y="1691233"/>
            <a:ext cx="457200" cy="457200"/>
          </a:xfrm>
          <a:prstGeom prst="rect">
            <a:avLst/>
          </a:prstGeom>
        </p:spPr>
      </p:pic>
      <p:pic>
        <p:nvPicPr>
          <p:cNvPr id="97" name="Graphic 96">
            <a:extLst>
              <a:ext uri="{FF2B5EF4-FFF2-40B4-BE49-F238E27FC236}">
                <a16:creationId xmlns:a16="http://schemas.microsoft.com/office/drawing/2014/main" id="{F6C3C7F7-D34E-465C-A194-E8D8DEF06C3D}"/>
              </a:ext>
            </a:extLst>
          </p:cNvPr>
          <p:cNvPicPr>
            <a:picLocks noChangeAspect="1"/>
          </p:cNvPicPr>
          <p:nvPr/>
        </p:nvPicPr>
        <p:blipFill>
          <a:blip r:embed="rId1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5"/>
              </a:ext>
            </a:extLst>
          </a:blip>
          <a:stretch>
            <a:fillRect/>
          </a:stretch>
        </p:blipFill>
        <p:spPr>
          <a:xfrm>
            <a:off x="4618237" y="1691233"/>
            <a:ext cx="457200" cy="457200"/>
          </a:xfrm>
          <a:prstGeom prst="rect">
            <a:avLst/>
          </a:prstGeom>
        </p:spPr>
      </p:pic>
      <p:pic>
        <p:nvPicPr>
          <p:cNvPr id="122" name="Graphic 121">
            <a:extLst>
              <a:ext uri="{FF2B5EF4-FFF2-40B4-BE49-F238E27FC236}">
                <a16:creationId xmlns:a16="http://schemas.microsoft.com/office/drawing/2014/main" id="{D4514AA5-192C-46C6-9649-206FC671BB5C}"/>
              </a:ext>
            </a:extLst>
          </p:cNvPr>
          <p:cNvPicPr>
            <a:picLocks noChangeAspect="1"/>
          </p:cNvPicPr>
          <p:nvPr/>
        </p:nvPicPr>
        <p:blipFill>
          <a:blip r:embed="rId1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7"/>
              </a:ext>
            </a:extLst>
          </a:blip>
          <a:stretch>
            <a:fillRect/>
          </a:stretch>
        </p:blipFill>
        <p:spPr>
          <a:xfrm>
            <a:off x="8451319" y="1691233"/>
            <a:ext cx="457200" cy="457200"/>
          </a:xfrm>
          <a:prstGeom prst="rect">
            <a:avLst/>
          </a:prstGeom>
        </p:spPr>
      </p:pic>
      <p:pic>
        <p:nvPicPr>
          <p:cNvPr id="123" name="Graphic 122">
            <a:extLst>
              <a:ext uri="{FF2B5EF4-FFF2-40B4-BE49-F238E27FC236}">
                <a16:creationId xmlns:a16="http://schemas.microsoft.com/office/drawing/2014/main" id="{0E4E80E8-E6E6-471E-8911-A19E8D3973A1}"/>
              </a:ext>
            </a:extLst>
          </p:cNvPr>
          <p:cNvPicPr>
            <a:picLocks noChangeAspect="1"/>
          </p:cNvPicPr>
          <p:nvPr/>
        </p:nvPicPr>
        <p:blipFill>
          <a:blip r:embed="rId1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9"/>
              </a:ext>
            </a:extLst>
          </a:blip>
          <a:stretch>
            <a:fillRect/>
          </a:stretch>
        </p:blipFill>
        <p:spPr>
          <a:xfrm>
            <a:off x="7903741" y="1691233"/>
            <a:ext cx="457200" cy="457200"/>
          </a:xfrm>
          <a:prstGeom prst="rect">
            <a:avLst/>
          </a:prstGeom>
        </p:spPr>
      </p:pic>
      <p:pic>
        <p:nvPicPr>
          <p:cNvPr id="124" name="Graphic 123">
            <a:extLst>
              <a:ext uri="{FF2B5EF4-FFF2-40B4-BE49-F238E27FC236}">
                <a16:creationId xmlns:a16="http://schemas.microsoft.com/office/drawing/2014/main" id="{BC488177-BD3B-4469-B6D2-539258589186}"/>
              </a:ext>
            </a:extLst>
          </p:cNvPr>
          <p:cNvPicPr>
            <a:picLocks noChangeAspect="1"/>
          </p:cNvPicPr>
          <p:nvPr/>
        </p:nvPicPr>
        <p:blipFill>
          <a:blip r:embed="rId1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1"/>
              </a:ext>
            </a:extLst>
          </a:blip>
          <a:stretch>
            <a:fillRect/>
          </a:stretch>
        </p:blipFill>
        <p:spPr>
          <a:xfrm>
            <a:off x="7356157" y="1691233"/>
            <a:ext cx="457200" cy="457200"/>
          </a:xfrm>
          <a:prstGeom prst="rect">
            <a:avLst/>
          </a:prstGeom>
        </p:spPr>
      </p:pic>
      <p:pic>
        <p:nvPicPr>
          <p:cNvPr id="125" name="Graphic 124">
            <a:extLst>
              <a:ext uri="{FF2B5EF4-FFF2-40B4-BE49-F238E27FC236}">
                <a16:creationId xmlns:a16="http://schemas.microsoft.com/office/drawing/2014/main" id="{10EFB1F7-D20E-4F8E-9E1C-E6733B31544D}"/>
              </a:ext>
            </a:extLst>
          </p:cNvPr>
          <p:cNvPicPr>
            <a:picLocks noChangeAspect="1"/>
          </p:cNvPicPr>
          <p:nvPr/>
        </p:nvPicPr>
        <p:blipFill>
          <a:blip r:embed="rId1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3"/>
              </a:ext>
            </a:extLst>
          </a:blip>
          <a:stretch>
            <a:fillRect/>
          </a:stretch>
        </p:blipFill>
        <p:spPr>
          <a:xfrm>
            <a:off x="6808573" y="1691233"/>
            <a:ext cx="457200" cy="4572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8FC6911B-DB80-41C8-BAF6-818D6D3873EE}"/>
              </a:ext>
            </a:extLst>
          </p:cNvPr>
          <p:cNvPicPr>
            <a:picLocks noChangeAspect="1"/>
          </p:cNvPicPr>
          <p:nvPr/>
        </p:nvPicPr>
        <p:blipFill>
          <a:blip r:embed="rId1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5"/>
              </a:ext>
            </a:extLst>
          </a:blip>
          <a:stretch>
            <a:fillRect/>
          </a:stretch>
        </p:blipFill>
        <p:spPr>
          <a:xfrm>
            <a:off x="246530" y="1136335"/>
            <a:ext cx="457200" cy="4572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4764CBB0-3D6A-471B-A868-8EF36CDF264F}"/>
              </a:ext>
            </a:extLst>
          </p:cNvPr>
          <p:cNvPicPr>
            <a:picLocks noChangeAspect="1"/>
          </p:cNvPicPr>
          <p:nvPr/>
        </p:nvPicPr>
        <p:blipFill>
          <a:blip r:embed="rId1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7"/>
              </a:ext>
            </a:extLst>
          </a:blip>
          <a:stretch>
            <a:fillRect/>
          </a:stretch>
        </p:blipFill>
        <p:spPr>
          <a:xfrm>
            <a:off x="1888565" y="1136335"/>
            <a:ext cx="457200" cy="457200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B9610C84-021D-43FD-8620-03F4CFBFC3BD}"/>
              </a:ext>
            </a:extLst>
          </p:cNvPr>
          <p:cNvPicPr>
            <a:picLocks noChangeAspect="1"/>
          </p:cNvPicPr>
          <p:nvPr/>
        </p:nvPicPr>
        <p:blipFill>
          <a:blip r:embed="rId1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9"/>
              </a:ext>
            </a:extLst>
          </a:blip>
          <a:stretch>
            <a:fillRect/>
          </a:stretch>
        </p:blipFill>
        <p:spPr>
          <a:xfrm>
            <a:off x="1341220" y="1136335"/>
            <a:ext cx="457200" cy="457200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340D119E-3634-4F6A-AD95-6ECB1F870957}"/>
              </a:ext>
            </a:extLst>
          </p:cNvPr>
          <p:cNvPicPr>
            <a:picLocks noChangeAspect="1"/>
          </p:cNvPicPr>
          <p:nvPr/>
        </p:nvPicPr>
        <p:blipFill>
          <a:blip r:embed="rId2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1"/>
              </a:ext>
            </a:extLst>
          </a:blip>
          <a:stretch>
            <a:fillRect/>
          </a:stretch>
        </p:blipFill>
        <p:spPr>
          <a:xfrm>
            <a:off x="793875" y="1136335"/>
            <a:ext cx="457200" cy="4572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0DBB50F9-6FEB-40B5-A560-E3FD63208598}"/>
              </a:ext>
            </a:extLst>
          </p:cNvPr>
          <p:cNvPicPr>
            <a:picLocks noChangeAspect="1"/>
          </p:cNvPicPr>
          <p:nvPr/>
        </p:nvPicPr>
        <p:blipFill>
          <a:blip r:embed="rId2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3"/>
              </a:ext>
            </a:extLst>
          </a:blip>
          <a:stretch>
            <a:fillRect/>
          </a:stretch>
        </p:blipFill>
        <p:spPr>
          <a:xfrm>
            <a:off x="2435910" y="1136335"/>
            <a:ext cx="457200" cy="45720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49FB5F30-0F5D-41E0-93E5-2C7F723D6E45}"/>
              </a:ext>
            </a:extLst>
          </p:cNvPr>
          <p:cNvPicPr>
            <a:picLocks noChangeAspect="1"/>
          </p:cNvPicPr>
          <p:nvPr/>
        </p:nvPicPr>
        <p:blipFill>
          <a:blip r:embed="rId2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5"/>
              </a:ext>
            </a:extLst>
          </a:blip>
          <a:stretch>
            <a:fillRect/>
          </a:stretch>
        </p:blipFill>
        <p:spPr>
          <a:xfrm>
            <a:off x="4077945" y="1136335"/>
            <a:ext cx="457200" cy="457200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A74B0D0D-D09A-45E4-8F14-17032E1F0DCC}"/>
              </a:ext>
            </a:extLst>
          </p:cNvPr>
          <p:cNvPicPr>
            <a:picLocks noChangeAspect="1"/>
          </p:cNvPicPr>
          <p:nvPr/>
        </p:nvPicPr>
        <p:blipFill>
          <a:blip r:embed="rId2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7"/>
              </a:ext>
            </a:extLst>
          </a:blip>
          <a:stretch>
            <a:fillRect/>
          </a:stretch>
        </p:blipFill>
        <p:spPr>
          <a:xfrm>
            <a:off x="3530600" y="1136335"/>
            <a:ext cx="457200" cy="457200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EE0B3EA9-9C48-4D0E-B4BF-DA331165675E}"/>
              </a:ext>
            </a:extLst>
          </p:cNvPr>
          <p:cNvPicPr>
            <a:picLocks noChangeAspect="1"/>
          </p:cNvPicPr>
          <p:nvPr/>
        </p:nvPicPr>
        <p:blipFill>
          <a:blip r:embed="rId2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9"/>
              </a:ext>
            </a:extLst>
          </a:blip>
          <a:stretch>
            <a:fillRect/>
          </a:stretch>
        </p:blipFill>
        <p:spPr>
          <a:xfrm>
            <a:off x="2983255" y="1136335"/>
            <a:ext cx="457200" cy="457200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3CCB804D-2D37-4A0E-A6D7-78D9E889054E}"/>
              </a:ext>
            </a:extLst>
          </p:cNvPr>
          <p:cNvPicPr>
            <a:picLocks noChangeAspect="1"/>
          </p:cNvPicPr>
          <p:nvPr/>
        </p:nvPicPr>
        <p:blipFill>
          <a:blip r:embed="rId2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1"/>
              </a:ext>
            </a:extLst>
          </a:blip>
          <a:stretch>
            <a:fillRect/>
          </a:stretch>
        </p:blipFill>
        <p:spPr>
          <a:xfrm>
            <a:off x="4625290" y="1136335"/>
            <a:ext cx="457200" cy="457200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12E33EE9-75DC-4324-8552-3450AD7E8866}"/>
              </a:ext>
            </a:extLst>
          </p:cNvPr>
          <p:cNvPicPr>
            <a:picLocks noChangeAspect="1"/>
          </p:cNvPicPr>
          <p:nvPr/>
        </p:nvPicPr>
        <p:blipFill>
          <a:blip r:embed="rId2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3"/>
              </a:ext>
            </a:extLst>
          </a:blip>
          <a:stretch>
            <a:fillRect/>
          </a:stretch>
        </p:blipFill>
        <p:spPr>
          <a:xfrm>
            <a:off x="6267325" y="1136335"/>
            <a:ext cx="457200" cy="457200"/>
          </a:xfrm>
          <a:prstGeom prst="rect">
            <a:avLst/>
          </a:prstGeom>
        </p:spPr>
      </p:pic>
      <p:pic>
        <p:nvPicPr>
          <p:cNvPr id="99" name="Graphic 98">
            <a:extLst>
              <a:ext uri="{FF2B5EF4-FFF2-40B4-BE49-F238E27FC236}">
                <a16:creationId xmlns:a16="http://schemas.microsoft.com/office/drawing/2014/main" id="{FB4626AA-F99B-45EC-A90D-1C2678A657C8}"/>
              </a:ext>
            </a:extLst>
          </p:cNvPr>
          <p:cNvPicPr>
            <a:picLocks noChangeAspect="1"/>
          </p:cNvPicPr>
          <p:nvPr/>
        </p:nvPicPr>
        <p:blipFill>
          <a:blip r:embed="rId2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5"/>
              </a:ext>
            </a:extLst>
          </a:blip>
          <a:stretch>
            <a:fillRect/>
          </a:stretch>
        </p:blipFill>
        <p:spPr>
          <a:xfrm>
            <a:off x="5719980" y="1136335"/>
            <a:ext cx="457200" cy="457200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0ECD0599-A77C-4F6A-8C0B-51338E5DFBEA}"/>
              </a:ext>
            </a:extLst>
          </p:cNvPr>
          <p:cNvPicPr>
            <a:picLocks noChangeAspect="1"/>
          </p:cNvPicPr>
          <p:nvPr/>
        </p:nvPicPr>
        <p:blipFill>
          <a:blip r:embed="rId2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7"/>
              </a:ext>
            </a:extLst>
          </a:blip>
          <a:stretch>
            <a:fillRect/>
          </a:stretch>
        </p:blipFill>
        <p:spPr>
          <a:xfrm>
            <a:off x="5172635" y="1136335"/>
            <a:ext cx="457200" cy="457200"/>
          </a:xfrm>
          <a:prstGeom prst="rect">
            <a:avLst/>
          </a:prstGeom>
        </p:spPr>
      </p:pic>
      <p:pic>
        <p:nvPicPr>
          <p:cNvPr id="101" name="Graphic 100">
            <a:extLst>
              <a:ext uri="{FF2B5EF4-FFF2-40B4-BE49-F238E27FC236}">
                <a16:creationId xmlns:a16="http://schemas.microsoft.com/office/drawing/2014/main" id="{797F4763-95E4-4043-B70D-1E348AE96772}"/>
              </a:ext>
            </a:extLst>
          </p:cNvPr>
          <p:cNvPicPr>
            <a:picLocks noChangeAspect="1"/>
          </p:cNvPicPr>
          <p:nvPr/>
        </p:nvPicPr>
        <p:blipFill>
          <a:blip r:embed="rId2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9"/>
              </a:ext>
            </a:extLst>
          </a:blip>
          <a:stretch>
            <a:fillRect/>
          </a:stretch>
        </p:blipFill>
        <p:spPr>
          <a:xfrm>
            <a:off x="6814670" y="1136335"/>
            <a:ext cx="457200" cy="457200"/>
          </a:xfrm>
          <a:prstGeom prst="rect">
            <a:avLst/>
          </a:prstGeom>
        </p:spPr>
      </p:pic>
      <p:pic>
        <p:nvPicPr>
          <p:cNvPr id="126" name="Graphic 125">
            <a:extLst>
              <a:ext uri="{FF2B5EF4-FFF2-40B4-BE49-F238E27FC236}">
                <a16:creationId xmlns:a16="http://schemas.microsoft.com/office/drawing/2014/main" id="{30977F56-B303-4844-B509-E06110DFAB7C}"/>
              </a:ext>
            </a:extLst>
          </p:cNvPr>
          <p:cNvPicPr>
            <a:picLocks noChangeAspect="1"/>
          </p:cNvPicPr>
          <p:nvPr/>
        </p:nvPicPr>
        <p:blipFill>
          <a:blip r:embed="rId2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1"/>
              </a:ext>
            </a:extLst>
          </a:blip>
          <a:stretch>
            <a:fillRect/>
          </a:stretch>
        </p:blipFill>
        <p:spPr>
          <a:xfrm>
            <a:off x="8456710" y="1136335"/>
            <a:ext cx="457200" cy="457200"/>
          </a:xfrm>
          <a:prstGeom prst="rect">
            <a:avLst/>
          </a:prstGeom>
        </p:spPr>
      </p:pic>
      <p:pic>
        <p:nvPicPr>
          <p:cNvPr id="127" name="Graphic 126">
            <a:extLst>
              <a:ext uri="{FF2B5EF4-FFF2-40B4-BE49-F238E27FC236}">
                <a16:creationId xmlns:a16="http://schemas.microsoft.com/office/drawing/2014/main" id="{292D56D1-D33E-4007-9340-FDCE56401FA4}"/>
              </a:ext>
            </a:extLst>
          </p:cNvPr>
          <p:cNvPicPr>
            <a:picLocks noChangeAspect="1"/>
          </p:cNvPicPr>
          <p:nvPr/>
        </p:nvPicPr>
        <p:blipFill>
          <a:blip r:embed="rId2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3"/>
              </a:ext>
            </a:extLst>
          </a:blip>
          <a:stretch>
            <a:fillRect/>
          </a:stretch>
        </p:blipFill>
        <p:spPr>
          <a:xfrm>
            <a:off x="7909360" y="1136335"/>
            <a:ext cx="457200" cy="457200"/>
          </a:xfrm>
          <a:prstGeom prst="rect">
            <a:avLst/>
          </a:prstGeom>
        </p:spPr>
      </p:pic>
      <p:pic>
        <p:nvPicPr>
          <p:cNvPr id="128" name="Graphic 127">
            <a:extLst>
              <a:ext uri="{FF2B5EF4-FFF2-40B4-BE49-F238E27FC236}">
                <a16:creationId xmlns:a16="http://schemas.microsoft.com/office/drawing/2014/main" id="{04C80D5E-5CB8-4EEB-822B-D760A4BD9FCE}"/>
              </a:ext>
            </a:extLst>
          </p:cNvPr>
          <p:cNvPicPr>
            <a:picLocks noChangeAspect="1"/>
          </p:cNvPicPr>
          <p:nvPr/>
        </p:nvPicPr>
        <p:blipFill>
          <a:blip r:embed="rId2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5"/>
              </a:ext>
            </a:extLst>
          </a:blip>
          <a:stretch>
            <a:fillRect/>
          </a:stretch>
        </p:blipFill>
        <p:spPr>
          <a:xfrm>
            <a:off x="7362015" y="1136335"/>
            <a:ext cx="457200" cy="4572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A31102-67A6-DF44-97AA-69B12AB8A4D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2295DE-DB79-214A-B544-43963BD55E3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82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F26999-5C47-994F-8F9D-9AD7656E3F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a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3356449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 128">
            <a:extLst>
              <a:ext uri="{FF2B5EF4-FFF2-40B4-BE49-F238E27FC236}">
                <a16:creationId xmlns:a16="http://schemas.microsoft.com/office/drawing/2014/main" id="{A249F7CD-6577-1D4F-9435-FEC377C504E5}"/>
              </a:ext>
            </a:extLst>
          </p:cNvPr>
          <p:cNvSpPr/>
          <p:nvPr/>
        </p:nvSpPr>
        <p:spPr>
          <a:xfrm>
            <a:off x="6779796" y="971550"/>
            <a:ext cx="2364203" cy="41465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EA571C3-7C05-4D5B-875B-E5C54B602B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81523" y="4475343"/>
            <a:ext cx="457200" cy="4572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5B661116-2C86-4602-80D0-B89D8317F6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33537" y="4475343"/>
            <a:ext cx="457200" cy="4572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E5D6592A-2D75-435D-83B5-9034052E53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5551" y="4475343"/>
            <a:ext cx="457200" cy="4572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A565B742-573B-4417-8565-68976DB048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7565" y="4475343"/>
            <a:ext cx="457200" cy="4572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66AF1D59-0F23-4CBB-9C92-A95634716D9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73467" y="4475343"/>
            <a:ext cx="457200" cy="4572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F7162323-C7BA-4711-B038-9E0940B7FE0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25481" y="4475343"/>
            <a:ext cx="457200" cy="4572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264DAF42-5204-4D5E-AEDF-141573C6E51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77495" y="4475343"/>
            <a:ext cx="457200" cy="45720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BF36FA6B-8D07-424D-AA07-061954DC955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429509" y="4475343"/>
            <a:ext cx="457200" cy="457200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97106BAE-FB71-4756-8BD3-6EE19E66C2E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265411" y="4475343"/>
            <a:ext cx="457200" cy="457200"/>
          </a:xfrm>
          <a:prstGeom prst="rect">
            <a:avLst/>
          </a:prstGeom>
        </p:spPr>
      </p:pic>
      <p:pic>
        <p:nvPicPr>
          <p:cNvPr id="75" name="Graphic 74">
            <a:extLst>
              <a:ext uri="{FF2B5EF4-FFF2-40B4-BE49-F238E27FC236}">
                <a16:creationId xmlns:a16="http://schemas.microsoft.com/office/drawing/2014/main" id="{9702D1D5-C837-4783-90AC-656C885CF0B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717425" y="4475343"/>
            <a:ext cx="457200" cy="457200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B9E7FD77-9BAC-4580-A59F-6567CD862FB0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169439" y="4475343"/>
            <a:ext cx="457200" cy="457200"/>
          </a:xfrm>
          <a:prstGeom prst="rect">
            <a:avLst/>
          </a:pr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89015E15-31EA-418C-9722-8C2310694F4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621453" y="4475343"/>
            <a:ext cx="457200" cy="457200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6CDBDCF4-5BB9-45B5-835C-2DD3BFA90CA2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457354" y="4475343"/>
            <a:ext cx="457200" cy="457200"/>
          </a:xfrm>
          <a:prstGeom prst="rect">
            <a:avLst/>
          </a:prstGeom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CCF87284-C504-4777-809C-1C70254AE4FD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909369" y="4475343"/>
            <a:ext cx="457200" cy="457200"/>
          </a:xfrm>
          <a:prstGeom prst="rect">
            <a:avLst/>
          </a:prstGeom>
        </p:spPr>
      </p:pic>
      <p:pic>
        <p:nvPicPr>
          <p:cNvPr id="104" name="Graphic 103">
            <a:extLst>
              <a:ext uri="{FF2B5EF4-FFF2-40B4-BE49-F238E27FC236}">
                <a16:creationId xmlns:a16="http://schemas.microsoft.com/office/drawing/2014/main" id="{4B2C538C-3017-4A7E-A86C-67B0EA4350DE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7361383" y="4475343"/>
            <a:ext cx="457200" cy="457200"/>
          </a:xfrm>
          <a:prstGeom prst="rect">
            <a:avLst/>
          </a:prstGeom>
        </p:spPr>
      </p:pic>
      <p:pic>
        <p:nvPicPr>
          <p:cNvPr id="105" name="Graphic 104">
            <a:extLst>
              <a:ext uri="{FF2B5EF4-FFF2-40B4-BE49-F238E27FC236}">
                <a16:creationId xmlns:a16="http://schemas.microsoft.com/office/drawing/2014/main" id="{463F3793-8156-4FAB-8CB1-104DFB66B5FA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6813397" y="4475343"/>
            <a:ext cx="457200" cy="4572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EBD0D6E7-1966-4666-9965-7A9C1E819BEA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893195" y="3917927"/>
            <a:ext cx="457200" cy="4572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D231D53E-6687-4CAE-A00E-8ADB9775BE38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1346182" y="3917927"/>
            <a:ext cx="457200" cy="4572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D9CF74CE-BCC2-43D2-992A-EACCF8FE2721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799169" y="3917927"/>
            <a:ext cx="457200" cy="4572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CAEFD34B-5155-4174-B8F0-A4B37BAB527A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252156" y="3917927"/>
            <a:ext cx="457200" cy="45720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1806539B-0541-48B1-B026-5B10172B5EEE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081247" y="3917927"/>
            <a:ext cx="457200" cy="457200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52EAC011-3777-4368-8899-D198D34A563B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534234" y="3917927"/>
            <a:ext cx="457200" cy="4572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14E16AE4-89FC-4219-8E9F-26173E001984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2987221" y="3917927"/>
            <a:ext cx="457200" cy="4572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F08AEA4B-78BC-4E7E-8EBA-0A62D9B1C50D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2440208" y="3917927"/>
            <a:ext cx="457200" cy="457200"/>
          </a:xfrm>
          <a:prstGeom prst="rect">
            <a:avLst/>
          </a:prstGeom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DC1B6B2A-8AB6-42A0-AE49-79C1427C8694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269299" y="3917927"/>
            <a:ext cx="457200" cy="457200"/>
          </a:xfrm>
          <a:prstGeom prst="rect">
            <a:avLst/>
          </a:prstGeom>
        </p:spPr>
      </p:pic>
      <p:pic>
        <p:nvPicPr>
          <p:cNvPr id="79" name="Graphic 78">
            <a:extLst>
              <a:ext uri="{FF2B5EF4-FFF2-40B4-BE49-F238E27FC236}">
                <a16:creationId xmlns:a16="http://schemas.microsoft.com/office/drawing/2014/main" id="{C0C64D53-05AC-4D89-A45B-9D350BF9CD32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5722286" y="3917927"/>
            <a:ext cx="457200" cy="457200"/>
          </a:xfrm>
          <a:prstGeom prst="rect">
            <a:avLst/>
          </a:prstGeom>
        </p:spPr>
      </p:pic>
      <p:pic>
        <p:nvPicPr>
          <p:cNvPr id="80" name="Graphic 79">
            <a:extLst>
              <a:ext uri="{FF2B5EF4-FFF2-40B4-BE49-F238E27FC236}">
                <a16:creationId xmlns:a16="http://schemas.microsoft.com/office/drawing/2014/main" id="{425405E1-9149-49CC-9997-186B5AA189C4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5175273" y="3917927"/>
            <a:ext cx="457200" cy="457200"/>
          </a:xfrm>
          <a:prstGeom prst="rect">
            <a:avLst/>
          </a:prstGeom>
        </p:spPr>
      </p:pic>
      <p:pic>
        <p:nvPicPr>
          <p:cNvPr id="81" name="Graphic 80">
            <a:extLst>
              <a:ext uri="{FF2B5EF4-FFF2-40B4-BE49-F238E27FC236}">
                <a16:creationId xmlns:a16="http://schemas.microsoft.com/office/drawing/2014/main" id="{EB7B2A64-E5C0-4CA2-9D90-3777B8485EA8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4628260" y="3917927"/>
            <a:ext cx="457200" cy="457200"/>
          </a:xfrm>
          <a:prstGeom prst="rect">
            <a:avLst/>
          </a:prstGeom>
        </p:spPr>
      </p:pic>
      <p:pic>
        <p:nvPicPr>
          <p:cNvPr id="106" name="Graphic 105">
            <a:extLst>
              <a:ext uri="{FF2B5EF4-FFF2-40B4-BE49-F238E27FC236}">
                <a16:creationId xmlns:a16="http://schemas.microsoft.com/office/drawing/2014/main" id="{64CA84ED-F829-48E9-8533-710202C0633F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8457354" y="3917927"/>
            <a:ext cx="457200" cy="457200"/>
          </a:xfrm>
          <a:prstGeom prst="rect">
            <a:avLst/>
          </a:prstGeom>
        </p:spPr>
      </p:pic>
      <p:pic>
        <p:nvPicPr>
          <p:cNvPr id="107" name="Graphic 106">
            <a:extLst>
              <a:ext uri="{FF2B5EF4-FFF2-40B4-BE49-F238E27FC236}">
                <a16:creationId xmlns:a16="http://schemas.microsoft.com/office/drawing/2014/main" id="{C26C6FFE-AE11-436B-BA30-D5C1FE92FD59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7910338" y="3917927"/>
            <a:ext cx="457200" cy="457200"/>
          </a:xfrm>
          <a:prstGeom prst="rect">
            <a:avLst/>
          </a:prstGeom>
        </p:spPr>
      </p:pic>
      <p:pic>
        <p:nvPicPr>
          <p:cNvPr id="108" name="Graphic 107">
            <a:extLst>
              <a:ext uri="{FF2B5EF4-FFF2-40B4-BE49-F238E27FC236}">
                <a16:creationId xmlns:a16="http://schemas.microsoft.com/office/drawing/2014/main" id="{38430232-6BEE-405C-B69F-6DDA91D78DC2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363325" y="3917927"/>
            <a:ext cx="457200" cy="457200"/>
          </a:xfrm>
          <a:prstGeom prst="rect">
            <a:avLst/>
          </a:prstGeom>
        </p:spPr>
      </p:pic>
      <p:pic>
        <p:nvPicPr>
          <p:cNvPr id="109" name="Graphic 108">
            <a:extLst>
              <a:ext uri="{FF2B5EF4-FFF2-40B4-BE49-F238E27FC236}">
                <a16:creationId xmlns:a16="http://schemas.microsoft.com/office/drawing/2014/main" id="{B383D69A-A48C-453A-A6A3-48B33C1D23AA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6816312" y="3917927"/>
            <a:ext cx="457200" cy="45720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FEDFF953-3F24-433A-B173-A447D7217743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850165" y="3360513"/>
            <a:ext cx="457200" cy="4572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49D91502-972A-4654-BF60-0C7D31939798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299566" y="3360513"/>
            <a:ext cx="457200" cy="45720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03C3988C-C0D8-44F9-8711-D70925A99433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48967" y="3360513"/>
            <a:ext cx="457200" cy="4572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74AB6F35-D0D4-4293-AB2E-C8D2C9308660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198368" y="3360513"/>
            <a:ext cx="457200" cy="4572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C711ADC9-DCC7-4F39-A020-B065C7A89600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4052561" y="3360513"/>
            <a:ext cx="457200" cy="457200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C685D964-8495-4B99-8E10-48FC60812989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3501962" y="3360513"/>
            <a:ext cx="457200" cy="457200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3C689C5E-1AEC-4B49-997A-03F8C5FB4124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9"/>
              </a:ext>
            </a:extLst>
          </a:blip>
          <a:stretch>
            <a:fillRect/>
          </a:stretch>
        </p:blipFill>
        <p:spPr>
          <a:xfrm>
            <a:off x="2951363" y="3360513"/>
            <a:ext cx="457200" cy="457200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86D15314-822C-4611-B2A1-40E390905C73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1"/>
              </a:ext>
            </a:extLst>
          </a:blip>
          <a:stretch>
            <a:fillRect/>
          </a:stretch>
        </p:blipFill>
        <p:spPr>
          <a:xfrm>
            <a:off x="2400764" y="3360513"/>
            <a:ext cx="457200" cy="457200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AF02E499-E670-4E3B-B43A-9252D101E3CB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3"/>
              </a:ext>
            </a:extLst>
          </a:blip>
          <a:stretch>
            <a:fillRect/>
          </a:stretch>
        </p:blipFill>
        <p:spPr>
          <a:xfrm>
            <a:off x="6254957" y="3360513"/>
            <a:ext cx="457200" cy="457200"/>
          </a:xfrm>
          <a:prstGeom prst="rect">
            <a:avLst/>
          </a:prstGeom>
        </p:spPr>
      </p:pic>
      <p:pic>
        <p:nvPicPr>
          <p:cNvPr id="83" name="Graphic 82">
            <a:extLst>
              <a:ext uri="{FF2B5EF4-FFF2-40B4-BE49-F238E27FC236}">
                <a16:creationId xmlns:a16="http://schemas.microsoft.com/office/drawing/2014/main" id="{34F1F3B9-6636-4BCB-8A19-2122CFE7ACD7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5"/>
              </a:ext>
            </a:extLst>
          </a:blip>
          <a:stretch>
            <a:fillRect/>
          </a:stretch>
        </p:blipFill>
        <p:spPr>
          <a:xfrm>
            <a:off x="5704358" y="3360513"/>
            <a:ext cx="457200" cy="457200"/>
          </a:xfrm>
          <a:prstGeom prst="rect">
            <a:avLst/>
          </a:prstGeom>
        </p:spPr>
      </p:pic>
      <p:pic>
        <p:nvPicPr>
          <p:cNvPr id="84" name="Graphic 83">
            <a:extLst>
              <a:ext uri="{FF2B5EF4-FFF2-40B4-BE49-F238E27FC236}">
                <a16:creationId xmlns:a16="http://schemas.microsoft.com/office/drawing/2014/main" id="{04601FC2-6405-4D26-8FC2-10BA36F90FEF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7"/>
              </a:ext>
            </a:extLst>
          </a:blip>
          <a:stretch>
            <a:fillRect/>
          </a:stretch>
        </p:blipFill>
        <p:spPr>
          <a:xfrm>
            <a:off x="5153759" y="3360513"/>
            <a:ext cx="457200" cy="4572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A08D05BB-6D44-43CC-B923-07589013CB3B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9"/>
              </a:ext>
            </a:extLst>
          </a:blip>
          <a:stretch>
            <a:fillRect/>
          </a:stretch>
        </p:blipFill>
        <p:spPr>
          <a:xfrm>
            <a:off x="4603160" y="3360513"/>
            <a:ext cx="457200" cy="457200"/>
          </a:xfrm>
          <a:prstGeom prst="rect">
            <a:avLst/>
          </a:prstGeom>
        </p:spPr>
      </p:pic>
      <p:pic>
        <p:nvPicPr>
          <p:cNvPr id="110" name="Graphic 109">
            <a:extLst>
              <a:ext uri="{FF2B5EF4-FFF2-40B4-BE49-F238E27FC236}">
                <a16:creationId xmlns:a16="http://schemas.microsoft.com/office/drawing/2014/main" id="{C177778D-903F-44E4-A55D-EDE8FD091240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1"/>
              </a:ext>
            </a:extLst>
          </a:blip>
          <a:stretch>
            <a:fillRect/>
          </a:stretch>
        </p:blipFill>
        <p:spPr>
          <a:xfrm>
            <a:off x="8457354" y="3360513"/>
            <a:ext cx="457200" cy="457200"/>
          </a:xfrm>
          <a:prstGeom prst="rect">
            <a:avLst/>
          </a:prstGeom>
        </p:spPr>
      </p:pic>
      <p:pic>
        <p:nvPicPr>
          <p:cNvPr id="111" name="Graphic 110">
            <a:extLst>
              <a:ext uri="{FF2B5EF4-FFF2-40B4-BE49-F238E27FC236}">
                <a16:creationId xmlns:a16="http://schemas.microsoft.com/office/drawing/2014/main" id="{67C80447-894D-43D3-94C6-9876D80B706D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3"/>
              </a:ext>
            </a:extLst>
          </a:blip>
          <a:stretch>
            <a:fillRect/>
          </a:stretch>
        </p:blipFill>
        <p:spPr>
          <a:xfrm>
            <a:off x="7906754" y="3360513"/>
            <a:ext cx="457200" cy="457200"/>
          </a:xfrm>
          <a:prstGeom prst="rect">
            <a:avLst/>
          </a:prstGeom>
        </p:spPr>
      </p:pic>
      <p:pic>
        <p:nvPicPr>
          <p:cNvPr id="112" name="Graphic 111">
            <a:extLst>
              <a:ext uri="{FF2B5EF4-FFF2-40B4-BE49-F238E27FC236}">
                <a16:creationId xmlns:a16="http://schemas.microsoft.com/office/drawing/2014/main" id="{499D427A-0FB1-4C49-B86C-95880E15038C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5"/>
              </a:ext>
            </a:extLst>
          </a:blip>
          <a:stretch>
            <a:fillRect/>
          </a:stretch>
        </p:blipFill>
        <p:spPr>
          <a:xfrm>
            <a:off x="7356155" y="3360513"/>
            <a:ext cx="457200" cy="457200"/>
          </a:xfrm>
          <a:prstGeom prst="rect">
            <a:avLst/>
          </a:prstGeom>
        </p:spPr>
      </p:pic>
      <p:pic>
        <p:nvPicPr>
          <p:cNvPr id="113" name="Graphic 112">
            <a:extLst>
              <a:ext uri="{FF2B5EF4-FFF2-40B4-BE49-F238E27FC236}">
                <a16:creationId xmlns:a16="http://schemas.microsoft.com/office/drawing/2014/main" id="{B2C854B9-8286-4452-9971-AB2F224D4BEF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7"/>
              </a:ext>
            </a:extLst>
          </a:blip>
          <a:stretch>
            <a:fillRect/>
          </a:stretch>
        </p:blipFill>
        <p:spPr>
          <a:xfrm>
            <a:off x="6805556" y="3360513"/>
            <a:ext cx="457200" cy="4572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AB7D2CA5-71CD-419C-9B19-5F5A979F81D1}"/>
              </a:ext>
            </a:extLst>
          </p:cNvPr>
          <p:cNvPicPr>
            <a:picLocks noChangeAspect="1"/>
          </p:cNvPicPr>
          <p:nvPr/>
        </p:nvPicPr>
        <p:blipFill>
          <a:blip r:embed="rId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9"/>
              </a:ext>
            </a:extLst>
          </a:blip>
          <a:stretch>
            <a:fillRect/>
          </a:stretch>
        </p:blipFill>
        <p:spPr>
          <a:xfrm>
            <a:off x="1893195" y="2803099"/>
            <a:ext cx="457200" cy="457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8AF157DC-D0D4-4629-A3CD-92703209C566}"/>
              </a:ext>
            </a:extLst>
          </p:cNvPr>
          <p:cNvPicPr>
            <a:picLocks noChangeAspect="1"/>
          </p:cNvPicPr>
          <p:nvPr/>
        </p:nvPicPr>
        <p:blipFill>
          <a:blip r:embed="rId1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1"/>
              </a:ext>
            </a:extLst>
          </a:blip>
          <a:stretch>
            <a:fillRect/>
          </a:stretch>
        </p:blipFill>
        <p:spPr>
          <a:xfrm>
            <a:off x="1346182" y="2803099"/>
            <a:ext cx="457200" cy="4572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FF42818F-B81F-4CCD-8949-06B02A259082}"/>
              </a:ext>
            </a:extLst>
          </p:cNvPr>
          <p:cNvPicPr>
            <a:picLocks noChangeAspect="1"/>
          </p:cNvPicPr>
          <p:nvPr/>
        </p:nvPicPr>
        <p:blipFill>
          <a:blip r:embed="rId1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3"/>
              </a:ext>
            </a:extLst>
          </a:blip>
          <a:stretch>
            <a:fillRect/>
          </a:stretch>
        </p:blipFill>
        <p:spPr>
          <a:xfrm>
            <a:off x="799169" y="2803099"/>
            <a:ext cx="457200" cy="4572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65269266-B6F8-4986-A658-DAF0BE85946B}"/>
              </a:ext>
            </a:extLst>
          </p:cNvPr>
          <p:cNvPicPr>
            <a:picLocks noChangeAspect="1"/>
          </p:cNvPicPr>
          <p:nvPr/>
        </p:nvPicPr>
        <p:blipFill>
          <a:blip r:embed="rId1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5"/>
              </a:ext>
            </a:extLst>
          </a:blip>
          <a:stretch>
            <a:fillRect/>
          </a:stretch>
        </p:blipFill>
        <p:spPr>
          <a:xfrm>
            <a:off x="252156" y="2803099"/>
            <a:ext cx="457200" cy="457200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0FC46EB1-134A-4BF9-BECD-78E937C8DD7F}"/>
              </a:ext>
            </a:extLst>
          </p:cNvPr>
          <p:cNvPicPr>
            <a:picLocks noChangeAspect="1"/>
          </p:cNvPicPr>
          <p:nvPr/>
        </p:nvPicPr>
        <p:blipFill>
          <a:blip r:embed="rId1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7"/>
              </a:ext>
            </a:extLst>
          </a:blip>
          <a:stretch>
            <a:fillRect/>
          </a:stretch>
        </p:blipFill>
        <p:spPr>
          <a:xfrm>
            <a:off x="4081247" y="2803099"/>
            <a:ext cx="457200" cy="45720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C42F762C-E83D-4DA1-A69B-524E6B7DE313}"/>
              </a:ext>
            </a:extLst>
          </p:cNvPr>
          <p:cNvPicPr>
            <a:picLocks noChangeAspect="1"/>
          </p:cNvPicPr>
          <p:nvPr/>
        </p:nvPicPr>
        <p:blipFill>
          <a:blip r:embed="rId1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9"/>
              </a:ext>
            </a:extLst>
          </a:blip>
          <a:stretch>
            <a:fillRect/>
          </a:stretch>
        </p:blipFill>
        <p:spPr>
          <a:xfrm>
            <a:off x="3534234" y="2803099"/>
            <a:ext cx="457200" cy="45720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621D5568-F585-4D28-8EBB-AF779B07B8E6}"/>
              </a:ext>
            </a:extLst>
          </p:cNvPr>
          <p:cNvPicPr>
            <a:picLocks noChangeAspect="1"/>
          </p:cNvPicPr>
          <p:nvPr/>
        </p:nvPicPr>
        <p:blipFill>
          <a:blip r:embed="rId1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1"/>
              </a:ext>
            </a:extLst>
          </a:blip>
          <a:stretch>
            <a:fillRect/>
          </a:stretch>
        </p:blipFill>
        <p:spPr>
          <a:xfrm>
            <a:off x="2987221" y="2803099"/>
            <a:ext cx="457200" cy="45720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C4E3B2C7-3392-4E68-A729-1AFC18844867}"/>
              </a:ext>
            </a:extLst>
          </p:cNvPr>
          <p:cNvPicPr>
            <a:picLocks noChangeAspect="1"/>
          </p:cNvPicPr>
          <p:nvPr/>
        </p:nvPicPr>
        <p:blipFill>
          <a:blip r:embed="rId1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3"/>
              </a:ext>
            </a:extLst>
          </a:blip>
          <a:stretch>
            <a:fillRect/>
          </a:stretch>
        </p:blipFill>
        <p:spPr>
          <a:xfrm>
            <a:off x="2440208" y="2803099"/>
            <a:ext cx="457200" cy="457200"/>
          </a:xfrm>
          <a:prstGeom prst="rect">
            <a:avLst/>
          </a:prstGeom>
        </p:spPr>
      </p:pic>
      <p:pic>
        <p:nvPicPr>
          <p:cNvPr id="86" name="Graphic 85">
            <a:extLst>
              <a:ext uri="{FF2B5EF4-FFF2-40B4-BE49-F238E27FC236}">
                <a16:creationId xmlns:a16="http://schemas.microsoft.com/office/drawing/2014/main" id="{66802A9B-B45D-4408-A149-48052707B909}"/>
              </a:ext>
            </a:extLst>
          </p:cNvPr>
          <p:cNvPicPr>
            <a:picLocks noChangeAspect="1"/>
          </p:cNvPicPr>
          <p:nvPr/>
        </p:nvPicPr>
        <p:blipFill>
          <a:blip r:embed="rId1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5"/>
              </a:ext>
            </a:extLst>
          </a:blip>
          <a:stretch>
            <a:fillRect/>
          </a:stretch>
        </p:blipFill>
        <p:spPr>
          <a:xfrm>
            <a:off x="6269299" y="2803099"/>
            <a:ext cx="457200" cy="457200"/>
          </a:xfrm>
          <a:prstGeom prst="rect">
            <a:avLst/>
          </a:prstGeom>
        </p:spPr>
      </p:pic>
      <p:pic>
        <p:nvPicPr>
          <p:cNvPr id="87" name="Graphic 86">
            <a:extLst>
              <a:ext uri="{FF2B5EF4-FFF2-40B4-BE49-F238E27FC236}">
                <a16:creationId xmlns:a16="http://schemas.microsoft.com/office/drawing/2014/main" id="{A7937F8A-8724-49AB-9387-0F736E916291}"/>
              </a:ext>
            </a:extLst>
          </p:cNvPr>
          <p:cNvPicPr>
            <a:picLocks noChangeAspect="1"/>
          </p:cNvPicPr>
          <p:nvPr/>
        </p:nvPicPr>
        <p:blipFill>
          <a:blip r:embed="rId1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7"/>
              </a:ext>
            </a:extLst>
          </a:blip>
          <a:stretch>
            <a:fillRect/>
          </a:stretch>
        </p:blipFill>
        <p:spPr>
          <a:xfrm>
            <a:off x="5722286" y="2803099"/>
            <a:ext cx="457200" cy="457200"/>
          </a:xfrm>
          <a:prstGeom prst="rect">
            <a:avLst/>
          </a:prstGeom>
        </p:spPr>
      </p:pic>
      <p:pic>
        <p:nvPicPr>
          <p:cNvPr id="88" name="Graphic 87">
            <a:extLst>
              <a:ext uri="{FF2B5EF4-FFF2-40B4-BE49-F238E27FC236}">
                <a16:creationId xmlns:a16="http://schemas.microsoft.com/office/drawing/2014/main" id="{1A35477B-2A32-4357-97E3-139F88CEEBDA}"/>
              </a:ext>
            </a:extLst>
          </p:cNvPr>
          <p:cNvPicPr>
            <a:picLocks noChangeAspect="1"/>
          </p:cNvPicPr>
          <p:nvPr/>
        </p:nvPicPr>
        <p:blipFill>
          <a:blip r:embed="rId1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9"/>
              </a:ext>
            </a:extLst>
          </a:blip>
          <a:stretch>
            <a:fillRect/>
          </a:stretch>
        </p:blipFill>
        <p:spPr>
          <a:xfrm>
            <a:off x="5175273" y="2803099"/>
            <a:ext cx="457200" cy="457200"/>
          </a:xfrm>
          <a:prstGeom prst="rect">
            <a:avLst/>
          </a:prstGeom>
        </p:spPr>
      </p:pic>
      <p:pic>
        <p:nvPicPr>
          <p:cNvPr id="89" name="Graphic 88">
            <a:extLst>
              <a:ext uri="{FF2B5EF4-FFF2-40B4-BE49-F238E27FC236}">
                <a16:creationId xmlns:a16="http://schemas.microsoft.com/office/drawing/2014/main" id="{8475D139-C531-4DB2-9DFC-7222E444EF9D}"/>
              </a:ext>
            </a:extLst>
          </p:cNvPr>
          <p:cNvPicPr>
            <a:picLocks noChangeAspect="1"/>
          </p:cNvPicPr>
          <p:nvPr/>
        </p:nvPicPr>
        <p:blipFill>
          <a:blip r:embed="rId1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1"/>
              </a:ext>
            </a:extLst>
          </a:blip>
          <a:stretch>
            <a:fillRect/>
          </a:stretch>
        </p:blipFill>
        <p:spPr>
          <a:xfrm>
            <a:off x="4628260" y="2803099"/>
            <a:ext cx="457200" cy="457200"/>
          </a:xfrm>
          <a:prstGeom prst="rect">
            <a:avLst/>
          </a:prstGeom>
        </p:spPr>
      </p:pic>
      <p:pic>
        <p:nvPicPr>
          <p:cNvPr id="114" name="Graphic 113">
            <a:extLst>
              <a:ext uri="{FF2B5EF4-FFF2-40B4-BE49-F238E27FC236}">
                <a16:creationId xmlns:a16="http://schemas.microsoft.com/office/drawing/2014/main" id="{2A69D026-ED1D-491A-9EEB-5B482AEA8172}"/>
              </a:ext>
            </a:extLst>
          </p:cNvPr>
          <p:cNvPicPr>
            <a:picLocks noChangeAspect="1"/>
          </p:cNvPicPr>
          <p:nvPr/>
        </p:nvPicPr>
        <p:blipFill>
          <a:blip r:embed="rId1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3"/>
              </a:ext>
            </a:extLst>
          </a:blip>
          <a:stretch>
            <a:fillRect/>
          </a:stretch>
        </p:blipFill>
        <p:spPr>
          <a:xfrm>
            <a:off x="8457354" y="2803099"/>
            <a:ext cx="457200" cy="457200"/>
          </a:xfrm>
          <a:prstGeom prst="rect">
            <a:avLst/>
          </a:prstGeom>
        </p:spPr>
      </p:pic>
      <p:pic>
        <p:nvPicPr>
          <p:cNvPr id="115" name="Graphic 114">
            <a:extLst>
              <a:ext uri="{FF2B5EF4-FFF2-40B4-BE49-F238E27FC236}">
                <a16:creationId xmlns:a16="http://schemas.microsoft.com/office/drawing/2014/main" id="{A9571E7F-8355-471A-A3CC-17252549C8F9}"/>
              </a:ext>
            </a:extLst>
          </p:cNvPr>
          <p:cNvPicPr>
            <a:picLocks noChangeAspect="1"/>
          </p:cNvPicPr>
          <p:nvPr/>
        </p:nvPicPr>
        <p:blipFill>
          <a:blip r:embed="rId1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5"/>
              </a:ext>
            </a:extLst>
          </a:blip>
          <a:stretch>
            <a:fillRect/>
          </a:stretch>
        </p:blipFill>
        <p:spPr>
          <a:xfrm>
            <a:off x="7910338" y="2803099"/>
            <a:ext cx="457200" cy="457200"/>
          </a:xfrm>
          <a:prstGeom prst="rect">
            <a:avLst/>
          </a:prstGeom>
        </p:spPr>
      </p:pic>
      <p:pic>
        <p:nvPicPr>
          <p:cNvPr id="116" name="Graphic 115">
            <a:extLst>
              <a:ext uri="{FF2B5EF4-FFF2-40B4-BE49-F238E27FC236}">
                <a16:creationId xmlns:a16="http://schemas.microsoft.com/office/drawing/2014/main" id="{419FE862-FF43-45E4-86D6-0975DC0E06C7}"/>
              </a:ext>
            </a:extLst>
          </p:cNvPr>
          <p:cNvPicPr>
            <a:picLocks noChangeAspect="1"/>
          </p:cNvPicPr>
          <p:nvPr/>
        </p:nvPicPr>
        <p:blipFill>
          <a:blip r:embed="rId1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7"/>
              </a:ext>
            </a:extLst>
          </a:blip>
          <a:stretch>
            <a:fillRect/>
          </a:stretch>
        </p:blipFill>
        <p:spPr>
          <a:xfrm>
            <a:off x="7363325" y="2803099"/>
            <a:ext cx="457200" cy="457200"/>
          </a:xfrm>
          <a:prstGeom prst="rect">
            <a:avLst/>
          </a:prstGeom>
        </p:spPr>
      </p:pic>
      <p:pic>
        <p:nvPicPr>
          <p:cNvPr id="117" name="Graphic 116">
            <a:extLst>
              <a:ext uri="{FF2B5EF4-FFF2-40B4-BE49-F238E27FC236}">
                <a16:creationId xmlns:a16="http://schemas.microsoft.com/office/drawing/2014/main" id="{B40028B3-6636-4A56-98EA-2EF498E97435}"/>
              </a:ext>
            </a:extLst>
          </p:cNvPr>
          <p:cNvPicPr>
            <a:picLocks noChangeAspect="1"/>
          </p:cNvPicPr>
          <p:nvPr/>
        </p:nvPicPr>
        <p:blipFill>
          <a:blip r:embed="rId1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9"/>
              </a:ext>
            </a:extLst>
          </a:blip>
          <a:stretch>
            <a:fillRect/>
          </a:stretch>
        </p:blipFill>
        <p:spPr>
          <a:xfrm>
            <a:off x="6816312" y="2803099"/>
            <a:ext cx="457200" cy="4572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FA9FC217-EF94-4B0E-A94D-23A61AF78D0D}"/>
              </a:ext>
            </a:extLst>
          </p:cNvPr>
          <p:cNvPicPr>
            <a:picLocks noChangeAspect="1"/>
          </p:cNvPicPr>
          <p:nvPr/>
        </p:nvPicPr>
        <p:blipFill>
          <a:blip r:embed="rId1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1"/>
              </a:ext>
            </a:extLst>
          </a:blip>
          <a:stretch>
            <a:fillRect/>
          </a:stretch>
        </p:blipFill>
        <p:spPr>
          <a:xfrm>
            <a:off x="1893195" y="2245685"/>
            <a:ext cx="457200" cy="45720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C591BA0E-C443-4FBB-9584-228F4F32F828}"/>
              </a:ext>
            </a:extLst>
          </p:cNvPr>
          <p:cNvPicPr>
            <a:picLocks noChangeAspect="1"/>
          </p:cNvPicPr>
          <p:nvPr/>
        </p:nvPicPr>
        <p:blipFill>
          <a:blip r:embed="rId1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3"/>
              </a:ext>
            </a:extLst>
          </a:blip>
          <a:stretch>
            <a:fillRect/>
          </a:stretch>
        </p:blipFill>
        <p:spPr>
          <a:xfrm>
            <a:off x="1346182" y="2245685"/>
            <a:ext cx="457200" cy="4572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77DC0CF0-02CF-4973-8CCD-3CAFB18ED1E7}"/>
              </a:ext>
            </a:extLst>
          </p:cNvPr>
          <p:cNvPicPr>
            <a:picLocks noChangeAspect="1"/>
          </p:cNvPicPr>
          <p:nvPr/>
        </p:nvPicPr>
        <p:blipFill>
          <a:blip r:embed="rId1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5"/>
              </a:ext>
            </a:extLst>
          </a:blip>
          <a:stretch>
            <a:fillRect/>
          </a:stretch>
        </p:blipFill>
        <p:spPr>
          <a:xfrm>
            <a:off x="799169" y="2245685"/>
            <a:ext cx="457200" cy="457200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528B177C-EF36-4874-B837-667BC529DB0F}"/>
              </a:ext>
            </a:extLst>
          </p:cNvPr>
          <p:cNvPicPr>
            <a:picLocks noChangeAspect="1"/>
          </p:cNvPicPr>
          <p:nvPr/>
        </p:nvPicPr>
        <p:blipFill>
          <a:blip r:embed="rId1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7"/>
              </a:ext>
            </a:extLst>
          </a:blip>
          <a:stretch>
            <a:fillRect/>
          </a:stretch>
        </p:blipFill>
        <p:spPr>
          <a:xfrm>
            <a:off x="252156" y="2245685"/>
            <a:ext cx="457200" cy="457200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BBA93E91-39C3-4768-8330-83FFE2986E88}"/>
              </a:ext>
            </a:extLst>
          </p:cNvPr>
          <p:cNvPicPr>
            <a:picLocks noChangeAspect="1"/>
          </p:cNvPicPr>
          <p:nvPr/>
        </p:nvPicPr>
        <p:blipFill>
          <a:blip r:embed="rId1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9"/>
              </a:ext>
            </a:extLst>
          </a:blip>
          <a:stretch>
            <a:fillRect/>
          </a:stretch>
        </p:blipFill>
        <p:spPr>
          <a:xfrm>
            <a:off x="4081247" y="2245685"/>
            <a:ext cx="457200" cy="457200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092682BF-291E-4562-AED2-5AEA46E4B846}"/>
              </a:ext>
            </a:extLst>
          </p:cNvPr>
          <p:cNvPicPr>
            <a:picLocks noChangeAspect="1"/>
          </p:cNvPicPr>
          <p:nvPr/>
        </p:nvPicPr>
        <p:blipFill>
          <a:blip r:embed="rId1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1"/>
              </a:ext>
            </a:extLst>
          </a:blip>
          <a:stretch>
            <a:fillRect/>
          </a:stretch>
        </p:blipFill>
        <p:spPr>
          <a:xfrm>
            <a:off x="3534234" y="2245685"/>
            <a:ext cx="457200" cy="457200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01B28116-BD6F-4595-833D-220D376C1886}"/>
              </a:ext>
            </a:extLst>
          </p:cNvPr>
          <p:cNvPicPr>
            <a:picLocks noChangeAspect="1"/>
          </p:cNvPicPr>
          <p:nvPr/>
        </p:nvPicPr>
        <p:blipFill>
          <a:blip r:embed="rId1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3"/>
              </a:ext>
            </a:extLst>
          </a:blip>
          <a:stretch>
            <a:fillRect/>
          </a:stretch>
        </p:blipFill>
        <p:spPr>
          <a:xfrm>
            <a:off x="2987221" y="2245685"/>
            <a:ext cx="457200" cy="457200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E291C05B-B89A-402B-B2C8-59C12BC329E1}"/>
              </a:ext>
            </a:extLst>
          </p:cNvPr>
          <p:cNvPicPr>
            <a:picLocks noChangeAspect="1"/>
          </p:cNvPicPr>
          <p:nvPr/>
        </p:nvPicPr>
        <p:blipFill>
          <a:blip r:embed="rId1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5"/>
              </a:ext>
            </a:extLst>
          </a:blip>
          <a:stretch>
            <a:fillRect/>
          </a:stretch>
        </p:blipFill>
        <p:spPr>
          <a:xfrm>
            <a:off x="2440208" y="2245685"/>
            <a:ext cx="457200" cy="457200"/>
          </a:xfrm>
          <a:prstGeom prst="rect">
            <a:avLst/>
          </a:prstGeom>
        </p:spPr>
      </p:pic>
      <p:pic>
        <p:nvPicPr>
          <p:cNvPr id="90" name="Graphic 89">
            <a:extLst>
              <a:ext uri="{FF2B5EF4-FFF2-40B4-BE49-F238E27FC236}">
                <a16:creationId xmlns:a16="http://schemas.microsoft.com/office/drawing/2014/main" id="{C054CAE5-2F98-45AA-AB12-8966AB25180D}"/>
              </a:ext>
            </a:extLst>
          </p:cNvPr>
          <p:cNvPicPr>
            <a:picLocks noChangeAspect="1"/>
          </p:cNvPicPr>
          <p:nvPr/>
        </p:nvPicPr>
        <p:blipFill>
          <a:blip r:embed="rId1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7"/>
              </a:ext>
            </a:extLst>
          </a:blip>
          <a:stretch>
            <a:fillRect/>
          </a:stretch>
        </p:blipFill>
        <p:spPr>
          <a:xfrm>
            <a:off x="6269299" y="2245685"/>
            <a:ext cx="457200" cy="457200"/>
          </a:xfrm>
          <a:prstGeom prst="rect">
            <a:avLst/>
          </a:prstGeom>
        </p:spPr>
      </p:pic>
      <p:pic>
        <p:nvPicPr>
          <p:cNvPr id="91" name="Graphic 90">
            <a:extLst>
              <a:ext uri="{FF2B5EF4-FFF2-40B4-BE49-F238E27FC236}">
                <a16:creationId xmlns:a16="http://schemas.microsoft.com/office/drawing/2014/main" id="{164D6D04-7820-46BB-8DF1-FFA84DB9F7F4}"/>
              </a:ext>
            </a:extLst>
          </p:cNvPr>
          <p:cNvPicPr>
            <a:picLocks noChangeAspect="1"/>
          </p:cNvPicPr>
          <p:nvPr/>
        </p:nvPicPr>
        <p:blipFill>
          <a:blip r:embed="rId1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9"/>
              </a:ext>
            </a:extLst>
          </a:blip>
          <a:stretch>
            <a:fillRect/>
          </a:stretch>
        </p:blipFill>
        <p:spPr>
          <a:xfrm>
            <a:off x="5722286" y="2245685"/>
            <a:ext cx="457200" cy="457200"/>
          </a:xfrm>
          <a:prstGeom prst="rect">
            <a:avLst/>
          </a:prstGeom>
        </p:spPr>
      </p:pic>
      <p:pic>
        <p:nvPicPr>
          <p:cNvPr id="92" name="Graphic 91">
            <a:extLst>
              <a:ext uri="{FF2B5EF4-FFF2-40B4-BE49-F238E27FC236}">
                <a16:creationId xmlns:a16="http://schemas.microsoft.com/office/drawing/2014/main" id="{E8A31A2F-B043-4B25-A0C1-61F3E1CC2062}"/>
              </a:ext>
            </a:extLst>
          </p:cNvPr>
          <p:cNvPicPr>
            <a:picLocks noChangeAspect="1"/>
          </p:cNvPicPr>
          <p:nvPr/>
        </p:nvPicPr>
        <p:blipFill>
          <a:blip r:embed="rId1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1"/>
              </a:ext>
            </a:extLst>
          </a:blip>
          <a:stretch>
            <a:fillRect/>
          </a:stretch>
        </p:blipFill>
        <p:spPr>
          <a:xfrm>
            <a:off x="5175273" y="2245685"/>
            <a:ext cx="457200" cy="457200"/>
          </a:xfrm>
          <a:prstGeom prst="rect">
            <a:avLst/>
          </a:prstGeom>
        </p:spPr>
      </p:pic>
      <p:pic>
        <p:nvPicPr>
          <p:cNvPr id="93" name="Graphic 92">
            <a:extLst>
              <a:ext uri="{FF2B5EF4-FFF2-40B4-BE49-F238E27FC236}">
                <a16:creationId xmlns:a16="http://schemas.microsoft.com/office/drawing/2014/main" id="{B21E1D91-F558-446E-B94B-097916C17947}"/>
              </a:ext>
            </a:extLst>
          </p:cNvPr>
          <p:cNvPicPr>
            <a:picLocks noChangeAspect="1"/>
          </p:cNvPicPr>
          <p:nvPr/>
        </p:nvPicPr>
        <p:blipFill>
          <a:blip r:embed="rId1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3"/>
              </a:ext>
            </a:extLst>
          </a:blip>
          <a:stretch>
            <a:fillRect/>
          </a:stretch>
        </p:blipFill>
        <p:spPr>
          <a:xfrm>
            <a:off x="4628260" y="2245685"/>
            <a:ext cx="457200" cy="457200"/>
          </a:xfrm>
          <a:prstGeom prst="rect">
            <a:avLst/>
          </a:prstGeom>
        </p:spPr>
      </p:pic>
      <p:pic>
        <p:nvPicPr>
          <p:cNvPr id="118" name="Graphic 117">
            <a:extLst>
              <a:ext uri="{FF2B5EF4-FFF2-40B4-BE49-F238E27FC236}">
                <a16:creationId xmlns:a16="http://schemas.microsoft.com/office/drawing/2014/main" id="{1A56E0AF-3DF5-4387-BCF3-AD3D72482933}"/>
              </a:ext>
            </a:extLst>
          </p:cNvPr>
          <p:cNvPicPr>
            <a:picLocks noChangeAspect="1"/>
          </p:cNvPicPr>
          <p:nvPr/>
        </p:nvPicPr>
        <p:blipFill>
          <a:blip r:embed="rId1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5"/>
              </a:ext>
            </a:extLst>
          </a:blip>
          <a:stretch>
            <a:fillRect/>
          </a:stretch>
        </p:blipFill>
        <p:spPr>
          <a:xfrm>
            <a:off x="8457354" y="2245685"/>
            <a:ext cx="457200" cy="457200"/>
          </a:xfrm>
          <a:prstGeom prst="rect">
            <a:avLst/>
          </a:prstGeom>
        </p:spPr>
      </p:pic>
      <p:pic>
        <p:nvPicPr>
          <p:cNvPr id="119" name="Graphic 118">
            <a:extLst>
              <a:ext uri="{FF2B5EF4-FFF2-40B4-BE49-F238E27FC236}">
                <a16:creationId xmlns:a16="http://schemas.microsoft.com/office/drawing/2014/main" id="{89DBDE33-A309-40B3-B08F-425D78A0ACD5}"/>
              </a:ext>
            </a:extLst>
          </p:cNvPr>
          <p:cNvPicPr>
            <a:picLocks noChangeAspect="1"/>
          </p:cNvPicPr>
          <p:nvPr/>
        </p:nvPicPr>
        <p:blipFill>
          <a:blip r:embed="rId1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7"/>
              </a:ext>
            </a:extLst>
          </a:blip>
          <a:stretch>
            <a:fillRect/>
          </a:stretch>
        </p:blipFill>
        <p:spPr>
          <a:xfrm>
            <a:off x="7910338" y="2245685"/>
            <a:ext cx="457200" cy="457200"/>
          </a:xfrm>
          <a:prstGeom prst="rect">
            <a:avLst/>
          </a:prstGeom>
        </p:spPr>
      </p:pic>
      <p:pic>
        <p:nvPicPr>
          <p:cNvPr id="120" name="Graphic 119">
            <a:extLst>
              <a:ext uri="{FF2B5EF4-FFF2-40B4-BE49-F238E27FC236}">
                <a16:creationId xmlns:a16="http://schemas.microsoft.com/office/drawing/2014/main" id="{388DC150-34DC-4FA0-8DEE-E2426E3E9572}"/>
              </a:ext>
            </a:extLst>
          </p:cNvPr>
          <p:cNvPicPr>
            <a:picLocks noChangeAspect="1"/>
          </p:cNvPicPr>
          <p:nvPr/>
        </p:nvPicPr>
        <p:blipFill>
          <a:blip r:embed="rId1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9"/>
              </a:ext>
            </a:extLst>
          </a:blip>
          <a:stretch>
            <a:fillRect/>
          </a:stretch>
        </p:blipFill>
        <p:spPr>
          <a:xfrm>
            <a:off x="7363325" y="2245685"/>
            <a:ext cx="457200" cy="457200"/>
          </a:xfrm>
          <a:prstGeom prst="rect">
            <a:avLst/>
          </a:prstGeom>
        </p:spPr>
      </p:pic>
      <p:pic>
        <p:nvPicPr>
          <p:cNvPr id="121" name="Graphic 120">
            <a:extLst>
              <a:ext uri="{FF2B5EF4-FFF2-40B4-BE49-F238E27FC236}">
                <a16:creationId xmlns:a16="http://schemas.microsoft.com/office/drawing/2014/main" id="{DE155CC0-5383-41EC-AAEC-DA9FF8FD7147}"/>
              </a:ext>
            </a:extLst>
          </p:cNvPr>
          <p:cNvPicPr>
            <a:picLocks noChangeAspect="1"/>
          </p:cNvPicPr>
          <p:nvPr/>
        </p:nvPicPr>
        <p:blipFill>
          <a:blip r:embed="rId1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1"/>
              </a:ext>
            </a:extLst>
          </a:blip>
          <a:stretch>
            <a:fillRect/>
          </a:stretch>
        </p:blipFill>
        <p:spPr>
          <a:xfrm>
            <a:off x="6816312" y="2245685"/>
            <a:ext cx="457200" cy="4572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7A7E106C-76F0-4D85-B8A3-03E3AA391FE0}"/>
              </a:ext>
            </a:extLst>
          </p:cNvPr>
          <p:cNvPicPr>
            <a:picLocks noChangeAspect="1"/>
          </p:cNvPicPr>
          <p:nvPr/>
        </p:nvPicPr>
        <p:blipFill>
          <a:blip r:embed="rId1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3"/>
              </a:ext>
            </a:extLst>
          </a:blip>
          <a:stretch>
            <a:fillRect/>
          </a:stretch>
        </p:blipFill>
        <p:spPr>
          <a:xfrm>
            <a:off x="1874352" y="1688271"/>
            <a:ext cx="457200" cy="45720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3AA172B2-6885-4223-B76B-1000630AFB6B}"/>
              </a:ext>
            </a:extLst>
          </p:cNvPr>
          <p:cNvPicPr>
            <a:picLocks noChangeAspect="1"/>
          </p:cNvPicPr>
          <p:nvPr/>
        </p:nvPicPr>
        <p:blipFill>
          <a:blip r:embed="rId1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5"/>
              </a:ext>
            </a:extLst>
          </a:blip>
          <a:stretch>
            <a:fillRect/>
          </a:stretch>
        </p:blipFill>
        <p:spPr>
          <a:xfrm>
            <a:off x="1325768" y="1688271"/>
            <a:ext cx="457200" cy="457200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27B0B230-7235-4C0F-B612-7B3E9B35BC1F}"/>
              </a:ext>
            </a:extLst>
          </p:cNvPr>
          <p:cNvPicPr>
            <a:picLocks noChangeAspect="1"/>
          </p:cNvPicPr>
          <p:nvPr/>
        </p:nvPicPr>
        <p:blipFill>
          <a:blip r:embed="rId1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7"/>
              </a:ext>
            </a:extLst>
          </a:blip>
          <a:stretch>
            <a:fillRect/>
          </a:stretch>
        </p:blipFill>
        <p:spPr>
          <a:xfrm>
            <a:off x="777184" y="1688271"/>
            <a:ext cx="457200" cy="457200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8F93B839-FA95-4C35-93D3-864F1B565552}"/>
              </a:ext>
            </a:extLst>
          </p:cNvPr>
          <p:cNvPicPr>
            <a:picLocks noChangeAspect="1"/>
          </p:cNvPicPr>
          <p:nvPr/>
        </p:nvPicPr>
        <p:blipFill>
          <a:blip r:embed="rId1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9"/>
              </a:ext>
            </a:extLst>
          </a:blip>
          <a:stretch>
            <a:fillRect/>
          </a:stretch>
        </p:blipFill>
        <p:spPr>
          <a:xfrm>
            <a:off x="228600" y="1688271"/>
            <a:ext cx="457200" cy="457200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FE517E79-2E29-42C3-8D5E-BEB1F13B4B8E}"/>
              </a:ext>
            </a:extLst>
          </p:cNvPr>
          <p:cNvPicPr>
            <a:picLocks noChangeAspect="1"/>
          </p:cNvPicPr>
          <p:nvPr/>
        </p:nvPicPr>
        <p:blipFill>
          <a:blip r:embed="rId1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1"/>
              </a:ext>
            </a:extLst>
          </a:blip>
          <a:stretch>
            <a:fillRect/>
          </a:stretch>
        </p:blipFill>
        <p:spPr>
          <a:xfrm>
            <a:off x="4068688" y="1688271"/>
            <a:ext cx="457200" cy="45720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0BBC24E2-6736-4099-8A88-80D34480621C}"/>
              </a:ext>
            </a:extLst>
          </p:cNvPr>
          <p:cNvPicPr>
            <a:picLocks noChangeAspect="1"/>
          </p:cNvPicPr>
          <p:nvPr/>
        </p:nvPicPr>
        <p:blipFill>
          <a:blip r:embed="rId1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3"/>
              </a:ext>
            </a:extLst>
          </a:blip>
          <a:stretch>
            <a:fillRect/>
          </a:stretch>
        </p:blipFill>
        <p:spPr>
          <a:xfrm>
            <a:off x="3520104" y="1688271"/>
            <a:ext cx="457200" cy="457200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BDB283D7-CF0A-4E98-B829-CF0FB6E72DB7}"/>
              </a:ext>
            </a:extLst>
          </p:cNvPr>
          <p:cNvPicPr>
            <a:picLocks noChangeAspect="1"/>
          </p:cNvPicPr>
          <p:nvPr/>
        </p:nvPicPr>
        <p:blipFill>
          <a:blip r:embed="rId1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5"/>
              </a:ext>
            </a:extLst>
          </a:blip>
          <a:stretch>
            <a:fillRect/>
          </a:stretch>
        </p:blipFill>
        <p:spPr>
          <a:xfrm>
            <a:off x="2971520" y="1688271"/>
            <a:ext cx="457200" cy="457200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F0B778BB-BB59-4D26-A17D-77D9663A4640}"/>
              </a:ext>
            </a:extLst>
          </p:cNvPr>
          <p:cNvPicPr>
            <a:picLocks noChangeAspect="1"/>
          </p:cNvPicPr>
          <p:nvPr/>
        </p:nvPicPr>
        <p:blipFill>
          <a:blip r:embed="rId1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7"/>
              </a:ext>
            </a:extLst>
          </a:blip>
          <a:stretch>
            <a:fillRect/>
          </a:stretch>
        </p:blipFill>
        <p:spPr>
          <a:xfrm>
            <a:off x="2422936" y="1688271"/>
            <a:ext cx="457200" cy="457200"/>
          </a:xfrm>
          <a:prstGeom prst="rect">
            <a:avLst/>
          </a:prstGeom>
        </p:spPr>
      </p:pic>
      <p:pic>
        <p:nvPicPr>
          <p:cNvPr id="94" name="Graphic 93">
            <a:extLst>
              <a:ext uri="{FF2B5EF4-FFF2-40B4-BE49-F238E27FC236}">
                <a16:creationId xmlns:a16="http://schemas.microsoft.com/office/drawing/2014/main" id="{BA4CE015-9199-4812-9A92-CBA1A5285F3D}"/>
              </a:ext>
            </a:extLst>
          </p:cNvPr>
          <p:cNvPicPr>
            <a:picLocks noChangeAspect="1"/>
          </p:cNvPicPr>
          <p:nvPr/>
        </p:nvPicPr>
        <p:blipFill>
          <a:blip r:embed="rId1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9"/>
              </a:ext>
            </a:extLst>
          </a:blip>
          <a:stretch>
            <a:fillRect/>
          </a:stretch>
        </p:blipFill>
        <p:spPr>
          <a:xfrm>
            <a:off x="6263024" y="1688271"/>
            <a:ext cx="457200" cy="457200"/>
          </a:xfrm>
          <a:prstGeom prst="rect">
            <a:avLst/>
          </a:prstGeom>
        </p:spPr>
      </p:pic>
      <p:pic>
        <p:nvPicPr>
          <p:cNvPr id="95" name="Graphic 94">
            <a:extLst>
              <a:ext uri="{FF2B5EF4-FFF2-40B4-BE49-F238E27FC236}">
                <a16:creationId xmlns:a16="http://schemas.microsoft.com/office/drawing/2014/main" id="{6068347A-E5FA-42F9-9C92-AE50B95FB8BB}"/>
              </a:ext>
            </a:extLst>
          </p:cNvPr>
          <p:cNvPicPr>
            <a:picLocks noChangeAspect="1"/>
          </p:cNvPicPr>
          <p:nvPr/>
        </p:nvPicPr>
        <p:blipFill>
          <a:blip r:embed="rId1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1"/>
              </a:ext>
            </a:extLst>
          </a:blip>
          <a:stretch>
            <a:fillRect/>
          </a:stretch>
        </p:blipFill>
        <p:spPr>
          <a:xfrm>
            <a:off x="5714440" y="1688271"/>
            <a:ext cx="457200" cy="457200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7AFB0A1C-8453-45DA-B44C-169140CF605B}"/>
              </a:ext>
            </a:extLst>
          </p:cNvPr>
          <p:cNvPicPr>
            <a:picLocks noChangeAspect="1"/>
          </p:cNvPicPr>
          <p:nvPr/>
        </p:nvPicPr>
        <p:blipFill>
          <a:blip r:embed="rId1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3"/>
              </a:ext>
            </a:extLst>
          </a:blip>
          <a:stretch>
            <a:fillRect/>
          </a:stretch>
        </p:blipFill>
        <p:spPr>
          <a:xfrm>
            <a:off x="5165856" y="1688271"/>
            <a:ext cx="457200" cy="457200"/>
          </a:xfrm>
          <a:prstGeom prst="rect">
            <a:avLst/>
          </a:prstGeom>
        </p:spPr>
      </p:pic>
      <p:pic>
        <p:nvPicPr>
          <p:cNvPr id="97" name="Graphic 96">
            <a:extLst>
              <a:ext uri="{FF2B5EF4-FFF2-40B4-BE49-F238E27FC236}">
                <a16:creationId xmlns:a16="http://schemas.microsoft.com/office/drawing/2014/main" id="{D5FD1715-5924-48B2-B801-A73810FDA3E7}"/>
              </a:ext>
            </a:extLst>
          </p:cNvPr>
          <p:cNvPicPr>
            <a:picLocks noChangeAspect="1"/>
          </p:cNvPicPr>
          <p:nvPr/>
        </p:nvPicPr>
        <p:blipFill>
          <a:blip r:embed="rId1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5"/>
              </a:ext>
            </a:extLst>
          </a:blip>
          <a:stretch>
            <a:fillRect/>
          </a:stretch>
        </p:blipFill>
        <p:spPr>
          <a:xfrm>
            <a:off x="4617272" y="1688271"/>
            <a:ext cx="457200" cy="457200"/>
          </a:xfrm>
          <a:prstGeom prst="rect">
            <a:avLst/>
          </a:prstGeom>
        </p:spPr>
      </p:pic>
      <p:pic>
        <p:nvPicPr>
          <p:cNvPr id="122" name="Graphic 121">
            <a:extLst>
              <a:ext uri="{FF2B5EF4-FFF2-40B4-BE49-F238E27FC236}">
                <a16:creationId xmlns:a16="http://schemas.microsoft.com/office/drawing/2014/main" id="{E11B7DBA-2DDF-4241-9DA5-C5F3768251EA}"/>
              </a:ext>
            </a:extLst>
          </p:cNvPr>
          <p:cNvPicPr>
            <a:picLocks noChangeAspect="1"/>
          </p:cNvPicPr>
          <p:nvPr/>
        </p:nvPicPr>
        <p:blipFill>
          <a:blip r:embed="rId1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7"/>
              </a:ext>
            </a:extLst>
          </a:blip>
          <a:stretch>
            <a:fillRect/>
          </a:stretch>
        </p:blipFill>
        <p:spPr>
          <a:xfrm>
            <a:off x="8457354" y="1688271"/>
            <a:ext cx="457200" cy="457200"/>
          </a:xfrm>
          <a:prstGeom prst="rect">
            <a:avLst/>
          </a:prstGeom>
        </p:spPr>
      </p:pic>
      <p:pic>
        <p:nvPicPr>
          <p:cNvPr id="123" name="Graphic 122">
            <a:extLst>
              <a:ext uri="{FF2B5EF4-FFF2-40B4-BE49-F238E27FC236}">
                <a16:creationId xmlns:a16="http://schemas.microsoft.com/office/drawing/2014/main" id="{DE02E74B-AD59-4C98-B58A-C3ECDF64ABCF}"/>
              </a:ext>
            </a:extLst>
          </p:cNvPr>
          <p:cNvPicPr>
            <a:picLocks noChangeAspect="1"/>
          </p:cNvPicPr>
          <p:nvPr/>
        </p:nvPicPr>
        <p:blipFill>
          <a:blip r:embed="rId1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9"/>
              </a:ext>
            </a:extLst>
          </a:blip>
          <a:stretch>
            <a:fillRect/>
          </a:stretch>
        </p:blipFill>
        <p:spPr>
          <a:xfrm>
            <a:off x="7908776" y="1688271"/>
            <a:ext cx="457200" cy="457200"/>
          </a:xfrm>
          <a:prstGeom prst="rect">
            <a:avLst/>
          </a:prstGeom>
        </p:spPr>
      </p:pic>
      <p:pic>
        <p:nvPicPr>
          <p:cNvPr id="124" name="Graphic 123">
            <a:extLst>
              <a:ext uri="{FF2B5EF4-FFF2-40B4-BE49-F238E27FC236}">
                <a16:creationId xmlns:a16="http://schemas.microsoft.com/office/drawing/2014/main" id="{4053EAEA-D8B5-4EFA-8C30-AC3687AC9EF9}"/>
              </a:ext>
            </a:extLst>
          </p:cNvPr>
          <p:cNvPicPr>
            <a:picLocks noChangeAspect="1"/>
          </p:cNvPicPr>
          <p:nvPr/>
        </p:nvPicPr>
        <p:blipFill>
          <a:blip r:embed="rId1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1"/>
              </a:ext>
            </a:extLst>
          </a:blip>
          <a:stretch>
            <a:fillRect/>
          </a:stretch>
        </p:blipFill>
        <p:spPr>
          <a:xfrm>
            <a:off x="7360192" y="1688271"/>
            <a:ext cx="457200" cy="457200"/>
          </a:xfrm>
          <a:prstGeom prst="rect">
            <a:avLst/>
          </a:prstGeom>
        </p:spPr>
      </p:pic>
      <p:pic>
        <p:nvPicPr>
          <p:cNvPr id="125" name="Graphic 124">
            <a:extLst>
              <a:ext uri="{FF2B5EF4-FFF2-40B4-BE49-F238E27FC236}">
                <a16:creationId xmlns:a16="http://schemas.microsoft.com/office/drawing/2014/main" id="{8AF23CCF-EFED-4AB2-8CAA-FC81F00F0FF8}"/>
              </a:ext>
            </a:extLst>
          </p:cNvPr>
          <p:cNvPicPr>
            <a:picLocks noChangeAspect="1"/>
          </p:cNvPicPr>
          <p:nvPr/>
        </p:nvPicPr>
        <p:blipFill>
          <a:blip r:embed="rId1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3"/>
              </a:ext>
            </a:extLst>
          </a:blip>
          <a:stretch>
            <a:fillRect/>
          </a:stretch>
        </p:blipFill>
        <p:spPr>
          <a:xfrm>
            <a:off x="6811608" y="1688271"/>
            <a:ext cx="457200" cy="4572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3BD1C540-CC74-4166-8092-EF5DCE25B387}"/>
              </a:ext>
            </a:extLst>
          </p:cNvPr>
          <p:cNvPicPr>
            <a:picLocks noChangeAspect="1"/>
          </p:cNvPicPr>
          <p:nvPr/>
        </p:nvPicPr>
        <p:blipFill>
          <a:blip r:embed="rId1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5"/>
              </a:ext>
            </a:extLst>
          </a:blip>
          <a:stretch>
            <a:fillRect/>
          </a:stretch>
        </p:blipFill>
        <p:spPr>
          <a:xfrm>
            <a:off x="237565" y="1130857"/>
            <a:ext cx="457200" cy="4572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6D108DF4-8F9E-49A3-8858-5A4C58353712}"/>
              </a:ext>
            </a:extLst>
          </p:cNvPr>
          <p:cNvPicPr>
            <a:picLocks noChangeAspect="1"/>
          </p:cNvPicPr>
          <p:nvPr/>
        </p:nvPicPr>
        <p:blipFill>
          <a:blip r:embed="rId1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7"/>
              </a:ext>
            </a:extLst>
          </a:blip>
          <a:stretch>
            <a:fillRect/>
          </a:stretch>
        </p:blipFill>
        <p:spPr>
          <a:xfrm>
            <a:off x="1879984" y="1130857"/>
            <a:ext cx="457200" cy="457200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C67912AE-9B21-4243-AE26-1C4DDBAF1CD6}"/>
              </a:ext>
            </a:extLst>
          </p:cNvPr>
          <p:cNvPicPr>
            <a:picLocks noChangeAspect="1"/>
          </p:cNvPicPr>
          <p:nvPr/>
        </p:nvPicPr>
        <p:blipFill>
          <a:blip r:embed="rId1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9"/>
              </a:ext>
            </a:extLst>
          </a:blip>
          <a:stretch>
            <a:fillRect/>
          </a:stretch>
        </p:blipFill>
        <p:spPr>
          <a:xfrm>
            <a:off x="1332511" y="1130857"/>
            <a:ext cx="457200" cy="457200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6C5A419D-7C48-4A6C-BFE7-49E9FA21C4A9}"/>
              </a:ext>
            </a:extLst>
          </p:cNvPr>
          <p:cNvPicPr>
            <a:picLocks noChangeAspect="1"/>
          </p:cNvPicPr>
          <p:nvPr/>
        </p:nvPicPr>
        <p:blipFill>
          <a:blip r:embed="rId2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1"/>
              </a:ext>
            </a:extLst>
          </a:blip>
          <a:stretch>
            <a:fillRect/>
          </a:stretch>
        </p:blipFill>
        <p:spPr>
          <a:xfrm>
            <a:off x="785038" y="1130857"/>
            <a:ext cx="457200" cy="4572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2E2B3D9-9AE5-43F5-9FCB-D1A7BA9D09B8}"/>
              </a:ext>
            </a:extLst>
          </p:cNvPr>
          <p:cNvPicPr>
            <a:picLocks noChangeAspect="1"/>
          </p:cNvPicPr>
          <p:nvPr/>
        </p:nvPicPr>
        <p:blipFill>
          <a:blip r:embed="rId2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3"/>
              </a:ext>
            </a:extLst>
          </a:blip>
          <a:stretch>
            <a:fillRect/>
          </a:stretch>
        </p:blipFill>
        <p:spPr>
          <a:xfrm>
            <a:off x="2427457" y="1130857"/>
            <a:ext cx="457200" cy="45720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2789D2D0-3420-4AA9-A094-B4538A4AD3EF}"/>
              </a:ext>
            </a:extLst>
          </p:cNvPr>
          <p:cNvPicPr>
            <a:picLocks noChangeAspect="1"/>
          </p:cNvPicPr>
          <p:nvPr/>
        </p:nvPicPr>
        <p:blipFill>
          <a:blip r:embed="rId2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5"/>
              </a:ext>
            </a:extLst>
          </a:blip>
          <a:stretch>
            <a:fillRect/>
          </a:stretch>
        </p:blipFill>
        <p:spPr>
          <a:xfrm>
            <a:off x="4069876" y="1130857"/>
            <a:ext cx="457200" cy="457200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30CE77B0-1F81-4296-9FC3-AC3BDE59F1ED}"/>
              </a:ext>
            </a:extLst>
          </p:cNvPr>
          <p:cNvPicPr>
            <a:picLocks noChangeAspect="1"/>
          </p:cNvPicPr>
          <p:nvPr/>
        </p:nvPicPr>
        <p:blipFill>
          <a:blip r:embed="rId2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7"/>
              </a:ext>
            </a:extLst>
          </a:blip>
          <a:stretch>
            <a:fillRect/>
          </a:stretch>
        </p:blipFill>
        <p:spPr>
          <a:xfrm>
            <a:off x="3522403" y="1130857"/>
            <a:ext cx="457200" cy="457200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5BCEA9F3-5725-4CFF-B0D9-B5EDD918E166}"/>
              </a:ext>
            </a:extLst>
          </p:cNvPr>
          <p:cNvPicPr>
            <a:picLocks noChangeAspect="1"/>
          </p:cNvPicPr>
          <p:nvPr/>
        </p:nvPicPr>
        <p:blipFill>
          <a:blip r:embed="rId2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9"/>
              </a:ext>
            </a:extLst>
          </a:blip>
          <a:stretch>
            <a:fillRect/>
          </a:stretch>
        </p:blipFill>
        <p:spPr>
          <a:xfrm>
            <a:off x="2974930" y="1130857"/>
            <a:ext cx="457200" cy="457200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C61D39DF-D338-4575-9A23-7BE356D4CFEC}"/>
              </a:ext>
            </a:extLst>
          </p:cNvPr>
          <p:cNvPicPr>
            <a:picLocks noChangeAspect="1"/>
          </p:cNvPicPr>
          <p:nvPr/>
        </p:nvPicPr>
        <p:blipFill>
          <a:blip r:embed="rId2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1"/>
              </a:ext>
            </a:extLst>
          </a:blip>
          <a:stretch>
            <a:fillRect/>
          </a:stretch>
        </p:blipFill>
        <p:spPr>
          <a:xfrm>
            <a:off x="4617349" y="1130857"/>
            <a:ext cx="457200" cy="457200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705BB2AF-EDF7-4413-8424-A0E1B39C3C58}"/>
              </a:ext>
            </a:extLst>
          </p:cNvPr>
          <p:cNvPicPr>
            <a:picLocks noChangeAspect="1"/>
          </p:cNvPicPr>
          <p:nvPr/>
        </p:nvPicPr>
        <p:blipFill>
          <a:blip r:embed="rId2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3"/>
              </a:ext>
            </a:extLst>
          </a:blip>
          <a:stretch>
            <a:fillRect/>
          </a:stretch>
        </p:blipFill>
        <p:spPr>
          <a:xfrm>
            <a:off x="6259768" y="1130857"/>
            <a:ext cx="457200" cy="457200"/>
          </a:xfrm>
          <a:prstGeom prst="rect">
            <a:avLst/>
          </a:prstGeom>
        </p:spPr>
      </p:pic>
      <p:pic>
        <p:nvPicPr>
          <p:cNvPr id="99" name="Graphic 98">
            <a:extLst>
              <a:ext uri="{FF2B5EF4-FFF2-40B4-BE49-F238E27FC236}">
                <a16:creationId xmlns:a16="http://schemas.microsoft.com/office/drawing/2014/main" id="{A2562DB3-31D5-45A2-909E-701576668062}"/>
              </a:ext>
            </a:extLst>
          </p:cNvPr>
          <p:cNvPicPr>
            <a:picLocks noChangeAspect="1"/>
          </p:cNvPicPr>
          <p:nvPr/>
        </p:nvPicPr>
        <p:blipFill>
          <a:blip r:embed="rId2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5"/>
              </a:ext>
            </a:extLst>
          </a:blip>
          <a:stretch>
            <a:fillRect/>
          </a:stretch>
        </p:blipFill>
        <p:spPr>
          <a:xfrm>
            <a:off x="5712295" y="1130857"/>
            <a:ext cx="457200" cy="457200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CB9141B8-5093-4D41-AAE9-060A0A71B4EE}"/>
              </a:ext>
            </a:extLst>
          </p:cNvPr>
          <p:cNvPicPr>
            <a:picLocks noChangeAspect="1"/>
          </p:cNvPicPr>
          <p:nvPr/>
        </p:nvPicPr>
        <p:blipFill>
          <a:blip r:embed="rId2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7"/>
              </a:ext>
            </a:extLst>
          </a:blip>
          <a:stretch>
            <a:fillRect/>
          </a:stretch>
        </p:blipFill>
        <p:spPr>
          <a:xfrm>
            <a:off x="5164822" y="1130857"/>
            <a:ext cx="457200" cy="457200"/>
          </a:xfrm>
          <a:prstGeom prst="rect">
            <a:avLst/>
          </a:prstGeom>
        </p:spPr>
      </p:pic>
      <p:pic>
        <p:nvPicPr>
          <p:cNvPr id="101" name="Graphic 100">
            <a:extLst>
              <a:ext uri="{FF2B5EF4-FFF2-40B4-BE49-F238E27FC236}">
                <a16:creationId xmlns:a16="http://schemas.microsoft.com/office/drawing/2014/main" id="{C0A6E7C1-CEDF-4422-BFA5-C8D3FA959016}"/>
              </a:ext>
            </a:extLst>
          </p:cNvPr>
          <p:cNvPicPr>
            <a:picLocks noChangeAspect="1"/>
          </p:cNvPicPr>
          <p:nvPr/>
        </p:nvPicPr>
        <p:blipFill>
          <a:blip r:embed="rId2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9"/>
              </a:ext>
            </a:extLst>
          </a:blip>
          <a:stretch>
            <a:fillRect/>
          </a:stretch>
        </p:blipFill>
        <p:spPr>
          <a:xfrm>
            <a:off x="6807241" y="1130857"/>
            <a:ext cx="457200" cy="457200"/>
          </a:xfrm>
          <a:prstGeom prst="rect">
            <a:avLst/>
          </a:prstGeom>
        </p:spPr>
      </p:pic>
      <p:pic>
        <p:nvPicPr>
          <p:cNvPr id="126" name="Graphic 125">
            <a:extLst>
              <a:ext uri="{FF2B5EF4-FFF2-40B4-BE49-F238E27FC236}">
                <a16:creationId xmlns:a16="http://schemas.microsoft.com/office/drawing/2014/main" id="{9B041603-8248-43B2-9F38-1519DA2F84F6}"/>
              </a:ext>
            </a:extLst>
          </p:cNvPr>
          <p:cNvPicPr>
            <a:picLocks noChangeAspect="1"/>
          </p:cNvPicPr>
          <p:nvPr/>
        </p:nvPicPr>
        <p:blipFill>
          <a:blip r:embed="rId2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1"/>
              </a:ext>
            </a:extLst>
          </a:blip>
          <a:stretch>
            <a:fillRect/>
          </a:stretch>
        </p:blipFill>
        <p:spPr>
          <a:xfrm>
            <a:off x="8457354" y="1130857"/>
            <a:ext cx="457200" cy="457200"/>
          </a:xfrm>
          <a:prstGeom prst="rect">
            <a:avLst/>
          </a:prstGeom>
        </p:spPr>
      </p:pic>
      <p:pic>
        <p:nvPicPr>
          <p:cNvPr id="127" name="Graphic 126">
            <a:extLst>
              <a:ext uri="{FF2B5EF4-FFF2-40B4-BE49-F238E27FC236}">
                <a16:creationId xmlns:a16="http://schemas.microsoft.com/office/drawing/2014/main" id="{07161F57-0F9D-431D-8D84-57CF785D7039}"/>
              </a:ext>
            </a:extLst>
          </p:cNvPr>
          <p:cNvPicPr>
            <a:picLocks noChangeAspect="1"/>
          </p:cNvPicPr>
          <p:nvPr/>
        </p:nvPicPr>
        <p:blipFill>
          <a:blip r:embed="rId2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3"/>
              </a:ext>
            </a:extLst>
          </a:blip>
          <a:stretch>
            <a:fillRect/>
          </a:stretch>
        </p:blipFill>
        <p:spPr>
          <a:xfrm>
            <a:off x="7902187" y="1130857"/>
            <a:ext cx="457200" cy="457200"/>
          </a:xfrm>
          <a:prstGeom prst="rect">
            <a:avLst/>
          </a:prstGeom>
        </p:spPr>
      </p:pic>
      <p:pic>
        <p:nvPicPr>
          <p:cNvPr id="128" name="Graphic 127">
            <a:extLst>
              <a:ext uri="{FF2B5EF4-FFF2-40B4-BE49-F238E27FC236}">
                <a16:creationId xmlns:a16="http://schemas.microsoft.com/office/drawing/2014/main" id="{9150C07C-47AA-4C52-9687-7B32CFFAB829}"/>
              </a:ext>
            </a:extLst>
          </p:cNvPr>
          <p:cNvPicPr>
            <a:picLocks noChangeAspect="1"/>
          </p:cNvPicPr>
          <p:nvPr/>
        </p:nvPicPr>
        <p:blipFill>
          <a:blip r:embed="rId2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5"/>
              </a:ext>
            </a:extLst>
          </a:blip>
          <a:stretch>
            <a:fillRect/>
          </a:stretch>
        </p:blipFill>
        <p:spPr>
          <a:xfrm>
            <a:off x="7354714" y="1130857"/>
            <a:ext cx="457200" cy="4572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607228-2FF2-3E45-BF02-4071063DE28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F394EC-C86D-0941-8027-DD655ADD693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83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93053F-E70F-7247-B1F7-B24C615010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ort, leisure</a:t>
            </a:r>
          </a:p>
        </p:txBody>
      </p:sp>
    </p:spTree>
    <p:extLst>
      <p:ext uri="{BB962C8B-B14F-4D97-AF65-F5344CB8AC3E}">
        <p14:creationId xmlns:p14="http://schemas.microsoft.com/office/powerpoint/2010/main" val="17934943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 128">
            <a:extLst>
              <a:ext uri="{FF2B5EF4-FFF2-40B4-BE49-F238E27FC236}">
                <a16:creationId xmlns:a16="http://schemas.microsoft.com/office/drawing/2014/main" id="{347DF505-15EE-4C4C-95FE-48B28A4C6112}"/>
              </a:ext>
            </a:extLst>
          </p:cNvPr>
          <p:cNvSpPr/>
          <p:nvPr/>
        </p:nvSpPr>
        <p:spPr>
          <a:xfrm>
            <a:off x="6779796" y="971550"/>
            <a:ext cx="2364203" cy="41465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D9A4D50-2BCE-42D1-9F5C-B562CAF17F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84419" y="4471157"/>
            <a:ext cx="457200" cy="4572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908E198-7C44-49A6-B2F5-79A197D6DB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36708" y="4471157"/>
            <a:ext cx="457200" cy="4572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7C880D6-1DFA-4382-A0B0-8668A3AAD93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8997" y="4471157"/>
            <a:ext cx="457200" cy="4572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79F839D5-15F1-47C7-AFB6-7A2D4E84BC4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1286" y="4471157"/>
            <a:ext cx="457200" cy="4572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61639A12-0022-444F-B4FC-B334347755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75263" y="4471157"/>
            <a:ext cx="457200" cy="4572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0DC0E024-94A6-4012-9859-6C355342B51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27552" y="4471157"/>
            <a:ext cx="457200" cy="4572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5E1EFD0C-0175-40CB-8D0E-2712B7A847E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79841" y="4471157"/>
            <a:ext cx="457200" cy="45720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97116A0F-7D10-4885-B187-23D5DC39842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432130" y="4471157"/>
            <a:ext cx="457200" cy="457200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F6CA49DD-57EA-44F2-BE7A-C02C3791B71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266107" y="4471157"/>
            <a:ext cx="457200" cy="457200"/>
          </a:xfrm>
          <a:prstGeom prst="rect">
            <a:avLst/>
          </a:prstGeom>
        </p:spPr>
      </p:pic>
      <p:pic>
        <p:nvPicPr>
          <p:cNvPr id="75" name="Graphic 74">
            <a:extLst>
              <a:ext uri="{FF2B5EF4-FFF2-40B4-BE49-F238E27FC236}">
                <a16:creationId xmlns:a16="http://schemas.microsoft.com/office/drawing/2014/main" id="{2AF28891-4150-4C90-82CD-98E092B91A8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718396" y="4471157"/>
            <a:ext cx="457200" cy="457200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442CFE4C-67DA-46B1-9F40-212156CA0E0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170685" y="4471157"/>
            <a:ext cx="457200" cy="457200"/>
          </a:xfrm>
          <a:prstGeom prst="rect">
            <a:avLst/>
          </a:pr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979DA10A-9B60-4A6F-8565-9640398C1BB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622974" y="4471157"/>
            <a:ext cx="457200" cy="457200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77766389-E5D0-474D-873B-CF8DB100F3B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456944" y="4471157"/>
            <a:ext cx="457200" cy="457200"/>
          </a:xfrm>
          <a:prstGeom prst="rect">
            <a:avLst/>
          </a:prstGeom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51B88C24-3BF8-4374-8B90-1C9180C2002D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909240" y="4471157"/>
            <a:ext cx="457200" cy="457200"/>
          </a:xfrm>
          <a:prstGeom prst="rect">
            <a:avLst/>
          </a:prstGeom>
        </p:spPr>
      </p:pic>
      <p:pic>
        <p:nvPicPr>
          <p:cNvPr id="104" name="Graphic 103">
            <a:extLst>
              <a:ext uri="{FF2B5EF4-FFF2-40B4-BE49-F238E27FC236}">
                <a16:creationId xmlns:a16="http://schemas.microsoft.com/office/drawing/2014/main" id="{788D9AF0-311C-4781-9230-CAC3EEF7C7B9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7361529" y="4471157"/>
            <a:ext cx="457200" cy="457200"/>
          </a:xfrm>
          <a:prstGeom prst="rect">
            <a:avLst/>
          </a:prstGeom>
        </p:spPr>
      </p:pic>
      <p:pic>
        <p:nvPicPr>
          <p:cNvPr id="105" name="Graphic 104">
            <a:extLst>
              <a:ext uri="{FF2B5EF4-FFF2-40B4-BE49-F238E27FC236}">
                <a16:creationId xmlns:a16="http://schemas.microsoft.com/office/drawing/2014/main" id="{86C25927-ECC8-415A-8520-73B474FBF9C6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6813818" y="4471157"/>
            <a:ext cx="457200" cy="4572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06A81E1A-92D3-4CC8-94E1-B56D536FBD50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884419" y="3913535"/>
            <a:ext cx="457200" cy="4572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62B17677-52F0-4546-B759-9B65FE97FCB5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1336708" y="3913535"/>
            <a:ext cx="457200" cy="4572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54EF7EB0-B3C6-495D-96B9-A7554C9D309D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788997" y="3913535"/>
            <a:ext cx="457200" cy="4572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73F045EE-CE87-4B5E-A75A-EBF4CF4D9AA0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241286" y="3913535"/>
            <a:ext cx="457200" cy="45720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13B20311-A7BD-45EC-BE9B-82B1CA255A47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075263" y="3913535"/>
            <a:ext cx="457200" cy="457200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1E656060-E79C-4A0F-BB0A-620E0AA46582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527552" y="3913535"/>
            <a:ext cx="457200" cy="4572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B9674599-C4BD-4114-A8BB-AFA6BDE58337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2979841" y="3913535"/>
            <a:ext cx="457200" cy="4572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D3E7F668-210D-4F7D-B173-F12FEA834F53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2432130" y="3913535"/>
            <a:ext cx="457200" cy="457200"/>
          </a:xfrm>
          <a:prstGeom prst="rect">
            <a:avLst/>
          </a:prstGeom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C13F83C8-1172-4098-9C7F-1351FD25A754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266107" y="3913535"/>
            <a:ext cx="457200" cy="457200"/>
          </a:xfrm>
          <a:prstGeom prst="rect">
            <a:avLst/>
          </a:prstGeom>
        </p:spPr>
      </p:pic>
      <p:pic>
        <p:nvPicPr>
          <p:cNvPr id="79" name="Graphic 78">
            <a:extLst>
              <a:ext uri="{FF2B5EF4-FFF2-40B4-BE49-F238E27FC236}">
                <a16:creationId xmlns:a16="http://schemas.microsoft.com/office/drawing/2014/main" id="{3E0F5F66-C39E-4DA2-BC77-9B64F3E692F5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5718396" y="3913535"/>
            <a:ext cx="457200" cy="457200"/>
          </a:xfrm>
          <a:prstGeom prst="rect">
            <a:avLst/>
          </a:prstGeom>
        </p:spPr>
      </p:pic>
      <p:pic>
        <p:nvPicPr>
          <p:cNvPr id="80" name="Graphic 79">
            <a:extLst>
              <a:ext uri="{FF2B5EF4-FFF2-40B4-BE49-F238E27FC236}">
                <a16:creationId xmlns:a16="http://schemas.microsoft.com/office/drawing/2014/main" id="{F6A6252D-3D2F-49FE-AAAE-07F9E9D99251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5170685" y="3913535"/>
            <a:ext cx="457200" cy="457200"/>
          </a:xfrm>
          <a:prstGeom prst="rect">
            <a:avLst/>
          </a:prstGeom>
        </p:spPr>
      </p:pic>
      <p:pic>
        <p:nvPicPr>
          <p:cNvPr id="81" name="Graphic 80">
            <a:extLst>
              <a:ext uri="{FF2B5EF4-FFF2-40B4-BE49-F238E27FC236}">
                <a16:creationId xmlns:a16="http://schemas.microsoft.com/office/drawing/2014/main" id="{CDD238DC-F056-4267-89FC-FC810BEA369A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4622974" y="3913535"/>
            <a:ext cx="457200" cy="457200"/>
          </a:xfrm>
          <a:prstGeom prst="rect">
            <a:avLst/>
          </a:prstGeom>
        </p:spPr>
      </p:pic>
      <p:pic>
        <p:nvPicPr>
          <p:cNvPr id="106" name="Graphic 105">
            <a:extLst>
              <a:ext uri="{FF2B5EF4-FFF2-40B4-BE49-F238E27FC236}">
                <a16:creationId xmlns:a16="http://schemas.microsoft.com/office/drawing/2014/main" id="{EBC0D7BE-2325-4577-AFDD-856BA3C34784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8456944" y="3913535"/>
            <a:ext cx="457200" cy="457200"/>
          </a:xfrm>
          <a:prstGeom prst="rect">
            <a:avLst/>
          </a:prstGeom>
        </p:spPr>
      </p:pic>
      <p:pic>
        <p:nvPicPr>
          <p:cNvPr id="107" name="Graphic 106">
            <a:extLst>
              <a:ext uri="{FF2B5EF4-FFF2-40B4-BE49-F238E27FC236}">
                <a16:creationId xmlns:a16="http://schemas.microsoft.com/office/drawing/2014/main" id="{5B1C9676-37F0-4F1A-ABFF-306567CAAF32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7909240" y="3913535"/>
            <a:ext cx="457200" cy="457200"/>
          </a:xfrm>
          <a:prstGeom prst="rect">
            <a:avLst/>
          </a:prstGeom>
        </p:spPr>
      </p:pic>
      <p:pic>
        <p:nvPicPr>
          <p:cNvPr id="108" name="Graphic 107">
            <a:extLst>
              <a:ext uri="{FF2B5EF4-FFF2-40B4-BE49-F238E27FC236}">
                <a16:creationId xmlns:a16="http://schemas.microsoft.com/office/drawing/2014/main" id="{D5EF3A4B-FEEE-4F91-854A-BB35F417BBEB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361529" y="3913535"/>
            <a:ext cx="457200" cy="457200"/>
          </a:xfrm>
          <a:prstGeom prst="rect">
            <a:avLst/>
          </a:prstGeom>
        </p:spPr>
      </p:pic>
      <p:pic>
        <p:nvPicPr>
          <p:cNvPr id="109" name="Graphic 108">
            <a:extLst>
              <a:ext uri="{FF2B5EF4-FFF2-40B4-BE49-F238E27FC236}">
                <a16:creationId xmlns:a16="http://schemas.microsoft.com/office/drawing/2014/main" id="{7B96D6F4-4AAB-40B1-9B30-7B1ED5D3B4FC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6813818" y="3913535"/>
            <a:ext cx="457200" cy="45720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191F14A4-740B-4FAB-AC8E-DF5C66218EC3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884419" y="3355914"/>
            <a:ext cx="457200" cy="4572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C86B7130-81D0-458B-AB7E-DC633DAE7CAD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336708" y="3355914"/>
            <a:ext cx="457200" cy="45720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16987E17-0C26-44F2-BEC8-9123F9880D71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88997" y="3355914"/>
            <a:ext cx="457200" cy="4572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D2B68217-9FE9-4640-A2C7-539AAD235327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241286" y="3355914"/>
            <a:ext cx="457200" cy="4572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851DDE12-1252-414E-B441-DC45CEFCF269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4075263" y="3355914"/>
            <a:ext cx="457200" cy="457200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800E8559-B448-44E9-A931-E9E3371AE007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3527552" y="3355914"/>
            <a:ext cx="457200" cy="457200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D9F4B201-0B66-4842-8787-6BE45055AB56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9"/>
              </a:ext>
            </a:extLst>
          </a:blip>
          <a:stretch>
            <a:fillRect/>
          </a:stretch>
        </p:blipFill>
        <p:spPr>
          <a:xfrm>
            <a:off x="2979841" y="3355914"/>
            <a:ext cx="457200" cy="457200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E2399598-C862-4483-AF74-5AF5136C091B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1"/>
              </a:ext>
            </a:extLst>
          </a:blip>
          <a:stretch>
            <a:fillRect/>
          </a:stretch>
        </p:blipFill>
        <p:spPr>
          <a:xfrm>
            <a:off x="2432130" y="3355914"/>
            <a:ext cx="457200" cy="457200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6567E033-95E0-424C-853D-23A22291E099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3"/>
              </a:ext>
            </a:extLst>
          </a:blip>
          <a:stretch>
            <a:fillRect/>
          </a:stretch>
        </p:blipFill>
        <p:spPr>
          <a:xfrm>
            <a:off x="6266107" y="3355914"/>
            <a:ext cx="457200" cy="457200"/>
          </a:xfrm>
          <a:prstGeom prst="rect">
            <a:avLst/>
          </a:prstGeom>
        </p:spPr>
      </p:pic>
      <p:pic>
        <p:nvPicPr>
          <p:cNvPr id="83" name="Graphic 82">
            <a:extLst>
              <a:ext uri="{FF2B5EF4-FFF2-40B4-BE49-F238E27FC236}">
                <a16:creationId xmlns:a16="http://schemas.microsoft.com/office/drawing/2014/main" id="{52CC03FD-F443-43C6-9F40-6CAD0046F9E8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5"/>
              </a:ext>
            </a:extLst>
          </a:blip>
          <a:stretch>
            <a:fillRect/>
          </a:stretch>
        </p:blipFill>
        <p:spPr>
          <a:xfrm>
            <a:off x="5718396" y="3355914"/>
            <a:ext cx="457200" cy="457200"/>
          </a:xfrm>
          <a:prstGeom prst="rect">
            <a:avLst/>
          </a:prstGeom>
        </p:spPr>
      </p:pic>
      <p:pic>
        <p:nvPicPr>
          <p:cNvPr id="84" name="Graphic 83">
            <a:extLst>
              <a:ext uri="{FF2B5EF4-FFF2-40B4-BE49-F238E27FC236}">
                <a16:creationId xmlns:a16="http://schemas.microsoft.com/office/drawing/2014/main" id="{37109E30-1679-44C2-A3B5-4672A64AB7C5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7"/>
              </a:ext>
            </a:extLst>
          </a:blip>
          <a:stretch>
            <a:fillRect/>
          </a:stretch>
        </p:blipFill>
        <p:spPr>
          <a:xfrm>
            <a:off x="5170685" y="3355914"/>
            <a:ext cx="457200" cy="4572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F1C65E25-F948-4B99-8178-92D56BED62BE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9"/>
              </a:ext>
            </a:extLst>
          </a:blip>
          <a:stretch>
            <a:fillRect/>
          </a:stretch>
        </p:blipFill>
        <p:spPr>
          <a:xfrm>
            <a:off x="4622974" y="3355914"/>
            <a:ext cx="457200" cy="457200"/>
          </a:xfrm>
          <a:prstGeom prst="rect">
            <a:avLst/>
          </a:prstGeom>
        </p:spPr>
      </p:pic>
      <p:pic>
        <p:nvPicPr>
          <p:cNvPr id="110" name="Graphic 109">
            <a:extLst>
              <a:ext uri="{FF2B5EF4-FFF2-40B4-BE49-F238E27FC236}">
                <a16:creationId xmlns:a16="http://schemas.microsoft.com/office/drawing/2014/main" id="{EE0A6D5D-8FCC-440A-BF86-528108006529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1"/>
              </a:ext>
            </a:extLst>
          </a:blip>
          <a:stretch>
            <a:fillRect/>
          </a:stretch>
        </p:blipFill>
        <p:spPr>
          <a:xfrm>
            <a:off x="8456944" y="3355914"/>
            <a:ext cx="457200" cy="457200"/>
          </a:xfrm>
          <a:prstGeom prst="rect">
            <a:avLst/>
          </a:prstGeom>
        </p:spPr>
      </p:pic>
      <p:pic>
        <p:nvPicPr>
          <p:cNvPr id="111" name="Graphic 110">
            <a:extLst>
              <a:ext uri="{FF2B5EF4-FFF2-40B4-BE49-F238E27FC236}">
                <a16:creationId xmlns:a16="http://schemas.microsoft.com/office/drawing/2014/main" id="{8FB0D628-DC97-4DD8-9861-EE826994562B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3"/>
              </a:ext>
            </a:extLst>
          </a:blip>
          <a:stretch>
            <a:fillRect/>
          </a:stretch>
        </p:blipFill>
        <p:spPr>
          <a:xfrm>
            <a:off x="7909240" y="3355914"/>
            <a:ext cx="457200" cy="457200"/>
          </a:xfrm>
          <a:prstGeom prst="rect">
            <a:avLst/>
          </a:prstGeom>
        </p:spPr>
      </p:pic>
      <p:pic>
        <p:nvPicPr>
          <p:cNvPr id="112" name="Graphic 111">
            <a:extLst>
              <a:ext uri="{FF2B5EF4-FFF2-40B4-BE49-F238E27FC236}">
                <a16:creationId xmlns:a16="http://schemas.microsoft.com/office/drawing/2014/main" id="{B8A85281-52F5-498B-B8F5-A30D378B2853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5"/>
              </a:ext>
            </a:extLst>
          </a:blip>
          <a:stretch>
            <a:fillRect/>
          </a:stretch>
        </p:blipFill>
        <p:spPr>
          <a:xfrm>
            <a:off x="7361529" y="3355914"/>
            <a:ext cx="457200" cy="457200"/>
          </a:xfrm>
          <a:prstGeom prst="rect">
            <a:avLst/>
          </a:prstGeom>
        </p:spPr>
      </p:pic>
      <p:pic>
        <p:nvPicPr>
          <p:cNvPr id="113" name="Graphic 112">
            <a:extLst>
              <a:ext uri="{FF2B5EF4-FFF2-40B4-BE49-F238E27FC236}">
                <a16:creationId xmlns:a16="http://schemas.microsoft.com/office/drawing/2014/main" id="{30202CF0-6FF0-40BC-BC92-89C2186B69AA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7"/>
              </a:ext>
            </a:extLst>
          </a:blip>
          <a:stretch>
            <a:fillRect/>
          </a:stretch>
        </p:blipFill>
        <p:spPr>
          <a:xfrm>
            <a:off x="6813818" y="3355914"/>
            <a:ext cx="457200" cy="4572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B5B26E6F-4780-4A2D-9928-F70EFEAB5944}"/>
              </a:ext>
            </a:extLst>
          </p:cNvPr>
          <p:cNvPicPr>
            <a:picLocks noChangeAspect="1"/>
          </p:cNvPicPr>
          <p:nvPr/>
        </p:nvPicPr>
        <p:blipFill>
          <a:blip r:embed="rId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9"/>
              </a:ext>
            </a:extLst>
          </a:blip>
          <a:stretch>
            <a:fillRect/>
          </a:stretch>
        </p:blipFill>
        <p:spPr>
          <a:xfrm>
            <a:off x="1884419" y="2798293"/>
            <a:ext cx="457200" cy="457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26B38707-679A-452F-A9AA-44C112C55E0A}"/>
              </a:ext>
            </a:extLst>
          </p:cNvPr>
          <p:cNvPicPr>
            <a:picLocks noChangeAspect="1"/>
          </p:cNvPicPr>
          <p:nvPr/>
        </p:nvPicPr>
        <p:blipFill>
          <a:blip r:embed="rId1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1"/>
              </a:ext>
            </a:extLst>
          </a:blip>
          <a:stretch>
            <a:fillRect/>
          </a:stretch>
        </p:blipFill>
        <p:spPr>
          <a:xfrm>
            <a:off x="1336708" y="2798293"/>
            <a:ext cx="457200" cy="4572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EA4487D1-B30E-49F9-A34B-D3079210BACE}"/>
              </a:ext>
            </a:extLst>
          </p:cNvPr>
          <p:cNvPicPr>
            <a:picLocks noChangeAspect="1"/>
          </p:cNvPicPr>
          <p:nvPr/>
        </p:nvPicPr>
        <p:blipFill>
          <a:blip r:embed="rId1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3"/>
              </a:ext>
            </a:extLst>
          </a:blip>
          <a:stretch>
            <a:fillRect/>
          </a:stretch>
        </p:blipFill>
        <p:spPr>
          <a:xfrm>
            <a:off x="788997" y="2798293"/>
            <a:ext cx="457200" cy="4572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68B5A9CD-EB75-430E-BC6E-1E37964CCDBF}"/>
              </a:ext>
            </a:extLst>
          </p:cNvPr>
          <p:cNvPicPr>
            <a:picLocks noChangeAspect="1"/>
          </p:cNvPicPr>
          <p:nvPr/>
        </p:nvPicPr>
        <p:blipFill>
          <a:blip r:embed="rId1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5"/>
              </a:ext>
            </a:extLst>
          </a:blip>
          <a:stretch>
            <a:fillRect/>
          </a:stretch>
        </p:blipFill>
        <p:spPr>
          <a:xfrm>
            <a:off x="241286" y="2798293"/>
            <a:ext cx="457200" cy="457200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4323EE8B-74F5-425F-90FC-DDE89F2D87AE}"/>
              </a:ext>
            </a:extLst>
          </p:cNvPr>
          <p:cNvPicPr>
            <a:picLocks noChangeAspect="1"/>
          </p:cNvPicPr>
          <p:nvPr/>
        </p:nvPicPr>
        <p:blipFill>
          <a:blip r:embed="rId1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7"/>
              </a:ext>
            </a:extLst>
          </a:blip>
          <a:stretch>
            <a:fillRect/>
          </a:stretch>
        </p:blipFill>
        <p:spPr>
          <a:xfrm>
            <a:off x="4075263" y="2798293"/>
            <a:ext cx="457200" cy="45720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4A82EA89-2C26-4785-9644-000474322883}"/>
              </a:ext>
            </a:extLst>
          </p:cNvPr>
          <p:cNvPicPr>
            <a:picLocks noChangeAspect="1"/>
          </p:cNvPicPr>
          <p:nvPr/>
        </p:nvPicPr>
        <p:blipFill>
          <a:blip r:embed="rId1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9"/>
              </a:ext>
            </a:extLst>
          </a:blip>
          <a:stretch>
            <a:fillRect/>
          </a:stretch>
        </p:blipFill>
        <p:spPr>
          <a:xfrm>
            <a:off x="3527552" y="2798293"/>
            <a:ext cx="457200" cy="45720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5618E9B2-6F4F-493B-8512-722B5C247E17}"/>
              </a:ext>
            </a:extLst>
          </p:cNvPr>
          <p:cNvPicPr>
            <a:picLocks noChangeAspect="1"/>
          </p:cNvPicPr>
          <p:nvPr/>
        </p:nvPicPr>
        <p:blipFill>
          <a:blip r:embed="rId1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1"/>
              </a:ext>
            </a:extLst>
          </a:blip>
          <a:stretch>
            <a:fillRect/>
          </a:stretch>
        </p:blipFill>
        <p:spPr>
          <a:xfrm>
            <a:off x="2979841" y="2798293"/>
            <a:ext cx="457200" cy="45720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A662CD30-8DA0-4EB9-9867-789E099B81E6}"/>
              </a:ext>
            </a:extLst>
          </p:cNvPr>
          <p:cNvPicPr>
            <a:picLocks noChangeAspect="1"/>
          </p:cNvPicPr>
          <p:nvPr/>
        </p:nvPicPr>
        <p:blipFill>
          <a:blip r:embed="rId1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3"/>
              </a:ext>
            </a:extLst>
          </a:blip>
          <a:stretch>
            <a:fillRect/>
          </a:stretch>
        </p:blipFill>
        <p:spPr>
          <a:xfrm>
            <a:off x="2432130" y="2798293"/>
            <a:ext cx="457200" cy="457200"/>
          </a:xfrm>
          <a:prstGeom prst="rect">
            <a:avLst/>
          </a:prstGeom>
        </p:spPr>
      </p:pic>
      <p:pic>
        <p:nvPicPr>
          <p:cNvPr id="86" name="Graphic 85">
            <a:extLst>
              <a:ext uri="{FF2B5EF4-FFF2-40B4-BE49-F238E27FC236}">
                <a16:creationId xmlns:a16="http://schemas.microsoft.com/office/drawing/2014/main" id="{BC8DAFF1-5F53-48D2-B1A7-50CF66382AA3}"/>
              </a:ext>
            </a:extLst>
          </p:cNvPr>
          <p:cNvPicPr>
            <a:picLocks noChangeAspect="1"/>
          </p:cNvPicPr>
          <p:nvPr/>
        </p:nvPicPr>
        <p:blipFill>
          <a:blip r:embed="rId1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5"/>
              </a:ext>
            </a:extLst>
          </a:blip>
          <a:stretch>
            <a:fillRect/>
          </a:stretch>
        </p:blipFill>
        <p:spPr>
          <a:xfrm>
            <a:off x="6266107" y="2798293"/>
            <a:ext cx="457200" cy="457200"/>
          </a:xfrm>
          <a:prstGeom prst="rect">
            <a:avLst/>
          </a:prstGeom>
        </p:spPr>
      </p:pic>
      <p:pic>
        <p:nvPicPr>
          <p:cNvPr id="87" name="Graphic 86">
            <a:extLst>
              <a:ext uri="{FF2B5EF4-FFF2-40B4-BE49-F238E27FC236}">
                <a16:creationId xmlns:a16="http://schemas.microsoft.com/office/drawing/2014/main" id="{3FEE6332-7E19-4D1C-9D0D-F1331A3CA422}"/>
              </a:ext>
            </a:extLst>
          </p:cNvPr>
          <p:cNvPicPr>
            <a:picLocks noChangeAspect="1"/>
          </p:cNvPicPr>
          <p:nvPr/>
        </p:nvPicPr>
        <p:blipFill>
          <a:blip r:embed="rId1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7"/>
              </a:ext>
            </a:extLst>
          </a:blip>
          <a:stretch>
            <a:fillRect/>
          </a:stretch>
        </p:blipFill>
        <p:spPr>
          <a:xfrm>
            <a:off x="5718396" y="2798293"/>
            <a:ext cx="457200" cy="457200"/>
          </a:xfrm>
          <a:prstGeom prst="rect">
            <a:avLst/>
          </a:prstGeom>
        </p:spPr>
      </p:pic>
      <p:pic>
        <p:nvPicPr>
          <p:cNvPr id="88" name="Graphic 87">
            <a:extLst>
              <a:ext uri="{FF2B5EF4-FFF2-40B4-BE49-F238E27FC236}">
                <a16:creationId xmlns:a16="http://schemas.microsoft.com/office/drawing/2014/main" id="{E697D914-C340-485F-903D-3F2FA83CBD87}"/>
              </a:ext>
            </a:extLst>
          </p:cNvPr>
          <p:cNvPicPr>
            <a:picLocks noChangeAspect="1"/>
          </p:cNvPicPr>
          <p:nvPr/>
        </p:nvPicPr>
        <p:blipFill>
          <a:blip r:embed="rId1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9"/>
              </a:ext>
            </a:extLst>
          </a:blip>
          <a:stretch>
            <a:fillRect/>
          </a:stretch>
        </p:blipFill>
        <p:spPr>
          <a:xfrm>
            <a:off x="5170685" y="2798293"/>
            <a:ext cx="457200" cy="457200"/>
          </a:xfrm>
          <a:prstGeom prst="rect">
            <a:avLst/>
          </a:prstGeom>
        </p:spPr>
      </p:pic>
      <p:pic>
        <p:nvPicPr>
          <p:cNvPr id="89" name="Graphic 88">
            <a:extLst>
              <a:ext uri="{FF2B5EF4-FFF2-40B4-BE49-F238E27FC236}">
                <a16:creationId xmlns:a16="http://schemas.microsoft.com/office/drawing/2014/main" id="{B2ADFA79-5495-42D6-9CA8-5AB746120A00}"/>
              </a:ext>
            </a:extLst>
          </p:cNvPr>
          <p:cNvPicPr>
            <a:picLocks noChangeAspect="1"/>
          </p:cNvPicPr>
          <p:nvPr/>
        </p:nvPicPr>
        <p:blipFill>
          <a:blip r:embed="rId1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1"/>
              </a:ext>
            </a:extLst>
          </a:blip>
          <a:stretch>
            <a:fillRect/>
          </a:stretch>
        </p:blipFill>
        <p:spPr>
          <a:xfrm>
            <a:off x="4622974" y="2798293"/>
            <a:ext cx="457200" cy="457200"/>
          </a:xfrm>
          <a:prstGeom prst="rect">
            <a:avLst/>
          </a:prstGeom>
        </p:spPr>
      </p:pic>
      <p:pic>
        <p:nvPicPr>
          <p:cNvPr id="114" name="Graphic 113">
            <a:extLst>
              <a:ext uri="{FF2B5EF4-FFF2-40B4-BE49-F238E27FC236}">
                <a16:creationId xmlns:a16="http://schemas.microsoft.com/office/drawing/2014/main" id="{A63980A9-9AE5-4BBD-82BE-60E0E4BA1DF5}"/>
              </a:ext>
            </a:extLst>
          </p:cNvPr>
          <p:cNvPicPr>
            <a:picLocks noChangeAspect="1"/>
          </p:cNvPicPr>
          <p:nvPr/>
        </p:nvPicPr>
        <p:blipFill>
          <a:blip r:embed="rId1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3"/>
              </a:ext>
            </a:extLst>
          </a:blip>
          <a:stretch>
            <a:fillRect/>
          </a:stretch>
        </p:blipFill>
        <p:spPr>
          <a:xfrm>
            <a:off x="8456944" y="2798293"/>
            <a:ext cx="457200" cy="457200"/>
          </a:xfrm>
          <a:prstGeom prst="rect">
            <a:avLst/>
          </a:prstGeom>
        </p:spPr>
      </p:pic>
      <p:pic>
        <p:nvPicPr>
          <p:cNvPr id="115" name="Graphic 114">
            <a:extLst>
              <a:ext uri="{FF2B5EF4-FFF2-40B4-BE49-F238E27FC236}">
                <a16:creationId xmlns:a16="http://schemas.microsoft.com/office/drawing/2014/main" id="{4BB8450D-D952-4C0B-A389-33EEA4D58ECB}"/>
              </a:ext>
            </a:extLst>
          </p:cNvPr>
          <p:cNvPicPr>
            <a:picLocks noChangeAspect="1"/>
          </p:cNvPicPr>
          <p:nvPr/>
        </p:nvPicPr>
        <p:blipFill>
          <a:blip r:embed="rId1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5"/>
              </a:ext>
            </a:extLst>
          </a:blip>
          <a:stretch>
            <a:fillRect/>
          </a:stretch>
        </p:blipFill>
        <p:spPr>
          <a:xfrm>
            <a:off x="7909240" y="2798293"/>
            <a:ext cx="457200" cy="457200"/>
          </a:xfrm>
          <a:prstGeom prst="rect">
            <a:avLst/>
          </a:prstGeom>
        </p:spPr>
      </p:pic>
      <p:pic>
        <p:nvPicPr>
          <p:cNvPr id="116" name="Graphic 115">
            <a:extLst>
              <a:ext uri="{FF2B5EF4-FFF2-40B4-BE49-F238E27FC236}">
                <a16:creationId xmlns:a16="http://schemas.microsoft.com/office/drawing/2014/main" id="{BF5D871F-622A-4B1C-AF37-0F5EFF02E93F}"/>
              </a:ext>
            </a:extLst>
          </p:cNvPr>
          <p:cNvPicPr>
            <a:picLocks noChangeAspect="1"/>
          </p:cNvPicPr>
          <p:nvPr/>
        </p:nvPicPr>
        <p:blipFill>
          <a:blip r:embed="rId1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7"/>
              </a:ext>
            </a:extLst>
          </a:blip>
          <a:stretch>
            <a:fillRect/>
          </a:stretch>
        </p:blipFill>
        <p:spPr>
          <a:xfrm>
            <a:off x="7361529" y="2798293"/>
            <a:ext cx="457200" cy="457200"/>
          </a:xfrm>
          <a:prstGeom prst="rect">
            <a:avLst/>
          </a:prstGeom>
        </p:spPr>
      </p:pic>
      <p:pic>
        <p:nvPicPr>
          <p:cNvPr id="117" name="Graphic 116">
            <a:extLst>
              <a:ext uri="{FF2B5EF4-FFF2-40B4-BE49-F238E27FC236}">
                <a16:creationId xmlns:a16="http://schemas.microsoft.com/office/drawing/2014/main" id="{2BC3101B-D0DC-4555-AA82-A869C7D605DC}"/>
              </a:ext>
            </a:extLst>
          </p:cNvPr>
          <p:cNvPicPr>
            <a:picLocks noChangeAspect="1"/>
          </p:cNvPicPr>
          <p:nvPr/>
        </p:nvPicPr>
        <p:blipFill>
          <a:blip r:embed="rId1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9"/>
              </a:ext>
            </a:extLst>
          </a:blip>
          <a:stretch>
            <a:fillRect/>
          </a:stretch>
        </p:blipFill>
        <p:spPr>
          <a:xfrm>
            <a:off x="6813818" y="2798293"/>
            <a:ext cx="457200" cy="4572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879A0579-55A8-463F-A2BD-2335F76936CA}"/>
              </a:ext>
            </a:extLst>
          </p:cNvPr>
          <p:cNvPicPr>
            <a:picLocks noChangeAspect="1"/>
          </p:cNvPicPr>
          <p:nvPr/>
        </p:nvPicPr>
        <p:blipFill>
          <a:blip r:embed="rId1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1"/>
              </a:ext>
            </a:extLst>
          </a:blip>
          <a:stretch>
            <a:fillRect/>
          </a:stretch>
        </p:blipFill>
        <p:spPr>
          <a:xfrm>
            <a:off x="1884419" y="2240672"/>
            <a:ext cx="457200" cy="45720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082A669C-6029-4751-A465-D74770ADF770}"/>
              </a:ext>
            </a:extLst>
          </p:cNvPr>
          <p:cNvPicPr>
            <a:picLocks noChangeAspect="1"/>
          </p:cNvPicPr>
          <p:nvPr/>
        </p:nvPicPr>
        <p:blipFill>
          <a:blip r:embed="rId1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3"/>
              </a:ext>
            </a:extLst>
          </a:blip>
          <a:stretch>
            <a:fillRect/>
          </a:stretch>
        </p:blipFill>
        <p:spPr>
          <a:xfrm>
            <a:off x="1336708" y="2240672"/>
            <a:ext cx="457200" cy="4572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45DDE8AE-396F-40C3-8098-5CC1CFD417BC}"/>
              </a:ext>
            </a:extLst>
          </p:cNvPr>
          <p:cNvPicPr>
            <a:picLocks noChangeAspect="1"/>
          </p:cNvPicPr>
          <p:nvPr/>
        </p:nvPicPr>
        <p:blipFill>
          <a:blip r:embed="rId1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5"/>
              </a:ext>
            </a:extLst>
          </a:blip>
          <a:stretch>
            <a:fillRect/>
          </a:stretch>
        </p:blipFill>
        <p:spPr>
          <a:xfrm>
            <a:off x="788997" y="2240672"/>
            <a:ext cx="457200" cy="457200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D9B66BA1-8B81-415D-A9F9-D689A5D7B067}"/>
              </a:ext>
            </a:extLst>
          </p:cNvPr>
          <p:cNvPicPr>
            <a:picLocks noChangeAspect="1"/>
          </p:cNvPicPr>
          <p:nvPr/>
        </p:nvPicPr>
        <p:blipFill>
          <a:blip r:embed="rId1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7"/>
              </a:ext>
            </a:extLst>
          </a:blip>
          <a:stretch>
            <a:fillRect/>
          </a:stretch>
        </p:blipFill>
        <p:spPr>
          <a:xfrm>
            <a:off x="241286" y="2240672"/>
            <a:ext cx="457200" cy="457200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6FBED0B0-8499-4074-9DFC-2326EA0EB691}"/>
              </a:ext>
            </a:extLst>
          </p:cNvPr>
          <p:cNvPicPr>
            <a:picLocks noChangeAspect="1"/>
          </p:cNvPicPr>
          <p:nvPr/>
        </p:nvPicPr>
        <p:blipFill>
          <a:blip r:embed="rId1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9"/>
              </a:ext>
            </a:extLst>
          </a:blip>
          <a:stretch>
            <a:fillRect/>
          </a:stretch>
        </p:blipFill>
        <p:spPr>
          <a:xfrm>
            <a:off x="4075263" y="2240672"/>
            <a:ext cx="457200" cy="457200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DFE66812-ABB7-403F-9158-F5CCD7B2922C}"/>
              </a:ext>
            </a:extLst>
          </p:cNvPr>
          <p:cNvPicPr>
            <a:picLocks noChangeAspect="1"/>
          </p:cNvPicPr>
          <p:nvPr/>
        </p:nvPicPr>
        <p:blipFill>
          <a:blip r:embed="rId1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1"/>
              </a:ext>
            </a:extLst>
          </a:blip>
          <a:stretch>
            <a:fillRect/>
          </a:stretch>
        </p:blipFill>
        <p:spPr>
          <a:xfrm>
            <a:off x="3527552" y="2240672"/>
            <a:ext cx="457200" cy="457200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82F81C93-0E16-4DD2-AC28-693073F7EB0A}"/>
              </a:ext>
            </a:extLst>
          </p:cNvPr>
          <p:cNvPicPr>
            <a:picLocks noChangeAspect="1"/>
          </p:cNvPicPr>
          <p:nvPr/>
        </p:nvPicPr>
        <p:blipFill>
          <a:blip r:embed="rId1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3"/>
              </a:ext>
            </a:extLst>
          </a:blip>
          <a:stretch>
            <a:fillRect/>
          </a:stretch>
        </p:blipFill>
        <p:spPr>
          <a:xfrm>
            <a:off x="2979841" y="2240672"/>
            <a:ext cx="457200" cy="457200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2E43A812-E538-4186-BBC4-A8C8BB1A523C}"/>
              </a:ext>
            </a:extLst>
          </p:cNvPr>
          <p:cNvPicPr>
            <a:picLocks noChangeAspect="1"/>
          </p:cNvPicPr>
          <p:nvPr/>
        </p:nvPicPr>
        <p:blipFill>
          <a:blip r:embed="rId1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5"/>
              </a:ext>
            </a:extLst>
          </a:blip>
          <a:stretch>
            <a:fillRect/>
          </a:stretch>
        </p:blipFill>
        <p:spPr>
          <a:xfrm>
            <a:off x="2432130" y="2240672"/>
            <a:ext cx="457200" cy="457200"/>
          </a:xfrm>
          <a:prstGeom prst="rect">
            <a:avLst/>
          </a:prstGeom>
        </p:spPr>
      </p:pic>
      <p:pic>
        <p:nvPicPr>
          <p:cNvPr id="90" name="Graphic 89">
            <a:extLst>
              <a:ext uri="{FF2B5EF4-FFF2-40B4-BE49-F238E27FC236}">
                <a16:creationId xmlns:a16="http://schemas.microsoft.com/office/drawing/2014/main" id="{F909C40F-0E33-49D3-89BC-659818F09BEB}"/>
              </a:ext>
            </a:extLst>
          </p:cNvPr>
          <p:cNvPicPr>
            <a:picLocks noChangeAspect="1"/>
          </p:cNvPicPr>
          <p:nvPr/>
        </p:nvPicPr>
        <p:blipFill>
          <a:blip r:embed="rId1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7"/>
              </a:ext>
            </a:extLst>
          </a:blip>
          <a:stretch>
            <a:fillRect/>
          </a:stretch>
        </p:blipFill>
        <p:spPr>
          <a:xfrm>
            <a:off x="6266107" y="2240672"/>
            <a:ext cx="457200" cy="457200"/>
          </a:xfrm>
          <a:prstGeom prst="rect">
            <a:avLst/>
          </a:prstGeom>
        </p:spPr>
      </p:pic>
      <p:pic>
        <p:nvPicPr>
          <p:cNvPr id="91" name="Graphic 90">
            <a:extLst>
              <a:ext uri="{FF2B5EF4-FFF2-40B4-BE49-F238E27FC236}">
                <a16:creationId xmlns:a16="http://schemas.microsoft.com/office/drawing/2014/main" id="{26123527-2D81-404F-99D1-E4A0BB9AEDDE}"/>
              </a:ext>
            </a:extLst>
          </p:cNvPr>
          <p:cNvPicPr>
            <a:picLocks noChangeAspect="1"/>
          </p:cNvPicPr>
          <p:nvPr/>
        </p:nvPicPr>
        <p:blipFill>
          <a:blip r:embed="rId1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9"/>
              </a:ext>
            </a:extLst>
          </a:blip>
          <a:stretch>
            <a:fillRect/>
          </a:stretch>
        </p:blipFill>
        <p:spPr>
          <a:xfrm>
            <a:off x="5718396" y="2240672"/>
            <a:ext cx="457200" cy="457200"/>
          </a:xfrm>
          <a:prstGeom prst="rect">
            <a:avLst/>
          </a:prstGeom>
        </p:spPr>
      </p:pic>
      <p:pic>
        <p:nvPicPr>
          <p:cNvPr id="92" name="Graphic 91">
            <a:extLst>
              <a:ext uri="{FF2B5EF4-FFF2-40B4-BE49-F238E27FC236}">
                <a16:creationId xmlns:a16="http://schemas.microsoft.com/office/drawing/2014/main" id="{20BDC978-B52B-4919-B8DE-B87331416497}"/>
              </a:ext>
            </a:extLst>
          </p:cNvPr>
          <p:cNvPicPr>
            <a:picLocks noChangeAspect="1"/>
          </p:cNvPicPr>
          <p:nvPr/>
        </p:nvPicPr>
        <p:blipFill>
          <a:blip r:embed="rId1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1"/>
              </a:ext>
            </a:extLst>
          </a:blip>
          <a:stretch>
            <a:fillRect/>
          </a:stretch>
        </p:blipFill>
        <p:spPr>
          <a:xfrm>
            <a:off x="5170685" y="2240672"/>
            <a:ext cx="457200" cy="457200"/>
          </a:xfrm>
          <a:prstGeom prst="rect">
            <a:avLst/>
          </a:prstGeom>
        </p:spPr>
      </p:pic>
      <p:pic>
        <p:nvPicPr>
          <p:cNvPr id="93" name="Graphic 92">
            <a:extLst>
              <a:ext uri="{FF2B5EF4-FFF2-40B4-BE49-F238E27FC236}">
                <a16:creationId xmlns:a16="http://schemas.microsoft.com/office/drawing/2014/main" id="{D0E04F88-E569-4954-B906-C2968684B26E}"/>
              </a:ext>
            </a:extLst>
          </p:cNvPr>
          <p:cNvPicPr>
            <a:picLocks noChangeAspect="1"/>
          </p:cNvPicPr>
          <p:nvPr/>
        </p:nvPicPr>
        <p:blipFill>
          <a:blip r:embed="rId1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3"/>
              </a:ext>
            </a:extLst>
          </a:blip>
          <a:stretch>
            <a:fillRect/>
          </a:stretch>
        </p:blipFill>
        <p:spPr>
          <a:xfrm>
            <a:off x="4622974" y="2240672"/>
            <a:ext cx="457200" cy="457200"/>
          </a:xfrm>
          <a:prstGeom prst="rect">
            <a:avLst/>
          </a:prstGeom>
        </p:spPr>
      </p:pic>
      <p:pic>
        <p:nvPicPr>
          <p:cNvPr id="118" name="Graphic 117">
            <a:extLst>
              <a:ext uri="{FF2B5EF4-FFF2-40B4-BE49-F238E27FC236}">
                <a16:creationId xmlns:a16="http://schemas.microsoft.com/office/drawing/2014/main" id="{A3B18837-94C4-400D-978F-9EDE9C09FCFB}"/>
              </a:ext>
            </a:extLst>
          </p:cNvPr>
          <p:cNvPicPr>
            <a:picLocks noChangeAspect="1"/>
          </p:cNvPicPr>
          <p:nvPr/>
        </p:nvPicPr>
        <p:blipFill>
          <a:blip r:embed="rId1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5"/>
              </a:ext>
            </a:extLst>
          </a:blip>
          <a:stretch>
            <a:fillRect/>
          </a:stretch>
        </p:blipFill>
        <p:spPr>
          <a:xfrm>
            <a:off x="8456944" y="2240672"/>
            <a:ext cx="457200" cy="457200"/>
          </a:xfrm>
          <a:prstGeom prst="rect">
            <a:avLst/>
          </a:prstGeom>
        </p:spPr>
      </p:pic>
      <p:pic>
        <p:nvPicPr>
          <p:cNvPr id="119" name="Graphic 118">
            <a:extLst>
              <a:ext uri="{FF2B5EF4-FFF2-40B4-BE49-F238E27FC236}">
                <a16:creationId xmlns:a16="http://schemas.microsoft.com/office/drawing/2014/main" id="{B3B7FA43-C01E-4B8A-9674-4B945742338A}"/>
              </a:ext>
            </a:extLst>
          </p:cNvPr>
          <p:cNvPicPr>
            <a:picLocks noChangeAspect="1"/>
          </p:cNvPicPr>
          <p:nvPr/>
        </p:nvPicPr>
        <p:blipFill>
          <a:blip r:embed="rId1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7"/>
              </a:ext>
            </a:extLst>
          </a:blip>
          <a:stretch>
            <a:fillRect/>
          </a:stretch>
        </p:blipFill>
        <p:spPr>
          <a:xfrm>
            <a:off x="7909240" y="2240672"/>
            <a:ext cx="457200" cy="457200"/>
          </a:xfrm>
          <a:prstGeom prst="rect">
            <a:avLst/>
          </a:prstGeom>
        </p:spPr>
      </p:pic>
      <p:pic>
        <p:nvPicPr>
          <p:cNvPr id="120" name="Graphic 119">
            <a:extLst>
              <a:ext uri="{FF2B5EF4-FFF2-40B4-BE49-F238E27FC236}">
                <a16:creationId xmlns:a16="http://schemas.microsoft.com/office/drawing/2014/main" id="{FBCEA387-80C2-452A-B53D-D25377D67105}"/>
              </a:ext>
            </a:extLst>
          </p:cNvPr>
          <p:cNvPicPr>
            <a:picLocks noChangeAspect="1"/>
          </p:cNvPicPr>
          <p:nvPr/>
        </p:nvPicPr>
        <p:blipFill>
          <a:blip r:embed="rId1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9"/>
              </a:ext>
            </a:extLst>
          </a:blip>
          <a:stretch>
            <a:fillRect/>
          </a:stretch>
        </p:blipFill>
        <p:spPr>
          <a:xfrm>
            <a:off x="7361529" y="2240672"/>
            <a:ext cx="457200" cy="457200"/>
          </a:xfrm>
          <a:prstGeom prst="rect">
            <a:avLst/>
          </a:prstGeom>
        </p:spPr>
      </p:pic>
      <p:pic>
        <p:nvPicPr>
          <p:cNvPr id="121" name="Graphic 120">
            <a:extLst>
              <a:ext uri="{FF2B5EF4-FFF2-40B4-BE49-F238E27FC236}">
                <a16:creationId xmlns:a16="http://schemas.microsoft.com/office/drawing/2014/main" id="{D900B506-B9BC-421E-A630-0A345EBF8F07}"/>
              </a:ext>
            </a:extLst>
          </p:cNvPr>
          <p:cNvPicPr>
            <a:picLocks noChangeAspect="1"/>
          </p:cNvPicPr>
          <p:nvPr/>
        </p:nvPicPr>
        <p:blipFill>
          <a:blip r:embed="rId1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1"/>
              </a:ext>
            </a:extLst>
          </a:blip>
          <a:stretch>
            <a:fillRect/>
          </a:stretch>
        </p:blipFill>
        <p:spPr>
          <a:xfrm>
            <a:off x="6813818" y="2240672"/>
            <a:ext cx="457200" cy="4572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F75ADC1C-D2BF-4758-9970-2A5CB26E1149}"/>
              </a:ext>
            </a:extLst>
          </p:cNvPr>
          <p:cNvPicPr>
            <a:picLocks noChangeAspect="1"/>
          </p:cNvPicPr>
          <p:nvPr/>
        </p:nvPicPr>
        <p:blipFill>
          <a:blip r:embed="rId1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3"/>
              </a:ext>
            </a:extLst>
          </a:blip>
          <a:stretch>
            <a:fillRect/>
          </a:stretch>
        </p:blipFill>
        <p:spPr>
          <a:xfrm>
            <a:off x="1884419" y="1683051"/>
            <a:ext cx="457200" cy="45720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A8232257-894D-4DEE-B5CE-7F964913B430}"/>
              </a:ext>
            </a:extLst>
          </p:cNvPr>
          <p:cNvPicPr>
            <a:picLocks noChangeAspect="1"/>
          </p:cNvPicPr>
          <p:nvPr/>
        </p:nvPicPr>
        <p:blipFill>
          <a:blip r:embed="rId1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5"/>
              </a:ext>
            </a:extLst>
          </a:blip>
          <a:stretch>
            <a:fillRect/>
          </a:stretch>
        </p:blipFill>
        <p:spPr>
          <a:xfrm>
            <a:off x="1336708" y="1683051"/>
            <a:ext cx="457200" cy="457200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68F19FBF-F28F-4DFC-A9C1-C569FA8BB7D2}"/>
              </a:ext>
            </a:extLst>
          </p:cNvPr>
          <p:cNvPicPr>
            <a:picLocks noChangeAspect="1"/>
          </p:cNvPicPr>
          <p:nvPr/>
        </p:nvPicPr>
        <p:blipFill>
          <a:blip r:embed="rId1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7"/>
              </a:ext>
            </a:extLst>
          </a:blip>
          <a:stretch>
            <a:fillRect/>
          </a:stretch>
        </p:blipFill>
        <p:spPr>
          <a:xfrm>
            <a:off x="788997" y="1683051"/>
            <a:ext cx="457200" cy="457200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B2DDBD56-86AA-495B-9F85-D8EA8C73636E}"/>
              </a:ext>
            </a:extLst>
          </p:cNvPr>
          <p:cNvPicPr>
            <a:picLocks noChangeAspect="1"/>
          </p:cNvPicPr>
          <p:nvPr/>
        </p:nvPicPr>
        <p:blipFill>
          <a:blip r:embed="rId1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9"/>
              </a:ext>
            </a:extLst>
          </a:blip>
          <a:stretch>
            <a:fillRect/>
          </a:stretch>
        </p:blipFill>
        <p:spPr>
          <a:xfrm>
            <a:off x="241286" y="1683051"/>
            <a:ext cx="457200" cy="457200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09696CF1-DF04-4E64-8D27-D925C00E72AC}"/>
              </a:ext>
            </a:extLst>
          </p:cNvPr>
          <p:cNvPicPr>
            <a:picLocks noChangeAspect="1"/>
          </p:cNvPicPr>
          <p:nvPr/>
        </p:nvPicPr>
        <p:blipFill>
          <a:blip r:embed="rId1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1"/>
              </a:ext>
            </a:extLst>
          </a:blip>
          <a:stretch>
            <a:fillRect/>
          </a:stretch>
        </p:blipFill>
        <p:spPr>
          <a:xfrm>
            <a:off x="4075263" y="1683051"/>
            <a:ext cx="457200" cy="45720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9A61BDA1-FADF-4BF0-A982-B7A074E4AF74}"/>
              </a:ext>
            </a:extLst>
          </p:cNvPr>
          <p:cNvPicPr>
            <a:picLocks noChangeAspect="1"/>
          </p:cNvPicPr>
          <p:nvPr/>
        </p:nvPicPr>
        <p:blipFill>
          <a:blip r:embed="rId1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3"/>
              </a:ext>
            </a:extLst>
          </a:blip>
          <a:stretch>
            <a:fillRect/>
          </a:stretch>
        </p:blipFill>
        <p:spPr>
          <a:xfrm>
            <a:off x="3527552" y="1683051"/>
            <a:ext cx="457200" cy="457200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F613A6EF-F495-44D3-A72D-72945225633D}"/>
              </a:ext>
            </a:extLst>
          </p:cNvPr>
          <p:cNvPicPr>
            <a:picLocks noChangeAspect="1"/>
          </p:cNvPicPr>
          <p:nvPr/>
        </p:nvPicPr>
        <p:blipFill>
          <a:blip r:embed="rId1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5"/>
              </a:ext>
            </a:extLst>
          </a:blip>
          <a:stretch>
            <a:fillRect/>
          </a:stretch>
        </p:blipFill>
        <p:spPr>
          <a:xfrm>
            <a:off x="2979841" y="1683051"/>
            <a:ext cx="457200" cy="457200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72F97DF7-0E3E-4744-8542-918E5C0F5254}"/>
              </a:ext>
            </a:extLst>
          </p:cNvPr>
          <p:cNvPicPr>
            <a:picLocks noChangeAspect="1"/>
          </p:cNvPicPr>
          <p:nvPr/>
        </p:nvPicPr>
        <p:blipFill>
          <a:blip r:embed="rId1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7"/>
              </a:ext>
            </a:extLst>
          </a:blip>
          <a:stretch>
            <a:fillRect/>
          </a:stretch>
        </p:blipFill>
        <p:spPr>
          <a:xfrm>
            <a:off x="2432130" y="1683051"/>
            <a:ext cx="457200" cy="457200"/>
          </a:xfrm>
          <a:prstGeom prst="rect">
            <a:avLst/>
          </a:prstGeom>
        </p:spPr>
      </p:pic>
      <p:pic>
        <p:nvPicPr>
          <p:cNvPr id="94" name="Graphic 93">
            <a:extLst>
              <a:ext uri="{FF2B5EF4-FFF2-40B4-BE49-F238E27FC236}">
                <a16:creationId xmlns:a16="http://schemas.microsoft.com/office/drawing/2014/main" id="{EC756D29-B9DD-4EF0-9A6F-617F825FBA1D}"/>
              </a:ext>
            </a:extLst>
          </p:cNvPr>
          <p:cNvPicPr>
            <a:picLocks noChangeAspect="1"/>
          </p:cNvPicPr>
          <p:nvPr/>
        </p:nvPicPr>
        <p:blipFill>
          <a:blip r:embed="rId17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9"/>
              </a:ext>
            </a:extLst>
          </a:blip>
          <a:stretch>
            <a:fillRect/>
          </a:stretch>
        </p:blipFill>
        <p:spPr>
          <a:xfrm>
            <a:off x="6266107" y="1683051"/>
            <a:ext cx="457200" cy="457200"/>
          </a:xfrm>
          <a:prstGeom prst="rect">
            <a:avLst/>
          </a:prstGeom>
        </p:spPr>
      </p:pic>
      <p:pic>
        <p:nvPicPr>
          <p:cNvPr id="95" name="Graphic 94">
            <a:extLst>
              <a:ext uri="{FF2B5EF4-FFF2-40B4-BE49-F238E27FC236}">
                <a16:creationId xmlns:a16="http://schemas.microsoft.com/office/drawing/2014/main" id="{A2973105-1B86-4ABD-A4D6-9ABDD33E36C1}"/>
              </a:ext>
            </a:extLst>
          </p:cNvPr>
          <p:cNvPicPr>
            <a:picLocks noChangeAspect="1"/>
          </p:cNvPicPr>
          <p:nvPr/>
        </p:nvPicPr>
        <p:blipFill>
          <a:blip r:embed="rId1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1"/>
              </a:ext>
            </a:extLst>
          </a:blip>
          <a:stretch>
            <a:fillRect/>
          </a:stretch>
        </p:blipFill>
        <p:spPr>
          <a:xfrm>
            <a:off x="5718396" y="1683051"/>
            <a:ext cx="457200" cy="457200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D196E53E-FEAC-4507-82C9-5D7B4C4405B8}"/>
              </a:ext>
            </a:extLst>
          </p:cNvPr>
          <p:cNvPicPr>
            <a:picLocks noChangeAspect="1"/>
          </p:cNvPicPr>
          <p:nvPr/>
        </p:nvPicPr>
        <p:blipFill>
          <a:blip r:embed="rId1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3"/>
              </a:ext>
            </a:extLst>
          </a:blip>
          <a:stretch>
            <a:fillRect/>
          </a:stretch>
        </p:blipFill>
        <p:spPr>
          <a:xfrm>
            <a:off x="5170685" y="1683051"/>
            <a:ext cx="457200" cy="457200"/>
          </a:xfrm>
          <a:prstGeom prst="rect">
            <a:avLst/>
          </a:prstGeom>
        </p:spPr>
      </p:pic>
      <p:pic>
        <p:nvPicPr>
          <p:cNvPr id="97" name="Graphic 96">
            <a:extLst>
              <a:ext uri="{FF2B5EF4-FFF2-40B4-BE49-F238E27FC236}">
                <a16:creationId xmlns:a16="http://schemas.microsoft.com/office/drawing/2014/main" id="{B8E459A9-2B75-4A6F-AB5F-AE73B860E7D7}"/>
              </a:ext>
            </a:extLst>
          </p:cNvPr>
          <p:cNvPicPr>
            <a:picLocks noChangeAspect="1"/>
          </p:cNvPicPr>
          <p:nvPr/>
        </p:nvPicPr>
        <p:blipFill>
          <a:blip r:embed="rId1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5"/>
              </a:ext>
            </a:extLst>
          </a:blip>
          <a:stretch>
            <a:fillRect/>
          </a:stretch>
        </p:blipFill>
        <p:spPr>
          <a:xfrm>
            <a:off x="4622974" y="1683051"/>
            <a:ext cx="457200" cy="457200"/>
          </a:xfrm>
          <a:prstGeom prst="rect">
            <a:avLst/>
          </a:prstGeom>
        </p:spPr>
      </p:pic>
      <p:pic>
        <p:nvPicPr>
          <p:cNvPr id="122" name="Graphic 121">
            <a:extLst>
              <a:ext uri="{FF2B5EF4-FFF2-40B4-BE49-F238E27FC236}">
                <a16:creationId xmlns:a16="http://schemas.microsoft.com/office/drawing/2014/main" id="{EF295EEB-8EF7-4D91-8AD6-3319527C170D}"/>
              </a:ext>
            </a:extLst>
          </p:cNvPr>
          <p:cNvPicPr>
            <a:picLocks noChangeAspect="1"/>
          </p:cNvPicPr>
          <p:nvPr/>
        </p:nvPicPr>
        <p:blipFill>
          <a:blip r:embed="rId18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7"/>
              </a:ext>
            </a:extLst>
          </a:blip>
          <a:stretch>
            <a:fillRect/>
          </a:stretch>
        </p:blipFill>
        <p:spPr>
          <a:xfrm>
            <a:off x="8456944" y="1683051"/>
            <a:ext cx="457200" cy="457200"/>
          </a:xfrm>
          <a:prstGeom prst="rect">
            <a:avLst/>
          </a:prstGeom>
        </p:spPr>
      </p:pic>
      <p:pic>
        <p:nvPicPr>
          <p:cNvPr id="123" name="Graphic 122">
            <a:extLst>
              <a:ext uri="{FF2B5EF4-FFF2-40B4-BE49-F238E27FC236}">
                <a16:creationId xmlns:a16="http://schemas.microsoft.com/office/drawing/2014/main" id="{5E735B64-D37C-4D53-87E3-96251A4A57B6}"/>
              </a:ext>
            </a:extLst>
          </p:cNvPr>
          <p:cNvPicPr>
            <a:picLocks noChangeAspect="1"/>
          </p:cNvPicPr>
          <p:nvPr/>
        </p:nvPicPr>
        <p:blipFill>
          <a:blip r:embed="rId1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9"/>
              </a:ext>
            </a:extLst>
          </a:blip>
          <a:stretch>
            <a:fillRect/>
          </a:stretch>
        </p:blipFill>
        <p:spPr>
          <a:xfrm>
            <a:off x="7909240" y="1683051"/>
            <a:ext cx="457200" cy="457200"/>
          </a:xfrm>
          <a:prstGeom prst="rect">
            <a:avLst/>
          </a:prstGeom>
        </p:spPr>
      </p:pic>
      <p:pic>
        <p:nvPicPr>
          <p:cNvPr id="124" name="Graphic 123">
            <a:extLst>
              <a:ext uri="{FF2B5EF4-FFF2-40B4-BE49-F238E27FC236}">
                <a16:creationId xmlns:a16="http://schemas.microsoft.com/office/drawing/2014/main" id="{773BEB25-1874-4689-997E-DC4879ACB6A8}"/>
              </a:ext>
            </a:extLst>
          </p:cNvPr>
          <p:cNvPicPr>
            <a:picLocks noChangeAspect="1"/>
          </p:cNvPicPr>
          <p:nvPr/>
        </p:nvPicPr>
        <p:blipFill>
          <a:blip r:embed="rId19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1"/>
              </a:ext>
            </a:extLst>
          </a:blip>
          <a:stretch>
            <a:fillRect/>
          </a:stretch>
        </p:blipFill>
        <p:spPr>
          <a:xfrm>
            <a:off x="7361529" y="1683051"/>
            <a:ext cx="457200" cy="457200"/>
          </a:xfrm>
          <a:prstGeom prst="rect">
            <a:avLst/>
          </a:prstGeom>
        </p:spPr>
      </p:pic>
      <p:pic>
        <p:nvPicPr>
          <p:cNvPr id="125" name="Graphic 124">
            <a:extLst>
              <a:ext uri="{FF2B5EF4-FFF2-40B4-BE49-F238E27FC236}">
                <a16:creationId xmlns:a16="http://schemas.microsoft.com/office/drawing/2014/main" id="{FCF61D26-9076-490C-B034-A9DCA68F8445}"/>
              </a:ext>
            </a:extLst>
          </p:cNvPr>
          <p:cNvPicPr>
            <a:picLocks noChangeAspect="1"/>
          </p:cNvPicPr>
          <p:nvPr/>
        </p:nvPicPr>
        <p:blipFill>
          <a:blip r:embed="rId19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3"/>
              </a:ext>
            </a:extLst>
          </a:blip>
          <a:stretch>
            <a:fillRect/>
          </a:stretch>
        </p:blipFill>
        <p:spPr>
          <a:xfrm>
            <a:off x="6813818" y="1683051"/>
            <a:ext cx="457200" cy="4572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0D2227AC-9779-4F91-A6DC-8E9F816F72E7}"/>
              </a:ext>
            </a:extLst>
          </p:cNvPr>
          <p:cNvPicPr>
            <a:picLocks noChangeAspect="1"/>
          </p:cNvPicPr>
          <p:nvPr/>
        </p:nvPicPr>
        <p:blipFill>
          <a:blip r:embed="rId19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5"/>
              </a:ext>
            </a:extLst>
          </a:blip>
          <a:stretch>
            <a:fillRect/>
          </a:stretch>
        </p:blipFill>
        <p:spPr>
          <a:xfrm>
            <a:off x="241286" y="1125430"/>
            <a:ext cx="457200" cy="4572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5F70003B-C78C-46D3-B9EF-D62AAEAE02C0}"/>
              </a:ext>
            </a:extLst>
          </p:cNvPr>
          <p:cNvPicPr>
            <a:picLocks noChangeAspect="1"/>
          </p:cNvPicPr>
          <p:nvPr/>
        </p:nvPicPr>
        <p:blipFill>
          <a:blip r:embed="rId19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7"/>
              </a:ext>
            </a:extLst>
          </a:blip>
          <a:stretch>
            <a:fillRect/>
          </a:stretch>
        </p:blipFill>
        <p:spPr>
          <a:xfrm>
            <a:off x="1884419" y="1125430"/>
            <a:ext cx="457200" cy="457200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AC9A043B-490E-4BED-8C8A-8EEEBC4CFBEE}"/>
              </a:ext>
            </a:extLst>
          </p:cNvPr>
          <p:cNvPicPr>
            <a:picLocks noChangeAspect="1"/>
          </p:cNvPicPr>
          <p:nvPr/>
        </p:nvPicPr>
        <p:blipFill>
          <a:blip r:embed="rId19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9"/>
              </a:ext>
            </a:extLst>
          </a:blip>
          <a:stretch>
            <a:fillRect/>
          </a:stretch>
        </p:blipFill>
        <p:spPr>
          <a:xfrm>
            <a:off x="1336708" y="1125430"/>
            <a:ext cx="457200" cy="457200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55BC50B5-EB8F-4D32-AC50-1E033D8E17C0}"/>
              </a:ext>
            </a:extLst>
          </p:cNvPr>
          <p:cNvPicPr>
            <a:picLocks noChangeAspect="1"/>
          </p:cNvPicPr>
          <p:nvPr/>
        </p:nvPicPr>
        <p:blipFill>
          <a:blip r:embed="rId20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1"/>
              </a:ext>
            </a:extLst>
          </a:blip>
          <a:stretch>
            <a:fillRect/>
          </a:stretch>
        </p:blipFill>
        <p:spPr>
          <a:xfrm>
            <a:off x="788997" y="1125430"/>
            <a:ext cx="457200" cy="4572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8158279F-0AC1-4BE6-B348-BE9B9780FC72}"/>
              </a:ext>
            </a:extLst>
          </p:cNvPr>
          <p:cNvPicPr>
            <a:picLocks noChangeAspect="1"/>
          </p:cNvPicPr>
          <p:nvPr/>
        </p:nvPicPr>
        <p:blipFill>
          <a:blip r:embed="rId20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3"/>
              </a:ext>
            </a:extLst>
          </a:blip>
          <a:stretch>
            <a:fillRect/>
          </a:stretch>
        </p:blipFill>
        <p:spPr>
          <a:xfrm>
            <a:off x="2432130" y="1125430"/>
            <a:ext cx="457200" cy="45720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87AD2020-5C15-47C4-831D-1A796C62481D}"/>
              </a:ext>
            </a:extLst>
          </p:cNvPr>
          <p:cNvPicPr>
            <a:picLocks noChangeAspect="1"/>
          </p:cNvPicPr>
          <p:nvPr/>
        </p:nvPicPr>
        <p:blipFill>
          <a:blip r:embed="rId20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5"/>
              </a:ext>
            </a:extLst>
          </a:blip>
          <a:stretch>
            <a:fillRect/>
          </a:stretch>
        </p:blipFill>
        <p:spPr>
          <a:xfrm>
            <a:off x="4075263" y="1125430"/>
            <a:ext cx="457200" cy="457200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99C6504A-EBF8-4246-B3CB-A7A74FA635E0}"/>
              </a:ext>
            </a:extLst>
          </p:cNvPr>
          <p:cNvPicPr>
            <a:picLocks noChangeAspect="1"/>
          </p:cNvPicPr>
          <p:nvPr/>
        </p:nvPicPr>
        <p:blipFill>
          <a:blip r:embed="rId20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7"/>
              </a:ext>
            </a:extLst>
          </a:blip>
          <a:stretch>
            <a:fillRect/>
          </a:stretch>
        </p:blipFill>
        <p:spPr>
          <a:xfrm>
            <a:off x="3527552" y="1125430"/>
            <a:ext cx="457200" cy="457200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F21BBFD5-A2C8-4F87-8FD0-6F6CD92CE5C8}"/>
              </a:ext>
            </a:extLst>
          </p:cNvPr>
          <p:cNvPicPr>
            <a:picLocks noChangeAspect="1"/>
          </p:cNvPicPr>
          <p:nvPr/>
        </p:nvPicPr>
        <p:blipFill>
          <a:blip r:embed="rId20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9"/>
              </a:ext>
            </a:extLst>
          </a:blip>
          <a:stretch>
            <a:fillRect/>
          </a:stretch>
        </p:blipFill>
        <p:spPr>
          <a:xfrm>
            <a:off x="2979841" y="1125430"/>
            <a:ext cx="457200" cy="457200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00AA229A-EC1B-4220-BBAE-37D17B382D3F}"/>
              </a:ext>
            </a:extLst>
          </p:cNvPr>
          <p:cNvPicPr>
            <a:picLocks noChangeAspect="1"/>
          </p:cNvPicPr>
          <p:nvPr/>
        </p:nvPicPr>
        <p:blipFill>
          <a:blip r:embed="rId2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1"/>
              </a:ext>
            </a:extLst>
          </a:blip>
          <a:stretch>
            <a:fillRect/>
          </a:stretch>
        </p:blipFill>
        <p:spPr>
          <a:xfrm>
            <a:off x="4622974" y="1125430"/>
            <a:ext cx="457200" cy="457200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9D92882F-409B-4D3F-ACF2-1692E04EAB2A}"/>
              </a:ext>
            </a:extLst>
          </p:cNvPr>
          <p:cNvPicPr>
            <a:picLocks noChangeAspect="1"/>
          </p:cNvPicPr>
          <p:nvPr/>
        </p:nvPicPr>
        <p:blipFill>
          <a:blip r:embed="rId2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3"/>
              </a:ext>
            </a:extLst>
          </a:blip>
          <a:stretch>
            <a:fillRect/>
          </a:stretch>
        </p:blipFill>
        <p:spPr>
          <a:xfrm>
            <a:off x="6266107" y="1125430"/>
            <a:ext cx="457200" cy="457200"/>
          </a:xfrm>
          <a:prstGeom prst="rect">
            <a:avLst/>
          </a:prstGeom>
        </p:spPr>
      </p:pic>
      <p:pic>
        <p:nvPicPr>
          <p:cNvPr id="99" name="Graphic 98">
            <a:extLst>
              <a:ext uri="{FF2B5EF4-FFF2-40B4-BE49-F238E27FC236}">
                <a16:creationId xmlns:a16="http://schemas.microsoft.com/office/drawing/2014/main" id="{B35AF66E-B2D1-41C3-80A7-9A4F9A1695BD}"/>
              </a:ext>
            </a:extLst>
          </p:cNvPr>
          <p:cNvPicPr>
            <a:picLocks noChangeAspect="1"/>
          </p:cNvPicPr>
          <p:nvPr/>
        </p:nvPicPr>
        <p:blipFill>
          <a:blip r:embed="rId2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5"/>
              </a:ext>
            </a:extLst>
          </a:blip>
          <a:stretch>
            <a:fillRect/>
          </a:stretch>
        </p:blipFill>
        <p:spPr>
          <a:xfrm>
            <a:off x="5718396" y="1125430"/>
            <a:ext cx="457200" cy="457200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DC5E3CE1-B40F-42F1-B58B-992F452A353C}"/>
              </a:ext>
            </a:extLst>
          </p:cNvPr>
          <p:cNvPicPr>
            <a:picLocks noChangeAspect="1"/>
          </p:cNvPicPr>
          <p:nvPr/>
        </p:nvPicPr>
        <p:blipFill>
          <a:blip r:embed="rId2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7"/>
              </a:ext>
            </a:extLst>
          </a:blip>
          <a:stretch>
            <a:fillRect/>
          </a:stretch>
        </p:blipFill>
        <p:spPr>
          <a:xfrm>
            <a:off x="5170685" y="1125430"/>
            <a:ext cx="457200" cy="457200"/>
          </a:xfrm>
          <a:prstGeom prst="rect">
            <a:avLst/>
          </a:prstGeom>
        </p:spPr>
      </p:pic>
      <p:pic>
        <p:nvPicPr>
          <p:cNvPr id="101" name="Graphic 100">
            <a:extLst>
              <a:ext uri="{FF2B5EF4-FFF2-40B4-BE49-F238E27FC236}">
                <a16:creationId xmlns:a16="http://schemas.microsoft.com/office/drawing/2014/main" id="{1256A771-682A-408D-844D-0F7D1234FFD2}"/>
              </a:ext>
            </a:extLst>
          </p:cNvPr>
          <p:cNvPicPr>
            <a:picLocks noChangeAspect="1"/>
          </p:cNvPicPr>
          <p:nvPr/>
        </p:nvPicPr>
        <p:blipFill>
          <a:blip r:embed="rId2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9"/>
              </a:ext>
            </a:extLst>
          </a:blip>
          <a:stretch>
            <a:fillRect/>
          </a:stretch>
        </p:blipFill>
        <p:spPr>
          <a:xfrm>
            <a:off x="6813818" y="1125430"/>
            <a:ext cx="457200" cy="457200"/>
          </a:xfrm>
          <a:prstGeom prst="rect">
            <a:avLst/>
          </a:prstGeom>
        </p:spPr>
      </p:pic>
      <p:pic>
        <p:nvPicPr>
          <p:cNvPr id="126" name="Graphic 125">
            <a:extLst>
              <a:ext uri="{FF2B5EF4-FFF2-40B4-BE49-F238E27FC236}">
                <a16:creationId xmlns:a16="http://schemas.microsoft.com/office/drawing/2014/main" id="{89C3E3D0-BC06-4510-A654-8F9BDB1FA769}"/>
              </a:ext>
            </a:extLst>
          </p:cNvPr>
          <p:cNvPicPr>
            <a:picLocks noChangeAspect="1"/>
          </p:cNvPicPr>
          <p:nvPr/>
        </p:nvPicPr>
        <p:blipFill>
          <a:blip r:embed="rId2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1"/>
              </a:ext>
            </a:extLst>
          </a:blip>
          <a:stretch>
            <a:fillRect/>
          </a:stretch>
        </p:blipFill>
        <p:spPr>
          <a:xfrm>
            <a:off x="8456944" y="1125430"/>
            <a:ext cx="457200" cy="457200"/>
          </a:xfrm>
          <a:prstGeom prst="rect">
            <a:avLst/>
          </a:prstGeom>
        </p:spPr>
      </p:pic>
      <p:pic>
        <p:nvPicPr>
          <p:cNvPr id="127" name="Graphic 126">
            <a:extLst>
              <a:ext uri="{FF2B5EF4-FFF2-40B4-BE49-F238E27FC236}">
                <a16:creationId xmlns:a16="http://schemas.microsoft.com/office/drawing/2014/main" id="{7AC96DA6-0A68-4D91-A28A-7ADB4201C635}"/>
              </a:ext>
            </a:extLst>
          </p:cNvPr>
          <p:cNvPicPr>
            <a:picLocks noChangeAspect="1"/>
          </p:cNvPicPr>
          <p:nvPr/>
        </p:nvPicPr>
        <p:blipFill>
          <a:blip r:embed="rId2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3"/>
              </a:ext>
            </a:extLst>
          </a:blip>
          <a:stretch>
            <a:fillRect/>
          </a:stretch>
        </p:blipFill>
        <p:spPr>
          <a:xfrm>
            <a:off x="7909240" y="1125430"/>
            <a:ext cx="457200" cy="457200"/>
          </a:xfrm>
          <a:prstGeom prst="rect">
            <a:avLst/>
          </a:prstGeom>
        </p:spPr>
      </p:pic>
      <p:pic>
        <p:nvPicPr>
          <p:cNvPr id="128" name="Graphic 127">
            <a:extLst>
              <a:ext uri="{FF2B5EF4-FFF2-40B4-BE49-F238E27FC236}">
                <a16:creationId xmlns:a16="http://schemas.microsoft.com/office/drawing/2014/main" id="{91C80176-28B7-4D79-92B5-2A7077E8D351}"/>
              </a:ext>
            </a:extLst>
          </p:cNvPr>
          <p:cNvPicPr>
            <a:picLocks noChangeAspect="1"/>
          </p:cNvPicPr>
          <p:nvPr/>
        </p:nvPicPr>
        <p:blipFill>
          <a:blip r:embed="rId2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5"/>
              </a:ext>
            </a:extLst>
          </a:blip>
          <a:stretch>
            <a:fillRect/>
          </a:stretch>
        </p:blipFill>
        <p:spPr>
          <a:xfrm>
            <a:off x="7361529" y="1125430"/>
            <a:ext cx="457200" cy="4572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5AD6AA-99F6-7146-B7B7-4015814BCD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DDF391-14C5-E941-BFD6-28EE12ACF47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154EA64-C67A-624C-A147-549F97A9164D}" type="slidenum">
              <a:rPr lang="en-US" smtClean="0"/>
              <a:pPr/>
              <a:t>84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95A2F1-964B-8042-9E46-0356158C3A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ience, technology</a:t>
            </a:r>
          </a:p>
        </p:txBody>
      </p:sp>
    </p:spTree>
    <p:extLst>
      <p:ext uri="{BB962C8B-B14F-4D97-AF65-F5344CB8AC3E}">
        <p14:creationId xmlns:p14="http://schemas.microsoft.com/office/powerpoint/2010/main" val="2045568144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18"/>
          <p:cNvSpPr>
            <a:spLocks noChangeArrowheads="1"/>
          </p:cNvSpPr>
          <p:nvPr/>
        </p:nvSpPr>
        <p:spPr bwMode="auto">
          <a:xfrm>
            <a:off x="6839872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36" name="Freeform 24"/>
          <p:cNvSpPr>
            <a:spLocks noEditPoints="1"/>
          </p:cNvSpPr>
          <p:nvPr/>
        </p:nvSpPr>
        <p:spPr bwMode="auto">
          <a:xfrm>
            <a:off x="7092565" y="1261358"/>
            <a:ext cx="318062" cy="548315"/>
          </a:xfrm>
          <a:custGeom>
            <a:avLst/>
            <a:gdLst>
              <a:gd name="T0" fmla="*/ 138 w 276"/>
              <a:gd name="T1" fmla="*/ 454 h 475"/>
              <a:gd name="T2" fmla="*/ 159 w 276"/>
              <a:gd name="T3" fmla="*/ 433 h 475"/>
              <a:gd name="T4" fmla="*/ 138 w 276"/>
              <a:gd name="T5" fmla="*/ 413 h 475"/>
              <a:gd name="T6" fmla="*/ 117 w 276"/>
              <a:gd name="T7" fmla="*/ 433 h 475"/>
              <a:gd name="T8" fmla="*/ 138 w 276"/>
              <a:gd name="T9" fmla="*/ 454 h 475"/>
              <a:gd name="T10" fmla="*/ 138 w 276"/>
              <a:gd name="T11" fmla="*/ 422 h 475"/>
              <a:gd name="T12" fmla="*/ 149 w 276"/>
              <a:gd name="T13" fmla="*/ 433 h 475"/>
              <a:gd name="T14" fmla="*/ 138 w 276"/>
              <a:gd name="T15" fmla="*/ 445 h 475"/>
              <a:gd name="T16" fmla="*/ 127 w 276"/>
              <a:gd name="T17" fmla="*/ 433 h 475"/>
              <a:gd name="T18" fmla="*/ 138 w 276"/>
              <a:gd name="T19" fmla="*/ 422 h 475"/>
              <a:gd name="T20" fmla="*/ 174 w 276"/>
              <a:gd name="T21" fmla="*/ 31 h 475"/>
              <a:gd name="T22" fmla="*/ 102 w 276"/>
              <a:gd name="T23" fmla="*/ 31 h 475"/>
              <a:gd name="T24" fmla="*/ 97 w 276"/>
              <a:gd name="T25" fmla="*/ 35 h 475"/>
              <a:gd name="T26" fmla="*/ 102 w 276"/>
              <a:gd name="T27" fmla="*/ 40 h 475"/>
              <a:gd name="T28" fmla="*/ 174 w 276"/>
              <a:gd name="T29" fmla="*/ 40 h 475"/>
              <a:gd name="T30" fmla="*/ 179 w 276"/>
              <a:gd name="T31" fmla="*/ 35 h 475"/>
              <a:gd name="T32" fmla="*/ 174 w 276"/>
              <a:gd name="T33" fmla="*/ 31 h 475"/>
              <a:gd name="T34" fmla="*/ 241 w 276"/>
              <a:gd name="T35" fmla="*/ 0 h 475"/>
              <a:gd name="T36" fmla="*/ 35 w 276"/>
              <a:gd name="T37" fmla="*/ 0 h 475"/>
              <a:gd name="T38" fmla="*/ 0 w 276"/>
              <a:gd name="T39" fmla="*/ 36 h 475"/>
              <a:gd name="T40" fmla="*/ 0 w 276"/>
              <a:gd name="T41" fmla="*/ 439 h 475"/>
              <a:gd name="T42" fmla="*/ 35 w 276"/>
              <a:gd name="T43" fmla="*/ 475 h 475"/>
              <a:gd name="T44" fmla="*/ 241 w 276"/>
              <a:gd name="T45" fmla="*/ 475 h 475"/>
              <a:gd name="T46" fmla="*/ 276 w 276"/>
              <a:gd name="T47" fmla="*/ 439 h 475"/>
              <a:gd name="T48" fmla="*/ 276 w 276"/>
              <a:gd name="T49" fmla="*/ 36 h 475"/>
              <a:gd name="T50" fmla="*/ 241 w 276"/>
              <a:gd name="T51" fmla="*/ 0 h 475"/>
              <a:gd name="T52" fmla="*/ 267 w 276"/>
              <a:gd name="T53" fmla="*/ 439 h 475"/>
              <a:gd name="T54" fmla="*/ 241 w 276"/>
              <a:gd name="T55" fmla="*/ 465 h 475"/>
              <a:gd name="T56" fmla="*/ 35 w 276"/>
              <a:gd name="T57" fmla="*/ 465 h 475"/>
              <a:gd name="T58" fmla="*/ 9 w 276"/>
              <a:gd name="T59" fmla="*/ 439 h 475"/>
              <a:gd name="T60" fmla="*/ 9 w 276"/>
              <a:gd name="T61" fmla="*/ 399 h 475"/>
              <a:gd name="T62" fmla="*/ 267 w 276"/>
              <a:gd name="T63" fmla="*/ 399 h 475"/>
              <a:gd name="T64" fmla="*/ 267 w 276"/>
              <a:gd name="T65" fmla="*/ 439 h 475"/>
              <a:gd name="T66" fmla="*/ 267 w 276"/>
              <a:gd name="T67" fmla="*/ 390 h 475"/>
              <a:gd name="T68" fmla="*/ 9 w 276"/>
              <a:gd name="T69" fmla="*/ 390 h 475"/>
              <a:gd name="T70" fmla="*/ 9 w 276"/>
              <a:gd name="T71" fmla="*/ 70 h 475"/>
              <a:gd name="T72" fmla="*/ 267 w 276"/>
              <a:gd name="T73" fmla="*/ 70 h 475"/>
              <a:gd name="T74" fmla="*/ 267 w 276"/>
              <a:gd name="T75" fmla="*/ 390 h 475"/>
              <a:gd name="T76" fmla="*/ 267 w 276"/>
              <a:gd name="T77" fmla="*/ 60 h 475"/>
              <a:gd name="T78" fmla="*/ 9 w 276"/>
              <a:gd name="T79" fmla="*/ 60 h 475"/>
              <a:gd name="T80" fmla="*/ 9 w 276"/>
              <a:gd name="T81" fmla="*/ 36 h 475"/>
              <a:gd name="T82" fmla="*/ 35 w 276"/>
              <a:gd name="T83" fmla="*/ 9 h 475"/>
              <a:gd name="T84" fmla="*/ 241 w 276"/>
              <a:gd name="T85" fmla="*/ 9 h 475"/>
              <a:gd name="T86" fmla="*/ 267 w 276"/>
              <a:gd name="T87" fmla="*/ 36 h 475"/>
              <a:gd name="T88" fmla="*/ 267 w 276"/>
              <a:gd name="T89" fmla="*/ 60 h 4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76" h="475">
                <a:moveTo>
                  <a:pt x="138" y="454"/>
                </a:moveTo>
                <a:cubicBezTo>
                  <a:pt x="149" y="454"/>
                  <a:pt x="159" y="445"/>
                  <a:pt x="159" y="433"/>
                </a:cubicBezTo>
                <a:cubicBezTo>
                  <a:pt x="159" y="422"/>
                  <a:pt x="149" y="413"/>
                  <a:pt x="138" y="413"/>
                </a:cubicBezTo>
                <a:cubicBezTo>
                  <a:pt x="127" y="413"/>
                  <a:pt x="117" y="422"/>
                  <a:pt x="117" y="433"/>
                </a:cubicBezTo>
                <a:cubicBezTo>
                  <a:pt x="117" y="445"/>
                  <a:pt x="127" y="454"/>
                  <a:pt x="138" y="454"/>
                </a:cubicBezTo>
                <a:close/>
                <a:moveTo>
                  <a:pt x="138" y="422"/>
                </a:moveTo>
                <a:cubicBezTo>
                  <a:pt x="144" y="422"/>
                  <a:pt x="149" y="427"/>
                  <a:pt x="149" y="433"/>
                </a:cubicBezTo>
                <a:cubicBezTo>
                  <a:pt x="149" y="440"/>
                  <a:pt x="144" y="445"/>
                  <a:pt x="138" y="445"/>
                </a:cubicBezTo>
                <a:cubicBezTo>
                  <a:pt x="132" y="445"/>
                  <a:pt x="127" y="440"/>
                  <a:pt x="127" y="433"/>
                </a:cubicBezTo>
                <a:cubicBezTo>
                  <a:pt x="127" y="427"/>
                  <a:pt x="132" y="422"/>
                  <a:pt x="138" y="422"/>
                </a:cubicBezTo>
                <a:close/>
                <a:moveTo>
                  <a:pt x="174" y="31"/>
                </a:moveTo>
                <a:cubicBezTo>
                  <a:pt x="102" y="31"/>
                  <a:pt x="102" y="31"/>
                  <a:pt x="102" y="31"/>
                </a:cubicBezTo>
                <a:cubicBezTo>
                  <a:pt x="99" y="31"/>
                  <a:pt x="97" y="33"/>
                  <a:pt x="97" y="35"/>
                </a:cubicBezTo>
                <a:cubicBezTo>
                  <a:pt x="97" y="38"/>
                  <a:pt x="99" y="40"/>
                  <a:pt x="102" y="40"/>
                </a:cubicBezTo>
                <a:cubicBezTo>
                  <a:pt x="174" y="40"/>
                  <a:pt x="174" y="40"/>
                  <a:pt x="174" y="40"/>
                </a:cubicBezTo>
                <a:cubicBezTo>
                  <a:pt x="177" y="40"/>
                  <a:pt x="179" y="38"/>
                  <a:pt x="179" y="35"/>
                </a:cubicBezTo>
                <a:cubicBezTo>
                  <a:pt x="179" y="33"/>
                  <a:pt x="177" y="31"/>
                  <a:pt x="174" y="31"/>
                </a:cubicBezTo>
                <a:close/>
                <a:moveTo>
                  <a:pt x="241" y="0"/>
                </a:moveTo>
                <a:cubicBezTo>
                  <a:pt x="35" y="0"/>
                  <a:pt x="35" y="0"/>
                  <a:pt x="35" y="0"/>
                </a:cubicBezTo>
                <a:cubicBezTo>
                  <a:pt x="16" y="0"/>
                  <a:pt x="0" y="16"/>
                  <a:pt x="0" y="36"/>
                </a:cubicBezTo>
                <a:cubicBezTo>
                  <a:pt x="0" y="439"/>
                  <a:pt x="0" y="439"/>
                  <a:pt x="0" y="439"/>
                </a:cubicBezTo>
                <a:cubicBezTo>
                  <a:pt x="0" y="459"/>
                  <a:pt x="16" y="475"/>
                  <a:pt x="35" y="475"/>
                </a:cubicBezTo>
                <a:cubicBezTo>
                  <a:pt x="241" y="475"/>
                  <a:pt x="241" y="475"/>
                  <a:pt x="241" y="475"/>
                </a:cubicBezTo>
                <a:cubicBezTo>
                  <a:pt x="260" y="475"/>
                  <a:pt x="276" y="459"/>
                  <a:pt x="276" y="439"/>
                </a:cubicBezTo>
                <a:cubicBezTo>
                  <a:pt x="276" y="36"/>
                  <a:pt x="276" y="36"/>
                  <a:pt x="276" y="36"/>
                </a:cubicBezTo>
                <a:cubicBezTo>
                  <a:pt x="276" y="16"/>
                  <a:pt x="260" y="0"/>
                  <a:pt x="241" y="0"/>
                </a:cubicBezTo>
                <a:close/>
                <a:moveTo>
                  <a:pt x="267" y="439"/>
                </a:moveTo>
                <a:cubicBezTo>
                  <a:pt x="267" y="454"/>
                  <a:pt x="255" y="465"/>
                  <a:pt x="241" y="465"/>
                </a:cubicBezTo>
                <a:cubicBezTo>
                  <a:pt x="35" y="465"/>
                  <a:pt x="35" y="465"/>
                  <a:pt x="35" y="465"/>
                </a:cubicBezTo>
                <a:cubicBezTo>
                  <a:pt x="21" y="465"/>
                  <a:pt x="9" y="454"/>
                  <a:pt x="9" y="439"/>
                </a:cubicBezTo>
                <a:cubicBezTo>
                  <a:pt x="9" y="399"/>
                  <a:pt x="9" y="399"/>
                  <a:pt x="9" y="399"/>
                </a:cubicBezTo>
                <a:cubicBezTo>
                  <a:pt x="267" y="399"/>
                  <a:pt x="267" y="399"/>
                  <a:pt x="267" y="399"/>
                </a:cubicBezTo>
                <a:lnTo>
                  <a:pt x="267" y="439"/>
                </a:lnTo>
                <a:close/>
                <a:moveTo>
                  <a:pt x="267" y="390"/>
                </a:moveTo>
                <a:cubicBezTo>
                  <a:pt x="9" y="390"/>
                  <a:pt x="9" y="390"/>
                  <a:pt x="9" y="390"/>
                </a:cubicBezTo>
                <a:cubicBezTo>
                  <a:pt x="9" y="70"/>
                  <a:pt x="9" y="70"/>
                  <a:pt x="9" y="70"/>
                </a:cubicBezTo>
                <a:cubicBezTo>
                  <a:pt x="267" y="70"/>
                  <a:pt x="267" y="70"/>
                  <a:pt x="267" y="70"/>
                </a:cubicBezTo>
                <a:lnTo>
                  <a:pt x="267" y="390"/>
                </a:lnTo>
                <a:close/>
                <a:moveTo>
                  <a:pt x="267" y="60"/>
                </a:moveTo>
                <a:cubicBezTo>
                  <a:pt x="9" y="60"/>
                  <a:pt x="9" y="60"/>
                  <a:pt x="9" y="60"/>
                </a:cubicBezTo>
                <a:cubicBezTo>
                  <a:pt x="9" y="36"/>
                  <a:pt x="9" y="36"/>
                  <a:pt x="9" y="36"/>
                </a:cubicBezTo>
                <a:cubicBezTo>
                  <a:pt x="9" y="21"/>
                  <a:pt x="21" y="9"/>
                  <a:pt x="35" y="9"/>
                </a:cubicBezTo>
                <a:cubicBezTo>
                  <a:pt x="241" y="9"/>
                  <a:pt x="241" y="9"/>
                  <a:pt x="241" y="9"/>
                </a:cubicBezTo>
                <a:cubicBezTo>
                  <a:pt x="255" y="9"/>
                  <a:pt x="267" y="21"/>
                  <a:pt x="267" y="36"/>
                </a:cubicBezTo>
                <a:lnTo>
                  <a:pt x="267" y="6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2" name="Oval 19"/>
          <p:cNvSpPr>
            <a:spLocks noChangeArrowheads="1"/>
          </p:cNvSpPr>
          <p:nvPr/>
        </p:nvSpPr>
        <p:spPr bwMode="auto">
          <a:xfrm>
            <a:off x="5547130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57" name="Freeform 25"/>
          <p:cNvSpPr>
            <a:spLocks noEditPoints="1"/>
          </p:cNvSpPr>
          <p:nvPr/>
        </p:nvSpPr>
        <p:spPr bwMode="auto">
          <a:xfrm>
            <a:off x="5701953" y="1324889"/>
            <a:ext cx="512336" cy="421254"/>
          </a:xfrm>
          <a:custGeom>
            <a:avLst/>
            <a:gdLst>
              <a:gd name="T0" fmla="*/ 414 w 444"/>
              <a:gd name="T1" fmla="*/ 172 h 365"/>
              <a:gd name="T2" fmla="*/ 392 w 444"/>
              <a:gd name="T3" fmla="*/ 0 h 365"/>
              <a:gd name="T4" fmla="*/ 0 w 444"/>
              <a:gd name="T5" fmla="*/ 22 h 365"/>
              <a:gd name="T6" fmla="*/ 22 w 444"/>
              <a:gd name="T7" fmla="*/ 283 h 365"/>
              <a:gd name="T8" fmla="*/ 144 w 444"/>
              <a:gd name="T9" fmla="*/ 355 h 365"/>
              <a:gd name="T10" fmla="*/ 118 w 444"/>
              <a:gd name="T11" fmla="*/ 360 h 365"/>
              <a:gd name="T12" fmla="*/ 291 w 444"/>
              <a:gd name="T13" fmla="*/ 365 h 365"/>
              <a:gd name="T14" fmla="*/ 291 w 444"/>
              <a:gd name="T15" fmla="*/ 355 h 365"/>
              <a:gd name="T16" fmla="*/ 254 w 444"/>
              <a:gd name="T17" fmla="*/ 283 h 365"/>
              <a:gd name="T18" fmla="*/ 326 w 444"/>
              <a:gd name="T19" fmla="*/ 348 h 365"/>
              <a:gd name="T20" fmla="*/ 427 w 444"/>
              <a:gd name="T21" fmla="*/ 365 h 365"/>
              <a:gd name="T22" fmla="*/ 444 w 444"/>
              <a:gd name="T23" fmla="*/ 189 h 365"/>
              <a:gd name="T24" fmla="*/ 10 w 444"/>
              <a:gd name="T25" fmla="*/ 22 h 365"/>
              <a:gd name="T26" fmla="*/ 392 w 444"/>
              <a:gd name="T27" fmla="*/ 9 h 365"/>
              <a:gd name="T28" fmla="*/ 404 w 444"/>
              <a:gd name="T29" fmla="*/ 36 h 365"/>
              <a:gd name="T30" fmla="*/ 10 w 444"/>
              <a:gd name="T31" fmla="*/ 22 h 365"/>
              <a:gd name="T32" fmla="*/ 158 w 444"/>
              <a:gd name="T33" fmla="*/ 355 h 365"/>
              <a:gd name="T34" fmla="*/ 245 w 444"/>
              <a:gd name="T35" fmla="*/ 283 h 365"/>
              <a:gd name="T36" fmla="*/ 259 w 444"/>
              <a:gd name="T37" fmla="*/ 355 h 365"/>
              <a:gd name="T38" fmla="*/ 22 w 444"/>
              <a:gd name="T39" fmla="*/ 273 h 365"/>
              <a:gd name="T40" fmla="*/ 10 w 444"/>
              <a:gd name="T41" fmla="*/ 247 h 365"/>
              <a:gd name="T42" fmla="*/ 326 w 444"/>
              <a:gd name="T43" fmla="*/ 273 h 365"/>
              <a:gd name="T44" fmla="*/ 326 w 444"/>
              <a:gd name="T45" fmla="*/ 237 h 365"/>
              <a:gd name="T46" fmla="*/ 10 w 444"/>
              <a:gd name="T47" fmla="*/ 45 h 365"/>
              <a:gd name="T48" fmla="*/ 404 w 444"/>
              <a:gd name="T49" fmla="*/ 172 h 365"/>
              <a:gd name="T50" fmla="*/ 326 w 444"/>
              <a:gd name="T51" fmla="*/ 189 h 365"/>
              <a:gd name="T52" fmla="*/ 427 w 444"/>
              <a:gd name="T53" fmla="*/ 355 h 365"/>
              <a:gd name="T54" fmla="*/ 336 w 444"/>
              <a:gd name="T55" fmla="*/ 348 h 365"/>
              <a:gd name="T56" fmla="*/ 434 w 444"/>
              <a:gd name="T57" fmla="*/ 339 h 365"/>
              <a:gd name="T58" fmla="*/ 434 w 444"/>
              <a:gd name="T59" fmla="*/ 329 h 365"/>
              <a:gd name="T60" fmla="*/ 336 w 444"/>
              <a:gd name="T61" fmla="*/ 205 h 365"/>
              <a:gd name="T62" fmla="*/ 434 w 444"/>
              <a:gd name="T63" fmla="*/ 329 h 365"/>
              <a:gd name="T64" fmla="*/ 336 w 444"/>
              <a:gd name="T65" fmla="*/ 196 h 365"/>
              <a:gd name="T66" fmla="*/ 343 w 444"/>
              <a:gd name="T67" fmla="*/ 181 h 365"/>
              <a:gd name="T68" fmla="*/ 434 w 444"/>
              <a:gd name="T69" fmla="*/ 189 h 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44" h="365">
                <a:moveTo>
                  <a:pt x="427" y="172"/>
                </a:moveTo>
                <a:cubicBezTo>
                  <a:pt x="414" y="172"/>
                  <a:pt x="414" y="172"/>
                  <a:pt x="414" y="172"/>
                </a:cubicBezTo>
                <a:cubicBezTo>
                  <a:pt x="414" y="22"/>
                  <a:pt x="414" y="22"/>
                  <a:pt x="414" y="22"/>
                </a:cubicBezTo>
                <a:cubicBezTo>
                  <a:pt x="414" y="10"/>
                  <a:pt x="404" y="0"/>
                  <a:pt x="392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10" y="0"/>
                  <a:pt x="0" y="10"/>
                  <a:pt x="0" y="22"/>
                </a:cubicBezTo>
                <a:cubicBezTo>
                  <a:pt x="0" y="261"/>
                  <a:pt x="0" y="261"/>
                  <a:pt x="0" y="261"/>
                </a:cubicBezTo>
                <a:cubicBezTo>
                  <a:pt x="0" y="273"/>
                  <a:pt x="10" y="283"/>
                  <a:pt x="22" y="283"/>
                </a:cubicBezTo>
                <a:cubicBezTo>
                  <a:pt x="163" y="283"/>
                  <a:pt x="163" y="283"/>
                  <a:pt x="163" y="283"/>
                </a:cubicBezTo>
                <a:cubicBezTo>
                  <a:pt x="161" y="319"/>
                  <a:pt x="154" y="355"/>
                  <a:pt x="144" y="355"/>
                </a:cubicBezTo>
                <a:cubicBezTo>
                  <a:pt x="123" y="355"/>
                  <a:pt x="123" y="355"/>
                  <a:pt x="123" y="355"/>
                </a:cubicBezTo>
                <a:cubicBezTo>
                  <a:pt x="120" y="355"/>
                  <a:pt x="118" y="358"/>
                  <a:pt x="118" y="360"/>
                </a:cubicBezTo>
                <a:cubicBezTo>
                  <a:pt x="118" y="363"/>
                  <a:pt x="120" y="365"/>
                  <a:pt x="123" y="365"/>
                </a:cubicBezTo>
                <a:cubicBezTo>
                  <a:pt x="291" y="365"/>
                  <a:pt x="291" y="365"/>
                  <a:pt x="291" y="365"/>
                </a:cubicBezTo>
                <a:cubicBezTo>
                  <a:pt x="294" y="365"/>
                  <a:pt x="296" y="363"/>
                  <a:pt x="296" y="360"/>
                </a:cubicBezTo>
                <a:cubicBezTo>
                  <a:pt x="296" y="358"/>
                  <a:pt x="294" y="355"/>
                  <a:pt x="291" y="355"/>
                </a:cubicBezTo>
                <a:cubicBezTo>
                  <a:pt x="273" y="355"/>
                  <a:pt x="273" y="355"/>
                  <a:pt x="273" y="355"/>
                </a:cubicBezTo>
                <a:cubicBezTo>
                  <a:pt x="264" y="355"/>
                  <a:pt x="256" y="319"/>
                  <a:pt x="254" y="283"/>
                </a:cubicBezTo>
                <a:cubicBezTo>
                  <a:pt x="326" y="283"/>
                  <a:pt x="326" y="283"/>
                  <a:pt x="326" y="283"/>
                </a:cubicBezTo>
                <a:cubicBezTo>
                  <a:pt x="326" y="348"/>
                  <a:pt x="326" y="348"/>
                  <a:pt x="326" y="348"/>
                </a:cubicBezTo>
                <a:cubicBezTo>
                  <a:pt x="326" y="357"/>
                  <a:pt x="334" y="365"/>
                  <a:pt x="343" y="365"/>
                </a:cubicBezTo>
                <a:cubicBezTo>
                  <a:pt x="427" y="365"/>
                  <a:pt x="427" y="365"/>
                  <a:pt x="427" y="365"/>
                </a:cubicBezTo>
                <a:cubicBezTo>
                  <a:pt x="436" y="365"/>
                  <a:pt x="444" y="357"/>
                  <a:pt x="444" y="348"/>
                </a:cubicBezTo>
                <a:cubicBezTo>
                  <a:pt x="444" y="189"/>
                  <a:pt x="444" y="189"/>
                  <a:pt x="444" y="189"/>
                </a:cubicBezTo>
                <a:cubicBezTo>
                  <a:pt x="444" y="179"/>
                  <a:pt x="436" y="172"/>
                  <a:pt x="427" y="172"/>
                </a:cubicBezTo>
                <a:close/>
                <a:moveTo>
                  <a:pt x="10" y="22"/>
                </a:moveTo>
                <a:cubicBezTo>
                  <a:pt x="10" y="15"/>
                  <a:pt x="15" y="9"/>
                  <a:pt x="22" y="9"/>
                </a:cubicBezTo>
                <a:cubicBezTo>
                  <a:pt x="392" y="9"/>
                  <a:pt x="392" y="9"/>
                  <a:pt x="392" y="9"/>
                </a:cubicBezTo>
                <a:cubicBezTo>
                  <a:pt x="399" y="9"/>
                  <a:pt x="404" y="15"/>
                  <a:pt x="404" y="22"/>
                </a:cubicBezTo>
                <a:cubicBezTo>
                  <a:pt x="404" y="36"/>
                  <a:pt x="404" y="36"/>
                  <a:pt x="404" y="36"/>
                </a:cubicBezTo>
                <a:cubicBezTo>
                  <a:pt x="10" y="36"/>
                  <a:pt x="10" y="36"/>
                  <a:pt x="10" y="36"/>
                </a:cubicBezTo>
                <a:lnTo>
                  <a:pt x="10" y="22"/>
                </a:lnTo>
                <a:close/>
                <a:moveTo>
                  <a:pt x="259" y="355"/>
                </a:moveTo>
                <a:cubicBezTo>
                  <a:pt x="158" y="355"/>
                  <a:pt x="158" y="355"/>
                  <a:pt x="158" y="355"/>
                </a:cubicBezTo>
                <a:cubicBezTo>
                  <a:pt x="169" y="338"/>
                  <a:pt x="172" y="301"/>
                  <a:pt x="172" y="283"/>
                </a:cubicBezTo>
                <a:cubicBezTo>
                  <a:pt x="245" y="283"/>
                  <a:pt x="245" y="283"/>
                  <a:pt x="245" y="283"/>
                </a:cubicBezTo>
                <a:cubicBezTo>
                  <a:pt x="245" y="290"/>
                  <a:pt x="246" y="305"/>
                  <a:pt x="249" y="320"/>
                </a:cubicBezTo>
                <a:cubicBezTo>
                  <a:pt x="251" y="336"/>
                  <a:pt x="255" y="348"/>
                  <a:pt x="259" y="355"/>
                </a:cubicBezTo>
                <a:close/>
                <a:moveTo>
                  <a:pt x="326" y="273"/>
                </a:moveTo>
                <a:cubicBezTo>
                  <a:pt x="22" y="273"/>
                  <a:pt x="22" y="273"/>
                  <a:pt x="22" y="273"/>
                </a:cubicBezTo>
                <a:cubicBezTo>
                  <a:pt x="15" y="273"/>
                  <a:pt x="10" y="268"/>
                  <a:pt x="10" y="261"/>
                </a:cubicBezTo>
                <a:cubicBezTo>
                  <a:pt x="10" y="247"/>
                  <a:pt x="10" y="247"/>
                  <a:pt x="10" y="247"/>
                </a:cubicBezTo>
                <a:cubicBezTo>
                  <a:pt x="326" y="247"/>
                  <a:pt x="326" y="247"/>
                  <a:pt x="326" y="247"/>
                </a:cubicBezTo>
                <a:lnTo>
                  <a:pt x="326" y="273"/>
                </a:lnTo>
                <a:close/>
                <a:moveTo>
                  <a:pt x="326" y="189"/>
                </a:moveTo>
                <a:cubicBezTo>
                  <a:pt x="326" y="237"/>
                  <a:pt x="326" y="237"/>
                  <a:pt x="326" y="237"/>
                </a:cubicBezTo>
                <a:cubicBezTo>
                  <a:pt x="10" y="237"/>
                  <a:pt x="10" y="237"/>
                  <a:pt x="10" y="237"/>
                </a:cubicBezTo>
                <a:cubicBezTo>
                  <a:pt x="10" y="45"/>
                  <a:pt x="10" y="45"/>
                  <a:pt x="10" y="45"/>
                </a:cubicBezTo>
                <a:cubicBezTo>
                  <a:pt x="404" y="45"/>
                  <a:pt x="404" y="45"/>
                  <a:pt x="404" y="45"/>
                </a:cubicBezTo>
                <a:cubicBezTo>
                  <a:pt x="404" y="172"/>
                  <a:pt x="404" y="172"/>
                  <a:pt x="404" y="172"/>
                </a:cubicBezTo>
                <a:cubicBezTo>
                  <a:pt x="343" y="172"/>
                  <a:pt x="343" y="172"/>
                  <a:pt x="343" y="172"/>
                </a:cubicBezTo>
                <a:cubicBezTo>
                  <a:pt x="334" y="172"/>
                  <a:pt x="326" y="179"/>
                  <a:pt x="326" y="189"/>
                </a:cubicBezTo>
                <a:close/>
                <a:moveTo>
                  <a:pt x="434" y="348"/>
                </a:moveTo>
                <a:cubicBezTo>
                  <a:pt x="434" y="352"/>
                  <a:pt x="431" y="355"/>
                  <a:pt x="427" y="355"/>
                </a:cubicBezTo>
                <a:cubicBezTo>
                  <a:pt x="343" y="355"/>
                  <a:pt x="343" y="355"/>
                  <a:pt x="343" y="355"/>
                </a:cubicBezTo>
                <a:cubicBezTo>
                  <a:pt x="339" y="355"/>
                  <a:pt x="336" y="352"/>
                  <a:pt x="336" y="348"/>
                </a:cubicBezTo>
                <a:cubicBezTo>
                  <a:pt x="336" y="339"/>
                  <a:pt x="336" y="339"/>
                  <a:pt x="336" y="339"/>
                </a:cubicBezTo>
                <a:cubicBezTo>
                  <a:pt x="434" y="339"/>
                  <a:pt x="434" y="339"/>
                  <a:pt x="434" y="339"/>
                </a:cubicBezTo>
                <a:lnTo>
                  <a:pt x="434" y="348"/>
                </a:lnTo>
                <a:close/>
                <a:moveTo>
                  <a:pt x="434" y="329"/>
                </a:moveTo>
                <a:cubicBezTo>
                  <a:pt x="336" y="329"/>
                  <a:pt x="336" y="329"/>
                  <a:pt x="336" y="329"/>
                </a:cubicBezTo>
                <a:cubicBezTo>
                  <a:pt x="336" y="205"/>
                  <a:pt x="336" y="205"/>
                  <a:pt x="336" y="205"/>
                </a:cubicBezTo>
                <a:cubicBezTo>
                  <a:pt x="434" y="205"/>
                  <a:pt x="434" y="205"/>
                  <a:pt x="434" y="205"/>
                </a:cubicBezTo>
                <a:lnTo>
                  <a:pt x="434" y="329"/>
                </a:lnTo>
                <a:close/>
                <a:moveTo>
                  <a:pt x="434" y="196"/>
                </a:moveTo>
                <a:cubicBezTo>
                  <a:pt x="336" y="196"/>
                  <a:pt x="336" y="196"/>
                  <a:pt x="336" y="196"/>
                </a:cubicBezTo>
                <a:cubicBezTo>
                  <a:pt x="336" y="189"/>
                  <a:pt x="336" y="189"/>
                  <a:pt x="336" y="189"/>
                </a:cubicBezTo>
                <a:cubicBezTo>
                  <a:pt x="336" y="184"/>
                  <a:pt x="339" y="181"/>
                  <a:pt x="343" y="181"/>
                </a:cubicBezTo>
                <a:cubicBezTo>
                  <a:pt x="427" y="181"/>
                  <a:pt x="427" y="181"/>
                  <a:pt x="427" y="181"/>
                </a:cubicBezTo>
                <a:cubicBezTo>
                  <a:pt x="431" y="181"/>
                  <a:pt x="434" y="184"/>
                  <a:pt x="434" y="189"/>
                </a:cubicBezTo>
                <a:lnTo>
                  <a:pt x="434" y="19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3" name="Oval 20"/>
          <p:cNvSpPr>
            <a:spLocks noChangeArrowheads="1"/>
          </p:cNvSpPr>
          <p:nvPr/>
        </p:nvSpPr>
        <p:spPr bwMode="auto">
          <a:xfrm>
            <a:off x="4254386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58" name="Freeform 26"/>
          <p:cNvSpPr>
            <a:spLocks noEditPoints="1"/>
          </p:cNvSpPr>
          <p:nvPr/>
        </p:nvSpPr>
        <p:spPr bwMode="auto">
          <a:xfrm>
            <a:off x="4448397" y="1324889"/>
            <a:ext cx="495047" cy="421254"/>
          </a:xfrm>
          <a:custGeom>
            <a:avLst/>
            <a:gdLst>
              <a:gd name="T0" fmla="*/ 429 w 429"/>
              <a:gd name="T1" fmla="*/ 238 h 365"/>
              <a:gd name="T2" fmla="*/ 429 w 429"/>
              <a:gd name="T3" fmla="*/ 22 h 365"/>
              <a:gd name="T4" fmla="*/ 407 w 429"/>
              <a:gd name="T5" fmla="*/ 0 h 365"/>
              <a:gd name="T6" fmla="*/ 22 w 429"/>
              <a:gd name="T7" fmla="*/ 0 h 365"/>
              <a:gd name="T8" fmla="*/ 0 w 429"/>
              <a:gd name="T9" fmla="*/ 22 h 365"/>
              <a:gd name="T10" fmla="*/ 0 w 429"/>
              <a:gd name="T11" fmla="*/ 261 h 365"/>
              <a:gd name="T12" fmla="*/ 22 w 429"/>
              <a:gd name="T13" fmla="*/ 283 h 365"/>
              <a:gd name="T14" fmla="*/ 169 w 429"/>
              <a:gd name="T15" fmla="*/ 283 h 365"/>
              <a:gd name="T16" fmla="*/ 150 w 429"/>
              <a:gd name="T17" fmla="*/ 355 h 365"/>
              <a:gd name="T18" fmla="*/ 130 w 429"/>
              <a:gd name="T19" fmla="*/ 355 h 365"/>
              <a:gd name="T20" fmla="*/ 126 w 429"/>
              <a:gd name="T21" fmla="*/ 360 h 365"/>
              <a:gd name="T22" fmla="*/ 130 w 429"/>
              <a:gd name="T23" fmla="*/ 365 h 365"/>
              <a:gd name="T24" fmla="*/ 298 w 429"/>
              <a:gd name="T25" fmla="*/ 365 h 365"/>
              <a:gd name="T26" fmla="*/ 303 w 429"/>
              <a:gd name="T27" fmla="*/ 360 h 365"/>
              <a:gd name="T28" fmla="*/ 298 w 429"/>
              <a:gd name="T29" fmla="*/ 355 h 365"/>
              <a:gd name="T30" fmla="*/ 279 w 429"/>
              <a:gd name="T31" fmla="*/ 355 h 365"/>
              <a:gd name="T32" fmla="*/ 260 w 429"/>
              <a:gd name="T33" fmla="*/ 283 h 365"/>
              <a:gd name="T34" fmla="*/ 407 w 429"/>
              <a:gd name="T35" fmla="*/ 283 h 365"/>
              <a:gd name="T36" fmla="*/ 429 w 429"/>
              <a:gd name="T37" fmla="*/ 261 h 365"/>
              <a:gd name="T38" fmla="*/ 429 w 429"/>
              <a:gd name="T39" fmla="*/ 238 h 365"/>
              <a:gd name="T40" fmla="*/ 429 w 429"/>
              <a:gd name="T41" fmla="*/ 238 h 365"/>
              <a:gd name="T42" fmla="*/ 429 w 429"/>
              <a:gd name="T43" fmla="*/ 238 h 365"/>
              <a:gd name="T44" fmla="*/ 265 w 429"/>
              <a:gd name="T45" fmla="*/ 355 h 365"/>
              <a:gd name="T46" fmla="*/ 163 w 429"/>
              <a:gd name="T47" fmla="*/ 355 h 365"/>
              <a:gd name="T48" fmla="*/ 178 w 429"/>
              <a:gd name="T49" fmla="*/ 283 h 365"/>
              <a:gd name="T50" fmla="*/ 250 w 429"/>
              <a:gd name="T51" fmla="*/ 283 h 365"/>
              <a:gd name="T52" fmla="*/ 254 w 429"/>
              <a:gd name="T53" fmla="*/ 320 h 365"/>
              <a:gd name="T54" fmla="*/ 265 w 429"/>
              <a:gd name="T55" fmla="*/ 355 h 365"/>
              <a:gd name="T56" fmla="*/ 419 w 429"/>
              <a:gd name="T57" fmla="*/ 261 h 365"/>
              <a:gd name="T58" fmla="*/ 407 w 429"/>
              <a:gd name="T59" fmla="*/ 273 h 365"/>
              <a:gd name="T60" fmla="*/ 22 w 429"/>
              <a:gd name="T61" fmla="*/ 273 h 365"/>
              <a:gd name="T62" fmla="*/ 10 w 429"/>
              <a:gd name="T63" fmla="*/ 261 h 365"/>
              <a:gd name="T64" fmla="*/ 10 w 429"/>
              <a:gd name="T65" fmla="*/ 243 h 365"/>
              <a:gd name="T66" fmla="*/ 419 w 429"/>
              <a:gd name="T67" fmla="*/ 243 h 365"/>
              <a:gd name="T68" fmla="*/ 419 w 429"/>
              <a:gd name="T69" fmla="*/ 261 h 365"/>
              <a:gd name="T70" fmla="*/ 419 w 429"/>
              <a:gd name="T71" fmla="*/ 234 h 365"/>
              <a:gd name="T72" fmla="*/ 10 w 429"/>
              <a:gd name="T73" fmla="*/ 234 h 365"/>
              <a:gd name="T74" fmla="*/ 10 w 429"/>
              <a:gd name="T75" fmla="*/ 45 h 365"/>
              <a:gd name="T76" fmla="*/ 419 w 429"/>
              <a:gd name="T77" fmla="*/ 45 h 365"/>
              <a:gd name="T78" fmla="*/ 419 w 429"/>
              <a:gd name="T79" fmla="*/ 234 h 365"/>
              <a:gd name="T80" fmla="*/ 419 w 429"/>
              <a:gd name="T81" fmla="*/ 36 h 365"/>
              <a:gd name="T82" fmla="*/ 10 w 429"/>
              <a:gd name="T83" fmla="*/ 36 h 365"/>
              <a:gd name="T84" fmla="*/ 10 w 429"/>
              <a:gd name="T85" fmla="*/ 22 h 365"/>
              <a:gd name="T86" fmla="*/ 22 w 429"/>
              <a:gd name="T87" fmla="*/ 9 h 365"/>
              <a:gd name="T88" fmla="*/ 407 w 429"/>
              <a:gd name="T89" fmla="*/ 9 h 365"/>
              <a:gd name="T90" fmla="*/ 419 w 429"/>
              <a:gd name="T91" fmla="*/ 22 h 365"/>
              <a:gd name="T92" fmla="*/ 419 w 429"/>
              <a:gd name="T93" fmla="*/ 36 h 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29" h="365">
                <a:moveTo>
                  <a:pt x="429" y="238"/>
                </a:moveTo>
                <a:cubicBezTo>
                  <a:pt x="429" y="22"/>
                  <a:pt x="429" y="22"/>
                  <a:pt x="429" y="22"/>
                </a:cubicBezTo>
                <a:cubicBezTo>
                  <a:pt x="429" y="10"/>
                  <a:pt x="419" y="0"/>
                  <a:pt x="407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10" y="0"/>
                  <a:pt x="0" y="10"/>
                  <a:pt x="0" y="22"/>
                </a:cubicBezTo>
                <a:cubicBezTo>
                  <a:pt x="0" y="261"/>
                  <a:pt x="0" y="261"/>
                  <a:pt x="0" y="261"/>
                </a:cubicBezTo>
                <a:cubicBezTo>
                  <a:pt x="0" y="273"/>
                  <a:pt x="10" y="283"/>
                  <a:pt x="22" y="283"/>
                </a:cubicBezTo>
                <a:cubicBezTo>
                  <a:pt x="169" y="283"/>
                  <a:pt x="169" y="283"/>
                  <a:pt x="169" y="283"/>
                </a:cubicBezTo>
                <a:cubicBezTo>
                  <a:pt x="167" y="319"/>
                  <a:pt x="159" y="355"/>
                  <a:pt x="150" y="355"/>
                </a:cubicBezTo>
                <a:cubicBezTo>
                  <a:pt x="130" y="355"/>
                  <a:pt x="130" y="355"/>
                  <a:pt x="130" y="355"/>
                </a:cubicBezTo>
                <a:cubicBezTo>
                  <a:pt x="128" y="355"/>
                  <a:pt x="126" y="358"/>
                  <a:pt x="126" y="360"/>
                </a:cubicBezTo>
                <a:cubicBezTo>
                  <a:pt x="126" y="363"/>
                  <a:pt x="128" y="365"/>
                  <a:pt x="130" y="365"/>
                </a:cubicBezTo>
                <a:cubicBezTo>
                  <a:pt x="298" y="365"/>
                  <a:pt x="298" y="365"/>
                  <a:pt x="298" y="365"/>
                </a:cubicBezTo>
                <a:cubicBezTo>
                  <a:pt x="301" y="365"/>
                  <a:pt x="303" y="363"/>
                  <a:pt x="303" y="360"/>
                </a:cubicBezTo>
                <a:cubicBezTo>
                  <a:pt x="303" y="358"/>
                  <a:pt x="301" y="355"/>
                  <a:pt x="298" y="355"/>
                </a:cubicBezTo>
                <a:cubicBezTo>
                  <a:pt x="279" y="355"/>
                  <a:pt x="279" y="355"/>
                  <a:pt x="279" y="355"/>
                </a:cubicBezTo>
                <a:cubicBezTo>
                  <a:pt x="269" y="355"/>
                  <a:pt x="262" y="319"/>
                  <a:pt x="260" y="283"/>
                </a:cubicBezTo>
                <a:cubicBezTo>
                  <a:pt x="407" y="283"/>
                  <a:pt x="407" y="283"/>
                  <a:pt x="407" y="283"/>
                </a:cubicBezTo>
                <a:cubicBezTo>
                  <a:pt x="419" y="283"/>
                  <a:pt x="429" y="273"/>
                  <a:pt x="429" y="261"/>
                </a:cubicBezTo>
                <a:cubicBezTo>
                  <a:pt x="429" y="238"/>
                  <a:pt x="429" y="238"/>
                  <a:pt x="429" y="238"/>
                </a:cubicBezTo>
                <a:cubicBezTo>
                  <a:pt x="429" y="238"/>
                  <a:pt x="429" y="238"/>
                  <a:pt x="429" y="238"/>
                </a:cubicBezTo>
                <a:cubicBezTo>
                  <a:pt x="429" y="238"/>
                  <a:pt x="429" y="238"/>
                  <a:pt x="429" y="238"/>
                </a:cubicBezTo>
                <a:close/>
                <a:moveTo>
                  <a:pt x="265" y="355"/>
                </a:moveTo>
                <a:cubicBezTo>
                  <a:pt x="163" y="355"/>
                  <a:pt x="163" y="355"/>
                  <a:pt x="163" y="355"/>
                </a:cubicBezTo>
                <a:cubicBezTo>
                  <a:pt x="174" y="338"/>
                  <a:pt x="177" y="301"/>
                  <a:pt x="178" y="283"/>
                </a:cubicBezTo>
                <a:cubicBezTo>
                  <a:pt x="250" y="283"/>
                  <a:pt x="250" y="283"/>
                  <a:pt x="250" y="283"/>
                </a:cubicBezTo>
                <a:cubicBezTo>
                  <a:pt x="251" y="290"/>
                  <a:pt x="252" y="305"/>
                  <a:pt x="254" y="320"/>
                </a:cubicBezTo>
                <a:cubicBezTo>
                  <a:pt x="257" y="336"/>
                  <a:pt x="261" y="348"/>
                  <a:pt x="265" y="355"/>
                </a:cubicBezTo>
                <a:close/>
                <a:moveTo>
                  <a:pt x="419" y="261"/>
                </a:moveTo>
                <a:cubicBezTo>
                  <a:pt x="419" y="268"/>
                  <a:pt x="414" y="273"/>
                  <a:pt x="407" y="273"/>
                </a:cubicBezTo>
                <a:cubicBezTo>
                  <a:pt x="22" y="273"/>
                  <a:pt x="22" y="273"/>
                  <a:pt x="22" y="273"/>
                </a:cubicBezTo>
                <a:cubicBezTo>
                  <a:pt x="15" y="273"/>
                  <a:pt x="10" y="268"/>
                  <a:pt x="10" y="261"/>
                </a:cubicBezTo>
                <a:cubicBezTo>
                  <a:pt x="10" y="243"/>
                  <a:pt x="10" y="243"/>
                  <a:pt x="10" y="243"/>
                </a:cubicBezTo>
                <a:cubicBezTo>
                  <a:pt x="419" y="243"/>
                  <a:pt x="419" y="243"/>
                  <a:pt x="419" y="243"/>
                </a:cubicBezTo>
                <a:lnTo>
                  <a:pt x="419" y="261"/>
                </a:lnTo>
                <a:close/>
                <a:moveTo>
                  <a:pt x="419" y="234"/>
                </a:moveTo>
                <a:cubicBezTo>
                  <a:pt x="10" y="234"/>
                  <a:pt x="10" y="234"/>
                  <a:pt x="10" y="234"/>
                </a:cubicBezTo>
                <a:cubicBezTo>
                  <a:pt x="10" y="45"/>
                  <a:pt x="10" y="45"/>
                  <a:pt x="10" y="45"/>
                </a:cubicBezTo>
                <a:cubicBezTo>
                  <a:pt x="419" y="45"/>
                  <a:pt x="419" y="45"/>
                  <a:pt x="419" y="45"/>
                </a:cubicBezTo>
                <a:lnTo>
                  <a:pt x="419" y="234"/>
                </a:lnTo>
                <a:close/>
                <a:moveTo>
                  <a:pt x="419" y="36"/>
                </a:moveTo>
                <a:cubicBezTo>
                  <a:pt x="10" y="36"/>
                  <a:pt x="10" y="36"/>
                  <a:pt x="10" y="36"/>
                </a:cubicBezTo>
                <a:cubicBezTo>
                  <a:pt x="10" y="22"/>
                  <a:pt x="10" y="22"/>
                  <a:pt x="10" y="22"/>
                </a:cubicBezTo>
                <a:cubicBezTo>
                  <a:pt x="10" y="15"/>
                  <a:pt x="15" y="9"/>
                  <a:pt x="22" y="9"/>
                </a:cubicBezTo>
                <a:cubicBezTo>
                  <a:pt x="407" y="9"/>
                  <a:pt x="407" y="9"/>
                  <a:pt x="407" y="9"/>
                </a:cubicBezTo>
                <a:cubicBezTo>
                  <a:pt x="414" y="9"/>
                  <a:pt x="419" y="15"/>
                  <a:pt x="419" y="22"/>
                </a:cubicBezTo>
                <a:lnTo>
                  <a:pt x="419" y="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5" name="Oval 22"/>
          <p:cNvSpPr>
            <a:spLocks noChangeArrowheads="1"/>
          </p:cNvSpPr>
          <p:nvPr/>
        </p:nvSpPr>
        <p:spPr bwMode="auto">
          <a:xfrm>
            <a:off x="1668898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59" name="Freeform 27"/>
          <p:cNvSpPr>
            <a:spLocks noEditPoints="1"/>
          </p:cNvSpPr>
          <p:nvPr/>
        </p:nvSpPr>
        <p:spPr bwMode="auto">
          <a:xfrm>
            <a:off x="1812000" y="1369849"/>
            <a:ext cx="536756" cy="331334"/>
          </a:xfrm>
          <a:custGeom>
            <a:avLst/>
            <a:gdLst>
              <a:gd name="T0" fmla="*/ 69 w 465"/>
              <a:gd name="T1" fmla="*/ 241 h 287"/>
              <a:gd name="T2" fmla="*/ 396 w 465"/>
              <a:gd name="T3" fmla="*/ 241 h 287"/>
              <a:gd name="T4" fmla="*/ 415 w 465"/>
              <a:gd name="T5" fmla="*/ 222 h 287"/>
              <a:gd name="T6" fmla="*/ 415 w 465"/>
              <a:gd name="T7" fmla="*/ 19 h 287"/>
              <a:gd name="T8" fmla="*/ 396 w 465"/>
              <a:gd name="T9" fmla="*/ 0 h 287"/>
              <a:gd name="T10" fmla="*/ 69 w 465"/>
              <a:gd name="T11" fmla="*/ 0 h 287"/>
              <a:gd name="T12" fmla="*/ 50 w 465"/>
              <a:gd name="T13" fmla="*/ 19 h 287"/>
              <a:gd name="T14" fmla="*/ 50 w 465"/>
              <a:gd name="T15" fmla="*/ 222 h 287"/>
              <a:gd name="T16" fmla="*/ 69 w 465"/>
              <a:gd name="T17" fmla="*/ 241 h 287"/>
              <a:gd name="T18" fmla="*/ 59 w 465"/>
              <a:gd name="T19" fmla="*/ 19 h 287"/>
              <a:gd name="T20" fmla="*/ 69 w 465"/>
              <a:gd name="T21" fmla="*/ 9 h 287"/>
              <a:gd name="T22" fmla="*/ 396 w 465"/>
              <a:gd name="T23" fmla="*/ 9 h 287"/>
              <a:gd name="T24" fmla="*/ 406 w 465"/>
              <a:gd name="T25" fmla="*/ 19 h 287"/>
              <a:gd name="T26" fmla="*/ 406 w 465"/>
              <a:gd name="T27" fmla="*/ 222 h 287"/>
              <a:gd name="T28" fmla="*/ 396 w 465"/>
              <a:gd name="T29" fmla="*/ 232 h 287"/>
              <a:gd name="T30" fmla="*/ 69 w 465"/>
              <a:gd name="T31" fmla="*/ 232 h 287"/>
              <a:gd name="T32" fmla="*/ 59 w 465"/>
              <a:gd name="T33" fmla="*/ 222 h 287"/>
              <a:gd name="T34" fmla="*/ 59 w 465"/>
              <a:gd name="T35" fmla="*/ 19 h 287"/>
              <a:gd name="T36" fmla="*/ 461 w 465"/>
              <a:gd name="T37" fmla="*/ 253 h 287"/>
              <a:gd name="T38" fmla="*/ 5 w 465"/>
              <a:gd name="T39" fmla="*/ 253 h 287"/>
              <a:gd name="T40" fmla="*/ 0 w 465"/>
              <a:gd name="T41" fmla="*/ 257 h 287"/>
              <a:gd name="T42" fmla="*/ 30 w 465"/>
              <a:gd name="T43" fmla="*/ 287 h 287"/>
              <a:gd name="T44" fmla="*/ 436 w 465"/>
              <a:gd name="T45" fmla="*/ 287 h 287"/>
              <a:gd name="T46" fmla="*/ 465 w 465"/>
              <a:gd name="T47" fmla="*/ 257 h 287"/>
              <a:gd name="T48" fmla="*/ 461 w 465"/>
              <a:gd name="T49" fmla="*/ 253 h 287"/>
              <a:gd name="T50" fmla="*/ 436 w 465"/>
              <a:gd name="T51" fmla="*/ 278 h 287"/>
              <a:gd name="T52" fmla="*/ 30 w 465"/>
              <a:gd name="T53" fmla="*/ 278 h 287"/>
              <a:gd name="T54" fmla="*/ 10 w 465"/>
              <a:gd name="T55" fmla="*/ 262 h 287"/>
              <a:gd name="T56" fmla="*/ 455 w 465"/>
              <a:gd name="T57" fmla="*/ 262 h 287"/>
              <a:gd name="T58" fmla="*/ 436 w 465"/>
              <a:gd name="T59" fmla="*/ 278 h 2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65" h="287">
                <a:moveTo>
                  <a:pt x="69" y="241"/>
                </a:moveTo>
                <a:cubicBezTo>
                  <a:pt x="396" y="241"/>
                  <a:pt x="396" y="241"/>
                  <a:pt x="396" y="241"/>
                </a:cubicBezTo>
                <a:cubicBezTo>
                  <a:pt x="407" y="241"/>
                  <a:pt x="415" y="233"/>
                  <a:pt x="415" y="222"/>
                </a:cubicBezTo>
                <a:cubicBezTo>
                  <a:pt x="415" y="19"/>
                  <a:pt x="415" y="19"/>
                  <a:pt x="415" y="19"/>
                </a:cubicBezTo>
                <a:cubicBezTo>
                  <a:pt x="415" y="8"/>
                  <a:pt x="407" y="0"/>
                  <a:pt x="396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59" y="0"/>
                  <a:pt x="50" y="8"/>
                  <a:pt x="50" y="19"/>
                </a:cubicBezTo>
                <a:cubicBezTo>
                  <a:pt x="50" y="222"/>
                  <a:pt x="50" y="222"/>
                  <a:pt x="50" y="222"/>
                </a:cubicBezTo>
                <a:cubicBezTo>
                  <a:pt x="50" y="233"/>
                  <a:pt x="59" y="241"/>
                  <a:pt x="69" y="241"/>
                </a:cubicBezTo>
                <a:close/>
                <a:moveTo>
                  <a:pt x="59" y="19"/>
                </a:moveTo>
                <a:cubicBezTo>
                  <a:pt x="59" y="13"/>
                  <a:pt x="64" y="9"/>
                  <a:pt x="69" y="9"/>
                </a:cubicBezTo>
                <a:cubicBezTo>
                  <a:pt x="396" y="9"/>
                  <a:pt x="396" y="9"/>
                  <a:pt x="396" y="9"/>
                </a:cubicBezTo>
                <a:cubicBezTo>
                  <a:pt x="402" y="9"/>
                  <a:pt x="406" y="13"/>
                  <a:pt x="406" y="19"/>
                </a:cubicBezTo>
                <a:cubicBezTo>
                  <a:pt x="406" y="222"/>
                  <a:pt x="406" y="222"/>
                  <a:pt x="406" y="222"/>
                </a:cubicBezTo>
                <a:cubicBezTo>
                  <a:pt x="406" y="227"/>
                  <a:pt x="402" y="232"/>
                  <a:pt x="396" y="232"/>
                </a:cubicBezTo>
                <a:cubicBezTo>
                  <a:pt x="69" y="232"/>
                  <a:pt x="69" y="232"/>
                  <a:pt x="69" y="232"/>
                </a:cubicBezTo>
                <a:cubicBezTo>
                  <a:pt x="64" y="232"/>
                  <a:pt x="59" y="227"/>
                  <a:pt x="59" y="222"/>
                </a:cubicBezTo>
                <a:lnTo>
                  <a:pt x="59" y="19"/>
                </a:lnTo>
                <a:close/>
                <a:moveTo>
                  <a:pt x="461" y="253"/>
                </a:moveTo>
                <a:cubicBezTo>
                  <a:pt x="5" y="253"/>
                  <a:pt x="5" y="253"/>
                  <a:pt x="5" y="253"/>
                </a:cubicBezTo>
                <a:cubicBezTo>
                  <a:pt x="2" y="253"/>
                  <a:pt x="0" y="255"/>
                  <a:pt x="0" y="257"/>
                </a:cubicBezTo>
                <a:cubicBezTo>
                  <a:pt x="0" y="274"/>
                  <a:pt x="14" y="287"/>
                  <a:pt x="30" y="287"/>
                </a:cubicBezTo>
                <a:cubicBezTo>
                  <a:pt x="436" y="287"/>
                  <a:pt x="436" y="287"/>
                  <a:pt x="436" y="287"/>
                </a:cubicBezTo>
                <a:cubicBezTo>
                  <a:pt x="452" y="287"/>
                  <a:pt x="465" y="274"/>
                  <a:pt x="465" y="257"/>
                </a:cubicBezTo>
                <a:cubicBezTo>
                  <a:pt x="465" y="255"/>
                  <a:pt x="463" y="253"/>
                  <a:pt x="461" y="253"/>
                </a:cubicBezTo>
                <a:close/>
                <a:moveTo>
                  <a:pt x="436" y="278"/>
                </a:moveTo>
                <a:cubicBezTo>
                  <a:pt x="30" y="278"/>
                  <a:pt x="30" y="278"/>
                  <a:pt x="30" y="278"/>
                </a:cubicBezTo>
                <a:cubicBezTo>
                  <a:pt x="20" y="278"/>
                  <a:pt x="12" y="271"/>
                  <a:pt x="10" y="262"/>
                </a:cubicBezTo>
                <a:cubicBezTo>
                  <a:pt x="455" y="262"/>
                  <a:pt x="455" y="262"/>
                  <a:pt x="455" y="262"/>
                </a:cubicBezTo>
                <a:cubicBezTo>
                  <a:pt x="453" y="271"/>
                  <a:pt x="445" y="278"/>
                  <a:pt x="436" y="27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" name="Oval 11"/>
          <p:cNvSpPr>
            <a:spLocks noChangeArrowheads="1"/>
          </p:cNvSpPr>
          <p:nvPr/>
        </p:nvSpPr>
        <p:spPr bwMode="auto">
          <a:xfrm>
            <a:off x="376155" y="31167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61" name="Freeform 28"/>
          <p:cNvSpPr>
            <a:spLocks noEditPoints="1"/>
          </p:cNvSpPr>
          <p:nvPr/>
        </p:nvSpPr>
        <p:spPr bwMode="auto">
          <a:xfrm>
            <a:off x="562237" y="3269082"/>
            <a:ext cx="452261" cy="519842"/>
          </a:xfrm>
          <a:custGeom>
            <a:avLst/>
            <a:gdLst>
              <a:gd name="T0" fmla="*/ 314 w 392"/>
              <a:gd name="T1" fmla="*/ 188 h 451"/>
              <a:gd name="T2" fmla="*/ 271 w 392"/>
              <a:gd name="T3" fmla="*/ 210 h 451"/>
              <a:gd name="T4" fmla="*/ 266 w 392"/>
              <a:gd name="T5" fmla="*/ 183 h 451"/>
              <a:gd name="T6" fmla="*/ 158 w 392"/>
              <a:gd name="T7" fmla="*/ 256 h 451"/>
              <a:gd name="T8" fmla="*/ 266 w 392"/>
              <a:gd name="T9" fmla="*/ 329 h 451"/>
              <a:gd name="T10" fmla="*/ 271 w 392"/>
              <a:gd name="T11" fmla="*/ 302 h 451"/>
              <a:gd name="T12" fmla="*/ 314 w 392"/>
              <a:gd name="T13" fmla="*/ 352 h 451"/>
              <a:gd name="T14" fmla="*/ 348 w 392"/>
              <a:gd name="T15" fmla="*/ 357 h 451"/>
              <a:gd name="T16" fmla="*/ 353 w 392"/>
              <a:gd name="T17" fmla="*/ 451 h 451"/>
              <a:gd name="T18" fmla="*/ 357 w 392"/>
              <a:gd name="T19" fmla="*/ 357 h 451"/>
              <a:gd name="T20" fmla="*/ 392 w 392"/>
              <a:gd name="T21" fmla="*/ 352 h 451"/>
              <a:gd name="T22" fmla="*/ 318 w 392"/>
              <a:gd name="T23" fmla="*/ 183 h 451"/>
              <a:gd name="T24" fmla="*/ 231 w 392"/>
              <a:gd name="T25" fmla="*/ 320 h 451"/>
              <a:gd name="T26" fmla="*/ 231 w 392"/>
              <a:gd name="T27" fmla="*/ 192 h 451"/>
              <a:gd name="T28" fmla="*/ 261 w 392"/>
              <a:gd name="T29" fmla="*/ 320 h 451"/>
              <a:gd name="T30" fmla="*/ 271 w 392"/>
              <a:gd name="T31" fmla="*/ 292 h 451"/>
              <a:gd name="T32" fmla="*/ 314 w 392"/>
              <a:gd name="T33" fmla="*/ 220 h 451"/>
              <a:gd name="T34" fmla="*/ 382 w 392"/>
              <a:gd name="T35" fmla="*/ 348 h 451"/>
              <a:gd name="T36" fmla="*/ 323 w 392"/>
              <a:gd name="T37" fmla="*/ 192 h 451"/>
              <a:gd name="T38" fmla="*/ 382 w 392"/>
              <a:gd name="T39" fmla="*/ 348 h 451"/>
              <a:gd name="T40" fmla="*/ 160 w 392"/>
              <a:gd name="T41" fmla="*/ 0 h 451"/>
              <a:gd name="T42" fmla="*/ 121 w 392"/>
              <a:gd name="T43" fmla="*/ 4 h 451"/>
              <a:gd name="T44" fmla="*/ 78 w 392"/>
              <a:gd name="T45" fmla="*/ 27 h 451"/>
              <a:gd name="T46" fmla="*/ 73 w 392"/>
              <a:gd name="T47" fmla="*/ 0 h 451"/>
              <a:gd name="T48" fmla="*/ 0 w 392"/>
              <a:gd name="T49" fmla="*/ 169 h 451"/>
              <a:gd name="T50" fmla="*/ 34 w 392"/>
              <a:gd name="T51" fmla="*/ 174 h 451"/>
              <a:gd name="T52" fmla="*/ 39 w 392"/>
              <a:gd name="T53" fmla="*/ 451 h 451"/>
              <a:gd name="T54" fmla="*/ 44 w 392"/>
              <a:gd name="T55" fmla="*/ 174 h 451"/>
              <a:gd name="T56" fmla="*/ 78 w 392"/>
              <a:gd name="T57" fmla="*/ 169 h 451"/>
              <a:gd name="T58" fmla="*/ 121 w 392"/>
              <a:gd name="T59" fmla="*/ 118 h 451"/>
              <a:gd name="T60" fmla="*/ 126 w 392"/>
              <a:gd name="T61" fmla="*/ 146 h 451"/>
              <a:gd name="T62" fmla="*/ 233 w 392"/>
              <a:gd name="T63" fmla="*/ 73 h 451"/>
              <a:gd name="T64" fmla="*/ 9 w 392"/>
              <a:gd name="T65" fmla="*/ 164 h 451"/>
              <a:gd name="T66" fmla="*/ 68 w 392"/>
              <a:gd name="T67" fmla="*/ 9 h 451"/>
              <a:gd name="T68" fmla="*/ 121 w 392"/>
              <a:gd name="T69" fmla="*/ 109 h 451"/>
              <a:gd name="T70" fmla="*/ 78 w 392"/>
              <a:gd name="T71" fmla="*/ 37 h 451"/>
              <a:gd name="T72" fmla="*/ 121 w 392"/>
              <a:gd name="T73" fmla="*/ 109 h 451"/>
              <a:gd name="T74" fmla="*/ 160 w 392"/>
              <a:gd name="T75" fmla="*/ 9 h 451"/>
              <a:gd name="T76" fmla="*/ 160 w 392"/>
              <a:gd name="T77" fmla="*/ 136 h 451"/>
              <a:gd name="T78" fmla="*/ 130 w 392"/>
              <a:gd name="T79" fmla="*/ 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92" h="451">
                <a:moveTo>
                  <a:pt x="318" y="183"/>
                </a:moveTo>
                <a:cubicBezTo>
                  <a:pt x="316" y="183"/>
                  <a:pt x="314" y="185"/>
                  <a:pt x="314" y="188"/>
                </a:cubicBezTo>
                <a:cubicBezTo>
                  <a:pt x="314" y="210"/>
                  <a:pt x="314" y="210"/>
                  <a:pt x="314" y="210"/>
                </a:cubicBezTo>
                <a:cubicBezTo>
                  <a:pt x="271" y="210"/>
                  <a:pt x="271" y="210"/>
                  <a:pt x="271" y="210"/>
                </a:cubicBezTo>
                <a:cubicBezTo>
                  <a:pt x="271" y="188"/>
                  <a:pt x="271" y="188"/>
                  <a:pt x="271" y="188"/>
                </a:cubicBezTo>
                <a:cubicBezTo>
                  <a:pt x="271" y="185"/>
                  <a:pt x="269" y="183"/>
                  <a:pt x="266" y="183"/>
                </a:cubicBezTo>
                <a:cubicBezTo>
                  <a:pt x="231" y="183"/>
                  <a:pt x="231" y="183"/>
                  <a:pt x="231" y="183"/>
                </a:cubicBezTo>
                <a:cubicBezTo>
                  <a:pt x="191" y="183"/>
                  <a:pt x="158" y="216"/>
                  <a:pt x="158" y="256"/>
                </a:cubicBezTo>
                <a:cubicBezTo>
                  <a:pt x="158" y="296"/>
                  <a:pt x="191" y="329"/>
                  <a:pt x="231" y="329"/>
                </a:cubicBezTo>
                <a:cubicBezTo>
                  <a:pt x="266" y="329"/>
                  <a:pt x="266" y="329"/>
                  <a:pt x="266" y="329"/>
                </a:cubicBezTo>
                <a:cubicBezTo>
                  <a:pt x="269" y="329"/>
                  <a:pt x="271" y="327"/>
                  <a:pt x="271" y="324"/>
                </a:cubicBezTo>
                <a:cubicBezTo>
                  <a:pt x="271" y="302"/>
                  <a:pt x="271" y="302"/>
                  <a:pt x="271" y="302"/>
                </a:cubicBezTo>
                <a:cubicBezTo>
                  <a:pt x="314" y="302"/>
                  <a:pt x="314" y="302"/>
                  <a:pt x="314" y="302"/>
                </a:cubicBezTo>
                <a:cubicBezTo>
                  <a:pt x="314" y="352"/>
                  <a:pt x="314" y="352"/>
                  <a:pt x="314" y="352"/>
                </a:cubicBezTo>
                <a:cubicBezTo>
                  <a:pt x="314" y="355"/>
                  <a:pt x="316" y="357"/>
                  <a:pt x="318" y="357"/>
                </a:cubicBezTo>
                <a:cubicBezTo>
                  <a:pt x="348" y="357"/>
                  <a:pt x="348" y="357"/>
                  <a:pt x="348" y="357"/>
                </a:cubicBezTo>
                <a:cubicBezTo>
                  <a:pt x="348" y="446"/>
                  <a:pt x="348" y="446"/>
                  <a:pt x="348" y="446"/>
                </a:cubicBezTo>
                <a:cubicBezTo>
                  <a:pt x="348" y="448"/>
                  <a:pt x="350" y="451"/>
                  <a:pt x="353" y="451"/>
                </a:cubicBezTo>
                <a:cubicBezTo>
                  <a:pt x="355" y="451"/>
                  <a:pt x="357" y="448"/>
                  <a:pt x="357" y="446"/>
                </a:cubicBezTo>
                <a:cubicBezTo>
                  <a:pt x="357" y="357"/>
                  <a:pt x="357" y="357"/>
                  <a:pt x="357" y="357"/>
                </a:cubicBezTo>
                <a:cubicBezTo>
                  <a:pt x="387" y="357"/>
                  <a:pt x="387" y="357"/>
                  <a:pt x="387" y="357"/>
                </a:cubicBezTo>
                <a:cubicBezTo>
                  <a:pt x="389" y="357"/>
                  <a:pt x="392" y="355"/>
                  <a:pt x="392" y="352"/>
                </a:cubicBezTo>
                <a:cubicBezTo>
                  <a:pt x="392" y="256"/>
                  <a:pt x="392" y="256"/>
                  <a:pt x="392" y="256"/>
                </a:cubicBezTo>
                <a:cubicBezTo>
                  <a:pt x="392" y="216"/>
                  <a:pt x="359" y="183"/>
                  <a:pt x="318" y="183"/>
                </a:cubicBezTo>
                <a:close/>
                <a:moveTo>
                  <a:pt x="261" y="320"/>
                </a:moveTo>
                <a:cubicBezTo>
                  <a:pt x="231" y="320"/>
                  <a:pt x="231" y="320"/>
                  <a:pt x="231" y="320"/>
                </a:cubicBezTo>
                <a:cubicBezTo>
                  <a:pt x="196" y="320"/>
                  <a:pt x="168" y="291"/>
                  <a:pt x="168" y="256"/>
                </a:cubicBezTo>
                <a:cubicBezTo>
                  <a:pt x="168" y="221"/>
                  <a:pt x="196" y="192"/>
                  <a:pt x="231" y="192"/>
                </a:cubicBezTo>
                <a:cubicBezTo>
                  <a:pt x="261" y="192"/>
                  <a:pt x="261" y="192"/>
                  <a:pt x="261" y="192"/>
                </a:cubicBezTo>
                <a:lnTo>
                  <a:pt x="261" y="320"/>
                </a:lnTo>
                <a:close/>
                <a:moveTo>
                  <a:pt x="314" y="292"/>
                </a:moveTo>
                <a:cubicBezTo>
                  <a:pt x="271" y="292"/>
                  <a:pt x="271" y="292"/>
                  <a:pt x="271" y="292"/>
                </a:cubicBezTo>
                <a:cubicBezTo>
                  <a:pt x="271" y="220"/>
                  <a:pt x="271" y="220"/>
                  <a:pt x="271" y="220"/>
                </a:cubicBezTo>
                <a:cubicBezTo>
                  <a:pt x="314" y="220"/>
                  <a:pt x="314" y="220"/>
                  <a:pt x="314" y="220"/>
                </a:cubicBezTo>
                <a:lnTo>
                  <a:pt x="314" y="292"/>
                </a:lnTo>
                <a:close/>
                <a:moveTo>
                  <a:pt x="382" y="348"/>
                </a:moveTo>
                <a:cubicBezTo>
                  <a:pt x="323" y="348"/>
                  <a:pt x="323" y="348"/>
                  <a:pt x="323" y="348"/>
                </a:cubicBezTo>
                <a:cubicBezTo>
                  <a:pt x="323" y="192"/>
                  <a:pt x="323" y="192"/>
                  <a:pt x="323" y="192"/>
                </a:cubicBezTo>
                <a:cubicBezTo>
                  <a:pt x="356" y="195"/>
                  <a:pt x="382" y="222"/>
                  <a:pt x="382" y="256"/>
                </a:cubicBezTo>
                <a:lnTo>
                  <a:pt x="382" y="348"/>
                </a:lnTo>
                <a:close/>
                <a:moveTo>
                  <a:pt x="233" y="73"/>
                </a:moveTo>
                <a:cubicBezTo>
                  <a:pt x="233" y="32"/>
                  <a:pt x="201" y="0"/>
                  <a:pt x="160" y="0"/>
                </a:cubicBezTo>
                <a:cubicBezTo>
                  <a:pt x="126" y="0"/>
                  <a:pt x="126" y="0"/>
                  <a:pt x="126" y="0"/>
                </a:cubicBezTo>
                <a:cubicBezTo>
                  <a:pt x="123" y="0"/>
                  <a:pt x="121" y="2"/>
                  <a:pt x="121" y="4"/>
                </a:cubicBezTo>
                <a:cubicBezTo>
                  <a:pt x="121" y="27"/>
                  <a:pt x="121" y="27"/>
                  <a:pt x="121" y="27"/>
                </a:cubicBezTo>
                <a:cubicBezTo>
                  <a:pt x="78" y="27"/>
                  <a:pt x="78" y="27"/>
                  <a:pt x="78" y="27"/>
                </a:cubicBezTo>
                <a:cubicBezTo>
                  <a:pt x="78" y="4"/>
                  <a:pt x="78" y="4"/>
                  <a:pt x="78" y="4"/>
                </a:cubicBezTo>
                <a:cubicBezTo>
                  <a:pt x="78" y="2"/>
                  <a:pt x="76" y="0"/>
                  <a:pt x="73" y="0"/>
                </a:cubicBezTo>
                <a:cubicBezTo>
                  <a:pt x="33" y="0"/>
                  <a:pt x="0" y="32"/>
                  <a:pt x="0" y="73"/>
                </a:cubicBezTo>
                <a:cubicBezTo>
                  <a:pt x="0" y="169"/>
                  <a:pt x="0" y="169"/>
                  <a:pt x="0" y="169"/>
                </a:cubicBezTo>
                <a:cubicBezTo>
                  <a:pt x="0" y="172"/>
                  <a:pt x="2" y="174"/>
                  <a:pt x="5" y="174"/>
                </a:cubicBezTo>
                <a:cubicBezTo>
                  <a:pt x="34" y="174"/>
                  <a:pt x="34" y="174"/>
                  <a:pt x="34" y="174"/>
                </a:cubicBezTo>
                <a:cubicBezTo>
                  <a:pt x="34" y="446"/>
                  <a:pt x="34" y="446"/>
                  <a:pt x="34" y="446"/>
                </a:cubicBezTo>
                <a:cubicBezTo>
                  <a:pt x="34" y="448"/>
                  <a:pt x="36" y="451"/>
                  <a:pt x="39" y="451"/>
                </a:cubicBezTo>
                <a:cubicBezTo>
                  <a:pt x="42" y="451"/>
                  <a:pt x="44" y="448"/>
                  <a:pt x="44" y="446"/>
                </a:cubicBezTo>
                <a:cubicBezTo>
                  <a:pt x="44" y="174"/>
                  <a:pt x="44" y="174"/>
                  <a:pt x="44" y="174"/>
                </a:cubicBezTo>
                <a:cubicBezTo>
                  <a:pt x="73" y="174"/>
                  <a:pt x="73" y="174"/>
                  <a:pt x="73" y="174"/>
                </a:cubicBezTo>
                <a:cubicBezTo>
                  <a:pt x="76" y="174"/>
                  <a:pt x="78" y="172"/>
                  <a:pt x="78" y="169"/>
                </a:cubicBezTo>
                <a:cubicBezTo>
                  <a:pt x="78" y="118"/>
                  <a:pt x="78" y="118"/>
                  <a:pt x="78" y="118"/>
                </a:cubicBezTo>
                <a:cubicBezTo>
                  <a:pt x="121" y="118"/>
                  <a:pt x="121" y="118"/>
                  <a:pt x="121" y="118"/>
                </a:cubicBezTo>
                <a:cubicBezTo>
                  <a:pt x="121" y="141"/>
                  <a:pt x="121" y="141"/>
                  <a:pt x="121" y="141"/>
                </a:cubicBezTo>
                <a:cubicBezTo>
                  <a:pt x="121" y="144"/>
                  <a:pt x="123" y="146"/>
                  <a:pt x="126" y="146"/>
                </a:cubicBezTo>
                <a:cubicBezTo>
                  <a:pt x="160" y="146"/>
                  <a:pt x="160" y="146"/>
                  <a:pt x="160" y="146"/>
                </a:cubicBezTo>
                <a:cubicBezTo>
                  <a:pt x="201" y="146"/>
                  <a:pt x="233" y="113"/>
                  <a:pt x="233" y="73"/>
                </a:cubicBezTo>
                <a:close/>
                <a:moveTo>
                  <a:pt x="68" y="164"/>
                </a:moveTo>
                <a:cubicBezTo>
                  <a:pt x="9" y="164"/>
                  <a:pt x="9" y="164"/>
                  <a:pt x="9" y="164"/>
                </a:cubicBezTo>
                <a:cubicBezTo>
                  <a:pt x="9" y="73"/>
                  <a:pt x="9" y="73"/>
                  <a:pt x="9" y="73"/>
                </a:cubicBezTo>
                <a:cubicBezTo>
                  <a:pt x="9" y="39"/>
                  <a:pt x="36" y="12"/>
                  <a:pt x="68" y="9"/>
                </a:cubicBezTo>
                <a:lnTo>
                  <a:pt x="68" y="164"/>
                </a:lnTo>
                <a:close/>
                <a:moveTo>
                  <a:pt x="121" y="109"/>
                </a:moveTo>
                <a:cubicBezTo>
                  <a:pt x="78" y="109"/>
                  <a:pt x="78" y="109"/>
                  <a:pt x="78" y="109"/>
                </a:cubicBezTo>
                <a:cubicBezTo>
                  <a:pt x="78" y="37"/>
                  <a:pt x="78" y="37"/>
                  <a:pt x="78" y="37"/>
                </a:cubicBezTo>
                <a:cubicBezTo>
                  <a:pt x="121" y="37"/>
                  <a:pt x="121" y="37"/>
                  <a:pt x="121" y="37"/>
                </a:cubicBezTo>
                <a:lnTo>
                  <a:pt x="121" y="109"/>
                </a:lnTo>
                <a:close/>
                <a:moveTo>
                  <a:pt x="130" y="9"/>
                </a:moveTo>
                <a:cubicBezTo>
                  <a:pt x="160" y="9"/>
                  <a:pt x="160" y="9"/>
                  <a:pt x="160" y="9"/>
                </a:cubicBezTo>
                <a:cubicBezTo>
                  <a:pt x="195" y="9"/>
                  <a:pt x="224" y="38"/>
                  <a:pt x="224" y="73"/>
                </a:cubicBezTo>
                <a:cubicBezTo>
                  <a:pt x="224" y="108"/>
                  <a:pt x="195" y="136"/>
                  <a:pt x="160" y="136"/>
                </a:cubicBezTo>
                <a:cubicBezTo>
                  <a:pt x="130" y="136"/>
                  <a:pt x="130" y="136"/>
                  <a:pt x="130" y="136"/>
                </a:cubicBezTo>
                <a:lnTo>
                  <a:pt x="130" y="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4" name="Oval 21"/>
          <p:cNvSpPr>
            <a:spLocks noChangeArrowheads="1"/>
          </p:cNvSpPr>
          <p:nvPr/>
        </p:nvSpPr>
        <p:spPr bwMode="auto">
          <a:xfrm>
            <a:off x="2961642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62" name="Freeform 29"/>
          <p:cNvSpPr>
            <a:spLocks noEditPoints="1"/>
          </p:cNvSpPr>
          <p:nvPr/>
        </p:nvSpPr>
        <p:spPr bwMode="auto">
          <a:xfrm>
            <a:off x="3147345" y="1324889"/>
            <a:ext cx="451553" cy="420277"/>
          </a:xfrm>
          <a:custGeom>
            <a:avLst/>
            <a:gdLst>
              <a:gd name="T0" fmla="*/ 365 w 391"/>
              <a:gd name="T1" fmla="*/ 0 h 364"/>
              <a:gd name="T2" fmla="*/ 26 w 391"/>
              <a:gd name="T3" fmla="*/ 0 h 364"/>
              <a:gd name="T4" fmla="*/ 0 w 391"/>
              <a:gd name="T5" fmla="*/ 26 h 364"/>
              <a:gd name="T6" fmla="*/ 0 w 391"/>
              <a:gd name="T7" fmla="*/ 282 h 364"/>
              <a:gd name="T8" fmla="*/ 26 w 391"/>
              <a:gd name="T9" fmla="*/ 308 h 364"/>
              <a:gd name="T10" fmla="*/ 152 w 391"/>
              <a:gd name="T11" fmla="*/ 308 h 364"/>
              <a:gd name="T12" fmla="*/ 137 w 391"/>
              <a:gd name="T13" fmla="*/ 355 h 364"/>
              <a:gd name="T14" fmla="*/ 92 w 391"/>
              <a:gd name="T15" fmla="*/ 355 h 364"/>
              <a:gd name="T16" fmla="*/ 87 w 391"/>
              <a:gd name="T17" fmla="*/ 360 h 364"/>
              <a:gd name="T18" fmla="*/ 92 w 391"/>
              <a:gd name="T19" fmla="*/ 364 h 364"/>
              <a:gd name="T20" fmla="*/ 299 w 391"/>
              <a:gd name="T21" fmla="*/ 364 h 364"/>
              <a:gd name="T22" fmla="*/ 304 w 391"/>
              <a:gd name="T23" fmla="*/ 360 h 364"/>
              <a:gd name="T24" fmla="*/ 299 w 391"/>
              <a:gd name="T25" fmla="*/ 355 h 364"/>
              <a:gd name="T26" fmla="*/ 254 w 391"/>
              <a:gd name="T27" fmla="*/ 355 h 364"/>
              <a:gd name="T28" fmla="*/ 239 w 391"/>
              <a:gd name="T29" fmla="*/ 308 h 364"/>
              <a:gd name="T30" fmla="*/ 365 w 391"/>
              <a:gd name="T31" fmla="*/ 308 h 364"/>
              <a:gd name="T32" fmla="*/ 391 w 391"/>
              <a:gd name="T33" fmla="*/ 282 h 364"/>
              <a:gd name="T34" fmla="*/ 391 w 391"/>
              <a:gd name="T35" fmla="*/ 26 h 364"/>
              <a:gd name="T36" fmla="*/ 365 w 391"/>
              <a:gd name="T37" fmla="*/ 0 h 364"/>
              <a:gd name="T38" fmla="*/ 244 w 391"/>
              <a:gd name="T39" fmla="*/ 355 h 364"/>
              <a:gd name="T40" fmla="*/ 147 w 391"/>
              <a:gd name="T41" fmla="*/ 355 h 364"/>
              <a:gd name="T42" fmla="*/ 161 w 391"/>
              <a:gd name="T43" fmla="*/ 308 h 364"/>
              <a:gd name="T44" fmla="*/ 229 w 391"/>
              <a:gd name="T45" fmla="*/ 308 h 364"/>
              <a:gd name="T46" fmla="*/ 244 w 391"/>
              <a:gd name="T47" fmla="*/ 355 h 364"/>
              <a:gd name="T48" fmla="*/ 382 w 391"/>
              <a:gd name="T49" fmla="*/ 282 h 364"/>
              <a:gd name="T50" fmla="*/ 365 w 391"/>
              <a:gd name="T51" fmla="*/ 299 h 364"/>
              <a:gd name="T52" fmla="*/ 26 w 391"/>
              <a:gd name="T53" fmla="*/ 299 h 364"/>
              <a:gd name="T54" fmla="*/ 9 w 391"/>
              <a:gd name="T55" fmla="*/ 282 h 364"/>
              <a:gd name="T56" fmla="*/ 9 w 391"/>
              <a:gd name="T57" fmla="*/ 26 h 364"/>
              <a:gd name="T58" fmla="*/ 26 w 391"/>
              <a:gd name="T59" fmla="*/ 10 h 364"/>
              <a:gd name="T60" fmla="*/ 365 w 391"/>
              <a:gd name="T61" fmla="*/ 10 h 364"/>
              <a:gd name="T62" fmla="*/ 382 w 391"/>
              <a:gd name="T63" fmla="*/ 26 h 364"/>
              <a:gd name="T64" fmla="*/ 382 w 391"/>
              <a:gd name="T65" fmla="*/ 282 h 364"/>
              <a:gd name="T66" fmla="*/ 347 w 391"/>
              <a:gd name="T67" fmla="*/ 38 h 364"/>
              <a:gd name="T68" fmla="*/ 44 w 391"/>
              <a:gd name="T69" fmla="*/ 38 h 364"/>
              <a:gd name="T70" fmla="*/ 39 w 391"/>
              <a:gd name="T71" fmla="*/ 43 h 364"/>
              <a:gd name="T72" fmla="*/ 39 w 391"/>
              <a:gd name="T73" fmla="*/ 229 h 364"/>
              <a:gd name="T74" fmla="*/ 44 w 391"/>
              <a:gd name="T75" fmla="*/ 234 h 364"/>
              <a:gd name="T76" fmla="*/ 347 w 391"/>
              <a:gd name="T77" fmla="*/ 234 h 364"/>
              <a:gd name="T78" fmla="*/ 352 w 391"/>
              <a:gd name="T79" fmla="*/ 229 h 364"/>
              <a:gd name="T80" fmla="*/ 352 w 391"/>
              <a:gd name="T81" fmla="*/ 43 h 364"/>
              <a:gd name="T82" fmla="*/ 347 w 391"/>
              <a:gd name="T83" fmla="*/ 38 h 364"/>
              <a:gd name="T84" fmla="*/ 343 w 391"/>
              <a:gd name="T85" fmla="*/ 225 h 364"/>
              <a:gd name="T86" fmla="*/ 48 w 391"/>
              <a:gd name="T87" fmla="*/ 225 h 364"/>
              <a:gd name="T88" fmla="*/ 48 w 391"/>
              <a:gd name="T89" fmla="*/ 47 h 364"/>
              <a:gd name="T90" fmla="*/ 343 w 391"/>
              <a:gd name="T91" fmla="*/ 47 h 364"/>
              <a:gd name="T92" fmla="*/ 343 w 391"/>
              <a:gd name="T93" fmla="*/ 225 h 364"/>
              <a:gd name="T94" fmla="*/ 195 w 391"/>
              <a:gd name="T95" fmla="*/ 252 h 364"/>
              <a:gd name="T96" fmla="*/ 178 w 391"/>
              <a:gd name="T97" fmla="*/ 270 h 364"/>
              <a:gd name="T98" fmla="*/ 195 w 391"/>
              <a:gd name="T99" fmla="*/ 288 h 364"/>
              <a:gd name="T100" fmla="*/ 213 w 391"/>
              <a:gd name="T101" fmla="*/ 270 h 364"/>
              <a:gd name="T102" fmla="*/ 195 w 391"/>
              <a:gd name="T103" fmla="*/ 252 h 364"/>
              <a:gd name="T104" fmla="*/ 195 w 391"/>
              <a:gd name="T105" fmla="*/ 278 h 364"/>
              <a:gd name="T106" fmla="*/ 187 w 391"/>
              <a:gd name="T107" fmla="*/ 270 h 364"/>
              <a:gd name="T108" fmla="*/ 195 w 391"/>
              <a:gd name="T109" fmla="*/ 261 h 364"/>
              <a:gd name="T110" fmla="*/ 204 w 391"/>
              <a:gd name="T111" fmla="*/ 270 h 364"/>
              <a:gd name="T112" fmla="*/ 195 w 391"/>
              <a:gd name="T113" fmla="*/ 278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91" h="364">
                <a:moveTo>
                  <a:pt x="365" y="0"/>
                </a:moveTo>
                <a:cubicBezTo>
                  <a:pt x="26" y="0"/>
                  <a:pt x="26" y="0"/>
                  <a:pt x="26" y="0"/>
                </a:cubicBezTo>
                <a:cubicBezTo>
                  <a:pt x="12" y="0"/>
                  <a:pt x="0" y="12"/>
                  <a:pt x="0" y="26"/>
                </a:cubicBezTo>
                <a:cubicBezTo>
                  <a:pt x="0" y="282"/>
                  <a:pt x="0" y="282"/>
                  <a:pt x="0" y="282"/>
                </a:cubicBezTo>
                <a:cubicBezTo>
                  <a:pt x="0" y="297"/>
                  <a:pt x="12" y="308"/>
                  <a:pt x="26" y="308"/>
                </a:cubicBezTo>
                <a:cubicBezTo>
                  <a:pt x="152" y="308"/>
                  <a:pt x="152" y="308"/>
                  <a:pt x="152" y="308"/>
                </a:cubicBezTo>
                <a:cubicBezTo>
                  <a:pt x="137" y="355"/>
                  <a:pt x="137" y="355"/>
                  <a:pt x="137" y="355"/>
                </a:cubicBezTo>
                <a:cubicBezTo>
                  <a:pt x="92" y="355"/>
                  <a:pt x="92" y="355"/>
                  <a:pt x="92" y="355"/>
                </a:cubicBezTo>
                <a:cubicBezTo>
                  <a:pt x="89" y="355"/>
                  <a:pt x="87" y="357"/>
                  <a:pt x="87" y="360"/>
                </a:cubicBezTo>
                <a:cubicBezTo>
                  <a:pt x="87" y="362"/>
                  <a:pt x="89" y="364"/>
                  <a:pt x="92" y="364"/>
                </a:cubicBezTo>
                <a:cubicBezTo>
                  <a:pt x="299" y="364"/>
                  <a:pt x="299" y="364"/>
                  <a:pt x="299" y="364"/>
                </a:cubicBezTo>
                <a:cubicBezTo>
                  <a:pt x="302" y="364"/>
                  <a:pt x="304" y="362"/>
                  <a:pt x="304" y="360"/>
                </a:cubicBezTo>
                <a:cubicBezTo>
                  <a:pt x="304" y="357"/>
                  <a:pt x="302" y="355"/>
                  <a:pt x="299" y="355"/>
                </a:cubicBezTo>
                <a:cubicBezTo>
                  <a:pt x="254" y="355"/>
                  <a:pt x="254" y="355"/>
                  <a:pt x="254" y="355"/>
                </a:cubicBezTo>
                <a:cubicBezTo>
                  <a:pt x="239" y="308"/>
                  <a:pt x="239" y="308"/>
                  <a:pt x="239" y="308"/>
                </a:cubicBezTo>
                <a:cubicBezTo>
                  <a:pt x="365" y="308"/>
                  <a:pt x="365" y="308"/>
                  <a:pt x="365" y="308"/>
                </a:cubicBezTo>
                <a:cubicBezTo>
                  <a:pt x="379" y="308"/>
                  <a:pt x="391" y="297"/>
                  <a:pt x="391" y="282"/>
                </a:cubicBezTo>
                <a:cubicBezTo>
                  <a:pt x="391" y="26"/>
                  <a:pt x="391" y="26"/>
                  <a:pt x="391" y="26"/>
                </a:cubicBezTo>
                <a:cubicBezTo>
                  <a:pt x="391" y="12"/>
                  <a:pt x="379" y="0"/>
                  <a:pt x="365" y="0"/>
                </a:cubicBezTo>
                <a:close/>
                <a:moveTo>
                  <a:pt x="244" y="355"/>
                </a:moveTo>
                <a:cubicBezTo>
                  <a:pt x="147" y="355"/>
                  <a:pt x="147" y="355"/>
                  <a:pt x="147" y="355"/>
                </a:cubicBezTo>
                <a:cubicBezTo>
                  <a:pt x="161" y="308"/>
                  <a:pt x="161" y="308"/>
                  <a:pt x="161" y="308"/>
                </a:cubicBezTo>
                <a:cubicBezTo>
                  <a:pt x="229" y="308"/>
                  <a:pt x="229" y="308"/>
                  <a:pt x="229" y="308"/>
                </a:cubicBezTo>
                <a:lnTo>
                  <a:pt x="244" y="355"/>
                </a:lnTo>
                <a:close/>
                <a:moveTo>
                  <a:pt x="382" y="282"/>
                </a:moveTo>
                <a:cubicBezTo>
                  <a:pt x="382" y="291"/>
                  <a:pt x="374" y="299"/>
                  <a:pt x="365" y="299"/>
                </a:cubicBezTo>
                <a:cubicBezTo>
                  <a:pt x="26" y="299"/>
                  <a:pt x="26" y="299"/>
                  <a:pt x="26" y="299"/>
                </a:cubicBezTo>
                <a:cubicBezTo>
                  <a:pt x="17" y="299"/>
                  <a:pt x="9" y="291"/>
                  <a:pt x="9" y="282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17"/>
                  <a:pt x="17" y="10"/>
                  <a:pt x="26" y="10"/>
                </a:cubicBezTo>
                <a:cubicBezTo>
                  <a:pt x="365" y="10"/>
                  <a:pt x="365" y="10"/>
                  <a:pt x="365" y="10"/>
                </a:cubicBezTo>
                <a:cubicBezTo>
                  <a:pt x="374" y="10"/>
                  <a:pt x="382" y="17"/>
                  <a:pt x="382" y="26"/>
                </a:cubicBezTo>
                <a:lnTo>
                  <a:pt x="382" y="282"/>
                </a:lnTo>
                <a:close/>
                <a:moveTo>
                  <a:pt x="347" y="38"/>
                </a:moveTo>
                <a:cubicBezTo>
                  <a:pt x="44" y="38"/>
                  <a:pt x="44" y="38"/>
                  <a:pt x="44" y="38"/>
                </a:cubicBezTo>
                <a:cubicBezTo>
                  <a:pt x="41" y="38"/>
                  <a:pt x="39" y="40"/>
                  <a:pt x="39" y="43"/>
                </a:cubicBezTo>
                <a:cubicBezTo>
                  <a:pt x="39" y="229"/>
                  <a:pt x="39" y="229"/>
                  <a:pt x="39" y="229"/>
                </a:cubicBezTo>
                <a:cubicBezTo>
                  <a:pt x="39" y="232"/>
                  <a:pt x="41" y="234"/>
                  <a:pt x="44" y="234"/>
                </a:cubicBezTo>
                <a:cubicBezTo>
                  <a:pt x="347" y="234"/>
                  <a:pt x="347" y="234"/>
                  <a:pt x="347" y="234"/>
                </a:cubicBezTo>
                <a:cubicBezTo>
                  <a:pt x="350" y="234"/>
                  <a:pt x="352" y="232"/>
                  <a:pt x="352" y="229"/>
                </a:cubicBezTo>
                <a:cubicBezTo>
                  <a:pt x="352" y="43"/>
                  <a:pt x="352" y="43"/>
                  <a:pt x="352" y="43"/>
                </a:cubicBezTo>
                <a:cubicBezTo>
                  <a:pt x="352" y="40"/>
                  <a:pt x="350" y="38"/>
                  <a:pt x="347" y="38"/>
                </a:cubicBezTo>
                <a:close/>
                <a:moveTo>
                  <a:pt x="343" y="225"/>
                </a:moveTo>
                <a:cubicBezTo>
                  <a:pt x="48" y="225"/>
                  <a:pt x="48" y="225"/>
                  <a:pt x="48" y="225"/>
                </a:cubicBezTo>
                <a:cubicBezTo>
                  <a:pt x="48" y="47"/>
                  <a:pt x="48" y="47"/>
                  <a:pt x="48" y="47"/>
                </a:cubicBezTo>
                <a:cubicBezTo>
                  <a:pt x="343" y="47"/>
                  <a:pt x="343" y="47"/>
                  <a:pt x="343" y="47"/>
                </a:cubicBezTo>
                <a:lnTo>
                  <a:pt x="343" y="225"/>
                </a:lnTo>
                <a:close/>
                <a:moveTo>
                  <a:pt x="195" y="252"/>
                </a:moveTo>
                <a:cubicBezTo>
                  <a:pt x="186" y="252"/>
                  <a:pt x="178" y="260"/>
                  <a:pt x="178" y="270"/>
                </a:cubicBezTo>
                <a:cubicBezTo>
                  <a:pt x="178" y="280"/>
                  <a:pt x="186" y="288"/>
                  <a:pt x="195" y="288"/>
                </a:cubicBezTo>
                <a:cubicBezTo>
                  <a:pt x="205" y="288"/>
                  <a:pt x="213" y="280"/>
                  <a:pt x="213" y="270"/>
                </a:cubicBezTo>
                <a:cubicBezTo>
                  <a:pt x="213" y="260"/>
                  <a:pt x="205" y="252"/>
                  <a:pt x="195" y="252"/>
                </a:cubicBezTo>
                <a:close/>
                <a:moveTo>
                  <a:pt x="195" y="278"/>
                </a:moveTo>
                <a:cubicBezTo>
                  <a:pt x="191" y="278"/>
                  <a:pt x="187" y="274"/>
                  <a:pt x="187" y="270"/>
                </a:cubicBezTo>
                <a:cubicBezTo>
                  <a:pt x="187" y="265"/>
                  <a:pt x="191" y="261"/>
                  <a:pt x="195" y="261"/>
                </a:cubicBezTo>
                <a:cubicBezTo>
                  <a:pt x="200" y="261"/>
                  <a:pt x="204" y="265"/>
                  <a:pt x="204" y="270"/>
                </a:cubicBezTo>
                <a:cubicBezTo>
                  <a:pt x="204" y="274"/>
                  <a:pt x="200" y="278"/>
                  <a:pt x="195" y="27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8" name="Oval 15"/>
          <p:cNvSpPr>
            <a:spLocks noChangeArrowheads="1"/>
          </p:cNvSpPr>
          <p:nvPr/>
        </p:nvSpPr>
        <p:spPr bwMode="auto">
          <a:xfrm>
            <a:off x="2961642" y="211636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63" name="Freeform 30"/>
          <p:cNvSpPr>
            <a:spLocks noEditPoints="1"/>
          </p:cNvSpPr>
          <p:nvPr/>
        </p:nvSpPr>
        <p:spPr bwMode="auto">
          <a:xfrm>
            <a:off x="3177156" y="2336768"/>
            <a:ext cx="391444" cy="381670"/>
          </a:xfrm>
          <a:custGeom>
            <a:avLst/>
            <a:gdLst>
              <a:gd name="T0" fmla="*/ 339 w 339"/>
              <a:gd name="T1" fmla="*/ 98 h 331"/>
              <a:gd name="T2" fmla="*/ 287 w 339"/>
              <a:gd name="T3" fmla="*/ 0 h 331"/>
              <a:gd name="T4" fmla="*/ 47 w 339"/>
              <a:gd name="T5" fmla="*/ 3 h 331"/>
              <a:gd name="T6" fmla="*/ 0 w 339"/>
              <a:gd name="T7" fmla="*/ 98 h 331"/>
              <a:gd name="T8" fmla="*/ 0 w 339"/>
              <a:gd name="T9" fmla="*/ 326 h 331"/>
              <a:gd name="T10" fmla="*/ 335 w 339"/>
              <a:gd name="T11" fmla="*/ 331 h 331"/>
              <a:gd name="T12" fmla="*/ 339 w 339"/>
              <a:gd name="T13" fmla="*/ 100 h 331"/>
              <a:gd name="T14" fmla="*/ 54 w 339"/>
              <a:gd name="T15" fmla="*/ 9 h 331"/>
              <a:gd name="T16" fmla="*/ 327 w 339"/>
              <a:gd name="T17" fmla="*/ 96 h 331"/>
              <a:gd name="T18" fmla="*/ 54 w 339"/>
              <a:gd name="T19" fmla="*/ 9 h 331"/>
              <a:gd name="T20" fmla="*/ 9 w 339"/>
              <a:gd name="T21" fmla="*/ 322 h 331"/>
              <a:gd name="T22" fmla="*/ 330 w 339"/>
              <a:gd name="T23" fmla="*/ 256 h 331"/>
              <a:gd name="T24" fmla="*/ 330 w 339"/>
              <a:gd name="T25" fmla="*/ 246 h 331"/>
              <a:gd name="T26" fmla="*/ 9 w 339"/>
              <a:gd name="T27" fmla="*/ 180 h 331"/>
              <a:gd name="T28" fmla="*/ 330 w 339"/>
              <a:gd name="T29" fmla="*/ 246 h 331"/>
              <a:gd name="T30" fmla="*/ 9 w 339"/>
              <a:gd name="T31" fmla="*/ 171 h 331"/>
              <a:gd name="T32" fmla="*/ 330 w 339"/>
              <a:gd name="T33" fmla="*/ 105 h 331"/>
              <a:gd name="T34" fmla="*/ 245 w 339"/>
              <a:gd name="T35" fmla="*/ 308 h 331"/>
              <a:gd name="T36" fmla="*/ 245 w 339"/>
              <a:gd name="T37" fmla="*/ 269 h 331"/>
              <a:gd name="T38" fmla="*/ 245 w 339"/>
              <a:gd name="T39" fmla="*/ 308 h 331"/>
              <a:gd name="T40" fmla="*/ 255 w 339"/>
              <a:gd name="T41" fmla="*/ 289 h 331"/>
              <a:gd name="T42" fmla="*/ 235 w 339"/>
              <a:gd name="T43" fmla="*/ 289 h 331"/>
              <a:gd name="T44" fmla="*/ 289 w 339"/>
              <a:gd name="T45" fmla="*/ 308 h 331"/>
              <a:gd name="T46" fmla="*/ 289 w 339"/>
              <a:gd name="T47" fmla="*/ 269 h 331"/>
              <a:gd name="T48" fmla="*/ 289 w 339"/>
              <a:gd name="T49" fmla="*/ 308 h 331"/>
              <a:gd name="T50" fmla="*/ 299 w 339"/>
              <a:gd name="T51" fmla="*/ 289 h 331"/>
              <a:gd name="T52" fmla="*/ 279 w 339"/>
              <a:gd name="T53" fmla="*/ 289 h 331"/>
              <a:gd name="T54" fmla="*/ 245 w 339"/>
              <a:gd name="T55" fmla="*/ 158 h 331"/>
              <a:gd name="T56" fmla="*/ 245 w 339"/>
              <a:gd name="T57" fmla="*/ 119 h 331"/>
              <a:gd name="T58" fmla="*/ 245 w 339"/>
              <a:gd name="T59" fmla="*/ 158 h 331"/>
              <a:gd name="T60" fmla="*/ 255 w 339"/>
              <a:gd name="T61" fmla="*/ 138 h 331"/>
              <a:gd name="T62" fmla="*/ 235 w 339"/>
              <a:gd name="T63" fmla="*/ 138 h 331"/>
              <a:gd name="T64" fmla="*/ 289 w 339"/>
              <a:gd name="T65" fmla="*/ 158 h 331"/>
              <a:gd name="T66" fmla="*/ 289 w 339"/>
              <a:gd name="T67" fmla="*/ 119 h 331"/>
              <a:gd name="T68" fmla="*/ 289 w 339"/>
              <a:gd name="T69" fmla="*/ 158 h 331"/>
              <a:gd name="T70" fmla="*/ 299 w 339"/>
              <a:gd name="T71" fmla="*/ 138 h 331"/>
              <a:gd name="T72" fmla="*/ 279 w 339"/>
              <a:gd name="T73" fmla="*/ 138 h 331"/>
              <a:gd name="T74" fmla="*/ 245 w 339"/>
              <a:gd name="T75" fmla="*/ 233 h 331"/>
              <a:gd name="T76" fmla="*/ 245 w 339"/>
              <a:gd name="T77" fmla="*/ 194 h 331"/>
              <a:gd name="T78" fmla="*/ 245 w 339"/>
              <a:gd name="T79" fmla="*/ 233 h 331"/>
              <a:gd name="T80" fmla="*/ 255 w 339"/>
              <a:gd name="T81" fmla="*/ 213 h 331"/>
              <a:gd name="T82" fmla="*/ 235 w 339"/>
              <a:gd name="T83" fmla="*/ 213 h 331"/>
              <a:gd name="T84" fmla="*/ 289 w 339"/>
              <a:gd name="T85" fmla="*/ 233 h 331"/>
              <a:gd name="T86" fmla="*/ 289 w 339"/>
              <a:gd name="T87" fmla="*/ 194 h 331"/>
              <a:gd name="T88" fmla="*/ 289 w 339"/>
              <a:gd name="T89" fmla="*/ 233 h 331"/>
              <a:gd name="T90" fmla="*/ 299 w 339"/>
              <a:gd name="T91" fmla="*/ 213 h 331"/>
              <a:gd name="T92" fmla="*/ 279 w 339"/>
              <a:gd name="T93" fmla="*/ 213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39" h="331">
                <a:moveTo>
                  <a:pt x="339" y="98"/>
                </a:moveTo>
                <a:cubicBezTo>
                  <a:pt x="339" y="98"/>
                  <a:pt x="339" y="98"/>
                  <a:pt x="339" y="98"/>
                </a:cubicBezTo>
                <a:cubicBezTo>
                  <a:pt x="292" y="3"/>
                  <a:pt x="292" y="3"/>
                  <a:pt x="292" y="3"/>
                </a:cubicBezTo>
                <a:cubicBezTo>
                  <a:pt x="291" y="1"/>
                  <a:pt x="289" y="0"/>
                  <a:pt x="287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50" y="0"/>
                  <a:pt x="48" y="1"/>
                  <a:pt x="47" y="3"/>
                </a:cubicBezTo>
                <a:cubicBezTo>
                  <a:pt x="0" y="98"/>
                  <a:pt x="0" y="98"/>
                  <a:pt x="0" y="98"/>
                </a:cubicBezTo>
                <a:cubicBezTo>
                  <a:pt x="0" y="98"/>
                  <a:pt x="0" y="98"/>
                  <a:pt x="0" y="98"/>
                </a:cubicBezTo>
                <a:cubicBezTo>
                  <a:pt x="0" y="99"/>
                  <a:pt x="0" y="100"/>
                  <a:pt x="0" y="100"/>
                </a:cubicBezTo>
                <a:cubicBezTo>
                  <a:pt x="0" y="326"/>
                  <a:pt x="0" y="326"/>
                  <a:pt x="0" y="326"/>
                </a:cubicBezTo>
                <a:cubicBezTo>
                  <a:pt x="0" y="329"/>
                  <a:pt x="2" y="331"/>
                  <a:pt x="4" y="331"/>
                </a:cubicBezTo>
                <a:cubicBezTo>
                  <a:pt x="335" y="331"/>
                  <a:pt x="335" y="331"/>
                  <a:pt x="335" y="331"/>
                </a:cubicBezTo>
                <a:cubicBezTo>
                  <a:pt x="337" y="331"/>
                  <a:pt x="339" y="329"/>
                  <a:pt x="339" y="326"/>
                </a:cubicBezTo>
                <a:cubicBezTo>
                  <a:pt x="339" y="100"/>
                  <a:pt x="339" y="100"/>
                  <a:pt x="339" y="100"/>
                </a:cubicBezTo>
                <a:cubicBezTo>
                  <a:pt x="339" y="100"/>
                  <a:pt x="339" y="99"/>
                  <a:pt x="339" y="98"/>
                </a:cubicBezTo>
                <a:close/>
                <a:moveTo>
                  <a:pt x="54" y="9"/>
                </a:moveTo>
                <a:cubicBezTo>
                  <a:pt x="285" y="9"/>
                  <a:pt x="285" y="9"/>
                  <a:pt x="285" y="9"/>
                </a:cubicBezTo>
                <a:cubicBezTo>
                  <a:pt x="327" y="96"/>
                  <a:pt x="327" y="96"/>
                  <a:pt x="327" y="96"/>
                </a:cubicBezTo>
                <a:cubicBezTo>
                  <a:pt x="12" y="96"/>
                  <a:pt x="12" y="96"/>
                  <a:pt x="12" y="96"/>
                </a:cubicBezTo>
                <a:lnTo>
                  <a:pt x="54" y="9"/>
                </a:lnTo>
                <a:close/>
                <a:moveTo>
                  <a:pt x="330" y="322"/>
                </a:moveTo>
                <a:cubicBezTo>
                  <a:pt x="9" y="322"/>
                  <a:pt x="9" y="322"/>
                  <a:pt x="9" y="322"/>
                </a:cubicBezTo>
                <a:cubicBezTo>
                  <a:pt x="9" y="256"/>
                  <a:pt x="9" y="256"/>
                  <a:pt x="9" y="256"/>
                </a:cubicBezTo>
                <a:cubicBezTo>
                  <a:pt x="330" y="256"/>
                  <a:pt x="330" y="256"/>
                  <a:pt x="330" y="256"/>
                </a:cubicBezTo>
                <a:lnTo>
                  <a:pt x="330" y="322"/>
                </a:lnTo>
                <a:close/>
                <a:moveTo>
                  <a:pt x="330" y="246"/>
                </a:moveTo>
                <a:cubicBezTo>
                  <a:pt x="9" y="246"/>
                  <a:pt x="9" y="246"/>
                  <a:pt x="9" y="246"/>
                </a:cubicBezTo>
                <a:cubicBezTo>
                  <a:pt x="9" y="180"/>
                  <a:pt x="9" y="180"/>
                  <a:pt x="9" y="180"/>
                </a:cubicBezTo>
                <a:cubicBezTo>
                  <a:pt x="330" y="180"/>
                  <a:pt x="330" y="180"/>
                  <a:pt x="330" y="180"/>
                </a:cubicBezTo>
                <a:lnTo>
                  <a:pt x="330" y="246"/>
                </a:lnTo>
                <a:close/>
                <a:moveTo>
                  <a:pt x="330" y="171"/>
                </a:moveTo>
                <a:cubicBezTo>
                  <a:pt x="9" y="171"/>
                  <a:pt x="9" y="171"/>
                  <a:pt x="9" y="171"/>
                </a:cubicBezTo>
                <a:cubicBezTo>
                  <a:pt x="9" y="105"/>
                  <a:pt x="9" y="105"/>
                  <a:pt x="9" y="105"/>
                </a:cubicBezTo>
                <a:cubicBezTo>
                  <a:pt x="330" y="105"/>
                  <a:pt x="330" y="105"/>
                  <a:pt x="330" y="105"/>
                </a:cubicBezTo>
                <a:lnTo>
                  <a:pt x="330" y="171"/>
                </a:lnTo>
                <a:close/>
                <a:moveTo>
                  <a:pt x="245" y="308"/>
                </a:moveTo>
                <a:cubicBezTo>
                  <a:pt x="256" y="308"/>
                  <a:pt x="264" y="299"/>
                  <a:pt x="264" y="289"/>
                </a:cubicBezTo>
                <a:cubicBezTo>
                  <a:pt x="264" y="278"/>
                  <a:pt x="256" y="269"/>
                  <a:pt x="245" y="269"/>
                </a:cubicBezTo>
                <a:cubicBezTo>
                  <a:pt x="234" y="269"/>
                  <a:pt x="225" y="278"/>
                  <a:pt x="225" y="289"/>
                </a:cubicBezTo>
                <a:cubicBezTo>
                  <a:pt x="225" y="299"/>
                  <a:pt x="234" y="308"/>
                  <a:pt x="245" y="308"/>
                </a:cubicBezTo>
                <a:close/>
                <a:moveTo>
                  <a:pt x="245" y="279"/>
                </a:moveTo>
                <a:cubicBezTo>
                  <a:pt x="250" y="279"/>
                  <a:pt x="255" y="283"/>
                  <a:pt x="255" y="289"/>
                </a:cubicBezTo>
                <a:cubicBezTo>
                  <a:pt x="255" y="294"/>
                  <a:pt x="250" y="299"/>
                  <a:pt x="245" y="299"/>
                </a:cubicBezTo>
                <a:cubicBezTo>
                  <a:pt x="239" y="299"/>
                  <a:pt x="235" y="294"/>
                  <a:pt x="235" y="289"/>
                </a:cubicBezTo>
                <a:cubicBezTo>
                  <a:pt x="235" y="283"/>
                  <a:pt x="239" y="279"/>
                  <a:pt x="245" y="279"/>
                </a:cubicBezTo>
                <a:close/>
                <a:moveTo>
                  <a:pt x="289" y="308"/>
                </a:moveTo>
                <a:cubicBezTo>
                  <a:pt x="299" y="308"/>
                  <a:pt x="308" y="299"/>
                  <a:pt x="308" y="289"/>
                </a:cubicBezTo>
                <a:cubicBezTo>
                  <a:pt x="308" y="278"/>
                  <a:pt x="299" y="269"/>
                  <a:pt x="289" y="269"/>
                </a:cubicBezTo>
                <a:cubicBezTo>
                  <a:pt x="278" y="269"/>
                  <a:pt x="269" y="278"/>
                  <a:pt x="269" y="289"/>
                </a:cubicBezTo>
                <a:cubicBezTo>
                  <a:pt x="269" y="299"/>
                  <a:pt x="278" y="308"/>
                  <a:pt x="289" y="308"/>
                </a:cubicBezTo>
                <a:close/>
                <a:moveTo>
                  <a:pt x="289" y="279"/>
                </a:moveTo>
                <a:cubicBezTo>
                  <a:pt x="294" y="279"/>
                  <a:pt x="299" y="283"/>
                  <a:pt x="299" y="289"/>
                </a:cubicBezTo>
                <a:cubicBezTo>
                  <a:pt x="299" y="294"/>
                  <a:pt x="294" y="299"/>
                  <a:pt x="289" y="299"/>
                </a:cubicBezTo>
                <a:cubicBezTo>
                  <a:pt x="283" y="299"/>
                  <a:pt x="279" y="294"/>
                  <a:pt x="279" y="289"/>
                </a:cubicBezTo>
                <a:cubicBezTo>
                  <a:pt x="279" y="283"/>
                  <a:pt x="283" y="279"/>
                  <a:pt x="289" y="279"/>
                </a:cubicBezTo>
                <a:close/>
                <a:moveTo>
                  <a:pt x="245" y="158"/>
                </a:moveTo>
                <a:cubicBezTo>
                  <a:pt x="256" y="158"/>
                  <a:pt x="264" y="149"/>
                  <a:pt x="264" y="138"/>
                </a:cubicBezTo>
                <a:cubicBezTo>
                  <a:pt x="264" y="127"/>
                  <a:pt x="256" y="119"/>
                  <a:pt x="245" y="119"/>
                </a:cubicBezTo>
                <a:cubicBezTo>
                  <a:pt x="234" y="119"/>
                  <a:pt x="225" y="127"/>
                  <a:pt x="225" y="138"/>
                </a:cubicBezTo>
                <a:cubicBezTo>
                  <a:pt x="225" y="149"/>
                  <a:pt x="234" y="158"/>
                  <a:pt x="245" y="158"/>
                </a:cubicBezTo>
                <a:close/>
                <a:moveTo>
                  <a:pt x="245" y="128"/>
                </a:moveTo>
                <a:cubicBezTo>
                  <a:pt x="250" y="128"/>
                  <a:pt x="255" y="133"/>
                  <a:pt x="255" y="138"/>
                </a:cubicBezTo>
                <a:cubicBezTo>
                  <a:pt x="255" y="144"/>
                  <a:pt x="250" y="148"/>
                  <a:pt x="245" y="148"/>
                </a:cubicBezTo>
                <a:cubicBezTo>
                  <a:pt x="239" y="148"/>
                  <a:pt x="235" y="144"/>
                  <a:pt x="235" y="138"/>
                </a:cubicBezTo>
                <a:cubicBezTo>
                  <a:pt x="235" y="133"/>
                  <a:pt x="239" y="128"/>
                  <a:pt x="245" y="128"/>
                </a:cubicBezTo>
                <a:close/>
                <a:moveTo>
                  <a:pt x="289" y="158"/>
                </a:moveTo>
                <a:cubicBezTo>
                  <a:pt x="299" y="158"/>
                  <a:pt x="308" y="149"/>
                  <a:pt x="308" y="138"/>
                </a:cubicBezTo>
                <a:cubicBezTo>
                  <a:pt x="308" y="127"/>
                  <a:pt x="299" y="119"/>
                  <a:pt x="289" y="119"/>
                </a:cubicBezTo>
                <a:cubicBezTo>
                  <a:pt x="278" y="119"/>
                  <a:pt x="269" y="127"/>
                  <a:pt x="269" y="138"/>
                </a:cubicBezTo>
                <a:cubicBezTo>
                  <a:pt x="269" y="149"/>
                  <a:pt x="278" y="158"/>
                  <a:pt x="289" y="158"/>
                </a:cubicBezTo>
                <a:close/>
                <a:moveTo>
                  <a:pt x="289" y="128"/>
                </a:moveTo>
                <a:cubicBezTo>
                  <a:pt x="294" y="128"/>
                  <a:pt x="299" y="133"/>
                  <a:pt x="299" y="138"/>
                </a:cubicBezTo>
                <a:cubicBezTo>
                  <a:pt x="299" y="144"/>
                  <a:pt x="294" y="148"/>
                  <a:pt x="289" y="148"/>
                </a:cubicBezTo>
                <a:cubicBezTo>
                  <a:pt x="283" y="148"/>
                  <a:pt x="279" y="144"/>
                  <a:pt x="279" y="138"/>
                </a:cubicBezTo>
                <a:cubicBezTo>
                  <a:pt x="279" y="133"/>
                  <a:pt x="283" y="128"/>
                  <a:pt x="289" y="128"/>
                </a:cubicBezTo>
                <a:close/>
                <a:moveTo>
                  <a:pt x="245" y="233"/>
                </a:moveTo>
                <a:cubicBezTo>
                  <a:pt x="256" y="233"/>
                  <a:pt x="264" y="224"/>
                  <a:pt x="264" y="213"/>
                </a:cubicBezTo>
                <a:cubicBezTo>
                  <a:pt x="264" y="203"/>
                  <a:pt x="256" y="194"/>
                  <a:pt x="245" y="194"/>
                </a:cubicBezTo>
                <a:cubicBezTo>
                  <a:pt x="234" y="194"/>
                  <a:pt x="225" y="203"/>
                  <a:pt x="225" y="213"/>
                </a:cubicBezTo>
                <a:cubicBezTo>
                  <a:pt x="225" y="224"/>
                  <a:pt x="234" y="233"/>
                  <a:pt x="245" y="233"/>
                </a:cubicBezTo>
                <a:close/>
                <a:moveTo>
                  <a:pt x="245" y="203"/>
                </a:moveTo>
                <a:cubicBezTo>
                  <a:pt x="250" y="203"/>
                  <a:pt x="255" y="208"/>
                  <a:pt x="255" y="213"/>
                </a:cubicBezTo>
                <a:cubicBezTo>
                  <a:pt x="255" y="219"/>
                  <a:pt x="250" y="223"/>
                  <a:pt x="245" y="223"/>
                </a:cubicBezTo>
                <a:cubicBezTo>
                  <a:pt x="239" y="223"/>
                  <a:pt x="235" y="219"/>
                  <a:pt x="235" y="213"/>
                </a:cubicBezTo>
                <a:cubicBezTo>
                  <a:pt x="235" y="208"/>
                  <a:pt x="239" y="203"/>
                  <a:pt x="245" y="203"/>
                </a:cubicBezTo>
                <a:close/>
                <a:moveTo>
                  <a:pt x="289" y="233"/>
                </a:moveTo>
                <a:cubicBezTo>
                  <a:pt x="299" y="233"/>
                  <a:pt x="308" y="224"/>
                  <a:pt x="308" y="213"/>
                </a:cubicBezTo>
                <a:cubicBezTo>
                  <a:pt x="308" y="203"/>
                  <a:pt x="299" y="194"/>
                  <a:pt x="289" y="194"/>
                </a:cubicBezTo>
                <a:cubicBezTo>
                  <a:pt x="278" y="194"/>
                  <a:pt x="269" y="203"/>
                  <a:pt x="269" y="213"/>
                </a:cubicBezTo>
                <a:cubicBezTo>
                  <a:pt x="269" y="224"/>
                  <a:pt x="278" y="233"/>
                  <a:pt x="289" y="233"/>
                </a:cubicBezTo>
                <a:close/>
                <a:moveTo>
                  <a:pt x="289" y="203"/>
                </a:moveTo>
                <a:cubicBezTo>
                  <a:pt x="294" y="203"/>
                  <a:pt x="299" y="208"/>
                  <a:pt x="299" y="213"/>
                </a:cubicBezTo>
                <a:cubicBezTo>
                  <a:pt x="299" y="219"/>
                  <a:pt x="294" y="223"/>
                  <a:pt x="289" y="223"/>
                </a:cubicBezTo>
                <a:cubicBezTo>
                  <a:pt x="283" y="223"/>
                  <a:pt x="279" y="219"/>
                  <a:pt x="279" y="213"/>
                </a:cubicBezTo>
                <a:cubicBezTo>
                  <a:pt x="279" y="208"/>
                  <a:pt x="283" y="203"/>
                  <a:pt x="289" y="20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2" name="Oval 12"/>
          <p:cNvSpPr>
            <a:spLocks noChangeArrowheads="1"/>
          </p:cNvSpPr>
          <p:nvPr/>
        </p:nvSpPr>
        <p:spPr bwMode="auto">
          <a:xfrm>
            <a:off x="6839872" y="211636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64" name="Freeform 31"/>
          <p:cNvSpPr>
            <a:spLocks noEditPoints="1"/>
          </p:cNvSpPr>
          <p:nvPr/>
        </p:nvSpPr>
        <p:spPr bwMode="auto">
          <a:xfrm>
            <a:off x="7000367" y="2284477"/>
            <a:ext cx="502460" cy="486251"/>
          </a:xfrm>
          <a:custGeom>
            <a:avLst/>
            <a:gdLst>
              <a:gd name="T0" fmla="*/ 68 w 436"/>
              <a:gd name="T1" fmla="*/ 141 h 421"/>
              <a:gd name="T2" fmla="*/ 29 w 436"/>
              <a:gd name="T3" fmla="*/ 353 h 421"/>
              <a:gd name="T4" fmla="*/ 321 w 436"/>
              <a:gd name="T5" fmla="*/ 392 h 421"/>
              <a:gd name="T6" fmla="*/ 360 w 436"/>
              <a:gd name="T7" fmla="*/ 180 h 421"/>
              <a:gd name="T8" fmla="*/ 351 w 436"/>
              <a:gd name="T9" fmla="*/ 353 h 421"/>
              <a:gd name="T10" fmla="*/ 68 w 436"/>
              <a:gd name="T11" fmla="*/ 383 h 421"/>
              <a:gd name="T12" fmla="*/ 38 w 436"/>
              <a:gd name="T13" fmla="*/ 180 h 421"/>
              <a:gd name="T14" fmla="*/ 321 w 436"/>
              <a:gd name="T15" fmla="*/ 150 h 421"/>
              <a:gd name="T16" fmla="*/ 351 w 436"/>
              <a:gd name="T17" fmla="*/ 353 h 421"/>
              <a:gd name="T18" fmla="*/ 370 w 436"/>
              <a:gd name="T19" fmla="*/ 203 h 421"/>
              <a:gd name="T20" fmla="*/ 417 w 436"/>
              <a:gd name="T21" fmla="*/ 203 h 421"/>
              <a:gd name="T22" fmla="*/ 393 w 436"/>
              <a:gd name="T23" fmla="*/ 217 h 421"/>
              <a:gd name="T24" fmla="*/ 393 w 436"/>
              <a:gd name="T25" fmla="*/ 189 h 421"/>
              <a:gd name="T26" fmla="*/ 393 w 436"/>
              <a:gd name="T27" fmla="*/ 217 h 421"/>
              <a:gd name="T28" fmla="*/ 231 w 436"/>
              <a:gd name="T29" fmla="*/ 112 h 421"/>
              <a:gd name="T30" fmla="*/ 338 w 436"/>
              <a:gd name="T31" fmla="*/ 2 h 421"/>
              <a:gd name="T32" fmla="*/ 219 w 436"/>
              <a:gd name="T33" fmla="*/ 110 h 421"/>
              <a:gd name="T34" fmla="*/ 154 w 436"/>
              <a:gd name="T35" fmla="*/ 60 h 421"/>
              <a:gd name="T36" fmla="*/ 207 w 436"/>
              <a:gd name="T37" fmla="*/ 112 h 421"/>
              <a:gd name="T38" fmla="*/ 0 w 436"/>
              <a:gd name="T39" fmla="*/ 175 h 421"/>
              <a:gd name="T40" fmla="*/ 63 w 436"/>
              <a:gd name="T41" fmla="*/ 421 h 421"/>
              <a:gd name="T42" fmla="*/ 436 w 436"/>
              <a:gd name="T43" fmla="*/ 358 h 421"/>
              <a:gd name="T44" fmla="*/ 373 w 436"/>
              <a:gd name="T45" fmla="*/ 112 h 421"/>
              <a:gd name="T46" fmla="*/ 373 w 436"/>
              <a:gd name="T47" fmla="*/ 411 h 421"/>
              <a:gd name="T48" fmla="*/ 9 w 436"/>
              <a:gd name="T49" fmla="*/ 358 h 421"/>
              <a:gd name="T50" fmla="*/ 63 w 436"/>
              <a:gd name="T51" fmla="*/ 121 h 421"/>
              <a:gd name="T52" fmla="*/ 427 w 436"/>
              <a:gd name="T53" fmla="*/ 175 h 421"/>
              <a:gd name="T54" fmla="*/ 393 w 436"/>
              <a:gd name="T55" fmla="*/ 249 h 421"/>
              <a:gd name="T56" fmla="*/ 393 w 436"/>
              <a:gd name="T57" fmla="*/ 296 h 421"/>
              <a:gd name="T58" fmla="*/ 393 w 436"/>
              <a:gd name="T59" fmla="*/ 249 h 421"/>
              <a:gd name="T60" fmla="*/ 379 w 436"/>
              <a:gd name="T61" fmla="*/ 273 h 421"/>
              <a:gd name="T62" fmla="*/ 408 w 436"/>
              <a:gd name="T63" fmla="*/ 273 h 4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36" h="421">
                <a:moveTo>
                  <a:pt x="321" y="141"/>
                </a:moveTo>
                <a:cubicBezTo>
                  <a:pt x="68" y="141"/>
                  <a:pt x="68" y="141"/>
                  <a:pt x="68" y="141"/>
                </a:cubicBezTo>
                <a:cubicBezTo>
                  <a:pt x="47" y="141"/>
                  <a:pt x="29" y="158"/>
                  <a:pt x="29" y="180"/>
                </a:cubicBezTo>
                <a:cubicBezTo>
                  <a:pt x="29" y="353"/>
                  <a:pt x="29" y="353"/>
                  <a:pt x="29" y="353"/>
                </a:cubicBezTo>
                <a:cubicBezTo>
                  <a:pt x="29" y="375"/>
                  <a:pt x="47" y="392"/>
                  <a:pt x="68" y="392"/>
                </a:cubicBezTo>
                <a:cubicBezTo>
                  <a:pt x="321" y="392"/>
                  <a:pt x="321" y="392"/>
                  <a:pt x="321" y="392"/>
                </a:cubicBezTo>
                <a:cubicBezTo>
                  <a:pt x="342" y="392"/>
                  <a:pt x="360" y="375"/>
                  <a:pt x="360" y="353"/>
                </a:cubicBezTo>
                <a:cubicBezTo>
                  <a:pt x="360" y="180"/>
                  <a:pt x="360" y="180"/>
                  <a:pt x="360" y="180"/>
                </a:cubicBezTo>
                <a:cubicBezTo>
                  <a:pt x="360" y="158"/>
                  <a:pt x="342" y="141"/>
                  <a:pt x="321" y="141"/>
                </a:cubicBezTo>
                <a:close/>
                <a:moveTo>
                  <a:pt x="351" y="353"/>
                </a:moveTo>
                <a:cubicBezTo>
                  <a:pt x="351" y="369"/>
                  <a:pt x="337" y="383"/>
                  <a:pt x="321" y="383"/>
                </a:cubicBezTo>
                <a:cubicBezTo>
                  <a:pt x="68" y="383"/>
                  <a:pt x="68" y="383"/>
                  <a:pt x="68" y="383"/>
                </a:cubicBezTo>
                <a:cubicBezTo>
                  <a:pt x="52" y="383"/>
                  <a:pt x="38" y="369"/>
                  <a:pt x="38" y="353"/>
                </a:cubicBezTo>
                <a:cubicBezTo>
                  <a:pt x="38" y="180"/>
                  <a:pt x="38" y="180"/>
                  <a:pt x="38" y="180"/>
                </a:cubicBezTo>
                <a:cubicBezTo>
                  <a:pt x="38" y="163"/>
                  <a:pt x="52" y="150"/>
                  <a:pt x="68" y="150"/>
                </a:cubicBezTo>
                <a:cubicBezTo>
                  <a:pt x="321" y="150"/>
                  <a:pt x="321" y="150"/>
                  <a:pt x="321" y="150"/>
                </a:cubicBezTo>
                <a:cubicBezTo>
                  <a:pt x="337" y="150"/>
                  <a:pt x="351" y="163"/>
                  <a:pt x="351" y="180"/>
                </a:cubicBezTo>
                <a:lnTo>
                  <a:pt x="351" y="353"/>
                </a:lnTo>
                <a:close/>
                <a:moveTo>
                  <a:pt x="393" y="180"/>
                </a:moveTo>
                <a:cubicBezTo>
                  <a:pt x="380" y="180"/>
                  <a:pt x="370" y="190"/>
                  <a:pt x="370" y="203"/>
                </a:cubicBezTo>
                <a:cubicBezTo>
                  <a:pt x="370" y="216"/>
                  <a:pt x="380" y="227"/>
                  <a:pt x="393" y="227"/>
                </a:cubicBezTo>
                <a:cubicBezTo>
                  <a:pt x="406" y="227"/>
                  <a:pt x="417" y="216"/>
                  <a:pt x="417" y="203"/>
                </a:cubicBezTo>
                <a:cubicBezTo>
                  <a:pt x="417" y="190"/>
                  <a:pt x="406" y="180"/>
                  <a:pt x="393" y="180"/>
                </a:cubicBezTo>
                <a:close/>
                <a:moveTo>
                  <a:pt x="393" y="217"/>
                </a:moveTo>
                <a:cubicBezTo>
                  <a:pt x="386" y="217"/>
                  <a:pt x="379" y="211"/>
                  <a:pt x="379" y="203"/>
                </a:cubicBezTo>
                <a:cubicBezTo>
                  <a:pt x="379" y="195"/>
                  <a:pt x="386" y="189"/>
                  <a:pt x="393" y="189"/>
                </a:cubicBezTo>
                <a:cubicBezTo>
                  <a:pt x="401" y="189"/>
                  <a:pt x="408" y="195"/>
                  <a:pt x="408" y="203"/>
                </a:cubicBezTo>
                <a:cubicBezTo>
                  <a:pt x="408" y="211"/>
                  <a:pt x="401" y="217"/>
                  <a:pt x="393" y="217"/>
                </a:cubicBezTo>
                <a:close/>
                <a:moveTo>
                  <a:pt x="373" y="112"/>
                </a:moveTo>
                <a:cubicBezTo>
                  <a:pt x="231" y="112"/>
                  <a:pt x="231" y="112"/>
                  <a:pt x="231" y="112"/>
                </a:cubicBezTo>
                <a:cubicBezTo>
                  <a:pt x="338" y="8"/>
                  <a:pt x="338" y="8"/>
                  <a:pt x="338" y="8"/>
                </a:cubicBezTo>
                <a:cubicBezTo>
                  <a:pt x="340" y="6"/>
                  <a:pt x="340" y="4"/>
                  <a:pt x="338" y="2"/>
                </a:cubicBezTo>
                <a:cubicBezTo>
                  <a:pt x="336" y="0"/>
                  <a:pt x="333" y="0"/>
                  <a:pt x="331" y="2"/>
                </a:cubicBezTo>
                <a:cubicBezTo>
                  <a:pt x="219" y="110"/>
                  <a:pt x="219" y="110"/>
                  <a:pt x="219" y="110"/>
                </a:cubicBezTo>
                <a:cubicBezTo>
                  <a:pt x="160" y="59"/>
                  <a:pt x="160" y="59"/>
                  <a:pt x="160" y="59"/>
                </a:cubicBezTo>
                <a:cubicBezTo>
                  <a:pt x="159" y="58"/>
                  <a:pt x="156" y="58"/>
                  <a:pt x="154" y="60"/>
                </a:cubicBezTo>
                <a:cubicBezTo>
                  <a:pt x="152" y="62"/>
                  <a:pt x="152" y="65"/>
                  <a:pt x="154" y="66"/>
                </a:cubicBezTo>
                <a:cubicBezTo>
                  <a:pt x="207" y="112"/>
                  <a:pt x="207" y="112"/>
                  <a:pt x="207" y="112"/>
                </a:cubicBezTo>
                <a:cubicBezTo>
                  <a:pt x="63" y="112"/>
                  <a:pt x="63" y="112"/>
                  <a:pt x="63" y="112"/>
                </a:cubicBezTo>
                <a:cubicBezTo>
                  <a:pt x="28" y="112"/>
                  <a:pt x="0" y="140"/>
                  <a:pt x="0" y="175"/>
                </a:cubicBezTo>
                <a:cubicBezTo>
                  <a:pt x="0" y="358"/>
                  <a:pt x="0" y="358"/>
                  <a:pt x="0" y="358"/>
                </a:cubicBezTo>
                <a:cubicBezTo>
                  <a:pt x="0" y="392"/>
                  <a:pt x="28" y="421"/>
                  <a:pt x="63" y="421"/>
                </a:cubicBezTo>
                <a:cubicBezTo>
                  <a:pt x="373" y="421"/>
                  <a:pt x="373" y="421"/>
                  <a:pt x="373" y="421"/>
                </a:cubicBezTo>
                <a:cubicBezTo>
                  <a:pt x="408" y="421"/>
                  <a:pt x="436" y="392"/>
                  <a:pt x="436" y="358"/>
                </a:cubicBezTo>
                <a:cubicBezTo>
                  <a:pt x="436" y="175"/>
                  <a:pt x="436" y="175"/>
                  <a:pt x="436" y="175"/>
                </a:cubicBezTo>
                <a:cubicBezTo>
                  <a:pt x="436" y="140"/>
                  <a:pt x="408" y="112"/>
                  <a:pt x="373" y="112"/>
                </a:cubicBezTo>
                <a:close/>
                <a:moveTo>
                  <a:pt x="427" y="358"/>
                </a:moveTo>
                <a:cubicBezTo>
                  <a:pt x="427" y="387"/>
                  <a:pt x="403" y="411"/>
                  <a:pt x="373" y="411"/>
                </a:cubicBezTo>
                <a:cubicBezTo>
                  <a:pt x="63" y="411"/>
                  <a:pt x="63" y="411"/>
                  <a:pt x="63" y="411"/>
                </a:cubicBezTo>
                <a:cubicBezTo>
                  <a:pt x="33" y="411"/>
                  <a:pt x="9" y="387"/>
                  <a:pt x="9" y="358"/>
                </a:cubicBezTo>
                <a:cubicBezTo>
                  <a:pt x="9" y="175"/>
                  <a:pt x="9" y="175"/>
                  <a:pt x="9" y="175"/>
                </a:cubicBezTo>
                <a:cubicBezTo>
                  <a:pt x="9" y="146"/>
                  <a:pt x="33" y="121"/>
                  <a:pt x="63" y="121"/>
                </a:cubicBezTo>
                <a:cubicBezTo>
                  <a:pt x="373" y="121"/>
                  <a:pt x="373" y="121"/>
                  <a:pt x="373" y="121"/>
                </a:cubicBezTo>
                <a:cubicBezTo>
                  <a:pt x="403" y="121"/>
                  <a:pt x="427" y="146"/>
                  <a:pt x="427" y="175"/>
                </a:cubicBezTo>
                <a:lnTo>
                  <a:pt x="427" y="358"/>
                </a:lnTo>
                <a:close/>
                <a:moveTo>
                  <a:pt x="393" y="249"/>
                </a:moveTo>
                <a:cubicBezTo>
                  <a:pt x="380" y="249"/>
                  <a:pt x="370" y="260"/>
                  <a:pt x="370" y="273"/>
                </a:cubicBezTo>
                <a:cubicBezTo>
                  <a:pt x="370" y="286"/>
                  <a:pt x="380" y="296"/>
                  <a:pt x="393" y="296"/>
                </a:cubicBezTo>
                <a:cubicBezTo>
                  <a:pt x="406" y="296"/>
                  <a:pt x="417" y="286"/>
                  <a:pt x="417" y="273"/>
                </a:cubicBezTo>
                <a:cubicBezTo>
                  <a:pt x="417" y="260"/>
                  <a:pt x="406" y="249"/>
                  <a:pt x="393" y="249"/>
                </a:cubicBezTo>
                <a:close/>
                <a:moveTo>
                  <a:pt x="393" y="287"/>
                </a:moveTo>
                <a:cubicBezTo>
                  <a:pt x="386" y="287"/>
                  <a:pt x="379" y="281"/>
                  <a:pt x="379" y="273"/>
                </a:cubicBezTo>
                <a:cubicBezTo>
                  <a:pt x="379" y="265"/>
                  <a:pt x="386" y="259"/>
                  <a:pt x="393" y="259"/>
                </a:cubicBezTo>
                <a:cubicBezTo>
                  <a:pt x="401" y="259"/>
                  <a:pt x="408" y="265"/>
                  <a:pt x="408" y="273"/>
                </a:cubicBezTo>
                <a:cubicBezTo>
                  <a:pt x="408" y="281"/>
                  <a:pt x="401" y="287"/>
                  <a:pt x="393" y="28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3" name="Oval 13"/>
          <p:cNvSpPr>
            <a:spLocks noChangeArrowheads="1"/>
          </p:cNvSpPr>
          <p:nvPr/>
        </p:nvSpPr>
        <p:spPr bwMode="auto">
          <a:xfrm>
            <a:off x="5547130" y="211636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65" name="Freeform 32"/>
          <p:cNvSpPr>
            <a:spLocks noEditPoints="1"/>
          </p:cNvSpPr>
          <p:nvPr/>
        </p:nvSpPr>
        <p:spPr bwMode="auto">
          <a:xfrm>
            <a:off x="5722467" y="2359737"/>
            <a:ext cx="472286" cy="335733"/>
          </a:xfrm>
          <a:custGeom>
            <a:avLst/>
            <a:gdLst>
              <a:gd name="T0" fmla="*/ 52 w 409"/>
              <a:gd name="T1" fmla="*/ 238 h 291"/>
              <a:gd name="T2" fmla="*/ 52 w 409"/>
              <a:gd name="T3" fmla="*/ 248 h 291"/>
              <a:gd name="T4" fmla="*/ 98 w 409"/>
              <a:gd name="T5" fmla="*/ 243 h 291"/>
              <a:gd name="T6" fmla="*/ 52 w 409"/>
              <a:gd name="T7" fmla="*/ 87 h 291"/>
              <a:gd name="T8" fmla="*/ 98 w 409"/>
              <a:gd name="T9" fmla="*/ 82 h 291"/>
              <a:gd name="T10" fmla="*/ 52 w 409"/>
              <a:gd name="T11" fmla="*/ 77 h 291"/>
              <a:gd name="T12" fmla="*/ 52 w 409"/>
              <a:gd name="T13" fmla="*/ 87 h 291"/>
              <a:gd name="T14" fmla="*/ 93 w 409"/>
              <a:gd name="T15" fmla="*/ 53 h 291"/>
              <a:gd name="T16" fmla="*/ 93 w 409"/>
              <a:gd name="T17" fmla="*/ 43 h 291"/>
              <a:gd name="T18" fmla="*/ 47 w 409"/>
              <a:gd name="T19" fmla="*/ 48 h 291"/>
              <a:gd name="T20" fmla="*/ 93 w 409"/>
              <a:gd name="T21" fmla="*/ 204 h 291"/>
              <a:gd name="T22" fmla="*/ 47 w 409"/>
              <a:gd name="T23" fmla="*/ 209 h 291"/>
              <a:gd name="T24" fmla="*/ 93 w 409"/>
              <a:gd name="T25" fmla="*/ 214 h 291"/>
              <a:gd name="T26" fmla="*/ 93 w 409"/>
              <a:gd name="T27" fmla="*/ 204 h 291"/>
              <a:gd name="T28" fmla="*/ 34 w 409"/>
              <a:gd name="T29" fmla="*/ 0 h 291"/>
              <a:gd name="T30" fmla="*/ 0 w 409"/>
              <a:gd name="T31" fmla="*/ 257 h 291"/>
              <a:gd name="T32" fmla="*/ 375 w 409"/>
              <a:gd name="T33" fmla="*/ 291 h 291"/>
              <a:gd name="T34" fmla="*/ 409 w 409"/>
              <a:gd name="T35" fmla="*/ 34 h 291"/>
              <a:gd name="T36" fmla="*/ 399 w 409"/>
              <a:gd name="T37" fmla="*/ 257 h 291"/>
              <a:gd name="T38" fmla="*/ 34 w 409"/>
              <a:gd name="T39" fmla="*/ 281 h 291"/>
              <a:gd name="T40" fmla="*/ 9 w 409"/>
              <a:gd name="T41" fmla="*/ 34 h 291"/>
              <a:gd name="T42" fmla="*/ 375 w 409"/>
              <a:gd name="T43" fmla="*/ 10 h 291"/>
              <a:gd name="T44" fmla="*/ 399 w 409"/>
              <a:gd name="T45" fmla="*/ 257 h 291"/>
              <a:gd name="T46" fmla="*/ 41 w 409"/>
              <a:gd name="T47" fmla="*/ 145 h 291"/>
              <a:gd name="T48" fmla="*/ 105 w 409"/>
              <a:gd name="T49" fmla="*/ 145 h 291"/>
              <a:gd name="T50" fmla="*/ 73 w 409"/>
              <a:gd name="T51" fmla="*/ 168 h 291"/>
              <a:gd name="T52" fmla="*/ 73 w 409"/>
              <a:gd name="T53" fmla="*/ 123 h 291"/>
              <a:gd name="T54" fmla="*/ 73 w 409"/>
              <a:gd name="T55" fmla="*/ 168 h 291"/>
              <a:gd name="T56" fmla="*/ 135 w 409"/>
              <a:gd name="T57" fmla="*/ 43 h 291"/>
              <a:gd name="T58" fmla="*/ 130 w 409"/>
              <a:gd name="T59" fmla="*/ 243 h 291"/>
              <a:gd name="T60" fmla="*/ 358 w 409"/>
              <a:gd name="T61" fmla="*/ 248 h 291"/>
              <a:gd name="T62" fmla="*/ 362 w 409"/>
              <a:gd name="T63" fmla="*/ 48 h 291"/>
              <a:gd name="T64" fmla="*/ 353 w 409"/>
              <a:gd name="T65" fmla="*/ 238 h 291"/>
              <a:gd name="T66" fmla="*/ 139 w 409"/>
              <a:gd name="T67" fmla="*/ 53 h 291"/>
              <a:gd name="T68" fmla="*/ 353 w 409"/>
              <a:gd name="T69" fmla="*/ 238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09" h="291">
                <a:moveTo>
                  <a:pt x="93" y="238"/>
                </a:moveTo>
                <a:cubicBezTo>
                  <a:pt x="52" y="238"/>
                  <a:pt x="52" y="238"/>
                  <a:pt x="52" y="238"/>
                </a:cubicBezTo>
                <a:cubicBezTo>
                  <a:pt x="49" y="238"/>
                  <a:pt x="47" y="241"/>
                  <a:pt x="47" y="243"/>
                </a:cubicBezTo>
                <a:cubicBezTo>
                  <a:pt x="47" y="246"/>
                  <a:pt x="49" y="248"/>
                  <a:pt x="52" y="248"/>
                </a:cubicBezTo>
                <a:cubicBezTo>
                  <a:pt x="93" y="248"/>
                  <a:pt x="93" y="248"/>
                  <a:pt x="93" y="248"/>
                </a:cubicBezTo>
                <a:cubicBezTo>
                  <a:pt x="96" y="248"/>
                  <a:pt x="98" y="246"/>
                  <a:pt x="98" y="243"/>
                </a:cubicBezTo>
                <a:cubicBezTo>
                  <a:pt x="98" y="241"/>
                  <a:pt x="96" y="238"/>
                  <a:pt x="93" y="238"/>
                </a:cubicBezTo>
                <a:close/>
                <a:moveTo>
                  <a:pt x="52" y="87"/>
                </a:moveTo>
                <a:cubicBezTo>
                  <a:pt x="93" y="87"/>
                  <a:pt x="93" y="87"/>
                  <a:pt x="93" y="87"/>
                </a:cubicBezTo>
                <a:cubicBezTo>
                  <a:pt x="96" y="87"/>
                  <a:pt x="98" y="84"/>
                  <a:pt x="98" y="82"/>
                </a:cubicBezTo>
                <a:cubicBezTo>
                  <a:pt x="98" y="79"/>
                  <a:pt x="96" y="77"/>
                  <a:pt x="93" y="77"/>
                </a:cubicBezTo>
                <a:cubicBezTo>
                  <a:pt x="52" y="77"/>
                  <a:pt x="52" y="77"/>
                  <a:pt x="52" y="77"/>
                </a:cubicBezTo>
                <a:cubicBezTo>
                  <a:pt x="49" y="77"/>
                  <a:pt x="47" y="79"/>
                  <a:pt x="47" y="82"/>
                </a:cubicBezTo>
                <a:cubicBezTo>
                  <a:pt x="47" y="84"/>
                  <a:pt x="49" y="87"/>
                  <a:pt x="52" y="87"/>
                </a:cubicBezTo>
                <a:close/>
                <a:moveTo>
                  <a:pt x="52" y="53"/>
                </a:moveTo>
                <a:cubicBezTo>
                  <a:pt x="93" y="53"/>
                  <a:pt x="93" y="53"/>
                  <a:pt x="93" y="53"/>
                </a:cubicBezTo>
                <a:cubicBezTo>
                  <a:pt x="96" y="53"/>
                  <a:pt x="98" y="50"/>
                  <a:pt x="98" y="48"/>
                </a:cubicBezTo>
                <a:cubicBezTo>
                  <a:pt x="98" y="45"/>
                  <a:pt x="96" y="43"/>
                  <a:pt x="93" y="43"/>
                </a:cubicBezTo>
                <a:cubicBezTo>
                  <a:pt x="52" y="43"/>
                  <a:pt x="52" y="43"/>
                  <a:pt x="52" y="43"/>
                </a:cubicBezTo>
                <a:cubicBezTo>
                  <a:pt x="49" y="43"/>
                  <a:pt x="47" y="45"/>
                  <a:pt x="47" y="48"/>
                </a:cubicBezTo>
                <a:cubicBezTo>
                  <a:pt x="47" y="50"/>
                  <a:pt x="49" y="53"/>
                  <a:pt x="52" y="53"/>
                </a:cubicBezTo>
                <a:close/>
                <a:moveTo>
                  <a:pt x="93" y="204"/>
                </a:moveTo>
                <a:cubicBezTo>
                  <a:pt x="52" y="204"/>
                  <a:pt x="52" y="204"/>
                  <a:pt x="52" y="204"/>
                </a:cubicBezTo>
                <a:cubicBezTo>
                  <a:pt x="49" y="204"/>
                  <a:pt x="47" y="207"/>
                  <a:pt x="47" y="209"/>
                </a:cubicBezTo>
                <a:cubicBezTo>
                  <a:pt x="47" y="212"/>
                  <a:pt x="49" y="214"/>
                  <a:pt x="52" y="214"/>
                </a:cubicBezTo>
                <a:cubicBezTo>
                  <a:pt x="93" y="214"/>
                  <a:pt x="93" y="214"/>
                  <a:pt x="93" y="214"/>
                </a:cubicBezTo>
                <a:cubicBezTo>
                  <a:pt x="96" y="214"/>
                  <a:pt x="98" y="212"/>
                  <a:pt x="98" y="209"/>
                </a:cubicBezTo>
                <a:cubicBezTo>
                  <a:pt x="98" y="207"/>
                  <a:pt x="96" y="204"/>
                  <a:pt x="93" y="204"/>
                </a:cubicBezTo>
                <a:close/>
                <a:moveTo>
                  <a:pt x="375" y="0"/>
                </a:moveTo>
                <a:cubicBezTo>
                  <a:pt x="34" y="0"/>
                  <a:pt x="34" y="0"/>
                  <a:pt x="34" y="0"/>
                </a:cubicBezTo>
                <a:cubicBezTo>
                  <a:pt x="15" y="0"/>
                  <a:pt x="0" y="16"/>
                  <a:pt x="0" y="34"/>
                </a:cubicBezTo>
                <a:cubicBezTo>
                  <a:pt x="0" y="257"/>
                  <a:pt x="0" y="257"/>
                  <a:pt x="0" y="257"/>
                </a:cubicBezTo>
                <a:cubicBezTo>
                  <a:pt x="0" y="275"/>
                  <a:pt x="15" y="291"/>
                  <a:pt x="34" y="291"/>
                </a:cubicBezTo>
                <a:cubicBezTo>
                  <a:pt x="375" y="291"/>
                  <a:pt x="375" y="291"/>
                  <a:pt x="375" y="291"/>
                </a:cubicBezTo>
                <a:cubicBezTo>
                  <a:pt x="393" y="291"/>
                  <a:pt x="409" y="275"/>
                  <a:pt x="409" y="257"/>
                </a:cubicBezTo>
                <a:cubicBezTo>
                  <a:pt x="409" y="34"/>
                  <a:pt x="409" y="34"/>
                  <a:pt x="409" y="34"/>
                </a:cubicBezTo>
                <a:cubicBezTo>
                  <a:pt x="409" y="16"/>
                  <a:pt x="393" y="0"/>
                  <a:pt x="375" y="0"/>
                </a:cubicBezTo>
                <a:close/>
                <a:moveTo>
                  <a:pt x="399" y="257"/>
                </a:moveTo>
                <a:cubicBezTo>
                  <a:pt x="399" y="270"/>
                  <a:pt x="388" y="281"/>
                  <a:pt x="375" y="281"/>
                </a:cubicBezTo>
                <a:cubicBezTo>
                  <a:pt x="34" y="281"/>
                  <a:pt x="34" y="281"/>
                  <a:pt x="34" y="281"/>
                </a:cubicBezTo>
                <a:cubicBezTo>
                  <a:pt x="20" y="281"/>
                  <a:pt x="9" y="270"/>
                  <a:pt x="9" y="257"/>
                </a:cubicBezTo>
                <a:cubicBezTo>
                  <a:pt x="9" y="34"/>
                  <a:pt x="9" y="34"/>
                  <a:pt x="9" y="34"/>
                </a:cubicBezTo>
                <a:cubicBezTo>
                  <a:pt x="9" y="21"/>
                  <a:pt x="20" y="10"/>
                  <a:pt x="34" y="10"/>
                </a:cubicBezTo>
                <a:cubicBezTo>
                  <a:pt x="375" y="10"/>
                  <a:pt x="375" y="10"/>
                  <a:pt x="375" y="10"/>
                </a:cubicBezTo>
                <a:cubicBezTo>
                  <a:pt x="388" y="10"/>
                  <a:pt x="399" y="21"/>
                  <a:pt x="399" y="34"/>
                </a:cubicBezTo>
                <a:lnTo>
                  <a:pt x="399" y="257"/>
                </a:lnTo>
                <a:close/>
                <a:moveTo>
                  <a:pt x="73" y="113"/>
                </a:moveTo>
                <a:cubicBezTo>
                  <a:pt x="55" y="113"/>
                  <a:pt x="41" y="128"/>
                  <a:pt x="41" y="145"/>
                </a:cubicBezTo>
                <a:cubicBezTo>
                  <a:pt x="41" y="163"/>
                  <a:pt x="55" y="178"/>
                  <a:pt x="73" y="178"/>
                </a:cubicBezTo>
                <a:cubicBezTo>
                  <a:pt x="90" y="178"/>
                  <a:pt x="105" y="163"/>
                  <a:pt x="105" y="145"/>
                </a:cubicBezTo>
                <a:cubicBezTo>
                  <a:pt x="105" y="128"/>
                  <a:pt x="90" y="113"/>
                  <a:pt x="73" y="113"/>
                </a:cubicBezTo>
                <a:close/>
                <a:moveTo>
                  <a:pt x="73" y="168"/>
                </a:moveTo>
                <a:cubicBezTo>
                  <a:pt x="60" y="168"/>
                  <a:pt x="50" y="158"/>
                  <a:pt x="50" y="145"/>
                </a:cubicBezTo>
                <a:cubicBezTo>
                  <a:pt x="50" y="133"/>
                  <a:pt x="60" y="123"/>
                  <a:pt x="73" y="123"/>
                </a:cubicBezTo>
                <a:cubicBezTo>
                  <a:pt x="85" y="123"/>
                  <a:pt x="96" y="133"/>
                  <a:pt x="96" y="145"/>
                </a:cubicBezTo>
                <a:cubicBezTo>
                  <a:pt x="96" y="158"/>
                  <a:pt x="85" y="168"/>
                  <a:pt x="73" y="168"/>
                </a:cubicBezTo>
                <a:close/>
                <a:moveTo>
                  <a:pt x="358" y="43"/>
                </a:moveTo>
                <a:cubicBezTo>
                  <a:pt x="135" y="43"/>
                  <a:pt x="135" y="43"/>
                  <a:pt x="135" y="43"/>
                </a:cubicBezTo>
                <a:cubicBezTo>
                  <a:pt x="132" y="43"/>
                  <a:pt x="130" y="45"/>
                  <a:pt x="130" y="48"/>
                </a:cubicBezTo>
                <a:cubicBezTo>
                  <a:pt x="130" y="243"/>
                  <a:pt x="130" y="243"/>
                  <a:pt x="130" y="243"/>
                </a:cubicBezTo>
                <a:cubicBezTo>
                  <a:pt x="130" y="246"/>
                  <a:pt x="132" y="248"/>
                  <a:pt x="135" y="248"/>
                </a:cubicBezTo>
                <a:cubicBezTo>
                  <a:pt x="358" y="248"/>
                  <a:pt x="358" y="248"/>
                  <a:pt x="358" y="248"/>
                </a:cubicBezTo>
                <a:cubicBezTo>
                  <a:pt x="360" y="248"/>
                  <a:pt x="362" y="246"/>
                  <a:pt x="362" y="243"/>
                </a:cubicBezTo>
                <a:cubicBezTo>
                  <a:pt x="362" y="48"/>
                  <a:pt x="362" y="48"/>
                  <a:pt x="362" y="48"/>
                </a:cubicBezTo>
                <a:cubicBezTo>
                  <a:pt x="362" y="45"/>
                  <a:pt x="360" y="43"/>
                  <a:pt x="358" y="43"/>
                </a:cubicBezTo>
                <a:close/>
                <a:moveTo>
                  <a:pt x="353" y="238"/>
                </a:moveTo>
                <a:cubicBezTo>
                  <a:pt x="139" y="238"/>
                  <a:pt x="139" y="238"/>
                  <a:pt x="139" y="238"/>
                </a:cubicBezTo>
                <a:cubicBezTo>
                  <a:pt x="139" y="53"/>
                  <a:pt x="139" y="53"/>
                  <a:pt x="139" y="53"/>
                </a:cubicBezTo>
                <a:cubicBezTo>
                  <a:pt x="353" y="53"/>
                  <a:pt x="353" y="53"/>
                  <a:pt x="353" y="53"/>
                </a:cubicBezTo>
                <a:lnTo>
                  <a:pt x="353" y="23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4254386" y="211636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66" name="Freeform 33"/>
          <p:cNvSpPr>
            <a:spLocks noEditPoints="1"/>
          </p:cNvSpPr>
          <p:nvPr/>
        </p:nvSpPr>
        <p:spPr bwMode="auto">
          <a:xfrm>
            <a:off x="4409302" y="2342144"/>
            <a:ext cx="474033" cy="422720"/>
          </a:xfrm>
          <a:custGeom>
            <a:avLst/>
            <a:gdLst>
              <a:gd name="T0" fmla="*/ 99 w 411"/>
              <a:gd name="T1" fmla="*/ 47 h 366"/>
              <a:gd name="T2" fmla="*/ 48 w 411"/>
              <a:gd name="T3" fmla="*/ 47 h 366"/>
              <a:gd name="T4" fmla="*/ 409 w 411"/>
              <a:gd name="T5" fmla="*/ 34 h 366"/>
              <a:gd name="T6" fmla="*/ 0 w 411"/>
              <a:gd name="T7" fmla="*/ 34 h 366"/>
              <a:gd name="T8" fmla="*/ 295 w 411"/>
              <a:gd name="T9" fmla="*/ 290 h 366"/>
              <a:gd name="T10" fmla="*/ 372 w 411"/>
              <a:gd name="T11" fmla="*/ 354 h 366"/>
              <a:gd name="T12" fmla="*/ 393 w 411"/>
              <a:gd name="T13" fmla="*/ 366 h 366"/>
              <a:gd name="T14" fmla="*/ 396 w 411"/>
              <a:gd name="T15" fmla="*/ 330 h 366"/>
              <a:gd name="T16" fmla="*/ 367 w 411"/>
              <a:gd name="T17" fmla="*/ 290 h 366"/>
              <a:gd name="T18" fmla="*/ 398 w 411"/>
              <a:gd name="T19" fmla="*/ 345 h 366"/>
              <a:gd name="T20" fmla="*/ 379 w 411"/>
              <a:gd name="T21" fmla="*/ 346 h 366"/>
              <a:gd name="T22" fmla="*/ 387 w 411"/>
              <a:gd name="T23" fmla="*/ 326 h 366"/>
              <a:gd name="T24" fmla="*/ 208 w 411"/>
              <a:gd name="T25" fmla="*/ 205 h 366"/>
              <a:gd name="T26" fmla="*/ 387 w 411"/>
              <a:gd name="T27" fmla="*/ 326 h 366"/>
              <a:gd name="T28" fmla="*/ 189 w 411"/>
              <a:gd name="T29" fmla="*/ 139 h 366"/>
              <a:gd name="T30" fmla="*/ 171 w 411"/>
              <a:gd name="T31" fmla="*/ 134 h 366"/>
              <a:gd name="T32" fmla="*/ 178 w 411"/>
              <a:gd name="T33" fmla="*/ 154 h 366"/>
              <a:gd name="T34" fmla="*/ 197 w 411"/>
              <a:gd name="T35" fmla="*/ 208 h 366"/>
              <a:gd name="T36" fmla="*/ 198 w 411"/>
              <a:gd name="T37" fmla="*/ 210 h 366"/>
              <a:gd name="T38" fmla="*/ 237 w 411"/>
              <a:gd name="T39" fmla="*/ 238 h 366"/>
              <a:gd name="T40" fmla="*/ 354 w 411"/>
              <a:gd name="T41" fmla="*/ 52 h 366"/>
              <a:gd name="T42" fmla="*/ 280 w 411"/>
              <a:gd name="T43" fmla="*/ 193 h 366"/>
              <a:gd name="T44" fmla="*/ 252 w 411"/>
              <a:gd name="T45" fmla="*/ 154 h 366"/>
              <a:gd name="T46" fmla="*/ 250 w 411"/>
              <a:gd name="T47" fmla="*/ 153 h 366"/>
              <a:gd name="T48" fmla="*/ 240 w 411"/>
              <a:gd name="T49" fmla="*/ 160 h 366"/>
              <a:gd name="T50" fmla="*/ 197 w 411"/>
              <a:gd name="T51" fmla="*/ 144 h 366"/>
              <a:gd name="T52" fmla="*/ 329 w 411"/>
              <a:gd name="T53" fmla="*/ 247 h 366"/>
              <a:gd name="T54" fmla="*/ 363 w 411"/>
              <a:gd name="T55" fmla="*/ 47 h 366"/>
              <a:gd name="T56" fmla="*/ 131 w 411"/>
              <a:gd name="T57" fmla="*/ 47 h 366"/>
              <a:gd name="T58" fmla="*/ 247 w 411"/>
              <a:gd name="T59" fmla="*/ 247 h 366"/>
              <a:gd name="T60" fmla="*/ 10 w 411"/>
              <a:gd name="T61" fmla="*/ 256 h 366"/>
              <a:gd name="T62" fmla="*/ 375 w 411"/>
              <a:gd name="T63" fmla="*/ 9 h 366"/>
              <a:gd name="T64" fmla="*/ 375 w 411"/>
              <a:gd name="T65" fmla="*/ 281 h 366"/>
              <a:gd name="T66" fmla="*/ 53 w 411"/>
              <a:gd name="T67" fmla="*/ 204 h 366"/>
              <a:gd name="T68" fmla="*/ 94 w 411"/>
              <a:gd name="T69" fmla="*/ 213 h 366"/>
              <a:gd name="T70" fmla="*/ 73 w 411"/>
              <a:gd name="T71" fmla="*/ 113 h 366"/>
              <a:gd name="T72" fmla="*/ 106 w 411"/>
              <a:gd name="T73" fmla="*/ 145 h 366"/>
              <a:gd name="T74" fmla="*/ 51 w 411"/>
              <a:gd name="T75" fmla="*/ 145 h 366"/>
              <a:gd name="T76" fmla="*/ 73 w 411"/>
              <a:gd name="T77" fmla="*/ 168 h 366"/>
              <a:gd name="T78" fmla="*/ 48 w 411"/>
              <a:gd name="T79" fmla="*/ 243 h 366"/>
              <a:gd name="T80" fmla="*/ 99 w 411"/>
              <a:gd name="T81" fmla="*/ 243 h 366"/>
              <a:gd name="T82" fmla="*/ 94 w 411"/>
              <a:gd name="T83" fmla="*/ 86 h 366"/>
              <a:gd name="T84" fmla="*/ 53 w 411"/>
              <a:gd name="T85" fmla="*/ 77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11" h="366">
                <a:moveTo>
                  <a:pt x="53" y="52"/>
                </a:moveTo>
                <a:cubicBezTo>
                  <a:pt x="94" y="52"/>
                  <a:pt x="94" y="52"/>
                  <a:pt x="94" y="52"/>
                </a:cubicBezTo>
                <a:cubicBezTo>
                  <a:pt x="97" y="52"/>
                  <a:pt x="99" y="50"/>
                  <a:pt x="99" y="47"/>
                </a:cubicBezTo>
                <a:cubicBezTo>
                  <a:pt x="99" y="45"/>
                  <a:pt x="97" y="43"/>
                  <a:pt x="94" y="43"/>
                </a:cubicBezTo>
                <a:cubicBezTo>
                  <a:pt x="53" y="43"/>
                  <a:pt x="53" y="43"/>
                  <a:pt x="53" y="43"/>
                </a:cubicBezTo>
                <a:cubicBezTo>
                  <a:pt x="50" y="43"/>
                  <a:pt x="48" y="45"/>
                  <a:pt x="48" y="47"/>
                </a:cubicBezTo>
                <a:cubicBezTo>
                  <a:pt x="48" y="50"/>
                  <a:pt x="50" y="52"/>
                  <a:pt x="53" y="52"/>
                </a:cubicBezTo>
                <a:close/>
                <a:moveTo>
                  <a:pt x="409" y="256"/>
                </a:moveTo>
                <a:cubicBezTo>
                  <a:pt x="409" y="34"/>
                  <a:pt x="409" y="34"/>
                  <a:pt x="409" y="34"/>
                </a:cubicBezTo>
                <a:cubicBezTo>
                  <a:pt x="409" y="15"/>
                  <a:pt x="394" y="0"/>
                  <a:pt x="375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16" y="0"/>
                  <a:pt x="0" y="15"/>
                  <a:pt x="0" y="34"/>
                </a:cubicBezTo>
                <a:cubicBezTo>
                  <a:pt x="0" y="256"/>
                  <a:pt x="0" y="256"/>
                  <a:pt x="0" y="256"/>
                </a:cubicBezTo>
                <a:cubicBezTo>
                  <a:pt x="0" y="275"/>
                  <a:pt x="16" y="290"/>
                  <a:pt x="34" y="290"/>
                </a:cubicBezTo>
                <a:cubicBezTo>
                  <a:pt x="295" y="290"/>
                  <a:pt x="295" y="290"/>
                  <a:pt x="295" y="290"/>
                </a:cubicBezTo>
                <a:cubicBezTo>
                  <a:pt x="366" y="354"/>
                  <a:pt x="366" y="354"/>
                  <a:pt x="366" y="354"/>
                </a:cubicBezTo>
                <a:cubicBezTo>
                  <a:pt x="366" y="355"/>
                  <a:pt x="368" y="355"/>
                  <a:pt x="369" y="355"/>
                </a:cubicBezTo>
                <a:cubicBezTo>
                  <a:pt x="370" y="355"/>
                  <a:pt x="371" y="355"/>
                  <a:pt x="372" y="354"/>
                </a:cubicBezTo>
                <a:cubicBezTo>
                  <a:pt x="373" y="353"/>
                  <a:pt x="373" y="353"/>
                  <a:pt x="373" y="353"/>
                </a:cubicBezTo>
                <a:cubicBezTo>
                  <a:pt x="381" y="362"/>
                  <a:pt x="381" y="362"/>
                  <a:pt x="381" y="362"/>
                </a:cubicBezTo>
                <a:cubicBezTo>
                  <a:pt x="385" y="365"/>
                  <a:pt x="389" y="366"/>
                  <a:pt x="393" y="366"/>
                </a:cubicBezTo>
                <a:cubicBezTo>
                  <a:pt x="397" y="366"/>
                  <a:pt x="401" y="365"/>
                  <a:pt x="404" y="362"/>
                </a:cubicBezTo>
                <a:cubicBezTo>
                  <a:pt x="411" y="355"/>
                  <a:pt x="411" y="345"/>
                  <a:pt x="404" y="339"/>
                </a:cubicBezTo>
                <a:cubicBezTo>
                  <a:pt x="396" y="330"/>
                  <a:pt x="396" y="330"/>
                  <a:pt x="396" y="330"/>
                </a:cubicBezTo>
                <a:cubicBezTo>
                  <a:pt x="397" y="329"/>
                  <a:pt x="397" y="329"/>
                  <a:pt x="397" y="329"/>
                </a:cubicBezTo>
                <a:cubicBezTo>
                  <a:pt x="398" y="327"/>
                  <a:pt x="398" y="325"/>
                  <a:pt x="397" y="323"/>
                </a:cubicBezTo>
                <a:cubicBezTo>
                  <a:pt x="367" y="290"/>
                  <a:pt x="367" y="290"/>
                  <a:pt x="367" y="290"/>
                </a:cubicBezTo>
                <a:cubicBezTo>
                  <a:pt x="375" y="290"/>
                  <a:pt x="375" y="290"/>
                  <a:pt x="375" y="290"/>
                </a:cubicBezTo>
                <a:cubicBezTo>
                  <a:pt x="394" y="290"/>
                  <a:pt x="409" y="275"/>
                  <a:pt x="409" y="256"/>
                </a:cubicBezTo>
                <a:close/>
                <a:moveTo>
                  <a:pt x="398" y="345"/>
                </a:moveTo>
                <a:cubicBezTo>
                  <a:pt x="401" y="348"/>
                  <a:pt x="401" y="352"/>
                  <a:pt x="398" y="355"/>
                </a:cubicBezTo>
                <a:cubicBezTo>
                  <a:pt x="395" y="358"/>
                  <a:pt x="391" y="358"/>
                  <a:pt x="388" y="355"/>
                </a:cubicBezTo>
                <a:cubicBezTo>
                  <a:pt x="379" y="346"/>
                  <a:pt x="379" y="346"/>
                  <a:pt x="379" y="346"/>
                </a:cubicBezTo>
                <a:cubicBezTo>
                  <a:pt x="389" y="337"/>
                  <a:pt x="389" y="337"/>
                  <a:pt x="389" y="337"/>
                </a:cubicBezTo>
                <a:lnTo>
                  <a:pt x="398" y="345"/>
                </a:lnTo>
                <a:close/>
                <a:moveTo>
                  <a:pt x="387" y="326"/>
                </a:moveTo>
                <a:cubicBezTo>
                  <a:pt x="369" y="344"/>
                  <a:pt x="369" y="344"/>
                  <a:pt x="369" y="344"/>
                </a:cubicBezTo>
                <a:cubicBezTo>
                  <a:pt x="242" y="230"/>
                  <a:pt x="242" y="230"/>
                  <a:pt x="242" y="230"/>
                </a:cubicBezTo>
                <a:cubicBezTo>
                  <a:pt x="231" y="219"/>
                  <a:pt x="216" y="209"/>
                  <a:pt x="208" y="205"/>
                </a:cubicBezTo>
                <a:cubicBezTo>
                  <a:pt x="247" y="165"/>
                  <a:pt x="247" y="165"/>
                  <a:pt x="247" y="165"/>
                </a:cubicBezTo>
                <a:cubicBezTo>
                  <a:pt x="252" y="173"/>
                  <a:pt x="262" y="188"/>
                  <a:pt x="273" y="199"/>
                </a:cubicBezTo>
                <a:lnTo>
                  <a:pt x="387" y="326"/>
                </a:lnTo>
                <a:close/>
                <a:moveTo>
                  <a:pt x="198" y="134"/>
                </a:moveTo>
                <a:cubicBezTo>
                  <a:pt x="196" y="134"/>
                  <a:pt x="194" y="134"/>
                  <a:pt x="193" y="135"/>
                </a:cubicBezTo>
                <a:cubicBezTo>
                  <a:pt x="189" y="139"/>
                  <a:pt x="189" y="139"/>
                  <a:pt x="189" y="139"/>
                </a:cubicBezTo>
                <a:cubicBezTo>
                  <a:pt x="177" y="128"/>
                  <a:pt x="177" y="128"/>
                  <a:pt x="177" y="128"/>
                </a:cubicBezTo>
                <a:cubicBezTo>
                  <a:pt x="175" y="126"/>
                  <a:pt x="172" y="126"/>
                  <a:pt x="171" y="128"/>
                </a:cubicBezTo>
                <a:cubicBezTo>
                  <a:pt x="169" y="130"/>
                  <a:pt x="169" y="133"/>
                  <a:pt x="171" y="134"/>
                </a:cubicBezTo>
                <a:cubicBezTo>
                  <a:pt x="182" y="146"/>
                  <a:pt x="182" y="146"/>
                  <a:pt x="182" y="146"/>
                </a:cubicBezTo>
                <a:cubicBezTo>
                  <a:pt x="179" y="149"/>
                  <a:pt x="179" y="149"/>
                  <a:pt x="179" y="149"/>
                </a:cubicBezTo>
                <a:cubicBezTo>
                  <a:pt x="178" y="151"/>
                  <a:pt x="177" y="152"/>
                  <a:pt x="178" y="154"/>
                </a:cubicBezTo>
                <a:cubicBezTo>
                  <a:pt x="196" y="207"/>
                  <a:pt x="196" y="207"/>
                  <a:pt x="196" y="207"/>
                </a:cubicBezTo>
                <a:cubicBezTo>
                  <a:pt x="196" y="207"/>
                  <a:pt x="196" y="207"/>
                  <a:pt x="196" y="207"/>
                </a:cubicBezTo>
                <a:cubicBezTo>
                  <a:pt x="196" y="208"/>
                  <a:pt x="196" y="208"/>
                  <a:pt x="197" y="208"/>
                </a:cubicBezTo>
                <a:cubicBezTo>
                  <a:pt x="197" y="208"/>
                  <a:pt x="197" y="209"/>
                  <a:pt x="197" y="209"/>
                </a:cubicBezTo>
                <a:cubicBezTo>
                  <a:pt x="197" y="209"/>
                  <a:pt x="197" y="209"/>
                  <a:pt x="197" y="209"/>
                </a:cubicBezTo>
                <a:cubicBezTo>
                  <a:pt x="197" y="209"/>
                  <a:pt x="198" y="209"/>
                  <a:pt x="198" y="210"/>
                </a:cubicBezTo>
                <a:cubicBezTo>
                  <a:pt x="198" y="210"/>
                  <a:pt x="198" y="210"/>
                  <a:pt x="198" y="210"/>
                </a:cubicBezTo>
                <a:cubicBezTo>
                  <a:pt x="198" y="210"/>
                  <a:pt x="221" y="222"/>
                  <a:pt x="236" y="237"/>
                </a:cubicBezTo>
                <a:cubicBezTo>
                  <a:pt x="237" y="238"/>
                  <a:pt x="237" y="238"/>
                  <a:pt x="237" y="238"/>
                </a:cubicBezTo>
                <a:cubicBezTo>
                  <a:pt x="140" y="238"/>
                  <a:pt x="140" y="238"/>
                  <a:pt x="140" y="238"/>
                </a:cubicBezTo>
                <a:cubicBezTo>
                  <a:pt x="140" y="52"/>
                  <a:pt x="140" y="52"/>
                  <a:pt x="140" y="52"/>
                </a:cubicBezTo>
                <a:cubicBezTo>
                  <a:pt x="354" y="52"/>
                  <a:pt x="354" y="52"/>
                  <a:pt x="354" y="52"/>
                </a:cubicBezTo>
                <a:cubicBezTo>
                  <a:pt x="354" y="238"/>
                  <a:pt x="354" y="238"/>
                  <a:pt x="354" y="238"/>
                </a:cubicBezTo>
                <a:cubicBezTo>
                  <a:pt x="320" y="238"/>
                  <a:pt x="320" y="238"/>
                  <a:pt x="320" y="238"/>
                </a:cubicBezTo>
                <a:cubicBezTo>
                  <a:pt x="280" y="193"/>
                  <a:pt x="280" y="193"/>
                  <a:pt x="280" y="193"/>
                </a:cubicBezTo>
                <a:cubicBezTo>
                  <a:pt x="265" y="178"/>
                  <a:pt x="253" y="156"/>
                  <a:pt x="252" y="155"/>
                </a:cubicBezTo>
                <a:cubicBezTo>
                  <a:pt x="252" y="155"/>
                  <a:pt x="252" y="155"/>
                  <a:pt x="252" y="155"/>
                </a:cubicBezTo>
                <a:cubicBezTo>
                  <a:pt x="252" y="155"/>
                  <a:pt x="252" y="155"/>
                  <a:pt x="252" y="154"/>
                </a:cubicBezTo>
                <a:cubicBezTo>
                  <a:pt x="252" y="154"/>
                  <a:pt x="252" y="154"/>
                  <a:pt x="251" y="154"/>
                </a:cubicBezTo>
                <a:cubicBezTo>
                  <a:pt x="251" y="154"/>
                  <a:pt x="251" y="154"/>
                  <a:pt x="251" y="154"/>
                </a:cubicBezTo>
                <a:cubicBezTo>
                  <a:pt x="251" y="154"/>
                  <a:pt x="250" y="153"/>
                  <a:pt x="250" y="153"/>
                </a:cubicBezTo>
                <a:cubicBezTo>
                  <a:pt x="250" y="153"/>
                  <a:pt x="250" y="153"/>
                  <a:pt x="250" y="153"/>
                </a:cubicBezTo>
                <a:lnTo>
                  <a:pt x="198" y="134"/>
                </a:lnTo>
                <a:close/>
                <a:moveTo>
                  <a:pt x="240" y="160"/>
                </a:moveTo>
                <a:cubicBezTo>
                  <a:pt x="202" y="197"/>
                  <a:pt x="202" y="197"/>
                  <a:pt x="202" y="197"/>
                </a:cubicBezTo>
                <a:cubicBezTo>
                  <a:pt x="188" y="154"/>
                  <a:pt x="188" y="154"/>
                  <a:pt x="188" y="154"/>
                </a:cubicBezTo>
                <a:cubicBezTo>
                  <a:pt x="197" y="144"/>
                  <a:pt x="197" y="144"/>
                  <a:pt x="197" y="144"/>
                </a:cubicBezTo>
                <a:lnTo>
                  <a:pt x="240" y="160"/>
                </a:lnTo>
                <a:close/>
                <a:moveTo>
                  <a:pt x="359" y="281"/>
                </a:moveTo>
                <a:cubicBezTo>
                  <a:pt x="329" y="247"/>
                  <a:pt x="329" y="247"/>
                  <a:pt x="329" y="247"/>
                </a:cubicBezTo>
                <a:cubicBezTo>
                  <a:pt x="358" y="247"/>
                  <a:pt x="358" y="247"/>
                  <a:pt x="358" y="247"/>
                </a:cubicBezTo>
                <a:cubicBezTo>
                  <a:pt x="361" y="247"/>
                  <a:pt x="363" y="245"/>
                  <a:pt x="363" y="243"/>
                </a:cubicBezTo>
                <a:cubicBezTo>
                  <a:pt x="363" y="47"/>
                  <a:pt x="363" y="47"/>
                  <a:pt x="363" y="47"/>
                </a:cubicBezTo>
                <a:cubicBezTo>
                  <a:pt x="363" y="45"/>
                  <a:pt x="361" y="43"/>
                  <a:pt x="358" y="43"/>
                </a:cubicBezTo>
                <a:cubicBezTo>
                  <a:pt x="135" y="43"/>
                  <a:pt x="135" y="43"/>
                  <a:pt x="135" y="43"/>
                </a:cubicBezTo>
                <a:cubicBezTo>
                  <a:pt x="133" y="43"/>
                  <a:pt x="131" y="45"/>
                  <a:pt x="131" y="47"/>
                </a:cubicBezTo>
                <a:cubicBezTo>
                  <a:pt x="131" y="243"/>
                  <a:pt x="131" y="243"/>
                  <a:pt x="131" y="243"/>
                </a:cubicBezTo>
                <a:cubicBezTo>
                  <a:pt x="131" y="245"/>
                  <a:pt x="133" y="247"/>
                  <a:pt x="135" y="247"/>
                </a:cubicBezTo>
                <a:cubicBezTo>
                  <a:pt x="247" y="247"/>
                  <a:pt x="247" y="247"/>
                  <a:pt x="247" y="247"/>
                </a:cubicBezTo>
                <a:cubicBezTo>
                  <a:pt x="284" y="281"/>
                  <a:pt x="284" y="281"/>
                  <a:pt x="284" y="281"/>
                </a:cubicBezTo>
                <a:cubicBezTo>
                  <a:pt x="34" y="281"/>
                  <a:pt x="34" y="281"/>
                  <a:pt x="34" y="281"/>
                </a:cubicBezTo>
                <a:cubicBezTo>
                  <a:pt x="21" y="281"/>
                  <a:pt x="10" y="270"/>
                  <a:pt x="10" y="256"/>
                </a:cubicBezTo>
                <a:cubicBezTo>
                  <a:pt x="10" y="34"/>
                  <a:pt x="10" y="34"/>
                  <a:pt x="10" y="34"/>
                </a:cubicBezTo>
                <a:cubicBezTo>
                  <a:pt x="10" y="20"/>
                  <a:pt x="21" y="9"/>
                  <a:pt x="34" y="9"/>
                </a:cubicBezTo>
                <a:cubicBezTo>
                  <a:pt x="375" y="9"/>
                  <a:pt x="375" y="9"/>
                  <a:pt x="375" y="9"/>
                </a:cubicBezTo>
                <a:cubicBezTo>
                  <a:pt x="389" y="9"/>
                  <a:pt x="400" y="20"/>
                  <a:pt x="400" y="34"/>
                </a:cubicBezTo>
                <a:cubicBezTo>
                  <a:pt x="400" y="256"/>
                  <a:pt x="400" y="256"/>
                  <a:pt x="400" y="256"/>
                </a:cubicBezTo>
                <a:cubicBezTo>
                  <a:pt x="400" y="270"/>
                  <a:pt x="389" y="281"/>
                  <a:pt x="375" y="281"/>
                </a:cubicBezTo>
                <a:lnTo>
                  <a:pt x="359" y="281"/>
                </a:lnTo>
                <a:close/>
                <a:moveTo>
                  <a:pt x="94" y="204"/>
                </a:moveTo>
                <a:cubicBezTo>
                  <a:pt x="53" y="204"/>
                  <a:pt x="53" y="204"/>
                  <a:pt x="53" y="204"/>
                </a:cubicBezTo>
                <a:cubicBezTo>
                  <a:pt x="50" y="204"/>
                  <a:pt x="48" y="206"/>
                  <a:pt x="48" y="209"/>
                </a:cubicBezTo>
                <a:cubicBezTo>
                  <a:pt x="48" y="211"/>
                  <a:pt x="50" y="213"/>
                  <a:pt x="53" y="213"/>
                </a:cubicBezTo>
                <a:cubicBezTo>
                  <a:pt x="94" y="213"/>
                  <a:pt x="94" y="213"/>
                  <a:pt x="94" y="213"/>
                </a:cubicBezTo>
                <a:cubicBezTo>
                  <a:pt x="97" y="213"/>
                  <a:pt x="99" y="211"/>
                  <a:pt x="99" y="209"/>
                </a:cubicBezTo>
                <a:cubicBezTo>
                  <a:pt x="99" y="206"/>
                  <a:pt x="97" y="204"/>
                  <a:pt x="94" y="204"/>
                </a:cubicBezTo>
                <a:close/>
                <a:moveTo>
                  <a:pt x="73" y="113"/>
                </a:moveTo>
                <a:cubicBezTo>
                  <a:pt x="56" y="113"/>
                  <a:pt x="41" y="127"/>
                  <a:pt x="41" y="145"/>
                </a:cubicBezTo>
                <a:cubicBezTo>
                  <a:pt x="41" y="163"/>
                  <a:pt x="56" y="177"/>
                  <a:pt x="73" y="177"/>
                </a:cubicBezTo>
                <a:cubicBezTo>
                  <a:pt x="91" y="177"/>
                  <a:pt x="106" y="163"/>
                  <a:pt x="106" y="145"/>
                </a:cubicBezTo>
                <a:cubicBezTo>
                  <a:pt x="106" y="127"/>
                  <a:pt x="91" y="113"/>
                  <a:pt x="73" y="113"/>
                </a:cubicBezTo>
                <a:close/>
                <a:moveTo>
                  <a:pt x="73" y="168"/>
                </a:moveTo>
                <a:cubicBezTo>
                  <a:pt x="61" y="168"/>
                  <a:pt x="51" y="157"/>
                  <a:pt x="51" y="145"/>
                </a:cubicBezTo>
                <a:cubicBezTo>
                  <a:pt x="51" y="132"/>
                  <a:pt x="61" y="122"/>
                  <a:pt x="73" y="122"/>
                </a:cubicBezTo>
                <a:cubicBezTo>
                  <a:pt x="86" y="122"/>
                  <a:pt x="96" y="132"/>
                  <a:pt x="96" y="145"/>
                </a:cubicBezTo>
                <a:cubicBezTo>
                  <a:pt x="96" y="157"/>
                  <a:pt x="86" y="168"/>
                  <a:pt x="73" y="168"/>
                </a:cubicBezTo>
                <a:close/>
                <a:moveTo>
                  <a:pt x="94" y="238"/>
                </a:moveTo>
                <a:cubicBezTo>
                  <a:pt x="53" y="238"/>
                  <a:pt x="53" y="238"/>
                  <a:pt x="53" y="238"/>
                </a:cubicBezTo>
                <a:cubicBezTo>
                  <a:pt x="50" y="238"/>
                  <a:pt x="48" y="240"/>
                  <a:pt x="48" y="243"/>
                </a:cubicBezTo>
                <a:cubicBezTo>
                  <a:pt x="48" y="245"/>
                  <a:pt x="50" y="247"/>
                  <a:pt x="53" y="247"/>
                </a:cubicBezTo>
                <a:cubicBezTo>
                  <a:pt x="94" y="247"/>
                  <a:pt x="94" y="247"/>
                  <a:pt x="94" y="247"/>
                </a:cubicBezTo>
                <a:cubicBezTo>
                  <a:pt x="97" y="247"/>
                  <a:pt x="99" y="245"/>
                  <a:pt x="99" y="243"/>
                </a:cubicBezTo>
                <a:cubicBezTo>
                  <a:pt x="99" y="240"/>
                  <a:pt x="97" y="238"/>
                  <a:pt x="94" y="238"/>
                </a:cubicBezTo>
                <a:close/>
                <a:moveTo>
                  <a:pt x="53" y="86"/>
                </a:moveTo>
                <a:cubicBezTo>
                  <a:pt x="94" y="86"/>
                  <a:pt x="94" y="86"/>
                  <a:pt x="94" y="86"/>
                </a:cubicBezTo>
                <a:cubicBezTo>
                  <a:pt x="97" y="86"/>
                  <a:pt x="99" y="84"/>
                  <a:pt x="99" y="81"/>
                </a:cubicBezTo>
                <a:cubicBezTo>
                  <a:pt x="99" y="79"/>
                  <a:pt x="97" y="77"/>
                  <a:pt x="94" y="77"/>
                </a:cubicBezTo>
                <a:cubicBezTo>
                  <a:pt x="53" y="77"/>
                  <a:pt x="53" y="77"/>
                  <a:pt x="53" y="77"/>
                </a:cubicBezTo>
                <a:cubicBezTo>
                  <a:pt x="50" y="77"/>
                  <a:pt x="48" y="79"/>
                  <a:pt x="48" y="81"/>
                </a:cubicBezTo>
                <a:cubicBezTo>
                  <a:pt x="48" y="84"/>
                  <a:pt x="50" y="86"/>
                  <a:pt x="53" y="8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0" name="Oval 10"/>
          <p:cNvSpPr>
            <a:spLocks noChangeArrowheads="1"/>
          </p:cNvSpPr>
          <p:nvPr/>
        </p:nvSpPr>
        <p:spPr bwMode="auto">
          <a:xfrm>
            <a:off x="1668898" y="31167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67" name="Freeform 34"/>
          <p:cNvSpPr>
            <a:spLocks noEditPoints="1"/>
          </p:cNvSpPr>
          <p:nvPr/>
        </p:nvSpPr>
        <p:spPr bwMode="auto">
          <a:xfrm>
            <a:off x="1802721" y="3357919"/>
            <a:ext cx="555315" cy="341192"/>
          </a:xfrm>
          <a:custGeom>
            <a:avLst/>
            <a:gdLst>
              <a:gd name="T0" fmla="*/ 97 w 481"/>
              <a:gd name="T1" fmla="*/ 231 h 296"/>
              <a:gd name="T2" fmla="*/ 385 w 481"/>
              <a:gd name="T3" fmla="*/ 231 h 296"/>
              <a:gd name="T4" fmla="*/ 389 w 481"/>
              <a:gd name="T5" fmla="*/ 227 h 296"/>
              <a:gd name="T6" fmla="*/ 389 w 481"/>
              <a:gd name="T7" fmla="*/ 35 h 296"/>
              <a:gd name="T8" fmla="*/ 385 w 481"/>
              <a:gd name="T9" fmla="*/ 31 h 296"/>
              <a:gd name="T10" fmla="*/ 97 w 481"/>
              <a:gd name="T11" fmla="*/ 31 h 296"/>
              <a:gd name="T12" fmla="*/ 92 w 481"/>
              <a:gd name="T13" fmla="*/ 35 h 296"/>
              <a:gd name="T14" fmla="*/ 92 w 481"/>
              <a:gd name="T15" fmla="*/ 227 h 296"/>
              <a:gd name="T16" fmla="*/ 97 w 481"/>
              <a:gd name="T17" fmla="*/ 231 h 296"/>
              <a:gd name="T18" fmla="*/ 102 w 481"/>
              <a:gd name="T19" fmla="*/ 40 h 296"/>
              <a:gd name="T20" fmla="*/ 380 w 481"/>
              <a:gd name="T21" fmla="*/ 40 h 296"/>
              <a:gd name="T22" fmla="*/ 380 w 481"/>
              <a:gd name="T23" fmla="*/ 222 h 296"/>
              <a:gd name="T24" fmla="*/ 102 w 481"/>
              <a:gd name="T25" fmla="*/ 222 h 296"/>
              <a:gd name="T26" fmla="*/ 102 w 481"/>
              <a:gd name="T27" fmla="*/ 40 h 296"/>
              <a:gd name="T28" fmla="*/ 459 w 481"/>
              <a:gd name="T29" fmla="*/ 252 h 296"/>
              <a:gd name="T30" fmla="*/ 414 w 481"/>
              <a:gd name="T31" fmla="*/ 252 h 296"/>
              <a:gd name="T32" fmla="*/ 422 w 481"/>
              <a:gd name="T33" fmla="*/ 231 h 296"/>
              <a:gd name="T34" fmla="*/ 422 w 481"/>
              <a:gd name="T35" fmla="*/ 31 h 296"/>
              <a:gd name="T36" fmla="*/ 392 w 481"/>
              <a:gd name="T37" fmla="*/ 0 h 296"/>
              <a:gd name="T38" fmla="*/ 90 w 481"/>
              <a:gd name="T39" fmla="*/ 0 h 296"/>
              <a:gd name="T40" fmla="*/ 59 w 481"/>
              <a:gd name="T41" fmla="*/ 31 h 296"/>
              <a:gd name="T42" fmla="*/ 59 w 481"/>
              <a:gd name="T43" fmla="*/ 231 h 296"/>
              <a:gd name="T44" fmla="*/ 68 w 481"/>
              <a:gd name="T45" fmla="*/ 252 h 296"/>
              <a:gd name="T46" fmla="*/ 22 w 481"/>
              <a:gd name="T47" fmla="*/ 252 h 296"/>
              <a:gd name="T48" fmla="*/ 0 w 481"/>
              <a:gd name="T49" fmla="*/ 274 h 296"/>
              <a:gd name="T50" fmla="*/ 22 w 481"/>
              <a:gd name="T51" fmla="*/ 296 h 296"/>
              <a:gd name="T52" fmla="*/ 459 w 481"/>
              <a:gd name="T53" fmla="*/ 296 h 296"/>
              <a:gd name="T54" fmla="*/ 481 w 481"/>
              <a:gd name="T55" fmla="*/ 274 h 296"/>
              <a:gd name="T56" fmla="*/ 459 w 481"/>
              <a:gd name="T57" fmla="*/ 252 h 296"/>
              <a:gd name="T58" fmla="*/ 68 w 481"/>
              <a:gd name="T59" fmla="*/ 31 h 296"/>
              <a:gd name="T60" fmla="*/ 90 w 481"/>
              <a:gd name="T61" fmla="*/ 10 h 296"/>
              <a:gd name="T62" fmla="*/ 392 w 481"/>
              <a:gd name="T63" fmla="*/ 10 h 296"/>
              <a:gd name="T64" fmla="*/ 413 w 481"/>
              <a:gd name="T65" fmla="*/ 31 h 296"/>
              <a:gd name="T66" fmla="*/ 413 w 481"/>
              <a:gd name="T67" fmla="*/ 231 h 296"/>
              <a:gd name="T68" fmla="*/ 392 w 481"/>
              <a:gd name="T69" fmla="*/ 252 h 296"/>
              <a:gd name="T70" fmla="*/ 90 w 481"/>
              <a:gd name="T71" fmla="*/ 252 h 296"/>
              <a:gd name="T72" fmla="*/ 68 w 481"/>
              <a:gd name="T73" fmla="*/ 231 h 296"/>
              <a:gd name="T74" fmla="*/ 68 w 481"/>
              <a:gd name="T75" fmla="*/ 31 h 296"/>
              <a:gd name="T76" fmla="*/ 459 w 481"/>
              <a:gd name="T77" fmla="*/ 286 h 296"/>
              <a:gd name="T78" fmla="*/ 22 w 481"/>
              <a:gd name="T79" fmla="*/ 286 h 296"/>
              <a:gd name="T80" fmla="*/ 10 w 481"/>
              <a:gd name="T81" fmla="*/ 274 h 296"/>
              <a:gd name="T82" fmla="*/ 22 w 481"/>
              <a:gd name="T83" fmla="*/ 262 h 296"/>
              <a:gd name="T84" fmla="*/ 459 w 481"/>
              <a:gd name="T85" fmla="*/ 262 h 296"/>
              <a:gd name="T86" fmla="*/ 472 w 481"/>
              <a:gd name="T87" fmla="*/ 274 h 296"/>
              <a:gd name="T88" fmla="*/ 459 w 481"/>
              <a:gd name="T89" fmla="*/ 28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81" h="296">
                <a:moveTo>
                  <a:pt x="97" y="231"/>
                </a:moveTo>
                <a:cubicBezTo>
                  <a:pt x="385" y="231"/>
                  <a:pt x="385" y="231"/>
                  <a:pt x="385" y="231"/>
                </a:cubicBezTo>
                <a:cubicBezTo>
                  <a:pt x="387" y="231"/>
                  <a:pt x="389" y="229"/>
                  <a:pt x="389" y="227"/>
                </a:cubicBezTo>
                <a:cubicBezTo>
                  <a:pt x="389" y="35"/>
                  <a:pt x="389" y="35"/>
                  <a:pt x="389" y="35"/>
                </a:cubicBezTo>
                <a:cubicBezTo>
                  <a:pt x="389" y="33"/>
                  <a:pt x="387" y="31"/>
                  <a:pt x="385" y="31"/>
                </a:cubicBezTo>
                <a:cubicBezTo>
                  <a:pt x="97" y="31"/>
                  <a:pt x="97" y="31"/>
                  <a:pt x="97" y="31"/>
                </a:cubicBezTo>
                <a:cubicBezTo>
                  <a:pt x="94" y="31"/>
                  <a:pt x="92" y="33"/>
                  <a:pt x="92" y="35"/>
                </a:cubicBezTo>
                <a:cubicBezTo>
                  <a:pt x="92" y="227"/>
                  <a:pt x="92" y="227"/>
                  <a:pt x="92" y="227"/>
                </a:cubicBezTo>
                <a:cubicBezTo>
                  <a:pt x="92" y="229"/>
                  <a:pt x="94" y="231"/>
                  <a:pt x="97" y="231"/>
                </a:cubicBezTo>
                <a:close/>
                <a:moveTo>
                  <a:pt x="102" y="40"/>
                </a:moveTo>
                <a:cubicBezTo>
                  <a:pt x="380" y="40"/>
                  <a:pt x="380" y="40"/>
                  <a:pt x="380" y="40"/>
                </a:cubicBezTo>
                <a:cubicBezTo>
                  <a:pt x="380" y="222"/>
                  <a:pt x="380" y="222"/>
                  <a:pt x="380" y="222"/>
                </a:cubicBezTo>
                <a:cubicBezTo>
                  <a:pt x="102" y="222"/>
                  <a:pt x="102" y="222"/>
                  <a:pt x="102" y="222"/>
                </a:cubicBezTo>
                <a:lnTo>
                  <a:pt x="102" y="40"/>
                </a:lnTo>
                <a:close/>
                <a:moveTo>
                  <a:pt x="459" y="252"/>
                </a:moveTo>
                <a:cubicBezTo>
                  <a:pt x="414" y="252"/>
                  <a:pt x="414" y="252"/>
                  <a:pt x="414" y="252"/>
                </a:cubicBezTo>
                <a:cubicBezTo>
                  <a:pt x="419" y="247"/>
                  <a:pt x="422" y="239"/>
                  <a:pt x="422" y="231"/>
                </a:cubicBezTo>
                <a:cubicBezTo>
                  <a:pt x="422" y="31"/>
                  <a:pt x="422" y="31"/>
                  <a:pt x="422" y="31"/>
                </a:cubicBezTo>
                <a:cubicBezTo>
                  <a:pt x="422" y="14"/>
                  <a:pt x="409" y="0"/>
                  <a:pt x="392" y="0"/>
                </a:cubicBezTo>
                <a:cubicBezTo>
                  <a:pt x="90" y="0"/>
                  <a:pt x="90" y="0"/>
                  <a:pt x="90" y="0"/>
                </a:cubicBezTo>
                <a:cubicBezTo>
                  <a:pt x="73" y="0"/>
                  <a:pt x="59" y="14"/>
                  <a:pt x="59" y="31"/>
                </a:cubicBezTo>
                <a:cubicBezTo>
                  <a:pt x="59" y="231"/>
                  <a:pt x="59" y="231"/>
                  <a:pt x="59" y="231"/>
                </a:cubicBezTo>
                <a:cubicBezTo>
                  <a:pt x="59" y="239"/>
                  <a:pt x="62" y="247"/>
                  <a:pt x="68" y="252"/>
                </a:cubicBezTo>
                <a:cubicBezTo>
                  <a:pt x="22" y="252"/>
                  <a:pt x="22" y="252"/>
                  <a:pt x="22" y="252"/>
                </a:cubicBezTo>
                <a:cubicBezTo>
                  <a:pt x="10" y="252"/>
                  <a:pt x="0" y="262"/>
                  <a:pt x="0" y="274"/>
                </a:cubicBezTo>
                <a:cubicBezTo>
                  <a:pt x="0" y="286"/>
                  <a:pt x="10" y="296"/>
                  <a:pt x="22" y="296"/>
                </a:cubicBezTo>
                <a:cubicBezTo>
                  <a:pt x="459" y="296"/>
                  <a:pt x="459" y="296"/>
                  <a:pt x="459" y="296"/>
                </a:cubicBezTo>
                <a:cubicBezTo>
                  <a:pt x="471" y="296"/>
                  <a:pt x="481" y="286"/>
                  <a:pt x="481" y="274"/>
                </a:cubicBezTo>
                <a:cubicBezTo>
                  <a:pt x="481" y="262"/>
                  <a:pt x="471" y="252"/>
                  <a:pt x="459" y="252"/>
                </a:cubicBezTo>
                <a:close/>
                <a:moveTo>
                  <a:pt x="68" y="31"/>
                </a:moveTo>
                <a:cubicBezTo>
                  <a:pt x="68" y="19"/>
                  <a:pt x="78" y="10"/>
                  <a:pt x="90" y="10"/>
                </a:cubicBezTo>
                <a:cubicBezTo>
                  <a:pt x="392" y="10"/>
                  <a:pt x="392" y="10"/>
                  <a:pt x="392" y="10"/>
                </a:cubicBezTo>
                <a:cubicBezTo>
                  <a:pt x="404" y="10"/>
                  <a:pt x="413" y="19"/>
                  <a:pt x="413" y="31"/>
                </a:cubicBezTo>
                <a:cubicBezTo>
                  <a:pt x="413" y="231"/>
                  <a:pt x="413" y="231"/>
                  <a:pt x="413" y="231"/>
                </a:cubicBezTo>
                <a:cubicBezTo>
                  <a:pt x="413" y="243"/>
                  <a:pt x="404" y="252"/>
                  <a:pt x="392" y="252"/>
                </a:cubicBezTo>
                <a:cubicBezTo>
                  <a:pt x="90" y="252"/>
                  <a:pt x="90" y="252"/>
                  <a:pt x="90" y="252"/>
                </a:cubicBezTo>
                <a:cubicBezTo>
                  <a:pt x="78" y="252"/>
                  <a:pt x="68" y="243"/>
                  <a:pt x="68" y="231"/>
                </a:cubicBezTo>
                <a:lnTo>
                  <a:pt x="68" y="31"/>
                </a:lnTo>
                <a:close/>
                <a:moveTo>
                  <a:pt x="459" y="286"/>
                </a:moveTo>
                <a:cubicBezTo>
                  <a:pt x="22" y="286"/>
                  <a:pt x="22" y="286"/>
                  <a:pt x="22" y="286"/>
                </a:cubicBezTo>
                <a:cubicBezTo>
                  <a:pt x="15" y="286"/>
                  <a:pt x="10" y="281"/>
                  <a:pt x="10" y="274"/>
                </a:cubicBezTo>
                <a:cubicBezTo>
                  <a:pt x="10" y="267"/>
                  <a:pt x="15" y="262"/>
                  <a:pt x="22" y="262"/>
                </a:cubicBezTo>
                <a:cubicBezTo>
                  <a:pt x="459" y="262"/>
                  <a:pt x="459" y="262"/>
                  <a:pt x="459" y="262"/>
                </a:cubicBezTo>
                <a:cubicBezTo>
                  <a:pt x="466" y="262"/>
                  <a:pt x="472" y="267"/>
                  <a:pt x="472" y="274"/>
                </a:cubicBezTo>
                <a:cubicBezTo>
                  <a:pt x="472" y="281"/>
                  <a:pt x="466" y="286"/>
                  <a:pt x="459" y="28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" name="Oval 8"/>
          <p:cNvSpPr>
            <a:spLocks noChangeArrowheads="1"/>
          </p:cNvSpPr>
          <p:nvPr/>
        </p:nvSpPr>
        <p:spPr bwMode="auto">
          <a:xfrm>
            <a:off x="4254386" y="31167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68" name="Freeform 35"/>
          <p:cNvSpPr>
            <a:spLocks noEditPoints="1"/>
          </p:cNvSpPr>
          <p:nvPr/>
        </p:nvSpPr>
        <p:spPr bwMode="auto">
          <a:xfrm>
            <a:off x="4454262" y="3375003"/>
            <a:ext cx="479897" cy="306536"/>
          </a:xfrm>
          <a:custGeom>
            <a:avLst/>
            <a:gdLst>
              <a:gd name="T0" fmla="*/ 353 w 416"/>
              <a:gd name="T1" fmla="*/ 108 h 266"/>
              <a:gd name="T2" fmla="*/ 248 w 416"/>
              <a:gd name="T3" fmla="*/ 0 h 266"/>
              <a:gd name="T4" fmla="*/ 160 w 416"/>
              <a:gd name="T5" fmla="*/ 49 h 266"/>
              <a:gd name="T6" fmla="*/ 137 w 416"/>
              <a:gd name="T7" fmla="*/ 45 h 266"/>
              <a:gd name="T8" fmla="*/ 71 w 416"/>
              <a:gd name="T9" fmla="*/ 106 h 266"/>
              <a:gd name="T10" fmla="*/ 0 w 416"/>
              <a:gd name="T11" fmla="*/ 186 h 266"/>
              <a:gd name="T12" fmla="*/ 77 w 416"/>
              <a:gd name="T13" fmla="*/ 266 h 266"/>
              <a:gd name="T14" fmla="*/ 344 w 416"/>
              <a:gd name="T15" fmla="*/ 266 h 266"/>
              <a:gd name="T16" fmla="*/ 344 w 416"/>
              <a:gd name="T17" fmla="*/ 266 h 266"/>
              <a:gd name="T18" fmla="*/ 416 w 416"/>
              <a:gd name="T19" fmla="*/ 186 h 266"/>
              <a:gd name="T20" fmla="*/ 353 w 416"/>
              <a:gd name="T21" fmla="*/ 108 h 266"/>
              <a:gd name="T22" fmla="*/ 344 w 416"/>
              <a:gd name="T23" fmla="*/ 257 h 266"/>
              <a:gd name="T24" fmla="*/ 77 w 416"/>
              <a:gd name="T25" fmla="*/ 257 h 266"/>
              <a:gd name="T26" fmla="*/ 9 w 416"/>
              <a:gd name="T27" fmla="*/ 186 h 266"/>
              <a:gd name="T28" fmla="*/ 75 w 416"/>
              <a:gd name="T29" fmla="*/ 115 h 266"/>
              <a:gd name="T30" fmla="*/ 80 w 416"/>
              <a:gd name="T31" fmla="*/ 110 h 266"/>
              <a:gd name="T32" fmla="*/ 137 w 416"/>
              <a:gd name="T33" fmla="*/ 55 h 266"/>
              <a:gd name="T34" fmla="*/ 161 w 416"/>
              <a:gd name="T35" fmla="*/ 59 h 266"/>
              <a:gd name="T36" fmla="*/ 166 w 416"/>
              <a:gd name="T37" fmla="*/ 57 h 266"/>
              <a:gd name="T38" fmla="*/ 248 w 416"/>
              <a:gd name="T39" fmla="*/ 9 h 266"/>
              <a:gd name="T40" fmla="*/ 344 w 416"/>
              <a:gd name="T41" fmla="*/ 112 h 266"/>
              <a:gd name="T42" fmla="*/ 348 w 416"/>
              <a:gd name="T43" fmla="*/ 117 h 266"/>
              <a:gd name="T44" fmla="*/ 406 w 416"/>
              <a:gd name="T45" fmla="*/ 186 h 266"/>
              <a:gd name="T46" fmla="*/ 344 w 416"/>
              <a:gd name="T47" fmla="*/ 257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16" h="266">
                <a:moveTo>
                  <a:pt x="353" y="108"/>
                </a:moveTo>
                <a:cubicBezTo>
                  <a:pt x="350" y="48"/>
                  <a:pt x="303" y="0"/>
                  <a:pt x="248" y="0"/>
                </a:cubicBezTo>
                <a:cubicBezTo>
                  <a:pt x="213" y="0"/>
                  <a:pt x="181" y="18"/>
                  <a:pt x="160" y="49"/>
                </a:cubicBezTo>
                <a:cubicBezTo>
                  <a:pt x="153" y="47"/>
                  <a:pt x="145" y="45"/>
                  <a:pt x="137" y="45"/>
                </a:cubicBezTo>
                <a:cubicBezTo>
                  <a:pt x="101" y="45"/>
                  <a:pt x="73" y="72"/>
                  <a:pt x="71" y="106"/>
                </a:cubicBezTo>
                <a:cubicBezTo>
                  <a:pt x="31" y="110"/>
                  <a:pt x="0" y="145"/>
                  <a:pt x="0" y="186"/>
                </a:cubicBezTo>
                <a:cubicBezTo>
                  <a:pt x="0" y="231"/>
                  <a:pt x="34" y="266"/>
                  <a:pt x="77" y="266"/>
                </a:cubicBezTo>
                <a:cubicBezTo>
                  <a:pt x="344" y="266"/>
                  <a:pt x="344" y="266"/>
                  <a:pt x="344" y="266"/>
                </a:cubicBezTo>
                <a:cubicBezTo>
                  <a:pt x="344" y="266"/>
                  <a:pt x="344" y="266"/>
                  <a:pt x="344" y="266"/>
                </a:cubicBezTo>
                <a:cubicBezTo>
                  <a:pt x="384" y="264"/>
                  <a:pt x="416" y="228"/>
                  <a:pt x="416" y="186"/>
                </a:cubicBezTo>
                <a:cubicBezTo>
                  <a:pt x="416" y="147"/>
                  <a:pt x="390" y="115"/>
                  <a:pt x="353" y="108"/>
                </a:cubicBezTo>
                <a:close/>
                <a:moveTo>
                  <a:pt x="344" y="257"/>
                </a:moveTo>
                <a:cubicBezTo>
                  <a:pt x="77" y="257"/>
                  <a:pt x="77" y="257"/>
                  <a:pt x="77" y="257"/>
                </a:cubicBezTo>
                <a:cubicBezTo>
                  <a:pt x="39" y="257"/>
                  <a:pt x="9" y="226"/>
                  <a:pt x="9" y="186"/>
                </a:cubicBezTo>
                <a:cubicBezTo>
                  <a:pt x="9" y="148"/>
                  <a:pt x="39" y="117"/>
                  <a:pt x="75" y="115"/>
                </a:cubicBezTo>
                <a:cubicBezTo>
                  <a:pt x="78" y="115"/>
                  <a:pt x="80" y="113"/>
                  <a:pt x="80" y="110"/>
                </a:cubicBezTo>
                <a:cubicBezTo>
                  <a:pt x="80" y="79"/>
                  <a:pt x="105" y="55"/>
                  <a:pt x="137" y="55"/>
                </a:cubicBezTo>
                <a:cubicBezTo>
                  <a:pt x="145" y="55"/>
                  <a:pt x="153" y="56"/>
                  <a:pt x="161" y="59"/>
                </a:cubicBezTo>
                <a:cubicBezTo>
                  <a:pt x="163" y="60"/>
                  <a:pt x="165" y="59"/>
                  <a:pt x="166" y="57"/>
                </a:cubicBezTo>
                <a:cubicBezTo>
                  <a:pt x="185" y="27"/>
                  <a:pt x="215" y="9"/>
                  <a:pt x="248" y="9"/>
                </a:cubicBezTo>
                <a:cubicBezTo>
                  <a:pt x="299" y="9"/>
                  <a:pt x="343" y="55"/>
                  <a:pt x="344" y="112"/>
                </a:cubicBezTo>
                <a:cubicBezTo>
                  <a:pt x="344" y="114"/>
                  <a:pt x="346" y="116"/>
                  <a:pt x="348" y="117"/>
                </a:cubicBezTo>
                <a:cubicBezTo>
                  <a:pt x="382" y="122"/>
                  <a:pt x="406" y="151"/>
                  <a:pt x="406" y="186"/>
                </a:cubicBezTo>
                <a:cubicBezTo>
                  <a:pt x="406" y="223"/>
                  <a:pt x="378" y="255"/>
                  <a:pt x="344" y="25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" name="Oval 9"/>
          <p:cNvSpPr>
            <a:spLocks noChangeArrowheads="1"/>
          </p:cNvSpPr>
          <p:nvPr/>
        </p:nvSpPr>
        <p:spPr bwMode="auto">
          <a:xfrm>
            <a:off x="2961642" y="31167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69" name="Freeform 36"/>
          <p:cNvSpPr>
            <a:spLocks noEditPoints="1"/>
          </p:cNvSpPr>
          <p:nvPr/>
        </p:nvSpPr>
        <p:spPr bwMode="auto">
          <a:xfrm>
            <a:off x="3133662" y="3271036"/>
            <a:ext cx="478920" cy="499341"/>
          </a:xfrm>
          <a:custGeom>
            <a:avLst/>
            <a:gdLst>
              <a:gd name="T0" fmla="*/ 352 w 415"/>
              <a:gd name="T1" fmla="*/ 109 h 433"/>
              <a:gd name="T2" fmla="*/ 248 w 415"/>
              <a:gd name="T3" fmla="*/ 0 h 433"/>
              <a:gd name="T4" fmla="*/ 160 w 415"/>
              <a:gd name="T5" fmla="*/ 50 h 433"/>
              <a:gd name="T6" fmla="*/ 137 w 415"/>
              <a:gd name="T7" fmla="*/ 46 h 433"/>
              <a:gd name="T8" fmla="*/ 71 w 415"/>
              <a:gd name="T9" fmla="*/ 107 h 433"/>
              <a:gd name="T10" fmla="*/ 0 w 415"/>
              <a:gd name="T11" fmla="*/ 186 h 433"/>
              <a:gd name="T12" fmla="*/ 76 w 415"/>
              <a:gd name="T13" fmla="*/ 265 h 433"/>
              <a:gd name="T14" fmla="*/ 162 w 415"/>
              <a:gd name="T15" fmla="*/ 265 h 433"/>
              <a:gd name="T16" fmla="*/ 162 w 415"/>
              <a:gd name="T17" fmla="*/ 296 h 433"/>
              <a:gd name="T18" fmla="*/ 127 w 415"/>
              <a:gd name="T19" fmla="*/ 296 h 433"/>
              <a:gd name="T20" fmla="*/ 108 w 415"/>
              <a:gd name="T21" fmla="*/ 306 h 433"/>
              <a:gd name="T22" fmla="*/ 111 w 415"/>
              <a:gd name="T23" fmla="*/ 327 h 433"/>
              <a:gd name="T24" fmla="*/ 186 w 415"/>
              <a:gd name="T25" fmla="*/ 424 h 433"/>
              <a:gd name="T26" fmla="*/ 207 w 415"/>
              <a:gd name="T27" fmla="*/ 433 h 433"/>
              <a:gd name="T28" fmla="*/ 228 w 415"/>
              <a:gd name="T29" fmla="*/ 424 h 433"/>
              <a:gd name="T30" fmla="*/ 304 w 415"/>
              <a:gd name="T31" fmla="*/ 327 h 433"/>
              <a:gd name="T32" fmla="*/ 307 w 415"/>
              <a:gd name="T33" fmla="*/ 306 h 433"/>
              <a:gd name="T34" fmla="*/ 288 w 415"/>
              <a:gd name="T35" fmla="*/ 296 h 433"/>
              <a:gd name="T36" fmla="*/ 253 w 415"/>
              <a:gd name="T37" fmla="*/ 296 h 433"/>
              <a:gd name="T38" fmla="*/ 253 w 415"/>
              <a:gd name="T39" fmla="*/ 265 h 433"/>
              <a:gd name="T40" fmla="*/ 344 w 415"/>
              <a:gd name="T41" fmla="*/ 265 h 433"/>
              <a:gd name="T42" fmla="*/ 415 w 415"/>
              <a:gd name="T43" fmla="*/ 186 h 433"/>
              <a:gd name="T44" fmla="*/ 352 w 415"/>
              <a:gd name="T45" fmla="*/ 109 h 433"/>
              <a:gd name="T46" fmla="*/ 343 w 415"/>
              <a:gd name="T47" fmla="*/ 257 h 433"/>
              <a:gd name="T48" fmla="*/ 249 w 415"/>
              <a:gd name="T49" fmla="*/ 257 h 433"/>
              <a:gd name="T50" fmla="*/ 245 w 415"/>
              <a:gd name="T51" fmla="*/ 261 h 433"/>
              <a:gd name="T52" fmla="*/ 245 w 415"/>
              <a:gd name="T53" fmla="*/ 300 h 433"/>
              <a:gd name="T54" fmla="*/ 249 w 415"/>
              <a:gd name="T55" fmla="*/ 304 h 433"/>
              <a:gd name="T56" fmla="*/ 288 w 415"/>
              <a:gd name="T57" fmla="*/ 304 h 433"/>
              <a:gd name="T58" fmla="*/ 300 w 415"/>
              <a:gd name="T59" fmla="*/ 310 h 433"/>
              <a:gd name="T60" fmla="*/ 298 w 415"/>
              <a:gd name="T61" fmla="*/ 322 h 433"/>
              <a:gd name="T62" fmla="*/ 221 w 415"/>
              <a:gd name="T63" fmla="*/ 419 h 433"/>
              <a:gd name="T64" fmla="*/ 207 w 415"/>
              <a:gd name="T65" fmla="*/ 425 h 433"/>
              <a:gd name="T66" fmla="*/ 193 w 415"/>
              <a:gd name="T67" fmla="*/ 419 h 433"/>
              <a:gd name="T68" fmla="*/ 118 w 415"/>
              <a:gd name="T69" fmla="*/ 323 h 433"/>
              <a:gd name="T70" fmla="*/ 115 w 415"/>
              <a:gd name="T71" fmla="*/ 309 h 433"/>
              <a:gd name="T72" fmla="*/ 127 w 415"/>
              <a:gd name="T73" fmla="*/ 304 h 433"/>
              <a:gd name="T74" fmla="*/ 166 w 415"/>
              <a:gd name="T75" fmla="*/ 304 h 433"/>
              <a:gd name="T76" fmla="*/ 170 w 415"/>
              <a:gd name="T77" fmla="*/ 300 h 433"/>
              <a:gd name="T78" fmla="*/ 170 w 415"/>
              <a:gd name="T79" fmla="*/ 261 h 433"/>
              <a:gd name="T80" fmla="*/ 166 w 415"/>
              <a:gd name="T81" fmla="*/ 257 h 433"/>
              <a:gd name="T82" fmla="*/ 76 w 415"/>
              <a:gd name="T83" fmla="*/ 257 h 433"/>
              <a:gd name="T84" fmla="*/ 8 w 415"/>
              <a:gd name="T85" fmla="*/ 186 h 433"/>
              <a:gd name="T86" fmla="*/ 75 w 415"/>
              <a:gd name="T87" fmla="*/ 114 h 433"/>
              <a:gd name="T88" fmla="*/ 79 w 415"/>
              <a:gd name="T89" fmla="*/ 110 h 433"/>
              <a:gd name="T90" fmla="*/ 137 w 415"/>
              <a:gd name="T91" fmla="*/ 54 h 433"/>
              <a:gd name="T92" fmla="*/ 161 w 415"/>
              <a:gd name="T93" fmla="*/ 59 h 433"/>
              <a:gd name="T94" fmla="*/ 166 w 415"/>
              <a:gd name="T95" fmla="*/ 57 h 433"/>
              <a:gd name="T96" fmla="*/ 248 w 415"/>
              <a:gd name="T97" fmla="*/ 9 h 433"/>
              <a:gd name="T98" fmla="*/ 344 w 415"/>
              <a:gd name="T99" fmla="*/ 112 h 433"/>
              <a:gd name="T100" fmla="*/ 348 w 415"/>
              <a:gd name="T101" fmla="*/ 116 h 433"/>
              <a:gd name="T102" fmla="*/ 407 w 415"/>
              <a:gd name="T103" fmla="*/ 186 h 433"/>
              <a:gd name="T104" fmla="*/ 343 w 415"/>
              <a:gd name="T105" fmla="*/ 257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15" h="433">
                <a:moveTo>
                  <a:pt x="352" y="109"/>
                </a:moveTo>
                <a:cubicBezTo>
                  <a:pt x="349" y="49"/>
                  <a:pt x="303" y="0"/>
                  <a:pt x="248" y="0"/>
                </a:cubicBezTo>
                <a:cubicBezTo>
                  <a:pt x="212" y="0"/>
                  <a:pt x="181" y="18"/>
                  <a:pt x="160" y="50"/>
                </a:cubicBezTo>
                <a:cubicBezTo>
                  <a:pt x="153" y="47"/>
                  <a:pt x="145" y="46"/>
                  <a:pt x="137" y="46"/>
                </a:cubicBezTo>
                <a:cubicBezTo>
                  <a:pt x="101" y="46"/>
                  <a:pt x="73" y="72"/>
                  <a:pt x="71" y="107"/>
                </a:cubicBezTo>
                <a:cubicBezTo>
                  <a:pt x="32" y="110"/>
                  <a:pt x="0" y="145"/>
                  <a:pt x="0" y="186"/>
                </a:cubicBezTo>
                <a:cubicBezTo>
                  <a:pt x="0" y="231"/>
                  <a:pt x="34" y="265"/>
                  <a:pt x="76" y="265"/>
                </a:cubicBezTo>
                <a:cubicBezTo>
                  <a:pt x="162" y="265"/>
                  <a:pt x="162" y="265"/>
                  <a:pt x="162" y="265"/>
                </a:cubicBezTo>
                <a:cubicBezTo>
                  <a:pt x="162" y="296"/>
                  <a:pt x="162" y="296"/>
                  <a:pt x="162" y="296"/>
                </a:cubicBezTo>
                <a:cubicBezTo>
                  <a:pt x="127" y="296"/>
                  <a:pt x="127" y="296"/>
                  <a:pt x="127" y="296"/>
                </a:cubicBezTo>
                <a:cubicBezTo>
                  <a:pt x="115" y="296"/>
                  <a:pt x="110" y="302"/>
                  <a:pt x="108" y="306"/>
                </a:cubicBezTo>
                <a:cubicBezTo>
                  <a:pt x="105" y="312"/>
                  <a:pt x="106" y="321"/>
                  <a:pt x="111" y="327"/>
                </a:cubicBezTo>
                <a:cubicBezTo>
                  <a:pt x="186" y="424"/>
                  <a:pt x="186" y="424"/>
                  <a:pt x="186" y="424"/>
                </a:cubicBezTo>
                <a:cubicBezTo>
                  <a:pt x="191" y="430"/>
                  <a:pt x="199" y="433"/>
                  <a:pt x="207" y="433"/>
                </a:cubicBezTo>
                <a:cubicBezTo>
                  <a:pt x="216" y="433"/>
                  <a:pt x="223" y="430"/>
                  <a:pt x="228" y="424"/>
                </a:cubicBezTo>
                <a:cubicBezTo>
                  <a:pt x="304" y="327"/>
                  <a:pt x="304" y="327"/>
                  <a:pt x="304" y="327"/>
                </a:cubicBezTo>
                <a:cubicBezTo>
                  <a:pt x="309" y="321"/>
                  <a:pt x="310" y="313"/>
                  <a:pt x="307" y="306"/>
                </a:cubicBezTo>
                <a:cubicBezTo>
                  <a:pt x="305" y="302"/>
                  <a:pt x="300" y="296"/>
                  <a:pt x="288" y="296"/>
                </a:cubicBezTo>
                <a:cubicBezTo>
                  <a:pt x="253" y="296"/>
                  <a:pt x="253" y="296"/>
                  <a:pt x="253" y="296"/>
                </a:cubicBezTo>
                <a:cubicBezTo>
                  <a:pt x="253" y="265"/>
                  <a:pt x="253" y="265"/>
                  <a:pt x="253" y="265"/>
                </a:cubicBezTo>
                <a:cubicBezTo>
                  <a:pt x="344" y="265"/>
                  <a:pt x="344" y="265"/>
                  <a:pt x="344" y="265"/>
                </a:cubicBezTo>
                <a:cubicBezTo>
                  <a:pt x="383" y="264"/>
                  <a:pt x="415" y="228"/>
                  <a:pt x="415" y="186"/>
                </a:cubicBezTo>
                <a:cubicBezTo>
                  <a:pt x="415" y="147"/>
                  <a:pt x="389" y="115"/>
                  <a:pt x="352" y="109"/>
                </a:cubicBezTo>
                <a:close/>
                <a:moveTo>
                  <a:pt x="343" y="257"/>
                </a:moveTo>
                <a:cubicBezTo>
                  <a:pt x="249" y="257"/>
                  <a:pt x="249" y="257"/>
                  <a:pt x="249" y="257"/>
                </a:cubicBezTo>
                <a:cubicBezTo>
                  <a:pt x="246" y="257"/>
                  <a:pt x="245" y="259"/>
                  <a:pt x="245" y="261"/>
                </a:cubicBezTo>
                <a:cubicBezTo>
                  <a:pt x="245" y="300"/>
                  <a:pt x="245" y="300"/>
                  <a:pt x="245" y="300"/>
                </a:cubicBezTo>
                <a:cubicBezTo>
                  <a:pt x="245" y="302"/>
                  <a:pt x="246" y="304"/>
                  <a:pt x="249" y="304"/>
                </a:cubicBezTo>
                <a:cubicBezTo>
                  <a:pt x="288" y="304"/>
                  <a:pt x="288" y="304"/>
                  <a:pt x="288" y="304"/>
                </a:cubicBezTo>
                <a:cubicBezTo>
                  <a:pt x="294" y="304"/>
                  <a:pt x="298" y="306"/>
                  <a:pt x="300" y="310"/>
                </a:cubicBezTo>
                <a:cubicBezTo>
                  <a:pt x="301" y="313"/>
                  <a:pt x="301" y="319"/>
                  <a:pt x="298" y="322"/>
                </a:cubicBezTo>
                <a:cubicBezTo>
                  <a:pt x="221" y="419"/>
                  <a:pt x="221" y="419"/>
                  <a:pt x="221" y="419"/>
                </a:cubicBezTo>
                <a:cubicBezTo>
                  <a:pt x="218" y="423"/>
                  <a:pt x="213" y="425"/>
                  <a:pt x="207" y="425"/>
                </a:cubicBezTo>
                <a:cubicBezTo>
                  <a:pt x="201" y="425"/>
                  <a:pt x="196" y="423"/>
                  <a:pt x="193" y="419"/>
                </a:cubicBezTo>
                <a:cubicBezTo>
                  <a:pt x="118" y="323"/>
                  <a:pt x="118" y="323"/>
                  <a:pt x="118" y="323"/>
                </a:cubicBezTo>
                <a:cubicBezTo>
                  <a:pt x="114" y="318"/>
                  <a:pt x="113" y="313"/>
                  <a:pt x="115" y="309"/>
                </a:cubicBezTo>
                <a:cubicBezTo>
                  <a:pt x="117" y="305"/>
                  <a:pt x="123" y="304"/>
                  <a:pt x="127" y="304"/>
                </a:cubicBezTo>
                <a:cubicBezTo>
                  <a:pt x="166" y="304"/>
                  <a:pt x="166" y="304"/>
                  <a:pt x="166" y="304"/>
                </a:cubicBezTo>
                <a:cubicBezTo>
                  <a:pt x="168" y="304"/>
                  <a:pt x="170" y="302"/>
                  <a:pt x="170" y="300"/>
                </a:cubicBezTo>
                <a:cubicBezTo>
                  <a:pt x="170" y="261"/>
                  <a:pt x="170" y="261"/>
                  <a:pt x="170" y="261"/>
                </a:cubicBezTo>
                <a:cubicBezTo>
                  <a:pt x="170" y="259"/>
                  <a:pt x="168" y="257"/>
                  <a:pt x="166" y="257"/>
                </a:cubicBezTo>
                <a:cubicBezTo>
                  <a:pt x="76" y="257"/>
                  <a:pt x="76" y="257"/>
                  <a:pt x="76" y="257"/>
                </a:cubicBezTo>
                <a:cubicBezTo>
                  <a:pt x="38" y="257"/>
                  <a:pt x="8" y="226"/>
                  <a:pt x="8" y="186"/>
                </a:cubicBezTo>
                <a:cubicBezTo>
                  <a:pt x="8" y="148"/>
                  <a:pt x="38" y="116"/>
                  <a:pt x="75" y="114"/>
                </a:cubicBezTo>
                <a:cubicBezTo>
                  <a:pt x="77" y="114"/>
                  <a:pt x="79" y="112"/>
                  <a:pt x="79" y="110"/>
                </a:cubicBezTo>
                <a:cubicBezTo>
                  <a:pt x="79" y="79"/>
                  <a:pt x="104" y="54"/>
                  <a:pt x="137" y="54"/>
                </a:cubicBezTo>
                <a:cubicBezTo>
                  <a:pt x="145" y="54"/>
                  <a:pt x="153" y="55"/>
                  <a:pt x="161" y="59"/>
                </a:cubicBezTo>
                <a:cubicBezTo>
                  <a:pt x="162" y="59"/>
                  <a:pt x="164" y="59"/>
                  <a:pt x="166" y="57"/>
                </a:cubicBezTo>
                <a:cubicBezTo>
                  <a:pt x="184" y="26"/>
                  <a:pt x="214" y="9"/>
                  <a:pt x="248" y="9"/>
                </a:cubicBezTo>
                <a:cubicBezTo>
                  <a:pt x="299" y="9"/>
                  <a:pt x="343" y="55"/>
                  <a:pt x="344" y="112"/>
                </a:cubicBezTo>
                <a:cubicBezTo>
                  <a:pt x="345" y="114"/>
                  <a:pt x="346" y="116"/>
                  <a:pt x="348" y="116"/>
                </a:cubicBezTo>
                <a:cubicBezTo>
                  <a:pt x="382" y="121"/>
                  <a:pt x="407" y="150"/>
                  <a:pt x="407" y="186"/>
                </a:cubicBezTo>
                <a:cubicBezTo>
                  <a:pt x="407" y="224"/>
                  <a:pt x="378" y="256"/>
                  <a:pt x="343" y="25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" name="Oval 6"/>
          <p:cNvSpPr>
            <a:spLocks noChangeArrowheads="1"/>
          </p:cNvSpPr>
          <p:nvPr/>
        </p:nvSpPr>
        <p:spPr bwMode="auto">
          <a:xfrm>
            <a:off x="6839872" y="31167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82" name="Freeform 37"/>
          <p:cNvSpPr>
            <a:spLocks noEditPoints="1"/>
          </p:cNvSpPr>
          <p:nvPr/>
        </p:nvSpPr>
        <p:spPr bwMode="auto">
          <a:xfrm>
            <a:off x="7011587" y="3297881"/>
            <a:ext cx="479531" cy="461268"/>
          </a:xfrm>
          <a:custGeom>
            <a:avLst/>
            <a:gdLst>
              <a:gd name="T0" fmla="*/ 354 w 416"/>
              <a:gd name="T1" fmla="*/ 108 h 400"/>
              <a:gd name="T2" fmla="*/ 248 w 416"/>
              <a:gd name="T3" fmla="*/ 0 h 400"/>
              <a:gd name="T4" fmla="*/ 161 w 416"/>
              <a:gd name="T5" fmla="*/ 49 h 400"/>
              <a:gd name="T6" fmla="*/ 137 w 416"/>
              <a:gd name="T7" fmla="*/ 45 h 400"/>
              <a:gd name="T8" fmla="*/ 71 w 416"/>
              <a:gd name="T9" fmla="*/ 106 h 400"/>
              <a:gd name="T10" fmla="*/ 0 w 416"/>
              <a:gd name="T11" fmla="*/ 186 h 400"/>
              <a:gd name="T12" fmla="*/ 77 w 416"/>
              <a:gd name="T13" fmla="*/ 266 h 400"/>
              <a:gd name="T14" fmla="*/ 209 w 416"/>
              <a:gd name="T15" fmla="*/ 266 h 400"/>
              <a:gd name="T16" fmla="*/ 209 w 416"/>
              <a:gd name="T17" fmla="*/ 384 h 400"/>
              <a:gd name="T18" fmla="*/ 160 w 416"/>
              <a:gd name="T19" fmla="*/ 335 h 400"/>
              <a:gd name="T20" fmla="*/ 153 w 416"/>
              <a:gd name="T21" fmla="*/ 335 h 400"/>
              <a:gd name="T22" fmla="*/ 153 w 416"/>
              <a:gd name="T23" fmla="*/ 342 h 400"/>
              <a:gd name="T24" fmla="*/ 210 w 416"/>
              <a:gd name="T25" fmla="*/ 399 h 400"/>
              <a:gd name="T26" fmla="*/ 210 w 416"/>
              <a:gd name="T27" fmla="*/ 399 h 400"/>
              <a:gd name="T28" fmla="*/ 211 w 416"/>
              <a:gd name="T29" fmla="*/ 399 h 400"/>
              <a:gd name="T30" fmla="*/ 211 w 416"/>
              <a:gd name="T31" fmla="*/ 399 h 400"/>
              <a:gd name="T32" fmla="*/ 211 w 416"/>
              <a:gd name="T33" fmla="*/ 400 h 400"/>
              <a:gd name="T34" fmla="*/ 212 w 416"/>
              <a:gd name="T35" fmla="*/ 400 h 400"/>
              <a:gd name="T36" fmla="*/ 212 w 416"/>
              <a:gd name="T37" fmla="*/ 400 h 400"/>
              <a:gd name="T38" fmla="*/ 213 w 416"/>
              <a:gd name="T39" fmla="*/ 400 h 400"/>
              <a:gd name="T40" fmla="*/ 213 w 416"/>
              <a:gd name="T41" fmla="*/ 400 h 400"/>
              <a:gd name="T42" fmla="*/ 213 w 416"/>
              <a:gd name="T43" fmla="*/ 400 h 400"/>
              <a:gd name="T44" fmla="*/ 214 w 416"/>
              <a:gd name="T45" fmla="*/ 400 h 400"/>
              <a:gd name="T46" fmla="*/ 215 w 416"/>
              <a:gd name="T47" fmla="*/ 400 h 400"/>
              <a:gd name="T48" fmla="*/ 215 w 416"/>
              <a:gd name="T49" fmla="*/ 400 h 400"/>
              <a:gd name="T50" fmla="*/ 216 w 416"/>
              <a:gd name="T51" fmla="*/ 399 h 400"/>
              <a:gd name="T52" fmla="*/ 216 w 416"/>
              <a:gd name="T53" fmla="*/ 399 h 400"/>
              <a:gd name="T54" fmla="*/ 217 w 416"/>
              <a:gd name="T55" fmla="*/ 399 h 400"/>
              <a:gd name="T56" fmla="*/ 273 w 416"/>
              <a:gd name="T57" fmla="*/ 342 h 400"/>
              <a:gd name="T58" fmla="*/ 273 w 416"/>
              <a:gd name="T59" fmla="*/ 335 h 400"/>
              <a:gd name="T60" fmla="*/ 267 w 416"/>
              <a:gd name="T61" fmla="*/ 335 h 400"/>
              <a:gd name="T62" fmla="*/ 218 w 416"/>
              <a:gd name="T63" fmla="*/ 384 h 400"/>
              <a:gd name="T64" fmla="*/ 218 w 416"/>
              <a:gd name="T65" fmla="*/ 266 h 400"/>
              <a:gd name="T66" fmla="*/ 344 w 416"/>
              <a:gd name="T67" fmla="*/ 266 h 400"/>
              <a:gd name="T68" fmla="*/ 344 w 416"/>
              <a:gd name="T69" fmla="*/ 266 h 400"/>
              <a:gd name="T70" fmla="*/ 416 w 416"/>
              <a:gd name="T71" fmla="*/ 186 h 400"/>
              <a:gd name="T72" fmla="*/ 354 w 416"/>
              <a:gd name="T73" fmla="*/ 108 h 400"/>
              <a:gd name="T74" fmla="*/ 344 w 416"/>
              <a:gd name="T75" fmla="*/ 257 h 400"/>
              <a:gd name="T76" fmla="*/ 77 w 416"/>
              <a:gd name="T77" fmla="*/ 257 h 400"/>
              <a:gd name="T78" fmla="*/ 9 w 416"/>
              <a:gd name="T79" fmla="*/ 186 h 400"/>
              <a:gd name="T80" fmla="*/ 75 w 416"/>
              <a:gd name="T81" fmla="*/ 115 h 400"/>
              <a:gd name="T82" fmla="*/ 80 w 416"/>
              <a:gd name="T83" fmla="*/ 110 h 400"/>
              <a:gd name="T84" fmla="*/ 137 w 416"/>
              <a:gd name="T85" fmla="*/ 55 h 400"/>
              <a:gd name="T86" fmla="*/ 161 w 416"/>
              <a:gd name="T87" fmla="*/ 59 h 400"/>
              <a:gd name="T88" fmla="*/ 167 w 416"/>
              <a:gd name="T89" fmla="*/ 57 h 400"/>
              <a:gd name="T90" fmla="*/ 248 w 416"/>
              <a:gd name="T91" fmla="*/ 9 h 400"/>
              <a:gd name="T92" fmla="*/ 344 w 416"/>
              <a:gd name="T93" fmla="*/ 112 h 400"/>
              <a:gd name="T94" fmla="*/ 348 w 416"/>
              <a:gd name="T95" fmla="*/ 117 h 400"/>
              <a:gd name="T96" fmla="*/ 407 w 416"/>
              <a:gd name="T97" fmla="*/ 186 h 400"/>
              <a:gd name="T98" fmla="*/ 344 w 416"/>
              <a:gd name="T99" fmla="*/ 257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16" h="400">
                <a:moveTo>
                  <a:pt x="354" y="108"/>
                </a:moveTo>
                <a:cubicBezTo>
                  <a:pt x="350" y="48"/>
                  <a:pt x="304" y="0"/>
                  <a:pt x="248" y="0"/>
                </a:cubicBezTo>
                <a:cubicBezTo>
                  <a:pt x="213" y="0"/>
                  <a:pt x="181" y="18"/>
                  <a:pt x="161" y="49"/>
                </a:cubicBezTo>
                <a:cubicBezTo>
                  <a:pt x="153" y="47"/>
                  <a:pt x="145" y="45"/>
                  <a:pt x="137" y="45"/>
                </a:cubicBezTo>
                <a:cubicBezTo>
                  <a:pt x="101" y="45"/>
                  <a:pt x="73" y="72"/>
                  <a:pt x="71" y="106"/>
                </a:cubicBezTo>
                <a:cubicBezTo>
                  <a:pt x="31" y="110"/>
                  <a:pt x="0" y="145"/>
                  <a:pt x="0" y="186"/>
                </a:cubicBezTo>
                <a:cubicBezTo>
                  <a:pt x="0" y="231"/>
                  <a:pt x="34" y="266"/>
                  <a:pt x="77" y="266"/>
                </a:cubicBezTo>
                <a:cubicBezTo>
                  <a:pt x="209" y="266"/>
                  <a:pt x="209" y="266"/>
                  <a:pt x="209" y="266"/>
                </a:cubicBezTo>
                <a:cubicBezTo>
                  <a:pt x="209" y="384"/>
                  <a:pt x="209" y="384"/>
                  <a:pt x="209" y="384"/>
                </a:cubicBezTo>
                <a:cubicBezTo>
                  <a:pt x="160" y="335"/>
                  <a:pt x="160" y="335"/>
                  <a:pt x="160" y="335"/>
                </a:cubicBezTo>
                <a:cubicBezTo>
                  <a:pt x="158" y="334"/>
                  <a:pt x="155" y="334"/>
                  <a:pt x="153" y="335"/>
                </a:cubicBezTo>
                <a:cubicBezTo>
                  <a:pt x="151" y="337"/>
                  <a:pt x="151" y="340"/>
                  <a:pt x="153" y="342"/>
                </a:cubicBezTo>
                <a:cubicBezTo>
                  <a:pt x="210" y="399"/>
                  <a:pt x="210" y="399"/>
                  <a:pt x="210" y="399"/>
                </a:cubicBezTo>
                <a:cubicBezTo>
                  <a:pt x="210" y="399"/>
                  <a:pt x="210" y="399"/>
                  <a:pt x="210" y="399"/>
                </a:cubicBezTo>
                <a:cubicBezTo>
                  <a:pt x="210" y="399"/>
                  <a:pt x="210" y="399"/>
                  <a:pt x="211" y="399"/>
                </a:cubicBezTo>
                <a:cubicBezTo>
                  <a:pt x="211" y="399"/>
                  <a:pt x="211" y="399"/>
                  <a:pt x="211" y="399"/>
                </a:cubicBezTo>
                <a:cubicBezTo>
                  <a:pt x="211" y="400"/>
                  <a:pt x="211" y="400"/>
                  <a:pt x="211" y="400"/>
                </a:cubicBezTo>
                <a:cubicBezTo>
                  <a:pt x="212" y="400"/>
                  <a:pt x="212" y="400"/>
                  <a:pt x="212" y="400"/>
                </a:cubicBezTo>
                <a:cubicBezTo>
                  <a:pt x="212" y="400"/>
                  <a:pt x="212" y="400"/>
                  <a:pt x="212" y="400"/>
                </a:cubicBezTo>
                <a:cubicBezTo>
                  <a:pt x="213" y="400"/>
                  <a:pt x="213" y="400"/>
                  <a:pt x="213" y="400"/>
                </a:cubicBezTo>
                <a:cubicBezTo>
                  <a:pt x="213" y="400"/>
                  <a:pt x="213" y="400"/>
                  <a:pt x="213" y="400"/>
                </a:cubicBezTo>
                <a:cubicBezTo>
                  <a:pt x="213" y="400"/>
                  <a:pt x="213" y="400"/>
                  <a:pt x="213" y="400"/>
                </a:cubicBezTo>
                <a:cubicBezTo>
                  <a:pt x="214" y="400"/>
                  <a:pt x="214" y="400"/>
                  <a:pt x="214" y="400"/>
                </a:cubicBezTo>
                <a:cubicBezTo>
                  <a:pt x="214" y="400"/>
                  <a:pt x="215" y="400"/>
                  <a:pt x="215" y="400"/>
                </a:cubicBezTo>
                <a:cubicBezTo>
                  <a:pt x="215" y="400"/>
                  <a:pt x="215" y="400"/>
                  <a:pt x="215" y="400"/>
                </a:cubicBezTo>
                <a:cubicBezTo>
                  <a:pt x="215" y="400"/>
                  <a:pt x="216" y="400"/>
                  <a:pt x="216" y="399"/>
                </a:cubicBezTo>
                <a:cubicBezTo>
                  <a:pt x="216" y="399"/>
                  <a:pt x="216" y="399"/>
                  <a:pt x="216" y="399"/>
                </a:cubicBezTo>
                <a:cubicBezTo>
                  <a:pt x="216" y="399"/>
                  <a:pt x="216" y="399"/>
                  <a:pt x="217" y="399"/>
                </a:cubicBezTo>
                <a:cubicBezTo>
                  <a:pt x="273" y="342"/>
                  <a:pt x="273" y="342"/>
                  <a:pt x="273" y="342"/>
                </a:cubicBezTo>
                <a:cubicBezTo>
                  <a:pt x="275" y="340"/>
                  <a:pt x="275" y="337"/>
                  <a:pt x="273" y="335"/>
                </a:cubicBezTo>
                <a:cubicBezTo>
                  <a:pt x="271" y="334"/>
                  <a:pt x="269" y="334"/>
                  <a:pt x="267" y="335"/>
                </a:cubicBezTo>
                <a:cubicBezTo>
                  <a:pt x="218" y="384"/>
                  <a:pt x="218" y="384"/>
                  <a:pt x="218" y="384"/>
                </a:cubicBezTo>
                <a:cubicBezTo>
                  <a:pt x="218" y="266"/>
                  <a:pt x="218" y="266"/>
                  <a:pt x="218" y="266"/>
                </a:cubicBezTo>
                <a:cubicBezTo>
                  <a:pt x="344" y="266"/>
                  <a:pt x="344" y="266"/>
                  <a:pt x="344" y="266"/>
                </a:cubicBezTo>
                <a:cubicBezTo>
                  <a:pt x="344" y="266"/>
                  <a:pt x="344" y="266"/>
                  <a:pt x="344" y="266"/>
                </a:cubicBezTo>
                <a:cubicBezTo>
                  <a:pt x="384" y="265"/>
                  <a:pt x="416" y="229"/>
                  <a:pt x="416" y="186"/>
                </a:cubicBezTo>
                <a:cubicBezTo>
                  <a:pt x="416" y="147"/>
                  <a:pt x="390" y="115"/>
                  <a:pt x="354" y="108"/>
                </a:cubicBezTo>
                <a:close/>
                <a:moveTo>
                  <a:pt x="344" y="257"/>
                </a:moveTo>
                <a:cubicBezTo>
                  <a:pt x="77" y="257"/>
                  <a:pt x="77" y="257"/>
                  <a:pt x="77" y="257"/>
                </a:cubicBezTo>
                <a:cubicBezTo>
                  <a:pt x="39" y="257"/>
                  <a:pt x="9" y="226"/>
                  <a:pt x="9" y="186"/>
                </a:cubicBezTo>
                <a:cubicBezTo>
                  <a:pt x="9" y="149"/>
                  <a:pt x="39" y="117"/>
                  <a:pt x="75" y="115"/>
                </a:cubicBezTo>
                <a:cubicBezTo>
                  <a:pt x="78" y="115"/>
                  <a:pt x="80" y="113"/>
                  <a:pt x="80" y="110"/>
                </a:cubicBezTo>
                <a:cubicBezTo>
                  <a:pt x="80" y="79"/>
                  <a:pt x="105" y="55"/>
                  <a:pt x="137" y="55"/>
                </a:cubicBezTo>
                <a:cubicBezTo>
                  <a:pt x="145" y="55"/>
                  <a:pt x="153" y="56"/>
                  <a:pt x="161" y="59"/>
                </a:cubicBezTo>
                <a:cubicBezTo>
                  <a:pt x="163" y="60"/>
                  <a:pt x="165" y="59"/>
                  <a:pt x="167" y="57"/>
                </a:cubicBezTo>
                <a:cubicBezTo>
                  <a:pt x="185" y="27"/>
                  <a:pt x="215" y="9"/>
                  <a:pt x="248" y="9"/>
                </a:cubicBezTo>
                <a:cubicBezTo>
                  <a:pt x="300" y="9"/>
                  <a:pt x="343" y="56"/>
                  <a:pt x="344" y="112"/>
                </a:cubicBezTo>
                <a:cubicBezTo>
                  <a:pt x="344" y="115"/>
                  <a:pt x="346" y="116"/>
                  <a:pt x="348" y="117"/>
                </a:cubicBezTo>
                <a:cubicBezTo>
                  <a:pt x="382" y="122"/>
                  <a:pt x="407" y="151"/>
                  <a:pt x="407" y="186"/>
                </a:cubicBezTo>
                <a:cubicBezTo>
                  <a:pt x="407" y="224"/>
                  <a:pt x="378" y="255"/>
                  <a:pt x="344" y="25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" name="Oval 7"/>
          <p:cNvSpPr>
            <a:spLocks noChangeArrowheads="1"/>
          </p:cNvSpPr>
          <p:nvPr/>
        </p:nvSpPr>
        <p:spPr bwMode="auto">
          <a:xfrm>
            <a:off x="5547130" y="31167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83" name="Freeform 38"/>
          <p:cNvSpPr>
            <a:spLocks noEditPoints="1"/>
          </p:cNvSpPr>
          <p:nvPr/>
        </p:nvSpPr>
        <p:spPr bwMode="auto">
          <a:xfrm>
            <a:off x="5718071" y="3297881"/>
            <a:ext cx="480101" cy="423195"/>
          </a:xfrm>
          <a:custGeom>
            <a:avLst/>
            <a:gdLst>
              <a:gd name="T0" fmla="*/ 354 w 416"/>
              <a:gd name="T1" fmla="*/ 108 h 367"/>
              <a:gd name="T2" fmla="*/ 248 w 416"/>
              <a:gd name="T3" fmla="*/ 0 h 367"/>
              <a:gd name="T4" fmla="*/ 161 w 416"/>
              <a:gd name="T5" fmla="*/ 49 h 367"/>
              <a:gd name="T6" fmla="*/ 138 w 416"/>
              <a:gd name="T7" fmla="*/ 45 h 367"/>
              <a:gd name="T8" fmla="*/ 71 w 416"/>
              <a:gd name="T9" fmla="*/ 106 h 367"/>
              <a:gd name="T10" fmla="*/ 0 w 416"/>
              <a:gd name="T11" fmla="*/ 186 h 367"/>
              <a:gd name="T12" fmla="*/ 77 w 416"/>
              <a:gd name="T13" fmla="*/ 266 h 367"/>
              <a:gd name="T14" fmla="*/ 209 w 416"/>
              <a:gd name="T15" fmla="*/ 266 h 367"/>
              <a:gd name="T16" fmla="*/ 209 w 416"/>
              <a:gd name="T17" fmla="*/ 362 h 367"/>
              <a:gd name="T18" fmla="*/ 213 w 416"/>
              <a:gd name="T19" fmla="*/ 367 h 367"/>
              <a:gd name="T20" fmla="*/ 218 w 416"/>
              <a:gd name="T21" fmla="*/ 362 h 367"/>
              <a:gd name="T22" fmla="*/ 218 w 416"/>
              <a:gd name="T23" fmla="*/ 266 h 367"/>
              <a:gd name="T24" fmla="*/ 344 w 416"/>
              <a:gd name="T25" fmla="*/ 266 h 367"/>
              <a:gd name="T26" fmla="*/ 344 w 416"/>
              <a:gd name="T27" fmla="*/ 266 h 367"/>
              <a:gd name="T28" fmla="*/ 416 w 416"/>
              <a:gd name="T29" fmla="*/ 186 h 367"/>
              <a:gd name="T30" fmla="*/ 354 w 416"/>
              <a:gd name="T31" fmla="*/ 108 h 367"/>
              <a:gd name="T32" fmla="*/ 344 w 416"/>
              <a:gd name="T33" fmla="*/ 257 h 367"/>
              <a:gd name="T34" fmla="*/ 218 w 416"/>
              <a:gd name="T35" fmla="*/ 257 h 367"/>
              <a:gd name="T36" fmla="*/ 218 w 416"/>
              <a:gd name="T37" fmla="*/ 177 h 367"/>
              <a:gd name="T38" fmla="*/ 267 w 416"/>
              <a:gd name="T39" fmla="*/ 226 h 367"/>
              <a:gd name="T40" fmla="*/ 270 w 416"/>
              <a:gd name="T41" fmla="*/ 227 h 367"/>
              <a:gd name="T42" fmla="*/ 273 w 416"/>
              <a:gd name="T43" fmla="*/ 226 h 367"/>
              <a:gd name="T44" fmla="*/ 273 w 416"/>
              <a:gd name="T45" fmla="*/ 219 h 367"/>
              <a:gd name="T46" fmla="*/ 217 w 416"/>
              <a:gd name="T47" fmla="*/ 162 h 367"/>
              <a:gd name="T48" fmla="*/ 217 w 416"/>
              <a:gd name="T49" fmla="*/ 162 h 367"/>
              <a:gd name="T50" fmla="*/ 213 w 416"/>
              <a:gd name="T51" fmla="*/ 161 h 367"/>
              <a:gd name="T52" fmla="*/ 210 w 416"/>
              <a:gd name="T53" fmla="*/ 162 h 367"/>
              <a:gd name="T54" fmla="*/ 153 w 416"/>
              <a:gd name="T55" fmla="*/ 219 h 367"/>
              <a:gd name="T56" fmla="*/ 153 w 416"/>
              <a:gd name="T57" fmla="*/ 226 h 367"/>
              <a:gd name="T58" fmla="*/ 160 w 416"/>
              <a:gd name="T59" fmla="*/ 226 h 367"/>
              <a:gd name="T60" fmla="*/ 209 w 416"/>
              <a:gd name="T61" fmla="*/ 177 h 367"/>
              <a:gd name="T62" fmla="*/ 209 w 416"/>
              <a:gd name="T63" fmla="*/ 257 h 367"/>
              <a:gd name="T64" fmla="*/ 77 w 416"/>
              <a:gd name="T65" fmla="*/ 257 h 367"/>
              <a:gd name="T66" fmla="*/ 10 w 416"/>
              <a:gd name="T67" fmla="*/ 186 h 367"/>
              <a:gd name="T68" fmla="*/ 76 w 416"/>
              <a:gd name="T69" fmla="*/ 115 h 367"/>
              <a:gd name="T70" fmla="*/ 80 w 416"/>
              <a:gd name="T71" fmla="*/ 110 h 367"/>
              <a:gd name="T72" fmla="*/ 138 w 416"/>
              <a:gd name="T73" fmla="*/ 55 h 367"/>
              <a:gd name="T74" fmla="*/ 161 w 416"/>
              <a:gd name="T75" fmla="*/ 59 h 367"/>
              <a:gd name="T76" fmla="*/ 167 w 416"/>
              <a:gd name="T77" fmla="*/ 57 h 367"/>
              <a:gd name="T78" fmla="*/ 248 w 416"/>
              <a:gd name="T79" fmla="*/ 9 h 367"/>
              <a:gd name="T80" fmla="*/ 345 w 416"/>
              <a:gd name="T81" fmla="*/ 112 h 367"/>
              <a:gd name="T82" fmla="*/ 349 w 416"/>
              <a:gd name="T83" fmla="*/ 117 h 367"/>
              <a:gd name="T84" fmla="*/ 407 w 416"/>
              <a:gd name="T85" fmla="*/ 186 h 367"/>
              <a:gd name="T86" fmla="*/ 344 w 416"/>
              <a:gd name="T87" fmla="*/ 257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16" h="367">
                <a:moveTo>
                  <a:pt x="354" y="108"/>
                </a:moveTo>
                <a:cubicBezTo>
                  <a:pt x="350" y="48"/>
                  <a:pt x="304" y="0"/>
                  <a:pt x="248" y="0"/>
                </a:cubicBezTo>
                <a:cubicBezTo>
                  <a:pt x="213" y="0"/>
                  <a:pt x="181" y="18"/>
                  <a:pt x="161" y="49"/>
                </a:cubicBezTo>
                <a:cubicBezTo>
                  <a:pt x="153" y="47"/>
                  <a:pt x="145" y="45"/>
                  <a:pt x="138" y="45"/>
                </a:cubicBezTo>
                <a:cubicBezTo>
                  <a:pt x="102" y="45"/>
                  <a:pt x="73" y="72"/>
                  <a:pt x="71" y="106"/>
                </a:cubicBezTo>
                <a:cubicBezTo>
                  <a:pt x="31" y="110"/>
                  <a:pt x="0" y="145"/>
                  <a:pt x="0" y="186"/>
                </a:cubicBezTo>
                <a:cubicBezTo>
                  <a:pt x="0" y="231"/>
                  <a:pt x="34" y="266"/>
                  <a:pt x="77" y="266"/>
                </a:cubicBezTo>
                <a:cubicBezTo>
                  <a:pt x="209" y="266"/>
                  <a:pt x="209" y="266"/>
                  <a:pt x="209" y="266"/>
                </a:cubicBezTo>
                <a:cubicBezTo>
                  <a:pt x="209" y="362"/>
                  <a:pt x="209" y="362"/>
                  <a:pt x="209" y="362"/>
                </a:cubicBezTo>
                <a:cubicBezTo>
                  <a:pt x="209" y="364"/>
                  <a:pt x="211" y="367"/>
                  <a:pt x="213" y="367"/>
                </a:cubicBezTo>
                <a:cubicBezTo>
                  <a:pt x="216" y="367"/>
                  <a:pt x="218" y="364"/>
                  <a:pt x="218" y="362"/>
                </a:cubicBezTo>
                <a:cubicBezTo>
                  <a:pt x="218" y="266"/>
                  <a:pt x="218" y="266"/>
                  <a:pt x="218" y="266"/>
                </a:cubicBezTo>
                <a:cubicBezTo>
                  <a:pt x="344" y="266"/>
                  <a:pt x="344" y="266"/>
                  <a:pt x="344" y="266"/>
                </a:cubicBezTo>
                <a:cubicBezTo>
                  <a:pt x="344" y="266"/>
                  <a:pt x="344" y="266"/>
                  <a:pt x="344" y="266"/>
                </a:cubicBezTo>
                <a:cubicBezTo>
                  <a:pt x="384" y="265"/>
                  <a:pt x="416" y="229"/>
                  <a:pt x="416" y="186"/>
                </a:cubicBezTo>
                <a:cubicBezTo>
                  <a:pt x="416" y="147"/>
                  <a:pt x="390" y="115"/>
                  <a:pt x="354" y="108"/>
                </a:cubicBezTo>
                <a:close/>
                <a:moveTo>
                  <a:pt x="344" y="257"/>
                </a:moveTo>
                <a:cubicBezTo>
                  <a:pt x="218" y="257"/>
                  <a:pt x="218" y="257"/>
                  <a:pt x="218" y="257"/>
                </a:cubicBezTo>
                <a:cubicBezTo>
                  <a:pt x="218" y="177"/>
                  <a:pt x="218" y="177"/>
                  <a:pt x="218" y="177"/>
                </a:cubicBezTo>
                <a:cubicBezTo>
                  <a:pt x="267" y="226"/>
                  <a:pt x="267" y="226"/>
                  <a:pt x="267" y="226"/>
                </a:cubicBezTo>
                <a:cubicBezTo>
                  <a:pt x="268" y="227"/>
                  <a:pt x="269" y="227"/>
                  <a:pt x="270" y="227"/>
                </a:cubicBezTo>
                <a:cubicBezTo>
                  <a:pt x="271" y="227"/>
                  <a:pt x="273" y="227"/>
                  <a:pt x="273" y="226"/>
                </a:cubicBezTo>
                <a:cubicBezTo>
                  <a:pt x="275" y="224"/>
                  <a:pt x="275" y="221"/>
                  <a:pt x="273" y="219"/>
                </a:cubicBezTo>
                <a:cubicBezTo>
                  <a:pt x="217" y="162"/>
                  <a:pt x="217" y="162"/>
                  <a:pt x="217" y="162"/>
                </a:cubicBezTo>
                <a:cubicBezTo>
                  <a:pt x="217" y="162"/>
                  <a:pt x="217" y="162"/>
                  <a:pt x="217" y="162"/>
                </a:cubicBezTo>
                <a:cubicBezTo>
                  <a:pt x="216" y="161"/>
                  <a:pt x="215" y="161"/>
                  <a:pt x="213" y="161"/>
                </a:cubicBezTo>
                <a:cubicBezTo>
                  <a:pt x="212" y="161"/>
                  <a:pt x="211" y="161"/>
                  <a:pt x="210" y="162"/>
                </a:cubicBezTo>
                <a:cubicBezTo>
                  <a:pt x="153" y="219"/>
                  <a:pt x="153" y="219"/>
                  <a:pt x="153" y="219"/>
                </a:cubicBezTo>
                <a:cubicBezTo>
                  <a:pt x="151" y="221"/>
                  <a:pt x="151" y="224"/>
                  <a:pt x="153" y="226"/>
                </a:cubicBezTo>
                <a:cubicBezTo>
                  <a:pt x="155" y="228"/>
                  <a:pt x="158" y="228"/>
                  <a:pt x="160" y="226"/>
                </a:cubicBezTo>
                <a:cubicBezTo>
                  <a:pt x="209" y="177"/>
                  <a:pt x="209" y="177"/>
                  <a:pt x="209" y="177"/>
                </a:cubicBezTo>
                <a:cubicBezTo>
                  <a:pt x="209" y="257"/>
                  <a:pt x="209" y="257"/>
                  <a:pt x="209" y="257"/>
                </a:cubicBezTo>
                <a:cubicBezTo>
                  <a:pt x="77" y="257"/>
                  <a:pt x="77" y="257"/>
                  <a:pt x="77" y="257"/>
                </a:cubicBezTo>
                <a:cubicBezTo>
                  <a:pt x="39" y="257"/>
                  <a:pt x="10" y="226"/>
                  <a:pt x="10" y="186"/>
                </a:cubicBezTo>
                <a:cubicBezTo>
                  <a:pt x="10" y="149"/>
                  <a:pt x="39" y="117"/>
                  <a:pt x="76" y="115"/>
                </a:cubicBezTo>
                <a:cubicBezTo>
                  <a:pt x="78" y="115"/>
                  <a:pt x="80" y="113"/>
                  <a:pt x="80" y="110"/>
                </a:cubicBezTo>
                <a:cubicBezTo>
                  <a:pt x="80" y="79"/>
                  <a:pt x="105" y="55"/>
                  <a:pt x="138" y="55"/>
                </a:cubicBezTo>
                <a:cubicBezTo>
                  <a:pt x="145" y="55"/>
                  <a:pt x="153" y="56"/>
                  <a:pt x="161" y="59"/>
                </a:cubicBezTo>
                <a:cubicBezTo>
                  <a:pt x="163" y="60"/>
                  <a:pt x="166" y="59"/>
                  <a:pt x="167" y="57"/>
                </a:cubicBezTo>
                <a:cubicBezTo>
                  <a:pt x="185" y="27"/>
                  <a:pt x="215" y="9"/>
                  <a:pt x="248" y="9"/>
                </a:cubicBezTo>
                <a:cubicBezTo>
                  <a:pt x="300" y="9"/>
                  <a:pt x="343" y="56"/>
                  <a:pt x="345" y="112"/>
                </a:cubicBezTo>
                <a:cubicBezTo>
                  <a:pt x="345" y="115"/>
                  <a:pt x="346" y="116"/>
                  <a:pt x="349" y="117"/>
                </a:cubicBezTo>
                <a:cubicBezTo>
                  <a:pt x="382" y="122"/>
                  <a:pt x="407" y="151"/>
                  <a:pt x="407" y="186"/>
                </a:cubicBezTo>
                <a:cubicBezTo>
                  <a:pt x="407" y="224"/>
                  <a:pt x="379" y="255"/>
                  <a:pt x="344" y="25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9" name="Oval 16"/>
          <p:cNvSpPr>
            <a:spLocks noChangeArrowheads="1"/>
          </p:cNvSpPr>
          <p:nvPr/>
        </p:nvSpPr>
        <p:spPr bwMode="auto">
          <a:xfrm>
            <a:off x="1668898" y="211636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026" name="Freeform 39"/>
          <p:cNvSpPr>
            <a:spLocks noEditPoints="1"/>
          </p:cNvSpPr>
          <p:nvPr/>
        </p:nvSpPr>
        <p:spPr bwMode="auto">
          <a:xfrm>
            <a:off x="1925310" y="2298650"/>
            <a:ext cx="310136" cy="457906"/>
          </a:xfrm>
          <a:custGeom>
            <a:avLst/>
            <a:gdLst>
              <a:gd name="T0" fmla="*/ 267 w 269"/>
              <a:gd name="T1" fmla="*/ 192 h 397"/>
              <a:gd name="T2" fmla="*/ 8 w 269"/>
              <a:gd name="T3" fmla="*/ 1 h 397"/>
              <a:gd name="T4" fmla="*/ 3 w 269"/>
              <a:gd name="T5" fmla="*/ 1 h 397"/>
              <a:gd name="T6" fmla="*/ 0 w 269"/>
              <a:gd name="T7" fmla="*/ 5 h 397"/>
              <a:gd name="T8" fmla="*/ 34 w 269"/>
              <a:gd name="T9" fmla="*/ 325 h 397"/>
              <a:gd name="T10" fmla="*/ 36 w 269"/>
              <a:gd name="T11" fmla="*/ 329 h 397"/>
              <a:gd name="T12" fmla="*/ 41 w 269"/>
              <a:gd name="T13" fmla="*/ 329 h 397"/>
              <a:gd name="T14" fmla="*/ 109 w 269"/>
              <a:gd name="T15" fmla="*/ 290 h 397"/>
              <a:gd name="T16" fmla="*/ 169 w 269"/>
              <a:gd name="T17" fmla="*/ 395 h 397"/>
              <a:gd name="T18" fmla="*/ 172 w 269"/>
              <a:gd name="T19" fmla="*/ 397 h 397"/>
              <a:gd name="T20" fmla="*/ 173 w 269"/>
              <a:gd name="T21" fmla="*/ 397 h 397"/>
              <a:gd name="T22" fmla="*/ 175 w 269"/>
              <a:gd name="T23" fmla="*/ 396 h 397"/>
              <a:gd name="T24" fmla="*/ 256 w 269"/>
              <a:gd name="T25" fmla="*/ 350 h 397"/>
              <a:gd name="T26" fmla="*/ 259 w 269"/>
              <a:gd name="T27" fmla="*/ 347 h 397"/>
              <a:gd name="T28" fmla="*/ 258 w 269"/>
              <a:gd name="T29" fmla="*/ 344 h 397"/>
              <a:gd name="T30" fmla="*/ 198 w 269"/>
              <a:gd name="T31" fmla="*/ 239 h 397"/>
              <a:gd name="T32" fmla="*/ 267 w 269"/>
              <a:gd name="T33" fmla="*/ 200 h 397"/>
              <a:gd name="T34" fmla="*/ 269 w 269"/>
              <a:gd name="T35" fmla="*/ 196 h 397"/>
              <a:gd name="T36" fmla="*/ 267 w 269"/>
              <a:gd name="T37" fmla="*/ 192 h 397"/>
              <a:gd name="T38" fmla="*/ 189 w 269"/>
              <a:gd name="T39" fmla="*/ 233 h 397"/>
              <a:gd name="T40" fmla="*/ 188 w 269"/>
              <a:gd name="T41" fmla="*/ 239 h 397"/>
              <a:gd name="T42" fmla="*/ 248 w 269"/>
              <a:gd name="T43" fmla="*/ 344 h 397"/>
              <a:gd name="T44" fmla="*/ 175 w 269"/>
              <a:gd name="T45" fmla="*/ 386 h 397"/>
              <a:gd name="T46" fmla="*/ 115 w 269"/>
              <a:gd name="T47" fmla="*/ 281 h 397"/>
              <a:gd name="T48" fmla="*/ 112 w 269"/>
              <a:gd name="T49" fmla="*/ 279 h 397"/>
              <a:gd name="T50" fmla="*/ 111 w 269"/>
              <a:gd name="T51" fmla="*/ 279 h 397"/>
              <a:gd name="T52" fmla="*/ 109 w 269"/>
              <a:gd name="T53" fmla="*/ 279 h 397"/>
              <a:gd name="T54" fmla="*/ 42 w 269"/>
              <a:gd name="T55" fmla="*/ 317 h 397"/>
              <a:gd name="T56" fmla="*/ 11 w 269"/>
              <a:gd name="T57" fmla="*/ 15 h 397"/>
              <a:gd name="T58" fmla="*/ 256 w 269"/>
              <a:gd name="T59" fmla="*/ 195 h 397"/>
              <a:gd name="T60" fmla="*/ 189 w 269"/>
              <a:gd name="T61" fmla="*/ 233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69" h="397">
                <a:moveTo>
                  <a:pt x="267" y="192"/>
                </a:moveTo>
                <a:cubicBezTo>
                  <a:pt x="8" y="1"/>
                  <a:pt x="8" y="1"/>
                  <a:pt x="8" y="1"/>
                </a:cubicBezTo>
                <a:cubicBezTo>
                  <a:pt x="6" y="0"/>
                  <a:pt x="4" y="0"/>
                  <a:pt x="3" y="1"/>
                </a:cubicBezTo>
                <a:cubicBezTo>
                  <a:pt x="1" y="2"/>
                  <a:pt x="0" y="3"/>
                  <a:pt x="0" y="5"/>
                </a:cubicBezTo>
                <a:cubicBezTo>
                  <a:pt x="34" y="325"/>
                  <a:pt x="34" y="325"/>
                  <a:pt x="34" y="325"/>
                </a:cubicBezTo>
                <a:cubicBezTo>
                  <a:pt x="34" y="327"/>
                  <a:pt x="35" y="328"/>
                  <a:pt x="36" y="329"/>
                </a:cubicBezTo>
                <a:cubicBezTo>
                  <a:pt x="38" y="330"/>
                  <a:pt x="39" y="330"/>
                  <a:pt x="41" y="329"/>
                </a:cubicBezTo>
                <a:cubicBezTo>
                  <a:pt x="109" y="290"/>
                  <a:pt x="109" y="290"/>
                  <a:pt x="109" y="290"/>
                </a:cubicBezTo>
                <a:cubicBezTo>
                  <a:pt x="169" y="395"/>
                  <a:pt x="169" y="395"/>
                  <a:pt x="169" y="395"/>
                </a:cubicBezTo>
                <a:cubicBezTo>
                  <a:pt x="170" y="396"/>
                  <a:pt x="171" y="396"/>
                  <a:pt x="172" y="397"/>
                </a:cubicBezTo>
                <a:cubicBezTo>
                  <a:pt x="172" y="397"/>
                  <a:pt x="173" y="397"/>
                  <a:pt x="173" y="397"/>
                </a:cubicBezTo>
                <a:cubicBezTo>
                  <a:pt x="174" y="397"/>
                  <a:pt x="175" y="397"/>
                  <a:pt x="175" y="396"/>
                </a:cubicBezTo>
                <a:cubicBezTo>
                  <a:pt x="256" y="350"/>
                  <a:pt x="256" y="350"/>
                  <a:pt x="256" y="350"/>
                </a:cubicBezTo>
                <a:cubicBezTo>
                  <a:pt x="258" y="349"/>
                  <a:pt x="258" y="348"/>
                  <a:pt x="259" y="347"/>
                </a:cubicBezTo>
                <a:cubicBezTo>
                  <a:pt x="259" y="346"/>
                  <a:pt x="259" y="345"/>
                  <a:pt x="258" y="344"/>
                </a:cubicBezTo>
                <a:cubicBezTo>
                  <a:pt x="198" y="239"/>
                  <a:pt x="198" y="239"/>
                  <a:pt x="198" y="239"/>
                </a:cubicBezTo>
                <a:cubicBezTo>
                  <a:pt x="267" y="200"/>
                  <a:pt x="267" y="200"/>
                  <a:pt x="267" y="200"/>
                </a:cubicBezTo>
                <a:cubicBezTo>
                  <a:pt x="268" y="199"/>
                  <a:pt x="269" y="197"/>
                  <a:pt x="269" y="196"/>
                </a:cubicBezTo>
                <a:cubicBezTo>
                  <a:pt x="269" y="194"/>
                  <a:pt x="268" y="193"/>
                  <a:pt x="267" y="192"/>
                </a:cubicBezTo>
                <a:close/>
                <a:moveTo>
                  <a:pt x="189" y="233"/>
                </a:moveTo>
                <a:cubicBezTo>
                  <a:pt x="187" y="234"/>
                  <a:pt x="186" y="237"/>
                  <a:pt x="188" y="239"/>
                </a:cubicBezTo>
                <a:cubicBezTo>
                  <a:pt x="248" y="344"/>
                  <a:pt x="248" y="344"/>
                  <a:pt x="248" y="344"/>
                </a:cubicBezTo>
                <a:cubicBezTo>
                  <a:pt x="175" y="386"/>
                  <a:pt x="175" y="386"/>
                  <a:pt x="175" y="386"/>
                </a:cubicBezTo>
                <a:cubicBezTo>
                  <a:pt x="115" y="281"/>
                  <a:pt x="115" y="281"/>
                  <a:pt x="115" y="281"/>
                </a:cubicBezTo>
                <a:cubicBezTo>
                  <a:pt x="114" y="280"/>
                  <a:pt x="113" y="279"/>
                  <a:pt x="112" y="279"/>
                </a:cubicBezTo>
                <a:cubicBezTo>
                  <a:pt x="112" y="279"/>
                  <a:pt x="111" y="279"/>
                  <a:pt x="111" y="279"/>
                </a:cubicBezTo>
                <a:cubicBezTo>
                  <a:pt x="110" y="279"/>
                  <a:pt x="109" y="279"/>
                  <a:pt x="109" y="279"/>
                </a:cubicBezTo>
                <a:cubicBezTo>
                  <a:pt x="42" y="317"/>
                  <a:pt x="42" y="317"/>
                  <a:pt x="42" y="317"/>
                </a:cubicBezTo>
                <a:cubicBezTo>
                  <a:pt x="11" y="15"/>
                  <a:pt x="11" y="15"/>
                  <a:pt x="11" y="15"/>
                </a:cubicBezTo>
                <a:cubicBezTo>
                  <a:pt x="256" y="195"/>
                  <a:pt x="256" y="195"/>
                  <a:pt x="256" y="195"/>
                </a:cubicBezTo>
                <a:lnTo>
                  <a:pt x="189" y="23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" name="Oval 17"/>
          <p:cNvSpPr>
            <a:spLocks noChangeArrowheads="1"/>
          </p:cNvSpPr>
          <p:nvPr/>
        </p:nvSpPr>
        <p:spPr bwMode="auto">
          <a:xfrm>
            <a:off x="376155" y="211636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072" name="Freeform 40"/>
          <p:cNvSpPr>
            <a:spLocks noEditPoints="1"/>
          </p:cNvSpPr>
          <p:nvPr/>
        </p:nvSpPr>
        <p:spPr bwMode="auto">
          <a:xfrm>
            <a:off x="624264" y="2314777"/>
            <a:ext cx="326742" cy="425652"/>
          </a:xfrm>
          <a:custGeom>
            <a:avLst/>
            <a:gdLst>
              <a:gd name="T0" fmla="*/ 283 w 283"/>
              <a:gd name="T1" fmla="*/ 46 h 369"/>
              <a:gd name="T2" fmla="*/ 0 w 283"/>
              <a:gd name="T3" fmla="*/ 46 h 369"/>
              <a:gd name="T4" fmla="*/ 10 w 283"/>
              <a:gd name="T5" fmla="*/ 133 h 369"/>
              <a:gd name="T6" fmla="*/ 0 w 283"/>
              <a:gd name="T7" fmla="*/ 219 h 369"/>
              <a:gd name="T8" fmla="*/ 0 w 283"/>
              <a:gd name="T9" fmla="*/ 253 h 369"/>
              <a:gd name="T10" fmla="*/ 142 w 283"/>
              <a:gd name="T11" fmla="*/ 369 h 369"/>
              <a:gd name="T12" fmla="*/ 283 w 283"/>
              <a:gd name="T13" fmla="*/ 253 h 369"/>
              <a:gd name="T14" fmla="*/ 283 w 283"/>
              <a:gd name="T15" fmla="*/ 219 h 369"/>
              <a:gd name="T16" fmla="*/ 274 w 283"/>
              <a:gd name="T17" fmla="*/ 133 h 369"/>
              <a:gd name="T18" fmla="*/ 274 w 283"/>
              <a:gd name="T19" fmla="*/ 323 h 369"/>
              <a:gd name="T20" fmla="*/ 10 w 283"/>
              <a:gd name="T21" fmla="*/ 323 h 369"/>
              <a:gd name="T22" fmla="*/ 142 w 283"/>
              <a:gd name="T23" fmla="*/ 299 h 369"/>
              <a:gd name="T24" fmla="*/ 274 w 283"/>
              <a:gd name="T25" fmla="*/ 323 h 369"/>
              <a:gd name="T26" fmla="*/ 10 w 283"/>
              <a:gd name="T27" fmla="*/ 253 h 369"/>
              <a:gd name="T28" fmla="*/ 142 w 283"/>
              <a:gd name="T29" fmla="*/ 265 h 369"/>
              <a:gd name="T30" fmla="*/ 274 w 283"/>
              <a:gd name="T31" fmla="*/ 253 h 369"/>
              <a:gd name="T32" fmla="*/ 274 w 283"/>
              <a:gd name="T33" fmla="*/ 219 h 369"/>
              <a:gd name="T34" fmla="*/ 263 w 283"/>
              <a:gd name="T35" fmla="*/ 233 h 369"/>
              <a:gd name="T36" fmla="*/ 20 w 283"/>
              <a:gd name="T37" fmla="*/ 233 h 369"/>
              <a:gd name="T38" fmla="*/ 10 w 283"/>
              <a:gd name="T39" fmla="*/ 219 h 369"/>
              <a:gd name="T40" fmla="*/ 142 w 283"/>
              <a:gd name="T41" fmla="*/ 195 h 369"/>
              <a:gd name="T42" fmla="*/ 274 w 283"/>
              <a:gd name="T43" fmla="*/ 219 h 369"/>
              <a:gd name="T44" fmla="*/ 10 w 283"/>
              <a:gd name="T45" fmla="*/ 150 h 369"/>
              <a:gd name="T46" fmla="*/ 142 w 283"/>
              <a:gd name="T47" fmla="*/ 161 h 369"/>
              <a:gd name="T48" fmla="*/ 274 w 283"/>
              <a:gd name="T49" fmla="*/ 150 h 369"/>
              <a:gd name="T50" fmla="*/ 274 w 283"/>
              <a:gd name="T51" fmla="*/ 115 h 369"/>
              <a:gd name="T52" fmla="*/ 263 w 283"/>
              <a:gd name="T53" fmla="*/ 129 h 369"/>
              <a:gd name="T54" fmla="*/ 21 w 283"/>
              <a:gd name="T55" fmla="*/ 129 h 369"/>
              <a:gd name="T56" fmla="*/ 10 w 283"/>
              <a:gd name="T57" fmla="*/ 115 h 369"/>
              <a:gd name="T58" fmla="*/ 142 w 283"/>
              <a:gd name="T59" fmla="*/ 92 h 369"/>
              <a:gd name="T60" fmla="*/ 274 w 283"/>
              <a:gd name="T61" fmla="*/ 115 h 369"/>
              <a:gd name="T62" fmla="*/ 10 w 283"/>
              <a:gd name="T63" fmla="*/ 46 h 369"/>
              <a:gd name="T64" fmla="*/ 274 w 283"/>
              <a:gd name="T65" fmla="*/ 46 h 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83" h="369">
                <a:moveTo>
                  <a:pt x="283" y="115"/>
                </a:moveTo>
                <a:cubicBezTo>
                  <a:pt x="283" y="46"/>
                  <a:pt x="283" y="46"/>
                  <a:pt x="283" y="46"/>
                </a:cubicBezTo>
                <a:cubicBezTo>
                  <a:pt x="283" y="16"/>
                  <a:pt x="210" y="0"/>
                  <a:pt x="142" y="0"/>
                </a:cubicBezTo>
                <a:cubicBezTo>
                  <a:pt x="73" y="0"/>
                  <a:pt x="0" y="16"/>
                  <a:pt x="0" y="46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122"/>
                  <a:pt x="4" y="128"/>
                  <a:pt x="10" y="133"/>
                </a:cubicBezTo>
                <a:cubicBezTo>
                  <a:pt x="3" y="138"/>
                  <a:pt x="0" y="144"/>
                  <a:pt x="0" y="150"/>
                </a:cubicBezTo>
                <a:cubicBezTo>
                  <a:pt x="0" y="219"/>
                  <a:pt x="0" y="219"/>
                  <a:pt x="0" y="219"/>
                </a:cubicBezTo>
                <a:cubicBezTo>
                  <a:pt x="0" y="226"/>
                  <a:pt x="4" y="231"/>
                  <a:pt x="10" y="236"/>
                </a:cubicBezTo>
                <a:cubicBezTo>
                  <a:pt x="3" y="242"/>
                  <a:pt x="0" y="247"/>
                  <a:pt x="0" y="253"/>
                </a:cubicBezTo>
                <a:cubicBezTo>
                  <a:pt x="0" y="323"/>
                  <a:pt x="0" y="323"/>
                  <a:pt x="0" y="323"/>
                </a:cubicBezTo>
                <a:cubicBezTo>
                  <a:pt x="0" y="353"/>
                  <a:pt x="73" y="369"/>
                  <a:pt x="142" y="369"/>
                </a:cubicBezTo>
                <a:cubicBezTo>
                  <a:pt x="210" y="369"/>
                  <a:pt x="283" y="353"/>
                  <a:pt x="283" y="323"/>
                </a:cubicBezTo>
                <a:cubicBezTo>
                  <a:pt x="283" y="253"/>
                  <a:pt x="283" y="253"/>
                  <a:pt x="283" y="253"/>
                </a:cubicBezTo>
                <a:cubicBezTo>
                  <a:pt x="283" y="247"/>
                  <a:pt x="280" y="242"/>
                  <a:pt x="274" y="236"/>
                </a:cubicBezTo>
                <a:cubicBezTo>
                  <a:pt x="280" y="231"/>
                  <a:pt x="283" y="226"/>
                  <a:pt x="283" y="219"/>
                </a:cubicBezTo>
                <a:cubicBezTo>
                  <a:pt x="283" y="150"/>
                  <a:pt x="283" y="150"/>
                  <a:pt x="283" y="150"/>
                </a:cubicBezTo>
                <a:cubicBezTo>
                  <a:pt x="283" y="144"/>
                  <a:pt x="280" y="138"/>
                  <a:pt x="274" y="133"/>
                </a:cubicBezTo>
                <a:cubicBezTo>
                  <a:pt x="280" y="128"/>
                  <a:pt x="283" y="122"/>
                  <a:pt x="283" y="115"/>
                </a:cubicBezTo>
                <a:close/>
                <a:moveTo>
                  <a:pt x="274" y="323"/>
                </a:moveTo>
                <a:cubicBezTo>
                  <a:pt x="274" y="340"/>
                  <a:pt x="220" y="359"/>
                  <a:pt x="142" y="359"/>
                </a:cubicBezTo>
                <a:cubicBezTo>
                  <a:pt x="64" y="359"/>
                  <a:pt x="10" y="340"/>
                  <a:pt x="10" y="323"/>
                </a:cubicBezTo>
                <a:cubicBezTo>
                  <a:pt x="10" y="271"/>
                  <a:pt x="10" y="271"/>
                  <a:pt x="10" y="271"/>
                </a:cubicBezTo>
                <a:cubicBezTo>
                  <a:pt x="31" y="289"/>
                  <a:pt x="88" y="299"/>
                  <a:pt x="142" y="299"/>
                </a:cubicBezTo>
                <a:cubicBezTo>
                  <a:pt x="196" y="299"/>
                  <a:pt x="252" y="289"/>
                  <a:pt x="274" y="271"/>
                </a:cubicBezTo>
                <a:lnTo>
                  <a:pt x="274" y="323"/>
                </a:lnTo>
                <a:close/>
                <a:moveTo>
                  <a:pt x="142" y="290"/>
                </a:moveTo>
                <a:cubicBezTo>
                  <a:pt x="64" y="290"/>
                  <a:pt x="10" y="271"/>
                  <a:pt x="10" y="253"/>
                </a:cubicBezTo>
                <a:cubicBezTo>
                  <a:pt x="10" y="249"/>
                  <a:pt x="14" y="245"/>
                  <a:pt x="18" y="242"/>
                </a:cubicBezTo>
                <a:cubicBezTo>
                  <a:pt x="43" y="257"/>
                  <a:pt x="94" y="265"/>
                  <a:pt x="142" y="265"/>
                </a:cubicBezTo>
                <a:cubicBezTo>
                  <a:pt x="190" y="265"/>
                  <a:pt x="240" y="257"/>
                  <a:pt x="266" y="242"/>
                </a:cubicBezTo>
                <a:cubicBezTo>
                  <a:pt x="270" y="245"/>
                  <a:pt x="274" y="249"/>
                  <a:pt x="274" y="253"/>
                </a:cubicBezTo>
                <a:cubicBezTo>
                  <a:pt x="274" y="271"/>
                  <a:pt x="220" y="290"/>
                  <a:pt x="142" y="290"/>
                </a:cubicBezTo>
                <a:close/>
                <a:moveTo>
                  <a:pt x="274" y="219"/>
                </a:moveTo>
                <a:cubicBezTo>
                  <a:pt x="274" y="223"/>
                  <a:pt x="271" y="228"/>
                  <a:pt x="264" y="232"/>
                </a:cubicBezTo>
                <a:cubicBezTo>
                  <a:pt x="264" y="232"/>
                  <a:pt x="264" y="232"/>
                  <a:pt x="263" y="233"/>
                </a:cubicBezTo>
                <a:cubicBezTo>
                  <a:pt x="244" y="245"/>
                  <a:pt x="199" y="255"/>
                  <a:pt x="142" y="255"/>
                </a:cubicBezTo>
                <a:cubicBezTo>
                  <a:pt x="84" y="255"/>
                  <a:pt x="40" y="245"/>
                  <a:pt x="20" y="233"/>
                </a:cubicBezTo>
                <a:cubicBezTo>
                  <a:pt x="20" y="232"/>
                  <a:pt x="20" y="232"/>
                  <a:pt x="19" y="232"/>
                </a:cubicBezTo>
                <a:cubicBezTo>
                  <a:pt x="13" y="228"/>
                  <a:pt x="10" y="223"/>
                  <a:pt x="10" y="219"/>
                </a:cubicBezTo>
                <a:cubicBezTo>
                  <a:pt x="10" y="167"/>
                  <a:pt x="10" y="167"/>
                  <a:pt x="10" y="167"/>
                </a:cubicBezTo>
                <a:cubicBezTo>
                  <a:pt x="31" y="186"/>
                  <a:pt x="88" y="195"/>
                  <a:pt x="142" y="195"/>
                </a:cubicBezTo>
                <a:cubicBezTo>
                  <a:pt x="196" y="195"/>
                  <a:pt x="252" y="186"/>
                  <a:pt x="274" y="167"/>
                </a:cubicBezTo>
                <a:lnTo>
                  <a:pt x="274" y="219"/>
                </a:lnTo>
                <a:close/>
                <a:moveTo>
                  <a:pt x="142" y="186"/>
                </a:moveTo>
                <a:cubicBezTo>
                  <a:pt x="64" y="186"/>
                  <a:pt x="10" y="167"/>
                  <a:pt x="10" y="150"/>
                </a:cubicBezTo>
                <a:cubicBezTo>
                  <a:pt x="10" y="145"/>
                  <a:pt x="14" y="141"/>
                  <a:pt x="18" y="138"/>
                </a:cubicBezTo>
                <a:cubicBezTo>
                  <a:pt x="43" y="153"/>
                  <a:pt x="94" y="161"/>
                  <a:pt x="142" y="161"/>
                </a:cubicBezTo>
                <a:cubicBezTo>
                  <a:pt x="190" y="161"/>
                  <a:pt x="240" y="153"/>
                  <a:pt x="266" y="138"/>
                </a:cubicBezTo>
                <a:cubicBezTo>
                  <a:pt x="270" y="141"/>
                  <a:pt x="274" y="145"/>
                  <a:pt x="274" y="150"/>
                </a:cubicBezTo>
                <a:cubicBezTo>
                  <a:pt x="274" y="167"/>
                  <a:pt x="220" y="186"/>
                  <a:pt x="142" y="186"/>
                </a:cubicBezTo>
                <a:close/>
                <a:moveTo>
                  <a:pt x="274" y="115"/>
                </a:moveTo>
                <a:cubicBezTo>
                  <a:pt x="274" y="120"/>
                  <a:pt x="271" y="124"/>
                  <a:pt x="264" y="128"/>
                </a:cubicBezTo>
                <a:cubicBezTo>
                  <a:pt x="264" y="128"/>
                  <a:pt x="263" y="129"/>
                  <a:pt x="263" y="129"/>
                </a:cubicBezTo>
                <a:cubicBezTo>
                  <a:pt x="243" y="142"/>
                  <a:pt x="199" y="152"/>
                  <a:pt x="142" y="152"/>
                </a:cubicBezTo>
                <a:cubicBezTo>
                  <a:pt x="85" y="152"/>
                  <a:pt x="40" y="142"/>
                  <a:pt x="21" y="129"/>
                </a:cubicBezTo>
                <a:cubicBezTo>
                  <a:pt x="20" y="129"/>
                  <a:pt x="20" y="128"/>
                  <a:pt x="19" y="128"/>
                </a:cubicBezTo>
                <a:cubicBezTo>
                  <a:pt x="13" y="124"/>
                  <a:pt x="10" y="120"/>
                  <a:pt x="10" y="115"/>
                </a:cubicBezTo>
                <a:cubicBezTo>
                  <a:pt x="10" y="63"/>
                  <a:pt x="10" y="63"/>
                  <a:pt x="10" y="63"/>
                </a:cubicBezTo>
                <a:cubicBezTo>
                  <a:pt x="31" y="82"/>
                  <a:pt x="88" y="92"/>
                  <a:pt x="142" y="92"/>
                </a:cubicBezTo>
                <a:cubicBezTo>
                  <a:pt x="196" y="92"/>
                  <a:pt x="252" y="82"/>
                  <a:pt x="274" y="63"/>
                </a:cubicBezTo>
                <a:lnTo>
                  <a:pt x="274" y="115"/>
                </a:lnTo>
                <a:close/>
                <a:moveTo>
                  <a:pt x="142" y="82"/>
                </a:moveTo>
                <a:cubicBezTo>
                  <a:pt x="64" y="82"/>
                  <a:pt x="10" y="63"/>
                  <a:pt x="10" y="46"/>
                </a:cubicBezTo>
                <a:cubicBezTo>
                  <a:pt x="10" y="29"/>
                  <a:pt x="64" y="10"/>
                  <a:pt x="142" y="10"/>
                </a:cubicBezTo>
                <a:cubicBezTo>
                  <a:pt x="220" y="10"/>
                  <a:pt x="274" y="29"/>
                  <a:pt x="274" y="46"/>
                </a:cubicBezTo>
                <a:cubicBezTo>
                  <a:pt x="274" y="63"/>
                  <a:pt x="220" y="82"/>
                  <a:pt x="142" y="8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6" name="Oval 23"/>
          <p:cNvSpPr>
            <a:spLocks noChangeArrowheads="1"/>
          </p:cNvSpPr>
          <p:nvPr/>
        </p:nvSpPr>
        <p:spPr bwMode="auto">
          <a:xfrm>
            <a:off x="376155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073" name="Freeform 41"/>
          <p:cNvSpPr>
            <a:spLocks noEditPoints="1"/>
          </p:cNvSpPr>
          <p:nvPr/>
        </p:nvSpPr>
        <p:spPr bwMode="auto">
          <a:xfrm>
            <a:off x="598867" y="1305341"/>
            <a:ext cx="377536" cy="459372"/>
          </a:xfrm>
          <a:custGeom>
            <a:avLst/>
            <a:gdLst>
              <a:gd name="T0" fmla="*/ 248 w 327"/>
              <a:gd name="T1" fmla="*/ 2 h 398"/>
              <a:gd name="T2" fmla="*/ 248 w 327"/>
              <a:gd name="T3" fmla="*/ 2 h 398"/>
              <a:gd name="T4" fmla="*/ 247 w 327"/>
              <a:gd name="T5" fmla="*/ 1 h 398"/>
              <a:gd name="T6" fmla="*/ 246 w 327"/>
              <a:gd name="T7" fmla="*/ 0 h 398"/>
              <a:gd name="T8" fmla="*/ 5 w 327"/>
              <a:gd name="T9" fmla="*/ 7 h 398"/>
              <a:gd name="T10" fmla="*/ 0 w 327"/>
              <a:gd name="T11" fmla="*/ 387 h 398"/>
              <a:gd name="T12" fmla="*/ 244 w 327"/>
              <a:gd name="T13" fmla="*/ 398 h 398"/>
              <a:gd name="T14" fmla="*/ 245 w 327"/>
              <a:gd name="T15" fmla="*/ 398 h 398"/>
              <a:gd name="T16" fmla="*/ 246 w 327"/>
              <a:gd name="T17" fmla="*/ 398 h 398"/>
              <a:gd name="T18" fmla="*/ 247 w 327"/>
              <a:gd name="T19" fmla="*/ 398 h 398"/>
              <a:gd name="T20" fmla="*/ 247 w 327"/>
              <a:gd name="T21" fmla="*/ 397 h 398"/>
              <a:gd name="T22" fmla="*/ 248 w 327"/>
              <a:gd name="T23" fmla="*/ 397 h 398"/>
              <a:gd name="T24" fmla="*/ 326 w 327"/>
              <a:gd name="T25" fmla="*/ 319 h 398"/>
              <a:gd name="T26" fmla="*/ 327 w 327"/>
              <a:gd name="T27" fmla="*/ 83 h 398"/>
              <a:gd name="T28" fmla="*/ 240 w 327"/>
              <a:gd name="T29" fmla="*/ 389 h 398"/>
              <a:gd name="T30" fmla="*/ 10 w 327"/>
              <a:gd name="T31" fmla="*/ 16 h 398"/>
              <a:gd name="T32" fmla="*/ 240 w 327"/>
              <a:gd name="T33" fmla="*/ 389 h 398"/>
              <a:gd name="T34" fmla="*/ 249 w 327"/>
              <a:gd name="T35" fmla="*/ 382 h 398"/>
              <a:gd name="T36" fmla="*/ 318 w 327"/>
              <a:gd name="T37" fmla="*/ 85 h 398"/>
              <a:gd name="T38" fmla="*/ 50 w 327"/>
              <a:gd name="T39" fmla="*/ 175 h 398"/>
              <a:gd name="T40" fmla="*/ 197 w 327"/>
              <a:gd name="T41" fmla="*/ 175 h 398"/>
              <a:gd name="T42" fmla="*/ 202 w 327"/>
              <a:gd name="T43" fmla="*/ 111 h 398"/>
              <a:gd name="T44" fmla="*/ 200 w 327"/>
              <a:gd name="T45" fmla="*/ 49 h 398"/>
              <a:gd name="T46" fmla="*/ 50 w 327"/>
              <a:gd name="T47" fmla="*/ 51 h 398"/>
              <a:gd name="T48" fmla="*/ 45 w 327"/>
              <a:gd name="T49" fmla="*/ 113 h 398"/>
              <a:gd name="T50" fmla="*/ 46 w 327"/>
              <a:gd name="T51" fmla="*/ 174 h 398"/>
              <a:gd name="T52" fmla="*/ 54 w 327"/>
              <a:gd name="T53" fmla="*/ 60 h 398"/>
              <a:gd name="T54" fmla="*/ 192 w 327"/>
              <a:gd name="T55" fmla="*/ 107 h 398"/>
              <a:gd name="T56" fmla="*/ 54 w 327"/>
              <a:gd name="T57" fmla="*/ 60 h 398"/>
              <a:gd name="T58" fmla="*/ 192 w 327"/>
              <a:gd name="T59" fmla="*/ 116 h 398"/>
              <a:gd name="T60" fmla="*/ 54 w 327"/>
              <a:gd name="T61" fmla="*/ 166 h 398"/>
              <a:gd name="T62" fmla="*/ 123 w 327"/>
              <a:gd name="T63" fmla="*/ 224 h 398"/>
              <a:gd name="T64" fmla="*/ 123 w 327"/>
              <a:gd name="T65" fmla="*/ 278 h 398"/>
              <a:gd name="T66" fmla="*/ 150 w 327"/>
              <a:gd name="T67" fmla="*/ 251 h 398"/>
              <a:gd name="T68" fmla="*/ 123 w 327"/>
              <a:gd name="T69" fmla="*/ 269 h 398"/>
              <a:gd name="T70" fmla="*/ 123 w 327"/>
              <a:gd name="T71" fmla="*/ 269 h 398"/>
              <a:gd name="T72" fmla="*/ 123 w 327"/>
              <a:gd name="T73" fmla="*/ 233 h 398"/>
              <a:gd name="T74" fmla="*/ 123 w 327"/>
              <a:gd name="T75" fmla="*/ 269 h 398"/>
              <a:gd name="T76" fmla="*/ 122 w 327"/>
              <a:gd name="T77" fmla="*/ 288 h 398"/>
              <a:gd name="T78" fmla="*/ 123 w 327"/>
              <a:gd name="T79" fmla="*/ 342 h 398"/>
              <a:gd name="T80" fmla="*/ 150 w 327"/>
              <a:gd name="T81" fmla="*/ 315 h 398"/>
              <a:gd name="T82" fmla="*/ 123 w 327"/>
              <a:gd name="T83" fmla="*/ 332 h 398"/>
              <a:gd name="T84" fmla="*/ 105 w 327"/>
              <a:gd name="T85" fmla="*/ 314 h 398"/>
              <a:gd name="T86" fmla="*/ 123 w 327"/>
              <a:gd name="T87" fmla="*/ 297 h 398"/>
              <a:gd name="T88" fmla="*/ 123 w 327"/>
              <a:gd name="T89" fmla="*/ 332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27" h="398">
                <a:moveTo>
                  <a:pt x="326" y="80"/>
                </a:moveTo>
                <a:cubicBezTo>
                  <a:pt x="248" y="2"/>
                  <a:pt x="248" y="2"/>
                  <a:pt x="248" y="2"/>
                </a:cubicBezTo>
                <a:cubicBezTo>
                  <a:pt x="248" y="2"/>
                  <a:pt x="248" y="2"/>
                  <a:pt x="248" y="2"/>
                </a:cubicBezTo>
                <a:cubicBezTo>
                  <a:pt x="248" y="2"/>
                  <a:pt x="248" y="2"/>
                  <a:pt x="248" y="2"/>
                </a:cubicBezTo>
                <a:cubicBezTo>
                  <a:pt x="248" y="1"/>
                  <a:pt x="247" y="1"/>
                  <a:pt x="247" y="1"/>
                </a:cubicBezTo>
                <a:cubicBezTo>
                  <a:pt x="247" y="1"/>
                  <a:pt x="247" y="1"/>
                  <a:pt x="247" y="1"/>
                </a:cubicBezTo>
                <a:cubicBezTo>
                  <a:pt x="246" y="1"/>
                  <a:pt x="246" y="0"/>
                  <a:pt x="246" y="0"/>
                </a:cubicBezTo>
                <a:cubicBezTo>
                  <a:pt x="246" y="0"/>
                  <a:pt x="246" y="0"/>
                  <a:pt x="246" y="0"/>
                </a:cubicBezTo>
                <a:cubicBezTo>
                  <a:pt x="245" y="0"/>
                  <a:pt x="245" y="0"/>
                  <a:pt x="244" y="0"/>
                </a:cubicBezTo>
                <a:cubicBezTo>
                  <a:pt x="5" y="7"/>
                  <a:pt x="5" y="7"/>
                  <a:pt x="5" y="7"/>
                </a:cubicBezTo>
                <a:cubicBezTo>
                  <a:pt x="2" y="7"/>
                  <a:pt x="0" y="9"/>
                  <a:pt x="0" y="12"/>
                </a:cubicBezTo>
                <a:cubicBezTo>
                  <a:pt x="0" y="387"/>
                  <a:pt x="0" y="387"/>
                  <a:pt x="0" y="387"/>
                </a:cubicBezTo>
                <a:cubicBezTo>
                  <a:pt x="0" y="389"/>
                  <a:pt x="2" y="392"/>
                  <a:pt x="5" y="392"/>
                </a:cubicBezTo>
                <a:cubicBezTo>
                  <a:pt x="244" y="398"/>
                  <a:pt x="244" y="398"/>
                  <a:pt x="244" y="398"/>
                </a:cubicBezTo>
                <a:cubicBezTo>
                  <a:pt x="245" y="398"/>
                  <a:pt x="245" y="398"/>
                  <a:pt x="245" y="398"/>
                </a:cubicBezTo>
                <a:cubicBezTo>
                  <a:pt x="245" y="398"/>
                  <a:pt x="245" y="398"/>
                  <a:pt x="245" y="398"/>
                </a:cubicBezTo>
                <a:cubicBezTo>
                  <a:pt x="245" y="398"/>
                  <a:pt x="245" y="398"/>
                  <a:pt x="246" y="398"/>
                </a:cubicBezTo>
                <a:cubicBezTo>
                  <a:pt x="246" y="398"/>
                  <a:pt x="246" y="398"/>
                  <a:pt x="246" y="398"/>
                </a:cubicBezTo>
                <a:cubicBezTo>
                  <a:pt x="246" y="398"/>
                  <a:pt x="246" y="398"/>
                  <a:pt x="246" y="398"/>
                </a:cubicBezTo>
                <a:cubicBezTo>
                  <a:pt x="246" y="398"/>
                  <a:pt x="247" y="398"/>
                  <a:pt x="247" y="398"/>
                </a:cubicBezTo>
                <a:cubicBezTo>
                  <a:pt x="247" y="398"/>
                  <a:pt x="247" y="398"/>
                  <a:pt x="247" y="398"/>
                </a:cubicBezTo>
                <a:cubicBezTo>
                  <a:pt x="247" y="398"/>
                  <a:pt x="247" y="398"/>
                  <a:pt x="247" y="397"/>
                </a:cubicBezTo>
                <a:cubicBezTo>
                  <a:pt x="248" y="397"/>
                  <a:pt x="248" y="397"/>
                  <a:pt x="248" y="397"/>
                </a:cubicBezTo>
                <a:cubicBezTo>
                  <a:pt x="248" y="397"/>
                  <a:pt x="248" y="397"/>
                  <a:pt x="248" y="397"/>
                </a:cubicBezTo>
                <a:cubicBezTo>
                  <a:pt x="248" y="397"/>
                  <a:pt x="248" y="397"/>
                  <a:pt x="248" y="397"/>
                </a:cubicBezTo>
                <a:cubicBezTo>
                  <a:pt x="326" y="319"/>
                  <a:pt x="326" y="319"/>
                  <a:pt x="326" y="319"/>
                </a:cubicBezTo>
                <a:cubicBezTo>
                  <a:pt x="327" y="318"/>
                  <a:pt x="327" y="317"/>
                  <a:pt x="327" y="315"/>
                </a:cubicBezTo>
                <a:cubicBezTo>
                  <a:pt x="327" y="83"/>
                  <a:pt x="327" y="83"/>
                  <a:pt x="327" y="83"/>
                </a:cubicBezTo>
                <a:cubicBezTo>
                  <a:pt x="327" y="82"/>
                  <a:pt x="327" y="81"/>
                  <a:pt x="326" y="80"/>
                </a:cubicBezTo>
                <a:close/>
                <a:moveTo>
                  <a:pt x="240" y="389"/>
                </a:moveTo>
                <a:cubicBezTo>
                  <a:pt x="10" y="382"/>
                  <a:pt x="10" y="382"/>
                  <a:pt x="10" y="382"/>
                </a:cubicBezTo>
                <a:cubicBezTo>
                  <a:pt x="10" y="16"/>
                  <a:pt x="10" y="16"/>
                  <a:pt x="10" y="16"/>
                </a:cubicBezTo>
                <a:cubicBezTo>
                  <a:pt x="240" y="10"/>
                  <a:pt x="240" y="10"/>
                  <a:pt x="240" y="10"/>
                </a:cubicBezTo>
                <a:lnTo>
                  <a:pt x="240" y="389"/>
                </a:lnTo>
                <a:close/>
                <a:moveTo>
                  <a:pt x="318" y="313"/>
                </a:moveTo>
                <a:cubicBezTo>
                  <a:pt x="249" y="382"/>
                  <a:pt x="249" y="382"/>
                  <a:pt x="249" y="382"/>
                </a:cubicBezTo>
                <a:cubicBezTo>
                  <a:pt x="249" y="16"/>
                  <a:pt x="249" y="16"/>
                  <a:pt x="249" y="16"/>
                </a:cubicBezTo>
                <a:cubicBezTo>
                  <a:pt x="318" y="85"/>
                  <a:pt x="318" y="85"/>
                  <a:pt x="318" y="85"/>
                </a:cubicBezTo>
                <a:lnTo>
                  <a:pt x="318" y="313"/>
                </a:lnTo>
                <a:close/>
                <a:moveTo>
                  <a:pt x="50" y="175"/>
                </a:moveTo>
                <a:cubicBezTo>
                  <a:pt x="50" y="175"/>
                  <a:pt x="50" y="175"/>
                  <a:pt x="50" y="175"/>
                </a:cubicBezTo>
                <a:cubicBezTo>
                  <a:pt x="197" y="175"/>
                  <a:pt x="197" y="175"/>
                  <a:pt x="197" y="175"/>
                </a:cubicBezTo>
                <a:cubicBezTo>
                  <a:pt x="200" y="175"/>
                  <a:pt x="202" y="173"/>
                  <a:pt x="202" y="170"/>
                </a:cubicBezTo>
                <a:cubicBezTo>
                  <a:pt x="202" y="111"/>
                  <a:pt x="202" y="111"/>
                  <a:pt x="202" y="111"/>
                </a:cubicBezTo>
                <a:cubicBezTo>
                  <a:pt x="202" y="52"/>
                  <a:pt x="202" y="52"/>
                  <a:pt x="202" y="52"/>
                </a:cubicBezTo>
                <a:cubicBezTo>
                  <a:pt x="202" y="51"/>
                  <a:pt x="201" y="50"/>
                  <a:pt x="200" y="49"/>
                </a:cubicBezTo>
                <a:cubicBezTo>
                  <a:pt x="199" y="48"/>
                  <a:pt x="198" y="48"/>
                  <a:pt x="197" y="48"/>
                </a:cubicBezTo>
                <a:cubicBezTo>
                  <a:pt x="50" y="51"/>
                  <a:pt x="50" y="51"/>
                  <a:pt x="50" y="51"/>
                </a:cubicBezTo>
                <a:cubicBezTo>
                  <a:pt x="47" y="51"/>
                  <a:pt x="45" y="53"/>
                  <a:pt x="45" y="55"/>
                </a:cubicBezTo>
                <a:cubicBezTo>
                  <a:pt x="45" y="113"/>
                  <a:pt x="45" y="113"/>
                  <a:pt x="45" y="113"/>
                </a:cubicBezTo>
                <a:cubicBezTo>
                  <a:pt x="45" y="171"/>
                  <a:pt x="45" y="171"/>
                  <a:pt x="45" y="171"/>
                </a:cubicBezTo>
                <a:cubicBezTo>
                  <a:pt x="45" y="172"/>
                  <a:pt x="46" y="173"/>
                  <a:pt x="46" y="174"/>
                </a:cubicBezTo>
                <a:cubicBezTo>
                  <a:pt x="47" y="175"/>
                  <a:pt x="49" y="175"/>
                  <a:pt x="50" y="175"/>
                </a:cubicBezTo>
                <a:close/>
                <a:moveTo>
                  <a:pt x="54" y="60"/>
                </a:moveTo>
                <a:cubicBezTo>
                  <a:pt x="192" y="57"/>
                  <a:pt x="192" y="57"/>
                  <a:pt x="192" y="57"/>
                </a:cubicBezTo>
                <a:cubicBezTo>
                  <a:pt x="192" y="107"/>
                  <a:pt x="192" y="107"/>
                  <a:pt x="192" y="107"/>
                </a:cubicBezTo>
                <a:cubicBezTo>
                  <a:pt x="54" y="108"/>
                  <a:pt x="54" y="108"/>
                  <a:pt x="54" y="108"/>
                </a:cubicBezTo>
                <a:lnTo>
                  <a:pt x="54" y="60"/>
                </a:lnTo>
                <a:close/>
                <a:moveTo>
                  <a:pt x="54" y="118"/>
                </a:moveTo>
                <a:cubicBezTo>
                  <a:pt x="192" y="116"/>
                  <a:pt x="192" y="116"/>
                  <a:pt x="192" y="116"/>
                </a:cubicBezTo>
                <a:cubicBezTo>
                  <a:pt x="192" y="165"/>
                  <a:pt x="192" y="165"/>
                  <a:pt x="192" y="165"/>
                </a:cubicBezTo>
                <a:cubicBezTo>
                  <a:pt x="54" y="166"/>
                  <a:pt x="54" y="166"/>
                  <a:pt x="54" y="166"/>
                </a:cubicBezTo>
                <a:lnTo>
                  <a:pt x="54" y="118"/>
                </a:lnTo>
                <a:close/>
                <a:moveTo>
                  <a:pt x="123" y="224"/>
                </a:moveTo>
                <a:cubicBezTo>
                  <a:pt x="107" y="224"/>
                  <a:pt x="95" y="236"/>
                  <a:pt x="95" y="251"/>
                </a:cubicBezTo>
                <a:cubicBezTo>
                  <a:pt x="95" y="266"/>
                  <a:pt x="107" y="278"/>
                  <a:pt x="123" y="278"/>
                </a:cubicBezTo>
                <a:cubicBezTo>
                  <a:pt x="123" y="278"/>
                  <a:pt x="123" y="278"/>
                  <a:pt x="123" y="278"/>
                </a:cubicBezTo>
                <a:cubicBezTo>
                  <a:pt x="138" y="278"/>
                  <a:pt x="150" y="266"/>
                  <a:pt x="150" y="251"/>
                </a:cubicBezTo>
                <a:cubicBezTo>
                  <a:pt x="150" y="236"/>
                  <a:pt x="138" y="224"/>
                  <a:pt x="123" y="224"/>
                </a:cubicBezTo>
                <a:close/>
                <a:moveTo>
                  <a:pt x="123" y="269"/>
                </a:moveTo>
                <a:cubicBezTo>
                  <a:pt x="123" y="274"/>
                  <a:pt x="123" y="274"/>
                  <a:pt x="123" y="274"/>
                </a:cubicBezTo>
                <a:cubicBezTo>
                  <a:pt x="123" y="269"/>
                  <a:pt x="123" y="269"/>
                  <a:pt x="123" y="269"/>
                </a:cubicBezTo>
                <a:cubicBezTo>
                  <a:pt x="113" y="269"/>
                  <a:pt x="105" y="261"/>
                  <a:pt x="105" y="251"/>
                </a:cubicBezTo>
                <a:cubicBezTo>
                  <a:pt x="105" y="241"/>
                  <a:pt x="113" y="233"/>
                  <a:pt x="123" y="233"/>
                </a:cubicBezTo>
                <a:cubicBezTo>
                  <a:pt x="133" y="234"/>
                  <a:pt x="141" y="242"/>
                  <a:pt x="141" y="251"/>
                </a:cubicBezTo>
                <a:cubicBezTo>
                  <a:pt x="141" y="261"/>
                  <a:pt x="133" y="269"/>
                  <a:pt x="123" y="269"/>
                </a:cubicBezTo>
                <a:close/>
                <a:moveTo>
                  <a:pt x="123" y="288"/>
                </a:moveTo>
                <a:cubicBezTo>
                  <a:pt x="122" y="288"/>
                  <a:pt x="122" y="288"/>
                  <a:pt x="122" y="288"/>
                </a:cubicBezTo>
                <a:cubicBezTo>
                  <a:pt x="107" y="288"/>
                  <a:pt x="95" y="300"/>
                  <a:pt x="95" y="314"/>
                </a:cubicBezTo>
                <a:cubicBezTo>
                  <a:pt x="95" y="329"/>
                  <a:pt x="107" y="341"/>
                  <a:pt x="123" y="342"/>
                </a:cubicBezTo>
                <a:cubicBezTo>
                  <a:pt x="123" y="342"/>
                  <a:pt x="123" y="342"/>
                  <a:pt x="123" y="342"/>
                </a:cubicBezTo>
                <a:cubicBezTo>
                  <a:pt x="138" y="342"/>
                  <a:pt x="150" y="330"/>
                  <a:pt x="150" y="315"/>
                </a:cubicBezTo>
                <a:cubicBezTo>
                  <a:pt x="150" y="300"/>
                  <a:pt x="138" y="288"/>
                  <a:pt x="123" y="288"/>
                </a:cubicBezTo>
                <a:close/>
                <a:moveTo>
                  <a:pt x="123" y="332"/>
                </a:moveTo>
                <a:cubicBezTo>
                  <a:pt x="123" y="332"/>
                  <a:pt x="123" y="332"/>
                  <a:pt x="123" y="332"/>
                </a:cubicBezTo>
                <a:cubicBezTo>
                  <a:pt x="113" y="332"/>
                  <a:pt x="105" y="324"/>
                  <a:pt x="105" y="314"/>
                </a:cubicBezTo>
                <a:cubicBezTo>
                  <a:pt x="105" y="305"/>
                  <a:pt x="113" y="297"/>
                  <a:pt x="123" y="297"/>
                </a:cubicBezTo>
                <a:cubicBezTo>
                  <a:pt x="123" y="297"/>
                  <a:pt x="123" y="297"/>
                  <a:pt x="123" y="297"/>
                </a:cubicBezTo>
                <a:cubicBezTo>
                  <a:pt x="133" y="297"/>
                  <a:pt x="141" y="305"/>
                  <a:pt x="141" y="315"/>
                </a:cubicBezTo>
                <a:cubicBezTo>
                  <a:pt x="141" y="325"/>
                  <a:pt x="133" y="332"/>
                  <a:pt x="123" y="3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8" name="Title 32">
            <a:extLst>
              <a:ext uri="{FF2B5EF4-FFF2-40B4-BE49-F238E27FC236}">
                <a16:creationId xmlns:a16="http://schemas.microsoft.com/office/drawing/2014/main" id="{9BF0FB1E-44E3-44A7-BCC9-39885009B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9549"/>
            <a:ext cx="8686800" cy="682625"/>
          </a:xfrm>
        </p:spPr>
        <p:txBody>
          <a:bodyPr/>
          <a:lstStyle/>
          <a:p>
            <a:r>
              <a:rPr lang="en-US" dirty="0"/>
              <a:t>Computer icons</a:t>
            </a:r>
          </a:p>
        </p:txBody>
      </p:sp>
      <p:sp>
        <p:nvSpPr>
          <p:cNvPr id="39" name="Oval 15">
            <a:extLst>
              <a:ext uri="{FF2B5EF4-FFF2-40B4-BE49-F238E27FC236}">
                <a16:creationId xmlns:a16="http://schemas.microsoft.com/office/drawing/2014/main" id="{A31423B9-65E3-44F5-9B8C-C1A28642B5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156" y="4092042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0" name="Freeform 21">
            <a:extLst>
              <a:ext uri="{FF2B5EF4-FFF2-40B4-BE49-F238E27FC236}">
                <a16:creationId xmlns:a16="http://schemas.microsoft.com/office/drawing/2014/main" id="{06F17170-EF4B-4801-95DB-D35A6F895FCD}"/>
              </a:ext>
            </a:extLst>
          </p:cNvPr>
          <p:cNvSpPr>
            <a:spLocks noEditPoints="1"/>
          </p:cNvSpPr>
          <p:nvPr/>
        </p:nvSpPr>
        <p:spPr bwMode="auto">
          <a:xfrm>
            <a:off x="564191" y="4279101"/>
            <a:ext cx="446889" cy="447866"/>
          </a:xfrm>
          <a:custGeom>
            <a:avLst/>
            <a:gdLst>
              <a:gd name="T0" fmla="*/ 68 w 387"/>
              <a:gd name="T1" fmla="*/ 320 h 388"/>
              <a:gd name="T2" fmla="*/ 41 w 387"/>
              <a:gd name="T3" fmla="*/ 262 h 388"/>
              <a:gd name="T4" fmla="*/ 62 w 387"/>
              <a:gd name="T5" fmla="*/ 326 h 388"/>
              <a:gd name="T6" fmla="*/ 121 w 387"/>
              <a:gd name="T7" fmla="*/ 352 h 388"/>
              <a:gd name="T8" fmla="*/ 121 w 387"/>
              <a:gd name="T9" fmla="*/ 343 h 388"/>
              <a:gd name="T10" fmla="*/ 50 w 387"/>
              <a:gd name="T11" fmla="*/ 338 h 388"/>
              <a:gd name="T12" fmla="*/ 16 w 387"/>
              <a:gd name="T13" fmla="*/ 263 h 388"/>
              <a:gd name="T14" fmla="*/ 11 w 387"/>
              <a:gd name="T15" fmla="*/ 267 h 388"/>
              <a:gd name="T16" fmla="*/ 121 w 387"/>
              <a:gd name="T17" fmla="*/ 377 h 388"/>
              <a:gd name="T18" fmla="*/ 125 w 387"/>
              <a:gd name="T19" fmla="*/ 372 h 388"/>
              <a:gd name="T20" fmla="*/ 386 w 387"/>
              <a:gd name="T21" fmla="*/ 329 h 388"/>
              <a:gd name="T22" fmla="*/ 290 w 387"/>
              <a:gd name="T23" fmla="*/ 240 h 388"/>
              <a:gd name="T24" fmla="*/ 248 w 387"/>
              <a:gd name="T25" fmla="*/ 242 h 388"/>
              <a:gd name="T26" fmla="*/ 292 w 387"/>
              <a:gd name="T27" fmla="*/ 96 h 388"/>
              <a:gd name="T28" fmla="*/ 190 w 387"/>
              <a:gd name="T29" fmla="*/ 96 h 388"/>
              <a:gd name="T30" fmla="*/ 126 w 387"/>
              <a:gd name="T31" fmla="*/ 120 h 388"/>
              <a:gd name="T32" fmla="*/ 148 w 387"/>
              <a:gd name="T33" fmla="*/ 92 h 388"/>
              <a:gd name="T34" fmla="*/ 52 w 387"/>
              <a:gd name="T35" fmla="*/ 2 h 388"/>
              <a:gd name="T36" fmla="*/ 2 w 387"/>
              <a:gd name="T37" fmla="*/ 59 h 388"/>
              <a:gd name="T38" fmla="*/ 94 w 387"/>
              <a:gd name="T39" fmla="*/ 150 h 388"/>
              <a:gd name="T40" fmla="*/ 120 w 387"/>
              <a:gd name="T41" fmla="*/ 127 h 388"/>
              <a:gd name="T42" fmla="*/ 104 w 387"/>
              <a:gd name="T43" fmla="*/ 182 h 388"/>
              <a:gd name="T44" fmla="*/ 127 w 387"/>
              <a:gd name="T45" fmla="*/ 211 h 388"/>
              <a:gd name="T46" fmla="*/ 57 w 387"/>
              <a:gd name="T47" fmla="*/ 229 h 388"/>
              <a:gd name="T48" fmla="*/ 152 w 387"/>
              <a:gd name="T49" fmla="*/ 331 h 388"/>
              <a:gd name="T50" fmla="*/ 159 w 387"/>
              <a:gd name="T51" fmla="*/ 331 h 388"/>
              <a:gd name="T52" fmla="*/ 177 w 387"/>
              <a:gd name="T53" fmla="*/ 261 h 388"/>
              <a:gd name="T54" fmla="*/ 203 w 387"/>
              <a:gd name="T55" fmla="*/ 285 h 388"/>
              <a:gd name="T56" fmla="*/ 241 w 387"/>
              <a:gd name="T57" fmla="*/ 248 h 388"/>
              <a:gd name="T58" fmla="*/ 239 w 387"/>
              <a:gd name="T59" fmla="*/ 290 h 388"/>
              <a:gd name="T60" fmla="*/ 239 w 387"/>
              <a:gd name="T61" fmla="*/ 297 h 388"/>
              <a:gd name="T62" fmla="*/ 332 w 387"/>
              <a:gd name="T63" fmla="*/ 388 h 388"/>
              <a:gd name="T64" fmla="*/ 386 w 387"/>
              <a:gd name="T65" fmla="*/ 336 h 388"/>
              <a:gd name="T66" fmla="*/ 386 w 387"/>
              <a:gd name="T67" fmla="*/ 329 h 388"/>
              <a:gd name="T68" fmla="*/ 116 w 387"/>
              <a:gd name="T69" fmla="*/ 117 h 388"/>
              <a:gd name="T70" fmla="*/ 94 w 387"/>
              <a:gd name="T71" fmla="*/ 139 h 388"/>
              <a:gd name="T72" fmla="*/ 55 w 387"/>
              <a:gd name="T73" fmla="*/ 12 h 388"/>
              <a:gd name="T74" fmla="*/ 116 w 387"/>
              <a:gd name="T75" fmla="*/ 117 h 388"/>
              <a:gd name="T76" fmla="*/ 67 w 387"/>
              <a:gd name="T77" fmla="*/ 233 h 388"/>
              <a:gd name="T78" fmla="*/ 152 w 387"/>
              <a:gd name="T79" fmla="*/ 236 h 388"/>
              <a:gd name="T80" fmla="*/ 155 w 387"/>
              <a:gd name="T81" fmla="*/ 321 h 388"/>
              <a:gd name="T82" fmla="*/ 238 w 387"/>
              <a:gd name="T83" fmla="*/ 238 h 388"/>
              <a:gd name="T84" fmla="*/ 203 w 387"/>
              <a:gd name="T85" fmla="*/ 274 h 388"/>
              <a:gd name="T86" fmla="*/ 197 w 387"/>
              <a:gd name="T87" fmla="*/ 102 h 388"/>
              <a:gd name="T88" fmla="*/ 286 w 387"/>
              <a:gd name="T89" fmla="*/ 102 h 388"/>
              <a:gd name="T90" fmla="*/ 238 w 387"/>
              <a:gd name="T91" fmla="*/ 238 h 388"/>
              <a:gd name="T92" fmla="*/ 249 w 387"/>
              <a:gd name="T93" fmla="*/ 294 h 388"/>
              <a:gd name="T94" fmla="*/ 376 w 387"/>
              <a:gd name="T95" fmla="*/ 333 h 388"/>
              <a:gd name="T96" fmla="*/ 122 w 387"/>
              <a:gd name="T97" fmla="*/ 318 h 388"/>
              <a:gd name="T98" fmla="*/ 70 w 387"/>
              <a:gd name="T99" fmla="*/ 266 h 388"/>
              <a:gd name="T100" fmla="*/ 66 w 387"/>
              <a:gd name="T101" fmla="*/ 261 h 388"/>
              <a:gd name="T102" fmla="*/ 79 w 387"/>
              <a:gd name="T103" fmla="*/ 309 h 388"/>
              <a:gd name="T104" fmla="*/ 122 w 387"/>
              <a:gd name="T105" fmla="*/ 327 h 388"/>
              <a:gd name="T106" fmla="*/ 122 w 387"/>
              <a:gd name="T107" fmla="*/ 31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87" h="388">
                <a:moveTo>
                  <a:pt x="121" y="343"/>
                </a:moveTo>
                <a:cubicBezTo>
                  <a:pt x="101" y="342"/>
                  <a:pt x="82" y="334"/>
                  <a:pt x="68" y="320"/>
                </a:cubicBezTo>
                <a:cubicBezTo>
                  <a:pt x="54" y="306"/>
                  <a:pt x="46" y="287"/>
                  <a:pt x="45" y="267"/>
                </a:cubicBezTo>
                <a:cubicBezTo>
                  <a:pt x="45" y="264"/>
                  <a:pt x="43" y="262"/>
                  <a:pt x="41" y="262"/>
                </a:cubicBezTo>
                <a:cubicBezTo>
                  <a:pt x="38" y="262"/>
                  <a:pt x="36" y="264"/>
                  <a:pt x="36" y="267"/>
                </a:cubicBezTo>
                <a:cubicBezTo>
                  <a:pt x="37" y="289"/>
                  <a:pt x="46" y="311"/>
                  <a:pt x="62" y="326"/>
                </a:cubicBezTo>
                <a:cubicBezTo>
                  <a:pt x="77" y="342"/>
                  <a:pt x="99" y="351"/>
                  <a:pt x="121" y="352"/>
                </a:cubicBezTo>
                <a:cubicBezTo>
                  <a:pt x="121" y="352"/>
                  <a:pt x="121" y="352"/>
                  <a:pt x="121" y="352"/>
                </a:cubicBezTo>
                <a:cubicBezTo>
                  <a:pt x="124" y="352"/>
                  <a:pt x="126" y="350"/>
                  <a:pt x="126" y="347"/>
                </a:cubicBezTo>
                <a:cubicBezTo>
                  <a:pt x="126" y="345"/>
                  <a:pt x="124" y="343"/>
                  <a:pt x="121" y="343"/>
                </a:cubicBezTo>
                <a:close/>
                <a:moveTo>
                  <a:pt x="121" y="368"/>
                </a:moveTo>
                <a:cubicBezTo>
                  <a:pt x="94" y="367"/>
                  <a:pt x="69" y="356"/>
                  <a:pt x="50" y="338"/>
                </a:cubicBezTo>
                <a:cubicBezTo>
                  <a:pt x="32" y="319"/>
                  <a:pt x="21" y="294"/>
                  <a:pt x="20" y="267"/>
                </a:cubicBezTo>
                <a:cubicBezTo>
                  <a:pt x="20" y="265"/>
                  <a:pt x="18" y="263"/>
                  <a:pt x="16" y="263"/>
                </a:cubicBezTo>
                <a:cubicBezTo>
                  <a:pt x="16" y="263"/>
                  <a:pt x="16" y="263"/>
                  <a:pt x="16" y="263"/>
                </a:cubicBezTo>
                <a:cubicBezTo>
                  <a:pt x="13" y="263"/>
                  <a:pt x="11" y="265"/>
                  <a:pt x="11" y="267"/>
                </a:cubicBezTo>
                <a:cubicBezTo>
                  <a:pt x="12" y="296"/>
                  <a:pt x="23" y="324"/>
                  <a:pt x="44" y="344"/>
                </a:cubicBezTo>
                <a:cubicBezTo>
                  <a:pt x="64" y="365"/>
                  <a:pt x="92" y="376"/>
                  <a:pt x="121" y="377"/>
                </a:cubicBezTo>
                <a:cubicBezTo>
                  <a:pt x="121" y="377"/>
                  <a:pt x="121" y="377"/>
                  <a:pt x="121" y="377"/>
                </a:cubicBezTo>
                <a:cubicBezTo>
                  <a:pt x="123" y="377"/>
                  <a:pt x="125" y="375"/>
                  <a:pt x="125" y="372"/>
                </a:cubicBezTo>
                <a:cubicBezTo>
                  <a:pt x="125" y="370"/>
                  <a:pt x="123" y="368"/>
                  <a:pt x="121" y="368"/>
                </a:cubicBezTo>
                <a:close/>
                <a:moveTo>
                  <a:pt x="386" y="329"/>
                </a:moveTo>
                <a:cubicBezTo>
                  <a:pt x="296" y="240"/>
                  <a:pt x="296" y="240"/>
                  <a:pt x="296" y="240"/>
                </a:cubicBezTo>
                <a:cubicBezTo>
                  <a:pt x="295" y="238"/>
                  <a:pt x="292" y="238"/>
                  <a:pt x="290" y="240"/>
                </a:cubicBezTo>
                <a:cubicBezTo>
                  <a:pt x="268" y="262"/>
                  <a:pt x="268" y="262"/>
                  <a:pt x="268" y="262"/>
                </a:cubicBezTo>
                <a:cubicBezTo>
                  <a:pt x="248" y="242"/>
                  <a:pt x="248" y="242"/>
                  <a:pt x="248" y="242"/>
                </a:cubicBezTo>
                <a:cubicBezTo>
                  <a:pt x="292" y="198"/>
                  <a:pt x="292" y="198"/>
                  <a:pt x="292" y="198"/>
                </a:cubicBezTo>
                <a:cubicBezTo>
                  <a:pt x="320" y="169"/>
                  <a:pt x="320" y="124"/>
                  <a:pt x="292" y="96"/>
                </a:cubicBezTo>
                <a:cubicBezTo>
                  <a:pt x="279" y="82"/>
                  <a:pt x="261" y="75"/>
                  <a:pt x="241" y="75"/>
                </a:cubicBezTo>
                <a:cubicBezTo>
                  <a:pt x="222" y="75"/>
                  <a:pt x="204" y="82"/>
                  <a:pt x="190" y="96"/>
                </a:cubicBezTo>
                <a:cubicBezTo>
                  <a:pt x="146" y="140"/>
                  <a:pt x="146" y="140"/>
                  <a:pt x="146" y="140"/>
                </a:cubicBezTo>
                <a:cubicBezTo>
                  <a:pt x="126" y="120"/>
                  <a:pt x="126" y="120"/>
                  <a:pt x="126" y="120"/>
                </a:cubicBezTo>
                <a:cubicBezTo>
                  <a:pt x="148" y="98"/>
                  <a:pt x="148" y="98"/>
                  <a:pt x="148" y="98"/>
                </a:cubicBezTo>
                <a:cubicBezTo>
                  <a:pt x="150" y="96"/>
                  <a:pt x="150" y="93"/>
                  <a:pt x="148" y="92"/>
                </a:cubicBezTo>
                <a:cubicBezTo>
                  <a:pt x="59" y="2"/>
                  <a:pt x="59" y="2"/>
                  <a:pt x="59" y="2"/>
                </a:cubicBezTo>
                <a:cubicBezTo>
                  <a:pt x="57" y="0"/>
                  <a:pt x="54" y="0"/>
                  <a:pt x="52" y="2"/>
                </a:cubicBezTo>
                <a:cubicBezTo>
                  <a:pt x="2" y="52"/>
                  <a:pt x="2" y="52"/>
                  <a:pt x="2" y="52"/>
                </a:cubicBezTo>
                <a:cubicBezTo>
                  <a:pt x="0" y="54"/>
                  <a:pt x="0" y="57"/>
                  <a:pt x="2" y="59"/>
                </a:cubicBezTo>
                <a:cubicBezTo>
                  <a:pt x="91" y="149"/>
                  <a:pt x="91" y="149"/>
                  <a:pt x="91" y="149"/>
                </a:cubicBezTo>
                <a:cubicBezTo>
                  <a:pt x="92" y="149"/>
                  <a:pt x="93" y="150"/>
                  <a:pt x="94" y="150"/>
                </a:cubicBezTo>
                <a:cubicBezTo>
                  <a:pt x="96" y="150"/>
                  <a:pt x="97" y="149"/>
                  <a:pt x="98" y="149"/>
                </a:cubicBezTo>
                <a:cubicBezTo>
                  <a:pt x="120" y="127"/>
                  <a:pt x="120" y="127"/>
                  <a:pt x="120" y="127"/>
                </a:cubicBezTo>
                <a:cubicBezTo>
                  <a:pt x="140" y="147"/>
                  <a:pt x="140" y="147"/>
                  <a:pt x="140" y="147"/>
                </a:cubicBezTo>
                <a:cubicBezTo>
                  <a:pt x="104" y="182"/>
                  <a:pt x="104" y="182"/>
                  <a:pt x="104" y="182"/>
                </a:cubicBezTo>
                <a:cubicBezTo>
                  <a:pt x="103" y="184"/>
                  <a:pt x="103" y="187"/>
                  <a:pt x="104" y="188"/>
                </a:cubicBezTo>
                <a:cubicBezTo>
                  <a:pt x="127" y="211"/>
                  <a:pt x="127" y="211"/>
                  <a:pt x="127" y="211"/>
                </a:cubicBezTo>
                <a:cubicBezTo>
                  <a:pt x="121" y="209"/>
                  <a:pt x="114" y="208"/>
                  <a:pt x="108" y="208"/>
                </a:cubicBezTo>
                <a:cubicBezTo>
                  <a:pt x="89" y="208"/>
                  <a:pt x="70" y="216"/>
                  <a:pt x="57" y="229"/>
                </a:cubicBezTo>
                <a:cubicBezTo>
                  <a:pt x="55" y="231"/>
                  <a:pt x="55" y="234"/>
                  <a:pt x="57" y="236"/>
                </a:cubicBezTo>
                <a:cubicBezTo>
                  <a:pt x="152" y="331"/>
                  <a:pt x="152" y="331"/>
                  <a:pt x="152" y="331"/>
                </a:cubicBezTo>
                <a:cubicBezTo>
                  <a:pt x="153" y="332"/>
                  <a:pt x="154" y="332"/>
                  <a:pt x="155" y="332"/>
                </a:cubicBezTo>
                <a:cubicBezTo>
                  <a:pt x="157" y="332"/>
                  <a:pt x="158" y="332"/>
                  <a:pt x="159" y="331"/>
                </a:cubicBezTo>
                <a:cubicBezTo>
                  <a:pt x="172" y="318"/>
                  <a:pt x="180" y="299"/>
                  <a:pt x="180" y="280"/>
                </a:cubicBezTo>
                <a:cubicBezTo>
                  <a:pt x="180" y="274"/>
                  <a:pt x="179" y="267"/>
                  <a:pt x="177" y="261"/>
                </a:cubicBezTo>
                <a:cubicBezTo>
                  <a:pt x="200" y="284"/>
                  <a:pt x="200" y="284"/>
                  <a:pt x="200" y="284"/>
                </a:cubicBezTo>
                <a:cubicBezTo>
                  <a:pt x="200" y="284"/>
                  <a:pt x="202" y="285"/>
                  <a:pt x="203" y="285"/>
                </a:cubicBezTo>
                <a:cubicBezTo>
                  <a:pt x="204" y="285"/>
                  <a:pt x="205" y="284"/>
                  <a:pt x="206" y="284"/>
                </a:cubicBezTo>
                <a:cubicBezTo>
                  <a:pt x="241" y="248"/>
                  <a:pt x="241" y="248"/>
                  <a:pt x="241" y="248"/>
                </a:cubicBezTo>
                <a:cubicBezTo>
                  <a:pt x="261" y="268"/>
                  <a:pt x="261" y="268"/>
                  <a:pt x="261" y="268"/>
                </a:cubicBezTo>
                <a:cubicBezTo>
                  <a:pt x="239" y="290"/>
                  <a:pt x="239" y="290"/>
                  <a:pt x="239" y="290"/>
                </a:cubicBezTo>
                <a:cubicBezTo>
                  <a:pt x="239" y="291"/>
                  <a:pt x="238" y="292"/>
                  <a:pt x="238" y="294"/>
                </a:cubicBezTo>
                <a:cubicBezTo>
                  <a:pt x="238" y="295"/>
                  <a:pt x="239" y="296"/>
                  <a:pt x="239" y="297"/>
                </a:cubicBezTo>
                <a:cubicBezTo>
                  <a:pt x="329" y="386"/>
                  <a:pt x="329" y="386"/>
                  <a:pt x="329" y="386"/>
                </a:cubicBezTo>
                <a:cubicBezTo>
                  <a:pt x="330" y="387"/>
                  <a:pt x="331" y="388"/>
                  <a:pt x="332" y="388"/>
                </a:cubicBezTo>
                <a:cubicBezTo>
                  <a:pt x="334" y="388"/>
                  <a:pt x="335" y="387"/>
                  <a:pt x="336" y="386"/>
                </a:cubicBezTo>
                <a:cubicBezTo>
                  <a:pt x="386" y="336"/>
                  <a:pt x="386" y="336"/>
                  <a:pt x="386" y="336"/>
                </a:cubicBezTo>
                <a:cubicBezTo>
                  <a:pt x="387" y="335"/>
                  <a:pt x="387" y="334"/>
                  <a:pt x="387" y="333"/>
                </a:cubicBezTo>
                <a:cubicBezTo>
                  <a:pt x="387" y="331"/>
                  <a:pt x="387" y="330"/>
                  <a:pt x="386" y="329"/>
                </a:cubicBezTo>
                <a:close/>
                <a:moveTo>
                  <a:pt x="116" y="117"/>
                </a:moveTo>
                <a:cubicBezTo>
                  <a:pt x="116" y="117"/>
                  <a:pt x="116" y="117"/>
                  <a:pt x="116" y="117"/>
                </a:cubicBezTo>
                <a:cubicBezTo>
                  <a:pt x="116" y="117"/>
                  <a:pt x="116" y="117"/>
                  <a:pt x="116" y="117"/>
                </a:cubicBezTo>
                <a:cubicBezTo>
                  <a:pt x="94" y="139"/>
                  <a:pt x="94" y="139"/>
                  <a:pt x="94" y="139"/>
                </a:cubicBezTo>
                <a:cubicBezTo>
                  <a:pt x="12" y="56"/>
                  <a:pt x="12" y="56"/>
                  <a:pt x="12" y="56"/>
                </a:cubicBezTo>
                <a:cubicBezTo>
                  <a:pt x="55" y="12"/>
                  <a:pt x="55" y="12"/>
                  <a:pt x="55" y="12"/>
                </a:cubicBezTo>
                <a:cubicBezTo>
                  <a:pt x="138" y="95"/>
                  <a:pt x="138" y="95"/>
                  <a:pt x="138" y="95"/>
                </a:cubicBezTo>
                <a:lnTo>
                  <a:pt x="116" y="117"/>
                </a:lnTo>
                <a:close/>
                <a:moveTo>
                  <a:pt x="155" y="321"/>
                </a:moveTo>
                <a:cubicBezTo>
                  <a:pt x="67" y="233"/>
                  <a:pt x="67" y="233"/>
                  <a:pt x="67" y="233"/>
                </a:cubicBezTo>
                <a:cubicBezTo>
                  <a:pt x="78" y="223"/>
                  <a:pt x="93" y="218"/>
                  <a:pt x="108" y="218"/>
                </a:cubicBezTo>
                <a:cubicBezTo>
                  <a:pt x="124" y="218"/>
                  <a:pt x="140" y="224"/>
                  <a:pt x="152" y="236"/>
                </a:cubicBezTo>
                <a:cubicBezTo>
                  <a:pt x="164" y="248"/>
                  <a:pt x="170" y="264"/>
                  <a:pt x="170" y="280"/>
                </a:cubicBezTo>
                <a:cubicBezTo>
                  <a:pt x="170" y="295"/>
                  <a:pt x="165" y="310"/>
                  <a:pt x="155" y="321"/>
                </a:cubicBezTo>
                <a:close/>
                <a:moveTo>
                  <a:pt x="238" y="238"/>
                </a:moveTo>
                <a:cubicBezTo>
                  <a:pt x="238" y="238"/>
                  <a:pt x="238" y="238"/>
                  <a:pt x="238" y="238"/>
                </a:cubicBezTo>
                <a:cubicBezTo>
                  <a:pt x="238" y="238"/>
                  <a:pt x="238" y="238"/>
                  <a:pt x="238" y="238"/>
                </a:cubicBezTo>
                <a:cubicBezTo>
                  <a:pt x="203" y="274"/>
                  <a:pt x="203" y="274"/>
                  <a:pt x="203" y="274"/>
                </a:cubicBezTo>
                <a:cubicBezTo>
                  <a:pt x="114" y="185"/>
                  <a:pt x="114" y="185"/>
                  <a:pt x="114" y="185"/>
                </a:cubicBezTo>
                <a:cubicBezTo>
                  <a:pt x="197" y="102"/>
                  <a:pt x="197" y="102"/>
                  <a:pt x="197" y="102"/>
                </a:cubicBezTo>
                <a:cubicBezTo>
                  <a:pt x="209" y="91"/>
                  <a:pt x="225" y="84"/>
                  <a:pt x="241" y="84"/>
                </a:cubicBezTo>
                <a:cubicBezTo>
                  <a:pt x="258" y="84"/>
                  <a:pt x="274" y="91"/>
                  <a:pt x="286" y="102"/>
                </a:cubicBezTo>
                <a:cubicBezTo>
                  <a:pt x="310" y="127"/>
                  <a:pt x="310" y="166"/>
                  <a:pt x="286" y="191"/>
                </a:cubicBezTo>
                <a:lnTo>
                  <a:pt x="238" y="238"/>
                </a:lnTo>
                <a:close/>
                <a:moveTo>
                  <a:pt x="332" y="376"/>
                </a:moveTo>
                <a:cubicBezTo>
                  <a:pt x="249" y="294"/>
                  <a:pt x="249" y="294"/>
                  <a:pt x="249" y="294"/>
                </a:cubicBezTo>
                <a:cubicBezTo>
                  <a:pt x="293" y="250"/>
                  <a:pt x="293" y="250"/>
                  <a:pt x="293" y="250"/>
                </a:cubicBezTo>
                <a:cubicBezTo>
                  <a:pt x="376" y="333"/>
                  <a:pt x="376" y="333"/>
                  <a:pt x="376" y="333"/>
                </a:cubicBezTo>
                <a:lnTo>
                  <a:pt x="332" y="376"/>
                </a:lnTo>
                <a:close/>
                <a:moveTo>
                  <a:pt x="122" y="318"/>
                </a:moveTo>
                <a:cubicBezTo>
                  <a:pt x="108" y="317"/>
                  <a:pt x="95" y="312"/>
                  <a:pt x="86" y="302"/>
                </a:cubicBezTo>
                <a:cubicBezTo>
                  <a:pt x="76" y="293"/>
                  <a:pt x="71" y="280"/>
                  <a:pt x="70" y="266"/>
                </a:cubicBezTo>
                <a:cubicBezTo>
                  <a:pt x="70" y="263"/>
                  <a:pt x="68" y="261"/>
                  <a:pt x="66" y="261"/>
                </a:cubicBezTo>
                <a:cubicBezTo>
                  <a:pt x="66" y="261"/>
                  <a:pt x="66" y="261"/>
                  <a:pt x="66" y="261"/>
                </a:cubicBezTo>
                <a:cubicBezTo>
                  <a:pt x="63" y="262"/>
                  <a:pt x="61" y="264"/>
                  <a:pt x="61" y="266"/>
                </a:cubicBezTo>
                <a:cubicBezTo>
                  <a:pt x="61" y="282"/>
                  <a:pt x="68" y="297"/>
                  <a:pt x="79" y="309"/>
                </a:cubicBezTo>
                <a:cubicBezTo>
                  <a:pt x="91" y="320"/>
                  <a:pt x="106" y="327"/>
                  <a:pt x="122" y="327"/>
                </a:cubicBezTo>
                <a:cubicBezTo>
                  <a:pt x="122" y="327"/>
                  <a:pt x="122" y="327"/>
                  <a:pt x="122" y="327"/>
                </a:cubicBezTo>
                <a:cubicBezTo>
                  <a:pt x="124" y="327"/>
                  <a:pt x="126" y="325"/>
                  <a:pt x="127" y="322"/>
                </a:cubicBezTo>
                <a:cubicBezTo>
                  <a:pt x="127" y="320"/>
                  <a:pt x="125" y="318"/>
                  <a:pt x="122" y="31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1" name="Oval 14">
            <a:extLst>
              <a:ext uri="{FF2B5EF4-FFF2-40B4-BE49-F238E27FC236}">
                <a16:creationId xmlns:a16="http://schemas.microsoft.com/office/drawing/2014/main" id="{7F86AFB3-D2BC-46C1-98C7-5EE4E86917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8899" y="4092042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2" name="Freeform 22">
            <a:extLst>
              <a:ext uri="{FF2B5EF4-FFF2-40B4-BE49-F238E27FC236}">
                <a16:creationId xmlns:a16="http://schemas.microsoft.com/office/drawing/2014/main" id="{6E93069E-BFDF-4FC2-A74F-5ABD9CD78678}"/>
              </a:ext>
            </a:extLst>
          </p:cNvPr>
          <p:cNvSpPr>
            <a:spLocks noEditPoints="1"/>
          </p:cNvSpPr>
          <p:nvPr/>
        </p:nvSpPr>
        <p:spPr bwMode="auto">
          <a:xfrm>
            <a:off x="1832026" y="4315863"/>
            <a:ext cx="497195" cy="375317"/>
          </a:xfrm>
          <a:custGeom>
            <a:avLst/>
            <a:gdLst>
              <a:gd name="T0" fmla="*/ 267 w 431"/>
              <a:gd name="T1" fmla="*/ 136 h 325"/>
              <a:gd name="T2" fmla="*/ 370 w 431"/>
              <a:gd name="T3" fmla="*/ 185 h 325"/>
              <a:gd name="T4" fmla="*/ 267 w 431"/>
              <a:gd name="T5" fmla="*/ 239 h 325"/>
              <a:gd name="T6" fmla="*/ 265 w 431"/>
              <a:gd name="T7" fmla="*/ 245 h 325"/>
              <a:gd name="T8" fmla="*/ 269 w 431"/>
              <a:gd name="T9" fmla="*/ 248 h 325"/>
              <a:gd name="T10" fmla="*/ 271 w 431"/>
              <a:gd name="T11" fmla="*/ 247 h 325"/>
              <a:gd name="T12" fmla="*/ 383 w 431"/>
              <a:gd name="T13" fmla="*/ 188 h 325"/>
              <a:gd name="T14" fmla="*/ 386 w 431"/>
              <a:gd name="T15" fmla="*/ 184 h 325"/>
              <a:gd name="T16" fmla="*/ 383 w 431"/>
              <a:gd name="T17" fmla="*/ 180 h 325"/>
              <a:gd name="T18" fmla="*/ 271 w 431"/>
              <a:gd name="T19" fmla="*/ 128 h 325"/>
              <a:gd name="T20" fmla="*/ 265 w 431"/>
              <a:gd name="T21" fmla="*/ 130 h 325"/>
              <a:gd name="T22" fmla="*/ 267 w 431"/>
              <a:gd name="T23" fmla="*/ 136 h 325"/>
              <a:gd name="T24" fmla="*/ 202 w 431"/>
              <a:gd name="T25" fmla="*/ 268 h 325"/>
              <a:gd name="T26" fmla="*/ 203 w 431"/>
              <a:gd name="T27" fmla="*/ 268 h 325"/>
              <a:gd name="T28" fmla="*/ 207 w 431"/>
              <a:gd name="T29" fmla="*/ 265 h 325"/>
              <a:gd name="T30" fmla="*/ 252 w 431"/>
              <a:gd name="T31" fmla="*/ 113 h 325"/>
              <a:gd name="T32" fmla="*/ 248 w 431"/>
              <a:gd name="T33" fmla="*/ 107 h 325"/>
              <a:gd name="T34" fmla="*/ 243 w 431"/>
              <a:gd name="T35" fmla="*/ 110 h 325"/>
              <a:gd name="T36" fmla="*/ 198 w 431"/>
              <a:gd name="T37" fmla="*/ 262 h 325"/>
              <a:gd name="T38" fmla="*/ 202 w 431"/>
              <a:gd name="T39" fmla="*/ 268 h 325"/>
              <a:gd name="T40" fmla="*/ 386 w 431"/>
              <a:gd name="T41" fmla="*/ 0 h 325"/>
              <a:gd name="T42" fmla="*/ 46 w 431"/>
              <a:gd name="T43" fmla="*/ 0 h 325"/>
              <a:gd name="T44" fmla="*/ 0 w 431"/>
              <a:gd name="T45" fmla="*/ 47 h 325"/>
              <a:gd name="T46" fmla="*/ 0 w 431"/>
              <a:gd name="T47" fmla="*/ 320 h 325"/>
              <a:gd name="T48" fmla="*/ 5 w 431"/>
              <a:gd name="T49" fmla="*/ 325 h 325"/>
              <a:gd name="T50" fmla="*/ 427 w 431"/>
              <a:gd name="T51" fmla="*/ 325 h 325"/>
              <a:gd name="T52" fmla="*/ 431 w 431"/>
              <a:gd name="T53" fmla="*/ 320 h 325"/>
              <a:gd name="T54" fmla="*/ 431 w 431"/>
              <a:gd name="T55" fmla="*/ 47 h 325"/>
              <a:gd name="T56" fmla="*/ 386 w 431"/>
              <a:gd name="T57" fmla="*/ 0 h 325"/>
              <a:gd name="T58" fmla="*/ 422 w 431"/>
              <a:gd name="T59" fmla="*/ 315 h 325"/>
              <a:gd name="T60" fmla="*/ 9 w 431"/>
              <a:gd name="T61" fmla="*/ 315 h 325"/>
              <a:gd name="T62" fmla="*/ 9 w 431"/>
              <a:gd name="T63" fmla="*/ 64 h 325"/>
              <a:gd name="T64" fmla="*/ 422 w 431"/>
              <a:gd name="T65" fmla="*/ 64 h 325"/>
              <a:gd name="T66" fmla="*/ 422 w 431"/>
              <a:gd name="T67" fmla="*/ 315 h 325"/>
              <a:gd name="T68" fmla="*/ 422 w 431"/>
              <a:gd name="T69" fmla="*/ 55 h 325"/>
              <a:gd name="T70" fmla="*/ 9 w 431"/>
              <a:gd name="T71" fmla="*/ 55 h 325"/>
              <a:gd name="T72" fmla="*/ 9 w 431"/>
              <a:gd name="T73" fmla="*/ 47 h 325"/>
              <a:gd name="T74" fmla="*/ 46 w 431"/>
              <a:gd name="T75" fmla="*/ 9 h 325"/>
              <a:gd name="T76" fmla="*/ 386 w 431"/>
              <a:gd name="T77" fmla="*/ 9 h 325"/>
              <a:gd name="T78" fmla="*/ 422 w 431"/>
              <a:gd name="T79" fmla="*/ 47 h 325"/>
              <a:gd name="T80" fmla="*/ 422 w 431"/>
              <a:gd name="T81" fmla="*/ 55 h 325"/>
              <a:gd name="T82" fmla="*/ 67 w 431"/>
              <a:gd name="T83" fmla="*/ 195 h 325"/>
              <a:gd name="T84" fmla="*/ 179 w 431"/>
              <a:gd name="T85" fmla="*/ 247 h 325"/>
              <a:gd name="T86" fmla="*/ 181 w 431"/>
              <a:gd name="T87" fmla="*/ 248 h 325"/>
              <a:gd name="T88" fmla="*/ 185 w 431"/>
              <a:gd name="T89" fmla="*/ 245 h 325"/>
              <a:gd name="T90" fmla="*/ 183 w 431"/>
              <a:gd name="T91" fmla="*/ 239 h 325"/>
              <a:gd name="T92" fmla="*/ 80 w 431"/>
              <a:gd name="T93" fmla="*/ 191 h 325"/>
              <a:gd name="T94" fmla="*/ 183 w 431"/>
              <a:gd name="T95" fmla="*/ 136 h 325"/>
              <a:gd name="T96" fmla="*/ 185 w 431"/>
              <a:gd name="T97" fmla="*/ 130 h 325"/>
              <a:gd name="T98" fmla="*/ 179 w 431"/>
              <a:gd name="T99" fmla="*/ 128 h 325"/>
              <a:gd name="T100" fmla="*/ 67 w 431"/>
              <a:gd name="T101" fmla="*/ 187 h 325"/>
              <a:gd name="T102" fmla="*/ 64 w 431"/>
              <a:gd name="T103" fmla="*/ 191 h 325"/>
              <a:gd name="T104" fmla="*/ 67 w 431"/>
              <a:gd name="T105" fmla="*/ 195 h 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31" h="325">
                <a:moveTo>
                  <a:pt x="267" y="136"/>
                </a:moveTo>
                <a:cubicBezTo>
                  <a:pt x="370" y="185"/>
                  <a:pt x="370" y="185"/>
                  <a:pt x="370" y="185"/>
                </a:cubicBezTo>
                <a:cubicBezTo>
                  <a:pt x="267" y="239"/>
                  <a:pt x="267" y="239"/>
                  <a:pt x="267" y="239"/>
                </a:cubicBezTo>
                <a:cubicBezTo>
                  <a:pt x="265" y="240"/>
                  <a:pt x="264" y="243"/>
                  <a:pt x="265" y="245"/>
                </a:cubicBezTo>
                <a:cubicBezTo>
                  <a:pt x="266" y="247"/>
                  <a:pt x="268" y="248"/>
                  <a:pt x="269" y="248"/>
                </a:cubicBezTo>
                <a:cubicBezTo>
                  <a:pt x="270" y="248"/>
                  <a:pt x="271" y="248"/>
                  <a:pt x="271" y="247"/>
                </a:cubicBezTo>
                <a:cubicBezTo>
                  <a:pt x="383" y="188"/>
                  <a:pt x="383" y="188"/>
                  <a:pt x="383" y="188"/>
                </a:cubicBezTo>
                <a:cubicBezTo>
                  <a:pt x="385" y="188"/>
                  <a:pt x="386" y="186"/>
                  <a:pt x="386" y="184"/>
                </a:cubicBezTo>
                <a:cubicBezTo>
                  <a:pt x="386" y="182"/>
                  <a:pt x="385" y="181"/>
                  <a:pt x="383" y="180"/>
                </a:cubicBezTo>
                <a:cubicBezTo>
                  <a:pt x="271" y="128"/>
                  <a:pt x="271" y="128"/>
                  <a:pt x="271" y="128"/>
                </a:cubicBezTo>
                <a:cubicBezTo>
                  <a:pt x="269" y="127"/>
                  <a:pt x="266" y="128"/>
                  <a:pt x="265" y="130"/>
                </a:cubicBezTo>
                <a:cubicBezTo>
                  <a:pt x="264" y="132"/>
                  <a:pt x="265" y="135"/>
                  <a:pt x="267" y="136"/>
                </a:cubicBezTo>
                <a:close/>
                <a:moveTo>
                  <a:pt x="202" y="268"/>
                </a:moveTo>
                <a:cubicBezTo>
                  <a:pt x="202" y="268"/>
                  <a:pt x="202" y="268"/>
                  <a:pt x="203" y="268"/>
                </a:cubicBezTo>
                <a:cubicBezTo>
                  <a:pt x="205" y="268"/>
                  <a:pt x="207" y="267"/>
                  <a:pt x="207" y="265"/>
                </a:cubicBezTo>
                <a:cubicBezTo>
                  <a:pt x="252" y="113"/>
                  <a:pt x="252" y="113"/>
                  <a:pt x="252" y="113"/>
                </a:cubicBezTo>
                <a:cubicBezTo>
                  <a:pt x="252" y="111"/>
                  <a:pt x="251" y="108"/>
                  <a:pt x="248" y="107"/>
                </a:cubicBezTo>
                <a:cubicBezTo>
                  <a:pt x="246" y="106"/>
                  <a:pt x="243" y="108"/>
                  <a:pt x="243" y="110"/>
                </a:cubicBezTo>
                <a:cubicBezTo>
                  <a:pt x="198" y="262"/>
                  <a:pt x="198" y="262"/>
                  <a:pt x="198" y="262"/>
                </a:cubicBezTo>
                <a:cubicBezTo>
                  <a:pt x="198" y="265"/>
                  <a:pt x="199" y="267"/>
                  <a:pt x="202" y="268"/>
                </a:cubicBezTo>
                <a:close/>
                <a:moveTo>
                  <a:pt x="386" y="0"/>
                </a:moveTo>
                <a:cubicBezTo>
                  <a:pt x="46" y="0"/>
                  <a:pt x="46" y="0"/>
                  <a:pt x="46" y="0"/>
                </a:cubicBezTo>
                <a:cubicBezTo>
                  <a:pt x="21" y="0"/>
                  <a:pt x="0" y="21"/>
                  <a:pt x="0" y="47"/>
                </a:cubicBezTo>
                <a:cubicBezTo>
                  <a:pt x="0" y="320"/>
                  <a:pt x="0" y="320"/>
                  <a:pt x="0" y="320"/>
                </a:cubicBezTo>
                <a:cubicBezTo>
                  <a:pt x="0" y="323"/>
                  <a:pt x="2" y="325"/>
                  <a:pt x="5" y="325"/>
                </a:cubicBezTo>
                <a:cubicBezTo>
                  <a:pt x="427" y="325"/>
                  <a:pt x="427" y="325"/>
                  <a:pt x="427" y="325"/>
                </a:cubicBezTo>
                <a:cubicBezTo>
                  <a:pt x="429" y="325"/>
                  <a:pt x="431" y="323"/>
                  <a:pt x="431" y="320"/>
                </a:cubicBezTo>
                <a:cubicBezTo>
                  <a:pt x="431" y="47"/>
                  <a:pt x="431" y="47"/>
                  <a:pt x="431" y="47"/>
                </a:cubicBezTo>
                <a:cubicBezTo>
                  <a:pt x="431" y="21"/>
                  <a:pt x="411" y="0"/>
                  <a:pt x="386" y="0"/>
                </a:cubicBezTo>
                <a:close/>
                <a:moveTo>
                  <a:pt x="422" y="315"/>
                </a:moveTo>
                <a:cubicBezTo>
                  <a:pt x="9" y="315"/>
                  <a:pt x="9" y="315"/>
                  <a:pt x="9" y="315"/>
                </a:cubicBezTo>
                <a:cubicBezTo>
                  <a:pt x="9" y="64"/>
                  <a:pt x="9" y="64"/>
                  <a:pt x="9" y="64"/>
                </a:cubicBezTo>
                <a:cubicBezTo>
                  <a:pt x="422" y="64"/>
                  <a:pt x="422" y="64"/>
                  <a:pt x="422" y="64"/>
                </a:cubicBezTo>
                <a:lnTo>
                  <a:pt x="422" y="315"/>
                </a:lnTo>
                <a:close/>
                <a:moveTo>
                  <a:pt x="422" y="55"/>
                </a:moveTo>
                <a:cubicBezTo>
                  <a:pt x="9" y="55"/>
                  <a:pt x="9" y="55"/>
                  <a:pt x="9" y="55"/>
                </a:cubicBezTo>
                <a:cubicBezTo>
                  <a:pt x="9" y="47"/>
                  <a:pt x="9" y="47"/>
                  <a:pt x="9" y="47"/>
                </a:cubicBezTo>
                <a:cubicBezTo>
                  <a:pt x="9" y="26"/>
                  <a:pt x="26" y="9"/>
                  <a:pt x="46" y="9"/>
                </a:cubicBezTo>
                <a:cubicBezTo>
                  <a:pt x="386" y="9"/>
                  <a:pt x="386" y="9"/>
                  <a:pt x="386" y="9"/>
                </a:cubicBezTo>
                <a:cubicBezTo>
                  <a:pt x="406" y="9"/>
                  <a:pt x="422" y="26"/>
                  <a:pt x="422" y="47"/>
                </a:cubicBezTo>
                <a:lnTo>
                  <a:pt x="422" y="55"/>
                </a:lnTo>
                <a:close/>
                <a:moveTo>
                  <a:pt x="67" y="195"/>
                </a:moveTo>
                <a:cubicBezTo>
                  <a:pt x="179" y="247"/>
                  <a:pt x="179" y="247"/>
                  <a:pt x="179" y="247"/>
                </a:cubicBezTo>
                <a:cubicBezTo>
                  <a:pt x="179" y="248"/>
                  <a:pt x="180" y="248"/>
                  <a:pt x="181" y="248"/>
                </a:cubicBezTo>
                <a:cubicBezTo>
                  <a:pt x="182" y="248"/>
                  <a:pt x="184" y="247"/>
                  <a:pt x="185" y="245"/>
                </a:cubicBezTo>
                <a:cubicBezTo>
                  <a:pt x="186" y="243"/>
                  <a:pt x="185" y="240"/>
                  <a:pt x="183" y="239"/>
                </a:cubicBezTo>
                <a:cubicBezTo>
                  <a:pt x="80" y="191"/>
                  <a:pt x="80" y="191"/>
                  <a:pt x="80" y="191"/>
                </a:cubicBezTo>
                <a:cubicBezTo>
                  <a:pt x="183" y="136"/>
                  <a:pt x="183" y="136"/>
                  <a:pt x="183" y="136"/>
                </a:cubicBezTo>
                <a:cubicBezTo>
                  <a:pt x="185" y="135"/>
                  <a:pt x="186" y="132"/>
                  <a:pt x="185" y="130"/>
                </a:cubicBezTo>
                <a:cubicBezTo>
                  <a:pt x="184" y="127"/>
                  <a:pt x="181" y="127"/>
                  <a:pt x="179" y="128"/>
                </a:cubicBezTo>
                <a:cubicBezTo>
                  <a:pt x="67" y="187"/>
                  <a:pt x="67" y="187"/>
                  <a:pt x="67" y="187"/>
                </a:cubicBezTo>
                <a:cubicBezTo>
                  <a:pt x="65" y="188"/>
                  <a:pt x="64" y="189"/>
                  <a:pt x="64" y="191"/>
                </a:cubicBezTo>
                <a:cubicBezTo>
                  <a:pt x="64" y="193"/>
                  <a:pt x="65" y="194"/>
                  <a:pt x="67" y="19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3" name="Oval 12">
            <a:extLst>
              <a:ext uri="{FF2B5EF4-FFF2-40B4-BE49-F238E27FC236}">
                <a16:creationId xmlns:a16="http://schemas.microsoft.com/office/drawing/2014/main" id="{7C62AA57-ABC5-4F5D-A6FD-4B643A1C6E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4386" y="4092042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4" name="Freeform 23">
            <a:extLst>
              <a:ext uri="{FF2B5EF4-FFF2-40B4-BE49-F238E27FC236}">
                <a16:creationId xmlns:a16="http://schemas.microsoft.com/office/drawing/2014/main" id="{5B2914E1-62F0-469A-9584-65A39BE2A6B5}"/>
              </a:ext>
            </a:extLst>
          </p:cNvPr>
          <p:cNvSpPr>
            <a:spLocks noEditPoints="1"/>
          </p:cNvSpPr>
          <p:nvPr/>
        </p:nvSpPr>
        <p:spPr bwMode="auto">
          <a:xfrm>
            <a:off x="4386665" y="4359846"/>
            <a:ext cx="558402" cy="285886"/>
          </a:xfrm>
          <a:custGeom>
            <a:avLst/>
            <a:gdLst>
              <a:gd name="T0" fmla="*/ 46 w 484"/>
              <a:gd name="T1" fmla="*/ 52 h 248"/>
              <a:gd name="T2" fmla="*/ 51 w 484"/>
              <a:gd name="T3" fmla="*/ 202 h 248"/>
              <a:gd name="T4" fmla="*/ 56 w 484"/>
              <a:gd name="T5" fmla="*/ 52 h 248"/>
              <a:gd name="T6" fmla="*/ 177 w 484"/>
              <a:gd name="T7" fmla="*/ 47 h 248"/>
              <a:gd name="T8" fmla="*/ 172 w 484"/>
              <a:gd name="T9" fmla="*/ 197 h 248"/>
              <a:gd name="T10" fmla="*/ 182 w 484"/>
              <a:gd name="T11" fmla="*/ 197 h 248"/>
              <a:gd name="T12" fmla="*/ 177 w 484"/>
              <a:gd name="T13" fmla="*/ 47 h 248"/>
              <a:gd name="T14" fmla="*/ 130 w 484"/>
              <a:gd name="T15" fmla="*/ 52 h 248"/>
              <a:gd name="T16" fmla="*/ 135 w 484"/>
              <a:gd name="T17" fmla="*/ 202 h 248"/>
              <a:gd name="T18" fmla="*/ 140 w 484"/>
              <a:gd name="T19" fmla="*/ 52 h 248"/>
              <a:gd name="T20" fmla="*/ 219 w 484"/>
              <a:gd name="T21" fmla="*/ 47 h 248"/>
              <a:gd name="T22" fmla="*/ 214 w 484"/>
              <a:gd name="T23" fmla="*/ 197 h 248"/>
              <a:gd name="T24" fmla="*/ 224 w 484"/>
              <a:gd name="T25" fmla="*/ 197 h 248"/>
              <a:gd name="T26" fmla="*/ 219 w 484"/>
              <a:gd name="T27" fmla="*/ 47 h 248"/>
              <a:gd name="T28" fmla="*/ 88 w 484"/>
              <a:gd name="T29" fmla="*/ 52 h 248"/>
              <a:gd name="T30" fmla="*/ 93 w 484"/>
              <a:gd name="T31" fmla="*/ 202 h 248"/>
              <a:gd name="T32" fmla="*/ 98 w 484"/>
              <a:gd name="T33" fmla="*/ 52 h 248"/>
              <a:gd name="T34" fmla="*/ 303 w 484"/>
              <a:gd name="T35" fmla="*/ 47 h 248"/>
              <a:gd name="T36" fmla="*/ 298 w 484"/>
              <a:gd name="T37" fmla="*/ 197 h 248"/>
              <a:gd name="T38" fmla="*/ 307 w 484"/>
              <a:gd name="T39" fmla="*/ 197 h 248"/>
              <a:gd name="T40" fmla="*/ 303 w 484"/>
              <a:gd name="T41" fmla="*/ 47 h 248"/>
              <a:gd name="T42" fmla="*/ 449 w 484"/>
              <a:gd name="T43" fmla="*/ 88 h 248"/>
              <a:gd name="T44" fmla="*/ 423 w 484"/>
              <a:gd name="T45" fmla="*/ 0 h 248"/>
              <a:gd name="T46" fmla="*/ 0 w 484"/>
              <a:gd name="T47" fmla="*/ 27 h 248"/>
              <a:gd name="T48" fmla="*/ 26 w 484"/>
              <a:gd name="T49" fmla="*/ 248 h 248"/>
              <a:gd name="T50" fmla="*/ 449 w 484"/>
              <a:gd name="T51" fmla="*/ 222 h 248"/>
              <a:gd name="T52" fmla="*/ 479 w 484"/>
              <a:gd name="T53" fmla="*/ 161 h 248"/>
              <a:gd name="T54" fmla="*/ 484 w 484"/>
              <a:gd name="T55" fmla="*/ 92 h 248"/>
              <a:gd name="T56" fmla="*/ 475 w 484"/>
              <a:gd name="T57" fmla="*/ 152 h 248"/>
              <a:gd name="T58" fmla="*/ 440 w 484"/>
              <a:gd name="T59" fmla="*/ 157 h 248"/>
              <a:gd name="T60" fmla="*/ 423 w 484"/>
              <a:gd name="T61" fmla="*/ 239 h 248"/>
              <a:gd name="T62" fmla="*/ 9 w 484"/>
              <a:gd name="T63" fmla="*/ 222 h 248"/>
              <a:gd name="T64" fmla="*/ 26 w 484"/>
              <a:gd name="T65" fmla="*/ 10 h 248"/>
              <a:gd name="T66" fmla="*/ 440 w 484"/>
              <a:gd name="T67" fmla="*/ 27 h 248"/>
              <a:gd name="T68" fmla="*/ 444 w 484"/>
              <a:gd name="T69" fmla="*/ 97 h 248"/>
              <a:gd name="T70" fmla="*/ 475 w 484"/>
              <a:gd name="T71" fmla="*/ 152 h 248"/>
              <a:gd name="T72" fmla="*/ 382 w 484"/>
              <a:gd name="T73" fmla="*/ 52 h 248"/>
              <a:gd name="T74" fmla="*/ 387 w 484"/>
              <a:gd name="T75" fmla="*/ 202 h 248"/>
              <a:gd name="T76" fmla="*/ 391 w 484"/>
              <a:gd name="T77" fmla="*/ 52 h 248"/>
              <a:gd name="T78" fmla="*/ 261 w 484"/>
              <a:gd name="T79" fmla="*/ 47 h 248"/>
              <a:gd name="T80" fmla="*/ 256 w 484"/>
              <a:gd name="T81" fmla="*/ 197 h 248"/>
              <a:gd name="T82" fmla="*/ 265 w 484"/>
              <a:gd name="T83" fmla="*/ 197 h 248"/>
              <a:gd name="T84" fmla="*/ 261 w 484"/>
              <a:gd name="T85" fmla="*/ 47 h 248"/>
              <a:gd name="T86" fmla="*/ 340 w 484"/>
              <a:gd name="T87" fmla="*/ 52 h 248"/>
              <a:gd name="T88" fmla="*/ 345 w 484"/>
              <a:gd name="T89" fmla="*/ 202 h 248"/>
              <a:gd name="T90" fmla="*/ 349 w 484"/>
              <a:gd name="T91" fmla="*/ 52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84" h="248">
                <a:moveTo>
                  <a:pt x="51" y="47"/>
                </a:moveTo>
                <a:cubicBezTo>
                  <a:pt x="48" y="47"/>
                  <a:pt x="46" y="49"/>
                  <a:pt x="46" y="52"/>
                </a:cubicBezTo>
                <a:cubicBezTo>
                  <a:pt x="46" y="197"/>
                  <a:pt x="46" y="197"/>
                  <a:pt x="46" y="197"/>
                </a:cubicBezTo>
                <a:cubicBezTo>
                  <a:pt x="46" y="200"/>
                  <a:pt x="48" y="202"/>
                  <a:pt x="51" y="202"/>
                </a:cubicBezTo>
                <a:cubicBezTo>
                  <a:pt x="54" y="202"/>
                  <a:pt x="56" y="200"/>
                  <a:pt x="56" y="197"/>
                </a:cubicBezTo>
                <a:cubicBezTo>
                  <a:pt x="56" y="52"/>
                  <a:pt x="56" y="52"/>
                  <a:pt x="56" y="52"/>
                </a:cubicBezTo>
                <a:cubicBezTo>
                  <a:pt x="56" y="49"/>
                  <a:pt x="54" y="47"/>
                  <a:pt x="51" y="47"/>
                </a:cubicBezTo>
                <a:close/>
                <a:moveTo>
                  <a:pt x="177" y="47"/>
                </a:moveTo>
                <a:cubicBezTo>
                  <a:pt x="174" y="47"/>
                  <a:pt x="172" y="49"/>
                  <a:pt x="172" y="52"/>
                </a:cubicBezTo>
                <a:cubicBezTo>
                  <a:pt x="172" y="197"/>
                  <a:pt x="172" y="197"/>
                  <a:pt x="172" y="197"/>
                </a:cubicBezTo>
                <a:cubicBezTo>
                  <a:pt x="172" y="200"/>
                  <a:pt x="174" y="202"/>
                  <a:pt x="177" y="202"/>
                </a:cubicBezTo>
                <a:cubicBezTo>
                  <a:pt x="179" y="202"/>
                  <a:pt x="182" y="200"/>
                  <a:pt x="182" y="197"/>
                </a:cubicBezTo>
                <a:cubicBezTo>
                  <a:pt x="182" y="52"/>
                  <a:pt x="182" y="52"/>
                  <a:pt x="182" y="52"/>
                </a:cubicBezTo>
                <a:cubicBezTo>
                  <a:pt x="182" y="49"/>
                  <a:pt x="179" y="47"/>
                  <a:pt x="177" y="47"/>
                </a:cubicBezTo>
                <a:close/>
                <a:moveTo>
                  <a:pt x="135" y="47"/>
                </a:moveTo>
                <a:cubicBezTo>
                  <a:pt x="132" y="47"/>
                  <a:pt x="130" y="49"/>
                  <a:pt x="130" y="52"/>
                </a:cubicBezTo>
                <a:cubicBezTo>
                  <a:pt x="130" y="197"/>
                  <a:pt x="130" y="197"/>
                  <a:pt x="130" y="197"/>
                </a:cubicBezTo>
                <a:cubicBezTo>
                  <a:pt x="130" y="200"/>
                  <a:pt x="132" y="202"/>
                  <a:pt x="135" y="202"/>
                </a:cubicBezTo>
                <a:cubicBezTo>
                  <a:pt x="137" y="202"/>
                  <a:pt x="140" y="200"/>
                  <a:pt x="140" y="197"/>
                </a:cubicBezTo>
                <a:cubicBezTo>
                  <a:pt x="140" y="52"/>
                  <a:pt x="140" y="52"/>
                  <a:pt x="140" y="52"/>
                </a:cubicBezTo>
                <a:cubicBezTo>
                  <a:pt x="140" y="49"/>
                  <a:pt x="137" y="47"/>
                  <a:pt x="135" y="47"/>
                </a:cubicBezTo>
                <a:close/>
                <a:moveTo>
                  <a:pt x="219" y="47"/>
                </a:moveTo>
                <a:cubicBezTo>
                  <a:pt x="216" y="47"/>
                  <a:pt x="214" y="49"/>
                  <a:pt x="214" y="52"/>
                </a:cubicBezTo>
                <a:cubicBezTo>
                  <a:pt x="214" y="197"/>
                  <a:pt x="214" y="197"/>
                  <a:pt x="214" y="197"/>
                </a:cubicBezTo>
                <a:cubicBezTo>
                  <a:pt x="214" y="200"/>
                  <a:pt x="216" y="202"/>
                  <a:pt x="219" y="202"/>
                </a:cubicBezTo>
                <a:cubicBezTo>
                  <a:pt x="221" y="202"/>
                  <a:pt x="224" y="200"/>
                  <a:pt x="224" y="197"/>
                </a:cubicBezTo>
                <a:cubicBezTo>
                  <a:pt x="224" y="52"/>
                  <a:pt x="224" y="52"/>
                  <a:pt x="224" y="52"/>
                </a:cubicBezTo>
                <a:cubicBezTo>
                  <a:pt x="224" y="49"/>
                  <a:pt x="221" y="47"/>
                  <a:pt x="219" y="47"/>
                </a:cubicBezTo>
                <a:close/>
                <a:moveTo>
                  <a:pt x="93" y="47"/>
                </a:moveTo>
                <a:cubicBezTo>
                  <a:pt x="90" y="47"/>
                  <a:pt x="88" y="49"/>
                  <a:pt x="88" y="52"/>
                </a:cubicBezTo>
                <a:cubicBezTo>
                  <a:pt x="88" y="197"/>
                  <a:pt x="88" y="197"/>
                  <a:pt x="88" y="197"/>
                </a:cubicBezTo>
                <a:cubicBezTo>
                  <a:pt x="88" y="200"/>
                  <a:pt x="90" y="202"/>
                  <a:pt x="93" y="202"/>
                </a:cubicBezTo>
                <a:cubicBezTo>
                  <a:pt x="96" y="202"/>
                  <a:pt x="98" y="200"/>
                  <a:pt x="98" y="197"/>
                </a:cubicBezTo>
                <a:cubicBezTo>
                  <a:pt x="98" y="52"/>
                  <a:pt x="98" y="52"/>
                  <a:pt x="98" y="52"/>
                </a:cubicBezTo>
                <a:cubicBezTo>
                  <a:pt x="98" y="49"/>
                  <a:pt x="96" y="47"/>
                  <a:pt x="93" y="47"/>
                </a:cubicBezTo>
                <a:close/>
                <a:moveTo>
                  <a:pt x="303" y="47"/>
                </a:moveTo>
                <a:cubicBezTo>
                  <a:pt x="300" y="47"/>
                  <a:pt x="298" y="49"/>
                  <a:pt x="298" y="52"/>
                </a:cubicBezTo>
                <a:cubicBezTo>
                  <a:pt x="298" y="197"/>
                  <a:pt x="298" y="197"/>
                  <a:pt x="298" y="197"/>
                </a:cubicBezTo>
                <a:cubicBezTo>
                  <a:pt x="298" y="200"/>
                  <a:pt x="300" y="202"/>
                  <a:pt x="303" y="202"/>
                </a:cubicBezTo>
                <a:cubicBezTo>
                  <a:pt x="305" y="202"/>
                  <a:pt x="307" y="200"/>
                  <a:pt x="307" y="197"/>
                </a:cubicBezTo>
                <a:cubicBezTo>
                  <a:pt x="307" y="52"/>
                  <a:pt x="307" y="52"/>
                  <a:pt x="307" y="52"/>
                </a:cubicBezTo>
                <a:cubicBezTo>
                  <a:pt x="307" y="49"/>
                  <a:pt x="305" y="47"/>
                  <a:pt x="303" y="47"/>
                </a:cubicBezTo>
                <a:close/>
                <a:moveTo>
                  <a:pt x="479" y="88"/>
                </a:moveTo>
                <a:cubicBezTo>
                  <a:pt x="449" y="88"/>
                  <a:pt x="449" y="88"/>
                  <a:pt x="449" y="88"/>
                </a:cubicBezTo>
                <a:cubicBezTo>
                  <a:pt x="449" y="27"/>
                  <a:pt x="449" y="27"/>
                  <a:pt x="449" y="27"/>
                </a:cubicBezTo>
                <a:cubicBezTo>
                  <a:pt x="449" y="12"/>
                  <a:pt x="437" y="0"/>
                  <a:pt x="423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12" y="0"/>
                  <a:pt x="0" y="12"/>
                  <a:pt x="0" y="27"/>
                </a:cubicBezTo>
                <a:cubicBezTo>
                  <a:pt x="0" y="222"/>
                  <a:pt x="0" y="222"/>
                  <a:pt x="0" y="222"/>
                </a:cubicBezTo>
                <a:cubicBezTo>
                  <a:pt x="0" y="236"/>
                  <a:pt x="12" y="248"/>
                  <a:pt x="26" y="248"/>
                </a:cubicBezTo>
                <a:cubicBezTo>
                  <a:pt x="423" y="248"/>
                  <a:pt x="423" y="248"/>
                  <a:pt x="423" y="248"/>
                </a:cubicBezTo>
                <a:cubicBezTo>
                  <a:pt x="437" y="248"/>
                  <a:pt x="449" y="236"/>
                  <a:pt x="449" y="222"/>
                </a:cubicBezTo>
                <a:cubicBezTo>
                  <a:pt x="449" y="161"/>
                  <a:pt x="449" y="161"/>
                  <a:pt x="449" y="161"/>
                </a:cubicBezTo>
                <a:cubicBezTo>
                  <a:pt x="479" y="161"/>
                  <a:pt x="479" y="161"/>
                  <a:pt x="479" y="161"/>
                </a:cubicBezTo>
                <a:cubicBezTo>
                  <a:pt x="482" y="161"/>
                  <a:pt x="484" y="159"/>
                  <a:pt x="484" y="157"/>
                </a:cubicBezTo>
                <a:cubicBezTo>
                  <a:pt x="484" y="92"/>
                  <a:pt x="484" y="92"/>
                  <a:pt x="484" y="92"/>
                </a:cubicBezTo>
                <a:cubicBezTo>
                  <a:pt x="484" y="90"/>
                  <a:pt x="482" y="88"/>
                  <a:pt x="479" y="88"/>
                </a:cubicBezTo>
                <a:close/>
                <a:moveTo>
                  <a:pt x="475" y="152"/>
                </a:moveTo>
                <a:cubicBezTo>
                  <a:pt x="444" y="152"/>
                  <a:pt x="444" y="152"/>
                  <a:pt x="444" y="152"/>
                </a:cubicBezTo>
                <a:cubicBezTo>
                  <a:pt x="442" y="152"/>
                  <a:pt x="440" y="154"/>
                  <a:pt x="440" y="157"/>
                </a:cubicBezTo>
                <a:cubicBezTo>
                  <a:pt x="440" y="222"/>
                  <a:pt x="440" y="222"/>
                  <a:pt x="440" y="222"/>
                </a:cubicBezTo>
                <a:cubicBezTo>
                  <a:pt x="440" y="231"/>
                  <a:pt x="432" y="239"/>
                  <a:pt x="423" y="239"/>
                </a:cubicBezTo>
                <a:cubicBezTo>
                  <a:pt x="26" y="239"/>
                  <a:pt x="26" y="239"/>
                  <a:pt x="26" y="239"/>
                </a:cubicBezTo>
                <a:cubicBezTo>
                  <a:pt x="17" y="239"/>
                  <a:pt x="9" y="231"/>
                  <a:pt x="9" y="222"/>
                </a:cubicBezTo>
                <a:cubicBezTo>
                  <a:pt x="9" y="27"/>
                  <a:pt x="9" y="27"/>
                  <a:pt x="9" y="27"/>
                </a:cubicBezTo>
                <a:cubicBezTo>
                  <a:pt x="9" y="17"/>
                  <a:pt x="17" y="10"/>
                  <a:pt x="26" y="10"/>
                </a:cubicBezTo>
                <a:cubicBezTo>
                  <a:pt x="423" y="10"/>
                  <a:pt x="423" y="10"/>
                  <a:pt x="423" y="10"/>
                </a:cubicBezTo>
                <a:cubicBezTo>
                  <a:pt x="432" y="10"/>
                  <a:pt x="440" y="17"/>
                  <a:pt x="440" y="27"/>
                </a:cubicBezTo>
                <a:cubicBezTo>
                  <a:pt x="440" y="92"/>
                  <a:pt x="440" y="92"/>
                  <a:pt x="440" y="92"/>
                </a:cubicBezTo>
                <a:cubicBezTo>
                  <a:pt x="440" y="95"/>
                  <a:pt x="442" y="97"/>
                  <a:pt x="444" y="97"/>
                </a:cubicBezTo>
                <a:cubicBezTo>
                  <a:pt x="475" y="97"/>
                  <a:pt x="475" y="97"/>
                  <a:pt x="475" y="97"/>
                </a:cubicBezTo>
                <a:lnTo>
                  <a:pt x="475" y="152"/>
                </a:lnTo>
                <a:close/>
                <a:moveTo>
                  <a:pt x="387" y="47"/>
                </a:moveTo>
                <a:cubicBezTo>
                  <a:pt x="384" y="47"/>
                  <a:pt x="382" y="49"/>
                  <a:pt x="382" y="52"/>
                </a:cubicBezTo>
                <a:cubicBezTo>
                  <a:pt x="382" y="197"/>
                  <a:pt x="382" y="197"/>
                  <a:pt x="382" y="197"/>
                </a:cubicBezTo>
                <a:cubicBezTo>
                  <a:pt x="382" y="200"/>
                  <a:pt x="384" y="202"/>
                  <a:pt x="387" y="202"/>
                </a:cubicBezTo>
                <a:cubicBezTo>
                  <a:pt x="389" y="202"/>
                  <a:pt x="391" y="200"/>
                  <a:pt x="391" y="197"/>
                </a:cubicBezTo>
                <a:cubicBezTo>
                  <a:pt x="391" y="52"/>
                  <a:pt x="391" y="52"/>
                  <a:pt x="391" y="52"/>
                </a:cubicBezTo>
                <a:cubicBezTo>
                  <a:pt x="391" y="49"/>
                  <a:pt x="389" y="47"/>
                  <a:pt x="387" y="47"/>
                </a:cubicBezTo>
                <a:close/>
                <a:moveTo>
                  <a:pt x="261" y="47"/>
                </a:moveTo>
                <a:cubicBezTo>
                  <a:pt x="258" y="47"/>
                  <a:pt x="256" y="49"/>
                  <a:pt x="256" y="52"/>
                </a:cubicBezTo>
                <a:cubicBezTo>
                  <a:pt x="256" y="197"/>
                  <a:pt x="256" y="197"/>
                  <a:pt x="256" y="197"/>
                </a:cubicBezTo>
                <a:cubicBezTo>
                  <a:pt x="256" y="200"/>
                  <a:pt x="258" y="202"/>
                  <a:pt x="261" y="202"/>
                </a:cubicBezTo>
                <a:cubicBezTo>
                  <a:pt x="263" y="202"/>
                  <a:pt x="265" y="200"/>
                  <a:pt x="265" y="197"/>
                </a:cubicBezTo>
                <a:cubicBezTo>
                  <a:pt x="265" y="52"/>
                  <a:pt x="265" y="52"/>
                  <a:pt x="265" y="52"/>
                </a:cubicBezTo>
                <a:cubicBezTo>
                  <a:pt x="265" y="49"/>
                  <a:pt x="263" y="47"/>
                  <a:pt x="261" y="47"/>
                </a:cubicBezTo>
                <a:close/>
                <a:moveTo>
                  <a:pt x="345" y="47"/>
                </a:moveTo>
                <a:cubicBezTo>
                  <a:pt x="342" y="47"/>
                  <a:pt x="340" y="49"/>
                  <a:pt x="340" y="52"/>
                </a:cubicBezTo>
                <a:cubicBezTo>
                  <a:pt x="340" y="197"/>
                  <a:pt x="340" y="197"/>
                  <a:pt x="340" y="197"/>
                </a:cubicBezTo>
                <a:cubicBezTo>
                  <a:pt x="340" y="200"/>
                  <a:pt x="342" y="202"/>
                  <a:pt x="345" y="202"/>
                </a:cubicBezTo>
                <a:cubicBezTo>
                  <a:pt x="347" y="202"/>
                  <a:pt x="349" y="200"/>
                  <a:pt x="349" y="197"/>
                </a:cubicBezTo>
                <a:cubicBezTo>
                  <a:pt x="349" y="52"/>
                  <a:pt x="349" y="52"/>
                  <a:pt x="349" y="52"/>
                </a:cubicBezTo>
                <a:cubicBezTo>
                  <a:pt x="349" y="49"/>
                  <a:pt x="347" y="47"/>
                  <a:pt x="345" y="4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5" name="Oval 6">
            <a:extLst>
              <a:ext uri="{FF2B5EF4-FFF2-40B4-BE49-F238E27FC236}">
                <a16:creationId xmlns:a16="http://schemas.microsoft.com/office/drawing/2014/main" id="{DF8F382E-AB48-48F7-AD26-AE4A224ED3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9873" y="4092042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6" name="Freeform 24">
            <a:extLst>
              <a:ext uri="{FF2B5EF4-FFF2-40B4-BE49-F238E27FC236}">
                <a16:creationId xmlns:a16="http://schemas.microsoft.com/office/drawing/2014/main" id="{46F80EFD-9B0B-4219-A960-4CCEF82B37B9}"/>
              </a:ext>
            </a:extLst>
          </p:cNvPr>
          <p:cNvSpPr>
            <a:spLocks noEditPoints="1"/>
          </p:cNvSpPr>
          <p:nvPr/>
        </p:nvSpPr>
        <p:spPr bwMode="auto">
          <a:xfrm>
            <a:off x="6972562" y="4385258"/>
            <a:ext cx="557584" cy="286375"/>
          </a:xfrm>
          <a:custGeom>
            <a:avLst/>
            <a:gdLst>
              <a:gd name="T0" fmla="*/ 479 w 484"/>
              <a:gd name="T1" fmla="*/ 87 h 248"/>
              <a:gd name="T2" fmla="*/ 449 w 484"/>
              <a:gd name="T3" fmla="*/ 87 h 248"/>
              <a:gd name="T4" fmla="*/ 449 w 484"/>
              <a:gd name="T5" fmla="*/ 27 h 248"/>
              <a:gd name="T6" fmla="*/ 423 w 484"/>
              <a:gd name="T7" fmla="*/ 0 h 248"/>
              <a:gd name="T8" fmla="*/ 26 w 484"/>
              <a:gd name="T9" fmla="*/ 0 h 248"/>
              <a:gd name="T10" fmla="*/ 0 w 484"/>
              <a:gd name="T11" fmla="*/ 27 h 248"/>
              <a:gd name="T12" fmla="*/ 0 w 484"/>
              <a:gd name="T13" fmla="*/ 221 h 248"/>
              <a:gd name="T14" fmla="*/ 26 w 484"/>
              <a:gd name="T15" fmla="*/ 248 h 248"/>
              <a:gd name="T16" fmla="*/ 423 w 484"/>
              <a:gd name="T17" fmla="*/ 248 h 248"/>
              <a:gd name="T18" fmla="*/ 449 w 484"/>
              <a:gd name="T19" fmla="*/ 221 h 248"/>
              <a:gd name="T20" fmla="*/ 449 w 484"/>
              <a:gd name="T21" fmla="*/ 161 h 248"/>
              <a:gd name="T22" fmla="*/ 479 w 484"/>
              <a:gd name="T23" fmla="*/ 161 h 248"/>
              <a:gd name="T24" fmla="*/ 484 w 484"/>
              <a:gd name="T25" fmla="*/ 156 h 248"/>
              <a:gd name="T26" fmla="*/ 484 w 484"/>
              <a:gd name="T27" fmla="*/ 92 h 248"/>
              <a:gd name="T28" fmla="*/ 479 w 484"/>
              <a:gd name="T29" fmla="*/ 87 h 248"/>
              <a:gd name="T30" fmla="*/ 475 w 484"/>
              <a:gd name="T31" fmla="*/ 151 h 248"/>
              <a:gd name="T32" fmla="*/ 444 w 484"/>
              <a:gd name="T33" fmla="*/ 151 h 248"/>
              <a:gd name="T34" fmla="*/ 440 w 484"/>
              <a:gd name="T35" fmla="*/ 156 h 248"/>
              <a:gd name="T36" fmla="*/ 440 w 484"/>
              <a:gd name="T37" fmla="*/ 221 h 248"/>
              <a:gd name="T38" fmla="*/ 423 w 484"/>
              <a:gd name="T39" fmla="*/ 239 h 248"/>
              <a:gd name="T40" fmla="*/ 26 w 484"/>
              <a:gd name="T41" fmla="*/ 239 h 248"/>
              <a:gd name="T42" fmla="*/ 9 w 484"/>
              <a:gd name="T43" fmla="*/ 221 h 248"/>
              <a:gd name="T44" fmla="*/ 9 w 484"/>
              <a:gd name="T45" fmla="*/ 27 h 248"/>
              <a:gd name="T46" fmla="*/ 26 w 484"/>
              <a:gd name="T47" fmla="*/ 9 h 248"/>
              <a:gd name="T48" fmla="*/ 423 w 484"/>
              <a:gd name="T49" fmla="*/ 9 h 248"/>
              <a:gd name="T50" fmla="*/ 440 w 484"/>
              <a:gd name="T51" fmla="*/ 27 h 248"/>
              <a:gd name="T52" fmla="*/ 440 w 484"/>
              <a:gd name="T53" fmla="*/ 92 h 248"/>
              <a:gd name="T54" fmla="*/ 444 w 484"/>
              <a:gd name="T55" fmla="*/ 97 h 248"/>
              <a:gd name="T56" fmla="*/ 475 w 484"/>
              <a:gd name="T57" fmla="*/ 97 h 248"/>
              <a:gd name="T58" fmla="*/ 475 w 484"/>
              <a:gd name="T59" fmla="*/ 151 h 248"/>
              <a:gd name="T60" fmla="*/ 347 w 484"/>
              <a:gd name="T61" fmla="*/ 156 h 248"/>
              <a:gd name="T62" fmla="*/ 191 w 484"/>
              <a:gd name="T63" fmla="*/ 52 h 248"/>
              <a:gd name="T64" fmla="*/ 186 w 484"/>
              <a:gd name="T65" fmla="*/ 52 h 248"/>
              <a:gd name="T66" fmla="*/ 184 w 484"/>
              <a:gd name="T67" fmla="*/ 56 h 248"/>
              <a:gd name="T68" fmla="*/ 184 w 484"/>
              <a:gd name="T69" fmla="*/ 107 h 248"/>
              <a:gd name="T70" fmla="*/ 71 w 484"/>
              <a:gd name="T71" fmla="*/ 83 h 248"/>
              <a:gd name="T72" fmla="*/ 66 w 484"/>
              <a:gd name="T73" fmla="*/ 86 h 248"/>
              <a:gd name="T74" fmla="*/ 67 w 484"/>
              <a:gd name="T75" fmla="*/ 92 h 248"/>
              <a:gd name="T76" fmla="*/ 224 w 484"/>
              <a:gd name="T77" fmla="*/ 196 h 248"/>
              <a:gd name="T78" fmla="*/ 226 w 484"/>
              <a:gd name="T79" fmla="*/ 196 h 248"/>
              <a:gd name="T80" fmla="*/ 228 w 484"/>
              <a:gd name="T81" fmla="*/ 196 h 248"/>
              <a:gd name="T82" fmla="*/ 231 w 484"/>
              <a:gd name="T83" fmla="*/ 192 h 248"/>
              <a:gd name="T84" fmla="*/ 231 w 484"/>
              <a:gd name="T85" fmla="*/ 141 h 248"/>
              <a:gd name="T86" fmla="*/ 344 w 484"/>
              <a:gd name="T87" fmla="*/ 165 h 248"/>
              <a:gd name="T88" fmla="*/ 345 w 484"/>
              <a:gd name="T89" fmla="*/ 165 h 248"/>
              <a:gd name="T90" fmla="*/ 349 w 484"/>
              <a:gd name="T91" fmla="*/ 160 h 248"/>
              <a:gd name="T92" fmla="*/ 347 w 484"/>
              <a:gd name="T93" fmla="*/ 156 h 248"/>
              <a:gd name="T94" fmla="*/ 227 w 484"/>
              <a:gd name="T95" fmla="*/ 130 h 248"/>
              <a:gd name="T96" fmla="*/ 223 w 484"/>
              <a:gd name="T97" fmla="*/ 131 h 248"/>
              <a:gd name="T98" fmla="*/ 221 w 484"/>
              <a:gd name="T99" fmla="*/ 135 h 248"/>
              <a:gd name="T100" fmla="*/ 221 w 484"/>
              <a:gd name="T101" fmla="*/ 183 h 248"/>
              <a:gd name="T102" fmla="*/ 93 w 484"/>
              <a:gd name="T103" fmla="*/ 98 h 248"/>
              <a:gd name="T104" fmla="*/ 187 w 484"/>
              <a:gd name="T105" fmla="*/ 118 h 248"/>
              <a:gd name="T106" fmla="*/ 191 w 484"/>
              <a:gd name="T107" fmla="*/ 117 h 248"/>
              <a:gd name="T108" fmla="*/ 193 w 484"/>
              <a:gd name="T109" fmla="*/ 113 h 248"/>
              <a:gd name="T110" fmla="*/ 193 w 484"/>
              <a:gd name="T111" fmla="*/ 65 h 248"/>
              <a:gd name="T112" fmla="*/ 321 w 484"/>
              <a:gd name="T113" fmla="*/ 150 h 248"/>
              <a:gd name="T114" fmla="*/ 227 w 484"/>
              <a:gd name="T115" fmla="*/ 130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4" h="248">
                <a:moveTo>
                  <a:pt x="479" y="87"/>
                </a:moveTo>
                <a:cubicBezTo>
                  <a:pt x="449" y="87"/>
                  <a:pt x="449" y="87"/>
                  <a:pt x="449" y="87"/>
                </a:cubicBezTo>
                <a:cubicBezTo>
                  <a:pt x="449" y="27"/>
                  <a:pt x="449" y="27"/>
                  <a:pt x="449" y="27"/>
                </a:cubicBezTo>
                <a:cubicBezTo>
                  <a:pt x="449" y="12"/>
                  <a:pt x="437" y="0"/>
                  <a:pt x="423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12" y="0"/>
                  <a:pt x="0" y="12"/>
                  <a:pt x="0" y="27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36"/>
                  <a:pt x="12" y="248"/>
                  <a:pt x="26" y="248"/>
                </a:cubicBezTo>
                <a:cubicBezTo>
                  <a:pt x="423" y="248"/>
                  <a:pt x="423" y="248"/>
                  <a:pt x="423" y="248"/>
                </a:cubicBezTo>
                <a:cubicBezTo>
                  <a:pt x="437" y="248"/>
                  <a:pt x="449" y="236"/>
                  <a:pt x="449" y="221"/>
                </a:cubicBezTo>
                <a:cubicBezTo>
                  <a:pt x="449" y="161"/>
                  <a:pt x="449" y="161"/>
                  <a:pt x="449" y="161"/>
                </a:cubicBezTo>
                <a:cubicBezTo>
                  <a:pt x="479" y="161"/>
                  <a:pt x="479" y="161"/>
                  <a:pt x="479" y="161"/>
                </a:cubicBezTo>
                <a:cubicBezTo>
                  <a:pt x="482" y="161"/>
                  <a:pt x="484" y="159"/>
                  <a:pt x="484" y="156"/>
                </a:cubicBezTo>
                <a:cubicBezTo>
                  <a:pt x="484" y="92"/>
                  <a:pt x="484" y="92"/>
                  <a:pt x="484" y="92"/>
                </a:cubicBezTo>
                <a:cubicBezTo>
                  <a:pt x="484" y="89"/>
                  <a:pt x="482" y="87"/>
                  <a:pt x="479" y="87"/>
                </a:cubicBezTo>
                <a:close/>
                <a:moveTo>
                  <a:pt x="475" y="151"/>
                </a:moveTo>
                <a:cubicBezTo>
                  <a:pt x="444" y="151"/>
                  <a:pt x="444" y="151"/>
                  <a:pt x="444" y="151"/>
                </a:cubicBezTo>
                <a:cubicBezTo>
                  <a:pt x="442" y="151"/>
                  <a:pt x="440" y="154"/>
                  <a:pt x="440" y="156"/>
                </a:cubicBezTo>
                <a:cubicBezTo>
                  <a:pt x="440" y="221"/>
                  <a:pt x="440" y="221"/>
                  <a:pt x="440" y="221"/>
                </a:cubicBezTo>
                <a:cubicBezTo>
                  <a:pt x="440" y="231"/>
                  <a:pt x="432" y="239"/>
                  <a:pt x="423" y="239"/>
                </a:cubicBezTo>
                <a:cubicBezTo>
                  <a:pt x="26" y="239"/>
                  <a:pt x="26" y="239"/>
                  <a:pt x="26" y="239"/>
                </a:cubicBezTo>
                <a:cubicBezTo>
                  <a:pt x="17" y="239"/>
                  <a:pt x="9" y="231"/>
                  <a:pt x="9" y="221"/>
                </a:cubicBezTo>
                <a:cubicBezTo>
                  <a:pt x="9" y="27"/>
                  <a:pt x="9" y="27"/>
                  <a:pt x="9" y="27"/>
                </a:cubicBezTo>
                <a:cubicBezTo>
                  <a:pt x="9" y="17"/>
                  <a:pt x="17" y="9"/>
                  <a:pt x="26" y="9"/>
                </a:cubicBezTo>
                <a:cubicBezTo>
                  <a:pt x="423" y="9"/>
                  <a:pt x="423" y="9"/>
                  <a:pt x="423" y="9"/>
                </a:cubicBezTo>
                <a:cubicBezTo>
                  <a:pt x="432" y="9"/>
                  <a:pt x="440" y="17"/>
                  <a:pt x="440" y="27"/>
                </a:cubicBezTo>
                <a:cubicBezTo>
                  <a:pt x="440" y="92"/>
                  <a:pt x="440" y="92"/>
                  <a:pt x="440" y="92"/>
                </a:cubicBezTo>
                <a:cubicBezTo>
                  <a:pt x="440" y="94"/>
                  <a:pt x="442" y="97"/>
                  <a:pt x="444" y="97"/>
                </a:cubicBezTo>
                <a:cubicBezTo>
                  <a:pt x="475" y="97"/>
                  <a:pt x="475" y="97"/>
                  <a:pt x="475" y="97"/>
                </a:cubicBezTo>
                <a:lnTo>
                  <a:pt x="475" y="151"/>
                </a:lnTo>
                <a:close/>
                <a:moveTo>
                  <a:pt x="347" y="156"/>
                </a:moveTo>
                <a:cubicBezTo>
                  <a:pt x="191" y="52"/>
                  <a:pt x="191" y="52"/>
                  <a:pt x="191" y="52"/>
                </a:cubicBezTo>
                <a:cubicBezTo>
                  <a:pt x="189" y="51"/>
                  <a:pt x="188" y="51"/>
                  <a:pt x="186" y="52"/>
                </a:cubicBezTo>
                <a:cubicBezTo>
                  <a:pt x="184" y="53"/>
                  <a:pt x="184" y="55"/>
                  <a:pt x="184" y="56"/>
                </a:cubicBezTo>
                <a:cubicBezTo>
                  <a:pt x="184" y="107"/>
                  <a:pt x="184" y="107"/>
                  <a:pt x="184" y="107"/>
                </a:cubicBezTo>
                <a:cubicBezTo>
                  <a:pt x="71" y="83"/>
                  <a:pt x="71" y="83"/>
                  <a:pt x="71" y="83"/>
                </a:cubicBezTo>
                <a:cubicBezTo>
                  <a:pt x="69" y="83"/>
                  <a:pt x="66" y="84"/>
                  <a:pt x="66" y="86"/>
                </a:cubicBezTo>
                <a:cubicBezTo>
                  <a:pt x="65" y="88"/>
                  <a:pt x="65" y="90"/>
                  <a:pt x="67" y="92"/>
                </a:cubicBezTo>
                <a:cubicBezTo>
                  <a:pt x="224" y="196"/>
                  <a:pt x="224" y="196"/>
                  <a:pt x="224" y="196"/>
                </a:cubicBezTo>
                <a:cubicBezTo>
                  <a:pt x="224" y="196"/>
                  <a:pt x="225" y="196"/>
                  <a:pt x="226" y="196"/>
                </a:cubicBezTo>
                <a:cubicBezTo>
                  <a:pt x="227" y="196"/>
                  <a:pt x="228" y="196"/>
                  <a:pt x="228" y="196"/>
                </a:cubicBezTo>
                <a:cubicBezTo>
                  <a:pt x="230" y="195"/>
                  <a:pt x="231" y="193"/>
                  <a:pt x="231" y="192"/>
                </a:cubicBezTo>
                <a:cubicBezTo>
                  <a:pt x="231" y="141"/>
                  <a:pt x="231" y="141"/>
                  <a:pt x="231" y="141"/>
                </a:cubicBezTo>
                <a:cubicBezTo>
                  <a:pt x="344" y="165"/>
                  <a:pt x="344" y="165"/>
                  <a:pt x="344" y="165"/>
                </a:cubicBezTo>
                <a:cubicBezTo>
                  <a:pt x="344" y="165"/>
                  <a:pt x="344" y="165"/>
                  <a:pt x="345" y="165"/>
                </a:cubicBezTo>
                <a:cubicBezTo>
                  <a:pt x="347" y="165"/>
                  <a:pt x="349" y="163"/>
                  <a:pt x="349" y="160"/>
                </a:cubicBezTo>
                <a:cubicBezTo>
                  <a:pt x="349" y="158"/>
                  <a:pt x="348" y="157"/>
                  <a:pt x="347" y="156"/>
                </a:cubicBezTo>
                <a:close/>
                <a:moveTo>
                  <a:pt x="227" y="130"/>
                </a:moveTo>
                <a:cubicBezTo>
                  <a:pt x="226" y="130"/>
                  <a:pt x="224" y="130"/>
                  <a:pt x="223" y="131"/>
                </a:cubicBezTo>
                <a:cubicBezTo>
                  <a:pt x="222" y="132"/>
                  <a:pt x="221" y="133"/>
                  <a:pt x="221" y="135"/>
                </a:cubicBezTo>
                <a:cubicBezTo>
                  <a:pt x="221" y="183"/>
                  <a:pt x="221" y="183"/>
                  <a:pt x="221" y="183"/>
                </a:cubicBezTo>
                <a:cubicBezTo>
                  <a:pt x="93" y="98"/>
                  <a:pt x="93" y="98"/>
                  <a:pt x="93" y="98"/>
                </a:cubicBezTo>
                <a:cubicBezTo>
                  <a:pt x="187" y="118"/>
                  <a:pt x="187" y="118"/>
                  <a:pt x="187" y="118"/>
                </a:cubicBezTo>
                <a:cubicBezTo>
                  <a:pt x="189" y="118"/>
                  <a:pt x="190" y="118"/>
                  <a:pt x="191" y="117"/>
                </a:cubicBezTo>
                <a:cubicBezTo>
                  <a:pt x="192" y="116"/>
                  <a:pt x="193" y="115"/>
                  <a:pt x="193" y="113"/>
                </a:cubicBezTo>
                <a:cubicBezTo>
                  <a:pt x="193" y="65"/>
                  <a:pt x="193" y="65"/>
                  <a:pt x="193" y="65"/>
                </a:cubicBezTo>
                <a:cubicBezTo>
                  <a:pt x="321" y="150"/>
                  <a:pt x="321" y="150"/>
                  <a:pt x="321" y="150"/>
                </a:cubicBezTo>
                <a:lnTo>
                  <a:pt x="227" y="13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7" name="Oval 7">
            <a:extLst>
              <a:ext uri="{FF2B5EF4-FFF2-40B4-BE49-F238E27FC236}">
                <a16:creationId xmlns:a16="http://schemas.microsoft.com/office/drawing/2014/main" id="{6CFA3E73-708F-4214-8549-5BAD9D8929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7130" y="4092042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8" name="Freeform 25">
            <a:extLst>
              <a:ext uri="{FF2B5EF4-FFF2-40B4-BE49-F238E27FC236}">
                <a16:creationId xmlns:a16="http://schemas.microsoft.com/office/drawing/2014/main" id="{9112E015-4DFE-4DA8-B5D9-7922471733E6}"/>
              </a:ext>
            </a:extLst>
          </p:cNvPr>
          <p:cNvSpPr>
            <a:spLocks noEditPoints="1"/>
          </p:cNvSpPr>
          <p:nvPr/>
        </p:nvSpPr>
        <p:spPr bwMode="auto">
          <a:xfrm>
            <a:off x="5790844" y="4272858"/>
            <a:ext cx="334556" cy="461816"/>
          </a:xfrm>
          <a:custGeom>
            <a:avLst/>
            <a:gdLst>
              <a:gd name="T0" fmla="*/ 289 w 290"/>
              <a:gd name="T1" fmla="*/ 111 h 400"/>
              <a:gd name="T2" fmla="*/ 184 w 290"/>
              <a:gd name="T3" fmla="*/ 1 h 400"/>
              <a:gd name="T4" fmla="*/ 180 w 290"/>
              <a:gd name="T5" fmla="*/ 0 h 400"/>
              <a:gd name="T6" fmla="*/ 5 w 290"/>
              <a:gd name="T7" fmla="*/ 0 h 400"/>
              <a:gd name="T8" fmla="*/ 0 w 290"/>
              <a:gd name="T9" fmla="*/ 5 h 400"/>
              <a:gd name="T10" fmla="*/ 0 w 290"/>
              <a:gd name="T11" fmla="*/ 395 h 400"/>
              <a:gd name="T12" fmla="*/ 5 w 290"/>
              <a:gd name="T13" fmla="*/ 400 h 400"/>
              <a:gd name="T14" fmla="*/ 286 w 290"/>
              <a:gd name="T15" fmla="*/ 400 h 400"/>
              <a:gd name="T16" fmla="*/ 290 w 290"/>
              <a:gd name="T17" fmla="*/ 395 h 400"/>
              <a:gd name="T18" fmla="*/ 290 w 290"/>
              <a:gd name="T19" fmla="*/ 114 h 400"/>
              <a:gd name="T20" fmla="*/ 289 w 290"/>
              <a:gd name="T21" fmla="*/ 111 h 400"/>
              <a:gd name="T22" fmla="*/ 281 w 290"/>
              <a:gd name="T23" fmla="*/ 390 h 400"/>
              <a:gd name="T24" fmla="*/ 9 w 290"/>
              <a:gd name="T25" fmla="*/ 390 h 400"/>
              <a:gd name="T26" fmla="*/ 9 w 290"/>
              <a:gd name="T27" fmla="*/ 9 h 400"/>
              <a:gd name="T28" fmla="*/ 178 w 290"/>
              <a:gd name="T29" fmla="*/ 9 h 400"/>
              <a:gd name="T30" fmla="*/ 281 w 290"/>
              <a:gd name="T31" fmla="*/ 116 h 400"/>
              <a:gd name="T32" fmla="*/ 281 w 290"/>
              <a:gd name="T33" fmla="*/ 390 h 400"/>
              <a:gd name="T34" fmla="*/ 47 w 290"/>
              <a:gd name="T35" fmla="*/ 228 h 400"/>
              <a:gd name="T36" fmla="*/ 47 w 290"/>
              <a:gd name="T37" fmla="*/ 314 h 400"/>
              <a:gd name="T38" fmla="*/ 98 w 290"/>
              <a:gd name="T39" fmla="*/ 365 h 400"/>
              <a:gd name="T40" fmla="*/ 190 w 290"/>
              <a:gd name="T41" fmla="*/ 365 h 400"/>
              <a:gd name="T42" fmla="*/ 241 w 290"/>
              <a:gd name="T43" fmla="*/ 314 h 400"/>
              <a:gd name="T44" fmla="*/ 241 w 290"/>
              <a:gd name="T45" fmla="*/ 228 h 400"/>
              <a:gd name="T46" fmla="*/ 190 w 290"/>
              <a:gd name="T47" fmla="*/ 177 h 400"/>
              <a:gd name="T48" fmla="*/ 98 w 290"/>
              <a:gd name="T49" fmla="*/ 177 h 400"/>
              <a:gd name="T50" fmla="*/ 47 w 290"/>
              <a:gd name="T51" fmla="*/ 228 h 400"/>
              <a:gd name="T52" fmla="*/ 107 w 290"/>
              <a:gd name="T53" fmla="*/ 356 h 400"/>
              <a:gd name="T54" fmla="*/ 98 w 290"/>
              <a:gd name="T55" fmla="*/ 356 h 400"/>
              <a:gd name="T56" fmla="*/ 57 w 290"/>
              <a:gd name="T57" fmla="*/ 314 h 400"/>
              <a:gd name="T58" fmla="*/ 57 w 290"/>
              <a:gd name="T59" fmla="*/ 304 h 400"/>
              <a:gd name="T60" fmla="*/ 107 w 290"/>
              <a:gd name="T61" fmla="*/ 304 h 400"/>
              <a:gd name="T62" fmla="*/ 107 w 290"/>
              <a:gd name="T63" fmla="*/ 356 h 400"/>
              <a:gd name="T64" fmla="*/ 107 w 290"/>
              <a:gd name="T65" fmla="*/ 294 h 400"/>
              <a:gd name="T66" fmla="*/ 57 w 290"/>
              <a:gd name="T67" fmla="*/ 294 h 400"/>
              <a:gd name="T68" fmla="*/ 57 w 290"/>
              <a:gd name="T69" fmla="*/ 254 h 400"/>
              <a:gd name="T70" fmla="*/ 107 w 290"/>
              <a:gd name="T71" fmla="*/ 254 h 400"/>
              <a:gd name="T72" fmla="*/ 107 w 290"/>
              <a:gd name="T73" fmla="*/ 294 h 400"/>
              <a:gd name="T74" fmla="*/ 181 w 290"/>
              <a:gd name="T75" fmla="*/ 186 h 400"/>
              <a:gd name="T76" fmla="*/ 190 w 290"/>
              <a:gd name="T77" fmla="*/ 186 h 400"/>
              <a:gd name="T78" fmla="*/ 232 w 290"/>
              <a:gd name="T79" fmla="*/ 228 h 400"/>
              <a:gd name="T80" fmla="*/ 232 w 290"/>
              <a:gd name="T81" fmla="*/ 245 h 400"/>
              <a:gd name="T82" fmla="*/ 181 w 290"/>
              <a:gd name="T83" fmla="*/ 245 h 400"/>
              <a:gd name="T84" fmla="*/ 181 w 290"/>
              <a:gd name="T85" fmla="*/ 186 h 400"/>
              <a:gd name="T86" fmla="*/ 181 w 290"/>
              <a:gd name="T87" fmla="*/ 254 h 400"/>
              <a:gd name="T88" fmla="*/ 232 w 290"/>
              <a:gd name="T89" fmla="*/ 254 h 400"/>
              <a:gd name="T90" fmla="*/ 232 w 290"/>
              <a:gd name="T91" fmla="*/ 294 h 400"/>
              <a:gd name="T92" fmla="*/ 181 w 290"/>
              <a:gd name="T93" fmla="*/ 294 h 400"/>
              <a:gd name="T94" fmla="*/ 181 w 290"/>
              <a:gd name="T95" fmla="*/ 254 h 400"/>
              <a:gd name="T96" fmla="*/ 181 w 290"/>
              <a:gd name="T97" fmla="*/ 304 h 400"/>
              <a:gd name="T98" fmla="*/ 232 w 290"/>
              <a:gd name="T99" fmla="*/ 304 h 400"/>
              <a:gd name="T100" fmla="*/ 232 w 290"/>
              <a:gd name="T101" fmla="*/ 314 h 400"/>
              <a:gd name="T102" fmla="*/ 190 w 290"/>
              <a:gd name="T103" fmla="*/ 356 h 400"/>
              <a:gd name="T104" fmla="*/ 181 w 290"/>
              <a:gd name="T105" fmla="*/ 356 h 400"/>
              <a:gd name="T106" fmla="*/ 181 w 290"/>
              <a:gd name="T107" fmla="*/ 304 h 400"/>
              <a:gd name="T108" fmla="*/ 172 w 290"/>
              <a:gd name="T109" fmla="*/ 356 h 400"/>
              <a:gd name="T110" fmla="*/ 117 w 290"/>
              <a:gd name="T111" fmla="*/ 356 h 400"/>
              <a:gd name="T112" fmla="*/ 117 w 290"/>
              <a:gd name="T113" fmla="*/ 250 h 400"/>
              <a:gd name="T114" fmla="*/ 112 w 290"/>
              <a:gd name="T115" fmla="*/ 245 h 400"/>
              <a:gd name="T116" fmla="*/ 57 w 290"/>
              <a:gd name="T117" fmla="*/ 245 h 400"/>
              <a:gd name="T118" fmla="*/ 57 w 290"/>
              <a:gd name="T119" fmla="*/ 228 h 400"/>
              <a:gd name="T120" fmla="*/ 98 w 290"/>
              <a:gd name="T121" fmla="*/ 186 h 400"/>
              <a:gd name="T122" fmla="*/ 172 w 290"/>
              <a:gd name="T123" fmla="*/ 186 h 400"/>
              <a:gd name="T124" fmla="*/ 172 w 290"/>
              <a:gd name="T125" fmla="*/ 356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90" h="400">
                <a:moveTo>
                  <a:pt x="289" y="111"/>
                </a:moveTo>
                <a:cubicBezTo>
                  <a:pt x="184" y="1"/>
                  <a:pt x="184" y="1"/>
                  <a:pt x="184" y="1"/>
                </a:cubicBezTo>
                <a:cubicBezTo>
                  <a:pt x="183" y="0"/>
                  <a:pt x="182" y="0"/>
                  <a:pt x="180" y="0"/>
                </a:cubicBez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395"/>
                  <a:pt x="0" y="395"/>
                  <a:pt x="0" y="395"/>
                </a:cubicBezTo>
                <a:cubicBezTo>
                  <a:pt x="0" y="398"/>
                  <a:pt x="2" y="400"/>
                  <a:pt x="5" y="400"/>
                </a:cubicBezTo>
                <a:cubicBezTo>
                  <a:pt x="286" y="400"/>
                  <a:pt x="286" y="400"/>
                  <a:pt x="286" y="400"/>
                </a:cubicBezTo>
                <a:cubicBezTo>
                  <a:pt x="288" y="400"/>
                  <a:pt x="290" y="398"/>
                  <a:pt x="290" y="395"/>
                </a:cubicBezTo>
                <a:cubicBezTo>
                  <a:pt x="290" y="114"/>
                  <a:pt x="290" y="114"/>
                  <a:pt x="290" y="114"/>
                </a:cubicBezTo>
                <a:cubicBezTo>
                  <a:pt x="290" y="113"/>
                  <a:pt x="290" y="112"/>
                  <a:pt x="289" y="111"/>
                </a:cubicBezTo>
                <a:close/>
                <a:moveTo>
                  <a:pt x="281" y="390"/>
                </a:moveTo>
                <a:cubicBezTo>
                  <a:pt x="9" y="390"/>
                  <a:pt x="9" y="390"/>
                  <a:pt x="9" y="390"/>
                </a:cubicBezTo>
                <a:cubicBezTo>
                  <a:pt x="9" y="9"/>
                  <a:pt x="9" y="9"/>
                  <a:pt x="9" y="9"/>
                </a:cubicBezTo>
                <a:cubicBezTo>
                  <a:pt x="178" y="9"/>
                  <a:pt x="178" y="9"/>
                  <a:pt x="178" y="9"/>
                </a:cubicBezTo>
                <a:cubicBezTo>
                  <a:pt x="281" y="116"/>
                  <a:pt x="281" y="116"/>
                  <a:pt x="281" y="116"/>
                </a:cubicBezTo>
                <a:lnTo>
                  <a:pt x="281" y="390"/>
                </a:lnTo>
                <a:close/>
                <a:moveTo>
                  <a:pt x="47" y="228"/>
                </a:moveTo>
                <a:cubicBezTo>
                  <a:pt x="47" y="314"/>
                  <a:pt x="47" y="314"/>
                  <a:pt x="47" y="314"/>
                </a:cubicBezTo>
                <a:cubicBezTo>
                  <a:pt x="47" y="342"/>
                  <a:pt x="70" y="365"/>
                  <a:pt x="98" y="365"/>
                </a:cubicBezTo>
                <a:cubicBezTo>
                  <a:pt x="190" y="365"/>
                  <a:pt x="190" y="365"/>
                  <a:pt x="190" y="365"/>
                </a:cubicBezTo>
                <a:cubicBezTo>
                  <a:pt x="219" y="365"/>
                  <a:pt x="241" y="342"/>
                  <a:pt x="241" y="314"/>
                </a:cubicBezTo>
                <a:cubicBezTo>
                  <a:pt x="241" y="228"/>
                  <a:pt x="241" y="228"/>
                  <a:pt x="241" y="228"/>
                </a:cubicBezTo>
                <a:cubicBezTo>
                  <a:pt x="241" y="200"/>
                  <a:pt x="219" y="177"/>
                  <a:pt x="190" y="177"/>
                </a:cubicBezTo>
                <a:cubicBezTo>
                  <a:pt x="98" y="177"/>
                  <a:pt x="98" y="177"/>
                  <a:pt x="98" y="177"/>
                </a:cubicBezTo>
                <a:cubicBezTo>
                  <a:pt x="70" y="177"/>
                  <a:pt x="47" y="200"/>
                  <a:pt x="47" y="228"/>
                </a:cubicBezTo>
                <a:close/>
                <a:moveTo>
                  <a:pt x="107" y="356"/>
                </a:moveTo>
                <a:cubicBezTo>
                  <a:pt x="98" y="356"/>
                  <a:pt x="98" y="356"/>
                  <a:pt x="98" y="356"/>
                </a:cubicBezTo>
                <a:cubicBezTo>
                  <a:pt x="75" y="356"/>
                  <a:pt x="57" y="337"/>
                  <a:pt x="57" y="314"/>
                </a:cubicBezTo>
                <a:cubicBezTo>
                  <a:pt x="57" y="304"/>
                  <a:pt x="57" y="304"/>
                  <a:pt x="57" y="304"/>
                </a:cubicBezTo>
                <a:cubicBezTo>
                  <a:pt x="107" y="304"/>
                  <a:pt x="107" y="304"/>
                  <a:pt x="107" y="304"/>
                </a:cubicBezTo>
                <a:lnTo>
                  <a:pt x="107" y="356"/>
                </a:lnTo>
                <a:close/>
                <a:moveTo>
                  <a:pt x="107" y="294"/>
                </a:moveTo>
                <a:cubicBezTo>
                  <a:pt x="57" y="294"/>
                  <a:pt x="57" y="294"/>
                  <a:pt x="57" y="294"/>
                </a:cubicBezTo>
                <a:cubicBezTo>
                  <a:pt x="57" y="254"/>
                  <a:pt x="57" y="254"/>
                  <a:pt x="57" y="254"/>
                </a:cubicBezTo>
                <a:cubicBezTo>
                  <a:pt x="107" y="254"/>
                  <a:pt x="107" y="254"/>
                  <a:pt x="107" y="254"/>
                </a:cubicBezTo>
                <a:lnTo>
                  <a:pt x="107" y="294"/>
                </a:lnTo>
                <a:close/>
                <a:moveTo>
                  <a:pt x="181" y="186"/>
                </a:moveTo>
                <a:cubicBezTo>
                  <a:pt x="190" y="186"/>
                  <a:pt x="190" y="186"/>
                  <a:pt x="190" y="186"/>
                </a:cubicBezTo>
                <a:cubicBezTo>
                  <a:pt x="213" y="186"/>
                  <a:pt x="232" y="205"/>
                  <a:pt x="232" y="228"/>
                </a:cubicBezTo>
                <a:cubicBezTo>
                  <a:pt x="232" y="245"/>
                  <a:pt x="232" y="245"/>
                  <a:pt x="232" y="245"/>
                </a:cubicBezTo>
                <a:cubicBezTo>
                  <a:pt x="181" y="245"/>
                  <a:pt x="181" y="245"/>
                  <a:pt x="181" y="245"/>
                </a:cubicBezTo>
                <a:lnTo>
                  <a:pt x="181" y="186"/>
                </a:lnTo>
                <a:close/>
                <a:moveTo>
                  <a:pt x="181" y="254"/>
                </a:moveTo>
                <a:cubicBezTo>
                  <a:pt x="232" y="254"/>
                  <a:pt x="232" y="254"/>
                  <a:pt x="232" y="254"/>
                </a:cubicBezTo>
                <a:cubicBezTo>
                  <a:pt x="232" y="294"/>
                  <a:pt x="232" y="294"/>
                  <a:pt x="232" y="294"/>
                </a:cubicBezTo>
                <a:cubicBezTo>
                  <a:pt x="181" y="294"/>
                  <a:pt x="181" y="294"/>
                  <a:pt x="181" y="294"/>
                </a:cubicBezTo>
                <a:lnTo>
                  <a:pt x="181" y="254"/>
                </a:lnTo>
                <a:close/>
                <a:moveTo>
                  <a:pt x="181" y="304"/>
                </a:moveTo>
                <a:cubicBezTo>
                  <a:pt x="232" y="304"/>
                  <a:pt x="232" y="304"/>
                  <a:pt x="232" y="304"/>
                </a:cubicBezTo>
                <a:cubicBezTo>
                  <a:pt x="232" y="314"/>
                  <a:pt x="232" y="314"/>
                  <a:pt x="232" y="314"/>
                </a:cubicBezTo>
                <a:cubicBezTo>
                  <a:pt x="232" y="337"/>
                  <a:pt x="213" y="356"/>
                  <a:pt x="190" y="356"/>
                </a:cubicBezTo>
                <a:cubicBezTo>
                  <a:pt x="181" y="356"/>
                  <a:pt x="181" y="356"/>
                  <a:pt x="181" y="356"/>
                </a:cubicBezTo>
                <a:lnTo>
                  <a:pt x="181" y="304"/>
                </a:lnTo>
                <a:close/>
                <a:moveTo>
                  <a:pt x="172" y="356"/>
                </a:moveTo>
                <a:cubicBezTo>
                  <a:pt x="117" y="356"/>
                  <a:pt x="117" y="356"/>
                  <a:pt x="117" y="356"/>
                </a:cubicBezTo>
                <a:cubicBezTo>
                  <a:pt x="117" y="250"/>
                  <a:pt x="117" y="250"/>
                  <a:pt x="117" y="250"/>
                </a:cubicBezTo>
                <a:cubicBezTo>
                  <a:pt x="117" y="247"/>
                  <a:pt x="115" y="245"/>
                  <a:pt x="112" y="245"/>
                </a:cubicBezTo>
                <a:cubicBezTo>
                  <a:pt x="57" y="245"/>
                  <a:pt x="57" y="245"/>
                  <a:pt x="57" y="245"/>
                </a:cubicBezTo>
                <a:cubicBezTo>
                  <a:pt x="57" y="228"/>
                  <a:pt x="57" y="228"/>
                  <a:pt x="57" y="228"/>
                </a:cubicBezTo>
                <a:cubicBezTo>
                  <a:pt x="57" y="205"/>
                  <a:pt x="75" y="186"/>
                  <a:pt x="98" y="186"/>
                </a:cubicBezTo>
                <a:cubicBezTo>
                  <a:pt x="172" y="186"/>
                  <a:pt x="172" y="186"/>
                  <a:pt x="172" y="186"/>
                </a:cubicBezTo>
                <a:lnTo>
                  <a:pt x="172" y="35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9" name="Oval 13">
            <a:extLst>
              <a:ext uri="{FF2B5EF4-FFF2-40B4-BE49-F238E27FC236}">
                <a16:creationId xmlns:a16="http://schemas.microsoft.com/office/drawing/2014/main" id="{10256D3C-186D-4E9E-9E60-078B530C7D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1643" y="4092042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0" name="Freeform 26">
            <a:extLst>
              <a:ext uri="{FF2B5EF4-FFF2-40B4-BE49-F238E27FC236}">
                <a16:creationId xmlns:a16="http://schemas.microsoft.com/office/drawing/2014/main" id="{C4E9E374-B5EC-40A0-8AC8-CF0CE04BA6B6}"/>
              </a:ext>
            </a:extLst>
          </p:cNvPr>
          <p:cNvSpPr>
            <a:spLocks noEditPoints="1"/>
          </p:cNvSpPr>
          <p:nvPr/>
        </p:nvSpPr>
        <p:spPr bwMode="auto">
          <a:xfrm>
            <a:off x="3194749" y="4238650"/>
            <a:ext cx="356747" cy="529744"/>
          </a:xfrm>
          <a:custGeom>
            <a:avLst/>
            <a:gdLst>
              <a:gd name="T0" fmla="*/ 154 w 309"/>
              <a:gd name="T1" fmla="*/ 0 h 459"/>
              <a:gd name="T2" fmla="*/ 0 w 309"/>
              <a:gd name="T3" fmla="*/ 154 h 459"/>
              <a:gd name="T4" fmla="*/ 0 w 309"/>
              <a:gd name="T5" fmla="*/ 304 h 459"/>
              <a:gd name="T6" fmla="*/ 154 w 309"/>
              <a:gd name="T7" fmla="*/ 459 h 459"/>
              <a:gd name="T8" fmla="*/ 309 w 309"/>
              <a:gd name="T9" fmla="*/ 304 h 459"/>
              <a:gd name="T10" fmla="*/ 309 w 309"/>
              <a:gd name="T11" fmla="*/ 154 h 459"/>
              <a:gd name="T12" fmla="*/ 154 w 309"/>
              <a:gd name="T13" fmla="*/ 0 h 459"/>
              <a:gd name="T14" fmla="*/ 169 w 309"/>
              <a:gd name="T15" fmla="*/ 168 h 459"/>
              <a:gd name="T16" fmla="*/ 169 w 309"/>
              <a:gd name="T17" fmla="*/ 215 h 459"/>
              <a:gd name="T18" fmla="*/ 154 w 309"/>
              <a:gd name="T19" fmla="*/ 230 h 459"/>
              <a:gd name="T20" fmla="*/ 139 w 309"/>
              <a:gd name="T21" fmla="*/ 215 h 459"/>
              <a:gd name="T22" fmla="*/ 139 w 309"/>
              <a:gd name="T23" fmla="*/ 168 h 459"/>
              <a:gd name="T24" fmla="*/ 154 w 309"/>
              <a:gd name="T25" fmla="*/ 152 h 459"/>
              <a:gd name="T26" fmla="*/ 169 w 309"/>
              <a:gd name="T27" fmla="*/ 168 h 459"/>
              <a:gd name="T28" fmla="*/ 9 w 309"/>
              <a:gd name="T29" fmla="*/ 154 h 459"/>
              <a:gd name="T30" fmla="*/ 150 w 309"/>
              <a:gd name="T31" fmla="*/ 9 h 459"/>
              <a:gd name="T32" fmla="*/ 150 w 309"/>
              <a:gd name="T33" fmla="*/ 144 h 459"/>
              <a:gd name="T34" fmla="*/ 130 w 309"/>
              <a:gd name="T35" fmla="*/ 168 h 459"/>
              <a:gd name="T36" fmla="*/ 130 w 309"/>
              <a:gd name="T37" fmla="*/ 187 h 459"/>
              <a:gd name="T38" fmla="*/ 9 w 309"/>
              <a:gd name="T39" fmla="*/ 187 h 459"/>
              <a:gd name="T40" fmla="*/ 9 w 309"/>
              <a:gd name="T41" fmla="*/ 154 h 459"/>
              <a:gd name="T42" fmla="*/ 300 w 309"/>
              <a:gd name="T43" fmla="*/ 304 h 459"/>
              <a:gd name="T44" fmla="*/ 154 w 309"/>
              <a:gd name="T45" fmla="*/ 449 h 459"/>
              <a:gd name="T46" fmla="*/ 9 w 309"/>
              <a:gd name="T47" fmla="*/ 304 h 459"/>
              <a:gd name="T48" fmla="*/ 9 w 309"/>
              <a:gd name="T49" fmla="*/ 196 h 459"/>
              <a:gd name="T50" fmla="*/ 130 w 309"/>
              <a:gd name="T51" fmla="*/ 196 h 459"/>
              <a:gd name="T52" fmla="*/ 130 w 309"/>
              <a:gd name="T53" fmla="*/ 215 h 459"/>
              <a:gd name="T54" fmla="*/ 154 w 309"/>
              <a:gd name="T55" fmla="*/ 240 h 459"/>
              <a:gd name="T56" fmla="*/ 179 w 309"/>
              <a:gd name="T57" fmla="*/ 215 h 459"/>
              <a:gd name="T58" fmla="*/ 179 w 309"/>
              <a:gd name="T59" fmla="*/ 196 h 459"/>
              <a:gd name="T60" fmla="*/ 300 w 309"/>
              <a:gd name="T61" fmla="*/ 196 h 459"/>
              <a:gd name="T62" fmla="*/ 300 w 309"/>
              <a:gd name="T63" fmla="*/ 304 h 459"/>
              <a:gd name="T64" fmla="*/ 300 w 309"/>
              <a:gd name="T65" fmla="*/ 187 h 459"/>
              <a:gd name="T66" fmla="*/ 179 w 309"/>
              <a:gd name="T67" fmla="*/ 187 h 459"/>
              <a:gd name="T68" fmla="*/ 179 w 309"/>
              <a:gd name="T69" fmla="*/ 168 h 459"/>
              <a:gd name="T70" fmla="*/ 159 w 309"/>
              <a:gd name="T71" fmla="*/ 144 h 459"/>
              <a:gd name="T72" fmla="*/ 159 w 309"/>
              <a:gd name="T73" fmla="*/ 9 h 459"/>
              <a:gd name="T74" fmla="*/ 300 w 309"/>
              <a:gd name="T75" fmla="*/ 154 h 459"/>
              <a:gd name="T76" fmla="*/ 300 w 309"/>
              <a:gd name="T77" fmla="*/ 187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09" h="459">
                <a:moveTo>
                  <a:pt x="154" y="0"/>
                </a:moveTo>
                <a:cubicBezTo>
                  <a:pt x="69" y="0"/>
                  <a:pt x="0" y="69"/>
                  <a:pt x="0" y="154"/>
                </a:cubicBezTo>
                <a:cubicBezTo>
                  <a:pt x="0" y="304"/>
                  <a:pt x="0" y="304"/>
                  <a:pt x="0" y="304"/>
                </a:cubicBezTo>
                <a:cubicBezTo>
                  <a:pt x="0" y="390"/>
                  <a:pt x="69" y="459"/>
                  <a:pt x="154" y="459"/>
                </a:cubicBezTo>
                <a:cubicBezTo>
                  <a:pt x="240" y="459"/>
                  <a:pt x="309" y="390"/>
                  <a:pt x="309" y="304"/>
                </a:cubicBezTo>
                <a:cubicBezTo>
                  <a:pt x="309" y="154"/>
                  <a:pt x="309" y="154"/>
                  <a:pt x="309" y="154"/>
                </a:cubicBezTo>
                <a:cubicBezTo>
                  <a:pt x="309" y="69"/>
                  <a:pt x="240" y="0"/>
                  <a:pt x="154" y="0"/>
                </a:cubicBezTo>
                <a:close/>
                <a:moveTo>
                  <a:pt x="169" y="168"/>
                </a:moveTo>
                <a:cubicBezTo>
                  <a:pt x="169" y="215"/>
                  <a:pt x="169" y="215"/>
                  <a:pt x="169" y="215"/>
                </a:cubicBezTo>
                <a:cubicBezTo>
                  <a:pt x="169" y="223"/>
                  <a:pt x="163" y="230"/>
                  <a:pt x="154" y="230"/>
                </a:cubicBezTo>
                <a:cubicBezTo>
                  <a:pt x="146" y="230"/>
                  <a:pt x="139" y="223"/>
                  <a:pt x="139" y="215"/>
                </a:cubicBezTo>
                <a:cubicBezTo>
                  <a:pt x="139" y="168"/>
                  <a:pt x="139" y="168"/>
                  <a:pt x="139" y="168"/>
                </a:cubicBezTo>
                <a:cubicBezTo>
                  <a:pt x="139" y="159"/>
                  <a:pt x="146" y="152"/>
                  <a:pt x="154" y="152"/>
                </a:cubicBezTo>
                <a:cubicBezTo>
                  <a:pt x="163" y="152"/>
                  <a:pt x="169" y="159"/>
                  <a:pt x="169" y="168"/>
                </a:cubicBezTo>
                <a:close/>
                <a:moveTo>
                  <a:pt x="9" y="154"/>
                </a:moveTo>
                <a:cubicBezTo>
                  <a:pt x="9" y="76"/>
                  <a:pt x="72" y="12"/>
                  <a:pt x="150" y="9"/>
                </a:cubicBezTo>
                <a:cubicBezTo>
                  <a:pt x="150" y="144"/>
                  <a:pt x="150" y="144"/>
                  <a:pt x="150" y="144"/>
                </a:cubicBezTo>
                <a:cubicBezTo>
                  <a:pt x="138" y="146"/>
                  <a:pt x="130" y="156"/>
                  <a:pt x="130" y="168"/>
                </a:cubicBezTo>
                <a:cubicBezTo>
                  <a:pt x="130" y="187"/>
                  <a:pt x="130" y="187"/>
                  <a:pt x="130" y="187"/>
                </a:cubicBezTo>
                <a:cubicBezTo>
                  <a:pt x="9" y="187"/>
                  <a:pt x="9" y="187"/>
                  <a:pt x="9" y="187"/>
                </a:cubicBezTo>
                <a:lnTo>
                  <a:pt x="9" y="154"/>
                </a:lnTo>
                <a:close/>
                <a:moveTo>
                  <a:pt x="300" y="304"/>
                </a:moveTo>
                <a:cubicBezTo>
                  <a:pt x="300" y="384"/>
                  <a:pt x="234" y="449"/>
                  <a:pt x="154" y="449"/>
                </a:cubicBezTo>
                <a:cubicBezTo>
                  <a:pt x="74" y="449"/>
                  <a:pt x="9" y="384"/>
                  <a:pt x="9" y="304"/>
                </a:cubicBezTo>
                <a:cubicBezTo>
                  <a:pt x="9" y="196"/>
                  <a:pt x="9" y="196"/>
                  <a:pt x="9" y="196"/>
                </a:cubicBezTo>
                <a:cubicBezTo>
                  <a:pt x="130" y="196"/>
                  <a:pt x="130" y="196"/>
                  <a:pt x="130" y="196"/>
                </a:cubicBezTo>
                <a:cubicBezTo>
                  <a:pt x="130" y="215"/>
                  <a:pt x="130" y="215"/>
                  <a:pt x="130" y="215"/>
                </a:cubicBezTo>
                <a:cubicBezTo>
                  <a:pt x="130" y="229"/>
                  <a:pt x="141" y="240"/>
                  <a:pt x="154" y="240"/>
                </a:cubicBezTo>
                <a:cubicBezTo>
                  <a:pt x="168" y="240"/>
                  <a:pt x="179" y="229"/>
                  <a:pt x="179" y="215"/>
                </a:cubicBezTo>
                <a:cubicBezTo>
                  <a:pt x="179" y="196"/>
                  <a:pt x="179" y="196"/>
                  <a:pt x="179" y="196"/>
                </a:cubicBezTo>
                <a:cubicBezTo>
                  <a:pt x="300" y="196"/>
                  <a:pt x="300" y="196"/>
                  <a:pt x="300" y="196"/>
                </a:cubicBezTo>
                <a:lnTo>
                  <a:pt x="300" y="304"/>
                </a:lnTo>
                <a:close/>
                <a:moveTo>
                  <a:pt x="300" y="187"/>
                </a:moveTo>
                <a:cubicBezTo>
                  <a:pt x="179" y="187"/>
                  <a:pt x="179" y="187"/>
                  <a:pt x="179" y="187"/>
                </a:cubicBezTo>
                <a:cubicBezTo>
                  <a:pt x="179" y="168"/>
                  <a:pt x="179" y="168"/>
                  <a:pt x="179" y="168"/>
                </a:cubicBezTo>
                <a:cubicBezTo>
                  <a:pt x="179" y="156"/>
                  <a:pt x="170" y="146"/>
                  <a:pt x="159" y="144"/>
                </a:cubicBezTo>
                <a:cubicBezTo>
                  <a:pt x="159" y="9"/>
                  <a:pt x="159" y="9"/>
                  <a:pt x="159" y="9"/>
                </a:cubicBezTo>
                <a:cubicBezTo>
                  <a:pt x="237" y="12"/>
                  <a:pt x="300" y="76"/>
                  <a:pt x="300" y="154"/>
                </a:cubicBezTo>
                <a:lnTo>
                  <a:pt x="300" y="18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1" name="Oval 11">
            <a:extLst>
              <a:ext uri="{FF2B5EF4-FFF2-40B4-BE49-F238E27FC236}">
                <a16:creationId xmlns:a16="http://schemas.microsoft.com/office/drawing/2014/main" id="{A52286C0-E192-4722-8617-F3A158849A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3193" y="111846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2" name="Freeform 19">
            <a:extLst>
              <a:ext uri="{FF2B5EF4-FFF2-40B4-BE49-F238E27FC236}">
                <a16:creationId xmlns:a16="http://schemas.microsoft.com/office/drawing/2014/main" id="{6CB56F80-8359-4E39-A799-66BB12722906}"/>
              </a:ext>
            </a:extLst>
          </p:cNvPr>
          <p:cNvSpPr>
            <a:spLocks noEditPoints="1"/>
          </p:cNvSpPr>
          <p:nvPr/>
        </p:nvSpPr>
        <p:spPr bwMode="auto">
          <a:xfrm>
            <a:off x="8340472" y="1252370"/>
            <a:ext cx="328891" cy="541472"/>
          </a:xfrm>
          <a:custGeom>
            <a:avLst/>
            <a:gdLst>
              <a:gd name="T0" fmla="*/ 143 w 285"/>
              <a:gd name="T1" fmla="*/ 396 h 469"/>
              <a:gd name="T2" fmla="*/ 118 w 285"/>
              <a:gd name="T3" fmla="*/ 420 h 469"/>
              <a:gd name="T4" fmla="*/ 143 w 285"/>
              <a:gd name="T5" fmla="*/ 446 h 469"/>
              <a:gd name="T6" fmla="*/ 169 w 285"/>
              <a:gd name="T7" fmla="*/ 420 h 469"/>
              <a:gd name="T8" fmla="*/ 143 w 285"/>
              <a:gd name="T9" fmla="*/ 396 h 469"/>
              <a:gd name="T10" fmla="*/ 143 w 285"/>
              <a:gd name="T11" fmla="*/ 437 h 469"/>
              <a:gd name="T12" fmla="*/ 128 w 285"/>
              <a:gd name="T13" fmla="*/ 420 h 469"/>
              <a:gd name="T14" fmla="*/ 143 w 285"/>
              <a:gd name="T15" fmla="*/ 405 h 469"/>
              <a:gd name="T16" fmla="*/ 159 w 285"/>
              <a:gd name="T17" fmla="*/ 420 h 469"/>
              <a:gd name="T18" fmla="*/ 143 w 285"/>
              <a:gd name="T19" fmla="*/ 437 h 469"/>
              <a:gd name="T20" fmla="*/ 247 w 285"/>
              <a:gd name="T21" fmla="*/ 36 h 469"/>
              <a:gd name="T22" fmla="*/ 38 w 285"/>
              <a:gd name="T23" fmla="*/ 36 h 469"/>
              <a:gd name="T24" fmla="*/ 33 w 285"/>
              <a:gd name="T25" fmla="*/ 41 h 469"/>
              <a:gd name="T26" fmla="*/ 33 w 285"/>
              <a:gd name="T27" fmla="*/ 379 h 469"/>
              <a:gd name="T28" fmla="*/ 38 w 285"/>
              <a:gd name="T29" fmla="*/ 383 h 469"/>
              <a:gd name="T30" fmla="*/ 247 w 285"/>
              <a:gd name="T31" fmla="*/ 383 h 469"/>
              <a:gd name="T32" fmla="*/ 252 w 285"/>
              <a:gd name="T33" fmla="*/ 379 h 469"/>
              <a:gd name="T34" fmla="*/ 252 w 285"/>
              <a:gd name="T35" fmla="*/ 41 h 469"/>
              <a:gd name="T36" fmla="*/ 247 w 285"/>
              <a:gd name="T37" fmla="*/ 36 h 469"/>
              <a:gd name="T38" fmla="*/ 243 w 285"/>
              <a:gd name="T39" fmla="*/ 374 h 469"/>
              <a:gd name="T40" fmla="*/ 43 w 285"/>
              <a:gd name="T41" fmla="*/ 374 h 469"/>
              <a:gd name="T42" fmla="*/ 43 w 285"/>
              <a:gd name="T43" fmla="*/ 45 h 469"/>
              <a:gd name="T44" fmla="*/ 243 w 285"/>
              <a:gd name="T45" fmla="*/ 45 h 469"/>
              <a:gd name="T46" fmla="*/ 243 w 285"/>
              <a:gd name="T47" fmla="*/ 374 h 469"/>
              <a:gd name="T48" fmla="*/ 257 w 285"/>
              <a:gd name="T49" fmla="*/ 0 h 469"/>
              <a:gd name="T50" fmla="*/ 29 w 285"/>
              <a:gd name="T51" fmla="*/ 0 h 469"/>
              <a:gd name="T52" fmla="*/ 0 w 285"/>
              <a:gd name="T53" fmla="*/ 29 h 469"/>
              <a:gd name="T54" fmla="*/ 0 w 285"/>
              <a:gd name="T55" fmla="*/ 441 h 469"/>
              <a:gd name="T56" fmla="*/ 29 w 285"/>
              <a:gd name="T57" fmla="*/ 469 h 469"/>
              <a:gd name="T58" fmla="*/ 257 w 285"/>
              <a:gd name="T59" fmla="*/ 469 h 469"/>
              <a:gd name="T60" fmla="*/ 285 w 285"/>
              <a:gd name="T61" fmla="*/ 441 h 469"/>
              <a:gd name="T62" fmla="*/ 285 w 285"/>
              <a:gd name="T63" fmla="*/ 29 h 469"/>
              <a:gd name="T64" fmla="*/ 257 w 285"/>
              <a:gd name="T65" fmla="*/ 0 h 469"/>
              <a:gd name="T66" fmla="*/ 275 w 285"/>
              <a:gd name="T67" fmla="*/ 441 h 469"/>
              <a:gd name="T68" fmla="*/ 257 w 285"/>
              <a:gd name="T69" fmla="*/ 459 h 469"/>
              <a:gd name="T70" fmla="*/ 29 w 285"/>
              <a:gd name="T71" fmla="*/ 459 h 469"/>
              <a:gd name="T72" fmla="*/ 10 w 285"/>
              <a:gd name="T73" fmla="*/ 441 h 469"/>
              <a:gd name="T74" fmla="*/ 10 w 285"/>
              <a:gd name="T75" fmla="*/ 29 h 469"/>
              <a:gd name="T76" fmla="*/ 29 w 285"/>
              <a:gd name="T77" fmla="*/ 10 h 469"/>
              <a:gd name="T78" fmla="*/ 257 w 285"/>
              <a:gd name="T79" fmla="*/ 10 h 469"/>
              <a:gd name="T80" fmla="*/ 275 w 285"/>
              <a:gd name="T81" fmla="*/ 29 h 469"/>
              <a:gd name="T82" fmla="*/ 275 w 285"/>
              <a:gd name="T83" fmla="*/ 441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85" h="469">
                <a:moveTo>
                  <a:pt x="143" y="396"/>
                </a:moveTo>
                <a:cubicBezTo>
                  <a:pt x="128" y="396"/>
                  <a:pt x="118" y="408"/>
                  <a:pt x="118" y="420"/>
                </a:cubicBezTo>
                <a:cubicBezTo>
                  <a:pt x="118" y="435"/>
                  <a:pt x="129" y="446"/>
                  <a:pt x="143" y="446"/>
                </a:cubicBezTo>
                <a:cubicBezTo>
                  <a:pt x="157" y="446"/>
                  <a:pt x="169" y="435"/>
                  <a:pt x="169" y="420"/>
                </a:cubicBezTo>
                <a:cubicBezTo>
                  <a:pt x="169" y="407"/>
                  <a:pt x="157" y="396"/>
                  <a:pt x="143" y="396"/>
                </a:cubicBezTo>
                <a:close/>
                <a:moveTo>
                  <a:pt x="143" y="437"/>
                </a:moveTo>
                <a:cubicBezTo>
                  <a:pt x="133" y="437"/>
                  <a:pt x="128" y="428"/>
                  <a:pt x="128" y="420"/>
                </a:cubicBezTo>
                <a:cubicBezTo>
                  <a:pt x="128" y="413"/>
                  <a:pt x="133" y="405"/>
                  <a:pt x="143" y="405"/>
                </a:cubicBezTo>
                <a:cubicBezTo>
                  <a:pt x="152" y="405"/>
                  <a:pt x="159" y="413"/>
                  <a:pt x="159" y="420"/>
                </a:cubicBezTo>
                <a:cubicBezTo>
                  <a:pt x="159" y="429"/>
                  <a:pt x="152" y="437"/>
                  <a:pt x="143" y="437"/>
                </a:cubicBezTo>
                <a:close/>
                <a:moveTo>
                  <a:pt x="247" y="36"/>
                </a:moveTo>
                <a:cubicBezTo>
                  <a:pt x="38" y="36"/>
                  <a:pt x="38" y="36"/>
                  <a:pt x="38" y="36"/>
                </a:cubicBezTo>
                <a:cubicBezTo>
                  <a:pt x="35" y="36"/>
                  <a:pt x="33" y="38"/>
                  <a:pt x="33" y="41"/>
                </a:cubicBezTo>
                <a:cubicBezTo>
                  <a:pt x="33" y="379"/>
                  <a:pt x="33" y="379"/>
                  <a:pt x="33" y="379"/>
                </a:cubicBezTo>
                <a:cubicBezTo>
                  <a:pt x="33" y="381"/>
                  <a:pt x="35" y="383"/>
                  <a:pt x="38" y="383"/>
                </a:cubicBezTo>
                <a:cubicBezTo>
                  <a:pt x="247" y="383"/>
                  <a:pt x="247" y="383"/>
                  <a:pt x="247" y="383"/>
                </a:cubicBezTo>
                <a:cubicBezTo>
                  <a:pt x="250" y="383"/>
                  <a:pt x="252" y="381"/>
                  <a:pt x="252" y="379"/>
                </a:cubicBezTo>
                <a:cubicBezTo>
                  <a:pt x="252" y="41"/>
                  <a:pt x="252" y="41"/>
                  <a:pt x="252" y="41"/>
                </a:cubicBezTo>
                <a:cubicBezTo>
                  <a:pt x="252" y="38"/>
                  <a:pt x="250" y="36"/>
                  <a:pt x="247" y="36"/>
                </a:cubicBezTo>
                <a:close/>
                <a:moveTo>
                  <a:pt x="243" y="374"/>
                </a:moveTo>
                <a:cubicBezTo>
                  <a:pt x="43" y="374"/>
                  <a:pt x="43" y="374"/>
                  <a:pt x="43" y="374"/>
                </a:cubicBezTo>
                <a:cubicBezTo>
                  <a:pt x="43" y="45"/>
                  <a:pt x="43" y="45"/>
                  <a:pt x="43" y="45"/>
                </a:cubicBezTo>
                <a:cubicBezTo>
                  <a:pt x="243" y="45"/>
                  <a:pt x="243" y="45"/>
                  <a:pt x="243" y="45"/>
                </a:cubicBezTo>
                <a:lnTo>
                  <a:pt x="243" y="374"/>
                </a:lnTo>
                <a:close/>
                <a:moveTo>
                  <a:pt x="257" y="0"/>
                </a:moveTo>
                <a:cubicBezTo>
                  <a:pt x="29" y="0"/>
                  <a:pt x="29" y="0"/>
                  <a:pt x="29" y="0"/>
                </a:cubicBezTo>
                <a:cubicBezTo>
                  <a:pt x="15" y="0"/>
                  <a:pt x="0" y="12"/>
                  <a:pt x="0" y="29"/>
                </a:cubicBezTo>
                <a:cubicBezTo>
                  <a:pt x="0" y="441"/>
                  <a:pt x="0" y="441"/>
                  <a:pt x="0" y="441"/>
                </a:cubicBezTo>
                <a:cubicBezTo>
                  <a:pt x="0" y="457"/>
                  <a:pt x="15" y="469"/>
                  <a:pt x="29" y="469"/>
                </a:cubicBezTo>
                <a:cubicBezTo>
                  <a:pt x="257" y="469"/>
                  <a:pt x="257" y="469"/>
                  <a:pt x="257" y="469"/>
                </a:cubicBezTo>
                <a:cubicBezTo>
                  <a:pt x="270" y="469"/>
                  <a:pt x="285" y="457"/>
                  <a:pt x="285" y="441"/>
                </a:cubicBezTo>
                <a:cubicBezTo>
                  <a:pt x="285" y="29"/>
                  <a:pt x="285" y="29"/>
                  <a:pt x="285" y="29"/>
                </a:cubicBezTo>
                <a:cubicBezTo>
                  <a:pt x="285" y="12"/>
                  <a:pt x="270" y="0"/>
                  <a:pt x="257" y="0"/>
                </a:cubicBezTo>
                <a:close/>
                <a:moveTo>
                  <a:pt x="275" y="441"/>
                </a:moveTo>
                <a:cubicBezTo>
                  <a:pt x="275" y="452"/>
                  <a:pt x="266" y="459"/>
                  <a:pt x="257" y="459"/>
                </a:cubicBezTo>
                <a:cubicBezTo>
                  <a:pt x="29" y="459"/>
                  <a:pt x="29" y="459"/>
                  <a:pt x="29" y="459"/>
                </a:cubicBezTo>
                <a:cubicBezTo>
                  <a:pt x="20" y="459"/>
                  <a:pt x="10" y="452"/>
                  <a:pt x="10" y="441"/>
                </a:cubicBezTo>
                <a:cubicBezTo>
                  <a:pt x="10" y="29"/>
                  <a:pt x="10" y="29"/>
                  <a:pt x="10" y="29"/>
                </a:cubicBezTo>
                <a:cubicBezTo>
                  <a:pt x="10" y="17"/>
                  <a:pt x="20" y="10"/>
                  <a:pt x="29" y="10"/>
                </a:cubicBezTo>
                <a:cubicBezTo>
                  <a:pt x="257" y="10"/>
                  <a:pt x="257" y="10"/>
                  <a:pt x="257" y="10"/>
                </a:cubicBezTo>
                <a:cubicBezTo>
                  <a:pt x="266" y="10"/>
                  <a:pt x="275" y="17"/>
                  <a:pt x="275" y="29"/>
                </a:cubicBezTo>
                <a:lnTo>
                  <a:pt x="275" y="4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3" name="Oval 8">
            <a:extLst>
              <a:ext uri="{FF2B5EF4-FFF2-40B4-BE49-F238E27FC236}">
                <a16:creationId xmlns:a16="http://schemas.microsoft.com/office/drawing/2014/main" id="{8823F5A1-6B0F-40CA-AFC5-E3E1325DD1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00532" y="2124123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4" name="Freeform 17">
            <a:extLst>
              <a:ext uri="{FF2B5EF4-FFF2-40B4-BE49-F238E27FC236}">
                <a16:creationId xmlns:a16="http://schemas.microsoft.com/office/drawing/2014/main" id="{BCD3BA3A-EEC4-4E6C-B95D-49A6567DF9BA}"/>
              </a:ext>
            </a:extLst>
          </p:cNvPr>
          <p:cNvSpPr>
            <a:spLocks noEditPoints="1"/>
          </p:cNvSpPr>
          <p:nvPr/>
        </p:nvSpPr>
        <p:spPr bwMode="auto">
          <a:xfrm>
            <a:off x="8273530" y="2258025"/>
            <a:ext cx="476965" cy="554179"/>
          </a:xfrm>
          <a:custGeom>
            <a:avLst/>
            <a:gdLst>
              <a:gd name="T0" fmla="*/ 407 w 413"/>
              <a:gd name="T1" fmla="*/ 364 h 480"/>
              <a:gd name="T2" fmla="*/ 394 w 413"/>
              <a:gd name="T3" fmla="*/ 296 h 480"/>
              <a:gd name="T4" fmla="*/ 353 w 413"/>
              <a:gd name="T5" fmla="*/ 233 h 480"/>
              <a:gd name="T6" fmla="*/ 344 w 413"/>
              <a:gd name="T7" fmla="*/ 29 h 480"/>
              <a:gd name="T8" fmla="*/ 28 w 413"/>
              <a:gd name="T9" fmla="*/ 0 h 480"/>
              <a:gd name="T10" fmla="*/ 0 w 413"/>
              <a:gd name="T11" fmla="*/ 441 h 480"/>
              <a:gd name="T12" fmla="*/ 294 w 413"/>
              <a:gd name="T13" fmla="*/ 469 h 480"/>
              <a:gd name="T14" fmla="*/ 303 w 413"/>
              <a:gd name="T15" fmla="*/ 480 h 480"/>
              <a:gd name="T16" fmla="*/ 307 w 413"/>
              <a:gd name="T17" fmla="*/ 474 h 480"/>
              <a:gd name="T18" fmla="*/ 196 w 413"/>
              <a:gd name="T19" fmla="*/ 367 h 480"/>
              <a:gd name="T20" fmla="*/ 174 w 413"/>
              <a:gd name="T21" fmla="*/ 331 h 480"/>
              <a:gd name="T22" fmla="*/ 195 w 413"/>
              <a:gd name="T23" fmla="*/ 334 h 480"/>
              <a:gd name="T24" fmla="*/ 239 w 413"/>
              <a:gd name="T25" fmla="*/ 363 h 480"/>
              <a:gd name="T26" fmla="*/ 247 w 413"/>
              <a:gd name="T27" fmla="*/ 339 h 480"/>
              <a:gd name="T28" fmla="*/ 195 w 413"/>
              <a:gd name="T29" fmla="*/ 189 h 480"/>
              <a:gd name="T30" fmla="*/ 217 w 413"/>
              <a:gd name="T31" fmla="*/ 201 h 480"/>
              <a:gd name="T32" fmla="*/ 251 w 413"/>
              <a:gd name="T33" fmla="*/ 274 h 480"/>
              <a:gd name="T34" fmla="*/ 260 w 413"/>
              <a:gd name="T35" fmla="*/ 271 h 480"/>
              <a:gd name="T36" fmla="*/ 292 w 413"/>
              <a:gd name="T37" fmla="*/ 259 h 480"/>
              <a:gd name="T38" fmla="*/ 315 w 413"/>
              <a:gd name="T39" fmla="*/ 246 h 480"/>
              <a:gd name="T40" fmla="*/ 335 w 413"/>
              <a:gd name="T41" fmla="*/ 252 h 480"/>
              <a:gd name="T42" fmla="*/ 353 w 413"/>
              <a:gd name="T43" fmla="*/ 243 h 480"/>
              <a:gd name="T44" fmla="*/ 385 w 413"/>
              <a:gd name="T45" fmla="*/ 298 h 480"/>
              <a:gd name="T46" fmla="*/ 398 w 413"/>
              <a:gd name="T47" fmla="*/ 363 h 480"/>
              <a:gd name="T48" fmla="*/ 410 w 413"/>
              <a:gd name="T49" fmla="*/ 419 h 480"/>
              <a:gd name="T50" fmla="*/ 302 w 413"/>
              <a:gd name="T51" fmla="*/ 240 h 480"/>
              <a:gd name="T52" fmla="*/ 260 w 413"/>
              <a:gd name="T53" fmla="*/ 254 h 480"/>
              <a:gd name="T54" fmla="*/ 226 w 413"/>
              <a:gd name="T55" fmla="*/ 198 h 480"/>
              <a:gd name="T56" fmla="*/ 191 w 413"/>
              <a:gd name="T57" fmla="*/ 180 h 480"/>
              <a:gd name="T58" fmla="*/ 238 w 413"/>
              <a:gd name="T59" fmla="*/ 342 h 480"/>
              <a:gd name="T60" fmla="*/ 201 w 413"/>
              <a:gd name="T61" fmla="*/ 326 h 480"/>
              <a:gd name="T62" fmla="*/ 166 w 413"/>
              <a:gd name="T63" fmla="*/ 325 h 480"/>
              <a:gd name="T64" fmla="*/ 190 w 413"/>
              <a:gd name="T65" fmla="*/ 374 h 480"/>
              <a:gd name="T66" fmla="*/ 42 w 413"/>
              <a:gd name="T67" fmla="*/ 378 h 480"/>
              <a:gd name="T68" fmla="*/ 302 w 413"/>
              <a:gd name="T69" fmla="*/ 45 h 480"/>
              <a:gd name="T70" fmla="*/ 335 w 413"/>
              <a:gd name="T71" fmla="*/ 240 h 480"/>
              <a:gd name="T72" fmla="*/ 314 w 413"/>
              <a:gd name="T73" fmla="*/ 237 h 480"/>
              <a:gd name="T74" fmla="*/ 312 w 413"/>
              <a:gd name="T75" fmla="*/ 41 h 480"/>
              <a:gd name="T76" fmla="*/ 37 w 413"/>
              <a:gd name="T77" fmla="*/ 36 h 480"/>
              <a:gd name="T78" fmla="*/ 32 w 413"/>
              <a:gd name="T79" fmla="*/ 383 h 480"/>
              <a:gd name="T80" fmla="*/ 206 w 413"/>
              <a:gd name="T81" fmla="*/ 388 h 480"/>
              <a:gd name="T82" fmla="*/ 288 w 413"/>
              <a:gd name="T83" fmla="*/ 459 h 480"/>
              <a:gd name="T84" fmla="*/ 9 w 413"/>
              <a:gd name="T85" fmla="*/ 441 h 480"/>
              <a:gd name="T86" fmla="*/ 28 w 413"/>
              <a:gd name="T87" fmla="*/ 10 h 480"/>
              <a:gd name="T88" fmla="*/ 335 w 413"/>
              <a:gd name="T89" fmla="*/ 29 h 480"/>
              <a:gd name="T90" fmla="*/ 172 w 413"/>
              <a:gd name="T91" fmla="*/ 449 h 480"/>
              <a:gd name="T92" fmla="*/ 172 w 413"/>
              <a:gd name="T93" fmla="*/ 399 h 480"/>
              <a:gd name="T94" fmla="*/ 172 w 413"/>
              <a:gd name="T95" fmla="*/ 449 h 480"/>
              <a:gd name="T96" fmla="*/ 189 w 413"/>
              <a:gd name="T97" fmla="*/ 423 h 480"/>
              <a:gd name="T98" fmla="*/ 157 w 413"/>
              <a:gd name="T99" fmla="*/ 423 h 4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13" h="480">
                <a:moveTo>
                  <a:pt x="412" y="412"/>
                </a:moveTo>
                <a:cubicBezTo>
                  <a:pt x="405" y="398"/>
                  <a:pt x="406" y="380"/>
                  <a:pt x="407" y="364"/>
                </a:cubicBezTo>
                <a:cubicBezTo>
                  <a:pt x="408" y="351"/>
                  <a:pt x="409" y="341"/>
                  <a:pt x="405" y="333"/>
                </a:cubicBezTo>
                <a:cubicBezTo>
                  <a:pt x="402" y="327"/>
                  <a:pt x="398" y="311"/>
                  <a:pt x="394" y="296"/>
                </a:cubicBezTo>
                <a:cubicBezTo>
                  <a:pt x="390" y="279"/>
                  <a:pt x="386" y="263"/>
                  <a:pt x="382" y="255"/>
                </a:cubicBezTo>
                <a:cubicBezTo>
                  <a:pt x="375" y="241"/>
                  <a:pt x="365" y="233"/>
                  <a:pt x="353" y="233"/>
                </a:cubicBezTo>
                <a:cubicBezTo>
                  <a:pt x="350" y="233"/>
                  <a:pt x="347" y="234"/>
                  <a:pt x="344" y="234"/>
                </a:cubicBezTo>
                <a:cubicBezTo>
                  <a:pt x="344" y="29"/>
                  <a:pt x="344" y="29"/>
                  <a:pt x="344" y="29"/>
                </a:cubicBezTo>
                <a:cubicBezTo>
                  <a:pt x="344" y="12"/>
                  <a:pt x="330" y="0"/>
                  <a:pt x="316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14" y="0"/>
                  <a:pt x="0" y="12"/>
                  <a:pt x="0" y="29"/>
                </a:cubicBezTo>
                <a:cubicBezTo>
                  <a:pt x="0" y="441"/>
                  <a:pt x="0" y="441"/>
                  <a:pt x="0" y="441"/>
                </a:cubicBezTo>
                <a:cubicBezTo>
                  <a:pt x="0" y="457"/>
                  <a:pt x="14" y="469"/>
                  <a:pt x="28" y="469"/>
                </a:cubicBezTo>
                <a:cubicBezTo>
                  <a:pt x="294" y="469"/>
                  <a:pt x="294" y="469"/>
                  <a:pt x="294" y="469"/>
                </a:cubicBezTo>
                <a:cubicBezTo>
                  <a:pt x="295" y="472"/>
                  <a:pt x="297" y="475"/>
                  <a:pt x="298" y="478"/>
                </a:cubicBezTo>
                <a:cubicBezTo>
                  <a:pt x="299" y="479"/>
                  <a:pt x="301" y="480"/>
                  <a:pt x="303" y="480"/>
                </a:cubicBezTo>
                <a:cubicBezTo>
                  <a:pt x="303" y="480"/>
                  <a:pt x="304" y="480"/>
                  <a:pt x="305" y="480"/>
                </a:cubicBezTo>
                <a:cubicBezTo>
                  <a:pt x="307" y="479"/>
                  <a:pt x="308" y="476"/>
                  <a:pt x="307" y="474"/>
                </a:cubicBezTo>
                <a:cubicBezTo>
                  <a:pt x="294" y="446"/>
                  <a:pt x="273" y="422"/>
                  <a:pt x="259" y="416"/>
                </a:cubicBezTo>
                <a:cubicBezTo>
                  <a:pt x="251" y="414"/>
                  <a:pt x="217" y="385"/>
                  <a:pt x="196" y="367"/>
                </a:cubicBezTo>
                <a:cubicBezTo>
                  <a:pt x="187" y="359"/>
                  <a:pt x="179" y="352"/>
                  <a:pt x="175" y="349"/>
                </a:cubicBezTo>
                <a:cubicBezTo>
                  <a:pt x="168" y="344"/>
                  <a:pt x="170" y="335"/>
                  <a:pt x="174" y="331"/>
                </a:cubicBezTo>
                <a:cubicBezTo>
                  <a:pt x="175" y="329"/>
                  <a:pt x="181" y="323"/>
                  <a:pt x="188" y="328"/>
                </a:cubicBezTo>
                <a:cubicBezTo>
                  <a:pt x="190" y="329"/>
                  <a:pt x="192" y="331"/>
                  <a:pt x="195" y="334"/>
                </a:cubicBezTo>
                <a:cubicBezTo>
                  <a:pt x="206" y="342"/>
                  <a:pt x="222" y="354"/>
                  <a:pt x="231" y="361"/>
                </a:cubicBezTo>
                <a:cubicBezTo>
                  <a:pt x="234" y="364"/>
                  <a:pt x="238" y="364"/>
                  <a:pt x="239" y="363"/>
                </a:cubicBezTo>
                <a:cubicBezTo>
                  <a:pt x="245" y="361"/>
                  <a:pt x="247" y="350"/>
                  <a:pt x="247" y="341"/>
                </a:cubicBezTo>
                <a:cubicBezTo>
                  <a:pt x="247" y="340"/>
                  <a:pt x="247" y="339"/>
                  <a:pt x="247" y="339"/>
                </a:cubicBezTo>
                <a:cubicBezTo>
                  <a:pt x="188" y="215"/>
                  <a:pt x="188" y="215"/>
                  <a:pt x="188" y="215"/>
                </a:cubicBezTo>
                <a:cubicBezTo>
                  <a:pt x="183" y="205"/>
                  <a:pt x="186" y="193"/>
                  <a:pt x="195" y="189"/>
                </a:cubicBezTo>
                <a:cubicBezTo>
                  <a:pt x="199" y="187"/>
                  <a:pt x="203" y="187"/>
                  <a:pt x="208" y="189"/>
                </a:cubicBezTo>
                <a:cubicBezTo>
                  <a:pt x="212" y="191"/>
                  <a:pt x="215" y="195"/>
                  <a:pt x="217" y="201"/>
                </a:cubicBezTo>
                <a:cubicBezTo>
                  <a:pt x="217" y="201"/>
                  <a:pt x="217" y="201"/>
                  <a:pt x="217" y="202"/>
                </a:cubicBezTo>
                <a:cubicBezTo>
                  <a:pt x="251" y="274"/>
                  <a:pt x="251" y="274"/>
                  <a:pt x="251" y="274"/>
                </a:cubicBezTo>
                <a:cubicBezTo>
                  <a:pt x="252" y="276"/>
                  <a:pt x="255" y="277"/>
                  <a:pt x="257" y="276"/>
                </a:cubicBezTo>
                <a:cubicBezTo>
                  <a:pt x="259" y="276"/>
                  <a:pt x="260" y="274"/>
                  <a:pt x="260" y="271"/>
                </a:cubicBezTo>
                <a:cubicBezTo>
                  <a:pt x="260" y="267"/>
                  <a:pt x="261" y="264"/>
                  <a:pt x="265" y="261"/>
                </a:cubicBezTo>
                <a:cubicBezTo>
                  <a:pt x="272" y="257"/>
                  <a:pt x="284" y="256"/>
                  <a:pt x="292" y="259"/>
                </a:cubicBezTo>
                <a:cubicBezTo>
                  <a:pt x="294" y="260"/>
                  <a:pt x="297" y="259"/>
                  <a:pt x="298" y="257"/>
                </a:cubicBezTo>
                <a:cubicBezTo>
                  <a:pt x="301" y="250"/>
                  <a:pt x="309" y="247"/>
                  <a:pt x="315" y="246"/>
                </a:cubicBezTo>
                <a:cubicBezTo>
                  <a:pt x="322" y="245"/>
                  <a:pt x="328" y="247"/>
                  <a:pt x="331" y="251"/>
                </a:cubicBezTo>
                <a:cubicBezTo>
                  <a:pt x="332" y="252"/>
                  <a:pt x="334" y="253"/>
                  <a:pt x="335" y="252"/>
                </a:cubicBezTo>
                <a:cubicBezTo>
                  <a:pt x="337" y="252"/>
                  <a:pt x="338" y="251"/>
                  <a:pt x="339" y="250"/>
                </a:cubicBezTo>
                <a:cubicBezTo>
                  <a:pt x="341" y="245"/>
                  <a:pt x="347" y="242"/>
                  <a:pt x="353" y="243"/>
                </a:cubicBezTo>
                <a:cubicBezTo>
                  <a:pt x="358" y="243"/>
                  <a:pt x="367" y="245"/>
                  <a:pt x="373" y="259"/>
                </a:cubicBezTo>
                <a:cubicBezTo>
                  <a:pt x="377" y="266"/>
                  <a:pt x="381" y="283"/>
                  <a:pt x="385" y="298"/>
                </a:cubicBezTo>
                <a:cubicBezTo>
                  <a:pt x="389" y="315"/>
                  <a:pt x="393" y="330"/>
                  <a:pt x="397" y="337"/>
                </a:cubicBezTo>
                <a:cubicBezTo>
                  <a:pt x="399" y="342"/>
                  <a:pt x="398" y="353"/>
                  <a:pt x="398" y="363"/>
                </a:cubicBezTo>
                <a:cubicBezTo>
                  <a:pt x="397" y="379"/>
                  <a:pt x="396" y="399"/>
                  <a:pt x="404" y="416"/>
                </a:cubicBezTo>
                <a:cubicBezTo>
                  <a:pt x="405" y="419"/>
                  <a:pt x="408" y="420"/>
                  <a:pt x="410" y="419"/>
                </a:cubicBezTo>
                <a:cubicBezTo>
                  <a:pt x="412" y="417"/>
                  <a:pt x="413" y="415"/>
                  <a:pt x="412" y="412"/>
                </a:cubicBezTo>
                <a:close/>
                <a:moveTo>
                  <a:pt x="302" y="240"/>
                </a:moveTo>
                <a:cubicBezTo>
                  <a:pt x="298" y="243"/>
                  <a:pt x="294" y="246"/>
                  <a:pt x="292" y="249"/>
                </a:cubicBezTo>
                <a:cubicBezTo>
                  <a:pt x="281" y="246"/>
                  <a:pt x="268" y="248"/>
                  <a:pt x="260" y="254"/>
                </a:cubicBezTo>
                <a:cubicBezTo>
                  <a:pt x="258" y="255"/>
                  <a:pt x="256" y="257"/>
                  <a:pt x="254" y="259"/>
                </a:cubicBezTo>
                <a:cubicBezTo>
                  <a:pt x="226" y="198"/>
                  <a:pt x="226" y="198"/>
                  <a:pt x="226" y="198"/>
                </a:cubicBezTo>
                <a:cubicBezTo>
                  <a:pt x="224" y="190"/>
                  <a:pt x="218" y="184"/>
                  <a:pt x="212" y="181"/>
                </a:cubicBezTo>
                <a:cubicBezTo>
                  <a:pt x="205" y="177"/>
                  <a:pt x="197" y="177"/>
                  <a:pt x="191" y="180"/>
                </a:cubicBezTo>
                <a:cubicBezTo>
                  <a:pt x="178" y="187"/>
                  <a:pt x="173" y="204"/>
                  <a:pt x="180" y="219"/>
                </a:cubicBezTo>
                <a:cubicBezTo>
                  <a:pt x="238" y="342"/>
                  <a:pt x="238" y="342"/>
                  <a:pt x="238" y="342"/>
                </a:cubicBezTo>
                <a:cubicBezTo>
                  <a:pt x="237" y="346"/>
                  <a:pt x="237" y="351"/>
                  <a:pt x="236" y="353"/>
                </a:cubicBezTo>
                <a:cubicBezTo>
                  <a:pt x="227" y="345"/>
                  <a:pt x="212" y="334"/>
                  <a:pt x="201" y="326"/>
                </a:cubicBezTo>
                <a:cubicBezTo>
                  <a:pt x="198" y="324"/>
                  <a:pt x="195" y="322"/>
                  <a:pt x="193" y="320"/>
                </a:cubicBezTo>
                <a:cubicBezTo>
                  <a:pt x="184" y="314"/>
                  <a:pt x="173" y="316"/>
                  <a:pt x="166" y="325"/>
                </a:cubicBezTo>
                <a:cubicBezTo>
                  <a:pt x="160" y="334"/>
                  <a:pt x="158" y="348"/>
                  <a:pt x="169" y="357"/>
                </a:cubicBezTo>
                <a:cubicBezTo>
                  <a:pt x="173" y="360"/>
                  <a:pt x="181" y="366"/>
                  <a:pt x="190" y="374"/>
                </a:cubicBezTo>
                <a:cubicBezTo>
                  <a:pt x="192" y="376"/>
                  <a:pt x="193" y="377"/>
                  <a:pt x="195" y="378"/>
                </a:cubicBezTo>
                <a:cubicBezTo>
                  <a:pt x="42" y="378"/>
                  <a:pt x="42" y="378"/>
                  <a:pt x="42" y="378"/>
                </a:cubicBezTo>
                <a:cubicBezTo>
                  <a:pt x="42" y="45"/>
                  <a:pt x="42" y="45"/>
                  <a:pt x="42" y="45"/>
                </a:cubicBezTo>
                <a:cubicBezTo>
                  <a:pt x="302" y="45"/>
                  <a:pt x="302" y="45"/>
                  <a:pt x="302" y="45"/>
                </a:cubicBezTo>
                <a:lnTo>
                  <a:pt x="302" y="240"/>
                </a:lnTo>
                <a:close/>
                <a:moveTo>
                  <a:pt x="335" y="240"/>
                </a:moveTo>
                <a:cubicBezTo>
                  <a:pt x="335" y="240"/>
                  <a:pt x="334" y="241"/>
                  <a:pt x="334" y="241"/>
                </a:cubicBezTo>
                <a:cubicBezTo>
                  <a:pt x="329" y="237"/>
                  <a:pt x="322" y="236"/>
                  <a:pt x="314" y="237"/>
                </a:cubicBezTo>
                <a:cubicBezTo>
                  <a:pt x="313" y="237"/>
                  <a:pt x="313" y="237"/>
                  <a:pt x="312" y="237"/>
                </a:cubicBezTo>
                <a:cubicBezTo>
                  <a:pt x="312" y="41"/>
                  <a:pt x="312" y="41"/>
                  <a:pt x="312" y="41"/>
                </a:cubicBezTo>
                <a:cubicBezTo>
                  <a:pt x="312" y="38"/>
                  <a:pt x="309" y="36"/>
                  <a:pt x="307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4" y="36"/>
                  <a:pt x="32" y="38"/>
                  <a:pt x="32" y="41"/>
                </a:cubicBezTo>
                <a:cubicBezTo>
                  <a:pt x="32" y="383"/>
                  <a:pt x="32" y="383"/>
                  <a:pt x="32" y="383"/>
                </a:cubicBezTo>
                <a:cubicBezTo>
                  <a:pt x="32" y="386"/>
                  <a:pt x="34" y="388"/>
                  <a:pt x="37" y="388"/>
                </a:cubicBezTo>
                <a:cubicBezTo>
                  <a:pt x="206" y="388"/>
                  <a:pt x="206" y="388"/>
                  <a:pt x="206" y="388"/>
                </a:cubicBezTo>
                <a:cubicBezTo>
                  <a:pt x="229" y="408"/>
                  <a:pt x="248" y="423"/>
                  <a:pt x="255" y="425"/>
                </a:cubicBezTo>
                <a:cubicBezTo>
                  <a:pt x="263" y="428"/>
                  <a:pt x="277" y="441"/>
                  <a:pt x="288" y="459"/>
                </a:cubicBezTo>
                <a:cubicBezTo>
                  <a:pt x="28" y="459"/>
                  <a:pt x="28" y="459"/>
                  <a:pt x="28" y="459"/>
                </a:cubicBezTo>
                <a:cubicBezTo>
                  <a:pt x="19" y="459"/>
                  <a:pt x="9" y="452"/>
                  <a:pt x="9" y="441"/>
                </a:cubicBezTo>
                <a:cubicBezTo>
                  <a:pt x="9" y="29"/>
                  <a:pt x="9" y="29"/>
                  <a:pt x="9" y="29"/>
                </a:cubicBezTo>
                <a:cubicBezTo>
                  <a:pt x="9" y="17"/>
                  <a:pt x="19" y="10"/>
                  <a:pt x="28" y="10"/>
                </a:cubicBezTo>
                <a:cubicBezTo>
                  <a:pt x="316" y="10"/>
                  <a:pt x="316" y="10"/>
                  <a:pt x="316" y="10"/>
                </a:cubicBezTo>
                <a:cubicBezTo>
                  <a:pt x="325" y="10"/>
                  <a:pt x="335" y="17"/>
                  <a:pt x="335" y="29"/>
                </a:cubicBezTo>
                <a:lnTo>
                  <a:pt x="335" y="240"/>
                </a:lnTo>
                <a:close/>
                <a:moveTo>
                  <a:pt x="172" y="449"/>
                </a:moveTo>
                <a:cubicBezTo>
                  <a:pt x="186" y="449"/>
                  <a:pt x="198" y="438"/>
                  <a:pt x="198" y="423"/>
                </a:cubicBezTo>
                <a:cubicBezTo>
                  <a:pt x="198" y="410"/>
                  <a:pt x="186" y="399"/>
                  <a:pt x="172" y="399"/>
                </a:cubicBezTo>
                <a:cubicBezTo>
                  <a:pt x="157" y="399"/>
                  <a:pt x="148" y="411"/>
                  <a:pt x="148" y="423"/>
                </a:cubicBezTo>
                <a:cubicBezTo>
                  <a:pt x="148" y="438"/>
                  <a:pt x="158" y="449"/>
                  <a:pt x="172" y="449"/>
                </a:cubicBezTo>
                <a:close/>
                <a:moveTo>
                  <a:pt x="172" y="408"/>
                </a:moveTo>
                <a:cubicBezTo>
                  <a:pt x="181" y="408"/>
                  <a:pt x="189" y="416"/>
                  <a:pt x="189" y="423"/>
                </a:cubicBezTo>
                <a:cubicBezTo>
                  <a:pt x="189" y="432"/>
                  <a:pt x="181" y="440"/>
                  <a:pt x="172" y="440"/>
                </a:cubicBezTo>
                <a:cubicBezTo>
                  <a:pt x="162" y="440"/>
                  <a:pt x="157" y="431"/>
                  <a:pt x="157" y="423"/>
                </a:cubicBezTo>
                <a:cubicBezTo>
                  <a:pt x="157" y="416"/>
                  <a:pt x="163" y="408"/>
                  <a:pt x="172" y="40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6" name="Oval 16">
            <a:extLst>
              <a:ext uri="{FF2B5EF4-FFF2-40B4-BE49-F238E27FC236}">
                <a16:creationId xmlns:a16="http://schemas.microsoft.com/office/drawing/2014/main" id="{8AE96D85-BBB8-4CD1-B9D9-9D180A5C65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2154" y="3097169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7" name="Freeform 27">
            <a:extLst>
              <a:ext uri="{FF2B5EF4-FFF2-40B4-BE49-F238E27FC236}">
                <a16:creationId xmlns:a16="http://schemas.microsoft.com/office/drawing/2014/main" id="{662CA5AC-1F77-4848-B6EA-C5137A30F890}"/>
              </a:ext>
            </a:extLst>
          </p:cNvPr>
          <p:cNvSpPr>
            <a:spLocks noEditPoints="1"/>
          </p:cNvSpPr>
          <p:nvPr/>
        </p:nvSpPr>
        <p:spPr bwMode="auto">
          <a:xfrm>
            <a:off x="8263095" y="3330626"/>
            <a:ext cx="480101" cy="373629"/>
          </a:xfrm>
          <a:custGeom>
            <a:avLst/>
            <a:gdLst>
              <a:gd name="T0" fmla="*/ 249 w 416"/>
              <a:gd name="T1" fmla="*/ 0 h 324"/>
              <a:gd name="T2" fmla="*/ 138 w 416"/>
              <a:gd name="T3" fmla="*/ 45 h 324"/>
              <a:gd name="T4" fmla="*/ 0 w 416"/>
              <a:gd name="T5" fmla="*/ 186 h 324"/>
              <a:gd name="T6" fmla="*/ 185 w 416"/>
              <a:gd name="T7" fmla="*/ 266 h 324"/>
              <a:gd name="T8" fmla="*/ 205 w 416"/>
              <a:gd name="T9" fmla="*/ 324 h 324"/>
              <a:gd name="T10" fmla="*/ 339 w 416"/>
              <a:gd name="T11" fmla="*/ 304 h 324"/>
              <a:gd name="T12" fmla="*/ 345 w 416"/>
              <a:gd name="T13" fmla="*/ 266 h 324"/>
              <a:gd name="T14" fmla="*/ 354 w 416"/>
              <a:gd name="T15" fmla="*/ 108 h 324"/>
              <a:gd name="T16" fmla="*/ 318 w 416"/>
              <a:gd name="T17" fmla="*/ 314 h 324"/>
              <a:gd name="T18" fmla="*/ 195 w 416"/>
              <a:gd name="T19" fmla="*/ 304 h 324"/>
              <a:gd name="T20" fmla="*/ 205 w 416"/>
              <a:gd name="T21" fmla="*/ 203 h 324"/>
              <a:gd name="T22" fmla="*/ 329 w 416"/>
              <a:gd name="T23" fmla="*/ 214 h 324"/>
              <a:gd name="T24" fmla="*/ 219 w 416"/>
              <a:gd name="T25" fmla="*/ 194 h 324"/>
              <a:gd name="T26" fmla="*/ 262 w 416"/>
              <a:gd name="T27" fmla="*/ 129 h 324"/>
              <a:gd name="T28" fmla="*/ 304 w 416"/>
              <a:gd name="T29" fmla="*/ 194 h 324"/>
              <a:gd name="T30" fmla="*/ 344 w 416"/>
              <a:gd name="T31" fmla="*/ 257 h 324"/>
              <a:gd name="T32" fmla="*/ 339 w 416"/>
              <a:gd name="T33" fmla="*/ 214 h 324"/>
              <a:gd name="T34" fmla="*/ 314 w 416"/>
              <a:gd name="T35" fmla="*/ 194 h 324"/>
              <a:gd name="T36" fmla="*/ 262 w 416"/>
              <a:gd name="T37" fmla="*/ 120 h 324"/>
              <a:gd name="T38" fmla="*/ 210 w 416"/>
              <a:gd name="T39" fmla="*/ 194 h 324"/>
              <a:gd name="T40" fmla="*/ 185 w 416"/>
              <a:gd name="T41" fmla="*/ 214 h 324"/>
              <a:gd name="T42" fmla="*/ 77 w 416"/>
              <a:gd name="T43" fmla="*/ 257 h 324"/>
              <a:gd name="T44" fmla="*/ 76 w 416"/>
              <a:gd name="T45" fmla="*/ 115 h 324"/>
              <a:gd name="T46" fmla="*/ 138 w 416"/>
              <a:gd name="T47" fmla="*/ 54 h 324"/>
              <a:gd name="T48" fmla="*/ 167 w 416"/>
              <a:gd name="T49" fmla="*/ 57 h 324"/>
              <a:gd name="T50" fmla="*/ 345 w 416"/>
              <a:gd name="T51" fmla="*/ 112 h 324"/>
              <a:gd name="T52" fmla="*/ 407 w 416"/>
              <a:gd name="T53" fmla="*/ 186 h 324"/>
              <a:gd name="T54" fmla="*/ 262 w 416"/>
              <a:gd name="T55" fmla="*/ 237 h 324"/>
              <a:gd name="T56" fmla="*/ 257 w 416"/>
              <a:gd name="T57" fmla="*/ 261 h 324"/>
              <a:gd name="T58" fmla="*/ 262 w 416"/>
              <a:gd name="T59" fmla="*/ 279 h 324"/>
              <a:gd name="T60" fmla="*/ 267 w 416"/>
              <a:gd name="T61" fmla="*/ 261 h 324"/>
              <a:gd name="T62" fmla="*/ 262 w 416"/>
              <a:gd name="T63" fmla="*/ 237 h 324"/>
              <a:gd name="T64" fmla="*/ 259 w 416"/>
              <a:gd name="T65" fmla="*/ 249 h 324"/>
              <a:gd name="T66" fmla="*/ 265 w 416"/>
              <a:gd name="T67" fmla="*/ 249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16" h="324">
                <a:moveTo>
                  <a:pt x="354" y="108"/>
                </a:moveTo>
                <a:cubicBezTo>
                  <a:pt x="350" y="48"/>
                  <a:pt x="304" y="0"/>
                  <a:pt x="249" y="0"/>
                </a:cubicBezTo>
                <a:cubicBezTo>
                  <a:pt x="213" y="0"/>
                  <a:pt x="182" y="18"/>
                  <a:pt x="161" y="49"/>
                </a:cubicBezTo>
                <a:cubicBezTo>
                  <a:pt x="153" y="46"/>
                  <a:pt x="146" y="45"/>
                  <a:pt x="138" y="45"/>
                </a:cubicBezTo>
                <a:cubicBezTo>
                  <a:pt x="102" y="45"/>
                  <a:pt x="73" y="71"/>
                  <a:pt x="71" y="106"/>
                </a:cubicBezTo>
                <a:cubicBezTo>
                  <a:pt x="32" y="110"/>
                  <a:pt x="0" y="145"/>
                  <a:pt x="0" y="186"/>
                </a:cubicBezTo>
                <a:cubicBezTo>
                  <a:pt x="0" y="231"/>
                  <a:pt x="34" y="266"/>
                  <a:pt x="77" y="266"/>
                </a:cubicBezTo>
                <a:cubicBezTo>
                  <a:pt x="185" y="266"/>
                  <a:pt x="185" y="266"/>
                  <a:pt x="185" y="266"/>
                </a:cubicBezTo>
                <a:cubicBezTo>
                  <a:pt x="185" y="304"/>
                  <a:pt x="185" y="304"/>
                  <a:pt x="185" y="304"/>
                </a:cubicBezTo>
                <a:cubicBezTo>
                  <a:pt x="185" y="315"/>
                  <a:pt x="194" y="324"/>
                  <a:pt x="205" y="324"/>
                </a:cubicBezTo>
                <a:cubicBezTo>
                  <a:pt x="318" y="324"/>
                  <a:pt x="318" y="324"/>
                  <a:pt x="318" y="324"/>
                </a:cubicBezTo>
                <a:cubicBezTo>
                  <a:pt x="330" y="324"/>
                  <a:pt x="339" y="315"/>
                  <a:pt x="339" y="304"/>
                </a:cubicBezTo>
                <a:cubicBezTo>
                  <a:pt x="339" y="266"/>
                  <a:pt x="339" y="266"/>
                  <a:pt x="339" y="266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84" y="264"/>
                  <a:pt x="416" y="228"/>
                  <a:pt x="416" y="186"/>
                </a:cubicBezTo>
                <a:cubicBezTo>
                  <a:pt x="416" y="147"/>
                  <a:pt x="390" y="115"/>
                  <a:pt x="354" y="108"/>
                </a:cubicBezTo>
                <a:close/>
                <a:moveTo>
                  <a:pt x="329" y="304"/>
                </a:moveTo>
                <a:cubicBezTo>
                  <a:pt x="329" y="309"/>
                  <a:pt x="324" y="314"/>
                  <a:pt x="318" y="314"/>
                </a:cubicBezTo>
                <a:cubicBezTo>
                  <a:pt x="205" y="314"/>
                  <a:pt x="205" y="314"/>
                  <a:pt x="205" y="314"/>
                </a:cubicBezTo>
                <a:cubicBezTo>
                  <a:pt x="200" y="314"/>
                  <a:pt x="195" y="309"/>
                  <a:pt x="195" y="304"/>
                </a:cubicBezTo>
                <a:cubicBezTo>
                  <a:pt x="195" y="214"/>
                  <a:pt x="195" y="214"/>
                  <a:pt x="195" y="214"/>
                </a:cubicBezTo>
                <a:cubicBezTo>
                  <a:pt x="195" y="208"/>
                  <a:pt x="200" y="203"/>
                  <a:pt x="205" y="203"/>
                </a:cubicBezTo>
                <a:cubicBezTo>
                  <a:pt x="318" y="203"/>
                  <a:pt x="318" y="203"/>
                  <a:pt x="318" y="203"/>
                </a:cubicBezTo>
                <a:cubicBezTo>
                  <a:pt x="324" y="203"/>
                  <a:pt x="329" y="208"/>
                  <a:pt x="329" y="214"/>
                </a:cubicBezTo>
                <a:lnTo>
                  <a:pt x="329" y="304"/>
                </a:lnTo>
                <a:close/>
                <a:moveTo>
                  <a:pt x="219" y="194"/>
                </a:moveTo>
                <a:cubicBezTo>
                  <a:pt x="219" y="171"/>
                  <a:pt x="219" y="171"/>
                  <a:pt x="219" y="171"/>
                </a:cubicBezTo>
                <a:cubicBezTo>
                  <a:pt x="219" y="148"/>
                  <a:pt x="239" y="129"/>
                  <a:pt x="262" y="129"/>
                </a:cubicBezTo>
                <a:cubicBezTo>
                  <a:pt x="285" y="129"/>
                  <a:pt x="304" y="148"/>
                  <a:pt x="304" y="171"/>
                </a:cubicBezTo>
                <a:cubicBezTo>
                  <a:pt x="304" y="194"/>
                  <a:pt x="304" y="194"/>
                  <a:pt x="304" y="194"/>
                </a:cubicBezTo>
                <a:lnTo>
                  <a:pt x="219" y="194"/>
                </a:lnTo>
                <a:close/>
                <a:moveTo>
                  <a:pt x="344" y="257"/>
                </a:moveTo>
                <a:cubicBezTo>
                  <a:pt x="339" y="257"/>
                  <a:pt x="339" y="257"/>
                  <a:pt x="339" y="257"/>
                </a:cubicBezTo>
                <a:cubicBezTo>
                  <a:pt x="339" y="214"/>
                  <a:pt x="339" y="214"/>
                  <a:pt x="339" y="214"/>
                </a:cubicBezTo>
                <a:cubicBezTo>
                  <a:pt x="339" y="203"/>
                  <a:pt x="330" y="194"/>
                  <a:pt x="318" y="194"/>
                </a:cubicBezTo>
                <a:cubicBezTo>
                  <a:pt x="314" y="194"/>
                  <a:pt x="314" y="194"/>
                  <a:pt x="314" y="194"/>
                </a:cubicBezTo>
                <a:cubicBezTo>
                  <a:pt x="314" y="171"/>
                  <a:pt x="314" y="171"/>
                  <a:pt x="314" y="171"/>
                </a:cubicBezTo>
                <a:cubicBezTo>
                  <a:pt x="314" y="143"/>
                  <a:pt x="291" y="120"/>
                  <a:pt x="262" y="120"/>
                </a:cubicBezTo>
                <a:cubicBezTo>
                  <a:pt x="233" y="120"/>
                  <a:pt x="210" y="143"/>
                  <a:pt x="210" y="171"/>
                </a:cubicBezTo>
                <a:cubicBezTo>
                  <a:pt x="210" y="194"/>
                  <a:pt x="210" y="194"/>
                  <a:pt x="210" y="194"/>
                </a:cubicBezTo>
                <a:cubicBezTo>
                  <a:pt x="205" y="194"/>
                  <a:pt x="205" y="194"/>
                  <a:pt x="205" y="194"/>
                </a:cubicBezTo>
                <a:cubicBezTo>
                  <a:pt x="194" y="194"/>
                  <a:pt x="185" y="203"/>
                  <a:pt x="185" y="214"/>
                </a:cubicBezTo>
                <a:cubicBezTo>
                  <a:pt x="185" y="257"/>
                  <a:pt x="185" y="257"/>
                  <a:pt x="185" y="257"/>
                </a:cubicBezTo>
                <a:cubicBezTo>
                  <a:pt x="77" y="257"/>
                  <a:pt x="77" y="257"/>
                  <a:pt x="77" y="257"/>
                </a:cubicBezTo>
                <a:cubicBezTo>
                  <a:pt x="39" y="257"/>
                  <a:pt x="10" y="226"/>
                  <a:pt x="10" y="186"/>
                </a:cubicBezTo>
                <a:cubicBezTo>
                  <a:pt x="10" y="148"/>
                  <a:pt x="39" y="117"/>
                  <a:pt x="76" y="115"/>
                </a:cubicBezTo>
                <a:cubicBezTo>
                  <a:pt x="78" y="115"/>
                  <a:pt x="80" y="113"/>
                  <a:pt x="80" y="110"/>
                </a:cubicBezTo>
                <a:cubicBezTo>
                  <a:pt x="80" y="79"/>
                  <a:pt x="106" y="54"/>
                  <a:pt x="138" y="54"/>
                </a:cubicBezTo>
                <a:cubicBezTo>
                  <a:pt x="146" y="54"/>
                  <a:pt x="153" y="56"/>
                  <a:pt x="161" y="59"/>
                </a:cubicBezTo>
                <a:cubicBezTo>
                  <a:pt x="163" y="60"/>
                  <a:pt x="166" y="59"/>
                  <a:pt x="167" y="57"/>
                </a:cubicBezTo>
                <a:cubicBezTo>
                  <a:pt x="186" y="27"/>
                  <a:pt x="215" y="9"/>
                  <a:pt x="249" y="9"/>
                </a:cubicBezTo>
                <a:cubicBezTo>
                  <a:pt x="300" y="9"/>
                  <a:pt x="343" y="55"/>
                  <a:pt x="345" y="112"/>
                </a:cubicBezTo>
                <a:cubicBezTo>
                  <a:pt x="345" y="114"/>
                  <a:pt x="346" y="116"/>
                  <a:pt x="349" y="117"/>
                </a:cubicBezTo>
                <a:cubicBezTo>
                  <a:pt x="382" y="121"/>
                  <a:pt x="407" y="151"/>
                  <a:pt x="407" y="186"/>
                </a:cubicBezTo>
                <a:cubicBezTo>
                  <a:pt x="407" y="223"/>
                  <a:pt x="379" y="255"/>
                  <a:pt x="344" y="257"/>
                </a:cubicBezTo>
                <a:close/>
                <a:moveTo>
                  <a:pt x="262" y="237"/>
                </a:moveTo>
                <a:cubicBezTo>
                  <a:pt x="255" y="237"/>
                  <a:pt x="250" y="242"/>
                  <a:pt x="250" y="249"/>
                </a:cubicBezTo>
                <a:cubicBezTo>
                  <a:pt x="250" y="254"/>
                  <a:pt x="253" y="259"/>
                  <a:pt x="257" y="261"/>
                </a:cubicBezTo>
                <a:cubicBezTo>
                  <a:pt x="257" y="274"/>
                  <a:pt x="257" y="274"/>
                  <a:pt x="257" y="274"/>
                </a:cubicBezTo>
                <a:cubicBezTo>
                  <a:pt x="257" y="277"/>
                  <a:pt x="259" y="279"/>
                  <a:pt x="262" y="279"/>
                </a:cubicBezTo>
                <a:cubicBezTo>
                  <a:pt x="265" y="279"/>
                  <a:pt x="267" y="277"/>
                  <a:pt x="267" y="274"/>
                </a:cubicBezTo>
                <a:cubicBezTo>
                  <a:pt x="267" y="261"/>
                  <a:pt x="267" y="261"/>
                  <a:pt x="267" y="261"/>
                </a:cubicBezTo>
                <a:cubicBezTo>
                  <a:pt x="271" y="259"/>
                  <a:pt x="274" y="254"/>
                  <a:pt x="274" y="249"/>
                </a:cubicBezTo>
                <a:cubicBezTo>
                  <a:pt x="274" y="242"/>
                  <a:pt x="269" y="237"/>
                  <a:pt x="262" y="237"/>
                </a:cubicBezTo>
                <a:close/>
                <a:moveTo>
                  <a:pt x="262" y="252"/>
                </a:moveTo>
                <a:cubicBezTo>
                  <a:pt x="260" y="252"/>
                  <a:pt x="259" y="251"/>
                  <a:pt x="259" y="249"/>
                </a:cubicBezTo>
                <a:cubicBezTo>
                  <a:pt x="259" y="248"/>
                  <a:pt x="260" y="246"/>
                  <a:pt x="262" y="246"/>
                </a:cubicBezTo>
                <a:cubicBezTo>
                  <a:pt x="264" y="246"/>
                  <a:pt x="265" y="248"/>
                  <a:pt x="265" y="249"/>
                </a:cubicBezTo>
                <a:cubicBezTo>
                  <a:pt x="265" y="251"/>
                  <a:pt x="264" y="252"/>
                  <a:pt x="262" y="25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679845961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Oval 21"/>
          <p:cNvSpPr>
            <a:spLocks noChangeArrowheads="1"/>
          </p:cNvSpPr>
          <p:nvPr/>
        </p:nvSpPr>
        <p:spPr bwMode="auto">
          <a:xfrm>
            <a:off x="3552358" y="31167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40" name="Freeform 30"/>
          <p:cNvSpPr>
            <a:spLocks noEditPoints="1"/>
          </p:cNvSpPr>
          <p:nvPr/>
        </p:nvSpPr>
        <p:spPr bwMode="auto">
          <a:xfrm>
            <a:off x="3771651" y="3283925"/>
            <a:ext cx="379490" cy="488693"/>
          </a:xfrm>
          <a:custGeom>
            <a:avLst/>
            <a:gdLst>
              <a:gd name="T0" fmla="*/ 296 w 329"/>
              <a:gd name="T1" fmla="*/ 66 h 423"/>
              <a:gd name="T2" fmla="*/ 273 w 329"/>
              <a:gd name="T3" fmla="*/ 76 h 423"/>
              <a:gd name="T4" fmla="*/ 273 w 329"/>
              <a:gd name="T5" fmla="*/ 56 h 423"/>
              <a:gd name="T6" fmla="*/ 240 w 329"/>
              <a:gd name="T7" fmla="*/ 23 h 423"/>
              <a:gd name="T8" fmla="*/ 217 w 329"/>
              <a:gd name="T9" fmla="*/ 33 h 423"/>
              <a:gd name="T10" fmla="*/ 217 w 329"/>
              <a:gd name="T11" fmla="*/ 33 h 423"/>
              <a:gd name="T12" fmla="*/ 184 w 329"/>
              <a:gd name="T13" fmla="*/ 0 h 423"/>
              <a:gd name="T14" fmla="*/ 151 w 329"/>
              <a:gd name="T15" fmla="*/ 33 h 423"/>
              <a:gd name="T16" fmla="*/ 151 w 329"/>
              <a:gd name="T17" fmla="*/ 45 h 423"/>
              <a:gd name="T18" fmla="*/ 128 w 329"/>
              <a:gd name="T19" fmla="*/ 36 h 423"/>
              <a:gd name="T20" fmla="*/ 95 w 329"/>
              <a:gd name="T21" fmla="*/ 68 h 423"/>
              <a:gd name="T22" fmla="*/ 95 w 329"/>
              <a:gd name="T23" fmla="*/ 247 h 423"/>
              <a:gd name="T24" fmla="*/ 63 w 329"/>
              <a:gd name="T25" fmla="*/ 209 h 423"/>
              <a:gd name="T26" fmla="*/ 37 w 329"/>
              <a:gd name="T27" fmla="*/ 197 h 423"/>
              <a:gd name="T28" fmla="*/ 17 w 329"/>
              <a:gd name="T29" fmla="*/ 204 h 423"/>
              <a:gd name="T30" fmla="*/ 11 w 329"/>
              <a:gd name="T31" fmla="*/ 250 h 423"/>
              <a:gd name="T32" fmla="*/ 120 w 329"/>
              <a:gd name="T33" fmla="*/ 386 h 423"/>
              <a:gd name="T34" fmla="*/ 207 w 329"/>
              <a:gd name="T35" fmla="*/ 423 h 423"/>
              <a:gd name="T36" fmla="*/ 329 w 329"/>
              <a:gd name="T37" fmla="*/ 301 h 423"/>
              <a:gd name="T38" fmla="*/ 329 w 329"/>
              <a:gd name="T39" fmla="*/ 99 h 423"/>
              <a:gd name="T40" fmla="*/ 296 w 329"/>
              <a:gd name="T41" fmla="*/ 66 h 423"/>
              <a:gd name="T42" fmla="*/ 319 w 329"/>
              <a:gd name="T43" fmla="*/ 301 h 423"/>
              <a:gd name="T44" fmla="*/ 207 w 329"/>
              <a:gd name="T45" fmla="*/ 413 h 423"/>
              <a:gd name="T46" fmla="*/ 127 w 329"/>
              <a:gd name="T47" fmla="*/ 380 h 423"/>
              <a:gd name="T48" fmla="*/ 19 w 329"/>
              <a:gd name="T49" fmla="*/ 244 h 423"/>
              <a:gd name="T50" fmla="*/ 14 w 329"/>
              <a:gd name="T51" fmla="*/ 227 h 423"/>
              <a:gd name="T52" fmla="*/ 22 w 329"/>
              <a:gd name="T53" fmla="*/ 211 h 423"/>
              <a:gd name="T54" fmla="*/ 37 w 329"/>
              <a:gd name="T55" fmla="*/ 206 h 423"/>
              <a:gd name="T56" fmla="*/ 55 w 329"/>
              <a:gd name="T57" fmla="*/ 215 h 423"/>
              <a:gd name="T58" fmla="*/ 96 w 329"/>
              <a:gd name="T59" fmla="*/ 263 h 423"/>
              <a:gd name="T60" fmla="*/ 101 w 329"/>
              <a:gd name="T61" fmla="*/ 265 h 423"/>
              <a:gd name="T62" fmla="*/ 104 w 329"/>
              <a:gd name="T63" fmla="*/ 260 h 423"/>
              <a:gd name="T64" fmla="*/ 104 w 329"/>
              <a:gd name="T65" fmla="*/ 68 h 423"/>
              <a:gd name="T66" fmla="*/ 128 w 329"/>
              <a:gd name="T67" fmla="*/ 45 h 423"/>
              <a:gd name="T68" fmla="*/ 151 w 329"/>
              <a:gd name="T69" fmla="*/ 68 h 423"/>
              <a:gd name="T70" fmla="*/ 151 w 329"/>
              <a:gd name="T71" fmla="*/ 202 h 423"/>
              <a:gd name="T72" fmla="*/ 156 w 329"/>
              <a:gd name="T73" fmla="*/ 207 h 423"/>
              <a:gd name="T74" fmla="*/ 161 w 329"/>
              <a:gd name="T75" fmla="*/ 202 h 423"/>
              <a:gd name="T76" fmla="*/ 161 w 329"/>
              <a:gd name="T77" fmla="*/ 33 h 423"/>
              <a:gd name="T78" fmla="*/ 184 w 329"/>
              <a:gd name="T79" fmla="*/ 10 h 423"/>
              <a:gd name="T80" fmla="*/ 207 w 329"/>
              <a:gd name="T81" fmla="*/ 33 h 423"/>
              <a:gd name="T82" fmla="*/ 207 w 329"/>
              <a:gd name="T83" fmla="*/ 191 h 423"/>
              <a:gd name="T84" fmla="*/ 212 w 329"/>
              <a:gd name="T85" fmla="*/ 195 h 423"/>
              <a:gd name="T86" fmla="*/ 217 w 329"/>
              <a:gd name="T87" fmla="*/ 191 h 423"/>
              <a:gd name="T88" fmla="*/ 217 w 329"/>
              <a:gd name="T89" fmla="*/ 56 h 423"/>
              <a:gd name="T90" fmla="*/ 240 w 329"/>
              <a:gd name="T91" fmla="*/ 33 h 423"/>
              <a:gd name="T92" fmla="*/ 263 w 329"/>
              <a:gd name="T93" fmla="*/ 56 h 423"/>
              <a:gd name="T94" fmla="*/ 263 w 329"/>
              <a:gd name="T95" fmla="*/ 199 h 423"/>
              <a:gd name="T96" fmla="*/ 268 w 329"/>
              <a:gd name="T97" fmla="*/ 203 h 423"/>
              <a:gd name="T98" fmla="*/ 273 w 329"/>
              <a:gd name="T99" fmla="*/ 199 h 423"/>
              <a:gd name="T100" fmla="*/ 273 w 329"/>
              <a:gd name="T101" fmla="*/ 99 h 423"/>
              <a:gd name="T102" fmla="*/ 296 w 329"/>
              <a:gd name="T103" fmla="*/ 75 h 423"/>
              <a:gd name="T104" fmla="*/ 319 w 329"/>
              <a:gd name="T105" fmla="*/ 99 h 423"/>
              <a:gd name="T106" fmla="*/ 319 w 329"/>
              <a:gd name="T107" fmla="*/ 30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29" h="423">
                <a:moveTo>
                  <a:pt x="296" y="66"/>
                </a:moveTo>
                <a:cubicBezTo>
                  <a:pt x="287" y="66"/>
                  <a:pt x="279" y="70"/>
                  <a:pt x="273" y="76"/>
                </a:cubicBezTo>
                <a:cubicBezTo>
                  <a:pt x="273" y="56"/>
                  <a:pt x="273" y="56"/>
                  <a:pt x="273" y="56"/>
                </a:cubicBezTo>
                <a:cubicBezTo>
                  <a:pt x="273" y="38"/>
                  <a:pt x="258" y="23"/>
                  <a:pt x="240" y="23"/>
                </a:cubicBezTo>
                <a:cubicBezTo>
                  <a:pt x="231" y="23"/>
                  <a:pt x="223" y="27"/>
                  <a:pt x="217" y="33"/>
                </a:cubicBezTo>
                <a:cubicBezTo>
                  <a:pt x="217" y="33"/>
                  <a:pt x="217" y="33"/>
                  <a:pt x="217" y="33"/>
                </a:cubicBezTo>
                <a:cubicBezTo>
                  <a:pt x="217" y="15"/>
                  <a:pt x="202" y="0"/>
                  <a:pt x="184" y="0"/>
                </a:cubicBezTo>
                <a:cubicBezTo>
                  <a:pt x="166" y="0"/>
                  <a:pt x="151" y="15"/>
                  <a:pt x="151" y="33"/>
                </a:cubicBezTo>
                <a:cubicBezTo>
                  <a:pt x="151" y="45"/>
                  <a:pt x="151" y="45"/>
                  <a:pt x="151" y="45"/>
                </a:cubicBezTo>
                <a:cubicBezTo>
                  <a:pt x="145" y="39"/>
                  <a:pt x="137" y="36"/>
                  <a:pt x="128" y="36"/>
                </a:cubicBezTo>
                <a:cubicBezTo>
                  <a:pt x="110" y="36"/>
                  <a:pt x="95" y="50"/>
                  <a:pt x="95" y="68"/>
                </a:cubicBezTo>
                <a:cubicBezTo>
                  <a:pt x="95" y="247"/>
                  <a:pt x="95" y="247"/>
                  <a:pt x="95" y="247"/>
                </a:cubicBezTo>
                <a:cubicBezTo>
                  <a:pt x="63" y="209"/>
                  <a:pt x="63" y="209"/>
                  <a:pt x="63" y="209"/>
                </a:cubicBezTo>
                <a:cubicBezTo>
                  <a:pt x="56" y="201"/>
                  <a:pt x="47" y="197"/>
                  <a:pt x="37" y="197"/>
                </a:cubicBezTo>
                <a:cubicBezTo>
                  <a:pt x="30" y="197"/>
                  <a:pt x="22" y="199"/>
                  <a:pt x="17" y="204"/>
                </a:cubicBezTo>
                <a:cubicBezTo>
                  <a:pt x="2" y="215"/>
                  <a:pt x="0" y="236"/>
                  <a:pt x="11" y="250"/>
                </a:cubicBezTo>
                <a:cubicBezTo>
                  <a:pt x="12" y="251"/>
                  <a:pt x="108" y="371"/>
                  <a:pt x="120" y="386"/>
                </a:cubicBezTo>
                <a:cubicBezTo>
                  <a:pt x="134" y="403"/>
                  <a:pt x="174" y="423"/>
                  <a:pt x="207" y="423"/>
                </a:cubicBezTo>
                <a:cubicBezTo>
                  <a:pt x="274" y="423"/>
                  <a:pt x="329" y="368"/>
                  <a:pt x="329" y="301"/>
                </a:cubicBezTo>
                <a:cubicBezTo>
                  <a:pt x="329" y="99"/>
                  <a:pt x="329" y="99"/>
                  <a:pt x="329" y="99"/>
                </a:cubicBezTo>
                <a:cubicBezTo>
                  <a:pt x="329" y="81"/>
                  <a:pt x="314" y="66"/>
                  <a:pt x="296" y="66"/>
                </a:cubicBezTo>
                <a:close/>
                <a:moveTo>
                  <a:pt x="319" y="301"/>
                </a:moveTo>
                <a:cubicBezTo>
                  <a:pt x="319" y="363"/>
                  <a:pt x="269" y="413"/>
                  <a:pt x="207" y="413"/>
                </a:cubicBezTo>
                <a:cubicBezTo>
                  <a:pt x="174" y="413"/>
                  <a:pt x="138" y="394"/>
                  <a:pt x="127" y="380"/>
                </a:cubicBezTo>
                <a:cubicBezTo>
                  <a:pt x="115" y="365"/>
                  <a:pt x="20" y="245"/>
                  <a:pt x="19" y="244"/>
                </a:cubicBezTo>
                <a:cubicBezTo>
                  <a:pt x="15" y="239"/>
                  <a:pt x="13" y="233"/>
                  <a:pt x="14" y="227"/>
                </a:cubicBezTo>
                <a:cubicBezTo>
                  <a:pt x="15" y="221"/>
                  <a:pt x="18" y="215"/>
                  <a:pt x="22" y="211"/>
                </a:cubicBezTo>
                <a:cubicBezTo>
                  <a:pt x="27" y="208"/>
                  <a:pt x="32" y="206"/>
                  <a:pt x="37" y="206"/>
                </a:cubicBezTo>
                <a:cubicBezTo>
                  <a:pt x="44" y="206"/>
                  <a:pt x="51" y="209"/>
                  <a:pt x="55" y="215"/>
                </a:cubicBezTo>
                <a:cubicBezTo>
                  <a:pt x="96" y="263"/>
                  <a:pt x="96" y="263"/>
                  <a:pt x="96" y="263"/>
                </a:cubicBezTo>
                <a:cubicBezTo>
                  <a:pt x="97" y="265"/>
                  <a:pt x="99" y="265"/>
                  <a:pt x="101" y="265"/>
                </a:cubicBezTo>
                <a:cubicBezTo>
                  <a:pt x="103" y="264"/>
                  <a:pt x="104" y="262"/>
                  <a:pt x="104" y="260"/>
                </a:cubicBezTo>
                <a:cubicBezTo>
                  <a:pt x="104" y="68"/>
                  <a:pt x="104" y="68"/>
                  <a:pt x="104" y="68"/>
                </a:cubicBezTo>
                <a:cubicBezTo>
                  <a:pt x="104" y="56"/>
                  <a:pt x="115" y="45"/>
                  <a:pt x="128" y="45"/>
                </a:cubicBezTo>
                <a:cubicBezTo>
                  <a:pt x="141" y="45"/>
                  <a:pt x="151" y="56"/>
                  <a:pt x="151" y="68"/>
                </a:cubicBezTo>
                <a:cubicBezTo>
                  <a:pt x="151" y="202"/>
                  <a:pt x="151" y="202"/>
                  <a:pt x="151" y="202"/>
                </a:cubicBezTo>
                <a:cubicBezTo>
                  <a:pt x="151" y="205"/>
                  <a:pt x="153" y="207"/>
                  <a:pt x="156" y="207"/>
                </a:cubicBezTo>
                <a:cubicBezTo>
                  <a:pt x="158" y="207"/>
                  <a:pt x="161" y="205"/>
                  <a:pt x="161" y="202"/>
                </a:cubicBezTo>
                <a:cubicBezTo>
                  <a:pt x="161" y="33"/>
                  <a:pt x="161" y="33"/>
                  <a:pt x="161" y="33"/>
                </a:cubicBezTo>
                <a:cubicBezTo>
                  <a:pt x="161" y="20"/>
                  <a:pt x="171" y="10"/>
                  <a:pt x="184" y="10"/>
                </a:cubicBezTo>
                <a:cubicBezTo>
                  <a:pt x="197" y="10"/>
                  <a:pt x="207" y="20"/>
                  <a:pt x="207" y="33"/>
                </a:cubicBezTo>
                <a:cubicBezTo>
                  <a:pt x="207" y="191"/>
                  <a:pt x="207" y="191"/>
                  <a:pt x="207" y="191"/>
                </a:cubicBezTo>
                <a:cubicBezTo>
                  <a:pt x="207" y="193"/>
                  <a:pt x="209" y="195"/>
                  <a:pt x="212" y="195"/>
                </a:cubicBezTo>
                <a:cubicBezTo>
                  <a:pt x="215" y="195"/>
                  <a:pt x="217" y="193"/>
                  <a:pt x="217" y="191"/>
                </a:cubicBezTo>
                <a:cubicBezTo>
                  <a:pt x="217" y="56"/>
                  <a:pt x="217" y="56"/>
                  <a:pt x="217" y="56"/>
                </a:cubicBezTo>
                <a:cubicBezTo>
                  <a:pt x="217" y="43"/>
                  <a:pt x="227" y="33"/>
                  <a:pt x="240" y="33"/>
                </a:cubicBezTo>
                <a:cubicBezTo>
                  <a:pt x="253" y="33"/>
                  <a:pt x="263" y="43"/>
                  <a:pt x="263" y="56"/>
                </a:cubicBezTo>
                <a:cubicBezTo>
                  <a:pt x="263" y="199"/>
                  <a:pt x="263" y="199"/>
                  <a:pt x="263" y="199"/>
                </a:cubicBezTo>
                <a:cubicBezTo>
                  <a:pt x="263" y="201"/>
                  <a:pt x="265" y="203"/>
                  <a:pt x="268" y="203"/>
                </a:cubicBezTo>
                <a:cubicBezTo>
                  <a:pt x="271" y="203"/>
                  <a:pt x="273" y="201"/>
                  <a:pt x="273" y="199"/>
                </a:cubicBezTo>
                <a:cubicBezTo>
                  <a:pt x="273" y="99"/>
                  <a:pt x="273" y="99"/>
                  <a:pt x="273" y="99"/>
                </a:cubicBezTo>
                <a:cubicBezTo>
                  <a:pt x="273" y="86"/>
                  <a:pt x="283" y="75"/>
                  <a:pt x="296" y="75"/>
                </a:cubicBezTo>
                <a:cubicBezTo>
                  <a:pt x="309" y="75"/>
                  <a:pt x="319" y="86"/>
                  <a:pt x="319" y="99"/>
                </a:cubicBezTo>
                <a:lnTo>
                  <a:pt x="319" y="30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30" name="Oval 20"/>
          <p:cNvSpPr>
            <a:spLocks noChangeArrowheads="1"/>
          </p:cNvSpPr>
          <p:nvPr/>
        </p:nvSpPr>
        <p:spPr bwMode="auto">
          <a:xfrm>
            <a:off x="966871" y="210827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41" name="Freeform 31"/>
          <p:cNvSpPr>
            <a:spLocks noEditPoints="1"/>
          </p:cNvSpPr>
          <p:nvPr/>
        </p:nvSpPr>
        <p:spPr bwMode="auto">
          <a:xfrm>
            <a:off x="1158814" y="2285460"/>
            <a:ext cx="438098" cy="445160"/>
          </a:xfrm>
          <a:custGeom>
            <a:avLst/>
            <a:gdLst>
              <a:gd name="T0" fmla="*/ 278 w 380"/>
              <a:gd name="T1" fmla="*/ 287 h 386"/>
              <a:gd name="T2" fmla="*/ 244 w 380"/>
              <a:gd name="T3" fmla="*/ 213 h 386"/>
              <a:gd name="T4" fmla="*/ 280 w 380"/>
              <a:gd name="T5" fmla="*/ 119 h 386"/>
              <a:gd name="T6" fmla="*/ 190 w 380"/>
              <a:gd name="T7" fmla="*/ 0 h 386"/>
              <a:gd name="T8" fmla="*/ 100 w 380"/>
              <a:gd name="T9" fmla="*/ 119 h 386"/>
              <a:gd name="T10" fmla="*/ 138 w 380"/>
              <a:gd name="T11" fmla="*/ 215 h 386"/>
              <a:gd name="T12" fmla="*/ 106 w 380"/>
              <a:gd name="T13" fmla="*/ 287 h 386"/>
              <a:gd name="T14" fmla="*/ 0 w 380"/>
              <a:gd name="T15" fmla="*/ 381 h 386"/>
              <a:gd name="T16" fmla="*/ 5 w 380"/>
              <a:gd name="T17" fmla="*/ 386 h 386"/>
              <a:gd name="T18" fmla="*/ 376 w 380"/>
              <a:gd name="T19" fmla="*/ 386 h 386"/>
              <a:gd name="T20" fmla="*/ 380 w 380"/>
              <a:gd name="T21" fmla="*/ 381 h 386"/>
              <a:gd name="T22" fmla="*/ 278 w 380"/>
              <a:gd name="T23" fmla="*/ 287 h 386"/>
              <a:gd name="T24" fmla="*/ 110 w 380"/>
              <a:gd name="T25" fmla="*/ 119 h 386"/>
              <a:gd name="T26" fmla="*/ 190 w 380"/>
              <a:gd name="T27" fmla="*/ 10 h 386"/>
              <a:gd name="T28" fmla="*/ 271 w 380"/>
              <a:gd name="T29" fmla="*/ 119 h 386"/>
              <a:gd name="T30" fmla="*/ 236 w 380"/>
              <a:gd name="T31" fmla="*/ 207 h 386"/>
              <a:gd name="T32" fmla="*/ 235 w 380"/>
              <a:gd name="T33" fmla="*/ 209 h 386"/>
              <a:gd name="T34" fmla="*/ 190 w 380"/>
              <a:gd name="T35" fmla="*/ 228 h 386"/>
              <a:gd name="T36" fmla="*/ 147 w 380"/>
              <a:gd name="T37" fmla="*/ 210 h 386"/>
              <a:gd name="T38" fmla="*/ 145 w 380"/>
              <a:gd name="T39" fmla="*/ 208 h 386"/>
              <a:gd name="T40" fmla="*/ 110 w 380"/>
              <a:gd name="T41" fmla="*/ 119 h 386"/>
              <a:gd name="T42" fmla="*/ 10 w 380"/>
              <a:gd name="T43" fmla="*/ 376 h 386"/>
              <a:gd name="T44" fmla="*/ 108 w 380"/>
              <a:gd name="T45" fmla="*/ 296 h 386"/>
              <a:gd name="T46" fmla="*/ 108 w 380"/>
              <a:gd name="T47" fmla="*/ 296 h 386"/>
              <a:gd name="T48" fmla="*/ 147 w 380"/>
              <a:gd name="T49" fmla="*/ 222 h 386"/>
              <a:gd name="T50" fmla="*/ 190 w 380"/>
              <a:gd name="T51" fmla="*/ 238 h 386"/>
              <a:gd name="T52" fmla="*/ 234 w 380"/>
              <a:gd name="T53" fmla="*/ 221 h 386"/>
              <a:gd name="T54" fmla="*/ 275 w 380"/>
              <a:gd name="T55" fmla="*/ 296 h 386"/>
              <a:gd name="T56" fmla="*/ 276 w 380"/>
              <a:gd name="T57" fmla="*/ 297 h 386"/>
              <a:gd name="T58" fmla="*/ 371 w 380"/>
              <a:gd name="T59" fmla="*/ 376 h 386"/>
              <a:gd name="T60" fmla="*/ 10 w 380"/>
              <a:gd name="T61" fmla="*/ 376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80" h="386">
                <a:moveTo>
                  <a:pt x="278" y="287"/>
                </a:moveTo>
                <a:cubicBezTo>
                  <a:pt x="262" y="283"/>
                  <a:pt x="244" y="261"/>
                  <a:pt x="244" y="213"/>
                </a:cubicBezTo>
                <a:cubicBezTo>
                  <a:pt x="265" y="191"/>
                  <a:pt x="280" y="157"/>
                  <a:pt x="280" y="119"/>
                </a:cubicBezTo>
                <a:cubicBezTo>
                  <a:pt x="280" y="46"/>
                  <a:pt x="246" y="0"/>
                  <a:pt x="190" y="0"/>
                </a:cubicBezTo>
                <a:cubicBezTo>
                  <a:pt x="135" y="0"/>
                  <a:pt x="100" y="46"/>
                  <a:pt x="100" y="119"/>
                </a:cubicBezTo>
                <a:cubicBezTo>
                  <a:pt x="100" y="157"/>
                  <a:pt x="116" y="193"/>
                  <a:pt x="138" y="215"/>
                </a:cubicBezTo>
                <a:cubicBezTo>
                  <a:pt x="138" y="244"/>
                  <a:pt x="129" y="279"/>
                  <a:pt x="106" y="287"/>
                </a:cubicBezTo>
                <a:cubicBezTo>
                  <a:pt x="37" y="301"/>
                  <a:pt x="0" y="333"/>
                  <a:pt x="0" y="381"/>
                </a:cubicBezTo>
                <a:cubicBezTo>
                  <a:pt x="0" y="384"/>
                  <a:pt x="2" y="386"/>
                  <a:pt x="5" y="386"/>
                </a:cubicBezTo>
                <a:cubicBezTo>
                  <a:pt x="376" y="386"/>
                  <a:pt x="376" y="386"/>
                  <a:pt x="376" y="386"/>
                </a:cubicBezTo>
                <a:cubicBezTo>
                  <a:pt x="378" y="386"/>
                  <a:pt x="380" y="384"/>
                  <a:pt x="380" y="381"/>
                </a:cubicBezTo>
                <a:cubicBezTo>
                  <a:pt x="380" y="334"/>
                  <a:pt x="345" y="302"/>
                  <a:pt x="278" y="287"/>
                </a:cubicBezTo>
                <a:close/>
                <a:moveTo>
                  <a:pt x="110" y="119"/>
                </a:moveTo>
                <a:cubicBezTo>
                  <a:pt x="110" y="66"/>
                  <a:pt x="131" y="10"/>
                  <a:pt x="190" y="10"/>
                </a:cubicBezTo>
                <a:cubicBezTo>
                  <a:pt x="250" y="10"/>
                  <a:pt x="271" y="66"/>
                  <a:pt x="271" y="119"/>
                </a:cubicBezTo>
                <a:cubicBezTo>
                  <a:pt x="271" y="151"/>
                  <a:pt x="257" y="186"/>
                  <a:pt x="236" y="207"/>
                </a:cubicBezTo>
                <a:cubicBezTo>
                  <a:pt x="236" y="207"/>
                  <a:pt x="235" y="208"/>
                  <a:pt x="235" y="209"/>
                </a:cubicBezTo>
                <a:cubicBezTo>
                  <a:pt x="222" y="221"/>
                  <a:pt x="207" y="228"/>
                  <a:pt x="190" y="228"/>
                </a:cubicBezTo>
                <a:cubicBezTo>
                  <a:pt x="174" y="228"/>
                  <a:pt x="159" y="221"/>
                  <a:pt x="147" y="210"/>
                </a:cubicBezTo>
                <a:cubicBezTo>
                  <a:pt x="147" y="209"/>
                  <a:pt x="146" y="209"/>
                  <a:pt x="145" y="208"/>
                </a:cubicBezTo>
                <a:cubicBezTo>
                  <a:pt x="124" y="187"/>
                  <a:pt x="110" y="152"/>
                  <a:pt x="110" y="119"/>
                </a:cubicBezTo>
                <a:close/>
                <a:moveTo>
                  <a:pt x="10" y="376"/>
                </a:moveTo>
                <a:cubicBezTo>
                  <a:pt x="12" y="335"/>
                  <a:pt x="45" y="308"/>
                  <a:pt x="108" y="296"/>
                </a:cubicBezTo>
                <a:cubicBezTo>
                  <a:pt x="108" y="296"/>
                  <a:pt x="108" y="296"/>
                  <a:pt x="108" y="296"/>
                </a:cubicBezTo>
                <a:cubicBezTo>
                  <a:pt x="135" y="287"/>
                  <a:pt x="146" y="254"/>
                  <a:pt x="147" y="222"/>
                </a:cubicBezTo>
                <a:cubicBezTo>
                  <a:pt x="160" y="232"/>
                  <a:pt x="175" y="238"/>
                  <a:pt x="190" y="238"/>
                </a:cubicBezTo>
                <a:cubicBezTo>
                  <a:pt x="206" y="238"/>
                  <a:pt x="221" y="232"/>
                  <a:pt x="234" y="221"/>
                </a:cubicBezTo>
                <a:cubicBezTo>
                  <a:pt x="236" y="253"/>
                  <a:pt x="248" y="289"/>
                  <a:pt x="275" y="296"/>
                </a:cubicBezTo>
                <a:cubicBezTo>
                  <a:pt x="276" y="297"/>
                  <a:pt x="276" y="297"/>
                  <a:pt x="276" y="297"/>
                </a:cubicBezTo>
                <a:cubicBezTo>
                  <a:pt x="337" y="309"/>
                  <a:pt x="369" y="336"/>
                  <a:pt x="371" y="376"/>
                </a:cubicBezTo>
                <a:lnTo>
                  <a:pt x="10" y="37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79" name="Oval 16"/>
          <p:cNvSpPr>
            <a:spLocks noChangeArrowheads="1"/>
          </p:cNvSpPr>
          <p:nvPr/>
        </p:nvSpPr>
        <p:spPr bwMode="auto">
          <a:xfrm>
            <a:off x="2259614" y="210827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1" name="Freeform 32"/>
          <p:cNvSpPr>
            <a:spLocks noEditPoints="1"/>
          </p:cNvSpPr>
          <p:nvPr/>
        </p:nvSpPr>
        <p:spPr bwMode="auto">
          <a:xfrm>
            <a:off x="2434078" y="2262520"/>
            <a:ext cx="473056" cy="476399"/>
          </a:xfrm>
          <a:custGeom>
            <a:avLst/>
            <a:gdLst>
              <a:gd name="T0" fmla="*/ 224 w 410"/>
              <a:gd name="T1" fmla="*/ 333 h 413"/>
              <a:gd name="T2" fmla="*/ 197 w 410"/>
              <a:gd name="T3" fmla="*/ 274 h 413"/>
              <a:gd name="T4" fmla="*/ 227 w 410"/>
              <a:gd name="T5" fmla="*/ 199 h 413"/>
              <a:gd name="T6" fmla="*/ 153 w 410"/>
              <a:gd name="T7" fmla="*/ 102 h 413"/>
              <a:gd name="T8" fmla="*/ 80 w 410"/>
              <a:gd name="T9" fmla="*/ 199 h 413"/>
              <a:gd name="T10" fmla="*/ 111 w 410"/>
              <a:gd name="T11" fmla="*/ 276 h 413"/>
              <a:gd name="T12" fmla="*/ 85 w 410"/>
              <a:gd name="T13" fmla="*/ 332 h 413"/>
              <a:gd name="T14" fmla="*/ 0 w 410"/>
              <a:gd name="T15" fmla="*/ 409 h 413"/>
              <a:gd name="T16" fmla="*/ 5 w 410"/>
              <a:gd name="T17" fmla="*/ 413 h 413"/>
              <a:gd name="T18" fmla="*/ 302 w 410"/>
              <a:gd name="T19" fmla="*/ 413 h 413"/>
              <a:gd name="T20" fmla="*/ 307 w 410"/>
              <a:gd name="T21" fmla="*/ 409 h 413"/>
              <a:gd name="T22" fmla="*/ 224 w 410"/>
              <a:gd name="T23" fmla="*/ 333 h 413"/>
              <a:gd name="T24" fmla="*/ 90 w 410"/>
              <a:gd name="T25" fmla="*/ 199 h 413"/>
              <a:gd name="T26" fmla="*/ 153 w 410"/>
              <a:gd name="T27" fmla="*/ 112 h 413"/>
              <a:gd name="T28" fmla="*/ 217 w 410"/>
              <a:gd name="T29" fmla="*/ 199 h 413"/>
              <a:gd name="T30" fmla="*/ 153 w 410"/>
              <a:gd name="T31" fmla="*/ 285 h 413"/>
              <a:gd name="T32" fmla="*/ 120 w 410"/>
              <a:gd name="T33" fmla="*/ 271 h 413"/>
              <a:gd name="T34" fmla="*/ 118 w 410"/>
              <a:gd name="T35" fmla="*/ 269 h 413"/>
              <a:gd name="T36" fmla="*/ 90 w 410"/>
              <a:gd name="T37" fmla="*/ 199 h 413"/>
              <a:gd name="T38" fmla="*/ 10 w 410"/>
              <a:gd name="T39" fmla="*/ 404 h 413"/>
              <a:gd name="T40" fmla="*/ 87 w 410"/>
              <a:gd name="T41" fmla="*/ 341 h 413"/>
              <a:gd name="T42" fmla="*/ 88 w 410"/>
              <a:gd name="T43" fmla="*/ 341 h 413"/>
              <a:gd name="T44" fmla="*/ 120 w 410"/>
              <a:gd name="T45" fmla="*/ 283 h 413"/>
              <a:gd name="T46" fmla="*/ 153 w 410"/>
              <a:gd name="T47" fmla="*/ 295 h 413"/>
              <a:gd name="T48" fmla="*/ 188 w 410"/>
              <a:gd name="T49" fmla="*/ 282 h 413"/>
              <a:gd name="T50" fmla="*/ 194 w 410"/>
              <a:gd name="T51" fmla="*/ 313 h 413"/>
              <a:gd name="T52" fmla="*/ 221 w 410"/>
              <a:gd name="T53" fmla="*/ 342 h 413"/>
              <a:gd name="T54" fmla="*/ 222 w 410"/>
              <a:gd name="T55" fmla="*/ 342 h 413"/>
              <a:gd name="T56" fmla="*/ 297 w 410"/>
              <a:gd name="T57" fmla="*/ 404 h 413"/>
              <a:gd name="T58" fmla="*/ 10 w 410"/>
              <a:gd name="T59" fmla="*/ 404 h 413"/>
              <a:gd name="T60" fmla="*/ 262 w 410"/>
              <a:gd name="T61" fmla="*/ 270 h 413"/>
              <a:gd name="T62" fmla="*/ 286 w 410"/>
              <a:gd name="T63" fmla="*/ 250 h 413"/>
              <a:gd name="T64" fmla="*/ 262 w 410"/>
              <a:gd name="T65" fmla="*/ 229 h 413"/>
              <a:gd name="T66" fmla="*/ 237 w 410"/>
              <a:gd name="T67" fmla="*/ 250 h 413"/>
              <a:gd name="T68" fmla="*/ 262 w 410"/>
              <a:gd name="T69" fmla="*/ 270 h 413"/>
              <a:gd name="T70" fmla="*/ 262 w 410"/>
              <a:gd name="T71" fmla="*/ 238 h 413"/>
              <a:gd name="T72" fmla="*/ 276 w 410"/>
              <a:gd name="T73" fmla="*/ 250 h 413"/>
              <a:gd name="T74" fmla="*/ 262 w 410"/>
              <a:gd name="T75" fmla="*/ 261 h 413"/>
              <a:gd name="T76" fmla="*/ 247 w 410"/>
              <a:gd name="T77" fmla="*/ 250 h 413"/>
              <a:gd name="T78" fmla="*/ 262 w 410"/>
              <a:gd name="T79" fmla="*/ 238 h 413"/>
              <a:gd name="T80" fmla="*/ 327 w 410"/>
              <a:gd name="T81" fmla="*/ 0 h 413"/>
              <a:gd name="T82" fmla="*/ 244 w 410"/>
              <a:gd name="T83" fmla="*/ 69 h 413"/>
              <a:gd name="T84" fmla="*/ 327 w 410"/>
              <a:gd name="T85" fmla="*/ 138 h 413"/>
              <a:gd name="T86" fmla="*/ 410 w 410"/>
              <a:gd name="T87" fmla="*/ 69 h 413"/>
              <a:gd name="T88" fmla="*/ 327 w 410"/>
              <a:gd name="T89" fmla="*/ 0 h 413"/>
              <a:gd name="T90" fmla="*/ 327 w 410"/>
              <a:gd name="T91" fmla="*/ 129 h 413"/>
              <a:gd name="T92" fmla="*/ 253 w 410"/>
              <a:gd name="T93" fmla="*/ 69 h 413"/>
              <a:gd name="T94" fmla="*/ 327 w 410"/>
              <a:gd name="T95" fmla="*/ 9 h 413"/>
              <a:gd name="T96" fmla="*/ 401 w 410"/>
              <a:gd name="T97" fmla="*/ 69 h 413"/>
              <a:gd name="T98" fmla="*/ 327 w 410"/>
              <a:gd name="T99" fmla="*/ 129 h 413"/>
              <a:gd name="T100" fmla="*/ 318 w 410"/>
              <a:gd name="T101" fmla="*/ 167 h 413"/>
              <a:gd name="T102" fmla="*/ 281 w 410"/>
              <a:gd name="T103" fmla="*/ 199 h 413"/>
              <a:gd name="T104" fmla="*/ 318 w 410"/>
              <a:gd name="T105" fmla="*/ 230 h 413"/>
              <a:gd name="T106" fmla="*/ 355 w 410"/>
              <a:gd name="T107" fmla="*/ 199 h 413"/>
              <a:gd name="T108" fmla="*/ 318 w 410"/>
              <a:gd name="T109" fmla="*/ 167 h 413"/>
              <a:gd name="T110" fmla="*/ 318 w 410"/>
              <a:gd name="T111" fmla="*/ 220 h 413"/>
              <a:gd name="T112" fmla="*/ 290 w 410"/>
              <a:gd name="T113" fmla="*/ 199 h 413"/>
              <a:gd name="T114" fmla="*/ 318 w 410"/>
              <a:gd name="T115" fmla="*/ 177 h 413"/>
              <a:gd name="T116" fmla="*/ 345 w 410"/>
              <a:gd name="T117" fmla="*/ 199 h 413"/>
              <a:gd name="T118" fmla="*/ 318 w 410"/>
              <a:gd name="T119" fmla="*/ 220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10" h="413">
                <a:moveTo>
                  <a:pt x="224" y="333"/>
                </a:moveTo>
                <a:cubicBezTo>
                  <a:pt x="204" y="327"/>
                  <a:pt x="198" y="295"/>
                  <a:pt x="197" y="274"/>
                </a:cubicBezTo>
                <a:cubicBezTo>
                  <a:pt x="215" y="257"/>
                  <a:pt x="227" y="229"/>
                  <a:pt x="227" y="199"/>
                </a:cubicBezTo>
                <a:cubicBezTo>
                  <a:pt x="227" y="139"/>
                  <a:pt x="199" y="102"/>
                  <a:pt x="153" y="102"/>
                </a:cubicBezTo>
                <a:cubicBezTo>
                  <a:pt x="108" y="102"/>
                  <a:pt x="80" y="139"/>
                  <a:pt x="80" y="199"/>
                </a:cubicBezTo>
                <a:cubicBezTo>
                  <a:pt x="80" y="229"/>
                  <a:pt x="93" y="258"/>
                  <a:pt x="111" y="276"/>
                </a:cubicBezTo>
                <a:cubicBezTo>
                  <a:pt x="110" y="298"/>
                  <a:pt x="104" y="326"/>
                  <a:pt x="85" y="332"/>
                </a:cubicBezTo>
                <a:cubicBezTo>
                  <a:pt x="30" y="343"/>
                  <a:pt x="0" y="370"/>
                  <a:pt x="0" y="409"/>
                </a:cubicBezTo>
                <a:cubicBezTo>
                  <a:pt x="0" y="411"/>
                  <a:pt x="2" y="413"/>
                  <a:pt x="5" y="413"/>
                </a:cubicBezTo>
                <a:cubicBezTo>
                  <a:pt x="302" y="413"/>
                  <a:pt x="302" y="413"/>
                  <a:pt x="302" y="413"/>
                </a:cubicBezTo>
                <a:cubicBezTo>
                  <a:pt x="305" y="413"/>
                  <a:pt x="307" y="411"/>
                  <a:pt x="307" y="409"/>
                </a:cubicBezTo>
                <a:cubicBezTo>
                  <a:pt x="307" y="370"/>
                  <a:pt x="278" y="344"/>
                  <a:pt x="224" y="333"/>
                </a:cubicBezTo>
                <a:close/>
                <a:moveTo>
                  <a:pt x="90" y="199"/>
                </a:moveTo>
                <a:cubicBezTo>
                  <a:pt x="90" y="157"/>
                  <a:pt x="107" y="112"/>
                  <a:pt x="153" y="112"/>
                </a:cubicBezTo>
                <a:cubicBezTo>
                  <a:pt x="200" y="112"/>
                  <a:pt x="217" y="157"/>
                  <a:pt x="217" y="199"/>
                </a:cubicBezTo>
                <a:cubicBezTo>
                  <a:pt x="217" y="248"/>
                  <a:pt x="184" y="285"/>
                  <a:pt x="153" y="285"/>
                </a:cubicBezTo>
                <a:cubicBezTo>
                  <a:pt x="141" y="285"/>
                  <a:pt x="129" y="280"/>
                  <a:pt x="120" y="271"/>
                </a:cubicBezTo>
                <a:cubicBezTo>
                  <a:pt x="119" y="270"/>
                  <a:pt x="119" y="270"/>
                  <a:pt x="118" y="269"/>
                </a:cubicBezTo>
                <a:cubicBezTo>
                  <a:pt x="101" y="252"/>
                  <a:pt x="90" y="224"/>
                  <a:pt x="90" y="199"/>
                </a:cubicBezTo>
                <a:close/>
                <a:moveTo>
                  <a:pt x="10" y="404"/>
                </a:moveTo>
                <a:cubicBezTo>
                  <a:pt x="12" y="372"/>
                  <a:pt x="38" y="351"/>
                  <a:pt x="87" y="341"/>
                </a:cubicBezTo>
                <a:cubicBezTo>
                  <a:pt x="88" y="341"/>
                  <a:pt x="88" y="341"/>
                  <a:pt x="88" y="341"/>
                </a:cubicBezTo>
                <a:cubicBezTo>
                  <a:pt x="109" y="335"/>
                  <a:pt x="118" y="308"/>
                  <a:pt x="120" y="283"/>
                </a:cubicBezTo>
                <a:cubicBezTo>
                  <a:pt x="130" y="290"/>
                  <a:pt x="142" y="295"/>
                  <a:pt x="153" y="295"/>
                </a:cubicBezTo>
                <a:cubicBezTo>
                  <a:pt x="166" y="295"/>
                  <a:pt x="178" y="290"/>
                  <a:pt x="188" y="282"/>
                </a:cubicBezTo>
                <a:cubicBezTo>
                  <a:pt x="189" y="293"/>
                  <a:pt x="191" y="304"/>
                  <a:pt x="194" y="313"/>
                </a:cubicBezTo>
                <a:cubicBezTo>
                  <a:pt x="200" y="328"/>
                  <a:pt x="209" y="339"/>
                  <a:pt x="221" y="342"/>
                </a:cubicBezTo>
                <a:cubicBezTo>
                  <a:pt x="222" y="342"/>
                  <a:pt x="222" y="342"/>
                  <a:pt x="222" y="342"/>
                </a:cubicBezTo>
                <a:cubicBezTo>
                  <a:pt x="270" y="352"/>
                  <a:pt x="295" y="373"/>
                  <a:pt x="297" y="404"/>
                </a:cubicBezTo>
                <a:lnTo>
                  <a:pt x="10" y="404"/>
                </a:lnTo>
                <a:close/>
                <a:moveTo>
                  <a:pt x="262" y="270"/>
                </a:moveTo>
                <a:cubicBezTo>
                  <a:pt x="275" y="270"/>
                  <a:pt x="286" y="261"/>
                  <a:pt x="286" y="250"/>
                </a:cubicBezTo>
                <a:cubicBezTo>
                  <a:pt x="286" y="238"/>
                  <a:pt x="275" y="229"/>
                  <a:pt x="262" y="229"/>
                </a:cubicBezTo>
                <a:cubicBezTo>
                  <a:pt x="248" y="229"/>
                  <a:pt x="237" y="238"/>
                  <a:pt x="237" y="250"/>
                </a:cubicBezTo>
                <a:cubicBezTo>
                  <a:pt x="237" y="261"/>
                  <a:pt x="248" y="270"/>
                  <a:pt x="262" y="270"/>
                </a:cubicBezTo>
                <a:close/>
                <a:moveTo>
                  <a:pt x="262" y="238"/>
                </a:moveTo>
                <a:cubicBezTo>
                  <a:pt x="270" y="238"/>
                  <a:pt x="276" y="243"/>
                  <a:pt x="276" y="250"/>
                </a:cubicBezTo>
                <a:cubicBezTo>
                  <a:pt x="276" y="256"/>
                  <a:pt x="270" y="261"/>
                  <a:pt x="262" y="261"/>
                </a:cubicBezTo>
                <a:cubicBezTo>
                  <a:pt x="253" y="261"/>
                  <a:pt x="247" y="256"/>
                  <a:pt x="247" y="250"/>
                </a:cubicBezTo>
                <a:cubicBezTo>
                  <a:pt x="247" y="243"/>
                  <a:pt x="253" y="238"/>
                  <a:pt x="262" y="238"/>
                </a:cubicBezTo>
                <a:close/>
                <a:moveTo>
                  <a:pt x="327" y="0"/>
                </a:moveTo>
                <a:cubicBezTo>
                  <a:pt x="281" y="0"/>
                  <a:pt x="244" y="31"/>
                  <a:pt x="244" y="69"/>
                </a:cubicBezTo>
                <a:cubicBezTo>
                  <a:pt x="244" y="107"/>
                  <a:pt x="281" y="138"/>
                  <a:pt x="327" y="138"/>
                </a:cubicBezTo>
                <a:cubicBezTo>
                  <a:pt x="373" y="138"/>
                  <a:pt x="410" y="107"/>
                  <a:pt x="410" y="69"/>
                </a:cubicBezTo>
                <a:cubicBezTo>
                  <a:pt x="410" y="31"/>
                  <a:pt x="373" y="0"/>
                  <a:pt x="327" y="0"/>
                </a:cubicBezTo>
                <a:close/>
                <a:moveTo>
                  <a:pt x="327" y="129"/>
                </a:moveTo>
                <a:cubicBezTo>
                  <a:pt x="286" y="129"/>
                  <a:pt x="253" y="102"/>
                  <a:pt x="253" y="69"/>
                </a:cubicBezTo>
                <a:cubicBezTo>
                  <a:pt x="253" y="36"/>
                  <a:pt x="286" y="9"/>
                  <a:pt x="327" y="9"/>
                </a:cubicBezTo>
                <a:cubicBezTo>
                  <a:pt x="368" y="9"/>
                  <a:pt x="401" y="36"/>
                  <a:pt x="401" y="69"/>
                </a:cubicBezTo>
                <a:cubicBezTo>
                  <a:pt x="401" y="102"/>
                  <a:pt x="368" y="129"/>
                  <a:pt x="327" y="129"/>
                </a:cubicBezTo>
                <a:close/>
                <a:moveTo>
                  <a:pt x="318" y="167"/>
                </a:moveTo>
                <a:cubicBezTo>
                  <a:pt x="298" y="167"/>
                  <a:pt x="281" y="181"/>
                  <a:pt x="281" y="199"/>
                </a:cubicBezTo>
                <a:cubicBezTo>
                  <a:pt x="281" y="216"/>
                  <a:pt x="298" y="230"/>
                  <a:pt x="318" y="230"/>
                </a:cubicBezTo>
                <a:cubicBezTo>
                  <a:pt x="338" y="230"/>
                  <a:pt x="355" y="216"/>
                  <a:pt x="355" y="199"/>
                </a:cubicBezTo>
                <a:cubicBezTo>
                  <a:pt x="355" y="181"/>
                  <a:pt x="338" y="167"/>
                  <a:pt x="318" y="167"/>
                </a:cubicBezTo>
                <a:close/>
                <a:moveTo>
                  <a:pt x="318" y="220"/>
                </a:moveTo>
                <a:cubicBezTo>
                  <a:pt x="303" y="220"/>
                  <a:pt x="290" y="211"/>
                  <a:pt x="290" y="199"/>
                </a:cubicBezTo>
                <a:cubicBezTo>
                  <a:pt x="290" y="187"/>
                  <a:pt x="303" y="177"/>
                  <a:pt x="318" y="177"/>
                </a:cubicBezTo>
                <a:cubicBezTo>
                  <a:pt x="333" y="177"/>
                  <a:pt x="345" y="187"/>
                  <a:pt x="345" y="199"/>
                </a:cubicBezTo>
                <a:cubicBezTo>
                  <a:pt x="345" y="211"/>
                  <a:pt x="333" y="220"/>
                  <a:pt x="318" y="22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77" name="Oval 14"/>
          <p:cNvSpPr>
            <a:spLocks noChangeArrowheads="1"/>
          </p:cNvSpPr>
          <p:nvPr/>
        </p:nvSpPr>
        <p:spPr bwMode="auto">
          <a:xfrm>
            <a:off x="3552358" y="210827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2" name="Freeform 33"/>
          <p:cNvSpPr>
            <a:spLocks noEditPoints="1"/>
          </p:cNvSpPr>
          <p:nvPr/>
        </p:nvSpPr>
        <p:spPr bwMode="auto">
          <a:xfrm>
            <a:off x="3683816" y="2240554"/>
            <a:ext cx="560043" cy="419778"/>
          </a:xfrm>
          <a:custGeom>
            <a:avLst/>
            <a:gdLst>
              <a:gd name="T0" fmla="*/ 169 w 485"/>
              <a:gd name="T1" fmla="*/ 91 h 364"/>
              <a:gd name="T2" fmla="*/ 169 w 485"/>
              <a:gd name="T3" fmla="*/ 81 h 364"/>
              <a:gd name="T4" fmla="*/ 177 w 485"/>
              <a:gd name="T5" fmla="*/ 74 h 364"/>
              <a:gd name="T6" fmla="*/ 123 w 485"/>
              <a:gd name="T7" fmla="*/ 279 h 364"/>
              <a:gd name="T8" fmla="*/ 49 w 485"/>
              <a:gd name="T9" fmla="*/ 232 h 364"/>
              <a:gd name="T10" fmla="*/ 0 w 485"/>
              <a:gd name="T11" fmla="*/ 359 h 364"/>
              <a:gd name="T12" fmla="*/ 190 w 485"/>
              <a:gd name="T13" fmla="*/ 359 h 364"/>
              <a:gd name="T14" fmla="*/ 95 w 485"/>
              <a:gd name="T15" fmla="*/ 181 h 364"/>
              <a:gd name="T16" fmla="*/ 58 w 485"/>
              <a:gd name="T17" fmla="*/ 232 h 364"/>
              <a:gd name="T18" fmla="*/ 56 w 485"/>
              <a:gd name="T19" fmla="*/ 320 h 364"/>
              <a:gd name="T20" fmla="*/ 114 w 485"/>
              <a:gd name="T21" fmla="*/ 286 h 364"/>
              <a:gd name="T22" fmla="*/ 180 w 485"/>
              <a:gd name="T23" fmla="*/ 355 h 364"/>
              <a:gd name="T24" fmla="*/ 246 w 485"/>
              <a:gd name="T25" fmla="*/ 109 h 364"/>
              <a:gd name="T26" fmla="*/ 262 w 485"/>
              <a:gd name="T27" fmla="*/ 92 h 364"/>
              <a:gd name="T28" fmla="*/ 262 w 485"/>
              <a:gd name="T29" fmla="*/ 102 h 364"/>
              <a:gd name="T30" fmla="*/ 316 w 485"/>
              <a:gd name="T31" fmla="*/ 109 h 364"/>
              <a:gd name="T32" fmla="*/ 299 w 485"/>
              <a:gd name="T33" fmla="*/ 126 h 364"/>
              <a:gd name="T34" fmla="*/ 292 w 485"/>
              <a:gd name="T35" fmla="*/ 109 h 364"/>
              <a:gd name="T36" fmla="*/ 299 w 485"/>
              <a:gd name="T37" fmla="*/ 117 h 364"/>
              <a:gd name="T38" fmla="*/ 327 w 485"/>
              <a:gd name="T39" fmla="*/ 215 h 364"/>
              <a:gd name="T40" fmla="*/ 378 w 485"/>
              <a:gd name="T41" fmla="*/ 108 h 364"/>
              <a:gd name="T42" fmla="*/ 203 w 485"/>
              <a:gd name="T43" fmla="*/ 0 h 364"/>
              <a:gd name="T44" fmla="*/ 154 w 485"/>
              <a:gd name="T45" fmla="*/ 183 h 364"/>
              <a:gd name="T46" fmla="*/ 208 w 485"/>
              <a:gd name="T47" fmla="*/ 143 h 364"/>
              <a:gd name="T48" fmla="*/ 321 w 485"/>
              <a:gd name="T49" fmla="*/ 216 h 364"/>
              <a:gd name="T50" fmla="*/ 226 w 485"/>
              <a:gd name="T51" fmla="*/ 130 h 364"/>
              <a:gd name="T52" fmla="*/ 199 w 485"/>
              <a:gd name="T53" fmla="*/ 137 h 364"/>
              <a:gd name="T54" fmla="*/ 180 w 485"/>
              <a:gd name="T55" fmla="*/ 134 h 364"/>
              <a:gd name="T56" fmla="*/ 131 w 485"/>
              <a:gd name="T57" fmla="*/ 71 h 364"/>
              <a:gd name="T58" fmla="*/ 275 w 485"/>
              <a:gd name="T59" fmla="*/ 49 h 364"/>
              <a:gd name="T60" fmla="*/ 314 w 485"/>
              <a:gd name="T61" fmla="*/ 169 h 364"/>
              <a:gd name="T62" fmla="*/ 296 w 485"/>
              <a:gd name="T63" fmla="*/ 173 h 364"/>
              <a:gd name="T64" fmla="*/ 418 w 485"/>
              <a:gd name="T65" fmla="*/ 279 h 364"/>
              <a:gd name="T66" fmla="*/ 343 w 485"/>
              <a:gd name="T67" fmla="*/ 232 h 364"/>
              <a:gd name="T68" fmla="*/ 295 w 485"/>
              <a:gd name="T69" fmla="*/ 359 h 364"/>
              <a:gd name="T70" fmla="*/ 485 w 485"/>
              <a:gd name="T71" fmla="*/ 359 h 364"/>
              <a:gd name="T72" fmla="*/ 390 w 485"/>
              <a:gd name="T73" fmla="*/ 181 h 364"/>
              <a:gd name="T74" fmla="*/ 353 w 485"/>
              <a:gd name="T75" fmla="*/ 232 h 364"/>
              <a:gd name="T76" fmla="*/ 350 w 485"/>
              <a:gd name="T77" fmla="*/ 320 h 364"/>
              <a:gd name="T78" fmla="*/ 409 w 485"/>
              <a:gd name="T79" fmla="*/ 286 h 364"/>
              <a:gd name="T80" fmla="*/ 475 w 485"/>
              <a:gd name="T81" fmla="*/ 355 h 364"/>
              <a:gd name="T82" fmla="*/ 189 w 485"/>
              <a:gd name="T83" fmla="*/ 74 h 364"/>
              <a:gd name="T84" fmla="*/ 206 w 485"/>
              <a:gd name="T85" fmla="*/ 57 h 364"/>
              <a:gd name="T86" fmla="*/ 206 w 485"/>
              <a:gd name="T87" fmla="*/ 66 h 364"/>
              <a:gd name="T88" fmla="*/ 260 w 485"/>
              <a:gd name="T89" fmla="*/ 74 h 364"/>
              <a:gd name="T90" fmla="*/ 243 w 485"/>
              <a:gd name="T91" fmla="*/ 91 h 364"/>
              <a:gd name="T92" fmla="*/ 236 w 485"/>
              <a:gd name="T93" fmla="*/ 74 h 364"/>
              <a:gd name="T94" fmla="*/ 243 w 485"/>
              <a:gd name="T95" fmla="*/ 81 h 364"/>
              <a:gd name="T96" fmla="*/ 336 w 485"/>
              <a:gd name="T97" fmla="*/ 92 h 364"/>
              <a:gd name="T98" fmla="*/ 336 w 485"/>
              <a:gd name="T99" fmla="*/ 102 h 364"/>
              <a:gd name="T100" fmla="*/ 329 w 485"/>
              <a:gd name="T101" fmla="*/ 109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85" h="364">
                <a:moveTo>
                  <a:pt x="169" y="57"/>
                </a:moveTo>
                <a:cubicBezTo>
                  <a:pt x="160" y="57"/>
                  <a:pt x="153" y="65"/>
                  <a:pt x="153" y="74"/>
                </a:cubicBezTo>
                <a:cubicBezTo>
                  <a:pt x="153" y="83"/>
                  <a:pt x="160" y="91"/>
                  <a:pt x="169" y="91"/>
                </a:cubicBezTo>
                <a:cubicBezTo>
                  <a:pt x="179" y="91"/>
                  <a:pt x="186" y="83"/>
                  <a:pt x="186" y="74"/>
                </a:cubicBezTo>
                <a:cubicBezTo>
                  <a:pt x="186" y="65"/>
                  <a:pt x="179" y="57"/>
                  <a:pt x="169" y="57"/>
                </a:cubicBezTo>
                <a:close/>
                <a:moveTo>
                  <a:pt x="169" y="81"/>
                </a:moveTo>
                <a:cubicBezTo>
                  <a:pt x="165" y="81"/>
                  <a:pt x="162" y="78"/>
                  <a:pt x="162" y="74"/>
                </a:cubicBezTo>
                <a:cubicBezTo>
                  <a:pt x="162" y="70"/>
                  <a:pt x="165" y="66"/>
                  <a:pt x="169" y="66"/>
                </a:cubicBezTo>
                <a:cubicBezTo>
                  <a:pt x="173" y="66"/>
                  <a:pt x="177" y="70"/>
                  <a:pt x="177" y="74"/>
                </a:cubicBezTo>
                <a:cubicBezTo>
                  <a:pt x="177" y="78"/>
                  <a:pt x="173" y="81"/>
                  <a:pt x="169" y="81"/>
                </a:cubicBezTo>
                <a:close/>
                <a:moveTo>
                  <a:pt x="138" y="312"/>
                </a:moveTo>
                <a:cubicBezTo>
                  <a:pt x="127" y="309"/>
                  <a:pt x="124" y="290"/>
                  <a:pt x="123" y="279"/>
                </a:cubicBezTo>
                <a:cubicBezTo>
                  <a:pt x="134" y="267"/>
                  <a:pt x="141" y="250"/>
                  <a:pt x="141" y="232"/>
                </a:cubicBezTo>
                <a:cubicBezTo>
                  <a:pt x="141" y="195"/>
                  <a:pt x="123" y="171"/>
                  <a:pt x="95" y="171"/>
                </a:cubicBezTo>
                <a:cubicBezTo>
                  <a:pt x="66" y="171"/>
                  <a:pt x="49" y="195"/>
                  <a:pt x="49" y="232"/>
                </a:cubicBezTo>
                <a:cubicBezTo>
                  <a:pt x="49" y="251"/>
                  <a:pt x="56" y="268"/>
                  <a:pt x="67" y="279"/>
                </a:cubicBezTo>
                <a:cubicBezTo>
                  <a:pt x="67" y="293"/>
                  <a:pt x="62" y="308"/>
                  <a:pt x="53" y="311"/>
                </a:cubicBezTo>
                <a:cubicBezTo>
                  <a:pt x="9" y="320"/>
                  <a:pt x="0" y="342"/>
                  <a:pt x="0" y="359"/>
                </a:cubicBezTo>
                <a:cubicBezTo>
                  <a:pt x="0" y="362"/>
                  <a:pt x="2" y="364"/>
                  <a:pt x="4" y="364"/>
                </a:cubicBezTo>
                <a:cubicBezTo>
                  <a:pt x="185" y="364"/>
                  <a:pt x="185" y="364"/>
                  <a:pt x="185" y="364"/>
                </a:cubicBezTo>
                <a:cubicBezTo>
                  <a:pt x="188" y="364"/>
                  <a:pt x="190" y="362"/>
                  <a:pt x="190" y="359"/>
                </a:cubicBezTo>
                <a:cubicBezTo>
                  <a:pt x="190" y="343"/>
                  <a:pt x="181" y="321"/>
                  <a:pt x="138" y="312"/>
                </a:cubicBezTo>
                <a:close/>
                <a:moveTo>
                  <a:pt x="58" y="232"/>
                </a:moveTo>
                <a:cubicBezTo>
                  <a:pt x="58" y="185"/>
                  <a:pt x="86" y="181"/>
                  <a:pt x="95" y="181"/>
                </a:cubicBezTo>
                <a:cubicBezTo>
                  <a:pt x="104" y="181"/>
                  <a:pt x="132" y="185"/>
                  <a:pt x="132" y="232"/>
                </a:cubicBezTo>
                <a:cubicBezTo>
                  <a:pt x="132" y="261"/>
                  <a:pt x="112" y="283"/>
                  <a:pt x="95" y="283"/>
                </a:cubicBezTo>
                <a:cubicBezTo>
                  <a:pt x="77" y="283"/>
                  <a:pt x="58" y="261"/>
                  <a:pt x="58" y="232"/>
                </a:cubicBezTo>
                <a:close/>
                <a:moveTo>
                  <a:pt x="9" y="355"/>
                </a:moveTo>
                <a:cubicBezTo>
                  <a:pt x="12" y="338"/>
                  <a:pt x="27" y="326"/>
                  <a:pt x="55" y="320"/>
                </a:cubicBezTo>
                <a:cubicBezTo>
                  <a:pt x="55" y="320"/>
                  <a:pt x="55" y="320"/>
                  <a:pt x="56" y="320"/>
                </a:cubicBezTo>
                <a:cubicBezTo>
                  <a:pt x="68" y="316"/>
                  <a:pt x="74" y="301"/>
                  <a:pt x="76" y="286"/>
                </a:cubicBezTo>
                <a:cubicBezTo>
                  <a:pt x="82" y="290"/>
                  <a:pt x="88" y="292"/>
                  <a:pt x="95" y="292"/>
                </a:cubicBezTo>
                <a:cubicBezTo>
                  <a:pt x="102" y="292"/>
                  <a:pt x="108" y="290"/>
                  <a:pt x="114" y="286"/>
                </a:cubicBezTo>
                <a:cubicBezTo>
                  <a:pt x="116" y="302"/>
                  <a:pt x="122" y="317"/>
                  <a:pt x="136" y="321"/>
                </a:cubicBezTo>
                <a:cubicBezTo>
                  <a:pt x="136" y="321"/>
                  <a:pt x="136" y="321"/>
                  <a:pt x="136" y="321"/>
                </a:cubicBezTo>
                <a:cubicBezTo>
                  <a:pt x="163" y="326"/>
                  <a:pt x="178" y="338"/>
                  <a:pt x="180" y="355"/>
                </a:cubicBezTo>
                <a:lnTo>
                  <a:pt x="9" y="355"/>
                </a:lnTo>
                <a:close/>
                <a:moveTo>
                  <a:pt x="262" y="92"/>
                </a:moveTo>
                <a:cubicBezTo>
                  <a:pt x="253" y="92"/>
                  <a:pt x="246" y="100"/>
                  <a:pt x="246" y="109"/>
                </a:cubicBezTo>
                <a:cubicBezTo>
                  <a:pt x="246" y="118"/>
                  <a:pt x="253" y="126"/>
                  <a:pt x="262" y="126"/>
                </a:cubicBezTo>
                <a:cubicBezTo>
                  <a:pt x="272" y="126"/>
                  <a:pt x="279" y="118"/>
                  <a:pt x="279" y="109"/>
                </a:cubicBezTo>
                <a:cubicBezTo>
                  <a:pt x="279" y="100"/>
                  <a:pt x="272" y="92"/>
                  <a:pt x="262" y="92"/>
                </a:cubicBezTo>
                <a:close/>
                <a:moveTo>
                  <a:pt x="262" y="117"/>
                </a:moveTo>
                <a:cubicBezTo>
                  <a:pt x="258" y="117"/>
                  <a:pt x="255" y="113"/>
                  <a:pt x="255" y="109"/>
                </a:cubicBezTo>
                <a:cubicBezTo>
                  <a:pt x="255" y="105"/>
                  <a:pt x="258" y="102"/>
                  <a:pt x="262" y="102"/>
                </a:cubicBezTo>
                <a:cubicBezTo>
                  <a:pt x="267" y="102"/>
                  <a:pt x="270" y="105"/>
                  <a:pt x="270" y="109"/>
                </a:cubicBezTo>
                <a:cubicBezTo>
                  <a:pt x="270" y="113"/>
                  <a:pt x="267" y="117"/>
                  <a:pt x="262" y="117"/>
                </a:cubicBezTo>
                <a:close/>
                <a:moveTo>
                  <a:pt x="316" y="109"/>
                </a:moveTo>
                <a:cubicBezTo>
                  <a:pt x="316" y="100"/>
                  <a:pt x="308" y="92"/>
                  <a:pt x="299" y="92"/>
                </a:cubicBezTo>
                <a:cubicBezTo>
                  <a:pt x="290" y="92"/>
                  <a:pt x="282" y="100"/>
                  <a:pt x="282" y="109"/>
                </a:cubicBezTo>
                <a:cubicBezTo>
                  <a:pt x="282" y="118"/>
                  <a:pt x="290" y="126"/>
                  <a:pt x="299" y="126"/>
                </a:cubicBezTo>
                <a:cubicBezTo>
                  <a:pt x="308" y="126"/>
                  <a:pt x="316" y="118"/>
                  <a:pt x="316" y="109"/>
                </a:cubicBezTo>
                <a:close/>
                <a:moveTo>
                  <a:pt x="299" y="117"/>
                </a:moveTo>
                <a:cubicBezTo>
                  <a:pt x="295" y="117"/>
                  <a:pt x="292" y="113"/>
                  <a:pt x="292" y="109"/>
                </a:cubicBezTo>
                <a:cubicBezTo>
                  <a:pt x="292" y="105"/>
                  <a:pt x="295" y="102"/>
                  <a:pt x="299" y="102"/>
                </a:cubicBezTo>
                <a:cubicBezTo>
                  <a:pt x="303" y="102"/>
                  <a:pt x="307" y="105"/>
                  <a:pt x="307" y="109"/>
                </a:cubicBezTo>
                <a:cubicBezTo>
                  <a:pt x="307" y="113"/>
                  <a:pt x="303" y="117"/>
                  <a:pt x="299" y="117"/>
                </a:cubicBezTo>
                <a:close/>
                <a:moveTo>
                  <a:pt x="321" y="216"/>
                </a:moveTo>
                <a:cubicBezTo>
                  <a:pt x="322" y="216"/>
                  <a:pt x="323" y="216"/>
                  <a:pt x="324" y="216"/>
                </a:cubicBezTo>
                <a:cubicBezTo>
                  <a:pt x="325" y="216"/>
                  <a:pt x="326" y="216"/>
                  <a:pt x="327" y="215"/>
                </a:cubicBezTo>
                <a:cubicBezTo>
                  <a:pt x="328" y="214"/>
                  <a:pt x="329" y="212"/>
                  <a:pt x="328" y="210"/>
                </a:cubicBezTo>
                <a:cubicBezTo>
                  <a:pt x="328" y="210"/>
                  <a:pt x="321" y="195"/>
                  <a:pt x="320" y="177"/>
                </a:cubicBezTo>
                <a:cubicBezTo>
                  <a:pt x="354" y="168"/>
                  <a:pt x="378" y="140"/>
                  <a:pt x="378" y="108"/>
                </a:cubicBezTo>
                <a:cubicBezTo>
                  <a:pt x="378" y="69"/>
                  <a:pt x="341" y="37"/>
                  <a:pt x="296" y="37"/>
                </a:cubicBezTo>
                <a:cubicBezTo>
                  <a:pt x="289" y="37"/>
                  <a:pt x="283" y="37"/>
                  <a:pt x="276" y="39"/>
                </a:cubicBezTo>
                <a:cubicBezTo>
                  <a:pt x="262" y="15"/>
                  <a:pt x="234" y="0"/>
                  <a:pt x="203" y="0"/>
                </a:cubicBezTo>
                <a:cubicBezTo>
                  <a:pt x="158" y="0"/>
                  <a:pt x="122" y="32"/>
                  <a:pt x="122" y="71"/>
                </a:cubicBezTo>
                <a:cubicBezTo>
                  <a:pt x="122" y="100"/>
                  <a:pt x="141" y="125"/>
                  <a:pt x="171" y="137"/>
                </a:cubicBezTo>
                <a:cubicBezTo>
                  <a:pt x="169" y="163"/>
                  <a:pt x="154" y="183"/>
                  <a:pt x="154" y="183"/>
                </a:cubicBezTo>
                <a:cubicBezTo>
                  <a:pt x="152" y="185"/>
                  <a:pt x="152" y="188"/>
                  <a:pt x="154" y="189"/>
                </a:cubicBezTo>
                <a:cubicBezTo>
                  <a:pt x="155" y="191"/>
                  <a:pt x="157" y="191"/>
                  <a:pt x="159" y="191"/>
                </a:cubicBezTo>
                <a:cubicBezTo>
                  <a:pt x="184" y="179"/>
                  <a:pt x="200" y="164"/>
                  <a:pt x="208" y="143"/>
                </a:cubicBezTo>
                <a:cubicBezTo>
                  <a:pt x="213" y="142"/>
                  <a:pt x="218" y="142"/>
                  <a:pt x="224" y="141"/>
                </a:cubicBezTo>
                <a:cubicBezTo>
                  <a:pt x="236" y="163"/>
                  <a:pt x="261" y="177"/>
                  <a:pt x="289" y="179"/>
                </a:cubicBezTo>
                <a:cubicBezTo>
                  <a:pt x="295" y="193"/>
                  <a:pt x="306" y="205"/>
                  <a:pt x="321" y="216"/>
                </a:cubicBezTo>
                <a:close/>
                <a:moveTo>
                  <a:pt x="292" y="170"/>
                </a:moveTo>
                <a:cubicBezTo>
                  <a:pt x="265" y="169"/>
                  <a:pt x="241" y="155"/>
                  <a:pt x="230" y="133"/>
                </a:cubicBezTo>
                <a:cubicBezTo>
                  <a:pt x="229" y="131"/>
                  <a:pt x="228" y="130"/>
                  <a:pt x="226" y="130"/>
                </a:cubicBezTo>
                <a:cubicBezTo>
                  <a:pt x="226" y="130"/>
                  <a:pt x="225" y="130"/>
                  <a:pt x="225" y="131"/>
                </a:cubicBezTo>
                <a:cubicBezTo>
                  <a:pt x="218" y="132"/>
                  <a:pt x="211" y="133"/>
                  <a:pt x="204" y="133"/>
                </a:cubicBezTo>
                <a:cubicBezTo>
                  <a:pt x="202" y="133"/>
                  <a:pt x="200" y="135"/>
                  <a:pt x="199" y="137"/>
                </a:cubicBezTo>
                <a:cubicBezTo>
                  <a:pt x="199" y="138"/>
                  <a:pt x="199" y="138"/>
                  <a:pt x="199" y="139"/>
                </a:cubicBezTo>
                <a:cubicBezTo>
                  <a:pt x="194" y="154"/>
                  <a:pt x="185" y="165"/>
                  <a:pt x="170" y="175"/>
                </a:cubicBezTo>
                <a:cubicBezTo>
                  <a:pt x="175" y="165"/>
                  <a:pt x="180" y="150"/>
                  <a:pt x="180" y="134"/>
                </a:cubicBezTo>
                <a:cubicBezTo>
                  <a:pt x="180" y="134"/>
                  <a:pt x="180" y="134"/>
                  <a:pt x="180" y="134"/>
                </a:cubicBezTo>
                <a:cubicBezTo>
                  <a:pt x="180" y="132"/>
                  <a:pt x="179" y="130"/>
                  <a:pt x="177" y="129"/>
                </a:cubicBezTo>
                <a:cubicBezTo>
                  <a:pt x="149" y="120"/>
                  <a:pt x="131" y="97"/>
                  <a:pt x="131" y="71"/>
                </a:cubicBezTo>
                <a:cubicBezTo>
                  <a:pt x="131" y="37"/>
                  <a:pt x="164" y="9"/>
                  <a:pt x="203" y="9"/>
                </a:cubicBezTo>
                <a:cubicBezTo>
                  <a:pt x="232" y="9"/>
                  <a:pt x="258" y="24"/>
                  <a:pt x="269" y="47"/>
                </a:cubicBezTo>
                <a:cubicBezTo>
                  <a:pt x="270" y="48"/>
                  <a:pt x="273" y="49"/>
                  <a:pt x="275" y="49"/>
                </a:cubicBezTo>
                <a:cubicBezTo>
                  <a:pt x="282" y="47"/>
                  <a:pt x="289" y="46"/>
                  <a:pt x="296" y="46"/>
                </a:cubicBezTo>
                <a:cubicBezTo>
                  <a:pt x="336" y="46"/>
                  <a:pt x="368" y="74"/>
                  <a:pt x="368" y="108"/>
                </a:cubicBezTo>
                <a:cubicBezTo>
                  <a:pt x="368" y="137"/>
                  <a:pt x="346" y="162"/>
                  <a:pt x="314" y="169"/>
                </a:cubicBezTo>
                <a:cubicBezTo>
                  <a:pt x="312" y="169"/>
                  <a:pt x="310" y="171"/>
                  <a:pt x="310" y="173"/>
                </a:cubicBezTo>
                <a:cubicBezTo>
                  <a:pt x="311" y="183"/>
                  <a:pt x="312" y="191"/>
                  <a:pt x="314" y="198"/>
                </a:cubicBezTo>
                <a:cubicBezTo>
                  <a:pt x="306" y="190"/>
                  <a:pt x="300" y="182"/>
                  <a:pt x="296" y="173"/>
                </a:cubicBezTo>
                <a:cubicBezTo>
                  <a:pt x="296" y="171"/>
                  <a:pt x="294" y="170"/>
                  <a:pt x="292" y="170"/>
                </a:cubicBezTo>
                <a:close/>
                <a:moveTo>
                  <a:pt x="433" y="312"/>
                </a:moveTo>
                <a:cubicBezTo>
                  <a:pt x="422" y="309"/>
                  <a:pt x="418" y="290"/>
                  <a:pt x="418" y="279"/>
                </a:cubicBezTo>
                <a:cubicBezTo>
                  <a:pt x="429" y="267"/>
                  <a:pt x="436" y="250"/>
                  <a:pt x="436" y="232"/>
                </a:cubicBezTo>
                <a:cubicBezTo>
                  <a:pt x="436" y="195"/>
                  <a:pt x="418" y="171"/>
                  <a:pt x="390" y="171"/>
                </a:cubicBezTo>
                <a:cubicBezTo>
                  <a:pt x="361" y="171"/>
                  <a:pt x="343" y="195"/>
                  <a:pt x="343" y="232"/>
                </a:cubicBezTo>
                <a:cubicBezTo>
                  <a:pt x="343" y="251"/>
                  <a:pt x="351" y="268"/>
                  <a:pt x="362" y="279"/>
                </a:cubicBezTo>
                <a:cubicBezTo>
                  <a:pt x="362" y="293"/>
                  <a:pt x="357" y="308"/>
                  <a:pt x="348" y="311"/>
                </a:cubicBezTo>
                <a:cubicBezTo>
                  <a:pt x="304" y="320"/>
                  <a:pt x="295" y="342"/>
                  <a:pt x="295" y="359"/>
                </a:cubicBezTo>
                <a:cubicBezTo>
                  <a:pt x="295" y="362"/>
                  <a:pt x="297" y="364"/>
                  <a:pt x="299" y="364"/>
                </a:cubicBezTo>
                <a:cubicBezTo>
                  <a:pt x="480" y="364"/>
                  <a:pt x="480" y="364"/>
                  <a:pt x="480" y="364"/>
                </a:cubicBezTo>
                <a:cubicBezTo>
                  <a:pt x="483" y="364"/>
                  <a:pt x="485" y="362"/>
                  <a:pt x="485" y="359"/>
                </a:cubicBezTo>
                <a:cubicBezTo>
                  <a:pt x="485" y="343"/>
                  <a:pt x="476" y="321"/>
                  <a:pt x="433" y="312"/>
                </a:cubicBezTo>
                <a:close/>
                <a:moveTo>
                  <a:pt x="353" y="232"/>
                </a:moveTo>
                <a:cubicBezTo>
                  <a:pt x="353" y="185"/>
                  <a:pt x="381" y="181"/>
                  <a:pt x="390" y="181"/>
                </a:cubicBezTo>
                <a:cubicBezTo>
                  <a:pt x="398" y="181"/>
                  <a:pt x="427" y="185"/>
                  <a:pt x="427" y="232"/>
                </a:cubicBezTo>
                <a:cubicBezTo>
                  <a:pt x="427" y="261"/>
                  <a:pt x="407" y="283"/>
                  <a:pt x="390" y="283"/>
                </a:cubicBezTo>
                <a:cubicBezTo>
                  <a:pt x="372" y="283"/>
                  <a:pt x="353" y="261"/>
                  <a:pt x="353" y="232"/>
                </a:cubicBezTo>
                <a:close/>
                <a:moveTo>
                  <a:pt x="304" y="355"/>
                </a:moveTo>
                <a:cubicBezTo>
                  <a:pt x="307" y="338"/>
                  <a:pt x="322" y="326"/>
                  <a:pt x="350" y="320"/>
                </a:cubicBezTo>
                <a:cubicBezTo>
                  <a:pt x="350" y="320"/>
                  <a:pt x="350" y="320"/>
                  <a:pt x="350" y="320"/>
                </a:cubicBezTo>
                <a:cubicBezTo>
                  <a:pt x="363" y="316"/>
                  <a:pt x="369" y="301"/>
                  <a:pt x="371" y="286"/>
                </a:cubicBezTo>
                <a:cubicBezTo>
                  <a:pt x="377" y="290"/>
                  <a:pt x="383" y="292"/>
                  <a:pt x="390" y="292"/>
                </a:cubicBezTo>
                <a:cubicBezTo>
                  <a:pt x="397" y="292"/>
                  <a:pt x="403" y="290"/>
                  <a:pt x="409" y="286"/>
                </a:cubicBezTo>
                <a:cubicBezTo>
                  <a:pt x="411" y="302"/>
                  <a:pt x="417" y="317"/>
                  <a:pt x="431" y="321"/>
                </a:cubicBezTo>
                <a:cubicBezTo>
                  <a:pt x="431" y="321"/>
                  <a:pt x="431" y="321"/>
                  <a:pt x="431" y="321"/>
                </a:cubicBezTo>
                <a:cubicBezTo>
                  <a:pt x="458" y="326"/>
                  <a:pt x="473" y="338"/>
                  <a:pt x="475" y="355"/>
                </a:cubicBezTo>
                <a:lnTo>
                  <a:pt x="304" y="355"/>
                </a:lnTo>
                <a:close/>
                <a:moveTo>
                  <a:pt x="206" y="57"/>
                </a:moveTo>
                <a:cubicBezTo>
                  <a:pt x="197" y="57"/>
                  <a:pt x="189" y="65"/>
                  <a:pt x="189" y="74"/>
                </a:cubicBezTo>
                <a:cubicBezTo>
                  <a:pt x="189" y="83"/>
                  <a:pt x="197" y="91"/>
                  <a:pt x="206" y="91"/>
                </a:cubicBezTo>
                <a:cubicBezTo>
                  <a:pt x="215" y="91"/>
                  <a:pt x="223" y="83"/>
                  <a:pt x="223" y="74"/>
                </a:cubicBezTo>
                <a:cubicBezTo>
                  <a:pt x="223" y="65"/>
                  <a:pt x="215" y="57"/>
                  <a:pt x="206" y="57"/>
                </a:cubicBezTo>
                <a:close/>
                <a:moveTo>
                  <a:pt x="206" y="81"/>
                </a:moveTo>
                <a:cubicBezTo>
                  <a:pt x="202" y="81"/>
                  <a:pt x="199" y="78"/>
                  <a:pt x="199" y="74"/>
                </a:cubicBezTo>
                <a:cubicBezTo>
                  <a:pt x="199" y="70"/>
                  <a:pt x="202" y="66"/>
                  <a:pt x="206" y="66"/>
                </a:cubicBezTo>
                <a:cubicBezTo>
                  <a:pt x="210" y="66"/>
                  <a:pt x="214" y="70"/>
                  <a:pt x="214" y="74"/>
                </a:cubicBezTo>
                <a:cubicBezTo>
                  <a:pt x="214" y="78"/>
                  <a:pt x="210" y="81"/>
                  <a:pt x="206" y="81"/>
                </a:cubicBezTo>
                <a:close/>
                <a:moveTo>
                  <a:pt x="260" y="74"/>
                </a:moveTo>
                <a:cubicBezTo>
                  <a:pt x="260" y="65"/>
                  <a:pt x="252" y="57"/>
                  <a:pt x="243" y="57"/>
                </a:cubicBezTo>
                <a:cubicBezTo>
                  <a:pt x="234" y="57"/>
                  <a:pt x="226" y="65"/>
                  <a:pt x="226" y="74"/>
                </a:cubicBezTo>
                <a:cubicBezTo>
                  <a:pt x="226" y="83"/>
                  <a:pt x="234" y="91"/>
                  <a:pt x="243" y="91"/>
                </a:cubicBezTo>
                <a:cubicBezTo>
                  <a:pt x="252" y="91"/>
                  <a:pt x="260" y="83"/>
                  <a:pt x="260" y="74"/>
                </a:cubicBezTo>
                <a:close/>
                <a:moveTo>
                  <a:pt x="243" y="81"/>
                </a:moveTo>
                <a:cubicBezTo>
                  <a:pt x="239" y="81"/>
                  <a:pt x="236" y="78"/>
                  <a:pt x="236" y="74"/>
                </a:cubicBezTo>
                <a:cubicBezTo>
                  <a:pt x="236" y="70"/>
                  <a:pt x="239" y="66"/>
                  <a:pt x="243" y="66"/>
                </a:cubicBezTo>
                <a:cubicBezTo>
                  <a:pt x="247" y="66"/>
                  <a:pt x="250" y="70"/>
                  <a:pt x="250" y="74"/>
                </a:cubicBezTo>
                <a:cubicBezTo>
                  <a:pt x="250" y="78"/>
                  <a:pt x="247" y="81"/>
                  <a:pt x="243" y="81"/>
                </a:cubicBezTo>
                <a:close/>
                <a:moveTo>
                  <a:pt x="336" y="126"/>
                </a:moveTo>
                <a:cubicBezTo>
                  <a:pt x="345" y="126"/>
                  <a:pt x="353" y="118"/>
                  <a:pt x="353" y="109"/>
                </a:cubicBezTo>
                <a:cubicBezTo>
                  <a:pt x="353" y="100"/>
                  <a:pt x="345" y="92"/>
                  <a:pt x="336" y="92"/>
                </a:cubicBezTo>
                <a:cubicBezTo>
                  <a:pt x="327" y="92"/>
                  <a:pt x="319" y="100"/>
                  <a:pt x="319" y="109"/>
                </a:cubicBezTo>
                <a:cubicBezTo>
                  <a:pt x="319" y="118"/>
                  <a:pt x="327" y="126"/>
                  <a:pt x="336" y="126"/>
                </a:cubicBezTo>
                <a:close/>
                <a:moveTo>
                  <a:pt x="336" y="102"/>
                </a:moveTo>
                <a:cubicBezTo>
                  <a:pt x="340" y="102"/>
                  <a:pt x="343" y="105"/>
                  <a:pt x="343" y="109"/>
                </a:cubicBezTo>
                <a:cubicBezTo>
                  <a:pt x="343" y="113"/>
                  <a:pt x="340" y="117"/>
                  <a:pt x="336" y="117"/>
                </a:cubicBezTo>
                <a:cubicBezTo>
                  <a:pt x="332" y="117"/>
                  <a:pt x="329" y="113"/>
                  <a:pt x="329" y="109"/>
                </a:cubicBezTo>
                <a:cubicBezTo>
                  <a:pt x="329" y="105"/>
                  <a:pt x="332" y="102"/>
                  <a:pt x="336" y="10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78" name="Oval 15"/>
          <p:cNvSpPr>
            <a:spLocks noChangeArrowheads="1"/>
          </p:cNvSpPr>
          <p:nvPr/>
        </p:nvSpPr>
        <p:spPr bwMode="auto">
          <a:xfrm>
            <a:off x="6137845" y="210827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3" name="Freeform 34"/>
          <p:cNvSpPr>
            <a:spLocks noEditPoints="1"/>
          </p:cNvSpPr>
          <p:nvPr/>
        </p:nvSpPr>
        <p:spPr bwMode="auto">
          <a:xfrm>
            <a:off x="6269558" y="2240554"/>
            <a:ext cx="560023" cy="419778"/>
          </a:xfrm>
          <a:custGeom>
            <a:avLst/>
            <a:gdLst>
              <a:gd name="T0" fmla="*/ 419 w 486"/>
              <a:gd name="T1" fmla="*/ 279 h 364"/>
              <a:gd name="T2" fmla="*/ 390 w 486"/>
              <a:gd name="T3" fmla="*/ 171 h 364"/>
              <a:gd name="T4" fmla="*/ 363 w 486"/>
              <a:gd name="T5" fmla="*/ 279 h 364"/>
              <a:gd name="T6" fmla="*/ 295 w 486"/>
              <a:gd name="T7" fmla="*/ 359 h 364"/>
              <a:gd name="T8" fmla="*/ 481 w 486"/>
              <a:gd name="T9" fmla="*/ 364 h 364"/>
              <a:gd name="T10" fmla="*/ 434 w 486"/>
              <a:gd name="T11" fmla="*/ 312 h 364"/>
              <a:gd name="T12" fmla="*/ 390 w 486"/>
              <a:gd name="T13" fmla="*/ 181 h 364"/>
              <a:gd name="T14" fmla="*/ 390 w 486"/>
              <a:gd name="T15" fmla="*/ 283 h 364"/>
              <a:gd name="T16" fmla="*/ 305 w 486"/>
              <a:gd name="T17" fmla="*/ 355 h 364"/>
              <a:gd name="T18" fmla="*/ 351 w 486"/>
              <a:gd name="T19" fmla="*/ 320 h 364"/>
              <a:gd name="T20" fmla="*/ 390 w 486"/>
              <a:gd name="T21" fmla="*/ 292 h 364"/>
              <a:gd name="T22" fmla="*/ 431 w 486"/>
              <a:gd name="T23" fmla="*/ 321 h 364"/>
              <a:gd name="T24" fmla="*/ 476 w 486"/>
              <a:gd name="T25" fmla="*/ 355 h 364"/>
              <a:gd name="T26" fmla="*/ 322 w 486"/>
              <a:gd name="T27" fmla="*/ 216 h 364"/>
              <a:gd name="T28" fmla="*/ 327 w 486"/>
              <a:gd name="T29" fmla="*/ 215 h 364"/>
              <a:gd name="T30" fmla="*/ 321 w 486"/>
              <a:gd name="T31" fmla="*/ 177 h 364"/>
              <a:gd name="T32" fmla="*/ 297 w 486"/>
              <a:gd name="T33" fmla="*/ 37 h 364"/>
              <a:gd name="T34" fmla="*/ 204 w 486"/>
              <a:gd name="T35" fmla="*/ 0 h 364"/>
              <a:gd name="T36" fmla="*/ 171 w 486"/>
              <a:gd name="T37" fmla="*/ 137 h 364"/>
              <a:gd name="T38" fmla="*/ 154 w 486"/>
              <a:gd name="T39" fmla="*/ 189 h 364"/>
              <a:gd name="T40" fmla="*/ 208 w 486"/>
              <a:gd name="T41" fmla="*/ 143 h 364"/>
              <a:gd name="T42" fmla="*/ 289 w 486"/>
              <a:gd name="T43" fmla="*/ 179 h 364"/>
              <a:gd name="T44" fmla="*/ 293 w 486"/>
              <a:gd name="T45" fmla="*/ 170 h 364"/>
              <a:gd name="T46" fmla="*/ 227 w 486"/>
              <a:gd name="T47" fmla="*/ 130 h 364"/>
              <a:gd name="T48" fmla="*/ 205 w 486"/>
              <a:gd name="T49" fmla="*/ 133 h 364"/>
              <a:gd name="T50" fmla="*/ 200 w 486"/>
              <a:gd name="T51" fmla="*/ 139 h 364"/>
              <a:gd name="T52" fmla="*/ 181 w 486"/>
              <a:gd name="T53" fmla="*/ 134 h 364"/>
              <a:gd name="T54" fmla="*/ 178 w 486"/>
              <a:gd name="T55" fmla="*/ 129 h 364"/>
              <a:gd name="T56" fmla="*/ 204 w 486"/>
              <a:gd name="T57" fmla="*/ 9 h 364"/>
              <a:gd name="T58" fmla="*/ 276 w 486"/>
              <a:gd name="T59" fmla="*/ 49 h 364"/>
              <a:gd name="T60" fmla="*/ 369 w 486"/>
              <a:gd name="T61" fmla="*/ 108 h 364"/>
              <a:gd name="T62" fmla="*/ 311 w 486"/>
              <a:gd name="T63" fmla="*/ 173 h 364"/>
              <a:gd name="T64" fmla="*/ 297 w 486"/>
              <a:gd name="T65" fmla="*/ 173 h 364"/>
              <a:gd name="T66" fmla="*/ 139 w 486"/>
              <a:gd name="T67" fmla="*/ 312 h 364"/>
              <a:gd name="T68" fmla="*/ 142 w 486"/>
              <a:gd name="T69" fmla="*/ 232 h 364"/>
              <a:gd name="T70" fmla="*/ 49 w 486"/>
              <a:gd name="T71" fmla="*/ 232 h 364"/>
              <a:gd name="T72" fmla="*/ 54 w 486"/>
              <a:gd name="T73" fmla="*/ 311 h 364"/>
              <a:gd name="T74" fmla="*/ 5 w 486"/>
              <a:gd name="T75" fmla="*/ 364 h 364"/>
              <a:gd name="T76" fmla="*/ 191 w 486"/>
              <a:gd name="T77" fmla="*/ 359 h 364"/>
              <a:gd name="T78" fmla="*/ 59 w 486"/>
              <a:gd name="T79" fmla="*/ 232 h 364"/>
              <a:gd name="T80" fmla="*/ 132 w 486"/>
              <a:gd name="T81" fmla="*/ 232 h 364"/>
              <a:gd name="T82" fmla="*/ 59 w 486"/>
              <a:gd name="T83" fmla="*/ 232 h 364"/>
              <a:gd name="T84" fmla="*/ 56 w 486"/>
              <a:gd name="T85" fmla="*/ 320 h 364"/>
              <a:gd name="T86" fmla="*/ 77 w 486"/>
              <a:gd name="T87" fmla="*/ 286 h 364"/>
              <a:gd name="T88" fmla="*/ 115 w 486"/>
              <a:gd name="T89" fmla="*/ 286 h 364"/>
              <a:gd name="T90" fmla="*/ 137 w 486"/>
              <a:gd name="T91" fmla="*/ 321 h 364"/>
              <a:gd name="T92" fmla="*/ 10 w 486"/>
              <a:gd name="T93" fmla="*/ 355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86" h="364">
                <a:moveTo>
                  <a:pt x="434" y="312"/>
                </a:moveTo>
                <a:cubicBezTo>
                  <a:pt x="423" y="309"/>
                  <a:pt x="419" y="290"/>
                  <a:pt x="419" y="279"/>
                </a:cubicBezTo>
                <a:cubicBezTo>
                  <a:pt x="429" y="267"/>
                  <a:pt x="437" y="250"/>
                  <a:pt x="437" y="232"/>
                </a:cubicBezTo>
                <a:cubicBezTo>
                  <a:pt x="437" y="195"/>
                  <a:pt x="419" y="171"/>
                  <a:pt x="390" y="171"/>
                </a:cubicBezTo>
                <a:cubicBezTo>
                  <a:pt x="362" y="171"/>
                  <a:pt x="344" y="195"/>
                  <a:pt x="344" y="232"/>
                </a:cubicBezTo>
                <a:cubicBezTo>
                  <a:pt x="344" y="251"/>
                  <a:pt x="352" y="268"/>
                  <a:pt x="363" y="279"/>
                </a:cubicBezTo>
                <a:cubicBezTo>
                  <a:pt x="362" y="293"/>
                  <a:pt x="358" y="308"/>
                  <a:pt x="348" y="311"/>
                </a:cubicBezTo>
                <a:cubicBezTo>
                  <a:pt x="304" y="320"/>
                  <a:pt x="295" y="342"/>
                  <a:pt x="295" y="359"/>
                </a:cubicBezTo>
                <a:cubicBezTo>
                  <a:pt x="295" y="362"/>
                  <a:pt x="297" y="364"/>
                  <a:pt x="300" y="364"/>
                </a:cubicBezTo>
                <a:cubicBezTo>
                  <a:pt x="481" y="364"/>
                  <a:pt x="481" y="364"/>
                  <a:pt x="481" y="364"/>
                </a:cubicBezTo>
                <a:cubicBezTo>
                  <a:pt x="483" y="364"/>
                  <a:pt x="486" y="362"/>
                  <a:pt x="486" y="359"/>
                </a:cubicBezTo>
                <a:cubicBezTo>
                  <a:pt x="486" y="343"/>
                  <a:pt x="477" y="321"/>
                  <a:pt x="434" y="312"/>
                </a:cubicBezTo>
                <a:close/>
                <a:moveTo>
                  <a:pt x="354" y="232"/>
                </a:moveTo>
                <a:cubicBezTo>
                  <a:pt x="354" y="185"/>
                  <a:pt x="382" y="181"/>
                  <a:pt x="390" y="181"/>
                </a:cubicBezTo>
                <a:cubicBezTo>
                  <a:pt x="399" y="181"/>
                  <a:pt x="427" y="185"/>
                  <a:pt x="427" y="232"/>
                </a:cubicBezTo>
                <a:cubicBezTo>
                  <a:pt x="427" y="261"/>
                  <a:pt x="408" y="283"/>
                  <a:pt x="390" y="283"/>
                </a:cubicBezTo>
                <a:cubicBezTo>
                  <a:pt x="373" y="283"/>
                  <a:pt x="354" y="261"/>
                  <a:pt x="354" y="232"/>
                </a:cubicBezTo>
                <a:close/>
                <a:moveTo>
                  <a:pt x="305" y="355"/>
                </a:moveTo>
                <a:cubicBezTo>
                  <a:pt x="307" y="338"/>
                  <a:pt x="323" y="326"/>
                  <a:pt x="351" y="320"/>
                </a:cubicBezTo>
                <a:cubicBezTo>
                  <a:pt x="351" y="320"/>
                  <a:pt x="351" y="320"/>
                  <a:pt x="351" y="320"/>
                </a:cubicBezTo>
                <a:cubicBezTo>
                  <a:pt x="364" y="316"/>
                  <a:pt x="370" y="301"/>
                  <a:pt x="372" y="286"/>
                </a:cubicBezTo>
                <a:cubicBezTo>
                  <a:pt x="377" y="290"/>
                  <a:pt x="384" y="292"/>
                  <a:pt x="390" y="292"/>
                </a:cubicBezTo>
                <a:cubicBezTo>
                  <a:pt x="397" y="292"/>
                  <a:pt x="404" y="290"/>
                  <a:pt x="410" y="286"/>
                </a:cubicBezTo>
                <a:cubicBezTo>
                  <a:pt x="412" y="302"/>
                  <a:pt x="418" y="317"/>
                  <a:pt x="431" y="321"/>
                </a:cubicBezTo>
                <a:cubicBezTo>
                  <a:pt x="431" y="321"/>
                  <a:pt x="431" y="321"/>
                  <a:pt x="432" y="321"/>
                </a:cubicBezTo>
                <a:cubicBezTo>
                  <a:pt x="459" y="326"/>
                  <a:pt x="474" y="338"/>
                  <a:pt x="476" y="355"/>
                </a:cubicBezTo>
                <a:lnTo>
                  <a:pt x="305" y="355"/>
                </a:lnTo>
                <a:close/>
                <a:moveTo>
                  <a:pt x="322" y="216"/>
                </a:moveTo>
                <a:cubicBezTo>
                  <a:pt x="323" y="216"/>
                  <a:pt x="323" y="216"/>
                  <a:pt x="324" y="216"/>
                </a:cubicBezTo>
                <a:cubicBezTo>
                  <a:pt x="325" y="216"/>
                  <a:pt x="327" y="216"/>
                  <a:pt x="327" y="215"/>
                </a:cubicBezTo>
                <a:cubicBezTo>
                  <a:pt x="329" y="214"/>
                  <a:pt x="330" y="212"/>
                  <a:pt x="329" y="210"/>
                </a:cubicBezTo>
                <a:cubicBezTo>
                  <a:pt x="329" y="210"/>
                  <a:pt x="322" y="195"/>
                  <a:pt x="321" y="177"/>
                </a:cubicBezTo>
                <a:cubicBezTo>
                  <a:pt x="355" y="168"/>
                  <a:pt x="378" y="140"/>
                  <a:pt x="378" y="108"/>
                </a:cubicBezTo>
                <a:cubicBezTo>
                  <a:pt x="378" y="69"/>
                  <a:pt x="342" y="37"/>
                  <a:pt x="297" y="37"/>
                </a:cubicBezTo>
                <a:cubicBezTo>
                  <a:pt x="290" y="37"/>
                  <a:pt x="283" y="37"/>
                  <a:pt x="277" y="39"/>
                </a:cubicBezTo>
                <a:cubicBezTo>
                  <a:pt x="263" y="15"/>
                  <a:pt x="235" y="0"/>
                  <a:pt x="204" y="0"/>
                </a:cubicBezTo>
                <a:cubicBezTo>
                  <a:pt x="159" y="0"/>
                  <a:pt x="123" y="32"/>
                  <a:pt x="123" y="71"/>
                </a:cubicBezTo>
                <a:cubicBezTo>
                  <a:pt x="123" y="100"/>
                  <a:pt x="142" y="125"/>
                  <a:pt x="171" y="137"/>
                </a:cubicBezTo>
                <a:cubicBezTo>
                  <a:pt x="170" y="163"/>
                  <a:pt x="154" y="183"/>
                  <a:pt x="154" y="183"/>
                </a:cubicBezTo>
                <a:cubicBezTo>
                  <a:pt x="153" y="185"/>
                  <a:pt x="153" y="188"/>
                  <a:pt x="154" y="189"/>
                </a:cubicBezTo>
                <a:cubicBezTo>
                  <a:pt x="156" y="191"/>
                  <a:pt x="158" y="191"/>
                  <a:pt x="160" y="191"/>
                </a:cubicBezTo>
                <a:cubicBezTo>
                  <a:pt x="185" y="179"/>
                  <a:pt x="201" y="164"/>
                  <a:pt x="208" y="143"/>
                </a:cubicBezTo>
                <a:cubicBezTo>
                  <a:pt x="214" y="142"/>
                  <a:pt x="219" y="142"/>
                  <a:pt x="224" y="141"/>
                </a:cubicBezTo>
                <a:cubicBezTo>
                  <a:pt x="237" y="163"/>
                  <a:pt x="261" y="177"/>
                  <a:pt x="289" y="179"/>
                </a:cubicBezTo>
                <a:cubicBezTo>
                  <a:pt x="296" y="193"/>
                  <a:pt x="306" y="205"/>
                  <a:pt x="322" y="216"/>
                </a:cubicBezTo>
                <a:close/>
                <a:moveTo>
                  <a:pt x="293" y="170"/>
                </a:moveTo>
                <a:cubicBezTo>
                  <a:pt x="266" y="169"/>
                  <a:pt x="242" y="155"/>
                  <a:pt x="231" y="133"/>
                </a:cubicBezTo>
                <a:cubicBezTo>
                  <a:pt x="230" y="131"/>
                  <a:pt x="228" y="130"/>
                  <a:pt x="227" y="130"/>
                </a:cubicBezTo>
                <a:cubicBezTo>
                  <a:pt x="226" y="130"/>
                  <a:pt x="226" y="130"/>
                  <a:pt x="225" y="131"/>
                </a:cubicBezTo>
                <a:cubicBezTo>
                  <a:pt x="219" y="132"/>
                  <a:pt x="212" y="133"/>
                  <a:pt x="205" y="133"/>
                </a:cubicBezTo>
                <a:cubicBezTo>
                  <a:pt x="202" y="133"/>
                  <a:pt x="201" y="135"/>
                  <a:pt x="200" y="137"/>
                </a:cubicBezTo>
                <a:cubicBezTo>
                  <a:pt x="200" y="138"/>
                  <a:pt x="200" y="138"/>
                  <a:pt x="200" y="139"/>
                </a:cubicBezTo>
                <a:cubicBezTo>
                  <a:pt x="195" y="154"/>
                  <a:pt x="185" y="165"/>
                  <a:pt x="170" y="175"/>
                </a:cubicBezTo>
                <a:cubicBezTo>
                  <a:pt x="175" y="165"/>
                  <a:pt x="180" y="150"/>
                  <a:pt x="181" y="134"/>
                </a:cubicBezTo>
                <a:cubicBezTo>
                  <a:pt x="181" y="134"/>
                  <a:pt x="181" y="134"/>
                  <a:pt x="181" y="134"/>
                </a:cubicBezTo>
                <a:cubicBezTo>
                  <a:pt x="181" y="132"/>
                  <a:pt x="180" y="130"/>
                  <a:pt x="178" y="129"/>
                </a:cubicBezTo>
                <a:cubicBezTo>
                  <a:pt x="150" y="120"/>
                  <a:pt x="132" y="97"/>
                  <a:pt x="132" y="71"/>
                </a:cubicBezTo>
                <a:cubicBezTo>
                  <a:pt x="132" y="37"/>
                  <a:pt x="164" y="9"/>
                  <a:pt x="204" y="9"/>
                </a:cubicBezTo>
                <a:cubicBezTo>
                  <a:pt x="233" y="9"/>
                  <a:pt x="259" y="24"/>
                  <a:pt x="270" y="47"/>
                </a:cubicBezTo>
                <a:cubicBezTo>
                  <a:pt x="271" y="48"/>
                  <a:pt x="273" y="49"/>
                  <a:pt x="276" y="49"/>
                </a:cubicBezTo>
                <a:cubicBezTo>
                  <a:pt x="282" y="47"/>
                  <a:pt x="290" y="46"/>
                  <a:pt x="297" y="46"/>
                </a:cubicBezTo>
                <a:cubicBezTo>
                  <a:pt x="337" y="46"/>
                  <a:pt x="369" y="74"/>
                  <a:pt x="369" y="108"/>
                </a:cubicBezTo>
                <a:cubicBezTo>
                  <a:pt x="369" y="137"/>
                  <a:pt x="347" y="162"/>
                  <a:pt x="315" y="169"/>
                </a:cubicBezTo>
                <a:cubicBezTo>
                  <a:pt x="313" y="169"/>
                  <a:pt x="311" y="171"/>
                  <a:pt x="311" y="173"/>
                </a:cubicBezTo>
                <a:cubicBezTo>
                  <a:pt x="311" y="183"/>
                  <a:pt x="313" y="191"/>
                  <a:pt x="315" y="198"/>
                </a:cubicBezTo>
                <a:cubicBezTo>
                  <a:pt x="306" y="190"/>
                  <a:pt x="301" y="182"/>
                  <a:pt x="297" y="173"/>
                </a:cubicBezTo>
                <a:cubicBezTo>
                  <a:pt x="296" y="171"/>
                  <a:pt x="295" y="170"/>
                  <a:pt x="293" y="170"/>
                </a:cubicBezTo>
                <a:close/>
                <a:moveTo>
                  <a:pt x="139" y="312"/>
                </a:moveTo>
                <a:cubicBezTo>
                  <a:pt x="128" y="309"/>
                  <a:pt x="124" y="290"/>
                  <a:pt x="124" y="279"/>
                </a:cubicBezTo>
                <a:cubicBezTo>
                  <a:pt x="135" y="267"/>
                  <a:pt x="142" y="250"/>
                  <a:pt x="142" y="232"/>
                </a:cubicBezTo>
                <a:cubicBezTo>
                  <a:pt x="142" y="195"/>
                  <a:pt x="124" y="171"/>
                  <a:pt x="96" y="171"/>
                </a:cubicBezTo>
                <a:cubicBezTo>
                  <a:pt x="67" y="171"/>
                  <a:pt x="49" y="195"/>
                  <a:pt x="49" y="232"/>
                </a:cubicBezTo>
                <a:cubicBezTo>
                  <a:pt x="49" y="251"/>
                  <a:pt x="57" y="268"/>
                  <a:pt x="68" y="279"/>
                </a:cubicBezTo>
                <a:cubicBezTo>
                  <a:pt x="67" y="293"/>
                  <a:pt x="63" y="308"/>
                  <a:pt x="54" y="311"/>
                </a:cubicBezTo>
                <a:cubicBezTo>
                  <a:pt x="10" y="320"/>
                  <a:pt x="0" y="342"/>
                  <a:pt x="0" y="359"/>
                </a:cubicBezTo>
                <a:cubicBezTo>
                  <a:pt x="0" y="362"/>
                  <a:pt x="3" y="364"/>
                  <a:pt x="5" y="364"/>
                </a:cubicBezTo>
                <a:cubicBezTo>
                  <a:pt x="186" y="364"/>
                  <a:pt x="186" y="364"/>
                  <a:pt x="186" y="364"/>
                </a:cubicBezTo>
                <a:cubicBezTo>
                  <a:pt x="189" y="364"/>
                  <a:pt x="191" y="362"/>
                  <a:pt x="191" y="359"/>
                </a:cubicBezTo>
                <a:cubicBezTo>
                  <a:pt x="191" y="343"/>
                  <a:pt x="182" y="321"/>
                  <a:pt x="139" y="312"/>
                </a:cubicBezTo>
                <a:close/>
                <a:moveTo>
                  <a:pt x="59" y="232"/>
                </a:moveTo>
                <a:cubicBezTo>
                  <a:pt x="59" y="185"/>
                  <a:pt x="87" y="181"/>
                  <a:pt x="96" y="181"/>
                </a:cubicBezTo>
                <a:cubicBezTo>
                  <a:pt x="104" y="181"/>
                  <a:pt x="132" y="185"/>
                  <a:pt x="132" y="232"/>
                </a:cubicBezTo>
                <a:cubicBezTo>
                  <a:pt x="132" y="261"/>
                  <a:pt x="113" y="283"/>
                  <a:pt x="96" y="283"/>
                </a:cubicBezTo>
                <a:cubicBezTo>
                  <a:pt x="78" y="283"/>
                  <a:pt x="59" y="261"/>
                  <a:pt x="59" y="232"/>
                </a:cubicBezTo>
                <a:close/>
                <a:moveTo>
                  <a:pt x="10" y="355"/>
                </a:moveTo>
                <a:cubicBezTo>
                  <a:pt x="12" y="338"/>
                  <a:pt x="28" y="326"/>
                  <a:pt x="56" y="320"/>
                </a:cubicBezTo>
                <a:cubicBezTo>
                  <a:pt x="56" y="320"/>
                  <a:pt x="56" y="320"/>
                  <a:pt x="56" y="320"/>
                </a:cubicBezTo>
                <a:cubicBezTo>
                  <a:pt x="69" y="316"/>
                  <a:pt x="75" y="301"/>
                  <a:pt x="77" y="286"/>
                </a:cubicBezTo>
                <a:cubicBezTo>
                  <a:pt x="83" y="290"/>
                  <a:pt x="89" y="292"/>
                  <a:pt x="96" y="292"/>
                </a:cubicBezTo>
                <a:cubicBezTo>
                  <a:pt x="102" y="292"/>
                  <a:pt x="109" y="290"/>
                  <a:pt x="115" y="286"/>
                </a:cubicBezTo>
                <a:cubicBezTo>
                  <a:pt x="117" y="302"/>
                  <a:pt x="123" y="317"/>
                  <a:pt x="136" y="321"/>
                </a:cubicBezTo>
                <a:cubicBezTo>
                  <a:pt x="137" y="321"/>
                  <a:pt x="137" y="321"/>
                  <a:pt x="137" y="321"/>
                </a:cubicBezTo>
                <a:cubicBezTo>
                  <a:pt x="164" y="326"/>
                  <a:pt x="179" y="338"/>
                  <a:pt x="181" y="355"/>
                </a:cubicBezTo>
                <a:lnTo>
                  <a:pt x="10" y="35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77" name="Oval 10"/>
          <p:cNvSpPr>
            <a:spLocks noChangeArrowheads="1"/>
          </p:cNvSpPr>
          <p:nvPr/>
        </p:nvSpPr>
        <p:spPr bwMode="auto">
          <a:xfrm>
            <a:off x="4845101" y="210827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4" name="Freeform 35"/>
          <p:cNvSpPr>
            <a:spLocks noEditPoints="1"/>
          </p:cNvSpPr>
          <p:nvPr/>
        </p:nvSpPr>
        <p:spPr bwMode="auto">
          <a:xfrm>
            <a:off x="4952550" y="2348915"/>
            <a:ext cx="609039" cy="291892"/>
          </a:xfrm>
          <a:custGeom>
            <a:avLst/>
            <a:gdLst>
              <a:gd name="T0" fmla="*/ 439 w 528"/>
              <a:gd name="T1" fmla="*/ 140 h 253"/>
              <a:gd name="T2" fmla="*/ 403 w 528"/>
              <a:gd name="T3" fmla="*/ 0 h 253"/>
              <a:gd name="T4" fmla="*/ 368 w 528"/>
              <a:gd name="T5" fmla="*/ 141 h 253"/>
              <a:gd name="T6" fmla="*/ 278 w 528"/>
              <a:gd name="T7" fmla="*/ 248 h 253"/>
              <a:gd name="T8" fmla="*/ 523 w 528"/>
              <a:gd name="T9" fmla="*/ 253 h 253"/>
              <a:gd name="T10" fmla="*/ 460 w 528"/>
              <a:gd name="T11" fmla="*/ 186 h 253"/>
              <a:gd name="T12" fmla="*/ 403 w 528"/>
              <a:gd name="T13" fmla="*/ 10 h 253"/>
              <a:gd name="T14" fmla="*/ 403 w 528"/>
              <a:gd name="T15" fmla="*/ 148 h 253"/>
              <a:gd name="T16" fmla="*/ 288 w 528"/>
              <a:gd name="T17" fmla="*/ 243 h 253"/>
              <a:gd name="T18" fmla="*/ 350 w 528"/>
              <a:gd name="T19" fmla="*/ 195 h 253"/>
              <a:gd name="T20" fmla="*/ 403 w 528"/>
              <a:gd name="T21" fmla="*/ 157 h 253"/>
              <a:gd name="T22" fmla="*/ 457 w 528"/>
              <a:gd name="T23" fmla="*/ 195 h 253"/>
              <a:gd name="T24" fmla="*/ 518 w 528"/>
              <a:gd name="T25" fmla="*/ 243 h 253"/>
              <a:gd name="T26" fmla="*/ 319 w 528"/>
              <a:gd name="T27" fmla="*/ 94 h 253"/>
              <a:gd name="T28" fmla="*/ 334 w 528"/>
              <a:gd name="T29" fmla="*/ 79 h 253"/>
              <a:gd name="T30" fmla="*/ 319 w 528"/>
              <a:gd name="T31" fmla="*/ 64 h 253"/>
              <a:gd name="T32" fmla="*/ 304 w 528"/>
              <a:gd name="T33" fmla="*/ 79 h 253"/>
              <a:gd name="T34" fmla="*/ 319 w 528"/>
              <a:gd name="T35" fmla="*/ 94 h 253"/>
              <a:gd name="T36" fmla="*/ 319 w 528"/>
              <a:gd name="T37" fmla="*/ 73 h 253"/>
              <a:gd name="T38" fmla="*/ 325 w 528"/>
              <a:gd name="T39" fmla="*/ 79 h 253"/>
              <a:gd name="T40" fmla="*/ 315 w 528"/>
              <a:gd name="T41" fmla="*/ 83 h 253"/>
              <a:gd name="T42" fmla="*/ 315 w 528"/>
              <a:gd name="T43" fmla="*/ 75 h 253"/>
              <a:gd name="T44" fmla="*/ 160 w 528"/>
              <a:gd name="T45" fmla="*/ 140 h 253"/>
              <a:gd name="T46" fmla="*/ 124 w 528"/>
              <a:gd name="T47" fmla="*/ 0 h 253"/>
              <a:gd name="T48" fmla="*/ 89 w 528"/>
              <a:gd name="T49" fmla="*/ 141 h 253"/>
              <a:gd name="T50" fmla="*/ 0 w 528"/>
              <a:gd name="T51" fmla="*/ 248 h 253"/>
              <a:gd name="T52" fmla="*/ 244 w 528"/>
              <a:gd name="T53" fmla="*/ 253 h 253"/>
              <a:gd name="T54" fmla="*/ 181 w 528"/>
              <a:gd name="T55" fmla="*/ 186 h 253"/>
              <a:gd name="T56" fmla="*/ 124 w 528"/>
              <a:gd name="T57" fmla="*/ 10 h 253"/>
              <a:gd name="T58" fmla="*/ 124 w 528"/>
              <a:gd name="T59" fmla="*/ 148 h 253"/>
              <a:gd name="T60" fmla="*/ 9 w 528"/>
              <a:gd name="T61" fmla="*/ 243 h 253"/>
              <a:gd name="T62" fmla="*/ 72 w 528"/>
              <a:gd name="T63" fmla="*/ 195 h 253"/>
              <a:gd name="T64" fmla="*/ 124 w 528"/>
              <a:gd name="T65" fmla="*/ 157 h 253"/>
              <a:gd name="T66" fmla="*/ 179 w 528"/>
              <a:gd name="T67" fmla="*/ 195 h 253"/>
              <a:gd name="T68" fmla="*/ 239 w 528"/>
              <a:gd name="T69" fmla="*/ 243 h 253"/>
              <a:gd name="T70" fmla="*/ 297 w 528"/>
              <a:gd name="T71" fmla="*/ 79 h 253"/>
              <a:gd name="T72" fmla="*/ 267 w 528"/>
              <a:gd name="T73" fmla="*/ 79 h 253"/>
              <a:gd name="T74" fmla="*/ 297 w 528"/>
              <a:gd name="T75" fmla="*/ 79 h 253"/>
              <a:gd name="T76" fmla="*/ 282 w 528"/>
              <a:gd name="T77" fmla="*/ 73 h 253"/>
              <a:gd name="T78" fmla="*/ 282 w 528"/>
              <a:gd name="T79" fmla="*/ 84 h 253"/>
              <a:gd name="T80" fmla="*/ 245 w 528"/>
              <a:gd name="T81" fmla="*/ 63 h 253"/>
              <a:gd name="T82" fmla="*/ 245 w 528"/>
              <a:gd name="T83" fmla="*/ 94 h 253"/>
              <a:gd name="T84" fmla="*/ 245 w 528"/>
              <a:gd name="T85" fmla="*/ 63 h 253"/>
              <a:gd name="T86" fmla="*/ 239 w 528"/>
              <a:gd name="T87" fmla="*/ 79 h 253"/>
              <a:gd name="T88" fmla="*/ 251 w 528"/>
              <a:gd name="T89" fmla="*/ 79 h 253"/>
              <a:gd name="T90" fmla="*/ 208 w 528"/>
              <a:gd name="T91" fmla="*/ 94 h 253"/>
              <a:gd name="T92" fmla="*/ 223 w 528"/>
              <a:gd name="T93" fmla="*/ 79 h 253"/>
              <a:gd name="T94" fmla="*/ 208 w 528"/>
              <a:gd name="T95" fmla="*/ 64 h 253"/>
              <a:gd name="T96" fmla="*/ 193 w 528"/>
              <a:gd name="T97" fmla="*/ 79 h 253"/>
              <a:gd name="T98" fmla="*/ 208 w 528"/>
              <a:gd name="T99" fmla="*/ 94 h 253"/>
              <a:gd name="T100" fmla="*/ 208 w 528"/>
              <a:gd name="T101" fmla="*/ 73 h 253"/>
              <a:gd name="T102" fmla="*/ 214 w 528"/>
              <a:gd name="T103" fmla="*/ 79 h 253"/>
              <a:gd name="T104" fmla="*/ 204 w 528"/>
              <a:gd name="T105" fmla="*/ 83 h 253"/>
              <a:gd name="T106" fmla="*/ 204 w 528"/>
              <a:gd name="T107" fmla="*/ 75 h 2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28" h="253">
                <a:moveTo>
                  <a:pt x="460" y="186"/>
                </a:moveTo>
                <a:cubicBezTo>
                  <a:pt x="444" y="182"/>
                  <a:pt x="439" y="156"/>
                  <a:pt x="439" y="140"/>
                </a:cubicBezTo>
                <a:cubicBezTo>
                  <a:pt x="453" y="126"/>
                  <a:pt x="463" y="103"/>
                  <a:pt x="463" y="79"/>
                </a:cubicBezTo>
                <a:cubicBezTo>
                  <a:pt x="463" y="30"/>
                  <a:pt x="440" y="0"/>
                  <a:pt x="403" y="0"/>
                </a:cubicBezTo>
                <a:cubicBezTo>
                  <a:pt x="366" y="0"/>
                  <a:pt x="343" y="30"/>
                  <a:pt x="343" y="79"/>
                </a:cubicBezTo>
                <a:cubicBezTo>
                  <a:pt x="343" y="103"/>
                  <a:pt x="353" y="126"/>
                  <a:pt x="368" y="141"/>
                </a:cubicBezTo>
                <a:cubicBezTo>
                  <a:pt x="367" y="159"/>
                  <a:pt x="362" y="181"/>
                  <a:pt x="348" y="186"/>
                </a:cubicBezTo>
                <a:cubicBezTo>
                  <a:pt x="302" y="195"/>
                  <a:pt x="278" y="216"/>
                  <a:pt x="278" y="248"/>
                </a:cubicBezTo>
                <a:cubicBezTo>
                  <a:pt x="278" y="251"/>
                  <a:pt x="280" y="253"/>
                  <a:pt x="283" y="253"/>
                </a:cubicBezTo>
                <a:cubicBezTo>
                  <a:pt x="523" y="253"/>
                  <a:pt x="523" y="253"/>
                  <a:pt x="523" y="253"/>
                </a:cubicBezTo>
                <a:cubicBezTo>
                  <a:pt x="525" y="253"/>
                  <a:pt x="528" y="251"/>
                  <a:pt x="528" y="248"/>
                </a:cubicBezTo>
                <a:cubicBezTo>
                  <a:pt x="528" y="217"/>
                  <a:pt x="504" y="195"/>
                  <a:pt x="460" y="186"/>
                </a:cubicBezTo>
                <a:close/>
                <a:moveTo>
                  <a:pt x="352" y="79"/>
                </a:moveTo>
                <a:cubicBezTo>
                  <a:pt x="352" y="45"/>
                  <a:pt x="366" y="10"/>
                  <a:pt x="403" y="10"/>
                </a:cubicBezTo>
                <a:cubicBezTo>
                  <a:pt x="440" y="10"/>
                  <a:pt x="453" y="45"/>
                  <a:pt x="453" y="79"/>
                </a:cubicBezTo>
                <a:cubicBezTo>
                  <a:pt x="453" y="118"/>
                  <a:pt x="427" y="148"/>
                  <a:pt x="403" y="148"/>
                </a:cubicBezTo>
                <a:cubicBezTo>
                  <a:pt x="379" y="148"/>
                  <a:pt x="352" y="118"/>
                  <a:pt x="352" y="79"/>
                </a:cubicBezTo>
                <a:close/>
                <a:moveTo>
                  <a:pt x="288" y="243"/>
                </a:moveTo>
                <a:cubicBezTo>
                  <a:pt x="290" y="219"/>
                  <a:pt x="311" y="202"/>
                  <a:pt x="350" y="195"/>
                </a:cubicBezTo>
                <a:cubicBezTo>
                  <a:pt x="350" y="195"/>
                  <a:pt x="350" y="195"/>
                  <a:pt x="350" y="195"/>
                </a:cubicBezTo>
                <a:cubicBezTo>
                  <a:pt x="367" y="189"/>
                  <a:pt x="375" y="169"/>
                  <a:pt x="377" y="148"/>
                </a:cubicBezTo>
                <a:cubicBezTo>
                  <a:pt x="385" y="154"/>
                  <a:pt x="394" y="157"/>
                  <a:pt x="403" y="157"/>
                </a:cubicBezTo>
                <a:cubicBezTo>
                  <a:pt x="412" y="157"/>
                  <a:pt x="422" y="154"/>
                  <a:pt x="430" y="148"/>
                </a:cubicBezTo>
                <a:cubicBezTo>
                  <a:pt x="433" y="186"/>
                  <a:pt x="453" y="194"/>
                  <a:pt x="457" y="195"/>
                </a:cubicBezTo>
                <a:cubicBezTo>
                  <a:pt x="458" y="195"/>
                  <a:pt x="458" y="195"/>
                  <a:pt x="458" y="195"/>
                </a:cubicBezTo>
                <a:cubicBezTo>
                  <a:pt x="495" y="203"/>
                  <a:pt x="516" y="219"/>
                  <a:pt x="518" y="243"/>
                </a:cubicBezTo>
                <a:lnTo>
                  <a:pt x="288" y="243"/>
                </a:lnTo>
                <a:close/>
                <a:moveTo>
                  <a:pt x="319" y="94"/>
                </a:moveTo>
                <a:cubicBezTo>
                  <a:pt x="323" y="94"/>
                  <a:pt x="327" y="92"/>
                  <a:pt x="330" y="89"/>
                </a:cubicBezTo>
                <a:cubicBezTo>
                  <a:pt x="332" y="86"/>
                  <a:pt x="334" y="83"/>
                  <a:pt x="334" y="79"/>
                </a:cubicBezTo>
                <a:cubicBezTo>
                  <a:pt x="334" y="75"/>
                  <a:pt x="332" y="71"/>
                  <a:pt x="330" y="68"/>
                </a:cubicBezTo>
                <a:cubicBezTo>
                  <a:pt x="327" y="65"/>
                  <a:pt x="323" y="64"/>
                  <a:pt x="319" y="64"/>
                </a:cubicBezTo>
                <a:cubicBezTo>
                  <a:pt x="315" y="64"/>
                  <a:pt x="311" y="65"/>
                  <a:pt x="308" y="68"/>
                </a:cubicBezTo>
                <a:cubicBezTo>
                  <a:pt x="305" y="71"/>
                  <a:pt x="304" y="75"/>
                  <a:pt x="304" y="79"/>
                </a:cubicBezTo>
                <a:cubicBezTo>
                  <a:pt x="304" y="83"/>
                  <a:pt x="305" y="86"/>
                  <a:pt x="308" y="89"/>
                </a:cubicBezTo>
                <a:cubicBezTo>
                  <a:pt x="311" y="92"/>
                  <a:pt x="315" y="94"/>
                  <a:pt x="319" y="94"/>
                </a:cubicBezTo>
                <a:close/>
                <a:moveTo>
                  <a:pt x="315" y="75"/>
                </a:moveTo>
                <a:cubicBezTo>
                  <a:pt x="316" y="74"/>
                  <a:pt x="317" y="73"/>
                  <a:pt x="319" y="73"/>
                </a:cubicBezTo>
                <a:cubicBezTo>
                  <a:pt x="320" y="73"/>
                  <a:pt x="322" y="74"/>
                  <a:pt x="323" y="75"/>
                </a:cubicBezTo>
                <a:cubicBezTo>
                  <a:pt x="324" y="76"/>
                  <a:pt x="325" y="77"/>
                  <a:pt x="325" y="79"/>
                </a:cubicBezTo>
                <a:cubicBezTo>
                  <a:pt x="325" y="80"/>
                  <a:pt x="324" y="82"/>
                  <a:pt x="323" y="83"/>
                </a:cubicBezTo>
                <a:cubicBezTo>
                  <a:pt x="321" y="85"/>
                  <a:pt x="317" y="85"/>
                  <a:pt x="315" y="83"/>
                </a:cubicBezTo>
                <a:cubicBezTo>
                  <a:pt x="314" y="82"/>
                  <a:pt x="313" y="80"/>
                  <a:pt x="313" y="79"/>
                </a:cubicBezTo>
                <a:cubicBezTo>
                  <a:pt x="313" y="77"/>
                  <a:pt x="314" y="76"/>
                  <a:pt x="315" y="75"/>
                </a:cubicBezTo>
                <a:close/>
                <a:moveTo>
                  <a:pt x="181" y="186"/>
                </a:moveTo>
                <a:cubicBezTo>
                  <a:pt x="165" y="182"/>
                  <a:pt x="161" y="156"/>
                  <a:pt x="160" y="140"/>
                </a:cubicBezTo>
                <a:cubicBezTo>
                  <a:pt x="175" y="126"/>
                  <a:pt x="184" y="103"/>
                  <a:pt x="184" y="79"/>
                </a:cubicBezTo>
                <a:cubicBezTo>
                  <a:pt x="184" y="30"/>
                  <a:pt x="161" y="0"/>
                  <a:pt x="124" y="0"/>
                </a:cubicBezTo>
                <a:cubicBezTo>
                  <a:pt x="87" y="0"/>
                  <a:pt x="64" y="30"/>
                  <a:pt x="64" y="79"/>
                </a:cubicBezTo>
                <a:cubicBezTo>
                  <a:pt x="64" y="103"/>
                  <a:pt x="74" y="126"/>
                  <a:pt x="89" y="141"/>
                </a:cubicBezTo>
                <a:cubicBezTo>
                  <a:pt x="89" y="159"/>
                  <a:pt x="83" y="181"/>
                  <a:pt x="69" y="186"/>
                </a:cubicBezTo>
                <a:cubicBezTo>
                  <a:pt x="24" y="195"/>
                  <a:pt x="0" y="216"/>
                  <a:pt x="0" y="248"/>
                </a:cubicBezTo>
                <a:cubicBezTo>
                  <a:pt x="0" y="251"/>
                  <a:pt x="2" y="253"/>
                  <a:pt x="4" y="253"/>
                </a:cubicBezTo>
                <a:cubicBezTo>
                  <a:pt x="244" y="253"/>
                  <a:pt x="244" y="253"/>
                  <a:pt x="244" y="253"/>
                </a:cubicBezTo>
                <a:cubicBezTo>
                  <a:pt x="247" y="253"/>
                  <a:pt x="249" y="251"/>
                  <a:pt x="249" y="248"/>
                </a:cubicBezTo>
                <a:cubicBezTo>
                  <a:pt x="249" y="217"/>
                  <a:pt x="226" y="195"/>
                  <a:pt x="181" y="186"/>
                </a:cubicBezTo>
                <a:close/>
                <a:moveTo>
                  <a:pt x="74" y="79"/>
                </a:moveTo>
                <a:cubicBezTo>
                  <a:pt x="74" y="45"/>
                  <a:pt x="87" y="10"/>
                  <a:pt x="124" y="10"/>
                </a:cubicBezTo>
                <a:cubicBezTo>
                  <a:pt x="161" y="10"/>
                  <a:pt x="175" y="45"/>
                  <a:pt x="175" y="79"/>
                </a:cubicBezTo>
                <a:cubicBezTo>
                  <a:pt x="175" y="118"/>
                  <a:pt x="148" y="148"/>
                  <a:pt x="124" y="148"/>
                </a:cubicBezTo>
                <a:cubicBezTo>
                  <a:pt x="100" y="148"/>
                  <a:pt x="74" y="118"/>
                  <a:pt x="74" y="79"/>
                </a:cubicBezTo>
                <a:close/>
                <a:moveTo>
                  <a:pt x="9" y="243"/>
                </a:moveTo>
                <a:cubicBezTo>
                  <a:pt x="11" y="219"/>
                  <a:pt x="32" y="202"/>
                  <a:pt x="71" y="195"/>
                </a:cubicBezTo>
                <a:cubicBezTo>
                  <a:pt x="71" y="195"/>
                  <a:pt x="71" y="195"/>
                  <a:pt x="72" y="195"/>
                </a:cubicBezTo>
                <a:cubicBezTo>
                  <a:pt x="89" y="189"/>
                  <a:pt x="96" y="169"/>
                  <a:pt x="98" y="148"/>
                </a:cubicBezTo>
                <a:cubicBezTo>
                  <a:pt x="106" y="154"/>
                  <a:pt x="115" y="157"/>
                  <a:pt x="124" y="157"/>
                </a:cubicBezTo>
                <a:cubicBezTo>
                  <a:pt x="134" y="157"/>
                  <a:pt x="143" y="154"/>
                  <a:pt x="151" y="148"/>
                </a:cubicBezTo>
                <a:cubicBezTo>
                  <a:pt x="154" y="186"/>
                  <a:pt x="174" y="194"/>
                  <a:pt x="179" y="195"/>
                </a:cubicBezTo>
                <a:cubicBezTo>
                  <a:pt x="179" y="195"/>
                  <a:pt x="179" y="195"/>
                  <a:pt x="179" y="195"/>
                </a:cubicBezTo>
                <a:cubicBezTo>
                  <a:pt x="217" y="203"/>
                  <a:pt x="237" y="219"/>
                  <a:pt x="239" y="243"/>
                </a:cubicBezTo>
                <a:lnTo>
                  <a:pt x="9" y="243"/>
                </a:lnTo>
                <a:close/>
                <a:moveTo>
                  <a:pt x="297" y="79"/>
                </a:moveTo>
                <a:cubicBezTo>
                  <a:pt x="297" y="70"/>
                  <a:pt x="290" y="63"/>
                  <a:pt x="282" y="63"/>
                </a:cubicBezTo>
                <a:cubicBezTo>
                  <a:pt x="274" y="63"/>
                  <a:pt x="267" y="70"/>
                  <a:pt x="267" y="79"/>
                </a:cubicBezTo>
                <a:cubicBezTo>
                  <a:pt x="267" y="87"/>
                  <a:pt x="274" y="94"/>
                  <a:pt x="282" y="94"/>
                </a:cubicBezTo>
                <a:cubicBezTo>
                  <a:pt x="290" y="94"/>
                  <a:pt x="297" y="87"/>
                  <a:pt x="297" y="79"/>
                </a:cubicBezTo>
                <a:close/>
                <a:moveTo>
                  <a:pt x="276" y="79"/>
                </a:moveTo>
                <a:cubicBezTo>
                  <a:pt x="276" y="75"/>
                  <a:pt x="279" y="73"/>
                  <a:pt x="282" y="73"/>
                </a:cubicBezTo>
                <a:cubicBezTo>
                  <a:pt x="285" y="73"/>
                  <a:pt x="288" y="75"/>
                  <a:pt x="288" y="79"/>
                </a:cubicBezTo>
                <a:cubicBezTo>
                  <a:pt x="288" y="82"/>
                  <a:pt x="285" y="84"/>
                  <a:pt x="282" y="84"/>
                </a:cubicBezTo>
                <a:cubicBezTo>
                  <a:pt x="279" y="84"/>
                  <a:pt x="276" y="82"/>
                  <a:pt x="276" y="79"/>
                </a:cubicBezTo>
                <a:close/>
                <a:moveTo>
                  <a:pt x="245" y="63"/>
                </a:moveTo>
                <a:cubicBezTo>
                  <a:pt x="237" y="63"/>
                  <a:pt x="230" y="70"/>
                  <a:pt x="230" y="79"/>
                </a:cubicBezTo>
                <a:cubicBezTo>
                  <a:pt x="230" y="87"/>
                  <a:pt x="237" y="94"/>
                  <a:pt x="245" y="94"/>
                </a:cubicBezTo>
                <a:cubicBezTo>
                  <a:pt x="253" y="94"/>
                  <a:pt x="260" y="87"/>
                  <a:pt x="260" y="79"/>
                </a:cubicBezTo>
                <a:cubicBezTo>
                  <a:pt x="260" y="70"/>
                  <a:pt x="253" y="63"/>
                  <a:pt x="245" y="63"/>
                </a:cubicBezTo>
                <a:close/>
                <a:moveTo>
                  <a:pt x="245" y="84"/>
                </a:moveTo>
                <a:cubicBezTo>
                  <a:pt x="242" y="84"/>
                  <a:pt x="239" y="82"/>
                  <a:pt x="239" y="79"/>
                </a:cubicBezTo>
                <a:cubicBezTo>
                  <a:pt x="239" y="75"/>
                  <a:pt x="242" y="73"/>
                  <a:pt x="245" y="73"/>
                </a:cubicBezTo>
                <a:cubicBezTo>
                  <a:pt x="248" y="73"/>
                  <a:pt x="251" y="75"/>
                  <a:pt x="251" y="79"/>
                </a:cubicBezTo>
                <a:cubicBezTo>
                  <a:pt x="251" y="82"/>
                  <a:pt x="248" y="84"/>
                  <a:pt x="245" y="84"/>
                </a:cubicBezTo>
                <a:close/>
                <a:moveTo>
                  <a:pt x="208" y="94"/>
                </a:moveTo>
                <a:cubicBezTo>
                  <a:pt x="212" y="94"/>
                  <a:pt x="216" y="92"/>
                  <a:pt x="219" y="89"/>
                </a:cubicBezTo>
                <a:cubicBezTo>
                  <a:pt x="222" y="86"/>
                  <a:pt x="223" y="83"/>
                  <a:pt x="223" y="79"/>
                </a:cubicBezTo>
                <a:cubicBezTo>
                  <a:pt x="223" y="75"/>
                  <a:pt x="222" y="71"/>
                  <a:pt x="219" y="68"/>
                </a:cubicBezTo>
                <a:cubicBezTo>
                  <a:pt x="216" y="65"/>
                  <a:pt x="212" y="64"/>
                  <a:pt x="208" y="64"/>
                </a:cubicBezTo>
                <a:cubicBezTo>
                  <a:pt x="204" y="64"/>
                  <a:pt x="200" y="65"/>
                  <a:pt x="198" y="68"/>
                </a:cubicBezTo>
                <a:cubicBezTo>
                  <a:pt x="195" y="71"/>
                  <a:pt x="193" y="75"/>
                  <a:pt x="193" y="79"/>
                </a:cubicBezTo>
                <a:cubicBezTo>
                  <a:pt x="193" y="83"/>
                  <a:pt x="195" y="87"/>
                  <a:pt x="198" y="89"/>
                </a:cubicBezTo>
                <a:cubicBezTo>
                  <a:pt x="200" y="92"/>
                  <a:pt x="204" y="94"/>
                  <a:pt x="208" y="94"/>
                </a:cubicBezTo>
                <a:close/>
                <a:moveTo>
                  <a:pt x="204" y="75"/>
                </a:moveTo>
                <a:cubicBezTo>
                  <a:pt x="205" y="74"/>
                  <a:pt x="207" y="73"/>
                  <a:pt x="208" y="73"/>
                </a:cubicBezTo>
                <a:cubicBezTo>
                  <a:pt x="210" y="73"/>
                  <a:pt x="211" y="74"/>
                  <a:pt x="212" y="75"/>
                </a:cubicBezTo>
                <a:cubicBezTo>
                  <a:pt x="213" y="76"/>
                  <a:pt x="214" y="77"/>
                  <a:pt x="214" y="79"/>
                </a:cubicBezTo>
                <a:cubicBezTo>
                  <a:pt x="214" y="80"/>
                  <a:pt x="213" y="82"/>
                  <a:pt x="212" y="83"/>
                </a:cubicBezTo>
                <a:cubicBezTo>
                  <a:pt x="210" y="85"/>
                  <a:pt x="206" y="85"/>
                  <a:pt x="204" y="83"/>
                </a:cubicBezTo>
                <a:cubicBezTo>
                  <a:pt x="203" y="82"/>
                  <a:pt x="202" y="80"/>
                  <a:pt x="202" y="79"/>
                </a:cubicBezTo>
                <a:cubicBezTo>
                  <a:pt x="202" y="77"/>
                  <a:pt x="203" y="76"/>
                  <a:pt x="204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34" name="Oval 24"/>
          <p:cNvSpPr>
            <a:spLocks noChangeArrowheads="1"/>
          </p:cNvSpPr>
          <p:nvPr/>
        </p:nvSpPr>
        <p:spPr bwMode="auto">
          <a:xfrm>
            <a:off x="2259614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5" name="Freeform 36"/>
          <p:cNvSpPr>
            <a:spLocks noEditPoints="1"/>
          </p:cNvSpPr>
          <p:nvPr/>
        </p:nvSpPr>
        <p:spPr bwMode="auto">
          <a:xfrm>
            <a:off x="2391073" y="1264780"/>
            <a:ext cx="559066" cy="541472"/>
          </a:xfrm>
          <a:custGeom>
            <a:avLst/>
            <a:gdLst>
              <a:gd name="T0" fmla="*/ 367 w 484"/>
              <a:gd name="T1" fmla="*/ 1 h 469"/>
              <a:gd name="T2" fmla="*/ 367 w 484"/>
              <a:gd name="T3" fmla="*/ 10 h 469"/>
              <a:gd name="T4" fmla="*/ 331 w 484"/>
              <a:gd name="T5" fmla="*/ 45 h 469"/>
              <a:gd name="T6" fmla="*/ 162 w 484"/>
              <a:gd name="T7" fmla="*/ 44 h 469"/>
              <a:gd name="T8" fmla="*/ 118 w 484"/>
              <a:gd name="T9" fmla="*/ 89 h 469"/>
              <a:gd name="T10" fmla="*/ 118 w 484"/>
              <a:gd name="T11" fmla="*/ 79 h 469"/>
              <a:gd name="T12" fmla="*/ 482 w 484"/>
              <a:gd name="T13" fmla="*/ 263 h 469"/>
              <a:gd name="T14" fmla="*/ 436 w 484"/>
              <a:gd name="T15" fmla="*/ 127 h 469"/>
              <a:gd name="T16" fmla="*/ 256 w 484"/>
              <a:gd name="T17" fmla="*/ 246 h 469"/>
              <a:gd name="T18" fmla="*/ 263 w 484"/>
              <a:gd name="T19" fmla="*/ 283 h 469"/>
              <a:gd name="T20" fmla="*/ 307 w 484"/>
              <a:gd name="T21" fmla="*/ 220 h 469"/>
              <a:gd name="T22" fmla="*/ 291 w 484"/>
              <a:gd name="T23" fmla="*/ 347 h 469"/>
              <a:gd name="T24" fmla="*/ 310 w 484"/>
              <a:gd name="T25" fmla="*/ 451 h 469"/>
              <a:gd name="T26" fmla="*/ 365 w 484"/>
              <a:gd name="T27" fmla="*/ 347 h 469"/>
              <a:gd name="T28" fmla="*/ 402 w 484"/>
              <a:gd name="T29" fmla="*/ 469 h 469"/>
              <a:gd name="T30" fmla="*/ 423 w 484"/>
              <a:gd name="T31" fmla="*/ 450 h 469"/>
              <a:gd name="T32" fmla="*/ 446 w 484"/>
              <a:gd name="T33" fmla="*/ 343 h 469"/>
              <a:gd name="T34" fmla="*/ 449 w 484"/>
              <a:gd name="T35" fmla="*/ 274 h 469"/>
              <a:gd name="T36" fmla="*/ 470 w 484"/>
              <a:gd name="T37" fmla="*/ 283 h 469"/>
              <a:gd name="T38" fmla="*/ 464 w 484"/>
              <a:gd name="T39" fmla="*/ 274 h 469"/>
              <a:gd name="T40" fmla="*/ 419 w 484"/>
              <a:gd name="T41" fmla="*/ 179 h 469"/>
              <a:gd name="T42" fmla="*/ 436 w 484"/>
              <a:gd name="T43" fmla="*/ 338 h 469"/>
              <a:gd name="T44" fmla="*/ 411 w 484"/>
              <a:gd name="T45" fmla="*/ 343 h 469"/>
              <a:gd name="T46" fmla="*/ 414 w 484"/>
              <a:gd name="T47" fmla="*/ 450 h 469"/>
              <a:gd name="T48" fmla="*/ 402 w 484"/>
              <a:gd name="T49" fmla="*/ 464 h 469"/>
              <a:gd name="T50" fmla="*/ 377 w 484"/>
              <a:gd name="T51" fmla="*/ 342 h 469"/>
              <a:gd name="T52" fmla="*/ 356 w 484"/>
              <a:gd name="T53" fmla="*/ 342 h 469"/>
              <a:gd name="T54" fmla="*/ 319 w 484"/>
              <a:gd name="T55" fmla="*/ 450 h 469"/>
              <a:gd name="T56" fmla="*/ 320 w 484"/>
              <a:gd name="T57" fmla="*/ 433 h 469"/>
              <a:gd name="T58" fmla="*/ 321 w 484"/>
              <a:gd name="T59" fmla="*/ 340 h 469"/>
              <a:gd name="T60" fmla="*/ 323 w 484"/>
              <a:gd name="T61" fmla="*/ 182 h 469"/>
              <a:gd name="T62" fmla="*/ 276 w 484"/>
              <a:gd name="T63" fmla="*/ 270 h 469"/>
              <a:gd name="T64" fmla="*/ 260 w 484"/>
              <a:gd name="T65" fmla="*/ 265 h 469"/>
              <a:gd name="T66" fmla="*/ 305 w 484"/>
              <a:gd name="T67" fmla="*/ 131 h 469"/>
              <a:gd name="T68" fmla="*/ 468 w 484"/>
              <a:gd name="T69" fmla="*/ 248 h 469"/>
              <a:gd name="T70" fmla="*/ 473 w 484"/>
              <a:gd name="T71" fmla="*/ 265 h 469"/>
              <a:gd name="T72" fmla="*/ 228 w 484"/>
              <a:gd name="T73" fmla="*/ 246 h 469"/>
              <a:gd name="T74" fmla="*/ 48 w 484"/>
              <a:gd name="T75" fmla="*/ 127 h 469"/>
              <a:gd name="T76" fmla="*/ 2 w 484"/>
              <a:gd name="T77" fmla="*/ 263 h 469"/>
              <a:gd name="T78" fmla="*/ 36 w 484"/>
              <a:gd name="T79" fmla="*/ 274 h 469"/>
              <a:gd name="T80" fmla="*/ 61 w 484"/>
              <a:gd name="T81" fmla="*/ 451 h 469"/>
              <a:gd name="T82" fmla="*/ 118 w 484"/>
              <a:gd name="T83" fmla="*/ 332 h 469"/>
              <a:gd name="T84" fmla="*/ 153 w 484"/>
              <a:gd name="T85" fmla="*/ 469 h 469"/>
              <a:gd name="T86" fmla="*/ 168 w 484"/>
              <a:gd name="T87" fmla="*/ 204 h 469"/>
              <a:gd name="T88" fmla="*/ 222 w 484"/>
              <a:gd name="T89" fmla="*/ 283 h 469"/>
              <a:gd name="T90" fmla="*/ 219 w 484"/>
              <a:gd name="T91" fmla="*/ 274 h 469"/>
              <a:gd name="T92" fmla="*/ 162 w 484"/>
              <a:gd name="T93" fmla="*/ 176 h 469"/>
              <a:gd name="T94" fmla="*/ 164 w 484"/>
              <a:gd name="T95" fmla="*/ 408 h 469"/>
              <a:gd name="T96" fmla="*/ 165 w 484"/>
              <a:gd name="T97" fmla="*/ 450 h 469"/>
              <a:gd name="T98" fmla="*/ 153 w 484"/>
              <a:gd name="T99" fmla="*/ 459 h 469"/>
              <a:gd name="T100" fmla="*/ 118 w 484"/>
              <a:gd name="T101" fmla="*/ 287 h 469"/>
              <a:gd name="T102" fmla="*/ 83 w 484"/>
              <a:gd name="T103" fmla="*/ 459 h 469"/>
              <a:gd name="T104" fmla="*/ 71 w 484"/>
              <a:gd name="T105" fmla="*/ 439 h 469"/>
              <a:gd name="T106" fmla="*/ 77 w 484"/>
              <a:gd name="T107" fmla="*/ 181 h 469"/>
              <a:gd name="T108" fmla="*/ 27 w 484"/>
              <a:gd name="T109" fmla="*/ 270 h 469"/>
              <a:gd name="T110" fmla="*/ 11 w 484"/>
              <a:gd name="T111" fmla="*/ 265 h 469"/>
              <a:gd name="T112" fmla="*/ 17 w 484"/>
              <a:gd name="T113" fmla="*/ 249 h 469"/>
              <a:gd name="T114" fmla="*/ 179 w 484"/>
              <a:gd name="T115" fmla="*/ 131 h 469"/>
              <a:gd name="T116" fmla="*/ 225 w 484"/>
              <a:gd name="T117" fmla="*/ 265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84" h="469">
                <a:moveTo>
                  <a:pt x="367" y="90"/>
                </a:moveTo>
                <a:cubicBezTo>
                  <a:pt x="391" y="90"/>
                  <a:pt x="411" y="70"/>
                  <a:pt x="411" y="45"/>
                </a:cubicBezTo>
                <a:cubicBezTo>
                  <a:pt x="411" y="21"/>
                  <a:pt x="391" y="1"/>
                  <a:pt x="367" y="1"/>
                </a:cubicBezTo>
                <a:cubicBezTo>
                  <a:pt x="342" y="1"/>
                  <a:pt x="322" y="21"/>
                  <a:pt x="322" y="45"/>
                </a:cubicBezTo>
                <a:cubicBezTo>
                  <a:pt x="322" y="70"/>
                  <a:pt x="342" y="90"/>
                  <a:pt x="367" y="90"/>
                </a:cubicBezTo>
                <a:close/>
                <a:moveTo>
                  <a:pt x="367" y="10"/>
                </a:moveTo>
                <a:cubicBezTo>
                  <a:pt x="386" y="10"/>
                  <a:pt x="402" y="26"/>
                  <a:pt x="402" y="45"/>
                </a:cubicBezTo>
                <a:cubicBezTo>
                  <a:pt x="402" y="64"/>
                  <a:pt x="386" y="80"/>
                  <a:pt x="367" y="80"/>
                </a:cubicBezTo>
                <a:cubicBezTo>
                  <a:pt x="347" y="80"/>
                  <a:pt x="331" y="64"/>
                  <a:pt x="331" y="45"/>
                </a:cubicBezTo>
                <a:cubicBezTo>
                  <a:pt x="331" y="26"/>
                  <a:pt x="347" y="10"/>
                  <a:pt x="367" y="10"/>
                </a:cubicBezTo>
                <a:close/>
                <a:moveTo>
                  <a:pt x="118" y="89"/>
                </a:moveTo>
                <a:cubicBezTo>
                  <a:pt x="142" y="89"/>
                  <a:pt x="162" y="69"/>
                  <a:pt x="162" y="44"/>
                </a:cubicBezTo>
                <a:cubicBezTo>
                  <a:pt x="162" y="20"/>
                  <a:pt x="142" y="0"/>
                  <a:pt x="118" y="0"/>
                </a:cubicBezTo>
                <a:cubicBezTo>
                  <a:pt x="93" y="0"/>
                  <a:pt x="74" y="20"/>
                  <a:pt x="74" y="44"/>
                </a:cubicBezTo>
                <a:cubicBezTo>
                  <a:pt x="74" y="69"/>
                  <a:pt x="93" y="89"/>
                  <a:pt x="118" y="89"/>
                </a:cubicBezTo>
                <a:close/>
                <a:moveTo>
                  <a:pt x="118" y="9"/>
                </a:moveTo>
                <a:cubicBezTo>
                  <a:pt x="137" y="9"/>
                  <a:pt x="153" y="25"/>
                  <a:pt x="153" y="44"/>
                </a:cubicBezTo>
                <a:cubicBezTo>
                  <a:pt x="153" y="64"/>
                  <a:pt x="137" y="79"/>
                  <a:pt x="118" y="79"/>
                </a:cubicBezTo>
                <a:cubicBezTo>
                  <a:pt x="99" y="79"/>
                  <a:pt x="83" y="64"/>
                  <a:pt x="83" y="44"/>
                </a:cubicBezTo>
                <a:cubicBezTo>
                  <a:pt x="83" y="25"/>
                  <a:pt x="99" y="9"/>
                  <a:pt x="118" y="9"/>
                </a:cubicBezTo>
                <a:close/>
                <a:moveTo>
                  <a:pt x="482" y="263"/>
                </a:moveTo>
                <a:cubicBezTo>
                  <a:pt x="482" y="262"/>
                  <a:pt x="482" y="262"/>
                  <a:pt x="482" y="262"/>
                </a:cubicBezTo>
                <a:cubicBezTo>
                  <a:pt x="481" y="261"/>
                  <a:pt x="479" y="254"/>
                  <a:pt x="477" y="246"/>
                </a:cubicBezTo>
                <a:cubicBezTo>
                  <a:pt x="465" y="211"/>
                  <a:pt x="442" y="140"/>
                  <a:pt x="436" y="127"/>
                </a:cubicBezTo>
                <a:cubicBezTo>
                  <a:pt x="427" y="107"/>
                  <a:pt x="406" y="99"/>
                  <a:pt x="367" y="99"/>
                </a:cubicBezTo>
                <a:cubicBezTo>
                  <a:pt x="327" y="99"/>
                  <a:pt x="306" y="107"/>
                  <a:pt x="297" y="127"/>
                </a:cubicBezTo>
                <a:cubicBezTo>
                  <a:pt x="291" y="140"/>
                  <a:pt x="268" y="211"/>
                  <a:pt x="256" y="246"/>
                </a:cubicBezTo>
                <a:cubicBezTo>
                  <a:pt x="254" y="254"/>
                  <a:pt x="252" y="261"/>
                  <a:pt x="251" y="262"/>
                </a:cubicBezTo>
                <a:cubicBezTo>
                  <a:pt x="251" y="262"/>
                  <a:pt x="251" y="262"/>
                  <a:pt x="251" y="263"/>
                </a:cubicBezTo>
                <a:cubicBezTo>
                  <a:pt x="249" y="271"/>
                  <a:pt x="254" y="280"/>
                  <a:pt x="263" y="283"/>
                </a:cubicBezTo>
                <a:cubicBezTo>
                  <a:pt x="265" y="283"/>
                  <a:pt x="267" y="284"/>
                  <a:pt x="269" y="284"/>
                </a:cubicBezTo>
                <a:cubicBezTo>
                  <a:pt x="276" y="284"/>
                  <a:pt x="282" y="280"/>
                  <a:pt x="284" y="274"/>
                </a:cubicBezTo>
                <a:cubicBezTo>
                  <a:pt x="307" y="220"/>
                  <a:pt x="307" y="220"/>
                  <a:pt x="307" y="220"/>
                </a:cubicBezTo>
                <a:cubicBezTo>
                  <a:pt x="287" y="342"/>
                  <a:pt x="287" y="342"/>
                  <a:pt x="287" y="342"/>
                </a:cubicBezTo>
                <a:cubicBezTo>
                  <a:pt x="287" y="343"/>
                  <a:pt x="287" y="345"/>
                  <a:pt x="288" y="346"/>
                </a:cubicBezTo>
                <a:cubicBezTo>
                  <a:pt x="289" y="347"/>
                  <a:pt x="290" y="347"/>
                  <a:pt x="291" y="347"/>
                </a:cubicBezTo>
                <a:cubicBezTo>
                  <a:pt x="313" y="347"/>
                  <a:pt x="313" y="347"/>
                  <a:pt x="313" y="347"/>
                </a:cubicBezTo>
                <a:cubicBezTo>
                  <a:pt x="312" y="379"/>
                  <a:pt x="310" y="446"/>
                  <a:pt x="310" y="450"/>
                </a:cubicBezTo>
                <a:cubicBezTo>
                  <a:pt x="310" y="450"/>
                  <a:pt x="310" y="450"/>
                  <a:pt x="310" y="451"/>
                </a:cubicBezTo>
                <a:cubicBezTo>
                  <a:pt x="311" y="461"/>
                  <a:pt x="320" y="469"/>
                  <a:pt x="331" y="469"/>
                </a:cubicBezTo>
                <a:cubicBezTo>
                  <a:pt x="342" y="469"/>
                  <a:pt x="352" y="461"/>
                  <a:pt x="353" y="451"/>
                </a:cubicBezTo>
                <a:cubicBezTo>
                  <a:pt x="365" y="347"/>
                  <a:pt x="365" y="347"/>
                  <a:pt x="365" y="347"/>
                </a:cubicBezTo>
                <a:cubicBezTo>
                  <a:pt x="368" y="347"/>
                  <a:pt x="368" y="347"/>
                  <a:pt x="368" y="347"/>
                </a:cubicBezTo>
                <a:cubicBezTo>
                  <a:pt x="380" y="451"/>
                  <a:pt x="380" y="451"/>
                  <a:pt x="380" y="451"/>
                </a:cubicBezTo>
                <a:cubicBezTo>
                  <a:pt x="381" y="461"/>
                  <a:pt x="391" y="469"/>
                  <a:pt x="402" y="469"/>
                </a:cubicBezTo>
                <a:cubicBezTo>
                  <a:pt x="402" y="469"/>
                  <a:pt x="402" y="469"/>
                  <a:pt x="402" y="469"/>
                </a:cubicBezTo>
                <a:cubicBezTo>
                  <a:pt x="413" y="469"/>
                  <a:pt x="422" y="461"/>
                  <a:pt x="423" y="451"/>
                </a:cubicBezTo>
                <a:cubicBezTo>
                  <a:pt x="423" y="450"/>
                  <a:pt x="423" y="450"/>
                  <a:pt x="423" y="450"/>
                </a:cubicBezTo>
                <a:cubicBezTo>
                  <a:pt x="423" y="446"/>
                  <a:pt x="421" y="379"/>
                  <a:pt x="420" y="347"/>
                </a:cubicBezTo>
                <a:cubicBezTo>
                  <a:pt x="442" y="347"/>
                  <a:pt x="442" y="347"/>
                  <a:pt x="442" y="347"/>
                </a:cubicBezTo>
                <a:cubicBezTo>
                  <a:pt x="444" y="347"/>
                  <a:pt x="446" y="345"/>
                  <a:pt x="446" y="343"/>
                </a:cubicBezTo>
                <a:cubicBezTo>
                  <a:pt x="446" y="342"/>
                  <a:pt x="446" y="342"/>
                  <a:pt x="446" y="341"/>
                </a:cubicBezTo>
                <a:cubicBezTo>
                  <a:pt x="426" y="220"/>
                  <a:pt x="426" y="220"/>
                  <a:pt x="426" y="220"/>
                </a:cubicBezTo>
                <a:cubicBezTo>
                  <a:pt x="449" y="274"/>
                  <a:pt x="449" y="274"/>
                  <a:pt x="449" y="274"/>
                </a:cubicBezTo>
                <a:cubicBezTo>
                  <a:pt x="451" y="280"/>
                  <a:pt x="457" y="284"/>
                  <a:pt x="464" y="284"/>
                </a:cubicBezTo>
                <a:cubicBezTo>
                  <a:pt x="464" y="284"/>
                  <a:pt x="464" y="284"/>
                  <a:pt x="464" y="284"/>
                </a:cubicBezTo>
                <a:cubicBezTo>
                  <a:pt x="466" y="284"/>
                  <a:pt x="468" y="283"/>
                  <a:pt x="470" y="283"/>
                </a:cubicBezTo>
                <a:cubicBezTo>
                  <a:pt x="479" y="280"/>
                  <a:pt x="484" y="271"/>
                  <a:pt x="482" y="263"/>
                </a:cubicBezTo>
                <a:close/>
                <a:moveTo>
                  <a:pt x="467" y="274"/>
                </a:moveTo>
                <a:cubicBezTo>
                  <a:pt x="466" y="274"/>
                  <a:pt x="465" y="274"/>
                  <a:pt x="464" y="274"/>
                </a:cubicBezTo>
                <a:cubicBezTo>
                  <a:pt x="464" y="274"/>
                  <a:pt x="464" y="274"/>
                  <a:pt x="464" y="274"/>
                </a:cubicBezTo>
                <a:cubicBezTo>
                  <a:pt x="461" y="274"/>
                  <a:pt x="458" y="273"/>
                  <a:pt x="457" y="270"/>
                </a:cubicBezTo>
                <a:cubicBezTo>
                  <a:pt x="419" y="179"/>
                  <a:pt x="419" y="179"/>
                  <a:pt x="419" y="179"/>
                </a:cubicBezTo>
                <a:cubicBezTo>
                  <a:pt x="418" y="177"/>
                  <a:pt x="415" y="176"/>
                  <a:pt x="413" y="176"/>
                </a:cubicBezTo>
                <a:cubicBezTo>
                  <a:pt x="411" y="177"/>
                  <a:pt x="409" y="179"/>
                  <a:pt x="410" y="182"/>
                </a:cubicBezTo>
                <a:cubicBezTo>
                  <a:pt x="436" y="338"/>
                  <a:pt x="436" y="338"/>
                  <a:pt x="436" y="338"/>
                </a:cubicBezTo>
                <a:cubicBezTo>
                  <a:pt x="416" y="338"/>
                  <a:pt x="416" y="338"/>
                  <a:pt x="416" y="338"/>
                </a:cubicBezTo>
                <a:cubicBezTo>
                  <a:pt x="414" y="338"/>
                  <a:pt x="413" y="339"/>
                  <a:pt x="412" y="340"/>
                </a:cubicBezTo>
                <a:cubicBezTo>
                  <a:pt x="411" y="340"/>
                  <a:pt x="411" y="342"/>
                  <a:pt x="411" y="343"/>
                </a:cubicBezTo>
                <a:cubicBezTo>
                  <a:pt x="411" y="343"/>
                  <a:pt x="412" y="370"/>
                  <a:pt x="412" y="397"/>
                </a:cubicBezTo>
                <a:cubicBezTo>
                  <a:pt x="413" y="410"/>
                  <a:pt x="413" y="423"/>
                  <a:pt x="413" y="433"/>
                </a:cubicBezTo>
                <a:cubicBezTo>
                  <a:pt x="414" y="443"/>
                  <a:pt x="414" y="447"/>
                  <a:pt x="414" y="450"/>
                </a:cubicBezTo>
                <a:cubicBezTo>
                  <a:pt x="414" y="450"/>
                  <a:pt x="414" y="450"/>
                  <a:pt x="414" y="450"/>
                </a:cubicBezTo>
                <a:cubicBezTo>
                  <a:pt x="413" y="455"/>
                  <a:pt x="408" y="459"/>
                  <a:pt x="402" y="459"/>
                </a:cubicBezTo>
                <a:cubicBezTo>
                  <a:pt x="402" y="464"/>
                  <a:pt x="402" y="464"/>
                  <a:pt x="402" y="464"/>
                </a:cubicBezTo>
                <a:cubicBezTo>
                  <a:pt x="402" y="459"/>
                  <a:pt x="402" y="459"/>
                  <a:pt x="402" y="459"/>
                </a:cubicBezTo>
                <a:cubicBezTo>
                  <a:pt x="396" y="459"/>
                  <a:pt x="390" y="455"/>
                  <a:pt x="390" y="450"/>
                </a:cubicBezTo>
                <a:cubicBezTo>
                  <a:pt x="377" y="342"/>
                  <a:pt x="377" y="342"/>
                  <a:pt x="377" y="342"/>
                </a:cubicBezTo>
                <a:cubicBezTo>
                  <a:pt x="377" y="340"/>
                  <a:pt x="375" y="338"/>
                  <a:pt x="372" y="338"/>
                </a:cubicBezTo>
                <a:cubicBezTo>
                  <a:pt x="361" y="338"/>
                  <a:pt x="361" y="338"/>
                  <a:pt x="361" y="338"/>
                </a:cubicBezTo>
                <a:cubicBezTo>
                  <a:pt x="358" y="338"/>
                  <a:pt x="356" y="340"/>
                  <a:pt x="356" y="342"/>
                </a:cubicBezTo>
                <a:cubicBezTo>
                  <a:pt x="343" y="450"/>
                  <a:pt x="343" y="450"/>
                  <a:pt x="343" y="450"/>
                </a:cubicBezTo>
                <a:cubicBezTo>
                  <a:pt x="343" y="455"/>
                  <a:pt x="338" y="459"/>
                  <a:pt x="331" y="459"/>
                </a:cubicBezTo>
                <a:cubicBezTo>
                  <a:pt x="325" y="459"/>
                  <a:pt x="320" y="455"/>
                  <a:pt x="319" y="450"/>
                </a:cubicBezTo>
                <a:cubicBezTo>
                  <a:pt x="319" y="450"/>
                  <a:pt x="319" y="450"/>
                  <a:pt x="319" y="450"/>
                </a:cubicBezTo>
                <a:cubicBezTo>
                  <a:pt x="319" y="449"/>
                  <a:pt x="319" y="447"/>
                  <a:pt x="319" y="446"/>
                </a:cubicBezTo>
                <a:cubicBezTo>
                  <a:pt x="319" y="443"/>
                  <a:pt x="320" y="439"/>
                  <a:pt x="320" y="433"/>
                </a:cubicBezTo>
                <a:cubicBezTo>
                  <a:pt x="320" y="423"/>
                  <a:pt x="320" y="410"/>
                  <a:pt x="321" y="397"/>
                </a:cubicBezTo>
                <a:cubicBezTo>
                  <a:pt x="321" y="370"/>
                  <a:pt x="322" y="343"/>
                  <a:pt x="322" y="343"/>
                </a:cubicBezTo>
                <a:cubicBezTo>
                  <a:pt x="322" y="342"/>
                  <a:pt x="322" y="340"/>
                  <a:pt x="321" y="340"/>
                </a:cubicBezTo>
                <a:cubicBezTo>
                  <a:pt x="320" y="339"/>
                  <a:pt x="319" y="338"/>
                  <a:pt x="317" y="338"/>
                </a:cubicBezTo>
                <a:cubicBezTo>
                  <a:pt x="297" y="338"/>
                  <a:pt x="297" y="338"/>
                  <a:pt x="297" y="338"/>
                </a:cubicBezTo>
                <a:cubicBezTo>
                  <a:pt x="323" y="182"/>
                  <a:pt x="323" y="182"/>
                  <a:pt x="323" y="182"/>
                </a:cubicBezTo>
                <a:cubicBezTo>
                  <a:pt x="324" y="179"/>
                  <a:pt x="322" y="177"/>
                  <a:pt x="320" y="176"/>
                </a:cubicBezTo>
                <a:cubicBezTo>
                  <a:pt x="318" y="176"/>
                  <a:pt x="315" y="177"/>
                  <a:pt x="314" y="179"/>
                </a:cubicBezTo>
                <a:cubicBezTo>
                  <a:pt x="276" y="270"/>
                  <a:pt x="276" y="270"/>
                  <a:pt x="276" y="270"/>
                </a:cubicBezTo>
                <a:cubicBezTo>
                  <a:pt x="274" y="273"/>
                  <a:pt x="270" y="275"/>
                  <a:pt x="266" y="274"/>
                </a:cubicBezTo>
                <a:cubicBezTo>
                  <a:pt x="262" y="272"/>
                  <a:pt x="259" y="268"/>
                  <a:pt x="260" y="265"/>
                </a:cubicBezTo>
                <a:cubicBezTo>
                  <a:pt x="260" y="265"/>
                  <a:pt x="260" y="265"/>
                  <a:pt x="260" y="265"/>
                </a:cubicBezTo>
                <a:cubicBezTo>
                  <a:pt x="260" y="264"/>
                  <a:pt x="261" y="263"/>
                  <a:pt x="261" y="261"/>
                </a:cubicBezTo>
                <a:cubicBezTo>
                  <a:pt x="262" y="258"/>
                  <a:pt x="264" y="254"/>
                  <a:pt x="265" y="249"/>
                </a:cubicBezTo>
                <a:cubicBezTo>
                  <a:pt x="276" y="217"/>
                  <a:pt x="300" y="143"/>
                  <a:pt x="305" y="131"/>
                </a:cubicBezTo>
                <a:cubicBezTo>
                  <a:pt x="311" y="120"/>
                  <a:pt x="322" y="108"/>
                  <a:pt x="367" y="108"/>
                </a:cubicBezTo>
                <a:cubicBezTo>
                  <a:pt x="411" y="108"/>
                  <a:pt x="422" y="120"/>
                  <a:pt x="428" y="131"/>
                </a:cubicBezTo>
                <a:cubicBezTo>
                  <a:pt x="433" y="143"/>
                  <a:pt x="457" y="217"/>
                  <a:pt x="468" y="248"/>
                </a:cubicBezTo>
                <a:cubicBezTo>
                  <a:pt x="469" y="254"/>
                  <a:pt x="471" y="258"/>
                  <a:pt x="472" y="261"/>
                </a:cubicBezTo>
                <a:cubicBezTo>
                  <a:pt x="472" y="262"/>
                  <a:pt x="473" y="264"/>
                  <a:pt x="473" y="265"/>
                </a:cubicBezTo>
                <a:cubicBezTo>
                  <a:pt x="473" y="265"/>
                  <a:pt x="473" y="265"/>
                  <a:pt x="473" y="265"/>
                </a:cubicBezTo>
                <a:cubicBezTo>
                  <a:pt x="474" y="268"/>
                  <a:pt x="471" y="272"/>
                  <a:pt x="467" y="274"/>
                </a:cubicBezTo>
                <a:close/>
                <a:moveTo>
                  <a:pt x="233" y="262"/>
                </a:moveTo>
                <a:cubicBezTo>
                  <a:pt x="233" y="261"/>
                  <a:pt x="231" y="254"/>
                  <a:pt x="228" y="246"/>
                </a:cubicBezTo>
                <a:cubicBezTo>
                  <a:pt x="217" y="211"/>
                  <a:pt x="194" y="140"/>
                  <a:pt x="188" y="127"/>
                </a:cubicBezTo>
                <a:cubicBezTo>
                  <a:pt x="178" y="107"/>
                  <a:pt x="157" y="99"/>
                  <a:pt x="118" y="99"/>
                </a:cubicBezTo>
                <a:cubicBezTo>
                  <a:pt x="79" y="99"/>
                  <a:pt x="58" y="107"/>
                  <a:pt x="48" y="127"/>
                </a:cubicBezTo>
                <a:cubicBezTo>
                  <a:pt x="42" y="140"/>
                  <a:pt x="19" y="211"/>
                  <a:pt x="8" y="246"/>
                </a:cubicBezTo>
                <a:cubicBezTo>
                  <a:pt x="5" y="254"/>
                  <a:pt x="3" y="261"/>
                  <a:pt x="3" y="262"/>
                </a:cubicBezTo>
                <a:cubicBezTo>
                  <a:pt x="2" y="262"/>
                  <a:pt x="2" y="262"/>
                  <a:pt x="2" y="263"/>
                </a:cubicBezTo>
                <a:cubicBezTo>
                  <a:pt x="0" y="271"/>
                  <a:pt x="5" y="280"/>
                  <a:pt x="14" y="283"/>
                </a:cubicBezTo>
                <a:cubicBezTo>
                  <a:pt x="16" y="283"/>
                  <a:pt x="18" y="284"/>
                  <a:pt x="20" y="284"/>
                </a:cubicBezTo>
                <a:cubicBezTo>
                  <a:pt x="27" y="284"/>
                  <a:pt x="33" y="280"/>
                  <a:pt x="36" y="274"/>
                </a:cubicBezTo>
                <a:cubicBezTo>
                  <a:pt x="68" y="204"/>
                  <a:pt x="68" y="204"/>
                  <a:pt x="68" y="204"/>
                </a:cubicBezTo>
                <a:cubicBezTo>
                  <a:pt x="65" y="298"/>
                  <a:pt x="62" y="443"/>
                  <a:pt x="61" y="450"/>
                </a:cubicBezTo>
                <a:cubicBezTo>
                  <a:pt x="61" y="450"/>
                  <a:pt x="61" y="450"/>
                  <a:pt x="61" y="451"/>
                </a:cubicBezTo>
                <a:cubicBezTo>
                  <a:pt x="62" y="461"/>
                  <a:pt x="71" y="469"/>
                  <a:pt x="83" y="469"/>
                </a:cubicBezTo>
                <a:cubicBezTo>
                  <a:pt x="94" y="469"/>
                  <a:pt x="103" y="461"/>
                  <a:pt x="104" y="451"/>
                </a:cubicBezTo>
                <a:cubicBezTo>
                  <a:pt x="118" y="332"/>
                  <a:pt x="118" y="332"/>
                  <a:pt x="118" y="332"/>
                </a:cubicBezTo>
                <a:cubicBezTo>
                  <a:pt x="132" y="451"/>
                  <a:pt x="132" y="451"/>
                  <a:pt x="132" y="451"/>
                </a:cubicBezTo>
                <a:cubicBezTo>
                  <a:pt x="133" y="461"/>
                  <a:pt x="142" y="469"/>
                  <a:pt x="153" y="469"/>
                </a:cubicBezTo>
                <a:cubicBezTo>
                  <a:pt x="153" y="469"/>
                  <a:pt x="153" y="469"/>
                  <a:pt x="153" y="469"/>
                </a:cubicBezTo>
                <a:cubicBezTo>
                  <a:pt x="165" y="469"/>
                  <a:pt x="174" y="461"/>
                  <a:pt x="175" y="451"/>
                </a:cubicBezTo>
                <a:cubicBezTo>
                  <a:pt x="175" y="450"/>
                  <a:pt x="175" y="450"/>
                  <a:pt x="175" y="450"/>
                </a:cubicBezTo>
                <a:cubicBezTo>
                  <a:pt x="174" y="443"/>
                  <a:pt x="171" y="298"/>
                  <a:pt x="168" y="204"/>
                </a:cubicBezTo>
                <a:cubicBezTo>
                  <a:pt x="200" y="274"/>
                  <a:pt x="200" y="274"/>
                  <a:pt x="200" y="274"/>
                </a:cubicBezTo>
                <a:cubicBezTo>
                  <a:pt x="203" y="280"/>
                  <a:pt x="209" y="284"/>
                  <a:pt x="216" y="284"/>
                </a:cubicBezTo>
                <a:cubicBezTo>
                  <a:pt x="218" y="284"/>
                  <a:pt x="220" y="283"/>
                  <a:pt x="222" y="283"/>
                </a:cubicBezTo>
                <a:cubicBezTo>
                  <a:pt x="230" y="280"/>
                  <a:pt x="236" y="271"/>
                  <a:pt x="234" y="263"/>
                </a:cubicBezTo>
                <a:cubicBezTo>
                  <a:pt x="234" y="262"/>
                  <a:pt x="233" y="262"/>
                  <a:pt x="233" y="262"/>
                </a:cubicBezTo>
                <a:close/>
                <a:moveTo>
                  <a:pt x="219" y="274"/>
                </a:moveTo>
                <a:cubicBezTo>
                  <a:pt x="215" y="275"/>
                  <a:pt x="210" y="274"/>
                  <a:pt x="209" y="270"/>
                </a:cubicBezTo>
                <a:cubicBezTo>
                  <a:pt x="167" y="179"/>
                  <a:pt x="167" y="179"/>
                  <a:pt x="167" y="179"/>
                </a:cubicBezTo>
                <a:cubicBezTo>
                  <a:pt x="167" y="177"/>
                  <a:pt x="164" y="176"/>
                  <a:pt x="162" y="176"/>
                </a:cubicBezTo>
                <a:cubicBezTo>
                  <a:pt x="160" y="177"/>
                  <a:pt x="158" y="179"/>
                  <a:pt x="158" y="181"/>
                </a:cubicBezTo>
                <a:cubicBezTo>
                  <a:pt x="158" y="181"/>
                  <a:pt x="160" y="248"/>
                  <a:pt x="162" y="316"/>
                </a:cubicBezTo>
                <a:cubicBezTo>
                  <a:pt x="163" y="349"/>
                  <a:pt x="163" y="383"/>
                  <a:pt x="164" y="408"/>
                </a:cubicBezTo>
                <a:cubicBezTo>
                  <a:pt x="164" y="421"/>
                  <a:pt x="165" y="431"/>
                  <a:pt x="165" y="439"/>
                </a:cubicBezTo>
                <a:cubicBezTo>
                  <a:pt x="165" y="444"/>
                  <a:pt x="165" y="448"/>
                  <a:pt x="165" y="450"/>
                </a:cubicBezTo>
                <a:cubicBezTo>
                  <a:pt x="165" y="450"/>
                  <a:pt x="165" y="450"/>
                  <a:pt x="165" y="450"/>
                </a:cubicBezTo>
                <a:cubicBezTo>
                  <a:pt x="165" y="455"/>
                  <a:pt x="160" y="459"/>
                  <a:pt x="153" y="459"/>
                </a:cubicBezTo>
                <a:cubicBezTo>
                  <a:pt x="153" y="464"/>
                  <a:pt x="153" y="464"/>
                  <a:pt x="153" y="464"/>
                </a:cubicBezTo>
                <a:cubicBezTo>
                  <a:pt x="153" y="459"/>
                  <a:pt x="153" y="459"/>
                  <a:pt x="153" y="459"/>
                </a:cubicBezTo>
                <a:cubicBezTo>
                  <a:pt x="147" y="459"/>
                  <a:pt x="142" y="455"/>
                  <a:pt x="141" y="450"/>
                </a:cubicBezTo>
                <a:cubicBezTo>
                  <a:pt x="123" y="292"/>
                  <a:pt x="123" y="292"/>
                  <a:pt x="123" y="292"/>
                </a:cubicBezTo>
                <a:cubicBezTo>
                  <a:pt x="122" y="289"/>
                  <a:pt x="120" y="287"/>
                  <a:pt x="118" y="287"/>
                </a:cubicBezTo>
                <a:cubicBezTo>
                  <a:pt x="116" y="287"/>
                  <a:pt x="114" y="289"/>
                  <a:pt x="113" y="292"/>
                </a:cubicBezTo>
                <a:cubicBezTo>
                  <a:pt x="95" y="450"/>
                  <a:pt x="95" y="450"/>
                  <a:pt x="95" y="450"/>
                </a:cubicBezTo>
                <a:cubicBezTo>
                  <a:pt x="94" y="455"/>
                  <a:pt x="89" y="459"/>
                  <a:pt x="83" y="459"/>
                </a:cubicBezTo>
                <a:cubicBezTo>
                  <a:pt x="76" y="459"/>
                  <a:pt x="71" y="455"/>
                  <a:pt x="71" y="450"/>
                </a:cubicBezTo>
                <a:cubicBezTo>
                  <a:pt x="71" y="449"/>
                  <a:pt x="71" y="448"/>
                  <a:pt x="71" y="447"/>
                </a:cubicBezTo>
                <a:cubicBezTo>
                  <a:pt x="71" y="445"/>
                  <a:pt x="71" y="442"/>
                  <a:pt x="71" y="439"/>
                </a:cubicBezTo>
                <a:cubicBezTo>
                  <a:pt x="71" y="431"/>
                  <a:pt x="71" y="421"/>
                  <a:pt x="72" y="408"/>
                </a:cubicBezTo>
                <a:cubicBezTo>
                  <a:pt x="72" y="383"/>
                  <a:pt x="73" y="349"/>
                  <a:pt x="74" y="316"/>
                </a:cubicBezTo>
                <a:cubicBezTo>
                  <a:pt x="76" y="248"/>
                  <a:pt x="77" y="181"/>
                  <a:pt x="77" y="181"/>
                </a:cubicBezTo>
                <a:cubicBezTo>
                  <a:pt x="78" y="179"/>
                  <a:pt x="76" y="177"/>
                  <a:pt x="74" y="176"/>
                </a:cubicBezTo>
                <a:cubicBezTo>
                  <a:pt x="72" y="176"/>
                  <a:pt x="69" y="177"/>
                  <a:pt x="68" y="179"/>
                </a:cubicBezTo>
                <a:cubicBezTo>
                  <a:pt x="27" y="270"/>
                  <a:pt x="27" y="270"/>
                  <a:pt x="27" y="270"/>
                </a:cubicBezTo>
                <a:cubicBezTo>
                  <a:pt x="26" y="273"/>
                  <a:pt x="23" y="274"/>
                  <a:pt x="20" y="274"/>
                </a:cubicBezTo>
                <a:cubicBezTo>
                  <a:pt x="19" y="274"/>
                  <a:pt x="18" y="274"/>
                  <a:pt x="17" y="274"/>
                </a:cubicBezTo>
                <a:cubicBezTo>
                  <a:pt x="13" y="272"/>
                  <a:pt x="11" y="268"/>
                  <a:pt x="11" y="265"/>
                </a:cubicBezTo>
                <a:cubicBezTo>
                  <a:pt x="11" y="265"/>
                  <a:pt x="11" y="265"/>
                  <a:pt x="11" y="265"/>
                </a:cubicBezTo>
                <a:cubicBezTo>
                  <a:pt x="12" y="264"/>
                  <a:pt x="12" y="263"/>
                  <a:pt x="13" y="261"/>
                </a:cubicBezTo>
                <a:cubicBezTo>
                  <a:pt x="14" y="258"/>
                  <a:pt x="15" y="254"/>
                  <a:pt x="17" y="249"/>
                </a:cubicBezTo>
                <a:cubicBezTo>
                  <a:pt x="27" y="217"/>
                  <a:pt x="51" y="143"/>
                  <a:pt x="57" y="131"/>
                </a:cubicBezTo>
                <a:cubicBezTo>
                  <a:pt x="62" y="120"/>
                  <a:pt x="74" y="108"/>
                  <a:pt x="118" y="108"/>
                </a:cubicBezTo>
                <a:cubicBezTo>
                  <a:pt x="162" y="108"/>
                  <a:pt x="174" y="120"/>
                  <a:pt x="179" y="131"/>
                </a:cubicBezTo>
                <a:cubicBezTo>
                  <a:pt x="185" y="143"/>
                  <a:pt x="209" y="217"/>
                  <a:pt x="219" y="249"/>
                </a:cubicBezTo>
                <a:cubicBezTo>
                  <a:pt x="221" y="254"/>
                  <a:pt x="222" y="258"/>
                  <a:pt x="223" y="261"/>
                </a:cubicBezTo>
                <a:cubicBezTo>
                  <a:pt x="224" y="262"/>
                  <a:pt x="224" y="264"/>
                  <a:pt x="225" y="265"/>
                </a:cubicBezTo>
                <a:cubicBezTo>
                  <a:pt x="224" y="265"/>
                  <a:pt x="224" y="265"/>
                  <a:pt x="224" y="265"/>
                </a:cubicBezTo>
                <a:cubicBezTo>
                  <a:pt x="225" y="268"/>
                  <a:pt x="223" y="272"/>
                  <a:pt x="219" y="27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32" name="Oval 22"/>
          <p:cNvSpPr>
            <a:spLocks noChangeArrowheads="1"/>
          </p:cNvSpPr>
          <p:nvPr/>
        </p:nvSpPr>
        <p:spPr bwMode="auto">
          <a:xfrm>
            <a:off x="4845101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6" name="Freeform 37"/>
          <p:cNvSpPr>
            <a:spLocks noEditPoints="1"/>
          </p:cNvSpPr>
          <p:nvPr/>
        </p:nvSpPr>
        <p:spPr bwMode="auto">
          <a:xfrm>
            <a:off x="5115188" y="1253540"/>
            <a:ext cx="282786" cy="564441"/>
          </a:xfrm>
          <a:custGeom>
            <a:avLst/>
            <a:gdLst>
              <a:gd name="T0" fmla="*/ 243 w 245"/>
              <a:gd name="T1" fmla="*/ 273 h 489"/>
              <a:gd name="T2" fmla="*/ 195 w 245"/>
              <a:gd name="T3" fmla="*/ 133 h 489"/>
              <a:gd name="T4" fmla="*/ 50 w 245"/>
              <a:gd name="T5" fmla="*/ 133 h 489"/>
              <a:gd name="T6" fmla="*/ 2 w 245"/>
              <a:gd name="T7" fmla="*/ 273 h 489"/>
              <a:gd name="T8" fmla="*/ 14 w 245"/>
              <a:gd name="T9" fmla="*/ 295 h 489"/>
              <a:gd name="T10" fmla="*/ 36 w 245"/>
              <a:gd name="T11" fmla="*/ 286 h 489"/>
              <a:gd name="T12" fmla="*/ 63 w 245"/>
              <a:gd name="T13" fmla="*/ 469 h 489"/>
              <a:gd name="T14" fmla="*/ 86 w 245"/>
              <a:gd name="T15" fmla="*/ 489 h 489"/>
              <a:gd name="T16" fmla="*/ 123 w 245"/>
              <a:gd name="T17" fmla="*/ 345 h 489"/>
              <a:gd name="T18" fmla="*/ 159 w 245"/>
              <a:gd name="T19" fmla="*/ 489 h 489"/>
              <a:gd name="T20" fmla="*/ 182 w 245"/>
              <a:gd name="T21" fmla="*/ 470 h 489"/>
              <a:gd name="T22" fmla="*/ 175 w 245"/>
              <a:gd name="T23" fmla="*/ 212 h 489"/>
              <a:gd name="T24" fmla="*/ 225 w 245"/>
              <a:gd name="T25" fmla="*/ 296 h 489"/>
              <a:gd name="T26" fmla="*/ 243 w 245"/>
              <a:gd name="T27" fmla="*/ 274 h 489"/>
              <a:gd name="T28" fmla="*/ 225 w 245"/>
              <a:gd name="T29" fmla="*/ 286 h 489"/>
              <a:gd name="T30" fmla="*/ 174 w 245"/>
              <a:gd name="T31" fmla="*/ 187 h 489"/>
              <a:gd name="T32" fmla="*/ 165 w 245"/>
              <a:gd name="T33" fmla="*/ 189 h 489"/>
              <a:gd name="T34" fmla="*/ 171 w 245"/>
              <a:gd name="T35" fmla="*/ 426 h 489"/>
              <a:gd name="T36" fmla="*/ 172 w 245"/>
              <a:gd name="T37" fmla="*/ 469 h 489"/>
              <a:gd name="T38" fmla="*/ 159 w 245"/>
              <a:gd name="T39" fmla="*/ 479 h 489"/>
              <a:gd name="T40" fmla="*/ 159 w 245"/>
              <a:gd name="T41" fmla="*/ 479 h 489"/>
              <a:gd name="T42" fmla="*/ 127 w 245"/>
              <a:gd name="T43" fmla="*/ 304 h 489"/>
              <a:gd name="T44" fmla="*/ 118 w 245"/>
              <a:gd name="T45" fmla="*/ 304 h 489"/>
              <a:gd name="T46" fmla="*/ 86 w 245"/>
              <a:gd name="T47" fmla="*/ 479 h 489"/>
              <a:gd name="T48" fmla="*/ 73 w 245"/>
              <a:gd name="T49" fmla="*/ 467 h 489"/>
              <a:gd name="T50" fmla="*/ 74 w 245"/>
              <a:gd name="T51" fmla="*/ 426 h 489"/>
              <a:gd name="T52" fmla="*/ 80 w 245"/>
              <a:gd name="T53" fmla="*/ 189 h 489"/>
              <a:gd name="T54" fmla="*/ 71 w 245"/>
              <a:gd name="T55" fmla="*/ 187 h 489"/>
              <a:gd name="T56" fmla="*/ 21 w 245"/>
              <a:gd name="T57" fmla="*/ 286 h 489"/>
              <a:gd name="T58" fmla="*/ 11 w 245"/>
              <a:gd name="T59" fmla="*/ 276 h 489"/>
              <a:gd name="T60" fmla="*/ 13 w 245"/>
              <a:gd name="T61" fmla="*/ 272 h 489"/>
              <a:gd name="T62" fmla="*/ 58 w 245"/>
              <a:gd name="T63" fmla="*/ 137 h 489"/>
              <a:gd name="T64" fmla="*/ 187 w 245"/>
              <a:gd name="T65" fmla="*/ 137 h 489"/>
              <a:gd name="T66" fmla="*/ 232 w 245"/>
              <a:gd name="T67" fmla="*/ 272 h 489"/>
              <a:gd name="T68" fmla="*/ 234 w 245"/>
              <a:gd name="T69" fmla="*/ 276 h 489"/>
              <a:gd name="T70" fmla="*/ 123 w 245"/>
              <a:gd name="T71" fmla="*/ 92 h 489"/>
              <a:gd name="T72" fmla="*/ 123 w 245"/>
              <a:gd name="T73" fmla="*/ 0 h 489"/>
              <a:gd name="T74" fmla="*/ 123 w 245"/>
              <a:gd name="T75" fmla="*/ 92 h 489"/>
              <a:gd name="T76" fmla="*/ 159 w 245"/>
              <a:gd name="T77" fmla="*/ 46 h 489"/>
              <a:gd name="T78" fmla="*/ 86 w 245"/>
              <a:gd name="T79" fmla="*/ 46 h 4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45" h="489">
                <a:moveTo>
                  <a:pt x="243" y="274"/>
                </a:moveTo>
                <a:cubicBezTo>
                  <a:pt x="243" y="274"/>
                  <a:pt x="243" y="274"/>
                  <a:pt x="243" y="273"/>
                </a:cubicBezTo>
                <a:cubicBezTo>
                  <a:pt x="242" y="272"/>
                  <a:pt x="240" y="265"/>
                  <a:pt x="237" y="256"/>
                </a:cubicBezTo>
                <a:cubicBezTo>
                  <a:pt x="226" y="220"/>
                  <a:pt x="201" y="146"/>
                  <a:pt x="195" y="133"/>
                </a:cubicBezTo>
                <a:cubicBezTo>
                  <a:pt x="185" y="112"/>
                  <a:pt x="163" y="103"/>
                  <a:pt x="123" y="103"/>
                </a:cubicBezTo>
                <a:cubicBezTo>
                  <a:pt x="82" y="103"/>
                  <a:pt x="60" y="112"/>
                  <a:pt x="50" y="133"/>
                </a:cubicBezTo>
                <a:cubicBezTo>
                  <a:pt x="44" y="146"/>
                  <a:pt x="19" y="220"/>
                  <a:pt x="8" y="256"/>
                </a:cubicBezTo>
                <a:cubicBezTo>
                  <a:pt x="5" y="265"/>
                  <a:pt x="3" y="272"/>
                  <a:pt x="2" y="273"/>
                </a:cubicBezTo>
                <a:cubicBezTo>
                  <a:pt x="2" y="274"/>
                  <a:pt x="2" y="274"/>
                  <a:pt x="2" y="274"/>
                </a:cubicBezTo>
                <a:cubicBezTo>
                  <a:pt x="0" y="282"/>
                  <a:pt x="5" y="291"/>
                  <a:pt x="14" y="295"/>
                </a:cubicBezTo>
                <a:cubicBezTo>
                  <a:pt x="16" y="295"/>
                  <a:pt x="18" y="296"/>
                  <a:pt x="21" y="296"/>
                </a:cubicBezTo>
                <a:cubicBezTo>
                  <a:pt x="28" y="296"/>
                  <a:pt x="34" y="292"/>
                  <a:pt x="36" y="286"/>
                </a:cubicBezTo>
                <a:cubicBezTo>
                  <a:pt x="70" y="212"/>
                  <a:pt x="70" y="212"/>
                  <a:pt x="70" y="212"/>
                </a:cubicBezTo>
                <a:cubicBezTo>
                  <a:pt x="68" y="309"/>
                  <a:pt x="64" y="463"/>
                  <a:pt x="63" y="469"/>
                </a:cubicBezTo>
                <a:cubicBezTo>
                  <a:pt x="63" y="470"/>
                  <a:pt x="63" y="470"/>
                  <a:pt x="63" y="470"/>
                </a:cubicBezTo>
                <a:cubicBezTo>
                  <a:pt x="64" y="481"/>
                  <a:pt x="74" y="489"/>
                  <a:pt x="86" y="489"/>
                </a:cubicBezTo>
                <a:cubicBezTo>
                  <a:pt x="97" y="489"/>
                  <a:pt x="107" y="481"/>
                  <a:pt x="108" y="470"/>
                </a:cubicBezTo>
                <a:cubicBezTo>
                  <a:pt x="123" y="345"/>
                  <a:pt x="123" y="345"/>
                  <a:pt x="123" y="345"/>
                </a:cubicBezTo>
                <a:cubicBezTo>
                  <a:pt x="137" y="470"/>
                  <a:pt x="137" y="470"/>
                  <a:pt x="137" y="470"/>
                </a:cubicBezTo>
                <a:cubicBezTo>
                  <a:pt x="138" y="481"/>
                  <a:pt x="148" y="489"/>
                  <a:pt x="159" y="489"/>
                </a:cubicBezTo>
                <a:cubicBezTo>
                  <a:pt x="159" y="489"/>
                  <a:pt x="159" y="489"/>
                  <a:pt x="159" y="489"/>
                </a:cubicBezTo>
                <a:cubicBezTo>
                  <a:pt x="171" y="489"/>
                  <a:pt x="181" y="481"/>
                  <a:pt x="182" y="470"/>
                </a:cubicBezTo>
                <a:cubicBezTo>
                  <a:pt x="182" y="470"/>
                  <a:pt x="182" y="470"/>
                  <a:pt x="182" y="469"/>
                </a:cubicBezTo>
                <a:cubicBezTo>
                  <a:pt x="181" y="463"/>
                  <a:pt x="177" y="309"/>
                  <a:pt x="175" y="212"/>
                </a:cubicBezTo>
                <a:cubicBezTo>
                  <a:pt x="209" y="286"/>
                  <a:pt x="209" y="286"/>
                  <a:pt x="209" y="286"/>
                </a:cubicBezTo>
                <a:cubicBezTo>
                  <a:pt x="211" y="292"/>
                  <a:pt x="217" y="296"/>
                  <a:pt x="225" y="296"/>
                </a:cubicBezTo>
                <a:cubicBezTo>
                  <a:pt x="227" y="296"/>
                  <a:pt x="229" y="295"/>
                  <a:pt x="231" y="295"/>
                </a:cubicBezTo>
                <a:cubicBezTo>
                  <a:pt x="240" y="291"/>
                  <a:pt x="245" y="282"/>
                  <a:pt x="243" y="274"/>
                </a:cubicBezTo>
                <a:close/>
                <a:moveTo>
                  <a:pt x="228" y="286"/>
                </a:moveTo>
                <a:cubicBezTo>
                  <a:pt x="227" y="286"/>
                  <a:pt x="226" y="286"/>
                  <a:pt x="225" y="286"/>
                </a:cubicBezTo>
                <a:cubicBezTo>
                  <a:pt x="221" y="286"/>
                  <a:pt x="218" y="285"/>
                  <a:pt x="217" y="282"/>
                </a:cubicBezTo>
                <a:cubicBezTo>
                  <a:pt x="174" y="187"/>
                  <a:pt x="174" y="187"/>
                  <a:pt x="174" y="187"/>
                </a:cubicBezTo>
                <a:cubicBezTo>
                  <a:pt x="173" y="185"/>
                  <a:pt x="171" y="184"/>
                  <a:pt x="169" y="184"/>
                </a:cubicBezTo>
                <a:cubicBezTo>
                  <a:pt x="167" y="184"/>
                  <a:pt x="165" y="186"/>
                  <a:pt x="165" y="189"/>
                </a:cubicBezTo>
                <a:cubicBezTo>
                  <a:pt x="165" y="189"/>
                  <a:pt x="167" y="259"/>
                  <a:pt x="169" y="329"/>
                </a:cubicBezTo>
                <a:cubicBezTo>
                  <a:pt x="169" y="364"/>
                  <a:pt x="170" y="399"/>
                  <a:pt x="171" y="426"/>
                </a:cubicBezTo>
                <a:cubicBezTo>
                  <a:pt x="171" y="439"/>
                  <a:pt x="172" y="450"/>
                  <a:pt x="172" y="458"/>
                </a:cubicBezTo>
                <a:cubicBezTo>
                  <a:pt x="172" y="464"/>
                  <a:pt x="172" y="467"/>
                  <a:pt x="172" y="469"/>
                </a:cubicBezTo>
                <a:cubicBezTo>
                  <a:pt x="172" y="469"/>
                  <a:pt x="172" y="469"/>
                  <a:pt x="172" y="469"/>
                </a:cubicBezTo>
                <a:cubicBezTo>
                  <a:pt x="172" y="475"/>
                  <a:pt x="166" y="479"/>
                  <a:pt x="159" y="479"/>
                </a:cubicBezTo>
                <a:cubicBezTo>
                  <a:pt x="159" y="484"/>
                  <a:pt x="159" y="484"/>
                  <a:pt x="159" y="484"/>
                </a:cubicBezTo>
                <a:cubicBezTo>
                  <a:pt x="159" y="479"/>
                  <a:pt x="159" y="479"/>
                  <a:pt x="159" y="479"/>
                </a:cubicBezTo>
                <a:cubicBezTo>
                  <a:pt x="153" y="479"/>
                  <a:pt x="147" y="475"/>
                  <a:pt x="147" y="469"/>
                </a:cubicBezTo>
                <a:cubicBezTo>
                  <a:pt x="127" y="304"/>
                  <a:pt x="127" y="304"/>
                  <a:pt x="127" y="304"/>
                </a:cubicBezTo>
                <a:cubicBezTo>
                  <a:pt x="127" y="302"/>
                  <a:pt x="125" y="300"/>
                  <a:pt x="123" y="300"/>
                </a:cubicBezTo>
                <a:cubicBezTo>
                  <a:pt x="120" y="300"/>
                  <a:pt x="118" y="302"/>
                  <a:pt x="118" y="304"/>
                </a:cubicBezTo>
                <a:cubicBezTo>
                  <a:pt x="98" y="469"/>
                  <a:pt x="98" y="469"/>
                  <a:pt x="98" y="469"/>
                </a:cubicBezTo>
                <a:cubicBezTo>
                  <a:pt x="98" y="475"/>
                  <a:pt x="92" y="479"/>
                  <a:pt x="86" y="479"/>
                </a:cubicBezTo>
                <a:cubicBezTo>
                  <a:pt x="79" y="479"/>
                  <a:pt x="73" y="475"/>
                  <a:pt x="73" y="469"/>
                </a:cubicBezTo>
                <a:cubicBezTo>
                  <a:pt x="73" y="469"/>
                  <a:pt x="73" y="468"/>
                  <a:pt x="73" y="467"/>
                </a:cubicBezTo>
                <a:cubicBezTo>
                  <a:pt x="73" y="465"/>
                  <a:pt x="73" y="462"/>
                  <a:pt x="73" y="458"/>
                </a:cubicBezTo>
                <a:cubicBezTo>
                  <a:pt x="73" y="450"/>
                  <a:pt x="74" y="439"/>
                  <a:pt x="74" y="426"/>
                </a:cubicBezTo>
                <a:cubicBezTo>
                  <a:pt x="75" y="400"/>
                  <a:pt x="76" y="364"/>
                  <a:pt x="77" y="329"/>
                </a:cubicBezTo>
                <a:cubicBezTo>
                  <a:pt x="78" y="259"/>
                  <a:pt x="80" y="189"/>
                  <a:pt x="80" y="189"/>
                </a:cubicBezTo>
                <a:cubicBezTo>
                  <a:pt x="80" y="186"/>
                  <a:pt x="79" y="184"/>
                  <a:pt x="76" y="184"/>
                </a:cubicBezTo>
                <a:cubicBezTo>
                  <a:pt x="74" y="184"/>
                  <a:pt x="72" y="185"/>
                  <a:pt x="71" y="187"/>
                </a:cubicBezTo>
                <a:cubicBezTo>
                  <a:pt x="28" y="282"/>
                  <a:pt x="28" y="282"/>
                  <a:pt x="28" y="282"/>
                </a:cubicBezTo>
                <a:cubicBezTo>
                  <a:pt x="27" y="285"/>
                  <a:pt x="24" y="286"/>
                  <a:pt x="21" y="286"/>
                </a:cubicBezTo>
                <a:cubicBezTo>
                  <a:pt x="19" y="286"/>
                  <a:pt x="18" y="286"/>
                  <a:pt x="17" y="286"/>
                </a:cubicBezTo>
                <a:cubicBezTo>
                  <a:pt x="13" y="284"/>
                  <a:pt x="10" y="280"/>
                  <a:pt x="11" y="276"/>
                </a:cubicBezTo>
                <a:cubicBezTo>
                  <a:pt x="11" y="276"/>
                  <a:pt x="11" y="276"/>
                  <a:pt x="11" y="276"/>
                </a:cubicBezTo>
                <a:cubicBezTo>
                  <a:pt x="11" y="275"/>
                  <a:pt x="12" y="274"/>
                  <a:pt x="13" y="272"/>
                </a:cubicBezTo>
                <a:cubicBezTo>
                  <a:pt x="14" y="269"/>
                  <a:pt x="15" y="264"/>
                  <a:pt x="17" y="259"/>
                </a:cubicBezTo>
                <a:cubicBezTo>
                  <a:pt x="27" y="226"/>
                  <a:pt x="52" y="149"/>
                  <a:pt x="58" y="137"/>
                </a:cubicBezTo>
                <a:cubicBezTo>
                  <a:pt x="64" y="125"/>
                  <a:pt x="76" y="112"/>
                  <a:pt x="123" y="112"/>
                </a:cubicBezTo>
                <a:cubicBezTo>
                  <a:pt x="169" y="112"/>
                  <a:pt x="181" y="125"/>
                  <a:pt x="187" y="137"/>
                </a:cubicBezTo>
                <a:cubicBezTo>
                  <a:pt x="193" y="149"/>
                  <a:pt x="218" y="226"/>
                  <a:pt x="228" y="259"/>
                </a:cubicBezTo>
                <a:cubicBezTo>
                  <a:pt x="230" y="264"/>
                  <a:pt x="232" y="269"/>
                  <a:pt x="232" y="272"/>
                </a:cubicBezTo>
                <a:cubicBezTo>
                  <a:pt x="233" y="274"/>
                  <a:pt x="234" y="275"/>
                  <a:pt x="234" y="276"/>
                </a:cubicBezTo>
                <a:cubicBezTo>
                  <a:pt x="234" y="276"/>
                  <a:pt x="234" y="276"/>
                  <a:pt x="234" y="276"/>
                </a:cubicBezTo>
                <a:cubicBezTo>
                  <a:pt x="235" y="280"/>
                  <a:pt x="232" y="284"/>
                  <a:pt x="228" y="286"/>
                </a:cubicBezTo>
                <a:close/>
                <a:moveTo>
                  <a:pt x="123" y="92"/>
                </a:moveTo>
                <a:cubicBezTo>
                  <a:pt x="148" y="92"/>
                  <a:pt x="169" y="71"/>
                  <a:pt x="169" y="46"/>
                </a:cubicBezTo>
                <a:cubicBezTo>
                  <a:pt x="169" y="20"/>
                  <a:pt x="148" y="0"/>
                  <a:pt x="123" y="0"/>
                </a:cubicBezTo>
                <a:cubicBezTo>
                  <a:pt x="97" y="0"/>
                  <a:pt x="76" y="20"/>
                  <a:pt x="76" y="46"/>
                </a:cubicBezTo>
                <a:cubicBezTo>
                  <a:pt x="76" y="71"/>
                  <a:pt x="97" y="92"/>
                  <a:pt x="123" y="92"/>
                </a:cubicBezTo>
                <a:close/>
                <a:moveTo>
                  <a:pt x="123" y="9"/>
                </a:moveTo>
                <a:cubicBezTo>
                  <a:pt x="143" y="9"/>
                  <a:pt x="159" y="26"/>
                  <a:pt x="159" y="46"/>
                </a:cubicBezTo>
                <a:cubicBezTo>
                  <a:pt x="159" y="66"/>
                  <a:pt x="143" y="83"/>
                  <a:pt x="123" y="83"/>
                </a:cubicBezTo>
                <a:cubicBezTo>
                  <a:pt x="102" y="83"/>
                  <a:pt x="86" y="66"/>
                  <a:pt x="86" y="46"/>
                </a:cubicBezTo>
                <a:cubicBezTo>
                  <a:pt x="86" y="26"/>
                  <a:pt x="102" y="9"/>
                  <a:pt x="123" y="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33" name="Oval 23"/>
          <p:cNvSpPr>
            <a:spLocks noChangeArrowheads="1"/>
          </p:cNvSpPr>
          <p:nvPr/>
        </p:nvSpPr>
        <p:spPr bwMode="auto">
          <a:xfrm>
            <a:off x="3552358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7" name="Freeform 38"/>
          <p:cNvSpPr>
            <a:spLocks noEditPoints="1"/>
          </p:cNvSpPr>
          <p:nvPr/>
        </p:nvSpPr>
        <p:spPr bwMode="auto">
          <a:xfrm>
            <a:off x="3822116" y="1253540"/>
            <a:ext cx="282954" cy="564441"/>
          </a:xfrm>
          <a:custGeom>
            <a:avLst/>
            <a:gdLst>
              <a:gd name="T0" fmla="*/ 169 w 245"/>
              <a:gd name="T1" fmla="*/ 46 h 489"/>
              <a:gd name="T2" fmla="*/ 76 w 245"/>
              <a:gd name="T3" fmla="*/ 46 h 489"/>
              <a:gd name="T4" fmla="*/ 122 w 245"/>
              <a:gd name="T5" fmla="*/ 9 h 489"/>
              <a:gd name="T6" fmla="*/ 122 w 245"/>
              <a:gd name="T7" fmla="*/ 83 h 489"/>
              <a:gd name="T8" fmla="*/ 122 w 245"/>
              <a:gd name="T9" fmla="*/ 9 h 489"/>
              <a:gd name="T10" fmla="*/ 243 w 245"/>
              <a:gd name="T11" fmla="*/ 273 h 489"/>
              <a:gd name="T12" fmla="*/ 195 w 245"/>
              <a:gd name="T13" fmla="*/ 132 h 489"/>
              <a:gd name="T14" fmla="*/ 50 w 245"/>
              <a:gd name="T15" fmla="*/ 132 h 489"/>
              <a:gd name="T16" fmla="*/ 2 w 245"/>
              <a:gd name="T17" fmla="*/ 273 h 489"/>
              <a:gd name="T18" fmla="*/ 14 w 245"/>
              <a:gd name="T19" fmla="*/ 294 h 489"/>
              <a:gd name="T20" fmla="*/ 36 w 245"/>
              <a:gd name="T21" fmla="*/ 285 h 489"/>
              <a:gd name="T22" fmla="*/ 39 w 245"/>
              <a:gd name="T23" fmla="*/ 356 h 489"/>
              <a:gd name="T24" fmla="*/ 44 w 245"/>
              <a:gd name="T25" fmla="*/ 362 h 489"/>
              <a:gd name="T26" fmla="*/ 63 w 245"/>
              <a:gd name="T27" fmla="*/ 469 h 489"/>
              <a:gd name="T28" fmla="*/ 85 w 245"/>
              <a:gd name="T29" fmla="*/ 489 h 489"/>
              <a:gd name="T30" fmla="*/ 120 w 245"/>
              <a:gd name="T31" fmla="*/ 362 h 489"/>
              <a:gd name="T32" fmla="*/ 137 w 245"/>
              <a:gd name="T33" fmla="*/ 470 h 489"/>
              <a:gd name="T34" fmla="*/ 159 w 245"/>
              <a:gd name="T35" fmla="*/ 489 h 489"/>
              <a:gd name="T36" fmla="*/ 181 w 245"/>
              <a:gd name="T37" fmla="*/ 469 h 489"/>
              <a:gd name="T38" fmla="*/ 201 w 245"/>
              <a:gd name="T39" fmla="*/ 362 h 489"/>
              <a:gd name="T40" fmla="*/ 205 w 245"/>
              <a:gd name="T41" fmla="*/ 356 h 489"/>
              <a:gd name="T42" fmla="*/ 208 w 245"/>
              <a:gd name="T43" fmla="*/ 285 h 489"/>
              <a:gd name="T44" fmla="*/ 224 w 245"/>
              <a:gd name="T45" fmla="*/ 295 h 489"/>
              <a:gd name="T46" fmla="*/ 243 w 245"/>
              <a:gd name="T47" fmla="*/ 274 h 489"/>
              <a:gd name="T48" fmla="*/ 224 w 245"/>
              <a:gd name="T49" fmla="*/ 286 h 489"/>
              <a:gd name="T50" fmla="*/ 217 w 245"/>
              <a:gd name="T51" fmla="*/ 282 h 489"/>
              <a:gd name="T52" fmla="*/ 171 w 245"/>
              <a:gd name="T53" fmla="*/ 184 h 489"/>
              <a:gd name="T54" fmla="*/ 195 w 245"/>
              <a:gd name="T55" fmla="*/ 353 h 489"/>
              <a:gd name="T56" fmla="*/ 170 w 245"/>
              <a:gd name="T57" fmla="*/ 354 h 489"/>
              <a:gd name="T58" fmla="*/ 170 w 245"/>
              <a:gd name="T59" fmla="*/ 413 h 489"/>
              <a:gd name="T60" fmla="*/ 172 w 245"/>
              <a:gd name="T61" fmla="*/ 469 h 489"/>
              <a:gd name="T62" fmla="*/ 159 w 245"/>
              <a:gd name="T63" fmla="*/ 479 h 489"/>
              <a:gd name="T64" fmla="*/ 159 w 245"/>
              <a:gd name="T65" fmla="*/ 479 h 489"/>
              <a:gd name="T66" fmla="*/ 133 w 245"/>
              <a:gd name="T67" fmla="*/ 357 h 489"/>
              <a:gd name="T68" fmla="*/ 116 w 245"/>
              <a:gd name="T69" fmla="*/ 353 h 489"/>
              <a:gd name="T70" fmla="*/ 98 w 245"/>
              <a:gd name="T71" fmla="*/ 469 h 489"/>
              <a:gd name="T72" fmla="*/ 73 w 245"/>
              <a:gd name="T73" fmla="*/ 469 h 489"/>
              <a:gd name="T74" fmla="*/ 73 w 245"/>
              <a:gd name="T75" fmla="*/ 465 h 489"/>
              <a:gd name="T76" fmla="*/ 74 w 245"/>
              <a:gd name="T77" fmla="*/ 413 h 489"/>
              <a:gd name="T78" fmla="*/ 74 w 245"/>
              <a:gd name="T79" fmla="*/ 354 h 489"/>
              <a:gd name="T80" fmla="*/ 49 w 245"/>
              <a:gd name="T81" fmla="*/ 353 h 489"/>
              <a:gd name="T82" fmla="*/ 73 w 245"/>
              <a:gd name="T83" fmla="*/ 184 h 489"/>
              <a:gd name="T84" fmla="*/ 28 w 245"/>
              <a:gd name="T85" fmla="*/ 282 h 489"/>
              <a:gd name="T86" fmla="*/ 17 w 245"/>
              <a:gd name="T87" fmla="*/ 285 h 489"/>
              <a:gd name="T88" fmla="*/ 11 w 245"/>
              <a:gd name="T89" fmla="*/ 276 h 489"/>
              <a:gd name="T90" fmla="*/ 16 w 245"/>
              <a:gd name="T91" fmla="*/ 259 h 489"/>
              <a:gd name="T92" fmla="*/ 122 w 245"/>
              <a:gd name="T93" fmla="*/ 112 h 489"/>
              <a:gd name="T94" fmla="*/ 228 w 245"/>
              <a:gd name="T95" fmla="*/ 259 h 489"/>
              <a:gd name="T96" fmla="*/ 234 w 245"/>
              <a:gd name="T97" fmla="*/ 276 h 489"/>
              <a:gd name="T98" fmla="*/ 228 w 245"/>
              <a:gd name="T99" fmla="*/ 285 h 4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45" h="489">
                <a:moveTo>
                  <a:pt x="122" y="93"/>
                </a:moveTo>
                <a:cubicBezTo>
                  <a:pt x="148" y="93"/>
                  <a:pt x="169" y="72"/>
                  <a:pt x="169" y="46"/>
                </a:cubicBezTo>
                <a:cubicBezTo>
                  <a:pt x="169" y="21"/>
                  <a:pt x="148" y="0"/>
                  <a:pt x="122" y="0"/>
                </a:cubicBezTo>
                <a:cubicBezTo>
                  <a:pt x="97" y="0"/>
                  <a:pt x="76" y="21"/>
                  <a:pt x="76" y="46"/>
                </a:cubicBezTo>
                <a:cubicBezTo>
                  <a:pt x="76" y="72"/>
                  <a:pt x="97" y="93"/>
                  <a:pt x="122" y="93"/>
                </a:cubicBezTo>
                <a:close/>
                <a:moveTo>
                  <a:pt x="122" y="9"/>
                </a:moveTo>
                <a:cubicBezTo>
                  <a:pt x="143" y="9"/>
                  <a:pt x="159" y="26"/>
                  <a:pt x="159" y="46"/>
                </a:cubicBezTo>
                <a:cubicBezTo>
                  <a:pt x="159" y="67"/>
                  <a:pt x="143" y="83"/>
                  <a:pt x="122" y="83"/>
                </a:cubicBezTo>
                <a:cubicBezTo>
                  <a:pt x="102" y="83"/>
                  <a:pt x="85" y="67"/>
                  <a:pt x="85" y="46"/>
                </a:cubicBezTo>
                <a:cubicBezTo>
                  <a:pt x="85" y="26"/>
                  <a:pt x="102" y="9"/>
                  <a:pt x="122" y="9"/>
                </a:cubicBezTo>
                <a:close/>
                <a:moveTo>
                  <a:pt x="243" y="274"/>
                </a:moveTo>
                <a:cubicBezTo>
                  <a:pt x="243" y="273"/>
                  <a:pt x="243" y="273"/>
                  <a:pt x="243" y="273"/>
                </a:cubicBezTo>
                <a:cubicBezTo>
                  <a:pt x="242" y="272"/>
                  <a:pt x="240" y="265"/>
                  <a:pt x="237" y="256"/>
                </a:cubicBezTo>
                <a:cubicBezTo>
                  <a:pt x="225" y="220"/>
                  <a:pt x="201" y="145"/>
                  <a:pt x="195" y="132"/>
                </a:cubicBezTo>
                <a:cubicBezTo>
                  <a:pt x="185" y="112"/>
                  <a:pt x="163" y="103"/>
                  <a:pt x="122" y="103"/>
                </a:cubicBezTo>
                <a:cubicBezTo>
                  <a:pt x="81" y="103"/>
                  <a:pt x="60" y="112"/>
                  <a:pt x="50" y="132"/>
                </a:cubicBezTo>
                <a:cubicBezTo>
                  <a:pt x="43" y="145"/>
                  <a:pt x="19" y="220"/>
                  <a:pt x="8" y="256"/>
                </a:cubicBezTo>
                <a:cubicBezTo>
                  <a:pt x="5" y="265"/>
                  <a:pt x="2" y="272"/>
                  <a:pt x="2" y="273"/>
                </a:cubicBezTo>
                <a:cubicBezTo>
                  <a:pt x="2" y="273"/>
                  <a:pt x="2" y="273"/>
                  <a:pt x="2" y="274"/>
                </a:cubicBezTo>
                <a:cubicBezTo>
                  <a:pt x="0" y="282"/>
                  <a:pt x="5" y="291"/>
                  <a:pt x="14" y="294"/>
                </a:cubicBezTo>
                <a:cubicBezTo>
                  <a:pt x="16" y="295"/>
                  <a:pt x="18" y="295"/>
                  <a:pt x="20" y="295"/>
                </a:cubicBezTo>
                <a:cubicBezTo>
                  <a:pt x="27" y="295"/>
                  <a:pt x="34" y="291"/>
                  <a:pt x="36" y="285"/>
                </a:cubicBezTo>
                <a:cubicBezTo>
                  <a:pt x="61" y="227"/>
                  <a:pt x="61" y="227"/>
                  <a:pt x="61" y="227"/>
                </a:cubicBezTo>
                <a:cubicBezTo>
                  <a:pt x="39" y="356"/>
                  <a:pt x="39" y="356"/>
                  <a:pt x="39" y="356"/>
                </a:cubicBezTo>
                <a:cubicBezTo>
                  <a:pt x="39" y="358"/>
                  <a:pt x="39" y="359"/>
                  <a:pt x="40" y="360"/>
                </a:cubicBezTo>
                <a:cubicBezTo>
                  <a:pt x="41" y="361"/>
                  <a:pt x="42" y="362"/>
                  <a:pt x="44" y="362"/>
                </a:cubicBezTo>
                <a:cubicBezTo>
                  <a:pt x="66" y="362"/>
                  <a:pt x="66" y="362"/>
                  <a:pt x="66" y="362"/>
                </a:cubicBezTo>
                <a:cubicBezTo>
                  <a:pt x="65" y="395"/>
                  <a:pt x="63" y="465"/>
                  <a:pt x="63" y="469"/>
                </a:cubicBezTo>
                <a:cubicBezTo>
                  <a:pt x="63" y="469"/>
                  <a:pt x="63" y="469"/>
                  <a:pt x="63" y="470"/>
                </a:cubicBezTo>
                <a:cubicBezTo>
                  <a:pt x="64" y="480"/>
                  <a:pt x="74" y="488"/>
                  <a:pt x="85" y="489"/>
                </a:cubicBezTo>
                <a:cubicBezTo>
                  <a:pt x="97" y="489"/>
                  <a:pt x="107" y="480"/>
                  <a:pt x="108" y="470"/>
                </a:cubicBezTo>
                <a:cubicBezTo>
                  <a:pt x="120" y="362"/>
                  <a:pt x="120" y="362"/>
                  <a:pt x="120" y="362"/>
                </a:cubicBezTo>
                <a:cubicBezTo>
                  <a:pt x="124" y="362"/>
                  <a:pt x="124" y="362"/>
                  <a:pt x="124" y="362"/>
                </a:cubicBezTo>
                <a:cubicBezTo>
                  <a:pt x="137" y="470"/>
                  <a:pt x="137" y="470"/>
                  <a:pt x="137" y="470"/>
                </a:cubicBezTo>
                <a:cubicBezTo>
                  <a:pt x="138" y="480"/>
                  <a:pt x="148" y="489"/>
                  <a:pt x="159" y="489"/>
                </a:cubicBezTo>
                <a:cubicBezTo>
                  <a:pt x="159" y="489"/>
                  <a:pt x="159" y="489"/>
                  <a:pt x="159" y="489"/>
                </a:cubicBezTo>
                <a:cubicBezTo>
                  <a:pt x="171" y="488"/>
                  <a:pt x="180" y="480"/>
                  <a:pt x="181" y="470"/>
                </a:cubicBezTo>
                <a:cubicBezTo>
                  <a:pt x="181" y="469"/>
                  <a:pt x="181" y="469"/>
                  <a:pt x="181" y="469"/>
                </a:cubicBezTo>
                <a:cubicBezTo>
                  <a:pt x="181" y="465"/>
                  <a:pt x="179" y="395"/>
                  <a:pt x="178" y="362"/>
                </a:cubicBezTo>
                <a:cubicBezTo>
                  <a:pt x="201" y="362"/>
                  <a:pt x="201" y="362"/>
                  <a:pt x="201" y="362"/>
                </a:cubicBezTo>
                <a:cubicBezTo>
                  <a:pt x="203" y="362"/>
                  <a:pt x="205" y="360"/>
                  <a:pt x="205" y="357"/>
                </a:cubicBezTo>
                <a:cubicBezTo>
                  <a:pt x="205" y="357"/>
                  <a:pt x="205" y="356"/>
                  <a:pt x="205" y="356"/>
                </a:cubicBezTo>
                <a:cubicBezTo>
                  <a:pt x="184" y="227"/>
                  <a:pt x="184" y="227"/>
                  <a:pt x="184" y="227"/>
                </a:cubicBezTo>
                <a:cubicBezTo>
                  <a:pt x="208" y="285"/>
                  <a:pt x="208" y="285"/>
                  <a:pt x="208" y="285"/>
                </a:cubicBezTo>
                <a:cubicBezTo>
                  <a:pt x="211" y="291"/>
                  <a:pt x="217" y="295"/>
                  <a:pt x="224" y="295"/>
                </a:cubicBezTo>
                <a:cubicBezTo>
                  <a:pt x="224" y="295"/>
                  <a:pt x="224" y="295"/>
                  <a:pt x="224" y="295"/>
                </a:cubicBezTo>
                <a:cubicBezTo>
                  <a:pt x="226" y="295"/>
                  <a:pt x="229" y="295"/>
                  <a:pt x="231" y="294"/>
                </a:cubicBezTo>
                <a:cubicBezTo>
                  <a:pt x="240" y="291"/>
                  <a:pt x="245" y="282"/>
                  <a:pt x="243" y="274"/>
                </a:cubicBezTo>
                <a:close/>
                <a:moveTo>
                  <a:pt x="228" y="285"/>
                </a:moveTo>
                <a:cubicBezTo>
                  <a:pt x="227" y="286"/>
                  <a:pt x="225" y="286"/>
                  <a:pt x="224" y="286"/>
                </a:cubicBezTo>
                <a:cubicBezTo>
                  <a:pt x="224" y="286"/>
                  <a:pt x="224" y="286"/>
                  <a:pt x="224" y="286"/>
                </a:cubicBezTo>
                <a:cubicBezTo>
                  <a:pt x="221" y="286"/>
                  <a:pt x="218" y="284"/>
                  <a:pt x="217" y="282"/>
                </a:cubicBezTo>
                <a:cubicBezTo>
                  <a:pt x="177" y="186"/>
                  <a:pt x="177" y="186"/>
                  <a:pt x="177" y="186"/>
                </a:cubicBezTo>
                <a:cubicBezTo>
                  <a:pt x="176" y="184"/>
                  <a:pt x="173" y="183"/>
                  <a:pt x="171" y="184"/>
                </a:cubicBezTo>
                <a:cubicBezTo>
                  <a:pt x="169" y="184"/>
                  <a:pt x="167" y="187"/>
                  <a:pt x="168" y="189"/>
                </a:cubicBezTo>
                <a:cubicBezTo>
                  <a:pt x="195" y="353"/>
                  <a:pt x="195" y="353"/>
                  <a:pt x="195" y="353"/>
                </a:cubicBezTo>
                <a:cubicBezTo>
                  <a:pt x="174" y="353"/>
                  <a:pt x="174" y="353"/>
                  <a:pt x="174" y="353"/>
                </a:cubicBezTo>
                <a:cubicBezTo>
                  <a:pt x="172" y="353"/>
                  <a:pt x="171" y="353"/>
                  <a:pt x="170" y="354"/>
                </a:cubicBezTo>
                <a:cubicBezTo>
                  <a:pt x="169" y="355"/>
                  <a:pt x="169" y="356"/>
                  <a:pt x="169" y="357"/>
                </a:cubicBezTo>
                <a:cubicBezTo>
                  <a:pt x="169" y="357"/>
                  <a:pt x="170" y="385"/>
                  <a:pt x="170" y="413"/>
                </a:cubicBezTo>
                <a:cubicBezTo>
                  <a:pt x="171" y="427"/>
                  <a:pt x="171" y="441"/>
                  <a:pt x="171" y="452"/>
                </a:cubicBezTo>
                <a:cubicBezTo>
                  <a:pt x="172" y="461"/>
                  <a:pt x="172" y="466"/>
                  <a:pt x="172" y="469"/>
                </a:cubicBezTo>
                <a:cubicBezTo>
                  <a:pt x="172" y="469"/>
                  <a:pt x="172" y="469"/>
                  <a:pt x="172" y="469"/>
                </a:cubicBezTo>
                <a:cubicBezTo>
                  <a:pt x="172" y="475"/>
                  <a:pt x="166" y="479"/>
                  <a:pt x="159" y="479"/>
                </a:cubicBezTo>
                <a:cubicBezTo>
                  <a:pt x="159" y="484"/>
                  <a:pt x="159" y="484"/>
                  <a:pt x="159" y="484"/>
                </a:cubicBezTo>
                <a:cubicBezTo>
                  <a:pt x="159" y="479"/>
                  <a:pt x="159" y="479"/>
                  <a:pt x="159" y="479"/>
                </a:cubicBezTo>
                <a:cubicBezTo>
                  <a:pt x="152" y="479"/>
                  <a:pt x="147" y="475"/>
                  <a:pt x="146" y="469"/>
                </a:cubicBezTo>
                <a:cubicBezTo>
                  <a:pt x="133" y="357"/>
                  <a:pt x="133" y="357"/>
                  <a:pt x="133" y="357"/>
                </a:cubicBezTo>
                <a:cubicBezTo>
                  <a:pt x="133" y="354"/>
                  <a:pt x="131" y="353"/>
                  <a:pt x="129" y="353"/>
                </a:cubicBezTo>
                <a:cubicBezTo>
                  <a:pt x="116" y="353"/>
                  <a:pt x="116" y="353"/>
                  <a:pt x="116" y="353"/>
                </a:cubicBezTo>
                <a:cubicBezTo>
                  <a:pt x="114" y="353"/>
                  <a:pt x="112" y="354"/>
                  <a:pt x="111" y="357"/>
                </a:cubicBezTo>
                <a:cubicBezTo>
                  <a:pt x="98" y="469"/>
                  <a:pt x="98" y="469"/>
                  <a:pt x="98" y="469"/>
                </a:cubicBezTo>
                <a:cubicBezTo>
                  <a:pt x="98" y="475"/>
                  <a:pt x="92" y="479"/>
                  <a:pt x="85" y="479"/>
                </a:cubicBezTo>
                <a:cubicBezTo>
                  <a:pt x="79" y="479"/>
                  <a:pt x="73" y="475"/>
                  <a:pt x="73" y="469"/>
                </a:cubicBezTo>
                <a:cubicBezTo>
                  <a:pt x="73" y="469"/>
                  <a:pt x="73" y="469"/>
                  <a:pt x="73" y="469"/>
                </a:cubicBezTo>
                <a:cubicBezTo>
                  <a:pt x="73" y="468"/>
                  <a:pt x="73" y="466"/>
                  <a:pt x="73" y="465"/>
                </a:cubicBezTo>
                <a:cubicBezTo>
                  <a:pt x="73" y="462"/>
                  <a:pt x="73" y="457"/>
                  <a:pt x="73" y="452"/>
                </a:cubicBezTo>
                <a:cubicBezTo>
                  <a:pt x="73" y="441"/>
                  <a:pt x="74" y="427"/>
                  <a:pt x="74" y="413"/>
                </a:cubicBezTo>
                <a:cubicBezTo>
                  <a:pt x="75" y="385"/>
                  <a:pt x="76" y="357"/>
                  <a:pt x="76" y="357"/>
                </a:cubicBezTo>
                <a:cubicBezTo>
                  <a:pt x="76" y="356"/>
                  <a:pt x="75" y="355"/>
                  <a:pt x="74" y="354"/>
                </a:cubicBezTo>
                <a:cubicBezTo>
                  <a:pt x="74" y="353"/>
                  <a:pt x="72" y="353"/>
                  <a:pt x="71" y="353"/>
                </a:cubicBezTo>
                <a:cubicBezTo>
                  <a:pt x="49" y="353"/>
                  <a:pt x="49" y="353"/>
                  <a:pt x="49" y="353"/>
                </a:cubicBezTo>
                <a:cubicBezTo>
                  <a:pt x="77" y="189"/>
                  <a:pt x="77" y="189"/>
                  <a:pt x="77" y="189"/>
                </a:cubicBezTo>
                <a:cubicBezTo>
                  <a:pt x="77" y="187"/>
                  <a:pt x="76" y="184"/>
                  <a:pt x="73" y="184"/>
                </a:cubicBezTo>
                <a:cubicBezTo>
                  <a:pt x="71" y="183"/>
                  <a:pt x="69" y="184"/>
                  <a:pt x="68" y="186"/>
                </a:cubicBezTo>
                <a:cubicBezTo>
                  <a:pt x="28" y="282"/>
                  <a:pt x="28" y="282"/>
                  <a:pt x="28" y="282"/>
                </a:cubicBezTo>
                <a:cubicBezTo>
                  <a:pt x="26" y="284"/>
                  <a:pt x="24" y="286"/>
                  <a:pt x="20" y="286"/>
                </a:cubicBezTo>
                <a:cubicBezTo>
                  <a:pt x="19" y="286"/>
                  <a:pt x="18" y="286"/>
                  <a:pt x="17" y="285"/>
                </a:cubicBezTo>
                <a:cubicBezTo>
                  <a:pt x="13" y="284"/>
                  <a:pt x="10" y="280"/>
                  <a:pt x="11" y="276"/>
                </a:cubicBezTo>
                <a:cubicBezTo>
                  <a:pt x="11" y="276"/>
                  <a:pt x="11" y="276"/>
                  <a:pt x="11" y="276"/>
                </a:cubicBezTo>
                <a:cubicBezTo>
                  <a:pt x="11" y="275"/>
                  <a:pt x="12" y="273"/>
                  <a:pt x="12" y="271"/>
                </a:cubicBezTo>
                <a:cubicBezTo>
                  <a:pt x="13" y="268"/>
                  <a:pt x="15" y="264"/>
                  <a:pt x="16" y="259"/>
                </a:cubicBezTo>
                <a:cubicBezTo>
                  <a:pt x="27" y="226"/>
                  <a:pt x="52" y="149"/>
                  <a:pt x="58" y="136"/>
                </a:cubicBezTo>
                <a:cubicBezTo>
                  <a:pt x="64" y="124"/>
                  <a:pt x="76" y="112"/>
                  <a:pt x="122" y="112"/>
                </a:cubicBezTo>
                <a:cubicBezTo>
                  <a:pt x="168" y="112"/>
                  <a:pt x="181" y="124"/>
                  <a:pt x="186" y="136"/>
                </a:cubicBezTo>
                <a:cubicBezTo>
                  <a:pt x="192" y="149"/>
                  <a:pt x="217" y="226"/>
                  <a:pt x="228" y="259"/>
                </a:cubicBezTo>
                <a:cubicBezTo>
                  <a:pt x="230" y="264"/>
                  <a:pt x="231" y="268"/>
                  <a:pt x="232" y="271"/>
                </a:cubicBezTo>
                <a:cubicBezTo>
                  <a:pt x="233" y="273"/>
                  <a:pt x="233" y="275"/>
                  <a:pt x="234" y="276"/>
                </a:cubicBezTo>
                <a:cubicBezTo>
                  <a:pt x="234" y="276"/>
                  <a:pt x="234" y="276"/>
                  <a:pt x="234" y="276"/>
                </a:cubicBezTo>
                <a:cubicBezTo>
                  <a:pt x="235" y="280"/>
                  <a:pt x="232" y="284"/>
                  <a:pt x="228" y="2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76" name="Oval 9"/>
          <p:cNvSpPr>
            <a:spLocks noChangeArrowheads="1"/>
          </p:cNvSpPr>
          <p:nvPr/>
        </p:nvSpPr>
        <p:spPr bwMode="auto">
          <a:xfrm>
            <a:off x="6137845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8" name="Freeform 39"/>
          <p:cNvSpPr>
            <a:spLocks noEditPoints="1"/>
          </p:cNvSpPr>
          <p:nvPr/>
        </p:nvSpPr>
        <p:spPr bwMode="auto">
          <a:xfrm>
            <a:off x="6317852" y="1270643"/>
            <a:ext cx="394163" cy="528767"/>
          </a:xfrm>
          <a:custGeom>
            <a:avLst/>
            <a:gdLst>
              <a:gd name="T0" fmla="*/ 235 w 342"/>
              <a:gd name="T1" fmla="*/ 50 h 458"/>
              <a:gd name="T2" fmla="*/ 136 w 342"/>
              <a:gd name="T3" fmla="*/ 50 h 458"/>
              <a:gd name="T4" fmla="*/ 185 w 342"/>
              <a:gd name="T5" fmla="*/ 9 h 458"/>
              <a:gd name="T6" fmla="*/ 185 w 342"/>
              <a:gd name="T7" fmla="*/ 90 h 458"/>
              <a:gd name="T8" fmla="*/ 185 w 342"/>
              <a:gd name="T9" fmla="*/ 9 h 458"/>
              <a:gd name="T10" fmla="*/ 321 w 342"/>
              <a:gd name="T11" fmla="*/ 183 h 458"/>
              <a:gd name="T12" fmla="*/ 254 w 342"/>
              <a:gd name="T13" fmla="*/ 118 h 458"/>
              <a:gd name="T14" fmla="*/ 176 w 342"/>
              <a:gd name="T15" fmla="*/ 114 h 458"/>
              <a:gd name="T16" fmla="*/ 97 w 342"/>
              <a:gd name="T17" fmla="*/ 165 h 458"/>
              <a:gd name="T18" fmla="*/ 2 w 342"/>
              <a:gd name="T19" fmla="*/ 171 h 458"/>
              <a:gd name="T20" fmla="*/ 93 w 342"/>
              <a:gd name="T21" fmla="*/ 214 h 458"/>
              <a:gd name="T22" fmla="*/ 110 w 342"/>
              <a:gd name="T23" fmla="*/ 213 h 458"/>
              <a:gd name="T24" fmla="*/ 185 w 342"/>
              <a:gd name="T25" fmla="*/ 247 h 458"/>
              <a:gd name="T26" fmla="*/ 127 w 342"/>
              <a:gd name="T27" fmla="*/ 321 h 458"/>
              <a:gd name="T28" fmla="*/ 90 w 342"/>
              <a:gd name="T29" fmla="*/ 446 h 458"/>
              <a:gd name="T30" fmla="*/ 140 w 342"/>
              <a:gd name="T31" fmla="*/ 443 h 458"/>
              <a:gd name="T32" fmla="*/ 181 w 342"/>
              <a:gd name="T33" fmla="*/ 343 h 458"/>
              <a:gd name="T34" fmla="*/ 213 w 342"/>
              <a:gd name="T35" fmla="*/ 311 h 458"/>
              <a:gd name="T36" fmla="*/ 266 w 342"/>
              <a:gd name="T37" fmla="*/ 458 h 458"/>
              <a:gd name="T38" fmla="*/ 295 w 342"/>
              <a:gd name="T39" fmla="*/ 425 h 458"/>
              <a:gd name="T40" fmla="*/ 245 w 342"/>
              <a:gd name="T41" fmla="*/ 177 h 458"/>
              <a:gd name="T42" fmla="*/ 297 w 342"/>
              <a:gd name="T43" fmla="*/ 267 h 458"/>
              <a:gd name="T44" fmla="*/ 337 w 342"/>
              <a:gd name="T45" fmla="*/ 277 h 458"/>
              <a:gd name="T46" fmla="*/ 106 w 342"/>
              <a:gd name="T47" fmla="*/ 204 h 458"/>
              <a:gd name="T48" fmla="*/ 21 w 342"/>
              <a:gd name="T49" fmla="*/ 186 h 458"/>
              <a:gd name="T50" fmla="*/ 30 w 342"/>
              <a:gd name="T51" fmla="*/ 162 h 458"/>
              <a:gd name="T52" fmla="*/ 100 w 342"/>
              <a:gd name="T53" fmla="*/ 174 h 458"/>
              <a:gd name="T54" fmla="*/ 162 w 342"/>
              <a:gd name="T55" fmla="*/ 150 h 458"/>
              <a:gd name="T56" fmla="*/ 106 w 342"/>
              <a:gd name="T57" fmla="*/ 204 h 458"/>
              <a:gd name="T58" fmla="*/ 270 w 342"/>
              <a:gd name="T59" fmla="*/ 449 h 458"/>
              <a:gd name="T60" fmla="*/ 221 w 342"/>
              <a:gd name="T61" fmla="*/ 303 h 458"/>
              <a:gd name="T62" fmla="*/ 286 w 342"/>
              <a:gd name="T63" fmla="*/ 426 h 458"/>
              <a:gd name="T64" fmla="*/ 320 w 342"/>
              <a:gd name="T65" fmla="*/ 276 h 458"/>
              <a:gd name="T66" fmla="*/ 285 w 342"/>
              <a:gd name="T67" fmla="*/ 199 h 458"/>
              <a:gd name="T68" fmla="*/ 239 w 342"/>
              <a:gd name="T69" fmla="*/ 160 h 458"/>
              <a:gd name="T70" fmla="*/ 232 w 342"/>
              <a:gd name="T71" fmla="*/ 165 h 458"/>
              <a:gd name="T72" fmla="*/ 194 w 342"/>
              <a:gd name="T73" fmla="*/ 317 h 458"/>
              <a:gd name="T74" fmla="*/ 147 w 342"/>
              <a:gd name="T75" fmla="*/ 400 h 458"/>
              <a:gd name="T76" fmla="*/ 114 w 342"/>
              <a:gd name="T77" fmla="*/ 449 h 458"/>
              <a:gd name="T78" fmla="*/ 98 w 342"/>
              <a:gd name="T79" fmla="*/ 419 h 458"/>
              <a:gd name="T80" fmla="*/ 194 w 342"/>
              <a:gd name="T81" fmla="*/ 251 h 458"/>
              <a:gd name="T82" fmla="*/ 171 w 342"/>
              <a:gd name="T83" fmla="*/ 148 h 458"/>
              <a:gd name="T84" fmla="*/ 202 w 342"/>
              <a:gd name="T85" fmla="*/ 111 h 458"/>
              <a:gd name="T86" fmla="*/ 307 w 342"/>
              <a:gd name="T87" fmla="*/ 177 h 458"/>
              <a:gd name="T88" fmla="*/ 331 w 342"/>
              <a:gd name="T89" fmla="*/ 260 h 4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42" h="458">
                <a:moveTo>
                  <a:pt x="185" y="99"/>
                </a:moveTo>
                <a:cubicBezTo>
                  <a:pt x="212" y="99"/>
                  <a:pt x="235" y="77"/>
                  <a:pt x="235" y="50"/>
                </a:cubicBezTo>
                <a:cubicBezTo>
                  <a:pt x="235" y="22"/>
                  <a:pt x="212" y="0"/>
                  <a:pt x="185" y="0"/>
                </a:cubicBezTo>
                <a:cubicBezTo>
                  <a:pt x="158" y="0"/>
                  <a:pt x="136" y="22"/>
                  <a:pt x="136" y="50"/>
                </a:cubicBezTo>
                <a:cubicBezTo>
                  <a:pt x="136" y="77"/>
                  <a:pt x="158" y="99"/>
                  <a:pt x="185" y="99"/>
                </a:cubicBezTo>
                <a:close/>
                <a:moveTo>
                  <a:pt x="185" y="9"/>
                </a:moveTo>
                <a:cubicBezTo>
                  <a:pt x="207" y="9"/>
                  <a:pt x="225" y="27"/>
                  <a:pt x="225" y="50"/>
                </a:cubicBezTo>
                <a:cubicBezTo>
                  <a:pt x="225" y="72"/>
                  <a:pt x="207" y="90"/>
                  <a:pt x="185" y="90"/>
                </a:cubicBezTo>
                <a:cubicBezTo>
                  <a:pt x="163" y="90"/>
                  <a:pt x="145" y="72"/>
                  <a:pt x="145" y="50"/>
                </a:cubicBezTo>
                <a:cubicBezTo>
                  <a:pt x="145" y="27"/>
                  <a:pt x="163" y="9"/>
                  <a:pt x="185" y="9"/>
                </a:cubicBezTo>
                <a:close/>
                <a:moveTo>
                  <a:pt x="340" y="258"/>
                </a:moveTo>
                <a:cubicBezTo>
                  <a:pt x="337" y="246"/>
                  <a:pt x="325" y="198"/>
                  <a:pt x="321" y="183"/>
                </a:cubicBezTo>
                <a:cubicBezTo>
                  <a:pt x="320" y="178"/>
                  <a:pt x="317" y="173"/>
                  <a:pt x="313" y="169"/>
                </a:cubicBezTo>
                <a:cubicBezTo>
                  <a:pt x="298" y="156"/>
                  <a:pt x="263" y="125"/>
                  <a:pt x="254" y="118"/>
                </a:cubicBezTo>
                <a:cubicBezTo>
                  <a:pt x="237" y="104"/>
                  <a:pt x="219" y="99"/>
                  <a:pt x="201" y="102"/>
                </a:cubicBezTo>
                <a:cubicBezTo>
                  <a:pt x="192" y="103"/>
                  <a:pt x="183" y="108"/>
                  <a:pt x="176" y="114"/>
                </a:cubicBezTo>
                <a:cubicBezTo>
                  <a:pt x="175" y="115"/>
                  <a:pt x="174" y="115"/>
                  <a:pt x="174" y="115"/>
                </a:cubicBezTo>
                <a:cubicBezTo>
                  <a:pt x="97" y="165"/>
                  <a:pt x="97" y="165"/>
                  <a:pt x="97" y="165"/>
                </a:cubicBezTo>
                <a:cubicBezTo>
                  <a:pt x="88" y="163"/>
                  <a:pt x="50" y="156"/>
                  <a:pt x="32" y="153"/>
                </a:cubicBezTo>
                <a:cubicBezTo>
                  <a:pt x="14" y="150"/>
                  <a:pt x="4" y="160"/>
                  <a:pt x="2" y="171"/>
                </a:cubicBezTo>
                <a:cubicBezTo>
                  <a:pt x="0" y="181"/>
                  <a:pt x="5" y="193"/>
                  <a:pt x="19" y="195"/>
                </a:cubicBezTo>
                <a:cubicBezTo>
                  <a:pt x="30" y="198"/>
                  <a:pt x="75" y="209"/>
                  <a:pt x="93" y="214"/>
                </a:cubicBezTo>
                <a:cubicBezTo>
                  <a:pt x="95" y="215"/>
                  <a:pt x="98" y="215"/>
                  <a:pt x="100" y="215"/>
                </a:cubicBezTo>
                <a:cubicBezTo>
                  <a:pt x="103" y="215"/>
                  <a:pt x="106" y="214"/>
                  <a:pt x="110" y="213"/>
                </a:cubicBezTo>
                <a:cubicBezTo>
                  <a:pt x="128" y="206"/>
                  <a:pt x="158" y="193"/>
                  <a:pt x="171" y="188"/>
                </a:cubicBezTo>
                <a:cubicBezTo>
                  <a:pt x="176" y="212"/>
                  <a:pt x="183" y="239"/>
                  <a:pt x="185" y="247"/>
                </a:cubicBezTo>
                <a:cubicBezTo>
                  <a:pt x="127" y="320"/>
                  <a:pt x="127" y="320"/>
                  <a:pt x="127" y="320"/>
                </a:cubicBezTo>
                <a:cubicBezTo>
                  <a:pt x="127" y="320"/>
                  <a:pt x="127" y="320"/>
                  <a:pt x="127" y="321"/>
                </a:cubicBezTo>
                <a:cubicBezTo>
                  <a:pt x="127" y="321"/>
                  <a:pt x="104" y="380"/>
                  <a:pt x="89" y="416"/>
                </a:cubicBezTo>
                <a:cubicBezTo>
                  <a:pt x="85" y="427"/>
                  <a:pt x="85" y="438"/>
                  <a:pt x="90" y="446"/>
                </a:cubicBezTo>
                <a:cubicBezTo>
                  <a:pt x="96" y="454"/>
                  <a:pt x="104" y="458"/>
                  <a:pt x="114" y="458"/>
                </a:cubicBezTo>
                <a:cubicBezTo>
                  <a:pt x="126" y="458"/>
                  <a:pt x="135" y="452"/>
                  <a:pt x="140" y="443"/>
                </a:cubicBezTo>
                <a:cubicBezTo>
                  <a:pt x="143" y="437"/>
                  <a:pt x="149" y="422"/>
                  <a:pt x="156" y="404"/>
                </a:cubicBezTo>
                <a:cubicBezTo>
                  <a:pt x="165" y="381"/>
                  <a:pt x="178" y="347"/>
                  <a:pt x="181" y="343"/>
                </a:cubicBezTo>
                <a:cubicBezTo>
                  <a:pt x="182" y="341"/>
                  <a:pt x="191" y="333"/>
                  <a:pt x="200" y="324"/>
                </a:cubicBezTo>
                <a:cubicBezTo>
                  <a:pt x="205" y="319"/>
                  <a:pt x="209" y="315"/>
                  <a:pt x="213" y="311"/>
                </a:cubicBezTo>
                <a:cubicBezTo>
                  <a:pt x="218" y="334"/>
                  <a:pt x="231" y="397"/>
                  <a:pt x="239" y="433"/>
                </a:cubicBezTo>
                <a:cubicBezTo>
                  <a:pt x="243" y="452"/>
                  <a:pt x="255" y="458"/>
                  <a:pt x="266" y="458"/>
                </a:cubicBezTo>
                <a:cubicBezTo>
                  <a:pt x="268" y="458"/>
                  <a:pt x="270" y="458"/>
                  <a:pt x="272" y="458"/>
                </a:cubicBezTo>
                <a:cubicBezTo>
                  <a:pt x="286" y="455"/>
                  <a:pt x="299" y="441"/>
                  <a:pt x="295" y="425"/>
                </a:cubicBezTo>
                <a:cubicBezTo>
                  <a:pt x="292" y="409"/>
                  <a:pt x="264" y="265"/>
                  <a:pt x="263" y="255"/>
                </a:cubicBezTo>
                <a:cubicBezTo>
                  <a:pt x="263" y="245"/>
                  <a:pt x="251" y="201"/>
                  <a:pt x="245" y="177"/>
                </a:cubicBezTo>
                <a:cubicBezTo>
                  <a:pt x="277" y="203"/>
                  <a:pt x="277" y="203"/>
                  <a:pt x="277" y="203"/>
                </a:cubicBezTo>
                <a:cubicBezTo>
                  <a:pt x="279" y="211"/>
                  <a:pt x="291" y="248"/>
                  <a:pt x="297" y="267"/>
                </a:cubicBezTo>
                <a:cubicBezTo>
                  <a:pt x="301" y="278"/>
                  <a:pt x="310" y="285"/>
                  <a:pt x="320" y="285"/>
                </a:cubicBezTo>
                <a:cubicBezTo>
                  <a:pt x="327" y="285"/>
                  <a:pt x="333" y="282"/>
                  <a:pt x="337" y="277"/>
                </a:cubicBezTo>
                <a:cubicBezTo>
                  <a:pt x="341" y="271"/>
                  <a:pt x="342" y="264"/>
                  <a:pt x="340" y="258"/>
                </a:cubicBezTo>
                <a:close/>
                <a:moveTo>
                  <a:pt x="106" y="204"/>
                </a:moveTo>
                <a:cubicBezTo>
                  <a:pt x="103" y="206"/>
                  <a:pt x="99" y="206"/>
                  <a:pt x="96" y="205"/>
                </a:cubicBezTo>
                <a:cubicBezTo>
                  <a:pt x="77" y="200"/>
                  <a:pt x="32" y="189"/>
                  <a:pt x="21" y="186"/>
                </a:cubicBezTo>
                <a:cubicBezTo>
                  <a:pt x="13" y="185"/>
                  <a:pt x="10" y="178"/>
                  <a:pt x="11" y="172"/>
                </a:cubicBezTo>
                <a:cubicBezTo>
                  <a:pt x="13" y="166"/>
                  <a:pt x="18" y="160"/>
                  <a:pt x="30" y="162"/>
                </a:cubicBezTo>
                <a:cubicBezTo>
                  <a:pt x="51" y="166"/>
                  <a:pt x="96" y="175"/>
                  <a:pt x="97" y="175"/>
                </a:cubicBezTo>
                <a:cubicBezTo>
                  <a:pt x="98" y="175"/>
                  <a:pt x="99" y="175"/>
                  <a:pt x="100" y="174"/>
                </a:cubicBezTo>
                <a:cubicBezTo>
                  <a:pt x="163" y="133"/>
                  <a:pt x="163" y="133"/>
                  <a:pt x="163" y="133"/>
                </a:cubicBezTo>
                <a:cubicBezTo>
                  <a:pt x="161" y="139"/>
                  <a:pt x="161" y="145"/>
                  <a:pt x="162" y="150"/>
                </a:cubicBezTo>
                <a:cubicBezTo>
                  <a:pt x="163" y="156"/>
                  <a:pt x="166" y="167"/>
                  <a:pt x="168" y="178"/>
                </a:cubicBezTo>
                <a:cubicBezTo>
                  <a:pt x="157" y="183"/>
                  <a:pt x="125" y="197"/>
                  <a:pt x="106" y="204"/>
                </a:cubicBezTo>
                <a:close/>
                <a:moveTo>
                  <a:pt x="286" y="426"/>
                </a:moveTo>
                <a:cubicBezTo>
                  <a:pt x="288" y="438"/>
                  <a:pt x="279" y="447"/>
                  <a:pt x="270" y="449"/>
                </a:cubicBezTo>
                <a:cubicBezTo>
                  <a:pt x="259" y="451"/>
                  <a:pt x="251" y="444"/>
                  <a:pt x="248" y="431"/>
                </a:cubicBezTo>
                <a:cubicBezTo>
                  <a:pt x="239" y="392"/>
                  <a:pt x="224" y="318"/>
                  <a:pt x="221" y="303"/>
                </a:cubicBezTo>
                <a:cubicBezTo>
                  <a:pt x="238" y="288"/>
                  <a:pt x="249" y="276"/>
                  <a:pt x="255" y="268"/>
                </a:cubicBezTo>
                <a:cubicBezTo>
                  <a:pt x="262" y="304"/>
                  <a:pt x="284" y="413"/>
                  <a:pt x="286" y="426"/>
                </a:cubicBezTo>
                <a:close/>
                <a:moveTo>
                  <a:pt x="330" y="271"/>
                </a:moveTo>
                <a:cubicBezTo>
                  <a:pt x="328" y="274"/>
                  <a:pt x="324" y="276"/>
                  <a:pt x="320" y="276"/>
                </a:cubicBezTo>
                <a:cubicBezTo>
                  <a:pt x="314" y="276"/>
                  <a:pt x="309" y="271"/>
                  <a:pt x="306" y="263"/>
                </a:cubicBezTo>
                <a:cubicBezTo>
                  <a:pt x="299" y="244"/>
                  <a:pt x="285" y="200"/>
                  <a:pt x="285" y="199"/>
                </a:cubicBezTo>
                <a:cubicBezTo>
                  <a:pt x="285" y="198"/>
                  <a:pt x="284" y="198"/>
                  <a:pt x="284" y="197"/>
                </a:cubicBezTo>
                <a:cubicBezTo>
                  <a:pt x="239" y="160"/>
                  <a:pt x="239" y="160"/>
                  <a:pt x="239" y="160"/>
                </a:cubicBezTo>
                <a:cubicBezTo>
                  <a:pt x="238" y="159"/>
                  <a:pt x="235" y="159"/>
                  <a:pt x="234" y="160"/>
                </a:cubicBezTo>
                <a:cubicBezTo>
                  <a:pt x="232" y="161"/>
                  <a:pt x="231" y="163"/>
                  <a:pt x="232" y="165"/>
                </a:cubicBezTo>
                <a:cubicBezTo>
                  <a:pt x="243" y="205"/>
                  <a:pt x="254" y="249"/>
                  <a:pt x="253" y="255"/>
                </a:cubicBezTo>
                <a:cubicBezTo>
                  <a:pt x="251" y="262"/>
                  <a:pt x="212" y="299"/>
                  <a:pt x="194" y="317"/>
                </a:cubicBezTo>
                <a:cubicBezTo>
                  <a:pt x="182" y="329"/>
                  <a:pt x="175" y="335"/>
                  <a:pt x="173" y="337"/>
                </a:cubicBezTo>
                <a:cubicBezTo>
                  <a:pt x="170" y="342"/>
                  <a:pt x="161" y="365"/>
                  <a:pt x="147" y="400"/>
                </a:cubicBezTo>
                <a:cubicBezTo>
                  <a:pt x="140" y="417"/>
                  <a:pt x="134" y="433"/>
                  <a:pt x="132" y="439"/>
                </a:cubicBezTo>
                <a:cubicBezTo>
                  <a:pt x="128" y="445"/>
                  <a:pt x="122" y="449"/>
                  <a:pt x="114" y="449"/>
                </a:cubicBezTo>
                <a:cubicBezTo>
                  <a:pt x="108" y="449"/>
                  <a:pt x="102" y="446"/>
                  <a:pt x="98" y="441"/>
                </a:cubicBezTo>
                <a:cubicBezTo>
                  <a:pt x="95" y="436"/>
                  <a:pt x="94" y="428"/>
                  <a:pt x="98" y="419"/>
                </a:cubicBezTo>
                <a:cubicBezTo>
                  <a:pt x="112" y="386"/>
                  <a:pt x="133" y="331"/>
                  <a:pt x="135" y="325"/>
                </a:cubicBezTo>
                <a:cubicBezTo>
                  <a:pt x="194" y="251"/>
                  <a:pt x="194" y="251"/>
                  <a:pt x="194" y="251"/>
                </a:cubicBezTo>
                <a:cubicBezTo>
                  <a:pt x="194" y="249"/>
                  <a:pt x="195" y="248"/>
                  <a:pt x="194" y="247"/>
                </a:cubicBezTo>
                <a:cubicBezTo>
                  <a:pt x="194" y="246"/>
                  <a:pt x="176" y="169"/>
                  <a:pt x="171" y="148"/>
                </a:cubicBezTo>
                <a:cubicBezTo>
                  <a:pt x="169" y="140"/>
                  <a:pt x="173" y="133"/>
                  <a:pt x="176" y="129"/>
                </a:cubicBezTo>
                <a:cubicBezTo>
                  <a:pt x="182" y="120"/>
                  <a:pt x="192" y="113"/>
                  <a:pt x="202" y="111"/>
                </a:cubicBezTo>
                <a:cubicBezTo>
                  <a:pt x="218" y="108"/>
                  <a:pt x="233" y="113"/>
                  <a:pt x="248" y="125"/>
                </a:cubicBezTo>
                <a:cubicBezTo>
                  <a:pt x="257" y="132"/>
                  <a:pt x="295" y="166"/>
                  <a:pt x="307" y="177"/>
                </a:cubicBezTo>
                <a:cubicBezTo>
                  <a:pt x="310" y="179"/>
                  <a:pt x="311" y="182"/>
                  <a:pt x="312" y="185"/>
                </a:cubicBezTo>
                <a:cubicBezTo>
                  <a:pt x="317" y="204"/>
                  <a:pt x="328" y="249"/>
                  <a:pt x="331" y="260"/>
                </a:cubicBezTo>
                <a:cubicBezTo>
                  <a:pt x="333" y="265"/>
                  <a:pt x="331" y="269"/>
                  <a:pt x="330" y="27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29" name="Oval 19"/>
          <p:cNvSpPr>
            <a:spLocks noChangeArrowheads="1"/>
          </p:cNvSpPr>
          <p:nvPr/>
        </p:nvSpPr>
        <p:spPr bwMode="auto">
          <a:xfrm>
            <a:off x="7430588" y="210827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9" name="Freeform 40"/>
          <p:cNvSpPr>
            <a:spLocks noEditPoints="1"/>
          </p:cNvSpPr>
          <p:nvPr/>
        </p:nvSpPr>
        <p:spPr bwMode="auto">
          <a:xfrm>
            <a:off x="7600552" y="2236313"/>
            <a:ext cx="483032" cy="566885"/>
          </a:xfrm>
          <a:custGeom>
            <a:avLst/>
            <a:gdLst>
              <a:gd name="T0" fmla="*/ 372 w 419"/>
              <a:gd name="T1" fmla="*/ 188 h 491"/>
              <a:gd name="T2" fmla="*/ 379 w 419"/>
              <a:gd name="T3" fmla="*/ 158 h 491"/>
              <a:gd name="T4" fmla="*/ 338 w 419"/>
              <a:gd name="T5" fmla="*/ 55 h 491"/>
              <a:gd name="T6" fmla="*/ 0 w 419"/>
              <a:gd name="T7" fmla="*/ 167 h 491"/>
              <a:gd name="T8" fmla="*/ 80 w 419"/>
              <a:gd name="T9" fmla="*/ 310 h 491"/>
              <a:gd name="T10" fmla="*/ 74 w 419"/>
              <a:gd name="T11" fmla="*/ 460 h 491"/>
              <a:gd name="T12" fmla="*/ 256 w 419"/>
              <a:gd name="T13" fmla="*/ 484 h 491"/>
              <a:gd name="T14" fmla="*/ 262 w 419"/>
              <a:gd name="T15" fmla="*/ 396 h 491"/>
              <a:gd name="T16" fmla="*/ 347 w 419"/>
              <a:gd name="T17" fmla="*/ 413 h 491"/>
              <a:gd name="T18" fmla="*/ 379 w 419"/>
              <a:gd name="T19" fmla="*/ 364 h 491"/>
              <a:gd name="T20" fmla="*/ 384 w 419"/>
              <a:gd name="T21" fmla="*/ 348 h 491"/>
              <a:gd name="T22" fmla="*/ 386 w 419"/>
              <a:gd name="T23" fmla="*/ 330 h 491"/>
              <a:gd name="T24" fmla="*/ 390 w 419"/>
              <a:gd name="T25" fmla="*/ 305 h 491"/>
              <a:gd name="T26" fmla="*/ 390 w 419"/>
              <a:gd name="T27" fmla="*/ 294 h 491"/>
              <a:gd name="T28" fmla="*/ 419 w 419"/>
              <a:gd name="T29" fmla="*/ 272 h 491"/>
              <a:gd name="T30" fmla="*/ 405 w 419"/>
              <a:gd name="T31" fmla="*/ 281 h 491"/>
              <a:gd name="T32" fmla="*/ 381 w 419"/>
              <a:gd name="T33" fmla="*/ 290 h 491"/>
              <a:gd name="T34" fmla="*/ 382 w 419"/>
              <a:gd name="T35" fmla="*/ 310 h 491"/>
              <a:gd name="T36" fmla="*/ 377 w 419"/>
              <a:gd name="T37" fmla="*/ 325 h 491"/>
              <a:gd name="T38" fmla="*/ 378 w 419"/>
              <a:gd name="T39" fmla="*/ 338 h 491"/>
              <a:gd name="T40" fmla="*/ 369 w 419"/>
              <a:gd name="T41" fmla="*/ 357 h 491"/>
              <a:gd name="T42" fmla="*/ 369 w 419"/>
              <a:gd name="T43" fmla="*/ 389 h 491"/>
              <a:gd name="T44" fmla="*/ 345 w 419"/>
              <a:gd name="T45" fmla="*/ 404 h 491"/>
              <a:gd name="T46" fmla="*/ 256 w 419"/>
              <a:gd name="T47" fmla="*/ 387 h 491"/>
              <a:gd name="T48" fmla="*/ 83 w 419"/>
              <a:gd name="T49" fmla="*/ 454 h 491"/>
              <a:gd name="T50" fmla="*/ 68 w 419"/>
              <a:gd name="T51" fmla="*/ 282 h 491"/>
              <a:gd name="T52" fmla="*/ 47 w 419"/>
              <a:gd name="T53" fmla="*/ 56 h 491"/>
              <a:gd name="T54" fmla="*/ 331 w 419"/>
              <a:gd name="T55" fmla="*/ 61 h 491"/>
              <a:gd name="T56" fmla="*/ 370 w 419"/>
              <a:gd name="T57" fmla="*/ 158 h 491"/>
              <a:gd name="T58" fmla="*/ 363 w 419"/>
              <a:gd name="T59" fmla="*/ 189 h 491"/>
              <a:gd name="T60" fmla="*/ 409 w 419"/>
              <a:gd name="T61" fmla="*/ 273 h 491"/>
              <a:gd name="T62" fmla="*/ 283 w 419"/>
              <a:gd name="T63" fmla="*/ 74 h 491"/>
              <a:gd name="T64" fmla="*/ 52 w 419"/>
              <a:gd name="T65" fmla="*/ 163 h 491"/>
              <a:gd name="T66" fmla="*/ 96 w 419"/>
              <a:gd name="T67" fmla="*/ 249 h 491"/>
              <a:gd name="T68" fmla="*/ 160 w 419"/>
              <a:gd name="T69" fmla="*/ 240 h 491"/>
              <a:gd name="T70" fmla="*/ 200 w 419"/>
              <a:gd name="T71" fmla="*/ 201 h 491"/>
              <a:gd name="T72" fmla="*/ 240 w 419"/>
              <a:gd name="T73" fmla="*/ 179 h 491"/>
              <a:gd name="T74" fmla="*/ 321 w 419"/>
              <a:gd name="T75" fmla="*/ 137 h 491"/>
              <a:gd name="T76" fmla="*/ 260 w 419"/>
              <a:gd name="T77" fmla="*/ 170 h 491"/>
              <a:gd name="T78" fmla="*/ 232 w 419"/>
              <a:gd name="T79" fmla="*/ 173 h 491"/>
              <a:gd name="T80" fmla="*/ 195 w 419"/>
              <a:gd name="T81" fmla="*/ 189 h 491"/>
              <a:gd name="T82" fmla="*/ 189 w 419"/>
              <a:gd name="T83" fmla="*/ 196 h 491"/>
              <a:gd name="T84" fmla="*/ 156 w 419"/>
              <a:gd name="T85" fmla="*/ 231 h 491"/>
              <a:gd name="T86" fmla="*/ 132 w 419"/>
              <a:gd name="T87" fmla="*/ 257 h 491"/>
              <a:gd name="T88" fmla="*/ 89 w 419"/>
              <a:gd name="T89" fmla="*/ 214 h 491"/>
              <a:gd name="T90" fmla="*/ 61 w 419"/>
              <a:gd name="T91" fmla="*/ 163 h 491"/>
              <a:gd name="T92" fmla="*/ 277 w 419"/>
              <a:gd name="T93" fmla="*/ 82 h 491"/>
              <a:gd name="T94" fmla="*/ 260 w 419"/>
              <a:gd name="T95" fmla="*/ 170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19" h="491">
                <a:moveTo>
                  <a:pt x="407" y="250"/>
                </a:moveTo>
                <a:cubicBezTo>
                  <a:pt x="396" y="233"/>
                  <a:pt x="374" y="197"/>
                  <a:pt x="372" y="188"/>
                </a:cubicBezTo>
                <a:cubicBezTo>
                  <a:pt x="373" y="187"/>
                  <a:pt x="373" y="185"/>
                  <a:pt x="374" y="183"/>
                </a:cubicBezTo>
                <a:cubicBezTo>
                  <a:pt x="376" y="176"/>
                  <a:pt x="379" y="166"/>
                  <a:pt x="379" y="158"/>
                </a:cubicBezTo>
                <a:cubicBezTo>
                  <a:pt x="379" y="146"/>
                  <a:pt x="377" y="129"/>
                  <a:pt x="374" y="118"/>
                </a:cubicBezTo>
                <a:cubicBezTo>
                  <a:pt x="373" y="112"/>
                  <a:pt x="364" y="83"/>
                  <a:pt x="338" y="55"/>
                </a:cubicBezTo>
                <a:cubicBezTo>
                  <a:pt x="303" y="18"/>
                  <a:pt x="255" y="0"/>
                  <a:pt x="193" y="0"/>
                </a:cubicBezTo>
                <a:cubicBezTo>
                  <a:pt x="65" y="0"/>
                  <a:pt x="0" y="56"/>
                  <a:pt x="0" y="167"/>
                </a:cubicBezTo>
                <a:cubicBezTo>
                  <a:pt x="0" y="231"/>
                  <a:pt x="37" y="266"/>
                  <a:pt x="61" y="288"/>
                </a:cubicBezTo>
                <a:cubicBezTo>
                  <a:pt x="70" y="297"/>
                  <a:pt x="78" y="304"/>
                  <a:pt x="80" y="310"/>
                </a:cubicBezTo>
                <a:cubicBezTo>
                  <a:pt x="97" y="376"/>
                  <a:pt x="82" y="429"/>
                  <a:pt x="72" y="454"/>
                </a:cubicBezTo>
                <a:cubicBezTo>
                  <a:pt x="71" y="456"/>
                  <a:pt x="72" y="459"/>
                  <a:pt x="74" y="460"/>
                </a:cubicBezTo>
                <a:cubicBezTo>
                  <a:pt x="112" y="480"/>
                  <a:pt x="154" y="491"/>
                  <a:pt x="197" y="491"/>
                </a:cubicBezTo>
                <a:cubicBezTo>
                  <a:pt x="217" y="491"/>
                  <a:pt x="236" y="489"/>
                  <a:pt x="256" y="484"/>
                </a:cubicBezTo>
                <a:cubicBezTo>
                  <a:pt x="258" y="484"/>
                  <a:pt x="259" y="482"/>
                  <a:pt x="259" y="480"/>
                </a:cubicBezTo>
                <a:cubicBezTo>
                  <a:pt x="259" y="438"/>
                  <a:pt x="260" y="406"/>
                  <a:pt x="262" y="396"/>
                </a:cubicBezTo>
                <a:cubicBezTo>
                  <a:pt x="280" y="401"/>
                  <a:pt x="335" y="413"/>
                  <a:pt x="345" y="413"/>
                </a:cubicBezTo>
                <a:cubicBezTo>
                  <a:pt x="346" y="413"/>
                  <a:pt x="347" y="413"/>
                  <a:pt x="347" y="413"/>
                </a:cubicBezTo>
                <a:cubicBezTo>
                  <a:pt x="355" y="413"/>
                  <a:pt x="374" y="413"/>
                  <a:pt x="378" y="391"/>
                </a:cubicBezTo>
                <a:cubicBezTo>
                  <a:pt x="381" y="380"/>
                  <a:pt x="380" y="370"/>
                  <a:pt x="379" y="364"/>
                </a:cubicBezTo>
                <a:cubicBezTo>
                  <a:pt x="379" y="362"/>
                  <a:pt x="378" y="360"/>
                  <a:pt x="378" y="360"/>
                </a:cubicBezTo>
                <a:cubicBezTo>
                  <a:pt x="379" y="356"/>
                  <a:pt x="382" y="352"/>
                  <a:pt x="384" y="348"/>
                </a:cubicBezTo>
                <a:cubicBezTo>
                  <a:pt x="386" y="344"/>
                  <a:pt x="387" y="342"/>
                  <a:pt x="388" y="339"/>
                </a:cubicBezTo>
                <a:cubicBezTo>
                  <a:pt x="388" y="337"/>
                  <a:pt x="387" y="333"/>
                  <a:pt x="386" y="330"/>
                </a:cubicBezTo>
                <a:cubicBezTo>
                  <a:pt x="389" y="327"/>
                  <a:pt x="393" y="323"/>
                  <a:pt x="394" y="319"/>
                </a:cubicBezTo>
                <a:cubicBezTo>
                  <a:pt x="394" y="315"/>
                  <a:pt x="392" y="310"/>
                  <a:pt x="390" y="305"/>
                </a:cubicBezTo>
                <a:cubicBezTo>
                  <a:pt x="390" y="305"/>
                  <a:pt x="390" y="305"/>
                  <a:pt x="390" y="304"/>
                </a:cubicBezTo>
                <a:cubicBezTo>
                  <a:pt x="390" y="303"/>
                  <a:pt x="390" y="299"/>
                  <a:pt x="390" y="294"/>
                </a:cubicBezTo>
                <a:cubicBezTo>
                  <a:pt x="396" y="293"/>
                  <a:pt x="406" y="291"/>
                  <a:pt x="409" y="289"/>
                </a:cubicBezTo>
                <a:cubicBezTo>
                  <a:pt x="415" y="286"/>
                  <a:pt x="419" y="277"/>
                  <a:pt x="419" y="272"/>
                </a:cubicBezTo>
                <a:cubicBezTo>
                  <a:pt x="419" y="270"/>
                  <a:pt x="418" y="270"/>
                  <a:pt x="407" y="250"/>
                </a:cubicBezTo>
                <a:close/>
                <a:moveTo>
                  <a:pt x="405" y="281"/>
                </a:moveTo>
                <a:cubicBezTo>
                  <a:pt x="403" y="282"/>
                  <a:pt x="393" y="284"/>
                  <a:pt x="385" y="286"/>
                </a:cubicBezTo>
                <a:cubicBezTo>
                  <a:pt x="383" y="286"/>
                  <a:pt x="381" y="288"/>
                  <a:pt x="381" y="290"/>
                </a:cubicBezTo>
                <a:cubicBezTo>
                  <a:pt x="380" y="305"/>
                  <a:pt x="380" y="306"/>
                  <a:pt x="380" y="307"/>
                </a:cubicBezTo>
                <a:cubicBezTo>
                  <a:pt x="381" y="308"/>
                  <a:pt x="381" y="308"/>
                  <a:pt x="382" y="310"/>
                </a:cubicBezTo>
                <a:cubicBezTo>
                  <a:pt x="384" y="314"/>
                  <a:pt x="385" y="316"/>
                  <a:pt x="385" y="317"/>
                </a:cubicBezTo>
                <a:cubicBezTo>
                  <a:pt x="384" y="319"/>
                  <a:pt x="381" y="322"/>
                  <a:pt x="377" y="325"/>
                </a:cubicBezTo>
                <a:cubicBezTo>
                  <a:pt x="376" y="326"/>
                  <a:pt x="375" y="329"/>
                  <a:pt x="376" y="331"/>
                </a:cubicBezTo>
                <a:cubicBezTo>
                  <a:pt x="377" y="334"/>
                  <a:pt x="378" y="337"/>
                  <a:pt x="378" y="338"/>
                </a:cubicBezTo>
                <a:cubicBezTo>
                  <a:pt x="378" y="339"/>
                  <a:pt x="377" y="342"/>
                  <a:pt x="375" y="344"/>
                </a:cubicBezTo>
                <a:cubicBezTo>
                  <a:pt x="373" y="348"/>
                  <a:pt x="371" y="353"/>
                  <a:pt x="369" y="357"/>
                </a:cubicBezTo>
                <a:cubicBezTo>
                  <a:pt x="369" y="359"/>
                  <a:pt x="369" y="362"/>
                  <a:pt x="369" y="365"/>
                </a:cubicBezTo>
                <a:cubicBezTo>
                  <a:pt x="370" y="371"/>
                  <a:pt x="371" y="379"/>
                  <a:pt x="369" y="389"/>
                </a:cubicBezTo>
                <a:cubicBezTo>
                  <a:pt x="367" y="401"/>
                  <a:pt x="359" y="404"/>
                  <a:pt x="347" y="404"/>
                </a:cubicBezTo>
                <a:cubicBezTo>
                  <a:pt x="347" y="404"/>
                  <a:pt x="346" y="404"/>
                  <a:pt x="345" y="404"/>
                </a:cubicBezTo>
                <a:cubicBezTo>
                  <a:pt x="335" y="403"/>
                  <a:pt x="271" y="389"/>
                  <a:pt x="261" y="386"/>
                </a:cubicBezTo>
                <a:cubicBezTo>
                  <a:pt x="259" y="386"/>
                  <a:pt x="257" y="386"/>
                  <a:pt x="256" y="387"/>
                </a:cubicBezTo>
                <a:cubicBezTo>
                  <a:pt x="250" y="394"/>
                  <a:pt x="249" y="449"/>
                  <a:pt x="250" y="476"/>
                </a:cubicBezTo>
                <a:cubicBezTo>
                  <a:pt x="193" y="488"/>
                  <a:pt x="133" y="480"/>
                  <a:pt x="83" y="454"/>
                </a:cubicBezTo>
                <a:cubicBezTo>
                  <a:pt x="93" y="426"/>
                  <a:pt x="105" y="373"/>
                  <a:pt x="89" y="307"/>
                </a:cubicBezTo>
                <a:cubicBezTo>
                  <a:pt x="87" y="299"/>
                  <a:pt x="79" y="292"/>
                  <a:pt x="68" y="282"/>
                </a:cubicBezTo>
                <a:cubicBezTo>
                  <a:pt x="44" y="260"/>
                  <a:pt x="9" y="227"/>
                  <a:pt x="9" y="167"/>
                </a:cubicBezTo>
                <a:cubicBezTo>
                  <a:pt x="9" y="119"/>
                  <a:pt x="22" y="82"/>
                  <a:pt x="47" y="56"/>
                </a:cubicBezTo>
                <a:cubicBezTo>
                  <a:pt x="78" y="25"/>
                  <a:pt x="127" y="9"/>
                  <a:pt x="193" y="9"/>
                </a:cubicBezTo>
                <a:cubicBezTo>
                  <a:pt x="252" y="9"/>
                  <a:pt x="298" y="27"/>
                  <a:pt x="331" y="61"/>
                </a:cubicBezTo>
                <a:cubicBezTo>
                  <a:pt x="357" y="88"/>
                  <a:pt x="364" y="117"/>
                  <a:pt x="365" y="120"/>
                </a:cubicBezTo>
                <a:cubicBezTo>
                  <a:pt x="367" y="130"/>
                  <a:pt x="370" y="147"/>
                  <a:pt x="370" y="158"/>
                </a:cubicBezTo>
                <a:cubicBezTo>
                  <a:pt x="370" y="165"/>
                  <a:pt x="367" y="174"/>
                  <a:pt x="365" y="180"/>
                </a:cubicBezTo>
                <a:cubicBezTo>
                  <a:pt x="363" y="185"/>
                  <a:pt x="363" y="187"/>
                  <a:pt x="363" y="189"/>
                </a:cubicBezTo>
                <a:cubicBezTo>
                  <a:pt x="364" y="198"/>
                  <a:pt x="380" y="224"/>
                  <a:pt x="399" y="255"/>
                </a:cubicBezTo>
                <a:cubicBezTo>
                  <a:pt x="403" y="263"/>
                  <a:pt x="408" y="271"/>
                  <a:pt x="409" y="273"/>
                </a:cubicBezTo>
                <a:cubicBezTo>
                  <a:pt x="409" y="275"/>
                  <a:pt x="406" y="280"/>
                  <a:pt x="405" y="281"/>
                </a:cubicBezTo>
                <a:close/>
                <a:moveTo>
                  <a:pt x="283" y="74"/>
                </a:moveTo>
                <a:cubicBezTo>
                  <a:pt x="257" y="54"/>
                  <a:pt x="225" y="43"/>
                  <a:pt x="192" y="43"/>
                </a:cubicBezTo>
                <a:cubicBezTo>
                  <a:pt x="103" y="43"/>
                  <a:pt x="52" y="87"/>
                  <a:pt x="52" y="163"/>
                </a:cubicBezTo>
                <a:cubicBezTo>
                  <a:pt x="52" y="204"/>
                  <a:pt x="70" y="215"/>
                  <a:pt x="80" y="218"/>
                </a:cubicBezTo>
                <a:cubicBezTo>
                  <a:pt x="82" y="228"/>
                  <a:pt x="90" y="242"/>
                  <a:pt x="96" y="249"/>
                </a:cubicBezTo>
                <a:cubicBezTo>
                  <a:pt x="107" y="260"/>
                  <a:pt x="120" y="266"/>
                  <a:pt x="132" y="266"/>
                </a:cubicBezTo>
                <a:cubicBezTo>
                  <a:pt x="146" y="266"/>
                  <a:pt x="156" y="257"/>
                  <a:pt x="160" y="240"/>
                </a:cubicBezTo>
                <a:cubicBezTo>
                  <a:pt x="176" y="239"/>
                  <a:pt x="188" y="228"/>
                  <a:pt x="194" y="218"/>
                </a:cubicBezTo>
                <a:cubicBezTo>
                  <a:pt x="198" y="212"/>
                  <a:pt x="200" y="206"/>
                  <a:pt x="200" y="201"/>
                </a:cubicBezTo>
                <a:cubicBezTo>
                  <a:pt x="203" y="202"/>
                  <a:pt x="206" y="202"/>
                  <a:pt x="208" y="202"/>
                </a:cubicBezTo>
                <a:cubicBezTo>
                  <a:pt x="224" y="202"/>
                  <a:pt x="236" y="190"/>
                  <a:pt x="240" y="179"/>
                </a:cubicBezTo>
                <a:cubicBezTo>
                  <a:pt x="248" y="179"/>
                  <a:pt x="254" y="179"/>
                  <a:pt x="260" y="179"/>
                </a:cubicBezTo>
                <a:cubicBezTo>
                  <a:pt x="286" y="179"/>
                  <a:pt x="321" y="175"/>
                  <a:pt x="321" y="137"/>
                </a:cubicBezTo>
                <a:cubicBezTo>
                  <a:pt x="321" y="116"/>
                  <a:pt x="307" y="93"/>
                  <a:pt x="283" y="74"/>
                </a:cubicBezTo>
                <a:close/>
                <a:moveTo>
                  <a:pt x="260" y="170"/>
                </a:moveTo>
                <a:cubicBezTo>
                  <a:pt x="254" y="170"/>
                  <a:pt x="246" y="170"/>
                  <a:pt x="237" y="169"/>
                </a:cubicBezTo>
                <a:cubicBezTo>
                  <a:pt x="234" y="169"/>
                  <a:pt x="232" y="171"/>
                  <a:pt x="232" y="173"/>
                </a:cubicBezTo>
                <a:cubicBezTo>
                  <a:pt x="231" y="181"/>
                  <a:pt x="222" y="192"/>
                  <a:pt x="208" y="192"/>
                </a:cubicBezTo>
                <a:cubicBezTo>
                  <a:pt x="204" y="192"/>
                  <a:pt x="200" y="191"/>
                  <a:pt x="195" y="189"/>
                </a:cubicBezTo>
                <a:cubicBezTo>
                  <a:pt x="194" y="189"/>
                  <a:pt x="191" y="189"/>
                  <a:pt x="190" y="190"/>
                </a:cubicBezTo>
                <a:cubicBezTo>
                  <a:pt x="189" y="192"/>
                  <a:pt x="188" y="194"/>
                  <a:pt x="189" y="196"/>
                </a:cubicBezTo>
                <a:cubicBezTo>
                  <a:pt x="191" y="200"/>
                  <a:pt x="190" y="206"/>
                  <a:pt x="186" y="213"/>
                </a:cubicBezTo>
                <a:cubicBezTo>
                  <a:pt x="180" y="222"/>
                  <a:pt x="169" y="231"/>
                  <a:pt x="156" y="231"/>
                </a:cubicBezTo>
                <a:cubicBezTo>
                  <a:pt x="154" y="231"/>
                  <a:pt x="152" y="233"/>
                  <a:pt x="152" y="235"/>
                </a:cubicBezTo>
                <a:cubicBezTo>
                  <a:pt x="150" y="245"/>
                  <a:pt x="145" y="257"/>
                  <a:pt x="132" y="257"/>
                </a:cubicBezTo>
                <a:cubicBezTo>
                  <a:pt x="123" y="257"/>
                  <a:pt x="112" y="251"/>
                  <a:pt x="103" y="242"/>
                </a:cubicBezTo>
                <a:cubicBezTo>
                  <a:pt x="97" y="236"/>
                  <a:pt x="89" y="221"/>
                  <a:pt x="89" y="214"/>
                </a:cubicBezTo>
                <a:cubicBezTo>
                  <a:pt x="89" y="211"/>
                  <a:pt x="87" y="209"/>
                  <a:pt x="85" y="209"/>
                </a:cubicBezTo>
                <a:cubicBezTo>
                  <a:pt x="80" y="208"/>
                  <a:pt x="61" y="203"/>
                  <a:pt x="61" y="163"/>
                </a:cubicBezTo>
                <a:cubicBezTo>
                  <a:pt x="61" y="122"/>
                  <a:pt x="78" y="53"/>
                  <a:pt x="192" y="53"/>
                </a:cubicBezTo>
                <a:cubicBezTo>
                  <a:pt x="223" y="53"/>
                  <a:pt x="253" y="63"/>
                  <a:pt x="277" y="82"/>
                </a:cubicBezTo>
                <a:cubicBezTo>
                  <a:pt x="299" y="98"/>
                  <a:pt x="312" y="119"/>
                  <a:pt x="312" y="137"/>
                </a:cubicBezTo>
                <a:cubicBezTo>
                  <a:pt x="312" y="160"/>
                  <a:pt x="297" y="170"/>
                  <a:pt x="260" y="17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80" name="Oval 17"/>
          <p:cNvSpPr>
            <a:spLocks noChangeArrowheads="1"/>
          </p:cNvSpPr>
          <p:nvPr/>
        </p:nvSpPr>
        <p:spPr bwMode="auto">
          <a:xfrm>
            <a:off x="966871" y="31167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10" name="Freeform 41"/>
          <p:cNvSpPr>
            <a:spLocks noEditPoints="1"/>
          </p:cNvSpPr>
          <p:nvPr/>
        </p:nvSpPr>
        <p:spPr bwMode="auto">
          <a:xfrm>
            <a:off x="1136447" y="3244829"/>
            <a:ext cx="483807" cy="566885"/>
          </a:xfrm>
          <a:custGeom>
            <a:avLst/>
            <a:gdLst>
              <a:gd name="T0" fmla="*/ 407 w 419"/>
              <a:gd name="T1" fmla="*/ 250 h 491"/>
              <a:gd name="T2" fmla="*/ 372 w 419"/>
              <a:gd name="T3" fmla="*/ 188 h 491"/>
              <a:gd name="T4" fmla="*/ 374 w 419"/>
              <a:gd name="T5" fmla="*/ 183 h 491"/>
              <a:gd name="T6" fmla="*/ 379 w 419"/>
              <a:gd name="T7" fmla="*/ 158 h 491"/>
              <a:gd name="T8" fmla="*/ 374 w 419"/>
              <a:gd name="T9" fmla="*/ 118 h 491"/>
              <a:gd name="T10" fmla="*/ 338 w 419"/>
              <a:gd name="T11" fmla="*/ 55 h 491"/>
              <a:gd name="T12" fmla="*/ 193 w 419"/>
              <a:gd name="T13" fmla="*/ 0 h 491"/>
              <a:gd name="T14" fmla="*/ 0 w 419"/>
              <a:gd name="T15" fmla="*/ 167 h 491"/>
              <a:gd name="T16" fmla="*/ 61 w 419"/>
              <a:gd name="T17" fmla="*/ 288 h 491"/>
              <a:gd name="T18" fmla="*/ 80 w 419"/>
              <a:gd name="T19" fmla="*/ 310 h 491"/>
              <a:gd name="T20" fmla="*/ 72 w 419"/>
              <a:gd name="T21" fmla="*/ 454 h 491"/>
              <a:gd name="T22" fmla="*/ 74 w 419"/>
              <a:gd name="T23" fmla="*/ 460 h 491"/>
              <a:gd name="T24" fmla="*/ 197 w 419"/>
              <a:gd name="T25" fmla="*/ 491 h 491"/>
              <a:gd name="T26" fmla="*/ 256 w 419"/>
              <a:gd name="T27" fmla="*/ 484 h 491"/>
              <a:gd name="T28" fmla="*/ 259 w 419"/>
              <a:gd name="T29" fmla="*/ 480 h 491"/>
              <a:gd name="T30" fmla="*/ 262 w 419"/>
              <a:gd name="T31" fmla="*/ 396 h 491"/>
              <a:gd name="T32" fmla="*/ 345 w 419"/>
              <a:gd name="T33" fmla="*/ 413 h 491"/>
              <a:gd name="T34" fmla="*/ 347 w 419"/>
              <a:gd name="T35" fmla="*/ 413 h 491"/>
              <a:gd name="T36" fmla="*/ 378 w 419"/>
              <a:gd name="T37" fmla="*/ 391 h 491"/>
              <a:gd name="T38" fmla="*/ 379 w 419"/>
              <a:gd name="T39" fmla="*/ 364 h 491"/>
              <a:gd name="T40" fmla="*/ 378 w 419"/>
              <a:gd name="T41" fmla="*/ 360 h 491"/>
              <a:gd name="T42" fmla="*/ 384 w 419"/>
              <a:gd name="T43" fmla="*/ 348 h 491"/>
              <a:gd name="T44" fmla="*/ 388 w 419"/>
              <a:gd name="T45" fmla="*/ 339 h 491"/>
              <a:gd name="T46" fmla="*/ 386 w 419"/>
              <a:gd name="T47" fmla="*/ 330 h 491"/>
              <a:gd name="T48" fmla="*/ 394 w 419"/>
              <a:gd name="T49" fmla="*/ 319 h 491"/>
              <a:gd name="T50" fmla="*/ 390 w 419"/>
              <a:gd name="T51" fmla="*/ 305 h 491"/>
              <a:gd name="T52" fmla="*/ 390 w 419"/>
              <a:gd name="T53" fmla="*/ 304 h 491"/>
              <a:gd name="T54" fmla="*/ 390 w 419"/>
              <a:gd name="T55" fmla="*/ 294 h 491"/>
              <a:gd name="T56" fmla="*/ 409 w 419"/>
              <a:gd name="T57" fmla="*/ 289 h 491"/>
              <a:gd name="T58" fmla="*/ 419 w 419"/>
              <a:gd name="T59" fmla="*/ 272 h 491"/>
              <a:gd name="T60" fmla="*/ 407 w 419"/>
              <a:gd name="T61" fmla="*/ 250 h 491"/>
              <a:gd name="T62" fmla="*/ 405 w 419"/>
              <a:gd name="T63" fmla="*/ 281 h 491"/>
              <a:gd name="T64" fmla="*/ 385 w 419"/>
              <a:gd name="T65" fmla="*/ 286 h 491"/>
              <a:gd name="T66" fmla="*/ 381 w 419"/>
              <a:gd name="T67" fmla="*/ 290 h 491"/>
              <a:gd name="T68" fmla="*/ 380 w 419"/>
              <a:gd name="T69" fmla="*/ 307 h 491"/>
              <a:gd name="T70" fmla="*/ 382 w 419"/>
              <a:gd name="T71" fmla="*/ 310 h 491"/>
              <a:gd name="T72" fmla="*/ 384 w 419"/>
              <a:gd name="T73" fmla="*/ 317 h 491"/>
              <a:gd name="T74" fmla="*/ 377 w 419"/>
              <a:gd name="T75" fmla="*/ 325 h 491"/>
              <a:gd name="T76" fmla="*/ 376 w 419"/>
              <a:gd name="T77" fmla="*/ 331 h 491"/>
              <a:gd name="T78" fmla="*/ 378 w 419"/>
              <a:gd name="T79" fmla="*/ 338 h 491"/>
              <a:gd name="T80" fmla="*/ 375 w 419"/>
              <a:gd name="T81" fmla="*/ 344 h 491"/>
              <a:gd name="T82" fmla="*/ 369 w 419"/>
              <a:gd name="T83" fmla="*/ 357 h 491"/>
              <a:gd name="T84" fmla="*/ 369 w 419"/>
              <a:gd name="T85" fmla="*/ 365 h 491"/>
              <a:gd name="T86" fmla="*/ 369 w 419"/>
              <a:gd name="T87" fmla="*/ 389 h 491"/>
              <a:gd name="T88" fmla="*/ 347 w 419"/>
              <a:gd name="T89" fmla="*/ 404 h 491"/>
              <a:gd name="T90" fmla="*/ 345 w 419"/>
              <a:gd name="T91" fmla="*/ 404 h 491"/>
              <a:gd name="T92" fmla="*/ 261 w 419"/>
              <a:gd name="T93" fmla="*/ 386 h 491"/>
              <a:gd name="T94" fmla="*/ 256 w 419"/>
              <a:gd name="T95" fmla="*/ 387 h 491"/>
              <a:gd name="T96" fmla="*/ 250 w 419"/>
              <a:gd name="T97" fmla="*/ 476 h 491"/>
              <a:gd name="T98" fmla="*/ 83 w 419"/>
              <a:gd name="T99" fmla="*/ 454 h 491"/>
              <a:gd name="T100" fmla="*/ 89 w 419"/>
              <a:gd name="T101" fmla="*/ 307 h 491"/>
              <a:gd name="T102" fmla="*/ 68 w 419"/>
              <a:gd name="T103" fmla="*/ 282 h 491"/>
              <a:gd name="T104" fmla="*/ 9 w 419"/>
              <a:gd name="T105" fmla="*/ 167 h 491"/>
              <a:gd name="T106" fmla="*/ 47 w 419"/>
              <a:gd name="T107" fmla="*/ 56 h 491"/>
              <a:gd name="T108" fmla="*/ 193 w 419"/>
              <a:gd name="T109" fmla="*/ 9 h 491"/>
              <a:gd name="T110" fmla="*/ 331 w 419"/>
              <a:gd name="T111" fmla="*/ 61 h 491"/>
              <a:gd name="T112" fmla="*/ 365 w 419"/>
              <a:gd name="T113" fmla="*/ 120 h 491"/>
              <a:gd name="T114" fmla="*/ 370 w 419"/>
              <a:gd name="T115" fmla="*/ 158 h 491"/>
              <a:gd name="T116" fmla="*/ 365 w 419"/>
              <a:gd name="T117" fmla="*/ 180 h 491"/>
              <a:gd name="T118" fmla="*/ 363 w 419"/>
              <a:gd name="T119" fmla="*/ 189 h 491"/>
              <a:gd name="T120" fmla="*/ 399 w 419"/>
              <a:gd name="T121" fmla="*/ 255 h 491"/>
              <a:gd name="T122" fmla="*/ 409 w 419"/>
              <a:gd name="T123" fmla="*/ 273 h 491"/>
              <a:gd name="T124" fmla="*/ 405 w 419"/>
              <a:gd name="T125" fmla="*/ 281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19" h="491">
                <a:moveTo>
                  <a:pt x="407" y="250"/>
                </a:moveTo>
                <a:cubicBezTo>
                  <a:pt x="395" y="232"/>
                  <a:pt x="374" y="197"/>
                  <a:pt x="372" y="188"/>
                </a:cubicBezTo>
                <a:cubicBezTo>
                  <a:pt x="373" y="187"/>
                  <a:pt x="373" y="185"/>
                  <a:pt x="374" y="183"/>
                </a:cubicBezTo>
                <a:cubicBezTo>
                  <a:pt x="376" y="176"/>
                  <a:pt x="379" y="166"/>
                  <a:pt x="379" y="158"/>
                </a:cubicBezTo>
                <a:cubicBezTo>
                  <a:pt x="379" y="146"/>
                  <a:pt x="377" y="129"/>
                  <a:pt x="374" y="118"/>
                </a:cubicBezTo>
                <a:cubicBezTo>
                  <a:pt x="373" y="112"/>
                  <a:pt x="364" y="83"/>
                  <a:pt x="338" y="55"/>
                </a:cubicBezTo>
                <a:cubicBezTo>
                  <a:pt x="303" y="18"/>
                  <a:pt x="255" y="0"/>
                  <a:pt x="193" y="0"/>
                </a:cubicBezTo>
                <a:cubicBezTo>
                  <a:pt x="65" y="0"/>
                  <a:pt x="0" y="56"/>
                  <a:pt x="0" y="167"/>
                </a:cubicBezTo>
                <a:cubicBezTo>
                  <a:pt x="0" y="231"/>
                  <a:pt x="37" y="266"/>
                  <a:pt x="61" y="288"/>
                </a:cubicBezTo>
                <a:cubicBezTo>
                  <a:pt x="70" y="297"/>
                  <a:pt x="78" y="304"/>
                  <a:pt x="80" y="310"/>
                </a:cubicBezTo>
                <a:cubicBezTo>
                  <a:pt x="97" y="376"/>
                  <a:pt x="82" y="429"/>
                  <a:pt x="72" y="454"/>
                </a:cubicBezTo>
                <a:cubicBezTo>
                  <a:pt x="71" y="456"/>
                  <a:pt x="72" y="459"/>
                  <a:pt x="74" y="460"/>
                </a:cubicBezTo>
                <a:cubicBezTo>
                  <a:pt x="112" y="480"/>
                  <a:pt x="154" y="491"/>
                  <a:pt x="197" y="491"/>
                </a:cubicBezTo>
                <a:cubicBezTo>
                  <a:pt x="217" y="491"/>
                  <a:pt x="236" y="489"/>
                  <a:pt x="256" y="484"/>
                </a:cubicBezTo>
                <a:cubicBezTo>
                  <a:pt x="258" y="484"/>
                  <a:pt x="259" y="482"/>
                  <a:pt x="259" y="480"/>
                </a:cubicBezTo>
                <a:cubicBezTo>
                  <a:pt x="259" y="438"/>
                  <a:pt x="260" y="406"/>
                  <a:pt x="262" y="396"/>
                </a:cubicBezTo>
                <a:cubicBezTo>
                  <a:pt x="280" y="401"/>
                  <a:pt x="335" y="413"/>
                  <a:pt x="345" y="413"/>
                </a:cubicBezTo>
                <a:cubicBezTo>
                  <a:pt x="346" y="413"/>
                  <a:pt x="347" y="413"/>
                  <a:pt x="347" y="413"/>
                </a:cubicBezTo>
                <a:cubicBezTo>
                  <a:pt x="355" y="413"/>
                  <a:pt x="374" y="413"/>
                  <a:pt x="378" y="391"/>
                </a:cubicBezTo>
                <a:cubicBezTo>
                  <a:pt x="381" y="380"/>
                  <a:pt x="380" y="370"/>
                  <a:pt x="379" y="364"/>
                </a:cubicBezTo>
                <a:cubicBezTo>
                  <a:pt x="379" y="362"/>
                  <a:pt x="378" y="360"/>
                  <a:pt x="378" y="360"/>
                </a:cubicBezTo>
                <a:cubicBezTo>
                  <a:pt x="379" y="356"/>
                  <a:pt x="382" y="352"/>
                  <a:pt x="384" y="348"/>
                </a:cubicBezTo>
                <a:cubicBezTo>
                  <a:pt x="386" y="344"/>
                  <a:pt x="387" y="342"/>
                  <a:pt x="388" y="339"/>
                </a:cubicBezTo>
                <a:cubicBezTo>
                  <a:pt x="388" y="337"/>
                  <a:pt x="387" y="333"/>
                  <a:pt x="386" y="330"/>
                </a:cubicBezTo>
                <a:cubicBezTo>
                  <a:pt x="389" y="327"/>
                  <a:pt x="393" y="323"/>
                  <a:pt x="394" y="319"/>
                </a:cubicBezTo>
                <a:cubicBezTo>
                  <a:pt x="394" y="315"/>
                  <a:pt x="392" y="310"/>
                  <a:pt x="390" y="305"/>
                </a:cubicBezTo>
                <a:cubicBezTo>
                  <a:pt x="390" y="305"/>
                  <a:pt x="390" y="305"/>
                  <a:pt x="390" y="304"/>
                </a:cubicBezTo>
                <a:cubicBezTo>
                  <a:pt x="390" y="303"/>
                  <a:pt x="390" y="299"/>
                  <a:pt x="390" y="294"/>
                </a:cubicBezTo>
                <a:cubicBezTo>
                  <a:pt x="396" y="293"/>
                  <a:pt x="406" y="291"/>
                  <a:pt x="409" y="289"/>
                </a:cubicBezTo>
                <a:cubicBezTo>
                  <a:pt x="415" y="286"/>
                  <a:pt x="419" y="277"/>
                  <a:pt x="419" y="272"/>
                </a:cubicBezTo>
                <a:cubicBezTo>
                  <a:pt x="419" y="270"/>
                  <a:pt x="418" y="270"/>
                  <a:pt x="407" y="250"/>
                </a:cubicBezTo>
                <a:close/>
                <a:moveTo>
                  <a:pt x="405" y="281"/>
                </a:moveTo>
                <a:cubicBezTo>
                  <a:pt x="403" y="282"/>
                  <a:pt x="393" y="284"/>
                  <a:pt x="385" y="286"/>
                </a:cubicBezTo>
                <a:cubicBezTo>
                  <a:pt x="383" y="286"/>
                  <a:pt x="381" y="288"/>
                  <a:pt x="381" y="290"/>
                </a:cubicBezTo>
                <a:cubicBezTo>
                  <a:pt x="380" y="305"/>
                  <a:pt x="380" y="306"/>
                  <a:pt x="380" y="307"/>
                </a:cubicBezTo>
                <a:cubicBezTo>
                  <a:pt x="381" y="308"/>
                  <a:pt x="381" y="308"/>
                  <a:pt x="382" y="310"/>
                </a:cubicBezTo>
                <a:cubicBezTo>
                  <a:pt x="384" y="314"/>
                  <a:pt x="385" y="316"/>
                  <a:pt x="384" y="317"/>
                </a:cubicBezTo>
                <a:cubicBezTo>
                  <a:pt x="384" y="319"/>
                  <a:pt x="381" y="322"/>
                  <a:pt x="377" y="325"/>
                </a:cubicBezTo>
                <a:cubicBezTo>
                  <a:pt x="375" y="326"/>
                  <a:pt x="375" y="329"/>
                  <a:pt x="376" y="331"/>
                </a:cubicBezTo>
                <a:cubicBezTo>
                  <a:pt x="377" y="334"/>
                  <a:pt x="378" y="337"/>
                  <a:pt x="378" y="338"/>
                </a:cubicBezTo>
                <a:cubicBezTo>
                  <a:pt x="378" y="339"/>
                  <a:pt x="377" y="342"/>
                  <a:pt x="375" y="344"/>
                </a:cubicBezTo>
                <a:cubicBezTo>
                  <a:pt x="373" y="348"/>
                  <a:pt x="371" y="353"/>
                  <a:pt x="369" y="357"/>
                </a:cubicBezTo>
                <a:cubicBezTo>
                  <a:pt x="369" y="359"/>
                  <a:pt x="369" y="362"/>
                  <a:pt x="369" y="365"/>
                </a:cubicBezTo>
                <a:cubicBezTo>
                  <a:pt x="370" y="371"/>
                  <a:pt x="371" y="379"/>
                  <a:pt x="369" y="389"/>
                </a:cubicBezTo>
                <a:cubicBezTo>
                  <a:pt x="366" y="401"/>
                  <a:pt x="359" y="404"/>
                  <a:pt x="347" y="404"/>
                </a:cubicBezTo>
                <a:cubicBezTo>
                  <a:pt x="347" y="404"/>
                  <a:pt x="346" y="404"/>
                  <a:pt x="345" y="404"/>
                </a:cubicBezTo>
                <a:cubicBezTo>
                  <a:pt x="335" y="403"/>
                  <a:pt x="271" y="389"/>
                  <a:pt x="261" y="386"/>
                </a:cubicBezTo>
                <a:cubicBezTo>
                  <a:pt x="259" y="386"/>
                  <a:pt x="257" y="386"/>
                  <a:pt x="256" y="387"/>
                </a:cubicBezTo>
                <a:cubicBezTo>
                  <a:pt x="250" y="394"/>
                  <a:pt x="249" y="449"/>
                  <a:pt x="250" y="476"/>
                </a:cubicBezTo>
                <a:cubicBezTo>
                  <a:pt x="193" y="488"/>
                  <a:pt x="133" y="480"/>
                  <a:pt x="83" y="454"/>
                </a:cubicBezTo>
                <a:cubicBezTo>
                  <a:pt x="93" y="426"/>
                  <a:pt x="105" y="373"/>
                  <a:pt x="89" y="307"/>
                </a:cubicBezTo>
                <a:cubicBezTo>
                  <a:pt x="87" y="299"/>
                  <a:pt x="79" y="292"/>
                  <a:pt x="68" y="282"/>
                </a:cubicBezTo>
                <a:cubicBezTo>
                  <a:pt x="44" y="260"/>
                  <a:pt x="9" y="227"/>
                  <a:pt x="9" y="167"/>
                </a:cubicBezTo>
                <a:cubicBezTo>
                  <a:pt x="9" y="119"/>
                  <a:pt x="22" y="82"/>
                  <a:pt x="47" y="56"/>
                </a:cubicBezTo>
                <a:cubicBezTo>
                  <a:pt x="77" y="25"/>
                  <a:pt x="127" y="9"/>
                  <a:pt x="193" y="9"/>
                </a:cubicBezTo>
                <a:cubicBezTo>
                  <a:pt x="252" y="9"/>
                  <a:pt x="298" y="27"/>
                  <a:pt x="331" y="61"/>
                </a:cubicBezTo>
                <a:cubicBezTo>
                  <a:pt x="357" y="88"/>
                  <a:pt x="364" y="117"/>
                  <a:pt x="365" y="120"/>
                </a:cubicBezTo>
                <a:cubicBezTo>
                  <a:pt x="367" y="130"/>
                  <a:pt x="370" y="147"/>
                  <a:pt x="370" y="158"/>
                </a:cubicBezTo>
                <a:cubicBezTo>
                  <a:pt x="370" y="165"/>
                  <a:pt x="367" y="174"/>
                  <a:pt x="365" y="180"/>
                </a:cubicBezTo>
                <a:cubicBezTo>
                  <a:pt x="363" y="185"/>
                  <a:pt x="363" y="187"/>
                  <a:pt x="363" y="189"/>
                </a:cubicBezTo>
                <a:cubicBezTo>
                  <a:pt x="364" y="198"/>
                  <a:pt x="380" y="224"/>
                  <a:pt x="399" y="255"/>
                </a:cubicBezTo>
                <a:cubicBezTo>
                  <a:pt x="403" y="263"/>
                  <a:pt x="408" y="271"/>
                  <a:pt x="409" y="273"/>
                </a:cubicBezTo>
                <a:cubicBezTo>
                  <a:pt x="409" y="275"/>
                  <a:pt x="406" y="280"/>
                  <a:pt x="405" y="28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28" name="Oval 18"/>
          <p:cNvSpPr>
            <a:spLocks noChangeArrowheads="1"/>
          </p:cNvSpPr>
          <p:nvPr/>
        </p:nvSpPr>
        <p:spPr bwMode="auto">
          <a:xfrm>
            <a:off x="2259614" y="31167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11" name="Freeform 42"/>
          <p:cNvSpPr>
            <a:spLocks noEditPoints="1"/>
          </p:cNvSpPr>
          <p:nvPr/>
        </p:nvSpPr>
        <p:spPr bwMode="auto">
          <a:xfrm>
            <a:off x="2429191" y="3244829"/>
            <a:ext cx="483807" cy="566885"/>
          </a:xfrm>
          <a:custGeom>
            <a:avLst/>
            <a:gdLst>
              <a:gd name="T0" fmla="*/ 122 w 419"/>
              <a:gd name="T1" fmla="*/ 141 h 491"/>
              <a:gd name="T2" fmla="*/ 156 w 419"/>
              <a:gd name="T3" fmla="*/ 239 h 491"/>
              <a:gd name="T4" fmla="*/ 169 w 419"/>
              <a:gd name="T5" fmla="*/ 276 h 491"/>
              <a:gd name="T6" fmla="*/ 194 w 419"/>
              <a:gd name="T7" fmla="*/ 293 h 491"/>
              <a:gd name="T8" fmla="*/ 220 w 419"/>
              <a:gd name="T9" fmla="*/ 276 h 491"/>
              <a:gd name="T10" fmla="*/ 233 w 419"/>
              <a:gd name="T11" fmla="*/ 239 h 491"/>
              <a:gd name="T12" fmla="*/ 266 w 419"/>
              <a:gd name="T13" fmla="*/ 141 h 491"/>
              <a:gd name="T14" fmla="*/ 194 w 419"/>
              <a:gd name="T15" fmla="*/ 283 h 491"/>
              <a:gd name="T16" fmla="*/ 207 w 419"/>
              <a:gd name="T17" fmla="*/ 276 h 491"/>
              <a:gd name="T18" fmla="*/ 223 w 419"/>
              <a:gd name="T19" fmla="*/ 263 h 491"/>
              <a:gd name="T20" fmla="*/ 169 w 419"/>
              <a:gd name="T21" fmla="*/ 266 h 491"/>
              <a:gd name="T22" fmla="*/ 165 w 419"/>
              <a:gd name="T23" fmla="*/ 244 h 491"/>
              <a:gd name="T24" fmla="*/ 223 w 419"/>
              <a:gd name="T25" fmla="*/ 263 h 491"/>
              <a:gd name="T26" fmla="*/ 223 w 419"/>
              <a:gd name="T27" fmla="*/ 235 h 491"/>
              <a:gd name="T28" fmla="*/ 199 w 419"/>
              <a:gd name="T29" fmla="*/ 168 h 491"/>
              <a:gd name="T30" fmla="*/ 221 w 419"/>
              <a:gd name="T31" fmla="*/ 134 h 491"/>
              <a:gd name="T32" fmla="*/ 194 w 419"/>
              <a:gd name="T33" fmla="*/ 159 h 491"/>
              <a:gd name="T34" fmla="*/ 168 w 419"/>
              <a:gd name="T35" fmla="*/ 134 h 491"/>
              <a:gd name="T36" fmla="*/ 190 w 419"/>
              <a:gd name="T37" fmla="*/ 168 h 491"/>
              <a:gd name="T38" fmla="*/ 165 w 419"/>
              <a:gd name="T39" fmla="*/ 235 h 491"/>
              <a:gd name="T40" fmla="*/ 132 w 419"/>
              <a:gd name="T41" fmla="*/ 141 h 491"/>
              <a:gd name="T42" fmla="*/ 257 w 419"/>
              <a:gd name="T43" fmla="*/ 141 h 491"/>
              <a:gd name="T44" fmla="*/ 407 w 419"/>
              <a:gd name="T45" fmla="*/ 250 h 491"/>
              <a:gd name="T46" fmla="*/ 374 w 419"/>
              <a:gd name="T47" fmla="*/ 183 h 491"/>
              <a:gd name="T48" fmla="*/ 374 w 419"/>
              <a:gd name="T49" fmla="*/ 118 h 491"/>
              <a:gd name="T50" fmla="*/ 193 w 419"/>
              <a:gd name="T51" fmla="*/ 0 h 491"/>
              <a:gd name="T52" fmla="*/ 61 w 419"/>
              <a:gd name="T53" fmla="*/ 288 h 491"/>
              <a:gd name="T54" fmla="*/ 72 w 419"/>
              <a:gd name="T55" fmla="*/ 454 h 491"/>
              <a:gd name="T56" fmla="*/ 197 w 419"/>
              <a:gd name="T57" fmla="*/ 491 h 491"/>
              <a:gd name="T58" fmla="*/ 259 w 419"/>
              <a:gd name="T59" fmla="*/ 480 h 491"/>
              <a:gd name="T60" fmla="*/ 345 w 419"/>
              <a:gd name="T61" fmla="*/ 413 h 491"/>
              <a:gd name="T62" fmla="*/ 378 w 419"/>
              <a:gd name="T63" fmla="*/ 391 h 491"/>
              <a:gd name="T64" fmla="*/ 378 w 419"/>
              <a:gd name="T65" fmla="*/ 360 h 491"/>
              <a:gd name="T66" fmla="*/ 388 w 419"/>
              <a:gd name="T67" fmla="*/ 339 h 491"/>
              <a:gd name="T68" fmla="*/ 394 w 419"/>
              <a:gd name="T69" fmla="*/ 319 h 491"/>
              <a:gd name="T70" fmla="*/ 390 w 419"/>
              <a:gd name="T71" fmla="*/ 304 h 491"/>
              <a:gd name="T72" fmla="*/ 409 w 419"/>
              <a:gd name="T73" fmla="*/ 289 h 491"/>
              <a:gd name="T74" fmla="*/ 407 w 419"/>
              <a:gd name="T75" fmla="*/ 250 h 491"/>
              <a:gd name="T76" fmla="*/ 385 w 419"/>
              <a:gd name="T77" fmla="*/ 286 h 491"/>
              <a:gd name="T78" fmla="*/ 380 w 419"/>
              <a:gd name="T79" fmla="*/ 307 h 491"/>
              <a:gd name="T80" fmla="*/ 385 w 419"/>
              <a:gd name="T81" fmla="*/ 317 h 491"/>
              <a:gd name="T82" fmla="*/ 376 w 419"/>
              <a:gd name="T83" fmla="*/ 331 h 491"/>
              <a:gd name="T84" fmla="*/ 375 w 419"/>
              <a:gd name="T85" fmla="*/ 344 h 491"/>
              <a:gd name="T86" fmla="*/ 369 w 419"/>
              <a:gd name="T87" fmla="*/ 365 h 491"/>
              <a:gd name="T88" fmla="*/ 347 w 419"/>
              <a:gd name="T89" fmla="*/ 404 h 491"/>
              <a:gd name="T90" fmla="*/ 261 w 419"/>
              <a:gd name="T91" fmla="*/ 386 h 491"/>
              <a:gd name="T92" fmla="*/ 250 w 419"/>
              <a:gd name="T93" fmla="*/ 476 h 491"/>
              <a:gd name="T94" fmla="*/ 89 w 419"/>
              <a:gd name="T95" fmla="*/ 307 h 491"/>
              <a:gd name="T96" fmla="*/ 9 w 419"/>
              <a:gd name="T97" fmla="*/ 167 h 491"/>
              <a:gd name="T98" fmla="*/ 193 w 419"/>
              <a:gd name="T99" fmla="*/ 9 h 491"/>
              <a:gd name="T100" fmla="*/ 365 w 419"/>
              <a:gd name="T101" fmla="*/ 120 h 491"/>
              <a:gd name="T102" fmla="*/ 365 w 419"/>
              <a:gd name="T103" fmla="*/ 180 h 491"/>
              <a:gd name="T104" fmla="*/ 399 w 419"/>
              <a:gd name="T105" fmla="*/ 255 h 491"/>
              <a:gd name="T106" fmla="*/ 405 w 419"/>
              <a:gd name="T107" fmla="*/ 281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19" h="491">
                <a:moveTo>
                  <a:pt x="194" y="69"/>
                </a:moveTo>
                <a:cubicBezTo>
                  <a:pt x="155" y="69"/>
                  <a:pt x="122" y="101"/>
                  <a:pt x="122" y="141"/>
                </a:cubicBezTo>
                <a:cubicBezTo>
                  <a:pt x="122" y="161"/>
                  <a:pt x="130" y="180"/>
                  <a:pt x="144" y="195"/>
                </a:cubicBezTo>
                <a:cubicBezTo>
                  <a:pt x="148" y="199"/>
                  <a:pt x="156" y="210"/>
                  <a:pt x="156" y="239"/>
                </a:cubicBezTo>
                <a:cubicBezTo>
                  <a:pt x="156" y="263"/>
                  <a:pt x="156" y="263"/>
                  <a:pt x="156" y="263"/>
                </a:cubicBezTo>
                <a:cubicBezTo>
                  <a:pt x="156" y="270"/>
                  <a:pt x="162" y="276"/>
                  <a:pt x="169" y="276"/>
                </a:cubicBezTo>
                <a:cubicBezTo>
                  <a:pt x="172" y="276"/>
                  <a:pt x="172" y="276"/>
                  <a:pt x="172" y="276"/>
                </a:cubicBezTo>
                <a:cubicBezTo>
                  <a:pt x="174" y="285"/>
                  <a:pt x="183" y="293"/>
                  <a:pt x="194" y="293"/>
                </a:cubicBezTo>
                <a:cubicBezTo>
                  <a:pt x="205" y="293"/>
                  <a:pt x="214" y="285"/>
                  <a:pt x="217" y="276"/>
                </a:cubicBezTo>
                <a:cubicBezTo>
                  <a:pt x="220" y="276"/>
                  <a:pt x="220" y="276"/>
                  <a:pt x="220" y="276"/>
                </a:cubicBezTo>
                <a:cubicBezTo>
                  <a:pt x="227" y="276"/>
                  <a:pt x="233" y="270"/>
                  <a:pt x="233" y="263"/>
                </a:cubicBezTo>
                <a:cubicBezTo>
                  <a:pt x="233" y="239"/>
                  <a:pt x="233" y="239"/>
                  <a:pt x="233" y="239"/>
                </a:cubicBezTo>
                <a:cubicBezTo>
                  <a:pt x="233" y="210"/>
                  <a:pt x="241" y="199"/>
                  <a:pt x="244" y="195"/>
                </a:cubicBezTo>
                <a:cubicBezTo>
                  <a:pt x="258" y="180"/>
                  <a:pt x="266" y="161"/>
                  <a:pt x="266" y="141"/>
                </a:cubicBezTo>
                <a:cubicBezTo>
                  <a:pt x="266" y="101"/>
                  <a:pt x="234" y="69"/>
                  <a:pt x="194" y="69"/>
                </a:cubicBezTo>
                <a:close/>
                <a:moveTo>
                  <a:pt x="194" y="283"/>
                </a:moveTo>
                <a:cubicBezTo>
                  <a:pt x="189" y="283"/>
                  <a:pt x="184" y="280"/>
                  <a:pt x="182" y="276"/>
                </a:cubicBezTo>
                <a:cubicBezTo>
                  <a:pt x="207" y="276"/>
                  <a:pt x="207" y="276"/>
                  <a:pt x="207" y="276"/>
                </a:cubicBezTo>
                <a:cubicBezTo>
                  <a:pt x="205" y="280"/>
                  <a:pt x="200" y="283"/>
                  <a:pt x="194" y="283"/>
                </a:cubicBezTo>
                <a:close/>
                <a:moveTo>
                  <a:pt x="223" y="263"/>
                </a:moveTo>
                <a:cubicBezTo>
                  <a:pt x="223" y="265"/>
                  <a:pt x="222" y="266"/>
                  <a:pt x="220" y="266"/>
                </a:cubicBezTo>
                <a:cubicBezTo>
                  <a:pt x="169" y="266"/>
                  <a:pt x="169" y="266"/>
                  <a:pt x="169" y="266"/>
                </a:cubicBezTo>
                <a:cubicBezTo>
                  <a:pt x="167" y="266"/>
                  <a:pt x="165" y="265"/>
                  <a:pt x="165" y="263"/>
                </a:cubicBezTo>
                <a:cubicBezTo>
                  <a:pt x="165" y="244"/>
                  <a:pt x="165" y="244"/>
                  <a:pt x="165" y="244"/>
                </a:cubicBezTo>
                <a:cubicBezTo>
                  <a:pt x="223" y="244"/>
                  <a:pt x="223" y="244"/>
                  <a:pt x="223" y="244"/>
                </a:cubicBezTo>
                <a:lnTo>
                  <a:pt x="223" y="263"/>
                </a:lnTo>
                <a:close/>
                <a:moveTo>
                  <a:pt x="237" y="188"/>
                </a:moveTo>
                <a:cubicBezTo>
                  <a:pt x="232" y="194"/>
                  <a:pt x="224" y="207"/>
                  <a:pt x="223" y="235"/>
                </a:cubicBezTo>
                <a:cubicBezTo>
                  <a:pt x="199" y="235"/>
                  <a:pt x="199" y="235"/>
                  <a:pt x="199" y="235"/>
                </a:cubicBezTo>
                <a:cubicBezTo>
                  <a:pt x="199" y="168"/>
                  <a:pt x="199" y="168"/>
                  <a:pt x="199" y="168"/>
                </a:cubicBezTo>
                <a:cubicBezTo>
                  <a:pt x="218" y="165"/>
                  <a:pt x="224" y="141"/>
                  <a:pt x="224" y="140"/>
                </a:cubicBezTo>
                <a:cubicBezTo>
                  <a:pt x="225" y="137"/>
                  <a:pt x="223" y="135"/>
                  <a:pt x="221" y="134"/>
                </a:cubicBezTo>
                <a:cubicBezTo>
                  <a:pt x="218" y="133"/>
                  <a:pt x="216" y="135"/>
                  <a:pt x="215" y="137"/>
                </a:cubicBezTo>
                <a:cubicBezTo>
                  <a:pt x="215" y="138"/>
                  <a:pt x="210" y="159"/>
                  <a:pt x="194" y="159"/>
                </a:cubicBezTo>
                <a:cubicBezTo>
                  <a:pt x="179" y="159"/>
                  <a:pt x="173" y="138"/>
                  <a:pt x="173" y="137"/>
                </a:cubicBezTo>
                <a:cubicBezTo>
                  <a:pt x="173" y="135"/>
                  <a:pt x="170" y="133"/>
                  <a:pt x="168" y="134"/>
                </a:cubicBezTo>
                <a:cubicBezTo>
                  <a:pt x="165" y="135"/>
                  <a:pt x="164" y="137"/>
                  <a:pt x="164" y="140"/>
                </a:cubicBezTo>
                <a:cubicBezTo>
                  <a:pt x="165" y="141"/>
                  <a:pt x="170" y="165"/>
                  <a:pt x="190" y="168"/>
                </a:cubicBezTo>
                <a:cubicBezTo>
                  <a:pt x="190" y="235"/>
                  <a:pt x="190" y="235"/>
                  <a:pt x="190" y="235"/>
                </a:cubicBezTo>
                <a:cubicBezTo>
                  <a:pt x="165" y="235"/>
                  <a:pt x="165" y="235"/>
                  <a:pt x="165" y="235"/>
                </a:cubicBezTo>
                <a:cubicBezTo>
                  <a:pt x="164" y="207"/>
                  <a:pt x="156" y="194"/>
                  <a:pt x="151" y="188"/>
                </a:cubicBezTo>
                <a:cubicBezTo>
                  <a:pt x="139" y="176"/>
                  <a:pt x="132" y="158"/>
                  <a:pt x="132" y="141"/>
                </a:cubicBezTo>
                <a:cubicBezTo>
                  <a:pt x="132" y="107"/>
                  <a:pt x="160" y="79"/>
                  <a:pt x="194" y="79"/>
                </a:cubicBezTo>
                <a:cubicBezTo>
                  <a:pt x="229" y="79"/>
                  <a:pt x="257" y="107"/>
                  <a:pt x="257" y="141"/>
                </a:cubicBezTo>
                <a:cubicBezTo>
                  <a:pt x="257" y="158"/>
                  <a:pt x="250" y="176"/>
                  <a:pt x="237" y="188"/>
                </a:cubicBezTo>
                <a:close/>
                <a:moveTo>
                  <a:pt x="407" y="250"/>
                </a:moveTo>
                <a:cubicBezTo>
                  <a:pt x="395" y="232"/>
                  <a:pt x="374" y="197"/>
                  <a:pt x="372" y="188"/>
                </a:cubicBezTo>
                <a:cubicBezTo>
                  <a:pt x="373" y="187"/>
                  <a:pt x="373" y="185"/>
                  <a:pt x="374" y="183"/>
                </a:cubicBezTo>
                <a:cubicBezTo>
                  <a:pt x="376" y="176"/>
                  <a:pt x="379" y="166"/>
                  <a:pt x="379" y="158"/>
                </a:cubicBezTo>
                <a:cubicBezTo>
                  <a:pt x="379" y="146"/>
                  <a:pt x="377" y="129"/>
                  <a:pt x="374" y="118"/>
                </a:cubicBezTo>
                <a:cubicBezTo>
                  <a:pt x="373" y="112"/>
                  <a:pt x="364" y="83"/>
                  <a:pt x="338" y="55"/>
                </a:cubicBezTo>
                <a:cubicBezTo>
                  <a:pt x="303" y="18"/>
                  <a:pt x="255" y="0"/>
                  <a:pt x="193" y="0"/>
                </a:cubicBezTo>
                <a:cubicBezTo>
                  <a:pt x="65" y="0"/>
                  <a:pt x="0" y="56"/>
                  <a:pt x="0" y="167"/>
                </a:cubicBezTo>
                <a:cubicBezTo>
                  <a:pt x="0" y="231"/>
                  <a:pt x="37" y="266"/>
                  <a:pt x="61" y="288"/>
                </a:cubicBezTo>
                <a:cubicBezTo>
                  <a:pt x="70" y="297"/>
                  <a:pt x="78" y="304"/>
                  <a:pt x="80" y="310"/>
                </a:cubicBezTo>
                <a:cubicBezTo>
                  <a:pt x="97" y="376"/>
                  <a:pt x="82" y="429"/>
                  <a:pt x="72" y="454"/>
                </a:cubicBezTo>
                <a:cubicBezTo>
                  <a:pt x="71" y="456"/>
                  <a:pt x="72" y="459"/>
                  <a:pt x="74" y="460"/>
                </a:cubicBezTo>
                <a:cubicBezTo>
                  <a:pt x="112" y="480"/>
                  <a:pt x="154" y="491"/>
                  <a:pt x="197" y="491"/>
                </a:cubicBezTo>
                <a:cubicBezTo>
                  <a:pt x="217" y="491"/>
                  <a:pt x="236" y="489"/>
                  <a:pt x="256" y="484"/>
                </a:cubicBezTo>
                <a:cubicBezTo>
                  <a:pt x="258" y="484"/>
                  <a:pt x="259" y="482"/>
                  <a:pt x="259" y="480"/>
                </a:cubicBezTo>
                <a:cubicBezTo>
                  <a:pt x="259" y="438"/>
                  <a:pt x="260" y="406"/>
                  <a:pt x="262" y="396"/>
                </a:cubicBezTo>
                <a:cubicBezTo>
                  <a:pt x="280" y="401"/>
                  <a:pt x="335" y="413"/>
                  <a:pt x="345" y="413"/>
                </a:cubicBezTo>
                <a:cubicBezTo>
                  <a:pt x="346" y="413"/>
                  <a:pt x="347" y="413"/>
                  <a:pt x="347" y="413"/>
                </a:cubicBezTo>
                <a:cubicBezTo>
                  <a:pt x="355" y="413"/>
                  <a:pt x="374" y="413"/>
                  <a:pt x="378" y="391"/>
                </a:cubicBezTo>
                <a:cubicBezTo>
                  <a:pt x="381" y="380"/>
                  <a:pt x="380" y="370"/>
                  <a:pt x="379" y="364"/>
                </a:cubicBezTo>
                <a:cubicBezTo>
                  <a:pt x="379" y="362"/>
                  <a:pt x="378" y="360"/>
                  <a:pt x="378" y="360"/>
                </a:cubicBezTo>
                <a:cubicBezTo>
                  <a:pt x="379" y="356"/>
                  <a:pt x="382" y="352"/>
                  <a:pt x="384" y="348"/>
                </a:cubicBezTo>
                <a:cubicBezTo>
                  <a:pt x="386" y="344"/>
                  <a:pt x="387" y="342"/>
                  <a:pt x="388" y="339"/>
                </a:cubicBezTo>
                <a:cubicBezTo>
                  <a:pt x="388" y="337"/>
                  <a:pt x="387" y="333"/>
                  <a:pt x="386" y="330"/>
                </a:cubicBezTo>
                <a:cubicBezTo>
                  <a:pt x="389" y="327"/>
                  <a:pt x="393" y="323"/>
                  <a:pt x="394" y="319"/>
                </a:cubicBezTo>
                <a:cubicBezTo>
                  <a:pt x="394" y="315"/>
                  <a:pt x="392" y="310"/>
                  <a:pt x="390" y="305"/>
                </a:cubicBezTo>
                <a:cubicBezTo>
                  <a:pt x="390" y="305"/>
                  <a:pt x="390" y="305"/>
                  <a:pt x="390" y="304"/>
                </a:cubicBezTo>
                <a:cubicBezTo>
                  <a:pt x="390" y="303"/>
                  <a:pt x="390" y="299"/>
                  <a:pt x="390" y="294"/>
                </a:cubicBezTo>
                <a:cubicBezTo>
                  <a:pt x="396" y="293"/>
                  <a:pt x="406" y="291"/>
                  <a:pt x="409" y="289"/>
                </a:cubicBezTo>
                <a:cubicBezTo>
                  <a:pt x="415" y="286"/>
                  <a:pt x="419" y="277"/>
                  <a:pt x="419" y="272"/>
                </a:cubicBezTo>
                <a:cubicBezTo>
                  <a:pt x="419" y="270"/>
                  <a:pt x="418" y="270"/>
                  <a:pt x="407" y="250"/>
                </a:cubicBezTo>
                <a:close/>
                <a:moveTo>
                  <a:pt x="405" y="281"/>
                </a:moveTo>
                <a:cubicBezTo>
                  <a:pt x="403" y="282"/>
                  <a:pt x="393" y="284"/>
                  <a:pt x="385" y="286"/>
                </a:cubicBezTo>
                <a:cubicBezTo>
                  <a:pt x="383" y="286"/>
                  <a:pt x="381" y="288"/>
                  <a:pt x="381" y="290"/>
                </a:cubicBezTo>
                <a:cubicBezTo>
                  <a:pt x="380" y="305"/>
                  <a:pt x="380" y="306"/>
                  <a:pt x="380" y="307"/>
                </a:cubicBezTo>
                <a:cubicBezTo>
                  <a:pt x="381" y="308"/>
                  <a:pt x="381" y="308"/>
                  <a:pt x="382" y="310"/>
                </a:cubicBezTo>
                <a:cubicBezTo>
                  <a:pt x="384" y="314"/>
                  <a:pt x="385" y="316"/>
                  <a:pt x="385" y="317"/>
                </a:cubicBezTo>
                <a:cubicBezTo>
                  <a:pt x="384" y="319"/>
                  <a:pt x="381" y="322"/>
                  <a:pt x="377" y="325"/>
                </a:cubicBezTo>
                <a:cubicBezTo>
                  <a:pt x="376" y="326"/>
                  <a:pt x="375" y="329"/>
                  <a:pt x="376" y="331"/>
                </a:cubicBezTo>
                <a:cubicBezTo>
                  <a:pt x="377" y="334"/>
                  <a:pt x="378" y="337"/>
                  <a:pt x="378" y="338"/>
                </a:cubicBezTo>
                <a:cubicBezTo>
                  <a:pt x="378" y="339"/>
                  <a:pt x="377" y="342"/>
                  <a:pt x="375" y="344"/>
                </a:cubicBezTo>
                <a:cubicBezTo>
                  <a:pt x="373" y="348"/>
                  <a:pt x="371" y="353"/>
                  <a:pt x="369" y="357"/>
                </a:cubicBezTo>
                <a:cubicBezTo>
                  <a:pt x="369" y="359"/>
                  <a:pt x="369" y="362"/>
                  <a:pt x="369" y="365"/>
                </a:cubicBezTo>
                <a:cubicBezTo>
                  <a:pt x="370" y="371"/>
                  <a:pt x="371" y="379"/>
                  <a:pt x="369" y="389"/>
                </a:cubicBezTo>
                <a:cubicBezTo>
                  <a:pt x="367" y="401"/>
                  <a:pt x="359" y="404"/>
                  <a:pt x="347" y="404"/>
                </a:cubicBezTo>
                <a:cubicBezTo>
                  <a:pt x="347" y="404"/>
                  <a:pt x="346" y="404"/>
                  <a:pt x="345" y="404"/>
                </a:cubicBezTo>
                <a:cubicBezTo>
                  <a:pt x="335" y="403"/>
                  <a:pt x="271" y="389"/>
                  <a:pt x="261" y="386"/>
                </a:cubicBezTo>
                <a:cubicBezTo>
                  <a:pt x="259" y="386"/>
                  <a:pt x="257" y="386"/>
                  <a:pt x="256" y="387"/>
                </a:cubicBezTo>
                <a:cubicBezTo>
                  <a:pt x="250" y="394"/>
                  <a:pt x="249" y="449"/>
                  <a:pt x="250" y="476"/>
                </a:cubicBezTo>
                <a:cubicBezTo>
                  <a:pt x="193" y="488"/>
                  <a:pt x="133" y="480"/>
                  <a:pt x="83" y="454"/>
                </a:cubicBezTo>
                <a:cubicBezTo>
                  <a:pt x="93" y="426"/>
                  <a:pt x="105" y="373"/>
                  <a:pt x="89" y="307"/>
                </a:cubicBezTo>
                <a:cubicBezTo>
                  <a:pt x="87" y="299"/>
                  <a:pt x="79" y="292"/>
                  <a:pt x="68" y="282"/>
                </a:cubicBezTo>
                <a:cubicBezTo>
                  <a:pt x="44" y="260"/>
                  <a:pt x="9" y="227"/>
                  <a:pt x="9" y="167"/>
                </a:cubicBezTo>
                <a:cubicBezTo>
                  <a:pt x="9" y="119"/>
                  <a:pt x="22" y="82"/>
                  <a:pt x="47" y="56"/>
                </a:cubicBezTo>
                <a:cubicBezTo>
                  <a:pt x="78" y="25"/>
                  <a:pt x="127" y="9"/>
                  <a:pt x="193" y="9"/>
                </a:cubicBezTo>
                <a:cubicBezTo>
                  <a:pt x="252" y="9"/>
                  <a:pt x="298" y="27"/>
                  <a:pt x="331" y="61"/>
                </a:cubicBezTo>
                <a:cubicBezTo>
                  <a:pt x="357" y="88"/>
                  <a:pt x="364" y="117"/>
                  <a:pt x="365" y="120"/>
                </a:cubicBezTo>
                <a:cubicBezTo>
                  <a:pt x="367" y="130"/>
                  <a:pt x="370" y="147"/>
                  <a:pt x="370" y="158"/>
                </a:cubicBezTo>
                <a:cubicBezTo>
                  <a:pt x="370" y="165"/>
                  <a:pt x="367" y="174"/>
                  <a:pt x="365" y="180"/>
                </a:cubicBezTo>
                <a:cubicBezTo>
                  <a:pt x="363" y="185"/>
                  <a:pt x="363" y="187"/>
                  <a:pt x="363" y="189"/>
                </a:cubicBezTo>
                <a:cubicBezTo>
                  <a:pt x="364" y="198"/>
                  <a:pt x="380" y="224"/>
                  <a:pt x="399" y="255"/>
                </a:cubicBezTo>
                <a:cubicBezTo>
                  <a:pt x="403" y="263"/>
                  <a:pt x="408" y="271"/>
                  <a:pt x="409" y="273"/>
                </a:cubicBezTo>
                <a:cubicBezTo>
                  <a:pt x="409" y="275"/>
                  <a:pt x="406" y="280"/>
                  <a:pt x="405" y="28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35" name="Oval 25"/>
          <p:cNvSpPr>
            <a:spLocks noChangeArrowheads="1"/>
          </p:cNvSpPr>
          <p:nvPr/>
        </p:nvSpPr>
        <p:spPr bwMode="auto">
          <a:xfrm>
            <a:off x="966871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12" name="Freeform 43"/>
          <p:cNvSpPr>
            <a:spLocks noEditPoints="1"/>
          </p:cNvSpPr>
          <p:nvPr/>
        </p:nvSpPr>
        <p:spPr bwMode="auto">
          <a:xfrm>
            <a:off x="1116900" y="1274065"/>
            <a:ext cx="522902" cy="524369"/>
          </a:xfrm>
          <a:custGeom>
            <a:avLst/>
            <a:gdLst>
              <a:gd name="T0" fmla="*/ 311 w 453"/>
              <a:gd name="T1" fmla="*/ 43 h 454"/>
              <a:gd name="T2" fmla="*/ 354 w 453"/>
              <a:gd name="T3" fmla="*/ 77 h 454"/>
              <a:gd name="T4" fmla="*/ 448 w 453"/>
              <a:gd name="T5" fmla="*/ 177 h 454"/>
              <a:gd name="T6" fmla="*/ 304 w 453"/>
              <a:gd name="T7" fmla="*/ 122 h 454"/>
              <a:gd name="T8" fmla="*/ 185 w 453"/>
              <a:gd name="T9" fmla="*/ 185 h 454"/>
              <a:gd name="T10" fmla="*/ 97 w 453"/>
              <a:gd name="T11" fmla="*/ 96 h 454"/>
              <a:gd name="T12" fmla="*/ 4 w 453"/>
              <a:gd name="T13" fmla="*/ 204 h 454"/>
              <a:gd name="T14" fmla="*/ 51 w 453"/>
              <a:gd name="T15" fmla="*/ 436 h 454"/>
              <a:gd name="T16" fmla="*/ 100 w 453"/>
              <a:gd name="T17" fmla="*/ 342 h 454"/>
              <a:gd name="T18" fmla="*/ 149 w 453"/>
              <a:gd name="T19" fmla="*/ 437 h 454"/>
              <a:gd name="T20" fmla="*/ 157 w 453"/>
              <a:gd name="T21" fmla="*/ 219 h 454"/>
              <a:gd name="T22" fmla="*/ 237 w 453"/>
              <a:gd name="T23" fmla="*/ 252 h 454"/>
              <a:gd name="T24" fmla="*/ 303 w 453"/>
              <a:gd name="T25" fmla="*/ 436 h 454"/>
              <a:gd name="T26" fmla="*/ 353 w 453"/>
              <a:gd name="T27" fmla="*/ 342 h 454"/>
              <a:gd name="T28" fmla="*/ 402 w 453"/>
              <a:gd name="T29" fmla="*/ 437 h 454"/>
              <a:gd name="T30" fmla="*/ 418 w 453"/>
              <a:gd name="T31" fmla="*/ 277 h 454"/>
              <a:gd name="T32" fmla="*/ 220 w 453"/>
              <a:gd name="T33" fmla="*/ 243 h 454"/>
              <a:gd name="T34" fmla="*/ 137 w 453"/>
              <a:gd name="T35" fmla="*/ 145 h 454"/>
              <a:gd name="T36" fmla="*/ 133 w 453"/>
              <a:gd name="T37" fmla="*/ 185 h 454"/>
              <a:gd name="T38" fmla="*/ 140 w 453"/>
              <a:gd name="T39" fmla="*/ 436 h 454"/>
              <a:gd name="T40" fmla="*/ 105 w 453"/>
              <a:gd name="T41" fmla="*/ 281 h 454"/>
              <a:gd name="T42" fmla="*/ 72 w 453"/>
              <a:gd name="T43" fmla="*/ 444 h 454"/>
              <a:gd name="T44" fmla="*/ 61 w 453"/>
              <a:gd name="T45" fmla="*/ 386 h 454"/>
              <a:gd name="T46" fmla="*/ 62 w 453"/>
              <a:gd name="T47" fmla="*/ 249 h 454"/>
              <a:gd name="T48" fmla="*/ 35 w 453"/>
              <a:gd name="T49" fmla="*/ 193 h 454"/>
              <a:gd name="T50" fmla="*/ 53 w 453"/>
              <a:gd name="T51" fmla="*/ 252 h 454"/>
              <a:gd name="T52" fmla="*/ 53 w 453"/>
              <a:gd name="T53" fmla="*/ 276 h 454"/>
              <a:gd name="T54" fmla="*/ 47 w 453"/>
              <a:gd name="T55" fmla="*/ 128 h 454"/>
              <a:gd name="T56" fmla="*/ 141 w 453"/>
              <a:gd name="T57" fmla="*/ 127 h 454"/>
              <a:gd name="T58" fmla="*/ 222 w 453"/>
              <a:gd name="T59" fmla="*/ 225 h 454"/>
              <a:gd name="T60" fmla="*/ 53 w 453"/>
              <a:gd name="T61" fmla="*/ 183 h 454"/>
              <a:gd name="T62" fmla="*/ 440 w 453"/>
              <a:gd name="T63" fmla="*/ 201 h 454"/>
              <a:gd name="T64" fmla="*/ 394 w 453"/>
              <a:gd name="T65" fmla="*/ 267 h 454"/>
              <a:gd name="T66" fmla="*/ 407 w 453"/>
              <a:gd name="T67" fmla="*/ 232 h 454"/>
              <a:gd name="T68" fmla="*/ 393 w 453"/>
              <a:gd name="T69" fmla="*/ 165 h 454"/>
              <a:gd name="T70" fmla="*/ 385 w 453"/>
              <a:gd name="T71" fmla="*/ 265 h 454"/>
              <a:gd name="T72" fmla="*/ 392 w 453"/>
              <a:gd name="T73" fmla="*/ 436 h 454"/>
              <a:gd name="T74" fmla="*/ 357 w 453"/>
              <a:gd name="T75" fmla="*/ 281 h 454"/>
              <a:gd name="T76" fmla="*/ 325 w 453"/>
              <a:gd name="T77" fmla="*/ 444 h 454"/>
              <a:gd name="T78" fmla="*/ 314 w 453"/>
              <a:gd name="T79" fmla="*/ 392 h 454"/>
              <a:gd name="T80" fmla="*/ 320 w 453"/>
              <a:gd name="T81" fmla="*/ 150 h 454"/>
              <a:gd name="T82" fmla="*/ 310 w 453"/>
              <a:gd name="T83" fmla="*/ 183 h 454"/>
              <a:gd name="T84" fmla="*/ 236 w 453"/>
              <a:gd name="T85" fmla="*/ 223 h 454"/>
              <a:gd name="T86" fmla="*/ 312 w 453"/>
              <a:gd name="T87" fmla="*/ 127 h 454"/>
              <a:gd name="T88" fmla="*/ 406 w 453"/>
              <a:gd name="T89" fmla="*/ 128 h 454"/>
              <a:gd name="T90" fmla="*/ 409 w 453"/>
              <a:gd name="T91" fmla="*/ 196 h 454"/>
              <a:gd name="T92" fmla="*/ 142 w 453"/>
              <a:gd name="T93" fmla="*/ 43 h 454"/>
              <a:gd name="T94" fmla="*/ 99 w 453"/>
              <a:gd name="T95" fmla="*/ 9 h 454"/>
              <a:gd name="T96" fmla="*/ 99 w 453"/>
              <a:gd name="T97" fmla="*/ 9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53" h="454">
                <a:moveTo>
                  <a:pt x="354" y="86"/>
                </a:moveTo>
                <a:cubicBezTo>
                  <a:pt x="378" y="86"/>
                  <a:pt x="398" y="67"/>
                  <a:pt x="398" y="43"/>
                </a:cubicBezTo>
                <a:cubicBezTo>
                  <a:pt x="398" y="19"/>
                  <a:pt x="378" y="0"/>
                  <a:pt x="354" y="0"/>
                </a:cubicBezTo>
                <a:cubicBezTo>
                  <a:pt x="330" y="0"/>
                  <a:pt x="311" y="19"/>
                  <a:pt x="311" y="43"/>
                </a:cubicBezTo>
                <a:cubicBezTo>
                  <a:pt x="311" y="67"/>
                  <a:pt x="330" y="86"/>
                  <a:pt x="354" y="86"/>
                </a:cubicBezTo>
                <a:close/>
                <a:moveTo>
                  <a:pt x="354" y="9"/>
                </a:moveTo>
                <a:cubicBezTo>
                  <a:pt x="373" y="9"/>
                  <a:pt x="388" y="24"/>
                  <a:pt x="388" y="43"/>
                </a:cubicBezTo>
                <a:cubicBezTo>
                  <a:pt x="388" y="62"/>
                  <a:pt x="373" y="77"/>
                  <a:pt x="354" y="77"/>
                </a:cubicBezTo>
                <a:cubicBezTo>
                  <a:pt x="336" y="77"/>
                  <a:pt x="320" y="62"/>
                  <a:pt x="320" y="43"/>
                </a:cubicBezTo>
                <a:cubicBezTo>
                  <a:pt x="320" y="24"/>
                  <a:pt x="336" y="9"/>
                  <a:pt x="354" y="9"/>
                </a:cubicBezTo>
                <a:close/>
                <a:moveTo>
                  <a:pt x="448" y="177"/>
                </a:moveTo>
                <a:cubicBezTo>
                  <a:pt x="448" y="177"/>
                  <a:pt x="448" y="177"/>
                  <a:pt x="448" y="177"/>
                </a:cubicBezTo>
                <a:cubicBezTo>
                  <a:pt x="414" y="123"/>
                  <a:pt x="414" y="123"/>
                  <a:pt x="414" y="123"/>
                </a:cubicBezTo>
                <a:cubicBezTo>
                  <a:pt x="401" y="104"/>
                  <a:pt x="393" y="96"/>
                  <a:pt x="356" y="96"/>
                </a:cubicBezTo>
                <a:cubicBezTo>
                  <a:pt x="356" y="96"/>
                  <a:pt x="356" y="96"/>
                  <a:pt x="356" y="96"/>
                </a:cubicBezTo>
                <a:cubicBezTo>
                  <a:pt x="319" y="96"/>
                  <a:pt x="309" y="113"/>
                  <a:pt x="304" y="122"/>
                </a:cubicBezTo>
                <a:cubicBezTo>
                  <a:pt x="304" y="122"/>
                  <a:pt x="304" y="122"/>
                  <a:pt x="304" y="122"/>
                </a:cubicBezTo>
                <a:cubicBezTo>
                  <a:pt x="297" y="136"/>
                  <a:pt x="272" y="179"/>
                  <a:pt x="268" y="185"/>
                </a:cubicBezTo>
                <a:cubicBezTo>
                  <a:pt x="263" y="188"/>
                  <a:pt x="240" y="206"/>
                  <a:pt x="226" y="217"/>
                </a:cubicBezTo>
                <a:cubicBezTo>
                  <a:pt x="216" y="209"/>
                  <a:pt x="198" y="195"/>
                  <a:pt x="185" y="185"/>
                </a:cubicBezTo>
                <a:cubicBezTo>
                  <a:pt x="181" y="179"/>
                  <a:pt x="156" y="136"/>
                  <a:pt x="149" y="122"/>
                </a:cubicBezTo>
                <a:cubicBezTo>
                  <a:pt x="148" y="122"/>
                  <a:pt x="148" y="122"/>
                  <a:pt x="148" y="122"/>
                </a:cubicBezTo>
                <a:cubicBezTo>
                  <a:pt x="143" y="113"/>
                  <a:pt x="134" y="96"/>
                  <a:pt x="97" y="96"/>
                </a:cubicBezTo>
                <a:cubicBezTo>
                  <a:pt x="97" y="96"/>
                  <a:pt x="97" y="96"/>
                  <a:pt x="97" y="96"/>
                </a:cubicBezTo>
                <a:cubicBezTo>
                  <a:pt x="60" y="96"/>
                  <a:pt x="52" y="104"/>
                  <a:pt x="39" y="123"/>
                </a:cubicBezTo>
                <a:cubicBezTo>
                  <a:pt x="5" y="177"/>
                  <a:pt x="5" y="177"/>
                  <a:pt x="5" y="177"/>
                </a:cubicBezTo>
                <a:cubicBezTo>
                  <a:pt x="5" y="177"/>
                  <a:pt x="5" y="177"/>
                  <a:pt x="5" y="177"/>
                </a:cubicBezTo>
                <a:cubicBezTo>
                  <a:pt x="0" y="186"/>
                  <a:pt x="0" y="195"/>
                  <a:pt x="4" y="204"/>
                </a:cubicBezTo>
                <a:cubicBezTo>
                  <a:pt x="35" y="277"/>
                  <a:pt x="35" y="277"/>
                  <a:pt x="35" y="277"/>
                </a:cubicBezTo>
                <a:cubicBezTo>
                  <a:pt x="38" y="282"/>
                  <a:pt x="44" y="286"/>
                  <a:pt x="50" y="286"/>
                </a:cubicBezTo>
                <a:cubicBezTo>
                  <a:pt x="51" y="286"/>
                  <a:pt x="52" y="286"/>
                  <a:pt x="52" y="286"/>
                </a:cubicBezTo>
                <a:cubicBezTo>
                  <a:pt x="52" y="404"/>
                  <a:pt x="51" y="433"/>
                  <a:pt x="51" y="436"/>
                </a:cubicBezTo>
                <a:cubicBezTo>
                  <a:pt x="51" y="436"/>
                  <a:pt x="51" y="436"/>
                  <a:pt x="51" y="437"/>
                </a:cubicBezTo>
                <a:cubicBezTo>
                  <a:pt x="52" y="447"/>
                  <a:pt x="62" y="454"/>
                  <a:pt x="72" y="454"/>
                </a:cubicBezTo>
                <a:cubicBezTo>
                  <a:pt x="83" y="454"/>
                  <a:pt x="92" y="446"/>
                  <a:pt x="93" y="436"/>
                </a:cubicBezTo>
                <a:cubicBezTo>
                  <a:pt x="100" y="342"/>
                  <a:pt x="100" y="342"/>
                  <a:pt x="100" y="342"/>
                </a:cubicBezTo>
                <a:cubicBezTo>
                  <a:pt x="108" y="436"/>
                  <a:pt x="108" y="436"/>
                  <a:pt x="108" y="436"/>
                </a:cubicBezTo>
                <a:cubicBezTo>
                  <a:pt x="108" y="446"/>
                  <a:pt x="117" y="454"/>
                  <a:pt x="128" y="454"/>
                </a:cubicBezTo>
                <a:cubicBezTo>
                  <a:pt x="128" y="454"/>
                  <a:pt x="128" y="454"/>
                  <a:pt x="129" y="454"/>
                </a:cubicBezTo>
                <a:cubicBezTo>
                  <a:pt x="139" y="454"/>
                  <a:pt x="148" y="446"/>
                  <a:pt x="149" y="437"/>
                </a:cubicBezTo>
                <a:cubicBezTo>
                  <a:pt x="149" y="436"/>
                  <a:pt x="149" y="436"/>
                  <a:pt x="149" y="436"/>
                </a:cubicBezTo>
                <a:cubicBezTo>
                  <a:pt x="149" y="430"/>
                  <a:pt x="146" y="298"/>
                  <a:pt x="143" y="200"/>
                </a:cubicBezTo>
                <a:cubicBezTo>
                  <a:pt x="156" y="218"/>
                  <a:pt x="156" y="218"/>
                  <a:pt x="156" y="218"/>
                </a:cubicBezTo>
                <a:cubicBezTo>
                  <a:pt x="156" y="218"/>
                  <a:pt x="157" y="219"/>
                  <a:pt x="157" y="219"/>
                </a:cubicBezTo>
                <a:cubicBezTo>
                  <a:pt x="215" y="251"/>
                  <a:pt x="215" y="251"/>
                  <a:pt x="215" y="251"/>
                </a:cubicBezTo>
                <a:cubicBezTo>
                  <a:pt x="219" y="254"/>
                  <a:pt x="223" y="254"/>
                  <a:pt x="226" y="253"/>
                </a:cubicBezTo>
                <a:cubicBezTo>
                  <a:pt x="227" y="254"/>
                  <a:pt x="229" y="254"/>
                  <a:pt x="230" y="254"/>
                </a:cubicBezTo>
                <a:cubicBezTo>
                  <a:pt x="232" y="254"/>
                  <a:pt x="235" y="253"/>
                  <a:pt x="237" y="252"/>
                </a:cubicBezTo>
                <a:cubicBezTo>
                  <a:pt x="295" y="219"/>
                  <a:pt x="295" y="219"/>
                  <a:pt x="295" y="219"/>
                </a:cubicBezTo>
                <a:cubicBezTo>
                  <a:pt x="296" y="219"/>
                  <a:pt x="297" y="218"/>
                  <a:pt x="297" y="218"/>
                </a:cubicBezTo>
                <a:cubicBezTo>
                  <a:pt x="310" y="200"/>
                  <a:pt x="310" y="200"/>
                  <a:pt x="310" y="200"/>
                </a:cubicBezTo>
                <a:cubicBezTo>
                  <a:pt x="307" y="298"/>
                  <a:pt x="304" y="430"/>
                  <a:pt x="303" y="436"/>
                </a:cubicBezTo>
                <a:cubicBezTo>
                  <a:pt x="303" y="436"/>
                  <a:pt x="303" y="436"/>
                  <a:pt x="303" y="437"/>
                </a:cubicBezTo>
                <a:cubicBezTo>
                  <a:pt x="305" y="447"/>
                  <a:pt x="314" y="454"/>
                  <a:pt x="325" y="454"/>
                </a:cubicBezTo>
                <a:cubicBezTo>
                  <a:pt x="336" y="454"/>
                  <a:pt x="345" y="446"/>
                  <a:pt x="345" y="436"/>
                </a:cubicBezTo>
                <a:cubicBezTo>
                  <a:pt x="353" y="342"/>
                  <a:pt x="353" y="342"/>
                  <a:pt x="353" y="342"/>
                </a:cubicBezTo>
                <a:cubicBezTo>
                  <a:pt x="360" y="436"/>
                  <a:pt x="360" y="436"/>
                  <a:pt x="360" y="436"/>
                </a:cubicBezTo>
                <a:cubicBezTo>
                  <a:pt x="361" y="446"/>
                  <a:pt x="369" y="454"/>
                  <a:pt x="380" y="454"/>
                </a:cubicBezTo>
                <a:cubicBezTo>
                  <a:pt x="381" y="454"/>
                  <a:pt x="381" y="454"/>
                  <a:pt x="381" y="454"/>
                </a:cubicBezTo>
                <a:cubicBezTo>
                  <a:pt x="392" y="454"/>
                  <a:pt x="401" y="446"/>
                  <a:pt x="402" y="437"/>
                </a:cubicBezTo>
                <a:cubicBezTo>
                  <a:pt x="402" y="436"/>
                  <a:pt x="402" y="436"/>
                  <a:pt x="402" y="436"/>
                </a:cubicBezTo>
                <a:cubicBezTo>
                  <a:pt x="402" y="433"/>
                  <a:pt x="401" y="404"/>
                  <a:pt x="400" y="286"/>
                </a:cubicBezTo>
                <a:cubicBezTo>
                  <a:pt x="401" y="286"/>
                  <a:pt x="402" y="286"/>
                  <a:pt x="403" y="286"/>
                </a:cubicBezTo>
                <a:cubicBezTo>
                  <a:pt x="409" y="286"/>
                  <a:pt x="415" y="282"/>
                  <a:pt x="418" y="277"/>
                </a:cubicBezTo>
                <a:cubicBezTo>
                  <a:pt x="449" y="204"/>
                  <a:pt x="449" y="204"/>
                  <a:pt x="449" y="204"/>
                </a:cubicBezTo>
                <a:cubicBezTo>
                  <a:pt x="453" y="195"/>
                  <a:pt x="452" y="186"/>
                  <a:pt x="448" y="177"/>
                </a:cubicBezTo>
                <a:close/>
                <a:moveTo>
                  <a:pt x="230" y="241"/>
                </a:moveTo>
                <a:cubicBezTo>
                  <a:pt x="227" y="244"/>
                  <a:pt x="223" y="245"/>
                  <a:pt x="220" y="243"/>
                </a:cubicBezTo>
                <a:cubicBezTo>
                  <a:pt x="163" y="211"/>
                  <a:pt x="163" y="211"/>
                  <a:pt x="163" y="211"/>
                </a:cubicBezTo>
                <a:cubicBezTo>
                  <a:pt x="143" y="183"/>
                  <a:pt x="143" y="183"/>
                  <a:pt x="143" y="183"/>
                </a:cubicBezTo>
                <a:cubicBezTo>
                  <a:pt x="142" y="171"/>
                  <a:pt x="142" y="160"/>
                  <a:pt x="142" y="150"/>
                </a:cubicBezTo>
                <a:cubicBezTo>
                  <a:pt x="142" y="147"/>
                  <a:pt x="140" y="145"/>
                  <a:pt x="137" y="145"/>
                </a:cubicBezTo>
                <a:cubicBezTo>
                  <a:pt x="137" y="145"/>
                  <a:pt x="137" y="145"/>
                  <a:pt x="137" y="145"/>
                </a:cubicBezTo>
                <a:cubicBezTo>
                  <a:pt x="134" y="145"/>
                  <a:pt x="132" y="148"/>
                  <a:pt x="132" y="150"/>
                </a:cubicBezTo>
                <a:cubicBezTo>
                  <a:pt x="132" y="150"/>
                  <a:pt x="133" y="164"/>
                  <a:pt x="133" y="185"/>
                </a:cubicBezTo>
                <a:cubicBezTo>
                  <a:pt x="133" y="185"/>
                  <a:pt x="133" y="185"/>
                  <a:pt x="133" y="185"/>
                </a:cubicBezTo>
                <a:cubicBezTo>
                  <a:pt x="134" y="213"/>
                  <a:pt x="135" y="253"/>
                  <a:pt x="136" y="293"/>
                </a:cubicBezTo>
                <a:cubicBezTo>
                  <a:pt x="137" y="329"/>
                  <a:pt x="138" y="365"/>
                  <a:pt x="139" y="392"/>
                </a:cubicBezTo>
                <a:cubicBezTo>
                  <a:pt x="139" y="405"/>
                  <a:pt x="139" y="416"/>
                  <a:pt x="140" y="424"/>
                </a:cubicBezTo>
                <a:cubicBezTo>
                  <a:pt x="140" y="430"/>
                  <a:pt x="140" y="433"/>
                  <a:pt x="140" y="436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140" y="441"/>
                  <a:pt x="134" y="445"/>
                  <a:pt x="128" y="444"/>
                </a:cubicBezTo>
                <a:cubicBezTo>
                  <a:pt x="122" y="444"/>
                  <a:pt x="117" y="440"/>
                  <a:pt x="117" y="435"/>
                </a:cubicBezTo>
                <a:cubicBezTo>
                  <a:pt x="105" y="281"/>
                  <a:pt x="105" y="281"/>
                  <a:pt x="105" y="281"/>
                </a:cubicBezTo>
                <a:cubicBezTo>
                  <a:pt x="105" y="279"/>
                  <a:pt x="103" y="277"/>
                  <a:pt x="100" y="277"/>
                </a:cubicBezTo>
                <a:cubicBezTo>
                  <a:pt x="98" y="277"/>
                  <a:pt x="96" y="279"/>
                  <a:pt x="96" y="281"/>
                </a:cubicBezTo>
                <a:cubicBezTo>
                  <a:pt x="84" y="435"/>
                  <a:pt x="84" y="435"/>
                  <a:pt x="84" y="435"/>
                </a:cubicBezTo>
                <a:cubicBezTo>
                  <a:pt x="83" y="440"/>
                  <a:pt x="78" y="444"/>
                  <a:pt x="72" y="444"/>
                </a:cubicBezTo>
                <a:cubicBezTo>
                  <a:pt x="66" y="445"/>
                  <a:pt x="61" y="441"/>
                  <a:pt x="60" y="436"/>
                </a:cubicBezTo>
                <a:cubicBezTo>
                  <a:pt x="60" y="436"/>
                  <a:pt x="60" y="436"/>
                  <a:pt x="60" y="436"/>
                </a:cubicBezTo>
                <a:cubicBezTo>
                  <a:pt x="61" y="433"/>
                  <a:pt x="61" y="429"/>
                  <a:pt x="61" y="422"/>
                </a:cubicBezTo>
                <a:cubicBezTo>
                  <a:pt x="61" y="413"/>
                  <a:pt x="61" y="401"/>
                  <a:pt x="61" y="386"/>
                </a:cubicBezTo>
                <a:cubicBezTo>
                  <a:pt x="61" y="357"/>
                  <a:pt x="62" y="318"/>
                  <a:pt x="62" y="281"/>
                </a:cubicBezTo>
                <a:cubicBezTo>
                  <a:pt x="67" y="277"/>
                  <a:pt x="69" y="271"/>
                  <a:pt x="67" y="265"/>
                </a:cubicBezTo>
                <a:cubicBezTo>
                  <a:pt x="67" y="265"/>
                  <a:pt x="67" y="265"/>
                  <a:pt x="67" y="264"/>
                </a:cubicBezTo>
                <a:cubicBezTo>
                  <a:pt x="67" y="263"/>
                  <a:pt x="65" y="258"/>
                  <a:pt x="62" y="249"/>
                </a:cubicBezTo>
                <a:cubicBezTo>
                  <a:pt x="63" y="197"/>
                  <a:pt x="63" y="169"/>
                  <a:pt x="63" y="169"/>
                </a:cubicBezTo>
                <a:cubicBezTo>
                  <a:pt x="63" y="167"/>
                  <a:pt x="61" y="165"/>
                  <a:pt x="59" y="165"/>
                </a:cubicBezTo>
                <a:cubicBezTo>
                  <a:pt x="58" y="164"/>
                  <a:pt x="55" y="165"/>
                  <a:pt x="54" y="166"/>
                </a:cubicBezTo>
                <a:cubicBezTo>
                  <a:pt x="35" y="193"/>
                  <a:pt x="35" y="193"/>
                  <a:pt x="35" y="193"/>
                </a:cubicBezTo>
                <a:cubicBezTo>
                  <a:pt x="34" y="194"/>
                  <a:pt x="34" y="195"/>
                  <a:pt x="34" y="197"/>
                </a:cubicBezTo>
                <a:cubicBezTo>
                  <a:pt x="34" y="197"/>
                  <a:pt x="40" y="215"/>
                  <a:pt x="46" y="232"/>
                </a:cubicBezTo>
                <a:cubicBezTo>
                  <a:pt x="49" y="239"/>
                  <a:pt x="51" y="246"/>
                  <a:pt x="53" y="252"/>
                </a:cubicBezTo>
                <a:cubicBezTo>
                  <a:pt x="53" y="252"/>
                  <a:pt x="53" y="252"/>
                  <a:pt x="53" y="252"/>
                </a:cubicBezTo>
                <a:cubicBezTo>
                  <a:pt x="54" y="254"/>
                  <a:pt x="54" y="255"/>
                  <a:pt x="55" y="257"/>
                </a:cubicBezTo>
                <a:cubicBezTo>
                  <a:pt x="56" y="262"/>
                  <a:pt x="58" y="265"/>
                  <a:pt x="59" y="267"/>
                </a:cubicBezTo>
                <a:cubicBezTo>
                  <a:pt x="58" y="267"/>
                  <a:pt x="58" y="267"/>
                  <a:pt x="58" y="267"/>
                </a:cubicBezTo>
                <a:cubicBezTo>
                  <a:pt x="59" y="271"/>
                  <a:pt x="57" y="274"/>
                  <a:pt x="53" y="276"/>
                </a:cubicBezTo>
                <a:cubicBezTo>
                  <a:pt x="49" y="277"/>
                  <a:pt x="45" y="276"/>
                  <a:pt x="44" y="273"/>
                </a:cubicBezTo>
                <a:cubicBezTo>
                  <a:pt x="12" y="201"/>
                  <a:pt x="12" y="201"/>
                  <a:pt x="12" y="201"/>
                </a:cubicBezTo>
                <a:cubicBezTo>
                  <a:pt x="10" y="194"/>
                  <a:pt x="10" y="188"/>
                  <a:pt x="13" y="182"/>
                </a:cubicBezTo>
                <a:cubicBezTo>
                  <a:pt x="47" y="128"/>
                  <a:pt x="47" y="128"/>
                  <a:pt x="47" y="128"/>
                </a:cubicBezTo>
                <a:cubicBezTo>
                  <a:pt x="58" y="112"/>
                  <a:pt x="63" y="105"/>
                  <a:pt x="97" y="105"/>
                </a:cubicBezTo>
                <a:cubicBezTo>
                  <a:pt x="97" y="105"/>
                  <a:pt x="97" y="105"/>
                  <a:pt x="97" y="105"/>
                </a:cubicBezTo>
                <a:cubicBezTo>
                  <a:pt x="128" y="105"/>
                  <a:pt x="136" y="118"/>
                  <a:pt x="140" y="126"/>
                </a:cubicBezTo>
                <a:cubicBezTo>
                  <a:pt x="141" y="127"/>
                  <a:pt x="141" y="127"/>
                  <a:pt x="141" y="127"/>
                </a:cubicBezTo>
                <a:cubicBezTo>
                  <a:pt x="149" y="141"/>
                  <a:pt x="177" y="190"/>
                  <a:pt x="177" y="191"/>
                </a:cubicBezTo>
                <a:cubicBezTo>
                  <a:pt x="178" y="191"/>
                  <a:pt x="178" y="192"/>
                  <a:pt x="178" y="192"/>
                </a:cubicBezTo>
                <a:cubicBezTo>
                  <a:pt x="178" y="192"/>
                  <a:pt x="191" y="202"/>
                  <a:pt x="204" y="212"/>
                </a:cubicBezTo>
                <a:cubicBezTo>
                  <a:pt x="211" y="217"/>
                  <a:pt x="217" y="221"/>
                  <a:pt x="222" y="225"/>
                </a:cubicBezTo>
                <a:cubicBezTo>
                  <a:pt x="226" y="228"/>
                  <a:pt x="228" y="230"/>
                  <a:pt x="230" y="231"/>
                </a:cubicBezTo>
                <a:cubicBezTo>
                  <a:pt x="230" y="231"/>
                  <a:pt x="230" y="231"/>
                  <a:pt x="230" y="231"/>
                </a:cubicBezTo>
                <a:cubicBezTo>
                  <a:pt x="232" y="233"/>
                  <a:pt x="232" y="238"/>
                  <a:pt x="230" y="241"/>
                </a:cubicBezTo>
                <a:close/>
                <a:moveTo>
                  <a:pt x="53" y="183"/>
                </a:moveTo>
                <a:cubicBezTo>
                  <a:pt x="53" y="192"/>
                  <a:pt x="53" y="206"/>
                  <a:pt x="53" y="223"/>
                </a:cubicBezTo>
                <a:cubicBezTo>
                  <a:pt x="50" y="214"/>
                  <a:pt x="47" y="204"/>
                  <a:pt x="44" y="196"/>
                </a:cubicBezTo>
                <a:lnTo>
                  <a:pt x="53" y="183"/>
                </a:lnTo>
                <a:close/>
                <a:moveTo>
                  <a:pt x="440" y="201"/>
                </a:moveTo>
                <a:cubicBezTo>
                  <a:pt x="409" y="273"/>
                  <a:pt x="409" y="273"/>
                  <a:pt x="409" y="273"/>
                </a:cubicBezTo>
                <a:cubicBezTo>
                  <a:pt x="408" y="276"/>
                  <a:pt x="404" y="277"/>
                  <a:pt x="400" y="276"/>
                </a:cubicBezTo>
                <a:cubicBezTo>
                  <a:pt x="396" y="274"/>
                  <a:pt x="394" y="271"/>
                  <a:pt x="394" y="267"/>
                </a:cubicBezTo>
                <a:cubicBezTo>
                  <a:pt x="394" y="267"/>
                  <a:pt x="394" y="267"/>
                  <a:pt x="394" y="267"/>
                </a:cubicBezTo>
                <a:cubicBezTo>
                  <a:pt x="395" y="265"/>
                  <a:pt x="396" y="262"/>
                  <a:pt x="398" y="257"/>
                </a:cubicBezTo>
                <a:cubicBezTo>
                  <a:pt x="399" y="255"/>
                  <a:pt x="399" y="254"/>
                  <a:pt x="400" y="252"/>
                </a:cubicBezTo>
                <a:cubicBezTo>
                  <a:pt x="400" y="252"/>
                  <a:pt x="400" y="252"/>
                  <a:pt x="400" y="252"/>
                </a:cubicBezTo>
                <a:cubicBezTo>
                  <a:pt x="402" y="246"/>
                  <a:pt x="404" y="239"/>
                  <a:pt x="407" y="232"/>
                </a:cubicBezTo>
                <a:cubicBezTo>
                  <a:pt x="413" y="215"/>
                  <a:pt x="419" y="197"/>
                  <a:pt x="419" y="197"/>
                </a:cubicBezTo>
                <a:cubicBezTo>
                  <a:pt x="419" y="195"/>
                  <a:pt x="419" y="194"/>
                  <a:pt x="418" y="193"/>
                </a:cubicBezTo>
                <a:cubicBezTo>
                  <a:pt x="399" y="166"/>
                  <a:pt x="399" y="166"/>
                  <a:pt x="399" y="166"/>
                </a:cubicBezTo>
                <a:cubicBezTo>
                  <a:pt x="397" y="165"/>
                  <a:pt x="395" y="164"/>
                  <a:pt x="393" y="165"/>
                </a:cubicBezTo>
                <a:cubicBezTo>
                  <a:pt x="391" y="165"/>
                  <a:pt x="390" y="167"/>
                  <a:pt x="390" y="169"/>
                </a:cubicBezTo>
                <a:cubicBezTo>
                  <a:pt x="390" y="169"/>
                  <a:pt x="390" y="197"/>
                  <a:pt x="391" y="249"/>
                </a:cubicBezTo>
                <a:cubicBezTo>
                  <a:pt x="388" y="258"/>
                  <a:pt x="386" y="263"/>
                  <a:pt x="386" y="264"/>
                </a:cubicBezTo>
                <a:cubicBezTo>
                  <a:pt x="386" y="265"/>
                  <a:pt x="385" y="265"/>
                  <a:pt x="385" y="265"/>
                </a:cubicBezTo>
                <a:cubicBezTo>
                  <a:pt x="384" y="271"/>
                  <a:pt x="386" y="277"/>
                  <a:pt x="391" y="281"/>
                </a:cubicBezTo>
                <a:cubicBezTo>
                  <a:pt x="391" y="318"/>
                  <a:pt x="392" y="357"/>
                  <a:pt x="392" y="386"/>
                </a:cubicBezTo>
                <a:cubicBezTo>
                  <a:pt x="392" y="401"/>
                  <a:pt x="392" y="413"/>
                  <a:pt x="392" y="422"/>
                </a:cubicBezTo>
                <a:cubicBezTo>
                  <a:pt x="392" y="429"/>
                  <a:pt x="392" y="433"/>
                  <a:pt x="392" y="436"/>
                </a:cubicBezTo>
                <a:cubicBezTo>
                  <a:pt x="392" y="436"/>
                  <a:pt x="392" y="436"/>
                  <a:pt x="392" y="436"/>
                </a:cubicBezTo>
                <a:cubicBezTo>
                  <a:pt x="392" y="441"/>
                  <a:pt x="387" y="445"/>
                  <a:pt x="381" y="444"/>
                </a:cubicBezTo>
                <a:cubicBezTo>
                  <a:pt x="375" y="444"/>
                  <a:pt x="370" y="440"/>
                  <a:pt x="369" y="435"/>
                </a:cubicBezTo>
                <a:cubicBezTo>
                  <a:pt x="357" y="281"/>
                  <a:pt x="357" y="281"/>
                  <a:pt x="357" y="281"/>
                </a:cubicBezTo>
                <a:cubicBezTo>
                  <a:pt x="357" y="279"/>
                  <a:pt x="355" y="277"/>
                  <a:pt x="353" y="277"/>
                </a:cubicBezTo>
                <a:cubicBezTo>
                  <a:pt x="350" y="277"/>
                  <a:pt x="348" y="279"/>
                  <a:pt x="348" y="281"/>
                </a:cubicBezTo>
                <a:cubicBezTo>
                  <a:pt x="336" y="435"/>
                  <a:pt x="336" y="435"/>
                  <a:pt x="336" y="435"/>
                </a:cubicBezTo>
                <a:cubicBezTo>
                  <a:pt x="336" y="440"/>
                  <a:pt x="331" y="444"/>
                  <a:pt x="325" y="444"/>
                </a:cubicBezTo>
                <a:cubicBezTo>
                  <a:pt x="319" y="445"/>
                  <a:pt x="313" y="441"/>
                  <a:pt x="313" y="436"/>
                </a:cubicBezTo>
                <a:cubicBezTo>
                  <a:pt x="313" y="436"/>
                  <a:pt x="313" y="436"/>
                  <a:pt x="313" y="436"/>
                </a:cubicBezTo>
                <a:cubicBezTo>
                  <a:pt x="313" y="433"/>
                  <a:pt x="313" y="430"/>
                  <a:pt x="313" y="424"/>
                </a:cubicBezTo>
                <a:cubicBezTo>
                  <a:pt x="313" y="416"/>
                  <a:pt x="314" y="405"/>
                  <a:pt x="314" y="392"/>
                </a:cubicBezTo>
                <a:cubicBezTo>
                  <a:pt x="315" y="365"/>
                  <a:pt x="316" y="329"/>
                  <a:pt x="317" y="293"/>
                </a:cubicBezTo>
                <a:cubicBezTo>
                  <a:pt x="318" y="253"/>
                  <a:pt x="319" y="213"/>
                  <a:pt x="320" y="185"/>
                </a:cubicBezTo>
                <a:cubicBezTo>
                  <a:pt x="320" y="185"/>
                  <a:pt x="320" y="185"/>
                  <a:pt x="320" y="185"/>
                </a:cubicBezTo>
                <a:cubicBezTo>
                  <a:pt x="320" y="164"/>
                  <a:pt x="320" y="150"/>
                  <a:pt x="320" y="150"/>
                </a:cubicBezTo>
                <a:cubicBezTo>
                  <a:pt x="321" y="148"/>
                  <a:pt x="318" y="145"/>
                  <a:pt x="316" y="145"/>
                </a:cubicBezTo>
                <a:cubicBezTo>
                  <a:pt x="316" y="145"/>
                  <a:pt x="316" y="145"/>
                  <a:pt x="316" y="145"/>
                </a:cubicBezTo>
                <a:cubicBezTo>
                  <a:pt x="313" y="145"/>
                  <a:pt x="311" y="147"/>
                  <a:pt x="311" y="150"/>
                </a:cubicBezTo>
                <a:cubicBezTo>
                  <a:pt x="311" y="160"/>
                  <a:pt x="310" y="171"/>
                  <a:pt x="310" y="183"/>
                </a:cubicBezTo>
                <a:cubicBezTo>
                  <a:pt x="290" y="211"/>
                  <a:pt x="290" y="211"/>
                  <a:pt x="290" y="211"/>
                </a:cubicBezTo>
                <a:cubicBezTo>
                  <a:pt x="241" y="239"/>
                  <a:pt x="241" y="239"/>
                  <a:pt x="241" y="239"/>
                </a:cubicBezTo>
                <a:cubicBezTo>
                  <a:pt x="242" y="233"/>
                  <a:pt x="240" y="228"/>
                  <a:pt x="236" y="224"/>
                </a:cubicBezTo>
                <a:cubicBezTo>
                  <a:pt x="236" y="224"/>
                  <a:pt x="236" y="224"/>
                  <a:pt x="236" y="223"/>
                </a:cubicBezTo>
                <a:cubicBezTo>
                  <a:pt x="235" y="223"/>
                  <a:pt x="235" y="223"/>
                  <a:pt x="234" y="222"/>
                </a:cubicBezTo>
                <a:cubicBezTo>
                  <a:pt x="249" y="211"/>
                  <a:pt x="274" y="192"/>
                  <a:pt x="274" y="192"/>
                </a:cubicBezTo>
                <a:cubicBezTo>
                  <a:pt x="275" y="192"/>
                  <a:pt x="275" y="191"/>
                  <a:pt x="276" y="191"/>
                </a:cubicBezTo>
                <a:cubicBezTo>
                  <a:pt x="276" y="190"/>
                  <a:pt x="304" y="141"/>
                  <a:pt x="312" y="127"/>
                </a:cubicBezTo>
                <a:cubicBezTo>
                  <a:pt x="313" y="126"/>
                  <a:pt x="313" y="126"/>
                  <a:pt x="313" y="126"/>
                </a:cubicBezTo>
                <a:cubicBezTo>
                  <a:pt x="317" y="118"/>
                  <a:pt x="324" y="105"/>
                  <a:pt x="356" y="105"/>
                </a:cubicBezTo>
                <a:cubicBezTo>
                  <a:pt x="356" y="105"/>
                  <a:pt x="356" y="105"/>
                  <a:pt x="356" y="105"/>
                </a:cubicBezTo>
                <a:cubicBezTo>
                  <a:pt x="390" y="105"/>
                  <a:pt x="395" y="112"/>
                  <a:pt x="406" y="128"/>
                </a:cubicBezTo>
                <a:cubicBezTo>
                  <a:pt x="440" y="182"/>
                  <a:pt x="440" y="182"/>
                  <a:pt x="440" y="182"/>
                </a:cubicBezTo>
                <a:cubicBezTo>
                  <a:pt x="443" y="188"/>
                  <a:pt x="443" y="194"/>
                  <a:pt x="440" y="201"/>
                </a:cubicBezTo>
                <a:close/>
                <a:moveTo>
                  <a:pt x="400" y="183"/>
                </a:moveTo>
                <a:cubicBezTo>
                  <a:pt x="409" y="196"/>
                  <a:pt x="409" y="196"/>
                  <a:pt x="409" y="196"/>
                </a:cubicBezTo>
                <a:cubicBezTo>
                  <a:pt x="406" y="204"/>
                  <a:pt x="403" y="214"/>
                  <a:pt x="400" y="223"/>
                </a:cubicBezTo>
                <a:cubicBezTo>
                  <a:pt x="400" y="206"/>
                  <a:pt x="400" y="192"/>
                  <a:pt x="400" y="183"/>
                </a:cubicBezTo>
                <a:close/>
                <a:moveTo>
                  <a:pt x="99" y="86"/>
                </a:moveTo>
                <a:cubicBezTo>
                  <a:pt x="122" y="86"/>
                  <a:pt x="142" y="67"/>
                  <a:pt x="142" y="43"/>
                </a:cubicBezTo>
                <a:cubicBezTo>
                  <a:pt x="142" y="19"/>
                  <a:pt x="122" y="0"/>
                  <a:pt x="99" y="0"/>
                </a:cubicBezTo>
                <a:cubicBezTo>
                  <a:pt x="75" y="0"/>
                  <a:pt x="55" y="19"/>
                  <a:pt x="55" y="43"/>
                </a:cubicBezTo>
                <a:cubicBezTo>
                  <a:pt x="55" y="67"/>
                  <a:pt x="75" y="86"/>
                  <a:pt x="99" y="86"/>
                </a:cubicBezTo>
                <a:close/>
                <a:moveTo>
                  <a:pt x="99" y="9"/>
                </a:moveTo>
                <a:cubicBezTo>
                  <a:pt x="117" y="9"/>
                  <a:pt x="132" y="24"/>
                  <a:pt x="132" y="43"/>
                </a:cubicBezTo>
                <a:cubicBezTo>
                  <a:pt x="132" y="62"/>
                  <a:pt x="117" y="77"/>
                  <a:pt x="99" y="77"/>
                </a:cubicBezTo>
                <a:cubicBezTo>
                  <a:pt x="80" y="77"/>
                  <a:pt x="65" y="62"/>
                  <a:pt x="65" y="43"/>
                </a:cubicBezTo>
                <a:cubicBezTo>
                  <a:pt x="65" y="24"/>
                  <a:pt x="80" y="9"/>
                  <a:pt x="99" y="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75" name="Oval 8"/>
          <p:cNvSpPr>
            <a:spLocks noChangeArrowheads="1"/>
          </p:cNvSpPr>
          <p:nvPr/>
        </p:nvSpPr>
        <p:spPr bwMode="auto">
          <a:xfrm>
            <a:off x="7430588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13" name="Freeform 44"/>
          <p:cNvSpPr>
            <a:spLocks noEditPoints="1"/>
          </p:cNvSpPr>
          <p:nvPr/>
        </p:nvSpPr>
        <p:spPr bwMode="auto">
          <a:xfrm>
            <a:off x="7584039" y="1282373"/>
            <a:ext cx="516061" cy="506776"/>
          </a:xfrm>
          <a:custGeom>
            <a:avLst/>
            <a:gdLst>
              <a:gd name="T0" fmla="*/ 347 w 447"/>
              <a:gd name="T1" fmla="*/ 173 h 439"/>
              <a:gd name="T2" fmla="*/ 295 w 447"/>
              <a:gd name="T3" fmla="*/ 77 h 439"/>
              <a:gd name="T4" fmla="*/ 173 w 447"/>
              <a:gd name="T5" fmla="*/ 75 h 439"/>
              <a:gd name="T6" fmla="*/ 131 w 447"/>
              <a:gd name="T7" fmla="*/ 180 h 439"/>
              <a:gd name="T8" fmla="*/ 162 w 447"/>
              <a:gd name="T9" fmla="*/ 174 h 439"/>
              <a:gd name="T10" fmla="*/ 236 w 447"/>
              <a:gd name="T11" fmla="*/ 122 h 439"/>
              <a:gd name="T12" fmla="*/ 26 w 447"/>
              <a:gd name="T13" fmla="*/ 285 h 439"/>
              <a:gd name="T14" fmla="*/ 26 w 447"/>
              <a:gd name="T15" fmla="*/ 332 h 439"/>
              <a:gd name="T16" fmla="*/ 161 w 447"/>
              <a:gd name="T17" fmla="*/ 323 h 439"/>
              <a:gd name="T18" fmla="*/ 268 w 447"/>
              <a:gd name="T19" fmla="*/ 308 h 439"/>
              <a:gd name="T20" fmla="*/ 223 w 447"/>
              <a:gd name="T21" fmla="*/ 436 h 439"/>
              <a:gd name="T22" fmla="*/ 254 w 447"/>
              <a:gd name="T23" fmla="*/ 426 h 439"/>
              <a:gd name="T24" fmla="*/ 318 w 447"/>
              <a:gd name="T25" fmla="*/ 281 h 439"/>
              <a:gd name="T26" fmla="*/ 292 w 447"/>
              <a:gd name="T27" fmla="*/ 174 h 439"/>
              <a:gd name="T28" fmla="*/ 327 w 447"/>
              <a:gd name="T29" fmla="*/ 225 h 439"/>
              <a:gd name="T30" fmla="*/ 423 w 447"/>
              <a:gd name="T31" fmla="*/ 229 h 439"/>
              <a:gd name="T32" fmla="*/ 440 w 447"/>
              <a:gd name="T33" fmla="*/ 222 h 439"/>
              <a:gd name="T34" fmla="*/ 424 w 447"/>
              <a:gd name="T35" fmla="*/ 182 h 439"/>
              <a:gd name="T36" fmla="*/ 423 w 447"/>
              <a:gd name="T37" fmla="*/ 220 h 439"/>
              <a:gd name="T38" fmla="*/ 311 w 447"/>
              <a:gd name="T39" fmla="*/ 204 h 439"/>
              <a:gd name="T40" fmla="*/ 295 w 447"/>
              <a:gd name="T41" fmla="*/ 158 h 439"/>
              <a:gd name="T42" fmla="*/ 248 w 447"/>
              <a:gd name="T43" fmla="*/ 222 h 439"/>
              <a:gd name="T44" fmla="*/ 312 w 447"/>
              <a:gd name="T45" fmla="*/ 288 h 439"/>
              <a:gd name="T46" fmla="*/ 316 w 447"/>
              <a:gd name="T47" fmla="*/ 310 h 439"/>
              <a:gd name="T48" fmla="*/ 233 w 447"/>
              <a:gd name="T49" fmla="*/ 429 h 439"/>
              <a:gd name="T50" fmla="*/ 224 w 447"/>
              <a:gd name="T51" fmla="*/ 407 h 439"/>
              <a:gd name="T52" fmla="*/ 277 w 447"/>
              <a:gd name="T53" fmla="*/ 303 h 439"/>
              <a:gd name="T54" fmla="*/ 212 w 447"/>
              <a:gd name="T55" fmla="*/ 251 h 439"/>
              <a:gd name="T56" fmla="*/ 153 w 447"/>
              <a:gd name="T57" fmla="*/ 318 h 439"/>
              <a:gd name="T58" fmla="*/ 139 w 447"/>
              <a:gd name="T59" fmla="*/ 325 h 439"/>
              <a:gd name="T60" fmla="*/ 10 w 447"/>
              <a:gd name="T61" fmla="*/ 308 h 439"/>
              <a:gd name="T62" fmla="*/ 128 w 447"/>
              <a:gd name="T63" fmla="*/ 292 h 439"/>
              <a:gd name="T64" fmla="*/ 248 w 447"/>
              <a:gd name="T65" fmla="*/ 121 h 439"/>
              <a:gd name="T66" fmla="*/ 244 w 447"/>
              <a:gd name="T67" fmla="*/ 113 h 439"/>
              <a:gd name="T68" fmla="*/ 201 w 447"/>
              <a:gd name="T69" fmla="*/ 110 h 439"/>
              <a:gd name="T70" fmla="*/ 143 w 447"/>
              <a:gd name="T71" fmla="*/ 175 h 439"/>
              <a:gd name="T72" fmla="*/ 134 w 447"/>
              <a:gd name="T73" fmla="*/ 153 h 439"/>
              <a:gd name="T74" fmla="*/ 197 w 447"/>
              <a:gd name="T75" fmla="*/ 73 h 439"/>
              <a:gd name="T76" fmla="*/ 316 w 447"/>
              <a:gd name="T77" fmla="*/ 104 h 439"/>
              <a:gd name="T78" fmla="*/ 343 w 447"/>
              <a:gd name="T79" fmla="*/ 182 h 439"/>
              <a:gd name="T80" fmla="*/ 423 w 447"/>
              <a:gd name="T81" fmla="*/ 192 h 439"/>
              <a:gd name="T82" fmla="*/ 433 w 447"/>
              <a:gd name="T83" fmla="*/ 216 h 439"/>
              <a:gd name="T84" fmla="*/ 339 w 447"/>
              <a:gd name="T85" fmla="*/ 91 h 439"/>
              <a:gd name="T86" fmla="*/ 378 w 447"/>
              <a:gd name="T87" fmla="*/ 67 h 439"/>
              <a:gd name="T88" fmla="*/ 361 w 447"/>
              <a:gd name="T89" fmla="*/ 5 h 439"/>
              <a:gd name="T90" fmla="*/ 299 w 447"/>
              <a:gd name="T91" fmla="*/ 23 h 439"/>
              <a:gd name="T92" fmla="*/ 317 w 447"/>
              <a:gd name="T93" fmla="*/ 85 h 439"/>
              <a:gd name="T94" fmla="*/ 339 w 447"/>
              <a:gd name="T95" fmla="*/ 9 h 439"/>
              <a:gd name="T96" fmla="*/ 373 w 447"/>
              <a:gd name="T97" fmla="*/ 35 h 439"/>
              <a:gd name="T98" fmla="*/ 339 w 447"/>
              <a:gd name="T99" fmla="*/ 82 h 439"/>
              <a:gd name="T100" fmla="*/ 304 w 447"/>
              <a:gd name="T101" fmla="*/ 55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47" h="439">
                <a:moveTo>
                  <a:pt x="424" y="182"/>
                </a:moveTo>
                <a:cubicBezTo>
                  <a:pt x="347" y="173"/>
                  <a:pt x="347" y="173"/>
                  <a:pt x="347" y="173"/>
                </a:cubicBezTo>
                <a:cubicBezTo>
                  <a:pt x="325" y="102"/>
                  <a:pt x="325" y="102"/>
                  <a:pt x="325" y="102"/>
                </a:cubicBezTo>
                <a:cubicBezTo>
                  <a:pt x="321" y="90"/>
                  <a:pt x="308" y="79"/>
                  <a:pt x="295" y="77"/>
                </a:cubicBezTo>
                <a:cubicBezTo>
                  <a:pt x="198" y="64"/>
                  <a:pt x="198" y="64"/>
                  <a:pt x="198" y="64"/>
                </a:cubicBezTo>
                <a:cubicBezTo>
                  <a:pt x="188" y="62"/>
                  <a:pt x="179" y="67"/>
                  <a:pt x="173" y="75"/>
                </a:cubicBezTo>
                <a:cubicBezTo>
                  <a:pt x="126" y="148"/>
                  <a:pt x="126" y="148"/>
                  <a:pt x="126" y="148"/>
                </a:cubicBezTo>
                <a:cubicBezTo>
                  <a:pt x="118" y="158"/>
                  <a:pt x="120" y="171"/>
                  <a:pt x="131" y="180"/>
                </a:cubicBezTo>
                <a:cubicBezTo>
                  <a:pt x="135" y="183"/>
                  <a:pt x="138" y="185"/>
                  <a:pt x="143" y="185"/>
                </a:cubicBezTo>
                <a:cubicBezTo>
                  <a:pt x="151" y="185"/>
                  <a:pt x="159" y="179"/>
                  <a:pt x="162" y="174"/>
                </a:cubicBezTo>
                <a:cubicBezTo>
                  <a:pt x="206" y="118"/>
                  <a:pt x="206" y="118"/>
                  <a:pt x="206" y="118"/>
                </a:cubicBezTo>
                <a:cubicBezTo>
                  <a:pt x="236" y="122"/>
                  <a:pt x="236" y="122"/>
                  <a:pt x="236" y="122"/>
                </a:cubicBezTo>
                <a:cubicBezTo>
                  <a:pt x="125" y="282"/>
                  <a:pt x="125" y="282"/>
                  <a:pt x="125" y="282"/>
                </a:cubicBezTo>
                <a:cubicBezTo>
                  <a:pt x="26" y="285"/>
                  <a:pt x="26" y="285"/>
                  <a:pt x="26" y="285"/>
                </a:cubicBezTo>
                <a:cubicBezTo>
                  <a:pt x="12" y="285"/>
                  <a:pt x="0" y="295"/>
                  <a:pt x="0" y="308"/>
                </a:cubicBezTo>
                <a:cubicBezTo>
                  <a:pt x="0" y="322"/>
                  <a:pt x="12" y="332"/>
                  <a:pt x="26" y="332"/>
                </a:cubicBezTo>
                <a:cubicBezTo>
                  <a:pt x="139" y="335"/>
                  <a:pt x="139" y="335"/>
                  <a:pt x="139" y="335"/>
                </a:cubicBezTo>
                <a:cubicBezTo>
                  <a:pt x="148" y="335"/>
                  <a:pt x="156" y="330"/>
                  <a:pt x="161" y="323"/>
                </a:cubicBezTo>
                <a:cubicBezTo>
                  <a:pt x="213" y="263"/>
                  <a:pt x="213" y="263"/>
                  <a:pt x="213" y="263"/>
                </a:cubicBezTo>
                <a:cubicBezTo>
                  <a:pt x="268" y="308"/>
                  <a:pt x="268" y="308"/>
                  <a:pt x="268" y="308"/>
                </a:cubicBezTo>
                <a:cubicBezTo>
                  <a:pt x="215" y="403"/>
                  <a:pt x="215" y="403"/>
                  <a:pt x="215" y="403"/>
                </a:cubicBezTo>
                <a:cubicBezTo>
                  <a:pt x="208" y="415"/>
                  <a:pt x="211" y="429"/>
                  <a:pt x="223" y="436"/>
                </a:cubicBezTo>
                <a:cubicBezTo>
                  <a:pt x="226" y="438"/>
                  <a:pt x="229" y="439"/>
                  <a:pt x="233" y="439"/>
                </a:cubicBezTo>
                <a:cubicBezTo>
                  <a:pt x="242" y="439"/>
                  <a:pt x="251" y="432"/>
                  <a:pt x="254" y="426"/>
                </a:cubicBezTo>
                <a:cubicBezTo>
                  <a:pt x="324" y="315"/>
                  <a:pt x="324" y="315"/>
                  <a:pt x="324" y="315"/>
                </a:cubicBezTo>
                <a:cubicBezTo>
                  <a:pt x="331" y="303"/>
                  <a:pt x="328" y="289"/>
                  <a:pt x="318" y="281"/>
                </a:cubicBezTo>
                <a:cubicBezTo>
                  <a:pt x="258" y="224"/>
                  <a:pt x="258" y="224"/>
                  <a:pt x="258" y="224"/>
                </a:cubicBezTo>
                <a:cubicBezTo>
                  <a:pt x="292" y="174"/>
                  <a:pt x="292" y="174"/>
                  <a:pt x="292" y="174"/>
                </a:cubicBezTo>
                <a:cubicBezTo>
                  <a:pt x="302" y="207"/>
                  <a:pt x="302" y="207"/>
                  <a:pt x="302" y="207"/>
                </a:cubicBezTo>
                <a:cubicBezTo>
                  <a:pt x="306" y="218"/>
                  <a:pt x="316" y="225"/>
                  <a:pt x="327" y="225"/>
                </a:cubicBezTo>
                <a:cubicBezTo>
                  <a:pt x="327" y="225"/>
                  <a:pt x="327" y="225"/>
                  <a:pt x="327" y="225"/>
                </a:cubicBezTo>
                <a:cubicBezTo>
                  <a:pt x="423" y="229"/>
                  <a:pt x="423" y="229"/>
                  <a:pt x="423" y="229"/>
                </a:cubicBezTo>
                <a:cubicBezTo>
                  <a:pt x="423" y="229"/>
                  <a:pt x="423" y="229"/>
                  <a:pt x="423" y="229"/>
                </a:cubicBezTo>
                <a:cubicBezTo>
                  <a:pt x="430" y="229"/>
                  <a:pt x="435" y="227"/>
                  <a:pt x="440" y="222"/>
                </a:cubicBezTo>
                <a:cubicBezTo>
                  <a:pt x="444" y="218"/>
                  <a:pt x="447" y="212"/>
                  <a:pt x="447" y="206"/>
                </a:cubicBezTo>
                <a:cubicBezTo>
                  <a:pt x="447" y="193"/>
                  <a:pt x="436" y="183"/>
                  <a:pt x="424" y="182"/>
                </a:cubicBezTo>
                <a:close/>
                <a:moveTo>
                  <a:pt x="433" y="216"/>
                </a:moveTo>
                <a:cubicBezTo>
                  <a:pt x="431" y="218"/>
                  <a:pt x="427" y="220"/>
                  <a:pt x="423" y="220"/>
                </a:cubicBezTo>
                <a:cubicBezTo>
                  <a:pt x="327" y="216"/>
                  <a:pt x="327" y="216"/>
                  <a:pt x="327" y="216"/>
                </a:cubicBezTo>
                <a:cubicBezTo>
                  <a:pt x="320" y="216"/>
                  <a:pt x="313" y="211"/>
                  <a:pt x="311" y="204"/>
                </a:cubicBezTo>
                <a:cubicBezTo>
                  <a:pt x="298" y="162"/>
                  <a:pt x="298" y="162"/>
                  <a:pt x="298" y="162"/>
                </a:cubicBezTo>
                <a:cubicBezTo>
                  <a:pt x="298" y="160"/>
                  <a:pt x="296" y="159"/>
                  <a:pt x="295" y="158"/>
                </a:cubicBezTo>
                <a:cubicBezTo>
                  <a:pt x="293" y="158"/>
                  <a:pt x="291" y="159"/>
                  <a:pt x="290" y="160"/>
                </a:cubicBezTo>
                <a:cubicBezTo>
                  <a:pt x="248" y="222"/>
                  <a:pt x="248" y="222"/>
                  <a:pt x="248" y="222"/>
                </a:cubicBezTo>
                <a:cubicBezTo>
                  <a:pt x="246" y="224"/>
                  <a:pt x="247" y="226"/>
                  <a:pt x="248" y="228"/>
                </a:cubicBezTo>
                <a:cubicBezTo>
                  <a:pt x="312" y="288"/>
                  <a:pt x="312" y="288"/>
                  <a:pt x="312" y="288"/>
                </a:cubicBezTo>
                <a:cubicBezTo>
                  <a:pt x="312" y="288"/>
                  <a:pt x="312" y="288"/>
                  <a:pt x="312" y="288"/>
                </a:cubicBezTo>
                <a:cubicBezTo>
                  <a:pt x="319" y="294"/>
                  <a:pt x="321" y="303"/>
                  <a:pt x="316" y="310"/>
                </a:cubicBezTo>
                <a:cubicBezTo>
                  <a:pt x="246" y="421"/>
                  <a:pt x="246" y="421"/>
                  <a:pt x="246" y="421"/>
                </a:cubicBezTo>
                <a:cubicBezTo>
                  <a:pt x="244" y="425"/>
                  <a:pt x="239" y="429"/>
                  <a:pt x="233" y="429"/>
                </a:cubicBezTo>
                <a:cubicBezTo>
                  <a:pt x="231" y="429"/>
                  <a:pt x="229" y="429"/>
                  <a:pt x="227" y="428"/>
                </a:cubicBezTo>
                <a:cubicBezTo>
                  <a:pt x="220" y="423"/>
                  <a:pt x="219" y="416"/>
                  <a:pt x="224" y="407"/>
                </a:cubicBezTo>
                <a:cubicBezTo>
                  <a:pt x="278" y="309"/>
                  <a:pt x="278" y="309"/>
                  <a:pt x="278" y="309"/>
                </a:cubicBezTo>
                <a:cubicBezTo>
                  <a:pt x="279" y="307"/>
                  <a:pt x="279" y="304"/>
                  <a:pt x="277" y="303"/>
                </a:cubicBezTo>
                <a:cubicBezTo>
                  <a:pt x="215" y="252"/>
                  <a:pt x="215" y="252"/>
                  <a:pt x="215" y="252"/>
                </a:cubicBezTo>
                <a:cubicBezTo>
                  <a:pt x="214" y="252"/>
                  <a:pt x="213" y="251"/>
                  <a:pt x="212" y="251"/>
                </a:cubicBezTo>
                <a:cubicBezTo>
                  <a:pt x="211" y="251"/>
                  <a:pt x="209" y="252"/>
                  <a:pt x="208" y="253"/>
                </a:cubicBezTo>
                <a:cubicBezTo>
                  <a:pt x="153" y="318"/>
                  <a:pt x="153" y="318"/>
                  <a:pt x="153" y="318"/>
                </a:cubicBezTo>
                <a:cubicBezTo>
                  <a:pt x="153" y="318"/>
                  <a:pt x="153" y="318"/>
                  <a:pt x="153" y="318"/>
                </a:cubicBezTo>
                <a:cubicBezTo>
                  <a:pt x="150" y="323"/>
                  <a:pt x="145" y="325"/>
                  <a:pt x="139" y="325"/>
                </a:cubicBezTo>
                <a:cubicBezTo>
                  <a:pt x="26" y="323"/>
                  <a:pt x="26" y="323"/>
                  <a:pt x="26" y="323"/>
                </a:cubicBezTo>
                <a:cubicBezTo>
                  <a:pt x="17" y="323"/>
                  <a:pt x="10" y="316"/>
                  <a:pt x="10" y="308"/>
                </a:cubicBezTo>
                <a:cubicBezTo>
                  <a:pt x="10" y="301"/>
                  <a:pt x="17" y="295"/>
                  <a:pt x="27" y="295"/>
                </a:cubicBezTo>
                <a:cubicBezTo>
                  <a:pt x="128" y="292"/>
                  <a:pt x="128" y="292"/>
                  <a:pt x="128" y="292"/>
                </a:cubicBezTo>
                <a:cubicBezTo>
                  <a:pt x="130" y="292"/>
                  <a:pt x="131" y="291"/>
                  <a:pt x="132" y="290"/>
                </a:cubicBezTo>
                <a:cubicBezTo>
                  <a:pt x="248" y="121"/>
                  <a:pt x="248" y="121"/>
                  <a:pt x="248" y="121"/>
                </a:cubicBezTo>
                <a:cubicBezTo>
                  <a:pt x="249" y="119"/>
                  <a:pt x="249" y="118"/>
                  <a:pt x="248" y="116"/>
                </a:cubicBezTo>
                <a:cubicBezTo>
                  <a:pt x="247" y="115"/>
                  <a:pt x="246" y="114"/>
                  <a:pt x="244" y="113"/>
                </a:cubicBezTo>
                <a:cubicBezTo>
                  <a:pt x="205" y="108"/>
                  <a:pt x="205" y="108"/>
                  <a:pt x="205" y="108"/>
                </a:cubicBezTo>
                <a:cubicBezTo>
                  <a:pt x="203" y="108"/>
                  <a:pt x="202" y="108"/>
                  <a:pt x="201" y="110"/>
                </a:cubicBezTo>
                <a:cubicBezTo>
                  <a:pt x="155" y="169"/>
                  <a:pt x="155" y="169"/>
                  <a:pt x="155" y="169"/>
                </a:cubicBezTo>
                <a:cubicBezTo>
                  <a:pt x="152" y="172"/>
                  <a:pt x="147" y="175"/>
                  <a:pt x="143" y="175"/>
                </a:cubicBezTo>
                <a:cubicBezTo>
                  <a:pt x="141" y="175"/>
                  <a:pt x="139" y="175"/>
                  <a:pt x="138" y="173"/>
                </a:cubicBezTo>
                <a:cubicBezTo>
                  <a:pt x="133" y="170"/>
                  <a:pt x="127" y="162"/>
                  <a:pt x="134" y="153"/>
                </a:cubicBezTo>
                <a:cubicBezTo>
                  <a:pt x="181" y="80"/>
                  <a:pt x="181" y="80"/>
                  <a:pt x="181" y="80"/>
                </a:cubicBezTo>
                <a:cubicBezTo>
                  <a:pt x="184" y="75"/>
                  <a:pt x="191" y="72"/>
                  <a:pt x="197" y="73"/>
                </a:cubicBezTo>
                <a:cubicBezTo>
                  <a:pt x="294" y="86"/>
                  <a:pt x="294" y="86"/>
                  <a:pt x="294" y="86"/>
                </a:cubicBezTo>
                <a:cubicBezTo>
                  <a:pt x="303" y="88"/>
                  <a:pt x="314" y="96"/>
                  <a:pt x="316" y="104"/>
                </a:cubicBezTo>
                <a:cubicBezTo>
                  <a:pt x="339" y="179"/>
                  <a:pt x="339" y="179"/>
                  <a:pt x="339" y="179"/>
                </a:cubicBezTo>
                <a:cubicBezTo>
                  <a:pt x="339" y="181"/>
                  <a:pt x="341" y="182"/>
                  <a:pt x="343" y="182"/>
                </a:cubicBezTo>
                <a:cubicBezTo>
                  <a:pt x="423" y="192"/>
                  <a:pt x="423" y="192"/>
                  <a:pt x="423" y="192"/>
                </a:cubicBezTo>
                <a:cubicBezTo>
                  <a:pt x="423" y="192"/>
                  <a:pt x="423" y="192"/>
                  <a:pt x="423" y="192"/>
                </a:cubicBezTo>
                <a:cubicBezTo>
                  <a:pt x="431" y="192"/>
                  <a:pt x="437" y="198"/>
                  <a:pt x="437" y="206"/>
                </a:cubicBezTo>
                <a:cubicBezTo>
                  <a:pt x="437" y="210"/>
                  <a:pt x="436" y="213"/>
                  <a:pt x="433" y="216"/>
                </a:cubicBezTo>
                <a:close/>
                <a:moveTo>
                  <a:pt x="317" y="85"/>
                </a:moveTo>
                <a:cubicBezTo>
                  <a:pt x="323" y="89"/>
                  <a:pt x="331" y="91"/>
                  <a:pt x="339" y="91"/>
                </a:cubicBezTo>
                <a:cubicBezTo>
                  <a:pt x="339" y="91"/>
                  <a:pt x="339" y="91"/>
                  <a:pt x="339" y="91"/>
                </a:cubicBezTo>
                <a:cubicBezTo>
                  <a:pt x="355" y="91"/>
                  <a:pt x="370" y="82"/>
                  <a:pt x="378" y="67"/>
                </a:cubicBezTo>
                <a:cubicBezTo>
                  <a:pt x="384" y="57"/>
                  <a:pt x="386" y="44"/>
                  <a:pt x="382" y="33"/>
                </a:cubicBezTo>
                <a:cubicBezTo>
                  <a:pt x="379" y="21"/>
                  <a:pt x="371" y="11"/>
                  <a:pt x="361" y="5"/>
                </a:cubicBezTo>
                <a:cubicBezTo>
                  <a:pt x="354" y="2"/>
                  <a:pt x="346" y="0"/>
                  <a:pt x="339" y="0"/>
                </a:cubicBezTo>
                <a:cubicBezTo>
                  <a:pt x="322" y="0"/>
                  <a:pt x="307" y="9"/>
                  <a:pt x="299" y="23"/>
                </a:cubicBezTo>
                <a:cubicBezTo>
                  <a:pt x="293" y="34"/>
                  <a:pt x="291" y="46"/>
                  <a:pt x="295" y="58"/>
                </a:cubicBezTo>
                <a:cubicBezTo>
                  <a:pt x="298" y="70"/>
                  <a:pt x="306" y="79"/>
                  <a:pt x="317" y="85"/>
                </a:cubicBezTo>
                <a:close/>
                <a:moveTo>
                  <a:pt x="307" y="28"/>
                </a:moveTo>
                <a:cubicBezTo>
                  <a:pt x="313" y="16"/>
                  <a:pt x="325" y="9"/>
                  <a:pt x="339" y="9"/>
                </a:cubicBezTo>
                <a:cubicBezTo>
                  <a:pt x="345" y="9"/>
                  <a:pt x="351" y="11"/>
                  <a:pt x="356" y="14"/>
                </a:cubicBezTo>
                <a:cubicBezTo>
                  <a:pt x="365" y="18"/>
                  <a:pt x="371" y="26"/>
                  <a:pt x="373" y="35"/>
                </a:cubicBezTo>
                <a:cubicBezTo>
                  <a:pt x="376" y="45"/>
                  <a:pt x="375" y="54"/>
                  <a:pt x="370" y="63"/>
                </a:cubicBezTo>
                <a:cubicBezTo>
                  <a:pt x="364" y="74"/>
                  <a:pt x="352" y="82"/>
                  <a:pt x="339" y="82"/>
                </a:cubicBezTo>
                <a:cubicBezTo>
                  <a:pt x="332" y="82"/>
                  <a:pt x="326" y="80"/>
                  <a:pt x="321" y="77"/>
                </a:cubicBezTo>
                <a:cubicBezTo>
                  <a:pt x="313" y="72"/>
                  <a:pt x="306" y="65"/>
                  <a:pt x="304" y="55"/>
                </a:cubicBezTo>
                <a:cubicBezTo>
                  <a:pt x="301" y="46"/>
                  <a:pt x="302" y="36"/>
                  <a:pt x="307" y="2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79" name="Oval 12"/>
          <p:cNvSpPr>
            <a:spLocks noChangeArrowheads="1"/>
          </p:cNvSpPr>
          <p:nvPr/>
        </p:nvSpPr>
        <p:spPr bwMode="auto">
          <a:xfrm>
            <a:off x="4845101" y="31167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14" name="Freeform 45"/>
          <p:cNvSpPr>
            <a:spLocks noEditPoints="1"/>
          </p:cNvSpPr>
          <p:nvPr/>
        </p:nvSpPr>
        <p:spPr bwMode="auto">
          <a:xfrm>
            <a:off x="4991449" y="3410985"/>
            <a:ext cx="530265" cy="312764"/>
          </a:xfrm>
          <a:custGeom>
            <a:avLst/>
            <a:gdLst>
              <a:gd name="T0" fmla="*/ 325 w 460"/>
              <a:gd name="T1" fmla="*/ 0 h 271"/>
              <a:gd name="T2" fmla="*/ 208 w 460"/>
              <a:gd name="T3" fmla="*/ 0 h 271"/>
              <a:gd name="T4" fmla="*/ 174 w 460"/>
              <a:gd name="T5" fmla="*/ 34 h 271"/>
              <a:gd name="T6" fmla="*/ 178 w 460"/>
              <a:gd name="T7" fmla="*/ 51 h 271"/>
              <a:gd name="T8" fmla="*/ 34 w 460"/>
              <a:gd name="T9" fmla="*/ 51 h 271"/>
              <a:gd name="T10" fmla="*/ 0 w 460"/>
              <a:gd name="T11" fmla="*/ 85 h 271"/>
              <a:gd name="T12" fmla="*/ 34 w 460"/>
              <a:gd name="T13" fmla="*/ 119 h 271"/>
              <a:gd name="T14" fmla="*/ 116 w 460"/>
              <a:gd name="T15" fmla="*/ 119 h 271"/>
              <a:gd name="T16" fmla="*/ 111 w 460"/>
              <a:gd name="T17" fmla="*/ 137 h 271"/>
              <a:gd name="T18" fmla="*/ 145 w 460"/>
              <a:gd name="T19" fmla="*/ 171 h 271"/>
              <a:gd name="T20" fmla="*/ 151 w 460"/>
              <a:gd name="T21" fmla="*/ 171 h 271"/>
              <a:gd name="T22" fmla="*/ 147 w 460"/>
              <a:gd name="T23" fmla="*/ 186 h 271"/>
              <a:gd name="T24" fmla="*/ 182 w 460"/>
              <a:gd name="T25" fmla="*/ 221 h 271"/>
              <a:gd name="T26" fmla="*/ 187 w 460"/>
              <a:gd name="T27" fmla="*/ 221 h 271"/>
              <a:gd name="T28" fmla="*/ 183 w 460"/>
              <a:gd name="T29" fmla="*/ 237 h 271"/>
              <a:gd name="T30" fmla="*/ 218 w 460"/>
              <a:gd name="T31" fmla="*/ 271 h 271"/>
              <a:gd name="T32" fmla="*/ 325 w 460"/>
              <a:gd name="T33" fmla="*/ 271 h 271"/>
              <a:gd name="T34" fmla="*/ 460 w 460"/>
              <a:gd name="T35" fmla="*/ 136 h 271"/>
              <a:gd name="T36" fmla="*/ 325 w 460"/>
              <a:gd name="T37" fmla="*/ 0 h 271"/>
              <a:gd name="T38" fmla="*/ 325 w 460"/>
              <a:gd name="T39" fmla="*/ 261 h 271"/>
              <a:gd name="T40" fmla="*/ 218 w 460"/>
              <a:gd name="T41" fmla="*/ 261 h 271"/>
              <a:gd name="T42" fmla="*/ 193 w 460"/>
              <a:gd name="T43" fmla="*/ 237 h 271"/>
              <a:gd name="T44" fmla="*/ 199 w 460"/>
              <a:gd name="T45" fmla="*/ 221 h 271"/>
              <a:gd name="T46" fmla="*/ 218 w 460"/>
              <a:gd name="T47" fmla="*/ 221 h 271"/>
              <a:gd name="T48" fmla="*/ 223 w 460"/>
              <a:gd name="T49" fmla="*/ 216 h 271"/>
              <a:gd name="T50" fmla="*/ 218 w 460"/>
              <a:gd name="T51" fmla="*/ 211 h 271"/>
              <a:gd name="T52" fmla="*/ 197 w 460"/>
              <a:gd name="T53" fmla="*/ 211 h 271"/>
              <a:gd name="T54" fmla="*/ 197 w 460"/>
              <a:gd name="T55" fmla="*/ 211 h 271"/>
              <a:gd name="T56" fmla="*/ 182 w 460"/>
              <a:gd name="T57" fmla="*/ 211 h 271"/>
              <a:gd name="T58" fmla="*/ 157 w 460"/>
              <a:gd name="T59" fmla="*/ 186 h 271"/>
              <a:gd name="T60" fmla="*/ 162 w 460"/>
              <a:gd name="T61" fmla="*/ 171 h 271"/>
              <a:gd name="T62" fmla="*/ 202 w 460"/>
              <a:gd name="T63" fmla="*/ 171 h 271"/>
              <a:gd name="T64" fmla="*/ 207 w 460"/>
              <a:gd name="T65" fmla="*/ 166 h 271"/>
              <a:gd name="T66" fmla="*/ 202 w 460"/>
              <a:gd name="T67" fmla="*/ 162 h 271"/>
              <a:gd name="T68" fmla="*/ 160 w 460"/>
              <a:gd name="T69" fmla="*/ 162 h 271"/>
              <a:gd name="T70" fmla="*/ 160 w 460"/>
              <a:gd name="T71" fmla="*/ 162 h 271"/>
              <a:gd name="T72" fmla="*/ 145 w 460"/>
              <a:gd name="T73" fmla="*/ 162 h 271"/>
              <a:gd name="T74" fmla="*/ 121 w 460"/>
              <a:gd name="T75" fmla="*/ 137 h 271"/>
              <a:gd name="T76" fmla="*/ 128 w 460"/>
              <a:gd name="T77" fmla="*/ 119 h 271"/>
              <a:gd name="T78" fmla="*/ 186 w 460"/>
              <a:gd name="T79" fmla="*/ 119 h 271"/>
              <a:gd name="T80" fmla="*/ 191 w 460"/>
              <a:gd name="T81" fmla="*/ 115 h 271"/>
              <a:gd name="T82" fmla="*/ 186 w 460"/>
              <a:gd name="T83" fmla="*/ 110 h 271"/>
              <a:gd name="T84" fmla="*/ 34 w 460"/>
              <a:gd name="T85" fmla="*/ 110 h 271"/>
              <a:gd name="T86" fmla="*/ 9 w 460"/>
              <a:gd name="T87" fmla="*/ 85 h 271"/>
              <a:gd name="T88" fmla="*/ 34 w 460"/>
              <a:gd name="T89" fmla="*/ 60 h 271"/>
              <a:gd name="T90" fmla="*/ 289 w 460"/>
              <a:gd name="T91" fmla="*/ 60 h 271"/>
              <a:gd name="T92" fmla="*/ 294 w 460"/>
              <a:gd name="T93" fmla="*/ 56 h 271"/>
              <a:gd name="T94" fmla="*/ 289 w 460"/>
              <a:gd name="T95" fmla="*/ 51 h 271"/>
              <a:gd name="T96" fmla="*/ 189 w 460"/>
              <a:gd name="T97" fmla="*/ 51 h 271"/>
              <a:gd name="T98" fmla="*/ 183 w 460"/>
              <a:gd name="T99" fmla="*/ 34 h 271"/>
              <a:gd name="T100" fmla="*/ 208 w 460"/>
              <a:gd name="T101" fmla="*/ 10 h 271"/>
              <a:gd name="T102" fmla="*/ 325 w 460"/>
              <a:gd name="T103" fmla="*/ 10 h 271"/>
              <a:gd name="T104" fmla="*/ 451 w 460"/>
              <a:gd name="T105" fmla="*/ 136 h 271"/>
              <a:gd name="T106" fmla="*/ 325 w 460"/>
              <a:gd name="T107" fmla="*/ 261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60" h="271">
                <a:moveTo>
                  <a:pt x="325" y="0"/>
                </a:moveTo>
                <a:cubicBezTo>
                  <a:pt x="208" y="0"/>
                  <a:pt x="208" y="0"/>
                  <a:pt x="208" y="0"/>
                </a:cubicBezTo>
                <a:cubicBezTo>
                  <a:pt x="189" y="0"/>
                  <a:pt x="174" y="16"/>
                  <a:pt x="174" y="34"/>
                </a:cubicBezTo>
                <a:cubicBezTo>
                  <a:pt x="174" y="40"/>
                  <a:pt x="175" y="46"/>
                  <a:pt x="178" y="51"/>
                </a:cubicBezTo>
                <a:cubicBezTo>
                  <a:pt x="34" y="51"/>
                  <a:pt x="34" y="51"/>
                  <a:pt x="34" y="51"/>
                </a:cubicBezTo>
                <a:cubicBezTo>
                  <a:pt x="15" y="51"/>
                  <a:pt x="0" y="66"/>
                  <a:pt x="0" y="85"/>
                </a:cubicBezTo>
                <a:cubicBezTo>
                  <a:pt x="0" y="104"/>
                  <a:pt x="15" y="119"/>
                  <a:pt x="34" y="119"/>
                </a:cubicBezTo>
                <a:cubicBezTo>
                  <a:pt x="116" y="119"/>
                  <a:pt x="116" y="119"/>
                  <a:pt x="116" y="119"/>
                </a:cubicBezTo>
                <a:cubicBezTo>
                  <a:pt x="113" y="125"/>
                  <a:pt x="111" y="131"/>
                  <a:pt x="111" y="137"/>
                </a:cubicBezTo>
                <a:cubicBezTo>
                  <a:pt x="111" y="156"/>
                  <a:pt x="127" y="171"/>
                  <a:pt x="145" y="171"/>
                </a:cubicBezTo>
                <a:cubicBezTo>
                  <a:pt x="151" y="171"/>
                  <a:pt x="151" y="171"/>
                  <a:pt x="151" y="171"/>
                </a:cubicBezTo>
                <a:cubicBezTo>
                  <a:pt x="149" y="176"/>
                  <a:pt x="147" y="181"/>
                  <a:pt x="147" y="186"/>
                </a:cubicBezTo>
                <a:cubicBezTo>
                  <a:pt x="147" y="205"/>
                  <a:pt x="163" y="221"/>
                  <a:pt x="182" y="221"/>
                </a:cubicBezTo>
                <a:cubicBezTo>
                  <a:pt x="187" y="221"/>
                  <a:pt x="187" y="221"/>
                  <a:pt x="187" y="221"/>
                </a:cubicBezTo>
                <a:cubicBezTo>
                  <a:pt x="185" y="226"/>
                  <a:pt x="183" y="231"/>
                  <a:pt x="183" y="237"/>
                </a:cubicBezTo>
                <a:cubicBezTo>
                  <a:pt x="183" y="256"/>
                  <a:pt x="199" y="271"/>
                  <a:pt x="218" y="271"/>
                </a:cubicBezTo>
                <a:cubicBezTo>
                  <a:pt x="325" y="271"/>
                  <a:pt x="325" y="271"/>
                  <a:pt x="325" y="271"/>
                </a:cubicBezTo>
                <a:cubicBezTo>
                  <a:pt x="400" y="271"/>
                  <a:pt x="460" y="210"/>
                  <a:pt x="460" y="136"/>
                </a:cubicBezTo>
                <a:cubicBezTo>
                  <a:pt x="460" y="61"/>
                  <a:pt x="400" y="0"/>
                  <a:pt x="325" y="0"/>
                </a:cubicBezTo>
                <a:close/>
                <a:moveTo>
                  <a:pt x="325" y="261"/>
                </a:moveTo>
                <a:cubicBezTo>
                  <a:pt x="218" y="261"/>
                  <a:pt x="218" y="261"/>
                  <a:pt x="218" y="261"/>
                </a:cubicBezTo>
                <a:cubicBezTo>
                  <a:pt x="204" y="261"/>
                  <a:pt x="193" y="250"/>
                  <a:pt x="193" y="237"/>
                </a:cubicBezTo>
                <a:cubicBezTo>
                  <a:pt x="193" y="231"/>
                  <a:pt x="195" y="225"/>
                  <a:pt x="199" y="221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21" y="221"/>
                  <a:pt x="223" y="219"/>
                  <a:pt x="223" y="216"/>
                </a:cubicBezTo>
                <a:cubicBezTo>
                  <a:pt x="223" y="213"/>
                  <a:pt x="221" y="211"/>
                  <a:pt x="218" y="211"/>
                </a:cubicBezTo>
                <a:cubicBezTo>
                  <a:pt x="197" y="211"/>
                  <a:pt x="197" y="211"/>
                  <a:pt x="197" y="211"/>
                </a:cubicBezTo>
                <a:cubicBezTo>
                  <a:pt x="197" y="211"/>
                  <a:pt x="197" y="211"/>
                  <a:pt x="197" y="211"/>
                </a:cubicBezTo>
                <a:cubicBezTo>
                  <a:pt x="182" y="211"/>
                  <a:pt x="182" y="211"/>
                  <a:pt x="182" y="211"/>
                </a:cubicBezTo>
                <a:cubicBezTo>
                  <a:pt x="168" y="211"/>
                  <a:pt x="157" y="200"/>
                  <a:pt x="157" y="186"/>
                </a:cubicBezTo>
                <a:cubicBezTo>
                  <a:pt x="157" y="181"/>
                  <a:pt x="159" y="175"/>
                  <a:pt x="162" y="171"/>
                </a:cubicBezTo>
                <a:cubicBezTo>
                  <a:pt x="202" y="171"/>
                  <a:pt x="202" y="171"/>
                  <a:pt x="202" y="171"/>
                </a:cubicBezTo>
                <a:cubicBezTo>
                  <a:pt x="204" y="171"/>
                  <a:pt x="207" y="169"/>
                  <a:pt x="207" y="166"/>
                </a:cubicBezTo>
                <a:cubicBezTo>
                  <a:pt x="207" y="164"/>
                  <a:pt x="204" y="162"/>
                  <a:pt x="202" y="162"/>
                </a:cubicBezTo>
                <a:cubicBezTo>
                  <a:pt x="160" y="162"/>
                  <a:pt x="160" y="162"/>
                  <a:pt x="160" y="162"/>
                </a:cubicBezTo>
                <a:cubicBezTo>
                  <a:pt x="160" y="162"/>
                  <a:pt x="160" y="161"/>
                  <a:pt x="160" y="162"/>
                </a:cubicBezTo>
                <a:cubicBezTo>
                  <a:pt x="145" y="162"/>
                  <a:pt x="145" y="162"/>
                  <a:pt x="145" y="162"/>
                </a:cubicBezTo>
                <a:cubicBezTo>
                  <a:pt x="132" y="162"/>
                  <a:pt x="121" y="150"/>
                  <a:pt x="121" y="137"/>
                </a:cubicBezTo>
                <a:cubicBezTo>
                  <a:pt x="121" y="130"/>
                  <a:pt x="123" y="124"/>
                  <a:pt x="128" y="119"/>
                </a:cubicBezTo>
                <a:cubicBezTo>
                  <a:pt x="186" y="119"/>
                  <a:pt x="186" y="119"/>
                  <a:pt x="186" y="119"/>
                </a:cubicBezTo>
                <a:cubicBezTo>
                  <a:pt x="189" y="119"/>
                  <a:pt x="191" y="117"/>
                  <a:pt x="191" y="115"/>
                </a:cubicBezTo>
                <a:cubicBezTo>
                  <a:pt x="191" y="112"/>
                  <a:pt x="189" y="110"/>
                  <a:pt x="186" y="110"/>
                </a:cubicBezTo>
                <a:cubicBezTo>
                  <a:pt x="34" y="110"/>
                  <a:pt x="34" y="110"/>
                  <a:pt x="34" y="110"/>
                </a:cubicBezTo>
                <a:cubicBezTo>
                  <a:pt x="20" y="110"/>
                  <a:pt x="9" y="99"/>
                  <a:pt x="9" y="85"/>
                </a:cubicBezTo>
                <a:cubicBezTo>
                  <a:pt x="9" y="72"/>
                  <a:pt x="20" y="60"/>
                  <a:pt x="34" y="60"/>
                </a:cubicBezTo>
                <a:cubicBezTo>
                  <a:pt x="289" y="60"/>
                  <a:pt x="289" y="60"/>
                  <a:pt x="289" y="60"/>
                </a:cubicBezTo>
                <a:cubicBezTo>
                  <a:pt x="292" y="60"/>
                  <a:pt x="294" y="58"/>
                  <a:pt x="294" y="56"/>
                </a:cubicBezTo>
                <a:cubicBezTo>
                  <a:pt x="294" y="53"/>
                  <a:pt x="292" y="51"/>
                  <a:pt x="289" y="51"/>
                </a:cubicBezTo>
                <a:cubicBezTo>
                  <a:pt x="189" y="51"/>
                  <a:pt x="189" y="51"/>
                  <a:pt x="189" y="51"/>
                </a:cubicBezTo>
                <a:cubicBezTo>
                  <a:pt x="185" y="46"/>
                  <a:pt x="183" y="41"/>
                  <a:pt x="183" y="34"/>
                </a:cubicBezTo>
                <a:cubicBezTo>
                  <a:pt x="183" y="21"/>
                  <a:pt x="194" y="10"/>
                  <a:pt x="208" y="10"/>
                </a:cubicBezTo>
                <a:cubicBezTo>
                  <a:pt x="325" y="10"/>
                  <a:pt x="325" y="10"/>
                  <a:pt x="325" y="10"/>
                </a:cubicBezTo>
                <a:cubicBezTo>
                  <a:pt x="394" y="10"/>
                  <a:pt x="451" y="66"/>
                  <a:pt x="451" y="136"/>
                </a:cubicBezTo>
                <a:cubicBezTo>
                  <a:pt x="451" y="205"/>
                  <a:pt x="394" y="261"/>
                  <a:pt x="325" y="26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76" name="Oval 13"/>
          <p:cNvSpPr>
            <a:spLocks noChangeArrowheads="1"/>
          </p:cNvSpPr>
          <p:nvPr/>
        </p:nvSpPr>
        <p:spPr bwMode="auto">
          <a:xfrm>
            <a:off x="7430588" y="31167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15" name="Freeform 46"/>
          <p:cNvSpPr>
            <a:spLocks noEditPoints="1"/>
          </p:cNvSpPr>
          <p:nvPr/>
        </p:nvSpPr>
        <p:spPr bwMode="auto">
          <a:xfrm>
            <a:off x="7576219" y="3429556"/>
            <a:ext cx="532187" cy="311786"/>
          </a:xfrm>
          <a:custGeom>
            <a:avLst/>
            <a:gdLst>
              <a:gd name="T0" fmla="*/ 427 w 461"/>
              <a:gd name="T1" fmla="*/ 51 h 270"/>
              <a:gd name="T2" fmla="*/ 282 w 461"/>
              <a:gd name="T3" fmla="*/ 51 h 270"/>
              <a:gd name="T4" fmla="*/ 287 w 461"/>
              <a:gd name="T5" fmla="*/ 34 h 270"/>
              <a:gd name="T6" fmla="*/ 253 w 461"/>
              <a:gd name="T7" fmla="*/ 0 h 270"/>
              <a:gd name="T8" fmla="*/ 135 w 461"/>
              <a:gd name="T9" fmla="*/ 0 h 270"/>
              <a:gd name="T10" fmla="*/ 0 w 461"/>
              <a:gd name="T11" fmla="*/ 135 h 270"/>
              <a:gd name="T12" fmla="*/ 135 w 461"/>
              <a:gd name="T13" fmla="*/ 270 h 270"/>
              <a:gd name="T14" fmla="*/ 243 w 461"/>
              <a:gd name="T15" fmla="*/ 270 h 270"/>
              <a:gd name="T16" fmla="*/ 277 w 461"/>
              <a:gd name="T17" fmla="*/ 236 h 270"/>
              <a:gd name="T18" fmla="*/ 273 w 461"/>
              <a:gd name="T19" fmla="*/ 220 h 270"/>
              <a:gd name="T20" fmla="*/ 279 w 461"/>
              <a:gd name="T21" fmla="*/ 220 h 270"/>
              <a:gd name="T22" fmla="*/ 313 w 461"/>
              <a:gd name="T23" fmla="*/ 186 h 270"/>
              <a:gd name="T24" fmla="*/ 309 w 461"/>
              <a:gd name="T25" fmla="*/ 170 h 270"/>
              <a:gd name="T26" fmla="*/ 315 w 461"/>
              <a:gd name="T27" fmla="*/ 170 h 270"/>
              <a:gd name="T28" fmla="*/ 349 w 461"/>
              <a:gd name="T29" fmla="*/ 136 h 270"/>
              <a:gd name="T30" fmla="*/ 344 w 461"/>
              <a:gd name="T31" fmla="*/ 119 h 270"/>
              <a:gd name="T32" fmla="*/ 427 w 461"/>
              <a:gd name="T33" fmla="*/ 119 h 270"/>
              <a:gd name="T34" fmla="*/ 461 w 461"/>
              <a:gd name="T35" fmla="*/ 85 h 270"/>
              <a:gd name="T36" fmla="*/ 427 w 461"/>
              <a:gd name="T37" fmla="*/ 51 h 270"/>
              <a:gd name="T38" fmla="*/ 427 w 461"/>
              <a:gd name="T39" fmla="*/ 109 h 270"/>
              <a:gd name="T40" fmla="*/ 274 w 461"/>
              <a:gd name="T41" fmla="*/ 109 h 270"/>
              <a:gd name="T42" fmla="*/ 269 w 461"/>
              <a:gd name="T43" fmla="*/ 114 h 270"/>
              <a:gd name="T44" fmla="*/ 274 w 461"/>
              <a:gd name="T45" fmla="*/ 119 h 270"/>
              <a:gd name="T46" fmla="*/ 332 w 461"/>
              <a:gd name="T47" fmla="*/ 119 h 270"/>
              <a:gd name="T48" fmla="*/ 340 w 461"/>
              <a:gd name="T49" fmla="*/ 136 h 270"/>
              <a:gd name="T50" fmla="*/ 315 w 461"/>
              <a:gd name="T51" fmla="*/ 161 h 270"/>
              <a:gd name="T52" fmla="*/ 300 w 461"/>
              <a:gd name="T53" fmla="*/ 161 h 270"/>
              <a:gd name="T54" fmla="*/ 300 w 461"/>
              <a:gd name="T55" fmla="*/ 161 h 270"/>
              <a:gd name="T56" fmla="*/ 259 w 461"/>
              <a:gd name="T57" fmla="*/ 161 h 270"/>
              <a:gd name="T58" fmla="*/ 254 w 461"/>
              <a:gd name="T59" fmla="*/ 166 h 270"/>
              <a:gd name="T60" fmla="*/ 259 w 461"/>
              <a:gd name="T61" fmla="*/ 170 h 270"/>
              <a:gd name="T62" fmla="*/ 298 w 461"/>
              <a:gd name="T63" fmla="*/ 170 h 270"/>
              <a:gd name="T64" fmla="*/ 304 w 461"/>
              <a:gd name="T65" fmla="*/ 186 h 270"/>
              <a:gd name="T66" fmla="*/ 279 w 461"/>
              <a:gd name="T67" fmla="*/ 211 h 270"/>
              <a:gd name="T68" fmla="*/ 264 w 461"/>
              <a:gd name="T69" fmla="*/ 211 h 270"/>
              <a:gd name="T70" fmla="*/ 264 w 461"/>
              <a:gd name="T71" fmla="*/ 211 h 270"/>
              <a:gd name="T72" fmla="*/ 242 w 461"/>
              <a:gd name="T73" fmla="*/ 211 h 270"/>
              <a:gd name="T74" fmla="*/ 237 w 461"/>
              <a:gd name="T75" fmla="*/ 215 h 270"/>
              <a:gd name="T76" fmla="*/ 242 w 461"/>
              <a:gd name="T77" fmla="*/ 220 h 270"/>
              <a:gd name="T78" fmla="*/ 262 w 461"/>
              <a:gd name="T79" fmla="*/ 220 h 270"/>
              <a:gd name="T80" fmla="*/ 268 w 461"/>
              <a:gd name="T81" fmla="*/ 236 h 270"/>
              <a:gd name="T82" fmla="*/ 243 w 461"/>
              <a:gd name="T83" fmla="*/ 261 h 270"/>
              <a:gd name="T84" fmla="*/ 135 w 461"/>
              <a:gd name="T85" fmla="*/ 261 h 270"/>
              <a:gd name="T86" fmla="*/ 10 w 461"/>
              <a:gd name="T87" fmla="*/ 135 h 270"/>
              <a:gd name="T88" fmla="*/ 135 w 461"/>
              <a:gd name="T89" fmla="*/ 9 h 270"/>
              <a:gd name="T90" fmla="*/ 253 w 461"/>
              <a:gd name="T91" fmla="*/ 9 h 270"/>
              <a:gd name="T92" fmla="*/ 277 w 461"/>
              <a:gd name="T93" fmla="*/ 34 h 270"/>
              <a:gd name="T94" fmla="*/ 271 w 461"/>
              <a:gd name="T95" fmla="*/ 51 h 270"/>
              <a:gd name="T96" fmla="*/ 171 w 461"/>
              <a:gd name="T97" fmla="*/ 51 h 270"/>
              <a:gd name="T98" fmla="*/ 166 w 461"/>
              <a:gd name="T99" fmla="*/ 55 h 270"/>
              <a:gd name="T100" fmla="*/ 171 w 461"/>
              <a:gd name="T101" fmla="*/ 60 h 270"/>
              <a:gd name="T102" fmla="*/ 427 w 461"/>
              <a:gd name="T103" fmla="*/ 60 h 270"/>
              <a:gd name="T104" fmla="*/ 451 w 461"/>
              <a:gd name="T105" fmla="*/ 85 h 270"/>
              <a:gd name="T106" fmla="*/ 427 w 461"/>
              <a:gd name="T107" fmla="*/ 109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61" h="270">
                <a:moveTo>
                  <a:pt x="427" y="51"/>
                </a:moveTo>
                <a:cubicBezTo>
                  <a:pt x="282" y="51"/>
                  <a:pt x="282" y="51"/>
                  <a:pt x="282" y="51"/>
                </a:cubicBezTo>
                <a:cubicBezTo>
                  <a:pt x="285" y="46"/>
                  <a:pt x="287" y="40"/>
                  <a:pt x="287" y="34"/>
                </a:cubicBezTo>
                <a:cubicBezTo>
                  <a:pt x="287" y="15"/>
                  <a:pt x="271" y="0"/>
                  <a:pt x="253" y="0"/>
                </a:cubicBezTo>
                <a:cubicBezTo>
                  <a:pt x="135" y="0"/>
                  <a:pt x="135" y="0"/>
                  <a:pt x="135" y="0"/>
                </a:cubicBezTo>
                <a:cubicBezTo>
                  <a:pt x="61" y="0"/>
                  <a:pt x="0" y="61"/>
                  <a:pt x="0" y="135"/>
                </a:cubicBezTo>
                <a:cubicBezTo>
                  <a:pt x="0" y="210"/>
                  <a:pt x="61" y="270"/>
                  <a:pt x="135" y="270"/>
                </a:cubicBezTo>
                <a:cubicBezTo>
                  <a:pt x="243" y="270"/>
                  <a:pt x="243" y="270"/>
                  <a:pt x="243" y="270"/>
                </a:cubicBezTo>
                <a:cubicBezTo>
                  <a:pt x="262" y="270"/>
                  <a:pt x="277" y="255"/>
                  <a:pt x="277" y="236"/>
                </a:cubicBezTo>
                <a:cubicBezTo>
                  <a:pt x="277" y="231"/>
                  <a:pt x="276" y="225"/>
                  <a:pt x="273" y="220"/>
                </a:cubicBezTo>
                <a:cubicBezTo>
                  <a:pt x="279" y="220"/>
                  <a:pt x="279" y="220"/>
                  <a:pt x="279" y="220"/>
                </a:cubicBezTo>
                <a:cubicBezTo>
                  <a:pt x="298" y="220"/>
                  <a:pt x="313" y="205"/>
                  <a:pt x="313" y="186"/>
                </a:cubicBezTo>
                <a:cubicBezTo>
                  <a:pt x="313" y="181"/>
                  <a:pt x="312" y="175"/>
                  <a:pt x="309" y="170"/>
                </a:cubicBezTo>
                <a:cubicBezTo>
                  <a:pt x="315" y="170"/>
                  <a:pt x="315" y="170"/>
                  <a:pt x="315" y="170"/>
                </a:cubicBezTo>
                <a:cubicBezTo>
                  <a:pt x="334" y="170"/>
                  <a:pt x="349" y="155"/>
                  <a:pt x="349" y="136"/>
                </a:cubicBezTo>
                <a:cubicBezTo>
                  <a:pt x="349" y="130"/>
                  <a:pt x="347" y="124"/>
                  <a:pt x="344" y="119"/>
                </a:cubicBezTo>
                <a:cubicBezTo>
                  <a:pt x="427" y="119"/>
                  <a:pt x="427" y="119"/>
                  <a:pt x="427" y="119"/>
                </a:cubicBezTo>
                <a:cubicBezTo>
                  <a:pt x="446" y="119"/>
                  <a:pt x="461" y="104"/>
                  <a:pt x="461" y="85"/>
                </a:cubicBezTo>
                <a:cubicBezTo>
                  <a:pt x="461" y="66"/>
                  <a:pt x="446" y="51"/>
                  <a:pt x="427" y="51"/>
                </a:cubicBezTo>
                <a:close/>
                <a:moveTo>
                  <a:pt x="427" y="109"/>
                </a:moveTo>
                <a:cubicBezTo>
                  <a:pt x="274" y="109"/>
                  <a:pt x="274" y="109"/>
                  <a:pt x="274" y="109"/>
                </a:cubicBezTo>
                <a:cubicBezTo>
                  <a:pt x="271" y="109"/>
                  <a:pt x="269" y="112"/>
                  <a:pt x="269" y="114"/>
                </a:cubicBezTo>
                <a:cubicBezTo>
                  <a:pt x="269" y="117"/>
                  <a:pt x="271" y="119"/>
                  <a:pt x="274" y="119"/>
                </a:cubicBezTo>
                <a:cubicBezTo>
                  <a:pt x="332" y="119"/>
                  <a:pt x="332" y="119"/>
                  <a:pt x="332" y="119"/>
                </a:cubicBezTo>
                <a:cubicBezTo>
                  <a:pt x="337" y="123"/>
                  <a:pt x="340" y="130"/>
                  <a:pt x="340" y="136"/>
                </a:cubicBezTo>
                <a:cubicBezTo>
                  <a:pt x="340" y="150"/>
                  <a:pt x="329" y="161"/>
                  <a:pt x="315" y="161"/>
                </a:cubicBezTo>
                <a:cubicBezTo>
                  <a:pt x="300" y="161"/>
                  <a:pt x="300" y="161"/>
                  <a:pt x="300" y="161"/>
                </a:cubicBezTo>
                <a:cubicBezTo>
                  <a:pt x="300" y="161"/>
                  <a:pt x="300" y="161"/>
                  <a:pt x="300" y="161"/>
                </a:cubicBezTo>
                <a:cubicBezTo>
                  <a:pt x="259" y="161"/>
                  <a:pt x="259" y="161"/>
                  <a:pt x="259" y="161"/>
                </a:cubicBezTo>
                <a:cubicBezTo>
                  <a:pt x="256" y="161"/>
                  <a:pt x="254" y="163"/>
                  <a:pt x="254" y="166"/>
                </a:cubicBezTo>
                <a:cubicBezTo>
                  <a:pt x="254" y="168"/>
                  <a:pt x="256" y="170"/>
                  <a:pt x="259" y="170"/>
                </a:cubicBezTo>
                <a:cubicBezTo>
                  <a:pt x="298" y="170"/>
                  <a:pt x="298" y="170"/>
                  <a:pt x="298" y="170"/>
                </a:cubicBezTo>
                <a:cubicBezTo>
                  <a:pt x="302" y="175"/>
                  <a:pt x="304" y="180"/>
                  <a:pt x="304" y="186"/>
                </a:cubicBezTo>
                <a:cubicBezTo>
                  <a:pt x="304" y="200"/>
                  <a:pt x="293" y="211"/>
                  <a:pt x="279" y="211"/>
                </a:cubicBezTo>
                <a:cubicBezTo>
                  <a:pt x="264" y="211"/>
                  <a:pt x="264" y="211"/>
                  <a:pt x="264" y="211"/>
                </a:cubicBezTo>
                <a:cubicBezTo>
                  <a:pt x="264" y="211"/>
                  <a:pt x="264" y="211"/>
                  <a:pt x="264" y="211"/>
                </a:cubicBezTo>
                <a:cubicBezTo>
                  <a:pt x="242" y="211"/>
                  <a:pt x="242" y="211"/>
                  <a:pt x="242" y="211"/>
                </a:cubicBezTo>
                <a:cubicBezTo>
                  <a:pt x="239" y="211"/>
                  <a:pt x="237" y="213"/>
                  <a:pt x="237" y="215"/>
                </a:cubicBezTo>
                <a:cubicBezTo>
                  <a:pt x="237" y="218"/>
                  <a:pt x="239" y="220"/>
                  <a:pt x="242" y="220"/>
                </a:cubicBezTo>
                <a:cubicBezTo>
                  <a:pt x="262" y="220"/>
                  <a:pt x="262" y="220"/>
                  <a:pt x="262" y="220"/>
                </a:cubicBezTo>
                <a:cubicBezTo>
                  <a:pt x="265" y="225"/>
                  <a:pt x="268" y="230"/>
                  <a:pt x="268" y="236"/>
                </a:cubicBezTo>
                <a:cubicBezTo>
                  <a:pt x="268" y="250"/>
                  <a:pt x="257" y="261"/>
                  <a:pt x="243" y="261"/>
                </a:cubicBezTo>
                <a:cubicBezTo>
                  <a:pt x="135" y="261"/>
                  <a:pt x="135" y="261"/>
                  <a:pt x="135" y="261"/>
                </a:cubicBezTo>
                <a:cubicBezTo>
                  <a:pt x="66" y="261"/>
                  <a:pt x="10" y="205"/>
                  <a:pt x="10" y="135"/>
                </a:cubicBezTo>
                <a:cubicBezTo>
                  <a:pt x="10" y="66"/>
                  <a:pt x="66" y="9"/>
                  <a:pt x="135" y="9"/>
                </a:cubicBezTo>
                <a:cubicBezTo>
                  <a:pt x="253" y="9"/>
                  <a:pt x="253" y="9"/>
                  <a:pt x="253" y="9"/>
                </a:cubicBezTo>
                <a:cubicBezTo>
                  <a:pt x="266" y="9"/>
                  <a:pt x="277" y="20"/>
                  <a:pt x="277" y="34"/>
                </a:cubicBezTo>
                <a:cubicBezTo>
                  <a:pt x="277" y="40"/>
                  <a:pt x="275" y="46"/>
                  <a:pt x="271" y="51"/>
                </a:cubicBezTo>
                <a:cubicBezTo>
                  <a:pt x="171" y="51"/>
                  <a:pt x="171" y="51"/>
                  <a:pt x="171" y="51"/>
                </a:cubicBezTo>
                <a:cubicBezTo>
                  <a:pt x="168" y="51"/>
                  <a:pt x="166" y="53"/>
                  <a:pt x="166" y="55"/>
                </a:cubicBezTo>
                <a:cubicBezTo>
                  <a:pt x="166" y="58"/>
                  <a:pt x="168" y="60"/>
                  <a:pt x="171" y="60"/>
                </a:cubicBezTo>
                <a:cubicBezTo>
                  <a:pt x="427" y="60"/>
                  <a:pt x="427" y="60"/>
                  <a:pt x="427" y="60"/>
                </a:cubicBezTo>
                <a:cubicBezTo>
                  <a:pt x="440" y="60"/>
                  <a:pt x="451" y="71"/>
                  <a:pt x="451" y="85"/>
                </a:cubicBezTo>
                <a:cubicBezTo>
                  <a:pt x="451" y="98"/>
                  <a:pt x="440" y="109"/>
                  <a:pt x="427" y="10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78" name="Oval 11"/>
          <p:cNvSpPr>
            <a:spLocks noChangeArrowheads="1"/>
          </p:cNvSpPr>
          <p:nvPr/>
        </p:nvSpPr>
        <p:spPr bwMode="auto">
          <a:xfrm>
            <a:off x="6137845" y="31167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16" name="Freeform 47"/>
          <p:cNvSpPr>
            <a:spLocks noEditPoints="1"/>
          </p:cNvSpPr>
          <p:nvPr/>
        </p:nvSpPr>
        <p:spPr bwMode="auto">
          <a:xfrm>
            <a:off x="6410047" y="3293699"/>
            <a:ext cx="313253" cy="531698"/>
          </a:xfrm>
          <a:custGeom>
            <a:avLst/>
            <a:gdLst>
              <a:gd name="T0" fmla="*/ 237 w 271"/>
              <a:gd name="T1" fmla="*/ 184 h 461"/>
              <a:gd name="T2" fmla="*/ 221 w 271"/>
              <a:gd name="T3" fmla="*/ 188 h 461"/>
              <a:gd name="T4" fmla="*/ 221 w 271"/>
              <a:gd name="T5" fmla="*/ 182 h 461"/>
              <a:gd name="T6" fmla="*/ 187 w 271"/>
              <a:gd name="T7" fmla="*/ 148 h 461"/>
              <a:gd name="T8" fmla="*/ 171 w 271"/>
              <a:gd name="T9" fmla="*/ 152 h 461"/>
              <a:gd name="T10" fmla="*/ 171 w 271"/>
              <a:gd name="T11" fmla="*/ 146 h 461"/>
              <a:gd name="T12" fmla="*/ 137 w 271"/>
              <a:gd name="T13" fmla="*/ 112 h 461"/>
              <a:gd name="T14" fmla="*/ 119 w 271"/>
              <a:gd name="T15" fmla="*/ 117 h 461"/>
              <a:gd name="T16" fmla="*/ 119 w 271"/>
              <a:gd name="T17" fmla="*/ 34 h 461"/>
              <a:gd name="T18" fmla="*/ 85 w 271"/>
              <a:gd name="T19" fmla="*/ 0 h 461"/>
              <a:gd name="T20" fmla="*/ 51 w 271"/>
              <a:gd name="T21" fmla="*/ 34 h 461"/>
              <a:gd name="T22" fmla="*/ 51 w 271"/>
              <a:gd name="T23" fmla="*/ 178 h 461"/>
              <a:gd name="T24" fmla="*/ 34 w 271"/>
              <a:gd name="T25" fmla="*/ 174 h 461"/>
              <a:gd name="T26" fmla="*/ 0 w 271"/>
              <a:gd name="T27" fmla="*/ 208 h 461"/>
              <a:gd name="T28" fmla="*/ 0 w 271"/>
              <a:gd name="T29" fmla="*/ 325 h 461"/>
              <a:gd name="T30" fmla="*/ 136 w 271"/>
              <a:gd name="T31" fmla="*/ 461 h 461"/>
              <a:gd name="T32" fmla="*/ 271 w 271"/>
              <a:gd name="T33" fmla="*/ 325 h 461"/>
              <a:gd name="T34" fmla="*/ 271 w 271"/>
              <a:gd name="T35" fmla="*/ 218 h 461"/>
              <a:gd name="T36" fmla="*/ 237 w 271"/>
              <a:gd name="T37" fmla="*/ 184 h 461"/>
              <a:gd name="T38" fmla="*/ 262 w 271"/>
              <a:gd name="T39" fmla="*/ 325 h 461"/>
              <a:gd name="T40" fmla="*/ 136 w 271"/>
              <a:gd name="T41" fmla="*/ 451 h 461"/>
              <a:gd name="T42" fmla="*/ 10 w 271"/>
              <a:gd name="T43" fmla="*/ 325 h 461"/>
              <a:gd name="T44" fmla="*/ 10 w 271"/>
              <a:gd name="T45" fmla="*/ 208 h 461"/>
              <a:gd name="T46" fmla="*/ 34 w 271"/>
              <a:gd name="T47" fmla="*/ 183 h 461"/>
              <a:gd name="T48" fmla="*/ 51 w 271"/>
              <a:gd name="T49" fmla="*/ 190 h 461"/>
              <a:gd name="T50" fmla="*/ 51 w 271"/>
              <a:gd name="T51" fmla="*/ 290 h 461"/>
              <a:gd name="T52" fmla="*/ 56 w 271"/>
              <a:gd name="T53" fmla="*/ 295 h 461"/>
              <a:gd name="T54" fmla="*/ 60 w 271"/>
              <a:gd name="T55" fmla="*/ 290 h 461"/>
              <a:gd name="T56" fmla="*/ 60 w 271"/>
              <a:gd name="T57" fmla="*/ 34 h 461"/>
              <a:gd name="T58" fmla="*/ 85 w 271"/>
              <a:gd name="T59" fmla="*/ 9 h 461"/>
              <a:gd name="T60" fmla="*/ 110 w 271"/>
              <a:gd name="T61" fmla="*/ 34 h 461"/>
              <a:gd name="T62" fmla="*/ 110 w 271"/>
              <a:gd name="T63" fmla="*/ 187 h 461"/>
              <a:gd name="T64" fmla="*/ 115 w 271"/>
              <a:gd name="T65" fmla="*/ 191 h 461"/>
              <a:gd name="T66" fmla="*/ 119 w 271"/>
              <a:gd name="T67" fmla="*/ 187 h 461"/>
              <a:gd name="T68" fmla="*/ 119 w 271"/>
              <a:gd name="T69" fmla="*/ 128 h 461"/>
              <a:gd name="T70" fmla="*/ 137 w 271"/>
              <a:gd name="T71" fmla="*/ 121 h 461"/>
              <a:gd name="T72" fmla="*/ 162 w 271"/>
              <a:gd name="T73" fmla="*/ 146 h 461"/>
              <a:gd name="T74" fmla="*/ 162 w 271"/>
              <a:gd name="T75" fmla="*/ 160 h 461"/>
              <a:gd name="T76" fmla="*/ 162 w 271"/>
              <a:gd name="T77" fmla="*/ 161 h 461"/>
              <a:gd name="T78" fmla="*/ 162 w 271"/>
              <a:gd name="T79" fmla="*/ 202 h 461"/>
              <a:gd name="T80" fmla="*/ 166 w 271"/>
              <a:gd name="T81" fmla="*/ 207 h 461"/>
              <a:gd name="T82" fmla="*/ 171 w 271"/>
              <a:gd name="T83" fmla="*/ 202 h 461"/>
              <a:gd name="T84" fmla="*/ 171 w 271"/>
              <a:gd name="T85" fmla="*/ 163 h 461"/>
              <a:gd name="T86" fmla="*/ 187 w 271"/>
              <a:gd name="T87" fmla="*/ 157 h 461"/>
              <a:gd name="T88" fmla="*/ 211 w 271"/>
              <a:gd name="T89" fmla="*/ 182 h 461"/>
              <a:gd name="T90" fmla="*/ 211 w 271"/>
              <a:gd name="T91" fmla="*/ 197 h 461"/>
              <a:gd name="T92" fmla="*/ 211 w 271"/>
              <a:gd name="T93" fmla="*/ 197 h 461"/>
              <a:gd name="T94" fmla="*/ 211 w 271"/>
              <a:gd name="T95" fmla="*/ 219 h 461"/>
              <a:gd name="T96" fmla="*/ 216 w 271"/>
              <a:gd name="T97" fmla="*/ 224 h 461"/>
              <a:gd name="T98" fmla="*/ 221 w 271"/>
              <a:gd name="T99" fmla="*/ 219 h 461"/>
              <a:gd name="T100" fmla="*/ 221 w 271"/>
              <a:gd name="T101" fmla="*/ 199 h 461"/>
              <a:gd name="T102" fmla="*/ 237 w 271"/>
              <a:gd name="T103" fmla="*/ 193 h 461"/>
              <a:gd name="T104" fmla="*/ 262 w 271"/>
              <a:gd name="T105" fmla="*/ 218 h 461"/>
              <a:gd name="T106" fmla="*/ 262 w 271"/>
              <a:gd name="T107" fmla="*/ 325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1" h="461">
                <a:moveTo>
                  <a:pt x="237" y="184"/>
                </a:moveTo>
                <a:cubicBezTo>
                  <a:pt x="231" y="184"/>
                  <a:pt x="226" y="185"/>
                  <a:pt x="221" y="188"/>
                </a:cubicBezTo>
                <a:cubicBezTo>
                  <a:pt x="221" y="182"/>
                  <a:pt x="221" y="182"/>
                  <a:pt x="221" y="182"/>
                </a:cubicBezTo>
                <a:cubicBezTo>
                  <a:pt x="221" y="163"/>
                  <a:pt x="205" y="148"/>
                  <a:pt x="187" y="148"/>
                </a:cubicBezTo>
                <a:cubicBezTo>
                  <a:pt x="181" y="148"/>
                  <a:pt x="176" y="149"/>
                  <a:pt x="171" y="152"/>
                </a:cubicBezTo>
                <a:cubicBezTo>
                  <a:pt x="171" y="146"/>
                  <a:pt x="171" y="146"/>
                  <a:pt x="171" y="146"/>
                </a:cubicBezTo>
                <a:cubicBezTo>
                  <a:pt x="171" y="127"/>
                  <a:pt x="156" y="112"/>
                  <a:pt x="137" y="112"/>
                </a:cubicBezTo>
                <a:cubicBezTo>
                  <a:pt x="131" y="112"/>
                  <a:pt x="125" y="113"/>
                  <a:pt x="119" y="117"/>
                </a:cubicBezTo>
                <a:cubicBezTo>
                  <a:pt x="119" y="34"/>
                  <a:pt x="119" y="34"/>
                  <a:pt x="119" y="34"/>
                </a:cubicBezTo>
                <a:cubicBezTo>
                  <a:pt x="119" y="15"/>
                  <a:pt x="104" y="0"/>
                  <a:pt x="85" y="0"/>
                </a:cubicBezTo>
                <a:cubicBezTo>
                  <a:pt x="66" y="0"/>
                  <a:pt x="51" y="15"/>
                  <a:pt x="51" y="34"/>
                </a:cubicBezTo>
                <a:cubicBezTo>
                  <a:pt x="51" y="178"/>
                  <a:pt x="51" y="178"/>
                  <a:pt x="51" y="178"/>
                </a:cubicBezTo>
                <a:cubicBezTo>
                  <a:pt x="46" y="176"/>
                  <a:pt x="40" y="174"/>
                  <a:pt x="34" y="174"/>
                </a:cubicBezTo>
                <a:cubicBezTo>
                  <a:pt x="16" y="174"/>
                  <a:pt x="0" y="189"/>
                  <a:pt x="0" y="208"/>
                </a:cubicBezTo>
                <a:cubicBezTo>
                  <a:pt x="0" y="325"/>
                  <a:pt x="0" y="325"/>
                  <a:pt x="0" y="325"/>
                </a:cubicBezTo>
                <a:cubicBezTo>
                  <a:pt x="0" y="400"/>
                  <a:pt x="61" y="461"/>
                  <a:pt x="136" y="461"/>
                </a:cubicBezTo>
                <a:cubicBezTo>
                  <a:pt x="210" y="461"/>
                  <a:pt x="271" y="400"/>
                  <a:pt x="271" y="325"/>
                </a:cubicBezTo>
                <a:cubicBezTo>
                  <a:pt x="271" y="218"/>
                  <a:pt x="271" y="218"/>
                  <a:pt x="271" y="218"/>
                </a:cubicBezTo>
                <a:cubicBezTo>
                  <a:pt x="271" y="199"/>
                  <a:pt x="256" y="184"/>
                  <a:pt x="237" y="184"/>
                </a:cubicBezTo>
                <a:close/>
                <a:moveTo>
                  <a:pt x="262" y="325"/>
                </a:moveTo>
                <a:cubicBezTo>
                  <a:pt x="262" y="395"/>
                  <a:pt x="205" y="451"/>
                  <a:pt x="136" y="451"/>
                </a:cubicBezTo>
                <a:cubicBezTo>
                  <a:pt x="66" y="451"/>
                  <a:pt x="10" y="395"/>
                  <a:pt x="10" y="325"/>
                </a:cubicBezTo>
                <a:cubicBezTo>
                  <a:pt x="10" y="208"/>
                  <a:pt x="10" y="208"/>
                  <a:pt x="10" y="208"/>
                </a:cubicBezTo>
                <a:cubicBezTo>
                  <a:pt x="10" y="195"/>
                  <a:pt x="21" y="183"/>
                  <a:pt x="34" y="183"/>
                </a:cubicBezTo>
                <a:cubicBezTo>
                  <a:pt x="41" y="183"/>
                  <a:pt x="47" y="186"/>
                  <a:pt x="51" y="190"/>
                </a:cubicBezTo>
                <a:cubicBezTo>
                  <a:pt x="51" y="290"/>
                  <a:pt x="51" y="290"/>
                  <a:pt x="51" y="290"/>
                </a:cubicBezTo>
                <a:cubicBezTo>
                  <a:pt x="51" y="292"/>
                  <a:pt x="53" y="295"/>
                  <a:pt x="56" y="295"/>
                </a:cubicBezTo>
                <a:cubicBezTo>
                  <a:pt x="58" y="295"/>
                  <a:pt x="60" y="292"/>
                  <a:pt x="60" y="290"/>
                </a:cubicBezTo>
                <a:cubicBezTo>
                  <a:pt x="60" y="34"/>
                  <a:pt x="60" y="34"/>
                  <a:pt x="60" y="34"/>
                </a:cubicBezTo>
                <a:cubicBezTo>
                  <a:pt x="60" y="20"/>
                  <a:pt x="72" y="9"/>
                  <a:pt x="85" y="9"/>
                </a:cubicBezTo>
                <a:cubicBezTo>
                  <a:pt x="99" y="9"/>
                  <a:pt x="110" y="20"/>
                  <a:pt x="110" y="34"/>
                </a:cubicBezTo>
                <a:cubicBezTo>
                  <a:pt x="110" y="187"/>
                  <a:pt x="110" y="187"/>
                  <a:pt x="110" y="187"/>
                </a:cubicBezTo>
                <a:cubicBezTo>
                  <a:pt x="110" y="189"/>
                  <a:pt x="112" y="191"/>
                  <a:pt x="115" y="191"/>
                </a:cubicBezTo>
                <a:cubicBezTo>
                  <a:pt x="117" y="191"/>
                  <a:pt x="119" y="189"/>
                  <a:pt x="119" y="187"/>
                </a:cubicBezTo>
                <a:cubicBezTo>
                  <a:pt x="119" y="128"/>
                  <a:pt x="119" y="128"/>
                  <a:pt x="119" y="128"/>
                </a:cubicBezTo>
                <a:cubicBezTo>
                  <a:pt x="124" y="124"/>
                  <a:pt x="130" y="121"/>
                  <a:pt x="137" y="121"/>
                </a:cubicBezTo>
                <a:cubicBezTo>
                  <a:pt x="150" y="121"/>
                  <a:pt x="162" y="132"/>
                  <a:pt x="162" y="146"/>
                </a:cubicBezTo>
                <a:cubicBezTo>
                  <a:pt x="162" y="160"/>
                  <a:pt x="162" y="160"/>
                  <a:pt x="162" y="160"/>
                </a:cubicBezTo>
                <a:cubicBezTo>
                  <a:pt x="162" y="160"/>
                  <a:pt x="162" y="161"/>
                  <a:pt x="162" y="161"/>
                </a:cubicBezTo>
                <a:cubicBezTo>
                  <a:pt x="162" y="202"/>
                  <a:pt x="162" y="202"/>
                  <a:pt x="162" y="202"/>
                </a:cubicBezTo>
                <a:cubicBezTo>
                  <a:pt x="162" y="205"/>
                  <a:pt x="164" y="207"/>
                  <a:pt x="166" y="207"/>
                </a:cubicBezTo>
                <a:cubicBezTo>
                  <a:pt x="169" y="207"/>
                  <a:pt x="171" y="205"/>
                  <a:pt x="171" y="202"/>
                </a:cubicBezTo>
                <a:cubicBezTo>
                  <a:pt x="171" y="163"/>
                  <a:pt x="171" y="163"/>
                  <a:pt x="171" y="163"/>
                </a:cubicBezTo>
                <a:cubicBezTo>
                  <a:pt x="175" y="159"/>
                  <a:pt x="181" y="157"/>
                  <a:pt x="187" y="157"/>
                </a:cubicBezTo>
                <a:cubicBezTo>
                  <a:pt x="200" y="157"/>
                  <a:pt x="211" y="168"/>
                  <a:pt x="211" y="182"/>
                </a:cubicBezTo>
                <a:cubicBezTo>
                  <a:pt x="211" y="197"/>
                  <a:pt x="211" y="197"/>
                  <a:pt x="211" y="197"/>
                </a:cubicBezTo>
                <a:cubicBezTo>
                  <a:pt x="211" y="197"/>
                  <a:pt x="211" y="197"/>
                  <a:pt x="211" y="197"/>
                </a:cubicBezTo>
                <a:cubicBezTo>
                  <a:pt x="211" y="219"/>
                  <a:pt x="211" y="219"/>
                  <a:pt x="211" y="219"/>
                </a:cubicBezTo>
                <a:cubicBezTo>
                  <a:pt x="211" y="221"/>
                  <a:pt x="213" y="224"/>
                  <a:pt x="216" y="224"/>
                </a:cubicBezTo>
                <a:cubicBezTo>
                  <a:pt x="219" y="224"/>
                  <a:pt x="221" y="221"/>
                  <a:pt x="221" y="219"/>
                </a:cubicBezTo>
                <a:cubicBezTo>
                  <a:pt x="221" y="199"/>
                  <a:pt x="221" y="199"/>
                  <a:pt x="221" y="199"/>
                </a:cubicBezTo>
                <a:cubicBezTo>
                  <a:pt x="225" y="195"/>
                  <a:pt x="231" y="193"/>
                  <a:pt x="237" y="193"/>
                </a:cubicBezTo>
                <a:cubicBezTo>
                  <a:pt x="250" y="193"/>
                  <a:pt x="262" y="204"/>
                  <a:pt x="262" y="218"/>
                </a:cubicBezTo>
                <a:lnTo>
                  <a:pt x="262" y="3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8" name="Title 32">
            <a:extLst>
              <a:ext uri="{FF2B5EF4-FFF2-40B4-BE49-F238E27FC236}">
                <a16:creationId xmlns:a16="http://schemas.microsoft.com/office/drawing/2014/main" id="{DCA87703-3622-491A-A695-79A6CF939E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9549"/>
            <a:ext cx="8686800" cy="682625"/>
          </a:xfrm>
        </p:spPr>
        <p:txBody>
          <a:bodyPr/>
          <a:lstStyle/>
          <a:p>
            <a:r>
              <a:rPr lang="en-US" dirty="0"/>
              <a:t>People icons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EF26F2B-F555-4FFE-8FE4-AD464EDA4A1A}"/>
              </a:ext>
            </a:extLst>
          </p:cNvPr>
          <p:cNvGrpSpPr/>
          <p:nvPr/>
        </p:nvGrpSpPr>
        <p:grpSpPr>
          <a:xfrm>
            <a:off x="3552358" y="4084511"/>
            <a:ext cx="822960" cy="822960"/>
            <a:chOff x="12077700" y="6272213"/>
            <a:chExt cx="2678113" cy="2673350"/>
          </a:xfrm>
        </p:grpSpPr>
        <p:sp>
          <p:nvSpPr>
            <p:cNvPr id="40" name="Oval 27">
              <a:extLst>
                <a:ext uri="{FF2B5EF4-FFF2-40B4-BE49-F238E27FC236}">
                  <a16:creationId xmlns:a16="http://schemas.microsoft.com/office/drawing/2014/main" id="{AB227AF5-AAE0-4827-A81D-6B1A697D02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77700" y="6272213"/>
              <a:ext cx="2678113" cy="26733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1" name="Freeform 48">
              <a:extLst>
                <a:ext uri="{FF2B5EF4-FFF2-40B4-BE49-F238E27FC236}">
                  <a16:creationId xmlns:a16="http://schemas.microsoft.com/office/drawing/2014/main" id="{F7B25598-D3CC-464B-87A3-4558681C86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55588" y="6691313"/>
              <a:ext cx="996950" cy="1833563"/>
            </a:xfrm>
            <a:custGeom>
              <a:avLst/>
              <a:gdLst>
                <a:gd name="T0" fmla="*/ 169 w 266"/>
                <a:gd name="T1" fmla="*/ 47 h 489"/>
                <a:gd name="T2" fmla="*/ 77 w 266"/>
                <a:gd name="T3" fmla="*/ 47 h 489"/>
                <a:gd name="T4" fmla="*/ 123 w 266"/>
                <a:gd name="T5" fmla="*/ 10 h 489"/>
                <a:gd name="T6" fmla="*/ 123 w 266"/>
                <a:gd name="T7" fmla="*/ 84 h 489"/>
                <a:gd name="T8" fmla="*/ 123 w 266"/>
                <a:gd name="T9" fmla="*/ 10 h 489"/>
                <a:gd name="T10" fmla="*/ 244 w 266"/>
                <a:gd name="T11" fmla="*/ 313 h 489"/>
                <a:gd name="T12" fmla="*/ 239 w 266"/>
                <a:gd name="T13" fmla="*/ 293 h 489"/>
                <a:gd name="T14" fmla="*/ 234 w 266"/>
                <a:gd name="T15" fmla="*/ 313 h 489"/>
                <a:gd name="T16" fmla="*/ 212 w 266"/>
                <a:gd name="T17" fmla="*/ 329 h 489"/>
                <a:gd name="T18" fmla="*/ 229 w 266"/>
                <a:gd name="T19" fmla="*/ 432 h 489"/>
                <a:gd name="T20" fmla="*/ 266 w 266"/>
                <a:gd name="T21" fmla="*/ 415 h 489"/>
                <a:gd name="T22" fmla="*/ 249 w 266"/>
                <a:gd name="T23" fmla="*/ 313 h 489"/>
                <a:gd name="T24" fmla="*/ 249 w 266"/>
                <a:gd name="T25" fmla="*/ 421 h 489"/>
                <a:gd name="T26" fmla="*/ 223 w 266"/>
                <a:gd name="T27" fmla="*/ 415 h 489"/>
                <a:gd name="T28" fmla="*/ 229 w 266"/>
                <a:gd name="T29" fmla="*/ 323 h 489"/>
                <a:gd name="T30" fmla="*/ 255 w 266"/>
                <a:gd name="T31" fmla="*/ 329 h 489"/>
                <a:gd name="T32" fmla="*/ 225 w 266"/>
                <a:gd name="T33" fmla="*/ 296 h 489"/>
                <a:gd name="T34" fmla="*/ 244 w 266"/>
                <a:gd name="T35" fmla="*/ 274 h 489"/>
                <a:gd name="T36" fmla="*/ 238 w 266"/>
                <a:gd name="T37" fmla="*/ 256 h 489"/>
                <a:gd name="T38" fmla="*/ 123 w 266"/>
                <a:gd name="T39" fmla="*/ 103 h 489"/>
                <a:gd name="T40" fmla="*/ 8 w 266"/>
                <a:gd name="T41" fmla="*/ 256 h 489"/>
                <a:gd name="T42" fmla="*/ 2 w 266"/>
                <a:gd name="T43" fmla="*/ 274 h 489"/>
                <a:gd name="T44" fmla="*/ 21 w 266"/>
                <a:gd name="T45" fmla="*/ 296 h 489"/>
                <a:gd name="T46" fmla="*/ 62 w 266"/>
                <a:gd name="T47" fmla="*/ 227 h 489"/>
                <a:gd name="T48" fmla="*/ 41 w 266"/>
                <a:gd name="T49" fmla="*/ 361 h 489"/>
                <a:gd name="T50" fmla="*/ 67 w 266"/>
                <a:gd name="T51" fmla="*/ 362 h 489"/>
                <a:gd name="T52" fmla="*/ 64 w 266"/>
                <a:gd name="T53" fmla="*/ 470 h 489"/>
                <a:gd name="T54" fmla="*/ 108 w 266"/>
                <a:gd name="T55" fmla="*/ 470 h 489"/>
                <a:gd name="T56" fmla="*/ 125 w 266"/>
                <a:gd name="T57" fmla="*/ 362 h 489"/>
                <a:gd name="T58" fmla="*/ 160 w 266"/>
                <a:gd name="T59" fmla="*/ 489 h 489"/>
                <a:gd name="T60" fmla="*/ 182 w 266"/>
                <a:gd name="T61" fmla="*/ 470 h 489"/>
                <a:gd name="T62" fmla="*/ 179 w 266"/>
                <a:gd name="T63" fmla="*/ 362 h 489"/>
                <a:gd name="T64" fmla="*/ 206 w 266"/>
                <a:gd name="T65" fmla="*/ 358 h 489"/>
                <a:gd name="T66" fmla="*/ 184 w 266"/>
                <a:gd name="T67" fmla="*/ 227 h 489"/>
                <a:gd name="T68" fmla="*/ 225 w 266"/>
                <a:gd name="T69" fmla="*/ 296 h 489"/>
                <a:gd name="T70" fmla="*/ 177 w 266"/>
                <a:gd name="T71" fmla="*/ 187 h 489"/>
                <a:gd name="T72" fmla="*/ 168 w 266"/>
                <a:gd name="T73" fmla="*/ 189 h 489"/>
                <a:gd name="T74" fmla="*/ 174 w 266"/>
                <a:gd name="T75" fmla="*/ 353 h 489"/>
                <a:gd name="T76" fmla="*/ 170 w 266"/>
                <a:gd name="T77" fmla="*/ 358 h 489"/>
                <a:gd name="T78" fmla="*/ 172 w 266"/>
                <a:gd name="T79" fmla="*/ 452 h 489"/>
                <a:gd name="T80" fmla="*/ 173 w 266"/>
                <a:gd name="T81" fmla="*/ 469 h 489"/>
                <a:gd name="T82" fmla="*/ 160 w 266"/>
                <a:gd name="T83" fmla="*/ 484 h 489"/>
                <a:gd name="T84" fmla="*/ 147 w 266"/>
                <a:gd name="T85" fmla="*/ 469 h 489"/>
                <a:gd name="T86" fmla="*/ 129 w 266"/>
                <a:gd name="T87" fmla="*/ 353 h 489"/>
                <a:gd name="T88" fmla="*/ 112 w 266"/>
                <a:gd name="T89" fmla="*/ 357 h 489"/>
                <a:gd name="T90" fmla="*/ 86 w 266"/>
                <a:gd name="T91" fmla="*/ 480 h 489"/>
                <a:gd name="T92" fmla="*/ 73 w 266"/>
                <a:gd name="T93" fmla="*/ 469 h 489"/>
                <a:gd name="T94" fmla="*/ 74 w 266"/>
                <a:gd name="T95" fmla="*/ 452 h 489"/>
                <a:gd name="T96" fmla="*/ 76 w 266"/>
                <a:gd name="T97" fmla="*/ 358 h 489"/>
                <a:gd name="T98" fmla="*/ 72 w 266"/>
                <a:gd name="T99" fmla="*/ 353 h 489"/>
                <a:gd name="T100" fmla="*/ 77 w 266"/>
                <a:gd name="T101" fmla="*/ 189 h 489"/>
                <a:gd name="T102" fmla="*/ 68 w 266"/>
                <a:gd name="T103" fmla="*/ 187 h 489"/>
                <a:gd name="T104" fmla="*/ 21 w 266"/>
                <a:gd name="T105" fmla="*/ 286 h 489"/>
                <a:gd name="T106" fmla="*/ 11 w 266"/>
                <a:gd name="T107" fmla="*/ 276 h 489"/>
                <a:gd name="T108" fmla="*/ 13 w 266"/>
                <a:gd name="T109" fmla="*/ 272 h 489"/>
                <a:gd name="T110" fmla="*/ 59 w 266"/>
                <a:gd name="T111" fmla="*/ 137 h 489"/>
                <a:gd name="T112" fmla="*/ 187 w 266"/>
                <a:gd name="T113" fmla="*/ 137 h 489"/>
                <a:gd name="T114" fmla="*/ 233 w 266"/>
                <a:gd name="T115" fmla="*/ 272 h 489"/>
                <a:gd name="T116" fmla="*/ 234 w 266"/>
                <a:gd name="T117" fmla="*/ 276 h 489"/>
                <a:gd name="T118" fmla="*/ 225 w 266"/>
                <a:gd name="T119" fmla="*/ 286 h 489"/>
                <a:gd name="T120" fmla="*/ 218 w 266"/>
                <a:gd name="T121" fmla="*/ 282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6" h="489">
                  <a:moveTo>
                    <a:pt x="123" y="93"/>
                  </a:moveTo>
                  <a:cubicBezTo>
                    <a:pt x="148" y="93"/>
                    <a:pt x="169" y="72"/>
                    <a:pt x="169" y="47"/>
                  </a:cubicBezTo>
                  <a:cubicBezTo>
                    <a:pt x="169" y="21"/>
                    <a:pt x="148" y="0"/>
                    <a:pt x="123" y="0"/>
                  </a:cubicBezTo>
                  <a:cubicBezTo>
                    <a:pt x="97" y="0"/>
                    <a:pt x="77" y="21"/>
                    <a:pt x="77" y="47"/>
                  </a:cubicBezTo>
                  <a:cubicBezTo>
                    <a:pt x="77" y="72"/>
                    <a:pt x="97" y="93"/>
                    <a:pt x="123" y="93"/>
                  </a:cubicBezTo>
                  <a:close/>
                  <a:moveTo>
                    <a:pt x="123" y="10"/>
                  </a:moveTo>
                  <a:cubicBezTo>
                    <a:pt x="143" y="10"/>
                    <a:pt x="160" y="26"/>
                    <a:pt x="160" y="47"/>
                  </a:cubicBezTo>
                  <a:cubicBezTo>
                    <a:pt x="160" y="67"/>
                    <a:pt x="143" y="84"/>
                    <a:pt x="123" y="84"/>
                  </a:cubicBezTo>
                  <a:cubicBezTo>
                    <a:pt x="103" y="84"/>
                    <a:pt x="86" y="67"/>
                    <a:pt x="86" y="47"/>
                  </a:cubicBezTo>
                  <a:cubicBezTo>
                    <a:pt x="86" y="26"/>
                    <a:pt x="103" y="10"/>
                    <a:pt x="123" y="10"/>
                  </a:cubicBezTo>
                  <a:close/>
                  <a:moveTo>
                    <a:pt x="249" y="313"/>
                  </a:moveTo>
                  <a:cubicBezTo>
                    <a:pt x="244" y="313"/>
                    <a:pt x="244" y="313"/>
                    <a:pt x="244" y="313"/>
                  </a:cubicBezTo>
                  <a:cubicBezTo>
                    <a:pt x="244" y="299"/>
                    <a:pt x="244" y="299"/>
                    <a:pt x="244" y="299"/>
                  </a:cubicBezTo>
                  <a:cubicBezTo>
                    <a:pt x="244" y="296"/>
                    <a:pt x="242" y="293"/>
                    <a:pt x="239" y="293"/>
                  </a:cubicBezTo>
                  <a:cubicBezTo>
                    <a:pt x="236" y="293"/>
                    <a:pt x="234" y="296"/>
                    <a:pt x="234" y="299"/>
                  </a:cubicBezTo>
                  <a:cubicBezTo>
                    <a:pt x="234" y="313"/>
                    <a:pt x="234" y="313"/>
                    <a:pt x="234" y="313"/>
                  </a:cubicBezTo>
                  <a:cubicBezTo>
                    <a:pt x="229" y="313"/>
                    <a:pt x="229" y="313"/>
                    <a:pt x="229" y="313"/>
                  </a:cubicBezTo>
                  <a:cubicBezTo>
                    <a:pt x="220" y="313"/>
                    <a:pt x="212" y="320"/>
                    <a:pt x="212" y="329"/>
                  </a:cubicBezTo>
                  <a:cubicBezTo>
                    <a:pt x="212" y="415"/>
                    <a:pt x="212" y="415"/>
                    <a:pt x="212" y="415"/>
                  </a:cubicBezTo>
                  <a:cubicBezTo>
                    <a:pt x="212" y="424"/>
                    <a:pt x="220" y="432"/>
                    <a:pt x="229" y="432"/>
                  </a:cubicBezTo>
                  <a:cubicBezTo>
                    <a:pt x="249" y="432"/>
                    <a:pt x="249" y="432"/>
                    <a:pt x="249" y="432"/>
                  </a:cubicBezTo>
                  <a:cubicBezTo>
                    <a:pt x="258" y="432"/>
                    <a:pt x="266" y="424"/>
                    <a:pt x="266" y="415"/>
                  </a:cubicBezTo>
                  <a:cubicBezTo>
                    <a:pt x="266" y="329"/>
                    <a:pt x="266" y="329"/>
                    <a:pt x="266" y="329"/>
                  </a:cubicBezTo>
                  <a:cubicBezTo>
                    <a:pt x="266" y="320"/>
                    <a:pt x="258" y="313"/>
                    <a:pt x="249" y="313"/>
                  </a:cubicBezTo>
                  <a:close/>
                  <a:moveTo>
                    <a:pt x="255" y="415"/>
                  </a:moveTo>
                  <a:cubicBezTo>
                    <a:pt x="255" y="418"/>
                    <a:pt x="252" y="421"/>
                    <a:pt x="249" y="421"/>
                  </a:cubicBezTo>
                  <a:cubicBezTo>
                    <a:pt x="229" y="421"/>
                    <a:pt x="229" y="421"/>
                    <a:pt x="229" y="421"/>
                  </a:cubicBezTo>
                  <a:cubicBezTo>
                    <a:pt x="225" y="421"/>
                    <a:pt x="223" y="418"/>
                    <a:pt x="223" y="415"/>
                  </a:cubicBezTo>
                  <a:cubicBezTo>
                    <a:pt x="223" y="329"/>
                    <a:pt x="223" y="329"/>
                    <a:pt x="223" y="329"/>
                  </a:cubicBezTo>
                  <a:cubicBezTo>
                    <a:pt x="223" y="326"/>
                    <a:pt x="225" y="323"/>
                    <a:pt x="229" y="323"/>
                  </a:cubicBezTo>
                  <a:cubicBezTo>
                    <a:pt x="249" y="323"/>
                    <a:pt x="249" y="323"/>
                    <a:pt x="249" y="323"/>
                  </a:cubicBezTo>
                  <a:cubicBezTo>
                    <a:pt x="252" y="323"/>
                    <a:pt x="255" y="326"/>
                    <a:pt x="255" y="329"/>
                  </a:cubicBezTo>
                  <a:lnTo>
                    <a:pt x="255" y="415"/>
                  </a:lnTo>
                  <a:close/>
                  <a:moveTo>
                    <a:pt x="225" y="296"/>
                  </a:moveTo>
                  <a:cubicBezTo>
                    <a:pt x="227" y="296"/>
                    <a:pt x="229" y="295"/>
                    <a:pt x="231" y="295"/>
                  </a:cubicBezTo>
                  <a:cubicBezTo>
                    <a:pt x="240" y="291"/>
                    <a:pt x="246" y="282"/>
                    <a:pt x="244" y="274"/>
                  </a:cubicBezTo>
                  <a:cubicBezTo>
                    <a:pt x="243" y="274"/>
                    <a:pt x="243" y="274"/>
                    <a:pt x="243" y="273"/>
                  </a:cubicBezTo>
                  <a:cubicBezTo>
                    <a:pt x="243" y="272"/>
                    <a:pt x="241" y="265"/>
                    <a:pt x="238" y="256"/>
                  </a:cubicBezTo>
                  <a:cubicBezTo>
                    <a:pt x="226" y="220"/>
                    <a:pt x="202" y="146"/>
                    <a:pt x="196" y="133"/>
                  </a:cubicBezTo>
                  <a:cubicBezTo>
                    <a:pt x="185" y="112"/>
                    <a:pt x="164" y="103"/>
                    <a:pt x="123" y="103"/>
                  </a:cubicBezTo>
                  <a:cubicBezTo>
                    <a:pt x="82" y="103"/>
                    <a:pt x="60" y="112"/>
                    <a:pt x="50" y="133"/>
                  </a:cubicBezTo>
                  <a:cubicBezTo>
                    <a:pt x="44" y="146"/>
                    <a:pt x="20" y="220"/>
                    <a:pt x="8" y="256"/>
                  </a:cubicBezTo>
                  <a:cubicBezTo>
                    <a:pt x="5" y="265"/>
                    <a:pt x="3" y="272"/>
                    <a:pt x="3" y="273"/>
                  </a:cubicBezTo>
                  <a:cubicBezTo>
                    <a:pt x="3" y="274"/>
                    <a:pt x="2" y="274"/>
                    <a:pt x="2" y="274"/>
                  </a:cubicBezTo>
                  <a:cubicBezTo>
                    <a:pt x="0" y="282"/>
                    <a:pt x="6" y="291"/>
                    <a:pt x="15" y="295"/>
                  </a:cubicBezTo>
                  <a:cubicBezTo>
                    <a:pt x="17" y="295"/>
                    <a:pt x="19" y="296"/>
                    <a:pt x="21" y="296"/>
                  </a:cubicBezTo>
                  <a:cubicBezTo>
                    <a:pt x="28" y="296"/>
                    <a:pt x="34" y="292"/>
                    <a:pt x="37" y="286"/>
                  </a:cubicBezTo>
                  <a:cubicBezTo>
                    <a:pt x="62" y="227"/>
                    <a:pt x="62" y="227"/>
                    <a:pt x="62" y="227"/>
                  </a:cubicBezTo>
                  <a:cubicBezTo>
                    <a:pt x="40" y="357"/>
                    <a:pt x="40" y="357"/>
                    <a:pt x="40" y="357"/>
                  </a:cubicBezTo>
                  <a:cubicBezTo>
                    <a:pt x="40" y="358"/>
                    <a:pt x="40" y="360"/>
                    <a:pt x="41" y="361"/>
                  </a:cubicBezTo>
                  <a:cubicBezTo>
                    <a:pt x="42" y="362"/>
                    <a:pt x="43" y="362"/>
                    <a:pt x="44" y="362"/>
                  </a:cubicBezTo>
                  <a:cubicBezTo>
                    <a:pt x="67" y="362"/>
                    <a:pt x="67" y="362"/>
                    <a:pt x="67" y="362"/>
                  </a:cubicBezTo>
                  <a:cubicBezTo>
                    <a:pt x="66" y="395"/>
                    <a:pt x="64" y="466"/>
                    <a:pt x="64" y="469"/>
                  </a:cubicBezTo>
                  <a:cubicBezTo>
                    <a:pt x="64" y="470"/>
                    <a:pt x="64" y="470"/>
                    <a:pt x="64" y="470"/>
                  </a:cubicBezTo>
                  <a:cubicBezTo>
                    <a:pt x="65" y="481"/>
                    <a:pt x="74" y="489"/>
                    <a:pt x="86" y="489"/>
                  </a:cubicBezTo>
                  <a:cubicBezTo>
                    <a:pt x="98" y="489"/>
                    <a:pt x="107" y="481"/>
                    <a:pt x="108" y="470"/>
                  </a:cubicBezTo>
                  <a:cubicBezTo>
                    <a:pt x="121" y="362"/>
                    <a:pt x="121" y="362"/>
                    <a:pt x="121" y="362"/>
                  </a:cubicBezTo>
                  <a:cubicBezTo>
                    <a:pt x="125" y="362"/>
                    <a:pt x="125" y="362"/>
                    <a:pt x="125" y="362"/>
                  </a:cubicBezTo>
                  <a:cubicBezTo>
                    <a:pt x="138" y="470"/>
                    <a:pt x="138" y="470"/>
                    <a:pt x="138" y="470"/>
                  </a:cubicBezTo>
                  <a:cubicBezTo>
                    <a:pt x="139" y="481"/>
                    <a:pt x="148" y="489"/>
                    <a:pt x="160" y="489"/>
                  </a:cubicBezTo>
                  <a:cubicBezTo>
                    <a:pt x="160" y="489"/>
                    <a:pt x="160" y="489"/>
                    <a:pt x="160" y="489"/>
                  </a:cubicBezTo>
                  <a:cubicBezTo>
                    <a:pt x="171" y="489"/>
                    <a:pt x="181" y="481"/>
                    <a:pt x="182" y="470"/>
                  </a:cubicBezTo>
                  <a:cubicBezTo>
                    <a:pt x="182" y="470"/>
                    <a:pt x="182" y="470"/>
                    <a:pt x="182" y="469"/>
                  </a:cubicBezTo>
                  <a:cubicBezTo>
                    <a:pt x="182" y="466"/>
                    <a:pt x="180" y="395"/>
                    <a:pt x="179" y="362"/>
                  </a:cubicBezTo>
                  <a:cubicBezTo>
                    <a:pt x="201" y="362"/>
                    <a:pt x="201" y="362"/>
                    <a:pt x="201" y="362"/>
                  </a:cubicBezTo>
                  <a:cubicBezTo>
                    <a:pt x="204" y="362"/>
                    <a:pt x="206" y="360"/>
                    <a:pt x="206" y="358"/>
                  </a:cubicBezTo>
                  <a:cubicBezTo>
                    <a:pt x="206" y="357"/>
                    <a:pt x="206" y="357"/>
                    <a:pt x="206" y="356"/>
                  </a:cubicBezTo>
                  <a:cubicBezTo>
                    <a:pt x="184" y="227"/>
                    <a:pt x="184" y="227"/>
                    <a:pt x="184" y="227"/>
                  </a:cubicBezTo>
                  <a:cubicBezTo>
                    <a:pt x="209" y="286"/>
                    <a:pt x="209" y="286"/>
                    <a:pt x="209" y="286"/>
                  </a:cubicBezTo>
                  <a:cubicBezTo>
                    <a:pt x="212" y="292"/>
                    <a:pt x="218" y="296"/>
                    <a:pt x="225" y="296"/>
                  </a:cubicBezTo>
                  <a:close/>
                  <a:moveTo>
                    <a:pt x="218" y="282"/>
                  </a:moveTo>
                  <a:cubicBezTo>
                    <a:pt x="177" y="187"/>
                    <a:pt x="177" y="187"/>
                    <a:pt x="177" y="187"/>
                  </a:cubicBezTo>
                  <a:cubicBezTo>
                    <a:pt x="176" y="185"/>
                    <a:pt x="174" y="183"/>
                    <a:pt x="172" y="184"/>
                  </a:cubicBezTo>
                  <a:cubicBezTo>
                    <a:pt x="169" y="185"/>
                    <a:pt x="168" y="187"/>
                    <a:pt x="168" y="189"/>
                  </a:cubicBezTo>
                  <a:cubicBezTo>
                    <a:pt x="196" y="353"/>
                    <a:pt x="196" y="353"/>
                    <a:pt x="196" y="353"/>
                  </a:cubicBezTo>
                  <a:cubicBezTo>
                    <a:pt x="174" y="353"/>
                    <a:pt x="174" y="353"/>
                    <a:pt x="174" y="353"/>
                  </a:cubicBezTo>
                  <a:cubicBezTo>
                    <a:pt x="173" y="353"/>
                    <a:pt x="172" y="354"/>
                    <a:pt x="171" y="354"/>
                  </a:cubicBezTo>
                  <a:cubicBezTo>
                    <a:pt x="170" y="355"/>
                    <a:pt x="169" y="357"/>
                    <a:pt x="170" y="358"/>
                  </a:cubicBezTo>
                  <a:cubicBezTo>
                    <a:pt x="170" y="358"/>
                    <a:pt x="170" y="386"/>
                    <a:pt x="171" y="414"/>
                  </a:cubicBezTo>
                  <a:cubicBezTo>
                    <a:pt x="171" y="428"/>
                    <a:pt x="172" y="442"/>
                    <a:pt x="172" y="452"/>
                  </a:cubicBezTo>
                  <a:cubicBezTo>
                    <a:pt x="172" y="462"/>
                    <a:pt x="172" y="467"/>
                    <a:pt x="173" y="469"/>
                  </a:cubicBezTo>
                  <a:cubicBezTo>
                    <a:pt x="173" y="469"/>
                    <a:pt x="173" y="469"/>
                    <a:pt x="173" y="469"/>
                  </a:cubicBezTo>
                  <a:cubicBezTo>
                    <a:pt x="172" y="475"/>
                    <a:pt x="167" y="480"/>
                    <a:pt x="160" y="480"/>
                  </a:cubicBezTo>
                  <a:cubicBezTo>
                    <a:pt x="160" y="484"/>
                    <a:pt x="160" y="484"/>
                    <a:pt x="160" y="484"/>
                  </a:cubicBezTo>
                  <a:cubicBezTo>
                    <a:pt x="160" y="480"/>
                    <a:pt x="160" y="480"/>
                    <a:pt x="160" y="480"/>
                  </a:cubicBezTo>
                  <a:cubicBezTo>
                    <a:pt x="153" y="480"/>
                    <a:pt x="148" y="475"/>
                    <a:pt x="147" y="469"/>
                  </a:cubicBezTo>
                  <a:cubicBezTo>
                    <a:pt x="134" y="357"/>
                    <a:pt x="134" y="357"/>
                    <a:pt x="134" y="357"/>
                  </a:cubicBezTo>
                  <a:cubicBezTo>
                    <a:pt x="134" y="355"/>
                    <a:pt x="132" y="353"/>
                    <a:pt x="129" y="353"/>
                  </a:cubicBezTo>
                  <a:cubicBezTo>
                    <a:pt x="117" y="353"/>
                    <a:pt x="117" y="353"/>
                    <a:pt x="117" y="353"/>
                  </a:cubicBezTo>
                  <a:cubicBezTo>
                    <a:pt x="114" y="353"/>
                    <a:pt x="112" y="355"/>
                    <a:pt x="112" y="357"/>
                  </a:cubicBezTo>
                  <a:cubicBezTo>
                    <a:pt x="99" y="470"/>
                    <a:pt x="99" y="470"/>
                    <a:pt x="99" y="470"/>
                  </a:cubicBezTo>
                  <a:cubicBezTo>
                    <a:pt x="98" y="475"/>
                    <a:pt x="93" y="480"/>
                    <a:pt x="86" y="480"/>
                  </a:cubicBezTo>
                  <a:cubicBezTo>
                    <a:pt x="79" y="480"/>
                    <a:pt x="74" y="475"/>
                    <a:pt x="73" y="469"/>
                  </a:cubicBezTo>
                  <a:cubicBezTo>
                    <a:pt x="73" y="469"/>
                    <a:pt x="73" y="469"/>
                    <a:pt x="73" y="469"/>
                  </a:cubicBezTo>
                  <a:cubicBezTo>
                    <a:pt x="73" y="468"/>
                    <a:pt x="73" y="467"/>
                    <a:pt x="73" y="465"/>
                  </a:cubicBezTo>
                  <a:cubicBezTo>
                    <a:pt x="74" y="462"/>
                    <a:pt x="74" y="458"/>
                    <a:pt x="74" y="452"/>
                  </a:cubicBezTo>
                  <a:cubicBezTo>
                    <a:pt x="74" y="442"/>
                    <a:pt x="74" y="428"/>
                    <a:pt x="75" y="414"/>
                  </a:cubicBezTo>
                  <a:cubicBezTo>
                    <a:pt x="76" y="386"/>
                    <a:pt x="76" y="358"/>
                    <a:pt x="76" y="358"/>
                  </a:cubicBezTo>
                  <a:cubicBezTo>
                    <a:pt x="76" y="357"/>
                    <a:pt x="76" y="355"/>
                    <a:pt x="75" y="354"/>
                  </a:cubicBezTo>
                  <a:cubicBezTo>
                    <a:pt x="74" y="354"/>
                    <a:pt x="73" y="353"/>
                    <a:pt x="72" y="353"/>
                  </a:cubicBezTo>
                  <a:cubicBezTo>
                    <a:pt x="50" y="353"/>
                    <a:pt x="50" y="353"/>
                    <a:pt x="50" y="353"/>
                  </a:cubicBezTo>
                  <a:cubicBezTo>
                    <a:pt x="77" y="189"/>
                    <a:pt x="77" y="189"/>
                    <a:pt x="77" y="189"/>
                  </a:cubicBezTo>
                  <a:cubicBezTo>
                    <a:pt x="78" y="187"/>
                    <a:pt x="76" y="185"/>
                    <a:pt x="74" y="184"/>
                  </a:cubicBezTo>
                  <a:cubicBezTo>
                    <a:pt x="72" y="183"/>
                    <a:pt x="69" y="185"/>
                    <a:pt x="68" y="187"/>
                  </a:cubicBezTo>
                  <a:cubicBezTo>
                    <a:pt x="28" y="282"/>
                    <a:pt x="28" y="282"/>
                    <a:pt x="28" y="282"/>
                  </a:cubicBezTo>
                  <a:cubicBezTo>
                    <a:pt x="27" y="285"/>
                    <a:pt x="24" y="286"/>
                    <a:pt x="21" y="286"/>
                  </a:cubicBezTo>
                  <a:cubicBezTo>
                    <a:pt x="20" y="286"/>
                    <a:pt x="19" y="286"/>
                    <a:pt x="18" y="286"/>
                  </a:cubicBezTo>
                  <a:cubicBezTo>
                    <a:pt x="13" y="284"/>
                    <a:pt x="11" y="280"/>
                    <a:pt x="11" y="276"/>
                  </a:cubicBezTo>
                  <a:cubicBezTo>
                    <a:pt x="11" y="276"/>
                    <a:pt x="11" y="276"/>
                    <a:pt x="11" y="276"/>
                  </a:cubicBezTo>
                  <a:cubicBezTo>
                    <a:pt x="12" y="275"/>
                    <a:pt x="12" y="274"/>
                    <a:pt x="13" y="272"/>
                  </a:cubicBezTo>
                  <a:cubicBezTo>
                    <a:pt x="14" y="269"/>
                    <a:pt x="15" y="264"/>
                    <a:pt x="17" y="259"/>
                  </a:cubicBezTo>
                  <a:cubicBezTo>
                    <a:pt x="28" y="226"/>
                    <a:pt x="53" y="149"/>
                    <a:pt x="59" y="137"/>
                  </a:cubicBezTo>
                  <a:cubicBezTo>
                    <a:pt x="65" y="125"/>
                    <a:pt x="77" y="113"/>
                    <a:pt x="123" y="113"/>
                  </a:cubicBezTo>
                  <a:cubicBezTo>
                    <a:pt x="169" y="113"/>
                    <a:pt x="181" y="125"/>
                    <a:pt x="187" y="137"/>
                  </a:cubicBezTo>
                  <a:cubicBezTo>
                    <a:pt x="193" y="149"/>
                    <a:pt x="218" y="226"/>
                    <a:pt x="229" y="259"/>
                  </a:cubicBezTo>
                  <a:cubicBezTo>
                    <a:pt x="230" y="264"/>
                    <a:pt x="232" y="269"/>
                    <a:pt x="233" y="272"/>
                  </a:cubicBezTo>
                  <a:cubicBezTo>
                    <a:pt x="234" y="274"/>
                    <a:pt x="234" y="275"/>
                    <a:pt x="234" y="276"/>
                  </a:cubicBezTo>
                  <a:cubicBezTo>
                    <a:pt x="234" y="276"/>
                    <a:pt x="234" y="276"/>
                    <a:pt x="234" y="276"/>
                  </a:cubicBezTo>
                  <a:cubicBezTo>
                    <a:pt x="235" y="280"/>
                    <a:pt x="233" y="284"/>
                    <a:pt x="228" y="286"/>
                  </a:cubicBezTo>
                  <a:cubicBezTo>
                    <a:pt x="227" y="286"/>
                    <a:pt x="226" y="286"/>
                    <a:pt x="225" y="286"/>
                  </a:cubicBezTo>
                  <a:cubicBezTo>
                    <a:pt x="225" y="286"/>
                    <a:pt x="225" y="286"/>
                    <a:pt x="225" y="286"/>
                  </a:cubicBezTo>
                  <a:cubicBezTo>
                    <a:pt x="222" y="286"/>
                    <a:pt x="219" y="285"/>
                    <a:pt x="218" y="2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5677E30-4ACA-4639-9339-51F06D3F0B00}"/>
              </a:ext>
            </a:extLst>
          </p:cNvPr>
          <p:cNvGrpSpPr/>
          <p:nvPr/>
        </p:nvGrpSpPr>
        <p:grpSpPr>
          <a:xfrm>
            <a:off x="7430588" y="4084511"/>
            <a:ext cx="822960" cy="822960"/>
            <a:chOff x="15182850" y="6272213"/>
            <a:chExt cx="2673350" cy="2673350"/>
          </a:xfrm>
        </p:grpSpPr>
        <p:sp>
          <p:nvSpPr>
            <p:cNvPr id="43" name="Oval 26">
              <a:extLst>
                <a:ext uri="{FF2B5EF4-FFF2-40B4-BE49-F238E27FC236}">
                  <a16:creationId xmlns:a16="http://schemas.microsoft.com/office/drawing/2014/main" id="{0CB51B88-EB2C-4079-96C2-256C1EA83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82850" y="6272213"/>
              <a:ext cx="2673350" cy="26733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4" name="Freeform 49">
              <a:extLst>
                <a:ext uri="{FF2B5EF4-FFF2-40B4-BE49-F238E27FC236}">
                  <a16:creationId xmlns:a16="http://schemas.microsoft.com/office/drawing/2014/main" id="{A6EA2C51-6BE5-4780-A2CA-30DCCA40EA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55975" y="6691313"/>
              <a:ext cx="976313" cy="1833563"/>
            </a:xfrm>
            <a:custGeom>
              <a:avLst/>
              <a:gdLst>
                <a:gd name="T0" fmla="*/ 169 w 260"/>
                <a:gd name="T1" fmla="*/ 46 h 489"/>
                <a:gd name="T2" fmla="*/ 77 w 260"/>
                <a:gd name="T3" fmla="*/ 46 h 489"/>
                <a:gd name="T4" fmla="*/ 123 w 260"/>
                <a:gd name="T5" fmla="*/ 10 h 489"/>
                <a:gd name="T6" fmla="*/ 123 w 260"/>
                <a:gd name="T7" fmla="*/ 83 h 489"/>
                <a:gd name="T8" fmla="*/ 123 w 260"/>
                <a:gd name="T9" fmla="*/ 10 h 489"/>
                <a:gd name="T10" fmla="*/ 209 w 260"/>
                <a:gd name="T11" fmla="*/ 286 h 489"/>
                <a:gd name="T12" fmla="*/ 232 w 260"/>
                <a:gd name="T13" fmla="*/ 295 h 489"/>
                <a:gd name="T14" fmla="*/ 244 w 260"/>
                <a:gd name="T15" fmla="*/ 274 h 489"/>
                <a:gd name="T16" fmla="*/ 196 w 260"/>
                <a:gd name="T17" fmla="*/ 133 h 489"/>
                <a:gd name="T18" fmla="*/ 51 w 260"/>
                <a:gd name="T19" fmla="*/ 133 h 489"/>
                <a:gd name="T20" fmla="*/ 3 w 260"/>
                <a:gd name="T21" fmla="*/ 274 h 489"/>
                <a:gd name="T22" fmla="*/ 15 w 260"/>
                <a:gd name="T23" fmla="*/ 295 h 489"/>
                <a:gd name="T24" fmla="*/ 37 w 260"/>
                <a:gd name="T25" fmla="*/ 286 h 489"/>
                <a:gd name="T26" fmla="*/ 64 w 260"/>
                <a:gd name="T27" fmla="*/ 470 h 489"/>
                <a:gd name="T28" fmla="*/ 86 w 260"/>
                <a:gd name="T29" fmla="*/ 489 h 489"/>
                <a:gd name="T30" fmla="*/ 123 w 260"/>
                <a:gd name="T31" fmla="*/ 345 h 489"/>
                <a:gd name="T32" fmla="*/ 160 w 260"/>
                <a:gd name="T33" fmla="*/ 489 h 489"/>
                <a:gd name="T34" fmla="*/ 182 w 260"/>
                <a:gd name="T35" fmla="*/ 471 h 489"/>
                <a:gd name="T36" fmla="*/ 176 w 260"/>
                <a:gd name="T37" fmla="*/ 212 h 489"/>
                <a:gd name="T38" fmla="*/ 169 w 260"/>
                <a:gd name="T39" fmla="*/ 184 h 489"/>
                <a:gd name="T40" fmla="*/ 169 w 260"/>
                <a:gd name="T41" fmla="*/ 330 h 489"/>
                <a:gd name="T42" fmla="*/ 172 w 260"/>
                <a:gd name="T43" fmla="*/ 458 h 489"/>
                <a:gd name="T44" fmla="*/ 173 w 260"/>
                <a:gd name="T45" fmla="*/ 470 h 489"/>
                <a:gd name="T46" fmla="*/ 160 w 260"/>
                <a:gd name="T47" fmla="*/ 485 h 489"/>
                <a:gd name="T48" fmla="*/ 147 w 260"/>
                <a:gd name="T49" fmla="*/ 470 h 489"/>
                <a:gd name="T50" fmla="*/ 123 w 260"/>
                <a:gd name="T51" fmla="*/ 300 h 489"/>
                <a:gd name="T52" fmla="*/ 99 w 260"/>
                <a:gd name="T53" fmla="*/ 470 h 489"/>
                <a:gd name="T54" fmla="*/ 74 w 260"/>
                <a:gd name="T55" fmla="*/ 470 h 489"/>
                <a:gd name="T56" fmla="*/ 74 w 260"/>
                <a:gd name="T57" fmla="*/ 458 h 489"/>
                <a:gd name="T58" fmla="*/ 77 w 260"/>
                <a:gd name="T59" fmla="*/ 330 h 489"/>
                <a:gd name="T60" fmla="*/ 77 w 260"/>
                <a:gd name="T61" fmla="*/ 184 h 489"/>
                <a:gd name="T62" fmla="*/ 28 w 260"/>
                <a:gd name="T63" fmla="*/ 282 h 489"/>
                <a:gd name="T64" fmla="*/ 18 w 260"/>
                <a:gd name="T65" fmla="*/ 286 h 489"/>
                <a:gd name="T66" fmla="*/ 12 w 260"/>
                <a:gd name="T67" fmla="*/ 277 h 489"/>
                <a:gd name="T68" fmla="*/ 17 w 260"/>
                <a:gd name="T69" fmla="*/ 260 h 489"/>
                <a:gd name="T70" fmla="*/ 123 w 260"/>
                <a:gd name="T71" fmla="*/ 113 h 489"/>
                <a:gd name="T72" fmla="*/ 229 w 260"/>
                <a:gd name="T73" fmla="*/ 260 h 489"/>
                <a:gd name="T74" fmla="*/ 235 w 260"/>
                <a:gd name="T75" fmla="*/ 277 h 489"/>
                <a:gd name="T76" fmla="*/ 229 w 260"/>
                <a:gd name="T77" fmla="*/ 286 h 489"/>
                <a:gd name="T78" fmla="*/ 218 w 260"/>
                <a:gd name="T79" fmla="*/ 282 h 489"/>
                <a:gd name="T80" fmla="*/ 244 w 260"/>
                <a:gd name="T81" fmla="*/ 322 h 489"/>
                <a:gd name="T82" fmla="*/ 239 w 260"/>
                <a:gd name="T83" fmla="*/ 308 h 489"/>
                <a:gd name="T84" fmla="*/ 228 w 260"/>
                <a:gd name="T85" fmla="*/ 308 h 489"/>
                <a:gd name="T86" fmla="*/ 223 w 260"/>
                <a:gd name="T87" fmla="*/ 322 h 489"/>
                <a:gd name="T88" fmla="*/ 206 w 260"/>
                <a:gd name="T89" fmla="*/ 424 h 489"/>
                <a:gd name="T90" fmla="*/ 244 w 260"/>
                <a:gd name="T91" fmla="*/ 441 h 489"/>
                <a:gd name="T92" fmla="*/ 260 w 260"/>
                <a:gd name="T93" fmla="*/ 338 h 489"/>
                <a:gd name="T94" fmla="*/ 249 w 260"/>
                <a:gd name="T95" fmla="*/ 424 h 489"/>
                <a:gd name="T96" fmla="*/ 223 w 260"/>
                <a:gd name="T97" fmla="*/ 430 h 489"/>
                <a:gd name="T98" fmla="*/ 217 w 260"/>
                <a:gd name="T99" fmla="*/ 338 h 489"/>
                <a:gd name="T100" fmla="*/ 244 w 260"/>
                <a:gd name="T101" fmla="*/ 332 h 489"/>
                <a:gd name="T102" fmla="*/ 249 w 260"/>
                <a:gd name="T103" fmla="*/ 42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0" h="489">
                  <a:moveTo>
                    <a:pt x="123" y="93"/>
                  </a:moveTo>
                  <a:cubicBezTo>
                    <a:pt x="149" y="93"/>
                    <a:pt x="169" y="72"/>
                    <a:pt x="169" y="46"/>
                  </a:cubicBezTo>
                  <a:cubicBezTo>
                    <a:pt x="169" y="21"/>
                    <a:pt x="149" y="0"/>
                    <a:pt x="123" y="0"/>
                  </a:cubicBezTo>
                  <a:cubicBezTo>
                    <a:pt x="98" y="0"/>
                    <a:pt x="77" y="21"/>
                    <a:pt x="77" y="46"/>
                  </a:cubicBezTo>
                  <a:cubicBezTo>
                    <a:pt x="77" y="72"/>
                    <a:pt x="98" y="93"/>
                    <a:pt x="123" y="93"/>
                  </a:cubicBezTo>
                  <a:close/>
                  <a:moveTo>
                    <a:pt x="123" y="10"/>
                  </a:moveTo>
                  <a:cubicBezTo>
                    <a:pt x="144" y="10"/>
                    <a:pt x="160" y="26"/>
                    <a:pt x="160" y="46"/>
                  </a:cubicBezTo>
                  <a:cubicBezTo>
                    <a:pt x="160" y="67"/>
                    <a:pt x="144" y="83"/>
                    <a:pt x="123" y="83"/>
                  </a:cubicBezTo>
                  <a:cubicBezTo>
                    <a:pt x="103" y="83"/>
                    <a:pt x="86" y="67"/>
                    <a:pt x="86" y="46"/>
                  </a:cubicBezTo>
                  <a:cubicBezTo>
                    <a:pt x="86" y="26"/>
                    <a:pt x="103" y="10"/>
                    <a:pt x="123" y="10"/>
                  </a:cubicBezTo>
                  <a:close/>
                  <a:moveTo>
                    <a:pt x="176" y="212"/>
                  </a:moveTo>
                  <a:cubicBezTo>
                    <a:pt x="209" y="286"/>
                    <a:pt x="209" y="286"/>
                    <a:pt x="209" y="286"/>
                  </a:cubicBezTo>
                  <a:cubicBezTo>
                    <a:pt x="212" y="292"/>
                    <a:pt x="218" y="296"/>
                    <a:pt x="225" y="296"/>
                  </a:cubicBezTo>
                  <a:cubicBezTo>
                    <a:pt x="227" y="296"/>
                    <a:pt x="230" y="296"/>
                    <a:pt x="232" y="295"/>
                  </a:cubicBezTo>
                  <a:cubicBezTo>
                    <a:pt x="241" y="292"/>
                    <a:pt x="246" y="283"/>
                    <a:pt x="244" y="274"/>
                  </a:cubicBezTo>
                  <a:cubicBezTo>
                    <a:pt x="244" y="274"/>
                    <a:pt x="244" y="274"/>
                    <a:pt x="244" y="274"/>
                  </a:cubicBezTo>
                  <a:cubicBezTo>
                    <a:pt x="243" y="273"/>
                    <a:pt x="241" y="266"/>
                    <a:pt x="238" y="257"/>
                  </a:cubicBezTo>
                  <a:cubicBezTo>
                    <a:pt x="226" y="221"/>
                    <a:pt x="202" y="146"/>
                    <a:pt x="196" y="133"/>
                  </a:cubicBezTo>
                  <a:cubicBezTo>
                    <a:pt x="186" y="112"/>
                    <a:pt x="164" y="104"/>
                    <a:pt x="123" y="104"/>
                  </a:cubicBezTo>
                  <a:cubicBezTo>
                    <a:pt x="82" y="104"/>
                    <a:pt x="61" y="112"/>
                    <a:pt x="51" y="133"/>
                  </a:cubicBezTo>
                  <a:cubicBezTo>
                    <a:pt x="44" y="146"/>
                    <a:pt x="20" y="221"/>
                    <a:pt x="8" y="257"/>
                  </a:cubicBezTo>
                  <a:cubicBezTo>
                    <a:pt x="6" y="265"/>
                    <a:pt x="3" y="273"/>
                    <a:pt x="3" y="274"/>
                  </a:cubicBezTo>
                  <a:cubicBezTo>
                    <a:pt x="3" y="274"/>
                    <a:pt x="3" y="274"/>
                    <a:pt x="3" y="274"/>
                  </a:cubicBezTo>
                  <a:cubicBezTo>
                    <a:pt x="0" y="283"/>
                    <a:pt x="6" y="292"/>
                    <a:pt x="15" y="295"/>
                  </a:cubicBezTo>
                  <a:cubicBezTo>
                    <a:pt x="17" y="296"/>
                    <a:pt x="19" y="296"/>
                    <a:pt x="21" y="296"/>
                  </a:cubicBezTo>
                  <a:cubicBezTo>
                    <a:pt x="28" y="296"/>
                    <a:pt x="34" y="292"/>
                    <a:pt x="37" y="286"/>
                  </a:cubicBezTo>
                  <a:cubicBezTo>
                    <a:pt x="71" y="212"/>
                    <a:pt x="71" y="212"/>
                    <a:pt x="71" y="212"/>
                  </a:cubicBezTo>
                  <a:cubicBezTo>
                    <a:pt x="68" y="310"/>
                    <a:pt x="65" y="463"/>
                    <a:pt x="64" y="470"/>
                  </a:cubicBezTo>
                  <a:cubicBezTo>
                    <a:pt x="64" y="470"/>
                    <a:pt x="64" y="470"/>
                    <a:pt x="64" y="471"/>
                  </a:cubicBezTo>
                  <a:cubicBezTo>
                    <a:pt x="65" y="481"/>
                    <a:pt x="75" y="489"/>
                    <a:pt x="86" y="489"/>
                  </a:cubicBezTo>
                  <a:cubicBezTo>
                    <a:pt x="98" y="489"/>
                    <a:pt x="108" y="481"/>
                    <a:pt x="108" y="471"/>
                  </a:cubicBezTo>
                  <a:cubicBezTo>
                    <a:pt x="123" y="345"/>
                    <a:pt x="123" y="345"/>
                    <a:pt x="123" y="345"/>
                  </a:cubicBezTo>
                  <a:cubicBezTo>
                    <a:pt x="138" y="471"/>
                    <a:pt x="138" y="471"/>
                    <a:pt x="138" y="471"/>
                  </a:cubicBezTo>
                  <a:cubicBezTo>
                    <a:pt x="139" y="481"/>
                    <a:pt x="149" y="489"/>
                    <a:pt x="160" y="489"/>
                  </a:cubicBezTo>
                  <a:cubicBezTo>
                    <a:pt x="160" y="489"/>
                    <a:pt x="160" y="489"/>
                    <a:pt x="160" y="489"/>
                  </a:cubicBezTo>
                  <a:cubicBezTo>
                    <a:pt x="172" y="489"/>
                    <a:pt x="181" y="481"/>
                    <a:pt x="182" y="471"/>
                  </a:cubicBezTo>
                  <a:cubicBezTo>
                    <a:pt x="182" y="470"/>
                    <a:pt x="182" y="470"/>
                    <a:pt x="182" y="470"/>
                  </a:cubicBezTo>
                  <a:cubicBezTo>
                    <a:pt x="182" y="463"/>
                    <a:pt x="178" y="310"/>
                    <a:pt x="176" y="212"/>
                  </a:cubicBezTo>
                  <a:close/>
                  <a:moveTo>
                    <a:pt x="175" y="187"/>
                  </a:moveTo>
                  <a:cubicBezTo>
                    <a:pt x="174" y="185"/>
                    <a:pt x="172" y="184"/>
                    <a:pt x="169" y="184"/>
                  </a:cubicBezTo>
                  <a:cubicBezTo>
                    <a:pt x="167" y="185"/>
                    <a:pt x="166" y="187"/>
                    <a:pt x="166" y="189"/>
                  </a:cubicBezTo>
                  <a:cubicBezTo>
                    <a:pt x="166" y="189"/>
                    <a:pt x="167" y="259"/>
                    <a:pt x="169" y="330"/>
                  </a:cubicBezTo>
                  <a:cubicBezTo>
                    <a:pt x="170" y="365"/>
                    <a:pt x="171" y="400"/>
                    <a:pt x="172" y="426"/>
                  </a:cubicBezTo>
                  <a:cubicBezTo>
                    <a:pt x="172" y="439"/>
                    <a:pt x="172" y="450"/>
                    <a:pt x="172" y="458"/>
                  </a:cubicBezTo>
                  <a:cubicBezTo>
                    <a:pt x="173" y="464"/>
                    <a:pt x="173" y="468"/>
                    <a:pt x="173" y="470"/>
                  </a:cubicBezTo>
                  <a:cubicBezTo>
                    <a:pt x="173" y="470"/>
                    <a:pt x="173" y="470"/>
                    <a:pt x="173" y="470"/>
                  </a:cubicBezTo>
                  <a:cubicBezTo>
                    <a:pt x="172" y="475"/>
                    <a:pt x="167" y="480"/>
                    <a:pt x="160" y="480"/>
                  </a:cubicBezTo>
                  <a:cubicBezTo>
                    <a:pt x="160" y="485"/>
                    <a:pt x="160" y="485"/>
                    <a:pt x="160" y="485"/>
                  </a:cubicBezTo>
                  <a:cubicBezTo>
                    <a:pt x="160" y="480"/>
                    <a:pt x="160" y="480"/>
                    <a:pt x="160" y="480"/>
                  </a:cubicBezTo>
                  <a:cubicBezTo>
                    <a:pt x="153" y="480"/>
                    <a:pt x="148" y="476"/>
                    <a:pt x="147" y="470"/>
                  </a:cubicBezTo>
                  <a:cubicBezTo>
                    <a:pt x="128" y="305"/>
                    <a:pt x="128" y="305"/>
                    <a:pt x="128" y="305"/>
                  </a:cubicBezTo>
                  <a:cubicBezTo>
                    <a:pt x="128" y="302"/>
                    <a:pt x="126" y="300"/>
                    <a:pt x="123" y="300"/>
                  </a:cubicBezTo>
                  <a:cubicBezTo>
                    <a:pt x="121" y="300"/>
                    <a:pt x="119" y="302"/>
                    <a:pt x="119" y="305"/>
                  </a:cubicBezTo>
                  <a:cubicBezTo>
                    <a:pt x="99" y="470"/>
                    <a:pt x="99" y="470"/>
                    <a:pt x="99" y="470"/>
                  </a:cubicBezTo>
                  <a:cubicBezTo>
                    <a:pt x="99" y="476"/>
                    <a:pt x="93" y="480"/>
                    <a:pt x="86" y="480"/>
                  </a:cubicBezTo>
                  <a:cubicBezTo>
                    <a:pt x="80" y="480"/>
                    <a:pt x="74" y="475"/>
                    <a:pt x="74" y="470"/>
                  </a:cubicBezTo>
                  <a:cubicBezTo>
                    <a:pt x="74" y="469"/>
                    <a:pt x="74" y="468"/>
                    <a:pt x="74" y="467"/>
                  </a:cubicBezTo>
                  <a:cubicBezTo>
                    <a:pt x="74" y="465"/>
                    <a:pt x="74" y="462"/>
                    <a:pt x="74" y="458"/>
                  </a:cubicBezTo>
                  <a:cubicBezTo>
                    <a:pt x="74" y="451"/>
                    <a:pt x="74" y="440"/>
                    <a:pt x="75" y="426"/>
                  </a:cubicBezTo>
                  <a:cubicBezTo>
                    <a:pt x="75" y="400"/>
                    <a:pt x="76" y="365"/>
                    <a:pt x="77" y="330"/>
                  </a:cubicBezTo>
                  <a:cubicBezTo>
                    <a:pt x="79" y="259"/>
                    <a:pt x="81" y="189"/>
                    <a:pt x="81" y="189"/>
                  </a:cubicBezTo>
                  <a:cubicBezTo>
                    <a:pt x="81" y="187"/>
                    <a:pt x="79" y="185"/>
                    <a:pt x="77" y="184"/>
                  </a:cubicBezTo>
                  <a:cubicBezTo>
                    <a:pt x="75" y="184"/>
                    <a:pt x="73" y="185"/>
                    <a:pt x="72" y="187"/>
                  </a:cubicBezTo>
                  <a:cubicBezTo>
                    <a:pt x="28" y="282"/>
                    <a:pt x="28" y="282"/>
                    <a:pt x="28" y="282"/>
                  </a:cubicBezTo>
                  <a:cubicBezTo>
                    <a:pt x="27" y="285"/>
                    <a:pt x="25" y="287"/>
                    <a:pt x="21" y="287"/>
                  </a:cubicBezTo>
                  <a:cubicBezTo>
                    <a:pt x="20" y="287"/>
                    <a:pt x="19" y="286"/>
                    <a:pt x="18" y="286"/>
                  </a:cubicBezTo>
                  <a:cubicBezTo>
                    <a:pt x="14" y="285"/>
                    <a:pt x="11" y="280"/>
                    <a:pt x="12" y="277"/>
                  </a:cubicBezTo>
                  <a:cubicBezTo>
                    <a:pt x="12" y="277"/>
                    <a:pt x="12" y="277"/>
                    <a:pt x="12" y="277"/>
                  </a:cubicBezTo>
                  <a:cubicBezTo>
                    <a:pt x="12" y="276"/>
                    <a:pt x="13" y="274"/>
                    <a:pt x="13" y="272"/>
                  </a:cubicBezTo>
                  <a:cubicBezTo>
                    <a:pt x="14" y="269"/>
                    <a:pt x="16" y="265"/>
                    <a:pt x="17" y="260"/>
                  </a:cubicBezTo>
                  <a:cubicBezTo>
                    <a:pt x="28" y="227"/>
                    <a:pt x="53" y="150"/>
                    <a:pt x="59" y="137"/>
                  </a:cubicBezTo>
                  <a:cubicBezTo>
                    <a:pt x="65" y="125"/>
                    <a:pt x="77" y="113"/>
                    <a:pt x="123" y="113"/>
                  </a:cubicBezTo>
                  <a:cubicBezTo>
                    <a:pt x="169" y="113"/>
                    <a:pt x="182" y="125"/>
                    <a:pt x="187" y="137"/>
                  </a:cubicBezTo>
                  <a:cubicBezTo>
                    <a:pt x="193" y="150"/>
                    <a:pt x="218" y="227"/>
                    <a:pt x="229" y="260"/>
                  </a:cubicBezTo>
                  <a:cubicBezTo>
                    <a:pt x="231" y="265"/>
                    <a:pt x="232" y="269"/>
                    <a:pt x="233" y="272"/>
                  </a:cubicBezTo>
                  <a:cubicBezTo>
                    <a:pt x="234" y="274"/>
                    <a:pt x="234" y="276"/>
                    <a:pt x="235" y="277"/>
                  </a:cubicBezTo>
                  <a:cubicBezTo>
                    <a:pt x="235" y="277"/>
                    <a:pt x="235" y="277"/>
                    <a:pt x="235" y="277"/>
                  </a:cubicBezTo>
                  <a:cubicBezTo>
                    <a:pt x="236" y="280"/>
                    <a:pt x="233" y="285"/>
                    <a:pt x="229" y="286"/>
                  </a:cubicBezTo>
                  <a:cubicBezTo>
                    <a:pt x="227" y="286"/>
                    <a:pt x="226" y="287"/>
                    <a:pt x="225" y="287"/>
                  </a:cubicBezTo>
                  <a:cubicBezTo>
                    <a:pt x="222" y="287"/>
                    <a:pt x="219" y="285"/>
                    <a:pt x="218" y="282"/>
                  </a:cubicBezTo>
                  <a:lnTo>
                    <a:pt x="175" y="187"/>
                  </a:lnTo>
                  <a:close/>
                  <a:moveTo>
                    <a:pt x="244" y="322"/>
                  </a:moveTo>
                  <a:cubicBezTo>
                    <a:pt x="239" y="322"/>
                    <a:pt x="239" y="322"/>
                    <a:pt x="239" y="322"/>
                  </a:cubicBezTo>
                  <a:cubicBezTo>
                    <a:pt x="239" y="308"/>
                    <a:pt x="239" y="308"/>
                    <a:pt x="239" y="308"/>
                  </a:cubicBezTo>
                  <a:cubicBezTo>
                    <a:pt x="239" y="305"/>
                    <a:pt x="236" y="302"/>
                    <a:pt x="233" y="302"/>
                  </a:cubicBezTo>
                  <a:cubicBezTo>
                    <a:pt x="230" y="302"/>
                    <a:pt x="228" y="305"/>
                    <a:pt x="228" y="308"/>
                  </a:cubicBezTo>
                  <a:cubicBezTo>
                    <a:pt x="228" y="322"/>
                    <a:pt x="228" y="322"/>
                    <a:pt x="228" y="322"/>
                  </a:cubicBezTo>
                  <a:cubicBezTo>
                    <a:pt x="223" y="322"/>
                    <a:pt x="223" y="322"/>
                    <a:pt x="223" y="322"/>
                  </a:cubicBezTo>
                  <a:cubicBezTo>
                    <a:pt x="214" y="322"/>
                    <a:pt x="206" y="329"/>
                    <a:pt x="206" y="338"/>
                  </a:cubicBezTo>
                  <a:cubicBezTo>
                    <a:pt x="206" y="424"/>
                    <a:pt x="206" y="424"/>
                    <a:pt x="206" y="424"/>
                  </a:cubicBezTo>
                  <a:cubicBezTo>
                    <a:pt x="206" y="433"/>
                    <a:pt x="214" y="441"/>
                    <a:pt x="223" y="441"/>
                  </a:cubicBezTo>
                  <a:cubicBezTo>
                    <a:pt x="244" y="441"/>
                    <a:pt x="244" y="441"/>
                    <a:pt x="244" y="441"/>
                  </a:cubicBezTo>
                  <a:cubicBezTo>
                    <a:pt x="253" y="441"/>
                    <a:pt x="260" y="433"/>
                    <a:pt x="260" y="424"/>
                  </a:cubicBezTo>
                  <a:cubicBezTo>
                    <a:pt x="260" y="338"/>
                    <a:pt x="260" y="338"/>
                    <a:pt x="260" y="338"/>
                  </a:cubicBezTo>
                  <a:cubicBezTo>
                    <a:pt x="260" y="329"/>
                    <a:pt x="253" y="322"/>
                    <a:pt x="244" y="322"/>
                  </a:cubicBezTo>
                  <a:close/>
                  <a:moveTo>
                    <a:pt x="249" y="424"/>
                  </a:moveTo>
                  <a:cubicBezTo>
                    <a:pt x="249" y="427"/>
                    <a:pt x="247" y="430"/>
                    <a:pt x="244" y="430"/>
                  </a:cubicBezTo>
                  <a:cubicBezTo>
                    <a:pt x="223" y="430"/>
                    <a:pt x="223" y="430"/>
                    <a:pt x="223" y="430"/>
                  </a:cubicBezTo>
                  <a:cubicBezTo>
                    <a:pt x="220" y="430"/>
                    <a:pt x="217" y="427"/>
                    <a:pt x="217" y="424"/>
                  </a:cubicBezTo>
                  <a:cubicBezTo>
                    <a:pt x="217" y="338"/>
                    <a:pt x="217" y="338"/>
                    <a:pt x="217" y="338"/>
                  </a:cubicBezTo>
                  <a:cubicBezTo>
                    <a:pt x="217" y="335"/>
                    <a:pt x="220" y="332"/>
                    <a:pt x="223" y="332"/>
                  </a:cubicBezTo>
                  <a:cubicBezTo>
                    <a:pt x="244" y="332"/>
                    <a:pt x="244" y="332"/>
                    <a:pt x="244" y="332"/>
                  </a:cubicBezTo>
                  <a:cubicBezTo>
                    <a:pt x="247" y="332"/>
                    <a:pt x="249" y="335"/>
                    <a:pt x="249" y="338"/>
                  </a:cubicBezTo>
                  <a:lnTo>
                    <a:pt x="249" y="4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F45013D-CB0E-4C27-87F3-026D5D166F32}"/>
              </a:ext>
            </a:extLst>
          </p:cNvPr>
          <p:cNvGrpSpPr/>
          <p:nvPr/>
        </p:nvGrpSpPr>
        <p:grpSpPr>
          <a:xfrm>
            <a:off x="4845101" y="4084511"/>
            <a:ext cx="822960" cy="822960"/>
            <a:chOff x="12190413" y="9193213"/>
            <a:chExt cx="2678113" cy="2673350"/>
          </a:xfrm>
        </p:grpSpPr>
        <p:sp>
          <p:nvSpPr>
            <p:cNvPr id="46" name="Oval 29">
              <a:extLst>
                <a:ext uri="{FF2B5EF4-FFF2-40B4-BE49-F238E27FC236}">
                  <a16:creationId xmlns:a16="http://schemas.microsoft.com/office/drawing/2014/main" id="{C411151C-E419-49B1-B258-AAF432D062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90413" y="9193213"/>
              <a:ext cx="2678113" cy="26733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7" name="Freeform 50">
              <a:extLst>
                <a:ext uri="{FF2B5EF4-FFF2-40B4-BE49-F238E27FC236}">
                  <a16:creationId xmlns:a16="http://schemas.microsoft.com/office/drawing/2014/main" id="{10946051-C380-4AE0-AC8F-C97965EB4B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068300" y="9612313"/>
              <a:ext cx="922338" cy="1833563"/>
            </a:xfrm>
            <a:custGeom>
              <a:avLst/>
              <a:gdLst>
                <a:gd name="T0" fmla="*/ 238 w 246"/>
                <a:gd name="T1" fmla="*/ 256 h 489"/>
                <a:gd name="T2" fmla="*/ 50 w 246"/>
                <a:gd name="T3" fmla="*/ 133 h 489"/>
                <a:gd name="T4" fmla="*/ 2 w 246"/>
                <a:gd name="T5" fmla="*/ 274 h 489"/>
                <a:gd name="T6" fmla="*/ 37 w 246"/>
                <a:gd name="T7" fmla="*/ 286 h 489"/>
                <a:gd name="T8" fmla="*/ 41 w 246"/>
                <a:gd name="T9" fmla="*/ 360 h 489"/>
                <a:gd name="T10" fmla="*/ 64 w 246"/>
                <a:gd name="T11" fmla="*/ 469 h 489"/>
                <a:gd name="T12" fmla="*/ 108 w 246"/>
                <a:gd name="T13" fmla="*/ 470 h 489"/>
                <a:gd name="T14" fmla="*/ 138 w 246"/>
                <a:gd name="T15" fmla="*/ 470 h 489"/>
                <a:gd name="T16" fmla="*/ 182 w 246"/>
                <a:gd name="T17" fmla="*/ 470 h 489"/>
                <a:gd name="T18" fmla="*/ 202 w 246"/>
                <a:gd name="T19" fmla="*/ 362 h 489"/>
                <a:gd name="T20" fmla="*/ 184 w 246"/>
                <a:gd name="T21" fmla="*/ 227 h 489"/>
                <a:gd name="T22" fmla="*/ 225 w 246"/>
                <a:gd name="T23" fmla="*/ 295 h 489"/>
                <a:gd name="T24" fmla="*/ 228 w 246"/>
                <a:gd name="T25" fmla="*/ 285 h 489"/>
                <a:gd name="T26" fmla="*/ 218 w 246"/>
                <a:gd name="T27" fmla="*/ 282 h 489"/>
                <a:gd name="T28" fmla="*/ 169 w 246"/>
                <a:gd name="T29" fmla="*/ 189 h 489"/>
                <a:gd name="T30" fmla="*/ 171 w 246"/>
                <a:gd name="T31" fmla="*/ 354 h 489"/>
                <a:gd name="T32" fmla="*/ 172 w 246"/>
                <a:gd name="T33" fmla="*/ 452 h 489"/>
                <a:gd name="T34" fmla="*/ 160 w 246"/>
                <a:gd name="T35" fmla="*/ 479 h 489"/>
                <a:gd name="T36" fmla="*/ 147 w 246"/>
                <a:gd name="T37" fmla="*/ 469 h 489"/>
                <a:gd name="T38" fmla="*/ 117 w 246"/>
                <a:gd name="T39" fmla="*/ 353 h 489"/>
                <a:gd name="T40" fmla="*/ 86 w 246"/>
                <a:gd name="T41" fmla="*/ 479 h 489"/>
                <a:gd name="T42" fmla="*/ 74 w 246"/>
                <a:gd name="T43" fmla="*/ 465 h 489"/>
                <a:gd name="T44" fmla="*/ 76 w 246"/>
                <a:gd name="T45" fmla="*/ 358 h 489"/>
                <a:gd name="T46" fmla="*/ 50 w 246"/>
                <a:gd name="T47" fmla="*/ 353 h 489"/>
                <a:gd name="T48" fmla="*/ 69 w 246"/>
                <a:gd name="T49" fmla="*/ 187 h 489"/>
                <a:gd name="T50" fmla="*/ 18 w 246"/>
                <a:gd name="T51" fmla="*/ 285 h 489"/>
                <a:gd name="T52" fmla="*/ 13 w 246"/>
                <a:gd name="T53" fmla="*/ 272 h 489"/>
                <a:gd name="T54" fmla="*/ 123 w 246"/>
                <a:gd name="T55" fmla="*/ 112 h 489"/>
                <a:gd name="T56" fmla="*/ 233 w 246"/>
                <a:gd name="T57" fmla="*/ 272 h 489"/>
                <a:gd name="T58" fmla="*/ 228 w 246"/>
                <a:gd name="T59" fmla="*/ 285 h 489"/>
                <a:gd name="T60" fmla="*/ 139 w 246"/>
                <a:gd name="T61" fmla="*/ 153 h 489"/>
                <a:gd name="T62" fmla="*/ 115 w 246"/>
                <a:gd name="T63" fmla="*/ 142 h 489"/>
                <a:gd name="T64" fmla="*/ 98 w 246"/>
                <a:gd name="T65" fmla="*/ 153 h 489"/>
                <a:gd name="T66" fmla="*/ 111 w 246"/>
                <a:gd name="T67" fmla="*/ 216 h 489"/>
                <a:gd name="T68" fmla="*/ 128 w 246"/>
                <a:gd name="T69" fmla="*/ 205 h 489"/>
                <a:gd name="T70" fmla="*/ 156 w 246"/>
                <a:gd name="T71" fmla="*/ 142 h 489"/>
                <a:gd name="T72" fmla="*/ 100 w 246"/>
                <a:gd name="T73" fmla="*/ 142 h 489"/>
                <a:gd name="T74" fmla="*/ 102 w 246"/>
                <a:gd name="T75" fmla="*/ 145 h 489"/>
                <a:gd name="T76" fmla="*/ 123 w 246"/>
                <a:gd name="T77" fmla="*/ 213 h 489"/>
                <a:gd name="T78" fmla="*/ 144 w 246"/>
                <a:gd name="T79" fmla="*/ 145 h 489"/>
                <a:gd name="T80" fmla="*/ 146 w 246"/>
                <a:gd name="T81" fmla="*/ 142 h 489"/>
                <a:gd name="T82" fmla="*/ 169 w 246"/>
                <a:gd name="T83" fmla="*/ 46 h 489"/>
                <a:gd name="T84" fmla="*/ 123 w 246"/>
                <a:gd name="T85" fmla="*/ 93 h 489"/>
                <a:gd name="T86" fmla="*/ 123 w 246"/>
                <a:gd name="T87" fmla="*/ 83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6" h="489">
                  <a:moveTo>
                    <a:pt x="244" y="274"/>
                  </a:moveTo>
                  <a:cubicBezTo>
                    <a:pt x="244" y="274"/>
                    <a:pt x="243" y="273"/>
                    <a:pt x="243" y="273"/>
                  </a:cubicBezTo>
                  <a:cubicBezTo>
                    <a:pt x="243" y="272"/>
                    <a:pt x="241" y="265"/>
                    <a:pt x="238" y="256"/>
                  </a:cubicBezTo>
                  <a:cubicBezTo>
                    <a:pt x="226" y="220"/>
                    <a:pt x="202" y="146"/>
                    <a:pt x="196" y="133"/>
                  </a:cubicBezTo>
                  <a:cubicBezTo>
                    <a:pt x="186" y="112"/>
                    <a:pt x="164" y="103"/>
                    <a:pt x="123" y="103"/>
                  </a:cubicBezTo>
                  <a:cubicBezTo>
                    <a:pt x="82" y="103"/>
                    <a:pt x="60" y="112"/>
                    <a:pt x="50" y="133"/>
                  </a:cubicBezTo>
                  <a:cubicBezTo>
                    <a:pt x="44" y="146"/>
                    <a:pt x="20" y="220"/>
                    <a:pt x="8" y="256"/>
                  </a:cubicBezTo>
                  <a:cubicBezTo>
                    <a:pt x="5" y="265"/>
                    <a:pt x="3" y="272"/>
                    <a:pt x="3" y="273"/>
                  </a:cubicBezTo>
                  <a:cubicBezTo>
                    <a:pt x="3" y="273"/>
                    <a:pt x="3" y="274"/>
                    <a:pt x="2" y="274"/>
                  </a:cubicBezTo>
                  <a:cubicBezTo>
                    <a:pt x="0" y="282"/>
                    <a:pt x="6" y="291"/>
                    <a:pt x="15" y="294"/>
                  </a:cubicBezTo>
                  <a:cubicBezTo>
                    <a:pt x="17" y="295"/>
                    <a:pt x="19" y="295"/>
                    <a:pt x="21" y="295"/>
                  </a:cubicBezTo>
                  <a:cubicBezTo>
                    <a:pt x="28" y="295"/>
                    <a:pt x="34" y="292"/>
                    <a:pt x="37" y="286"/>
                  </a:cubicBezTo>
                  <a:cubicBezTo>
                    <a:pt x="62" y="227"/>
                    <a:pt x="62" y="227"/>
                    <a:pt x="62" y="227"/>
                  </a:cubicBezTo>
                  <a:cubicBezTo>
                    <a:pt x="40" y="357"/>
                    <a:pt x="40" y="357"/>
                    <a:pt x="40" y="357"/>
                  </a:cubicBezTo>
                  <a:cubicBezTo>
                    <a:pt x="40" y="358"/>
                    <a:pt x="40" y="359"/>
                    <a:pt x="41" y="360"/>
                  </a:cubicBezTo>
                  <a:cubicBezTo>
                    <a:pt x="42" y="361"/>
                    <a:pt x="43" y="362"/>
                    <a:pt x="45" y="362"/>
                  </a:cubicBezTo>
                  <a:cubicBezTo>
                    <a:pt x="67" y="362"/>
                    <a:pt x="67" y="362"/>
                    <a:pt x="67" y="362"/>
                  </a:cubicBezTo>
                  <a:cubicBezTo>
                    <a:pt x="66" y="395"/>
                    <a:pt x="64" y="465"/>
                    <a:pt x="64" y="469"/>
                  </a:cubicBezTo>
                  <a:cubicBezTo>
                    <a:pt x="64" y="469"/>
                    <a:pt x="64" y="470"/>
                    <a:pt x="64" y="470"/>
                  </a:cubicBezTo>
                  <a:cubicBezTo>
                    <a:pt x="65" y="480"/>
                    <a:pt x="75" y="489"/>
                    <a:pt x="86" y="489"/>
                  </a:cubicBezTo>
                  <a:cubicBezTo>
                    <a:pt x="98" y="489"/>
                    <a:pt x="107" y="480"/>
                    <a:pt x="108" y="470"/>
                  </a:cubicBezTo>
                  <a:cubicBezTo>
                    <a:pt x="121" y="362"/>
                    <a:pt x="121" y="362"/>
                    <a:pt x="121" y="362"/>
                  </a:cubicBezTo>
                  <a:cubicBezTo>
                    <a:pt x="125" y="362"/>
                    <a:pt x="125" y="362"/>
                    <a:pt x="125" y="362"/>
                  </a:cubicBezTo>
                  <a:cubicBezTo>
                    <a:pt x="138" y="470"/>
                    <a:pt x="138" y="470"/>
                    <a:pt x="138" y="470"/>
                  </a:cubicBezTo>
                  <a:cubicBezTo>
                    <a:pt x="139" y="480"/>
                    <a:pt x="148" y="489"/>
                    <a:pt x="160" y="489"/>
                  </a:cubicBezTo>
                  <a:cubicBezTo>
                    <a:pt x="160" y="489"/>
                    <a:pt x="160" y="489"/>
                    <a:pt x="160" y="489"/>
                  </a:cubicBezTo>
                  <a:cubicBezTo>
                    <a:pt x="172" y="489"/>
                    <a:pt x="181" y="480"/>
                    <a:pt x="182" y="470"/>
                  </a:cubicBezTo>
                  <a:cubicBezTo>
                    <a:pt x="182" y="470"/>
                    <a:pt x="182" y="469"/>
                    <a:pt x="182" y="469"/>
                  </a:cubicBezTo>
                  <a:cubicBezTo>
                    <a:pt x="182" y="465"/>
                    <a:pt x="180" y="395"/>
                    <a:pt x="179" y="362"/>
                  </a:cubicBezTo>
                  <a:cubicBezTo>
                    <a:pt x="202" y="362"/>
                    <a:pt x="202" y="362"/>
                    <a:pt x="202" y="362"/>
                  </a:cubicBezTo>
                  <a:cubicBezTo>
                    <a:pt x="204" y="362"/>
                    <a:pt x="206" y="360"/>
                    <a:pt x="206" y="357"/>
                  </a:cubicBezTo>
                  <a:cubicBezTo>
                    <a:pt x="206" y="357"/>
                    <a:pt x="206" y="356"/>
                    <a:pt x="206" y="356"/>
                  </a:cubicBezTo>
                  <a:cubicBezTo>
                    <a:pt x="184" y="227"/>
                    <a:pt x="184" y="227"/>
                    <a:pt x="184" y="227"/>
                  </a:cubicBezTo>
                  <a:cubicBezTo>
                    <a:pt x="209" y="286"/>
                    <a:pt x="209" y="286"/>
                    <a:pt x="209" y="286"/>
                  </a:cubicBezTo>
                  <a:cubicBezTo>
                    <a:pt x="212" y="292"/>
                    <a:pt x="218" y="295"/>
                    <a:pt x="225" y="295"/>
                  </a:cubicBezTo>
                  <a:cubicBezTo>
                    <a:pt x="225" y="295"/>
                    <a:pt x="225" y="295"/>
                    <a:pt x="225" y="295"/>
                  </a:cubicBezTo>
                  <a:cubicBezTo>
                    <a:pt x="227" y="295"/>
                    <a:pt x="229" y="295"/>
                    <a:pt x="231" y="294"/>
                  </a:cubicBezTo>
                  <a:cubicBezTo>
                    <a:pt x="240" y="291"/>
                    <a:pt x="246" y="282"/>
                    <a:pt x="244" y="274"/>
                  </a:cubicBezTo>
                  <a:close/>
                  <a:moveTo>
                    <a:pt x="228" y="285"/>
                  </a:moveTo>
                  <a:cubicBezTo>
                    <a:pt x="227" y="286"/>
                    <a:pt x="226" y="286"/>
                    <a:pt x="225" y="286"/>
                  </a:cubicBezTo>
                  <a:cubicBezTo>
                    <a:pt x="225" y="286"/>
                    <a:pt x="225" y="286"/>
                    <a:pt x="225" y="286"/>
                  </a:cubicBezTo>
                  <a:cubicBezTo>
                    <a:pt x="222" y="286"/>
                    <a:pt x="219" y="284"/>
                    <a:pt x="218" y="282"/>
                  </a:cubicBezTo>
                  <a:cubicBezTo>
                    <a:pt x="177" y="187"/>
                    <a:pt x="177" y="187"/>
                    <a:pt x="177" y="187"/>
                  </a:cubicBezTo>
                  <a:cubicBezTo>
                    <a:pt x="177" y="184"/>
                    <a:pt x="174" y="183"/>
                    <a:pt x="172" y="184"/>
                  </a:cubicBezTo>
                  <a:cubicBezTo>
                    <a:pt x="170" y="185"/>
                    <a:pt x="168" y="187"/>
                    <a:pt x="169" y="189"/>
                  </a:cubicBezTo>
                  <a:cubicBezTo>
                    <a:pt x="196" y="353"/>
                    <a:pt x="196" y="353"/>
                    <a:pt x="196" y="353"/>
                  </a:cubicBezTo>
                  <a:cubicBezTo>
                    <a:pt x="174" y="353"/>
                    <a:pt x="174" y="353"/>
                    <a:pt x="174" y="353"/>
                  </a:cubicBezTo>
                  <a:cubicBezTo>
                    <a:pt x="173" y="353"/>
                    <a:pt x="172" y="353"/>
                    <a:pt x="171" y="354"/>
                  </a:cubicBezTo>
                  <a:cubicBezTo>
                    <a:pt x="170" y="355"/>
                    <a:pt x="170" y="356"/>
                    <a:pt x="170" y="358"/>
                  </a:cubicBezTo>
                  <a:cubicBezTo>
                    <a:pt x="170" y="358"/>
                    <a:pt x="170" y="386"/>
                    <a:pt x="171" y="414"/>
                  </a:cubicBezTo>
                  <a:cubicBezTo>
                    <a:pt x="171" y="428"/>
                    <a:pt x="172" y="442"/>
                    <a:pt x="172" y="452"/>
                  </a:cubicBezTo>
                  <a:cubicBezTo>
                    <a:pt x="172" y="462"/>
                    <a:pt x="173" y="467"/>
                    <a:pt x="173" y="469"/>
                  </a:cubicBezTo>
                  <a:cubicBezTo>
                    <a:pt x="173" y="469"/>
                    <a:pt x="173" y="469"/>
                    <a:pt x="173" y="469"/>
                  </a:cubicBezTo>
                  <a:cubicBezTo>
                    <a:pt x="172" y="475"/>
                    <a:pt x="167" y="479"/>
                    <a:pt x="160" y="479"/>
                  </a:cubicBezTo>
                  <a:cubicBezTo>
                    <a:pt x="160" y="484"/>
                    <a:pt x="160" y="484"/>
                    <a:pt x="160" y="484"/>
                  </a:cubicBezTo>
                  <a:cubicBezTo>
                    <a:pt x="160" y="479"/>
                    <a:pt x="160" y="479"/>
                    <a:pt x="160" y="479"/>
                  </a:cubicBezTo>
                  <a:cubicBezTo>
                    <a:pt x="153" y="479"/>
                    <a:pt x="148" y="475"/>
                    <a:pt x="147" y="469"/>
                  </a:cubicBezTo>
                  <a:cubicBezTo>
                    <a:pt x="134" y="357"/>
                    <a:pt x="134" y="357"/>
                    <a:pt x="134" y="357"/>
                  </a:cubicBezTo>
                  <a:cubicBezTo>
                    <a:pt x="134" y="354"/>
                    <a:pt x="132" y="353"/>
                    <a:pt x="129" y="353"/>
                  </a:cubicBezTo>
                  <a:cubicBezTo>
                    <a:pt x="117" y="353"/>
                    <a:pt x="117" y="353"/>
                    <a:pt x="117" y="353"/>
                  </a:cubicBezTo>
                  <a:cubicBezTo>
                    <a:pt x="114" y="353"/>
                    <a:pt x="112" y="354"/>
                    <a:pt x="112" y="357"/>
                  </a:cubicBezTo>
                  <a:cubicBezTo>
                    <a:pt x="99" y="469"/>
                    <a:pt x="99" y="469"/>
                    <a:pt x="99" y="469"/>
                  </a:cubicBezTo>
                  <a:cubicBezTo>
                    <a:pt x="98" y="475"/>
                    <a:pt x="93" y="479"/>
                    <a:pt x="86" y="479"/>
                  </a:cubicBezTo>
                  <a:cubicBezTo>
                    <a:pt x="79" y="479"/>
                    <a:pt x="74" y="475"/>
                    <a:pt x="73" y="469"/>
                  </a:cubicBezTo>
                  <a:cubicBezTo>
                    <a:pt x="73" y="469"/>
                    <a:pt x="73" y="469"/>
                    <a:pt x="73" y="469"/>
                  </a:cubicBezTo>
                  <a:cubicBezTo>
                    <a:pt x="73" y="468"/>
                    <a:pt x="73" y="467"/>
                    <a:pt x="74" y="465"/>
                  </a:cubicBezTo>
                  <a:cubicBezTo>
                    <a:pt x="74" y="462"/>
                    <a:pt x="74" y="457"/>
                    <a:pt x="74" y="452"/>
                  </a:cubicBezTo>
                  <a:cubicBezTo>
                    <a:pt x="74" y="442"/>
                    <a:pt x="75" y="428"/>
                    <a:pt x="75" y="414"/>
                  </a:cubicBezTo>
                  <a:cubicBezTo>
                    <a:pt x="76" y="386"/>
                    <a:pt x="76" y="358"/>
                    <a:pt x="76" y="358"/>
                  </a:cubicBezTo>
                  <a:cubicBezTo>
                    <a:pt x="77" y="356"/>
                    <a:pt x="76" y="355"/>
                    <a:pt x="75" y="354"/>
                  </a:cubicBezTo>
                  <a:cubicBezTo>
                    <a:pt x="74" y="353"/>
                    <a:pt x="73" y="353"/>
                    <a:pt x="72" y="353"/>
                  </a:cubicBezTo>
                  <a:cubicBezTo>
                    <a:pt x="50" y="353"/>
                    <a:pt x="50" y="353"/>
                    <a:pt x="50" y="353"/>
                  </a:cubicBezTo>
                  <a:cubicBezTo>
                    <a:pt x="78" y="189"/>
                    <a:pt x="78" y="189"/>
                    <a:pt x="78" y="189"/>
                  </a:cubicBezTo>
                  <a:cubicBezTo>
                    <a:pt x="78" y="187"/>
                    <a:pt x="77" y="185"/>
                    <a:pt x="74" y="184"/>
                  </a:cubicBezTo>
                  <a:cubicBezTo>
                    <a:pt x="72" y="183"/>
                    <a:pt x="70" y="184"/>
                    <a:pt x="69" y="187"/>
                  </a:cubicBezTo>
                  <a:cubicBezTo>
                    <a:pt x="28" y="282"/>
                    <a:pt x="28" y="282"/>
                    <a:pt x="28" y="282"/>
                  </a:cubicBezTo>
                  <a:cubicBezTo>
                    <a:pt x="27" y="284"/>
                    <a:pt x="24" y="286"/>
                    <a:pt x="21" y="286"/>
                  </a:cubicBezTo>
                  <a:cubicBezTo>
                    <a:pt x="20" y="286"/>
                    <a:pt x="19" y="286"/>
                    <a:pt x="18" y="285"/>
                  </a:cubicBezTo>
                  <a:cubicBezTo>
                    <a:pt x="13" y="284"/>
                    <a:pt x="11" y="280"/>
                    <a:pt x="12" y="276"/>
                  </a:cubicBezTo>
                  <a:cubicBezTo>
                    <a:pt x="12" y="276"/>
                    <a:pt x="12" y="276"/>
                    <a:pt x="12" y="276"/>
                  </a:cubicBezTo>
                  <a:cubicBezTo>
                    <a:pt x="12" y="275"/>
                    <a:pt x="12" y="273"/>
                    <a:pt x="13" y="272"/>
                  </a:cubicBezTo>
                  <a:cubicBezTo>
                    <a:pt x="14" y="269"/>
                    <a:pt x="15" y="264"/>
                    <a:pt x="17" y="259"/>
                  </a:cubicBezTo>
                  <a:cubicBezTo>
                    <a:pt x="28" y="226"/>
                    <a:pt x="53" y="149"/>
                    <a:pt x="59" y="137"/>
                  </a:cubicBezTo>
                  <a:cubicBezTo>
                    <a:pt x="65" y="125"/>
                    <a:pt x="77" y="112"/>
                    <a:pt x="123" y="112"/>
                  </a:cubicBezTo>
                  <a:cubicBezTo>
                    <a:pt x="169" y="112"/>
                    <a:pt x="181" y="125"/>
                    <a:pt x="187" y="137"/>
                  </a:cubicBezTo>
                  <a:cubicBezTo>
                    <a:pt x="193" y="149"/>
                    <a:pt x="218" y="226"/>
                    <a:pt x="229" y="259"/>
                  </a:cubicBezTo>
                  <a:cubicBezTo>
                    <a:pt x="231" y="264"/>
                    <a:pt x="232" y="269"/>
                    <a:pt x="233" y="272"/>
                  </a:cubicBezTo>
                  <a:cubicBezTo>
                    <a:pt x="234" y="273"/>
                    <a:pt x="234" y="275"/>
                    <a:pt x="235" y="276"/>
                  </a:cubicBezTo>
                  <a:cubicBezTo>
                    <a:pt x="234" y="276"/>
                    <a:pt x="234" y="276"/>
                    <a:pt x="234" y="276"/>
                  </a:cubicBezTo>
                  <a:cubicBezTo>
                    <a:pt x="235" y="280"/>
                    <a:pt x="233" y="284"/>
                    <a:pt x="228" y="285"/>
                  </a:cubicBezTo>
                  <a:close/>
                  <a:moveTo>
                    <a:pt x="144" y="130"/>
                  </a:moveTo>
                  <a:cubicBezTo>
                    <a:pt x="137" y="130"/>
                    <a:pt x="131" y="135"/>
                    <a:pt x="131" y="142"/>
                  </a:cubicBezTo>
                  <a:cubicBezTo>
                    <a:pt x="131" y="147"/>
                    <a:pt x="135" y="151"/>
                    <a:pt x="139" y="153"/>
                  </a:cubicBezTo>
                  <a:cubicBezTo>
                    <a:pt x="138" y="165"/>
                    <a:pt x="131" y="174"/>
                    <a:pt x="123" y="174"/>
                  </a:cubicBezTo>
                  <a:cubicBezTo>
                    <a:pt x="115" y="174"/>
                    <a:pt x="108" y="165"/>
                    <a:pt x="107" y="153"/>
                  </a:cubicBezTo>
                  <a:cubicBezTo>
                    <a:pt x="112" y="151"/>
                    <a:pt x="115" y="147"/>
                    <a:pt x="115" y="142"/>
                  </a:cubicBezTo>
                  <a:cubicBezTo>
                    <a:pt x="115" y="135"/>
                    <a:pt x="109" y="130"/>
                    <a:pt x="102" y="130"/>
                  </a:cubicBezTo>
                  <a:cubicBezTo>
                    <a:pt x="96" y="130"/>
                    <a:pt x="90" y="135"/>
                    <a:pt x="90" y="142"/>
                  </a:cubicBezTo>
                  <a:cubicBezTo>
                    <a:pt x="90" y="147"/>
                    <a:pt x="93" y="151"/>
                    <a:pt x="98" y="153"/>
                  </a:cubicBezTo>
                  <a:cubicBezTo>
                    <a:pt x="99" y="168"/>
                    <a:pt x="107" y="180"/>
                    <a:pt x="118" y="183"/>
                  </a:cubicBezTo>
                  <a:cubicBezTo>
                    <a:pt x="118" y="205"/>
                    <a:pt x="118" y="205"/>
                    <a:pt x="118" y="205"/>
                  </a:cubicBezTo>
                  <a:cubicBezTo>
                    <a:pt x="114" y="206"/>
                    <a:pt x="111" y="211"/>
                    <a:pt x="111" y="216"/>
                  </a:cubicBezTo>
                  <a:cubicBezTo>
                    <a:pt x="111" y="222"/>
                    <a:pt x="116" y="228"/>
                    <a:pt x="123" y="228"/>
                  </a:cubicBezTo>
                  <a:cubicBezTo>
                    <a:pt x="130" y="228"/>
                    <a:pt x="135" y="222"/>
                    <a:pt x="135" y="216"/>
                  </a:cubicBezTo>
                  <a:cubicBezTo>
                    <a:pt x="135" y="211"/>
                    <a:pt x="132" y="206"/>
                    <a:pt x="128" y="205"/>
                  </a:cubicBezTo>
                  <a:cubicBezTo>
                    <a:pt x="128" y="183"/>
                    <a:pt x="128" y="183"/>
                    <a:pt x="128" y="183"/>
                  </a:cubicBezTo>
                  <a:cubicBezTo>
                    <a:pt x="139" y="180"/>
                    <a:pt x="147" y="168"/>
                    <a:pt x="148" y="153"/>
                  </a:cubicBezTo>
                  <a:cubicBezTo>
                    <a:pt x="153" y="151"/>
                    <a:pt x="156" y="147"/>
                    <a:pt x="156" y="142"/>
                  </a:cubicBezTo>
                  <a:cubicBezTo>
                    <a:pt x="156" y="135"/>
                    <a:pt x="150" y="130"/>
                    <a:pt x="144" y="130"/>
                  </a:cubicBezTo>
                  <a:close/>
                  <a:moveTo>
                    <a:pt x="102" y="145"/>
                  </a:moveTo>
                  <a:cubicBezTo>
                    <a:pt x="101" y="145"/>
                    <a:pt x="100" y="143"/>
                    <a:pt x="100" y="142"/>
                  </a:cubicBezTo>
                  <a:cubicBezTo>
                    <a:pt x="100" y="140"/>
                    <a:pt x="101" y="139"/>
                    <a:pt x="102" y="139"/>
                  </a:cubicBezTo>
                  <a:cubicBezTo>
                    <a:pt x="104" y="139"/>
                    <a:pt x="105" y="140"/>
                    <a:pt x="105" y="142"/>
                  </a:cubicBezTo>
                  <a:cubicBezTo>
                    <a:pt x="105" y="143"/>
                    <a:pt x="104" y="145"/>
                    <a:pt x="102" y="145"/>
                  </a:cubicBezTo>
                  <a:close/>
                  <a:moveTo>
                    <a:pt x="123" y="218"/>
                  </a:moveTo>
                  <a:cubicBezTo>
                    <a:pt x="122" y="218"/>
                    <a:pt x="120" y="217"/>
                    <a:pt x="120" y="216"/>
                  </a:cubicBezTo>
                  <a:cubicBezTo>
                    <a:pt x="120" y="214"/>
                    <a:pt x="122" y="213"/>
                    <a:pt x="123" y="213"/>
                  </a:cubicBezTo>
                  <a:cubicBezTo>
                    <a:pt x="125" y="213"/>
                    <a:pt x="126" y="214"/>
                    <a:pt x="126" y="216"/>
                  </a:cubicBezTo>
                  <a:cubicBezTo>
                    <a:pt x="126" y="217"/>
                    <a:pt x="125" y="218"/>
                    <a:pt x="123" y="218"/>
                  </a:cubicBezTo>
                  <a:close/>
                  <a:moveTo>
                    <a:pt x="144" y="145"/>
                  </a:moveTo>
                  <a:cubicBezTo>
                    <a:pt x="142" y="145"/>
                    <a:pt x="141" y="143"/>
                    <a:pt x="141" y="142"/>
                  </a:cubicBezTo>
                  <a:cubicBezTo>
                    <a:pt x="141" y="140"/>
                    <a:pt x="142" y="139"/>
                    <a:pt x="144" y="139"/>
                  </a:cubicBezTo>
                  <a:cubicBezTo>
                    <a:pt x="145" y="139"/>
                    <a:pt x="146" y="140"/>
                    <a:pt x="146" y="142"/>
                  </a:cubicBezTo>
                  <a:cubicBezTo>
                    <a:pt x="146" y="143"/>
                    <a:pt x="145" y="145"/>
                    <a:pt x="144" y="145"/>
                  </a:cubicBezTo>
                  <a:close/>
                  <a:moveTo>
                    <a:pt x="123" y="93"/>
                  </a:moveTo>
                  <a:cubicBezTo>
                    <a:pt x="149" y="93"/>
                    <a:pt x="169" y="72"/>
                    <a:pt x="169" y="46"/>
                  </a:cubicBezTo>
                  <a:cubicBezTo>
                    <a:pt x="169" y="21"/>
                    <a:pt x="149" y="0"/>
                    <a:pt x="123" y="0"/>
                  </a:cubicBezTo>
                  <a:cubicBezTo>
                    <a:pt x="98" y="0"/>
                    <a:pt x="77" y="21"/>
                    <a:pt x="77" y="46"/>
                  </a:cubicBezTo>
                  <a:cubicBezTo>
                    <a:pt x="77" y="72"/>
                    <a:pt x="98" y="93"/>
                    <a:pt x="123" y="93"/>
                  </a:cubicBezTo>
                  <a:close/>
                  <a:moveTo>
                    <a:pt x="123" y="10"/>
                  </a:moveTo>
                  <a:cubicBezTo>
                    <a:pt x="143" y="10"/>
                    <a:pt x="160" y="26"/>
                    <a:pt x="160" y="46"/>
                  </a:cubicBezTo>
                  <a:cubicBezTo>
                    <a:pt x="160" y="67"/>
                    <a:pt x="143" y="83"/>
                    <a:pt x="123" y="83"/>
                  </a:cubicBezTo>
                  <a:cubicBezTo>
                    <a:pt x="103" y="83"/>
                    <a:pt x="86" y="67"/>
                    <a:pt x="86" y="46"/>
                  </a:cubicBezTo>
                  <a:cubicBezTo>
                    <a:pt x="86" y="26"/>
                    <a:pt x="103" y="10"/>
                    <a:pt x="123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CD6691-509C-4BDD-A8ED-26F51039FB8B}"/>
              </a:ext>
            </a:extLst>
          </p:cNvPr>
          <p:cNvGrpSpPr/>
          <p:nvPr/>
        </p:nvGrpSpPr>
        <p:grpSpPr>
          <a:xfrm>
            <a:off x="6137845" y="4084511"/>
            <a:ext cx="822960" cy="822960"/>
            <a:chOff x="15295563" y="9193213"/>
            <a:chExt cx="2673350" cy="2673350"/>
          </a:xfrm>
        </p:grpSpPr>
        <p:sp>
          <p:nvSpPr>
            <p:cNvPr id="49" name="Oval 28">
              <a:extLst>
                <a:ext uri="{FF2B5EF4-FFF2-40B4-BE49-F238E27FC236}">
                  <a16:creationId xmlns:a16="http://schemas.microsoft.com/office/drawing/2014/main" id="{D70BE76C-BE83-41A2-9CB0-E2F575082F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95563" y="9193213"/>
              <a:ext cx="2673350" cy="26733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D58F3106-0746-481B-802B-43E7909921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73450" y="9612313"/>
              <a:ext cx="917575" cy="1833563"/>
            </a:xfrm>
            <a:custGeom>
              <a:avLst/>
              <a:gdLst>
                <a:gd name="T0" fmla="*/ 134 w 245"/>
                <a:gd name="T1" fmla="*/ 142 h 489"/>
                <a:gd name="T2" fmla="*/ 125 w 245"/>
                <a:gd name="T3" fmla="*/ 174 h 489"/>
                <a:gd name="T4" fmla="*/ 117 w 245"/>
                <a:gd name="T5" fmla="*/ 142 h 489"/>
                <a:gd name="T6" fmla="*/ 92 w 245"/>
                <a:gd name="T7" fmla="*/ 142 h 489"/>
                <a:gd name="T8" fmla="*/ 120 w 245"/>
                <a:gd name="T9" fmla="*/ 183 h 489"/>
                <a:gd name="T10" fmla="*/ 113 w 245"/>
                <a:gd name="T11" fmla="*/ 216 h 489"/>
                <a:gd name="T12" fmla="*/ 137 w 245"/>
                <a:gd name="T13" fmla="*/ 216 h 489"/>
                <a:gd name="T14" fmla="*/ 130 w 245"/>
                <a:gd name="T15" fmla="*/ 183 h 489"/>
                <a:gd name="T16" fmla="*/ 158 w 245"/>
                <a:gd name="T17" fmla="*/ 142 h 489"/>
                <a:gd name="T18" fmla="*/ 105 w 245"/>
                <a:gd name="T19" fmla="*/ 145 h 489"/>
                <a:gd name="T20" fmla="*/ 105 w 245"/>
                <a:gd name="T21" fmla="*/ 139 h 489"/>
                <a:gd name="T22" fmla="*/ 105 w 245"/>
                <a:gd name="T23" fmla="*/ 145 h 489"/>
                <a:gd name="T24" fmla="*/ 122 w 245"/>
                <a:gd name="T25" fmla="*/ 216 h 489"/>
                <a:gd name="T26" fmla="*/ 128 w 245"/>
                <a:gd name="T27" fmla="*/ 216 h 489"/>
                <a:gd name="T28" fmla="*/ 146 w 245"/>
                <a:gd name="T29" fmla="*/ 145 h 489"/>
                <a:gd name="T30" fmla="*/ 146 w 245"/>
                <a:gd name="T31" fmla="*/ 139 h 489"/>
                <a:gd name="T32" fmla="*/ 146 w 245"/>
                <a:gd name="T33" fmla="*/ 145 h 489"/>
                <a:gd name="T34" fmla="*/ 169 w 245"/>
                <a:gd name="T35" fmla="*/ 46 h 489"/>
                <a:gd name="T36" fmla="*/ 76 w 245"/>
                <a:gd name="T37" fmla="*/ 46 h 489"/>
                <a:gd name="T38" fmla="*/ 122 w 245"/>
                <a:gd name="T39" fmla="*/ 9 h 489"/>
                <a:gd name="T40" fmla="*/ 122 w 245"/>
                <a:gd name="T41" fmla="*/ 83 h 489"/>
                <a:gd name="T42" fmla="*/ 122 w 245"/>
                <a:gd name="T43" fmla="*/ 9 h 489"/>
                <a:gd name="T44" fmla="*/ 243 w 245"/>
                <a:gd name="T45" fmla="*/ 273 h 489"/>
                <a:gd name="T46" fmla="*/ 195 w 245"/>
                <a:gd name="T47" fmla="*/ 133 h 489"/>
                <a:gd name="T48" fmla="*/ 50 w 245"/>
                <a:gd name="T49" fmla="*/ 133 h 489"/>
                <a:gd name="T50" fmla="*/ 2 w 245"/>
                <a:gd name="T51" fmla="*/ 273 h 489"/>
                <a:gd name="T52" fmla="*/ 14 w 245"/>
                <a:gd name="T53" fmla="*/ 295 h 489"/>
                <a:gd name="T54" fmla="*/ 36 w 245"/>
                <a:gd name="T55" fmla="*/ 286 h 489"/>
                <a:gd name="T56" fmla="*/ 63 w 245"/>
                <a:gd name="T57" fmla="*/ 469 h 489"/>
                <a:gd name="T58" fmla="*/ 85 w 245"/>
                <a:gd name="T59" fmla="*/ 489 h 489"/>
                <a:gd name="T60" fmla="*/ 122 w 245"/>
                <a:gd name="T61" fmla="*/ 345 h 489"/>
                <a:gd name="T62" fmla="*/ 159 w 245"/>
                <a:gd name="T63" fmla="*/ 489 h 489"/>
                <a:gd name="T64" fmla="*/ 181 w 245"/>
                <a:gd name="T65" fmla="*/ 470 h 489"/>
                <a:gd name="T66" fmla="*/ 175 w 245"/>
                <a:gd name="T67" fmla="*/ 212 h 489"/>
                <a:gd name="T68" fmla="*/ 224 w 245"/>
                <a:gd name="T69" fmla="*/ 296 h 489"/>
                <a:gd name="T70" fmla="*/ 243 w 245"/>
                <a:gd name="T71" fmla="*/ 274 h 489"/>
                <a:gd name="T72" fmla="*/ 224 w 245"/>
                <a:gd name="T73" fmla="*/ 286 h 489"/>
                <a:gd name="T74" fmla="*/ 174 w 245"/>
                <a:gd name="T75" fmla="*/ 187 h 489"/>
                <a:gd name="T76" fmla="*/ 165 w 245"/>
                <a:gd name="T77" fmla="*/ 189 h 489"/>
                <a:gd name="T78" fmla="*/ 171 w 245"/>
                <a:gd name="T79" fmla="*/ 426 h 489"/>
                <a:gd name="T80" fmla="*/ 172 w 245"/>
                <a:gd name="T81" fmla="*/ 470 h 489"/>
                <a:gd name="T82" fmla="*/ 159 w 245"/>
                <a:gd name="T83" fmla="*/ 480 h 489"/>
                <a:gd name="T84" fmla="*/ 159 w 245"/>
                <a:gd name="T85" fmla="*/ 480 h 489"/>
                <a:gd name="T86" fmla="*/ 127 w 245"/>
                <a:gd name="T87" fmla="*/ 304 h 489"/>
                <a:gd name="T88" fmla="*/ 118 w 245"/>
                <a:gd name="T89" fmla="*/ 304 h 489"/>
                <a:gd name="T90" fmla="*/ 85 w 245"/>
                <a:gd name="T91" fmla="*/ 480 h 489"/>
                <a:gd name="T92" fmla="*/ 73 w 245"/>
                <a:gd name="T93" fmla="*/ 467 h 489"/>
                <a:gd name="T94" fmla="*/ 74 w 245"/>
                <a:gd name="T95" fmla="*/ 426 h 489"/>
                <a:gd name="T96" fmla="*/ 80 w 245"/>
                <a:gd name="T97" fmla="*/ 189 h 489"/>
                <a:gd name="T98" fmla="*/ 71 w 245"/>
                <a:gd name="T99" fmla="*/ 187 h 489"/>
                <a:gd name="T100" fmla="*/ 20 w 245"/>
                <a:gd name="T101" fmla="*/ 286 h 489"/>
                <a:gd name="T102" fmla="*/ 11 w 245"/>
                <a:gd name="T103" fmla="*/ 276 h 489"/>
                <a:gd name="T104" fmla="*/ 12 w 245"/>
                <a:gd name="T105" fmla="*/ 272 h 489"/>
                <a:gd name="T106" fmla="*/ 58 w 245"/>
                <a:gd name="T107" fmla="*/ 137 h 489"/>
                <a:gd name="T108" fmla="*/ 186 w 245"/>
                <a:gd name="T109" fmla="*/ 137 h 489"/>
                <a:gd name="T110" fmla="*/ 232 w 245"/>
                <a:gd name="T111" fmla="*/ 272 h 489"/>
                <a:gd name="T112" fmla="*/ 234 w 245"/>
                <a:gd name="T113" fmla="*/ 276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5" h="489">
                  <a:moveTo>
                    <a:pt x="146" y="130"/>
                  </a:moveTo>
                  <a:cubicBezTo>
                    <a:pt x="139" y="130"/>
                    <a:pt x="134" y="135"/>
                    <a:pt x="134" y="142"/>
                  </a:cubicBezTo>
                  <a:cubicBezTo>
                    <a:pt x="134" y="147"/>
                    <a:pt x="137" y="151"/>
                    <a:pt x="141" y="153"/>
                  </a:cubicBezTo>
                  <a:cubicBezTo>
                    <a:pt x="140" y="165"/>
                    <a:pt x="133" y="174"/>
                    <a:pt x="125" y="174"/>
                  </a:cubicBezTo>
                  <a:cubicBezTo>
                    <a:pt x="117" y="174"/>
                    <a:pt x="110" y="165"/>
                    <a:pt x="109" y="153"/>
                  </a:cubicBezTo>
                  <a:cubicBezTo>
                    <a:pt x="114" y="151"/>
                    <a:pt x="117" y="147"/>
                    <a:pt x="117" y="142"/>
                  </a:cubicBezTo>
                  <a:cubicBezTo>
                    <a:pt x="117" y="135"/>
                    <a:pt x="111" y="130"/>
                    <a:pt x="105" y="130"/>
                  </a:cubicBezTo>
                  <a:cubicBezTo>
                    <a:pt x="98" y="130"/>
                    <a:pt x="92" y="135"/>
                    <a:pt x="92" y="142"/>
                  </a:cubicBezTo>
                  <a:cubicBezTo>
                    <a:pt x="92" y="147"/>
                    <a:pt x="96" y="151"/>
                    <a:pt x="100" y="153"/>
                  </a:cubicBezTo>
                  <a:cubicBezTo>
                    <a:pt x="101" y="168"/>
                    <a:pt x="109" y="180"/>
                    <a:pt x="120" y="183"/>
                  </a:cubicBezTo>
                  <a:cubicBezTo>
                    <a:pt x="120" y="205"/>
                    <a:pt x="120" y="205"/>
                    <a:pt x="120" y="205"/>
                  </a:cubicBezTo>
                  <a:cubicBezTo>
                    <a:pt x="116" y="206"/>
                    <a:pt x="113" y="211"/>
                    <a:pt x="113" y="216"/>
                  </a:cubicBezTo>
                  <a:cubicBezTo>
                    <a:pt x="113" y="222"/>
                    <a:pt x="118" y="228"/>
                    <a:pt x="125" y="228"/>
                  </a:cubicBezTo>
                  <a:cubicBezTo>
                    <a:pt x="132" y="228"/>
                    <a:pt x="137" y="222"/>
                    <a:pt x="137" y="216"/>
                  </a:cubicBezTo>
                  <a:cubicBezTo>
                    <a:pt x="137" y="211"/>
                    <a:pt x="134" y="206"/>
                    <a:pt x="130" y="205"/>
                  </a:cubicBezTo>
                  <a:cubicBezTo>
                    <a:pt x="130" y="183"/>
                    <a:pt x="130" y="183"/>
                    <a:pt x="130" y="183"/>
                  </a:cubicBezTo>
                  <a:cubicBezTo>
                    <a:pt x="141" y="180"/>
                    <a:pt x="150" y="168"/>
                    <a:pt x="150" y="153"/>
                  </a:cubicBezTo>
                  <a:cubicBezTo>
                    <a:pt x="155" y="151"/>
                    <a:pt x="158" y="147"/>
                    <a:pt x="158" y="142"/>
                  </a:cubicBezTo>
                  <a:cubicBezTo>
                    <a:pt x="158" y="135"/>
                    <a:pt x="152" y="130"/>
                    <a:pt x="146" y="130"/>
                  </a:cubicBezTo>
                  <a:close/>
                  <a:moveTo>
                    <a:pt x="105" y="145"/>
                  </a:moveTo>
                  <a:cubicBezTo>
                    <a:pt x="103" y="145"/>
                    <a:pt x="102" y="143"/>
                    <a:pt x="102" y="142"/>
                  </a:cubicBezTo>
                  <a:cubicBezTo>
                    <a:pt x="102" y="140"/>
                    <a:pt x="103" y="139"/>
                    <a:pt x="105" y="139"/>
                  </a:cubicBezTo>
                  <a:cubicBezTo>
                    <a:pt x="106" y="139"/>
                    <a:pt x="107" y="140"/>
                    <a:pt x="107" y="142"/>
                  </a:cubicBezTo>
                  <a:cubicBezTo>
                    <a:pt x="107" y="143"/>
                    <a:pt x="106" y="145"/>
                    <a:pt x="105" y="145"/>
                  </a:cubicBezTo>
                  <a:close/>
                  <a:moveTo>
                    <a:pt x="125" y="218"/>
                  </a:moveTo>
                  <a:cubicBezTo>
                    <a:pt x="124" y="218"/>
                    <a:pt x="122" y="217"/>
                    <a:pt x="122" y="216"/>
                  </a:cubicBezTo>
                  <a:cubicBezTo>
                    <a:pt x="122" y="214"/>
                    <a:pt x="124" y="213"/>
                    <a:pt x="125" y="213"/>
                  </a:cubicBezTo>
                  <a:cubicBezTo>
                    <a:pt x="127" y="213"/>
                    <a:pt x="128" y="214"/>
                    <a:pt x="128" y="216"/>
                  </a:cubicBezTo>
                  <a:cubicBezTo>
                    <a:pt x="128" y="217"/>
                    <a:pt x="127" y="218"/>
                    <a:pt x="125" y="218"/>
                  </a:cubicBezTo>
                  <a:close/>
                  <a:moveTo>
                    <a:pt x="146" y="145"/>
                  </a:moveTo>
                  <a:cubicBezTo>
                    <a:pt x="144" y="145"/>
                    <a:pt x="143" y="143"/>
                    <a:pt x="143" y="142"/>
                  </a:cubicBezTo>
                  <a:cubicBezTo>
                    <a:pt x="143" y="140"/>
                    <a:pt x="144" y="139"/>
                    <a:pt x="146" y="139"/>
                  </a:cubicBezTo>
                  <a:cubicBezTo>
                    <a:pt x="147" y="139"/>
                    <a:pt x="148" y="140"/>
                    <a:pt x="148" y="142"/>
                  </a:cubicBezTo>
                  <a:cubicBezTo>
                    <a:pt x="148" y="143"/>
                    <a:pt x="147" y="145"/>
                    <a:pt x="146" y="145"/>
                  </a:cubicBezTo>
                  <a:close/>
                  <a:moveTo>
                    <a:pt x="122" y="92"/>
                  </a:moveTo>
                  <a:cubicBezTo>
                    <a:pt x="148" y="92"/>
                    <a:pt x="169" y="72"/>
                    <a:pt x="169" y="46"/>
                  </a:cubicBezTo>
                  <a:cubicBezTo>
                    <a:pt x="169" y="21"/>
                    <a:pt x="148" y="0"/>
                    <a:pt x="122" y="0"/>
                  </a:cubicBezTo>
                  <a:cubicBezTo>
                    <a:pt x="97" y="0"/>
                    <a:pt x="76" y="21"/>
                    <a:pt x="76" y="46"/>
                  </a:cubicBezTo>
                  <a:cubicBezTo>
                    <a:pt x="76" y="72"/>
                    <a:pt x="97" y="92"/>
                    <a:pt x="122" y="92"/>
                  </a:cubicBezTo>
                  <a:close/>
                  <a:moveTo>
                    <a:pt x="122" y="9"/>
                  </a:moveTo>
                  <a:cubicBezTo>
                    <a:pt x="143" y="9"/>
                    <a:pt x="159" y="26"/>
                    <a:pt x="159" y="46"/>
                  </a:cubicBezTo>
                  <a:cubicBezTo>
                    <a:pt x="159" y="66"/>
                    <a:pt x="143" y="83"/>
                    <a:pt x="122" y="83"/>
                  </a:cubicBezTo>
                  <a:cubicBezTo>
                    <a:pt x="102" y="83"/>
                    <a:pt x="85" y="66"/>
                    <a:pt x="85" y="46"/>
                  </a:cubicBezTo>
                  <a:cubicBezTo>
                    <a:pt x="85" y="26"/>
                    <a:pt x="102" y="9"/>
                    <a:pt x="122" y="9"/>
                  </a:cubicBezTo>
                  <a:close/>
                  <a:moveTo>
                    <a:pt x="243" y="274"/>
                  </a:moveTo>
                  <a:cubicBezTo>
                    <a:pt x="243" y="274"/>
                    <a:pt x="243" y="274"/>
                    <a:pt x="243" y="273"/>
                  </a:cubicBezTo>
                  <a:cubicBezTo>
                    <a:pt x="242" y="272"/>
                    <a:pt x="240" y="265"/>
                    <a:pt x="237" y="256"/>
                  </a:cubicBezTo>
                  <a:cubicBezTo>
                    <a:pt x="225" y="221"/>
                    <a:pt x="201" y="146"/>
                    <a:pt x="195" y="133"/>
                  </a:cubicBezTo>
                  <a:cubicBezTo>
                    <a:pt x="185" y="112"/>
                    <a:pt x="163" y="103"/>
                    <a:pt x="122" y="103"/>
                  </a:cubicBezTo>
                  <a:cubicBezTo>
                    <a:pt x="81" y="103"/>
                    <a:pt x="60" y="112"/>
                    <a:pt x="50" y="133"/>
                  </a:cubicBezTo>
                  <a:cubicBezTo>
                    <a:pt x="43" y="146"/>
                    <a:pt x="19" y="221"/>
                    <a:pt x="8" y="256"/>
                  </a:cubicBezTo>
                  <a:cubicBezTo>
                    <a:pt x="5" y="265"/>
                    <a:pt x="2" y="272"/>
                    <a:pt x="2" y="273"/>
                  </a:cubicBezTo>
                  <a:cubicBezTo>
                    <a:pt x="2" y="274"/>
                    <a:pt x="2" y="274"/>
                    <a:pt x="2" y="274"/>
                  </a:cubicBezTo>
                  <a:cubicBezTo>
                    <a:pt x="0" y="283"/>
                    <a:pt x="5" y="292"/>
                    <a:pt x="14" y="295"/>
                  </a:cubicBezTo>
                  <a:cubicBezTo>
                    <a:pt x="16" y="295"/>
                    <a:pt x="18" y="296"/>
                    <a:pt x="20" y="296"/>
                  </a:cubicBezTo>
                  <a:cubicBezTo>
                    <a:pt x="27" y="296"/>
                    <a:pt x="34" y="292"/>
                    <a:pt x="36" y="286"/>
                  </a:cubicBezTo>
                  <a:cubicBezTo>
                    <a:pt x="70" y="212"/>
                    <a:pt x="70" y="212"/>
                    <a:pt x="70" y="212"/>
                  </a:cubicBezTo>
                  <a:cubicBezTo>
                    <a:pt x="67" y="310"/>
                    <a:pt x="64" y="463"/>
                    <a:pt x="63" y="469"/>
                  </a:cubicBezTo>
                  <a:cubicBezTo>
                    <a:pt x="63" y="470"/>
                    <a:pt x="63" y="470"/>
                    <a:pt x="63" y="470"/>
                  </a:cubicBezTo>
                  <a:cubicBezTo>
                    <a:pt x="64" y="481"/>
                    <a:pt x="74" y="489"/>
                    <a:pt x="85" y="489"/>
                  </a:cubicBezTo>
                  <a:cubicBezTo>
                    <a:pt x="97" y="489"/>
                    <a:pt x="107" y="481"/>
                    <a:pt x="108" y="471"/>
                  </a:cubicBezTo>
                  <a:cubicBezTo>
                    <a:pt x="122" y="345"/>
                    <a:pt x="122" y="345"/>
                    <a:pt x="122" y="345"/>
                  </a:cubicBezTo>
                  <a:cubicBezTo>
                    <a:pt x="137" y="470"/>
                    <a:pt x="137" y="470"/>
                    <a:pt x="137" y="470"/>
                  </a:cubicBezTo>
                  <a:cubicBezTo>
                    <a:pt x="138" y="481"/>
                    <a:pt x="148" y="489"/>
                    <a:pt x="159" y="489"/>
                  </a:cubicBezTo>
                  <a:cubicBezTo>
                    <a:pt x="159" y="489"/>
                    <a:pt x="159" y="489"/>
                    <a:pt x="159" y="489"/>
                  </a:cubicBezTo>
                  <a:cubicBezTo>
                    <a:pt x="171" y="489"/>
                    <a:pt x="181" y="481"/>
                    <a:pt x="181" y="470"/>
                  </a:cubicBezTo>
                  <a:cubicBezTo>
                    <a:pt x="181" y="470"/>
                    <a:pt x="181" y="470"/>
                    <a:pt x="181" y="469"/>
                  </a:cubicBezTo>
                  <a:cubicBezTo>
                    <a:pt x="181" y="463"/>
                    <a:pt x="177" y="310"/>
                    <a:pt x="175" y="212"/>
                  </a:cubicBezTo>
                  <a:cubicBezTo>
                    <a:pt x="208" y="286"/>
                    <a:pt x="208" y="286"/>
                    <a:pt x="208" y="286"/>
                  </a:cubicBezTo>
                  <a:cubicBezTo>
                    <a:pt x="211" y="292"/>
                    <a:pt x="217" y="296"/>
                    <a:pt x="224" y="296"/>
                  </a:cubicBezTo>
                  <a:cubicBezTo>
                    <a:pt x="226" y="296"/>
                    <a:pt x="229" y="295"/>
                    <a:pt x="231" y="295"/>
                  </a:cubicBezTo>
                  <a:cubicBezTo>
                    <a:pt x="240" y="292"/>
                    <a:pt x="245" y="283"/>
                    <a:pt x="243" y="274"/>
                  </a:cubicBezTo>
                  <a:close/>
                  <a:moveTo>
                    <a:pt x="228" y="286"/>
                  </a:moveTo>
                  <a:cubicBezTo>
                    <a:pt x="227" y="286"/>
                    <a:pt x="225" y="286"/>
                    <a:pt x="224" y="286"/>
                  </a:cubicBezTo>
                  <a:cubicBezTo>
                    <a:pt x="221" y="286"/>
                    <a:pt x="218" y="285"/>
                    <a:pt x="217" y="282"/>
                  </a:cubicBezTo>
                  <a:cubicBezTo>
                    <a:pt x="174" y="187"/>
                    <a:pt x="174" y="187"/>
                    <a:pt x="174" y="187"/>
                  </a:cubicBezTo>
                  <a:cubicBezTo>
                    <a:pt x="173" y="185"/>
                    <a:pt x="171" y="184"/>
                    <a:pt x="168" y="184"/>
                  </a:cubicBezTo>
                  <a:cubicBezTo>
                    <a:pt x="166" y="185"/>
                    <a:pt x="165" y="187"/>
                    <a:pt x="165" y="189"/>
                  </a:cubicBezTo>
                  <a:cubicBezTo>
                    <a:pt x="165" y="189"/>
                    <a:pt x="167" y="259"/>
                    <a:pt x="168" y="329"/>
                  </a:cubicBezTo>
                  <a:cubicBezTo>
                    <a:pt x="169" y="364"/>
                    <a:pt x="170" y="400"/>
                    <a:pt x="171" y="426"/>
                  </a:cubicBezTo>
                  <a:cubicBezTo>
                    <a:pt x="171" y="439"/>
                    <a:pt x="171" y="450"/>
                    <a:pt x="172" y="458"/>
                  </a:cubicBezTo>
                  <a:cubicBezTo>
                    <a:pt x="172" y="464"/>
                    <a:pt x="172" y="467"/>
                    <a:pt x="172" y="470"/>
                  </a:cubicBezTo>
                  <a:cubicBezTo>
                    <a:pt x="172" y="470"/>
                    <a:pt x="172" y="470"/>
                    <a:pt x="172" y="470"/>
                  </a:cubicBezTo>
                  <a:cubicBezTo>
                    <a:pt x="172" y="475"/>
                    <a:pt x="166" y="480"/>
                    <a:pt x="159" y="480"/>
                  </a:cubicBezTo>
                  <a:cubicBezTo>
                    <a:pt x="159" y="484"/>
                    <a:pt x="159" y="484"/>
                    <a:pt x="159" y="484"/>
                  </a:cubicBezTo>
                  <a:cubicBezTo>
                    <a:pt x="159" y="480"/>
                    <a:pt x="159" y="480"/>
                    <a:pt x="159" y="480"/>
                  </a:cubicBezTo>
                  <a:cubicBezTo>
                    <a:pt x="152" y="480"/>
                    <a:pt x="147" y="475"/>
                    <a:pt x="146" y="469"/>
                  </a:cubicBezTo>
                  <a:cubicBezTo>
                    <a:pt x="127" y="304"/>
                    <a:pt x="127" y="304"/>
                    <a:pt x="127" y="304"/>
                  </a:cubicBezTo>
                  <a:cubicBezTo>
                    <a:pt x="127" y="302"/>
                    <a:pt x="125" y="300"/>
                    <a:pt x="122" y="300"/>
                  </a:cubicBezTo>
                  <a:cubicBezTo>
                    <a:pt x="120" y="300"/>
                    <a:pt x="118" y="302"/>
                    <a:pt x="118" y="304"/>
                  </a:cubicBezTo>
                  <a:cubicBezTo>
                    <a:pt x="98" y="470"/>
                    <a:pt x="98" y="470"/>
                    <a:pt x="98" y="470"/>
                  </a:cubicBezTo>
                  <a:cubicBezTo>
                    <a:pt x="98" y="475"/>
                    <a:pt x="92" y="480"/>
                    <a:pt x="85" y="480"/>
                  </a:cubicBezTo>
                  <a:cubicBezTo>
                    <a:pt x="79" y="480"/>
                    <a:pt x="73" y="475"/>
                    <a:pt x="73" y="470"/>
                  </a:cubicBezTo>
                  <a:cubicBezTo>
                    <a:pt x="73" y="469"/>
                    <a:pt x="73" y="468"/>
                    <a:pt x="73" y="467"/>
                  </a:cubicBezTo>
                  <a:cubicBezTo>
                    <a:pt x="73" y="465"/>
                    <a:pt x="73" y="462"/>
                    <a:pt x="73" y="458"/>
                  </a:cubicBezTo>
                  <a:cubicBezTo>
                    <a:pt x="73" y="450"/>
                    <a:pt x="74" y="439"/>
                    <a:pt x="74" y="426"/>
                  </a:cubicBezTo>
                  <a:cubicBezTo>
                    <a:pt x="75" y="400"/>
                    <a:pt x="75" y="365"/>
                    <a:pt x="76" y="329"/>
                  </a:cubicBezTo>
                  <a:cubicBezTo>
                    <a:pt x="78" y="259"/>
                    <a:pt x="80" y="189"/>
                    <a:pt x="80" y="189"/>
                  </a:cubicBezTo>
                  <a:cubicBezTo>
                    <a:pt x="80" y="187"/>
                    <a:pt x="78" y="185"/>
                    <a:pt x="76" y="184"/>
                  </a:cubicBezTo>
                  <a:cubicBezTo>
                    <a:pt x="74" y="184"/>
                    <a:pt x="72" y="185"/>
                    <a:pt x="71" y="187"/>
                  </a:cubicBezTo>
                  <a:cubicBezTo>
                    <a:pt x="28" y="282"/>
                    <a:pt x="28" y="282"/>
                    <a:pt x="28" y="282"/>
                  </a:cubicBezTo>
                  <a:cubicBezTo>
                    <a:pt x="26" y="285"/>
                    <a:pt x="24" y="286"/>
                    <a:pt x="20" y="286"/>
                  </a:cubicBezTo>
                  <a:cubicBezTo>
                    <a:pt x="19" y="286"/>
                    <a:pt x="18" y="286"/>
                    <a:pt x="17" y="286"/>
                  </a:cubicBezTo>
                  <a:cubicBezTo>
                    <a:pt x="13" y="284"/>
                    <a:pt x="10" y="280"/>
                    <a:pt x="11" y="276"/>
                  </a:cubicBezTo>
                  <a:cubicBezTo>
                    <a:pt x="11" y="276"/>
                    <a:pt x="11" y="276"/>
                    <a:pt x="11" y="276"/>
                  </a:cubicBezTo>
                  <a:cubicBezTo>
                    <a:pt x="11" y="275"/>
                    <a:pt x="12" y="274"/>
                    <a:pt x="12" y="272"/>
                  </a:cubicBezTo>
                  <a:cubicBezTo>
                    <a:pt x="13" y="269"/>
                    <a:pt x="15" y="265"/>
                    <a:pt x="16" y="259"/>
                  </a:cubicBezTo>
                  <a:cubicBezTo>
                    <a:pt x="27" y="226"/>
                    <a:pt x="52" y="150"/>
                    <a:pt x="58" y="137"/>
                  </a:cubicBezTo>
                  <a:cubicBezTo>
                    <a:pt x="64" y="125"/>
                    <a:pt x="76" y="113"/>
                    <a:pt x="122" y="113"/>
                  </a:cubicBezTo>
                  <a:cubicBezTo>
                    <a:pt x="168" y="113"/>
                    <a:pt x="181" y="125"/>
                    <a:pt x="186" y="137"/>
                  </a:cubicBezTo>
                  <a:cubicBezTo>
                    <a:pt x="192" y="150"/>
                    <a:pt x="217" y="226"/>
                    <a:pt x="228" y="259"/>
                  </a:cubicBezTo>
                  <a:cubicBezTo>
                    <a:pt x="230" y="265"/>
                    <a:pt x="231" y="269"/>
                    <a:pt x="232" y="272"/>
                  </a:cubicBezTo>
                  <a:cubicBezTo>
                    <a:pt x="233" y="274"/>
                    <a:pt x="233" y="275"/>
                    <a:pt x="234" y="276"/>
                  </a:cubicBezTo>
                  <a:cubicBezTo>
                    <a:pt x="234" y="276"/>
                    <a:pt x="234" y="276"/>
                    <a:pt x="234" y="276"/>
                  </a:cubicBezTo>
                  <a:cubicBezTo>
                    <a:pt x="235" y="280"/>
                    <a:pt x="232" y="284"/>
                    <a:pt x="228" y="28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3D81008-F46B-4560-8271-10B515D05CC1}"/>
              </a:ext>
            </a:extLst>
          </p:cNvPr>
          <p:cNvGrpSpPr/>
          <p:nvPr/>
        </p:nvGrpSpPr>
        <p:grpSpPr>
          <a:xfrm>
            <a:off x="2259614" y="4084511"/>
            <a:ext cx="822960" cy="822960"/>
            <a:chOff x="3481387" y="15082838"/>
            <a:chExt cx="2674938" cy="2674938"/>
          </a:xfrm>
        </p:grpSpPr>
        <p:sp>
          <p:nvSpPr>
            <p:cNvPr id="52" name="Oval 52">
              <a:extLst>
                <a:ext uri="{FF2B5EF4-FFF2-40B4-BE49-F238E27FC236}">
                  <a16:creationId xmlns:a16="http://schemas.microsoft.com/office/drawing/2014/main" id="{DD593C86-E332-4E6C-9CF8-D639996BA5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1387" y="15082838"/>
              <a:ext cx="2674938" cy="267493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3" name="Freeform 54">
              <a:extLst>
                <a:ext uri="{FF2B5EF4-FFF2-40B4-BE49-F238E27FC236}">
                  <a16:creationId xmlns:a16="http://schemas.microsoft.com/office/drawing/2014/main" id="{57B2070C-6F4B-4D25-8CF7-BFEEA9F798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4037" y="15503525"/>
              <a:ext cx="914400" cy="1833563"/>
            </a:xfrm>
            <a:custGeom>
              <a:avLst/>
              <a:gdLst>
                <a:gd name="T0" fmla="*/ 108 w 244"/>
                <a:gd name="T1" fmla="*/ 90 h 489"/>
                <a:gd name="T2" fmla="*/ 151 w 244"/>
                <a:gd name="T3" fmla="*/ 82 h 489"/>
                <a:gd name="T4" fmla="*/ 151 w 244"/>
                <a:gd name="T5" fmla="*/ 10 h 489"/>
                <a:gd name="T6" fmla="*/ 108 w 244"/>
                <a:gd name="T7" fmla="*/ 2 h 489"/>
                <a:gd name="T8" fmla="*/ 77 w 244"/>
                <a:gd name="T9" fmla="*/ 32 h 489"/>
                <a:gd name="T10" fmla="*/ 77 w 244"/>
                <a:gd name="T11" fmla="*/ 60 h 489"/>
                <a:gd name="T12" fmla="*/ 242 w 244"/>
                <a:gd name="T13" fmla="*/ 274 h 489"/>
                <a:gd name="T14" fmla="*/ 241 w 244"/>
                <a:gd name="T15" fmla="*/ 271 h 489"/>
                <a:gd name="T16" fmla="*/ 233 w 244"/>
                <a:gd name="T17" fmla="*/ 245 h 489"/>
                <a:gd name="T18" fmla="*/ 229 w 244"/>
                <a:gd name="T19" fmla="*/ 233 h 489"/>
                <a:gd name="T20" fmla="*/ 216 w 244"/>
                <a:gd name="T21" fmla="*/ 195 h 489"/>
                <a:gd name="T22" fmla="*/ 204 w 244"/>
                <a:gd name="T23" fmla="*/ 160 h 489"/>
                <a:gd name="T24" fmla="*/ 196 w 244"/>
                <a:gd name="T25" fmla="*/ 138 h 489"/>
                <a:gd name="T26" fmla="*/ 190 w 244"/>
                <a:gd name="T27" fmla="*/ 126 h 489"/>
                <a:gd name="T28" fmla="*/ 177 w 244"/>
                <a:gd name="T29" fmla="*/ 114 h 489"/>
                <a:gd name="T30" fmla="*/ 149 w 244"/>
                <a:gd name="T31" fmla="*/ 105 h 489"/>
                <a:gd name="T32" fmla="*/ 122 w 244"/>
                <a:gd name="T33" fmla="*/ 103 h 489"/>
                <a:gd name="T34" fmla="*/ 83 w 244"/>
                <a:gd name="T35" fmla="*/ 107 h 489"/>
                <a:gd name="T36" fmla="*/ 47 w 244"/>
                <a:gd name="T37" fmla="*/ 138 h 489"/>
                <a:gd name="T38" fmla="*/ 39 w 244"/>
                <a:gd name="T39" fmla="*/ 160 h 489"/>
                <a:gd name="T40" fmla="*/ 25 w 244"/>
                <a:gd name="T41" fmla="*/ 200 h 489"/>
                <a:gd name="T42" fmla="*/ 16 w 244"/>
                <a:gd name="T43" fmla="*/ 228 h 489"/>
                <a:gd name="T44" fmla="*/ 7 w 244"/>
                <a:gd name="T45" fmla="*/ 256 h 489"/>
                <a:gd name="T46" fmla="*/ 2 w 244"/>
                <a:gd name="T47" fmla="*/ 270 h 489"/>
                <a:gd name="T48" fmla="*/ 1 w 244"/>
                <a:gd name="T49" fmla="*/ 274 h 489"/>
                <a:gd name="T50" fmla="*/ 10 w 244"/>
                <a:gd name="T51" fmla="*/ 293 h 489"/>
                <a:gd name="T52" fmla="*/ 16 w 244"/>
                <a:gd name="T53" fmla="*/ 295 h 489"/>
                <a:gd name="T54" fmla="*/ 35 w 244"/>
                <a:gd name="T55" fmla="*/ 286 h 489"/>
                <a:gd name="T56" fmla="*/ 68 w 244"/>
                <a:gd name="T57" fmla="*/ 240 h 489"/>
                <a:gd name="T58" fmla="*/ 68 w 244"/>
                <a:gd name="T59" fmla="*/ 271 h 489"/>
                <a:gd name="T60" fmla="*/ 67 w 244"/>
                <a:gd name="T61" fmla="*/ 303 h 489"/>
                <a:gd name="T62" fmla="*/ 65 w 244"/>
                <a:gd name="T63" fmla="*/ 365 h 489"/>
                <a:gd name="T64" fmla="*/ 63 w 244"/>
                <a:gd name="T65" fmla="*/ 446 h 489"/>
                <a:gd name="T66" fmla="*/ 62 w 244"/>
                <a:gd name="T67" fmla="*/ 469 h 489"/>
                <a:gd name="T68" fmla="*/ 63 w 244"/>
                <a:gd name="T69" fmla="*/ 474 h 489"/>
                <a:gd name="T70" fmla="*/ 70 w 244"/>
                <a:gd name="T71" fmla="*/ 483 h 489"/>
                <a:gd name="T72" fmla="*/ 85 w 244"/>
                <a:gd name="T73" fmla="*/ 489 h 489"/>
                <a:gd name="T74" fmla="*/ 96 w 244"/>
                <a:gd name="T75" fmla="*/ 486 h 489"/>
                <a:gd name="T76" fmla="*/ 105 w 244"/>
                <a:gd name="T77" fmla="*/ 478 h 489"/>
                <a:gd name="T78" fmla="*/ 122 w 244"/>
                <a:gd name="T79" fmla="*/ 345 h 489"/>
                <a:gd name="T80" fmla="*/ 137 w 244"/>
                <a:gd name="T81" fmla="*/ 474 h 489"/>
                <a:gd name="T82" fmla="*/ 147 w 244"/>
                <a:gd name="T83" fmla="*/ 486 h 489"/>
                <a:gd name="T84" fmla="*/ 158 w 244"/>
                <a:gd name="T85" fmla="*/ 489 h 489"/>
                <a:gd name="T86" fmla="*/ 181 w 244"/>
                <a:gd name="T87" fmla="*/ 470 h 489"/>
                <a:gd name="T88" fmla="*/ 181 w 244"/>
                <a:gd name="T89" fmla="*/ 468 h 489"/>
                <a:gd name="T90" fmla="*/ 180 w 244"/>
                <a:gd name="T91" fmla="*/ 440 h 489"/>
                <a:gd name="T92" fmla="*/ 177 w 244"/>
                <a:gd name="T93" fmla="*/ 345 h 489"/>
                <a:gd name="T94" fmla="*/ 176 w 244"/>
                <a:gd name="T95" fmla="*/ 303 h 489"/>
                <a:gd name="T96" fmla="*/ 174 w 244"/>
                <a:gd name="T97" fmla="*/ 212 h 489"/>
                <a:gd name="T98" fmla="*/ 212 w 244"/>
                <a:gd name="T99" fmla="*/ 292 h 489"/>
                <a:gd name="T100" fmla="*/ 227 w 244"/>
                <a:gd name="T101" fmla="*/ 295 h 489"/>
                <a:gd name="T102" fmla="*/ 242 w 244"/>
                <a:gd name="T103" fmla="*/ 27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4" h="489">
                  <a:moveTo>
                    <a:pt x="81" y="68"/>
                  </a:moveTo>
                  <a:cubicBezTo>
                    <a:pt x="87" y="78"/>
                    <a:pt x="96" y="86"/>
                    <a:pt x="108" y="90"/>
                  </a:cubicBezTo>
                  <a:cubicBezTo>
                    <a:pt x="112" y="91"/>
                    <a:pt x="117" y="92"/>
                    <a:pt x="122" y="92"/>
                  </a:cubicBezTo>
                  <a:cubicBezTo>
                    <a:pt x="133" y="92"/>
                    <a:pt x="143" y="88"/>
                    <a:pt x="151" y="82"/>
                  </a:cubicBezTo>
                  <a:cubicBezTo>
                    <a:pt x="161" y="73"/>
                    <a:pt x="168" y="60"/>
                    <a:pt x="168" y="46"/>
                  </a:cubicBezTo>
                  <a:cubicBezTo>
                    <a:pt x="168" y="32"/>
                    <a:pt x="161" y="19"/>
                    <a:pt x="151" y="10"/>
                  </a:cubicBezTo>
                  <a:cubicBezTo>
                    <a:pt x="143" y="4"/>
                    <a:pt x="133" y="0"/>
                    <a:pt x="122" y="0"/>
                  </a:cubicBezTo>
                  <a:cubicBezTo>
                    <a:pt x="117" y="0"/>
                    <a:pt x="112" y="0"/>
                    <a:pt x="108" y="2"/>
                  </a:cubicBezTo>
                  <a:cubicBezTo>
                    <a:pt x="96" y="5"/>
                    <a:pt x="87" y="13"/>
                    <a:pt x="81" y="24"/>
                  </a:cubicBezTo>
                  <a:cubicBezTo>
                    <a:pt x="79" y="27"/>
                    <a:pt x="78" y="29"/>
                    <a:pt x="77" y="32"/>
                  </a:cubicBezTo>
                  <a:cubicBezTo>
                    <a:pt x="76" y="37"/>
                    <a:pt x="75" y="41"/>
                    <a:pt x="75" y="46"/>
                  </a:cubicBezTo>
                  <a:cubicBezTo>
                    <a:pt x="75" y="51"/>
                    <a:pt x="76" y="55"/>
                    <a:pt x="77" y="60"/>
                  </a:cubicBezTo>
                  <a:cubicBezTo>
                    <a:pt x="78" y="63"/>
                    <a:pt x="79" y="65"/>
                    <a:pt x="81" y="68"/>
                  </a:cubicBezTo>
                  <a:close/>
                  <a:moveTo>
                    <a:pt x="242" y="274"/>
                  </a:moveTo>
                  <a:cubicBezTo>
                    <a:pt x="242" y="274"/>
                    <a:pt x="242" y="274"/>
                    <a:pt x="242" y="273"/>
                  </a:cubicBezTo>
                  <a:cubicBezTo>
                    <a:pt x="242" y="273"/>
                    <a:pt x="242" y="272"/>
                    <a:pt x="241" y="271"/>
                  </a:cubicBezTo>
                  <a:cubicBezTo>
                    <a:pt x="240" y="269"/>
                    <a:pt x="238" y="263"/>
                    <a:pt x="236" y="256"/>
                  </a:cubicBezTo>
                  <a:cubicBezTo>
                    <a:pt x="235" y="253"/>
                    <a:pt x="234" y="249"/>
                    <a:pt x="233" y="245"/>
                  </a:cubicBezTo>
                  <a:cubicBezTo>
                    <a:pt x="232" y="243"/>
                    <a:pt x="231" y="240"/>
                    <a:pt x="230" y="237"/>
                  </a:cubicBezTo>
                  <a:cubicBezTo>
                    <a:pt x="230" y="236"/>
                    <a:pt x="229" y="234"/>
                    <a:pt x="229" y="233"/>
                  </a:cubicBezTo>
                  <a:cubicBezTo>
                    <a:pt x="226" y="225"/>
                    <a:pt x="224" y="218"/>
                    <a:pt x="221" y="210"/>
                  </a:cubicBezTo>
                  <a:cubicBezTo>
                    <a:pt x="220" y="205"/>
                    <a:pt x="218" y="200"/>
                    <a:pt x="216" y="195"/>
                  </a:cubicBezTo>
                  <a:cubicBezTo>
                    <a:pt x="215" y="191"/>
                    <a:pt x="213" y="186"/>
                    <a:pt x="212" y="181"/>
                  </a:cubicBezTo>
                  <a:cubicBezTo>
                    <a:pt x="209" y="174"/>
                    <a:pt x="207" y="167"/>
                    <a:pt x="204" y="160"/>
                  </a:cubicBezTo>
                  <a:cubicBezTo>
                    <a:pt x="202" y="152"/>
                    <a:pt x="199" y="145"/>
                    <a:pt x="197" y="140"/>
                  </a:cubicBezTo>
                  <a:cubicBezTo>
                    <a:pt x="197" y="140"/>
                    <a:pt x="197" y="139"/>
                    <a:pt x="196" y="138"/>
                  </a:cubicBezTo>
                  <a:cubicBezTo>
                    <a:pt x="195" y="136"/>
                    <a:pt x="195" y="134"/>
                    <a:pt x="194" y="133"/>
                  </a:cubicBezTo>
                  <a:cubicBezTo>
                    <a:pt x="193" y="130"/>
                    <a:pt x="191" y="128"/>
                    <a:pt x="190" y="126"/>
                  </a:cubicBezTo>
                  <a:cubicBezTo>
                    <a:pt x="188" y="123"/>
                    <a:pt x="186" y="121"/>
                    <a:pt x="184" y="119"/>
                  </a:cubicBezTo>
                  <a:cubicBezTo>
                    <a:pt x="182" y="117"/>
                    <a:pt x="180" y="116"/>
                    <a:pt x="177" y="114"/>
                  </a:cubicBezTo>
                  <a:cubicBezTo>
                    <a:pt x="174" y="112"/>
                    <a:pt x="170" y="110"/>
                    <a:pt x="165" y="108"/>
                  </a:cubicBezTo>
                  <a:cubicBezTo>
                    <a:pt x="160" y="107"/>
                    <a:pt x="155" y="106"/>
                    <a:pt x="149" y="105"/>
                  </a:cubicBezTo>
                  <a:cubicBezTo>
                    <a:pt x="147" y="105"/>
                    <a:pt x="145" y="104"/>
                    <a:pt x="143" y="104"/>
                  </a:cubicBezTo>
                  <a:cubicBezTo>
                    <a:pt x="136" y="103"/>
                    <a:pt x="129" y="103"/>
                    <a:pt x="122" y="103"/>
                  </a:cubicBezTo>
                  <a:cubicBezTo>
                    <a:pt x="109" y="103"/>
                    <a:pt x="98" y="104"/>
                    <a:pt x="89" y="106"/>
                  </a:cubicBezTo>
                  <a:cubicBezTo>
                    <a:pt x="87" y="106"/>
                    <a:pt x="85" y="107"/>
                    <a:pt x="83" y="107"/>
                  </a:cubicBezTo>
                  <a:cubicBezTo>
                    <a:pt x="66" y="111"/>
                    <a:pt x="55" y="120"/>
                    <a:pt x="49" y="133"/>
                  </a:cubicBezTo>
                  <a:cubicBezTo>
                    <a:pt x="48" y="134"/>
                    <a:pt x="48" y="136"/>
                    <a:pt x="47" y="138"/>
                  </a:cubicBezTo>
                  <a:cubicBezTo>
                    <a:pt x="45" y="142"/>
                    <a:pt x="43" y="147"/>
                    <a:pt x="41" y="153"/>
                  </a:cubicBezTo>
                  <a:cubicBezTo>
                    <a:pt x="41" y="155"/>
                    <a:pt x="40" y="157"/>
                    <a:pt x="39" y="160"/>
                  </a:cubicBezTo>
                  <a:cubicBezTo>
                    <a:pt x="36" y="168"/>
                    <a:pt x="33" y="177"/>
                    <a:pt x="30" y="186"/>
                  </a:cubicBezTo>
                  <a:cubicBezTo>
                    <a:pt x="28" y="191"/>
                    <a:pt x="27" y="195"/>
                    <a:pt x="25" y="200"/>
                  </a:cubicBezTo>
                  <a:cubicBezTo>
                    <a:pt x="24" y="203"/>
                    <a:pt x="23" y="206"/>
                    <a:pt x="22" y="210"/>
                  </a:cubicBezTo>
                  <a:cubicBezTo>
                    <a:pt x="20" y="216"/>
                    <a:pt x="18" y="222"/>
                    <a:pt x="16" y="228"/>
                  </a:cubicBezTo>
                  <a:cubicBezTo>
                    <a:pt x="15" y="231"/>
                    <a:pt x="14" y="234"/>
                    <a:pt x="13" y="237"/>
                  </a:cubicBezTo>
                  <a:cubicBezTo>
                    <a:pt x="11" y="244"/>
                    <a:pt x="9" y="251"/>
                    <a:pt x="7" y="256"/>
                  </a:cubicBezTo>
                  <a:cubicBezTo>
                    <a:pt x="6" y="257"/>
                    <a:pt x="6" y="258"/>
                    <a:pt x="6" y="259"/>
                  </a:cubicBezTo>
                  <a:cubicBezTo>
                    <a:pt x="4" y="264"/>
                    <a:pt x="3" y="267"/>
                    <a:pt x="2" y="270"/>
                  </a:cubicBezTo>
                  <a:cubicBezTo>
                    <a:pt x="2" y="272"/>
                    <a:pt x="1" y="273"/>
                    <a:pt x="1" y="273"/>
                  </a:cubicBezTo>
                  <a:cubicBezTo>
                    <a:pt x="1" y="274"/>
                    <a:pt x="1" y="274"/>
                    <a:pt x="1" y="274"/>
                  </a:cubicBezTo>
                  <a:cubicBezTo>
                    <a:pt x="0" y="277"/>
                    <a:pt x="0" y="280"/>
                    <a:pt x="2" y="283"/>
                  </a:cubicBezTo>
                  <a:cubicBezTo>
                    <a:pt x="3" y="287"/>
                    <a:pt x="6" y="291"/>
                    <a:pt x="10" y="293"/>
                  </a:cubicBezTo>
                  <a:cubicBezTo>
                    <a:pt x="11" y="294"/>
                    <a:pt x="12" y="294"/>
                    <a:pt x="13" y="295"/>
                  </a:cubicBezTo>
                  <a:cubicBezTo>
                    <a:pt x="14" y="295"/>
                    <a:pt x="15" y="295"/>
                    <a:pt x="16" y="295"/>
                  </a:cubicBezTo>
                  <a:cubicBezTo>
                    <a:pt x="17" y="296"/>
                    <a:pt x="18" y="296"/>
                    <a:pt x="20" y="296"/>
                  </a:cubicBezTo>
                  <a:cubicBezTo>
                    <a:pt x="27" y="296"/>
                    <a:pt x="33" y="292"/>
                    <a:pt x="35" y="286"/>
                  </a:cubicBezTo>
                  <a:cubicBezTo>
                    <a:pt x="69" y="212"/>
                    <a:pt x="69" y="212"/>
                    <a:pt x="69" y="212"/>
                  </a:cubicBezTo>
                  <a:cubicBezTo>
                    <a:pt x="69" y="221"/>
                    <a:pt x="69" y="230"/>
                    <a:pt x="68" y="240"/>
                  </a:cubicBezTo>
                  <a:cubicBezTo>
                    <a:pt x="68" y="247"/>
                    <a:pt x="68" y="254"/>
                    <a:pt x="68" y="261"/>
                  </a:cubicBezTo>
                  <a:cubicBezTo>
                    <a:pt x="68" y="264"/>
                    <a:pt x="68" y="268"/>
                    <a:pt x="68" y="271"/>
                  </a:cubicBezTo>
                  <a:cubicBezTo>
                    <a:pt x="67" y="278"/>
                    <a:pt x="67" y="285"/>
                    <a:pt x="67" y="292"/>
                  </a:cubicBezTo>
                  <a:cubicBezTo>
                    <a:pt x="67" y="296"/>
                    <a:pt x="67" y="299"/>
                    <a:pt x="67" y="303"/>
                  </a:cubicBezTo>
                  <a:cubicBezTo>
                    <a:pt x="66" y="317"/>
                    <a:pt x="66" y="331"/>
                    <a:pt x="66" y="345"/>
                  </a:cubicBezTo>
                  <a:cubicBezTo>
                    <a:pt x="66" y="352"/>
                    <a:pt x="65" y="358"/>
                    <a:pt x="65" y="365"/>
                  </a:cubicBezTo>
                  <a:cubicBezTo>
                    <a:pt x="65" y="385"/>
                    <a:pt x="64" y="403"/>
                    <a:pt x="64" y="419"/>
                  </a:cubicBezTo>
                  <a:cubicBezTo>
                    <a:pt x="64" y="429"/>
                    <a:pt x="63" y="438"/>
                    <a:pt x="63" y="446"/>
                  </a:cubicBezTo>
                  <a:cubicBezTo>
                    <a:pt x="63" y="448"/>
                    <a:pt x="63" y="450"/>
                    <a:pt x="63" y="451"/>
                  </a:cubicBezTo>
                  <a:cubicBezTo>
                    <a:pt x="63" y="462"/>
                    <a:pt x="63" y="468"/>
                    <a:pt x="62" y="469"/>
                  </a:cubicBezTo>
                  <a:cubicBezTo>
                    <a:pt x="62" y="470"/>
                    <a:pt x="62" y="470"/>
                    <a:pt x="62" y="470"/>
                  </a:cubicBezTo>
                  <a:cubicBezTo>
                    <a:pt x="63" y="471"/>
                    <a:pt x="63" y="473"/>
                    <a:pt x="63" y="474"/>
                  </a:cubicBezTo>
                  <a:cubicBezTo>
                    <a:pt x="64" y="475"/>
                    <a:pt x="64" y="476"/>
                    <a:pt x="65" y="478"/>
                  </a:cubicBezTo>
                  <a:cubicBezTo>
                    <a:pt x="66" y="480"/>
                    <a:pt x="68" y="482"/>
                    <a:pt x="70" y="483"/>
                  </a:cubicBezTo>
                  <a:cubicBezTo>
                    <a:pt x="71" y="484"/>
                    <a:pt x="72" y="485"/>
                    <a:pt x="73" y="486"/>
                  </a:cubicBezTo>
                  <a:cubicBezTo>
                    <a:pt x="76" y="488"/>
                    <a:pt x="80" y="489"/>
                    <a:pt x="85" y="489"/>
                  </a:cubicBezTo>
                  <a:cubicBezTo>
                    <a:pt x="86" y="489"/>
                    <a:pt x="88" y="489"/>
                    <a:pt x="89" y="489"/>
                  </a:cubicBezTo>
                  <a:cubicBezTo>
                    <a:pt x="92" y="488"/>
                    <a:pt x="94" y="487"/>
                    <a:pt x="96" y="486"/>
                  </a:cubicBezTo>
                  <a:cubicBezTo>
                    <a:pt x="99" y="484"/>
                    <a:pt x="101" y="483"/>
                    <a:pt x="102" y="481"/>
                  </a:cubicBezTo>
                  <a:cubicBezTo>
                    <a:pt x="103" y="480"/>
                    <a:pt x="104" y="479"/>
                    <a:pt x="105" y="478"/>
                  </a:cubicBezTo>
                  <a:cubicBezTo>
                    <a:pt x="106" y="475"/>
                    <a:pt x="107" y="473"/>
                    <a:pt x="107" y="470"/>
                  </a:cubicBezTo>
                  <a:cubicBezTo>
                    <a:pt x="122" y="345"/>
                    <a:pt x="122" y="345"/>
                    <a:pt x="122" y="345"/>
                  </a:cubicBezTo>
                  <a:cubicBezTo>
                    <a:pt x="136" y="470"/>
                    <a:pt x="136" y="470"/>
                    <a:pt x="136" y="470"/>
                  </a:cubicBezTo>
                  <a:cubicBezTo>
                    <a:pt x="136" y="472"/>
                    <a:pt x="137" y="473"/>
                    <a:pt x="137" y="474"/>
                  </a:cubicBezTo>
                  <a:cubicBezTo>
                    <a:pt x="138" y="478"/>
                    <a:pt x="140" y="481"/>
                    <a:pt x="143" y="484"/>
                  </a:cubicBezTo>
                  <a:cubicBezTo>
                    <a:pt x="144" y="484"/>
                    <a:pt x="145" y="485"/>
                    <a:pt x="147" y="486"/>
                  </a:cubicBezTo>
                  <a:cubicBezTo>
                    <a:pt x="150" y="488"/>
                    <a:pt x="154" y="489"/>
                    <a:pt x="158" y="489"/>
                  </a:cubicBezTo>
                  <a:cubicBezTo>
                    <a:pt x="158" y="489"/>
                    <a:pt x="158" y="489"/>
                    <a:pt x="158" y="489"/>
                  </a:cubicBezTo>
                  <a:cubicBezTo>
                    <a:pt x="160" y="489"/>
                    <a:pt x="161" y="489"/>
                    <a:pt x="163" y="489"/>
                  </a:cubicBezTo>
                  <a:cubicBezTo>
                    <a:pt x="172" y="487"/>
                    <a:pt x="180" y="479"/>
                    <a:pt x="181" y="470"/>
                  </a:cubicBezTo>
                  <a:cubicBezTo>
                    <a:pt x="181" y="470"/>
                    <a:pt x="181" y="470"/>
                    <a:pt x="181" y="469"/>
                  </a:cubicBezTo>
                  <a:cubicBezTo>
                    <a:pt x="181" y="469"/>
                    <a:pt x="181" y="469"/>
                    <a:pt x="181" y="468"/>
                  </a:cubicBezTo>
                  <a:cubicBezTo>
                    <a:pt x="181" y="468"/>
                    <a:pt x="180" y="467"/>
                    <a:pt x="180" y="466"/>
                  </a:cubicBezTo>
                  <a:cubicBezTo>
                    <a:pt x="180" y="462"/>
                    <a:pt x="180" y="453"/>
                    <a:pt x="180" y="440"/>
                  </a:cubicBezTo>
                  <a:cubicBezTo>
                    <a:pt x="180" y="434"/>
                    <a:pt x="179" y="427"/>
                    <a:pt x="179" y="419"/>
                  </a:cubicBezTo>
                  <a:cubicBezTo>
                    <a:pt x="179" y="398"/>
                    <a:pt x="178" y="372"/>
                    <a:pt x="177" y="345"/>
                  </a:cubicBezTo>
                  <a:cubicBezTo>
                    <a:pt x="177" y="341"/>
                    <a:pt x="177" y="338"/>
                    <a:pt x="177" y="334"/>
                  </a:cubicBezTo>
                  <a:cubicBezTo>
                    <a:pt x="177" y="324"/>
                    <a:pt x="177" y="313"/>
                    <a:pt x="176" y="303"/>
                  </a:cubicBezTo>
                  <a:cubicBezTo>
                    <a:pt x="176" y="299"/>
                    <a:pt x="176" y="296"/>
                    <a:pt x="176" y="292"/>
                  </a:cubicBezTo>
                  <a:cubicBezTo>
                    <a:pt x="175" y="264"/>
                    <a:pt x="175" y="236"/>
                    <a:pt x="174" y="212"/>
                  </a:cubicBezTo>
                  <a:cubicBezTo>
                    <a:pt x="208" y="286"/>
                    <a:pt x="208" y="286"/>
                    <a:pt x="208" y="286"/>
                  </a:cubicBezTo>
                  <a:cubicBezTo>
                    <a:pt x="209" y="288"/>
                    <a:pt x="210" y="290"/>
                    <a:pt x="212" y="292"/>
                  </a:cubicBezTo>
                  <a:cubicBezTo>
                    <a:pt x="215" y="294"/>
                    <a:pt x="219" y="296"/>
                    <a:pt x="224" y="296"/>
                  </a:cubicBezTo>
                  <a:cubicBezTo>
                    <a:pt x="225" y="296"/>
                    <a:pt x="226" y="296"/>
                    <a:pt x="227" y="295"/>
                  </a:cubicBezTo>
                  <a:cubicBezTo>
                    <a:pt x="228" y="295"/>
                    <a:pt x="229" y="295"/>
                    <a:pt x="230" y="295"/>
                  </a:cubicBezTo>
                  <a:cubicBezTo>
                    <a:pt x="239" y="291"/>
                    <a:pt x="244" y="282"/>
                    <a:pt x="242" y="2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3C9D522-C422-404F-89D7-E802A0A8FA16}"/>
              </a:ext>
            </a:extLst>
          </p:cNvPr>
          <p:cNvGrpSpPr/>
          <p:nvPr/>
        </p:nvGrpSpPr>
        <p:grpSpPr>
          <a:xfrm>
            <a:off x="966871" y="4084511"/>
            <a:ext cx="822960" cy="822960"/>
            <a:chOff x="381000" y="15082838"/>
            <a:chExt cx="2673350" cy="2674938"/>
          </a:xfrm>
        </p:grpSpPr>
        <p:sp>
          <p:nvSpPr>
            <p:cNvPr id="55" name="Oval 53">
              <a:extLst>
                <a:ext uri="{FF2B5EF4-FFF2-40B4-BE49-F238E27FC236}">
                  <a16:creationId xmlns:a16="http://schemas.microsoft.com/office/drawing/2014/main" id="{5B61B0AB-DC28-41EB-AB41-B2D1F56F6B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000" y="15082838"/>
              <a:ext cx="2673350" cy="267493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33A90966-9D98-4F98-858C-1A8F3F31C6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2062" y="15503525"/>
              <a:ext cx="911225" cy="1833563"/>
            </a:xfrm>
            <a:custGeom>
              <a:avLst/>
              <a:gdLst>
                <a:gd name="T0" fmla="*/ 95 w 243"/>
                <a:gd name="T1" fmla="*/ 85 h 489"/>
                <a:gd name="T2" fmla="*/ 121 w 243"/>
                <a:gd name="T3" fmla="*/ 93 h 489"/>
                <a:gd name="T4" fmla="*/ 168 w 243"/>
                <a:gd name="T5" fmla="*/ 46 h 489"/>
                <a:gd name="T6" fmla="*/ 121 w 243"/>
                <a:gd name="T7" fmla="*/ 0 h 489"/>
                <a:gd name="T8" fmla="*/ 95 w 243"/>
                <a:gd name="T9" fmla="*/ 8 h 489"/>
                <a:gd name="T10" fmla="*/ 86 w 243"/>
                <a:gd name="T11" fmla="*/ 17 h 489"/>
                <a:gd name="T12" fmla="*/ 86 w 243"/>
                <a:gd name="T13" fmla="*/ 76 h 489"/>
                <a:gd name="T14" fmla="*/ 242 w 243"/>
                <a:gd name="T15" fmla="*/ 274 h 489"/>
                <a:gd name="T16" fmla="*/ 242 w 243"/>
                <a:gd name="T17" fmla="*/ 273 h 489"/>
                <a:gd name="T18" fmla="*/ 240 w 243"/>
                <a:gd name="T19" fmla="*/ 269 h 489"/>
                <a:gd name="T20" fmla="*/ 237 w 243"/>
                <a:gd name="T21" fmla="*/ 259 h 489"/>
                <a:gd name="T22" fmla="*/ 194 w 243"/>
                <a:gd name="T23" fmla="*/ 132 h 489"/>
                <a:gd name="T24" fmla="*/ 177 w 243"/>
                <a:gd name="T25" fmla="*/ 114 h 489"/>
                <a:gd name="T26" fmla="*/ 142 w 243"/>
                <a:gd name="T27" fmla="*/ 104 h 489"/>
                <a:gd name="T28" fmla="*/ 94 w 243"/>
                <a:gd name="T29" fmla="*/ 104 h 489"/>
                <a:gd name="T30" fmla="*/ 49 w 243"/>
                <a:gd name="T31" fmla="*/ 132 h 489"/>
                <a:gd name="T32" fmla="*/ 33 w 243"/>
                <a:gd name="T33" fmla="*/ 176 h 489"/>
                <a:gd name="T34" fmla="*/ 14 w 243"/>
                <a:gd name="T35" fmla="*/ 232 h 489"/>
                <a:gd name="T36" fmla="*/ 4 w 243"/>
                <a:gd name="T37" fmla="*/ 265 h 489"/>
                <a:gd name="T38" fmla="*/ 1 w 243"/>
                <a:gd name="T39" fmla="*/ 274 h 489"/>
                <a:gd name="T40" fmla="*/ 13 w 243"/>
                <a:gd name="T41" fmla="*/ 294 h 489"/>
                <a:gd name="T42" fmla="*/ 24 w 243"/>
                <a:gd name="T43" fmla="*/ 295 h 489"/>
                <a:gd name="T44" fmla="*/ 60 w 243"/>
                <a:gd name="T45" fmla="*/ 227 h 489"/>
                <a:gd name="T46" fmla="*/ 38 w 243"/>
                <a:gd name="T47" fmla="*/ 359 h 489"/>
                <a:gd name="T48" fmla="*/ 42 w 243"/>
                <a:gd name="T49" fmla="*/ 362 h 489"/>
                <a:gd name="T50" fmla="*/ 65 w 243"/>
                <a:gd name="T51" fmla="*/ 362 h 489"/>
                <a:gd name="T52" fmla="*/ 65 w 243"/>
                <a:gd name="T53" fmla="*/ 388 h 489"/>
                <a:gd name="T54" fmla="*/ 63 w 243"/>
                <a:gd name="T55" fmla="*/ 438 h 489"/>
                <a:gd name="T56" fmla="*/ 63 w 243"/>
                <a:gd name="T57" fmla="*/ 455 h 489"/>
                <a:gd name="T58" fmla="*/ 62 w 243"/>
                <a:gd name="T59" fmla="*/ 469 h 489"/>
                <a:gd name="T60" fmla="*/ 62 w 243"/>
                <a:gd name="T61" fmla="*/ 470 h 489"/>
                <a:gd name="T62" fmla="*/ 76 w 243"/>
                <a:gd name="T63" fmla="*/ 487 h 489"/>
                <a:gd name="T64" fmla="*/ 96 w 243"/>
                <a:gd name="T65" fmla="*/ 485 h 489"/>
                <a:gd name="T66" fmla="*/ 107 w 243"/>
                <a:gd name="T67" fmla="*/ 470 h 489"/>
                <a:gd name="T68" fmla="*/ 123 w 243"/>
                <a:gd name="T69" fmla="*/ 362 h 489"/>
                <a:gd name="T70" fmla="*/ 143 w 243"/>
                <a:gd name="T71" fmla="*/ 483 h 489"/>
                <a:gd name="T72" fmla="*/ 158 w 243"/>
                <a:gd name="T73" fmla="*/ 489 h 489"/>
                <a:gd name="T74" fmla="*/ 166 w 243"/>
                <a:gd name="T75" fmla="*/ 487 h 489"/>
                <a:gd name="T76" fmla="*/ 180 w 243"/>
                <a:gd name="T77" fmla="*/ 469 h 489"/>
                <a:gd name="T78" fmla="*/ 180 w 243"/>
                <a:gd name="T79" fmla="*/ 442 h 489"/>
                <a:gd name="T80" fmla="*/ 177 w 243"/>
                <a:gd name="T81" fmla="*/ 362 h 489"/>
                <a:gd name="T82" fmla="*/ 203 w 243"/>
                <a:gd name="T83" fmla="*/ 361 h 489"/>
                <a:gd name="T84" fmla="*/ 204 w 243"/>
                <a:gd name="T85" fmla="*/ 356 h 489"/>
                <a:gd name="T86" fmla="*/ 195 w 243"/>
                <a:gd name="T87" fmla="*/ 256 h 489"/>
                <a:gd name="T88" fmla="*/ 223 w 243"/>
                <a:gd name="T89" fmla="*/ 295 h 489"/>
                <a:gd name="T90" fmla="*/ 226 w 243"/>
                <a:gd name="T91" fmla="*/ 295 h 489"/>
                <a:gd name="T92" fmla="*/ 238 w 243"/>
                <a:gd name="T93" fmla="*/ 289 h 489"/>
                <a:gd name="T94" fmla="*/ 242 w 243"/>
                <a:gd name="T95" fmla="*/ 27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3" h="489">
                  <a:moveTo>
                    <a:pt x="89" y="79"/>
                  </a:moveTo>
                  <a:cubicBezTo>
                    <a:pt x="91" y="81"/>
                    <a:pt x="93" y="83"/>
                    <a:pt x="95" y="85"/>
                  </a:cubicBezTo>
                  <a:cubicBezTo>
                    <a:pt x="98" y="86"/>
                    <a:pt x="101" y="88"/>
                    <a:pt x="103" y="89"/>
                  </a:cubicBezTo>
                  <a:cubicBezTo>
                    <a:pt x="109" y="91"/>
                    <a:pt x="115" y="93"/>
                    <a:pt x="121" y="93"/>
                  </a:cubicBezTo>
                  <a:cubicBezTo>
                    <a:pt x="126" y="93"/>
                    <a:pt x="131" y="92"/>
                    <a:pt x="135" y="90"/>
                  </a:cubicBezTo>
                  <a:cubicBezTo>
                    <a:pt x="154" y="85"/>
                    <a:pt x="168" y="67"/>
                    <a:pt x="168" y="46"/>
                  </a:cubicBezTo>
                  <a:cubicBezTo>
                    <a:pt x="168" y="26"/>
                    <a:pt x="154" y="8"/>
                    <a:pt x="135" y="2"/>
                  </a:cubicBezTo>
                  <a:cubicBezTo>
                    <a:pt x="131" y="1"/>
                    <a:pt x="126" y="0"/>
                    <a:pt x="121" y="0"/>
                  </a:cubicBezTo>
                  <a:cubicBezTo>
                    <a:pt x="115" y="0"/>
                    <a:pt x="109" y="1"/>
                    <a:pt x="103" y="4"/>
                  </a:cubicBezTo>
                  <a:cubicBezTo>
                    <a:pt x="101" y="5"/>
                    <a:pt x="98" y="6"/>
                    <a:pt x="95" y="8"/>
                  </a:cubicBezTo>
                  <a:cubicBezTo>
                    <a:pt x="93" y="10"/>
                    <a:pt x="91" y="12"/>
                    <a:pt x="89" y="14"/>
                  </a:cubicBezTo>
                  <a:cubicBezTo>
                    <a:pt x="88" y="15"/>
                    <a:pt x="87" y="16"/>
                    <a:pt x="86" y="17"/>
                  </a:cubicBezTo>
                  <a:cubicBezTo>
                    <a:pt x="79" y="25"/>
                    <a:pt x="75" y="35"/>
                    <a:pt x="75" y="46"/>
                  </a:cubicBezTo>
                  <a:cubicBezTo>
                    <a:pt x="75" y="57"/>
                    <a:pt x="79" y="68"/>
                    <a:pt x="86" y="76"/>
                  </a:cubicBezTo>
                  <a:cubicBezTo>
                    <a:pt x="87" y="77"/>
                    <a:pt x="88" y="78"/>
                    <a:pt x="89" y="79"/>
                  </a:cubicBezTo>
                  <a:close/>
                  <a:moveTo>
                    <a:pt x="242" y="274"/>
                  </a:moveTo>
                  <a:cubicBezTo>
                    <a:pt x="242" y="274"/>
                    <a:pt x="242" y="273"/>
                    <a:pt x="242" y="273"/>
                  </a:cubicBezTo>
                  <a:cubicBezTo>
                    <a:pt x="242" y="273"/>
                    <a:pt x="242" y="273"/>
                    <a:pt x="242" y="273"/>
                  </a:cubicBezTo>
                  <a:cubicBezTo>
                    <a:pt x="242" y="273"/>
                    <a:pt x="241" y="273"/>
                    <a:pt x="241" y="272"/>
                  </a:cubicBezTo>
                  <a:cubicBezTo>
                    <a:pt x="241" y="272"/>
                    <a:pt x="241" y="271"/>
                    <a:pt x="240" y="269"/>
                  </a:cubicBezTo>
                  <a:cubicBezTo>
                    <a:pt x="240" y="268"/>
                    <a:pt x="240" y="267"/>
                    <a:pt x="239" y="265"/>
                  </a:cubicBezTo>
                  <a:cubicBezTo>
                    <a:pt x="238" y="263"/>
                    <a:pt x="238" y="261"/>
                    <a:pt x="237" y="259"/>
                  </a:cubicBezTo>
                  <a:cubicBezTo>
                    <a:pt x="237" y="258"/>
                    <a:pt x="236" y="257"/>
                    <a:pt x="236" y="256"/>
                  </a:cubicBezTo>
                  <a:cubicBezTo>
                    <a:pt x="224" y="220"/>
                    <a:pt x="200" y="146"/>
                    <a:pt x="194" y="132"/>
                  </a:cubicBezTo>
                  <a:cubicBezTo>
                    <a:pt x="193" y="130"/>
                    <a:pt x="191" y="127"/>
                    <a:pt x="190" y="125"/>
                  </a:cubicBezTo>
                  <a:cubicBezTo>
                    <a:pt x="186" y="121"/>
                    <a:pt x="182" y="117"/>
                    <a:pt x="177" y="114"/>
                  </a:cubicBezTo>
                  <a:cubicBezTo>
                    <a:pt x="174" y="112"/>
                    <a:pt x="169" y="110"/>
                    <a:pt x="165" y="108"/>
                  </a:cubicBezTo>
                  <a:cubicBezTo>
                    <a:pt x="158" y="106"/>
                    <a:pt x="151" y="105"/>
                    <a:pt x="142" y="104"/>
                  </a:cubicBezTo>
                  <a:cubicBezTo>
                    <a:pt x="136" y="103"/>
                    <a:pt x="129" y="103"/>
                    <a:pt x="121" y="103"/>
                  </a:cubicBezTo>
                  <a:cubicBezTo>
                    <a:pt x="111" y="103"/>
                    <a:pt x="102" y="103"/>
                    <a:pt x="94" y="104"/>
                  </a:cubicBezTo>
                  <a:cubicBezTo>
                    <a:pt x="74" y="107"/>
                    <a:pt x="61" y="114"/>
                    <a:pt x="53" y="125"/>
                  </a:cubicBezTo>
                  <a:cubicBezTo>
                    <a:pt x="51" y="127"/>
                    <a:pt x="50" y="130"/>
                    <a:pt x="49" y="132"/>
                  </a:cubicBezTo>
                  <a:cubicBezTo>
                    <a:pt x="46" y="138"/>
                    <a:pt x="41" y="153"/>
                    <a:pt x="34" y="172"/>
                  </a:cubicBezTo>
                  <a:cubicBezTo>
                    <a:pt x="34" y="174"/>
                    <a:pt x="33" y="175"/>
                    <a:pt x="33" y="176"/>
                  </a:cubicBezTo>
                  <a:cubicBezTo>
                    <a:pt x="30" y="184"/>
                    <a:pt x="28" y="192"/>
                    <a:pt x="25" y="200"/>
                  </a:cubicBezTo>
                  <a:cubicBezTo>
                    <a:pt x="21" y="211"/>
                    <a:pt x="18" y="222"/>
                    <a:pt x="14" y="232"/>
                  </a:cubicBezTo>
                  <a:cubicBezTo>
                    <a:pt x="11" y="241"/>
                    <a:pt x="9" y="249"/>
                    <a:pt x="7" y="256"/>
                  </a:cubicBezTo>
                  <a:cubicBezTo>
                    <a:pt x="5" y="259"/>
                    <a:pt x="4" y="262"/>
                    <a:pt x="4" y="265"/>
                  </a:cubicBezTo>
                  <a:cubicBezTo>
                    <a:pt x="2" y="269"/>
                    <a:pt x="1" y="272"/>
                    <a:pt x="1" y="273"/>
                  </a:cubicBezTo>
                  <a:cubicBezTo>
                    <a:pt x="1" y="273"/>
                    <a:pt x="1" y="273"/>
                    <a:pt x="1" y="274"/>
                  </a:cubicBezTo>
                  <a:cubicBezTo>
                    <a:pt x="0" y="276"/>
                    <a:pt x="0" y="278"/>
                    <a:pt x="0" y="280"/>
                  </a:cubicBezTo>
                  <a:cubicBezTo>
                    <a:pt x="1" y="286"/>
                    <a:pt x="6" y="292"/>
                    <a:pt x="13" y="294"/>
                  </a:cubicBezTo>
                  <a:cubicBezTo>
                    <a:pt x="15" y="295"/>
                    <a:pt x="17" y="295"/>
                    <a:pt x="19" y="295"/>
                  </a:cubicBezTo>
                  <a:cubicBezTo>
                    <a:pt x="21" y="295"/>
                    <a:pt x="23" y="295"/>
                    <a:pt x="24" y="295"/>
                  </a:cubicBezTo>
                  <a:cubicBezTo>
                    <a:pt x="29" y="293"/>
                    <a:pt x="33" y="290"/>
                    <a:pt x="35" y="285"/>
                  </a:cubicBezTo>
                  <a:cubicBezTo>
                    <a:pt x="60" y="227"/>
                    <a:pt x="60" y="227"/>
                    <a:pt x="60" y="227"/>
                  </a:cubicBezTo>
                  <a:cubicBezTo>
                    <a:pt x="38" y="357"/>
                    <a:pt x="38" y="357"/>
                    <a:pt x="38" y="357"/>
                  </a:cubicBezTo>
                  <a:cubicBezTo>
                    <a:pt x="38" y="357"/>
                    <a:pt x="38" y="358"/>
                    <a:pt x="38" y="359"/>
                  </a:cubicBezTo>
                  <a:cubicBezTo>
                    <a:pt x="38" y="359"/>
                    <a:pt x="39" y="360"/>
                    <a:pt x="39" y="360"/>
                  </a:cubicBezTo>
                  <a:cubicBezTo>
                    <a:pt x="40" y="361"/>
                    <a:pt x="41" y="362"/>
                    <a:pt x="42" y="362"/>
                  </a:cubicBezTo>
                  <a:cubicBezTo>
                    <a:pt x="42" y="362"/>
                    <a:pt x="42" y="362"/>
                    <a:pt x="43" y="362"/>
                  </a:cubicBezTo>
                  <a:cubicBezTo>
                    <a:pt x="65" y="362"/>
                    <a:pt x="65" y="362"/>
                    <a:pt x="65" y="362"/>
                  </a:cubicBezTo>
                  <a:cubicBezTo>
                    <a:pt x="65" y="367"/>
                    <a:pt x="65" y="373"/>
                    <a:pt x="65" y="380"/>
                  </a:cubicBezTo>
                  <a:cubicBezTo>
                    <a:pt x="65" y="382"/>
                    <a:pt x="65" y="385"/>
                    <a:pt x="65" y="388"/>
                  </a:cubicBezTo>
                  <a:cubicBezTo>
                    <a:pt x="64" y="399"/>
                    <a:pt x="64" y="411"/>
                    <a:pt x="64" y="422"/>
                  </a:cubicBezTo>
                  <a:cubicBezTo>
                    <a:pt x="63" y="428"/>
                    <a:pt x="63" y="433"/>
                    <a:pt x="63" y="438"/>
                  </a:cubicBezTo>
                  <a:cubicBezTo>
                    <a:pt x="63" y="442"/>
                    <a:pt x="63" y="446"/>
                    <a:pt x="63" y="449"/>
                  </a:cubicBezTo>
                  <a:cubicBezTo>
                    <a:pt x="63" y="451"/>
                    <a:pt x="63" y="453"/>
                    <a:pt x="63" y="455"/>
                  </a:cubicBezTo>
                  <a:cubicBezTo>
                    <a:pt x="63" y="460"/>
                    <a:pt x="62" y="464"/>
                    <a:pt x="62" y="466"/>
                  </a:cubicBezTo>
                  <a:cubicBezTo>
                    <a:pt x="62" y="468"/>
                    <a:pt x="62" y="469"/>
                    <a:pt x="62" y="469"/>
                  </a:cubicBezTo>
                  <a:cubicBezTo>
                    <a:pt x="62" y="469"/>
                    <a:pt x="62" y="469"/>
                    <a:pt x="62" y="469"/>
                  </a:cubicBezTo>
                  <a:cubicBezTo>
                    <a:pt x="62" y="470"/>
                    <a:pt x="62" y="470"/>
                    <a:pt x="62" y="470"/>
                  </a:cubicBezTo>
                  <a:cubicBezTo>
                    <a:pt x="63" y="476"/>
                    <a:pt x="67" y="482"/>
                    <a:pt x="72" y="485"/>
                  </a:cubicBezTo>
                  <a:cubicBezTo>
                    <a:pt x="74" y="486"/>
                    <a:pt x="75" y="487"/>
                    <a:pt x="76" y="487"/>
                  </a:cubicBezTo>
                  <a:cubicBezTo>
                    <a:pt x="79" y="488"/>
                    <a:pt x="81" y="489"/>
                    <a:pt x="84" y="489"/>
                  </a:cubicBezTo>
                  <a:cubicBezTo>
                    <a:pt x="89" y="489"/>
                    <a:pt x="93" y="487"/>
                    <a:pt x="96" y="485"/>
                  </a:cubicBezTo>
                  <a:cubicBezTo>
                    <a:pt x="99" y="484"/>
                    <a:pt x="101" y="482"/>
                    <a:pt x="102" y="480"/>
                  </a:cubicBezTo>
                  <a:cubicBezTo>
                    <a:pt x="105" y="477"/>
                    <a:pt x="106" y="474"/>
                    <a:pt x="107" y="470"/>
                  </a:cubicBezTo>
                  <a:cubicBezTo>
                    <a:pt x="119" y="362"/>
                    <a:pt x="119" y="362"/>
                    <a:pt x="119" y="362"/>
                  </a:cubicBezTo>
                  <a:cubicBezTo>
                    <a:pt x="123" y="362"/>
                    <a:pt x="123" y="362"/>
                    <a:pt x="123" y="362"/>
                  </a:cubicBezTo>
                  <a:cubicBezTo>
                    <a:pt x="136" y="470"/>
                    <a:pt x="136" y="470"/>
                    <a:pt x="136" y="470"/>
                  </a:cubicBezTo>
                  <a:cubicBezTo>
                    <a:pt x="136" y="475"/>
                    <a:pt x="139" y="480"/>
                    <a:pt x="143" y="483"/>
                  </a:cubicBezTo>
                  <a:cubicBezTo>
                    <a:pt x="145" y="485"/>
                    <a:pt x="147" y="486"/>
                    <a:pt x="150" y="487"/>
                  </a:cubicBezTo>
                  <a:cubicBezTo>
                    <a:pt x="153" y="488"/>
                    <a:pt x="155" y="489"/>
                    <a:pt x="158" y="489"/>
                  </a:cubicBezTo>
                  <a:cubicBezTo>
                    <a:pt x="158" y="489"/>
                    <a:pt x="158" y="489"/>
                    <a:pt x="158" y="489"/>
                  </a:cubicBezTo>
                  <a:cubicBezTo>
                    <a:pt x="161" y="489"/>
                    <a:pt x="164" y="488"/>
                    <a:pt x="166" y="487"/>
                  </a:cubicBezTo>
                  <a:cubicBezTo>
                    <a:pt x="174" y="484"/>
                    <a:pt x="180" y="478"/>
                    <a:pt x="180" y="470"/>
                  </a:cubicBezTo>
                  <a:cubicBezTo>
                    <a:pt x="180" y="470"/>
                    <a:pt x="180" y="469"/>
                    <a:pt x="180" y="469"/>
                  </a:cubicBezTo>
                  <a:cubicBezTo>
                    <a:pt x="180" y="468"/>
                    <a:pt x="180" y="462"/>
                    <a:pt x="180" y="452"/>
                  </a:cubicBezTo>
                  <a:cubicBezTo>
                    <a:pt x="180" y="449"/>
                    <a:pt x="180" y="446"/>
                    <a:pt x="180" y="442"/>
                  </a:cubicBezTo>
                  <a:cubicBezTo>
                    <a:pt x="179" y="440"/>
                    <a:pt x="179" y="437"/>
                    <a:pt x="179" y="434"/>
                  </a:cubicBezTo>
                  <a:cubicBezTo>
                    <a:pt x="179" y="411"/>
                    <a:pt x="178" y="380"/>
                    <a:pt x="177" y="362"/>
                  </a:cubicBezTo>
                  <a:cubicBezTo>
                    <a:pt x="200" y="362"/>
                    <a:pt x="200" y="362"/>
                    <a:pt x="200" y="362"/>
                  </a:cubicBezTo>
                  <a:cubicBezTo>
                    <a:pt x="201" y="362"/>
                    <a:pt x="202" y="361"/>
                    <a:pt x="203" y="361"/>
                  </a:cubicBezTo>
                  <a:cubicBezTo>
                    <a:pt x="204" y="360"/>
                    <a:pt x="204" y="359"/>
                    <a:pt x="204" y="357"/>
                  </a:cubicBezTo>
                  <a:cubicBezTo>
                    <a:pt x="204" y="357"/>
                    <a:pt x="204" y="356"/>
                    <a:pt x="204" y="356"/>
                  </a:cubicBezTo>
                  <a:cubicBezTo>
                    <a:pt x="183" y="227"/>
                    <a:pt x="183" y="227"/>
                    <a:pt x="183" y="227"/>
                  </a:cubicBezTo>
                  <a:cubicBezTo>
                    <a:pt x="195" y="256"/>
                    <a:pt x="195" y="256"/>
                    <a:pt x="195" y="256"/>
                  </a:cubicBezTo>
                  <a:cubicBezTo>
                    <a:pt x="207" y="286"/>
                    <a:pt x="207" y="286"/>
                    <a:pt x="207" y="286"/>
                  </a:cubicBezTo>
                  <a:cubicBezTo>
                    <a:pt x="210" y="291"/>
                    <a:pt x="216" y="295"/>
                    <a:pt x="223" y="295"/>
                  </a:cubicBezTo>
                  <a:cubicBezTo>
                    <a:pt x="223" y="295"/>
                    <a:pt x="223" y="295"/>
                    <a:pt x="223" y="295"/>
                  </a:cubicBezTo>
                  <a:cubicBezTo>
                    <a:pt x="224" y="295"/>
                    <a:pt x="225" y="295"/>
                    <a:pt x="226" y="295"/>
                  </a:cubicBezTo>
                  <a:cubicBezTo>
                    <a:pt x="228" y="295"/>
                    <a:pt x="229" y="295"/>
                    <a:pt x="230" y="294"/>
                  </a:cubicBezTo>
                  <a:cubicBezTo>
                    <a:pt x="233" y="293"/>
                    <a:pt x="236" y="291"/>
                    <a:pt x="238" y="289"/>
                  </a:cubicBezTo>
                  <a:cubicBezTo>
                    <a:pt x="239" y="288"/>
                    <a:pt x="239" y="287"/>
                    <a:pt x="240" y="286"/>
                  </a:cubicBezTo>
                  <a:cubicBezTo>
                    <a:pt x="242" y="282"/>
                    <a:pt x="243" y="278"/>
                    <a:pt x="242" y="2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1401773045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8"/>
          <p:cNvSpPr>
            <a:spLocks noChangeArrowheads="1"/>
          </p:cNvSpPr>
          <p:nvPr/>
        </p:nvSpPr>
        <p:spPr bwMode="auto">
          <a:xfrm>
            <a:off x="3552358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7" name="Freeform 17"/>
          <p:cNvSpPr>
            <a:spLocks noEditPoints="1"/>
          </p:cNvSpPr>
          <p:nvPr/>
        </p:nvSpPr>
        <p:spPr bwMode="auto">
          <a:xfrm>
            <a:off x="3670018" y="1335102"/>
            <a:ext cx="586658" cy="401156"/>
          </a:xfrm>
          <a:custGeom>
            <a:avLst/>
            <a:gdLst>
              <a:gd name="T0" fmla="*/ 605 w 758"/>
              <a:gd name="T1" fmla="*/ 489 h 518"/>
              <a:gd name="T2" fmla="*/ 528 w 758"/>
              <a:gd name="T3" fmla="*/ 504 h 518"/>
              <a:gd name="T4" fmla="*/ 450 w 758"/>
              <a:gd name="T5" fmla="*/ 489 h 518"/>
              <a:gd name="T6" fmla="*/ 308 w 758"/>
              <a:gd name="T7" fmla="*/ 489 h 518"/>
              <a:gd name="T8" fmla="*/ 231 w 758"/>
              <a:gd name="T9" fmla="*/ 504 h 518"/>
              <a:gd name="T10" fmla="*/ 153 w 758"/>
              <a:gd name="T11" fmla="*/ 489 h 518"/>
              <a:gd name="T12" fmla="*/ 75 w 758"/>
              <a:gd name="T13" fmla="*/ 511 h 518"/>
              <a:gd name="T14" fmla="*/ 156 w 758"/>
              <a:gd name="T15" fmla="*/ 503 h 518"/>
              <a:gd name="T16" fmla="*/ 305 w 758"/>
              <a:gd name="T17" fmla="*/ 503 h 518"/>
              <a:gd name="T18" fmla="*/ 453 w 758"/>
              <a:gd name="T19" fmla="*/ 503 h 518"/>
              <a:gd name="T20" fmla="*/ 602 w 758"/>
              <a:gd name="T21" fmla="*/ 503 h 518"/>
              <a:gd name="T22" fmla="*/ 683 w 758"/>
              <a:gd name="T23" fmla="*/ 511 h 518"/>
              <a:gd name="T24" fmla="*/ 756 w 758"/>
              <a:gd name="T25" fmla="*/ 424 h 518"/>
              <a:gd name="T26" fmla="*/ 676 w 758"/>
              <a:gd name="T27" fmla="*/ 449 h 518"/>
              <a:gd name="T28" fmla="*/ 600 w 758"/>
              <a:gd name="T29" fmla="*/ 423 h 518"/>
              <a:gd name="T30" fmla="*/ 704 w 758"/>
              <a:gd name="T31" fmla="*/ 177 h 518"/>
              <a:gd name="T32" fmla="*/ 483 w 758"/>
              <a:gd name="T33" fmla="*/ 168 h 518"/>
              <a:gd name="T34" fmla="*/ 422 w 758"/>
              <a:gd name="T35" fmla="*/ 242 h 518"/>
              <a:gd name="T36" fmla="*/ 228 w 758"/>
              <a:gd name="T37" fmla="*/ 172 h 518"/>
              <a:gd name="T38" fmla="*/ 259 w 758"/>
              <a:gd name="T39" fmla="*/ 167 h 518"/>
              <a:gd name="T40" fmla="*/ 279 w 758"/>
              <a:gd name="T41" fmla="*/ 68 h 518"/>
              <a:gd name="T42" fmla="*/ 226 w 758"/>
              <a:gd name="T43" fmla="*/ 65 h 518"/>
              <a:gd name="T44" fmla="*/ 219 w 758"/>
              <a:gd name="T45" fmla="*/ 0 h 518"/>
              <a:gd name="T46" fmla="*/ 212 w 758"/>
              <a:gd name="T47" fmla="*/ 65 h 518"/>
              <a:gd name="T48" fmla="*/ 65 w 758"/>
              <a:gd name="T49" fmla="*/ 72 h 518"/>
              <a:gd name="T50" fmla="*/ 72 w 758"/>
              <a:gd name="T51" fmla="*/ 176 h 518"/>
              <a:gd name="T52" fmla="*/ 86 w 758"/>
              <a:gd name="T53" fmla="*/ 242 h 518"/>
              <a:gd name="T54" fmla="*/ 24 w 758"/>
              <a:gd name="T55" fmla="*/ 255 h 518"/>
              <a:gd name="T56" fmla="*/ 96 w 758"/>
              <a:gd name="T57" fmla="*/ 448 h 518"/>
              <a:gd name="T58" fmla="*/ 13 w 758"/>
              <a:gd name="T59" fmla="*/ 424 h 518"/>
              <a:gd name="T60" fmla="*/ 3 w 758"/>
              <a:gd name="T61" fmla="*/ 434 h 518"/>
              <a:gd name="T62" fmla="*/ 114 w 758"/>
              <a:gd name="T63" fmla="*/ 459 h 518"/>
              <a:gd name="T64" fmla="*/ 156 w 758"/>
              <a:gd name="T65" fmla="*/ 439 h 518"/>
              <a:gd name="T66" fmla="*/ 305 w 758"/>
              <a:gd name="T67" fmla="*/ 439 h 518"/>
              <a:gd name="T68" fmla="*/ 453 w 758"/>
              <a:gd name="T69" fmla="*/ 439 h 518"/>
              <a:gd name="T70" fmla="*/ 602 w 758"/>
              <a:gd name="T71" fmla="*/ 439 h 518"/>
              <a:gd name="T72" fmla="*/ 755 w 758"/>
              <a:gd name="T73" fmla="*/ 434 h 518"/>
              <a:gd name="T74" fmla="*/ 79 w 758"/>
              <a:gd name="T75" fmla="*/ 162 h 518"/>
              <a:gd name="T76" fmla="*/ 265 w 758"/>
              <a:gd name="T77" fmla="*/ 79 h 518"/>
              <a:gd name="T78" fmla="*/ 221 w 758"/>
              <a:gd name="T79" fmla="*/ 158 h 518"/>
              <a:gd name="T80" fmla="*/ 214 w 758"/>
              <a:gd name="T81" fmla="*/ 242 h 518"/>
              <a:gd name="T82" fmla="*/ 100 w 758"/>
              <a:gd name="T83" fmla="*/ 169 h 518"/>
              <a:gd name="T84" fmla="*/ 79 w 758"/>
              <a:gd name="T85" fmla="*/ 162 h 518"/>
              <a:gd name="T86" fmla="*/ 528 w 758"/>
              <a:gd name="T87" fmla="*/ 449 h 518"/>
              <a:gd name="T88" fmla="*/ 449 w 758"/>
              <a:gd name="T89" fmla="*/ 424 h 518"/>
              <a:gd name="T90" fmla="*/ 310 w 758"/>
              <a:gd name="T91" fmla="*/ 424 h 518"/>
              <a:gd name="T92" fmla="*/ 231 w 758"/>
              <a:gd name="T93" fmla="*/ 449 h 518"/>
              <a:gd name="T94" fmla="*/ 151 w 758"/>
              <a:gd name="T95" fmla="*/ 424 h 518"/>
              <a:gd name="T96" fmla="*/ 30 w 758"/>
              <a:gd name="T97" fmla="*/ 324 h 518"/>
              <a:gd name="T98" fmla="*/ 52 w 758"/>
              <a:gd name="T99" fmla="*/ 256 h 518"/>
              <a:gd name="T100" fmla="*/ 455 w 758"/>
              <a:gd name="T101" fmla="*/ 218 h 518"/>
              <a:gd name="T102" fmla="*/ 688 w 758"/>
              <a:gd name="T103" fmla="*/ 182 h 518"/>
              <a:gd name="T104" fmla="*/ 646 w 758"/>
              <a:gd name="T105" fmla="*/ 341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58" h="518">
                <a:moveTo>
                  <a:pt x="676" y="504"/>
                </a:moveTo>
                <a:cubicBezTo>
                  <a:pt x="651" y="504"/>
                  <a:pt x="626" y="499"/>
                  <a:pt x="605" y="489"/>
                </a:cubicBezTo>
                <a:cubicBezTo>
                  <a:pt x="603" y="488"/>
                  <a:pt x="601" y="488"/>
                  <a:pt x="599" y="489"/>
                </a:cubicBezTo>
                <a:cubicBezTo>
                  <a:pt x="578" y="499"/>
                  <a:pt x="553" y="504"/>
                  <a:pt x="528" y="504"/>
                </a:cubicBezTo>
                <a:cubicBezTo>
                  <a:pt x="502" y="504"/>
                  <a:pt x="478" y="499"/>
                  <a:pt x="456" y="489"/>
                </a:cubicBezTo>
                <a:cubicBezTo>
                  <a:pt x="455" y="488"/>
                  <a:pt x="452" y="488"/>
                  <a:pt x="450" y="489"/>
                </a:cubicBezTo>
                <a:cubicBezTo>
                  <a:pt x="429" y="499"/>
                  <a:pt x="404" y="504"/>
                  <a:pt x="379" y="504"/>
                </a:cubicBezTo>
                <a:cubicBezTo>
                  <a:pt x="354" y="504"/>
                  <a:pt x="329" y="499"/>
                  <a:pt x="308" y="489"/>
                </a:cubicBezTo>
                <a:cubicBezTo>
                  <a:pt x="306" y="488"/>
                  <a:pt x="304" y="488"/>
                  <a:pt x="302" y="489"/>
                </a:cubicBezTo>
                <a:cubicBezTo>
                  <a:pt x="281" y="499"/>
                  <a:pt x="256" y="504"/>
                  <a:pt x="231" y="504"/>
                </a:cubicBezTo>
                <a:cubicBezTo>
                  <a:pt x="205" y="504"/>
                  <a:pt x="181" y="499"/>
                  <a:pt x="159" y="489"/>
                </a:cubicBezTo>
                <a:cubicBezTo>
                  <a:pt x="157" y="488"/>
                  <a:pt x="155" y="488"/>
                  <a:pt x="153" y="489"/>
                </a:cubicBezTo>
                <a:cubicBezTo>
                  <a:pt x="132" y="499"/>
                  <a:pt x="107" y="504"/>
                  <a:pt x="82" y="504"/>
                </a:cubicBezTo>
                <a:cubicBezTo>
                  <a:pt x="78" y="504"/>
                  <a:pt x="75" y="507"/>
                  <a:pt x="75" y="511"/>
                </a:cubicBezTo>
                <a:cubicBezTo>
                  <a:pt x="75" y="515"/>
                  <a:pt x="78" y="518"/>
                  <a:pt x="82" y="518"/>
                </a:cubicBezTo>
                <a:cubicBezTo>
                  <a:pt x="108" y="518"/>
                  <a:pt x="134" y="513"/>
                  <a:pt x="156" y="503"/>
                </a:cubicBezTo>
                <a:cubicBezTo>
                  <a:pt x="179" y="513"/>
                  <a:pt x="204" y="518"/>
                  <a:pt x="231" y="518"/>
                </a:cubicBezTo>
                <a:cubicBezTo>
                  <a:pt x="257" y="518"/>
                  <a:pt x="282" y="513"/>
                  <a:pt x="305" y="503"/>
                </a:cubicBezTo>
                <a:cubicBezTo>
                  <a:pt x="327" y="513"/>
                  <a:pt x="353" y="518"/>
                  <a:pt x="379" y="518"/>
                </a:cubicBezTo>
                <a:cubicBezTo>
                  <a:pt x="405" y="518"/>
                  <a:pt x="431" y="513"/>
                  <a:pt x="453" y="503"/>
                </a:cubicBezTo>
                <a:cubicBezTo>
                  <a:pt x="476" y="513"/>
                  <a:pt x="502" y="518"/>
                  <a:pt x="528" y="518"/>
                </a:cubicBezTo>
                <a:cubicBezTo>
                  <a:pt x="554" y="518"/>
                  <a:pt x="579" y="513"/>
                  <a:pt x="602" y="503"/>
                </a:cubicBezTo>
                <a:cubicBezTo>
                  <a:pt x="625" y="513"/>
                  <a:pt x="650" y="518"/>
                  <a:pt x="676" y="518"/>
                </a:cubicBezTo>
                <a:cubicBezTo>
                  <a:pt x="680" y="518"/>
                  <a:pt x="683" y="515"/>
                  <a:pt x="683" y="511"/>
                </a:cubicBezTo>
                <a:cubicBezTo>
                  <a:pt x="683" y="507"/>
                  <a:pt x="680" y="504"/>
                  <a:pt x="676" y="504"/>
                </a:cubicBezTo>
                <a:close/>
                <a:moveTo>
                  <a:pt x="756" y="424"/>
                </a:moveTo>
                <a:cubicBezTo>
                  <a:pt x="753" y="422"/>
                  <a:pt x="748" y="422"/>
                  <a:pt x="746" y="424"/>
                </a:cubicBezTo>
                <a:cubicBezTo>
                  <a:pt x="730" y="440"/>
                  <a:pt x="704" y="449"/>
                  <a:pt x="676" y="449"/>
                </a:cubicBezTo>
                <a:cubicBezTo>
                  <a:pt x="649" y="449"/>
                  <a:pt x="623" y="440"/>
                  <a:pt x="607" y="424"/>
                </a:cubicBezTo>
                <a:cubicBezTo>
                  <a:pt x="605" y="422"/>
                  <a:pt x="602" y="422"/>
                  <a:pt x="600" y="423"/>
                </a:cubicBezTo>
                <a:cubicBezTo>
                  <a:pt x="622" y="402"/>
                  <a:pt x="644" y="377"/>
                  <a:pt x="658" y="347"/>
                </a:cubicBezTo>
                <a:cubicBezTo>
                  <a:pt x="700" y="262"/>
                  <a:pt x="717" y="199"/>
                  <a:pt x="704" y="177"/>
                </a:cubicBezTo>
                <a:cubicBezTo>
                  <a:pt x="700" y="171"/>
                  <a:pt x="695" y="168"/>
                  <a:pt x="688" y="168"/>
                </a:cubicBezTo>
                <a:cubicBezTo>
                  <a:pt x="483" y="168"/>
                  <a:pt x="483" y="168"/>
                  <a:pt x="483" y="168"/>
                </a:cubicBezTo>
                <a:cubicBezTo>
                  <a:pt x="459" y="168"/>
                  <a:pt x="450" y="192"/>
                  <a:pt x="442" y="213"/>
                </a:cubicBezTo>
                <a:cubicBezTo>
                  <a:pt x="436" y="227"/>
                  <a:pt x="430" y="242"/>
                  <a:pt x="422" y="242"/>
                </a:cubicBezTo>
                <a:cubicBezTo>
                  <a:pt x="228" y="242"/>
                  <a:pt x="228" y="242"/>
                  <a:pt x="228" y="242"/>
                </a:cubicBezTo>
                <a:cubicBezTo>
                  <a:pt x="228" y="172"/>
                  <a:pt x="228" y="172"/>
                  <a:pt x="228" y="172"/>
                </a:cubicBezTo>
                <a:cubicBezTo>
                  <a:pt x="252" y="172"/>
                  <a:pt x="252" y="172"/>
                  <a:pt x="252" y="172"/>
                </a:cubicBezTo>
                <a:cubicBezTo>
                  <a:pt x="256" y="172"/>
                  <a:pt x="258" y="170"/>
                  <a:pt x="259" y="167"/>
                </a:cubicBezTo>
                <a:cubicBezTo>
                  <a:pt x="281" y="74"/>
                  <a:pt x="281" y="74"/>
                  <a:pt x="281" y="74"/>
                </a:cubicBezTo>
                <a:cubicBezTo>
                  <a:pt x="281" y="71"/>
                  <a:pt x="281" y="69"/>
                  <a:pt x="279" y="68"/>
                </a:cubicBezTo>
                <a:cubicBezTo>
                  <a:pt x="278" y="66"/>
                  <a:pt x="276" y="65"/>
                  <a:pt x="274" y="65"/>
                </a:cubicBezTo>
                <a:cubicBezTo>
                  <a:pt x="226" y="65"/>
                  <a:pt x="226" y="65"/>
                  <a:pt x="226" y="65"/>
                </a:cubicBezTo>
                <a:cubicBezTo>
                  <a:pt x="226" y="7"/>
                  <a:pt x="226" y="7"/>
                  <a:pt x="226" y="7"/>
                </a:cubicBezTo>
                <a:cubicBezTo>
                  <a:pt x="226" y="3"/>
                  <a:pt x="223" y="0"/>
                  <a:pt x="219" y="0"/>
                </a:cubicBezTo>
                <a:cubicBezTo>
                  <a:pt x="216" y="0"/>
                  <a:pt x="212" y="3"/>
                  <a:pt x="212" y="7"/>
                </a:cubicBezTo>
                <a:cubicBezTo>
                  <a:pt x="212" y="65"/>
                  <a:pt x="212" y="65"/>
                  <a:pt x="212" y="65"/>
                </a:cubicBezTo>
                <a:cubicBezTo>
                  <a:pt x="72" y="65"/>
                  <a:pt x="72" y="65"/>
                  <a:pt x="72" y="65"/>
                </a:cubicBezTo>
                <a:cubicBezTo>
                  <a:pt x="68" y="65"/>
                  <a:pt x="65" y="68"/>
                  <a:pt x="65" y="72"/>
                </a:cubicBezTo>
                <a:cubicBezTo>
                  <a:pt x="65" y="169"/>
                  <a:pt x="65" y="169"/>
                  <a:pt x="65" y="169"/>
                </a:cubicBezTo>
                <a:cubicBezTo>
                  <a:pt x="65" y="172"/>
                  <a:pt x="68" y="176"/>
                  <a:pt x="72" y="176"/>
                </a:cubicBezTo>
                <a:cubicBezTo>
                  <a:pt x="86" y="176"/>
                  <a:pt x="86" y="176"/>
                  <a:pt x="86" y="176"/>
                </a:cubicBezTo>
                <a:cubicBezTo>
                  <a:pt x="86" y="242"/>
                  <a:pt x="86" y="242"/>
                  <a:pt x="86" y="242"/>
                </a:cubicBezTo>
                <a:cubicBezTo>
                  <a:pt x="52" y="242"/>
                  <a:pt x="52" y="242"/>
                  <a:pt x="52" y="242"/>
                </a:cubicBezTo>
                <a:cubicBezTo>
                  <a:pt x="40" y="242"/>
                  <a:pt x="30" y="246"/>
                  <a:pt x="24" y="255"/>
                </a:cubicBezTo>
                <a:cubicBezTo>
                  <a:pt x="9" y="275"/>
                  <a:pt x="12" y="309"/>
                  <a:pt x="17" y="328"/>
                </a:cubicBezTo>
                <a:cubicBezTo>
                  <a:pt x="23" y="348"/>
                  <a:pt x="48" y="409"/>
                  <a:pt x="96" y="448"/>
                </a:cubicBezTo>
                <a:cubicBezTo>
                  <a:pt x="91" y="449"/>
                  <a:pt x="87" y="449"/>
                  <a:pt x="82" y="449"/>
                </a:cubicBezTo>
                <a:cubicBezTo>
                  <a:pt x="54" y="449"/>
                  <a:pt x="29" y="440"/>
                  <a:pt x="13" y="424"/>
                </a:cubicBezTo>
                <a:cubicBezTo>
                  <a:pt x="10" y="422"/>
                  <a:pt x="6" y="422"/>
                  <a:pt x="3" y="424"/>
                </a:cubicBezTo>
                <a:cubicBezTo>
                  <a:pt x="0" y="427"/>
                  <a:pt x="0" y="431"/>
                  <a:pt x="3" y="434"/>
                </a:cubicBezTo>
                <a:cubicBezTo>
                  <a:pt x="21" y="452"/>
                  <a:pt x="51" y="463"/>
                  <a:pt x="82" y="463"/>
                </a:cubicBezTo>
                <a:cubicBezTo>
                  <a:pt x="93" y="463"/>
                  <a:pt x="104" y="462"/>
                  <a:pt x="114" y="459"/>
                </a:cubicBezTo>
                <a:cubicBezTo>
                  <a:pt x="114" y="459"/>
                  <a:pt x="115" y="459"/>
                  <a:pt x="116" y="459"/>
                </a:cubicBezTo>
                <a:cubicBezTo>
                  <a:pt x="131" y="455"/>
                  <a:pt x="145" y="448"/>
                  <a:pt x="156" y="439"/>
                </a:cubicBezTo>
                <a:cubicBezTo>
                  <a:pt x="175" y="454"/>
                  <a:pt x="202" y="463"/>
                  <a:pt x="231" y="463"/>
                </a:cubicBezTo>
                <a:cubicBezTo>
                  <a:pt x="259" y="463"/>
                  <a:pt x="286" y="454"/>
                  <a:pt x="305" y="439"/>
                </a:cubicBezTo>
                <a:cubicBezTo>
                  <a:pt x="323" y="454"/>
                  <a:pt x="351" y="463"/>
                  <a:pt x="379" y="463"/>
                </a:cubicBezTo>
                <a:cubicBezTo>
                  <a:pt x="408" y="463"/>
                  <a:pt x="435" y="454"/>
                  <a:pt x="453" y="439"/>
                </a:cubicBezTo>
                <a:cubicBezTo>
                  <a:pt x="472" y="454"/>
                  <a:pt x="499" y="463"/>
                  <a:pt x="528" y="463"/>
                </a:cubicBezTo>
                <a:cubicBezTo>
                  <a:pt x="556" y="463"/>
                  <a:pt x="583" y="454"/>
                  <a:pt x="602" y="439"/>
                </a:cubicBezTo>
                <a:cubicBezTo>
                  <a:pt x="620" y="454"/>
                  <a:pt x="648" y="463"/>
                  <a:pt x="676" y="463"/>
                </a:cubicBezTo>
                <a:cubicBezTo>
                  <a:pt x="707" y="463"/>
                  <a:pt x="737" y="452"/>
                  <a:pt x="755" y="434"/>
                </a:cubicBezTo>
                <a:cubicBezTo>
                  <a:pt x="758" y="431"/>
                  <a:pt x="758" y="427"/>
                  <a:pt x="756" y="424"/>
                </a:cubicBezTo>
                <a:close/>
                <a:moveTo>
                  <a:pt x="79" y="162"/>
                </a:moveTo>
                <a:cubicBezTo>
                  <a:pt x="79" y="79"/>
                  <a:pt x="79" y="79"/>
                  <a:pt x="79" y="79"/>
                </a:cubicBezTo>
                <a:cubicBezTo>
                  <a:pt x="265" y="79"/>
                  <a:pt x="265" y="79"/>
                  <a:pt x="265" y="79"/>
                </a:cubicBezTo>
                <a:cubicBezTo>
                  <a:pt x="247" y="158"/>
                  <a:pt x="247" y="158"/>
                  <a:pt x="247" y="158"/>
                </a:cubicBezTo>
                <a:cubicBezTo>
                  <a:pt x="221" y="158"/>
                  <a:pt x="221" y="158"/>
                  <a:pt x="221" y="158"/>
                </a:cubicBezTo>
                <a:cubicBezTo>
                  <a:pt x="217" y="158"/>
                  <a:pt x="214" y="162"/>
                  <a:pt x="214" y="165"/>
                </a:cubicBezTo>
                <a:cubicBezTo>
                  <a:pt x="214" y="242"/>
                  <a:pt x="214" y="242"/>
                  <a:pt x="214" y="242"/>
                </a:cubicBezTo>
                <a:cubicBezTo>
                  <a:pt x="100" y="242"/>
                  <a:pt x="100" y="242"/>
                  <a:pt x="100" y="242"/>
                </a:cubicBezTo>
                <a:cubicBezTo>
                  <a:pt x="100" y="169"/>
                  <a:pt x="100" y="169"/>
                  <a:pt x="100" y="169"/>
                </a:cubicBezTo>
                <a:cubicBezTo>
                  <a:pt x="100" y="165"/>
                  <a:pt x="97" y="162"/>
                  <a:pt x="93" y="162"/>
                </a:cubicBezTo>
                <a:lnTo>
                  <a:pt x="79" y="162"/>
                </a:lnTo>
                <a:close/>
                <a:moveTo>
                  <a:pt x="545" y="448"/>
                </a:moveTo>
                <a:cubicBezTo>
                  <a:pt x="539" y="449"/>
                  <a:pt x="534" y="449"/>
                  <a:pt x="528" y="449"/>
                </a:cubicBezTo>
                <a:cubicBezTo>
                  <a:pt x="500" y="449"/>
                  <a:pt x="474" y="440"/>
                  <a:pt x="458" y="424"/>
                </a:cubicBezTo>
                <a:cubicBezTo>
                  <a:pt x="456" y="422"/>
                  <a:pt x="451" y="422"/>
                  <a:pt x="449" y="424"/>
                </a:cubicBezTo>
                <a:cubicBezTo>
                  <a:pt x="433" y="440"/>
                  <a:pt x="407" y="449"/>
                  <a:pt x="379" y="449"/>
                </a:cubicBezTo>
                <a:cubicBezTo>
                  <a:pt x="352" y="449"/>
                  <a:pt x="326" y="440"/>
                  <a:pt x="310" y="424"/>
                </a:cubicBezTo>
                <a:cubicBezTo>
                  <a:pt x="307" y="422"/>
                  <a:pt x="303" y="422"/>
                  <a:pt x="300" y="424"/>
                </a:cubicBezTo>
                <a:cubicBezTo>
                  <a:pt x="284" y="440"/>
                  <a:pt x="258" y="449"/>
                  <a:pt x="231" y="449"/>
                </a:cubicBezTo>
                <a:cubicBezTo>
                  <a:pt x="203" y="449"/>
                  <a:pt x="177" y="440"/>
                  <a:pt x="161" y="424"/>
                </a:cubicBezTo>
                <a:cubicBezTo>
                  <a:pt x="159" y="422"/>
                  <a:pt x="154" y="422"/>
                  <a:pt x="151" y="424"/>
                </a:cubicBezTo>
                <a:cubicBezTo>
                  <a:pt x="142" y="434"/>
                  <a:pt x="129" y="441"/>
                  <a:pt x="114" y="445"/>
                </a:cubicBezTo>
                <a:cubicBezTo>
                  <a:pt x="64" y="409"/>
                  <a:pt x="36" y="344"/>
                  <a:pt x="30" y="324"/>
                </a:cubicBezTo>
                <a:cubicBezTo>
                  <a:pt x="26" y="308"/>
                  <a:pt x="24" y="278"/>
                  <a:pt x="35" y="264"/>
                </a:cubicBezTo>
                <a:cubicBezTo>
                  <a:pt x="39" y="258"/>
                  <a:pt x="45" y="256"/>
                  <a:pt x="52" y="256"/>
                </a:cubicBezTo>
                <a:cubicBezTo>
                  <a:pt x="422" y="256"/>
                  <a:pt x="422" y="256"/>
                  <a:pt x="422" y="256"/>
                </a:cubicBezTo>
                <a:cubicBezTo>
                  <a:pt x="440" y="256"/>
                  <a:pt x="448" y="236"/>
                  <a:pt x="455" y="218"/>
                </a:cubicBezTo>
                <a:cubicBezTo>
                  <a:pt x="463" y="197"/>
                  <a:pt x="470" y="182"/>
                  <a:pt x="483" y="182"/>
                </a:cubicBezTo>
                <a:cubicBezTo>
                  <a:pt x="688" y="182"/>
                  <a:pt x="688" y="182"/>
                  <a:pt x="688" y="182"/>
                </a:cubicBezTo>
                <a:cubicBezTo>
                  <a:pt x="690" y="182"/>
                  <a:pt x="691" y="182"/>
                  <a:pt x="692" y="184"/>
                </a:cubicBezTo>
                <a:cubicBezTo>
                  <a:pt x="700" y="198"/>
                  <a:pt x="690" y="253"/>
                  <a:pt x="646" y="341"/>
                </a:cubicBezTo>
                <a:cubicBezTo>
                  <a:pt x="622" y="388"/>
                  <a:pt x="578" y="425"/>
                  <a:pt x="545" y="4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" name="Oval 6"/>
          <p:cNvSpPr>
            <a:spLocks noChangeArrowheads="1"/>
          </p:cNvSpPr>
          <p:nvPr/>
        </p:nvSpPr>
        <p:spPr bwMode="auto">
          <a:xfrm>
            <a:off x="6137845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8" name="Freeform 18"/>
          <p:cNvSpPr>
            <a:spLocks noEditPoints="1"/>
          </p:cNvSpPr>
          <p:nvPr/>
        </p:nvSpPr>
        <p:spPr bwMode="auto">
          <a:xfrm>
            <a:off x="6258550" y="1251528"/>
            <a:ext cx="581222" cy="497840"/>
          </a:xfrm>
          <a:custGeom>
            <a:avLst/>
            <a:gdLst>
              <a:gd name="T0" fmla="*/ 699 w 750"/>
              <a:gd name="T1" fmla="*/ 563 h 643"/>
              <a:gd name="T2" fmla="*/ 675 w 750"/>
              <a:gd name="T3" fmla="*/ 595 h 643"/>
              <a:gd name="T4" fmla="*/ 669 w 750"/>
              <a:gd name="T5" fmla="*/ 584 h 643"/>
              <a:gd name="T6" fmla="*/ 633 w 750"/>
              <a:gd name="T7" fmla="*/ 532 h 643"/>
              <a:gd name="T8" fmla="*/ 640 w 750"/>
              <a:gd name="T9" fmla="*/ 520 h 643"/>
              <a:gd name="T10" fmla="*/ 736 w 750"/>
              <a:gd name="T11" fmla="*/ 382 h 643"/>
              <a:gd name="T12" fmla="*/ 670 w 750"/>
              <a:gd name="T13" fmla="*/ 375 h 643"/>
              <a:gd name="T14" fmla="*/ 736 w 750"/>
              <a:gd name="T15" fmla="*/ 368 h 643"/>
              <a:gd name="T16" fmla="*/ 640 w 750"/>
              <a:gd name="T17" fmla="*/ 230 h 643"/>
              <a:gd name="T18" fmla="*/ 631 w 750"/>
              <a:gd name="T19" fmla="*/ 228 h 643"/>
              <a:gd name="T20" fmla="*/ 684 w 750"/>
              <a:gd name="T21" fmla="*/ 189 h 643"/>
              <a:gd name="T22" fmla="*/ 532 w 750"/>
              <a:gd name="T23" fmla="*/ 117 h 643"/>
              <a:gd name="T24" fmla="*/ 523 w 750"/>
              <a:gd name="T25" fmla="*/ 119 h 643"/>
              <a:gd name="T26" fmla="*/ 549 w 750"/>
              <a:gd name="T27" fmla="*/ 59 h 643"/>
              <a:gd name="T28" fmla="*/ 382 w 750"/>
              <a:gd name="T29" fmla="*/ 73 h 643"/>
              <a:gd name="T30" fmla="*/ 368 w 750"/>
              <a:gd name="T31" fmla="*/ 73 h 643"/>
              <a:gd name="T32" fmla="*/ 201 w 750"/>
              <a:gd name="T33" fmla="*/ 59 h 643"/>
              <a:gd name="T34" fmla="*/ 227 w 750"/>
              <a:gd name="T35" fmla="*/ 119 h 643"/>
              <a:gd name="T36" fmla="*/ 218 w 750"/>
              <a:gd name="T37" fmla="*/ 117 h 643"/>
              <a:gd name="T38" fmla="*/ 66 w 750"/>
              <a:gd name="T39" fmla="*/ 189 h 643"/>
              <a:gd name="T40" fmla="*/ 119 w 750"/>
              <a:gd name="T41" fmla="*/ 228 h 643"/>
              <a:gd name="T42" fmla="*/ 110 w 750"/>
              <a:gd name="T43" fmla="*/ 230 h 643"/>
              <a:gd name="T44" fmla="*/ 14 w 750"/>
              <a:gd name="T45" fmla="*/ 368 h 643"/>
              <a:gd name="T46" fmla="*/ 80 w 750"/>
              <a:gd name="T47" fmla="*/ 375 h 643"/>
              <a:gd name="T48" fmla="*/ 14 w 750"/>
              <a:gd name="T49" fmla="*/ 382 h 643"/>
              <a:gd name="T50" fmla="*/ 110 w 750"/>
              <a:gd name="T51" fmla="*/ 520 h 643"/>
              <a:gd name="T52" fmla="*/ 117 w 750"/>
              <a:gd name="T53" fmla="*/ 532 h 643"/>
              <a:gd name="T54" fmla="*/ 81 w 750"/>
              <a:gd name="T55" fmla="*/ 584 h 643"/>
              <a:gd name="T56" fmla="*/ 69 w 750"/>
              <a:gd name="T57" fmla="*/ 592 h 643"/>
              <a:gd name="T58" fmla="*/ 50 w 750"/>
              <a:gd name="T59" fmla="*/ 563 h 643"/>
              <a:gd name="T60" fmla="*/ 0 w 750"/>
              <a:gd name="T61" fmla="*/ 375 h 643"/>
              <a:gd name="T62" fmla="*/ 50 w 750"/>
              <a:gd name="T63" fmla="*/ 188 h 643"/>
              <a:gd name="T64" fmla="*/ 186 w 750"/>
              <a:gd name="T65" fmla="*/ 51 h 643"/>
              <a:gd name="T66" fmla="*/ 189 w 750"/>
              <a:gd name="T67" fmla="*/ 50 h 643"/>
              <a:gd name="T68" fmla="*/ 561 w 750"/>
              <a:gd name="T69" fmla="*/ 50 h 643"/>
              <a:gd name="T70" fmla="*/ 564 w 750"/>
              <a:gd name="T71" fmla="*/ 51 h 643"/>
              <a:gd name="T72" fmla="*/ 700 w 750"/>
              <a:gd name="T73" fmla="*/ 188 h 643"/>
              <a:gd name="T74" fmla="*/ 750 w 750"/>
              <a:gd name="T75" fmla="*/ 375 h 643"/>
              <a:gd name="T76" fmla="*/ 700 w 750"/>
              <a:gd name="T77" fmla="*/ 563 h 643"/>
              <a:gd name="T78" fmla="*/ 533 w 750"/>
              <a:gd name="T79" fmla="*/ 636 h 643"/>
              <a:gd name="T80" fmla="*/ 224 w 750"/>
              <a:gd name="T81" fmla="*/ 643 h 643"/>
              <a:gd name="T82" fmla="*/ 217 w 750"/>
              <a:gd name="T83" fmla="*/ 560 h 643"/>
              <a:gd name="T84" fmla="*/ 526 w 750"/>
              <a:gd name="T85" fmla="*/ 553 h 643"/>
              <a:gd name="T86" fmla="*/ 519 w 750"/>
              <a:gd name="T87" fmla="*/ 567 h 643"/>
              <a:gd name="T88" fmla="*/ 231 w 750"/>
              <a:gd name="T89" fmla="*/ 629 h 643"/>
              <a:gd name="T90" fmla="*/ 519 w 750"/>
              <a:gd name="T91" fmla="*/ 567 h 643"/>
              <a:gd name="T92" fmla="*/ 577 w 750"/>
              <a:gd name="T93" fmla="*/ 267 h 643"/>
              <a:gd name="T94" fmla="*/ 449 w 750"/>
              <a:gd name="T95" fmla="*/ 375 h 643"/>
              <a:gd name="T96" fmla="*/ 301 w 750"/>
              <a:gd name="T97" fmla="*/ 375 h 643"/>
              <a:gd name="T98" fmla="*/ 435 w 750"/>
              <a:gd name="T99" fmla="*/ 332 h 643"/>
              <a:gd name="T100" fmla="*/ 579 w 750"/>
              <a:gd name="T101" fmla="*/ 257 h 643"/>
              <a:gd name="T102" fmla="*/ 375 w 750"/>
              <a:gd name="T103" fmla="*/ 315 h 643"/>
              <a:gd name="T104" fmla="*/ 375 w 750"/>
              <a:gd name="T105" fmla="*/ 435 h 6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50" h="643">
                <a:moveTo>
                  <a:pt x="700" y="563"/>
                </a:moveTo>
                <a:cubicBezTo>
                  <a:pt x="699" y="563"/>
                  <a:pt x="699" y="563"/>
                  <a:pt x="699" y="563"/>
                </a:cubicBezTo>
                <a:cubicBezTo>
                  <a:pt x="693" y="573"/>
                  <a:pt x="687" y="583"/>
                  <a:pt x="680" y="592"/>
                </a:cubicBezTo>
                <a:cubicBezTo>
                  <a:pt x="679" y="594"/>
                  <a:pt x="677" y="595"/>
                  <a:pt x="675" y="595"/>
                </a:cubicBezTo>
                <a:cubicBezTo>
                  <a:pt x="673" y="595"/>
                  <a:pt x="672" y="595"/>
                  <a:pt x="671" y="594"/>
                </a:cubicBezTo>
                <a:cubicBezTo>
                  <a:pt x="667" y="592"/>
                  <a:pt x="667" y="587"/>
                  <a:pt x="669" y="584"/>
                </a:cubicBezTo>
                <a:cubicBezTo>
                  <a:pt x="674" y="577"/>
                  <a:pt x="679" y="569"/>
                  <a:pt x="684" y="562"/>
                </a:cubicBezTo>
                <a:cubicBezTo>
                  <a:pt x="633" y="532"/>
                  <a:pt x="633" y="532"/>
                  <a:pt x="633" y="532"/>
                </a:cubicBezTo>
                <a:cubicBezTo>
                  <a:pt x="630" y="530"/>
                  <a:pt x="629" y="526"/>
                  <a:pt x="631" y="523"/>
                </a:cubicBezTo>
                <a:cubicBezTo>
                  <a:pt x="633" y="520"/>
                  <a:pt x="637" y="518"/>
                  <a:pt x="640" y="520"/>
                </a:cubicBezTo>
                <a:cubicBezTo>
                  <a:pt x="691" y="550"/>
                  <a:pt x="691" y="550"/>
                  <a:pt x="691" y="550"/>
                </a:cubicBezTo>
                <a:cubicBezTo>
                  <a:pt x="719" y="498"/>
                  <a:pt x="734" y="441"/>
                  <a:pt x="736" y="382"/>
                </a:cubicBezTo>
                <a:cubicBezTo>
                  <a:pt x="677" y="382"/>
                  <a:pt x="677" y="382"/>
                  <a:pt x="677" y="382"/>
                </a:cubicBezTo>
                <a:cubicBezTo>
                  <a:pt x="673" y="382"/>
                  <a:pt x="670" y="379"/>
                  <a:pt x="670" y="375"/>
                </a:cubicBezTo>
                <a:cubicBezTo>
                  <a:pt x="670" y="371"/>
                  <a:pt x="673" y="368"/>
                  <a:pt x="677" y="368"/>
                </a:cubicBezTo>
                <a:cubicBezTo>
                  <a:pt x="736" y="368"/>
                  <a:pt x="736" y="368"/>
                  <a:pt x="736" y="368"/>
                </a:cubicBezTo>
                <a:cubicBezTo>
                  <a:pt x="735" y="308"/>
                  <a:pt x="718" y="251"/>
                  <a:pt x="691" y="201"/>
                </a:cubicBezTo>
                <a:cubicBezTo>
                  <a:pt x="640" y="230"/>
                  <a:pt x="640" y="230"/>
                  <a:pt x="640" y="230"/>
                </a:cubicBezTo>
                <a:cubicBezTo>
                  <a:pt x="639" y="231"/>
                  <a:pt x="638" y="231"/>
                  <a:pt x="637" y="231"/>
                </a:cubicBezTo>
                <a:cubicBezTo>
                  <a:pt x="634" y="231"/>
                  <a:pt x="632" y="230"/>
                  <a:pt x="631" y="228"/>
                </a:cubicBezTo>
                <a:cubicBezTo>
                  <a:pt x="629" y="224"/>
                  <a:pt x="630" y="220"/>
                  <a:pt x="633" y="218"/>
                </a:cubicBezTo>
                <a:cubicBezTo>
                  <a:pt x="684" y="189"/>
                  <a:pt x="684" y="189"/>
                  <a:pt x="684" y="189"/>
                </a:cubicBezTo>
                <a:cubicBezTo>
                  <a:pt x="653" y="139"/>
                  <a:pt x="611" y="97"/>
                  <a:pt x="561" y="66"/>
                </a:cubicBezTo>
                <a:cubicBezTo>
                  <a:pt x="532" y="117"/>
                  <a:pt x="532" y="117"/>
                  <a:pt x="532" y="117"/>
                </a:cubicBezTo>
                <a:cubicBezTo>
                  <a:pt x="531" y="119"/>
                  <a:pt x="528" y="120"/>
                  <a:pt x="526" y="120"/>
                </a:cubicBezTo>
                <a:cubicBezTo>
                  <a:pt x="525" y="120"/>
                  <a:pt x="524" y="120"/>
                  <a:pt x="523" y="119"/>
                </a:cubicBezTo>
                <a:cubicBezTo>
                  <a:pt x="519" y="118"/>
                  <a:pt x="518" y="113"/>
                  <a:pt x="520" y="110"/>
                </a:cubicBezTo>
                <a:cubicBezTo>
                  <a:pt x="549" y="59"/>
                  <a:pt x="549" y="59"/>
                  <a:pt x="549" y="59"/>
                </a:cubicBezTo>
                <a:cubicBezTo>
                  <a:pt x="499" y="32"/>
                  <a:pt x="442" y="16"/>
                  <a:pt x="382" y="14"/>
                </a:cubicBezTo>
                <a:cubicBezTo>
                  <a:pt x="382" y="73"/>
                  <a:pt x="382" y="73"/>
                  <a:pt x="382" y="73"/>
                </a:cubicBezTo>
                <a:cubicBezTo>
                  <a:pt x="382" y="77"/>
                  <a:pt x="379" y="80"/>
                  <a:pt x="375" y="80"/>
                </a:cubicBezTo>
                <a:cubicBezTo>
                  <a:pt x="371" y="80"/>
                  <a:pt x="368" y="77"/>
                  <a:pt x="368" y="73"/>
                </a:cubicBezTo>
                <a:cubicBezTo>
                  <a:pt x="368" y="14"/>
                  <a:pt x="368" y="14"/>
                  <a:pt x="368" y="14"/>
                </a:cubicBezTo>
                <a:cubicBezTo>
                  <a:pt x="307" y="16"/>
                  <a:pt x="250" y="32"/>
                  <a:pt x="201" y="59"/>
                </a:cubicBezTo>
                <a:cubicBezTo>
                  <a:pt x="230" y="110"/>
                  <a:pt x="230" y="110"/>
                  <a:pt x="230" y="110"/>
                </a:cubicBezTo>
                <a:cubicBezTo>
                  <a:pt x="232" y="113"/>
                  <a:pt x="231" y="118"/>
                  <a:pt x="227" y="119"/>
                </a:cubicBezTo>
                <a:cubicBezTo>
                  <a:pt x="226" y="120"/>
                  <a:pt x="225" y="120"/>
                  <a:pt x="224" y="120"/>
                </a:cubicBezTo>
                <a:cubicBezTo>
                  <a:pt x="221" y="120"/>
                  <a:pt x="219" y="119"/>
                  <a:pt x="218" y="117"/>
                </a:cubicBezTo>
                <a:cubicBezTo>
                  <a:pt x="189" y="66"/>
                  <a:pt x="189" y="66"/>
                  <a:pt x="189" y="66"/>
                </a:cubicBezTo>
                <a:cubicBezTo>
                  <a:pt x="139" y="97"/>
                  <a:pt x="96" y="139"/>
                  <a:pt x="66" y="189"/>
                </a:cubicBezTo>
                <a:cubicBezTo>
                  <a:pt x="117" y="218"/>
                  <a:pt x="117" y="218"/>
                  <a:pt x="117" y="218"/>
                </a:cubicBezTo>
                <a:cubicBezTo>
                  <a:pt x="120" y="220"/>
                  <a:pt x="121" y="224"/>
                  <a:pt x="119" y="228"/>
                </a:cubicBezTo>
                <a:cubicBezTo>
                  <a:pt x="118" y="230"/>
                  <a:pt x="116" y="231"/>
                  <a:pt x="113" y="231"/>
                </a:cubicBezTo>
                <a:cubicBezTo>
                  <a:pt x="112" y="231"/>
                  <a:pt x="111" y="231"/>
                  <a:pt x="110" y="230"/>
                </a:cubicBezTo>
                <a:cubicBezTo>
                  <a:pt x="59" y="201"/>
                  <a:pt x="59" y="201"/>
                  <a:pt x="59" y="201"/>
                </a:cubicBezTo>
                <a:cubicBezTo>
                  <a:pt x="32" y="251"/>
                  <a:pt x="15" y="308"/>
                  <a:pt x="14" y="368"/>
                </a:cubicBezTo>
                <a:cubicBezTo>
                  <a:pt x="73" y="368"/>
                  <a:pt x="73" y="368"/>
                  <a:pt x="73" y="368"/>
                </a:cubicBezTo>
                <a:cubicBezTo>
                  <a:pt x="76" y="368"/>
                  <a:pt x="80" y="371"/>
                  <a:pt x="80" y="375"/>
                </a:cubicBezTo>
                <a:cubicBezTo>
                  <a:pt x="80" y="379"/>
                  <a:pt x="76" y="382"/>
                  <a:pt x="73" y="382"/>
                </a:cubicBezTo>
                <a:cubicBezTo>
                  <a:pt x="14" y="382"/>
                  <a:pt x="14" y="382"/>
                  <a:pt x="14" y="382"/>
                </a:cubicBezTo>
                <a:cubicBezTo>
                  <a:pt x="15" y="441"/>
                  <a:pt x="31" y="498"/>
                  <a:pt x="59" y="550"/>
                </a:cubicBezTo>
                <a:cubicBezTo>
                  <a:pt x="110" y="520"/>
                  <a:pt x="110" y="520"/>
                  <a:pt x="110" y="520"/>
                </a:cubicBezTo>
                <a:cubicBezTo>
                  <a:pt x="113" y="518"/>
                  <a:pt x="117" y="520"/>
                  <a:pt x="119" y="523"/>
                </a:cubicBezTo>
                <a:cubicBezTo>
                  <a:pt x="121" y="526"/>
                  <a:pt x="120" y="530"/>
                  <a:pt x="117" y="532"/>
                </a:cubicBezTo>
                <a:cubicBezTo>
                  <a:pt x="66" y="562"/>
                  <a:pt x="66" y="562"/>
                  <a:pt x="66" y="562"/>
                </a:cubicBezTo>
                <a:cubicBezTo>
                  <a:pt x="71" y="569"/>
                  <a:pt x="76" y="577"/>
                  <a:pt x="81" y="584"/>
                </a:cubicBezTo>
                <a:cubicBezTo>
                  <a:pt x="83" y="587"/>
                  <a:pt x="82" y="592"/>
                  <a:pt x="79" y="594"/>
                </a:cubicBezTo>
                <a:cubicBezTo>
                  <a:pt x="76" y="596"/>
                  <a:pt x="72" y="595"/>
                  <a:pt x="69" y="592"/>
                </a:cubicBezTo>
                <a:cubicBezTo>
                  <a:pt x="63" y="583"/>
                  <a:pt x="56" y="573"/>
                  <a:pt x="51" y="563"/>
                </a:cubicBezTo>
                <a:cubicBezTo>
                  <a:pt x="51" y="563"/>
                  <a:pt x="50" y="563"/>
                  <a:pt x="50" y="563"/>
                </a:cubicBezTo>
                <a:cubicBezTo>
                  <a:pt x="50" y="562"/>
                  <a:pt x="50" y="562"/>
                  <a:pt x="50" y="562"/>
                </a:cubicBezTo>
                <a:cubicBezTo>
                  <a:pt x="17" y="505"/>
                  <a:pt x="0" y="441"/>
                  <a:pt x="0" y="375"/>
                </a:cubicBezTo>
                <a:cubicBezTo>
                  <a:pt x="0" y="307"/>
                  <a:pt x="18" y="244"/>
                  <a:pt x="50" y="189"/>
                </a:cubicBezTo>
                <a:cubicBezTo>
                  <a:pt x="50" y="189"/>
                  <a:pt x="50" y="188"/>
                  <a:pt x="50" y="188"/>
                </a:cubicBezTo>
                <a:cubicBezTo>
                  <a:pt x="51" y="187"/>
                  <a:pt x="51" y="187"/>
                  <a:pt x="51" y="187"/>
                </a:cubicBezTo>
                <a:cubicBezTo>
                  <a:pt x="84" y="131"/>
                  <a:pt x="130" y="84"/>
                  <a:pt x="186" y="51"/>
                </a:cubicBezTo>
                <a:cubicBezTo>
                  <a:pt x="187" y="51"/>
                  <a:pt x="187" y="51"/>
                  <a:pt x="187" y="51"/>
                </a:cubicBezTo>
                <a:cubicBezTo>
                  <a:pt x="188" y="50"/>
                  <a:pt x="188" y="50"/>
                  <a:pt x="189" y="50"/>
                </a:cubicBezTo>
                <a:cubicBezTo>
                  <a:pt x="244" y="18"/>
                  <a:pt x="307" y="0"/>
                  <a:pt x="375" y="0"/>
                </a:cubicBezTo>
                <a:cubicBezTo>
                  <a:pt x="443" y="0"/>
                  <a:pt x="506" y="18"/>
                  <a:pt x="561" y="50"/>
                </a:cubicBezTo>
                <a:cubicBezTo>
                  <a:pt x="562" y="50"/>
                  <a:pt x="562" y="50"/>
                  <a:pt x="562" y="51"/>
                </a:cubicBezTo>
                <a:cubicBezTo>
                  <a:pt x="563" y="51"/>
                  <a:pt x="563" y="51"/>
                  <a:pt x="564" y="51"/>
                </a:cubicBezTo>
                <a:cubicBezTo>
                  <a:pt x="619" y="84"/>
                  <a:pt x="666" y="131"/>
                  <a:pt x="699" y="187"/>
                </a:cubicBezTo>
                <a:cubicBezTo>
                  <a:pt x="699" y="187"/>
                  <a:pt x="699" y="187"/>
                  <a:pt x="700" y="188"/>
                </a:cubicBezTo>
                <a:cubicBezTo>
                  <a:pt x="700" y="188"/>
                  <a:pt x="700" y="189"/>
                  <a:pt x="700" y="189"/>
                </a:cubicBezTo>
                <a:cubicBezTo>
                  <a:pt x="732" y="244"/>
                  <a:pt x="750" y="307"/>
                  <a:pt x="750" y="375"/>
                </a:cubicBezTo>
                <a:cubicBezTo>
                  <a:pt x="750" y="441"/>
                  <a:pt x="733" y="505"/>
                  <a:pt x="700" y="562"/>
                </a:cubicBezTo>
                <a:cubicBezTo>
                  <a:pt x="700" y="562"/>
                  <a:pt x="700" y="562"/>
                  <a:pt x="700" y="563"/>
                </a:cubicBezTo>
                <a:close/>
                <a:moveTo>
                  <a:pt x="533" y="560"/>
                </a:moveTo>
                <a:cubicBezTo>
                  <a:pt x="533" y="636"/>
                  <a:pt x="533" y="636"/>
                  <a:pt x="533" y="636"/>
                </a:cubicBezTo>
                <a:cubicBezTo>
                  <a:pt x="533" y="640"/>
                  <a:pt x="530" y="643"/>
                  <a:pt x="526" y="643"/>
                </a:cubicBezTo>
                <a:cubicBezTo>
                  <a:pt x="224" y="643"/>
                  <a:pt x="224" y="643"/>
                  <a:pt x="224" y="643"/>
                </a:cubicBezTo>
                <a:cubicBezTo>
                  <a:pt x="220" y="643"/>
                  <a:pt x="217" y="640"/>
                  <a:pt x="217" y="636"/>
                </a:cubicBezTo>
                <a:cubicBezTo>
                  <a:pt x="217" y="560"/>
                  <a:pt x="217" y="560"/>
                  <a:pt x="217" y="560"/>
                </a:cubicBezTo>
                <a:cubicBezTo>
                  <a:pt x="217" y="556"/>
                  <a:pt x="220" y="553"/>
                  <a:pt x="224" y="553"/>
                </a:cubicBezTo>
                <a:cubicBezTo>
                  <a:pt x="526" y="553"/>
                  <a:pt x="526" y="553"/>
                  <a:pt x="526" y="553"/>
                </a:cubicBezTo>
                <a:cubicBezTo>
                  <a:pt x="530" y="553"/>
                  <a:pt x="533" y="556"/>
                  <a:pt x="533" y="560"/>
                </a:cubicBezTo>
                <a:close/>
                <a:moveTo>
                  <a:pt x="519" y="567"/>
                </a:moveTo>
                <a:cubicBezTo>
                  <a:pt x="231" y="567"/>
                  <a:pt x="231" y="567"/>
                  <a:pt x="231" y="567"/>
                </a:cubicBezTo>
                <a:cubicBezTo>
                  <a:pt x="231" y="629"/>
                  <a:pt x="231" y="629"/>
                  <a:pt x="231" y="629"/>
                </a:cubicBezTo>
                <a:cubicBezTo>
                  <a:pt x="519" y="629"/>
                  <a:pt x="519" y="629"/>
                  <a:pt x="519" y="629"/>
                </a:cubicBezTo>
                <a:lnTo>
                  <a:pt x="519" y="567"/>
                </a:lnTo>
                <a:close/>
                <a:moveTo>
                  <a:pt x="579" y="257"/>
                </a:moveTo>
                <a:cubicBezTo>
                  <a:pt x="581" y="261"/>
                  <a:pt x="580" y="265"/>
                  <a:pt x="577" y="267"/>
                </a:cubicBezTo>
                <a:cubicBezTo>
                  <a:pt x="442" y="344"/>
                  <a:pt x="442" y="344"/>
                  <a:pt x="442" y="344"/>
                </a:cubicBezTo>
                <a:cubicBezTo>
                  <a:pt x="447" y="354"/>
                  <a:pt x="449" y="364"/>
                  <a:pt x="449" y="375"/>
                </a:cubicBezTo>
                <a:cubicBezTo>
                  <a:pt x="449" y="416"/>
                  <a:pt x="416" y="449"/>
                  <a:pt x="375" y="449"/>
                </a:cubicBezTo>
                <a:cubicBezTo>
                  <a:pt x="334" y="449"/>
                  <a:pt x="301" y="416"/>
                  <a:pt x="301" y="375"/>
                </a:cubicBezTo>
                <a:cubicBezTo>
                  <a:pt x="301" y="334"/>
                  <a:pt x="334" y="301"/>
                  <a:pt x="375" y="301"/>
                </a:cubicBezTo>
                <a:cubicBezTo>
                  <a:pt x="400" y="301"/>
                  <a:pt x="422" y="313"/>
                  <a:pt x="435" y="332"/>
                </a:cubicBezTo>
                <a:cubicBezTo>
                  <a:pt x="570" y="255"/>
                  <a:pt x="570" y="255"/>
                  <a:pt x="570" y="255"/>
                </a:cubicBezTo>
                <a:cubicBezTo>
                  <a:pt x="573" y="253"/>
                  <a:pt x="577" y="254"/>
                  <a:pt x="579" y="257"/>
                </a:cubicBezTo>
                <a:close/>
                <a:moveTo>
                  <a:pt x="435" y="375"/>
                </a:moveTo>
                <a:cubicBezTo>
                  <a:pt x="435" y="342"/>
                  <a:pt x="408" y="315"/>
                  <a:pt x="375" y="315"/>
                </a:cubicBezTo>
                <a:cubicBezTo>
                  <a:pt x="342" y="315"/>
                  <a:pt x="315" y="342"/>
                  <a:pt x="315" y="375"/>
                </a:cubicBezTo>
                <a:cubicBezTo>
                  <a:pt x="315" y="408"/>
                  <a:pt x="342" y="435"/>
                  <a:pt x="375" y="435"/>
                </a:cubicBezTo>
                <a:cubicBezTo>
                  <a:pt x="408" y="435"/>
                  <a:pt x="435" y="408"/>
                  <a:pt x="435" y="3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" name="Oval 9"/>
          <p:cNvSpPr>
            <a:spLocks noChangeArrowheads="1"/>
          </p:cNvSpPr>
          <p:nvPr/>
        </p:nvSpPr>
        <p:spPr bwMode="auto">
          <a:xfrm>
            <a:off x="2259614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9" name="Freeform 19"/>
          <p:cNvSpPr>
            <a:spLocks noEditPoints="1"/>
          </p:cNvSpPr>
          <p:nvPr/>
        </p:nvSpPr>
        <p:spPr bwMode="auto">
          <a:xfrm>
            <a:off x="2447738" y="1313471"/>
            <a:ext cx="446712" cy="444418"/>
          </a:xfrm>
          <a:custGeom>
            <a:avLst/>
            <a:gdLst>
              <a:gd name="T0" fmla="*/ 546 w 577"/>
              <a:gd name="T1" fmla="*/ 127 h 574"/>
              <a:gd name="T2" fmla="*/ 531 w 577"/>
              <a:gd name="T3" fmla="*/ 50 h 574"/>
              <a:gd name="T4" fmla="*/ 96 w 577"/>
              <a:gd name="T5" fmla="*/ 0 h 574"/>
              <a:gd name="T6" fmla="*/ 45 w 577"/>
              <a:gd name="T7" fmla="*/ 127 h 574"/>
              <a:gd name="T8" fmla="*/ 0 w 577"/>
              <a:gd name="T9" fmla="*/ 158 h 574"/>
              <a:gd name="T10" fmla="*/ 31 w 577"/>
              <a:gd name="T11" fmla="*/ 270 h 574"/>
              <a:gd name="T12" fmla="*/ 45 w 577"/>
              <a:gd name="T13" fmla="*/ 462 h 574"/>
              <a:gd name="T14" fmla="*/ 94 w 577"/>
              <a:gd name="T15" fmla="*/ 543 h 574"/>
              <a:gd name="T16" fmla="*/ 165 w 577"/>
              <a:gd name="T17" fmla="*/ 574 h 574"/>
              <a:gd name="T18" fmla="*/ 196 w 577"/>
              <a:gd name="T19" fmla="*/ 512 h 574"/>
              <a:gd name="T20" fmla="*/ 380 w 577"/>
              <a:gd name="T21" fmla="*/ 543 h 574"/>
              <a:gd name="T22" fmla="*/ 451 w 577"/>
              <a:gd name="T23" fmla="*/ 574 h 574"/>
              <a:gd name="T24" fmla="*/ 482 w 577"/>
              <a:gd name="T25" fmla="*/ 512 h 574"/>
              <a:gd name="T26" fmla="*/ 531 w 577"/>
              <a:gd name="T27" fmla="*/ 270 h 574"/>
              <a:gd name="T28" fmla="*/ 568 w 577"/>
              <a:gd name="T29" fmla="*/ 261 h 574"/>
              <a:gd name="T30" fmla="*/ 577 w 577"/>
              <a:gd name="T31" fmla="*/ 158 h 574"/>
              <a:gd name="T32" fmla="*/ 31 w 577"/>
              <a:gd name="T33" fmla="*/ 256 h 574"/>
              <a:gd name="T34" fmla="*/ 14 w 577"/>
              <a:gd name="T35" fmla="*/ 158 h 574"/>
              <a:gd name="T36" fmla="*/ 45 w 577"/>
              <a:gd name="T37" fmla="*/ 141 h 574"/>
              <a:gd name="T38" fmla="*/ 182 w 577"/>
              <a:gd name="T39" fmla="*/ 543 h 574"/>
              <a:gd name="T40" fmla="*/ 125 w 577"/>
              <a:gd name="T41" fmla="*/ 560 h 574"/>
              <a:gd name="T42" fmla="*/ 108 w 577"/>
              <a:gd name="T43" fmla="*/ 512 h 574"/>
              <a:gd name="T44" fmla="*/ 182 w 577"/>
              <a:gd name="T45" fmla="*/ 543 h 574"/>
              <a:gd name="T46" fmla="*/ 451 w 577"/>
              <a:gd name="T47" fmla="*/ 560 h 574"/>
              <a:gd name="T48" fmla="*/ 394 w 577"/>
              <a:gd name="T49" fmla="*/ 543 h 574"/>
              <a:gd name="T50" fmla="*/ 468 w 577"/>
              <a:gd name="T51" fmla="*/ 512 h 574"/>
              <a:gd name="T52" fmla="*/ 517 w 577"/>
              <a:gd name="T53" fmla="*/ 134 h 574"/>
              <a:gd name="T54" fmla="*/ 517 w 577"/>
              <a:gd name="T55" fmla="*/ 134 h 574"/>
              <a:gd name="T56" fmla="*/ 481 w 577"/>
              <a:gd name="T57" fmla="*/ 498 h 574"/>
              <a:gd name="T58" fmla="*/ 59 w 577"/>
              <a:gd name="T59" fmla="*/ 462 h 574"/>
              <a:gd name="T60" fmla="*/ 96 w 577"/>
              <a:gd name="T61" fmla="*/ 14 h 574"/>
              <a:gd name="T62" fmla="*/ 517 w 577"/>
              <a:gd name="T63" fmla="*/ 50 h 574"/>
              <a:gd name="T64" fmla="*/ 558 w 577"/>
              <a:gd name="T65" fmla="*/ 251 h 574"/>
              <a:gd name="T66" fmla="*/ 531 w 577"/>
              <a:gd name="T67" fmla="*/ 256 h 574"/>
              <a:gd name="T68" fmla="*/ 546 w 577"/>
              <a:gd name="T69" fmla="*/ 141 h 574"/>
              <a:gd name="T70" fmla="*/ 563 w 577"/>
              <a:gd name="T71" fmla="*/ 239 h 574"/>
              <a:gd name="T72" fmla="*/ 138 w 577"/>
              <a:gd name="T73" fmla="*/ 364 h 574"/>
              <a:gd name="T74" fmla="*/ 138 w 577"/>
              <a:gd name="T75" fmla="*/ 452 h 574"/>
              <a:gd name="T76" fmla="*/ 138 w 577"/>
              <a:gd name="T77" fmla="*/ 364 h 574"/>
              <a:gd name="T78" fmla="*/ 108 w 577"/>
              <a:gd name="T79" fmla="*/ 408 h 574"/>
              <a:gd name="T80" fmla="*/ 168 w 577"/>
              <a:gd name="T81" fmla="*/ 408 h 574"/>
              <a:gd name="T82" fmla="*/ 179 w 577"/>
              <a:gd name="T83" fmla="*/ 107 h 574"/>
              <a:gd name="T84" fmla="*/ 429 w 577"/>
              <a:gd name="T85" fmla="*/ 75 h 574"/>
              <a:gd name="T86" fmla="*/ 179 w 577"/>
              <a:gd name="T87" fmla="*/ 43 h 574"/>
              <a:gd name="T88" fmla="*/ 179 w 577"/>
              <a:gd name="T89" fmla="*/ 107 h 574"/>
              <a:gd name="T90" fmla="*/ 397 w 577"/>
              <a:gd name="T91" fmla="*/ 57 h 574"/>
              <a:gd name="T92" fmla="*/ 397 w 577"/>
              <a:gd name="T93" fmla="*/ 93 h 574"/>
              <a:gd name="T94" fmla="*/ 161 w 577"/>
              <a:gd name="T95" fmla="*/ 75 h 574"/>
              <a:gd name="T96" fmla="*/ 131 w 577"/>
              <a:gd name="T97" fmla="*/ 326 h 574"/>
              <a:gd name="T98" fmla="*/ 477 w 577"/>
              <a:gd name="T99" fmla="*/ 295 h 574"/>
              <a:gd name="T100" fmla="*/ 446 w 577"/>
              <a:gd name="T101" fmla="*/ 143 h 574"/>
              <a:gd name="T102" fmla="*/ 99 w 577"/>
              <a:gd name="T103" fmla="*/ 174 h 574"/>
              <a:gd name="T104" fmla="*/ 131 w 577"/>
              <a:gd name="T105" fmla="*/ 326 h 574"/>
              <a:gd name="T106" fmla="*/ 131 w 577"/>
              <a:gd name="T107" fmla="*/ 157 h 574"/>
              <a:gd name="T108" fmla="*/ 463 w 577"/>
              <a:gd name="T109" fmla="*/ 174 h 574"/>
              <a:gd name="T110" fmla="*/ 446 w 577"/>
              <a:gd name="T111" fmla="*/ 312 h 574"/>
              <a:gd name="T112" fmla="*/ 113 w 577"/>
              <a:gd name="T113" fmla="*/ 295 h 574"/>
              <a:gd name="T114" fmla="*/ 439 w 577"/>
              <a:gd name="T115" fmla="*/ 364 h 574"/>
              <a:gd name="T116" fmla="*/ 439 w 577"/>
              <a:gd name="T117" fmla="*/ 452 h 574"/>
              <a:gd name="T118" fmla="*/ 439 w 577"/>
              <a:gd name="T119" fmla="*/ 364 h 574"/>
              <a:gd name="T120" fmla="*/ 409 w 577"/>
              <a:gd name="T121" fmla="*/ 408 h 574"/>
              <a:gd name="T122" fmla="*/ 469 w 577"/>
              <a:gd name="T123" fmla="*/ 408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77" h="574">
                <a:moveTo>
                  <a:pt x="577" y="158"/>
                </a:moveTo>
                <a:cubicBezTo>
                  <a:pt x="577" y="141"/>
                  <a:pt x="563" y="127"/>
                  <a:pt x="546" y="127"/>
                </a:cubicBezTo>
                <a:cubicBezTo>
                  <a:pt x="531" y="127"/>
                  <a:pt x="531" y="127"/>
                  <a:pt x="531" y="127"/>
                </a:cubicBezTo>
                <a:cubicBezTo>
                  <a:pt x="531" y="50"/>
                  <a:pt x="531" y="50"/>
                  <a:pt x="531" y="50"/>
                </a:cubicBezTo>
                <a:cubicBezTo>
                  <a:pt x="531" y="22"/>
                  <a:pt x="508" y="0"/>
                  <a:pt x="481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68" y="0"/>
                  <a:pt x="45" y="22"/>
                  <a:pt x="45" y="50"/>
                </a:cubicBezTo>
                <a:cubicBezTo>
                  <a:pt x="45" y="127"/>
                  <a:pt x="45" y="127"/>
                  <a:pt x="45" y="127"/>
                </a:cubicBezTo>
                <a:cubicBezTo>
                  <a:pt x="31" y="127"/>
                  <a:pt x="31" y="127"/>
                  <a:pt x="31" y="127"/>
                </a:cubicBezTo>
                <a:cubicBezTo>
                  <a:pt x="14" y="127"/>
                  <a:pt x="0" y="141"/>
                  <a:pt x="0" y="158"/>
                </a:cubicBezTo>
                <a:cubicBezTo>
                  <a:pt x="0" y="239"/>
                  <a:pt x="0" y="239"/>
                  <a:pt x="0" y="239"/>
                </a:cubicBezTo>
                <a:cubicBezTo>
                  <a:pt x="0" y="256"/>
                  <a:pt x="14" y="270"/>
                  <a:pt x="31" y="270"/>
                </a:cubicBezTo>
                <a:cubicBezTo>
                  <a:pt x="45" y="270"/>
                  <a:pt x="45" y="270"/>
                  <a:pt x="45" y="270"/>
                </a:cubicBezTo>
                <a:cubicBezTo>
                  <a:pt x="45" y="462"/>
                  <a:pt x="45" y="462"/>
                  <a:pt x="45" y="462"/>
                </a:cubicBezTo>
                <a:cubicBezTo>
                  <a:pt x="45" y="489"/>
                  <a:pt x="67" y="511"/>
                  <a:pt x="94" y="512"/>
                </a:cubicBezTo>
                <a:cubicBezTo>
                  <a:pt x="94" y="543"/>
                  <a:pt x="94" y="543"/>
                  <a:pt x="94" y="543"/>
                </a:cubicBezTo>
                <a:cubicBezTo>
                  <a:pt x="94" y="560"/>
                  <a:pt x="108" y="574"/>
                  <a:pt x="125" y="574"/>
                </a:cubicBezTo>
                <a:cubicBezTo>
                  <a:pt x="165" y="574"/>
                  <a:pt x="165" y="574"/>
                  <a:pt x="165" y="574"/>
                </a:cubicBezTo>
                <a:cubicBezTo>
                  <a:pt x="182" y="574"/>
                  <a:pt x="196" y="560"/>
                  <a:pt x="196" y="543"/>
                </a:cubicBezTo>
                <a:cubicBezTo>
                  <a:pt x="196" y="512"/>
                  <a:pt x="196" y="512"/>
                  <a:pt x="196" y="512"/>
                </a:cubicBezTo>
                <a:cubicBezTo>
                  <a:pt x="380" y="512"/>
                  <a:pt x="380" y="512"/>
                  <a:pt x="380" y="512"/>
                </a:cubicBezTo>
                <a:cubicBezTo>
                  <a:pt x="380" y="543"/>
                  <a:pt x="380" y="543"/>
                  <a:pt x="380" y="543"/>
                </a:cubicBezTo>
                <a:cubicBezTo>
                  <a:pt x="380" y="560"/>
                  <a:pt x="394" y="574"/>
                  <a:pt x="411" y="574"/>
                </a:cubicBezTo>
                <a:cubicBezTo>
                  <a:pt x="451" y="574"/>
                  <a:pt x="451" y="574"/>
                  <a:pt x="451" y="574"/>
                </a:cubicBezTo>
                <a:cubicBezTo>
                  <a:pt x="468" y="574"/>
                  <a:pt x="482" y="560"/>
                  <a:pt x="482" y="543"/>
                </a:cubicBezTo>
                <a:cubicBezTo>
                  <a:pt x="482" y="512"/>
                  <a:pt x="482" y="512"/>
                  <a:pt x="482" y="512"/>
                </a:cubicBezTo>
                <a:cubicBezTo>
                  <a:pt x="509" y="511"/>
                  <a:pt x="531" y="489"/>
                  <a:pt x="531" y="462"/>
                </a:cubicBezTo>
                <a:cubicBezTo>
                  <a:pt x="531" y="270"/>
                  <a:pt x="531" y="270"/>
                  <a:pt x="531" y="270"/>
                </a:cubicBezTo>
                <a:cubicBezTo>
                  <a:pt x="546" y="270"/>
                  <a:pt x="546" y="270"/>
                  <a:pt x="546" y="270"/>
                </a:cubicBezTo>
                <a:cubicBezTo>
                  <a:pt x="554" y="270"/>
                  <a:pt x="562" y="267"/>
                  <a:pt x="568" y="261"/>
                </a:cubicBezTo>
                <a:cubicBezTo>
                  <a:pt x="574" y="255"/>
                  <a:pt x="577" y="247"/>
                  <a:pt x="577" y="239"/>
                </a:cubicBezTo>
                <a:lnTo>
                  <a:pt x="577" y="158"/>
                </a:lnTo>
                <a:close/>
                <a:moveTo>
                  <a:pt x="45" y="256"/>
                </a:moveTo>
                <a:cubicBezTo>
                  <a:pt x="31" y="256"/>
                  <a:pt x="31" y="256"/>
                  <a:pt x="31" y="256"/>
                </a:cubicBezTo>
                <a:cubicBezTo>
                  <a:pt x="21" y="256"/>
                  <a:pt x="14" y="248"/>
                  <a:pt x="14" y="239"/>
                </a:cubicBezTo>
                <a:cubicBezTo>
                  <a:pt x="14" y="158"/>
                  <a:pt x="14" y="158"/>
                  <a:pt x="14" y="158"/>
                </a:cubicBezTo>
                <a:cubicBezTo>
                  <a:pt x="14" y="149"/>
                  <a:pt x="21" y="141"/>
                  <a:pt x="31" y="141"/>
                </a:cubicBezTo>
                <a:cubicBezTo>
                  <a:pt x="45" y="141"/>
                  <a:pt x="45" y="141"/>
                  <a:pt x="45" y="141"/>
                </a:cubicBezTo>
                <a:lnTo>
                  <a:pt x="45" y="256"/>
                </a:lnTo>
                <a:close/>
                <a:moveTo>
                  <a:pt x="182" y="543"/>
                </a:moveTo>
                <a:cubicBezTo>
                  <a:pt x="182" y="552"/>
                  <a:pt x="175" y="560"/>
                  <a:pt x="165" y="560"/>
                </a:cubicBezTo>
                <a:cubicBezTo>
                  <a:pt x="125" y="560"/>
                  <a:pt x="125" y="560"/>
                  <a:pt x="125" y="560"/>
                </a:cubicBezTo>
                <a:cubicBezTo>
                  <a:pt x="116" y="560"/>
                  <a:pt x="108" y="552"/>
                  <a:pt x="108" y="543"/>
                </a:cubicBezTo>
                <a:cubicBezTo>
                  <a:pt x="108" y="512"/>
                  <a:pt x="108" y="512"/>
                  <a:pt x="108" y="512"/>
                </a:cubicBezTo>
                <a:cubicBezTo>
                  <a:pt x="182" y="512"/>
                  <a:pt x="182" y="512"/>
                  <a:pt x="182" y="512"/>
                </a:cubicBezTo>
                <a:lnTo>
                  <a:pt x="182" y="543"/>
                </a:lnTo>
                <a:close/>
                <a:moveTo>
                  <a:pt x="468" y="543"/>
                </a:moveTo>
                <a:cubicBezTo>
                  <a:pt x="468" y="552"/>
                  <a:pt x="461" y="560"/>
                  <a:pt x="451" y="560"/>
                </a:cubicBezTo>
                <a:cubicBezTo>
                  <a:pt x="411" y="560"/>
                  <a:pt x="411" y="560"/>
                  <a:pt x="411" y="560"/>
                </a:cubicBezTo>
                <a:cubicBezTo>
                  <a:pt x="402" y="560"/>
                  <a:pt x="394" y="552"/>
                  <a:pt x="394" y="543"/>
                </a:cubicBezTo>
                <a:cubicBezTo>
                  <a:pt x="394" y="512"/>
                  <a:pt x="394" y="512"/>
                  <a:pt x="394" y="512"/>
                </a:cubicBezTo>
                <a:cubicBezTo>
                  <a:pt x="468" y="512"/>
                  <a:pt x="468" y="512"/>
                  <a:pt x="468" y="512"/>
                </a:cubicBezTo>
                <a:lnTo>
                  <a:pt x="468" y="543"/>
                </a:lnTo>
                <a:close/>
                <a:moveTo>
                  <a:pt x="517" y="134"/>
                </a:moveTo>
                <a:cubicBezTo>
                  <a:pt x="517" y="134"/>
                  <a:pt x="517" y="134"/>
                  <a:pt x="517" y="134"/>
                </a:cubicBezTo>
                <a:cubicBezTo>
                  <a:pt x="517" y="134"/>
                  <a:pt x="517" y="134"/>
                  <a:pt x="517" y="134"/>
                </a:cubicBezTo>
                <a:cubicBezTo>
                  <a:pt x="517" y="462"/>
                  <a:pt x="517" y="462"/>
                  <a:pt x="517" y="462"/>
                </a:cubicBezTo>
                <a:cubicBezTo>
                  <a:pt x="517" y="482"/>
                  <a:pt x="501" y="498"/>
                  <a:pt x="481" y="498"/>
                </a:cubicBezTo>
                <a:cubicBezTo>
                  <a:pt x="96" y="498"/>
                  <a:pt x="96" y="498"/>
                  <a:pt x="96" y="498"/>
                </a:cubicBezTo>
                <a:cubicBezTo>
                  <a:pt x="76" y="498"/>
                  <a:pt x="59" y="482"/>
                  <a:pt x="59" y="462"/>
                </a:cubicBezTo>
                <a:cubicBezTo>
                  <a:pt x="59" y="50"/>
                  <a:pt x="59" y="50"/>
                  <a:pt x="59" y="50"/>
                </a:cubicBezTo>
                <a:cubicBezTo>
                  <a:pt x="59" y="30"/>
                  <a:pt x="76" y="14"/>
                  <a:pt x="96" y="14"/>
                </a:cubicBezTo>
                <a:cubicBezTo>
                  <a:pt x="481" y="14"/>
                  <a:pt x="481" y="14"/>
                  <a:pt x="481" y="14"/>
                </a:cubicBezTo>
                <a:cubicBezTo>
                  <a:pt x="501" y="14"/>
                  <a:pt x="517" y="30"/>
                  <a:pt x="517" y="50"/>
                </a:cubicBezTo>
                <a:lnTo>
                  <a:pt x="517" y="134"/>
                </a:lnTo>
                <a:close/>
                <a:moveTo>
                  <a:pt x="558" y="251"/>
                </a:moveTo>
                <a:cubicBezTo>
                  <a:pt x="555" y="254"/>
                  <a:pt x="550" y="256"/>
                  <a:pt x="546" y="256"/>
                </a:cubicBezTo>
                <a:cubicBezTo>
                  <a:pt x="531" y="256"/>
                  <a:pt x="531" y="256"/>
                  <a:pt x="531" y="256"/>
                </a:cubicBezTo>
                <a:cubicBezTo>
                  <a:pt x="531" y="141"/>
                  <a:pt x="531" y="141"/>
                  <a:pt x="531" y="141"/>
                </a:cubicBezTo>
                <a:cubicBezTo>
                  <a:pt x="546" y="141"/>
                  <a:pt x="546" y="141"/>
                  <a:pt x="546" y="141"/>
                </a:cubicBezTo>
                <a:cubicBezTo>
                  <a:pt x="555" y="141"/>
                  <a:pt x="563" y="149"/>
                  <a:pt x="563" y="158"/>
                </a:cubicBezTo>
                <a:cubicBezTo>
                  <a:pt x="563" y="239"/>
                  <a:pt x="563" y="239"/>
                  <a:pt x="563" y="239"/>
                </a:cubicBezTo>
                <a:cubicBezTo>
                  <a:pt x="563" y="243"/>
                  <a:pt x="561" y="248"/>
                  <a:pt x="558" y="251"/>
                </a:cubicBezTo>
                <a:close/>
                <a:moveTo>
                  <a:pt x="138" y="364"/>
                </a:moveTo>
                <a:cubicBezTo>
                  <a:pt x="113" y="364"/>
                  <a:pt x="94" y="384"/>
                  <a:pt x="94" y="408"/>
                </a:cubicBezTo>
                <a:cubicBezTo>
                  <a:pt x="94" y="433"/>
                  <a:pt x="113" y="452"/>
                  <a:pt x="138" y="452"/>
                </a:cubicBezTo>
                <a:cubicBezTo>
                  <a:pt x="162" y="452"/>
                  <a:pt x="182" y="433"/>
                  <a:pt x="182" y="408"/>
                </a:cubicBezTo>
                <a:cubicBezTo>
                  <a:pt x="182" y="384"/>
                  <a:pt x="162" y="364"/>
                  <a:pt x="138" y="364"/>
                </a:cubicBezTo>
                <a:close/>
                <a:moveTo>
                  <a:pt x="138" y="438"/>
                </a:moveTo>
                <a:cubicBezTo>
                  <a:pt x="121" y="438"/>
                  <a:pt x="108" y="425"/>
                  <a:pt x="108" y="408"/>
                </a:cubicBezTo>
                <a:cubicBezTo>
                  <a:pt x="108" y="392"/>
                  <a:pt x="121" y="378"/>
                  <a:pt x="138" y="378"/>
                </a:cubicBezTo>
                <a:cubicBezTo>
                  <a:pt x="154" y="378"/>
                  <a:pt x="168" y="392"/>
                  <a:pt x="168" y="408"/>
                </a:cubicBezTo>
                <a:cubicBezTo>
                  <a:pt x="168" y="425"/>
                  <a:pt x="154" y="438"/>
                  <a:pt x="138" y="438"/>
                </a:cubicBezTo>
                <a:close/>
                <a:moveTo>
                  <a:pt x="179" y="107"/>
                </a:moveTo>
                <a:cubicBezTo>
                  <a:pt x="397" y="107"/>
                  <a:pt x="397" y="107"/>
                  <a:pt x="397" y="107"/>
                </a:cubicBezTo>
                <a:cubicBezTo>
                  <a:pt x="415" y="107"/>
                  <a:pt x="429" y="92"/>
                  <a:pt x="429" y="75"/>
                </a:cubicBezTo>
                <a:cubicBezTo>
                  <a:pt x="429" y="57"/>
                  <a:pt x="415" y="43"/>
                  <a:pt x="397" y="43"/>
                </a:cubicBezTo>
                <a:cubicBezTo>
                  <a:pt x="179" y="43"/>
                  <a:pt x="179" y="43"/>
                  <a:pt x="179" y="43"/>
                </a:cubicBezTo>
                <a:cubicBezTo>
                  <a:pt x="162" y="43"/>
                  <a:pt x="147" y="57"/>
                  <a:pt x="147" y="75"/>
                </a:cubicBezTo>
                <a:cubicBezTo>
                  <a:pt x="147" y="92"/>
                  <a:pt x="162" y="107"/>
                  <a:pt x="179" y="107"/>
                </a:cubicBezTo>
                <a:close/>
                <a:moveTo>
                  <a:pt x="179" y="57"/>
                </a:moveTo>
                <a:cubicBezTo>
                  <a:pt x="397" y="57"/>
                  <a:pt x="397" y="57"/>
                  <a:pt x="397" y="57"/>
                </a:cubicBezTo>
                <a:cubicBezTo>
                  <a:pt x="407" y="57"/>
                  <a:pt x="415" y="65"/>
                  <a:pt x="415" y="75"/>
                </a:cubicBezTo>
                <a:cubicBezTo>
                  <a:pt x="415" y="85"/>
                  <a:pt x="407" y="93"/>
                  <a:pt x="397" y="93"/>
                </a:cubicBezTo>
                <a:cubicBezTo>
                  <a:pt x="179" y="93"/>
                  <a:pt x="179" y="93"/>
                  <a:pt x="179" y="93"/>
                </a:cubicBezTo>
                <a:cubicBezTo>
                  <a:pt x="169" y="93"/>
                  <a:pt x="161" y="85"/>
                  <a:pt x="161" y="75"/>
                </a:cubicBezTo>
                <a:cubicBezTo>
                  <a:pt x="161" y="65"/>
                  <a:pt x="169" y="57"/>
                  <a:pt x="179" y="57"/>
                </a:cubicBezTo>
                <a:close/>
                <a:moveTo>
                  <a:pt x="131" y="326"/>
                </a:moveTo>
                <a:cubicBezTo>
                  <a:pt x="446" y="326"/>
                  <a:pt x="446" y="326"/>
                  <a:pt x="446" y="326"/>
                </a:cubicBezTo>
                <a:cubicBezTo>
                  <a:pt x="463" y="326"/>
                  <a:pt x="477" y="312"/>
                  <a:pt x="477" y="295"/>
                </a:cubicBezTo>
                <a:cubicBezTo>
                  <a:pt x="477" y="174"/>
                  <a:pt x="477" y="174"/>
                  <a:pt x="477" y="174"/>
                </a:cubicBezTo>
                <a:cubicBezTo>
                  <a:pt x="477" y="157"/>
                  <a:pt x="463" y="143"/>
                  <a:pt x="446" y="143"/>
                </a:cubicBezTo>
                <a:cubicBezTo>
                  <a:pt x="131" y="143"/>
                  <a:pt x="131" y="143"/>
                  <a:pt x="131" y="143"/>
                </a:cubicBezTo>
                <a:cubicBezTo>
                  <a:pt x="113" y="143"/>
                  <a:pt x="99" y="157"/>
                  <a:pt x="99" y="174"/>
                </a:cubicBezTo>
                <a:cubicBezTo>
                  <a:pt x="99" y="295"/>
                  <a:pt x="99" y="295"/>
                  <a:pt x="99" y="295"/>
                </a:cubicBezTo>
                <a:cubicBezTo>
                  <a:pt x="99" y="312"/>
                  <a:pt x="113" y="326"/>
                  <a:pt x="131" y="326"/>
                </a:cubicBezTo>
                <a:close/>
                <a:moveTo>
                  <a:pt x="113" y="174"/>
                </a:moveTo>
                <a:cubicBezTo>
                  <a:pt x="113" y="164"/>
                  <a:pt x="121" y="157"/>
                  <a:pt x="131" y="157"/>
                </a:cubicBezTo>
                <a:cubicBezTo>
                  <a:pt x="446" y="157"/>
                  <a:pt x="446" y="157"/>
                  <a:pt x="446" y="157"/>
                </a:cubicBezTo>
                <a:cubicBezTo>
                  <a:pt x="455" y="157"/>
                  <a:pt x="463" y="164"/>
                  <a:pt x="463" y="174"/>
                </a:cubicBezTo>
                <a:cubicBezTo>
                  <a:pt x="463" y="295"/>
                  <a:pt x="463" y="295"/>
                  <a:pt x="463" y="295"/>
                </a:cubicBezTo>
                <a:cubicBezTo>
                  <a:pt x="463" y="304"/>
                  <a:pt x="455" y="312"/>
                  <a:pt x="446" y="312"/>
                </a:cubicBezTo>
                <a:cubicBezTo>
                  <a:pt x="131" y="312"/>
                  <a:pt x="131" y="312"/>
                  <a:pt x="131" y="312"/>
                </a:cubicBezTo>
                <a:cubicBezTo>
                  <a:pt x="121" y="312"/>
                  <a:pt x="113" y="304"/>
                  <a:pt x="113" y="295"/>
                </a:cubicBezTo>
                <a:lnTo>
                  <a:pt x="113" y="174"/>
                </a:lnTo>
                <a:close/>
                <a:moveTo>
                  <a:pt x="439" y="364"/>
                </a:moveTo>
                <a:cubicBezTo>
                  <a:pt x="415" y="364"/>
                  <a:pt x="395" y="384"/>
                  <a:pt x="395" y="408"/>
                </a:cubicBezTo>
                <a:cubicBezTo>
                  <a:pt x="395" y="433"/>
                  <a:pt x="415" y="452"/>
                  <a:pt x="439" y="452"/>
                </a:cubicBezTo>
                <a:cubicBezTo>
                  <a:pt x="463" y="452"/>
                  <a:pt x="483" y="433"/>
                  <a:pt x="483" y="408"/>
                </a:cubicBezTo>
                <a:cubicBezTo>
                  <a:pt x="483" y="384"/>
                  <a:pt x="463" y="364"/>
                  <a:pt x="439" y="364"/>
                </a:cubicBezTo>
                <a:close/>
                <a:moveTo>
                  <a:pt x="439" y="438"/>
                </a:moveTo>
                <a:cubicBezTo>
                  <a:pt x="422" y="438"/>
                  <a:pt x="409" y="425"/>
                  <a:pt x="409" y="408"/>
                </a:cubicBezTo>
                <a:cubicBezTo>
                  <a:pt x="409" y="392"/>
                  <a:pt x="422" y="378"/>
                  <a:pt x="439" y="378"/>
                </a:cubicBezTo>
                <a:cubicBezTo>
                  <a:pt x="455" y="378"/>
                  <a:pt x="469" y="392"/>
                  <a:pt x="469" y="408"/>
                </a:cubicBezTo>
                <a:cubicBezTo>
                  <a:pt x="469" y="425"/>
                  <a:pt x="455" y="438"/>
                  <a:pt x="439" y="43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" name="Oval 7"/>
          <p:cNvSpPr>
            <a:spLocks noChangeArrowheads="1"/>
          </p:cNvSpPr>
          <p:nvPr/>
        </p:nvSpPr>
        <p:spPr bwMode="auto">
          <a:xfrm>
            <a:off x="4845101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" name="Freeform 20"/>
          <p:cNvSpPr>
            <a:spLocks noEditPoints="1"/>
          </p:cNvSpPr>
          <p:nvPr/>
        </p:nvSpPr>
        <p:spPr bwMode="auto">
          <a:xfrm>
            <a:off x="5126959" y="1299705"/>
            <a:ext cx="328070" cy="524060"/>
          </a:xfrm>
          <a:custGeom>
            <a:avLst/>
            <a:gdLst>
              <a:gd name="T0" fmla="*/ 417 w 424"/>
              <a:gd name="T1" fmla="*/ 0 h 677"/>
              <a:gd name="T2" fmla="*/ 410 w 424"/>
              <a:gd name="T3" fmla="*/ 38 h 677"/>
              <a:gd name="T4" fmla="*/ 280 w 424"/>
              <a:gd name="T5" fmla="*/ 47 h 677"/>
              <a:gd name="T6" fmla="*/ 275 w 424"/>
              <a:gd name="T7" fmla="*/ 0 h 677"/>
              <a:gd name="T8" fmla="*/ 157 w 424"/>
              <a:gd name="T9" fmla="*/ 250 h 677"/>
              <a:gd name="T10" fmla="*/ 150 w 424"/>
              <a:gd name="T11" fmla="*/ 0 h 677"/>
              <a:gd name="T12" fmla="*/ 143 w 424"/>
              <a:gd name="T13" fmla="*/ 47 h 677"/>
              <a:gd name="T14" fmla="*/ 14 w 424"/>
              <a:gd name="T15" fmla="*/ 7 h 677"/>
              <a:gd name="T16" fmla="*/ 0 w 424"/>
              <a:gd name="T17" fmla="*/ 7 h 677"/>
              <a:gd name="T18" fmla="*/ 7 w 424"/>
              <a:gd name="T19" fmla="*/ 677 h 677"/>
              <a:gd name="T20" fmla="*/ 14 w 424"/>
              <a:gd name="T21" fmla="*/ 646 h 677"/>
              <a:gd name="T22" fmla="*/ 143 w 424"/>
              <a:gd name="T23" fmla="*/ 670 h 677"/>
              <a:gd name="T24" fmla="*/ 157 w 424"/>
              <a:gd name="T25" fmla="*/ 670 h 677"/>
              <a:gd name="T26" fmla="*/ 244 w 424"/>
              <a:gd name="T27" fmla="*/ 392 h 677"/>
              <a:gd name="T28" fmla="*/ 424 w 424"/>
              <a:gd name="T29" fmla="*/ 57 h 677"/>
              <a:gd name="T30" fmla="*/ 424 w 424"/>
              <a:gd name="T31" fmla="*/ 52 h 677"/>
              <a:gd name="T32" fmla="*/ 424 w 424"/>
              <a:gd name="T33" fmla="*/ 7 h 677"/>
              <a:gd name="T34" fmla="*/ 398 w 424"/>
              <a:gd name="T35" fmla="*/ 131 h 677"/>
              <a:gd name="T36" fmla="*/ 278 w 424"/>
              <a:gd name="T37" fmla="*/ 61 h 677"/>
              <a:gd name="T38" fmla="*/ 361 w 424"/>
              <a:gd name="T39" fmla="*/ 214 h 677"/>
              <a:gd name="T40" fmla="*/ 252 w 424"/>
              <a:gd name="T41" fmla="*/ 145 h 677"/>
              <a:gd name="T42" fmla="*/ 361 w 424"/>
              <a:gd name="T43" fmla="*/ 214 h 677"/>
              <a:gd name="T44" fmla="*/ 195 w 424"/>
              <a:gd name="T45" fmla="*/ 228 h 677"/>
              <a:gd name="T46" fmla="*/ 300 w 424"/>
              <a:gd name="T47" fmla="*/ 298 h 677"/>
              <a:gd name="T48" fmla="*/ 157 w 424"/>
              <a:gd name="T49" fmla="*/ 271 h 677"/>
              <a:gd name="T50" fmla="*/ 234 w 424"/>
              <a:gd name="T51" fmla="*/ 382 h 677"/>
              <a:gd name="T52" fmla="*/ 157 w 424"/>
              <a:gd name="T53" fmla="*/ 312 h 677"/>
              <a:gd name="T54" fmla="*/ 234 w 424"/>
              <a:gd name="T55" fmla="*/ 382 h 677"/>
              <a:gd name="T56" fmla="*/ 68 w 424"/>
              <a:gd name="T57" fmla="*/ 382 h 677"/>
              <a:gd name="T58" fmla="*/ 143 w 424"/>
              <a:gd name="T59" fmla="*/ 382 h 677"/>
              <a:gd name="T60" fmla="*/ 32 w 424"/>
              <a:gd name="T61" fmla="*/ 465 h 677"/>
              <a:gd name="T62" fmla="*/ 143 w 424"/>
              <a:gd name="T63" fmla="*/ 396 h 677"/>
              <a:gd name="T64" fmla="*/ 14 w 424"/>
              <a:gd name="T65" fmla="*/ 465 h 677"/>
              <a:gd name="T66" fmla="*/ 44 w 424"/>
              <a:gd name="T67" fmla="*/ 396 h 677"/>
              <a:gd name="T68" fmla="*/ 14 w 424"/>
              <a:gd name="T69" fmla="*/ 465 h 677"/>
              <a:gd name="T70" fmla="*/ 14 w 424"/>
              <a:gd name="T71" fmla="*/ 312 h 677"/>
              <a:gd name="T72" fmla="*/ 52 w 424"/>
              <a:gd name="T73" fmla="*/ 382 h 677"/>
              <a:gd name="T74" fmla="*/ 113 w 424"/>
              <a:gd name="T75" fmla="*/ 298 h 677"/>
              <a:gd name="T76" fmla="*/ 14 w 424"/>
              <a:gd name="T77" fmla="*/ 228 h 677"/>
              <a:gd name="T78" fmla="*/ 143 w 424"/>
              <a:gd name="T79" fmla="*/ 265 h 677"/>
              <a:gd name="T80" fmla="*/ 143 w 424"/>
              <a:gd name="T81" fmla="*/ 214 h 677"/>
              <a:gd name="T82" fmla="*/ 14 w 424"/>
              <a:gd name="T83" fmla="*/ 145 h 677"/>
              <a:gd name="T84" fmla="*/ 143 w 424"/>
              <a:gd name="T85" fmla="*/ 214 h 677"/>
              <a:gd name="T86" fmla="*/ 143 w 424"/>
              <a:gd name="T87" fmla="*/ 479 h 677"/>
              <a:gd name="T88" fmla="*/ 16 w 424"/>
              <a:gd name="T89" fmla="*/ 549 h 677"/>
              <a:gd name="T90" fmla="*/ 157 w 424"/>
              <a:gd name="T91" fmla="*/ 396 h 677"/>
              <a:gd name="T92" fmla="*/ 157 w 424"/>
              <a:gd name="T93" fmla="*/ 545 h 677"/>
              <a:gd name="T94" fmla="*/ 143 w 424"/>
              <a:gd name="T95" fmla="*/ 61 h 677"/>
              <a:gd name="T96" fmla="*/ 14 w 424"/>
              <a:gd name="T97" fmla="*/ 131 h 677"/>
              <a:gd name="T98" fmla="*/ 143 w 424"/>
              <a:gd name="T99" fmla="*/ 61 h 677"/>
              <a:gd name="T100" fmla="*/ 14 w 424"/>
              <a:gd name="T101" fmla="*/ 596 h 677"/>
              <a:gd name="T102" fmla="*/ 143 w 424"/>
              <a:gd name="T103" fmla="*/ 563 h 677"/>
              <a:gd name="T104" fmla="*/ 14 w 424"/>
              <a:gd name="T105" fmla="*/ 632 h 6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24" h="677">
                <a:moveTo>
                  <a:pt x="424" y="7"/>
                </a:moveTo>
                <a:cubicBezTo>
                  <a:pt x="424" y="3"/>
                  <a:pt x="421" y="0"/>
                  <a:pt x="417" y="0"/>
                </a:cubicBezTo>
                <a:cubicBezTo>
                  <a:pt x="413" y="0"/>
                  <a:pt x="410" y="3"/>
                  <a:pt x="410" y="7"/>
                </a:cubicBezTo>
                <a:cubicBezTo>
                  <a:pt x="410" y="38"/>
                  <a:pt x="410" y="38"/>
                  <a:pt x="410" y="38"/>
                </a:cubicBezTo>
                <a:cubicBezTo>
                  <a:pt x="410" y="41"/>
                  <a:pt x="410" y="44"/>
                  <a:pt x="410" y="47"/>
                </a:cubicBezTo>
                <a:cubicBezTo>
                  <a:pt x="280" y="47"/>
                  <a:pt x="280" y="47"/>
                  <a:pt x="280" y="47"/>
                </a:cubicBezTo>
                <a:cubicBezTo>
                  <a:pt x="281" y="35"/>
                  <a:pt x="282" y="21"/>
                  <a:pt x="282" y="7"/>
                </a:cubicBezTo>
                <a:cubicBezTo>
                  <a:pt x="282" y="3"/>
                  <a:pt x="279" y="0"/>
                  <a:pt x="275" y="0"/>
                </a:cubicBezTo>
                <a:cubicBezTo>
                  <a:pt x="271" y="0"/>
                  <a:pt x="268" y="3"/>
                  <a:pt x="268" y="7"/>
                </a:cubicBezTo>
                <a:cubicBezTo>
                  <a:pt x="268" y="123"/>
                  <a:pt x="215" y="187"/>
                  <a:pt x="157" y="250"/>
                </a:cubicBezTo>
                <a:cubicBezTo>
                  <a:pt x="157" y="7"/>
                  <a:pt x="157" y="7"/>
                  <a:pt x="157" y="7"/>
                </a:cubicBezTo>
                <a:cubicBezTo>
                  <a:pt x="157" y="3"/>
                  <a:pt x="154" y="0"/>
                  <a:pt x="150" y="0"/>
                </a:cubicBezTo>
                <a:cubicBezTo>
                  <a:pt x="146" y="0"/>
                  <a:pt x="143" y="3"/>
                  <a:pt x="143" y="7"/>
                </a:cubicBezTo>
                <a:cubicBezTo>
                  <a:pt x="143" y="47"/>
                  <a:pt x="143" y="47"/>
                  <a:pt x="143" y="47"/>
                </a:cubicBezTo>
                <a:cubicBezTo>
                  <a:pt x="14" y="47"/>
                  <a:pt x="14" y="47"/>
                  <a:pt x="14" y="47"/>
                </a:cubicBezTo>
                <a:cubicBezTo>
                  <a:pt x="14" y="7"/>
                  <a:pt x="14" y="7"/>
                  <a:pt x="14" y="7"/>
                </a:cubicBezTo>
                <a:cubicBezTo>
                  <a:pt x="14" y="3"/>
                  <a:pt x="11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670"/>
                  <a:pt x="0" y="670"/>
                  <a:pt x="0" y="670"/>
                </a:cubicBezTo>
                <a:cubicBezTo>
                  <a:pt x="0" y="674"/>
                  <a:pt x="3" y="677"/>
                  <a:pt x="7" y="677"/>
                </a:cubicBezTo>
                <a:cubicBezTo>
                  <a:pt x="11" y="677"/>
                  <a:pt x="14" y="674"/>
                  <a:pt x="14" y="670"/>
                </a:cubicBezTo>
                <a:cubicBezTo>
                  <a:pt x="14" y="646"/>
                  <a:pt x="14" y="646"/>
                  <a:pt x="14" y="646"/>
                </a:cubicBezTo>
                <a:cubicBezTo>
                  <a:pt x="143" y="646"/>
                  <a:pt x="143" y="646"/>
                  <a:pt x="143" y="646"/>
                </a:cubicBezTo>
                <a:cubicBezTo>
                  <a:pt x="143" y="670"/>
                  <a:pt x="143" y="670"/>
                  <a:pt x="143" y="670"/>
                </a:cubicBezTo>
                <a:cubicBezTo>
                  <a:pt x="143" y="674"/>
                  <a:pt x="146" y="677"/>
                  <a:pt x="150" y="677"/>
                </a:cubicBezTo>
                <a:cubicBezTo>
                  <a:pt x="154" y="677"/>
                  <a:pt x="157" y="674"/>
                  <a:pt x="157" y="670"/>
                </a:cubicBezTo>
                <a:cubicBezTo>
                  <a:pt x="157" y="543"/>
                  <a:pt x="195" y="461"/>
                  <a:pt x="243" y="393"/>
                </a:cubicBezTo>
                <a:cubicBezTo>
                  <a:pt x="244" y="393"/>
                  <a:pt x="244" y="392"/>
                  <a:pt x="244" y="392"/>
                </a:cubicBezTo>
                <a:cubicBezTo>
                  <a:pt x="262" y="367"/>
                  <a:pt x="281" y="343"/>
                  <a:pt x="300" y="320"/>
                </a:cubicBezTo>
                <a:cubicBezTo>
                  <a:pt x="361" y="246"/>
                  <a:pt x="418" y="175"/>
                  <a:pt x="424" y="57"/>
                </a:cubicBezTo>
                <a:cubicBezTo>
                  <a:pt x="424" y="56"/>
                  <a:pt x="424" y="55"/>
                  <a:pt x="424" y="54"/>
                </a:cubicBezTo>
                <a:cubicBezTo>
                  <a:pt x="424" y="54"/>
                  <a:pt x="424" y="53"/>
                  <a:pt x="424" y="52"/>
                </a:cubicBezTo>
                <a:cubicBezTo>
                  <a:pt x="424" y="47"/>
                  <a:pt x="424" y="43"/>
                  <a:pt x="424" y="38"/>
                </a:cubicBezTo>
                <a:lnTo>
                  <a:pt x="424" y="7"/>
                </a:lnTo>
                <a:close/>
                <a:moveTo>
                  <a:pt x="410" y="61"/>
                </a:moveTo>
                <a:cubicBezTo>
                  <a:pt x="408" y="86"/>
                  <a:pt x="404" y="109"/>
                  <a:pt x="398" y="131"/>
                </a:cubicBezTo>
                <a:cubicBezTo>
                  <a:pt x="258" y="131"/>
                  <a:pt x="258" y="131"/>
                  <a:pt x="258" y="131"/>
                </a:cubicBezTo>
                <a:cubicBezTo>
                  <a:pt x="267" y="110"/>
                  <a:pt x="274" y="87"/>
                  <a:pt x="278" y="61"/>
                </a:cubicBezTo>
                <a:lnTo>
                  <a:pt x="410" y="61"/>
                </a:lnTo>
                <a:close/>
                <a:moveTo>
                  <a:pt x="361" y="214"/>
                </a:moveTo>
                <a:cubicBezTo>
                  <a:pt x="207" y="214"/>
                  <a:pt x="207" y="214"/>
                  <a:pt x="207" y="214"/>
                </a:cubicBezTo>
                <a:cubicBezTo>
                  <a:pt x="224" y="193"/>
                  <a:pt x="239" y="170"/>
                  <a:pt x="252" y="145"/>
                </a:cubicBezTo>
                <a:cubicBezTo>
                  <a:pt x="394" y="145"/>
                  <a:pt x="394" y="145"/>
                  <a:pt x="394" y="145"/>
                </a:cubicBezTo>
                <a:cubicBezTo>
                  <a:pt x="385" y="170"/>
                  <a:pt x="374" y="193"/>
                  <a:pt x="361" y="214"/>
                </a:cubicBezTo>
                <a:close/>
                <a:moveTo>
                  <a:pt x="157" y="271"/>
                </a:moveTo>
                <a:cubicBezTo>
                  <a:pt x="170" y="257"/>
                  <a:pt x="183" y="243"/>
                  <a:pt x="195" y="228"/>
                </a:cubicBezTo>
                <a:cubicBezTo>
                  <a:pt x="352" y="228"/>
                  <a:pt x="352" y="228"/>
                  <a:pt x="352" y="228"/>
                </a:cubicBezTo>
                <a:cubicBezTo>
                  <a:pt x="336" y="252"/>
                  <a:pt x="318" y="275"/>
                  <a:pt x="300" y="298"/>
                </a:cubicBezTo>
                <a:cubicBezTo>
                  <a:pt x="157" y="298"/>
                  <a:pt x="157" y="298"/>
                  <a:pt x="157" y="298"/>
                </a:cubicBezTo>
                <a:cubicBezTo>
                  <a:pt x="157" y="271"/>
                  <a:pt x="157" y="271"/>
                  <a:pt x="157" y="271"/>
                </a:cubicBezTo>
                <a:cubicBezTo>
                  <a:pt x="157" y="271"/>
                  <a:pt x="157" y="271"/>
                  <a:pt x="157" y="271"/>
                </a:cubicBezTo>
                <a:close/>
                <a:moveTo>
                  <a:pt x="234" y="382"/>
                </a:moveTo>
                <a:cubicBezTo>
                  <a:pt x="157" y="382"/>
                  <a:pt x="157" y="382"/>
                  <a:pt x="157" y="382"/>
                </a:cubicBezTo>
                <a:cubicBezTo>
                  <a:pt x="157" y="312"/>
                  <a:pt x="157" y="312"/>
                  <a:pt x="157" y="312"/>
                </a:cubicBezTo>
                <a:cubicBezTo>
                  <a:pt x="289" y="312"/>
                  <a:pt x="289" y="312"/>
                  <a:pt x="289" y="312"/>
                </a:cubicBezTo>
                <a:cubicBezTo>
                  <a:pt x="270" y="334"/>
                  <a:pt x="252" y="357"/>
                  <a:pt x="234" y="382"/>
                </a:cubicBezTo>
                <a:close/>
                <a:moveTo>
                  <a:pt x="143" y="382"/>
                </a:moveTo>
                <a:cubicBezTo>
                  <a:pt x="68" y="382"/>
                  <a:pt x="68" y="382"/>
                  <a:pt x="68" y="382"/>
                </a:cubicBezTo>
                <a:cubicBezTo>
                  <a:pt x="90" y="345"/>
                  <a:pt x="116" y="315"/>
                  <a:pt x="143" y="286"/>
                </a:cubicBezTo>
                <a:lnTo>
                  <a:pt x="143" y="382"/>
                </a:lnTo>
                <a:close/>
                <a:moveTo>
                  <a:pt x="143" y="465"/>
                </a:moveTo>
                <a:cubicBezTo>
                  <a:pt x="32" y="465"/>
                  <a:pt x="32" y="465"/>
                  <a:pt x="32" y="465"/>
                </a:cubicBezTo>
                <a:cubicBezTo>
                  <a:pt x="39" y="439"/>
                  <a:pt x="49" y="416"/>
                  <a:pt x="60" y="396"/>
                </a:cubicBezTo>
                <a:cubicBezTo>
                  <a:pt x="143" y="396"/>
                  <a:pt x="143" y="396"/>
                  <a:pt x="143" y="396"/>
                </a:cubicBezTo>
                <a:lnTo>
                  <a:pt x="143" y="465"/>
                </a:lnTo>
                <a:close/>
                <a:moveTo>
                  <a:pt x="14" y="465"/>
                </a:moveTo>
                <a:cubicBezTo>
                  <a:pt x="14" y="396"/>
                  <a:pt x="14" y="396"/>
                  <a:pt x="14" y="396"/>
                </a:cubicBezTo>
                <a:cubicBezTo>
                  <a:pt x="44" y="396"/>
                  <a:pt x="44" y="396"/>
                  <a:pt x="44" y="396"/>
                </a:cubicBezTo>
                <a:cubicBezTo>
                  <a:pt x="33" y="416"/>
                  <a:pt x="24" y="439"/>
                  <a:pt x="17" y="465"/>
                </a:cubicBezTo>
                <a:lnTo>
                  <a:pt x="14" y="465"/>
                </a:lnTo>
                <a:close/>
                <a:moveTo>
                  <a:pt x="14" y="382"/>
                </a:moveTo>
                <a:cubicBezTo>
                  <a:pt x="14" y="312"/>
                  <a:pt x="14" y="312"/>
                  <a:pt x="14" y="312"/>
                </a:cubicBezTo>
                <a:cubicBezTo>
                  <a:pt x="101" y="312"/>
                  <a:pt x="101" y="312"/>
                  <a:pt x="101" y="312"/>
                </a:cubicBezTo>
                <a:cubicBezTo>
                  <a:pt x="83" y="333"/>
                  <a:pt x="67" y="356"/>
                  <a:pt x="52" y="382"/>
                </a:cubicBezTo>
                <a:lnTo>
                  <a:pt x="14" y="382"/>
                </a:lnTo>
                <a:close/>
                <a:moveTo>
                  <a:pt x="113" y="298"/>
                </a:moveTo>
                <a:cubicBezTo>
                  <a:pt x="14" y="298"/>
                  <a:pt x="14" y="298"/>
                  <a:pt x="14" y="298"/>
                </a:cubicBezTo>
                <a:cubicBezTo>
                  <a:pt x="14" y="228"/>
                  <a:pt x="14" y="228"/>
                  <a:pt x="14" y="228"/>
                </a:cubicBezTo>
                <a:cubicBezTo>
                  <a:pt x="143" y="228"/>
                  <a:pt x="143" y="228"/>
                  <a:pt x="143" y="228"/>
                </a:cubicBezTo>
                <a:cubicBezTo>
                  <a:pt x="143" y="265"/>
                  <a:pt x="143" y="265"/>
                  <a:pt x="143" y="265"/>
                </a:cubicBezTo>
                <a:cubicBezTo>
                  <a:pt x="133" y="276"/>
                  <a:pt x="123" y="287"/>
                  <a:pt x="113" y="298"/>
                </a:cubicBezTo>
                <a:close/>
                <a:moveTo>
                  <a:pt x="143" y="214"/>
                </a:moveTo>
                <a:cubicBezTo>
                  <a:pt x="14" y="214"/>
                  <a:pt x="14" y="214"/>
                  <a:pt x="14" y="214"/>
                </a:cubicBezTo>
                <a:cubicBezTo>
                  <a:pt x="14" y="145"/>
                  <a:pt x="14" y="145"/>
                  <a:pt x="14" y="145"/>
                </a:cubicBezTo>
                <a:cubicBezTo>
                  <a:pt x="143" y="145"/>
                  <a:pt x="143" y="145"/>
                  <a:pt x="143" y="145"/>
                </a:cubicBezTo>
                <a:lnTo>
                  <a:pt x="143" y="214"/>
                </a:lnTo>
                <a:close/>
                <a:moveTo>
                  <a:pt x="28" y="479"/>
                </a:moveTo>
                <a:cubicBezTo>
                  <a:pt x="143" y="479"/>
                  <a:pt x="143" y="479"/>
                  <a:pt x="143" y="479"/>
                </a:cubicBezTo>
                <a:cubicBezTo>
                  <a:pt x="143" y="549"/>
                  <a:pt x="143" y="549"/>
                  <a:pt x="143" y="549"/>
                </a:cubicBezTo>
                <a:cubicBezTo>
                  <a:pt x="16" y="549"/>
                  <a:pt x="16" y="549"/>
                  <a:pt x="16" y="549"/>
                </a:cubicBezTo>
                <a:cubicBezTo>
                  <a:pt x="18" y="523"/>
                  <a:pt x="22" y="500"/>
                  <a:pt x="28" y="479"/>
                </a:cubicBezTo>
                <a:close/>
                <a:moveTo>
                  <a:pt x="157" y="396"/>
                </a:moveTo>
                <a:cubicBezTo>
                  <a:pt x="224" y="396"/>
                  <a:pt x="224" y="396"/>
                  <a:pt x="224" y="396"/>
                </a:cubicBezTo>
                <a:cubicBezTo>
                  <a:pt x="196" y="438"/>
                  <a:pt x="171" y="485"/>
                  <a:pt x="157" y="545"/>
                </a:cubicBezTo>
                <a:lnTo>
                  <a:pt x="157" y="396"/>
                </a:lnTo>
                <a:close/>
                <a:moveTo>
                  <a:pt x="143" y="61"/>
                </a:moveTo>
                <a:cubicBezTo>
                  <a:pt x="143" y="131"/>
                  <a:pt x="143" y="131"/>
                  <a:pt x="143" y="131"/>
                </a:cubicBezTo>
                <a:cubicBezTo>
                  <a:pt x="14" y="131"/>
                  <a:pt x="14" y="131"/>
                  <a:pt x="14" y="131"/>
                </a:cubicBezTo>
                <a:cubicBezTo>
                  <a:pt x="14" y="61"/>
                  <a:pt x="14" y="61"/>
                  <a:pt x="14" y="61"/>
                </a:cubicBezTo>
                <a:lnTo>
                  <a:pt x="143" y="61"/>
                </a:lnTo>
                <a:close/>
                <a:moveTo>
                  <a:pt x="14" y="632"/>
                </a:moveTo>
                <a:cubicBezTo>
                  <a:pt x="14" y="596"/>
                  <a:pt x="14" y="596"/>
                  <a:pt x="14" y="596"/>
                </a:cubicBezTo>
                <a:cubicBezTo>
                  <a:pt x="14" y="585"/>
                  <a:pt x="14" y="573"/>
                  <a:pt x="15" y="563"/>
                </a:cubicBezTo>
                <a:cubicBezTo>
                  <a:pt x="143" y="563"/>
                  <a:pt x="143" y="563"/>
                  <a:pt x="143" y="563"/>
                </a:cubicBezTo>
                <a:cubicBezTo>
                  <a:pt x="143" y="632"/>
                  <a:pt x="143" y="632"/>
                  <a:pt x="143" y="632"/>
                </a:cubicBezTo>
                <a:lnTo>
                  <a:pt x="14" y="6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0" name="Oval 10"/>
          <p:cNvSpPr>
            <a:spLocks noChangeArrowheads="1"/>
          </p:cNvSpPr>
          <p:nvPr/>
        </p:nvSpPr>
        <p:spPr bwMode="auto">
          <a:xfrm>
            <a:off x="966871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1" name="Freeform 21"/>
          <p:cNvSpPr>
            <a:spLocks noEditPoints="1"/>
          </p:cNvSpPr>
          <p:nvPr/>
        </p:nvSpPr>
        <p:spPr bwMode="auto">
          <a:xfrm>
            <a:off x="1175970" y="1298066"/>
            <a:ext cx="404762" cy="475226"/>
          </a:xfrm>
          <a:custGeom>
            <a:avLst/>
            <a:gdLst>
              <a:gd name="T0" fmla="*/ 7 w 523"/>
              <a:gd name="T1" fmla="*/ 0 h 614"/>
              <a:gd name="T2" fmla="*/ 0 w 523"/>
              <a:gd name="T3" fmla="*/ 392 h 614"/>
              <a:gd name="T4" fmla="*/ 18 w 523"/>
              <a:gd name="T5" fmla="*/ 399 h 614"/>
              <a:gd name="T6" fmla="*/ 4 w 523"/>
              <a:gd name="T7" fmla="*/ 499 h 614"/>
              <a:gd name="T8" fmla="*/ 45 w 523"/>
              <a:gd name="T9" fmla="*/ 548 h 614"/>
              <a:gd name="T10" fmla="*/ 59 w 523"/>
              <a:gd name="T11" fmla="*/ 570 h 614"/>
              <a:gd name="T12" fmla="*/ 146 w 523"/>
              <a:gd name="T13" fmla="*/ 570 h 614"/>
              <a:gd name="T14" fmla="*/ 376 w 523"/>
              <a:gd name="T15" fmla="*/ 548 h 614"/>
              <a:gd name="T16" fmla="*/ 420 w 523"/>
              <a:gd name="T17" fmla="*/ 614 h 614"/>
              <a:gd name="T18" fmla="*/ 463 w 523"/>
              <a:gd name="T19" fmla="*/ 548 h 614"/>
              <a:gd name="T20" fmla="*/ 506 w 523"/>
              <a:gd name="T21" fmla="*/ 535 h 614"/>
              <a:gd name="T22" fmla="*/ 511 w 523"/>
              <a:gd name="T23" fmla="*/ 421 h 614"/>
              <a:gd name="T24" fmla="*/ 516 w 523"/>
              <a:gd name="T25" fmla="*/ 399 h 614"/>
              <a:gd name="T26" fmla="*/ 523 w 523"/>
              <a:gd name="T27" fmla="*/ 7 h 614"/>
              <a:gd name="T28" fmla="*/ 132 w 523"/>
              <a:gd name="T29" fmla="*/ 570 h 614"/>
              <a:gd name="T30" fmla="*/ 73 w 523"/>
              <a:gd name="T31" fmla="*/ 570 h 614"/>
              <a:gd name="T32" fmla="*/ 132 w 523"/>
              <a:gd name="T33" fmla="*/ 548 h 614"/>
              <a:gd name="T34" fmla="*/ 449 w 523"/>
              <a:gd name="T35" fmla="*/ 570 h 614"/>
              <a:gd name="T36" fmla="*/ 390 w 523"/>
              <a:gd name="T37" fmla="*/ 570 h 614"/>
              <a:gd name="T38" fmla="*/ 449 w 523"/>
              <a:gd name="T39" fmla="*/ 548 h 614"/>
              <a:gd name="T40" fmla="*/ 496 w 523"/>
              <a:gd name="T41" fmla="*/ 526 h 614"/>
              <a:gd name="T42" fmla="*/ 45 w 523"/>
              <a:gd name="T43" fmla="*/ 534 h 614"/>
              <a:gd name="T44" fmla="*/ 18 w 523"/>
              <a:gd name="T45" fmla="*/ 500 h 614"/>
              <a:gd name="T46" fmla="*/ 44 w 523"/>
              <a:gd name="T47" fmla="*/ 387 h 614"/>
              <a:gd name="T48" fmla="*/ 67 w 523"/>
              <a:gd name="T49" fmla="*/ 308 h 614"/>
              <a:gd name="T50" fmla="*/ 458 w 523"/>
              <a:gd name="T51" fmla="*/ 347 h 614"/>
              <a:gd name="T52" fmla="*/ 497 w 523"/>
              <a:gd name="T53" fmla="*/ 423 h 614"/>
              <a:gd name="T54" fmla="*/ 496 w 523"/>
              <a:gd name="T55" fmla="*/ 526 h 614"/>
              <a:gd name="T56" fmla="*/ 73 w 523"/>
              <a:gd name="T57" fmla="*/ 228 h 614"/>
              <a:gd name="T58" fmla="*/ 391 w 523"/>
              <a:gd name="T59" fmla="*/ 177 h 614"/>
              <a:gd name="T60" fmla="*/ 454 w 523"/>
              <a:gd name="T61" fmla="*/ 294 h 614"/>
              <a:gd name="T62" fmla="*/ 509 w 523"/>
              <a:gd name="T63" fmla="*/ 385 h 614"/>
              <a:gd name="T64" fmla="*/ 489 w 523"/>
              <a:gd name="T65" fmla="*/ 378 h 614"/>
              <a:gd name="T66" fmla="*/ 463 w 523"/>
              <a:gd name="T67" fmla="*/ 227 h 614"/>
              <a:gd name="T68" fmla="*/ 131 w 523"/>
              <a:gd name="T69" fmla="*/ 163 h 614"/>
              <a:gd name="T70" fmla="*/ 50 w 523"/>
              <a:gd name="T71" fmla="*/ 346 h 614"/>
              <a:gd name="T72" fmla="*/ 27 w 523"/>
              <a:gd name="T73" fmla="*/ 385 h 614"/>
              <a:gd name="T74" fmla="*/ 14 w 523"/>
              <a:gd name="T75" fmla="*/ 14 h 614"/>
              <a:gd name="T76" fmla="*/ 509 w 523"/>
              <a:gd name="T77" fmla="*/ 385 h 614"/>
              <a:gd name="T78" fmla="*/ 59 w 523"/>
              <a:gd name="T79" fmla="*/ 428 h 614"/>
              <a:gd name="T80" fmla="*/ 146 w 523"/>
              <a:gd name="T81" fmla="*/ 428 h 614"/>
              <a:gd name="T82" fmla="*/ 102 w 523"/>
              <a:gd name="T83" fmla="*/ 458 h 614"/>
              <a:gd name="T84" fmla="*/ 102 w 523"/>
              <a:gd name="T85" fmla="*/ 399 h 614"/>
              <a:gd name="T86" fmla="*/ 102 w 523"/>
              <a:gd name="T87" fmla="*/ 458 h 614"/>
              <a:gd name="T88" fmla="*/ 178 w 523"/>
              <a:gd name="T89" fmla="*/ 335 h 614"/>
              <a:gd name="T90" fmla="*/ 171 w 523"/>
              <a:gd name="T91" fmla="*/ 497 h 614"/>
              <a:gd name="T92" fmla="*/ 344 w 523"/>
              <a:gd name="T93" fmla="*/ 504 h 614"/>
              <a:gd name="T94" fmla="*/ 351 w 523"/>
              <a:gd name="T95" fmla="*/ 342 h 614"/>
              <a:gd name="T96" fmla="*/ 337 w 523"/>
              <a:gd name="T97" fmla="*/ 490 h 614"/>
              <a:gd name="T98" fmla="*/ 185 w 523"/>
              <a:gd name="T99" fmla="*/ 453 h 614"/>
              <a:gd name="T100" fmla="*/ 337 w 523"/>
              <a:gd name="T101" fmla="*/ 490 h 614"/>
              <a:gd name="T102" fmla="*/ 185 w 523"/>
              <a:gd name="T103" fmla="*/ 439 h 614"/>
              <a:gd name="T104" fmla="*/ 337 w 523"/>
              <a:gd name="T105" fmla="*/ 401 h 614"/>
              <a:gd name="T106" fmla="*/ 337 w 523"/>
              <a:gd name="T107" fmla="*/ 387 h 614"/>
              <a:gd name="T108" fmla="*/ 185 w 523"/>
              <a:gd name="T109" fmla="*/ 349 h 614"/>
              <a:gd name="T110" fmla="*/ 337 w 523"/>
              <a:gd name="T111" fmla="*/ 387 h 614"/>
              <a:gd name="T112" fmla="*/ 376 w 523"/>
              <a:gd name="T113" fmla="*/ 428 h 614"/>
              <a:gd name="T114" fmla="*/ 463 w 523"/>
              <a:gd name="T115" fmla="*/ 428 h 614"/>
              <a:gd name="T116" fmla="*/ 420 w 523"/>
              <a:gd name="T117" fmla="*/ 458 h 614"/>
              <a:gd name="T118" fmla="*/ 420 w 523"/>
              <a:gd name="T119" fmla="*/ 399 h 614"/>
              <a:gd name="T120" fmla="*/ 420 w 523"/>
              <a:gd name="T121" fmla="*/ 458 h 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23" h="614">
                <a:moveTo>
                  <a:pt x="516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392"/>
                  <a:pt x="0" y="392"/>
                  <a:pt x="0" y="392"/>
                </a:cubicBezTo>
                <a:cubicBezTo>
                  <a:pt x="0" y="396"/>
                  <a:pt x="3" y="399"/>
                  <a:pt x="7" y="399"/>
                </a:cubicBezTo>
                <a:cubicBezTo>
                  <a:pt x="18" y="399"/>
                  <a:pt x="18" y="399"/>
                  <a:pt x="18" y="399"/>
                </a:cubicBezTo>
                <a:cubicBezTo>
                  <a:pt x="15" y="405"/>
                  <a:pt x="12" y="413"/>
                  <a:pt x="11" y="421"/>
                </a:cubicBezTo>
                <a:cubicBezTo>
                  <a:pt x="4" y="499"/>
                  <a:pt x="4" y="499"/>
                  <a:pt x="4" y="499"/>
                </a:cubicBezTo>
                <a:cubicBezTo>
                  <a:pt x="3" y="513"/>
                  <a:pt x="7" y="526"/>
                  <a:pt x="16" y="535"/>
                </a:cubicBezTo>
                <a:cubicBezTo>
                  <a:pt x="24" y="544"/>
                  <a:pt x="34" y="548"/>
                  <a:pt x="45" y="548"/>
                </a:cubicBezTo>
                <a:cubicBezTo>
                  <a:pt x="59" y="548"/>
                  <a:pt x="59" y="548"/>
                  <a:pt x="59" y="548"/>
                </a:cubicBezTo>
                <a:cubicBezTo>
                  <a:pt x="59" y="570"/>
                  <a:pt x="59" y="570"/>
                  <a:pt x="59" y="570"/>
                </a:cubicBezTo>
                <a:cubicBezTo>
                  <a:pt x="59" y="594"/>
                  <a:pt x="78" y="614"/>
                  <a:pt x="102" y="614"/>
                </a:cubicBezTo>
                <a:cubicBezTo>
                  <a:pt x="126" y="614"/>
                  <a:pt x="146" y="594"/>
                  <a:pt x="146" y="570"/>
                </a:cubicBezTo>
                <a:cubicBezTo>
                  <a:pt x="146" y="548"/>
                  <a:pt x="146" y="548"/>
                  <a:pt x="146" y="548"/>
                </a:cubicBezTo>
                <a:cubicBezTo>
                  <a:pt x="376" y="548"/>
                  <a:pt x="376" y="548"/>
                  <a:pt x="376" y="548"/>
                </a:cubicBezTo>
                <a:cubicBezTo>
                  <a:pt x="376" y="570"/>
                  <a:pt x="376" y="570"/>
                  <a:pt x="376" y="570"/>
                </a:cubicBezTo>
                <a:cubicBezTo>
                  <a:pt x="376" y="594"/>
                  <a:pt x="396" y="614"/>
                  <a:pt x="420" y="614"/>
                </a:cubicBezTo>
                <a:cubicBezTo>
                  <a:pt x="444" y="614"/>
                  <a:pt x="463" y="594"/>
                  <a:pt x="463" y="570"/>
                </a:cubicBezTo>
                <a:cubicBezTo>
                  <a:pt x="463" y="548"/>
                  <a:pt x="463" y="548"/>
                  <a:pt x="463" y="548"/>
                </a:cubicBezTo>
                <a:cubicBezTo>
                  <a:pt x="477" y="548"/>
                  <a:pt x="477" y="548"/>
                  <a:pt x="477" y="548"/>
                </a:cubicBezTo>
                <a:cubicBezTo>
                  <a:pt x="489" y="548"/>
                  <a:pt x="499" y="544"/>
                  <a:pt x="506" y="535"/>
                </a:cubicBezTo>
                <a:cubicBezTo>
                  <a:pt x="515" y="526"/>
                  <a:pt x="519" y="513"/>
                  <a:pt x="518" y="499"/>
                </a:cubicBezTo>
                <a:cubicBezTo>
                  <a:pt x="511" y="421"/>
                  <a:pt x="511" y="421"/>
                  <a:pt x="511" y="421"/>
                </a:cubicBezTo>
                <a:cubicBezTo>
                  <a:pt x="510" y="413"/>
                  <a:pt x="508" y="405"/>
                  <a:pt x="504" y="399"/>
                </a:cubicBezTo>
                <a:cubicBezTo>
                  <a:pt x="516" y="399"/>
                  <a:pt x="516" y="399"/>
                  <a:pt x="516" y="399"/>
                </a:cubicBezTo>
                <a:cubicBezTo>
                  <a:pt x="520" y="399"/>
                  <a:pt x="523" y="396"/>
                  <a:pt x="523" y="392"/>
                </a:cubicBezTo>
                <a:cubicBezTo>
                  <a:pt x="523" y="7"/>
                  <a:pt x="523" y="7"/>
                  <a:pt x="523" y="7"/>
                </a:cubicBezTo>
                <a:cubicBezTo>
                  <a:pt x="523" y="3"/>
                  <a:pt x="520" y="0"/>
                  <a:pt x="516" y="0"/>
                </a:cubicBezTo>
                <a:close/>
                <a:moveTo>
                  <a:pt x="132" y="570"/>
                </a:moveTo>
                <a:cubicBezTo>
                  <a:pt x="132" y="586"/>
                  <a:pt x="119" y="600"/>
                  <a:pt x="102" y="600"/>
                </a:cubicBezTo>
                <a:cubicBezTo>
                  <a:pt x="86" y="600"/>
                  <a:pt x="73" y="586"/>
                  <a:pt x="73" y="570"/>
                </a:cubicBezTo>
                <a:cubicBezTo>
                  <a:pt x="73" y="548"/>
                  <a:pt x="73" y="548"/>
                  <a:pt x="73" y="548"/>
                </a:cubicBezTo>
                <a:cubicBezTo>
                  <a:pt x="132" y="548"/>
                  <a:pt x="132" y="548"/>
                  <a:pt x="132" y="548"/>
                </a:cubicBezTo>
                <a:lnTo>
                  <a:pt x="132" y="570"/>
                </a:lnTo>
                <a:close/>
                <a:moveTo>
                  <a:pt x="449" y="570"/>
                </a:moveTo>
                <a:cubicBezTo>
                  <a:pt x="449" y="586"/>
                  <a:pt x="436" y="600"/>
                  <a:pt x="420" y="600"/>
                </a:cubicBezTo>
                <a:cubicBezTo>
                  <a:pt x="404" y="600"/>
                  <a:pt x="390" y="586"/>
                  <a:pt x="390" y="570"/>
                </a:cubicBezTo>
                <a:cubicBezTo>
                  <a:pt x="390" y="548"/>
                  <a:pt x="390" y="548"/>
                  <a:pt x="390" y="548"/>
                </a:cubicBezTo>
                <a:cubicBezTo>
                  <a:pt x="449" y="548"/>
                  <a:pt x="449" y="548"/>
                  <a:pt x="449" y="548"/>
                </a:cubicBezTo>
                <a:lnTo>
                  <a:pt x="449" y="570"/>
                </a:lnTo>
                <a:close/>
                <a:moveTo>
                  <a:pt x="496" y="526"/>
                </a:moveTo>
                <a:cubicBezTo>
                  <a:pt x="491" y="531"/>
                  <a:pt x="485" y="534"/>
                  <a:pt x="477" y="534"/>
                </a:cubicBezTo>
                <a:cubicBezTo>
                  <a:pt x="45" y="534"/>
                  <a:pt x="45" y="534"/>
                  <a:pt x="45" y="534"/>
                </a:cubicBezTo>
                <a:cubicBezTo>
                  <a:pt x="38" y="534"/>
                  <a:pt x="31" y="531"/>
                  <a:pt x="26" y="526"/>
                </a:cubicBezTo>
                <a:cubicBezTo>
                  <a:pt x="20" y="519"/>
                  <a:pt x="17" y="510"/>
                  <a:pt x="18" y="500"/>
                </a:cubicBezTo>
                <a:cubicBezTo>
                  <a:pt x="25" y="423"/>
                  <a:pt x="25" y="423"/>
                  <a:pt x="25" y="423"/>
                </a:cubicBezTo>
                <a:cubicBezTo>
                  <a:pt x="27" y="407"/>
                  <a:pt x="35" y="398"/>
                  <a:pt x="44" y="387"/>
                </a:cubicBezTo>
                <a:cubicBezTo>
                  <a:pt x="53" y="376"/>
                  <a:pt x="63" y="365"/>
                  <a:pt x="64" y="347"/>
                </a:cubicBezTo>
                <a:cubicBezTo>
                  <a:pt x="65" y="338"/>
                  <a:pt x="66" y="324"/>
                  <a:pt x="67" y="308"/>
                </a:cubicBezTo>
                <a:cubicBezTo>
                  <a:pt x="455" y="308"/>
                  <a:pt x="455" y="308"/>
                  <a:pt x="455" y="308"/>
                </a:cubicBezTo>
                <a:cubicBezTo>
                  <a:pt x="456" y="324"/>
                  <a:pt x="457" y="338"/>
                  <a:pt x="458" y="347"/>
                </a:cubicBezTo>
                <a:cubicBezTo>
                  <a:pt x="459" y="365"/>
                  <a:pt x="469" y="376"/>
                  <a:pt x="478" y="387"/>
                </a:cubicBezTo>
                <a:cubicBezTo>
                  <a:pt x="487" y="398"/>
                  <a:pt x="496" y="407"/>
                  <a:pt x="497" y="423"/>
                </a:cubicBezTo>
                <a:cubicBezTo>
                  <a:pt x="504" y="500"/>
                  <a:pt x="504" y="500"/>
                  <a:pt x="504" y="500"/>
                </a:cubicBezTo>
                <a:cubicBezTo>
                  <a:pt x="505" y="510"/>
                  <a:pt x="502" y="519"/>
                  <a:pt x="496" y="526"/>
                </a:cubicBezTo>
                <a:close/>
                <a:moveTo>
                  <a:pt x="68" y="294"/>
                </a:moveTo>
                <a:cubicBezTo>
                  <a:pt x="71" y="261"/>
                  <a:pt x="73" y="228"/>
                  <a:pt x="73" y="228"/>
                </a:cubicBezTo>
                <a:cubicBezTo>
                  <a:pt x="76" y="199"/>
                  <a:pt x="101" y="177"/>
                  <a:pt x="131" y="177"/>
                </a:cubicBezTo>
                <a:cubicBezTo>
                  <a:pt x="391" y="177"/>
                  <a:pt x="391" y="177"/>
                  <a:pt x="391" y="177"/>
                </a:cubicBezTo>
                <a:cubicBezTo>
                  <a:pt x="421" y="177"/>
                  <a:pt x="446" y="199"/>
                  <a:pt x="449" y="228"/>
                </a:cubicBezTo>
                <a:cubicBezTo>
                  <a:pt x="449" y="228"/>
                  <a:pt x="452" y="261"/>
                  <a:pt x="454" y="294"/>
                </a:cubicBezTo>
                <a:lnTo>
                  <a:pt x="68" y="294"/>
                </a:lnTo>
                <a:close/>
                <a:moveTo>
                  <a:pt x="509" y="385"/>
                </a:moveTo>
                <a:cubicBezTo>
                  <a:pt x="495" y="385"/>
                  <a:pt x="495" y="385"/>
                  <a:pt x="495" y="385"/>
                </a:cubicBezTo>
                <a:cubicBezTo>
                  <a:pt x="493" y="383"/>
                  <a:pt x="491" y="380"/>
                  <a:pt x="489" y="378"/>
                </a:cubicBezTo>
                <a:cubicBezTo>
                  <a:pt x="480" y="368"/>
                  <a:pt x="473" y="359"/>
                  <a:pt x="472" y="346"/>
                </a:cubicBezTo>
                <a:cubicBezTo>
                  <a:pt x="470" y="316"/>
                  <a:pt x="463" y="227"/>
                  <a:pt x="463" y="227"/>
                </a:cubicBezTo>
                <a:cubicBezTo>
                  <a:pt x="460" y="191"/>
                  <a:pt x="428" y="163"/>
                  <a:pt x="391" y="163"/>
                </a:cubicBezTo>
                <a:cubicBezTo>
                  <a:pt x="131" y="163"/>
                  <a:pt x="131" y="163"/>
                  <a:pt x="131" y="163"/>
                </a:cubicBezTo>
                <a:cubicBezTo>
                  <a:pt x="94" y="163"/>
                  <a:pt x="62" y="191"/>
                  <a:pt x="59" y="227"/>
                </a:cubicBezTo>
                <a:cubicBezTo>
                  <a:pt x="59" y="227"/>
                  <a:pt x="53" y="316"/>
                  <a:pt x="50" y="346"/>
                </a:cubicBezTo>
                <a:cubicBezTo>
                  <a:pt x="49" y="359"/>
                  <a:pt x="42" y="368"/>
                  <a:pt x="33" y="378"/>
                </a:cubicBezTo>
                <a:cubicBezTo>
                  <a:pt x="31" y="380"/>
                  <a:pt x="29" y="383"/>
                  <a:pt x="27" y="385"/>
                </a:cubicBezTo>
                <a:cubicBezTo>
                  <a:pt x="14" y="385"/>
                  <a:pt x="14" y="385"/>
                  <a:pt x="14" y="385"/>
                </a:cubicBezTo>
                <a:cubicBezTo>
                  <a:pt x="14" y="14"/>
                  <a:pt x="14" y="14"/>
                  <a:pt x="14" y="14"/>
                </a:cubicBezTo>
                <a:cubicBezTo>
                  <a:pt x="509" y="14"/>
                  <a:pt x="509" y="14"/>
                  <a:pt x="509" y="14"/>
                </a:cubicBezTo>
                <a:lnTo>
                  <a:pt x="509" y="385"/>
                </a:lnTo>
                <a:close/>
                <a:moveTo>
                  <a:pt x="102" y="385"/>
                </a:moveTo>
                <a:cubicBezTo>
                  <a:pt x="78" y="385"/>
                  <a:pt x="59" y="404"/>
                  <a:pt x="59" y="428"/>
                </a:cubicBezTo>
                <a:cubicBezTo>
                  <a:pt x="59" y="452"/>
                  <a:pt x="78" y="472"/>
                  <a:pt x="102" y="472"/>
                </a:cubicBezTo>
                <a:cubicBezTo>
                  <a:pt x="126" y="472"/>
                  <a:pt x="146" y="452"/>
                  <a:pt x="146" y="428"/>
                </a:cubicBezTo>
                <a:cubicBezTo>
                  <a:pt x="146" y="404"/>
                  <a:pt x="126" y="385"/>
                  <a:pt x="102" y="385"/>
                </a:cubicBezTo>
                <a:close/>
                <a:moveTo>
                  <a:pt x="102" y="458"/>
                </a:moveTo>
                <a:cubicBezTo>
                  <a:pt x="86" y="458"/>
                  <a:pt x="73" y="445"/>
                  <a:pt x="73" y="428"/>
                </a:cubicBezTo>
                <a:cubicBezTo>
                  <a:pt x="73" y="412"/>
                  <a:pt x="86" y="399"/>
                  <a:pt x="102" y="399"/>
                </a:cubicBezTo>
                <a:cubicBezTo>
                  <a:pt x="119" y="399"/>
                  <a:pt x="132" y="412"/>
                  <a:pt x="132" y="428"/>
                </a:cubicBezTo>
                <a:cubicBezTo>
                  <a:pt x="132" y="445"/>
                  <a:pt x="119" y="458"/>
                  <a:pt x="102" y="458"/>
                </a:cubicBezTo>
                <a:close/>
                <a:moveTo>
                  <a:pt x="344" y="335"/>
                </a:moveTo>
                <a:cubicBezTo>
                  <a:pt x="178" y="335"/>
                  <a:pt x="178" y="335"/>
                  <a:pt x="178" y="335"/>
                </a:cubicBezTo>
                <a:cubicBezTo>
                  <a:pt x="174" y="335"/>
                  <a:pt x="171" y="339"/>
                  <a:pt x="171" y="342"/>
                </a:cubicBezTo>
                <a:cubicBezTo>
                  <a:pt x="171" y="497"/>
                  <a:pt x="171" y="497"/>
                  <a:pt x="171" y="497"/>
                </a:cubicBezTo>
                <a:cubicBezTo>
                  <a:pt x="171" y="501"/>
                  <a:pt x="174" y="504"/>
                  <a:pt x="178" y="504"/>
                </a:cubicBezTo>
                <a:cubicBezTo>
                  <a:pt x="344" y="504"/>
                  <a:pt x="344" y="504"/>
                  <a:pt x="344" y="504"/>
                </a:cubicBezTo>
                <a:cubicBezTo>
                  <a:pt x="348" y="504"/>
                  <a:pt x="351" y="501"/>
                  <a:pt x="351" y="497"/>
                </a:cubicBezTo>
                <a:cubicBezTo>
                  <a:pt x="351" y="342"/>
                  <a:pt x="351" y="342"/>
                  <a:pt x="351" y="342"/>
                </a:cubicBezTo>
                <a:cubicBezTo>
                  <a:pt x="351" y="339"/>
                  <a:pt x="348" y="335"/>
                  <a:pt x="344" y="335"/>
                </a:cubicBezTo>
                <a:close/>
                <a:moveTo>
                  <a:pt x="337" y="490"/>
                </a:moveTo>
                <a:cubicBezTo>
                  <a:pt x="185" y="490"/>
                  <a:pt x="185" y="490"/>
                  <a:pt x="185" y="490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337" y="453"/>
                  <a:pt x="337" y="453"/>
                  <a:pt x="337" y="453"/>
                </a:cubicBezTo>
                <a:lnTo>
                  <a:pt x="337" y="490"/>
                </a:lnTo>
                <a:close/>
                <a:moveTo>
                  <a:pt x="337" y="439"/>
                </a:moveTo>
                <a:cubicBezTo>
                  <a:pt x="185" y="439"/>
                  <a:pt x="185" y="439"/>
                  <a:pt x="185" y="439"/>
                </a:cubicBezTo>
                <a:cubicBezTo>
                  <a:pt x="185" y="401"/>
                  <a:pt x="185" y="401"/>
                  <a:pt x="185" y="401"/>
                </a:cubicBezTo>
                <a:cubicBezTo>
                  <a:pt x="337" y="401"/>
                  <a:pt x="337" y="401"/>
                  <a:pt x="337" y="401"/>
                </a:cubicBezTo>
                <a:lnTo>
                  <a:pt x="337" y="439"/>
                </a:lnTo>
                <a:close/>
                <a:moveTo>
                  <a:pt x="337" y="387"/>
                </a:moveTo>
                <a:cubicBezTo>
                  <a:pt x="185" y="387"/>
                  <a:pt x="185" y="387"/>
                  <a:pt x="185" y="387"/>
                </a:cubicBezTo>
                <a:cubicBezTo>
                  <a:pt x="185" y="349"/>
                  <a:pt x="185" y="349"/>
                  <a:pt x="185" y="349"/>
                </a:cubicBezTo>
                <a:cubicBezTo>
                  <a:pt x="337" y="349"/>
                  <a:pt x="337" y="349"/>
                  <a:pt x="337" y="349"/>
                </a:cubicBezTo>
                <a:lnTo>
                  <a:pt x="337" y="387"/>
                </a:lnTo>
                <a:close/>
                <a:moveTo>
                  <a:pt x="420" y="385"/>
                </a:moveTo>
                <a:cubicBezTo>
                  <a:pt x="396" y="385"/>
                  <a:pt x="376" y="404"/>
                  <a:pt x="376" y="428"/>
                </a:cubicBezTo>
                <a:cubicBezTo>
                  <a:pt x="376" y="452"/>
                  <a:pt x="396" y="472"/>
                  <a:pt x="420" y="472"/>
                </a:cubicBezTo>
                <a:cubicBezTo>
                  <a:pt x="444" y="472"/>
                  <a:pt x="463" y="452"/>
                  <a:pt x="463" y="428"/>
                </a:cubicBezTo>
                <a:cubicBezTo>
                  <a:pt x="463" y="404"/>
                  <a:pt x="444" y="385"/>
                  <a:pt x="420" y="385"/>
                </a:cubicBezTo>
                <a:close/>
                <a:moveTo>
                  <a:pt x="420" y="458"/>
                </a:moveTo>
                <a:cubicBezTo>
                  <a:pt x="404" y="458"/>
                  <a:pt x="390" y="445"/>
                  <a:pt x="390" y="428"/>
                </a:cubicBezTo>
                <a:cubicBezTo>
                  <a:pt x="390" y="412"/>
                  <a:pt x="404" y="399"/>
                  <a:pt x="420" y="399"/>
                </a:cubicBezTo>
                <a:cubicBezTo>
                  <a:pt x="436" y="399"/>
                  <a:pt x="449" y="412"/>
                  <a:pt x="449" y="428"/>
                </a:cubicBezTo>
                <a:cubicBezTo>
                  <a:pt x="449" y="445"/>
                  <a:pt x="436" y="458"/>
                  <a:pt x="420" y="45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4" name="Oval 14"/>
          <p:cNvSpPr>
            <a:spLocks noChangeArrowheads="1"/>
          </p:cNvSpPr>
          <p:nvPr/>
        </p:nvSpPr>
        <p:spPr bwMode="auto">
          <a:xfrm>
            <a:off x="966871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2" name="Freeform 22"/>
          <p:cNvSpPr>
            <a:spLocks noEditPoints="1"/>
          </p:cNvSpPr>
          <p:nvPr/>
        </p:nvSpPr>
        <p:spPr bwMode="auto">
          <a:xfrm>
            <a:off x="1202190" y="2482515"/>
            <a:ext cx="405089" cy="446712"/>
          </a:xfrm>
          <a:custGeom>
            <a:avLst/>
            <a:gdLst>
              <a:gd name="T0" fmla="*/ 509 w 523"/>
              <a:gd name="T1" fmla="*/ 183 h 577"/>
              <a:gd name="T2" fmla="*/ 434 w 523"/>
              <a:gd name="T3" fmla="*/ 121 h 577"/>
              <a:gd name="T4" fmla="*/ 424 w 523"/>
              <a:gd name="T5" fmla="*/ 123 h 577"/>
              <a:gd name="T6" fmla="*/ 425 w 523"/>
              <a:gd name="T7" fmla="*/ 132 h 577"/>
              <a:gd name="T8" fmla="*/ 500 w 523"/>
              <a:gd name="T9" fmla="*/ 193 h 577"/>
              <a:gd name="T10" fmla="*/ 509 w 523"/>
              <a:gd name="T11" fmla="*/ 229 h 577"/>
              <a:gd name="T12" fmla="*/ 509 w 523"/>
              <a:gd name="T13" fmla="*/ 412 h 577"/>
              <a:gd name="T14" fmla="*/ 479 w 523"/>
              <a:gd name="T15" fmla="*/ 442 h 577"/>
              <a:gd name="T16" fmla="*/ 450 w 523"/>
              <a:gd name="T17" fmla="*/ 413 h 577"/>
              <a:gd name="T18" fmla="*/ 451 w 523"/>
              <a:gd name="T19" fmla="*/ 356 h 577"/>
              <a:gd name="T20" fmla="*/ 414 w 523"/>
              <a:gd name="T21" fmla="*/ 313 h 577"/>
              <a:gd name="T22" fmla="*/ 414 w 523"/>
              <a:gd name="T23" fmla="*/ 55 h 577"/>
              <a:gd name="T24" fmla="*/ 359 w 523"/>
              <a:gd name="T25" fmla="*/ 0 h 577"/>
              <a:gd name="T26" fmla="*/ 93 w 523"/>
              <a:gd name="T27" fmla="*/ 0 h 577"/>
              <a:gd name="T28" fmla="*/ 38 w 523"/>
              <a:gd name="T29" fmla="*/ 55 h 577"/>
              <a:gd name="T30" fmla="*/ 38 w 523"/>
              <a:gd name="T31" fmla="*/ 563 h 577"/>
              <a:gd name="T32" fmla="*/ 7 w 523"/>
              <a:gd name="T33" fmla="*/ 563 h 577"/>
              <a:gd name="T34" fmla="*/ 0 w 523"/>
              <a:gd name="T35" fmla="*/ 570 h 577"/>
              <a:gd name="T36" fmla="*/ 7 w 523"/>
              <a:gd name="T37" fmla="*/ 577 h 577"/>
              <a:gd name="T38" fmla="*/ 445 w 523"/>
              <a:gd name="T39" fmla="*/ 577 h 577"/>
              <a:gd name="T40" fmla="*/ 452 w 523"/>
              <a:gd name="T41" fmla="*/ 570 h 577"/>
              <a:gd name="T42" fmla="*/ 445 w 523"/>
              <a:gd name="T43" fmla="*/ 563 h 577"/>
              <a:gd name="T44" fmla="*/ 414 w 523"/>
              <a:gd name="T45" fmla="*/ 563 h 577"/>
              <a:gd name="T46" fmla="*/ 414 w 523"/>
              <a:gd name="T47" fmla="*/ 327 h 577"/>
              <a:gd name="T48" fmla="*/ 437 w 523"/>
              <a:gd name="T49" fmla="*/ 355 h 577"/>
              <a:gd name="T50" fmla="*/ 436 w 523"/>
              <a:gd name="T51" fmla="*/ 412 h 577"/>
              <a:gd name="T52" fmla="*/ 479 w 523"/>
              <a:gd name="T53" fmla="*/ 456 h 577"/>
              <a:gd name="T54" fmla="*/ 523 w 523"/>
              <a:gd name="T55" fmla="*/ 412 h 577"/>
              <a:gd name="T56" fmla="*/ 523 w 523"/>
              <a:gd name="T57" fmla="*/ 229 h 577"/>
              <a:gd name="T58" fmla="*/ 509 w 523"/>
              <a:gd name="T59" fmla="*/ 183 h 577"/>
              <a:gd name="T60" fmla="*/ 52 w 523"/>
              <a:gd name="T61" fmla="*/ 563 h 577"/>
              <a:gd name="T62" fmla="*/ 52 w 523"/>
              <a:gd name="T63" fmla="*/ 55 h 577"/>
              <a:gd name="T64" fmla="*/ 93 w 523"/>
              <a:gd name="T65" fmla="*/ 14 h 577"/>
              <a:gd name="T66" fmla="*/ 359 w 523"/>
              <a:gd name="T67" fmla="*/ 14 h 577"/>
              <a:gd name="T68" fmla="*/ 400 w 523"/>
              <a:gd name="T69" fmla="*/ 55 h 577"/>
              <a:gd name="T70" fmla="*/ 400 w 523"/>
              <a:gd name="T71" fmla="*/ 563 h 577"/>
              <a:gd name="T72" fmla="*/ 52 w 523"/>
              <a:gd name="T73" fmla="*/ 563 h 577"/>
              <a:gd name="T74" fmla="*/ 352 w 523"/>
              <a:gd name="T75" fmla="*/ 55 h 577"/>
              <a:gd name="T76" fmla="*/ 100 w 523"/>
              <a:gd name="T77" fmla="*/ 55 h 577"/>
              <a:gd name="T78" fmla="*/ 93 w 523"/>
              <a:gd name="T79" fmla="*/ 62 h 577"/>
              <a:gd name="T80" fmla="*/ 93 w 523"/>
              <a:gd name="T81" fmla="*/ 230 h 577"/>
              <a:gd name="T82" fmla="*/ 100 w 523"/>
              <a:gd name="T83" fmla="*/ 237 h 577"/>
              <a:gd name="T84" fmla="*/ 352 w 523"/>
              <a:gd name="T85" fmla="*/ 237 h 577"/>
              <a:gd name="T86" fmla="*/ 359 w 523"/>
              <a:gd name="T87" fmla="*/ 230 h 577"/>
              <a:gd name="T88" fmla="*/ 359 w 523"/>
              <a:gd name="T89" fmla="*/ 62 h 577"/>
              <a:gd name="T90" fmla="*/ 352 w 523"/>
              <a:gd name="T91" fmla="*/ 55 h 577"/>
              <a:gd name="T92" fmla="*/ 345 w 523"/>
              <a:gd name="T93" fmla="*/ 223 h 577"/>
              <a:gd name="T94" fmla="*/ 107 w 523"/>
              <a:gd name="T95" fmla="*/ 223 h 577"/>
              <a:gd name="T96" fmla="*/ 107 w 523"/>
              <a:gd name="T97" fmla="*/ 69 h 577"/>
              <a:gd name="T98" fmla="*/ 345 w 523"/>
              <a:gd name="T99" fmla="*/ 69 h 577"/>
              <a:gd name="T100" fmla="*/ 345 w 523"/>
              <a:gd name="T101" fmla="*/ 223 h 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23" h="577">
                <a:moveTo>
                  <a:pt x="509" y="183"/>
                </a:moveTo>
                <a:cubicBezTo>
                  <a:pt x="498" y="173"/>
                  <a:pt x="437" y="124"/>
                  <a:pt x="434" y="121"/>
                </a:cubicBezTo>
                <a:cubicBezTo>
                  <a:pt x="431" y="119"/>
                  <a:pt x="426" y="120"/>
                  <a:pt x="424" y="123"/>
                </a:cubicBezTo>
                <a:cubicBezTo>
                  <a:pt x="422" y="126"/>
                  <a:pt x="422" y="130"/>
                  <a:pt x="425" y="132"/>
                </a:cubicBezTo>
                <a:cubicBezTo>
                  <a:pt x="426" y="133"/>
                  <a:pt x="489" y="184"/>
                  <a:pt x="500" y="193"/>
                </a:cubicBezTo>
                <a:cubicBezTo>
                  <a:pt x="508" y="200"/>
                  <a:pt x="509" y="211"/>
                  <a:pt x="509" y="229"/>
                </a:cubicBezTo>
                <a:cubicBezTo>
                  <a:pt x="509" y="412"/>
                  <a:pt x="509" y="412"/>
                  <a:pt x="509" y="412"/>
                </a:cubicBezTo>
                <a:cubicBezTo>
                  <a:pt x="509" y="429"/>
                  <a:pt x="496" y="442"/>
                  <a:pt x="479" y="442"/>
                </a:cubicBezTo>
                <a:cubicBezTo>
                  <a:pt x="463" y="442"/>
                  <a:pt x="450" y="429"/>
                  <a:pt x="450" y="413"/>
                </a:cubicBezTo>
                <a:cubicBezTo>
                  <a:pt x="451" y="356"/>
                  <a:pt x="451" y="356"/>
                  <a:pt x="451" y="356"/>
                </a:cubicBezTo>
                <a:cubicBezTo>
                  <a:pt x="451" y="334"/>
                  <a:pt x="435" y="316"/>
                  <a:pt x="414" y="313"/>
                </a:cubicBezTo>
                <a:cubicBezTo>
                  <a:pt x="414" y="55"/>
                  <a:pt x="414" y="55"/>
                  <a:pt x="414" y="55"/>
                </a:cubicBezTo>
                <a:cubicBezTo>
                  <a:pt x="414" y="24"/>
                  <a:pt x="389" y="0"/>
                  <a:pt x="359" y="0"/>
                </a:cubicBezTo>
                <a:cubicBezTo>
                  <a:pt x="93" y="0"/>
                  <a:pt x="93" y="0"/>
                  <a:pt x="93" y="0"/>
                </a:cubicBezTo>
                <a:cubicBezTo>
                  <a:pt x="63" y="0"/>
                  <a:pt x="38" y="24"/>
                  <a:pt x="38" y="55"/>
                </a:cubicBezTo>
                <a:cubicBezTo>
                  <a:pt x="38" y="563"/>
                  <a:pt x="38" y="563"/>
                  <a:pt x="38" y="563"/>
                </a:cubicBezTo>
                <a:cubicBezTo>
                  <a:pt x="7" y="563"/>
                  <a:pt x="7" y="563"/>
                  <a:pt x="7" y="563"/>
                </a:cubicBezTo>
                <a:cubicBezTo>
                  <a:pt x="3" y="563"/>
                  <a:pt x="0" y="566"/>
                  <a:pt x="0" y="570"/>
                </a:cubicBezTo>
                <a:cubicBezTo>
                  <a:pt x="0" y="574"/>
                  <a:pt x="3" y="577"/>
                  <a:pt x="7" y="577"/>
                </a:cubicBezTo>
                <a:cubicBezTo>
                  <a:pt x="445" y="577"/>
                  <a:pt x="445" y="577"/>
                  <a:pt x="445" y="577"/>
                </a:cubicBezTo>
                <a:cubicBezTo>
                  <a:pt x="449" y="577"/>
                  <a:pt x="452" y="574"/>
                  <a:pt x="452" y="570"/>
                </a:cubicBezTo>
                <a:cubicBezTo>
                  <a:pt x="452" y="566"/>
                  <a:pt x="449" y="563"/>
                  <a:pt x="445" y="563"/>
                </a:cubicBezTo>
                <a:cubicBezTo>
                  <a:pt x="414" y="563"/>
                  <a:pt x="414" y="563"/>
                  <a:pt x="414" y="563"/>
                </a:cubicBezTo>
                <a:cubicBezTo>
                  <a:pt x="414" y="327"/>
                  <a:pt x="414" y="327"/>
                  <a:pt x="414" y="327"/>
                </a:cubicBezTo>
                <a:cubicBezTo>
                  <a:pt x="427" y="330"/>
                  <a:pt x="437" y="342"/>
                  <a:pt x="437" y="355"/>
                </a:cubicBezTo>
                <a:cubicBezTo>
                  <a:pt x="436" y="412"/>
                  <a:pt x="436" y="412"/>
                  <a:pt x="436" y="412"/>
                </a:cubicBezTo>
                <a:cubicBezTo>
                  <a:pt x="436" y="437"/>
                  <a:pt x="455" y="456"/>
                  <a:pt x="479" y="456"/>
                </a:cubicBezTo>
                <a:cubicBezTo>
                  <a:pt x="503" y="456"/>
                  <a:pt x="523" y="437"/>
                  <a:pt x="523" y="412"/>
                </a:cubicBezTo>
                <a:cubicBezTo>
                  <a:pt x="523" y="229"/>
                  <a:pt x="523" y="229"/>
                  <a:pt x="523" y="229"/>
                </a:cubicBezTo>
                <a:cubicBezTo>
                  <a:pt x="523" y="212"/>
                  <a:pt x="523" y="194"/>
                  <a:pt x="509" y="183"/>
                </a:cubicBezTo>
                <a:close/>
                <a:moveTo>
                  <a:pt x="52" y="563"/>
                </a:moveTo>
                <a:cubicBezTo>
                  <a:pt x="52" y="55"/>
                  <a:pt x="52" y="55"/>
                  <a:pt x="52" y="55"/>
                </a:cubicBezTo>
                <a:cubicBezTo>
                  <a:pt x="52" y="32"/>
                  <a:pt x="70" y="14"/>
                  <a:pt x="93" y="14"/>
                </a:cubicBezTo>
                <a:cubicBezTo>
                  <a:pt x="359" y="14"/>
                  <a:pt x="359" y="14"/>
                  <a:pt x="359" y="14"/>
                </a:cubicBezTo>
                <a:cubicBezTo>
                  <a:pt x="382" y="14"/>
                  <a:pt x="400" y="32"/>
                  <a:pt x="400" y="55"/>
                </a:cubicBezTo>
                <a:cubicBezTo>
                  <a:pt x="400" y="563"/>
                  <a:pt x="400" y="563"/>
                  <a:pt x="400" y="563"/>
                </a:cubicBezTo>
                <a:lnTo>
                  <a:pt x="52" y="563"/>
                </a:lnTo>
                <a:close/>
                <a:moveTo>
                  <a:pt x="352" y="55"/>
                </a:moveTo>
                <a:cubicBezTo>
                  <a:pt x="100" y="55"/>
                  <a:pt x="100" y="55"/>
                  <a:pt x="100" y="55"/>
                </a:cubicBezTo>
                <a:cubicBezTo>
                  <a:pt x="97" y="55"/>
                  <a:pt x="93" y="58"/>
                  <a:pt x="93" y="62"/>
                </a:cubicBezTo>
                <a:cubicBezTo>
                  <a:pt x="93" y="230"/>
                  <a:pt x="93" y="230"/>
                  <a:pt x="93" y="230"/>
                </a:cubicBezTo>
                <a:cubicBezTo>
                  <a:pt x="93" y="234"/>
                  <a:pt x="97" y="237"/>
                  <a:pt x="100" y="237"/>
                </a:cubicBezTo>
                <a:cubicBezTo>
                  <a:pt x="352" y="237"/>
                  <a:pt x="352" y="237"/>
                  <a:pt x="352" y="237"/>
                </a:cubicBezTo>
                <a:cubicBezTo>
                  <a:pt x="355" y="237"/>
                  <a:pt x="359" y="234"/>
                  <a:pt x="359" y="230"/>
                </a:cubicBezTo>
                <a:cubicBezTo>
                  <a:pt x="359" y="62"/>
                  <a:pt x="359" y="62"/>
                  <a:pt x="359" y="62"/>
                </a:cubicBezTo>
                <a:cubicBezTo>
                  <a:pt x="359" y="58"/>
                  <a:pt x="355" y="55"/>
                  <a:pt x="352" y="55"/>
                </a:cubicBezTo>
                <a:close/>
                <a:moveTo>
                  <a:pt x="345" y="223"/>
                </a:moveTo>
                <a:cubicBezTo>
                  <a:pt x="107" y="223"/>
                  <a:pt x="107" y="223"/>
                  <a:pt x="107" y="223"/>
                </a:cubicBezTo>
                <a:cubicBezTo>
                  <a:pt x="107" y="69"/>
                  <a:pt x="107" y="69"/>
                  <a:pt x="107" y="69"/>
                </a:cubicBezTo>
                <a:cubicBezTo>
                  <a:pt x="345" y="69"/>
                  <a:pt x="345" y="69"/>
                  <a:pt x="345" y="69"/>
                </a:cubicBezTo>
                <a:lnTo>
                  <a:pt x="345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5" name="Oval 15"/>
          <p:cNvSpPr>
            <a:spLocks noChangeArrowheads="1"/>
          </p:cNvSpPr>
          <p:nvPr/>
        </p:nvSpPr>
        <p:spPr bwMode="auto">
          <a:xfrm>
            <a:off x="7430588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3" name="Freeform 23"/>
          <p:cNvSpPr>
            <a:spLocks noEditPoints="1"/>
          </p:cNvSpPr>
          <p:nvPr/>
        </p:nvSpPr>
        <p:spPr bwMode="auto">
          <a:xfrm>
            <a:off x="7568677" y="1274797"/>
            <a:ext cx="546782" cy="520454"/>
          </a:xfrm>
          <a:custGeom>
            <a:avLst/>
            <a:gdLst>
              <a:gd name="T0" fmla="*/ 704 w 706"/>
              <a:gd name="T1" fmla="*/ 161 h 672"/>
              <a:gd name="T2" fmla="*/ 634 w 706"/>
              <a:gd name="T3" fmla="*/ 72 h 672"/>
              <a:gd name="T4" fmla="*/ 629 w 706"/>
              <a:gd name="T5" fmla="*/ 70 h 672"/>
              <a:gd name="T6" fmla="*/ 360 w 706"/>
              <a:gd name="T7" fmla="*/ 70 h 672"/>
              <a:gd name="T8" fmla="*/ 360 w 706"/>
              <a:gd name="T9" fmla="*/ 7 h 672"/>
              <a:gd name="T10" fmla="*/ 353 w 706"/>
              <a:gd name="T11" fmla="*/ 0 h 672"/>
              <a:gd name="T12" fmla="*/ 346 w 706"/>
              <a:gd name="T13" fmla="*/ 7 h 672"/>
              <a:gd name="T14" fmla="*/ 346 w 706"/>
              <a:gd name="T15" fmla="*/ 70 h 672"/>
              <a:gd name="T16" fmla="*/ 129 w 706"/>
              <a:gd name="T17" fmla="*/ 70 h 672"/>
              <a:gd name="T18" fmla="*/ 122 w 706"/>
              <a:gd name="T19" fmla="*/ 77 h 672"/>
              <a:gd name="T20" fmla="*/ 122 w 706"/>
              <a:gd name="T21" fmla="*/ 253 h 672"/>
              <a:gd name="T22" fmla="*/ 129 w 706"/>
              <a:gd name="T23" fmla="*/ 260 h 672"/>
              <a:gd name="T24" fmla="*/ 346 w 706"/>
              <a:gd name="T25" fmla="*/ 260 h 672"/>
              <a:gd name="T26" fmla="*/ 346 w 706"/>
              <a:gd name="T27" fmla="*/ 329 h 672"/>
              <a:gd name="T28" fmla="*/ 77 w 706"/>
              <a:gd name="T29" fmla="*/ 329 h 672"/>
              <a:gd name="T30" fmla="*/ 72 w 706"/>
              <a:gd name="T31" fmla="*/ 332 h 672"/>
              <a:gd name="T32" fmla="*/ 2 w 706"/>
              <a:gd name="T33" fmla="*/ 420 h 672"/>
              <a:gd name="T34" fmla="*/ 2 w 706"/>
              <a:gd name="T35" fmla="*/ 429 h 672"/>
              <a:gd name="T36" fmla="*/ 72 w 706"/>
              <a:gd name="T37" fmla="*/ 517 h 672"/>
              <a:gd name="T38" fmla="*/ 77 w 706"/>
              <a:gd name="T39" fmla="*/ 519 h 672"/>
              <a:gd name="T40" fmla="*/ 346 w 706"/>
              <a:gd name="T41" fmla="*/ 519 h 672"/>
              <a:gd name="T42" fmla="*/ 346 w 706"/>
              <a:gd name="T43" fmla="*/ 665 h 672"/>
              <a:gd name="T44" fmla="*/ 353 w 706"/>
              <a:gd name="T45" fmla="*/ 672 h 672"/>
              <a:gd name="T46" fmla="*/ 360 w 706"/>
              <a:gd name="T47" fmla="*/ 665 h 672"/>
              <a:gd name="T48" fmla="*/ 360 w 706"/>
              <a:gd name="T49" fmla="*/ 519 h 672"/>
              <a:gd name="T50" fmla="*/ 577 w 706"/>
              <a:gd name="T51" fmla="*/ 519 h 672"/>
              <a:gd name="T52" fmla="*/ 584 w 706"/>
              <a:gd name="T53" fmla="*/ 512 h 672"/>
              <a:gd name="T54" fmla="*/ 584 w 706"/>
              <a:gd name="T55" fmla="*/ 336 h 672"/>
              <a:gd name="T56" fmla="*/ 577 w 706"/>
              <a:gd name="T57" fmla="*/ 329 h 672"/>
              <a:gd name="T58" fmla="*/ 360 w 706"/>
              <a:gd name="T59" fmla="*/ 329 h 672"/>
              <a:gd name="T60" fmla="*/ 360 w 706"/>
              <a:gd name="T61" fmla="*/ 260 h 672"/>
              <a:gd name="T62" fmla="*/ 629 w 706"/>
              <a:gd name="T63" fmla="*/ 260 h 672"/>
              <a:gd name="T64" fmla="*/ 634 w 706"/>
              <a:gd name="T65" fmla="*/ 257 h 672"/>
              <a:gd name="T66" fmla="*/ 704 w 706"/>
              <a:gd name="T67" fmla="*/ 169 h 672"/>
              <a:gd name="T68" fmla="*/ 704 w 706"/>
              <a:gd name="T69" fmla="*/ 161 h 672"/>
              <a:gd name="T70" fmla="*/ 570 w 706"/>
              <a:gd name="T71" fmla="*/ 505 h 672"/>
              <a:gd name="T72" fmla="*/ 80 w 706"/>
              <a:gd name="T73" fmla="*/ 505 h 672"/>
              <a:gd name="T74" fmla="*/ 16 w 706"/>
              <a:gd name="T75" fmla="*/ 424 h 672"/>
              <a:gd name="T76" fmla="*/ 80 w 706"/>
              <a:gd name="T77" fmla="*/ 343 h 672"/>
              <a:gd name="T78" fmla="*/ 353 w 706"/>
              <a:gd name="T79" fmla="*/ 343 h 672"/>
              <a:gd name="T80" fmla="*/ 353 w 706"/>
              <a:gd name="T81" fmla="*/ 343 h 672"/>
              <a:gd name="T82" fmla="*/ 353 w 706"/>
              <a:gd name="T83" fmla="*/ 343 h 672"/>
              <a:gd name="T84" fmla="*/ 570 w 706"/>
              <a:gd name="T85" fmla="*/ 343 h 672"/>
              <a:gd name="T86" fmla="*/ 570 w 706"/>
              <a:gd name="T87" fmla="*/ 505 h 672"/>
              <a:gd name="T88" fmla="*/ 626 w 706"/>
              <a:gd name="T89" fmla="*/ 246 h 672"/>
              <a:gd name="T90" fmla="*/ 136 w 706"/>
              <a:gd name="T91" fmla="*/ 246 h 672"/>
              <a:gd name="T92" fmla="*/ 136 w 706"/>
              <a:gd name="T93" fmla="*/ 84 h 672"/>
              <a:gd name="T94" fmla="*/ 626 w 706"/>
              <a:gd name="T95" fmla="*/ 84 h 672"/>
              <a:gd name="T96" fmla="*/ 690 w 706"/>
              <a:gd name="T97" fmla="*/ 165 h 672"/>
              <a:gd name="T98" fmla="*/ 626 w 706"/>
              <a:gd name="T99" fmla="*/ 246 h 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706" h="672">
                <a:moveTo>
                  <a:pt x="704" y="161"/>
                </a:moveTo>
                <a:cubicBezTo>
                  <a:pt x="634" y="72"/>
                  <a:pt x="634" y="72"/>
                  <a:pt x="634" y="72"/>
                </a:cubicBezTo>
                <a:cubicBezTo>
                  <a:pt x="633" y="71"/>
                  <a:pt x="631" y="70"/>
                  <a:pt x="629" y="70"/>
                </a:cubicBezTo>
                <a:cubicBezTo>
                  <a:pt x="360" y="70"/>
                  <a:pt x="360" y="70"/>
                  <a:pt x="360" y="70"/>
                </a:cubicBezTo>
                <a:cubicBezTo>
                  <a:pt x="360" y="7"/>
                  <a:pt x="360" y="7"/>
                  <a:pt x="360" y="7"/>
                </a:cubicBezTo>
                <a:cubicBezTo>
                  <a:pt x="360" y="3"/>
                  <a:pt x="357" y="0"/>
                  <a:pt x="353" y="0"/>
                </a:cubicBezTo>
                <a:cubicBezTo>
                  <a:pt x="349" y="0"/>
                  <a:pt x="346" y="3"/>
                  <a:pt x="346" y="7"/>
                </a:cubicBezTo>
                <a:cubicBezTo>
                  <a:pt x="346" y="70"/>
                  <a:pt x="346" y="70"/>
                  <a:pt x="346" y="70"/>
                </a:cubicBezTo>
                <a:cubicBezTo>
                  <a:pt x="129" y="70"/>
                  <a:pt x="129" y="70"/>
                  <a:pt x="129" y="70"/>
                </a:cubicBezTo>
                <a:cubicBezTo>
                  <a:pt x="126" y="70"/>
                  <a:pt x="122" y="73"/>
                  <a:pt x="122" y="77"/>
                </a:cubicBezTo>
                <a:cubicBezTo>
                  <a:pt x="122" y="253"/>
                  <a:pt x="122" y="253"/>
                  <a:pt x="122" y="253"/>
                </a:cubicBezTo>
                <a:cubicBezTo>
                  <a:pt x="122" y="257"/>
                  <a:pt x="126" y="260"/>
                  <a:pt x="129" y="260"/>
                </a:cubicBezTo>
                <a:cubicBezTo>
                  <a:pt x="346" y="260"/>
                  <a:pt x="346" y="260"/>
                  <a:pt x="346" y="260"/>
                </a:cubicBezTo>
                <a:cubicBezTo>
                  <a:pt x="346" y="329"/>
                  <a:pt x="346" y="329"/>
                  <a:pt x="346" y="329"/>
                </a:cubicBezTo>
                <a:cubicBezTo>
                  <a:pt x="77" y="329"/>
                  <a:pt x="77" y="329"/>
                  <a:pt x="77" y="329"/>
                </a:cubicBezTo>
                <a:cubicBezTo>
                  <a:pt x="75" y="329"/>
                  <a:pt x="73" y="330"/>
                  <a:pt x="72" y="332"/>
                </a:cubicBezTo>
                <a:cubicBezTo>
                  <a:pt x="2" y="420"/>
                  <a:pt x="2" y="420"/>
                  <a:pt x="2" y="420"/>
                </a:cubicBezTo>
                <a:cubicBezTo>
                  <a:pt x="0" y="423"/>
                  <a:pt x="0" y="426"/>
                  <a:pt x="2" y="429"/>
                </a:cubicBezTo>
                <a:cubicBezTo>
                  <a:pt x="72" y="517"/>
                  <a:pt x="72" y="517"/>
                  <a:pt x="72" y="517"/>
                </a:cubicBezTo>
                <a:cubicBezTo>
                  <a:pt x="73" y="519"/>
                  <a:pt x="75" y="519"/>
                  <a:pt x="77" y="519"/>
                </a:cubicBezTo>
                <a:cubicBezTo>
                  <a:pt x="346" y="519"/>
                  <a:pt x="346" y="519"/>
                  <a:pt x="346" y="519"/>
                </a:cubicBezTo>
                <a:cubicBezTo>
                  <a:pt x="346" y="665"/>
                  <a:pt x="346" y="665"/>
                  <a:pt x="346" y="665"/>
                </a:cubicBezTo>
                <a:cubicBezTo>
                  <a:pt x="346" y="669"/>
                  <a:pt x="349" y="672"/>
                  <a:pt x="353" y="672"/>
                </a:cubicBezTo>
                <a:cubicBezTo>
                  <a:pt x="357" y="672"/>
                  <a:pt x="360" y="669"/>
                  <a:pt x="360" y="665"/>
                </a:cubicBezTo>
                <a:cubicBezTo>
                  <a:pt x="360" y="519"/>
                  <a:pt x="360" y="519"/>
                  <a:pt x="360" y="519"/>
                </a:cubicBezTo>
                <a:cubicBezTo>
                  <a:pt x="577" y="519"/>
                  <a:pt x="577" y="519"/>
                  <a:pt x="577" y="519"/>
                </a:cubicBezTo>
                <a:cubicBezTo>
                  <a:pt x="580" y="519"/>
                  <a:pt x="584" y="516"/>
                  <a:pt x="584" y="512"/>
                </a:cubicBezTo>
                <a:cubicBezTo>
                  <a:pt x="584" y="336"/>
                  <a:pt x="584" y="336"/>
                  <a:pt x="584" y="336"/>
                </a:cubicBezTo>
                <a:cubicBezTo>
                  <a:pt x="584" y="332"/>
                  <a:pt x="580" y="329"/>
                  <a:pt x="577" y="329"/>
                </a:cubicBezTo>
                <a:cubicBezTo>
                  <a:pt x="360" y="329"/>
                  <a:pt x="360" y="329"/>
                  <a:pt x="360" y="329"/>
                </a:cubicBezTo>
                <a:cubicBezTo>
                  <a:pt x="360" y="260"/>
                  <a:pt x="360" y="260"/>
                  <a:pt x="360" y="260"/>
                </a:cubicBezTo>
                <a:cubicBezTo>
                  <a:pt x="629" y="260"/>
                  <a:pt x="629" y="260"/>
                  <a:pt x="629" y="260"/>
                </a:cubicBezTo>
                <a:cubicBezTo>
                  <a:pt x="631" y="260"/>
                  <a:pt x="633" y="259"/>
                  <a:pt x="634" y="257"/>
                </a:cubicBezTo>
                <a:cubicBezTo>
                  <a:pt x="704" y="169"/>
                  <a:pt x="704" y="169"/>
                  <a:pt x="704" y="169"/>
                </a:cubicBezTo>
                <a:cubicBezTo>
                  <a:pt x="706" y="167"/>
                  <a:pt x="706" y="163"/>
                  <a:pt x="704" y="161"/>
                </a:cubicBezTo>
                <a:close/>
                <a:moveTo>
                  <a:pt x="570" y="505"/>
                </a:moveTo>
                <a:cubicBezTo>
                  <a:pt x="80" y="505"/>
                  <a:pt x="80" y="505"/>
                  <a:pt x="80" y="505"/>
                </a:cubicBezTo>
                <a:cubicBezTo>
                  <a:pt x="16" y="424"/>
                  <a:pt x="16" y="424"/>
                  <a:pt x="16" y="424"/>
                </a:cubicBezTo>
                <a:cubicBezTo>
                  <a:pt x="80" y="343"/>
                  <a:pt x="80" y="343"/>
                  <a:pt x="80" y="343"/>
                </a:cubicBezTo>
                <a:cubicBezTo>
                  <a:pt x="353" y="343"/>
                  <a:pt x="353" y="343"/>
                  <a:pt x="353" y="343"/>
                </a:cubicBezTo>
                <a:cubicBezTo>
                  <a:pt x="353" y="343"/>
                  <a:pt x="353" y="343"/>
                  <a:pt x="353" y="343"/>
                </a:cubicBezTo>
                <a:cubicBezTo>
                  <a:pt x="353" y="343"/>
                  <a:pt x="353" y="343"/>
                  <a:pt x="353" y="343"/>
                </a:cubicBezTo>
                <a:cubicBezTo>
                  <a:pt x="570" y="343"/>
                  <a:pt x="570" y="343"/>
                  <a:pt x="570" y="343"/>
                </a:cubicBezTo>
                <a:lnTo>
                  <a:pt x="570" y="505"/>
                </a:lnTo>
                <a:close/>
                <a:moveTo>
                  <a:pt x="626" y="246"/>
                </a:moveTo>
                <a:cubicBezTo>
                  <a:pt x="136" y="246"/>
                  <a:pt x="136" y="246"/>
                  <a:pt x="136" y="246"/>
                </a:cubicBezTo>
                <a:cubicBezTo>
                  <a:pt x="136" y="84"/>
                  <a:pt x="136" y="84"/>
                  <a:pt x="136" y="84"/>
                </a:cubicBezTo>
                <a:cubicBezTo>
                  <a:pt x="626" y="84"/>
                  <a:pt x="626" y="84"/>
                  <a:pt x="626" y="84"/>
                </a:cubicBezTo>
                <a:cubicBezTo>
                  <a:pt x="690" y="165"/>
                  <a:pt x="690" y="165"/>
                  <a:pt x="690" y="165"/>
                </a:cubicBezTo>
                <a:lnTo>
                  <a:pt x="626" y="24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2" name="Oval 12"/>
          <p:cNvSpPr>
            <a:spLocks noChangeArrowheads="1"/>
          </p:cNvSpPr>
          <p:nvPr/>
        </p:nvSpPr>
        <p:spPr bwMode="auto">
          <a:xfrm>
            <a:off x="3552358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4" name="Freeform 24"/>
          <p:cNvSpPr>
            <a:spLocks noEditPoints="1"/>
          </p:cNvSpPr>
          <p:nvPr/>
        </p:nvSpPr>
        <p:spPr bwMode="auto">
          <a:xfrm>
            <a:off x="3701927" y="2538887"/>
            <a:ext cx="523821" cy="333641"/>
          </a:xfrm>
          <a:custGeom>
            <a:avLst/>
            <a:gdLst>
              <a:gd name="T0" fmla="*/ 658 w 676"/>
              <a:gd name="T1" fmla="*/ 217 h 431"/>
              <a:gd name="T2" fmla="*/ 636 w 676"/>
              <a:gd name="T3" fmla="*/ 217 h 431"/>
              <a:gd name="T4" fmla="*/ 600 w 676"/>
              <a:gd name="T5" fmla="*/ 129 h 431"/>
              <a:gd name="T6" fmla="*/ 555 w 676"/>
              <a:gd name="T7" fmla="*/ 95 h 431"/>
              <a:gd name="T8" fmla="*/ 438 w 676"/>
              <a:gd name="T9" fmla="*/ 95 h 431"/>
              <a:gd name="T10" fmla="*/ 438 w 676"/>
              <a:gd name="T11" fmla="*/ 7 h 431"/>
              <a:gd name="T12" fmla="*/ 431 w 676"/>
              <a:gd name="T13" fmla="*/ 0 h 431"/>
              <a:gd name="T14" fmla="*/ 7 w 676"/>
              <a:gd name="T15" fmla="*/ 0 h 431"/>
              <a:gd name="T16" fmla="*/ 0 w 676"/>
              <a:gd name="T17" fmla="*/ 7 h 431"/>
              <a:gd name="T18" fmla="*/ 0 w 676"/>
              <a:gd name="T19" fmla="*/ 368 h 431"/>
              <a:gd name="T20" fmla="*/ 7 w 676"/>
              <a:gd name="T21" fmla="*/ 375 h 431"/>
              <a:gd name="T22" fmla="*/ 104 w 676"/>
              <a:gd name="T23" fmla="*/ 375 h 431"/>
              <a:gd name="T24" fmla="*/ 167 w 676"/>
              <a:gd name="T25" fmla="*/ 431 h 431"/>
              <a:gd name="T26" fmla="*/ 230 w 676"/>
              <a:gd name="T27" fmla="*/ 375 h 431"/>
              <a:gd name="T28" fmla="*/ 470 w 676"/>
              <a:gd name="T29" fmla="*/ 375 h 431"/>
              <a:gd name="T30" fmla="*/ 533 w 676"/>
              <a:gd name="T31" fmla="*/ 431 h 431"/>
              <a:gd name="T32" fmla="*/ 596 w 676"/>
              <a:gd name="T33" fmla="*/ 375 h 431"/>
              <a:gd name="T34" fmla="*/ 658 w 676"/>
              <a:gd name="T35" fmla="*/ 375 h 431"/>
              <a:gd name="T36" fmla="*/ 676 w 676"/>
              <a:gd name="T37" fmla="*/ 357 h 431"/>
              <a:gd name="T38" fmla="*/ 676 w 676"/>
              <a:gd name="T39" fmla="*/ 235 h 431"/>
              <a:gd name="T40" fmla="*/ 658 w 676"/>
              <a:gd name="T41" fmla="*/ 217 h 431"/>
              <a:gd name="T42" fmla="*/ 555 w 676"/>
              <a:gd name="T43" fmla="*/ 109 h 431"/>
              <a:gd name="T44" fmla="*/ 587 w 676"/>
              <a:gd name="T45" fmla="*/ 134 h 431"/>
              <a:gd name="T46" fmla="*/ 621 w 676"/>
              <a:gd name="T47" fmla="*/ 217 h 431"/>
              <a:gd name="T48" fmla="*/ 438 w 676"/>
              <a:gd name="T49" fmla="*/ 217 h 431"/>
              <a:gd name="T50" fmla="*/ 438 w 676"/>
              <a:gd name="T51" fmla="*/ 109 h 431"/>
              <a:gd name="T52" fmla="*/ 555 w 676"/>
              <a:gd name="T53" fmla="*/ 109 h 431"/>
              <a:gd name="T54" fmla="*/ 14 w 676"/>
              <a:gd name="T55" fmla="*/ 14 h 431"/>
              <a:gd name="T56" fmla="*/ 424 w 676"/>
              <a:gd name="T57" fmla="*/ 14 h 431"/>
              <a:gd name="T58" fmla="*/ 424 w 676"/>
              <a:gd name="T59" fmla="*/ 361 h 431"/>
              <a:gd name="T60" fmla="*/ 230 w 676"/>
              <a:gd name="T61" fmla="*/ 361 h 431"/>
              <a:gd name="T62" fmla="*/ 167 w 676"/>
              <a:gd name="T63" fmla="*/ 304 h 431"/>
              <a:gd name="T64" fmla="*/ 104 w 676"/>
              <a:gd name="T65" fmla="*/ 361 h 431"/>
              <a:gd name="T66" fmla="*/ 14 w 676"/>
              <a:gd name="T67" fmla="*/ 361 h 431"/>
              <a:gd name="T68" fmla="*/ 14 w 676"/>
              <a:gd name="T69" fmla="*/ 14 h 431"/>
              <a:gd name="T70" fmla="*/ 167 w 676"/>
              <a:gd name="T71" fmla="*/ 417 h 431"/>
              <a:gd name="T72" fmla="*/ 118 w 676"/>
              <a:gd name="T73" fmla="*/ 368 h 431"/>
              <a:gd name="T74" fmla="*/ 167 w 676"/>
              <a:gd name="T75" fmla="*/ 318 h 431"/>
              <a:gd name="T76" fmla="*/ 216 w 676"/>
              <a:gd name="T77" fmla="*/ 368 h 431"/>
              <a:gd name="T78" fmla="*/ 167 w 676"/>
              <a:gd name="T79" fmla="*/ 417 h 431"/>
              <a:gd name="T80" fmla="*/ 533 w 676"/>
              <a:gd name="T81" fmla="*/ 417 h 431"/>
              <a:gd name="T82" fmla="*/ 484 w 676"/>
              <a:gd name="T83" fmla="*/ 368 h 431"/>
              <a:gd name="T84" fmla="*/ 533 w 676"/>
              <a:gd name="T85" fmla="*/ 318 h 431"/>
              <a:gd name="T86" fmla="*/ 582 w 676"/>
              <a:gd name="T87" fmla="*/ 366 h 431"/>
              <a:gd name="T88" fmla="*/ 582 w 676"/>
              <a:gd name="T89" fmla="*/ 368 h 431"/>
              <a:gd name="T90" fmla="*/ 582 w 676"/>
              <a:gd name="T91" fmla="*/ 369 h 431"/>
              <a:gd name="T92" fmla="*/ 533 w 676"/>
              <a:gd name="T93" fmla="*/ 417 h 431"/>
              <a:gd name="T94" fmla="*/ 662 w 676"/>
              <a:gd name="T95" fmla="*/ 357 h 431"/>
              <a:gd name="T96" fmla="*/ 658 w 676"/>
              <a:gd name="T97" fmla="*/ 361 h 431"/>
              <a:gd name="T98" fmla="*/ 596 w 676"/>
              <a:gd name="T99" fmla="*/ 361 h 431"/>
              <a:gd name="T100" fmla="*/ 533 w 676"/>
              <a:gd name="T101" fmla="*/ 304 h 431"/>
              <a:gd name="T102" fmla="*/ 470 w 676"/>
              <a:gd name="T103" fmla="*/ 361 h 431"/>
              <a:gd name="T104" fmla="*/ 438 w 676"/>
              <a:gd name="T105" fmla="*/ 361 h 431"/>
              <a:gd name="T106" fmla="*/ 438 w 676"/>
              <a:gd name="T107" fmla="*/ 231 h 431"/>
              <a:gd name="T108" fmla="*/ 658 w 676"/>
              <a:gd name="T109" fmla="*/ 231 h 431"/>
              <a:gd name="T110" fmla="*/ 662 w 676"/>
              <a:gd name="T111" fmla="*/ 235 h 431"/>
              <a:gd name="T112" fmla="*/ 662 w 676"/>
              <a:gd name="T113" fmla="*/ 357 h 4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76" h="431">
                <a:moveTo>
                  <a:pt x="658" y="217"/>
                </a:moveTo>
                <a:cubicBezTo>
                  <a:pt x="636" y="217"/>
                  <a:pt x="636" y="217"/>
                  <a:pt x="636" y="217"/>
                </a:cubicBezTo>
                <a:cubicBezTo>
                  <a:pt x="627" y="196"/>
                  <a:pt x="600" y="129"/>
                  <a:pt x="600" y="129"/>
                </a:cubicBezTo>
                <a:cubicBezTo>
                  <a:pt x="592" y="110"/>
                  <a:pt x="572" y="95"/>
                  <a:pt x="555" y="95"/>
                </a:cubicBezTo>
                <a:cubicBezTo>
                  <a:pt x="438" y="95"/>
                  <a:pt x="438" y="95"/>
                  <a:pt x="438" y="95"/>
                </a:cubicBezTo>
                <a:cubicBezTo>
                  <a:pt x="438" y="7"/>
                  <a:pt x="438" y="7"/>
                  <a:pt x="438" y="7"/>
                </a:cubicBezTo>
                <a:cubicBezTo>
                  <a:pt x="438" y="3"/>
                  <a:pt x="434" y="0"/>
                  <a:pt x="431" y="0"/>
                </a:cubicBez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368"/>
                  <a:pt x="0" y="368"/>
                  <a:pt x="0" y="368"/>
                </a:cubicBezTo>
                <a:cubicBezTo>
                  <a:pt x="0" y="371"/>
                  <a:pt x="3" y="375"/>
                  <a:pt x="7" y="375"/>
                </a:cubicBezTo>
                <a:cubicBezTo>
                  <a:pt x="104" y="375"/>
                  <a:pt x="104" y="375"/>
                  <a:pt x="104" y="375"/>
                </a:cubicBezTo>
                <a:cubicBezTo>
                  <a:pt x="108" y="406"/>
                  <a:pt x="134" y="431"/>
                  <a:pt x="167" y="431"/>
                </a:cubicBezTo>
                <a:cubicBezTo>
                  <a:pt x="199" y="431"/>
                  <a:pt x="226" y="406"/>
                  <a:pt x="230" y="375"/>
                </a:cubicBezTo>
                <a:cubicBezTo>
                  <a:pt x="470" y="375"/>
                  <a:pt x="470" y="375"/>
                  <a:pt x="470" y="375"/>
                </a:cubicBezTo>
                <a:cubicBezTo>
                  <a:pt x="474" y="406"/>
                  <a:pt x="501" y="431"/>
                  <a:pt x="533" y="431"/>
                </a:cubicBezTo>
                <a:cubicBezTo>
                  <a:pt x="565" y="431"/>
                  <a:pt x="592" y="406"/>
                  <a:pt x="596" y="375"/>
                </a:cubicBezTo>
                <a:cubicBezTo>
                  <a:pt x="658" y="375"/>
                  <a:pt x="658" y="375"/>
                  <a:pt x="658" y="375"/>
                </a:cubicBezTo>
                <a:cubicBezTo>
                  <a:pt x="668" y="375"/>
                  <a:pt x="676" y="367"/>
                  <a:pt x="676" y="357"/>
                </a:cubicBezTo>
                <a:cubicBezTo>
                  <a:pt x="676" y="235"/>
                  <a:pt x="676" y="235"/>
                  <a:pt x="676" y="235"/>
                </a:cubicBezTo>
                <a:cubicBezTo>
                  <a:pt x="676" y="225"/>
                  <a:pt x="668" y="217"/>
                  <a:pt x="658" y="217"/>
                </a:cubicBezTo>
                <a:close/>
                <a:moveTo>
                  <a:pt x="555" y="109"/>
                </a:moveTo>
                <a:cubicBezTo>
                  <a:pt x="567" y="109"/>
                  <a:pt x="581" y="121"/>
                  <a:pt x="587" y="134"/>
                </a:cubicBezTo>
                <a:cubicBezTo>
                  <a:pt x="588" y="137"/>
                  <a:pt x="610" y="192"/>
                  <a:pt x="621" y="217"/>
                </a:cubicBezTo>
                <a:cubicBezTo>
                  <a:pt x="438" y="217"/>
                  <a:pt x="438" y="217"/>
                  <a:pt x="438" y="217"/>
                </a:cubicBezTo>
                <a:cubicBezTo>
                  <a:pt x="438" y="109"/>
                  <a:pt x="438" y="109"/>
                  <a:pt x="438" y="109"/>
                </a:cubicBezTo>
                <a:lnTo>
                  <a:pt x="555" y="109"/>
                </a:lnTo>
                <a:close/>
                <a:moveTo>
                  <a:pt x="14" y="14"/>
                </a:moveTo>
                <a:cubicBezTo>
                  <a:pt x="424" y="14"/>
                  <a:pt x="424" y="14"/>
                  <a:pt x="424" y="14"/>
                </a:cubicBezTo>
                <a:cubicBezTo>
                  <a:pt x="424" y="361"/>
                  <a:pt x="424" y="361"/>
                  <a:pt x="424" y="361"/>
                </a:cubicBezTo>
                <a:cubicBezTo>
                  <a:pt x="230" y="361"/>
                  <a:pt x="230" y="361"/>
                  <a:pt x="230" y="361"/>
                </a:cubicBezTo>
                <a:cubicBezTo>
                  <a:pt x="226" y="329"/>
                  <a:pt x="199" y="304"/>
                  <a:pt x="167" y="304"/>
                </a:cubicBezTo>
                <a:cubicBezTo>
                  <a:pt x="134" y="304"/>
                  <a:pt x="108" y="329"/>
                  <a:pt x="104" y="361"/>
                </a:cubicBezTo>
                <a:cubicBezTo>
                  <a:pt x="14" y="361"/>
                  <a:pt x="14" y="361"/>
                  <a:pt x="14" y="361"/>
                </a:cubicBezTo>
                <a:lnTo>
                  <a:pt x="14" y="14"/>
                </a:lnTo>
                <a:close/>
                <a:moveTo>
                  <a:pt x="167" y="417"/>
                </a:moveTo>
                <a:cubicBezTo>
                  <a:pt x="140" y="417"/>
                  <a:pt x="118" y="395"/>
                  <a:pt x="118" y="368"/>
                </a:cubicBezTo>
                <a:cubicBezTo>
                  <a:pt x="118" y="340"/>
                  <a:pt x="140" y="318"/>
                  <a:pt x="167" y="318"/>
                </a:cubicBezTo>
                <a:cubicBezTo>
                  <a:pt x="194" y="318"/>
                  <a:pt x="216" y="340"/>
                  <a:pt x="216" y="368"/>
                </a:cubicBezTo>
                <a:cubicBezTo>
                  <a:pt x="216" y="395"/>
                  <a:pt x="194" y="417"/>
                  <a:pt x="167" y="417"/>
                </a:cubicBezTo>
                <a:close/>
                <a:moveTo>
                  <a:pt x="533" y="417"/>
                </a:moveTo>
                <a:cubicBezTo>
                  <a:pt x="506" y="417"/>
                  <a:pt x="484" y="395"/>
                  <a:pt x="484" y="368"/>
                </a:cubicBezTo>
                <a:cubicBezTo>
                  <a:pt x="484" y="340"/>
                  <a:pt x="506" y="318"/>
                  <a:pt x="533" y="318"/>
                </a:cubicBezTo>
                <a:cubicBezTo>
                  <a:pt x="560" y="318"/>
                  <a:pt x="581" y="340"/>
                  <a:pt x="582" y="366"/>
                </a:cubicBezTo>
                <a:cubicBezTo>
                  <a:pt x="582" y="367"/>
                  <a:pt x="582" y="367"/>
                  <a:pt x="582" y="368"/>
                </a:cubicBezTo>
                <a:cubicBezTo>
                  <a:pt x="582" y="368"/>
                  <a:pt x="582" y="368"/>
                  <a:pt x="582" y="369"/>
                </a:cubicBezTo>
                <a:cubicBezTo>
                  <a:pt x="581" y="395"/>
                  <a:pt x="560" y="417"/>
                  <a:pt x="533" y="417"/>
                </a:cubicBezTo>
                <a:close/>
                <a:moveTo>
                  <a:pt x="662" y="357"/>
                </a:moveTo>
                <a:cubicBezTo>
                  <a:pt x="662" y="359"/>
                  <a:pt x="660" y="361"/>
                  <a:pt x="658" y="361"/>
                </a:cubicBezTo>
                <a:cubicBezTo>
                  <a:pt x="596" y="361"/>
                  <a:pt x="596" y="361"/>
                  <a:pt x="596" y="361"/>
                </a:cubicBezTo>
                <a:cubicBezTo>
                  <a:pt x="592" y="329"/>
                  <a:pt x="565" y="304"/>
                  <a:pt x="533" y="304"/>
                </a:cubicBezTo>
                <a:cubicBezTo>
                  <a:pt x="501" y="304"/>
                  <a:pt x="474" y="329"/>
                  <a:pt x="470" y="361"/>
                </a:cubicBezTo>
                <a:cubicBezTo>
                  <a:pt x="438" y="361"/>
                  <a:pt x="438" y="361"/>
                  <a:pt x="438" y="361"/>
                </a:cubicBezTo>
                <a:cubicBezTo>
                  <a:pt x="438" y="231"/>
                  <a:pt x="438" y="231"/>
                  <a:pt x="438" y="231"/>
                </a:cubicBezTo>
                <a:cubicBezTo>
                  <a:pt x="658" y="231"/>
                  <a:pt x="658" y="231"/>
                  <a:pt x="658" y="231"/>
                </a:cubicBezTo>
                <a:cubicBezTo>
                  <a:pt x="660" y="231"/>
                  <a:pt x="662" y="233"/>
                  <a:pt x="662" y="235"/>
                </a:cubicBezTo>
                <a:lnTo>
                  <a:pt x="662" y="35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3" name="Oval 13"/>
          <p:cNvSpPr>
            <a:spLocks noChangeArrowheads="1"/>
          </p:cNvSpPr>
          <p:nvPr/>
        </p:nvSpPr>
        <p:spPr bwMode="auto">
          <a:xfrm>
            <a:off x="2259614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5" name="Freeform 25"/>
          <p:cNvSpPr>
            <a:spLocks noEditPoints="1"/>
          </p:cNvSpPr>
          <p:nvPr/>
        </p:nvSpPr>
        <p:spPr bwMode="auto">
          <a:xfrm>
            <a:off x="2376618" y="2538887"/>
            <a:ext cx="589936" cy="333641"/>
          </a:xfrm>
          <a:custGeom>
            <a:avLst/>
            <a:gdLst>
              <a:gd name="T0" fmla="*/ 722 w 762"/>
              <a:gd name="T1" fmla="*/ 217 h 431"/>
              <a:gd name="T2" fmla="*/ 641 w 762"/>
              <a:gd name="T3" fmla="*/ 95 h 431"/>
              <a:gd name="T4" fmla="*/ 547 w 762"/>
              <a:gd name="T5" fmla="*/ 7 h 431"/>
              <a:gd name="T6" fmla="*/ 176 w 762"/>
              <a:gd name="T7" fmla="*/ 0 h 431"/>
              <a:gd name="T8" fmla="*/ 169 w 762"/>
              <a:gd name="T9" fmla="*/ 368 h 431"/>
              <a:gd name="T10" fmla="*/ 226 w 762"/>
              <a:gd name="T11" fmla="*/ 375 h 431"/>
              <a:gd name="T12" fmla="*/ 351 w 762"/>
              <a:gd name="T13" fmla="*/ 375 h 431"/>
              <a:gd name="T14" fmla="*/ 646 w 762"/>
              <a:gd name="T15" fmla="*/ 431 h 431"/>
              <a:gd name="T16" fmla="*/ 745 w 762"/>
              <a:gd name="T17" fmla="*/ 375 h 431"/>
              <a:gd name="T18" fmla="*/ 762 w 762"/>
              <a:gd name="T19" fmla="*/ 235 h 431"/>
              <a:gd name="T20" fmla="*/ 641 w 762"/>
              <a:gd name="T21" fmla="*/ 109 h 431"/>
              <a:gd name="T22" fmla="*/ 707 w 762"/>
              <a:gd name="T23" fmla="*/ 217 h 431"/>
              <a:gd name="T24" fmla="*/ 547 w 762"/>
              <a:gd name="T25" fmla="*/ 109 h 431"/>
              <a:gd name="T26" fmla="*/ 183 w 762"/>
              <a:gd name="T27" fmla="*/ 14 h 431"/>
              <a:gd name="T28" fmla="*/ 533 w 762"/>
              <a:gd name="T29" fmla="*/ 361 h 431"/>
              <a:gd name="T30" fmla="*/ 288 w 762"/>
              <a:gd name="T31" fmla="*/ 304 h 431"/>
              <a:gd name="T32" fmla="*/ 183 w 762"/>
              <a:gd name="T33" fmla="*/ 361 h 431"/>
              <a:gd name="T34" fmla="*/ 288 w 762"/>
              <a:gd name="T35" fmla="*/ 417 h 431"/>
              <a:gd name="T36" fmla="*/ 288 w 762"/>
              <a:gd name="T37" fmla="*/ 318 h 431"/>
              <a:gd name="T38" fmla="*/ 288 w 762"/>
              <a:gd name="T39" fmla="*/ 417 h 431"/>
              <a:gd name="T40" fmla="*/ 597 w 762"/>
              <a:gd name="T41" fmla="*/ 368 h 431"/>
              <a:gd name="T42" fmla="*/ 695 w 762"/>
              <a:gd name="T43" fmla="*/ 366 h 431"/>
              <a:gd name="T44" fmla="*/ 695 w 762"/>
              <a:gd name="T45" fmla="*/ 369 h 431"/>
              <a:gd name="T46" fmla="*/ 748 w 762"/>
              <a:gd name="T47" fmla="*/ 357 h 431"/>
              <a:gd name="T48" fmla="*/ 709 w 762"/>
              <a:gd name="T49" fmla="*/ 361 h 431"/>
              <a:gd name="T50" fmla="*/ 584 w 762"/>
              <a:gd name="T51" fmla="*/ 361 h 431"/>
              <a:gd name="T52" fmla="*/ 547 w 762"/>
              <a:gd name="T53" fmla="*/ 231 h 431"/>
              <a:gd name="T54" fmla="*/ 748 w 762"/>
              <a:gd name="T55" fmla="*/ 235 h 431"/>
              <a:gd name="T56" fmla="*/ 134 w 762"/>
              <a:gd name="T57" fmla="*/ 7 h 431"/>
              <a:gd name="T58" fmla="*/ 7 w 762"/>
              <a:gd name="T59" fmla="*/ 14 h 431"/>
              <a:gd name="T60" fmla="*/ 7 w 762"/>
              <a:gd name="T61" fmla="*/ 0 h 431"/>
              <a:gd name="T62" fmla="*/ 134 w 762"/>
              <a:gd name="T63" fmla="*/ 7 h 431"/>
              <a:gd name="T64" fmla="*/ 127 w 762"/>
              <a:gd name="T65" fmla="*/ 80 h 431"/>
              <a:gd name="T66" fmla="*/ 30 w 762"/>
              <a:gd name="T67" fmla="*/ 73 h 431"/>
              <a:gd name="T68" fmla="*/ 127 w 762"/>
              <a:gd name="T69" fmla="*/ 66 h 431"/>
              <a:gd name="T70" fmla="*/ 134 w 762"/>
              <a:gd name="T71" fmla="*/ 140 h 431"/>
              <a:gd name="T72" fmla="*/ 67 w 762"/>
              <a:gd name="T73" fmla="*/ 147 h 431"/>
              <a:gd name="T74" fmla="*/ 67 w 762"/>
              <a:gd name="T75" fmla="*/ 133 h 431"/>
              <a:gd name="T76" fmla="*/ 134 w 762"/>
              <a:gd name="T77" fmla="*/ 140 h 4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62" h="431">
                <a:moveTo>
                  <a:pt x="745" y="217"/>
                </a:moveTo>
                <a:cubicBezTo>
                  <a:pt x="722" y="217"/>
                  <a:pt x="722" y="217"/>
                  <a:pt x="722" y="217"/>
                </a:cubicBezTo>
                <a:cubicBezTo>
                  <a:pt x="713" y="196"/>
                  <a:pt x="687" y="129"/>
                  <a:pt x="686" y="129"/>
                </a:cubicBezTo>
                <a:cubicBezTo>
                  <a:pt x="678" y="110"/>
                  <a:pt x="659" y="95"/>
                  <a:pt x="641" y="95"/>
                </a:cubicBezTo>
                <a:cubicBezTo>
                  <a:pt x="547" y="95"/>
                  <a:pt x="547" y="95"/>
                  <a:pt x="547" y="95"/>
                </a:cubicBezTo>
                <a:cubicBezTo>
                  <a:pt x="547" y="7"/>
                  <a:pt x="547" y="7"/>
                  <a:pt x="547" y="7"/>
                </a:cubicBezTo>
                <a:cubicBezTo>
                  <a:pt x="547" y="3"/>
                  <a:pt x="544" y="0"/>
                  <a:pt x="540" y="0"/>
                </a:cubicBezTo>
                <a:cubicBezTo>
                  <a:pt x="176" y="0"/>
                  <a:pt x="176" y="0"/>
                  <a:pt x="176" y="0"/>
                </a:cubicBezTo>
                <a:cubicBezTo>
                  <a:pt x="172" y="0"/>
                  <a:pt x="169" y="3"/>
                  <a:pt x="169" y="7"/>
                </a:cubicBezTo>
                <a:cubicBezTo>
                  <a:pt x="169" y="368"/>
                  <a:pt x="169" y="368"/>
                  <a:pt x="169" y="368"/>
                </a:cubicBezTo>
                <a:cubicBezTo>
                  <a:pt x="169" y="371"/>
                  <a:pt x="172" y="375"/>
                  <a:pt x="176" y="375"/>
                </a:cubicBezTo>
                <a:cubicBezTo>
                  <a:pt x="226" y="375"/>
                  <a:pt x="226" y="375"/>
                  <a:pt x="226" y="375"/>
                </a:cubicBezTo>
                <a:cubicBezTo>
                  <a:pt x="229" y="406"/>
                  <a:pt x="256" y="431"/>
                  <a:pt x="288" y="431"/>
                </a:cubicBezTo>
                <a:cubicBezTo>
                  <a:pt x="321" y="431"/>
                  <a:pt x="348" y="406"/>
                  <a:pt x="351" y="375"/>
                </a:cubicBezTo>
                <a:cubicBezTo>
                  <a:pt x="584" y="375"/>
                  <a:pt x="584" y="375"/>
                  <a:pt x="584" y="375"/>
                </a:cubicBezTo>
                <a:cubicBezTo>
                  <a:pt x="587" y="406"/>
                  <a:pt x="614" y="431"/>
                  <a:pt x="646" y="431"/>
                </a:cubicBezTo>
                <a:cubicBezTo>
                  <a:pt x="679" y="431"/>
                  <a:pt x="706" y="406"/>
                  <a:pt x="709" y="375"/>
                </a:cubicBezTo>
                <a:cubicBezTo>
                  <a:pt x="745" y="375"/>
                  <a:pt x="745" y="375"/>
                  <a:pt x="745" y="375"/>
                </a:cubicBezTo>
                <a:cubicBezTo>
                  <a:pt x="754" y="375"/>
                  <a:pt x="762" y="367"/>
                  <a:pt x="762" y="357"/>
                </a:cubicBezTo>
                <a:cubicBezTo>
                  <a:pt x="762" y="235"/>
                  <a:pt x="762" y="235"/>
                  <a:pt x="762" y="235"/>
                </a:cubicBezTo>
                <a:cubicBezTo>
                  <a:pt x="762" y="225"/>
                  <a:pt x="754" y="217"/>
                  <a:pt x="745" y="217"/>
                </a:cubicBezTo>
                <a:close/>
                <a:moveTo>
                  <a:pt x="641" y="109"/>
                </a:moveTo>
                <a:cubicBezTo>
                  <a:pt x="653" y="109"/>
                  <a:pt x="668" y="121"/>
                  <a:pt x="673" y="134"/>
                </a:cubicBezTo>
                <a:cubicBezTo>
                  <a:pt x="674" y="137"/>
                  <a:pt x="696" y="192"/>
                  <a:pt x="707" y="217"/>
                </a:cubicBezTo>
                <a:cubicBezTo>
                  <a:pt x="547" y="217"/>
                  <a:pt x="547" y="217"/>
                  <a:pt x="547" y="217"/>
                </a:cubicBezTo>
                <a:cubicBezTo>
                  <a:pt x="547" y="109"/>
                  <a:pt x="547" y="109"/>
                  <a:pt x="547" y="109"/>
                </a:cubicBezTo>
                <a:lnTo>
                  <a:pt x="641" y="109"/>
                </a:lnTo>
                <a:close/>
                <a:moveTo>
                  <a:pt x="183" y="14"/>
                </a:moveTo>
                <a:cubicBezTo>
                  <a:pt x="533" y="14"/>
                  <a:pt x="533" y="14"/>
                  <a:pt x="533" y="14"/>
                </a:cubicBezTo>
                <a:cubicBezTo>
                  <a:pt x="533" y="361"/>
                  <a:pt x="533" y="361"/>
                  <a:pt x="533" y="361"/>
                </a:cubicBezTo>
                <a:cubicBezTo>
                  <a:pt x="351" y="361"/>
                  <a:pt x="351" y="361"/>
                  <a:pt x="351" y="361"/>
                </a:cubicBezTo>
                <a:cubicBezTo>
                  <a:pt x="348" y="329"/>
                  <a:pt x="321" y="304"/>
                  <a:pt x="288" y="304"/>
                </a:cubicBezTo>
                <a:cubicBezTo>
                  <a:pt x="256" y="304"/>
                  <a:pt x="229" y="329"/>
                  <a:pt x="226" y="361"/>
                </a:cubicBezTo>
                <a:cubicBezTo>
                  <a:pt x="183" y="361"/>
                  <a:pt x="183" y="361"/>
                  <a:pt x="183" y="361"/>
                </a:cubicBezTo>
                <a:lnTo>
                  <a:pt x="183" y="14"/>
                </a:lnTo>
                <a:close/>
                <a:moveTo>
                  <a:pt x="288" y="417"/>
                </a:moveTo>
                <a:cubicBezTo>
                  <a:pt x="261" y="417"/>
                  <a:pt x="239" y="395"/>
                  <a:pt x="239" y="368"/>
                </a:cubicBezTo>
                <a:cubicBezTo>
                  <a:pt x="239" y="340"/>
                  <a:pt x="261" y="318"/>
                  <a:pt x="288" y="318"/>
                </a:cubicBezTo>
                <a:cubicBezTo>
                  <a:pt x="316" y="318"/>
                  <a:pt x="338" y="340"/>
                  <a:pt x="338" y="368"/>
                </a:cubicBezTo>
                <a:cubicBezTo>
                  <a:pt x="338" y="395"/>
                  <a:pt x="316" y="417"/>
                  <a:pt x="288" y="417"/>
                </a:cubicBezTo>
                <a:close/>
                <a:moveTo>
                  <a:pt x="646" y="417"/>
                </a:moveTo>
                <a:cubicBezTo>
                  <a:pt x="619" y="417"/>
                  <a:pt x="597" y="395"/>
                  <a:pt x="597" y="368"/>
                </a:cubicBezTo>
                <a:cubicBezTo>
                  <a:pt x="597" y="340"/>
                  <a:pt x="619" y="318"/>
                  <a:pt x="646" y="318"/>
                </a:cubicBezTo>
                <a:cubicBezTo>
                  <a:pt x="673" y="318"/>
                  <a:pt x="695" y="340"/>
                  <a:pt x="695" y="366"/>
                </a:cubicBezTo>
                <a:cubicBezTo>
                  <a:pt x="695" y="367"/>
                  <a:pt x="695" y="367"/>
                  <a:pt x="695" y="368"/>
                </a:cubicBezTo>
                <a:cubicBezTo>
                  <a:pt x="695" y="368"/>
                  <a:pt x="695" y="368"/>
                  <a:pt x="695" y="369"/>
                </a:cubicBezTo>
                <a:cubicBezTo>
                  <a:pt x="695" y="395"/>
                  <a:pt x="673" y="417"/>
                  <a:pt x="646" y="417"/>
                </a:cubicBezTo>
                <a:close/>
                <a:moveTo>
                  <a:pt x="748" y="357"/>
                </a:moveTo>
                <a:cubicBezTo>
                  <a:pt x="748" y="359"/>
                  <a:pt x="746" y="361"/>
                  <a:pt x="745" y="361"/>
                </a:cubicBezTo>
                <a:cubicBezTo>
                  <a:pt x="709" y="361"/>
                  <a:pt x="709" y="361"/>
                  <a:pt x="709" y="361"/>
                </a:cubicBezTo>
                <a:cubicBezTo>
                  <a:pt x="706" y="329"/>
                  <a:pt x="679" y="304"/>
                  <a:pt x="646" y="304"/>
                </a:cubicBezTo>
                <a:cubicBezTo>
                  <a:pt x="614" y="304"/>
                  <a:pt x="587" y="329"/>
                  <a:pt x="584" y="361"/>
                </a:cubicBezTo>
                <a:cubicBezTo>
                  <a:pt x="547" y="361"/>
                  <a:pt x="547" y="361"/>
                  <a:pt x="547" y="361"/>
                </a:cubicBezTo>
                <a:cubicBezTo>
                  <a:pt x="547" y="231"/>
                  <a:pt x="547" y="231"/>
                  <a:pt x="547" y="231"/>
                </a:cubicBezTo>
                <a:cubicBezTo>
                  <a:pt x="745" y="231"/>
                  <a:pt x="745" y="231"/>
                  <a:pt x="745" y="231"/>
                </a:cubicBezTo>
                <a:cubicBezTo>
                  <a:pt x="746" y="231"/>
                  <a:pt x="748" y="233"/>
                  <a:pt x="748" y="235"/>
                </a:cubicBezTo>
                <a:lnTo>
                  <a:pt x="748" y="357"/>
                </a:lnTo>
                <a:close/>
                <a:moveTo>
                  <a:pt x="134" y="7"/>
                </a:moveTo>
                <a:cubicBezTo>
                  <a:pt x="134" y="11"/>
                  <a:pt x="130" y="14"/>
                  <a:pt x="127" y="14"/>
                </a:cubicBezTo>
                <a:cubicBezTo>
                  <a:pt x="7" y="14"/>
                  <a:pt x="7" y="14"/>
                  <a:pt x="7" y="14"/>
                </a:cubicBezTo>
                <a:cubicBezTo>
                  <a:pt x="3" y="14"/>
                  <a:pt x="0" y="11"/>
                  <a:pt x="0" y="7"/>
                </a:cubicBezTo>
                <a:cubicBezTo>
                  <a:pt x="0" y="3"/>
                  <a:pt x="3" y="0"/>
                  <a:pt x="7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130" y="0"/>
                  <a:pt x="134" y="3"/>
                  <a:pt x="134" y="7"/>
                </a:cubicBezTo>
                <a:close/>
                <a:moveTo>
                  <a:pt x="134" y="73"/>
                </a:moveTo>
                <a:cubicBezTo>
                  <a:pt x="134" y="77"/>
                  <a:pt x="130" y="80"/>
                  <a:pt x="127" y="80"/>
                </a:cubicBezTo>
                <a:cubicBezTo>
                  <a:pt x="37" y="80"/>
                  <a:pt x="37" y="80"/>
                  <a:pt x="37" y="80"/>
                </a:cubicBezTo>
                <a:cubicBezTo>
                  <a:pt x="33" y="80"/>
                  <a:pt x="30" y="77"/>
                  <a:pt x="30" y="73"/>
                </a:cubicBezTo>
                <a:cubicBezTo>
                  <a:pt x="30" y="69"/>
                  <a:pt x="33" y="66"/>
                  <a:pt x="37" y="66"/>
                </a:cubicBezTo>
                <a:cubicBezTo>
                  <a:pt x="127" y="66"/>
                  <a:pt x="127" y="66"/>
                  <a:pt x="127" y="66"/>
                </a:cubicBezTo>
                <a:cubicBezTo>
                  <a:pt x="130" y="66"/>
                  <a:pt x="134" y="69"/>
                  <a:pt x="134" y="73"/>
                </a:cubicBezTo>
                <a:close/>
                <a:moveTo>
                  <a:pt x="134" y="140"/>
                </a:moveTo>
                <a:cubicBezTo>
                  <a:pt x="134" y="143"/>
                  <a:pt x="130" y="147"/>
                  <a:pt x="127" y="147"/>
                </a:cubicBezTo>
                <a:cubicBezTo>
                  <a:pt x="67" y="147"/>
                  <a:pt x="67" y="147"/>
                  <a:pt x="67" y="147"/>
                </a:cubicBezTo>
                <a:cubicBezTo>
                  <a:pt x="63" y="147"/>
                  <a:pt x="60" y="143"/>
                  <a:pt x="60" y="140"/>
                </a:cubicBezTo>
                <a:cubicBezTo>
                  <a:pt x="60" y="136"/>
                  <a:pt x="63" y="133"/>
                  <a:pt x="67" y="133"/>
                </a:cubicBezTo>
                <a:cubicBezTo>
                  <a:pt x="127" y="133"/>
                  <a:pt x="127" y="133"/>
                  <a:pt x="127" y="133"/>
                </a:cubicBezTo>
                <a:cubicBezTo>
                  <a:pt x="130" y="133"/>
                  <a:pt x="134" y="136"/>
                  <a:pt x="134" y="1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" name="Oval 11"/>
          <p:cNvSpPr>
            <a:spLocks noChangeArrowheads="1"/>
          </p:cNvSpPr>
          <p:nvPr/>
        </p:nvSpPr>
        <p:spPr bwMode="auto">
          <a:xfrm>
            <a:off x="4845101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6" name="Freeform 26"/>
          <p:cNvSpPr>
            <a:spLocks noEditPoints="1"/>
          </p:cNvSpPr>
          <p:nvPr/>
        </p:nvSpPr>
        <p:spPr bwMode="auto">
          <a:xfrm>
            <a:off x="5001435" y="2455968"/>
            <a:ext cx="504067" cy="498824"/>
          </a:xfrm>
          <a:custGeom>
            <a:avLst/>
            <a:gdLst>
              <a:gd name="T0" fmla="*/ 431 w 651"/>
              <a:gd name="T1" fmla="*/ 644 h 644"/>
              <a:gd name="T2" fmla="*/ 426 w 651"/>
              <a:gd name="T3" fmla="*/ 642 h 644"/>
              <a:gd name="T4" fmla="*/ 394 w 651"/>
              <a:gd name="T5" fmla="*/ 610 h 644"/>
              <a:gd name="T6" fmla="*/ 392 w 651"/>
              <a:gd name="T7" fmla="*/ 604 h 644"/>
              <a:gd name="T8" fmla="*/ 398 w 651"/>
              <a:gd name="T9" fmla="*/ 501 h 644"/>
              <a:gd name="T10" fmla="*/ 301 w 651"/>
              <a:gd name="T11" fmla="*/ 404 h 644"/>
              <a:gd name="T12" fmla="*/ 148 w 651"/>
              <a:gd name="T13" fmla="*/ 589 h 644"/>
              <a:gd name="T14" fmla="*/ 143 w 651"/>
              <a:gd name="T15" fmla="*/ 592 h 644"/>
              <a:gd name="T16" fmla="*/ 137 w 651"/>
              <a:gd name="T17" fmla="*/ 590 h 644"/>
              <a:gd name="T18" fmla="*/ 80 w 651"/>
              <a:gd name="T19" fmla="*/ 532 h 644"/>
              <a:gd name="T20" fmla="*/ 78 w 651"/>
              <a:gd name="T21" fmla="*/ 525 h 644"/>
              <a:gd name="T22" fmla="*/ 159 w 651"/>
              <a:gd name="T23" fmla="*/ 262 h 644"/>
              <a:gd name="T24" fmla="*/ 30 w 651"/>
              <a:gd name="T25" fmla="*/ 133 h 644"/>
              <a:gd name="T26" fmla="*/ 30 w 651"/>
              <a:gd name="T27" fmla="*/ 23 h 644"/>
              <a:gd name="T28" fmla="*/ 85 w 651"/>
              <a:gd name="T29" fmla="*/ 0 h 644"/>
              <a:gd name="T30" fmla="*/ 140 w 651"/>
              <a:gd name="T31" fmla="*/ 23 h 644"/>
              <a:gd name="T32" fmla="*/ 269 w 651"/>
              <a:gd name="T33" fmla="*/ 152 h 644"/>
              <a:gd name="T34" fmla="*/ 532 w 651"/>
              <a:gd name="T35" fmla="*/ 71 h 644"/>
              <a:gd name="T36" fmla="*/ 539 w 651"/>
              <a:gd name="T37" fmla="*/ 73 h 644"/>
              <a:gd name="T38" fmla="*/ 597 w 651"/>
              <a:gd name="T39" fmla="*/ 130 h 644"/>
              <a:gd name="T40" fmla="*/ 599 w 651"/>
              <a:gd name="T41" fmla="*/ 136 h 644"/>
              <a:gd name="T42" fmla="*/ 596 w 651"/>
              <a:gd name="T43" fmla="*/ 141 h 644"/>
              <a:gd name="T44" fmla="*/ 411 w 651"/>
              <a:gd name="T45" fmla="*/ 294 h 644"/>
              <a:gd name="T46" fmla="*/ 508 w 651"/>
              <a:gd name="T47" fmla="*/ 391 h 644"/>
              <a:gd name="T48" fmla="*/ 611 w 651"/>
              <a:gd name="T49" fmla="*/ 385 h 644"/>
              <a:gd name="T50" fmla="*/ 617 w 651"/>
              <a:gd name="T51" fmla="*/ 387 h 644"/>
              <a:gd name="T52" fmla="*/ 649 w 651"/>
              <a:gd name="T53" fmla="*/ 419 h 644"/>
              <a:gd name="T54" fmla="*/ 651 w 651"/>
              <a:gd name="T55" fmla="*/ 425 h 644"/>
              <a:gd name="T56" fmla="*/ 648 w 651"/>
              <a:gd name="T57" fmla="*/ 430 h 644"/>
              <a:gd name="T58" fmla="*/ 517 w 651"/>
              <a:gd name="T59" fmla="*/ 510 h 644"/>
              <a:gd name="T60" fmla="*/ 437 w 651"/>
              <a:gd name="T61" fmla="*/ 641 h 644"/>
              <a:gd name="T62" fmla="*/ 432 w 651"/>
              <a:gd name="T63" fmla="*/ 644 h 644"/>
              <a:gd name="T64" fmla="*/ 431 w 651"/>
              <a:gd name="T65" fmla="*/ 644 h 644"/>
              <a:gd name="T66" fmla="*/ 406 w 651"/>
              <a:gd name="T67" fmla="*/ 602 h 644"/>
              <a:gd name="T68" fmla="*/ 430 w 651"/>
              <a:gd name="T69" fmla="*/ 626 h 644"/>
              <a:gd name="T70" fmla="*/ 507 w 651"/>
              <a:gd name="T71" fmla="*/ 500 h 644"/>
              <a:gd name="T72" fmla="*/ 633 w 651"/>
              <a:gd name="T73" fmla="*/ 423 h 644"/>
              <a:gd name="T74" fmla="*/ 609 w 651"/>
              <a:gd name="T75" fmla="*/ 399 h 644"/>
              <a:gd name="T76" fmla="*/ 506 w 651"/>
              <a:gd name="T77" fmla="*/ 406 h 644"/>
              <a:gd name="T78" fmla="*/ 500 w 651"/>
              <a:gd name="T79" fmla="*/ 404 h 644"/>
              <a:gd name="T80" fmla="*/ 396 w 651"/>
              <a:gd name="T81" fmla="*/ 299 h 644"/>
              <a:gd name="T82" fmla="*/ 394 w 651"/>
              <a:gd name="T83" fmla="*/ 294 h 644"/>
              <a:gd name="T84" fmla="*/ 396 w 651"/>
              <a:gd name="T85" fmla="*/ 289 h 644"/>
              <a:gd name="T86" fmla="*/ 581 w 651"/>
              <a:gd name="T87" fmla="*/ 135 h 644"/>
              <a:gd name="T88" fmla="*/ 532 w 651"/>
              <a:gd name="T89" fmla="*/ 86 h 644"/>
              <a:gd name="T90" fmla="*/ 269 w 651"/>
              <a:gd name="T91" fmla="*/ 167 h 644"/>
              <a:gd name="T92" fmla="*/ 262 w 651"/>
              <a:gd name="T93" fmla="*/ 165 h 644"/>
              <a:gd name="T94" fmla="*/ 130 w 651"/>
              <a:gd name="T95" fmla="*/ 33 h 644"/>
              <a:gd name="T96" fmla="*/ 85 w 651"/>
              <a:gd name="T97" fmla="*/ 14 h 644"/>
              <a:gd name="T98" fmla="*/ 40 w 651"/>
              <a:gd name="T99" fmla="*/ 33 h 644"/>
              <a:gd name="T100" fmla="*/ 40 w 651"/>
              <a:gd name="T101" fmla="*/ 123 h 644"/>
              <a:gd name="T102" fmla="*/ 172 w 651"/>
              <a:gd name="T103" fmla="*/ 255 h 644"/>
              <a:gd name="T104" fmla="*/ 174 w 651"/>
              <a:gd name="T105" fmla="*/ 262 h 644"/>
              <a:gd name="T106" fmla="*/ 93 w 651"/>
              <a:gd name="T107" fmla="*/ 525 h 644"/>
              <a:gd name="T108" fmla="*/ 142 w 651"/>
              <a:gd name="T109" fmla="*/ 574 h 644"/>
              <a:gd name="T110" fmla="*/ 296 w 651"/>
              <a:gd name="T111" fmla="*/ 389 h 644"/>
              <a:gd name="T112" fmla="*/ 301 w 651"/>
              <a:gd name="T113" fmla="*/ 387 h 644"/>
              <a:gd name="T114" fmla="*/ 306 w 651"/>
              <a:gd name="T115" fmla="*/ 389 h 644"/>
              <a:gd name="T116" fmla="*/ 411 w 651"/>
              <a:gd name="T117" fmla="*/ 493 h 644"/>
              <a:gd name="T118" fmla="*/ 413 w 651"/>
              <a:gd name="T119" fmla="*/ 499 h 644"/>
              <a:gd name="T120" fmla="*/ 406 w 651"/>
              <a:gd name="T121" fmla="*/ 602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51" h="644">
                <a:moveTo>
                  <a:pt x="431" y="644"/>
                </a:moveTo>
                <a:cubicBezTo>
                  <a:pt x="429" y="644"/>
                  <a:pt x="427" y="643"/>
                  <a:pt x="426" y="642"/>
                </a:cubicBezTo>
                <a:cubicBezTo>
                  <a:pt x="394" y="610"/>
                  <a:pt x="394" y="610"/>
                  <a:pt x="394" y="610"/>
                </a:cubicBezTo>
                <a:cubicBezTo>
                  <a:pt x="392" y="608"/>
                  <a:pt x="392" y="606"/>
                  <a:pt x="392" y="604"/>
                </a:cubicBezTo>
                <a:cubicBezTo>
                  <a:pt x="398" y="501"/>
                  <a:pt x="398" y="501"/>
                  <a:pt x="398" y="501"/>
                </a:cubicBezTo>
                <a:cubicBezTo>
                  <a:pt x="301" y="404"/>
                  <a:pt x="301" y="404"/>
                  <a:pt x="301" y="404"/>
                </a:cubicBezTo>
                <a:cubicBezTo>
                  <a:pt x="148" y="589"/>
                  <a:pt x="148" y="589"/>
                  <a:pt x="148" y="589"/>
                </a:cubicBezTo>
                <a:cubicBezTo>
                  <a:pt x="146" y="591"/>
                  <a:pt x="145" y="592"/>
                  <a:pt x="143" y="592"/>
                </a:cubicBezTo>
                <a:cubicBezTo>
                  <a:pt x="141" y="592"/>
                  <a:pt x="139" y="591"/>
                  <a:pt x="137" y="590"/>
                </a:cubicBezTo>
                <a:cubicBezTo>
                  <a:pt x="80" y="532"/>
                  <a:pt x="80" y="532"/>
                  <a:pt x="80" y="532"/>
                </a:cubicBezTo>
                <a:cubicBezTo>
                  <a:pt x="78" y="531"/>
                  <a:pt x="77" y="528"/>
                  <a:pt x="78" y="525"/>
                </a:cubicBezTo>
                <a:cubicBezTo>
                  <a:pt x="159" y="262"/>
                  <a:pt x="159" y="262"/>
                  <a:pt x="159" y="262"/>
                </a:cubicBezTo>
                <a:cubicBezTo>
                  <a:pt x="30" y="133"/>
                  <a:pt x="30" y="133"/>
                  <a:pt x="30" y="133"/>
                </a:cubicBezTo>
                <a:cubicBezTo>
                  <a:pt x="0" y="103"/>
                  <a:pt x="0" y="53"/>
                  <a:pt x="30" y="23"/>
                </a:cubicBezTo>
                <a:cubicBezTo>
                  <a:pt x="45" y="8"/>
                  <a:pt x="64" y="0"/>
                  <a:pt x="85" y="0"/>
                </a:cubicBezTo>
                <a:cubicBezTo>
                  <a:pt x="106" y="0"/>
                  <a:pt x="125" y="8"/>
                  <a:pt x="140" y="23"/>
                </a:cubicBezTo>
                <a:cubicBezTo>
                  <a:pt x="269" y="152"/>
                  <a:pt x="269" y="152"/>
                  <a:pt x="269" y="152"/>
                </a:cubicBezTo>
                <a:cubicBezTo>
                  <a:pt x="532" y="71"/>
                  <a:pt x="532" y="71"/>
                  <a:pt x="532" y="71"/>
                </a:cubicBezTo>
                <a:cubicBezTo>
                  <a:pt x="535" y="70"/>
                  <a:pt x="537" y="71"/>
                  <a:pt x="539" y="73"/>
                </a:cubicBezTo>
                <a:cubicBezTo>
                  <a:pt x="597" y="130"/>
                  <a:pt x="597" y="130"/>
                  <a:pt x="597" y="130"/>
                </a:cubicBezTo>
                <a:cubicBezTo>
                  <a:pt x="598" y="132"/>
                  <a:pt x="599" y="134"/>
                  <a:pt x="599" y="136"/>
                </a:cubicBezTo>
                <a:cubicBezTo>
                  <a:pt x="599" y="138"/>
                  <a:pt x="598" y="139"/>
                  <a:pt x="596" y="141"/>
                </a:cubicBezTo>
                <a:cubicBezTo>
                  <a:pt x="411" y="294"/>
                  <a:pt x="411" y="294"/>
                  <a:pt x="411" y="294"/>
                </a:cubicBezTo>
                <a:cubicBezTo>
                  <a:pt x="508" y="391"/>
                  <a:pt x="508" y="391"/>
                  <a:pt x="508" y="391"/>
                </a:cubicBezTo>
                <a:cubicBezTo>
                  <a:pt x="611" y="385"/>
                  <a:pt x="611" y="385"/>
                  <a:pt x="611" y="385"/>
                </a:cubicBezTo>
                <a:cubicBezTo>
                  <a:pt x="613" y="385"/>
                  <a:pt x="615" y="385"/>
                  <a:pt x="617" y="387"/>
                </a:cubicBezTo>
                <a:cubicBezTo>
                  <a:pt x="649" y="419"/>
                  <a:pt x="649" y="419"/>
                  <a:pt x="649" y="419"/>
                </a:cubicBezTo>
                <a:cubicBezTo>
                  <a:pt x="650" y="421"/>
                  <a:pt x="651" y="423"/>
                  <a:pt x="651" y="425"/>
                </a:cubicBezTo>
                <a:cubicBezTo>
                  <a:pt x="651" y="427"/>
                  <a:pt x="649" y="429"/>
                  <a:pt x="648" y="430"/>
                </a:cubicBezTo>
                <a:cubicBezTo>
                  <a:pt x="606" y="456"/>
                  <a:pt x="528" y="503"/>
                  <a:pt x="517" y="510"/>
                </a:cubicBezTo>
                <a:cubicBezTo>
                  <a:pt x="510" y="521"/>
                  <a:pt x="463" y="599"/>
                  <a:pt x="437" y="641"/>
                </a:cubicBezTo>
                <a:cubicBezTo>
                  <a:pt x="436" y="642"/>
                  <a:pt x="434" y="644"/>
                  <a:pt x="432" y="644"/>
                </a:cubicBezTo>
                <a:cubicBezTo>
                  <a:pt x="432" y="644"/>
                  <a:pt x="431" y="644"/>
                  <a:pt x="431" y="644"/>
                </a:cubicBezTo>
                <a:close/>
                <a:moveTo>
                  <a:pt x="406" y="602"/>
                </a:moveTo>
                <a:cubicBezTo>
                  <a:pt x="430" y="626"/>
                  <a:pt x="430" y="626"/>
                  <a:pt x="430" y="626"/>
                </a:cubicBezTo>
                <a:cubicBezTo>
                  <a:pt x="506" y="501"/>
                  <a:pt x="506" y="501"/>
                  <a:pt x="507" y="500"/>
                </a:cubicBezTo>
                <a:cubicBezTo>
                  <a:pt x="508" y="499"/>
                  <a:pt x="508" y="499"/>
                  <a:pt x="633" y="423"/>
                </a:cubicBezTo>
                <a:cubicBezTo>
                  <a:pt x="609" y="399"/>
                  <a:pt x="609" y="399"/>
                  <a:pt x="609" y="399"/>
                </a:cubicBezTo>
                <a:cubicBezTo>
                  <a:pt x="506" y="406"/>
                  <a:pt x="506" y="406"/>
                  <a:pt x="506" y="406"/>
                </a:cubicBezTo>
                <a:cubicBezTo>
                  <a:pt x="504" y="406"/>
                  <a:pt x="502" y="405"/>
                  <a:pt x="500" y="404"/>
                </a:cubicBezTo>
                <a:cubicBezTo>
                  <a:pt x="396" y="299"/>
                  <a:pt x="396" y="299"/>
                  <a:pt x="396" y="299"/>
                </a:cubicBezTo>
                <a:cubicBezTo>
                  <a:pt x="394" y="298"/>
                  <a:pt x="394" y="296"/>
                  <a:pt x="394" y="294"/>
                </a:cubicBezTo>
                <a:cubicBezTo>
                  <a:pt x="394" y="292"/>
                  <a:pt x="395" y="290"/>
                  <a:pt x="396" y="289"/>
                </a:cubicBezTo>
                <a:cubicBezTo>
                  <a:pt x="581" y="135"/>
                  <a:pt x="581" y="135"/>
                  <a:pt x="581" y="135"/>
                </a:cubicBezTo>
                <a:cubicBezTo>
                  <a:pt x="532" y="86"/>
                  <a:pt x="532" y="86"/>
                  <a:pt x="532" y="86"/>
                </a:cubicBezTo>
                <a:cubicBezTo>
                  <a:pt x="269" y="167"/>
                  <a:pt x="269" y="167"/>
                  <a:pt x="269" y="167"/>
                </a:cubicBezTo>
                <a:cubicBezTo>
                  <a:pt x="266" y="168"/>
                  <a:pt x="264" y="167"/>
                  <a:pt x="262" y="165"/>
                </a:cubicBezTo>
                <a:cubicBezTo>
                  <a:pt x="130" y="33"/>
                  <a:pt x="130" y="33"/>
                  <a:pt x="130" y="33"/>
                </a:cubicBezTo>
                <a:cubicBezTo>
                  <a:pt x="118" y="21"/>
                  <a:pt x="102" y="14"/>
                  <a:pt x="85" y="14"/>
                </a:cubicBezTo>
                <a:cubicBezTo>
                  <a:pt x="68" y="14"/>
                  <a:pt x="52" y="21"/>
                  <a:pt x="40" y="33"/>
                </a:cubicBezTo>
                <a:cubicBezTo>
                  <a:pt x="15" y="58"/>
                  <a:pt x="15" y="98"/>
                  <a:pt x="40" y="123"/>
                </a:cubicBezTo>
                <a:cubicBezTo>
                  <a:pt x="172" y="255"/>
                  <a:pt x="172" y="255"/>
                  <a:pt x="172" y="255"/>
                </a:cubicBezTo>
                <a:cubicBezTo>
                  <a:pt x="174" y="257"/>
                  <a:pt x="174" y="259"/>
                  <a:pt x="174" y="262"/>
                </a:cubicBezTo>
                <a:cubicBezTo>
                  <a:pt x="93" y="525"/>
                  <a:pt x="93" y="525"/>
                  <a:pt x="93" y="525"/>
                </a:cubicBezTo>
                <a:cubicBezTo>
                  <a:pt x="142" y="574"/>
                  <a:pt x="142" y="574"/>
                  <a:pt x="142" y="574"/>
                </a:cubicBezTo>
                <a:cubicBezTo>
                  <a:pt x="296" y="389"/>
                  <a:pt x="296" y="389"/>
                  <a:pt x="296" y="389"/>
                </a:cubicBezTo>
                <a:cubicBezTo>
                  <a:pt x="297" y="388"/>
                  <a:pt x="299" y="387"/>
                  <a:pt x="301" y="387"/>
                </a:cubicBezTo>
                <a:cubicBezTo>
                  <a:pt x="303" y="387"/>
                  <a:pt x="305" y="387"/>
                  <a:pt x="306" y="389"/>
                </a:cubicBezTo>
                <a:cubicBezTo>
                  <a:pt x="411" y="493"/>
                  <a:pt x="411" y="493"/>
                  <a:pt x="411" y="493"/>
                </a:cubicBezTo>
                <a:cubicBezTo>
                  <a:pt x="412" y="495"/>
                  <a:pt x="413" y="497"/>
                  <a:pt x="413" y="499"/>
                </a:cubicBezTo>
                <a:lnTo>
                  <a:pt x="406" y="60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6" name="Oval 16"/>
          <p:cNvSpPr>
            <a:spLocks noChangeArrowheads="1"/>
          </p:cNvSpPr>
          <p:nvPr/>
        </p:nvSpPr>
        <p:spPr bwMode="auto">
          <a:xfrm>
            <a:off x="6137845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7" name="Freeform 27"/>
          <p:cNvSpPr>
            <a:spLocks noEditPoints="1"/>
          </p:cNvSpPr>
          <p:nvPr/>
        </p:nvSpPr>
        <p:spPr bwMode="auto">
          <a:xfrm>
            <a:off x="6300534" y="2494969"/>
            <a:ext cx="497581" cy="414921"/>
          </a:xfrm>
          <a:custGeom>
            <a:avLst/>
            <a:gdLst>
              <a:gd name="T0" fmla="*/ 636 w 642"/>
              <a:gd name="T1" fmla="*/ 151 h 536"/>
              <a:gd name="T2" fmla="*/ 487 w 642"/>
              <a:gd name="T3" fmla="*/ 114 h 536"/>
              <a:gd name="T4" fmla="*/ 490 w 642"/>
              <a:gd name="T5" fmla="*/ 91 h 536"/>
              <a:gd name="T6" fmla="*/ 400 w 642"/>
              <a:gd name="T7" fmla="*/ 0 h 536"/>
              <a:gd name="T8" fmla="*/ 309 w 642"/>
              <a:gd name="T9" fmla="*/ 91 h 536"/>
              <a:gd name="T10" fmla="*/ 315 w 642"/>
              <a:gd name="T11" fmla="*/ 126 h 536"/>
              <a:gd name="T12" fmla="*/ 217 w 642"/>
              <a:gd name="T13" fmla="*/ 151 h 536"/>
              <a:gd name="T14" fmla="*/ 9 w 642"/>
              <a:gd name="T15" fmla="*/ 98 h 536"/>
              <a:gd name="T16" fmla="*/ 3 w 642"/>
              <a:gd name="T17" fmla="*/ 100 h 536"/>
              <a:gd name="T18" fmla="*/ 0 w 642"/>
              <a:gd name="T19" fmla="*/ 105 h 536"/>
              <a:gd name="T20" fmla="*/ 0 w 642"/>
              <a:gd name="T21" fmla="*/ 476 h 536"/>
              <a:gd name="T22" fmla="*/ 6 w 642"/>
              <a:gd name="T23" fmla="*/ 483 h 536"/>
              <a:gd name="T24" fmla="*/ 215 w 642"/>
              <a:gd name="T25" fmla="*/ 536 h 536"/>
              <a:gd name="T26" fmla="*/ 217 w 642"/>
              <a:gd name="T27" fmla="*/ 536 h 536"/>
              <a:gd name="T28" fmla="*/ 217 w 642"/>
              <a:gd name="T29" fmla="*/ 536 h 536"/>
              <a:gd name="T30" fmla="*/ 217 w 642"/>
              <a:gd name="T31" fmla="*/ 536 h 536"/>
              <a:gd name="T32" fmla="*/ 218 w 642"/>
              <a:gd name="T33" fmla="*/ 536 h 536"/>
              <a:gd name="T34" fmla="*/ 426 w 642"/>
              <a:gd name="T35" fmla="*/ 483 h 536"/>
              <a:gd name="T36" fmla="*/ 633 w 642"/>
              <a:gd name="T37" fmla="*/ 536 h 536"/>
              <a:gd name="T38" fmla="*/ 635 w 642"/>
              <a:gd name="T39" fmla="*/ 536 h 536"/>
              <a:gd name="T40" fmla="*/ 639 w 642"/>
              <a:gd name="T41" fmla="*/ 534 h 536"/>
              <a:gd name="T42" fmla="*/ 642 w 642"/>
              <a:gd name="T43" fmla="*/ 529 h 536"/>
              <a:gd name="T44" fmla="*/ 642 w 642"/>
              <a:gd name="T45" fmla="*/ 158 h 536"/>
              <a:gd name="T46" fmla="*/ 636 w 642"/>
              <a:gd name="T47" fmla="*/ 151 h 536"/>
              <a:gd name="T48" fmla="*/ 400 w 642"/>
              <a:gd name="T49" fmla="*/ 14 h 536"/>
              <a:gd name="T50" fmla="*/ 476 w 642"/>
              <a:gd name="T51" fmla="*/ 91 h 536"/>
              <a:gd name="T52" fmla="*/ 472 w 642"/>
              <a:gd name="T53" fmla="*/ 116 h 536"/>
              <a:gd name="T54" fmla="*/ 472 w 642"/>
              <a:gd name="T55" fmla="*/ 117 h 536"/>
              <a:gd name="T56" fmla="*/ 472 w 642"/>
              <a:gd name="T57" fmla="*/ 117 h 536"/>
              <a:gd name="T58" fmla="*/ 400 w 642"/>
              <a:gd name="T59" fmla="*/ 224 h 536"/>
              <a:gd name="T60" fmla="*/ 323 w 642"/>
              <a:gd name="T61" fmla="*/ 91 h 536"/>
              <a:gd name="T62" fmla="*/ 400 w 642"/>
              <a:gd name="T63" fmla="*/ 14 h 536"/>
              <a:gd name="T64" fmla="*/ 14 w 642"/>
              <a:gd name="T65" fmla="*/ 114 h 536"/>
              <a:gd name="T66" fmla="*/ 210 w 642"/>
              <a:gd name="T67" fmla="*/ 164 h 536"/>
              <a:gd name="T68" fmla="*/ 210 w 642"/>
              <a:gd name="T69" fmla="*/ 520 h 536"/>
              <a:gd name="T70" fmla="*/ 14 w 642"/>
              <a:gd name="T71" fmla="*/ 470 h 536"/>
              <a:gd name="T72" fmla="*/ 14 w 642"/>
              <a:gd name="T73" fmla="*/ 114 h 536"/>
              <a:gd name="T74" fmla="*/ 224 w 642"/>
              <a:gd name="T75" fmla="*/ 164 h 536"/>
              <a:gd name="T76" fmla="*/ 320 w 642"/>
              <a:gd name="T77" fmla="*/ 139 h 536"/>
              <a:gd name="T78" fmla="*/ 400 w 642"/>
              <a:gd name="T79" fmla="*/ 238 h 536"/>
              <a:gd name="T80" fmla="*/ 419 w 642"/>
              <a:gd name="T81" fmla="*/ 231 h 536"/>
              <a:gd name="T82" fmla="*/ 419 w 642"/>
              <a:gd name="T83" fmla="*/ 470 h 536"/>
              <a:gd name="T84" fmla="*/ 224 w 642"/>
              <a:gd name="T85" fmla="*/ 520 h 536"/>
              <a:gd name="T86" fmla="*/ 224 w 642"/>
              <a:gd name="T87" fmla="*/ 164 h 536"/>
              <a:gd name="T88" fmla="*/ 628 w 642"/>
              <a:gd name="T89" fmla="*/ 520 h 536"/>
              <a:gd name="T90" fmla="*/ 433 w 642"/>
              <a:gd name="T91" fmla="*/ 470 h 536"/>
              <a:gd name="T92" fmla="*/ 433 w 642"/>
              <a:gd name="T93" fmla="*/ 219 h 536"/>
              <a:gd name="T94" fmla="*/ 483 w 642"/>
              <a:gd name="T95" fmla="*/ 127 h 536"/>
              <a:gd name="T96" fmla="*/ 628 w 642"/>
              <a:gd name="T97" fmla="*/ 164 h 536"/>
              <a:gd name="T98" fmla="*/ 628 w 642"/>
              <a:gd name="T99" fmla="*/ 520 h 536"/>
              <a:gd name="T100" fmla="*/ 447 w 642"/>
              <a:gd name="T101" fmla="*/ 91 h 536"/>
              <a:gd name="T102" fmla="*/ 400 w 642"/>
              <a:gd name="T103" fmla="*/ 43 h 536"/>
              <a:gd name="T104" fmla="*/ 352 w 642"/>
              <a:gd name="T105" fmla="*/ 91 h 536"/>
              <a:gd name="T106" fmla="*/ 400 w 642"/>
              <a:gd name="T107" fmla="*/ 138 h 536"/>
              <a:gd name="T108" fmla="*/ 447 w 642"/>
              <a:gd name="T109" fmla="*/ 91 h 536"/>
              <a:gd name="T110" fmla="*/ 366 w 642"/>
              <a:gd name="T111" fmla="*/ 91 h 536"/>
              <a:gd name="T112" fmla="*/ 400 w 642"/>
              <a:gd name="T113" fmla="*/ 57 h 536"/>
              <a:gd name="T114" fmla="*/ 433 w 642"/>
              <a:gd name="T115" fmla="*/ 91 h 536"/>
              <a:gd name="T116" fmla="*/ 400 w 642"/>
              <a:gd name="T117" fmla="*/ 124 h 536"/>
              <a:gd name="T118" fmla="*/ 366 w 642"/>
              <a:gd name="T119" fmla="*/ 91 h 5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42" h="536">
                <a:moveTo>
                  <a:pt x="636" y="151"/>
                </a:moveTo>
                <a:cubicBezTo>
                  <a:pt x="487" y="114"/>
                  <a:pt x="487" y="114"/>
                  <a:pt x="487" y="114"/>
                </a:cubicBezTo>
                <a:cubicBezTo>
                  <a:pt x="489" y="105"/>
                  <a:pt x="490" y="97"/>
                  <a:pt x="490" y="91"/>
                </a:cubicBezTo>
                <a:cubicBezTo>
                  <a:pt x="490" y="41"/>
                  <a:pt x="449" y="0"/>
                  <a:pt x="400" y="0"/>
                </a:cubicBezTo>
                <a:cubicBezTo>
                  <a:pt x="350" y="0"/>
                  <a:pt x="309" y="41"/>
                  <a:pt x="309" y="91"/>
                </a:cubicBezTo>
                <a:cubicBezTo>
                  <a:pt x="309" y="101"/>
                  <a:pt x="311" y="113"/>
                  <a:pt x="315" y="126"/>
                </a:cubicBezTo>
                <a:cubicBezTo>
                  <a:pt x="217" y="151"/>
                  <a:pt x="217" y="151"/>
                  <a:pt x="217" y="151"/>
                </a:cubicBezTo>
                <a:cubicBezTo>
                  <a:pt x="9" y="98"/>
                  <a:pt x="9" y="98"/>
                  <a:pt x="9" y="98"/>
                </a:cubicBezTo>
                <a:cubicBezTo>
                  <a:pt x="7" y="98"/>
                  <a:pt x="5" y="98"/>
                  <a:pt x="3" y="100"/>
                </a:cubicBezTo>
                <a:cubicBezTo>
                  <a:pt x="1" y="101"/>
                  <a:pt x="0" y="103"/>
                  <a:pt x="0" y="105"/>
                </a:cubicBezTo>
                <a:cubicBezTo>
                  <a:pt x="0" y="476"/>
                  <a:pt x="0" y="476"/>
                  <a:pt x="0" y="476"/>
                </a:cubicBezTo>
                <a:cubicBezTo>
                  <a:pt x="0" y="479"/>
                  <a:pt x="3" y="482"/>
                  <a:pt x="6" y="483"/>
                </a:cubicBezTo>
                <a:cubicBezTo>
                  <a:pt x="215" y="536"/>
                  <a:pt x="215" y="536"/>
                  <a:pt x="215" y="536"/>
                </a:cubicBezTo>
                <a:cubicBezTo>
                  <a:pt x="215" y="536"/>
                  <a:pt x="216" y="536"/>
                  <a:pt x="217" y="536"/>
                </a:cubicBezTo>
                <a:cubicBezTo>
                  <a:pt x="217" y="536"/>
                  <a:pt x="217" y="536"/>
                  <a:pt x="217" y="536"/>
                </a:cubicBezTo>
                <a:cubicBezTo>
                  <a:pt x="217" y="536"/>
                  <a:pt x="217" y="536"/>
                  <a:pt x="217" y="536"/>
                </a:cubicBezTo>
                <a:cubicBezTo>
                  <a:pt x="217" y="536"/>
                  <a:pt x="218" y="536"/>
                  <a:pt x="218" y="536"/>
                </a:cubicBezTo>
                <a:cubicBezTo>
                  <a:pt x="426" y="483"/>
                  <a:pt x="426" y="483"/>
                  <a:pt x="426" y="483"/>
                </a:cubicBezTo>
                <a:cubicBezTo>
                  <a:pt x="633" y="536"/>
                  <a:pt x="633" y="536"/>
                  <a:pt x="633" y="536"/>
                </a:cubicBezTo>
                <a:cubicBezTo>
                  <a:pt x="634" y="536"/>
                  <a:pt x="634" y="536"/>
                  <a:pt x="635" y="536"/>
                </a:cubicBezTo>
                <a:cubicBezTo>
                  <a:pt x="636" y="536"/>
                  <a:pt x="638" y="535"/>
                  <a:pt x="639" y="534"/>
                </a:cubicBezTo>
                <a:cubicBezTo>
                  <a:pt x="641" y="533"/>
                  <a:pt x="642" y="531"/>
                  <a:pt x="642" y="529"/>
                </a:cubicBezTo>
                <a:cubicBezTo>
                  <a:pt x="642" y="158"/>
                  <a:pt x="642" y="158"/>
                  <a:pt x="642" y="158"/>
                </a:cubicBezTo>
                <a:cubicBezTo>
                  <a:pt x="642" y="155"/>
                  <a:pt x="640" y="152"/>
                  <a:pt x="636" y="151"/>
                </a:cubicBezTo>
                <a:close/>
                <a:moveTo>
                  <a:pt x="400" y="14"/>
                </a:moveTo>
                <a:cubicBezTo>
                  <a:pt x="442" y="14"/>
                  <a:pt x="476" y="49"/>
                  <a:pt x="476" y="91"/>
                </a:cubicBezTo>
                <a:cubicBezTo>
                  <a:pt x="476" y="98"/>
                  <a:pt x="475" y="107"/>
                  <a:pt x="472" y="116"/>
                </a:cubicBezTo>
                <a:cubicBezTo>
                  <a:pt x="472" y="117"/>
                  <a:pt x="472" y="117"/>
                  <a:pt x="472" y="117"/>
                </a:cubicBezTo>
                <a:cubicBezTo>
                  <a:pt x="472" y="117"/>
                  <a:pt x="472" y="117"/>
                  <a:pt x="472" y="117"/>
                </a:cubicBezTo>
                <a:cubicBezTo>
                  <a:pt x="459" y="163"/>
                  <a:pt x="421" y="224"/>
                  <a:pt x="400" y="224"/>
                </a:cubicBezTo>
                <a:cubicBezTo>
                  <a:pt x="374" y="224"/>
                  <a:pt x="323" y="136"/>
                  <a:pt x="323" y="91"/>
                </a:cubicBezTo>
                <a:cubicBezTo>
                  <a:pt x="323" y="49"/>
                  <a:pt x="357" y="14"/>
                  <a:pt x="400" y="14"/>
                </a:cubicBezTo>
                <a:close/>
                <a:moveTo>
                  <a:pt x="14" y="114"/>
                </a:moveTo>
                <a:cubicBezTo>
                  <a:pt x="210" y="164"/>
                  <a:pt x="210" y="164"/>
                  <a:pt x="210" y="164"/>
                </a:cubicBezTo>
                <a:cubicBezTo>
                  <a:pt x="210" y="520"/>
                  <a:pt x="210" y="520"/>
                  <a:pt x="210" y="520"/>
                </a:cubicBezTo>
                <a:cubicBezTo>
                  <a:pt x="14" y="470"/>
                  <a:pt x="14" y="470"/>
                  <a:pt x="14" y="470"/>
                </a:cubicBezTo>
                <a:lnTo>
                  <a:pt x="14" y="114"/>
                </a:lnTo>
                <a:close/>
                <a:moveTo>
                  <a:pt x="224" y="164"/>
                </a:moveTo>
                <a:cubicBezTo>
                  <a:pt x="320" y="139"/>
                  <a:pt x="320" y="139"/>
                  <a:pt x="320" y="139"/>
                </a:cubicBezTo>
                <a:cubicBezTo>
                  <a:pt x="337" y="186"/>
                  <a:pt x="372" y="238"/>
                  <a:pt x="400" y="238"/>
                </a:cubicBezTo>
                <a:cubicBezTo>
                  <a:pt x="406" y="238"/>
                  <a:pt x="412" y="235"/>
                  <a:pt x="419" y="231"/>
                </a:cubicBezTo>
                <a:cubicBezTo>
                  <a:pt x="419" y="470"/>
                  <a:pt x="419" y="470"/>
                  <a:pt x="419" y="470"/>
                </a:cubicBezTo>
                <a:cubicBezTo>
                  <a:pt x="224" y="520"/>
                  <a:pt x="224" y="520"/>
                  <a:pt x="224" y="520"/>
                </a:cubicBezTo>
                <a:lnTo>
                  <a:pt x="224" y="164"/>
                </a:lnTo>
                <a:close/>
                <a:moveTo>
                  <a:pt x="628" y="520"/>
                </a:moveTo>
                <a:cubicBezTo>
                  <a:pt x="433" y="470"/>
                  <a:pt x="433" y="470"/>
                  <a:pt x="433" y="470"/>
                </a:cubicBezTo>
                <a:cubicBezTo>
                  <a:pt x="433" y="219"/>
                  <a:pt x="433" y="219"/>
                  <a:pt x="433" y="219"/>
                </a:cubicBezTo>
                <a:cubicBezTo>
                  <a:pt x="454" y="197"/>
                  <a:pt x="474" y="159"/>
                  <a:pt x="483" y="127"/>
                </a:cubicBezTo>
                <a:cubicBezTo>
                  <a:pt x="628" y="164"/>
                  <a:pt x="628" y="164"/>
                  <a:pt x="628" y="164"/>
                </a:cubicBezTo>
                <a:lnTo>
                  <a:pt x="628" y="520"/>
                </a:lnTo>
                <a:close/>
                <a:moveTo>
                  <a:pt x="447" y="91"/>
                </a:moveTo>
                <a:cubicBezTo>
                  <a:pt x="447" y="65"/>
                  <a:pt x="426" y="43"/>
                  <a:pt x="400" y="43"/>
                </a:cubicBezTo>
                <a:cubicBezTo>
                  <a:pt x="373" y="43"/>
                  <a:pt x="352" y="65"/>
                  <a:pt x="352" y="91"/>
                </a:cubicBezTo>
                <a:cubicBezTo>
                  <a:pt x="352" y="117"/>
                  <a:pt x="373" y="138"/>
                  <a:pt x="400" y="138"/>
                </a:cubicBezTo>
                <a:cubicBezTo>
                  <a:pt x="426" y="138"/>
                  <a:pt x="447" y="117"/>
                  <a:pt x="447" y="91"/>
                </a:cubicBezTo>
                <a:close/>
                <a:moveTo>
                  <a:pt x="366" y="91"/>
                </a:moveTo>
                <a:cubicBezTo>
                  <a:pt x="366" y="72"/>
                  <a:pt x="381" y="57"/>
                  <a:pt x="400" y="57"/>
                </a:cubicBezTo>
                <a:cubicBezTo>
                  <a:pt x="418" y="57"/>
                  <a:pt x="433" y="72"/>
                  <a:pt x="433" y="91"/>
                </a:cubicBezTo>
                <a:cubicBezTo>
                  <a:pt x="433" y="109"/>
                  <a:pt x="418" y="124"/>
                  <a:pt x="400" y="124"/>
                </a:cubicBezTo>
                <a:cubicBezTo>
                  <a:pt x="381" y="124"/>
                  <a:pt x="366" y="109"/>
                  <a:pt x="366" y="9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8" name="Title 32">
            <a:extLst>
              <a:ext uri="{FF2B5EF4-FFF2-40B4-BE49-F238E27FC236}">
                <a16:creationId xmlns:a16="http://schemas.microsoft.com/office/drawing/2014/main" id="{617577E2-C652-47D8-9028-D84DB8E1D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9549"/>
            <a:ext cx="8686800" cy="682625"/>
          </a:xfrm>
        </p:spPr>
        <p:txBody>
          <a:bodyPr/>
          <a:lstStyle/>
          <a:p>
            <a:r>
              <a:rPr lang="en-US" dirty="0"/>
              <a:t>Transportation icons</a:t>
            </a:r>
          </a:p>
        </p:txBody>
      </p:sp>
      <p:sp>
        <p:nvSpPr>
          <p:cNvPr id="29" name="Oval 9">
            <a:extLst>
              <a:ext uri="{FF2B5EF4-FFF2-40B4-BE49-F238E27FC236}">
                <a16:creationId xmlns:a16="http://schemas.microsoft.com/office/drawing/2014/main" id="{4027613F-D233-4D49-8AF5-964117EB9D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0588" y="229994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0" name="Freeform 28">
            <a:extLst>
              <a:ext uri="{FF2B5EF4-FFF2-40B4-BE49-F238E27FC236}">
                <a16:creationId xmlns:a16="http://schemas.microsoft.com/office/drawing/2014/main" id="{C7BE4C06-D024-459F-95E5-149C9BCCACEE}"/>
              </a:ext>
            </a:extLst>
          </p:cNvPr>
          <p:cNvSpPr>
            <a:spLocks noEditPoints="1"/>
          </p:cNvSpPr>
          <p:nvPr/>
        </p:nvSpPr>
        <p:spPr bwMode="auto">
          <a:xfrm>
            <a:off x="7591510" y="2450500"/>
            <a:ext cx="501118" cy="522181"/>
          </a:xfrm>
          <a:custGeom>
            <a:avLst/>
            <a:gdLst>
              <a:gd name="T0" fmla="*/ 633 w 647"/>
              <a:gd name="T1" fmla="*/ 245 h 674"/>
              <a:gd name="T2" fmla="*/ 546 w 647"/>
              <a:gd name="T3" fmla="*/ 172 h 674"/>
              <a:gd name="T4" fmla="*/ 536 w 647"/>
              <a:gd name="T5" fmla="*/ 173 h 674"/>
              <a:gd name="T6" fmla="*/ 565 w 647"/>
              <a:gd name="T7" fmla="*/ 124 h 674"/>
              <a:gd name="T8" fmla="*/ 331 w 647"/>
              <a:gd name="T9" fmla="*/ 15 h 674"/>
              <a:gd name="T10" fmla="*/ 324 w 647"/>
              <a:gd name="T11" fmla="*/ 83 h 674"/>
              <a:gd name="T12" fmla="*/ 317 w 647"/>
              <a:gd name="T13" fmla="*/ 15 h 674"/>
              <a:gd name="T14" fmla="*/ 82 w 647"/>
              <a:gd name="T15" fmla="*/ 124 h 674"/>
              <a:gd name="T16" fmla="*/ 111 w 647"/>
              <a:gd name="T17" fmla="*/ 173 h 674"/>
              <a:gd name="T18" fmla="*/ 101 w 647"/>
              <a:gd name="T19" fmla="*/ 172 h 674"/>
              <a:gd name="T20" fmla="*/ 14 w 647"/>
              <a:gd name="T21" fmla="*/ 245 h 674"/>
              <a:gd name="T22" fmla="*/ 6 w 647"/>
              <a:gd name="T23" fmla="*/ 250 h 674"/>
              <a:gd name="T24" fmla="*/ 67 w 647"/>
              <a:gd name="T25" fmla="*/ 120 h 674"/>
              <a:gd name="T26" fmla="*/ 69 w 647"/>
              <a:gd name="T27" fmla="*/ 118 h 674"/>
              <a:gd name="T28" fmla="*/ 324 w 647"/>
              <a:gd name="T29" fmla="*/ 0 h 674"/>
              <a:gd name="T30" fmla="*/ 324 w 647"/>
              <a:gd name="T31" fmla="*/ 0 h 674"/>
              <a:gd name="T32" fmla="*/ 526 w 647"/>
              <a:gd name="T33" fmla="*/ 68 h 674"/>
              <a:gd name="T34" fmla="*/ 579 w 647"/>
              <a:gd name="T35" fmla="*/ 118 h 674"/>
              <a:gd name="T36" fmla="*/ 646 w 647"/>
              <a:gd name="T37" fmla="*/ 241 h 674"/>
              <a:gd name="T38" fmla="*/ 607 w 647"/>
              <a:gd name="T39" fmla="*/ 505 h 674"/>
              <a:gd name="T40" fmla="*/ 324 w 647"/>
              <a:gd name="T41" fmla="*/ 660 h 674"/>
              <a:gd name="T42" fmla="*/ 40 w 647"/>
              <a:gd name="T43" fmla="*/ 505 h 674"/>
              <a:gd name="T44" fmla="*/ 324 w 647"/>
              <a:gd name="T45" fmla="*/ 674 h 674"/>
              <a:gd name="T46" fmla="*/ 607 w 647"/>
              <a:gd name="T47" fmla="*/ 505 h 674"/>
              <a:gd name="T48" fmla="*/ 403 w 647"/>
              <a:gd name="T49" fmla="*/ 439 h 674"/>
              <a:gd name="T50" fmla="*/ 446 w 647"/>
              <a:gd name="T51" fmla="*/ 516 h 674"/>
              <a:gd name="T52" fmla="*/ 206 w 647"/>
              <a:gd name="T53" fmla="*/ 518 h 674"/>
              <a:gd name="T54" fmla="*/ 200 w 647"/>
              <a:gd name="T55" fmla="*/ 510 h 674"/>
              <a:gd name="T56" fmla="*/ 391 w 647"/>
              <a:gd name="T57" fmla="*/ 431 h 674"/>
              <a:gd name="T58" fmla="*/ 552 w 647"/>
              <a:gd name="T59" fmla="*/ 273 h 674"/>
              <a:gd name="T60" fmla="*/ 389 w 647"/>
              <a:gd name="T61" fmla="*/ 446 h 674"/>
              <a:gd name="T62" fmla="*/ 387 w 647"/>
              <a:gd name="T63" fmla="*/ 445 h 674"/>
              <a:gd name="T64" fmla="*/ 216 w 647"/>
              <a:gd name="T65" fmla="*/ 504 h 674"/>
              <a:gd name="T66" fmla="*/ 389 w 647"/>
              <a:gd name="T67" fmla="*/ 446 h 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47" h="674">
                <a:moveTo>
                  <a:pt x="641" y="250"/>
                </a:moveTo>
                <a:cubicBezTo>
                  <a:pt x="638" y="251"/>
                  <a:pt x="634" y="249"/>
                  <a:pt x="633" y="245"/>
                </a:cubicBezTo>
                <a:cubicBezTo>
                  <a:pt x="621" y="205"/>
                  <a:pt x="601" y="167"/>
                  <a:pt x="574" y="135"/>
                </a:cubicBezTo>
                <a:cubicBezTo>
                  <a:pt x="546" y="172"/>
                  <a:pt x="546" y="172"/>
                  <a:pt x="546" y="172"/>
                </a:cubicBezTo>
                <a:cubicBezTo>
                  <a:pt x="544" y="174"/>
                  <a:pt x="542" y="174"/>
                  <a:pt x="540" y="174"/>
                </a:cubicBezTo>
                <a:cubicBezTo>
                  <a:pt x="539" y="174"/>
                  <a:pt x="537" y="174"/>
                  <a:pt x="536" y="173"/>
                </a:cubicBezTo>
                <a:cubicBezTo>
                  <a:pt x="533" y="171"/>
                  <a:pt x="532" y="166"/>
                  <a:pt x="535" y="163"/>
                </a:cubicBezTo>
                <a:cubicBezTo>
                  <a:pt x="565" y="124"/>
                  <a:pt x="565" y="124"/>
                  <a:pt x="565" y="124"/>
                </a:cubicBezTo>
                <a:cubicBezTo>
                  <a:pt x="551" y="107"/>
                  <a:pt x="535" y="93"/>
                  <a:pt x="518" y="80"/>
                </a:cubicBezTo>
                <a:cubicBezTo>
                  <a:pt x="464" y="38"/>
                  <a:pt x="399" y="16"/>
                  <a:pt x="331" y="15"/>
                </a:cubicBezTo>
                <a:cubicBezTo>
                  <a:pt x="331" y="76"/>
                  <a:pt x="331" y="76"/>
                  <a:pt x="331" y="76"/>
                </a:cubicBezTo>
                <a:cubicBezTo>
                  <a:pt x="331" y="79"/>
                  <a:pt x="327" y="83"/>
                  <a:pt x="324" y="83"/>
                </a:cubicBezTo>
                <a:cubicBezTo>
                  <a:pt x="320" y="83"/>
                  <a:pt x="317" y="79"/>
                  <a:pt x="317" y="76"/>
                </a:cubicBezTo>
                <a:cubicBezTo>
                  <a:pt x="317" y="15"/>
                  <a:pt x="317" y="15"/>
                  <a:pt x="317" y="15"/>
                </a:cubicBezTo>
                <a:cubicBezTo>
                  <a:pt x="248" y="16"/>
                  <a:pt x="184" y="38"/>
                  <a:pt x="129" y="80"/>
                </a:cubicBezTo>
                <a:cubicBezTo>
                  <a:pt x="112" y="93"/>
                  <a:pt x="96" y="107"/>
                  <a:pt x="82" y="124"/>
                </a:cubicBezTo>
                <a:cubicBezTo>
                  <a:pt x="112" y="163"/>
                  <a:pt x="112" y="163"/>
                  <a:pt x="112" y="163"/>
                </a:cubicBezTo>
                <a:cubicBezTo>
                  <a:pt x="115" y="166"/>
                  <a:pt x="114" y="171"/>
                  <a:pt x="111" y="173"/>
                </a:cubicBezTo>
                <a:cubicBezTo>
                  <a:pt x="110" y="174"/>
                  <a:pt x="108" y="174"/>
                  <a:pt x="107" y="174"/>
                </a:cubicBezTo>
                <a:cubicBezTo>
                  <a:pt x="105" y="174"/>
                  <a:pt x="103" y="174"/>
                  <a:pt x="101" y="172"/>
                </a:cubicBezTo>
                <a:cubicBezTo>
                  <a:pt x="73" y="135"/>
                  <a:pt x="73" y="135"/>
                  <a:pt x="73" y="135"/>
                </a:cubicBezTo>
                <a:cubicBezTo>
                  <a:pt x="46" y="167"/>
                  <a:pt x="26" y="205"/>
                  <a:pt x="14" y="245"/>
                </a:cubicBezTo>
                <a:cubicBezTo>
                  <a:pt x="14" y="248"/>
                  <a:pt x="11" y="250"/>
                  <a:pt x="8" y="250"/>
                </a:cubicBezTo>
                <a:cubicBezTo>
                  <a:pt x="7" y="250"/>
                  <a:pt x="6" y="250"/>
                  <a:pt x="6" y="250"/>
                </a:cubicBezTo>
                <a:cubicBezTo>
                  <a:pt x="2" y="248"/>
                  <a:pt x="0" y="245"/>
                  <a:pt x="1" y="241"/>
                </a:cubicBezTo>
                <a:cubicBezTo>
                  <a:pt x="14" y="197"/>
                  <a:pt x="37" y="155"/>
                  <a:pt x="67" y="120"/>
                </a:cubicBezTo>
                <a:cubicBezTo>
                  <a:pt x="67" y="119"/>
                  <a:pt x="68" y="118"/>
                  <a:pt x="68" y="118"/>
                </a:cubicBezTo>
                <a:cubicBezTo>
                  <a:pt x="68" y="118"/>
                  <a:pt x="69" y="118"/>
                  <a:pt x="69" y="118"/>
                </a:cubicBezTo>
                <a:cubicBezTo>
                  <a:pt x="84" y="99"/>
                  <a:pt x="102" y="83"/>
                  <a:pt x="121" y="68"/>
                </a:cubicBezTo>
                <a:cubicBezTo>
                  <a:pt x="179" y="24"/>
                  <a:pt x="250" y="0"/>
                  <a:pt x="324" y="0"/>
                </a:cubicBezTo>
                <a:cubicBezTo>
                  <a:pt x="324" y="0"/>
                  <a:pt x="324" y="0"/>
                  <a:pt x="324" y="0"/>
                </a:cubicBezTo>
                <a:cubicBezTo>
                  <a:pt x="324" y="0"/>
                  <a:pt x="324" y="0"/>
                  <a:pt x="324" y="0"/>
                </a:cubicBezTo>
                <a:cubicBezTo>
                  <a:pt x="324" y="0"/>
                  <a:pt x="324" y="0"/>
                  <a:pt x="324" y="0"/>
                </a:cubicBezTo>
                <a:cubicBezTo>
                  <a:pt x="398" y="0"/>
                  <a:pt x="468" y="24"/>
                  <a:pt x="526" y="68"/>
                </a:cubicBezTo>
                <a:cubicBezTo>
                  <a:pt x="546" y="83"/>
                  <a:pt x="563" y="99"/>
                  <a:pt x="579" y="118"/>
                </a:cubicBezTo>
                <a:cubicBezTo>
                  <a:pt x="579" y="118"/>
                  <a:pt x="579" y="118"/>
                  <a:pt x="579" y="118"/>
                </a:cubicBezTo>
                <a:cubicBezTo>
                  <a:pt x="579" y="118"/>
                  <a:pt x="580" y="119"/>
                  <a:pt x="581" y="120"/>
                </a:cubicBezTo>
                <a:cubicBezTo>
                  <a:pt x="610" y="155"/>
                  <a:pt x="633" y="197"/>
                  <a:pt x="646" y="241"/>
                </a:cubicBezTo>
                <a:cubicBezTo>
                  <a:pt x="647" y="245"/>
                  <a:pt x="645" y="248"/>
                  <a:pt x="641" y="250"/>
                </a:cubicBezTo>
                <a:close/>
                <a:moveTo>
                  <a:pt x="607" y="505"/>
                </a:moveTo>
                <a:cubicBezTo>
                  <a:pt x="603" y="503"/>
                  <a:pt x="599" y="504"/>
                  <a:pt x="597" y="508"/>
                </a:cubicBezTo>
                <a:cubicBezTo>
                  <a:pt x="537" y="603"/>
                  <a:pt x="435" y="660"/>
                  <a:pt x="324" y="660"/>
                </a:cubicBezTo>
                <a:cubicBezTo>
                  <a:pt x="212" y="660"/>
                  <a:pt x="110" y="603"/>
                  <a:pt x="50" y="508"/>
                </a:cubicBezTo>
                <a:cubicBezTo>
                  <a:pt x="48" y="504"/>
                  <a:pt x="44" y="503"/>
                  <a:pt x="40" y="505"/>
                </a:cubicBezTo>
                <a:cubicBezTo>
                  <a:pt x="37" y="507"/>
                  <a:pt x="36" y="512"/>
                  <a:pt x="38" y="515"/>
                </a:cubicBezTo>
                <a:cubicBezTo>
                  <a:pt x="100" y="614"/>
                  <a:pt x="207" y="674"/>
                  <a:pt x="324" y="674"/>
                </a:cubicBezTo>
                <a:cubicBezTo>
                  <a:pt x="440" y="674"/>
                  <a:pt x="547" y="614"/>
                  <a:pt x="609" y="515"/>
                </a:cubicBezTo>
                <a:cubicBezTo>
                  <a:pt x="611" y="512"/>
                  <a:pt x="610" y="507"/>
                  <a:pt x="607" y="505"/>
                </a:cubicBezTo>
                <a:close/>
                <a:moveTo>
                  <a:pt x="552" y="283"/>
                </a:moveTo>
                <a:cubicBezTo>
                  <a:pt x="403" y="439"/>
                  <a:pt x="403" y="439"/>
                  <a:pt x="403" y="439"/>
                </a:cubicBezTo>
                <a:cubicBezTo>
                  <a:pt x="425" y="456"/>
                  <a:pt x="441" y="481"/>
                  <a:pt x="447" y="510"/>
                </a:cubicBezTo>
                <a:cubicBezTo>
                  <a:pt x="448" y="512"/>
                  <a:pt x="447" y="514"/>
                  <a:pt x="446" y="516"/>
                </a:cubicBezTo>
                <a:cubicBezTo>
                  <a:pt x="445" y="517"/>
                  <a:pt x="443" y="518"/>
                  <a:pt x="441" y="518"/>
                </a:cubicBezTo>
                <a:cubicBezTo>
                  <a:pt x="206" y="518"/>
                  <a:pt x="206" y="518"/>
                  <a:pt x="206" y="518"/>
                </a:cubicBezTo>
                <a:cubicBezTo>
                  <a:pt x="204" y="518"/>
                  <a:pt x="202" y="517"/>
                  <a:pt x="201" y="516"/>
                </a:cubicBezTo>
                <a:cubicBezTo>
                  <a:pt x="200" y="514"/>
                  <a:pt x="199" y="512"/>
                  <a:pt x="200" y="510"/>
                </a:cubicBezTo>
                <a:cubicBezTo>
                  <a:pt x="213" y="452"/>
                  <a:pt x="264" y="411"/>
                  <a:pt x="324" y="411"/>
                </a:cubicBezTo>
                <a:cubicBezTo>
                  <a:pt x="348" y="411"/>
                  <a:pt x="371" y="418"/>
                  <a:pt x="391" y="431"/>
                </a:cubicBezTo>
                <a:cubicBezTo>
                  <a:pt x="542" y="273"/>
                  <a:pt x="542" y="273"/>
                  <a:pt x="542" y="273"/>
                </a:cubicBezTo>
                <a:cubicBezTo>
                  <a:pt x="545" y="270"/>
                  <a:pt x="549" y="270"/>
                  <a:pt x="552" y="273"/>
                </a:cubicBezTo>
                <a:cubicBezTo>
                  <a:pt x="555" y="275"/>
                  <a:pt x="555" y="280"/>
                  <a:pt x="552" y="283"/>
                </a:cubicBezTo>
                <a:close/>
                <a:moveTo>
                  <a:pt x="389" y="446"/>
                </a:moveTo>
                <a:cubicBezTo>
                  <a:pt x="388" y="446"/>
                  <a:pt x="388" y="445"/>
                  <a:pt x="387" y="445"/>
                </a:cubicBezTo>
                <a:cubicBezTo>
                  <a:pt x="387" y="445"/>
                  <a:pt x="387" y="445"/>
                  <a:pt x="387" y="445"/>
                </a:cubicBezTo>
                <a:cubicBezTo>
                  <a:pt x="369" y="432"/>
                  <a:pt x="347" y="425"/>
                  <a:pt x="324" y="425"/>
                </a:cubicBezTo>
                <a:cubicBezTo>
                  <a:pt x="274" y="425"/>
                  <a:pt x="230" y="457"/>
                  <a:pt x="216" y="504"/>
                </a:cubicBezTo>
                <a:cubicBezTo>
                  <a:pt x="431" y="504"/>
                  <a:pt x="431" y="504"/>
                  <a:pt x="431" y="504"/>
                </a:cubicBezTo>
                <a:cubicBezTo>
                  <a:pt x="424" y="480"/>
                  <a:pt x="409" y="460"/>
                  <a:pt x="389" y="44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047366596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Manufacturing icons</a:t>
            </a:r>
          </a:p>
        </p:txBody>
      </p:sp>
      <p:sp>
        <p:nvSpPr>
          <p:cNvPr id="7175" name="Oval 13"/>
          <p:cNvSpPr>
            <a:spLocks noChangeArrowheads="1"/>
          </p:cNvSpPr>
          <p:nvPr/>
        </p:nvSpPr>
        <p:spPr bwMode="auto">
          <a:xfrm>
            <a:off x="4845101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5" name="Freeform 23"/>
          <p:cNvSpPr>
            <a:spLocks noEditPoints="1"/>
          </p:cNvSpPr>
          <p:nvPr/>
        </p:nvSpPr>
        <p:spPr bwMode="auto">
          <a:xfrm>
            <a:off x="5064033" y="2471841"/>
            <a:ext cx="384769" cy="468061"/>
          </a:xfrm>
          <a:custGeom>
            <a:avLst/>
            <a:gdLst>
              <a:gd name="T0" fmla="*/ 475 w 497"/>
              <a:gd name="T1" fmla="*/ 252 h 604"/>
              <a:gd name="T2" fmla="*/ 497 w 497"/>
              <a:gd name="T3" fmla="*/ 118 h 604"/>
              <a:gd name="T4" fmla="*/ 0 w 497"/>
              <a:gd name="T5" fmla="*/ 118 h 604"/>
              <a:gd name="T6" fmla="*/ 22 w 497"/>
              <a:gd name="T7" fmla="*/ 251 h 604"/>
              <a:gd name="T8" fmla="*/ 22 w 497"/>
              <a:gd name="T9" fmla="*/ 351 h 604"/>
              <a:gd name="T10" fmla="*/ 0 w 497"/>
              <a:gd name="T11" fmla="*/ 486 h 604"/>
              <a:gd name="T12" fmla="*/ 497 w 497"/>
              <a:gd name="T13" fmla="*/ 486 h 604"/>
              <a:gd name="T14" fmla="*/ 475 w 497"/>
              <a:gd name="T15" fmla="*/ 351 h 604"/>
              <a:gd name="T16" fmla="*/ 249 w 497"/>
              <a:gd name="T17" fmla="*/ 14 h 604"/>
              <a:gd name="T18" fmla="*/ 249 w 497"/>
              <a:gd name="T19" fmla="*/ 223 h 604"/>
              <a:gd name="T20" fmla="*/ 249 w 497"/>
              <a:gd name="T21" fmla="*/ 14 h 604"/>
              <a:gd name="T22" fmla="*/ 36 w 497"/>
              <a:gd name="T23" fmla="*/ 254 h 604"/>
              <a:gd name="T24" fmla="*/ 249 w 497"/>
              <a:gd name="T25" fmla="*/ 237 h 604"/>
              <a:gd name="T26" fmla="*/ 461 w 497"/>
              <a:gd name="T27" fmla="*/ 255 h 604"/>
              <a:gd name="T28" fmla="*/ 483 w 497"/>
              <a:gd name="T29" fmla="*/ 302 h 604"/>
              <a:gd name="T30" fmla="*/ 249 w 497"/>
              <a:gd name="T31" fmla="*/ 282 h 604"/>
              <a:gd name="T32" fmla="*/ 14 w 497"/>
              <a:gd name="T33" fmla="*/ 302 h 604"/>
              <a:gd name="T34" fmla="*/ 249 w 497"/>
              <a:gd name="T35" fmla="*/ 406 h 604"/>
              <a:gd name="T36" fmla="*/ 249 w 497"/>
              <a:gd name="T37" fmla="*/ 296 h 604"/>
              <a:gd name="T38" fmla="*/ 249 w 497"/>
              <a:gd name="T39" fmla="*/ 406 h 604"/>
              <a:gd name="T40" fmla="*/ 249 w 497"/>
              <a:gd name="T41" fmla="*/ 484 h 604"/>
              <a:gd name="T42" fmla="*/ 249 w 497"/>
              <a:gd name="T43" fmla="*/ 420 h 604"/>
              <a:gd name="T44" fmla="*/ 483 w 497"/>
              <a:gd name="T45" fmla="*/ 486 h 604"/>
              <a:gd name="T46" fmla="*/ 14 w 497"/>
              <a:gd name="T47" fmla="*/ 486 h 604"/>
              <a:gd name="T48" fmla="*/ 36 w 497"/>
              <a:gd name="T49" fmla="*/ 438 h 604"/>
              <a:gd name="T50" fmla="*/ 164 w 497"/>
              <a:gd name="T51" fmla="*/ 413 h 604"/>
              <a:gd name="T52" fmla="*/ 334 w 497"/>
              <a:gd name="T53" fmla="*/ 413 h 604"/>
              <a:gd name="T54" fmla="*/ 461 w 497"/>
              <a:gd name="T55" fmla="*/ 438 h 604"/>
              <a:gd name="T56" fmla="*/ 483 w 497"/>
              <a:gd name="T57" fmla="*/ 486 h 604"/>
              <a:gd name="T58" fmla="*/ 190 w 497"/>
              <a:gd name="T59" fmla="*/ 118 h 604"/>
              <a:gd name="T60" fmla="*/ 97 w 497"/>
              <a:gd name="T61" fmla="*/ 118 h 604"/>
              <a:gd name="T62" fmla="*/ 143 w 497"/>
              <a:gd name="T63" fmla="*/ 107 h 604"/>
              <a:gd name="T64" fmla="*/ 143 w 497"/>
              <a:gd name="T65" fmla="*/ 130 h 604"/>
              <a:gd name="T66" fmla="*/ 143 w 497"/>
              <a:gd name="T67" fmla="*/ 107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97" h="604">
                <a:moveTo>
                  <a:pt x="497" y="302"/>
                </a:moveTo>
                <a:cubicBezTo>
                  <a:pt x="497" y="284"/>
                  <a:pt x="490" y="267"/>
                  <a:pt x="475" y="252"/>
                </a:cubicBezTo>
                <a:cubicBezTo>
                  <a:pt x="475" y="168"/>
                  <a:pt x="475" y="168"/>
                  <a:pt x="475" y="168"/>
                </a:cubicBezTo>
                <a:cubicBezTo>
                  <a:pt x="489" y="153"/>
                  <a:pt x="497" y="136"/>
                  <a:pt x="497" y="118"/>
                </a:cubicBezTo>
                <a:cubicBezTo>
                  <a:pt x="497" y="52"/>
                  <a:pt x="388" y="0"/>
                  <a:pt x="249" y="0"/>
                </a:cubicBezTo>
                <a:cubicBezTo>
                  <a:pt x="109" y="0"/>
                  <a:pt x="0" y="52"/>
                  <a:pt x="0" y="118"/>
                </a:cubicBezTo>
                <a:cubicBezTo>
                  <a:pt x="0" y="136"/>
                  <a:pt x="8" y="153"/>
                  <a:pt x="22" y="168"/>
                </a:cubicBezTo>
                <a:cubicBezTo>
                  <a:pt x="22" y="251"/>
                  <a:pt x="22" y="251"/>
                  <a:pt x="22" y="251"/>
                </a:cubicBezTo>
                <a:cubicBezTo>
                  <a:pt x="8" y="266"/>
                  <a:pt x="0" y="284"/>
                  <a:pt x="0" y="302"/>
                </a:cubicBezTo>
                <a:cubicBezTo>
                  <a:pt x="0" y="320"/>
                  <a:pt x="8" y="336"/>
                  <a:pt x="22" y="351"/>
                </a:cubicBezTo>
                <a:cubicBezTo>
                  <a:pt x="22" y="435"/>
                  <a:pt x="22" y="435"/>
                  <a:pt x="22" y="435"/>
                </a:cubicBezTo>
                <a:cubicBezTo>
                  <a:pt x="8" y="450"/>
                  <a:pt x="0" y="468"/>
                  <a:pt x="0" y="486"/>
                </a:cubicBezTo>
                <a:cubicBezTo>
                  <a:pt x="0" y="552"/>
                  <a:pt x="109" y="604"/>
                  <a:pt x="249" y="604"/>
                </a:cubicBezTo>
                <a:cubicBezTo>
                  <a:pt x="388" y="604"/>
                  <a:pt x="497" y="552"/>
                  <a:pt x="497" y="486"/>
                </a:cubicBezTo>
                <a:cubicBezTo>
                  <a:pt x="497" y="467"/>
                  <a:pt x="490" y="450"/>
                  <a:pt x="475" y="435"/>
                </a:cubicBezTo>
                <a:cubicBezTo>
                  <a:pt x="475" y="351"/>
                  <a:pt x="475" y="351"/>
                  <a:pt x="475" y="351"/>
                </a:cubicBezTo>
                <a:cubicBezTo>
                  <a:pt x="489" y="336"/>
                  <a:pt x="497" y="320"/>
                  <a:pt x="497" y="302"/>
                </a:cubicBezTo>
                <a:close/>
                <a:moveTo>
                  <a:pt x="249" y="14"/>
                </a:moveTo>
                <a:cubicBezTo>
                  <a:pt x="376" y="14"/>
                  <a:pt x="483" y="62"/>
                  <a:pt x="483" y="118"/>
                </a:cubicBezTo>
                <a:cubicBezTo>
                  <a:pt x="483" y="175"/>
                  <a:pt x="376" y="223"/>
                  <a:pt x="249" y="223"/>
                </a:cubicBezTo>
                <a:cubicBezTo>
                  <a:pt x="122" y="223"/>
                  <a:pt x="14" y="175"/>
                  <a:pt x="14" y="118"/>
                </a:cubicBezTo>
                <a:cubicBezTo>
                  <a:pt x="14" y="62"/>
                  <a:pt x="122" y="14"/>
                  <a:pt x="249" y="14"/>
                </a:cubicBezTo>
                <a:close/>
                <a:moveTo>
                  <a:pt x="34" y="259"/>
                </a:moveTo>
                <a:cubicBezTo>
                  <a:pt x="35" y="258"/>
                  <a:pt x="36" y="256"/>
                  <a:pt x="36" y="254"/>
                </a:cubicBezTo>
                <a:cubicBezTo>
                  <a:pt x="36" y="181"/>
                  <a:pt x="36" y="181"/>
                  <a:pt x="36" y="181"/>
                </a:cubicBezTo>
                <a:cubicBezTo>
                  <a:pt x="79" y="215"/>
                  <a:pt x="157" y="237"/>
                  <a:pt x="249" y="237"/>
                </a:cubicBezTo>
                <a:cubicBezTo>
                  <a:pt x="340" y="237"/>
                  <a:pt x="418" y="215"/>
                  <a:pt x="461" y="181"/>
                </a:cubicBezTo>
                <a:cubicBezTo>
                  <a:pt x="461" y="255"/>
                  <a:pt x="461" y="255"/>
                  <a:pt x="461" y="255"/>
                </a:cubicBezTo>
                <a:cubicBezTo>
                  <a:pt x="461" y="256"/>
                  <a:pt x="462" y="258"/>
                  <a:pt x="463" y="260"/>
                </a:cubicBezTo>
                <a:cubicBezTo>
                  <a:pt x="476" y="272"/>
                  <a:pt x="483" y="287"/>
                  <a:pt x="483" y="302"/>
                </a:cubicBezTo>
                <a:cubicBezTo>
                  <a:pt x="483" y="346"/>
                  <a:pt x="419" y="384"/>
                  <a:pt x="332" y="399"/>
                </a:cubicBezTo>
                <a:cubicBezTo>
                  <a:pt x="321" y="353"/>
                  <a:pt x="267" y="282"/>
                  <a:pt x="249" y="282"/>
                </a:cubicBezTo>
                <a:cubicBezTo>
                  <a:pt x="231" y="282"/>
                  <a:pt x="176" y="353"/>
                  <a:pt x="165" y="399"/>
                </a:cubicBezTo>
                <a:cubicBezTo>
                  <a:pt x="78" y="384"/>
                  <a:pt x="14" y="346"/>
                  <a:pt x="14" y="302"/>
                </a:cubicBezTo>
                <a:cubicBezTo>
                  <a:pt x="14" y="287"/>
                  <a:pt x="21" y="272"/>
                  <a:pt x="34" y="259"/>
                </a:cubicBezTo>
                <a:close/>
                <a:moveTo>
                  <a:pt x="249" y="406"/>
                </a:moveTo>
                <a:cubicBezTo>
                  <a:pt x="225" y="406"/>
                  <a:pt x="201" y="405"/>
                  <a:pt x="179" y="401"/>
                </a:cubicBezTo>
                <a:cubicBezTo>
                  <a:pt x="188" y="361"/>
                  <a:pt x="236" y="301"/>
                  <a:pt x="249" y="296"/>
                </a:cubicBezTo>
                <a:cubicBezTo>
                  <a:pt x="261" y="301"/>
                  <a:pt x="309" y="361"/>
                  <a:pt x="318" y="401"/>
                </a:cubicBezTo>
                <a:cubicBezTo>
                  <a:pt x="296" y="405"/>
                  <a:pt x="273" y="406"/>
                  <a:pt x="249" y="406"/>
                </a:cubicBezTo>
                <a:close/>
                <a:moveTo>
                  <a:pt x="319" y="416"/>
                </a:moveTo>
                <a:cubicBezTo>
                  <a:pt x="318" y="454"/>
                  <a:pt x="287" y="484"/>
                  <a:pt x="249" y="484"/>
                </a:cubicBezTo>
                <a:cubicBezTo>
                  <a:pt x="210" y="484"/>
                  <a:pt x="179" y="454"/>
                  <a:pt x="178" y="416"/>
                </a:cubicBezTo>
                <a:cubicBezTo>
                  <a:pt x="200" y="419"/>
                  <a:pt x="224" y="420"/>
                  <a:pt x="249" y="420"/>
                </a:cubicBezTo>
                <a:cubicBezTo>
                  <a:pt x="273" y="420"/>
                  <a:pt x="297" y="419"/>
                  <a:pt x="319" y="416"/>
                </a:cubicBezTo>
                <a:close/>
                <a:moveTo>
                  <a:pt x="483" y="486"/>
                </a:moveTo>
                <a:cubicBezTo>
                  <a:pt x="483" y="542"/>
                  <a:pt x="376" y="590"/>
                  <a:pt x="249" y="590"/>
                </a:cubicBezTo>
                <a:cubicBezTo>
                  <a:pt x="122" y="590"/>
                  <a:pt x="14" y="542"/>
                  <a:pt x="14" y="486"/>
                </a:cubicBezTo>
                <a:cubicBezTo>
                  <a:pt x="14" y="471"/>
                  <a:pt x="21" y="455"/>
                  <a:pt x="34" y="442"/>
                </a:cubicBezTo>
                <a:cubicBezTo>
                  <a:pt x="35" y="441"/>
                  <a:pt x="36" y="439"/>
                  <a:pt x="36" y="438"/>
                </a:cubicBezTo>
                <a:cubicBezTo>
                  <a:pt x="36" y="364"/>
                  <a:pt x="36" y="364"/>
                  <a:pt x="36" y="364"/>
                </a:cubicBezTo>
                <a:cubicBezTo>
                  <a:pt x="65" y="387"/>
                  <a:pt x="110" y="404"/>
                  <a:pt x="164" y="413"/>
                </a:cubicBezTo>
                <a:cubicBezTo>
                  <a:pt x="164" y="460"/>
                  <a:pt x="202" y="498"/>
                  <a:pt x="249" y="498"/>
                </a:cubicBezTo>
                <a:cubicBezTo>
                  <a:pt x="295" y="498"/>
                  <a:pt x="334" y="460"/>
                  <a:pt x="334" y="413"/>
                </a:cubicBezTo>
                <a:cubicBezTo>
                  <a:pt x="387" y="404"/>
                  <a:pt x="432" y="387"/>
                  <a:pt x="461" y="364"/>
                </a:cubicBezTo>
                <a:cubicBezTo>
                  <a:pt x="461" y="438"/>
                  <a:pt x="461" y="438"/>
                  <a:pt x="461" y="438"/>
                </a:cubicBezTo>
                <a:cubicBezTo>
                  <a:pt x="461" y="440"/>
                  <a:pt x="462" y="442"/>
                  <a:pt x="463" y="443"/>
                </a:cubicBezTo>
                <a:cubicBezTo>
                  <a:pt x="476" y="456"/>
                  <a:pt x="483" y="470"/>
                  <a:pt x="483" y="486"/>
                </a:cubicBezTo>
                <a:close/>
                <a:moveTo>
                  <a:pt x="143" y="144"/>
                </a:moveTo>
                <a:cubicBezTo>
                  <a:pt x="170" y="144"/>
                  <a:pt x="190" y="133"/>
                  <a:pt x="190" y="118"/>
                </a:cubicBezTo>
                <a:cubicBezTo>
                  <a:pt x="190" y="104"/>
                  <a:pt x="170" y="93"/>
                  <a:pt x="143" y="93"/>
                </a:cubicBezTo>
                <a:cubicBezTo>
                  <a:pt x="117" y="93"/>
                  <a:pt x="97" y="104"/>
                  <a:pt x="97" y="118"/>
                </a:cubicBezTo>
                <a:cubicBezTo>
                  <a:pt x="97" y="133"/>
                  <a:pt x="117" y="144"/>
                  <a:pt x="143" y="144"/>
                </a:cubicBezTo>
                <a:close/>
                <a:moveTo>
                  <a:pt x="143" y="107"/>
                </a:moveTo>
                <a:cubicBezTo>
                  <a:pt x="164" y="107"/>
                  <a:pt x="176" y="114"/>
                  <a:pt x="176" y="118"/>
                </a:cubicBezTo>
                <a:cubicBezTo>
                  <a:pt x="176" y="123"/>
                  <a:pt x="164" y="130"/>
                  <a:pt x="143" y="130"/>
                </a:cubicBezTo>
                <a:cubicBezTo>
                  <a:pt x="123" y="130"/>
                  <a:pt x="111" y="123"/>
                  <a:pt x="111" y="118"/>
                </a:cubicBezTo>
                <a:cubicBezTo>
                  <a:pt x="111" y="114"/>
                  <a:pt x="123" y="107"/>
                  <a:pt x="143" y="10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74" name="Oval 12"/>
          <p:cNvSpPr>
            <a:spLocks noChangeArrowheads="1"/>
          </p:cNvSpPr>
          <p:nvPr/>
        </p:nvSpPr>
        <p:spPr bwMode="auto">
          <a:xfrm>
            <a:off x="6137845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6" name="Freeform 24"/>
          <p:cNvSpPr>
            <a:spLocks noEditPoints="1"/>
          </p:cNvSpPr>
          <p:nvPr/>
        </p:nvSpPr>
        <p:spPr bwMode="auto">
          <a:xfrm>
            <a:off x="6357279" y="2457081"/>
            <a:ext cx="384420" cy="497581"/>
          </a:xfrm>
          <a:custGeom>
            <a:avLst/>
            <a:gdLst>
              <a:gd name="T0" fmla="*/ 475 w 496"/>
              <a:gd name="T1" fmla="*/ 271 h 642"/>
              <a:gd name="T2" fmla="*/ 496 w 496"/>
              <a:gd name="T3" fmla="*/ 119 h 642"/>
              <a:gd name="T4" fmla="*/ 0 w 496"/>
              <a:gd name="T5" fmla="*/ 119 h 642"/>
              <a:gd name="T6" fmla="*/ 21 w 496"/>
              <a:gd name="T7" fmla="*/ 270 h 642"/>
              <a:gd name="T8" fmla="*/ 21 w 496"/>
              <a:gd name="T9" fmla="*/ 370 h 642"/>
              <a:gd name="T10" fmla="*/ 0 w 496"/>
              <a:gd name="T11" fmla="*/ 523 h 642"/>
              <a:gd name="T12" fmla="*/ 496 w 496"/>
              <a:gd name="T13" fmla="*/ 523 h 642"/>
              <a:gd name="T14" fmla="*/ 475 w 496"/>
              <a:gd name="T15" fmla="*/ 370 h 642"/>
              <a:gd name="T16" fmla="*/ 248 w 496"/>
              <a:gd name="T17" fmla="*/ 14 h 642"/>
              <a:gd name="T18" fmla="*/ 248 w 496"/>
              <a:gd name="T19" fmla="*/ 223 h 642"/>
              <a:gd name="T20" fmla="*/ 248 w 496"/>
              <a:gd name="T21" fmla="*/ 14 h 642"/>
              <a:gd name="T22" fmla="*/ 248 w 496"/>
              <a:gd name="T23" fmla="*/ 628 h 642"/>
              <a:gd name="T24" fmla="*/ 33 w 496"/>
              <a:gd name="T25" fmla="*/ 480 h 642"/>
              <a:gd name="T26" fmla="*/ 35 w 496"/>
              <a:gd name="T27" fmla="*/ 383 h 642"/>
              <a:gd name="T28" fmla="*/ 130 w 496"/>
              <a:gd name="T29" fmla="*/ 425 h 642"/>
              <a:gd name="T30" fmla="*/ 131 w 496"/>
              <a:gd name="T31" fmla="*/ 411 h 642"/>
              <a:gd name="T32" fmla="*/ 33 w 496"/>
              <a:gd name="T33" fmla="*/ 278 h 642"/>
              <a:gd name="T34" fmla="*/ 35 w 496"/>
              <a:gd name="T35" fmla="*/ 181 h 642"/>
              <a:gd name="T36" fmla="*/ 461 w 496"/>
              <a:gd name="T37" fmla="*/ 181 h 642"/>
              <a:gd name="T38" fmla="*/ 463 w 496"/>
              <a:gd name="T39" fmla="*/ 279 h 642"/>
              <a:gd name="T40" fmla="*/ 365 w 496"/>
              <a:gd name="T41" fmla="*/ 411 h 642"/>
              <a:gd name="T42" fmla="*/ 367 w 496"/>
              <a:gd name="T43" fmla="*/ 425 h 642"/>
              <a:gd name="T44" fmla="*/ 461 w 496"/>
              <a:gd name="T45" fmla="*/ 383 h 642"/>
              <a:gd name="T46" fmla="*/ 463 w 496"/>
              <a:gd name="T47" fmla="*/ 481 h 642"/>
              <a:gd name="T48" fmla="*/ 143 w 496"/>
              <a:gd name="T49" fmla="*/ 144 h 642"/>
              <a:gd name="T50" fmla="*/ 143 w 496"/>
              <a:gd name="T51" fmla="*/ 93 h 642"/>
              <a:gd name="T52" fmla="*/ 143 w 496"/>
              <a:gd name="T53" fmla="*/ 144 h 642"/>
              <a:gd name="T54" fmla="*/ 176 w 496"/>
              <a:gd name="T55" fmla="*/ 119 h 642"/>
              <a:gd name="T56" fmla="*/ 110 w 496"/>
              <a:gd name="T57" fmla="*/ 119 h 642"/>
              <a:gd name="T58" fmla="*/ 248 w 496"/>
              <a:gd name="T59" fmla="*/ 301 h 642"/>
              <a:gd name="T60" fmla="*/ 248 w 496"/>
              <a:gd name="T61" fmla="*/ 517 h 642"/>
              <a:gd name="T62" fmla="*/ 248 w 496"/>
              <a:gd name="T63" fmla="*/ 301 h 642"/>
              <a:gd name="T64" fmla="*/ 177 w 496"/>
              <a:gd name="T65" fmla="*/ 432 h 642"/>
              <a:gd name="T66" fmla="*/ 319 w 496"/>
              <a:gd name="T67" fmla="*/ 432 h 6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96" h="642">
                <a:moveTo>
                  <a:pt x="496" y="321"/>
                </a:moveTo>
                <a:cubicBezTo>
                  <a:pt x="496" y="303"/>
                  <a:pt x="489" y="286"/>
                  <a:pt x="475" y="271"/>
                </a:cubicBezTo>
                <a:cubicBezTo>
                  <a:pt x="475" y="168"/>
                  <a:pt x="475" y="168"/>
                  <a:pt x="475" y="168"/>
                </a:cubicBezTo>
                <a:cubicBezTo>
                  <a:pt x="489" y="153"/>
                  <a:pt x="496" y="137"/>
                  <a:pt x="496" y="119"/>
                </a:cubicBezTo>
                <a:cubicBezTo>
                  <a:pt x="496" y="52"/>
                  <a:pt x="387" y="0"/>
                  <a:pt x="248" y="0"/>
                </a:cubicBezTo>
                <a:cubicBezTo>
                  <a:pt x="109" y="0"/>
                  <a:pt x="0" y="52"/>
                  <a:pt x="0" y="119"/>
                </a:cubicBezTo>
                <a:cubicBezTo>
                  <a:pt x="0" y="137"/>
                  <a:pt x="7" y="153"/>
                  <a:pt x="21" y="168"/>
                </a:cubicBezTo>
                <a:cubicBezTo>
                  <a:pt x="21" y="270"/>
                  <a:pt x="21" y="270"/>
                  <a:pt x="21" y="270"/>
                </a:cubicBezTo>
                <a:cubicBezTo>
                  <a:pt x="8" y="285"/>
                  <a:pt x="0" y="303"/>
                  <a:pt x="0" y="321"/>
                </a:cubicBezTo>
                <a:cubicBezTo>
                  <a:pt x="0" y="338"/>
                  <a:pt x="7" y="355"/>
                  <a:pt x="21" y="370"/>
                </a:cubicBezTo>
                <a:cubicBezTo>
                  <a:pt x="21" y="472"/>
                  <a:pt x="21" y="472"/>
                  <a:pt x="21" y="472"/>
                </a:cubicBezTo>
                <a:cubicBezTo>
                  <a:pt x="8" y="487"/>
                  <a:pt x="0" y="506"/>
                  <a:pt x="0" y="523"/>
                </a:cubicBezTo>
                <a:cubicBezTo>
                  <a:pt x="0" y="590"/>
                  <a:pt x="109" y="642"/>
                  <a:pt x="248" y="642"/>
                </a:cubicBezTo>
                <a:cubicBezTo>
                  <a:pt x="387" y="642"/>
                  <a:pt x="496" y="590"/>
                  <a:pt x="496" y="523"/>
                </a:cubicBezTo>
                <a:cubicBezTo>
                  <a:pt x="496" y="505"/>
                  <a:pt x="489" y="488"/>
                  <a:pt x="475" y="473"/>
                </a:cubicBezTo>
                <a:cubicBezTo>
                  <a:pt x="475" y="370"/>
                  <a:pt x="475" y="370"/>
                  <a:pt x="475" y="370"/>
                </a:cubicBezTo>
                <a:cubicBezTo>
                  <a:pt x="489" y="355"/>
                  <a:pt x="496" y="338"/>
                  <a:pt x="496" y="321"/>
                </a:cubicBezTo>
                <a:close/>
                <a:moveTo>
                  <a:pt x="248" y="14"/>
                </a:moveTo>
                <a:cubicBezTo>
                  <a:pt x="375" y="14"/>
                  <a:pt x="482" y="62"/>
                  <a:pt x="482" y="119"/>
                </a:cubicBezTo>
                <a:cubicBezTo>
                  <a:pt x="482" y="175"/>
                  <a:pt x="375" y="223"/>
                  <a:pt x="248" y="223"/>
                </a:cubicBezTo>
                <a:cubicBezTo>
                  <a:pt x="121" y="223"/>
                  <a:pt x="14" y="175"/>
                  <a:pt x="14" y="119"/>
                </a:cubicBezTo>
                <a:cubicBezTo>
                  <a:pt x="14" y="62"/>
                  <a:pt x="121" y="14"/>
                  <a:pt x="248" y="14"/>
                </a:cubicBezTo>
                <a:close/>
                <a:moveTo>
                  <a:pt x="482" y="523"/>
                </a:moveTo>
                <a:cubicBezTo>
                  <a:pt x="482" y="580"/>
                  <a:pt x="375" y="628"/>
                  <a:pt x="248" y="628"/>
                </a:cubicBezTo>
                <a:cubicBezTo>
                  <a:pt x="121" y="628"/>
                  <a:pt x="14" y="580"/>
                  <a:pt x="14" y="523"/>
                </a:cubicBezTo>
                <a:cubicBezTo>
                  <a:pt x="14" y="509"/>
                  <a:pt x="21" y="493"/>
                  <a:pt x="33" y="480"/>
                </a:cubicBezTo>
                <a:cubicBezTo>
                  <a:pt x="35" y="479"/>
                  <a:pt x="35" y="477"/>
                  <a:pt x="35" y="475"/>
                </a:cubicBezTo>
                <a:cubicBezTo>
                  <a:pt x="35" y="383"/>
                  <a:pt x="35" y="383"/>
                  <a:pt x="35" y="383"/>
                </a:cubicBezTo>
                <a:cubicBezTo>
                  <a:pt x="57" y="400"/>
                  <a:pt x="89" y="415"/>
                  <a:pt x="128" y="425"/>
                </a:cubicBezTo>
                <a:cubicBezTo>
                  <a:pt x="128" y="425"/>
                  <a:pt x="129" y="425"/>
                  <a:pt x="130" y="425"/>
                </a:cubicBezTo>
                <a:cubicBezTo>
                  <a:pt x="133" y="425"/>
                  <a:pt x="135" y="423"/>
                  <a:pt x="136" y="420"/>
                </a:cubicBezTo>
                <a:cubicBezTo>
                  <a:pt x="137" y="416"/>
                  <a:pt x="135" y="412"/>
                  <a:pt x="131" y="411"/>
                </a:cubicBezTo>
                <a:cubicBezTo>
                  <a:pt x="59" y="392"/>
                  <a:pt x="14" y="358"/>
                  <a:pt x="14" y="321"/>
                </a:cubicBezTo>
                <a:cubicBezTo>
                  <a:pt x="14" y="306"/>
                  <a:pt x="21" y="291"/>
                  <a:pt x="33" y="278"/>
                </a:cubicBezTo>
                <a:cubicBezTo>
                  <a:pt x="35" y="277"/>
                  <a:pt x="35" y="275"/>
                  <a:pt x="35" y="273"/>
                </a:cubicBezTo>
                <a:cubicBezTo>
                  <a:pt x="35" y="181"/>
                  <a:pt x="35" y="181"/>
                  <a:pt x="35" y="181"/>
                </a:cubicBezTo>
                <a:cubicBezTo>
                  <a:pt x="79" y="215"/>
                  <a:pt x="157" y="237"/>
                  <a:pt x="248" y="237"/>
                </a:cubicBezTo>
                <a:cubicBezTo>
                  <a:pt x="339" y="237"/>
                  <a:pt x="417" y="215"/>
                  <a:pt x="461" y="181"/>
                </a:cubicBezTo>
                <a:cubicBezTo>
                  <a:pt x="461" y="274"/>
                  <a:pt x="461" y="274"/>
                  <a:pt x="461" y="274"/>
                </a:cubicBezTo>
                <a:cubicBezTo>
                  <a:pt x="461" y="275"/>
                  <a:pt x="461" y="277"/>
                  <a:pt x="463" y="279"/>
                </a:cubicBezTo>
                <a:cubicBezTo>
                  <a:pt x="476" y="291"/>
                  <a:pt x="482" y="306"/>
                  <a:pt x="482" y="321"/>
                </a:cubicBezTo>
                <a:cubicBezTo>
                  <a:pt x="482" y="358"/>
                  <a:pt x="438" y="392"/>
                  <a:pt x="365" y="411"/>
                </a:cubicBezTo>
                <a:cubicBezTo>
                  <a:pt x="362" y="412"/>
                  <a:pt x="359" y="416"/>
                  <a:pt x="360" y="420"/>
                </a:cubicBezTo>
                <a:cubicBezTo>
                  <a:pt x="361" y="423"/>
                  <a:pt x="364" y="425"/>
                  <a:pt x="367" y="425"/>
                </a:cubicBezTo>
                <a:cubicBezTo>
                  <a:pt x="368" y="425"/>
                  <a:pt x="368" y="425"/>
                  <a:pt x="369" y="425"/>
                </a:cubicBezTo>
                <a:cubicBezTo>
                  <a:pt x="408" y="414"/>
                  <a:pt x="439" y="400"/>
                  <a:pt x="461" y="383"/>
                </a:cubicBezTo>
                <a:cubicBezTo>
                  <a:pt x="461" y="476"/>
                  <a:pt x="461" y="476"/>
                  <a:pt x="461" y="476"/>
                </a:cubicBezTo>
                <a:cubicBezTo>
                  <a:pt x="461" y="478"/>
                  <a:pt x="461" y="480"/>
                  <a:pt x="463" y="481"/>
                </a:cubicBezTo>
                <a:cubicBezTo>
                  <a:pt x="476" y="494"/>
                  <a:pt x="482" y="508"/>
                  <a:pt x="482" y="523"/>
                </a:cubicBezTo>
                <a:close/>
                <a:moveTo>
                  <a:pt x="143" y="144"/>
                </a:moveTo>
                <a:cubicBezTo>
                  <a:pt x="169" y="144"/>
                  <a:pt x="190" y="133"/>
                  <a:pt x="190" y="119"/>
                </a:cubicBezTo>
                <a:cubicBezTo>
                  <a:pt x="190" y="104"/>
                  <a:pt x="169" y="93"/>
                  <a:pt x="143" y="93"/>
                </a:cubicBezTo>
                <a:cubicBezTo>
                  <a:pt x="116" y="93"/>
                  <a:pt x="96" y="104"/>
                  <a:pt x="96" y="119"/>
                </a:cubicBezTo>
                <a:cubicBezTo>
                  <a:pt x="96" y="133"/>
                  <a:pt x="116" y="144"/>
                  <a:pt x="143" y="144"/>
                </a:cubicBezTo>
                <a:close/>
                <a:moveTo>
                  <a:pt x="143" y="107"/>
                </a:moveTo>
                <a:cubicBezTo>
                  <a:pt x="163" y="107"/>
                  <a:pt x="176" y="115"/>
                  <a:pt x="176" y="119"/>
                </a:cubicBezTo>
                <a:cubicBezTo>
                  <a:pt x="176" y="123"/>
                  <a:pt x="163" y="130"/>
                  <a:pt x="143" y="130"/>
                </a:cubicBezTo>
                <a:cubicBezTo>
                  <a:pt x="122" y="130"/>
                  <a:pt x="110" y="123"/>
                  <a:pt x="110" y="119"/>
                </a:cubicBezTo>
                <a:cubicBezTo>
                  <a:pt x="110" y="115"/>
                  <a:pt x="122" y="107"/>
                  <a:pt x="143" y="107"/>
                </a:cubicBezTo>
                <a:close/>
                <a:moveTo>
                  <a:pt x="248" y="301"/>
                </a:moveTo>
                <a:cubicBezTo>
                  <a:pt x="228" y="301"/>
                  <a:pt x="163" y="388"/>
                  <a:pt x="163" y="432"/>
                </a:cubicBezTo>
                <a:cubicBezTo>
                  <a:pt x="163" y="479"/>
                  <a:pt x="201" y="517"/>
                  <a:pt x="248" y="517"/>
                </a:cubicBezTo>
                <a:cubicBezTo>
                  <a:pt x="295" y="517"/>
                  <a:pt x="333" y="479"/>
                  <a:pt x="333" y="432"/>
                </a:cubicBezTo>
                <a:cubicBezTo>
                  <a:pt x="333" y="388"/>
                  <a:pt x="268" y="301"/>
                  <a:pt x="248" y="301"/>
                </a:cubicBezTo>
                <a:close/>
                <a:moveTo>
                  <a:pt x="248" y="503"/>
                </a:moveTo>
                <a:cubicBezTo>
                  <a:pt x="209" y="503"/>
                  <a:pt x="177" y="471"/>
                  <a:pt x="177" y="432"/>
                </a:cubicBezTo>
                <a:cubicBezTo>
                  <a:pt x="177" y="393"/>
                  <a:pt x="234" y="320"/>
                  <a:pt x="248" y="315"/>
                </a:cubicBezTo>
                <a:cubicBezTo>
                  <a:pt x="262" y="320"/>
                  <a:pt x="319" y="393"/>
                  <a:pt x="319" y="432"/>
                </a:cubicBezTo>
                <a:cubicBezTo>
                  <a:pt x="319" y="471"/>
                  <a:pt x="287" y="503"/>
                  <a:pt x="248" y="50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69" name="Oval 8"/>
          <p:cNvSpPr>
            <a:spLocks noChangeArrowheads="1"/>
          </p:cNvSpPr>
          <p:nvPr/>
        </p:nvSpPr>
        <p:spPr bwMode="auto">
          <a:xfrm>
            <a:off x="7430588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7" name="Freeform 25"/>
          <p:cNvSpPr>
            <a:spLocks noEditPoints="1"/>
          </p:cNvSpPr>
          <p:nvPr/>
        </p:nvSpPr>
        <p:spPr bwMode="auto">
          <a:xfrm>
            <a:off x="7583972" y="2483649"/>
            <a:ext cx="517177" cy="444773"/>
          </a:xfrm>
          <a:custGeom>
            <a:avLst/>
            <a:gdLst>
              <a:gd name="T0" fmla="*/ 438 w 668"/>
              <a:gd name="T1" fmla="*/ 326 h 574"/>
              <a:gd name="T2" fmla="*/ 408 w 668"/>
              <a:gd name="T3" fmla="*/ 302 h 574"/>
              <a:gd name="T4" fmla="*/ 327 w 668"/>
              <a:gd name="T5" fmla="*/ 59 h 574"/>
              <a:gd name="T6" fmla="*/ 35 w 668"/>
              <a:gd name="T7" fmla="*/ 66 h 574"/>
              <a:gd name="T8" fmla="*/ 24 w 668"/>
              <a:gd name="T9" fmla="*/ 211 h 574"/>
              <a:gd name="T10" fmla="*/ 0 w 668"/>
              <a:gd name="T11" fmla="*/ 486 h 574"/>
              <a:gd name="T12" fmla="*/ 36 w 668"/>
              <a:gd name="T13" fmla="*/ 510 h 574"/>
              <a:gd name="T14" fmla="*/ 175 w 668"/>
              <a:gd name="T15" fmla="*/ 510 h 574"/>
              <a:gd name="T16" fmla="*/ 407 w 668"/>
              <a:gd name="T17" fmla="*/ 574 h 574"/>
              <a:gd name="T18" fmla="*/ 438 w 668"/>
              <a:gd name="T19" fmla="*/ 380 h 574"/>
              <a:gd name="T20" fmla="*/ 322 w 668"/>
              <a:gd name="T21" fmla="*/ 73 h 574"/>
              <a:gd name="T22" fmla="*/ 306 w 668"/>
              <a:gd name="T23" fmla="*/ 302 h 574"/>
              <a:gd name="T24" fmla="*/ 281 w 668"/>
              <a:gd name="T25" fmla="*/ 287 h 574"/>
              <a:gd name="T26" fmla="*/ 248 w 668"/>
              <a:gd name="T27" fmla="*/ 224 h 574"/>
              <a:gd name="T28" fmla="*/ 236 w 668"/>
              <a:gd name="T29" fmla="*/ 211 h 574"/>
              <a:gd name="T30" fmla="*/ 49 w 668"/>
              <a:gd name="T31" fmla="*/ 73 h 574"/>
              <a:gd name="T32" fmla="*/ 49 w 668"/>
              <a:gd name="T33" fmla="*/ 503 h 574"/>
              <a:gd name="T34" fmla="*/ 162 w 668"/>
              <a:gd name="T35" fmla="*/ 503 h 574"/>
              <a:gd name="T36" fmla="*/ 175 w 668"/>
              <a:gd name="T37" fmla="*/ 496 h 574"/>
              <a:gd name="T38" fmla="*/ 36 w 668"/>
              <a:gd name="T39" fmla="*/ 496 h 574"/>
              <a:gd name="T40" fmla="*/ 14 w 668"/>
              <a:gd name="T41" fmla="*/ 486 h 574"/>
              <a:gd name="T42" fmla="*/ 24 w 668"/>
              <a:gd name="T43" fmla="*/ 225 h 574"/>
              <a:gd name="T44" fmla="*/ 236 w 668"/>
              <a:gd name="T45" fmla="*/ 234 h 574"/>
              <a:gd name="T46" fmla="*/ 272 w 668"/>
              <a:gd name="T47" fmla="*/ 299 h 574"/>
              <a:gd name="T48" fmla="*/ 414 w 668"/>
              <a:gd name="T49" fmla="*/ 316 h 574"/>
              <a:gd name="T50" fmla="*/ 424 w 668"/>
              <a:gd name="T51" fmla="*/ 377 h 574"/>
              <a:gd name="T52" fmla="*/ 308 w 668"/>
              <a:gd name="T53" fmla="*/ 475 h 574"/>
              <a:gd name="T54" fmla="*/ 175 w 668"/>
              <a:gd name="T55" fmla="*/ 496 h 574"/>
              <a:gd name="T56" fmla="*/ 322 w 668"/>
              <a:gd name="T57" fmla="*/ 475 h 574"/>
              <a:gd name="T58" fmla="*/ 492 w 668"/>
              <a:gd name="T59" fmla="*/ 475 h 574"/>
              <a:gd name="T60" fmla="*/ 662 w 668"/>
              <a:gd name="T61" fmla="*/ 481 h 574"/>
              <a:gd name="T62" fmla="*/ 549 w 668"/>
              <a:gd name="T63" fmla="*/ 510 h 574"/>
              <a:gd name="T64" fmla="*/ 387 w 668"/>
              <a:gd name="T65" fmla="*/ 10 h 574"/>
              <a:gd name="T66" fmla="*/ 401 w 668"/>
              <a:gd name="T67" fmla="*/ 5 h 574"/>
              <a:gd name="T68" fmla="*/ 658 w 668"/>
              <a:gd name="T69" fmla="*/ 468 h 574"/>
              <a:gd name="T70" fmla="*/ 662 w 668"/>
              <a:gd name="T71" fmla="*/ 481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68" h="574">
                <a:moveTo>
                  <a:pt x="438" y="380"/>
                </a:moveTo>
                <a:cubicBezTo>
                  <a:pt x="438" y="326"/>
                  <a:pt x="438" y="326"/>
                  <a:pt x="438" y="326"/>
                </a:cubicBezTo>
                <a:cubicBezTo>
                  <a:pt x="438" y="313"/>
                  <a:pt x="427" y="302"/>
                  <a:pt x="414" y="302"/>
                </a:cubicBezTo>
                <a:cubicBezTo>
                  <a:pt x="408" y="302"/>
                  <a:pt x="408" y="302"/>
                  <a:pt x="408" y="302"/>
                </a:cubicBezTo>
                <a:cubicBezTo>
                  <a:pt x="334" y="64"/>
                  <a:pt x="334" y="64"/>
                  <a:pt x="334" y="64"/>
                </a:cubicBezTo>
                <a:cubicBezTo>
                  <a:pt x="333" y="61"/>
                  <a:pt x="330" y="59"/>
                  <a:pt x="327" y="59"/>
                </a:cubicBezTo>
                <a:cubicBezTo>
                  <a:pt x="42" y="59"/>
                  <a:pt x="42" y="59"/>
                  <a:pt x="42" y="59"/>
                </a:cubicBezTo>
                <a:cubicBezTo>
                  <a:pt x="38" y="59"/>
                  <a:pt x="35" y="62"/>
                  <a:pt x="35" y="66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4" y="211"/>
                  <a:pt x="24" y="211"/>
                  <a:pt x="24" y="211"/>
                </a:cubicBezTo>
                <a:cubicBezTo>
                  <a:pt x="11" y="211"/>
                  <a:pt x="0" y="221"/>
                  <a:pt x="0" y="235"/>
                </a:cubicBezTo>
                <a:cubicBezTo>
                  <a:pt x="0" y="486"/>
                  <a:pt x="0" y="486"/>
                  <a:pt x="0" y="486"/>
                </a:cubicBezTo>
                <a:cubicBezTo>
                  <a:pt x="0" y="500"/>
                  <a:pt x="11" y="510"/>
                  <a:pt x="24" y="510"/>
                </a:cubicBezTo>
                <a:cubicBezTo>
                  <a:pt x="36" y="510"/>
                  <a:pt x="36" y="510"/>
                  <a:pt x="36" y="510"/>
                </a:cubicBezTo>
                <a:cubicBezTo>
                  <a:pt x="39" y="546"/>
                  <a:pt x="69" y="574"/>
                  <a:pt x="105" y="574"/>
                </a:cubicBezTo>
                <a:cubicBezTo>
                  <a:pt x="142" y="574"/>
                  <a:pt x="172" y="546"/>
                  <a:pt x="175" y="510"/>
                </a:cubicBezTo>
                <a:cubicBezTo>
                  <a:pt x="315" y="510"/>
                  <a:pt x="315" y="510"/>
                  <a:pt x="315" y="510"/>
                </a:cubicBezTo>
                <a:cubicBezTo>
                  <a:pt x="329" y="547"/>
                  <a:pt x="365" y="574"/>
                  <a:pt x="407" y="574"/>
                </a:cubicBezTo>
                <a:cubicBezTo>
                  <a:pt x="462" y="574"/>
                  <a:pt x="506" y="529"/>
                  <a:pt x="506" y="475"/>
                </a:cubicBezTo>
                <a:cubicBezTo>
                  <a:pt x="506" y="431"/>
                  <a:pt x="477" y="393"/>
                  <a:pt x="438" y="380"/>
                </a:cubicBezTo>
                <a:close/>
                <a:moveTo>
                  <a:pt x="49" y="73"/>
                </a:moveTo>
                <a:cubicBezTo>
                  <a:pt x="322" y="73"/>
                  <a:pt x="322" y="73"/>
                  <a:pt x="322" y="73"/>
                </a:cubicBezTo>
                <a:cubicBezTo>
                  <a:pt x="393" y="302"/>
                  <a:pt x="393" y="302"/>
                  <a:pt x="393" y="302"/>
                </a:cubicBezTo>
                <a:cubicBezTo>
                  <a:pt x="306" y="302"/>
                  <a:pt x="306" y="302"/>
                  <a:pt x="306" y="302"/>
                </a:cubicBezTo>
                <a:cubicBezTo>
                  <a:pt x="297" y="302"/>
                  <a:pt x="287" y="297"/>
                  <a:pt x="284" y="292"/>
                </a:cubicBezTo>
                <a:cubicBezTo>
                  <a:pt x="281" y="287"/>
                  <a:pt x="281" y="287"/>
                  <a:pt x="281" y="287"/>
                </a:cubicBezTo>
                <a:cubicBezTo>
                  <a:pt x="273" y="272"/>
                  <a:pt x="251" y="233"/>
                  <a:pt x="248" y="227"/>
                </a:cubicBezTo>
                <a:cubicBezTo>
                  <a:pt x="248" y="227"/>
                  <a:pt x="248" y="226"/>
                  <a:pt x="248" y="224"/>
                </a:cubicBezTo>
                <a:cubicBezTo>
                  <a:pt x="248" y="222"/>
                  <a:pt x="249" y="218"/>
                  <a:pt x="246" y="214"/>
                </a:cubicBezTo>
                <a:cubicBezTo>
                  <a:pt x="243" y="211"/>
                  <a:pt x="238" y="211"/>
                  <a:pt x="236" y="211"/>
                </a:cubicBezTo>
                <a:cubicBezTo>
                  <a:pt x="49" y="211"/>
                  <a:pt x="49" y="211"/>
                  <a:pt x="49" y="211"/>
                </a:cubicBezTo>
                <a:lnTo>
                  <a:pt x="49" y="73"/>
                </a:lnTo>
                <a:close/>
                <a:moveTo>
                  <a:pt x="105" y="560"/>
                </a:moveTo>
                <a:cubicBezTo>
                  <a:pt x="75" y="560"/>
                  <a:pt x="49" y="534"/>
                  <a:pt x="49" y="503"/>
                </a:cubicBezTo>
                <a:cubicBezTo>
                  <a:pt x="49" y="472"/>
                  <a:pt x="75" y="447"/>
                  <a:pt x="105" y="447"/>
                </a:cubicBezTo>
                <a:cubicBezTo>
                  <a:pt x="136" y="447"/>
                  <a:pt x="162" y="472"/>
                  <a:pt x="162" y="503"/>
                </a:cubicBezTo>
                <a:cubicBezTo>
                  <a:pt x="162" y="534"/>
                  <a:pt x="136" y="560"/>
                  <a:pt x="105" y="560"/>
                </a:cubicBezTo>
                <a:close/>
                <a:moveTo>
                  <a:pt x="175" y="496"/>
                </a:moveTo>
                <a:cubicBezTo>
                  <a:pt x="172" y="461"/>
                  <a:pt x="142" y="433"/>
                  <a:pt x="105" y="433"/>
                </a:cubicBezTo>
                <a:cubicBezTo>
                  <a:pt x="69" y="433"/>
                  <a:pt x="39" y="461"/>
                  <a:pt x="36" y="496"/>
                </a:cubicBezTo>
                <a:cubicBezTo>
                  <a:pt x="24" y="496"/>
                  <a:pt x="24" y="496"/>
                  <a:pt x="24" y="496"/>
                </a:cubicBezTo>
                <a:cubicBezTo>
                  <a:pt x="18" y="496"/>
                  <a:pt x="14" y="492"/>
                  <a:pt x="14" y="486"/>
                </a:cubicBezTo>
                <a:cubicBezTo>
                  <a:pt x="14" y="235"/>
                  <a:pt x="14" y="235"/>
                  <a:pt x="14" y="235"/>
                </a:cubicBezTo>
                <a:cubicBezTo>
                  <a:pt x="14" y="229"/>
                  <a:pt x="18" y="225"/>
                  <a:pt x="24" y="225"/>
                </a:cubicBezTo>
                <a:cubicBezTo>
                  <a:pt x="234" y="225"/>
                  <a:pt x="234" y="225"/>
                  <a:pt x="234" y="225"/>
                </a:cubicBezTo>
                <a:cubicBezTo>
                  <a:pt x="234" y="227"/>
                  <a:pt x="234" y="231"/>
                  <a:pt x="236" y="234"/>
                </a:cubicBezTo>
                <a:cubicBezTo>
                  <a:pt x="239" y="240"/>
                  <a:pt x="260" y="279"/>
                  <a:pt x="269" y="294"/>
                </a:cubicBezTo>
                <a:cubicBezTo>
                  <a:pt x="272" y="299"/>
                  <a:pt x="272" y="299"/>
                  <a:pt x="272" y="299"/>
                </a:cubicBezTo>
                <a:cubicBezTo>
                  <a:pt x="278" y="311"/>
                  <a:pt x="295" y="316"/>
                  <a:pt x="306" y="316"/>
                </a:cubicBezTo>
                <a:cubicBezTo>
                  <a:pt x="414" y="316"/>
                  <a:pt x="414" y="316"/>
                  <a:pt x="414" y="316"/>
                </a:cubicBezTo>
                <a:cubicBezTo>
                  <a:pt x="419" y="316"/>
                  <a:pt x="424" y="320"/>
                  <a:pt x="424" y="326"/>
                </a:cubicBezTo>
                <a:cubicBezTo>
                  <a:pt x="424" y="377"/>
                  <a:pt x="424" y="377"/>
                  <a:pt x="424" y="377"/>
                </a:cubicBezTo>
                <a:cubicBezTo>
                  <a:pt x="418" y="376"/>
                  <a:pt x="413" y="375"/>
                  <a:pt x="407" y="375"/>
                </a:cubicBezTo>
                <a:cubicBezTo>
                  <a:pt x="352" y="375"/>
                  <a:pt x="308" y="420"/>
                  <a:pt x="308" y="475"/>
                </a:cubicBezTo>
                <a:cubicBezTo>
                  <a:pt x="308" y="482"/>
                  <a:pt x="309" y="489"/>
                  <a:pt x="311" y="496"/>
                </a:cubicBezTo>
                <a:lnTo>
                  <a:pt x="175" y="496"/>
                </a:lnTo>
                <a:close/>
                <a:moveTo>
                  <a:pt x="407" y="560"/>
                </a:moveTo>
                <a:cubicBezTo>
                  <a:pt x="360" y="560"/>
                  <a:pt x="322" y="521"/>
                  <a:pt x="322" y="475"/>
                </a:cubicBezTo>
                <a:cubicBezTo>
                  <a:pt x="322" y="428"/>
                  <a:pt x="360" y="389"/>
                  <a:pt x="407" y="389"/>
                </a:cubicBezTo>
                <a:cubicBezTo>
                  <a:pt x="454" y="389"/>
                  <a:pt x="492" y="428"/>
                  <a:pt x="492" y="475"/>
                </a:cubicBezTo>
                <a:cubicBezTo>
                  <a:pt x="492" y="521"/>
                  <a:pt x="454" y="560"/>
                  <a:pt x="407" y="560"/>
                </a:cubicBezTo>
                <a:close/>
                <a:moveTo>
                  <a:pt x="662" y="481"/>
                </a:moveTo>
                <a:cubicBezTo>
                  <a:pt x="551" y="510"/>
                  <a:pt x="551" y="510"/>
                  <a:pt x="551" y="510"/>
                </a:cubicBezTo>
                <a:cubicBezTo>
                  <a:pt x="550" y="510"/>
                  <a:pt x="550" y="510"/>
                  <a:pt x="549" y="510"/>
                </a:cubicBezTo>
                <a:cubicBezTo>
                  <a:pt x="546" y="510"/>
                  <a:pt x="543" y="509"/>
                  <a:pt x="542" y="506"/>
                </a:cubicBezTo>
                <a:cubicBezTo>
                  <a:pt x="387" y="10"/>
                  <a:pt x="387" y="10"/>
                  <a:pt x="387" y="10"/>
                </a:cubicBezTo>
                <a:cubicBezTo>
                  <a:pt x="386" y="6"/>
                  <a:pt x="388" y="2"/>
                  <a:pt x="392" y="1"/>
                </a:cubicBezTo>
                <a:cubicBezTo>
                  <a:pt x="395" y="0"/>
                  <a:pt x="399" y="2"/>
                  <a:pt x="401" y="5"/>
                </a:cubicBezTo>
                <a:cubicBezTo>
                  <a:pt x="554" y="495"/>
                  <a:pt x="554" y="495"/>
                  <a:pt x="554" y="495"/>
                </a:cubicBezTo>
                <a:cubicBezTo>
                  <a:pt x="658" y="468"/>
                  <a:pt x="658" y="468"/>
                  <a:pt x="658" y="468"/>
                </a:cubicBezTo>
                <a:cubicBezTo>
                  <a:pt x="662" y="467"/>
                  <a:pt x="666" y="469"/>
                  <a:pt x="667" y="473"/>
                </a:cubicBezTo>
                <a:cubicBezTo>
                  <a:pt x="668" y="476"/>
                  <a:pt x="665" y="480"/>
                  <a:pt x="662" y="48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77" name="Oval 15"/>
          <p:cNvSpPr>
            <a:spLocks noChangeArrowheads="1"/>
          </p:cNvSpPr>
          <p:nvPr/>
        </p:nvSpPr>
        <p:spPr bwMode="auto">
          <a:xfrm>
            <a:off x="4845101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8" name="Freeform 26"/>
          <p:cNvSpPr>
            <a:spLocks noEditPoints="1"/>
          </p:cNvSpPr>
          <p:nvPr/>
        </p:nvSpPr>
        <p:spPr bwMode="auto">
          <a:xfrm>
            <a:off x="4976854" y="1241695"/>
            <a:ext cx="560439" cy="558800"/>
          </a:xfrm>
          <a:custGeom>
            <a:avLst/>
            <a:gdLst>
              <a:gd name="T0" fmla="*/ 716 w 724"/>
              <a:gd name="T1" fmla="*/ 722 h 722"/>
              <a:gd name="T2" fmla="*/ 701 w 724"/>
              <a:gd name="T3" fmla="*/ 472 h 722"/>
              <a:gd name="T4" fmla="*/ 402 w 724"/>
              <a:gd name="T5" fmla="*/ 714 h 722"/>
              <a:gd name="T6" fmla="*/ 401 w 724"/>
              <a:gd name="T7" fmla="*/ 715 h 722"/>
              <a:gd name="T8" fmla="*/ 400 w 724"/>
              <a:gd name="T9" fmla="*/ 716 h 722"/>
              <a:gd name="T10" fmla="*/ 399 w 724"/>
              <a:gd name="T11" fmla="*/ 717 h 722"/>
              <a:gd name="T12" fmla="*/ 399 w 724"/>
              <a:gd name="T13" fmla="*/ 717 h 722"/>
              <a:gd name="T14" fmla="*/ 397 w 724"/>
              <a:gd name="T15" fmla="*/ 718 h 722"/>
              <a:gd name="T16" fmla="*/ 396 w 724"/>
              <a:gd name="T17" fmla="*/ 718 h 722"/>
              <a:gd name="T18" fmla="*/ 395 w 724"/>
              <a:gd name="T19" fmla="*/ 718 h 722"/>
              <a:gd name="T20" fmla="*/ 393 w 724"/>
              <a:gd name="T21" fmla="*/ 718 h 722"/>
              <a:gd name="T22" fmla="*/ 392 w 724"/>
              <a:gd name="T23" fmla="*/ 717 h 722"/>
              <a:gd name="T24" fmla="*/ 391 w 724"/>
              <a:gd name="T25" fmla="*/ 717 h 722"/>
              <a:gd name="T26" fmla="*/ 390 w 724"/>
              <a:gd name="T27" fmla="*/ 716 h 722"/>
              <a:gd name="T28" fmla="*/ 390 w 724"/>
              <a:gd name="T29" fmla="*/ 715 h 722"/>
              <a:gd name="T30" fmla="*/ 57 w 724"/>
              <a:gd name="T31" fmla="*/ 399 h 722"/>
              <a:gd name="T32" fmla="*/ 7 w 724"/>
              <a:gd name="T33" fmla="*/ 719 h 722"/>
              <a:gd name="T34" fmla="*/ 2 w 724"/>
              <a:gd name="T35" fmla="*/ 708 h 722"/>
              <a:gd name="T36" fmla="*/ 43 w 724"/>
              <a:gd name="T37" fmla="*/ 388 h 722"/>
              <a:gd name="T38" fmla="*/ 356 w 724"/>
              <a:gd name="T39" fmla="*/ 385 h 722"/>
              <a:gd name="T40" fmla="*/ 363 w 724"/>
              <a:gd name="T41" fmla="*/ 394 h 722"/>
              <a:gd name="T42" fmla="*/ 403 w 724"/>
              <a:gd name="T43" fmla="*/ 467 h 722"/>
              <a:gd name="T44" fmla="*/ 410 w 724"/>
              <a:gd name="T45" fmla="*/ 458 h 722"/>
              <a:gd name="T46" fmla="*/ 715 w 724"/>
              <a:gd name="T47" fmla="*/ 461 h 722"/>
              <a:gd name="T48" fmla="*/ 723 w 724"/>
              <a:gd name="T49" fmla="*/ 713 h 722"/>
              <a:gd name="T50" fmla="*/ 97 w 724"/>
              <a:gd name="T51" fmla="*/ 354 h 722"/>
              <a:gd name="T52" fmla="*/ 197 w 724"/>
              <a:gd name="T53" fmla="*/ 239 h 722"/>
              <a:gd name="T54" fmla="*/ 204 w 724"/>
              <a:gd name="T55" fmla="*/ 230 h 722"/>
              <a:gd name="T56" fmla="*/ 294 w 724"/>
              <a:gd name="T57" fmla="*/ 113 h 722"/>
              <a:gd name="T58" fmla="*/ 467 w 724"/>
              <a:gd name="T59" fmla="*/ 36 h 722"/>
              <a:gd name="T60" fmla="*/ 558 w 724"/>
              <a:gd name="T61" fmla="*/ 213 h 722"/>
              <a:gd name="T62" fmla="*/ 374 w 724"/>
              <a:gd name="T63" fmla="*/ 302 h 722"/>
              <a:gd name="T64" fmla="*/ 338 w 724"/>
              <a:gd name="T65" fmla="*/ 340 h 722"/>
              <a:gd name="T66" fmla="*/ 338 w 724"/>
              <a:gd name="T67" fmla="*/ 354 h 722"/>
              <a:gd name="T68" fmla="*/ 572 w 724"/>
              <a:gd name="T69" fmla="*/ 217 h 722"/>
              <a:gd name="T70" fmla="*/ 472 w 724"/>
              <a:gd name="T71" fmla="*/ 22 h 722"/>
              <a:gd name="T72" fmla="*/ 186 w 724"/>
              <a:gd name="T73" fmla="*/ 207 h 722"/>
              <a:gd name="T74" fmla="*/ 90 w 724"/>
              <a:gd name="T75" fmla="*/ 347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24" h="722">
                <a:moveTo>
                  <a:pt x="718" y="722"/>
                </a:moveTo>
                <a:cubicBezTo>
                  <a:pt x="717" y="722"/>
                  <a:pt x="717" y="722"/>
                  <a:pt x="716" y="722"/>
                </a:cubicBezTo>
                <a:cubicBezTo>
                  <a:pt x="713" y="722"/>
                  <a:pt x="710" y="721"/>
                  <a:pt x="709" y="718"/>
                </a:cubicBezTo>
                <a:cubicBezTo>
                  <a:pt x="686" y="648"/>
                  <a:pt x="683" y="559"/>
                  <a:pt x="701" y="472"/>
                </a:cubicBezTo>
                <a:cubicBezTo>
                  <a:pt x="419" y="472"/>
                  <a:pt x="419" y="472"/>
                  <a:pt x="419" y="472"/>
                </a:cubicBezTo>
                <a:cubicBezTo>
                  <a:pt x="440" y="555"/>
                  <a:pt x="434" y="642"/>
                  <a:pt x="402" y="714"/>
                </a:cubicBezTo>
                <a:cubicBezTo>
                  <a:pt x="402" y="714"/>
                  <a:pt x="402" y="714"/>
                  <a:pt x="401" y="714"/>
                </a:cubicBezTo>
                <a:cubicBezTo>
                  <a:pt x="401" y="714"/>
                  <a:pt x="401" y="715"/>
                  <a:pt x="401" y="715"/>
                </a:cubicBezTo>
                <a:cubicBezTo>
                  <a:pt x="401" y="715"/>
                  <a:pt x="401" y="715"/>
                  <a:pt x="401" y="715"/>
                </a:cubicBezTo>
                <a:cubicBezTo>
                  <a:pt x="401" y="715"/>
                  <a:pt x="400" y="716"/>
                  <a:pt x="400" y="716"/>
                </a:cubicBezTo>
                <a:cubicBezTo>
                  <a:pt x="400" y="716"/>
                  <a:pt x="400" y="716"/>
                  <a:pt x="400" y="716"/>
                </a:cubicBezTo>
                <a:cubicBezTo>
                  <a:pt x="400" y="716"/>
                  <a:pt x="399" y="717"/>
                  <a:pt x="399" y="717"/>
                </a:cubicBezTo>
                <a:cubicBezTo>
                  <a:pt x="399" y="717"/>
                  <a:pt x="399" y="717"/>
                  <a:pt x="399" y="717"/>
                </a:cubicBezTo>
                <a:cubicBezTo>
                  <a:pt x="399" y="717"/>
                  <a:pt x="399" y="717"/>
                  <a:pt x="399" y="717"/>
                </a:cubicBezTo>
                <a:cubicBezTo>
                  <a:pt x="398" y="717"/>
                  <a:pt x="398" y="717"/>
                  <a:pt x="398" y="717"/>
                </a:cubicBezTo>
                <a:cubicBezTo>
                  <a:pt x="398" y="717"/>
                  <a:pt x="398" y="717"/>
                  <a:pt x="397" y="718"/>
                </a:cubicBezTo>
                <a:cubicBezTo>
                  <a:pt x="397" y="718"/>
                  <a:pt x="397" y="718"/>
                  <a:pt x="397" y="718"/>
                </a:cubicBezTo>
                <a:cubicBezTo>
                  <a:pt x="396" y="718"/>
                  <a:pt x="396" y="718"/>
                  <a:pt x="396" y="718"/>
                </a:cubicBezTo>
                <a:cubicBezTo>
                  <a:pt x="396" y="718"/>
                  <a:pt x="396" y="718"/>
                  <a:pt x="395" y="718"/>
                </a:cubicBezTo>
                <a:cubicBezTo>
                  <a:pt x="395" y="718"/>
                  <a:pt x="395" y="718"/>
                  <a:pt x="395" y="718"/>
                </a:cubicBezTo>
                <a:cubicBezTo>
                  <a:pt x="394" y="718"/>
                  <a:pt x="394" y="718"/>
                  <a:pt x="394" y="718"/>
                </a:cubicBezTo>
                <a:cubicBezTo>
                  <a:pt x="394" y="718"/>
                  <a:pt x="394" y="718"/>
                  <a:pt x="393" y="718"/>
                </a:cubicBezTo>
                <a:cubicBezTo>
                  <a:pt x="393" y="718"/>
                  <a:pt x="393" y="717"/>
                  <a:pt x="393" y="717"/>
                </a:cubicBezTo>
                <a:cubicBezTo>
                  <a:pt x="393" y="717"/>
                  <a:pt x="393" y="717"/>
                  <a:pt x="392" y="717"/>
                </a:cubicBezTo>
                <a:cubicBezTo>
                  <a:pt x="392" y="717"/>
                  <a:pt x="392" y="717"/>
                  <a:pt x="392" y="717"/>
                </a:cubicBezTo>
                <a:cubicBezTo>
                  <a:pt x="392" y="717"/>
                  <a:pt x="392" y="717"/>
                  <a:pt x="391" y="717"/>
                </a:cubicBezTo>
                <a:cubicBezTo>
                  <a:pt x="391" y="717"/>
                  <a:pt x="391" y="716"/>
                  <a:pt x="391" y="716"/>
                </a:cubicBezTo>
                <a:cubicBezTo>
                  <a:pt x="391" y="716"/>
                  <a:pt x="391" y="716"/>
                  <a:pt x="390" y="716"/>
                </a:cubicBezTo>
                <a:cubicBezTo>
                  <a:pt x="390" y="716"/>
                  <a:pt x="390" y="715"/>
                  <a:pt x="390" y="715"/>
                </a:cubicBezTo>
                <a:cubicBezTo>
                  <a:pt x="390" y="715"/>
                  <a:pt x="390" y="715"/>
                  <a:pt x="390" y="715"/>
                </a:cubicBezTo>
                <a:cubicBezTo>
                  <a:pt x="337" y="641"/>
                  <a:pt x="321" y="523"/>
                  <a:pt x="347" y="399"/>
                </a:cubicBezTo>
                <a:cubicBezTo>
                  <a:pt x="57" y="399"/>
                  <a:pt x="57" y="399"/>
                  <a:pt x="57" y="399"/>
                </a:cubicBezTo>
                <a:cubicBezTo>
                  <a:pt x="82" y="522"/>
                  <a:pt x="66" y="643"/>
                  <a:pt x="13" y="716"/>
                </a:cubicBezTo>
                <a:cubicBezTo>
                  <a:pt x="12" y="718"/>
                  <a:pt x="10" y="719"/>
                  <a:pt x="7" y="719"/>
                </a:cubicBezTo>
                <a:cubicBezTo>
                  <a:pt x="6" y="719"/>
                  <a:pt x="5" y="719"/>
                  <a:pt x="3" y="718"/>
                </a:cubicBezTo>
                <a:cubicBezTo>
                  <a:pt x="0" y="716"/>
                  <a:pt x="0" y="711"/>
                  <a:pt x="2" y="708"/>
                </a:cubicBezTo>
                <a:cubicBezTo>
                  <a:pt x="53" y="636"/>
                  <a:pt x="68" y="515"/>
                  <a:pt x="41" y="394"/>
                </a:cubicBezTo>
                <a:cubicBezTo>
                  <a:pt x="41" y="392"/>
                  <a:pt x="41" y="390"/>
                  <a:pt x="43" y="388"/>
                </a:cubicBezTo>
                <a:cubicBezTo>
                  <a:pt x="44" y="386"/>
                  <a:pt x="46" y="385"/>
                  <a:pt x="48" y="385"/>
                </a:cubicBezTo>
                <a:cubicBezTo>
                  <a:pt x="356" y="385"/>
                  <a:pt x="356" y="385"/>
                  <a:pt x="356" y="385"/>
                </a:cubicBezTo>
                <a:cubicBezTo>
                  <a:pt x="358" y="385"/>
                  <a:pt x="360" y="386"/>
                  <a:pt x="361" y="388"/>
                </a:cubicBezTo>
                <a:cubicBezTo>
                  <a:pt x="363" y="390"/>
                  <a:pt x="363" y="392"/>
                  <a:pt x="363" y="394"/>
                </a:cubicBezTo>
                <a:cubicBezTo>
                  <a:pt x="336" y="511"/>
                  <a:pt x="348" y="623"/>
                  <a:pt x="394" y="696"/>
                </a:cubicBezTo>
                <a:cubicBezTo>
                  <a:pt x="421" y="627"/>
                  <a:pt x="424" y="544"/>
                  <a:pt x="403" y="467"/>
                </a:cubicBezTo>
                <a:cubicBezTo>
                  <a:pt x="402" y="465"/>
                  <a:pt x="403" y="463"/>
                  <a:pt x="404" y="461"/>
                </a:cubicBezTo>
                <a:cubicBezTo>
                  <a:pt x="405" y="459"/>
                  <a:pt x="407" y="458"/>
                  <a:pt x="410" y="458"/>
                </a:cubicBezTo>
                <a:cubicBezTo>
                  <a:pt x="710" y="458"/>
                  <a:pt x="710" y="458"/>
                  <a:pt x="710" y="458"/>
                </a:cubicBezTo>
                <a:cubicBezTo>
                  <a:pt x="712" y="458"/>
                  <a:pt x="714" y="459"/>
                  <a:pt x="715" y="461"/>
                </a:cubicBezTo>
                <a:cubicBezTo>
                  <a:pt x="717" y="462"/>
                  <a:pt x="717" y="464"/>
                  <a:pt x="717" y="467"/>
                </a:cubicBezTo>
                <a:cubicBezTo>
                  <a:pt x="697" y="554"/>
                  <a:pt x="699" y="644"/>
                  <a:pt x="723" y="713"/>
                </a:cubicBezTo>
                <a:cubicBezTo>
                  <a:pt x="724" y="717"/>
                  <a:pt x="722" y="721"/>
                  <a:pt x="718" y="722"/>
                </a:cubicBezTo>
                <a:close/>
                <a:moveTo>
                  <a:pt x="97" y="354"/>
                </a:moveTo>
                <a:cubicBezTo>
                  <a:pt x="100" y="354"/>
                  <a:pt x="104" y="351"/>
                  <a:pt x="104" y="347"/>
                </a:cubicBezTo>
                <a:cubicBezTo>
                  <a:pt x="104" y="280"/>
                  <a:pt x="140" y="239"/>
                  <a:pt x="197" y="239"/>
                </a:cubicBezTo>
                <a:cubicBezTo>
                  <a:pt x="200" y="239"/>
                  <a:pt x="202" y="238"/>
                  <a:pt x="203" y="236"/>
                </a:cubicBezTo>
                <a:cubicBezTo>
                  <a:pt x="204" y="234"/>
                  <a:pt x="205" y="232"/>
                  <a:pt x="204" y="230"/>
                </a:cubicBezTo>
                <a:cubicBezTo>
                  <a:pt x="202" y="222"/>
                  <a:pt x="200" y="214"/>
                  <a:pt x="200" y="207"/>
                </a:cubicBezTo>
                <a:cubicBezTo>
                  <a:pt x="200" y="155"/>
                  <a:pt x="242" y="113"/>
                  <a:pt x="294" y="113"/>
                </a:cubicBezTo>
                <a:cubicBezTo>
                  <a:pt x="297" y="113"/>
                  <a:pt x="300" y="111"/>
                  <a:pt x="301" y="108"/>
                </a:cubicBezTo>
                <a:cubicBezTo>
                  <a:pt x="327" y="34"/>
                  <a:pt x="404" y="15"/>
                  <a:pt x="467" y="36"/>
                </a:cubicBezTo>
                <a:cubicBezTo>
                  <a:pt x="485" y="41"/>
                  <a:pt x="501" y="50"/>
                  <a:pt x="515" y="62"/>
                </a:cubicBezTo>
                <a:cubicBezTo>
                  <a:pt x="559" y="99"/>
                  <a:pt x="576" y="158"/>
                  <a:pt x="558" y="213"/>
                </a:cubicBezTo>
                <a:cubicBezTo>
                  <a:pt x="535" y="286"/>
                  <a:pt x="455" y="325"/>
                  <a:pt x="380" y="301"/>
                </a:cubicBezTo>
                <a:cubicBezTo>
                  <a:pt x="378" y="300"/>
                  <a:pt x="375" y="301"/>
                  <a:pt x="374" y="302"/>
                </a:cubicBezTo>
                <a:cubicBezTo>
                  <a:pt x="372" y="303"/>
                  <a:pt x="371" y="306"/>
                  <a:pt x="371" y="308"/>
                </a:cubicBezTo>
                <a:cubicBezTo>
                  <a:pt x="371" y="326"/>
                  <a:pt x="357" y="340"/>
                  <a:pt x="338" y="340"/>
                </a:cubicBezTo>
                <a:cubicBezTo>
                  <a:pt x="335" y="340"/>
                  <a:pt x="331" y="343"/>
                  <a:pt x="331" y="347"/>
                </a:cubicBezTo>
                <a:cubicBezTo>
                  <a:pt x="331" y="351"/>
                  <a:pt x="335" y="354"/>
                  <a:pt x="338" y="354"/>
                </a:cubicBezTo>
                <a:cubicBezTo>
                  <a:pt x="361" y="354"/>
                  <a:pt x="380" y="338"/>
                  <a:pt x="384" y="317"/>
                </a:cubicBezTo>
                <a:cubicBezTo>
                  <a:pt x="464" y="338"/>
                  <a:pt x="547" y="295"/>
                  <a:pt x="572" y="217"/>
                </a:cubicBezTo>
                <a:cubicBezTo>
                  <a:pt x="591" y="157"/>
                  <a:pt x="572" y="92"/>
                  <a:pt x="524" y="51"/>
                </a:cubicBezTo>
                <a:cubicBezTo>
                  <a:pt x="508" y="38"/>
                  <a:pt x="491" y="29"/>
                  <a:pt x="472" y="22"/>
                </a:cubicBezTo>
                <a:cubicBezTo>
                  <a:pt x="404" y="0"/>
                  <a:pt x="320" y="20"/>
                  <a:pt x="289" y="99"/>
                </a:cubicBezTo>
                <a:cubicBezTo>
                  <a:pt x="232" y="102"/>
                  <a:pt x="186" y="149"/>
                  <a:pt x="186" y="207"/>
                </a:cubicBezTo>
                <a:cubicBezTo>
                  <a:pt x="186" y="213"/>
                  <a:pt x="187" y="219"/>
                  <a:pt x="188" y="225"/>
                </a:cubicBezTo>
                <a:cubicBezTo>
                  <a:pt x="128" y="229"/>
                  <a:pt x="90" y="276"/>
                  <a:pt x="90" y="347"/>
                </a:cubicBezTo>
                <a:cubicBezTo>
                  <a:pt x="90" y="351"/>
                  <a:pt x="93" y="354"/>
                  <a:pt x="97" y="35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78" name="Oval 16"/>
          <p:cNvSpPr>
            <a:spLocks noChangeArrowheads="1"/>
          </p:cNvSpPr>
          <p:nvPr/>
        </p:nvSpPr>
        <p:spPr bwMode="auto">
          <a:xfrm>
            <a:off x="3552358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9" name="Freeform 27"/>
          <p:cNvSpPr>
            <a:spLocks noEditPoints="1"/>
          </p:cNvSpPr>
          <p:nvPr/>
        </p:nvSpPr>
        <p:spPr bwMode="auto">
          <a:xfrm>
            <a:off x="3791609" y="1267259"/>
            <a:ext cx="344457" cy="536513"/>
          </a:xfrm>
          <a:custGeom>
            <a:avLst/>
            <a:gdLst>
              <a:gd name="T0" fmla="*/ 322 w 445"/>
              <a:gd name="T1" fmla="*/ 140 h 693"/>
              <a:gd name="T2" fmla="*/ 434 w 445"/>
              <a:gd name="T3" fmla="*/ 71 h 693"/>
              <a:gd name="T4" fmla="*/ 443 w 445"/>
              <a:gd name="T5" fmla="*/ 67 h 693"/>
              <a:gd name="T6" fmla="*/ 318 w 445"/>
              <a:gd name="T7" fmla="*/ 1 h 693"/>
              <a:gd name="T8" fmla="*/ 318 w 445"/>
              <a:gd name="T9" fmla="*/ 1 h 693"/>
              <a:gd name="T10" fmla="*/ 317 w 445"/>
              <a:gd name="T11" fmla="*/ 0 h 693"/>
              <a:gd name="T12" fmla="*/ 317 w 445"/>
              <a:gd name="T13" fmla="*/ 0 h 693"/>
              <a:gd name="T14" fmla="*/ 315 w 445"/>
              <a:gd name="T15" fmla="*/ 0 h 693"/>
              <a:gd name="T16" fmla="*/ 315 w 445"/>
              <a:gd name="T17" fmla="*/ 0 h 693"/>
              <a:gd name="T18" fmla="*/ 129 w 445"/>
              <a:gd name="T19" fmla="*/ 0 h 693"/>
              <a:gd name="T20" fmla="*/ 129 w 445"/>
              <a:gd name="T21" fmla="*/ 0 h 693"/>
              <a:gd name="T22" fmla="*/ 128 w 445"/>
              <a:gd name="T23" fmla="*/ 0 h 693"/>
              <a:gd name="T24" fmla="*/ 127 w 445"/>
              <a:gd name="T25" fmla="*/ 0 h 693"/>
              <a:gd name="T26" fmla="*/ 127 w 445"/>
              <a:gd name="T27" fmla="*/ 1 h 693"/>
              <a:gd name="T28" fmla="*/ 5 w 445"/>
              <a:gd name="T29" fmla="*/ 58 h 693"/>
              <a:gd name="T30" fmla="*/ 8 w 445"/>
              <a:gd name="T31" fmla="*/ 71 h 693"/>
              <a:gd name="T32" fmla="*/ 123 w 445"/>
              <a:gd name="T33" fmla="*/ 18 h 693"/>
              <a:gd name="T34" fmla="*/ 5 w 445"/>
              <a:gd name="T35" fmla="*/ 195 h 693"/>
              <a:gd name="T36" fmla="*/ 8 w 445"/>
              <a:gd name="T37" fmla="*/ 208 h 693"/>
              <a:gd name="T38" fmla="*/ 123 w 445"/>
              <a:gd name="T39" fmla="*/ 155 h 693"/>
              <a:gd name="T40" fmla="*/ 21 w 445"/>
              <a:gd name="T41" fmla="*/ 684 h 693"/>
              <a:gd name="T42" fmla="*/ 28 w 445"/>
              <a:gd name="T43" fmla="*/ 693 h 693"/>
              <a:gd name="T44" fmla="*/ 222 w 445"/>
              <a:gd name="T45" fmla="*/ 424 h 693"/>
              <a:gd name="T46" fmla="*/ 417 w 445"/>
              <a:gd name="T47" fmla="*/ 693 h 693"/>
              <a:gd name="T48" fmla="*/ 423 w 445"/>
              <a:gd name="T49" fmla="*/ 684 h 693"/>
              <a:gd name="T50" fmla="*/ 322 w 445"/>
              <a:gd name="T51" fmla="*/ 155 h 693"/>
              <a:gd name="T52" fmla="*/ 437 w 445"/>
              <a:gd name="T53" fmla="*/ 208 h 693"/>
              <a:gd name="T54" fmla="*/ 440 w 445"/>
              <a:gd name="T55" fmla="*/ 195 h 693"/>
              <a:gd name="T56" fmla="*/ 214 w 445"/>
              <a:gd name="T57" fmla="*/ 144 h 693"/>
              <a:gd name="T58" fmla="*/ 137 w 445"/>
              <a:gd name="T59" fmla="*/ 30 h 693"/>
              <a:gd name="T60" fmla="*/ 302 w 445"/>
              <a:gd name="T61" fmla="*/ 14 h 693"/>
              <a:gd name="T62" fmla="*/ 143 w 445"/>
              <a:gd name="T63" fmla="*/ 14 h 693"/>
              <a:gd name="T64" fmla="*/ 302 w 445"/>
              <a:gd name="T65" fmla="*/ 274 h 693"/>
              <a:gd name="T66" fmla="*/ 222 w 445"/>
              <a:gd name="T67" fmla="*/ 156 h 693"/>
              <a:gd name="T68" fmla="*/ 222 w 445"/>
              <a:gd name="T69" fmla="*/ 400 h 693"/>
              <a:gd name="T70" fmla="*/ 302 w 445"/>
              <a:gd name="T71" fmla="*/ 288 h 693"/>
              <a:gd name="T72" fmla="*/ 308 w 445"/>
              <a:gd name="T73" fmla="*/ 30 h 693"/>
              <a:gd name="T74" fmla="*/ 231 w 445"/>
              <a:gd name="T75" fmla="*/ 144 h 693"/>
              <a:gd name="T76" fmla="*/ 133 w 445"/>
              <a:gd name="T77" fmla="*/ 297 h 693"/>
              <a:gd name="T78" fmla="*/ 44 w 445"/>
              <a:gd name="T79" fmla="*/ 651 h 693"/>
              <a:gd name="T80" fmla="*/ 312 w 445"/>
              <a:gd name="T81" fmla="*/ 297 h 693"/>
              <a:gd name="T82" fmla="*/ 231 w 445"/>
              <a:gd name="T83" fmla="*/ 412 h 6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45" h="693">
                <a:moveTo>
                  <a:pt x="440" y="195"/>
                </a:moveTo>
                <a:cubicBezTo>
                  <a:pt x="322" y="140"/>
                  <a:pt x="322" y="140"/>
                  <a:pt x="322" y="140"/>
                </a:cubicBezTo>
                <a:cubicBezTo>
                  <a:pt x="322" y="18"/>
                  <a:pt x="322" y="18"/>
                  <a:pt x="322" y="18"/>
                </a:cubicBezTo>
                <a:cubicBezTo>
                  <a:pt x="434" y="71"/>
                  <a:pt x="434" y="71"/>
                  <a:pt x="434" y="71"/>
                </a:cubicBezTo>
                <a:cubicBezTo>
                  <a:pt x="435" y="71"/>
                  <a:pt x="436" y="71"/>
                  <a:pt x="437" y="71"/>
                </a:cubicBezTo>
                <a:cubicBezTo>
                  <a:pt x="439" y="71"/>
                  <a:pt x="442" y="70"/>
                  <a:pt x="443" y="67"/>
                </a:cubicBezTo>
                <a:cubicBezTo>
                  <a:pt x="445" y="64"/>
                  <a:pt x="443" y="60"/>
                  <a:pt x="440" y="58"/>
                </a:cubicBezTo>
                <a:cubicBezTo>
                  <a:pt x="318" y="1"/>
                  <a:pt x="318" y="1"/>
                  <a:pt x="318" y="1"/>
                </a:cubicBezTo>
                <a:cubicBezTo>
                  <a:pt x="318" y="1"/>
                  <a:pt x="318" y="1"/>
                  <a:pt x="318" y="1"/>
                </a:cubicBezTo>
                <a:cubicBezTo>
                  <a:pt x="318" y="1"/>
                  <a:pt x="318" y="1"/>
                  <a:pt x="318" y="1"/>
                </a:cubicBezTo>
                <a:cubicBezTo>
                  <a:pt x="318" y="0"/>
                  <a:pt x="318" y="0"/>
                  <a:pt x="317" y="0"/>
                </a:cubicBezTo>
                <a:cubicBezTo>
                  <a:pt x="317" y="0"/>
                  <a:pt x="317" y="0"/>
                  <a:pt x="317" y="0"/>
                </a:cubicBezTo>
                <a:cubicBezTo>
                  <a:pt x="317" y="0"/>
                  <a:pt x="317" y="0"/>
                  <a:pt x="317" y="0"/>
                </a:cubicBezTo>
                <a:cubicBezTo>
                  <a:pt x="317" y="0"/>
                  <a:pt x="317" y="0"/>
                  <a:pt x="317" y="0"/>
                </a:cubicBezTo>
                <a:cubicBezTo>
                  <a:pt x="316" y="0"/>
                  <a:pt x="316" y="0"/>
                  <a:pt x="316" y="0"/>
                </a:cubicBezTo>
                <a:cubicBezTo>
                  <a:pt x="316" y="0"/>
                  <a:pt x="316" y="0"/>
                  <a:pt x="315" y="0"/>
                </a:cubicBezTo>
                <a:cubicBezTo>
                  <a:pt x="315" y="0"/>
                  <a:pt x="315" y="0"/>
                  <a:pt x="315" y="0"/>
                </a:cubicBezTo>
                <a:cubicBezTo>
                  <a:pt x="315" y="0"/>
                  <a:pt x="315" y="0"/>
                  <a:pt x="315" y="0"/>
                </a:cubicBezTo>
                <a:cubicBezTo>
                  <a:pt x="130" y="0"/>
                  <a:pt x="130" y="0"/>
                  <a:pt x="130" y="0"/>
                </a:cubicBezTo>
                <a:cubicBezTo>
                  <a:pt x="130" y="0"/>
                  <a:pt x="129" y="0"/>
                  <a:pt x="129" y="0"/>
                </a:cubicBezTo>
                <a:cubicBezTo>
                  <a:pt x="129" y="0"/>
                  <a:pt x="129" y="0"/>
                  <a:pt x="129" y="0"/>
                </a:cubicBezTo>
                <a:cubicBezTo>
                  <a:pt x="129" y="0"/>
                  <a:pt x="129" y="0"/>
                  <a:pt x="129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28" y="0"/>
                  <a:pt x="128" y="0"/>
                  <a:pt x="127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127" y="0"/>
                  <a:pt x="127" y="0"/>
                  <a:pt x="127" y="1"/>
                </a:cubicBezTo>
                <a:cubicBezTo>
                  <a:pt x="127" y="1"/>
                  <a:pt x="127" y="1"/>
                  <a:pt x="127" y="1"/>
                </a:cubicBezTo>
                <a:cubicBezTo>
                  <a:pt x="127" y="1"/>
                  <a:pt x="127" y="1"/>
                  <a:pt x="127" y="1"/>
                </a:cubicBezTo>
                <a:cubicBezTo>
                  <a:pt x="5" y="58"/>
                  <a:pt x="5" y="58"/>
                  <a:pt x="5" y="58"/>
                </a:cubicBezTo>
                <a:cubicBezTo>
                  <a:pt x="1" y="60"/>
                  <a:pt x="0" y="64"/>
                  <a:pt x="2" y="67"/>
                </a:cubicBezTo>
                <a:cubicBezTo>
                  <a:pt x="3" y="70"/>
                  <a:pt x="5" y="71"/>
                  <a:pt x="8" y="71"/>
                </a:cubicBezTo>
                <a:cubicBezTo>
                  <a:pt x="9" y="71"/>
                  <a:pt x="10" y="71"/>
                  <a:pt x="11" y="71"/>
                </a:cubicBezTo>
                <a:cubicBezTo>
                  <a:pt x="123" y="18"/>
                  <a:pt x="123" y="18"/>
                  <a:pt x="123" y="18"/>
                </a:cubicBezTo>
                <a:cubicBezTo>
                  <a:pt x="123" y="140"/>
                  <a:pt x="123" y="140"/>
                  <a:pt x="123" y="140"/>
                </a:cubicBezTo>
                <a:cubicBezTo>
                  <a:pt x="5" y="195"/>
                  <a:pt x="5" y="195"/>
                  <a:pt x="5" y="195"/>
                </a:cubicBezTo>
                <a:cubicBezTo>
                  <a:pt x="1" y="197"/>
                  <a:pt x="0" y="201"/>
                  <a:pt x="2" y="204"/>
                </a:cubicBezTo>
                <a:cubicBezTo>
                  <a:pt x="3" y="207"/>
                  <a:pt x="5" y="208"/>
                  <a:pt x="8" y="208"/>
                </a:cubicBezTo>
                <a:cubicBezTo>
                  <a:pt x="9" y="208"/>
                  <a:pt x="10" y="208"/>
                  <a:pt x="11" y="208"/>
                </a:cubicBezTo>
                <a:cubicBezTo>
                  <a:pt x="123" y="155"/>
                  <a:pt x="123" y="155"/>
                  <a:pt x="123" y="155"/>
                </a:cubicBezTo>
                <a:cubicBezTo>
                  <a:pt x="123" y="280"/>
                  <a:pt x="123" y="280"/>
                  <a:pt x="123" y="280"/>
                </a:cubicBezTo>
                <a:cubicBezTo>
                  <a:pt x="21" y="684"/>
                  <a:pt x="21" y="684"/>
                  <a:pt x="21" y="684"/>
                </a:cubicBezTo>
                <a:cubicBezTo>
                  <a:pt x="21" y="687"/>
                  <a:pt x="22" y="691"/>
                  <a:pt x="25" y="692"/>
                </a:cubicBezTo>
                <a:cubicBezTo>
                  <a:pt x="26" y="693"/>
                  <a:pt x="27" y="693"/>
                  <a:pt x="28" y="693"/>
                </a:cubicBezTo>
                <a:cubicBezTo>
                  <a:pt x="30" y="693"/>
                  <a:pt x="33" y="692"/>
                  <a:pt x="34" y="690"/>
                </a:cubicBezTo>
                <a:cubicBezTo>
                  <a:pt x="222" y="424"/>
                  <a:pt x="222" y="424"/>
                  <a:pt x="222" y="424"/>
                </a:cubicBezTo>
                <a:cubicBezTo>
                  <a:pt x="411" y="690"/>
                  <a:pt x="411" y="690"/>
                  <a:pt x="411" y="690"/>
                </a:cubicBezTo>
                <a:cubicBezTo>
                  <a:pt x="412" y="692"/>
                  <a:pt x="414" y="693"/>
                  <a:pt x="417" y="693"/>
                </a:cubicBezTo>
                <a:cubicBezTo>
                  <a:pt x="418" y="693"/>
                  <a:pt x="419" y="693"/>
                  <a:pt x="420" y="692"/>
                </a:cubicBezTo>
                <a:cubicBezTo>
                  <a:pt x="423" y="691"/>
                  <a:pt x="424" y="687"/>
                  <a:pt x="423" y="684"/>
                </a:cubicBezTo>
                <a:cubicBezTo>
                  <a:pt x="322" y="280"/>
                  <a:pt x="322" y="280"/>
                  <a:pt x="322" y="280"/>
                </a:cubicBezTo>
                <a:cubicBezTo>
                  <a:pt x="322" y="155"/>
                  <a:pt x="322" y="155"/>
                  <a:pt x="322" y="155"/>
                </a:cubicBezTo>
                <a:cubicBezTo>
                  <a:pt x="434" y="208"/>
                  <a:pt x="434" y="208"/>
                  <a:pt x="434" y="208"/>
                </a:cubicBezTo>
                <a:cubicBezTo>
                  <a:pt x="435" y="208"/>
                  <a:pt x="436" y="208"/>
                  <a:pt x="437" y="208"/>
                </a:cubicBezTo>
                <a:cubicBezTo>
                  <a:pt x="439" y="208"/>
                  <a:pt x="442" y="207"/>
                  <a:pt x="443" y="204"/>
                </a:cubicBezTo>
                <a:cubicBezTo>
                  <a:pt x="445" y="201"/>
                  <a:pt x="443" y="197"/>
                  <a:pt x="440" y="195"/>
                </a:cubicBezTo>
                <a:close/>
                <a:moveTo>
                  <a:pt x="137" y="30"/>
                </a:moveTo>
                <a:cubicBezTo>
                  <a:pt x="214" y="144"/>
                  <a:pt x="214" y="144"/>
                  <a:pt x="214" y="144"/>
                </a:cubicBezTo>
                <a:cubicBezTo>
                  <a:pt x="137" y="258"/>
                  <a:pt x="137" y="258"/>
                  <a:pt x="137" y="258"/>
                </a:cubicBezTo>
                <a:lnTo>
                  <a:pt x="137" y="30"/>
                </a:lnTo>
                <a:close/>
                <a:moveTo>
                  <a:pt x="143" y="14"/>
                </a:moveTo>
                <a:cubicBezTo>
                  <a:pt x="302" y="14"/>
                  <a:pt x="302" y="14"/>
                  <a:pt x="302" y="14"/>
                </a:cubicBezTo>
                <a:cubicBezTo>
                  <a:pt x="222" y="131"/>
                  <a:pt x="222" y="131"/>
                  <a:pt x="222" y="131"/>
                </a:cubicBezTo>
                <a:lnTo>
                  <a:pt x="143" y="14"/>
                </a:lnTo>
                <a:close/>
                <a:moveTo>
                  <a:pt x="222" y="156"/>
                </a:moveTo>
                <a:cubicBezTo>
                  <a:pt x="302" y="274"/>
                  <a:pt x="302" y="274"/>
                  <a:pt x="302" y="274"/>
                </a:cubicBezTo>
                <a:cubicBezTo>
                  <a:pt x="143" y="274"/>
                  <a:pt x="143" y="274"/>
                  <a:pt x="143" y="274"/>
                </a:cubicBezTo>
                <a:lnTo>
                  <a:pt x="222" y="156"/>
                </a:lnTo>
                <a:close/>
                <a:moveTo>
                  <a:pt x="302" y="288"/>
                </a:moveTo>
                <a:cubicBezTo>
                  <a:pt x="222" y="400"/>
                  <a:pt x="222" y="400"/>
                  <a:pt x="222" y="400"/>
                </a:cubicBezTo>
                <a:cubicBezTo>
                  <a:pt x="143" y="288"/>
                  <a:pt x="143" y="288"/>
                  <a:pt x="143" y="288"/>
                </a:cubicBezTo>
                <a:lnTo>
                  <a:pt x="302" y="288"/>
                </a:lnTo>
                <a:close/>
                <a:moveTo>
                  <a:pt x="231" y="144"/>
                </a:moveTo>
                <a:cubicBezTo>
                  <a:pt x="308" y="30"/>
                  <a:pt x="308" y="30"/>
                  <a:pt x="308" y="30"/>
                </a:cubicBezTo>
                <a:cubicBezTo>
                  <a:pt x="308" y="258"/>
                  <a:pt x="308" y="258"/>
                  <a:pt x="308" y="258"/>
                </a:cubicBezTo>
                <a:lnTo>
                  <a:pt x="231" y="144"/>
                </a:lnTo>
                <a:close/>
                <a:moveTo>
                  <a:pt x="44" y="651"/>
                </a:moveTo>
                <a:cubicBezTo>
                  <a:pt x="133" y="297"/>
                  <a:pt x="133" y="297"/>
                  <a:pt x="133" y="297"/>
                </a:cubicBezTo>
                <a:cubicBezTo>
                  <a:pt x="214" y="412"/>
                  <a:pt x="214" y="412"/>
                  <a:pt x="214" y="412"/>
                </a:cubicBezTo>
                <a:lnTo>
                  <a:pt x="44" y="651"/>
                </a:lnTo>
                <a:close/>
                <a:moveTo>
                  <a:pt x="231" y="412"/>
                </a:moveTo>
                <a:cubicBezTo>
                  <a:pt x="312" y="297"/>
                  <a:pt x="312" y="297"/>
                  <a:pt x="312" y="297"/>
                </a:cubicBezTo>
                <a:cubicBezTo>
                  <a:pt x="401" y="651"/>
                  <a:pt x="401" y="651"/>
                  <a:pt x="401" y="651"/>
                </a:cubicBezTo>
                <a:lnTo>
                  <a:pt x="231" y="41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3" name="Oval 21"/>
          <p:cNvSpPr>
            <a:spLocks noChangeArrowheads="1"/>
          </p:cNvSpPr>
          <p:nvPr/>
        </p:nvSpPr>
        <p:spPr bwMode="auto">
          <a:xfrm>
            <a:off x="2259614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1" name="Freeform 29"/>
          <p:cNvSpPr>
            <a:spLocks noEditPoints="1"/>
          </p:cNvSpPr>
          <p:nvPr/>
        </p:nvSpPr>
        <p:spPr bwMode="auto">
          <a:xfrm>
            <a:off x="2382944" y="1242351"/>
            <a:ext cx="563182" cy="586003"/>
          </a:xfrm>
          <a:custGeom>
            <a:avLst/>
            <a:gdLst>
              <a:gd name="T0" fmla="*/ 433 w 727"/>
              <a:gd name="T1" fmla="*/ 370 h 757"/>
              <a:gd name="T2" fmla="*/ 436 w 727"/>
              <a:gd name="T3" fmla="*/ 199 h 757"/>
              <a:gd name="T4" fmla="*/ 284 w 727"/>
              <a:gd name="T5" fmla="*/ 199 h 757"/>
              <a:gd name="T6" fmla="*/ 287 w 727"/>
              <a:gd name="T7" fmla="*/ 370 h 757"/>
              <a:gd name="T8" fmla="*/ 21 w 727"/>
              <a:gd name="T9" fmla="*/ 587 h 757"/>
              <a:gd name="T10" fmla="*/ 232 w 727"/>
              <a:gd name="T11" fmla="*/ 553 h 757"/>
              <a:gd name="T12" fmla="*/ 360 w 727"/>
              <a:gd name="T13" fmla="*/ 468 h 757"/>
              <a:gd name="T14" fmla="*/ 489 w 727"/>
              <a:gd name="T15" fmla="*/ 553 h 757"/>
              <a:gd name="T16" fmla="*/ 699 w 727"/>
              <a:gd name="T17" fmla="*/ 587 h 757"/>
              <a:gd name="T18" fmla="*/ 360 w 727"/>
              <a:gd name="T19" fmla="*/ 14 h 757"/>
              <a:gd name="T20" fmla="*/ 404 w 727"/>
              <a:gd name="T21" fmla="*/ 329 h 757"/>
              <a:gd name="T22" fmla="*/ 317 w 727"/>
              <a:gd name="T23" fmla="*/ 329 h 757"/>
              <a:gd name="T24" fmla="*/ 360 w 727"/>
              <a:gd name="T25" fmla="*/ 14 h 757"/>
              <a:gd name="T26" fmla="*/ 33 w 727"/>
              <a:gd name="T27" fmla="*/ 580 h 757"/>
              <a:gd name="T28" fmla="*/ 284 w 727"/>
              <a:gd name="T29" fmla="*/ 385 h 757"/>
              <a:gd name="T30" fmla="*/ 328 w 727"/>
              <a:gd name="T31" fmla="*/ 460 h 757"/>
              <a:gd name="T32" fmla="*/ 298 w 727"/>
              <a:gd name="T33" fmla="*/ 391 h 757"/>
              <a:gd name="T34" fmla="*/ 422 w 727"/>
              <a:gd name="T35" fmla="*/ 391 h 757"/>
              <a:gd name="T36" fmla="*/ 379 w 727"/>
              <a:gd name="T37" fmla="*/ 451 h 757"/>
              <a:gd name="T38" fmla="*/ 298 w 727"/>
              <a:gd name="T39" fmla="*/ 391 h 757"/>
              <a:gd name="T40" fmla="*/ 496 w 727"/>
              <a:gd name="T41" fmla="*/ 541 h 757"/>
              <a:gd name="T42" fmla="*/ 436 w 727"/>
              <a:gd name="T43" fmla="*/ 391 h 757"/>
              <a:gd name="T44" fmla="*/ 558 w 727"/>
              <a:gd name="T45" fmla="*/ 434 h 757"/>
              <a:gd name="T46" fmla="*/ 201 w 727"/>
              <a:gd name="T47" fmla="*/ 607 h 757"/>
              <a:gd name="T48" fmla="*/ 209 w 727"/>
              <a:gd name="T49" fmla="*/ 595 h 757"/>
              <a:gd name="T50" fmla="*/ 301 w 727"/>
              <a:gd name="T51" fmla="*/ 645 h 757"/>
              <a:gd name="T52" fmla="*/ 293 w 727"/>
              <a:gd name="T53" fmla="*/ 650 h 757"/>
              <a:gd name="T54" fmla="*/ 605 w 727"/>
              <a:gd name="T55" fmla="*/ 324 h 757"/>
              <a:gd name="T56" fmla="*/ 618 w 727"/>
              <a:gd name="T57" fmla="*/ 320 h 757"/>
              <a:gd name="T58" fmla="*/ 626 w 727"/>
              <a:gd name="T59" fmla="*/ 422 h 757"/>
              <a:gd name="T60" fmla="*/ 618 w 727"/>
              <a:gd name="T61" fmla="*/ 428 h 757"/>
              <a:gd name="T62" fmla="*/ 614 w 727"/>
              <a:gd name="T63" fmla="*/ 391 h 757"/>
              <a:gd name="T64" fmla="*/ 263 w 727"/>
              <a:gd name="T65" fmla="*/ 150 h 757"/>
              <a:gd name="T66" fmla="*/ 180 w 727"/>
              <a:gd name="T67" fmla="*/ 213 h 757"/>
              <a:gd name="T68" fmla="*/ 170 w 727"/>
              <a:gd name="T69" fmla="*/ 214 h 757"/>
              <a:gd name="T70" fmla="*/ 253 w 727"/>
              <a:gd name="T71" fmla="*/ 146 h 757"/>
              <a:gd name="T72" fmla="*/ 62 w 727"/>
              <a:gd name="T73" fmla="*/ 178 h 757"/>
              <a:gd name="T74" fmla="*/ 287 w 727"/>
              <a:gd name="T75" fmla="*/ 39 h 757"/>
              <a:gd name="T76" fmla="*/ 73 w 727"/>
              <a:gd name="T77" fmla="*/ 186 h 757"/>
              <a:gd name="T78" fmla="*/ 63 w 727"/>
              <a:gd name="T79" fmla="*/ 188 h 757"/>
              <a:gd name="T80" fmla="*/ 332 w 727"/>
              <a:gd name="T81" fmla="*/ 750 h 757"/>
              <a:gd name="T82" fmla="*/ 325 w 727"/>
              <a:gd name="T83" fmla="*/ 757 h 757"/>
              <a:gd name="T84" fmla="*/ 91 w 727"/>
              <a:gd name="T85" fmla="*/ 631 h 757"/>
              <a:gd name="T86" fmla="*/ 326 w 727"/>
              <a:gd name="T87" fmla="*/ 743 h 757"/>
              <a:gd name="T88" fmla="*/ 727 w 727"/>
              <a:gd name="T89" fmla="*/ 391 h 757"/>
              <a:gd name="T90" fmla="*/ 704 w 727"/>
              <a:gd name="T91" fmla="*/ 505 h 757"/>
              <a:gd name="T92" fmla="*/ 697 w 727"/>
              <a:gd name="T93" fmla="*/ 496 h 757"/>
              <a:gd name="T94" fmla="*/ 682 w 727"/>
              <a:gd name="T95" fmla="*/ 245 h 757"/>
              <a:gd name="T96" fmla="*/ 694 w 727"/>
              <a:gd name="T97" fmla="*/ 239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27" h="757">
                <a:moveTo>
                  <a:pt x="565" y="422"/>
                </a:moveTo>
                <a:cubicBezTo>
                  <a:pt x="519" y="395"/>
                  <a:pt x="472" y="377"/>
                  <a:pt x="433" y="370"/>
                </a:cubicBezTo>
                <a:cubicBezTo>
                  <a:pt x="430" y="358"/>
                  <a:pt x="424" y="348"/>
                  <a:pt x="415" y="339"/>
                </a:cubicBezTo>
                <a:cubicBezTo>
                  <a:pt x="429" y="302"/>
                  <a:pt x="436" y="253"/>
                  <a:pt x="436" y="199"/>
                </a:cubicBezTo>
                <a:cubicBezTo>
                  <a:pt x="436" y="88"/>
                  <a:pt x="403" y="0"/>
                  <a:pt x="360" y="0"/>
                </a:cubicBezTo>
                <a:cubicBezTo>
                  <a:pt x="318" y="0"/>
                  <a:pt x="284" y="88"/>
                  <a:pt x="284" y="199"/>
                </a:cubicBezTo>
                <a:cubicBezTo>
                  <a:pt x="284" y="253"/>
                  <a:pt x="292" y="302"/>
                  <a:pt x="305" y="339"/>
                </a:cubicBezTo>
                <a:cubicBezTo>
                  <a:pt x="297" y="348"/>
                  <a:pt x="291" y="358"/>
                  <a:pt x="287" y="370"/>
                </a:cubicBezTo>
                <a:cubicBezTo>
                  <a:pt x="248" y="377"/>
                  <a:pt x="202" y="395"/>
                  <a:pt x="156" y="422"/>
                </a:cubicBezTo>
                <a:cubicBezTo>
                  <a:pt x="59" y="478"/>
                  <a:pt x="0" y="550"/>
                  <a:pt x="21" y="587"/>
                </a:cubicBezTo>
                <a:cubicBezTo>
                  <a:pt x="29" y="601"/>
                  <a:pt x="47" y="608"/>
                  <a:pt x="71" y="608"/>
                </a:cubicBezTo>
                <a:cubicBezTo>
                  <a:pt x="112" y="608"/>
                  <a:pt x="171" y="589"/>
                  <a:pt x="232" y="553"/>
                </a:cubicBezTo>
                <a:cubicBezTo>
                  <a:pt x="278" y="527"/>
                  <a:pt x="317" y="496"/>
                  <a:pt x="342" y="465"/>
                </a:cubicBezTo>
                <a:cubicBezTo>
                  <a:pt x="348" y="467"/>
                  <a:pt x="354" y="468"/>
                  <a:pt x="360" y="468"/>
                </a:cubicBezTo>
                <a:cubicBezTo>
                  <a:pt x="366" y="468"/>
                  <a:pt x="372" y="467"/>
                  <a:pt x="378" y="465"/>
                </a:cubicBezTo>
                <a:cubicBezTo>
                  <a:pt x="404" y="496"/>
                  <a:pt x="443" y="527"/>
                  <a:pt x="489" y="553"/>
                </a:cubicBezTo>
                <a:cubicBezTo>
                  <a:pt x="549" y="589"/>
                  <a:pt x="609" y="608"/>
                  <a:pt x="650" y="608"/>
                </a:cubicBezTo>
                <a:cubicBezTo>
                  <a:pt x="674" y="608"/>
                  <a:pt x="691" y="601"/>
                  <a:pt x="699" y="587"/>
                </a:cubicBezTo>
                <a:cubicBezTo>
                  <a:pt x="721" y="550"/>
                  <a:pt x="661" y="478"/>
                  <a:pt x="565" y="422"/>
                </a:cubicBezTo>
                <a:close/>
                <a:moveTo>
                  <a:pt x="360" y="14"/>
                </a:moveTo>
                <a:cubicBezTo>
                  <a:pt x="397" y="14"/>
                  <a:pt x="422" y="112"/>
                  <a:pt x="422" y="199"/>
                </a:cubicBezTo>
                <a:cubicBezTo>
                  <a:pt x="422" y="248"/>
                  <a:pt x="416" y="294"/>
                  <a:pt x="404" y="329"/>
                </a:cubicBezTo>
                <a:cubicBezTo>
                  <a:pt x="392" y="321"/>
                  <a:pt x="376" y="315"/>
                  <a:pt x="360" y="315"/>
                </a:cubicBezTo>
                <a:cubicBezTo>
                  <a:pt x="344" y="315"/>
                  <a:pt x="329" y="321"/>
                  <a:pt x="317" y="329"/>
                </a:cubicBezTo>
                <a:cubicBezTo>
                  <a:pt x="305" y="294"/>
                  <a:pt x="298" y="248"/>
                  <a:pt x="298" y="199"/>
                </a:cubicBezTo>
                <a:cubicBezTo>
                  <a:pt x="298" y="112"/>
                  <a:pt x="324" y="14"/>
                  <a:pt x="360" y="14"/>
                </a:cubicBezTo>
                <a:close/>
                <a:moveTo>
                  <a:pt x="225" y="541"/>
                </a:moveTo>
                <a:cubicBezTo>
                  <a:pt x="149" y="585"/>
                  <a:pt x="52" y="612"/>
                  <a:pt x="33" y="580"/>
                </a:cubicBezTo>
                <a:cubicBezTo>
                  <a:pt x="15" y="549"/>
                  <a:pt x="87" y="478"/>
                  <a:pt x="163" y="434"/>
                </a:cubicBezTo>
                <a:cubicBezTo>
                  <a:pt x="205" y="410"/>
                  <a:pt x="248" y="392"/>
                  <a:pt x="284" y="385"/>
                </a:cubicBezTo>
                <a:cubicBezTo>
                  <a:pt x="284" y="387"/>
                  <a:pt x="284" y="389"/>
                  <a:pt x="284" y="391"/>
                </a:cubicBezTo>
                <a:cubicBezTo>
                  <a:pt x="284" y="422"/>
                  <a:pt x="302" y="448"/>
                  <a:pt x="328" y="460"/>
                </a:cubicBezTo>
                <a:cubicBezTo>
                  <a:pt x="304" y="488"/>
                  <a:pt x="267" y="517"/>
                  <a:pt x="225" y="541"/>
                </a:cubicBezTo>
                <a:close/>
                <a:moveTo>
                  <a:pt x="298" y="391"/>
                </a:moveTo>
                <a:cubicBezTo>
                  <a:pt x="298" y="357"/>
                  <a:pt x="326" y="329"/>
                  <a:pt x="360" y="329"/>
                </a:cubicBezTo>
                <a:cubicBezTo>
                  <a:pt x="394" y="329"/>
                  <a:pt x="422" y="357"/>
                  <a:pt x="422" y="391"/>
                </a:cubicBezTo>
                <a:cubicBezTo>
                  <a:pt x="422" y="419"/>
                  <a:pt x="404" y="443"/>
                  <a:pt x="379" y="451"/>
                </a:cubicBezTo>
                <a:cubicBezTo>
                  <a:pt x="379" y="451"/>
                  <a:pt x="379" y="451"/>
                  <a:pt x="379" y="451"/>
                </a:cubicBezTo>
                <a:cubicBezTo>
                  <a:pt x="373" y="453"/>
                  <a:pt x="367" y="454"/>
                  <a:pt x="360" y="454"/>
                </a:cubicBezTo>
                <a:cubicBezTo>
                  <a:pt x="326" y="454"/>
                  <a:pt x="298" y="426"/>
                  <a:pt x="298" y="391"/>
                </a:cubicBezTo>
                <a:close/>
                <a:moveTo>
                  <a:pt x="687" y="580"/>
                </a:moveTo>
                <a:cubicBezTo>
                  <a:pt x="669" y="612"/>
                  <a:pt x="571" y="585"/>
                  <a:pt x="496" y="541"/>
                </a:cubicBezTo>
                <a:cubicBezTo>
                  <a:pt x="454" y="517"/>
                  <a:pt x="417" y="488"/>
                  <a:pt x="392" y="460"/>
                </a:cubicBezTo>
                <a:cubicBezTo>
                  <a:pt x="418" y="448"/>
                  <a:pt x="436" y="422"/>
                  <a:pt x="436" y="391"/>
                </a:cubicBezTo>
                <a:cubicBezTo>
                  <a:pt x="436" y="389"/>
                  <a:pt x="436" y="387"/>
                  <a:pt x="436" y="385"/>
                </a:cubicBezTo>
                <a:cubicBezTo>
                  <a:pt x="472" y="392"/>
                  <a:pt x="516" y="410"/>
                  <a:pt x="558" y="434"/>
                </a:cubicBezTo>
                <a:cubicBezTo>
                  <a:pt x="634" y="478"/>
                  <a:pt x="705" y="549"/>
                  <a:pt x="687" y="580"/>
                </a:cubicBezTo>
                <a:close/>
                <a:moveTo>
                  <a:pt x="201" y="607"/>
                </a:moveTo>
                <a:cubicBezTo>
                  <a:pt x="198" y="604"/>
                  <a:pt x="197" y="600"/>
                  <a:pt x="200" y="597"/>
                </a:cubicBezTo>
                <a:cubicBezTo>
                  <a:pt x="202" y="594"/>
                  <a:pt x="206" y="593"/>
                  <a:pt x="209" y="595"/>
                </a:cubicBezTo>
                <a:cubicBezTo>
                  <a:pt x="236" y="615"/>
                  <a:pt x="265" y="629"/>
                  <a:pt x="296" y="637"/>
                </a:cubicBezTo>
                <a:cubicBezTo>
                  <a:pt x="300" y="638"/>
                  <a:pt x="302" y="642"/>
                  <a:pt x="301" y="645"/>
                </a:cubicBezTo>
                <a:cubicBezTo>
                  <a:pt x="301" y="649"/>
                  <a:pt x="298" y="651"/>
                  <a:pt x="295" y="651"/>
                </a:cubicBezTo>
                <a:cubicBezTo>
                  <a:pt x="294" y="651"/>
                  <a:pt x="293" y="651"/>
                  <a:pt x="293" y="650"/>
                </a:cubicBezTo>
                <a:cubicBezTo>
                  <a:pt x="260" y="642"/>
                  <a:pt x="229" y="627"/>
                  <a:pt x="201" y="607"/>
                </a:cubicBezTo>
                <a:close/>
                <a:moveTo>
                  <a:pt x="605" y="324"/>
                </a:moveTo>
                <a:cubicBezTo>
                  <a:pt x="604" y="320"/>
                  <a:pt x="606" y="316"/>
                  <a:pt x="610" y="315"/>
                </a:cubicBezTo>
                <a:cubicBezTo>
                  <a:pt x="613" y="314"/>
                  <a:pt x="617" y="317"/>
                  <a:pt x="618" y="320"/>
                </a:cubicBezTo>
                <a:cubicBezTo>
                  <a:pt x="625" y="343"/>
                  <a:pt x="628" y="367"/>
                  <a:pt x="628" y="391"/>
                </a:cubicBezTo>
                <a:cubicBezTo>
                  <a:pt x="628" y="402"/>
                  <a:pt x="627" y="412"/>
                  <a:pt x="626" y="422"/>
                </a:cubicBezTo>
                <a:cubicBezTo>
                  <a:pt x="626" y="425"/>
                  <a:pt x="623" y="428"/>
                  <a:pt x="619" y="428"/>
                </a:cubicBezTo>
                <a:cubicBezTo>
                  <a:pt x="619" y="428"/>
                  <a:pt x="619" y="428"/>
                  <a:pt x="618" y="428"/>
                </a:cubicBezTo>
                <a:cubicBezTo>
                  <a:pt x="615" y="427"/>
                  <a:pt x="612" y="424"/>
                  <a:pt x="612" y="420"/>
                </a:cubicBezTo>
                <a:cubicBezTo>
                  <a:pt x="613" y="411"/>
                  <a:pt x="614" y="401"/>
                  <a:pt x="614" y="391"/>
                </a:cubicBezTo>
                <a:cubicBezTo>
                  <a:pt x="614" y="369"/>
                  <a:pt x="611" y="346"/>
                  <a:pt x="605" y="324"/>
                </a:cubicBezTo>
                <a:close/>
                <a:moveTo>
                  <a:pt x="263" y="150"/>
                </a:moveTo>
                <a:cubicBezTo>
                  <a:pt x="264" y="153"/>
                  <a:pt x="263" y="157"/>
                  <a:pt x="259" y="159"/>
                </a:cubicBezTo>
                <a:cubicBezTo>
                  <a:pt x="229" y="172"/>
                  <a:pt x="203" y="190"/>
                  <a:pt x="180" y="213"/>
                </a:cubicBezTo>
                <a:cubicBezTo>
                  <a:pt x="178" y="215"/>
                  <a:pt x="176" y="216"/>
                  <a:pt x="175" y="216"/>
                </a:cubicBezTo>
                <a:cubicBezTo>
                  <a:pt x="173" y="216"/>
                  <a:pt x="171" y="215"/>
                  <a:pt x="170" y="214"/>
                </a:cubicBezTo>
                <a:cubicBezTo>
                  <a:pt x="167" y="211"/>
                  <a:pt x="167" y="206"/>
                  <a:pt x="170" y="204"/>
                </a:cubicBezTo>
                <a:cubicBezTo>
                  <a:pt x="194" y="179"/>
                  <a:pt x="222" y="160"/>
                  <a:pt x="253" y="146"/>
                </a:cubicBezTo>
                <a:cubicBezTo>
                  <a:pt x="257" y="145"/>
                  <a:pt x="261" y="146"/>
                  <a:pt x="263" y="150"/>
                </a:cubicBezTo>
                <a:close/>
                <a:moveTo>
                  <a:pt x="62" y="178"/>
                </a:moveTo>
                <a:cubicBezTo>
                  <a:pt x="114" y="105"/>
                  <a:pt x="191" y="53"/>
                  <a:pt x="279" y="33"/>
                </a:cubicBezTo>
                <a:cubicBezTo>
                  <a:pt x="283" y="33"/>
                  <a:pt x="286" y="35"/>
                  <a:pt x="287" y="39"/>
                </a:cubicBezTo>
                <a:cubicBezTo>
                  <a:pt x="288" y="43"/>
                  <a:pt x="286" y="46"/>
                  <a:pt x="282" y="47"/>
                </a:cubicBezTo>
                <a:cubicBezTo>
                  <a:pt x="198" y="66"/>
                  <a:pt x="124" y="116"/>
                  <a:pt x="73" y="186"/>
                </a:cubicBezTo>
                <a:cubicBezTo>
                  <a:pt x="72" y="188"/>
                  <a:pt x="69" y="189"/>
                  <a:pt x="67" y="189"/>
                </a:cubicBezTo>
                <a:cubicBezTo>
                  <a:pt x="66" y="189"/>
                  <a:pt x="64" y="189"/>
                  <a:pt x="63" y="188"/>
                </a:cubicBezTo>
                <a:cubicBezTo>
                  <a:pt x="60" y="186"/>
                  <a:pt x="59" y="181"/>
                  <a:pt x="62" y="178"/>
                </a:cubicBezTo>
                <a:close/>
                <a:moveTo>
                  <a:pt x="332" y="750"/>
                </a:moveTo>
                <a:cubicBezTo>
                  <a:pt x="332" y="754"/>
                  <a:pt x="329" y="757"/>
                  <a:pt x="325" y="757"/>
                </a:cubicBezTo>
                <a:cubicBezTo>
                  <a:pt x="325" y="757"/>
                  <a:pt x="325" y="757"/>
                  <a:pt x="325" y="757"/>
                </a:cubicBezTo>
                <a:cubicBezTo>
                  <a:pt x="235" y="748"/>
                  <a:pt x="152" y="707"/>
                  <a:pt x="91" y="641"/>
                </a:cubicBezTo>
                <a:cubicBezTo>
                  <a:pt x="88" y="638"/>
                  <a:pt x="88" y="633"/>
                  <a:pt x="91" y="631"/>
                </a:cubicBezTo>
                <a:cubicBezTo>
                  <a:pt x="94" y="628"/>
                  <a:pt x="98" y="628"/>
                  <a:pt x="101" y="631"/>
                </a:cubicBezTo>
                <a:cubicBezTo>
                  <a:pt x="160" y="695"/>
                  <a:pt x="240" y="735"/>
                  <a:pt x="326" y="743"/>
                </a:cubicBezTo>
                <a:cubicBezTo>
                  <a:pt x="330" y="743"/>
                  <a:pt x="333" y="747"/>
                  <a:pt x="332" y="750"/>
                </a:cubicBezTo>
                <a:close/>
                <a:moveTo>
                  <a:pt x="727" y="391"/>
                </a:moveTo>
                <a:cubicBezTo>
                  <a:pt x="727" y="429"/>
                  <a:pt x="722" y="465"/>
                  <a:pt x="711" y="500"/>
                </a:cubicBezTo>
                <a:cubicBezTo>
                  <a:pt x="710" y="503"/>
                  <a:pt x="707" y="505"/>
                  <a:pt x="704" y="505"/>
                </a:cubicBezTo>
                <a:cubicBezTo>
                  <a:pt x="703" y="505"/>
                  <a:pt x="703" y="505"/>
                  <a:pt x="702" y="505"/>
                </a:cubicBezTo>
                <a:cubicBezTo>
                  <a:pt x="698" y="504"/>
                  <a:pt x="696" y="500"/>
                  <a:pt x="697" y="496"/>
                </a:cubicBezTo>
                <a:cubicBezTo>
                  <a:pt x="708" y="462"/>
                  <a:pt x="713" y="427"/>
                  <a:pt x="713" y="391"/>
                </a:cubicBezTo>
                <a:cubicBezTo>
                  <a:pt x="713" y="340"/>
                  <a:pt x="703" y="291"/>
                  <a:pt x="682" y="245"/>
                </a:cubicBezTo>
                <a:cubicBezTo>
                  <a:pt x="680" y="242"/>
                  <a:pt x="682" y="238"/>
                  <a:pt x="685" y="236"/>
                </a:cubicBezTo>
                <a:cubicBezTo>
                  <a:pt x="689" y="234"/>
                  <a:pt x="693" y="236"/>
                  <a:pt x="694" y="239"/>
                </a:cubicBezTo>
                <a:cubicBezTo>
                  <a:pt x="716" y="287"/>
                  <a:pt x="727" y="338"/>
                  <a:pt x="727" y="39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4" name="Oval 22"/>
          <p:cNvSpPr>
            <a:spLocks noChangeArrowheads="1"/>
          </p:cNvSpPr>
          <p:nvPr/>
        </p:nvSpPr>
        <p:spPr bwMode="auto">
          <a:xfrm>
            <a:off x="966871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2" name="Freeform 30"/>
          <p:cNvSpPr>
            <a:spLocks noEditPoints="1"/>
          </p:cNvSpPr>
          <p:nvPr/>
        </p:nvSpPr>
        <p:spPr bwMode="auto">
          <a:xfrm>
            <a:off x="1116321" y="1368531"/>
            <a:ext cx="524060" cy="332986"/>
          </a:xfrm>
          <a:custGeom>
            <a:avLst/>
            <a:gdLst>
              <a:gd name="T0" fmla="*/ 569 w 677"/>
              <a:gd name="T1" fmla="*/ 5 h 430"/>
              <a:gd name="T2" fmla="*/ 115 w 677"/>
              <a:gd name="T3" fmla="*/ 0 h 430"/>
              <a:gd name="T4" fmla="*/ 0 w 677"/>
              <a:gd name="T5" fmla="*/ 337 h 430"/>
              <a:gd name="T6" fmla="*/ 7 w 677"/>
              <a:gd name="T7" fmla="*/ 346 h 430"/>
              <a:gd name="T8" fmla="*/ 283 w 677"/>
              <a:gd name="T9" fmla="*/ 416 h 430"/>
              <a:gd name="T10" fmla="*/ 159 w 677"/>
              <a:gd name="T11" fmla="*/ 423 h 430"/>
              <a:gd name="T12" fmla="*/ 290 w 677"/>
              <a:gd name="T13" fmla="*/ 430 h 430"/>
              <a:gd name="T14" fmla="*/ 297 w 677"/>
              <a:gd name="T15" fmla="*/ 346 h 430"/>
              <a:gd name="T16" fmla="*/ 380 w 677"/>
              <a:gd name="T17" fmla="*/ 423 h 430"/>
              <a:gd name="T18" fmla="*/ 512 w 677"/>
              <a:gd name="T19" fmla="*/ 430 h 430"/>
              <a:gd name="T20" fmla="*/ 512 w 677"/>
              <a:gd name="T21" fmla="*/ 416 h 430"/>
              <a:gd name="T22" fmla="*/ 394 w 677"/>
              <a:gd name="T23" fmla="*/ 346 h 430"/>
              <a:gd name="T24" fmla="*/ 670 w 677"/>
              <a:gd name="T25" fmla="*/ 346 h 430"/>
              <a:gd name="T26" fmla="*/ 677 w 677"/>
              <a:gd name="T27" fmla="*/ 336 h 430"/>
              <a:gd name="T28" fmla="*/ 250 w 677"/>
              <a:gd name="T29" fmla="*/ 205 h 430"/>
              <a:gd name="T30" fmla="*/ 441 w 677"/>
              <a:gd name="T31" fmla="*/ 332 h 430"/>
              <a:gd name="T32" fmla="*/ 251 w 677"/>
              <a:gd name="T33" fmla="*/ 191 h 430"/>
              <a:gd name="T34" fmla="*/ 416 w 677"/>
              <a:gd name="T35" fmla="*/ 98 h 430"/>
              <a:gd name="T36" fmla="*/ 251 w 677"/>
              <a:gd name="T37" fmla="*/ 191 h 430"/>
              <a:gd name="T38" fmla="*/ 247 w 677"/>
              <a:gd name="T39" fmla="*/ 98 h 430"/>
              <a:gd name="T40" fmla="*/ 63 w 677"/>
              <a:gd name="T41" fmla="*/ 191 h 430"/>
              <a:gd name="T42" fmla="*/ 407 w 677"/>
              <a:gd name="T43" fmla="*/ 14 h 430"/>
              <a:gd name="T44" fmla="*/ 263 w 677"/>
              <a:gd name="T45" fmla="*/ 84 h 430"/>
              <a:gd name="T46" fmla="*/ 407 w 677"/>
              <a:gd name="T47" fmla="*/ 14 h 430"/>
              <a:gd name="T48" fmla="*/ 584 w 677"/>
              <a:gd name="T49" fmla="*/ 98 h 430"/>
              <a:gd name="T50" fmla="*/ 440 w 677"/>
              <a:gd name="T51" fmla="*/ 191 h 430"/>
              <a:gd name="T52" fmla="*/ 580 w 677"/>
              <a:gd name="T53" fmla="*/ 84 h 430"/>
              <a:gd name="T54" fmla="*/ 421 w 677"/>
              <a:gd name="T55" fmla="*/ 14 h 430"/>
              <a:gd name="T56" fmla="*/ 580 w 677"/>
              <a:gd name="T57" fmla="*/ 84 h 430"/>
              <a:gd name="T58" fmla="*/ 256 w 677"/>
              <a:gd name="T59" fmla="*/ 14 h 430"/>
              <a:gd name="T60" fmla="*/ 98 w 677"/>
              <a:gd name="T61" fmla="*/ 84 h 430"/>
              <a:gd name="T62" fmla="*/ 58 w 677"/>
              <a:gd name="T63" fmla="*/ 205 h 430"/>
              <a:gd name="T64" fmla="*/ 222 w 677"/>
              <a:gd name="T65" fmla="*/ 332 h 430"/>
              <a:gd name="T66" fmla="*/ 58 w 677"/>
              <a:gd name="T67" fmla="*/ 205 h 430"/>
              <a:gd name="T68" fmla="*/ 442 w 677"/>
              <a:gd name="T69" fmla="*/ 205 h 430"/>
              <a:gd name="T70" fmla="*/ 661 w 677"/>
              <a:gd name="T71" fmla="*/ 332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77" h="430">
                <a:moveTo>
                  <a:pt x="677" y="336"/>
                </a:moveTo>
                <a:cubicBezTo>
                  <a:pt x="569" y="5"/>
                  <a:pt x="569" y="5"/>
                  <a:pt x="569" y="5"/>
                </a:cubicBezTo>
                <a:cubicBezTo>
                  <a:pt x="568" y="2"/>
                  <a:pt x="565" y="0"/>
                  <a:pt x="562" y="0"/>
                </a:cubicBezTo>
                <a:cubicBezTo>
                  <a:pt x="115" y="0"/>
                  <a:pt x="115" y="0"/>
                  <a:pt x="115" y="0"/>
                </a:cubicBezTo>
                <a:cubicBezTo>
                  <a:pt x="112" y="0"/>
                  <a:pt x="109" y="2"/>
                  <a:pt x="109" y="5"/>
                </a:cubicBezTo>
                <a:cubicBezTo>
                  <a:pt x="0" y="337"/>
                  <a:pt x="0" y="337"/>
                  <a:pt x="0" y="337"/>
                </a:cubicBezTo>
                <a:cubicBezTo>
                  <a:pt x="0" y="339"/>
                  <a:pt x="0" y="341"/>
                  <a:pt x="1" y="343"/>
                </a:cubicBezTo>
                <a:cubicBezTo>
                  <a:pt x="3" y="345"/>
                  <a:pt x="5" y="346"/>
                  <a:pt x="7" y="346"/>
                </a:cubicBezTo>
                <a:cubicBezTo>
                  <a:pt x="283" y="346"/>
                  <a:pt x="283" y="346"/>
                  <a:pt x="283" y="346"/>
                </a:cubicBezTo>
                <a:cubicBezTo>
                  <a:pt x="283" y="416"/>
                  <a:pt x="283" y="416"/>
                  <a:pt x="283" y="416"/>
                </a:cubicBezTo>
                <a:cubicBezTo>
                  <a:pt x="166" y="416"/>
                  <a:pt x="166" y="416"/>
                  <a:pt x="166" y="416"/>
                </a:cubicBezTo>
                <a:cubicBezTo>
                  <a:pt x="162" y="416"/>
                  <a:pt x="159" y="420"/>
                  <a:pt x="159" y="423"/>
                </a:cubicBezTo>
                <a:cubicBezTo>
                  <a:pt x="159" y="427"/>
                  <a:pt x="162" y="430"/>
                  <a:pt x="166" y="430"/>
                </a:cubicBezTo>
                <a:cubicBezTo>
                  <a:pt x="290" y="430"/>
                  <a:pt x="290" y="430"/>
                  <a:pt x="290" y="430"/>
                </a:cubicBezTo>
                <a:cubicBezTo>
                  <a:pt x="294" y="430"/>
                  <a:pt x="297" y="427"/>
                  <a:pt x="297" y="423"/>
                </a:cubicBezTo>
                <a:cubicBezTo>
                  <a:pt x="297" y="346"/>
                  <a:pt x="297" y="346"/>
                  <a:pt x="297" y="346"/>
                </a:cubicBezTo>
                <a:cubicBezTo>
                  <a:pt x="380" y="346"/>
                  <a:pt x="380" y="346"/>
                  <a:pt x="380" y="346"/>
                </a:cubicBezTo>
                <a:cubicBezTo>
                  <a:pt x="380" y="423"/>
                  <a:pt x="380" y="423"/>
                  <a:pt x="380" y="423"/>
                </a:cubicBezTo>
                <a:cubicBezTo>
                  <a:pt x="380" y="427"/>
                  <a:pt x="383" y="430"/>
                  <a:pt x="387" y="430"/>
                </a:cubicBezTo>
                <a:cubicBezTo>
                  <a:pt x="512" y="430"/>
                  <a:pt x="512" y="430"/>
                  <a:pt x="512" y="430"/>
                </a:cubicBezTo>
                <a:cubicBezTo>
                  <a:pt x="515" y="430"/>
                  <a:pt x="519" y="427"/>
                  <a:pt x="519" y="423"/>
                </a:cubicBezTo>
                <a:cubicBezTo>
                  <a:pt x="519" y="420"/>
                  <a:pt x="515" y="416"/>
                  <a:pt x="512" y="416"/>
                </a:cubicBezTo>
                <a:cubicBezTo>
                  <a:pt x="394" y="416"/>
                  <a:pt x="394" y="416"/>
                  <a:pt x="394" y="416"/>
                </a:cubicBezTo>
                <a:cubicBezTo>
                  <a:pt x="394" y="346"/>
                  <a:pt x="394" y="346"/>
                  <a:pt x="394" y="346"/>
                </a:cubicBezTo>
                <a:cubicBezTo>
                  <a:pt x="670" y="346"/>
                  <a:pt x="670" y="346"/>
                  <a:pt x="670" y="346"/>
                </a:cubicBezTo>
                <a:cubicBezTo>
                  <a:pt x="670" y="346"/>
                  <a:pt x="670" y="346"/>
                  <a:pt x="670" y="346"/>
                </a:cubicBezTo>
                <a:cubicBezTo>
                  <a:pt x="674" y="346"/>
                  <a:pt x="677" y="343"/>
                  <a:pt x="677" y="339"/>
                </a:cubicBezTo>
                <a:cubicBezTo>
                  <a:pt x="677" y="338"/>
                  <a:pt x="677" y="336"/>
                  <a:pt x="677" y="336"/>
                </a:cubicBezTo>
                <a:close/>
                <a:moveTo>
                  <a:pt x="236" y="332"/>
                </a:moveTo>
                <a:cubicBezTo>
                  <a:pt x="250" y="205"/>
                  <a:pt x="250" y="205"/>
                  <a:pt x="250" y="205"/>
                </a:cubicBezTo>
                <a:cubicBezTo>
                  <a:pt x="428" y="205"/>
                  <a:pt x="428" y="205"/>
                  <a:pt x="428" y="205"/>
                </a:cubicBezTo>
                <a:cubicBezTo>
                  <a:pt x="441" y="332"/>
                  <a:pt x="441" y="332"/>
                  <a:pt x="441" y="332"/>
                </a:cubicBezTo>
                <a:lnTo>
                  <a:pt x="236" y="332"/>
                </a:lnTo>
                <a:close/>
                <a:moveTo>
                  <a:pt x="251" y="191"/>
                </a:moveTo>
                <a:cubicBezTo>
                  <a:pt x="261" y="98"/>
                  <a:pt x="261" y="98"/>
                  <a:pt x="261" y="98"/>
                </a:cubicBezTo>
                <a:cubicBezTo>
                  <a:pt x="416" y="98"/>
                  <a:pt x="416" y="98"/>
                  <a:pt x="416" y="98"/>
                </a:cubicBezTo>
                <a:cubicBezTo>
                  <a:pt x="426" y="191"/>
                  <a:pt x="426" y="191"/>
                  <a:pt x="426" y="191"/>
                </a:cubicBezTo>
                <a:lnTo>
                  <a:pt x="251" y="191"/>
                </a:lnTo>
                <a:close/>
                <a:moveTo>
                  <a:pt x="93" y="98"/>
                </a:moveTo>
                <a:cubicBezTo>
                  <a:pt x="247" y="98"/>
                  <a:pt x="247" y="98"/>
                  <a:pt x="247" y="98"/>
                </a:cubicBezTo>
                <a:cubicBezTo>
                  <a:pt x="237" y="191"/>
                  <a:pt x="237" y="191"/>
                  <a:pt x="237" y="191"/>
                </a:cubicBezTo>
                <a:cubicBezTo>
                  <a:pt x="63" y="191"/>
                  <a:pt x="63" y="191"/>
                  <a:pt x="63" y="191"/>
                </a:cubicBezTo>
                <a:lnTo>
                  <a:pt x="93" y="98"/>
                </a:lnTo>
                <a:close/>
                <a:moveTo>
                  <a:pt x="407" y="14"/>
                </a:moveTo>
                <a:cubicBezTo>
                  <a:pt x="414" y="84"/>
                  <a:pt x="414" y="84"/>
                  <a:pt x="414" y="84"/>
                </a:cubicBezTo>
                <a:cubicBezTo>
                  <a:pt x="263" y="84"/>
                  <a:pt x="263" y="84"/>
                  <a:pt x="263" y="84"/>
                </a:cubicBezTo>
                <a:cubicBezTo>
                  <a:pt x="270" y="14"/>
                  <a:pt x="270" y="14"/>
                  <a:pt x="270" y="14"/>
                </a:cubicBezTo>
                <a:lnTo>
                  <a:pt x="407" y="14"/>
                </a:lnTo>
                <a:close/>
                <a:moveTo>
                  <a:pt x="430" y="98"/>
                </a:moveTo>
                <a:cubicBezTo>
                  <a:pt x="584" y="98"/>
                  <a:pt x="584" y="98"/>
                  <a:pt x="584" y="98"/>
                </a:cubicBezTo>
                <a:cubicBezTo>
                  <a:pt x="615" y="191"/>
                  <a:pt x="615" y="191"/>
                  <a:pt x="615" y="191"/>
                </a:cubicBezTo>
                <a:cubicBezTo>
                  <a:pt x="440" y="191"/>
                  <a:pt x="440" y="191"/>
                  <a:pt x="440" y="191"/>
                </a:cubicBezTo>
                <a:lnTo>
                  <a:pt x="430" y="98"/>
                </a:lnTo>
                <a:close/>
                <a:moveTo>
                  <a:pt x="580" y="84"/>
                </a:moveTo>
                <a:cubicBezTo>
                  <a:pt x="428" y="84"/>
                  <a:pt x="428" y="84"/>
                  <a:pt x="428" y="84"/>
                </a:cubicBezTo>
                <a:cubicBezTo>
                  <a:pt x="421" y="14"/>
                  <a:pt x="421" y="14"/>
                  <a:pt x="421" y="14"/>
                </a:cubicBezTo>
                <a:cubicBezTo>
                  <a:pt x="557" y="14"/>
                  <a:pt x="557" y="14"/>
                  <a:pt x="557" y="14"/>
                </a:cubicBezTo>
                <a:lnTo>
                  <a:pt x="580" y="84"/>
                </a:lnTo>
                <a:close/>
                <a:moveTo>
                  <a:pt x="120" y="14"/>
                </a:moveTo>
                <a:cubicBezTo>
                  <a:pt x="256" y="14"/>
                  <a:pt x="256" y="14"/>
                  <a:pt x="256" y="14"/>
                </a:cubicBezTo>
                <a:cubicBezTo>
                  <a:pt x="249" y="84"/>
                  <a:pt x="249" y="84"/>
                  <a:pt x="249" y="84"/>
                </a:cubicBezTo>
                <a:cubicBezTo>
                  <a:pt x="98" y="84"/>
                  <a:pt x="98" y="84"/>
                  <a:pt x="98" y="84"/>
                </a:cubicBezTo>
                <a:lnTo>
                  <a:pt x="120" y="14"/>
                </a:lnTo>
                <a:close/>
                <a:moveTo>
                  <a:pt x="58" y="205"/>
                </a:moveTo>
                <a:cubicBezTo>
                  <a:pt x="236" y="205"/>
                  <a:pt x="236" y="205"/>
                  <a:pt x="236" y="205"/>
                </a:cubicBezTo>
                <a:cubicBezTo>
                  <a:pt x="222" y="332"/>
                  <a:pt x="222" y="332"/>
                  <a:pt x="222" y="332"/>
                </a:cubicBezTo>
                <a:cubicBezTo>
                  <a:pt x="17" y="332"/>
                  <a:pt x="17" y="332"/>
                  <a:pt x="17" y="332"/>
                </a:cubicBezTo>
                <a:lnTo>
                  <a:pt x="58" y="205"/>
                </a:lnTo>
                <a:close/>
                <a:moveTo>
                  <a:pt x="455" y="332"/>
                </a:moveTo>
                <a:cubicBezTo>
                  <a:pt x="442" y="205"/>
                  <a:pt x="442" y="205"/>
                  <a:pt x="442" y="205"/>
                </a:cubicBezTo>
                <a:cubicBezTo>
                  <a:pt x="619" y="205"/>
                  <a:pt x="619" y="205"/>
                  <a:pt x="619" y="205"/>
                </a:cubicBezTo>
                <a:cubicBezTo>
                  <a:pt x="661" y="332"/>
                  <a:pt x="661" y="332"/>
                  <a:pt x="661" y="332"/>
                </a:cubicBezTo>
                <a:lnTo>
                  <a:pt x="455" y="3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79" name="Oval 17"/>
          <p:cNvSpPr>
            <a:spLocks noChangeArrowheads="1"/>
          </p:cNvSpPr>
          <p:nvPr/>
        </p:nvSpPr>
        <p:spPr bwMode="auto">
          <a:xfrm>
            <a:off x="3552358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4" name="Freeform 32"/>
          <p:cNvSpPr>
            <a:spLocks noEditPoints="1"/>
          </p:cNvSpPr>
          <p:nvPr/>
        </p:nvSpPr>
        <p:spPr bwMode="auto">
          <a:xfrm>
            <a:off x="3745071" y="2497918"/>
            <a:ext cx="437536" cy="415577"/>
          </a:xfrm>
          <a:custGeom>
            <a:avLst/>
            <a:gdLst>
              <a:gd name="T0" fmla="*/ 420 w 565"/>
              <a:gd name="T1" fmla="*/ 537 h 537"/>
              <a:gd name="T2" fmla="*/ 145 w 565"/>
              <a:gd name="T3" fmla="*/ 537 h 537"/>
              <a:gd name="T4" fmla="*/ 0 w 565"/>
              <a:gd name="T5" fmla="*/ 392 h 537"/>
              <a:gd name="T6" fmla="*/ 0 w 565"/>
              <a:gd name="T7" fmla="*/ 145 h 537"/>
              <a:gd name="T8" fmla="*/ 145 w 565"/>
              <a:gd name="T9" fmla="*/ 0 h 537"/>
              <a:gd name="T10" fmla="*/ 420 w 565"/>
              <a:gd name="T11" fmla="*/ 0 h 537"/>
              <a:gd name="T12" fmla="*/ 565 w 565"/>
              <a:gd name="T13" fmla="*/ 145 h 537"/>
              <a:gd name="T14" fmla="*/ 565 w 565"/>
              <a:gd name="T15" fmla="*/ 392 h 537"/>
              <a:gd name="T16" fmla="*/ 420 w 565"/>
              <a:gd name="T17" fmla="*/ 537 h 537"/>
              <a:gd name="T18" fmla="*/ 145 w 565"/>
              <a:gd name="T19" fmla="*/ 14 h 537"/>
              <a:gd name="T20" fmla="*/ 14 w 565"/>
              <a:gd name="T21" fmla="*/ 145 h 537"/>
              <a:gd name="T22" fmla="*/ 14 w 565"/>
              <a:gd name="T23" fmla="*/ 392 h 537"/>
              <a:gd name="T24" fmla="*/ 145 w 565"/>
              <a:gd name="T25" fmla="*/ 523 h 537"/>
              <a:gd name="T26" fmla="*/ 420 w 565"/>
              <a:gd name="T27" fmla="*/ 523 h 537"/>
              <a:gd name="T28" fmla="*/ 551 w 565"/>
              <a:gd name="T29" fmla="*/ 392 h 537"/>
              <a:gd name="T30" fmla="*/ 551 w 565"/>
              <a:gd name="T31" fmla="*/ 145 h 537"/>
              <a:gd name="T32" fmla="*/ 420 w 565"/>
              <a:gd name="T33" fmla="*/ 14 h 537"/>
              <a:gd name="T34" fmla="*/ 145 w 565"/>
              <a:gd name="T35" fmla="*/ 14 h 537"/>
              <a:gd name="T36" fmla="*/ 337 w 565"/>
              <a:gd name="T37" fmla="*/ 457 h 537"/>
              <a:gd name="T38" fmla="*/ 229 w 565"/>
              <a:gd name="T39" fmla="*/ 457 h 537"/>
              <a:gd name="T40" fmla="*/ 222 w 565"/>
              <a:gd name="T41" fmla="*/ 450 h 537"/>
              <a:gd name="T42" fmla="*/ 222 w 565"/>
              <a:gd name="T43" fmla="*/ 393 h 537"/>
              <a:gd name="T44" fmla="*/ 283 w 565"/>
              <a:gd name="T45" fmla="*/ 332 h 537"/>
              <a:gd name="T46" fmla="*/ 344 w 565"/>
              <a:gd name="T47" fmla="*/ 393 h 537"/>
              <a:gd name="T48" fmla="*/ 344 w 565"/>
              <a:gd name="T49" fmla="*/ 450 h 537"/>
              <a:gd name="T50" fmla="*/ 337 w 565"/>
              <a:gd name="T51" fmla="*/ 457 h 537"/>
              <a:gd name="T52" fmla="*/ 236 w 565"/>
              <a:gd name="T53" fmla="*/ 443 h 537"/>
              <a:gd name="T54" fmla="*/ 330 w 565"/>
              <a:gd name="T55" fmla="*/ 443 h 537"/>
              <a:gd name="T56" fmla="*/ 330 w 565"/>
              <a:gd name="T57" fmla="*/ 393 h 537"/>
              <a:gd name="T58" fmla="*/ 283 w 565"/>
              <a:gd name="T59" fmla="*/ 346 h 537"/>
              <a:gd name="T60" fmla="*/ 236 w 565"/>
              <a:gd name="T61" fmla="*/ 393 h 537"/>
              <a:gd name="T62" fmla="*/ 236 w 565"/>
              <a:gd name="T63" fmla="*/ 443 h 537"/>
              <a:gd name="T64" fmla="*/ 438 w 565"/>
              <a:gd name="T65" fmla="*/ 286 h 537"/>
              <a:gd name="T66" fmla="*/ 376 w 565"/>
              <a:gd name="T67" fmla="*/ 286 h 537"/>
              <a:gd name="T68" fmla="*/ 369 w 565"/>
              <a:gd name="T69" fmla="*/ 279 h 537"/>
              <a:gd name="T70" fmla="*/ 369 w 565"/>
              <a:gd name="T71" fmla="*/ 110 h 537"/>
              <a:gd name="T72" fmla="*/ 376 w 565"/>
              <a:gd name="T73" fmla="*/ 103 h 537"/>
              <a:gd name="T74" fmla="*/ 438 w 565"/>
              <a:gd name="T75" fmla="*/ 103 h 537"/>
              <a:gd name="T76" fmla="*/ 445 w 565"/>
              <a:gd name="T77" fmla="*/ 110 h 537"/>
              <a:gd name="T78" fmla="*/ 445 w 565"/>
              <a:gd name="T79" fmla="*/ 279 h 537"/>
              <a:gd name="T80" fmla="*/ 438 w 565"/>
              <a:gd name="T81" fmla="*/ 286 h 537"/>
              <a:gd name="T82" fmla="*/ 383 w 565"/>
              <a:gd name="T83" fmla="*/ 272 h 537"/>
              <a:gd name="T84" fmla="*/ 431 w 565"/>
              <a:gd name="T85" fmla="*/ 272 h 537"/>
              <a:gd name="T86" fmla="*/ 431 w 565"/>
              <a:gd name="T87" fmla="*/ 117 h 537"/>
              <a:gd name="T88" fmla="*/ 383 w 565"/>
              <a:gd name="T89" fmla="*/ 117 h 537"/>
              <a:gd name="T90" fmla="*/ 383 w 565"/>
              <a:gd name="T91" fmla="*/ 272 h 537"/>
              <a:gd name="T92" fmla="*/ 189 w 565"/>
              <a:gd name="T93" fmla="*/ 286 h 537"/>
              <a:gd name="T94" fmla="*/ 127 w 565"/>
              <a:gd name="T95" fmla="*/ 286 h 537"/>
              <a:gd name="T96" fmla="*/ 120 w 565"/>
              <a:gd name="T97" fmla="*/ 279 h 537"/>
              <a:gd name="T98" fmla="*/ 120 w 565"/>
              <a:gd name="T99" fmla="*/ 110 h 537"/>
              <a:gd name="T100" fmla="*/ 127 w 565"/>
              <a:gd name="T101" fmla="*/ 103 h 537"/>
              <a:gd name="T102" fmla="*/ 189 w 565"/>
              <a:gd name="T103" fmla="*/ 103 h 537"/>
              <a:gd name="T104" fmla="*/ 196 w 565"/>
              <a:gd name="T105" fmla="*/ 110 h 537"/>
              <a:gd name="T106" fmla="*/ 196 w 565"/>
              <a:gd name="T107" fmla="*/ 279 h 537"/>
              <a:gd name="T108" fmla="*/ 189 w 565"/>
              <a:gd name="T109" fmla="*/ 286 h 537"/>
              <a:gd name="T110" fmla="*/ 134 w 565"/>
              <a:gd name="T111" fmla="*/ 272 h 537"/>
              <a:gd name="T112" fmla="*/ 182 w 565"/>
              <a:gd name="T113" fmla="*/ 272 h 537"/>
              <a:gd name="T114" fmla="*/ 182 w 565"/>
              <a:gd name="T115" fmla="*/ 117 h 537"/>
              <a:gd name="T116" fmla="*/ 134 w 565"/>
              <a:gd name="T117" fmla="*/ 117 h 537"/>
              <a:gd name="T118" fmla="*/ 134 w 565"/>
              <a:gd name="T119" fmla="*/ 272 h 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37">
                <a:moveTo>
                  <a:pt x="420" y="537"/>
                </a:moveTo>
                <a:cubicBezTo>
                  <a:pt x="145" y="537"/>
                  <a:pt x="145" y="537"/>
                  <a:pt x="145" y="537"/>
                </a:cubicBezTo>
                <a:cubicBezTo>
                  <a:pt x="65" y="537"/>
                  <a:pt x="0" y="472"/>
                  <a:pt x="0" y="392"/>
                </a:cubicBezTo>
                <a:cubicBezTo>
                  <a:pt x="0" y="145"/>
                  <a:pt x="0" y="145"/>
                  <a:pt x="0" y="145"/>
                </a:cubicBezTo>
                <a:cubicBezTo>
                  <a:pt x="0" y="65"/>
                  <a:pt x="65" y="0"/>
                  <a:pt x="145" y="0"/>
                </a:cubicBezTo>
                <a:cubicBezTo>
                  <a:pt x="420" y="0"/>
                  <a:pt x="420" y="0"/>
                  <a:pt x="420" y="0"/>
                </a:cubicBezTo>
                <a:cubicBezTo>
                  <a:pt x="500" y="0"/>
                  <a:pt x="565" y="65"/>
                  <a:pt x="565" y="145"/>
                </a:cubicBezTo>
                <a:cubicBezTo>
                  <a:pt x="565" y="392"/>
                  <a:pt x="565" y="392"/>
                  <a:pt x="565" y="392"/>
                </a:cubicBezTo>
                <a:cubicBezTo>
                  <a:pt x="565" y="472"/>
                  <a:pt x="500" y="537"/>
                  <a:pt x="420" y="537"/>
                </a:cubicBezTo>
                <a:close/>
                <a:moveTo>
                  <a:pt x="145" y="14"/>
                </a:moveTo>
                <a:cubicBezTo>
                  <a:pt x="73" y="14"/>
                  <a:pt x="14" y="72"/>
                  <a:pt x="14" y="145"/>
                </a:cubicBezTo>
                <a:cubicBezTo>
                  <a:pt x="14" y="392"/>
                  <a:pt x="14" y="392"/>
                  <a:pt x="14" y="392"/>
                </a:cubicBezTo>
                <a:cubicBezTo>
                  <a:pt x="14" y="464"/>
                  <a:pt x="73" y="523"/>
                  <a:pt x="145" y="523"/>
                </a:cubicBezTo>
                <a:cubicBezTo>
                  <a:pt x="420" y="523"/>
                  <a:pt x="420" y="523"/>
                  <a:pt x="420" y="523"/>
                </a:cubicBezTo>
                <a:cubicBezTo>
                  <a:pt x="492" y="523"/>
                  <a:pt x="551" y="464"/>
                  <a:pt x="551" y="392"/>
                </a:cubicBezTo>
                <a:cubicBezTo>
                  <a:pt x="551" y="145"/>
                  <a:pt x="551" y="145"/>
                  <a:pt x="551" y="145"/>
                </a:cubicBezTo>
                <a:cubicBezTo>
                  <a:pt x="551" y="72"/>
                  <a:pt x="492" y="14"/>
                  <a:pt x="420" y="14"/>
                </a:cubicBezTo>
                <a:lnTo>
                  <a:pt x="145" y="14"/>
                </a:lnTo>
                <a:close/>
                <a:moveTo>
                  <a:pt x="337" y="457"/>
                </a:moveTo>
                <a:cubicBezTo>
                  <a:pt x="229" y="457"/>
                  <a:pt x="229" y="457"/>
                  <a:pt x="229" y="457"/>
                </a:cubicBezTo>
                <a:cubicBezTo>
                  <a:pt x="225" y="457"/>
                  <a:pt x="222" y="454"/>
                  <a:pt x="222" y="450"/>
                </a:cubicBezTo>
                <a:cubicBezTo>
                  <a:pt x="222" y="393"/>
                  <a:pt x="222" y="393"/>
                  <a:pt x="222" y="393"/>
                </a:cubicBezTo>
                <a:cubicBezTo>
                  <a:pt x="222" y="359"/>
                  <a:pt x="249" y="332"/>
                  <a:pt x="283" y="332"/>
                </a:cubicBezTo>
                <a:cubicBezTo>
                  <a:pt x="316" y="332"/>
                  <a:pt x="344" y="359"/>
                  <a:pt x="344" y="393"/>
                </a:cubicBezTo>
                <a:cubicBezTo>
                  <a:pt x="344" y="450"/>
                  <a:pt x="344" y="450"/>
                  <a:pt x="344" y="450"/>
                </a:cubicBezTo>
                <a:cubicBezTo>
                  <a:pt x="344" y="454"/>
                  <a:pt x="340" y="457"/>
                  <a:pt x="337" y="457"/>
                </a:cubicBezTo>
                <a:close/>
                <a:moveTo>
                  <a:pt x="236" y="443"/>
                </a:moveTo>
                <a:cubicBezTo>
                  <a:pt x="330" y="443"/>
                  <a:pt x="330" y="443"/>
                  <a:pt x="330" y="443"/>
                </a:cubicBezTo>
                <a:cubicBezTo>
                  <a:pt x="330" y="393"/>
                  <a:pt x="330" y="393"/>
                  <a:pt x="330" y="393"/>
                </a:cubicBezTo>
                <a:cubicBezTo>
                  <a:pt x="330" y="367"/>
                  <a:pt x="308" y="346"/>
                  <a:pt x="283" y="346"/>
                </a:cubicBezTo>
                <a:cubicBezTo>
                  <a:pt x="257" y="346"/>
                  <a:pt x="236" y="367"/>
                  <a:pt x="236" y="393"/>
                </a:cubicBezTo>
                <a:lnTo>
                  <a:pt x="236" y="443"/>
                </a:lnTo>
                <a:close/>
                <a:moveTo>
                  <a:pt x="438" y="286"/>
                </a:moveTo>
                <a:cubicBezTo>
                  <a:pt x="376" y="286"/>
                  <a:pt x="376" y="286"/>
                  <a:pt x="376" y="286"/>
                </a:cubicBezTo>
                <a:cubicBezTo>
                  <a:pt x="372" y="286"/>
                  <a:pt x="369" y="283"/>
                  <a:pt x="369" y="279"/>
                </a:cubicBezTo>
                <a:cubicBezTo>
                  <a:pt x="369" y="110"/>
                  <a:pt x="369" y="110"/>
                  <a:pt x="369" y="110"/>
                </a:cubicBezTo>
                <a:cubicBezTo>
                  <a:pt x="369" y="106"/>
                  <a:pt x="372" y="103"/>
                  <a:pt x="376" y="103"/>
                </a:cubicBezTo>
                <a:cubicBezTo>
                  <a:pt x="438" y="103"/>
                  <a:pt x="438" y="103"/>
                  <a:pt x="438" y="103"/>
                </a:cubicBezTo>
                <a:cubicBezTo>
                  <a:pt x="442" y="103"/>
                  <a:pt x="445" y="106"/>
                  <a:pt x="445" y="110"/>
                </a:cubicBezTo>
                <a:cubicBezTo>
                  <a:pt x="445" y="279"/>
                  <a:pt x="445" y="279"/>
                  <a:pt x="445" y="279"/>
                </a:cubicBezTo>
                <a:cubicBezTo>
                  <a:pt x="445" y="283"/>
                  <a:pt x="442" y="286"/>
                  <a:pt x="438" y="286"/>
                </a:cubicBezTo>
                <a:close/>
                <a:moveTo>
                  <a:pt x="383" y="272"/>
                </a:moveTo>
                <a:cubicBezTo>
                  <a:pt x="431" y="272"/>
                  <a:pt x="431" y="272"/>
                  <a:pt x="431" y="272"/>
                </a:cubicBezTo>
                <a:cubicBezTo>
                  <a:pt x="431" y="117"/>
                  <a:pt x="431" y="117"/>
                  <a:pt x="431" y="117"/>
                </a:cubicBezTo>
                <a:cubicBezTo>
                  <a:pt x="383" y="117"/>
                  <a:pt x="383" y="117"/>
                  <a:pt x="383" y="117"/>
                </a:cubicBezTo>
                <a:lnTo>
                  <a:pt x="383" y="272"/>
                </a:lnTo>
                <a:close/>
                <a:moveTo>
                  <a:pt x="189" y="286"/>
                </a:moveTo>
                <a:cubicBezTo>
                  <a:pt x="127" y="286"/>
                  <a:pt x="127" y="286"/>
                  <a:pt x="127" y="286"/>
                </a:cubicBezTo>
                <a:cubicBezTo>
                  <a:pt x="123" y="286"/>
                  <a:pt x="120" y="283"/>
                  <a:pt x="120" y="279"/>
                </a:cubicBezTo>
                <a:cubicBezTo>
                  <a:pt x="120" y="110"/>
                  <a:pt x="120" y="110"/>
                  <a:pt x="120" y="110"/>
                </a:cubicBezTo>
                <a:cubicBezTo>
                  <a:pt x="120" y="106"/>
                  <a:pt x="123" y="103"/>
                  <a:pt x="127" y="103"/>
                </a:cubicBezTo>
                <a:cubicBezTo>
                  <a:pt x="189" y="103"/>
                  <a:pt x="189" y="103"/>
                  <a:pt x="189" y="103"/>
                </a:cubicBezTo>
                <a:cubicBezTo>
                  <a:pt x="193" y="103"/>
                  <a:pt x="196" y="106"/>
                  <a:pt x="196" y="110"/>
                </a:cubicBezTo>
                <a:cubicBezTo>
                  <a:pt x="196" y="279"/>
                  <a:pt x="196" y="279"/>
                  <a:pt x="196" y="279"/>
                </a:cubicBezTo>
                <a:cubicBezTo>
                  <a:pt x="196" y="283"/>
                  <a:pt x="193" y="286"/>
                  <a:pt x="189" y="286"/>
                </a:cubicBezTo>
                <a:close/>
                <a:moveTo>
                  <a:pt x="134" y="272"/>
                </a:moveTo>
                <a:cubicBezTo>
                  <a:pt x="182" y="272"/>
                  <a:pt x="182" y="272"/>
                  <a:pt x="182" y="272"/>
                </a:cubicBezTo>
                <a:cubicBezTo>
                  <a:pt x="182" y="117"/>
                  <a:pt x="182" y="117"/>
                  <a:pt x="182" y="117"/>
                </a:cubicBezTo>
                <a:cubicBezTo>
                  <a:pt x="134" y="117"/>
                  <a:pt x="134" y="117"/>
                  <a:pt x="134" y="117"/>
                </a:cubicBezTo>
                <a:lnTo>
                  <a:pt x="134" y="2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76" name="Oval 14"/>
          <p:cNvSpPr>
            <a:spLocks noChangeArrowheads="1"/>
          </p:cNvSpPr>
          <p:nvPr/>
        </p:nvSpPr>
        <p:spPr bwMode="auto">
          <a:xfrm>
            <a:off x="6137845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5" name="Freeform 33"/>
          <p:cNvSpPr>
            <a:spLocks noEditPoints="1"/>
          </p:cNvSpPr>
          <p:nvPr/>
        </p:nvSpPr>
        <p:spPr bwMode="auto">
          <a:xfrm>
            <a:off x="6325969" y="1267259"/>
            <a:ext cx="446712" cy="536513"/>
          </a:xfrm>
          <a:custGeom>
            <a:avLst/>
            <a:gdLst>
              <a:gd name="T0" fmla="*/ 319 w 577"/>
              <a:gd name="T1" fmla="*/ 583 h 693"/>
              <a:gd name="T2" fmla="*/ 242 w 577"/>
              <a:gd name="T3" fmla="*/ 444 h 693"/>
              <a:gd name="T4" fmla="*/ 242 w 577"/>
              <a:gd name="T5" fmla="*/ 590 h 693"/>
              <a:gd name="T6" fmla="*/ 305 w 577"/>
              <a:gd name="T7" fmla="*/ 576 h 693"/>
              <a:gd name="T8" fmla="*/ 361 w 577"/>
              <a:gd name="T9" fmla="*/ 590 h 693"/>
              <a:gd name="T10" fmla="*/ 439 w 577"/>
              <a:gd name="T11" fmla="*/ 451 h 693"/>
              <a:gd name="T12" fmla="*/ 354 w 577"/>
              <a:gd name="T13" fmla="*/ 451 h 693"/>
              <a:gd name="T14" fmla="*/ 368 w 577"/>
              <a:gd name="T15" fmla="*/ 458 h 693"/>
              <a:gd name="T16" fmla="*/ 368 w 577"/>
              <a:gd name="T17" fmla="*/ 576 h 693"/>
              <a:gd name="T18" fmla="*/ 193 w 577"/>
              <a:gd name="T19" fmla="*/ 590 h 693"/>
              <a:gd name="T20" fmla="*/ 193 w 577"/>
              <a:gd name="T21" fmla="*/ 444 h 693"/>
              <a:gd name="T22" fmla="*/ 117 w 577"/>
              <a:gd name="T23" fmla="*/ 583 h 693"/>
              <a:gd name="T24" fmla="*/ 186 w 577"/>
              <a:gd name="T25" fmla="*/ 458 h 693"/>
              <a:gd name="T26" fmla="*/ 131 w 577"/>
              <a:gd name="T27" fmla="*/ 458 h 693"/>
              <a:gd name="T28" fmla="*/ 423 w 577"/>
              <a:gd name="T29" fmla="*/ 24 h 693"/>
              <a:gd name="T30" fmla="*/ 133 w 577"/>
              <a:gd name="T31" fmla="*/ 127 h 693"/>
              <a:gd name="T32" fmla="*/ 113 w 577"/>
              <a:gd name="T33" fmla="*/ 168 h 693"/>
              <a:gd name="T34" fmla="*/ 20 w 577"/>
              <a:gd name="T35" fmla="*/ 287 h 693"/>
              <a:gd name="T36" fmla="*/ 0 w 577"/>
              <a:gd name="T37" fmla="*/ 676 h 693"/>
              <a:gd name="T38" fmla="*/ 489 w 577"/>
              <a:gd name="T39" fmla="*/ 676 h 693"/>
              <a:gd name="T40" fmla="*/ 131 w 577"/>
              <a:gd name="T41" fmla="*/ 388 h 693"/>
              <a:gd name="T42" fmla="*/ 143 w 577"/>
              <a:gd name="T43" fmla="*/ 280 h 693"/>
              <a:gd name="T44" fmla="*/ 274 w 577"/>
              <a:gd name="T45" fmla="*/ 234 h 693"/>
              <a:gd name="T46" fmla="*/ 456 w 577"/>
              <a:gd name="T47" fmla="*/ 234 h 693"/>
              <a:gd name="T48" fmla="*/ 524 w 577"/>
              <a:gd name="T49" fmla="*/ 95 h 693"/>
              <a:gd name="T50" fmla="*/ 117 w 577"/>
              <a:gd name="T51" fmla="*/ 395 h 693"/>
              <a:gd name="T52" fmla="*/ 475 w 577"/>
              <a:gd name="T53" fmla="*/ 405 h 693"/>
              <a:gd name="T54" fmla="*/ 17 w 577"/>
              <a:gd name="T55" fmla="*/ 679 h 693"/>
              <a:gd name="T56" fmla="*/ 17 w 577"/>
              <a:gd name="T57" fmla="*/ 301 h 693"/>
              <a:gd name="T58" fmla="*/ 114 w 577"/>
              <a:gd name="T59" fmla="*/ 301 h 693"/>
              <a:gd name="T60" fmla="*/ 456 w 577"/>
              <a:gd name="T61" fmla="*/ 220 h 693"/>
              <a:gd name="T62" fmla="*/ 397 w 577"/>
              <a:gd name="T63" fmla="*/ 197 h 693"/>
              <a:gd name="T64" fmla="*/ 275 w 577"/>
              <a:gd name="T65" fmla="*/ 217 h 693"/>
              <a:gd name="T66" fmla="*/ 221 w 577"/>
              <a:gd name="T67" fmla="*/ 270 h 693"/>
              <a:gd name="T68" fmla="*/ 138 w 577"/>
              <a:gd name="T69" fmla="*/ 263 h 693"/>
              <a:gd name="T70" fmla="*/ 34 w 577"/>
              <a:gd name="T71" fmla="*/ 287 h 693"/>
              <a:gd name="T72" fmla="*/ 79 w 577"/>
              <a:gd name="T73" fmla="*/ 216 h 693"/>
              <a:gd name="T74" fmla="*/ 135 w 577"/>
              <a:gd name="T75" fmla="*/ 182 h 693"/>
              <a:gd name="T76" fmla="*/ 147 w 577"/>
              <a:gd name="T77" fmla="*/ 127 h 693"/>
              <a:gd name="T78" fmla="*/ 360 w 577"/>
              <a:gd name="T79" fmla="*/ 67 h 693"/>
              <a:gd name="T80" fmla="*/ 497 w 577"/>
              <a:gd name="T81" fmla="*/ 107 h 693"/>
              <a:gd name="T82" fmla="*/ 524 w 577"/>
              <a:gd name="T83" fmla="*/ 109 h 6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77" h="693">
                <a:moveTo>
                  <a:pt x="242" y="590"/>
                </a:moveTo>
                <a:cubicBezTo>
                  <a:pt x="312" y="590"/>
                  <a:pt x="312" y="590"/>
                  <a:pt x="312" y="590"/>
                </a:cubicBezTo>
                <a:cubicBezTo>
                  <a:pt x="316" y="590"/>
                  <a:pt x="319" y="587"/>
                  <a:pt x="319" y="583"/>
                </a:cubicBezTo>
                <a:cubicBezTo>
                  <a:pt x="319" y="451"/>
                  <a:pt x="319" y="451"/>
                  <a:pt x="319" y="451"/>
                </a:cubicBezTo>
                <a:cubicBezTo>
                  <a:pt x="319" y="447"/>
                  <a:pt x="316" y="444"/>
                  <a:pt x="312" y="444"/>
                </a:cubicBezTo>
                <a:cubicBezTo>
                  <a:pt x="242" y="444"/>
                  <a:pt x="242" y="444"/>
                  <a:pt x="242" y="444"/>
                </a:cubicBezTo>
                <a:cubicBezTo>
                  <a:pt x="238" y="444"/>
                  <a:pt x="235" y="447"/>
                  <a:pt x="235" y="451"/>
                </a:cubicBezTo>
                <a:cubicBezTo>
                  <a:pt x="235" y="583"/>
                  <a:pt x="235" y="583"/>
                  <a:pt x="235" y="583"/>
                </a:cubicBezTo>
                <a:cubicBezTo>
                  <a:pt x="235" y="587"/>
                  <a:pt x="238" y="590"/>
                  <a:pt x="242" y="590"/>
                </a:cubicBezTo>
                <a:close/>
                <a:moveTo>
                  <a:pt x="249" y="458"/>
                </a:moveTo>
                <a:cubicBezTo>
                  <a:pt x="305" y="458"/>
                  <a:pt x="305" y="458"/>
                  <a:pt x="305" y="458"/>
                </a:cubicBezTo>
                <a:cubicBezTo>
                  <a:pt x="305" y="576"/>
                  <a:pt x="305" y="576"/>
                  <a:pt x="305" y="576"/>
                </a:cubicBezTo>
                <a:cubicBezTo>
                  <a:pt x="249" y="576"/>
                  <a:pt x="249" y="576"/>
                  <a:pt x="249" y="576"/>
                </a:cubicBezTo>
                <a:lnTo>
                  <a:pt x="249" y="458"/>
                </a:lnTo>
                <a:close/>
                <a:moveTo>
                  <a:pt x="361" y="590"/>
                </a:moveTo>
                <a:cubicBezTo>
                  <a:pt x="432" y="590"/>
                  <a:pt x="432" y="590"/>
                  <a:pt x="432" y="590"/>
                </a:cubicBezTo>
                <a:cubicBezTo>
                  <a:pt x="436" y="590"/>
                  <a:pt x="439" y="587"/>
                  <a:pt x="439" y="583"/>
                </a:cubicBezTo>
                <a:cubicBezTo>
                  <a:pt x="439" y="451"/>
                  <a:pt x="439" y="451"/>
                  <a:pt x="439" y="451"/>
                </a:cubicBezTo>
                <a:cubicBezTo>
                  <a:pt x="439" y="447"/>
                  <a:pt x="436" y="444"/>
                  <a:pt x="432" y="444"/>
                </a:cubicBezTo>
                <a:cubicBezTo>
                  <a:pt x="361" y="444"/>
                  <a:pt x="361" y="444"/>
                  <a:pt x="361" y="444"/>
                </a:cubicBezTo>
                <a:cubicBezTo>
                  <a:pt x="358" y="444"/>
                  <a:pt x="354" y="447"/>
                  <a:pt x="354" y="451"/>
                </a:cubicBezTo>
                <a:cubicBezTo>
                  <a:pt x="354" y="583"/>
                  <a:pt x="354" y="583"/>
                  <a:pt x="354" y="583"/>
                </a:cubicBezTo>
                <a:cubicBezTo>
                  <a:pt x="354" y="587"/>
                  <a:pt x="358" y="590"/>
                  <a:pt x="361" y="590"/>
                </a:cubicBezTo>
                <a:close/>
                <a:moveTo>
                  <a:pt x="368" y="458"/>
                </a:moveTo>
                <a:cubicBezTo>
                  <a:pt x="425" y="458"/>
                  <a:pt x="425" y="458"/>
                  <a:pt x="425" y="458"/>
                </a:cubicBezTo>
                <a:cubicBezTo>
                  <a:pt x="425" y="576"/>
                  <a:pt x="425" y="576"/>
                  <a:pt x="425" y="576"/>
                </a:cubicBezTo>
                <a:cubicBezTo>
                  <a:pt x="368" y="576"/>
                  <a:pt x="368" y="576"/>
                  <a:pt x="368" y="576"/>
                </a:cubicBezTo>
                <a:lnTo>
                  <a:pt x="368" y="458"/>
                </a:lnTo>
                <a:close/>
                <a:moveTo>
                  <a:pt x="124" y="590"/>
                </a:moveTo>
                <a:cubicBezTo>
                  <a:pt x="193" y="590"/>
                  <a:pt x="193" y="590"/>
                  <a:pt x="193" y="590"/>
                </a:cubicBezTo>
                <a:cubicBezTo>
                  <a:pt x="197" y="590"/>
                  <a:pt x="200" y="587"/>
                  <a:pt x="200" y="583"/>
                </a:cubicBezTo>
                <a:cubicBezTo>
                  <a:pt x="200" y="451"/>
                  <a:pt x="200" y="451"/>
                  <a:pt x="200" y="451"/>
                </a:cubicBezTo>
                <a:cubicBezTo>
                  <a:pt x="200" y="447"/>
                  <a:pt x="197" y="444"/>
                  <a:pt x="193" y="444"/>
                </a:cubicBezTo>
                <a:cubicBezTo>
                  <a:pt x="124" y="444"/>
                  <a:pt x="124" y="444"/>
                  <a:pt x="124" y="444"/>
                </a:cubicBezTo>
                <a:cubicBezTo>
                  <a:pt x="120" y="444"/>
                  <a:pt x="117" y="447"/>
                  <a:pt x="117" y="451"/>
                </a:cubicBezTo>
                <a:cubicBezTo>
                  <a:pt x="117" y="583"/>
                  <a:pt x="117" y="583"/>
                  <a:pt x="117" y="583"/>
                </a:cubicBezTo>
                <a:cubicBezTo>
                  <a:pt x="117" y="587"/>
                  <a:pt x="120" y="590"/>
                  <a:pt x="124" y="590"/>
                </a:cubicBezTo>
                <a:close/>
                <a:moveTo>
                  <a:pt x="131" y="458"/>
                </a:moveTo>
                <a:cubicBezTo>
                  <a:pt x="186" y="458"/>
                  <a:pt x="186" y="458"/>
                  <a:pt x="186" y="458"/>
                </a:cubicBezTo>
                <a:cubicBezTo>
                  <a:pt x="186" y="576"/>
                  <a:pt x="186" y="576"/>
                  <a:pt x="186" y="576"/>
                </a:cubicBezTo>
                <a:cubicBezTo>
                  <a:pt x="131" y="576"/>
                  <a:pt x="131" y="576"/>
                  <a:pt x="131" y="576"/>
                </a:cubicBezTo>
                <a:lnTo>
                  <a:pt x="131" y="458"/>
                </a:lnTo>
                <a:close/>
                <a:moveTo>
                  <a:pt x="524" y="95"/>
                </a:moveTo>
                <a:cubicBezTo>
                  <a:pt x="519" y="95"/>
                  <a:pt x="514" y="96"/>
                  <a:pt x="510" y="97"/>
                </a:cubicBezTo>
                <a:cubicBezTo>
                  <a:pt x="502" y="56"/>
                  <a:pt x="466" y="24"/>
                  <a:pt x="423" y="24"/>
                </a:cubicBezTo>
                <a:cubicBezTo>
                  <a:pt x="399" y="24"/>
                  <a:pt x="377" y="33"/>
                  <a:pt x="361" y="49"/>
                </a:cubicBezTo>
                <a:cubicBezTo>
                  <a:pt x="337" y="18"/>
                  <a:pt x="300" y="0"/>
                  <a:pt x="260" y="0"/>
                </a:cubicBezTo>
                <a:cubicBezTo>
                  <a:pt x="190" y="0"/>
                  <a:pt x="133" y="57"/>
                  <a:pt x="133" y="127"/>
                </a:cubicBezTo>
                <a:cubicBezTo>
                  <a:pt x="133" y="138"/>
                  <a:pt x="134" y="149"/>
                  <a:pt x="137" y="159"/>
                </a:cubicBezTo>
                <a:cubicBezTo>
                  <a:pt x="133" y="162"/>
                  <a:pt x="130" y="166"/>
                  <a:pt x="127" y="170"/>
                </a:cubicBezTo>
                <a:cubicBezTo>
                  <a:pt x="122" y="169"/>
                  <a:pt x="118" y="168"/>
                  <a:pt x="113" y="168"/>
                </a:cubicBezTo>
                <a:cubicBezTo>
                  <a:pt x="86" y="168"/>
                  <a:pt x="65" y="189"/>
                  <a:pt x="65" y="216"/>
                </a:cubicBezTo>
                <a:cubicBezTo>
                  <a:pt x="65" y="218"/>
                  <a:pt x="65" y="220"/>
                  <a:pt x="66" y="222"/>
                </a:cubicBezTo>
                <a:cubicBezTo>
                  <a:pt x="40" y="234"/>
                  <a:pt x="23" y="259"/>
                  <a:pt x="20" y="287"/>
                </a:cubicBezTo>
                <a:cubicBezTo>
                  <a:pt x="17" y="287"/>
                  <a:pt x="17" y="287"/>
                  <a:pt x="17" y="287"/>
                </a:cubicBezTo>
                <a:cubicBezTo>
                  <a:pt x="8" y="287"/>
                  <a:pt x="0" y="295"/>
                  <a:pt x="0" y="304"/>
                </a:cubicBezTo>
                <a:cubicBezTo>
                  <a:pt x="0" y="676"/>
                  <a:pt x="0" y="676"/>
                  <a:pt x="0" y="676"/>
                </a:cubicBezTo>
                <a:cubicBezTo>
                  <a:pt x="0" y="685"/>
                  <a:pt x="8" y="693"/>
                  <a:pt x="17" y="693"/>
                </a:cubicBezTo>
                <a:cubicBezTo>
                  <a:pt x="472" y="693"/>
                  <a:pt x="472" y="693"/>
                  <a:pt x="472" y="693"/>
                </a:cubicBezTo>
                <a:cubicBezTo>
                  <a:pt x="482" y="693"/>
                  <a:pt x="489" y="685"/>
                  <a:pt x="489" y="676"/>
                </a:cubicBezTo>
                <a:cubicBezTo>
                  <a:pt x="489" y="405"/>
                  <a:pt x="489" y="405"/>
                  <a:pt x="489" y="405"/>
                </a:cubicBezTo>
                <a:cubicBezTo>
                  <a:pt x="489" y="396"/>
                  <a:pt x="482" y="388"/>
                  <a:pt x="472" y="388"/>
                </a:cubicBezTo>
                <a:cubicBezTo>
                  <a:pt x="131" y="388"/>
                  <a:pt x="131" y="388"/>
                  <a:pt x="131" y="388"/>
                </a:cubicBezTo>
                <a:cubicBezTo>
                  <a:pt x="131" y="304"/>
                  <a:pt x="131" y="304"/>
                  <a:pt x="131" y="304"/>
                </a:cubicBezTo>
                <a:cubicBezTo>
                  <a:pt x="131" y="301"/>
                  <a:pt x="130" y="297"/>
                  <a:pt x="128" y="295"/>
                </a:cubicBezTo>
                <a:cubicBezTo>
                  <a:pt x="134" y="291"/>
                  <a:pt x="139" y="286"/>
                  <a:pt x="143" y="280"/>
                </a:cubicBezTo>
                <a:cubicBezTo>
                  <a:pt x="157" y="287"/>
                  <a:pt x="172" y="291"/>
                  <a:pt x="188" y="291"/>
                </a:cubicBezTo>
                <a:cubicBezTo>
                  <a:pt x="201" y="291"/>
                  <a:pt x="214" y="288"/>
                  <a:pt x="227" y="282"/>
                </a:cubicBezTo>
                <a:cubicBezTo>
                  <a:pt x="248" y="273"/>
                  <a:pt x="265" y="255"/>
                  <a:pt x="274" y="234"/>
                </a:cubicBezTo>
                <a:cubicBezTo>
                  <a:pt x="299" y="248"/>
                  <a:pt x="329" y="252"/>
                  <a:pt x="357" y="244"/>
                </a:cubicBezTo>
                <a:cubicBezTo>
                  <a:pt x="375" y="238"/>
                  <a:pt x="391" y="227"/>
                  <a:pt x="404" y="212"/>
                </a:cubicBezTo>
                <a:cubicBezTo>
                  <a:pt x="418" y="226"/>
                  <a:pt x="436" y="234"/>
                  <a:pt x="456" y="234"/>
                </a:cubicBezTo>
                <a:cubicBezTo>
                  <a:pt x="480" y="234"/>
                  <a:pt x="503" y="222"/>
                  <a:pt x="517" y="202"/>
                </a:cubicBezTo>
                <a:cubicBezTo>
                  <a:pt x="549" y="206"/>
                  <a:pt x="577" y="181"/>
                  <a:pt x="577" y="149"/>
                </a:cubicBezTo>
                <a:cubicBezTo>
                  <a:pt x="577" y="119"/>
                  <a:pt x="553" y="95"/>
                  <a:pt x="524" y="95"/>
                </a:cubicBezTo>
                <a:close/>
                <a:moveTo>
                  <a:pt x="114" y="301"/>
                </a:moveTo>
                <a:cubicBezTo>
                  <a:pt x="115" y="301"/>
                  <a:pt x="117" y="302"/>
                  <a:pt x="117" y="304"/>
                </a:cubicBezTo>
                <a:cubicBezTo>
                  <a:pt x="117" y="395"/>
                  <a:pt x="117" y="395"/>
                  <a:pt x="117" y="395"/>
                </a:cubicBezTo>
                <a:cubicBezTo>
                  <a:pt x="117" y="399"/>
                  <a:pt x="120" y="402"/>
                  <a:pt x="124" y="402"/>
                </a:cubicBezTo>
                <a:cubicBezTo>
                  <a:pt x="472" y="402"/>
                  <a:pt x="472" y="402"/>
                  <a:pt x="472" y="402"/>
                </a:cubicBezTo>
                <a:cubicBezTo>
                  <a:pt x="474" y="402"/>
                  <a:pt x="475" y="403"/>
                  <a:pt x="475" y="405"/>
                </a:cubicBezTo>
                <a:cubicBezTo>
                  <a:pt x="475" y="676"/>
                  <a:pt x="475" y="676"/>
                  <a:pt x="475" y="676"/>
                </a:cubicBezTo>
                <a:cubicBezTo>
                  <a:pt x="475" y="678"/>
                  <a:pt x="474" y="679"/>
                  <a:pt x="472" y="679"/>
                </a:cubicBezTo>
                <a:cubicBezTo>
                  <a:pt x="17" y="679"/>
                  <a:pt x="17" y="679"/>
                  <a:pt x="17" y="679"/>
                </a:cubicBezTo>
                <a:cubicBezTo>
                  <a:pt x="15" y="679"/>
                  <a:pt x="14" y="678"/>
                  <a:pt x="14" y="676"/>
                </a:cubicBezTo>
                <a:cubicBezTo>
                  <a:pt x="14" y="304"/>
                  <a:pt x="14" y="304"/>
                  <a:pt x="14" y="304"/>
                </a:cubicBezTo>
                <a:cubicBezTo>
                  <a:pt x="14" y="302"/>
                  <a:pt x="15" y="301"/>
                  <a:pt x="17" y="301"/>
                </a:cubicBezTo>
                <a:cubicBezTo>
                  <a:pt x="27" y="301"/>
                  <a:pt x="27" y="301"/>
                  <a:pt x="27" y="301"/>
                </a:cubicBezTo>
                <a:cubicBezTo>
                  <a:pt x="106" y="301"/>
                  <a:pt x="106" y="301"/>
                  <a:pt x="106" y="301"/>
                </a:cubicBezTo>
                <a:lnTo>
                  <a:pt x="114" y="301"/>
                </a:lnTo>
                <a:close/>
                <a:moveTo>
                  <a:pt x="515" y="188"/>
                </a:moveTo>
                <a:cubicBezTo>
                  <a:pt x="512" y="187"/>
                  <a:pt x="509" y="188"/>
                  <a:pt x="507" y="191"/>
                </a:cubicBezTo>
                <a:cubicBezTo>
                  <a:pt x="496" y="209"/>
                  <a:pt x="477" y="220"/>
                  <a:pt x="456" y="220"/>
                </a:cubicBezTo>
                <a:cubicBezTo>
                  <a:pt x="437" y="220"/>
                  <a:pt x="420" y="211"/>
                  <a:pt x="409" y="197"/>
                </a:cubicBezTo>
                <a:cubicBezTo>
                  <a:pt x="407" y="195"/>
                  <a:pt x="405" y="194"/>
                  <a:pt x="403" y="194"/>
                </a:cubicBezTo>
                <a:cubicBezTo>
                  <a:pt x="401" y="194"/>
                  <a:pt x="399" y="195"/>
                  <a:pt x="397" y="197"/>
                </a:cubicBezTo>
                <a:cubicBezTo>
                  <a:pt x="386" y="213"/>
                  <a:pt x="371" y="224"/>
                  <a:pt x="353" y="230"/>
                </a:cubicBezTo>
                <a:cubicBezTo>
                  <a:pt x="344" y="233"/>
                  <a:pt x="335" y="234"/>
                  <a:pt x="326" y="234"/>
                </a:cubicBezTo>
                <a:cubicBezTo>
                  <a:pt x="308" y="234"/>
                  <a:pt x="290" y="228"/>
                  <a:pt x="275" y="217"/>
                </a:cubicBezTo>
                <a:cubicBezTo>
                  <a:pt x="273" y="216"/>
                  <a:pt x="271" y="216"/>
                  <a:pt x="269" y="216"/>
                </a:cubicBezTo>
                <a:cubicBezTo>
                  <a:pt x="267" y="217"/>
                  <a:pt x="265" y="219"/>
                  <a:pt x="264" y="221"/>
                </a:cubicBezTo>
                <a:cubicBezTo>
                  <a:pt x="257" y="242"/>
                  <a:pt x="242" y="260"/>
                  <a:pt x="221" y="270"/>
                </a:cubicBezTo>
                <a:cubicBezTo>
                  <a:pt x="210" y="274"/>
                  <a:pt x="199" y="277"/>
                  <a:pt x="188" y="277"/>
                </a:cubicBezTo>
                <a:cubicBezTo>
                  <a:pt x="172" y="277"/>
                  <a:pt x="157" y="272"/>
                  <a:pt x="144" y="264"/>
                </a:cubicBezTo>
                <a:cubicBezTo>
                  <a:pt x="142" y="263"/>
                  <a:pt x="140" y="262"/>
                  <a:pt x="138" y="263"/>
                </a:cubicBezTo>
                <a:cubicBezTo>
                  <a:pt x="136" y="264"/>
                  <a:pt x="134" y="265"/>
                  <a:pt x="134" y="267"/>
                </a:cubicBezTo>
                <a:cubicBezTo>
                  <a:pt x="129" y="279"/>
                  <a:pt x="118" y="287"/>
                  <a:pt x="106" y="287"/>
                </a:cubicBezTo>
                <a:cubicBezTo>
                  <a:pt x="34" y="287"/>
                  <a:pt x="34" y="287"/>
                  <a:pt x="34" y="287"/>
                </a:cubicBezTo>
                <a:cubicBezTo>
                  <a:pt x="37" y="263"/>
                  <a:pt x="53" y="242"/>
                  <a:pt x="76" y="233"/>
                </a:cubicBezTo>
                <a:cubicBezTo>
                  <a:pt x="79" y="232"/>
                  <a:pt x="81" y="228"/>
                  <a:pt x="80" y="225"/>
                </a:cubicBezTo>
                <a:cubicBezTo>
                  <a:pt x="79" y="222"/>
                  <a:pt x="79" y="219"/>
                  <a:pt x="79" y="216"/>
                </a:cubicBezTo>
                <a:cubicBezTo>
                  <a:pt x="79" y="197"/>
                  <a:pt x="94" y="182"/>
                  <a:pt x="113" y="182"/>
                </a:cubicBezTo>
                <a:cubicBezTo>
                  <a:pt x="118" y="182"/>
                  <a:pt x="122" y="183"/>
                  <a:pt x="127" y="185"/>
                </a:cubicBezTo>
                <a:cubicBezTo>
                  <a:pt x="130" y="186"/>
                  <a:pt x="133" y="185"/>
                  <a:pt x="135" y="182"/>
                </a:cubicBezTo>
                <a:cubicBezTo>
                  <a:pt x="139" y="177"/>
                  <a:pt x="144" y="172"/>
                  <a:pt x="149" y="167"/>
                </a:cubicBezTo>
                <a:cubicBezTo>
                  <a:pt x="152" y="166"/>
                  <a:pt x="153" y="163"/>
                  <a:pt x="152" y="160"/>
                </a:cubicBezTo>
                <a:cubicBezTo>
                  <a:pt x="149" y="149"/>
                  <a:pt x="147" y="138"/>
                  <a:pt x="147" y="127"/>
                </a:cubicBezTo>
                <a:cubicBezTo>
                  <a:pt x="147" y="64"/>
                  <a:pt x="198" y="14"/>
                  <a:pt x="260" y="14"/>
                </a:cubicBezTo>
                <a:cubicBezTo>
                  <a:pt x="298" y="14"/>
                  <a:pt x="333" y="33"/>
                  <a:pt x="354" y="64"/>
                </a:cubicBezTo>
                <a:cubicBezTo>
                  <a:pt x="356" y="66"/>
                  <a:pt x="358" y="67"/>
                  <a:pt x="360" y="67"/>
                </a:cubicBezTo>
                <a:cubicBezTo>
                  <a:pt x="362" y="68"/>
                  <a:pt x="364" y="67"/>
                  <a:pt x="365" y="65"/>
                </a:cubicBezTo>
                <a:cubicBezTo>
                  <a:pt x="380" y="48"/>
                  <a:pt x="401" y="38"/>
                  <a:pt x="423" y="38"/>
                </a:cubicBezTo>
                <a:cubicBezTo>
                  <a:pt x="462" y="38"/>
                  <a:pt x="494" y="69"/>
                  <a:pt x="497" y="107"/>
                </a:cubicBezTo>
                <a:cubicBezTo>
                  <a:pt x="497" y="110"/>
                  <a:pt x="498" y="112"/>
                  <a:pt x="500" y="113"/>
                </a:cubicBezTo>
                <a:cubicBezTo>
                  <a:pt x="502" y="114"/>
                  <a:pt x="505" y="114"/>
                  <a:pt x="507" y="113"/>
                </a:cubicBezTo>
                <a:cubicBezTo>
                  <a:pt x="512" y="111"/>
                  <a:pt x="518" y="109"/>
                  <a:pt x="524" y="109"/>
                </a:cubicBezTo>
                <a:cubicBezTo>
                  <a:pt x="545" y="109"/>
                  <a:pt x="563" y="127"/>
                  <a:pt x="563" y="149"/>
                </a:cubicBezTo>
                <a:cubicBezTo>
                  <a:pt x="563" y="174"/>
                  <a:pt x="541" y="193"/>
                  <a:pt x="515" y="18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1" name="Oval 19"/>
          <p:cNvSpPr>
            <a:spLocks noChangeArrowheads="1"/>
          </p:cNvSpPr>
          <p:nvPr/>
        </p:nvSpPr>
        <p:spPr bwMode="auto">
          <a:xfrm>
            <a:off x="966871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6" name="Freeform 34"/>
          <p:cNvSpPr>
            <a:spLocks noEditPoints="1"/>
          </p:cNvSpPr>
          <p:nvPr/>
        </p:nvSpPr>
        <p:spPr bwMode="auto">
          <a:xfrm>
            <a:off x="1099935" y="2438269"/>
            <a:ext cx="557489" cy="534875"/>
          </a:xfrm>
          <a:custGeom>
            <a:avLst/>
            <a:gdLst>
              <a:gd name="T0" fmla="*/ 641 w 720"/>
              <a:gd name="T1" fmla="*/ 515 h 691"/>
              <a:gd name="T2" fmla="*/ 440 w 720"/>
              <a:gd name="T3" fmla="*/ 623 h 691"/>
              <a:gd name="T4" fmla="*/ 434 w 720"/>
              <a:gd name="T5" fmla="*/ 619 h 691"/>
              <a:gd name="T6" fmla="*/ 102 w 720"/>
              <a:gd name="T7" fmla="*/ 28 h 691"/>
              <a:gd name="T8" fmla="*/ 11 w 720"/>
              <a:gd name="T9" fmla="*/ 65 h 691"/>
              <a:gd name="T10" fmla="*/ 4 w 720"/>
              <a:gd name="T11" fmla="*/ 53 h 691"/>
              <a:gd name="T12" fmla="*/ 106 w 720"/>
              <a:gd name="T13" fmla="*/ 15 h 691"/>
              <a:gd name="T14" fmla="*/ 443 w 720"/>
              <a:gd name="T15" fmla="*/ 606 h 691"/>
              <a:gd name="T16" fmla="*/ 644 w 720"/>
              <a:gd name="T17" fmla="*/ 506 h 691"/>
              <a:gd name="T18" fmla="*/ 391 w 720"/>
              <a:gd name="T19" fmla="*/ 656 h 691"/>
              <a:gd name="T20" fmla="*/ 344 w 720"/>
              <a:gd name="T21" fmla="*/ 691 h 691"/>
              <a:gd name="T22" fmla="*/ 321 w 720"/>
              <a:gd name="T23" fmla="*/ 599 h 691"/>
              <a:gd name="T24" fmla="*/ 387 w 720"/>
              <a:gd name="T25" fmla="*/ 619 h 691"/>
              <a:gd name="T26" fmla="*/ 344 w 720"/>
              <a:gd name="T27" fmla="*/ 607 h 691"/>
              <a:gd name="T28" fmla="*/ 314 w 720"/>
              <a:gd name="T29" fmla="*/ 659 h 691"/>
              <a:gd name="T30" fmla="*/ 361 w 720"/>
              <a:gd name="T31" fmla="*/ 673 h 691"/>
              <a:gd name="T32" fmla="*/ 375 w 720"/>
              <a:gd name="T33" fmla="*/ 626 h 691"/>
              <a:gd name="T34" fmla="*/ 470 w 720"/>
              <a:gd name="T35" fmla="*/ 546 h 691"/>
              <a:gd name="T36" fmla="*/ 465 w 720"/>
              <a:gd name="T37" fmla="*/ 546 h 691"/>
              <a:gd name="T38" fmla="*/ 245 w 720"/>
              <a:gd name="T39" fmla="*/ 142 h 691"/>
              <a:gd name="T40" fmla="*/ 492 w 720"/>
              <a:gd name="T41" fmla="*/ 1 h 691"/>
              <a:gd name="T42" fmla="*/ 501 w 720"/>
              <a:gd name="T43" fmla="*/ 3 h 691"/>
              <a:gd name="T44" fmla="*/ 715 w 720"/>
              <a:gd name="T45" fmla="*/ 414 h 691"/>
              <a:gd name="T46" fmla="*/ 362 w 720"/>
              <a:gd name="T47" fmla="*/ 330 h 691"/>
              <a:gd name="T48" fmla="*/ 492 w 720"/>
              <a:gd name="T49" fmla="*/ 16 h 691"/>
              <a:gd name="T50" fmla="*/ 702 w 720"/>
              <a:gd name="T51" fmla="*/ 405 h 691"/>
              <a:gd name="T52" fmla="*/ 369 w 720"/>
              <a:gd name="T53" fmla="*/ 342 h 691"/>
              <a:gd name="T54" fmla="*/ 702 w 720"/>
              <a:gd name="T55" fmla="*/ 405 h 691"/>
              <a:gd name="T56" fmla="*/ 465 w 720"/>
              <a:gd name="T57" fmla="*/ 92 h 691"/>
              <a:gd name="T58" fmla="*/ 342 w 720"/>
              <a:gd name="T59" fmla="*/ 151 h 691"/>
              <a:gd name="T60" fmla="*/ 345 w 720"/>
              <a:gd name="T61" fmla="*/ 164 h 691"/>
              <a:gd name="T62" fmla="*/ 463 w 720"/>
              <a:gd name="T63" fmla="*/ 102 h 691"/>
              <a:gd name="T64" fmla="*/ 563 w 720"/>
              <a:gd name="T65" fmla="*/ 288 h 691"/>
              <a:gd name="T66" fmla="*/ 446 w 720"/>
              <a:gd name="T67" fmla="*/ 359 h 691"/>
              <a:gd name="T68" fmla="*/ 455 w 720"/>
              <a:gd name="T69" fmla="*/ 362 h 691"/>
              <a:gd name="T70" fmla="*/ 572 w 720"/>
              <a:gd name="T71" fmla="*/ 291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20" h="691">
                <a:moveTo>
                  <a:pt x="644" y="506"/>
                </a:moveTo>
                <a:cubicBezTo>
                  <a:pt x="646" y="509"/>
                  <a:pt x="645" y="513"/>
                  <a:pt x="641" y="515"/>
                </a:cubicBezTo>
                <a:cubicBezTo>
                  <a:pt x="443" y="622"/>
                  <a:pt x="443" y="622"/>
                  <a:pt x="443" y="622"/>
                </a:cubicBezTo>
                <a:cubicBezTo>
                  <a:pt x="442" y="622"/>
                  <a:pt x="441" y="623"/>
                  <a:pt x="440" y="623"/>
                </a:cubicBezTo>
                <a:cubicBezTo>
                  <a:pt x="439" y="623"/>
                  <a:pt x="439" y="623"/>
                  <a:pt x="438" y="622"/>
                </a:cubicBezTo>
                <a:cubicBezTo>
                  <a:pt x="436" y="622"/>
                  <a:pt x="435" y="621"/>
                  <a:pt x="434" y="619"/>
                </a:cubicBezTo>
                <a:cubicBezTo>
                  <a:pt x="125" y="47"/>
                  <a:pt x="125" y="47"/>
                  <a:pt x="125" y="47"/>
                </a:cubicBezTo>
                <a:cubicBezTo>
                  <a:pt x="120" y="38"/>
                  <a:pt x="112" y="31"/>
                  <a:pt x="102" y="28"/>
                </a:cubicBezTo>
                <a:cubicBezTo>
                  <a:pt x="93" y="25"/>
                  <a:pt x="82" y="26"/>
                  <a:pt x="73" y="31"/>
                </a:cubicBezTo>
                <a:cubicBezTo>
                  <a:pt x="11" y="65"/>
                  <a:pt x="11" y="65"/>
                  <a:pt x="11" y="65"/>
                </a:cubicBezTo>
                <a:cubicBezTo>
                  <a:pt x="7" y="67"/>
                  <a:pt x="3" y="66"/>
                  <a:pt x="1" y="62"/>
                </a:cubicBezTo>
                <a:cubicBezTo>
                  <a:pt x="0" y="59"/>
                  <a:pt x="1" y="55"/>
                  <a:pt x="4" y="53"/>
                </a:cubicBezTo>
                <a:cubicBezTo>
                  <a:pt x="67" y="19"/>
                  <a:pt x="67" y="19"/>
                  <a:pt x="67" y="19"/>
                </a:cubicBezTo>
                <a:cubicBezTo>
                  <a:pt x="79" y="12"/>
                  <a:pt x="93" y="11"/>
                  <a:pt x="106" y="15"/>
                </a:cubicBezTo>
                <a:cubicBezTo>
                  <a:pt x="120" y="19"/>
                  <a:pt x="131" y="28"/>
                  <a:pt x="137" y="40"/>
                </a:cubicBezTo>
                <a:cubicBezTo>
                  <a:pt x="443" y="606"/>
                  <a:pt x="443" y="606"/>
                  <a:pt x="443" y="606"/>
                </a:cubicBezTo>
                <a:cubicBezTo>
                  <a:pt x="634" y="503"/>
                  <a:pt x="634" y="503"/>
                  <a:pt x="634" y="503"/>
                </a:cubicBezTo>
                <a:cubicBezTo>
                  <a:pt x="638" y="501"/>
                  <a:pt x="642" y="502"/>
                  <a:pt x="644" y="506"/>
                </a:cubicBezTo>
                <a:close/>
                <a:moveTo>
                  <a:pt x="387" y="619"/>
                </a:moveTo>
                <a:cubicBezTo>
                  <a:pt x="394" y="630"/>
                  <a:pt x="395" y="644"/>
                  <a:pt x="391" y="656"/>
                </a:cubicBezTo>
                <a:cubicBezTo>
                  <a:pt x="387" y="669"/>
                  <a:pt x="379" y="679"/>
                  <a:pt x="368" y="685"/>
                </a:cubicBezTo>
                <a:cubicBezTo>
                  <a:pt x="360" y="689"/>
                  <a:pt x="352" y="691"/>
                  <a:pt x="344" y="691"/>
                </a:cubicBezTo>
                <a:cubicBezTo>
                  <a:pt x="326" y="691"/>
                  <a:pt x="310" y="681"/>
                  <a:pt x="301" y="665"/>
                </a:cubicBezTo>
                <a:cubicBezTo>
                  <a:pt x="289" y="642"/>
                  <a:pt x="297" y="612"/>
                  <a:pt x="321" y="599"/>
                </a:cubicBezTo>
                <a:cubicBezTo>
                  <a:pt x="328" y="595"/>
                  <a:pt x="336" y="593"/>
                  <a:pt x="344" y="593"/>
                </a:cubicBezTo>
                <a:cubicBezTo>
                  <a:pt x="362" y="593"/>
                  <a:pt x="379" y="603"/>
                  <a:pt x="387" y="619"/>
                </a:cubicBezTo>
                <a:close/>
                <a:moveTo>
                  <a:pt x="375" y="626"/>
                </a:moveTo>
                <a:cubicBezTo>
                  <a:pt x="369" y="614"/>
                  <a:pt x="357" y="607"/>
                  <a:pt x="344" y="607"/>
                </a:cubicBezTo>
                <a:cubicBezTo>
                  <a:pt x="339" y="607"/>
                  <a:pt x="333" y="609"/>
                  <a:pt x="328" y="612"/>
                </a:cubicBezTo>
                <a:cubicBezTo>
                  <a:pt x="311" y="621"/>
                  <a:pt x="305" y="642"/>
                  <a:pt x="314" y="659"/>
                </a:cubicBezTo>
                <a:cubicBezTo>
                  <a:pt x="320" y="670"/>
                  <a:pt x="332" y="677"/>
                  <a:pt x="344" y="677"/>
                </a:cubicBezTo>
                <a:cubicBezTo>
                  <a:pt x="350" y="677"/>
                  <a:pt x="356" y="676"/>
                  <a:pt x="361" y="673"/>
                </a:cubicBezTo>
                <a:cubicBezTo>
                  <a:pt x="369" y="668"/>
                  <a:pt x="375" y="661"/>
                  <a:pt x="378" y="652"/>
                </a:cubicBezTo>
                <a:cubicBezTo>
                  <a:pt x="380" y="643"/>
                  <a:pt x="379" y="634"/>
                  <a:pt x="375" y="626"/>
                </a:cubicBezTo>
                <a:close/>
                <a:moveTo>
                  <a:pt x="715" y="414"/>
                </a:moveTo>
                <a:cubicBezTo>
                  <a:pt x="470" y="546"/>
                  <a:pt x="470" y="546"/>
                  <a:pt x="470" y="546"/>
                </a:cubicBezTo>
                <a:cubicBezTo>
                  <a:pt x="469" y="546"/>
                  <a:pt x="468" y="546"/>
                  <a:pt x="467" y="546"/>
                </a:cubicBezTo>
                <a:cubicBezTo>
                  <a:pt x="467" y="546"/>
                  <a:pt x="466" y="546"/>
                  <a:pt x="465" y="546"/>
                </a:cubicBezTo>
                <a:cubicBezTo>
                  <a:pt x="463" y="546"/>
                  <a:pt x="462" y="544"/>
                  <a:pt x="461" y="543"/>
                </a:cubicBezTo>
                <a:cubicBezTo>
                  <a:pt x="245" y="142"/>
                  <a:pt x="245" y="142"/>
                  <a:pt x="245" y="142"/>
                </a:cubicBezTo>
                <a:cubicBezTo>
                  <a:pt x="243" y="139"/>
                  <a:pt x="244" y="134"/>
                  <a:pt x="248" y="133"/>
                </a:cubicBezTo>
                <a:cubicBezTo>
                  <a:pt x="492" y="1"/>
                  <a:pt x="492" y="1"/>
                  <a:pt x="492" y="1"/>
                </a:cubicBezTo>
                <a:cubicBezTo>
                  <a:pt x="494" y="0"/>
                  <a:pt x="496" y="0"/>
                  <a:pt x="497" y="0"/>
                </a:cubicBezTo>
                <a:cubicBezTo>
                  <a:pt x="499" y="1"/>
                  <a:pt x="501" y="2"/>
                  <a:pt x="501" y="3"/>
                </a:cubicBezTo>
                <a:cubicBezTo>
                  <a:pt x="718" y="404"/>
                  <a:pt x="718" y="404"/>
                  <a:pt x="718" y="404"/>
                </a:cubicBezTo>
                <a:cubicBezTo>
                  <a:pt x="720" y="408"/>
                  <a:pt x="718" y="412"/>
                  <a:pt x="715" y="414"/>
                </a:cubicBezTo>
                <a:close/>
                <a:moveTo>
                  <a:pt x="260" y="142"/>
                </a:moveTo>
                <a:cubicBezTo>
                  <a:pt x="362" y="330"/>
                  <a:pt x="362" y="330"/>
                  <a:pt x="362" y="330"/>
                </a:cubicBezTo>
                <a:cubicBezTo>
                  <a:pt x="594" y="204"/>
                  <a:pt x="594" y="204"/>
                  <a:pt x="594" y="204"/>
                </a:cubicBezTo>
                <a:cubicBezTo>
                  <a:pt x="492" y="16"/>
                  <a:pt x="492" y="16"/>
                  <a:pt x="492" y="16"/>
                </a:cubicBezTo>
                <a:lnTo>
                  <a:pt x="260" y="142"/>
                </a:lnTo>
                <a:close/>
                <a:moveTo>
                  <a:pt x="702" y="405"/>
                </a:moveTo>
                <a:cubicBezTo>
                  <a:pt x="601" y="217"/>
                  <a:pt x="601" y="217"/>
                  <a:pt x="601" y="217"/>
                </a:cubicBezTo>
                <a:cubicBezTo>
                  <a:pt x="369" y="342"/>
                  <a:pt x="369" y="342"/>
                  <a:pt x="369" y="342"/>
                </a:cubicBezTo>
                <a:cubicBezTo>
                  <a:pt x="470" y="530"/>
                  <a:pt x="470" y="530"/>
                  <a:pt x="470" y="530"/>
                </a:cubicBezTo>
                <a:lnTo>
                  <a:pt x="702" y="405"/>
                </a:lnTo>
                <a:close/>
                <a:moveTo>
                  <a:pt x="463" y="102"/>
                </a:moveTo>
                <a:cubicBezTo>
                  <a:pt x="466" y="100"/>
                  <a:pt x="467" y="96"/>
                  <a:pt x="465" y="92"/>
                </a:cubicBezTo>
                <a:cubicBezTo>
                  <a:pt x="464" y="89"/>
                  <a:pt x="459" y="88"/>
                  <a:pt x="456" y="89"/>
                </a:cubicBezTo>
                <a:cubicBezTo>
                  <a:pt x="342" y="151"/>
                  <a:pt x="342" y="151"/>
                  <a:pt x="342" y="151"/>
                </a:cubicBezTo>
                <a:cubicBezTo>
                  <a:pt x="338" y="153"/>
                  <a:pt x="337" y="157"/>
                  <a:pt x="339" y="161"/>
                </a:cubicBezTo>
                <a:cubicBezTo>
                  <a:pt x="340" y="163"/>
                  <a:pt x="342" y="164"/>
                  <a:pt x="345" y="164"/>
                </a:cubicBezTo>
                <a:cubicBezTo>
                  <a:pt x="346" y="164"/>
                  <a:pt x="347" y="164"/>
                  <a:pt x="348" y="163"/>
                </a:cubicBezTo>
                <a:lnTo>
                  <a:pt x="463" y="102"/>
                </a:lnTo>
                <a:close/>
                <a:moveTo>
                  <a:pt x="572" y="291"/>
                </a:moveTo>
                <a:cubicBezTo>
                  <a:pt x="571" y="287"/>
                  <a:pt x="566" y="286"/>
                  <a:pt x="563" y="288"/>
                </a:cubicBezTo>
                <a:cubicBezTo>
                  <a:pt x="449" y="349"/>
                  <a:pt x="449" y="349"/>
                  <a:pt x="449" y="349"/>
                </a:cubicBezTo>
                <a:cubicBezTo>
                  <a:pt x="445" y="351"/>
                  <a:pt x="444" y="356"/>
                  <a:pt x="446" y="359"/>
                </a:cubicBezTo>
                <a:cubicBezTo>
                  <a:pt x="447" y="361"/>
                  <a:pt x="449" y="363"/>
                  <a:pt x="452" y="363"/>
                </a:cubicBezTo>
                <a:cubicBezTo>
                  <a:pt x="453" y="363"/>
                  <a:pt x="454" y="362"/>
                  <a:pt x="455" y="362"/>
                </a:cubicBezTo>
                <a:cubicBezTo>
                  <a:pt x="570" y="300"/>
                  <a:pt x="570" y="300"/>
                  <a:pt x="570" y="300"/>
                </a:cubicBezTo>
                <a:cubicBezTo>
                  <a:pt x="573" y="298"/>
                  <a:pt x="574" y="294"/>
                  <a:pt x="572" y="29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0" name="Oval 18"/>
          <p:cNvSpPr>
            <a:spLocks noChangeArrowheads="1"/>
          </p:cNvSpPr>
          <p:nvPr/>
        </p:nvSpPr>
        <p:spPr bwMode="auto">
          <a:xfrm>
            <a:off x="2259614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7" name="Freeform 35"/>
          <p:cNvSpPr>
            <a:spLocks noEditPoints="1"/>
          </p:cNvSpPr>
          <p:nvPr/>
        </p:nvSpPr>
        <p:spPr bwMode="auto">
          <a:xfrm>
            <a:off x="2420536" y="2441219"/>
            <a:ext cx="501118" cy="527337"/>
          </a:xfrm>
          <a:custGeom>
            <a:avLst/>
            <a:gdLst>
              <a:gd name="T0" fmla="*/ 441 w 647"/>
              <a:gd name="T1" fmla="*/ 612 h 681"/>
              <a:gd name="T2" fmla="*/ 439 w 647"/>
              <a:gd name="T3" fmla="*/ 612 h 681"/>
              <a:gd name="T4" fmla="*/ 435 w 647"/>
              <a:gd name="T5" fmla="*/ 609 h 681"/>
              <a:gd name="T6" fmla="*/ 126 w 647"/>
              <a:gd name="T7" fmla="*/ 36 h 681"/>
              <a:gd name="T8" fmla="*/ 103 w 647"/>
              <a:gd name="T9" fmla="*/ 18 h 681"/>
              <a:gd name="T10" fmla="*/ 74 w 647"/>
              <a:gd name="T11" fmla="*/ 21 h 681"/>
              <a:gd name="T12" fmla="*/ 12 w 647"/>
              <a:gd name="T13" fmla="*/ 55 h 681"/>
              <a:gd name="T14" fmla="*/ 2 w 647"/>
              <a:gd name="T15" fmla="*/ 52 h 681"/>
              <a:gd name="T16" fmla="*/ 5 w 647"/>
              <a:gd name="T17" fmla="*/ 42 h 681"/>
              <a:gd name="T18" fmla="*/ 68 w 647"/>
              <a:gd name="T19" fmla="*/ 9 h 681"/>
              <a:gd name="T20" fmla="*/ 107 w 647"/>
              <a:gd name="T21" fmla="*/ 4 h 681"/>
              <a:gd name="T22" fmla="*/ 138 w 647"/>
              <a:gd name="T23" fmla="*/ 30 h 681"/>
              <a:gd name="T24" fmla="*/ 444 w 647"/>
              <a:gd name="T25" fmla="*/ 596 h 681"/>
              <a:gd name="T26" fmla="*/ 635 w 647"/>
              <a:gd name="T27" fmla="*/ 492 h 681"/>
              <a:gd name="T28" fmla="*/ 645 w 647"/>
              <a:gd name="T29" fmla="*/ 495 h 681"/>
              <a:gd name="T30" fmla="*/ 642 w 647"/>
              <a:gd name="T31" fmla="*/ 505 h 681"/>
              <a:gd name="T32" fmla="*/ 444 w 647"/>
              <a:gd name="T33" fmla="*/ 611 h 681"/>
              <a:gd name="T34" fmla="*/ 441 w 647"/>
              <a:gd name="T35" fmla="*/ 612 h 681"/>
              <a:gd name="T36" fmla="*/ 368 w 647"/>
              <a:gd name="T37" fmla="*/ 675 h 681"/>
              <a:gd name="T38" fmla="*/ 392 w 647"/>
              <a:gd name="T39" fmla="*/ 646 h 681"/>
              <a:gd name="T40" fmla="*/ 388 w 647"/>
              <a:gd name="T41" fmla="*/ 608 h 681"/>
              <a:gd name="T42" fmla="*/ 345 w 647"/>
              <a:gd name="T43" fmla="*/ 583 h 681"/>
              <a:gd name="T44" fmla="*/ 322 w 647"/>
              <a:gd name="T45" fmla="*/ 589 h 681"/>
              <a:gd name="T46" fmla="*/ 302 w 647"/>
              <a:gd name="T47" fmla="*/ 655 h 681"/>
              <a:gd name="T48" fmla="*/ 345 w 647"/>
              <a:gd name="T49" fmla="*/ 681 h 681"/>
              <a:gd name="T50" fmla="*/ 368 w 647"/>
              <a:gd name="T51" fmla="*/ 675 h 681"/>
              <a:gd name="T52" fmla="*/ 376 w 647"/>
              <a:gd name="T53" fmla="*/ 615 h 681"/>
              <a:gd name="T54" fmla="*/ 379 w 647"/>
              <a:gd name="T55" fmla="*/ 642 h 681"/>
              <a:gd name="T56" fmla="*/ 362 w 647"/>
              <a:gd name="T57" fmla="*/ 662 h 681"/>
              <a:gd name="T58" fmla="*/ 345 w 647"/>
              <a:gd name="T59" fmla="*/ 667 h 681"/>
              <a:gd name="T60" fmla="*/ 315 w 647"/>
              <a:gd name="T61" fmla="*/ 648 h 681"/>
              <a:gd name="T62" fmla="*/ 329 w 647"/>
              <a:gd name="T63" fmla="*/ 601 h 681"/>
              <a:gd name="T64" fmla="*/ 345 w 647"/>
              <a:gd name="T65" fmla="*/ 597 h 681"/>
              <a:gd name="T66" fmla="*/ 376 w 647"/>
              <a:gd name="T67" fmla="*/ 615 h 6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47" h="681">
                <a:moveTo>
                  <a:pt x="441" y="612"/>
                </a:moveTo>
                <a:cubicBezTo>
                  <a:pt x="440" y="612"/>
                  <a:pt x="440" y="612"/>
                  <a:pt x="439" y="612"/>
                </a:cubicBezTo>
                <a:cubicBezTo>
                  <a:pt x="437" y="611"/>
                  <a:pt x="436" y="610"/>
                  <a:pt x="435" y="609"/>
                </a:cubicBezTo>
                <a:cubicBezTo>
                  <a:pt x="126" y="36"/>
                  <a:pt x="126" y="36"/>
                  <a:pt x="126" y="36"/>
                </a:cubicBezTo>
                <a:cubicBezTo>
                  <a:pt x="121" y="27"/>
                  <a:pt x="113" y="21"/>
                  <a:pt x="103" y="18"/>
                </a:cubicBezTo>
                <a:cubicBezTo>
                  <a:pt x="94" y="15"/>
                  <a:pt x="83" y="16"/>
                  <a:pt x="74" y="21"/>
                </a:cubicBezTo>
                <a:cubicBezTo>
                  <a:pt x="12" y="55"/>
                  <a:pt x="12" y="55"/>
                  <a:pt x="12" y="55"/>
                </a:cubicBezTo>
                <a:cubicBezTo>
                  <a:pt x="8" y="56"/>
                  <a:pt x="4" y="55"/>
                  <a:pt x="2" y="52"/>
                </a:cubicBezTo>
                <a:cubicBezTo>
                  <a:pt x="0" y="48"/>
                  <a:pt x="2" y="44"/>
                  <a:pt x="5" y="42"/>
                </a:cubicBezTo>
                <a:cubicBezTo>
                  <a:pt x="68" y="9"/>
                  <a:pt x="68" y="9"/>
                  <a:pt x="68" y="9"/>
                </a:cubicBezTo>
                <a:cubicBezTo>
                  <a:pt x="80" y="2"/>
                  <a:pt x="94" y="0"/>
                  <a:pt x="107" y="4"/>
                </a:cubicBezTo>
                <a:cubicBezTo>
                  <a:pt x="121" y="8"/>
                  <a:pt x="132" y="17"/>
                  <a:pt x="138" y="30"/>
                </a:cubicBezTo>
                <a:cubicBezTo>
                  <a:pt x="444" y="596"/>
                  <a:pt x="444" y="596"/>
                  <a:pt x="444" y="596"/>
                </a:cubicBezTo>
                <a:cubicBezTo>
                  <a:pt x="635" y="492"/>
                  <a:pt x="635" y="492"/>
                  <a:pt x="635" y="492"/>
                </a:cubicBezTo>
                <a:cubicBezTo>
                  <a:pt x="639" y="491"/>
                  <a:pt x="643" y="492"/>
                  <a:pt x="645" y="495"/>
                </a:cubicBezTo>
                <a:cubicBezTo>
                  <a:pt x="647" y="499"/>
                  <a:pt x="645" y="503"/>
                  <a:pt x="642" y="505"/>
                </a:cubicBezTo>
                <a:cubicBezTo>
                  <a:pt x="444" y="611"/>
                  <a:pt x="444" y="611"/>
                  <a:pt x="444" y="611"/>
                </a:cubicBezTo>
                <a:cubicBezTo>
                  <a:pt x="443" y="612"/>
                  <a:pt x="442" y="612"/>
                  <a:pt x="441" y="612"/>
                </a:cubicBezTo>
                <a:close/>
                <a:moveTo>
                  <a:pt x="368" y="675"/>
                </a:moveTo>
                <a:cubicBezTo>
                  <a:pt x="380" y="668"/>
                  <a:pt x="388" y="658"/>
                  <a:pt x="392" y="646"/>
                </a:cubicBezTo>
                <a:cubicBezTo>
                  <a:pt x="396" y="633"/>
                  <a:pt x="394" y="620"/>
                  <a:pt x="388" y="608"/>
                </a:cubicBezTo>
                <a:cubicBezTo>
                  <a:pt x="380" y="593"/>
                  <a:pt x="363" y="583"/>
                  <a:pt x="345" y="583"/>
                </a:cubicBezTo>
                <a:cubicBezTo>
                  <a:pt x="337" y="583"/>
                  <a:pt x="329" y="585"/>
                  <a:pt x="322" y="589"/>
                </a:cubicBezTo>
                <a:cubicBezTo>
                  <a:pt x="298" y="601"/>
                  <a:pt x="289" y="631"/>
                  <a:pt x="302" y="655"/>
                </a:cubicBezTo>
                <a:cubicBezTo>
                  <a:pt x="311" y="671"/>
                  <a:pt x="327" y="681"/>
                  <a:pt x="345" y="681"/>
                </a:cubicBezTo>
                <a:cubicBezTo>
                  <a:pt x="353" y="681"/>
                  <a:pt x="361" y="678"/>
                  <a:pt x="368" y="675"/>
                </a:cubicBezTo>
                <a:close/>
                <a:moveTo>
                  <a:pt x="376" y="615"/>
                </a:moveTo>
                <a:cubicBezTo>
                  <a:pt x="380" y="623"/>
                  <a:pt x="381" y="633"/>
                  <a:pt x="379" y="642"/>
                </a:cubicBezTo>
                <a:cubicBezTo>
                  <a:pt x="376" y="651"/>
                  <a:pt x="370" y="658"/>
                  <a:pt x="362" y="662"/>
                </a:cubicBezTo>
                <a:cubicBezTo>
                  <a:pt x="357" y="665"/>
                  <a:pt x="351" y="667"/>
                  <a:pt x="345" y="667"/>
                </a:cubicBezTo>
                <a:cubicBezTo>
                  <a:pt x="332" y="667"/>
                  <a:pt x="321" y="659"/>
                  <a:pt x="315" y="648"/>
                </a:cubicBezTo>
                <a:cubicBezTo>
                  <a:pt x="305" y="631"/>
                  <a:pt x="312" y="610"/>
                  <a:pt x="329" y="601"/>
                </a:cubicBezTo>
                <a:cubicBezTo>
                  <a:pt x="334" y="598"/>
                  <a:pt x="339" y="597"/>
                  <a:pt x="345" y="597"/>
                </a:cubicBezTo>
                <a:cubicBezTo>
                  <a:pt x="358" y="597"/>
                  <a:pt x="370" y="604"/>
                  <a:pt x="376" y="61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2" name="Oval 20"/>
          <p:cNvSpPr>
            <a:spLocks noChangeArrowheads="1"/>
          </p:cNvSpPr>
          <p:nvPr/>
        </p:nvSpPr>
        <p:spPr bwMode="auto">
          <a:xfrm>
            <a:off x="7430588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52" name="Freeform 39"/>
          <p:cNvSpPr>
            <a:spLocks noEditPoints="1"/>
          </p:cNvSpPr>
          <p:nvPr/>
        </p:nvSpPr>
        <p:spPr bwMode="auto">
          <a:xfrm>
            <a:off x="7595442" y="1261687"/>
            <a:ext cx="493252" cy="547329"/>
          </a:xfrm>
          <a:custGeom>
            <a:avLst/>
            <a:gdLst>
              <a:gd name="T0" fmla="*/ 78 w 637"/>
              <a:gd name="T1" fmla="*/ 429 h 707"/>
              <a:gd name="T2" fmla="*/ 71 w 637"/>
              <a:gd name="T3" fmla="*/ 7 h 707"/>
              <a:gd name="T4" fmla="*/ 588 w 637"/>
              <a:gd name="T5" fmla="*/ 0 h 707"/>
              <a:gd name="T6" fmla="*/ 595 w 637"/>
              <a:gd name="T7" fmla="*/ 422 h 707"/>
              <a:gd name="T8" fmla="*/ 85 w 637"/>
              <a:gd name="T9" fmla="*/ 415 h 707"/>
              <a:gd name="T10" fmla="*/ 581 w 637"/>
              <a:gd name="T11" fmla="*/ 14 h 707"/>
              <a:gd name="T12" fmla="*/ 85 w 637"/>
              <a:gd name="T13" fmla="*/ 415 h 707"/>
              <a:gd name="T14" fmla="*/ 267 w 637"/>
              <a:gd name="T15" fmla="*/ 113 h 707"/>
              <a:gd name="T16" fmla="*/ 267 w 637"/>
              <a:gd name="T17" fmla="*/ 60 h 707"/>
              <a:gd name="T18" fmla="*/ 426 w 637"/>
              <a:gd name="T19" fmla="*/ 86 h 707"/>
              <a:gd name="T20" fmla="*/ 267 w 637"/>
              <a:gd name="T21" fmla="*/ 74 h 707"/>
              <a:gd name="T22" fmla="*/ 267 w 637"/>
              <a:gd name="T23" fmla="*/ 99 h 707"/>
              <a:gd name="T24" fmla="*/ 412 w 637"/>
              <a:gd name="T25" fmla="*/ 86 h 707"/>
              <a:gd name="T26" fmla="*/ 267 w 637"/>
              <a:gd name="T27" fmla="*/ 74 h 707"/>
              <a:gd name="T28" fmla="*/ 64 w 637"/>
              <a:gd name="T29" fmla="*/ 601 h 707"/>
              <a:gd name="T30" fmla="*/ 147 w 637"/>
              <a:gd name="T31" fmla="*/ 601 h 707"/>
              <a:gd name="T32" fmla="*/ 106 w 637"/>
              <a:gd name="T33" fmla="*/ 574 h 707"/>
              <a:gd name="T34" fmla="*/ 106 w 637"/>
              <a:gd name="T35" fmla="*/ 629 h 707"/>
              <a:gd name="T36" fmla="*/ 106 w 637"/>
              <a:gd name="T37" fmla="*/ 574 h 707"/>
              <a:gd name="T38" fmla="*/ 198 w 637"/>
              <a:gd name="T39" fmla="*/ 601 h 707"/>
              <a:gd name="T40" fmla="*/ 282 w 637"/>
              <a:gd name="T41" fmla="*/ 601 h 707"/>
              <a:gd name="T42" fmla="*/ 240 w 637"/>
              <a:gd name="T43" fmla="*/ 574 h 707"/>
              <a:gd name="T44" fmla="*/ 240 w 637"/>
              <a:gd name="T45" fmla="*/ 629 h 707"/>
              <a:gd name="T46" fmla="*/ 240 w 637"/>
              <a:gd name="T47" fmla="*/ 574 h 707"/>
              <a:gd name="T48" fmla="*/ 333 w 637"/>
              <a:gd name="T49" fmla="*/ 601 h 707"/>
              <a:gd name="T50" fmla="*/ 416 w 637"/>
              <a:gd name="T51" fmla="*/ 601 h 707"/>
              <a:gd name="T52" fmla="*/ 375 w 637"/>
              <a:gd name="T53" fmla="*/ 574 h 707"/>
              <a:gd name="T54" fmla="*/ 375 w 637"/>
              <a:gd name="T55" fmla="*/ 629 h 707"/>
              <a:gd name="T56" fmla="*/ 375 w 637"/>
              <a:gd name="T57" fmla="*/ 574 h 707"/>
              <a:gd name="T58" fmla="*/ 468 w 637"/>
              <a:gd name="T59" fmla="*/ 601 h 707"/>
              <a:gd name="T60" fmla="*/ 551 w 637"/>
              <a:gd name="T61" fmla="*/ 601 h 707"/>
              <a:gd name="T62" fmla="*/ 509 w 637"/>
              <a:gd name="T63" fmla="*/ 574 h 707"/>
              <a:gd name="T64" fmla="*/ 509 w 637"/>
              <a:gd name="T65" fmla="*/ 629 h 707"/>
              <a:gd name="T66" fmla="*/ 509 w 637"/>
              <a:gd name="T67" fmla="*/ 574 h 707"/>
              <a:gd name="T68" fmla="*/ 630 w 637"/>
              <a:gd name="T69" fmla="*/ 693 h 707"/>
              <a:gd name="T70" fmla="*/ 14 w 637"/>
              <a:gd name="T71" fmla="*/ 601 h 707"/>
              <a:gd name="T72" fmla="*/ 630 w 637"/>
              <a:gd name="T73" fmla="*/ 509 h 707"/>
              <a:gd name="T74" fmla="*/ 630 w 637"/>
              <a:gd name="T75" fmla="*/ 495 h 707"/>
              <a:gd name="T76" fmla="*/ 0 w 637"/>
              <a:gd name="T77" fmla="*/ 601 h 707"/>
              <a:gd name="T78" fmla="*/ 630 w 637"/>
              <a:gd name="T79" fmla="*/ 707 h 7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637" h="707">
                <a:moveTo>
                  <a:pt x="588" y="429"/>
                </a:moveTo>
                <a:cubicBezTo>
                  <a:pt x="78" y="429"/>
                  <a:pt x="78" y="429"/>
                  <a:pt x="78" y="429"/>
                </a:cubicBezTo>
                <a:cubicBezTo>
                  <a:pt x="75" y="429"/>
                  <a:pt x="71" y="425"/>
                  <a:pt x="71" y="422"/>
                </a:cubicBezTo>
                <a:cubicBezTo>
                  <a:pt x="71" y="7"/>
                  <a:pt x="71" y="7"/>
                  <a:pt x="71" y="7"/>
                </a:cubicBezTo>
                <a:cubicBezTo>
                  <a:pt x="71" y="3"/>
                  <a:pt x="75" y="0"/>
                  <a:pt x="78" y="0"/>
                </a:cubicBezTo>
                <a:cubicBezTo>
                  <a:pt x="588" y="0"/>
                  <a:pt x="588" y="0"/>
                  <a:pt x="588" y="0"/>
                </a:cubicBezTo>
                <a:cubicBezTo>
                  <a:pt x="592" y="0"/>
                  <a:pt x="595" y="3"/>
                  <a:pt x="595" y="7"/>
                </a:cubicBezTo>
                <a:cubicBezTo>
                  <a:pt x="595" y="422"/>
                  <a:pt x="595" y="422"/>
                  <a:pt x="595" y="422"/>
                </a:cubicBezTo>
                <a:cubicBezTo>
                  <a:pt x="595" y="425"/>
                  <a:pt x="592" y="429"/>
                  <a:pt x="588" y="429"/>
                </a:cubicBezTo>
                <a:close/>
                <a:moveTo>
                  <a:pt x="85" y="415"/>
                </a:moveTo>
                <a:cubicBezTo>
                  <a:pt x="581" y="415"/>
                  <a:pt x="581" y="415"/>
                  <a:pt x="581" y="415"/>
                </a:cubicBezTo>
                <a:cubicBezTo>
                  <a:pt x="581" y="14"/>
                  <a:pt x="581" y="14"/>
                  <a:pt x="581" y="14"/>
                </a:cubicBezTo>
                <a:cubicBezTo>
                  <a:pt x="85" y="14"/>
                  <a:pt x="85" y="14"/>
                  <a:pt x="85" y="14"/>
                </a:cubicBezTo>
                <a:lnTo>
                  <a:pt x="85" y="415"/>
                </a:lnTo>
                <a:close/>
                <a:moveTo>
                  <a:pt x="399" y="113"/>
                </a:moveTo>
                <a:cubicBezTo>
                  <a:pt x="267" y="113"/>
                  <a:pt x="267" y="113"/>
                  <a:pt x="267" y="113"/>
                </a:cubicBezTo>
                <a:cubicBezTo>
                  <a:pt x="252" y="113"/>
                  <a:pt x="240" y="101"/>
                  <a:pt x="240" y="86"/>
                </a:cubicBezTo>
                <a:cubicBezTo>
                  <a:pt x="240" y="72"/>
                  <a:pt x="252" y="60"/>
                  <a:pt x="267" y="60"/>
                </a:cubicBezTo>
                <a:cubicBezTo>
                  <a:pt x="399" y="60"/>
                  <a:pt x="399" y="60"/>
                  <a:pt x="399" y="60"/>
                </a:cubicBezTo>
                <a:cubicBezTo>
                  <a:pt x="414" y="60"/>
                  <a:pt x="426" y="72"/>
                  <a:pt x="426" y="86"/>
                </a:cubicBezTo>
                <a:cubicBezTo>
                  <a:pt x="426" y="101"/>
                  <a:pt x="414" y="113"/>
                  <a:pt x="399" y="113"/>
                </a:cubicBezTo>
                <a:close/>
                <a:moveTo>
                  <a:pt x="267" y="74"/>
                </a:moveTo>
                <a:cubicBezTo>
                  <a:pt x="260" y="74"/>
                  <a:pt x="254" y="79"/>
                  <a:pt x="254" y="86"/>
                </a:cubicBezTo>
                <a:cubicBezTo>
                  <a:pt x="254" y="93"/>
                  <a:pt x="260" y="99"/>
                  <a:pt x="267" y="99"/>
                </a:cubicBezTo>
                <a:cubicBezTo>
                  <a:pt x="399" y="99"/>
                  <a:pt x="399" y="99"/>
                  <a:pt x="399" y="99"/>
                </a:cubicBezTo>
                <a:cubicBezTo>
                  <a:pt x="406" y="99"/>
                  <a:pt x="412" y="93"/>
                  <a:pt x="412" y="86"/>
                </a:cubicBezTo>
                <a:cubicBezTo>
                  <a:pt x="412" y="79"/>
                  <a:pt x="406" y="74"/>
                  <a:pt x="399" y="74"/>
                </a:cubicBezTo>
                <a:lnTo>
                  <a:pt x="267" y="74"/>
                </a:lnTo>
                <a:close/>
                <a:moveTo>
                  <a:pt x="106" y="643"/>
                </a:moveTo>
                <a:cubicBezTo>
                  <a:pt x="83" y="643"/>
                  <a:pt x="64" y="624"/>
                  <a:pt x="64" y="601"/>
                </a:cubicBezTo>
                <a:cubicBezTo>
                  <a:pt x="64" y="578"/>
                  <a:pt x="83" y="560"/>
                  <a:pt x="106" y="560"/>
                </a:cubicBezTo>
                <a:cubicBezTo>
                  <a:pt x="129" y="560"/>
                  <a:pt x="147" y="578"/>
                  <a:pt x="147" y="601"/>
                </a:cubicBezTo>
                <a:cubicBezTo>
                  <a:pt x="147" y="624"/>
                  <a:pt x="129" y="643"/>
                  <a:pt x="106" y="643"/>
                </a:cubicBezTo>
                <a:close/>
                <a:moveTo>
                  <a:pt x="106" y="574"/>
                </a:moveTo>
                <a:cubicBezTo>
                  <a:pt x="90" y="574"/>
                  <a:pt x="78" y="586"/>
                  <a:pt x="78" y="601"/>
                </a:cubicBezTo>
                <a:cubicBezTo>
                  <a:pt x="78" y="616"/>
                  <a:pt x="90" y="629"/>
                  <a:pt x="106" y="629"/>
                </a:cubicBezTo>
                <a:cubicBezTo>
                  <a:pt x="121" y="629"/>
                  <a:pt x="133" y="616"/>
                  <a:pt x="133" y="601"/>
                </a:cubicBezTo>
                <a:cubicBezTo>
                  <a:pt x="133" y="586"/>
                  <a:pt x="121" y="574"/>
                  <a:pt x="106" y="574"/>
                </a:cubicBezTo>
                <a:close/>
                <a:moveTo>
                  <a:pt x="240" y="643"/>
                </a:moveTo>
                <a:cubicBezTo>
                  <a:pt x="217" y="643"/>
                  <a:pt x="198" y="624"/>
                  <a:pt x="198" y="601"/>
                </a:cubicBezTo>
                <a:cubicBezTo>
                  <a:pt x="198" y="578"/>
                  <a:pt x="217" y="560"/>
                  <a:pt x="240" y="560"/>
                </a:cubicBezTo>
                <a:cubicBezTo>
                  <a:pt x="263" y="560"/>
                  <a:pt x="282" y="578"/>
                  <a:pt x="282" y="601"/>
                </a:cubicBezTo>
                <a:cubicBezTo>
                  <a:pt x="282" y="624"/>
                  <a:pt x="263" y="643"/>
                  <a:pt x="240" y="643"/>
                </a:cubicBezTo>
                <a:close/>
                <a:moveTo>
                  <a:pt x="240" y="574"/>
                </a:moveTo>
                <a:cubicBezTo>
                  <a:pt x="225" y="574"/>
                  <a:pt x="212" y="586"/>
                  <a:pt x="212" y="601"/>
                </a:cubicBezTo>
                <a:cubicBezTo>
                  <a:pt x="212" y="616"/>
                  <a:pt x="225" y="629"/>
                  <a:pt x="240" y="629"/>
                </a:cubicBezTo>
                <a:cubicBezTo>
                  <a:pt x="255" y="629"/>
                  <a:pt x="268" y="616"/>
                  <a:pt x="268" y="601"/>
                </a:cubicBezTo>
                <a:cubicBezTo>
                  <a:pt x="268" y="586"/>
                  <a:pt x="255" y="574"/>
                  <a:pt x="240" y="574"/>
                </a:cubicBezTo>
                <a:close/>
                <a:moveTo>
                  <a:pt x="375" y="643"/>
                </a:moveTo>
                <a:cubicBezTo>
                  <a:pt x="352" y="643"/>
                  <a:pt x="333" y="624"/>
                  <a:pt x="333" y="601"/>
                </a:cubicBezTo>
                <a:cubicBezTo>
                  <a:pt x="333" y="578"/>
                  <a:pt x="352" y="560"/>
                  <a:pt x="375" y="560"/>
                </a:cubicBezTo>
                <a:cubicBezTo>
                  <a:pt x="398" y="560"/>
                  <a:pt x="416" y="578"/>
                  <a:pt x="416" y="601"/>
                </a:cubicBezTo>
                <a:cubicBezTo>
                  <a:pt x="416" y="624"/>
                  <a:pt x="398" y="643"/>
                  <a:pt x="375" y="643"/>
                </a:cubicBezTo>
                <a:close/>
                <a:moveTo>
                  <a:pt x="375" y="574"/>
                </a:moveTo>
                <a:cubicBezTo>
                  <a:pt x="359" y="574"/>
                  <a:pt x="347" y="586"/>
                  <a:pt x="347" y="601"/>
                </a:cubicBezTo>
                <a:cubicBezTo>
                  <a:pt x="347" y="616"/>
                  <a:pt x="359" y="629"/>
                  <a:pt x="375" y="629"/>
                </a:cubicBezTo>
                <a:cubicBezTo>
                  <a:pt x="390" y="629"/>
                  <a:pt x="402" y="616"/>
                  <a:pt x="402" y="601"/>
                </a:cubicBezTo>
                <a:cubicBezTo>
                  <a:pt x="402" y="586"/>
                  <a:pt x="390" y="574"/>
                  <a:pt x="375" y="574"/>
                </a:cubicBezTo>
                <a:close/>
                <a:moveTo>
                  <a:pt x="509" y="643"/>
                </a:moveTo>
                <a:cubicBezTo>
                  <a:pt x="486" y="643"/>
                  <a:pt x="468" y="624"/>
                  <a:pt x="468" y="601"/>
                </a:cubicBezTo>
                <a:cubicBezTo>
                  <a:pt x="468" y="578"/>
                  <a:pt x="486" y="560"/>
                  <a:pt x="509" y="560"/>
                </a:cubicBezTo>
                <a:cubicBezTo>
                  <a:pt x="532" y="560"/>
                  <a:pt x="551" y="578"/>
                  <a:pt x="551" y="601"/>
                </a:cubicBezTo>
                <a:cubicBezTo>
                  <a:pt x="551" y="624"/>
                  <a:pt x="532" y="643"/>
                  <a:pt x="509" y="643"/>
                </a:cubicBezTo>
                <a:close/>
                <a:moveTo>
                  <a:pt x="509" y="574"/>
                </a:moveTo>
                <a:cubicBezTo>
                  <a:pt x="494" y="574"/>
                  <a:pt x="482" y="586"/>
                  <a:pt x="482" y="601"/>
                </a:cubicBezTo>
                <a:cubicBezTo>
                  <a:pt x="482" y="616"/>
                  <a:pt x="494" y="629"/>
                  <a:pt x="509" y="629"/>
                </a:cubicBezTo>
                <a:cubicBezTo>
                  <a:pt x="524" y="629"/>
                  <a:pt x="537" y="616"/>
                  <a:pt x="537" y="601"/>
                </a:cubicBezTo>
                <a:cubicBezTo>
                  <a:pt x="537" y="586"/>
                  <a:pt x="524" y="574"/>
                  <a:pt x="509" y="574"/>
                </a:cubicBezTo>
                <a:close/>
                <a:moveTo>
                  <a:pt x="637" y="700"/>
                </a:moveTo>
                <a:cubicBezTo>
                  <a:pt x="637" y="696"/>
                  <a:pt x="634" y="693"/>
                  <a:pt x="630" y="693"/>
                </a:cubicBezTo>
                <a:cubicBezTo>
                  <a:pt x="106" y="693"/>
                  <a:pt x="106" y="693"/>
                  <a:pt x="106" y="693"/>
                </a:cubicBezTo>
                <a:cubicBezTo>
                  <a:pt x="55" y="693"/>
                  <a:pt x="14" y="652"/>
                  <a:pt x="14" y="601"/>
                </a:cubicBezTo>
                <a:cubicBezTo>
                  <a:pt x="14" y="551"/>
                  <a:pt x="55" y="509"/>
                  <a:pt x="106" y="509"/>
                </a:cubicBezTo>
                <a:cubicBezTo>
                  <a:pt x="630" y="509"/>
                  <a:pt x="630" y="509"/>
                  <a:pt x="630" y="509"/>
                </a:cubicBezTo>
                <a:cubicBezTo>
                  <a:pt x="634" y="509"/>
                  <a:pt x="637" y="506"/>
                  <a:pt x="637" y="502"/>
                </a:cubicBezTo>
                <a:cubicBezTo>
                  <a:pt x="637" y="498"/>
                  <a:pt x="634" y="495"/>
                  <a:pt x="630" y="495"/>
                </a:cubicBezTo>
                <a:cubicBezTo>
                  <a:pt x="106" y="495"/>
                  <a:pt x="106" y="495"/>
                  <a:pt x="106" y="495"/>
                </a:cubicBezTo>
                <a:cubicBezTo>
                  <a:pt x="47" y="495"/>
                  <a:pt x="0" y="543"/>
                  <a:pt x="0" y="601"/>
                </a:cubicBezTo>
                <a:cubicBezTo>
                  <a:pt x="0" y="660"/>
                  <a:pt x="47" y="707"/>
                  <a:pt x="106" y="707"/>
                </a:cubicBezTo>
                <a:cubicBezTo>
                  <a:pt x="630" y="707"/>
                  <a:pt x="630" y="707"/>
                  <a:pt x="630" y="707"/>
                </a:cubicBezTo>
                <a:cubicBezTo>
                  <a:pt x="634" y="707"/>
                  <a:pt x="637" y="704"/>
                  <a:pt x="637" y="70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68" name="Oval 7"/>
          <p:cNvSpPr>
            <a:spLocks noChangeArrowheads="1"/>
          </p:cNvSpPr>
          <p:nvPr/>
        </p:nvSpPr>
        <p:spPr bwMode="auto">
          <a:xfrm>
            <a:off x="966871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3" name="Freeform 31"/>
          <p:cNvSpPr>
            <a:spLocks noEditPoints="1"/>
          </p:cNvSpPr>
          <p:nvPr/>
        </p:nvSpPr>
        <p:spPr bwMode="auto">
          <a:xfrm>
            <a:off x="1184491" y="3605789"/>
            <a:ext cx="387719" cy="540221"/>
          </a:xfrm>
          <a:custGeom>
            <a:avLst/>
            <a:gdLst>
              <a:gd name="T0" fmla="*/ 208 w 501"/>
              <a:gd name="T1" fmla="*/ 697 h 697"/>
              <a:gd name="T2" fmla="*/ 206 w 501"/>
              <a:gd name="T3" fmla="*/ 697 h 697"/>
              <a:gd name="T4" fmla="*/ 0 w 501"/>
              <a:gd name="T5" fmla="*/ 454 h 697"/>
              <a:gd name="T6" fmla="*/ 77 w 501"/>
              <a:gd name="T7" fmla="*/ 283 h 697"/>
              <a:gd name="T8" fmla="*/ 130 w 501"/>
              <a:gd name="T9" fmla="*/ 206 h 697"/>
              <a:gd name="T10" fmla="*/ 190 w 501"/>
              <a:gd name="T11" fmla="*/ 7 h 697"/>
              <a:gd name="T12" fmla="*/ 194 w 501"/>
              <a:gd name="T13" fmla="*/ 1 h 697"/>
              <a:gd name="T14" fmla="*/ 201 w 501"/>
              <a:gd name="T15" fmla="*/ 1 h 697"/>
              <a:gd name="T16" fmla="*/ 501 w 501"/>
              <a:gd name="T17" fmla="*/ 410 h 697"/>
              <a:gd name="T18" fmla="*/ 307 w 501"/>
              <a:gd name="T19" fmla="*/ 692 h 697"/>
              <a:gd name="T20" fmla="*/ 300 w 501"/>
              <a:gd name="T21" fmla="*/ 690 h 697"/>
              <a:gd name="T22" fmla="*/ 299 w 501"/>
              <a:gd name="T23" fmla="*/ 683 h 697"/>
              <a:gd name="T24" fmla="*/ 328 w 501"/>
              <a:gd name="T25" fmla="*/ 570 h 697"/>
              <a:gd name="T26" fmla="*/ 259 w 501"/>
              <a:gd name="T27" fmla="*/ 458 h 697"/>
              <a:gd name="T28" fmla="*/ 209 w 501"/>
              <a:gd name="T29" fmla="*/ 546 h 697"/>
              <a:gd name="T30" fmla="*/ 177 w 501"/>
              <a:gd name="T31" fmla="*/ 611 h 697"/>
              <a:gd name="T32" fmla="*/ 213 w 501"/>
              <a:gd name="T33" fmla="*/ 685 h 697"/>
              <a:gd name="T34" fmla="*/ 215 w 501"/>
              <a:gd name="T35" fmla="*/ 690 h 697"/>
              <a:gd name="T36" fmla="*/ 208 w 501"/>
              <a:gd name="T37" fmla="*/ 697 h 697"/>
              <a:gd name="T38" fmla="*/ 208 w 501"/>
              <a:gd name="T39" fmla="*/ 697 h 697"/>
              <a:gd name="T40" fmla="*/ 203 w 501"/>
              <a:gd name="T41" fmla="*/ 19 h 697"/>
              <a:gd name="T42" fmla="*/ 143 w 501"/>
              <a:gd name="T43" fmla="*/ 213 h 697"/>
              <a:gd name="T44" fmla="*/ 87 w 501"/>
              <a:gd name="T45" fmla="*/ 292 h 697"/>
              <a:gd name="T46" fmla="*/ 14 w 501"/>
              <a:gd name="T47" fmla="*/ 454 h 697"/>
              <a:gd name="T48" fmla="*/ 188 w 501"/>
              <a:gd name="T49" fmla="*/ 676 h 697"/>
              <a:gd name="T50" fmla="*/ 163 w 501"/>
              <a:gd name="T51" fmla="*/ 611 h 697"/>
              <a:gd name="T52" fmla="*/ 198 w 501"/>
              <a:gd name="T53" fmla="*/ 538 h 697"/>
              <a:gd name="T54" fmla="*/ 249 w 501"/>
              <a:gd name="T55" fmla="*/ 445 h 697"/>
              <a:gd name="T56" fmla="*/ 253 w 501"/>
              <a:gd name="T57" fmla="*/ 440 h 697"/>
              <a:gd name="T58" fmla="*/ 259 w 501"/>
              <a:gd name="T59" fmla="*/ 441 h 697"/>
              <a:gd name="T60" fmla="*/ 342 w 501"/>
              <a:gd name="T61" fmla="*/ 570 h 697"/>
              <a:gd name="T62" fmla="*/ 318 w 501"/>
              <a:gd name="T63" fmla="*/ 674 h 697"/>
              <a:gd name="T64" fmla="*/ 487 w 501"/>
              <a:gd name="T65" fmla="*/ 410 h 697"/>
              <a:gd name="T66" fmla="*/ 203 w 501"/>
              <a:gd name="T67" fmla="*/ 19 h 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01" h="697">
                <a:moveTo>
                  <a:pt x="208" y="697"/>
                </a:moveTo>
                <a:cubicBezTo>
                  <a:pt x="207" y="697"/>
                  <a:pt x="207" y="697"/>
                  <a:pt x="206" y="697"/>
                </a:cubicBezTo>
                <a:cubicBezTo>
                  <a:pt x="83" y="658"/>
                  <a:pt x="0" y="561"/>
                  <a:pt x="0" y="454"/>
                </a:cubicBezTo>
                <a:cubicBezTo>
                  <a:pt x="0" y="379"/>
                  <a:pt x="39" y="330"/>
                  <a:pt x="77" y="283"/>
                </a:cubicBezTo>
                <a:cubicBezTo>
                  <a:pt x="96" y="259"/>
                  <a:pt x="115" y="234"/>
                  <a:pt x="130" y="206"/>
                </a:cubicBezTo>
                <a:cubicBezTo>
                  <a:pt x="170" y="129"/>
                  <a:pt x="185" y="48"/>
                  <a:pt x="190" y="7"/>
                </a:cubicBezTo>
                <a:cubicBezTo>
                  <a:pt x="191" y="4"/>
                  <a:pt x="192" y="2"/>
                  <a:pt x="194" y="1"/>
                </a:cubicBezTo>
                <a:cubicBezTo>
                  <a:pt x="196" y="0"/>
                  <a:pt x="199" y="0"/>
                  <a:pt x="201" y="1"/>
                </a:cubicBezTo>
                <a:cubicBezTo>
                  <a:pt x="308" y="61"/>
                  <a:pt x="501" y="249"/>
                  <a:pt x="501" y="410"/>
                </a:cubicBezTo>
                <a:cubicBezTo>
                  <a:pt x="501" y="577"/>
                  <a:pt x="382" y="672"/>
                  <a:pt x="307" y="692"/>
                </a:cubicBezTo>
                <a:cubicBezTo>
                  <a:pt x="304" y="693"/>
                  <a:pt x="301" y="692"/>
                  <a:pt x="300" y="690"/>
                </a:cubicBezTo>
                <a:cubicBezTo>
                  <a:pt x="298" y="688"/>
                  <a:pt x="297" y="685"/>
                  <a:pt x="299" y="683"/>
                </a:cubicBezTo>
                <a:cubicBezTo>
                  <a:pt x="313" y="652"/>
                  <a:pt x="328" y="602"/>
                  <a:pt x="328" y="570"/>
                </a:cubicBezTo>
                <a:cubicBezTo>
                  <a:pt x="328" y="530"/>
                  <a:pt x="306" y="494"/>
                  <a:pt x="259" y="458"/>
                </a:cubicBezTo>
                <a:cubicBezTo>
                  <a:pt x="247" y="497"/>
                  <a:pt x="227" y="523"/>
                  <a:pt x="209" y="546"/>
                </a:cubicBezTo>
                <a:cubicBezTo>
                  <a:pt x="191" y="570"/>
                  <a:pt x="177" y="588"/>
                  <a:pt x="177" y="611"/>
                </a:cubicBezTo>
                <a:cubicBezTo>
                  <a:pt x="177" y="640"/>
                  <a:pt x="204" y="676"/>
                  <a:pt x="213" y="685"/>
                </a:cubicBezTo>
                <a:cubicBezTo>
                  <a:pt x="214" y="686"/>
                  <a:pt x="215" y="688"/>
                  <a:pt x="215" y="690"/>
                </a:cubicBezTo>
                <a:cubicBezTo>
                  <a:pt x="215" y="694"/>
                  <a:pt x="212" y="697"/>
                  <a:pt x="208" y="697"/>
                </a:cubicBezTo>
                <a:cubicBezTo>
                  <a:pt x="208" y="697"/>
                  <a:pt x="208" y="697"/>
                  <a:pt x="208" y="697"/>
                </a:cubicBezTo>
                <a:close/>
                <a:moveTo>
                  <a:pt x="203" y="19"/>
                </a:moveTo>
                <a:cubicBezTo>
                  <a:pt x="196" y="63"/>
                  <a:pt x="181" y="140"/>
                  <a:pt x="143" y="213"/>
                </a:cubicBezTo>
                <a:cubicBezTo>
                  <a:pt x="127" y="242"/>
                  <a:pt x="107" y="267"/>
                  <a:pt x="87" y="292"/>
                </a:cubicBezTo>
                <a:cubicBezTo>
                  <a:pt x="50" y="339"/>
                  <a:pt x="14" y="384"/>
                  <a:pt x="14" y="454"/>
                </a:cubicBezTo>
                <a:cubicBezTo>
                  <a:pt x="14" y="548"/>
                  <a:pt x="83" y="635"/>
                  <a:pt x="188" y="676"/>
                </a:cubicBezTo>
                <a:cubicBezTo>
                  <a:pt x="176" y="658"/>
                  <a:pt x="163" y="633"/>
                  <a:pt x="163" y="611"/>
                </a:cubicBezTo>
                <a:cubicBezTo>
                  <a:pt x="163" y="583"/>
                  <a:pt x="179" y="562"/>
                  <a:pt x="198" y="538"/>
                </a:cubicBezTo>
                <a:cubicBezTo>
                  <a:pt x="217" y="513"/>
                  <a:pt x="238" y="486"/>
                  <a:pt x="249" y="445"/>
                </a:cubicBezTo>
                <a:cubicBezTo>
                  <a:pt x="249" y="443"/>
                  <a:pt x="251" y="441"/>
                  <a:pt x="253" y="440"/>
                </a:cubicBezTo>
                <a:cubicBezTo>
                  <a:pt x="255" y="439"/>
                  <a:pt x="258" y="440"/>
                  <a:pt x="259" y="441"/>
                </a:cubicBezTo>
                <a:cubicBezTo>
                  <a:pt x="315" y="481"/>
                  <a:pt x="342" y="523"/>
                  <a:pt x="342" y="570"/>
                </a:cubicBezTo>
                <a:cubicBezTo>
                  <a:pt x="342" y="600"/>
                  <a:pt x="330" y="642"/>
                  <a:pt x="318" y="674"/>
                </a:cubicBezTo>
                <a:cubicBezTo>
                  <a:pt x="388" y="647"/>
                  <a:pt x="487" y="559"/>
                  <a:pt x="487" y="410"/>
                </a:cubicBezTo>
                <a:cubicBezTo>
                  <a:pt x="487" y="259"/>
                  <a:pt x="309" y="82"/>
                  <a:pt x="203" y="1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73" name="Oval 11"/>
          <p:cNvSpPr>
            <a:spLocks noChangeArrowheads="1"/>
          </p:cNvSpPr>
          <p:nvPr/>
        </p:nvSpPr>
        <p:spPr bwMode="auto">
          <a:xfrm>
            <a:off x="3552358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8" name="Freeform 36"/>
          <p:cNvSpPr>
            <a:spLocks noEditPoints="1"/>
          </p:cNvSpPr>
          <p:nvPr/>
        </p:nvSpPr>
        <p:spPr bwMode="auto">
          <a:xfrm>
            <a:off x="3789971" y="3601197"/>
            <a:ext cx="347407" cy="550061"/>
          </a:xfrm>
          <a:custGeom>
            <a:avLst/>
            <a:gdLst>
              <a:gd name="T0" fmla="*/ 225 w 449"/>
              <a:gd name="T1" fmla="*/ 0 h 710"/>
              <a:gd name="T2" fmla="*/ 0 w 449"/>
              <a:gd name="T3" fmla="*/ 225 h 710"/>
              <a:gd name="T4" fmla="*/ 68 w 449"/>
              <a:gd name="T5" fmla="*/ 395 h 710"/>
              <a:gd name="T6" fmla="*/ 108 w 449"/>
              <a:gd name="T7" fmla="*/ 545 h 710"/>
              <a:gd name="T8" fmla="*/ 108 w 449"/>
              <a:gd name="T9" fmla="*/ 621 h 710"/>
              <a:gd name="T10" fmla="*/ 142 w 449"/>
              <a:gd name="T11" fmla="*/ 655 h 710"/>
              <a:gd name="T12" fmla="*/ 159 w 449"/>
              <a:gd name="T13" fmla="*/ 655 h 710"/>
              <a:gd name="T14" fmla="*/ 225 w 449"/>
              <a:gd name="T15" fmla="*/ 710 h 710"/>
              <a:gd name="T16" fmla="*/ 290 w 449"/>
              <a:gd name="T17" fmla="*/ 655 h 710"/>
              <a:gd name="T18" fmla="*/ 307 w 449"/>
              <a:gd name="T19" fmla="*/ 655 h 710"/>
              <a:gd name="T20" fmla="*/ 341 w 449"/>
              <a:gd name="T21" fmla="*/ 621 h 710"/>
              <a:gd name="T22" fmla="*/ 341 w 449"/>
              <a:gd name="T23" fmla="*/ 545 h 710"/>
              <a:gd name="T24" fmla="*/ 381 w 449"/>
              <a:gd name="T25" fmla="*/ 395 h 710"/>
              <a:gd name="T26" fmla="*/ 449 w 449"/>
              <a:gd name="T27" fmla="*/ 225 h 710"/>
              <a:gd name="T28" fmla="*/ 225 w 449"/>
              <a:gd name="T29" fmla="*/ 0 h 710"/>
              <a:gd name="T30" fmla="*/ 225 w 449"/>
              <a:gd name="T31" fmla="*/ 696 h 710"/>
              <a:gd name="T32" fmla="*/ 173 w 449"/>
              <a:gd name="T33" fmla="*/ 655 h 710"/>
              <a:gd name="T34" fmla="*/ 276 w 449"/>
              <a:gd name="T35" fmla="*/ 655 h 710"/>
              <a:gd name="T36" fmla="*/ 225 w 449"/>
              <a:gd name="T37" fmla="*/ 696 h 710"/>
              <a:gd name="T38" fmla="*/ 307 w 449"/>
              <a:gd name="T39" fmla="*/ 641 h 710"/>
              <a:gd name="T40" fmla="*/ 142 w 449"/>
              <a:gd name="T41" fmla="*/ 641 h 710"/>
              <a:gd name="T42" fmla="*/ 122 w 449"/>
              <a:gd name="T43" fmla="*/ 621 h 710"/>
              <a:gd name="T44" fmla="*/ 122 w 449"/>
              <a:gd name="T45" fmla="*/ 552 h 710"/>
              <a:gd name="T46" fmla="*/ 327 w 449"/>
              <a:gd name="T47" fmla="*/ 552 h 710"/>
              <a:gd name="T48" fmla="*/ 327 w 449"/>
              <a:gd name="T49" fmla="*/ 621 h 710"/>
              <a:gd name="T50" fmla="*/ 307 w 449"/>
              <a:gd name="T51" fmla="*/ 641 h 710"/>
              <a:gd name="T52" fmla="*/ 371 w 449"/>
              <a:gd name="T53" fmla="*/ 385 h 710"/>
              <a:gd name="T54" fmla="*/ 327 w 449"/>
              <a:gd name="T55" fmla="*/ 538 h 710"/>
              <a:gd name="T56" fmla="*/ 232 w 449"/>
              <a:gd name="T57" fmla="*/ 538 h 710"/>
              <a:gd name="T58" fmla="*/ 232 w 449"/>
              <a:gd name="T59" fmla="*/ 306 h 710"/>
              <a:gd name="T60" fmla="*/ 295 w 449"/>
              <a:gd name="T61" fmla="*/ 262 h 710"/>
              <a:gd name="T62" fmla="*/ 314 w 449"/>
              <a:gd name="T63" fmla="*/ 219 h 710"/>
              <a:gd name="T64" fmla="*/ 309 w 449"/>
              <a:gd name="T65" fmla="*/ 210 h 710"/>
              <a:gd name="T66" fmla="*/ 300 w 449"/>
              <a:gd name="T67" fmla="*/ 215 h 710"/>
              <a:gd name="T68" fmla="*/ 225 w 449"/>
              <a:gd name="T69" fmla="*/ 292 h 710"/>
              <a:gd name="T70" fmla="*/ 149 w 449"/>
              <a:gd name="T71" fmla="*/ 215 h 710"/>
              <a:gd name="T72" fmla="*/ 141 w 449"/>
              <a:gd name="T73" fmla="*/ 210 h 710"/>
              <a:gd name="T74" fmla="*/ 135 w 449"/>
              <a:gd name="T75" fmla="*/ 219 h 710"/>
              <a:gd name="T76" fmla="*/ 154 w 449"/>
              <a:gd name="T77" fmla="*/ 262 h 710"/>
              <a:gd name="T78" fmla="*/ 218 w 449"/>
              <a:gd name="T79" fmla="*/ 306 h 710"/>
              <a:gd name="T80" fmla="*/ 218 w 449"/>
              <a:gd name="T81" fmla="*/ 538 h 710"/>
              <a:gd name="T82" fmla="*/ 122 w 449"/>
              <a:gd name="T83" fmla="*/ 538 h 710"/>
              <a:gd name="T84" fmla="*/ 78 w 449"/>
              <a:gd name="T85" fmla="*/ 385 h 710"/>
              <a:gd name="T86" fmla="*/ 14 w 449"/>
              <a:gd name="T87" fmla="*/ 225 h 710"/>
              <a:gd name="T88" fmla="*/ 225 w 449"/>
              <a:gd name="T89" fmla="*/ 14 h 710"/>
              <a:gd name="T90" fmla="*/ 435 w 449"/>
              <a:gd name="T91" fmla="*/ 225 h 710"/>
              <a:gd name="T92" fmla="*/ 371 w 449"/>
              <a:gd name="T93" fmla="*/ 385 h 7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49" h="710">
                <a:moveTo>
                  <a:pt x="225" y="0"/>
                </a:moveTo>
                <a:cubicBezTo>
                  <a:pt x="101" y="0"/>
                  <a:pt x="0" y="101"/>
                  <a:pt x="0" y="225"/>
                </a:cubicBezTo>
                <a:cubicBezTo>
                  <a:pt x="0" y="287"/>
                  <a:pt x="25" y="348"/>
                  <a:pt x="68" y="395"/>
                </a:cubicBezTo>
                <a:cubicBezTo>
                  <a:pt x="80" y="407"/>
                  <a:pt x="108" y="447"/>
                  <a:pt x="108" y="545"/>
                </a:cubicBezTo>
                <a:cubicBezTo>
                  <a:pt x="108" y="621"/>
                  <a:pt x="108" y="621"/>
                  <a:pt x="108" y="621"/>
                </a:cubicBezTo>
                <a:cubicBezTo>
                  <a:pt x="108" y="639"/>
                  <a:pt x="123" y="655"/>
                  <a:pt x="142" y="655"/>
                </a:cubicBezTo>
                <a:cubicBezTo>
                  <a:pt x="159" y="655"/>
                  <a:pt x="159" y="655"/>
                  <a:pt x="159" y="655"/>
                </a:cubicBezTo>
                <a:cubicBezTo>
                  <a:pt x="162" y="686"/>
                  <a:pt x="190" y="710"/>
                  <a:pt x="225" y="710"/>
                </a:cubicBezTo>
                <a:cubicBezTo>
                  <a:pt x="259" y="710"/>
                  <a:pt x="287" y="686"/>
                  <a:pt x="290" y="655"/>
                </a:cubicBezTo>
                <a:cubicBezTo>
                  <a:pt x="307" y="655"/>
                  <a:pt x="307" y="655"/>
                  <a:pt x="307" y="655"/>
                </a:cubicBezTo>
                <a:cubicBezTo>
                  <a:pt x="326" y="655"/>
                  <a:pt x="341" y="639"/>
                  <a:pt x="341" y="621"/>
                </a:cubicBezTo>
                <a:cubicBezTo>
                  <a:pt x="341" y="545"/>
                  <a:pt x="341" y="545"/>
                  <a:pt x="341" y="545"/>
                </a:cubicBezTo>
                <a:cubicBezTo>
                  <a:pt x="341" y="447"/>
                  <a:pt x="369" y="407"/>
                  <a:pt x="381" y="395"/>
                </a:cubicBezTo>
                <a:cubicBezTo>
                  <a:pt x="424" y="348"/>
                  <a:pt x="449" y="287"/>
                  <a:pt x="449" y="225"/>
                </a:cubicBezTo>
                <a:cubicBezTo>
                  <a:pt x="449" y="101"/>
                  <a:pt x="349" y="0"/>
                  <a:pt x="225" y="0"/>
                </a:cubicBezTo>
                <a:close/>
                <a:moveTo>
                  <a:pt x="225" y="696"/>
                </a:moveTo>
                <a:cubicBezTo>
                  <a:pt x="198" y="696"/>
                  <a:pt x="176" y="678"/>
                  <a:pt x="173" y="655"/>
                </a:cubicBezTo>
                <a:cubicBezTo>
                  <a:pt x="276" y="655"/>
                  <a:pt x="276" y="655"/>
                  <a:pt x="276" y="655"/>
                </a:cubicBezTo>
                <a:cubicBezTo>
                  <a:pt x="273" y="678"/>
                  <a:pt x="251" y="696"/>
                  <a:pt x="225" y="696"/>
                </a:cubicBezTo>
                <a:close/>
                <a:moveTo>
                  <a:pt x="307" y="641"/>
                </a:moveTo>
                <a:cubicBezTo>
                  <a:pt x="142" y="641"/>
                  <a:pt x="142" y="641"/>
                  <a:pt x="142" y="641"/>
                </a:cubicBezTo>
                <a:cubicBezTo>
                  <a:pt x="131" y="641"/>
                  <a:pt x="122" y="632"/>
                  <a:pt x="122" y="621"/>
                </a:cubicBezTo>
                <a:cubicBezTo>
                  <a:pt x="122" y="552"/>
                  <a:pt x="122" y="552"/>
                  <a:pt x="122" y="552"/>
                </a:cubicBezTo>
                <a:cubicBezTo>
                  <a:pt x="327" y="552"/>
                  <a:pt x="327" y="552"/>
                  <a:pt x="327" y="552"/>
                </a:cubicBezTo>
                <a:cubicBezTo>
                  <a:pt x="327" y="621"/>
                  <a:pt x="327" y="621"/>
                  <a:pt x="327" y="621"/>
                </a:cubicBezTo>
                <a:cubicBezTo>
                  <a:pt x="327" y="632"/>
                  <a:pt x="318" y="641"/>
                  <a:pt x="307" y="641"/>
                </a:cubicBezTo>
                <a:close/>
                <a:moveTo>
                  <a:pt x="371" y="385"/>
                </a:moveTo>
                <a:cubicBezTo>
                  <a:pt x="355" y="402"/>
                  <a:pt x="329" y="444"/>
                  <a:pt x="327" y="538"/>
                </a:cubicBezTo>
                <a:cubicBezTo>
                  <a:pt x="232" y="538"/>
                  <a:pt x="232" y="538"/>
                  <a:pt x="232" y="538"/>
                </a:cubicBezTo>
                <a:cubicBezTo>
                  <a:pt x="232" y="306"/>
                  <a:pt x="232" y="306"/>
                  <a:pt x="232" y="306"/>
                </a:cubicBezTo>
                <a:cubicBezTo>
                  <a:pt x="257" y="304"/>
                  <a:pt x="279" y="289"/>
                  <a:pt x="295" y="262"/>
                </a:cubicBezTo>
                <a:cubicBezTo>
                  <a:pt x="309" y="241"/>
                  <a:pt x="314" y="219"/>
                  <a:pt x="314" y="219"/>
                </a:cubicBezTo>
                <a:cubicBezTo>
                  <a:pt x="315" y="215"/>
                  <a:pt x="312" y="211"/>
                  <a:pt x="309" y="210"/>
                </a:cubicBezTo>
                <a:cubicBezTo>
                  <a:pt x="305" y="209"/>
                  <a:pt x="301" y="212"/>
                  <a:pt x="300" y="215"/>
                </a:cubicBezTo>
                <a:cubicBezTo>
                  <a:pt x="300" y="216"/>
                  <a:pt x="281" y="292"/>
                  <a:pt x="225" y="292"/>
                </a:cubicBezTo>
                <a:cubicBezTo>
                  <a:pt x="168" y="292"/>
                  <a:pt x="149" y="216"/>
                  <a:pt x="149" y="215"/>
                </a:cubicBezTo>
                <a:cubicBezTo>
                  <a:pt x="148" y="212"/>
                  <a:pt x="144" y="209"/>
                  <a:pt x="141" y="210"/>
                </a:cubicBezTo>
                <a:cubicBezTo>
                  <a:pt x="137" y="211"/>
                  <a:pt x="134" y="215"/>
                  <a:pt x="135" y="219"/>
                </a:cubicBezTo>
                <a:cubicBezTo>
                  <a:pt x="136" y="219"/>
                  <a:pt x="141" y="241"/>
                  <a:pt x="154" y="262"/>
                </a:cubicBezTo>
                <a:cubicBezTo>
                  <a:pt x="170" y="289"/>
                  <a:pt x="192" y="304"/>
                  <a:pt x="218" y="306"/>
                </a:cubicBezTo>
                <a:cubicBezTo>
                  <a:pt x="218" y="538"/>
                  <a:pt x="218" y="538"/>
                  <a:pt x="218" y="538"/>
                </a:cubicBezTo>
                <a:cubicBezTo>
                  <a:pt x="122" y="538"/>
                  <a:pt x="122" y="538"/>
                  <a:pt x="122" y="538"/>
                </a:cubicBezTo>
                <a:cubicBezTo>
                  <a:pt x="121" y="444"/>
                  <a:pt x="94" y="402"/>
                  <a:pt x="78" y="385"/>
                </a:cubicBezTo>
                <a:cubicBezTo>
                  <a:pt x="37" y="341"/>
                  <a:pt x="14" y="283"/>
                  <a:pt x="14" y="225"/>
                </a:cubicBezTo>
                <a:cubicBezTo>
                  <a:pt x="14" y="109"/>
                  <a:pt x="108" y="14"/>
                  <a:pt x="225" y="14"/>
                </a:cubicBezTo>
                <a:cubicBezTo>
                  <a:pt x="341" y="14"/>
                  <a:pt x="435" y="109"/>
                  <a:pt x="435" y="225"/>
                </a:cubicBezTo>
                <a:cubicBezTo>
                  <a:pt x="435" y="283"/>
                  <a:pt x="412" y="341"/>
                  <a:pt x="371" y="3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" name="Oval 6"/>
          <p:cNvSpPr>
            <a:spLocks noChangeArrowheads="1"/>
          </p:cNvSpPr>
          <p:nvPr/>
        </p:nvSpPr>
        <p:spPr bwMode="auto">
          <a:xfrm>
            <a:off x="2259614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9" name="Freeform 37"/>
          <p:cNvSpPr>
            <a:spLocks noEditPoints="1"/>
          </p:cNvSpPr>
          <p:nvPr/>
        </p:nvSpPr>
        <p:spPr bwMode="auto">
          <a:xfrm>
            <a:off x="2492639" y="3585780"/>
            <a:ext cx="356911" cy="580894"/>
          </a:xfrm>
          <a:custGeom>
            <a:avLst/>
            <a:gdLst>
              <a:gd name="T0" fmla="*/ 155 w 461"/>
              <a:gd name="T1" fmla="*/ 661 h 750"/>
              <a:gd name="T2" fmla="*/ 155 w 461"/>
              <a:gd name="T3" fmla="*/ 594 h 750"/>
              <a:gd name="T4" fmla="*/ 340 w 461"/>
              <a:gd name="T5" fmla="*/ 627 h 750"/>
              <a:gd name="T6" fmla="*/ 155 w 461"/>
              <a:gd name="T7" fmla="*/ 608 h 750"/>
              <a:gd name="T8" fmla="*/ 155 w 461"/>
              <a:gd name="T9" fmla="*/ 647 h 750"/>
              <a:gd name="T10" fmla="*/ 326 w 461"/>
              <a:gd name="T11" fmla="*/ 627 h 750"/>
              <a:gd name="T12" fmla="*/ 155 w 461"/>
              <a:gd name="T13" fmla="*/ 608 h 750"/>
              <a:gd name="T14" fmla="*/ 155 w 461"/>
              <a:gd name="T15" fmla="*/ 715 h 750"/>
              <a:gd name="T16" fmla="*/ 155 w 461"/>
              <a:gd name="T17" fmla="*/ 647 h 750"/>
              <a:gd name="T18" fmla="*/ 340 w 461"/>
              <a:gd name="T19" fmla="*/ 681 h 750"/>
              <a:gd name="T20" fmla="*/ 155 w 461"/>
              <a:gd name="T21" fmla="*/ 661 h 750"/>
              <a:gd name="T22" fmla="*/ 155 w 461"/>
              <a:gd name="T23" fmla="*/ 701 h 750"/>
              <a:gd name="T24" fmla="*/ 326 w 461"/>
              <a:gd name="T25" fmla="*/ 681 h 750"/>
              <a:gd name="T26" fmla="*/ 155 w 461"/>
              <a:gd name="T27" fmla="*/ 661 h 750"/>
              <a:gd name="T28" fmla="*/ 296 w 461"/>
              <a:gd name="T29" fmla="*/ 701 h 750"/>
              <a:gd name="T30" fmla="*/ 230 w 461"/>
              <a:gd name="T31" fmla="*/ 736 h 750"/>
              <a:gd name="T32" fmla="*/ 165 w 461"/>
              <a:gd name="T33" fmla="*/ 701 h 750"/>
              <a:gd name="T34" fmla="*/ 230 w 461"/>
              <a:gd name="T35" fmla="*/ 750 h 750"/>
              <a:gd name="T36" fmla="*/ 303 w 461"/>
              <a:gd name="T37" fmla="*/ 554 h 750"/>
              <a:gd name="T38" fmla="*/ 95 w 461"/>
              <a:gd name="T39" fmla="*/ 491 h 750"/>
              <a:gd name="T40" fmla="*/ 65 w 461"/>
              <a:gd name="T41" fmla="*/ 391 h 750"/>
              <a:gd name="T42" fmla="*/ 231 w 461"/>
              <a:gd name="T43" fmla="*/ 0 h 750"/>
              <a:gd name="T44" fmla="*/ 396 w 461"/>
              <a:gd name="T45" fmla="*/ 391 h 750"/>
              <a:gd name="T46" fmla="*/ 366 w 461"/>
              <a:gd name="T47" fmla="*/ 491 h 750"/>
              <a:gd name="T48" fmla="*/ 231 w 461"/>
              <a:gd name="T49" fmla="*/ 14 h 750"/>
              <a:gd name="T50" fmla="*/ 75 w 461"/>
              <a:gd name="T51" fmla="*/ 381 h 750"/>
              <a:gd name="T52" fmla="*/ 109 w 461"/>
              <a:gd name="T53" fmla="*/ 491 h 750"/>
              <a:gd name="T54" fmla="*/ 303 w 461"/>
              <a:gd name="T55" fmla="*/ 540 h 750"/>
              <a:gd name="T56" fmla="*/ 352 w 461"/>
              <a:gd name="T57" fmla="*/ 448 h 750"/>
              <a:gd name="T58" fmla="*/ 447 w 461"/>
              <a:gd name="T59" fmla="*/ 231 h 750"/>
              <a:gd name="T60" fmla="*/ 306 w 461"/>
              <a:gd name="T61" fmla="*/ 608 h 750"/>
              <a:gd name="T62" fmla="*/ 121 w 461"/>
              <a:gd name="T63" fmla="*/ 574 h 750"/>
              <a:gd name="T64" fmla="*/ 306 w 461"/>
              <a:gd name="T65" fmla="*/ 540 h 750"/>
              <a:gd name="T66" fmla="*/ 306 w 461"/>
              <a:gd name="T67" fmla="*/ 608 h 750"/>
              <a:gd name="T68" fmla="*/ 135 w 461"/>
              <a:gd name="T69" fmla="*/ 574 h 750"/>
              <a:gd name="T70" fmla="*/ 306 w 461"/>
              <a:gd name="T71" fmla="*/ 594 h 750"/>
              <a:gd name="T72" fmla="*/ 306 w 461"/>
              <a:gd name="T73" fmla="*/ 554 h 7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61" h="750">
                <a:moveTo>
                  <a:pt x="306" y="661"/>
                </a:moveTo>
                <a:cubicBezTo>
                  <a:pt x="155" y="661"/>
                  <a:pt x="155" y="661"/>
                  <a:pt x="155" y="661"/>
                </a:cubicBezTo>
                <a:cubicBezTo>
                  <a:pt x="137" y="661"/>
                  <a:pt x="121" y="646"/>
                  <a:pt x="121" y="627"/>
                </a:cubicBezTo>
                <a:cubicBezTo>
                  <a:pt x="121" y="609"/>
                  <a:pt x="137" y="594"/>
                  <a:pt x="155" y="594"/>
                </a:cubicBezTo>
                <a:cubicBezTo>
                  <a:pt x="306" y="594"/>
                  <a:pt x="306" y="594"/>
                  <a:pt x="306" y="594"/>
                </a:cubicBezTo>
                <a:cubicBezTo>
                  <a:pt x="324" y="594"/>
                  <a:pt x="340" y="609"/>
                  <a:pt x="340" y="627"/>
                </a:cubicBezTo>
                <a:cubicBezTo>
                  <a:pt x="340" y="646"/>
                  <a:pt x="324" y="661"/>
                  <a:pt x="306" y="661"/>
                </a:cubicBezTo>
                <a:close/>
                <a:moveTo>
                  <a:pt x="155" y="608"/>
                </a:moveTo>
                <a:cubicBezTo>
                  <a:pt x="144" y="608"/>
                  <a:pt x="135" y="617"/>
                  <a:pt x="135" y="627"/>
                </a:cubicBezTo>
                <a:cubicBezTo>
                  <a:pt x="135" y="638"/>
                  <a:pt x="144" y="647"/>
                  <a:pt x="155" y="647"/>
                </a:cubicBezTo>
                <a:cubicBezTo>
                  <a:pt x="306" y="647"/>
                  <a:pt x="306" y="647"/>
                  <a:pt x="306" y="647"/>
                </a:cubicBezTo>
                <a:cubicBezTo>
                  <a:pt x="317" y="647"/>
                  <a:pt x="326" y="638"/>
                  <a:pt x="326" y="627"/>
                </a:cubicBezTo>
                <a:cubicBezTo>
                  <a:pt x="326" y="617"/>
                  <a:pt x="317" y="608"/>
                  <a:pt x="306" y="608"/>
                </a:cubicBezTo>
                <a:lnTo>
                  <a:pt x="155" y="608"/>
                </a:lnTo>
                <a:close/>
                <a:moveTo>
                  <a:pt x="306" y="715"/>
                </a:moveTo>
                <a:cubicBezTo>
                  <a:pt x="155" y="715"/>
                  <a:pt x="155" y="715"/>
                  <a:pt x="155" y="715"/>
                </a:cubicBezTo>
                <a:cubicBezTo>
                  <a:pt x="137" y="715"/>
                  <a:pt x="121" y="700"/>
                  <a:pt x="121" y="681"/>
                </a:cubicBezTo>
                <a:cubicBezTo>
                  <a:pt x="121" y="662"/>
                  <a:pt x="137" y="647"/>
                  <a:pt x="155" y="647"/>
                </a:cubicBezTo>
                <a:cubicBezTo>
                  <a:pt x="306" y="647"/>
                  <a:pt x="306" y="647"/>
                  <a:pt x="306" y="647"/>
                </a:cubicBezTo>
                <a:cubicBezTo>
                  <a:pt x="324" y="647"/>
                  <a:pt x="340" y="662"/>
                  <a:pt x="340" y="681"/>
                </a:cubicBezTo>
                <a:cubicBezTo>
                  <a:pt x="340" y="700"/>
                  <a:pt x="324" y="715"/>
                  <a:pt x="306" y="715"/>
                </a:cubicBezTo>
                <a:close/>
                <a:moveTo>
                  <a:pt x="155" y="661"/>
                </a:moveTo>
                <a:cubicBezTo>
                  <a:pt x="144" y="661"/>
                  <a:pt x="135" y="670"/>
                  <a:pt x="135" y="681"/>
                </a:cubicBezTo>
                <a:cubicBezTo>
                  <a:pt x="135" y="692"/>
                  <a:pt x="144" y="701"/>
                  <a:pt x="155" y="701"/>
                </a:cubicBezTo>
                <a:cubicBezTo>
                  <a:pt x="306" y="701"/>
                  <a:pt x="306" y="701"/>
                  <a:pt x="306" y="701"/>
                </a:cubicBezTo>
                <a:cubicBezTo>
                  <a:pt x="317" y="701"/>
                  <a:pt x="326" y="692"/>
                  <a:pt x="326" y="681"/>
                </a:cubicBezTo>
                <a:cubicBezTo>
                  <a:pt x="326" y="670"/>
                  <a:pt x="317" y="661"/>
                  <a:pt x="306" y="661"/>
                </a:cubicBezTo>
                <a:lnTo>
                  <a:pt x="155" y="661"/>
                </a:lnTo>
                <a:close/>
                <a:moveTo>
                  <a:pt x="303" y="708"/>
                </a:moveTo>
                <a:cubicBezTo>
                  <a:pt x="303" y="704"/>
                  <a:pt x="300" y="701"/>
                  <a:pt x="296" y="701"/>
                </a:cubicBezTo>
                <a:cubicBezTo>
                  <a:pt x="293" y="701"/>
                  <a:pt x="289" y="704"/>
                  <a:pt x="289" y="708"/>
                </a:cubicBezTo>
                <a:cubicBezTo>
                  <a:pt x="289" y="721"/>
                  <a:pt x="265" y="736"/>
                  <a:pt x="230" y="736"/>
                </a:cubicBezTo>
                <a:cubicBezTo>
                  <a:pt x="196" y="736"/>
                  <a:pt x="172" y="721"/>
                  <a:pt x="172" y="708"/>
                </a:cubicBezTo>
                <a:cubicBezTo>
                  <a:pt x="172" y="704"/>
                  <a:pt x="169" y="701"/>
                  <a:pt x="165" y="701"/>
                </a:cubicBezTo>
                <a:cubicBezTo>
                  <a:pt x="161" y="701"/>
                  <a:pt x="158" y="704"/>
                  <a:pt x="158" y="708"/>
                </a:cubicBezTo>
                <a:cubicBezTo>
                  <a:pt x="158" y="731"/>
                  <a:pt x="190" y="750"/>
                  <a:pt x="230" y="750"/>
                </a:cubicBezTo>
                <a:cubicBezTo>
                  <a:pt x="271" y="750"/>
                  <a:pt x="303" y="731"/>
                  <a:pt x="303" y="708"/>
                </a:cubicBezTo>
                <a:close/>
                <a:moveTo>
                  <a:pt x="303" y="554"/>
                </a:moveTo>
                <a:cubicBezTo>
                  <a:pt x="158" y="554"/>
                  <a:pt x="158" y="554"/>
                  <a:pt x="158" y="554"/>
                </a:cubicBezTo>
                <a:cubicBezTo>
                  <a:pt x="123" y="554"/>
                  <a:pt x="95" y="526"/>
                  <a:pt x="95" y="491"/>
                </a:cubicBezTo>
                <a:cubicBezTo>
                  <a:pt x="95" y="448"/>
                  <a:pt x="95" y="448"/>
                  <a:pt x="95" y="448"/>
                </a:cubicBezTo>
                <a:cubicBezTo>
                  <a:pt x="95" y="424"/>
                  <a:pt x="85" y="410"/>
                  <a:pt x="65" y="391"/>
                </a:cubicBezTo>
                <a:cubicBezTo>
                  <a:pt x="24" y="350"/>
                  <a:pt x="0" y="292"/>
                  <a:pt x="0" y="231"/>
                </a:cubicBezTo>
                <a:cubicBezTo>
                  <a:pt x="0" y="104"/>
                  <a:pt x="104" y="0"/>
                  <a:pt x="231" y="0"/>
                </a:cubicBezTo>
                <a:cubicBezTo>
                  <a:pt x="358" y="0"/>
                  <a:pt x="461" y="104"/>
                  <a:pt x="461" y="231"/>
                </a:cubicBezTo>
                <a:cubicBezTo>
                  <a:pt x="461" y="292"/>
                  <a:pt x="437" y="350"/>
                  <a:pt x="396" y="391"/>
                </a:cubicBezTo>
                <a:cubicBezTo>
                  <a:pt x="376" y="410"/>
                  <a:pt x="366" y="424"/>
                  <a:pt x="366" y="448"/>
                </a:cubicBezTo>
                <a:cubicBezTo>
                  <a:pt x="366" y="491"/>
                  <a:pt x="366" y="491"/>
                  <a:pt x="366" y="491"/>
                </a:cubicBezTo>
                <a:cubicBezTo>
                  <a:pt x="366" y="526"/>
                  <a:pt x="338" y="554"/>
                  <a:pt x="303" y="554"/>
                </a:cubicBezTo>
                <a:close/>
                <a:moveTo>
                  <a:pt x="231" y="14"/>
                </a:moveTo>
                <a:cubicBezTo>
                  <a:pt x="111" y="14"/>
                  <a:pt x="14" y="111"/>
                  <a:pt x="14" y="231"/>
                </a:cubicBezTo>
                <a:cubicBezTo>
                  <a:pt x="14" y="288"/>
                  <a:pt x="36" y="343"/>
                  <a:pt x="75" y="381"/>
                </a:cubicBezTo>
                <a:cubicBezTo>
                  <a:pt x="96" y="402"/>
                  <a:pt x="109" y="420"/>
                  <a:pt x="109" y="448"/>
                </a:cubicBezTo>
                <a:cubicBezTo>
                  <a:pt x="109" y="491"/>
                  <a:pt x="109" y="491"/>
                  <a:pt x="109" y="491"/>
                </a:cubicBezTo>
                <a:cubicBezTo>
                  <a:pt x="109" y="518"/>
                  <a:pt x="131" y="540"/>
                  <a:pt x="158" y="540"/>
                </a:cubicBezTo>
                <a:cubicBezTo>
                  <a:pt x="303" y="540"/>
                  <a:pt x="303" y="540"/>
                  <a:pt x="303" y="540"/>
                </a:cubicBezTo>
                <a:cubicBezTo>
                  <a:pt x="330" y="540"/>
                  <a:pt x="352" y="518"/>
                  <a:pt x="352" y="491"/>
                </a:cubicBezTo>
                <a:cubicBezTo>
                  <a:pt x="352" y="448"/>
                  <a:pt x="352" y="448"/>
                  <a:pt x="352" y="448"/>
                </a:cubicBezTo>
                <a:cubicBezTo>
                  <a:pt x="352" y="420"/>
                  <a:pt x="365" y="402"/>
                  <a:pt x="386" y="381"/>
                </a:cubicBezTo>
                <a:cubicBezTo>
                  <a:pt x="425" y="343"/>
                  <a:pt x="447" y="288"/>
                  <a:pt x="447" y="231"/>
                </a:cubicBezTo>
                <a:cubicBezTo>
                  <a:pt x="447" y="111"/>
                  <a:pt x="350" y="14"/>
                  <a:pt x="231" y="14"/>
                </a:cubicBezTo>
                <a:close/>
                <a:moveTo>
                  <a:pt x="306" y="608"/>
                </a:moveTo>
                <a:cubicBezTo>
                  <a:pt x="155" y="608"/>
                  <a:pt x="155" y="608"/>
                  <a:pt x="155" y="608"/>
                </a:cubicBezTo>
                <a:cubicBezTo>
                  <a:pt x="137" y="608"/>
                  <a:pt x="121" y="592"/>
                  <a:pt x="121" y="574"/>
                </a:cubicBezTo>
                <a:cubicBezTo>
                  <a:pt x="121" y="555"/>
                  <a:pt x="137" y="540"/>
                  <a:pt x="155" y="540"/>
                </a:cubicBezTo>
                <a:cubicBezTo>
                  <a:pt x="306" y="540"/>
                  <a:pt x="306" y="540"/>
                  <a:pt x="306" y="540"/>
                </a:cubicBezTo>
                <a:cubicBezTo>
                  <a:pt x="324" y="540"/>
                  <a:pt x="340" y="555"/>
                  <a:pt x="340" y="574"/>
                </a:cubicBezTo>
                <a:cubicBezTo>
                  <a:pt x="340" y="592"/>
                  <a:pt x="324" y="608"/>
                  <a:pt x="306" y="608"/>
                </a:cubicBezTo>
                <a:close/>
                <a:moveTo>
                  <a:pt x="155" y="554"/>
                </a:moveTo>
                <a:cubicBezTo>
                  <a:pt x="144" y="554"/>
                  <a:pt x="135" y="563"/>
                  <a:pt x="135" y="574"/>
                </a:cubicBezTo>
                <a:cubicBezTo>
                  <a:pt x="135" y="585"/>
                  <a:pt x="144" y="594"/>
                  <a:pt x="155" y="594"/>
                </a:cubicBezTo>
                <a:cubicBezTo>
                  <a:pt x="306" y="594"/>
                  <a:pt x="306" y="594"/>
                  <a:pt x="306" y="594"/>
                </a:cubicBezTo>
                <a:cubicBezTo>
                  <a:pt x="317" y="594"/>
                  <a:pt x="326" y="585"/>
                  <a:pt x="326" y="574"/>
                </a:cubicBezTo>
                <a:cubicBezTo>
                  <a:pt x="326" y="563"/>
                  <a:pt x="317" y="554"/>
                  <a:pt x="306" y="554"/>
                </a:cubicBezTo>
                <a:lnTo>
                  <a:pt x="155" y="55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72" name="Oval 10"/>
          <p:cNvSpPr>
            <a:spLocks noChangeArrowheads="1"/>
          </p:cNvSpPr>
          <p:nvPr/>
        </p:nvSpPr>
        <p:spPr bwMode="auto">
          <a:xfrm>
            <a:off x="4845101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46" name="Freeform 38"/>
          <p:cNvSpPr>
            <a:spLocks noEditPoints="1"/>
          </p:cNvSpPr>
          <p:nvPr/>
        </p:nvSpPr>
        <p:spPr bwMode="auto">
          <a:xfrm>
            <a:off x="5082714" y="3601197"/>
            <a:ext cx="347735" cy="550061"/>
          </a:xfrm>
          <a:custGeom>
            <a:avLst/>
            <a:gdLst>
              <a:gd name="T0" fmla="*/ 225 w 449"/>
              <a:gd name="T1" fmla="*/ 0 h 710"/>
              <a:gd name="T2" fmla="*/ 0 w 449"/>
              <a:gd name="T3" fmla="*/ 225 h 710"/>
              <a:gd name="T4" fmla="*/ 68 w 449"/>
              <a:gd name="T5" fmla="*/ 395 h 710"/>
              <a:gd name="T6" fmla="*/ 108 w 449"/>
              <a:gd name="T7" fmla="*/ 545 h 710"/>
              <a:gd name="T8" fmla="*/ 108 w 449"/>
              <a:gd name="T9" fmla="*/ 621 h 710"/>
              <a:gd name="T10" fmla="*/ 142 w 449"/>
              <a:gd name="T11" fmla="*/ 655 h 710"/>
              <a:gd name="T12" fmla="*/ 159 w 449"/>
              <a:gd name="T13" fmla="*/ 655 h 710"/>
              <a:gd name="T14" fmla="*/ 225 w 449"/>
              <a:gd name="T15" fmla="*/ 710 h 710"/>
              <a:gd name="T16" fmla="*/ 290 w 449"/>
              <a:gd name="T17" fmla="*/ 655 h 710"/>
              <a:gd name="T18" fmla="*/ 307 w 449"/>
              <a:gd name="T19" fmla="*/ 655 h 710"/>
              <a:gd name="T20" fmla="*/ 341 w 449"/>
              <a:gd name="T21" fmla="*/ 621 h 710"/>
              <a:gd name="T22" fmla="*/ 341 w 449"/>
              <a:gd name="T23" fmla="*/ 545 h 710"/>
              <a:gd name="T24" fmla="*/ 381 w 449"/>
              <a:gd name="T25" fmla="*/ 395 h 710"/>
              <a:gd name="T26" fmla="*/ 449 w 449"/>
              <a:gd name="T27" fmla="*/ 225 h 710"/>
              <a:gd name="T28" fmla="*/ 225 w 449"/>
              <a:gd name="T29" fmla="*/ 0 h 710"/>
              <a:gd name="T30" fmla="*/ 225 w 449"/>
              <a:gd name="T31" fmla="*/ 696 h 710"/>
              <a:gd name="T32" fmla="*/ 173 w 449"/>
              <a:gd name="T33" fmla="*/ 655 h 710"/>
              <a:gd name="T34" fmla="*/ 276 w 449"/>
              <a:gd name="T35" fmla="*/ 655 h 710"/>
              <a:gd name="T36" fmla="*/ 225 w 449"/>
              <a:gd name="T37" fmla="*/ 696 h 710"/>
              <a:gd name="T38" fmla="*/ 307 w 449"/>
              <a:gd name="T39" fmla="*/ 641 h 710"/>
              <a:gd name="T40" fmla="*/ 142 w 449"/>
              <a:gd name="T41" fmla="*/ 641 h 710"/>
              <a:gd name="T42" fmla="*/ 122 w 449"/>
              <a:gd name="T43" fmla="*/ 621 h 710"/>
              <a:gd name="T44" fmla="*/ 122 w 449"/>
              <a:gd name="T45" fmla="*/ 552 h 710"/>
              <a:gd name="T46" fmla="*/ 327 w 449"/>
              <a:gd name="T47" fmla="*/ 552 h 710"/>
              <a:gd name="T48" fmla="*/ 327 w 449"/>
              <a:gd name="T49" fmla="*/ 621 h 710"/>
              <a:gd name="T50" fmla="*/ 307 w 449"/>
              <a:gd name="T51" fmla="*/ 641 h 710"/>
              <a:gd name="T52" fmla="*/ 371 w 449"/>
              <a:gd name="T53" fmla="*/ 385 h 710"/>
              <a:gd name="T54" fmla="*/ 327 w 449"/>
              <a:gd name="T55" fmla="*/ 538 h 710"/>
              <a:gd name="T56" fmla="*/ 230 w 449"/>
              <a:gd name="T57" fmla="*/ 538 h 710"/>
              <a:gd name="T58" fmla="*/ 219 w 449"/>
              <a:gd name="T59" fmla="*/ 459 h 710"/>
              <a:gd name="T60" fmla="*/ 222 w 449"/>
              <a:gd name="T61" fmla="*/ 459 h 710"/>
              <a:gd name="T62" fmla="*/ 325 w 449"/>
              <a:gd name="T63" fmla="*/ 338 h 710"/>
              <a:gd name="T64" fmla="*/ 305 w 449"/>
              <a:gd name="T65" fmla="*/ 269 h 710"/>
              <a:gd name="T66" fmla="*/ 271 w 449"/>
              <a:gd name="T67" fmla="*/ 132 h 710"/>
              <a:gd name="T68" fmla="*/ 268 w 449"/>
              <a:gd name="T69" fmla="*/ 126 h 710"/>
              <a:gd name="T70" fmla="*/ 261 w 449"/>
              <a:gd name="T71" fmla="*/ 126 h 710"/>
              <a:gd name="T72" fmla="*/ 120 w 449"/>
              <a:gd name="T73" fmla="*/ 324 h 710"/>
              <a:gd name="T74" fmla="*/ 141 w 449"/>
              <a:gd name="T75" fmla="*/ 414 h 710"/>
              <a:gd name="T76" fmla="*/ 205 w 449"/>
              <a:gd name="T77" fmla="*/ 457 h 710"/>
              <a:gd name="T78" fmla="*/ 216 w 449"/>
              <a:gd name="T79" fmla="*/ 538 h 710"/>
              <a:gd name="T80" fmla="*/ 122 w 449"/>
              <a:gd name="T81" fmla="*/ 538 h 710"/>
              <a:gd name="T82" fmla="*/ 78 w 449"/>
              <a:gd name="T83" fmla="*/ 385 h 710"/>
              <a:gd name="T84" fmla="*/ 14 w 449"/>
              <a:gd name="T85" fmla="*/ 225 h 710"/>
              <a:gd name="T86" fmla="*/ 225 w 449"/>
              <a:gd name="T87" fmla="*/ 14 h 710"/>
              <a:gd name="T88" fmla="*/ 435 w 449"/>
              <a:gd name="T89" fmla="*/ 225 h 710"/>
              <a:gd name="T90" fmla="*/ 371 w 449"/>
              <a:gd name="T91" fmla="*/ 385 h 710"/>
              <a:gd name="T92" fmla="*/ 231 w 449"/>
              <a:gd name="T93" fmla="*/ 301 h 710"/>
              <a:gd name="T94" fmla="*/ 226 w 449"/>
              <a:gd name="T95" fmla="*/ 292 h 710"/>
              <a:gd name="T96" fmla="*/ 218 w 449"/>
              <a:gd name="T97" fmla="*/ 298 h 710"/>
              <a:gd name="T98" fmla="*/ 205 w 449"/>
              <a:gd name="T99" fmla="*/ 443 h 710"/>
              <a:gd name="T100" fmla="*/ 153 w 449"/>
              <a:gd name="T101" fmla="*/ 406 h 710"/>
              <a:gd name="T102" fmla="*/ 134 w 449"/>
              <a:gd name="T103" fmla="*/ 326 h 710"/>
              <a:gd name="T104" fmla="*/ 257 w 449"/>
              <a:gd name="T105" fmla="*/ 144 h 710"/>
              <a:gd name="T106" fmla="*/ 292 w 449"/>
              <a:gd name="T107" fmla="*/ 274 h 710"/>
              <a:gd name="T108" fmla="*/ 311 w 449"/>
              <a:gd name="T109" fmla="*/ 338 h 710"/>
              <a:gd name="T110" fmla="*/ 222 w 449"/>
              <a:gd name="T111" fmla="*/ 445 h 710"/>
              <a:gd name="T112" fmla="*/ 219 w 449"/>
              <a:gd name="T113" fmla="*/ 445 h 710"/>
              <a:gd name="T114" fmla="*/ 231 w 449"/>
              <a:gd name="T115" fmla="*/ 301 h 7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49" h="710">
                <a:moveTo>
                  <a:pt x="225" y="0"/>
                </a:moveTo>
                <a:cubicBezTo>
                  <a:pt x="101" y="0"/>
                  <a:pt x="0" y="101"/>
                  <a:pt x="0" y="225"/>
                </a:cubicBezTo>
                <a:cubicBezTo>
                  <a:pt x="0" y="287"/>
                  <a:pt x="25" y="348"/>
                  <a:pt x="68" y="395"/>
                </a:cubicBezTo>
                <a:cubicBezTo>
                  <a:pt x="80" y="407"/>
                  <a:pt x="108" y="447"/>
                  <a:pt x="108" y="545"/>
                </a:cubicBezTo>
                <a:cubicBezTo>
                  <a:pt x="108" y="621"/>
                  <a:pt x="108" y="621"/>
                  <a:pt x="108" y="621"/>
                </a:cubicBezTo>
                <a:cubicBezTo>
                  <a:pt x="108" y="639"/>
                  <a:pt x="123" y="655"/>
                  <a:pt x="142" y="655"/>
                </a:cubicBezTo>
                <a:cubicBezTo>
                  <a:pt x="159" y="655"/>
                  <a:pt x="159" y="655"/>
                  <a:pt x="159" y="655"/>
                </a:cubicBezTo>
                <a:cubicBezTo>
                  <a:pt x="162" y="686"/>
                  <a:pt x="190" y="710"/>
                  <a:pt x="225" y="710"/>
                </a:cubicBezTo>
                <a:cubicBezTo>
                  <a:pt x="259" y="710"/>
                  <a:pt x="287" y="686"/>
                  <a:pt x="290" y="655"/>
                </a:cubicBezTo>
                <a:cubicBezTo>
                  <a:pt x="307" y="655"/>
                  <a:pt x="307" y="655"/>
                  <a:pt x="307" y="655"/>
                </a:cubicBezTo>
                <a:cubicBezTo>
                  <a:pt x="326" y="655"/>
                  <a:pt x="341" y="639"/>
                  <a:pt x="341" y="621"/>
                </a:cubicBezTo>
                <a:cubicBezTo>
                  <a:pt x="341" y="545"/>
                  <a:pt x="341" y="545"/>
                  <a:pt x="341" y="545"/>
                </a:cubicBezTo>
                <a:cubicBezTo>
                  <a:pt x="341" y="447"/>
                  <a:pt x="369" y="407"/>
                  <a:pt x="381" y="395"/>
                </a:cubicBezTo>
                <a:cubicBezTo>
                  <a:pt x="424" y="348"/>
                  <a:pt x="449" y="287"/>
                  <a:pt x="449" y="225"/>
                </a:cubicBezTo>
                <a:cubicBezTo>
                  <a:pt x="449" y="101"/>
                  <a:pt x="348" y="0"/>
                  <a:pt x="225" y="0"/>
                </a:cubicBezTo>
                <a:close/>
                <a:moveTo>
                  <a:pt x="225" y="696"/>
                </a:moveTo>
                <a:cubicBezTo>
                  <a:pt x="198" y="696"/>
                  <a:pt x="176" y="678"/>
                  <a:pt x="173" y="655"/>
                </a:cubicBezTo>
                <a:cubicBezTo>
                  <a:pt x="276" y="655"/>
                  <a:pt x="276" y="655"/>
                  <a:pt x="276" y="655"/>
                </a:cubicBezTo>
                <a:cubicBezTo>
                  <a:pt x="273" y="678"/>
                  <a:pt x="251" y="696"/>
                  <a:pt x="225" y="696"/>
                </a:cubicBezTo>
                <a:close/>
                <a:moveTo>
                  <a:pt x="307" y="641"/>
                </a:moveTo>
                <a:cubicBezTo>
                  <a:pt x="142" y="641"/>
                  <a:pt x="142" y="641"/>
                  <a:pt x="142" y="641"/>
                </a:cubicBezTo>
                <a:cubicBezTo>
                  <a:pt x="131" y="641"/>
                  <a:pt x="122" y="632"/>
                  <a:pt x="122" y="621"/>
                </a:cubicBezTo>
                <a:cubicBezTo>
                  <a:pt x="122" y="552"/>
                  <a:pt x="122" y="552"/>
                  <a:pt x="122" y="552"/>
                </a:cubicBezTo>
                <a:cubicBezTo>
                  <a:pt x="327" y="552"/>
                  <a:pt x="327" y="552"/>
                  <a:pt x="327" y="552"/>
                </a:cubicBezTo>
                <a:cubicBezTo>
                  <a:pt x="327" y="621"/>
                  <a:pt x="327" y="621"/>
                  <a:pt x="327" y="621"/>
                </a:cubicBezTo>
                <a:cubicBezTo>
                  <a:pt x="327" y="632"/>
                  <a:pt x="318" y="641"/>
                  <a:pt x="307" y="641"/>
                </a:cubicBezTo>
                <a:close/>
                <a:moveTo>
                  <a:pt x="371" y="385"/>
                </a:moveTo>
                <a:cubicBezTo>
                  <a:pt x="355" y="402"/>
                  <a:pt x="329" y="444"/>
                  <a:pt x="327" y="538"/>
                </a:cubicBezTo>
                <a:cubicBezTo>
                  <a:pt x="230" y="538"/>
                  <a:pt x="230" y="538"/>
                  <a:pt x="230" y="538"/>
                </a:cubicBezTo>
                <a:cubicBezTo>
                  <a:pt x="224" y="510"/>
                  <a:pt x="221" y="484"/>
                  <a:pt x="219" y="459"/>
                </a:cubicBezTo>
                <a:cubicBezTo>
                  <a:pt x="220" y="459"/>
                  <a:pt x="221" y="459"/>
                  <a:pt x="222" y="459"/>
                </a:cubicBezTo>
                <a:cubicBezTo>
                  <a:pt x="277" y="459"/>
                  <a:pt x="324" y="404"/>
                  <a:pt x="325" y="338"/>
                </a:cubicBezTo>
                <a:cubicBezTo>
                  <a:pt x="325" y="317"/>
                  <a:pt x="316" y="295"/>
                  <a:pt x="305" y="269"/>
                </a:cubicBezTo>
                <a:cubicBezTo>
                  <a:pt x="290" y="233"/>
                  <a:pt x="271" y="189"/>
                  <a:pt x="271" y="132"/>
                </a:cubicBezTo>
                <a:cubicBezTo>
                  <a:pt x="271" y="130"/>
                  <a:pt x="270" y="127"/>
                  <a:pt x="268" y="126"/>
                </a:cubicBezTo>
                <a:cubicBezTo>
                  <a:pt x="266" y="125"/>
                  <a:pt x="263" y="125"/>
                  <a:pt x="261" y="126"/>
                </a:cubicBezTo>
                <a:cubicBezTo>
                  <a:pt x="197" y="159"/>
                  <a:pt x="127" y="258"/>
                  <a:pt x="120" y="324"/>
                </a:cubicBezTo>
                <a:cubicBezTo>
                  <a:pt x="116" y="357"/>
                  <a:pt x="124" y="389"/>
                  <a:pt x="141" y="414"/>
                </a:cubicBezTo>
                <a:cubicBezTo>
                  <a:pt x="157" y="437"/>
                  <a:pt x="180" y="452"/>
                  <a:pt x="205" y="457"/>
                </a:cubicBezTo>
                <a:cubicBezTo>
                  <a:pt x="207" y="483"/>
                  <a:pt x="210" y="510"/>
                  <a:pt x="216" y="538"/>
                </a:cubicBezTo>
                <a:cubicBezTo>
                  <a:pt x="122" y="538"/>
                  <a:pt x="122" y="538"/>
                  <a:pt x="122" y="538"/>
                </a:cubicBezTo>
                <a:cubicBezTo>
                  <a:pt x="121" y="444"/>
                  <a:pt x="94" y="402"/>
                  <a:pt x="78" y="385"/>
                </a:cubicBezTo>
                <a:cubicBezTo>
                  <a:pt x="37" y="341"/>
                  <a:pt x="14" y="283"/>
                  <a:pt x="14" y="225"/>
                </a:cubicBezTo>
                <a:cubicBezTo>
                  <a:pt x="14" y="109"/>
                  <a:pt x="108" y="14"/>
                  <a:pt x="225" y="14"/>
                </a:cubicBezTo>
                <a:cubicBezTo>
                  <a:pt x="341" y="14"/>
                  <a:pt x="435" y="109"/>
                  <a:pt x="435" y="225"/>
                </a:cubicBezTo>
                <a:cubicBezTo>
                  <a:pt x="435" y="283"/>
                  <a:pt x="412" y="341"/>
                  <a:pt x="371" y="385"/>
                </a:cubicBezTo>
                <a:close/>
                <a:moveTo>
                  <a:pt x="231" y="301"/>
                </a:moveTo>
                <a:cubicBezTo>
                  <a:pt x="232" y="297"/>
                  <a:pt x="230" y="293"/>
                  <a:pt x="226" y="292"/>
                </a:cubicBezTo>
                <a:cubicBezTo>
                  <a:pt x="222" y="292"/>
                  <a:pt x="218" y="294"/>
                  <a:pt x="218" y="298"/>
                </a:cubicBezTo>
                <a:cubicBezTo>
                  <a:pt x="210" y="341"/>
                  <a:pt x="203" y="389"/>
                  <a:pt x="205" y="443"/>
                </a:cubicBezTo>
                <a:cubicBezTo>
                  <a:pt x="184" y="438"/>
                  <a:pt x="166" y="425"/>
                  <a:pt x="153" y="406"/>
                </a:cubicBezTo>
                <a:cubicBezTo>
                  <a:pt x="137" y="384"/>
                  <a:pt x="130" y="355"/>
                  <a:pt x="134" y="326"/>
                </a:cubicBezTo>
                <a:cubicBezTo>
                  <a:pt x="140" y="267"/>
                  <a:pt x="201" y="180"/>
                  <a:pt x="257" y="144"/>
                </a:cubicBezTo>
                <a:cubicBezTo>
                  <a:pt x="260" y="198"/>
                  <a:pt x="277" y="240"/>
                  <a:pt x="292" y="274"/>
                </a:cubicBezTo>
                <a:cubicBezTo>
                  <a:pt x="302" y="299"/>
                  <a:pt x="311" y="320"/>
                  <a:pt x="311" y="338"/>
                </a:cubicBezTo>
                <a:cubicBezTo>
                  <a:pt x="310" y="396"/>
                  <a:pt x="270" y="445"/>
                  <a:pt x="222" y="445"/>
                </a:cubicBezTo>
                <a:cubicBezTo>
                  <a:pt x="221" y="445"/>
                  <a:pt x="220" y="445"/>
                  <a:pt x="219" y="445"/>
                </a:cubicBezTo>
                <a:cubicBezTo>
                  <a:pt x="217" y="391"/>
                  <a:pt x="224" y="343"/>
                  <a:pt x="231" y="30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142511707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6" name="Oval 15"/>
          <p:cNvSpPr>
            <a:spLocks noChangeArrowheads="1"/>
          </p:cNvSpPr>
          <p:nvPr/>
        </p:nvSpPr>
        <p:spPr bwMode="auto">
          <a:xfrm>
            <a:off x="966871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06" name="Freeform 97"/>
          <p:cNvSpPr>
            <a:spLocks noEditPoints="1"/>
          </p:cNvSpPr>
          <p:nvPr/>
        </p:nvSpPr>
        <p:spPr bwMode="auto">
          <a:xfrm>
            <a:off x="1131642" y="1298467"/>
            <a:ext cx="494313" cy="473202"/>
          </a:xfrm>
          <a:custGeom>
            <a:avLst/>
            <a:gdLst>
              <a:gd name="T0" fmla="*/ 594 w 638"/>
              <a:gd name="T1" fmla="*/ 449 h 612"/>
              <a:gd name="T2" fmla="*/ 514 w 638"/>
              <a:gd name="T3" fmla="*/ 183 h 612"/>
              <a:gd name="T4" fmla="*/ 494 w 638"/>
              <a:gd name="T5" fmla="*/ 131 h 612"/>
              <a:gd name="T6" fmla="*/ 554 w 638"/>
              <a:gd name="T7" fmla="*/ 99 h 612"/>
              <a:gd name="T8" fmla="*/ 522 w 638"/>
              <a:gd name="T9" fmla="*/ 0 h 612"/>
              <a:gd name="T10" fmla="*/ 237 w 638"/>
              <a:gd name="T11" fmla="*/ 32 h 612"/>
              <a:gd name="T12" fmla="*/ 269 w 638"/>
              <a:gd name="T13" fmla="*/ 131 h 612"/>
              <a:gd name="T14" fmla="*/ 433 w 638"/>
              <a:gd name="T15" fmla="*/ 183 h 612"/>
              <a:gd name="T16" fmla="*/ 95 w 638"/>
              <a:gd name="T17" fmla="*/ 205 h 612"/>
              <a:gd name="T18" fmla="*/ 35 w 638"/>
              <a:gd name="T19" fmla="*/ 449 h 612"/>
              <a:gd name="T20" fmla="*/ 0 w 638"/>
              <a:gd name="T21" fmla="*/ 578 h 612"/>
              <a:gd name="T22" fmla="*/ 604 w 638"/>
              <a:gd name="T23" fmla="*/ 612 h 612"/>
              <a:gd name="T24" fmla="*/ 638 w 638"/>
              <a:gd name="T25" fmla="*/ 484 h 612"/>
              <a:gd name="T26" fmla="*/ 251 w 638"/>
              <a:gd name="T27" fmla="*/ 99 h 612"/>
              <a:gd name="T28" fmla="*/ 269 w 638"/>
              <a:gd name="T29" fmla="*/ 14 h 612"/>
              <a:gd name="T30" fmla="*/ 540 w 638"/>
              <a:gd name="T31" fmla="*/ 32 h 612"/>
              <a:gd name="T32" fmla="*/ 522 w 638"/>
              <a:gd name="T33" fmla="*/ 117 h 612"/>
              <a:gd name="T34" fmla="*/ 251 w 638"/>
              <a:gd name="T35" fmla="*/ 99 h 612"/>
              <a:gd name="T36" fmla="*/ 480 w 638"/>
              <a:gd name="T37" fmla="*/ 131 h 612"/>
              <a:gd name="T38" fmla="*/ 447 w 638"/>
              <a:gd name="T39" fmla="*/ 183 h 612"/>
              <a:gd name="T40" fmla="*/ 624 w 638"/>
              <a:gd name="T41" fmla="*/ 578 h 612"/>
              <a:gd name="T42" fmla="*/ 35 w 638"/>
              <a:gd name="T43" fmla="*/ 598 h 612"/>
              <a:gd name="T44" fmla="*/ 14 w 638"/>
              <a:gd name="T45" fmla="*/ 484 h 612"/>
              <a:gd name="T46" fmla="*/ 50 w 638"/>
              <a:gd name="T47" fmla="*/ 463 h 612"/>
              <a:gd name="T48" fmla="*/ 109 w 638"/>
              <a:gd name="T49" fmla="*/ 208 h 612"/>
              <a:gd name="T50" fmla="*/ 514 w 638"/>
              <a:gd name="T51" fmla="*/ 197 h 612"/>
              <a:gd name="T52" fmla="*/ 581 w 638"/>
              <a:gd name="T53" fmla="*/ 458 h 612"/>
              <a:gd name="T54" fmla="*/ 604 w 638"/>
              <a:gd name="T55" fmla="*/ 463 h 612"/>
              <a:gd name="T56" fmla="*/ 624 w 638"/>
              <a:gd name="T57" fmla="*/ 578 h 612"/>
              <a:gd name="T58" fmla="*/ 513 w 638"/>
              <a:gd name="T59" fmla="*/ 378 h 612"/>
              <a:gd name="T60" fmla="*/ 528 w 638"/>
              <a:gd name="T61" fmla="*/ 360 h 612"/>
              <a:gd name="T62" fmla="*/ 492 w 638"/>
              <a:gd name="T63" fmla="*/ 223 h 612"/>
              <a:gd name="T64" fmla="*/ 297 w 638"/>
              <a:gd name="T65" fmla="*/ 238 h 612"/>
              <a:gd name="T66" fmla="*/ 300 w 638"/>
              <a:gd name="T67" fmla="*/ 373 h 612"/>
              <a:gd name="T68" fmla="*/ 311 w 638"/>
              <a:gd name="T69" fmla="*/ 238 h 612"/>
              <a:gd name="T70" fmla="*/ 492 w 638"/>
              <a:gd name="T71" fmla="*/ 237 h 612"/>
              <a:gd name="T72" fmla="*/ 515 w 638"/>
              <a:gd name="T73" fmla="*/ 362 h 612"/>
              <a:gd name="T74" fmla="*/ 513 w 638"/>
              <a:gd name="T75" fmla="*/ 364 h 612"/>
              <a:gd name="T76" fmla="*/ 310 w 638"/>
              <a:gd name="T77" fmla="*/ 363 h 612"/>
              <a:gd name="T78" fmla="*/ 311 w 638"/>
              <a:gd name="T79" fmla="*/ 238 h 612"/>
              <a:gd name="T80" fmla="*/ 252 w 638"/>
              <a:gd name="T81" fmla="*/ 289 h 612"/>
              <a:gd name="T82" fmla="*/ 270 w 638"/>
              <a:gd name="T83" fmla="*/ 239 h 612"/>
              <a:gd name="T84" fmla="*/ 255 w 638"/>
              <a:gd name="T85" fmla="*/ 223 h 612"/>
              <a:gd name="T86" fmla="*/ 129 w 638"/>
              <a:gd name="T87" fmla="*/ 237 h 612"/>
              <a:gd name="T88" fmla="*/ 127 w 638"/>
              <a:gd name="T89" fmla="*/ 284 h 612"/>
              <a:gd name="T90" fmla="*/ 143 w 638"/>
              <a:gd name="T91" fmla="*/ 239 h 612"/>
              <a:gd name="T92" fmla="*/ 255 w 638"/>
              <a:gd name="T93" fmla="*/ 237 h 612"/>
              <a:gd name="T94" fmla="*/ 254 w 638"/>
              <a:gd name="T95" fmla="*/ 273 h 612"/>
              <a:gd name="T96" fmla="*/ 138 w 638"/>
              <a:gd name="T97" fmla="*/ 275 h 612"/>
              <a:gd name="T98" fmla="*/ 143 w 638"/>
              <a:gd name="T99" fmla="*/ 239 h 612"/>
              <a:gd name="T100" fmla="*/ 581 w 638"/>
              <a:gd name="T101" fmla="*/ 519 h 612"/>
              <a:gd name="T102" fmla="*/ 51 w 638"/>
              <a:gd name="T103" fmla="*/ 512 h 612"/>
              <a:gd name="T104" fmla="*/ 581 w 638"/>
              <a:gd name="T105" fmla="*/ 505 h 612"/>
              <a:gd name="T106" fmla="*/ 512 w 638"/>
              <a:gd name="T107" fmla="*/ 82 h 612"/>
              <a:gd name="T108" fmla="*/ 307 w 638"/>
              <a:gd name="T109" fmla="*/ 89 h 612"/>
              <a:gd name="T110" fmla="*/ 307 w 638"/>
              <a:gd name="T111" fmla="*/ 75 h 612"/>
              <a:gd name="T112" fmla="*/ 512 w 638"/>
              <a:gd name="T113" fmla="*/ 82 h 612"/>
              <a:gd name="T114" fmla="*/ 505 w 638"/>
              <a:gd name="T115" fmla="*/ 57 h 612"/>
              <a:gd name="T116" fmla="*/ 300 w 638"/>
              <a:gd name="T117" fmla="*/ 50 h 612"/>
              <a:gd name="T118" fmla="*/ 505 w 638"/>
              <a:gd name="T119" fmla="*/ 43 h 6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8" h="612">
                <a:moveTo>
                  <a:pt x="604" y="449"/>
                </a:moveTo>
                <a:cubicBezTo>
                  <a:pt x="594" y="449"/>
                  <a:pt x="594" y="449"/>
                  <a:pt x="594" y="449"/>
                </a:cubicBezTo>
                <a:cubicBezTo>
                  <a:pt x="543" y="205"/>
                  <a:pt x="543" y="205"/>
                  <a:pt x="543" y="205"/>
                </a:cubicBezTo>
                <a:cubicBezTo>
                  <a:pt x="540" y="193"/>
                  <a:pt x="528" y="183"/>
                  <a:pt x="514" y="183"/>
                </a:cubicBezTo>
                <a:cubicBezTo>
                  <a:pt x="494" y="183"/>
                  <a:pt x="494" y="183"/>
                  <a:pt x="494" y="183"/>
                </a:cubicBezTo>
                <a:cubicBezTo>
                  <a:pt x="494" y="131"/>
                  <a:pt x="494" y="131"/>
                  <a:pt x="494" y="131"/>
                </a:cubicBezTo>
                <a:cubicBezTo>
                  <a:pt x="522" y="131"/>
                  <a:pt x="522" y="131"/>
                  <a:pt x="522" y="131"/>
                </a:cubicBezTo>
                <a:cubicBezTo>
                  <a:pt x="539" y="131"/>
                  <a:pt x="554" y="117"/>
                  <a:pt x="554" y="99"/>
                </a:cubicBezTo>
                <a:cubicBezTo>
                  <a:pt x="554" y="32"/>
                  <a:pt x="554" y="32"/>
                  <a:pt x="554" y="32"/>
                </a:cubicBezTo>
                <a:cubicBezTo>
                  <a:pt x="554" y="15"/>
                  <a:pt x="539" y="0"/>
                  <a:pt x="522" y="0"/>
                </a:cubicBezTo>
                <a:cubicBezTo>
                  <a:pt x="269" y="0"/>
                  <a:pt x="269" y="0"/>
                  <a:pt x="269" y="0"/>
                </a:cubicBezTo>
                <a:cubicBezTo>
                  <a:pt x="251" y="0"/>
                  <a:pt x="237" y="15"/>
                  <a:pt x="237" y="32"/>
                </a:cubicBezTo>
                <a:cubicBezTo>
                  <a:pt x="237" y="99"/>
                  <a:pt x="237" y="99"/>
                  <a:pt x="237" y="99"/>
                </a:cubicBezTo>
                <a:cubicBezTo>
                  <a:pt x="237" y="117"/>
                  <a:pt x="251" y="131"/>
                  <a:pt x="269" y="131"/>
                </a:cubicBezTo>
                <a:cubicBezTo>
                  <a:pt x="433" y="131"/>
                  <a:pt x="433" y="131"/>
                  <a:pt x="433" y="131"/>
                </a:cubicBezTo>
                <a:cubicBezTo>
                  <a:pt x="433" y="183"/>
                  <a:pt x="433" y="183"/>
                  <a:pt x="433" y="183"/>
                </a:cubicBezTo>
                <a:cubicBezTo>
                  <a:pt x="124" y="183"/>
                  <a:pt x="124" y="183"/>
                  <a:pt x="124" y="183"/>
                </a:cubicBezTo>
                <a:cubicBezTo>
                  <a:pt x="111" y="183"/>
                  <a:pt x="98" y="193"/>
                  <a:pt x="95" y="205"/>
                </a:cubicBezTo>
                <a:cubicBezTo>
                  <a:pt x="44" y="449"/>
                  <a:pt x="44" y="449"/>
                  <a:pt x="44" y="449"/>
                </a:cubicBezTo>
                <a:cubicBezTo>
                  <a:pt x="35" y="449"/>
                  <a:pt x="35" y="449"/>
                  <a:pt x="35" y="449"/>
                </a:cubicBezTo>
                <a:cubicBezTo>
                  <a:pt x="15" y="449"/>
                  <a:pt x="0" y="465"/>
                  <a:pt x="0" y="484"/>
                </a:cubicBezTo>
                <a:cubicBezTo>
                  <a:pt x="0" y="578"/>
                  <a:pt x="0" y="578"/>
                  <a:pt x="0" y="578"/>
                </a:cubicBezTo>
                <a:cubicBezTo>
                  <a:pt x="0" y="597"/>
                  <a:pt x="15" y="612"/>
                  <a:pt x="35" y="612"/>
                </a:cubicBezTo>
                <a:cubicBezTo>
                  <a:pt x="604" y="612"/>
                  <a:pt x="604" y="612"/>
                  <a:pt x="604" y="612"/>
                </a:cubicBezTo>
                <a:cubicBezTo>
                  <a:pt x="623" y="612"/>
                  <a:pt x="638" y="597"/>
                  <a:pt x="638" y="578"/>
                </a:cubicBezTo>
                <a:cubicBezTo>
                  <a:pt x="638" y="484"/>
                  <a:pt x="638" y="484"/>
                  <a:pt x="638" y="484"/>
                </a:cubicBezTo>
                <a:cubicBezTo>
                  <a:pt x="638" y="465"/>
                  <a:pt x="623" y="449"/>
                  <a:pt x="604" y="449"/>
                </a:cubicBezTo>
                <a:close/>
                <a:moveTo>
                  <a:pt x="251" y="99"/>
                </a:moveTo>
                <a:cubicBezTo>
                  <a:pt x="251" y="32"/>
                  <a:pt x="251" y="32"/>
                  <a:pt x="251" y="32"/>
                </a:cubicBezTo>
                <a:cubicBezTo>
                  <a:pt x="251" y="22"/>
                  <a:pt x="259" y="14"/>
                  <a:pt x="269" y="14"/>
                </a:cubicBezTo>
                <a:cubicBezTo>
                  <a:pt x="522" y="14"/>
                  <a:pt x="522" y="14"/>
                  <a:pt x="522" y="14"/>
                </a:cubicBezTo>
                <a:cubicBezTo>
                  <a:pt x="531" y="14"/>
                  <a:pt x="540" y="22"/>
                  <a:pt x="540" y="32"/>
                </a:cubicBezTo>
                <a:cubicBezTo>
                  <a:pt x="540" y="99"/>
                  <a:pt x="540" y="99"/>
                  <a:pt x="540" y="99"/>
                </a:cubicBezTo>
                <a:cubicBezTo>
                  <a:pt x="540" y="109"/>
                  <a:pt x="531" y="117"/>
                  <a:pt x="522" y="117"/>
                </a:cubicBezTo>
                <a:cubicBezTo>
                  <a:pt x="269" y="117"/>
                  <a:pt x="269" y="117"/>
                  <a:pt x="269" y="117"/>
                </a:cubicBezTo>
                <a:cubicBezTo>
                  <a:pt x="259" y="117"/>
                  <a:pt x="251" y="109"/>
                  <a:pt x="251" y="99"/>
                </a:cubicBezTo>
                <a:close/>
                <a:moveTo>
                  <a:pt x="447" y="131"/>
                </a:moveTo>
                <a:cubicBezTo>
                  <a:pt x="480" y="131"/>
                  <a:pt x="480" y="131"/>
                  <a:pt x="480" y="131"/>
                </a:cubicBezTo>
                <a:cubicBezTo>
                  <a:pt x="480" y="183"/>
                  <a:pt x="480" y="183"/>
                  <a:pt x="480" y="183"/>
                </a:cubicBezTo>
                <a:cubicBezTo>
                  <a:pt x="447" y="183"/>
                  <a:pt x="447" y="183"/>
                  <a:pt x="447" y="183"/>
                </a:cubicBezTo>
                <a:lnTo>
                  <a:pt x="447" y="131"/>
                </a:lnTo>
                <a:close/>
                <a:moveTo>
                  <a:pt x="624" y="578"/>
                </a:moveTo>
                <a:cubicBezTo>
                  <a:pt x="624" y="589"/>
                  <a:pt x="615" y="598"/>
                  <a:pt x="604" y="598"/>
                </a:cubicBezTo>
                <a:cubicBezTo>
                  <a:pt x="35" y="598"/>
                  <a:pt x="35" y="598"/>
                  <a:pt x="35" y="598"/>
                </a:cubicBezTo>
                <a:cubicBezTo>
                  <a:pt x="23" y="598"/>
                  <a:pt x="14" y="589"/>
                  <a:pt x="14" y="578"/>
                </a:cubicBezTo>
                <a:cubicBezTo>
                  <a:pt x="14" y="484"/>
                  <a:pt x="14" y="484"/>
                  <a:pt x="14" y="484"/>
                </a:cubicBezTo>
                <a:cubicBezTo>
                  <a:pt x="14" y="473"/>
                  <a:pt x="23" y="463"/>
                  <a:pt x="35" y="463"/>
                </a:cubicBezTo>
                <a:cubicBezTo>
                  <a:pt x="50" y="463"/>
                  <a:pt x="50" y="463"/>
                  <a:pt x="50" y="463"/>
                </a:cubicBezTo>
                <a:cubicBezTo>
                  <a:pt x="53" y="463"/>
                  <a:pt x="56" y="461"/>
                  <a:pt x="57" y="458"/>
                </a:cubicBezTo>
                <a:cubicBezTo>
                  <a:pt x="109" y="208"/>
                  <a:pt x="109" y="208"/>
                  <a:pt x="109" y="208"/>
                </a:cubicBezTo>
                <a:cubicBezTo>
                  <a:pt x="110" y="202"/>
                  <a:pt x="117" y="197"/>
                  <a:pt x="124" y="197"/>
                </a:cubicBezTo>
                <a:cubicBezTo>
                  <a:pt x="514" y="197"/>
                  <a:pt x="514" y="197"/>
                  <a:pt x="514" y="197"/>
                </a:cubicBezTo>
                <a:cubicBezTo>
                  <a:pt x="521" y="197"/>
                  <a:pt x="528" y="202"/>
                  <a:pt x="529" y="208"/>
                </a:cubicBezTo>
                <a:cubicBezTo>
                  <a:pt x="581" y="458"/>
                  <a:pt x="581" y="458"/>
                  <a:pt x="581" y="458"/>
                </a:cubicBezTo>
                <a:cubicBezTo>
                  <a:pt x="582" y="461"/>
                  <a:pt x="585" y="463"/>
                  <a:pt x="588" y="463"/>
                </a:cubicBezTo>
                <a:cubicBezTo>
                  <a:pt x="604" y="463"/>
                  <a:pt x="604" y="463"/>
                  <a:pt x="604" y="463"/>
                </a:cubicBezTo>
                <a:cubicBezTo>
                  <a:pt x="615" y="463"/>
                  <a:pt x="624" y="473"/>
                  <a:pt x="624" y="484"/>
                </a:cubicBezTo>
                <a:lnTo>
                  <a:pt x="624" y="578"/>
                </a:lnTo>
                <a:close/>
                <a:moveTo>
                  <a:pt x="312" y="378"/>
                </a:moveTo>
                <a:cubicBezTo>
                  <a:pt x="513" y="378"/>
                  <a:pt x="513" y="378"/>
                  <a:pt x="513" y="378"/>
                </a:cubicBezTo>
                <a:cubicBezTo>
                  <a:pt x="518" y="378"/>
                  <a:pt x="522" y="376"/>
                  <a:pt x="525" y="373"/>
                </a:cubicBezTo>
                <a:cubicBezTo>
                  <a:pt x="528" y="369"/>
                  <a:pt x="529" y="365"/>
                  <a:pt x="528" y="360"/>
                </a:cubicBezTo>
                <a:cubicBezTo>
                  <a:pt x="509" y="237"/>
                  <a:pt x="509" y="237"/>
                  <a:pt x="509" y="237"/>
                </a:cubicBezTo>
                <a:cubicBezTo>
                  <a:pt x="508" y="229"/>
                  <a:pt x="500" y="223"/>
                  <a:pt x="492" y="223"/>
                </a:cubicBezTo>
                <a:cubicBezTo>
                  <a:pt x="313" y="223"/>
                  <a:pt x="313" y="223"/>
                  <a:pt x="313" y="223"/>
                </a:cubicBezTo>
                <a:cubicBezTo>
                  <a:pt x="304" y="223"/>
                  <a:pt x="297" y="230"/>
                  <a:pt x="297" y="238"/>
                </a:cubicBezTo>
                <a:cubicBezTo>
                  <a:pt x="296" y="361"/>
                  <a:pt x="296" y="361"/>
                  <a:pt x="296" y="361"/>
                </a:cubicBezTo>
                <a:cubicBezTo>
                  <a:pt x="295" y="365"/>
                  <a:pt x="297" y="370"/>
                  <a:pt x="300" y="373"/>
                </a:cubicBezTo>
                <a:cubicBezTo>
                  <a:pt x="303" y="376"/>
                  <a:pt x="308" y="378"/>
                  <a:pt x="312" y="378"/>
                </a:cubicBezTo>
                <a:close/>
                <a:moveTo>
                  <a:pt x="311" y="238"/>
                </a:moveTo>
                <a:cubicBezTo>
                  <a:pt x="311" y="238"/>
                  <a:pt x="312" y="237"/>
                  <a:pt x="313" y="237"/>
                </a:cubicBezTo>
                <a:cubicBezTo>
                  <a:pt x="492" y="237"/>
                  <a:pt x="492" y="237"/>
                  <a:pt x="492" y="237"/>
                </a:cubicBezTo>
                <a:cubicBezTo>
                  <a:pt x="494" y="237"/>
                  <a:pt x="495" y="239"/>
                  <a:pt x="495" y="239"/>
                </a:cubicBezTo>
                <a:cubicBezTo>
                  <a:pt x="515" y="362"/>
                  <a:pt x="515" y="362"/>
                  <a:pt x="515" y="362"/>
                </a:cubicBezTo>
                <a:cubicBezTo>
                  <a:pt x="515" y="363"/>
                  <a:pt x="515" y="363"/>
                  <a:pt x="514" y="363"/>
                </a:cubicBezTo>
                <a:cubicBezTo>
                  <a:pt x="514" y="364"/>
                  <a:pt x="514" y="364"/>
                  <a:pt x="513" y="364"/>
                </a:cubicBezTo>
                <a:cubicBezTo>
                  <a:pt x="312" y="364"/>
                  <a:pt x="312" y="364"/>
                  <a:pt x="312" y="364"/>
                </a:cubicBezTo>
                <a:cubicBezTo>
                  <a:pt x="311" y="364"/>
                  <a:pt x="311" y="363"/>
                  <a:pt x="310" y="363"/>
                </a:cubicBezTo>
                <a:cubicBezTo>
                  <a:pt x="310" y="363"/>
                  <a:pt x="310" y="362"/>
                  <a:pt x="310" y="361"/>
                </a:cubicBezTo>
                <a:lnTo>
                  <a:pt x="311" y="238"/>
                </a:lnTo>
                <a:close/>
                <a:moveTo>
                  <a:pt x="138" y="289"/>
                </a:moveTo>
                <a:cubicBezTo>
                  <a:pt x="252" y="289"/>
                  <a:pt x="252" y="289"/>
                  <a:pt x="252" y="289"/>
                </a:cubicBezTo>
                <a:cubicBezTo>
                  <a:pt x="261" y="289"/>
                  <a:pt x="268" y="282"/>
                  <a:pt x="268" y="274"/>
                </a:cubicBezTo>
                <a:cubicBezTo>
                  <a:pt x="270" y="239"/>
                  <a:pt x="270" y="239"/>
                  <a:pt x="270" y="239"/>
                </a:cubicBezTo>
                <a:cubicBezTo>
                  <a:pt x="270" y="235"/>
                  <a:pt x="269" y="231"/>
                  <a:pt x="266" y="228"/>
                </a:cubicBezTo>
                <a:cubicBezTo>
                  <a:pt x="263" y="225"/>
                  <a:pt x="259" y="223"/>
                  <a:pt x="255" y="223"/>
                </a:cubicBezTo>
                <a:cubicBezTo>
                  <a:pt x="146" y="223"/>
                  <a:pt x="146" y="223"/>
                  <a:pt x="146" y="223"/>
                </a:cubicBezTo>
                <a:cubicBezTo>
                  <a:pt x="138" y="223"/>
                  <a:pt x="130" y="229"/>
                  <a:pt x="129" y="237"/>
                </a:cubicBezTo>
                <a:cubicBezTo>
                  <a:pt x="124" y="272"/>
                  <a:pt x="124" y="272"/>
                  <a:pt x="124" y="272"/>
                </a:cubicBezTo>
                <a:cubicBezTo>
                  <a:pt x="123" y="276"/>
                  <a:pt x="124" y="280"/>
                  <a:pt x="127" y="284"/>
                </a:cubicBezTo>
                <a:cubicBezTo>
                  <a:pt x="130" y="287"/>
                  <a:pt x="134" y="289"/>
                  <a:pt x="138" y="289"/>
                </a:cubicBezTo>
                <a:close/>
                <a:moveTo>
                  <a:pt x="143" y="239"/>
                </a:moveTo>
                <a:cubicBezTo>
                  <a:pt x="143" y="239"/>
                  <a:pt x="144" y="237"/>
                  <a:pt x="146" y="237"/>
                </a:cubicBezTo>
                <a:cubicBezTo>
                  <a:pt x="255" y="237"/>
                  <a:pt x="255" y="237"/>
                  <a:pt x="255" y="237"/>
                </a:cubicBezTo>
                <a:cubicBezTo>
                  <a:pt x="256" y="237"/>
                  <a:pt x="256" y="238"/>
                  <a:pt x="256" y="238"/>
                </a:cubicBezTo>
                <a:cubicBezTo>
                  <a:pt x="254" y="273"/>
                  <a:pt x="254" y="273"/>
                  <a:pt x="254" y="273"/>
                </a:cubicBezTo>
                <a:cubicBezTo>
                  <a:pt x="254" y="274"/>
                  <a:pt x="253" y="275"/>
                  <a:pt x="252" y="275"/>
                </a:cubicBezTo>
                <a:cubicBezTo>
                  <a:pt x="138" y="275"/>
                  <a:pt x="138" y="275"/>
                  <a:pt x="138" y="275"/>
                </a:cubicBezTo>
                <a:cubicBezTo>
                  <a:pt x="138" y="275"/>
                  <a:pt x="137" y="274"/>
                  <a:pt x="137" y="274"/>
                </a:cubicBezTo>
                <a:lnTo>
                  <a:pt x="143" y="239"/>
                </a:lnTo>
                <a:close/>
                <a:moveTo>
                  <a:pt x="588" y="512"/>
                </a:moveTo>
                <a:cubicBezTo>
                  <a:pt x="588" y="516"/>
                  <a:pt x="584" y="519"/>
                  <a:pt x="581" y="519"/>
                </a:cubicBezTo>
                <a:cubicBezTo>
                  <a:pt x="58" y="519"/>
                  <a:pt x="58" y="519"/>
                  <a:pt x="58" y="519"/>
                </a:cubicBezTo>
                <a:cubicBezTo>
                  <a:pt x="54" y="519"/>
                  <a:pt x="51" y="516"/>
                  <a:pt x="51" y="512"/>
                </a:cubicBezTo>
                <a:cubicBezTo>
                  <a:pt x="51" y="508"/>
                  <a:pt x="54" y="505"/>
                  <a:pt x="58" y="505"/>
                </a:cubicBezTo>
                <a:cubicBezTo>
                  <a:pt x="581" y="505"/>
                  <a:pt x="581" y="505"/>
                  <a:pt x="581" y="505"/>
                </a:cubicBezTo>
                <a:cubicBezTo>
                  <a:pt x="584" y="505"/>
                  <a:pt x="588" y="508"/>
                  <a:pt x="588" y="512"/>
                </a:cubicBezTo>
                <a:close/>
                <a:moveTo>
                  <a:pt x="512" y="82"/>
                </a:moveTo>
                <a:cubicBezTo>
                  <a:pt x="512" y="86"/>
                  <a:pt x="508" y="89"/>
                  <a:pt x="505" y="89"/>
                </a:cubicBezTo>
                <a:cubicBezTo>
                  <a:pt x="307" y="89"/>
                  <a:pt x="307" y="89"/>
                  <a:pt x="307" y="89"/>
                </a:cubicBezTo>
                <a:cubicBezTo>
                  <a:pt x="304" y="89"/>
                  <a:pt x="300" y="86"/>
                  <a:pt x="300" y="82"/>
                </a:cubicBezTo>
                <a:cubicBezTo>
                  <a:pt x="300" y="78"/>
                  <a:pt x="304" y="75"/>
                  <a:pt x="307" y="75"/>
                </a:cubicBezTo>
                <a:cubicBezTo>
                  <a:pt x="505" y="75"/>
                  <a:pt x="505" y="75"/>
                  <a:pt x="505" y="75"/>
                </a:cubicBezTo>
                <a:cubicBezTo>
                  <a:pt x="508" y="75"/>
                  <a:pt x="512" y="78"/>
                  <a:pt x="512" y="82"/>
                </a:cubicBezTo>
                <a:close/>
                <a:moveTo>
                  <a:pt x="512" y="50"/>
                </a:moveTo>
                <a:cubicBezTo>
                  <a:pt x="512" y="53"/>
                  <a:pt x="508" y="57"/>
                  <a:pt x="505" y="57"/>
                </a:cubicBezTo>
                <a:cubicBezTo>
                  <a:pt x="307" y="57"/>
                  <a:pt x="307" y="57"/>
                  <a:pt x="307" y="57"/>
                </a:cubicBezTo>
                <a:cubicBezTo>
                  <a:pt x="304" y="57"/>
                  <a:pt x="300" y="53"/>
                  <a:pt x="300" y="50"/>
                </a:cubicBezTo>
                <a:cubicBezTo>
                  <a:pt x="300" y="46"/>
                  <a:pt x="304" y="43"/>
                  <a:pt x="307" y="43"/>
                </a:cubicBezTo>
                <a:cubicBezTo>
                  <a:pt x="505" y="43"/>
                  <a:pt x="505" y="43"/>
                  <a:pt x="505" y="43"/>
                </a:cubicBezTo>
                <a:cubicBezTo>
                  <a:pt x="508" y="43"/>
                  <a:pt x="512" y="46"/>
                  <a:pt x="512" y="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75" name="Oval 14"/>
          <p:cNvSpPr>
            <a:spLocks noChangeArrowheads="1"/>
          </p:cNvSpPr>
          <p:nvPr/>
        </p:nvSpPr>
        <p:spPr bwMode="auto">
          <a:xfrm>
            <a:off x="2259614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08" name="Freeform 99"/>
          <p:cNvSpPr>
            <a:spLocks noEditPoints="1"/>
          </p:cNvSpPr>
          <p:nvPr/>
        </p:nvSpPr>
        <p:spPr bwMode="auto">
          <a:xfrm>
            <a:off x="2427072" y="1367346"/>
            <a:ext cx="487149" cy="335446"/>
          </a:xfrm>
          <a:custGeom>
            <a:avLst/>
            <a:gdLst>
              <a:gd name="T0" fmla="*/ 95 w 628"/>
              <a:gd name="T1" fmla="*/ 133 h 433"/>
              <a:gd name="T2" fmla="*/ 212 w 628"/>
              <a:gd name="T3" fmla="*/ 133 h 433"/>
              <a:gd name="T4" fmla="*/ 154 w 628"/>
              <a:gd name="T5" fmla="*/ 89 h 433"/>
              <a:gd name="T6" fmla="*/ 154 w 628"/>
              <a:gd name="T7" fmla="*/ 178 h 433"/>
              <a:gd name="T8" fmla="*/ 154 w 628"/>
              <a:gd name="T9" fmla="*/ 89 h 433"/>
              <a:gd name="T10" fmla="*/ 235 w 628"/>
              <a:gd name="T11" fmla="*/ 239 h 433"/>
              <a:gd name="T12" fmla="*/ 184 w 628"/>
              <a:gd name="T13" fmla="*/ 171 h 433"/>
              <a:gd name="T14" fmla="*/ 221 w 628"/>
              <a:gd name="T15" fmla="*/ 239 h 433"/>
              <a:gd name="T16" fmla="*/ 154 w 628"/>
              <a:gd name="T17" fmla="*/ 305 h 433"/>
              <a:gd name="T18" fmla="*/ 87 w 628"/>
              <a:gd name="T19" fmla="*/ 239 h 433"/>
              <a:gd name="T20" fmla="*/ 124 w 628"/>
              <a:gd name="T21" fmla="*/ 171 h 433"/>
              <a:gd name="T22" fmla="*/ 73 w 628"/>
              <a:gd name="T23" fmla="*/ 239 h 433"/>
              <a:gd name="T24" fmla="*/ 154 w 628"/>
              <a:gd name="T25" fmla="*/ 319 h 433"/>
              <a:gd name="T26" fmla="*/ 554 w 628"/>
              <a:gd name="T27" fmla="*/ 171 h 433"/>
              <a:gd name="T28" fmla="*/ 307 w 628"/>
              <a:gd name="T29" fmla="*/ 164 h 433"/>
              <a:gd name="T30" fmla="*/ 307 w 628"/>
              <a:gd name="T31" fmla="*/ 178 h 433"/>
              <a:gd name="T32" fmla="*/ 554 w 628"/>
              <a:gd name="T33" fmla="*/ 171 h 433"/>
              <a:gd name="T34" fmla="*/ 547 w 628"/>
              <a:gd name="T35" fmla="*/ 227 h 433"/>
              <a:gd name="T36" fmla="*/ 300 w 628"/>
              <a:gd name="T37" fmla="*/ 234 h 433"/>
              <a:gd name="T38" fmla="*/ 547 w 628"/>
              <a:gd name="T39" fmla="*/ 241 h 433"/>
              <a:gd name="T40" fmla="*/ 554 w 628"/>
              <a:gd name="T41" fmla="*/ 298 h 433"/>
              <a:gd name="T42" fmla="*/ 307 w 628"/>
              <a:gd name="T43" fmla="*/ 291 h 433"/>
              <a:gd name="T44" fmla="*/ 307 w 628"/>
              <a:gd name="T45" fmla="*/ 305 h 433"/>
              <a:gd name="T46" fmla="*/ 554 w 628"/>
              <a:gd name="T47" fmla="*/ 298 h 433"/>
              <a:gd name="T48" fmla="*/ 486 w 628"/>
              <a:gd name="T49" fmla="*/ 433 h 433"/>
              <a:gd name="T50" fmla="*/ 479 w 628"/>
              <a:gd name="T51" fmla="*/ 390 h 433"/>
              <a:gd name="T52" fmla="*/ 436 w 628"/>
              <a:gd name="T53" fmla="*/ 390 h 433"/>
              <a:gd name="T54" fmla="*/ 429 w 628"/>
              <a:gd name="T55" fmla="*/ 433 h 433"/>
              <a:gd name="T56" fmla="*/ 192 w 628"/>
              <a:gd name="T57" fmla="*/ 426 h 433"/>
              <a:gd name="T58" fmla="*/ 170 w 628"/>
              <a:gd name="T59" fmla="*/ 368 h 433"/>
              <a:gd name="T60" fmla="*/ 149 w 628"/>
              <a:gd name="T61" fmla="*/ 426 h 433"/>
              <a:gd name="T62" fmla="*/ 7 w 628"/>
              <a:gd name="T63" fmla="*/ 433 h 433"/>
              <a:gd name="T64" fmla="*/ 0 w 628"/>
              <a:gd name="T65" fmla="*/ 7 h 433"/>
              <a:gd name="T66" fmla="*/ 270 w 628"/>
              <a:gd name="T67" fmla="*/ 0 h 433"/>
              <a:gd name="T68" fmla="*/ 329 w 628"/>
              <a:gd name="T69" fmla="*/ 73 h 433"/>
              <a:gd name="T70" fmla="*/ 628 w 628"/>
              <a:gd name="T71" fmla="*/ 80 h 433"/>
              <a:gd name="T72" fmla="*/ 621 w 628"/>
              <a:gd name="T73" fmla="*/ 433 h 433"/>
              <a:gd name="T74" fmla="*/ 614 w 628"/>
              <a:gd name="T75" fmla="*/ 419 h 433"/>
              <a:gd name="T76" fmla="*/ 325 w 628"/>
              <a:gd name="T77" fmla="*/ 87 h 433"/>
              <a:gd name="T78" fmla="*/ 267 w 628"/>
              <a:gd name="T79" fmla="*/ 14 h 433"/>
              <a:gd name="T80" fmla="*/ 14 w 628"/>
              <a:gd name="T81" fmla="*/ 419 h 433"/>
              <a:gd name="T82" fmla="*/ 135 w 628"/>
              <a:gd name="T83" fmla="*/ 390 h 433"/>
              <a:gd name="T84" fmla="*/ 206 w 628"/>
              <a:gd name="T85" fmla="*/ 390 h 433"/>
              <a:gd name="T86" fmla="*/ 422 w 628"/>
              <a:gd name="T87" fmla="*/ 419 h 433"/>
              <a:gd name="T88" fmla="*/ 458 w 628"/>
              <a:gd name="T89" fmla="*/ 354 h 433"/>
              <a:gd name="T90" fmla="*/ 493 w 628"/>
              <a:gd name="T91" fmla="*/ 419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28" h="433">
                <a:moveTo>
                  <a:pt x="154" y="192"/>
                </a:moveTo>
                <a:cubicBezTo>
                  <a:pt x="121" y="192"/>
                  <a:pt x="95" y="166"/>
                  <a:pt x="95" y="133"/>
                </a:cubicBezTo>
                <a:cubicBezTo>
                  <a:pt x="95" y="101"/>
                  <a:pt x="121" y="75"/>
                  <a:pt x="154" y="75"/>
                </a:cubicBezTo>
                <a:cubicBezTo>
                  <a:pt x="186" y="75"/>
                  <a:pt x="212" y="101"/>
                  <a:pt x="212" y="133"/>
                </a:cubicBezTo>
                <a:cubicBezTo>
                  <a:pt x="212" y="166"/>
                  <a:pt x="186" y="192"/>
                  <a:pt x="154" y="192"/>
                </a:cubicBezTo>
                <a:close/>
                <a:moveTo>
                  <a:pt x="154" y="89"/>
                </a:moveTo>
                <a:cubicBezTo>
                  <a:pt x="129" y="89"/>
                  <a:pt x="109" y="109"/>
                  <a:pt x="109" y="133"/>
                </a:cubicBezTo>
                <a:cubicBezTo>
                  <a:pt x="109" y="158"/>
                  <a:pt x="129" y="178"/>
                  <a:pt x="154" y="178"/>
                </a:cubicBezTo>
                <a:cubicBezTo>
                  <a:pt x="178" y="178"/>
                  <a:pt x="198" y="158"/>
                  <a:pt x="198" y="133"/>
                </a:cubicBezTo>
                <a:cubicBezTo>
                  <a:pt x="198" y="109"/>
                  <a:pt x="178" y="89"/>
                  <a:pt x="154" y="89"/>
                </a:cubicBezTo>
                <a:close/>
                <a:moveTo>
                  <a:pt x="235" y="301"/>
                </a:moveTo>
                <a:cubicBezTo>
                  <a:pt x="235" y="239"/>
                  <a:pt x="235" y="239"/>
                  <a:pt x="235" y="239"/>
                </a:cubicBezTo>
                <a:cubicBezTo>
                  <a:pt x="235" y="210"/>
                  <a:pt x="219" y="182"/>
                  <a:pt x="193" y="168"/>
                </a:cubicBezTo>
                <a:cubicBezTo>
                  <a:pt x="190" y="166"/>
                  <a:pt x="186" y="167"/>
                  <a:pt x="184" y="171"/>
                </a:cubicBezTo>
                <a:cubicBezTo>
                  <a:pt x="182" y="174"/>
                  <a:pt x="183" y="178"/>
                  <a:pt x="186" y="180"/>
                </a:cubicBezTo>
                <a:cubicBezTo>
                  <a:pt x="208" y="192"/>
                  <a:pt x="221" y="215"/>
                  <a:pt x="221" y="239"/>
                </a:cubicBezTo>
                <a:cubicBezTo>
                  <a:pt x="221" y="298"/>
                  <a:pt x="221" y="298"/>
                  <a:pt x="221" y="298"/>
                </a:cubicBezTo>
                <a:cubicBezTo>
                  <a:pt x="215" y="301"/>
                  <a:pt x="192" y="305"/>
                  <a:pt x="154" y="305"/>
                </a:cubicBezTo>
                <a:cubicBezTo>
                  <a:pt x="116" y="305"/>
                  <a:pt x="93" y="301"/>
                  <a:pt x="87" y="298"/>
                </a:cubicBezTo>
                <a:cubicBezTo>
                  <a:pt x="87" y="239"/>
                  <a:pt x="87" y="239"/>
                  <a:pt x="87" y="239"/>
                </a:cubicBezTo>
                <a:cubicBezTo>
                  <a:pt x="87" y="215"/>
                  <a:pt x="100" y="192"/>
                  <a:pt x="121" y="180"/>
                </a:cubicBezTo>
                <a:cubicBezTo>
                  <a:pt x="124" y="178"/>
                  <a:pt x="126" y="174"/>
                  <a:pt x="124" y="171"/>
                </a:cubicBezTo>
                <a:cubicBezTo>
                  <a:pt x="122" y="167"/>
                  <a:pt x="118" y="166"/>
                  <a:pt x="114" y="168"/>
                </a:cubicBezTo>
                <a:cubicBezTo>
                  <a:pt x="89" y="182"/>
                  <a:pt x="73" y="210"/>
                  <a:pt x="73" y="239"/>
                </a:cubicBezTo>
                <a:cubicBezTo>
                  <a:pt x="73" y="301"/>
                  <a:pt x="73" y="301"/>
                  <a:pt x="73" y="301"/>
                </a:cubicBezTo>
                <a:cubicBezTo>
                  <a:pt x="73" y="316"/>
                  <a:pt x="117" y="319"/>
                  <a:pt x="154" y="319"/>
                </a:cubicBezTo>
                <a:cubicBezTo>
                  <a:pt x="191" y="319"/>
                  <a:pt x="235" y="316"/>
                  <a:pt x="235" y="301"/>
                </a:cubicBezTo>
                <a:close/>
                <a:moveTo>
                  <a:pt x="554" y="171"/>
                </a:moveTo>
                <a:cubicBezTo>
                  <a:pt x="554" y="167"/>
                  <a:pt x="551" y="164"/>
                  <a:pt x="547" y="164"/>
                </a:cubicBezTo>
                <a:cubicBezTo>
                  <a:pt x="307" y="164"/>
                  <a:pt x="307" y="164"/>
                  <a:pt x="307" y="164"/>
                </a:cubicBezTo>
                <a:cubicBezTo>
                  <a:pt x="303" y="164"/>
                  <a:pt x="300" y="167"/>
                  <a:pt x="300" y="171"/>
                </a:cubicBezTo>
                <a:cubicBezTo>
                  <a:pt x="300" y="175"/>
                  <a:pt x="303" y="178"/>
                  <a:pt x="307" y="178"/>
                </a:cubicBezTo>
                <a:cubicBezTo>
                  <a:pt x="547" y="178"/>
                  <a:pt x="547" y="178"/>
                  <a:pt x="547" y="178"/>
                </a:cubicBezTo>
                <a:cubicBezTo>
                  <a:pt x="551" y="178"/>
                  <a:pt x="554" y="175"/>
                  <a:pt x="554" y="171"/>
                </a:cubicBezTo>
                <a:close/>
                <a:moveTo>
                  <a:pt x="554" y="234"/>
                </a:moveTo>
                <a:cubicBezTo>
                  <a:pt x="554" y="231"/>
                  <a:pt x="551" y="227"/>
                  <a:pt x="547" y="227"/>
                </a:cubicBezTo>
                <a:cubicBezTo>
                  <a:pt x="307" y="227"/>
                  <a:pt x="307" y="227"/>
                  <a:pt x="307" y="227"/>
                </a:cubicBezTo>
                <a:cubicBezTo>
                  <a:pt x="303" y="227"/>
                  <a:pt x="300" y="231"/>
                  <a:pt x="300" y="234"/>
                </a:cubicBezTo>
                <a:cubicBezTo>
                  <a:pt x="300" y="238"/>
                  <a:pt x="303" y="241"/>
                  <a:pt x="307" y="241"/>
                </a:cubicBezTo>
                <a:cubicBezTo>
                  <a:pt x="547" y="241"/>
                  <a:pt x="547" y="241"/>
                  <a:pt x="547" y="241"/>
                </a:cubicBezTo>
                <a:cubicBezTo>
                  <a:pt x="551" y="241"/>
                  <a:pt x="554" y="238"/>
                  <a:pt x="554" y="234"/>
                </a:cubicBezTo>
                <a:close/>
                <a:moveTo>
                  <a:pt x="554" y="298"/>
                </a:moveTo>
                <a:cubicBezTo>
                  <a:pt x="554" y="294"/>
                  <a:pt x="551" y="291"/>
                  <a:pt x="547" y="291"/>
                </a:cubicBezTo>
                <a:cubicBezTo>
                  <a:pt x="307" y="291"/>
                  <a:pt x="307" y="291"/>
                  <a:pt x="307" y="291"/>
                </a:cubicBezTo>
                <a:cubicBezTo>
                  <a:pt x="303" y="291"/>
                  <a:pt x="300" y="294"/>
                  <a:pt x="300" y="298"/>
                </a:cubicBezTo>
                <a:cubicBezTo>
                  <a:pt x="300" y="301"/>
                  <a:pt x="303" y="305"/>
                  <a:pt x="307" y="305"/>
                </a:cubicBezTo>
                <a:cubicBezTo>
                  <a:pt x="547" y="305"/>
                  <a:pt x="547" y="305"/>
                  <a:pt x="547" y="305"/>
                </a:cubicBezTo>
                <a:cubicBezTo>
                  <a:pt x="551" y="305"/>
                  <a:pt x="554" y="301"/>
                  <a:pt x="554" y="298"/>
                </a:cubicBezTo>
                <a:close/>
                <a:moveTo>
                  <a:pt x="621" y="433"/>
                </a:moveTo>
                <a:cubicBezTo>
                  <a:pt x="486" y="433"/>
                  <a:pt x="486" y="433"/>
                  <a:pt x="486" y="433"/>
                </a:cubicBezTo>
                <a:cubicBezTo>
                  <a:pt x="483" y="433"/>
                  <a:pt x="479" y="430"/>
                  <a:pt x="479" y="426"/>
                </a:cubicBezTo>
                <a:cubicBezTo>
                  <a:pt x="479" y="390"/>
                  <a:pt x="479" y="390"/>
                  <a:pt x="479" y="390"/>
                </a:cubicBezTo>
                <a:cubicBezTo>
                  <a:pt x="479" y="378"/>
                  <a:pt x="470" y="368"/>
                  <a:pt x="458" y="368"/>
                </a:cubicBezTo>
                <a:cubicBezTo>
                  <a:pt x="446" y="368"/>
                  <a:pt x="436" y="378"/>
                  <a:pt x="436" y="390"/>
                </a:cubicBezTo>
                <a:cubicBezTo>
                  <a:pt x="436" y="426"/>
                  <a:pt x="436" y="426"/>
                  <a:pt x="436" y="426"/>
                </a:cubicBezTo>
                <a:cubicBezTo>
                  <a:pt x="436" y="430"/>
                  <a:pt x="433" y="433"/>
                  <a:pt x="429" y="433"/>
                </a:cubicBezTo>
                <a:cubicBezTo>
                  <a:pt x="199" y="433"/>
                  <a:pt x="199" y="433"/>
                  <a:pt x="199" y="433"/>
                </a:cubicBezTo>
                <a:cubicBezTo>
                  <a:pt x="195" y="433"/>
                  <a:pt x="192" y="430"/>
                  <a:pt x="192" y="426"/>
                </a:cubicBezTo>
                <a:cubicBezTo>
                  <a:pt x="192" y="390"/>
                  <a:pt x="192" y="390"/>
                  <a:pt x="192" y="390"/>
                </a:cubicBezTo>
                <a:cubicBezTo>
                  <a:pt x="192" y="378"/>
                  <a:pt x="182" y="368"/>
                  <a:pt x="170" y="368"/>
                </a:cubicBezTo>
                <a:cubicBezTo>
                  <a:pt x="158" y="368"/>
                  <a:pt x="149" y="378"/>
                  <a:pt x="149" y="390"/>
                </a:cubicBezTo>
                <a:cubicBezTo>
                  <a:pt x="149" y="426"/>
                  <a:pt x="149" y="426"/>
                  <a:pt x="149" y="426"/>
                </a:cubicBezTo>
                <a:cubicBezTo>
                  <a:pt x="149" y="430"/>
                  <a:pt x="146" y="433"/>
                  <a:pt x="142" y="433"/>
                </a:cubicBezTo>
                <a:cubicBezTo>
                  <a:pt x="7" y="433"/>
                  <a:pt x="7" y="433"/>
                  <a:pt x="7" y="433"/>
                </a:cubicBezTo>
                <a:cubicBezTo>
                  <a:pt x="3" y="433"/>
                  <a:pt x="0" y="430"/>
                  <a:pt x="0" y="426"/>
                </a:cubicBezTo>
                <a:cubicBezTo>
                  <a:pt x="0" y="7"/>
                  <a:pt x="0" y="7"/>
                  <a:pt x="0" y="7"/>
                </a:cubicBezTo>
                <a:cubicBezTo>
                  <a:pt x="0" y="3"/>
                  <a:pt x="3" y="0"/>
                  <a:pt x="7" y="0"/>
                </a:cubicBezTo>
                <a:cubicBezTo>
                  <a:pt x="270" y="0"/>
                  <a:pt x="270" y="0"/>
                  <a:pt x="270" y="0"/>
                </a:cubicBezTo>
                <a:cubicBezTo>
                  <a:pt x="272" y="0"/>
                  <a:pt x="275" y="1"/>
                  <a:pt x="276" y="3"/>
                </a:cubicBezTo>
                <a:cubicBezTo>
                  <a:pt x="329" y="73"/>
                  <a:pt x="329" y="73"/>
                  <a:pt x="329" y="73"/>
                </a:cubicBezTo>
                <a:cubicBezTo>
                  <a:pt x="621" y="73"/>
                  <a:pt x="621" y="73"/>
                  <a:pt x="621" y="73"/>
                </a:cubicBezTo>
                <a:cubicBezTo>
                  <a:pt x="625" y="73"/>
                  <a:pt x="628" y="76"/>
                  <a:pt x="628" y="80"/>
                </a:cubicBezTo>
                <a:cubicBezTo>
                  <a:pt x="628" y="426"/>
                  <a:pt x="628" y="426"/>
                  <a:pt x="628" y="426"/>
                </a:cubicBezTo>
                <a:cubicBezTo>
                  <a:pt x="628" y="430"/>
                  <a:pt x="625" y="433"/>
                  <a:pt x="621" y="433"/>
                </a:cubicBezTo>
                <a:close/>
                <a:moveTo>
                  <a:pt x="493" y="419"/>
                </a:moveTo>
                <a:cubicBezTo>
                  <a:pt x="614" y="419"/>
                  <a:pt x="614" y="419"/>
                  <a:pt x="614" y="419"/>
                </a:cubicBezTo>
                <a:cubicBezTo>
                  <a:pt x="614" y="87"/>
                  <a:pt x="614" y="87"/>
                  <a:pt x="614" y="87"/>
                </a:cubicBezTo>
                <a:cubicBezTo>
                  <a:pt x="325" y="87"/>
                  <a:pt x="325" y="87"/>
                  <a:pt x="325" y="87"/>
                </a:cubicBezTo>
                <a:cubicBezTo>
                  <a:pt x="323" y="87"/>
                  <a:pt x="321" y="86"/>
                  <a:pt x="320" y="84"/>
                </a:cubicBezTo>
                <a:cubicBezTo>
                  <a:pt x="267" y="14"/>
                  <a:pt x="267" y="14"/>
                  <a:pt x="267" y="14"/>
                </a:cubicBezTo>
                <a:cubicBezTo>
                  <a:pt x="14" y="14"/>
                  <a:pt x="14" y="14"/>
                  <a:pt x="14" y="14"/>
                </a:cubicBezTo>
                <a:cubicBezTo>
                  <a:pt x="14" y="419"/>
                  <a:pt x="14" y="419"/>
                  <a:pt x="14" y="419"/>
                </a:cubicBezTo>
                <a:cubicBezTo>
                  <a:pt x="135" y="419"/>
                  <a:pt x="135" y="419"/>
                  <a:pt x="135" y="419"/>
                </a:cubicBezTo>
                <a:cubicBezTo>
                  <a:pt x="135" y="390"/>
                  <a:pt x="135" y="390"/>
                  <a:pt x="135" y="390"/>
                </a:cubicBezTo>
                <a:cubicBezTo>
                  <a:pt x="135" y="370"/>
                  <a:pt x="151" y="354"/>
                  <a:pt x="170" y="354"/>
                </a:cubicBezTo>
                <a:cubicBezTo>
                  <a:pt x="190" y="354"/>
                  <a:pt x="206" y="370"/>
                  <a:pt x="206" y="390"/>
                </a:cubicBezTo>
                <a:cubicBezTo>
                  <a:pt x="206" y="419"/>
                  <a:pt x="206" y="419"/>
                  <a:pt x="206" y="419"/>
                </a:cubicBezTo>
                <a:cubicBezTo>
                  <a:pt x="422" y="419"/>
                  <a:pt x="422" y="419"/>
                  <a:pt x="422" y="419"/>
                </a:cubicBezTo>
                <a:cubicBezTo>
                  <a:pt x="422" y="390"/>
                  <a:pt x="422" y="390"/>
                  <a:pt x="422" y="390"/>
                </a:cubicBezTo>
                <a:cubicBezTo>
                  <a:pt x="422" y="370"/>
                  <a:pt x="438" y="354"/>
                  <a:pt x="458" y="354"/>
                </a:cubicBezTo>
                <a:cubicBezTo>
                  <a:pt x="478" y="354"/>
                  <a:pt x="493" y="370"/>
                  <a:pt x="493" y="390"/>
                </a:cubicBezTo>
                <a:lnTo>
                  <a:pt x="493" y="41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71" name="Oval 10"/>
          <p:cNvSpPr>
            <a:spLocks noChangeArrowheads="1"/>
          </p:cNvSpPr>
          <p:nvPr/>
        </p:nvSpPr>
        <p:spPr bwMode="auto">
          <a:xfrm>
            <a:off x="4845101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22" name="Freeform 113"/>
          <p:cNvSpPr>
            <a:spLocks noEditPoints="1"/>
          </p:cNvSpPr>
          <p:nvPr/>
        </p:nvSpPr>
        <p:spPr bwMode="auto">
          <a:xfrm>
            <a:off x="5047264" y="2516233"/>
            <a:ext cx="419531" cy="377489"/>
          </a:xfrm>
          <a:custGeom>
            <a:avLst/>
            <a:gdLst>
              <a:gd name="T0" fmla="*/ 477 w 542"/>
              <a:gd name="T1" fmla="*/ 100 h 487"/>
              <a:gd name="T2" fmla="*/ 457 w 542"/>
              <a:gd name="T3" fmla="*/ 100 h 487"/>
              <a:gd name="T4" fmla="*/ 457 w 542"/>
              <a:gd name="T5" fmla="*/ 55 h 487"/>
              <a:gd name="T6" fmla="*/ 437 w 542"/>
              <a:gd name="T7" fmla="*/ 10 h 487"/>
              <a:gd name="T8" fmla="*/ 401 w 542"/>
              <a:gd name="T9" fmla="*/ 4 h 487"/>
              <a:gd name="T10" fmla="*/ 52 w 542"/>
              <a:gd name="T11" fmla="*/ 87 h 487"/>
              <a:gd name="T12" fmla="*/ 0 w 542"/>
              <a:gd name="T13" fmla="*/ 165 h 487"/>
              <a:gd name="T14" fmla="*/ 0 w 542"/>
              <a:gd name="T15" fmla="*/ 422 h 487"/>
              <a:gd name="T16" fmla="*/ 64 w 542"/>
              <a:gd name="T17" fmla="*/ 487 h 487"/>
              <a:gd name="T18" fmla="*/ 477 w 542"/>
              <a:gd name="T19" fmla="*/ 487 h 487"/>
              <a:gd name="T20" fmla="*/ 542 w 542"/>
              <a:gd name="T21" fmla="*/ 422 h 487"/>
              <a:gd name="T22" fmla="*/ 542 w 542"/>
              <a:gd name="T23" fmla="*/ 165 h 487"/>
              <a:gd name="T24" fmla="*/ 477 w 542"/>
              <a:gd name="T25" fmla="*/ 100 h 487"/>
              <a:gd name="T26" fmla="*/ 405 w 542"/>
              <a:gd name="T27" fmla="*/ 17 h 487"/>
              <a:gd name="T28" fmla="*/ 429 w 542"/>
              <a:gd name="T29" fmla="*/ 21 h 487"/>
              <a:gd name="T30" fmla="*/ 443 w 542"/>
              <a:gd name="T31" fmla="*/ 55 h 487"/>
              <a:gd name="T32" fmla="*/ 443 w 542"/>
              <a:gd name="T33" fmla="*/ 100 h 487"/>
              <a:gd name="T34" fmla="*/ 64 w 542"/>
              <a:gd name="T35" fmla="*/ 100 h 487"/>
              <a:gd name="T36" fmla="*/ 52 w 542"/>
              <a:gd name="T37" fmla="*/ 102 h 487"/>
              <a:gd name="T38" fmla="*/ 55 w 542"/>
              <a:gd name="T39" fmla="*/ 100 h 487"/>
              <a:gd name="T40" fmla="*/ 405 w 542"/>
              <a:gd name="T41" fmla="*/ 17 h 487"/>
              <a:gd name="T42" fmla="*/ 528 w 542"/>
              <a:gd name="T43" fmla="*/ 422 h 487"/>
              <a:gd name="T44" fmla="*/ 477 w 542"/>
              <a:gd name="T45" fmla="*/ 473 h 487"/>
              <a:gd name="T46" fmla="*/ 64 w 542"/>
              <a:gd name="T47" fmla="*/ 473 h 487"/>
              <a:gd name="T48" fmla="*/ 14 w 542"/>
              <a:gd name="T49" fmla="*/ 422 h 487"/>
              <a:gd name="T50" fmla="*/ 14 w 542"/>
              <a:gd name="T51" fmla="*/ 165 h 487"/>
              <a:gd name="T52" fmla="*/ 64 w 542"/>
              <a:gd name="T53" fmla="*/ 114 h 487"/>
              <a:gd name="T54" fmla="*/ 477 w 542"/>
              <a:gd name="T55" fmla="*/ 114 h 487"/>
              <a:gd name="T56" fmla="*/ 528 w 542"/>
              <a:gd name="T57" fmla="*/ 165 h 487"/>
              <a:gd name="T58" fmla="*/ 528 w 542"/>
              <a:gd name="T59" fmla="*/ 422 h 487"/>
              <a:gd name="T60" fmla="*/ 450 w 542"/>
              <a:gd name="T61" fmla="*/ 258 h 487"/>
              <a:gd name="T62" fmla="*/ 414 w 542"/>
              <a:gd name="T63" fmla="*/ 294 h 487"/>
              <a:gd name="T64" fmla="*/ 450 w 542"/>
              <a:gd name="T65" fmla="*/ 329 h 487"/>
              <a:gd name="T66" fmla="*/ 486 w 542"/>
              <a:gd name="T67" fmla="*/ 294 h 487"/>
              <a:gd name="T68" fmla="*/ 450 w 542"/>
              <a:gd name="T69" fmla="*/ 258 h 487"/>
              <a:gd name="T70" fmla="*/ 450 w 542"/>
              <a:gd name="T71" fmla="*/ 315 h 487"/>
              <a:gd name="T72" fmla="*/ 428 w 542"/>
              <a:gd name="T73" fmla="*/ 294 h 487"/>
              <a:gd name="T74" fmla="*/ 450 w 542"/>
              <a:gd name="T75" fmla="*/ 272 h 487"/>
              <a:gd name="T76" fmla="*/ 472 w 542"/>
              <a:gd name="T77" fmla="*/ 294 h 487"/>
              <a:gd name="T78" fmla="*/ 450 w 542"/>
              <a:gd name="T79" fmla="*/ 315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42" h="487">
                <a:moveTo>
                  <a:pt x="477" y="100"/>
                </a:moveTo>
                <a:cubicBezTo>
                  <a:pt x="457" y="100"/>
                  <a:pt x="457" y="100"/>
                  <a:pt x="457" y="100"/>
                </a:cubicBezTo>
                <a:cubicBezTo>
                  <a:pt x="457" y="55"/>
                  <a:pt x="457" y="55"/>
                  <a:pt x="457" y="55"/>
                </a:cubicBezTo>
                <a:cubicBezTo>
                  <a:pt x="457" y="35"/>
                  <a:pt x="450" y="19"/>
                  <a:pt x="437" y="10"/>
                </a:cubicBezTo>
                <a:cubicBezTo>
                  <a:pt x="427" y="2"/>
                  <a:pt x="414" y="0"/>
                  <a:pt x="401" y="4"/>
                </a:cubicBezTo>
                <a:cubicBezTo>
                  <a:pt x="52" y="87"/>
                  <a:pt x="52" y="87"/>
                  <a:pt x="52" y="87"/>
                </a:cubicBezTo>
                <a:cubicBezTo>
                  <a:pt x="22" y="95"/>
                  <a:pt x="0" y="130"/>
                  <a:pt x="0" y="165"/>
                </a:cubicBezTo>
                <a:cubicBezTo>
                  <a:pt x="0" y="422"/>
                  <a:pt x="0" y="422"/>
                  <a:pt x="0" y="422"/>
                </a:cubicBezTo>
                <a:cubicBezTo>
                  <a:pt x="0" y="458"/>
                  <a:pt x="29" y="487"/>
                  <a:pt x="64" y="487"/>
                </a:cubicBezTo>
                <a:cubicBezTo>
                  <a:pt x="477" y="487"/>
                  <a:pt x="477" y="487"/>
                  <a:pt x="477" y="487"/>
                </a:cubicBezTo>
                <a:cubicBezTo>
                  <a:pt x="513" y="487"/>
                  <a:pt x="542" y="458"/>
                  <a:pt x="542" y="422"/>
                </a:cubicBezTo>
                <a:cubicBezTo>
                  <a:pt x="542" y="165"/>
                  <a:pt x="542" y="165"/>
                  <a:pt x="542" y="165"/>
                </a:cubicBezTo>
                <a:cubicBezTo>
                  <a:pt x="542" y="129"/>
                  <a:pt x="513" y="100"/>
                  <a:pt x="477" y="100"/>
                </a:cubicBezTo>
                <a:close/>
                <a:moveTo>
                  <a:pt x="405" y="17"/>
                </a:moveTo>
                <a:cubicBezTo>
                  <a:pt x="414" y="15"/>
                  <a:pt x="422" y="16"/>
                  <a:pt x="429" y="21"/>
                </a:cubicBezTo>
                <a:cubicBezTo>
                  <a:pt x="438" y="28"/>
                  <a:pt x="443" y="40"/>
                  <a:pt x="443" y="55"/>
                </a:cubicBezTo>
                <a:cubicBezTo>
                  <a:pt x="443" y="100"/>
                  <a:pt x="443" y="100"/>
                  <a:pt x="443" y="100"/>
                </a:cubicBezTo>
                <a:cubicBezTo>
                  <a:pt x="64" y="100"/>
                  <a:pt x="64" y="100"/>
                  <a:pt x="64" y="100"/>
                </a:cubicBezTo>
                <a:cubicBezTo>
                  <a:pt x="60" y="100"/>
                  <a:pt x="56" y="101"/>
                  <a:pt x="52" y="102"/>
                </a:cubicBezTo>
                <a:cubicBezTo>
                  <a:pt x="53" y="101"/>
                  <a:pt x="54" y="101"/>
                  <a:pt x="55" y="100"/>
                </a:cubicBezTo>
                <a:lnTo>
                  <a:pt x="405" y="17"/>
                </a:lnTo>
                <a:close/>
                <a:moveTo>
                  <a:pt x="528" y="422"/>
                </a:moveTo>
                <a:cubicBezTo>
                  <a:pt x="528" y="450"/>
                  <a:pt x="505" y="473"/>
                  <a:pt x="477" y="473"/>
                </a:cubicBezTo>
                <a:cubicBezTo>
                  <a:pt x="64" y="473"/>
                  <a:pt x="64" y="473"/>
                  <a:pt x="64" y="473"/>
                </a:cubicBezTo>
                <a:cubicBezTo>
                  <a:pt x="36" y="473"/>
                  <a:pt x="14" y="450"/>
                  <a:pt x="14" y="422"/>
                </a:cubicBezTo>
                <a:cubicBezTo>
                  <a:pt x="14" y="165"/>
                  <a:pt x="14" y="165"/>
                  <a:pt x="14" y="165"/>
                </a:cubicBezTo>
                <a:cubicBezTo>
                  <a:pt x="14" y="137"/>
                  <a:pt x="36" y="114"/>
                  <a:pt x="64" y="114"/>
                </a:cubicBezTo>
                <a:cubicBezTo>
                  <a:pt x="477" y="114"/>
                  <a:pt x="477" y="114"/>
                  <a:pt x="477" y="114"/>
                </a:cubicBezTo>
                <a:cubicBezTo>
                  <a:pt x="505" y="114"/>
                  <a:pt x="528" y="137"/>
                  <a:pt x="528" y="165"/>
                </a:cubicBezTo>
                <a:lnTo>
                  <a:pt x="528" y="422"/>
                </a:lnTo>
                <a:close/>
                <a:moveTo>
                  <a:pt x="450" y="258"/>
                </a:moveTo>
                <a:cubicBezTo>
                  <a:pt x="430" y="258"/>
                  <a:pt x="414" y="274"/>
                  <a:pt x="414" y="294"/>
                </a:cubicBezTo>
                <a:cubicBezTo>
                  <a:pt x="414" y="313"/>
                  <a:pt x="430" y="329"/>
                  <a:pt x="450" y="329"/>
                </a:cubicBezTo>
                <a:cubicBezTo>
                  <a:pt x="469" y="329"/>
                  <a:pt x="486" y="313"/>
                  <a:pt x="486" y="294"/>
                </a:cubicBezTo>
                <a:cubicBezTo>
                  <a:pt x="486" y="274"/>
                  <a:pt x="469" y="258"/>
                  <a:pt x="450" y="258"/>
                </a:cubicBezTo>
                <a:close/>
                <a:moveTo>
                  <a:pt x="450" y="315"/>
                </a:moveTo>
                <a:cubicBezTo>
                  <a:pt x="438" y="315"/>
                  <a:pt x="428" y="306"/>
                  <a:pt x="428" y="294"/>
                </a:cubicBezTo>
                <a:cubicBezTo>
                  <a:pt x="428" y="282"/>
                  <a:pt x="438" y="272"/>
                  <a:pt x="450" y="272"/>
                </a:cubicBezTo>
                <a:cubicBezTo>
                  <a:pt x="462" y="272"/>
                  <a:pt x="472" y="282"/>
                  <a:pt x="472" y="294"/>
                </a:cubicBezTo>
                <a:cubicBezTo>
                  <a:pt x="472" y="306"/>
                  <a:pt x="462" y="315"/>
                  <a:pt x="450" y="31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69" name="Oval 9"/>
          <p:cNvSpPr>
            <a:spLocks noChangeArrowheads="1"/>
          </p:cNvSpPr>
          <p:nvPr/>
        </p:nvSpPr>
        <p:spPr bwMode="auto">
          <a:xfrm>
            <a:off x="3552358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48" name="Freeform 115"/>
          <p:cNvSpPr>
            <a:spLocks noEditPoints="1"/>
          </p:cNvSpPr>
          <p:nvPr/>
        </p:nvSpPr>
        <p:spPr bwMode="auto">
          <a:xfrm>
            <a:off x="3743994" y="1316358"/>
            <a:ext cx="431629" cy="436526"/>
          </a:xfrm>
          <a:custGeom>
            <a:avLst/>
            <a:gdLst>
              <a:gd name="T0" fmla="*/ 321 w 557"/>
              <a:gd name="T1" fmla="*/ 196 h 564"/>
              <a:gd name="T2" fmla="*/ 303 w 557"/>
              <a:gd name="T3" fmla="*/ 182 h 564"/>
              <a:gd name="T4" fmla="*/ 319 w 557"/>
              <a:gd name="T5" fmla="*/ 159 h 564"/>
              <a:gd name="T6" fmla="*/ 303 w 557"/>
              <a:gd name="T7" fmla="*/ 145 h 564"/>
              <a:gd name="T8" fmla="*/ 386 w 557"/>
              <a:gd name="T9" fmla="*/ 81 h 564"/>
              <a:gd name="T10" fmla="*/ 425 w 557"/>
              <a:gd name="T11" fmla="*/ 118 h 564"/>
              <a:gd name="T12" fmla="*/ 335 w 557"/>
              <a:gd name="T13" fmla="*/ 145 h 564"/>
              <a:gd name="T14" fmla="*/ 387 w 557"/>
              <a:gd name="T15" fmla="*/ 159 h 564"/>
              <a:gd name="T16" fmla="*/ 334 w 557"/>
              <a:gd name="T17" fmla="*/ 182 h 564"/>
              <a:gd name="T18" fmla="*/ 387 w 557"/>
              <a:gd name="T19" fmla="*/ 196 h 564"/>
              <a:gd name="T20" fmla="*/ 425 w 557"/>
              <a:gd name="T21" fmla="*/ 222 h 564"/>
              <a:gd name="T22" fmla="*/ 238 w 557"/>
              <a:gd name="T23" fmla="*/ 315 h 564"/>
              <a:gd name="T24" fmla="*/ 194 w 557"/>
              <a:gd name="T25" fmla="*/ 355 h 564"/>
              <a:gd name="T26" fmla="*/ 194 w 557"/>
              <a:gd name="T27" fmla="*/ 435 h 564"/>
              <a:gd name="T28" fmla="*/ 180 w 557"/>
              <a:gd name="T29" fmla="*/ 461 h 564"/>
              <a:gd name="T30" fmla="*/ 126 w 557"/>
              <a:gd name="T31" fmla="*/ 402 h 564"/>
              <a:gd name="T32" fmla="*/ 180 w 557"/>
              <a:gd name="T33" fmla="*/ 366 h 564"/>
              <a:gd name="T34" fmla="*/ 180 w 557"/>
              <a:gd name="T35" fmla="*/ 270 h 564"/>
              <a:gd name="T36" fmla="*/ 194 w 557"/>
              <a:gd name="T37" fmla="*/ 288 h 564"/>
              <a:gd name="T38" fmla="*/ 180 w 557"/>
              <a:gd name="T39" fmla="*/ 352 h 564"/>
              <a:gd name="T40" fmla="*/ 180 w 557"/>
              <a:gd name="T41" fmla="*/ 352 h 564"/>
              <a:gd name="T42" fmla="*/ 224 w 557"/>
              <a:gd name="T43" fmla="*/ 398 h 564"/>
              <a:gd name="T44" fmla="*/ 535 w 557"/>
              <a:gd name="T45" fmla="*/ 425 h 564"/>
              <a:gd name="T46" fmla="*/ 365 w 557"/>
              <a:gd name="T47" fmla="*/ 510 h 564"/>
              <a:gd name="T48" fmla="*/ 394 w 557"/>
              <a:gd name="T49" fmla="*/ 564 h 564"/>
              <a:gd name="T50" fmla="*/ 339 w 557"/>
              <a:gd name="T51" fmla="*/ 500 h 564"/>
              <a:gd name="T52" fmla="*/ 338 w 557"/>
              <a:gd name="T53" fmla="*/ 497 h 564"/>
              <a:gd name="T54" fmla="*/ 338 w 557"/>
              <a:gd name="T55" fmla="*/ 494 h 564"/>
              <a:gd name="T56" fmla="*/ 339 w 557"/>
              <a:gd name="T57" fmla="*/ 492 h 564"/>
              <a:gd name="T58" fmla="*/ 340 w 557"/>
              <a:gd name="T59" fmla="*/ 491 h 564"/>
              <a:gd name="T60" fmla="*/ 342 w 557"/>
              <a:gd name="T61" fmla="*/ 489 h 564"/>
              <a:gd name="T62" fmla="*/ 423 w 557"/>
              <a:gd name="T63" fmla="*/ 459 h 564"/>
              <a:gd name="T64" fmla="*/ 450 w 557"/>
              <a:gd name="T65" fmla="*/ 490 h 564"/>
              <a:gd name="T66" fmla="*/ 387 w 557"/>
              <a:gd name="T67" fmla="*/ 339 h 564"/>
              <a:gd name="T68" fmla="*/ 190 w 557"/>
              <a:gd name="T69" fmla="*/ 539 h 564"/>
              <a:gd name="T70" fmla="*/ 22 w 557"/>
              <a:gd name="T71" fmla="*/ 140 h 564"/>
              <a:gd name="T72" fmla="*/ 158 w 557"/>
              <a:gd name="T73" fmla="*/ 12 h 564"/>
              <a:gd name="T74" fmla="*/ 218 w 557"/>
              <a:gd name="T75" fmla="*/ 65 h 564"/>
              <a:gd name="T76" fmla="*/ 219 w 557"/>
              <a:gd name="T77" fmla="*/ 67 h 564"/>
              <a:gd name="T78" fmla="*/ 219 w 557"/>
              <a:gd name="T79" fmla="*/ 71 h 564"/>
              <a:gd name="T80" fmla="*/ 219 w 557"/>
              <a:gd name="T81" fmla="*/ 72 h 564"/>
              <a:gd name="T82" fmla="*/ 218 w 557"/>
              <a:gd name="T83" fmla="*/ 74 h 564"/>
              <a:gd name="T84" fmla="*/ 216 w 557"/>
              <a:gd name="T85" fmla="*/ 75 h 564"/>
              <a:gd name="T86" fmla="*/ 143 w 557"/>
              <a:gd name="T87" fmla="*/ 109 h 564"/>
              <a:gd name="T88" fmla="*/ 137 w 557"/>
              <a:gd name="T89" fmla="*/ 97 h 564"/>
              <a:gd name="T90" fmla="*/ 35 w 557"/>
              <a:gd name="T91" fmla="*/ 145 h 564"/>
              <a:gd name="T92" fmla="*/ 220 w 557"/>
              <a:gd name="T93" fmla="*/ 202 h 564"/>
              <a:gd name="T94" fmla="*/ 556 w 557"/>
              <a:gd name="T95" fmla="*/ 170 h 564"/>
              <a:gd name="T96" fmla="*/ 224 w 557"/>
              <a:gd name="T97" fmla="*/ 217 h 564"/>
              <a:gd name="T98" fmla="*/ 190 w 557"/>
              <a:gd name="T99" fmla="*/ 525 h 564"/>
              <a:gd name="T100" fmla="*/ 501 w 557"/>
              <a:gd name="T101" fmla="*/ 275 h 564"/>
              <a:gd name="T102" fmla="*/ 542 w 557"/>
              <a:gd name="T103" fmla="*/ 170 h 564"/>
              <a:gd name="T104" fmla="*/ 387 w 557"/>
              <a:gd name="T105" fmla="*/ 325 h 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57" h="564">
                <a:moveTo>
                  <a:pt x="436" y="230"/>
                </a:moveTo>
                <a:cubicBezTo>
                  <a:pt x="423" y="249"/>
                  <a:pt x="406" y="259"/>
                  <a:pt x="386" y="259"/>
                </a:cubicBezTo>
                <a:cubicBezTo>
                  <a:pt x="352" y="259"/>
                  <a:pt x="329" y="235"/>
                  <a:pt x="321" y="196"/>
                </a:cubicBezTo>
                <a:cubicBezTo>
                  <a:pt x="303" y="196"/>
                  <a:pt x="303" y="196"/>
                  <a:pt x="303" y="196"/>
                </a:cubicBezTo>
                <a:cubicBezTo>
                  <a:pt x="300" y="196"/>
                  <a:pt x="296" y="193"/>
                  <a:pt x="296" y="189"/>
                </a:cubicBezTo>
                <a:cubicBezTo>
                  <a:pt x="296" y="185"/>
                  <a:pt x="300" y="182"/>
                  <a:pt x="303" y="182"/>
                </a:cubicBezTo>
                <a:cubicBezTo>
                  <a:pt x="320" y="182"/>
                  <a:pt x="320" y="182"/>
                  <a:pt x="320" y="182"/>
                </a:cubicBezTo>
                <a:cubicBezTo>
                  <a:pt x="319" y="178"/>
                  <a:pt x="319" y="174"/>
                  <a:pt x="319" y="170"/>
                </a:cubicBezTo>
                <a:cubicBezTo>
                  <a:pt x="319" y="166"/>
                  <a:pt x="319" y="163"/>
                  <a:pt x="319" y="159"/>
                </a:cubicBezTo>
                <a:cubicBezTo>
                  <a:pt x="303" y="159"/>
                  <a:pt x="303" y="159"/>
                  <a:pt x="303" y="159"/>
                </a:cubicBezTo>
                <a:cubicBezTo>
                  <a:pt x="300" y="159"/>
                  <a:pt x="296" y="156"/>
                  <a:pt x="296" y="152"/>
                </a:cubicBezTo>
                <a:cubicBezTo>
                  <a:pt x="296" y="148"/>
                  <a:pt x="300" y="145"/>
                  <a:pt x="303" y="145"/>
                </a:cubicBezTo>
                <a:cubicBezTo>
                  <a:pt x="321" y="145"/>
                  <a:pt x="321" y="145"/>
                  <a:pt x="321" y="145"/>
                </a:cubicBezTo>
                <a:cubicBezTo>
                  <a:pt x="324" y="130"/>
                  <a:pt x="329" y="117"/>
                  <a:pt x="337" y="106"/>
                </a:cubicBezTo>
                <a:cubicBezTo>
                  <a:pt x="349" y="90"/>
                  <a:pt x="366" y="81"/>
                  <a:pt x="386" y="81"/>
                </a:cubicBezTo>
                <a:cubicBezTo>
                  <a:pt x="406" y="81"/>
                  <a:pt x="423" y="90"/>
                  <a:pt x="436" y="110"/>
                </a:cubicBezTo>
                <a:cubicBezTo>
                  <a:pt x="438" y="113"/>
                  <a:pt x="438" y="117"/>
                  <a:pt x="434" y="120"/>
                </a:cubicBezTo>
                <a:cubicBezTo>
                  <a:pt x="431" y="122"/>
                  <a:pt x="427" y="121"/>
                  <a:pt x="425" y="118"/>
                </a:cubicBezTo>
                <a:cubicBezTo>
                  <a:pt x="414" y="102"/>
                  <a:pt x="402" y="95"/>
                  <a:pt x="386" y="95"/>
                </a:cubicBezTo>
                <a:cubicBezTo>
                  <a:pt x="371" y="95"/>
                  <a:pt x="357" y="102"/>
                  <a:pt x="348" y="115"/>
                </a:cubicBezTo>
                <a:cubicBezTo>
                  <a:pt x="342" y="123"/>
                  <a:pt x="338" y="133"/>
                  <a:pt x="335" y="145"/>
                </a:cubicBezTo>
                <a:cubicBezTo>
                  <a:pt x="387" y="145"/>
                  <a:pt x="387" y="145"/>
                  <a:pt x="387" y="145"/>
                </a:cubicBezTo>
                <a:cubicBezTo>
                  <a:pt x="390" y="145"/>
                  <a:pt x="394" y="148"/>
                  <a:pt x="394" y="152"/>
                </a:cubicBezTo>
                <a:cubicBezTo>
                  <a:pt x="394" y="156"/>
                  <a:pt x="391" y="159"/>
                  <a:pt x="387" y="159"/>
                </a:cubicBezTo>
                <a:cubicBezTo>
                  <a:pt x="333" y="159"/>
                  <a:pt x="333" y="159"/>
                  <a:pt x="333" y="159"/>
                </a:cubicBezTo>
                <a:cubicBezTo>
                  <a:pt x="333" y="163"/>
                  <a:pt x="333" y="166"/>
                  <a:pt x="333" y="170"/>
                </a:cubicBezTo>
                <a:cubicBezTo>
                  <a:pt x="333" y="174"/>
                  <a:pt x="333" y="178"/>
                  <a:pt x="334" y="182"/>
                </a:cubicBezTo>
                <a:cubicBezTo>
                  <a:pt x="387" y="182"/>
                  <a:pt x="387" y="182"/>
                  <a:pt x="387" y="182"/>
                </a:cubicBezTo>
                <a:cubicBezTo>
                  <a:pt x="391" y="182"/>
                  <a:pt x="394" y="185"/>
                  <a:pt x="394" y="189"/>
                </a:cubicBezTo>
                <a:cubicBezTo>
                  <a:pt x="394" y="193"/>
                  <a:pt x="391" y="196"/>
                  <a:pt x="387" y="196"/>
                </a:cubicBezTo>
                <a:cubicBezTo>
                  <a:pt x="336" y="196"/>
                  <a:pt x="336" y="196"/>
                  <a:pt x="336" y="196"/>
                </a:cubicBezTo>
                <a:cubicBezTo>
                  <a:pt x="342" y="227"/>
                  <a:pt x="360" y="245"/>
                  <a:pt x="386" y="245"/>
                </a:cubicBezTo>
                <a:cubicBezTo>
                  <a:pt x="402" y="245"/>
                  <a:pt x="414" y="238"/>
                  <a:pt x="425" y="222"/>
                </a:cubicBezTo>
                <a:cubicBezTo>
                  <a:pt x="427" y="219"/>
                  <a:pt x="431" y="218"/>
                  <a:pt x="434" y="220"/>
                </a:cubicBezTo>
                <a:cubicBezTo>
                  <a:pt x="438" y="222"/>
                  <a:pt x="438" y="227"/>
                  <a:pt x="436" y="230"/>
                </a:cubicBezTo>
                <a:close/>
                <a:moveTo>
                  <a:pt x="238" y="315"/>
                </a:moveTo>
                <a:cubicBezTo>
                  <a:pt x="236" y="318"/>
                  <a:pt x="232" y="319"/>
                  <a:pt x="229" y="317"/>
                </a:cubicBezTo>
                <a:cubicBezTo>
                  <a:pt x="217" y="309"/>
                  <a:pt x="205" y="304"/>
                  <a:pt x="194" y="302"/>
                </a:cubicBezTo>
                <a:cubicBezTo>
                  <a:pt x="194" y="355"/>
                  <a:pt x="194" y="355"/>
                  <a:pt x="194" y="355"/>
                </a:cubicBezTo>
                <a:cubicBezTo>
                  <a:pt x="194" y="355"/>
                  <a:pt x="194" y="355"/>
                  <a:pt x="195" y="355"/>
                </a:cubicBezTo>
                <a:cubicBezTo>
                  <a:pt x="209" y="358"/>
                  <a:pt x="238" y="365"/>
                  <a:pt x="238" y="398"/>
                </a:cubicBezTo>
                <a:cubicBezTo>
                  <a:pt x="238" y="424"/>
                  <a:pt x="216" y="434"/>
                  <a:pt x="194" y="435"/>
                </a:cubicBezTo>
                <a:cubicBezTo>
                  <a:pt x="194" y="461"/>
                  <a:pt x="194" y="461"/>
                  <a:pt x="194" y="461"/>
                </a:cubicBezTo>
                <a:cubicBezTo>
                  <a:pt x="194" y="465"/>
                  <a:pt x="191" y="468"/>
                  <a:pt x="187" y="468"/>
                </a:cubicBezTo>
                <a:cubicBezTo>
                  <a:pt x="183" y="468"/>
                  <a:pt x="180" y="465"/>
                  <a:pt x="180" y="461"/>
                </a:cubicBezTo>
                <a:cubicBezTo>
                  <a:pt x="180" y="435"/>
                  <a:pt x="180" y="435"/>
                  <a:pt x="180" y="435"/>
                </a:cubicBezTo>
                <a:cubicBezTo>
                  <a:pt x="163" y="433"/>
                  <a:pt x="141" y="423"/>
                  <a:pt x="127" y="412"/>
                </a:cubicBezTo>
                <a:cubicBezTo>
                  <a:pt x="124" y="410"/>
                  <a:pt x="124" y="405"/>
                  <a:pt x="126" y="402"/>
                </a:cubicBezTo>
                <a:cubicBezTo>
                  <a:pt x="129" y="399"/>
                  <a:pt x="133" y="399"/>
                  <a:pt x="136" y="401"/>
                </a:cubicBezTo>
                <a:cubicBezTo>
                  <a:pt x="148" y="411"/>
                  <a:pt x="166" y="418"/>
                  <a:pt x="180" y="421"/>
                </a:cubicBezTo>
                <a:cubicBezTo>
                  <a:pt x="180" y="366"/>
                  <a:pt x="180" y="366"/>
                  <a:pt x="180" y="366"/>
                </a:cubicBezTo>
                <a:cubicBezTo>
                  <a:pt x="164" y="362"/>
                  <a:pt x="135" y="355"/>
                  <a:pt x="135" y="327"/>
                </a:cubicBezTo>
                <a:cubicBezTo>
                  <a:pt x="135" y="301"/>
                  <a:pt x="158" y="290"/>
                  <a:pt x="180" y="288"/>
                </a:cubicBezTo>
                <a:cubicBezTo>
                  <a:pt x="180" y="270"/>
                  <a:pt x="180" y="270"/>
                  <a:pt x="180" y="270"/>
                </a:cubicBezTo>
                <a:cubicBezTo>
                  <a:pt x="180" y="267"/>
                  <a:pt x="183" y="263"/>
                  <a:pt x="187" y="263"/>
                </a:cubicBezTo>
                <a:cubicBezTo>
                  <a:pt x="191" y="263"/>
                  <a:pt x="194" y="267"/>
                  <a:pt x="194" y="270"/>
                </a:cubicBezTo>
                <a:cubicBezTo>
                  <a:pt x="194" y="288"/>
                  <a:pt x="194" y="288"/>
                  <a:pt x="194" y="288"/>
                </a:cubicBezTo>
                <a:cubicBezTo>
                  <a:pt x="207" y="290"/>
                  <a:pt x="223" y="296"/>
                  <a:pt x="236" y="305"/>
                </a:cubicBezTo>
                <a:cubicBezTo>
                  <a:pt x="240" y="307"/>
                  <a:pt x="241" y="311"/>
                  <a:pt x="238" y="315"/>
                </a:cubicBezTo>
                <a:close/>
                <a:moveTo>
                  <a:pt x="180" y="352"/>
                </a:moveTo>
                <a:cubicBezTo>
                  <a:pt x="180" y="302"/>
                  <a:pt x="180" y="302"/>
                  <a:pt x="180" y="302"/>
                </a:cubicBezTo>
                <a:cubicBezTo>
                  <a:pt x="168" y="303"/>
                  <a:pt x="149" y="308"/>
                  <a:pt x="149" y="327"/>
                </a:cubicBezTo>
                <a:cubicBezTo>
                  <a:pt x="149" y="342"/>
                  <a:pt x="164" y="348"/>
                  <a:pt x="180" y="352"/>
                </a:cubicBezTo>
                <a:close/>
                <a:moveTo>
                  <a:pt x="194" y="369"/>
                </a:moveTo>
                <a:cubicBezTo>
                  <a:pt x="194" y="421"/>
                  <a:pt x="194" y="421"/>
                  <a:pt x="194" y="421"/>
                </a:cubicBezTo>
                <a:cubicBezTo>
                  <a:pt x="206" y="421"/>
                  <a:pt x="224" y="416"/>
                  <a:pt x="224" y="398"/>
                </a:cubicBezTo>
                <a:cubicBezTo>
                  <a:pt x="224" y="379"/>
                  <a:pt x="210" y="373"/>
                  <a:pt x="194" y="369"/>
                </a:cubicBezTo>
                <a:close/>
                <a:moveTo>
                  <a:pt x="517" y="278"/>
                </a:moveTo>
                <a:cubicBezTo>
                  <a:pt x="550" y="320"/>
                  <a:pt x="557" y="376"/>
                  <a:pt x="535" y="425"/>
                </a:cubicBezTo>
                <a:cubicBezTo>
                  <a:pt x="520" y="461"/>
                  <a:pt x="491" y="489"/>
                  <a:pt x="455" y="503"/>
                </a:cubicBezTo>
                <a:cubicBezTo>
                  <a:pt x="437" y="510"/>
                  <a:pt x="419" y="514"/>
                  <a:pt x="400" y="514"/>
                </a:cubicBezTo>
                <a:cubicBezTo>
                  <a:pt x="389" y="514"/>
                  <a:pt x="377" y="512"/>
                  <a:pt x="365" y="510"/>
                </a:cubicBezTo>
                <a:cubicBezTo>
                  <a:pt x="399" y="553"/>
                  <a:pt x="399" y="553"/>
                  <a:pt x="399" y="553"/>
                </a:cubicBezTo>
                <a:cubicBezTo>
                  <a:pt x="402" y="556"/>
                  <a:pt x="401" y="560"/>
                  <a:pt x="398" y="563"/>
                </a:cubicBezTo>
                <a:cubicBezTo>
                  <a:pt x="397" y="564"/>
                  <a:pt x="395" y="564"/>
                  <a:pt x="394" y="564"/>
                </a:cubicBezTo>
                <a:cubicBezTo>
                  <a:pt x="392" y="564"/>
                  <a:pt x="390" y="563"/>
                  <a:pt x="388" y="562"/>
                </a:cubicBezTo>
                <a:cubicBezTo>
                  <a:pt x="340" y="500"/>
                  <a:pt x="340" y="500"/>
                  <a:pt x="340" y="500"/>
                </a:cubicBezTo>
                <a:cubicBezTo>
                  <a:pt x="339" y="500"/>
                  <a:pt x="339" y="500"/>
                  <a:pt x="339" y="500"/>
                </a:cubicBezTo>
                <a:cubicBezTo>
                  <a:pt x="339" y="499"/>
                  <a:pt x="339" y="499"/>
                  <a:pt x="339" y="499"/>
                </a:cubicBezTo>
                <a:cubicBezTo>
                  <a:pt x="339" y="499"/>
                  <a:pt x="339" y="498"/>
                  <a:pt x="339" y="498"/>
                </a:cubicBezTo>
                <a:cubicBezTo>
                  <a:pt x="338" y="498"/>
                  <a:pt x="338" y="498"/>
                  <a:pt x="338" y="497"/>
                </a:cubicBezTo>
                <a:cubicBezTo>
                  <a:pt x="338" y="497"/>
                  <a:pt x="338" y="497"/>
                  <a:pt x="338" y="497"/>
                </a:cubicBezTo>
                <a:cubicBezTo>
                  <a:pt x="338" y="496"/>
                  <a:pt x="338" y="495"/>
                  <a:pt x="338" y="494"/>
                </a:cubicBezTo>
                <a:cubicBezTo>
                  <a:pt x="338" y="494"/>
                  <a:pt x="338" y="494"/>
                  <a:pt x="338" y="494"/>
                </a:cubicBezTo>
                <a:cubicBezTo>
                  <a:pt x="338" y="494"/>
                  <a:pt x="338" y="494"/>
                  <a:pt x="338" y="493"/>
                </a:cubicBezTo>
                <a:cubicBezTo>
                  <a:pt x="338" y="493"/>
                  <a:pt x="338" y="493"/>
                  <a:pt x="339" y="493"/>
                </a:cubicBezTo>
                <a:cubicBezTo>
                  <a:pt x="339" y="493"/>
                  <a:pt x="339" y="493"/>
                  <a:pt x="339" y="492"/>
                </a:cubicBezTo>
                <a:cubicBezTo>
                  <a:pt x="339" y="492"/>
                  <a:pt x="339" y="492"/>
                  <a:pt x="339" y="492"/>
                </a:cubicBezTo>
                <a:cubicBezTo>
                  <a:pt x="339" y="492"/>
                  <a:pt x="339" y="491"/>
                  <a:pt x="339" y="491"/>
                </a:cubicBezTo>
                <a:cubicBezTo>
                  <a:pt x="340" y="491"/>
                  <a:pt x="340" y="491"/>
                  <a:pt x="340" y="491"/>
                </a:cubicBezTo>
                <a:cubicBezTo>
                  <a:pt x="340" y="491"/>
                  <a:pt x="340" y="490"/>
                  <a:pt x="341" y="490"/>
                </a:cubicBezTo>
                <a:cubicBezTo>
                  <a:pt x="341" y="490"/>
                  <a:pt x="341" y="490"/>
                  <a:pt x="341" y="490"/>
                </a:cubicBezTo>
                <a:cubicBezTo>
                  <a:pt x="341" y="490"/>
                  <a:pt x="341" y="489"/>
                  <a:pt x="342" y="489"/>
                </a:cubicBezTo>
                <a:cubicBezTo>
                  <a:pt x="342" y="489"/>
                  <a:pt x="342" y="489"/>
                  <a:pt x="342" y="489"/>
                </a:cubicBezTo>
                <a:cubicBezTo>
                  <a:pt x="414" y="456"/>
                  <a:pt x="414" y="456"/>
                  <a:pt x="414" y="456"/>
                </a:cubicBezTo>
                <a:cubicBezTo>
                  <a:pt x="418" y="454"/>
                  <a:pt x="422" y="456"/>
                  <a:pt x="423" y="459"/>
                </a:cubicBezTo>
                <a:cubicBezTo>
                  <a:pt x="425" y="463"/>
                  <a:pt x="423" y="467"/>
                  <a:pt x="420" y="468"/>
                </a:cubicBezTo>
                <a:cubicBezTo>
                  <a:pt x="363" y="495"/>
                  <a:pt x="363" y="495"/>
                  <a:pt x="363" y="495"/>
                </a:cubicBezTo>
                <a:cubicBezTo>
                  <a:pt x="392" y="503"/>
                  <a:pt x="422" y="501"/>
                  <a:pt x="450" y="490"/>
                </a:cubicBezTo>
                <a:cubicBezTo>
                  <a:pt x="483" y="477"/>
                  <a:pt x="509" y="452"/>
                  <a:pt x="523" y="419"/>
                </a:cubicBezTo>
                <a:cubicBezTo>
                  <a:pt x="541" y="376"/>
                  <a:pt x="536" y="326"/>
                  <a:pt x="508" y="288"/>
                </a:cubicBezTo>
                <a:cubicBezTo>
                  <a:pt x="477" y="320"/>
                  <a:pt x="434" y="339"/>
                  <a:pt x="387" y="339"/>
                </a:cubicBezTo>
                <a:cubicBezTo>
                  <a:pt x="376" y="339"/>
                  <a:pt x="366" y="338"/>
                  <a:pt x="356" y="337"/>
                </a:cubicBezTo>
                <a:cubicBezTo>
                  <a:pt x="358" y="347"/>
                  <a:pt x="359" y="358"/>
                  <a:pt x="359" y="369"/>
                </a:cubicBezTo>
                <a:cubicBezTo>
                  <a:pt x="359" y="462"/>
                  <a:pt x="283" y="539"/>
                  <a:pt x="190" y="539"/>
                </a:cubicBezTo>
                <a:cubicBezTo>
                  <a:pt x="97" y="539"/>
                  <a:pt x="21" y="462"/>
                  <a:pt x="21" y="369"/>
                </a:cubicBezTo>
                <a:cubicBezTo>
                  <a:pt x="21" y="340"/>
                  <a:pt x="28" y="313"/>
                  <a:pt x="41" y="289"/>
                </a:cubicBezTo>
                <a:cubicBezTo>
                  <a:pt x="8" y="246"/>
                  <a:pt x="0" y="190"/>
                  <a:pt x="22" y="140"/>
                </a:cubicBezTo>
                <a:cubicBezTo>
                  <a:pt x="37" y="104"/>
                  <a:pt x="66" y="76"/>
                  <a:pt x="102" y="61"/>
                </a:cubicBezTo>
                <a:cubicBezTo>
                  <a:pt x="131" y="50"/>
                  <a:pt x="163" y="48"/>
                  <a:pt x="192" y="55"/>
                </a:cubicBezTo>
                <a:cubicBezTo>
                  <a:pt x="158" y="12"/>
                  <a:pt x="158" y="12"/>
                  <a:pt x="158" y="12"/>
                </a:cubicBezTo>
                <a:cubicBezTo>
                  <a:pt x="156" y="9"/>
                  <a:pt x="156" y="4"/>
                  <a:pt x="159" y="2"/>
                </a:cubicBezTo>
                <a:cubicBezTo>
                  <a:pt x="162" y="0"/>
                  <a:pt x="167" y="0"/>
                  <a:pt x="169" y="3"/>
                </a:cubicBezTo>
                <a:cubicBezTo>
                  <a:pt x="218" y="65"/>
                  <a:pt x="218" y="65"/>
                  <a:pt x="218" y="65"/>
                </a:cubicBezTo>
                <a:cubicBezTo>
                  <a:pt x="218" y="65"/>
                  <a:pt x="218" y="65"/>
                  <a:pt x="218" y="65"/>
                </a:cubicBezTo>
                <a:cubicBezTo>
                  <a:pt x="218" y="66"/>
                  <a:pt x="218" y="66"/>
                  <a:pt x="218" y="66"/>
                </a:cubicBezTo>
                <a:cubicBezTo>
                  <a:pt x="218" y="66"/>
                  <a:pt x="219" y="66"/>
                  <a:pt x="219" y="67"/>
                </a:cubicBezTo>
                <a:cubicBezTo>
                  <a:pt x="219" y="67"/>
                  <a:pt x="219" y="67"/>
                  <a:pt x="219" y="68"/>
                </a:cubicBezTo>
                <a:cubicBezTo>
                  <a:pt x="219" y="68"/>
                  <a:pt x="219" y="68"/>
                  <a:pt x="219" y="68"/>
                </a:cubicBezTo>
                <a:cubicBezTo>
                  <a:pt x="219" y="69"/>
                  <a:pt x="219" y="70"/>
                  <a:pt x="219" y="71"/>
                </a:cubicBezTo>
                <a:cubicBezTo>
                  <a:pt x="219" y="71"/>
                  <a:pt x="219" y="71"/>
                  <a:pt x="219" y="71"/>
                </a:cubicBezTo>
                <a:cubicBezTo>
                  <a:pt x="219" y="71"/>
                  <a:pt x="219" y="71"/>
                  <a:pt x="219" y="71"/>
                </a:cubicBezTo>
                <a:cubicBezTo>
                  <a:pt x="219" y="72"/>
                  <a:pt x="219" y="72"/>
                  <a:pt x="219" y="72"/>
                </a:cubicBezTo>
                <a:cubicBezTo>
                  <a:pt x="219" y="72"/>
                  <a:pt x="219" y="72"/>
                  <a:pt x="219" y="72"/>
                </a:cubicBezTo>
                <a:cubicBezTo>
                  <a:pt x="218" y="73"/>
                  <a:pt x="218" y="73"/>
                  <a:pt x="218" y="73"/>
                </a:cubicBezTo>
                <a:cubicBezTo>
                  <a:pt x="218" y="73"/>
                  <a:pt x="218" y="73"/>
                  <a:pt x="218" y="74"/>
                </a:cubicBezTo>
                <a:cubicBezTo>
                  <a:pt x="218" y="74"/>
                  <a:pt x="218" y="74"/>
                  <a:pt x="217" y="74"/>
                </a:cubicBezTo>
                <a:cubicBezTo>
                  <a:pt x="217" y="74"/>
                  <a:pt x="217" y="75"/>
                  <a:pt x="217" y="75"/>
                </a:cubicBezTo>
                <a:cubicBezTo>
                  <a:pt x="217" y="75"/>
                  <a:pt x="216" y="75"/>
                  <a:pt x="216" y="75"/>
                </a:cubicBezTo>
                <a:cubicBezTo>
                  <a:pt x="216" y="75"/>
                  <a:pt x="216" y="75"/>
                  <a:pt x="216" y="76"/>
                </a:cubicBezTo>
                <a:cubicBezTo>
                  <a:pt x="215" y="76"/>
                  <a:pt x="215" y="76"/>
                  <a:pt x="215" y="76"/>
                </a:cubicBezTo>
                <a:cubicBezTo>
                  <a:pt x="143" y="109"/>
                  <a:pt x="143" y="109"/>
                  <a:pt x="143" y="109"/>
                </a:cubicBezTo>
                <a:cubicBezTo>
                  <a:pt x="142" y="110"/>
                  <a:pt x="141" y="110"/>
                  <a:pt x="140" y="110"/>
                </a:cubicBezTo>
                <a:cubicBezTo>
                  <a:pt x="138" y="110"/>
                  <a:pt x="135" y="108"/>
                  <a:pt x="134" y="106"/>
                </a:cubicBezTo>
                <a:cubicBezTo>
                  <a:pt x="132" y="102"/>
                  <a:pt x="134" y="98"/>
                  <a:pt x="137" y="97"/>
                </a:cubicBezTo>
                <a:cubicBezTo>
                  <a:pt x="194" y="70"/>
                  <a:pt x="194" y="70"/>
                  <a:pt x="194" y="70"/>
                </a:cubicBezTo>
                <a:cubicBezTo>
                  <a:pt x="166" y="62"/>
                  <a:pt x="135" y="63"/>
                  <a:pt x="108" y="74"/>
                </a:cubicBezTo>
                <a:cubicBezTo>
                  <a:pt x="75" y="88"/>
                  <a:pt x="49" y="113"/>
                  <a:pt x="35" y="145"/>
                </a:cubicBezTo>
                <a:cubicBezTo>
                  <a:pt x="16" y="189"/>
                  <a:pt x="21" y="238"/>
                  <a:pt x="49" y="276"/>
                </a:cubicBezTo>
                <a:cubicBezTo>
                  <a:pt x="79" y="230"/>
                  <a:pt x="131" y="200"/>
                  <a:pt x="190" y="200"/>
                </a:cubicBezTo>
                <a:cubicBezTo>
                  <a:pt x="200" y="200"/>
                  <a:pt x="210" y="201"/>
                  <a:pt x="220" y="202"/>
                </a:cubicBezTo>
                <a:cubicBezTo>
                  <a:pt x="218" y="192"/>
                  <a:pt x="217" y="181"/>
                  <a:pt x="217" y="170"/>
                </a:cubicBezTo>
                <a:cubicBezTo>
                  <a:pt x="217" y="77"/>
                  <a:pt x="293" y="1"/>
                  <a:pt x="387" y="1"/>
                </a:cubicBezTo>
                <a:cubicBezTo>
                  <a:pt x="480" y="1"/>
                  <a:pt x="556" y="77"/>
                  <a:pt x="556" y="170"/>
                </a:cubicBezTo>
                <a:cubicBezTo>
                  <a:pt x="556" y="211"/>
                  <a:pt x="542" y="248"/>
                  <a:pt x="517" y="278"/>
                </a:cubicBezTo>
                <a:close/>
                <a:moveTo>
                  <a:pt x="341" y="333"/>
                </a:moveTo>
                <a:cubicBezTo>
                  <a:pt x="285" y="317"/>
                  <a:pt x="240" y="273"/>
                  <a:pt x="224" y="217"/>
                </a:cubicBezTo>
                <a:cubicBezTo>
                  <a:pt x="213" y="215"/>
                  <a:pt x="201" y="214"/>
                  <a:pt x="190" y="214"/>
                </a:cubicBezTo>
                <a:cubicBezTo>
                  <a:pt x="104" y="214"/>
                  <a:pt x="35" y="283"/>
                  <a:pt x="35" y="369"/>
                </a:cubicBezTo>
                <a:cubicBezTo>
                  <a:pt x="35" y="455"/>
                  <a:pt x="104" y="525"/>
                  <a:pt x="190" y="525"/>
                </a:cubicBezTo>
                <a:cubicBezTo>
                  <a:pt x="276" y="525"/>
                  <a:pt x="345" y="455"/>
                  <a:pt x="345" y="369"/>
                </a:cubicBezTo>
                <a:cubicBezTo>
                  <a:pt x="345" y="357"/>
                  <a:pt x="344" y="345"/>
                  <a:pt x="341" y="333"/>
                </a:cubicBezTo>
                <a:close/>
                <a:moveTo>
                  <a:pt x="501" y="275"/>
                </a:moveTo>
                <a:cubicBezTo>
                  <a:pt x="502" y="274"/>
                  <a:pt x="502" y="272"/>
                  <a:pt x="503" y="272"/>
                </a:cubicBezTo>
                <a:cubicBezTo>
                  <a:pt x="504" y="271"/>
                  <a:pt x="504" y="271"/>
                  <a:pt x="505" y="271"/>
                </a:cubicBezTo>
                <a:cubicBezTo>
                  <a:pt x="528" y="244"/>
                  <a:pt x="542" y="208"/>
                  <a:pt x="542" y="170"/>
                </a:cubicBezTo>
                <a:cubicBezTo>
                  <a:pt x="542" y="84"/>
                  <a:pt x="472" y="15"/>
                  <a:pt x="387" y="15"/>
                </a:cubicBezTo>
                <a:cubicBezTo>
                  <a:pt x="301" y="15"/>
                  <a:pt x="231" y="84"/>
                  <a:pt x="231" y="170"/>
                </a:cubicBezTo>
                <a:cubicBezTo>
                  <a:pt x="231" y="256"/>
                  <a:pt x="301" y="325"/>
                  <a:pt x="387" y="325"/>
                </a:cubicBezTo>
                <a:cubicBezTo>
                  <a:pt x="432" y="325"/>
                  <a:pt x="473" y="306"/>
                  <a:pt x="501" y="2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74" name="Oval 13"/>
          <p:cNvSpPr>
            <a:spLocks noChangeArrowheads="1"/>
          </p:cNvSpPr>
          <p:nvPr/>
        </p:nvSpPr>
        <p:spPr bwMode="auto">
          <a:xfrm>
            <a:off x="966871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51" name="Freeform 118"/>
          <p:cNvSpPr>
            <a:spLocks noEditPoints="1"/>
          </p:cNvSpPr>
          <p:nvPr/>
        </p:nvSpPr>
        <p:spPr bwMode="auto">
          <a:xfrm>
            <a:off x="1193185" y="2449144"/>
            <a:ext cx="370332" cy="513455"/>
          </a:xfrm>
          <a:custGeom>
            <a:avLst/>
            <a:gdLst>
              <a:gd name="T0" fmla="*/ 0 w 479"/>
              <a:gd name="T1" fmla="*/ 464 h 663"/>
              <a:gd name="T2" fmla="*/ 436 w 479"/>
              <a:gd name="T3" fmla="*/ 44 h 663"/>
              <a:gd name="T4" fmla="*/ 43 w 479"/>
              <a:gd name="T5" fmla="*/ 493 h 663"/>
              <a:gd name="T6" fmla="*/ 393 w 479"/>
              <a:gd name="T7" fmla="*/ 14 h 663"/>
              <a:gd name="T8" fmla="*/ 79 w 479"/>
              <a:gd name="T9" fmla="*/ 52 h 663"/>
              <a:gd name="T10" fmla="*/ 357 w 479"/>
              <a:gd name="T11" fmla="*/ 149 h 663"/>
              <a:gd name="T12" fmla="*/ 372 w 479"/>
              <a:gd name="T13" fmla="*/ 120 h 663"/>
              <a:gd name="T14" fmla="*/ 64 w 479"/>
              <a:gd name="T15" fmla="*/ 81 h 663"/>
              <a:gd name="T16" fmla="*/ 372 w 479"/>
              <a:gd name="T17" fmla="*/ 120 h 663"/>
              <a:gd name="T18" fmla="*/ 50 w 479"/>
              <a:gd name="T19" fmla="*/ 226 h 663"/>
              <a:gd name="T20" fmla="*/ 148 w 479"/>
              <a:gd name="T21" fmla="*/ 211 h 663"/>
              <a:gd name="T22" fmla="*/ 79 w 479"/>
              <a:gd name="T23" fmla="*/ 242 h 663"/>
              <a:gd name="T24" fmla="*/ 119 w 479"/>
              <a:gd name="T25" fmla="*/ 196 h 663"/>
              <a:gd name="T26" fmla="*/ 198 w 479"/>
              <a:gd name="T27" fmla="*/ 182 h 663"/>
              <a:gd name="T28" fmla="*/ 238 w 479"/>
              <a:gd name="T29" fmla="*/ 256 h 663"/>
              <a:gd name="T30" fmla="*/ 253 w 479"/>
              <a:gd name="T31" fmla="*/ 226 h 663"/>
              <a:gd name="T32" fmla="*/ 183 w 479"/>
              <a:gd name="T33" fmla="*/ 211 h 663"/>
              <a:gd name="T34" fmla="*/ 253 w 479"/>
              <a:gd name="T35" fmla="*/ 226 h 663"/>
              <a:gd name="T36" fmla="*/ 288 w 479"/>
              <a:gd name="T37" fmla="*/ 226 h 663"/>
              <a:gd name="T38" fmla="*/ 386 w 479"/>
              <a:gd name="T39" fmla="*/ 211 h 663"/>
              <a:gd name="T40" fmla="*/ 317 w 479"/>
              <a:gd name="T41" fmla="*/ 242 h 663"/>
              <a:gd name="T42" fmla="*/ 357 w 479"/>
              <a:gd name="T43" fmla="*/ 196 h 663"/>
              <a:gd name="T44" fmla="*/ 79 w 479"/>
              <a:gd name="T45" fmla="*/ 279 h 663"/>
              <a:gd name="T46" fmla="*/ 119 w 479"/>
              <a:gd name="T47" fmla="*/ 353 h 663"/>
              <a:gd name="T48" fmla="*/ 134 w 479"/>
              <a:gd name="T49" fmla="*/ 323 h 663"/>
              <a:gd name="T50" fmla="*/ 64 w 479"/>
              <a:gd name="T51" fmla="*/ 308 h 663"/>
              <a:gd name="T52" fmla="*/ 134 w 479"/>
              <a:gd name="T53" fmla="*/ 323 h 663"/>
              <a:gd name="T54" fmla="*/ 169 w 479"/>
              <a:gd name="T55" fmla="*/ 323 h 663"/>
              <a:gd name="T56" fmla="*/ 267 w 479"/>
              <a:gd name="T57" fmla="*/ 308 h 663"/>
              <a:gd name="T58" fmla="*/ 198 w 479"/>
              <a:gd name="T59" fmla="*/ 339 h 663"/>
              <a:gd name="T60" fmla="*/ 238 w 479"/>
              <a:gd name="T61" fmla="*/ 293 h 663"/>
              <a:gd name="T62" fmla="*/ 317 w 479"/>
              <a:gd name="T63" fmla="*/ 279 h 663"/>
              <a:gd name="T64" fmla="*/ 357 w 479"/>
              <a:gd name="T65" fmla="*/ 353 h 663"/>
              <a:gd name="T66" fmla="*/ 372 w 479"/>
              <a:gd name="T67" fmla="*/ 323 h 663"/>
              <a:gd name="T68" fmla="*/ 302 w 479"/>
              <a:gd name="T69" fmla="*/ 308 h 663"/>
              <a:gd name="T70" fmla="*/ 372 w 479"/>
              <a:gd name="T71" fmla="*/ 323 h 663"/>
              <a:gd name="T72" fmla="*/ 50 w 479"/>
              <a:gd name="T73" fmla="*/ 420 h 663"/>
              <a:gd name="T74" fmla="*/ 148 w 479"/>
              <a:gd name="T75" fmla="*/ 405 h 663"/>
              <a:gd name="T76" fmla="*/ 79 w 479"/>
              <a:gd name="T77" fmla="*/ 435 h 663"/>
              <a:gd name="T78" fmla="*/ 119 w 479"/>
              <a:gd name="T79" fmla="*/ 390 h 663"/>
              <a:gd name="T80" fmla="*/ 198 w 479"/>
              <a:gd name="T81" fmla="*/ 376 h 663"/>
              <a:gd name="T82" fmla="*/ 238 w 479"/>
              <a:gd name="T83" fmla="*/ 449 h 663"/>
              <a:gd name="T84" fmla="*/ 253 w 479"/>
              <a:gd name="T85" fmla="*/ 420 h 663"/>
              <a:gd name="T86" fmla="*/ 183 w 479"/>
              <a:gd name="T87" fmla="*/ 405 h 663"/>
              <a:gd name="T88" fmla="*/ 253 w 479"/>
              <a:gd name="T89" fmla="*/ 420 h 663"/>
              <a:gd name="T90" fmla="*/ 288 w 479"/>
              <a:gd name="T91" fmla="*/ 420 h 663"/>
              <a:gd name="T92" fmla="*/ 386 w 479"/>
              <a:gd name="T93" fmla="*/ 405 h 663"/>
              <a:gd name="T94" fmla="*/ 317 w 479"/>
              <a:gd name="T95" fmla="*/ 435 h 663"/>
              <a:gd name="T96" fmla="*/ 357 w 479"/>
              <a:gd name="T97" fmla="*/ 390 h 663"/>
              <a:gd name="T98" fmla="*/ 315 w 479"/>
              <a:gd name="T99" fmla="*/ 550 h 663"/>
              <a:gd name="T100" fmla="*/ 267 w 479"/>
              <a:gd name="T101" fmla="*/ 550 h 663"/>
              <a:gd name="T102" fmla="*/ 187 w 479"/>
              <a:gd name="T103" fmla="*/ 649 h 663"/>
              <a:gd name="T104" fmla="*/ 67 w 479"/>
              <a:gd name="T105" fmla="*/ 543 h 663"/>
              <a:gd name="T106" fmla="*/ 286 w 479"/>
              <a:gd name="T107" fmla="*/ 663 h 663"/>
              <a:gd name="T108" fmla="*/ 201 w 479"/>
              <a:gd name="T109" fmla="*/ 557 h 663"/>
              <a:gd name="T110" fmla="*/ 201 w 479"/>
              <a:gd name="T111" fmla="*/ 557 h 663"/>
              <a:gd name="T112" fmla="*/ 465 w 479"/>
              <a:gd name="T113" fmla="*/ 464 h 6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79" h="663">
                <a:moveTo>
                  <a:pt x="393" y="0"/>
                </a:moveTo>
                <a:cubicBezTo>
                  <a:pt x="43" y="0"/>
                  <a:pt x="43" y="0"/>
                  <a:pt x="43" y="0"/>
                </a:cubicBezTo>
                <a:cubicBezTo>
                  <a:pt x="19" y="0"/>
                  <a:pt x="0" y="20"/>
                  <a:pt x="0" y="44"/>
                </a:cubicBezTo>
                <a:cubicBezTo>
                  <a:pt x="0" y="464"/>
                  <a:pt x="0" y="464"/>
                  <a:pt x="0" y="464"/>
                </a:cubicBezTo>
                <a:cubicBezTo>
                  <a:pt x="0" y="488"/>
                  <a:pt x="19" y="507"/>
                  <a:pt x="43" y="507"/>
                </a:cubicBezTo>
                <a:cubicBezTo>
                  <a:pt x="393" y="507"/>
                  <a:pt x="393" y="507"/>
                  <a:pt x="393" y="507"/>
                </a:cubicBezTo>
                <a:cubicBezTo>
                  <a:pt x="417" y="507"/>
                  <a:pt x="436" y="488"/>
                  <a:pt x="436" y="464"/>
                </a:cubicBezTo>
                <a:cubicBezTo>
                  <a:pt x="436" y="44"/>
                  <a:pt x="436" y="44"/>
                  <a:pt x="436" y="44"/>
                </a:cubicBezTo>
                <a:cubicBezTo>
                  <a:pt x="436" y="20"/>
                  <a:pt x="417" y="0"/>
                  <a:pt x="393" y="0"/>
                </a:cubicBezTo>
                <a:close/>
                <a:moveTo>
                  <a:pt x="422" y="464"/>
                </a:moveTo>
                <a:cubicBezTo>
                  <a:pt x="422" y="480"/>
                  <a:pt x="409" y="493"/>
                  <a:pt x="393" y="493"/>
                </a:cubicBezTo>
                <a:cubicBezTo>
                  <a:pt x="43" y="493"/>
                  <a:pt x="43" y="493"/>
                  <a:pt x="43" y="493"/>
                </a:cubicBezTo>
                <a:cubicBezTo>
                  <a:pt x="27" y="493"/>
                  <a:pt x="14" y="480"/>
                  <a:pt x="14" y="464"/>
                </a:cubicBezTo>
                <a:cubicBezTo>
                  <a:pt x="14" y="44"/>
                  <a:pt x="14" y="44"/>
                  <a:pt x="14" y="44"/>
                </a:cubicBezTo>
                <a:cubicBezTo>
                  <a:pt x="14" y="27"/>
                  <a:pt x="27" y="14"/>
                  <a:pt x="43" y="14"/>
                </a:cubicBezTo>
                <a:cubicBezTo>
                  <a:pt x="393" y="14"/>
                  <a:pt x="393" y="14"/>
                  <a:pt x="393" y="14"/>
                </a:cubicBezTo>
                <a:cubicBezTo>
                  <a:pt x="409" y="14"/>
                  <a:pt x="422" y="27"/>
                  <a:pt x="422" y="44"/>
                </a:cubicBezTo>
                <a:lnTo>
                  <a:pt x="422" y="464"/>
                </a:lnTo>
                <a:close/>
                <a:moveTo>
                  <a:pt x="357" y="52"/>
                </a:moveTo>
                <a:cubicBezTo>
                  <a:pt x="79" y="52"/>
                  <a:pt x="79" y="52"/>
                  <a:pt x="79" y="52"/>
                </a:cubicBezTo>
                <a:cubicBezTo>
                  <a:pt x="63" y="52"/>
                  <a:pt x="50" y="65"/>
                  <a:pt x="50" y="81"/>
                </a:cubicBezTo>
                <a:cubicBezTo>
                  <a:pt x="50" y="120"/>
                  <a:pt x="50" y="120"/>
                  <a:pt x="50" y="120"/>
                </a:cubicBezTo>
                <a:cubicBezTo>
                  <a:pt x="50" y="136"/>
                  <a:pt x="63" y="149"/>
                  <a:pt x="79" y="149"/>
                </a:cubicBezTo>
                <a:cubicBezTo>
                  <a:pt x="357" y="149"/>
                  <a:pt x="357" y="149"/>
                  <a:pt x="357" y="149"/>
                </a:cubicBezTo>
                <a:cubicBezTo>
                  <a:pt x="373" y="149"/>
                  <a:pt x="386" y="136"/>
                  <a:pt x="386" y="120"/>
                </a:cubicBezTo>
                <a:cubicBezTo>
                  <a:pt x="386" y="81"/>
                  <a:pt x="386" y="81"/>
                  <a:pt x="386" y="81"/>
                </a:cubicBezTo>
                <a:cubicBezTo>
                  <a:pt x="386" y="65"/>
                  <a:pt x="373" y="52"/>
                  <a:pt x="357" y="52"/>
                </a:cubicBezTo>
                <a:close/>
                <a:moveTo>
                  <a:pt x="372" y="120"/>
                </a:moveTo>
                <a:cubicBezTo>
                  <a:pt x="372" y="128"/>
                  <a:pt x="366" y="135"/>
                  <a:pt x="357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0" y="135"/>
                  <a:pt x="64" y="128"/>
                  <a:pt x="64" y="120"/>
                </a:cubicBezTo>
                <a:cubicBezTo>
                  <a:pt x="64" y="81"/>
                  <a:pt x="64" y="81"/>
                  <a:pt x="64" y="81"/>
                </a:cubicBezTo>
                <a:cubicBezTo>
                  <a:pt x="64" y="72"/>
                  <a:pt x="70" y="66"/>
                  <a:pt x="79" y="66"/>
                </a:cubicBezTo>
                <a:cubicBezTo>
                  <a:pt x="357" y="66"/>
                  <a:pt x="357" y="66"/>
                  <a:pt x="357" y="66"/>
                </a:cubicBezTo>
                <a:cubicBezTo>
                  <a:pt x="366" y="66"/>
                  <a:pt x="372" y="72"/>
                  <a:pt x="372" y="81"/>
                </a:cubicBezTo>
                <a:lnTo>
                  <a:pt x="372" y="120"/>
                </a:lnTo>
                <a:close/>
                <a:moveTo>
                  <a:pt x="119" y="182"/>
                </a:moveTo>
                <a:cubicBezTo>
                  <a:pt x="79" y="182"/>
                  <a:pt x="79" y="182"/>
                  <a:pt x="79" y="182"/>
                </a:cubicBezTo>
                <a:cubicBezTo>
                  <a:pt x="63" y="182"/>
                  <a:pt x="50" y="195"/>
                  <a:pt x="50" y="211"/>
                </a:cubicBezTo>
                <a:cubicBezTo>
                  <a:pt x="50" y="226"/>
                  <a:pt x="50" y="226"/>
                  <a:pt x="50" y="226"/>
                </a:cubicBezTo>
                <a:cubicBezTo>
                  <a:pt x="50" y="243"/>
                  <a:pt x="63" y="256"/>
                  <a:pt x="79" y="256"/>
                </a:cubicBezTo>
                <a:cubicBezTo>
                  <a:pt x="119" y="256"/>
                  <a:pt x="119" y="256"/>
                  <a:pt x="119" y="256"/>
                </a:cubicBezTo>
                <a:cubicBezTo>
                  <a:pt x="135" y="256"/>
                  <a:pt x="148" y="243"/>
                  <a:pt x="148" y="226"/>
                </a:cubicBezTo>
                <a:cubicBezTo>
                  <a:pt x="148" y="211"/>
                  <a:pt x="148" y="211"/>
                  <a:pt x="148" y="211"/>
                </a:cubicBezTo>
                <a:cubicBezTo>
                  <a:pt x="148" y="195"/>
                  <a:pt x="135" y="182"/>
                  <a:pt x="119" y="182"/>
                </a:cubicBezTo>
                <a:close/>
                <a:moveTo>
                  <a:pt x="134" y="226"/>
                </a:moveTo>
                <a:cubicBezTo>
                  <a:pt x="134" y="235"/>
                  <a:pt x="127" y="242"/>
                  <a:pt x="119" y="242"/>
                </a:cubicBezTo>
                <a:cubicBezTo>
                  <a:pt x="79" y="242"/>
                  <a:pt x="79" y="242"/>
                  <a:pt x="79" y="242"/>
                </a:cubicBezTo>
                <a:cubicBezTo>
                  <a:pt x="70" y="242"/>
                  <a:pt x="64" y="235"/>
                  <a:pt x="64" y="226"/>
                </a:cubicBezTo>
                <a:cubicBezTo>
                  <a:pt x="64" y="211"/>
                  <a:pt x="64" y="211"/>
                  <a:pt x="64" y="211"/>
                </a:cubicBezTo>
                <a:cubicBezTo>
                  <a:pt x="64" y="203"/>
                  <a:pt x="70" y="196"/>
                  <a:pt x="79" y="196"/>
                </a:cubicBezTo>
                <a:cubicBezTo>
                  <a:pt x="119" y="196"/>
                  <a:pt x="119" y="196"/>
                  <a:pt x="119" y="196"/>
                </a:cubicBezTo>
                <a:cubicBezTo>
                  <a:pt x="127" y="196"/>
                  <a:pt x="134" y="203"/>
                  <a:pt x="134" y="211"/>
                </a:cubicBezTo>
                <a:lnTo>
                  <a:pt x="134" y="226"/>
                </a:lnTo>
                <a:close/>
                <a:moveTo>
                  <a:pt x="238" y="182"/>
                </a:moveTo>
                <a:cubicBezTo>
                  <a:pt x="198" y="182"/>
                  <a:pt x="198" y="182"/>
                  <a:pt x="198" y="182"/>
                </a:cubicBezTo>
                <a:cubicBezTo>
                  <a:pt x="182" y="182"/>
                  <a:pt x="169" y="195"/>
                  <a:pt x="169" y="211"/>
                </a:cubicBezTo>
                <a:cubicBezTo>
                  <a:pt x="169" y="226"/>
                  <a:pt x="169" y="226"/>
                  <a:pt x="169" y="226"/>
                </a:cubicBezTo>
                <a:cubicBezTo>
                  <a:pt x="169" y="243"/>
                  <a:pt x="182" y="256"/>
                  <a:pt x="198" y="256"/>
                </a:cubicBezTo>
                <a:cubicBezTo>
                  <a:pt x="238" y="256"/>
                  <a:pt x="238" y="256"/>
                  <a:pt x="238" y="256"/>
                </a:cubicBezTo>
                <a:cubicBezTo>
                  <a:pt x="254" y="256"/>
                  <a:pt x="267" y="243"/>
                  <a:pt x="267" y="226"/>
                </a:cubicBezTo>
                <a:cubicBezTo>
                  <a:pt x="267" y="211"/>
                  <a:pt x="267" y="211"/>
                  <a:pt x="267" y="211"/>
                </a:cubicBezTo>
                <a:cubicBezTo>
                  <a:pt x="267" y="195"/>
                  <a:pt x="254" y="182"/>
                  <a:pt x="238" y="182"/>
                </a:cubicBezTo>
                <a:close/>
                <a:moveTo>
                  <a:pt x="253" y="226"/>
                </a:moveTo>
                <a:cubicBezTo>
                  <a:pt x="253" y="235"/>
                  <a:pt x="246" y="242"/>
                  <a:pt x="238" y="242"/>
                </a:cubicBezTo>
                <a:cubicBezTo>
                  <a:pt x="198" y="242"/>
                  <a:pt x="198" y="242"/>
                  <a:pt x="198" y="242"/>
                </a:cubicBezTo>
                <a:cubicBezTo>
                  <a:pt x="190" y="242"/>
                  <a:pt x="183" y="235"/>
                  <a:pt x="183" y="226"/>
                </a:cubicBezTo>
                <a:cubicBezTo>
                  <a:pt x="183" y="211"/>
                  <a:pt x="183" y="211"/>
                  <a:pt x="183" y="211"/>
                </a:cubicBezTo>
                <a:cubicBezTo>
                  <a:pt x="183" y="203"/>
                  <a:pt x="190" y="196"/>
                  <a:pt x="198" y="196"/>
                </a:cubicBezTo>
                <a:cubicBezTo>
                  <a:pt x="238" y="196"/>
                  <a:pt x="238" y="196"/>
                  <a:pt x="238" y="196"/>
                </a:cubicBezTo>
                <a:cubicBezTo>
                  <a:pt x="246" y="196"/>
                  <a:pt x="253" y="203"/>
                  <a:pt x="253" y="211"/>
                </a:cubicBezTo>
                <a:lnTo>
                  <a:pt x="253" y="226"/>
                </a:lnTo>
                <a:close/>
                <a:moveTo>
                  <a:pt x="357" y="182"/>
                </a:moveTo>
                <a:cubicBezTo>
                  <a:pt x="317" y="182"/>
                  <a:pt x="317" y="182"/>
                  <a:pt x="317" y="182"/>
                </a:cubicBezTo>
                <a:cubicBezTo>
                  <a:pt x="301" y="182"/>
                  <a:pt x="288" y="195"/>
                  <a:pt x="288" y="211"/>
                </a:cubicBezTo>
                <a:cubicBezTo>
                  <a:pt x="288" y="226"/>
                  <a:pt x="288" y="226"/>
                  <a:pt x="288" y="226"/>
                </a:cubicBezTo>
                <a:cubicBezTo>
                  <a:pt x="288" y="243"/>
                  <a:pt x="301" y="256"/>
                  <a:pt x="317" y="256"/>
                </a:cubicBezTo>
                <a:cubicBezTo>
                  <a:pt x="357" y="256"/>
                  <a:pt x="357" y="256"/>
                  <a:pt x="357" y="256"/>
                </a:cubicBezTo>
                <a:cubicBezTo>
                  <a:pt x="373" y="256"/>
                  <a:pt x="386" y="243"/>
                  <a:pt x="386" y="226"/>
                </a:cubicBezTo>
                <a:cubicBezTo>
                  <a:pt x="386" y="211"/>
                  <a:pt x="386" y="211"/>
                  <a:pt x="386" y="211"/>
                </a:cubicBezTo>
                <a:cubicBezTo>
                  <a:pt x="386" y="195"/>
                  <a:pt x="373" y="182"/>
                  <a:pt x="357" y="182"/>
                </a:cubicBezTo>
                <a:close/>
                <a:moveTo>
                  <a:pt x="372" y="226"/>
                </a:moveTo>
                <a:cubicBezTo>
                  <a:pt x="372" y="235"/>
                  <a:pt x="366" y="242"/>
                  <a:pt x="357" y="242"/>
                </a:cubicBezTo>
                <a:cubicBezTo>
                  <a:pt x="317" y="242"/>
                  <a:pt x="317" y="242"/>
                  <a:pt x="317" y="242"/>
                </a:cubicBezTo>
                <a:cubicBezTo>
                  <a:pt x="309" y="242"/>
                  <a:pt x="302" y="235"/>
                  <a:pt x="302" y="226"/>
                </a:cubicBezTo>
                <a:cubicBezTo>
                  <a:pt x="302" y="211"/>
                  <a:pt x="302" y="211"/>
                  <a:pt x="302" y="211"/>
                </a:cubicBezTo>
                <a:cubicBezTo>
                  <a:pt x="302" y="203"/>
                  <a:pt x="309" y="196"/>
                  <a:pt x="317" y="196"/>
                </a:cubicBezTo>
                <a:cubicBezTo>
                  <a:pt x="357" y="196"/>
                  <a:pt x="357" y="196"/>
                  <a:pt x="357" y="196"/>
                </a:cubicBezTo>
                <a:cubicBezTo>
                  <a:pt x="366" y="196"/>
                  <a:pt x="372" y="203"/>
                  <a:pt x="372" y="211"/>
                </a:cubicBezTo>
                <a:lnTo>
                  <a:pt x="372" y="226"/>
                </a:lnTo>
                <a:close/>
                <a:moveTo>
                  <a:pt x="119" y="279"/>
                </a:moveTo>
                <a:cubicBezTo>
                  <a:pt x="79" y="279"/>
                  <a:pt x="79" y="279"/>
                  <a:pt x="79" y="279"/>
                </a:cubicBezTo>
                <a:cubicBezTo>
                  <a:pt x="63" y="279"/>
                  <a:pt x="50" y="292"/>
                  <a:pt x="50" y="308"/>
                </a:cubicBezTo>
                <a:cubicBezTo>
                  <a:pt x="50" y="323"/>
                  <a:pt x="50" y="323"/>
                  <a:pt x="50" y="323"/>
                </a:cubicBezTo>
                <a:cubicBezTo>
                  <a:pt x="50" y="339"/>
                  <a:pt x="63" y="353"/>
                  <a:pt x="79" y="353"/>
                </a:cubicBezTo>
                <a:cubicBezTo>
                  <a:pt x="119" y="353"/>
                  <a:pt x="119" y="353"/>
                  <a:pt x="119" y="353"/>
                </a:cubicBezTo>
                <a:cubicBezTo>
                  <a:pt x="135" y="353"/>
                  <a:pt x="148" y="339"/>
                  <a:pt x="148" y="323"/>
                </a:cubicBezTo>
                <a:cubicBezTo>
                  <a:pt x="148" y="308"/>
                  <a:pt x="148" y="308"/>
                  <a:pt x="148" y="308"/>
                </a:cubicBezTo>
                <a:cubicBezTo>
                  <a:pt x="148" y="292"/>
                  <a:pt x="135" y="279"/>
                  <a:pt x="119" y="279"/>
                </a:cubicBezTo>
                <a:close/>
                <a:moveTo>
                  <a:pt x="134" y="323"/>
                </a:moveTo>
                <a:cubicBezTo>
                  <a:pt x="134" y="332"/>
                  <a:pt x="127" y="339"/>
                  <a:pt x="119" y="339"/>
                </a:cubicBezTo>
                <a:cubicBezTo>
                  <a:pt x="79" y="339"/>
                  <a:pt x="79" y="339"/>
                  <a:pt x="79" y="339"/>
                </a:cubicBezTo>
                <a:cubicBezTo>
                  <a:pt x="70" y="339"/>
                  <a:pt x="64" y="332"/>
                  <a:pt x="64" y="323"/>
                </a:cubicBezTo>
                <a:cubicBezTo>
                  <a:pt x="64" y="308"/>
                  <a:pt x="64" y="308"/>
                  <a:pt x="64" y="308"/>
                </a:cubicBezTo>
                <a:cubicBezTo>
                  <a:pt x="64" y="300"/>
                  <a:pt x="70" y="293"/>
                  <a:pt x="79" y="293"/>
                </a:cubicBezTo>
                <a:cubicBezTo>
                  <a:pt x="119" y="293"/>
                  <a:pt x="119" y="293"/>
                  <a:pt x="119" y="293"/>
                </a:cubicBezTo>
                <a:cubicBezTo>
                  <a:pt x="127" y="293"/>
                  <a:pt x="134" y="300"/>
                  <a:pt x="134" y="308"/>
                </a:cubicBezTo>
                <a:lnTo>
                  <a:pt x="134" y="323"/>
                </a:lnTo>
                <a:close/>
                <a:moveTo>
                  <a:pt x="238" y="279"/>
                </a:moveTo>
                <a:cubicBezTo>
                  <a:pt x="198" y="279"/>
                  <a:pt x="198" y="279"/>
                  <a:pt x="198" y="279"/>
                </a:cubicBezTo>
                <a:cubicBezTo>
                  <a:pt x="182" y="279"/>
                  <a:pt x="169" y="292"/>
                  <a:pt x="169" y="308"/>
                </a:cubicBezTo>
                <a:cubicBezTo>
                  <a:pt x="169" y="323"/>
                  <a:pt x="169" y="323"/>
                  <a:pt x="169" y="323"/>
                </a:cubicBezTo>
                <a:cubicBezTo>
                  <a:pt x="169" y="339"/>
                  <a:pt x="182" y="353"/>
                  <a:pt x="198" y="353"/>
                </a:cubicBezTo>
                <a:cubicBezTo>
                  <a:pt x="238" y="353"/>
                  <a:pt x="238" y="353"/>
                  <a:pt x="238" y="353"/>
                </a:cubicBezTo>
                <a:cubicBezTo>
                  <a:pt x="254" y="353"/>
                  <a:pt x="267" y="339"/>
                  <a:pt x="267" y="323"/>
                </a:cubicBezTo>
                <a:cubicBezTo>
                  <a:pt x="267" y="308"/>
                  <a:pt x="267" y="308"/>
                  <a:pt x="267" y="308"/>
                </a:cubicBezTo>
                <a:cubicBezTo>
                  <a:pt x="267" y="292"/>
                  <a:pt x="254" y="279"/>
                  <a:pt x="238" y="279"/>
                </a:cubicBezTo>
                <a:close/>
                <a:moveTo>
                  <a:pt x="253" y="323"/>
                </a:moveTo>
                <a:cubicBezTo>
                  <a:pt x="253" y="332"/>
                  <a:pt x="246" y="339"/>
                  <a:pt x="238" y="339"/>
                </a:cubicBezTo>
                <a:cubicBezTo>
                  <a:pt x="198" y="339"/>
                  <a:pt x="198" y="339"/>
                  <a:pt x="198" y="339"/>
                </a:cubicBezTo>
                <a:cubicBezTo>
                  <a:pt x="190" y="339"/>
                  <a:pt x="183" y="332"/>
                  <a:pt x="183" y="323"/>
                </a:cubicBezTo>
                <a:cubicBezTo>
                  <a:pt x="183" y="308"/>
                  <a:pt x="183" y="308"/>
                  <a:pt x="183" y="308"/>
                </a:cubicBezTo>
                <a:cubicBezTo>
                  <a:pt x="183" y="300"/>
                  <a:pt x="190" y="293"/>
                  <a:pt x="198" y="293"/>
                </a:cubicBezTo>
                <a:cubicBezTo>
                  <a:pt x="238" y="293"/>
                  <a:pt x="238" y="293"/>
                  <a:pt x="238" y="293"/>
                </a:cubicBezTo>
                <a:cubicBezTo>
                  <a:pt x="246" y="293"/>
                  <a:pt x="253" y="300"/>
                  <a:pt x="253" y="308"/>
                </a:cubicBezTo>
                <a:lnTo>
                  <a:pt x="253" y="323"/>
                </a:lnTo>
                <a:close/>
                <a:moveTo>
                  <a:pt x="357" y="279"/>
                </a:moveTo>
                <a:cubicBezTo>
                  <a:pt x="317" y="279"/>
                  <a:pt x="317" y="279"/>
                  <a:pt x="317" y="279"/>
                </a:cubicBezTo>
                <a:cubicBezTo>
                  <a:pt x="301" y="279"/>
                  <a:pt x="288" y="292"/>
                  <a:pt x="288" y="308"/>
                </a:cubicBezTo>
                <a:cubicBezTo>
                  <a:pt x="288" y="323"/>
                  <a:pt x="288" y="323"/>
                  <a:pt x="288" y="323"/>
                </a:cubicBezTo>
                <a:cubicBezTo>
                  <a:pt x="288" y="339"/>
                  <a:pt x="301" y="353"/>
                  <a:pt x="317" y="353"/>
                </a:cubicBezTo>
                <a:cubicBezTo>
                  <a:pt x="357" y="353"/>
                  <a:pt x="357" y="353"/>
                  <a:pt x="357" y="353"/>
                </a:cubicBezTo>
                <a:cubicBezTo>
                  <a:pt x="373" y="353"/>
                  <a:pt x="386" y="339"/>
                  <a:pt x="386" y="323"/>
                </a:cubicBezTo>
                <a:cubicBezTo>
                  <a:pt x="386" y="308"/>
                  <a:pt x="386" y="308"/>
                  <a:pt x="386" y="308"/>
                </a:cubicBezTo>
                <a:cubicBezTo>
                  <a:pt x="386" y="292"/>
                  <a:pt x="373" y="279"/>
                  <a:pt x="357" y="279"/>
                </a:cubicBezTo>
                <a:close/>
                <a:moveTo>
                  <a:pt x="372" y="323"/>
                </a:moveTo>
                <a:cubicBezTo>
                  <a:pt x="372" y="332"/>
                  <a:pt x="366" y="339"/>
                  <a:pt x="357" y="339"/>
                </a:cubicBezTo>
                <a:cubicBezTo>
                  <a:pt x="317" y="339"/>
                  <a:pt x="317" y="339"/>
                  <a:pt x="317" y="339"/>
                </a:cubicBezTo>
                <a:cubicBezTo>
                  <a:pt x="309" y="339"/>
                  <a:pt x="302" y="332"/>
                  <a:pt x="302" y="323"/>
                </a:cubicBezTo>
                <a:cubicBezTo>
                  <a:pt x="302" y="308"/>
                  <a:pt x="302" y="308"/>
                  <a:pt x="302" y="308"/>
                </a:cubicBezTo>
                <a:cubicBezTo>
                  <a:pt x="302" y="300"/>
                  <a:pt x="309" y="293"/>
                  <a:pt x="317" y="293"/>
                </a:cubicBezTo>
                <a:cubicBezTo>
                  <a:pt x="357" y="293"/>
                  <a:pt x="357" y="293"/>
                  <a:pt x="357" y="293"/>
                </a:cubicBezTo>
                <a:cubicBezTo>
                  <a:pt x="366" y="293"/>
                  <a:pt x="372" y="300"/>
                  <a:pt x="372" y="308"/>
                </a:cubicBezTo>
                <a:lnTo>
                  <a:pt x="372" y="323"/>
                </a:lnTo>
                <a:close/>
                <a:moveTo>
                  <a:pt x="119" y="376"/>
                </a:moveTo>
                <a:cubicBezTo>
                  <a:pt x="79" y="376"/>
                  <a:pt x="79" y="376"/>
                  <a:pt x="79" y="376"/>
                </a:cubicBezTo>
                <a:cubicBezTo>
                  <a:pt x="63" y="376"/>
                  <a:pt x="50" y="389"/>
                  <a:pt x="50" y="405"/>
                </a:cubicBezTo>
                <a:cubicBezTo>
                  <a:pt x="50" y="420"/>
                  <a:pt x="50" y="420"/>
                  <a:pt x="50" y="420"/>
                </a:cubicBezTo>
                <a:cubicBezTo>
                  <a:pt x="50" y="436"/>
                  <a:pt x="63" y="449"/>
                  <a:pt x="79" y="449"/>
                </a:cubicBezTo>
                <a:cubicBezTo>
                  <a:pt x="119" y="449"/>
                  <a:pt x="119" y="449"/>
                  <a:pt x="119" y="449"/>
                </a:cubicBezTo>
                <a:cubicBezTo>
                  <a:pt x="135" y="449"/>
                  <a:pt x="148" y="436"/>
                  <a:pt x="148" y="420"/>
                </a:cubicBezTo>
                <a:cubicBezTo>
                  <a:pt x="148" y="405"/>
                  <a:pt x="148" y="405"/>
                  <a:pt x="148" y="405"/>
                </a:cubicBezTo>
                <a:cubicBezTo>
                  <a:pt x="148" y="389"/>
                  <a:pt x="135" y="376"/>
                  <a:pt x="119" y="376"/>
                </a:cubicBezTo>
                <a:close/>
                <a:moveTo>
                  <a:pt x="134" y="420"/>
                </a:moveTo>
                <a:cubicBezTo>
                  <a:pt x="134" y="429"/>
                  <a:pt x="127" y="435"/>
                  <a:pt x="119" y="435"/>
                </a:cubicBezTo>
                <a:cubicBezTo>
                  <a:pt x="79" y="435"/>
                  <a:pt x="79" y="435"/>
                  <a:pt x="79" y="435"/>
                </a:cubicBezTo>
                <a:cubicBezTo>
                  <a:pt x="70" y="435"/>
                  <a:pt x="64" y="429"/>
                  <a:pt x="64" y="420"/>
                </a:cubicBezTo>
                <a:cubicBezTo>
                  <a:pt x="64" y="405"/>
                  <a:pt x="64" y="405"/>
                  <a:pt x="64" y="405"/>
                </a:cubicBezTo>
                <a:cubicBezTo>
                  <a:pt x="64" y="397"/>
                  <a:pt x="70" y="390"/>
                  <a:pt x="79" y="390"/>
                </a:cubicBezTo>
                <a:cubicBezTo>
                  <a:pt x="119" y="390"/>
                  <a:pt x="119" y="390"/>
                  <a:pt x="119" y="390"/>
                </a:cubicBezTo>
                <a:cubicBezTo>
                  <a:pt x="127" y="390"/>
                  <a:pt x="134" y="397"/>
                  <a:pt x="134" y="405"/>
                </a:cubicBezTo>
                <a:lnTo>
                  <a:pt x="134" y="420"/>
                </a:lnTo>
                <a:close/>
                <a:moveTo>
                  <a:pt x="238" y="376"/>
                </a:moveTo>
                <a:cubicBezTo>
                  <a:pt x="198" y="376"/>
                  <a:pt x="198" y="376"/>
                  <a:pt x="198" y="376"/>
                </a:cubicBezTo>
                <a:cubicBezTo>
                  <a:pt x="182" y="376"/>
                  <a:pt x="169" y="389"/>
                  <a:pt x="169" y="405"/>
                </a:cubicBezTo>
                <a:cubicBezTo>
                  <a:pt x="169" y="420"/>
                  <a:pt x="169" y="420"/>
                  <a:pt x="169" y="420"/>
                </a:cubicBezTo>
                <a:cubicBezTo>
                  <a:pt x="169" y="436"/>
                  <a:pt x="182" y="449"/>
                  <a:pt x="198" y="449"/>
                </a:cubicBezTo>
                <a:cubicBezTo>
                  <a:pt x="238" y="449"/>
                  <a:pt x="238" y="449"/>
                  <a:pt x="238" y="449"/>
                </a:cubicBezTo>
                <a:cubicBezTo>
                  <a:pt x="254" y="449"/>
                  <a:pt x="267" y="436"/>
                  <a:pt x="267" y="420"/>
                </a:cubicBezTo>
                <a:cubicBezTo>
                  <a:pt x="267" y="405"/>
                  <a:pt x="267" y="405"/>
                  <a:pt x="267" y="405"/>
                </a:cubicBezTo>
                <a:cubicBezTo>
                  <a:pt x="267" y="389"/>
                  <a:pt x="254" y="376"/>
                  <a:pt x="238" y="376"/>
                </a:cubicBezTo>
                <a:close/>
                <a:moveTo>
                  <a:pt x="253" y="420"/>
                </a:moveTo>
                <a:cubicBezTo>
                  <a:pt x="253" y="429"/>
                  <a:pt x="246" y="435"/>
                  <a:pt x="238" y="435"/>
                </a:cubicBezTo>
                <a:cubicBezTo>
                  <a:pt x="198" y="435"/>
                  <a:pt x="198" y="435"/>
                  <a:pt x="198" y="435"/>
                </a:cubicBezTo>
                <a:cubicBezTo>
                  <a:pt x="190" y="435"/>
                  <a:pt x="183" y="429"/>
                  <a:pt x="183" y="420"/>
                </a:cubicBezTo>
                <a:cubicBezTo>
                  <a:pt x="183" y="405"/>
                  <a:pt x="183" y="405"/>
                  <a:pt x="183" y="405"/>
                </a:cubicBezTo>
                <a:cubicBezTo>
                  <a:pt x="183" y="397"/>
                  <a:pt x="190" y="390"/>
                  <a:pt x="198" y="390"/>
                </a:cubicBezTo>
                <a:cubicBezTo>
                  <a:pt x="238" y="390"/>
                  <a:pt x="238" y="390"/>
                  <a:pt x="238" y="390"/>
                </a:cubicBezTo>
                <a:cubicBezTo>
                  <a:pt x="246" y="390"/>
                  <a:pt x="253" y="397"/>
                  <a:pt x="253" y="405"/>
                </a:cubicBezTo>
                <a:lnTo>
                  <a:pt x="253" y="420"/>
                </a:lnTo>
                <a:close/>
                <a:moveTo>
                  <a:pt x="357" y="376"/>
                </a:moveTo>
                <a:cubicBezTo>
                  <a:pt x="317" y="376"/>
                  <a:pt x="317" y="376"/>
                  <a:pt x="317" y="376"/>
                </a:cubicBezTo>
                <a:cubicBezTo>
                  <a:pt x="301" y="376"/>
                  <a:pt x="288" y="389"/>
                  <a:pt x="288" y="405"/>
                </a:cubicBezTo>
                <a:cubicBezTo>
                  <a:pt x="288" y="420"/>
                  <a:pt x="288" y="420"/>
                  <a:pt x="288" y="420"/>
                </a:cubicBezTo>
                <a:cubicBezTo>
                  <a:pt x="288" y="436"/>
                  <a:pt x="301" y="449"/>
                  <a:pt x="317" y="449"/>
                </a:cubicBezTo>
                <a:cubicBezTo>
                  <a:pt x="357" y="449"/>
                  <a:pt x="357" y="449"/>
                  <a:pt x="357" y="449"/>
                </a:cubicBezTo>
                <a:cubicBezTo>
                  <a:pt x="373" y="449"/>
                  <a:pt x="386" y="436"/>
                  <a:pt x="386" y="420"/>
                </a:cubicBezTo>
                <a:cubicBezTo>
                  <a:pt x="386" y="405"/>
                  <a:pt x="386" y="405"/>
                  <a:pt x="386" y="405"/>
                </a:cubicBezTo>
                <a:cubicBezTo>
                  <a:pt x="386" y="389"/>
                  <a:pt x="373" y="376"/>
                  <a:pt x="357" y="376"/>
                </a:cubicBezTo>
                <a:close/>
                <a:moveTo>
                  <a:pt x="372" y="420"/>
                </a:moveTo>
                <a:cubicBezTo>
                  <a:pt x="372" y="429"/>
                  <a:pt x="366" y="435"/>
                  <a:pt x="357" y="435"/>
                </a:cubicBezTo>
                <a:cubicBezTo>
                  <a:pt x="317" y="435"/>
                  <a:pt x="317" y="435"/>
                  <a:pt x="317" y="435"/>
                </a:cubicBezTo>
                <a:cubicBezTo>
                  <a:pt x="309" y="435"/>
                  <a:pt x="302" y="429"/>
                  <a:pt x="302" y="420"/>
                </a:cubicBezTo>
                <a:cubicBezTo>
                  <a:pt x="302" y="405"/>
                  <a:pt x="302" y="405"/>
                  <a:pt x="302" y="405"/>
                </a:cubicBezTo>
                <a:cubicBezTo>
                  <a:pt x="302" y="397"/>
                  <a:pt x="309" y="390"/>
                  <a:pt x="317" y="390"/>
                </a:cubicBezTo>
                <a:cubicBezTo>
                  <a:pt x="357" y="390"/>
                  <a:pt x="357" y="390"/>
                  <a:pt x="357" y="390"/>
                </a:cubicBezTo>
                <a:cubicBezTo>
                  <a:pt x="366" y="390"/>
                  <a:pt x="372" y="397"/>
                  <a:pt x="372" y="405"/>
                </a:cubicBezTo>
                <a:lnTo>
                  <a:pt x="372" y="420"/>
                </a:lnTo>
                <a:close/>
                <a:moveTo>
                  <a:pt x="322" y="543"/>
                </a:moveTo>
                <a:cubicBezTo>
                  <a:pt x="318" y="543"/>
                  <a:pt x="315" y="547"/>
                  <a:pt x="315" y="550"/>
                </a:cubicBezTo>
                <a:cubicBezTo>
                  <a:pt x="315" y="619"/>
                  <a:pt x="315" y="619"/>
                  <a:pt x="315" y="619"/>
                </a:cubicBezTo>
                <a:cubicBezTo>
                  <a:pt x="315" y="635"/>
                  <a:pt x="302" y="649"/>
                  <a:pt x="286" y="649"/>
                </a:cubicBezTo>
                <a:cubicBezTo>
                  <a:pt x="267" y="649"/>
                  <a:pt x="267" y="649"/>
                  <a:pt x="267" y="649"/>
                </a:cubicBezTo>
                <a:cubicBezTo>
                  <a:pt x="267" y="550"/>
                  <a:pt x="267" y="550"/>
                  <a:pt x="267" y="550"/>
                </a:cubicBezTo>
                <a:cubicBezTo>
                  <a:pt x="267" y="547"/>
                  <a:pt x="264" y="543"/>
                  <a:pt x="260" y="543"/>
                </a:cubicBezTo>
                <a:cubicBezTo>
                  <a:pt x="194" y="543"/>
                  <a:pt x="194" y="543"/>
                  <a:pt x="194" y="543"/>
                </a:cubicBezTo>
                <a:cubicBezTo>
                  <a:pt x="191" y="543"/>
                  <a:pt x="187" y="547"/>
                  <a:pt x="187" y="550"/>
                </a:cubicBezTo>
                <a:cubicBezTo>
                  <a:pt x="187" y="649"/>
                  <a:pt x="187" y="649"/>
                  <a:pt x="187" y="649"/>
                </a:cubicBezTo>
                <a:cubicBezTo>
                  <a:pt x="103" y="649"/>
                  <a:pt x="103" y="649"/>
                  <a:pt x="103" y="649"/>
                </a:cubicBezTo>
                <a:cubicBezTo>
                  <a:pt x="87" y="649"/>
                  <a:pt x="74" y="635"/>
                  <a:pt x="74" y="619"/>
                </a:cubicBezTo>
                <a:cubicBezTo>
                  <a:pt x="74" y="550"/>
                  <a:pt x="74" y="550"/>
                  <a:pt x="74" y="550"/>
                </a:cubicBezTo>
                <a:cubicBezTo>
                  <a:pt x="74" y="547"/>
                  <a:pt x="71" y="543"/>
                  <a:pt x="67" y="543"/>
                </a:cubicBezTo>
                <a:cubicBezTo>
                  <a:pt x="63" y="543"/>
                  <a:pt x="60" y="547"/>
                  <a:pt x="60" y="550"/>
                </a:cubicBezTo>
                <a:cubicBezTo>
                  <a:pt x="60" y="619"/>
                  <a:pt x="60" y="619"/>
                  <a:pt x="60" y="619"/>
                </a:cubicBezTo>
                <a:cubicBezTo>
                  <a:pt x="60" y="643"/>
                  <a:pt x="79" y="663"/>
                  <a:pt x="103" y="663"/>
                </a:cubicBezTo>
                <a:cubicBezTo>
                  <a:pt x="286" y="663"/>
                  <a:pt x="286" y="663"/>
                  <a:pt x="286" y="663"/>
                </a:cubicBezTo>
                <a:cubicBezTo>
                  <a:pt x="310" y="663"/>
                  <a:pt x="329" y="643"/>
                  <a:pt x="329" y="619"/>
                </a:cubicBezTo>
                <a:cubicBezTo>
                  <a:pt x="329" y="550"/>
                  <a:pt x="329" y="550"/>
                  <a:pt x="329" y="550"/>
                </a:cubicBezTo>
                <a:cubicBezTo>
                  <a:pt x="329" y="547"/>
                  <a:pt x="326" y="543"/>
                  <a:pt x="322" y="543"/>
                </a:cubicBezTo>
                <a:close/>
                <a:moveTo>
                  <a:pt x="201" y="557"/>
                </a:moveTo>
                <a:cubicBezTo>
                  <a:pt x="253" y="557"/>
                  <a:pt x="253" y="557"/>
                  <a:pt x="253" y="557"/>
                </a:cubicBezTo>
                <a:cubicBezTo>
                  <a:pt x="253" y="649"/>
                  <a:pt x="253" y="649"/>
                  <a:pt x="253" y="649"/>
                </a:cubicBezTo>
                <a:cubicBezTo>
                  <a:pt x="201" y="649"/>
                  <a:pt x="201" y="649"/>
                  <a:pt x="201" y="649"/>
                </a:cubicBezTo>
                <a:lnTo>
                  <a:pt x="201" y="557"/>
                </a:lnTo>
                <a:close/>
                <a:moveTo>
                  <a:pt x="479" y="195"/>
                </a:moveTo>
                <a:cubicBezTo>
                  <a:pt x="479" y="464"/>
                  <a:pt x="479" y="464"/>
                  <a:pt x="479" y="464"/>
                </a:cubicBezTo>
                <a:cubicBezTo>
                  <a:pt x="479" y="468"/>
                  <a:pt x="476" y="471"/>
                  <a:pt x="472" y="471"/>
                </a:cubicBezTo>
                <a:cubicBezTo>
                  <a:pt x="469" y="471"/>
                  <a:pt x="465" y="468"/>
                  <a:pt x="465" y="464"/>
                </a:cubicBezTo>
                <a:cubicBezTo>
                  <a:pt x="465" y="195"/>
                  <a:pt x="465" y="195"/>
                  <a:pt x="465" y="195"/>
                </a:cubicBezTo>
                <a:cubicBezTo>
                  <a:pt x="465" y="191"/>
                  <a:pt x="469" y="188"/>
                  <a:pt x="472" y="188"/>
                </a:cubicBezTo>
                <a:cubicBezTo>
                  <a:pt x="476" y="188"/>
                  <a:pt x="479" y="191"/>
                  <a:pt x="479" y="19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5" name="Oval 24"/>
          <p:cNvSpPr>
            <a:spLocks noChangeArrowheads="1"/>
          </p:cNvSpPr>
          <p:nvPr/>
        </p:nvSpPr>
        <p:spPr bwMode="auto">
          <a:xfrm>
            <a:off x="7430588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53" name="Freeform 120"/>
          <p:cNvSpPr>
            <a:spLocks noEditPoints="1"/>
          </p:cNvSpPr>
          <p:nvPr/>
        </p:nvSpPr>
        <p:spPr bwMode="auto">
          <a:xfrm>
            <a:off x="7625806" y="2467034"/>
            <a:ext cx="431629" cy="432949"/>
          </a:xfrm>
          <a:custGeom>
            <a:avLst/>
            <a:gdLst>
              <a:gd name="T0" fmla="*/ 498 w 558"/>
              <a:gd name="T1" fmla="*/ 298 h 559"/>
              <a:gd name="T2" fmla="*/ 488 w 558"/>
              <a:gd name="T3" fmla="*/ 288 h 559"/>
              <a:gd name="T4" fmla="*/ 452 w 558"/>
              <a:gd name="T5" fmla="*/ 217 h 559"/>
              <a:gd name="T6" fmla="*/ 554 w 558"/>
              <a:gd name="T7" fmla="*/ 113 h 559"/>
              <a:gd name="T8" fmla="*/ 450 w 558"/>
              <a:gd name="T9" fmla="*/ 6 h 559"/>
              <a:gd name="T10" fmla="*/ 343 w 558"/>
              <a:gd name="T11" fmla="*/ 103 h 559"/>
              <a:gd name="T12" fmla="*/ 290 w 558"/>
              <a:gd name="T13" fmla="*/ 61 h 559"/>
              <a:gd name="T14" fmla="*/ 326 w 558"/>
              <a:gd name="T15" fmla="*/ 106 h 559"/>
              <a:gd name="T16" fmla="*/ 113 w 558"/>
              <a:gd name="T17" fmla="*/ 0 h 559"/>
              <a:gd name="T18" fmla="*/ 97 w 558"/>
              <a:gd name="T19" fmla="*/ 224 h 559"/>
              <a:gd name="T20" fmla="*/ 61 w 558"/>
              <a:gd name="T21" fmla="*/ 270 h 559"/>
              <a:gd name="T22" fmla="*/ 106 w 558"/>
              <a:gd name="T23" fmla="*/ 235 h 559"/>
              <a:gd name="T24" fmla="*/ 7 w 558"/>
              <a:gd name="T25" fmla="*/ 334 h 559"/>
              <a:gd name="T26" fmla="*/ 0 w 558"/>
              <a:gd name="T27" fmla="*/ 552 h 559"/>
              <a:gd name="T28" fmla="*/ 219 w 558"/>
              <a:gd name="T29" fmla="*/ 559 h 559"/>
              <a:gd name="T30" fmla="*/ 226 w 558"/>
              <a:gd name="T31" fmla="*/ 341 h 559"/>
              <a:gd name="T32" fmla="*/ 120 w 558"/>
              <a:gd name="T33" fmla="*/ 334 h 559"/>
              <a:gd name="T34" fmla="*/ 155 w 558"/>
              <a:gd name="T35" fmla="*/ 270 h 559"/>
              <a:gd name="T36" fmla="*/ 165 w 558"/>
              <a:gd name="T37" fmla="*/ 270 h 559"/>
              <a:gd name="T38" fmla="*/ 129 w 558"/>
              <a:gd name="T39" fmla="*/ 224 h 559"/>
              <a:gd name="T40" fmla="*/ 326 w 558"/>
              <a:gd name="T41" fmla="*/ 120 h 559"/>
              <a:gd name="T42" fmla="*/ 290 w 558"/>
              <a:gd name="T43" fmla="*/ 165 h 559"/>
              <a:gd name="T44" fmla="*/ 300 w 558"/>
              <a:gd name="T45" fmla="*/ 165 h 559"/>
              <a:gd name="T46" fmla="*/ 438 w 558"/>
              <a:gd name="T47" fmla="*/ 217 h 559"/>
              <a:gd name="T48" fmla="*/ 403 w 558"/>
              <a:gd name="T49" fmla="*/ 288 h 559"/>
              <a:gd name="T50" fmla="*/ 393 w 558"/>
              <a:gd name="T51" fmla="*/ 298 h 559"/>
              <a:gd name="T52" fmla="*/ 333 w 558"/>
              <a:gd name="T53" fmla="*/ 446 h 559"/>
              <a:gd name="T54" fmla="*/ 558 w 558"/>
              <a:gd name="T55" fmla="*/ 446 h 559"/>
              <a:gd name="T56" fmla="*/ 212 w 558"/>
              <a:gd name="T57" fmla="*/ 545 h 559"/>
              <a:gd name="T58" fmla="*/ 14 w 558"/>
              <a:gd name="T59" fmla="*/ 348 h 559"/>
              <a:gd name="T60" fmla="*/ 212 w 558"/>
              <a:gd name="T61" fmla="*/ 545 h 559"/>
              <a:gd name="T62" fmla="*/ 113 w 558"/>
              <a:gd name="T63" fmla="*/ 211 h 559"/>
              <a:gd name="T64" fmla="*/ 14 w 558"/>
              <a:gd name="T65" fmla="*/ 113 h 559"/>
              <a:gd name="T66" fmla="*/ 212 w 558"/>
              <a:gd name="T67" fmla="*/ 113 h 559"/>
              <a:gd name="T68" fmla="*/ 445 w 558"/>
              <a:gd name="T69" fmla="*/ 21 h 559"/>
              <a:gd name="T70" fmla="*/ 445 w 558"/>
              <a:gd name="T71" fmla="*/ 204 h 559"/>
              <a:gd name="T72" fmla="*/ 445 w 558"/>
              <a:gd name="T73" fmla="*/ 21 h 559"/>
              <a:gd name="T74" fmla="*/ 347 w 558"/>
              <a:gd name="T75" fmla="*/ 446 h 559"/>
              <a:gd name="T76" fmla="*/ 544 w 558"/>
              <a:gd name="T77" fmla="*/ 446 h 5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58" h="559">
                <a:moveTo>
                  <a:pt x="461" y="335"/>
                </a:moveTo>
                <a:cubicBezTo>
                  <a:pt x="498" y="298"/>
                  <a:pt x="498" y="298"/>
                  <a:pt x="498" y="298"/>
                </a:cubicBezTo>
                <a:cubicBezTo>
                  <a:pt x="500" y="295"/>
                  <a:pt x="500" y="291"/>
                  <a:pt x="498" y="288"/>
                </a:cubicBezTo>
                <a:cubicBezTo>
                  <a:pt x="495" y="285"/>
                  <a:pt x="490" y="285"/>
                  <a:pt x="488" y="288"/>
                </a:cubicBezTo>
                <a:cubicBezTo>
                  <a:pt x="452" y="323"/>
                  <a:pt x="452" y="323"/>
                  <a:pt x="452" y="323"/>
                </a:cubicBezTo>
                <a:cubicBezTo>
                  <a:pt x="452" y="217"/>
                  <a:pt x="452" y="217"/>
                  <a:pt x="452" y="217"/>
                </a:cubicBezTo>
                <a:cubicBezTo>
                  <a:pt x="552" y="118"/>
                  <a:pt x="552" y="118"/>
                  <a:pt x="552" y="118"/>
                </a:cubicBezTo>
                <a:cubicBezTo>
                  <a:pt x="553" y="116"/>
                  <a:pt x="554" y="115"/>
                  <a:pt x="554" y="113"/>
                </a:cubicBezTo>
                <a:cubicBezTo>
                  <a:pt x="554" y="111"/>
                  <a:pt x="553" y="109"/>
                  <a:pt x="552" y="108"/>
                </a:cubicBezTo>
                <a:cubicBezTo>
                  <a:pt x="450" y="6"/>
                  <a:pt x="450" y="6"/>
                  <a:pt x="450" y="6"/>
                </a:cubicBezTo>
                <a:cubicBezTo>
                  <a:pt x="448" y="4"/>
                  <a:pt x="443" y="4"/>
                  <a:pt x="440" y="6"/>
                </a:cubicBezTo>
                <a:cubicBezTo>
                  <a:pt x="343" y="103"/>
                  <a:pt x="343" y="103"/>
                  <a:pt x="343" y="103"/>
                </a:cubicBezTo>
                <a:cubicBezTo>
                  <a:pt x="300" y="61"/>
                  <a:pt x="300" y="61"/>
                  <a:pt x="300" y="61"/>
                </a:cubicBezTo>
                <a:cubicBezTo>
                  <a:pt x="297" y="58"/>
                  <a:pt x="293" y="58"/>
                  <a:pt x="290" y="61"/>
                </a:cubicBezTo>
                <a:cubicBezTo>
                  <a:pt x="288" y="63"/>
                  <a:pt x="288" y="68"/>
                  <a:pt x="290" y="70"/>
                </a:cubicBezTo>
                <a:cubicBezTo>
                  <a:pt x="326" y="106"/>
                  <a:pt x="326" y="106"/>
                  <a:pt x="326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2" y="47"/>
                  <a:pt x="173" y="0"/>
                  <a:pt x="113" y="0"/>
                </a:cubicBezTo>
                <a:cubicBezTo>
                  <a:pt x="51" y="0"/>
                  <a:pt x="0" y="51"/>
                  <a:pt x="0" y="113"/>
                </a:cubicBezTo>
                <a:cubicBezTo>
                  <a:pt x="0" y="169"/>
                  <a:pt x="42" y="217"/>
                  <a:pt x="97" y="224"/>
                </a:cubicBezTo>
                <a:cubicBezTo>
                  <a:pt x="61" y="260"/>
                  <a:pt x="61" y="260"/>
                  <a:pt x="61" y="260"/>
                </a:cubicBezTo>
                <a:cubicBezTo>
                  <a:pt x="58" y="263"/>
                  <a:pt x="58" y="268"/>
                  <a:pt x="61" y="270"/>
                </a:cubicBezTo>
                <a:cubicBezTo>
                  <a:pt x="63" y="273"/>
                  <a:pt x="68" y="273"/>
                  <a:pt x="71" y="270"/>
                </a:cubicBezTo>
                <a:cubicBezTo>
                  <a:pt x="106" y="235"/>
                  <a:pt x="106" y="235"/>
                  <a:pt x="106" y="235"/>
                </a:cubicBezTo>
                <a:cubicBezTo>
                  <a:pt x="106" y="334"/>
                  <a:pt x="106" y="334"/>
                  <a:pt x="106" y="334"/>
                </a:cubicBezTo>
                <a:cubicBezTo>
                  <a:pt x="7" y="334"/>
                  <a:pt x="7" y="334"/>
                  <a:pt x="7" y="334"/>
                </a:cubicBezTo>
                <a:cubicBezTo>
                  <a:pt x="3" y="334"/>
                  <a:pt x="0" y="337"/>
                  <a:pt x="0" y="341"/>
                </a:cubicBezTo>
                <a:cubicBezTo>
                  <a:pt x="0" y="552"/>
                  <a:pt x="0" y="552"/>
                  <a:pt x="0" y="552"/>
                </a:cubicBezTo>
                <a:cubicBezTo>
                  <a:pt x="0" y="556"/>
                  <a:pt x="3" y="559"/>
                  <a:pt x="7" y="559"/>
                </a:cubicBezTo>
                <a:cubicBezTo>
                  <a:pt x="219" y="559"/>
                  <a:pt x="219" y="559"/>
                  <a:pt x="219" y="559"/>
                </a:cubicBezTo>
                <a:cubicBezTo>
                  <a:pt x="223" y="559"/>
                  <a:pt x="226" y="556"/>
                  <a:pt x="226" y="552"/>
                </a:cubicBezTo>
                <a:cubicBezTo>
                  <a:pt x="226" y="341"/>
                  <a:pt x="226" y="341"/>
                  <a:pt x="226" y="341"/>
                </a:cubicBezTo>
                <a:cubicBezTo>
                  <a:pt x="226" y="337"/>
                  <a:pt x="223" y="334"/>
                  <a:pt x="219" y="334"/>
                </a:cubicBezTo>
                <a:cubicBezTo>
                  <a:pt x="120" y="334"/>
                  <a:pt x="120" y="334"/>
                  <a:pt x="120" y="334"/>
                </a:cubicBezTo>
                <a:cubicBezTo>
                  <a:pt x="120" y="235"/>
                  <a:pt x="120" y="235"/>
                  <a:pt x="120" y="235"/>
                </a:cubicBezTo>
                <a:cubicBezTo>
                  <a:pt x="155" y="270"/>
                  <a:pt x="155" y="270"/>
                  <a:pt x="155" y="270"/>
                </a:cubicBezTo>
                <a:cubicBezTo>
                  <a:pt x="157" y="272"/>
                  <a:pt x="158" y="272"/>
                  <a:pt x="160" y="272"/>
                </a:cubicBezTo>
                <a:cubicBezTo>
                  <a:pt x="162" y="272"/>
                  <a:pt x="164" y="272"/>
                  <a:pt x="165" y="270"/>
                </a:cubicBezTo>
                <a:cubicBezTo>
                  <a:pt x="168" y="268"/>
                  <a:pt x="168" y="263"/>
                  <a:pt x="165" y="260"/>
                </a:cubicBezTo>
                <a:cubicBezTo>
                  <a:pt x="129" y="224"/>
                  <a:pt x="129" y="224"/>
                  <a:pt x="129" y="224"/>
                </a:cubicBezTo>
                <a:cubicBezTo>
                  <a:pt x="181" y="217"/>
                  <a:pt x="222" y="173"/>
                  <a:pt x="225" y="120"/>
                </a:cubicBezTo>
                <a:cubicBezTo>
                  <a:pt x="326" y="120"/>
                  <a:pt x="326" y="120"/>
                  <a:pt x="326" y="120"/>
                </a:cubicBezTo>
                <a:cubicBezTo>
                  <a:pt x="290" y="155"/>
                  <a:pt x="290" y="155"/>
                  <a:pt x="290" y="155"/>
                </a:cubicBezTo>
                <a:cubicBezTo>
                  <a:pt x="288" y="158"/>
                  <a:pt x="288" y="162"/>
                  <a:pt x="290" y="165"/>
                </a:cubicBezTo>
                <a:cubicBezTo>
                  <a:pt x="292" y="166"/>
                  <a:pt x="293" y="167"/>
                  <a:pt x="295" y="167"/>
                </a:cubicBezTo>
                <a:cubicBezTo>
                  <a:pt x="297" y="167"/>
                  <a:pt x="299" y="166"/>
                  <a:pt x="300" y="165"/>
                </a:cubicBezTo>
                <a:cubicBezTo>
                  <a:pt x="343" y="122"/>
                  <a:pt x="343" y="122"/>
                  <a:pt x="343" y="122"/>
                </a:cubicBezTo>
                <a:cubicBezTo>
                  <a:pt x="438" y="217"/>
                  <a:pt x="438" y="217"/>
                  <a:pt x="438" y="217"/>
                </a:cubicBezTo>
                <a:cubicBezTo>
                  <a:pt x="438" y="323"/>
                  <a:pt x="438" y="323"/>
                  <a:pt x="438" y="323"/>
                </a:cubicBezTo>
                <a:cubicBezTo>
                  <a:pt x="403" y="288"/>
                  <a:pt x="403" y="288"/>
                  <a:pt x="403" y="288"/>
                </a:cubicBezTo>
                <a:cubicBezTo>
                  <a:pt x="400" y="285"/>
                  <a:pt x="396" y="285"/>
                  <a:pt x="393" y="288"/>
                </a:cubicBezTo>
                <a:cubicBezTo>
                  <a:pt x="390" y="291"/>
                  <a:pt x="390" y="295"/>
                  <a:pt x="393" y="298"/>
                </a:cubicBezTo>
                <a:cubicBezTo>
                  <a:pt x="430" y="335"/>
                  <a:pt x="430" y="335"/>
                  <a:pt x="430" y="335"/>
                </a:cubicBezTo>
                <a:cubicBezTo>
                  <a:pt x="375" y="342"/>
                  <a:pt x="333" y="389"/>
                  <a:pt x="333" y="446"/>
                </a:cubicBezTo>
                <a:cubicBezTo>
                  <a:pt x="333" y="508"/>
                  <a:pt x="383" y="559"/>
                  <a:pt x="445" y="559"/>
                </a:cubicBezTo>
                <a:cubicBezTo>
                  <a:pt x="508" y="559"/>
                  <a:pt x="558" y="508"/>
                  <a:pt x="558" y="446"/>
                </a:cubicBezTo>
                <a:cubicBezTo>
                  <a:pt x="558" y="389"/>
                  <a:pt x="516" y="342"/>
                  <a:pt x="461" y="335"/>
                </a:cubicBezTo>
                <a:close/>
                <a:moveTo>
                  <a:pt x="212" y="545"/>
                </a:moveTo>
                <a:cubicBezTo>
                  <a:pt x="14" y="545"/>
                  <a:pt x="14" y="545"/>
                  <a:pt x="14" y="545"/>
                </a:cubicBezTo>
                <a:cubicBezTo>
                  <a:pt x="14" y="348"/>
                  <a:pt x="14" y="348"/>
                  <a:pt x="14" y="348"/>
                </a:cubicBezTo>
                <a:cubicBezTo>
                  <a:pt x="212" y="348"/>
                  <a:pt x="212" y="348"/>
                  <a:pt x="212" y="348"/>
                </a:cubicBezTo>
                <a:lnTo>
                  <a:pt x="212" y="545"/>
                </a:lnTo>
                <a:close/>
                <a:moveTo>
                  <a:pt x="116" y="211"/>
                </a:moveTo>
                <a:cubicBezTo>
                  <a:pt x="115" y="211"/>
                  <a:pt x="114" y="211"/>
                  <a:pt x="113" y="211"/>
                </a:cubicBezTo>
                <a:cubicBezTo>
                  <a:pt x="112" y="211"/>
                  <a:pt x="111" y="211"/>
                  <a:pt x="110" y="211"/>
                </a:cubicBezTo>
                <a:cubicBezTo>
                  <a:pt x="57" y="210"/>
                  <a:pt x="14" y="166"/>
                  <a:pt x="14" y="113"/>
                </a:cubicBezTo>
                <a:cubicBezTo>
                  <a:pt x="14" y="58"/>
                  <a:pt x="58" y="14"/>
                  <a:pt x="113" y="14"/>
                </a:cubicBezTo>
                <a:cubicBezTo>
                  <a:pt x="167" y="14"/>
                  <a:pt x="212" y="58"/>
                  <a:pt x="212" y="113"/>
                </a:cubicBezTo>
                <a:cubicBezTo>
                  <a:pt x="212" y="166"/>
                  <a:pt x="169" y="210"/>
                  <a:pt x="116" y="211"/>
                </a:cubicBezTo>
                <a:close/>
                <a:moveTo>
                  <a:pt x="445" y="21"/>
                </a:moveTo>
                <a:cubicBezTo>
                  <a:pt x="537" y="113"/>
                  <a:pt x="537" y="113"/>
                  <a:pt x="537" y="113"/>
                </a:cubicBezTo>
                <a:cubicBezTo>
                  <a:pt x="445" y="204"/>
                  <a:pt x="445" y="204"/>
                  <a:pt x="445" y="204"/>
                </a:cubicBezTo>
                <a:cubicBezTo>
                  <a:pt x="354" y="113"/>
                  <a:pt x="354" y="113"/>
                  <a:pt x="354" y="113"/>
                </a:cubicBezTo>
                <a:lnTo>
                  <a:pt x="445" y="21"/>
                </a:lnTo>
                <a:close/>
                <a:moveTo>
                  <a:pt x="445" y="545"/>
                </a:moveTo>
                <a:cubicBezTo>
                  <a:pt x="391" y="545"/>
                  <a:pt x="347" y="501"/>
                  <a:pt x="347" y="446"/>
                </a:cubicBezTo>
                <a:cubicBezTo>
                  <a:pt x="347" y="392"/>
                  <a:pt x="391" y="348"/>
                  <a:pt x="445" y="348"/>
                </a:cubicBezTo>
                <a:cubicBezTo>
                  <a:pt x="500" y="348"/>
                  <a:pt x="544" y="392"/>
                  <a:pt x="544" y="446"/>
                </a:cubicBezTo>
                <a:cubicBezTo>
                  <a:pt x="544" y="501"/>
                  <a:pt x="500" y="545"/>
                  <a:pt x="445" y="54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6" name="Oval 25"/>
          <p:cNvSpPr>
            <a:spLocks noChangeArrowheads="1"/>
          </p:cNvSpPr>
          <p:nvPr/>
        </p:nvSpPr>
        <p:spPr bwMode="auto">
          <a:xfrm>
            <a:off x="6137845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54" name="Freeform 121"/>
          <p:cNvSpPr>
            <a:spLocks noEditPoints="1"/>
          </p:cNvSpPr>
          <p:nvPr/>
        </p:nvSpPr>
        <p:spPr bwMode="auto">
          <a:xfrm>
            <a:off x="6331272" y="2469718"/>
            <a:ext cx="437002" cy="436526"/>
          </a:xfrm>
          <a:custGeom>
            <a:avLst/>
            <a:gdLst>
              <a:gd name="T0" fmla="*/ 7 w 564"/>
              <a:gd name="T1" fmla="*/ 564 h 564"/>
              <a:gd name="T2" fmla="*/ 0 w 564"/>
              <a:gd name="T3" fmla="*/ 7 h 564"/>
              <a:gd name="T4" fmla="*/ 14 w 564"/>
              <a:gd name="T5" fmla="*/ 7 h 564"/>
              <a:gd name="T6" fmla="*/ 557 w 564"/>
              <a:gd name="T7" fmla="*/ 550 h 564"/>
              <a:gd name="T8" fmla="*/ 557 w 564"/>
              <a:gd name="T9" fmla="*/ 564 h 564"/>
              <a:gd name="T10" fmla="*/ 107 w 564"/>
              <a:gd name="T11" fmla="*/ 373 h 564"/>
              <a:gd name="T12" fmla="*/ 107 w 564"/>
              <a:gd name="T13" fmla="*/ 456 h 564"/>
              <a:gd name="T14" fmla="*/ 134 w 564"/>
              <a:gd name="T15" fmla="*/ 414 h 564"/>
              <a:gd name="T16" fmla="*/ 79 w 564"/>
              <a:gd name="T17" fmla="*/ 414 h 564"/>
              <a:gd name="T18" fmla="*/ 134 w 564"/>
              <a:gd name="T19" fmla="*/ 414 h 564"/>
              <a:gd name="T20" fmla="*/ 467 w 564"/>
              <a:gd name="T21" fmla="*/ 289 h 564"/>
              <a:gd name="T22" fmla="*/ 467 w 564"/>
              <a:gd name="T23" fmla="*/ 373 h 564"/>
              <a:gd name="T24" fmla="*/ 495 w 564"/>
              <a:gd name="T25" fmla="*/ 331 h 564"/>
              <a:gd name="T26" fmla="*/ 439 w 564"/>
              <a:gd name="T27" fmla="*/ 331 h 564"/>
              <a:gd name="T28" fmla="*/ 495 w 564"/>
              <a:gd name="T29" fmla="*/ 331 h 564"/>
              <a:gd name="T30" fmla="*/ 308 w 564"/>
              <a:gd name="T31" fmla="*/ 92 h 564"/>
              <a:gd name="T32" fmla="*/ 308 w 564"/>
              <a:gd name="T33" fmla="*/ 175 h 564"/>
              <a:gd name="T34" fmla="*/ 336 w 564"/>
              <a:gd name="T35" fmla="*/ 134 h 564"/>
              <a:gd name="T36" fmla="*/ 281 w 564"/>
              <a:gd name="T37" fmla="*/ 134 h 564"/>
              <a:gd name="T38" fmla="*/ 336 w 564"/>
              <a:gd name="T39" fmla="*/ 134 h 564"/>
              <a:gd name="T40" fmla="*/ 188 w 564"/>
              <a:gd name="T41" fmla="*/ 338 h 564"/>
              <a:gd name="T42" fmla="*/ 188 w 564"/>
              <a:gd name="T43" fmla="*/ 421 h 564"/>
              <a:gd name="T44" fmla="*/ 215 w 564"/>
              <a:gd name="T45" fmla="*/ 380 h 564"/>
              <a:gd name="T46" fmla="*/ 160 w 564"/>
              <a:gd name="T47" fmla="*/ 380 h 564"/>
              <a:gd name="T48" fmla="*/ 215 w 564"/>
              <a:gd name="T49" fmla="*/ 380 h 564"/>
              <a:gd name="T50" fmla="*/ 408 w 564"/>
              <a:gd name="T51" fmla="*/ 39 h 564"/>
              <a:gd name="T52" fmla="*/ 408 w 564"/>
              <a:gd name="T53" fmla="*/ 122 h 564"/>
              <a:gd name="T54" fmla="*/ 436 w 564"/>
              <a:gd name="T55" fmla="*/ 80 h 564"/>
              <a:gd name="T56" fmla="*/ 380 w 564"/>
              <a:gd name="T57" fmla="*/ 80 h 564"/>
              <a:gd name="T58" fmla="*/ 436 w 564"/>
              <a:gd name="T59" fmla="*/ 80 h 564"/>
              <a:gd name="T60" fmla="*/ 336 w 564"/>
              <a:gd name="T61" fmla="*/ 307 h 564"/>
              <a:gd name="T62" fmla="*/ 336 w 564"/>
              <a:gd name="T63" fmla="*/ 452 h 564"/>
              <a:gd name="T64" fmla="*/ 395 w 564"/>
              <a:gd name="T65" fmla="*/ 380 h 564"/>
              <a:gd name="T66" fmla="*/ 278 w 564"/>
              <a:gd name="T67" fmla="*/ 380 h 564"/>
              <a:gd name="T68" fmla="*/ 395 w 564"/>
              <a:gd name="T69" fmla="*/ 380 h 564"/>
              <a:gd name="T70" fmla="*/ 253 w 564"/>
              <a:gd name="T71" fmla="*/ 172 h 564"/>
              <a:gd name="T72" fmla="*/ 253 w 564"/>
              <a:gd name="T73" fmla="*/ 317 h 564"/>
              <a:gd name="T74" fmla="*/ 312 w 564"/>
              <a:gd name="T75" fmla="*/ 245 h 564"/>
              <a:gd name="T76" fmla="*/ 195 w 564"/>
              <a:gd name="T77" fmla="*/ 245 h 564"/>
              <a:gd name="T78" fmla="*/ 312 w 564"/>
              <a:gd name="T79" fmla="*/ 245 h 564"/>
              <a:gd name="T80" fmla="*/ 467 w 564"/>
              <a:gd name="T81" fmla="*/ 127 h 564"/>
              <a:gd name="T82" fmla="*/ 467 w 564"/>
              <a:gd name="T83" fmla="*/ 272 h 564"/>
              <a:gd name="T84" fmla="*/ 526 w 564"/>
              <a:gd name="T85" fmla="*/ 199 h 564"/>
              <a:gd name="T86" fmla="*/ 409 w 564"/>
              <a:gd name="T87" fmla="*/ 199 h 564"/>
              <a:gd name="T88" fmla="*/ 526 w 564"/>
              <a:gd name="T89" fmla="*/ 199 h 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64" h="564">
                <a:moveTo>
                  <a:pt x="557" y="564"/>
                </a:moveTo>
                <a:cubicBezTo>
                  <a:pt x="7" y="564"/>
                  <a:pt x="7" y="564"/>
                  <a:pt x="7" y="564"/>
                </a:cubicBezTo>
                <a:cubicBezTo>
                  <a:pt x="3" y="564"/>
                  <a:pt x="0" y="561"/>
                  <a:pt x="0" y="557"/>
                </a:cubicBezTo>
                <a:cubicBezTo>
                  <a:pt x="0" y="7"/>
                  <a:pt x="0" y="7"/>
                  <a:pt x="0" y="7"/>
                </a:cubicBezTo>
                <a:cubicBezTo>
                  <a:pt x="0" y="3"/>
                  <a:pt x="3" y="0"/>
                  <a:pt x="7" y="0"/>
                </a:cubicBezTo>
                <a:cubicBezTo>
                  <a:pt x="11" y="0"/>
                  <a:pt x="14" y="3"/>
                  <a:pt x="14" y="7"/>
                </a:cubicBezTo>
                <a:cubicBezTo>
                  <a:pt x="14" y="550"/>
                  <a:pt x="14" y="550"/>
                  <a:pt x="14" y="550"/>
                </a:cubicBezTo>
                <a:cubicBezTo>
                  <a:pt x="557" y="550"/>
                  <a:pt x="557" y="550"/>
                  <a:pt x="557" y="550"/>
                </a:cubicBezTo>
                <a:cubicBezTo>
                  <a:pt x="561" y="550"/>
                  <a:pt x="564" y="553"/>
                  <a:pt x="564" y="557"/>
                </a:cubicBezTo>
                <a:cubicBezTo>
                  <a:pt x="564" y="561"/>
                  <a:pt x="561" y="564"/>
                  <a:pt x="557" y="564"/>
                </a:cubicBezTo>
                <a:close/>
                <a:moveTo>
                  <a:pt x="148" y="414"/>
                </a:moveTo>
                <a:cubicBezTo>
                  <a:pt x="148" y="391"/>
                  <a:pt x="130" y="373"/>
                  <a:pt x="107" y="373"/>
                </a:cubicBezTo>
                <a:cubicBezTo>
                  <a:pt x="84" y="373"/>
                  <a:pt x="65" y="391"/>
                  <a:pt x="65" y="414"/>
                </a:cubicBezTo>
                <a:cubicBezTo>
                  <a:pt x="65" y="437"/>
                  <a:pt x="84" y="456"/>
                  <a:pt x="107" y="456"/>
                </a:cubicBezTo>
                <a:cubicBezTo>
                  <a:pt x="130" y="456"/>
                  <a:pt x="148" y="437"/>
                  <a:pt x="148" y="414"/>
                </a:cubicBezTo>
                <a:close/>
                <a:moveTo>
                  <a:pt x="134" y="414"/>
                </a:moveTo>
                <a:cubicBezTo>
                  <a:pt x="134" y="430"/>
                  <a:pt x="122" y="442"/>
                  <a:pt x="107" y="442"/>
                </a:cubicBezTo>
                <a:cubicBezTo>
                  <a:pt x="91" y="442"/>
                  <a:pt x="79" y="430"/>
                  <a:pt x="79" y="414"/>
                </a:cubicBezTo>
                <a:cubicBezTo>
                  <a:pt x="79" y="399"/>
                  <a:pt x="91" y="387"/>
                  <a:pt x="107" y="387"/>
                </a:cubicBezTo>
                <a:cubicBezTo>
                  <a:pt x="122" y="387"/>
                  <a:pt x="134" y="399"/>
                  <a:pt x="134" y="414"/>
                </a:cubicBezTo>
                <a:close/>
                <a:moveTo>
                  <a:pt x="509" y="331"/>
                </a:moveTo>
                <a:cubicBezTo>
                  <a:pt x="509" y="308"/>
                  <a:pt x="490" y="289"/>
                  <a:pt x="467" y="289"/>
                </a:cubicBezTo>
                <a:cubicBezTo>
                  <a:pt x="444" y="289"/>
                  <a:pt x="425" y="308"/>
                  <a:pt x="425" y="331"/>
                </a:cubicBezTo>
                <a:cubicBezTo>
                  <a:pt x="425" y="354"/>
                  <a:pt x="444" y="373"/>
                  <a:pt x="467" y="373"/>
                </a:cubicBezTo>
                <a:cubicBezTo>
                  <a:pt x="490" y="373"/>
                  <a:pt x="509" y="354"/>
                  <a:pt x="509" y="331"/>
                </a:cubicBezTo>
                <a:close/>
                <a:moveTo>
                  <a:pt x="495" y="331"/>
                </a:moveTo>
                <a:cubicBezTo>
                  <a:pt x="495" y="346"/>
                  <a:pt x="482" y="359"/>
                  <a:pt x="467" y="359"/>
                </a:cubicBezTo>
                <a:cubicBezTo>
                  <a:pt x="452" y="359"/>
                  <a:pt x="439" y="346"/>
                  <a:pt x="439" y="331"/>
                </a:cubicBezTo>
                <a:cubicBezTo>
                  <a:pt x="439" y="316"/>
                  <a:pt x="452" y="303"/>
                  <a:pt x="467" y="303"/>
                </a:cubicBezTo>
                <a:cubicBezTo>
                  <a:pt x="482" y="303"/>
                  <a:pt x="495" y="316"/>
                  <a:pt x="495" y="331"/>
                </a:cubicBezTo>
                <a:close/>
                <a:moveTo>
                  <a:pt x="350" y="134"/>
                </a:moveTo>
                <a:cubicBezTo>
                  <a:pt x="350" y="111"/>
                  <a:pt x="331" y="92"/>
                  <a:pt x="308" y="92"/>
                </a:cubicBezTo>
                <a:cubicBezTo>
                  <a:pt x="285" y="92"/>
                  <a:pt x="267" y="111"/>
                  <a:pt x="267" y="134"/>
                </a:cubicBezTo>
                <a:cubicBezTo>
                  <a:pt x="267" y="157"/>
                  <a:pt x="285" y="175"/>
                  <a:pt x="308" y="175"/>
                </a:cubicBezTo>
                <a:cubicBezTo>
                  <a:pt x="331" y="175"/>
                  <a:pt x="350" y="157"/>
                  <a:pt x="350" y="134"/>
                </a:cubicBezTo>
                <a:close/>
                <a:moveTo>
                  <a:pt x="336" y="134"/>
                </a:moveTo>
                <a:cubicBezTo>
                  <a:pt x="336" y="149"/>
                  <a:pt x="324" y="161"/>
                  <a:pt x="308" y="161"/>
                </a:cubicBezTo>
                <a:cubicBezTo>
                  <a:pt x="293" y="161"/>
                  <a:pt x="281" y="149"/>
                  <a:pt x="281" y="134"/>
                </a:cubicBezTo>
                <a:cubicBezTo>
                  <a:pt x="281" y="118"/>
                  <a:pt x="293" y="106"/>
                  <a:pt x="308" y="106"/>
                </a:cubicBezTo>
                <a:cubicBezTo>
                  <a:pt x="324" y="106"/>
                  <a:pt x="336" y="118"/>
                  <a:pt x="336" y="134"/>
                </a:cubicBezTo>
                <a:close/>
                <a:moveTo>
                  <a:pt x="229" y="380"/>
                </a:moveTo>
                <a:cubicBezTo>
                  <a:pt x="229" y="357"/>
                  <a:pt x="211" y="338"/>
                  <a:pt x="188" y="338"/>
                </a:cubicBezTo>
                <a:cubicBezTo>
                  <a:pt x="165" y="338"/>
                  <a:pt x="146" y="357"/>
                  <a:pt x="146" y="380"/>
                </a:cubicBezTo>
                <a:cubicBezTo>
                  <a:pt x="146" y="403"/>
                  <a:pt x="165" y="421"/>
                  <a:pt x="188" y="421"/>
                </a:cubicBezTo>
                <a:cubicBezTo>
                  <a:pt x="211" y="421"/>
                  <a:pt x="229" y="403"/>
                  <a:pt x="229" y="380"/>
                </a:cubicBezTo>
                <a:close/>
                <a:moveTo>
                  <a:pt x="215" y="380"/>
                </a:moveTo>
                <a:cubicBezTo>
                  <a:pt x="215" y="395"/>
                  <a:pt x="203" y="407"/>
                  <a:pt x="188" y="407"/>
                </a:cubicBezTo>
                <a:cubicBezTo>
                  <a:pt x="172" y="407"/>
                  <a:pt x="160" y="395"/>
                  <a:pt x="160" y="380"/>
                </a:cubicBezTo>
                <a:cubicBezTo>
                  <a:pt x="160" y="364"/>
                  <a:pt x="172" y="352"/>
                  <a:pt x="188" y="352"/>
                </a:cubicBezTo>
                <a:cubicBezTo>
                  <a:pt x="203" y="352"/>
                  <a:pt x="215" y="364"/>
                  <a:pt x="215" y="380"/>
                </a:cubicBezTo>
                <a:close/>
                <a:moveTo>
                  <a:pt x="450" y="80"/>
                </a:moveTo>
                <a:cubicBezTo>
                  <a:pt x="450" y="57"/>
                  <a:pt x="431" y="39"/>
                  <a:pt x="408" y="39"/>
                </a:cubicBezTo>
                <a:cubicBezTo>
                  <a:pt x="385" y="39"/>
                  <a:pt x="366" y="57"/>
                  <a:pt x="366" y="80"/>
                </a:cubicBezTo>
                <a:cubicBezTo>
                  <a:pt x="366" y="103"/>
                  <a:pt x="385" y="122"/>
                  <a:pt x="408" y="122"/>
                </a:cubicBezTo>
                <a:cubicBezTo>
                  <a:pt x="431" y="122"/>
                  <a:pt x="450" y="103"/>
                  <a:pt x="450" y="80"/>
                </a:cubicBezTo>
                <a:close/>
                <a:moveTo>
                  <a:pt x="436" y="80"/>
                </a:moveTo>
                <a:cubicBezTo>
                  <a:pt x="436" y="96"/>
                  <a:pt x="423" y="108"/>
                  <a:pt x="408" y="108"/>
                </a:cubicBezTo>
                <a:cubicBezTo>
                  <a:pt x="393" y="108"/>
                  <a:pt x="380" y="96"/>
                  <a:pt x="380" y="80"/>
                </a:cubicBezTo>
                <a:cubicBezTo>
                  <a:pt x="380" y="65"/>
                  <a:pt x="393" y="53"/>
                  <a:pt x="408" y="53"/>
                </a:cubicBezTo>
                <a:cubicBezTo>
                  <a:pt x="423" y="53"/>
                  <a:pt x="436" y="65"/>
                  <a:pt x="436" y="80"/>
                </a:cubicBezTo>
                <a:close/>
                <a:moveTo>
                  <a:pt x="409" y="380"/>
                </a:moveTo>
                <a:cubicBezTo>
                  <a:pt x="409" y="340"/>
                  <a:pt x="376" y="307"/>
                  <a:pt x="336" y="307"/>
                </a:cubicBezTo>
                <a:cubicBezTo>
                  <a:pt x="296" y="307"/>
                  <a:pt x="264" y="340"/>
                  <a:pt x="264" y="380"/>
                </a:cubicBezTo>
                <a:cubicBezTo>
                  <a:pt x="264" y="420"/>
                  <a:pt x="296" y="452"/>
                  <a:pt x="336" y="452"/>
                </a:cubicBezTo>
                <a:cubicBezTo>
                  <a:pt x="376" y="452"/>
                  <a:pt x="409" y="420"/>
                  <a:pt x="409" y="380"/>
                </a:cubicBezTo>
                <a:close/>
                <a:moveTo>
                  <a:pt x="395" y="380"/>
                </a:moveTo>
                <a:cubicBezTo>
                  <a:pt x="395" y="412"/>
                  <a:pt x="369" y="438"/>
                  <a:pt x="336" y="438"/>
                </a:cubicBezTo>
                <a:cubicBezTo>
                  <a:pt x="304" y="438"/>
                  <a:pt x="278" y="412"/>
                  <a:pt x="278" y="380"/>
                </a:cubicBezTo>
                <a:cubicBezTo>
                  <a:pt x="278" y="347"/>
                  <a:pt x="304" y="321"/>
                  <a:pt x="336" y="321"/>
                </a:cubicBezTo>
                <a:cubicBezTo>
                  <a:pt x="369" y="321"/>
                  <a:pt x="395" y="347"/>
                  <a:pt x="395" y="380"/>
                </a:cubicBezTo>
                <a:close/>
                <a:moveTo>
                  <a:pt x="326" y="245"/>
                </a:moveTo>
                <a:cubicBezTo>
                  <a:pt x="326" y="205"/>
                  <a:pt x="293" y="172"/>
                  <a:pt x="253" y="172"/>
                </a:cubicBezTo>
                <a:cubicBezTo>
                  <a:pt x="213" y="172"/>
                  <a:pt x="181" y="205"/>
                  <a:pt x="181" y="245"/>
                </a:cubicBezTo>
                <a:cubicBezTo>
                  <a:pt x="181" y="285"/>
                  <a:pt x="213" y="317"/>
                  <a:pt x="253" y="317"/>
                </a:cubicBezTo>
                <a:cubicBezTo>
                  <a:pt x="293" y="317"/>
                  <a:pt x="326" y="285"/>
                  <a:pt x="326" y="245"/>
                </a:cubicBezTo>
                <a:close/>
                <a:moveTo>
                  <a:pt x="312" y="245"/>
                </a:moveTo>
                <a:cubicBezTo>
                  <a:pt x="312" y="277"/>
                  <a:pt x="285" y="303"/>
                  <a:pt x="253" y="303"/>
                </a:cubicBezTo>
                <a:cubicBezTo>
                  <a:pt x="221" y="303"/>
                  <a:pt x="195" y="277"/>
                  <a:pt x="195" y="245"/>
                </a:cubicBezTo>
                <a:cubicBezTo>
                  <a:pt x="195" y="212"/>
                  <a:pt x="221" y="186"/>
                  <a:pt x="253" y="186"/>
                </a:cubicBezTo>
                <a:cubicBezTo>
                  <a:pt x="285" y="186"/>
                  <a:pt x="312" y="212"/>
                  <a:pt x="312" y="245"/>
                </a:cubicBezTo>
                <a:close/>
                <a:moveTo>
                  <a:pt x="540" y="199"/>
                </a:moveTo>
                <a:cubicBezTo>
                  <a:pt x="540" y="159"/>
                  <a:pt x="507" y="127"/>
                  <a:pt x="467" y="127"/>
                </a:cubicBezTo>
                <a:cubicBezTo>
                  <a:pt x="427" y="127"/>
                  <a:pt x="395" y="159"/>
                  <a:pt x="395" y="199"/>
                </a:cubicBezTo>
                <a:cubicBezTo>
                  <a:pt x="395" y="239"/>
                  <a:pt x="427" y="272"/>
                  <a:pt x="467" y="272"/>
                </a:cubicBezTo>
                <a:cubicBezTo>
                  <a:pt x="507" y="272"/>
                  <a:pt x="540" y="239"/>
                  <a:pt x="540" y="199"/>
                </a:cubicBezTo>
                <a:close/>
                <a:moveTo>
                  <a:pt x="526" y="199"/>
                </a:moveTo>
                <a:cubicBezTo>
                  <a:pt x="526" y="231"/>
                  <a:pt x="499" y="258"/>
                  <a:pt x="467" y="258"/>
                </a:cubicBezTo>
                <a:cubicBezTo>
                  <a:pt x="435" y="258"/>
                  <a:pt x="409" y="231"/>
                  <a:pt x="409" y="199"/>
                </a:cubicBezTo>
                <a:cubicBezTo>
                  <a:pt x="409" y="167"/>
                  <a:pt x="435" y="141"/>
                  <a:pt x="467" y="141"/>
                </a:cubicBezTo>
                <a:cubicBezTo>
                  <a:pt x="499" y="141"/>
                  <a:pt x="526" y="167"/>
                  <a:pt x="526" y="1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0" name="Oval 19"/>
          <p:cNvSpPr>
            <a:spLocks noChangeArrowheads="1"/>
          </p:cNvSpPr>
          <p:nvPr/>
        </p:nvSpPr>
        <p:spPr bwMode="auto">
          <a:xfrm>
            <a:off x="966871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55" name="Freeform 122"/>
          <p:cNvSpPr>
            <a:spLocks noEditPoints="1"/>
          </p:cNvSpPr>
          <p:nvPr/>
        </p:nvSpPr>
        <p:spPr bwMode="auto">
          <a:xfrm>
            <a:off x="1129932" y="3631576"/>
            <a:ext cx="438793" cy="489304"/>
          </a:xfrm>
          <a:custGeom>
            <a:avLst/>
            <a:gdLst>
              <a:gd name="T0" fmla="*/ 566 w 566"/>
              <a:gd name="T1" fmla="*/ 128 h 632"/>
              <a:gd name="T2" fmla="*/ 438 w 566"/>
              <a:gd name="T3" fmla="*/ 0 h 632"/>
              <a:gd name="T4" fmla="*/ 390 w 566"/>
              <a:gd name="T5" fmla="*/ 60 h 632"/>
              <a:gd name="T6" fmla="*/ 347 w 566"/>
              <a:gd name="T7" fmla="*/ 148 h 632"/>
              <a:gd name="T8" fmla="*/ 219 w 566"/>
              <a:gd name="T9" fmla="*/ 87 h 632"/>
              <a:gd name="T10" fmla="*/ 176 w 566"/>
              <a:gd name="T11" fmla="*/ 148 h 632"/>
              <a:gd name="T12" fmla="*/ 135 w 566"/>
              <a:gd name="T13" fmla="*/ 309 h 632"/>
              <a:gd name="T14" fmla="*/ 7 w 566"/>
              <a:gd name="T15" fmla="*/ 249 h 632"/>
              <a:gd name="T16" fmla="*/ 7 w 566"/>
              <a:gd name="T17" fmla="*/ 384 h 632"/>
              <a:gd name="T18" fmla="*/ 135 w 566"/>
              <a:gd name="T19" fmla="*/ 323 h 632"/>
              <a:gd name="T20" fmla="*/ 176 w 566"/>
              <a:gd name="T21" fmla="*/ 485 h 632"/>
              <a:gd name="T22" fmla="*/ 219 w 566"/>
              <a:gd name="T23" fmla="*/ 545 h 632"/>
              <a:gd name="T24" fmla="*/ 347 w 566"/>
              <a:gd name="T25" fmla="*/ 485 h 632"/>
              <a:gd name="T26" fmla="*/ 390 w 566"/>
              <a:gd name="T27" fmla="*/ 572 h 632"/>
              <a:gd name="T28" fmla="*/ 438 w 566"/>
              <a:gd name="T29" fmla="*/ 632 h 632"/>
              <a:gd name="T30" fmla="*/ 566 w 566"/>
              <a:gd name="T31" fmla="*/ 504 h 632"/>
              <a:gd name="T32" fmla="*/ 431 w 566"/>
              <a:gd name="T33" fmla="*/ 504 h 632"/>
              <a:gd name="T34" fmla="*/ 397 w 566"/>
              <a:gd name="T35" fmla="*/ 406 h 632"/>
              <a:gd name="T36" fmla="*/ 438 w 566"/>
              <a:gd name="T37" fmla="*/ 466 h 632"/>
              <a:gd name="T38" fmla="*/ 566 w 566"/>
              <a:gd name="T39" fmla="*/ 338 h 632"/>
              <a:gd name="T40" fmla="*/ 431 w 566"/>
              <a:gd name="T41" fmla="*/ 338 h 632"/>
              <a:gd name="T42" fmla="*/ 383 w 566"/>
              <a:gd name="T43" fmla="*/ 399 h 632"/>
              <a:gd name="T44" fmla="*/ 347 w 566"/>
              <a:gd name="T45" fmla="*/ 417 h 632"/>
              <a:gd name="T46" fmla="*/ 212 w 566"/>
              <a:gd name="T47" fmla="*/ 417 h 632"/>
              <a:gd name="T48" fmla="*/ 183 w 566"/>
              <a:gd name="T49" fmla="*/ 162 h 632"/>
              <a:gd name="T50" fmla="*/ 219 w 566"/>
              <a:gd name="T51" fmla="*/ 222 h 632"/>
              <a:gd name="T52" fmla="*/ 347 w 566"/>
              <a:gd name="T53" fmla="*/ 162 h 632"/>
              <a:gd name="T54" fmla="*/ 390 w 566"/>
              <a:gd name="T55" fmla="*/ 241 h 632"/>
              <a:gd name="T56" fmla="*/ 438 w 566"/>
              <a:gd name="T57" fmla="*/ 301 h 632"/>
              <a:gd name="T58" fmla="*/ 566 w 566"/>
              <a:gd name="T59" fmla="*/ 173 h 632"/>
              <a:gd name="T60" fmla="*/ 431 w 566"/>
              <a:gd name="T61" fmla="*/ 173 h 632"/>
              <a:gd name="T62" fmla="*/ 397 w 566"/>
              <a:gd name="T63" fmla="*/ 74 h 632"/>
              <a:gd name="T64" fmla="*/ 438 w 566"/>
              <a:gd name="T65" fmla="*/ 135 h 632"/>
              <a:gd name="T66" fmla="*/ 14 w 566"/>
              <a:gd name="T67" fmla="*/ 263 h 632"/>
              <a:gd name="T68" fmla="*/ 445 w 566"/>
              <a:gd name="T69" fmla="*/ 511 h 632"/>
              <a:gd name="T70" fmla="*/ 445 w 566"/>
              <a:gd name="T71" fmla="*/ 618 h 632"/>
              <a:gd name="T72" fmla="*/ 552 w 566"/>
              <a:gd name="T73" fmla="*/ 345 h 632"/>
              <a:gd name="T74" fmla="*/ 445 w 566"/>
              <a:gd name="T75" fmla="*/ 345 h 632"/>
              <a:gd name="T76" fmla="*/ 333 w 566"/>
              <a:gd name="T77" fmla="*/ 531 h 632"/>
              <a:gd name="T78" fmla="*/ 333 w 566"/>
              <a:gd name="T79" fmla="*/ 208 h 632"/>
              <a:gd name="T80" fmla="*/ 333 w 566"/>
              <a:gd name="T81" fmla="*/ 101 h 632"/>
              <a:gd name="T82" fmla="*/ 552 w 566"/>
              <a:gd name="T83" fmla="*/ 180 h 632"/>
              <a:gd name="T84" fmla="*/ 445 w 566"/>
              <a:gd name="T85" fmla="*/ 180 h 632"/>
              <a:gd name="T86" fmla="*/ 552 w 566"/>
              <a:gd name="T87" fmla="*/ 121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66" h="632">
                <a:moveTo>
                  <a:pt x="438" y="135"/>
                </a:moveTo>
                <a:cubicBezTo>
                  <a:pt x="559" y="135"/>
                  <a:pt x="559" y="135"/>
                  <a:pt x="559" y="135"/>
                </a:cubicBezTo>
                <a:cubicBezTo>
                  <a:pt x="562" y="135"/>
                  <a:pt x="566" y="132"/>
                  <a:pt x="566" y="128"/>
                </a:cubicBezTo>
                <a:cubicBezTo>
                  <a:pt x="566" y="7"/>
                  <a:pt x="566" y="7"/>
                  <a:pt x="566" y="7"/>
                </a:cubicBezTo>
                <a:cubicBezTo>
                  <a:pt x="566" y="3"/>
                  <a:pt x="562" y="0"/>
                  <a:pt x="559" y="0"/>
                </a:cubicBezTo>
                <a:cubicBezTo>
                  <a:pt x="438" y="0"/>
                  <a:pt x="438" y="0"/>
                  <a:pt x="438" y="0"/>
                </a:cubicBezTo>
                <a:cubicBezTo>
                  <a:pt x="434" y="0"/>
                  <a:pt x="431" y="3"/>
                  <a:pt x="431" y="7"/>
                </a:cubicBezTo>
                <a:cubicBezTo>
                  <a:pt x="431" y="60"/>
                  <a:pt x="431" y="60"/>
                  <a:pt x="431" y="60"/>
                </a:cubicBezTo>
                <a:cubicBezTo>
                  <a:pt x="390" y="60"/>
                  <a:pt x="390" y="60"/>
                  <a:pt x="390" y="60"/>
                </a:cubicBezTo>
                <a:cubicBezTo>
                  <a:pt x="386" y="60"/>
                  <a:pt x="383" y="63"/>
                  <a:pt x="383" y="67"/>
                </a:cubicBezTo>
                <a:cubicBezTo>
                  <a:pt x="383" y="148"/>
                  <a:pt x="383" y="148"/>
                  <a:pt x="383" y="148"/>
                </a:cubicBezTo>
                <a:cubicBezTo>
                  <a:pt x="347" y="148"/>
                  <a:pt x="347" y="148"/>
                  <a:pt x="347" y="148"/>
                </a:cubicBezTo>
                <a:cubicBezTo>
                  <a:pt x="347" y="94"/>
                  <a:pt x="347" y="94"/>
                  <a:pt x="347" y="94"/>
                </a:cubicBezTo>
                <a:cubicBezTo>
                  <a:pt x="347" y="90"/>
                  <a:pt x="344" y="87"/>
                  <a:pt x="340" y="87"/>
                </a:cubicBezTo>
                <a:cubicBezTo>
                  <a:pt x="219" y="87"/>
                  <a:pt x="219" y="87"/>
                  <a:pt x="219" y="87"/>
                </a:cubicBezTo>
                <a:cubicBezTo>
                  <a:pt x="215" y="87"/>
                  <a:pt x="212" y="90"/>
                  <a:pt x="212" y="94"/>
                </a:cubicBezTo>
                <a:cubicBezTo>
                  <a:pt x="212" y="148"/>
                  <a:pt x="212" y="148"/>
                  <a:pt x="212" y="148"/>
                </a:cubicBezTo>
                <a:cubicBezTo>
                  <a:pt x="176" y="148"/>
                  <a:pt x="176" y="148"/>
                  <a:pt x="176" y="148"/>
                </a:cubicBezTo>
                <a:cubicBezTo>
                  <a:pt x="172" y="148"/>
                  <a:pt x="169" y="151"/>
                  <a:pt x="169" y="155"/>
                </a:cubicBezTo>
                <a:cubicBezTo>
                  <a:pt x="169" y="309"/>
                  <a:pt x="169" y="309"/>
                  <a:pt x="169" y="309"/>
                </a:cubicBezTo>
                <a:cubicBezTo>
                  <a:pt x="135" y="309"/>
                  <a:pt x="135" y="309"/>
                  <a:pt x="135" y="309"/>
                </a:cubicBezTo>
                <a:cubicBezTo>
                  <a:pt x="135" y="256"/>
                  <a:pt x="135" y="256"/>
                  <a:pt x="135" y="256"/>
                </a:cubicBezTo>
                <a:cubicBezTo>
                  <a:pt x="135" y="252"/>
                  <a:pt x="132" y="249"/>
                  <a:pt x="128" y="249"/>
                </a:cubicBezTo>
                <a:cubicBezTo>
                  <a:pt x="7" y="249"/>
                  <a:pt x="7" y="249"/>
                  <a:pt x="7" y="249"/>
                </a:cubicBezTo>
                <a:cubicBezTo>
                  <a:pt x="3" y="249"/>
                  <a:pt x="0" y="252"/>
                  <a:pt x="0" y="256"/>
                </a:cubicBezTo>
                <a:cubicBezTo>
                  <a:pt x="0" y="377"/>
                  <a:pt x="0" y="377"/>
                  <a:pt x="0" y="377"/>
                </a:cubicBezTo>
                <a:cubicBezTo>
                  <a:pt x="0" y="381"/>
                  <a:pt x="3" y="384"/>
                  <a:pt x="7" y="384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32" y="384"/>
                  <a:pt x="135" y="381"/>
                  <a:pt x="135" y="377"/>
                </a:cubicBezTo>
                <a:cubicBezTo>
                  <a:pt x="135" y="323"/>
                  <a:pt x="135" y="323"/>
                  <a:pt x="135" y="323"/>
                </a:cubicBezTo>
                <a:cubicBezTo>
                  <a:pt x="169" y="323"/>
                  <a:pt x="169" y="323"/>
                  <a:pt x="169" y="323"/>
                </a:cubicBezTo>
                <a:cubicBezTo>
                  <a:pt x="169" y="478"/>
                  <a:pt x="169" y="478"/>
                  <a:pt x="169" y="478"/>
                </a:cubicBezTo>
                <a:cubicBezTo>
                  <a:pt x="169" y="481"/>
                  <a:pt x="172" y="485"/>
                  <a:pt x="176" y="485"/>
                </a:cubicBezTo>
                <a:cubicBezTo>
                  <a:pt x="212" y="485"/>
                  <a:pt x="212" y="485"/>
                  <a:pt x="212" y="485"/>
                </a:cubicBezTo>
                <a:cubicBezTo>
                  <a:pt x="212" y="538"/>
                  <a:pt x="212" y="538"/>
                  <a:pt x="212" y="538"/>
                </a:cubicBezTo>
                <a:cubicBezTo>
                  <a:pt x="212" y="542"/>
                  <a:pt x="215" y="545"/>
                  <a:pt x="219" y="545"/>
                </a:cubicBezTo>
                <a:cubicBezTo>
                  <a:pt x="340" y="545"/>
                  <a:pt x="340" y="545"/>
                  <a:pt x="340" y="545"/>
                </a:cubicBezTo>
                <a:cubicBezTo>
                  <a:pt x="344" y="545"/>
                  <a:pt x="347" y="542"/>
                  <a:pt x="347" y="538"/>
                </a:cubicBezTo>
                <a:cubicBezTo>
                  <a:pt x="347" y="485"/>
                  <a:pt x="347" y="485"/>
                  <a:pt x="347" y="485"/>
                </a:cubicBezTo>
                <a:cubicBezTo>
                  <a:pt x="383" y="485"/>
                  <a:pt x="383" y="485"/>
                  <a:pt x="383" y="485"/>
                </a:cubicBezTo>
                <a:cubicBezTo>
                  <a:pt x="383" y="565"/>
                  <a:pt x="383" y="565"/>
                  <a:pt x="383" y="565"/>
                </a:cubicBezTo>
                <a:cubicBezTo>
                  <a:pt x="383" y="569"/>
                  <a:pt x="386" y="572"/>
                  <a:pt x="390" y="572"/>
                </a:cubicBezTo>
                <a:cubicBezTo>
                  <a:pt x="431" y="572"/>
                  <a:pt x="431" y="572"/>
                  <a:pt x="431" y="572"/>
                </a:cubicBezTo>
                <a:cubicBezTo>
                  <a:pt x="431" y="625"/>
                  <a:pt x="431" y="625"/>
                  <a:pt x="431" y="625"/>
                </a:cubicBezTo>
                <a:cubicBezTo>
                  <a:pt x="431" y="629"/>
                  <a:pt x="434" y="632"/>
                  <a:pt x="438" y="632"/>
                </a:cubicBezTo>
                <a:cubicBezTo>
                  <a:pt x="559" y="632"/>
                  <a:pt x="559" y="632"/>
                  <a:pt x="559" y="632"/>
                </a:cubicBezTo>
                <a:cubicBezTo>
                  <a:pt x="562" y="632"/>
                  <a:pt x="566" y="629"/>
                  <a:pt x="566" y="625"/>
                </a:cubicBezTo>
                <a:cubicBezTo>
                  <a:pt x="566" y="504"/>
                  <a:pt x="566" y="504"/>
                  <a:pt x="566" y="504"/>
                </a:cubicBezTo>
                <a:cubicBezTo>
                  <a:pt x="566" y="500"/>
                  <a:pt x="562" y="497"/>
                  <a:pt x="559" y="497"/>
                </a:cubicBezTo>
                <a:cubicBezTo>
                  <a:pt x="438" y="497"/>
                  <a:pt x="438" y="497"/>
                  <a:pt x="438" y="497"/>
                </a:cubicBezTo>
                <a:cubicBezTo>
                  <a:pt x="434" y="497"/>
                  <a:pt x="431" y="500"/>
                  <a:pt x="431" y="504"/>
                </a:cubicBezTo>
                <a:cubicBezTo>
                  <a:pt x="431" y="558"/>
                  <a:pt x="431" y="558"/>
                  <a:pt x="431" y="558"/>
                </a:cubicBezTo>
                <a:cubicBezTo>
                  <a:pt x="397" y="558"/>
                  <a:pt x="397" y="558"/>
                  <a:pt x="397" y="558"/>
                </a:cubicBezTo>
                <a:cubicBezTo>
                  <a:pt x="397" y="406"/>
                  <a:pt x="397" y="406"/>
                  <a:pt x="397" y="406"/>
                </a:cubicBezTo>
                <a:cubicBezTo>
                  <a:pt x="431" y="406"/>
                  <a:pt x="431" y="406"/>
                  <a:pt x="431" y="406"/>
                </a:cubicBezTo>
                <a:cubicBezTo>
                  <a:pt x="431" y="459"/>
                  <a:pt x="431" y="459"/>
                  <a:pt x="431" y="459"/>
                </a:cubicBezTo>
                <a:cubicBezTo>
                  <a:pt x="431" y="463"/>
                  <a:pt x="434" y="466"/>
                  <a:pt x="438" y="466"/>
                </a:cubicBezTo>
                <a:cubicBezTo>
                  <a:pt x="559" y="466"/>
                  <a:pt x="559" y="466"/>
                  <a:pt x="559" y="466"/>
                </a:cubicBezTo>
                <a:cubicBezTo>
                  <a:pt x="562" y="466"/>
                  <a:pt x="566" y="463"/>
                  <a:pt x="566" y="459"/>
                </a:cubicBezTo>
                <a:cubicBezTo>
                  <a:pt x="566" y="338"/>
                  <a:pt x="566" y="338"/>
                  <a:pt x="566" y="338"/>
                </a:cubicBezTo>
                <a:cubicBezTo>
                  <a:pt x="566" y="335"/>
                  <a:pt x="562" y="331"/>
                  <a:pt x="559" y="331"/>
                </a:cubicBezTo>
                <a:cubicBezTo>
                  <a:pt x="438" y="331"/>
                  <a:pt x="438" y="331"/>
                  <a:pt x="438" y="331"/>
                </a:cubicBezTo>
                <a:cubicBezTo>
                  <a:pt x="434" y="331"/>
                  <a:pt x="431" y="335"/>
                  <a:pt x="431" y="338"/>
                </a:cubicBezTo>
                <a:cubicBezTo>
                  <a:pt x="431" y="392"/>
                  <a:pt x="431" y="392"/>
                  <a:pt x="431" y="392"/>
                </a:cubicBezTo>
                <a:cubicBezTo>
                  <a:pt x="390" y="392"/>
                  <a:pt x="390" y="392"/>
                  <a:pt x="390" y="392"/>
                </a:cubicBezTo>
                <a:cubicBezTo>
                  <a:pt x="386" y="392"/>
                  <a:pt x="383" y="395"/>
                  <a:pt x="383" y="399"/>
                </a:cubicBezTo>
                <a:cubicBezTo>
                  <a:pt x="383" y="471"/>
                  <a:pt x="383" y="471"/>
                  <a:pt x="383" y="471"/>
                </a:cubicBezTo>
                <a:cubicBezTo>
                  <a:pt x="347" y="471"/>
                  <a:pt x="347" y="471"/>
                  <a:pt x="347" y="471"/>
                </a:cubicBezTo>
                <a:cubicBezTo>
                  <a:pt x="347" y="417"/>
                  <a:pt x="347" y="417"/>
                  <a:pt x="347" y="417"/>
                </a:cubicBezTo>
                <a:cubicBezTo>
                  <a:pt x="347" y="413"/>
                  <a:pt x="344" y="410"/>
                  <a:pt x="340" y="410"/>
                </a:cubicBezTo>
                <a:cubicBezTo>
                  <a:pt x="219" y="410"/>
                  <a:pt x="219" y="410"/>
                  <a:pt x="219" y="410"/>
                </a:cubicBezTo>
                <a:cubicBezTo>
                  <a:pt x="215" y="410"/>
                  <a:pt x="212" y="413"/>
                  <a:pt x="212" y="417"/>
                </a:cubicBezTo>
                <a:cubicBezTo>
                  <a:pt x="212" y="471"/>
                  <a:pt x="212" y="471"/>
                  <a:pt x="212" y="471"/>
                </a:cubicBezTo>
                <a:cubicBezTo>
                  <a:pt x="183" y="471"/>
                  <a:pt x="183" y="471"/>
                  <a:pt x="183" y="471"/>
                </a:cubicBezTo>
                <a:cubicBezTo>
                  <a:pt x="183" y="162"/>
                  <a:pt x="183" y="162"/>
                  <a:pt x="183" y="162"/>
                </a:cubicBezTo>
                <a:cubicBezTo>
                  <a:pt x="212" y="162"/>
                  <a:pt x="212" y="162"/>
                  <a:pt x="212" y="162"/>
                </a:cubicBezTo>
                <a:cubicBezTo>
                  <a:pt x="212" y="215"/>
                  <a:pt x="212" y="215"/>
                  <a:pt x="212" y="215"/>
                </a:cubicBezTo>
                <a:cubicBezTo>
                  <a:pt x="212" y="219"/>
                  <a:pt x="215" y="222"/>
                  <a:pt x="219" y="222"/>
                </a:cubicBezTo>
                <a:cubicBezTo>
                  <a:pt x="340" y="222"/>
                  <a:pt x="340" y="222"/>
                  <a:pt x="340" y="222"/>
                </a:cubicBezTo>
                <a:cubicBezTo>
                  <a:pt x="344" y="222"/>
                  <a:pt x="347" y="219"/>
                  <a:pt x="347" y="215"/>
                </a:cubicBezTo>
                <a:cubicBezTo>
                  <a:pt x="347" y="162"/>
                  <a:pt x="347" y="162"/>
                  <a:pt x="347" y="162"/>
                </a:cubicBezTo>
                <a:cubicBezTo>
                  <a:pt x="383" y="162"/>
                  <a:pt x="383" y="162"/>
                  <a:pt x="383" y="162"/>
                </a:cubicBezTo>
                <a:cubicBezTo>
                  <a:pt x="383" y="234"/>
                  <a:pt x="383" y="234"/>
                  <a:pt x="383" y="234"/>
                </a:cubicBezTo>
                <a:cubicBezTo>
                  <a:pt x="383" y="238"/>
                  <a:pt x="386" y="241"/>
                  <a:pt x="390" y="241"/>
                </a:cubicBezTo>
                <a:cubicBezTo>
                  <a:pt x="431" y="241"/>
                  <a:pt x="431" y="241"/>
                  <a:pt x="431" y="241"/>
                </a:cubicBezTo>
                <a:cubicBezTo>
                  <a:pt x="431" y="294"/>
                  <a:pt x="431" y="294"/>
                  <a:pt x="431" y="294"/>
                </a:cubicBezTo>
                <a:cubicBezTo>
                  <a:pt x="431" y="298"/>
                  <a:pt x="434" y="301"/>
                  <a:pt x="438" y="301"/>
                </a:cubicBezTo>
                <a:cubicBezTo>
                  <a:pt x="559" y="301"/>
                  <a:pt x="559" y="301"/>
                  <a:pt x="559" y="301"/>
                </a:cubicBezTo>
                <a:cubicBezTo>
                  <a:pt x="562" y="301"/>
                  <a:pt x="566" y="298"/>
                  <a:pt x="566" y="294"/>
                </a:cubicBezTo>
                <a:cubicBezTo>
                  <a:pt x="566" y="173"/>
                  <a:pt x="566" y="173"/>
                  <a:pt x="566" y="173"/>
                </a:cubicBezTo>
                <a:cubicBezTo>
                  <a:pt x="566" y="169"/>
                  <a:pt x="562" y="166"/>
                  <a:pt x="559" y="166"/>
                </a:cubicBezTo>
                <a:cubicBezTo>
                  <a:pt x="438" y="166"/>
                  <a:pt x="438" y="166"/>
                  <a:pt x="438" y="166"/>
                </a:cubicBezTo>
                <a:cubicBezTo>
                  <a:pt x="434" y="166"/>
                  <a:pt x="431" y="169"/>
                  <a:pt x="431" y="173"/>
                </a:cubicBezTo>
                <a:cubicBezTo>
                  <a:pt x="431" y="227"/>
                  <a:pt x="431" y="227"/>
                  <a:pt x="431" y="227"/>
                </a:cubicBezTo>
                <a:cubicBezTo>
                  <a:pt x="397" y="227"/>
                  <a:pt x="397" y="227"/>
                  <a:pt x="397" y="227"/>
                </a:cubicBezTo>
                <a:cubicBezTo>
                  <a:pt x="397" y="74"/>
                  <a:pt x="397" y="74"/>
                  <a:pt x="397" y="74"/>
                </a:cubicBezTo>
                <a:cubicBezTo>
                  <a:pt x="431" y="74"/>
                  <a:pt x="431" y="74"/>
                  <a:pt x="431" y="74"/>
                </a:cubicBezTo>
                <a:cubicBezTo>
                  <a:pt x="431" y="128"/>
                  <a:pt x="431" y="128"/>
                  <a:pt x="431" y="128"/>
                </a:cubicBezTo>
                <a:cubicBezTo>
                  <a:pt x="431" y="132"/>
                  <a:pt x="434" y="135"/>
                  <a:pt x="438" y="135"/>
                </a:cubicBezTo>
                <a:close/>
                <a:moveTo>
                  <a:pt x="121" y="370"/>
                </a:moveTo>
                <a:cubicBezTo>
                  <a:pt x="14" y="370"/>
                  <a:pt x="14" y="370"/>
                  <a:pt x="14" y="370"/>
                </a:cubicBezTo>
                <a:cubicBezTo>
                  <a:pt x="14" y="263"/>
                  <a:pt x="14" y="263"/>
                  <a:pt x="14" y="263"/>
                </a:cubicBezTo>
                <a:cubicBezTo>
                  <a:pt x="121" y="263"/>
                  <a:pt x="121" y="263"/>
                  <a:pt x="121" y="263"/>
                </a:cubicBezTo>
                <a:lnTo>
                  <a:pt x="121" y="370"/>
                </a:lnTo>
                <a:close/>
                <a:moveTo>
                  <a:pt x="445" y="511"/>
                </a:moveTo>
                <a:cubicBezTo>
                  <a:pt x="552" y="511"/>
                  <a:pt x="552" y="511"/>
                  <a:pt x="552" y="511"/>
                </a:cubicBezTo>
                <a:cubicBezTo>
                  <a:pt x="552" y="618"/>
                  <a:pt x="552" y="618"/>
                  <a:pt x="552" y="618"/>
                </a:cubicBezTo>
                <a:cubicBezTo>
                  <a:pt x="445" y="618"/>
                  <a:pt x="445" y="618"/>
                  <a:pt x="445" y="618"/>
                </a:cubicBezTo>
                <a:lnTo>
                  <a:pt x="445" y="511"/>
                </a:lnTo>
                <a:close/>
                <a:moveTo>
                  <a:pt x="445" y="345"/>
                </a:moveTo>
                <a:cubicBezTo>
                  <a:pt x="552" y="345"/>
                  <a:pt x="552" y="345"/>
                  <a:pt x="552" y="345"/>
                </a:cubicBezTo>
                <a:cubicBezTo>
                  <a:pt x="552" y="452"/>
                  <a:pt x="552" y="452"/>
                  <a:pt x="552" y="452"/>
                </a:cubicBezTo>
                <a:cubicBezTo>
                  <a:pt x="445" y="452"/>
                  <a:pt x="445" y="452"/>
                  <a:pt x="445" y="452"/>
                </a:cubicBezTo>
                <a:lnTo>
                  <a:pt x="445" y="345"/>
                </a:lnTo>
                <a:close/>
                <a:moveTo>
                  <a:pt x="226" y="424"/>
                </a:moveTo>
                <a:cubicBezTo>
                  <a:pt x="333" y="424"/>
                  <a:pt x="333" y="424"/>
                  <a:pt x="333" y="424"/>
                </a:cubicBezTo>
                <a:cubicBezTo>
                  <a:pt x="333" y="531"/>
                  <a:pt x="333" y="531"/>
                  <a:pt x="333" y="531"/>
                </a:cubicBezTo>
                <a:cubicBezTo>
                  <a:pt x="226" y="531"/>
                  <a:pt x="226" y="531"/>
                  <a:pt x="226" y="531"/>
                </a:cubicBezTo>
                <a:lnTo>
                  <a:pt x="226" y="424"/>
                </a:lnTo>
                <a:close/>
                <a:moveTo>
                  <a:pt x="333" y="208"/>
                </a:moveTo>
                <a:cubicBezTo>
                  <a:pt x="226" y="208"/>
                  <a:pt x="226" y="208"/>
                  <a:pt x="226" y="208"/>
                </a:cubicBezTo>
                <a:cubicBezTo>
                  <a:pt x="226" y="101"/>
                  <a:pt x="226" y="101"/>
                  <a:pt x="226" y="101"/>
                </a:cubicBezTo>
                <a:cubicBezTo>
                  <a:pt x="333" y="101"/>
                  <a:pt x="333" y="101"/>
                  <a:pt x="333" y="101"/>
                </a:cubicBezTo>
                <a:lnTo>
                  <a:pt x="333" y="208"/>
                </a:lnTo>
                <a:close/>
                <a:moveTo>
                  <a:pt x="445" y="180"/>
                </a:moveTo>
                <a:cubicBezTo>
                  <a:pt x="552" y="180"/>
                  <a:pt x="552" y="180"/>
                  <a:pt x="552" y="180"/>
                </a:cubicBezTo>
                <a:cubicBezTo>
                  <a:pt x="552" y="287"/>
                  <a:pt x="552" y="287"/>
                  <a:pt x="552" y="287"/>
                </a:cubicBezTo>
                <a:cubicBezTo>
                  <a:pt x="445" y="287"/>
                  <a:pt x="445" y="287"/>
                  <a:pt x="445" y="287"/>
                </a:cubicBezTo>
                <a:lnTo>
                  <a:pt x="445" y="180"/>
                </a:lnTo>
                <a:close/>
                <a:moveTo>
                  <a:pt x="445" y="14"/>
                </a:moveTo>
                <a:cubicBezTo>
                  <a:pt x="552" y="14"/>
                  <a:pt x="552" y="14"/>
                  <a:pt x="552" y="14"/>
                </a:cubicBezTo>
                <a:cubicBezTo>
                  <a:pt x="552" y="121"/>
                  <a:pt x="552" y="121"/>
                  <a:pt x="552" y="121"/>
                </a:cubicBezTo>
                <a:cubicBezTo>
                  <a:pt x="445" y="121"/>
                  <a:pt x="445" y="121"/>
                  <a:pt x="445" y="121"/>
                </a:cubicBezTo>
                <a:lnTo>
                  <a:pt x="445" y="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78" name="Oval 17"/>
          <p:cNvSpPr>
            <a:spLocks noChangeArrowheads="1"/>
          </p:cNvSpPr>
          <p:nvPr/>
        </p:nvSpPr>
        <p:spPr bwMode="auto">
          <a:xfrm>
            <a:off x="3552358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56" name="Freeform 123"/>
          <p:cNvSpPr>
            <a:spLocks noEditPoints="1"/>
          </p:cNvSpPr>
          <p:nvPr/>
        </p:nvSpPr>
        <p:spPr bwMode="auto">
          <a:xfrm>
            <a:off x="3728578" y="3691957"/>
            <a:ext cx="470519" cy="368543"/>
          </a:xfrm>
          <a:custGeom>
            <a:avLst/>
            <a:gdLst>
              <a:gd name="T0" fmla="*/ 385 w 607"/>
              <a:gd name="T1" fmla="*/ 140 h 476"/>
              <a:gd name="T2" fmla="*/ 277 w 607"/>
              <a:gd name="T3" fmla="*/ 41 h 476"/>
              <a:gd name="T4" fmla="*/ 224 w 607"/>
              <a:gd name="T5" fmla="*/ 58 h 476"/>
              <a:gd name="T6" fmla="*/ 4 w 607"/>
              <a:gd name="T7" fmla="*/ 1 h 476"/>
              <a:gd name="T8" fmla="*/ 0 w 607"/>
              <a:gd name="T9" fmla="*/ 469 h 476"/>
              <a:gd name="T10" fmla="*/ 607 w 607"/>
              <a:gd name="T11" fmla="*/ 469 h 476"/>
              <a:gd name="T12" fmla="*/ 600 w 607"/>
              <a:gd name="T13" fmla="*/ 165 h 476"/>
              <a:gd name="T14" fmla="*/ 260 w 607"/>
              <a:gd name="T15" fmla="*/ 61 h 476"/>
              <a:gd name="T16" fmla="*/ 222 w 607"/>
              <a:gd name="T17" fmla="*/ 187 h 476"/>
              <a:gd name="T18" fmla="*/ 222 w 607"/>
              <a:gd name="T19" fmla="*/ 73 h 476"/>
              <a:gd name="T20" fmla="*/ 162 w 607"/>
              <a:gd name="T21" fmla="*/ 206 h 476"/>
              <a:gd name="T22" fmla="*/ 185 w 607"/>
              <a:gd name="T23" fmla="*/ 199 h 476"/>
              <a:gd name="T24" fmla="*/ 125 w 607"/>
              <a:gd name="T25" fmla="*/ 103 h 476"/>
              <a:gd name="T26" fmla="*/ 111 w 607"/>
              <a:gd name="T27" fmla="*/ 214 h 476"/>
              <a:gd name="T28" fmla="*/ 111 w 607"/>
              <a:gd name="T29" fmla="*/ 101 h 476"/>
              <a:gd name="T30" fmla="*/ 51 w 607"/>
              <a:gd name="T31" fmla="*/ 173 h 476"/>
              <a:gd name="T32" fmla="*/ 74 w 607"/>
              <a:gd name="T33" fmla="*/ 188 h 476"/>
              <a:gd name="T34" fmla="*/ 371 w 607"/>
              <a:gd name="T35" fmla="*/ 146 h 476"/>
              <a:gd name="T36" fmla="*/ 334 w 607"/>
              <a:gd name="T37" fmla="*/ 238 h 476"/>
              <a:gd name="T38" fmla="*/ 334 w 607"/>
              <a:gd name="T39" fmla="*/ 111 h 476"/>
              <a:gd name="T40" fmla="*/ 533 w 607"/>
              <a:gd name="T41" fmla="*/ 179 h 476"/>
              <a:gd name="T42" fmla="*/ 533 w 607"/>
              <a:gd name="T43" fmla="*/ 310 h 476"/>
              <a:gd name="T44" fmla="*/ 496 w 607"/>
              <a:gd name="T45" fmla="*/ 179 h 476"/>
              <a:gd name="T46" fmla="*/ 482 w 607"/>
              <a:gd name="T47" fmla="*/ 322 h 476"/>
              <a:gd name="T48" fmla="*/ 482 w 607"/>
              <a:gd name="T49" fmla="*/ 179 h 476"/>
              <a:gd name="T50" fmla="*/ 422 w 607"/>
              <a:gd name="T51" fmla="*/ 336 h 476"/>
              <a:gd name="T52" fmla="*/ 445 w 607"/>
              <a:gd name="T53" fmla="*/ 330 h 476"/>
              <a:gd name="T54" fmla="*/ 570 w 607"/>
              <a:gd name="T55" fmla="*/ 179 h 476"/>
              <a:gd name="T56" fmla="*/ 408 w 607"/>
              <a:gd name="T57" fmla="*/ 179 h 476"/>
              <a:gd name="T58" fmla="*/ 385 w 607"/>
              <a:gd name="T59" fmla="*/ 305 h 476"/>
              <a:gd name="T60" fmla="*/ 408 w 607"/>
              <a:gd name="T61" fmla="*/ 179 h 476"/>
              <a:gd name="T62" fmla="*/ 297 w 607"/>
              <a:gd name="T63" fmla="*/ 189 h 476"/>
              <a:gd name="T64" fmla="*/ 282 w 607"/>
              <a:gd name="T65" fmla="*/ 172 h 476"/>
              <a:gd name="T66" fmla="*/ 279 w 607"/>
              <a:gd name="T67" fmla="*/ 170 h 476"/>
              <a:gd name="T68" fmla="*/ 277 w 607"/>
              <a:gd name="T69" fmla="*/ 171 h 476"/>
              <a:gd name="T70" fmla="*/ 277 w 607"/>
              <a:gd name="T71" fmla="*/ 56 h 476"/>
              <a:gd name="T72" fmla="*/ 37 w 607"/>
              <a:gd name="T73" fmla="*/ 163 h 476"/>
              <a:gd name="T74" fmla="*/ 593 w 607"/>
              <a:gd name="T75" fmla="*/ 462 h 476"/>
              <a:gd name="T76" fmla="*/ 77 w 607"/>
              <a:gd name="T77" fmla="*/ 207 h 476"/>
              <a:gd name="T78" fmla="*/ 114 w 607"/>
              <a:gd name="T79" fmla="*/ 233 h 476"/>
              <a:gd name="T80" fmla="*/ 117 w 607"/>
              <a:gd name="T81" fmla="*/ 234 h 476"/>
              <a:gd name="T82" fmla="*/ 118 w 607"/>
              <a:gd name="T83" fmla="*/ 234 h 476"/>
              <a:gd name="T84" fmla="*/ 120 w 607"/>
              <a:gd name="T85" fmla="*/ 233 h 476"/>
              <a:gd name="T86" fmla="*/ 404 w 607"/>
              <a:gd name="T87" fmla="*/ 352 h 476"/>
              <a:gd name="T88" fmla="*/ 406 w 607"/>
              <a:gd name="T89" fmla="*/ 353 h 476"/>
              <a:gd name="T90" fmla="*/ 408 w 607"/>
              <a:gd name="T91" fmla="*/ 353 h 476"/>
              <a:gd name="T92" fmla="*/ 415 w 607"/>
              <a:gd name="T93" fmla="*/ 353 h 476"/>
              <a:gd name="T94" fmla="*/ 454 w 607"/>
              <a:gd name="T95" fmla="*/ 343 h 476"/>
              <a:gd name="T96" fmla="*/ 565 w 607"/>
              <a:gd name="T97" fmla="*/ 317 h 476"/>
              <a:gd name="T98" fmla="*/ 593 w 607"/>
              <a:gd name="T99" fmla="*/ 462 h 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7" h="476">
                <a:moveTo>
                  <a:pt x="600" y="165"/>
                </a:moveTo>
                <a:cubicBezTo>
                  <a:pt x="411" y="165"/>
                  <a:pt x="411" y="165"/>
                  <a:pt x="411" y="165"/>
                </a:cubicBezTo>
                <a:cubicBezTo>
                  <a:pt x="385" y="140"/>
                  <a:pt x="385" y="140"/>
                  <a:pt x="385" y="140"/>
                </a:cubicBezTo>
                <a:cubicBezTo>
                  <a:pt x="384" y="138"/>
                  <a:pt x="382" y="136"/>
                  <a:pt x="380" y="135"/>
                </a:cubicBezTo>
                <a:cubicBezTo>
                  <a:pt x="283" y="43"/>
                  <a:pt x="283" y="43"/>
                  <a:pt x="283" y="43"/>
                </a:cubicBezTo>
                <a:cubicBezTo>
                  <a:pt x="282" y="41"/>
                  <a:pt x="279" y="41"/>
                  <a:pt x="277" y="41"/>
                </a:cubicBezTo>
                <a:cubicBezTo>
                  <a:pt x="232" y="55"/>
                  <a:pt x="232" y="55"/>
                  <a:pt x="232" y="55"/>
                </a:cubicBezTo>
                <a:cubicBezTo>
                  <a:pt x="231" y="55"/>
                  <a:pt x="230" y="55"/>
                  <a:pt x="229" y="55"/>
                </a:cubicBezTo>
                <a:cubicBezTo>
                  <a:pt x="227" y="55"/>
                  <a:pt x="225" y="56"/>
                  <a:pt x="224" y="58"/>
                </a:cubicBezTo>
                <a:cubicBezTo>
                  <a:pt x="120" y="90"/>
                  <a:pt x="120" y="90"/>
                  <a:pt x="120" y="90"/>
                </a:cubicBezTo>
                <a:cubicBezTo>
                  <a:pt x="11" y="2"/>
                  <a:pt x="11" y="2"/>
                  <a:pt x="11" y="2"/>
                </a:cubicBezTo>
                <a:cubicBezTo>
                  <a:pt x="9" y="1"/>
                  <a:pt x="6" y="0"/>
                  <a:pt x="4" y="1"/>
                </a:cubicBezTo>
                <a:cubicBezTo>
                  <a:pt x="1" y="3"/>
                  <a:pt x="0" y="5"/>
                  <a:pt x="0" y="8"/>
                </a:cubicBezTo>
                <a:cubicBezTo>
                  <a:pt x="0" y="151"/>
                  <a:pt x="0" y="151"/>
                  <a:pt x="0" y="151"/>
                </a:cubicBezTo>
                <a:cubicBezTo>
                  <a:pt x="0" y="469"/>
                  <a:pt x="0" y="469"/>
                  <a:pt x="0" y="469"/>
                </a:cubicBezTo>
                <a:cubicBezTo>
                  <a:pt x="0" y="473"/>
                  <a:pt x="3" y="476"/>
                  <a:pt x="7" y="476"/>
                </a:cubicBezTo>
                <a:cubicBezTo>
                  <a:pt x="600" y="476"/>
                  <a:pt x="600" y="476"/>
                  <a:pt x="600" y="476"/>
                </a:cubicBezTo>
                <a:cubicBezTo>
                  <a:pt x="604" y="476"/>
                  <a:pt x="607" y="473"/>
                  <a:pt x="607" y="469"/>
                </a:cubicBezTo>
                <a:cubicBezTo>
                  <a:pt x="607" y="301"/>
                  <a:pt x="607" y="301"/>
                  <a:pt x="607" y="301"/>
                </a:cubicBezTo>
                <a:cubicBezTo>
                  <a:pt x="607" y="172"/>
                  <a:pt x="607" y="172"/>
                  <a:pt x="607" y="172"/>
                </a:cubicBezTo>
                <a:cubicBezTo>
                  <a:pt x="607" y="168"/>
                  <a:pt x="604" y="165"/>
                  <a:pt x="600" y="165"/>
                </a:cubicBezTo>
                <a:close/>
                <a:moveTo>
                  <a:pt x="236" y="183"/>
                </a:moveTo>
                <a:cubicBezTo>
                  <a:pt x="236" y="68"/>
                  <a:pt x="236" y="68"/>
                  <a:pt x="236" y="68"/>
                </a:cubicBezTo>
                <a:cubicBezTo>
                  <a:pt x="260" y="61"/>
                  <a:pt x="260" y="61"/>
                  <a:pt x="260" y="61"/>
                </a:cubicBezTo>
                <a:cubicBezTo>
                  <a:pt x="260" y="176"/>
                  <a:pt x="260" y="176"/>
                  <a:pt x="260" y="176"/>
                </a:cubicBezTo>
                <a:lnTo>
                  <a:pt x="236" y="183"/>
                </a:lnTo>
                <a:close/>
                <a:moveTo>
                  <a:pt x="222" y="187"/>
                </a:moveTo>
                <a:cubicBezTo>
                  <a:pt x="199" y="194"/>
                  <a:pt x="199" y="194"/>
                  <a:pt x="199" y="194"/>
                </a:cubicBezTo>
                <a:cubicBezTo>
                  <a:pt x="199" y="80"/>
                  <a:pt x="199" y="80"/>
                  <a:pt x="199" y="80"/>
                </a:cubicBezTo>
                <a:cubicBezTo>
                  <a:pt x="222" y="73"/>
                  <a:pt x="222" y="73"/>
                  <a:pt x="222" y="73"/>
                </a:cubicBezTo>
                <a:lnTo>
                  <a:pt x="222" y="187"/>
                </a:lnTo>
                <a:close/>
                <a:moveTo>
                  <a:pt x="185" y="199"/>
                </a:moveTo>
                <a:cubicBezTo>
                  <a:pt x="162" y="206"/>
                  <a:pt x="162" y="206"/>
                  <a:pt x="162" y="206"/>
                </a:cubicBezTo>
                <a:cubicBezTo>
                  <a:pt x="162" y="91"/>
                  <a:pt x="162" y="91"/>
                  <a:pt x="162" y="91"/>
                </a:cubicBezTo>
                <a:cubicBezTo>
                  <a:pt x="185" y="84"/>
                  <a:pt x="185" y="84"/>
                  <a:pt x="185" y="84"/>
                </a:cubicBezTo>
                <a:lnTo>
                  <a:pt x="185" y="199"/>
                </a:lnTo>
                <a:close/>
                <a:moveTo>
                  <a:pt x="148" y="210"/>
                </a:moveTo>
                <a:cubicBezTo>
                  <a:pt x="125" y="217"/>
                  <a:pt x="125" y="217"/>
                  <a:pt x="125" y="217"/>
                </a:cubicBezTo>
                <a:cubicBezTo>
                  <a:pt x="125" y="103"/>
                  <a:pt x="125" y="103"/>
                  <a:pt x="125" y="103"/>
                </a:cubicBezTo>
                <a:cubicBezTo>
                  <a:pt x="148" y="96"/>
                  <a:pt x="148" y="96"/>
                  <a:pt x="148" y="96"/>
                </a:cubicBezTo>
                <a:lnTo>
                  <a:pt x="148" y="210"/>
                </a:lnTo>
                <a:close/>
                <a:moveTo>
                  <a:pt x="111" y="214"/>
                </a:moveTo>
                <a:cubicBezTo>
                  <a:pt x="88" y="198"/>
                  <a:pt x="88" y="198"/>
                  <a:pt x="88" y="198"/>
                </a:cubicBezTo>
                <a:cubicBezTo>
                  <a:pt x="88" y="82"/>
                  <a:pt x="88" y="82"/>
                  <a:pt x="88" y="82"/>
                </a:cubicBezTo>
                <a:cubicBezTo>
                  <a:pt x="111" y="101"/>
                  <a:pt x="111" y="101"/>
                  <a:pt x="111" y="101"/>
                </a:cubicBezTo>
                <a:lnTo>
                  <a:pt x="111" y="214"/>
                </a:lnTo>
                <a:close/>
                <a:moveTo>
                  <a:pt x="74" y="188"/>
                </a:moveTo>
                <a:cubicBezTo>
                  <a:pt x="51" y="173"/>
                  <a:pt x="51" y="173"/>
                  <a:pt x="51" y="173"/>
                </a:cubicBezTo>
                <a:cubicBezTo>
                  <a:pt x="51" y="52"/>
                  <a:pt x="51" y="52"/>
                  <a:pt x="51" y="52"/>
                </a:cubicBezTo>
                <a:cubicBezTo>
                  <a:pt x="74" y="71"/>
                  <a:pt x="74" y="71"/>
                  <a:pt x="74" y="71"/>
                </a:cubicBezTo>
                <a:lnTo>
                  <a:pt x="74" y="188"/>
                </a:lnTo>
                <a:close/>
                <a:moveTo>
                  <a:pt x="348" y="256"/>
                </a:moveTo>
                <a:cubicBezTo>
                  <a:pt x="348" y="124"/>
                  <a:pt x="348" y="124"/>
                  <a:pt x="348" y="124"/>
                </a:cubicBezTo>
                <a:cubicBezTo>
                  <a:pt x="371" y="146"/>
                  <a:pt x="371" y="146"/>
                  <a:pt x="371" y="146"/>
                </a:cubicBezTo>
                <a:cubicBezTo>
                  <a:pt x="371" y="286"/>
                  <a:pt x="371" y="286"/>
                  <a:pt x="371" y="286"/>
                </a:cubicBezTo>
                <a:lnTo>
                  <a:pt x="348" y="256"/>
                </a:lnTo>
                <a:close/>
                <a:moveTo>
                  <a:pt x="334" y="238"/>
                </a:moveTo>
                <a:cubicBezTo>
                  <a:pt x="311" y="208"/>
                  <a:pt x="311" y="208"/>
                  <a:pt x="311" y="208"/>
                </a:cubicBezTo>
                <a:cubicBezTo>
                  <a:pt x="311" y="89"/>
                  <a:pt x="311" y="89"/>
                  <a:pt x="311" y="89"/>
                </a:cubicBezTo>
                <a:cubicBezTo>
                  <a:pt x="334" y="111"/>
                  <a:pt x="334" y="111"/>
                  <a:pt x="334" y="111"/>
                </a:cubicBezTo>
                <a:lnTo>
                  <a:pt x="334" y="238"/>
                </a:lnTo>
                <a:close/>
                <a:moveTo>
                  <a:pt x="533" y="310"/>
                </a:moveTo>
                <a:cubicBezTo>
                  <a:pt x="533" y="179"/>
                  <a:pt x="533" y="179"/>
                  <a:pt x="533" y="179"/>
                </a:cubicBezTo>
                <a:cubicBezTo>
                  <a:pt x="556" y="179"/>
                  <a:pt x="556" y="179"/>
                  <a:pt x="556" y="179"/>
                </a:cubicBezTo>
                <a:cubicBezTo>
                  <a:pt x="556" y="304"/>
                  <a:pt x="556" y="304"/>
                  <a:pt x="556" y="304"/>
                </a:cubicBezTo>
                <a:lnTo>
                  <a:pt x="533" y="310"/>
                </a:lnTo>
                <a:close/>
                <a:moveTo>
                  <a:pt x="519" y="313"/>
                </a:moveTo>
                <a:cubicBezTo>
                  <a:pt x="496" y="318"/>
                  <a:pt x="496" y="318"/>
                  <a:pt x="496" y="318"/>
                </a:cubicBezTo>
                <a:cubicBezTo>
                  <a:pt x="496" y="179"/>
                  <a:pt x="496" y="179"/>
                  <a:pt x="496" y="179"/>
                </a:cubicBezTo>
                <a:cubicBezTo>
                  <a:pt x="519" y="179"/>
                  <a:pt x="519" y="179"/>
                  <a:pt x="519" y="179"/>
                </a:cubicBezTo>
                <a:lnTo>
                  <a:pt x="519" y="313"/>
                </a:lnTo>
                <a:close/>
                <a:moveTo>
                  <a:pt x="482" y="322"/>
                </a:moveTo>
                <a:cubicBezTo>
                  <a:pt x="459" y="327"/>
                  <a:pt x="459" y="327"/>
                  <a:pt x="459" y="327"/>
                </a:cubicBezTo>
                <a:cubicBezTo>
                  <a:pt x="459" y="179"/>
                  <a:pt x="459" y="179"/>
                  <a:pt x="459" y="179"/>
                </a:cubicBezTo>
                <a:cubicBezTo>
                  <a:pt x="482" y="179"/>
                  <a:pt x="482" y="179"/>
                  <a:pt x="482" y="179"/>
                </a:cubicBezTo>
                <a:lnTo>
                  <a:pt x="482" y="322"/>
                </a:lnTo>
                <a:close/>
                <a:moveTo>
                  <a:pt x="445" y="330"/>
                </a:moveTo>
                <a:cubicBezTo>
                  <a:pt x="422" y="336"/>
                  <a:pt x="422" y="336"/>
                  <a:pt x="422" y="336"/>
                </a:cubicBezTo>
                <a:cubicBezTo>
                  <a:pt x="422" y="179"/>
                  <a:pt x="422" y="179"/>
                  <a:pt x="422" y="179"/>
                </a:cubicBezTo>
                <a:cubicBezTo>
                  <a:pt x="445" y="179"/>
                  <a:pt x="445" y="179"/>
                  <a:pt x="445" y="179"/>
                </a:cubicBezTo>
                <a:lnTo>
                  <a:pt x="445" y="330"/>
                </a:lnTo>
                <a:close/>
                <a:moveTo>
                  <a:pt x="593" y="296"/>
                </a:moveTo>
                <a:cubicBezTo>
                  <a:pt x="570" y="301"/>
                  <a:pt x="570" y="301"/>
                  <a:pt x="570" y="301"/>
                </a:cubicBezTo>
                <a:cubicBezTo>
                  <a:pt x="570" y="179"/>
                  <a:pt x="570" y="179"/>
                  <a:pt x="570" y="179"/>
                </a:cubicBezTo>
                <a:cubicBezTo>
                  <a:pt x="593" y="179"/>
                  <a:pt x="593" y="179"/>
                  <a:pt x="593" y="179"/>
                </a:cubicBezTo>
                <a:lnTo>
                  <a:pt x="593" y="296"/>
                </a:lnTo>
                <a:close/>
                <a:moveTo>
                  <a:pt x="408" y="179"/>
                </a:moveTo>
                <a:cubicBezTo>
                  <a:pt x="408" y="179"/>
                  <a:pt x="408" y="179"/>
                  <a:pt x="408" y="179"/>
                </a:cubicBezTo>
                <a:cubicBezTo>
                  <a:pt x="408" y="335"/>
                  <a:pt x="408" y="335"/>
                  <a:pt x="408" y="335"/>
                </a:cubicBezTo>
                <a:cubicBezTo>
                  <a:pt x="385" y="305"/>
                  <a:pt x="385" y="305"/>
                  <a:pt x="385" y="305"/>
                </a:cubicBezTo>
                <a:cubicBezTo>
                  <a:pt x="385" y="160"/>
                  <a:pt x="385" y="160"/>
                  <a:pt x="385" y="160"/>
                </a:cubicBezTo>
                <a:cubicBezTo>
                  <a:pt x="403" y="177"/>
                  <a:pt x="403" y="177"/>
                  <a:pt x="403" y="177"/>
                </a:cubicBezTo>
                <a:cubicBezTo>
                  <a:pt x="404" y="178"/>
                  <a:pt x="406" y="179"/>
                  <a:pt x="408" y="179"/>
                </a:cubicBezTo>
                <a:close/>
                <a:moveTo>
                  <a:pt x="277" y="56"/>
                </a:moveTo>
                <a:cubicBezTo>
                  <a:pt x="297" y="75"/>
                  <a:pt x="297" y="75"/>
                  <a:pt x="297" y="75"/>
                </a:cubicBezTo>
                <a:cubicBezTo>
                  <a:pt x="297" y="189"/>
                  <a:pt x="297" y="189"/>
                  <a:pt x="297" y="189"/>
                </a:cubicBezTo>
                <a:cubicBezTo>
                  <a:pt x="284" y="173"/>
                  <a:pt x="284" y="173"/>
                  <a:pt x="284" y="173"/>
                </a:cubicBezTo>
                <a:cubicBezTo>
                  <a:pt x="284" y="173"/>
                  <a:pt x="283" y="172"/>
                  <a:pt x="283" y="172"/>
                </a:cubicBezTo>
                <a:cubicBezTo>
                  <a:pt x="283" y="172"/>
                  <a:pt x="282" y="172"/>
                  <a:pt x="282" y="172"/>
                </a:cubicBezTo>
                <a:cubicBezTo>
                  <a:pt x="282" y="171"/>
                  <a:pt x="281" y="171"/>
                  <a:pt x="281" y="171"/>
                </a:cubicBezTo>
                <a:cubicBezTo>
                  <a:pt x="281" y="171"/>
                  <a:pt x="281" y="171"/>
                  <a:pt x="281" y="171"/>
                </a:cubicBezTo>
                <a:cubicBezTo>
                  <a:pt x="280" y="171"/>
                  <a:pt x="279" y="170"/>
                  <a:pt x="279" y="170"/>
                </a:cubicBezTo>
                <a:cubicBezTo>
                  <a:pt x="279" y="170"/>
                  <a:pt x="279" y="170"/>
                  <a:pt x="279" y="170"/>
                </a:cubicBezTo>
                <a:cubicBezTo>
                  <a:pt x="279" y="170"/>
                  <a:pt x="279" y="170"/>
                  <a:pt x="279" y="170"/>
                </a:cubicBezTo>
                <a:cubicBezTo>
                  <a:pt x="278" y="170"/>
                  <a:pt x="277" y="170"/>
                  <a:pt x="277" y="171"/>
                </a:cubicBezTo>
                <a:cubicBezTo>
                  <a:pt x="274" y="172"/>
                  <a:pt x="274" y="172"/>
                  <a:pt x="274" y="172"/>
                </a:cubicBezTo>
                <a:cubicBezTo>
                  <a:pt x="274" y="57"/>
                  <a:pt x="274" y="57"/>
                  <a:pt x="274" y="57"/>
                </a:cubicBezTo>
                <a:lnTo>
                  <a:pt x="277" y="56"/>
                </a:lnTo>
                <a:close/>
                <a:moveTo>
                  <a:pt x="14" y="22"/>
                </a:moveTo>
                <a:cubicBezTo>
                  <a:pt x="37" y="41"/>
                  <a:pt x="37" y="41"/>
                  <a:pt x="37" y="41"/>
                </a:cubicBezTo>
                <a:cubicBezTo>
                  <a:pt x="37" y="163"/>
                  <a:pt x="37" y="163"/>
                  <a:pt x="37" y="163"/>
                </a:cubicBezTo>
                <a:cubicBezTo>
                  <a:pt x="14" y="147"/>
                  <a:pt x="14" y="147"/>
                  <a:pt x="14" y="147"/>
                </a:cubicBezTo>
                <a:lnTo>
                  <a:pt x="14" y="22"/>
                </a:lnTo>
                <a:close/>
                <a:moveTo>
                  <a:pt x="593" y="462"/>
                </a:moveTo>
                <a:cubicBezTo>
                  <a:pt x="14" y="462"/>
                  <a:pt x="14" y="462"/>
                  <a:pt x="14" y="462"/>
                </a:cubicBezTo>
                <a:cubicBezTo>
                  <a:pt x="14" y="164"/>
                  <a:pt x="14" y="164"/>
                  <a:pt x="14" y="164"/>
                </a:cubicBezTo>
                <a:cubicBezTo>
                  <a:pt x="77" y="207"/>
                  <a:pt x="77" y="207"/>
                  <a:pt x="77" y="207"/>
                </a:cubicBezTo>
                <a:cubicBezTo>
                  <a:pt x="77" y="207"/>
                  <a:pt x="77" y="207"/>
                  <a:pt x="77" y="207"/>
                </a:cubicBezTo>
                <a:cubicBezTo>
                  <a:pt x="114" y="233"/>
                  <a:pt x="114" y="233"/>
                  <a:pt x="114" y="233"/>
                </a:cubicBezTo>
                <a:cubicBezTo>
                  <a:pt x="114" y="233"/>
                  <a:pt x="114" y="233"/>
                  <a:pt x="114" y="233"/>
                </a:cubicBezTo>
                <a:cubicBezTo>
                  <a:pt x="115" y="233"/>
                  <a:pt x="115" y="233"/>
                  <a:pt x="116" y="233"/>
                </a:cubicBezTo>
                <a:cubicBezTo>
                  <a:pt x="116" y="233"/>
                  <a:pt x="116" y="233"/>
                  <a:pt x="116" y="233"/>
                </a:cubicBezTo>
                <a:cubicBezTo>
                  <a:pt x="116" y="233"/>
                  <a:pt x="117" y="234"/>
                  <a:pt x="117" y="234"/>
                </a:cubicBezTo>
                <a:cubicBezTo>
                  <a:pt x="117" y="234"/>
                  <a:pt x="117" y="234"/>
                  <a:pt x="118" y="234"/>
                </a:cubicBezTo>
                <a:cubicBezTo>
                  <a:pt x="118" y="234"/>
                  <a:pt x="118" y="234"/>
                  <a:pt x="118" y="234"/>
                </a:cubicBezTo>
                <a:cubicBezTo>
                  <a:pt x="118" y="234"/>
                  <a:pt x="118" y="234"/>
                  <a:pt x="118" y="234"/>
                </a:cubicBezTo>
                <a:cubicBezTo>
                  <a:pt x="119" y="234"/>
                  <a:pt x="119" y="234"/>
                  <a:pt x="119" y="234"/>
                </a:cubicBezTo>
                <a:cubicBezTo>
                  <a:pt x="119" y="234"/>
                  <a:pt x="120" y="234"/>
                  <a:pt x="120" y="233"/>
                </a:cubicBezTo>
                <a:cubicBezTo>
                  <a:pt x="120" y="233"/>
                  <a:pt x="120" y="233"/>
                  <a:pt x="120" y="233"/>
                </a:cubicBezTo>
                <a:cubicBezTo>
                  <a:pt x="276" y="186"/>
                  <a:pt x="276" y="186"/>
                  <a:pt x="276" y="186"/>
                </a:cubicBezTo>
                <a:cubicBezTo>
                  <a:pt x="402" y="350"/>
                  <a:pt x="402" y="350"/>
                  <a:pt x="402" y="350"/>
                </a:cubicBezTo>
                <a:cubicBezTo>
                  <a:pt x="403" y="351"/>
                  <a:pt x="403" y="351"/>
                  <a:pt x="404" y="352"/>
                </a:cubicBezTo>
                <a:cubicBezTo>
                  <a:pt x="404" y="352"/>
                  <a:pt x="404" y="352"/>
                  <a:pt x="404" y="352"/>
                </a:cubicBezTo>
                <a:cubicBezTo>
                  <a:pt x="405" y="352"/>
                  <a:pt x="405" y="353"/>
                  <a:pt x="405" y="353"/>
                </a:cubicBezTo>
                <a:cubicBezTo>
                  <a:pt x="405" y="353"/>
                  <a:pt x="406" y="353"/>
                  <a:pt x="406" y="353"/>
                </a:cubicBezTo>
                <a:cubicBezTo>
                  <a:pt x="406" y="353"/>
                  <a:pt x="407" y="353"/>
                  <a:pt x="407" y="353"/>
                </a:cubicBezTo>
                <a:cubicBezTo>
                  <a:pt x="407" y="353"/>
                  <a:pt x="407" y="353"/>
                  <a:pt x="408" y="353"/>
                </a:cubicBezTo>
                <a:cubicBezTo>
                  <a:pt x="408" y="353"/>
                  <a:pt x="408" y="353"/>
                  <a:pt x="408" y="353"/>
                </a:cubicBezTo>
                <a:cubicBezTo>
                  <a:pt x="408" y="353"/>
                  <a:pt x="409" y="353"/>
                  <a:pt x="409" y="353"/>
                </a:cubicBezTo>
                <a:cubicBezTo>
                  <a:pt x="412" y="352"/>
                  <a:pt x="412" y="352"/>
                  <a:pt x="412" y="352"/>
                </a:cubicBezTo>
                <a:cubicBezTo>
                  <a:pt x="413" y="353"/>
                  <a:pt x="414" y="353"/>
                  <a:pt x="415" y="353"/>
                </a:cubicBezTo>
                <a:cubicBezTo>
                  <a:pt x="417" y="353"/>
                  <a:pt x="419" y="352"/>
                  <a:pt x="421" y="350"/>
                </a:cubicBezTo>
                <a:cubicBezTo>
                  <a:pt x="453" y="343"/>
                  <a:pt x="453" y="343"/>
                  <a:pt x="453" y="343"/>
                </a:cubicBezTo>
                <a:cubicBezTo>
                  <a:pt x="453" y="343"/>
                  <a:pt x="454" y="343"/>
                  <a:pt x="454" y="343"/>
                </a:cubicBezTo>
                <a:cubicBezTo>
                  <a:pt x="491" y="334"/>
                  <a:pt x="491" y="334"/>
                  <a:pt x="491" y="334"/>
                </a:cubicBezTo>
                <a:cubicBezTo>
                  <a:pt x="491" y="334"/>
                  <a:pt x="491" y="334"/>
                  <a:pt x="491" y="334"/>
                </a:cubicBezTo>
                <a:cubicBezTo>
                  <a:pt x="565" y="317"/>
                  <a:pt x="565" y="317"/>
                  <a:pt x="565" y="317"/>
                </a:cubicBezTo>
                <a:cubicBezTo>
                  <a:pt x="565" y="317"/>
                  <a:pt x="565" y="317"/>
                  <a:pt x="565" y="317"/>
                </a:cubicBezTo>
                <a:cubicBezTo>
                  <a:pt x="593" y="310"/>
                  <a:pt x="593" y="310"/>
                  <a:pt x="593" y="310"/>
                </a:cubicBezTo>
                <a:lnTo>
                  <a:pt x="593" y="46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79" name="Oval 18"/>
          <p:cNvSpPr>
            <a:spLocks noChangeArrowheads="1"/>
          </p:cNvSpPr>
          <p:nvPr/>
        </p:nvSpPr>
        <p:spPr bwMode="auto">
          <a:xfrm>
            <a:off x="2259614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57" name="Freeform 124"/>
          <p:cNvSpPr>
            <a:spLocks noEditPoints="1"/>
          </p:cNvSpPr>
          <p:nvPr/>
        </p:nvSpPr>
        <p:spPr bwMode="auto">
          <a:xfrm>
            <a:off x="2435835" y="3691957"/>
            <a:ext cx="469625" cy="368543"/>
          </a:xfrm>
          <a:custGeom>
            <a:avLst/>
            <a:gdLst>
              <a:gd name="T0" fmla="*/ 384 w 607"/>
              <a:gd name="T1" fmla="*/ 140 h 476"/>
              <a:gd name="T2" fmla="*/ 276 w 607"/>
              <a:gd name="T3" fmla="*/ 41 h 476"/>
              <a:gd name="T4" fmla="*/ 224 w 607"/>
              <a:gd name="T5" fmla="*/ 58 h 476"/>
              <a:gd name="T6" fmla="*/ 4 w 607"/>
              <a:gd name="T7" fmla="*/ 1 h 476"/>
              <a:gd name="T8" fmla="*/ 0 w 607"/>
              <a:gd name="T9" fmla="*/ 469 h 476"/>
              <a:gd name="T10" fmla="*/ 607 w 607"/>
              <a:gd name="T11" fmla="*/ 469 h 476"/>
              <a:gd name="T12" fmla="*/ 600 w 607"/>
              <a:gd name="T13" fmla="*/ 165 h 476"/>
              <a:gd name="T14" fmla="*/ 259 w 607"/>
              <a:gd name="T15" fmla="*/ 61 h 476"/>
              <a:gd name="T16" fmla="*/ 222 w 607"/>
              <a:gd name="T17" fmla="*/ 187 h 476"/>
              <a:gd name="T18" fmla="*/ 222 w 607"/>
              <a:gd name="T19" fmla="*/ 73 h 476"/>
              <a:gd name="T20" fmla="*/ 162 w 607"/>
              <a:gd name="T21" fmla="*/ 206 h 476"/>
              <a:gd name="T22" fmla="*/ 185 w 607"/>
              <a:gd name="T23" fmla="*/ 199 h 476"/>
              <a:gd name="T24" fmla="*/ 125 w 607"/>
              <a:gd name="T25" fmla="*/ 103 h 476"/>
              <a:gd name="T26" fmla="*/ 111 w 607"/>
              <a:gd name="T27" fmla="*/ 214 h 476"/>
              <a:gd name="T28" fmla="*/ 111 w 607"/>
              <a:gd name="T29" fmla="*/ 101 h 476"/>
              <a:gd name="T30" fmla="*/ 51 w 607"/>
              <a:gd name="T31" fmla="*/ 173 h 476"/>
              <a:gd name="T32" fmla="*/ 74 w 607"/>
              <a:gd name="T33" fmla="*/ 188 h 476"/>
              <a:gd name="T34" fmla="*/ 371 w 607"/>
              <a:gd name="T35" fmla="*/ 146 h 476"/>
              <a:gd name="T36" fmla="*/ 334 w 607"/>
              <a:gd name="T37" fmla="*/ 238 h 476"/>
              <a:gd name="T38" fmla="*/ 334 w 607"/>
              <a:gd name="T39" fmla="*/ 111 h 476"/>
              <a:gd name="T40" fmla="*/ 533 w 607"/>
              <a:gd name="T41" fmla="*/ 179 h 476"/>
              <a:gd name="T42" fmla="*/ 533 w 607"/>
              <a:gd name="T43" fmla="*/ 310 h 476"/>
              <a:gd name="T44" fmla="*/ 496 w 607"/>
              <a:gd name="T45" fmla="*/ 179 h 476"/>
              <a:gd name="T46" fmla="*/ 482 w 607"/>
              <a:gd name="T47" fmla="*/ 322 h 476"/>
              <a:gd name="T48" fmla="*/ 482 w 607"/>
              <a:gd name="T49" fmla="*/ 179 h 476"/>
              <a:gd name="T50" fmla="*/ 422 w 607"/>
              <a:gd name="T51" fmla="*/ 336 h 476"/>
              <a:gd name="T52" fmla="*/ 445 w 607"/>
              <a:gd name="T53" fmla="*/ 330 h 476"/>
              <a:gd name="T54" fmla="*/ 570 w 607"/>
              <a:gd name="T55" fmla="*/ 179 h 476"/>
              <a:gd name="T56" fmla="*/ 408 w 607"/>
              <a:gd name="T57" fmla="*/ 179 h 476"/>
              <a:gd name="T58" fmla="*/ 385 w 607"/>
              <a:gd name="T59" fmla="*/ 305 h 476"/>
              <a:gd name="T60" fmla="*/ 408 w 607"/>
              <a:gd name="T61" fmla="*/ 179 h 476"/>
              <a:gd name="T62" fmla="*/ 296 w 607"/>
              <a:gd name="T63" fmla="*/ 189 h 476"/>
              <a:gd name="T64" fmla="*/ 282 w 607"/>
              <a:gd name="T65" fmla="*/ 172 h 476"/>
              <a:gd name="T66" fmla="*/ 278 w 607"/>
              <a:gd name="T67" fmla="*/ 170 h 476"/>
              <a:gd name="T68" fmla="*/ 276 w 607"/>
              <a:gd name="T69" fmla="*/ 171 h 476"/>
              <a:gd name="T70" fmla="*/ 276 w 607"/>
              <a:gd name="T71" fmla="*/ 56 h 476"/>
              <a:gd name="T72" fmla="*/ 37 w 607"/>
              <a:gd name="T73" fmla="*/ 163 h 476"/>
              <a:gd name="T74" fmla="*/ 593 w 607"/>
              <a:gd name="T75" fmla="*/ 462 h 476"/>
              <a:gd name="T76" fmla="*/ 77 w 607"/>
              <a:gd name="T77" fmla="*/ 207 h 476"/>
              <a:gd name="T78" fmla="*/ 114 w 607"/>
              <a:gd name="T79" fmla="*/ 233 h 476"/>
              <a:gd name="T80" fmla="*/ 117 w 607"/>
              <a:gd name="T81" fmla="*/ 234 h 476"/>
              <a:gd name="T82" fmla="*/ 118 w 607"/>
              <a:gd name="T83" fmla="*/ 234 h 476"/>
              <a:gd name="T84" fmla="*/ 120 w 607"/>
              <a:gd name="T85" fmla="*/ 233 h 476"/>
              <a:gd name="T86" fmla="*/ 403 w 607"/>
              <a:gd name="T87" fmla="*/ 352 h 476"/>
              <a:gd name="T88" fmla="*/ 406 w 607"/>
              <a:gd name="T89" fmla="*/ 353 h 476"/>
              <a:gd name="T90" fmla="*/ 408 w 607"/>
              <a:gd name="T91" fmla="*/ 353 h 476"/>
              <a:gd name="T92" fmla="*/ 415 w 607"/>
              <a:gd name="T93" fmla="*/ 353 h 476"/>
              <a:gd name="T94" fmla="*/ 453 w 607"/>
              <a:gd name="T95" fmla="*/ 343 h 476"/>
              <a:gd name="T96" fmla="*/ 565 w 607"/>
              <a:gd name="T97" fmla="*/ 317 h 476"/>
              <a:gd name="T98" fmla="*/ 593 w 607"/>
              <a:gd name="T99" fmla="*/ 462 h 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7" h="476">
                <a:moveTo>
                  <a:pt x="600" y="165"/>
                </a:moveTo>
                <a:cubicBezTo>
                  <a:pt x="410" y="165"/>
                  <a:pt x="410" y="165"/>
                  <a:pt x="410" y="165"/>
                </a:cubicBezTo>
                <a:cubicBezTo>
                  <a:pt x="384" y="140"/>
                  <a:pt x="384" y="140"/>
                  <a:pt x="384" y="140"/>
                </a:cubicBezTo>
                <a:cubicBezTo>
                  <a:pt x="384" y="138"/>
                  <a:pt x="382" y="136"/>
                  <a:pt x="379" y="135"/>
                </a:cubicBezTo>
                <a:cubicBezTo>
                  <a:pt x="283" y="43"/>
                  <a:pt x="283" y="43"/>
                  <a:pt x="283" y="43"/>
                </a:cubicBezTo>
                <a:cubicBezTo>
                  <a:pt x="281" y="41"/>
                  <a:pt x="279" y="41"/>
                  <a:pt x="276" y="41"/>
                </a:cubicBezTo>
                <a:cubicBezTo>
                  <a:pt x="231" y="55"/>
                  <a:pt x="231" y="55"/>
                  <a:pt x="231" y="55"/>
                </a:cubicBezTo>
                <a:cubicBezTo>
                  <a:pt x="231" y="55"/>
                  <a:pt x="230" y="55"/>
                  <a:pt x="229" y="55"/>
                </a:cubicBezTo>
                <a:cubicBezTo>
                  <a:pt x="227" y="55"/>
                  <a:pt x="225" y="56"/>
                  <a:pt x="224" y="58"/>
                </a:cubicBezTo>
                <a:cubicBezTo>
                  <a:pt x="119" y="90"/>
                  <a:pt x="119" y="90"/>
                  <a:pt x="119" y="90"/>
                </a:cubicBezTo>
                <a:cubicBezTo>
                  <a:pt x="11" y="2"/>
                  <a:pt x="11" y="2"/>
                  <a:pt x="11" y="2"/>
                </a:cubicBezTo>
                <a:cubicBezTo>
                  <a:pt x="9" y="1"/>
                  <a:pt x="6" y="0"/>
                  <a:pt x="4" y="1"/>
                </a:cubicBezTo>
                <a:cubicBezTo>
                  <a:pt x="1" y="3"/>
                  <a:pt x="0" y="5"/>
                  <a:pt x="0" y="8"/>
                </a:cubicBezTo>
                <a:cubicBezTo>
                  <a:pt x="0" y="151"/>
                  <a:pt x="0" y="151"/>
                  <a:pt x="0" y="151"/>
                </a:cubicBezTo>
                <a:cubicBezTo>
                  <a:pt x="0" y="469"/>
                  <a:pt x="0" y="469"/>
                  <a:pt x="0" y="469"/>
                </a:cubicBezTo>
                <a:cubicBezTo>
                  <a:pt x="0" y="473"/>
                  <a:pt x="3" y="476"/>
                  <a:pt x="7" y="476"/>
                </a:cubicBezTo>
                <a:cubicBezTo>
                  <a:pt x="600" y="476"/>
                  <a:pt x="600" y="476"/>
                  <a:pt x="600" y="476"/>
                </a:cubicBezTo>
                <a:cubicBezTo>
                  <a:pt x="604" y="476"/>
                  <a:pt x="607" y="473"/>
                  <a:pt x="607" y="469"/>
                </a:cubicBezTo>
                <a:cubicBezTo>
                  <a:pt x="607" y="301"/>
                  <a:pt x="607" y="301"/>
                  <a:pt x="607" y="301"/>
                </a:cubicBezTo>
                <a:cubicBezTo>
                  <a:pt x="607" y="172"/>
                  <a:pt x="607" y="172"/>
                  <a:pt x="607" y="172"/>
                </a:cubicBezTo>
                <a:cubicBezTo>
                  <a:pt x="607" y="168"/>
                  <a:pt x="604" y="165"/>
                  <a:pt x="600" y="165"/>
                </a:cubicBezTo>
                <a:close/>
                <a:moveTo>
                  <a:pt x="236" y="183"/>
                </a:moveTo>
                <a:cubicBezTo>
                  <a:pt x="236" y="68"/>
                  <a:pt x="236" y="68"/>
                  <a:pt x="236" y="68"/>
                </a:cubicBezTo>
                <a:cubicBezTo>
                  <a:pt x="259" y="61"/>
                  <a:pt x="259" y="61"/>
                  <a:pt x="259" y="61"/>
                </a:cubicBezTo>
                <a:cubicBezTo>
                  <a:pt x="259" y="176"/>
                  <a:pt x="259" y="176"/>
                  <a:pt x="259" y="176"/>
                </a:cubicBezTo>
                <a:lnTo>
                  <a:pt x="236" y="183"/>
                </a:lnTo>
                <a:close/>
                <a:moveTo>
                  <a:pt x="222" y="187"/>
                </a:moveTo>
                <a:cubicBezTo>
                  <a:pt x="199" y="194"/>
                  <a:pt x="199" y="194"/>
                  <a:pt x="199" y="194"/>
                </a:cubicBezTo>
                <a:cubicBezTo>
                  <a:pt x="199" y="80"/>
                  <a:pt x="199" y="80"/>
                  <a:pt x="199" y="80"/>
                </a:cubicBezTo>
                <a:cubicBezTo>
                  <a:pt x="222" y="73"/>
                  <a:pt x="222" y="73"/>
                  <a:pt x="222" y="73"/>
                </a:cubicBezTo>
                <a:lnTo>
                  <a:pt x="222" y="187"/>
                </a:lnTo>
                <a:close/>
                <a:moveTo>
                  <a:pt x="185" y="199"/>
                </a:moveTo>
                <a:cubicBezTo>
                  <a:pt x="162" y="206"/>
                  <a:pt x="162" y="206"/>
                  <a:pt x="162" y="206"/>
                </a:cubicBezTo>
                <a:cubicBezTo>
                  <a:pt x="162" y="91"/>
                  <a:pt x="162" y="91"/>
                  <a:pt x="162" y="91"/>
                </a:cubicBezTo>
                <a:cubicBezTo>
                  <a:pt x="185" y="84"/>
                  <a:pt x="185" y="84"/>
                  <a:pt x="185" y="84"/>
                </a:cubicBezTo>
                <a:lnTo>
                  <a:pt x="185" y="199"/>
                </a:lnTo>
                <a:close/>
                <a:moveTo>
                  <a:pt x="148" y="210"/>
                </a:moveTo>
                <a:cubicBezTo>
                  <a:pt x="125" y="217"/>
                  <a:pt x="125" y="217"/>
                  <a:pt x="125" y="217"/>
                </a:cubicBezTo>
                <a:cubicBezTo>
                  <a:pt x="125" y="103"/>
                  <a:pt x="125" y="103"/>
                  <a:pt x="125" y="103"/>
                </a:cubicBezTo>
                <a:cubicBezTo>
                  <a:pt x="148" y="96"/>
                  <a:pt x="148" y="96"/>
                  <a:pt x="148" y="96"/>
                </a:cubicBezTo>
                <a:lnTo>
                  <a:pt x="148" y="210"/>
                </a:lnTo>
                <a:close/>
                <a:moveTo>
                  <a:pt x="111" y="214"/>
                </a:moveTo>
                <a:cubicBezTo>
                  <a:pt x="88" y="198"/>
                  <a:pt x="88" y="198"/>
                  <a:pt x="88" y="198"/>
                </a:cubicBezTo>
                <a:cubicBezTo>
                  <a:pt x="88" y="82"/>
                  <a:pt x="88" y="82"/>
                  <a:pt x="88" y="82"/>
                </a:cubicBezTo>
                <a:cubicBezTo>
                  <a:pt x="111" y="101"/>
                  <a:pt x="111" y="101"/>
                  <a:pt x="111" y="101"/>
                </a:cubicBezTo>
                <a:lnTo>
                  <a:pt x="111" y="214"/>
                </a:lnTo>
                <a:close/>
                <a:moveTo>
                  <a:pt x="74" y="188"/>
                </a:moveTo>
                <a:cubicBezTo>
                  <a:pt x="51" y="173"/>
                  <a:pt x="51" y="173"/>
                  <a:pt x="51" y="173"/>
                </a:cubicBezTo>
                <a:cubicBezTo>
                  <a:pt x="51" y="52"/>
                  <a:pt x="51" y="52"/>
                  <a:pt x="51" y="52"/>
                </a:cubicBezTo>
                <a:cubicBezTo>
                  <a:pt x="74" y="71"/>
                  <a:pt x="74" y="71"/>
                  <a:pt x="74" y="71"/>
                </a:cubicBezTo>
                <a:lnTo>
                  <a:pt x="74" y="188"/>
                </a:lnTo>
                <a:close/>
                <a:moveTo>
                  <a:pt x="348" y="256"/>
                </a:moveTo>
                <a:cubicBezTo>
                  <a:pt x="348" y="124"/>
                  <a:pt x="348" y="124"/>
                  <a:pt x="348" y="124"/>
                </a:cubicBezTo>
                <a:cubicBezTo>
                  <a:pt x="371" y="146"/>
                  <a:pt x="371" y="146"/>
                  <a:pt x="371" y="146"/>
                </a:cubicBezTo>
                <a:cubicBezTo>
                  <a:pt x="371" y="286"/>
                  <a:pt x="371" y="286"/>
                  <a:pt x="371" y="286"/>
                </a:cubicBezTo>
                <a:lnTo>
                  <a:pt x="348" y="256"/>
                </a:lnTo>
                <a:close/>
                <a:moveTo>
                  <a:pt x="334" y="238"/>
                </a:moveTo>
                <a:cubicBezTo>
                  <a:pt x="310" y="208"/>
                  <a:pt x="310" y="208"/>
                  <a:pt x="310" y="208"/>
                </a:cubicBezTo>
                <a:cubicBezTo>
                  <a:pt x="310" y="89"/>
                  <a:pt x="310" y="89"/>
                  <a:pt x="310" y="89"/>
                </a:cubicBezTo>
                <a:cubicBezTo>
                  <a:pt x="334" y="111"/>
                  <a:pt x="334" y="111"/>
                  <a:pt x="334" y="111"/>
                </a:cubicBezTo>
                <a:lnTo>
                  <a:pt x="334" y="238"/>
                </a:lnTo>
                <a:close/>
                <a:moveTo>
                  <a:pt x="533" y="310"/>
                </a:moveTo>
                <a:cubicBezTo>
                  <a:pt x="533" y="179"/>
                  <a:pt x="533" y="179"/>
                  <a:pt x="533" y="179"/>
                </a:cubicBezTo>
                <a:cubicBezTo>
                  <a:pt x="556" y="179"/>
                  <a:pt x="556" y="179"/>
                  <a:pt x="556" y="179"/>
                </a:cubicBezTo>
                <a:cubicBezTo>
                  <a:pt x="556" y="304"/>
                  <a:pt x="556" y="304"/>
                  <a:pt x="556" y="304"/>
                </a:cubicBezTo>
                <a:lnTo>
                  <a:pt x="533" y="310"/>
                </a:lnTo>
                <a:close/>
                <a:moveTo>
                  <a:pt x="519" y="313"/>
                </a:moveTo>
                <a:cubicBezTo>
                  <a:pt x="496" y="318"/>
                  <a:pt x="496" y="318"/>
                  <a:pt x="496" y="318"/>
                </a:cubicBezTo>
                <a:cubicBezTo>
                  <a:pt x="496" y="179"/>
                  <a:pt x="496" y="179"/>
                  <a:pt x="496" y="179"/>
                </a:cubicBezTo>
                <a:cubicBezTo>
                  <a:pt x="519" y="179"/>
                  <a:pt x="519" y="179"/>
                  <a:pt x="519" y="179"/>
                </a:cubicBezTo>
                <a:lnTo>
                  <a:pt x="519" y="313"/>
                </a:lnTo>
                <a:close/>
                <a:moveTo>
                  <a:pt x="482" y="322"/>
                </a:moveTo>
                <a:cubicBezTo>
                  <a:pt x="459" y="327"/>
                  <a:pt x="459" y="327"/>
                  <a:pt x="459" y="327"/>
                </a:cubicBezTo>
                <a:cubicBezTo>
                  <a:pt x="459" y="179"/>
                  <a:pt x="459" y="179"/>
                  <a:pt x="459" y="179"/>
                </a:cubicBezTo>
                <a:cubicBezTo>
                  <a:pt x="482" y="179"/>
                  <a:pt x="482" y="179"/>
                  <a:pt x="482" y="179"/>
                </a:cubicBezTo>
                <a:lnTo>
                  <a:pt x="482" y="322"/>
                </a:lnTo>
                <a:close/>
                <a:moveTo>
                  <a:pt x="445" y="330"/>
                </a:moveTo>
                <a:cubicBezTo>
                  <a:pt x="422" y="336"/>
                  <a:pt x="422" y="336"/>
                  <a:pt x="422" y="336"/>
                </a:cubicBezTo>
                <a:cubicBezTo>
                  <a:pt x="422" y="179"/>
                  <a:pt x="422" y="179"/>
                  <a:pt x="422" y="179"/>
                </a:cubicBezTo>
                <a:cubicBezTo>
                  <a:pt x="445" y="179"/>
                  <a:pt x="445" y="179"/>
                  <a:pt x="445" y="179"/>
                </a:cubicBezTo>
                <a:lnTo>
                  <a:pt x="445" y="330"/>
                </a:lnTo>
                <a:close/>
                <a:moveTo>
                  <a:pt x="593" y="296"/>
                </a:moveTo>
                <a:cubicBezTo>
                  <a:pt x="570" y="301"/>
                  <a:pt x="570" y="301"/>
                  <a:pt x="570" y="301"/>
                </a:cubicBezTo>
                <a:cubicBezTo>
                  <a:pt x="570" y="179"/>
                  <a:pt x="570" y="179"/>
                  <a:pt x="570" y="179"/>
                </a:cubicBezTo>
                <a:cubicBezTo>
                  <a:pt x="593" y="179"/>
                  <a:pt x="593" y="179"/>
                  <a:pt x="593" y="179"/>
                </a:cubicBezTo>
                <a:lnTo>
                  <a:pt x="593" y="296"/>
                </a:lnTo>
                <a:close/>
                <a:moveTo>
                  <a:pt x="408" y="179"/>
                </a:moveTo>
                <a:cubicBezTo>
                  <a:pt x="408" y="179"/>
                  <a:pt x="408" y="179"/>
                  <a:pt x="408" y="179"/>
                </a:cubicBezTo>
                <a:cubicBezTo>
                  <a:pt x="408" y="335"/>
                  <a:pt x="408" y="335"/>
                  <a:pt x="408" y="335"/>
                </a:cubicBezTo>
                <a:cubicBezTo>
                  <a:pt x="385" y="305"/>
                  <a:pt x="385" y="305"/>
                  <a:pt x="385" y="305"/>
                </a:cubicBezTo>
                <a:cubicBezTo>
                  <a:pt x="385" y="160"/>
                  <a:pt x="385" y="160"/>
                  <a:pt x="385" y="160"/>
                </a:cubicBezTo>
                <a:cubicBezTo>
                  <a:pt x="403" y="177"/>
                  <a:pt x="403" y="177"/>
                  <a:pt x="403" y="177"/>
                </a:cubicBezTo>
                <a:cubicBezTo>
                  <a:pt x="404" y="178"/>
                  <a:pt x="406" y="179"/>
                  <a:pt x="408" y="179"/>
                </a:cubicBezTo>
                <a:close/>
                <a:moveTo>
                  <a:pt x="276" y="56"/>
                </a:moveTo>
                <a:cubicBezTo>
                  <a:pt x="296" y="75"/>
                  <a:pt x="296" y="75"/>
                  <a:pt x="296" y="75"/>
                </a:cubicBezTo>
                <a:cubicBezTo>
                  <a:pt x="296" y="189"/>
                  <a:pt x="296" y="189"/>
                  <a:pt x="296" y="189"/>
                </a:cubicBezTo>
                <a:cubicBezTo>
                  <a:pt x="284" y="173"/>
                  <a:pt x="284" y="173"/>
                  <a:pt x="284" y="173"/>
                </a:cubicBezTo>
                <a:cubicBezTo>
                  <a:pt x="284" y="173"/>
                  <a:pt x="283" y="172"/>
                  <a:pt x="283" y="172"/>
                </a:cubicBezTo>
                <a:cubicBezTo>
                  <a:pt x="282" y="172"/>
                  <a:pt x="282" y="172"/>
                  <a:pt x="282" y="172"/>
                </a:cubicBezTo>
                <a:cubicBezTo>
                  <a:pt x="282" y="171"/>
                  <a:pt x="281" y="171"/>
                  <a:pt x="281" y="171"/>
                </a:cubicBezTo>
                <a:cubicBezTo>
                  <a:pt x="281" y="171"/>
                  <a:pt x="280" y="171"/>
                  <a:pt x="280" y="171"/>
                </a:cubicBezTo>
                <a:cubicBezTo>
                  <a:pt x="280" y="171"/>
                  <a:pt x="279" y="170"/>
                  <a:pt x="278" y="170"/>
                </a:cubicBezTo>
                <a:cubicBezTo>
                  <a:pt x="278" y="170"/>
                  <a:pt x="278" y="170"/>
                  <a:pt x="278" y="170"/>
                </a:cubicBezTo>
                <a:cubicBezTo>
                  <a:pt x="278" y="170"/>
                  <a:pt x="278" y="170"/>
                  <a:pt x="278" y="170"/>
                </a:cubicBezTo>
                <a:cubicBezTo>
                  <a:pt x="278" y="170"/>
                  <a:pt x="277" y="170"/>
                  <a:pt x="276" y="171"/>
                </a:cubicBezTo>
                <a:cubicBezTo>
                  <a:pt x="273" y="172"/>
                  <a:pt x="273" y="172"/>
                  <a:pt x="273" y="172"/>
                </a:cubicBezTo>
                <a:cubicBezTo>
                  <a:pt x="273" y="57"/>
                  <a:pt x="273" y="57"/>
                  <a:pt x="273" y="57"/>
                </a:cubicBezTo>
                <a:lnTo>
                  <a:pt x="276" y="56"/>
                </a:lnTo>
                <a:close/>
                <a:moveTo>
                  <a:pt x="14" y="22"/>
                </a:moveTo>
                <a:cubicBezTo>
                  <a:pt x="37" y="41"/>
                  <a:pt x="37" y="41"/>
                  <a:pt x="37" y="41"/>
                </a:cubicBezTo>
                <a:cubicBezTo>
                  <a:pt x="37" y="163"/>
                  <a:pt x="37" y="163"/>
                  <a:pt x="37" y="163"/>
                </a:cubicBezTo>
                <a:cubicBezTo>
                  <a:pt x="14" y="147"/>
                  <a:pt x="14" y="147"/>
                  <a:pt x="14" y="147"/>
                </a:cubicBezTo>
                <a:lnTo>
                  <a:pt x="14" y="22"/>
                </a:lnTo>
                <a:close/>
                <a:moveTo>
                  <a:pt x="593" y="462"/>
                </a:moveTo>
                <a:cubicBezTo>
                  <a:pt x="14" y="462"/>
                  <a:pt x="14" y="462"/>
                  <a:pt x="14" y="462"/>
                </a:cubicBezTo>
                <a:cubicBezTo>
                  <a:pt x="14" y="164"/>
                  <a:pt x="14" y="164"/>
                  <a:pt x="14" y="164"/>
                </a:cubicBezTo>
                <a:cubicBezTo>
                  <a:pt x="77" y="207"/>
                  <a:pt x="77" y="207"/>
                  <a:pt x="77" y="207"/>
                </a:cubicBezTo>
                <a:cubicBezTo>
                  <a:pt x="77" y="207"/>
                  <a:pt x="77" y="207"/>
                  <a:pt x="77" y="207"/>
                </a:cubicBezTo>
                <a:cubicBezTo>
                  <a:pt x="114" y="233"/>
                  <a:pt x="114" y="233"/>
                  <a:pt x="114" y="233"/>
                </a:cubicBezTo>
                <a:cubicBezTo>
                  <a:pt x="114" y="233"/>
                  <a:pt x="114" y="233"/>
                  <a:pt x="114" y="233"/>
                </a:cubicBezTo>
                <a:cubicBezTo>
                  <a:pt x="114" y="233"/>
                  <a:pt x="115" y="233"/>
                  <a:pt x="115" y="233"/>
                </a:cubicBezTo>
                <a:cubicBezTo>
                  <a:pt x="115" y="233"/>
                  <a:pt x="116" y="233"/>
                  <a:pt x="116" y="233"/>
                </a:cubicBezTo>
                <a:cubicBezTo>
                  <a:pt x="116" y="233"/>
                  <a:pt x="116" y="234"/>
                  <a:pt x="117" y="234"/>
                </a:cubicBezTo>
                <a:cubicBezTo>
                  <a:pt x="117" y="234"/>
                  <a:pt x="117" y="234"/>
                  <a:pt x="117" y="234"/>
                </a:cubicBezTo>
                <a:cubicBezTo>
                  <a:pt x="118" y="234"/>
                  <a:pt x="118" y="234"/>
                  <a:pt x="118" y="234"/>
                </a:cubicBezTo>
                <a:cubicBezTo>
                  <a:pt x="118" y="234"/>
                  <a:pt x="118" y="234"/>
                  <a:pt x="118" y="234"/>
                </a:cubicBezTo>
                <a:cubicBezTo>
                  <a:pt x="118" y="234"/>
                  <a:pt x="119" y="234"/>
                  <a:pt x="119" y="234"/>
                </a:cubicBezTo>
                <a:cubicBezTo>
                  <a:pt x="119" y="234"/>
                  <a:pt x="119" y="234"/>
                  <a:pt x="120" y="233"/>
                </a:cubicBezTo>
                <a:cubicBezTo>
                  <a:pt x="120" y="233"/>
                  <a:pt x="120" y="233"/>
                  <a:pt x="120" y="233"/>
                </a:cubicBezTo>
                <a:cubicBezTo>
                  <a:pt x="276" y="186"/>
                  <a:pt x="276" y="186"/>
                  <a:pt x="276" y="186"/>
                </a:cubicBezTo>
                <a:cubicBezTo>
                  <a:pt x="402" y="350"/>
                  <a:pt x="402" y="350"/>
                  <a:pt x="402" y="350"/>
                </a:cubicBezTo>
                <a:cubicBezTo>
                  <a:pt x="402" y="351"/>
                  <a:pt x="403" y="351"/>
                  <a:pt x="403" y="352"/>
                </a:cubicBezTo>
                <a:cubicBezTo>
                  <a:pt x="404" y="352"/>
                  <a:pt x="404" y="352"/>
                  <a:pt x="404" y="352"/>
                </a:cubicBezTo>
                <a:cubicBezTo>
                  <a:pt x="404" y="352"/>
                  <a:pt x="405" y="353"/>
                  <a:pt x="405" y="353"/>
                </a:cubicBezTo>
                <a:cubicBezTo>
                  <a:pt x="405" y="353"/>
                  <a:pt x="405" y="353"/>
                  <a:pt x="406" y="353"/>
                </a:cubicBezTo>
                <a:cubicBezTo>
                  <a:pt x="406" y="353"/>
                  <a:pt x="406" y="353"/>
                  <a:pt x="407" y="353"/>
                </a:cubicBezTo>
                <a:cubicBezTo>
                  <a:pt x="407" y="353"/>
                  <a:pt x="407" y="353"/>
                  <a:pt x="407" y="353"/>
                </a:cubicBezTo>
                <a:cubicBezTo>
                  <a:pt x="407" y="353"/>
                  <a:pt x="408" y="353"/>
                  <a:pt x="408" y="353"/>
                </a:cubicBezTo>
                <a:cubicBezTo>
                  <a:pt x="408" y="353"/>
                  <a:pt x="409" y="353"/>
                  <a:pt x="409" y="353"/>
                </a:cubicBezTo>
                <a:cubicBezTo>
                  <a:pt x="412" y="352"/>
                  <a:pt x="412" y="352"/>
                  <a:pt x="412" y="352"/>
                </a:cubicBezTo>
                <a:cubicBezTo>
                  <a:pt x="413" y="353"/>
                  <a:pt x="414" y="353"/>
                  <a:pt x="415" y="353"/>
                </a:cubicBezTo>
                <a:cubicBezTo>
                  <a:pt x="417" y="353"/>
                  <a:pt x="419" y="352"/>
                  <a:pt x="420" y="350"/>
                </a:cubicBezTo>
                <a:cubicBezTo>
                  <a:pt x="453" y="343"/>
                  <a:pt x="453" y="343"/>
                  <a:pt x="453" y="343"/>
                </a:cubicBezTo>
                <a:cubicBezTo>
                  <a:pt x="453" y="343"/>
                  <a:pt x="453" y="343"/>
                  <a:pt x="453" y="343"/>
                </a:cubicBezTo>
                <a:cubicBezTo>
                  <a:pt x="490" y="334"/>
                  <a:pt x="490" y="334"/>
                  <a:pt x="490" y="334"/>
                </a:cubicBezTo>
                <a:cubicBezTo>
                  <a:pt x="490" y="334"/>
                  <a:pt x="490" y="334"/>
                  <a:pt x="490" y="334"/>
                </a:cubicBezTo>
                <a:cubicBezTo>
                  <a:pt x="565" y="317"/>
                  <a:pt x="565" y="317"/>
                  <a:pt x="565" y="317"/>
                </a:cubicBezTo>
                <a:cubicBezTo>
                  <a:pt x="565" y="317"/>
                  <a:pt x="565" y="317"/>
                  <a:pt x="565" y="317"/>
                </a:cubicBezTo>
                <a:cubicBezTo>
                  <a:pt x="593" y="310"/>
                  <a:pt x="593" y="310"/>
                  <a:pt x="593" y="310"/>
                </a:cubicBezTo>
                <a:lnTo>
                  <a:pt x="593" y="46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77" name="Oval 16"/>
          <p:cNvSpPr>
            <a:spLocks noChangeArrowheads="1"/>
          </p:cNvSpPr>
          <p:nvPr/>
        </p:nvSpPr>
        <p:spPr bwMode="auto">
          <a:xfrm>
            <a:off x="4845101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58" name="Freeform 125"/>
          <p:cNvSpPr>
            <a:spLocks noEditPoints="1"/>
          </p:cNvSpPr>
          <p:nvPr/>
        </p:nvSpPr>
        <p:spPr bwMode="auto">
          <a:xfrm>
            <a:off x="4973019" y="3715213"/>
            <a:ext cx="567127" cy="322028"/>
          </a:xfrm>
          <a:custGeom>
            <a:avLst/>
            <a:gdLst>
              <a:gd name="T0" fmla="*/ 684 w 733"/>
              <a:gd name="T1" fmla="*/ 318 h 416"/>
              <a:gd name="T2" fmla="*/ 239 w 733"/>
              <a:gd name="T3" fmla="*/ 318 h 416"/>
              <a:gd name="T4" fmla="*/ 239 w 733"/>
              <a:gd name="T5" fmla="*/ 269 h 416"/>
              <a:gd name="T6" fmla="*/ 650 w 733"/>
              <a:gd name="T7" fmla="*/ 269 h 416"/>
              <a:gd name="T8" fmla="*/ 657 w 733"/>
              <a:gd name="T9" fmla="*/ 262 h 416"/>
              <a:gd name="T10" fmla="*/ 657 w 733"/>
              <a:gd name="T11" fmla="*/ 152 h 416"/>
              <a:gd name="T12" fmla="*/ 680 w 733"/>
              <a:gd name="T13" fmla="*/ 148 h 416"/>
              <a:gd name="T14" fmla="*/ 685 w 733"/>
              <a:gd name="T15" fmla="*/ 141 h 416"/>
              <a:gd name="T16" fmla="*/ 560 w 733"/>
              <a:gd name="T17" fmla="*/ 0 h 416"/>
              <a:gd name="T18" fmla="*/ 214 w 733"/>
              <a:gd name="T19" fmla="*/ 83 h 416"/>
              <a:gd name="T20" fmla="*/ 92 w 733"/>
              <a:gd name="T21" fmla="*/ 149 h 416"/>
              <a:gd name="T22" fmla="*/ 42 w 733"/>
              <a:gd name="T23" fmla="*/ 203 h 416"/>
              <a:gd name="T24" fmla="*/ 42 w 733"/>
              <a:gd name="T25" fmla="*/ 319 h 416"/>
              <a:gd name="T26" fmla="*/ 0 w 733"/>
              <a:gd name="T27" fmla="*/ 367 h 416"/>
              <a:gd name="T28" fmla="*/ 49 w 733"/>
              <a:gd name="T29" fmla="*/ 416 h 416"/>
              <a:gd name="T30" fmla="*/ 684 w 733"/>
              <a:gd name="T31" fmla="*/ 416 h 416"/>
              <a:gd name="T32" fmla="*/ 733 w 733"/>
              <a:gd name="T33" fmla="*/ 367 h 416"/>
              <a:gd name="T34" fmla="*/ 684 w 733"/>
              <a:gd name="T35" fmla="*/ 318 h 416"/>
              <a:gd name="T36" fmla="*/ 643 w 733"/>
              <a:gd name="T37" fmla="*/ 255 h 416"/>
              <a:gd name="T38" fmla="*/ 239 w 733"/>
              <a:gd name="T39" fmla="*/ 255 h 416"/>
              <a:gd name="T40" fmla="*/ 239 w 733"/>
              <a:gd name="T41" fmla="*/ 229 h 416"/>
              <a:gd name="T42" fmla="*/ 643 w 733"/>
              <a:gd name="T43" fmla="*/ 155 h 416"/>
              <a:gd name="T44" fmla="*/ 643 w 733"/>
              <a:gd name="T45" fmla="*/ 255 h 416"/>
              <a:gd name="T46" fmla="*/ 220 w 733"/>
              <a:gd name="T47" fmla="*/ 96 h 416"/>
              <a:gd name="T48" fmla="*/ 560 w 733"/>
              <a:gd name="T49" fmla="*/ 14 h 416"/>
              <a:gd name="T50" fmla="*/ 671 w 733"/>
              <a:gd name="T51" fmla="*/ 136 h 416"/>
              <a:gd name="T52" fmla="*/ 231 w 733"/>
              <a:gd name="T53" fmla="*/ 216 h 416"/>
              <a:gd name="T54" fmla="*/ 225 w 733"/>
              <a:gd name="T55" fmla="*/ 223 h 416"/>
              <a:gd name="T56" fmla="*/ 225 w 733"/>
              <a:gd name="T57" fmla="*/ 318 h 416"/>
              <a:gd name="T58" fmla="*/ 56 w 733"/>
              <a:gd name="T59" fmla="*/ 318 h 416"/>
              <a:gd name="T60" fmla="*/ 56 w 733"/>
              <a:gd name="T61" fmla="*/ 203 h 416"/>
              <a:gd name="T62" fmla="*/ 220 w 733"/>
              <a:gd name="T63" fmla="*/ 96 h 416"/>
              <a:gd name="T64" fmla="*/ 684 w 733"/>
              <a:gd name="T65" fmla="*/ 402 h 416"/>
              <a:gd name="T66" fmla="*/ 49 w 733"/>
              <a:gd name="T67" fmla="*/ 402 h 416"/>
              <a:gd name="T68" fmla="*/ 14 w 733"/>
              <a:gd name="T69" fmla="*/ 367 h 416"/>
              <a:gd name="T70" fmla="*/ 49 w 733"/>
              <a:gd name="T71" fmla="*/ 332 h 416"/>
              <a:gd name="T72" fmla="*/ 684 w 733"/>
              <a:gd name="T73" fmla="*/ 332 h 416"/>
              <a:gd name="T74" fmla="*/ 719 w 733"/>
              <a:gd name="T75" fmla="*/ 367 h 416"/>
              <a:gd name="T76" fmla="*/ 684 w 733"/>
              <a:gd name="T77" fmla="*/ 402 h 4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33" h="416">
                <a:moveTo>
                  <a:pt x="684" y="318"/>
                </a:moveTo>
                <a:cubicBezTo>
                  <a:pt x="239" y="318"/>
                  <a:pt x="239" y="318"/>
                  <a:pt x="239" y="318"/>
                </a:cubicBezTo>
                <a:cubicBezTo>
                  <a:pt x="239" y="269"/>
                  <a:pt x="239" y="269"/>
                  <a:pt x="239" y="269"/>
                </a:cubicBezTo>
                <a:cubicBezTo>
                  <a:pt x="650" y="269"/>
                  <a:pt x="650" y="269"/>
                  <a:pt x="650" y="269"/>
                </a:cubicBezTo>
                <a:cubicBezTo>
                  <a:pt x="654" y="269"/>
                  <a:pt x="657" y="266"/>
                  <a:pt x="657" y="262"/>
                </a:cubicBezTo>
                <a:cubicBezTo>
                  <a:pt x="657" y="152"/>
                  <a:pt x="657" y="152"/>
                  <a:pt x="657" y="152"/>
                </a:cubicBezTo>
                <a:cubicBezTo>
                  <a:pt x="680" y="148"/>
                  <a:pt x="680" y="148"/>
                  <a:pt x="680" y="148"/>
                </a:cubicBezTo>
                <a:cubicBezTo>
                  <a:pt x="683" y="147"/>
                  <a:pt x="686" y="144"/>
                  <a:pt x="685" y="141"/>
                </a:cubicBezTo>
                <a:cubicBezTo>
                  <a:pt x="680" y="72"/>
                  <a:pt x="674" y="0"/>
                  <a:pt x="560" y="0"/>
                </a:cubicBezTo>
                <a:cubicBezTo>
                  <a:pt x="422" y="0"/>
                  <a:pt x="284" y="52"/>
                  <a:pt x="214" y="83"/>
                </a:cubicBezTo>
                <a:cubicBezTo>
                  <a:pt x="167" y="104"/>
                  <a:pt x="124" y="127"/>
                  <a:pt x="92" y="149"/>
                </a:cubicBezTo>
                <a:cubicBezTo>
                  <a:pt x="59" y="172"/>
                  <a:pt x="42" y="190"/>
                  <a:pt x="42" y="203"/>
                </a:cubicBezTo>
                <a:cubicBezTo>
                  <a:pt x="42" y="319"/>
                  <a:pt x="42" y="319"/>
                  <a:pt x="42" y="319"/>
                </a:cubicBezTo>
                <a:cubicBezTo>
                  <a:pt x="19" y="322"/>
                  <a:pt x="0" y="343"/>
                  <a:pt x="0" y="367"/>
                </a:cubicBezTo>
                <a:cubicBezTo>
                  <a:pt x="0" y="394"/>
                  <a:pt x="22" y="416"/>
                  <a:pt x="49" y="416"/>
                </a:cubicBezTo>
                <a:cubicBezTo>
                  <a:pt x="684" y="416"/>
                  <a:pt x="684" y="416"/>
                  <a:pt x="684" y="416"/>
                </a:cubicBezTo>
                <a:cubicBezTo>
                  <a:pt x="711" y="416"/>
                  <a:pt x="733" y="394"/>
                  <a:pt x="733" y="367"/>
                </a:cubicBezTo>
                <a:cubicBezTo>
                  <a:pt x="733" y="340"/>
                  <a:pt x="711" y="318"/>
                  <a:pt x="684" y="318"/>
                </a:cubicBezTo>
                <a:close/>
                <a:moveTo>
                  <a:pt x="643" y="255"/>
                </a:moveTo>
                <a:cubicBezTo>
                  <a:pt x="239" y="255"/>
                  <a:pt x="239" y="255"/>
                  <a:pt x="239" y="255"/>
                </a:cubicBezTo>
                <a:cubicBezTo>
                  <a:pt x="239" y="229"/>
                  <a:pt x="239" y="229"/>
                  <a:pt x="239" y="229"/>
                </a:cubicBezTo>
                <a:cubicBezTo>
                  <a:pt x="643" y="155"/>
                  <a:pt x="643" y="155"/>
                  <a:pt x="643" y="155"/>
                </a:cubicBezTo>
                <a:lnTo>
                  <a:pt x="643" y="255"/>
                </a:lnTo>
                <a:close/>
                <a:moveTo>
                  <a:pt x="220" y="96"/>
                </a:moveTo>
                <a:cubicBezTo>
                  <a:pt x="337" y="44"/>
                  <a:pt x="461" y="14"/>
                  <a:pt x="560" y="14"/>
                </a:cubicBezTo>
                <a:cubicBezTo>
                  <a:pt x="658" y="14"/>
                  <a:pt x="665" y="70"/>
                  <a:pt x="671" y="136"/>
                </a:cubicBezTo>
                <a:cubicBezTo>
                  <a:pt x="231" y="216"/>
                  <a:pt x="231" y="216"/>
                  <a:pt x="231" y="216"/>
                </a:cubicBezTo>
                <a:cubicBezTo>
                  <a:pt x="228" y="217"/>
                  <a:pt x="225" y="220"/>
                  <a:pt x="225" y="223"/>
                </a:cubicBezTo>
                <a:cubicBezTo>
                  <a:pt x="225" y="318"/>
                  <a:pt x="225" y="318"/>
                  <a:pt x="225" y="318"/>
                </a:cubicBezTo>
                <a:cubicBezTo>
                  <a:pt x="56" y="318"/>
                  <a:pt x="56" y="318"/>
                  <a:pt x="56" y="318"/>
                </a:cubicBezTo>
                <a:cubicBezTo>
                  <a:pt x="56" y="203"/>
                  <a:pt x="56" y="203"/>
                  <a:pt x="56" y="203"/>
                </a:cubicBezTo>
                <a:cubicBezTo>
                  <a:pt x="56" y="189"/>
                  <a:pt x="114" y="143"/>
                  <a:pt x="220" y="96"/>
                </a:cubicBezTo>
                <a:close/>
                <a:moveTo>
                  <a:pt x="684" y="402"/>
                </a:moveTo>
                <a:cubicBezTo>
                  <a:pt x="49" y="402"/>
                  <a:pt x="49" y="402"/>
                  <a:pt x="49" y="402"/>
                </a:cubicBezTo>
                <a:cubicBezTo>
                  <a:pt x="30" y="402"/>
                  <a:pt x="14" y="386"/>
                  <a:pt x="14" y="367"/>
                </a:cubicBezTo>
                <a:cubicBezTo>
                  <a:pt x="14" y="348"/>
                  <a:pt x="30" y="332"/>
                  <a:pt x="49" y="332"/>
                </a:cubicBezTo>
                <a:cubicBezTo>
                  <a:pt x="684" y="332"/>
                  <a:pt x="684" y="332"/>
                  <a:pt x="684" y="332"/>
                </a:cubicBezTo>
                <a:cubicBezTo>
                  <a:pt x="703" y="332"/>
                  <a:pt x="719" y="348"/>
                  <a:pt x="719" y="367"/>
                </a:cubicBezTo>
                <a:cubicBezTo>
                  <a:pt x="719" y="386"/>
                  <a:pt x="703" y="402"/>
                  <a:pt x="684" y="40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0" name="Oval 7"/>
          <p:cNvSpPr>
            <a:spLocks noChangeArrowheads="1"/>
          </p:cNvSpPr>
          <p:nvPr/>
        </p:nvSpPr>
        <p:spPr bwMode="auto">
          <a:xfrm>
            <a:off x="6137845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59" name="Freeform 126"/>
          <p:cNvSpPr>
            <a:spLocks noEditPoints="1"/>
          </p:cNvSpPr>
          <p:nvPr/>
        </p:nvSpPr>
        <p:spPr bwMode="auto">
          <a:xfrm>
            <a:off x="6277391" y="1260003"/>
            <a:ext cx="543869" cy="550131"/>
          </a:xfrm>
          <a:custGeom>
            <a:avLst/>
            <a:gdLst>
              <a:gd name="T0" fmla="*/ 703 w 703"/>
              <a:gd name="T1" fmla="*/ 393 h 711"/>
              <a:gd name="T2" fmla="*/ 696 w 703"/>
              <a:gd name="T3" fmla="*/ 325 h 711"/>
              <a:gd name="T4" fmla="*/ 596 w 703"/>
              <a:gd name="T5" fmla="*/ 218 h 711"/>
              <a:gd name="T6" fmla="*/ 555 w 703"/>
              <a:gd name="T7" fmla="*/ 158 h 711"/>
              <a:gd name="T8" fmla="*/ 555 w 703"/>
              <a:gd name="T9" fmla="*/ 246 h 711"/>
              <a:gd name="T10" fmla="*/ 644 w 703"/>
              <a:gd name="T11" fmla="*/ 325 h 711"/>
              <a:gd name="T12" fmla="*/ 420 w 703"/>
              <a:gd name="T13" fmla="*/ 257 h 711"/>
              <a:gd name="T14" fmla="*/ 400 w 703"/>
              <a:gd name="T15" fmla="*/ 206 h 711"/>
              <a:gd name="T16" fmla="*/ 355 w 703"/>
              <a:gd name="T17" fmla="*/ 0 h 711"/>
              <a:gd name="T18" fmla="*/ 305 w 703"/>
              <a:gd name="T19" fmla="*/ 202 h 711"/>
              <a:gd name="T20" fmla="*/ 285 w 703"/>
              <a:gd name="T21" fmla="*/ 257 h 711"/>
              <a:gd name="T22" fmla="*/ 7 w 703"/>
              <a:gd name="T23" fmla="*/ 325 h 711"/>
              <a:gd name="T24" fmla="*/ 0 w 703"/>
              <a:gd name="T25" fmla="*/ 393 h 711"/>
              <a:gd name="T26" fmla="*/ 0 w 703"/>
              <a:gd name="T27" fmla="*/ 395 h 711"/>
              <a:gd name="T28" fmla="*/ 1 w 703"/>
              <a:gd name="T29" fmla="*/ 397 h 711"/>
              <a:gd name="T30" fmla="*/ 68 w 703"/>
              <a:gd name="T31" fmla="*/ 518 h 711"/>
              <a:gd name="T32" fmla="*/ 142 w 703"/>
              <a:gd name="T33" fmla="*/ 704 h 711"/>
              <a:gd name="T34" fmla="*/ 156 w 703"/>
              <a:gd name="T35" fmla="*/ 704 h 711"/>
              <a:gd name="T36" fmla="*/ 548 w 703"/>
              <a:gd name="T37" fmla="*/ 454 h 711"/>
              <a:gd name="T38" fmla="*/ 555 w 703"/>
              <a:gd name="T39" fmla="*/ 711 h 711"/>
              <a:gd name="T40" fmla="*/ 562 w 703"/>
              <a:gd name="T41" fmla="*/ 518 h 711"/>
              <a:gd name="T42" fmla="*/ 642 w 703"/>
              <a:gd name="T43" fmla="*/ 515 h 711"/>
              <a:gd name="T44" fmla="*/ 702 w 703"/>
              <a:gd name="T45" fmla="*/ 396 h 711"/>
              <a:gd name="T46" fmla="*/ 703 w 703"/>
              <a:gd name="T47" fmla="*/ 395 h 711"/>
              <a:gd name="T48" fmla="*/ 525 w 703"/>
              <a:gd name="T49" fmla="*/ 202 h 711"/>
              <a:gd name="T50" fmla="*/ 585 w 703"/>
              <a:gd name="T51" fmla="*/ 202 h 711"/>
              <a:gd name="T52" fmla="*/ 275 w 703"/>
              <a:gd name="T53" fmla="*/ 106 h 711"/>
              <a:gd name="T54" fmla="*/ 435 w 703"/>
              <a:gd name="T55" fmla="*/ 106 h 711"/>
              <a:gd name="T56" fmla="*/ 389 w 703"/>
              <a:gd name="T57" fmla="*/ 197 h 711"/>
              <a:gd name="T58" fmla="*/ 275 w 703"/>
              <a:gd name="T59" fmla="*/ 106 h 711"/>
              <a:gd name="T60" fmla="*/ 318 w 703"/>
              <a:gd name="T61" fmla="*/ 258 h 711"/>
              <a:gd name="T62" fmla="*/ 355 w 703"/>
              <a:gd name="T63" fmla="*/ 220 h 711"/>
              <a:gd name="T64" fmla="*/ 387 w 703"/>
              <a:gd name="T65" fmla="*/ 258 h 711"/>
              <a:gd name="T66" fmla="*/ 523 w 703"/>
              <a:gd name="T67" fmla="*/ 325 h 711"/>
              <a:gd name="T68" fmla="*/ 288 w 703"/>
              <a:gd name="T69" fmla="*/ 271 h 711"/>
              <a:gd name="T70" fmla="*/ 689 w 703"/>
              <a:gd name="T71" fmla="*/ 339 h 711"/>
              <a:gd name="T72" fmla="*/ 14 w 703"/>
              <a:gd name="T73" fmla="*/ 386 h 711"/>
              <a:gd name="T74" fmla="*/ 631 w 703"/>
              <a:gd name="T75" fmla="*/ 504 h 711"/>
              <a:gd name="T76" fmla="*/ 562 w 703"/>
              <a:gd name="T77" fmla="*/ 447 h 711"/>
              <a:gd name="T78" fmla="*/ 149 w 703"/>
              <a:gd name="T79" fmla="*/ 440 h 711"/>
              <a:gd name="T80" fmla="*/ 142 w 703"/>
              <a:gd name="T81" fmla="*/ 504 h 711"/>
              <a:gd name="T82" fmla="*/ 19 w 703"/>
              <a:gd name="T83" fmla="*/ 400 h 711"/>
              <a:gd name="T84" fmla="*/ 631 w 703"/>
              <a:gd name="T85" fmla="*/ 504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03" h="711">
                <a:moveTo>
                  <a:pt x="703" y="395"/>
                </a:moveTo>
                <a:cubicBezTo>
                  <a:pt x="703" y="394"/>
                  <a:pt x="703" y="394"/>
                  <a:pt x="703" y="393"/>
                </a:cubicBezTo>
                <a:cubicBezTo>
                  <a:pt x="703" y="332"/>
                  <a:pt x="703" y="332"/>
                  <a:pt x="703" y="332"/>
                </a:cubicBezTo>
                <a:cubicBezTo>
                  <a:pt x="703" y="328"/>
                  <a:pt x="700" y="325"/>
                  <a:pt x="696" y="325"/>
                </a:cubicBezTo>
                <a:cubicBezTo>
                  <a:pt x="658" y="325"/>
                  <a:pt x="658" y="325"/>
                  <a:pt x="658" y="325"/>
                </a:cubicBezTo>
                <a:cubicBezTo>
                  <a:pt x="656" y="274"/>
                  <a:pt x="626" y="232"/>
                  <a:pt x="596" y="218"/>
                </a:cubicBezTo>
                <a:cubicBezTo>
                  <a:pt x="598" y="213"/>
                  <a:pt x="599" y="208"/>
                  <a:pt x="599" y="202"/>
                </a:cubicBezTo>
                <a:cubicBezTo>
                  <a:pt x="599" y="178"/>
                  <a:pt x="579" y="158"/>
                  <a:pt x="555" y="158"/>
                </a:cubicBezTo>
                <a:cubicBezTo>
                  <a:pt x="530" y="158"/>
                  <a:pt x="511" y="178"/>
                  <a:pt x="511" y="202"/>
                </a:cubicBezTo>
                <a:cubicBezTo>
                  <a:pt x="511" y="226"/>
                  <a:pt x="530" y="246"/>
                  <a:pt x="555" y="246"/>
                </a:cubicBezTo>
                <a:cubicBezTo>
                  <a:pt x="568" y="246"/>
                  <a:pt x="580" y="240"/>
                  <a:pt x="589" y="230"/>
                </a:cubicBezTo>
                <a:cubicBezTo>
                  <a:pt x="616" y="242"/>
                  <a:pt x="642" y="278"/>
                  <a:pt x="644" y="325"/>
                </a:cubicBezTo>
                <a:cubicBezTo>
                  <a:pt x="537" y="325"/>
                  <a:pt x="537" y="325"/>
                  <a:pt x="537" y="325"/>
                </a:cubicBezTo>
                <a:cubicBezTo>
                  <a:pt x="524" y="276"/>
                  <a:pt x="457" y="264"/>
                  <a:pt x="420" y="257"/>
                </a:cubicBezTo>
                <a:cubicBezTo>
                  <a:pt x="413" y="256"/>
                  <a:pt x="404" y="254"/>
                  <a:pt x="400" y="253"/>
                </a:cubicBezTo>
                <a:cubicBezTo>
                  <a:pt x="399" y="244"/>
                  <a:pt x="400" y="222"/>
                  <a:pt x="400" y="206"/>
                </a:cubicBezTo>
                <a:cubicBezTo>
                  <a:pt x="430" y="187"/>
                  <a:pt x="449" y="149"/>
                  <a:pt x="449" y="106"/>
                </a:cubicBezTo>
                <a:cubicBezTo>
                  <a:pt x="449" y="45"/>
                  <a:pt x="409" y="0"/>
                  <a:pt x="355" y="0"/>
                </a:cubicBezTo>
                <a:cubicBezTo>
                  <a:pt x="302" y="0"/>
                  <a:pt x="261" y="45"/>
                  <a:pt x="261" y="106"/>
                </a:cubicBezTo>
                <a:cubicBezTo>
                  <a:pt x="261" y="147"/>
                  <a:pt x="279" y="182"/>
                  <a:pt x="305" y="202"/>
                </a:cubicBezTo>
                <a:cubicBezTo>
                  <a:pt x="306" y="218"/>
                  <a:pt x="306" y="243"/>
                  <a:pt x="305" y="253"/>
                </a:cubicBezTo>
                <a:cubicBezTo>
                  <a:pt x="301" y="254"/>
                  <a:pt x="293" y="256"/>
                  <a:pt x="285" y="257"/>
                </a:cubicBezTo>
                <a:cubicBezTo>
                  <a:pt x="248" y="264"/>
                  <a:pt x="182" y="276"/>
                  <a:pt x="168" y="325"/>
                </a:cubicBezTo>
                <a:cubicBezTo>
                  <a:pt x="7" y="325"/>
                  <a:pt x="7" y="325"/>
                  <a:pt x="7" y="325"/>
                </a:cubicBezTo>
                <a:cubicBezTo>
                  <a:pt x="3" y="325"/>
                  <a:pt x="0" y="328"/>
                  <a:pt x="0" y="332"/>
                </a:cubicBezTo>
                <a:cubicBezTo>
                  <a:pt x="0" y="393"/>
                  <a:pt x="0" y="393"/>
                  <a:pt x="0" y="393"/>
                </a:cubicBezTo>
                <a:cubicBezTo>
                  <a:pt x="0" y="394"/>
                  <a:pt x="0" y="394"/>
                  <a:pt x="0" y="395"/>
                </a:cubicBezTo>
                <a:cubicBezTo>
                  <a:pt x="0" y="395"/>
                  <a:pt x="0" y="395"/>
                  <a:pt x="0" y="395"/>
                </a:cubicBezTo>
                <a:cubicBezTo>
                  <a:pt x="1" y="396"/>
                  <a:pt x="1" y="396"/>
                  <a:pt x="1" y="396"/>
                </a:cubicBezTo>
                <a:cubicBezTo>
                  <a:pt x="1" y="397"/>
                  <a:pt x="1" y="397"/>
                  <a:pt x="1" y="397"/>
                </a:cubicBezTo>
                <a:cubicBezTo>
                  <a:pt x="62" y="515"/>
                  <a:pt x="62" y="515"/>
                  <a:pt x="62" y="515"/>
                </a:cubicBezTo>
                <a:cubicBezTo>
                  <a:pt x="63" y="517"/>
                  <a:pt x="65" y="518"/>
                  <a:pt x="68" y="518"/>
                </a:cubicBezTo>
                <a:cubicBezTo>
                  <a:pt x="142" y="518"/>
                  <a:pt x="142" y="518"/>
                  <a:pt x="142" y="518"/>
                </a:cubicBezTo>
                <a:cubicBezTo>
                  <a:pt x="142" y="704"/>
                  <a:pt x="142" y="704"/>
                  <a:pt x="142" y="704"/>
                </a:cubicBezTo>
                <a:cubicBezTo>
                  <a:pt x="142" y="708"/>
                  <a:pt x="145" y="711"/>
                  <a:pt x="149" y="711"/>
                </a:cubicBezTo>
                <a:cubicBezTo>
                  <a:pt x="153" y="711"/>
                  <a:pt x="156" y="708"/>
                  <a:pt x="156" y="704"/>
                </a:cubicBezTo>
                <a:cubicBezTo>
                  <a:pt x="156" y="454"/>
                  <a:pt x="156" y="454"/>
                  <a:pt x="156" y="454"/>
                </a:cubicBezTo>
                <a:cubicBezTo>
                  <a:pt x="548" y="454"/>
                  <a:pt x="548" y="454"/>
                  <a:pt x="548" y="454"/>
                </a:cubicBezTo>
                <a:cubicBezTo>
                  <a:pt x="548" y="704"/>
                  <a:pt x="548" y="704"/>
                  <a:pt x="548" y="704"/>
                </a:cubicBezTo>
                <a:cubicBezTo>
                  <a:pt x="548" y="708"/>
                  <a:pt x="551" y="711"/>
                  <a:pt x="555" y="711"/>
                </a:cubicBezTo>
                <a:cubicBezTo>
                  <a:pt x="559" y="711"/>
                  <a:pt x="562" y="708"/>
                  <a:pt x="562" y="704"/>
                </a:cubicBezTo>
                <a:cubicBezTo>
                  <a:pt x="562" y="518"/>
                  <a:pt x="562" y="518"/>
                  <a:pt x="562" y="518"/>
                </a:cubicBezTo>
                <a:cubicBezTo>
                  <a:pt x="635" y="518"/>
                  <a:pt x="635" y="518"/>
                  <a:pt x="635" y="518"/>
                </a:cubicBezTo>
                <a:cubicBezTo>
                  <a:pt x="638" y="518"/>
                  <a:pt x="640" y="517"/>
                  <a:pt x="642" y="515"/>
                </a:cubicBezTo>
                <a:cubicBezTo>
                  <a:pt x="702" y="397"/>
                  <a:pt x="702" y="397"/>
                  <a:pt x="702" y="397"/>
                </a:cubicBezTo>
                <a:cubicBezTo>
                  <a:pt x="702" y="397"/>
                  <a:pt x="702" y="397"/>
                  <a:pt x="702" y="396"/>
                </a:cubicBezTo>
                <a:cubicBezTo>
                  <a:pt x="703" y="396"/>
                  <a:pt x="703" y="396"/>
                  <a:pt x="703" y="395"/>
                </a:cubicBezTo>
                <a:cubicBezTo>
                  <a:pt x="703" y="395"/>
                  <a:pt x="703" y="395"/>
                  <a:pt x="703" y="395"/>
                </a:cubicBezTo>
                <a:close/>
                <a:moveTo>
                  <a:pt x="555" y="232"/>
                </a:moveTo>
                <a:cubicBezTo>
                  <a:pt x="538" y="232"/>
                  <a:pt x="525" y="218"/>
                  <a:pt x="525" y="202"/>
                </a:cubicBezTo>
                <a:cubicBezTo>
                  <a:pt x="525" y="185"/>
                  <a:pt x="538" y="172"/>
                  <a:pt x="555" y="172"/>
                </a:cubicBezTo>
                <a:cubicBezTo>
                  <a:pt x="571" y="172"/>
                  <a:pt x="585" y="185"/>
                  <a:pt x="585" y="202"/>
                </a:cubicBezTo>
                <a:cubicBezTo>
                  <a:pt x="585" y="218"/>
                  <a:pt x="571" y="232"/>
                  <a:pt x="555" y="232"/>
                </a:cubicBezTo>
                <a:close/>
                <a:moveTo>
                  <a:pt x="275" y="106"/>
                </a:moveTo>
                <a:cubicBezTo>
                  <a:pt x="275" y="53"/>
                  <a:pt x="310" y="14"/>
                  <a:pt x="355" y="14"/>
                </a:cubicBezTo>
                <a:cubicBezTo>
                  <a:pt x="401" y="14"/>
                  <a:pt x="435" y="53"/>
                  <a:pt x="435" y="106"/>
                </a:cubicBezTo>
                <a:cubicBezTo>
                  <a:pt x="435" y="145"/>
                  <a:pt x="418" y="179"/>
                  <a:pt x="392" y="195"/>
                </a:cubicBezTo>
                <a:cubicBezTo>
                  <a:pt x="390" y="195"/>
                  <a:pt x="389" y="196"/>
                  <a:pt x="389" y="197"/>
                </a:cubicBezTo>
                <a:cubicBezTo>
                  <a:pt x="378" y="203"/>
                  <a:pt x="367" y="206"/>
                  <a:pt x="355" y="206"/>
                </a:cubicBezTo>
                <a:cubicBezTo>
                  <a:pt x="311" y="206"/>
                  <a:pt x="275" y="161"/>
                  <a:pt x="275" y="106"/>
                </a:cubicBezTo>
                <a:close/>
                <a:moveTo>
                  <a:pt x="288" y="271"/>
                </a:moveTo>
                <a:cubicBezTo>
                  <a:pt x="308" y="267"/>
                  <a:pt x="317" y="266"/>
                  <a:pt x="318" y="258"/>
                </a:cubicBezTo>
                <a:cubicBezTo>
                  <a:pt x="320" y="250"/>
                  <a:pt x="320" y="226"/>
                  <a:pt x="319" y="211"/>
                </a:cubicBezTo>
                <a:cubicBezTo>
                  <a:pt x="330" y="217"/>
                  <a:pt x="342" y="220"/>
                  <a:pt x="355" y="220"/>
                </a:cubicBezTo>
                <a:cubicBezTo>
                  <a:pt x="366" y="220"/>
                  <a:pt x="376" y="218"/>
                  <a:pt x="386" y="214"/>
                </a:cubicBezTo>
                <a:cubicBezTo>
                  <a:pt x="386" y="228"/>
                  <a:pt x="385" y="251"/>
                  <a:pt x="387" y="258"/>
                </a:cubicBezTo>
                <a:cubicBezTo>
                  <a:pt x="389" y="266"/>
                  <a:pt x="397" y="267"/>
                  <a:pt x="418" y="271"/>
                </a:cubicBezTo>
                <a:cubicBezTo>
                  <a:pt x="452" y="277"/>
                  <a:pt x="509" y="288"/>
                  <a:pt x="523" y="325"/>
                </a:cubicBezTo>
                <a:cubicBezTo>
                  <a:pt x="183" y="325"/>
                  <a:pt x="183" y="325"/>
                  <a:pt x="183" y="325"/>
                </a:cubicBezTo>
                <a:cubicBezTo>
                  <a:pt x="197" y="288"/>
                  <a:pt x="253" y="277"/>
                  <a:pt x="288" y="271"/>
                </a:cubicBezTo>
                <a:close/>
                <a:moveTo>
                  <a:pt x="14" y="339"/>
                </a:moveTo>
                <a:cubicBezTo>
                  <a:pt x="689" y="339"/>
                  <a:pt x="689" y="339"/>
                  <a:pt x="689" y="339"/>
                </a:cubicBezTo>
                <a:cubicBezTo>
                  <a:pt x="689" y="386"/>
                  <a:pt x="689" y="386"/>
                  <a:pt x="689" y="386"/>
                </a:cubicBezTo>
                <a:cubicBezTo>
                  <a:pt x="14" y="386"/>
                  <a:pt x="14" y="386"/>
                  <a:pt x="14" y="386"/>
                </a:cubicBezTo>
                <a:lnTo>
                  <a:pt x="14" y="339"/>
                </a:lnTo>
                <a:close/>
                <a:moveTo>
                  <a:pt x="631" y="504"/>
                </a:moveTo>
                <a:cubicBezTo>
                  <a:pt x="562" y="504"/>
                  <a:pt x="562" y="504"/>
                  <a:pt x="562" y="504"/>
                </a:cubicBezTo>
                <a:cubicBezTo>
                  <a:pt x="562" y="447"/>
                  <a:pt x="562" y="447"/>
                  <a:pt x="562" y="447"/>
                </a:cubicBezTo>
                <a:cubicBezTo>
                  <a:pt x="562" y="443"/>
                  <a:pt x="559" y="440"/>
                  <a:pt x="555" y="440"/>
                </a:cubicBezTo>
                <a:cubicBezTo>
                  <a:pt x="149" y="440"/>
                  <a:pt x="149" y="440"/>
                  <a:pt x="149" y="440"/>
                </a:cubicBezTo>
                <a:cubicBezTo>
                  <a:pt x="145" y="440"/>
                  <a:pt x="142" y="443"/>
                  <a:pt x="142" y="447"/>
                </a:cubicBezTo>
                <a:cubicBezTo>
                  <a:pt x="142" y="504"/>
                  <a:pt x="142" y="504"/>
                  <a:pt x="142" y="504"/>
                </a:cubicBezTo>
                <a:cubicBezTo>
                  <a:pt x="72" y="504"/>
                  <a:pt x="72" y="504"/>
                  <a:pt x="72" y="504"/>
                </a:cubicBezTo>
                <a:cubicBezTo>
                  <a:pt x="19" y="400"/>
                  <a:pt x="19" y="400"/>
                  <a:pt x="19" y="400"/>
                </a:cubicBezTo>
                <a:cubicBezTo>
                  <a:pt x="685" y="400"/>
                  <a:pt x="685" y="400"/>
                  <a:pt x="685" y="400"/>
                </a:cubicBezTo>
                <a:lnTo>
                  <a:pt x="631" y="5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" name="Oval 6"/>
          <p:cNvSpPr>
            <a:spLocks noChangeArrowheads="1"/>
          </p:cNvSpPr>
          <p:nvPr/>
        </p:nvSpPr>
        <p:spPr bwMode="auto">
          <a:xfrm>
            <a:off x="7430588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60" name="Freeform 127"/>
          <p:cNvSpPr>
            <a:spLocks noEditPoints="1"/>
          </p:cNvSpPr>
          <p:nvPr/>
        </p:nvSpPr>
        <p:spPr bwMode="auto">
          <a:xfrm>
            <a:off x="7570135" y="1320830"/>
            <a:ext cx="543869" cy="428477"/>
          </a:xfrm>
          <a:custGeom>
            <a:avLst/>
            <a:gdLst>
              <a:gd name="T0" fmla="*/ 703 w 703"/>
              <a:gd name="T1" fmla="*/ 237 h 553"/>
              <a:gd name="T2" fmla="*/ 703 w 703"/>
              <a:gd name="T3" fmla="*/ 235 h 553"/>
              <a:gd name="T4" fmla="*/ 703 w 703"/>
              <a:gd name="T5" fmla="*/ 174 h 553"/>
              <a:gd name="T6" fmla="*/ 696 w 703"/>
              <a:gd name="T7" fmla="*/ 167 h 553"/>
              <a:gd name="T8" fmla="*/ 658 w 703"/>
              <a:gd name="T9" fmla="*/ 167 h 553"/>
              <a:gd name="T10" fmla="*/ 595 w 703"/>
              <a:gd name="T11" fmla="*/ 60 h 553"/>
              <a:gd name="T12" fmla="*/ 599 w 703"/>
              <a:gd name="T13" fmla="*/ 44 h 553"/>
              <a:gd name="T14" fmla="*/ 554 w 703"/>
              <a:gd name="T15" fmla="*/ 0 h 553"/>
              <a:gd name="T16" fmla="*/ 510 w 703"/>
              <a:gd name="T17" fmla="*/ 44 h 553"/>
              <a:gd name="T18" fmla="*/ 554 w 703"/>
              <a:gd name="T19" fmla="*/ 88 h 553"/>
              <a:gd name="T20" fmla="*/ 588 w 703"/>
              <a:gd name="T21" fmla="*/ 72 h 553"/>
              <a:gd name="T22" fmla="*/ 644 w 703"/>
              <a:gd name="T23" fmla="*/ 167 h 553"/>
              <a:gd name="T24" fmla="*/ 7 w 703"/>
              <a:gd name="T25" fmla="*/ 167 h 553"/>
              <a:gd name="T26" fmla="*/ 0 w 703"/>
              <a:gd name="T27" fmla="*/ 174 h 553"/>
              <a:gd name="T28" fmla="*/ 0 w 703"/>
              <a:gd name="T29" fmla="*/ 235 h 553"/>
              <a:gd name="T30" fmla="*/ 0 w 703"/>
              <a:gd name="T31" fmla="*/ 237 h 553"/>
              <a:gd name="T32" fmla="*/ 0 w 703"/>
              <a:gd name="T33" fmla="*/ 237 h 553"/>
              <a:gd name="T34" fmla="*/ 1 w 703"/>
              <a:gd name="T35" fmla="*/ 238 h 553"/>
              <a:gd name="T36" fmla="*/ 1 w 703"/>
              <a:gd name="T37" fmla="*/ 239 h 553"/>
              <a:gd name="T38" fmla="*/ 62 w 703"/>
              <a:gd name="T39" fmla="*/ 357 h 553"/>
              <a:gd name="T40" fmla="*/ 68 w 703"/>
              <a:gd name="T41" fmla="*/ 360 h 553"/>
              <a:gd name="T42" fmla="*/ 141 w 703"/>
              <a:gd name="T43" fmla="*/ 360 h 553"/>
              <a:gd name="T44" fmla="*/ 141 w 703"/>
              <a:gd name="T45" fmla="*/ 546 h 553"/>
              <a:gd name="T46" fmla="*/ 148 w 703"/>
              <a:gd name="T47" fmla="*/ 553 h 553"/>
              <a:gd name="T48" fmla="*/ 155 w 703"/>
              <a:gd name="T49" fmla="*/ 546 h 553"/>
              <a:gd name="T50" fmla="*/ 155 w 703"/>
              <a:gd name="T51" fmla="*/ 296 h 553"/>
              <a:gd name="T52" fmla="*/ 547 w 703"/>
              <a:gd name="T53" fmla="*/ 296 h 553"/>
              <a:gd name="T54" fmla="*/ 547 w 703"/>
              <a:gd name="T55" fmla="*/ 546 h 553"/>
              <a:gd name="T56" fmla="*/ 554 w 703"/>
              <a:gd name="T57" fmla="*/ 553 h 553"/>
              <a:gd name="T58" fmla="*/ 561 w 703"/>
              <a:gd name="T59" fmla="*/ 546 h 553"/>
              <a:gd name="T60" fmla="*/ 561 w 703"/>
              <a:gd name="T61" fmla="*/ 360 h 553"/>
              <a:gd name="T62" fmla="*/ 635 w 703"/>
              <a:gd name="T63" fmla="*/ 360 h 553"/>
              <a:gd name="T64" fmla="*/ 641 w 703"/>
              <a:gd name="T65" fmla="*/ 357 h 553"/>
              <a:gd name="T66" fmla="*/ 702 w 703"/>
              <a:gd name="T67" fmla="*/ 239 h 553"/>
              <a:gd name="T68" fmla="*/ 702 w 703"/>
              <a:gd name="T69" fmla="*/ 238 h 553"/>
              <a:gd name="T70" fmla="*/ 703 w 703"/>
              <a:gd name="T71" fmla="*/ 237 h 553"/>
              <a:gd name="T72" fmla="*/ 703 w 703"/>
              <a:gd name="T73" fmla="*/ 237 h 553"/>
              <a:gd name="T74" fmla="*/ 554 w 703"/>
              <a:gd name="T75" fmla="*/ 74 h 553"/>
              <a:gd name="T76" fmla="*/ 524 w 703"/>
              <a:gd name="T77" fmla="*/ 44 h 553"/>
              <a:gd name="T78" fmla="*/ 554 w 703"/>
              <a:gd name="T79" fmla="*/ 14 h 553"/>
              <a:gd name="T80" fmla="*/ 585 w 703"/>
              <a:gd name="T81" fmla="*/ 44 h 553"/>
              <a:gd name="T82" fmla="*/ 554 w 703"/>
              <a:gd name="T83" fmla="*/ 74 h 553"/>
              <a:gd name="T84" fmla="*/ 14 w 703"/>
              <a:gd name="T85" fmla="*/ 181 h 553"/>
              <a:gd name="T86" fmla="*/ 689 w 703"/>
              <a:gd name="T87" fmla="*/ 181 h 553"/>
              <a:gd name="T88" fmla="*/ 689 w 703"/>
              <a:gd name="T89" fmla="*/ 228 h 553"/>
              <a:gd name="T90" fmla="*/ 14 w 703"/>
              <a:gd name="T91" fmla="*/ 228 h 553"/>
              <a:gd name="T92" fmla="*/ 14 w 703"/>
              <a:gd name="T93" fmla="*/ 181 h 553"/>
              <a:gd name="T94" fmla="*/ 631 w 703"/>
              <a:gd name="T95" fmla="*/ 346 h 553"/>
              <a:gd name="T96" fmla="*/ 561 w 703"/>
              <a:gd name="T97" fmla="*/ 346 h 553"/>
              <a:gd name="T98" fmla="*/ 561 w 703"/>
              <a:gd name="T99" fmla="*/ 289 h 553"/>
              <a:gd name="T100" fmla="*/ 554 w 703"/>
              <a:gd name="T101" fmla="*/ 282 h 553"/>
              <a:gd name="T102" fmla="*/ 148 w 703"/>
              <a:gd name="T103" fmla="*/ 282 h 553"/>
              <a:gd name="T104" fmla="*/ 141 w 703"/>
              <a:gd name="T105" fmla="*/ 289 h 553"/>
              <a:gd name="T106" fmla="*/ 141 w 703"/>
              <a:gd name="T107" fmla="*/ 346 h 553"/>
              <a:gd name="T108" fmla="*/ 72 w 703"/>
              <a:gd name="T109" fmla="*/ 346 h 553"/>
              <a:gd name="T110" fmla="*/ 18 w 703"/>
              <a:gd name="T111" fmla="*/ 242 h 553"/>
              <a:gd name="T112" fmla="*/ 684 w 703"/>
              <a:gd name="T113" fmla="*/ 242 h 553"/>
              <a:gd name="T114" fmla="*/ 631 w 703"/>
              <a:gd name="T115" fmla="*/ 346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03" h="553">
                <a:moveTo>
                  <a:pt x="703" y="237"/>
                </a:moveTo>
                <a:cubicBezTo>
                  <a:pt x="703" y="236"/>
                  <a:pt x="703" y="236"/>
                  <a:pt x="703" y="235"/>
                </a:cubicBezTo>
                <a:cubicBezTo>
                  <a:pt x="703" y="174"/>
                  <a:pt x="703" y="174"/>
                  <a:pt x="703" y="174"/>
                </a:cubicBezTo>
                <a:cubicBezTo>
                  <a:pt x="703" y="170"/>
                  <a:pt x="700" y="167"/>
                  <a:pt x="696" y="167"/>
                </a:cubicBezTo>
                <a:cubicBezTo>
                  <a:pt x="658" y="167"/>
                  <a:pt x="658" y="167"/>
                  <a:pt x="658" y="167"/>
                </a:cubicBezTo>
                <a:cubicBezTo>
                  <a:pt x="656" y="116"/>
                  <a:pt x="626" y="74"/>
                  <a:pt x="595" y="60"/>
                </a:cubicBezTo>
                <a:cubicBezTo>
                  <a:pt x="597" y="55"/>
                  <a:pt x="599" y="49"/>
                  <a:pt x="599" y="44"/>
                </a:cubicBezTo>
                <a:cubicBezTo>
                  <a:pt x="599" y="19"/>
                  <a:pt x="579" y="0"/>
                  <a:pt x="554" y="0"/>
                </a:cubicBezTo>
                <a:cubicBezTo>
                  <a:pt x="530" y="0"/>
                  <a:pt x="510" y="19"/>
                  <a:pt x="510" y="44"/>
                </a:cubicBezTo>
                <a:cubicBezTo>
                  <a:pt x="510" y="68"/>
                  <a:pt x="530" y="88"/>
                  <a:pt x="554" y="88"/>
                </a:cubicBezTo>
                <a:cubicBezTo>
                  <a:pt x="568" y="88"/>
                  <a:pt x="580" y="82"/>
                  <a:pt x="588" y="72"/>
                </a:cubicBezTo>
                <a:cubicBezTo>
                  <a:pt x="615" y="84"/>
                  <a:pt x="642" y="120"/>
                  <a:pt x="644" y="167"/>
                </a:cubicBezTo>
                <a:cubicBezTo>
                  <a:pt x="7" y="167"/>
                  <a:pt x="7" y="167"/>
                  <a:pt x="7" y="167"/>
                </a:cubicBezTo>
                <a:cubicBezTo>
                  <a:pt x="3" y="167"/>
                  <a:pt x="0" y="170"/>
                  <a:pt x="0" y="174"/>
                </a:cubicBezTo>
                <a:cubicBezTo>
                  <a:pt x="0" y="235"/>
                  <a:pt x="0" y="235"/>
                  <a:pt x="0" y="235"/>
                </a:cubicBezTo>
                <a:cubicBezTo>
                  <a:pt x="0" y="236"/>
                  <a:pt x="0" y="236"/>
                  <a:pt x="0" y="237"/>
                </a:cubicBezTo>
                <a:cubicBezTo>
                  <a:pt x="0" y="237"/>
                  <a:pt x="0" y="237"/>
                  <a:pt x="0" y="237"/>
                </a:cubicBezTo>
                <a:cubicBezTo>
                  <a:pt x="0" y="238"/>
                  <a:pt x="1" y="238"/>
                  <a:pt x="1" y="238"/>
                </a:cubicBezTo>
                <a:cubicBezTo>
                  <a:pt x="1" y="238"/>
                  <a:pt x="1" y="239"/>
                  <a:pt x="1" y="239"/>
                </a:cubicBezTo>
                <a:cubicBezTo>
                  <a:pt x="62" y="357"/>
                  <a:pt x="62" y="357"/>
                  <a:pt x="62" y="357"/>
                </a:cubicBezTo>
                <a:cubicBezTo>
                  <a:pt x="63" y="359"/>
                  <a:pt x="65" y="360"/>
                  <a:pt x="68" y="360"/>
                </a:cubicBezTo>
                <a:cubicBezTo>
                  <a:pt x="141" y="360"/>
                  <a:pt x="141" y="360"/>
                  <a:pt x="141" y="360"/>
                </a:cubicBezTo>
                <a:cubicBezTo>
                  <a:pt x="141" y="546"/>
                  <a:pt x="141" y="546"/>
                  <a:pt x="141" y="546"/>
                </a:cubicBezTo>
                <a:cubicBezTo>
                  <a:pt x="141" y="550"/>
                  <a:pt x="145" y="553"/>
                  <a:pt x="148" y="553"/>
                </a:cubicBezTo>
                <a:cubicBezTo>
                  <a:pt x="152" y="553"/>
                  <a:pt x="155" y="550"/>
                  <a:pt x="155" y="546"/>
                </a:cubicBezTo>
                <a:cubicBezTo>
                  <a:pt x="155" y="296"/>
                  <a:pt x="155" y="296"/>
                  <a:pt x="155" y="296"/>
                </a:cubicBezTo>
                <a:cubicBezTo>
                  <a:pt x="547" y="296"/>
                  <a:pt x="547" y="296"/>
                  <a:pt x="547" y="296"/>
                </a:cubicBezTo>
                <a:cubicBezTo>
                  <a:pt x="547" y="546"/>
                  <a:pt x="547" y="546"/>
                  <a:pt x="547" y="546"/>
                </a:cubicBezTo>
                <a:cubicBezTo>
                  <a:pt x="547" y="550"/>
                  <a:pt x="551" y="553"/>
                  <a:pt x="554" y="553"/>
                </a:cubicBezTo>
                <a:cubicBezTo>
                  <a:pt x="558" y="553"/>
                  <a:pt x="561" y="550"/>
                  <a:pt x="561" y="546"/>
                </a:cubicBezTo>
                <a:cubicBezTo>
                  <a:pt x="561" y="360"/>
                  <a:pt x="561" y="360"/>
                  <a:pt x="561" y="360"/>
                </a:cubicBezTo>
                <a:cubicBezTo>
                  <a:pt x="635" y="360"/>
                  <a:pt x="635" y="360"/>
                  <a:pt x="635" y="360"/>
                </a:cubicBezTo>
                <a:cubicBezTo>
                  <a:pt x="638" y="360"/>
                  <a:pt x="640" y="359"/>
                  <a:pt x="641" y="357"/>
                </a:cubicBezTo>
                <a:cubicBezTo>
                  <a:pt x="702" y="239"/>
                  <a:pt x="702" y="239"/>
                  <a:pt x="702" y="239"/>
                </a:cubicBezTo>
                <a:cubicBezTo>
                  <a:pt x="702" y="239"/>
                  <a:pt x="702" y="238"/>
                  <a:pt x="702" y="238"/>
                </a:cubicBezTo>
                <a:cubicBezTo>
                  <a:pt x="702" y="238"/>
                  <a:pt x="703" y="238"/>
                  <a:pt x="703" y="237"/>
                </a:cubicBezTo>
                <a:cubicBezTo>
                  <a:pt x="703" y="237"/>
                  <a:pt x="703" y="237"/>
                  <a:pt x="703" y="237"/>
                </a:cubicBezTo>
                <a:close/>
                <a:moveTo>
                  <a:pt x="554" y="74"/>
                </a:moveTo>
                <a:cubicBezTo>
                  <a:pt x="538" y="74"/>
                  <a:pt x="524" y="60"/>
                  <a:pt x="524" y="44"/>
                </a:cubicBezTo>
                <a:cubicBezTo>
                  <a:pt x="524" y="27"/>
                  <a:pt x="538" y="14"/>
                  <a:pt x="554" y="14"/>
                </a:cubicBezTo>
                <a:cubicBezTo>
                  <a:pt x="571" y="14"/>
                  <a:pt x="585" y="27"/>
                  <a:pt x="585" y="44"/>
                </a:cubicBezTo>
                <a:cubicBezTo>
                  <a:pt x="585" y="60"/>
                  <a:pt x="571" y="74"/>
                  <a:pt x="554" y="74"/>
                </a:cubicBezTo>
                <a:close/>
                <a:moveTo>
                  <a:pt x="14" y="181"/>
                </a:moveTo>
                <a:cubicBezTo>
                  <a:pt x="689" y="181"/>
                  <a:pt x="689" y="181"/>
                  <a:pt x="689" y="181"/>
                </a:cubicBezTo>
                <a:cubicBezTo>
                  <a:pt x="689" y="228"/>
                  <a:pt x="689" y="228"/>
                  <a:pt x="689" y="228"/>
                </a:cubicBezTo>
                <a:cubicBezTo>
                  <a:pt x="14" y="228"/>
                  <a:pt x="14" y="228"/>
                  <a:pt x="14" y="228"/>
                </a:cubicBezTo>
                <a:lnTo>
                  <a:pt x="14" y="181"/>
                </a:lnTo>
                <a:close/>
                <a:moveTo>
                  <a:pt x="631" y="346"/>
                </a:moveTo>
                <a:cubicBezTo>
                  <a:pt x="561" y="346"/>
                  <a:pt x="561" y="346"/>
                  <a:pt x="561" y="346"/>
                </a:cubicBezTo>
                <a:cubicBezTo>
                  <a:pt x="561" y="289"/>
                  <a:pt x="561" y="289"/>
                  <a:pt x="561" y="289"/>
                </a:cubicBezTo>
                <a:cubicBezTo>
                  <a:pt x="561" y="285"/>
                  <a:pt x="558" y="282"/>
                  <a:pt x="554" y="282"/>
                </a:cubicBezTo>
                <a:cubicBezTo>
                  <a:pt x="148" y="282"/>
                  <a:pt x="148" y="282"/>
                  <a:pt x="148" y="282"/>
                </a:cubicBezTo>
                <a:cubicBezTo>
                  <a:pt x="145" y="282"/>
                  <a:pt x="141" y="285"/>
                  <a:pt x="141" y="289"/>
                </a:cubicBezTo>
                <a:cubicBezTo>
                  <a:pt x="141" y="346"/>
                  <a:pt x="141" y="346"/>
                  <a:pt x="141" y="346"/>
                </a:cubicBezTo>
                <a:cubicBezTo>
                  <a:pt x="72" y="346"/>
                  <a:pt x="72" y="346"/>
                  <a:pt x="72" y="346"/>
                </a:cubicBezTo>
                <a:cubicBezTo>
                  <a:pt x="18" y="242"/>
                  <a:pt x="18" y="242"/>
                  <a:pt x="18" y="242"/>
                </a:cubicBezTo>
                <a:cubicBezTo>
                  <a:pt x="684" y="242"/>
                  <a:pt x="684" y="242"/>
                  <a:pt x="684" y="242"/>
                </a:cubicBezTo>
                <a:lnTo>
                  <a:pt x="631" y="34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68" name="Oval 8"/>
          <p:cNvSpPr>
            <a:spLocks noChangeArrowheads="1"/>
          </p:cNvSpPr>
          <p:nvPr/>
        </p:nvSpPr>
        <p:spPr bwMode="auto">
          <a:xfrm>
            <a:off x="4845101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61" name="Freeform 128"/>
          <p:cNvSpPr>
            <a:spLocks noEditPoints="1"/>
          </p:cNvSpPr>
          <p:nvPr/>
        </p:nvSpPr>
        <p:spPr bwMode="auto">
          <a:xfrm>
            <a:off x="5083938" y="1320830"/>
            <a:ext cx="344391" cy="428477"/>
          </a:xfrm>
          <a:custGeom>
            <a:avLst/>
            <a:gdLst>
              <a:gd name="T0" fmla="*/ 438 w 445"/>
              <a:gd name="T1" fmla="*/ 57 h 553"/>
              <a:gd name="T2" fmla="*/ 388 w 445"/>
              <a:gd name="T3" fmla="*/ 57 h 553"/>
              <a:gd name="T4" fmla="*/ 388 w 445"/>
              <a:gd name="T5" fmla="*/ 7 h 553"/>
              <a:gd name="T6" fmla="*/ 381 w 445"/>
              <a:gd name="T7" fmla="*/ 0 h 553"/>
              <a:gd name="T8" fmla="*/ 7 w 445"/>
              <a:gd name="T9" fmla="*/ 0 h 553"/>
              <a:gd name="T10" fmla="*/ 0 w 445"/>
              <a:gd name="T11" fmla="*/ 7 h 553"/>
              <a:gd name="T12" fmla="*/ 0 w 445"/>
              <a:gd name="T13" fmla="*/ 489 h 553"/>
              <a:gd name="T14" fmla="*/ 7 w 445"/>
              <a:gd name="T15" fmla="*/ 496 h 553"/>
              <a:gd name="T16" fmla="*/ 57 w 445"/>
              <a:gd name="T17" fmla="*/ 496 h 553"/>
              <a:gd name="T18" fmla="*/ 57 w 445"/>
              <a:gd name="T19" fmla="*/ 546 h 553"/>
              <a:gd name="T20" fmla="*/ 64 w 445"/>
              <a:gd name="T21" fmla="*/ 553 h 553"/>
              <a:gd name="T22" fmla="*/ 438 w 445"/>
              <a:gd name="T23" fmla="*/ 553 h 553"/>
              <a:gd name="T24" fmla="*/ 445 w 445"/>
              <a:gd name="T25" fmla="*/ 546 h 553"/>
              <a:gd name="T26" fmla="*/ 445 w 445"/>
              <a:gd name="T27" fmla="*/ 64 h 553"/>
              <a:gd name="T28" fmla="*/ 438 w 445"/>
              <a:gd name="T29" fmla="*/ 57 h 553"/>
              <a:gd name="T30" fmla="*/ 14 w 445"/>
              <a:gd name="T31" fmla="*/ 14 h 553"/>
              <a:gd name="T32" fmla="*/ 374 w 445"/>
              <a:gd name="T33" fmla="*/ 14 h 553"/>
              <a:gd name="T34" fmla="*/ 374 w 445"/>
              <a:gd name="T35" fmla="*/ 482 h 553"/>
              <a:gd name="T36" fmla="*/ 14 w 445"/>
              <a:gd name="T37" fmla="*/ 482 h 553"/>
              <a:gd name="T38" fmla="*/ 14 w 445"/>
              <a:gd name="T39" fmla="*/ 14 h 553"/>
              <a:gd name="T40" fmla="*/ 431 w 445"/>
              <a:gd name="T41" fmla="*/ 539 h 553"/>
              <a:gd name="T42" fmla="*/ 71 w 445"/>
              <a:gd name="T43" fmla="*/ 539 h 553"/>
              <a:gd name="T44" fmla="*/ 71 w 445"/>
              <a:gd name="T45" fmla="*/ 496 h 553"/>
              <a:gd name="T46" fmla="*/ 381 w 445"/>
              <a:gd name="T47" fmla="*/ 496 h 553"/>
              <a:gd name="T48" fmla="*/ 388 w 445"/>
              <a:gd name="T49" fmla="*/ 489 h 553"/>
              <a:gd name="T50" fmla="*/ 388 w 445"/>
              <a:gd name="T51" fmla="*/ 71 h 553"/>
              <a:gd name="T52" fmla="*/ 431 w 445"/>
              <a:gd name="T53" fmla="*/ 71 h 553"/>
              <a:gd name="T54" fmla="*/ 431 w 445"/>
              <a:gd name="T55" fmla="*/ 539 h 553"/>
              <a:gd name="T56" fmla="*/ 75 w 445"/>
              <a:gd name="T57" fmla="*/ 335 h 553"/>
              <a:gd name="T58" fmla="*/ 75 w 445"/>
              <a:gd name="T59" fmla="*/ 325 h 553"/>
              <a:gd name="T60" fmla="*/ 145 w 445"/>
              <a:gd name="T61" fmla="*/ 256 h 553"/>
              <a:gd name="T62" fmla="*/ 155 w 445"/>
              <a:gd name="T63" fmla="*/ 256 h 553"/>
              <a:gd name="T64" fmla="*/ 194 w 445"/>
              <a:gd name="T65" fmla="*/ 295 h 553"/>
              <a:gd name="T66" fmla="*/ 288 w 445"/>
              <a:gd name="T67" fmla="*/ 201 h 553"/>
              <a:gd name="T68" fmla="*/ 210 w 445"/>
              <a:gd name="T69" fmla="*/ 201 h 553"/>
              <a:gd name="T70" fmla="*/ 203 w 445"/>
              <a:gd name="T71" fmla="*/ 194 h 553"/>
              <a:gd name="T72" fmla="*/ 210 w 445"/>
              <a:gd name="T73" fmla="*/ 187 h 553"/>
              <a:gd name="T74" fmla="*/ 304 w 445"/>
              <a:gd name="T75" fmla="*/ 187 h 553"/>
              <a:gd name="T76" fmla="*/ 310 w 445"/>
              <a:gd name="T77" fmla="*/ 189 h 553"/>
              <a:gd name="T78" fmla="*/ 310 w 445"/>
              <a:gd name="T79" fmla="*/ 189 h 553"/>
              <a:gd name="T80" fmla="*/ 311 w 445"/>
              <a:gd name="T81" fmla="*/ 196 h 553"/>
              <a:gd name="T82" fmla="*/ 311 w 445"/>
              <a:gd name="T83" fmla="*/ 288 h 553"/>
              <a:gd name="T84" fmla="*/ 304 w 445"/>
              <a:gd name="T85" fmla="*/ 295 h 553"/>
              <a:gd name="T86" fmla="*/ 297 w 445"/>
              <a:gd name="T87" fmla="*/ 288 h 553"/>
              <a:gd name="T88" fmla="*/ 297 w 445"/>
              <a:gd name="T89" fmla="*/ 211 h 553"/>
              <a:gd name="T90" fmla="*/ 199 w 445"/>
              <a:gd name="T91" fmla="*/ 310 h 553"/>
              <a:gd name="T92" fmla="*/ 189 w 445"/>
              <a:gd name="T93" fmla="*/ 310 h 553"/>
              <a:gd name="T94" fmla="*/ 150 w 445"/>
              <a:gd name="T95" fmla="*/ 271 h 553"/>
              <a:gd name="T96" fmla="*/ 85 w 445"/>
              <a:gd name="T97" fmla="*/ 335 h 553"/>
              <a:gd name="T98" fmla="*/ 80 w 445"/>
              <a:gd name="T99" fmla="*/ 337 h 553"/>
              <a:gd name="T100" fmla="*/ 75 w 445"/>
              <a:gd name="T101" fmla="*/ 335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45" h="553">
                <a:moveTo>
                  <a:pt x="438" y="57"/>
                </a:moveTo>
                <a:cubicBezTo>
                  <a:pt x="388" y="57"/>
                  <a:pt x="388" y="57"/>
                  <a:pt x="388" y="57"/>
                </a:cubicBezTo>
                <a:cubicBezTo>
                  <a:pt x="388" y="7"/>
                  <a:pt x="388" y="7"/>
                  <a:pt x="388" y="7"/>
                </a:cubicBezTo>
                <a:cubicBezTo>
                  <a:pt x="388" y="3"/>
                  <a:pt x="385" y="0"/>
                  <a:pt x="381" y="0"/>
                </a:cubicBez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489"/>
                  <a:pt x="0" y="489"/>
                  <a:pt x="0" y="489"/>
                </a:cubicBezTo>
                <a:cubicBezTo>
                  <a:pt x="0" y="493"/>
                  <a:pt x="3" y="496"/>
                  <a:pt x="7" y="496"/>
                </a:cubicBezTo>
                <a:cubicBezTo>
                  <a:pt x="57" y="496"/>
                  <a:pt x="57" y="496"/>
                  <a:pt x="57" y="496"/>
                </a:cubicBezTo>
                <a:cubicBezTo>
                  <a:pt x="57" y="546"/>
                  <a:pt x="57" y="546"/>
                  <a:pt x="57" y="546"/>
                </a:cubicBezTo>
                <a:cubicBezTo>
                  <a:pt x="57" y="550"/>
                  <a:pt x="60" y="553"/>
                  <a:pt x="64" y="553"/>
                </a:cubicBezTo>
                <a:cubicBezTo>
                  <a:pt x="438" y="553"/>
                  <a:pt x="438" y="553"/>
                  <a:pt x="438" y="553"/>
                </a:cubicBezTo>
                <a:cubicBezTo>
                  <a:pt x="442" y="553"/>
                  <a:pt x="445" y="550"/>
                  <a:pt x="445" y="546"/>
                </a:cubicBezTo>
                <a:cubicBezTo>
                  <a:pt x="445" y="64"/>
                  <a:pt x="445" y="64"/>
                  <a:pt x="445" y="64"/>
                </a:cubicBezTo>
                <a:cubicBezTo>
                  <a:pt x="445" y="60"/>
                  <a:pt x="442" y="57"/>
                  <a:pt x="438" y="57"/>
                </a:cubicBezTo>
                <a:close/>
                <a:moveTo>
                  <a:pt x="14" y="14"/>
                </a:moveTo>
                <a:cubicBezTo>
                  <a:pt x="374" y="14"/>
                  <a:pt x="374" y="14"/>
                  <a:pt x="374" y="14"/>
                </a:cubicBezTo>
                <a:cubicBezTo>
                  <a:pt x="374" y="482"/>
                  <a:pt x="374" y="482"/>
                  <a:pt x="374" y="482"/>
                </a:cubicBezTo>
                <a:cubicBezTo>
                  <a:pt x="14" y="482"/>
                  <a:pt x="14" y="482"/>
                  <a:pt x="14" y="482"/>
                </a:cubicBezTo>
                <a:lnTo>
                  <a:pt x="14" y="14"/>
                </a:lnTo>
                <a:close/>
                <a:moveTo>
                  <a:pt x="431" y="539"/>
                </a:moveTo>
                <a:cubicBezTo>
                  <a:pt x="71" y="539"/>
                  <a:pt x="71" y="539"/>
                  <a:pt x="71" y="539"/>
                </a:cubicBezTo>
                <a:cubicBezTo>
                  <a:pt x="71" y="496"/>
                  <a:pt x="71" y="496"/>
                  <a:pt x="71" y="496"/>
                </a:cubicBezTo>
                <a:cubicBezTo>
                  <a:pt x="381" y="496"/>
                  <a:pt x="381" y="496"/>
                  <a:pt x="381" y="496"/>
                </a:cubicBezTo>
                <a:cubicBezTo>
                  <a:pt x="385" y="496"/>
                  <a:pt x="388" y="493"/>
                  <a:pt x="388" y="489"/>
                </a:cubicBezTo>
                <a:cubicBezTo>
                  <a:pt x="388" y="71"/>
                  <a:pt x="388" y="71"/>
                  <a:pt x="388" y="71"/>
                </a:cubicBezTo>
                <a:cubicBezTo>
                  <a:pt x="431" y="71"/>
                  <a:pt x="431" y="71"/>
                  <a:pt x="431" y="71"/>
                </a:cubicBezTo>
                <a:lnTo>
                  <a:pt x="431" y="539"/>
                </a:lnTo>
                <a:close/>
                <a:moveTo>
                  <a:pt x="75" y="335"/>
                </a:moveTo>
                <a:cubicBezTo>
                  <a:pt x="72" y="333"/>
                  <a:pt x="72" y="328"/>
                  <a:pt x="75" y="325"/>
                </a:cubicBezTo>
                <a:cubicBezTo>
                  <a:pt x="145" y="256"/>
                  <a:pt x="145" y="256"/>
                  <a:pt x="145" y="256"/>
                </a:cubicBezTo>
                <a:cubicBezTo>
                  <a:pt x="147" y="253"/>
                  <a:pt x="152" y="253"/>
                  <a:pt x="155" y="256"/>
                </a:cubicBezTo>
                <a:cubicBezTo>
                  <a:pt x="194" y="295"/>
                  <a:pt x="194" y="295"/>
                  <a:pt x="194" y="295"/>
                </a:cubicBezTo>
                <a:cubicBezTo>
                  <a:pt x="288" y="201"/>
                  <a:pt x="288" y="201"/>
                  <a:pt x="288" y="201"/>
                </a:cubicBezTo>
                <a:cubicBezTo>
                  <a:pt x="210" y="201"/>
                  <a:pt x="210" y="201"/>
                  <a:pt x="210" y="201"/>
                </a:cubicBezTo>
                <a:cubicBezTo>
                  <a:pt x="207" y="201"/>
                  <a:pt x="203" y="198"/>
                  <a:pt x="203" y="194"/>
                </a:cubicBezTo>
                <a:cubicBezTo>
                  <a:pt x="203" y="190"/>
                  <a:pt x="207" y="187"/>
                  <a:pt x="210" y="187"/>
                </a:cubicBezTo>
                <a:cubicBezTo>
                  <a:pt x="304" y="187"/>
                  <a:pt x="304" y="187"/>
                  <a:pt x="304" y="187"/>
                </a:cubicBezTo>
                <a:cubicBezTo>
                  <a:pt x="306" y="187"/>
                  <a:pt x="308" y="188"/>
                  <a:pt x="310" y="189"/>
                </a:cubicBezTo>
                <a:cubicBezTo>
                  <a:pt x="310" y="189"/>
                  <a:pt x="310" y="189"/>
                  <a:pt x="310" y="189"/>
                </a:cubicBezTo>
                <a:cubicBezTo>
                  <a:pt x="312" y="191"/>
                  <a:pt x="312" y="194"/>
                  <a:pt x="311" y="196"/>
                </a:cubicBezTo>
                <a:cubicBezTo>
                  <a:pt x="311" y="288"/>
                  <a:pt x="311" y="288"/>
                  <a:pt x="311" y="288"/>
                </a:cubicBezTo>
                <a:cubicBezTo>
                  <a:pt x="311" y="292"/>
                  <a:pt x="308" y="295"/>
                  <a:pt x="304" y="295"/>
                </a:cubicBezTo>
                <a:cubicBezTo>
                  <a:pt x="301" y="295"/>
                  <a:pt x="297" y="292"/>
                  <a:pt x="297" y="288"/>
                </a:cubicBezTo>
                <a:cubicBezTo>
                  <a:pt x="297" y="211"/>
                  <a:pt x="297" y="211"/>
                  <a:pt x="297" y="211"/>
                </a:cubicBezTo>
                <a:cubicBezTo>
                  <a:pt x="199" y="310"/>
                  <a:pt x="199" y="310"/>
                  <a:pt x="199" y="310"/>
                </a:cubicBezTo>
                <a:cubicBezTo>
                  <a:pt x="196" y="313"/>
                  <a:pt x="192" y="313"/>
                  <a:pt x="189" y="310"/>
                </a:cubicBezTo>
                <a:cubicBezTo>
                  <a:pt x="150" y="271"/>
                  <a:pt x="150" y="271"/>
                  <a:pt x="150" y="271"/>
                </a:cubicBezTo>
                <a:cubicBezTo>
                  <a:pt x="85" y="335"/>
                  <a:pt x="85" y="335"/>
                  <a:pt x="85" y="335"/>
                </a:cubicBezTo>
                <a:cubicBezTo>
                  <a:pt x="84" y="337"/>
                  <a:pt x="82" y="337"/>
                  <a:pt x="80" y="337"/>
                </a:cubicBezTo>
                <a:cubicBezTo>
                  <a:pt x="78" y="337"/>
                  <a:pt x="76" y="337"/>
                  <a:pt x="75" y="33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4" name="Oval 23"/>
          <p:cNvSpPr>
            <a:spLocks noChangeArrowheads="1"/>
          </p:cNvSpPr>
          <p:nvPr/>
        </p:nvSpPr>
        <p:spPr bwMode="auto">
          <a:xfrm>
            <a:off x="6137845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75" name="Freeform 142"/>
          <p:cNvSpPr>
            <a:spLocks noEditPoints="1"/>
          </p:cNvSpPr>
          <p:nvPr/>
        </p:nvSpPr>
        <p:spPr bwMode="auto">
          <a:xfrm>
            <a:off x="6426775" y="3653491"/>
            <a:ext cx="245099" cy="445472"/>
          </a:xfrm>
          <a:custGeom>
            <a:avLst/>
            <a:gdLst>
              <a:gd name="T0" fmla="*/ 162 w 317"/>
              <a:gd name="T1" fmla="*/ 455 h 575"/>
              <a:gd name="T2" fmla="*/ 155 w 317"/>
              <a:gd name="T3" fmla="*/ 448 h 575"/>
              <a:gd name="T4" fmla="*/ 155 w 317"/>
              <a:gd name="T5" fmla="*/ 398 h 575"/>
              <a:gd name="T6" fmla="*/ 220 w 317"/>
              <a:gd name="T7" fmla="*/ 301 h 575"/>
              <a:gd name="T8" fmla="*/ 303 w 317"/>
              <a:gd name="T9" fmla="*/ 159 h 575"/>
              <a:gd name="T10" fmla="*/ 158 w 317"/>
              <a:gd name="T11" fmla="*/ 14 h 575"/>
              <a:gd name="T12" fmla="*/ 14 w 317"/>
              <a:gd name="T13" fmla="*/ 159 h 575"/>
              <a:gd name="T14" fmla="*/ 7 w 317"/>
              <a:gd name="T15" fmla="*/ 166 h 575"/>
              <a:gd name="T16" fmla="*/ 0 w 317"/>
              <a:gd name="T17" fmla="*/ 159 h 575"/>
              <a:gd name="T18" fmla="*/ 158 w 317"/>
              <a:gd name="T19" fmla="*/ 0 h 575"/>
              <a:gd name="T20" fmla="*/ 317 w 317"/>
              <a:gd name="T21" fmla="*/ 159 h 575"/>
              <a:gd name="T22" fmla="*/ 229 w 317"/>
              <a:gd name="T23" fmla="*/ 311 h 575"/>
              <a:gd name="T24" fmla="*/ 169 w 317"/>
              <a:gd name="T25" fmla="*/ 398 h 575"/>
              <a:gd name="T26" fmla="*/ 169 w 317"/>
              <a:gd name="T27" fmla="*/ 448 h 575"/>
              <a:gd name="T28" fmla="*/ 162 w 317"/>
              <a:gd name="T29" fmla="*/ 455 h 575"/>
              <a:gd name="T30" fmla="*/ 195 w 317"/>
              <a:gd name="T31" fmla="*/ 542 h 575"/>
              <a:gd name="T32" fmla="*/ 162 w 317"/>
              <a:gd name="T33" fmla="*/ 510 h 575"/>
              <a:gd name="T34" fmla="*/ 129 w 317"/>
              <a:gd name="T35" fmla="*/ 542 h 575"/>
              <a:gd name="T36" fmla="*/ 162 w 317"/>
              <a:gd name="T37" fmla="*/ 575 h 575"/>
              <a:gd name="T38" fmla="*/ 195 w 317"/>
              <a:gd name="T39" fmla="*/ 542 h 575"/>
              <a:gd name="T40" fmla="*/ 181 w 317"/>
              <a:gd name="T41" fmla="*/ 542 h 575"/>
              <a:gd name="T42" fmla="*/ 162 w 317"/>
              <a:gd name="T43" fmla="*/ 561 h 575"/>
              <a:gd name="T44" fmla="*/ 143 w 317"/>
              <a:gd name="T45" fmla="*/ 542 h 575"/>
              <a:gd name="T46" fmla="*/ 162 w 317"/>
              <a:gd name="T47" fmla="*/ 524 h 575"/>
              <a:gd name="T48" fmla="*/ 181 w 317"/>
              <a:gd name="T49" fmla="*/ 542 h 5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17" h="575">
                <a:moveTo>
                  <a:pt x="162" y="455"/>
                </a:moveTo>
                <a:cubicBezTo>
                  <a:pt x="158" y="455"/>
                  <a:pt x="155" y="452"/>
                  <a:pt x="155" y="448"/>
                </a:cubicBezTo>
                <a:cubicBezTo>
                  <a:pt x="155" y="398"/>
                  <a:pt x="155" y="398"/>
                  <a:pt x="155" y="398"/>
                </a:cubicBezTo>
                <a:cubicBezTo>
                  <a:pt x="155" y="358"/>
                  <a:pt x="186" y="330"/>
                  <a:pt x="220" y="301"/>
                </a:cubicBezTo>
                <a:cubicBezTo>
                  <a:pt x="261" y="264"/>
                  <a:pt x="303" y="227"/>
                  <a:pt x="303" y="159"/>
                </a:cubicBezTo>
                <a:cubicBezTo>
                  <a:pt x="303" y="79"/>
                  <a:pt x="238" y="14"/>
                  <a:pt x="158" y="14"/>
                </a:cubicBezTo>
                <a:cubicBezTo>
                  <a:pt x="79" y="14"/>
                  <a:pt x="14" y="79"/>
                  <a:pt x="14" y="159"/>
                </a:cubicBezTo>
                <a:cubicBezTo>
                  <a:pt x="14" y="163"/>
                  <a:pt x="10" y="166"/>
                  <a:pt x="7" y="166"/>
                </a:cubicBezTo>
                <a:cubicBezTo>
                  <a:pt x="3" y="166"/>
                  <a:pt x="0" y="163"/>
                  <a:pt x="0" y="159"/>
                </a:cubicBezTo>
                <a:cubicBezTo>
                  <a:pt x="0" y="71"/>
                  <a:pt x="71" y="0"/>
                  <a:pt x="158" y="0"/>
                </a:cubicBezTo>
                <a:cubicBezTo>
                  <a:pt x="246" y="0"/>
                  <a:pt x="317" y="71"/>
                  <a:pt x="317" y="159"/>
                </a:cubicBezTo>
                <a:cubicBezTo>
                  <a:pt x="317" y="233"/>
                  <a:pt x="270" y="275"/>
                  <a:pt x="229" y="311"/>
                </a:cubicBezTo>
                <a:cubicBezTo>
                  <a:pt x="197" y="339"/>
                  <a:pt x="169" y="364"/>
                  <a:pt x="169" y="398"/>
                </a:cubicBezTo>
                <a:cubicBezTo>
                  <a:pt x="169" y="448"/>
                  <a:pt x="169" y="448"/>
                  <a:pt x="169" y="448"/>
                </a:cubicBezTo>
                <a:cubicBezTo>
                  <a:pt x="169" y="452"/>
                  <a:pt x="166" y="455"/>
                  <a:pt x="162" y="455"/>
                </a:cubicBezTo>
                <a:close/>
                <a:moveTo>
                  <a:pt x="195" y="542"/>
                </a:moveTo>
                <a:cubicBezTo>
                  <a:pt x="195" y="524"/>
                  <a:pt x="180" y="510"/>
                  <a:pt x="162" y="510"/>
                </a:cubicBezTo>
                <a:cubicBezTo>
                  <a:pt x="144" y="510"/>
                  <a:pt x="129" y="524"/>
                  <a:pt x="129" y="542"/>
                </a:cubicBezTo>
                <a:cubicBezTo>
                  <a:pt x="129" y="560"/>
                  <a:pt x="144" y="575"/>
                  <a:pt x="162" y="575"/>
                </a:cubicBezTo>
                <a:cubicBezTo>
                  <a:pt x="180" y="575"/>
                  <a:pt x="195" y="560"/>
                  <a:pt x="195" y="542"/>
                </a:cubicBezTo>
                <a:close/>
                <a:moveTo>
                  <a:pt x="181" y="542"/>
                </a:moveTo>
                <a:cubicBezTo>
                  <a:pt x="181" y="553"/>
                  <a:pt x="172" y="561"/>
                  <a:pt x="162" y="561"/>
                </a:cubicBezTo>
                <a:cubicBezTo>
                  <a:pt x="152" y="561"/>
                  <a:pt x="143" y="553"/>
                  <a:pt x="143" y="542"/>
                </a:cubicBezTo>
                <a:cubicBezTo>
                  <a:pt x="143" y="532"/>
                  <a:pt x="152" y="524"/>
                  <a:pt x="162" y="524"/>
                </a:cubicBezTo>
                <a:cubicBezTo>
                  <a:pt x="172" y="524"/>
                  <a:pt x="181" y="532"/>
                  <a:pt x="181" y="54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3" name="Oval 22"/>
          <p:cNvSpPr>
            <a:spLocks noChangeArrowheads="1"/>
          </p:cNvSpPr>
          <p:nvPr/>
        </p:nvSpPr>
        <p:spPr bwMode="auto">
          <a:xfrm>
            <a:off x="7430588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76" name="Freeform 143"/>
          <p:cNvSpPr>
            <a:spLocks noEditPoints="1"/>
          </p:cNvSpPr>
          <p:nvPr/>
        </p:nvSpPr>
        <p:spPr bwMode="auto">
          <a:xfrm>
            <a:off x="7588024" y="3738471"/>
            <a:ext cx="508088" cy="275513"/>
          </a:xfrm>
          <a:custGeom>
            <a:avLst/>
            <a:gdLst>
              <a:gd name="T0" fmla="*/ 657 w 657"/>
              <a:gd name="T1" fmla="*/ 7 h 357"/>
              <a:gd name="T2" fmla="*/ 650 w 657"/>
              <a:gd name="T3" fmla="*/ 0 h 357"/>
              <a:gd name="T4" fmla="*/ 126 w 657"/>
              <a:gd name="T5" fmla="*/ 0 h 357"/>
              <a:gd name="T6" fmla="*/ 119 w 657"/>
              <a:gd name="T7" fmla="*/ 7 h 357"/>
              <a:gd name="T8" fmla="*/ 119 w 657"/>
              <a:gd name="T9" fmla="*/ 24 h 357"/>
              <a:gd name="T10" fmla="*/ 7 w 657"/>
              <a:gd name="T11" fmla="*/ 24 h 357"/>
              <a:gd name="T12" fmla="*/ 0 w 657"/>
              <a:gd name="T13" fmla="*/ 31 h 357"/>
              <a:gd name="T14" fmla="*/ 86 w 657"/>
              <a:gd name="T15" fmla="*/ 117 h 357"/>
              <a:gd name="T16" fmla="*/ 119 w 657"/>
              <a:gd name="T17" fmla="*/ 117 h 357"/>
              <a:gd name="T18" fmla="*/ 119 w 657"/>
              <a:gd name="T19" fmla="*/ 137 h 357"/>
              <a:gd name="T20" fmla="*/ 126 w 657"/>
              <a:gd name="T21" fmla="*/ 144 h 357"/>
              <a:gd name="T22" fmla="*/ 248 w 657"/>
              <a:gd name="T23" fmla="*/ 144 h 357"/>
              <a:gd name="T24" fmla="*/ 126 w 657"/>
              <a:gd name="T25" fmla="*/ 260 h 357"/>
              <a:gd name="T26" fmla="*/ 119 w 657"/>
              <a:gd name="T27" fmla="*/ 267 h 357"/>
              <a:gd name="T28" fmla="*/ 119 w 657"/>
              <a:gd name="T29" fmla="*/ 350 h 357"/>
              <a:gd name="T30" fmla="*/ 126 w 657"/>
              <a:gd name="T31" fmla="*/ 357 h 357"/>
              <a:gd name="T32" fmla="*/ 236 w 657"/>
              <a:gd name="T33" fmla="*/ 357 h 357"/>
              <a:gd name="T34" fmla="*/ 242 w 657"/>
              <a:gd name="T35" fmla="*/ 353 h 357"/>
              <a:gd name="T36" fmla="*/ 348 w 657"/>
              <a:gd name="T37" fmla="*/ 292 h 357"/>
              <a:gd name="T38" fmla="*/ 455 w 657"/>
              <a:gd name="T39" fmla="*/ 353 h 357"/>
              <a:gd name="T40" fmla="*/ 461 w 657"/>
              <a:gd name="T41" fmla="*/ 357 h 357"/>
              <a:gd name="T42" fmla="*/ 577 w 657"/>
              <a:gd name="T43" fmla="*/ 357 h 357"/>
              <a:gd name="T44" fmla="*/ 584 w 657"/>
              <a:gd name="T45" fmla="*/ 350 h 357"/>
              <a:gd name="T46" fmla="*/ 584 w 657"/>
              <a:gd name="T47" fmla="*/ 267 h 357"/>
              <a:gd name="T48" fmla="*/ 577 w 657"/>
              <a:gd name="T49" fmla="*/ 260 h 357"/>
              <a:gd name="T50" fmla="*/ 455 w 657"/>
              <a:gd name="T51" fmla="*/ 144 h 357"/>
              <a:gd name="T52" fmla="*/ 520 w 657"/>
              <a:gd name="T53" fmla="*/ 144 h 357"/>
              <a:gd name="T54" fmla="*/ 657 w 657"/>
              <a:gd name="T55" fmla="*/ 7 h 357"/>
              <a:gd name="T56" fmla="*/ 86 w 657"/>
              <a:gd name="T57" fmla="*/ 103 h 357"/>
              <a:gd name="T58" fmla="*/ 14 w 657"/>
              <a:gd name="T59" fmla="*/ 38 h 357"/>
              <a:gd name="T60" fmla="*/ 119 w 657"/>
              <a:gd name="T61" fmla="*/ 38 h 357"/>
              <a:gd name="T62" fmla="*/ 119 w 657"/>
              <a:gd name="T63" fmla="*/ 103 h 357"/>
              <a:gd name="T64" fmla="*/ 86 w 657"/>
              <a:gd name="T65" fmla="*/ 103 h 357"/>
              <a:gd name="T66" fmla="*/ 133 w 657"/>
              <a:gd name="T67" fmla="*/ 14 h 357"/>
              <a:gd name="T68" fmla="*/ 643 w 657"/>
              <a:gd name="T69" fmla="*/ 14 h 357"/>
              <a:gd name="T70" fmla="*/ 520 w 657"/>
              <a:gd name="T71" fmla="*/ 130 h 357"/>
              <a:gd name="T72" fmla="*/ 133 w 657"/>
              <a:gd name="T73" fmla="*/ 130 h 357"/>
              <a:gd name="T74" fmla="*/ 133 w 657"/>
              <a:gd name="T75" fmla="*/ 14 h 357"/>
              <a:gd name="T76" fmla="*/ 570 w 657"/>
              <a:gd name="T77" fmla="*/ 274 h 357"/>
              <a:gd name="T78" fmla="*/ 570 w 657"/>
              <a:gd name="T79" fmla="*/ 343 h 357"/>
              <a:gd name="T80" fmla="*/ 465 w 657"/>
              <a:gd name="T81" fmla="*/ 343 h 357"/>
              <a:gd name="T82" fmla="*/ 348 w 657"/>
              <a:gd name="T83" fmla="*/ 278 h 357"/>
              <a:gd name="T84" fmla="*/ 232 w 657"/>
              <a:gd name="T85" fmla="*/ 343 h 357"/>
              <a:gd name="T86" fmla="*/ 133 w 657"/>
              <a:gd name="T87" fmla="*/ 343 h 357"/>
              <a:gd name="T88" fmla="*/ 133 w 657"/>
              <a:gd name="T89" fmla="*/ 274 h 357"/>
              <a:gd name="T90" fmla="*/ 262 w 657"/>
              <a:gd name="T91" fmla="*/ 144 h 357"/>
              <a:gd name="T92" fmla="*/ 440 w 657"/>
              <a:gd name="T93" fmla="*/ 144 h 357"/>
              <a:gd name="T94" fmla="*/ 570 w 657"/>
              <a:gd name="T95" fmla="*/ 274 h 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57" h="357">
                <a:moveTo>
                  <a:pt x="657" y="7"/>
                </a:moveTo>
                <a:cubicBezTo>
                  <a:pt x="657" y="4"/>
                  <a:pt x="654" y="0"/>
                  <a:pt x="650" y="0"/>
                </a:cubicBezTo>
                <a:cubicBezTo>
                  <a:pt x="126" y="0"/>
                  <a:pt x="126" y="0"/>
                  <a:pt x="126" y="0"/>
                </a:cubicBezTo>
                <a:cubicBezTo>
                  <a:pt x="122" y="0"/>
                  <a:pt x="119" y="4"/>
                  <a:pt x="119" y="7"/>
                </a:cubicBezTo>
                <a:cubicBezTo>
                  <a:pt x="119" y="24"/>
                  <a:pt x="119" y="24"/>
                  <a:pt x="119" y="24"/>
                </a:cubicBezTo>
                <a:cubicBezTo>
                  <a:pt x="7" y="24"/>
                  <a:pt x="7" y="24"/>
                  <a:pt x="7" y="24"/>
                </a:cubicBezTo>
                <a:cubicBezTo>
                  <a:pt x="3" y="24"/>
                  <a:pt x="0" y="27"/>
                  <a:pt x="0" y="31"/>
                </a:cubicBezTo>
                <a:cubicBezTo>
                  <a:pt x="0" y="79"/>
                  <a:pt x="38" y="117"/>
                  <a:pt x="86" y="117"/>
                </a:cubicBezTo>
                <a:cubicBezTo>
                  <a:pt x="119" y="117"/>
                  <a:pt x="119" y="117"/>
                  <a:pt x="119" y="117"/>
                </a:cubicBezTo>
                <a:cubicBezTo>
                  <a:pt x="119" y="137"/>
                  <a:pt x="119" y="137"/>
                  <a:pt x="119" y="137"/>
                </a:cubicBezTo>
                <a:cubicBezTo>
                  <a:pt x="119" y="141"/>
                  <a:pt x="122" y="144"/>
                  <a:pt x="126" y="144"/>
                </a:cubicBezTo>
                <a:cubicBezTo>
                  <a:pt x="248" y="144"/>
                  <a:pt x="248" y="144"/>
                  <a:pt x="248" y="144"/>
                </a:cubicBezTo>
                <a:cubicBezTo>
                  <a:pt x="244" y="208"/>
                  <a:pt x="191" y="260"/>
                  <a:pt x="126" y="260"/>
                </a:cubicBezTo>
                <a:cubicBezTo>
                  <a:pt x="122" y="260"/>
                  <a:pt x="119" y="263"/>
                  <a:pt x="119" y="267"/>
                </a:cubicBezTo>
                <a:cubicBezTo>
                  <a:pt x="119" y="350"/>
                  <a:pt x="119" y="350"/>
                  <a:pt x="119" y="350"/>
                </a:cubicBezTo>
                <a:cubicBezTo>
                  <a:pt x="119" y="354"/>
                  <a:pt x="122" y="357"/>
                  <a:pt x="126" y="357"/>
                </a:cubicBezTo>
                <a:cubicBezTo>
                  <a:pt x="236" y="357"/>
                  <a:pt x="236" y="357"/>
                  <a:pt x="236" y="357"/>
                </a:cubicBezTo>
                <a:cubicBezTo>
                  <a:pt x="238" y="357"/>
                  <a:pt x="241" y="356"/>
                  <a:pt x="242" y="353"/>
                </a:cubicBezTo>
                <a:cubicBezTo>
                  <a:pt x="264" y="315"/>
                  <a:pt x="305" y="292"/>
                  <a:pt x="348" y="292"/>
                </a:cubicBezTo>
                <a:cubicBezTo>
                  <a:pt x="392" y="292"/>
                  <a:pt x="433" y="315"/>
                  <a:pt x="455" y="353"/>
                </a:cubicBezTo>
                <a:cubicBezTo>
                  <a:pt x="456" y="356"/>
                  <a:pt x="458" y="357"/>
                  <a:pt x="461" y="357"/>
                </a:cubicBezTo>
                <a:cubicBezTo>
                  <a:pt x="577" y="357"/>
                  <a:pt x="577" y="357"/>
                  <a:pt x="577" y="357"/>
                </a:cubicBezTo>
                <a:cubicBezTo>
                  <a:pt x="581" y="357"/>
                  <a:pt x="584" y="354"/>
                  <a:pt x="584" y="350"/>
                </a:cubicBezTo>
                <a:cubicBezTo>
                  <a:pt x="584" y="267"/>
                  <a:pt x="584" y="267"/>
                  <a:pt x="584" y="267"/>
                </a:cubicBezTo>
                <a:cubicBezTo>
                  <a:pt x="584" y="263"/>
                  <a:pt x="581" y="260"/>
                  <a:pt x="577" y="260"/>
                </a:cubicBezTo>
                <a:cubicBezTo>
                  <a:pt x="512" y="260"/>
                  <a:pt x="458" y="208"/>
                  <a:pt x="455" y="144"/>
                </a:cubicBezTo>
                <a:cubicBezTo>
                  <a:pt x="520" y="144"/>
                  <a:pt x="520" y="144"/>
                  <a:pt x="520" y="144"/>
                </a:cubicBezTo>
                <a:cubicBezTo>
                  <a:pt x="596" y="144"/>
                  <a:pt x="657" y="83"/>
                  <a:pt x="657" y="7"/>
                </a:cubicBezTo>
                <a:close/>
                <a:moveTo>
                  <a:pt x="86" y="103"/>
                </a:moveTo>
                <a:cubicBezTo>
                  <a:pt x="48" y="103"/>
                  <a:pt x="17" y="75"/>
                  <a:pt x="14" y="38"/>
                </a:cubicBezTo>
                <a:cubicBezTo>
                  <a:pt x="119" y="38"/>
                  <a:pt x="119" y="38"/>
                  <a:pt x="119" y="38"/>
                </a:cubicBezTo>
                <a:cubicBezTo>
                  <a:pt x="119" y="103"/>
                  <a:pt x="119" y="103"/>
                  <a:pt x="119" y="103"/>
                </a:cubicBezTo>
                <a:lnTo>
                  <a:pt x="86" y="103"/>
                </a:lnTo>
                <a:close/>
                <a:moveTo>
                  <a:pt x="133" y="14"/>
                </a:moveTo>
                <a:cubicBezTo>
                  <a:pt x="643" y="14"/>
                  <a:pt x="643" y="14"/>
                  <a:pt x="643" y="14"/>
                </a:cubicBezTo>
                <a:cubicBezTo>
                  <a:pt x="639" y="79"/>
                  <a:pt x="586" y="130"/>
                  <a:pt x="520" y="130"/>
                </a:cubicBezTo>
                <a:cubicBezTo>
                  <a:pt x="133" y="130"/>
                  <a:pt x="133" y="130"/>
                  <a:pt x="133" y="130"/>
                </a:cubicBezTo>
                <a:lnTo>
                  <a:pt x="133" y="14"/>
                </a:lnTo>
                <a:close/>
                <a:moveTo>
                  <a:pt x="570" y="274"/>
                </a:moveTo>
                <a:cubicBezTo>
                  <a:pt x="570" y="343"/>
                  <a:pt x="570" y="343"/>
                  <a:pt x="570" y="343"/>
                </a:cubicBezTo>
                <a:cubicBezTo>
                  <a:pt x="465" y="343"/>
                  <a:pt x="465" y="343"/>
                  <a:pt x="465" y="343"/>
                </a:cubicBezTo>
                <a:cubicBezTo>
                  <a:pt x="440" y="302"/>
                  <a:pt x="396" y="278"/>
                  <a:pt x="348" y="278"/>
                </a:cubicBezTo>
                <a:cubicBezTo>
                  <a:pt x="301" y="278"/>
                  <a:pt x="257" y="302"/>
                  <a:pt x="232" y="343"/>
                </a:cubicBezTo>
                <a:cubicBezTo>
                  <a:pt x="133" y="343"/>
                  <a:pt x="133" y="343"/>
                  <a:pt x="133" y="343"/>
                </a:cubicBezTo>
                <a:cubicBezTo>
                  <a:pt x="133" y="274"/>
                  <a:pt x="133" y="274"/>
                  <a:pt x="133" y="274"/>
                </a:cubicBezTo>
                <a:cubicBezTo>
                  <a:pt x="202" y="270"/>
                  <a:pt x="259" y="214"/>
                  <a:pt x="262" y="144"/>
                </a:cubicBezTo>
                <a:cubicBezTo>
                  <a:pt x="440" y="144"/>
                  <a:pt x="440" y="144"/>
                  <a:pt x="440" y="144"/>
                </a:cubicBezTo>
                <a:cubicBezTo>
                  <a:pt x="444" y="214"/>
                  <a:pt x="500" y="270"/>
                  <a:pt x="570" y="27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73" name="Oval 12"/>
          <p:cNvSpPr>
            <a:spLocks noChangeArrowheads="1"/>
          </p:cNvSpPr>
          <p:nvPr/>
        </p:nvSpPr>
        <p:spPr bwMode="auto">
          <a:xfrm>
            <a:off x="2259614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77" name="Freeform 144"/>
          <p:cNvSpPr>
            <a:spLocks noEditPoints="1"/>
          </p:cNvSpPr>
          <p:nvPr/>
        </p:nvSpPr>
        <p:spPr bwMode="auto">
          <a:xfrm>
            <a:off x="2433151" y="2480452"/>
            <a:ext cx="475886" cy="450839"/>
          </a:xfrm>
          <a:custGeom>
            <a:avLst/>
            <a:gdLst>
              <a:gd name="T0" fmla="*/ 615 w 615"/>
              <a:gd name="T1" fmla="*/ 217 h 583"/>
              <a:gd name="T2" fmla="*/ 314 w 615"/>
              <a:gd name="T3" fmla="*/ 7 h 583"/>
              <a:gd name="T4" fmla="*/ 300 w 615"/>
              <a:gd name="T5" fmla="*/ 7 h 583"/>
              <a:gd name="T6" fmla="*/ 0 w 615"/>
              <a:gd name="T7" fmla="*/ 217 h 583"/>
              <a:gd name="T8" fmla="*/ 96 w 615"/>
              <a:gd name="T9" fmla="*/ 377 h 583"/>
              <a:gd name="T10" fmla="*/ 213 w 615"/>
              <a:gd name="T11" fmla="*/ 560 h 583"/>
              <a:gd name="T12" fmla="*/ 401 w 615"/>
              <a:gd name="T13" fmla="*/ 561 h 583"/>
              <a:gd name="T14" fmla="*/ 402 w 615"/>
              <a:gd name="T15" fmla="*/ 560 h 583"/>
              <a:gd name="T16" fmla="*/ 518 w 615"/>
              <a:gd name="T17" fmla="*/ 377 h 583"/>
              <a:gd name="T18" fmla="*/ 300 w 615"/>
              <a:gd name="T19" fmla="*/ 149 h 583"/>
              <a:gd name="T20" fmla="*/ 221 w 615"/>
              <a:gd name="T21" fmla="*/ 166 h 583"/>
              <a:gd name="T22" fmla="*/ 211 w 615"/>
              <a:gd name="T23" fmla="*/ 176 h 583"/>
              <a:gd name="T24" fmla="*/ 302 w 615"/>
              <a:gd name="T25" fmla="*/ 268 h 583"/>
              <a:gd name="T26" fmla="*/ 304 w 615"/>
              <a:gd name="T27" fmla="*/ 269 h 583"/>
              <a:gd name="T28" fmla="*/ 305 w 615"/>
              <a:gd name="T29" fmla="*/ 269 h 583"/>
              <a:gd name="T30" fmla="*/ 307 w 615"/>
              <a:gd name="T31" fmla="*/ 270 h 583"/>
              <a:gd name="T32" fmla="*/ 307 w 615"/>
              <a:gd name="T33" fmla="*/ 270 h 583"/>
              <a:gd name="T34" fmla="*/ 309 w 615"/>
              <a:gd name="T35" fmla="*/ 269 h 583"/>
              <a:gd name="T36" fmla="*/ 310 w 615"/>
              <a:gd name="T37" fmla="*/ 269 h 583"/>
              <a:gd name="T38" fmla="*/ 311 w 615"/>
              <a:gd name="T39" fmla="*/ 268 h 583"/>
              <a:gd name="T40" fmla="*/ 404 w 615"/>
              <a:gd name="T41" fmla="*/ 176 h 583"/>
              <a:gd name="T42" fmla="*/ 394 w 615"/>
              <a:gd name="T43" fmla="*/ 166 h 583"/>
              <a:gd name="T44" fmla="*/ 314 w 615"/>
              <a:gd name="T45" fmla="*/ 149 h 583"/>
              <a:gd name="T46" fmla="*/ 600 w 615"/>
              <a:gd name="T47" fmla="*/ 219 h 583"/>
              <a:gd name="T48" fmla="*/ 597 w 615"/>
              <a:gd name="T49" fmla="*/ 227 h 583"/>
              <a:gd name="T50" fmla="*/ 18 w 615"/>
              <a:gd name="T51" fmla="*/ 227 h 583"/>
              <a:gd name="T52" fmla="*/ 14 w 615"/>
              <a:gd name="T53" fmla="*/ 219 h 583"/>
              <a:gd name="T54" fmla="*/ 300 w 615"/>
              <a:gd name="T55" fmla="*/ 149 h 583"/>
              <a:gd name="T56" fmla="*/ 307 w 615"/>
              <a:gd name="T57" fmla="*/ 569 h 583"/>
              <a:gd name="T58" fmla="*/ 108 w 615"/>
              <a:gd name="T59" fmla="*/ 369 h 583"/>
              <a:gd name="T60" fmla="*/ 307 w 615"/>
              <a:gd name="T61" fmla="*/ 299 h 583"/>
              <a:gd name="T62" fmla="*/ 507 w 615"/>
              <a:gd name="T63" fmla="*/ 369 h 5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15" h="583">
                <a:moveTo>
                  <a:pt x="609" y="234"/>
                </a:moveTo>
                <a:cubicBezTo>
                  <a:pt x="613" y="228"/>
                  <a:pt x="615" y="223"/>
                  <a:pt x="615" y="217"/>
                </a:cubicBezTo>
                <a:cubicBezTo>
                  <a:pt x="615" y="164"/>
                  <a:pt x="461" y="135"/>
                  <a:pt x="314" y="135"/>
                </a:cubicBezTo>
                <a:cubicBezTo>
                  <a:pt x="314" y="7"/>
                  <a:pt x="314" y="7"/>
                  <a:pt x="314" y="7"/>
                </a:cubicBezTo>
                <a:cubicBezTo>
                  <a:pt x="314" y="3"/>
                  <a:pt x="311" y="0"/>
                  <a:pt x="307" y="0"/>
                </a:cubicBezTo>
                <a:cubicBezTo>
                  <a:pt x="303" y="0"/>
                  <a:pt x="300" y="3"/>
                  <a:pt x="300" y="7"/>
                </a:cubicBezTo>
                <a:cubicBezTo>
                  <a:pt x="300" y="135"/>
                  <a:pt x="300" y="135"/>
                  <a:pt x="300" y="135"/>
                </a:cubicBezTo>
                <a:cubicBezTo>
                  <a:pt x="153" y="135"/>
                  <a:pt x="0" y="164"/>
                  <a:pt x="0" y="217"/>
                </a:cubicBezTo>
                <a:cubicBezTo>
                  <a:pt x="0" y="223"/>
                  <a:pt x="2" y="228"/>
                  <a:pt x="5" y="234"/>
                </a:cubicBezTo>
                <a:cubicBezTo>
                  <a:pt x="9" y="239"/>
                  <a:pt x="51" y="305"/>
                  <a:pt x="96" y="377"/>
                </a:cubicBezTo>
                <a:cubicBezTo>
                  <a:pt x="198" y="537"/>
                  <a:pt x="211" y="558"/>
                  <a:pt x="213" y="560"/>
                </a:cubicBezTo>
                <a:cubicBezTo>
                  <a:pt x="213" y="560"/>
                  <a:pt x="213" y="560"/>
                  <a:pt x="213" y="560"/>
                </a:cubicBezTo>
                <a:cubicBezTo>
                  <a:pt x="222" y="576"/>
                  <a:pt x="274" y="583"/>
                  <a:pt x="307" y="583"/>
                </a:cubicBezTo>
                <a:cubicBezTo>
                  <a:pt x="340" y="583"/>
                  <a:pt x="391" y="576"/>
                  <a:pt x="401" y="561"/>
                </a:cubicBezTo>
                <a:cubicBezTo>
                  <a:pt x="401" y="561"/>
                  <a:pt x="401" y="561"/>
                  <a:pt x="401" y="561"/>
                </a:cubicBezTo>
                <a:cubicBezTo>
                  <a:pt x="401" y="561"/>
                  <a:pt x="402" y="561"/>
                  <a:pt x="402" y="560"/>
                </a:cubicBezTo>
                <a:cubicBezTo>
                  <a:pt x="402" y="560"/>
                  <a:pt x="402" y="560"/>
                  <a:pt x="402" y="560"/>
                </a:cubicBezTo>
                <a:cubicBezTo>
                  <a:pt x="404" y="557"/>
                  <a:pt x="419" y="534"/>
                  <a:pt x="518" y="377"/>
                </a:cubicBezTo>
                <a:cubicBezTo>
                  <a:pt x="564" y="305"/>
                  <a:pt x="605" y="239"/>
                  <a:pt x="609" y="234"/>
                </a:cubicBezTo>
                <a:close/>
                <a:moveTo>
                  <a:pt x="300" y="149"/>
                </a:moveTo>
                <a:cubicBezTo>
                  <a:pt x="300" y="246"/>
                  <a:pt x="300" y="246"/>
                  <a:pt x="300" y="246"/>
                </a:cubicBezTo>
                <a:cubicBezTo>
                  <a:pt x="221" y="166"/>
                  <a:pt x="221" y="166"/>
                  <a:pt x="221" y="166"/>
                </a:cubicBezTo>
                <a:cubicBezTo>
                  <a:pt x="218" y="164"/>
                  <a:pt x="214" y="164"/>
                  <a:pt x="211" y="166"/>
                </a:cubicBezTo>
                <a:cubicBezTo>
                  <a:pt x="208" y="169"/>
                  <a:pt x="208" y="173"/>
                  <a:pt x="211" y="176"/>
                </a:cubicBezTo>
                <a:cubicBezTo>
                  <a:pt x="302" y="268"/>
                  <a:pt x="302" y="268"/>
                  <a:pt x="302" y="268"/>
                </a:cubicBezTo>
                <a:cubicBezTo>
                  <a:pt x="302" y="268"/>
                  <a:pt x="302" y="268"/>
                  <a:pt x="302" y="268"/>
                </a:cubicBezTo>
                <a:cubicBezTo>
                  <a:pt x="303" y="268"/>
                  <a:pt x="303" y="268"/>
                  <a:pt x="303" y="268"/>
                </a:cubicBezTo>
                <a:cubicBezTo>
                  <a:pt x="304" y="269"/>
                  <a:pt x="304" y="269"/>
                  <a:pt x="304" y="269"/>
                </a:cubicBezTo>
                <a:cubicBezTo>
                  <a:pt x="304" y="269"/>
                  <a:pt x="304" y="269"/>
                  <a:pt x="305" y="269"/>
                </a:cubicBezTo>
                <a:cubicBezTo>
                  <a:pt x="305" y="269"/>
                  <a:pt x="305" y="269"/>
                  <a:pt x="305" y="269"/>
                </a:cubicBezTo>
                <a:cubicBezTo>
                  <a:pt x="306" y="269"/>
                  <a:pt x="306" y="269"/>
                  <a:pt x="306" y="269"/>
                </a:cubicBezTo>
                <a:cubicBezTo>
                  <a:pt x="306" y="270"/>
                  <a:pt x="307" y="270"/>
                  <a:pt x="307" y="270"/>
                </a:cubicBezTo>
                <a:cubicBezTo>
                  <a:pt x="307" y="270"/>
                  <a:pt x="307" y="270"/>
                  <a:pt x="307" y="270"/>
                </a:cubicBezTo>
                <a:cubicBezTo>
                  <a:pt x="307" y="270"/>
                  <a:pt x="307" y="270"/>
                  <a:pt x="307" y="270"/>
                </a:cubicBezTo>
                <a:cubicBezTo>
                  <a:pt x="307" y="270"/>
                  <a:pt x="307" y="270"/>
                  <a:pt x="307" y="270"/>
                </a:cubicBezTo>
                <a:cubicBezTo>
                  <a:pt x="308" y="270"/>
                  <a:pt x="308" y="270"/>
                  <a:pt x="309" y="269"/>
                </a:cubicBezTo>
                <a:cubicBezTo>
                  <a:pt x="309" y="269"/>
                  <a:pt x="309" y="269"/>
                  <a:pt x="309" y="269"/>
                </a:cubicBezTo>
                <a:cubicBezTo>
                  <a:pt x="310" y="269"/>
                  <a:pt x="310" y="269"/>
                  <a:pt x="310" y="269"/>
                </a:cubicBezTo>
                <a:cubicBezTo>
                  <a:pt x="310" y="269"/>
                  <a:pt x="310" y="269"/>
                  <a:pt x="311" y="269"/>
                </a:cubicBezTo>
                <a:cubicBezTo>
                  <a:pt x="311" y="269"/>
                  <a:pt x="311" y="268"/>
                  <a:pt x="311" y="268"/>
                </a:cubicBezTo>
                <a:cubicBezTo>
                  <a:pt x="312" y="268"/>
                  <a:pt x="312" y="268"/>
                  <a:pt x="312" y="268"/>
                </a:cubicBezTo>
                <a:cubicBezTo>
                  <a:pt x="404" y="176"/>
                  <a:pt x="404" y="176"/>
                  <a:pt x="404" y="176"/>
                </a:cubicBezTo>
                <a:cubicBezTo>
                  <a:pt x="406" y="173"/>
                  <a:pt x="406" y="169"/>
                  <a:pt x="404" y="166"/>
                </a:cubicBezTo>
                <a:cubicBezTo>
                  <a:pt x="401" y="164"/>
                  <a:pt x="396" y="164"/>
                  <a:pt x="394" y="166"/>
                </a:cubicBezTo>
                <a:cubicBezTo>
                  <a:pt x="314" y="246"/>
                  <a:pt x="314" y="246"/>
                  <a:pt x="314" y="246"/>
                </a:cubicBezTo>
                <a:cubicBezTo>
                  <a:pt x="314" y="149"/>
                  <a:pt x="314" y="149"/>
                  <a:pt x="314" y="149"/>
                </a:cubicBezTo>
                <a:cubicBezTo>
                  <a:pt x="483" y="150"/>
                  <a:pt x="601" y="185"/>
                  <a:pt x="601" y="217"/>
                </a:cubicBezTo>
                <a:cubicBezTo>
                  <a:pt x="601" y="218"/>
                  <a:pt x="600" y="218"/>
                  <a:pt x="600" y="219"/>
                </a:cubicBezTo>
                <a:cubicBezTo>
                  <a:pt x="600" y="221"/>
                  <a:pt x="599" y="224"/>
                  <a:pt x="597" y="226"/>
                </a:cubicBezTo>
                <a:cubicBezTo>
                  <a:pt x="597" y="226"/>
                  <a:pt x="597" y="226"/>
                  <a:pt x="597" y="227"/>
                </a:cubicBezTo>
                <a:cubicBezTo>
                  <a:pt x="575" y="256"/>
                  <a:pt x="462" y="285"/>
                  <a:pt x="307" y="285"/>
                </a:cubicBezTo>
                <a:cubicBezTo>
                  <a:pt x="153" y="285"/>
                  <a:pt x="40" y="256"/>
                  <a:pt x="18" y="227"/>
                </a:cubicBezTo>
                <a:cubicBezTo>
                  <a:pt x="17" y="226"/>
                  <a:pt x="17" y="226"/>
                  <a:pt x="17" y="226"/>
                </a:cubicBezTo>
                <a:cubicBezTo>
                  <a:pt x="16" y="224"/>
                  <a:pt x="15" y="221"/>
                  <a:pt x="14" y="219"/>
                </a:cubicBezTo>
                <a:cubicBezTo>
                  <a:pt x="14" y="218"/>
                  <a:pt x="14" y="218"/>
                  <a:pt x="14" y="217"/>
                </a:cubicBezTo>
                <a:cubicBezTo>
                  <a:pt x="14" y="185"/>
                  <a:pt x="131" y="150"/>
                  <a:pt x="300" y="149"/>
                </a:cubicBezTo>
                <a:close/>
                <a:moveTo>
                  <a:pt x="390" y="553"/>
                </a:moveTo>
                <a:cubicBezTo>
                  <a:pt x="386" y="559"/>
                  <a:pt x="349" y="569"/>
                  <a:pt x="307" y="569"/>
                </a:cubicBezTo>
                <a:cubicBezTo>
                  <a:pt x="266" y="569"/>
                  <a:pt x="229" y="559"/>
                  <a:pt x="225" y="553"/>
                </a:cubicBezTo>
                <a:cubicBezTo>
                  <a:pt x="224" y="552"/>
                  <a:pt x="164" y="457"/>
                  <a:pt x="108" y="369"/>
                </a:cubicBezTo>
                <a:cubicBezTo>
                  <a:pt x="81" y="326"/>
                  <a:pt x="55" y="285"/>
                  <a:pt x="38" y="258"/>
                </a:cubicBezTo>
                <a:cubicBezTo>
                  <a:pt x="93" y="285"/>
                  <a:pt x="203" y="299"/>
                  <a:pt x="307" y="299"/>
                </a:cubicBezTo>
                <a:cubicBezTo>
                  <a:pt x="412" y="299"/>
                  <a:pt x="521" y="285"/>
                  <a:pt x="577" y="258"/>
                </a:cubicBezTo>
                <a:cubicBezTo>
                  <a:pt x="560" y="285"/>
                  <a:pt x="534" y="326"/>
                  <a:pt x="507" y="369"/>
                </a:cubicBezTo>
                <a:cubicBezTo>
                  <a:pt x="451" y="457"/>
                  <a:pt x="390" y="552"/>
                  <a:pt x="390" y="55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72" name="Oval 11"/>
          <p:cNvSpPr>
            <a:spLocks noChangeArrowheads="1"/>
          </p:cNvSpPr>
          <p:nvPr/>
        </p:nvSpPr>
        <p:spPr bwMode="auto">
          <a:xfrm>
            <a:off x="3552358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78" name="Freeform 145"/>
          <p:cNvSpPr>
            <a:spLocks noEditPoints="1"/>
          </p:cNvSpPr>
          <p:nvPr/>
        </p:nvSpPr>
        <p:spPr bwMode="auto">
          <a:xfrm>
            <a:off x="3725895" y="2444671"/>
            <a:ext cx="475886" cy="522401"/>
          </a:xfrm>
          <a:custGeom>
            <a:avLst/>
            <a:gdLst>
              <a:gd name="T0" fmla="*/ 301 w 615"/>
              <a:gd name="T1" fmla="*/ 7 h 675"/>
              <a:gd name="T2" fmla="*/ 315 w 615"/>
              <a:gd name="T3" fmla="*/ 7 h 675"/>
              <a:gd name="T4" fmla="*/ 374 w 615"/>
              <a:gd name="T5" fmla="*/ 140 h 675"/>
              <a:gd name="T6" fmla="*/ 384 w 615"/>
              <a:gd name="T7" fmla="*/ 150 h 675"/>
              <a:gd name="T8" fmla="*/ 311 w 615"/>
              <a:gd name="T9" fmla="*/ 223 h 675"/>
              <a:gd name="T10" fmla="*/ 310 w 615"/>
              <a:gd name="T11" fmla="*/ 223 h 675"/>
              <a:gd name="T12" fmla="*/ 309 w 615"/>
              <a:gd name="T13" fmla="*/ 224 h 675"/>
              <a:gd name="T14" fmla="*/ 306 w 615"/>
              <a:gd name="T15" fmla="*/ 224 h 675"/>
              <a:gd name="T16" fmla="*/ 305 w 615"/>
              <a:gd name="T17" fmla="*/ 223 h 675"/>
              <a:gd name="T18" fmla="*/ 304 w 615"/>
              <a:gd name="T19" fmla="*/ 223 h 675"/>
              <a:gd name="T20" fmla="*/ 231 w 615"/>
              <a:gd name="T21" fmla="*/ 150 h 675"/>
              <a:gd name="T22" fmla="*/ 241 w 615"/>
              <a:gd name="T23" fmla="*/ 140 h 675"/>
              <a:gd name="T24" fmla="*/ 609 w 615"/>
              <a:gd name="T25" fmla="*/ 197 h 675"/>
              <a:gd name="T26" fmla="*/ 402 w 615"/>
              <a:gd name="T27" fmla="*/ 524 h 675"/>
              <a:gd name="T28" fmla="*/ 315 w 615"/>
              <a:gd name="T29" fmla="*/ 546 h 675"/>
              <a:gd name="T30" fmla="*/ 374 w 615"/>
              <a:gd name="T31" fmla="*/ 591 h 675"/>
              <a:gd name="T32" fmla="*/ 384 w 615"/>
              <a:gd name="T33" fmla="*/ 601 h 675"/>
              <a:gd name="T34" fmla="*/ 311 w 615"/>
              <a:gd name="T35" fmla="*/ 673 h 675"/>
              <a:gd name="T36" fmla="*/ 310 w 615"/>
              <a:gd name="T37" fmla="*/ 674 h 675"/>
              <a:gd name="T38" fmla="*/ 309 w 615"/>
              <a:gd name="T39" fmla="*/ 675 h 675"/>
              <a:gd name="T40" fmla="*/ 306 w 615"/>
              <a:gd name="T41" fmla="*/ 675 h 675"/>
              <a:gd name="T42" fmla="*/ 305 w 615"/>
              <a:gd name="T43" fmla="*/ 674 h 675"/>
              <a:gd name="T44" fmla="*/ 304 w 615"/>
              <a:gd name="T45" fmla="*/ 673 h 675"/>
              <a:gd name="T46" fmla="*/ 231 w 615"/>
              <a:gd name="T47" fmla="*/ 601 h 675"/>
              <a:gd name="T48" fmla="*/ 241 w 615"/>
              <a:gd name="T49" fmla="*/ 591 h 675"/>
              <a:gd name="T50" fmla="*/ 301 w 615"/>
              <a:gd name="T51" fmla="*/ 546 h 675"/>
              <a:gd name="T52" fmla="*/ 213 w 615"/>
              <a:gd name="T53" fmla="*/ 524 h 675"/>
              <a:gd name="T54" fmla="*/ 6 w 615"/>
              <a:gd name="T55" fmla="*/ 197 h 675"/>
              <a:gd name="T56" fmla="*/ 83 w 615"/>
              <a:gd name="T57" fmla="*/ 123 h 675"/>
              <a:gd name="T58" fmla="*/ 275 w 615"/>
              <a:gd name="T59" fmla="*/ 98 h 675"/>
              <a:gd name="T60" fmla="*/ 275 w 615"/>
              <a:gd name="T61" fmla="*/ 112 h 675"/>
              <a:gd name="T62" fmla="*/ 15 w 615"/>
              <a:gd name="T63" fmla="*/ 182 h 675"/>
              <a:gd name="T64" fmla="*/ 18 w 615"/>
              <a:gd name="T65" fmla="*/ 191 h 675"/>
              <a:gd name="T66" fmla="*/ 597 w 615"/>
              <a:gd name="T67" fmla="*/ 191 h 675"/>
              <a:gd name="T68" fmla="*/ 601 w 615"/>
              <a:gd name="T69" fmla="*/ 182 h 675"/>
              <a:gd name="T70" fmla="*/ 340 w 615"/>
              <a:gd name="T71" fmla="*/ 112 h 675"/>
              <a:gd name="T72" fmla="*/ 340 w 615"/>
              <a:gd name="T73" fmla="*/ 98 h 675"/>
              <a:gd name="T74" fmla="*/ 615 w 615"/>
              <a:gd name="T75" fmla="*/ 180 h 675"/>
              <a:gd name="T76" fmla="*/ 577 w 615"/>
              <a:gd name="T77" fmla="*/ 221 h 675"/>
              <a:gd name="T78" fmla="*/ 38 w 615"/>
              <a:gd name="T79" fmla="*/ 221 h 675"/>
              <a:gd name="T80" fmla="*/ 225 w 615"/>
              <a:gd name="T81" fmla="*/ 516 h 675"/>
              <a:gd name="T82" fmla="*/ 308 w 615"/>
              <a:gd name="T83" fmla="*/ 532 h 675"/>
              <a:gd name="T84" fmla="*/ 390 w 615"/>
              <a:gd name="T85" fmla="*/ 516 h 675"/>
              <a:gd name="T86" fmla="*/ 577 w 615"/>
              <a:gd name="T87" fmla="*/ 221 h 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15" h="675">
                <a:moveTo>
                  <a:pt x="301" y="200"/>
                </a:moveTo>
                <a:cubicBezTo>
                  <a:pt x="301" y="7"/>
                  <a:pt x="301" y="7"/>
                  <a:pt x="301" y="7"/>
                </a:cubicBezTo>
                <a:cubicBezTo>
                  <a:pt x="301" y="3"/>
                  <a:pt x="304" y="0"/>
                  <a:pt x="308" y="0"/>
                </a:cubicBezTo>
                <a:cubicBezTo>
                  <a:pt x="311" y="0"/>
                  <a:pt x="315" y="3"/>
                  <a:pt x="315" y="7"/>
                </a:cubicBezTo>
                <a:cubicBezTo>
                  <a:pt x="315" y="200"/>
                  <a:pt x="315" y="200"/>
                  <a:pt x="315" y="200"/>
                </a:cubicBezTo>
                <a:cubicBezTo>
                  <a:pt x="374" y="140"/>
                  <a:pt x="374" y="140"/>
                  <a:pt x="374" y="140"/>
                </a:cubicBezTo>
                <a:cubicBezTo>
                  <a:pt x="377" y="137"/>
                  <a:pt x="382" y="137"/>
                  <a:pt x="384" y="140"/>
                </a:cubicBezTo>
                <a:cubicBezTo>
                  <a:pt x="387" y="143"/>
                  <a:pt x="387" y="147"/>
                  <a:pt x="384" y="150"/>
                </a:cubicBezTo>
                <a:cubicBezTo>
                  <a:pt x="313" y="222"/>
                  <a:pt x="313" y="222"/>
                  <a:pt x="313" y="222"/>
                </a:cubicBezTo>
                <a:cubicBezTo>
                  <a:pt x="312" y="222"/>
                  <a:pt x="312" y="223"/>
                  <a:pt x="311" y="223"/>
                </a:cubicBezTo>
                <a:cubicBezTo>
                  <a:pt x="311" y="223"/>
                  <a:pt x="311" y="223"/>
                  <a:pt x="311" y="223"/>
                </a:cubicBezTo>
                <a:cubicBezTo>
                  <a:pt x="311" y="223"/>
                  <a:pt x="310" y="223"/>
                  <a:pt x="310" y="223"/>
                </a:cubicBezTo>
                <a:cubicBezTo>
                  <a:pt x="310" y="224"/>
                  <a:pt x="310" y="224"/>
                  <a:pt x="310" y="224"/>
                </a:cubicBezTo>
                <a:cubicBezTo>
                  <a:pt x="309" y="224"/>
                  <a:pt x="309" y="224"/>
                  <a:pt x="309" y="224"/>
                </a:cubicBezTo>
                <a:cubicBezTo>
                  <a:pt x="308" y="224"/>
                  <a:pt x="308" y="224"/>
                  <a:pt x="308" y="224"/>
                </a:cubicBezTo>
                <a:cubicBezTo>
                  <a:pt x="307" y="224"/>
                  <a:pt x="307" y="224"/>
                  <a:pt x="306" y="224"/>
                </a:cubicBezTo>
                <a:cubicBezTo>
                  <a:pt x="306" y="224"/>
                  <a:pt x="306" y="224"/>
                  <a:pt x="306" y="224"/>
                </a:cubicBezTo>
                <a:cubicBezTo>
                  <a:pt x="305" y="224"/>
                  <a:pt x="305" y="224"/>
                  <a:pt x="305" y="223"/>
                </a:cubicBezTo>
                <a:cubicBezTo>
                  <a:pt x="305" y="223"/>
                  <a:pt x="304" y="223"/>
                  <a:pt x="304" y="223"/>
                </a:cubicBezTo>
                <a:cubicBezTo>
                  <a:pt x="304" y="223"/>
                  <a:pt x="304" y="223"/>
                  <a:pt x="304" y="223"/>
                </a:cubicBezTo>
                <a:cubicBezTo>
                  <a:pt x="303" y="223"/>
                  <a:pt x="303" y="222"/>
                  <a:pt x="303" y="222"/>
                </a:cubicBezTo>
                <a:cubicBezTo>
                  <a:pt x="231" y="150"/>
                  <a:pt x="231" y="150"/>
                  <a:pt x="231" y="150"/>
                </a:cubicBezTo>
                <a:cubicBezTo>
                  <a:pt x="228" y="147"/>
                  <a:pt x="228" y="143"/>
                  <a:pt x="231" y="140"/>
                </a:cubicBezTo>
                <a:cubicBezTo>
                  <a:pt x="233" y="137"/>
                  <a:pt x="238" y="137"/>
                  <a:pt x="241" y="140"/>
                </a:cubicBezTo>
                <a:lnTo>
                  <a:pt x="301" y="200"/>
                </a:lnTo>
                <a:close/>
                <a:moveTo>
                  <a:pt x="609" y="197"/>
                </a:moveTo>
                <a:cubicBezTo>
                  <a:pt x="505" y="361"/>
                  <a:pt x="505" y="361"/>
                  <a:pt x="505" y="361"/>
                </a:cubicBezTo>
                <a:cubicBezTo>
                  <a:pt x="454" y="442"/>
                  <a:pt x="402" y="523"/>
                  <a:pt x="402" y="524"/>
                </a:cubicBezTo>
                <a:cubicBezTo>
                  <a:pt x="402" y="524"/>
                  <a:pt x="402" y="524"/>
                  <a:pt x="402" y="524"/>
                </a:cubicBezTo>
                <a:cubicBezTo>
                  <a:pt x="393" y="538"/>
                  <a:pt x="348" y="545"/>
                  <a:pt x="315" y="546"/>
                </a:cubicBezTo>
                <a:cubicBezTo>
                  <a:pt x="315" y="651"/>
                  <a:pt x="315" y="651"/>
                  <a:pt x="315" y="651"/>
                </a:cubicBezTo>
                <a:cubicBezTo>
                  <a:pt x="374" y="591"/>
                  <a:pt x="374" y="591"/>
                  <a:pt x="374" y="591"/>
                </a:cubicBezTo>
                <a:cubicBezTo>
                  <a:pt x="377" y="588"/>
                  <a:pt x="382" y="588"/>
                  <a:pt x="384" y="591"/>
                </a:cubicBezTo>
                <a:cubicBezTo>
                  <a:pt x="387" y="594"/>
                  <a:pt x="387" y="598"/>
                  <a:pt x="384" y="601"/>
                </a:cubicBezTo>
                <a:cubicBezTo>
                  <a:pt x="313" y="673"/>
                  <a:pt x="313" y="673"/>
                  <a:pt x="313" y="673"/>
                </a:cubicBezTo>
                <a:cubicBezTo>
                  <a:pt x="312" y="673"/>
                  <a:pt x="312" y="673"/>
                  <a:pt x="311" y="673"/>
                </a:cubicBezTo>
                <a:cubicBezTo>
                  <a:pt x="311" y="674"/>
                  <a:pt x="311" y="674"/>
                  <a:pt x="311" y="674"/>
                </a:cubicBezTo>
                <a:cubicBezTo>
                  <a:pt x="311" y="674"/>
                  <a:pt x="310" y="674"/>
                  <a:pt x="310" y="674"/>
                </a:cubicBezTo>
                <a:cubicBezTo>
                  <a:pt x="310" y="674"/>
                  <a:pt x="310" y="674"/>
                  <a:pt x="310" y="674"/>
                </a:cubicBezTo>
                <a:cubicBezTo>
                  <a:pt x="309" y="674"/>
                  <a:pt x="309" y="674"/>
                  <a:pt x="309" y="675"/>
                </a:cubicBezTo>
                <a:cubicBezTo>
                  <a:pt x="308" y="675"/>
                  <a:pt x="308" y="675"/>
                  <a:pt x="308" y="675"/>
                </a:cubicBezTo>
                <a:cubicBezTo>
                  <a:pt x="307" y="675"/>
                  <a:pt x="307" y="675"/>
                  <a:pt x="306" y="675"/>
                </a:cubicBezTo>
                <a:cubicBezTo>
                  <a:pt x="306" y="674"/>
                  <a:pt x="306" y="674"/>
                  <a:pt x="306" y="674"/>
                </a:cubicBezTo>
                <a:cubicBezTo>
                  <a:pt x="305" y="674"/>
                  <a:pt x="305" y="674"/>
                  <a:pt x="305" y="674"/>
                </a:cubicBezTo>
                <a:cubicBezTo>
                  <a:pt x="305" y="674"/>
                  <a:pt x="304" y="674"/>
                  <a:pt x="304" y="674"/>
                </a:cubicBezTo>
                <a:cubicBezTo>
                  <a:pt x="304" y="674"/>
                  <a:pt x="304" y="674"/>
                  <a:pt x="304" y="673"/>
                </a:cubicBezTo>
                <a:cubicBezTo>
                  <a:pt x="303" y="673"/>
                  <a:pt x="303" y="673"/>
                  <a:pt x="303" y="673"/>
                </a:cubicBezTo>
                <a:cubicBezTo>
                  <a:pt x="231" y="601"/>
                  <a:pt x="231" y="601"/>
                  <a:pt x="231" y="601"/>
                </a:cubicBezTo>
                <a:cubicBezTo>
                  <a:pt x="228" y="598"/>
                  <a:pt x="228" y="594"/>
                  <a:pt x="231" y="591"/>
                </a:cubicBezTo>
                <a:cubicBezTo>
                  <a:pt x="233" y="588"/>
                  <a:pt x="238" y="588"/>
                  <a:pt x="241" y="591"/>
                </a:cubicBezTo>
                <a:cubicBezTo>
                  <a:pt x="301" y="651"/>
                  <a:pt x="301" y="651"/>
                  <a:pt x="301" y="651"/>
                </a:cubicBezTo>
                <a:cubicBezTo>
                  <a:pt x="301" y="546"/>
                  <a:pt x="301" y="546"/>
                  <a:pt x="301" y="546"/>
                </a:cubicBezTo>
                <a:cubicBezTo>
                  <a:pt x="268" y="545"/>
                  <a:pt x="223" y="538"/>
                  <a:pt x="213" y="524"/>
                </a:cubicBezTo>
                <a:cubicBezTo>
                  <a:pt x="213" y="524"/>
                  <a:pt x="213" y="524"/>
                  <a:pt x="213" y="524"/>
                </a:cubicBezTo>
                <a:cubicBezTo>
                  <a:pt x="213" y="523"/>
                  <a:pt x="123" y="382"/>
                  <a:pt x="62" y="285"/>
                </a:cubicBezTo>
                <a:cubicBezTo>
                  <a:pt x="6" y="197"/>
                  <a:pt x="6" y="197"/>
                  <a:pt x="6" y="197"/>
                </a:cubicBezTo>
                <a:cubicBezTo>
                  <a:pt x="2" y="192"/>
                  <a:pt x="0" y="186"/>
                  <a:pt x="0" y="180"/>
                </a:cubicBezTo>
                <a:cubicBezTo>
                  <a:pt x="0" y="158"/>
                  <a:pt x="29" y="138"/>
                  <a:pt x="83" y="123"/>
                </a:cubicBezTo>
                <a:cubicBezTo>
                  <a:pt x="133" y="109"/>
                  <a:pt x="201" y="100"/>
                  <a:pt x="275" y="98"/>
                </a:cubicBezTo>
                <a:cubicBezTo>
                  <a:pt x="275" y="98"/>
                  <a:pt x="275" y="98"/>
                  <a:pt x="275" y="98"/>
                </a:cubicBezTo>
                <a:cubicBezTo>
                  <a:pt x="279" y="98"/>
                  <a:pt x="282" y="101"/>
                  <a:pt x="282" y="105"/>
                </a:cubicBezTo>
                <a:cubicBezTo>
                  <a:pt x="282" y="109"/>
                  <a:pt x="279" y="112"/>
                  <a:pt x="275" y="112"/>
                </a:cubicBezTo>
                <a:cubicBezTo>
                  <a:pt x="114" y="117"/>
                  <a:pt x="14" y="151"/>
                  <a:pt x="14" y="180"/>
                </a:cubicBezTo>
                <a:cubicBezTo>
                  <a:pt x="14" y="181"/>
                  <a:pt x="14" y="182"/>
                  <a:pt x="15" y="182"/>
                </a:cubicBezTo>
                <a:cubicBezTo>
                  <a:pt x="15" y="185"/>
                  <a:pt x="16" y="187"/>
                  <a:pt x="17" y="189"/>
                </a:cubicBezTo>
                <a:cubicBezTo>
                  <a:pt x="18" y="191"/>
                  <a:pt x="18" y="191"/>
                  <a:pt x="18" y="191"/>
                </a:cubicBezTo>
                <a:cubicBezTo>
                  <a:pt x="40" y="220"/>
                  <a:pt x="153" y="249"/>
                  <a:pt x="308" y="249"/>
                </a:cubicBezTo>
                <a:cubicBezTo>
                  <a:pt x="462" y="249"/>
                  <a:pt x="575" y="220"/>
                  <a:pt x="597" y="191"/>
                </a:cubicBezTo>
                <a:cubicBezTo>
                  <a:pt x="598" y="189"/>
                  <a:pt x="598" y="189"/>
                  <a:pt x="598" y="189"/>
                </a:cubicBezTo>
                <a:cubicBezTo>
                  <a:pt x="599" y="187"/>
                  <a:pt x="600" y="185"/>
                  <a:pt x="601" y="182"/>
                </a:cubicBezTo>
                <a:cubicBezTo>
                  <a:pt x="601" y="182"/>
                  <a:pt x="601" y="181"/>
                  <a:pt x="601" y="180"/>
                </a:cubicBezTo>
                <a:cubicBezTo>
                  <a:pt x="601" y="151"/>
                  <a:pt x="501" y="117"/>
                  <a:pt x="340" y="112"/>
                </a:cubicBezTo>
                <a:cubicBezTo>
                  <a:pt x="336" y="112"/>
                  <a:pt x="333" y="109"/>
                  <a:pt x="333" y="105"/>
                </a:cubicBezTo>
                <a:cubicBezTo>
                  <a:pt x="333" y="101"/>
                  <a:pt x="336" y="98"/>
                  <a:pt x="340" y="98"/>
                </a:cubicBezTo>
                <a:cubicBezTo>
                  <a:pt x="414" y="100"/>
                  <a:pt x="482" y="109"/>
                  <a:pt x="532" y="123"/>
                </a:cubicBezTo>
                <a:cubicBezTo>
                  <a:pt x="586" y="138"/>
                  <a:pt x="615" y="158"/>
                  <a:pt x="615" y="180"/>
                </a:cubicBezTo>
                <a:cubicBezTo>
                  <a:pt x="615" y="186"/>
                  <a:pt x="613" y="192"/>
                  <a:pt x="609" y="197"/>
                </a:cubicBezTo>
                <a:close/>
                <a:moveTo>
                  <a:pt x="577" y="221"/>
                </a:moveTo>
                <a:cubicBezTo>
                  <a:pt x="522" y="248"/>
                  <a:pt x="412" y="263"/>
                  <a:pt x="308" y="263"/>
                </a:cubicBezTo>
                <a:cubicBezTo>
                  <a:pt x="203" y="263"/>
                  <a:pt x="94" y="248"/>
                  <a:pt x="38" y="221"/>
                </a:cubicBezTo>
                <a:cubicBezTo>
                  <a:pt x="73" y="277"/>
                  <a:pt x="73" y="277"/>
                  <a:pt x="73" y="277"/>
                </a:cubicBezTo>
                <a:cubicBezTo>
                  <a:pt x="201" y="479"/>
                  <a:pt x="221" y="511"/>
                  <a:pt x="225" y="516"/>
                </a:cubicBezTo>
                <a:cubicBezTo>
                  <a:pt x="225" y="516"/>
                  <a:pt x="225" y="516"/>
                  <a:pt x="225" y="517"/>
                </a:cubicBezTo>
                <a:cubicBezTo>
                  <a:pt x="229" y="523"/>
                  <a:pt x="266" y="532"/>
                  <a:pt x="308" y="532"/>
                </a:cubicBezTo>
                <a:cubicBezTo>
                  <a:pt x="349" y="532"/>
                  <a:pt x="386" y="523"/>
                  <a:pt x="390" y="517"/>
                </a:cubicBezTo>
                <a:cubicBezTo>
                  <a:pt x="390" y="516"/>
                  <a:pt x="390" y="516"/>
                  <a:pt x="390" y="516"/>
                </a:cubicBezTo>
                <a:cubicBezTo>
                  <a:pt x="392" y="514"/>
                  <a:pt x="403" y="496"/>
                  <a:pt x="493" y="353"/>
                </a:cubicBezTo>
                <a:lnTo>
                  <a:pt x="577" y="22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8" name="Title 32">
            <a:extLst>
              <a:ext uri="{FF2B5EF4-FFF2-40B4-BE49-F238E27FC236}">
                <a16:creationId xmlns:a16="http://schemas.microsoft.com/office/drawing/2014/main" id="{E41B8B56-1551-4E47-BF54-DD8AA4CDC8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9549"/>
            <a:ext cx="8686800" cy="682625"/>
          </a:xfrm>
        </p:spPr>
        <p:txBody>
          <a:bodyPr/>
          <a:lstStyle/>
          <a:p>
            <a:r>
              <a:rPr lang="en-US" dirty="0"/>
              <a:t>Business icons</a:t>
            </a:r>
          </a:p>
        </p:txBody>
      </p:sp>
    </p:spTree>
    <p:extLst>
      <p:ext uri="{BB962C8B-B14F-4D97-AF65-F5344CB8AC3E}">
        <p14:creationId xmlns:p14="http://schemas.microsoft.com/office/powerpoint/2010/main" val="42861581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layou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34918E-7EB0-EB45-92D8-C32124FE5C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EAF9DB-6F40-460F-BF1F-2A84CCEEEA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89329B-CA23-AE4D-AC50-E5E895A9E3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086600" y="4933950"/>
            <a:ext cx="2057400" cy="182563"/>
          </a:xfrm>
        </p:spPr>
        <p:txBody>
          <a:bodyPr/>
          <a:lstStyle/>
          <a:p>
            <a:fld id="{2154EA64-C67A-624C-A147-549F97A9164D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554072-2822-4C1D-9551-C73A1134819B}"/>
              </a:ext>
            </a:extLst>
          </p:cNvPr>
          <p:cNvSpPr/>
          <p:nvPr/>
        </p:nvSpPr>
        <p:spPr>
          <a:xfrm>
            <a:off x="203661" y="191193"/>
            <a:ext cx="8740833" cy="4671752"/>
          </a:xfrm>
          <a:prstGeom prst="rect">
            <a:avLst/>
          </a:prstGeom>
          <a:solidFill>
            <a:srgbClr val="336FCA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 indent="-631825" algn="ctr"/>
            <a:r>
              <a:rPr lang="en-US" sz="2800" dirty="0">
                <a:solidFill>
                  <a:schemeClr val="bg1"/>
                </a:solidFill>
              </a:rPr>
              <a:t>Overview, Concepts or Recommendations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968525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7" name="Oval 36"/>
          <p:cNvSpPr>
            <a:spLocks noChangeArrowheads="1"/>
          </p:cNvSpPr>
          <p:nvPr/>
        </p:nvSpPr>
        <p:spPr bwMode="auto">
          <a:xfrm>
            <a:off x="7430588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64" name="Freeform 81"/>
          <p:cNvSpPr>
            <a:spLocks noEditPoints="1"/>
          </p:cNvSpPr>
          <p:nvPr/>
        </p:nvSpPr>
        <p:spPr bwMode="auto">
          <a:xfrm>
            <a:off x="7563318" y="3644824"/>
            <a:ext cx="509878" cy="510432"/>
          </a:xfrm>
          <a:custGeom>
            <a:avLst/>
            <a:gdLst>
              <a:gd name="T0" fmla="*/ 293 w 659"/>
              <a:gd name="T1" fmla="*/ 658 h 658"/>
              <a:gd name="T2" fmla="*/ 288 w 659"/>
              <a:gd name="T3" fmla="*/ 656 h 658"/>
              <a:gd name="T4" fmla="*/ 2 w 659"/>
              <a:gd name="T5" fmla="*/ 370 h 658"/>
              <a:gd name="T6" fmla="*/ 0 w 659"/>
              <a:gd name="T7" fmla="*/ 366 h 658"/>
              <a:gd name="T8" fmla="*/ 2 w 659"/>
              <a:gd name="T9" fmla="*/ 361 h 658"/>
              <a:gd name="T10" fmla="*/ 361 w 659"/>
              <a:gd name="T11" fmla="*/ 2 h 658"/>
              <a:gd name="T12" fmla="*/ 366 w 659"/>
              <a:gd name="T13" fmla="*/ 0 h 658"/>
              <a:gd name="T14" fmla="*/ 366 w 659"/>
              <a:gd name="T15" fmla="*/ 0 h 658"/>
              <a:gd name="T16" fmla="*/ 652 w 659"/>
              <a:gd name="T17" fmla="*/ 0 h 658"/>
              <a:gd name="T18" fmla="*/ 659 w 659"/>
              <a:gd name="T19" fmla="*/ 7 h 658"/>
              <a:gd name="T20" fmla="*/ 659 w 659"/>
              <a:gd name="T21" fmla="*/ 292 h 658"/>
              <a:gd name="T22" fmla="*/ 657 w 659"/>
              <a:gd name="T23" fmla="*/ 297 h 658"/>
              <a:gd name="T24" fmla="*/ 298 w 659"/>
              <a:gd name="T25" fmla="*/ 656 h 658"/>
              <a:gd name="T26" fmla="*/ 293 w 659"/>
              <a:gd name="T27" fmla="*/ 658 h 658"/>
              <a:gd name="T28" fmla="*/ 17 w 659"/>
              <a:gd name="T29" fmla="*/ 366 h 658"/>
              <a:gd name="T30" fmla="*/ 293 w 659"/>
              <a:gd name="T31" fmla="*/ 641 h 658"/>
              <a:gd name="T32" fmla="*/ 645 w 659"/>
              <a:gd name="T33" fmla="*/ 289 h 658"/>
              <a:gd name="T34" fmla="*/ 645 w 659"/>
              <a:gd name="T35" fmla="*/ 14 h 658"/>
              <a:gd name="T36" fmla="*/ 369 w 659"/>
              <a:gd name="T37" fmla="*/ 14 h 658"/>
              <a:gd name="T38" fmla="*/ 17 w 659"/>
              <a:gd name="T39" fmla="*/ 366 h 658"/>
              <a:gd name="T40" fmla="*/ 515 w 659"/>
              <a:gd name="T41" fmla="*/ 206 h 658"/>
              <a:gd name="T42" fmla="*/ 452 w 659"/>
              <a:gd name="T43" fmla="*/ 144 h 658"/>
              <a:gd name="T44" fmla="*/ 470 w 659"/>
              <a:gd name="T45" fmla="*/ 100 h 658"/>
              <a:gd name="T46" fmla="*/ 515 w 659"/>
              <a:gd name="T47" fmla="*/ 81 h 658"/>
              <a:gd name="T48" fmla="*/ 515 w 659"/>
              <a:gd name="T49" fmla="*/ 81 h 658"/>
              <a:gd name="T50" fmla="*/ 577 w 659"/>
              <a:gd name="T51" fmla="*/ 144 h 658"/>
              <a:gd name="T52" fmla="*/ 515 w 659"/>
              <a:gd name="T53" fmla="*/ 206 h 658"/>
              <a:gd name="T54" fmla="*/ 515 w 659"/>
              <a:gd name="T55" fmla="*/ 95 h 658"/>
              <a:gd name="T56" fmla="*/ 480 w 659"/>
              <a:gd name="T57" fmla="*/ 110 h 658"/>
              <a:gd name="T58" fmla="*/ 466 w 659"/>
              <a:gd name="T59" fmla="*/ 144 h 658"/>
              <a:gd name="T60" fmla="*/ 515 w 659"/>
              <a:gd name="T61" fmla="*/ 192 h 658"/>
              <a:gd name="T62" fmla="*/ 563 w 659"/>
              <a:gd name="T63" fmla="*/ 144 h 658"/>
              <a:gd name="T64" fmla="*/ 515 w 659"/>
              <a:gd name="T65" fmla="*/ 95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659" h="658">
                <a:moveTo>
                  <a:pt x="293" y="658"/>
                </a:moveTo>
                <a:cubicBezTo>
                  <a:pt x="291" y="658"/>
                  <a:pt x="289" y="657"/>
                  <a:pt x="288" y="656"/>
                </a:cubicBezTo>
                <a:cubicBezTo>
                  <a:pt x="2" y="370"/>
                  <a:pt x="2" y="370"/>
                  <a:pt x="2" y="370"/>
                </a:cubicBezTo>
                <a:cubicBezTo>
                  <a:pt x="1" y="369"/>
                  <a:pt x="0" y="367"/>
                  <a:pt x="0" y="366"/>
                </a:cubicBezTo>
                <a:cubicBezTo>
                  <a:pt x="0" y="364"/>
                  <a:pt x="1" y="362"/>
                  <a:pt x="2" y="361"/>
                </a:cubicBezTo>
                <a:cubicBezTo>
                  <a:pt x="361" y="2"/>
                  <a:pt x="361" y="2"/>
                  <a:pt x="361" y="2"/>
                </a:cubicBezTo>
                <a:cubicBezTo>
                  <a:pt x="362" y="0"/>
                  <a:pt x="364" y="0"/>
                  <a:pt x="366" y="0"/>
                </a:cubicBezTo>
                <a:cubicBezTo>
                  <a:pt x="366" y="0"/>
                  <a:pt x="366" y="0"/>
                  <a:pt x="366" y="0"/>
                </a:cubicBezTo>
                <a:cubicBezTo>
                  <a:pt x="652" y="0"/>
                  <a:pt x="652" y="0"/>
                  <a:pt x="652" y="0"/>
                </a:cubicBezTo>
                <a:cubicBezTo>
                  <a:pt x="655" y="0"/>
                  <a:pt x="659" y="3"/>
                  <a:pt x="659" y="7"/>
                </a:cubicBezTo>
                <a:cubicBezTo>
                  <a:pt x="659" y="292"/>
                  <a:pt x="659" y="292"/>
                  <a:pt x="659" y="292"/>
                </a:cubicBezTo>
                <a:cubicBezTo>
                  <a:pt x="659" y="294"/>
                  <a:pt x="658" y="296"/>
                  <a:pt x="657" y="297"/>
                </a:cubicBezTo>
                <a:cubicBezTo>
                  <a:pt x="298" y="656"/>
                  <a:pt x="298" y="656"/>
                  <a:pt x="298" y="656"/>
                </a:cubicBezTo>
                <a:cubicBezTo>
                  <a:pt x="296" y="657"/>
                  <a:pt x="295" y="658"/>
                  <a:pt x="293" y="658"/>
                </a:cubicBezTo>
                <a:close/>
                <a:moveTo>
                  <a:pt x="17" y="366"/>
                </a:moveTo>
                <a:cubicBezTo>
                  <a:pt x="293" y="641"/>
                  <a:pt x="293" y="641"/>
                  <a:pt x="293" y="641"/>
                </a:cubicBezTo>
                <a:cubicBezTo>
                  <a:pt x="645" y="289"/>
                  <a:pt x="645" y="289"/>
                  <a:pt x="645" y="289"/>
                </a:cubicBezTo>
                <a:cubicBezTo>
                  <a:pt x="645" y="14"/>
                  <a:pt x="645" y="14"/>
                  <a:pt x="645" y="14"/>
                </a:cubicBezTo>
                <a:cubicBezTo>
                  <a:pt x="369" y="14"/>
                  <a:pt x="369" y="14"/>
                  <a:pt x="369" y="14"/>
                </a:cubicBezTo>
                <a:lnTo>
                  <a:pt x="17" y="366"/>
                </a:lnTo>
                <a:close/>
                <a:moveTo>
                  <a:pt x="515" y="206"/>
                </a:moveTo>
                <a:cubicBezTo>
                  <a:pt x="480" y="206"/>
                  <a:pt x="452" y="178"/>
                  <a:pt x="452" y="144"/>
                </a:cubicBezTo>
                <a:cubicBezTo>
                  <a:pt x="452" y="127"/>
                  <a:pt x="459" y="111"/>
                  <a:pt x="470" y="100"/>
                </a:cubicBezTo>
                <a:cubicBezTo>
                  <a:pt x="482" y="88"/>
                  <a:pt x="498" y="81"/>
                  <a:pt x="515" y="81"/>
                </a:cubicBezTo>
                <a:cubicBezTo>
                  <a:pt x="515" y="81"/>
                  <a:pt x="515" y="81"/>
                  <a:pt x="515" y="81"/>
                </a:cubicBezTo>
                <a:cubicBezTo>
                  <a:pt x="549" y="81"/>
                  <a:pt x="577" y="109"/>
                  <a:pt x="577" y="144"/>
                </a:cubicBezTo>
                <a:cubicBezTo>
                  <a:pt x="577" y="178"/>
                  <a:pt x="549" y="206"/>
                  <a:pt x="515" y="206"/>
                </a:cubicBezTo>
                <a:close/>
                <a:moveTo>
                  <a:pt x="515" y="95"/>
                </a:moveTo>
                <a:cubicBezTo>
                  <a:pt x="502" y="95"/>
                  <a:pt x="489" y="100"/>
                  <a:pt x="480" y="110"/>
                </a:cubicBezTo>
                <a:cubicBezTo>
                  <a:pt x="471" y="119"/>
                  <a:pt x="466" y="131"/>
                  <a:pt x="466" y="144"/>
                </a:cubicBezTo>
                <a:cubicBezTo>
                  <a:pt x="466" y="171"/>
                  <a:pt x="488" y="192"/>
                  <a:pt x="515" y="192"/>
                </a:cubicBezTo>
                <a:cubicBezTo>
                  <a:pt x="541" y="192"/>
                  <a:pt x="563" y="171"/>
                  <a:pt x="563" y="144"/>
                </a:cubicBezTo>
                <a:cubicBezTo>
                  <a:pt x="563" y="117"/>
                  <a:pt x="541" y="95"/>
                  <a:pt x="515" y="9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2" name="Oval 21"/>
          <p:cNvSpPr>
            <a:spLocks noChangeArrowheads="1"/>
          </p:cNvSpPr>
          <p:nvPr/>
        </p:nvSpPr>
        <p:spPr bwMode="auto">
          <a:xfrm>
            <a:off x="966871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6165" name="Freeform 82"/>
          <p:cNvSpPr>
            <a:spLocks noEditPoints="1"/>
          </p:cNvSpPr>
          <p:nvPr/>
        </p:nvSpPr>
        <p:spPr bwMode="auto">
          <a:xfrm>
            <a:off x="1111784" y="1295809"/>
            <a:ext cx="533135" cy="450839"/>
          </a:xfrm>
          <a:custGeom>
            <a:avLst/>
            <a:gdLst>
              <a:gd name="T0" fmla="*/ 661 w 689"/>
              <a:gd name="T1" fmla="*/ 516 h 582"/>
              <a:gd name="T2" fmla="*/ 654 w 689"/>
              <a:gd name="T3" fmla="*/ 488 h 582"/>
              <a:gd name="T4" fmla="*/ 609 w 689"/>
              <a:gd name="T5" fmla="*/ 183 h 582"/>
              <a:gd name="T6" fmla="*/ 660 w 689"/>
              <a:gd name="T7" fmla="*/ 176 h 582"/>
              <a:gd name="T8" fmla="*/ 656 w 689"/>
              <a:gd name="T9" fmla="*/ 142 h 582"/>
              <a:gd name="T10" fmla="*/ 339 w 689"/>
              <a:gd name="T11" fmla="*/ 1 h 582"/>
              <a:gd name="T12" fmla="*/ 26 w 689"/>
              <a:gd name="T13" fmla="*/ 149 h 582"/>
              <a:gd name="T14" fmla="*/ 33 w 689"/>
              <a:gd name="T15" fmla="*/ 183 h 582"/>
              <a:gd name="T16" fmla="*/ 80 w 689"/>
              <a:gd name="T17" fmla="*/ 488 h 582"/>
              <a:gd name="T18" fmla="*/ 25 w 689"/>
              <a:gd name="T19" fmla="*/ 495 h 582"/>
              <a:gd name="T20" fmla="*/ 7 w 689"/>
              <a:gd name="T21" fmla="*/ 516 h 582"/>
              <a:gd name="T22" fmla="*/ 0 w 689"/>
              <a:gd name="T23" fmla="*/ 575 h 582"/>
              <a:gd name="T24" fmla="*/ 682 w 689"/>
              <a:gd name="T25" fmla="*/ 582 h 582"/>
              <a:gd name="T26" fmla="*/ 689 w 689"/>
              <a:gd name="T27" fmla="*/ 523 h 582"/>
              <a:gd name="T28" fmla="*/ 595 w 689"/>
              <a:gd name="T29" fmla="*/ 488 h 582"/>
              <a:gd name="T30" fmla="*/ 526 w 689"/>
              <a:gd name="T31" fmla="*/ 183 h 582"/>
              <a:gd name="T32" fmla="*/ 595 w 689"/>
              <a:gd name="T33" fmla="*/ 488 h 582"/>
              <a:gd name="T34" fmla="*/ 392 w 689"/>
              <a:gd name="T35" fmla="*/ 183 h 582"/>
              <a:gd name="T36" fmla="*/ 512 w 689"/>
              <a:gd name="T37" fmla="*/ 488 h 582"/>
              <a:gd name="T38" fmla="*/ 308 w 689"/>
              <a:gd name="T39" fmla="*/ 488 h 582"/>
              <a:gd name="T40" fmla="*/ 378 w 689"/>
              <a:gd name="T41" fmla="*/ 183 h 582"/>
              <a:gd name="T42" fmla="*/ 308 w 689"/>
              <a:gd name="T43" fmla="*/ 488 h 582"/>
              <a:gd name="T44" fmla="*/ 178 w 689"/>
              <a:gd name="T45" fmla="*/ 183 h 582"/>
              <a:gd name="T46" fmla="*/ 294 w 689"/>
              <a:gd name="T47" fmla="*/ 488 h 582"/>
              <a:gd name="T48" fmla="*/ 40 w 689"/>
              <a:gd name="T49" fmla="*/ 153 h 582"/>
              <a:gd name="T50" fmla="*/ 646 w 689"/>
              <a:gd name="T51" fmla="*/ 153 h 582"/>
              <a:gd name="T52" fmla="*/ 40 w 689"/>
              <a:gd name="T53" fmla="*/ 169 h 582"/>
              <a:gd name="T54" fmla="*/ 94 w 689"/>
              <a:gd name="T55" fmla="*/ 183 h 582"/>
              <a:gd name="T56" fmla="*/ 164 w 689"/>
              <a:gd name="T57" fmla="*/ 488 h 582"/>
              <a:gd name="T58" fmla="*/ 94 w 689"/>
              <a:gd name="T59" fmla="*/ 183 h 582"/>
              <a:gd name="T60" fmla="*/ 14 w 689"/>
              <a:gd name="T61" fmla="*/ 568 h 582"/>
              <a:gd name="T62" fmla="*/ 32 w 689"/>
              <a:gd name="T63" fmla="*/ 530 h 582"/>
              <a:gd name="T64" fmla="*/ 39 w 689"/>
              <a:gd name="T65" fmla="*/ 502 h 582"/>
              <a:gd name="T66" fmla="*/ 647 w 689"/>
              <a:gd name="T67" fmla="*/ 523 h 582"/>
              <a:gd name="T68" fmla="*/ 675 w 689"/>
              <a:gd name="T69" fmla="*/ 530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89" h="582">
                <a:moveTo>
                  <a:pt x="682" y="516"/>
                </a:moveTo>
                <a:cubicBezTo>
                  <a:pt x="661" y="516"/>
                  <a:pt x="661" y="516"/>
                  <a:pt x="661" y="516"/>
                </a:cubicBezTo>
                <a:cubicBezTo>
                  <a:pt x="661" y="495"/>
                  <a:pt x="661" y="495"/>
                  <a:pt x="661" y="495"/>
                </a:cubicBezTo>
                <a:cubicBezTo>
                  <a:pt x="661" y="491"/>
                  <a:pt x="658" y="488"/>
                  <a:pt x="654" y="488"/>
                </a:cubicBezTo>
                <a:cubicBezTo>
                  <a:pt x="609" y="488"/>
                  <a:pt x="609" y="488"/>
                  <a:pt x="609" y="488"/>
                </a:cubicBezTo>
                <a:cubicBezTo>
                  <a:pt x="609" y="183"/>
                  <a:pt x="609" y="183"/>
                  <a:pt x="609" y="183"/>
                </a:cubicBezTo>
                <a:cubicBezTo>
                  <a:pt x="653" y="183"/>
                  <a:pt x="653" y="183"/>
                  <a:pt x="653" y="183"/>
                </a:cubicBezTo>
                <a:cubicBezTo>
                  <a:pt x="657" y="183"/>
                  <a:pt x="660" y="180"/>
                  <a:pt x="660" y="176"/>
                </a:cubicBezTo>
                <a:cubicBezTo>
                  <a:pt x="660" y="149"/>
                  <a:pt x="660" y="149"/>
                  <a:pt x="660" y="149"/>
                </a:cubicBezTo>
                <a:cubicBezTo>
                  <a:pt x="660" y="146"/>
                  <a:pt x="658" y="143"/>
                  <a:pt x="656" y="142"/>
                </a:cubicBezTo>
                <a:cubicBezTo>
                  <a:pt x="345" y="1"/>
                  <a:pt x="345" y="1"/>
                  <a:pt x="345" y="1"/>
                </a:cubicBezTo>
                <a:cubicBezTo>
                  <a:pt x="343" y="0"/>
                  <a:pt x="341" y="0"/>
                  <a:pt x="339" y="1"/>
                </a:cubicBezTo>
                <a:cubicBezTo>
                  <a:pt x="30" y="142"/>
                  <a:pt x="30" y="142"/>
                  <a:pt x="30" y="142"/>
                </a:cubicBezTo>
                <a:cubicBezTo>
                  <a:pt x="27" y="143"/>
                  <a:pt x="26" y="146"/>
                  <a:pt x="26" y="149"/>
                </a:cubicBezTo>
                <a:cubicBezTo>
                  <a:pt x="26" y="176"/>
                  <a:pt x="26" y="176"/>
                  <a:pt x="26" y="176"/>
                </a:cubicBezTo>
                <a:cubicBezTo>
                  <a:pt x="26" y="180"/>
                  <a:pt x="29" y="183"/>
                  <a:pt x="33" y="183"/>
                </a:cubicBezTo>
                <a:cubicBezTo>
                  <a:pt x="80" y="183"/>
                  <a:pt x="80" y="183"/>
                  <a:pt x="80" y="183"/>
                </a:cubicBezTo>
                <a:cubicBezTo>
                  <a:pt x="80" y="488"/>
                  <a:pt x="80" y="488"/>
                  <a:pt x="80" y="488"/>
                </a:cubicBezTo>
                <a:cubicBezTo>
                  <a:pt x="32" y="488"/>
                  <a:pt x="32" y="488"/>
                  <a:pt x="32" y="488"/>
                </a:cubicBezTo>
                <a:cubicBezTo>
                  <a:pt x="28" y="488"/>
                  <a:pt x="25" y="491"/>
                  <a:pt x="25" y="495"/>
                </a:cubicBezTo>
                <a:cubicBezTo>
                  <a:pt x="25" y="516"/>
                  <a:pt x="25" y="516"/>
                  <a:pt x="25" y="516"/>
                </a:cubicBezTo>
                <a:cubicBezTo>
                  <a:pt x="7" y="516"/>
                  <a:pt x="7" y="516"/>
                  <a:pt x="7" y="516"/>
                </a:cubicBezTo>
                <a:cubicBezTo>
                  <a:pt x="3" y="516"/>
                  <a:pt x="0" y="520"/>
                  <a:pt x="0" y="523"/>
                </a:cubicBezTo>
                <a:cubicBezTo>
                  <a:pt x="0" y="575"/>
                  <a:pt x="0" y="575"/>
                  <a:pt x="0" y="575"/>
                </a:cubicBezTo>
                <a:cubicBezTo>
                  <a:pt x="0" y="579"/>
                  <a:pt x="3" y="582"/>
                  <a:pt x="7" y="582"/>
                </a:cubicBezTo>
                <a:cubicBezTo>
                  <a:pt x="682" y="582"/>
                  <a:pt x="682" y="582"/>
                  <a:pt x="682" y="582"/>
                </a:cubicBezTo>
                <a:cubicBezTo>
                  <a:pt x="686" y="582"/>
                  <a:pt x="689" y="579"/>
                  <a:pt x="689" y="575"/>
                </a:cubicBezTo>
                <a:cubicBezTo>
                  <a:pt x="689" y="523"/>
                  <a:pt x="689" y="523"/>
                  <a:pt x="689" y="523"/>
                </a:cubicBezTo>
                <a:cubicBezTo>
                  <a:pt x="689" y="520"/>
                  <a:pt x="686" y="516"/>
                  <a:pt x="682" y="516"/>
                </a:cubicBezTo>
                <a:close/>
                <a:moveTo>
                  <a:pt x="595" y="488"/>
                </a:moveTo>
                <a:cubicBezTo>
                  <a:pt x="526" y="488"/>
                  <a:pt x="526" y="488"/>
                  <a:pt x="526" y="488"/>
                </a:cubicBezTo>
                <a:cubicBezTo>
                  <a:pt x="526" y="183"/>
                  <a:pt x="526" y="183"/>
                  <a:pt x="526" y="183"/>
                </a:cubicBezTo>
                <a:cubicBezTo>
                  <a:pt x="595" y="183"/>
                  <a:pt x="595" y="183"/>
                  <a:pt x="595" y="183"/>
                </a:cubicBezTo>
                <a:lnTo>
                  <a:pt x="595" y="488"/>
                </a:lnTo>
                <a:close/>
                <a:moveTo>
                  <a:pt x="392" y="488"/>
                </a:moveTo>
                <a:cubicBezTo>
                  <a:pt x="392" y="183"/>
                  <a:pt x="392" y="183"/>
                  <a:pt x="392" y="183"/>
                </a:cubicBezTo>
                <a:cubicBezTo>
                  <a:pt x="512" y="183"/>
                  <a:pt x="512" y="183"/>
                  <a:pt x="512" y="183"/>
                </a:cubicBezTo>
                <a:cubicBezTo>
                  <a:pt x="512" y="488"/>
                  <a:pt x="512" y="488"/>
                  <a:pt x="512" y="488"/>
                </a:cubicBezTo>
                <a:lnTo>
                  <a:pt x="392" y="488"/>
                </a:lnTo>
                <a:close/>
                <a:moveTo>
                  <a:pt x="308" y="488"/>
                </a:moveTo>
                <a:cubicBezTo>
                  <a:pt x="308" y="183"/>
                  <a:pt x="308" y="183"/>
                  <a:pt x="308" y="183"/>
                </a:cubicBezTo>
                <a:cubicBezTo>
                  <a:pt x="378" y="183"/>
                  <a:pt x="378" y="183"/>
                  <a:pt x="378" y="183"/>
                </a:cubicBezTo>
                <a:cubicBezTo>
                  <a:pt x="378" y="488"/>
                  <a:pt x="378" y="488"/>
                  <a:pt x="378" y="488"/>
                </a:cubicBezTo>
                <a:lnTo>
                  <a:pt x="308" y="488"/>
                </a:lnTo>
                <a:close/>
                <a:moveTo>
                  <a:pt x="178" y="488"/>
                </a:moveTo>
                <a:cubicBezTo>
                  <a:pt x="178" y="183"/>
                  <a:pt x="178" y="183"/>
                  <a:pt x="178" y="183"/>
                </a:cubicBezTo>
                <a:cubicBezTo>
                  <a:pt x="294" y="183"/>
                  <a:pt x="294" y="183"/>
                  <a:pt x="294" y="183"/>
                </a:cubicBezTo>
                <a:cubicBezTo>
                  <a:pt x="294" y="488"/>
                  <a:pt x="294" y="488"/>
                  <a:pt x="294" y="488"/>
                </a:cubicBezTo>
                <a:lnTo>
                  <a:pt x="178" y="488"/>
                </a:lnTo>
                <a:close/>
                <a:moveTo>
                  <a:pt x="40" y="153"/>
                </a:moveTo>
                <a:cubicBezTo>
                  <a:pt x="342" y="15"/>
                  <a:pt x="342" y="15"/>
                  <a:pt x="342" y="15"/>
                </a:cubicBezTo>
                <a:cubicBezTo>
                  <a:pt x="646" y="153"/>
                  <a:pt x="646" y="153"/>
                  <a:pt x="646" y="153"/>
                </a:cubicBezTo>
                <a:cubicBezTo>
                  <a:pt x="646" y="169"/>
                  <a:pt x="646" y="169"/>
                  <a:pt x="646" y="169"/>
                </a:cubicBezTo>
                <a:cubicBezTo>
                  <a:pt x="40" y="169"/>
                  <a:pt x="40" y="169"/>
                  <a:pt x="40" y="169"/>
                </a:cubicBezTo>
                <a:lnTo>
                  <a:pt x="40" y="153"/>
                </a:lnTo>
                <a:close/>
                <a:moveTo>
                  <a:pt x="94" y="183"/>
                </a:moveTo>
                <a:cubicBezTo>
                  <a:pt x="164" y="183"/>
                  <a:pt x="164" y="183"/>
                  <a:pt x="164" y="183"/>
                </a:cubicBezTo>
                <a:cubicBezTo>
                  <a:pt x="164" y="488"/>
                  <a:pt x="164" y="488"/>
                  <a:pt x="164" y="488"/>
                </a:cubicBezTo>
                <a:cubicBezTo>
                  <a:pt x="94" y="488"/>
                  <a:pt x="94" y="488"/>
                  <a:pt x="94" y="488"/>
                </a:cubicBezTo>
                <a:lnTo>
                  <a:pt x="94" y="183"/>
                </a:lnTo>
                <a:close/>
                <a:moveTo>
                  <a:pt x="675" y="568"/>
                </a:moveTo>
                <a:cubicBezTo>
                  <a:pt x="14" y="568"/>
                  <a:pt x="14" y="568"/>
                  <a:pt x="14" y="568"/>
                </a:cubicBezTo>
                <a:cubicBezTo>
                  <a:pt x="14" y="530"/>
                  <a:pt x="14" y="530"/>
                  <a:pt x="14" y="530"/>
                </a:cubicBezTo>
                <a:cubicBezTo>
                  <a:pt x="32" y="530"/>
                  <a:pt x="32" y="530"/>
                  <a:pt x="32" y="530"/>
                </a:cubicBezTo>
                <a:cubicBezTo>
                  <a:pt x="36" y="530"/>
                  <a:pt x="39" y="527"/>
                  <a:pt x="39" y="523"/>
                </a:cubicBezTo>
                <a:cubicBezTo>
                  <a:pt x="39" y="502"/>
                  <a:pt x="39" y="502"/>
                  <a:pt x="39" y="502"/>
                </a:cubicBezTo>
                <a:cubicBezTo>
                  <a:pt x="647" y="502"/>
                  <a:pt x="647" y="502"/>
                  <a:pt x="647" y="502"/>
                </a:cubicBezTo>
                <a:cubicBezTo>
                  <a:pt x="647" y="523"/>
                  <a:pt x="647" y="523"/>
                  <a:pt x="647" y="523"/>
                </a:cubicBezTo>
                <a:cubicBezTo>
                  <a:pt x="647" y="527"/>
                  <a:pt x="650" y="530"/>
                  <a:pt x="654" y="530"/>
                </a:cubicBezTo>
                <a:cubicBezTo>
                  <a:pt x="675" y="530"/>
                  <a:pt x="675" y="530"/>
                  <a:pt x="675" y="530"/>
                </a:cubicBezTo>
                <a:lnTo>
                  <a:pt x="675" y="5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9" name="Oval 28"/>
          <p:cNvSpPr>
            <a:spLocks noChangeArrowheads="1"/>
          </p:cNvSpPr>
          <p:nvPr/>
        </p:nvSpPr>
        <p:spPr bwMode="auto">
          <a:xfrm>
            <a:off x="7430588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07" name="Freeform 98"/>
          <p:cNvSpPr>
            <a:spLocks noEditPoints="1"/>
          </p:cNvSpPr>
          <p:nvPr/>
        </p:nvSpPr>
        <p:spPr bwMode="auto">
          <a:xfrm>
            <a:off x="7616649" y="1283708"/>
            <a:ext cx="449945" cy="503616"/>
          </a:xfrm>
          <a:custGeom>
            <a:avLst/>
            <a:gdLst>
              <a:gd name="T0" fmla="*/ 581 w 581"/>
              <a:gd name="T1" fmla="*/ 375 h 650"/>
              <a:gd name="T2" fmla="*/ 581 w 581"/>
              <a:gd name="T3" fmla="*/ 375 h 650"/>
              <a:gd name="T4" fmla="*/ 580 w 581"/>
              <a:gd name="T5" fmla="*/ 373 h 650"/>
              <a:gd name="T6" fmla="*/ 580 w 581"/>
              <a:gd name="T7" fmla="*/ 373 h 650"/>
              <a:gd name="T8" fmla="*/ 489 w 581"/>
              <a:gd name="T9" fmla="*/ 181 h 650"/>
              <a:gd name="T10" fmla="*/ 482 w 581"/>
              <a:gd name="T11" fmla="*/ 177 h 650"/>
              <a:gd name="T12" fmla="*/ 151 w 581"/>
              <a:gd name="T13" fmla="*/ 177 h 650"/>
              <a:gd name="T14" fmla="*/ 151 w 581"/>
              <a:gd name="T15" fmla="*/ 107 h 650"/>
              <a:gd name="T16" fmla="*/ 245 w 581"/>
              <a:gd name="T17" fmla="*/ 14 h 650"/>
              <a:gd name="T18" fmla="*/ 308 w 581"/>
              <a:gd name="T19" fmla="*/ 38 h 650"/>
              <a:gd name="T20" fmla="*/ 297 w 581"/>
              <a:gd name="T21" fmla="*/ 66 h 650"/>
              <a:gd name="T22" fmla="*/ 343 w 581"/>
              <a:gd name="T23" fmla="*/ 112 h 650"/>
              <a:gd name="T24" fmla="*/ 388 w 581"/>
              <a:gd name="T25" fmla="*/ 66 h 650"/>
              <a:gd name="T26" fmla="*/ 343 w 581"/>
              <a:gd name="T27" fmla="*/ 21 h 650"/>
              <a:gd name="T28" fmla="*/ 318 w 581"/>
              <a:gd name="T29" fmla="*/ 28 h 650"/>
              <a:gd name="T30" fmla="*/ 245 w 581"/>
              <a:gd name="T31" fmla="*/ 0 h 650"/>
              <a:gd name="T32" fmla="*/ 137 w 581"/>
              <a:gd name="T33" fmla="*/ 107 h 650"/>
              <a:gd name="T34" fmla="*/ 137 w 581"/>
              <a:gd name="T35" fmla="*/ 177 h 650"/>
              <a:gd name="T36" fmla="*/ 98 w 581"/>
              <a:gd name="T37" fmla="*/ 177 h 650"/>
              <a:gd name="T38" fmla="*/ 92 w 581"/>
              <a:gd name="T39" fmla="*/ 181 h 650"/>
              <a:gd name="T40" fmla="*/ 0 w 581"/>
              <a:gd name="T41" fmla="*/ 373 h 650"/>
              <a:gd name="T42" fmla="*/ 0 w 581"/>
              <a:gd name="T43" fmla="*/ 373 h 650"/>
              <a:gd name="T44" fmla="*/ 0 w 581"/>
              <a:gd name="T45" fmla="*/ 375 h 650"/>
              <a:gd name="T46" fmla="*/ 0 w 581"/>
              <a:gd name="T47" fmla="*/ 375 h 650"/>
              <a:gd name="T48" fmla="*/ 0 w 581"/>
              <a:gd name="T49" fmla="*/ 376 h 650"/>
              <a:gd name="T50" fmla="*/ 0 w 581"/>
              <a:gd name="T51" fmla="*/ 427 h 650"/>
              <a:gd name="T52" fmla="*/ 7 w 581"/>
              <a:gd name="T53" fmla="*/ 434 h 650"/>
              <a:gd name="T54" fmla="*/ 283 w 581"/>
              <a:gd name="T55" fmla="*/ 434 h 650"/>
              <a:gd name="T56" fmla="*/ 283 w 581"/>
              <a:gd name="T57" fmla="*/ 643 h 650"/>
              <a:gd name="T58" fmla="*/ 290 w 581"/>
              <a:gd name="T59" fmla="*/ 650 h 650"/>
              <a:gd name="T60" fmla="*/ 297 w 581"/>
              <a:gd name="T61" fmla="*/ 643 h 650"/>
              <a:gd name="T62" fmla="*/ 297 w 581"/>
              <a:gd name="T63" fmla="*/ 434 h 650"/>
              <a:gd name="T64" fmla="*/ 574 w 581"/>
              <a:gd name="T65" fmla="*/ 434 h 650"/>
              <a:gd name="T66" fmla="*/ 581 w 581"/>
              <a:gd name="T67" fmla="*/ 427 h 650"/>
              <a:gd name="T68" fmla="*/ 581 w 581"/>
              <a:gd name="T69" fmla="*/ 376 h 650"/>
              <a:gd name="T70" fmla="*/ 581 w 581"/>
              <a:gd name="T71" fmla="*/ 375 h 650"/>
              <a:gd name="T72" fmla="*/ 374 w 581"/>
              <a:gd name="T73" fmla="*/ 66 h 650"/>
              <a:gd name="T74" fmla="*/ 343 w 581"/>
              <a:gd name="T75" fmla="*/ 98 h 650"/>
              <a:gd name="T76" fmla="*/ 311 w 581"/>
              <a:gd name="T77" fmla="*/ 66 h 650"/>
              <a:gd name="T78" fmla="*/ 343 w 581"/>
              <a:gd name="T79" fmla="*/ 35 h 650"/>
              <a:gd name="T80" fmla="*/ 374 w 581"/>
              <a:gd name="T81" fmla="*/ 66 h 650"/>
              <a:gd name="T82" fmla="*/ 103 w 581"/>
              <a:gd name="T83" fmla="*/ 191 h 650"/>
              <a:gd name="T84" fmla="*/ 137 w 581"/>
              <a:gd name="T85" fmla="*/ 191 h 650"/>
              <a:gd name="T86" fmla="*/ 137 w 581"/>
              <a:gd name="T87" fmla="*/ 223 h 650"/>
              <a:gd name="T88" fmla="*/ 144 w 581"/>
              <a:gd name="T89" fmla="*/ 230 h 650"/>
              <a:gd name="T90" fmla="*/ 151 w 581"/>
              <a:gd name="T91" fmla="*/ 223 h 650"/>
              <a:gd name="T92" fmla="*/ 151 w 581"/>
              <a:gd name="T93" fmla="*/ 191 h 650"/>
              <a:gd name="T94" fmla="*/ 478 w 581"/>
              <a:gd name="T95" fmla="*/ 191 h 650"/>
              <a:gd name="T96" fmla="*/ 563 w 581"/>
              <a:gd name="T97" fmla="*/ 369 h 650"/>
              <a:gd name="T98" fmla="*/ 18 w 581"/>
              <a:gd name="T99" fmla="*/ 369 h 650"/>
              <a:gd name="T100" fmla="*/ 103 w 581"/>
              <a:gd name="T101" fmla="*/ 191 h 650"/>
              <a:gd name="T102" fmla="*/ 567 w 581"/>
              <a:gd name="T103" fmla="*/ 420 h 650"/>
              <a:gd name="T104" fmla="*/ 14 w 581"/>
              <a:gd name="T105" fmla="*/ 420 h 650"/>
              <a:gd name="T106" fmla="*/ 14 w 581"/>
              <a:gd name="T107" fmla="*/ 383 h 650"/>
              <a:gd name="T108" fmla="*/ 567 w 581"/>
              <a:gd name="T109" fmla="*/ 383 h 650"/>
              <a:gd name="T110" fmla="*/ 567 w 581"/>
              <a:gd name="T111" fmla="*/ 420 h 6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81" h="650">
                <a:moveTo>
                  <a:pt x="581" y="375"/>
                </a:moveTo>
                <a:cubicBezTo>
                  <a:pt x="581" y="375"/>
                  <a:pt x="581" y="375"/>
                  <a:pt x="581" y="375"/>
                </a:cubicBezTo>
                <a:cubicBezTo>
                  <a:pt x="581" y="374"/>
                  <a:pt x="581" y="374"/>
                  <a:pt x="580" y="373"/>
                </a:cubicBezTo>
                <a:cubicBezTo>
                  <a:pt x="580" y="373"/>
                  <a:pt x="580" y="373"/>
                  <a:pt x="580" y="373"/>
                </a:cubicBezTo>
                <a:cubicBezTo>
                  <a:pt x="489" y="181"/>
                  <a:pt x="489" y="181"/>
                  <a:pt x="489" y="181"/>
                </a:cubicBezTo>
                <a:cubicBezTo>
                  <a:pt x="488" y="179"/>
                  <a:pt x="485" y="177"/>
                  <a:pt x="482" y="177"/>
                </a:cubicBezTo>
                <a:cubicBezTo>
                  <a:pt x="151" y="177"/>
                  <a:pt x="151" y="177"/>
                  <a:pt x="151" y="177"/>
                </a:cubicBezTo>
                <a:cubicBezTo>
                  <a:pt x="151" y="107"/>
                  <a:pt x="151" y="107"/>
                  <a:pt x="151" y="107"/>
                </a:cubicBezTo>
                <a:cubicBezTo>
                  <a:pt x="151" y="56"/>
                  <a:pt x="193" y="14"/>
                  <a:pt x="245" y="14"/>
                </a:cubicBezTo>
                <a:cubicBezTo>
                  <a:pt x="271" y="14"/>
                  <a:pt x="291" y="22"/>
                  <a:pt x="308" y="38"/>
                </a:cubicBezTo>
                <a:cubicBezTo>
                  <a:pt x="301" y="46"/>
                  <a:pt x="297" y="56"/>
                  <a:pt x="297" y="66"/>
                </a:cubicBezTo>
                <a:cubicBezTo>
                  <a:pt x="297" y="91"/>
                  <a:pt x="318" y="112"/>
                  <a:pt x="343" y="112"/>
                </a:cubicBezTo>
                <a:cubicBezTo>
                  <a:pt x="368" y="112"/>
                  <a:pt x="388" y="91"/>
                  <a:pt x="388" y="66"/>
                </a:cubicBezTo>
                <a:cubicBezTo>
                  <a:pt x="388" y="41"/>
                  <a:pt x="368" y="21"/>
                  <a:pt x="343" y="21"/>
                </a:cubicBezTo>
                <a:cubicBezTo>
                  <a:pt x="334" y="21"/>
                  <a:pt x="325" y="24"/>
                  <a:pt x="318" y="28"/>
                </a:cubicBezTo>
                <a:cubicBezTo>
                  <a:pt x="299" y="9"/>
                  <a:pt x="275" y="0"/>
                  <a:pt x="245" y="0"/>
                </a:cubicBezTo>
                <a:cubicBezTo>
                  <a:pt x="185" y="0"/>
                  <a:pt x="137" y="48"/>
                  <a:pt x="137" y="107"/>
                </a:cubicBezTo>
                <a:cubicBezTo>
                  <a:pt x="137" y="177"/>
                  <a:pt x="137" y="177"/>
                  <a:pt x="137" y="177"/>
                </a:cubicBezTo>
                <a:cubicBezTo>
                  <a:pt x="98" y="177"/>
                  <a:pt x="98" y="177"/>
                  <a:pt x="98" y="177"/>
                </a:cubicBezTo>
                <a:cubicBezTo>
                  <a:pt x="96" y="177"/>
                  <a:pt x="93" y="179"/>
                  <a:pt x="92" y="181"/>
                </a:cubicBezTo>
                <a:cubicBezTo>
                  <a:pt x="0" y="373"/>
                  <a:pt x="0" y="373"/>
                  <a:pt x="0" y="373"/>
                </a:cubicBezTo>
                <a:cubicBezTo>
                  <a:pt x="0" y="373"/>
                  <a:pt x="0" y="373"/>
                  <a:pt x="0" y="373"/>
                </a:cubicBezTo>
                <a:cubicBezTo>
                  <a:pt x="0" y="374"/>
                  <a:pt x="0" y="374"/>
                  <a:pt x="0" y="375"/>
                </a:cubicBezTo>
                <a:cubicBezTo>
                  <a:pt x="0" y="375"/>
                  <a:pt x="0" y="375"/>
                  <a:pt x="0" y="375"/>
                </a:cubicBezTo>
                <a:cubicBezTo>
                  <a:pt x="0" y="375"/>
                  <a:pt x="0" y="376"/>
                  <a:pt x="0" y="376"/>
                </a:cubicBezTo>
                <a:cubicBezTo>
                  <a:pt x="0" y="427"/>
                  <a:pt x="0" y="427"/>
                  <a:pt x="0" y="427"/>
                </a:cubicBezTo>
                <a:cubicBezTo>
                  <a:pt x="0" y="431"/>
                  <a:pt x="3" y="434"/>
                  <a:pt x="7" y="434"/>
                </a:cubicBezTo>
                <a:cubicBezTo>
                  <a:pt x="283" y="434"/>
                  <a:pt x="283" y="434"/>
                  <a:pt x="283" y="434"/>
                </a:cubicBezTo>
                <a:cubicBezTo>
                  <a:pt x="283" y="643"/>
                  <a:pt x="283" y="643"/>
                  <a:pt x="283" y="643"/>
                </a:cubicBezTo>
                <a:cubicBezTo>
                  <a:pt x="283" y="647"/>
                  <a:pt x="287" y="650"/>
                  <a:pt x="290" y="650"/>
                </a:cubicBezTo>
                <a:cubicBezTo>
                  <a:pt x="294" y="650"/>
                  <a:pt x="297" y="647"/>
                  <a:pt x="297" y="643"/>
                </a:cubicBezTo>
                <a:cubicBezTo>
                  <a:pt x="297" y="434"/>
                  <a:pt x="297" y="434"/>
                  <a:pt x="297" y="434"/>
                </a:cubicBezTo>
                <a:cubicBezTo>
                  <a:pt x="574" y="434"/>
                  <a:pt x="574" y="434"/>
                  <a:pt x="574" y="434"/>
                </a:cubicBezTo>
                <a:cubicBezTo>
                  <a:pt x="578" y="434"/>
                  <a:pt x="581" y="431"/>
                  <a:pt x="581" y="427"/>
                </a:cubicBezTo>
                <a:cubicBezTo>
                  <a:pt x="581" y="376"/>
                  <a:pt x="581" y="376"/>
                  <a:pt x="581" y="376"/>
                </a:cubicBezTo>
                <a:cubicBezTo>
                  <a:pt x="581" y="376"/>
                  <a:pt x="581" y="375"/>
                  <a:pt x="581" y="375"/>
                </a:cubicBezTo>
                <a:close/>
                <a:moveTo>
                  <a:pt x="374" y="66"/>
                </a:moveTo>
                <a:cubicBezTo>
                  <a:pt x="374" y="84"/>
                  <a:pt x="360" y="98"/>
                  <a:pt x="343" y="98"/>
                </a:cubicBezTo>
                <a:cubicBezTo>
                  <a:pt x="326" y="98"/>
                  <a:pt x="311" y="84"/>
                  <a:pt x="311" y="66"/>
                </a:cubicBezTo>
                <a:cubicBezTo>
                  <a:pt x="311" y="49"/>
                  <a:pt x="326" y="35"/>
                  <a:pt x="343" y="35"/>
                </a:cubicBezTo>
                <a:cubicBezTo>
                  <a:pt x="360" y="35"/>
                  <a:pt x="374" y="49"/>
                  <a:pt x="374" y="66"/>
                </a:cubicBezTo>
                <a:close/>
                <a:moveTo>
                  <a:pt x="103" y="191"/>
                </a:moveTo>
                <a:cubicBezTo>
                  <a:pt x="137" y="191"/>
                  <a:pt x="137" y="191"/>
                  <a:pt x="137" y="191"/>
                </a:cubicBezTo>
                <a:cubicBezTo>
                  <a:pt x="137" y="223"/>
                  <a:pt x="137" y="223"/>
                  <a:pt x="137" y="223"/>
                </a:cubicBezTo>
                <a:cubicBezTo>
                  <a:pt x="137" y="227"/>
                  <a:pt x="140" y="230"/>
                  <a:pt x="144" y="230"/>
                </a:cubicBezTo>
                <a:cubicBezTo>
                  <a:pt x="148" y="230"/>
                  <a:pt x="151" y="227"/>
                  <a:pt x="151" y="223"/>
                </a:cubicBezTo>
                <a:cubicBezTo>
                  <a:pt x="151" y="191"/>
                  <a:pt x="151" y="191"/>
                  <a:pt x="151" y="191"/>
                </a:cubicBezTo>
                <a:cubicBezTo>
                  <a:pt x="478" y="191"/>
                  <a:pt x="478" y="191"/>
                  <a:pt x="478" y="191"/>
                </a:cubicBezTo>
                <a:cubicBezTo>
                  <a:pt x="563" y="369"/>
                  <a:pt x="563" y="369"/>
                  <a:pt x="563" y="369"/>
                </a:cubicBezTo>
                <a:cubicBezTo>
                  <a:pt x="18" y="369"/>
                  <a:pt x="18" y="369"/>
                  <a:pt x="18" y="369"/>
                </a:cubicBezTo>
                <a:lnTo>
                  <a:pt x="103" y="191"/>
                </a:lnTo>
                <a:close/>
                <a:moveTo>
                  <a:pt x="567" y="420"/>
                </a:moveTo>
                <a:cubicBezTo>
                  <a:pt x="14" y="420"/>
                  <a:pt x="14" y="420"/>
                  <a:pt x="14" y="420"/>
                </a:cubicBezTo>
                <a:cubicBezTo>
                  <a:pt x="14" y="383"/>
                  <a:pt x="14" y="383"/>
                  <a:pt x="14" y="383"/>
                </a:cubicBezTo>
                <a:cubicBezTo>
                  <a:pt x="567" y="383"/>
                  <a:pt x="567" y="383"/>
                  <a:pt x="567" y="383"/>
                </a:cubicBezTo>
                <a:lnTo>
                  <a:pt x="567" y="42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8" name="Oval 37"/>
          <p:cNvSpPr>
            <a:spLocks noChangeArrowheads="1"/>
          </p:cNvSpPr>
          <p:nvPr/>
        </p:nvSpPr>
        <p:spPr bwMode="auto">
          <a:xfrm>
            <a:off x="6137845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09" name="Freeform 100"/>
          <p:cNvSpPr>
            <a:spLocks noEditPoints="1"/>
          </p:cNvSpPr>
          <p:nvPr/>
        </p:nvSpPr>
        <p:spPr bwMode="auto">
          <a:xfrm>
            <a:off x="6272917" y="3721754"/>
            <a:ext cx="552815" cy="308946"/>
          </a:xfrm>
          <a:custGeom>
            <a:avLst/>
            <a:gdLst>
              <a:gd name="T0" fmla="*/ 708 w 715"/>
              <a:gd name="T1" fmla="*/ 1 h 399"/>
              <a:gd name="T2" fmla="*/ 472 w 715"/>
              <a:gd name="T3" fmla="*/ 1 h 399"/>
              <a:gd name="T4" fmla="*/ 471 w 715"/>
              <a:gd name="T5" fmla="*/ 1 h 399"/>
              <a:gd name="T6" fmla="*/ 471 w 715"/>
              <a:gd name="T7" fmla="*/ 1 h 399"/>
              <a:gd name="T8" fmla="*/ 7 w 715"/>
              <a:gd name="T9" fmla="*/ 1 h 399"/>
              <a:gd name="T10" fmla="*/ 0 w 715"/>
              <a:gd name="T11" fmla="*/ 8 h 399"/>
              <a:gd name="T12" fmla="*/ 0 w 715"/>
              <a:gd name="T13" fmla="*/ 92 h 399"/>
              <a:gd name="T14" fmla="*/ 7 w 715"/>
              <a:gd name="T15" fmla="*/ 99 h 399"/>
              <a:gd name="T16" fmla="*/ 148 w 715"/>
              <a:gd name="T17" fmla="*/ 99 h 399"/>
              <a:gd name="T18" fmla="*/ 115 w 715"/>
              <a:gd name="T19" fmla="*/ 339 h 399"/>
              <a:gd name="T20" fmla="*/ 127 w 715"/>
              <a:gd name="T21" fmla="*/ 379 h 399"/>
              <a:gd name="T22" fmla="*/ 175 w 715"/>
              <a:gd name="T23" fmla="*/ 399 h 399"/>
              <a:gd name="T24" fmla="*/ 541 w 715"/>
              <a:gd name="T25" fmla="*/ 399 h 399"/>
              <a:gd name="T26" fmla="*/ 589 w 715"/>
              <a:gd name="T27" fmla="*/ 379 h 399"/>
              <a:gd name="T28" fmla="*/ 601 w 715"/>
              <a:gd name="T29" fmla="*/ 339 h 399"/>
              <a:gd name="T30" fmla="*/ 567 w 715"/>
              <a:gd name="T31" fmla="*/ 99 h 399"/>
              <a:gd name="T32" fmla="*/ 708 w 715"/>
              <a:gd name="T33" fmla="*/ 99 h 399"/>
              <a:gd name="T34" fmla="*/ 715 w 715"/>
              <a:gd name="T35" fmla="*/ 92 h 399"/>
              <a:gd name="T36" fmla="*/ 715 w 715"/>
              <a:gd name="T37" fmla="*/ 8 h 399"/>
              <a:gd name="T38" fmla="*/ 708 w 715"/>
              <a:gd name="T39" fmla="*/ 1 h 399"/>
              <a:gd name="T40" fmla="*/ 465 w 715"/>
              <a:gd name="T41" fmla="*/ 15 h 399"/>
              <a:gd name="T42" fmla="*/ 496 w 715"/>
              <a:gd name="T43" fmla="*/ 385 h 399"/>
              <a:gd name="T44" fmla="*/ 415 w 715"/>
              <a:gd name="T45" fmla="*/ 385 h 399"/>
              <a:gd name="T46" fmla="*/ 404 w 715"/>
              <a:gd name="T47" fmla="*/ 15 h 399"/>
              <a:gd name="T48" fmla="*/ 465 w 715"/>
              <a:gd name="T49" fmla="*/ 15 h 399"/>
              <a:gd name="T50" fmla="*/ 14 w 715"/>
              <a:gd name="T51" fmla="*/ 85 h 399"/>
              <a:gd name="T52" fmla="*/ 14 w 715"/>
              <a:gd name="T53" fmla="*/ 15 h 399"/>
              <a:gd name="T54" fmla="*/ 160 w 715"/>
              <a:gd name="T55" fmla="*/ 15 h 399"/>
              <a:gd name="T56" fmla="*/ 150 w 715"/>
              <a:gd name="T57" fmla="*/ 85 h 399"/>
              <a:gd name="T58" fmla="*/ 14 w 715"/>
              <a:gd name="T59" fmla="*/ 85 h 399"/>
              <a:gd name="T60" fmla="*/ 137 w 715"/>
              <a:gd name="T61" fmla="*/ 370 h 399"/>
              <a:gd name="T62" fmla="*/ 129 w 715"/>
              <a:gd name="T63" fmla="*/ 341 h 399"/>
              <a:gd name="T64" fmla="*/ 174 w 715"/>
              <a:gd name="T65" fmla="*/ 15 h 399"/>
              <a:gd name="T66" fmla="*/ 390 w 715"/>
              <a:gd name="T67" fmla="*/ 15 h 399"/>
              <a:gd name="T68" fmla="*/ 401 w 715"/>
              <a:gd name="T69" fmla="*/ 385 h 399"/>
              <a:gd name="T70" fmla="*/ 175 w 715"/>
              <a:gd name="T71" fmla="*/ 385 h 399"/>
              <a:gd name="T72" fmla="*/ 137 w 715"/>
              <a:gd name="T73" fmla="*/ 370 h 399"/>
              <a:gd name="T74" fmla="*/ 578 w 715"/>
              <a:gd name="T75" fmla="*/ 370 h 399"/>
              <a:gd name="T76" fmla="*/ 541 w 715"/>
              <a:gd name="T77" fmla="*/ 385 h 399"/>
              <a:gd name="T78" fmla="*/ 510 w 715"/>
              <a:gd name="T79" fmla="*/ 385 h 399"/>
              <a:gd name="T80" fmla="*/ 479 w 715"/>
              <a:gd name="T81" fmla="*/ 15 h 399"/>
              <a:gd name="T82" fmla="*/ 541 w 715"/>
              <a:gd name="T83" fmla="*/ 15 h 399"/>
              <a:gd name="T84" fmla="*/ 587 w 715"/>
              <a:gd name="T85" fmla="*/ 341 h 399"/>
              <a:gd name="T86" fmla="*/ 578 w 715"/>
              <a:gd name="T87" fmla="*/ 370 h 399"/>
              <a:gd name="T88" fmla="*/ 701 w 715"/>
              <a:gd name="T89" fmla="*/ 85 h 399"/>
              <a:gd name="T90" fmla="*/ 565 w 715"/>
              <a:gd name="T91" fmla="*/ 85 h 399"/>
              <a:gd name="T92" fmla="*/ 555 w 715"/>
              <a:gd name="T93" fmla="*/ 15 h 399"/>
              <a:gd name="T94" fmla="*/ 701 w 715"/>
              <a:gd name="T95" fmla="*/ 15 h 399"/>
              <a:gd name="T96" fmla="*/ 701 w 715"/>
              <a:gd name="T97" fmla="*/ 85 h 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15" h="399">
                <a:moveTo>
                  <a:pt x="708" y="1"/>
                </a:moveTo>
                <a:cubicBezTo>
                  <a:pt x="472" y="1"/>
                  <a:pt x="472" y="1"/>
                  <a:pt x="472" y="1"/>
                </a:cubicBezTo>
                <a:cubicBezTo>
                  <a:pt x="471" y="1"/>
                  <a:pt x="471" y="0"/>
                  <a:pt x="471" y="1"/>
                </a:cubicBezTo>
                <a:cubicBezTo>
                  <a:pt x="471" y="1"/>
                  <a:pt x="471" y="1"/>
                  <a:pt x="471" y="1"/>
                </a:cubicBezTo>
                <a:cubicBezTo>
                  <a:pt x="7" y="1"/>
                  <a:pt x="7" y="1"/>
                  <a:pt x="7" y="1"/>
                </a:cubicBezTo>
                <a:cubicBezTo>
                  <a:pt x="3" y="1"/>
                  <a:pt x="0" y="4"/>
                  <a:pt x="0" y="8"/>
                </a:cubicBezTo>
                <a:cubicBezTo>
                  <a:pt x="0" y="92"/>
                  <a:pt x="0" y="92"/>
                  <a:pt x="0" y="92"/>
                </a:cubicBezTo>
                <a:cubicBezTo>
                  <a:pt x="0" y="96"/>
                  <a:pt x="3" y="99"/>
                  <a:pt x="7" y="99"/>
                </a:cubicBezTo>
                <a:cubicBezTo>
                  <a:pt x="148" y="99"/>
                  <a:pt x="148" y="99"/>
                  <a:pt x="148" y="99"/>
                </a:cubicBezTo>
                <a:cubicBezTo>
                  <a:pt x="115" y="339"/>
                  <a:pt x="115" y="339"/>
                  <a:pt x="115" y="339"/>
                </a:cubicBezTo>
                <a:cubicBezTo>
                  <a:pt x="113" y="354"/>
                  <a:pt x="117" y="368"/>
                  <a:pt x="127" y="379"/>
                </a:cubicBezTo>
                <a:cubicBezTo>
                  <a:pt x="138" y="392"/>
                  <a:pt x="155" y="399"/>
                  <a:pt x="175" y="399"/>
                </a:cubicBezTo>
                <a:cubicBezTo>
                  <a:pt x="541" y="399"/>
                  <a:pt x="541" y="399"/>
                  <a:pt x="541" y="399"/>
                </a:cubicBezTo>
                <a:cubicBezTo>
                  <a:pt x="560" y="399"/>
                  <a:pt x="578" y="392"/>
                  <a:pt x="589" y="379"/>
                </a:cubicBezTo>
                <a:cubicBezTo>
                  <a:pt x="598" y="368"/>
                  <a:pt x="603" y="354"/>
                  <a:pt x="601" y="33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708" y="99"/>
                  <a:pt x="708" y="99"/>
                  <a:pt x="708" y="99"/>
                </a:cubicBezTo>
                <a:cubicBezTo>
                  <a:pt x="712" y="99"/>
                  <a:pt x="715" y="96"/>
                  <a:pt x="715" y="92"/>
                </a:cubicBezTo>
                <a:cubicBezTo>
                  <a:pt x="715" y="8"/>
                  <a:pt x="715" y="8"/>
                  <a:pt x="715" y="8"/>
                </a:cubicBezTo>
                <a:cubicBezTo>
                  <a:pt x="715" y="4"/>
                  <a:pt x="712" y="1"/>
                  <a:pt x="708" y="1"/>
                </a:cubicBezTo>
                <a:close/>
                <a:moveTo>
                  <a:pt x="465" y="15"/>
                </a:moveTo>
                <a:cubicBezTo>
                  <a:pt x="496" y="385"/>
                  <a:pt x="496" y="385"/>
                  <a:pt x="496" y="385"/>
                </a:cubicBezTo>
                <a:cubicBezTo>
                  <a:pt x="415" y="385"/>
                  <a:pt x="415" y="385"/>
                  <a:pt x="415" y="385"/>
                </a:cubicBezTo>
                <a:cubicBezTo>
                  <a:pt x="404" y="15"/>
                  <a:pt x="404" y="15"/>
                  <a:pt x="404" y="15"/>
                </a:cubicBezTo>
                <a:lnTo>
                  <a:pt x="465" y="15"/>
                </a:lnTo>
                <a:close/>
                <a:moveTo>
                  <a:pt x="14" y="85"/>
                </a:moveTo>
                <a:cubicBezTo>
                  <a:pt x="14" y="15"/>
                  <a:pt x="14" y="15"/>
                  <a:pt x="14" y="15"/>
                </a:cubicBezTo>
                <a:cubicBezTo>
                  <a:pt x="160" y="15"/>
                  <a:pt x="160" y="15"/>
                  <a:pt x="160" y="15"/>
                </a:cubicBezTo>
                <a:cubicBezTo>
                  <a:pt x="150" y="85"/>
                  <a:pt x="150" y="85"/>
                  <a:pt x="150" y="85"/>
                </a:cubicBezTo>
                <a:lnTo>
                  <a:pt x="14" y="85"/>
                </a:lnTo>
                <a:close/>
                <a:moveTo>
                  <a:pt x="137" y="370"/>
                </a:moveTo>
                <a:cubicBezTo>
                  <a:pt x="130" y="362"/>
                  <a:pt x="127" y="352"/>
                  <a:pt x="129" y="341"/>
                </a:cubicBezTo>
                <a:cubicBezTo>
                  <a:pt x="174" y="15"/>
                  <a:pt x="174" y="15"/>
                  <a:pt x="174" y="15"/>
                </a:cubicBezTo>
                <a:cubicBezTo>
                  <a:pt x="390" y="15"/>
                  <a:pt x="390" y="15"/>
                  <a:pt x="390" y="15"/>
                </a:cubicBezTo>
                <a:cubicBezTo>
                  <a:pt x="401" y="385"/>
                  <a:pt x="401" y="385"/>
                  <a:pt x="401" y="385"/>
                </a:cubicBezTo>
                <a:cubicBezTo>
                  <a:pt x="175" y="385"/>
                  <a:pt x="175" y="385"/>
                  <a:pt x="175" y="385"/>
                </a:cubicBezTo>
                <a:cubicBezTo>
                  <a:pt x="160" y="385"/>
                  <a:pt x="146" y="380"/>
                  <a:pt x="137" y="370"/>
                </a:cubicBezTo>
                <a:close/>
                <a:moveTo>
                  <a:pt x="578" y="370"/>
                </a:moveTo>
                <a:cubicBezTo>
                  <a:pt x="570" y="380"/>
                  <a:pt x="556" y="385"/>
                  <a:pt x="541" y="385"/>
                </a:cubicBezTo>
                <a:cubicBezTo>
                  <a:pt x="510" y="385"/>
                  <a:pt x="510" y="385"/>
                  <a:pt x="510" y="385"/>
                </a:cubicBezTo>
                <a:cubicBezTo>
                  <a:pt x="479" y="15"/>
                  <a:pt x="479" y="15"/>
                  <a:pt x="479" y="15"/>
                </a:cubicBezTo>
                <a:cubicBezTo>
                  <a:pt x="541" y="15"/>
                  <a:pt x="541" y="15"/>
                  <a:pt x="541" y="15"/>
                </a:cubicBezTo>
                <a:cubicBezTo>
                  <a:pt x="587" y="341"/>
                  <a:pt x="587" y="341"/>
                  <a:pt x="587" y="341"/>
                </a:cubicBezTo>
                <a:cubicBezTo>
                  <a:pt x="588" y="352"/>
                  <a:pt x="585" y="362"/>
                  <a:pt x="578" y="370"/>
                </a:cubicBezTo>
                <a:close/>
                <a:moveTo>
                  <a:pt x="701" y="85"/>
                </a:moveTo>
                <a:cubicBezTo>
                  <a:pt x="565" y="85"/>
                  <a:pt x="565" y="85"/>
                  <a:pt x="565" y="85"/>
                </a:cubicBezTo>
                <a:cubicBezTo>
                  <a:pt x="555" y="15"/>
                  <a:pt x="555" y="15"/>
                  <a:pt x="555" y="15"/>
                </a:cubicBezTo>
                <a:cubicBezTo>
                  <a:pt x="701" y="15"/>
                  <a:pt x="701" y="15"/>
                  <a:pt x="701" y="15"/>
                </a:cubicBezTo>
                <a:lnTo>
                  <a:pt x="701" y="8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16" name="Oval 39"/>
          <p:cNvSpPr>
            <a:spLocks noChangeArrowheads="1"/>
          </p:cNvSpPr>
          <p:nvPr/>
        </p:nvSpPr>
        <p:spPr bwMode="auto">
          <a:xfrm>
            <a:off x="3552358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10" name="Freeform 101"/>
          <p:cNvSpPr>
            <a:spLocks noEditPoints="1"/>
          </p:cNvSpPr>
          <p:nvPr/>
        </p:nvSpPr>
        <p:spPr bwMode="auto">
          <a:xfrm>
            <a:off x="3655340" y="3698025"/>
            <a:ext cx="615206" cy="356407"/>
          </a:xfrm>
          <a:custGeom>
            <a:avLst/>
            <a:gdLst>
              <a:gd name="T0" fmla="*/ 329 w 794"/>
              <a:gd name="T1" fmla="*/ 0 h 460"/>
              <a:gd name="T2" fmla="*/ 212 w 794"/>
              <a:gd name="T3" fmla="*/ 39 h 460"/>
              <a:gd name="T4" fmla="*/ 3 w 794"/>
              <a:gd name="T5" fmla="*/ 211 h 460"/>
              <a:gd name="T6" fmla="*/ 13 w 794"/>
              <a:gd name="T7" fmla="*/ 212 h 460"/>
              <a:gd name="T8" fmla="*/ 283 w 794"/>
              <a:gd name="T9" fmla="*/ 32 h 460"/>
              <a:gd name="T10" fmla="*/ 280 w 794"/>
              <a:gd name="T11" fmla="*/ 244 h 460"/>
              <a:gd name="T12" fmla="*/ 241 w 794"/>
              <a:gd name="T13" fmla="*/ 270 h 460"/>
              <a:gd name="T14" fmla="*/ 450 w 794"/>
              <a:gd name="T15" fmla="*/ 182 h 460"/>
              <a:gd name="T16" fmla="*/ 492 w 794"/>
              <a:gd name="T17" fmla="*/ 261 h 460"/>
              <a:gd name="T18" fmla="*/ 371 w 794"/>
              <a:gd name="T19" fmla="*/ 324 h 460"/>
              <a:gd name="T20" fmla="*/ 369 w 794"/>
              <a:gd name="T21" fmla="*/ 326 h 460"/>
              <a:gd name="T22" fmla="*/ 274 w 794"/>
              <a:gd name="T23" fmla="*/ 409 h 460"/>
              <a:gd name="T24" fmla="*/ 74 w 794"/>
              <a:gd name="T25" fmla="*/ 431 h 460"/>
              <a:gd name="T26" fmla="*/ 81 w 794"/>
              <a:gd name="T27" fmla="*/ 438 h 460"/>
              <a:gd name="T28" fmla="*/ 310 w 794"/>
              <a:gd name="T29" fmla="*/ 406 h 460"/>
              <a:gd name="T30" fmla="*/ 354 w 794"/>
              <a:gd name="T31" fmla="*/ 436 h 460"/>
              <a:gd name="T32" fmla="*/ 386 w 794"/>
              <a:gd name="T33" fmla="*/ 428 h 460"/>
              <a:gd name="T34" fmla="*/ 431 w 794"/>
              <a:gd name="T35" fmla="*/ 460 h 460"/>
              <a:gd name="T36" fmla="*/ 485 w 794"/>
              <a:gd name="T37" fmla="*/ 410 h 460"/>
              <a:gd name="T38" fmla="*/ 530 w 794"/>
              <a:gd name="T39" fmla="*/ 442 h 460"/>
              <a:gd name="T40" fmla="*/ 611 w 794"/>
              <a:gd name="T41" fmla="*/ 337 h 460"/>
              <a:gd name="T42" fmla="*/ 794 w 794"/>
              <a:gd name="T43" fmla="*/ 288 h 460"/>
              <a:gd name="T44" fmla="*/ 745 w 794"/>
              <a:gd name="T45" fmla="*/ 0 h 460"/>
              <a:gd name="T46" fmla="*/ 780 w 794"/>
              <a:gd name="T47" fmla="*/ 82 h 460"/>
              <a:gd name="T48" fmla="*/ 294 w 794"/>
              <a:gd name="T49" fmla="*/ 134 h 460"/>
              <a:gd name="T50" fmla="*/ 329 w 794"/>
              <a:gd name="T51" fmla="*/ 14 h 460"/>
              <a:gd name="T52" fmla="*/ 780 w 794"/>
              <a:gd name="T53" fmla="*/ 49 h 460"/>
              <a:gd name="T54" fmla="*/ 294 w 794"/>
              <a:gd name="T55" fmla="*/ 68 h 460"/>
              <a:gd name="T56" fmla="*/ 329 w 794"/>
              <a:gd name="T57" fmla="*/ 14 h 460"/>
              <a:gd name="T58" fmla="*/ 321 w 794"/>
              <a:gd name="T59" fmla="*/ 396 h 460"/>
              <a:gd name="T60" fmla="*/ 378 w 794"/>
              <a:gd name="T61" fmla="*/ 337 h 460"/>
              <a:gd name="T62" fmla="*/ 383 w 794"/>
              <a:gd name="T63" fmla="*/ 403 h 460"/>
              <a:gd name="T64" fmla="*/ 461 w 794"/>
              <a:gd name="T65" fmla="*/ 428 h 460"/>
              <a:gd name="T66" fmla="*/ 400 w 794"/>
              <a:gd name="T67" fmla="*/ 424 h 460"/>
              <a:gd name="T68" fmla="*/ 432 w 794"/>
              <a:gd name="T69" fmla="*/ 337 h 460"/>
              <a:gd name="T70" fmla="*/ 488 w 794"/>
              <a:gd name="T71" fmla="*/ 374 h 460"/>
              <a:gd name="T72" fmla="*/ 461 w 794"/>
              <a:gd name="T73" fmla="*/ 428 h 460"/>
              <a:gd name="T74" fmla="*/ 515 w 794"/>
              <a:gd name="T75" fmla="*/ 425 h 460"/>
              <a:gd name="T76" fmla="*/ 522 w 794"/>
              <a:gd name="T77" fmla="*/ 337 h 460"/>
              <a:gd name="T78" fmla="*/ 560 w 794"/>
              <a:gd name="T79" fmla="*/ 410 h 460"/>
              <a:gd name="T80" fmla="*/ 398 w 794"/>
              <a:gd name="T81" fmla="*/ 323 h 460"/>
              <a:gd name="T82" fmla="*/ 500 w 794"/>
              <a:gd name="T83" fmla="*/ 273 h 460"/>
              <a:gd name="T84" fmla="*/ 445 w 794"/>
              <a:gd name="T85" fmla="*/ 169 h 460"/>
              <a:gd name="T86" fmla="*/ 294 w 794"/>
              <a:gd name="T87" fmla="*/ 148 h 460"/>
              <a:gd name="T88" fmla="*/ 780 w 794"/>
              <a:gd name="T89" fmla="*/ 288 h 4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794" h="460">
                <a:moveTo>
                  <a:pt x="745" y="0"/>
                </a:moveTo>
                <a:cubicBezTo>
                  <a:pt x="329" y="0"/>
                  <a:pt x="329" y="0"/>
                  <a:pt x="329" y="0"/>
                </a:cubicBezTo>
                <a:cubicBezTo>
                  <a:pt x="313" y="0"/>
                  <a:pt x="299" y="7"/>
                  <a:pt x="290" y="20"/>
                </a:cubicBezTo>
                <a:cubicBezTo>
                  <a:pt x="278" y="14"/>
                  <a:pt x="248" y="8"/>
                  <a:pt x="212" y="39"/>
                </a:cubicBezTo>
                <a:cubicBezTo>
                  <a:pt x="168" y="77"/>
                  <a:pt x="6" y="200"/>
                  <a:pt x="4" y="201"/>
                </a:cubicBezTo>
                <a:cubicBezTo>
                  <a:pt x="1" y="204"/>
                  <a:pt x="0" y="208"/>
                  <a:pt x="3" y="211"/>
                </a:cubicBezTo>
                <a:cubicBezTo>
                  <a:pt x="4" y="213"/>
                  <a:pt x="6" y="214"/>
                  <a:pt x="8" y="214"/>
                </a:cubicBezTo>
                <a:cubicBezTo>
                  <a:pt x="10" y="214"/>
                  <a:pt x="11" y="213"/>
                  <a:pt x="13" y="212"/>
                </a:cubicBezTo>
                <a:cubicBezTo>
                  <a:pt x="14" y="211"/>
                  <a:pt x="177" y="88"/>
                  <a:pt x="221" y="50"/>
                </a:cubicBezTo>
                <a:cubicBezTo>
                  <a:pt x="251" y="24"/>
                  <a:pt x="274" y="28"/>
                  <a:pt x="283" y="32"/>
                </a:cubicBezTo>
                <a:cubicBezTo>
                  <a:pt x="281" y="37"/>
                  <a:pt x="280" y="43"/>
                  <a:pt x="280" y="49"/>
                </a:cubicBezTo>
                <a:cubicBezTo>
                  <a:pt x="280" y="244"/>
                  <a:pt x="280" y="244"/>
                  <a:pt x="280" y="244"/>
                </a:cubicBezTo>
                <a:cubicBezTo>
                  <a:pt x="260" y="253"/>
                  <a:pt x="246" y="259"/>
                  <a:pt x="245" y="260"/>
                </a:cubicBezTo>
                <a:cubicBezTo>
                  <a:pt x="241" y="262"/>
                  <a:pt x="240" y="266"/>
                  <a:pt x="241" y="270"/>
                </a:cubicBezTo>
                <a:cubicBezTo>
                  <a:pt x="243" y="273"/>
                  <a:pt x="247" y="275"/>
                  <a:pt x="251" y="273"/>
                </a:cubicBezTo>
                <a:cubicBezTo>
                  <a:pt x="252" y="272"/>
                  <a:pt x="410" y="198"/>
                  <a:pt x="450" y="182"/>
                </a:cubicBezTo>
                <a:cubicBezTo>
                  <a:pt x="479" y="170"/>
                  <a:pt x="498" y="184"/>
                  <a:pt x="507" y="201"/>
                </a:cubicBezTo>
                <a:cubicBezTo>
                  <a:pt x="516" y="221"/>
                  <a:pt x="514" y="248"/>
                  <a:pt x="492" y="261"/>
                </a:cubicBezTo>
                <a:cubicBezTo>
                  <a:pt x="482" y="267"/>
                  <a:pt x="464" y="275"/>
                  <a:pt x="444" y="285"/>
                </a:cubicBezTo>
                <a:cubicBezTo>
                  <a:pt x="411" y="300"/>
                  <a:pt x="381" y="315"/>
                  <a:pt x="371" y="324"/>
                </a:cubicBezTo>
                <a:cubicBezTo>
                  <a:pt x="371" y="324"/>
                  <a:pt x="370" y="324"/>
                  <a:pt x="370" y="325"/>
                </a:cubicBezTo>
                <a:cubicBezTo>
                  <a:pt x="370" y="325"/>
                  <a:pt x="369" y="325"/>
                  <a:pt x="369" y="326"/>
                </a:cubicBezTo>
                <a:cubicBezTo>
                  <a:pt x="366" y="329"/>
                  <a:pt x="361" y="334"/>
                  <a:pt x="356" y="340"/>
                </a:cubicBezTo>
                <a:cubicBezTo>
                  <a:pt x="336" y="363"/>
                  <a:pt x="303" y="401"/>
                  <a:pt x="274" y="409"/>
                </a:cubicBezTo>
                <a:cubicBezTo>
                  <a:pt x="236" y="419"/>
                  <a:pt x="82" y="424"/>
                  <a:pt x="80" y="424"/>
                </a:cubicBezTo>
                <a:cubicBezTo>
                  <a:pt x="76" y="424"/>
                  <a:pt x="73" y="428"/>
                  <a:pt x="74" y="431"/>
                </a:cubicBezTo>
                <a:cubicBezTo>
                  <a:pt x="74" y="435"/>
                  <a:pt x="77" y="438"/>
                  <a:pt x="81" y="438"/>
                </a:cubicBezTo>
                <a:cubicBezTo>
                  <a:pt x="81" y="438"/>
                  <a:pt x="81" y="438"/>
                  <a:pt x="81" y="438"/>
                </a:cubicBezTo>
                <a:cubicBezTo>
                  <a:pt x="87" y="438"/>
                  <a:pt x="238" y="433"/>
                  <a:pt x="278" y="422"/>
                </a:cubicBezTo>
                <a:cubicBezTo>
                  <a:pt x="289" y="419"/>
                  <a:pt x="299" y="413"/>
                  <a:pt x="310" y="406"/>
                </a:cubicBezTo>
                <a:cubicBezTo>
                  <a:pt x="314" y="416"/>
                  <a:pt x="322" y="425"/>
                  <a:pt x="333" y="431"/>
                </a:cubicBezTo>
                <a:cubicBezTo>
                  <a:pt x="339" y="434"/>
                  <a:pt x="347" y="436"/>
                  <a:pt x="354" y="436"/>
                </a:cubicBezTo>
                <a:cubicBezTo>
                  <a:pt x="365" y="436"/>
                  <a:pt x="376" y="431"/>
                  <a:pt x="385" y="423"/>
                </a:cubicBezTo>
                <a:cubicBezTo>
                  <a:pt x="386" y="425"/>
                  <a:pt x="386" y="426"/>
                  <a:pt x="386" y="428"/>
                </a:cubicBezTo>
                <a:cubicBezTo>
                  <a:pt x="391" y="440"/>
                  <a:pt x="399" y="450"/>
                  <a:pt x="410" y="455"/>
                </a:cubicBezTo>
                <a:cubicBezTo>
                  <a:pt x="417" y="459"/>
                  <a:pt x="424" y="460"/>
                  <a:pt x="431" y="460"/>
                </a:cubicBezTo>
                <a:cubicBezTo>
                  <a:pt x="449" y="460"/>
                  <a:pt x="465" y="451"/>
                  <a:pt x="474" y="434"/>
                </a:cubicBezTo>
                <a:cubicBezTo>
                  <a:pt x="485" y="410"/>
                  <a:pt x="485" y="410"/>
                  <a:pt x="485" y="410"/>
                </a:cubicBezTo>
                <a:cubicBezTo>
                  <a:pt x="489" y="421"/>
                  <a:pt x="497" y="431"/>
                  <a:pt x="509" y="437"/>
                </a:cubicBezTo>
                <a:cubicBezTo>
                  <a:pt x="516" y="440"/>
                  <a:pt x="523" y="442"/>
                  <a:pt x="530" y="442"/>
                </a:cubicBezTo>
                <a:cubicBezTo>
                  <a:pt x="547" y="442"/>
                  <a:pt x="564" y="432"/>
                  <a:pt x="572" y="416"/>
                </a:cubicBezTo>
                <a:cubicBezTo>
                  <a:pt x="611" y="337"/>
                  <a:pt x="611" y="337"/>
                  <a:pt x="611" y="337"/>
                </a:cubicBezTo>
                <a:cubicBezTo>
                  <a:pt x="745" y="337"/>
                  <a:pt x="745" y="337"/>
                  <a:pt x="745" y="337"/>
                </a:cubicBezTo>
                <a:cubicBezTo>
                  <a:pt x="772" y="337"/>
                  <a:pt x="794" y="315"/>
                  <a:pt x="794" y="288"/>
                </a:cubicBezTo>
                <a:cubicBezTo>
                  <a:pt x="794" y="49"/>
                  <a:pt x="794" y="49"/>
                  <a:pt x="794" y="49"/>
                </a:cubicBezTo>
                <a:cubicBezTo>
                  <a:pt x="794" y="22"/>
                  <a:pt x="772" y="0"/>
                  <a:pt x="745" y="0"/>
                </a:cubicBezTo>
                <a:close/>
                <a:moveTo>
                  <a:pt x="294" y="82"/>
                </a:moveTo>
                <a:cubicBezTo>
                  <a:pt x="780" y="82"/>
                  <a:pt x="780" y="82"/>
                  <a:pt x="780" y="82"/>
                </a:cubicBezTo>
                <a:cubicBezTo>
                  <a:pt x="780" y="134"/>
                  <a:pt x="780" y="134"/>
                  <a:pt x="780" y="134"/>
                </a:cubicBezTo>
                <a:cubicBezTo>
                  <a:pt x="294" y="134"/>
                  <a:pt x="294" y="134"/>
                  <a:pt x="294" y="134"/>
                </a:cubicBezTo>
                <a:lnTo>
                  <a:pt x="294" y="82"/>
                </a:lnTo>
                <a:close/>
                <a:moveTo>
                  <a:pt x="329" y="14"/>
                </a:moveTo>
                <a:cubicBezTo>
                  <a:pt x="745" y="14"/>
                  <a:pt x="745" y="14"/>
                  <a:pt x="745" y="14"/>
                </a:cubicBezTo>
                <a:cubicBezTo>
                  <a:pt x="765" y="14"/>
                  <a:pt x="780" y="29"/>
                  <a:pt x="780" y="49"/>
                </a:cubicBezTo>
                <a:cubicBezTo>
                  <a:pt x="780" y="68"/>
                  <a:pt x="780" y="68"/>
                  <a:pt x="780" y="68"/>
                </a:cubicBezTo>
                <a:cubicBezTo>
                  <a:pt x="294" y="68"/>
                  <a:pt x="294" y="68"/>
                  <a:pt x="294" y="68"/>
                </a:cubicBezTo>
                <a:cubicBezTo>
                  <a:pt x="294" y="49"/>
                  <a:pt x="294" y="49"/>
                  <a:pt x="294" y="49"/>
                </a:cubicBezTo>
                <a:cubicBezTo>
                  <a:pt x="294" y="29"/>
                  <a:pt x="310" y="14"/>
                  <a:pt x="329" y="14"/>
                </a:cubicBezTo>
                <a:close/>
                <a:moveTo>
                  <a:pt x="339" y="418"/>
                </a:moveTo>
                <a:cubicBezTo>
                  <a:pt x="330" y="414"/>
                  <a:pt x="324" y="406"/>
                  <a:pt x="321" y="396"/>
                </a:cubicBezTo>
                <a:cubicBezTo>
                  <a:pt x="338" y="382"/>
                  <a:pt x="354" y="364"/>
                  <a:pt x="366" y="350"/>
                </a:cubicBezTo>
                <a:cubicBezTo>
                  <a:pt x="371" y="345"/>
                  <a:pt x="375" y="340"/>
                  <a:pt x="378" y="337"/>
                </a:cubicBezTo>
                <a:cubicBezTo>
                  <a:pt x="416" y="337"/>
                  <a:pt x="416" y="337"/>
                  <a:pt x="416" y="337"/>
                </a:cubicBezTo>
                <a:cubicBezTo>
                  <a:pt x="383" y="403"/>
                  <a:pt x="383" y="403"/>
                  <a:pt x="383" y="403"/>
                </a:cubicBezTo>
                <a:cubicBezTo>
                  <a:pt x="375" y="420"/>
                  <a:pt x="355" y="426"/>
                  <a:pt x="339" y="418"/>
                </a:cubicBezTo>
                <a:close/>
                <a:moveTo>
                  <a:pt x="461" y="428"/>
                </a:moveTo>
                <a:cubicBezTo>
                  <a:pt x="453" y="444"/>
                  <a:pt x="433" y="451"/>
                  <a:pt x="416" y="443"/>
                </a:cubicBezTo>
                <a:cubicBezTo>
                  <a:pt x="409" y="439"/>
                  <a:pt x="403" y="432"/>
                  <a:pt x="400" y="424"/>
                </a:cubicBezTo>
                <a:cubicBezTo>
                  <a:pt x="397" y="415"/>
                  <a:pt x="398" y="406"/>
                  <a:pt x="401" y="398"/>
                </a:cubicBezTo>
                <a:cubicBezTo>
                  <a:pt x="432" y="337"/>
                  <a:pt x="432" y="337"/>
                  <a:pt x="432" y="337"/>
                </a:cubicBezTo>
                <a:cubicBezTo>
                  <a:pt x="506" y="337"/>
                  <a:pt x="506" y="337"/>
                  <a:pt x="506" y="337"/>
                </a:cubicBezTo>
                <a:cubicBezTo>
                  <a:pt x="488" y="374"/>
                  <a:pt x="488" y="374"/>
                  <a:pt x="488" y="374"/>
                </a:cubicBezTo>
                <a:cubicBezTo>
                  <a:pt x="488" y="374"/>
                  <a:pt x="488" y="374"/>
                  <a:pt x="488" y="374"/>
                </a:cubicBezTo>
                <a:lnTo>
                  <a:pt x="461" y="428"/>
                </a:lnTo>
                <a:close/>
                <a:moveTo>
                  <a:pt x="560" y="410"/>
                </a:moveTo>
                <a:cubicBezTo>
                  <a:pt x="552" y="426"/>
                  <a:pt x="532" y="433"/>
                  <a:pt x="515" y="425"/>
                </a:cubicBezTo>
                <a:cubicBezTo>
                  <a:pt x="499" y="416"/>
                  <a:pt x="492" y="397"/>
                  <a:pt x="500" y="380"/>
                </a:cubicBezTo>
                <a:cubicBezTo>
                  <a:pt x="522" y="337"/>
                  <a:pt x="522" y="337"/>
                  <a:pt x="522" y="337"/>
                </a:cubicBezTo>
                <a:cubicBezTo>
                  <a:pt x="596" y="337"/>
                  <a:pt x="596" y="337"/>
                  <a:pt x="596" y="337"/>
                </a:cubicBezTo>
                <a:lnTo>
                  <a:pt x="560" y="410"/>
                </a:lnTo>
                <a:close/>
                <a:moveTo>
                  <a:pt x="745" y="323"/>
                </a:moveTo>
                <a:cubicBezTo>
                  <a:pt x="398" y="323"/>
                  <a:pt x="398" y="323"/>
                  <a:pt x="398" y="323"/>
                </a:cubicBezTo>
                <a:cubicBezTo>
                  <a:pt x="412" y="315"/>
                  <a:pt x="432" y="306"/>
                  <a:pt x="450" y="297"/>
                </a:cubicBezTo>
                <a:cubicBezTo>
                  <a:pt x="470" y="288"/>
                  <a:pt x="489" y="279"/>
                  <a:pt x="500" y="273"/>
                </a:cubicBezTo>
                <a:cubicBezTo>
                  <a:pt x="529" y="255"/>
                  <a:pt x="531" y="220"/>
                  <a:pt x="519" y="195"/>
                </a:cubicBezTo>
                <a:cubicBezTo>
                  <a:pt x="509" y="174"/>
                  <a:pt x="483" y="154"/>
                  <a:pt x="445" y="169"/>
                </a:cubicBezTo>
                <a:cubicBezTo>
                  <a:pt x="419" y="179"/>
                  <a:pt x="345" y="214"/>
                  <a:pt x="294" y="237"/>
                </a:cubicBezTo>
                <a:cubicBezTo>
                  <a:pt x="294" y="148"/>
                  <a:pt x="294" y="148"/>
                  <a:pt x="294" y="148"/>
                </a:cubicBezTo>
                <a:cubicBezTo>
                  <a:pt x="780" y="148"/>
                  <a:pt x="780" y="148"/>
                  <a:pt x="780" y="148"/>
                </a:cubicBezTo>
                <a:cubicBezTo>
                  <a:pt x="780" y="288"/>
                  <a:pt x="780" y="288"/>
                  <a:pt x="780" y="288"/>
                </a:cubicBezTo>
                <a:cubicBezTo>
                  <a:pt x="780" y="307"/>
                  <a:pt x="765" y="323"/>
                  <a:pt x="745" y="32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9" name="Oval 38"/>
          <p:cNvSpPr>
            <a:spLocks noChangeArrowheads="1"/>
          </p:cNvSpPr>
          <p:nvPr/>
        </p:nvSpPr>
        <p:spPr bwMode="auto">
          <a:xfrm>
            <a:off x="4845101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11" name="Freeform 102"/>
          <p:cNvSpPr>
            <a:spLocks noEditPoints="1"/>
          </p:cNvSpPr>
          <p:nvPr/>
        </p:nvSpPr>
        <p:spPr bwMode="auto">
          <a:xfrm>
            <a:off x="4979280" y="3722202"/>
            <a:ext cx="553709" cy="308051"/>
          </a:xfrm>
          <a:custGeom>
            <a:avLst/>
            <a:gdLst>
              <a:gd name="T0" fmla="*/ 708 w 715"/>
              <a:gd name="T1" fmla="*/ 0 h 398"/>
              <a:gd name="T2" fmla="*/ 7 w 715"/>
              <a:gd name="T3" fmla="*/ 0 h 398"/>
              <a:gd name="T4" fmla="*/ 0 w 715"/>
              <a:gd name="T5" fmla="*/ 7 h 398"/>
              <a:gd name="T6" fmla="*/ 0 w 715"/>
              <a:gd name="T7" fmla="*/ 91 h 398"/>
              <a:gd name="T8" fmla="*/ 7 w 715"/>
              <a:gd name="T9" fmla="*/ 98 h 398"/>
              <a:gd name="T10" fmla="*/ 148 w 715"/>
              <a:gd name="T11" fmla="*/ 98 h 398"/>
              <a:gd name="T12" fmla="*/ 114 w 715"/>
              <a:gd name="T13" fmla="*/ 338 h 398"/>
              <a:gd name="T14" fmla="*/ 126 w 715"/>
              <a:gd name="T15" fmla="*/ 378 h 398"/>
              <a:gd name="T16" fmla="*/ 175 w 715"/>
              <a:gd name="T17" fmla="*/ 398 h 398"/>
              <a:gd name="T18" fmla="*/ 540 w 715"/>
              <a:gd name="T19" fmla="*/ 398 h 398"/>
              <a:gd name="T20" fmla="*/ 589 w 715"/>
              <a:gd name="T21" fmla="*/ 378 h 398"/>
              <a:gd name="T22" fmla="*/ 600 w 715"/>
              <a:gd name="T23" fmla="*/ 338 h 398"/>
              <a:gd name="T24" fmla="*/ 567 w 715"/>
              <a:gd name="T25" fmla="*/ 98 h 398"/>
              <a:gd name="T26" fmla="*/ 708 w 715"/>
              <a:gd name="T27" fmla="*/ 98 h 398"/>
              <a:gd name="T28" fmla="*/ 715 w 715"/>
              <a:gd name="T29" fmla="*/ 91 h 398"/>
              <a:gd name="T30" fmla="*/ 715 w 715"/>
              <a:gd name="T31" fmla="*/ 7 h 398"/>
              <a:gd name="T32" fmla="*/ 708 w 715"/>
              <a:gd name="T33" fmla="*/ 0 h 398"/>
              <a:gd name="T34" fmla="*/ 14 w 715"/>
              <a:gd name="T35" fmla="*/ 84 h 398"/>
              <a:gd name="T36" fmla="*/ 14 w 715"/>
              <a:gd name="T37" fmla="*/ 14 h 398"/>
              <a:gd name="T38" fmla="*/ 160 w 715"/>
              <a:gd name="T39" fmla="*/ 14 h 398"/>
              <a:gd name="T40" fmla="*/ 150 w 715"/>
              <a:gd name="T41" fmla="*/ 84 h 398"/>
              <a:gd name="T42" fmla="*/ 14 w 715"/>
              <a:gd name="T43" fmla="*/ 84 h 398"/>
              <a:gd name="T44" fmla="*/ 578 w 715"/>
              <a:gd name="T45" fmla="*/ 369 h 398"/>
              <a:gd name="T46" fmla="*/ 540 w 715"/>
              <a:gd name="T47" fmla="*/ 384 h 398"/>
              <a:gd name="T48" fmla="*/ 175 w 715"/>
              <a:gd name="T49" fmla="*/ 384 h 398"/>
              <a:gd name="T50" fmla="*/ 137 w 715"/>
              <a:gd name="T51" fmla="*/ 369 h 398"/>
              <a:gd name="T52" fmla="*/ 128 w 715"/>
              <a:gd name="T53" fmla="*/ 340 h 398"/>
              <a:gd name="T54" fmla="*/ 174 w 715"/>
              <a:gd name="T55" fmla="*/ 14 h 398"/>
              <a:gd name="T56" fmla="*/ 255 w 715"/>
              <a:gd name="T57" fmla="*/ 14 h 398"/>
              <a:gd name="T58" fmla="*/ 236 w 715"/>
              <a:gd name="T59" fmla="*/ 290 h 398"/>
              <a:gd name="T60" fmla="*/ 242 w 715"/>
              <a:gd name="T61" fmla="*/ 298 h 398"/>
              <a:gd name="T62" fmla="*/ 243 w 715"/>
              <a:gd name="T63" fmla="*/ 298 h 398"/>
              <a:gd name="T64" fmla="*/ 250 w 715"/>
              <a:gd name="T65" fmla="*/ 291 h 398"/>
              <a:gd name="T66" fmla="*/ 269 w 715"/>
              <a:gd name="T67" fmla="*/ 14 h 398"/>
              <a:gd name="T68" fmla="*/ 541 w 715"/>
              <a:gd name="T69" fmla="*/ 14 h 398"/>
              <a:gd name="T70" fmla="*/ 586 w 715"/>
              <a:gd name="T71" fmla="*/ 340 h 398"/>
              <a:gd name="T72" fmla="*/ 578 w 715"/>
              <a:gd name="T73" fmla="*/ 369 h 398"/>
              <a:gd name="T74" fmla="*/ 701 w 715"/>
              <a:gd name="T75" fmla="*/ 84 h 398"/>
              <a:gd name="T76" fmla="*/ 565 w 715"/>
              <a:gd name="T77" fmla="*/ 84 h 398"/>
              <a:gd name="T78" fmla="*/ 555 w 715"/>
              <a:gd name="T79" fmla="*/ 14 h 398"/>
              <a:gd name="T80" fmla="*/ 701 w 715"/>
              <a:gd name="T81" fmla="*/ 14 h 398"/>
              <a:gd name="T82" fmla="*/ 701 w 715"/>
              <a:gd name="T83" fmla="*/ 84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15" h="398">
                <a:moveTo>
                  <a:pt x="708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95"/>
                  <a:pt x="3" y="98"/>
                  <a:pt x="7" y="98"/>
                </a:cubicBezTo>
                <a:cubicBezTo>
                  <a:pt x="148" y="98"/>
                  <a:pt x="148" y="98"/>
                  <a:pt x="148" y="98"/>
                </a:cubicBezTo>
                <a:cubicBezTo>
                  <a:pt x="114" y="338"/>
                  <a:pt x="114" y="338"/>
                  <a:pt x="114" y="338"/>
                </a:cubicBezTo>
                <a:cubicBezTo>
                  <a:pt x="112" y="353"/>
                  <a:pt x="117" y="367"/>
                  <a:pt x="126" y="378"/>
                </a:cubicBezTo>
                <a:cubicBezTo>
                  <a:pt x="138" y="391"/>
                  <a:pt x="155" y="398"/>
                  <a:pt x="175" y="398"/>
                </a:cubicBezTo>
                <a:cubicBezTo>
                  <a:pt x="540" y="398"/>
                  <a:pt x="540" y="398"/>
                  <a:pt x="540" y="398"/>
                </a:cubicBezTo>
                <a:cubicBezTo>
                  <a:pt x="560" y="398"/>
                  <a:pt x="577" y="391"/>
                  <a:pt x="589" y="378"/>
                </a:cubicBezTo>
                <a:cubicBezTo>
                  <a:pt x="598" y="367"/>
                  <a:pt x="602" y="353"/>
                  <a:pt x="600" y="338"/>
                </a:cubicBezTo>
                <a:cubicBezTo>
                  <a:pt x="567" y="98"/>
                  <a:pt x="567" y="98"/>
                  <a:pt x="567" y="98"/>
                </a:cubicBezTo>
                <a:cubicBezTo>
                  <a:pt x="708" y="98"/>
                  <a:pt x="708" y="98"/>
                  <a:pt x="708" y="98"/>
                </a:cubicBezTo>
                <a:cubicBezTo>
                  <a:pt x="712" y="98"/>
                  <a:pt x="715" y="95"/>
                  <a:pt x="715" y="91"/>
                </a:cubicBezTo>
                <a:cubicBezTo>
                  <a:pt x="715" y="7"/>
                  <a:pt x="715" y="7"/>
                  <a:pt x="715" y="7"/>
                </a:cubicBezTo>
                <a:cubicBezTo>
                  <a:pt x="715" y="3"/>
                  <a:pt x="712" y="0"/>
                  <a:pt x="708" y="0"/>
                </a:cubicBezTo>
                <a:close/>
                <a:moveTo>
                  <a:pt x="14" y="84"/>
                </a:moveTo>
                <a:cubicBezTo>
                  <a:pt x="14" y="14"/>
                  <a:pt x="14" y="14"/>
                  <a:pt x="14" y="14"/>
                </a:cubicBezTo>
                <a:cubicBezTo>
                  <a:pt x="160" y="14"/>
                  <a:pt x="160" y="14"/>
                  <a:pt x="160" y="14"/>
                </a:cubicBezTo>
                <a:cubicBezTo>
                  <a:pt x="150" y="84"/>
                  <a:pt x="150" y="84"/>
                  <a:pt x="150" y="84"/>
                </a:cubicBezTo>
                <a:lnTo>
                  <a:pt x="14" y="84"/>
                </a:lnTo>
                <a:close/>
                <a:moveTo>
                  <a:pt x="578" y="369"/>
                </a:moveTo>
                <a:cubicBezTo>
                  <a:pt x="569" y="379"/>
                  <a:pt x="556" y="384"/>
                  <a:pt x="540" y="384"/>
                </a:cubicBezTo>
                <a:cubicBezTo>
                  <a:pt x="175" y="384"/>
                  <a:pt x="175" y="384"/>
                  <a:pt x="175" y="384"/>
                </a:cubicBezTo>
                <a:cubicBezTo>
                  <a:pt x="159" y="384"/>
                  <a:pt x="145" y="379"/>
                  <a:pt x="137" y="369"/>
                </a:cubicBezTo>
                <a:cubicBezTo>
                  <a:pt x="130" y="361"/>
                  <a:pt x="127" y="350"/>
                  <a:pt x="128" y="340"/>
                </a:cubicBezTo>
                <a:cubicBezTo>
                  <a:pt x="174" y="14"/>
                  <a:pt x="174" y="14"/>
                  <a:pt x="174" y="14"/>
                </a:cubicBezTo>
                <a:cubicBezTo>
                  <a:pt x="255" y="14"/>
                  <a:pt x="255" y="14"/>
                  <a:pt x="255" y="14"/>
                </a:cubicBezTo>
                <a:cubicBezTo>
                  <a:pt x="236" y="290"/>
                  <a:pt x="236" y="290"/>
                  <a:pt x="236" y="290"/>
                </a:cubicBezTo>
                <a:cubicBezTo>
                  <a:pt x="236" y="294"/>
                  <a:pt x="238" y="297"/>
                  <a:pt x="242" y="298"/>
                </a:cubicBezTo>
                <a:cubicBezTo>
                  <a:pt x="242" y="298"/>
                  <a:pt x="243" y="298"/>
                  <a:pt x="243" y="298"/>
                </a:cubicBezTo>
                <a:cubicBezTo>
                  <a:pt x="246" y="298"/>
                  <a:pt x="250" y="295"/>
                  <a:pt x="250" y="291"/>
                </a:cubicBezTo>
                <a:cubicBezTo>
                  <a:pt x="269" y="14"/>
                  <a:pt x="269" y="14"/>
                  <a:pt x="269" y="14"/>
                </a:cubicBezTo>
                <a:cubicBezTo>
                  <a:pt x="541" y="14"/>
                  <a:pt x="541" y="14"/>
                  <a:pt x="541" y="14"/>
                </a:cubicBezTo>
                <a:cubicBezTo>
                  <a:pt x="586" y="340"/>
                  <a:pt x="586" y="340"/>
                  <a:pt x="586" y="340"/>
                </a:cubicBezTo>
                <a:cubicBezTo>
                  <a:pt x="588" y="350"/>
                  <a:pt x="585" y="361"/>
                  <a:pt x="578" y="369"/>
                </a:cubicBezTo>
                <a:close/>
                <a:moveTo>
                  <a:pt x="701" y="84"/>
                </a:moveTo>
                <a:cubicBezTo>
                  <a:pt x="565" y="84"/>
                  <a:pt x="565" y="84"/>
                  <a:pt x="565" y="84"/>
                </a:cubicBezTo>
                <a:cubicBezTo>
                  <a:pt x="555" y="14"/>
                  <a:pt x="555" y="14"/>
                  <a:pt x="555" y="14"/>
                </a:cubicBezTo>
                <a:cubicBezTo>
                  <a:pt x="701" y="14"/>
                  <a:pt x="701" y="14"/>
                  <a:pt x="701" y="14"/>
                </a:cubicBezTo>
                <a:lnTo>
                  <a:pt x="701" y="8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3" name="Oval 45"/>
          <p:cNvSpPr>
            <a:spLocks noChangeArrowheads="1"/>
          </p:cNvSpPr>
          <p:nvPr/>
        </p:nvSpPr>
        <p:spPr bwMode="auto">
          <a:xfrm>
            <a:off x="966871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12" name="Freeform 103"/>
          <p:cNvSpPr>
            <a:spLocks noEditPoints="1"/>
          </p:cNvSpPr>
          <p:nvPr/>
        </p:nvSpPr>
        <p:spPr bwMode="auto">
          <a:xfrm>
            <a:off x="1116419" y="3660414"/>
            <a:ext cx="522969" cy="431629"/>
          </a:xfrm>
          <a:custGeom>
            <a:avLst/>
            <a:gdLst>
              <a:gd name="T0" fmla="*/ 466 w 675"/>
              <a:gd name="T1" fmla="*/ 403 h 557"/>
              <a:gd name="T2" fmla="*/ 270 w 675"/>
              <a:gd name="T3" fmla="*/ 403 h 557"/>
              <a:gd name="T4" fmla="*/ 368 w 675"/>
              <a:gd name="T5" fmla="*/ 304 h 557"/>
              <a:gd name="T6" fmla="*/ 368 w 675"/>
              <a:gd name="T7" fmla="*/ 502 h 557"/>
              <a:gd name="T8" fmla="*/ 368 w 675"/>
              <a:gd name="T9" fmla="*/ 304 h 557"/>
              <a:gd name="T10" fmla="*/ 598 w 675"/>
              <a:gd name="T11" fmla="*/ 406 h 557"/>
              <a:gd name="T12" fmla="*/ 514 w 675"/>
              <a:gd name="T13" fmla="*/ 406 h 557"/>
              <a:gd name="T14" fmla="*/ 556 w 675"/>
              <a:gd name="T15" fmla="*/ 378 h 557"/>
              <a:gd name="T16" fmla="*/ 556 w 675"/>
              <a:gd name="T17" fmla="*/ 435 h 557"/>
              <a:gd name="T18" fmla="*/ 556 w 675"/>
              <a:gd name="T19" fmla="*/ 378 h 557"/>
              <a:gd name="T20" fmla="*/ 226 w 675"/>
              <a:gd name="T21" fmla="*/ 406 h 557"/>
              <a:gd name="T22" fmla="*/ 142 w 675"/>
              <a:gd name="T23" fmla="*/ 406 h 557"/>
              <a:gd name="T24" fmla="*/ 184 w 675"/>
              <a:gd name="T25" fmla="*/ 378 h 557"/>
              <a:gd name="T26" fmla="*/ 184 w 675"/>
              <a:gd name="T27" fmla="*/ 435 h 557"/>
              <a:gd name="T28" fmla="*/ 184 w 675"/>
              <a:gd name="T29" fmla="*/ 378 h 557"/>
              <a:gd name="T30" fmla="*/ 659 w 675"/>
              <a:gd name="T31" fmla="*/ 249 h 557"/>
              <a:gd name="T32" fmla="*/ 613 w 675"/>
              <a:gd name="T33" fmla="*/ 93 h 557"/>
              <a:gd name="T34" fmla="*/ 587 w 675"/>
              <a:gd name="T35" fmla="*/ 6 h 557"/>
              <a:gd name="T36" fmla="*/ 579 w 675"/>
              <a:gd name="T37" fmla="*/ 1 h 557"/>
              <a:gd name="T38" fmla="*/ 492 w 675"/>
              <a:gd name="T39" fmla="*/ 26 h 557"/>
              <a:gd name="T40" fmla="*/ 93 w 675"/>
              <a:gd name="T41" fmla="*/ 143 h 557"/>
              <a:gd name="T42" fmla="*/ 93 w 675"/>
              <a:gd name="T43" fmla="*/ 143 h 557"/>
              <a:gd name="T44" fmla="*/ 1 w 675"/>
              <a:gd name="T45" fmla="*/ 177 h 557"/>
              <a:gd name="T46" fmla="*/ 64 w 675"/>
              <a:gd name="T47" fmla="*/ 550 h 557"/>
              <a:gd name="T48" fmla="*/ 668 w 675"/>
              <a:gd name="T49" fmla="*/ 557 h 557"/>
              <a:gd name="T50" fmla="*/ 675 w 675"/>
              <a:gd name="T51" fmla="*/ 256 h 557"/>
              <a:gd name="T52" fmla="*/ 64 w 675"/>
              <a:gd name="T53" fmla="*/ 344 h 557"/>
              <a:gd name="T54" fmla="*/ 64 w 675"/>
              <a:gd name="T55" fmla="*/ 255 h 557"/>
              <a:gd name="T56" fmla="*/ 64 w 675"/>
              <a:gd name="T57" fmla="*/ 344 h 557"/>
              <a:gd name="T58" fmla="*/ 169 w 675"/>
              <a:gd name="T59" fmla="*/ 263 h 557"/>
              <a:gd name="T60" fmla="*/ 661 w 675"/>
              <a:gd name="T61" fmla="*/ 354 h 557"/>
              <a:gd name="T62" fmla="*/ 593 w 675"/>
              <a:gd name="T63" fmla="*/ 543 h 557"/>
              <a:gd name="T64" fmla="*/ 78 w 675"/>
              <a:gd name="T65" fmla="*/ 475 h 557"/>
              <a:gd name="T66" fmla="*/ 78 w 675"/>
              <a:gd name="T67" fmla="*/ 340 h 557"/>
              <a:gd name="T68" fmla="*/ 155 w 675"/>
              <a:gd name="T69" fmla="*/ 263 h 557"/>
              <a:gd name="T70" fmla="*/ 306 w 675"/>
              <a:gd name="T71" fmla="*/ 138 h 557"/>
              <a:gd name="T72" fmla="*/ 419 w 675"/>
              <a:gd name="T73" fmla="*/ 249 h 557"/>
              <a:gd name="T74" fmla="*/ 306 w 675"/>
              <a:gd name="T75" fmla="*/ 138 h 557"/>
              <a:gd name="T76" fmla="*/ 585 w 675"/>
              <a:gd name="T77" fmla="*/ 263 h 557"/>
              <a:gd name="T78" fmla="*/ 654 w 675"/>
              <a:gd name="T79" fmla="*/ 263 h 557"/>
              <a:gd name="T80" fmla="*/ 661 w 675"/>
              <a:gd name="T81" fmla="*/ 340 h 557"/>
              <a:gd name="T82" fmla="*/ 428 w 675"/>
              <a:gd name="T83" fmla="*/ 206 h 557"/>
              <a:gd name="T84" fmla="*/ 237 w 675"/>
              <a:gd name="T85" fmla="*/ 249 h 557"/>
              <a:gd name="T86" fmla="*/ 103 w 675"/>
              <a:gd name="T87" fmla="*/ 155 h 557"/>
              <a:gd name="T88" fmla="*/ 534 w 675"/>
              <a:gd name="T89" fmla="*/ 93 h 557"/>
              <a:gd name="T90" fmla="*/ 601 w 675"/>
              <a:gd name="T91" fmla="*/ 103 h 557"/>
              <a:gd name="T92" fmla="*/ 433 w 675"/>
              <a:gd name="T93" fmla="*/ 249 h 557"/>
              <a:gd name="T94" fmla="*/ 541 w 675"/>
              <a:gd name="T95" fmla="*/ 81 h 557"/>
              <a:gd name="T96" fmla="*/ 576 w 675"/>
              <a:gd name="T97" fmla="*/ 16 h 557"/>
              <a:gd name="T98" fmla="*/ 90 w 675"/>
              <a:gd name="T99" fmla="*/ 159 h 557"/>
              <a:gd name="T100" fmla="*/ 16 w 675"/>
              <a:gd name="T101" fmla="*/ 180 h 557"/>
              <a:gd name="T102" fmla="*/ 78 w 675"/>
              <a:gd name="T103" fmla="*/ 489 h 557"/>
              <a:gd name="T104" fmla="*/ 78 w 675"/>
              <a:gd name="T105" fmla="*/ 543 h 557"/>
              <a:gd name="T106" fmla="*/ 607 w 675"/>
              <a:gd name="T107" fmla="*/ 543 h 557"/>
              <a:gd name="T108" fmla="*/ 661 w 675"/>
              <a:gd name="T109" fmla="*/ 543 h 557"/>
              <a:gd name="T110" fmla="*/ 515 w 675"/>
              <a:gd name="T111" fmla="*/ 141 h 557"/>
              <a:gd name="T112" fmla="*/ 478 w 675"/>
              <a:gd name="T113" fmla="*/ 163 h 557"/>
              <a:gd name="T114" fmla="*/ 515 w 675"/>
              <a:gd name="T115" fmla="*/ 226 h 557"/>
              <a:gd name="T116" fmla="*/ 555 w 675"/>
              <a:gd name="T117" fmla="*/ 172 h 557"/>
              <a:gd name="T118" fmla="*/ 523 w 675"/>
              <a:gd name="T119" fmla="*/ 210 h 557"/>
              <a:gd name="T120" fmla="*/ 488 w 675"/>
              <a:gd name="T121" fmla="*/ 191 h 557"/>
              <a:gd name="T122" fmla="*/ 507 w 675"/>
              <a:gd name="T123" fmla="*/ 157 h 557"/>
              <a:gd name="T124" fmla="*/ 542 w 675"/>
              <a:gd name="T125" fmla="*/ 176 h 5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75" h="557">
                <a:moveTo>
                  <a:pt x="368" y="516"/>
                </a:moveTo>
                <a:cubicBezTo>
                  <a:pt x="422" y="516"/>
                  <a:pt x="466" y="465"/>
                  <a:pt x="466" y="403"/>
                </a:cubicBezTo>
                <a:cubicBezTo>
                  <a:pt x="466" y="341"/>
                  <a:pt x="422" y="290"/>
                  <a:pt x="368" y="290"/>
                </a:cubicBezTo>
                <a:cubicBezTo>
                  <a:pt x="314" y="290"/>
                  <a:pt x="270" y="341"/>
                  <a:pt x="270" y="403"/>
                </a:cubicBezTo>
                <a:cubicBezTo>
                  <a:pt x="270" y="465"/>
                  <a:pt x="314" y="516"/>
                  <a:pt x="368" y="516"/>
                </a:cubicBezTo>
                <a:close/>
                <a:moveTo>
                  <a:pt x="368" y="304"/>
                </a:moveTo>
                <a:cubicBezTo>
                  <a:pt x="414" y="304"/>
                  <a:pt x="452" y="349"/>
                  <a:pt x="452" y="403"/>
                </a:cubicBezTo>
                <a:cubicBezTo>
                  <a:pt x="452" y="458"/>
                  <a:pt x="414" y="502"/>
                  <a:pt x="368" y="502"/>
                </a:cubicBezTo>
                <a:cubicBezTo>
                  <a:pt x="322" y="502"/>
                  <a:pt x="284" y="458"/>
                  <a:pt x="284" y="403"/>
                </a:cubicBezTo>
                <a:cubicBezTo>
                  <a:pt x="284" y="349"/>
                  <a:pt x="322" y="304"/>
                  <a:pt x="368" y="304"/>
                </a:cubicBezTo>
                <a:close/>
                <a:moveTo>
                  <a:pt x="556" y="449"/>
                </a:moveTo>
                <a:cubicBezTo>
                  <a:pt x="579" y="449"/>
                  <a:pt x="598" y="430"/>
                  <a:pt x="598" y="406"/>
                </a:cubicBezTo>
                <a:cubicBezTo>
                  <a:pt x="598" y="383"/>
                  <a:pt x="579" y="364"/>
                  <a:pt x="556" y="364"/>
                </a:cubicBezTo>
                <a:cubicBezTo>
                  <a:pt x="533" y="364"/>
                  <a:pt x="514" y="383"/>
                  <a:pt x="514" y="406"/>
                </a:cubicBezTo>
                <a:cubicBezTo>
                  <a:pt x="514" y="430"/>
                  <a:pt x="533" y="449"/>
                  <a:pt x="556" y="449"/>
                </a:cubicBezTo>
                <a:close/>
                <a:moveTo>
                  <a:pt x="556" y="378"/>
                </a:moveTo>
                <a:cubicBezTo>
                  <a:pt x="571" y="378"/>
                  <a:pt x="584" y="391"/>
                  <a:pt x="584" y="406"/>
                </a:cubicBezTo>
                <a:cubicBezTo>
                  <a:pt x="584" y="422"/>
                  <a:pt x="571" y="435"/>
                  <a:pt x="556" y="435"/>
                </a:cubicBezTo>
                <a:cubicBezTo>
                  <a:pt x="540" y="435"/>
                  <a:pt x="528" y="422"/>
                  <a:pt x="528" y="406"/>
                </a:cubicBezTo>
                <a:cubicBezTo>
                  <a:pt x="528" y="391"/>
                  <a:pt x="540" y="378"/>
                  <a:pt x="556" y="378"/>
                </a:cubicBezTo>
                <a:close/>
                <a:moveTo>
                  <a:pt x="184" y="449"/>
                </a:moveTo>
                <a:cubicBezTo>
                  <a:pt x="207" y="449"/>
                  <a:pt x="226" y="430"/>
                  <a:pt x="226" y="406"/>
                </a:cubicBezTo>
                <a:cubicBezTo>
                  <a:pt x="226" y="383"/>
                  <a:pt x="207" y="364"/>
                  <a:pt x="184" y="364"/>
                </a:cubicBezTo>
                <a:cubicBezTo>
                  <a:pt x="161" y="364"/>
                  <a:pt x="142" y="383"/>
                  <a:pt x="142" y="406"/>
                </a:cubicBezTo>
                <a:cubicBezTo>
                  <a:pt x="142" y="430"/>
                  <a:pt x="161" y="449"/>
                  <a:pt x="184" y="449"/>
                </a:cubicBezTo>
                <a:close/>
                <a:moveTo>
                  <a:pt x="184" y="378"/>
                </a:moveTo>
                <a:cubicBezTo>
                  <a:pt x="199" y="378"/>
                  <a:pt x="212" y="391"/>
                  <a:pt x="212" y="406"/>
                </a:cubicBezTo>
                <a:cubicBezTo>
                  <a:pt x="212" y="422"/>
                  <a:pt x="199" y="435"/>
                  <a:pt x="184" y="435"/>
                </a:cubicBezTo>
                <a:cubicBezTo>
                  <a:pt x="168" y="435"/>
                  <a:pt x="156" y="422"/>
                  <a:pt x="156" y="406"/>
                </a:cubicBezTo>
                <a:cubicBezTo>
                  <a:pt x="156" y="391"/>
                  <a:pt x="168" y="378"/>
                  <a:pt x="184" y="378"/>
                </a:cubicBezTo>
                <a:close/>
                <a:moveTo>
                  <a:pt x="668" y="249"/>
                </a:moveTo>
                <a:cubicBezTo>
                  <a:pt x="659" y="249"/>
                  <a:pt x="659" y="249"/>
                  <a:pt x="659" y="249"/>
                </a:cubicBezTo>
                <a:cubicBezTo>
                  <a:pt x="613" y="93"/>
                  <a:pt x="613" y="93"/>
                  <a:pt x="613" y="93"/>
                </a:cubicBezTo>
                <a:cubicBezTo>
                  <a:pt x="613" y="93"/>
                  <a:pt x="613" y="93"/>
                  <a:pt x="613" y="93"/>
                </a:cubicBezTo>
                <a:cubicBezTo>
                  <a:pt x="613" y="93"/>
                  <a:pt x="613" y="93"/>
                  <a:pt x="613" y="93"/>
                </a:cubicBezTo>
                <a:cubicBezTo>
                  <a:pt x="587" y="6"/>
                  <a:pt x="587" y="6"/>
                  <a:pt x="587" y="6"/>
                </a:cubicBezTo>
                <a:cubicBezTo>
                  <a:pt x="587" y="4"/>
                  <a:pt x="586" y="2"/>
                  <a:pt x="584" y="1"/>
                </a:cubicBezTo>
                <a:cubicBezTo>
                  <a:pt x="582" y="1"/>
                  <a:pt x="581" y="0"/>
                  <a:pt x="579" y="1"/>
                </a:cubicBezTo>
                <a:cubicBezTo>
                  <a:pt x="492" y="26"/>
                  <a:pt x="492" y="26"/>
                  <a:pt x="492" y="26"/>
                </a:cubicBezTo>
                <a:cubicBezTo>
                  <a:pt x="492" y="26"/>
                  <a:pt x="492" y="26"/>
                  <a:pt x="492" y="26"/>
                </a:cubicBezTo>
                <a:cubicBezTo>
                  <a:pt x="492" y="26"/>
                  <a:pt x="492" y="26"/>
                  <a:pt x="492" y="26"/>
                </a:cubicBezTo>
                <a:cubicBezTo>
                  <a:pt x="93" y="143"/>
                  <a:pt x="93" y="143"/>
                  <a:pt x="93" y="143"/>
                </a:cubicBezTo>
                <a:cubicBezTo>
                  <a:pt x="93" y="143"/>
                  <a:pt x="93" y="143"/>
                  <a:pt x="93" y="143"/>
                </a:cubicBezTo>
                <a:cubicBezTo>
                  <a:pt x="93" y="143"/>
                  <a:pt x="93" y="143"/>
                  <a:pt x="93" y="143"/>
                </a:cubicBezTo>
                <a:cubicBezTo>
                  <a:pt x="6" y="169"/>
                  <a:pt x="6" y="169"/>
                  <a:pt x="6" y="169"/>
                </a:cubicBezTo>
                <a:cubicBezTo>
                  <a:pt x="2" y="170"/>
                  <a:pt x="0" y="173"/>
                  <a:pt x="1" y="177"/>
                </a:cubicBezTo>
                <a:cubicBezTo>
                  <a:pt x="64" y="394"/>
                  <a:pt x="64" y="394"/>
                  <a:pt x="64" y="394"/>
                </a:cubicBezTo>
                <a:cubicBezTo>
                  <a:pt x="64" y="550"/>
                  <a:pt x="64" y="550"/>
                  <a:pt x="64" y="550"/>
                </a:cubicBezTo>
                <a:cubicBezTo>
                  <a:pt x="64" y="554"/>
                  <a:pt x="67" y="557"/>
                  <a:pt x="71" y="557"/>
                </a:cubicBezTo>
                <a:cubicBezTo>
                  <a:pt x="668" y="557"/>
                  <a:pt x="668" y="557"/>
                  <a:pt x="668" y="557"/>
                </a:cubicBezTo>
                <a:cubicBezTo>
                  <a:pt x="672" y="557"/>
                  <a:pt x="675" y="554"/>
                  <a:pt x="675" y="550"/>
                </a:cubicBezTo>
                <a:cubicBezTo>
                  <a:pt x="675" y="256"/>
                  <a:pt x="675" y="256"/>
                  <a:pt x="675" y="256"/>
                </a:cubicBezTo>
                <a:cubicBezTo>
                  <a:pt x="675" y="252"/>
                  <a:pt x="672" y="249"/>
                  <a:pt x="668" y="249"/>
                </a:cubicBezTo>
                <a:close/>
                <a:moveTo>
                  <a:pt x="64" y="344"/>
                </a:moveTo>
                <a:cubicBezTo>
                  <a:pt x="42" y="267"/>
                  <a:pt x="42" y="267"/>
                  <a:pt x="42" y="267"/>
                </a:cubicBezTo>
                <a:cubicBezTo>
                  <a:pt x="50" y="264"/>
                  <a:pt x="58" y="260"/>
                  <a:pt x="64" y="255"/>
                </a:cubicBezTo>
                <a:cubicBezTo>
                  <a:pt x="64" y="255"/>
                  <a:pt x="64" y="256"/>
                  <a:pt x="64" y="256"/>
                </a:cubicBezTo>
                <a:lnTo>
                  <a:pt x="64" y="344"/>
                </a:lnTo>
                <a:close/>
                <a:moveTo>
                  <a:pt x="78" y="354"/>
                </a:moveTo>
                <a:cubicBezTo>
                  <a:pt x="127" y="350"/>
                  <a:pt x="165" y="311"/>
                  <a:pt x="169" y="263"/>
                </a:cubicBezTo>
                <a:cubicBezTo>
                  <a:pt x="571" y="263"/>
                  <a:pt x="571" y="263"/>
                  <a:pt x="571" y="263"/>
                </a:cubicBezTo>
                <a:cubicBezTo>
                  <a:pt x="574" y="311"/>
                  <a:pt x="613" y="350"/>
                  <a:pt x="661" y="354"/>
                </a:cubicBezTo>
                <a:cubicBezTo>
                  <a:pt x="661" y="475"/>
                  <a:pt x="661" y="475"/>
                  <a:pt x="661" y="475"/>
                </a:cubicBezTo>
                <a:cubicBezTo>
                  <a:pt x="625" y="478"/>
                  <a:pt x="596" y="507"/>
                  <a:pt x="593" y="543"/>
                </a:cubicBezTo>
                <a:cubicBezTo>
                  <a:pt x="147" y="543"/>
                  <a:pt x="147" y="543"/>
                  <a:pt x="147" y="543"/>
                </a:cubicBezTo>
                <a:cubicBezTo>
                  <a:pt x="143" y="507"/>
                  <a:pt x="114" y="478"/>
                  <a:pt x="78" y="475"/>
                </a:cubicBezTo>
                <a:lnTo>
                  <a:pt x="78" y="354"/>
                </a:lnTo>
                <a:close/>
                <a:moveTo>
                  <a:pt x="78" y="340"/>
                </a:moveTo>
                <a:cubicBezTo>
                  <a:pt x="78" y="263"/>
                  <a:pt x="78" y="263"/>
                  <a:pt x="78" y="263"/>
                </a:cubicBezTo>
                <a:cubicBezTo>
                  <a:pt x="155" y="263"/>
                  <a:pt x="155" y="263"/>
                  <a:pt x="155" y="263"/>
                </a:cubicBezTo>
                <a:cubicBezTo>
                  <a:pt x="151" y="304"/>
                  <a:pt x="119" y="336"/>
                  <a:pt x="78" y="340"/>
                </a:cubicBezTo>
                <a:close/>
                <a:moveTo>
                  <a:pt x="306" y="138"/>
                </a:moveTo>
                <a:cubicBezTo>
                  <a:pt x="351" y="125"/>
                  <a:pt x="399" y="157"/>
                  <a:pt x="414" y="210"/>
                </a:cubicBezTo>
                <a:cubicBezTo>
                  <a:pt x="418" y="223"/>
                  <a:pt x="420" y="236"/>
                  <a:pt x="419" y="249"/>
                </a:cubicBezTo>
                <a:cubicBezTo>
                  <a:pt x="252" y="249"/>
                  <a:pt x="252" y="249"/>
                  <a:pt x="252" y="249"/>
                </a:cubicBezTo>
                <a:cubicBezTo>
                  <a:pt x="241" y="200"/>
                  <a:pt x="264" y="150"/>
                  <a:pt x="306" y="138"/>
                </a:cubicBezTo>
                <a:close/>
                <a:moveTo>
                  <a:pt x="661" y="340"/>
                </a:moveTo>
                <a:cubicBezTo>
                  <a:pt x="621" y="336"/>
                  <a:pt x="588" y="304"/>
                  <a:pt x="585" y="263"/>
                </a:cubicBezTo>
                <a:cubicBezTo>
                  <a:pt x="654" y="263"/>
                  <a:pt x="654" y="263"/>
                  <a:pt x="654" y="263"/>
                </a:cubicBezTo>
                <a:cubicBezTo>
                  <a:pt x="654" y="263"/>
                  <a:pt x="654" y="263"/>
                  <a:pt x="654" y="263"/>
                </a:cubicBezTo>
                <a:cubicBezTo>
                  <a:pt x="661" y="263"/>
                  <a:pt x="661" y="263"/>
                  <a:pt x="661" y="263"/>
                </a:cubicBezTo>
                <a:lnTo>
                  <a:pt x="661" y="340"/>
                </a:lnTo>
                <a:close/>
                <a:moveTo>
                  <a:pt x="433" y="249"/>
                </a:moveTo>
                <a:cubicBezTo>
                  <a:pt x="434" y="235"/>
                  <a:pt x="432" y="220"/>
                  <a:pt x="428" y="206"/>
                </a:cubicBezTo>
                <a:cubicBezTo>
                  <a:pt x="410" y="146"/>
                  <a:pt x="354" y="110"/>
                  <a:pt x="302" y="125"/>
                </a:cubicBezTo>
                <a:cubicBezTo>
                  <a:pt x="253" y="139"/>
                  <a:pt x="226" y="193"/>
                  <a:pt x="237" y="249"/>
                </a:cubicBezTo>
                <a:cubicBezTo>
                  <a:pt x="72" y="249"/>
                  <a:pt x="72" y="249"/>
                  <a:pt x="72" y="249"/>
                </a:cubicBezTo>
                <a:cubicBezTo>
                  <a:pt x="98" y="226"/>
                  <a:pt x="111" y="190"/>
                  <a:pt x="103" y="155"/>
                </a:cubicBezTo>
                <a:cubicBezTo>
                  <a:pt x="489" y="42"/>
                  <a:pt x="489" y="42"/>
                  <a:pt x="489" y="42"/>
                </a:cubicBezTo>
                <a:cubicBezTo>
                  <a:pt x="497" y="64"/>
                  <a:pt x="513" y="82"/>
                  <a:pt x="534" y="93"/>
                </a:cubicBezTo>
                <a:cubicBezTo>
                  <a:pt x="548" y="101"/>
                  <a:pt x="564" y="105"/>
                  <a:pt x="581" y="105"/>
                </a:cubicBezTo>
                <a:cubicBezTo>
                  <a:pt x="588" y="105"/>
                  <a:pt x="595" y="105"/>
                  <a:pt x="601" y="103"/>
                </a:cubicBezTo>
                <a:cubicBezTo>
                  <a:pt x="644" y="249"/>
                  <a:pt x="644" y="249"/>
                  <a:pt x="644" y="249"/>
                </a:cubicBezTo>
                <a:lnTo>
                  <a:pt x="433" y="249"/>
                </a:lnTo>
                <a:close/>
                <a:moveTo>
                  <a:pt x="597" y="90"/>
                </a:moveTo>
                <a:cubicBezTo>
                  <a:pt x="578" y="94"/>
                  <a:pt x="558" y="91"/>
                  <a:pt x="541" y="81"/>
                </a:cubicBezTo>
                <a:cubicBezTo>
                  <a:pt x="523" y="71"/>
                  <a:pt x="510" y="56"/>
                  <a:pt x="503" y="38"/>
                </a:cubicBezTo>
                <a:cubicBezTo>
                  <a:pt x="576" y="16"/>
                  <a:pt x="576" y="16"/>
                  <a:pt x="576" y="16"/>
                </a:cubicBezTo>
                <a:lnTo>
                  <a:pt x="597" y="90"/>
                </a:lnTo>
                <a:close/>
                <a:moveTo>
                  <a:pt x="90" y="159"/>
                </a:moveTo>
                <a:cubicBezTo>
                  <a:pt x="98" y="198"/>
                  <a:pt x="76" y="239"/>
                  <a:pt x="38" y="253"/>
                </a:cubicBezTo>
                <a:cubicBezTo>
                  <a:pt x="16" y="180"/>
                  <a:pt x="16" y="180"/>
                  <a:pt x="16" y="180"/>
                </a:cubicBezTo>
                <a:lnTo>
                  <a:pt x="90" y="159"/>
                </a:lnTo>
                <a:close/>
                <a:moveTo>
                  <a:pt x="78" y="489"/>
                </a:moveTo>
                <a:cubicBezTo>
                  <a:pt x="107" y="492"/>
                  <a:pt x="129" y="515"/>
                  <a:pt x="133" y="543"/>
                </a:cubicBezTo>
                <a:cubicBezTo>
                  <a:pt x="78" y="543"/>
                  <a:pt x="78" y="543"/>
                  <a:pt x="78" y="543"/>
                </a:cubicBezTo>
                <a:lnTo>
                  <a:pt x="78" y="489"/>
                </a:lnTo>
                <a:close/>
                <a:moveTo>
                  <a:pt x="607" y="543"/>
                </a:moveTo>
                <a:cubicBezTo>
                  <a:pt x="610" y="515"/>
                  <a:pt x="633" y="492"/>
                  <a:pt x="661" y="489"/>
                </a:cubicBezTo>
                <a:cubicBezTo>
                  <a:pt x="661" y="543"/>
                  <a:pt x="661" y="543"/>
                  <a:pt x="661" y="543"/>
                </a:cubicBezTo>
                <a:lnTo>
                  <a:pt x="607" y="543"/>
                </a:lnTo>
                <a:close/>
                <a:moveTo>
                  <a:pt x="515" y="141"/>
                </a:moveTo>
                <a:cubicBezTo>
                  <a:pt x="511" y="141"/>
                  <a:pt x="507" y="142"/>
                  <a:pt x="503" y="143"/>
                </a:cubicBezTo>
                <a:cubicBezTo>
                  <a:pt x="492" y="146"/>
                  <a:pt x="484" y="153"/>
                  <a:pt x="478" y="163"/>
                </a:cubicBezTo>
                <a:cubicBezTo>
                  <a:pt x="473" y="173"/>
                  <a:pt x="471" y="185"/>
                  <a:pt x="475" y="195"/>
                </a:cubicBezTo>
                <a:cubicBezTo>
                  <a:pt x="480" y="213"/>
                  <a:pt x="496" y="226"/>
                  <a:pt x="515" y="226"/>
                </a:cubicBezTo>
                <a:cubicBezTo>
                  <a:pt x="519" y="226"/>
                  <a:pt x="523" y="225"/>
                  <a:pt x="527" y="224"/>
                </a:cubicBezTo>
                <a:cubicBezTo>
                  <a:pt x="549" y="217"/>
                  <a:pt x="562" y="194"/>
                  <a:pt x="555" y="172"/>
                </a:cubicBezTo>
                <a:cubicBezTo>
                  <a:pt x="550" y="154"/>
                  <a:pt x="534" y="141"/>
                  <a:pt x="515" y="141"/>
                </a:cubicBezTo>
                <a:close/>
                <a:moveTo>
                  <a:pt x="523" y="210"/>
                </a:moveTo>
                <a:cubicBezTo>
                  <a:pt x="520" y="211"/>
                  <a:pt x="518" y="212"/>
                  <a:pt x="515" y="212"/>
                </a:cubicBezTo>
                <a:cubicBezTo>
                  <a:pt x="503" y="212"/>
                  <a:pt x="492" y="203"/>
                  <a:pt x="488" y="191"/>
                </a:cubicBezTo>
                <a:cubicBezTo>
                  <a:pt x="486" y="184"/>
                  <a:pt x="487" y="177"/>
                  <a:pt x="490" y="170"/>
                </a:cubicBezTo>
                <a:cubicBezTo>
                  <a:pt x="494" y="163"/>
                  <a:pt x="500" y="159"/>
                  <a:pt x="507" y="157"/>
                </a:cubicBezTo>
                <a:cubicBezTo>
                  <a:pt x="510" y="156"/>
                  <a:pt x="512" y="155"/>
                  <a:pt x="515" y="155"/>
                </a:cubicBezTo>
                <a:cubicBezTo>
                  <a:pt x="527" y="155"/>
                  <a:pt x="538" y="164"/>
                  <a:pt x="542" y="176"/>
                </a:cubicBezTo>
                <a:cubicBezTo>
                  <a:pt x="546" y="190"/>
                  <a:pt x="538" y="206"/>
                  <a:pt x="523" y="21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2" name="Oval 44"/>
          <p:cNvSpPr>
            <a:spLocks noChangeArrowheads="1"/>
          </p:cNvSpPr>
          <p:nvPr/>
        </p:nvSpPr>
        <p:spPr bwMode="auto">
          <a:xfrm>
            <a:off x="2259614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13" name="Freeform 104"/>
          <p:cNvSpPr>
            <a:spLocks noEditPoints="1"/>
          </p:cNvSpPr>
          <p:nvPr/>
        </p:nvSpPr>
        <p:spPr bwMode="auto">
          <a:xfrm>
            <a:off x="2448564" y="3651011"/>
            <a:ext cx="444166" cy="450434"/>
          </a:xfrm>
          <a:custGeom>
            <a:avLst/>
            <a:gdLst>
              <a:gd name="T0" fmla="*/ 404 w 574"/>
              <a:gd name="T1" fmla="*/ 0 h 581"/>
              <a:gd name="T2" fmla="*/ 234 w 574"/>
              <a:gd name="T3" fmla="*/ 63 h 581"/>
              <a:gd name="T4" fmla="*/ 170 w 574"/>
              <a:gd name="T5" fmla="*/ 206 h 581"/>
              <a:gd name="T6" fmla="*/ 0 w 574"/>
              <a:gd name="T7" fmla="*/ 268 h 581"/>
              <a:gd name="T8" fmla="*/ 52 w 574"/>
              <a:gd name="T9" fmla="*/ 565 h 581"/>
              <a:gd name="T10" fmla="*/ 288 w 574"/>
              <a:gd name="T11" fmla="*/ 565 h 581"/>
              <a:gd name="T12" fmla="*/ 340 w 574"/>
              <a:gd name="T13" fmla="*/ 467 h 581"/>
              <a:gd name="T14" fmla="*/ 522 w 574"/>
              <a:gd name="T15" fmla="*/ 455 h 581"/>
              <a:gd name="T16" fmla="*/ 574 w 574"/>
              <a:gd name="T17" fmla="*/ 63 h 581"/>
              <a:gd name="T18" fmla="*/ 560 w 574"/>
              <a:gd name="T19" fmla="*/ 329 h 581"/>
              <a:gd name="T20" fmla="*/ 340 w 574"/>
              <a:gd name="T21" fmla="*/ 372 h 581"/>
              <a:gd name="T22" fmla="*/ 404 w 574"/>
              <a:gd name="T23" fmla="*/ 305 h 581"/>
              <a:gd name="T24" fmla="*/ 560 w 574"/>
              <a:gd name="T25" fmla="*/ 269 h 581"/>
              <a:gd name="T26" fmla="*/ 326 w 574"/>
              <a:gd name="T27" fmla="*/ 294 h 581"/>
              <a:gd name="T28" fmla="*/ 170 w 574"/>
              <a:gd name="T29" fmla="*/ 406 h 581"/>
              <a:gd name="T30" fmla="*/ 14 w 574"/>
              <a:gd name="T31" fmla="*/ 294 h 581"/>
              <a:gd name="T32" fmla="*/ 170 w 574"/>
              <a:gd name="T33" fmla="*/ 331 h 581"/>
              <a:gd name="T34" fmla="*/ 326 w 574"/>
              <a:gd name="T35" fmla="*/ 294 h 581"/>
              <a:gd name="T36" fmla="*/ 52 w 574"/>
              <a:gd name="T37" fmla="*/ 403 h 581"/>
              <a:gd name="T38" fmla="*/ 288 w 574"/>
              <a:gd name="T39" fmla="*/ 403 h 581"/>
              <a:gd name="T40" fmla="*/ 326 w 574"/>
              <a:gd name="T41" fmla="*/ 438 h 581"/>
              <a:gd name="T42" fmla="*/ 14 w 574"/>
              <a:gd name="T43" fmla="*/ 438 h 581"/>
              <a:gd name="T44" fmla="*/ 560 w 574"/>
              <a:gd name="T45" fmla="*/ 158 h 581"/>
              <a:gd name="T46" fmla="*/ 248 w 574"/>
              <a:gd name="T47" fmla="*/ 158 h 581"/>
              <a:gd name="T48" fmla="*/ 287 w 574"/>
              <a:gd name="T49" fmla="*/ 108 h 581"/>
              <a:gd name="T50" fmla="*/ 522 w 574"/>
              <a:gd name="T51" fmla="*/ 108 h 581"/>
              <a:gd name="T52" fmla="*/ 560 w 574"/>
              <a:gd name="T53" fmla="*/ 158 h 581"/>
              <a:gd name="T54" fmla="*/ 560 w 574"/>
              <a:gd name="T55" fmla="*/ 63 h 581"/>
              <a:gd name="T56" fmla="*/ 248 w 574"/>
              <a:gd name="T57" fmla="*/ 63 h 581"/>
              <a:gd name="T58" fmla="*/ 248 w 574"/>
              <a:gd name="T59" fmla="*/ 183 h 581"/>
              <a:gd name="T60" fmla="*/ 404 w 574"/>
              <a:gd name="T61" fmla="*/ 220 h 581"/>
              <a:gd name="T62" fmla="*/ 560 w 574"/>
              <a:gd name="T63" fmla="*/ 183 h 581"/>
              <a:gd name="T64" fmla="*/ 404 w 574"/>
              <a:gd name="T65" fmla="*/ 291 h 581"/>
              <a:gd name="T66" fmla="*/ 340 w 574"/>
              <a:gd name="T67" fmla="*/ 268 h 581"/>
              <a:gd name="T68" fmla="*/ 248 w 574"/>
              <a:gd name="T69" fmla="*/ 213 h 581"/>
              <a:gd name="T70" fmla="*/ 170 w 574"/>
              <a:gd name="T71" fmla="*/ 220 h 581"/>
              <a:gd name="T72" fmla="*/ 240 w 574"/>
              <a:gd name="T73" fmla="*/ 226 h 581"/>
              <a:gd name="T74" fmla="*/ 170 w 574"/>
              <a:gd name="T75" fmla="*/ 317 h 581"/>
              <a:gd name="T76" fmla="*/ 170 w 574"/>
              <a:gd name="T77" fmla="*/ 220 h 581"/>
              <a:gd name="T78" fmla="*/ 14 w 574"/>
              <a:gd name="T79" fmla="*/ 519 h 581"/>
              <a:gd name="T80" fmla="*/ 52 w 574"/>
              <a:gd name="T81" fmla="*/ 484 h 581"/>
              <a:gd name="T82" fmla="*/ 288 w 574"/>
              <a:gd name="T83" fmla="*/ 484 h 581"/>
              <a:gd name="T84" fmla="*/ 326 w 574"/>
              <a:gd name="T85" fmla="*/ 519 h 581"/>
              <a:gd name="T86" fmla="*/ 404 w 574"/>
              <a:gd name="T87" fmla="*/ 458 h 581"/>
              <a:gd name="T88" fmla="*/ 340 w 574"/>
              <a:gd name="T89" fmla="*/ 387 h 581"/>
              <a:gd name="T90" fmla="*/ 522 w 574"/>
              <a:gd name="T91" fmla="*/ 374 h 581"/>
              <a:gd name="T92" fmla="*/ 560 w 574"/>
              <a:gd name="T93" fmla="*/ 410 h 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4" h="581">
                <a:moveTo>
                  <a:pt x="522" y="17"/>
                </a:moveTo>
                <a:cubicBezTo>
                  <a:pt x="490" y="6"/>
                  <a:pt x="449" y="0"/>
                  <a:pt x="404" y="0"/>
                </a:cubicBezTo>
                <a:cubicBezTo>
                  <a:pt x="360" y="0"/>
                  <a:pt x="318" y="6"/>
                  <a:pt x="287" y="17"/>
                </a:cubicBezTo>
                <a:cubicBezTo>
                  <a:pt x="252" y="29"/>
                  <a:pt x="234" y="44"/>
                  <a:pt x="234" y="63"/>
                </a:cubicBezTo>
                <a:cubicBezTo>
                  <a:pt x="234" y="210"/>
                  <a:pt x="234" y="210"/>
                  <a:pt x="234" y="210"/>
                </a:cubicBezTo>
                <a:cubicBezTo>
                  <a:pt x="214" y="208"/>
                  <a:pt x="192" y="206"/>
                  <a:pt x="170" y="206"/>
                </a:cubicBezTo>
                <a:cubicBezTo>
                  <a:pt x="126" y="206"/>
                  <a:pt x="84" y="212"/>
                  <a:pt x="52" y="223"/>
                </a:cubicBezTo>
                <a:cubicBezTo>
                  <a:pt x="18" y="234"/>
                  <a:pt x="0" y="250"/>
                  <a:pt x="0" y="268"/>
                </a:cubicBezTo>
                <a:cubicBezTo>
                  <a:pt x="0" y="519"/>
                  <a:pt x="0" y="519"/>
                  <a:pt x="0" y="519"/>
                </a:cubicBezTo>
                <a:cubicBezTo>
                  <a:pt x="0" y="537"/>
                  <a:pt x="18" y="553"/>
                  <a:pt x="52" y="565"/>
                </a:cubicBezTo>
                <a:cubicBezTo>
                  <a:pt x="84" y="575"/>
                  <a:pt x="126" y="581"/>
                  <a:pt x="170" y="581"/>
                </a:cubicBezTo>
                <a:cubicBezTo>
                  <a:pt x="214" y="581"/>
                  <a:pt x="256" y="575"/>
                  <a:pt x="288" y="565"/>
                </a:cubicBezTo>
                <a:cubicBezTo>
                  <a:pt x="322" y="553"/>
                  <a:pt x="340" y="537"/>
                  <a:pt x="340" y="519"/>
                </a:cubicBezTo>
                <a:cubicBezTo>
                  <a:pt x="340" y="467"/>
                  <a:pt x="340" y="467"/>
                  <a:pt x="340" y="467"/>
                </a:cubicBezTo>
                <a:cubicBezTo>
                  <a:pt x="360" y="470"/>
                  <a:pt x="382" y="472"/>
                  <a:pt x="404" y="472"/>
                </a:cubicBezTo>
                <a:cubicBezTo>
                  <a:pt x="449" y="472"/>
                  <a:pt x="490" y="466"/>
                  <a:pt x="522" y="455"/>
                </a:cubicBezTo>
                <a:cubicBezTo>
                  <a:pt x="556" y="444"/>
                  <a:pt x="574" y="428"/>
                  <a:pt x="574" y="410"/>
                </a:cubicBezTo>
                <a:cubicBezTo>
                  <a:pt x="574" y="63"/>
                  <a:pt x="574" y="63"/>
                  <a:pt x="574" y="63"/>
                </a:cubicBezTo>
                <a:cubicBezTo>
                  <a:pt x="574" y="44"/>
                  <a:pt x="556" y="29"/>
                  <a:pt x="522" y="17"/>
                </a:cubicBezTo>
                <a:close/>
                <a:moveTo>
                  <a:pt x="560" y="329"/>
                </a:moveTo>
                <a:cubicBezTo>
                  <a:pt x="560" y="352"/>
                  <a:pt x="496" y="377"/>
                  <a:pt x="404" y="377"/>
                </a:cubicBezTo>
                <a:cubicBezTo>
                  <a:pt x="382" y="377"/>
                  <a:pt x="360" y="375"/>
                  <a:pt x="340" y="372"/>
                </a:cubicBezTo>
                <a:cubicBezTo>
                  <a:pt x="340" y="301"/>
                  <a:pt x="340" y="301"/>
                  <a:pt x="340" y="301"/>
                </a:cubicBezTo>
                <a:cubicBezTo>
                  <a:pt x="360" y="304"/>
                  <a:pt x="382" y="305"/>
                  <a:pt x="404" y="305"/>
                </a:cubicBezTo>
                <a:cubicBezTo>
                  <a:pt x="449" y="305"/>
                  <a:pt x="490" y="300"/>
                  <a:pt x="522" y="289"/>
                </a:cubicBezTo>
                <a:cubicBezTo>
                  <a:pt x="539" y="283"/>
                  <a:pt x="552" y="276"/>
                  <a:pt x="560" y="269"/>
                </a:cubicBezTo>
                <a:lnTo>
                  <a:pt x="560" y="329"/>
                </a:lnTo>
                <a:close/>
                <a:moveTo>
                  <a:pt x="326" y="294"/>
                </a:moveTo>
                <a:cubicBezTo>
                  <a:pt x="326" y="358"/>
                  <a:pt x="326" y="358"/>
                  <a:pt x="326" y="358"/>
                </a:cubicBezTo>
                <a:cubicBezTo>
                  <a:pt x="326" y="380"/>
                  <a:pt x="262" y="406"/>
                  <a:pt x="170" y="406"/>
                </a:cubicBezTo>
                <a:cubicBezTo>
                  <a:pt x="78" y="406"/>
                  <a:pt x="14" y="380"/>
                  <a:pt x="14" y="358"/>
                </a:cubicBezTo>
                <a:cubicBezTo>
                  <a:pt x="14" y="294"/>
                  <a:pt x="14" y="294"/>
                  <a:pt x="14" y="294"/>
                </a:cubicBezTo>
                <a:cubicBezTo>
                  <a:pt x="23" y="302"/>
                  <a:pt x="36" y="308"/>
                  <a:pt x="52" y="314"/>
                </a:cubicBezTo>
                <a:cubicBezTo>
                  <a:pt x="84" y="325"/>
                  <a:pt x="126" y="331"/>
                  <a:pt x="170" y="331"/>
                </a:cubicBezTo>
                <a:cubicBezTo>
                  <a:pt x="214" y="331"/>
                  <a:pt x="256" y="325"/>
                  <a:pt x="288" y="314"/>
                </a:cubicBezTo>
                <a:cubicBezTo>
                  <a:pt x="304" y="308"/>
                  <a:pt x="317" y="302"/>
                  <a:pt x="326" y="294"/>
                </a:cubicBezTo>
                <a:close/>
                <a:moveTo>
                  <a:pt x="14" y="383"/>
                </a:moveTo>
                <a:cubicBezTo>
                  <a:pt x="23" y="391"/>
                  <a:pt x="36" y="398"/>
                  <a:pt x="52" y="403"/>
                </a:cubicBezTo>
                <a:cubicBezTo>
                  <a:pt x="84" y="414"/>
                  <a:pt x="126" y="420"/>
                  <a:pt x="170" y="420"/>
                </a:cubicBezTo>
                <a:cubicBezTo>
                  <a:pt x="214" y="420"/>
                  <a:pt x="256" y="414"/>
                  <a:pt x="288" y="403"/>
                </a:cubicBezTo>
                <a:cubicBezTo>
                  <a:pt x="304" y="398"/>
                  <a:pt x="317" y="391"/>
                  <a:pt x="326" y="383"/>
                </a:cubicBezTo>
                <a:cubicBezTo>
                  <a:pt x="326" y="438"/>
                  <a:pt x="326" y="438"/>
                  <a:pt x="326" y="438"/>
                </a:cubicBezTo>
                <a:cubicBezTo>
                  <a:pt x="326" y="461"/>
                  <a:pt x="262" y="486"/>
                  <a:pt x="170" y="486"/>
                </a:cubicBezTo>
                <a:cubicBezTo>
                  <a:pt x="78" y="486"/>
                  <a:pt x="14" y="461"/>
                  <a:pt x="14" y="438"/>
                </a:cubicBezTo>
                <a:lnTo>
                  <a:pt x="14" y="383"/>
                </a:lnTo>
                <a:close/>
                <a:moveTo>
                  <a:pt x="560" y="158"/>
                </a:moveTo>
                <a:cubicBezTo>
                  <a:pt x="560" y="180"/>
                  <a:pt x="496" y="206"/>
                  <a:pt x="404" y="206"/>
                </a:cubicBezTo>
                <a:cubicBezTo>
                  <a:pt x="312" y="206"/>
                  <a:pt x="248" y="180"/>
                  <a:pt x="248" y="158"/>
                </a:cubicBezTo>
                <a:cubicBezTo>
                  <a:pt x="248" y="89"/>
                  <a:pt x="248" y="89"/>
                  <a:pt x="248" y="89"/>
                </a:cubicBezTo>
                <a:cubicBezTo>
                  <a:pt x="257" y="96"/>
                  <a:pt x="270" y="103"/>
                  <a:pt x="287" y="108"/>
                </a:cubicBezTo>
                <a:cubicBezTo>
                  <a:pt x="318" y="119"/>
                  <a:pt x="360" y="125"/>
                  <a:pt x="404" y="125"/>
                </a:cubicBezTo>
                <a:cubicBezTo>
                  <a:pt x="449" y="125"/>
                  <a:pt x="490" y="119"/>
                  <a:pt x="522" y="108"/>
                </a:cubicBezTo>
                <a:cubicBezTo>
                  <a:pt x="539" y="103"/>
                  <a:pt x="552" y="96"/>
                  <a:pt x="560" y="89"/>
                </a:cubicBezTo>
                <a:lnTo>
                  <a:pt x="560" y="158"/>
                </a:lnTo>
                <a:close/>
                <a:moveTo>
                  <a:pt x="404" y="14"/>
                </a:moveTo>
                <a:cubicBezTo>
                  <a:pt x="496" y="14"/>
                  <a:pt x="560" y="40"/>
                  <a:pt x="560" y="63"/>
                </a:cubicBezTo>
                <a:cubicBezTo>
                  <a:pt x="560" y="85"/>
                  <a:pt x="496" y="111"/>
                  <a:pt x="404" y="111"/>
                </a:cubicBezTo>
                <a:cubicBezTo>
                  <a:pt x="312" y="111"/>
                  <a:pt x="248" y="85"/>
                  <a:pt x="248" y="63"/>
                </a:cubicBezTo>
                <a:cubicBezTo>
                  <a:pt x="248" y="40"/>
                  <a:pt x="312" y="14"/>
                  <a:pt x="404" y="14"/>
                </a:cubicBezTo>
                <a:close/>
                <a:moveTo>
                  <a:pt x="248" y="183"/>
                </a:moveTo>
                <a:cubicBezTo>
                  <a:pt x="257" y="191"/>
                  <a:pt x="270" y="198"/>
                  <a:pt x="287" y="203"/>
                </a:cubicBezTo>
                <a:cubicBezTo>
                  <a:pt x="318" y="214"/>
                  <a:pt x="360" y="220"/>
                  <a:pt x="404" y="220"/>
                </a:cubicBezTo>
                <a:cubicBezTo>
                  <a:pt x="449" y="220"/>
                  <a:pt x="490" y="214"/>
                  <a:pt x="522" y="203"/>
                </a:cubicBezTo>
                <a:cubicBezTo>
                  <a:pt x="539" y="198"/>
                  <a:pt x="552" y="191"/>
                  <a:pt x="560" y="183"/>
                </a:cubicBezTo>
                <a:cubicBezTo>
                  <a:pt x="560" y="243"/>
                  <a:pt x="560" y="243"/>
                  <a:pt x="560" y="243"/>
                </a:cubicBezTo>
                <a:cubicBezTo>
                  <a:pt x="560" y="266"/>
                  <a:pt x="496" y="291"/>
                  <a:pt x="404" y="291"/>
                </a:cubicBezTo>
                <a:cubicBezTo>
                  <a:pt x="382" y="291"/>
                  <a:pt x="360" y="290"/>
                  <a:pt x="340" y="287"/>
                </a:cubicBezTo>
                <a:cubicBezTo>
                  <a:pt x="340" y="268"/>
                  <a:pt x="340" y="268"/>
                  <a:pt x="340" y="268"/>
                </a:cubicBezTo>
                <a:cubicBezTo>
                  <a:pt x="340" y="250"/>
                  <a:pt x="322" y="234"/>
                  <a:pt x="288" y="223"/>
                </a:cubicBezTo>
                <a:cubicBezTo>
                  <a:pt x="276" y="219"/>
                  <a:pt x="262" y="215"/>
                  <a:pt x="248" y="213"/>
                </a:cubicBezTo>
                <a:lnTo>
                  <a:pt x="248" y="183"/>
                </a:lnTo>
                <a:close/>
                <a:moveTo>
                  <a:pt x="170" y="220"/>
                </a:moveTo>
                <a:cubicBezTo>
                  <a:pt x="196" y="220"/>
                  <a:pt x="219" y="222"/>
                  <a:pt x="239" y="225"/>
                </a:cubicBezTo>
                <a:cubicBezTo>
                  <a:pt x="240" y="225"/>
                  <a:pt x="240" y="226"/>
                  <a:pt x="240" y="226"/>
                </a:cubicBezTo>
                <a:cubicBezTo>
                  <a:pt x="293" y="234"/>
                  <a:pt x="326" y="252"/>
                  <a:pt x="326" y="268"/>
                </a:cubicBezTo>
                <a:cubicBezTo>
                  <a:pt x="326" y="291"/>
                  <a:pt x="262" y="317"/>
                  <a:pt x="170" y="317"/>
                </a:cubicBezTo>
                <a:cubicBezTo>
                  <a:pt x="78" y="317"/>
                  <a:pt x="14" y="291"/>
                  <a:pt x="14" y="268"/>
                </a:cubicBezTo>
                <a:cubicBezTo>
                  <a:pt x="14" y="246"/>
                  <a:pt x="78" y="220"/>
                  <a:pt x="170" y="220"/>
                </a:cubicBezTo>
                <a:close/>
                <a:moveTo>
                  <a:pt x="170" y="567"/>
                </a:moveTo>
                <a:cubicBezTo>
                  <a:pt x="78" y="567"/>
                  <a:pt x="14" y="542"/>
                  <a:pt x="14" y="519"/>
                </a:cubicBezTo>
                <a:cubicBezTo>
                  <a:pt x="14" y="464"/>
                  <a:pt x="14" y="464"/>
                  <a:pt x="14" y="464"/>
                </a:cubicBezTo>
                <a:cubicBezTo>
                  <a:pt x="23" y="472"/>
                  <a:pt x="36" y="478"/>
                  <a:pt x="52" y="484"/>
                </a:cubicBezTo>
                <a:cubicBezTo>
                  <a:pt x="84" y="495"/>
                  <a:pt x="126" y="500"/>
                  <a:pt x="170" y="500"/>
                </a:cubicBezTo>
                <a:cubicBezTo>
                  <a:pt x="214" y="500"/>
                  <a:pt x="256" y="495"/>
                  <a:pt x="288" y="484"/>
                </a:cubicBezTo>
                <a:cubicBezTo>
                  <a:pt x="304" y="478"/>
                  <a:pt x="317" y="472"/>
                  <a:pt x="326" y="464"/>
                </a:cubicBezTo>
                <a:cubicBezTo>
                  <a:pt x="326" y="519"/>
                  <a:pt x="326" y="519"/>
                  <a:pt x="326" y="519"/>
                </a:cubicBezTo>
                <a:cubicBezTo>
                  <a:pt x="326" y="542"/>
                  <a:pt x="262" y="567"/>
                  <a:pt x="170" y="567"/>
                </a:cubicBezTo>
                <a:close/>
                <a:moveTo>
                  <a:pt x="404" y="458"/>
                </a:moveTo>
                <a:cubicBezTo>
                  <a:pt x="382" y="458"/>
                  <a:pt x="360" y="456"/>
                  <a:pt x="340" y="453"/>
                </a:cubicBezTo>
                <a:cubicBezTo>
                  <a:pt x="340" y="387"/>
                  <a:pt x="340" y="387"/>
                  <a:pt x="340" y="387"/>
                </a:cubicBezTo>
                <a:cubicBezTo>
                  <a:pt x="361" y="389"/>
                  <a:pt x="382" y="391"/>
                  <a:pt x="404" y="391"/>
                </a:cubicBezTo>
                <a:cubicBezTo>
                  <a:pt x="449" y="391"/>
                  <a:pt x="490" y="385"/>
                  <a:pt x="522" y="374"/>
                </a:cubicBezTo>
                <a:cubicBezTo>
                  <a:pt x="539" y="369"/>
                  <a:pt x="552" y="362"/>
                  <a:pt x="560" y="355"/>
                </a:cubicBezTo>
                <a:cubicBezTo>
                  <a:pt x="560" y="410"/>
                  <a:pt x="560" y="410"/>
                  <a:pt x="560" y="410"/>
                </a:cubicBezTo>
                <a:cubicBezTo>
                  <a:pt x="560" y="432"/>
                  <a:pt x="496" y="458"/>
                  <a:pt x="404" y="45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1" name="Oval 20"/>
          <p:cNvSpPr>
            <a:spLocks noChangeArrowheads="1"/>
          </p:cNvSpPr>
          <p:nvPr/>
        </p:nvSpPr>
        <p:spPr bwMode="auto">
          <a:xfrm>
            <a:off x="2259614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b="1" dirty="0"/>
          </a:p>
        </p:txBody>
      </p:sp>
      <p:sp>
        <p:nvSpPr>
          <p:cNvPr id="8215" name="Freeform 106"/>
          <p:cNvSpPr>
            <a:spLocks noEditPoints="1"/>
          </p:cNvSpPr>
          <p:nvPr/>
        </p:nvSpPr>
        <p:spPr bwMode="auto">
          <a:xfrm>
            <a:off x="2392899" y="1250950"/>
            <a:ext cx="556393" cy="521507"/>
          </a:xfrm>
          <a:custGeom>
            <a:avLst/>
            <a:gdLst>
              <a:gd name="T0" fmla="*/ 439 w 719"/>
              <a:gd name="T1" fmla="*/ 63 h 674"/>
              <a:gd name="T2" fmla="*/ 312 w 719"/>
              <a:gd name="T3" fmla="*/ 63 h 674"/>
              <a:gd name="T4" fmla="*/ 375 w 719"/>
              <a:gd name="T5" fmla="*/ 14 h 674"/>
              <a:gd name="T6" fmla="*/ 375 w 719"/>
              <a:gd name="T7" fmla="*/ 113 h 674"/>
              <a:gd name="T8" fmla="*/ 375 w 719"/>
              <a:gd name="T9" fmla="*/ 14 h 674"/>
              <a:gd name="T10" fmla="*/ 614 w 719"/>
              <a:gd name="T11" fmla="*/ 293 h 674"/>
              <a:gd name="T12" fmla="*/ 519 w 719"/>
              <a:gd name="T13" fmla="*/ 143 h 674"/>
              <a:gd name="T14" fmla="*/ 375 w 719"/>
              <a:gd name="T15" fmla="*/ 166 h 674"/>
              <a:gd name="T16" fmla="*/ 111 w 719"/>
              <a:gd name="T17" fmla="*/ 385 h 674"/>
              <a:gd name="T18" fmla="*/ 14 w 719"/>
              <a:gd name="T19" fmla="*/ 303 h 674"/>
              <a:gd name="T20" fmla="*/ 103 w 719"/>
              <a:gd name="T21" fmla="*/ 214 h 674"/>
              <a:gd name="T22" fmla="*/ 0 w 719"/>
              <a:gd name="T23" fmla="*/ 303 h 674"/>
              <a:gd name="T24" fmla="*/ 110 w 719"/>
              <a:gd name="T25" fmla="*/ 399 h 674"/>
              <a:gd name="T26" fmla="*/ 176 w 719"/>
              <a:gd name="T27" fmla="*/ 549 h 674"/>
              <a:gd name="T28" fmla="*/ 225 w 719"/>
              <a:gd name="T29" fmla="*/ 669 h 674"/>
              <a:gd name="T30" fmla="*/ 330 w 719"/>
              <a:gd name="T31" fmla="*/ 623 h 674"/>
              <a:gd name="T32" fmla="*/ 499 w 719"/>
              <a:gd name="T33" fmla="*/ 674 h 674"/>
              <a:gd name="T34" fmla="*/ 527 w 719"/>
              <a:gd name="T35" fmla="*/ 669 h 674"/>
              <a:gd name="T36" fmla="*/ 575 w 719"/>
              <a:gd name="T37" fmla="*/ 548 h 674"/>
              <a:gd name="T38" fmla="*/ 648 w 719"/>
              <a:gd name="T39" fmla="*/ 499 h 674"/>
              <a:gd name="T40" fmla="*/ 648 w 719"/>
              <a:gd name="T41" fmla="*/ 293 h 674"/>
              <a:gd name="T42" fmla="*/ 610 w 719"/>
              <a:gd name="T43" fmla="*/ 485 h 674"/>
              <a:gd name="T44" fmla="*/ 562 w 719"/>
              <a:gd name="T45" fmla="*/ 541 h 674"/>
              <a:gd name="T46" fmla="*/ 566 w 719"/>
              <a:gd name="T47" fmla="*/ 566 h 674"/>
              <a:gd name="T48" fmla="*/ 499 w 719"/>
              <a:gd name="T49" fmla="*/ 660 h 674"/>
              <a:gd name="T50" fmla="*/ 499 w 719"/>
              <a:gd name="T51" fmla="*/ 660 h 674"/>
              <a:gd name="T52" fmla="*/ 426 w 719"/>
              <a:gd name="T53" fmla="*/ 608 h 674"/>
              <a:gd name="T54" fmla="*/ 327 w 719"/>
              <a:gd name="T55" fmla="*/ 608 h 674"/>
              <a:gd name="T56" fmla="*/ 252 w 719"/>
              <a:gd name="T57" fmla="*/ 660 h 674"/>
              <a:gd name="T58" fmla="*/ 185 w 719"/>
              <a:gd name="T59" fmla="*/ 566 h 674"/>
              <a:gd name="T60" fmla="*/ 189 w 719"/>
              <a:gd name="T61" fmla="*/ 542 h 674"/>
              <a:gd name="T62" fmla="*/ 177 w 719"/>
              <a:gd name="T63" fmla="*/ 256 h 674"/>
              <a:gd name="T64" fmla="*/ 459 w 719"/>
              <a:gd name="T65" fmla="*/ 192 h 674"/>
              <a:gd name="T66" fmla="*/ 514 w 719"/>
              <a:gd name="T67" fmla="*/ 157 h 674"/>
              <a:gd name="T68" fmla="*/ 547 w 719"/>
              <a:gd name="T69" fmla="*/ 233 h 674"/>
              <a:gd name="T70" fmla="*/ 604 w 719"/>
              <a:gd name="T71" fmla="*/ 304 h 674"/>
              <a:gd name="T72" fmla="*/ 648 w 719"/>
              <a:gd name="T73" fmla="*/ 307 h 674"/>
              <a:gd name="T74" fmla="*/ 648 w 719"/>
              <a:gd name="T75" fmla="*/ 485 h 674"/>
              <a:gd name="T76" fmla="*/ 477 w 719"/>
              <a:gd name="T77" fmla="*/ 269 h 674"/>
              <a:gd name="T78" fmla="*/ 375 w 719"/>
              <a:gd name="T79" fmla="*/ 240 h 674"/>
              <a:gd name="T80" fmla="*/ 267 w 719"/>
              <a:gd name="T81" fmla="*/ 265 h 674"/>
              <a:gd name="T82" fmla="*/ 375 w 719"/>
              <a:gd name="T83" fmla="*/ 226 h 674"/>
              <a:gd name="T84" fmla="*/ 483 w 719"/>
              <a:gd name="T85" fmla="*/ 265 h 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19" h="674">
                <a:moveTo>
                  <a:pt x="375" y="127"/>
                </a:moveTo>
                <a:cubicBezTo>
                  <a:pt x="410" y="127"/>
                  <a:pt x="439" y="98"/>
                  <a:pt x="439" y="63"/>
                </a:cubicBezTo>
                <a:cubicBezTo>
                  <a:pt x="439" y="28"/>
                  <a:pt x="410" y="0"/>
                  <a:pt x="375" y="0"/>
                </a:cubicBezTo>
                <a:cubicBezTo>
                  <a:pt x="340" y="0"/>
                  <a:pt x="312" y="28"/>
                  <a:pt x="312" y="63"/>
                </a:cubicBezTo>
                <a:cubicBezTo>
                  <a:pt x="312" y="98"/>
                  <a:pt x="340" y="127"/>
                  <a:pt x="375" y="127"/>
                </a:cubicBezTo>
                <a:close/>
                <a:moveTo>
                  <a:pt x="375" y="14"/>
                </a:moveTo>
                <a:cubicBezTo>
                  <a:pt x="403" y="14"/>
                  <a:pt x="425" y="36"/>
                  <a:pt x="425" y="63"/>
                </a:cubicBezTo>
                <a:cubicBezTo>
                  <a:pt x="425" y="90"/>
                  <a:pt x="403" y="113"/>
                  <a:pt x="375" y="113"/>
                </a:cubicBezTo>
                <a:cubicBezTo>
                  <a:pt x="348" y="113"/>
                  <a:pt x="326" y="90"/>
                  <a:pt x="326" y="63"/>
                </a:cubicBezTo>
                <a:cubicBezTo>
                  <a:pt x="326" y="36"/>
                  <a:pt x="348" y="14"/>
                  <a:pt x="375" y="14"/>
                </a:cubicBezTo>
                <a:close/>
                <a:moveTo>
                  <a:pt x="648" y="293"/>
                </a:moveTo>
                <a:cubicBezTo>
                  <a:pt x="614" y="293"/>
                  <a:pt x="614" y="293"/>
                  <a:pt x="614" y="293"/>
                </a:cubicBezTo>
                <a:cubicBezTo>
                  <a:pt x="601" y="270"/>
                  <a:pt x="583" y="249"/>
                  <a:pt x="561" y="230"/>
                </a:cubicBezTo>
                <a:cubicBezTo>
                  <a:pt x="562" y="194"/>
                  <a:pt x="558" y="148"/>
                  <a:pt x="519" y="143"/>
                </a:cubicBezTo>
                <a:cubicBezTo>
                  <a:pt x="499" y="141"/>
                  <a:pt x="478" y="152"/>
                  <a:pt x="458" y="177"/>
                </a:cubicBezTo>
                <a:cubicBezTo>
                  <a:pt x="431" y="169"/>
                  <a:pt x="404" y="166"/>
                  <a:pt x="375" y="166"/>
                </a:cubicBezTo>
                <a:cubicBezTo>
                  <a:pt x="290" y="166"/>
                  <a:pt x="214" y="195"/>
                  <a:pt x="167" y="246"/>
                </a:cubicBezTo>
                <a:cubicBezTo>
                  <a:pt x="133" y="283"/>
                  <a:pt x="114" y="330"/>
                  <a:pt x="111" y="385"/>
                </a:cubicBezTo>
                <a:cubicBezTo>
                  <a:pt x="96" y="385"/>
                  <a:pt x="96" y="385"/>
                  <a:pt x="96" y="385"/>
                </a:cubicBezTo>
                <a:cubicBezTo>
                  <a:pt x="51" y="385"/>
                  <a:pt x="14" y="348"/>
                  <a:pt x="14" y="303"/>
                </a:cubicBezTo>
                <a:cubicBezTo>
                  <a:pt x="14" y="258"/>
                  <a:pt x="51" y="221"/>
                  <a:pt x="96" y="221"/>
                </a:cubicBezTo>
                <a:cubicBezTo>
                  <a:pt x="100" y="221"/>
                  <a:pt x="103" y="218"/>
                  <a:pt x="103" y="214"/>
                </a:cubicBezTo>
                <a:cubicBezTo>
                  <a:pt x="103" y="210"/>
                  <a:pt x="100" y="207"/>
                  <a:pt x="96" y="207"/>
                </a:cubicBezTo>
                <a:cubicBezTo>
                  <a:pt x="43" y="207"/>
                  <a:pt x="0" y="250"/>
                  <a:pt x="0" y="303"/>
                </a:cubicBezTo>
                <a:cubicBezTo>
                  <a:pt x="0" y="356"/>
                  <a:pt x="43" y="399"/>
                  <a:pt x="96" y="399"/>
                </a:cubicBezTo>
                <a:cubicBezTo>
                  <a:pt x="110" y="399"/>
                  <a:pt x="110" y="399"/>
                  <a:pt x="110" y="399"/>
                </a:cubicBezTo>
                <a:cubicBezTo>
                  <a:pt x="110" y="409"/>
                  <a:pt x="111" y="419"/>
                  <a:pt x="111" y="429"/>
                </a:cubicBezTo>
                <a:cubicBezTo>
                  <a:pt x="115" y="470"/>
                  <a:pt x="137" y="511"/>
                  <a:pt x="176" y="549"/>
                </a:cubicBezTo>
                <a:cubicBezTo>
                  <a:pt x="172" y="561"/>
                  <a:pt x="172" y="561"/>
                  <a:pt x="172" y="561"/>
                </a:cubicBezTo>
                <a:cubicBezTo>
                  <a:pt x="157" y="605"/>
                  <a:pt x="181" y="654"/>
                  <a:pt x="225" y="669"/>
                </a:cubicBezTo>
                <a:cubicBezTo>
                  <a:pt x="234" y="672"/>
                  <a:pt x="243" y="674"/>
                  <a:pt x="252" y="674"/>
                </a:cubicBezTo>
                <a:cubicBezTo>
                  <a:pt x="286" y="674"/>
                  <a:pt x="317" y="653"/>
                  <a:pt x="330" y="623"/>
                </a:cubicBezTo>
                <a:cubicBezTo>
                  <a:pt x="361" y="627"/>
                  <a:pt x="391" y="627"/>
                  <a:pt x="421" y="622"/>
                </a:cubicBezTo>
                <a:cubicBezTo>
                  <a:pt x="435" y="653"/>
                  <a:pt x="465" y="674"/>
                  <a:pt x="499" y="674"/>
                </a:cubicBezTo>
                <a:cubicBezTo>
                  <a:pt x="499" y="674"/>
                  <a:pt x="499" y="674"/>
                  <a:pt x="499" y="674"/>
                </a:cubicBezTo>
                <a:cubicBezTo>
                  <a:pt x="509" y="674"/>
                  <a:pt x="518" y="672"/>
                  <a:pt x="527" y="669"/>
                </a:cubicBezTo>
                <a:cubicBezTo>
                  <a:pt x="571" y="654"/>
                  <a:pt x="595" y="605"/>
                  <a:pt x="580" y="561"/>
                </a:cubicBezTo>
                <a:cubicBezTo>
                  <a:pt x="575" y="548"/>
                  <a:pt x="575" y="548"/>
                  <a:pt x="575" y="548"/>
                </a:cubicBezTo>
                <a:cubicBezTo>
                  <a:pt x="590" y="533"/>
                  <a:pt x="603" y="517"/>
                  <a:pt x="614" y="499"/>
                </a:cubicBezTo>
                <a:cubicBezTo>
                  <a:pt x="648" y="499"/>
                  <a:pt x="648" y="499"/>
                  <a:pt x="648" y="499"/>
                </a:cubicBezTo>
                <a:cubicBezTo>
                  <a:pt x="688" y="499"/>
                  <a:pt x="719" y="455"/>
                  <a:pt x="719" y="396"/>
                </a:cubicBezTo>
                <a:cubicBezTo>
                  <a:pt x="719" y="338"/>
                  <a:pt x="688" y="293"/>
                  <a:pt x="648" y="293"/>
                </a:cubicBezTo>
                <a:close/>
                <a:moveTo>
                  <a:pt x="648" y="485"/>
                </a:moveTo>
                <a:cubicBezTo>
                  <a:pt x="610" y="485"/>
                  <a:pt x="610" y="485"/>
                  <a:pt x="610" y="485"/>
                </a:cubicBezTo>
                <a:cubicBezTo>
                  <a:pt x="607" y="485"/>
                  <a:pt x="605" y="486"/>
                  <a:pt x="603" y="489"/>
                </a:cubicBezTo>
                <a:cubicBezTo>
                  <a:pt x="593" y="508"/>
                  <a:pt x="579" y="525"/>
                  <a:pt x="562" y="541"/>
                </a:cubicBezTo>
                <a:cubicBezTo>
                  <a:pt x="560" y="543"/>
                  <a:pt x="559" y="546"/>
                  <a:pt x="560" y="548"/>
                </a:cubicBezTo>
                <a:cubicBezTo>
                  <a:pt x="566" y="566"/>
                  <a:pt x="566" y="566"/>
                  <a:pt x="566" y="566"/>
                </a:cubicBezTo>
                <a:cubicBezTo>
                  <a:pt x="579" y="603"/>
                  <a:pt x="559" y="643"/>
                  <a:pt x="522" y="656"/>
                </a:cubicBezTo>
                <a:cubicBezTo>
                  <a:pt x="515" y="658"/>
                  <a:pt x="507" y="660"/>
                  <a:pt x="499" y="660"/>
                </a:cubicBezTo>
                <a:cubicBezTo>
                  <a:pt x="499" y="667"/>
                  <a:pt x="499" y="667"/>
                  <a:pt x="499" y="667"/>
                </a:cubicBezTo>
                <a:cubicBezTo>
                  <a:pt x="499" y="660"/>
                  <a:pt x="499" y="660"/>
                  <a:pt x="499" y="660"/>
                </a:cubicBezTo>
                <a:cubicBezTo>
                  <a:pt x="469" y="660"/>
                  <a:pt x="442" y="641"/>
                  <a:pt x="432" y="612"/>
                </a:cubicBezTo>
                <a:cubicBezTo>
                  <a:pt x="431" y="609"/>
                  <a:pt x="429" y="608"/>
                  <a:pt x="426" y="608"/>
                </a:cubicBezTo>
                <a:cubicBezTo>
                  <a:pt x="425" y="608"/>
                  <a:pt x="425" y="608"/>
                  <a:pt x="425" y="608"/>
                </a:cubicBezTo>
                <a:cubicBezTo>
                  <a:pt x="393" y="613"/>
                  <a:pt x="360" y="613"/>
                  <a:pt x="327" y="608"/>
                </a:cubicBezTo>
                <a:cubicBezTo>
                  <a:pt x="324" y="607"/>
                  <a:pt x="320" y="609"/>
                  <a:pt x="319" y="612"/>
                </a:cubicBezTo>
                <a:cubicBezTo>
                  <a:pt x="309" y="641"/>
                  <a:pt x="282" y="660"/>
                  <a:pt x="252" y="660"/>
                </a:cubicBezTo>
                <a:cubicBezTo>
                  <a:pt x="245" y="660"/>
                  <a:pt x="237" y="658"/>
                  <a:pt x="230" y="656"/>
                </a:cubicBezTo>
                <a:cubicBezTo>
                  <a:pt x="193" y="643"/>
                  <a:pt x="173" y="603"/>
                  <a:pt x="185" y="566"/>
                </a:cubicBezTo>
                <a:cubicBezTo>
                  <a:pt x="191" y="549"/>
                  <a:pt x="191" y="549"/>
                  <a:pt x="191" y="549"/>
                </a:cubicBezTo>
                <a:cubicBezTo>
                  <a:pt x="192" y="547"/>
                  <a:pt x="191" y="544"/>
                  <a:pt x="189" y="542"/>
                </a:cubicBezTo>
                <a:cubicBezTo>
                  <a:pt x="162" y="517"/>
                  <a:pt x="130" y="477"/>
                  <a:pt x="125" y="428"/>
                </a:cubicBezTo>
                <a:cubicBezTo>
                  <a:pt x="119" y="357"/>
                  <a:pt x="137" y="300"/>
                  <a:pt x="177" y="256"/>
                </a:cubicBezTo>
                <a:cubicBezTo>
                  <a:pt x="221" y="207"/>
                  <a:pt x="294" y="180"/>
                  <a:pt x="375" y="180"/>
                </a:cubicBezTo>
                <a:cubicBezTo>
                  <a:pt x="404" y="180"/>
                  <a:pt x="432" y="184"/>
                  <a:pt x="459" y="192"/>
                </a:cubicBezTo>
                <a:cubicBezTo>
                  <a:pt x="462" y="193"/>
                  <a:pt x="465" y="192"/>
                  <a:pt x="467" y="189"/>
                </a:cubicBezTo>
                <a:cubicBezTo>
                  <a:pt x="477" y="174"/>
                  <a:pt x="494" y="157"/>
                  <a:pt x="514" y="157"/>
                </a:cubicBezTo>
                <a:cubicBezTo>
                  <a:pt x="515" y="157"/>
                  <a:pt x="516" y="157"/>
                  <a:pt x="518" y="157"/>
                </a:cubicBezTo>
                <a:cubicBezTo>
                  <a:pt x="539" y="160"/>
                  <a:pt x="548" y="184"/>
                  <a:pt x="547" y="233"/>
                </a:cubicBezTo>
                <a:cubicBezTo>
                  <a:pt x="547" y="236"/>
                  <a:pt x="548" y="238"/>
                  <a:pt x="549" y="239"/>
                </a:cubicBezTo>
                <a:cubicBezTo>
                  <a:pt x="572" y="258"/>
                  <a:pt x="591" y="280"/>
                  <a:pt x="604" y="304"/>
                </a:cubicBezTo>
                <a:cubicBezTo>
                  <a:pt x="605" y="306"/>
                  <a:pt x="608" y="307"/>
                  <a:pt x="610" y="307"/>
                </a:cubicBezTo>
                <a:cubicBezTo>
                  <a:pt x="648" y="307"/>
                  <a:pt x="648" y="307"/>
                  <a:pt x="648" y="307"/>
                </a:cubicBezTo>
                <a:cubicBezTo>
                  <a:pt x="680" y="307"/>
                  <a:pt x="705" y="346"/>
                  <a:pt x="705" y="396"/>
                </a:cubicBezTo>
                <a:cubicBezTo>
                  <a:pt x="705" y="447"/>
                  <a:pt x="680" y="485"/>
                  <a:pt x="648" y="485"/>
                </a:cubicBezTo>
                <a:close/>
                <a:moveTo>
                  <a:pt x="483" y="265"/>
                </a:moveTo>
                <a:cubicBezTo>
                  <a:pt x="482" y="268"/>
                  <a:pt x="480" y="269"/>
                  <a:pt x="477" y="269"/>
                </a:cubicBezTo>
                <a:cubicBezTo>
                  <a:pt x="476" y="269"/>
                  <a:pt x="475" y="268"/>
                  <a:pt x="474" y="268"/>
                </a:cubicBezTo>
                <a:cubicBezTo>
                  <a:pt x="445" y="250"/>
                  <a:pt x="411" y="240"/>
                  <a:pt x="375" y="240"/>
                </a:cubicBezTo>
                <a:cubicBezTo>
                  <a:pt x="340" y="240"/>
                  <a:pt x="306" y="250"/>
                  <a:pt x="277" y="268"/>
                </a:cubicBezTo>
                <a:cubicBezTo>
                  <a:pt x="274" y="270"/>
                  <a:pt x="269" y="269"/>
                  <a:pt x="267" y="265"/>
                </a:cubicBezTo>
                <a:cubicBezTo>
                  <a:pt x="265" y="262"/>
                  <a:pt x="266" y="258"/>
                  <a:pt x="270" y="256"/>
                </a:cubicBezTo>
                <a:cubicBezTo>
                  <a:pt x="301" y="236"/>
                  <a:pt x="337" y="226"/>
                  <a:pt x="375" y="226"/>
                </a:cubicBezTo>
                <a:cubicBezTo>
                  <a:pt x="414" y="226"/>
                  <a:pt x="450" y="236"/>
                  <a:pt x="481" y="256"/>
                </a:cubicBezTo>
                <a:cubicBezTo>
                  <a:pt x="484" y="258"/>
                  <a:pt x="485" y="262"/>
                  <a:pt x="483" y="2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3" name="Oval 32"/>
          <p:cNvSpPr>
            <a:spLocks noChangeArrowheads="1"/>
          </p:cNvSpPr>
          <p:nvPr/>
        </p:nvSpPr>
        <p:spPr bwMode="auto">
          <a:xfrm>
            <a:off x="4845101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18" name="Freeform 109"/>
          <p:cNvSpPr>
            <a:spLocks noEditPoints="1"/>
          </p:cNvSpPr>
          <p:nvPr/>
        </p:nvSpPr>
        <p:spPr bwMode="auto">
          <a:xfrm>
            <a:off x="5032951" y="2455853"/>
            <a:ext cx="447261" cy="500038"/>
          </a:xfrm>
          <a:custGeom>
            <a:avLst/>
            <a:gdLst>
              <a:gd name="T0" fmla="*/ 240 w 577"/>
              <a:gd name="T1" fmla="*/ 524 h 646"/>
              <a:gd name="T2" fmla="*/ 300 w 577"/>
              <a:gd name="T3" fmla="*/ 317 h 646"/>
              <a:gd name="T4" fmla="*/ 364 w 577"/>
              <a:gd name="T5" fmla="*/ 352 h 646"/>
              <a:gd name="T6" fmla="*/ 354 w 577"/>
              <a:gd name="T7" fmla="*/ 362 h 646"/>
              <a:gd name="T8" fmla="*/ 300 w 577"/>
              <a:gd name="T9" fmla="*/ 331 h 646"/>
              <a:gd name="T10" fmla="*/ 254 w 577"/>
              <a:gd name="T11" fmla="*/ 524 h 646"/>
              <a:gd name="T12" fmla="*/ 372 w 577"/>
              <a:gd name="T13" fmla="*/ 524 h 646"/>
              <a:gd name="T14" fmla="*/ 211 w 577"/>
              <a:gd name="T15" fmla="*/ 517 h 646"/>
              <a:gd name="T16" fmla="*/ 211 w 577"/>
              <a:gd name="T17" fmla="*/ 531 h 646"/>
              <a:gd name="T18" fmla="*/ 372 w 577"/>
              <a:gd name="T19" fmla="*/ 524 h 646"/>
              <a:gd name="T20" fmla="*/ 336 w 577"/>
              <a:gd name="T21" fmla="*/ 422 h 646"/>
              <a:gd name="T22" fmla="*/ 204 w 577"/>
              <a:gd name="T23" fmla="*/ 429 h 646"/>
              <a:gd name="T24" fmla="*/ 336 w 577"/>
              <a:gd name="T25" fmla="*/ 436 h 646"/>
              <a:gd name="T26" fmla="*/ 364 w 577"/>
              <a:gd name="T27" fmla="*/ 219 h 646"/>
              <a:gd name="T28" fmla="*/ 350 w 577"/>
              <a:gd name="T29" fmla="*/ 216 h 646"/>
              <a:gd name="T30" fmla="*/ 226 w 577"/>
              <a:gd name="T31" fmla="*/ 216 h 646"/>
              <a:gd name="T32" fmla="*/ 213 w 577"/>
              <a:gd name="T33" fmla="*/ 219 h 646"/>
              <a:gd name="T34" fmla="*/ 364 w 577"/>
              <a:gd name="T35" fmla="*/ 219 h 646"/>
              <a:gd name="T36" fmla="*/ 364 w 577"/>
              <a:gd name="T37" fmla="*/ 213 h 646"/>
              <a:gd name="T38" fmla="*/ 447 w 577"/>
              <a:gd name="T39" fmla="*/ 80 h 646"/>
              <a:gd name="T40" fmla="*/ 430 w 577"/>
              <a:gd name="T41" fmla="*/ 37 h 646"/>
              <a:gd name="T42" fmla="*/ 377 w 577"/>
              <a:gd name="T43" fmla="*/ 51 h 646"/>
              <a:gd name="T44" fmla="*/ 341 w 577"/>
              <a:gd name="T45" fmla="*/ 28 h 646"/>
              <a:gd name="T46" fmla="*/ 236 w 577"/>
              <a:gd name="T47" fmla="*/ 28 h 646"/>
              <a:gd name="T48" fmla="*/ 200 w 577"/>
              <a:gd name="T49" fmla="*/ 51 h 646"/>
              <a:gd name="T50" fmla="*/ 184 w 577"/>
              <a:gd name="T51" fmla="*/ 47 h 646"/>
              <a:gd name="T52" fmla="*/ 119 w 577"/>
              <a:gd name="T53" fmla="*/ 51 h 646"/>
              <a:gd name="T54" fmla="*/ 133 w 577"/>
              <a:gd name="T55" fmla="*/ 83 h 646"/>
              <a:gd name="T56" fmla="*/ 0 w 577"/>
              <a:gd name="T57" fmla="*/ 462 h 646"/>
              <a:gd name="T58" fmla="*/ 577 w 577"/>
              <a:gd name="T59" fmla="*/ 462 h 646"/>
              <a:gd name="T60" fmla="*/ 200 w 577"/>
              <a:gd name="T61" fmla="*/ 65 h 646"/>
              <a:gd name="T62" fmla="*/ 243 w 577"/>
              <a:gd name="T63" fmla="*/ 41 h 646"/>
              <a:gd name="T64" fmla="*/ 288 w 577"/>
              <a:gd name="T65" fmla="*/ 14 h 646"/>
              <a:gd name="T66" fmla="*/ 334 w 577"/>
              <a:gd name="T67" fmla="*/ 41 h 646"/>
              <a:gd name="T68" fmla="*/ 398 w 577"/>
              <a:gd name="T69" fmla="*/ 59 h 646"/>
              <a:gd name="T70" fmla="*/ 445 w 577"/>
              <a:gd name="T71" fmla="*/ 56 h 646"/>
              <a:gd name="T72" fmla="*/ 434 w 577"/>
              <a:gd name="T73" fmla="*/ 72 h 646"/>
              <a:gd name="T74" fmla="*/ 355 w 577"/>
              <a:gd name="T75" fmla="*/ 224 h 646"/>
              <a:gd name="T76" fmla="*/ 288 w 577"/>
              <a:gd name="T77" fmla="*/ 632 h 646"/>
              <a:gd name="T78" fmla="*/ 222 w 577"/>
              <a:gd name="T79" fmla="*/ 224 h 646"/>
              <a:gd name="T80" fmla="*/ 142 w 577"/>
              <a:gd name="T81" fmla="*/ 72 h 646"/>
              <a:gd name="T82" fmla="*/ 132 w 577"/>
              <a:gd name="T83" fmla="*/ 56 h 646"/>
              <a:gd name="T84" fmla="*/ 178 w 577"/>
              <a:gd name="T85" fmla="*/ 59 h 6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77" h="646">
                <a:moveTo>
                  <a:pt x="247" y="531"/>
                </a:moveTo>
                <a:cubicBezTo>
                  <a:pt x="243" y="531"/>
                  <a:pt x="240" y="528"/>
                  <a:pt x="240" y="524"/>
                </a:cubicBezTo>
                <a:cubicBezTo>
                  <a:pt x="240" y="382"/>
                  <a:pt x="240" y="382"/>
                  <a:pt x="240" y="382"/>
                </a:cubicBezTo>
                <a:cubicBezTo>
                  <a:pt x="240" y="343"/>
                  <a:pt x="264" y="317"/>
                  <a:pt x="300" y="317"/>
                </a:cubicBezTo>
                <a:cubicBezTo>
                  <a:pt x="333" y="317"/>
                  <a:pt x="345" y="331"/>
                  <a:pt x="360" y="347"/>
                </a:cubicBezTo>
                <a:cubicBezTo>
                  <a:pt x="361" y="349"/>
                  <a:pt x="363" y="350"/>
                  <a:pt x="364" y="352"/>
                </a:cubicBezTo>
                <a:cubicBezTo>
                  <a:pt x="367" y="355"/>
                  <a:pt x="367" y="359"/>
                  <a:pt x="364" y="362"/>
                </a:cubicBezTo>
                <a:cubicBezTo>
                  <a:pt x="361" y="365"/>
                  <a:pt x="357" y="364"/>
                  <a:pt x="354" y="362"/>
                </a:cubicBezTo>
                <a:cubicBezTo>
                  <a:pt x="352" y="360"/>
                  <a:pt x="351" y="358"/>
                  <a:pt x="349" y="356"/>
                </a:cubicBezTo>
                <a:cubicBezTo>
                  <a:pt x="335" y="340"/>
                  <a:pt x="327" y="331"/>
                  <a:pt x="300" y="331"/>
                </a:cubicBezTo>
                <a:cubicBezTo>
                  <a:pt x="271" y="331"/>
                  <a:pt x="254" y="350"/>
                  <a:pt x="254" y="382"/>
                </a:cubicBezTo>
                <a:cubicBezTo>
                  <a:pt x="254" y="524"/>
                  <a:pt x="254" y="524"/>
                  <a:pt x="254" y="524"/>
                </a:cubicBezTo>
                <a:cubicBezTo>
                  <a:pt x="254" y="528"/>
                  <a:pt x="251" y="531"/>
                  <a:pt x="247" y="531"/>
                </a:cubicBezTo>
                <a:close/>
                <a:moveTo>
                  <a:pt x="372" y="524"/>
                </a:moveTo>
                <a:cubicBezTo>
                  <a:pt x="372" y="520"/>
                  <a:pt x="369" y="517"/>
                  <a:pt x="365" y="517"/>
                </a:cubicBezTo>
                <a:cubicBezTo>
                  <a:pt x="211" y="517"/>
                  <a:pt x="211" y="517"/>
                  <a:pt x="211" y="517"/>
                </a:cubicBezTo>
                <a:cubicBezTo>
                  <a:pt x="208" y="517"/>
                  <a:pt x="204" y="520"/>
                  <a:pt x="204" y="524"/>
                </a:cubicBezTo>
                <a:cubicBezTo>
                  <a:pt x="204" y="528"/>
                  <a:pt x="208" y="531"/>
                  <a:pt x="211" y="531"/>
                </a:cubicBezTo>
                <a:cubicBezTo>
                  <a:pt x="365" y="531"/>
                  <a:pt x="365" y="531"/>
                  <a:pt x="365" y="531"/>
                </a:cubicBezTo>
                <a:cubicBezTo>
                  <a:pt x="369" y="531"/>
                  <a:pt x="372" y="528"/>
                  <a:pt x="372" y="524"/>
                </a:cubicBezTo>
                <a:close/>
                <a:moveTo>
                  <a:pt x="343" y="429"/>
                </a:moveTo>
                <a:cubicBezTo>
                  <a:pt x="343" y="426"/>
                  <a:pt x="340" y="422"/>
                  <a:pt x="336" y="422"/>
                </a:cubicBezTo>
                <a:cubicBezTo>
                  <a:pt x="211" y="422"/>
                  <a:pt x="211" y="422"/>
                  <a:pt x="211" y="422"/>
                </a:cubicBezTo>
                <a:cubicBezTo>
                  <a:pt x="208" y="422"/>
                  <a:pt x="204" y="426"/>
                  <a:pt x="204" y="429"/>
                </a:cubicBezTo>
                <a:cubicBezTo>
                  <a:pt x="204" y="433"/>
                  <a:pt x="208" y="436"/>
                  <a:pt x="211" y="436"/>
                </a:cubicBezTo>
                <a:cubicBezTo>
                  <a:pt x="336" y="436"/>
                  <a:pt x="336" y="436"/>
                  <a:pt x="336" y="436"/>
                </a:cubicBezTo>
                <a:cubicBezTo>
                  <a:pt x="340" y="436"/>
                  <a:pt x="343" y="433"/>
                  <a:pt x="343" y="429"/>
                </a:cubicBezTo>
                <a:close/>
                <a:moveTo>
                  <a:pt x="364" y="219"/>
                </a:moveTo>
                <a:cubicBezTo>
                  <a:pt x="365" y="215"/>
                  <a:pt x="362" y="212"/>
                  <a:pt x="358" y="211"/>
                </a:cubicBezTo>
                <a:cubicBezTo>
                  <a:pt x="355" y="210"/>
                  <a:pt x="351" y="213"/>
                  <a:pt x="350" y="216"/>
                </a:cubicBezTo>
                <a:cubicBezTo>
                  <a:pt x="350" y="216"/>
                  <a:pt x="342" y="231"/>
                  <a:pt x="288" y="231"/>
                </a:cubicBezTo>
                <a:cubicBezTo>
                  <a:pt x="233" y="231"/>
                  <a:pt x="226" y="216"/>
                  <a:pt x="226" y="216"/>
                </a:cubicBezTo>
                <a:cubicBezTo>
                  <a:pt x="226" y="216"/>
                  <a:pt x="226" y="216"/>
                  <a:pt x="226" y="216"/>
                </a:cubicBezTo>
                <a:cubicBezTo>
                  <a:pt x="213" y="219"/>
                  <a:pt x="213" y="219"/>
                  <a:pt x="213" y="219"/>
                </a:cubicBezTo>
                <a:cubicBezTo>
                  <a:pt x="214" y="224"/>
                  <a:pt x="222" y="245"/>
                  <a:pt x="288" y="245"/>
                </a:cubicBezTo>
                <a:cubicBezTo>
                  <a:pt x="355" y="245"/>
                  <a:pt x="363" y="224"/>
                  <a:pt x="364" y="219"/>
                </a:cubicBezTo>
                <a:close/>
                <a:moveTo>
                  <a:pt x="577" y="462"/>
                </a:moveTo>
                <a:cubicBezTo>
                  <a:pt x="577" y="344"/>
                  <a:pt x="452" y="245"/>
                  <a:pt x="364" y="213"/>
                </a:cubicBezTo>
                <a:cubicBezTo>
                  <a:pt x="365" y="181"/>
                  <a:pt x="381" y="134"/>
                  <a:pt x="443" y="83"/>
                </a:cubicBezTo>
                <a:cubicBezTo>
                  <a:pt x="445" y="81"/>
                  <a:pt x="446" y="80"/>
                  <a:pt x="447" y="80"/>
                </a:cubicBezTo>
                <a:cubicBezTo>
                  <a:pt x="460" y="67"/>
                  <a:pt x="460" y="57"/>
                  <a:pt x="458" y="51"/>
                </a:cubicBezTo>
                <a:cubicBezTo>
                  <a:pt x="454" y="42"/>
                  <a:pt x="444" y="37"/>
                  <a:pt x="430" y="37"/>
                </a:cubicBezTo>
                <a:cubicBezTo>
                  <a:pt x="418" y="37"/>
                  <a:pt x="405" y="41"/>
                  <a:pt x="392" y="47"/>
                </a:cubicBezTo>
                <a:cubicBezTo>
                  <a:pt x="387" y="49"/>
                  <a:pt x="381" y="51"/>
                  <a:pt x="377" y="51"/>
                </a:cubicBezTo>
                <a:cubicBezTo>
                  <a:pt x="365" y="51"/>
                  <a:pt x="355" y="43"/>
                  <a:pt x="344" y="31"/>
                </a:cubicBezTo>
                <a:cubicBezTo>
                  <a:pt x="341" y="28"/>
                  <a:pt x="341" y="28"/>
                  <a:pt x="341" y="28"/>
                </a:cubicBezTo>
                <a:cubicBezTo>
                  <a:pt x="328" y="15"/>
                  <a:pt x="314" y="0"/>
                  <a:pt x="288" y="0"/>
                </a:cubicBezTo>
                <a:cubicBezTo>
                  <a:pt x="263" y="0"/>
                  <a:pt x="248" y="15"/>
                  <a:pt x="236" y="28"/>
                </a:cubicBezTo>
                <a:cubicBezTo>
                  <a:pt x="233" y="31"/>
                  <a:pt x="233" y="31"/>
                  <a:pt x="233" y="31"/>
                </a:cubicBezTo>
                <a:cubicBezTo>
                  <a:pt x="221" y="43"/>
                  <a:pt x="212" y="51"/>
                  <a:pt x="200" y="51"/>
                </a:cubicBezTo>
                <a:cubicBezTo>
                  <a:pt x="200" y="51"/>
                  <a:pt x="200" y="51"/>
                  <a:pt x="200" y="51"/>
                </a:cubicBezTo>
                <a:cubicBezTo>
                  <a:pt x="195" y="51"/>
                  <a:pt x="190" y="49"/>
                  <a:pt x="184" y="47"/>
                </a:cubicBezTo>
                <a:cubicBezTo>
                  <a:pt x="172" y="41"/>
                  <a:pt x="159" y="37"/>
                  <a:pt x="147" y="37"/>
                </a:cubicBezTo>
                <a:cubicBezTo>
                  <a:pt x="132" y="37"/>
                  <a:pt x="122" y="42"/>
                  <a:pt x="119" y="51"/>
                </a:cubicBezTo>
                <a:cubicBezTo>
                  <a:pt x="116" y="57"/>
                  <a:pt x="116" y="67"/>
                  <a:pt x="130" y="80"/>
                </a:cubicBezTo>
                <a:cubicBezTo>
                  <a:pt x="130" y="80"/>
                  <a:pt x="131" y="81"/>
                  <a:pt x="133" y="83"/>
                </a:cubicBezTo>
                <a:cubicBezTo>
                  <a:pt x="196" y="134"/>
                  <a:pt x="211" y="181"/>
                  <a:pt x="212" y="213"/>
                </a:cubicBezTo>
                <a:cubicBezTo>
                  <a:pt x="125" y="245"/>
                  <a:pt x="0" y="344"/>
                  <a:pt x="0" y="462"/>
                </a:cubicBezTo>
                <a:cubicBezTo>
                  <a:pt x="0" y="579"/>
                  <a:pt x="47" y="646"/>
                  <a:pt x="288" y="646"/>
                </a:cubicBezTo>
                <a:cubicBezTo>
                  <a:pt x="530" y="646"/>
                  <a:pt x="577" y="579"/>
                  <a:pt x="577" y="462"/>
                </a:cubicBezTo>
                <a:close/>
                <a:moveTo>
                  <a:pt x="178" y="59"/>
                </a:moveTo>
                <a:cubicBezTo>
                  <a:pt x="186" y="63"/>
                  <a:pt x="193" y="65"/>
                  <a:pt x="200" y="65"/>
                </a:cubicBezTo>
                <a:cubicBezTo>
                  <a:pt x="200" y="65"/>
                  <a:pt x="200" y="65"/>
                  <a:pt x="200" y="65"/>
                </a:cubicBezTo>
                <a:cubicBezTo>
                  <a:pt x="218" y="65"/>
                  <a:pt x="231" y="53"/>
                  <a:pt x="243" y="41"/>
                </a:cubicBezTo>
                <a:cubicBezTo>
                  <a:pt x="246" y="37"/>
                  <a:pt x="246" y="37"/>
                  <a:pt x="246" y="37"/>
                </a:cubicBezTo>
                <a:cubicBezTo>
                  <a:pt x="258" y="25"/>
                  <a:pt x="269" y="14"/>
                  <a:pt x="288" y="14"/>
                </a:cubicBezTo>
                <a:cubicBezTo>
                  <a:pt x="308" y="14"/>
                  <a:pt x="318" y="25"/>
                  <a:pt x="331" y="37"/>
                </a:cubicBezTo>
                <a:cubicBezTo>
                  <a:pt x="334" y="41"/>
                  <a:pt x="334" y="41"/>
                  <a:pt x="334" y="41"/>
                </a:cubicBezTo>
                <a:cubicBezTo>
                  <a:pt x="346" y="53"/>
                  <a:pt x="359" y="65"/>
                  <a:pt x="377" y="65"/>
                </a:cubicBezTo>
                <a:cubicBezTo>
                  <a:pt x="384" y="65"/>
                  <a:pt x="391" y="63"/>
                  <a:pt x="398" y="59"/>
                </a:cubicBezTo>
                <a:cubicBezTo>
                  <a:pt x="409" y="54"/>
                  <a:pt x="420" y="51"/>
                  <a:pt x="430" y="51"/>
                </a:cubicBezTo>
                <a:cubicBezTo>
                  <a:pt x="439" y="51"/>
                  <a:pt x="444" y="54"/>
                  <a:pt x="445" y="56"/>
                </a:cubicBezTo>
                <a:cubicBezTo>
                  <a:pt x="446" y="58"/>
                  <a:pt x="444" y="63"/>
                  <a:pt x="437" y="70"/>
                </a:cubicBezTo>
                <a:cubicBezTo>
                  <a:pt x="437" y="70"/>
                  <a:pt x="436" y="71"/>
                  <a:pt x="434" y="72"/>
                </a:cubicBezTo>
                <a:cubicBezTo>
                  <a:pt x="365" y="129"/>
                  <a:pt x="350" y="183"/>
                  <a:pt x="350" y="218"/>
                </a:cubicBezTo>
                <a:cubicBezTo>
                  <a:pt x="350" y="221"/>
                  <a:pt x="352" y="223"/>
                  <a:pt x="355" y="224"/>
                </a:cubicBezTo>
                <a:cubicBezTo>
                  <a:pt x="439" y="253"/>
                  <a:pt x="563" y="349"/>
                  <a:pt x="563" y="462"/>
                </a:cubicBezTo>
                <a:cubicBezTo>
                  <a:pt x="563" y="573"/>
                  <a:pt x="519" y="632"/>
                  <a:pt x="288" y="632"/>
                </a:cubicBezTo>
                <a:cubicBezTo>
                  <a:pt x="57" y="632"/>
                  <a:pt x="14" y="573"/>
                  <a:pt x="14" y="462"/>
                </a:cubicBezTo>
                <a:cubicBezTo>
                  <a:pt x="14" y="349"/>
                  <a:pt x="138" y="253"/>
                  <a:pt x="222" y="224"/>
                </a:cubicBezTo>
                <a:cubicBezTo>
                  <a:pt x="225" y="223"/>
                  <a:pt x="227" y="221"/>
                  <a:pt x="227" y="218"/>
                </a:cubicBezTo>
                <a:cubicBezTo>
                  <a:pt x="227" y="183"/>
                  <a:pt x="212" y="129"/>
                  <a:pt x="142" y="72"/>
                </a:cubicBezTo>
                <a:cubicBezTo>
                  <a:pt x="141" y="71"/>
                  <a:pt x="140" y="70"/>
                  <a:pt x="139" y="70"/>
                </a:cubicBezTo>
                <a:cubicBezTo>
                  <a:pt x="132" y="63"/>
                  <a:pt x="131" y="58"/>
                  <a:pt x="132" y="56"/>
                </a:cubicBezTo>
                <a:cubicBezTo>
                  <a:pt x="133" y="54"/>
                  <a:pt x="138" y="51"/>
                  <a:pt x="147" y="51"/>
                </a:cubicBezTo>
                <a:cubicBezTo>
                  <a:pt x="157" y="51"/>
                  <a:pt x="168" y="54"/>
                  <a:pt x="178" y="5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4" name="Oval 33"/>
          <p:cNvSpPr>
            <a:spLocks noChangeArrowheads="1"/>
          </p:cNvSpPr>
          <p:nvPr/>
        </p:nvSpPr>
        <p:spPr bwMode="auto">
          <a:xfrm>
            <a:off x="3552358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19" name="Freeform 110"/>
          <p:cNvSpPr>
            <a:spLocks noEditPoints="1"/>
          </p:cNvSpPr>
          <p:nvPr/>
        </p:nvSpPr>
        <p:spPr bwMode="auto">
          <a:xfrm>
            <a:off x="3741101" y="2455853"/>
            <a:ext cx="446367" cy="500038"/>
          </a:xfrm>
          <a:custGeom>
            <a:avLst/>
            <a:gdLst>
              <a:gd name="T0" fmla="*/ 196 w 577"/>
              <a:gd name="T1" fmla="*/ 432 h 646"/>
              <a:gd name="T2" fmla="*/ 292 w 577"/>
              <a:gd name="T3" fmla="*/ 304 h 646"/>
              <a:gd name="T4" fmla="*/ 361 w 577"/>
              <a:gd name="T5" fmla="*/ 355 h 646"/>
              <a:gd name="T6" fmla="*/ 292 w 577"/>
              <a:gd name="T7" fmla="*/ 318 h 646"/>
              <a:gd name="T8" fmla="*/ 210 w 577"/>
              <a:gd name="T9" fmla="*/ 432 h 646"/>
              <a:gd name="T10" fmla="*/ 351 w 577"/>
              <a:gd name="T11" fmla="*/ 511 h 646"/>
              <a:gd name="T12" fmla="*/ 363 w 577"/>
              <a:gd name="T13" fmla="*/ 519 h 646"/>
              <a:gd name="T14" fmla="*/ 299 w 577"/>
              <a:gd name="T15" fmla="*/ 406 h 646"/>
              <a:gd name="T16" fmla="*/ 169 w 577"/>
              <a:gd name="T17" fmla="*/ 399 h 646"/>
              <a:gd name="T18" fmla="*/ 169 w 577"/>
              <a:gd name="T19" fmla="*/ 413 h 646"/>
              <a:gd name="T20" fmla="*/ 299 w 577"/>
              <a:gd name="T21" fmla="*/ 406 h 646"/>
              <a:gd name="T22" fmla="*/ 299 w 577"/>
              <a:gd name="T23" fmla="*/ 460 h 646"/>
              <a:gd name="T24" fmla="*/ 169 w 577"/>
              <a:gd name="T25" fmla="*/ 453 h 646"/>
              <a:gd name="T26" fmla="*/ 169 w 577"/>
              <a:gd name="T27" fmla="*/ 467 h 646"/>
              <a:gd name="T28" fmla="*/ 364 w 577"/>
              <a:gd name="T29" fmla="*/ 219 h 646"/>
              <a:gd name="T30" fmla="*/ 350 w 577"/>
              <a:gd name="T31" fmla="*/ 216 h 646"/>
              <a:gd name="T32" fmla="*/ 226 w 577"/>
              <a:gd name="T33" fmla="*/ 216 h 646"/>
              <a:gd name="T34" fmla="*/ 213 w 577"/>
              <a:gd name="T35" fmla="*/ 219 h 646"/>
              <a:gd name="T36" fmla="*/ 364 w 577"/>
              <a:gd name="T37" fmla="*/ 219 h 646"/>
              <a:gd name="T38" fmla="*/ 364 w 577"/>
              <a:gd name="T39" fmla="*/ 213 h 646"/>
              <a:gd name="T40" fmla="*/ 447 w 577"/>
              <a:gd name="T41" fmla="*/ 80 h 646"/>
              <a:gd name="T42" fmla="*/ 430 w 577"/>
              <a:gd name="T43" fmla="*/ 37 h 646"/>
              <a:gd name="T44" fmla="*/ 377 w 577"/>
              <a:gd name="T45" fmla="*/ 51 h 646"/>
              <a:gd name="T46" fmla="*/ 341 w 577"/>
              <a:gd name="T47" fmla="*/ 28 h 646"/>
              <a:gd name="T48" fmla="*/ 236 w 577"/>
              <a:gd name="T49" fmla="*/ 28 h 646"/>
              <a:gd name="T50" fmla="*/ 200 w 577"/>
              <a:gd name="T51" fmla="*/ 51 h 646"/>
              <a:gd name="T52" fmla="*/ 185 w 577"/>
              <a:gd name="T53" fmla="*/ 47 h 646"/>
              <a:gd name="T54" fmla="*/ 119 w 577"/>
              <a:gd name="T55" fmla="*/ 51 h 646"/>
              <a:gd name="T56" fmla="*/ 134 w 577"/>
              <a:gd name="T57" fmla="*/ 83 h 646"/>
              <a:gd name="T58" fmla="*/ 0 w 577"/>
              <a:gd name="T59" fmla="*/ 462 h 646"/>
              <a:gd name="T60" fmla="*/ 577 w 577"/>
              <a:gd name="T61" fmla="*/ 462 h 646"/>
              <a:gd name="T62" fmla="*/ 200 w 577"/>
              <a:gd name="T63" fmla="*/ 65 h 646"/>
              <a:gd name="T64" fmla="*/ 243 w 577"/>
              <a:gd name="T65" fmla="*/ 41 h 646"/>
              <a:gd name="T66" fmla="*/ 288 w 577"/>
              <a:gd name="T67" fmla="*/ 14 h 646"/>
              <a:gd name="T68" fmla="*/ 334 w 577"/>
              <a:gd name="T69" fmla="*/ 41 h 646"/>
              <a:gd name="T70" fmla="*/ 398 w 577"/>
              <a:gd name="T71" fmla="*/ 59 h 646"/>
              <a:gd name="T72" fmla="*/ 445 w 577"/>
              <a:gd name="T73" fmla="*/ 56 h 646"/>
              <a:gd name="T74" fmla="*/ 435 w 577"/>
              <a:gd name="T75" fmla="*/ 72 h 646"/>
              <a:gd name="T76" fmla="*/ 355 w 577"/>
              <a:gd name="T77" fmla="*/ 224 h 646"/>
              <a:gd name="T78" fmla="*/ 288 w 577"/>
              <a:gd name="T79" fmla="*/ 632 h 646"/>
              <a:gd name="T80" fmla="*/ 222 w 577"/>
              <a:gd name="T81" fmla="*/ 224 h 646"/>
              <a:gd name="T82" fmla="*/ 142 w 577"/>
              <a:gd name="T83" fmla="*/ 72 h 646"/>
              <a:gd name="T84" fmla="*/ 132 w 577"/>
              <a:gd name="T85" fmla="*/ 56 h 646"/>
              <a:gd name="T86" fmla="*/ 179 w 577"/>
              <a:gd name="T87" fmla="*/ 59 h 6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77" h="646">
                <a:moveTo>
                  <a:pt x="292" y="561"/>
                </a:moveTo>
                <a:cubicBezTo>
                  <a:pt x="233" y="561"/>
                  <a:pt x="196" y="510"/>
                  <a:pt x="196" y="432"/>
                </a:cubicBezTo>
                <a:cubicBezTo>
                  <a:pt x="196" y="395"/>
                  <a:pt x="204" y="363"/>
                  <a:pt x="221" y="340"/>
                </a:cubicBezTo>
                <a:cubicBezTo>
                  <a:pt x="238" y="316"/>
                  <a:pt x="263" y="304"/>
                  <a:pt x="292" y="304"/>
                </a:cubicBezTo>
                <a:cubicBezTo>
                  <a:pt x="320" y="304"/>
                  <a:pt x="344" y="317"/>
                  <a:pt x="363" y="345"/>
                </a:cubicBezTo>
                <a:cubicBezTo>
                  <a:pt x="365" y="348"/>
                  <a:pt x="364" y="353"/>
                  <a:pt x="361" y="355"/>
                </a:cubicBezTo>
                <a:cubicBezTo>
                  <a:pt x="358" y="357"/>
                  <a:pt x="354" y="356"/>
                  <a:pt x="351" y="353"/>
                </a:cubicBezTo>
                <a:cubicBezTo>
                  <a:pt x="335" y="329"/>
                  <a:pt x="316" y="318"/>
                  <a:pt x="292" y="318"/>
                </a:cubicBezTo>
                <a:cubicBezTo>
                  <a:pt x="267" y="318"/>
                  <a:pt x="247" y="328"/>
                  <a:pt x="232" y="348"/>
                </a:cubicBezTo>
                <a:cubicBezTo>
                  <a:pt x="218" y="369"/>
                  <a:pt x="210" y="398"/>
                  <a:pt x="210" y="432"/>
                </a:cubicBezTo>
                <a:cubicBezTo>
                  <a:pt x="210" y="502"/>
                  <a:pt x="242" y="547"/>
                  <a:pt x="292" y="547"/>
                </a:cubicBezTo>
                <a:cubicBezTo>
                  <a:pt x="316" y="547"/>
                  <a:pt x="335" y="535"/>
                  <a:pt x="351" y="511"/>
                </a:cubicBezTo>
                <a:cubicBezTo>
                  <a:pt x="354" y="508"/>
                  <a:pt x="358" y="507"/>
                  <a:pt x="361" y="509"/>
                </a:cubicBezTo>
                <a:cubicBezTo>
                  <a:pt x="364" y="512"/>
                  <a:pt x="365" y="516"/>
                  <a:pt x="363" y="519"/>
                </a:cubicBezTo>
                <a:cubicBezTo>
                  <a:pt x="344" y="547"/>
                  <a:pt x="320" y="561"/>
                  <a:pt x="292" y="561"/>
                </a:cubicBezTo>
                <a:close/>
                <a:moveTo>
                  <a:pt x="299" y="406"/>
                </a:moveTo>
                <a:cubicBezTo>
                  <a:pt x="299" y="402"/>
                  <a:pt x="296" y="399"/>
                  <a:pt x="292" y="399"/>
                </a:cubicBezTo>
                <a:cubicBezTo>
                  <a:pt x="169" y="399"/>
                  <a:pt x="169" y="399"/>
                  <a:pt x="169" y="399"/>
                </a:cubicBezTo>
                <a:cubicBezTo>
                  <a:pt x="165" y="399"/>
                  <a:pt x="162" y="402"/>
                  <a:pt x="162" y="406"/>
                </a:cubicBezTo>
                <a:cubicBezTo>
                  <a:pt x="162" y="410"/>
                  <a:pt x="165" y="413"/>
                  <a:pt x="169" y="413"/>
                </a:cubicBezTo>
                <a:cubicBezTo>
                  <a:pt x="292" y="413"/>
                  <a:pt x="292" y="413"/>
                  <a:pt x="292" y="413"/>
                </a:cubicBezTo>
                <a:cubicBezTo>
                  <a:pt x="296" y="413"/>
                  <a:pt x="299" y="410"/>
                  <a:pt x="299" y="406"/>
                </a:cubicBezTo>
                <a:close/>
                <a:moveTo>
                  <a:pt x="292" y="467"/>
                </a:moveTo>
                <a:cubicBezTo>
                  <a:pt x="296" y="467"/>
                  <a:pt x="299" y="464"/>
                  <a:pt x="299" y="460"/>
                </a:cubicBezTo>
                <a:cubicBezTo>
                  <a:pt x="299" y="456"/>
                  <a:pt x="296" y="453"/>
                  <a:pt x="292" y="453"/>
                </a:cubicBezTo>
                <a:cubicBezTo>
                  <a:pt x="169" y="453"/>
                  <a:pt x="169" y="453"/>
                  <a:pt x="169" y="453"/>
                </a:cubicBezTo>
                <a:cubicBezTo>
                  <a:pt x="165" y="453"/>
                  <a:pt x="162" y="456"/>
                  <a:pt x="162" y="460"/>
                </a:cubicBezTo>
                <a:cubicBezTo>
                  <a:pt x="162" y="464"/>
                  <a:pt x="165" y="467"/>
                  <a:pt x="169" y="467"/>
                </a:cubicBezTo>
                <a:lnTo>
                  <a:pt x="292" y="467"/>
                </a:lnTo>
                <a:close/>
                <a:moveTo>
                  <a:pt x="364" y="219"/>
                </a:moveTo>
                <a:cubicBezTo>
                  <a:pt x="350" y="216"/>
                  <a:pt x="350" y="216"/>
                  <a:pt x="350" y="216"/>
                </a:cubicBezTo>
                <a:cubicBezTo>
                  <a:pt x="350" y="216"/>
                  <a:pt x="350" y="216"/>
                  <a:pt x="350" y="216"/>
                </a:cubicBezTo>
                <a:cubicBezTo>
                  <a:pt x="350" y="216"/>
                  <a:pt x="344" y="231"/>
                  <a:pt x="288" y="231"/>
                </a:cubicBezTo>
                <a:cubicBezTo>
                  <a:pt x="233" y="231"/>
                  <a:pt x="227" y="216"/>
                  <a:pt x="226" y="216"/>
                </a:cubicBezTo>
                <a:cubicBezTo>
                  <a:pt x="227" y="216"/>
                  <a:pt x="227" y="216"/>
                  <a:pt x="227" y="216"/>
                </a:cubicBezTo>
                <a:cubicBezTo>
                  <a:pt x="213" y="219"/>
                  <a:pt x="213" y="219"/>
                  <a:pt x="213" y="219"/>
                </a:cubicBezTo>
                <a:cubicBezTo>
                  <a:pt x="214" y="224"/>
                  <a:pt x="222" y="245"/>
                  <a:pt x="288" y="245"/>
                </a:cubicBezTo>
                <a:cubicBezTo>
                  <a:pt x="355" y="245"/>
                  <a:pt x="363" y="224"/>
                  <a:pt x="364" y="219"/>
                </a:cubicBezTo>
                <a:close/>
                <a:moveTo>
                  <a:pt x="577" y="462"/>
                </a:moveTo>
                <a:cubicBezTo>
                  <a:pt x="577" y="344"/>
                  <a:pt x="452" y="245"/>
                  <a:pt x="364" y="213"/>
                </a:cubicBezTo>
                <a:cubicBezTo>
                  <a:pt x="366" y="181"/>
                  <a:pt x="381" y="134"/>
                  <a:pt x="443" y="83"/>
                </a:cubicBezTo>
                <a:cubicBezTo>
                  <a:pt x="445" y="81"/>
                  <a:pt x="447" y="80"/>
                  <a:pt x="447" y="80"/>
                </a:cubicBezTo>
                <a:cubicBezTo>
                  <a:pt x="461" y="67"/>
                  <a:pt x="461" y="57"/>
                  <a:pt x="458" y="51"/>
                </a:cubicBezTo>
                <a:cubicBezTo>
                  <a:pt x="455" y="42"/>
                  <a:pt x="444" y="37"/>
                  <a:pt x="430" y="37"/>
                </a:cubicBezTo>
                <a:cubicBezTo>
                  <a:pt x="418" y="37"/>
                  <a:pt x="405" y="41"/>
                  <a:pt x="392" y="47"/>
                </a:cubicBezTo>
                <a:cubicBezTo>
                  <a:pt x="387" y="49"/>
                  <a:pt x="382" y="51"/>
                  <a:pt x="377" y="51"/>
                </a:cubicBezTo>
                <a:cubicBezTo>
                  <a:pt x="365" y="51"/>
                  <a:pt x="355" y="43"/>
                  <a:pt x="344" y="31"/>
                </a:cubicBezTo>
                <a:cubicBezTo>
                  <a:pt x="341" y="28"/>
                  <a:pt x="341" y="28"/>
                  <a:pt x="341" y="28"/>
                </a:cubicBezTo>
                <a:cubicBezTo>
                  <a:pt x="328" y="15"/>
                  <a:pt x="314" y="0"/>
                  <a:pt x="288" y="0"/>
                </a:cubicBezTo>
                <a:cubicBezTo>
                  <a:pt x="263" y="0"/>
                  <a:pt x="249" y="15"/>
                  <a:pt x="236" y="28"/>
                </a:cubicBezTo>
                <a:cubicBezTo>
                  <a:pt x="233" y="31"/>
                  <a:pt x="233" y="31"/>
                  <a:pt x="233" y="31"/>
                </a:cubicBezTo>
                <a:cubicBezTo>
                  <a:pt x="222" y="43"/>
                  <a:pt x="212" y="51"/>
                  <a:pt x="200" y="51"/>
                </a:cubicBezTo>
                <a:cubicBezTo>
                  <a:pt x="200" y="51"/>
                  <a:pt x="200" y="51"/>
                  <a:pt x="200" y="51"/>
                </a:cubicBezTo>
                <a:cubicBezTo>
                  <a:pt x="195" y="51"/>
                  <a:pt x="190" y="49"/>
                  <a:pt x="185" y="47"/>
                </a:cubicBezTo>
                <a:cubicBezTo>
                  <a:pt x="172" y="41"/>
                  <a:pt x="159" y="37"/>
                  <a:pt x="147" y="37"/>
                </a:cubicBezTo>
                <a:cubicBezTo>
                  <a:pt x="133" y="37"/>
                  <a:pt x="122" y="42"/>
                  <a:pt x="119" y="51"/>
                </a:cubicBezTo>
                <a:cubicBezTo>
                  <a:pt x="116" y="57"/>
                  <a:pt x="116" y="67"/>
                  <a:pt x="130" y="80"/>
                </a:cubicBezTo>
                <a:cubicBezTo>
                  <a:pt x="130" y="80"/>
                  <a:pt x="132" y="81"/>
                  <a:pt x="134" y="83"/>
                </a:cubicBezTo>
                <a:cubicBezTo>
                  <a:pt x="196" y="134"/>
                  <a:pt x="211" y="181"/>
                  <a:pt x="213" y="213"/>
                </a:cubicBezTo>
                <a:cubicBezTo>
                  <a:pt x="125" y="245"/>
                  <a:pt x="0" y="344"/>
                  <a:pt x="0" y="462"/>
                </a:cubicBezTo>
                <a:cubicBezTo>
                  <a:pt x="0" y="579"/>
                  <a:pt x="47" y="646"/>
                  <a:pt x="288" y="646"/>
                </a:cubicBezTo>
                <a:cubicBezTo>
                  <a:pt x="530" y="646"/>
                  <a:pt x="577" y="579"/>
                  <a:pt x="577" y="462"/>
                </a:cubicBezTo>
                <a:close/>
                <a:moveTo>
                  <a:pt x="179" y="59"/>
                </a:moveTo>
                <a:cubicBezTo>
                  <a:pt x="186" y="63"/>
                  <a:pt x="193" y="65"/>
                  <a:pt x="200" y="65"/>
                </a:cubicBezTo>
                <a:cubicBezTo>
                  <a:pt x="200" y="65"/>
                  <a:pt x="200" y="65"/>
                  <a:pt x="200" y="65"/>
                </a:cubicBezTo>
                <a:cubicBezTo>
                  <a:pt x="218" y="65"/>
                  <a:pt x="231" y="53"/>
                  <a:pt x="243" y="41"/>
                </a:cubicBezTo>
                <a:cubicBezTo>
                  <a:pt x="246" y="37"/>
                  <a:pt x="246" y="37"/>
                  <a:pt x="246" y="37"/>
                </a:cubicBezTo>
                <a:cubicBezTo>
                  <a:pt x="258" y="25"/>
                  <a:pt x="269" y="14"/>
                  <a:pt x="288" y="14"/>
                </a:cubicBezTo>
                <a:cubicBezTo>
                  <a:pt x="308" y="14"/>
                  <a:pt x="319" y="25"/>
                  <a:pt x="331" y="37"/>
                </a:cubicBezTo>
                <a:cubicBezTo>
                  <a:pt x="334" y="41"/>
                  <a:pt x="334" y="41"/>
                  <a:pt x="334" y="41"/>
                </a:cubicBezTo>
                <a:cubicBezTo>
                  <a:pt x="346" y="53"/>
                  <a:pt x="359" y="65"/>
                  <a:pt x="377" y="65"/>
                </a:cubicBezTo>
                <a:cubicBezTo>
                  <a:pt x="384" y="65"/>
                  <a:pt x="391" y="63"/>
                  <a:pt x="398" y="59"/>
                </a:cubicBezTo>
                <a:cubicBezTo>
                  <a:pt x="409" y="54"/>
                  <a:pt x="420" y="51"/>
                  <a:pt x="430" y="51"/>
                </a:cubicBezTo>
                <a:cubicBezTo>
                  <a:pt x="439" y="51"/>
                  <a:pt x="444" y="54"/>
                  <a:pt x="445" y="56"/>
                </a:cubicBezTo>
                <a:cubicBezTo>
                  <a:pt x="446" y="58"/>
                  <a:pt x="444" y="63"/>
                  <a:pt x="438" y="70"/>
                </a:cubicBezTo>
                <a:cubicBezTo>
                  <a:pt x="437" y="70"/>
                  <a:pt x="436" y="71"/>
                  <a:pt x="435" y="72"/>
                </a:cubicBezTo>
                <a:cubicBezTo>
                  <a:pt x="365" y="129"/>
                  <a:pt x="350" y="183"/>
                  <a:pt x="350" y="218"/>
                </a:cubicBezTo>
                <a:cubicBezTo>
                  <a:pt x="350" y="221"/>
                  <a:pt x="352" y="223"/>
                  <a:pt x="355" y="224"/>
                </a:cubicBezTo>
                <a:cubicBezTo>
                  <a:pt x="439" y="253"/>
                  <a:pt x="563" y="349"/>
                  <a:pt x="563" y="462"/>
                </a:cubicBezTo>
                <a:cubicBezTo>
                  <a:pt x="563" y="573"/>
                  <a:pt x="519" y="632"/>
                  <a:pt x="288" y="632"/>
                </a:cubicBezTo>
                <a:cubicBezTo>
                  <a:pt x="58" y="632"/>
                  <a:pt x="14" y="573"/>
                  <a:pt x="14" y="462"/>
                </a:cubicBezTo>
                <a:cubicBezTo>
                  <a:pt x="14" y="349"/>
                  <a:pt x="138" y="253"/>
                  <a:pt x="222" y="224"/>
                </a:cubicBezTo>
                <a:cubicBezTo>
                  <a:pt x="225" y="223"/>
                  <a:pt x="227" y="221"/>
                  <a:pt x="227" y="218"/>
                </a:cubicBezTo>
                <a:cubicBezTo>
                  <a:pt x="227" y="183"/>
                  <a:pt x="212" y="129"/>
                  <a:pt x="142" y="72"/>
                </a:cubicBezTo>
                <a:cubicBezTo>
                  <a:pt x="141" y="71"/>
                  <a:pt x="140" y="70"/>
                  <a:pt x="139" y="70"/>
                </a:cubicBezTo>
                <a:cubicBezTo>
                  <a:pt x="133" y="63"/>
                  <a:pt x="131" y="58"/>
                  <a:pt x="132" y="56"/>
                </a:cubicBezTo>
                <a:cubicBezTo>
                  <a:pt x="133" y="54"/>
                  <a:pt x="138" y="51"/>
                  <a:pt x="147" y="51"/>
                </a:cubicBezTo>
                <a:cubicBezTo>
                  <a:pt x="157" y="51"/>
                  <a:pt x="168" y="54"/>
                  <a:pt x="179" y="5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2" name="Oval 31"/>
          <p:cNvSpPr>
            <a:spLocks noChangeArrowheads="1"/>
          </p:cNvSpPr>
          <p:nvPr/>
        </p:nvSpPr>
        <p:spPr bwMode="auto">
          <a:xfrm>
            <a:off x="6137845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20" name="Freeform 111"/>
          <p:cNvSpPr>
            <a:spLocks noEditPoints="1"/>
          </p:cNvSpPr>
          <p:nvPr/>
        </p:nvSpPr>
        <p:spPr bwMode="auto">
          <a:xfrm>
            <a:off x="6325694" y="2455853"/>
            <a:ext cx="447261" cy="500038"/>
          </a:xfrm>
          <a:custGeom>
            <a:avLst/>
            <a:gdLst>
              <a:gd name="T0" fmla="*/ 278 w 577"/>
              <a:gd name="T1" fmla="*/ 562 h 646"/>
              <a:gd name="T2" fmla="*/ 285 w 577"/>
              <a:gd name="T3" fmla="*/ 442 h 646"/>
              <a:gd name="T4" fmla="*/ 292 w 577"/>
              <a:gd name="T5" fmla="*/ 562 h 646"/>
              <a:gd name="T6" fmla="*/ 288 w 577"/>
              <a:gd name="T7" fmla="*/ 455 h 646"/>
              <a:gd name="T8" fmla="*/ 216 w 577"/>
              <a:gd name="T9" fmla="*/ 328 h 646"/>
              <a:gd name="T10" fmla="*/ 204 w 577"/>
              <a:gd name="T11" fmla="*/ 336 h 646"/>
              <a:gd name="T12" fmla="*/ 285 w 577"/>
              <a:gd name="T13" fmla="*/ 456 h 646"/>
              <a:gd name="T14" fmla="*/ 290 w 577"/>
              <a:gd name="T15" fmla="*/ 453 h 646"/>
              <a:gd name="T16" fmla="*/ 363 w 577"/>
              <a:gd name="T17" fmla="*/ 326 h 646"/>
              <a:gd name="T18" fmla="*/ 279 w 577"/>
              <a:gd name="T19" fmla="*/ 446 h 646"/>
              <a:gd name="T20" fmla="*/ 285 w 577"/>
              <a:gd name="T21" fmla="*/ 456 h 646"/>
              <a:gd name="T22" fmla="*/ 354 w 577"/>
              <a:gd name="T23" fmla="*/ 455 h 646"/>
              <a:gd name="T24" fmla="*/ 222 w 577"/>
              <a:gd name="T25" fmla="*/ 448 h 646"/>
              <a:gd name="T26" fmla="*/ 222 w 577"/>
              <a:gd name="T27" fmla="*/ 462 h 646"/>
              <a:gd name="T28" fmla="*/ 354 w 577"/>
              <a:gd name="T29" fmla="*/ 455 h 646"/>
              <a:gd name="T30" fmla="*/ 347 w 577"/>
              <a:gd name="T31" fmla="*/ 488 h 646"/>
              <a:gd name="T32" fmla="*/ 215 w 577"/>
              <a:gd name="T33" fmla="*/ 495 h 646"/>
              <a:gd name="T34" fmla="*/ 347 w 577"/>
              <a:gd name="T35" fmla="*/ 502 h 646"/>
              <a:gd name="T36" fmla="*/ 364 w 577"/>
              <a:gd name="T37" fmla="*/ 219 h 646"/>
              <a:gd name="T38" fmla="*/ 350 w 577"/>
              <a:gd name="T39" fmla="*/ 216 h 646"/>
              <a:gd name="T40" fmla="*/ 227 w 577"/>
              <a:gd name="T41" fmla="*/ 216 h 646"/>
              <a:gd name="T42" fmla="*/ 213 w 577"/>
              <a:gd name="T43" fmla="*/ 219 h 646"/>
              <a:gd name="T44" fmla="*/ 364 w 577"/>
              <a:gd name="T45" fmla="*/ 219 h 646"/>
              <a:gd name="T46" fmla="*/ 364 w 577"/>
              <a:gd name="T47" fmla="*/ 213 h 646"/>
              <a:gd name="T48" fmla="*/ 447 w 577"/>
              <a:gd name="T49" fmla="*/ 80 h 646"/>
              <a:gd name="T50" fmla="*/ 430 w 577"/>
              <a:gd name="T51" fmla="*/ 37 h 646"/>
              <a:gd name="T52" fmla="*/ 377 w 577"/>
              <a:gd name="T53" fmla="*/ 51 h 646"/>
              <a:gd name="T54" fmla="*/ 341 w 577"/>
              <a:gd name="T55" fmla="*/ 28 h 646"/>
              <a:gd name="T56" fmla="*/ 236 w 577"/>
              <a:gd name="T57" fmla="*/ 28 h 646"/>
              <a:gd name="T58" fmla="*/ 200 w 577"/>
              <a:gd name="T59" fmla="*/ 51 h 646"/>
              <a:gd name="T60" fmla="*/ 185 w 577"/>
              <a:gd name="T61" fmla="*/ 47 h 646"/>
              <a:gd name="T62" fmla="*/ 119 w 577"/>
              <a:gd name="T63" fmla="*/ 51 h 646"/>
              <a:gd name="T64" fmla="*/ 134 w 577"/>
              <a:gd name="T65" fmla="*/ 83 h 646"/>
              <a:gd name="T66" fmla="*/ 0 w 577"/>
              <a:gd name="T67" fmla="*/ 462 h 646"/>
              <a:gd name="T68" fmla="*/ 577 w 577"/>
              <a:gd name="T69" fmla="*/ 462 h 646"/>
              <a:gd name="T70" fmla="*/ 200 w 577"/>
              <a:gd name="T71" fmla="*/ 65 h 646"/>
              <a:gd name="T72" fmla="*/ 243 w 577"/>
              <a:gd name="T73" fmla="*/ 41 h 646"/>
              <a:gd name="T74" fmla="*/ 289 w 577"/>
              <a:gd name="T75" fmla="*/ 14 h 646"/>
              <a:gd name="T76" fmla="*/ 334 w 577"/>
              <a:gd name="T77" fmla="*/ 41 h 646"/>
              <a:gd name="T78" fmla="*/ 399 w 577"/>
              <a:gd name="T79" fmla="*/ 59 h 646"/>
              <a:gd name="T80" fmla="*/ 445 w 577"/>
              <a:gd name="T81" fmla="*/ 56 h 646"/>
              <a:gd name="T82" fmla="*/ 435 w 577"/>
              <a:gd name="T83" fmla="*/ 72 h 646"/>
              <a:gd name="T84" fmla="*/ 355 w 577"/>
              <a:gd name="T85" fmla="*/ 224 h 646"/>
              <a:gd name="T86" fmla="*/ 289 w 577"/>
              <a:gd name="T87" fmla="*/ 632 h 646"/>
              <a:gd name="T88" fmla="*/ 222 w 577"/>
              <a:gd name="T89" fmla="*/ 224 h 646"/>
              <a:gd name="T90" fmla="*/ 142 w 577"/>
              <a:gd name="T91" fmla="*/ 72 h 646"/>
              <a:gd name="T92" fmla="*/ 132 w 577"/>
              <a:gd name="T93" fmla="*/ 56 h 646"/>
              <a:gd name="T94" fmla="*/ 179 w 577"/>
              <a:gd name="T95" fmla="*/ 59 h 6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77" h="646">
                <a:moveTo>
                  <a:pt x="285" y="569"/>
                </a:moveTo>
                <a:cubicBezTo>
                  <a:pt x="281" y="569"/>
                  <a:pt x="278" y="566"/>
                  <a:pt x="278" y="562"/>
                </a:cubicBezTo>
                <a:cubicBezTo>
                  <a:pt x="278" y="449"/>
                  <a:pt x="278" y="449"/>
                  <a:pt x="278" y="449"/>
                </a:cubicBezTo>
                <a:cubicBezTo>
                  <a:pt x="278" y="446"/>
                  <a:pt x="281" y="442"/>
                  <a:pt x="285" y="442"/>
                </a:cubicBezTo>
                <a:cubicBezTo>
                  <a:pt x="288" y="442"/>
                  <a:pt x="292" y="446"/>
                  <a:pt x="292" y="449"/>
                </a:cubicBezTo>
                <a:cubicBezTo>
                  <a:pt x="292" y="562"/>
                  <a:pt x="292" y="562"/>
                  <a:pt x="292" y="562"/>
                </a:cubicBezTo>
                <a:cubicBezTo>
                  <a:pt x="292" y="566"/>
                  <a:pt x="288" y="569"/>
                  <a:pt x="285" y="569"/>
                </a:cubicBezTo>
                <a:close/>
                <a:moveTo>
                  <a:pt x="288" y="455"/>
                </a:moveTo>
                <a:cubicBezTo>
                  <a:pt x="292" y="453"/>
                  <a:pt x="293" y="449"/>
                  <a:pt x="290" y="446"/>
                </a:cubicBezTo>
                <a:cubicBezTo>
                  <a:pt x="216" y="328"/>
                  <a:pt x="216" y="328"/>
                  <a:pt x="216" y="328"/>
                </a:cubicBezTo>
                <a:cubicBezTo>
                  <a:pt x="214" y="325"/>
                  <a:pt x="209" y="324"/>
                  <a:pt x="206" y="326"/>
                </a:cubicBezTo>
                <a:cubicBezTo>
                  <a:pt x="203" y="328"/>
                  <a:pt x="202" y="333"/>
                  <a:pt x="204" y="336"/>
                </a:cubicBezTo>
                <a:cubicBezTo>
                  <a:pt x="279" y="453"/>
                  <a:pt x="279" y="453"/>
                  <a:pt x="279" y="453"/>
                </a:cubicBezTo>
                <a:cubicBezTo>
                  <a:pt x="280" y="455"/>
                  <a:pt x="282" y="456"/>
                  <a:pt x="285" y="456"/>
                </a:cubicBezTo>
                <a:cubicBezTo>
                  <a:pt x="286" y="456"/>
                  <a:pt x="287" y="456"/>
                  <a:pt x="288" y="455"/>
                </a:cubicBezTo>
                <a:close/>
                <a:moveTo>
                  <a:pt x="290" y="453"/>
                </a:moveTo>
                <a:cubicBezTo>
                  <a:pt x="365" y="336"/>
                  <a:pt x="365" y="336"/>
                  <a:pt x="365" y="336"/>
                </a:cubicBezTo>
                <a:cubicBezTo>
                  <a:pt x="367" y="333"/>
                  <a:pt x="366" y="328"/>
                  <a:pt x="363" y="326"/>
                </a:cubicBezTo>
                <a:cubicBezTo>
                  <a:pt x="360" y="324"/>
                  <a:pt x="356" y="325"/>
                  <a:pt x="353" y="328"/>
                </a:cubicBezTo>
                <a:cubicBezTo>
                  <a:pt x="279" y="446"/>
                  <a:pt x="279" y="446"/>
                  <a:pt x="279" y="446"/>
                </a:cubicBezTo>
                <a:cubicBezTo>
                  <a:pt x="277" y="449"/>
                  <a:pt x="278" y="453"/>
                  <a:pt x="281" y="455"/>
                </a:cubicBezTo>
                <a:cubicBezTo>
                  <a:pt x="282" y="456"/>
                  <a:pt x="283" y="456"/>
                  <a:pt x="285" y="456"/>
                </a:cubicBezTo>
                <a:cubicBezTo>
                  <a:pt x="287" y="456"/>
                  <a:pt x="289" y="455"/>
                  <a:pt x="290" y="453"/>
                </a:cubicBezTo>
                <a:close/>
                <a:moveTo>
                  <a:pt x="354" y="455"/>
                </a:moveTo>
                <a:cubicBezTo>
                  <a:pt x="354" y="451"/>
                  <a:pt x="351" y="448"/>
                  <a:pt x="347" y="448"/>
                </a:cubicBezTo>
                <a:cubicBezTo>
                  <a:pt x="222" y="448"/>
                  <a:pt x="222" y="448"/>
                  <a:pt x="222" y="448"/>
                </a:cubicBezTo>
                <a:cubicBezTo>
                  <a:pt x="218" y="448"/>
                  <a:pt x="215" y="451"/>
                  <a:pt x="215" y="455"/>
                </a:cubicBezTo>
                <a:cubicBezTo>
                  <a:pt x="215" y="459"/>
                  <a:pt x="218" y="462"/>
                  <a:pt x="222" y="462"/>
                </a:cubicBezTo>
                <a:cubicBezTo>
                  <a:pt x="347" y="462"/>
                  <a:pt x="347" y="462"/>
                  <a:pt x="347" y="462"/>
                </a:cubicBezTo>
                <a:cubicBezTo>
                  <a:pt x="351" y="462"/>
                  <a:pt x="354" y="459"/>
                  <a:pt x="354" y="455"/>
                </a:cubicBezTo>
                <a:close/>
                <a:moveTo>
                  <a:pt x="354" y="495"/>
                </a:moveTo>
                <a:cubicBezTo>
                  <a:pt x="354" y="492"/>
                  <a:pt x="351" y="488"/>
                  <a:pt x="347" y="488"/>
                </a:cubicBezTo>
                <a:cubicBezTo>
                  <a:pt x="222" y="488"/>
                  <a:pt x="222" y="488"/>
                  <a:pt x="222" y="488"/>
                </a:cubicBezTo>
                <a:cubicBezTo>
                  <a:pt x="218" y="488"/>
                  <a:pt x="215" y="492"/>
                  <a:pt x="215" y="495"/>
                </a:cubicBezTo>
                <a:cubicBezTo>
                  <a:pt x="215" y="499"/>
                  <a:pt x="218" y="502"/>
                  <a:pt x="222" y="502"/>
                </a:cubicBezTo>
                <a:cubicBezTo>
                  <a:pt x="347" y="502"/>
                  <a:pt x="347" y="502"/>
                  <a:pt x="347" y="502"/>
                </a:cubicBezTo>
                <a:cubicBezTo>
                  <a:pt x="351" y="502"/>
                  <a:pt x="354" y="499"/>
                  <a:pt x="354" y="495"/>
                </a:cubicBezTo>
                <a:close/>
                <a:moveTo>
                  <a:pt x="364" y="219"/>
                </a:moveTo>
                <a:cubicBezTo>
                  <a:pt x="365" y="215"/>
                  <a:pt x="363" y="212"/>
                  <a:pt x="359" y="211"/>
                </a:cubicBezTo>
                <a:cubicBezTo>
                  <a:pt x="355" y="210"/>
                  <a:pt x="351" y="213"/>
                  <a:pt x="350" y="216"/>
                </a:cubicBezTo>
                <a:cubicBezTo>
                  <a:pt x="350" y="216"/>
                  <a:pt x="342" y="231"/>
                  <a:pt x="289" y="231"/>
                </a:cubicBezTo>
                <a:cubicBezTo>
                  <a:pt x="233" y="231"/>
                  <a:pt x="227" y="216"/>
                  <a:pt x="227" y="216"/>
                </a:cubicBezTo>
                <a:cubicBezTo>
                  <a:pt x="227" y="216"/>
                  <a:pt x="227" y="216"/>
                  <a:pt x="227" y="216"/>
                </a:cubicBezTo>
                <a:cubicBezTo>
                  <a:pt x="213" y="219"/>
                  <a:pt x="213" y="219"/>
                  <a:pt x="213" y="219"/>
                </a:cubicBezTo>
                <a:cubicBezTo>
                  <a:pt x="214" y="224"/>
                  <a:pt x="222" y="245"/>
                  <a:pt x="289" y="245"/>
                </a:cubicBezTo>
                <a:cubicBezTo>
                  <a:pt x="355" y="245"/>
                  <a:pt x="363" y="224"/>
                  <a:pt x="364" y="219"/>
                </a:cubicBezTo>
                <a:close/>
                <a:moveTo>
                  <a:pt x="577" y="462"/>
                </a:moveTo>
                <a:cubicBezTo>
                  <a:pt x="577" y="344"/>
                  <a:pt x="452" y="245"/>
                  <a:pt x="364" y="213"/>
                </a:cubicBezTo>
                <a:cubicBezTo>
                  <a:pt x="366" y="181"/>
                  <a:pt x="381" y="134"/>
                  <a:pt x="443" y="83"/>
                </a:cubicBezTo>
                <a:cubicBezTo>
                  <a:pt x="445" y="81"/>
                  <a:pt x="447" y="80"/>
                  <a:pt x="447" y="80"/>
                </a:cubicBezTo>
                <a:cubicBezTo>
                  <a:pt x="461" y="67"/>
                  <a:pt x="461" y="57"/>
                  <a:pt x="458" y="51"/>
                </a:cubicBezTo>
                <a:cubicBezTo>
                  <a:pt x="455" y="42"/>
                  <a:pt x="444" y="37"/>
                  <a:pt x="430" y="37"/>
                </a:cubicBezTo>
                <a:cubicBezTo>
                  <a:pt x="418" y="37"/>
                  <a:pt x="405" y="41"/>
                  <a:pt x="392" y="47"/>
                </a:cubicBezTo>
                <a:cubicBezTo>
                  <a:pt x="387" y="49"/>
                  <a:pt x="382" y="51"/>
                  <a:pt x="377" y="51"/>
                </a:cubicBezTo>
                <a:cubicBezTo>
                  <a:pt x="365" y="51"/>
                  <a:pt x="355" y="43"/>
                  <a:pt x="344" y="31"/>
                </a:cubicBezTo>
                <a:cubicBezTo>
                  <a:pt x="341" y="28"/>
                  <a:pt x="341" y="28"/>
                  <a:pt x="341" y="28"/>
                </a:cubicBezTo>
                <a:cubicBezTo>
                  <a:pt x="328" y="15"/>
                  <a:pt x="314" y="0"/>
                  <a:pt x="289" y="0"/>
                </a:cubicBezTo>
                <a:cubicBezTo>
                  <a:pt x="263" y="0"/>
                  <a:pt x="249" y="15"/>
                  <a:pt x="236" y="28"/>
                </a:cubicBezTo>
                <a:cubicBezTo>
                  <a:pt x="233" y="31"/>
                  <a:pt x="233" y="31"/>
                  <a:pt x="233" y="31"/>
                </a:cubicBezTo>
                <a:cubicBezTo>
                  <a:pt x="222" y="43"/>
                  <a:pt x="212" y="51"/>
                  <a:pt x="200" y="51"/>
                </a:cubicBezTo>
                <a:cubicBezTo>
                  <a:pt x="200" y="51"/>
                  <a:pt x="200" y="51"/>
                  <a:pt x="200" y="51"/>
                </a:cubicBezTo>
                <a:cubicBezTo>
                  <a:pt x="195" y="51"/>
                  <a:pt x="190" y="49"/>
                  <a:pt x="185" y="47"/>
                </a:cubicBezTo>
                <a:cubicBezTo>
                  <a:pt x="172" y="41"/>
                  <a:pt x="159" y="37"/>
                  <a:pt x="147" y="37"/>
                </a:cubicBezTo>
                <a:cubicBezTo>
                  <a:pt x="133" y="37"/>
                  <a:pt x="122" y="42"/>
                  <a:pt x="119" y="51"/>
                </a:cubicBezTo>
                <a:cubicBezTo>
                  <a:pt x="117" y="57"/>
                  <a:pt x="116" y="67"/>
                  <a:pt x="130" y="80"/>
                </a:cubicBezTo>
                <a:cubicBezTo>
                  <a:pt x="130" y="80"/>
                  <a:pt x="132" y="81"/>
                  <a:pt x="134" y="83"/>
                </a:cubicBezTo>
                <a:cubicBezTo>
                  <a:pt x="196" y="134"/>
                  <a:pt x="211" y="181"/>
                  <a:pt x="213" y="213"/>
                </a:cubicBezTo>
                <a:cubicBezTo>
                  <a:pt x="125" y="245"/>
                  <a:pt x="0" y="344"/>
                  <a:pt x="0" y="462"/>
                </a:cubicBezTo>
                <a:cubicBezTo>
                  <a:pt x="0" y="579"/>
                  <a:pt x="47" y="646"/>
                  <a:pt x="289" y="646"/>
                </a:cubicBezTo>
                <a:cubicBezTo>
                  <a:pt x="530" y="646"/>
                  <a:pt x="577" y="579"/>
                  <a:pt x="577" y="462"/>
                </a:cubicBezTo>
                <a:close/>
                <a:moveTo>
                  <a:pt x="179" y="59"/>
                </a:moveTo>
                <a:cubicBezTo>
                  <a:pt x="186" y="63"/>
                  <a:pt x="193" y="65"/>
                  <a:pt x="200" y="65"/>
                </a:cubicBezTo>
                <a:cubicBezTo>
                  <a:pt x="200" y="65"/>
                  <a:pt x="200" y="65"/>
                  <a:pt x="200" y="65"/>
                </a:cubicBezTo>
                <a:cubicBezTo>
                  <a:pt x="218" y="65"/>
                  <a:pt x="231" y="53"/>
                  <a:pt x="243" y="41"/>
                </a:cubicBezTo>
                <a:cubicBezTo>
                  <a:pt x="246" y="37"/>
                  <a:pt x="246" y="37"/>
                  <a:pt x="246" y="37"/>
                </a:cubicBezTo>
                <a:cubicBezTo>
                  <a:pt x="258" y="25"/>
                  <a:pt x="269" y="14"/>
                  <a:pt x="289" y="14"/>
                </a:cubicBezTo>
                <a:cubicBezTo>
                  <a:pt x="308" y="14"/>
                  <a:pt x="319" y="25"/>
                  <a:pt x="331" y="37"/>
                </a:cubicBezTo>
                <a:cubicBezTo>
                  <a:pt x="334" y="41"/>
                  <a:pt x="334" y="41"/>
                  <a:pt x="334" y="41"/>
                </a:cubicBezTo>
                <a:cubicBezTo>
                  <a:pt x="346" y="53"/>
                  <a:pt x="359" y="65"/>
                  <a:pt x="377" y="65"/>
                </a:cubicBezTo>
                <a:cubicBezTo>
                  <a:pt x="384" y="65"/>
                  <a:pt x="391" y="63"/>
                  <a:pt x="399" y="59"/>
                </a:cubicBezTo>
                <a:cubicBezTo>
                  <a:pt x="409" y="54"/>
                  <a:pt x="420" y="51"/>
                  <a:pt x="430" y="51"/>
                </a:cubicBezTo>
                <a:cubicBezTo>
                  <a:pt x="439" y="51"/>
                  <a:pt x="444" y="54"/>
                  <a:pt x="445" y="56"/>
                </a:cubicBezTo>
                <a:cubicBezTo>
                  <a:pt x="446" y="58"/>
                  <a:pt x="444" y="63"/>
                  <a:pt x="438" y="70"/>
                </a:cubicBezTo>
                <a:cubicBezTo>
                  <a:pt x="437" y="70"/>
                  <a:pt x="436" y="71"/>
                  <a:pt x="435" y="72"/>
                </a:cubicBezTo>
                <a:cubicBezTo>
                  <a:pt x="365" y="129"/>
                  <a:pt x="350" y="183"/>
                  <a:pt x="350" y="218"/>
                </a:cubicBezTo>
                <a:cubicBezTo>
                  <a:pt x="350" y="221"/>
                  <a:pt x="352" y="223"/>
                  <a:pt x="355" y="224"/>
                </a:cubicBezTo>
                <a:cubicBezTo>
                  <a:pt x="439" y="253"/>
                  <a:pt x="563" y="349"/>
                  <a:pt x="563" y="462"/>
                </a:cubicBezTo>
                <a:cubicBezTo>
                  <a:pt x="563" y="573"/>
                  <a:pt x="519" y="632"/>
                  <a:pt x="289" y="632"/>
                </a:cubicBezTo>
                <a:cubicBezTo>
                  <a:pt x="58" y="632"/>
                  <a:pt x="14" y="573"/>
                  <a:pt x="14" y="462"/>
                </a:cubicBezTo>
                <a:cubicBezTo>
                  <a:pt x="14" y="349"/>
                  <a:pt x="138" y="253"/>
                  <a:pt x="222" y="224"/>
                </a:cubicBezTo>
                <a:cubicBezTo>
                  <a:pt x="225" y="223"/>
                  <a:pt x="227" y="221"/>
                  <a:pt x="227" y="218"/>
                </a:cubicBezTo>
                <a:cubicBezTo>
                  <a:pt x="227" y="183"/>
                  <a:pt x="212" y="129"/>
                  <a:pt x="142" y="72"/>
                </a:cubicBezTo>
                <a:cubicBezTo>
                  <a:pt x="141" y="71"/>
                  <a:pt x="140" y="70"/>
                  <a:pt x="140" y="70"/>
                </a:cubicBezTo>
                <a:cubicBezTo>
                  <a:pt x="133" y="63"/>
                  <a:pt x="131" y="58"/>
                  <a:pt x="132" y="56"/>
                </a:cubicBezTo>
                <a:cubicBezTo>
                  <a:pt x="133" y="54"/>
                  <a:pt x="138" y="51"/>
                  <a:pt x="147" y="51"/>
                </a:cubicBezTo>
                <a:cubicBezTo>
                  <a:pt x="157" y="51"/>
                  <a:pt x="168" y="54"/>
                  <a:pt x="179" y="5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1" name="Oval 30"/>
          <p:cNvSpPr>
            <a:spLocks noChangeArrowheads="1"/>
          </p:cNvSpPr>
          <p:nvPr/>
        </p:nvSpPr>
        <p:spPr bwMode="auto">
          <a:xfrm>
            <a:off x="7430588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21" name="Freeform 112"/>
          <p:cNvSpPr>
            <a:spLocks noEditPoints="1"/>
          </p:cNvSpPr>
          <p:nvPr/>
        </p:nvSpPr>
        <p:spPr bwMode="auto">
          <a:xfrm>
            <a:off x="7618438" y="2455853"/>
            <a:ext cx="447261" cy="500038"/>
          </a:xfrm>
          <a:custGeom>
            <a:avLst/>
            <a:gdLst>
              <a:gd name="T0" fmla="*/ 210 w 577"/>
              <a:gd name="T1" fmla="*/ 508 h 646"/>
              <a:gd name="T2" fmla="*/ 219 w 577"/>
              <a:gd name="T3" fmla="*/ 497 h 646"/>
              <a:gd name="T4" fmla="*/ 353 w 577"/>
              <a:gd name="T5" fmla="*/ 489 h 646"/>
              <a:gd name="T6" fmla="*/ 296 w 577"/>
              <a:gd name="T7" fmla="*/ 441 h 646"/>
              <a:gd name="T8" fmla="*/ 222 w 577"/>
              <a:gd name="T9" fmla="*/ 384 h 646"/>
              <a:gd name="T10" fmla="*/ 367 w 577"/>
              <a:gd name="T11" fmla="*/ 354 h 646"/>
              <a:gd name="T12" fmla="*/ 360 w 577"/>
              <a:gd name="T13" fmla="*/ 366 h 646"/>
              <a:gd name="T14" fmla="*/ 236 w 577"/>
              <a:gd name="T15" fmla="*/ 384 h 646"/>
              <a:gd name="T16" fmla="*/ 299 w 577"/>
              <a:gd name="T17" fmla="*/ 427 h 646"/>
              <a:gd name="T18" fmla="*/ 367 w 577"/>
              <a:gd name="T19" fmla="*/ 489 h 646"/>
              <a:gd name="T20" fmla="*/ 302 w 577"/>
              <a:gd name="T21" fmla="*/ 582 h 646"/>
              <a:gd name="T22" fmla="*/ 295 w 577"/>
              <a:gd name="T23" fmla="*/ 293 h 646"/>
              <a:gd name="T24" fmla="*/ 288 w 577"/>
              <a:gd name="T25" fmla="*/ 582 h 646"/>
              <a:gd name="T26" fmla="*/ 302 w 577"/>
              <a:gd name="T27" fmla="*/ 582 h 646"/>
              <a:gd name="T28" fmla="*/ 359 w 577"/>
              <a:gd name="T29" fmla="*/ 211 h 646"/>
              <a:gd name="T30" fmla="*/ 289 w 577"/>
              <a:gd name="T31" fmla="*/ 231 h 646"/>
              <a:gd name="T32" fmla="*/ 227 w 577"/>
              <a:gd name="T33" fmla="*/ 216 h 646"/>
              <a:gd name="T34" fmla="*/ 289 w 577"/>
              <a:gd name="T35" fmla="*/ 245 h 646"/>
              <a:gd name="T36" fmla="*/ 577 w 577"/>
              <a:gd name="T37" fmla="*/ 462 h 646"/>
              <a:gd name="T38" fmla="*/ 444 w 577"/>
              <a:gd name="T39" fmla="*/ 83 h 646"/>
              <a:gd name="T40" fmla="*/ 458 w 577"/>
              <a:gd name="T41" fmla="*/ 51 h 646"/>
              <a:gd name="T42" fmla="*/ 393 w 577"/>
              <a:gd name="T43" fmla="*/ 47 h 646"/>
              <a:gd name="T44" fmla="*/ 344 w 577"/>
              <a:gd name="T45" fmla="*/ 31 h 646"/>
              <a:gd name="T46" fmla="*/ 289 w 577"/>
              <a:gd name="T47" fmla="*/ 0 h 646"/>
              <a:gd name="T48" fmla="*/ 233 w 577"/>
              <a:gd name="T49" fmla="*/ 31 h 646"/>
              <a:gd name="T50" fmla="*/ 200 w 577"/>
              <a:gd name="T51" fmla="*/ 51 h 646"/>
              <a:gd name="T52" fmla="*/ 147 w 577"/>
              <a:gd name="T53" fmla="*/ 37 h 646"/>
              <a:gd name="T54" fmla="*/ 130 w 577"/>
              <a:gd name="T55" fmla="*/ 80 h 646"/>
              <a:gd name="T56" fmla="*/ 213 w 577"/>
              <a:gd name="T57" fmla="*/ 213 h 646"/>
              <a:gd name="T58" fmla="*/ 289 w 577"/>
              <a:gd name="T59" fmla="*/ 646 h 646"/>
              <a:gd name="T60" fmla="*/ 179 w 577"/>
              <a:gd name="T61" fmla="*/ 59 h 646"/>
              <a:gd name="T62" fmla="*/ 200 w 577"/>
              <a:gd name="T63" fmla="*/ 65 h 646"/>
              <a:gd name="T64" fmla="*/ 246 w 577"/>
              <a:gd name="T65" fmla="*/ 37 h 646"/>
              <a:gd name="T66" fmla="*/ 331 w 577"/>
              <a:gd name="T67" fmla="*/ 37 h 646"/>
              <a:gd name="T68" fmla="*/ 377 w 577"/>
              <a:gd name="T69" fmla="*/ 65 h 646"/>
              <a:gd name="T70" fmla="*/ 430 w 577"/>
              <a:gd name="T71" fmla="*/ 51 h 646"/>
              <a:gd name="T72" fmla="*/ 438 w 577"/>
              <a:gd name="T73" fmla="*/ 70 h 646"/>
              <a:gd name="T74" fmla="*/ 350 w 577"/>
              <a:gd name="T75" fmla="*/ 218 h 646"/>
              <a:gd name="T76" fmla="*/ 563 w 577"/>
              <a:gd name="T77" fmla="*/ 462 h 646"/>
              <a:gd name="T78" fmla="*/ 14 w 577"/>
              <a:gd name="T79" fmla="*/ 462 h 646"/>
              <a:gd name="T80" fmla="*/ 227 w 577"/>
              <a:gd name="T81" fmla="*/ 218 h 646"/>
              <a:gd name="T82" fmla="*/ 140 w 577"/>
              <a:gd name="T83" fmla="*/ 70 h 646"/>
              <a:gd name="T84" fmla="*/ 147 w 577"/>
              <a:gd name="T85" fmla="*/ 51 h 6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77" h="646">
                <a:moveTo>
                  <a:pt x="297" y="542"/>
                </a:moveTo>
                <a:cubicBezTo>
                  <a:pt x="272" y="542"/>
                  <a:pt x="233" y="526"/>
                  <a:pt x="210" y="508"/>
                </a:cubicBezTo>
                <a:cubicBezTo>
                  <a:pt x="207" y="505"/>
                  <a:pt x="206" y="501"/>
                  <a:pt x="209" y="498"/>
                </a:cubicBezTo>
                <a:cubicBezTo>
                  <a:pt x="211" y="495"/>
                  <a:pt x="216" y="494"/>
                  <a:pt x="219" y="497"/>
                </a:cubicBezTo>
                <a:cubicBezTo>
                  <a:pt x="239" y="513"/>
                  <a:pt x="275" y="528"/>
                  <a:pt x="297" y="528"/>
                </a:cubicBezTo>
                <a:cubicBezTo>
                  <a:pt x="349" y="528"/>
                  <a:pt x="353" y="498"/>
                  <a:pt x="353" y="489"/>
                </a:cubicBezTo>
                <a:cubicBezTo>
                  <a:pt x="353" y="457"/>
                  <a:pt x="330" y="449"/>
                  <a:pt x="303" y="443"/>
                </a:cubicBezTo>
                <a:cubicBezTo>
                  <a:pt x="301" y="442"/>
                  <a:pt x="298" y="442"/>
                  <a:pt x="296" y="441"/>
                </a:cubicBezTo>
                <a:cubicBezTo>
                  <a:pt x="293" y="440"/>
                  <a:pt x="291" y="440"/>
                  <a:pt x="288" y="439"/>
                </a:cubicBezTo>
                <a:cubicBezTo>
                  <a:pt x="265" y="434"/>
                  <a:pt x="222" y="424"/>
                  <a:pt x="222" y="384"/>
                </a:cubicBezTo>
                <a:cubicBezTo>
                  <a:pt x="222" y="344"/>
                  <a:pt x="262" y="329"/>
                  <a:pt x="295" y="329"/>
                </a:cubicBezTo>
                <a:cubicBezTo>
                  <a:pt x="317" y="329"/>
                  <a:pt x="344" y="339"/>
                  <a:pt x="367" y="354"/>
                </a:cubicBezTo>
                <a:cubicBezTo>
                  <a:pt x="370" y="356"/>
                  <a:pt x="371" y="361"/>
                  <a:pt x="369" y="364"/>
                </a:cubicBezTo>
                <a:cubicBezTo>
                  <a:pt x="367" y="367"/>
                  <a:pt x="363" y="368"/>
                  <a:pt x="360" y="366"/>
                </a:cubicBezTo>
                <a:cubicBezTo>
                  <a:pt x="338" y="352"/>
                  <a:pt x="314" y="343"/>
                  <a:pt x="295" y="343"/>
                </a:cubicBezTo>
                <a:cubicBezTo>
                  <a:pt x="239" y="343"/>
                  <a:pt x="236" y="377"/>
                  <a:pt x="236" y="384"/>
                </a:cubicBezTo>
                <a:cubicBezTo>
                  <a:pt x="236" y="410"/>
                  <a:pt x="263" y="419"/>
                  <a:pt x="291" y="425"/>
                </a:cubicBezTo>
                <a:cubicBezTo>
                  <a:pt x="294" y="426"/>
                  <a:pt x="297" y="427"/>
                  <a:pt x="299" y="427"/>
                </a:cubicBezTo>
                <a:cubicBezTo>
                  <a:pt x="301" y="428"/>
                  <a:pt x="304" y="429"/>
                  <a:pt x="307" y="429"/>
                </a:cubicBezTo>
                <a:cubicBezTo>
                  <a:pt x="328" y="434"/>
                  <a:pt x="367" y="443"/>
                  <a:pt x="367" y="489"/>
                </a:cubicBezTo>
                <a:cubicBezTo>
                  <a:pt x="367" y="528"/>
                  <a:pt x="331" y="542"/>
                  <a:pt x="297" y="542"/>
                </a:cubicBezTo>
                <a:close/>
                <a:moveTo>
                  <a:pt x="302" y="582"/>
                </a:moveTo>
                <a:cubicBezTo>
                  <a:pt x="302" y="300"/>
                  <a:pt x="302" y="300"/>
                  <a:pt x="302" y="300"/>
                </a:cubicBezTo>
                <a:cubicBezTo>
                  <a:pt x="302" y="297"/>
                  <a:pt x="299" y="293"/>
                  <a:pt x="295" y="293"/>
                </a:cubicBezTo>
                <a:cubicBezTo>
                  <a:pt x="292" y="293"/>
                  <a:pt x="288" y="297"/>
                  <a:pt x="288" y="300"/>
                </a:cubicBezTo>
                <a:cubicBezTo>
                  <a:pt x="288" y="582"/>
                  <a:pt x="288" y="582"/>
                  <a:pt x="288" y="582"/>
                </a:cubicBezTo>
                <a:cubicBezTo>
                  <a:pt x="288" y="586"/>
                  <a:pt x="292" y="589"/>
                  <a:pt x="295" y="589"/>
                </a:cubicBezTo>
                <a:cubicBezTo>
                  <a:pt x="299" y="589"/>
                  <a:pt x="302" y="586"/>
                  <a:pt x="302" y="582"/>
                </a:cubicBezTo>
                <a:close/>
                <a:moveTo>
                  <a:pt x="364" y="219"/>
                </a:moveTo>
                <a:cubicBezTo>
                  <a:pt x="365" y="215"/>
                  <a:pt x="363" y="212"/>
                  <a:pt x="359" y="211"/>
                </a:cubicBezTo>
                <a:cubicBezTo>
                  <a:pt x="355" y="210"/>
                  <a:pt x="351" y="213"/>
                  <a:pt x="351" y="216"/>
                </a:cubicBezTo>
                <a:cubicBezTo>
                  <a:pt x="351" y="216"/>
                  <a:pt x="342" y="231"/>
                  <a:pt x="289" y="231"/>
                </a:cubicBezTo>
                <a:cubicBezTo>
                  <a:pt x="233" y="231"/>
                  <a:pt x="227" y="216"/>
                  <a:pt x="227" y="216"/>
                </a:cubicBezTo>
                <a:cubicBezTo>
                  <a:pt x="227" y="216"/>
                  <a:pt x="227" y="216"/>
                  <a:pt x="227" y="216"/>
                </a:cubicBezTo>
                <a:cubicBezTo>
                  <a:pt x="213" y="219"/>
                  <a:pt x="213" y="219"/>
                  <a:pt x="213" y="219"/>
                </a:cubicBezTo>
                <a:cubicBezTo>
                  <a:pt x="214" y="224"/>
                  <a:pt x="222" y="245"/>
                  <a:pt x="289" y="245"/>
                </a:cubicBezTo>
                <a:cubicBezTo>
                  <a:pt x="355" y="245"/>
                  <a:pt x="363" y="224"/>
                  <a:pt x="364" y="219"/>
                </a:cubicBezTo>
                <a:close/>
                <a:moveTo>
                  <a:pt x="577" y="462"/>
                </a:moveTo>
                <a:cubicBezTo>
                  <a:pt x="577" y="344"/>
                  <a:pt x="452" y="245"/>
                  <a:pt x="365" y="213"/>
                </a:cubicBezTo>
                <a:cubicBezTo>
                  <a:pt x="366" y="181"/>
                  <a:pt x="381" y="134"/>
                  <a:pt x="444" y="83"/>
                </a:cubicBezTo>
                <a:cubicBezTo>
                  <a:pt x="446" y="81"/>
                  <a:pt x="447" y="80"/>
                  <a:pt x="447" y="80"/>
                </a:cubicBezTo>
                <a:cubicBezTo>
                  <a:pt x="461" y="67"/>
                  <a:pt x="461" y="57"/>
                  <a:pt x="458" y="51"/>
                </a:cubicBezTo>
                <a:cubicBezTo>
                  <a:pt x="455" y="42"/>
                  <a:pt x="445" y="37"/>
                  <a:pt x="430" y="37"/>
                </a:cubicBezTo>
                <a:cubicBezTo>
                  <a:pt x="418" y="37"/>
                  <a:pt x="405" y="41"/>
                  <a:pt x="393" y="47"/>
                </a:cubicBezTo>
                <a:cubicBezTo>
                  <a:pt x="387" y="49"/>
                  <a:pt x="382" y="51"/>
                  <a:pt x="377" y="51"/>
                </a:cubicBezTo>
                <a:cubicBezTo>
                  <a:pt x="365" y="51"/>
                  <a:pt x="356" y="43"/>
                  <a:pt x="344" y="31"/>
                </a:cubicBezTo>
                <a:cubicBezTo>
                  <a:pt x="341" y="28"/>
                  <a:pt x="341" y="28"/>
                  <a:pt x="341" y="28"/>
                </a:cubicBezTo>
                <a:cubicBezTo>
                  <a:pt x="329" y="15"/>
                  <a:pt x="314" y="0"/>
                  <a:pt x="289" y="0"/>
                </a:cubicBezTo>
                <a:cubicBezTo>
                  <a:pt x="263" y="0"/>
                  <a:pt x="249" y="15"/>
                  <a:pt x="236" y="28"/>
                </a:cubicBezTo>
                <a:cubicBezTo>
                  <a:pt x="233" y="31"/>
                  <a:pt x="233" y="31"/>
                  <a:pt x="233" y="31"/>
                </a:cubicBezTo>
                <a:cubicBezTo>
                  <a:pt x="222" y="43"/>
                  <a:pt x="212" y="51"/>
                  <a:pt x="200" y="51"/>
                </a:cubicBezTo>
                <a:cubicBezTo>
                  <a:pt x="200" y="51"/>
                  <a:pt x="200" y="51"/>
                  <a:pt x="200" y="51"/>
                </a:cubicBezTo>
                <a:cubicBezTo>
                  <a:pt x="196" y="51"/>
                  <a:pt x="190" y="49"/>
                  <a:pt x="185" y="47"/>
                </a:cubicBezTo>
                <a:cubicBezTo>
                  <a:pt x="172" y="41"/>
                  <a:pt x="159" y="37"/>
                  <a:pt x="147" y="37"/>
                </a:cubicBezTo>
                <a:cubicBezTo>
                  <a:pt x="133" y="37"/>
                  <a:pt x="123" y="42"/>
                  <a:pt x="119" y="51"/>
                </a:cubicBezTo>
                <a:cubicBezTo>
                  <a:pt x="117" y="57"/>
                  <a:pt x="117" y="67"/>
                  <a:pt x="130" y="80"/>
                </a:cubicBezTo>
                <a:cubicBezTo>
                  <a:pt x="131" y="80"/>
                  <a:pt x="132" y="81"/>
                  <a:pt x="134" y="83"/>
                </a:cubicBezTo>
                <a:cubicBezTo>
                  <a:pt x="196" y="134"/>
                  <a:pt x="212" y="181"/>
                  <a:pt x="213" y="213"/>
                </a:cubicBezTo>
                <a:cubicBezTo>
                  <a:pt x="125" y="245"/>
                  <a:pt x="0" y="344"/>
                  <a:pt x="0" y="462"/>
                </a:cubicBezTo>
                <a:cubicBezTo>
                  <a:pt x="0" y="579"/>
                  <a:pt x="47" y="646"/>
                  <a:pt x="289" y="646"/>
                </a:cubicBezTo>
                <a:cubicBezTo>
                  <a:pt x="530" y="646"/>
                  <a:pt x="577" y="579"/>
                  <a:pt x="577" y="462"/>
                </a:cubicBezTo>
                <a:close/>
                <a:moveTo>
                  <a:pt x="179" y="59"/>
                </a:moveTo>
                <a:cubicBezTo>
                  <a:pt x="186" y="63"/>
                  <a:pt x="193" y="65"/>
                  <a:pt x="200" y="65"/>
                </a:cubicBezTo>
                <a:cubicBezTo>
                  <a:pt x="200" y="65"/>
                  <a:pt x="200" y="65"/>
                  <a:pt x="200" y="65"/>
                </a:cubicBezTo>
                <a:cubicBezTo>
                  <a:pt x="218" y="65"/>
                  <a:pt x="231" y="53"/>
                  <a:pt x="243" y="41"/>
                </a:cubicBezTo>
                <a:cubicBezTo>
                  <a:pt x="246" y="37"/>
                  <a:pt x="246" y="37"/>
                  <a:pt x="246" y="37"/>
                </a:cubicBezTo>
                <a:cubicBezTo>
                  <a:pt x="259" y="25"/>
                  <a:pt x="269" y="14"/>
                  <a:pt x="289" y="14"/>
                </a:cubicBezTo>
                <a:cubicBezTo>
                  <a:pt x="308" y="14"/>
                  <a:pt x="319" y="25"/>
                  <a:pt x="331" y="37"/>
                </a:cubicBezTo>
                <a:cubicBezTo>
                  <a:pt x="334" y="41"/>
                  <a:pt x="334" y="41"/>
                  <a:pt x="334" y="41"/>
                </a:cubicBezTo>
                <a:cubicBezTo>
                  <a:pt x="346" y="53"/>
                  <a:pt x="359" y="65"/>
                  <a:pt x="377" y="65"/>
                </a:cubicBezTo>
                <a:cubicBezTo>
                  <a:pt x="384" y="65"/>
                  <a:pt x="391" y="63"/>
                  <a:pt x="399" y="59"/>
                </a:cubicBezTo>
                <a:cubicBezTo>
                  <a:pt x="409" y="54"/>
                  <a:pt x="420" y="51"/>
                  <a:pt x="430" y="51"/>
                </a:cubicBezTo>
                <a:cubicBezTo>
                  <a:pt x="439" y="51"/>
                  <a:pt x="444" y="54"/>
                  <a:pt x="445" y="56"/>
                </a:cubicBezTo>
                <a:cubicBezTo>
                  <a:pt x="446" y="58"/>
                  <a:pt x="445" y="63"/>
                  <a:pt x="438" y="70"/>
                </a:cubicBezTo>
                <a:cubicBezTo>
                  <a:pt x="437" y="70"/>
                  <a:pt x="436" y="71"/>
                  <a:pt x="435" y="72"/>
                </a:cubicBezTo>
                <a:cubicBezTo>
                  <a:pt x="365" y="129"/>
                  <a:pt x="350" y="183"/>
                  <a:pt x="350" y="218"/>
                </a:cubicBezTo>
                <a:cubicBezTo>
                  <a:pt x="350" y="221"/>
                  <a:pt x="352" y="223"/>
                  <a:pt x="355" y="224"/>
                </a:cubicBezTo>
                <a:cubicBezTo>
                  <a:pt x="439" y="253"/>
                  <a:pt x="563" y="349"/>
                  <a:pt x="563" y="462"/>
                </a:cubicBezTo>
                <a:cubicBezTo>
                  <a:pt x="563" y="573"/>
                  <a:pt x="520" y="632"/>
                  <a:pt x="289" y="632"/>
                </a:cubicBezTo>
                <a:cubicBezTo>
                  <a:pt x="58" y="632"/>
                  <a:pt x="14" y="573"/>
                  <a:pt x="14" y="462"/>
                </a:cubicBezTo>
                <a:cubicBezTo>
                  <a:pt x="14" y="349"/>
                  <a:pt x="138" y="253"/>
                  <a:pt x="222" y="224"/>
                </a:cubicBezTo>
                <a:cubicBezTo>
                  <a:pt x="225" y="223"/>
                  <a:pt x="227" y="221"/>
                  <a:pt x="227" y="218"/>
                </a:cubicBezTo>
                <a:cubicBezTo>
                  <a:pt x="227" y="183"/>
                  <a:pt x="212" y="129"/>
                  <a:pt x="143" y="72"/>
                </a:cubicBezTo>
                <a:cubicBezTo>
                  <a:pt x="141" y="71"/>
                  <a:pt x="140" y="70"/>
                  <a:pt x="140" y="70"/>
                </a:cubicBezTo>
                <a:cubicBezTo>
                  <a:pt x="133" y="63"/>
                  <a:pt x="131" y="58"/>
                  <a:pt x="132" y="56"/>
                </a:cubicBezTo>
                <a:cubicBezTo>
                  <a:pt x="133" y="54"/>
                  <a:pt x="138" y="51"/>
                  <a:pt x="147" y="51"/>
                </a:cubicBezTo>
                <a:cubicBezTo>
                  <a:pt x="157" y="51"/>
                  <a:pt x="168" y="54"/>
                  <a:pt x="179" y="5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0" name="Oval 29"/>
          <p:cNvSpPr>
            <a:spLocks noChangeArrowheads="1"/>
          </p:cNvSpPr>
          <p:nvPr/>
        </p:nvSpPr>
        <p:spPr bwMode="auto">
          <a:xfrm>
            <a:off x="6137845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23" name="Freeform 114"/>
          <p:cNvSpPr>
            <a:spLocks noEditPoints="1"/>
          </p:cNvSpPr>
          <p:nvPr/>
        </p:nvSpPr>
        <p:spPr bwMode="auto">
          <a:xfrm>
            <a:off x="6336645" y="1306965"/>
            <a:ext cx="424465" cy="457101"/>
          </a:xfrm>
          <a:custGeom>
            <a:avLst/>
            <a:gdLst>
              <a:gd name="T0" fmla="*/ 442 w 548"/>
              <a:gd name="T1" fmla="*/ 53 h 591"/>
              <a:gd name="T2" fmla="*/ 413 w 548"/>
              <a:gd name="T3" fmla="*/ 0 h 591"/>
              <a:gd name="T4" fmla="*/ 384 w 548"/>
              <a:gd name="T5" fmla="*/ 53 h 591"/>
              <a:gd name="T6" fmla="*/ 163 w 548"/>
              <a:gd name="T7" fmla="*/ 29 h 591"/>
              <a:gd name="T8" fmla="*/ 105 w 548"/>
              <a:gd name="T9" fmla="*/ 29 h 591"/>
              <a:gd name="T10" fmla="*/ 7 w 548"/>
              <a:gd name="T11" fmla="*/ 53 h 591"/>
              <a:gd name="T12" fmla="*/ 0 w 548"/>
              <a:gd name="T13" fmla="*/ 584 h 591"/>
              <a:gd name="T14" fmla="*/ 541 w 548"/>
              <a:gd name="T15" fmla="*/ 591 h 591"/>
              <a:gd name="T16" fmla="*/ 548 w 548"/>
              <a:gd name="T17" fmla="*/ 60 h 591"/>
              <a:gd name="T18" fmla="*/ 398 w 548"/>
              <a:gd name="T19" fmla="*/ 29 h 591"/>
              <a:gd name="T20" fmla="*/ 428 w 548"/>
              <a:gd name="T21" fmla="*/ 29 h 591"/>
              <a:gd name="T22" fmla="*/ 413 w 548"/>
              <a:gd name="T23" fmla="*/ 106 h 591"/>
              <a:gd name="T24" fmla="*/ 398 w 548"/>
              <a:gd name="T25" fmla="*/ 29 h 591"/>
              <a:gd name="T26" fmla="*/ 134 w 548"/>
              <a:gd name="T27" fmla="*/ 14 h 591"/>
              <a:gd name="T28" fmla="*/ 149 w 548"/>
              <a:gd name="T29" fmla="*/ 92 h 591"/>
              <a:gd name="T30" fmla="*/ 119 w 548"/>
              <a:gd name="T31" fmla="*/ 92 h 591"/>
              <a:gd name="T32" fmla="*/ 105 w 548"/>
              <a:gd name="T33" fmla="*/ 67 h 591"/>
              <a:gd name="T34" fmla="*/ 134 w 548"/>
              <a:gd name="T35" fmla="*/ 120 h 591"/>
              <a:gd name="T36" fmla="*/ 163 w 548"/>
              <a:gd name="T37" fmla="*/ 67 h 591"/>
              <a:gd name="T38" fmla="*/ 384 w 548"/>
              <a:gd name="T39" fmla="*/ 92 h 591"/>
              <a:gd name="T40" fmla="*/ 442 w 548"/>
              <a:gd name="T41" fmla="*/ 92 h 591"/>
              <a:gd name="T42" fmla="*/ 534 w 548"/>
              <a:gd name="T43" fmla="*/ 67 h 591"/>
              <a:gd name="T44" fmla="*/ 14 w 548"/>
              <a:gd name="T45" fmla="*/ 177 h 591"/>
              <a:gd name="T46" fmla="*/ 105 w 548"/>
              <a:gd name="T47" fmla="*/ 67 h 591"/>
              <a:gd name="T48" fmla="*/ 14 w 548"/>
              <a:gd name="T49" fmla="*/ 191 h 591"/>
              <a:gd name="T50" fmla="*/ 534 w 548"/>
              <a:gd name="T51" fmla="*/ 577 h 591"/>
              <a:gd name="T52" fmla="*/ 436 w 548"/>
              <a:gd name="T53" fmla="*/ 260 h 591"/>
              <a:gd name="T54" fmla="*/ 223 w 548"/>
              <a:gd name="T55" fmla="*/ 521 h 591"/>
              <a:gd name="T56" fmla="*/ 218 w 548"/>
              <a:gd name="T57" fmla="*/ 520 h 591"/>
              <a:gd name="T58" fmla="*/ 113 w 548"/>
              <a:gd name="T59" fmla="*/ 417 h 591"/>
              <a:gd name="T60" fmla="*/ 221 w 548"/>
              <a:gd name="T61" fmla="*/ 504 h 591"/>
              <a:gd name="T62" fmla="*/ 435 w 548"/>
              <a:gd name="T63" fmla="*/ 250 h 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8" h="591">
                <a:moveTo>
                  <a:pt x="541" y="53"/>
                </a:moveTo>
                <a:cubicBezTo>
                  <a:pt x="442" y="53"/>
                  <a:pt x="442" y="53"/>
                  <a:pt x="442" y="53"/>
                </a:cubicBezTo>
                <a:cubicBezTo>
                  <a:pt x="442" y="29"/>
                  <a:pt x="442" y="29"/>
                  <a:pt x="442" y="29"/>
                </a:cubicBezTo>
                <a:cubicBezTo>
                  <a:pt x="442" y="13"/>
                  <a:pt x="429" y="0"/>
                  <a:pt x="413" y="0"/>
                </a:cubicBezTo>
                <a:cubicBezTo>
                  <a:pt x="397" y="0"/>
                  <a:pt x="384" y="13"/>
                  <a:pt x="384" y="29"/>
                </a:cubicBezTo>
                <a:cubicBezTo>
                  <a:pt x="384" y="53"/>
                  <a:pt x="384" y="53"/>
                  <a:pt x="384" y="53"/>
                </a:cubicBezTo>
                <a:cubicBezTo>
                  <a:pt x="163" y="53"/>
                  <a:pt x="163" y="53"/>
                  <a:pt x="163" y="53"/>
                </a:cubicBezTo>
                <a:cubicBezTo>
                  <a:pt x="163" y="29"/>
                  <a:pt x="163" y="29"/>
                  <a:pt x="163" y="29"/>
                </a:cubicBezTo>
                <a:cubicBezTo>
                  <a:pt x="163" y="13"/>
                  <a:pt x="150" y="0"/>
                  <a:pt x="134" y="0"/>
                </a:cubicBezTo>
                <a:cubicBezTo>
                  <a:pt x="118" y="0"/>
                  <a:pt x="105" y="13"/>
                  <a:pt x="105" y="29"/>
                </a:cubicBezTo>
                <a:cubicBezTo>
                  <a:pt x="105" y="53"/>
                  <a:pt x="105" y="53"/>
                  <a:pt x="105" y="53"/>
                </a:cubicBezTo>
                <a:cubicBezTo>
                  <a:pt x="7" y="53"/>
                  <a:pt x="7" y="53"/>
                  <a:pt x="7" y="53"/>
                </a:cubicBezTo>
                <a:cubicBezTo>
                  <a:pt x="3" y="53"/>
                  <a:pt x="0" y="56"/>
                  <a:pt x="0" y="60"/>
                </a:cubicBezTo>
                <a:cubicBezTo>
                  <a:pt x="0" y="584"/>
                  <a:pt x="0" y="584"/>
                  <a:pt x="0" y="584"/>
                </a:cubicBezTo>
                <a:cubicBezTo>
                  <a:pt x="0" y="587"/>
                  <a:pt x="3" y="591"/>
                  <a:pt x="7" y="591"/>
                </a:cubicBezTo>
                <a:cubicBezTo>
                  <a:pt x="541" y="591"/>
                  <a:pt x="541" y="591"/>
                  <a:pt x="541" y="591"/>
                </a:cubicBezTo>
                <a:cubicBezTo>
                  <a:pt x="544" y="591"/>
                  <a:pt x="548" y="587"/>
                  <a:pt x="548" y="584"/>
                </a:cubicBezTo>
                <a:cubicBezTo>
                  <a:pt x="548" y="60"/>
                  <a:pt x="548" y="60"/>
                  <a:pt x="548" y="60"/>
                </a:cubicBezTo>
                <a:cubicBezTo>
                  <a:pt x="548" y="56"/>
                  <a:pt x="544" y="53"/>
                  <a:pt x="541" y="53"/>
                </a:cubicBezTo>
                <a:close/>
                <a:moveTo>
                  <a:pt x="398" y="29"/>
                </a:moveTo>
                <a:cubicBezTo>
                  <a:pt x="398" y="20"/>
                  <a:pt x="405" y="14"/>
                  <a:pt x="413" y="14"/>
                </a:cubicBezTo>
                <a:cubicBezTo>
                  <a:pt x="422" y="14"/>
                  <a:pt x="428" y="20"/>
                  <a:pt x="428" y="29"/>
                </a:cubicBezTo>
                <a:cubicBezTo>
                  <a:pt x="428" y="92"/>
                  <a:pt x="428" y="92"/>
                  <a:pt x="428" y="92"/>
                </a:cubicBezTo>
                <a:cubicBezTo>
                  <a:pt x="428" y="100"/>
                  <a:pt x="422" y="106"/>
                  <a:pt x="413" y="106"/>
                </a:cubicBezTo>
                <a:cubicBezTo>
                  <a:pt x="405" y="106"/>
                  <a:pt x="398" y="100"/>
                  <a:pt x="398" y="92"/>
                </a:cubicBezTo>
                <a:lnTo>
                  <a:pt x="398" y="29"/>
                </a:lnTo>
                <a:close/>
                <a:moveTo>
                  <a:pt x="119" y="29"/>
                </a:moveTo>
                <a:cubicBezTo>
                  <a:pt x="119" y="20"/>
                  <a:pt x="126" y="14"/>
                  <a:pt x="134" y="14"/>
                </a:cubicBezTo>
                <a:cubicBezTo>
                  <a:pt x="142" y="14"/>
                  <a:pt x="149" y="20"/>
                  <a:pt x="149" y="29"/>
                </a:cubicBezTo>
                <a:cubicBezTo>
                  <a:pt x="149" y="92"/>
                  <a:pt x="149" y="92"/>
                  <a:pt x="149" y="92"/>
                </a:cubicBezTo>
                <a:cubicBezTo>
                  <a:pt x="149" y="100"/>
                  <a:pt x="142" y="106"/>
                  <a:pt x="134" y="106"/>
                </a:cubicBezTo>
                <a:cubicBezTo>
                  <a:pt x="126" y="106"/>
                  <a:pt x="119" y="100"/>
                  <a:pt x="119" y="92"/>
                </a:cubicBezTo>
                <a:lnTo>
                  <a:pt x="119" y="29"/>
                </a:lnTo>
                <a:close/>
                <a:moveTo>
                  <a:pt x="105" y="67"/>
                </a:moveTo>
                <a:cubicBezTo>
                  <a:pt x="105" y="92"/>
                  <a:pt x="105" y="92"/>
                  <a:pt x="105" y="92"/>
                </a:cubicBezTo>
                <a:cubicBezTo>
                  <a:pt x="105" y="107"/>
                  <a:pt x="118" y="120"/>
                  <a:pt x="134" y="120"/>
                </a:cubicBezTo>
                <a:cubicBezTo>
                  <a:pt x="150" y="120"/>
                  <a:pt x="163" y="107"/>
                  <a:pt x="163" y="92"/>
                </a:cubicBezTo>
                <a:cubicBezTo>
                  <a:pt x="163" y="67"/>
                  <a:pt x="163" y="67"/>
                  <a:pt x="163" y="67"/>
                </a:cubicBezTo>
                <a:cubicBezTo>
                  <a:pt x="384" y="67"/>
                  <a:pt x="384" y="67"/>
                  <a:pt x="384" y="67"/>
                </a:cubicBezTo>
                <a:cubicBezTo>
                  <a:pt x="384" y="92"/>
                  <a:pt x="384" y="92"/>
                  <a:pt x="384" y="92"/>
                </a:cubicBezTo>
                <a:cubicBezTo>
                  <a:pt x="384" y="107"/>
                  <a:pt x="397" y="120"/>
                  <a:pt x="413" y="120"/>
                </a:cubicBezTo>
                <a:cubicBezTo>
                  <a:pt x="429" y="120"/>
                  <a:pt x="442" y="107"/>
                  <a:pt x="442" y="92"/>
                </a:cubicBezTo>
                <a:cubicBezTo>
                  <a:pt x="442" y="67"/>
                  <a:pt x="442" y="67"/>
                  <a:pt x="442" y="67"/>
                </a:cubicBezTo>
                <a:cubicBezTo>
                  <a:pt x="534" y="67"/>
                  <a:pt x="534" y="67"/>
                  <a:pt x="534" y="67"/>
                </a:cubicBezTo>
                <a:cubicBezTo>
                  <a:pt x="534" y="177"/>
                  <a:pt x="534" y="177"/>
                  <a:pt x="534" y="177"/>
                </a:cubicBezTo>
                <a:cubicBezTo>
                  <a:pt x="14" y="177"/>
                  <a:pt x="14" y="177"/>
                  <a:pt x="14" y="177"/>
                </a:cubicBezTo>
                <a:cubicBezTo>
                  <a:pt x="14" y="67"/>
                  <a:pt x="14" y="67"/>
                  <a:pt x="14" y="67"/>
                </a:cubicBezTo>
                <a:lnTo>
                  <a:pt x="105" y="67"/>
                </a:lnTo>
                <a:close/>
                <a:moveTo>
                  <a:pt x="14" y="577"/>
                </a:moveTo>
                <a:cubicBezTo>
                  <a:pt x="14" y="191"/>
                  <a:pt x="14" y="191"/>
                  <a:pt x="14" y="191"/>
                </a:cubicBezTo>
                <a:cubicBezTo>
                  <a:pt x="534" y="191"/>
                  <a:pt x="534" y="191"/>
                  <a:pt x="534" y="191"/>
                </a:cubicBezTo>
                <a:cubicBezTo>
                  <a:pt x="534" y="577"/>
                  <a:pt x="534" y="577"/>
                  <a:pt x="534" y="577"/>
                </a:cubicBezTo>
                <a:lnTo>
                  <a:pt x="14" y="577"/>
                </a:lnTo>
                <a:close/>
                <a:moveTo>
                  <a:pt x="436" y="260"/>
                </a:moveTo>
                <a:cubicBezTo>
                  <a:pt x="228" y="519"/>
                  <a:pt x="228" y="519"/>
                  <a:pt x="228" y="519"/>
                </a:cubicBezTo>
                <a:cubicBezTo>
                  <a:pt x="226" y="520"/>
                  <a:pt x="225" y="521"/>
                  <a:pt x="223" y="521"/>
                </a:cubicBezTo>
                <a:cubicBezTo>
                  <a:pt x="223" y="521"/>
                  <a:pt x="222" y="521"/>
                  <a:pt x="222" y="521"/>
                </a:cubicBezTo>
                <a:cubicBezTo>
                  <a:pt x="221" y="521"/>
                  <a:pt x="219" y="521"/>
                  <a:pt x="218" y="520"/>
                </a:cubicBezTo>
                <a:cubicBezTo>
                  <a:pt x="114" y="427"/>
                  <a:pt x="114" y="427"/>
                  <a:pt x="114" y="427"/>
                </a:cubicBezTo>
                <a:cubicBezTo>
                  <a:pt x="111" y="424"/>
                  <a:pt x="111" y="420"/>
                  <a:pt x="113" y="417"/>
                </a:cubicBezTo>
                <a:cubicBezTo>
                  <a:pt x="116" y="414"/>
                  <a:pt x="120" y="414"/>
                  <a:pt x="123" y="416"/>
                </a:cubicBezTo>
                <a:cubicBezTo>
                  <a:pt x="221" y="504"/>
                  <a:pt x="221" y="504"/>
                  <a:pt x="221" y="504"/>
                </a:cubicBezTo>
                <a:cubicBezTo>
                  <a:pt x="425" y="251"/>
                  <a:pt x="425" y="251"/>
                  <a:pt x="425" y="251"/>
                </a:cubicBezTo>
                <a:cubicBezTo>
                  <a:pt x="427" y="248"/>
                  <a:pt x="432" y="248"/>
                  <a:pt x="435" y="250"/>
                </a:cubicBezTo>
                <a:cubicBezTo>
                  <a:pt x="438" y="252"/>
                  <a:pt x="438" y="257"/>
                  <a:pt x="436" y="26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5" name="Oval 34"/>
          <p:cNvSpPr>
            <a:spLocks noChangeArrowheads="1"/>
          </p:cNvSpPr>
          <p:nvPr/>
        </p:nvSpPr>
        <p:spPr bwMode="auto">
          <a:xfrm>
            <a:off x="4845101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49" name="Freeform 116"/>
          <p:cNvSpPr>
            <a:spLocks noEditPoints="1"/>
          </p:cNvSpPr>
          <p:nvPr/>
        </p:nvSpPr>
        <p:spPr bwMode="auto">
          <a:xfrm>
            <a:off x="5052856" y="1306965"/>
            <a:ext cx="407450" cy="457101"/>
          </a:xfrm>
          <a:custGeom>
            <a:avLst/>
            <a:gdLst>
              <a:gd name="T0" fmla="*/ 430 w 525"/>
              <a:gd name="T1" fmla="*/ 53 h 591"/>
              <a:gd name="T2" fmla="*/ 402 w 525"/>
              <a:gd name="T3" fmla="*/ 0 h 591"/>
              <a:gd name="T4" fmla="*/ 373 w 525"/>
              <a:gd name="T5" fmla="*/ 53 h 591"/>
              <a:gd name="T6" fmla="*/ 151 w 525"/>
              <a:gd name="T7" fmla="*/ 29 h 591"/>
              <a:gd name="T8" fmla="*/ 93 w 525"/>
              <a:gd name="T9" fmla="*/ 29 h 591"/>
              <a:gd name="T10" fmla="*/ 7 w 525"/>
              <a:gd name="T11" fmla="*/ 53 h 591"/>
              <a:gd name="T12" fmla="*/ 0 w 525"/>
              <a:gd name="T13" fmla="*/ 584 h 591"/>
              <a:gd name="T14" fmla="*/ 518 w 525"/>
              <a:gd name="T15" fmla="*/ 591 h 591"/>
              <a:gd name="T16" fmla="*/ 525 w 525"/>
              <a:gd name="T17" fmla="*/ 60 h 591"/>
              <a:gd name="T18" fmla="*/ 387 w 525"/>
              <a:gd name="T19" fmla="*/ 29 h 591"/>
              <a:gd name="T20" fmla="*/ 416 w 525"/>
              <a:gd name="T21" fmla="*/ 29 h 591"/>
              <a:gd name="T22" fmla="*/ 402 w 525"/>
              <a:gd name="T23" fmla="*/ 107 h 591"/>
              <a:gd name="T24" fmla="*/ 387 w 525"/>
              <a:gd name="T25" fmla="*/ 29 h 591"/>
              <a:gd name="T26" fmla="*/ 122 w 525"/>
              <a:gd name="T27" fmla="*/ 14 h 591"/>
              <a:gd name="T28" fmla="*/ 137 w 525"/>
              <a:gd name="T29" fmla="*/ 92 h 591"/>
              <a:gd name="T30" fmla="*/ 107 w 525"/>
              <a:gd name="T31" fmla="*/ 92 h 591"/>
              <a:gd name="T32" fmla="*/ 511 w 525"/>
              <a:gd name="T33" fmla="*/ 577 h 591"/>
              <a:gd name="T34" fmla="*/ 14 w 525"/>
              <a:gd name="T35" fmla="*/ 177 h 591"/>
              <a:gd name="T36" fmla="*/ 511 w 525"/>
              <a:gd name="T37" fmla="*/ 577 h 591"/>
              <a:gd name="T38" fmla="*/ 14 w 525"/>
              <a:gd name="T39" fmla="*/ 163 h 591"/>
              <a:gd name="T40" fmla="*/ 93 w 525"/>
              <a:gd name="T41" fmla="*/ 67 h 591"/>
              <a:gd name="T42" fmla="*/ 122 w 525"/>
              <a:gd name="T43" fmla="*/ 121 h 591"/>
              <a:gd name="T44" fmla="*/ 151 w 525"/>
              <a:gd name="T45" fmla="*/ 67 h 591"/>
              <a:gd name="T46" fmla="*/ 373 w 525"/>
              <a:gd name="T47" fmla="*/ 92 h 591"/>
              <a:gd name="T48" fmla="*/ 430 w 525"/>
              <a:gd name="T49" fmla="*/ 92 h 591"/>
              <a:gd name="T50" fmla="*/ 511 w 525"/>
              <a:gd name="T51" fmla="*/ 67 h 591"/>
              <a:gd name="T52" fmla="*/ 62 w 525"/>
              <a:gd name="T53" fmla="*/ 521 h 591"/>
              <a:gd name="T54" fmla="*/ 469 w 525"/>
              <a:gd name="T55" fmla="*/ 514 h 591"/>
              <a:gd name="T56" fmla="*/ 462 w 525"/>
              <a:gd name="T57" fmla="*/ 234 h 591"/>
              <a:gd name="T58" fmla="*/ 55 w 525"/>
              <a:gd name="T59" fmla="*/ 241 h 591"/>
              <a:gd name="T60" fmla="*/ 62 w 525"/>
              <a:gd name="T61" fmla="*/ 521 h 591"/>
              <a:gd name="T62" fmla="*/ 455 w 525"/>
              <a:gd name="T63" fmla="*/ 248 h 591"/>
              <a:gd name="T64" fmla="*/ 366 w 525"/>
              <a:gd name="T65" fmla="*/ 325 h 591"/>
              <a:gd name="T66" fmla="*/ 366 w 525"/>
              <a:gd name="T67" fmla="*/ 339 h 591"/>
              <a:gd name="T68" fmla="*/ 455 w 525"/>
              <a:gd name="T69" fmla="*/ 414 h 591"/>
              <a:gd name="T70" fmla="*/ 366 w 525"/>
              <a:gd name="T71" fmla="*/ 339 h 591"/>
              <a:gd name="T72" fmla="*/ 455 w 525"/>
              <a:gd name="T73" fmla="*/ 428 h 591"/>
              <a:gd name="T74" fmla="*/ 366 w 525"/>
              <a:gd name="T75" fmla="*/ 507 h 591"/>
              <a:gd name="T76" fmla="*/ 266 w 525"/>
              <a:gd name="T77" fmla="*/ 248 h 591"/>
              <a:gd name="T78" fmla="*/ 352 w 525"/>
              <a:gd name="T79" fmla="*/ 325 h 591"/>
              <a:gd name="T80" fmla="*/ 266 w 525"/>
              <a:gd name="T81" fmla="*/ 248 h 591"/>
              <a:gd name="T82" fmla="*/ 352 w 525"/>
              <a:gd name="T83" fmla="*/ 339 h 591"/>
              <a:gd name="T84" fmla="*/ 266 w 525"/>
              <a:gd name="T85" fmla="*/ 414 h 591"/>
              <a:gd name="T86" fmla="*/ 266 w 525"/>
              <a:gd name="T87" fmla="*/ 428 h 591"/>
              <a:gd name="T88" fmla="*/ 352 w 525"/>
              <a:gd name="T89" fmla="*/ 507 h 591"/>
              <a:gd name="T90" fmla="*/ 266 w 525"/>
              <a:gd name="T91" fmla="*/ 428 h 591"/>
              <a:gd name="T92" fmla="*/ 252 w 525"/>
              <a:gd name="T93" fmla="*/ 248 h 591"/>
              <a:gd name="T94" fmla="*/ 165 w 525"/>
              <a:gd name="T95" fmla="*/ 325 h 591"/>
              <a:gd name="T96" fmla="*/ 165 w 525"/>
              <a:gd name="T97" fmla="*/ 339 h 591"/>
              <a:gd name="T98" fmla="*/ 252 w 525"/>
              <a:gd name="T99" fmla="*/ 414 h 591"/>
              <a:gd name="T100" fmla="*/ 165 w 525"/>
              <a:gd name="T101" fmla="*/ 339 h 591"/>
              <a:gd name="T102" fmla="*/ 252 w 525"/>
              <a:gd name="T103" fmla="*/ 428 h 591"/>
              <a:gd name="T104" fmla="*/ 165 w 525"/>
              <a:gd name="T105" fmla="*/ 507 h 591"/>
              <a:gd name="T106" fmla="*/ 69 w 525"/>
              <a:gd name="T107" fmla="*/ 248 h 591"/>
              <a:gd name="T108" fmla="*/ 151 w 525"/>
              <a:gd name="T109" fmla="*/ 325 h 591"/>
              <a:gd name="T110" fmla="*/ 69 w 525"/>
              <a:gd name="T111" fmla="*/ 248 h 591"/>
              <a:gd name="T112" fmla="*/ 151 w 525"/>
              <a:gd name="T113" fmla="*/ 339 h 591"/>
              <a:gd name="T114" fmla="*/ 69 w 525"/>
              <a:gd name="T115" fmla="*/ 414 h 591"/>
              <a:gd name="T116" fmla="*/ 69 w 525"/>
              <a:gd name="T117" fmla="*/ 428 h 591"/>
              <a:gd name="T118" fmla="*/ 151 w 525"/>
              <a:gd name="T119" fmla="*/ 507 h 591"/>
              <a:gd name="T120" fmla="*/ 69 w 525"/>
              <a:gd name="T121" fmla="*/ 428 h 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25" h="591">
                <a:moveTo>
                  <a:pt x="518" y="53"/>
                </a:moveTo>
                <a:cubicBezTo>
                  <a:pt x="430" y="53"/>
                  <a:pt x="430" y="53"/>
                  <a:pt x="430" y="53"/>
                </a:cubicBezTo>
                <a:cubicBezTo>
                  <a:pt x="430" y="29"/>
                  <a:pt x="430" y="29"/>
                  <a:pt x="430" y="29"/>
                </a:cubicBezTo>
                <a:cubicBezTo>
                  <a:pt x="430" y="13"/>
                  <a:pt x="417" y="0"/>
                  <a:pt x="402" y="0"/>
                </a:cubicBezTo>
                <a:cubicBezTo>
                  <a:pt x="386" y="0"/>
                  <a:pt x="373" y="13"/>
                  <a:pt x="373" y="29"/>
                </a:cubicBezTo>
                <a:cubicBezTo>
                  <a:pt x="373" y="53"/>
                  <a:pt x="373" y="53"/>
                  <a:pt x="373" y="53"/>
                </a:cubicBezTo>
                <a:cubicBezTo>
                  <a:pt x="151" y="53"/>
                  <a:pt x="151" y="53"/>
                  <a:pt x="151" y="53"/>
                </a:cubicBezTo>
                <a:cubicBezTo>
                  <a:pt x="151" y="29"/>
                  <a:pt x="151" y="29"/>
                  <a:pt x="151" y="29"/>
                </a:cubicBezTo>
                <a:cubicBezTo>
                  <a:pt x="151" y="13"/>
                  <a:pt x="138" y="0"/>
                  <a:pt x="122" y="0"/>
                </a:cubicBezTo>
                <a:cubicBezTo>
                  <a:pt x="106" y="0"/>
                  <a:pt x="93" y="13"/>
                  <a:pt x="93" y="29"/>
                </a:cubicBezTo>
                <a:cubicBezTo>
                  <a:pt x="93" y="53"/>
                  <a:pt x="93" y="53"/>
                  <a:pt x="93" y="53"/>
                </a:cubicBezTo>
                <a:cubicBezTo>
                  <a:pt x="7" y="53"/>
                  <a:pt x="7" y="53"/>
                  <a:pt x="7" y="53"/>
                </a:cubicBezTo>
                <a:cubicBezTo>
                  <a:pt x="3" y="53"/>
                  <a:pt x="0" y="56"/>
                  <a:pt x="0" y="60"/>
                </a:cubicBezTo>
                <a:cubicBezTo>
                  <a:pt x="0" y="584"/>
                  <a:pt x="0" y="584"/>
                  <a:pt x="0" y="584"/>
                </a:cubicBezTo>
                <a:cubicBezTo>
                  <a:pt x="0" y="588"/>
                  <a:pt x="3" y="591"/>
                  <a:pt x="7" y="591"/>
                </a:cubicBezTo>
                <a:cubicBezTo>
                  <a:pt x="518" y="591"/>
                  <a:pt x="518" y="591"/>
                  <a:pt x="518" y="591"/>
                </a:cubicBezTo>
                <a:cubicBezTo>
                  <a:pt x="521" y="591"/>
                  <a:pt x="525" y="588"/>
                  <a:pt x="525" y="584"/>
                </a:cubicBezTo>
                <a:cubicBezTo>
                  <a:pt x="525" y="60"/>
                  <a:pt x="525" y="60"/>
                  <a:pt x="525" y="60"/>
                </a:cubicBezTo>
                <a:cubicBezTo>
                  <a:pt x="525" y="56"/>
                  <a:pt x="521" y="53"/>
                  <a:pt x="518" y="53"/>
                </a:cubicBezTo>
                <a:close/>
                <a:moveTo>
                  <a:pt x="387" y="29"/>
                </a:moveTo>
                <a:cubicBezTo>
                  <a:pt x="387" y="21"/>
                  <a:pt x="393" y="14"/>
                  <a:pt x="402" y="14"/>
                </a:cubicBezTo>
                <a:cubicBezTo>
                  <a:pt x="410" y="14"/>
                  <a:pt x="416" y="21"/>
                  <a:pt x="416" y="29"/>
                </a:cubicBezTo>
                <a:cubicBezTo>
                  <a:pt x="416" y="92"/>
                  <a:pt x="416" y="92"/>
                  <a:pt x="416" y="92"/>
                </a:cubicBezTo>
                <a:cubicBezTo>
                  <a:pt x="416" y="100"/>
                  <a:pt x="410" y="107"/>
                  <a:pt x="402" y="107"/>
                </a:cubicBezTo>
                <a:cubicBezTo>
                  <a:pt x="393" y="107"/>
                  <a:pt x="387" y="100"/>
                  <a:pt x="387" y="92"/>
                </a:cubicBezTo>
                <a:lnTo>
                  <a:pt x="387" y="29"/>
                </a:lnTo>
                <a:close/>
                <a:moveTo>
                  <a:pt x="107" y="29"/>
                </a:moveTo>
                <a:cubicBezTo>
                  <a:pt x="107" y="21"/>
                  <a:pt x="114" y="14"/>
                  <a:pt x="122" y="14"/>
                </a:cubicBezTo>
                <a:cubicBezTo>
                  <a:pt x="130" y="14"/>
                  <a:pt x="137" y="21"/>
                  <a:pt x="137" y="29"/>
                </a:cubicBezTo>
                <a:cubicBezTo>
                  <a:pt x="137" y="92"/>
                  <a:pt x="137" y="92"/>
                  <a:pt x="137" y="92"/>
                </a:cubicBezTo>
                <a:cubicBezTo>
                  <a:pt x="137" y="100"/>
                  <a:pt x="130" y="107"/>
                  <a:pt x="122" y="107"/>
                </a:cubicBezTo>
                <a:cubicBezTo>
                  <a:pt x="114" y="107"/>
                  <a:pt x="107" y="100"/>
                  <a:pt x="107" y="92"/>
                </a:cubicBezTo>
                <a:lnTo>
                  <a:pt x="107" y="29"/>
                </a:lnTo>
                <a:close/>
                <a:moveTo>
                  <a:pt x="511" y="577"/>
                </a:moveTo>
                <a:cubicBezTo>
                  <a:pt x="14" y="577"/>
                  <a:pt x="14" y="577"/>
                  <a:pt x="14" y="577"/>
                </a:cubicBezTo>
                <a:cubicBezTo>
                  <a:pt x="14" y="177"/>
                  <a:pt x="14" y="177"/>
                  <a:pt x="14" y="177"/>
                </a:cubicBezTo>
                <a:cubicBezTo>
                  <a:pt x="511" y="177"/>
                  <a:pt x="511" y="177"/>
                  <a:pt x="511" y="177"/>
                </a:cubicBezTo>
                <a:lnTo>
                  <a:pt x="511" y="577"/>
                </a:lnTo>
                <a:close/>
                <a:moveTo>
                  <a:pt x="511" y="163"/>
                </a:moveTo>
                <a:cubicBezTo>
                  <a:pt x="14" y="163"/>
                  <a:pt x="14" y="163"/>
                  <a:pt x="14" y="163"/>
                </a:cubicBezTo>
                <a:cubicBezTo>
                  <a:pt x="14" y="67"/>
                  <a:pt x="14" y="67"/>
                  <a:pt x="14" y="67"/>
                </a:cubicBezTo>
                <a:cubicBezTo>
                  <a:pt x="93" y="67"/>
                  <a:pt x="93" y="67"/>
                  <a:pt x="93" y="67"/>
                </a:cubicBezTo>
                <a:cubicBezTo>
                  <a:pt x="93" y="92"/>
                  <a:pt x="93" y="92"/>
                  <a:pt x="93" y="92"/>
                </a:cubicBezTo>
                <a:cubicBezTo>
                  <a:pt x="93" y="108"/>
                  <a:pt x="106" y="121"/>
                  <a:pt x="122" y="121"/>
                </a:cubicBezTo>
                <a:cubicBezTo>
                  <a:pt x="138" y="121"/>
                  <a:pt x="151" y="108"/>
                  <a:pt x="151" y="92"/>
                </a:cubicBezTo>
                <a:cubicBezTo>
                  <a:pt x="151" y="67"/>
                  <a:pt x="151" y="67"/>
                  <a:pt x="151" y="67"/>
                </a:cubicBezTo>
                <a:cubicBezTo>
                  <a:pt x="373" y="67"/>
                  <a:pt x="373" y="67"/>
                  <a:pt x="373" y="67"/>
                </a:cubicBezTo>
                <a:cubicBezTo>
                  <a:pt x="373" y="92"/>
                  <a:pt x="373" y="92"/>
                  <a:pt x="373" y="92"/>
                </a:cubicBezTo>
                <a:cubicBezTo>
                  <a:pt x="373" y="108"/>
                  <a:pt x="386" y="121"/>
                  <a:pt x="402" y="121"/>
                </a:cubicBezTo>
                <a:cubicBezTo>
                  <a:pt x="417" y="121"/>
                  <a:pt x="430" y="108"/>
                  <a:pt x="430" y="92"/>
                </a:cubicBezTo>
                <a:cubicBezTo>
                  <a:pt x="430" y="67"/>
                  <a:pt x="430" y="67"/>
                  <a:pt x="430" y="67"/>
                </a:cubicBezTo>
                <a:cubicBezTo>
                  <a:pt x="511" y="67"/>
                  <a:pt x="511" y="67"/>
                  <a:pt x="511" y="67"/>
                </a:cubicBezTo>
                <a:lnTo>
                  <a:pt x="511" y="163"/>
                </a:lnTo>
                <a:close/>
                <a:moveTo>
                  <a:pt x="62" y="521"/>
                </a:moveTo>
                <a:cubicBezTo>
                  <a:pt x="462" y="521"/>
                  <a:pt x="462" y="521"/>
                  <a:pt x="462" y="521"/>
                </a:cubicBezTo>
                <a:cubicBezTo>
                  <a:pt x="466" y="521"/>
                  <a:pt x="469" y="518"/>
                  <a:pt x="469" y="514"/>
                </a:cubicBezTo>
                <a:cubicBezTo>
                  <a:pt x="469" y="241"/>
                  <a:pt x="469" y="241"/>
                  <a:pt x="469" y="241"/>
                </a:cubicBezTo>
                <a:cubicBezTo>
                  <a:pt x="469" y="237"/>
                  <a:pt x="466" y="234"/>
                  <a:pt x="462" y="234"/>
                </a:cubicBezTo>
                <a:cubicBezTo>
                  <a:pt x="62" y="234"/>
                  <a:pt x="62" y="234"/>
                  <a:pt x="62" y="234"/>
                </a:cubicBezTo>
                <a:cubicBezTo>
                  <a:pt x="58" y="234"/>
                  <a:pt x="55" y="237"/>
                  <a:pt x="55" y="241"/>
                </a:cubicBezTo>
                <a:cubicBezTo>
                  <a:pt x="55" y="514"/>
                  <a:pt x="55" y="514"/>
                  <a:pt x="55" y="514"/>
                </a:cubicBezTo>
                <a:cubicBezTo>
                  <a:pt x="55" y="518"/>
                  <a:pt x="58" y="521"/>
                  <a:pt x="62" y="521"/>
                </a:cubicBezTo>
                <a:close/>
                <a:moveTo>
                  <a:pt x="366" y="248"/>
                </a:moveTo>
                <a:cubicBezTo>
                  <a:pt x="455" y="248"/>
                  <a:pt x="455" y="248"/>
                  <a:pt x="455" y="248"/>
                </a:cubicBezTo>
                <a:cubicBezTo>
                  <a:pt x="455" y="325"/>
                  <a:pt x="455" y="325"/>
                  <a:pt x="455" y="325"/>
                </a:cubicBezTo>
                <a:cubicBezTo>
                  <a:pt x="366" y="325"/>
                  <a:pt x="366" y="325"/>
                  <a:pt x="366" y="325"/>
                </a:cubicBezTo>
                <a:lnTo>
                  <a:pt x="366" y="248"/>
                </a:lnTo>
                <a:close/>
                <a:moveTo>
                  <a:pt x="366" y="339"/>
                </a:moveTo>
                <a:cubicBezTo>
                  <a:pt x="455" y="339"/>
                  <a:pt x="455" y="339"/>
                  <a:pt x="455" y="339"/>
                </a:cubicBezTo>
                <a:cubicBezTo>
                  <a:pt x="455" y="414"/>
                  <a:pt x="455" y="414"/>
                  <a:pt x="455" y="414"/>
                </a:cubicBezTo>
                <a:cubicBezTo>
                  <a:pt x="366" y="414"/>
                  <a:pt x="366" y="414"/>
                  <a:pt x="366" y="414"/>
                </a:cubicBezTo>
                <a:lnTo>
                  <a:pt x="366" y="339"/>
                </a:lnTo>
                <a:close/>
                <a:moveTo>
                  <a:pt x="366" y="428"/>
                </a:moveTo>
                <a:cubicBezTo>
                  <a:pt x="455" y="428"/>
                  <a:pt x="455" y="428"/>
                  <a:pt x="455" y="428"/>
                </a:cubicBezTo>
                <a:cubicBezTo>
                  <a:pt x="455" y="507"/>
                  <a:pt x="455" y="507"/>
                  <a:pt x="455" y="507"/>
                </a:cubicBezTo>
                <a:cubicBezTo>
                  <a:pt x="366" y="507"/>
                  <a:pt x="366" y="507"/>
                  <a:pt x="366" y="507"/>
                </a:cubicBezTo>
                <a:lnTo>
                  <a:pt x="366" y="428"/>
                </a:lnTo>
                <a:close/>
                <a:moveTo>
                  <a:pt x="266" y="248"/>
                </a:moveTo>
                <a:cubicBezTo>
                  <a:pt x="352" y="248"/>
                  <a:pt x="352" y="248"/>
                  <a:pt x="352" y="248"/>
                </a:cubicBezTo>
                <a:cubicBezTo>
                  <a:pt x="352" y="325"/>
                  <a:pt x="352" y="325"/>
                  <a:pt x="352" y="325"/>
                </a:cubicBezTo>
                <a:cubicBezTo>
                  <a:pt x="266" y="325"/>
                  <a:pt x="266" y="325"/>
                  <a:pt x="266" y="325"/>
                </a:cubicBezTo>
                <a:lnTo>
                  <a:pt x="266" y="248"/>
                </a:lnTo>
                <a:close/>
                <a:moveTo>
                  <a:pt x="266" y="339"/>
                </a:moveTo>
                <a:cubicBezTo>
                  <a:pt x="352" y="339"/>
                  <a:pt x="352" y="339"/>
                  <a:pt x="352" y="339"/>
                </a:cubicBezTo>
                <a:cubicBezTo>
                  <a:pt x="352" y="414"/>
                  <a:pt x="352" y="414"/>
                  <a:pt x="352" y="414"/>
                </a:cubicBezTo>
                <a:cubicBezTo>
                  <a:pt x="266" y="414"/>
                  <a:pt x="266" y="414"/>
                  <a:pt x="266" y="414"/>
                </a:cubicBezTo>
                <a:lnTo>
                  <a:pt x="266" y="339"/>
                </a:lnTo>
                <a:close/>
                <a:moveTo>
                  <a:pt x="266" y="428"/>
                </a:moveTo>
                <a:cubicBezTo>
                  <a:pt x="352" y="428"/>
                  <a:pt x="352" y="428"/>
                  <a:pt x="352" y="428"/>
                </a:cubicBezTo>
                <a:cubicBezTo>
                  <a:pt x="352" y="507"/>
                  <a:pt x="352" y="507"/>
                  <a:pt x="352" y="507"/>
                </a:cubicBezTo>
                <a:cubicBezTo>
                  <a:pt x="266" y="507"/>
                  <a:pt x="266" y="507"/>
                  <a:pt x="266" y="507"/>
                </a:cubicBezTo>
                <a:lnTo>
                  <a:pt x="266" y="428"/>
                </a:lnTo>
                <a:close/>
                <a:moveTo>
                  <a:pt x="165" y="248"/>
                </a:moveTo>
                <a:cubicBezTo>
                  <a:pt x="252" y="248"/>
                  <a:pt x="252" y="248"/>
                  <a:pt x="252" y="248"/>
                </a:cubicBezTo>
                <a:cubicBezTo>
                  <a:pt x="252" y="325"/>
                  <a:pt x="252" y="325"/>
                  <a:pt x="252" y="325"/>
                </a:cubicBezTo>
                <a:cubicBezTo>
                  <a:pt x="165" y="325"/>
                  <a:pt x="165" y="325"/>
                  <a:pt x="165" y="325"/>
                </a:cubicBezTo>
                <a:lnTo>
                  <a:pt x="165" y="248"/>
                </a:lnTo>
                <a:close/>
                <a:moveTo>
                  <a:pt x="165" y="339"/>
                </a:moveTo>
                <a:cubicBezTo>
                  <a:pt x="252" y="339"/>
                  <a:pt x="252" y="339"/>
                  <a:pt x="252" y="339"/>
                </a:cubicBezTo>
                <a:cubicBezTo>
                  <a:pt x="252" y="414"/>
                  <a:pt x="252" y="414"/>
                  <a:pt x="252" y="414"/>
                </a:cubicBezTo>
                <a:cubicBezTo>
                  <a:pt x="165" y="414"/>
                  <a:pt x="165" y="414"/>
                  <a:pt x="165" y="414"/>
                </a:cubicBezTo>
                <a:lnTo>
                  <a:pt x="165" y="339"/>
                </a:lnTo>
                <a:close/>
                <a:moveTo>
                  <a:pt x="165" y="428"/>
                </a:moveTo>
                <a:cubicBezTo>
                  <a:pt x="252" y="428"/>
                  <a:pt x="252" y="428"/>
                  <a:pt x="252" y="428"/>
                </a:cubicBezTo>
                <a:cubicBezTo>
                  <a:pt x="252" y="507"/>
                  <a:pt x="252" y="507"/>
                  <a:pt x="252" y="507"/>
                </a:cubicBezTo>
                <a:cubicBezTo>
                  <a:pt x="165" y="507"/>
                  <a:pt x="165" y="507"/>
                  <a:pt x="165" y="507"/>
                </a:cubicBezTo>
                <a:lnTo>
                  <a:pt x="165" y="428"/>
                </a:lnTo>
                <a:close/>
                <a:moveTo>
                  <a:pt x="69" y="248"/>
                </a:moveTo>
                <a:cubicBezTo>
                  <a:pt x="151" y="248"/>
                  <a:pt x="151" y="248"/>
                  <a:pt x="151" y="248"/>
                </a:cubicBezTo>
                <a:cubicBezTo>
                  <a:pt x="151" y="325"/>
                  <a:pt x="151" y="325"/>
                  <a:pt x="151" y="325"/>
                </a:cubicBezTo>
                <a:cubicBezTo>
                  <a:pt x="69" y="325"/>
                  <a:pt x="69" y="325"/>
                  <a:pt x="69" y="325"/>
                </a:cubicBezTo>
                <a:lnTo>
                  <a:pt x="69" y="248"/>
                </a:lnTo>
                <a:close/>
                <a:moveTo>
                  <a:pt x="69" y="339"/>
                </a:moveTo>
                <a:cubicBezTo>
                  <a:pt x="151" y="339"/>
                  <a:pt x="151" y="339"/>
                  <a:pt x="151" y="339"/>
                </a:cubicBezTo>
                <a:cubicBezTo>
                  <a:pt x="151" y="414"/>
                  <a:pt x="151" y="414"/>
                  <a:pt x="151" y="414"/>
                </a:cubicBezTo>
                <a:cubicBezTo>
                  <a:pt x="69" y="414"/>
                  <a:pt x="69" y="414"/>
                  <a:pt x="69" y="414"/>
                </a:cubicBezTo>
                <a:lnTo>
                  <a:pt x="69" y="339"/>
                </a:lnTo>
                <a:close/>
                <a:moveTo>
                  <a:pt x="69" y="428"/>
                </a:moveTo>
                <a:cubicBezTo>
                  <a:pt x="151" y="428"/>
                  <a:pt x="151" y="428"/>
                  <a:pt x="151" y="428"/>
                </a:cubicBezTo>
                <a:cubicBezTo>
                  <a:pt x="151" y="507"/>
                  <a:pt x="151" y="507"/>
                  <a:pt x="151" y="507"/>
                </a:cubicBezTo>
                <a:cubicBezTo>
                  <a:pt x="69" y="507"/>
                  <a:pt x="69" y="507"/>
                  <a:pt x="69" y="507"/>
                </a:cubicBezTo>
                <a:lnTo>
                  <a:pt x="69" y="4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96" name="Oval 35"/>
          <p:cNvSpPr>
            <a:spLocks noChangeArrowheads="1"/>
          </p:cNvSpPr>
          <p:nvPr/>
        </p:nvSpPr>
        <p:spPr bwMode="auto">
          <a:xfrm>
            <a:off x="3552358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50" name="Freeform 117"/>
          <p:cNvSpPr>
            <a:spLocks noEditPoints="1"/>
          </p:cNvSpPr>
          <p:nvPr/>
        </p:nvSpPr>
        <p:spPr bwMode="auto">
          <a:xfrm>
            <a:off x="3761009" y="1306965"/>
            <a:ext cx="405659" cy="457101"/>
          </a:xfrm>
          <a:custGeom>
            <a:avLst/>
            <a:gdLst>
              <a:gd name="T0" fmla="*/ 430 w 524"/>
              <a:gd name="T1" fmla="*/ 53 h 591"/>
              <a:gd name="T2" fmla="*/ 402 w 524"/>
              <a:gd name="T3" fmla="*/ 0 h 591"/>
              <a:gd name="T4" fmla="*/ 373 w 524"/>
              <a:gd name="T5" fmla="*/ 53 h 591"/>
              <a:gd name="T6" fmla="*/ 151 w 524"/>
              <a:gd name="T7" fmla="*/ 29 h 591"/>
              <a:gd name="T8" fmla="*/ 93 w 524"/>
              <a:gd name="T9" fmla="*/ 29 h 591"/>
              <a:gd name="T10" fmla="*/ 7 w 524"/>
              <a:gd name="T11" fmla="*/ 53 h 591"/>
              <a:gd name="T12" fmla="*/ 0 w 524"/>
              <a:gd name="T13" fmla="*/ 584 h 591"/>
              <a:gd name="T14" fmla="*/ 517 w 524"/>
              <a:gd name="T15" fmla="*/ 591 h 591"/>
              <a:gd name="T16" fmla="*/ 524 w 524"/>
              <a:gd name="T17" fmla="*/ 60 h 591"/>
              <a:gd name="T18" fmla="*/ 387 w 524"/>
              <a:gd name="T19" fmla="*/ 29 h 591"/>
              <a:gd name="T20" fmla="*/ 416 w 524"/>
              <a:gd name="T21" fmla="*/ 29 h 591"/>
              <a:gd name="T22" fmla="*/ 402 w 524"/>
              <a:gd name="T23" fmla="*/ 107 h 591"/>
              <a:gd name="T24" fmla="*/ 387 w 524"/>
              <a:gd name="T25" fmla="*/ 29 h 591"/>
              <a:gd name="T26" fmla="*/ 122 w 524"/>
              <a:gd name="T27" fmla="*/ 14 h 591"/>
              <a:gd name="T28" fmla="*/ 137 w 524"/>
              <a:gd name="T29" fmla="*/ 92 h 591"/>
              <a:gd name="T30" fmla="*/ 107 w 524"/>
              <a:gd name="T31" fmla="*/ 92 h 591"/>
              <a:gd name="T32" fmla="*/ 93 w 524"/>
              <a:gd name="T33" fmla="*/ 67 h 591"/>
              <a:gd name="T34" fmla="*/ 122 w 524"/>
              <a:gd name="T35" fmla="*/ 121 h 591"/>
              <a:gd name="T36" fmla="*/ 151 w 524"/>
              <a:gd name="T37" fmla="*/ 67 h 591"/>
              <a:gd name="T38" fmla="*/ 373 w 524"/>
              <a:gd name="T39" fmla="*/ 92 h 591"/>
              <a:gd name="T40" fmla="*/ 430 w 524"/>
              <a:gd name="T41" fmla="*/ 92 h 591"/>
              <a:gd name="T42" fmla="*/ 510 w 524"/>
              <a:gd name="T43" fmla="*/ 67 h 591"/>
              <a:gd name="T44" fmla="*/ 14 w 524"/>
              <a:gd name="T45" fmla="*/ 163 h 591"/>
              <a:gd name="T46" fmla="*/ 93 w 524"/>
              <a:gd name="T47" fmla="*/ 67 h 591"/>
              <a:gd name="T48" fmla="*/ 14 w 524"/>
              <a:gd name="T49" fmla="*/ 177 h 591"/>
              <a:gd name="T50" fmla="*/ 510 w 524"/>
              <a:gd name="T51" fmla="*/ 577 h 591"/>
              <a:gd name="T52" fmla="*/ 175 w 524"/>
              <a:gd name="T53" fmla="*/ 256 h 591"/>
              <a:gd name="T54" fmla="*/ 168 w 524"/>
              <a:gd name="T55" fmla="*/ 522 h 591"/>
              <a:gd name="T56" fmla="*/ 161 w 524"/>
              <a:gd name="T57" fmla="*/ 279 h 591"/>
              <a:gd name="T58" fmla="*/ 81 w 524"/>
              <a:gd name="T59" fmla="*/ 306 h 591"/>
              <a:gd name="T60" fmla="*/ 162 w 524"/>
              <a:gd name="T61" fmla="*/ 254 h 591"/>
              <a:gd name="T62" fmla="*/ 175 w 524"/>
              <a:gd name="T63" fmla="*/ 256 h 591"/>
              <a:gd name="T64" fmla="*/ 420 w 524"/>
              <a:gd name="T65" fmla="*/ 514 h 591"/>
              <a:gd name="T66" fmla="*/ 247 w 524"/>
              <a:gd name="T67" fmla="*/ 512 h 591"/>
              <a:gd name="T68" fmla="*/ 265 w 524"/>
              <a:gd name="T69" fmla="*/ 458 h 591"/>
              <a:gd name="T70" fmla="*/ 363 w 524"/>
              <a:gd name="T71" fmla="*/ 385 h 591"/>
              <a:gd name="T72" fmla="*/ 335 w 524"/>
              <a:gd name="T73" fmla="*/ 260 h 591"/>
              <a:gd name="T74" fmla="*/ 257 w 524"/>
              <a:gd name="T75" fmla="*/ 348 h 591"/>
              <a:gd name="T76" fmla="*/ 270 w 524"/>
              <a:gd name="T77" fmla="*/ 276 h 591"/>
              <a:gd name="T78" fmla="*/ 415 w 524"/>
              <a:gd name="T79" fmla="*/ 318 h 591"/>
              <a:gd name="T80" fmla="*/ 343 w 524"/>
              <a:gd name="T81" fmla="*/ 415 h 591"/>
              <a:gd name="T82" fmla="*/ 261 w 524"/>
              <a:gd name="T83" fmla="*/ 500 h 591"/>
              <a:gd name="T84" fmla="*/ 427 w 524"/>
              <a:gd name="T85" fmla="*/ 507 h 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24" h="591">
                <a:moveTo>
                  <a:pt x="517" y="53"/>
                </a:moveTo>
                <a:cubicBezTo>
                  <a:pt x="430" y="53"/>
                  <a:pt x="430" y="53"/>
                  <a:pt x="430" y="53"/>
                </a:cubicBezTo>
                <a:cubicBezTo>
                  <a:pt x="430" y="29"/>
                  <a:pt x="430" y="29"/>
                  <a:pt x="430" y="29"/>
                </a:cubicBezTo>
                <a:cubicBezTo>
                  <a:pt x="430" y="13"/>
                  <a:pt x="417" y="0"/>
                  <a:pt x="402" y="0"/>
                </a:cubicBezTo>
                <a:cubicBezTo>
                  <a:pt x="386" y="0"/>
                  <a:pt x="373" y="13"/>
                  <a:pt x="373" y="29"/>
                </a:cubicBezTo>
                <a:cubicBezTo>
                  <a:pt x="373" y="53"/>
                  <a:pt x="373" y="53"/>
                  <a:pt x="373" y="53"/>
                </a:cubicBezTo>
                <a:cubicBezTo>
                  <a:pt x="151" y="53"/>
                  <a:pt x="151" y="53"/>
                  <a:pt x="151" y="53"/>
                </a:cubicBezTo>
                <a:cubicBezTo>
                  <a:pt x="151" y="29"/>
                  <a:pt x="151" y="29"/>
                  <a:pt x="151" y="29"/>
                </a:cubicBezTo>
                <a:cubicBezTo>
                  <a:pt x="151" y="13"/>
                  <a:pt x="138" y="0"/>
                  <a:pt x="122" y="0"/>
                </a:cubicBezTo>
                <a:cubicBezTo>
                  <a:pt x="106" y="0"/>
                  <a:pt x="93" y="13"/>
                  <a:pt x="93" y="29"/>
                </a:cubicBezTo>
                <a:cubicBezTo>
                  <a:pt x="93" y="53"/>
                  <a:pt x="93" y="53"/>
                  <a:pt x="93" y="53"/>
                </a:cubicBezTo>
                <a:cubicBezTo>
                  <a:pt x="7" y="53"/>
                  <a:pt x="7" y="53"/>
                  <a:pt x="7" y="53"/>
                </a:cubicBezTo>
                <a:cubicBezTo>
                  <a:pt x="3" y="53"/>
                  <a:pt x="0" y="56"/>
                  <a:pt x="0" y="60"/>
                </a:cubicBezTo>
                <a:cubicBezTo>
                  <a:pt x="0" y="584"/>
                  <a:pt x="0" y="584"/>
                  <a:pt x="0" y="584"/>
                </a:cubicBezTo>
                <a:cubicBezTo>
                  <a:pt x="0" y="588"/>
                  <a:pt x="3" y="591"/>
                  <a:pt x="7" y="591"/>
                </a:cubicBezTo>
                <a:cubicBezTo>
                  <a:pt x="517" y="591"/>
                  <a:pt x="517" y="591"/>
                  <a:pt x="517" y="591"/>
                </a:cubicBezTo>
                <a:cubicBezTo>
                  <a:pt x="521" y="591"/>
                  <a:pt x="524" y="588"/>
                  <a:pt x="524" y="584"/>
                </a:cubicBezTo>
                <a:cubicBezTo>
                  <a:pt x="524" y="60"/>
                  <a:pt x="524" y="60"/>
                  <a:pt x="524" y="60"/>
                </a:cubicBezTo>
                <a:cubicBezTo>
                  <a:pt x="524" y="56"/>
                  <a:pt x="521" y="53"/>
                  <a:pt x="517" y="53"/>
                </a:cubicBezTo>
                <a:close/>
                <a:moveTo>
                  <a:pt x="387" y="29"/>
                </a:moveTo>
                <a:cubicBezTo>
                  <a:pt x="387" y="21"/>
                  <a:pt x="393" y="14"/>
                  <a:pt x="402" y="14"/>
                </a:cubicBezTo>
                <a:cubicBezTo>
                  <a:pt x="410" y="14"/>
                  <a:pt x="416" y="21"/>
                  <a:pt x="416" y="29"/>
                </a:cubicBezTo>
                <a:cubicBezTo>
                  <a:pt x="416" y="92"/>
                  <a:pt x="416" y="92"/>
                  <a:pt x="416" y="92"/>
                </a:cubicBezTo>
                <a:cubicBezTo>
                  <a:pt x="416" y="100"/>
                  <a:pt x="410" y="107"/>
                  <a:pt x="402" y="107"/>
                </a:cubicBezTo>
                <a:cubicBezTo>
                  <a:pt x="393" y="107"/>
                  <a:pt x="387" y="100"/>
                  <a:pt x="387" y="92"/>
                </a:cubicBezTo>
                <a:lnTo>
                  <a:pt x="387" y="29"/>
                </a:lnTo>
                <a:close/>
                <a:moveTo>
                  <a:pt x="107" y="29"/>
                </a:moveTo>
                <a:cubicBezTo>
                  <a:pt x="107" y="21"/>
                  <a:pt x="114" y="14"/>
                  <a:pt x="122" y="14"/>
                </a:cubicBezTo>
                <a:cubicBezTo>
                  <a:pt x="130" y="14"/>
                  <a:pt x="137" y="21"/>
                  <a:pt x="137" y="29"/>
                </a:cubicBezTo>
                <a:cubicBezTo>
                  <a:pt x="137" y="92"/>
                  <a:pt x="137" y="92"/>
                  <a:pt x="137" y="92"/>
                </a:cubicBezTo>
                <a:cubicBezTo>
                  <a:pt x="137" y="100"/>
                  <a:pt x="130" y="107"/>
                  <a:pt x="122" y="107"/>
                </a:cubicBezTo>
                <a:cubicBezTo>
                  <a:pt x="114" y="107"/>
                  <a:pt x="107" y="100"/>
                  <a:pt x="107" y="92"/>
                </a:cubicBezTo>
                <a:lnTo>
                  <a:pt x="107" y="29"/>
                </a:lnTo>
                <a:close/>
                <a:moveTo>
                  <a:pt x="93" y="67"/>
                </a:moveTo>
                <a:cubicBezTo>
                  <a:pt x="93" y="92"/>
                  <a:pt x="93" y="92"/>
                  <a:pt x="93" y="92"/>
                </a:cubicBezTo>
                <a:cubicBezTo>
                  <a:pt x="93" y="108"/>
                  <a:pt x="106" y="121"/>
                  <a:pt x="122" y="121"/>
                </a:cubicBezTo>
                <a:cubicBezTo>
                  <a:pt x="138" y="121"/>
                  <a:pt x="151" y="108"/>
                  <a:pt x="151" y="92"/>
                </a:cubicBezTo>
                <a:cubicBezTo>
                  <a:pt x="151" y="67"/>
                  <a:pt x="151" y="67"/>
                  <a:pt x="151" y="67"/>
                </a:cubicBezTo>
                <a:cubicBezTo>
                  <a:pt x="373" y="67"/>
                  <a:pt x="373" y="67"/>
                  <a:pt x="373" y="67"/>
                </a:cubicBezTo>
                <a:cubicBezTo>
                  <a:pt x="373" y="92"/>
                  <a:pt x="373" y="92"/>
                  <a:pt x="373" y="92"/>
                </a:cubicBezTo>
                <a:cubicBezTo>
                  <a:pt x="373" y="108"/>
                  <a:pt x="386" y="121"/>
                  <a:pt x="402" y="121"/>
                </a:cubicBezTo>
                <a:cubicBezTo>
                  <a:pt x="417" y="121"/>
                  <a:pt x="430" y="108"/>
                  <a:pt x="430" y="92"/>
                </a:cubicBezTo>
                <a:cubicBezTo>
                  <a:pt x="430" y="67"/>
                  <a:pt x="430" y="67"/>
                  <a:pt x="430" y="67"/>
                </a:cubicBezTo>
                <a:cubicBezTo>
                  <a:pt x="510" y="67"/>
                  <a:pt x="510" y="67"/>
                  <a:pt x="510" y="67"/>
                </a:cubicBezTo>
                <a:cubicBezTo>
                  <a:pt x="510" y="163"/>
                  <a:pt x="510" y="163"/>
                  <a:pt x="510" y="163"/>
                </a:cubicBezTo>
                <a:cubicBezTo>
                  <a:pt x="14" y="163"/>
                  <a:pt x="14" y="163"/>
                  <a:pt x="14" y="163"/>
                </a:cubicBezTo>
                <a:cubicBezTo>
                  <a:pt x="14" y="67"/>
                  <a:pt x="14" y="67"/>
                  <a:pt x="14" y="67"/>
                </a:cubicBezTo>
                <a:lnTo>
                  <a:pt x="93" y="67"/>
                </a:lnTo>
                <a:close/>
                <a:moveTo>
                  <a:pt x="14" y="577"/>
                </a:moveTo>
                <a:cubicBezTo>
                  <a:pt x="14" y="177"/>
                  <a:pt x="14" y="177"/>
                  <a:pt x="14" y="177"/>
                </a:cubicBezTo>
                <a:cubicBezTo>
                  <a:pt x="510" y="177"/>
                  <a:pt x="510" y="177"/>
                  <a:pt x="510" y="177"/>
                </a:cubicBezTo>
                <a:cubicBezTo>
                  <a:pt x="510" y="577"/>
                  <a:pt x="510" y="577"/>
                  <a:pt x="510" y="577"/>
                </a:cubicBezTo>
                <a:lnTo>
                  <a:pt x="14" y="577"/>
                </a:lnTo>
                <a:close/>
                <a:moveTo>
                  <a:pt x="175" y="256"/>
                </a:moveTo>
                <a:cubicBezTo>
                  <a:pt x="175" y="515"/>
                  <a:pt x="175" y="515"/>
                  <a:pt x="175" y="515"/>
                </a:cubicBezTo>
                <a:cubicBezTo>
                  <a:pt x="175" y="519"/>
                  <a:pt x="172" y="522"/>
                  <a:pt x="168" y="522"/>
                </a:cubicBezTo>
                <a:cubicBezTo>
                  <a:pt x="165" y="522"/>
                  <a:pt x="161" y="519"/>
                  <a:pt x="161" y="515"/>
                </a:cubicBezTo>
                <a:cubicBezTo>
                  <a:pt x="161" y="279"/>
                  <a:pt x="161" y="279"/>
                  <a:pt x="161" y="279"/>
                </a:cubicBezTo>
                <a:cubicBezTo>
                  <a:pt x="142" y="299"/>
                  <a:pt x="108" y="313"/>
                  <a:pt x="88" y="313"/>
                </a:cubicBezTo>
                <a:cubicBezTo>
                  <a:pt x="85" y="313"/>
                  <a:pt x="81" y="310"/>
                  <a:pt x="81" y="306"/>
                </a:cubicBezTo>
                <a:cubicBezTo>
                  <a:pt x="81" y="303"/>
                  <a:pt x="85" y="299"/>
                  <a:pt x="88" y="299"/>
                </a:cubicBezTo>
                <a:cubicBezTo>
                  <a:pt x="109" y="299"/>
                  <a:pt x="155" y="276"/>
                  <a:pt x="162" y="254"/>
                </a:cubicBezTo>
                <a:cubicBezTo>
                  <a:pt x="163" y="251"/>
                  <a:pt x="166" y="249"/>
                  <a:pt x="169" y="250"/>
                </a:cubicBezTo>
                <a:cubicBezTo>
                  <a:pt x="173" y="250"/>
                  <a:pt x="175" y="253"/>
                  <a:pt x="175" y="256"/>
                </a:cubicBezTo>
                <a:close/>
                <a:moveTo>
                  <a:pt x="427" y="507"/>
                </a:moveTo>
                <a:cubicBezTo>
                  <a:pt x="427" y="511"/>
                  <a:pt x="424" y="514"/>
                  <a:pt x="420" y="514"/>
                </a:cubicBezTo>
                <a:cubicBezTo>
                  <a:pt x="253" y="514"/>
                  <a:pt x="253" y="514"/>
                  <a:pt x="253" y="514"/>
                </a:cubicBezTo>
                <a:cubicBezTo>
                  <a:pt x="251" y="514"/>
                  <a:pt x="249" y="513"/>
                  <a:pt x="247" y="512"/>
                </a:cubicBezTo>
                <a:cubicBezTo>
                  <a:pt x="246" y="510"/>
                  <a:pt x="245" y="508"/>
                  <a:pt x="246" y="506"/>
                </a:cubicBezTo>
                <a:cubicBezTo>
                  <a:pt x="246" y="505"/>
                  <a:pt x="250" y="475"/>
                  <a:pt x="265" y="458"/>
                </a:cubicBezTo>
                <a:cubicBezTo>
                  <a:pt x="287" y="433"/>
                  <a:pt x="313" y="417"/>
                  <a:pt x="336" y="403"/>
                </a:cubicBezTo>
                <a:cubicBezTo>
                  <a:pt x="346" y="397"/>
                  <a:pt x="356" y="391"/>
                  <a:pt x="363" y="385"/>
                </a:cubicBezTo>
                <a:cubicBezTo>
                  <a:pt x="388" y="368"/>
                  <a:pt x="401" y="343"/>
                  <a:pt x="401" y="318"/>
                </a:cubicBezTo>
                <a:cubicBezTo>
                  <a:pt x="401" y="312"/>
                  <a:pt x="399" y="260"/>
                  <a:pt x="335" y="260"/>
                </a:cubicBezTo>
                <a:cubicBezTo>
                  <a:pt x="318" y="260"/>
                  <a:pt x="264" y="266"/>
                  <a:pt x="264" y="341"/>
                </a:cubicBezTo>
                <a:cubicBezTo>
                  <a:pt x="264" y="345"/>
                  <a:pt x="261" y="348"/>
                  <a:pt x="257" y="348"/>
                </a:cubicBezTo>
                <a:cubicBezTo>
                  <a:pt x="253" y="348"/>
                  <a:pt x="250" y="345"/>
                  <a:pt x="250" y="341"/>
                </a:cubicBezTo>
                <a:cubicBezTo>
                  <a:pt x="250" y="315"/>
                  <a:pt x="257" y="293"/>
                  <a:pt x="270" y="276"/>
                </a:cubicBezTo>
                <a:cubicBezTo>
                  <a:pt x="285" y="256"/>
                  <a:pt x="307" y="246"/>
                  <a:pt x="335" y="246"/>
                </a:cubicBezTo>
                <a:cubicBezTo>
                  <a:pt x="398" y="246"/>
                  <a:pt x="415" y="291"/>
                  <a:pt x="415" y="318"/>
                </a:cubicBezTo>
                <a:cubicBezTo>
                  <a:pt x="415" y="348"/>
                  <a:pt x="399" y="376"/>
                  <a:pt x="372" y="397"/>
                </a:cubicBezTo>
                <a:cubicBezTo>
                  <a:pt x="363" y="403"/>
                  <a:pt x="354" y="409"/>
                  <a:pt x="343" y="415"/>
                </a:cubicBezTo>
                <a:cubicBezTo>
                  <a:pt x="321" y="429"/>
                  <a:pt x="296" y="444"/>
                  <a:pt x="276" y="467"/>
                </a:cubicBezTo>
                <a:cubicBezTo>
                  <a:pt x="267" y="476"/>
                  <a:pt x="263" y="491"/>
                  <a:pt x="261" y="500"/>
                </a:cubicBezTo>
                <a:cubicBezTo>
                  <a:pt x="420" y="500"/>
                  <a:pt x="420" y="500"/>
                  <a:pt x="420" y="500"/>
                </a:cubicBezTo>
                <a:cubicBezTo>
                  <a:pt x="424" y="500"/>
                  <a:pt x="427" y="503"/>
                  <a:pt x="427" y="50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8" name="Oval 27"/>
          <p:cNvSpPr>
            <a:spLocks noChangeArrowheads="1"/>
          </p:cNvSpPr>
          <p:nvPr/>
        </p:nvSpPr>
        <p:spPr bwMode="auto">
          <a:xfrm>
            <a:off x="966871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68" name="Freeform 135"/>
          <p:cNvSpPr>
            <a:spLocks noEditPoints="1"/>
          </p:cNvSpPr>
          <p:nvPr/>
        </p:nvSpPr>
        <p:spPr bwMode="auto">
          <a:xfrm>
            <a:off x="1152037" y="2500131"/>
            <a:ext cx="453523" cy="411480"/>
          </a:xfrm>
          <a:custGeom>
            <a:avLst/>
            <a:gdLst>
              <a:gd name="T0" fmla="*/ 474 w 586"/>
              <a:gd name="T1" fmla="*/ 532 h 532"/>
              <a:gd name="T2" fmla="*/ 411 w 586"/>
              <a:gd name="T3" fmla="*/ 468 h 532"/>
              <a:gd name="T4" fmla="*/ 474 w 586"/>
              <a:gd name="T5" fmla="*/ 404 h 532"/>
              <a:gd name="T6" fmla="*/ 538 w 586"/>
              <a:gd name="T7" fmla="*/ 468 h 532"/>
              <a:gd name="T8" fmla="*/ 474 w 586"/>
              <a:gd name="T9" fmla="*/ 532 h 532"/>
              <a:gd name="T10" fmla="*/ 474 w 586"/>
              <a:gd name="T11" fmla="*/ 418 h 532"/>
              <a:gd name="T12" fmla="*/ 425 w 586"/>
              <a:gd name="T13" fmla="*/ 468 h 532"/>
              <a:gd name="T14" fmla="*/ 474 w 586"/>
              <a:gd name="T15" fmla="*/ 518 h 532"/>
              <a:gd name="T16" fmla="*/ 524 w 586"/>
              <a:gd name="T17" fmla="*/ 468 h 532"/>
              <a:gd name="T18" fmla="*/ 474 w 586"/>
              <a:gd name="T19" fmla="*/ 418 h 532"/>
              <a:gd name="T20" fmla="*/ 180 w 586"/>
              <a:gd name="T21" fmla="*/ 532 h 532"/>
              <a:gd name="T22" fmla="*/ 116 w 586"/>
              <a:gd name="T23" fmla="*/ 468 h 532"/>
              <a:gd name="T24" fmla="*/ 180 w 586"/>
              <a:gd name="T25" fmla="*/ 404 h 532"/>
              <a:gd name="T26" fmla="*/ 244 w 586"/>
              <a:gd name="T27" fmla="*/ 468 h 532"/>
              <a:gd name="T28" fmla="*/ 180 w 586"/>
              <a:gd name="T29" fmla="*/ 532 h 532"/>
              <a:gd name="T30" fmla="*/ 180 w 586"/>
              <a:gd name="T31" fmla="*/ 418 h 532"/>
              <a:gd name="T32" fmla="*/ 130 w 586"/>
              <a:gd name="T33" fmla="*/ 468 h 532"/>
              <a:gd name="T34" fmla="*/ 180 w 586"/>
              <a:gd name="T35" fmla="*/ 518 h 532"/>
              <a:gd name="T36" fmla="*/ 230 w 586"/>
              <a:gd name="T37" fmla="*/ 468 h 532"/>
              <a:gd name="T38" fmla="*/ 180 w 586"/>
              <a:gd name="T39" fmla="*/ 418 h 532"/>
              <a:gd name="T40" fmla="*/ 140 w 586"/>
              <a:gd name="T41" fmla="*/ 389 h 532"/>
              <a:gd name="T42" fmla="*/ 106 w 586"/>
              <a:gd name="T43" fmla="*/ 360 h 532"/>
              <a:gd name="T44" fmla="*/ 69 w 586"/>
              <a:gd name="T45" fmla="*/ 67 h 532"/>
              <a:gd name="T46" fmla="*/ 34 w 586"/>
              <a:gd name="T47" fmla="*/ 67 h 532"/>
              <a:gd name="T48" fmla="*/ 0 w 586"/>
              <a:gd name="T49" fmla="*/ 33 h 532"/>
              <a:gd name="T50" fmla="*/ 34 w 586"/>
              <a:gd name="T51" fmla="*/ 0 h 532"/>
              <a:gd name="T52" fmla="*/ 99 w 586"/>
              <a:gd name="T53" fmla="*/ 0 h 532"/>
              <a:gd name="T54" fmla="*/ 132 w 586"/>
              <a:gd name="T55" fmla="*/ 29 h 532"/>
              <a:gd name="T56" fmla="*/ 137 w 586"/>
              <a:gd name="T57" fmla="*/ 66 h 532"/>
              <a:gd name="T58" fmla="*/ 551 w 586"/>
              <a:gd name="T59" fmla="*/ 66 h 532"/>
              <a:gd name="T60" fmla="*/ 576 w 586"/>
              <a:gd name="T61" fmla="*/ 77 h 532"/>
              <a:gd name="T62" fmla="*/ 585 w 586"/>
              <a:gd name="T63" fmla="*/ 103 h 532"/>
              <a:gd name="T64" fmla="*/ 560 w 586"/>
              <a:gd name="T65" fmla="*/ 318 h 532"/>
              <a:gd name="T66" fmla="*/ 531 w 586"/>
              <a:gd name="T67" fmla="*/ 348 h 532"/>
              <a:gd name="T68" fmla="*/ 143 w 586"/>
              <a:gd name="T69" fmla="*/ 389 h 532"/>
              <a:gd name="T70" fmla="*/ 142 w 586"/>
              <a:gd name="T71" fmla="*/ 389 h 532"/>
              <a:gd name="T72" fmla="*/ 140 w 586"/>
              <a:gd name="T73" fmla="*/ 389 h 532"/>
              <a:gd name="T74" fmla="*/ 34 w 586"/>
              <a:gd name="T75" fmla="*/ 14 h 532"/>
              <a:gd name="T76" fmla="*/ 14 w 586"/>
              <a:gd name="T77" fmla="*/ 33 h 532"/>
              <a:gd name="T78" fmla="*/ 34 w 586"/>
              <a:gd name="T79" fmla="*/ 53 h 532"/>
              <a:gd name="T80" fmla="*/ 75 w 586"/>
              <a:gd name="T81" fmla="*/ 53 h 532"/>
              <a:gd name="T82" fmla="*/ 82 w 586"/>
              <a:gd name="T83" fmla="*/ 59 h 532"/>
              <a:gd name="T84" fmla="*/ 120 w 586"/>
              <a:gd name="T85" fmla="*/ 358 h 532"/>
              <a:gd name="T86" fmla="*/ 142 w 586"/>
              <a:gd name="T87" fmla="*/ 375 h 532"/>
              <a:gd name="T88" fmla="*/ 142 w 586"/>
              <a:gd name="T89" fmla="*/ 375 h 532"/>
              <a:gd name="T90" fmla="*/ 529 w 586"/>
              <a:gd name="T91" fmla="*/ 334 h 532"/>
              <a:gd name="T92" fmla="*/ 546 w 586"/>
              <a:gd name="T93" fmla="*/ 317 h 532"/>
              <a:gd name="T94" fmla="*/ 571 w 586"/>
              <a:gd name="T95" fmla="*/ 102 h 532"/>
              <a:gd name="T96" fmla="*/ 566 w 586"/>
              <a:gd name="T97" fmla="*/ 86 h 532"/>
              <a:gd name="T98" fmla="*/ 551 w 586"/>
              <a:gd name="T99" fmla="*/ 80 h 532"/>
              <a:gd name="T100" fmla="*/ 131 w 586"/>
              <a:gd name="T101" fmla="*/ 80 h 532"/>
              <a:gd name="T102" fmla="*/ 124 w 586"/>
              <a:gd name="T103" fmla="*/ 74 h 532"/>
              <a:gd name="T104" fmla="*/ 118 w 586"/>
              <a:gd name="T105" fmla="*/ 31 h 532"/>
              <a:gd name="T106" fmla="*/ 99 w 586"/>
              <a:gd name="T107" fmla="*/ 14 h 532"/>
              <a:gd name="T108" fmla="*/ 34 w 586"/>
              <a:gd name="T109" fmla="*/ 14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86" h="532">
                <a:moveTo>
                  <a:pt x="474" y="532"/>
                </a:moveTo>
                <a:cubicBezTo>
                  <a:pt x="439" y="532"/>
                  <a:pt x="411" y="503"/>
                  <a:pt x="411" y="468"/>
                </a:cubicBezTo>
                <a:cubicBezTo>
                  <a:pt x="411" y="433"/>
                  <a:pt x="439" y="404"/>
                  <a:pt x="474" y="404"/>
                </a:cubicBezTo>
                <a:cubicBezTo>
                  <a:pt x="510" y="404"/>
                  <a:pt x="538" y="433"/>
                  <a:pt x="538" y="468"/>
                </a:cubicBezTo>
                <a:cubicBezTo>
                  <a:pt x="538" y="503"/>
                  <a:pt x="510" y="532"/>
                  <a:pt x="474" y="532"/>
                </a:cubicBezTo>
                <a:close/>
                <a:moveTo>
                  <a:pt x="474" y="418"/>
                </a:moveTo>
                <a:cubicBezTo>
                  <a:pt x="447" y="418"/>
                  <a:pt x="425" y="441"/>
                  <a:pt x="425" y="468"/>
                </a:cubicBezTo>
                <a:cubicBezTo>
                  <a:pt x="425" y="496"/>
                  <a:pt x="447" y="518"/>
                  <a:pt x="474" y="518"/>
                </a:cubicBezTo>
                <a:cubicBezTo>
                  <a:pt x="502" y="518"/>
                  <a:pt x="524" y="496"/>
                  <a:pt x="524" y="468"/>
                </a:cubicBezTo>
                <a:cubicBezTo>
                  <a:pt x="524" y="441"/>
                  <a:pt x="502" y="418"/>
                  <a:pt x="474" y="418"/>
                </a:cubicBezTo>
                <a:close/>
                <a:moveTo>
                  <a:pt x="180" y="532"/>
                </a:moveTo>
                <a:cubicBezTo>
                  <a:pt x="145" y="532"/>
                  <a:pt x="116" y="503"/>
                  <a:pt x="116" y="468"/>
                </a:cubicBezTo>
                <a:cubicBezTo>
                  <a:pt x="116" y="433"/>
                  <a:pt x="145" y="404"/>
                  <a:pt x="180" y="404"/>
                </a:cubicBezTo>
                <a:cubicBezTo>
                  <a:pt x="215" y="404"/>
                  <a:pt x="244" y="433"/>
                  <a:pt x="244" y="468"/>
                </a:cubicBezTo>
                <a:cubicBezTo>
                  <a:pt x="244" y="503"/>
                  <a:pt x="215" y="532"/>
                  <a:pt x="180" y="532"/>
                </a:cubicBezTo>
                <a:close/>
                <a:moveTo>
                  <a:pt x="180" y="418"/>
                </a:moveTo>
                <a:cubicBezTo>
                  <a:pt x="153" y="418"/>
                  <a:pt x="130" y="441"/>
                  <a:pt x="130" y="468"/>
                </a:cubicBezTo>
                <a:cubicBezTo>
                  <a:pt x="130" y="496"/>
                  <a:pt x="153" y="518"/>
                  <a:pt x="180" y="518"/>
                </a:cubicBezTo>
                <a:cubicBezTo>
                  <a:pt x="208" y="518"/>
                  <a:pt x="230" y="496"/>
                  <a:pt x="230" y="468"/>
                </a:cubicBezTo>
                <a:cubicBezTo>
                  <a:pt x="230" y="441"/>
                  <a:pt x="208" y="418"/>
                  <a:pt x="180" y="418"/>
                </a:cubicBezTo>
                <a:close/>
                <a:moveTo>
                  <a:pt x="140" y="389"/>
                </a:moveTo>
                <a:cubicBezTo>
                  <a:pt x="123" y="389"/>
                  <a:pt x="108" y="376"/>
                  <a:pt x="106" y="360"/>
                </a:cubicBezTo>
                <a:cubicBezTo>
                  <a:pt x="69" y="67"/>
                  <a:pt x="69" y="67"/>
                  <a:pt x="69" y="67"/>
                </a:cubicBezTo>
                <a:cubicBezTo>
                  <a:pt x="34" y="67"/>
                  <a:pt x="34" y="67"/>
                  <a:pt x="34" y="67"/>
                </a:cubicBezTo>
                <a:cubicBezTo>
                  <a:pt x="16" y="67"/>
                  <a:pt x="0" y="52"/>
                  <a:pt x="0" y="33"/>
                </a:cubicBezTo>
                <a:cubicBezTo>
                  <a:pt x="0" y="15"/>
                  <a:pt x="16" y="0"/>
                  <a:pt x="34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16" y="0"/>
                  <a:pt x="130" y="12"/>
                  <a:pt x="132" y="29"/>
                </a:cubicBezTo>
                <a:cubicBezTo>
                  <a:pt x="137" y="66"/>
                  <a:pt x="137" y="66"/>
                  <a:pt x="137" y="66"/>
                </a:cubicBezTo>
                <a:cubicBezTo>
                  <a:pt x="551" y="66"/>
                  <a:pt x="551" y="66"/>
                  <a:pt x="551" y="66"/>
                </a:cubicBezTo>
                <a:cubicBezTo>
                  <a:pt x="561" y="66"/>
                  <a:pt x="570" y="70"/>
                  <a:pt x="576" y="77"/>
                </a:cubicBezTo>
                <a:cubicBezTo>
                  <a:pt x="583" y="84"/>
                  <a:pt x="586" y="94"/>
                  <a:pt x="585" y="103"/>
                </a:cubicBezTo>
                <a:cubicBezTo>
                  <a:pt x="560" y="318"/>
                  <a:pt x="560" y="318"/>
                  <a:pt x="560" y="318"/>
                </a:cubicBezTo>
                <a:cubicBezTo>
                  <a:pt x="559" y="334"/>
                  <a:pt x="546" y="346"/>
                  <a:pt x="531" y="348"/>
                </a:cubicBezTo>
                <a:cubicBezTo>
                  <a:pt x="143" y="389"/>
                  <a:pt x="143" y="389"/>
                  <a:pt x="143" y="389"/>
                </a:cubicBezTo>
                <a:cubicBezTo>
                  <a:pt x="143" y="389"/>
                  <a:pt x="143" y="389"/>
                  <a:pt x="142" y="389"/>
                </a:cubicBezTo>
                <a:cubicBezTo>
                  <a:pt x="142" y="389"/>
                  <a:pt x="141" y="389"/>
                  <a:pt x="140" y="389"/>
                </a:cubicBezTo>
                <a:close/>
                <a:moveTo>
                  <a:pt x="34" y="14"/>
                </a:moveTo>
                <a:cubicBezTo>
                  <a:pt x="23" y="14"/>
                  <a:pt x="14" y="22"/>
                  <a:pt x="14" y="33"/>
                </a:cubicBezTo>
                <a:cubicBezTo>
                  <a:pt x="14" y="44"/>
                  <a:pt x="23" y="53"/>
                  <a:pt x="34" y="53"/>
                </a:cubicBezTo>
                <a:cubicBezTo>
                  <a:pt x="75" y="53"/>
                  <a:pt x="75" y="53"/>
                  <a:pt x="75" y="53"/>
                </a:cubicBezTo>
                <a:cubicBezTo>
                  <a:pt x="79" y="53"/>
                  <a:pt x="82" y="55"/>
                  <a:pt x="82" y="59"/>
                </a:cubicBezTo>
                <a:cubicBezTo>
                  <a:pt x="120" y="358"/>
                  <a:pt x="120" y="358"/>
                  <a:pt x="120" y="358"/>
                </a:cubicBezTo>
                <a:cubicBezTo>
                  <a:pt x="122" y="368"/>
                  <a:pt x="131" y="376"/>
                  <a:pt x="142" y="375"/>
                </a:cubicBezTo>
                <a:cubicBezTo>
                  <a:pt x="142" y="375"/>
                  <a:pt x="142" y="375"/>
                  <a:pt x="142" y="375"/>
                </a:cubicBezTo>
                <a:cubicBezTo>
                  <a:pt x="529" y="334"/>
                  <a:pt x="529" y="334"/>
                  <a:pt x="529" y="334"/>
                </a:cubicBezTo>
                <a:cubicBezTo>
                  <a:pt x="538" y="333"/>
                  <a:pt x="545" y="326"/>
                  <a:pt x="546" y="317"/>
                </a:cubicBezTo>
                <a:cubicBezTo>
                  <a:pt x="571" y="102"/>
                  <a:pt x="571" y="102"/>
                  <a:pt x="571" y="102"/>
                </a:cubicBezTo>
                <a:cubicBezTo>
                  <a:pt x="571" y="96"/>
                  <a:pt x="570" y="91"/>
                  <a:pt x="566" y="86"/>
                </a:cubicBezTo>
                <a:cubicBezTo>
                  <a:pt x="562" y="82"/>
                  <a:pt x="557" y="80"/>
                  <a:pt x="551" y="80"/>
                </a:cubicBezTo>
                <a:cubicBezTo>
                  <a:pt x="131" y="80"/>
                  <a:pt x="131" y="80"/>
                  <a:pt x="131" y="80"/>
                </a:cubicBezTo>
                <a:cubicBezTo>
                  <a:pt x="127" y="80"/>
                  <a:pt x="124" y="77"/>
                  <a:pt x="124" y="74"/>
                </a:cubicBezTo>
                <a:cubicBezTo>
                  <a:pt x="118" y="31"/>
                  <a:pt x="118" y="31"/>
                  <a:pt x="118" y="31"/>
                </a:cubicBezTo>
                <a:cubicBezTo>
                  <a:pt x="117" y="21"/>
                  <a:pt x="109" y="14"/>
                  <a:pt x="99" y="14"/>
                </a:cubicBezTo>
                <a:lnTo>
                  <a:pt x="34" y="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87" name="Oval 26"/>
          <p:cNvSpPr>
            <a:spLocks noChangeArrowheads="1"/>
          </p:cNvSpPr>
          <p:nvPr/>
        </p:nvSpPr>
        <p:spPr bwMode="auto">
          <a:xfrm>
            <a:off x="2259614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81" name="Freeform 148"/>
          <p:cNvSpPr>
            <a:spLocks noEditPoints="1"/>
          </p:cNvSpPr>
          <p:nvPr/>
        </p:nvSpPr>
        <p:spPr bwMode="auto">
          <a:xfrm>
            <a:off x="2470722" y="2505051"/>
            <a:ext cx="401641" cy="401641"/>
          </a:xfrm>
          <a:custGeom>
            <a:avLst/>
            <a:gdLst>
              <a:gd name="T0" fmla="*/ 90 w 519"/>
              <a:gd name="T1" fmla="*/ 519 h 519"/>
              <a:gd name="T2" fmla="*/ 0 w 519"/>
              <a:gd name="T3" fmla="*/ 89 h 519"/>
              <a:gd name="T4" fmla="*/ 429 w 519"/>
              <a:gd name="T5" fmla="*/ 0 h 519"/>
              <a:gd name="T6" fmla="*/ 519 w 519"/>
              <a:gd name="T7" fmla="*/ 429 h 519"/>
              <a:gd name="T8" fmla="*/ 90 w 519"/>
              <a:gd name="T9" fmla="*/ 14 h 519"/>
              <a:gd name="T10" fmla="*/ 14 w 519"/>
              <a:gd name="T11" fmla="*/ 429 h 519"/>
              <a:gd name="T12" fmla="*/ 429 w 519"/>
              <a:gd name="T13" fmla="*/ 505 h 519"/>
              <a:gd name="T14" fmla="*/ 505 w 519"/>
              <a:gd name="T15" fmla="*/ 89 h 519"/>
              <a:gd name="T16" fmla="*/ 90 w 519"/>
              <a:gd name="T17" fmla="*/ 14 h 519"/>
              <a:gd name="T18" fmla="*/ 512 w 519"/>
              <a:gd name="T19" fmla="*/ 252 h 519"/>
              <a:gd name="T20" fmla="*/ 0 w 519"/>
              <a:gd name="T21" fmla="*/ 259 h 519"/>
              <a:gd name="T22" fmla="*/ 512 w 519"/>
              <a:gd name="T23" fmla="*/ 266 h 519"/>
              <a:gd name="T24" fmla="*/ 266 w 519"/>
              <a:gd name="T25" fmla="*/ 512 h 519"/>
              <a:gd name="T26" fmla="*/ 259 w 519"/>
              <a:gd name="T27" fmla="*/ 0 h 519"/>
              <a:gd name="T28" fmla="*/ 252 w 519"/>
              <a:gd name="T29" fmla="*/ 512 h 519"/>
              <a:gd name="T30" fmla="*/ 266 w 519"/>
              <a:gd name="T31" fmla="*/ 512 h 519"/>
              <a:gd name="T32" fmla="*/ 444 w 519"/>
              <a:gd name="T33" fmla="*/ 129 h 519"/>
              <a:gd name="T34" fmla="*/ 320 w 519"/>
              <a:gd name="T35" fmla="*/ 136 h 519"/>
              <a:gd name="T36" fmla="*/ 444 w 519"/>
              <a:gd name="T37" fmla="*/ 143 h 519"/>
              <a:gd name="T38" fmla="*/ 199 w 519"/>
              <a:gd name="T39" fmla="*/ 133 h 519"/>
              <a:gd name="T40" fmla="*/ 75 w 519"/>
              <a:gd name="T41" fmla="*/ 126 h 519"/>
              <a:gd name="T42" fmla="*/ 75 w 519"/>
              <a:gd name="T43" fmla="*/ 140 h 519"/>
              <a:gd name="T44" fmla="*/ 199 w 519"/>
              <a:gd name="T45" fmla="*/ 133 h 519"/>
              <a:gd name="T46" fmla="*/ 140 w 519"/>
              <a:gd name="T47" fmla="*/ 74 h 519"/>
              <a:gd name="T48" fmla="*/ 126 w 519"/>
              <a:gd name="T49" fmla="*/ 74 h 519"/>
              <a:gd name="T50" fmla="*/ 133 w 519"/>
              <a:gd name="T51" fmla="*/ 198 h 519"/>
              <a:gd name="T52" fmla="*/ 179 w 519"/>
              <a:gd name="T53" fmla="*/ 432 h 519"/>
              <a:gd name="T54" fmla="*/ 97 w 519"/>
              <a:gd name="T55" fmla="*/ 339 h 519"/>
              <a:gd name="T56" fmla="*/ 87 w 519"/>
              <a:gd name="T57" fmla="*/ 349 h 519"/>
              <a:gd name="T58" fmla="*/ 175 w 519"/>
              <a:gd name="T59" fmla="*/ 434 h 519"/>
              <a:gd name="T60" fmla="*/ 97 w 519"/>
              <a:gd name="T61" fmla="*/ 432 h 519"/>
              <a:gd name="T62" fmla="*/ 179 w 519"/>
              <a:gd name="T63" fmla="*/ 339 h 519"/>
              <a:gd name="T64" fmla="*/ 87 w 519"/>
              <a:gd name="T65" fmla="*/ 422 h 519"/>
              <a:gd name="T66" fmla="*/ 92 w 519"/>
              <a:gd name="T67" fmla="*/ 434 h 519"/>
              <a:gd name="T68" fmla="*/ 353 w 519"/>
              <a:gd name="T69" fmla="*/ 432 h 519"/>
              <a:gd name="T70" fmla="*/ 435 w 519"/>
              <a:gd name="T71" fmla="*/ 339 h 519"/>
              <a:gd name="T72" fmla="*/ 343 w 519"/>
              <a:gd name="T73" fmla="*/ 422 h 519"/>
              <a:gd name="T74" fmla="*/ 348 w 519"/>
              <a:gd name="T75" fmla="*/ 434 h 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9" h="519">
                <a:moveTo>
                  <a:pt x="429" y="519"/>
                </a:moveTo>
                <a:cubicBezTo>
                  <a:pt x="90" y="519"/>
                  <a:pt x="90" y="519"/>
                  <a:pt x="90" y="519"/>
                </a:cubicBezTo>
                <a:cubicBezTo>
                  <a:pt x="40" y="519"/>
                  <a:pt x="0" y="478"/>
                  <a:pt x="0" y="429"/>
                </a:cubicBezTo>
                <a:cubicBezTo>
                  <a:pt x="0" y="89"/>
                  <a:pt x="0" y="89"/>
                  <a:pt x="0" y="89"/>
                </a:cubicBezTo>
                <a:cubicBezTo>
                  <a:pt x="0" y="40"/>
                  <a:pt x="40" y="0"/>
                  <a:pt x="90" y="0"/>
                </a:cubicBezTo>
                <a:cubicBezTo>
                  <a:pt x="429" y="0"/>
                  <a:pt x="429" y="0"/>
                  <a:pt x="429" y="0"/>
                </a:cubicBezTo>
                <a:cubicBezTo>
                  <a:pt x="479" y="0"/>
                  <a:pt x="519" y="40"/>
                  <a:pt x="519" y="89"/>
                </a:cubicBezTo>
                <a:cubicBezTo>
                  <a:pt x="519" y="429"/>
                  <a:pt x="519" y="429"/>
                  <a:pt x="519" y="429"/>
                </a:cubicBezTo>
                <a:cubicBezTo>
                  <a:pt x="519" y="478"/>
                  <a:pt x="479" y="519"/>
                  <a:pt x="429" y="519"/>
                </a:cubicBezTo>
                <a:close/>
                <a:moveTo>
                  <a:pt x="90" y="14"/>
                </a:moveTo>
                <a:cubicBezTo>
                  <a:pt x="48" y="14"/>
                  <a:pt x="14" y="47"/>
                  <a:pt x="14" y="89"/>
                </a:cubicBezTo>
                <a:cubicBezTo>
                  <a:pt x="14" y="429"/>
                  <a:pt x="14" y="429"/>
                  <a:pt x="14" y="429"/>
                </a:cubicBezTo>
                <a:cubicBezTo>
                  <a:pt x="14" y="471"/>
                  <a:pt x="48" y="505"/>
                  <a:pt x="90" y="505"/>
                </a:cubicBezTo>
                <a:cubicBezTo>
                  <a:pt x="429" y="505"/>
                  <a:pt x="429" y="505"/>
                  <a:pt x="429" y="505"/>
                </a:cubicBezTo>
                <a:cubicBezTo>
                  <a:pt x="471" y="505"/>
                  <a:pt x="505" y="471"/>
                  <a:pt x="505" y="429"/>
                </a:cubicBezTo>
                <a:cubicBezTo>
                  <a:pt x="505" y="89"/>
                  <a:pt x="505" y="89"/>
                  <a:pt x="505" y="89"/>
                </a:cubicBezTo>
                <a:cubicBezTo>
                  <a:pt x="505" y="47"/>
                  <a:pt x="471" y="14"/>
                  <a:pt x="429" y="14"/>
                </a:cubicBezTo>
                <a:lnTo>
                  <a:pt x="90" y="14"/>
                </a:lnTo>
                <a:close/>
                <a:moveTo>
                  <a:pt x="519" y="259"/>
                </a:moveTo>
                <a:cubicBezTo>
                  <a:pt x="519" y="255"/>
                  <a:pt x="516" y="252"/>
                  <a:pt x="512" y="252"/>
                </a:cubicBezTo>
                <a:cubicBezTo>
                  <a:pt x="7" y="252"/>
                  <a:pt x="7" y="252"/>
                  <a:pt x="7" y="252"/>
                </a:cubicBezTo>
                <a:cubicBezTo>
                  <a:pt x="3" y="252"/>
                  <a:pt x="0" y="255"/>
                  <a:pt x="0" y="259"/>
                </a:cubicBezTo>
                <a:cubicBezTo>
                  <a:pt x="0" y="263"/>
                  <a:pt x="3" y="266"/>
                  <a:pt x="7" y="266"/>
                </a:cubicBezTo>
                <a:cubicBezTo>
                  <a:pt x="512" y="266"/>
                  <a:pt x="512" y="266"/>
                  <a:pt x="512" y="266"/>
                </a:cubicBezTo>
                <a:cubicBezTo>
                  <a:pt x="516" y="266"/>
                  <a:pt x="519" y="263"/>
                  <a:pt x="519" y="259"/>
                </a:cubicBezTo>
                <a:close/>
                <a:moveTo>
                  <a:pt x="266" y="512"/>
                </a:moveTo>
                <a:cubicBezTo>
                  <a:pt x="266" y="7"/>
                  <a:pt x="266" y="7"/>
                  <a:pt x="266" y="7"/>
                </a:cubicBezTo>
                <a:cubicBezTo>
                  <a:pt x="266" y="3"/>
                  <a:pt x="263" y="0"/>
                  <a:pt x="259" y="0"/>
                </a:cubicBezTo>
                <a:cubicBezTo>
                  <a:pt x="256" y="0"/>
                  <a:pt x="252" y="3"/>
                  <a:pt x="252" y="7"/>
                </a:cubicBezTo>
                <a:cubicBezTo>
                  <a:pt x="252" y="512"/>
                  <a:pt x="252" y="512"/>
                  <a:pt x="252" y="512"/>
                </a:cubicBezTo>
                <a:cubicBezTo>
                  <a:pt x="252" y="516"/>
                  <a:pt x="256" y="519"/>
                  <a:pt x="259" y="519"/>
                </a:cubicBezTo>
                <a:cubicBezTo>
                  <a:pt x="263" y="519"/>
                  <a:pt x="266" y="516"/>
                  <a:pt x="266" y="512"/>
                </a:cubicBezTo>
                <a:close/>
                <a:moveTo>
                  <a:pt x="451" y="136"/>
                </a:moveTo>
                <a:cubicBezTo>
                  <a:pt x="451" y="132"/>
                  <a:pt x="448" y="129"/>
                  <a:pt x="444" y="129"/>
                </a:cubicBezTo>
                <a:cubicBezTo>
                  <a:pt x="327" y="129"/>
                  <a:pt x="327" y="129"/>
                  <a:pt x="327" y="129"/>
                </a:cubicBezTo>
                <a:cubicBezTo>
                  <a:pt x="323" y="129"/>
                  <a:pt x="320" y="132"/>
                  <a:pt x="320" y="136"/>
                </a:cubicBezTo>
                <a:cubicBezTo>
                  <a:pt x="320" y="140"/>
                  <a:pt x="323" y="143"/>
                  <a:pt x="327" y="143"/>
                </a:cubicBezTo>
                <a:cubicBezTo>
                  <a:pt x="444" y="143"/>
                  <a:pt x="444" y="143"/>
                  <a:pt x="444" y="143"/>
                </a:cubicBezTo>
                <a:cubicBezTo>
                  <a:pt x="448" y="143"/>
                  <a:pt x="451" y="140"/>
                  <a:pt x="451" y="136"/>
                </a:cubicBezTo>
                <a:close/>
                <a:moveTo>
                  <a:pt x="199" y="133"/>
                </a:moveTo>
                <a:cubicBezTo>
                  <a:pt x="199" y="129"/>
                  <a:pt x="196" y="126"/>
                  <a:pt x="192" y="126"/>
                </a:cubicBezTo>
                <a:cubicBezTo>
                  <a:pt x="75" y="126"/>
                  <a:pt x="75" y="126"/>
                  <a:pt x="75" y="126"/>
                </a:cubicBezTo>
                <a:cubicBezTo>
                  <a:pt x="71" y="126"/>
                  <a:pt x="68" y="129"/>
                  <a:pt x="68" y="133"/>
                </a:cubicBezTo>
                <a:cubicBezTo>
                  <a:pt x="68" y="137"/>
                  <a:pt x="71" y="140"/>
                  <a:pt x="75" y="140"/>
                </a:cubicBezTo>
                <a:cubicBezTo>
                  <a:pt x="192" y="140"/>
                  <a:pt x="192" y="140"/>
                  <a:pt x="192" y="140"/>
                </a:cubicBezTo>
                <a:cubicBezTo>
                  <a:pt x="196" y="140"/>
                  <a:pt x="199" y="137"/>
                  <a:pt x="199" y="133"/>
                </a:cubicBezTo>
                <a:close/>
                <a:moveTo>
                  <a:pt x="140" y="191"/>
                </a:moveTo>
                <a:cubicBezTo>
                  <a:pt x="140" y="74"/>
                  <a:pt x="140" y="74"/>
                  <a:pt x="140" y="74"/>
                </a:cubicBezTo>
                <a:cubicBezTo>
                  <a:pt x="140" y="70"/>
                  <a:pt x="137" y="67"/>
                  <a:pt x="133" y="67"/>
                </a:cubicBezTo>
                <a:cubicBezTo>
                  <a:pt x="129" y="67"/>
                  <a:pt x="126" y="70"/>
                  <a:pt x="126" y="74"/>
                </a:cubicBezTo>
                <a:cubicBezTo>
                  <a:pt x="126" y="191"/>
                  <a:pt x="126" y="191"/>
                  <a:pt x="126" y="191"/>
                </a:cubicBezTo>
                <a:cubicBezTo>
                  <a:pt x="126" y="195"/>
                  <a:pt x="129" y="198"/>
                  <a:pt x="133" y="198"/>
                </a:cubicBezTo>
                <a:cubicBezTo>
                  <a:pt x="137" y="198"/>
                  <a:pt x="140" y="195"/>
                  <a:pt x="140" y="191"/>
                </a:cubicBezTo>
                <a:close/>
                <a:moveTo>
                  <a:pt x="179" y="432"/>
                </a:moveTo>
                <a:cubicBezTo>
                  <a:pt x="182" y="429"/>
                  <a:pt x="182" y="425"/>
                  <a:pt x="179" y="422"/>
                </a:cubicBezTo>
                <a:cubicBezTo>
                  <a:pt x="97" y="339"/>
                  <a:pt x="97" y="339"/>
                  <a:pt x="97" y="339"/>
                </a:cubicBezTo>
                <a:cubicBezTo>
                  <a:pt x="94" y="336"/>
                  <a:pt x="90" y="336"/>
                  <a:pt x="87" y="339"/>
                </a:cubicBezTo>
                <a:cubicBezTo>
                  <a:pt x="84" y="342"/>
                  <a:pt x="84" y="346"/>
                  <a:pt x="87" y="349"/>
                </a:cubicBezTo>
                <a:cubicBezTo>
                  <a:pt x="170" y="432"/>
                  <a:pt x="170" y="432"/>
                  <a:pt x="170" y="432"/>
                </a:cubicBezTo>
                <a:cubicBezTo>
                  <a:pt x="171" y="433"/>
                  <a:pt x="173" y="434"/>
                  <a:pt x="175" y="434"/>
                </a:cubicBezTo>
                <a:cubicBezTo>
                  <a:pt x="176" y="434"/>
                  <a:pt x="178" y="433"/>
                  <a:pt x="179" y="432"/>
                </a:cubicBezTo>
                <a:close/>
                <a:moveTo>
                  <a:pt x="97" y="432"/>
                </a:moveTo>
                <a:cubicBezTo>
                  <a:pt x="179" y="349"/>
                  <a:pt x="179" y="349"/>
                  <a:pt x="179" y="349"/>
                </a:cubicBezTo>
                <a:cubicBezTo>
                  <a:pt x="182" y="346"/>
                  <a:pt x="182" y="342"/>
                  <a:pt x="179" y="339"/>
                </a:cubicBezTo>
                <a:cubicBezTo>
                  <a:pt x="177" y="336"/>
                  <a:pt x="172" y="336"/>
                  <a:pt x="170" y="339"/>
                </a:cubicBezTo>
                <a:cubicBezTo>
                  <a:pt x="87" y="422"/>
                  <a:pt x="87" y="422"/>
                  <a:pt x="87" y="422"/>
                </a:cubicBezTo>
                <a:cubicBezTo>
                  <a:pt x="84" y="425"/>
                  <a:pt x="84" y="429"/>
                  <a:pt x="87" y="432"/>
                </a:cubicBezTo>
                <a:cubicBezTo>
                  <a:pt x="88" y="433"/>
                  <a:pt x="90" y="434"/>
                  <a:pt x="92" y="434"/>
                </a:cubicBezTo>
                <a:cubicBezTo>
                  <a:pt x="94" y="434"/>
                  <a:pt x="95" y="433"/>
                  <a:pt x="97" y="432"/>
                </a:cubicBezTo>
                <a:close/>
                <a:moveTo>
                  <a:pt x="353" y="432"/>
                </a:moveTo>
                <a:cubicBezTo>
                  <a:pt x="435" y="349"/>
                  <a:pt x="435" y="349"/>
                  <a:pt x="435" y="349"/>
                </a:cubicBezTo>
                <a:cubicBezTo>
                  <a:pt x="438" y="346"/>
                  <a:pt x="438" y="342"/>
                  <a:pt x="435" y="339"/>
                </a:cubicBezTo>
                <a:cubicBezTo>
                  <a:pt x="433" y="336"/>
                  <a:pt x="428" y="336"/>
                  <a:pt x="425" y="339"/>
                </a:cubicBezTo>
                <a:cubicBezTo>
                  <a:pt x="343" y="422"/>
                  <a:pt x="343" y="422"/>
                  <a:pt x="343" y="422"/>
                </a:cubicBezTo>
                <a:cubicBezTo>
                  <a:pt x="340" y="425"/>
                  <a:pt x="340" y="429"/>
                  <a:pt x="343" y="432"/>
                </a:cubicBezTo>
                <a:cubicBezTo>
                  <a:pt x="344" y="433"/>
                  <a:pt x="346" y="434"/>
                  <a:pt x="348" y="434"/>
                </a:cubicBezTo>
                <a:cubicBezTo>
                  <a:pt x="349" y="434"/>
                  <a:pt x="351" y="433"/>
                  <a:pt x="353" y="4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8" name="Title 32">
            <a:extLst>
              <a:ext uri="{FF2B5EF4-FFF2-40B4-BE49-F238E27FC236}">
                <a16:creationId xmlns:a16="http://schemas.microsoft.com/office/drawing/2014/main" id="{3ADE434F-3DBB-434F-813D-E8B7533DB2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9549"/>
            <a:ext cx="8686800" cy="682625"/>
          </a:xfrm>
        </p:spPr>
        <p:txBody>
          <a:bodyPr/>
          <a:lstStyle/>
          <a:p>
            <a:r>
              <a:rPr lang="en-US" dirty="0"/>
              <a:t>Finance &amp; revenue icons</a:t>
            </a:r>
          </a:p>
        </p:txBody>
      </p:sp>
    </p:spTree>
    <p:extLst>
      <p:ext uri="{BB962C8B-B14F-4D97-AF65-F5344CB8AC3E}">
        <p14:creationId xmlns:p14="http://schemas.microsoft.com/office/powerpoint/2010/main" val="247902917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4"/>
          <p:cNvSpPr>
            <a:spLocks noChangeArrowheads="1"/>
          </p:cNvSpPr>
          <p:nvPr/>
        </p:nvSpPr>
        <p:spPr bwMode="auto">
          <a:xfrm>
            <a:off x="7430588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2" name="Freeform 22"/>
          <p:cNvSpPr>
            <a:spLocks noEditPoints="1"/>
          </p:cNvSpPr>
          <p:nvPr/>
        </p:nvSpPr>
        <p:spPr bwMode="auto">
          <a:xfrm>
            <a:off x="7557424" y="1271906"/>
            <a:ext cx="569288" cy="514104"/>
          </a:xfrm>
          <a:custGeom>
            <a:avLst/>
            <a:gdLst>
              <a:gd name="T0" fmla="*/ 562 w 735"/>
              <a:gd name="T1" fmla="*/ 157 h 664"/>
              <a:gd name="T2" fmla="*/ 322 w 735"/>
              <a:gd name="T3" fmla="*/ 98 h 664"/>
              <a:gd name="T4" fmla="*/ 278 w 735"/>
              <a:gd name="T5" fmla="*/ 56 h 664"/>
              <a:gd name="T6" fmla="*/ 203 w 735"/>
              <a:gd name="T7" fmla="*/ 246 h 664"/>
              <a:gd name="T8" fmla="*/ 184 w 735"/>
              <a:gd name="T9" fmla="*/ 487 h 664"/>
              <a:gd name="T10" fmla="*/ 168 w 735"/>
              <a:gd name="T11" fmla="*/ 545 h 664"/>
              <a:gd name="T12" fmla="*/ 305 w 735"/>
              <a:gd name="T13" fmla="*/ 601 h 664"/>
              <a:gd name="T14" fmla="*/ 532 w 735"/>
              <a:gd name="T15" fmla="*/ 664 h 664"/>
              <a:gd name="T16" fmla="*/ 532 w 735"/>
              <a:gd name="T17" fmla="*/ 436 h 664"/>
              <a:gd name="T18" fmla="*/ 685 w 735"/>
              <a:gd name="T19" fmla="*/ 400 h 664"/>
              <a:gd name="T20" fmla="*/ 544 w 735"/>
              <a:gd name="T21" fmla="*/ 35 h 664"/>
              <a:gd name="T22" fmla="*/ 428 w 735"/>
              <a:gd name="T23" fmla="*/ 237 h 664"/>
              <a:gd name="T24" fmla="*/ 447 w 735"/>
              <a:gd name="T25" fmla="*/ 387 h 664"/>
              <a:gd name="T26" fmla="*/ 315 w 735"/>
              <a:gd name="T27" fmla="*/ 431 h 664"/>
              <a:gd name="T28" fmla="*/ 288 w 735"/>
              <a:gd name="T29" fmla="*/ 295 h 664"/>
              <a:gd name="T30" fmla="*/ 420 w 735"/>
              <a:gd name="T31" fmla="*/ 250 h 664"/>
              <a:gd name="T32" fmla="*/ 447 w 735"/>
              <a:gd name="T33" fmla="*/ 387 h 664"/>
              <a:gd name="T34" fmla="*/ 437 w 735"/>
              <a:gd name="T35" fmla="*/ 430 h 664"/>
              <a:gd name="T36" fmla="*/ 411 w 735"/>
              <a:gd name="T37" fmla="*/ 446 h 664"/>
              <a:gd name="T38" fmla="*/ 368 w 735"/>
              <a:gd name="T39" fmla="*/ 446 h 664"/>
              <a:gd name="T40" fmla="*/ 223 w 735"/>
              <a:gd name="T41" fmla="*/ 424 h 664"/>
              <a:gd name="T42" fmla="*/ 298 w 735"/>
              <a:gd name="T43" fmla="*/ 431 h 664"/>
              <a:gd name="T44" fmla="*/ 298 w 735"/>
              <a:gd name="T45" fmla="*/ 251 h 664"/>
              <a:gd name="T46" fmla="*/ 324 w 735"/>
              <a:gd name="T47" fmla="*/ 236 h 664"/>
              <a:gd name="T48" fmla="*/ 368 w 735"/>
              <a:gd name="T49" fmla="*/ 235 h 664"/>
              <a:gd name="T50" fmla="*/ 437 w 735"/>
              <a:gd name="T51" fmla="*/ 251 h 664"/>
              <a:gd name="T52" fmla="*/ 459 w 735"/>
              <a:gd name="T53" fmla="*/ 288 h 664"/>
              <a:gd name="T54" fmla="*/ 296 w 735"/>
              <a:gd name="T55" fmla="*/ 98 h 664"/>
              <a:gd name="T56" fmla="*/ 313 w 735"/>
              <a:gd name="T57" fmla="*/ 81 h 664"/>
              <a:gd name="T58" fmla="*/ 269 w 735"/>
              <a:gd name="T59" fmla="*/ 66 h 664"/>
              <a:gd name="T60" fmla="*/ 312 w 735"/>
              <a:gd name="T61" fmla="*/ 108 h 664"/>
              <a:gd name="T62" fmla="*/ 218 w 735"/>
              <a:gd name="T63" fmla="*/ 244 h 664"/>
              <a:gd name="T64" fmla="*/ 209 w 735"/>
              <a:gd name="T65" fmla="*/ 259 h 664"/>
              <a:gd name="T66" fmla="*/ 14 w 735"/>
              <a:gd name="T67" fmla="*/ 341 h 664"/>
              <a:gd name="T68" fmla="*/ 182 w 735"/>
              <a:gd name="T69" fmla="*/ 535 h 664"/>
              <a:gd name="T70" fmla="*/ 296 w 735"/>
              <a:gd name="T71" fmla="*/ 591 h 664"/>
              <a:gd name="T72" fmla="*/ 182 w 735"/>
              <a:gd name="T73" fmla="*/ 549 h 664"/>
              <a:gd name="T74" fmla="*/ 218 w 735"/>
              <a:gd name="T75" fmla="*/ 437 h 664"/>
              <a:gd name="T76" fmla="*/ 296 w 735"/>
              <a:gd name="T77" fmla="*/ 591 h 664"/>
              <a:gd name="T78" fmla="*/ 440 w 735"/>
              <a:gd name="T79" fmla="*/ 591 h 664"/>
              <a:gd name="T80" fmla="*/ 517 w 735"/>
              <a:gd name="T81" fmla="*/ 438 h 664"/>
              <a:gd name="T82" fmla="*/ 637 w 735"/>
              <a:gd name="T83" fmla="*/ 400 h 664"/>
              <a:gd name="T84" fmla="*/ 654 w 735"/>
              <a:gd name="T85" fmla="*/ 418 h 664"/>
              <a:gd name="T86" fmla="*/ 623 w 735"/>
              <a:gd name="T87" fmla="*/ 400 h 664"/>
              <a:gd name="T88" fmla="*/ 488 w 735"/>
              <a:gd name="T89" fmla="*/ 341 h 664"/>
              <a:gd name="T90" fmla="*/ 679 w 735"/>
              <a:gd name="T91" fmla="*/ 382 h 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35" h="664">
                <a:moveTo>
                  <a:pt x="735" y="341"/>
                </a:moveTo>
                <a:cubicBezTo>
                  <a:pt x="735" y="295"/>
                  <a:pt x="646" y="262"/>
                  <a:pt x="532" y="246"/>
                </a:cubicBezTo>
                <a:cubicBezTo>
                  <a:pt x="544" y="215"/>
                  <a:pt x="555" y="184"/>
                  <a:pt x="562" y="157"/>
                </a:cubicBezTo>
                <a:cubicBezTo>
                  <a:pt x="575" y="106"/>
                  <a:pt x="584" y="42"/>
                  <a:pt x="551" y="23"/>
                </a:cubicBezTo>
                <a:cubicBezTo>
                  <a:pt x="512" y="0"/>
                  <a:pt x="439" y="60"/>
                  <a:pt x="368" y="152"/>
                </a:cubicBezTo>
                <a:cubicBezTo>
                  <a:pt x="352" y="132"/>
                  <a:pt x="337" y="114"/>
                  <a:pt x="322" y="98"/>
                </a:cubicBezTo>
                <a:cubicBezTo>
                  <a:pt x="325" y="93"/>
                  <a:pt x="327" y="87"/>
                  <a:pt x="327" y="81"/>
                </a:cubicBezTo>
                <a:cubicBezTo>
                  <a:pt x="327" y="64"/>
                  <a:pt x="313" y="50"/>
                  <a:pt x="296" y="50"/>
                </a:cubicBezTo>
                <a:cubicBezTo>
                  <a:pt x="289" y="50"/>
                  <a:pt x="283" y="52"/>
                  <a:pt x="278" y="56"/>
                </a:cubicBezTo>
                <a:cubicBezTo>
                  <a:pt x="238" y="22"/>
                  <a:pt x="205" y="10"/>
                  <a:pt x="184" y="23"/>
                </a:cubicBezTo>
                <a:cubicBezTo>
                  <a:pt x="151" y="42"/>
                  <a:pt x="160" y="106"/>
                  <a:pt x="173" y="157"/>
                </a:cubicBezTo>
                <a:cubicBezTo>
                  <a:pt x="180" y="184"/>
                  <a:pt x="191" y="215"/>
                  <a:pt x="203" y="246"/>
                </a:cubicBezTo>
                <a:cubicBezTo>
                  <a:pt x="89" y="262"/>
                  <a:pt x="0" y="295"/>
                  <a:pt x="0" y="341"/>
                </a:cubicBezTo>
                <a:cubicBezTo>
                  <a:pt x="0" y="386"/>
                  <a:pt x="89" y="419"/>
                  <a:pt x="203" y="435"/>
                </a:cubicBezTo>
                <a:cubicBezTo>
                  <a:pt x="196" y="453"/>
                  <a:pt x="190" y="470"/>
                  <a:pt x="184" y="487"/>
                </a:cubicBezTo>
                <a:cubicBezTo>
                  <a:pt x="184" y="487"/>
                  <a:pt x="183" y="487"/>
                  <a:pt x="182" y="487"/>
                </a:cubicBezTo>
                <a:cubicBezTo>
                  <a:pt x="165" y="487"/>
                  <a:pt x="151" y="501"/>
                  <a:pt x="151" y="518"/>
                </a:cubicBezTo>
                <a:cubicBezTo>
                  <a:pt x="151" y="530"/>
                  <a:pt x="158" y="540"/>
                  <a:pt x="168" y="545"/>
                </a:cubicBezTo>
                <a:cubicBezTo>
                  <a:pt x="155" y="606"/>
                  <a:pt x="160" y="645"/>
                  <a:pt x="184" y="659"/>
                </a:cubicBezTo>
                <a:cubicBezTo>
                  <a:pt x="190" y="662"/>
                  <a:pt x="196" y="664"/>
                  <a:pt x="203" y="664"/>
                </a:cubicBezTo>
                <a:cubicBezTo>
                  <a:pt x="235" y="664"/>
                  <a:pt x="275" y="632"/>
                  <a:pt x="305" y="601"/>
                </a:cubicBezTo>
                <a:cubicBezTo>
                  <a:pt x="326" y="581"/>
                  <a:pt x="347" y="557"/>
                  <a:pt x="368" y="530"/>
                </a:cubicBezTo>
                <a:cubicBezTo>
                  <a:pt x="388" y="557"/>
                  <a:pt x="409" y="581"/>
                  <a:pt x="430" y="601"/>
                </a:cubicBezTo>
                <a:cubicBezTo>
                  <a:pt x="460" y="632"/>
                  <a:pt x="500" y="664"/>
                  <a:pt x="532" y="664"/>
                </a:cubicBezTo>
                <a:cubicBezTo>
                  <a:pt x="539" y="664"/>
                  <a:pt x="545" y="662"/>
                  <a:pt x="551" y="659"/>
                </a:cubicBezTo>
                <a:cubicBezTo>
                  <a:pt x="584" y="640"/>
                  <a:pt x="575" y="576"/>
                  <a:pt x="562" y="525"/>
                </a:cubicBezTo>
                <a:cubicBezTo>
                  <a:pt x="555" y="497"/>
                  <a:pt x="545" y="467"/>
                  <a:pt x="532" y="436"/>
                </a:cubicBezTo>
                <a:cubicBezTo>
                  <a:pt x="567" y="431"/>
                  <a:pt x="599" y="424"/>
                  <a:pt x="628" y="416"/>
                </a:cubicBezTo>
                <a:cubicBezTo>
                  <a:pt x="633" y="425"/>
                  <a:pt x="643" y="432"/>
                  <a:pt x="654" y="432"/>
                </a:cubicBezTo>
                <a:cubicBezTo>
                  <a:pt x="671" y="432"/>
                  <a:pt x="685" y="418"/>
                  <a:pt x="685" y="400"/>
                </a:cubicBezTo>
                <a:cubicBezTo>
                  <a:pt x="685" y="399"/>
                  <a:pt x="685" y="397"/>
                  <a:pt x="685" y="395"/>
                </a:cubicBezTo>
                <a:cubicBezTo>
                  <a:pt x="718" y="379"/>
                  <a:pt x="735" y="361"/>
                  <a:pt x="735" y="341"/>
                </a:cubicBezTo>
                <a:close/>
                <a:moveTo>
                  <a:pt x="544" y="35"/>
                </a:moveTo>
                <a:cubicBezTo>
                  <a:pt x="563" y="46"/>
                  <a:pt x="565" y="90"/>
                  <a:pt x="549" y="153"/>
                </a:cubicBezTo>
                <a:cubicBezTo>
                  <a:pt x="541" y="181"/>
                  <a:pt x="531" y="212"/>
                  <a:pt x="517" y="244"/>
                </a:cubicBezTo>
                <a:cubicBezTo>
                  <a:pt x="489" y="241"/>
                  <a:pt x="458" y="238"/>
                  <a:pt x="428" y="237"/>
                </a:cubicBezTo>
                <a:cubicBezTo>
                  <a:pt x="411" y="210"/>
                  <a:pt x="394" y="186"/>
                  <a:pt x="376" y="163"/>
                </a:cubicBezTo>
                <a:cubicBezTo>
                  <a:pt x="451" y="66"/>
                  <a:pt x="517" y="19"/>
                  <a:pt x="544" y="35"/>
                </a:cubicBezTo>
                <a:close/>
                <a:moveTo>
                  <a:pt x="447" y="387"/>
                </a:moveTo>
                <a:cubicBezTo>
                  <a:pt x="438" y="402"/>
                  <a:pt x="429" y="417"/>
                  <a:pt x="420" y="431"/>
                </a:cubicBezTo>
                <a:cubicBezTo>
                  <a:pt x="403" y="432"/>
                  <a:pt x="385" y="432"/>
                  <a:pt x="368" y="432"/>
                </a:cubicBezTo>
                <a:cubicBezTo>
                  <a:pt x="350" y="432"/>
                  <a:pt x="332" y="432"/>
                  <a:pt x="315" y="431"/>
                </a:cubicBezTo>
                <a:cubicBezTo>
                  <a:pt x="306" y="417"/>
                  <a:pt x="297" y="402"/>
                  <a:pt x="288" y="387"/>
                </a:cubicBezTo>
                <a:cubicBezTo>
                  <a:pt x="279" y="371"/>
                  <a:pt x="271" y="356"/>
                  <a:pt x="263" y="341"/>
                </a:cubicBezTo>
                <a:cubicBezTo>
                  <a:pt x="271" y="326"/>
                  <a:pt x="279" y="310"/>
                  <a:pt x="288" y="295"/>
                </a:cubicBezTo>
                <a:cubicBezTo>
                  <a:pt x="297" y="280"/>
                  <a:pt x="306" y="265"/>
                  <a:pt x="315" y="250"/>
                </a:cubicBezTo>
                <a:cubicBezTo>
                  <a:pt x="332" y="250"/>
                  <a:pt x="350" y="249"/>
                  <a:pt x="368" y="249"/>
                </a:cubicBezTo>
                <a:cubicBezTo>
                  <a:pt x="385" y="249"/>
                  <a:pt x="403" y="250"/>
                  <a:pt x="420" y="250"/>
                </a:cubicBezTo>
                <a:cubicBezTo>
                  <a:pt x="429" y="265"/>
                  <a:pt x="438" y="280"/>
                  <a:pt x="447" y="295"/>
                </a:cubicBezTo>
                <a:cubicBezTo>
                  <a:pt x="456" y="310"/>
                  <a:pt x="464" y="326"/>
                  <a:pt x="472" y="341"/>
                </a:cubicBezTo>
                <a:cubicBezTo>
                  <a:pt x="464" y="356"/>
                  <a:pt x="456" y="371"/>
                  <a:pt x="447" y="387"/>
                </a:cubicBezTo>
                <a:close/>
                <a:moveTo>
                  <a:pt x="480" y="356"/>
                </a:moveTo>
                <a:cubicBezTo>
                  <a:pt x="492" y="379"/>
                  <a:pt x="502" y="402"/>
                  <a:pt x="512" y="424"/>
                </a:cubicBezTo>
                <a:cubicBezTo>
                  <a:pt x="488" y="427"/>
                  <a:pt x="463" y="429"/>
                  <a:pt x="437" y="430"/>
                </a:cubicBezTo>
                <a:cubicBezTo>
                  <a:pt x="444" y="418"/>
                  <a:pt x="452" y="406"/>
                  <a:pt x="459" y="394"/>
                </a:cubicBezTo>
                <a:cubicBezTo>
                  <a:pt x="466" y="381"/>
                  <a:pt x="473" y="368"/>
                  <a:pt x="480" y="356"/>
                </a:cubicBezTo>
                <a:close/>
                <a:moveTo>
                  <a:pt x="411" y="446"/>
                </a:moveTo>
                <a:cubicBezTo>
                  <a:pt x="396" y="467"/>
                  <a:pt x="382" y="488"/>
                  <a:pt x="368" y="507"/>
                </a:cubicBezTo>
                <a:cubicBezTo>
                  <a:pt x="353" y="488"/>
                  <a:pt x="339" y="467"/>
                  <a:pt x="324" y="446"/>
                </a:cubicBezTo>
                <a:cubicBezTo>
                  <a:pt x="339" y="446"/>
                  <a:pt x="353" y="446"/>
                  <a:pt x="368" y="446"/>
                </a:cubicBezTo>
                <a:cubicBezTo>
                  <a:pt x="382" y="446"/>
                  <a:pt x="396" y="446"/>
                  <a:pt x="411" y="446"/>
                </a:cubicBezTo>
                <a:close/>
                <a:moveTo>
                  <a:pt x="298" y="431"/>
                </a:moveTo>
                <a:cubicBezTo>
                  <a:pt x="272" y="429"/>
                  <a:pt x="247" y="427"/>
                  <a:pt x="223" y="424"/>
                </a:cubicBezTo>
                <a:cubicBezTo>
                  <a:pt x="233" y="402"/>
                  <a:pt x="243" y="379"/>
                  <a:pt x="255" y="356"/>
                </a:cubicBezTo>
                <a:cubicBezTo>
                  <a:pt x="262" y="368"/>
                  <a:pt x="269" y="381"/>
                  <a:pt x="276" y="394"/>
                </a:cubicBezTo>
                <a:cubicBezTo>
                  <a:pt x="283" y="406"/>
                  <a:pt x="291" y="418"/>
                  <a:pt x="298" y="431"/>
                </a:cubicBezTo>
                <a:close/>
                <a:moveTo>
                  <a:pt x="255" y="326"/>
                </a:moveTo>
                <a:cubicBezTo>
                  <a:pt x="243" y="302"/>
                  <a:pt x="233" y="280"/>
                  <a:pt x="223" y="257"/>
                </a:cubicBezTo>
                <a:cubicBezTo>
                  <a:pt x="247" y="255"/>
                  <a:pt x="272" y="252"/>
                  <a:pt x="298" y="251"/>
                </a:cubicBezTo>
                <a:cubicBezTo>
                  <a:pt x="291" y="263"/>
                  <a:pt x="283" y="276"/>
                  <a:pt x="276" y="288"/>
                </a:cubicBezTo>
                <a:cubicBezTo>
                  <a:pt x="269" y="301"/>
                  <a:pt x="262" y="313"/>
                  <a:pt x="255" y="326"/>
                </a:cubicBezTo>
                <a:close/>
                <a:moveTo>
                  <a:pt x="324" y="236"/>
                </a:moveTo>
                <a:cubicBezTo>
                  <a:pt x="339" y="214"/>
                  <a:pt x="353" y="193"/>
                  <a:pt x="367" y="174"/>
                </a:cubicBezTo>
                <a:cubicBezTo>
                  <a:pt x="382" y="194"/>
                  <a:pt x="396" y="214"/>
                  <a:pt x="411" y="236"/>
                </a:cubicBezTo>
                <a:cubicBezTo>
                  <a:pt x="396" y="236"/>
                  <a:pt x="382" y="235"/>
                  <a:pt x="368" y="235"/>
                </a:cubicBezTo>
                <a:cubicBezTo>
                  <a:pt x="353" y="235"/>
                  <a:pt x="339" y="236"/>
                  <a:pt x="324" y="236"/>
                </a:cubicBezTo>
                <a:close/>
                <a:moveTo>
                  <a:pt x="459" y="288"/>
                </a:moveTo>
                <a:cubicBezTo>
                  <a:pt x="452" y="276"/>
                  <a:pt x="444" y="263"/>
                  <a:pt x="437" y="251"/>
                </a:cubicBezTo>
                <a:cubicBezTo>
                  <a:pt x="463" y="252"/>
                  <a:pt x="488" y="255"/>
                  <a:pt x="512" y="257"/>
                </a:cubicBezTo>
                <a:cubicBezTo>
                  <a:pt x="502" y="280"/>
                  <a:pt x="492" y="303"/>
                  <a:pt x="480" y="326"/>
                </a:cubicBezTo>
                <a:cubicBezTo>
                  <a:pt x="473" y="313"/>
                  <a:pt x="466" y="301"/>
                  <a:pt x="459" y="288"/>
                </a:cubicBezTo>
                <a:close/>
                <a:moveTo>
                  <a:pt x="313" y="81"/>
                </a:moveTo>
                <a:cubicBezTo>
                  <a:pt x="313" y="86"/>
                  <a:pt x="311" y="90"/>
                  <a:pt x="308" y="94"/>
                </a:cubicBezTo>
                <a:cubicBezTo>
                  <a:pt x="304" y="97"/>
                  <a:pt x="300" y="98"/>
                  <a:pt x="296" y="98"/>
                </a:cubicBezTo>
                <a:cubicBezTo>
                  <a:pt x="287" y="98"/>
                  <a:pt x="279" y="90"/>
                  <a:pt x="279" y="81"/>
                </a:cubicBezTo>
                <a:cubicBezTo>
                  <a:pt x="279" y="72"/>
                  <a:pt x="287" y="64"/>
                  <a:pt x="296" y="64"/>
                </a:cubicBezTo>
                <a:cubicBezTo>
                  <a:pt x="305" y="64"/>
                  <a:pt x="313" y="72"/>
                  <a:pt x="313" y="81"/>
                </a:cubicBezTo>
                <a:close/>
                <a:moveTo>
                  <a:pt x="187" y="153"/>
                </a:moveTo>
                <a:cubicBezTo>
                  <a:pt x="170" y="90"/>
                  <a:pt x="172" y="46"/>
                  <a:pt x="191" y="35"/>
                </a:cubicBezTo>
                <a:cubicBezTo>
                  <a:pt x="206" y="26"/>
                  <a:pt x="234" y="37"/>
                  <a:pt x="269" y="66"/>
                </a:cubicBezTo>
                <a:cubicBezTo>
                  <a:pt x="266" y="70"/>
                  <a:pt x="265" y="76"/>
                  <a:pt x="265" y="81"/>
                </a:cubicBezTo>
                <a:cubicBezTo>
                  <a:pt x="265" y="98"/>
                  <a:pt x="279" y="112"/>
                  <a:pt x="296" y="112"/>
                </a:cubicBezTo>
                <a:cubicBezTo>
                  <a:pt x="302" y="112"/>
                  <a:pt x="307" y="111"/>
                  <a:pt x="312" y="108"/>
                </a:cubicBezTo>
                <a:cubicBezTo>
                  <a:pt x="328" y="124"/>
                  <a:pt x="343" y="143"/>
                  <a:pt x="359" y="163"/>
                </a:cubicBezTo>
                <a:cubicBezTo>
                  <a:pt x="341" y="186"/>
                  <a:pt x="324" y="211"/>
                  <a:pt x="307" y="237"/>
                </a:cubicBezTo>
                <a:cubicBezTo>
                  <a:pt x="277" y="238"/>
                  <a:pt x="247" y="241"/>
                  <a:pt x="218" y="244"/>
                </a:cubicBezTo>
                <a:cubicBezTo>
                  <a:pt x="205" y="212"/>
                  <a:pt x="194" y="181"/>
                  <a:pt x="187" y="153"/>
                </a:cubicBezTo>
                <a:close/>
                <a:moveTo>
                  <a:pt x="14" y="341"/>
                </a:moveTo>
                <a:cubicBezTo>
                  <a:pt x="14" y="309"/>
                  <a:pt x="88" y="275"/>
                  <a:pt x="209" y="259"/>
                </a:cubicBezTo>
                <a:cubicBezTo>
                  <a:pt x="220" y="286"/>
                  <a:pt x="233" y="313"/>
                  <a:pt x="247" y="341"/>
                </a:cubicBezTo>
                <a:cubicBezTo>
                  <a:pt x="233" y="368"/>
                  <a:pt x="220" y="396"/>
                  <a:pt x="209" y="422"/>
                </a:cubicBezTo>
                <a:cubicBezTo>
                  <a:pt x="88" y="406"/>
                  <a:pt x="14" y="373"/>
                  <a:pt x="14" y="341"/>
                </a:cubicBezTo>
                <a:close/>
                <a:moveTo>
                  <a:pt x="182" y="501"/>
                </a:moveTo>
                <a:cubicBezTo>
                  <a:pt x="192" y="501"/>
                  <a:pt x="199" y="508"/>
                  <a:pt x="199" y="518"/>
                </a:cubicBezTo>
                <a:cubicBezTo>
                  <a:pt x="199" y="527"/>
                  <a:pt x="192" y="535"/>
                  <a:pt x="182" y="535"/>
                </a:cubicBezTo>
                <a:cubicBezTo>
                  <a:pt x="173" y="535"/>
                  <a:pt x="165" y="527"/>
                  <a:pt x="165" y="518"/>
                </a:cubicBezTo>
                <a:cubicBezTo>
                  <a:pt x="165" y="508"/>
                  <a:pt x="173" y="501"/>
                  <a:pt x="182" y="501"/>
                </a:cubicBezTo>
                <a:close/>
                <a:moveTo>
                  <a:pt x="296" y="591"/>
                </a:moveTo>
                <a:cubicBezTo>
                  <a:pt x="249" y="637"/>
                  <a:pt x="210" y="658"/>
                  <a:pt x="191" y="647"/>
                </a:cubicBezTo>
                <a:cubicBezTo>
                  <a:pt x="174" y="637"/>
                  <a:pt x="170" y="601"/>
                  <a:pt x="182" y="549"/>
                </a:cubicBezTo>
                <a:cubicBezTo>
                  <a:pt x="182" y="549"/>
                  <a:pt x="182" y="549"/>
                  <a:pt x="182" y="549"/>
                </a:cubicBezTo>
                <a:cubicBezTo>
                  <a:pt x="199" y="549"/>
                  <a:pt x="213" y="535"/>
                  <a:pt x="213" y="518"/>
                </a:cubicBezTo>
                <a:cubicBezTo>
                  <a:pt x="213" y="506"/>
                  <a:pt x="207" y="496"/>
                  <a:pt x="198" y="491"/>
                </a:cubicBezTo>
                <a:cubicBezTo>
                  <a:pt x="204" y="474"/>
                  <a:pt x="210" y="456"/>
                  <a:pt x="218" y="437"/>
                </a:cubicBezTo>
                <a:cubicBezTo>
                  <a:pt x="247" y="441"/>
                  <a:pt x="277" y="443"/>
                  <a:pt x="307" y="445"/>
                </a:cubicBezTo>
                <a:cubicBezTo>
                  <a:pt x="324" y="471"/>
                  <a:pt x="341" y="496"/>
                  <a:pt x="359" y="519"/>
                </a:cubicBezTo>
                <a:cubicBezTo>
                  <a:pt x="337" y="546"/>
                  <a:pt x="316" y="571"/>
                  <a:pt x="296" y="591"/>
                </a:cubicBezTo>
                <a:close/>
                <a:moveTo>
                  <a:pt x="549" y="528"/>
                </a:moveTo>
                <a:cubicBezTo>
                  <a:pt x="565" y="592"/>
                  <a:pt x="563" y="636"/>
                  <a:pt x="544" y="647"/>
                </a:cubicBezTo>
                <a:cubicBezTo>
                  <a:pt x="525" y="658"/>
                  <a:pt x="486" y="637"/>
                  <a:pt x="440" y="591"/>
                </a:cubicBezTo>
                <a:cubicBezTo>
                  <a:pt x="419" y="571"/>
                  <a:pt x="398" y="546"/>
                  <a:pt x="376" y="519"/>
                </a:cubicBezTo>
                <a:cubicBezTo>
                  <a:pt x="394" y="496"/>
                  <a:pt x="411" y="471"/>
                  <a:pt x="428" y="445"/>
                </a:cubicBezTo>
                <a:cubicBezTo>
                  <a:pt x="459" y="444"/>
                  <a:pt x="489" y="441"/>
                  <a:pt x="517" y="438"/>
                </a:cubicBezTo>
                <a:cubicBezTo>
                  <a:pt x="531" y="470"/>
                  <a:pt x="541" y="500"/>
                  <a:pt x="549" y="528"/>
                </a:cubicBezTo>
                <a:close/>
                <a:moveTo>
                  <a:pt x="654" y="418"/>
                </a:moveTo>
                <a:cubicBezTo>
                  <a:pt x="645" y="418"/>
                  <a:pt x="637" y="410"/>
                  <a:pt x="637" y="400"/>
                </a:cubicBezTo>
                <a:cubicBezTo>
                  <a:pt x="637" y="391"/>
                  <a:pt x="645" y="383"/>
                  <a:pt x="654" y="383"/>
                </a:cubicBezTo>
                <a:cubicBezTo>
                  <a:pt x="664" y="383"/>
                  <a:pt x="671" y="391"/>
                  <a:pt x="671" y="400"/>
                </a:cubicBezTo>
                <a:cubicBezTo>
                  <a:pt x="671" y="410"/>
                  <a:pt x="664" y="418"/>
                  <a:pt x="654" y="418"/>
                </a:cubicBezTo>
                <a:close/>
                <a:moveTo>
                  <a:pt x="679" y="382"/>
                </a:moveTo>
                <a:cubicBezTo>
                  <a:pt x="674" y="375"/>
                  <a:pt x="665" y="369"/>
                  <a:pt x="654" y="369"/>
                </a:cubicBezTo>
                <a:cubicBezTo>
                  <a:pt x="637" y="369"/>
                  <a:pt x="623" y="383"/>
                  <a:pt x="623" y="400"/>
                </a:cubicBezTo>
                <a:cubicBezTo>
                  <a:pt x="623" y="401"/>
                  <a:pt x="623" y="402"/>
                  <a:pt x="623" y="403"/>
                </a:cubicBezTo>
                <a:cubicBezTo>
                  <a:pt x="595" y="411"/>
                  <a:pt x="562" y="417"/>
                  <a:pt x="526" y="422"/>
                </a:cubicBezTo>
                <a:cubicBezTo>
                  <a:pt x="515" y="396"/>
                  <a:pt x="502" y="368"/>
                  <a:pt x="488" y="341"/>
                </a:cubicBezTo>
                <a:cubicBezTo>
                  <a:pt x="502" y="313"/>
                  <a:pt x="515" y="286"/>
                  <a:pt x="526" y="259"/>
                </a:cubicBezTo>
                <a:cubicBezTo>
                  <a:pt x="647" y="275"/>
                  <a:pt x="721" y="309"/>
                  <a:pt x="721" y="341"/>
                </a:cubicBezTo>
                <a:cubicBezTo>
                  <a:pt x="721" y="355"/>
                  <a:pt x="706" y="369"/>
                  <a:pt x="679" y="38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5" name="Oval 15"/>
          <p:cNvSpPr>
            <a:spLocks noChangeArrowheads="1"/>
          </p:cNvSpPr>
          <p:nvPr/>
        </p:nvSpPr>
        <p:spPr bwMode="auto">
          <a:xfrm>
            <a:off x="6137845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3" name="Freeform 23"/>
          <p:cNvSpPr>
            <a:spLocks noEditPoints="1"/>
          </p:cNvSpPr>
          <p:nvPr/>
        </p:nvSpPr>
        <p:spPr bwMode="auto">
          <a:xfrm>
            <a:off x="6299878" y="1329940"/>
            <a:ext cx="498893" cy="411808"/>
          </a:xfrm>
          <a:custGeom>
            <a:avLst/>
            <a:gdLst>
              <a:gd name="T0" fmla="*/ 582 w 644"/>
              <a:gd name="T1" fmla="*/ 134 h 532"/>
              <a:gd name="T2" fmla="*/ 429 w 644"/>
              <a:gd name="T3" fmla="*/ 94 h 532"/>
              <a:gd name="T4" fmla="*/ 398 w 644"/>
              <a:gd name="T5" fmla="*/ 0 h 532"/>
              <a:gd name="T6" fmla="*/ 216 w 644"/>
              <a:gd name="T7" fmla="*/ 30 h 532"/>
              <a:gd name="T8" fmla="*/ 116 w 644"/>
              <a:gd name="T9" fmla="*/ 94 h 532"/>
              <a:gd name="T10" fmla="*/ 11 w 644"/>
              <a:gd name="T11" fmla="*/ 305 h 532"/>
              <a:gd name="T12" fmla="*/ 0 w 644"/>
              <a:gd name="T13" fmla="*/ 488 h 532"/>
              <a:gd name="T14" fmla="*/ 600 w 644"/>
              <a:gd name="T15" fmla="*/ 532 h 532"/>
              <a:gd name="T16" fmla="*/ 644 w 644"/>
              <a:gd name="T17" fmla="*/ 378 h 532"/>
              <a:gd name="T18" fmla="*/ 230 w 644"/>
              <a:gd name="T19" fmla="*/ 30 h 532"/>
              <a:gd name="T20" fmla="*/ 398 w 644"/>
              <a:gd name="T21" fmla="*/ 14 h 532"/>
              <a:gd name="T22" fmla="*/ 415 w 644"/>
              <a:gd name="T23" fmla="*/ 94 h 532"/>
              <a:gd name="T24" fmla="*/ 230 w 644"/>
              <a:gd name="T25" fmla="*/ 30 h 532"/>
              <a:gd name="T26" fmla="*/ 600 w 644"/>
              <a:gd name="T27" fmla="*/ 518 h 532"/>
              <a:gd name="T28" fmla="*/ 14 w 644"/>
              <a:gd name="T29" fmla="*/ 488 h 532"/>
              <a:gd name="T30" fmla="*/ 25 w 644"/>
              <a:gd name="T31" fmla="*/ 309 h 532"/>
              <a:gd name="T32" fmla="*/ 116 w 644"/>
              <a:gd name="T33" fmla="*/ 108 h 532"/>
              <a:gd name="T34" fmla="*/ 568 w 644"/>
              <a:gd name="T35" fmla="*/ 138 h 532"/>
              <a:gd name="T36" fmla="*/ 630 w 644"/>
              <a:gd name="T37" fmla="*/ 378 h 532"/>
              <a:gd name="T38" fmla="*/ 444 w 644"/>
              <a:gd name="T39" fmla="*/ 256 h 532"/>
              <a:gd name="T40" fmla="*/ 359 w 644"/>
              <a:gd name="T41" fmla="*/ 172 h 532"/>
              <a:gd name="T42" fmla="*/ 292 w 644"/>
              <a:gd name="T43" fmla="*/ 165 h 532"/>
              <a:gd name="T44" fmla="*/ 285 w 644"/>
              <a:gd name="T45" fmla="*/ 256 h 532"/>
              <a:gd name="T46" fmla="*/ 193 w 644"/>
              <a:gd name="T47" fmla="*/ 263 h 532"/>
              <a:gd name="T48" fmla="*/ 200 w 644"/>
              <a:gd name="T49" fmla="*/ 331 h 532"/>
              <a:gd name="T50" fmla="*/ 285 w 644"/>
              <a:gd name="T51" fmla="*/ 415 h 532"/>
              <a:gd name="T52" fmla="*/ 352 w 644"/>
              <a:gd name="T53" fmla="*/ 422 h 532"/>
              <a:gd name="T54" fmla="*/ 359 w 644"/>
              <a:gd name="T55" fmla="*/ 331 h 532"/>
              <a:gd name="T56" fmla="*/ 451 w 644"/>
              <a:gd name="T57" fmla="*/ 324 h 532"/>
              <a:gd name="T58" fmla="*/ 444 w 644"/>
              <a:gd name="T59" fmla="*/ 256 h 532"/>
              <a:gd name="T60" fmla="*/ 352 w 644"/>
              <a:gd name="T61" fmla="*/ 317 h 532"/>
              <a:gd name="T62" fmla="*/ 345 w 644"/>
              <a:gd name="T63" fmla="*/ 408 h 532"/>
              <a:gd name="T64" fmla="*/ 299 w 644"/>
              <a:gd name="T65" fmla="*/ 324 h 532"/>
              <a:gd name="T66" fmla="*/ 207 w 644"/>
              <a:gd name="T67" fmla="*/ 317 h 532"/>
              <a:gd name="T68" fmla="*/ 292 w 644"/>
              <a:gd name="T69" fmla="*/ 270 h 532"/>
              <a:gd name="T70" fmla="*/ 299 w 644"/>
              <a:gd name="T71" fmla="*/ 179 h 532"/>
              <a:gd name="T72" fmla="*/ 345 w 644"/>
              <a:gd name="T73" fmla="*/ 263 h 532"/>
              <a:gd name="T74" fmla="*/ 437 w 644"/>
              <a:gd name="T75" fmla="*/ 270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44" h="532">
                <a:moveTo>
                  <a:pt x="633" y="305"/>
                </a:moveTo>
                <a:cubicBezTo>
                  <a:pt x="582" y="134"/>
                  <a:pt x="582" y="134"/>
                  <a:pt x="582" y="134"/>
                </a:cubicBezTo>
                <a:cubicBezTo>
                  <a:pt x="575" y="112"/>
                  <a:pt x="551" y="94"/>
                  <a:pt x="528" y="94"/>
                </a:cubicBezTo>
                <a:cubicBezTo>
                  <a:pt x="429" y="94"/>
                  <a:pt x="429" y="94"/>
                  <a:pt x="429" y="94"/>
                </a:cubicBezTo>
                <a:cubicBezTo>
                  <a:pt x="429" y="30"/>
                  <a:pt x="429" y="30"/>
                  <a:pt x="429" y="30"/>
                </a:cubicBezTo>
                <a:cubicBezTo>
                  <a:pt x="429" y="14"/>
                  <a:pt x="415" y="0"/>
                  <a:pt x="398" y="0"/>
                </a:cubicBezTo>
                <a:cubicBezTo>
                  <a:pt x="246" y="0"/>
                  <a:pt x="246" y="0"/>
                  <a:pt x="246" y="0"/>
                </a:cubicBezTo>
                <a:cubicBezTo>
                  <a:pt x="229" y="0"/>
                  <a:pt x="216" y="14"/>
                  <a:pt x="216" y="30"/>
                </a:cubicBezTo>
                <a:cubicBezTo>
                  <a:pt x="216" y="94"/>
                  <a:pt x="216" y="94"/>
                  <a:pt x="216" y="94"/>
                </a:cubicBezTo>
                <a:cubicBezTo>
                  <a:pt x="116" y="94"/>
                  <a:pt x="116" y="94"/>
                  <a:pt x="116" y="94"/>
                </a:cubicBezTo>
                <a:cubicBezTo>
                  <a:pt x="93" y="94"/>
                  <a:pt x="69" y="112"/>
                  <a:pt x="62" y="134"/>
                </a:cubicBezTo>
                <a:cubicBezTo>
                  <a:pt x="11" y="305"/>
                  <a:pt x="11" y="305"/>
                  <a:pt x="11" y="305"/>
                </a:cubicBezTo>
                <a:cubicBezTo>
                  <a:pt x="5" y="325"/>
                  <a:pt x="0" y="358"/>
                  <a:pt x="0" y="378"/>
                </a:cubicBezTo>
                <a:cubicBezTo>
                  <a:pt x="0" y="488"/>
                  <a:pt x="0" y="488"/>
                  <a:pt x="0" y="488"/>
                </a:cubicBezTo>
                <a:cubicBezTo>
                  <a:pt x="0" y="512"/>
                  <a:pt x="20" y="532"/>
                  <a:pt x="44" y="532"/>
                </a:cubicBezTo>
                <a:cubicBezTo>
                  <a:pt x="600" y="532"/>
                  <a:pt x="600" y="532"/>
                  <a:pt x="600" y="532"/>
                </a:cubicBezTo>
                <a:cubicBezTo>
                  <a:pt x="624" y="532"/>
                  <a:pt x="644" y="512"/>
                  <a:pt x="644" y="488"/>
                </a:cubicBezTo>
                <a:cubicBezTo>
                  <a:pt x="644" y="378"/>
                  <a:pt x="644" y="378"/>
                  <a:pt x="644" y="378"/>
                </a:cubicBezTo>
                <a:cubicBezTo>
                  <a:pt x="644" y="358"/>
                  <a:pt x="639" y="325"/>
                  <a:pt x="633" y="305"/>
                </a:cubicBezTo>
                <a:close/>
                <a:moveTo>
                  <a:pt x="230" y="30"/>
                </a:moveTo>
                <a:cubicBezTo>
                  <a:pt x="230" y="21"/>
                  <a:pt x="237" y="14"/>
                  <a:pt x="246" y="14"/>
                </a:cubicBezTo>
                <a:cubicBezTo>
                  <a:pt x="398" y="14"/>
                  <a:pt x="398" y="14"/>
                  <a:pt x="398" y="14"/>
                </a:cubicBezTo>
                <a:cubicBezTo>
                  <a:pt x="407" y="14"/>
                  <a:pt x="415" y="21"/>
                  <a:pt x="415" y="30"/>
                </a:cubicBezTo>
                <a:cubicBezTo>
                  <a:pt x="415" y="94"/>
                  <a:pt x="415" y="94"/>
                  <a:pt x="415" y="94"/>
                </a:cubicBezTo>
                <a:cubicBezTo>
                  <a:pt x="230" y="94"/>
                  <a:pt x="230" y="94"/>
                  <a:pt x="230" y="94"/>
                </a:cubicBezTo>
                <a:lnTo>
                  <a:pt x="230" y="30"/>
                </a:lnTo>
                <a:close/>
                <a:moveTo>
                  <a:pt x="630" y="488"/>
                </a:moveTo>
                <a:cubicBezTo>
                  <a:pt x="630" y="504"/>
                  <a:pt x="616" y="518"/>
                  <a:pt x="600" y="518"/>
                </a:cubicBezTo>
                <a:cubicBezTo>
                  <a:pt x="44" y="518"/>
                  <a:pt x="44" y="518"/>
                  <a:pt x="44" y="518"/>
                </a:cubicBezTo>
                <a:cubicBezTo>
                  <a:pt x="28" y="518"/>
                  <a:pt x="14" y="504"/>
                  <a:pt x="14" y="488"/>
                </a:cubicBezTo>
                <a:cubicBezTo>
                  <a:pt x="14" y="378"/>
                  <a:pt x="14" y="378"/>
                  <a:pt x="14" y="378"/>
                </a:cubicBezTo>
                <a:cubicBezTo>
                  <a:pt x="14" y="359"/>
                  <a:pt x="19" y="327"/>
                  <a:pt x="25" y="309"/>
                </a:cubicBezTo>
                <a:cubicBezTo>
                  <a:pt x="76" y="138"/>
                  <a:pt x="76" y="138"/>
                  <a:pt x="76" y="138"/>
                </a:cubicBezTo>
                <a:cubicBezTo>
                  <a:pt x="81" y="122"/>
                  <a:pt x="99" y="108"/>
                  <a:pt x="116" y="108"/>
                </a:cubicBezTo>
                <a:cubicBezTo>
                  <a:pt x="528" y="108"/>
                  <a:pt x="528" y="108"/>
                  <a:pt x="528" y="108"/>
                </a:cubicBezTo>
                <a:cubicBezTo>
                  <a:pt x="545" y="108"/>
                  <a:pt x="564" y="122"/>
                  <a:pt x="568" y="138"/>
                </a:cubicBezTo>
                <a:cubicBezTo>
                  <a:pt x="619" y="309"/>
                  <a:pt x="619" y="309"/>
                  <a:pt x="619" y="309"/>
                </a:cubicBezTo>
                <a:cubicBezTo>
                  <a:pt x="625" y="327"/>
                  <a:pt x="630" y="359"/>
                  <a:pt x="630" y="378"/>
                </a:cubicBezTo>
                <a:lnTo>
                  <a:pt x="630" y="488"/>
                </a:lnTo>
                <a:close/>
                <a:moveTo>
                  <a:pt x="444" y="256"/>
                </a:moveTo>
                <a:cubicBezTo>
                  <a:pt x="359" y="256"/>
                  <a:pt x="359" y="256"/>
                  <a:pt x="359" y="256"/>
                </a:cubicBezTo>
                <a:cubicBezTo>
                  <a:pt x="359" y="172"/>
                  <a:pt x="359" y="172"/>
                  <a:pt x="359" y="172"/>
                </a:cubicBezTo>
                <a:cubicBezTo>
                  <a:pt x="359" y="168"/>
                  <a:pt x="356" y="165"/>
                  <a:pt x="352" y="165"/>
                </a:cubicBezTo>
                <a:cubicBezTo>
                  <a:pt x="292" y="165"/>
                  <a:pt x="292" y="165"/>
                  <a:pt x="292" y="165"/>
                </a:cubicBezTo>
                <a:cubicBezTo>
                  <a:pt x="288" y="165"/>
                  <a:pt x="285" y="168"/>
                  <a:pt x="285" y="172"/>
                </a:cubicBezTo>
                <a:cubicBezTo>
                  <a:pt x="285" y="256"/>
                  <a:pt x="285" y="256"/>
                  <a:pt x="285" y="256"/>
                </a:cubicBezTo>
                <a:cubicBezTo>
                  <a:pt x="200" y="256"/>
                  <a:pt x="200" y="256"/>
                  <a:pt x="200" y="256"/>
                </a:cubicBezTo>
                <a:cubicBezTo>
                  <a:pt x="197" y="256"/>
                  <a:pt x="193" y="260"/>
                  <a:pt x="193" y="263"/>
                </a:cubicBezTo>
                <a:cubicBezTo>
                  <a:pt x="193" y="324"/>
                  <a:pt x="193" y="324"/>
                  <a:pt x="193" y="324"/>
                </a:cubicBezTo>
                <a:cubicBezTo>
                  <a:pt x="193" y="328"/>
                  <a:pt x="197" y="331"/>
                  <a:pt x="200" y="331"/>
                </a:cubicBezTo>
                <a:cubicBezTo>
                  <a:pt x="285" y="331"/>
                  <a:pt x="285" y="331"/>
                  <a:pt x="285" y="331"/>
                </a:cubicBezTo>
                <a:cubicBezTo>
                  <a:pt x="285" y="415"/>
                  <a:pt x="285" y="415"/>
                  <a:pt x="285" y="415"/>
                </a:cubicBezTo>
                <a:cubicBezTo>
                  <a:pt x="285" y="419"/>
                  <a:pt x="288" y="422"/>
                  <a:pt x="292" y="422"/>
                </a:cubicBezTo>
                <a:cubicBezTo>
                  <a:pt x="352" y="422"/>
                  <a:pt x="352" y="422"/>
                  <a:pt x="352" y="422"/>
                </a:cubicBezTo>
                <a:cubicBezTo>
                  <a:pt x="356" y="422"/>
                  <a:pt x="359" y="419"/>
                  <a:pt x="359" y="415"/>
                </a:cubicBezTo>
                <a:cubicBezTo>
                  <a:pt x="359" y="331"/>
                  <a:pt x="359" y="331"/>
                  <a:pt x="359" y="331"/>
                </a:cubicBezTo>
                <a:cubicBezTo>
                  <a:pt x="444" y="331"/>
                  <a:pt x="444" y="331"/>
                  <a:pt x="444" y="331"/>
                </a:cubicBezTo>
                <a:cubicBezTo>
                  <a:pt x="448" y="331"/>
                  <a:pt x="451" y="328"/>
                  <a:pt x="451" y="324"/>
                </a:cubicBezTo>
                <a:cubicBezTo>
                  <a:pt x="451" y="263"/>
                  <a:pt x="451" y="263"/>
                  <a:pt x="451" y="263"/>
                </a:cubicBezTo>
                <a:cubicBezTo>
                  <a:pt x="451" y="260"/>
                  <a:pt x="448" y="256"/>
                  <a:pt x="444" y="256"/>
                </a:cubicBezTo>
                <a:close/>
                <a:moveTo>
                  <a:pt x="437" y="317"/>
                </a:moveTo>
                <a:cubicBezTo>
                  <a:pt x="352" y="317"/>
                  <a:pt x="352" y="317"/>
                  <a:pt x="352" y="317"/>
                </a:cubicBezTo>
                <a:cubicBezTo>
                  <a:pt x="348" y="317"/>
                  <a:pt x="345" y="320"/>
                  <a:pt x="345" y="324"/>
                </a:cubicBezTo>
                <a:cubicBezTo>
                  <a:pt x="345" y="408"/>
                  <a:pt x="345" y="408"/>
                  <a:pt x="345" y="408"/>
                </a:cubicBezTo>
                <a:cubicBezTo>
                  <a:pt x="299" y="408"/>
                  <a:pt x="299" y="408"/>
                  <a:pt x="299" y="408"/>
                </a:cubicBezTo>
                <a:cubicBezTo>
                  <a:pt x="299" y="324"/>
                  <a:pt x="299" y="324"/>
                  <a:pt x="299" y="324"/>
                </a:cubicBezTo>
                <a:cubicBezTo>
                  <a:pt x="299" y="320"/>
                  <a:pt x="296" y="317"/>
                  <a:pt x="292" y="317"/>
                </a:cubicBezTo>
                <a:cubicBezTo>
                  <a:pt x="207" y="317"/>
                  <a:pt x="207" y="317"/>
                  <a:pt x="207" y="317"/>
                </a:cubicBezTo>
                <a:cubicBezTo>
                  <a:pt x="207" y="270"/>
                  <a:pt x="207" y="270"/>
                  <a:pt x="207" y="270"/>
                </a:cubicBezTo>
                <a:cubicBezTo>
                  <a:pt x="292" y="270"/>
                  <a:pt x="292" y="270"/>
                  <a:pt x="292" y="270"/>
                </a:cubicBezTo>
                <a:cubicBezTo>
                  <a:pt x="296" y="270"/>
                  <a:pt x="299" y="267"/>
                  <a:pt x="299" y="263"/>
                </a:cubicBezTo>
                <a:cubicBezTo>
                  <a:pt x="299" y="179"/>
                  <a:pt x="299" y="179"/>
                  <a:pt x="299" y="179"/>
                </a:cubicBezTo>
                <a:cubicBezTo>
                  <a:pt x="345" y="179"/>
                  <a:pt x="345" y="179"/>
                  <a:pt x="345" y="179"/>
                </a:cubicBezTo>
                <a:cubicBezTo>
                  <a:pt x="345" y="263"/>
                  <a:pt x="345" y="263"/>
                  <a:pt x="345" y="263"/>
                </a:cubicBezTo>
                <a:cubicBezTo>
                  <a:pt x="345" y="267"/>
                  <a:pt x="348" y="270"/>
                  <a:pt x="352" y="270"/>
                </a:cubicBezTo>
                <a:cubicBezTo>
                  <a:pt x="437" y="270"/>
                  <a:pt x="437" y="270"/>
                  <a:pt x="437" y="270"/>
                </a:cubicBezTo>
                <a:lnTo>
                  <a:pt x="437" y="3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1" name="Oval 21"/>
          <p:cNvSpPr>
            <a:spLocks noChangeArrowheads="1"/>
          </p:cNvSpPr>
          <p:nvPr/>
        </p:nvSpPr>
        <p:spPr bwMode="auto">
          <a:xfrm>
            <a:off x="966871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4" name="Freeform 24"/>
          <p:cNvSpPr>
            <a:spLocks noEditPoints="1"/>
          </p:cNvSpPr>
          <p:nvPr/>
        </p:nvSpPr>
        <p:spPr bwMode="auto">
          <a:xfrm>
            <a:off x="1163751" y="1308301"/>
            <a:ext cx="429199" cy="455414"/>
          </a:xfrm>
          <a:custGeom>
            <a:avLst/>
            <a:gdLst>
              <a:gd name="T0" fmla="*/ 368 w 554"/>
              <a:gd name="T1" fmla="*/ 128 h 588"/>
              <a:gd name="T2" fmla="*/ 390 w 554"/>
              <a:gd name="T3" fmla="*/ 69 h 588"/>
              <a:gd name="T4" fmla="*/ 397 w 554"/>
              <a:gd name="T5" fmla="*/ 7 h 588"/>
              <a:gd name="T6" fmla="*/ 157 w 554"/>
              <a:gd name="T7" fmla="*/ 0 h 588"/>
              <a:gd name="T8" fmla="*/ 150 w 554"/>
              <a:gd name="T9" fmla="*/ 62 h 588"/>
              <a:gd name="T10" fmla="*/ 186 w 554"/>
              <a:gd name="T11" fmla="*/ 69 h 588"/>
              <a:gd name="T12" fmla="*/ 24 w 554"/>
              <a:gd name="T13" fmla="*/ 459 h 588"/>
              <a:gd name="T14" fmla="*/ 70 w 554"/>
              <a:gd name="T15" fmla="*/ 588 h 588"/>
              <a:gd name="T16" fmla="*/ 540 w 554"/>
              <a:gd name="T17" fmla="*/ 564 h 588"/>
              <a:gd name="T18" fmla="*/ 164 w 554"/>
              <a:gd name="T19" fmla="*/ 14 h 588"/>
              <a:gd name="T20" fmla="*/ 383 w 554"/>
              <a:gd name="T21" fmla="*/ 55 h 588"/>
              <a:gd name="T22" fmla="*/ 193 w 554"/>
              <a:gd name="T23" fmla="*/ 55 h 588"/>
              <a:gd name="T24" fmla="*/ 164 w 554"/>
              <a:gd name="T25" fmla="*/ 14 h 588"/>
              <a:gd name="T26" fmla="*/ 484 w 554"/>
              <a:gd name="T27" fmla="*/ 574 h 588"/>
              <a:gd name="T28" fmla="*/ 26 w 554"/>
              <a:gd name="T29" fmla="*/ 557 h 588"/>
              <a:gd name="T30" fmla="*/ 199 w 554"/>
              <a:gd name="T31" fmla="*/ 133 h 588"/>
              <a:gd name="T32" fmla="*/ 200 w 554"/>
              <a:gd name="T33" fmla="*/ 69 h 588"/>
              <a:gd name="T34" fmla="*/ 354 w 554"/>
              <a:gd name="T35" fmla="*/ 129 h 588"/>
              <a:gd name="T36" fmla="*/ 517 w 554"/>
              <a:gd name="T37" fmla="*/ 464 h 588"/>
              <a:gd name="T38" fmla="*/ 421 w 554"/>
              <a:gd name="T39" fmla="*/ 332 h 588"/>
              <a:gd name="T40" fmla="*/ 421 w 554"/>
              <a:gd name="T41" fmla="*/ 331 h 588"/>
              <a:gd name="T42" fmla="*/ 420 w 554"/>
              <a:gd name="T43" fmla="*/ 330 h 588"/>
              <a:gd name="T44" fmla="*/ 419 w 554"/>
              <a:gd name="T45" fmla="*/ 329 h 588"/>
              <a:gd name="T46" fmla="*/ 418 w 554"/>
              <a:gd name="T47" fmla="*/ 328 h 588"/>
              <a:gd name="T48" fmla="*/ 417 w 554"/>
              <a:gd name="T49" fmla="*/ 327 h 588"/>
              <a:gd name="T50" fmla="*/ 413 w 554"/>
              <a:gd name="T51" fmla="*/ 327 h 588"/>
              <a:gd name="T52" fmla="*/ 277 w 554"/>
              <a:gd name="T53" fmla="*/ 226 h 588"/>
              <a:gd name="T54" fmla="*/ 144 w 554"/>
              <a:gd name="T55" fmla="*/ 327 h 588"/>
              <a:gd name="T56" fmla="*/ 133 w 554"/>
              <a:gd name="T57" fmla="*/ 330 h 588"/>
              <a:gd name="T58" fmla="*/ 133 w 554"/>
              <a:gd name="T59" fmla="*/ 332 h 588"/>
              <a:gd name="T60" fmla="*/ 277 w 554"/>
              <a:gd name="T61" fmla="*/ 527 h 588"/>
              <a:gd name="T62" fmla="*/ 421 w 554"/>
              <a:gd name="T63" fmla="*/ 332 h 588"/>
              <a:gd name="T64" fmla="*/ 277 w 554"/>
              <a:gd name="T65" fmla="*/ 240 h 588"/>
              <a:gd name="T66" fmla="*/ 280 w 554"/>
              <a:gd name="T67" fmla="*/ 404 h 588"/>
              <a:gd name="T68" fmla="*/ 277 w 554"/>
              <a:gd name="T69" fmla="*/ 240 h 588"/>
              <a:gd name="T70" fmla="*/ 145 w 554"/>
              <a:gd name="T71" fmla="*/ 341 h 588"/>
              <a:gd name="T72" fmla="*/ 249 w 554"/>
              <a:gd name="T73" fmla="*/ 506 h 588"/>
              <a:gd name="T74" fmla="*/ 140 w 554"/>
              <a:gd name="T75" fmla="*/ 376 h 588"/>
              <a:gd name="T76" fmla="*/ 263 w 554"/>
              <a:gd name="T77" fmla="*/ 513 h 588"/>
              <a:gd name="T78" fmla="*/ 409 w 554"/>
              <a:gd name="T79" fmla="*/ 341 h 588"/>
              <a:gd name="T80" fmla="*/ 277 w 554"/>
              <a:gd name="T81" fmla="*/ 513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54" h="588">
                <a:moveTo>
                  <a:pt x="530" y="458"/>
                </a:moveTo>
                <a:cubicBezTo>
                  <a:pt x="368" y="128"/>
                  <a:pt x="368" y="128"/>
                  <a:pt x="368" y="128"/>
                </a:cubicBezTo>
                <a:cubicBezTo>
                  <a:pt x="368" y="69"/>
                  <a:pt x="368" y="69"/>
                  <a:pt x="368" y="69"/>
                </a:cubicBezTo>
                <a:cubicBezTo>
                  <a:pt x="390" y="69"/>
                  <a:pt x="390" y="69"/>
                  <a:pt x="390" y="69"/>
                </a:cubicBezTo>
                <a:cubicBezTo>
                  <a:pt x="393" y="69"/>
                  <a:pt x="397" y="66"/>
                  <a:pt x="397" y="62"/>
                </a:cubicBezTo>
                <a:cubicBezTo>
                  <a:pt x="397" y="7"/>
                  <a:pt x="397" y="7"/>
                  <a:pt x="397" y="7"/>
                </a:cubicBezTo>
                <a:cubicBezTo>
                  <a:pt x="397" y="3"/>
                  <a:pt x="393" y="0"/>
                  <a:pt x="390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4" y="0"/>
                  <a:pt x="150" y="3"/>
                  <a:pt x="150" y="7"/>
                </a:cubicBezTo>
                <a:cubicBezTo>
                  <a:pt x="150" y="62"/>
                  <a:pt x="150" y="62"/>
                  <a:pt x="150" y="62"/>
                </a:cubicBezTo>
                <a:cubicBezTo>
                  <a:pt x="150" y="66"/>
                  <a:pt x="154" y="69"/>
                  <a:pt x="157" y="69"/>
                </a:cubicBezTo>
                <a:cubicBezTo>
                  <a:pt x="186" y="69"/>
                  <a:pt x="186" y="69"/>
                  <a:pt x="186" y="69"/>
                </a:cubicBezTo>
                <a:cubicBezTo>
                  <a:pt x="186" y="128"/>
                  <a:pt x="186" y="128"/>
                  <a:pt x="186" y="128"/>
                </a:cubicBezTo>
                <a:cubicBezTo>
                  <a:pt x="24" y="459"/>
                  <a:pt x="24" y="459"/>
                  <a:pt x="24" y="459"/>
                </a:cubicBezTo>
                <a:cubicBezTo>
                  <a:pt x="3" y="507"/>
                  <a:pt x="0" y="543"/>
                  <a:pt x="14" y="564"/>
                </a:cubicBezTo>
                <a:cubicBezTo>
                  <a:pt x="25" y="580"/>
                  <a:pt x="43" y="588"/>
                  <a:pt x="70" y="588"/>
                </a:cubicBezTo>
                <a:cubicBezTo>
                  <a:pt x="484" y="588"/>
                  <a:pt x="484" y="588"/>
                  <a:pt x="484" y="588"/>
                </a:cubicBezTo>
                <a:cubicBezTo>
                  <a:pt x="511" y="588"/>
                  <a:pt x="529" y="580"/>
                  <a:pt x="540" y="564"/>
                </a:cubicBezTo>
                <a:cubicBezTo>
                  <a:pt x="554" y="543"/>
                  <a:pt x="551" y="507"/>
                  <a:pt x="530" y="458"/>
                </a:cubicBezTo>
                <a:close/>
                <a:moveTo>
                  <a:pt x="164" y="14"/>
                </a:moveTo>
                <a:cubicBezTo>
                  <a:pt x="383" y="14"/>
                  <a:pt x="383" y="14"/>
                  <a:pt x="383" y="14"/>
                </a:cubicBezTo>
                <a:cubicBezTo>
                  <a:pt x="383" y="55"/>
                  <a:pt x="383" y="55"/>
                  <a:pt x="383" y="55"/>
                </a:cubicBezTo>
                <a:cubicBezTo>
                  <a:pt x="361" y="55"/>
                  <a:pt x="361" y="55"/>
                  <a:pt x="361" y="55"/>
                </a:cubicBezTo>
                <a:cubicBezTo>
                  <a:pt x="193" y="55"/>
                  <a:pt x="193" y="55"/>
                  <a:pt x="193" y="55"/>
                </a:cubicBezTo>
                <a:cubicBezTo>
                  <a:pt x="164" y="55"/>
                  <a:pt x="164" y="55"/>
                  <a:pt x="164" y="55"/>
                </a:cubicBezTo>
                <a:lnTo>
                  <a:pt x="164" y="14"/>
                </a:lnTo>
                <a:close/>
                <a:moveTo>
                  <a:pt x="528" y="557"/>
                </a:moveTo>
                <a:cubicBezTo>
                  <a:pt x="520" y="568"/>
                  <a:pt x="506" y="574"/>
                  <a:pt x="484" y="574"/>
                </a:cubicBezTo>
                <a:cubicBezTo>
                  <a:pt x="70" y="574"/>
                  <a:pt x="70" y="574"/>
                  <a:pt x="70" y="574"/>
                </a:cubicBezTo>
                <a:cubicBezTo>
                  <a:pt x="48" y="574"/>
                  <a:pt x="33" y="568"/>
                  <a:pt x="26" y="557"/>
                </a:cubicBezTo>
                <a:cubicBezTo>
                  <a:pt x="15" y="539"/>
                  <a:pt x="18" y="507"/>
                  <a:pt x="37" y="465"/>
                </a:cubicBezTo>
                <a:cubicBezTo>
                  <a:pt x="199" y="133"/>
                  <a:pt x="199" y="133"/>
                  <a:pt x="199" y="133"/>
                </a:cubicBezTo>
                <a:cubicBezTo>
                  <a:pt x="200" y="132"/>
                  <a:pt x="200" y="131"/>
                  <a:pt x="200" y="129"/>
                </a:cubicBezTo>
                <a:cubicBezTo>
                  <a:pt x="200" y="69"/>
                  <a:pt x="200" y="69"/>
                  <a:pt x="200" y="69"/>
                </a:cubicBezTo>
                <a:cubicBezTo>
                  <a:pt x="354" y="69"/>
                  <a:pt x="354" y="69"/>
                  <a:pt x="354" y="69"/>
                </a:cubicBezTo>
                <a:cubicBezTo>
                  <a:pt x="354" y="129"/>
                  <a:pt x="354" y="129"/>
                  <a:pt x="354" y="129"/>
                </a:cubicBezTo>
                <a:cubicBezTo>
                  <a:pt x="354" y="131"/>
                  <a:pt x="354" y="132"/>
                  <a:pt x="354" y="133"/>
                </a:cubicBezTo>
                <a:cubicBezTo>
                  <a:pt x="517" y="464"/>
                  <a:pt x="517" y="464"/>
                  <a:pt x="517" y="464"/>
                </a:cubicBezTo>
                <a:cubicBezTo>
                  <a:pt x="536" y="507"/>
                  <a:pt x="539" y="539"/>
                  <a:pt x="528" y="557"/>
                </a:cubicBezTo>
                <a:close/>
                <a:moveTo>
                  <a:pt x="421" y="332"/>
                </a:moveTo>
                <a:cubicBezTo>
                  <a:pt x="421" y="332"/>
                  <a:pt x="421" y="332"/>
                  <a:pt x="421" y="332"/>
                </a:cubicBezTo>
                <a:cubicBezTo>
                  <a:pt x="421" y="331"/>
                  <a:pt x="421" y="331"/>
                  <a:pt x="421" y="331"/>
                </a:cubicBezTo>
                <a:cubicBezTo>
                  <a:pt x="421" y="331"/>
                  <a:pt x="420" y="331"/>
                  <a:pt x="420" y="330"/>
                </a:cubicBezTo>
                <a:cubicBezTo>
                  <a:pt x="420" y="330"/>
                  <a:pt x="420" y="330"/>
                  <a:pt x="420" y="330"/>
                </a:cubicBezTo>
                <a:cubicBezTo>
                  <a:pt x="420" y="330"/>
                  <a:pt x="420" y="329"/>
                  <a:pt x="420" y="329"/>
                </a:cubicBezTo>
                <a:cubicBezTo>
                  <a:pt x="419" y="329"/>
                  <a:pt x="419" y="329"/>
                  <a:pt x="419" y="329"/>
                </a:cubicBezTo>
                <a:cubicBezTo>
                  <a:pt x="419" y="329"/>
                  <a:pt x="419" y="328"/>
                  <a:pt x="419" y="328"/>
                </a:cubicBezTo>
                <a:cubicBezTo>
                  <a:pt x="418" y="328"/>
                  <a:pt x="418" y="328"/>
                  <a:pt x="418" y="328"/>
                </a:cubicBezTo>
                <a:cubicBezTo>
                  <a:pt x="418" y="328"/>
                  <a:pt x="418" y="328"/>
                  <a:pt x="418" y="328"/>
                </a:cubicBezTo>
                <a:cubicBezTo>
                  <a:pt x="417" y="327"/>
                  <a:pt x="417" y="327"/>
                  <a:pt x="417" y="327"/>
                </a:cubicBezTo>
                <a:cubicBezTo>
                  <a:pt x="417" y="327"/>
                  <a:pt x="416" y="327"/>
                  <a:pt x="416" y="327"/>
                </a:cubicBezTo>
                <a:cubicBezTo>
                  <a:pt x="415" y="327"/>
                  <a:pt x="414" y="327"/>
                  <a:pt x="413" y="327"/>
                </a:cubicBezTo>
                <a:cubicBezTo>
                  <a:pt x="390" y="329"/>
                  <a:pt x="368" y="335"/>
                  <a:pt x="348" y="345"/>
                </a:cubicBezTo>
                <a:cubicBezTo>
                  <a:pt x="333" y="277"/>
                  <a:pt x="293" y="226"/>
                  <a:pt x="277" y="226"/>
                </a:cubicBezTo>
                <a:cubicBezTo>
                  <a:pt x="262" y="226"/>
                  <a:pt x="215" y="271"/>
                  <a:pt x="204" y="341"/>
                </a:cubicBezTo>
                <a:cubicBezTo>
                  <a:pt x="185" y="333"/>
                  <a:pt x="165" y="328"/>
                  <a:pt x="144" y="327"/>
                </a:cubicBezTo>
                <a:cubicBezTo>
                  <a:pt x="144" y="326"/>
                  <a:pt x="143" y="326"/>
                  <a:pt x="142" y="325"/>
                </a:cubicBezTo>
                <a:cubicBezTo>
                  <a:pt x="138" y="324"/>
                  <a:pt x="134" y="326"/>
                  <a:pt x="133" y="330"/>
                </a:cubicBezTo>
                <a:cubicBezTo>
                  <a:pt x="133" y="330"/>
                  <a:pt x="133" y="331"/>
                  <a:pt x="133" y="331"/>
                </a:cubicBezTo>
                <a:cubicBezTo>
                  <a:pt x="133" y="332"/>
                  <a:pt x="133" y="332"/>
                  <a:pt x="133" y="332"/>
                </a:cubicBezTo>
                <a:cubicBezTo>
                  <a:pt x="128" y="346"/>
                  <a:pt x="126" y="361"/>
                  <a:pt x="126" y="376"/>
                </a:cubicBezTo>
                <a:cubicBezTo>
                  <a:pt x="126" y="460"/>
                  <a:pt x="194" y="527"/>
                  <a:pt x="277" y="527"/>
                </a:cubicBezTo>
                <a:cubicBezTo>
                  <a:pt x="360" y="527"/>
                  <a:pt x="428" y="460"/>
                  <a:pt x="428" y="376"/>
                </a:cubicBezTo>
                <a:cubicBezTo>
                  <a:pt x="428" y="361"/>
                  <a:pt x="425" y="346"/>
                  <a:pt x="421" y="332"/>
                </a:cubicBezTo>
                <a:cubicBezTo>
                  <a:pt x="421" y="332"/>
                  <a:pt x="421" y="332"/>
                  <a:pt x="421" y="332"/>
                </a:cubicBezTo>
                <a:close/>
                <a:moveTo>
                  <a:pt x="277" y="240"/>
                </a:moveTo>
                <a:cubicBezTo>
                  <a:pt x="285" y="243"/>
                  <a:pt x="322" y="285"/>
                  <a:pt x="335" y="352"/>
                </a:cubicBezTo>
                <a:cubicBezTo>
                  <a:pt x="314" y="365"/>
                  <a:pt x="295" y="383"/>
                  <a:pt x="280" y="404"/>
                </a:cubicBezTo>
                <a:cubicBezTo>
                  <a:pt x="264" y="380"/>
                  <a:pt x="242" y="361"/>
                  <a:pt x="217" y="348"/>
                </a:cubicBezTo>
                <a:cubicBezTo>
                  <a:pt x="226" y="282"/>
                  <a:pt x="268" y="242"/>
                  <a:pt x="277" y="240"/>
                </a:cubicBezTo>
                <a:close/>
                <a:moveTo>
                  <a:pt x="140" y="376"/>
                </a:moveTo>
                <a:cubicBezTo>
                  <a:pt x="140" y="364"/>
                  <a:pt x="142" y="352"/>
                  <a:pt x="145" y="341"/>
                </a:cubicBezTo>
                <a:cubicBezTo>
                  <a:pt x="197" y="345"/>
                  <a:pt x="244" y="373"/>
                  <a:pt x="272" y="417"/>
                </a:cubicBezTo>
                <a:cubicBezTo>
                  <a:pt x="257" y="444"/>
                  <a:pt x="249" y="474"/>
                  <a:pt x="249" y="506"/>
                </a:cubicBezTo>
                <a:cubicBezTo>
                  <a:pt x="249" y="507"/>
                  <a:pt x="249" y="509"/>
                  <a:pt x="249" y="510"/>
                </a:cubicBezTo>
                <a:cubicBezTo>
                  <a:pt x="187" y="497"/>
                  <a:pt x="140" y="442"/>
                  <a:pt x="140" y="376"/>
                </a:cubicBezTo>
                <a:close/>
                <a:moveTo>
                  <a:pt x="277" y="513"/>
                </a:moveTo>
                <a:cubicBezTo>
                  <a:pt x="272" y="513"/>
                  <a:pt x="267" y="513"/>
                  <a:pt x="263" y="513"/>
                </a:cubicBezTo>
                <a:cubicBezTo>
                  <a:pt x="263" y="510"/>
                  <a:pt x="263" y="508"/>
                  <a:pt x="263" y="506"/>
                </a:cubicBezTo>
                <a:cubicBezTo>
                  <a:pt x="263" y="422"/>
                  <a:pt x="326" y="351"/>
                  <a:pt x="409" y="341"/>
                </a:cubicBezTo>
                <a:cubicBezTo>
                  <a:pt x="412" y="353"/>
                  <a:pt x="414" y="365"/>
                  <a:pt x="414" y="376"/>
                </a:cubicBezTo>
                <a:cubicBezTo>
                  <a:pt x="414" y="452"/>
                  <a:pt x="352" y="513"/>
                  <a:pt x="277" y="51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" name="Oval 20"/>
          <p:cNvSpPr>
            <a:spLocks noChangeArrowheads="1"/>
          </p:cNvSpPr>
          <p:nvPr/>
        </p:nvSpPr>
        <p:spPr bwMode="auto">
          <a:xfrm>
            <a:off x="2259614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5" name="Freeform 25"/>
          <p:cNvSpPr>
            <a:spLocks noEditPoints="1"/>
          </p:cNvSpPr>
          <p:nvPr/>
        </p:nvSpPr>
        <p:spPr bwMode="auto">
          <a:xfrm>
            <a:off x="2456260" y="1308301"/>
            <a:ext cx="429014" cy="455414"/>
          </a:xfrm>
          <a:custGeom>
            <a:avLst/>
            <a:gdLst>
              <a:gd name="T0" fmla="*/ 417 w 554"/>
              <a:gd name="T1" fmla="*/ 228 h 588"/>
              <a:gd name="T2" fmla="*/ 368 w 554"/>
              <a:gd name="T3" fmla="*/ 128 h 588"/>
              <a:gd name="T4" fmla="*/ 390 w 554"/>
              <a:gd name="T5" fmla="*/ 69 h 588"/>
              <a:gd name="T6" fmla="*/ 397 w 554"/>
              <a:gd name="T7" fmla="*/ 7 h 588"/>
              <a:gd name="T8" fmla="*/ 158 w 554"/>
              <a:gd name="T9" fmla="*/ 0 h 588"/>
              <a:gd name="T10" fmla="*/ 151 w 554"/>
              <a:gd name="T11" fmla="*/ 62 h 588"/>
              <a:gd name="T12" fmla="*/ 186 w 554"/>
              <a:gd name="T13" fmla="*/ 69 h 588"/>
              <a:gd name="T14" fmla="*/ 140 w 554"/>
              <a:gd name="T15" fmla="*/ 223 h 588"/>
              <a:gd name="T16" fmla="*/ 24 w 554"/>
              <a:gd name="T17" fmla="*/ 459 h 588"/>
              <a:gd name="T18" fmla="*/ 70 w 554"/>
              <a:gd name="T19" fmla="*/ 588 h 588"/>
              <a:gd name="T20" fmla="*/ 540 w 554"/>
              <a:gd name="T21" fmla="*/ 564 h 588"/>
              <a:gd name="T22" fmla="*/ 165 w 554"/>
              <a:gd name="T23" fmla="*/ 14 h 588"/>
              <a:gd name="T24" fmla="*/ 383 w 554"/>
              <a:gd name="T25" fmla="*/ 55 h 588"/>
              <a:gd name="T26" fmla="*/ 193 w 554"/>
              <a:gd name="T27" fmla="*/ 55 h 588"/>
              <a:gd name="T28" fmla="*/ 165 w 554"/>
              <a:gd name="T29" fmla="*/ 14 h 588"/>
              <a:gd name="T30" fmla="*/ 200 w 554"/>
              <a:gd name="T31" fmla="*/ 129 h 588"/>
              <a:gd name="T32" fmla="*/ 354 w 554"/>
              <a:gd name="T33" fmla="*/ 69 h 588"/>
              <a:gd name="T34" fmla="*/ 355 w 554"/>
              <a:gd name="T35" fmla="*/ 133 h 588"/>
              <a:gd name="T36" fmla="*/ 366 w 554"/>
              <a:gd name="T37" fmla="*/ 243 h 588"/>
              <a:gd name="T38" fmla="*/ 321 w 554"/>
              <a:gd name="T39" fmla="*/ 221 h 588"/>
              <a:gd name="T40" fmla="*/ 316 w 554"/>
              <a:gd name="T41" fmla="*/ 224 h 588"/>
              <a:gd name="T42" fmla="*/ 238 w 554"/>
              <a:gd name="T43" fmla="*/ 224 h 588"/>
              <a:gd name="T44" fmla="*/ 188 w 554"/>
              <a:gd name="T45" fmla="*/ 243 h 588"/>
              <a:gd name="T46" fmla="*/ 200 w 554"/>
              <a:gd name="T47" fmla="*/ 133 h 588"/>
              <a:gd name="T48" fmla="*/ 484 w 554"/>
              <a:gd name="T49" fmla="*/ 574 h 588"/>
              <a:gd name="T50" fmla="*/ 26 w 554"/>
              <a:gd name="T51" fmla="*/ 557 h 588"/>
              <a:gd name="T52" fmla="*/ 147 w 554"/>
              <a:gd name="T53" fmla="*/ 241 h 588"/>
              <a:gd name="T54" fmla="*/ 233 w 554"/>
              <a:gd name="T55" fmla="*/ 239 h 588"/>
              <a:gd name="T56" fmla="*/ 321 w 554"/>
              <a:gd name="T57" fmla="*/ 239 h 588"/>
              <a:gd name="T58" fmla="*/ 366 w 554"/>
              <a:gd name="T59" fmla="*/ 257 h 588"/>
              <a:gd name="T60" fmla="*/ 517 w 554"/>
              <a:gd name="T61" fmla="*/ 464 h 588"/>
              <a:gd name="T62" fmla="*/ 222 w 554"/>
              <a:gd name="T63" fmla="*/ 384 h 588"/>
              <a:gd name="T64" fmla="*/ 222 w 554"/>
              <a:gd name="T65" fmla="*/ 470 h 588"/>
              <a:gd name="T66" fmla="*/ 222 w 554"/>
              <a:gd name="T67" fmla="*/ 384 h 588"/>
              <a:gd name="T68" fmla="*/ 193 w 554"/>
              <a:gd name="T69" fmla="*/ 427 h 588"/>
              <a:gd name="T70" fmla="*/ 250 w 554"/>
              <a:gd name="T71" fmla="*/ 427 h 588"/>
              <a:gd name="T72" fmla="*/ 352 w 554"/>
              <a:gd name="T73" fmla="*/ 314 h 588"/>
              <a:gd name="T74" fmla="*/ 352 w 554"/>
              <a:gd name="T75" fmla="*/ 434 h 588"/>
              <a:gd name="T76" fmla="*/ 352 w 554"/>
              <a:gd name="T77" fmla="*/ 314 h 588"/>
              <a:gd name="T78" fmla="*/ 306 w 554"/>
              <a:gd name="T79" fmla="*/ 374 h 588"/>
              <a:gd name="T80" fmla="*/ 398 w 554"/>
              <a:gd name="T81" fmla="*/ 374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54" h="588">
                <a:moveTo>
                  <a:pt x="530" y="458"/>
                </a:moveTo>
                <a:cubicBezTo>
                  <a:pt x="417" y="228"/>
                  <a:pt x="417" y="228"/>
                  <a:pt x="417" y="228"/>
                </a:cubicBezTo>
                <a:cubicBezTo>
                  <a:pt x="417" y="226"/>
                  <a:pt x="416" y="224"/>
                  <a:pt x="414" y="223"/>
                </a:cubicBezTo>
                <a:cubicBezTo>
                  <a:pt x="368" y="128"/>
                  <a:pt x="368" y="128"/>
                  <a:pt x="368" y="128"/>
                </a:cubicBezTo>
                <a:cubicBezTo>
                  <a:pt x="368" y="69"/>
                  <a:pt x="368" y="69"/>
                  <a:pt x="368" y="69"/>
                </a:cubicBezTo>
                <a:cubicBezTo>
                  <a:pt x="390" y="69"/>
                  <a:pt x="390" y="69"/>
                  <a:pt x="390" y="69"/>
                </a:cubicBezTo>
                <a:cubicBezTo>
                  <a:pt x="394" y="69"/>
                  <a:pt x="397" y="66"/>
                  <a:pt x="397" y="62"/>
                </a:cubicBezTo>
                <a:cubicBezTo>
                  <a:pt x="397" y="7"/>
                  <a:pt x="397" y="7"/>
                  <a:pt x="397" y="7"/>
                </a:cubicBezTo>
                <a:cubicBezTo>
                  <a:pt x="397" y="3"/>
                  <a:pt x="394" y="0"/>
                  <a:pt x="390" y="0"/>
                </a:cubicBezTo>
                <a:cubicBezTo>
                  <a:pt x="158" y="0"/>
                  <a:pt x="158" y="0"/>
                  <a:pt x="158" y="0"/>
                </a:cubicBezTo>
                <a:cubicBezTo>
                  <a:pt x="154" y="0"/>
                  <a:pt x="151" y="3"/>
                  <a:pt x="151" y="7"/>
                </a:cubicBezTo>
                <a:cubicBezTo>
                  <a:pt x="151" y="62"/>
                  <a:pt x="151" y="62"/>
                  <a:pt x="151" y="62"/>
                </a:cubicBezTo>
                <a:cubicBezTo>
                  <a:pt x="151" y="66"/>
                  <a:pt x="154" y="69"/>
                  <a:pt x="158" y="69"/>
                </a:cubicBezTo>
                <a:cubicBezTo>
                  <a:pt x="186" y="69"/>
                  <a:pt x="186" y="69"/>
                  <a:pt x="186" y="69"/>
                </a:cubicBezTo>
                <a:cubicBezTo>
                  <a:pt x="186" y="128"/>
                  <a:pt x="186" y="128"/>
                  <a:pt x="186" y="128"/>
                </a:cubicBezTo>
                <a:cubicBezTo>
                  <a:pt x="140" y="223"/>
                  <a:pt x="140" y="223"/>
                  <a:pt x="140" y="223"/>
                </a:cubicBezTo>
                <a:cubicBezTo>
                  <a:pt x="138" y="224"/>
                  <a:pt x="137" y="226"/>
                  <a:pt x="137" y="228"/>
                </a:cubicBezTo>
                <a:cubicBezTo>
                  <a:pt x="24" y="459"/>
                  <a:pt x="24" y="459"/>
                  <a:pt x="24" y="459"/>
                </a:cubicBezTo>
                <a:cubicBezTo>
                  <a:pt x="3" y="507"/>
                  <a:pt x="0" y="543"/>
                  <a:pt x="14" y="564"/>
                </a:cubicBezTo>
                <a:cubicBezTo>
                  <a:pt x="25" y="580"/>
                  <a:pt x="43" y="588"/>
                  <a:pt x="70" y="588"/>
                </a:cubicBezTo>
                <a:cubicBezTo>
                  <a:pt x="484" y="588"/>
                  <a:pt x="484" y="588"/>
                  <a:pt x="484" y="588"/>
                </a:cubicBezTo>
                <a:cubicBezTo>
                  <a:pt x="511" y="588"/>
                  <a:pt x="530" y="580"/>
                  <a:pt x="540" y="564"/>
                </a:cubicBezTo>
                <a:cubicBezTo>
                  <a:pt x="554" y="543"/>
                  <a:pt x="551" y="507"/>
                  <a:pt x="530" y="458"/>
                </a:cubicBezTo>
                <a:close/>
                <a:moveTo>
                  <a:pt x="165" y="14"/>
                </a:moveTo>
                <a:cubicBezTo>
                  <a:pt x="383" y="14"/>
                  <a:pt x="383" y="14"/>
                  <a:pt x="383" y="14"/>
                </a:cubicBezTo>
                <a:cubicBezTo>
                  <a:pt x="383" y="55"/>
                  <a:pt x="383" y="55"/>
                  <a:pt x="383" y="55"/>
                </a:cubicBezTo>
                <a:cubicBezTo>
                  <a:pt x="361" y="55"/>
                  <a:pt x="361" y="55"/>
                  <a:pt x="361" y="55"/>
                </a:cubicBezTo>
                <a:cubicBezTo>
                  <a:pt x="193" y="55"/>
                  <a:pt x="193" y="55"/>
                  <a:pt x="193" y="55"/>
                </a:cubicBezTo>
                <a:cubicBezTo>
                  <a:pt x="165" y="55"/>
                  <a:pt x="165" y="55"/>
                  <a:pt x="165" y="55"/>
                </a:cubicBezTo>
                <a:lnTo>
                  <a:pt x="165" y="14"/>
                </a:lnTo>
                <a:close/>
                <a:moveTo>
                  <a:pt x="200" y="133"/>
                </a:moveTo>
                <a:cubicBezTo>
                  <a:pt x="200" y="132"/>
                  <a:pt x="200" y="131"/>
                  <a:pt x="200" y="129"/>
                </a:cubicBezTo>
                <a:cubicBezTo>
                  <a:pt x="200" y="69"/>
                  <a:pt x="200" y="69"/>
                  <a:pt x="200" y="69"/>
                </a:cubicBezTo>
                <a:cubicBezTo>
                  <a:pt x="354" y="69"/>
                  <a:pt x="354" y="69"/>
                  <a:pt x="354" y="69"/>
                </a:cubicBezTo>
                <a:cubicBezTo>
                  <a:pt x="354" y="129"/>
                  <a:pt x="354" y="129"/>
                  <a:pt x="354" y="129"/>
                </a:cubicBezTo>
                <a:cubicBezTo>
                  <a:pt x="354" y="131"/>
                  <a:pt x="354" y="132"/>
                  <a:pt x="355" y="133"/>
                </a:cubicBezTo>
                <a:cubicBezTo>
                  <a:pt x="401" y="228"/>
                  <a:pt x="401" y="228"/>
                  <a:pt x="401" y="228"/>
                </a:cubicBezTo>
                <a:cubicBezTo>
                  <a:pt x="392" y="238"/>
                  <a:pt x="379" y="243"/>
                  <a:pt x="366" y="243"/>
                </a:cubicBezTo>
                <a:cubicBezTo>
                  <a:pt x="350" y="243"/>
                  <a:pt x="336" y="237"/>
                  <a:pt x="327" y="224"/>
                </a:cubicBezTo>
                <a:cubicBezTo>
                  <a:pt x="326" y="222"/>
                  <a:pt x="324" y="221"/>
                  <a:pt x="321" y="221"/>
                </a:cubicBezTo>
                <a:cubicBezTo>
                  <a:pt x="321" y="221"/>
                  <a:pt x="321" y="221"/>
                  <a:pt x="321" y="221"/>
                </a:cubicBezTo>
                <a:cubicBezTo>
                  <a:pt x="319" y="221"/>
                  <a:pt x="317" y="222"/>
                  <a:pt x="316" y="224"/>
                </a:cubicBezTo>
                <a:cubicBezTo>
                  <a:pt x="307" y="236"/>
                  <a:pt x="292" y="243"/>
                  <a:pt x="277" y="243"/>
                </a:cubicBezTo>
                <a:cubicBezTo>
                  <a:pt x="262" y="243"/>
                  <a:pt x="247" y="236"/>
                  <a:pt x="238" y="224"/>
                </a:cubicBezTo>
                <a:cubicBezTo>
                  <a:pt x="236" y="220"/>
                  <a:pt x="230" y="220"/>
                  <a:pt x="227" y="224"/>
                </a:cubicBezTo>
                <a:cubicBezTo>
                  <a:pt x="218" y="236"/>
                  <a:pt x="204" y="243"/>
                  <a:pt x="188" y="243"/>
                </a:cubicBezTo>
                <a:cubicBezTo>
                  <a:pt x="175" y="243"/>
                  <a:pt x="162" y="238"/>
                  <a:pt x="153" y="228"/>
                </a:cubicBezTo>
                <a:lnTo>
                  <a:pt x="200" y="133"/>
                </a:lnTo>
                <a:close/>
                <a:moveTo>
                  <a:pt x="528" y="557"/>
                </a:moveTo>
                <a:cubicBezTo>
                  <a:pt x="521" y="568"/>
                  <a:pt x="506" y="574"/>
                  <a:pt x="484" y="574"/>
                </a:cubicBezTo>
                <a:cubicBezTo>
                  <a:pt x="70" y="574"/>
                  <a:pt x="70" y="574"/>
                  <a:pt x="70" y="574"/>
                </a:cubicBezTo>
                <a:cubicBezTo>
                  <a:pt x="48" y="574"/>
                  <a:pt x="34" y="568"/>
                  <a:pt x="26" y="557"/>
                </a:cubicBezTo>
                <a:cubicBezTo>
                  <a:pt x="15" y="539"/>
                  <a:pt x="18" y="507"/>
                  <a:pt x="37" y="465"/>
                </a:cubicBezTo>
                <a:cubicBezTo>
                  <a:pt x="147" y="241"/>
                  <a:pt x="147" y="241"/>
                  <a:pt x="147" y="241"/>
                </a:cubicBezTo>
                <a:cubicBezTo>
                  <a:pt x="158" y="251"/>
                  <a:pt x="173" y="257"/>
                  <a:pt x="188" y="257"/>
                </a:cubicBezTo>
                <a:cubicBezTo>
                  <a:pt x="205" y="257"/>
                  <a:pt x="221" y="251"/>
                  <a:pt x="233" y="239"/>
                </a:cubicBezTo>
                <a:cubicBezTo>
                  <a:pt x="244" y="251"/>
                  <a:pt x="260" y="257"/>
                  <a:pt x="277" y="257"/>
                </a:cubicBezTo>
                <a:cubicBezTo>
                  <a:pt x="294" y="257"/>
                  <a:pt x="310" y="251"/>
                  <a:pt x="321" y="239"/>
                </a:cubicBezTo>
                <a:cubicBezTo>
                  <a:pt x="333" y="251"/>
                  <a:pt x="348" y="257"/>
                  <a:pt x="365" y="257"/>
                </a:cubicBezTo>
                <a:cubicBezTo>
                  <a:pt x="365" y="257"/>
                  <a:pt x="366" y="257"/>
                  <a:pt x="366" y="257"/>
                </a:cubicBezTo>
                <a:cubicBezTo>
                  <a:pt x="382" y="257"/>
                  <a:pt x="396" y="251"/>
                  <a:pt x="408" y="241"/>
                </a:cubicBezTo>
                <a:cubicBezTo>
                  <a:pt x="517" y="464"/>
                  <a:pt x="517" y="464"/>
                  <a:pt x="517" y="464"/>
                </a:cubicBezTo>
                <a:cubicBezTo>
                  <a:pt x="536" y="507"/>
                  <a:pt x="540" y="539"/>
                  <a:pt x="528" y="557"/>
                </a:cubicBezTo>
                <a:close/>
                <a:moveTo>
                  <a:pt x="222" y="384"/>
                </a:moveTo>
                <a:cubicBezTo>
                  <a:pt x="198" y="384"/>
                  <a:pt x="179" y="403"/>
                  <a:pt x="179" y="427"/>
                </a:cubicBezTo>
                <a:cubicBezTo>
                  <a:pt x="179" y="450"/>
                  <a:pt x="198" y="470"/>
                  <a:pt x="222" y="470"/>
                </a:cubicBezTo>
                <a:cubicBezTo>
                  <a:pt x="245" y="470"/>
                  <a:pt x="264" y="450"/>
                  <a:pt x="264" y="427"/>
                </a:cubicBezTo>
                <a:cubicBezTo>
                  <a:pt x="264" y="403"/>
                  <a:pt x="245" y="384"/>
                  <a:pt x="222" y="384"/>
                </a:cubicBezTo>
                <a:close/>
                <a:moveTo>
                  <a:pt x="222" y="456"/>
                </a:moveTo>
                <a:cubicBezTo>
                  <a:pt x="206" y="456"/>
                  <a:pt x="193" y="443"/>
                  <a:pt x="193" y="427"/>
                </a:cubicBezTo>
                <a:cubicBezTo>
                  <a:pt x="193" y="411"/>
                  <a:pt x="206" y="398"/>
                  <a:pt x="222" y="398"/>
                </a:cubicBezTo>
                <a:cubicBezTo>
                  <a:pt x="238" y="398"/>
                  <a:pt x="250" y="411"/>
                  <a:pt x="250" y="427"/>
                </a:cubicBezTo>
                <a:cubicBezTo>
                  <a:pt x="250" y="443"/>
                  <a:pt x="238" y="456"/>
                  <a:pt x="222" y="456"/>
                </a:cubicBezTo>
                <a:close/>
                <a:moveTo>
                  <a:pt x="352" y="314"/>
                </a:moveTo>
                <a:cubicBezTo>
                  <a:pt x="319" y="314"/>
                  <a:pt x="292" y="341"/>
                  <a:pt x="292" y="374"/>
                </a:cubicBezTo>
                <a:cubicBezTo>
                  <a:pt x="292" y="407"/>
                  <a:pt x="319" y="434"/>
                  <a:pt x="352" y="434"/>
                </a:cubicBezTo>
                <a:cubicBezTo>
                  <a:pt x="385" y="434"/>
                  <a:pt x="412" y="407"/>
                  <a:pt x="412" y="374"/>
                </a:cubicBezTo>
                <a:cubicBezTo>
                  <a:pt x="412" y="341"/>
                  <a:pt x="385" y="314"/>
                  <a:pt x="352" y="314"/>
                </a:cubicBezTo>
                <a:close/>
                <a:moveTo>
                  <a:pt x="352" y="420"/>
                </a:moveTo>
                <a:cubicBezTo>
                  <a:pt x="327" y="420"/>
                  <a:pt x="306" y="400"/>
                  <a:pt x="306" y="374"/>
                </a:cubicBezTo>
                <a:cubicBezTo>
                  <a:pt x="306" y="349"/>
                  <a:pt x="327" y="328"/>
                  <a:pt x="352" y="328"/>
                </a:cubicBezTo>
                <a:cubicBezTo>
                  <a:pt x="378" y="328"/>
                  <a:pt x="398" y="349"/>
                  <a:pt x="398" y="374"/>
                </a:cubicBezTo>
                <a:cubicBezTo>
                  <a:pt x="398" y="400"/>
                  <a:pt x="378" y="420"/>
                  <a:pt x="352" y="42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7" name="Oval 17"/>
          <p:cNvSpPr>
            <a:spLocks noChangeArrowheads="1"/>
          </p:cNvSpPr>
          <p:nvPr/>
        </p:nvSpPr>
        <p:spPr bwMode="auto">
          <a:xfrm>
            <a:off x="3552358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6" name="Freeform 26"/>
          <p:cNvSpPr>
            <a:spLocks noEditPoints="1"/>
          </p:cNvSpPr>
          <p:nvPr/>
        </p:nvSpPr>
        <p:spPr bwMode="auto">
          <a:xfrm>
            <a:off x="3703446" y="1274857"/>
            <a:ext cx="518488" cy="521317"/>
          </a:xfrm>
          <a:custGeom>
            <a:avLst/>
            <a:gdLst>
              <a:gd name="T0" fmla="*/ 504 w 670"/>
              <a:gd name="T1" fmla="*/ 3 h 673"/>
              <a:gd name="T2" fmla="*/ 455 w 670"/>
              <a:gd name="T3" fmla="*/ 42 h 673"/>
              <a:gd name="T4" fmla="*/ 455 w 670"/>
              <a:gd name="T5" fmla="*/ 52 h 673"/>
              <a:gd name="T6" fmla="*/ 434 w 670"/>
              <a:gd name="T7" fmla="*/ 114 h 673"/>
              <a:gd name="T8" fmla="*/ 70 w 670"/>
              <a:gd name="T9" fmla="*/ 239 h 673"/>
              <a:gd name="T10" fmla="*/ 3 w 670"/>
              <a:gd name="T11" fmla="*/ 301 h 673"/>
              <a:gd name="T12" fmla="*/ 319 w 670"/>
              <a:gd name="T13" fmla="*/ 649 h 673"/>
              <a:gd name="T14" fmla="*/ 366 w 670"/>
              <a:gd name="T15" fmla="*/ 673 h 673"/>
              <a:gd name="T16" fmla="*/ 559 w 670"/>
              <a:gd name="T17" fmla="*/ 249 h 673"/>
              <a:gd name="T18" fmla="*/ 562 w 670"/>
              <a:gd name="T19" fmla="*/ 242 h 673"/>
              <a:gd name="T20" fmla="*/ 619 w 670"/>
              <a:gd name="T21" fmla="*/ 216 h 673"/>
              <a:gd name="T22" fmla="*/ 629 w 670"/>
              <a:gd name="T23" fmla="*/ 216 h 673"/>
              <a:gd name="T24" fmla="*/ 670 w 670"/>
              <a:gd name="T25" fmla="*/ 172 h 673"/>
              <a:gd name="T26" fmla="*/ 430 w 670"/>
              <a:gd name="T27" fmla="*/ 585 h 673"/>
              <a:gd name="T28" fmla="*/ 329 w 670"/>
              <a:gd name="T29" fmla="*/ 639 h 673"/>
              <a:gd name="T30" fmla="*/ 17 w 670"/>
              <a:gd name="T31" fmla="*/ 304 h 673"/>
              <a:gd name="T32" fmla="*/ 121 w 670"/>
              <a:gd name="T33" fmla="*/ 274 h 673"/>
              <a:gd name="T34" fmla="*/ 169 w 670"/>
              <a:gd name="T35" fmla="*/ 256 h 673"/>
              <a:gd name="T36" fmla="*/ 265 w 670"/>
              <a:gd name="T37" fmla="*/ 256 h 673"/>
              <a:gd name="T38" fmla="*/ 361 w 670"/>
              <a:gd name="T39" fmla="*/ 256 h 673"/>
              <a:gd name="T40" fmla="*/ 410 w 670"/>
              <a:gd name="T41" fmla="*/ 274 h 673"/>
              <a:gd name="T42" fmla="*/ 505 w 670"/>
              <a:gd name="T43" fmla="*/ 275 h 673"/>
              <a:gd name="T44" fmla="*/ 539 w 670"/>
              <a:gd name="T45" fmla="*/ 266 h 673"/>
              <a:gd name="T46" fmla="*/ 593 w 670"/>
              <a:gd name="T47" fmla="*/ 190 h 673"/>
              <a:gd name="T48" fmla="*/ 549 w 670"/>
              <a:gd name="T49" fmla="*/ 236 h 673"/>
              <a:gd name="T50" fmla="*/ 506 w 670"/>
              <a:gd name="T51" fmla="*/ 261 h 673"/>
              <a:gd name="T52" fmla="*/ 463 w 670"/>
              <a:gd name="T53" fmla="*/ 241 h 673"/>
              <a:gd name="T54" fmla="*/ 452 w 670"/>
              <a:gd name="T55" fmla="*/ 241 h 673"/>
              <a:gd name="T56" fmla="*/ 410 w 670"/>
              <a:gd name="T57" fmla="*/ 260 h 673"/>
              <a:gd name="T58" fmla="*/ 362 w 670"/>
              <a:gd name="T59" fmla="*/ 238 h 673"/>
              <a:gd name="T60" fmla="*/ 356 w 670"/>
              <a:gd name="T61" fmla="*/ 241 h 673"/>
              <a:gd name="T62" fmla="*/ 271 w 670"/>
              <a:gd name="T63" fmla="*/ 241 h 673"/>
              <a:gd name="T64" fmla="*/ 217 w 670"/>
              <a:gd name="T65" fmla="*/ 261 h 673"/>
              <a:gd name="T66" fmla="*/ 175 w 670"/>
              <a:gd name="T67" fmla="*/ 241 h 673"/>
              <a:gd name="T68" fmla="*/ 164 w 670"/>
              <a:gd name="T69" fmla="*/ 241 h 673"/>
              <a:gd name="T70" fmla="*/ 121 w 670"/>
              <a:gd name="T71" fmla="*/ 260 h 673"/>
              <a:gd name="T72" fmla="*/ 90 w 670"/>
              <a:gd name="T73" fmla="*/ 246 h 673"/>
              <a:gd name="T74" fmla="*/ 442 w 670"/>
              <a:gd name="T75" fmla="*/ 125 h 673"/>
              <a:gd name="T76" fmla="*/ 551 w 670"/>
              <a:gd name="T77" fmla="*/ 148 h 673"/>
              <a:gd name="T78" fmla="*/ 624 w 670"/>
              <a:gd name="T79" fmla="*/ 201 h 673"/>
              <a:gd name="T80" fmla="*/ 490 w 670"/>
              <a:gd name="T81" fmla="*/ 67 h 673"/>
              <a:gd name="T82" fmla="*/ 470 w 670"/>
              <a:gd name="T83" fmla="*/ 47 h 673"/>
              <a:gd name="T84" fmla="*/ 653 w 670"/>
              <a:gd name="T85" fmla="*/ 172 h 673"/>
              <a:gd name="T86" fmla="*/ 247 w 670"/>
              <a:gd name="T87" fmla="*/ 307 h 673"/>
              <a:gd name="T88" fmla="*/ 217 w 670"/>
              <a:gd name="T89" fmla="*/ 380 h 673"/>
              <a:gd name="T90" fmla="*/ 277 w 670"/>
              <a:gd name="T91" fmla="*/ 380 h 673"/>
              <a:gd name="T92" fmla="*/ 247 w 670"/>
              <a:gd name="T93" fmla="*/ 307 h 673"/>
              <a:gd name="T94" fmla="*/ 247 w 670"/>
              <a:gd name="T95" fmla="*/ 379 h 673"/>
              <a:gd name="T96" fmla="*/ 227 w 670"/>
              <a:gd name="T97" fmla="*/ 330 h 673"/>
              <a:gd name="T98" fmla="*/ 267 w 670"/>
              <a:gd name="T99" fmla="*/ 330 h 673"/>
              <a:gd name="T100" fmla="*/ 377 w 670"/>
              <a:gd name="T101" fmla="*/ 345 h 673"/>
              <a:gd name="T102" fmla="*/ 334 w 670"/>
              <a:gd name="T103" fmla="*/ 448 h 673"/>
              <a:gd name="T104" fmla="*/ 419 w 670"/>
              <a:gd name="T105" fmla="*/ 448 h 673"/>
              <a:gd name="T106" fmla="*/ 377 w 670"/>
              <a:gd name="T107" fmla="*/ 345 h 673"/>
              <a:gd name="T108" fmla="*/ 377 w 670"/>
              <a:gd name="T109" fmla="*/ 451 h 673"/>
              <a:gd name="T110" fmla="*/ 344 w 670"/>
              <a:gd name="T111" fmla="*/ 372 h 673"/>
              <a:gd name="T112" fmla="*/ 409 w 670"/>
              <a:gd name="T113" fmla="*/ 372 h 6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70" h="673">
                <a:moveTo>
                  <a:pt x="668" y="167"/>
                </a:moveTo>
                <a:cubicBezTo>
                  <a:pt x="504" y="3"/>
                  <a:pt x="504" y="3"/>
                  <a:pt x="504" y="3"/>
                </a:cubicBezTo>
                <a:cubicBezTo>
                  <a:pt x="501" y="0"/>
                  <a:pt x="497" y="0"/>
                  <a:pt x="494" y="3"/>
                </a:cubicBezTo>
                <a:cubicBezTo>
                  <a:pt x="455" y="42"/>
                  <a:pt x="455" y="42"/>
                  <a:pt x="455" y="42"/>
                </a:cubicBezTo>
                <a:cubicBezTo>
                  <a:pt x="453" y="43"/>
                  <a:pt x="453" y="45"/>
                  <a:pt x="453" y="47"/>
                </a:cubicBezTo>
                <a:cubicBezTo>
                  <a:pt x="453" y="49"/>
                  <a:pt x="453" y="50"/>
                  <a:pt x="455" y="52"/>
                </a:cubicBezTo>
                <a:cubicBezTo>
                  <a:pt x="475" y="72"/>
                  <a:pt x="475" y="72"/>
                  <a:pt x="475" y="72"/>
                </a:cubicBezTo>
                <a:cubicBezTo>
                  <a:pt x="434" y="114"/>
                  <a:pt x="434" y="114"/>
                  <a:pt x="434" y="114"/>
                </a:cubicBezTo>
                <a:cubicBezTo>
                  <a:pt x="85" y="233"/>
                  <a:pt x="85" y="233"/>
                  <a:pt x="85" y="233"/>
                </a:cubicBezTo>
                <a:cubicBezTo>
                  <a:pt x="80" y="235"/>
                  <a:pt x="75" y="237"/>
                  <a:pt x="70" y="239"/>
                </a:cubicBezTo>
                <a:cubicBezTo>
                  <a:pt x="70" y="239"/>
                  <a:pt x="70" y="239"/>
                  <a:pt x="70" y="239"/>
                </a:cubicBezTo>
                <a:cubicBezTo>
                  <a:pt x="31" y="257"/>
                  <a:pt x="8" y="278"/>
                  <a:pt x="3" y="301"/>
                </a:cubicBezTo>
                <a:cubicBezTo>
                  <a:pt x="0" y="319"/>
                  <a:pt x="7" y="338"/>
                  <a:pt x="26" y="357"/>
                </a:cubicBezTo>
                <a:cubicBezTo>
                  <a:pt x="319" y="649"/>
                  <a:pt x="319" y="649"/>
                  <a:pt x="319" y="649"/>
                </a:cubicBezTo>
                <a:cubicBezTo>
                  <a:pt x="334" y="665"/>
                  <a:pt x="350" y="673"/>
                  <a:pt x="366" y="673"/>
                </a:cubicBezTo>
                <a:cubicBezTo>
                  <a:pt x="366" y="673"/>
                  <a:pt x="366" y="673"/>
                  <a:pt x="366" y="673"/>
                </a:cubicBezTo>
                <a:cubicBezTo>
                  <a:pt x="395" y="673"/>
                  <a:pt x="421" y="645"/>
                  <a:pt x="443" y="590"/>
                </a:cubicBezTo>
                <a:cubicBezTo>
                  <a:pt x="559" y="249"/>
                  <a:pt x="559" y="249"/>
                  <a:pt x="559" y="249"/>
                </a:cubicBezTo>
                <a:cubicBezTo>
                  <a:pt x="560" y="248"/>
                  <a:pt x="560" y="247"/>
                  <a:pt x="561" y="246"/>
                </a:cubicBezTo>
                <a:cubicBezTo>
                  <a:pt x="562" y="242"/>
                  <a:pt x="562" y="242"/>
                  <a:pt x="562" y="242"/>
                </a:cubicBezTo>
                <a:cubicBezTo>
                  <a:pt x="603" y="200"/>
                  <a:pt x="603" y="200"/>
                  <a:pt x="603" y="200"/>
                </a:cubicBezTo>
                <a:cubicBezTo>
                  <a:pt x="619" y="216"/>
                  <a:pt x="619" y="216"/>
                  <a:pt x="619" y="216"/>
                </a:cubicBezTo>
                <a:cubicBezTo>
                  <a:pt x="620" y="217"/>
                  <a:pt x="622" y="218"/>
                  <a:pt x="624" y="218"/>
                </a:cubicBezTo>
                <a:cubicBezTo>
                  <a:pt x="626" y="218"/>
                  <a:pt x="627" y="217"/>
                  <a:pt x="629" y="216"/>
                </a:cubicBezTo>
                <a:cubicBezTo>
                  <a:pt x="668" y="177"/>
                  <a:pt x="668" y="177"/>
                  <a:pt x="668" y="177"/>
                </a:cubicBezTo>
                <a:cubicBezTo>
                  <a:pt x="669" y="175"/>
                  <a:pt x="670" y="174"/>
                  <a:pt x="670" y="172"/>
                </a:cubicBezTo>
                <a:cubicBezTo>
                  <a:pt x="670" y="170"/>
                  <a:pt x="669" y="168"/>
                  <a:pt x="668" y="167"/>
                </a:cubicBezTo>
                <a:close/>
                <a:moveTo>
                  <a:pt x="430" y="585"/>
                </a:moveTo>
                <a:cubicBezTo>
                  <a:pt x="416" y="619"/>
                  <a:pt x="394" y="659"/>
                  <a:pt x="366" y="659"/>
                </a:cubicBezTo>
                <a:cubicBezTo>
                  <a:pt x="354" y="659"/>
                  <a:pt x="342" y="652"/>
                  <a:pt x="329" y="639"/>
                </a:cubicBezTo>
                <a:cubicBezTo>
                  <a:pt x="36" y="347"/>
                  <a:pt x="36" y="347"/>
                  <a:pt x="36" y="347"/>
                </a:cubicBezTo>
                <a:cubicBezTo>
                  <a:pt x="21" y="331"/>
                  <a:pt x="14" y="317"/>
                  <a:pt x="17" y="304"/>
                </a:cubicBezTo>
                <a:cubicBezTo>
                  <a:pt x="21" y="286"/>
                  <a:pt x="39" y="269"/>
                  <a:pt x="72" y="254"/>
                </a:cubicBezTo>
                <a:cubicBezTo>
                  <a:pt x="84" y="267"/>
                  <a:pt x="102" y="274"/>
                  <a:pt x="121" y="274"/>
                </a:cubicBezTo>
                <a:cubicBezTo>
                  <a:pt x="121" y="274"/>
                  <a:pt x="121" y="274"/>
                  <a:pt x="121" y="274"/>
                </a:cubicBezTo>
                <a:cubicBezTo>
                  <a:pt x="140" y="274"/>
                  <a:pt x="157" y="268"/>
                  <a:pt x="169" y="256"/>
                </a:cubicBezTo>
                <a:cubicBezTo>
                  <a:pt x="182" y="268"/>
                  <a:pt x="199" y="275"/>
                  <a:pt x="218" y="275"/>
                </a:cubicBezTo>
                <a:cubicBezTo>
                  <a:pt x="236" y="274"/>
                  <a:pt x="253" y="268"/>
                  <a:pt x="265" y="256"/>
                </a:cubicBezTo>
                <a:cubicBezTo>
                  <a:pt x="278" y="268"/>
                  <a:pt x="295" y="274"/>
                  <a:pt x="313" y="274"/>
                </a:cubicBezTo>
                <a:cubicBezTo>
                  <a:pt x="332" y="274"/>
                  <a:pt x="349" y="268"/>
                  <a:pt x="361" y="256"/>
                </a:cubicBezTo>
                <a:cubicBezTo>
                  <a:pt x="374" y="268"/>
                  <a:pt x="391" y="274"/>
                  <a:pt x="410" y="274"/>
                </a:cubicBezTo>
                <a:cubicBezTo>
                  <a:pt x="410" y="274"/>
                  <a:pt x="410" y="274"/>
                  <a:pt x="410" y="274"/>
                </a:cubicBezTo>
                <a:cubicBezTo>
                  <a:pt x="428" y="274"/>
                  <a:pt x="445" y="268"/>
                  <a:pt x="458" y="256"/>
                </a:cubicBezTo>
                <a:cubicBezTo>
                  <a:pt x="470" y="268"/>
                  <a:pt x="487" y="275"/>
                  <a:pt x="505" y="275"/>
                </a:cubicBezTo>
                <a:cubicBezTo>
                  <a:pt x="505" y="275"/>
                  <a:pt x="505" y="275"/>
                  <a:pt x="506" y="275"/>
                </a:cubicBezTo>
                <a:cubicBezTo>
                  <a:pt x="518" y="274"/>
                  <a:pt x="529" y="271"/>
                  <a:pt x="539" y="266"/>
                </a:cubicBezTo>
                <a:lnTo>
                  <a:pt x="430" y="585"/>
                </a:lnTo>
                <a:close/>
                <a:moveTo>
                  <a:pt x="593" y="190"/>
                </a:moveTo>
                <a:cubicBezTo>
                  <a:pt x="551" y="233"/>
                  <a:pt x="551" y="233"/>
                  <a:pt x="551" y="233"/>
                </a:cubicBezTo>
                <a:cubicBezTo>
                  <a:pt x="550" y="234"/>
                  <a:pt x="550" y="235"/>
                  <a:pt x="549" y="236"/>
                </a:cubicBezTo>
                <a:cubicBezTo>
                  <a:pt x="547" y="242"/>
                  <a:pt x="547" y="242"/>
                  <a:pt x="547" y="242"/>
                </a:cubicBezTo>
                <a:cubicBezTo>
                  <a:pt x="537" y="254"/>
                  <a:pt x="522" y="260"/>
                  <a:pt x="506" y="261"/>
                </a:cubicBezTo>
                <a:cubicBezTo>
                  <a:pt x="505" y="261"/>
                  <a:pt x="505" y="261"/>
                  <a:pt x="505" y="261"/>
                </a:cubicBezTo>
                <a:cubicBezTo>
                  <a:pt x="488" y="261"/>
                  <a:pt x="473" y="254"/>
                  <a:pt x="463" y="241"/>
                </a:cubicBezTo>
                <a:cubicBezTo>
                  <a:pt x="462" y="239"/>
                  <a:pt x="460" y="238"/>
                  <a:pt x="458" y="238"/>
                </a:cubicBezTo>
                <a:cubicBezTo>
                  <a:pt x="455" y="238"/>
                  <a:pt x="453" y="239"/>
                  <a:pt x="452" y="241"/>
                </a:cubicBezTo>
                <a:cubicBezTo>
                  <a:pt x="442" y="253"/>
                  <a:pt x="426" y="260"/>
                  <a:pt x="410" y="260"/>
                </a:cubicBezTo>
                <a:cubicBezTo>
                  <a:pt x="410" y="260"/>
                  <a:pt x="410" y="260"/>
                  <a:pt x="410" y="260"/>
                </a:cubicBezTo>
                <a:cubicBezTo>
                  <a:pt x="393" y="260"/>
                  <a:pt x="377" y="253"/>
                  <a:pt x="367" y="241"/>
                </a:cubicBezTo>
                <a:cubicBezTo>
                  <a:pt x="366" y="239"/>
                  <a:pt x="364" y="238"/>
                  <a:pt x="362" y="238"/>
                </a:cubicBezTo>
                <a:cubicBezTo>
                  <a:pt x="362" y="238"/>
                  <a:pt x="362" y="238"/>
                  <a:pt x="362" y="238"/>
                </a:cubicBezTo>
                <a:cubicBezTo>
                  <a:pt x="359" y="238"/>
                  <a:pt x="357" y="239"/>
                  <a:pt x="356" y="241"/>
                </a:cubicBezTo>
                <a:cubicBezTo>
                  <a:pt x="346" y="253"/>
                  <a:pt x="330" y="260"/>
                  <a:pt x="313" y="260"/>
                </a:cubicBezTo>
                <a:cubicBezTo>
                  <a:pt x="297" y="260"/>
                  <a:pt x="281" y="253"/>
                  <a:pt x="271" y="241"/>
                </a:cubicBezTo>
                <a:cubicBezTo>
                  <a:pt x="268" y="238"/>
                  <a:pt x="263" y="238"/>
                  <a:pt x="260" y="241"/>
                </a:cubicBezTo>
                <a:cubicBezTo>
                  <a:pt x="250" y="253"/>
                  <a:pt x="235" y="260"/>
                  <a:pt x="217" y="261"/>
                </a:cubicBezTo>
                <a:cubicBezTo>
                  <a:pt x="217" y="261"/>
                  <a:pt x="217" y="261"/>
                  <a:pt x="217" y="261"/>
                </a:cubicBezTo>
                <a:cubicBezTo>
                  <a:pt x="200" y="261"/>
                  <a:pt x="185" y="254"/>
                  <a:pt x="175" y="241"/>
                </a:cubicBezTo>
                <a:cubicBezTo>
                  <a:pt x="174" y="239"/>
                  <a:pt x="172" y="238"/>
                  <a:pt x="169" y="238"/>
                </a:cubicBezTo>
                <a:cubicBezTo>
                  <a:pt x="167" y="238"/>
                  <a:pt x="165" y="239"/>
                  <a:pt x="164" y="241"/>
                </a:cubicBezTo>
                <a:cubicBezTo>
                  <a:pt x="154" y="253"/>
                  <a:pt x="138" y="260"/>
                  <a:pt x="121" y="260"/>
                </a:cubicBezTo>
                <a:cubicBezTo>
                  <a:pt x="121" y="260"/>
                  <a:pt x="121" y="260"/>
                  <a:pt x="121" y="260"/>
                </a:cubicBezTo>
                <a:cubicBezTo>
                  <a:pt x="108" y="260"/>
                  <a:pt x="95" y="256"/>
                  <a:pt x="86" y="248"/>
                </a:cubicBezTo>
                <a:cubicBezTo>
                  <a:pt x="87" y="247"/>
                  <a:pt x="88" y="247"/>
                  <a:pt x="90" y="246"/>
                </a:cubicBezTo>
                <a:cubicBezTo>
                  <a:pt x="440" y="126"/>
                  <a:pt x="440" y="126"/>
                  <a:pt x="440" y="126"/>
                </a:cubicBezTo>
                <a:cubicBezTo>
                  <a:pt x="441" y="126"/>
                  <a:pt x="442" y="125"/>
                  <a:pt x="442" y="125"/>
                </a:cubicBezTo>
                <a:cubicBezTo>
                  <a:pt x="485" y="82"/>
                  <a:pt x="485" y="82"/>
                  <a:pt x="485" y="82"/>
                </a:cubicBezTo>
                <a:cubicBezTo>
                  <a:pt x="551" y="148"/>
                  <a:pt x="551" y="148"/>
                  <a:pt x="551" y="148"/>
                </a:cubicBezTo>
                <a:lnTo>
                  <a:pt x="593" y="190"/>
                </a:lnTo>
                <a:close/>
                <a:moveTo>
                  <a:pt x="624" y="201"/>
                </a:moveTo>
                <a:cubicBezTo>
                  <a:pt x="599" y="176"/>
                  <a:pt x="599" y="176"/>
                  <a:pt x="599" y="176"/>
                </a:cubicBezTo>
                <a:cubicBezTo>
                  <a:pt x="490" y="67"/>
                  <a:pt x="490" y="67"/>
                  <a:pt x="490" y="67"/>
                </a:cubicBezTo>
                <a:cubicBezTo>
                  <a:pt x="490" y="67"/>
                  <a:pt x="490" y="67"/>
                  <a:pt x="490" y="67"/>
                </a:cubicBezTo>
                <a:cubicBezTo>
                  <a:pt x="470" y="47"/>
                  <a:pt x="470" y="47"/>
                  <a:pt x="470" y="47"/>
                </a:cubicBezTo>
                <a:cubicBezTo>
                  <a:pt x="499" y="17"/>
                  <a:pt x="499" y="17"/>
                  <a:pt x="499" y="17"/>
                </a:cubicBezTo>
                <a:cubicBezTo>
                  <a:pt x="653" y="172"/>
                  <a:pt x="653" y="172"/>
                  <a:pt x="653" y="172"/>
                </a:cubicBezTo>
                <a:lnTo>
                  <a:pt x="624" y="201"/>
                </a:lnTo>
                <a:close/>
                <a:moveTo>
                  <a:pt x="247" y="307"/>
                </a:moveTo>
                <a:cubicBezTo>
                  <a:pt x="236" y="307"/>
                  <a:pt x="225" y="312"/>
                  <a:pt x="217" y="320"/>
                </a:cubicBezTo>
                <a:cubicBezTo>
                  <a:pt x="200" y="337"/>
                  <a:pt x="200" y="364"/>
                  <a:pt x="217" y="380"/>
                </a:cubicBezTo>
                <a:cubicBezTo>
                  <a:pt x="225" y="388"/>
                  <a:pt x="236" y="393"/>
                  <a:pt x="247" y="393"/>
                </a:cubicBezTo>
                <a:cubicBezTo>
                  <a:pt x="258" y="393"/>
                  <a:pt x="269" y="388"/>
                  <a:pt x="277" y="380"/>
                </a:cubicBezTo>
                <a:cubicBezTo>
                  <a:pt x="294" y="364"/>
                  <a:pt x="294" y="337"/>
                  <a:pt x="277" y="320"/>
                </a:cubicBezTo>
                <a:cubicBezTo>
                  <a:pt x="269" y="312"/>
                  <a:pt x="258" y="307"/>
                  <a:pt x="247" y="307"/>
                </a:cubicBezTo>
                <a:close/>
                <a:moveTo>
                  <a:pt x="267" y="370"/>
                </a:moveTo>
                <a:cubicBezTo>
                  <a:pt x="262" y="376"/>
                  <a:pt x="255" y="379"/>
                  <a:pt x="247" y="379"/>
                </a:cubicBezTo>
                <a:cubicBezTo>
                  <a:pt x="239" y="379"/>
                  <a:pt x="232" y="376"/>
                  <a:pt x="227" y="370"/>
                </a:cubicBezTo>
                <a:cubicBezTo>
                  <a:pt x="216" y="359"/>
                  <a:pt x="216" y="341"/>
                  <a:pt x="227" y="330"/>
                </a:cubicBezTo>
                <a:cubicBezTo>
                  <a:pt x="232" y="324"/>
                  <a:pt x="239" y="321"/>
                  <a:pt x="247" y="321"/>
                </a:cubicBezTo>
                <a:cubicBezTo>
                  <a:pt x="255" y="321"/>
                  <a:pt x="262" y="324"/>
                  <a:pt x="267" y="330"/>
                </a:cubicBezTo>
                <a:cubicBezTo>
                  <a:pt x="279" y="341"/>
                  <a:pt x="279" y="359"/>
                  <a:pt x="267" y="370"/>
                </a:cubicBezTo>
                <a:close/>
                <a:moveTo>
                  <a:pt x="377" y="345"/>
                </a:moveTo>
                <a:cubicBezTo>
                  <a:pt x="361" y="345"/>
                  <a:pt x="346" y="351"/>
                  <a:pt x="334" y="363"/>
                </a:cubicBezTo>
                <a:cubicBezTo>
                  <a:pt x="311" y="386"/>
                  <a:pt x="311" y="424"/>
                  <a:pt x="334" y="448"/>
                </a:cubicBezTo>
                <a:cubicBezTo>
                  <a:pt x="346" y="459"/>
                  <a:pt x="361" y="465"/>
                  <a:pt x="377" y="465"/>
                </a:cubicBezTo>
                <a:cubicBezTo>
                  <a:pt x="393" y="465"/>
                  <a:pt x="408" y="459"/>
                  <a:pt x="419" y="448"/>
                </a:cubicBezTo>
                <a:cubicBezTo>
                  <a:pt x="443" y="424"/>
                  <a:pt x="443" y="386"/>
                  <a:pt x="419" y="363"/>
                </a:cubicBezTo>
                <a:cubicBezTo>
                  <a:pt x="408" y="351"/>
                  <a:pt x="393" y="345"/>
                  <a:pt x="377" y="345"/>
                </a:cubicBezTo>
                <a:close/>
                <a:moveTo>
                  <a:pt x="409" y="438"/>
                </a:moveTo>
                <a:cubicBezTo>
                  <a:pt x="401" y="446"/>
                  <a:pt x="389" y="451"/>
                  <a:pt x="377" y="451"/>
                </a:cubicBezTo>
                <a:cubicBezTo>
                  <a:pt x="364" y="451"/>
                  <a:pt x="353" y="446"/>
                  <a:pt x="344" y="438"/>
                </a:cubicBezTo>
                <a:cubicBezTo>
                  <a:pt x="326" y="420"/>
                  <a:pt x="326" y="390"/>
                  <a:pt x="344" y="372"/>
                </a:cubicBezTo>
                <a:cubicBezTo>
                  <a:pt x="353" y="364"/>
                  <a:pt x="364" y="359"/>
                  <a:pt x="377" y="359"/>
                </a:cubicBezTo>
                <a:cubicBezTo>
                  <a:pt x="389" y="359"/>
                  <a:pt x="401" y="364"/>
                  <a:pt x="409" y="372"/>
                </a:cubicBezTo>
                <a:cubicBezTo>
                  <a:pt x="427" y="390"/>
                  <a:pt x="427" y="420"/>
                  <a:pt x="409" y="43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6" name="Oval 16"/>
          <p:cNvSpPr>
            <a:spLocks noChangeArrowheads="1"/>
          </p:cNvSpPr>
          <p:nvPr/>
        </p:nvSpPr>
        <p:spPr bwMode="auto">
          <a:xfrm>
            <a:off x="4845101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7" name="Freeform 27"/>
          <p:cNvSpPr>
            <a:spLocks noEditPoints="1"/>
          </p:cNvSpPr>
          <p:nvPr/>
        </p:nvSpPr>
        <p:spPr bwMode="auto">
          <a:xfrm>
            <a:off x="5053873" y="1312235"/>
            <a:ext cx="456872" cy="482300"/>
          </a:xfrm>
          <a:custGeom>
            <a:avLst/>
            <a:gdLst>
              <a:gd name="T0" fmla="*/ 3 w 590"/>
              <a:gd name="T1" fmla="*/ 492 h 623"/>
              <a:gd name="T2" fmla="*/ 189 w 590"/>
              <a:gd name="T3" fmla="*/ 375 h 623"/>
              <a:gd name="T4" fmla="*/ 218 w 590"/>
              <a:gd name="T5" fmla="*/ 227 h 623"/>
              <a:gd name="T6" fmla="*/ 135 w 590"/>
              <a:gd name="T7" fmla="*/ 140 h 623"/>
              <a:gd name="T8" fmla="*/ 0 w 590"/>
              <a:gd name="T9" fmla="*/ 81 h 623"/>
              <a:gd name="T10" fmla="*/ 162 w 590"/>
              <a:gd name="T11" fmla="*/ 81 h 623"/>
              <a:gd name="T12" fmla="*/ 248 w 590"/>
              <a:gd name="T13" fmla="*/ 153 h 623"/>
              <a:gd name="T14" fmla="*/ 417 w 590"/>
              <a:gd name="T15" fmla="*/ 172 h 623"/>
              <a:gd name="T16" fmla="*/ 528 w 590"/>
              <a:gd name="T17" fmla="*/ 99 h 623"/>
              <a:gd name="T18" fmla="*/ 528 w 590"/>
              <a:gd name="T19" fmla="*/ 222 h 623"/>
              <a:gd name="T20" fmla="*/ 432 w 590"/>
              <a:gd name="T21" fmla="*/ 216 h 623"/>
              <a:gd name="T22" fmla="*/ 325 w 590"/>
              <a:gd name="T23" fmla="*/ 334 h 623"/>
              <a:gd name="T24" fmla="*/ 228 w 590"/>
              <a:gd name="T25" fmla="*/ 402 h 623"/>
              <a:gd name="T26" fmla="*/ 134 w 590"/>
              <a:gd name="T27" fmla="*/ 623 h 623"/>
              <a:gd name="T28" fmla="*/ 17 w 590"/>
              <a:gd name="T29" fmla="*/ 492 h 623"/>
              <a:gd name="T30" fmla="*/ 250 w 590"/>
              <a:gd name="T31" fmla="*/ 492 h 623"/>
              <a:gd name="T32" fmla="*/ 213 w 590"/>
              <a:gd name="T33" fmla="*/ 399 h 623"/>
              <a:gd name="T34" fmla="*/ 284 w 590"/>
              <a:gd name="T35" fmla="*/ 310 h 623"/>
              <a:gd name="T36" fmla="*/ 419 w 590"/>
              <a:gd name="T37" fmla="*/ 227 h 623"/>
              <a:gd name="T38" fmla="*/ 422 w 590"/>
              <a:gd name="T39" fmla="*/ 205 h 623"/>
              <a:gd name="T40" fmla="*/ 490 w 590"/>
              <a:gd name="T41" fmla="*/ 188 h 623"/>
              <a:gd name="T42" fmla="*/ 576 w 590"/>
              <a:gd name="T43" fmla="*/ 160 h 623"/>
              <a:gd name="T44" fmla="*/ 481 w 590"/>
              <a:gd name="T45" fmla="*/ 160 h 623"/>
              <a:gd name="T46" fmla="*/ 476 w 590"/>
              <a:gd name="T47" fmla="*/ 167 h 623"/>
              <a:gd name="T48" fmla="*/ 408 w 590"/>
              <a:gd name="T49" fmla="*/ 183 h 623"/>
              <a:gd name="T50" fmla="*/ 254 w 590"/>
              <a:gd name="T51" fmla="*/ 166 h 623"/>
              <a:gd name="T52" fmla="*/ 147 w 590"/>
              <a:gd name="T53" fmla="*/ 109 h 623"/>
              <a:gd name="T54" fmla="*/ 148 w 590"/>
              <a:gd name="T55" fmla="*/ 81 h 623"/>
              <a:gd name="T56" fmla="*/ 14 w 590"/>
              <a:gd name="T57" fmla="*/ 81 h 623"/>
              <a:gd name="T58" fmla="*/ 129 w 590"/>
              <a:gd name="T59" fmla="*/ 127 h 623"/>
              <a:gd name="T60" fmla="*/ 236 w 590"/>
              <a:gd name="T61" fmla="*/ 184 h 623"/>
              <a:gd name="T62" fmla="*/ 232 w 590"/>
              <a:gd name="T63" fmla="*/ 227 h 623"/>
              <a:gd name="T64" fmla="*/ 260 w 590"/>
              <a:gd name="T65" fmla="*/ 301 h 623"/>
              <a:gd name="T66" fmla="*/ 188 w 590"/>
              <a:gd name="T67" fmla="*/ 390 h 6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90" h="623">
                <a:moveTo>
                  <a:pt x="134" y="623"/>
                </a:moveTo>
                <a:cubicBezTo>
                  <a:pt x="62" y="623"/>
                  <a:pt x="3" y="564"/>
                  <a:pt x="3" y="492"/>
                </a:cubicBezTo>
                <a:cubicBezTo>
                  <a:pt x="3" y="421"/>
                  <a:pt x="62" y="362"/>
                  <a:pt x="134" y="362"/>
                </a:cubicBezTo>
                <a:cubicBezTo>
                  <a:pt x="153" y="362"/>
                  <a:pt x="172" y="366"/>
                  <a:pt x="189" y="375"/>
                </a:cubicBezTo>
                <a:cubicBezTo>
                  <a:pt x="245" y="298"/>
                  <a:pt x="245" y="298"/>
                  <a:pt x="245" y="298"/>
                </a:cubicBezTo>
                <a:cubicBezTo>
                  <a:pt x="228" y="278"/>
                  <a:pt x="218" y="253"/>
                  <a:pt x="218" y="227"/>
                </a:cubicBezTo>
                <a:cubicBezTo>
                  <a:pt x="218" y="215"/>
                  <a:pt x="220" y="204"/>
                  <a:pt x="224" y="193"/>
                </a:cubicBezTo>
                <a:cubicBezTo>
                  <a:pt x="135" y="140"/>
                  <a:pt x="135" y="140"/>
                  <a:pt x="135" y="140"/>
                </a:cubicBezTo>
                <a:cubicBezTo>
                  <a:pt x="120" y="154"/>
                  <a:pt x="101" y="162"/>
                  <a:pt x="81" y="162"/>
                </a:cubicBezTo>
                <a:cubicBezTo>
                  <a:pt x="36" y="162"/>
                  <a:pt x="0" y="125"/>
                  <a:pt x="0" y="81"/>
                </a:cubicBezTo>
                <a:cubicBezTo>
                  <a:pt x="0" y="36"/>
                  <a:pt x="36" y="0"/>
                  <a:pt x="81" y="0"/>
                </a:cubicBezTo>
                <a:cubicBezTo>
                  <a:pt x="125" y="0"/>
                  <a:pt x="162" y="36"/>
                  <a:pt x="162" y="81"/>
                </a:cubicBezTo>
                <a:cubicBezTo>
                  <a:pt x="162" y="87"/>
                  <a:pt x="161" y="94"/>
                  <a:pt x="159" y="100"/>
                </a:cubicBezTo>
                <a:cubicBezTo>
                  <a:pt x="248" y="153"/>
                  <a:pt x="248" y="153"/>
                  <a:pt x="248" y="153"/>
                </a:cubicBezTo>
                <a:cubicBezTo>
                  <a:pt x="268" y="132"/>
                  <a:pt x="296" y="119"/>
                  <a:pt x="325" y="119"/>
                </a:cubicBezTo>
                <a:cubicBezTo>
                  <a:pt x="363" y="119"/>
                  <a:pt x="398" y="139"/>
                  <a:pt x="417" y="172"/>
                </a:cubicBezTo>
                <a:cubicBezTo>
                  <a:pt x="467" y="156"/>
                  <a:pt x="467" y="156"/>
                  <a:pt x="467" y="156"/>
                </a:cubicBezTo>
                <a:cubicBezTo>
                  <a:pt x="469" y="124"/>
                  <a:pt x="496" y="99"/>
                  <a:pt x="528" y="99"/>
                </a:cubicBezTo>
                <a:cubicBezTo>
                  <a:pt x="562" y="99"/>
                  <a:pt x="590" y="126"/>
                  <a:pt x="590" y="160"/>
                </a:cubicBezTo>
                <a:cubicBezTo>
                  <a:pt x="590" y="194"/>
                  <a:pt x="562" y="222"/>
                  <a:pt x="528" y="222"/>
                </a:cubicBezTo>
                <a:cubicBezTo>
                  <a:pt x="510" y="222"/>
                  <a:pt x="493" y="214"/>
                  <a:pt x="482" y="200"/>
                </a:cubicBezTo>
                <a:cubicBezTo>
                  <a:pt x="432" y="216"/>
                  <a:pt x="432" y="216"/>
                  <a:pt x="432" y="216"/>
                </a:cubicBezTo>
                <a:cubicBezTo>
                  <a:pt x="432" y="220"/>
                  <a:pt x="433" y="223"/>
                  <a:pt x="433" y="227"/>
                </a:cubicBezTo>
                <a:cubicBezTo>
                  <a:pt x="433" y="286"/>
                  <a:pt x="384" y="334"/>
                  <a:pt x="325" y="334"/>
                </a:cubicBezTo>
                <a:cubicBezTo>
                  <a:pt x="311" y="334"/>
                  <a:pt x="297" y="331"/>
                  <a:pt x="283" y="325"/>
                </a:cubicBezTo>
                <a:cubicBezTo>
                  <a:pt x="228" y="402"/>
                  <a:pt x="228" y="402"/>
                  <a:pt x="228" y="402"/>
                </a:cubicBezTo>
                <a:cubicBezTo>
                  <a:pt x="251" y="427"/>
                  <a:pt x="264" y="458"/>
                  <a:pt x="264" y="492"/>
                </a:cubicBezTo>
                <a:cubicBezTo>
                  <a:pt x="264" y="564"/>
                  <a:pt x="205" y="623"/>
                  <a:pt x="134" y="623"/>
                </a:cubicBezTo>
                <a:close/>
                <a:moveTo>
                  <a:pt x="134" y="376"/>
                </a:moveTo>
                <a:cubicBezTo>
                  <a:pt x="69" y="376"/>
                  <a:pt x="17" y="428"/>
                  <a:pt x="17" y="492"/>
                </a:cubicBezTo>
                <a:cubicBezTo>
                  <a:pt x="17" y="557"/>
                  <a:pt x="69" y="609"/>
                  <a:pt x="134" y="609"/>
                </a:cubicBezTo>
                <a:cubicBezTo>
                  <a:pt x="198" y="609"/>
                  <a:pt x="250" y="557"/>
                  <a:pt x="250" y="492"/>
                </a:cubicBezTo>
                <a:cubicBezTo>
                  <a:pt x="250" y="460"/>
                  <a:pt x="237" y="430"/>
                  <a:pt x="214" y="408"/>
                </a:cubicBezTo>
                <a:cubicBezTo>
                  <a:pt x="211" y="406"/>
                  <a:pt x="211" y="402"/>
                  <a:pt x="213" y="399"/>
                </a:cubicBezTo>
                <a:cubicBezTo>
                  <a:pt x="275" y="312"/>
                  <a:pt x="275" y="312"/>
                  <a:pt x="275" y="312"/>
                </a:cubicBezTo>
                <a:cubicBezTo>
                  <a:pt x="277" y="309"/>
                  <a:pt x="281" y="308"/>
                  <a:pt x="284" y="310"/>
                </a:cubicBezTo>
                <a:cubicBezTo>
                  <a:pt x="297" y="316"/>
                  <a:pt x="311" y="320"/>
                  <a:pt x="325" y="320"/>
                </a:cubicBezTo>
                <a:cubicBezTo>
                  <a:pt x="377" y="320"/>
                  <a:pt x="419" y="278"/>
                  <a:pt x="419" y="227"/>
                </a:cubicBezTo>
                <a:cubicBezTo>
                  <a:pt x="419" y="222"/>
                  <a:pt x="418" y="218"/>
                  <a:pt x="417" y="213"/>
                </a:cubicBezTo>
                <a:cubicBezTo>
                  <a:pt x="417" y="209"/>
                  <a:pt x="419" y="206"/>
                  <a:pt x="422" y="205"/>
                </a:cubicBezTo>
                <a:cubicBezTo>
                  <a:pt x="482" y="185"/>
                  <a:pt x="482" y="185"/>
                  <a:pt x="482" y="185"/>
                </a:cubicBezTo>
                <a:cubicBezTo>
                  <a:pt x="485" y="184"/>
                  <a:pt x="488" y="185"/>
                  <a:pt x="490" y="188"/>
                </a:cubicBezTo>
                <a:cubicBezTo>
                  <a:pt x="499" y="200"/>
                  <a:pt x="513" y="208"/>
                  <a:pt x="528" y="208"/>
                </a:cubicBezTo>
                <a:cubicBezTo>
                  <a:pt x="555" y="208"/>
                  <a:pt x="576" y="186"/>
                  <a:pt x="576" y="160"/>
                </a:cubicBezTo>
                <a:cubicBezTo>
                  <a:pt x="576" y="134"/>
                  <a:pt x="555" y="113"/>
                  <a:pt x="528" y="113"/>
                </a:cubicBezTo>
                <a:cubicBezTo>
                  <a:pt x="502" y="113"/>
                  <a:pt x="481" y="134"/>
                  <a:pt x="481" y="160"/>
                </a:cubicBezTo>
                <a:cubicBezTo>
                  <a:pt x="481" y="161"/>
                  <a:pt x="481" y="161"/>
                  <a:pt x="481" y="161"/>
                </a:cubicBezTo>
                <a:cubicBezTo>
                  <a:pt x="481" y="164"/>
                  <a:pt x="479" y="166"/>
                  <a:pt x="476" y="167"/>
                </a:cubicBezTo>
                <a:cubicBezTo>
                  <a:pt x="416" y="187"/>
                  <a:pt x="416" y="187"/>
                  <a:pt x="416" y="187"/>
                </a:cubicBezTo>
                <a:cubicBezTo>
                  <a:pt x="413" y="188"/>
                  <a:pt x="409" y="186"/>
                  <a:pt x="408" y="183"/>
                </a:cubicBezTo>
                <a:cubicBezTo>
                  <a:pt x="392" y="153"/>
                  <a:pt x="360" y="133"/>
                  <a:pt x="325" y="133"/>
                </a:cubicBezTo>
                <a:cubicBezTo>
                  <a:pt x="298" y="133"/>
                  <a:pt x="272" y="145"/>
                  <a:pt x="254" y="166"/>
                </a:cubicBezTo>
                <a:cubicBezTo>
                  <a:pt x="252" y="169"/>
                  <a:pt x="248" y="170"/>
                  <a:pt x="245" y="168"/>
                </a:cubicBezTo>
                <a:cubicBezTo>
                  <a:pt x="147" y="109"/>
                  <a:pt x="147" y="109"/>
                  <a:pt x="147" y="109"/>
                </a:cubicBezTo>
                <a:cubicBezTo>
                  <a:pt x="145" y="108"/>
                  <a:pt x="143" y="104"/>
                  <a:pt x="144" y="101"/>
                </a:cubicBezTo>
                <a:cubicBezTo>
                  <a:pt x="146" y="95"/>
                  <a:pt x="148" y="88"/>
                  <a:pt x="148" y="81"/>
                </a:cubicBezTo>
                <a:cubicBezTo>
                  <a:pt x="148" y="44"/>
                  <a:pt x="118" y="14"/>
                  <a:pt x="81" y="14"/>
                </a:cubicBezTo>
                <a:cubicBezTo>
                  <a:pt x="44" y="14"/>
                  <a:pt x="14" y="44"/>
                  <a:pt x="14" y="81"/>
                </a:cubicBezTo>
                <a:cubicBezTo>
                  <a:pt x="14" y="118"/>
                  <a:pt x="44" y="148"/>
                  <a:pt x="81" y="148"/>
                </a:cubicBezTo>
                <a:cubicBezTo>
                  <a:pt x="99" y="148"/>
                  <a:pt x="116" y="140"/>
                  <a:pt x="129" y="127"/>
                </a:cubicBezTo>
                <a:cubicBezTo>
                  <a:pt x="131" y="125"/>
                  <a:pt x="135" y="124"/>
                  <a:pt x="138" y="126"/>
                </a:cubicBezTo>
                <a:cubicBezTo>
                  <a:pt x="236" y="184"/>
                  <a:pt x="236" y="184"/>
                  <a:pt x="236" y="184"/>
                </a:cubicBezTo>
                <a:cubicBezTo>
                  <a:pt x="239" y="186"/>
                  <a:pt x="240" y="190"/>
                  <a:pt x="239" y="193"/>
                </a:cubicBezTo>
                <a:cubicBezTo>
                  <a:pt x="234" y="204"/>
                  <a:pt x="232" y="215"/>
                  <a:pt x="232" y="227"/>
                </a:cubicBezTo>
                <a:cubicBezTo>
                  <a:pt x="232" y="251"/>
                  <a:pt x="242" y="274"/>
                  <a:pt x="259" y="292"/>
                </a:cubicBezTo>
                <a:cubicBezTo>
                  <a:pt x="262" y="294"/>
                  <a:pt x="262" y="298"/>
                  <a:pt x="260" y="301"/>
                </a:cubicBezTo>
                <a:cubicBezTo>
                  <a:pt x="197" y="388"/>
                  <a:pt x="197" y="388"/>
                  <a:pt x="197" y="388"/>
                </a:cubicBezTo>
                <a:cubicBezTo>
                  <a:pt x="195" y="391"/>
                  <a:pt x="191" y="391"/>
                  <a:pt x="188" y="390"/>
                </a:cubicBezTo>
                <a:cubicBezTo>
                  <a:pt x="172" y="381"/>
                  <a:pt x="153" y="376"/>
                  <a:pt x="134" y="37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" name="Oval 6"/>
          <p:cNvSpPr>
            <a:spLocks noChangeArrowheads="1"/>
          </p:cNvSpPr>
          <p:nvPr/>
        </p:nvSpPr>
        <p:spPr bwMode="auto">
          <a:xfrm>
            <a:off x="2259614" y="347035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8" name="Freeform 28"/>
          <p:cNvSpPr>
            <a:spLocks noEditPoints="1"/>
          </p:cNvSpPr>
          <p:nvPr/>
        </p:nvSpPr>
        <p:spPr bwMode="auto">
          <a:xfrm>
            <a:off x="2435284" y="3614402"/>
            <a:ext cx="523404" cy="500076"/>
          </a:xfrm>
          <a:custGeom>
            <a:avLst/>
            <a:gdLst>
              <a:gd name="T0" fmla="*/ 676 w 676"/>
              <a:gd name="T1" fmla="*/ 390 h 645"/>
              <a:gd name="T2" fmla="*/ 675 w 676"/>
              <a:gd name="T3" fmla="*/ 388 h 645"/>
              <a:gd name="T4" fmla="*/ 516 w 676"/>
              <a:gd name="T5" fmla="*/ 186 h 645"/>
              <a:gd name="T6" fmla="*/ 374 w 676"/>
              <a:gd name="T7" fmla="*/ 133 h 645"/>
              <a:gd name="T8" fmla="*/ 281 w 676"/>
              <a:gd name="T9" fmla="*/ 133 h 645"/>
              <a:gd name="T10" fmla="*/ 7 w 676"/>
              <a:gd name="T11" fmla="*/ 186 h 645"/>
              <a:gd name="T12" fmla="*/ 0 w 676"/>
              <a:gd name="T13" fmla="*/ 563 h 645"/>
              <a:gd name="T14" fmla="*/ 86 w 676"/>
              <a:gd name="T15" fmla="*/ 570 h 645"/>
              <a:gd name="T16" fmla="*/ 249 w 676"/>
              <a:gd name="T17" fmla="*/ 570 h 645"/>
              <a:gd name="T18" fmla="*/ 511 w 676"/>
              <a:gd name="T19" fmla="*/ 645 h 645"/>
              <a:gd name="T20" fmla="*/ 669 w 676"/>
              <a:gd name="T21" fmla="*/ 570 h 645"/>
              <a:gd name="T22" fmla="*/ 676 w 676"/>
              <a:gd name="T23" fmla="*/ 393 h 645"/>
              <a:gd name="T24" fmla="*/ 655 w 676"/>
              <a:gd name="T25" fmla="*/ 386 h 645"/>
              <a:gd name="T26" fmla="*/ 461 w 676"/>
              <a:gd name="T27" fmla="*/ 248 h 645"/>
              <a:gd name="T28" fmla="*/ 655 w 676"/>
              <a:gd name="T29" fmla="*/ 386 h 645"/>
              <a:gd name="T30" fmla="*/ 327 w 676"/>
              <a:gd name="T31" fmla="*/ 100 h 645"/>
              <a:gd name="T32" fmla="*/ 360 w 676"/>
              <a:gd name="T33" fmla="*/ 186 h 645"/>
              <a:gd name="T34" fmla="*/ 295 w 676"/>
              <a:gd name="T35" fmla="*/ 133 h 645"/>
              <a:gd name="T36" fmla="*/ 100 w 676"/>
              <a:gd name="T37" fmla="*/ 563 h 645"/>
              <a:gd name="T38" fmla="*/ 235 w 676"/>
              <a:gd name="T39" fmla="*/ 563 h 645"/>
              <a:gd name="T40" fmla="*/ 511 w 676"/>
              <a:gd name="T41" fmla="*/ 631 h 645"/>
              <a:gd name="T42" fmla="*/ 444 w 676"/>
              <a:gd name="T43" fmla="*/ 563 h 645"/>
              <a:gd name="T44" fmla="*/ 511 w 676"/>
              <a:gd name="T45" fmla="*/ 495 h 645"/>
              <a:gd name="T46" fmla="*/ 511 w 676"/>
              <a:gd name="T47" fmla="*/ 631 h 645"/>
              <a:gd name="T48" fmla="*/ 511 w 676"/>
              <a:gd name="T49" fmla="*/ 481 h 645"/>
              <a:gd name="T50" fmla="*/ 249 w 676"/>
              <a:gd name="T51" fmla="*/ 556 h 645"/>
              <a:gd name="T52" fmla="*/ 86 w 676"/>
              <a:gd name="T53" fmla="*/ 556 h 645"/>
              <a:gd name="T54" fmla="*/ 14 w 676"/>
              <a:gd name="T55" fmla="*/ 200 h 645"/>
              <a:gd name="T56" fmla="*/ 539 w 676"/>
              <a:gd name="T57" fmla="*/ 234 h 645"/>
              <a:gd name="T58" fmla="*/ 447 w 676"/>
              <a:gd name="T59" fmla="*/ 241 h 645"/>
              <a:gd name="T60" fmla="*/ 454 w 676"/>
              <a:gd name="T61" fmla="*/ 400 h 645"/>
              <a:gd name="T62" fmla="*/ 662 w 676"/>
              <a:gd name="T63" fmla="*/ 556 h 645"/>
              <a:gd name="T64" fmla="*/ 185 w 676"/>
              <a:gd name="T65" fmla="*/ 143 h 645"/>
              <a:gd name="T66" fmla="*/ 235 w 676"/>
              <a:gd name="T67" fmla="*/ 136 h 645"/>
              <a:gd name="T68" fmla="*/ 235 w 676"/>
              <a:gd name="T69" fmla="*/ 150 h 645"/>
              <a:gd name="T70" fmla="*/ 185 w 676"/>
              <a:gd name="T71" fmla="*/ 143 h 645"/>
              <a:gd name="T72" fmla="*/ 463 w 676"/>
              <a:gd name="T73" fmla="*/ 136 h 645"/>
              <a:gd name="T74" fmla="*/ 463 w 676"/>
              <a:gd name="T75" fmla="*/ 150 h 645"/>
              <a:gd name="T76" fmla="*/ 413 w 676"/>
              <a:gd name="T77" fmla="*/ 143 h 645"/>
              <a:gd name="T78" fmla="*/ 226 w 676"/>
              <a:gd name="T79" fmla="*/ 52 h 645"/>
              <a:gd name="T80" fmla="*/ 236 w 676"/>
              <a:gd name="T81" fmla="*/ 42 h 645"/>
              <a:gd name="T82" fmla="*/ 267 w 676"/>
              <a:gd name="T83" fmla="*/ 82 h 645"/>
              <a:gd name="T84" fmla="*/ 257 w 676"/>
              <a:gd name="T85" fmla="*/ 82 h 645"/>
              <a:gd name="T86" fmla="*/ 388 w 676"/>
              <a:gd name="T87" fmla="*/ 82 h 645"/>
              <a:gd name="T88" fmla="*/ 418 w 676"/>
              <a:gd name="T89" fmla="*/ 42 h 645"/>
              <a:gd name="T90" fmla="*/ 428 w 676"/>
              <a:gd name="T91" fmla="*/ 52 h 645"/>
              <a:gd name="T92" fmla="*/ 393 w 676"/>
              <a:gd name="T93" fmla="*/ 85 h 645"/>
              <a:gd name="T94" fmla="*/ 320 w 676"/>
              <a:gd name="T95" fmla="*/ 50 h 645"/>
              <a:gd name="T96" fmla="*/ 327 w 676"/>
              <a:gd name="T97" fmla="*/ 0 h 645"/>
              <a:gd name="T98" fmla="*/ 334 w 676"/>
              <a:gd name="T99" fmla="*/ 50 h 645"/>
              <a:gd name="T100" fmla="*/ 320 w 676"/>
              <a:gd name="T101" fmla="*/ 50 h 645"/>
              <a:gd name="T102" fmla="*/ 201 w 676"/>
              <a:gd name="T103" fmla="*/ 332 h 645"/>
              <a:gd name="T104" fmla="*/ 141 w 676"/>
              <a:gd name="T105" fmla="*/ 393 h 645"/>
              <a:gd name="T106" fmla="*/ 127 w 676"/>
              <a:gd name="T107" fmla="*/ 393 h 645"/>
              <a:gd name="T108" fmla="*/ 66 w 676"/>
              <a:gd name="T109" fmla="*/ 332 h 645"/>
              <a:gd name="T110" fmla="*/ 66 w 676"/>
              <a:gd name="T111" fmla="*/ 318 h 645"/>
              <a:gd name="T112" fmla="*/ 127 w 676"/>
              <a:gd name="T113" fmla="*/ 258 h 645"/>
              <a:gd name="T114" fmla="*/ 141 w 676"/>
              <a:gd name="T115" fmla="*/ 258 h 645"/>
              <a:gd name="T116" fmla="*/ 201 w 676"/>
              <a:gd name="T117" fmla="*/ 318 h 6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76" h="645">
                <a:moveTo>
                  <a:pt x="676" y="391"/>
                </a:moveTo>
                <a:cubicBezTo>
                  <a:pt x="676" y="390"/>
                  <a:pt x="676" y="390"/>
                  <a:pt x="676" y="390"/>
                </a:cubicBezTo>
                <a:cubicBezTo>
                  <a:pt x="675" y="390"/>
                  <a:pt x="675" y="389"/>
                  <a:pt x="675" y="388"/>
                </a:cubicBezTo>
                <a:cubicBezTo>
                  <a:pt x="675" y="388"/>
                  <a:pt x="675" y="388"/>
                  <a:pt x="675" y="388"/>
                </a:cubicBezTo>
                <a:cubicBezTo>
                  <a:pt x="521" y="189"/>
                  <a:pt x="521" y="189"/>
                  <a:pt x="521" y="189"/>
                </a:cubicBezTo>
                <a:cubicBezTo>
                  <a:pt x="520" y="187"/>
                  <a:pt x="518" y="186"/>
                  <a:pt x="516" y="186"/>
                </a:cubicBezTo>
                <a:cubicBezTo>
                  <a:pt x="374" y="186"/>
                  <a:pt x="374" y="186"/>
                  <a:pt x="374" y="186"/>
                </a:cubicBezTo>
                <a:cubicBezTo>
                  <a:pt x="374" y="133"/>
                  <a:pt x="374" y="133"/>
                  <a:pt x="374" y="133"/>
                </a:cubicBezTo>
                <a:cubicBezTo>
                  <a:pt x="374" y="107"/>
                  <a:pt x="353" y="86"/>
                  <a:pt x="327" y="86"/>
                </a:cubicBezTo>
                <a:cubicBezTo>
                  <a:pt x="302" y="86"/>
                  <a:pt x="281" y="107"/>
                  <a:pt x="281" y="133"/>
                </a:cubicBezTo>
                <a:cubicBezTo>
                  <a:pt x="281" y="186"/>
                  <a:pt x="281" y="186"/>
                  <a:pt x="281" y="186"/>
                </a:cubicBezTo>
                <a:cubicBezTo>
                  <a:pt x="7" y="186"/>
                  <a:pt x="7" y="186"/>
                  <a:pt x="7" y="186"/>
                </a:cubicBezTo>
                <a:cubicBezTo>
                  <a:pt x="3" y="186"/>
                  <a:pt x="0" y="189"/>
                  <a:pt x="0" y="193"/>
                </a:cubicBezTo>
                <a:cubicBezTo>
                  <a:pt x="0" y="563"/>
                  <a:pt x="0" y="563"/>
                  <a:pt x="0" y="563"/>
                </a:cubicBezTo>
                <a:cubicBezTo>
                  <a:pt x="0" y="567"/>
                  <a:pt x="3" y="570"/>
                  <a:pt x="7" y="570"/>
                </a:cubicBezTo>
                <a:cubicBezTo>
                  <a:pt x="86" y="570"/>
                  <a:pt x="86" y="570"/>
                  <a:pt x="86" y="570"/>
                </a:cubicBezTo>
                <a:cubicBezTo>
                  <a:pt x="90" y="612"/>
                  <a:pt x="125" y="645"/>
                  <a:pt x="167" y="645"/>
                </a:cubicBezTo>
                <a:cubicBezTo>
                  <a:pt x="210" y="645"/>
                  <a:pt x="245" y="612"/>
                  <a:pt x="249" y="570"/>
                </a:cubicBezTo>
                <a:cubicBezTo>
                  <a:pt x="430" y="570"/>
                  <a:pt x="430" y="570"/>
                  <a:pt x="430" y="570"/>
                </a:cubicBezTo>
                <a:cubicBezTo>
                  <a:pt x="433" y="612"/>
                  <a:pt x="468" y="645"/>
                  <a:pt x="511" y="645"/>
                </a:cubicBezTo>
                <a:cubicBezTo>
                  <a:pt x="554" y="645"/>
                  <a:pt x="589" y="612"/>
                  <a:pt x="593" y="570"/>
                </a:cubicBezTo>
                <a:cubicBezTo>
                  <a:pt x="669" y="570"/>
                  <a:pt x="669" y="570"/>
                  <a:pt x="669" y="570"/>
                </a:cubicBezTo>
                <a:cubicBezTo>
                  <a:pt x="673" y="570"/>
                  <a:pt x="676" y="567"/>
                  <a:pt x="676" y="563"/>
                </a:cubicBezTo>
                <a:cubicBezTo>
                  <a:pt x="676" y="393"/>
                  <a:pt x="676" y="393"/>
                  <a:pt x="676" y="393"/>
                </a:cubicBezTo>
                <a:cubicBezTo>
                  <a:pt x="676" y="392"/>
                  <a:pt x="676" y="391"/>
                  <a:pt x="676" y="391"/>
                </a:cubicBezTo>
                <a:close/>
                <a:moveTo>
                  <a:pt x="655" y="386"/>
                </a:moveTo>
                <a:cubicBezTo>
                  <a:pt x="461" y="386"/>
                  <a:pt x="461" y="386"/>
                  <a:pt x="461" y="386"/>
                </a:cubicBezTo>
                <a:cubicBezTo>
                  <a:pt x="461" y="248"/>
                  <a:pt x="461" y="248"/>
                  <a:pt x="461" y="248"/>
                </a:cubicBezTo>
                <a:cubicBezTo>
                  <a:pt x="549" y="248"/>
                  <a:pt x="549" y="248"/>
                  <a:pt x="549" y="248"/>
                </a:cubicBezTo>
                <a:lnTo>
                  <a:pt x="655" y="386"/>
                </a:lnTo>
                <a:close/>
                <a:moveTo>
                  <a:pt x="295" y="133"/>
                </a:moveTo>
                <a:cubicBezTo>
                  <a:pt x="295" y="115"/>
                  <a:pt x="309" y="100"/>
                  <a:pt x="327" y="100"/>
                </a:cubicBezTo>
                <a:cubicBezTo>
                  <a:pt x="345" y="100"/>
                  <a:pt x="360" y="115"/>
                  <a:pt x="360" y="133"/>
                </a:cubicBezTo>
                <a:cubicBezTo>
                  <a:pt x="360" y="186"/>
                  <a:pt x="360" y="186"/>
                  <a:pt x="360" y="186"/>
                </a:cubicBezTo>
                <a:cubicBezTo>
                  <a:pt x="295" y="186"/>
                  <a:pt x="295" y="186"/>
                  <a:pt x="295" y="186"/>
                </a:cubicBezTo>
                <a:lnTo>
                  <a:pt x="295" y="133"/>
                </a:lnTo>
                <a:close/>
                <a:moveTo>
                  <a:pt x="167" y="631"/>
                </a:moveTo>
                <a:cubicBezTo>
                  <a:pt x="130" y="631"/>
                  <a:pt x="100" y="600"/>
                  <a:pt x="100" y="563"/>
                </a:cubicBezTo>
                <a:cubicBezTo>
                  <a:pt x="100" y="526"/>
                  <a:pt x="130" y="495"/>
                  <a:pt x="167" y="495"/>
                </a:cubicBezTo>
                <a:cubicBezTo>
                  <a:pt x="205" y="495"/>
                  <a:pt x="235" y="526"/>
                  <a:pt x="235" y="563"/>
                </a:cubicBezTo>
                <a:cubicBezTo>
                  <a:pt x="235" y="600"/>
                  <a:pt x="205" y="631"/>
                  <a:pt x="167" y="631"/>
                </a:cubicBezTo>
                <a:close/>
                <a:moveTo>
                  <a:pt x="511" y="631"/>
                </a:moveTo>
                <a:cubicBezTo>
                  <a:pt x="475" y="631"/>
                  <a:pt x="445" y="602"/>
                  <a:pt x="444" y="566"/>
                </a:cubicBezTo>
                <a:cubicBezTo>
                  <a:pt x="444" y="565"/>
                  <a:pt x="444" y="564"/>
                  <a:pt x="444" y="563"/>
                </a:cubicBezTo>
                <a:cubicBezTo>
                  <a:pt x="444" y="562"/>
                  <a:pt x="444" y="561"/>
                  <a:pt x="444" y="560"/>
                </a:cubicBezTo>
                <a:cubicBezTo>
                  <a:pt x="445" y="524"/>
                  <a:pt x="475" y="495"/>
                  <a:pt x="511" y="495"/>
                </a:cubicBezTo>
                <a:cubicBezTo>
                  <a:pt x="549" y="495"/>
                  <a:pt x="579" y="526"/>
                  <a:pt x="579" y="563"/>
                </a:cubicBezTo>
                <a:cubicBezTo>
                  <a:pt x="579" y="600"/>
                  <a:pt x="549" y="631"/>
                  <a:pt x="511" y="631"/>
                </a:cubicBezTo>
                <a:close/>
                <a:moveTo>
                  <a:pt x="593" y="556"/>
                </a:moveTo>
                <a:cubicBezTo>
                  <a:pt x="589" y="514"/>
                  <a:pt x="554" y="481"/>
                  <a:pt x="511" y="481"/>
                </a:cubicBezTo>
                <a:cubicBezTo>
                  <a:pt x="468" y="481"/>
                  <a:pt x="433" y="514"/>
                  <a:pt x="430" y="556"/>
                </a:cubicBezTo>
                <a:cubicBezTo>
                  <a:pt x="249" y="556"/>
                  <a:pt x="249" y="556"/>
                  <a:pt x="249" y="556"/>
                </a:cubicBezTo>
                <a:cubicBezTo>
                  <a:pt x="245" y="514"/>
                  <a:pt x="210" y="481"/>
                  <a:pt x="167" y="481"/>
                </a:cubicBezTo>
                <a:cubicBezTo>
                  <a:pt x="125" y="481"/>
                  <a:pt x="90" y="514"/>
                  <a:pt x="86" y="556"/>
                </a:cubicBezTo>
                <a:cubicBezTo>
                  <a:pt x="14" y="556"/>
                  <a:pt x="14" y="556"/>
                  <a:pt x="14" y="556"/>
                </a:cubicBezTo>
                <a:cubicBezTo>
                  <a:pt x="14" y="200"/>
                  <a:pt x="14" y="200"/>
                  <a:pt x="14" y="200"/>
                </a:cubicBezTo>
                <a:cubicBezTo>
                  <a:pt x="512" y="200"/>
                  <a:pt x="512" y="200"/>
                  <a:pt x="512" y="200"/>
                </a:cubicBezTo>
                <a:cubicBezTo>
                  <a:pt x="539" y="234"/>
                  <a:pt x="539" y="234"/>
                  <a:pt x="539" y="234"/>
                </a:cubicBezTo>
                <a:cubicBezTo>
                  <a:pt x="454" y="234"/>
                  <a:pt x="454" y="234"/>
                  <a:pt x="454" y="234"/>
                </a:cubicBezTo>
                <a:cubicBezTo>
                  <a:pt x="450" y="234"/>
                  <a:pt x="447" y="237"/>
                  <a:pt x="447" y="241"/>
                </a:cubicBezTo>
                <a:cubicBezTo>
                  <a:pt x="447" y="393"/>
                  <a:pt x="447" y="393"/>
                  <a:pt x="447" y="393"/>
                </a:cubicBezTo>
                <a:cubicBezTo>
                  <a:pt x="447" y="396"/>
                  <a:pt x="450" y="400"/>
                  <a:pt x="454" y="400"/>
                </a:cubicBezTo>
                <a:cubicBezTo>
                  <a:pt x="662" y="400"/>
                  <a:pt x="662" y="400"/>
                  <a:pt x="662" y="400"/>
                </a:cubicBezTo>
                <a:cubicBezTo>
                  <a:pt x="662" y="556"/>
                  <a:pt x="662" y="556"/>
                  <a:pt x="662" y="556"/>
                </a:cubicBezTo>
                <a:lnTo>
                  <a:pt x="593" y="556"/>
                </a:lnTo>
                <a:close/>
                <a:moveTo>
                  <a:pt x="185" y="143"/>
                </a:moveTo>
                <a:cubicBezTo>
                  <a:pt x="185" y="139"/>
                  <a:pt x="188" y="136"/>
                  <a:pt x="192" y="136"/>
                </a:cubicBezTo>
                <a:cubicBezTo>
                  <a:pt x="235" y="136"/>
                  <a:pt x="235" y="136"/>
                  <a:pt x="235" y="136"/>
                </a:cubicBezTo>
                <a:cubicBezTo>
                  <a:pt x="239" y="136"/>
                  <a:pt x="242" y="139"/>
                  <a:pt x="242" y="143"/>
                </a:cubicBezTo>
                <a:cubicBezTo>
                  <a:pt x="242" y="147"/>
                  <a:pt x="239" y="150"/>
                  <a:pt x="235" y="150"/>
                </a:cubicBezTo>
                <a:cubicBezTo>
                  <a:pt x="192" y="150"/>
                  <a:pt x="192" y="150"/>
                  <a:pt x="192" y="150"/>
                </a:cubicBezTo>
                <a:cubicBezTo>
                  <a:pt x="188" y="150"/>
                  <a:pt x="185" y="147"/>
                  <a:pt x="185" y="143"/>
                </a:cubicBezTo>
                <a:close/>
                <a:moveTo>
                  <a:pt x="420" y="136"/>
                </a:moveTo>
                <a:cubicBezTo>
                  <a:pt x="463" y="136"/>
                  <a:pt x="463" y="136"/>
                  <a:pt x="463" y="136"/>
                </a:cubicBezTo>
                <a:cubicBezTo>
                  <a:pt x="467" y="136"/>
                  <a:pt x="470" y="139"/>
                  <a:pt x="470" y="143"/>
                </a:cubicBezTo>
                <a:cubicBezTo>
                  <a:pt x="470" y="147"/>
                  <a:pt x="467" y="150"/>
                  <a:pt x="463" y="150"/>
                </a:cubicBezTo>
                <a:cubicBezTo>
                  <a:pt x="420" y="150"/>
                  <a:pt x="420" y="150"/>
                  <a:pt x="420" y="150"/>
                </a:cubicBezTo>
                <a:cubicBezTo>
                  <a:pt x="416" y="150"/>
                  <a:pt x="413" y="147"/>
                  <a:pt x="413" y="143"/>
                </a:cubicBezTo>
                <a:cubicBezTo>
                  <a:pt x="413" y="139"/>
                  <a:pt x="416" y="136"/>
                  <a:pt x="420" y="136"/>
                </a:cubicBezTo>
                <a:close/>
                <a:moveTo>
                  <a:pt x="226" y="52"/>
                </a:moveTo>
                <a:cubicBezTo>
                  <a:pt x="224" y="49"/>
                  <a:pt x="224" y="45"/>
                  <a:pt x="226" y="42"/>
                </a:cubicBezTo>
                <a:cubicBezTo>
                  <a:pt x="229" y="39"/>
                  <a:pt x="234" y="39"/>
                  <a:pt x="236" y="42"/>
                </a:cubicBezTo>
                <a:cubicBezTo>
                  <a:pt x="267" y="73"/>
                  <a:pt x="267" y="73"/>
                  <a:pt x="267" y="73"/>
                </a:cubicBezTo>
                <a:cubicBezTo>
                  <a:pt x="270" y="75"/>
                  <a:pt x="270" y="80"/>
                  <a:pt x="267" y="82"/>
                </a:cubicBezTo>
                <a:cubicBezTo>
                  <a:pt x="265" y="84"/>
                  <a:pt x="264" y="85"/>
                  <a:pt x="262" y="85"/>
                </a:cubicBezTo>
                <a:cubicBezTo>
                  <a:pt x="260" y="85"/>
                  <a:pt x="258" y="84"/>
                  <a:pt x="257" y="82"/>
                </a:cubicBezTo>
                <a:lnTo>
                  <a:pt x="226" y="52"/>
                </a:lnTo>
                <a:close/>
                <a:moveTo>
                  <a:pt x="388" y="82"/>
                </a:moveTo>
                <a:cubicBezTo>
                  <a:pt x="385" y="80"/>
                  <a:pt x="385" y="75"/>
                  <a:pt x="388" y="73"/>
                </a:cubicBezTo>
                <a:cubicBezTo>
                  <a:pt x="418" y="42"/>
                  <a:pt x="418" y="42"/>
                  <a:pt x="418" y="42"/>
                </a:cubicBezTo>
                <a:cubicBezTo>
                  <a:pt x="421" y="39"/>
                  <a:pt x="425" y="39"/>
                  <a:pt x="428" y="42"/>
                </a:cubicBezTo>
                <a:cubicBezTo>
                  <a:pt x="431" y="45"/>
                  <a:pt x="431" y="49"/>
                  <a:pt x="428" y="52"/>
                </a:cubicBezTo>
                <a:cubicBezTo>
                  <a:pt x="398" y="82"/>
                  <a:pt x="398" y="82"/>
                  <a:pt x="398" y="82"/>
                </a:cubicBezTo>
                <a:cubicBezTo>
                  <a:pt x="396" y="84"/>
                  <a:pt x="395" y="85"/>
                  <a:pt x="393" y="85"/>
                </a:cubicBezTo>
                <a:cubicBezTo>
                  <a:pt x="391" y="85"/>
                  <a:pt x="389" y="84"/>
                  <a:pt x="388" y="82"/>
                </a:cubicBezTo>
                <a:close/>
                <a:moveTo>
                  <a:pt x="320" y="50"/>
                </a:moveTo>
                <a:cubicBezTo>
                  <a:pt x="320" y="7"/>
                  <a:pt x="320" y="7"/>
                  <a:pt x="320" y="7"/>
                </a:cubicBezTo>
                <a:cubicBezTo>
                  <a:pt x="320" y="4"/>
                  <a:pt x="323" y="0"/>
                  <a:pt x="327" y="0"/>
                </a:cubicBezTo>
                <a:cubicBezTo>
                  <a:pt x="331" y="0"/>
                  <a:pt x="334" y="4"/>
                  <a:pt x="334" y="7"/>
                </a:cubicBezTo>
                <a:cubicBezTo>
                  <a:pt x="334" y="50"/>
                  <a:pt x="334" y="50"/>
                  <a:pt x="334" y="50"/>
                </a:cubicBezTo>
                <a:cubicBezTo>
                  <a:pt x="334" y="54"/>
                  <a:pt x="331" y="57"/>
                  <a:pt x="327" y="57"/>
                </a:cubicBezTo>
                <a:cubicBezTo>
                  <a:pt x="323" y="57"/>
                  <a:pt x="320" y="54"/>
                  <a:pt x="320" y="50"/>
                </a:cubicBezTo>
                <a:close/>
                <a:moveTo>
                  <a:pt x="208" y="325"/>
                </a:moveTo>
                <a:cubicBezTo>
                  <a:pt x="208" y="329"/>
                  <a:pt x="205" y="332"/>
                  <a:pt x="201" y="332"/>
                </a:cubicBezTo>
                <a:cubicBezTo>
                  <a:pt x="141" y="332"/>
                  <a:pt x="141" y="332"/>
                  <a:pt x="141" y="332"/>
                </a:cubicBezTo>
                <a:cubicBezTo>
                  <a:pt x="141" y="393"/>
                  <a:pt x="141" y="393"/>
                  <a:pt x="141" y="393"/>
                </a:cubicBezTo>
                <a:cubicBezTo>
                  <a:pt x="141" y="396"/>
                  <a:pt x="137" y="400"/>
                  <a:pt x="134" y="400"/>
                </a:cubicBezTo>
                <a:cubicBezTo>
                  <a:pt x="130" y="400"/>
                  <a:pt x="127" y="396"/>
                  <a:pt x="127" y="393"/>
                </a:cubicBezTo>
                <a:cubicBezTo>
                  <a:pt x="127" y="332"/>
                  <a:pt x="127" y="332"/>
                  <a:pt x="127" y="332"/>
                </a:cubicBezTo>
                <a:cubicBezTo>
                  <a:pt x="66" y="332"/>
                  <a:pt x="66" y="332"/>
                  <a:pt x="66" y="332"/>
                </a:cubicBezTo>
                <a:cubicBezTo>
                  <a:pt x="62" y="332"/>
                  <a:pt x="59" y="329"/>
                  <a:pt x="59" y="325"/>
                </a:cubicBezTo>
                <a:cubicBezTo>
                  <a:pt x="59" y="321"/>
                  <a:pt x="62" y="318"/>
                  <a:pt x="66" y="318"/>
                </a:cubicBezTo>
                <a:cubicBezTo>
                  <a:pt x="127" y="318"/>
                  <a:pt x="127" y="318"/>
                  <a:pt x="127" y="318"/>
                </a:cubicBezTo>
                <a:cubicBezTo>
                  <a:pt x="127" y="258"/>
                  <a:pt x="127" y="258"/>
                  <a:pt x="127" y="258"/>
                </a:cubicBezTo>
                <a:cubicBezTo>
                  <a:pt x="127" y="254"/>
                  <a:pt x="130" y="251"/>
                  <a:pt x="134" y="251"/>
                </a:cubicBezTo>
                <a:cubicBezTo>
                  <a:pt x="137" y="251"/>
                  <a:pt x="141" y="254"/>
                  <a:pt x="141" y="258"/>
                </a:cubicBezTo>
                <a:cubicBezTo>
                  <a:pt x="141" y="318"/>
                  <a:pt x="141" y="318"/>
                  <a:pt x="141" y="318"/>
                </a:cubicBezTo>
                <a:cubicBezTo>
                  <a:pt x="201" y="318"/>
                  <a:pt x="201" y="318"/>
                  <a:pt x="201" y="318"/>
                </a:cubicBezTo>
                <a:cubicBezTo>
                  <a:pt x="205" y="318"/>
                  <a:pt x="208" y="321"/>
                  <a:pt x="208" y="32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9" name="Oval 19"/>
          <p:cNvSpPr>
            <a:spLocks noChangeArrowheads="1"/>
          </p:cNvSpPr>
          <p:nvPr/>
        </p:nvSpPr>
        <p:spPr bwMode="auto">
          <a:xfrm>
            <a:off x="966871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9" name="Freeform 29"/>
          <p:cNvSpPr>
            <a:spLocks noEditPoints="1"/>
          </p:cNvSpPr>
          <p:nvPr/>
        </p:nvSpPr>
        <p:spPr bwMode="auto">
          <a:xfrm>
            <a:off x="1176626" y="2436033"/>
            <a:ext cx="403451" cy="539678"/>
          </a:xfrm>
          <a:custGeom>
            <a:avLst/>
            <a:gdLst>
              <a:gd name="T0" fmla="*/ 361 w 521"/>
              <a:gd name="T1" fmla="*/ 395 h 697"/>
              <a:gd name="T2" fmla="*/ 434 w 521"/>
              <a:gd name="T3" fmla="*/ 146 h 697"/>
              <a:gd name="T4" fmla="*/ 363 w 521"/>
              <a:gd name="T5" fmla="*/ 18 h 697"/>
              <a:gd name="T6" fmla="*/ 159 w 521"/>
              <a:gd name="T7" fmla="*/ 18 h 697"/>
              <a:gd name="T8" fmla="*/ 87 w 521"/>
              <a:gd name="T9" fmla="*/ 146 h 697"/>
              <a:gd name="T10" fmla="*/ 161 w 521"/>
              <a:gd name="T11" fmla="*/ 395 h 697"/>
              <a:gd name="T12" fmla="*/ 4 w 521"/>
              <a:gd name="T13" fmla="*/ 605 h 697"/>
              <a:gd name="T14" fmla="*/ 113 w 521"/>
              <a:gd name="T15" fmla="*/ 697 h 697"/>
              <a:gd name="T16" fmla="*/ 118 w 521"/>
              <a:gd name="T17" fmla="*/ 695 h 697"/>
              <a:gd name="T18" fmla="*/ 404 w 521"/>
              <a:gd name="T19" fmla="*/ 695 h 697"/>
              <a:gd name="T20" fmla="*/ 409 w 521"/>
              <a:gd name="T21" fmla="*/ 697 h 697"/>
              <a:gd name="T22" fmla="*/ 518 w 521"/>
              <a:gd name="T23" fmla="*/ 605 h 697"/>
              <a:gd name="T24" fmla="*/ 422 w 521"/>
              <a:gd name="T25" fmla="*/ 152 h 697"/>
              <a:gd name="T26" fmla="*/ 352 w 521"/>
              <a:gd name="T27" fmla="*/ 384 h 697"/>
              <a:gd name="T28" fmla="*/ 356 w 521"/>
              <a:gd name="T29" fmla="*/ 171 h 697"/>
              <a:gd name="T30" fmla="*/ 366 w 521"/>
              <a:gd name="T31" fmla="*/ 155 h 697"/>
              <a:gd name="T32" fmla="*/ 409 w 521"/>
              <a:gd name="T33" fmla="*/ 125 h 697"/>
              <a:gd name="T34" fmla="*/ 177 w 521"/>
              <a:gd name="T35" fmla="*/ 163 h 697"/>
              <a:gd name="T36" fmla="*/ 261 w 521"/>
              <a:gd name="T37" fmla="*/ 143 h 697"/>
              <a:gd name="T38" fmla="*/ 345 w 521"/>
              <a:gd name="T39" fmla="*/ 163 h 697"/>
              <a:gd name="T40" fmla="*/ 177 w 521"/>
              <a:gd name="T41" fmla="*/ 163 h 697"/>
              <a:gd name="T42" fmla="*/ 167 w 521"/>
              <a:gd name="T43" fmla="*/ 29 h 697"/>
              <a:gd name="T44" fmla="*/ 261 w 521"/>
              <a:gd name="T45" fmla="*/ 14 h 697"/>
              <a:gd name="T46" fmla="*/ 367 w 521"/>
              <a:gd name="T47" fmla="*/ 63 h 697"/>
              <a:gd name="T48" fmla="*/ 261 w 521"/>
              <a:gd name="T49" fmla="*/ 129 h 697"/>
              <a:gd name="T50" fmla="*/ 155 w 521"/>
              <a:gd name="T51" fmla="*/ 63 h 697"/>
              <a:gd name="T52" fmla="*/ 18 w 521"/>
              <a:gd name="T53" fmla="*/ 599 h 697"/>
              <a:gd name="T54" fmla="*/ 252 w 521"/>
              <a:gd name="T55" fmla="*/ 507 h 697"/>
              <a:gd name="T56" fmla="*/ 410 w 521"/>
              <a:gd name="T57" fmla="*/ 680 h 697"/>
              <a:gd name="T58" fmla="*/ 175 w 521"/>
              <a:gd name="T59" fmla="*/ 391 h 697"/>
              <a:gd name="T60" fmla="*/ 100 w 521"/>
              <a:gd name="T61" fmla="*/ 152 h 697"/>
              <a:gd name="T62" fmla="*/ 140 w 521"/>
              <a:gd name="T63" fmla="*/ 69 h 697"/>
              <a:gd name="T64" fmla="*/ 156 w 521"/>
              <a:gd name="T65" fmla="*/ 157 h 697"/>
              <a:gd name="T66" fmla="*/ 166 w 521"/>
              <a:gd name="T67" fmla="*/ 171 h 697"/>
              <a:gd name="T68" fmla="*/ 346 w 521"/>
              <a:gd name="T69" fmla="*/ 400 h 697"/>
              <a:gd name="T70" fmla="*/ 410 w 521"/>
              <a:gd name="T71" fmla="*/ 680 h 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21" h="697">
                <a:moveTo>
                  <a:pt x="519" y="596"/>
                </a:moveTo>
                <a:cubicBezTo>
                  <a:pt x="519" y="596"/>
                  <a:pt x="442" y="498"/>
                  <a:pt x="361" y="395"/>
                </a:cubicBezTo>
                <a:cubicBezTo>
                  <a:pt x="387" y="362"/>
                  <a:pt x="402" y="344"/>
                  <a:pt x="414" y="329"/>
                </a:cubicBezTo>
                <a:cubicBezTo>
                  <a:pt x="458" y="274"/>
                  <a:pt x="465" y="210"/>
                  <a:pt x="434" y="146"/>
                </a:cubicBezTo>
                <a:cubicBezTo>
                  <a:pt x="430" y="137"/>
                  <a:pt x="426" y="128"/>
                  <a:pt x="422" y="119"/>
                </a:cubicBezTo>
                <a:cubicBezTo>
                  <a:pt x="401" y="74"/>
                  <a:pt x="381" y="31"/>
                  <a:pt x="363" y="18"/>
                </a:cubicBezTo>
                <a:cubicBezTo>
                  <a:pt x="342" y="2"/>
                  <a:pt x="285" y="0"/>
                  <a:pt x="261" y="0"/>
                </a:cubicBezTo>
                <a:cubicBezTo>
                  <a:pt x="237" y="0"/>
                  <a:pt x="180" y="2"/>
                  <a:pt x="159" y="18"/>
                </a:cubicBezTo>
                <a:cubicBezTo>
                  <a:pt x="141" y="31"/>
                  <a:pt x="121" y="74"/>
                  <a:pt x="100" y="119"/>
                </a:cubicBezTo>
                <a:cubicBezTo>
                  <a:pt x="96" y="128"/>
                  <a:pt x="92" y="137"/>
                  <a:pt x="87" y="146"/>
                </a:cubicBezTo>
                <a:cubicBezTo>
                  <a:pt x="57" y="210"/>
                  <a:pt x="64" y="274"/>
                  <a:pt x="108" y="329"/>
                </a:cubicBezTo>
                <a:cubicBezTo>
                  <a:pt x="118" y="342"/>
                  <a:pt x="138" y="366"/>
                  <a:pt x="161" y="395"/>
                </a:cubicBezTo>
                <a:cubicBezTo>
                  <a:pt x="3" y="596"/>
                  <a:pt x="3" y="596"/>
                  <a:pt x="3" y="596"/>
                </a:cubicBezTo>
                <a:cubicBezTo>
                  <a:pt x="0" y="599"/>
                  <a:pt x="1" y="603"/>
                  <a:pt x="4" y="605"/>
                </a:cubicBezTo>
                <a:cubicBezTo>
                  <a:pt x="108" y="696"/>
                  <a:pt x="108" y="696"/>
                  <a:pt x="108" y="696"/>
                </a:cubicBezTo>
                <a:cubicBezTo>
                  <a:pt x="109" y="697"/>
                  <a:pt x="111" y="697"/>
                  <a:pt x="113" y="697"/>
                </a:cubicBezTo>
                <a:cubicBezTo>
                  <a:pt x="113" y="697"/>
                  <a:pt x="113" y="697"/>
                  <a:pt x="113" y="697"/>
                </a:cubicBezTo>
                <a:cubicBezTo>
                  <a:pt x="115" y="697"/>
                  <a:pt x="117" y="696"/>
                  <a:pt x="118" y="695"/>
                </a:cubicBezTo>
                <a:cubicBezTo>
                  <a:pt x="118" y="695"/>
                  <a:pt x="185" y="612"/>
                  <a:pt x="261" y="519"/>
                </a:cubicBezTo>
                <a:cubicBezTo>
                  <a:pt x="333" y="608"/>
                  <a:pt x="402" y="693"/>
                  <a:pt x="404" y="695"/>
                </a:cubicBezTo>
                <a:cubicBezTo>
                  <a:pt x="405" y="696"/>
                  <a:pt x="407" y="697"/>
                  <a:pt x="409" y="697"/>
                </a:cubicBezTo>
                <a:cubicBezTo>
                  <a:pt x="409" y="697"/>
                  <a:pt x="409" y="697"/>
                  <a:pt x="409" y="697"/>
                </a:cubicBezTo>
                <a:cubicBezTo>
                  <a:pt x="411" y="697"/>
                  <a:pt x="412" y="697"/>
                  <a:pt x="414" y="696"/>
                </a:cubicBezTo>
                <a:cubicBezTo>
                  <a:pt x="518" y="605"/>
                  <a:pt x="518" y="605"/>
                  <a:pt x="518" y="605"/>
                </a:cubicBezTo>
                <a:cubicBezTo>
                  <a:pt x="521" y="603"/>
                  <a:pt x="521" y="599"/>
                  <a:pt x="519" y="596"/>
                </a:cubicBezTo>
                <a:close/>
                <a:moveTo>
                  <a:pt x="422" y="152"/>
                </a:moveTo>
                <a:cubicBezTo>
                  <a:pt x="451" y="212"/>
                  <a:pt x="444" y="269"/>
                  <a:pt x="403" y="321"/>
                </a:cubicBezTo>
                <a:cubicBezTo>
                  <a:pt x="391" y="335"/>
                  <a:pt x="377" y="352"/>
                  <a:pt x="352" y="384"/>
                </a:cubicBezTo>
                <a:cubicBezTo>
                  <a:pt x="324" y="348"/>
                  <a:pt x="295" y="313"/>
                  <a:pt x="270" y="280"/>
                </a:cubicBezTo>
                <a:cubicBezTo>
                  <a:pt x="312" y="227"/>
                  <a:pt x="343" y="188"/>
                  <a:pt x="356" y="171"/>
                </a:cubicBezTo>
                <a:cubicBezTo>
                  <a:pt x="359" y="167"/>
                  <a:pt x="363" y="162"/>
                  <a:pt x="366" y="156"/>
                </a:cubicBezTo>
                <a:cubicBezTo>
                  <a:pt x="366" y="156"/>
                  <a:pt x="366" y="155"/>
                  <a:pt x="366" y="155"/>
                </a:cubicBezTo>
                <a:cubicBezTo>
                  <a:pt x="381" y="127"/>
                  <a:pt x="384" y="94"/>
                  <a:pt x="382" y="69"/>
                </a:cubicBezTo>
                <a:cubicBezTo>
                  <a:pt x="391" y="85"/>
                  <a:pt x="400" y="105"/>
                  <a:pt x="409" y="125"/>
                </a:cubicBezTo>
                <a:cubicBezTo>
                  <a:pt x="413" y="134"/>
                  <a:pt x="418" y="143"/>
                  <a:pt x="422" y="152"/>
                </a:cubicBezTo>
                <a:close/>
                <a:moveTo>
                  <a:pt x="177" y="163"/>
                </a:moveTo>
                <a:cubicBezTo>
                  <a:pt x="175" y="160"/>
                  <a:pt x="173" y="158"/>
                  <a:pt x="171" y="155"/>
                </a:cubicBezTo>
                <a:cubicBezTo>
                  <a:pt x="190" y="146"/>
                  <a:pt x="228" y="143"/>
                  <a:pt x="261" y="143"/>
                </a:cubicBezTo>
                <a:cubicBezTo>
                  <a:pt x="293" y="143"/>
                  <a:pt x="332" y="146"/>
                  <a:pt x="350" y="155"/>
                </a:cubicBezTo>
                <a:cubicBezTo>
                  <a:pt x="349" y="158"/>
                  <a:pt x="347" y="160"/>
                  <a:pt x="345" y="163"/>
                </a:cubicBezTo>
                <a:cubicBezTo>
                  <a:pt x="332" y="179"/>
                  <a:pt x="302" y="217"/>
                  <a:pt x="261" y="269"/>
                </a:cubicBezTo>
                <a:cubicBezTo>
                  <a:pt x="221" y="219"/>
                  <a:pt x="189" y="179"/>
                  <a:pt x="177" y="163"/>
                </a:cubicBezTo>
                <a:close/>
                <a:moveTo>
                  <a:pt x="155" y="63"/>
                </a:moveTo>
                <a:cubicBezTo>
                  <a:pt x="157" y="43"/>
                  <a:pt x="163" y="32"/>
                  <a:pt x="167" y="29"/>
                </a:cubicBezTo>
                <a:cubicBezTo>
                  <a:pt x="167" y="29"/>
                  <a:pt x="167" y="29"/>
                  <a:pt x="167" y="29"/>
                </a:cubicBezTo>
                <a:cubicBezTo>
                  <a:pt x="182" y="18"/>
                  <a:pt x="225" y="14"/>
                  <a:pt x="261" y="14"/>
                </a:cubicBezTo>
                <a:cubicBezTo>
                  <a:pt x="297" y="14"/>
                  <a:pt x="340" y="18"/>
                  <a:pt x="354" y="29"/>
                </a:cubicBezTo>
                <a:cubicBezTo>
                  <a:pt x="359" y="32"/>
                  <a:pt x="365" y="43"/>
                  <a:pt x="367" y="63"/>
                </a:cubicBezTo>
                <a:cubicBezTo>
                  <a:pt x="370" y="85"/>
                  <a:pt x="368" y="116"/>
                  <a:pt x="357" y="143"/>
                </a:cubicBezTo>
                <a:cubicBezTo>
                  <a:pt x="332" y="130"/>
                  <a:pt x="282" y="129"/>
                  <a:pt x="261" y="129"/>
                </a:cubicBezTo>
                <a:cubicBezTo>
                  <a:pt x="239" y="129"/>
                  <a:pt x="190" y="130"/>
                  <a:pt x="165" y="142"/>
                </a:cubicBezTo>
                <a:cubicBezTo>
                  <a:pt x="153" y="116"/>
                  <a:pt x="152" y="85"/>
                  <a:pt x="155" y="63"/>
                </a:cubicBezTo>
                <a:close/>
                <a:moveTo>
                  <a:pt x="112" y="680"/>
                </a:moveTo>
                <a:cubicBezTo>
                  <a:pt x="18" y="599"/>
                  <a:pt x="18" y="599"/>
                  <a:pt x="18" y="599"/>
                </a:cubicBezTo>
                <a:cubicBezTo>
                  <a:pt x="170" y="406"/>
                  <a:pt x="170" y="406"/>
                  <a:pt x="170" y="406"/>
                </a:cubicBezTo>
                <a:cubicBezTo>
                  <a:pt x="195" y="437"/>
                  <a:pt x="223" y="472"/>
                  <a:pt x="252" y="507"/>
                </a:cubicBezTo>
                <a:cubicBezTo>
                  <a:pt x="187" y="587"/>
                  <a:pt x="128" y="660"/>
                  <a:pt x="112" y="680"/>
                </a:cubicBezTo>
                <a:close/>
                <a:moveTo>
                  <a:pt x="410" y="680"/>
                </a:moveTo>
                <a:cubicBezTo>
                  <a:pt x="384" y="649"/>
                  <a:pt x="256" y="490"/>
                  <a:pt x="175" y="391"/>
                </a:cubicBezTo>
                <a:cubicBezTo>
                  <a:pt x="175" y="391"/>
                  <a:pt x="175" y="391"/>
                  <a:pt x="175" y="391"/>
                </a:cubicBezTo>
                <a:cubicBezTo>
                  <a:pt x="150" y="360"/>
                  <a:pt x="130" y="334"/>
                  <a:pt x="119" y="321"/>
                </a:cubicBezTo>
                <a:cubicBezTo>
                  <a:pt x="78" y="269"/>
                  <a:pt x="71" y="212"/>
                  <a:pt x="100" y="152"/>
                </a:cubicBezTo>
                <a:cubicBezTo>
                  <a:pt x="104" y="143"/>
                  <a:pt x="108" y="134"/>
                  <a:pt x="113" y="125"/>
                </a:cubicBezTo>
                <a:cubicBezTo>
                  <a:pt x="122" y="105"/>
                  <a:pt x="131" y="85"/>
                  <a:pt x="140" y="69"/>
                </a:cubicBezTo>
                <a:cubicBezTo>
                  <a:pt x="138" y="94"/>
                  <a:pt x="141" y="126"/>
                  <a:pt x="155" y="154"/>
                </a:cubicBezTo>
                <a:cubicBezTo>
                  <a:pt x="155" y="155"/>
                  <a:pt x="155" y="156"/>
                  <a:pt x="156" y="157"/>
                </a:cubicBezTo>
                <a:cubicBezTo>
                  <a:pt x="156" y="157"/>
                  <a:pt x="157" y="157"/>
                  <a:pt x="157" y="157"/>
                </a:cubicBezTo>
                <a:cubicBezTo>
                  <a:pt x="160" y="162"/>
                  <a:pt x="163" y="167"/>
                  <a:pt x="166" y="171"/>
                </a:cubicBezTo>
                <a:cubicBezTo>
                  <a:pt x="188" y="199"/>
                  <a:pt x="269" y="301"/>
                  <a:pt x="346" y="399"/>
                </a:cubicBezTo>
                <a:cubicBezTo>
                  <a:pt x="346" y="400"/>
                  <a:pt x="346" y="400"/>
                  <a:pt x="346" y="400"/>
                </a:cubicBezTo>
                <a:cubicBezTo>
                  <a:pt x="418" y="490"/>
                  <a:pt x="487" y="577"/>
                  <a:pt x="504" y="599"/>
                </a:cubicBezTo>
                <a:lnTo>
                  <a:pt x="410" y="68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1" name="Oval 11"/>
          <p:cNvSpPr>
            <a:spLocks noChangeArrowheads="1"/>
          </p:cNvSpPr>
          <p:nvPr/>
        </p:nvSpPr>
        <p:spPr bwMode="auto">
          <a:xfrm>
            <a:off x="3552358" y="347035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0" name="Freeform 30"/>
          <p:cNvSpPr>
            <a:spLocks noEditPoints="1"/>
          </p:cNvSpPr>
          <p:nvPr/>
        </p:nvSpPr>
        <p:spPr bwMode="auto">
          <a:xfrm>
            <a:off x="3769979" y="3669529"/>
            <a:ext cx="442780" cy="459716"/>
          </a:xfrm>
          <a:custGeom>
            <a:avLst/>
            <a:gdLst>
              <a:gd name="T0" fmla="*/ 462 w 572"/>
              <a:gd name="T1" fmla="*/ 374 h 593"/>
              <a:gd name="T2" fmla="*/ 517 w 572"/>
              <a:gd name="T3" fmla="*/ 374 h 593"/>
              <a:gd name="T4" fmla="*/ 489 w 572"/>
              <a:gd name="T5" fmla="*/ 387 h 593"/>
              <a:gd name="T6" fmla="*/ 489 w 572"/>
              <a:gd name="T7" fmla="*/ 361 h 593"/>
              <a:gd name="T8" fmla="*/ 489 w 572"/>
              <a:gd name="T9" fmla="*/ 387 h 593"/>
              <a:gd name="T10" fmla="*/ 489 w 572"/>
              <a:gd name="T11" fmla="*/ 291 h 593"/>
              <a:gd name="T12" fmla="*/ 481 w 572"/>
              <a:gd name="T13" fmla="*/ 456 h 593"/>
              <a:gd name="T14" fmla="*/ 169 w 572"/>
              <a:gd name="T15" fmla="*/ 424 h 593"/>
              <a:gd name="T16" fmla="*/ 200 w 572"/>
              <a:gd name="T17" fmla="*/ 350 h 593"/>
              <a:gd name="T18" fmla="*/ 316 w 572"/>
              <a:gd name="T19" fmla="*/ 129 h 593"/>
              <a:gd name="T20" fmla="*/ 316 w 572"/>
              <a:gd name="T21" fmla="*/ 44 h 593"/>
              <a:gd name="T22" fmla="*/ 289 w 572"/>
              <a:gd name="T23" fmla="*/ 32 h 593"/>
              <a:gd name="T24" fmla="*/ 227 w 572"/>
              <a:gd name="T25" fmla="*/ 32 h 593"/>
              <a:gd name="T26" fmla="*/ 285 w 572"/>
              <a:gd name="T27" fmla="*/ 47 h 593"/>
              <a:gd name="T28" fmla="*/ 268 w 572"/>
              <a:gd name="T29" fmla="*/ 247 h 593"/>
              <a:gd name="T30" fmla="*/ 159 w 572"/>
              <a:gd name="T31" fmla="*/ 330 h 593"/>
              <a:gd name="T32" fmla="*/ 55 w 572"/>
              <a:gd name="T33" fmla="*/ 247 h 593"/>
              <a:gd name="T34" fmla="*/ 38 w 572"/>
              <a:gd name="T35" fmla="*/ 47 h 593"/>
              <a:gd name="T36" fmla="*/ 97 w 572"/>
              <a:gd name="T37" fmla="*/ 32 h 593"/>
              <a:gd name="T38" fmla="*/ 34 w 572"/>
              <a:gd name="T39" fmla="*/ 32 h 593"/>
              <a:gd name="T40" fmla="*/ 7 w 572"/>
              <a:gd name="T41" fmla="*/ 44 h 593"/>
              <a:gd name="T42" fmla="*/ 7 w 572"/>
              <a:gd name="T43" fmla="*/ 129 h 593"/>
              <a:gd name="T44" fmla="*/ 123 w 572"/>
              <a:gd name="T45" fmla="*/ 350 h 593"/>
              <a:gd name="T46" fmla="*/ 155 w 572"/>
              <a:gd name="T47" fmla="*/ 424 h 593"/>
              <a:gd name="T48" fmla="*/ 495 w 572"/>
              <a:gd name="T49" fmla="*/ 456 h 593"/>
              <a:gd name="T50" fmla="*/ 258 w 572"/>
              <a:gd name="T51" fmla="*/ 49 h 593"/>
              <a:gd name="T52" fmla="*/ 258 w 572"/>
              <a:gd name="T53" fmla="*/ 14 h 593"/>
              <a:gd name="T54" fmla="*/ 258 w 572"/>
              <a:gd name="T55" fmla="*/ 49 h 593"/>
              <a:gd name="T56" fmla="*/ 83 w 572"/>
              <a:gd name="T57" fmla="*/ 32 h 593"/>
              <a:gd name="T58" fmla="*/ 48 w 572"/>
              <a:gd name="T59" fmla="*/ 32 h 593"/>
              <a:gd name="T60" fmla="*/ 145 w 572"/>
              <a:gd name="T61" fmla="*/ 383 h 593"/>
              <a:gd name="T62" fmla="*/ 159 w 572"/>
              <a:gd name="T63" fmla="*/ 344 h 593"/>
              <a:gd name="T64" fmla="*/ 186 w 572"/>
              <a:gd name="T65" fmla="*/ 350 h 593"/>
              <a:gd name="T66" fmla="*/ 145 w 572"/>
              <a:gd name="T67" fmla="*/ 383 h 593"/>
              <a:gd name="T68" fmla="*/ 421 w 572"/>
              <a:gd name="T69" fmla="*/ 374 h 593"/>
              <a:gd name="T70" fmla="*/ 558 w 572"/>
              <a:gd name="T71" fmla="*/ 374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72" h="593">
                <a:moveTo>
                  <a:pt x="489" y="347"/>
                </a:moveTo>
                <a:cubicBezTo>
                  <a:pt x="474" y="347"/>
                  <a:pt x="462" y="359"/>
                  <a:pt x="462" y="374"/>
                </a:cubicBezTo>
                <a:cubicBezTo>
                  <a:pt x="462" y="389"/>
                  <a:pt x="474" y="401"/>
                  <a:pt x="489" y="401"/>
                </a:cubicBezTo>
                <a:cubicBezTo>
                  <a:pt x="504" y="401"/>
                  <a:pt x="517" y="389"/>
                  <a:pt x="517" y="374"/>
                </a:cubicBezTo>
                <a:cubicBezTo>
                  <a:pt x="517" y="359"/>
                  <a:pt x="504" y="347"/>
                  <a:pt x="489" y="347"/>
                </a:cubicBezTo>
                <a:close/>
                <a:moveTo>
                  <a:pt x="489" y="387"/>
                </a:moveTo>
                <a:cubicBezTo>
                  <a:pt x="482" y="387"/>
                  <a:pt x="476" y="381"/>
                  <a:pt x="476" y="374"/>
                </a:cubicBezTo>
                <a:cubicBezTo>
                  <a:pt x="476" y="367"/>
                  <a:pt x="482" y="361"/>
                  <a:pt x="489" y="361"/>
                </a:cubicBezTo>
                <a:cubicBezTo>
                  <a:pt x="497" y="361"/>
                  <a:pt x="503" y="367"/>
                  <a:pt x="503" y="374"/>
                </a:cubicBezTo>
                <a:cubicBezTo>
                  <a:pt x="503" y="381"/>
                  <a:pt x="497" y="387"/>
                  <a:pt x="489" y="387"/>
                </a:cubicBezTo>
                <a:close/>
                <a:moveTo>
                  <a:pt x="572" y="374"/>
                </a:moveTo>
                <a:cubicBezTo>
                  <a:pt x="572" y="328"/>
                  <a:pt x="535" y="291"/>
                  <a:pt x="489" y="291"/>
                </a:cubicBezTo>
                <a:cubicBezTo>
                  <a:pt x="444" y="291"/>
                  <a:pt x="407" y="328"/>
                  <a:pt x="407" y="374"/>
                </a:cubicBezTo>
                <a:cubicBezTo>
                  <a:pt x="407" y="417"/>
                  <a:pt x="439" y="452"/>
                  <a:pt x="481" y="456"/>
                </a:cubicBezTo>
                <a:cubicBezTo>
                  <a:pt x="462" y="528"/>
                  <a:pt x="399" y="579"/>
                  <a:pt x="327" y="579"/>
                </a:cubicBezTo>
                <a:cubicBezTo>
                  <a:pt x="241" y="579"/>
                  <a:pt x="171" y="510"/>
                  <a:pt x="169" y="424"/>
                </a:cubicBezTo>
                <a:cubicBezTo>
                  <a:pt x="172" y="421"/>
                  <a:pt x="177" y="416"/>
                  <a:pt x="183" y="404"/>
                </a:cubicBezTo>
                <a:cubicBezTo>
                  <a:pt x="183" y="404"/>
                  <a:pt x="202" y="368"/>
                  <a:pt x="200" y="350"/>
                </a:cubicBezTo>
                <a:cubicBezTo>
                  <a:pt x="214" y="341"/>
                  <a:pt x="251" y="314"/>
                  <a:pt x="281" y="253"/>
                </a:cubicBezTo>
                <a:cubicBezTo>
                  <a:pt x="301" y="212"/>
                  <a:pt x="312" y="153"/>
                  <a:pt x="316" y="129"/>
                </a:cubicBezTo>
                <a:cubicBezTo>
                  <a:pt x="320" y="109"/>
                  <a:pt x="322" y="89"/>
                  <a:pt x="322" y="75"/>
                </a:cubicBezTo>
                <a:cubicBezTo>
                  <a:pt x="323" y="52"/>
                  <a:pt x="320" y="46"/>
                  <a:pt x="316" y="44"/>
                </a:cubicBezTo>
                <a:cubicBezTo>
                  <a:pt x="309" y="40"/>
                  <a:pt x="298" y="36"/>
                  <a:pt x="289" y="33"/>
                </a:cubicBezTo>
                <a:cubicBezTo>
                  <a:pt x="289" y="33"/>
                  <a:pt x="289" y="32"/>
                  <a:pt x="289" y="32"/>
                </a:cubicBezTo>
                <a:cubicBezTo>
                  <a:pt x="289" y="14"/>
                  <a:pt x="275" y="0"/>
                  <a:pt x="258" y="0"/>
                </a:cubicBezTo>
                <a:cubicBezTo>
                  <a:pt x="240" y="0"/>
                  <a:pt x="227" y="14"/>
                  <a:pt x="227" y="32"/>
                </a:cubicBezTo>
                <a:cubicBezTo>
                  <a:pt x="227" y="49"/>
                  <a:pt x="240" y="63"/>
                  <a:pt x="258" y="63"/>
                </a:cubicBezTo>
                <a:cubicBezTo>
                  <a:pt x="269" y="63"/>
                  <a:pt x="280" y="56"/>
                  <a:pt x="285" y="47"/>
                </a:cubicBezTo>
                <a:cubicBezTo>
                  <a:pt x="295" y="50"/>
                  <a:pt x="303" y="53"/>
                  <a:pt x="308" y="55"/>
                </a:cubicBezTo>
                <a:cubicBezTo>
                  <a:pt x="312" y="71"/>
                  <a:pt x="299" y="185"/>
                  <a:pt x="268" y="247"/>
                </a:cubicBezTo>
                <a:cubicBezTo>
                  <a:pt x="241" y="304"/>
                  <a:pt x="205" y="330"/>
                  <a:pt x="193" y="338"/>
                </a:cubicBezTo>
                <a:cubicBezTo>
                  <a:pt x="184" y="332"/>
                  <a:pt x="170" y="330"/>
                  <a:pt x="159" y="330"/>
                </a:cubicBezTo>
                <a:cubicBezTo>
                  <a:pt x="151" y="330"/>
                  <a:pt x="138" y="332"/>
                  <a:pt x="130" y="338"/>
                </a:cubicBezTo>
                <a:cubicBezTo>
                  <a:pt x="118" y="330"/>
                  <a:pt x="82" y="303"/>
                  <a:pt x="55" y="247"/>
                </a:cubicBezTo>
                <a:cubicBezTo>
                  <a:pt x="24" y="185"/>
                  <a:pt x="11" y="71"/>
                  <a:pt x="15" y="55"/>
                </a:cubicBezTo>
                <a:cubicBezTo>
                  <a:pt x="20" y="53"/>
                  <a:pt x="28" y="50"/>
                  <a:pt x="38" y="47"/>
                </a:cubicBezTo>
                <a:cubicBezTo>
                  <a:pt x="44" y="56"/>
                  <a:pt x="54" y="63"/>
                  <a:pt x="65" y="63"/>
                </a:cubicBezTo>
                <a:cubicBezTo>
                  <a:pt x="83" y="63"/>
                  <a:pt x="97" y="49"/>
                  <a:pt x="97" y="32"/>
                </a:cubicBezTo>
                <a:cubicBezTo>
                  <a:pt x="97" y="14"/>
                  <a:pt x="83" y="0"/>
                  <a:pt x="65" y="0"/>
                </a:cubicBezTo>
                <a:cubicBezTo>
                  <a:pt x="48" y="0"/>
                  <a:pt x="34" y="14"/>
                  <a:pt x="34" y="32"/>
                </a:cubicBezTo>
                <a:cubicBezTo>
                  <a:pt x="34" y="32"/>
                  <a:pt x="34" y="33"/>
                  <a:pt x="34" y="33"/>
                </a:cubicBezTo>
                <a:cubicBezTo>
                  <a:pt x="25" y="36"/>
                  <a:pt x="14" y="40"/>
                  <a:pt x="7" y="44"/>
                </a:cubicBezTo>
                <a:cubicBezTo>
                  <a:pt x="3" y="46"/>
                  <a:pt x="0" y="52"/>
                  <a:pt x="1" y="75"/>
                </a:cubicBezTo>
                <a:cubicBezTo>
                  <a:pt x="1" y="89"/>
                  <a:pt x="3" y="109"/>
                  <a:pt x="7" y="129"/>
                </a:cubicBezTo>
                <a:cubicBezTo>
                  <a:pt x="11" y="153"/>
                  <a:pt x="22" y="212"/>
                  <a:pt x="42" y="253"/>
                </a:cubicBezTo>
                <a:cubicBezTo>
                  <a:pt x="72" y="314"/>
                  <a:pt x="110" y="342"/>
                  <a:pt x="123" y="350"/>
                </a:cubicBezTo>
                <a:cubicBezTo>
                  <a:pt x="122" y="368"/>
                  <a:pt x="137" y="399"/>
                  <a:pt x="143" y="410"/>
                </a:cubicBezTo>
                <a:cubicBezTo>
                  <a:pt x="148" y="417"/>
                  <a:pt x="151" y="422"/>
                  <a:pt x="155" y="424"/>
                </a:cubicBezTo>
                <a:cubicBezTo>
                  <a:pt x="157" y="518"/>
                  <a:pt x="234" y="593"/>
                  <a:pt x="327" y="593"/>
                </a:cubicBezTo>
                <a:cubicBezTo>
                  <a:pt x="407" y="593"/>
                  <a:pt x="476" y="536"/>
                  <a:pt x="495" y="456"/>
                </a:cubicBezTo>
                <a:cubicBezTo>
                  <a:pt x="538" y="453"/>
                  <a:pt x="572" y="418"/>
                  <a:pt x="572" y="374"/>
                </a:cubicBezTo>
                <a:close/>
                <a:moveTo>
                  <a:pt x="258" y="49"/>
                </a:moveTo>
                <a:cubicBezTo>
                  <a:pt x="248" y="49"/>
                  <a:pt x="241" y="41"/>
                  <a:pt x="241" y="32"/>
                </a:cubicBezTo>
                <a:cubicBezTo>
                  <a:pt x="241" y="22"/>
                  <a:pt x="248" y="14"/>
                  <a:pt x="258" y="14"/>
                </a:cubicBezTo>
                <a:cubicBezTo>
                  <a:pt x="267" y="14"/>
                  <a:pt x="275" y="22"/>
                  <a:pt x="275" y="32"/>
                </a:cubicBezTo>
                <a:cubicBezTo>
                  <a:pt x="275" y="41"/>
                  <a:pt x="267" y="49"/>
                  <a:pt x="258" y="49"/>
                </a:cubicBezTo>
                <a:close/>
                <a:moveTo>
                  <a:pt x="65" y="14"/>
                </a:moveTo>
                <a:cubicBezTo>
                  <a:pt x="75" y="14"/>
                  <a:pt x="83" y="22"/>
                  <a:pt x="83" y="32"/>
                </a:cubicBezTo>
                <a:cubicBezTo>
                  <a:pt x="83" y="41"/>
                  <a:pt x="75" y="49"/>
                  <a:pt x="65" y="49"/>
                </a:cubicBezTo>
                <a:cubicBezTo>
                  <a:pt x="56" y="49"/>
                  <a:pt x="48" y="41"/>
                  <a:pt x="48" y="32"/>
                </a:cubicBezTo>
                <a:cubicBezTo>
                  <a:pt x="48" y="22"/>
                  <a:pt x="56" y="14"/>
                  <a:pt x="65" y="14"/>
                </a:cubicBezTo>
                <a:close/>
                <a:moveTo>
                  <a:pt x="145" y="383"/>
                </a:moveTo>
                <a:cubicBezTo>
                  <a:pt x="137" y="363"/>
                  <a:pt x="136" y="352"/>
                  <a:pt x="137" y="350"/>
                </a:cubicBezTo>
                <a:cubicBezTo>
                  <a:pt x="138" y="348"/>
                  <a:pt x="145" y="344"/>
                  <a:pt x="159" y="344"/>
                </a:cubicBezTo>
                <a:cubicBezTo>
                  <a:pt x="173" y="344"/>
                  <a:pt x="184" y="348"/>
                  <a:pt x="186" y="350"/>
                </a:cubicBezTo>
                <a:cubicBezTo>
                  <a:pt x="186" y="350"/>
                  <a:pt x="186" y="350"/>
                  <a:pt x="186" y="350"/>
                </a:cubicBezTo>
                <a:cubicBezTo>
                  <a:pt x="188" y="359"/>
                  <a:pt x="171" y="403"/>
                  <a:pt x="162" y="412"/>
                </a:cubicBezTo>
                <a:cubicBezTo>
                  <a:pt x="158" y="408"/>
                  <a:pt x="152" y="399"/>
                  <a:pt x="145" y="383"/>
                </a:cubicBezTo>
                <a:close/>
                <a:moveTo>
                  <a:pt x="489" y="443"/>
                </a:moveTo>
                <a:cubicBezTo>
                  <a:pt x="451" y="443"/>
                  <a:pt x="421" y="412"/>
                  <a:pt x="421" y="374"/>
                </a:cubicBezTo>
                <a:cubicBezTo>
                  <a:pt x="421" y="336"/>
                  <a:pt x="451" y="305"/>
                  <a:pt x="489" y="305"/>
                </a:cubicBezTo>
                <a:cubicBezTo>
                  <a:pt x="527" y="305"/>
                  <a:pt x="558" y="336"/>
                  <a:pt x="558" y="374"/>
                </a:cubicBezTo>
                <a:cubicBezTo>
                  <a:pt x="558" y="412"/>
                  <a:pt x="527" y="443"/>
                  <a:pt x="489" y="44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2" name="Oval 12"/>
          <p:cNvSpPr>
            <a:spLocks noChangeArrowheads="1"/>
          </p:cNvSpPr>
          <p:nvPr/>
        </p:nvSpPr>
        <p:spPr bwMode="auto">
          <a:xfrm>
            <a:off x="4845101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1" name="Freeform 31"/>
          <p:cNvSpPr>
            <a:spLocks noEditPoints="1"/>
          </p:cNvSpPr>
          <p:nvPr/>
        </p:nvSpPr>
        <p:spPr bwMode="auto">
          <a:xfrm>
            <a:off x="4969971" y="2491272"/>
            <a:ext cx="572893" cy="429199"/>
          </a:xfrm>
          <a:custGeom>
            <a:avLst/>
            <a:gdLst>
              <a:gd name="T0" fmla="*/ 466 w 740"/>
              <a:gd name="T1" fmla="*/ 69 h 554"/>
              <a:gd name="T2" fmla="*/ 446 w 740"/>
              <a:gd name="T3" fmla="*/ 0 h 554"/>
              <a:gd name="T4" fmla="*/ 275 w 740"/>
              <a:gd name="T5" fmla="*/ 20 h 554"/>
              <a:gd name="T6" fmla="*/ 60 w 740"/>
              <a:gd name="T7" fmla="*/ 69 h 554"/>
              <a:gd name="T8" fmla="*/ 0 w 740"/>
              <a:gd name="T9" fmla="*/ 494 h 554"/>
              <a:gd name="T10" fmla="*/ 680 w 740"/>
              <a:gd name="T11" fmla="*/ 554 h 554"/>
              <a:gd name="T12" fmla="*/ 740 w 740"/>
              <a:gd name="T13" fmla="*/ 129 h 554"/>
              <a:gd name="T14" fmla="*/ 289 w 740"/>
              <a:gd name="T15" fmla="*/ 20 h 554"/>
              <a:gd name="T16" fmla="*/ 446 w 740"/>
              <a:gd name="T17" fmla="*/ 14 h 554"/>
              <a:gd name="T18" fmla="*/ 452 w 740"/>
              <a:gd name="T19" fmla="*/ 69 h 554"/>
              <a:gd name="T20" fmla="*/ 289 w 740"/>
              <a:gd name="T21" fmla="*/ 20 h 554"/>
              <a:gd name="T22" fmla="*/ 680 w 740"/>
              <a:gd name="T23" fmla="*/ 83 h 554"/>
              <a:gd name="T24" fmla="*/ 726 w 740"/>
              <a:gd name="T25" fmla="*/ 183 h 554"/>
              <a:gd name="T26" fmla="*/ 606 w 740"/>
              <a:gd name="T27" fmla="*/ 158 h 554"/>
              <a:gd name="T28" fmla="*/ 519 w 740"/>
              <a:gd name="T29" fmla="*/ 183 h 554"/>
              <a:gd name="T30" fmla="*/ 190 w 740"/>
              <a:gd name="T31" fmla="*/ 158 h 554"/>
              <a:gd name="T32" fmla="*/ 103 w 740"/>
              <a:gd name="T33" fmla="*/ 183 h 554"/>
              <a:gd name="T34" fmla="*/ 14 w 740"/>
              <a:gd name="T35" fmla="*/ 129 h 554"/>
              <a:gd name="T36" fmla="*/ 624 w 740"/>
              <a:gd name="T37" fmla="*/ 190 h 554"/>
              <a:gd name="T38" fmla="*/ 551 w 740"/>
              <a:gd name="T39" fmla="*/ 208 h 554"/>
              <a:gd name="T40" fmla="*/ 551 w 740"/>
              <a:gd name="T41" fmla="*/ 172 h 554"/>
              <a:gd name="T42" fmla="*/ 624 w 740"/>
              <a:gd name="T43" fmla="*/ 190 h 554"/>
              <a:gd name="T44" fmla="*/ 190 w 740"/>
              <a:gd name="T45" fmla="*/ 208 h 554"/>
              <a:gd name="T46" fmla="*/ 116 w 740"/>
              <a:gd name="T47" fmla="*/ 190 h 554"/>
              <a:gd name="T48" fmla="*/ 190 w 740"/>
              <a:gd name="T49" fmla="*/ 172 h 554"/>
              <a:gd name="T50" fmla="*/ 680 w 740"/>
              <a:gd name="T51" fmla="*/ 540 h 554"/>
              <a:gd name="T52" fmla="*/ 14 w 740"/>
              <a:gd name="T53" fmla="*/ 494 h 554"/>
              <a:gd name="T54" fmla="*/ 103 w 740"/>
              <a:gd name="T55" fmla="*/ 197 h 554"/>
              <a:gd name="T56" fmla="*/ 190 w 740"/>
              <a:gd name="T57" fmla="*/ 222 h 554"/>
              <a:gd name="T58" fmla="*/ 519 w 740"/>
              <a:gd name="T59" fmla="*/ 197 h 554"/>
              <a:gd name="T60" fmla="*/ 606 w 740"/>
              <a:gd name="T61" fmla="*/ 222 h 554"/>
              <a:gd name="T62" fmla="*/ 726 w 740"/>
              <a:gd name="T63" fmla="*/ 197 h 554"/>
              <a:gd name="T64" fmla="*/ 680 w 740"/>
              <a:gd name="T65" fmla="*/ 540 h 554"/>
              <a:gd name="T66" fmla="*/ 460 w 740"/>
              <a:gd name="T67" fmla="*/ 380 h 554"/>
              <a:gd name="T68" fmla="*/ 377 w 740"/>
              <a:gd name="T69" fmla="*/ 463 h 554"/>
              <a:gd name="T70" fmla="*/ 363 w 740"/>
              <a:gd name="T71" fmla="*/ 463 h 554"/>
              <a:gd name="T72" fmla="*/ 280 w 740"/>
              <a:gd name="T73" fmla="*/ 380 h 554"/>
              <a:gd name="T74" fmla="*/ 280 w 740"/>
              <a:gd name="T75" fmla="*/ 366 h 554"/>
              <a:gd name="T76" fmla="*/ 363 w 740"/>
              <a:gd name="T77" fmla="*/ 284 h 554"/>
              <a:gd name="T78" fmla="*/ 377 w 740"/>
              <a:gd name="T79" fmla="*/ 284 h 554"/>
              <a:gd name="T80" fmla="*/ 460 w 740"/>
              <a:gd name="T81" fmla="*/ 366 h 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740" h="554">
                <a:moveTo>
                  <a:pt x="680" y="69"/>
                </a:moveTo>
                <a:cubicBezTo>
                  <a:pt x="466" y="69"/>
                  <a:pt x="466" y="69"/>
                  <a:pt x="466" y="69"/>
                </a:cubicBezTo>
                <a:cubicBezTo>
                  <a:pt x="466" y="20"/>
                  <a:pt x="466" y="20"/>
                  <a:pt x="466" y="20"/>
                </a:cubicBezTo>
                <a:cubicBezTo>
                  <a:pt x="466" y="9"/>
                  <a:pt x="457" y="0"/>
                  <a:pt x="446" y="0"/>
                </a:cubicBezTo>
                <a:cubicBezTo>
                  <a:pt x="295" y="0"/>
                  <a:pt x="295" y="0"/>
                  <a:pt x="295" y="0"/>
                </a:cubicBezTo>
                <a:cubicBezTo>
                  <a:pt x="284" y="0"/>
                  <a:pt x="275" y="9"/>
                  <a:pt x="275" y="20"/>
                </a:cubicBezTo>
                <a:cubicBezTo>
                  <a:pt x="275" y="69"/>
                  <a:pt x="275" y="69"/>
                  <a:pt x="275" y="69"/>
                </a:cubicBezTo>
                <a:cubicBezTo>
                  <a:pt x="60" y="69"/>
                  <a:pt x="60" y="69"/>
                  <a:pt x="60" y="69"/>
                </a:cubicBezTo>
                <a:cubicBezTo>
                  <a:pt x="27" y="69"/>
                  <a:pt x="0" y="96"/>
                  <a:pt x="0" y="129"/>
                </a:cubicBezTo>
                <a:cubicBezTo>
                  <a:pt x="0" y="494"/>
                  <a:pt x="0" y="494"/>
                  <a:pt x="0" y="494"/>
                </a:cubicBezTo>
                <a:cubicBezTo>
                  <a:pt x="0" y="527"/>
                  <a:pt x="27" y="554"/>
                  <a:pt x="60" y="554"/>
                </a:cubicBezTo>
                <a:cubicBezTo>
                  <a:pt x="680" y="554"/>
                  <a:pt x="680" y="554"/>
                  <a:pt x="680" y="554"/>
                </a:cubicBezTo>
                <a:cubicBezTo>
                  <a:pt x="714" y="554"/>
                  <a:pt x="740" y="527"/>
                  <a:pt x="740" y="494"/>
                </a:cubicBezTo>
                <a:cubicBezTo>
                  <a:pt x="740" y="129"/>
                  <a:pt x="740" y="129"/>
                  <a:pt x="740" y="129"/>
                </a:cubicBezTo>
                <a:cubicBezTo>
                  <a:pt x="740" y="96"/>
                  <a:pt x="714" y="69"/>
                  <a:pt x="680" y="69"/>
                </a:cubicBezTo>
                <a:close/>
                <a:moveTo>
                  <a:pt x="289" y="20"/>
                </a:moveTo>
                <a:cubicBezTo>
                  <a:pt x="289" y="16"/>
                  <a:pt x="291" y="14"/>
                  <a:pt x="295" y="14"/>
                </a:cubicBezTo>
                <a:cubicBezTo>
                  <a:pt x="446" y="14"/>
                  <a:pt x="446" y="14"/>
                  <a:pt x="446" y="14"/>
                </a:cubicBezTo>
                <a:cubicBezTo>
                  <a:pt x="449" y="14"/>
                  <a:pt x="452" y="16"/>
                  <a:pt x="452" y="20"/>
                </a:cubicBezTo>
                <a:cubicBezTo>
                  <a:pt x="452" y="69"/>
                  <a:pt x="452" y="69"/>
                  <a:pt x="452" y="69"/>
                </a:cubicBezTo>
                <a:cubicBezTo>
                  <a:pt x="289" y="69"/>
                  <a:pt x="289" y="69"/>
                  <a:pt x="289" y="69"/>
                </a:cubicBezTo>
                <a:lnTo>
                  <a:pt x="289" y="20"/>
                </a:lnTo>
                <a:close/>
                <a:moveTo>
                  <a:pt x="60" y="83"/>
                </a:moveTo>
                <a:cubicBezTo>
                  <a:pt x="680" y="83"/>
                  <a:pt x="680" y="83"/>
                  <a:pt x="680" y="83"/>
                </a:cubicBezTo>
                <a:cubicBezTo>
                  <a:pt x="706" y="83"/>
                  <a:pt x="726" y="104"/>
                  <a:pt x="726" y="129"/>
                </a:cubicBezTo>
                <a:cubicBezTo>
                  <a:pt x="726" y="183"/>
                  <a:pt x="726" y="183"/>
                  <a:pt x="726" y="183"/>
                </a:cubicBezTo>
                <a:cubicBezTo>
                  <a:pt x="637" y="183"/>
                  <a:pt x="637" y="183"/>
                  <a:pt x="637" y="183"/>
                </a:cubicBezTo>
                <a:cubicBezTo>
                  <a:pt x="634" y="168"/>
                  <a:pt x="622" y="158"/>
                  <a:pt x="606" y="158"/>
                </a:cubicBezTo>
                <a:cubicBezTo>
                  <a:pt x="551" y="158"/>
                  <a:pt x="551" y="158"/>
                  <a:pt x="551" y="158"/>
                </a:cubicBezTo>
                <a:cubicBezTo>
                  <a:pt x="535" y="158"/>
                  <a:pt x="523" y="168"/>
                  <a:pt x="519" y="183"/>
                </a:cubicBezTo>
                <a:cubicBezTo>
                  <a:pt x="221" y="183"/>
                  <a:pt x="221" y="183"/>
                  <a:pt x="221" y="183"/>
                </a:cubicBezTo>
                <a:cubicBezTo>
                  <a:pt x="218" y="168"/>
                  <a:pt x="205" y="158"/>
                  <a:pt x="190" y="158"/>
                </a:cubicBezTo>
                <a:cubicBezTo>
                  <a:pt x="134" y="158"/>
                  <a:pt x="134" y="158"/>
                  <a:pt x="134" y="158"/>
                </a:cubicBezTo>
                <a:cubicBezTo>
                  <a:pt x="119" y="158"/>
                  <a:pt x="106" y="168"/>
                  <a:pt x="103" y="183"/>
                </a:cubicBezTo>
                <a:cubicBezTo>
                  <a:pt x="14" y="183"/>
                  <a:pt x="14" y="183"/>
                  <a:pt x="14" y="183"/>
                </a:cubicBezTo>
                <a:cubicBezTo>
                  <a:pt x="14" y="129"/>
                  <a:pt x="14" y="129"/>
                  <a:pt x="14" y="129"/>
                </a:cubicBezTo>
                <a:cubicBezTo>
                  <a:pt x="14" y="104"/>
                  <a:pt x="34" y="83"/>
                  <a:pt x="60" y="83"/>
                </a:cubicBezTo>
                <a:close/>
                <a:moveTo>
                  <a:pt x="624" y="190"/>
                </a:moveTo>
                <a:cubicBezTo>
                  <a:pt x="624" y="200"/>
                  <a:pt x="616" y="208"/>
                  <a:pt x="606" y="208"/>
                </a:cubicBezTo>
                <a:cubicBezTo>
                  <a:pt x="551" y="208"/>
                  <a:pt x="551" y="208"/>
                  <a:pt x="551" y="208"/>
                </a:cubicBezTo>
                <a:cubicBezTo>
                  <a:pt x="541" y="208"/>
                  <a:pt x="533" y="200"/>
                  <a:pt x="533" y="190"/>
                </a:cubicBezTo>
                <a:cubicBezTo>
                  <a:pt x="533" y="180"/>
                  <a:pt x="541" y="172"/>
                  <a:pt x="551" y="172"/>
                </a:cubicBezTo>
                <a:cubicBezTo>
                  <a:pt x="606" y="172"/>
                  <a:pt x="606" y="172"/>
                  <a:pt x="606" y="172"/>
                </a:cubicBezTo>
                <a:cubicBezTo>
                  <a:pt x="616" y="172"/>
                  <a:pt x="624" y="180"/>
                  <a:pt x="624" y="190"/>
                </a:cubicBezTo>
                <a:close/>
                <a:moveTo>
                  <a:pt x="208" y="190"/>
                </a:moveTo>
                <a:cubicBezTo>
                  <a:pt x="208" y="200"/>
                  <a:pt x="200" y="208"/>
                  <a:pt x="190" y="208"/>
                </a:cubicBezTo>
                <a:cubicBezTo>
                  <a:pt x="134" y="208"/>
                  <a:pt x="134" y="208"/>
                  <a:pt x="134" y="208"/>
                </a:cubicBezTo>
                <a:cubicBezTo>
                  <a:pt x="124" y="208"/>
                  <a:pt x="116" y="200"/>
                  <a:pt x="116" y="190"/>
                </a:cubicBezTo>
                <a:cubicBezTo>
                  <a:pt x="116" y="180"/>
                  <a:pt x="124" y="172"/>
                  <a:pt x="134" y="172"/>
                </a:cubicBezTo>
                <a:cubicBezTo>
                  <a:pt x="190" y="172"/>
                  <a:pt x="190" y="172"/>
                  <a:pt x="190" y="172"/>
                </a:cubicBezTo>
                <a:cubicBezTo>
                  <a:pt x="200" y="172"/>
                  <a:pt x="208" y="180"/>
                  <a:pt x="208" y="190"/>
                </a:cubicBezTo>
                <a:close/>
                <a:moveTo>
                  <a:pt x="680" y="540"/>
                </a:moveTo>
                <a:cubicBezTo>
                  <a:pt x="60" y="540"/>
                  <a:pt x="60" y="540"/>
                  <a:pt x="60" y="540"/>
                </a:cubicBezTo>
                <a:cubicBezTo>
                  <a:pt x="34" y="540"/>
                  <a:pt x="14" y="520"/>
                  <a:pt x="14" y="494"/>
                </a:cubicBezTo>
                <a:cubicBezTo>
                  <a:pt x="14" y="197"/>
                  <a:pt x="14" y="197"/>
                  <a:pt x="14" y="197"/>
                </a:cubicBezTo>
                <a:cubicBezTo>
                  <a:pt x="103" y="197"/>
                  <a:pt x="103" y="197"/>
                  <a:pt x="103" y="197"/>
                </a:cubicBezTo>
                <a:cubicBezTo>
                  <a:pt x="106" y="211"/>
                  <a:pt x="119" y="222"/>
                  <a:pt x="134" y="222"/>
                </a:cubicBezTo>
                <a:cubicBezTo>
                  <a:pt x="190" y="222"/>
                  <a:pt x="190" y="222"/>
                  <a:pt x="190" y="222"/>
                </a:cubicBezTo>
                <a:cubicBezTo>
                  <a:pt x="205" y="222"/>
                  <a:pt x="218" y="211"/>
                  <a:pt x="221" y="197"/>
                </a:cubicBezTo>
                <a:cubicBezTo>
                  <a:pt x="519" y="197"/>
                  <a:pt x="519" y="197"/>
                  <a:pt x="519" y="197"/>
                </a:cubicBezTo>
                <a:cubicBezTo>
                  <a:pt x="523" y="211"/>
                  <a:pt x="535" y="222"/>
                  <a:pt x="551" y="222"/>
                </a:cubicBezTo>
                <a:cubicBezTo>
                  <a:pt x="606" y="222"/>
                  <a:pt x="606" y="222"/>
                  <a:pt x="606" y="222"/>
                </a:cubicBezTo>
                <a:cubicBezTo>
                  <a:pt x="622" y="222"/>
                  <a:pt x="634" y="211"/>
                  <a:pt x="637" y="197"/>
                </a:cubicBezTo>
                <a:cubicBezTo>
                  <a:pt x="726" y="197"/>
                  <a:pt x="726" y="197"/>
                  <a:pt x="726" y="197"/>
                </a:cubicBezTo>
                <a:cubicBezTo>
                  <a:pt x="726" y="494"/>
                  <a:pt x="726" y="494"/>
                  <a:pt x="726" y="494"/>
                </a:cubicBezTo>
                <a:cubicBezTo>
                  <a:pt x="726" y="520"/>
                  <a:pt x="706" y="540"/>
                  <a:pt x="680" y="540"/>
                </a:cubicBezTo>
                <a:close/>
                <a:moveTo>
                  <a:pt x="467" y="373"/>
                </a:moveTo>
                <a:cubicBezTo>
                  <a:pt x="467" y="377"/>
                  <a:pt x="464" y="380"/>
                  <a:pt x="460" y="380"/>
                </a:cubicBezTo>
                <a:cubicBezTo>
                  <a:pt x="377" y="380"/>
                  <a:pt x="377" y="380"/>
                  <a:pt x="377" y="380"/>
                </a:cubicBezTo>
                <a:cubicBezTo>
                  <a:pt x="377" y="463"/>
                  <a:pt x="377" y="463"/>
                  <a:pt x="377" y="463"/>
                </a:cubicBezTo>
                <a:cubicBezTo>
                  <a:pt x="377" y="467"/>
                  <a:pt x="374" y="470"/>
                  <a:pt x="370" y="470"/>
                </a:cubicBezTo>
                <a:cubicBezTo>
                  <a:pt x="366" y="470"/>
                  <a:pt x="363" y="467"/>
                  <a:pt x="363" y="463"/>
                </a:cubicBezTo>
                <a:cubicBezTo>
                  <a:pt x="363" y="380"/>
                  <a:pt x="363" y="380"/>
                  <a:pt x="363" y="380"/>
                </a:cubicBezTo>
                <a:cubicBezTo>
                  <a:pt x="280" y="380"/>
                  <a:pt x="280" y="380"/>
                  <a:pt x="280" y="380"/>
                </a:cubicBezTo>
                <a:cubicBezTo>
                  <a:pt x="276" y="380"/>
                  <a:pt x="273" y="377"/>
                  <a:pt x="273" y="373"/>
                </a:cubicBezTo>
                <a:cubicBezTo>
                  <a:pt x="273" y="370"/>
                  <a:pt x="276" y="366"/>
                  <a:pt x="280" y="366"/>
                </a:cubicBezTo>
                <a:cubicBezTo>
                  <a:pt x="363" y="366"/>
                  <a:pt x="363" y="366"/>
                  <a:pt x="363" y="366"/>
                </a:cubicBezTo>
                <a:cubicBezTo>
                  <a:pt x="363" y="284"/>
                  <a:pt x="363" y="284"/>
                  <a:pt x="363" y="284"/>
                </a:cubicBezTo>
                <a:cubicBezTo>
                  <a:pt x="363" y="280"/>
                  <a:pt x="366" y="277"/>
                  <a:pt x="370" y="277"/>
                </a:cubicBezTo>
                <a:cubicBezTo>
                  <a:pt x="374" y="277"/>
                  <a:pt x="377" y="280"/>
                  <a:pt x="377" y="284"/>
                </a:cubicBezTo>
                <a:cubicBezTo>
                  <a:pt x="377" y="366"/>
                  <a:pt x="377" y="366"/>
                  <a:pt x="377" y="366"/>
                </a:cubicBezTo>
                <a:cubicBezTo>
                  <a:pt x="460" y="366"/>
                  <a:pt x="460" y="366"/>
                  <a:pt x="460" y="366"/>
                </a:cubicBezTo>
                <a:cubicBezTo>
                  <a:pt x="464" y="366"/>
                  <a:pt x="467" y="370"/>
                  <a:pt x="467" y="37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" name="Oval 9"/>
          <p:cNvSpPr>
            <a:spLocks noChangeArrowheads="1"/>
          </p:cNvSpPr>
          <p:nvPr/>
        </p:nvSpPr>
        <p:spPr bwMode="auto">
          <a:xfrm>
            <a:off x="6137845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170" name="Freeform 32"/>
          <p:cNvSpPr>
            <a:spLocks noEditPoints="1"/>
          </p:cNvSpPr>
          <p:nvPr/>
        </p:nvSpPr>
        <p:spPr bwMode="auto">
          <a:xfrm>
            <a:off x="6285000" y="2474865"/>
            <a:ext cx="528648" cy="462013"/>
          </a:xfrm>
          <a:custGeom>
            <a:avLst/>
            <a:gdLst>
              <a:gd name="T0" fmla="*/ 679 w 683"/>
              <a:gd name="T1" fmla="*/ 224 h 596"/>
              <a:gd name="T2" fmla="*/ 631 w 683"/>
              <a:gd name="T3" fmla="*/ 193 h 596"/>
              <a:gd name="T4" fmla="*/ 631 w 683"/>
              <a:gd name="T5" fmla="*/ 193 h 596"/>
              <a:gd name="T6" fmla="*/ 345 w 683"/>
              <a:gd name="T7" fmla="*/ 1 h 596"/>
              <a:gd name="T8" fmla="*/ 337 w 683"/>
              <a:gd name="T9" fmla="*/ 1 h 596"/>
              <a:gd name="T10" fmla="*/ 214 w 683"/>
              <a:gd name="T11" fmla="*/ 84 h 596"/>
              <a:gd name="T12" fmla="*/ 214 w 683"/>
              <a:gd name="T13" fmla="*/ 32 h 596"/>
              <a:gd name="T14" fmla="*/ 207 w 683"/>
              <a:gd name="T15" fmla="*/ 25 h 596"/>
              <a:gd name="T16" fmla="*/ 124 w 683"/>
              <a:gd name="T17" fmla="*/ 25 h 596"/>
              <a:gd name="T18" fmla="*/ 124 w 683"/>
              <a:gd name="T19" fmla="*/ 25 h 596"/>
              <a:gd name="T20" fmla="*/ 119 w 683"/>
              <a:gd name="T21" fmla="*/ 27 h 596"/>
              <a:gd name="T22" fmla="*/ 117 w 683"/>
              <a:gd name="T23" fmla="*/ 32 h 596"/>
              <a:gd name="T24" fmla="*/ 117 w 683"/>
              <a:gd name="T25" fmla="*/ 149 h 596"/>
              <a:gd name="T26" fmla="*/ 61 w 683"/>
              <a:gd name="T27" fmla="*/ 186 h 596"/>
              <a:gd name="T28" fmla="*/ 61 w 683"/>
              <a:gd name="T29" fmla="*/ 186 h 596"/>
              <a:gd name="T30" fmla="*/ 4 w 683"/>
              <a:gd name="T31" fmla="*/ 224 h 596"/>
              <a:gd name="T32" fmla="*/ 2 w 683"/>
              <a:gd name="T33" fmla="*/ 234 h 596"/>
              <a:gd name="T34" fmla="*/ 12 w 683"/>
              <a:gd name="T35" fmla="*/ 236 h 596"/>
              <a:gd name="T36" fmla="*/ 57 w 683"/>
              <a:gd name="T37" fmla="*/ 205 h 596"/>
              <a:gd name="T38" fmla="*/ 57 w 683"/>
              <a:gd name="T39" fmla="*/ 589 h 596"/>
              <a:gd name="T40" fmla="*/ 64 w 683"/>
              <a:gd name="T41" fmla="*/ 596 h 596"/>
              <a:gd name="T42" fmla="*/ 628 w 683"/>
              <a:gd name="T43" fmla="*/ 596 h 596"/>
              <a:gd name="T44" fmla="*/ 635 w 683"/>
              <a:gd name="T45" fmla="*/ 589 h 596"/>
              <a:gd name="T46" fmla="*/ 635 w 683"/>
              <a:gd name="T47" fmla="*/ 212 h 596"/>
              <a:gd name="T48" fmla="*/ 671 w 683"/>
              <a:gd name="T49" fmla="*/ 236 h 596"/>
              <a:gd name="T50" fmla="*/ 675 w 683"/>
              <a:gd name="T51" fmla="*/ 237 h 596"/>
              <a:gd name="T52" fmla="*/ 681 w 683"/>
              <a:gd name="T53" fmla="*/ 234 h 596"/>
              <a:gd name="T54" fmla="*/ 679 w 683"/>
              <a:gd name="T55" fmla="*/ 224 h 596"/>
              <a:gd name="T56" fmla="*/ 131 w 683"/>
              <a:gd name="T57" fmla="*/ 39 h 596"/>
              <a:gd name="T58" fmla="*/ 200 w 683"/>
              <a:gd name="T59" fmla="*/ 39 h 596"/>
              <a:gd name="T60" fmla="*/ 200 w 683"/>
              <a:gd name="T61" fmla="*/ 93 h 596"/>
              <a:gd name="T62" fmla="*/ 131 w 683"/>
              <a:gd name="T63" fmla="*/ 139 h 596"/>
              <a:gd name="T64" fmla="*/ 131 w 683"/>
              <a:gd name="T65" fmla="*/ 39 h 596"/>
              <a:gd name="T66" fmla="*/ 621 w 683"/>
              <a:gd name="T67" fmla="*/ 582 h 596"/>
              <a:gd name="T68" fmla="*/ 71 w 683"/>
              <a:gd name="T69" fmla="*/ 582 h 596"/>
              <a:gd name="T70" fmla="*/ 71 w 683"/>
              <a:gd name="T71" fmla="*/ 196 h 596"/>
              <a:gd name="T72" fmla="*/ 128 w 683"/>
              <a:gd name="T73" fmla="*/ 158 h 596"/>
              <a:gd name="T74" fmla="*/ 128 w 683"/>
              <a:gd name="T75" fmla="*/ 158 h 596"/>
              <a:gd name="T76" fmla="*/ 211 w 683"/>
              <a:gd name="T77" fmla="*/ 103 h 596"/>
              <a:gd name="T78" fmla="*/ 211 w 683"/>
              <a:gd name="T79" fmla="*/ 103 h 596"/>
              <a:gd name="T80" fmla="*/ 341 w 683"/>
              <a:gd name="T81" fmla="*/ 16 h 596"/>
              <a:gd name="T82" fmla="*/ 621 w 683"/>
              <a:gd name="T83" fmla="*/ 202 h 596"/>
              <a:gd name="T84" fmla="*/ 621 w 683"/>
              <a:gd name="T85" fmla="*/ 582 h 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83" h="596">
                <a:moveTo>
                  <a:pt x="679" y="224"/>
                </a:moveTo>
                <a:cubicBezTo>
                  <a:pt x="631" y="193"/>
                  <a:pt x="631" y="193"/>
                  <a:pt x="631" y="193"/>
                </a:cubicBezTo>
                <a:cubicBezTo>
                  <a:pt x="631" y="193"/>
                  <a:pt x="631" y="193"/>
                  <a:pt x="631" y="193"/>
                </a:cubicBezTo>
                <a:cubicBezTo>
                  <a:pt x="345" y="1"/>
                  <a:pt x="345" y="1"/>
                  <a:pt x="345" y="1"/>
                </a:cubicBezTo>
                <a:cubicBezTo>
                  <a:pt x="343" y="0"/>
                  <a:pt x="340" y="0"/>
                  <a:pt x="337" y="1"/>
                </a:cubicBezTo>
                <a:cubicBezTo>
                  <a:pt x="214" y="84"/>
                  <a:pt x="214" y="84"/>
                  <a:pt x="214" y="84"/>
                </a:cubicBezTo>
                <a:cubicBezTo>
                  <a:pt x="214" y="32"/>
                  <a:pt x="214" y="32"/>
                  <a:pt x="214" y="32"/>
                </a:cubicBezTo>
                <a:cubicBezTo>
                  <a:pt x="214" y="28"/>
                  <a:pt x="211" y="25"/>
                  <a:pt x="207" y="25"/>
                </a:cubicBezTo>
                <a:cubicBezTo>
                  <a:pt x="124" y="25"/>
                  <a:pt x="124" y="25"/>
                  <a:pt x="124" y="25"/>
                </a:cubicBezTo>
                <a:cubicBezTo>
                  <a:pt x="124" y="25"/>
                  <a:pt x="124" y="25"/>
                  <a:pt x="124" y="25"/>
                </a:cubicBezTo>
                <a:cubicBezTo>
                  <a:pt x="122" y="25"/>
                  <a:pt x="120" y="25"/>
                  <a:pt x="119" y="27"/>
                </a:cubicBezTo>
                <a:cubicBezTo>
                  <a:pt x="118" y="28"/>
                  <a:pt x="117" y="30"/>
                  <a:pt x="117" y="32"/>
                </a:cubicBezTo>
                <a:cubicBezTo>
                  <a:pt x="117" y="149"/>
                  <a:pt x="117" y="149"/>
                  <a:pt x="117" y="149"/>
                </a:cubicBezTo>
                <a:cubicBezTo>
                  <a:pt x="61" y="186"/>
                  <a:pt x="61" y="186"/>
                  <a:pt x="61" y="186"/>
                </a:cubicBezTo>
                <a:cubicBezTo>
                  <a:pt x="61" y="186"/>
                  <a:pt x="61" y="186"/>
                  <a:pt x="61" y="186"/>
                </a:cubicBezTo>
                <a:cubicBezTo>
                  <a:pt x="4" y="224"/>
                  <a:pt x="4" y="224"/>
                  <a:pt x="4" y="224"/>
                </a:cubicBezTo>
                <a:cubicBezTo>
                  <a:pt x="1" y="226"/>
                  <a:pt x="0" y="231"/>
                  <a:pt x="2" y="234"/>
                </a:cubicBezTo>
                <a:cubicBezTo>
                  <a:pt x="4" y="237"/>
                  <a:pt x="8" y="238"/>
                  <a:pt x="12" y="236"/>
                </a:cubicBezTo>
                <a:cubicBezTo>
                  <a:pt x="57" y="205"/>
                  <a:pt x="57" y="205"/>
                  <a:pt x="57" y="205"/>
                </a:cubicBezTo>
                <a:cubicBezTo>
                  <a:pt x="57" y="589"/>
                  <a:pt x="57" y="589"/>
                  <a:pt x="57" y="589"/>
                </a:cubicBezTo>
                <a:cubicBezTo>
                  <a:pt x="57" y="593"/>
                  <a:pt x="61" y="596"/>
                  <a:pt x="64" y="596"/>
                </a:cubicBezTo>
                <a:cubicBezTo>
                  <a:pt x="628" y="596"/>
                  <a:pt x="628" y="596"/>
                  <a:pt x="628" y="596"/>
                </a:cubicBezTo>
                <a:cubicBezTo>
                  <a:pt x="631" y="596"/>
                  <a:pt x="635" y="593"/>
                  <a:pt x="635" y="589"/>
                </a:cubicBezTo>
                <a:cubicBezTo>
                  <a:pt x="635" y="212"/>
                  <a:pt x="635" y="212"/>
                  <a:pt x="635" y="212"/>
                </a:cubicBezTo>
                <a:cubicBezTo>
                  <a:pt x="671" y="236"/>
                  <a:pt x="671" y="236"/>
                  <a:pt x="671" y="236"/>
                </a:cubicBezTo>
                <a:cubicBezTo>
                  <a:pt x="672" y="237"/>
                  <a:pt x="673" y="237"/>
                  <a:pt x="675" y="237"/>
                </a:cubicBezTo>
                <a:cubicBezTo>
                  <a:pt x="677" y="237"/>
                  <a:pt x="679" y="236"/>
                  <a:pt x="681" y="234"/>
                </a:cubicBezTo>
                <a:cubicBezTo>
                  <a:pt x="683" y="231"/>
                  <a:pt x="682" y="226"/>
                  <a:pt x="679" y="224"/>
                </a:cubicBezTo>
                <a:close/>
                <a:moveTo>
                  <a:pt x="131" y="39"/>
                </a:moveTo>
                <a:cubicBezTo>
                  <a:pt x="200" y="39"/>
                  <a:pt x="200" y="39"/>
                  <a:pt x="200" y="39"/>
                </a:cubicBezTo>
                <a:cubicBezTo>
                  <a:pt x="200" y="93"/>
                  <a:pt x="200" y="93"/>
                  <a:pt x="200" y="93"/>
                </a:cubicBezTo>
                <a:cubicBezTo>
                  <a:pt x="131" y="139"/>
                  <a:pt x="131" y="139"/>
                  <a:pt x="131" y="139"/>
                </a:cubicBezTo>
                <a:lnTo>
                  <a:pt x="131" y="39"/>
                </a:lnTo>
                <a:close/>
                <a:moveTo>
                  <a:pt x="621" y="582"/>
                </a:moveTo>
                <a:cubicBezTo>
                  <a:pt x="71" y="582"/>
                  <a:pt x="71" y="582"/>
                  <a:pt x="71" y="582"/>
                </a:cubicBezTo>
                <a:cubicBezTo>
                  <a:pt x="71" y="196"/>
                  <a:pt x="71" y="196"/>
                  <a:pt x="71" y="196"/>
                </a:cubicBezTo>
                <a:cubicBezTo>
                  <a:pt x="128" y="158"/>
                  <a:pt x="128" y="158"/>
                  <a:pt x="128" y="158"/>
                </a:cubicBezTo>
                <a:cubicBezTo>
                  <a:pt x="128" y="158"/>
                  <a:pt x="128" y="158"/>
                  <a:pt x="128" y="158"/>
                </a:cubicBezTo>
                <a:cubicBezTo>
                  <a:pt x="211" y="103"/>
                  <a:pt x="211" y="103"/>
                  <a:pt x="211" y="103"/>
                </a:cubicBezTo>
                <a:cubicBezTo>
                  <a:pt x="211" y="103"/>
                  <a:pt x="211" y="103"/>
                  <a:pt x="211" y="103"/>
                </a:cubicBezTo>
                <a:cubicBezTo>
                  <a:pt x="341" y="16"/>
                  <a:pt x="341" y="16"/>
                  <a:pt x="341" y="16"/>
                </a:cubicBezTo>
                <a:cubicBezTo>
                  <a:pt x="621" y="202"/>
                  <a:pt x="621" y="202"/>
                  <a:pt x="621" y="202"/>
                </a:cubicBezTo>
                <a:lnTo>
                  <a:pt x="621" y="58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3" name="Oval 13"/>
          <p:cNvSpPr>
            <a:spLocks noChangeArrowheads="1"/>
          </p:cNvSpPr>
          <p:nvPr/>
        </p:nvSpPr>
        <p:spPr bwMode="auto">
          <a:xfrm>
            <a:off x="3552358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44" name="Freeform 33"/>
          <p:cNvSpPr>
            <a:spLocks noEditPoints="1"/>
          </p:cNvSpPr>
          <p:nvPr/>
        </p:nvSpPr>
        <p:spPr bwMode="auto">
          <a:xfrm>
            <a:off x="3741363" y="2509647"/>
            <a:ext cx="441997" cy="392449"/>
          </a:xfrm>
          <a:custGeom>
            <a:avLst/>
            <a:gdLst>
              <a:gd name="T0" fmla="*/ 263 w 570"/>
              <a:gd name="T1" fmla="*/ 14 h 506"/>
              <a:gd name="T2" fmla="*/ 289 w 570"/>
              <a:gd name="T3" fmla="*/ 7 h 506"/>
              <a:gd name="T4" fmla="*/ 117 w 570"/>
              <a:gd name="T5" fmla="*/ 0 h 506"/>
              <a:gd name="T6" fmla="*/ 117 w 570"/>
              <a:gd name="T7" fmla="*/ 14 h 506"/>
              <a:gd name="T8" fmla="*/ 135 w 570"/>
              <a:gd name="T9" fmla="*/ 179 h 506"/>
              <a:gd name="T10" fmla="*/ 14 w 570"/>
              <a:gd name="T11" fmla="*/ 467 h 506"/>
              <a:gd name="T12" fmla="*/ 316 w 570"/>
              <a:gd name="T13" fmla="*/ 506 h 506"/>
              <a:gd name="T14" fmla="*/ 384 w 570"/>
              <a:gd name="T15" fmla="*/ 389 h 506"/>
              <a:gd name="T16" fmla="*/ 149 w 570"/>
              <a:gd name="T17" fmla="*/ 185 h 506"/>
              <a:gd name="T18" fmla="*/ 149 w 570"/>
              <a:gd name="T19" fmla="*/ 14 h 506"/>
              <a:gd name="T20" fmla="*/ 249 w 570"/>
              <a:gd name="T21" fmla="*/ 181 h 506"/>
              <a:gd name="T22" fmla="*/ 285 w 570"/>
              <a:gd name="T23" fmla="*/ 246 h 506"/>
              <a:gd name="T24" fmla="*/ 149 w 570"/>
              <a:gd name="T25" fmla="*/ 185 h 506"/>
              <a:gd name="T26" fmla="*/ 316 w 570"/>
              <a:gd name="T27" fmla="*/ 492 h 506"/>
              <a:gd name="T28" fmla="*/ 26 w 570"/>
              <a:gd name="T29" fmla="*/ 460 h 506"/>
              <a:gd name="T30" fmla="*/ 105 w 570"/>
              <a:gd name="T31" fmla="*/ 260 h 506"/>
              <a:gd name="T32" fmla="*/ 372 w 570"/>
              <a:gd name="T33" fmla="*/ 396 h 506"/>
              <a:gd name="T34" fmla="*/ 563 w 570"/>
              <a:gd name="T35" fmla="*/ 0 h 506"/>
              <a:gd name="T36" fmla="*/ 391 w 570"/>
              <a:gd name="T37" fmla="*/ 7 h 506"/>
              <a:gd name="T38" fmla="*/ 417 w 570"/>
              <a:gd name="T39" fmla="*/ 14 h 506"/>
              <a:gd name="T40" fmla="*/ 481 w 570"/>
              <a:gd name="T41" fmla="*/ 425 h 506"/>
              <a:gd name="T42" fmla="*/ 544 w 570"/>
              <a:gd name="T43" fmla="*/ 14 h 506"/>
              <a:gd name="T44" fmla="*/ 570 w 570"/>
              <a:gd name="T45" fmla="*/ 7 h 506"/>
              <a:gd name="T46" fmla="*/ 481 w 570"/>
              <a:gd name="T47" fmla="*/ 411 h 506"/>
              <a:gd name="T48" fmla="*/ 431 w 570"/>
              <a:gd name="T49" fmla="*/ 121 h 506"/>
              <a:gd name="T50" fmla="*/ 530 w 570"/>
              <a:gd name="T51" fmla="*/ 361 h 506"/>
              <a:gd name="T52" fmla="*/ 530 w 570"/>
              <a:gd name="T53" fmla="*/ 107 h 506"/>
              <a:gd name="T54" fmla="*/ 431 w 570"/>
              <a:gd name="T55" fmla="*/ 14 h 506"/>
              <a:gd name="T56" fmla="*/ 530 w 570"/>
              <a:gd name="T57" fmla="*/ 107 h 506"/>
              <a:gd name="T58" fmla="*/ 91 w 570"/>
              <a:gd name="T59" fmla="*/ 413 h 506"/>
              <a:gd name="T60" fmla="*/ 157 w 570"/>
              <a:gd name="T61" fmla="*/ 413 h 506"/>
              <a:gd name="T62" fmla="*/ 124 w 570"/>
              <a:gd name="T63" fmla="*/ 432 h 506"/>
              <a:gd name="T64" fmla="*/ 124 w 570"/>
              <a:gd name="T65" fmla="*/ 395 h 506"/>
              <a:gd name="T66" fmla="*/ 124 w 570"/>
              <a:gd name="T67" fmla="*/ 432 h 506"/>
              <a:gd name="T68" fmla="*/ 232 w 570"/>
              <a:gd name="T69" fmla="*/ 370 h 506"/>
              <a:gd name="T70" fmla="*/ 308 w 570"/>
              <a:gd name="T71" fmla="*/ 370 h 506"/>
              <a:gd name="T72" fmla="*/ 270 w 570"/>
              <a:gd name="T73" fmla="*/ 394 h 506"/>
              <a:gd name="T74" fmla="*/ 270 w 570"/>
              <a:gd name="T75" fmla="*/ 346 h 506"/>
              <a:gd name="T76" fmla="*/ 270 w 570"/>
              <a:gd name="T77" fmla="*/ 394 h 506"/>
              <a:gd name="T78" fmla="*/ 171 w 570"/>
              <a:gd name="T79" fmla="*/ 324 h 506"/>
              <a:gd name="T80" fmla="*/ 227 w 570"/>
              <a:gd name="T81" fmla="*/ 324 h 506"/>
              <a:gd name="T82" fmla="*/ 199 w 570"/>
              <a:gd name="T83" fmla="*/ 338 h 506"/>
              <a:gd name="T84" fmla="*/ 199 w 570"/>
              <a:gd name="T85" fmla="*/ 310 h 506"/>
              <a:gd name="T86" fmla="*/ 199 w 570"/>
              <a:gd name="T87" fmla="*/ 338 h 506"/>
              <a:gd name="T88" fmla="*/ 470 w 570"/>
              <a:gd name="T89" fmla="*/ 159 h 506"/>
              <a:gd name="T90" fmla="*/ 470 w 570"/>
              <a:gd name="T91" fmla="*/ 215 h 506"/>
              <a:gd name="T92" fmla="*/ 456 w 570"/>
              <a:gd name="T93" fmla="*/ 187 h 506"/>
              <a:gd name="T94" fmla="*/ 483 w 570"/>
              <a:gd name="T95" fmla="*/ 187 h 506"/>
              <a:gd name="T96" fmla="*/ 456 w 570"/>
              <a:gd name="T97" fmla="*/ 187 h 506"/>
              <a:gd name="T98" fmla="*/ 470 w 570"/>
              <a:gd name="T99" fmla="*/ 268 h 506"/>
              <a:gd name="T100" fmla="*/ 525 w 570"/>
              <a:gd name="T101" fmla="*/ 268 h 506"/>
              <a:gd name="T102" fmla="*/ 497 w 570"/>
              <a:gd name="T103" fmla="*/ 282 h 506"/>
              <a:gd name="T104" fmla="*/ 497 w 570"/>
              <a:gd name="T105" fmla="*/ 254 h 506"/>
              <a:gd name="T106" fmla="*/ 497 w 570"/>
              <a:gd name="T107" fmla="*/ 282 h 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70" h="506">
                <a:moveTo>
                  <a:pt x="263" y="179"/>
                </a:moveTo>
                <a:cubicBezTo>
                  <a:pt x="263" y="14"/>
                  <a:pt x="263" y="14"/>
                  <a:pt x="263" y="14"/>
                </a:cubicBezTo>
                <a:cubicBezTo>
                  <a:pt x="282" y="14"/>
                  <a:pt x="282" y="14"/>
                  <a:pt x="282" y="14"/>
                </a:cubicBezTo>
                <a:cubicBezTo>
                  <a:pt x="285" y="14"/>
                  <a:pt x="289" y="11"/>
                  <a:pt x="289" y="7"/>
                </a:cubicBezTo>
                <a:cubicBezTo>
                  <a:pt x="289" y="3"/>
                  <a:pt x="285" y="0"/>
                  <a:pt x="282" y="0"/>
                </a:cubicBezTo>
                <a:cubicBezTo>
                  <a:pt x="117" y="0"/>
                  <a:pt x="117" y="0"/>
                  <a:pt x="117" y="0"/>
                </a:cubicBezTo>
                <a:cubicBezTo>
                  <a:pt x="113" y="0"/>
                  <a:pt x="110" y="3"/>
                  <a:pt x="110" y="7"/>
                </a:cubicBezTo>
                <a:cubicBezTo>
                  <a:pt x="110" y="11"/>
                  <a:pt x="113" y="14"/>
                  <a:pt x="117" y="14"/>
                </a:cubicBezTo>
                <a:cubicBezTo>
                  <a:pt x="135" y="14"/>
                  <a:pt x="135" y="14"/>
                  <a:pt x="135" y="14"/>
                </a:cubicBezTo>
                <a:cubicBezTo>
                  <a:pt x="135" y="179"/>
                  <a:pt x="135" y="179"/>
                  <a:pt x="135" y="179"/>
                </a:cubicBezTo>
                <a:cubicBezTo>
                  <a:pt x="14" y="389"/>
                  <a:pt x="14" y="389"/>
                  <a:pt x="14" y="389"/>
                </a:cubicBezTo>
                <a:cubicBezTo>
                  <a:pt x="0" y="414"/>
                  <a:pt x="0" y="443"/>
                  <a:pt x="14" y="467"/>
                </a:cubicBezTo>
                <a:cubicBezTo>
                  <a:pt x="28" y="491"/>
                  <a:pt x="54" y="506"/>
                  <a:pt x="82" y="506"/>
                </a:cubicBezTo>
                <a:cubicBezTo>
                  <a:pt x="316" y="506"/>
                  <a:pt x="316" y="506"/>
                  <a:pt x="316" y="506"/>
                </a:cubicBezTo>
                <a:cubicBezTo>
                  <a:pt x="345" y="506"/>
                  <a:pt x="370" y="491"/>
                  <a:pt x="384" y="467"/>
                </a:cubicBezTo>
                <a:cubicBezTo>
                  <a:pt x="398" y="443"/>
                  <a:pt x="398" y="414"/>
                  <a:pt x="384" y="389"/>
                </a:cubicBezTo>
                <a:lnTo>
                  <a:pt x="263" y="179"/>
                </a:lnTo>
                <a:close/>
                <a:moveTo>
                  <a:pt x="149" y="185"/>
                </a:moveTo>
                <a:cubicBezTo>
                  <a:pt x="149" y="184"/>
                  <a:pt x="149" y="182"/>
                  <a:pt x="149" y="181"/>
                </a:cubicBezTo>
                <a:cubicBezTo>
                  <a:pt x="149" y="14"/>
                  <a:pt x="149" y="14"/>
                  <a:pt x="149" y="14"/>
                </a:cubicBezTo>
                <a:cubicBezTo>
                  <a:pt x="249" y="14"/>
                  <a:pt x="249" y="14"/>
                  <a:pt x="249" y="14"/>
                </a:cubicBezTo>
                <a:cubicBezTo>
                  <a:pt x="249" y="181"/>
                  <a:pt x="249" y="181"/>
                  <a:pt x="249" y="181"/>
                </a:cubicBezTo>
                <a:cubicBezTo>
                  <a:pt x="249" y="182"/>
                  <a:pt x="249" y="184"/>
                  <a:pt x="250" y="185"/>
                </a:cubicBezTo>
                <a:cubicBezTo>
                  <a:pt x="285" y="246"/>
                  <a:pt x="285" y="246"/>
                  <a:pt x="285" y="246"/>
                </a:cubicBezTo>
                <a:cubicBezTo>
                  <a:pt x="113" y="246"/>
                  <a:pt x="113" y="246"/>
                  <a:pt x="113" y="246"/>
                </a:cubicBezTo>
                <a:lnTo>
                  <a:pt x="149" y="185"/>
                </a:lnTo>
                <a:close/>
                <a:moveTo>
                  <a:pt x="372" y="460"/>
                </a:moveTo>
                <a:cubicBezTo>
                  <a:pt x="360" y="480"/>
                  <a:pt x="340" y="492"/>
                  <a:pt x="316" y="492"/>
                </a:cubicBezTo>
                <a:cubicBezTo>
                  <a:pt x="82" y="492"/>
                  <a:pt x="82" y="492"/>
                  <a:pt x="82" y="492"/>
                </a:cubicBezTo>
                <a:cubicBezTo>
                  <a:pt x="59" y="492"/>
                  <a:pt x="38" y="480"/>
                  <a:pt x="26" y="460"/>
                </a:cubicBezTo>
                <a:cubicBezTo>
                  <a:pt x="15" y="440"/>
                  <a:pt x="15" y="416"/>
                  <a:pt x="26" y="396"/>
                </a:cubicBezTo>
                <a:cubicBezTo>
                  <a:pt x="105" y="260"/>
                  <a:pt x="105" y="260"/>
                  <a:pt x="105" y="260"/>
                </a:cubicBezTo>
                <a:cubicBezTo>
                  <a:pt x="293" y="260"/>
                  <a:pt x="293" y="260"/>
                  <a:pt x="293" y="260"/>
                </a:cubicBezTo>
                <a:cubicBezTo>
                  <a:pt x="372" y="396"/>
                  <a:pt x="372" y="396"/>
                  <a:pt x="372" y="396"/>
                </a:cubicBezTo>
                <a:cubicBezTo>
                  <a:pt x="383" y="416"/>
                  <a:pt x="383" y="440"/>
                  <a:pt x="372" y="460"/>
                </a:cubicBezTo>
                <a:close/>
                <a:moveTo>
                  <a:pt x="563" y="0"/>
                </a:moveTo>
                <a:cubicBezTo>
                  <a:pt x="398" y="0"/>
                  <a:pt x="398" y="0"/>
                  <a:pt x="398" y="0"/>
                </a:cubicBezTo>
                <a:cubicBezTo>
                  <a:pt x="394" y="0"/>
                  <a:pt x="391" y="3"/>
                  <a:pt x="391" y="7"/>
                </a:cubicBezTo>
                <a:cubicBezTo>
                  <a:pt x="391" y="11"/>
                  <a:pt x="394" y="14"/>
                  <a:pt x="398" y="14"/>
                </a:cubicBezTo>
                <a:cubicBezTo>
                  <a:pt x="417" y="14"/>
                  <a:pt x="417" y="14"/>
                  <a:pt x="417" y="14"/>
                </a:cubicBezTo>
                <a:cubicBezTo>
                  <a:pt x="417" y="361"/>
                  <a:pt x="417" y="361"/>
                  <a:pt x="417" y="361"/>
                </a:cubicBezTo>
                <a:cubicBezTo>
                  <a:pt x="417" y="396"/>
                  <a:pt x="445" y="425"/>
                  <a:pt x="481" y="425"/>
                </a:cubicBezTo>
                <a:cubicBezTo>
                  <a:pt x="516" y="425"/>
                  <a:pt x="544" y="396"/>
                  <a:pt x="544" y="361"/>
                </a:cubicBezTo>
                <a:cubicBezTo>
                  <a:pt x="544" y="14"/>
                  <a:pt x="544" y="14"/>
                  <a:pt x="544" y="14"/>
                </a:cubicBezTo>
                <a:cubicBezTo>
                  <a:pt x="563" y="14"/>
                  <a:pt x="563" y="14"/>
                  <a:pt x="563" y="14"/>
                </a:cubicBezTo>
                <a:cubicBezTo>
                  <a:pt x="567" y="14"/>
                  <a:pt x="570" y="11"/>
                  <a:pt x="570" y="7"/>
                </a:cubicBezTo>
                <a:cubicBezTo>
                  <a:pt x="570" y="3"/>
                  <a:pt x="567" y="0"/>
                  <a:pt x="563" y="0"/>
                </a:cubicBezTo>
                <a:close/>
                <a:moveTo>
                  <a:pt x="481" y="411"/>
                </a:moveTo>
                <a:cubicBezTo>
                  <a:pt x="453" y="411"/>
                  <a:pt x="431" y="389"/>
                  <a:pt x="431" y="361"/>
                </a:cubicBezTo>
                <a:cubicBezTo>
                  <a:pt x="431" y="121"/>
                  <a:pt x="431" y="121"/>
                  <a:pt x="431" y="121"/>
                </a:cubicBezTo>
                <a:cubicBezTo>
                  <a:pt x="530" y="121"/>
                  <a:pt x="530" y="121"/>
                  <a:pt x="530" y="121"/>
                </a:cubicBezTo>
                <a:cubicBezTo>
                  <a:pt x="530" y="361"/>
                  <a:pt x="530" y="361"/>
                  <a:pt x="530" y="361"/>
                </a:cubicBezTo>
                <a:cubicBezTo>
                  <a:pt x="530" y="389"/>
                  <a:pt x="508" y="411"/>
                  <a:pt x="481" y="411"/>
                </a:cubicBezTo>
                <a:close/>
                <a:moveTo>
                  <a:pt x="530" y="107"/>
                </a:moveTo>
                <a:cubicBezTo>
                  <a:pt x="431" y="107"/>
                  <a:pt x="431" y="107"/>
                  <a:pt x="431" y="107"/>
                </a:cubicBezTo>
                <a:cubicBezTo>
                  <a:pt x="431" y="14"/>
                  <a:pt x="431" y="14"/>
                  <a:pt x="431" y="14"/>
                </a:cubicBezTo>
                <a:cubicBezTo>
                  <a:pt x="530" y="14"/>
                  <a:pt x="530" y="14"/>
                  <a:pt x="530" y="14"/>
                </a:cubicBezTo>
                <a:lnTo>
                  <a:pt x="530" y="107"/>
                </a:lnTo>
                <a:close/>
                <a:moveTo>
                  <a:pt x="124" y="381"/>
                </a:moveTo>
                <a:cubicBezTo>
                  <a:pt x="106" y="381"/>
                  <a:pt x="91" y="395"/>
                  <a:pt x="91" y="413"/>
                </a:cubicBezTo>
                <a:cubicBezTo>
                  <a:pt x="91" y="431"/>
                  <a:pt x="106" y="446"/>
                  <a:pt x="124" y="446"/>
                </a:cubicBezTo>
                <a:cubicBezTo>
                  <a:pt x="142" y="446"/>
                  <a:pt x="157" y="431"/>
                  <a:pt x="157" y="413"/>
                </a:cubicBezTo>
                <a:cubicBezTo>
                  <a:pt x="157" y="395"/>
                  <a:pt x="142" y="381"/>
                  <a:pt x="124" y="381"/>
                </a:cubicBezTo>
                <a:close/>
                <a:moveTo>
                  <a:pt x="124" y="432"/>
                </a:moveTo>
                <a:cubicBezTo>
                  <a:pt x="114" y="432"/>
                  <a:pt x="105" y="423"/>
                  <a:pt x="105" y="413"/>
                </a:cubicBezTo>
                <a:cubicBezTo>
                  <a:pt x="105" y="403"/>
                  <a:pt x="114" y="395"/>
                  <a:pt x="124" y="395"/>
                </a:cubicBezTo>
                <a:cubicBezTo>
                  <a:pt x="134" y="395"/>
                  <a:pt x="143" y="403"/>
                  <a:pt x="143" y="413"/>
                </a:cubicBezTo>
                <a:cubicBezTo>
                  <a:pt x="143" y="423"/>
                  <a:pt x="134" y="432"/>
                  <a:pt x="124" y="432"/>
                </a:cubicBezTo>
                <a:close/>
                <a:moveTo>
                  <a:pt x="270" y="332"/>
                </a:moveTo>
                <a:cubicBezTo>
                  <a:pt x="249" y="332"/>
                  <a:pt x="232" y="349"/>
                  <a:pt x="232" y="370"/>
                </a:cubicBezTo>
                <a:cubicBezTo>
                  <a:pt x="232" y="391"/>
                  <a:pt x="249" y="408"/>
                  <a:pt x="270" y="408"/>
                </a:cubicBezTo>
                <a:cubicBezTo>
                  <a:pt x="291" y="408"/>
                  <a:pt x="308" y="391"/>
                  <a:pt x="308" y="370"/>
                </a:cubicBezTo>
                <a:cubicBezTo>
                  <a:pt x="308" y="349"/>
                  <a:pt x="291" y="332"/>
                  <a:pt x="270" y="332"/>
                </a:cubicBezTo>
                <a:close/>
                <a:moveTo>
                  <a:pt x="270" y="394"/>
                </a:moveTo>
                <a:cubicBezTo>
                  <a:pt x="257" y="394"/>
                  <a:pt x="246" y="383"/>
                  <a:pt x="246" y="370"/>
                </a:cubicBezTo>
                <a:cubicBezTo>
                  <a:pt x="246" y="356"/>
                  <a:pt x="257" y="346"/>
                  <a:pt x="270" y="346"/>
                </a:cubicBezTo>
                <a:cubicBezTo>
                  <a:pt x="283" y="346"/>
                  <a:pt x="294" y="356"/>
                  <a:pt x="294" y="370"/>
                </a:cubicBezTo>
                <a:cubicBezTo>
                  <a:pt x="294" y="383"/>
                  <a:pt x="283" y="394"/>
                  <a:pt x="270" y="394"/>
                </a:cubicBezTo>
                <a:close/>
                <a:moveTo>
                  <a:pt x="199" y="296"/>
                </a:moveTo>
                <a:cubicBezTo>
                  <a:pt x="184" y="296"/>
                  <a:pt x="171" y="309"/>
                  <a:pt x="171" y="324"/>
                </a:cubicBezTo>
                <a:cubicBezTo>
                  <a:pt x="171" y="340"/>
                  <a:pt x="184" y="352"/>
                  <a:pt x="199" y="352"/>
                </a:cubicBezTo>
                <a:cubicBezTo>
                  <a:pt x="214" y="352"/>
                  <a:pt x="227" y="340"/>
                  <a:pt x="227" y="324"/>
                </a:cubicBezTo>
                <a:cubicBezTo>
                  <a:pt x="227" y="309"/>
                  <a:pt x="214" y="296"/>
                  <a:pt x="199" y="296"/>
                </a:cubicBezTo>
                <a:close/>
                <a:moveTo>
                  <a:pt x="199" y="338"/>
                </a:moveTo>
                <a:cubicBezTo>
                  <a:pt x="191" y="338"/>
                  <a:pt x="185" y="332"/>
                  <a:pt x="185" y="324"/>
                </a:cubicBezTo>
                <a:cubicBezTo>
                  <a:pt x="185" y="317"/>
                  <a:pt x="191" y="310"/>
                  <a:pt x="199" y="310"/>
                </a:cubicBezTo>
                <a:cubicBezTo>
                  <a:pt x="207" y="310"/>
                  <a:pt x="213" y="317"/>
                  <a:pt x="213" y="324"/>
                </a:cubicBezTo>
                <a:cubicBezTo>
                  <a:pt x="213" y="332"/>
                  <a:pt x="207" y="338"/>
                  <a:pt x="199" y="338"/>
                </a:cubicBezTo>
                <a:close/>
                <a:moveTo>
                  <a:pt x="497" y="187"/>
                </a:moveTo>
                <a:cubicBezTo>
                  <a:pt x="497" y="172"/>
                  <a:pt x="485" y="159"/>
                  <a:pt x="470" y="159"/>
                </a:cubicBezTo>
                <a:cubicBezTo>
                  <a:pt x="454" y="159"/>
                  <a:pt x="442" y="172"/>
                  <a:pt x="442" y="187"/>
                </a:cubicBezTo>
                <a:cubicBezTo>
                  <a:pt x="442" y="202"/>
                  <a:pt x="454" y="215"/>
                  <a:pt x="470" y="215"/>
                </a:cubicBezTo>
                <a:cubicBezTo>
                  <a:pt x="485" y="215"/>
                  <a:pt x="497" y="202"/>
                  <a:pt x="497" y="187"/>
                </a:cubicBezTo>
                <a:close/>
                <a:moveTo>
                  <a:pt x="456" y="187"/>
                </a:moveTo>
                <a:cubicBezTo>
                  <a:pt x="456" y="179"/>
                  <a:pt x="462" y="173"/>
                  <a:pt x="470" y="173"/>
                </a:cubicBezTo>
                <a:cubicBezTo>
                  <a:pt x="477" y="173"/>
                  <a:pt x="483" y="179"/>
                  <a:pt x="483" y="187"/>
                </a:cubicBezTo>
                <a:cubicBezTo>
                  <a:pt x="483" y="195"/>
                  <a:pt x="477" y="201"/>
                  <a:pt x="470" y="201"/>
                </a:cubicBezTo>
                <a:cubicBezTo>
                  <a:pt x="462" y="201"/>
                  <a:pt x="456" y="195"/>
                  <a:pt x="456" y="187"/>
                </a:cubicBezTo>
                <a:close/>
                <a:moveTo>
                  <a:pt x="497" y="240"/>
                </a:moveTo>
                <a:cubicBezTo>
                  <a:pt x="482" y="240"/>
                  <a:pt x="470" y="252"/>
                  <a:pt x="470" y="268"/>
                </a:cubicBezTo>
                <a:cubicBezTo>
                  <a:pt x="470" y="283"/>
                  <a:pt x="482" y="296"/>
                  <a:pt x="497" y="296"/>
                </a:cubicBezTo>
                <a:cubicBezTo>
                  <a:pt x="513" y="296"/>
                  <a:pt x="525" y="283"/>
                  <a:pt x="525" y="268"/>
                </a:cubicBezTo>
                <a:cubicBezTo>
                  <a:pt x="525" y="252"/>
                  <a:pt x="513" y="240"/>
                  <a:pt x="497" y="240"/>
                </a:cubicBezTo>
                <a:close/>
                <a:moveTo>
                  <a:pt x="497" y="282"/>
                </a:moveTo>
                <a:cubicBezTo>
                  <a:pt x="490" y="282"/>
                  <a:pt x="484" y="275"/>
                  <a:pt x="484" y="268"/>
                </a:cubicBezTo>
                <a:cubicBezTo>
                  <a:pt x="484" y="260"/>
                  <a:pt x="490" y="254"/>
                  <a:pt x="497" y="254"/>
                </a:cubicBezTo>
                <a:cubicBezTo>
                  <a:pt x="505" y="254"/>
                  <a:pt x="511" y="260"/>
                  <a:pt x="511" y="268"/>
                </a:cubicBezTo>
                <a:cubicBezTo>
                  <a:pt x="511" y="275"/>
                  <a:pt x="505" y="282"/>
                  <a:pt x="497" y="28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" name="Oval 7"/>
          <p:cNvSpPr>
            <a:spLocks noChangeArrowheads="1"/>
          </p:cNvSpPr>
          <p:nvPr/>
        </p:nvSpPr>
        <p:spPr bwMode="auto">
          <a:xfrm>
            <a:off x="966871" y="347035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45" name="Freeform 34"/>
          <p:cNvSpPr>
            <a:spLocks noEditPoints="1"/>
          </p:cNvSpPr>
          <p:nvPr/>
        </p:nvSpPr>
        <p:spPr bwMode="auto">
          <a:xfrm>
            <a:off x="1141368" y="3678716"/>
            <a:ext cx="473965" cy="397043"/>
          </a:xfrm>
          <a:custGeom>
            <a:avLst/>
            <a:gdLst>
              <a:gd name="T0" fmla="*/ 565 w 612"/>
              <a:gd name="T1" fmla="*/ 238 h 512"/>
              <a:gd name="T2" fmla="*/ 565 w 612"/>
              <a:gd name="T3" fmla="*/ 237 h 512"/>
              <a:gd name="T4" fmla="*/ 564 w 612"/>
              <a:gd name="T5" fmla="*/ 237 h 512"/>
              <a:gd name="T6" fmla="*/ 468 w 612"/>
              <a:gd name="T7" fmla="*/ 191 h 512"/>
              <a:gd name="T8" fmla="*/ 442 w 612"/>
              <a:gd name="T9" fmla="*/ 49 h 512"/>
              <a:gd name="T10" fmla="*/ 261 w 612"/>
              <a:gd name="T11" fmla="*/ 49 h 512"/>
              <a:gd name="T12" fmla="*/ 154 w 612"/>
              <a:gd name="T13" fmla="*/ 157 h 512"/>
              <a:gd name="T14" fmla="*/ 154 w 612"/>
              <a:gd name="T15" fmla="*/ 157 h 512"/>
              <a:gd name="T16" fmla="*/ 144 w 612"/>
              <a:gd name="T17" fmla="*/ 157 h 512"/>
              <a:gd name="T18" fmla="*/ 40 w 612"/>
              <a:gd name="T19" fmla="*/ 261 h 512"/>
              <a:gd name="T20" fmla="*/ 0 w 612"/>
              <a:gd name="T21" fmla="*/ 356 h 512"/>
              <a:gd name="T22" fmla="*/ 40 w 612"/>
              <a:gd name="T23" fmla="*/ 451 h 512"/>
              <a:gd name="T24" fmla="*/ 135 w 612"/>
              <a:gd name="T25" fmla="*/ 491 h 512"/>
              <a:gd name="T26" fmla="*/ 230 w 612"/>
              <a:gd name="T27" fmla="*/ 451 h 512"/>
              <a:gd name="T28" fmla="*/ 294 w 612"/>
              <a:gd name="T29" fmla="*/ 388 h 512"/>
              <a:gd name="T30" fmla="*/ 337 w 612"/>
              <a:gd name="T31" fmla="*/ 464 h 512"/>
              <a:gd name="T32" fmla="*/ 337 w 612"/>
              <a:gd name="T33" fmla="*/ 465 h 512"/>
              <a:gd name="T34" fmla="*/ 338 w 612"/>
              <a:gd name="T35" fmla="*/ 466 h 512"/>
              <a:gd name="T36" fmla="*/ 451 w 612"/>
              <a:gd name="T37" fmla="*/ 512 h 512"/>
              <a:gd name="T38" fmla="*/ 612 w 612"/>
              <a:gd name="T39" fmla="*/ 351 h 512"/>
              <a:gd name="T40" fmla="*/ 565 w 612"/>
              <a:gd name="T41" fmla="*/ 238 h 512"/>
              <a:gd name="T42" fmla="*/ 342 w 612"/>
              <a:gd name="T43" fmla="*/ 450 h 512"/>
              <a:gd name="T44" fmla="*/ 304 w 612"/>
              <a:gd name="T45" fmla="*/ 351 h 512"/>
              <a:gd name="T46" fmla="*/ 308 w 612"/>
              <a:gd name="T47" fmla="*/ 317 h 512"/>
              <a:gd name="T48" fmla="*/ 308 w 612"/>
              <a:gd name="T49" fmla="*/ 315 h 512"/>
              <a:gd name="T50" fmla="*/ 347 w 612"/>
              <a:gd name="T51" fmla="*/ 247 h 512"/>
              <a:gd name="T52" fmla="*/ 451 w 612"/>
              <a:gd name="T53" fmla="*/ 204 h 512"/>
              <a:gd name="T54" fmla="*/ 457 w 612"/>
              <a:gd name="T55" fmla="*/ 204 h 512"/>
              <a:gd name="T56" fmla="*/ 458 w 612"/>
              <a:gd name="T57" fmla="*/ 204 h 512"/>
              <a:gd name="T58" fmla="*/ 458 w 612"/>
              <a:gd name="T59" fmla="*/ 204 h 512"/>
              <a:gd name="T60" fmla="*/ 550 w 612"/>
              <a:gd name="T61" fmla="*/ 243 h 512"/>
              <a:gd name="T62" fmla="*/ 342 w 612"/>
              <a:gd name="T63" fmla="*/ 450 h 512"/>
              <a:gd name="T64" fmla="*/ 271 w 612"/>
              <a:gd name="T65" fmla="*/ 59 h 512"/>
              <a:gd name="T66" fmla="*/ 432 w 612"/>
              <a:gd name="T67" fmla="*/ 59 h 512"/>
              <a:gd name="T68" fmla="*/ 453 w 612"/>
              <a:gd name="T69" fmla="*/ 190 h 512"/>
              <a:gd name="T70" fmla="*/ 451 w 612"/>
              <a:gd name="T71" fmla="*/ 190 h 512"/>
              <a:gd name="T72" fmla="*/ 337 w 612"/>
              <a:gd name="T73" fmla="*/ 237 h 512"/>
              <a:gd name="T74" fmla="*/ 298 w 612"/>
              <a:gd name="T75" fmla="*/ 301 h 512"/>
              <a:gd name="T76" fmla="*/ 164 w 612"/>
              <a:gd name="T77" fmla="*/ 167 h 512"/>
              <a:gd name="T78" fmla="*/ 271 w 612"/>
              <a:gd name="T79" fmla="*/ 59 h 512"/>
              <a:gd name="T80" fmla="*/ 220 w 612"/>
              <a:gd name="T81" fmla="*/ 442 h 512"/>
              <a:gd name="T82" fmla="*/ 135 w 612"/>
              <a:gd name="T83" fmla="*/ 477 h 512"/>
              <a:gd name="T84" fmla="*/ 50 w 612"/>
              <a:gd name="T85" fmla="*/ 442 h 512"/>
              <a:gd name="T86" fmla="*/ 50 w 612"/>
              <a:gd name="T87" fmla="*/ 271 h 512"/>
              <a:gd name="T88" fmla="*/ 149 w 612"/>
              <a:gd name="T89" fmla="*/ 172 h 512"/>
              <a:gd name="T90" fmla="*/ 294 w 612"/>
              <a:gd name="T91" fmla="*/ 317 h 512"/>
              <a:gd name="T92" fmla="*/ 290 w 612"/>
              <a:gd name="T93" fmla="*/ 351 h 512"/>
              <a:gd name="T94" fmla="*/ 291 w 612"/>
              <a:gd name="T95" fmla="*/ 371 h 512"/>
              <a:gd name="T96" fmla="*/ 220 w 612"/>
              <a:gd name="T97" fmla="*/ 442 h 512"/>
              <a:gd name="T98" fmla="*/ 451 w 612"/>
              <a:gd name="T99" fmla="*/ 498 h 512"/>
              <a:gd name="T100" fmla="*/ 352 w 612"/>
              <a:gd name="T101" fmla="*/ 460 h 512"/>
              <a:gd name="T102" fmla="*/ 560 w 612"/>
              <a:gd name="T103" fmla="*/ 252 h 512"/>
              <a:gd name="T104" fmla="*/ 598 w 612"/>
              <a:gd name="T105" fmla="*/ 351 h 512"/>
              <a:gd name="T106" fmla="*/ 451 w 612"/>
              <a:gd name="T107" fmla="*/ 49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12" h="512">
                <a:moveTo>
                  <a:pt x="565" y="238"/>
                </a:moveTo>
                <a:cubicBezTo>
                  <a:pt x="565" y="238"/>
                  <a:pt x="565" y="238"/>
                  <a:pt x="565" y="237"/>
                </a:cubicBezTo>
                <a:cubicBezTo>
                  <a:pt x="564" y="237"/>
                  <a:pt x="564" y="237"/>
                  <a:pt x="564" y="237"/>
                </a:cubicBezTo>
                <a:cubicBezTo>
                  <a:pt x="539" y="212"/>
                  <a:pt x="505" y="195"/>
                  <a:pt x="468" y="191"/>
                </a:cubicBezTo>
                <a:cubicBezTo>
                  <a:pt x="489" y="144"/>
                  <a:pt x="479" y="87"/>
                  <a:pt x="442" y="49"/>
                </a:cubicBezTo>
                <a:cubicBezTo>
                  <a:pt x="392" y="0"/>
                  <a:pt x="311" y="0"/>
                  <a:pt x="261" y="49"/>
                </a:cubicBezTo>
                <a:cubicBezTo>
                  <a:pt x="154" y="157"/>
                  <a:pt x="154" y="157"/>
                  <a:pt x="154" y="157"/>
                </a:cubicBezTo>
                <a:cubicBezTo>
                  <a:pt x="154" y="157"/>
                  <a:pt x="154" y="157"/>
                  <a:pt x="154" y="157"/>
                </a:cubicBezTo>
                <a:cubicBezTo>
                  <a:pt x="151" y="154"/>
                  <a:pt x="146" y="154"/>
                  <a:pt x="144" y="157"/>
                </a:cubicBezTo>
                <a:cubicBezTo>
                  <a:pt x="40" y="261"/>
                  <a:pt x="40" y="261"/>
                  <a:pt x="40" y="261"/>
                </a:cubicBezTo>
                <a:cubicBezTo>
                  <a:pt x="14" y="286"/>
                  <a:pt x="0" y="320"/>
                  <a:pt x="0" y="356"/>
                </a:cubicBezTo>
                <a:cubicBezTo>
                  <a:pt x="0" y="392"/>
                  <a:pt x="14" y="426"/>
                  <a:pt x="40" y="451"/>
                </a:cubicBezTo>
                <a:cubicBezTo>
                  <a:pt x="65" y="477"/>
                  <a:pt x="99" y="491"/>
                  <a:pt x="135" y="491"/>
                </a:cubicBezTo>
                <a:cubicBezTo>
                  <a:pt x="171" y="491"/>
                  <a:pt x="205" y="477"/>
                  <a:pt x="230" y="451"/>
                </a:cubicBezTo>
                <a:cubicBezTo>
                  <a:pt x="294" y="388"/>
                  <a:pt x="294" y="388"/>
                  <a:pt x="294" y="388"/>
                </a:cubicBezTo>
                <a:cubicBezTo>
                  <a:pt x="301" y="417"/>
                  <a:pt x="316" y="443"/>
                  <a:pt x="337" y="464"/>
                </a:cubicBezTo>
                <a:cubicBezTo>
                  <a:pt x="337" y="464"/>
                  <a:pt x="337" y="465"/>
                  <a:pt x="337" y="465"/>
                </a:cubicBezTo>
                <a:cubicBezTo>
                  <a:pt x="337" y="465"/>
                  <a:pt x="338" y="465"/>
                  <a:pt x="338" y="466"/>
                </a:cubicBezTo>
                <a:cubicBezTo>
                  <a:pt x="367" y="494"/>
                  <a:pt x="407" y="512"/>
                  <a:pt x="451" y="512"/>
                </a:cubicBezTo>
                <a:cubicBezTo>
                  <a:pt x="540" y="512"/>
                  <a:pt x="612" y="440"/>
                  <a:pt x="612" y="351"/>
                </a:cubicBezTo>
                <a:cubicBezTo>
                  <a:pt x="612" y="307"/>
                  <a:pt x="594" y="267"/>
                  <a:pt x="565" y="238"/>
                </a:cubicBezTo>
                <a:close/>
                <a:moveTo>
                  <a:pt x="342" y="450"/>
                </a:moveTo>
                <a:cubicBezTo>
                  <a:pt x="319" y="424"/>
                  <a:pt x="304" y="389"/>
                  <a:pt x="304" y="351"/>
                </a:cubicBezTo>
                <a:cubicBezTo>
                  <a:pt x="304" y="340"/>
                  <a:pt x="305" y="328"/>
                  <a:pt x="308" y="317"/>
                </a:cubicBezTo>
                <a:cubicBezTo>
                  <a:pt x="308" y="316"/>
                  <a:pt x="308" y="316"/>
                  <a:pt x="308" y="315"/>
                </a:cubicBezTo>
                <a:cubicBezTo>
                  <a:pt x="315" y="290"/>
                  <a:pt x="328" y="266"/>
                  <a:pt x="347" y="247"/>
                </a:cubicBezTo>
                <a:cubicBezTo>
                  <a:pt x="375" y="220"/>
                  <a:pt x="412" y="204"/>
                  <a:pt x="451" y="204"/>
                </a:cubicBezTo>
                <a:cubicBezTo>
                  <a:pt x="453" y="204"/>
                  <a:pt x="455" y="204"/>
                  <a:pt x="457" y="204"/>
                </a:cubicBezTo>
                <a:cubicBezTo>
                  <a:pt x="457" y="204"/>
                  <a:pt x="458" y="204"/>
                  <a:pt x="458" y="204"/>
                </a:cubicBezTo>
                <a:cubicBezTo>
                  <a:pt x="458" y="204"/>
                  <a:pt x="458" y="204"/>
                  <a:pt x="458" y="204"/>
                </a:cubicBezTo>
                <a:cubicBezTo>
                  <a:pt x="493" y="206"/>
                  <a:pt x="525" y="220"/>
                  <a:pt x="550" y="243"/>
                </a:cubicBezTo>
                <a:lnTo>
                  <a:pt x="342" y="450"/>
                </a:lnTo>
                <a:close/>
                <a:moveTo>
                  <a:pt x="271" y="59"/>
                </a:moveTo>
                <a:cubicBezTo>
                  <a:pt x="315" y="15"/>
                  <a:pt x="388" y="15"/>
                  <a:pt x="432" y="59"/>
                </a:cubicBezTo>
                <a:cubicBezTo>
                  <a:pt x="466" y="94"/>
                  <a:pt x="475" y="147"/>
                  <a:pt x="453" y="190"/>
                </a:cubicBezTo>
                <a:cubicBezTo>
                  <a:pt x="452" y="190"/>
                  <a:pt x="452" y="190"/>
                  <a:pt x="451" y="190"/>
                </a:cubicBezTo>
                <a:cubicBezTo>
                  <a:pt x="408" y="190"/>
                  <a:pt x="368" y="207"/>
                  <a:pt x="337" y="237"/>
                </a:cubicBezTo>
                <a:cubicBezTo>
                  <a:pt x="319" y="256"/>
                  <a:pt x="306" y="277"/>
                  <a:pt x="298" y="301"/>
                </a:cubicBezTo>
                <a:cubicBezTo>
                  <a:pt x="164" y="167"/>
                  <a:pt x="164" y="167"/>
                  <a:pt x="164" y="167"/>
                </a:cubicBezTo>
                <a:lnTo>
                  <a:pt x="271" y="59"/>
                </a:lnTo>
                <a:close/>
                <a:moveTo>
                  <a:pt x="220" y="442"/>
                </a:moveTo>
                <a:cubicBezTo>
                  <a:pt x="198" y="464"/>
                  <a:pt x="167" y="477"/>
                  <a:pt x="135" y="477"/>
                </a:cubicBezTo>
                <a:cubicBezTo>
                  <a:pt x="103" y="477"/>
                  <a:pt x="72" y="464"/>
                  <a:pt x="50" y="442"/>
                </a:cubicBezTo>
                <a:cubicBezTo>
                  <a:pt x="3" y="394"/>
                  <a:pt x="3" y="318"/>
                  <a:pt x="50" y="271"/>
                </a:cubicBezTo>
                <a:cubicBezTo>
                  <a:pt x="149" y="172"/>
                  <a:pt x="149" y="172"/>
                  <a:pt x="149" y="172"/>
                </a:cubicBezTo>
                <a:cubicBezTo>
                  <a:pt x="294" y="317"/>
                  <a:pt x="294" y="317"/>
                  <a:pt x="294" y="317"/>
                </a:cubicBezTo>
                <a:cubicBezTo>
                  <a:pt x="291" y="328"/>
                  <a:pt x="290" y="339"/>
                  <a:pt x="290" y="351"/>
                </a:cubicBezTo>
                <a:cubicBezTo>
                  <a:pt x="290" y="358"/>
                  <a:pt x="290" y="364"/>
                  <a:pt x="291" y="371"/>
                </a:cubicBezTo>
                <a:lnTo>
                  <a:pt x="220" y="442"/>
                </a:lnTo>
                <a:close/>
                <a:moveTo>
                  <a:pt x="451" y="498"/>
                </a:moveTo>
                <a:cubicBezTo>
                  <a:pt x="413" y="498"/>
                  <a:pt x="378" y="484"/>
                  <a:pt x="352" y="460"/>
                </a:cubicBezTo>
                <a:cubicBezTo>
                  <a:pt x="560" y="252"/>
                  <a:pt x="560" y="252"/>
                  <a:pt x="560" y="252"/>
                </a:cubicBezTo>
                <a:cubicBezTo>
                  <a:pt x="583" y="279"/>
                  <a:pt x="598" y="313"/>
                  <a:pt x="598" y="351"/>
                </a:cubicBezTo>
                <a:cubicBezTo>
                  <a:pt x="598" y="432"/>
                  <a:pt x="532" y="498"/>
                  <a:pt x="451" y="4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" name="Oval 8"/>
          <p:cNvSpPr>
            <a:spLocks noChangeArrowheads="1"/>
          </p:cNvSpPr>
          <p:nvPr/>
        </p:nvSpPr>
        <p:spPr bwMode="auto">
          <a:xfrm>
            <a:off x="7430588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47" name="Freeform 35"/>
          <p:cNvSpPr>
            <a:spLocks noEditPoints="1"/>
          </p:cNvSpPr>
          <p:nvPr/>
        </p:nvSpPr>
        <p:spPr bwMode="auto">
          <a:xfrm>
            <a:off x="7577417" y="2474865"/>
            <a:ext cx="528975" cy="462013"/>
          </a:xfrm>
          <a:custGeom>
            <a:avLst/>
            <a:gdLst>
              <a:gd name="T0" fmla="*/ 631 w 683"/>
              <a:gd name="T1" fmla="*/ 193 h 596"/>
              <a:gd name="T2" fmla="*/ 345 w 683"/>
              <a:gd name="T3" fmla="*/ 1 h 596"/>
              <a:gd name="T4" fmla="*/ 214 w 683"/>
              <a:gd name="T5" fmla="*/ 84 h 596"/>
              <a:gd name="T6" fmla="*/ 207 w 683"/>
              <a:gd name="T7" fmla="*/ 25 h 596"/>
              <a:gd name="T8" fmla="*/ 124 w 683"/>
              <a:gd name="T9" fmla="*/ 25 h 596"/>
              <a:gd name="T10" fmla="*/ 117 w 683"/>
              <a:gd name="T11" fmla="*/ 32 h 596"/>
              <a:gd name="T12" fmla="*/ 4 w 683"/>
              <a:gd name="T13" fmla="*/ 224 h 596"/>
              <a:gd name="T14" fmla="*/ 12 w 683"/>
              <a:gd name="T15" fmla="*/ 236 h 596"/>
              <a:gd name="T16" fmla="*/ 57 w 683"/>
              <a:gd name="T17" fmla="*/ 589 h 596"/>
              <a:gd name="T18" fmla="*/ 628 w 683"/>
              <a:gd name="T19" fmla="*/ 596 h 596"/>
              <a:gd name="T20" fmla="*/ 635 w 683"/>
              <a:gd name="T21" fmla="*/ 212 h 596"/>
              <a:gd name="T22" fmla="*/ 675 w 683"/>
              <a:gd name="T23" fmla="*/ 237 h 596"/>
              <a:gd name="T24" fmla="*/ 679 w 683"/>
              <a:gd name="T25" fmla="*/ 224 h 596"/>
              <a:gd name="T26" fmla="*/ 200 w 683"/>
              <a:gd name="T27" fmla="*/ 39 h 596"/>
              <a:gd name="T28" fmla="*/ 131 w 683"/>
              <a:gd name="T29" fmla="*/ 139 h 596"/>
              <a:gd name="T30" fmla="*/ 621 w 683"/>
              <a:gd name="T31" fmla="*/ 582 h 596"/>
              <a:gd name="T32" fmla="*/ 71 w 683"/>
              <a:gd name="T33" fmla="*/ 196 h 596"/>
              <a:gd name="T34" fmla="*/ 128 w 683"/>
              <a:gd name="T35" fmla="*/ 158 h 596"/>
              <a:gd name="T36" fmla="*/ 211 w 683"/>
              <a:gd name="T37" fmla="*/ 103 h 596"/>
              <a:gd name="T38" fmla="*/ 621 w 683"/>
              <a:gd name="T39" fmla="*/ 202 h 596"/>
              <a:gd name="T40" fmla="*/ 303 w 683"/>
              <a:gd name="T41" fmla="*/ 193 h 596"/>
              <a:gd name="T42" fmla="*/ 238 w 683"/>
              <a:gd name="T43" fmla="*/ 258 h 596"/>
              <a:gd name="T44" fmla="*/ 231 w 683"/>
              <a:gd name="T45" fmla="*/ 265 h 596"/>
              <a:gd name="T46" fmla="*/ 238 w 683"/>
              <a:gd name="T47" fmla="*/ 334 h 596"/>
              <a:gd name="T48" fmla="*/ 303 w 683"/>
              <a:gd name="T49" fmla="*/ 400 h 596"/>
              <a:gd name="T50" fmla="*/ 372 w 683"/>
              <a:gd name="T51" fmla="*/ 407 h 596"/>
              <a:gd name="T52" fmla="*/ 379 w 683"/>
              <a:gd name="T53" fmla="*/ 334 h 596"/>
              <a:gd name="T54" fmla="*/ 450 w 683"/>
              <a:gd name="T55" fmla="*/ 332 h 596"/>
              <a:gd name="T56" fmla="*/ 452 w 683"/>
              <a:gd name="T57" fmla="*/ 265 h 596"/>
              <a:gd name="T58" fmla="*/ 379 w 683"/>
              <a:gd name="T59" fmla="*/ 258 h 596"/>
              <a:gd name="T60" fmla="*/ 372 w 683"/>
              <a:gd name="T61" fmla="*/ 186 h 596"/>
              <a:gd name="T62" fmla="*/ 303 w 683"/>
              <a:gd name="T63" fmla="*/ 193 h 596"/>
              <a:gd name="T64" fmla="*/ 317 w 683"/>
              <a:gd name="T65" fmla="*/ 200 h 596"/>
              <a:gd name="T66" fmla="*/ 365 w 683"/>
              <a:gd name="T67" fmla="*/ 265 h 596"/>
              <a:gd name="T68" fmla="*/ 438 w 683"/>
              <a:gd name="T69" fmla="*/ 272 h 596"/>
              <a:gd name="T70" fmla="*/ 372 w 683"/>
              <a:gd name="T71" fmla="*/ 320 h 596"/>
              <a:gd name="T72" fmla="*/ 365 w 683"/>
              <a:gd name="T73" fmla="*/ 393 h 596"/>
              <a:gd name="T74" fmla="*/ 317 w 683"/>
              <a:gd name="T75" fmla="*/ 327 h 596"/>
              <a:gd name="T76" fmla="*/ 245 w 683"/>
              <a:gd name="T77" fmla="*/ 320 h 596"/>
              <a:gd name="T78" fmla="*/ 310 w 683"/>
              <a:gd name="T79" fmla="*/ 272 h 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683" h="596">
                <a:moveTo>
                  <a:pt x="679" y="224"/>
                </a:moveTo>
                <a:cubicBezTo>
                  <a:pt x="631" y="193"/>
                  <a:pt x="631" y="193"/>
                  <a:pt x="631" y="193"/>
                </a:cubicBezTo>
                <a:cubicBezTo>
                  <a:pt x="631" y="193"/>
                  <a:pt x="631" y="193"/>
                  <a:pt x="631" y="193"/>
                </a:cubicBezTo>
                <a:cubicBezTo>
                  <a:pt x="345" y="1"/>
                  <a:pt x="345" y="1"/>
                  <a:pt x="345" y="1"/>
                </a:cubicBezTo>
                <a:cubicBezTo>
                  <a:pt x="343" y="0"/>
                  <a:pt x="340" y="0"/>
                  <a:pt x="337" y="1"/>
                </a:cubicBezTo>
                <a:cubicBezTo>
                  <a:pt x="214" y="84"/>
                  <a:pt x="214" y="84"/>
                  <a:pt x="214" y="84"/>
                </a:cubicBezTo>
                <a:cubicBezTo>
                  <a:pt x="214" y="32"/>
                  <a:pt x="214" y="32"/>
                  <a:pt x="214" y="32"/>
                </a:cubicBezTo>
                <a:cubicBezTo>
                  <a:pt x="214" y="28"/>
                  <a:pt x="211" y="25"/>
                  <a:pt x="207" y="25"/>
                </a:cubicBezTo>
                <a:cubicBezTo>
                  <a:pt x="124" y="25"/>
                  <a:pt x="124" y="25"/>
                  <a:pt x="124" y="25"/>
                </a:cubicBezTo>
                <a:cubicBezTo>
                  <a:pt x="124" y="25"/>
                  <a:pt x="124" y="25"/>
                  <a:pt x="124" y="25"/>
                </a:cubicBezTo>
                <a:cubicBezTo>
                  <a:pt x="122" y="25"/>
                  <a:pt x="120" y="25"/>
                  <a:pt x="119" y="27"/>
                </a:cubicBezTo>
                <a:cubicBezTo>
                  <a:pt x="118" y="28"/>
                  <a:pt x="117" y="30"/>
                  <a:pt x="117" y="32"/>
                </a:cubicBezTo>
                <a:cubicBezTo>
                  <a:pt x="117" y="149"/>
                  <a:pt x="117" y="149"/>
                  <a:pt x="117" y="149"/>
                </a:cubicBezTo>
                <a:cubicBezTo>
                  <a:pt x="4" y="224"/>
                  <a:pt x="4" y="224"/>
                  <a:pt x="4" y="224"/>
                </a:cubicBezTo>
                <a:cubicBezTo>
                  <a:pt x="1" y="226"/>
                  <a:pt x="0" y="231"/>
                  <a:pt x="2" y="234"/>
                </a:cubicBezTo>
                <a:cubicBezTo>
                  <a:pt x="4" y="237"/>
                  <a:pt x="8" y="238"/>
                  <a:pt x="12" y="236"/>
                </a:cubicBezTo>
                <a:cubicBezTo>
                  <a:pt x="57" y="205"/>
                  <a:pt x="57" y="205"/>
                  <a:pt x="57" y="205"/>
                </a:cubicBezTo>
                <a:cubicBezTo>
                  <a:pt x="57" y="589"/>
                  <a:pt x="57" y="589"/>
                  <a:pt x="57" y="589"/>
                </a:cubicBezTo>
                <a:cubicBezTo>
                  <a:pt x="57" y="593"/>
                  <a:pt x="61" y="596"/>
                  <a:pt x="64" y="596"/>
                </a:cubicBezTo>
                <a:cubicBezTo>
                  <a:pt x="628" y="596"/>
                  <a:pt x="628" y="596"/>
                  <a:pt x="628" y="596"/>
                </a:cubicBezTo>
                <a:cubicBezTo>
                  <a:pt x="631" y="596"/>
                  <a:pt x="635" y="593"/>
                  <a:pt x="635" y="589"/>
                </a:cubicBezTo>
                <a:cubicBezTo>
                  <a:pt x="635" y="212"/>
                  <a:pt x="635" y="212"/>
                  <a:pt x="635" y="212"/>
                </a:cubicBezTo>
                <a:cubicBezTo>
                  <a:pt x="671" y="236"/>
                  <a:pt x="671" y="236"/>
                  <a:pt x="671" y="236"/>
                </a:cubicBezTo>
                <a:cubicBezTo>
                  <a:pt x="672" y="237"/>
                  <a:pt x="673" y="237"/>
                  <a:pt x="675" y="237"/>
                </a:cubicBezTo>
                <a:cubicBezTo>
                  <a:pt x="677" y="237"/>
                  <a:pt x="679" y="236"/>
                  <a:pt x="680" y="234"/>
                </a:cubicBezTo>
                <a:cubicBezTo>
                  <a:pt x="683" y="231"/>
                  <a:pt x="682" y="226"/>
                  <a:pt x="679" y="224"/>
                </a:cubicBezTo>
                <a:close/>
                <a:moveTo>
                  <a:pt x="131" y="39"/>
                </a:moveTo>
                <a:cubicBezTo>
                  <a:pt x="200" y="39"/>
                  <a:pt x="200" y="39"/>
                  <a:pt x="200" y="39"/>
                </a:cubicBezTo>
                <a:cubicBezTo>
                  <a:pt x="200" y="93"/>
                  <a:pt x="200" y="93"/>
                  <a:pt x="200" y="93"/>
                </a:cubicBezTo>
                <a:cubicBezTo>
                  <a:pt x="131" y="139"/>
                  <a:pt x="131" y="139"/>
                  <a:pt x="131" y="139"/>
                </a:cubicBezTo>
                <a:lnTo>
                  <a:pt x="131" y="39"/>
                </a:lnTo>
                <a:close/>
                <a:moveTo>
                  <a:pt x="621" y="582"/>
                </a:moveTo>
                <a:cubicBezTo>
                  <a:pt x="71" y="582"/>
                  <a:pt x="71" y="582"/>
                  <a:pt x="71" y="582"/>
                </a:cubicBezTo>
                <a:cubicBezTo>
                  <a:pt x="71" y="196"/>
                  <a:pt x="71" y="196"/>
                  <a:pt x="71" y="196"/>
                </a:cubicBezTo>
                <a:cubicBezTo>
                  <a:pt x="128" y="158"/>
                  <a:pt x="128" y="158"/>
                  <a:pt x="128" y="158"/>
                </a:cubicBezTo>
                <a:cubicBezTo>
                  <a:pt x="128" y="158"/>
                  <a:pt x="128" y="158"/>
                  <a:pt x="128" y="158"/>
                </a:cubicBezTo>
                <a:cubicBezTo>
                  <a:pt x="211" y="103"/>
                  <a:pt x="211" y="103"/>
                  <a:pt x="211" y="103"/>
                </a:cubicBezTo>
                <a:cubicBezTo>
                  <a:pt x="211" y="103"/>
                  <a:pt x="211" y="103"/>
                  <a:pt x="211" y="103"/>
                </a:cubicBezTo>
                <a:cubicBezTo>
                  <a:pt x="341" y="16"/>
                  <a:pt x="341" y="16"/>
                  <a:pt x="341" y="16"/>
                </a:cubicBezTo>
                <a:cubicBezTo>
                  <a:pt x="621" y="202"/>
                  <a:pt x="621" y="202"/>
                  <a:pt x="621" y="202"/>
                </a:cubicBezTo>
                <a:lnTo>
                  <a:pt x="621" y="582"/>
                </a:lnTo>
                <a:close/>
                <a:moveTo>
                  <a:pt x="303" y="193"/>
                </a:moveTo>
                <a:cubicBezTo>
                  <a:pt x="303" y="258"/>
                  <a:pt x="303" y="258"/>
                  <a:pt x="303" y="258"/>
                </a:cubicBezTo>
                <a:cubicBezTo>
                  <a:pt x="238" y="258"/>
                  <a:pt x="238" y="258"/>
                  <a:pt x="238" y="258"/>
                </a:cubicBezTo>
                <a:cubicBezTo>
                  <a:pt x="236" y="258"/>
                  <a:pt x="234" y="259"/>
                  <a:pt x="233" y="260"/>
                </a:cubicBezTo>
                <a:cubicBezTo>
                  <a:pt x="231" y="262"/>
                  <a:pt x="231" y="263"/>
                  <a:pt x="231" y="265"/>
                </a:cubicBezTo>
                <a:cubicBezTo>
                  <a:pt x="231" y="327"/>
                  <a:pt x="231" y="327"/>
                  <a:pt x="231" y="327"/>
                </a:cubicBezTo>
                <a:cubicBezTo>
                  <a:pt x="231" y="331"/>
                  <a:pt x="234" y="334"/>
                  <a:pt x="238" y="334"/>
                </a:cubicBezTo>
                <a:cubicBezTo>
                  <a:pt x="303" y="334"/>
                  <a:pt x="303" y="334"/>
                  <a:pt x="303" y="334"/>
                </a:cubicBezTo>
                <a:cubicBezTo>
                  <a:pt x="303" y="400"/>
                  <a:pt x="303" y="400"/>
                  <a:pt x="303" y="400"/>
                </a:cubicBezTo>
                <a:cubicBezTo>
                  <a:pt x="303" y="404"/>
                  <a:pt x="306" y="407"/>
                  <a:pt x="310" y="407"/>
                </a:cubicBezTo>
                <a:cubicBezTo>
                  <a:pt x="372" y="407"/>
                  <a:pt x="372" y="407"/>
                  <a:pt x="372" y="407"/>
                </a:cubicBezTo>
                <a:cubicBezTo>
                  <a:pt x="376" y="407"/>
                  <a:pt x="379" y="404"/>
                  <a:pt x="379" y="400"/>
                </a:cubicBezTo>
                <a:cubicBezTo>
                  <a:pt x="379" y="334"/>
                  <a:pt x="379" y="334"/>
                  <a:pt x="379" y="334"/>
                </a:cubicBezTo>
                <a:cubicBezTo>
                  <a:pt x="445" y="334"/>
                  <a:pt x="445" y="334"/>
                  <a:pt x="445" y="334"/>
                </a:cubicBezTo>
                <a:cubicBezTo>
                  <a:pt x="447" y="334"/>
                  <a:pt x="448" y="333"/>
                  <a:pt x="450" y="332"/>
                </a:cubicBezTo>
                <a:cubicBezTo>
                  <a:pt x="451" y="331"/>
                  <a:pt x="452" y="329"/>
                  <a:pt x="452" y="327"/>
                </a:cubicBezTo>
                <a:cubicBezTo>
                  <a:pt x="452" y="265"/>
                  <a:pt x="452" y="265"/>
                  <a:pt x="452" y="265"/>
                </a:cubicBezTo>
                <a:cubicBezTo>
                  <a:pt x="452" y="261"/>
                  <a:pt x="449" y="258"/>
                  <a:pt x="445" y="258"/>
                </a:cubicBezTo>
                <a:cubicBezTo>
                  <a:pt x="379" y="258"/>
                  <a:pt x="379" y="258"/>
                  <a:pt x="379" y="258"/>
                </a:cubicBezTo>
                <a:cubicBezTo>
                  <a:pt x="379" y="193"/>
                  <a:pt x="379" y="193"/>
                  <a:pt x="379" y="193"/>
                </a:cubicBezTo>
                <a:cubicBezTo>
                  <a:pt x="379" y="189"/>
                  <a:pt x="376" y="186"/>
                  <a:pt x="372" y="186"/>
                </a:cubicBezTo>
                <a:cubicBezTo>
                  <a:pt x="310" y="186"/>
                  <a:pt x="310" y="186"/>
                  <a:pt x="310" y="186"/>
                </a:cubicBezTo>
                <a:cubicBezTo>
                  <a:pt x="306" y="186"/>
                  <a:pt x="303" y="189"/>
                  <a:pt x="303" y="193"/>
                </a:cubicBezTo>
                <a:close/>
                <a:moveTo>
                  <a:pt x="317" y="265"/>
                </a:moveTo>
                <a:cubicBezTo>
                  <a:pt x="317" y="200"/>
                  <a:pt x="317" y="200"/>
                  <a:pt x="317" y="200"/>
                </a:cubicBezTo>
                <a:cubicBezTo>
                  <a:pt x="365" y="200"/>
                  <a:pt x="365" y="200"/>
                  <a:pt x="365" y="200"/>
                </a:cubicBezTo>
                <a:cubicBezTo>
                  <a:pt x="365" y="265"/>
                  <a:pt x="365" y="265"/>
                  <a:pt x="365" y="265"/>
                </a:cubicBezTo>
                <a:cubicBezTo>
                  <a:pt x="365" y="269"/>
                  <a:pt x="368" y="272"/>
                  <a:pt x="372" y="272"/>
                </a:cubicBezTo>
                <a:cubicBezTo>
                  <a:pt x="438" y="272"/>
                  <a:pt x="438" y="272"/>
                  <a:pt x="438" y="272"/>
                </a:cubicBezTo>
                <a:cubicBezTo>
                  <a:pt x="438" y="320"/>
                  <a:pt x="438" y="320"/>
                  <a:pt x="438" y="320"/>
                </a:cubicBezTo>
                <a:cubicBezTo>
                  <a:pt x="372" y="320"/>
                  <a:pt x="372" y="320"/>
                  <a:pt x="372" y="320"/>
                </a:cubicBezTo>
                <a:cubicBezTo>
                  <a:pt x="368" y="320"/>
                  <a:pt x="365" y="323"/>
                  <a:pt x="365" y="327"/>
                </a:cubicBezTo>
                <a:cubicBezTo>
                  <a:pt x="365" y="393"/>
                  <a:pt x="365" y="393"/>
                  <a:pt x="365" y="393"/>
                </a:cubicBezTo>
                <a:cubicBezTo>
                  <a:pt x="317" y="393"/>
                  <a:pt x="317" y="393"/>
                  <a:pt x="317" y="393"/>
                </a:cubicBezTo>
                <a:cubicBezTo>
                  <a:pt x="317" y="327"/>
                  <a:pt x="317" y="327"/>
                  <a:pt x="317" y="327"/>
                </a:cubicBezTo>
                <a:cubicBezTo>
                  <a:pt x="317" y="323"/>
                  <a:pt x="314" y="320"/>
                  <a:pt x="310" y="320"/>
                </a:cubicBezTo>
                <a:cubicBezTo>
                  <a:pt x="245" y="320"/>
                  <a:pt x="245" y="320"/>
                  <a:pt x="245" y="320"/>
                </a:cubicBezTo>
                <a:cubicBezTo>
                  <a:pt x="245" y="272"/>
                  <a:pt x="245" y="272"/>
                  <a:pt x="245" y="272"/>
                </a:cubicBezTo>
                <a:cubicBezTo>
                  <a:pt x="310" y="272"/>
                  <a:pt x="310" y="272"/>
                  <a:pt x="310" y="272"/>
                </a:cubicBezTo>
                <a:cubicBezTo>
                  <a:pt x="314" y="272"/>
                  <a:pt x="317" y="269"/>
                  <a:pt x="317" y="2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8" name="Oval 18"/>
          <p:cNvSpPr>
            <a:spLocks noChangeArrowheads="1"/>
          </p:cNvSpPr>
          <p:nvPr/>
        </p:nvSpPr>
        <p:spPr bwMode="auto">
          <a:xfrm>
            <a:off x="2259614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48" name="Freeform 36"/>
          <p:cNvSpPr>
            <a:spLocks noEditPoints="1"/>
          </p:cNvSpPr>
          <p:nvPr/>
        </p:nvSpPr>
        <p:spPr bwMode="auto">
          <a:xfrm>
            <a:off x="2399889" y="2436033"/>
            <a:ext cx="542741" cy="494104"/>
          </a:xfrm>
          <a:custGeom>
            <a:avLst/>
            <a:gdLst>
              <a:gd name="T0" fmla="*/ 588 w 701"/>
              <a:gd name="T1" fmla="*/ 527 h 638"/>
              <a:gd name="T2" fmla="*/ 375 w 701"/>
              <a:gd name="T3" fmla="*/ 311 h 638"/>
              <a:gd name="T4" fmla="*/ 436 w 701"/>
              <a:gd name="T5" fmla="*/ 281 h 638"/>
              <a:gd name="T6" fmla="*/ 563 w 701"/>
              <a:gd name="T7" fmla="*/ 258 h 638"/>
              <a:gd name="T8" fmla="*/ 432 w 701"/>
              <a:gd name="T9" fmla="*/ 258 h 638"/>
              <a:gd name="T10" fmla="*/ 371 w 701"/>
              <a:gd name="T11" fmla="*/ 283 h 638"/>
              <a:gd name="T12" fmla="*/ 382 w 701"/>
              <a:gd name="T13" fmla="*/ 128 h 638"/>
              <a:gd name="T14" fmla="*/ 469 w 701"/>
              <a:gd name="T15" fmla="*/ 66 h 638"/>
              <a:gd name="T16" fmla="*/ 338 w 701"/>
              <a:gd name="T17" fmla="*/ 66 h 638"/>
              <a:gd name="T18" fmla="*/ 319 w 701"/>
              <a:gd name="T19" fmla="*/ 229 h 638"/>
              <a:gd name="T20" fmla="*/ 205 w 701"/>
              <a:gd name="T21" fmla="*/ 283 h 638"/>
              <a:gd name="T22" fmla="*/ 131 w 701"/>
              <a:gd name="T23" fmla="*/ 258 h 638"/>
              <a:gd name="T24" fmla="*/ 0 w 701"/>
              <a:gd name="T25" fmla="*/ 258 h 638"/>
              <a:gd name="T26" fmla="*/ 127 w 701"/>
              <a:gd name="T27" fmla="*/ 280 h 638"/>
              <a:gd name="T28" fmla="*/ 201 w 701"/>
              <a:gd name="T29" fmla="*/ 311 h 638"/>
              <a:gd name="T30" fmla="*/ 210 w 701"/>
              <a:gd name="T31" fmla="*/ 472 h 638"/>
              <a:gd name="T32" fmla="*/ 130 w 701"/>
              <a:gd name="T33" fmla="*/ 536 h 638"/>
              <a:gd name="T34" fmla="*/ 262 w 701"/>
              <a:gd name="T35" fmla="*/ 536 h 638"/>
              <a:gd name="T36" fmla="*/ 258 w 701"/>
              <a:gd name="T37" fmla="*/ 393 h 638"/>
              <a:gd name="T38" fmla="*/ 348 w 701"/>
              <a:gd name="T39" fmla="*/ 374 h 638"/>
              <a:gd name="T40" fmla="*/ 570 w 701"/>
              <a:gd name="T41" fmla="*/ 572 h 638"/>
              <a:gd name="T42" fmla="*/ 701 w 701"/>
              <a:gd name="T43" fmla="*/ 572 h 638"/>
              <a:gd name="T44" fmla="*/ 498 w 701"/>
              <a:gd name="T45" fmla="*/ 206 h 638"/>
              <a:gd name="T46" fmla="*/ 498 w 701"/>
              <a:gd name="T47" fmla="*/ 309 h 638"/>
              <a:gd name="T48" fmla="*/ 448 w 701"/>
              <a:gd name="T49" fmla="*/ 270 h 638"/>
              <a:gd name="T50" fmla="*/ 446 w 701"/>
              <a:gd name="T51" fmla="*/ 258 h 638"/>
              <a:gd name="T52" fmla="*/ 352 w 701"/>
              <a:gd name="T53" fmla="*/ 66 h 638"/>
              <a:gd name="T54" fmla="*/ 455 w 701"/>
              <a:gd name="T55" fmla="*/ 66 h 638"/>
              <a:gd name="T56" fmla="*/ 352 w 701"/>
              <a:gd name="T57" fmla="*/ 66 h 638"/>
              <a:gd name="T58" fmla="*/ 14 w 701"/>
              <a:gd name="T59" fmla="*/ 258 h 638"/>
              <a:gd name="T60" fmla="*/ 117 w 701"/>
              <a:gd name="T61" fmla="*/ 258 h 638"/>
              <a:gd name="T62" fmla="*/ 248 w 701"/>
              <a:gd name="T63" fmla="*/ 536 h 638"/>
              <a:gd name="T64" fmla="*/ 144 w 701"/>
              <a:gd name="T65" fmla="*/ 536 h 638"/>
              <a:gd name="T66" fmla="*/ 248 w 701"/>
              <a:gd name="T67" fmla="*/ 536 h 638"/>
              <a:gd name="T68" fmla="*/ 288 w 701"/>
              <a:gd name="T69" fmla="*/ 237 h 638"/>
              <a:gd name="T70" fmla="*/ 288 w 701"/>
              <a:gd name="T71" fmla="*/ 384 h 638"/>
              <a:gd name="T72" fmla="*/ 635 w 701"/>
              <a:gd name="T73" fmla="*/ 624 h 638"/>
              <a:gd name="T74" fmla="*/ 635 w 701"/>
              <a:gd name="T75" fmla="*/ 521 h 638"/>
              <a:gd name="T76" fmla="*/ 635 w 701"/>
              <a:gd name="T77" fmla="*/ 624 h 6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01" h="638">
                <a:moveTo>
                  <a:pt x="635" y="507"/>
                </a:moveTo>
                <a:cubicBezTo>
                  <a:pt x="617" y="507"/>
                  <a:pt x="600" y="514"/>
                  <a:pt x="588" y="527"/>
                </a:cubicBezTo>
                <a:cubicBezTo>
                  <a:pt x="357" y="364"/>
                  <a:pt x="357" y="364"/>
                  <a:pt x="357" y="364"/>
                </a:cubicBezTo>
                <a:cubicBezTo>
                  <a:pt x="368" y="349"/>
                  <a:pt x="375" y="331"/>
                  <a:pt x="375" y="311"/>
                </a:cubicBezTo>
                <a:cubicBezTo>
                  <a:pt x="375" y="306"/>
                  <a:pt x="375" y="301"/>
                  <a:pt x="374" y="296"/>
                </a:cubicBezTo>
                <a:cubicBezTo>
                  <a:pt x="436" y="281"/>
                  <a:pt x="436" y="281"/>
                  <a:pt x="436" y="281"/>
                </a:cubicBezTo>
                <a:cubicBezTo>
                  <a:pt x="445" y="306"/>
                  <a:pt x="469" y="323"/>
                  <a:pt x="498" y="323"/>
                </a:cubicBezTo>
                <a:cubicBezTo>
                  <a:pt x="534" y="323"/>
                  <a:pt x="563" y="294"/>
                  <a:pt x="563" y="258"/>
                </a:cubicBezTo>
                <a:cubicBezTo>
                  <a:pt x="563" y="222"/>
                  <a:pt x="534" y="192"/>
                  <a:pt x="498" y="192"/>
                </a:cubicBezTo>
                <a:cubicBezTo>
                  <a:pt x="461" y="192"/>
                  <a:pt x="432" y="222"/>
                  <a:pt x="432" y="258"/>
                </a:cubicBezTo>
                <a:cubicBezTo>
                  <a:pt x="432" y="261"/>
                  <a:pt x="432" y="264"/>
                  <a:pt x="433" y="267"/>
                </a:cubicBezTo>
                <a:cubicBezTo>
                  <a:pt x="371" y="283"/>
                  <a:pt x="371" y="283"/>
                  <a:pt x="371" y="283"/>
                </a:cubicBezTo>
                <a:cubicBezTo>
                  <a:pt x="364" y="262"/>
                  <a:pt x="350" y="246"/>
                  <a:pt x="331" y="235"/>
                </a:cubicBezTo>
                <a:cubicBezTo>
                  <a:pt x="382" y="128"/>
                  <a:pt x="382" y="128"/>
                  <a:pt x="382" y="128"/>
                </a:cubicBezTo>
                <a:cubicBezTo>
                  <a:pt x="389" y="130"/>
                  <a:pt x="396" y="132"/>
                  <a:pt x="403" y="132"/>
                </a:cubicBezTo>
                <a:cubicBezTo>
                  <a:pt x="439" y="132"/>
                  <a:pt x="469" y="102"/>
                  <a:pt x="469" y="66"/>
                </a:cubicBezTo>
                <a:cubicBezTo>
                  <a:pt x="469" y="30"/>
                  <a:pt x="439" y="0"/>
                  <a:pt x="403" y="0"/>
                </a:cubicBezTo>
                <a:cubicBezTo>
                  <a:pt x="367" y="0"/>
                  <a:pt x="338" y="30"/>
                  <a:pt x="338" y="66"/>
                </a:cubicBezTo>
                <a:cubicBezTo>
                  <a:pt x="338" y="90"/>
                  <a:pt x="350" y="110"/>
                  <a:pt x="369" y="122"/>
                </a:cubicBezTo>
                <a:cubicBezTo>
                  <a:pt x="319" y="229"/>
                  <a:pt x="319" y="229"/>
                  <a:pt x="319" y="229"/>
                </a:cubicBezTo>
                <a:cubicBezTo>
                  <a:pt x="309" y="225"/>
                  <a:pt x="299" y="223"/>
                  <a:pt x="288" y="223"/>
                </a:cubicBezTo>
                <a:cubicBezTo>
                  <a:pt x="250" y="223"/>
                  <a:pt x="217" y="249"/>
                  <a:pt x="205" y="283"/>
                </a:cubicBezTo>
                <a:cubicBezTo>
                  <a:pt x="130" y="267"/>
                  <a:pt x="130" y="267"/>
                  <a:pt x="130" y="267"/>
                </a:cubicBezTo>
                <a:cubicBezTo>
                  <a:pt x="131" y="264"/>
                  <a:pt x="131" y="261"/>
                  <a:pt x="131" y="258"/>
                </a:cubicBezTo>
                <a:cubicBezTo>
                  <a:pt x="131" y="222"/>
                  <a:pt x="101" y="192"/>
                  <a:pt x="65" y="192"/>
                </a:cubicBezTo>
                <a:cubicBezTo>
                  <a:pt x="29" y="192"/>
                  <a:pt x="0" y="222"/>
                  <a:pt x="0" y="258"/>
                </a:cubicBezTo>
                <a:cubicBezTo>
                  <a:pt x="0" y="294"/>
                  <a:pt x="29" y="323"/>
                  <a:pt x="65" y="323"/>
                </a:cubicBezTo>
                <a:cubicBezTo>
                  <a:pt x="93" y="323"/>
                  <a:pt x="118" y="305"/>
                  <a:pt x="127" y="280"/>
                </a:cubicBezTo>
                <a:cubicBezTo>
                  <a:pt x="202" y="297"/>
                  <a:pt x="202" y="297"/>
                  <a:pt x="202" y="297"/>
                </a:cubicBezTo>
                <a:cubicBezTo>
                  <a:pt x="201" y="301"/>
                  <a:pt x="201" y="306"/>
                  <a:pt x="201" y="311"/>
                </a:cubicBezTo>
                <a:cubicBezTo>
                  <a:pt x="201" y="343"/>
                  <a:pt x="219" y="372"/>
                  <a:pt x="246" y="387"/>
                </a:cubicBezTo>
                <a:cubicBezTo>
                  <a:pt x="210" y="472"/>
                  <a:pt x="210" y="472"/>
                  <a:pt x="210" y="472"/>
                </a:cubicBezTo>
                <a:cubicBezTo>
                  <a:pt x="206" y="471"/>
                  <a:pt x="201" y="471"/>
                  <a:pt x="196" y="471"/>
                </a:cubicBezTo>
                <a:cubicBezTo>
                  <a:pt x="160" y="471"/>
                  <a:pt x="130" y="500"/>
                  <a:pt x="130" y="536"/>
                </a:cubicBezTo>
                <a:cubicBezTo>
                  <a:pt x="130" y="573"/>
                  <a:pt x="160" y="602"/>
                  <a:pt x="196" y="602"/>
                </a:cubicBezTo>
                <a:cubicBezTo>
                  <a:pt x="232" y="602"/>
                  <a:pt x="262" y="573"/>
                  <a:pt x="262" y="536"/>
                </a:cubicBezTo>
                <a:cubicBezTo>
                  <a:pt x="262" y="510"/>
                  <a:pt x="246" y="487"/>
                  <a:pt x="224" y="477"/>
                </a:cubicBezTo>
                <a:cubicBezTo>
                  <a:pt x="258" y="393"/>
                  <a:pt x="258" y="393"/>
                  <a:pt x="258" y="393"/>
                </a:cubicBezTo>
                <a:cubicBezTo>
                  <a:pt x="268" y="396"/>
                  <a:pt x="278" y="398"/>
                  <a:pt x="288" y="398"/>
                </a:cubicBezTo>
                <a:cubicBezTo>
                  <a:pt x="311" y="398"/>
                  <a:pt x="332" y="389"/>
                  <a:pt x="348" y="374"/>
                </a:cubicBezTo>
                <a:cubicBezTo>
                  <a:pt x="580" y="538"/>
                  <a:pt x="580" y="538"/>
                  <a:pt x="580" y="538"/>
                </a:cubicBezTo>
                <a:cubicBezTo>
                  <a:pt x="573" y="548"/>
                  <a:pt x="570" y="560"/>
                  <a:pt x="570" y="572"/>
                </a:cubicBezTo>
                <a:cubicBezTo>
                  <a:pt x="570" y="609"/>
                  <a:pt x="599" y="638"/>
                  <a:pt x="635" y="638"/>
                </a:cubicBezTo>
                <a:cubicBezTo>
                  <a:pt x="672" y="638"/>
                  <a:pt x="701" y="609"/>
                  <a:pt x="701" y="572"/>
                </a:cubicBezTo>
                <a:cubicBezTo>
                  <a:pt x="701" y="536"/>
                  <a:pt x="672" y="507"/>
                  <a:pt x="635" y="507"/>
                </a:cubicBezTo>
                <a:close/>
                <a:moveTo>
                  <a:pt x="498" y="206"/>
                </a:moveTo>
                <a:cubicBezTo>
                  <a:pt x="526" y="206"/>
                  <a:pt x="549" y="229"/>
                  <a:pt x="549" y="258"/>
                </a:cubicBezTo>
                <a:cubicBezTo>
                  <a:pt x="549" y="286"/>
                  <a:pt x="526" y="309"/>
                  <a:pt x="498" y="309"/>
                </a:cubicBezTo>
                <a:cubicBezTo>
                  <a:pt x="473" y="309"/>
                  <a:pt x="453" y="293"/>
                  <a:pt x="448" y="270"/>
                </a:cubicBezTo>
                <a:cubicBezTo>
                  <a:pt x="448" y="270"/>
                  <a:pt x="448" y="270"/>
                  <a:pt x="448" y="270"/>
                </a:cubicBezTo>
                <a:cubicBezTo>
                  <a:pt x="448" y="270"/>
                  <a:pt x="448" y="270"/>
                  <a:pt x="448" y="270"/>
                </a:cubicBezTo>
                <a:cubicBezTo>
                  <a:pt x="447" y="266"/>
                  <a:pt x="446" y="262"/>
                  <a:pt x="446" y="258"/>
                </a:cubicBezTo>
                <a:cubicBezTo>
                  <a:pt x="446" y="229"/>
                  <a:pt x="469" y="206"/>
                  <a:pt x="498" y="206"/>
                </a:cubicBezTo>
                <a:close/>
                <a:moveTo>
                  <a:pt x="352" y="66"/>
                </a:moveTo>
                <a:cubicBezTo>
                  <a:pt x="352" y="37"/>
                  <a:pt x="375" y="14"/>
                  <a:pt x="403" y="14"/>
                </a:cubicBezTo>
                <a:cubicBezTo>
                  <a:pt x="432" y="14"/>
                  <a:pt x="455" y="37"/>
                  <a:pt x="455" y="66"/>
                </a:cubicBezTo>
                <a:cubicBezTo>
                  <a:pt x="455" y="94"/>
                  <a:pt x="432" y="118"/>
                  <a:pt x="403" y="118"/>
                </a:cubicBezTo>
                <a:cubicBezTo>
                  <a:pt x="375" y="118"/>
                  <a:pt x="352" y="94"/>
                  <a:pt x="352" y="66"/>
                </a:cubicBezTo>
                <a:close/>
                <a:moveTo>
                  <a:pt x="65" y="309"/>
                </a:moveTo>
                <a:cubicBezTo>
                  <a:pt x="37" y="309"/>
                  <a:pt x="14" y="286"/>
                  <a:pt x="14" y="258"/>
                </a:cubicBezTo>
                <a:cubicBezTo>
                  <a:pt x="14" y="229"/>
                  <a:pt x="37" y="206"/>
                  <a:pt x="65" y="206"/>
                </a:cubicBezTo>
                <a:cubicBezTo>
                  <a:pt x="94" y="206"/>
                  <a:pt x="117" y="229"/>
                  <a:pt x="117" y="258"/>
                </a:cubicBezTo>
                <a:cubicBezTo>
                  <a:pt x="117" y="286"/>
                  <a:pt x="94" y="309"/>
                  <a:pt x="65" y="309"/>
                </a:cubicBezTo>
                <a:close/>
                <a:moveTo>
                  <a:pt x="248" y="536"/>
                </a:moveTo>
                <a:cubicBezTo>
                  <a:pt x="248" y="565"/>
                  <a:pt x="225" y="588"/>
                  <a:pt x="196" y="588"/>
                </a:cubicBezTo>
                <a:cubicBezTo>
                  <a:pt x="168" y="588"/>
                  <a:pt x="144" y="565"/>
                  <a:pt x="144" y="536"/>
                </a:cubicBezTo>
                <a:cubicBezTo>
                  <a:pt x="144" y="508"/>
                  <a:pt x="168" y="485"/>
                  <a:pt x="196" y="485"/>
                </a:cubicBezTo>
                <a:cubicBezTo>
                  <a:pt x="225" y="485"/>
                  <a:pt x="248" y="508"/>
                  <a:pt x="248" y="536"/>
                </a:cubicBezTo>
                <a:close/>
                <a:moveTo>
                  <a:pt x="215" y="311"/>
                </a:moveTo>
                <a:cubicBezTo>
                  <a:pt x="215" y="270"/>
                  <a:pt x="248" y="237"/>
                  <a:pt x="288" y="237"/>
                </a:cubicBezTo>
                <a:cubicBezTo>
                  <a:pt x="328" y="237"/>
                  <a:pt x="361" y="270"/>
                  <a:pt x="361" y="311"/>
                </a:cubicBezTo>
                <a:cubicBezTo>
                  <a:pt x="361" y="351"/>
                  <a:pt x="328" y="384"/>
                  <a:pt x="288" y="384"/>
                </a:cubicBezTo>
                <a:cubicBezTo>
                  <a:pt x="248" y="384"/>
                  <a:pt x="215" y="351"/>
                  <a:pt x="215" y="311"/>
                </a:cubicBezTo>
                <a:close/>
                <a:moveTo>
                  <a:pt x="635" y="624"/>
                </a:moveTo>
                <a:cubicBezTo>
                  <a:pt x="607" y="624"/>
                  <a:pt x="584" y="601"/>
                  <a:pt x="584" y="572"/>
                </a:cubicBezTo>
                <a:cubicBezTo>
                  <a:pt x="584" y="544"/>
                  <a:pt x="607" y="521"/>
                  <a:pt x="635" y="521"/>
                </a:cubicBezTo>
                <a:cubicBezTo>
                  <a:pt x="664" y="521"/>
                  <a:pt x="687" y="544"/>
                  <a:pt x="687" y="572"/>
                </a:cubicBezTo>
                <a:cubicBezTo>
                  <a:pt x="687" y="601"/>
                  <a:pt x="664" y="624"/>
                  <a:pt x="635" y="62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2" name="Title 32">
            <a:extLst>
              <a:ext uri="{FF2B5EF4-FFF2-40B4-BE49-F238E27FC236}">
                <a16:creationId xmlns:a16="http://schemas.microsoft.com/office/drawing/2014/main" id="{20B339CB-9D8D-4BDC-B5C9-916362F71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9549"/>
            <a:ext cx="8686800" cy="682625"/>
          </a:xfrm>
        </p:spPr>
        <p:txBody>
          <a:bodyPr/>
          <a:lstStyle/>
          <a:p>
            <a:r>
              <a:rPr lang="en-US" dirty="0"/>
              <a:t>Science &amp; medicine icons</a:t>
            </a:r>
          </a:p>
        </p:txBody>
      </p:sp>
    </p:spTree>
    <p:extLst>
      <p:ext uri="{BB962C8B-B14F-4D97-AF65-F5344CB8AC3E}">
        <p14:creationId xmlns:p14="http://schemas.microsoft.com/office/powerpoint/2010/main" val="4157896022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8" name="Oval 50"/>
          <p:cNvSpPr>
            <a:spLocks noChangeArrowheads="1"/>
          </p:cNvSpPr>
          <p:nvPr/>
        </p:nvSpPr>
        <p:spPr bwMode="auto">
          <a:xfrm>
            <a:off x="2259614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66" name="Freeform 83"/>
          <p:cNvSpPr>
            <a:spLocks noEditPoints="1"/>
          </p:cNvSpPr>
          <p:nvPr/>
        </p:nvSpPr>
        <p:spPr bwMode="auto">
          <a:xfrm>
            <a:off x="2504714" y="3631128"/>
            <a:ext cx="360493" cy="490198"/>
          </a:xfrm>
          <a:custGeom>
            <a:avLst/>
            <a:gdLst>
              <a:gd name="T0" fmla="*/ 32 w 465"/>
              <a:gd name="T1" fmla="*/ 633 h 633"/>
              <a:gd name="T2" fmla="*/ 0 w 465"/>
              <a:gd name="T3" fmla="*/ 31 h 633"/>
              <a:gd name="T4" fmla="*/ 433 w 465"/>
              <a:gd name="T5" fmla="*/ 0 h 633"/>
              <a:gd name="T6" fmla="*/ 465 w 465"/>
              <a:gd name="T7" fmla="*/ 602 h 633"/>
              <a:gd name="T8" fmla="*/ 32 w 465"/>
              <a:gd name="T9" fmla="*/ 14 h 633"/>
              <a:gd name="T10" fmla="*/ 14 w 465"/>
              <a:gd name="T11" fmla="*/ 602 h 633"/>
              <a:gd name="T12" fmla="*/ 433 w 465"/>
              <a:gd name="T13" fmla="*/ 619 h 633"/>
              <a:gd name="T14" fmla="*/ 451 w 465"/>
              <a:gd name="T15" fmla="*/ 31 h 633"/>
              <a:gd name="T16" fmla="*/ 32 w 465"/>
              <a:gd name="T17" fmla="*/ 14 h 633"/>
              <a:gd name="T18" fmla="*/ 309 w 465"/>
              <a:gd name="T19" fmla="*/ 516 h 633"/>
              <a:gd name="T20" fmla="*/ 411 w 465"/>
              <a:gd name="T21" fmla="*/ 516 h 633"/>
              <a:gd name="T22" fmla="*/ 360 w 465"/>
              <a:gd name="T23" fmla="*/ 479 h 633"/>
              <a:gd name="T24" fmla="*/ 360 w 465"/>
              <a:gd name="T25" fmla="*/ 552 h 633"/>
              <a:gd name="T26" fmla="*/ 360 w 465"/>
              <a:gd name="T27" fmla="*/ 479 h 633"/>
              <a:gd name="T28" fmla="*/ 182 w 465"/>
              <a:gd name="T29" fmla="*/ 516 h 633"/>
              <a:gd name="T30" fmla="*/ 283 w 465"/>
              <a:gd name="T31" fmla="*/ 516 h 633"/>
              <a:gd name="T32" fmla="*/ 232 w 465"/>
              <a:gd name="T33" fmla="*/ 479 h 633"/>
              <a:gd name="T34" fmla="*/ 232 w 465"/>
              <a:gd name="T35" fmla="*/ 552 h 633"/>
              <a:gd name="T36" fmla="*/ 232 w 465"/>
              <a:gd name="T37" fmla="*/ 479 h 633"/>
              <a:gd name="T38" fmla="*/ 54 w 465"/>
              <a:gd name="T39" fmla="*/ 516 h 633"/>
              <a:gd name="T40" fmla="*/ 156 w 465"/>
              <a:gd name="T41" fmla="*/ 516 h 633"/>
              <a:gd name="T42" fmla="*/ 105 w 465"/>
              <a:gd name="T43" fmla="*/ 479 h 633"/>
              <a:gd name="T44" fmla="*/ 105 w 465"/>
              <a:gd name="T45" fmla="*/ 552 h 633"/>
              <a:gd name="T46" fmla="*/ 105 w 465"/>
              <a:gd name="T47" fmla="*/ 479 h 633"/>
              <a:gd name="T48" fmla="*/ 309 w 465"/>
              <a:gd name="T49" fmla="*/ 389 h 633"/>
              <a:gd name="T50" fmla="*/ 411 w 465"/>
              <a:gd name="T51" fmla="*/ 389 h 633"/>
              <a:gd name="T52" fmla="*/ 360 w 465"/>
              <a:gd name="T53" fmla="*/ 352 h 633"/>
              <a:gd name="T54" fmla="*/ 360 w 465"/>
              <a:gd name="T55" fmla="*/ 426 h 633"/>
              <a:gd name="T56" fmla="*/ 360 w 465"/>
              <a:gd name="T57" fmla="*/ 352 h 633"/>
              <a:gd name="T58" fmla="*/ 182 w 465"/>
              <a:gd name="T59" fmla="*/ 389 h 633"/>
              <a:gd name="T60" fmla="*/ 283 w 465"/>
              <a:gd name="T61" fmla="*/ 389 h 633"/>
              <a:gd name="T62" fmla="*/ 232 w 465"/>
              <a:gd name="T63" fmla="*/ 352 h 633"/>
              <a:gd name="T64" fmla="*/ 232 w 465"/>
              <a:gd name="T65" fmla="*/ 426 h 633"/>
              <a:gd name="T66" fmla="*/ 232 w 465"/>
              <a:gd name="T67" fmla="*/ 352 h 633"/>
              <a:gd name="T68" fmla="*/ 54 w 465"/>
              <a:gd name="T69" fmla="*/ 389 h 633"/>
              <a:gd name="T70" fmla="*/ 156 w 465"/>
              <a:gd name="T71" fmla="*/ 389 h 633"/>
              <a:gd name="T72" fmla="*/ 105 w 465"/>
              <a:gd name="T73" fmla="*/ 352 h 633"/>
              <a:gd name="T74" fmla="*/ 105 w 465"/>
              <a:gd name="T75" fmla="*/ 426 h 633"/>
              <a:gd name="T76" fmla="*/ 105 w 465"/>
              <a:gd name="T77" fmla="*/ 352 h 633"/>
              <a:gd name="T78" fmla="*/ 309 w 465"/>
              <a:gd name="T79" fmla="*/ 262 h 633"/>
              <a:gd name="T80" fmla="*/ 411 w 465"/>
              <a:gd name="T81" fmla="*/ 262 h 633"/>
              <a:gd name="T82" fmla="*/ 360 w 465"/>
              <a:gd name="T83" fmla="*/ 226 h 633"/>
              <a:gd name="T84" fmla="*/ 360 w 465"/>
              <a:gd name="T85" fmla="*/ 299 h 633"/>
              <a:gd name="T86" fmla="*/ 360 w 465"/>
              <a:gd name="T87" fmla="*/ 226 h 633"/>
              <a:gd name="T88" fmla="*/ 182 w 465"/>
              <a:gd name="T89" fmla="*/ 262 h 633"/>
              <a:gd name="T90" fmla="*/ 283 w 465"/>
              <a:gd name="T91" fmla="*/ 262 h 633"/>
              <a:gd name="T92" fmla="*/ 232 w 465"/>
              <a:gd name="T93" fmla="*/ 226 h 633"/>
              <a:gd name="T94" fmla="*/ 232 w 465"/>
              <a:gd name="T95" fmla="*/ 299 h 633"/>
              <a:gd name="T96" fmla="*/ 232 w 465"/>
              <a:gd name="T97" fmla="*/ 226 h 633"/>
              <a:gd name="T98" fmla="*/ 54 w 465"/>
              <a:gd name="T99" fmla="*/ 262 h 633"/>
              <a:gd name="T100" fmla="*/ 156 w 465"/>
              <a:gd name="T101" fmla="*/ 262 h 633"/>
              <a:gd name="T102" fmla="*/ 105 w 465"/>
              <a:gd name="T103" fmla="*/ 226 h 633"/>
              <a:gd name="T104" fmla="*/ 105 w 465"/>
              <a:gd name="T105" fmla="*/ 299 h 633"/>
              <a:gd name="T106" fmla="*/ 105 w 465"/>
              <a:gd name="T107" fmla="*/ 226 h 633"/>
              <a:gd name="T108" fmla="*/ 105 w 465"/>
              <a:gd name="T109" fmla="*/ 168 h 633"/>
              <a:gd name="T110" fmla="*/ 105 w 465"/>
              <a:gd name="T111" fmla="*/ 66 h 633"/>
              <a:gd name="T112" fmla="*/ 411 w 465"/>
              <a:gd name="T113" fmla="*/ 117 h 633"/>
              <a:gd name="T114" fmla="*/ 105 w 465"/>
              <a:gd name="T115" fmla="*/ 80 h 633"/>
              <a:gd name="T116" fmla="*/ 105 w 465"/>
              <a:gd name="T117" fmla="*/ 154 h 633"/>
              <a:gd name="T118" fmla="*/ 397 w 465"/>
              <a:gd name="T119" fmla="*/ 117 h 633"/>
              <a:gd name="T120" fmla="*/ 105 w 465"/>
              <a:gd name="T121" fmla="*/ 80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65" h="633">
                <a:moveTo>
                  <a:pt x="433" y="633"/>
                </a:moveTo>
                <a:cubicBezTo>
                  <a:pt x="32" y="633"/>
                  <a:pt x="32" y="633"/>
                  <a:pt x="32" y="633"/>
                </a:cubicBezTo>
                <a:cubicBezTo>
                  <a:pt x="14" y="633"/>
                  <a:pt x="0" y="619"/>
                  <a:pt x="0" y="602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14"/>
                  <a:pt x="14" y="0"/>
                  <a:pt x="32" y="0"/>
                </a:cubicBezTo>
                <a:cubicBezTo>
                  <a:pt x="433" y="0"/>
                  <a:pt x="433" y="0"/>
                  <a:pt x="433" y="0"/>
                </a:cubicBezTo>
                <a:cubicBezTo>
                  <a:pt x="451" y="0"/>
                  <a:pt x="465" y="14"/>
                  <a:pt x="465" y="31"/>
                </a:cubicBezTo>
                <a:cubicBezTo>
                  <a:pt x="465" y="602"/>
                  <a:pt x="465" y="602"/>
                  <a:pt x="465" y="602"/>
                </a:cubicBezTo>
                <a:cubicBezTo>
                  <a:pt x="465" y="619"/>
                  <a:pt x="451" y="633"/>
                  <a:pt x="433" y="633"/>
                </a:cubicBezTo>
                <a:close/>
                <a:moveTo>
                  <a:pt x="32" y="14"/>
                </a:moveTo>
                <a:cubicBezTo>
                  <a:pt x="22" y="14"/>
                  <a:pt x="14" y="22"/>
                  <a:pt x="14" y="31"/>
                </a:cubicBezTo>
                <a:cubicBezTo>
                  <a:pt x="14" y="602"/>
                  <a:pt x="14" y="602"/>
                  <a:pt x="14" y="602"/>
                </a:cubicBezTo>
                <a:cubicBezTo>
                  <a:pt x="14" y="611"/>
                  <a:pt x="22" y="619"/>
                  <a:pt x="32" y="619"/>
                </a:cubicBezTo>
                <a:cubicBezTo>
                  <a:pt x="433" y="619"/>
                  <a:pt x="433" y="619"/>
                  <a:pt x="433" y="619"/>
                </a:cubicBezTo>
                <a:cubicBezTo>
                  <a:pt x="443" y="619"/>
                  <a:pt x="451" y="611"/>
                  <a:pt x="451" y="602"/>
                </a:cubicBezTo>
                <a:cubicBezTo>
                  <a:pt x="451" y="31"/>
                  <a:pt x="451" y="31"/>
                  <a:pt x="451" y="31"/>
                </a:cubicBezTo>
                <a:cubicBezTo>
                  <a:pt x="451" y="22"/>
                  <a:pt x="443" y="14"/>
                  <a:pt x="433" y="14"/>
                </a:cubicBezTo>
                <a:lnTo>
                  <a:pt x="32" y="14"/>
                </a:lnTo>
                <a:close/>
                <a:moveTo>
                  <a:pt x="360" y="566"/>
                </a:moveTo>
                <a:cubicBezTo>
                  <a:pt x="332" y="566"/>
                  <a:pt x="309" y="544"/>
                  <a:pt x="309" y="516"/>
                </a:cubicBezTo>
                <a:cubicBezTo>
                  <a:pt x="309" y="488"/>
                  <a:pt x="332" y="465"/>
                  <a:pt x="360" y="465"/>
                </a:cubicBezTo>
                <a:cubicBezTo>
                  <a:pt x="388" y="465"/>
                  <a:pt x="411" y="488"/>
                  <a:pt x="411" y="516"/>
                </a:cubicBezTo>
                <a:cubicBezTo>
                  <a:pt x="411" y="544"/>
                  <a:pt x="388" y="566"/>
                  <a:pt x="360" y="566"/>
                </a:cubicBezTo>
                <a:close/>
                <a:moveTo>
                  <a:pt x="360" y="479"/>
                </a:moveTo>
                <a:cubicBezTo>
                  <a:pt x="340" y="479"/>
                  <a:pt x="323" y="495"/>
                  <a:pt x="323" y="516"/>
                </a:cubicBezTo>
                <a:cubicBezTo>
                  <a:pt x="323" y="536"/>
                  <a:pt x="340" y="552"/>
                  <a:pt x="360" y="552"/>
                </a:cubicBezTo>
                <a:cubicBezTo>
                  <a:pt x="380" y="552"/>
                  <a:pt x="397" y="536"/>
                  <a:pt x="397" y="516"/>
                </a:cubicBezTo>
                <a:cubicBezTo>
                  <a:pt x="397" y="495"/>
                  <a:pt x="380" y="479"/>
                  <a:pt x="360" y="479"/>
                </a:cubicBezTo>
                <a:close/>
                <a:moveTo>
                  <a:pt x="232" y="566"/>
                </a:moveTo>
                <a:cubicBezTo>
                  <a:pt x="204" y="566"/>
                  <a:pt x="182" y="544"/>
                  <a:pt x="182" y="516"/>
                </a:cubicBezTo>
                <a:cubicBezTo>
                  <a:pt x="182" y="488"/>
                  <a:pt x="204" y="465"/>
                  <a:pt x="232" y="465"/>
                </a:cubicBezTo>
                <a:cubicBezTo>
                  <a:pt x="260" y="465"/>
                  <a:pt x="283" y="488"/>
                  <a:pt x="283" y="516"/>
                </a:cubicBezTo>
                <a:cubicBezTo>
                  <a:pt x="283" y="544"/>
                  <a:pt x="260" y="566"/>
                  <a:pt x="232" y="566"/>
                </a:cubicBezTo>
                <a:close/>
                <a:moveTo>
                  <a:pt x="232" y="479"/>
                </a:moveTo>
                <a:cubicBezTo>
                  <a:pt x="212" y="479"/>
                  <a:pt x="196" y="495"/>
                  <a:pt x="196" y="516"/>
                </a:cubicBezTo>
                <a:cubicBezTo>
                  <a:pt x="196" y="536"/>
                  <a:pt x="212" y="552"/>
                  <a:pt x="232" y="552"/>
                </a:cubicBezTo>
                <a:cubicBezTo>
                  <a:pt x="253" y="552"/>
                  <a:pt x="269" y="536"/>
                  <a:pt x="269" y="516"/>
                </a:cubicBezTo>
                <a:cubicBezTo>
                  <a:pt x="269" y="495"/>
                  <a:pt x="253" y="479"/>
                  <a:pt x="232" y="479"/>
                </a:cubicBezTo>
                <a:close/>
                <a:moveTo>
                  <a:pt x="105" y="566"/>
                </a:moveTo>
                <a:cubicBezTo>
                  <a:pt x="77" y="566"/>
                  <a:pt x="54" y="544"/>
                  <a:pt x="54" y="516"/>
                </a:cubicBezTo>
                <a:cubicBezTo>
                  <a:pt x="54" y="488"/>
                  <a:pt x="77" y="465"/>
                  <a:pt x="105" y="465"/>
                </a:cubicBezTo>
                <a:cubicBezTo>
                  <a:pt x="133" y="465"/>
                  <a:pt x="156" y="488"/>
                  <a:pt x="156" y="516"/>
                </a:cubicBezTo>
                <a:cubicBezTo>
                  <a:pt x="156" y="544"/>
                  <a:pt x="133" y="566"/>
                  <a:pt x="105" y="566"/>
                </a:cubicBezTo>
                <a:close/>
                <a:moveTo>
                  <a:pt x="105" y="479"/>
                </a:moveTo>
                <a:cubicBezTo>
                  <a:pt x="85" y="479"/>
                  <a:pt x="68" y="495"/>
                  <a:pt x="68" y="516"/>
                </a:cubicBezTo>
                <a:cubicBezTo>
                  <a:pt x="68" y="536"/>
                  <a:pt x="85" y="552"/>
                  <a:pt x="105" y="552"/>
                </a:cubicBezTo>
                <a:cubicBezTo>
                  <a:pt x="125" y="552"/>
                  <a:pt x="142" y="536"/>
                  <a:pt x="142" y="516"/>
                </a:cubicBezTo>
                <a:cubicBezTo>
                  <a:pt x="142" y="495"/>
                  <a:pt x="125" y="479"/>
                  <a:pt x="105" y="479"/>
                </a:cubicBezTo>
                <a:close/>
                <a:moveTo>
                  <a:pt x="360" y="440"/>
                </a:moveTo>
                <a:cubicBezTo>
                  <a:pt x="332" y="440"/>
                  <a:pt x="309" y="417"/>
                  <a:pt x="309" y="389"/>
                </a:cubicBezTo>
                <a:cubicBezTo>
                  <a:pt x="309" y="361"/>
                  <a:pt x="332" y="338"/>
                  <a:pt x="360" y="338"/>
                </a:cubicBezTo>
                <a:cubicBezTo>
                  <a:pt x="388" y="338"/>
                  <a:pt x="411" y="361"/>
                  <a:pt x="411" y="389"/>
                </a:cubicBezTo>
                <a:cubicBezTo>
                  <a:pt x="411" y="417"/>
                  <a:pt x="388" y="440"/>
                  <a:pt x="360" y="440"/>
                </a:cubicBezTo>
                <a:close/>
                <a:moveTo>
                  <a:pt x="360" y="352"/>
                </a:moveTo>
                <a:cubicBezTo>
                  <a:pt x="340" y="352"/>
                  <a:pt x="323" y="369"/>
                  <a:pt x="323" y="389"/>
                </a:cubicBezTo>
                <a:cubicBezTo>
                  <a:pt x="323" y="409"/>
                  <a:pt x="340" y="426"/>
                  <a:pt x="360" y="426"/>
                </a:cubicBezTo>
                <a:cubicBezTo>
                  <a:pt x="380" y="426"/>
                  <a:pt x="397" y="409"/>
                  <a:pt x="397" y="389"/>
                </a:cubicBezTo>
                <a:cubicBezTo>
                  <a:pt x="397" y="369"/>
                  <a:pt x="380" y="352"/>
                  <a:pt x="360" y="352"/>
                </a:cubicBezTo>
                <a:close/>
                <a:moveTo>
                  <a:pt x="232" y="440"/>
                </a:moveTo>
                <a:cubicBezTo>
                  <a:pt x="204" y="440"/>
                  <a:pt x="182" y="417"/>
                  <a:pt x="182" y="389"/>
                </a:cubicBezTo>
                <a:cubicBezTo>
                  <a:pt x="182" y="361"/>
                  <a:pt x="204" y="338"/>
                  <a:pt x="232" y="338"/>
                </a:cubicBezTo>
                <a:cubicBezTo>
                  <a:pt x="260" y="338"/>
                  <a:pt x="283" y="361"/>
                  <a:pt x="283" y="389"/>
                </a:cubicBezTo>
                <a:cubicBezTo>
                  <a:pt x="283" y="417"/>
                  <a:pt x="260" y="440"/>
                  <a:pt x="232" y="440"/>
                </a:cubicBezTo>
                <a:close/>
                <a:moveTo>
                  <a:pt x="232" y="352"/>
                </a:moveTo>
                <a:cubicBezTo>
                  <a:pt x="212" y="352"/>
                  <a:pt x="196" y="369"/>
                  <a:pt x="196" y="389"/>
                </a:cubicBezTo>
                <a:cubicBezTo>
                  <a:pt x="196" y="409"/>
                  <a:pt x="212" y="426"/>
                  <a:pt x="232" y="426"/>
                </a:cubicBezTo>
                <a:cubicBezTo>
                  <a:pt x="253" y="426"/>
                  <a:pt x="269" y="409"/>
                  <a:pt x="269" y="389"/>
                </a:cubicBezTo>
                <a:cubicBezTo>
                  <a:pt x="269" y="369"/>
                  <a:pt x="253" y="352"/>
                  <a:pt x="232" y="352"/>
                </a:cubicBezTo>
                <a:close/>
                <a:moveTo>
                  <a:pt x="105" y="440"/>
                </a:moveTo>
                <a:cubicBezTo>
                  <a:pt x="77" y="440"/>
                  <a:pt x="54" y="417"/>
                  <a:pt x="54" y="389"/>
                </a:cubicBezTo>
                <a:cubicBezTo>
                  <a:pt x="54" y="361"/>
                  <a:pt x="77" y="338"/>
                  <a:pt x="105" y="338"/>
                </a:cubicBezTo>
                <a:cubicBezTo>
                  <a:pt x="133" y="338"/>
                  <a:pt x="156" y="361"/>
                  <a:pt x="156" y="389"/>
                </a:cubicBezTo>
                <a:cubicBezTo>
                  <a:pt x="156" y="417"/>
                  <a:pt x="133" y="440"/>
                  <a:pt x="105" y="440"/>
                </a:cubicBezTo>
                <a:close/>
                <a:moveTo>
                  <a:pt x="105" y="352"/>
                </a:moveTo>
                <a:cubicBezTo>
                  <a:pt x="85" y="352"/>
                  <a:pt x="68" y="369"/>
                  <a:pt x="68" y="389"/>
                </a:cubicBezTo>
                <a:cubicBezTo>
                  <a:pt x="68" y="409"/>
                  <a:pt x="85" y="426"/>
                  <a:pt x="105" y="426"/>
                </a:cubicBezTo>
                <a:cubicBezTo>
                  <a:pt x="125" y="426"/>
                  <a:pt x="142" y="409"/>
                  <a:pt x="142" y="389"/>
                </a:cubicBezTo>
                <a:cubicBezTo>
                  <a:pt x="142" y="369"/>
                  <a:pt x="125" y="352"/>
                  <a:pt x="105" y="352"/>
                </a:cubicBezTo>
                <a:close/>
                <a:moveTo>
                  <a:pt x="360" y="313"/>
                </a:moveTo>
                <a:cubicBezTo>
                  <a:pt x="332" y="313"/>
                  <a:pt x="309" y="290"/>
                  <a:pt x="309" y="262"/>
                </a:cubicBezTo>
                <a:cubicBezTo>
                  <a:pt x="309" y="234"/>
                  <a:pt x="332" y="212"/>
                  <a:pt x="360" y="212"/>
                </a:cubicBezTo>
                <a:cubicBezTo>
                  <a:pt x="388" y="212"/>
                  <a:pt x="411" y="234"/>
                  <a:pt x="411" y="262"/>
                </a:cubicBezTo>
                <a:cubicBezTo>
                  <a:pt x="411" y="290"/>
                  <a:pt x="388" y="313"/>
                  <a:pt x="360" y="313"/>
                </a:cubicBezTo>
                <a:close/>
                <a:moveTo>
                  <a:pt x="360" y="226"/>
                </a:moveTo>
                <a:cubicBezTo>
                  <a:pt x="340" y="226"/>
                  <a:pt x="323" y="242"/>
                  <a:pt x="323" y="262"/>
                </a:cubicBezTo>
                <a:cubicBezTo>
                  <a:pt x="323" y="283"/>
                  <a:pt x="340" y="299"/>
                  <a:pt x="360" y="299"/>
                </a:cubicBezTo>
                <a:cubicBezTo>
                  <a:pt x="380" y="299"/>
                  <a:pt x="397" y="283"/>
                  <a:pt x="397" y="262"/>
                </a:cubicBezTo>
                <a:cubicBezTo>
                  <a:pt x="397" y="242"/>
                  <a:pt x="380" y="226"/>
                  <a:pt x="360" y="226"/>
                </a:cubicBezTo>
                <a:close/>
                <a:moveTo>
                  <a:pt x="232" y="313"/>
                </a:moveTo>
                <a:cubicBezTo>
                  <a:pt x="204" y="313"/>
                  <a:pt x="182" y="290"/>
                  <a:pt x="182" y="262"/>
                </a:cubicBezTo>
                <a:cubicBezTo>
                  <a:pt x="182" y="234"/>
                  <a:pt x="204" y="212"/>
                  <a:pt x="232" y="212"/>
                </a:cubicBezTo>
                <a:cubicBezTo>
                  <a:pt x="260" y="212"/>
                  <a:pt x="283" y="234"/>
                  <a:pt x="283" y="262"/>
                </a:cubicBezTo>
                <a:cubicBezTo>
                  <a:pt x="283" y="290"/>
                  <a:pt x="260" y="313"/>
                  <a:pt x="232" y="313"/>
                </a:cubicBezTo>
                <a:close/>
                <a:moveTo>
                  <a:pt x="232" y="226"/>
                </a:moveTo>
                <a:cubicBezTo>
                  <a:pt x="212" y="226"/>
                  <a:pt x="196" y="242"/>
                  <a:pt x="196" y="262"/>
                </a:cubicBezTo>
                <a:cubicBezTo>
                  <a:pt x="196" y="283"/>
                  <a:pt x="212" y="299"/>
                  <a:pt x="232" y="299"/>
                </a:cubicBezTo>
                <a:cubicBezTo>
                  <a:pt x="253" y="299"/>
                  <a:pt x="269" y="283"/>
                  <a:pt x="269" y="262"/>
                </a:cubicBezTo>
                <a:cubicBezTo>
                  <a:pt x="269" y="242"/>
                  <a:pt x="253" y="226"/>
                  <a:pt x="232" y="226"/>
                </a:cubicBezTo>
                <a:close/>
                <a:moveTo>
                  <a:pt x="105" y="313"/>
                </a:moveTo>
                <a:cubicBezTo>
                  <a:pt x="77" y="313"/>
                  <a:pt x="54" y="290"/>
                  <a:pt x="54" y="262"/>
                </a:cubicBezTo>
                <a:cubicBezTo>
                  <a:pt x="54" y="234"/>
                  <a:pt x="77" y="212"/>
                  <a:pt x="105" y="212"/>
                </a:cubicBezTo>
                <a:cubicBezTo>
                  <a:pt x="133" y="212"/>
                  <a:pt x="156" y="234"/>
                  <a:pt x="156" y="262"/>
                </a:cubicBezTo>
                <a:cubicBezTo>
                  <a:pt x="156" y="290"/>
                  <a:pt x="133" y="313"/>
                  <a:pt x="105" y="313"/>
                </a:cubicBezTo>
                <a:close/>
                <a:moveTo>
                  <a:pt x="105" y="226"/>
                </a:moveTo>
                <a:cubicBezTo>
                  <a:pt x="85" y="226"/>
                  <a:pt x="68" y="242"/>
                  <a:pt x="68" y="262"/>
                </a:cubicBezTo>
                <a:cubicBezTo>
                  <a:pt x="68" y="283"/>
                  <a:pt x="85" y="299"/>
                  <a:pt x="105" y="299"/>
                </a:cubicBezTo>
                <a:cubicBezTo>
                  <a:pt x="125" y="299"/>
                  <a:pt x="142" y="283"/>
                  <a:pt x="142" y="262"/>
                </a:cubicBezTo>
                <a:cubicBezTo>
                  <a:pt x="142" y="242"/>
                  <a:pt x="125" y="226"/>
                  <a:pt x="105" y="226"/>
                </a:cubicBezTo>
                <a:close/>
                <a:moveTo>
                  <a:pt x="360" y="168"/>
                </a:moveTo>
                <a:cubicBezTo>
                  <a:pt x="105" y="168"/>
                  <a:pt x="105" y="168"/>
                  <a:pt x="105" y="168"/>
                </a:cubicBezTo>
                <a:cubicBezTo>
                  <a:pt x="77" y="168"/>
                  <a:pt x="54" y="145"/>
                  <a:pt x="54" y="117"/>
                </a:cubicBezTo>
                <a:cubicBezTo>
                  <a:pt x="54" y="89"/>
                  <a:pt x="77" y="66"/>
                  <a:pt x="105" y="66"/>
                </a:cubicBezTo>
                <a:cubicBezTo>
                  <a:pt x="360" y="66"/>
                  <a:pt x="360" y="66"/>
                  <a:pt x="360" y="66"/>
                </a:cubicBezTo>
                <a:cubicBezTo>
                  <a:pt x="388" y="66"/>
                  <a:pt x="411" y="89"/>
                  <a:pt x="411" y="117"/>
                </a:cubicBezTo>
                <a:cubicBezTo>
                  <a:pt x="411" y="145"/>
                  <a:pt x="388" y="168"/>
                  <a:pt x="360" y="168"/>
                </a:cubicBezTo>
                <a:close/>
                <a:moveTo>
                  <a:pt x="105" y="80"/>
                </a:moveTo>
                <a:cubicBezTo>
                  <a:pt x="85" y="80"/>
                  <a:pt x="68" y="97"/>
                  <a:pt x="68" y="117"/>
                </a:cubicBezTo>
                <a:cubicBezTo>
                  <a:pt x="68" y="137"/>
                  <a:pt x="85" y="154"/>
                  <a:pt x="105" y="154"/>
                </a:cubicBezTo>
                <a:cubicBezTo>
                  <a:pt x="360" y="154"/>
                  <a:pt x="360" y="154"/>
                  <a:pt x="360" y="154"/>
                </a:cubicBezTo>
                <a:cubicBezTo>
                  <a:pt x="380" y="154"/>
                  <a:pt x="397" y="137"/>
                  <a:pt x="397" y="117"/>
                </a:cubicBezTo>
                <a:cubicBezTo>
                  <a:pt x="397" y="97"/>
                  <a:pt x="380" y="80"/>
                  <a:pt x="360" y="80"/>
                </a:cubicBezTo>
                <a:lnTo>
                  <a:pt x="105" y="8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7" name="Oval 49"/>
          <p:cNvSpPr>
            <a:spLocks noChangeArrowheads="1"/>
          </p:cNvSpPr>
          <p:nvPr/>
        </p:nvSpPr>
        <p:spPr bwMode="auto">
          <a:xfrm>
            <a:off x="966871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67" name="Freeform 84"/>
          <p:cNvSpPr>
            <a:spLocks noEditPoints="1"/>
          </p:cNvSpPr>
          <p:nvPr/>
        </p:nvSpPr>
        <p:spPr bwMode="auto">
          <a:xfrm>
            <a:off x="1138807" y="2533228"/>
            <a:ext cx="479090" cy="346181"/>
          </a:xfrm>
          <a:custGeom>
            <a:avLst/>
            <a:gdLst>
              <a:gd name="T0" fmla="*/ 611 w 618"/>
              <a:gd name="T1" fmla="*/ 447 h 447"/>
              <a:gd name="T2" fmla="*/ 450 w 618"/>
              <a:gd name="T3" fmla="*/ 447 h 447"/>
              <a:gd name="T4" fmla="*/ 443 w 618"/>
              <a:gd name="T5" fmla="*/ 440 h 447"/>
              <a:gd name="T6" fmla="*/ 443 w 618"/>
              <a:gd name="T7" fmla="*/ 7 h 447"/>
              <a:gd name="T8" fmla="*/ 450 w 618"/>
              <a:gd name="T9" fmla="*/ 0 h 447"/>
              <a:gd name="T10" fmla="*/ 611 w 618"/>
              <a:gd name="T11" fmla="*/ 0 h 447"/>
              <a:gd name="T12" fmla="*/ 618 w 618"/>
              <a:gd name="T13" fmla="*/ 7 h 447"/>
              <a:gd name="T14" fmla="*/ 618 w 618"/>
              <a:gd name="T15" fmla="*/ 440 h 447"/>
              <a:gd name="T16" fmla="*/ 611 w 618"/>
              <a:gd name="T17" fmla="*/ 447 h 447"/>
              <a:gd name="T18" fmla="*/ 457 w 618"/>
              <a:gd name="T19" fmla="*/ 433 h 447"/>
              <a:gd name="T20" fmla="*/ 604 w 618"/>
              <a:gd name="T21" fmla="*/ 433 h 447"/>
              <a:gd name="T22" fmla="*/ 604 w 618"/>
              <a:gd name="T23" fmla="*/ 14 h 447"/>
              <a:gd name="T24" fmla="*/ 457 w 618"/>
              <a:gd name="T25" fmla="*/ 14 h 447"/>
              <a:gd name="T26" fmla="*/ 457 w 618"/>
              <a:gd name="T27" fmla="*/ 433 h 447"/>
              <a:gd name="T28" fmla="*/ 389 w 618"/>
              <a:gd name="T29" fmla="*/ 447 h 447"/>
              <a:gd name="T30" fmla="*/ 228 w 618"/>
              <a:gd name="T31" fmla="*/ 447 h 447"/>
              <a:gd name="T32" fmla="*/ 221 w 618"/>
              <a:gd name="T33" fmla="*/ 440 h 447"/>
              <a:gd name="T34" fmla="*/ 221 w 618"/>
              <a:gd name="T35" fmla="*/ 110 h 447"/>
              <a:gd name="T36" fmla="*/ 228 w 618"/>
              <a:gd name="T37" fmla="*/ 103 h 447"/>
              <a:gd name="T38" fmla="*/ 389 w 618"/>
              <a:gd name="T39" fmla="*/ 103 h 447"/>
              <a:gd name="T40" fmla="*/ 396 w 618"/>
              <a:gd name="T41" fmla="*/ 110 h 447"/>
              <a:gd name="T42" fmla="*/ 396 w 618"/>
              <a:gd name="T43" fmla="*/ 440 h 447"/>
              <a:gd name="T44" fmla="*/ 389 w 618"/>
              <a:gd name="T45" fmla="*/ 447 h 447"/>
              <a:gd name="T46" fmla="*/ 235 w 618"/>
              <a:gd name="T47" fmla="*/ 433 h 447"/>
              <a:gd name="T48" fmla="*/ 382 w 618"/>
              <a:gd name="T49" fmla="*/ 433 h 447"/>
              <a:gd name="T50" fmla="*/ 382 w 618"/>
              <a:gd name="T51" fmla="*/ 117 h 447"/>
              <a:gd name="T52" fmla="*/ 235 w 618"/>
              <a:gd name="T53" fmla="*/ 117 h 447"/>
              <a:gd name="T54" fmla="*/ 235 w 618"/>
              <a:gd name="T55" fmla="*/ 433 h 447"/>
              <a:gd name="T56" fmla="*/ 168 w 618"/>
              <a:gd name="T57" fmla="*/ 447 h 447"/>
              <a:gd name="T58" fmla="*/ 7 w 618"/>
              <a:gd name="T59" fmla="*/ 447 h 447"/>
              <a:gd name="T60" fmla="*/ 0 w 618"/>
              <a:gd name="T61" fmla="*/ 440 h 447"/>
              <a:gd name="T62" fmla="*/ 0 w 618"/>
              <a:gd name="T63" fmla="*/ 224 h 447"/>
              <a:gd name="T64" fmla="*/ 7 w 618"/>
              <a:gd name="T65" fmla="*/ 217 h 447"/>
              <a:gd name="T66" fmla="*/ 168 w 618"/>
              <a:gd name="T67" fmla="*/ 217 h 447"/>
              <a:gd name="T68" fmla="*/ 175 w 618"/>
              <a:gd name="T69" fmla="*/ 224 h 447"/>
              <a:gd name="T70" fmla="*/ 175 w 618"/>
              <a:gd name="T71" fmla="*/ 440 h 447"/>
              <a:gd name="T72" fmla="*/ 168 w 618"/>
              <a:gd name="T73" fmla="*/ 447 h 447"/>
              <a:gd name="T74" fmla="*/ 14 w 618"/>
              <a:gd name="T75" fmla="*/ 433 h 447"/>
              <a:gd name="T76" fmla="*/ 161 w 618"/>
              <a:gd name="T77" fmla="*/ 433 h 447"/>
              <a:gd name="T78" fmla="*/ 161 w 618"/>
              <a:gd name="T79" fmla="*/ 231 h 447"/>
              <a:gd name="T80" fmla="*/ 14 w 618"/>
              <a:gd name="T81" fmla="*/ 231 h 447"/>
              <a:gd name="T82" fmla="*/ 14 w 618"/>
              <a:gd name="T83" fmla="*/ 433 h 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18" h="447">
                <a:moveTo>
                  <a:pt x="611" y="447"/>
                </a:moveTo>
                <a:cubicBezTo>
                  <a:pt x="450" y="447"/>
                  <a:pt x="450" y="447"/>
                  <a:pt x="450" y="447"/>
                </a:cubicBezTo>
                <a:cubicBezTo>
                  <a:pt x="446" y="447"/>
                  <a:pt x="443" y="444"/>
                  <a:pt x="443" y="440"/>
                </a:cubicBezTo>
                <a:cubicBezTo>
                  <a:pt x="443" y="7"/>
                  <a:pt x="443" y="7"/>
                  <a:pt x="443" y="7"/>
                </a:cubicBezTo>
                <a:cubicBezTo>
                  <a:pt x="443" y="3"/>
                  <a:pt x="446" y="0"/>
                  <a:pt x="450" y="0"/>
                </a:cubicBezTo>
                <a:cubicBezTo>
                  <a:pt x="611" y="0"/>
                  <a:pt x="611" y="0"/>
                  <a:pt x="611" y="0"/>
                </a:cubicBezTo>
                <a:cubicBezTo>
                  <a:pt x="615" y="0"/>
                  <a:pt x="618" y="3"/>
                  <a:pt x="618" y="7"/>
                </a:cubicBezTo>
                <a:cubicBezTo>
                  <a:pt x="618" y="440"/>
                  <a:pt x="618" y="440"/>
                  <a:pt x="618" y="440"/>
                </a:cubicBezTo>
                <a:cubicBezTo>
                  <a:pt x="618" y="444"/>
                  <a:pt x="615" y="447"/>
                  <a:pt x="611" y="447"/>
                </a:cubicBezTo>
                <a:close/>
                <a:moveTo>
                  <a:pt x="457" y="433"/>
                </a:moveTo>
                <a:cubicBezTo>
                  <a:pt x="604" y="433"/>
                  <a:pt x="604" y="433"/>
                  <a:pt x="604" y="433"/>
                </a:cubicBezTo>
                <a:cubicBezTo>
                  <a:pt x="604" y="14"/>
                  <a:pt x="604" y="14"/>
                  <a:pt x="604" y="14"/>
                </a:cubicBezTo>
                <a:cubicBezTo>
                  <a:pt x="457" y="14"/>
                  <a:pt x="457" y="14"/>
                  <a:pt x="457" y="14"/>
                </a:cubicBezTo>
                <a:lnTo>
                  <a:pt x="457" y="433"/>
                </a:lnTo>
                <a:close/>
                <a:moveTo>
                  <a:pt x="389" y="447"/>
                </a:moveTo>
                <a:cubicBezTo>
                  <a:pt x="228" y="447"/>
                  <a:pt x="228" y="447"/>
                  <a:pt x="228" y="447"/>
                </a:cubicBezTo>
                <a:cubicBezTo>
                  <a:pt x="225" y="447"/>
                  <a:pt x="221" y="444"/>
                  <a:pt x="221" y="440"/>
                </a:cubicBezTo>
                <a:cubicBezTo>
                  <a:pt x="221" y="110"/>
                  <a:pt x="221" y="110"/>
                  <a:pt x="221" y="110"/>
                </a:cubicBezTo>
                <a:cubicBezTo>
                  <a:pt x="221" y="106"/>
                  <a:pt x="225" y="103"/>
                  <a:pt x="228" y="103"/>
                </a:cubicBezTo>
                <a:cubicBezTo>
                  <a:pt x="389" y="103"/>
                  <a:pt x="389" y="103"/>
                  <a:pt x="389" y="103"/>
                </a:cubicBezTo>
                <a:cubicBezTo>
                  <a:pt x="393" y="103"/>
                  <a:pt x="396" y="106"/>
                  <a:pt x="396" y="110"/>
                </a:cubicBezTo>
                <a:cubicBezTo>
                  <a:pt x="396" y="440"/>
                  <a:pt x="396" y="440"/>
                  <a:pt x="396" y="440"/>
                </a:cubicBezTo>
                <a:cubicBezTo>
                  <a:pt x="396" y="444"/>
                  <a:pt x="393" y="447"/>
                  <a:pt x="389" y="447"/>
                </a:cubicBezTo>
                <a:close/>
                <a:moveTo>
                  <a:pt x="235" y="433"/>
                </a:moveTo>
                <a:cubicBezTo>
                  <a:pt x="382" y="433"/>
                  <a:pt x="382" y="433"/>
                  <a:pt x="382" y="433"/>
                </a:cubicBezTo>
                <a:cubicBezTo>
                  <a:pt x="382" y="117"/>
                  <a:pt x="382" y="117"/>
                  <a:pt x="382" y="117"/>
                </a:cubicBezTo>
                <a:cubicBezTo>
                  <a:pt x="235" y="117"/>
                  <a:pt x="235" y="117"/>
                  <a:pt x="235" y="117"/>
                </a:cubicBezTo>
                <a:lnTo>
                  <a:pt x="235" y="433"/>
                </a:lnTo>
                <a:close/>
                <a:moveTo>
                  <a:pt x="168" y="447"/>
                </a:moveTo>
                <a:cubicBezTo>
                  <a:pt x="7" y="447"/>
                  <a:pt x="7" y="447"/>
                  <a:pt x="7" y="447"/>
                </a:cubicBezTo>
                <a:cubicBezTo>
                  <a:pt x="3" y="447"/>
                  <a:pt x="0" y="444"/>
                  <a:pt x="0" y="440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220"/>
                  <a:pt x="3" y="217"/>
                  <a:pt x="7" y="217"/>
                </a:cubicBezTo>
                <a:cubicBezTo>
                  <a:pt x="168" y="217"/>
                  <a:pt x="168" y="217"/>
                  <a:pt x="168" y="217"/>
                </a:cubicBezTo>
                <a:cubicBezTo>
                  <a:pt x="172" y="217"/>
                  <a:pt x="175" y="220"/>
                  <a:pt x="175" y="224"/>
                </a:cubicBezTo>
                <a:cubicBezTo>
                  <a:pt x="175" y="440"/>
                  <a:pt x="175" y="440"/>
                  <a:pt x="175" y="440"/>
                </a:cubicBezTo>
                <a:cubicBezTo>
                  <a:pt x="175" y="444"/>
                  <a:pt x="172" y="447"/>
                  <a:pt x="168" y="447"/>
                </a:cubicBezTo>
                <a:close/>
                <a:moveTo>
                  <a:pt x="14" y="433"/>
                </a:moveTo>
                <a:cubicBezTo>
                  <a:pt x="161" y="433"/>
                  <a:pt x="161" y="433"/>
                  <a:pt x="161" y="433"/>
                </a:cubicBezTo>
                <a:cubicBezTo>
                  <a:pt x="161" y="231"/>
                  <a:pt x="161" y="231"/>
                  <a:pt x="161" y="231"/>
                </a:cubicBezTo>
                <a:cubicBezTo>
                  <a:pt x="14" y="231"/>
                  <a:pt x="14" y="231"/>
                  <a:pt x="14" y="231"/>
                </a:cubicBezTo>
                <a:lnTo>
                  <a:pt x="14" y="43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6" name="Oval 48"/>
          <p:cNvSpPr>
            <a:spLocks noChangeArrowheads="1"/>
          </p:cNvSpPr>
          <p:nvPr/>
        </p:nvSpPr>
        <p:spPr bwMode="auto">
          <a:xfrm>
            <a:off x="2259614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68" name="Freeform 85"/>
          <p:cNvSpPr>
            <a:spLocks noEditPoints="1"/>
          </p:cNvSpPr>
          <p:nvPr/>
        </p:nvSpPr>
        <p:spPr bwMode="auto">
          <a:xfrm>
            <a:off x="2431363" y="2443777"/>
            <a:ext cx="479464" cy="525085"/>
          </a:xfrm>
          <a:custGeom>
            <a:avLst/>
            <a:gdLst>
              <a:gd name="T0" fmla="*/ 309 w 619"/>
              <a:gd name="T1" fmla="*/ 679 h 679"/>
              <a:gd name="T2" fmla="*/ 0 w 619"/>
              <a:gd name="T3" fmla="*/ 369 h 679"/>
              <a:gd name="T4" fmla="*/ 304 w 619"/>
              <a:gd name="T5" fmla="*/ 60 h 679"/>
              <a:gd name="T6" fmla="*/ 309 w 619"/>
              <a:gd name="T7" fmla="*/ 62 h 679"/>
              <a:gd name="T8" fmla="*/ 312 w 619"/>
              <a:gd name="T9" fmla="*/ 67 h 679"/>
              <a:gd name="T10" fmla="*/ 312 w 619"/>
              <a:gd name="T11" fmla="*/ 365 h 679"/>
              <a:gd name="T12" fmla="*/ 561 w 619"/>
              <a:gd name="T13" fmla="*/ 201 h 679"/>
              <a:gd name="T14" fmla="*/ 566 w 619"/>
              <a:gd name="T15" fmla="*/ 200 h 679"/>
              <a:gd name="T16" fmla="*/ 571 w 619"/>
              <a:gd name="T17" fmla="*/ 203 h 679"/>
              <a:gd name="T18" fmla="*/ 619 w 619"/>
              <a:gd name="T19" fmla="*/ 369 h 679"/>
              <a:gd name="T20" fmla="*/ 309 w 619"/>
              <a:gd name="T21" fmla="*/ 679 h 679"/>
              <a:gd name="T22" fmla="*/ 298 w 619"/>
              <a:gd name="T23" fmla="*/ 74 h 679"/>
              <a:gd name="T24" fmla="*/ 14 w 619"/>
              <a:gd name="T25" fmla="*/ 369 h 679"/>
              <a:gd name="T26" fmla="*/ 309 w 619"/>
              <a:gd name="T27" fmla="*/ 665 h 679"/>
              <a:gd name="T28" fmla="*/ 605 w 619"/>
              <a:gd name="T29" fmla="*/ 369 h 679"/>
              <a:gd name="T30" fmla="*/ 563 w 619"/>
              <a:gd name="T31" fmla="*/ 217 h 679"/>
              <a:gd name="T32" fmla="*/ 308 w 619"/>
              <a:gd name="T33" fmla="*/ 384 h 679"/>
              <a:gd name="T34" fmla="*/ 301 w 619"/>
              <a:gd name="T35" fmla="*/ 384 h 679"/>
              <a:gd name="T36" fmla="*/ 298 w 619"/>
              <a:gd name="T37" fmla="*/ 378 h 679"/>
              <a:gd name="T38" fmla="*/ 298 w 619"/>
              <a:gd name="T39" fmla="*/ 74 h 679"/>
              <a:gd name="T40" fmla="*/ 348 w 619"/>
              <a:gd name="T41" fmla="*/ 308 h 679"/>
              <a:gd name="T42" fmla="*/ 345 w 619"/>
              <a:gd name="T43" fmla="*/ 307 h 679"/>
              <a:gd name="T44" fmla="*/ 341 w 619"/>
              <a:gd name="T45" fmla="*/ 301 h 679"/>
              <a:gd name="T46" fmla="*/ 341 w 619"/>
              <a:gd name="T47" fmla="*/ 7 h 679"/>
              <a:gd name="T48" fmla="*/ 343 w 619"/>
              <a:gd name="T49" fmla="*/ 2 h 679"/>
              <a:gd name="T50" fmla="*/ 348 w 619"/>
              <a:gd name="T51" fmla="*/ 0 h 679"/>
              <a:gd name="T52" fmla="*/ 599 w 619"/>
              <a:gd name="T53" fmla="*/ 135 h 679"/>
              <a:gd name="T54" fmla="*/ 600 w 619"/>
              <a:gd name="T55" fmla="*/ 141 h 679"/>
              <a:gd name="T56" fmla="*/ 597 w 619"/>
              <a:gd name="T57" fmla="*/ 145 h 679"/>
              <a:gd name="T58" fmla="*/ 352 w 619"/>
              <a:gd name="T59" fmla="*/ 307 h 679"/>
              <a:gd name="T60" fmla="*/ 348 w 619"/>
              <a:gd name="T61" fmla="*/ 308 h 679"/>
              <a:gd name="T62" fmla="*/ 355 w 619"/>
              <a:gd name="T63" fmla="*/ 14 h 679"/>
              <a:gd name="T64" fmla="*/ 355 w 619"/>
              <a:gd name="T65" fmla="*/ 288 h 679"/>
              <a:gd name="T66" fmla="*/ 583 w 619"/>
              <a:gd name="T67" fmla="*/ 137 h 679"/>
              <a:gd name="T68" fmla="*/ 355 w 619"/>
              <a:gd name="T69" fmla="*/ 14 h 6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19" h="679">
                <a:moveTo>
                  <a:pt x="309" y="679"/>
                </a:moveTo>
                <a:cubicBezTo>
                  <a:pt x="139" y="679"/>
                  <a:pt x="0" y="540"/>
                  <a:pt x="0" y="369"/>
                </a:cubicBezTo>
                <a:cubicBezTo>
                  <a:pt x="0" y="201"/>
                  <a:pt x="136" y="62"/>
                  <a:pt x="304" y="60"/>
                </a:cubicBezTo>
                <a:cubicBezTo>
                  <a:pt x="306" y="60"/>
                  <a:pt x="308" y="60"/>
                  <a:pt x="309" y="62"/>
                </a:cubicBezTo>
                <a:cubicBezTo>
                  <a:pt x="311" y="63"/>
                  <a:pt x="312" y="65"/>
                  <a:pt x="312" y="67"/>
                </a:cubicBezTo>
                <a:cubicBezTo>
                  <a:pt x="312" y="365"/>
                  <a:pt x="312" y="365"/>
                  <a:pt x="312" y="365"/>
                </a:cubicBezTo>
                <a:cubicBezTo>
                  <a:pt x="561" y="201"/>
                  <a:pt x="561" y="201"/>
                  <a:pt x="561" y="201"/>
                </a:cubicBezTo>
                <a:cubicBezTo>
                  <a:pt x="563" y="200"/>
                  <a:pt x="564" y="200"/>
                  <a:pt x="566" y="200"/>
                </a:cubicBezTo>
                <a:cubicBezTo>
                  <a:pt x="568" y="201"/>
                  <a:pt x="570" y="202"/>
                  <a:pt x="571" y="203"/>
                </a:cubicBezTo>
                <a:cubicBezTo>
                  <a:pt x="602" y="253"/>
                  <a:pt x="619" y="310"/>
                  <a:pt x="619" y="369"/>
                </a:cubicBezTo>
                <a:cubicBezTo>
                  <a:pt x="619" y="540"/>
                  <a:pt x="480" y="679"/>
                  <a:pt x="309" y="679"/>
                </a:cubicBezTo>
                <a:close/>
                <a:moveTo>
                  <a:pt x="298" y="74"/>
                </a:moveTo>
                <a:cubicBezTo>
                  <a:pt x="140" y="80"/>
                  <a:pt x="14" y="211"/>
                  <a:pt x="14" y="369"/>
                </a:cubicBezTo>
                <a:cubicBezTo>
                  <a:pt x="14" y="532"/>
                  <a:pt x="146" y="665"/>
                  <a:pt x="309" y="665"/>
                </a:cubicBezTo>
                <a:cubicBezTo>
                  <a:pt x="472" y="665"/>
                  <a:pt x="605" y="532"/>
                  <a:pt x="605" y="369"/>
                </a:cubicBezTo>
                <a:cubicBezTo>
                  <a:pt x="605" y="315"/>
                  <a:pt x="590" y="263"/>
                  <a:pt x="563" y="217"/>
                </a:cubicBezTo>
                <a:cubicBezTo>
                  <a:pt x="308" y="384"/>
                  <a:pt x="308" y="384"/>
                  <a:pt x="308" y="384"/>
                </a:cubicBezTo>
                <a:cubicBezTo>
                  <a:pt x="306" y="386"/>
                  <a:pt x="304" y="386"/>
                  <a:pt x="301" y="384"/>
                </a:cubicBezTo>
                <a:cubicBezTo>
                  <a:pt x="299" y="383"/>
                  <a:pt x="298" y="381"/>
                  <a:pt x="298" y="378"/>
                </a:cubicBezTo>
                <a:lnTo>
                  <a:pt x="298" y="74"/>
                </a:lnTo>
                <a:close/>
                <a:moveTo>
                  <a:pt x="348" y="308"/>
                </a:moveTo>
                <a:cubicBezTo>
                  <a:pt x="347" y="308"/>
                  <a:pt x="346" y="307"/>
                  <a:pt x="345" y="307"/>
                </a:cubicBezTo>
                <a:cubicBezTo>
                  <a:pt x="342" y="306"/>
                  <a:pt x="341" y="303"/>
                  <a:pt x="341" y="301"/>
                </a:cubicBezTo>
                <a:cubicBezTo>
                  <a:pt x="341" y="7"/>
                  <a:pt x="341" y="7"/>
                  <a:pt x="341" y="7"/>
                </a:cubicBezTo>
                <a:cubicBezTo>
                  <a:pt x="341" y="5"/>
                  <a:pt x="342" y="3"/>
                  <a:pt x="343" y="2"/>
                </a:cubicBezTo>
                <a:cubicBezTo>
                  <a:pt x="344" y="1"/>
                  <a:pt x="346" y="0"/>
                  <a:pt x="348" y="0"/>
                </a:cubicBezTo>
                <a:cubicBezTo>
                  <a:pt x="449" y="2"/>
                  <a:pt x="542" y="52"/>
                  <a:pt x="599" y="135"/>
                </a:cubicBezTo>
                <a:cubicBezTo>
                  <a:pt x="600" y="137"/>
                  <a:pt x="600" y="139"/>
                  <a:pt x="600" y="141"/>
                </a:cubicBezTo>
                <a:cubicBezTo>
                  <a:pt x="600" y="143"/>
                  <a:pt x="599" y="144"/>
                  <a:pt x="597" y="145"/>
                </a:cubicBezTo>
                <a:cubicBezTo>
                  <a:pt x="352" y="307"/>
                  <a:pt x="352" y="307"/>
                  <a:pt x="352" y="307"/>
                </a:cubicBezTo>
                <a:cubicBezTo>
                  <a:pt x="351" y="307"/>
                  <a:pt x="349" y="308"/>
                  <a:pt x="348" y="308"/>
                </a:cubicBezTo>
                <a:close/>
                <a:moveTo>
                  <a:pt x="355" y="14"/>
                </a:moveTo>
                <a:cubicBezTo>
                  <a:pt x="355" y="288"/>
                  <a:pt x="355" y="288"/>
                  <a:pt x="355" y="288"/>
                </a:cubicBezTo>
                <a:cubicBezTo>
                  <a:pt x="583" y="137"/>
                  <a:pt x="583" y="137"/>
                  <a:pt x="583" y="137"/>
                </a:cubicBezTo>
                <a:cubicBezTo>
                  <a:pt x="530" y="63"/>
                  <a:pt x="446" y="18"/>
                  <a:pt x="355" y="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33" name="Oval 55"/>
          <p:cNvSpPr>
            <a:spLocks noChangeArrowheads="1"/>
          </p:cNvSpPr>
          <p:nvPr/>
        </p:nvSpPr>
        <p:spPr bwMode="auto">
          <a:xfrm>
            <a:off x="6137845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69" name="Freeform 86"/>
          <p:cNvSpPr>
            <a:spLocks noEditPoints="1"/>
          </p:cNvSpPr>
          <p:nvPr/>
        </p:nvSpPr>
        <p:spPr bwMode="auto">
          <a:xfrm>
            <a:off x="6325899" y="1288628"/>
            <a:ext cx="445957" cy="494671"/>
          </a:xfrm>
          <a:custGeom>
            <a:avLst/>
            <a:gdLst>
              <a:gd name="T0" fmla="*/ 208 w 575"/>
              <a:gd name="T1" fmla="*/ 639 h 639"/>
              <a:gd name="T2" fmla="*/ 201 w 575"/>
              <a:gd name="T3" fmla="*/ 373 h 639"/>
              <a:gd name="T4" fmla="*/ 369 w 575"/>
              <a:gd name="T5" fmla="*/ 366 h 639"/>
              <a:gd name="T6" fmla="*/ 376 w 575"/>
              <a:gd name="T7" fmla="*/ 632 h 639"/>
              <a:gd name="T8" fmla="*/ 215 w 575"/>
              <a:gd name="T9" fmla="*/ 625 h 639"/>
              <a:gd name="T10" fmla="*/ 362 w 575"/>
              <a:gd name="T11" fmla="*/ 380 h 639"/>
              <a:gd name="T12" fmla="*/ 215 w 575"/>
              <a:gd name="T13" fmla="*/ 625 h 639"/>
              <a:gd name="T14" fmla="*/ 10 w 575"/>
              <a:gd name="T15" fmla="*/ 639 h 639"/>
              <a:gd name="T16" fmla="*/ 3 w 575"/>
              <a:gd name="T17" fmla="*/ 503 h 639"/>
              <a:gd name="T18" fmla="*/ 170 w 575"/>
              <a:gd name="T19" fmla="*/ 496 h 639"/>
              <a:gd name="T20" fmla="*/ 177 w 575"/>
              <a:gd name="T21" fmla="*/ 632 h 639"/>
              <a:gd name="T22" fmla="*/ 17 w 575"/>
              <a:gd name="T23" fmla="*/ 625 h 639"/>
              <a:gd name="T24" fmla="*/ 163 w 575"/>
              <a:gd name="T25" fmla="*/ 510 h 639"/>
              <a:gd name="T26" fmla="*/ 17 w 575"/>
              <a:gd name="T27" fmla="*/ 625 h 639"/>
              <a:gd name="T28" fmla="*/ 5 w 575"/>
              <a:gd name="T29" fmla="*/ 411 h 639"/>
              <a:gd name="T30" fmla="*/ 292 w 575"/>
              <a:gd name="T31" fmla="*/ 47 h 639"/>
              <a:gd name="T32" fmla="*/ 256 w 575"/>
              <a:gd name="T33" fmla="*/ 4 h 639"/>
              <a:gd name="T34" fmla="*/ 417 w 575"/>
              <a:gd name="T35" fmla="*/ 0 h 639"/>
              <a:gd name="T36" fmla="*/ 424 w 575"/>
              <a:gd name="T37" fmla="*/ 163 h 639"/>
              <a:gd name="T38" fmla="*/ 412 w 575"/>
              <a:gd name="T39" fmla="*/ 168 h 639"/>
              <a:gd name="T40" fmla="*/ 31 w 575"/>
              <a:gd name="T41" fmla="*/ 414 h 639"/>
              <a:gd name="T42" fmla="*/ 279 w 575"/>
              <a:gd name="T43" fmla="*/ 14 h 639"/>
              <a:gd name="T44" fmla="*/ 307 w 575"/>
              <a:gd name="T45" fmla="*/ 51 h 639"/>
              <a:gd name="T46" fmla="*/ 16 w 575"/>
              <a:gd name="T47" fmla="*/ 402 h 639"/>
              <a:gd name="T48" fmla="*/ 22 w 575"/>
              <a:gd name="T49" fmla="*/ 403 h 639"/>
              <a:gd name="T50" fmla="*/ 383 w 575"/>
              <a:gd name="T51" fmla="*/ 118 h 639"/>
              <a:gd name="T52" fmla="*/ 410 w 575"/>
              <a:gd name="T53" fmla="*/ 14 h 639"/>
              <a:gd name="T54" fmla="*/ 568 w 575"/>
              <a:gd name="T55" fmla="*/ 639 h 639"/>
              <a:gd name="T56" fmla="*/ 400 w 575"/>
              <a:gd name="T57" fmla="*/ 632 h 639"/>
              <a:gd name="T58" fmla="*/ 407 w 575"/>
              <a:gd name="T59" fmla="*/ 238 h 639"/>
              <a:gd name="T60" fmla="*/ 575 w 575"/>
              <a:gd name="T61" fmla="*/ 245 h 639"/>
              <a:gd name="T62" fmla="*/ 568 w 575"/>
              <a:gd name="T63" fmla="*/ 639 h 639"/>
              <a:gd name="T64" fmla="*/ 561 w 575"/>
              <a:gd name="T65" fmla="*/ 625 h 639"/>
              <a:gd name="T66" fmla="*/ 414 w 575"/>
              <a:gd name="T67" fmla="*/ 252 h 6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75" h="639">
                <a:moveTo>
                  <a:pt x="369" y="639"/>
                </a:moveTo>
                <a:cubicBezTo>
                  <a:pt x="208" y="639"/>
                  <a:pt x="208" y="639"/>
                  <a:pt x="208" y="639"/>
                </a:cubicBezTo>
                <a:cubicBezTo>
                  <a:pt x="205" y="639"/>
                  <a:pt x="201" y="636"/>
                  <a:pt x="201" y="632"/>
                </a:cubicBezTo>
                <a:cubicBezTo>
                  <a:pt x="201" y="373"/>
                  <a:pt x="201" y="373"/>
                  <a:pt x="201" y="373"/>
                </a:cubicBezTo>
                <a:cubicBezTo>
                  <a:pt x="201" y="369"/>
                  <a:pt x="205" y="366"/>
                  <a:pt x="208" y="366"/>
                </a:cubicBezTo>
                <a:cubicBezTo>
                  <a:pt x="369" y="366"/>
                  <a:pt x="369" y="366"/>
                  <a:pt x="369" y="366"/>
                </a:cubicBezTo>
                <a:cubicBezTo>
                  <a:pt x="373" y="366"/>
                  <a:pt x="376" y="369"/>
                  <a:pt x="376" y="373"/>
                </a:cubicBezTo>
                <a:cubicBezTo>
                  <a:pt x="376" y="632"/>
                  <a:pt x="376" y="632"/>
                  <a:pt x="376" y="632"/>
                </a:cubicBezTo>
                <a:cubicBezTo>
                  <a:pt x="376" y="636"/>
                  <a:pt x="373" y="639"/>
                  <a:pt x="369" y="639"/>
                </a:cubicBezTo>
                <a:close/>
                <a:moveTo>
                  <a:pt x="215" y="625"/>
                </a:moveTo>
                <a:cubicBezTo>
                  <a:pt x="362" y="625"/>
                  <a:pt x="362" y="625"/>
                  <a:pt x="362" y="625"/>
                </a:cubicBezTo>
                <a:cubicBezTo>
                  <a:pt x="362" y="380"/>
                  <a:pt x="362" y="380"/>
                  <a:pt x="362" y="380"/>
                </a:cubicBezTo>
                <a:cubicBezTo>
                  <a:pt x="215" y="380"/>
                  <a:pt x="215" y="380"/>
                  <a:pt x="215" y="380"/>
                </a:cubicBezTo>
                <a:lnTo>
                  <a:pt x="215" y="625"/>
                </a:lnTo>
                <a:close/>
                <a:moveTo>
                  <a:pt x="170" y="639"/>
                </a:moveTo>
                <a:cubicBezTo>
                  <a:pt x="10" y="639"/>
                  <a:pt x="10" y="639"/>
                  <a:pt x="10" y="639"/>
                </a:cubicBezTo>
                <a:cubicBezTo>
                  <a:pt x="6" y="639"/>
                  <a:pt x="3" y="636"/>
                  <a:pt x="3" y="632"/>
                </a:cubicBezTo>
                <a:cubicBezTo>
                  <a:pt x="3" y="503"/>
                  <a:pt x="3" y="503"/>
                  <a:pt x="3" y="503"/>
                </a:cubicBezTo>
                <a:cubicBezTo>
                  <a:pt x="3" y="499"/>
                  <a:pt x="6" y="496"/>
                  <a:pt x="10" y="496"/>
                </a:cubicBezTo>
                <a:cubicBezTo>
                  <a:pt x="170" y="496"/>
                  <a:pt x="170" y="496"/>
                  <a:pt x="170" y="496"/>
                </a:cubicBezTo>
                <a:cubicBezTo>
                  <a:pt x="174" y="496"/>
                  <a:pt x="177" y="499"/>
                  <a:pt x="177" y="503"/>
                </a:cubicBezTo>
                <a:cubicBezTo>
                  <a:pt x="177" y="632"/>
                  <a:pt x="177" y="632"/>
                  <a:pt x="177" y="632"/>
                </a:cubicBezTo>
                <a:cubicBezTo>
                  <a:pt x="177" y="636"/>
                  <a:pt x="174" y="639"/>
                  <a:pt x="170" y="639"/>
                </a:cubicBezTo>
                <a:close/>
                <a:moveTo>
                  <a:pt x="17" y="625"/>
                </a:moveTo>
                <a:cubicBezTo>
                  <a:pt x="163" y="625"/>
                  <a:pt x="163" y="625"/>
                  <a:pt x="163" y="625"/>
                </a:cubicBezTo>
                <a:cubicBezTo>
                  <a:pt x="163" y="510"/>
                  <a:pt x="163" y="510"/>
                  <a:pt x="163" y="510"/>
                </a:cubicBezTo>
                <a:cubicBezTo>
                  <a:pt x="17" y="510"/>
                  <a:pt x="17" y="510"/>
                  <a:pt x="17" y="510"/>
                </a:cubicBezTo>
                <a:lnTo>
                  <a:pt x="17" y="625"/>
                </a:lnTo>
                <a:close/>
                <a:moveTo>
                  <a:pt x="19" y="418"/>
                </a:moveTo>
                <a:cubicBezTo>
                  <a:pt x="14" y="418"/>
                  <a:pt x="9" y="416"/>
                  <a:pt x="5" y="411"/>
                </a:cubicBezTo>
                <a:cubicBezTo>
                  <a:pt x="0" y="404"/>
                  <a:pt x="0" y="395"/>
                  <a:pt x="5" y="388"/>
                </a:cubicBezTo>
                <a:cubicBezTo>
                  <a:pt x="292" y="47"/>
                  <a:pt x="292" y="47"/>
                  <a:pt x="292" y="47"/>
                </a:cubicBezTo>
                <a:cubicBezTo>
                  <a:pt x="257" y="12"/>
                  <a:pt x="257" y="12"/>
                  <a:pt x="257" y="12"/>
                </a:cubicBezTo>
                <a:cubicBezTo>
                  <a:pt x="255" y="10"/>
                  <a:pt x="255" y="7"/>
                  <a:pt x="256" y="4"/>
                </a:cubicBezTo>
                <a:cubicBezTo>
                  <a:pt x="257" y="1"/>
                  <a:pt x="260" y="0"/>
                  <a:pt x="262" y="0"/>
                </a:cubicBezTo>
                <a:cubicBezTo>
                  <a:pt x="417" y="0"/>
                  <a:pt x="417" y="0"/>
                  <a:pt x="417" y="0"/>
                </a:cubicBezTo>
                <a:cubicBezTo>
                  <a:pt x="421" y="0"/>
                  <a:pt x="424" y="3"/>
                  <a:pt x="424" y="7"/>
                </a:cubicBezTo>
                <a:cubicBezTo>
                  <a:pt x="424" y="163"/>
                  <a:pt x="424" y="163"/>
                  <a:pt x="424" y="163"/>
                </a:cubicBezTo>
                <a:cubicBezTo>
                  <a:pt x="424" y="166"/>
                  <a:pt x="423" y="168"/>
                  <a:pt x="420" y="169"/>
                </a:cubicBezTo>
                <a:cubicBezTo>
                  <a:pt x="417" y="170"/>
                  <a:pt x="414" y="170"/>
                  <a:pt x="412" y="168"/>
                </a:cubicBezTo>
                <a:cubicBezTo>
                  <a:pt x="377" y="133"/>
                  <a:pt x="377" y="133"/>
                  <a:pt x="377" y="133"/>
                </a:cubicBezTo>
                <a:cubicBezTo>
                  <a:pt x="31" y="414"/>
                  <a:pt x="31" y="414"/>
                  <a:pt x="31" y="414"/>
                </a:cubicBezTo>
                <a:cubicBezTo>
                  <a:pt x="28" y="417"/>
                  <a:pt x="24" y="418"/>
                  <a:pt x="19" y="418"/>
                </a:cubicBezTo>
                <a:close/>
                <a:moveTo>
                  <a:pt x="279" y="14"/>
                </a:moveTo>
                <a:cubicBezTo>
                  <a:pt x="307" y="41"/>
                  <a:pt x="307" y="41"/>
                  <a:pt x="307" y="41"/>
                </a:cubicBezTo>
                <a:cubicBezTo>
                  <a:pt x="309" y="44"/>
                  <a:pt x="309" y="48"/>
                  <a:pt x="307" y="51"/>
                </a:cubicBezTo>
                <a:cubicBezTo>
                  <a:pt x="16" y="397"/>
                  <a:pt x="16" y="397"/>
                  <a:pt x="16" y="397"/>
                </a:cubicBezTo>
                <a:cubicBezTo>
                  <a:pt x="15" y="399"/>
                  <a:pt x="15" y="401"/>
                  <a:pt x="16" y="402"/>
                </a:cubicBezTo>
                <a:cubicBezTo>
                  <a:pt x="17" y="404"/>
                  <a:pt x="18" y="404"/>
                  <a:pt x="19" y="404"/>
                </a:cubicBezTo>
                <a:cubicBezTo>
                  <a:pt x="20" y="404"/>
                  <a:pt x="21" y="404"/>
                  <a:pt x="22" y="403"/>
                </a:cubicBezTo>
                <a:cubicBezTo>
                  <a:pt x="373" y="118"/>
                  <a:pt x="373" y="118"/>
                  <a:pt x="373" y="118"/>
                </a:cubicBezTo>
                <a:cubicBezTo>
                  <a:pt x="376" y="115"/>
                  <a:pt x="380" y="116"/>
                  <a:pt x="383" y="118"/>
                </a:cubicBezTo>
                <a:cubicBezTo>
                  <a:pt x="410" y="146"/>
                  <a:pt x="410" y="146"/>
                  <a:pt x="410" y="146"/>
                </a:cubicBezTo>
                <a:cubicBezTo>
                  <a:pt x="410" y="14"/>
                  <a:pt x="410" y="14"/>
                  <a:pt x="410" y="14"/>
                </a:cubicBezTo>
                <a:lnTo>
                  <a:pt x="279" y="14"/>
                </a:lnTo>
                <a:close/>
                <a:moveTo>
                  <a:pt x="568" y="639"/>
                </a:moveTo>
                <a:cubicBezTo>
                  <a:pt x="407" y="639"/>
                  <a:pt x="407" y="639"/>
                  <a:pt x="407" y="639"/>
                </a:cubicBezTo>
                <a:cubicBezTo>
                  <a:pt x="403" y="639"/>
                  <a:pt x="400" y="636"/>
                  <a:pt x="400" y="632"/>
                </a:cubicBezTo>
                <a:cubicBezTo>
                  <a:pt x="400" y="245"/>
                  <a:pt x="400" y="245"/>
                  <a:pt x="400" y="245"/>
                </a:cubicBezTo>
                <a:cubicBezTo>
                  <a:pt x="400" y="241"/>
                  <a:pt x="403" y="238"/>
                  <a:pt x="407" y="238"/>
                </a:cubicBezTo>
                <a:cubicBezTo>
                  <a:pt x="568" y="238"/>
                  <a:pt x="568" y="238"/>
                  <a:pt x="568" y="238"/>
                </a:cubicBezTo>
                <a:cubicBezTo>
                  <a:pt x="572" y="238"/>
                  <a:pt x="575" y="241"/>
                  <a:pt x="575" y="245"/>
                </a:cubicBezTo>
                <a:cubicBezTo>
                  <a:pt x="575" y="632"/>
                  <a:pt x="575" y="632"/>
                  <a:pt x="575" y="632"/>
                </a:cubicBezTo>
                <a:cubicBezTo>
                  <a:pt x="575" y="636"/>
                  <a:pt x="572" y="639"/>
                  <a:pt x="568" y="639"/>
                </a:cubicBezTo>
                <a:close/>
                <a:moveTo>
                  <a:pt x="414" y="625"/>
                </a:moveTo>
                <a:cubicBezTo>
                  <a:pt x="561" y="625"/>
                  <a:pt x="561" y="625"/>
                  <a:pt x="561" y="625"/>
                </a:cubicBezTo>
                <a:cubicBezTo>
                  <a:pt x="561" y="252"/>
                  <a:pt x="561" y="252"/>
                  <a:pt x="561" y="252"/>
                </a:cubicBezTo>
                <a:cubicBezTo>
                  <a:pt x="414" y="252"/>
                  <a:pt x="414" y="252"/>
                  <a:pt x="414" y="252"/>
                </a:cubicBezTo>
                <a:lnTo>
                  <a:pt x="414" y="6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32" name="Oval 54"/>
          <p:cNvSpPr>
            <a:spLocks noChangeArrowheads="1"/>
          </p:cNvSpPr>
          <p:nvPr/>
        </p:nvSpPr>
        <p:spPr bwMode="auto">
          <a:xfrm>
            <a:off x="7430588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70" name="Freeform 87"/>
          <p:cNvSpPr>
            <a:spLocks noEditPoints="1"/>
          </p:cNvSpPr>
          <p:nvPr/>
        </p:nvSpPr>
        <p:spPr bwMode="auto">
          <a:xfrm>
            <a:off x="7607001" y="1283261"/>
            <a:ext cx="469239" cy="504510"/>
          </a:xfrm>
          <a:custGeom>
            <a:avLst/>
            <a:gdLst>
              <a:gd name="T0" fmla="*/ 404 w 606"/>
              <a:gd name="T1" fmla="*/ 652 h 652"/>
              <a:gd name="T2" fmla="*/ 397 w 606"/>
              <a:gd name="T3" fmla="*/ 515 h 652"/>
              <a:gd name="T4" fmla="*/ 565 w 606"/>
              <a:gd name="T5" fmla="*/ 508 h 652"/>
              <a:gd name="T6" fmla="*/ 572 w 606"/>
              <a:gd name="T7" fmla="*/ 645 h 652"/>
              <a:gd name="T8" fmla="*/ 411 w 606"/>
              <a:gd name="T9" fmla="*/ 638 h 652"/>
              <a:gd name="T10" fmla="*/ 558 w 606"/>
              <a:gd name="T11" fmla="*/ 522 h 652"/>
              <a:gd name="T12" fmla="*/ 411 w 606"/>
              <a:gd name="T13" fmla="*/ 638 h 652"/>
              <a:gd name="T14" fmla="*/ 206 w 606"/>
              <a:gd name="T15" fmla="*/ 652 h 652"/>
              <a:gd name="T16" fmla="*/ 199 w 606"/>
              <a:gd name="T17" fmla="*/ 385 h 652"/>
              <a:gd name="T18" fmla="*/ 366 w 606"/>
              <a:gd name="T19" fmla="*/ 378 h 652"/>
              <a:gd name="T20" fmla="*/ 373 w 606"/>
              <a:gd name="T21" fmla="*/ 645 h 652"/>
              <a:gd name="T22" fmla="*/ 213 w 606"/>
              <a:gd name="T23" fmla="*/ 638 h 652"/>
              <a:gd name="T24" fmla="*/ 359 w 606"/>
              <a:gd name="T25" fmla="*/ 392 h 652"/>
              <a:gd name="T26" fmla="*/ 213 w 606"/>
              <a:gd name="T27" fmla="*/ 638 h 652"/>
              <a:gd name="T28" fmla="*/ 7 w 606"/>
              <a:gd name="T29" fmla="*/ 652 h 652"/>
              <a:gd name="T30" fmla="*/ 0 w 606"/>
              <a:gd name="T31" fmla="*/ 258 h 652"/>
              <a:gd name="T32" fmla="*/ 168 w 606"/>
              <a:gd name="T33" fmla="*/ 251 h 652"/>
              <a:gd name="T34" fmla="*/ 175 w 606"/>
              <a:gd name="T35" fmla="*/ 645 h 652"/>
              <a:gd name="T36" fmla="*/ 14 w 606"/>
              <a:gd name="T37" fmla="*/ 638 h 652"/>
              <a:gd name="T38" fmla="*/ 161 w 606"/>
              <a:gd name="T39" fmla="*/ 265 h 652"/>
              <a:gd name="T40" fmla="*/ 14 w 606"/>
              <a:gd name="T41" fmla="*/ 638 h 652"/>
              <a:gd name="T42" fmla="*/ 445 w 606"/>
              <a:gd name="T43" fmla="*/ 422 h 652"/>
              <a:gd name="T44" fmla="*/ 440 w 606"/>
              <a:gd name="T45" fmla="*/ 410 h 652"/>
              <a:gd name="T46" fmla="*/ 191 w 606"/>
              <a:gd name="T47" fmla="*/ 31 h 652"/>
              <a:gd name="T48" fmla="*/ 217 w 606"/>
              <a:gd name="T49" fmla="*/ 6 h 652"/>
              <a:gd name="T50" fmla="*/ 595 w 606"/>
              <a:gd name="T51" fmla="*/ 255 h 652"/>
              <a:gd name="T52" fmla="*/ 606 w 606"/>
              <a:gd name="T53" fmla="*/ 260 h 652"/>
              <a:gd name="T54" fmla="*/ 599 w 606"/>
              <a:gd name="T55" fmla="*/ 422 h 652"/>
              <a:gd name="T56" fmla="*/ 592 w 606"/>
              <a:gd name="T57" fmla="*/ 408 h 652"/>
              <a:gd name="T58" fmla="*/ 565 w 606"/>
              <a:gd name="T59" fmla="*/ 305 h 652"/>
              <a:gd name="T60" fmla="*/ 208 w 606"/>
              <a:gd name="T61" fmla="*/ 16 h 652"/>
              <a:gd name="T62" fmla="*/ 203 w 606"/>
              <a:gd name="T63" fmla="*/ 16 h 652"/>
              <a:gd name="T64" fmla="*/ 489 w 606"/>
              <a:gd name="T65" fmla="*/ 372 h 652"/>
              <a:gd name="T66" fmla="*/ 461 w 606"/>
              <a:gd name="T67" fmla="*/ 408 h 6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06" h="652">
                <a:moveTo>
                  <a:pt x="565" y="652"/>
                </a:moveTo>
                <a:cubicBezTo>
                  <a:pt x="404" y="652"/>
                  <a:pt x="404" y="652"/>
                  <a:pt x="404" y="652"/>
                </a:cubicBezTo>
                <a:cubicBezTo>
                  <a:pt x="401" y="652"/>
                  <a:pt x="397" y="649"/>
                  <a:pt x="397" y="645"/>
                </a:cubicBezTo>
                <a:cubicBezTo>
                  <a:pt x="397" y="515"/>
                  <a:pt x="397" y="515"/>
                  <a:pt x="397" y="515"/>
                </a:cubicBezTo>
                <a:cubicBezTo>
                  <a:pt x="397" y="511"/>
                  <a:pt x="401" y="508"/>
                  <a:pt x="404" y="508"/>
                </a:cubicBezTo>
                <a:cubicBezTo>
                  <a:pt x="565" y="508"/>
                  <a:pt x="565" y="508"/>
                  <a:pt x="565" y="508"/>
                </a:cubicBezTo>
                <a:cubicBezTo>
                  <a:pt x="569" y="508"/>
                  <a:pt x="572" y="511"/>
                  <a:pt x="572" y="515"/>
                </a:cubicBezTo>
                <a:cubicBezTo>
                  <a:pt x="572" y="645"/>
                  <a:pt x="572" y="645"/>
                  <a:pt x="572" y="645"/>
                </a:cubicBezTo>
                <a:cubicBezTo>
                  <a:pt x="572" y="649"/>
                  <a:pt x="569" y="652"/>
                  <a:pt x="565" y="652"/>
                </a:cubicBezTo>
                <a:close/>
                <a:moveTo>
                  <a:pt x="411" y="638"/>
                </a:moveTo>
                <a:cubicBezTo>
                  <a:pt x="558" y="638"/>
                  <a:pt x="558" y="638"/>
                  <a:pt x="558" y="638"/>
                </a:cubicBezTo>
                <a:cubicBezTo>
                  <a:pt x="558" y="522"/>
                  <a:pt x="558" y="522"/>
                  <a:pt x="558" y="522"/>
                </a:cubicBezTo>
                <a:cubicBezTo>
                  <a:pt x="411" y="522"/>
                  <a:pt x="411" y="522"/>
                  <a:pt x="411" y="522"/>
                </a:cubicBezTo>
                <a:lnTo>
                  <a:pt x="411" y="638"/>
                </a:lnTo>
                <a:close/>
                <a:moveTo>
                  <a:pt x="366" y="652"/>
                </a:moveTo>
                <a:cubicBezTo>
                  <a:pt x="206" y="652"/>
                  <a:pt x="206" y="652"/>
                  <a:pt x="206" y="652"/>
                </a:cubicBezTo>
                <a:cubicBezTo>
                  <a:pt x="202" y="652"/>
                  <a:pt x="199" y="649"/>
                  <a:pt x="199" y="645"/>
                </a:cubicBezTo>
                <a:cubicBezTo>
                  <a:pt x="199" y="385"/>
                  <a:pt x="199" y="385"/>
                  <a:pt x="199" y="385"/>
                </a:cubicBezTo>
                <a:cubicBezTo>
                  <a:pt x="199" y="382"/>
                  <a:pt x="202" y="378"/>
                  <a:pt x="206" y="378"/>
                </a:cubicBezTo>
                <a:cubicBezTo>
                  <a:pt x="366" y="378"/>
                  <a:pt x="366" y="378"/>
                  <a:pt x="366" y="378"/>
                </a:cubicBezTo>
                <a:cubicBezTo>
                  <a:pt x="370" y="378"/>
                  <a:pt x="373" y="382"/>
                  <a:pt x="373" y="385"/>
                </a:cubicBezTo>
                <a:cubicBezTo>
                  <a:pt x="373" y="645"/>
                  <a:pt x="373" y="645"/>
                  <a:pt x="373" y="645"/>
                </a:cubicBezTo>
                <a:cubicBezTo>
                  <a:pt x="373" y="649"/>
                  <a:pt x="370" y="652"/>
                  <a:pt x="366" y="652"/>
                </a:cubicBezTo>
                <a:close/>
                <a:moveTo>
                  <a:pt x="213" y="638"/>
                </a:moveTo>
                <a:cubicBezTo>
                  <a:pt x="359" y="638"/>
                  <a:pt x="359" y="638"/>
                  <a:pt x="359" y="638"/>
                </a:cubicBezTo>
                <a:cubicBezTo>
                  <a:pt x="359" y="392"/>
                  <a:pt x="359" y="392"/>
                  <a:pt x="359" y="392"/>
                </a:cubicBezTo>
                <a:cubicBezTo>
                  <a:pt x="213" y="392"/>
                  <a:pt x="213" y="392"/>
                  <a:pt x="213" y="392"/>
                </a:cubicBezTo>
                <a:lnTo>
                  <a:pt x="213" y="638"/>
                </a:lnTo>
                <a:close/>
                <a:moveTo>
                  <a:pt x="168" y="652"/>
                </a:moveTo>
                <a:cubicBezTo>
                  <a:pt x="7" y="652"/>
                  <a:pt x="7" y="652"/>
                  <a:pt x="7" y="652"/>
                </a:cubicBezTo>
                <a:cubicBezTo>
                  <a:pt x="3" y="652"/>
                  <a:pt x="0" y="649"/>
                  <a:pt x="0" y="645"/>
                </a:cubicBezTo>
                <a:cubicBezTo>
                  <a:pt x="0" y="258"/>
                  <a:pt x="0" y="258"/>
                  <a:pt x="0" y="258"/>
                </a:cubicBezTo>
                <a:cubicBezTo>
                  <a:pt x="0" y="254"/>
                  <a:pt x="3" y="251"/>
                  <a:pt x="7" y="251"/>
                </a:cubicBezTo>
                <a:cubicBezTo>
                  <a:pt x="168" y="251"/>
                  <a:pt x="168" y="251"/>
                  <a:pt x="168" y="251"/>
                </a:cubicBezTo>
                <a:cubicBezTo>
                  <a:pt x="171" y="251"/>
                  <a:pt x="175" y="254"/>
                  <a:pt x="175" y="258"/>
                </a:cubicBezTo>
                <a:cubicBezTo>
                  <a:pt x="175" y="645"/>
                  <a:pt x="175" y="645"/>
                  <a:pt x="175" y="645"/>
                </a:cubicBezTo>
                <a:cubicBezTo>
                  <a:pt x="175" y="649"/>
                  <a:pt x="171" y="652"/>
                  <a:pt x="168" y="652"/>
                </a:cubicBezTo>
                <a:close/>
                <a:moveTo>
                  <a:pt x="14" y="638"/>
                </a:moveTo>
                <a:cubicBezTo>
                  <a:pt x="161" y="638"/>
                  <a:pt x="161" y="638"/>
                  <a:pt x="161" y="638"/>
                </a:cubicBezTo>
                <a:cubicBezTo>
                  <a:pt x="161" y="265"/>
                  <a:pt x="161" y="265"/>
                  <a:pt x="161" y="265"/>
                </a:cubicBezTo>
                <a:cubicBezTo>
                  <a:pt x="14" y="265"/>
                  <a:pt x="14" y="265"/>
                  <a:pt x="14" y="265"/>
                </a:cubicBezTo>
                <a:lnTo>
                  <a:pt x="14" y="638"/>
                </a:lnTo>
                <a:close/>
                <a:moveTo>
                  <a:pt x="599" y="422"/>
                </a:moveTo>
                <a:cubicBezTo>
                  <a:pt x="445" y="422"/>
                  <a:pt x="445" y="422"/>
                  <a:pt x="445" y="422"/>
                </a:cubicBezTo>
                <a:cubicBezTo>
                  <a:pt x="442" y="422"/>
                  <a:pt x="439" y="421"/>
                  <a:pt x="438" y="418"/>
                </a:cubicBezTo>
                <a:cubicBezTo>
                  <a:pt x="437" y="415"/>
                  <a:pt x="438" y="412"/>
                  <a:pt x="440" y="410"/>
                </a:cubicBezTo>
                <a:cubicBezTo>
                  <a:pt x="474" y="376"/>
                  <a:pt x="474" y="376"/>
                  <a:pt x="474" y="376"/>
                </a:cubicBezTo>
                <a:cubicBezTo>
                  <a:pt x="191" y="31"/>
                  <a:pt x="191" y="31"/>
                  <a:pt x="191" y="31"/>
                </a:cubicBezTo>
                <a:cubicBezTo>
                  <a:pt x="185" y="24"/>
                  <a:pt x="186" y="12"/>
                  <a:pt x="194" y="6"/>
                </a:cubicBezTo>
                <a:cubicBezTo>
                  <a:pt x="200" y="0"/>
                  <a:pt x="211" y="0"/>
                  <a:pt x="217" y="6"/>
                </a:cubicBezTo>
                <a:cubicBezTo>
                  <a:pt x="560" y="290"/>
                  <a:pt x="560" y="290"/>
                  <a:pt x="560" y="290"/>
                </a:cubicBezTo>
                <a:cubicBezTo>
                  <a:pt x="595" y="255"/>
                  <a:pt x="595" y="255"/>
                  <a:pt x="595" y="255"/>
                </a:cubicBezTo>
                <a:cubicBezTo>
                  <a:pt x="597" y="253"/>
                  <a:pt x="600" y="253"/>
                  <a:pt x="602" y="254"/>
                </a:cubicBezTo>
                <a:cubicBezTo>
                  <a:pt x="605" y="255"/>
                  <a:pt x="606" y="257"/>
                  <a:pt x="606" y="260"/>
                </a:cubicBezTo>
                <a:cubicBezTo>
                  <a:pt x="606" y="415"/>
                  <a:pt x="606" y="415"/>
                  <a:pt x="606" y="415"/>
                </a:cubicBezTo>
                <a:cubicBezTo>
                  <a:pt x="606" y="419"/>
                  <a:pt x="603" y="422"/>
                  <a:pt x="599" y="422"/>
                </a:cubicBezTo>
                <a:close/>
                <a:moveTo>
                  <a:pt x="461" y="408"/>
                </a:moveTo>
                <a:cubicBezTo>
                  <a:pt x="592" y="408"/>
                  <a:pt x="592" y="408"/>
                  <a:pt x="592" y="408"/>
                </a:cubicBezTo>
                <a:cubicBezTo>
                  <a:pt x="592" y="277"/>
                  <a:pt x="592" y="277"/>
                  <a:pt x="592" y="277"/>
                </a:cubicBezTo>
                <a:cubicBezTo>
                  <a:pt x="565" y="305"/>
                  <a:pt x="565" y="305"/>
                  <a:pt x="565" y="305"/>
                </a:cubicBezTo>
                <a:cubicBezTo>
                  <a:pt x="563" y="307"/>
                  <a:pt x="558" y="307"/>
                  <a:pt x="556" y="305"/>
                </a:cubicBezTo>
                <a:cubicBezTo>
                  <a:pt x="208" y="16"/>
                  <a:pt x="208" y="16"/>
                  <a:pt x="208" y="16"/>
                </a:cubicBezTo>
                <a:cubicBezTo>
                  <a:pt x="207" y="16"/>
                  <a:pt x="206" y="15"/>
                  <a:pt x="205" y="15"/>
                </a:cubicBezTo>
                <a:cubicBezTo>
                  <a:pt x="205" y="15"/>
                  <a:pt x="204" y="15"/>
                  <a:pt x="203" y="16"/>
                </a:cubicBezTo>
                <a:cubicBezTo>
                  <a:pt x="201" y="18"/>
                  <a:pt x="200" y="21"/>
                  <a:pt x="202" y="22"/>
                </a:cubicBezTo>
                <a:cubicBezTo>
                  <a:pt x="489" y="372"/>
                  <a:pt x="489" y="372"/>
                  <a:pt x="489" y="372"/>
                </a:cubicBezTo>
                <a:cubicBezTo>
                  <a:pt x="491" y="374"/>
                  <a:pt x="491" y="378"/>
                  <a:pt x="489" y="381"/>
                </a:cubicBezTo>
                <a:lnTo>
                  <a:pt x="461" y="40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30" name="Oval 52"/>
          <p:cNvSpPr>
            <a:spLocks noChangeArrowheads="1"/>
          </p:cNvSpPr>
          <p:nvPr/>
        </p:nvSpPr>
        <p:spPr bwMode="auto">
          <a:xfrm>
            <a:off x="7430588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71" name="Freeform 88"/>
          <p:cNvSpPr>
            <a:spLocks noEditPoints="1"/>
          </p:cNvSpPr>
          <p:nvPr/>
        </p:nvSpPr>
        <p:spPr bwMode="auto">
          <a:xfrm>
            <a:off x="7593392" y="2503709"/>
            <a:ext cx="497354" cy="405219"/>
          </a:xfrm>
          <a:custGeom>
            <a:avLst/>
            <a:gdLst>
              <a:gd name="T0" fmla="*/ 588 w 643"/>
              <a:gd name="T1" fmla="*/ 88 h 523"/>
              <a:gd name="T2" fmla="*/ 418 w 643"/>
              <a:gd name="T3" fmla="*/ 88 h 523"/>
              <a:gd name="T4" fmla="*/ 418 w 643"/>
              <a:gd name="T5" fmla="*/ 29 h 523"/>
              <a:gd name="T6" fmla="*/ 390 w 643"/>
              <a:gd name="T7" fmla="*/ 0 h 523"/>
              <a:gd name="T8" fmla="*/ 252 w 643"/>
              <a:gd name="T9" fmla="*/ 0 h 523"/>
              <a:gd name="T10" fmla="*/ 224 w 643"/>
              <a:gd name="T11" fmla="*/ 29 h 523"/>
              <a:gd name="T12" fmla="*/ 224 w 643"/>
              <a:gd name="T13" fmla="*/ 88 h 523"/>
              <a:gd name="T14" fmla="*/ 55 w 643"/>
              <a:gd name="T15" fmla="*/ 88 h 523"/>
              <a:gd name="T16" fmla="*/ 0 w 643"/>
              <a:gd name="T17" fmla="*/ 143 h 523"/>
              <a:gd name="T18" fmla="*/ 0 w 643"/>
              <a:gd name="T19" fmla="*/ 467 h 523"/>
              <a:gd name="T20" fmla="*/ 55 w 643"/>
              <a:gd name="T21" fmla="*/ 523 h 523"/>
              <a:gd name="T22" fmla="*/ 588 w 643"/>
              <a:gd name="T23" fmla="*/ 523 h 523"/>
              <a:gd name="T24" fmla="*/ 643 w 643"/>
              <a:gd name="T25" fmla="*/ 467 h 523"/>
              <a:gd name="T26" fmla="*/ 643 w 643"/>
              <a:gd name="T27" fmla="*/ 143 h 523"/>
              <a:gd name="T28" fmla="*/ 588 w 643"/>
              <a:gd name="T29" fmla="*/ 88 h 523"/>
              <a:gd name="T30" fmla="*/ 238 w 643"/>
              <a:gd name="T31" fmla="*/ 29 h 523"/>
              <a:gd name="T32" fmla="*/ 252 w 643"/>
              <a:gd name="T33" fmla="*/ 14 h 523"/>
              <a:gd name="T34" fmla="*/ 390 w 643"/>
              <a:gd name="T35" fmla="*/ 14 h 523"/>
              <a:gd name="T36" fmla="*/ 404 w 643"/>
              <a:gd name="T37" fmla="*/ 29 h 523"/>
              <a:gd name="T38" fmla="*/ 404 w 643"/>
              <a:gd name="T39" fmla="*/ 88 h 523"/>
              <a:gd name="T40" fmla="*/ 238 w 643"/>
              <a:gd name="T41" fmla="*/ 88 h 523"/>
              <a:gd name="T42" fmla="*/ 238 w 643"/>
              <a:gd name="T43" fmla="*/ 29 h 523"/>
              <a:gd name="T44" fmla="*/ 55 w 643"/>
              <a:gd name="T45" fmla="*/ 102 h 523"/>
              <a:gd name="T46" fmla="*/ 588 w 643"/>
              <a:gd name="T47" fmla="*/ 102 h 523"/>
              <a:gd name="T48" fmla="*/ 629 w 643"/>
              <a:gd name="T49" fmla="*/ 143 h 523"/>
              <a:gd name="T50" fmla="*/ 629 w 643"/>
              <a:gd name="T51" fmla="*/ 231 h 523"/>
              <a:gd name="T52" fmla="*/ 361 w 643"/>
              <a:gd name="T53" fmla="*/ 231 h 523"/>
              <a:gd name="T54" fmla="*/ 361 w 643"/>
              <a:gd name="T55" fmla="*/ 204 h 523"/>
              <a:gd name="T56" fmla="*/ 354 w 643"/>
              <a:gd name="T57" fmla="*/ 197 h 523"/>
              <a:gd name="T58" fmla="*/ 288 w 643"/>
              <a:gd name="T59" fmla="*/ 197 h 523"/>
              <a:gd name="T60" fmla="*/ 281 w 643"/>
              <a:gd name="T61" fmla="*/ 204 h 523"/>
              <a:gd name="T62" fmla="*/ 281 w 643"/>
              <a:gd name="T63" fmla="*/ 231 h 523"/>
              <a:gd name="T64" fmla="*/ 14 w 643"/>
              <a:gd name="T65" fmla="*/ 231 h 523"/>
              <a:gd name="T66" fmla="*/ 14 w 643"/>
              <a:gd name="T67" fmla="*/ 143 h 523"/>
              <a:gd name="T68" fmla="*/ 55 w 643"/>
              <a:gd name="T69" fmla="*/ 102 h 523"/>
              <a:gd name="T70" fmla="*/ 295 w 643"/>
              <a:gd name="T71" fmla="*/ 211 h 523"/>
              <a:gd name="T72" fmla="*/ 347 w 643"/>
              <a:gd name="T73" fmla="*/ 211 h 523"/>
              <a:gd name="T74" fmla="*/ 347 w 643"/>
              <a:gd name="T75" fmla="*/ 265 h 523"/>
              <a:gd name="T76" fmla="*/ 295 w 643"/>
              <a:gd name="T77" fmla="*/ 265 h 523"/>
              <a:gd name="T78" fmla="*/ 295 w 643"/>
              <a:gd name="T79" fmla="*/ 211 h 523"/>
              <a:gd name="T80" fmla="*/ 588 w 643"/>
              <a:gd name="T81" fmla="*/ 509 h 523"/>
              <a:gd name="T82" fmla="*/ 55 w 643"/>
              <a:gd name="T83" fmla="*/ 509 h 523"/>
              <a:gd name="T84" fmla="*/ 14 w 643"/>
              <a:gd name="T85" fmla="*/ 467 h 523"/>
              <a:gd name="T86" fmla="*/ 14 w 643"/>
              <a:gd name="T87" fmla="*/ 245 h 523"/>
              <a:gd name="T88" fmla="*/ 281 w 643"/>
              <a:gd name="T89" fmla="*/ 245 h 523"/>
              <a:gd name="T90" fmla="*/ 281 w 643"/>
              <a:gd name="T91" fmla="*/ 272 h 523"/>
              <a:gd name="T92" fmla="*/ 288 w 643"/>
              <a:gd name="T93" fmla="*/ 279 h 523"/>
              <a:gd name="T94" fmla="*/ 354 w 643"/>
              <a:gd name="T95" fmla="*/ 279 h 523"/>
              <a:gd name="T96" fmla="*/ 361 w 643"/>
              <a:gd name="T97" fmla="*/ 272 h 523"/>
              <a:gd name="T98" fmla="*/ 361 w 643"/>
              <a:gd name="T99" fmla="*/ 245 h 523"/>
              <a:gd name="T100" fmla="*/ 629 w 643"/>
              <a:gd name="T101" fmla="*/ 245 h 523"/>
              <a:gd name="T102" fmla="*/ 629 w 643"/>
              <a:gd name="T103" fmla="*/ 467 h 523"/>
              <a:gd name="T104" fmla="*/ 588 w 643"/>
              <a:gd name="T105" fmla="*/ 509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43" h="523">
                <a:moveTo>
                  <a:pt x="588" y="88"/>
                </a:moveTo>
                <a:cubicBezTo>
                  <a:pt x="418" y="88"/>
                  <a:pt x="418" y="88"/>
                  <a:pt x="418" y="88"/>
                </a:cubicBezTo>
                <a:cubicBezTo>
                  <a:pt x="418" y="29"/>
                  <a:pt x="418" y="29"/>
                  <a:pt x="418" y="29"/>
                </a:cubicBezTo>
                <a:cubicBezTo>
                  <a:pt x="418" y="13"/>
                  <a:pt x="406" y="0"/>
                  <a:pt x="390" y="0"/>
                </a:cubicBezTo>
                <a:cubicBezTo>
                  <a:pt x="252" y="0"/>
                  <a:pt x="252" y="0"/>
                  <a:pt x="252" y="0"/>
                </a:cubicBezTo>
                <a:cubicBezTo>
                  <a:pt x="237" y="0"/>
                  <a:pt x="224" y="13"/>
                  <a:pt x="224" y="29"/>
                </a:cubicBezTo>
                <a:cubicBezTo>
                  <a:pt x="224" y="88"/>
                  <a:pt x="224" y="88"/>
                  <a:pt x="224" y="88"/>
                </a:cubicBezTo>
                <a:cubicBezTo>
                  <a:pt x="55" y="88"/>
                  <a:pt x="55" y="88"/>
                  <a:pt x="55" y="88"/>
                </a:cubicBezTo>
                <a:cubicBezTo>
                  <a:pt x="25" y="88"/>
                  <a:pt x="0" y="112"/>
                  <a:pt x="0" y="143"/>
                </a:cubicBezTo>
                <a:cubicBezTo>
                  <a:pt x="0" y="467"/>
                  <a:pt x="0" y="467"/>
                  <a:pt x="0" y="467"/>
                </a:cubicBezTo>
                <a:cubicBezTo>
                  <a:pt x="0" y="498"/>
                  <a:pt x="25" y="523"/>
                  <a:pt x="55" y="523"/>
                </a:cubicBezTo>
                <a:cubicBezTo>
                  <a:pt x="588" y="523"/>
                  <a:pt x="588" y="523"/>
                  <a:pt x="588" y="523"/>
                </a:cubicBezTo>
                <a:cubicBezTo>
                  <a:pt x="618" y="523"/>
                  <a:pt x="643" y="498"/>
                  <a:pt x="643" y="467"/>
                </a:cubicBezTo>
                <a:cubicBezTo>
                  <a:pt x="643" y="143"/>
                  <a:pt x="643" y="143"/>
                  <a:pt x="643" y="143"/>
                </a:cubicBezTo>
                <a:cubicBezTo>
                  <a:pt x="643" y="112"/>
                  <a:pt x="618" y="88"/>
                  <a:pt x="588" y="88"/>
                </a:cubicBezTo>
                <a:close/>
                <a:moveTo>
                  <a:pt x="238" y="29"/>
                </a:moveTo>
                <a:cubicBezTo>
                  <a:pt x="238" y="21"/>
                  <a:pt x="245" y="14"/>
                  <a:pt x="252" y="14"/>
                </a:cubicBezTo>
                <a:cubicBezTo>
                  <a:pt x="390" y="14"/>
                  <a:pt x="390" y="14"/>
                  <a:pt x="390" y="14"/>
                </a:cubicBezTo>
                <a:cubicBezTo>
                  <a:pt x="398" y="14"/>
                  <a:pt x="404" y="21"/>
                  <a:pt x="404" y="29"/>
                </a:cubicBezTo>
                <a:cubicBezTo>
                  <a:pt x="404" y="88"/>
                  <a:pt x="404" y="88"/>
                  <a:pt x="404" y="88"/>
                </a:cubicBezTo>
                <a:cubicBezTo>
                  <a:pt x="238" y="88"/>
                  <a:pt x="238" y="88"/>
                  <a:pt x="238" y="88"/>
                </a:cubicBezTo>
                <a:lnTo>
                  <a:pt x="238" y="29"/>
                </a:lnTo>
                <a:close/>
                <a:moveTo>
                  <a:pt x="55" y="102"/>
                </a:moveTo>
                <a:cubicBezTo>
                  <a:pt x="588" y="102"/>
                  <a:pt x="588" y="102"/>
                  <a:pt x="588" y="102"/>
                </a:cubicBezTo>
                <a:cubicBezTo>
                  <a:pt x="610" y="102"/>
                  <a:pt x="629" y="120"/>
                  <a:pt x="629" y="143"/>
                </a:cubicBezTo>
                <a:cubicBezTo>
                  <a:pt x="629" y="231"/>
                  <a:pt x="629" y="231"/>
                  <a:pt x="629" y="231"/>
                </a:cubicBezTo>
                <a:cubicBezTo>
                  <a:pt x="361" y="231"/>
                  <a:pt x="361" y="231"/>
                  <a:pt x="361" y="231"/>
                </a:cubicBezTo>
                <a:cubicBezTo>
                  <a:pt x="361" y="204"/>
                  <a:pt x="361" y="204"/>
                  <a:pt x="361" y="204"/>
                </a:cubicBezTo>
                <a:cubicBezTo>
                  <a:pt x="361" y="200"/>
                  <a:pt x="358" y="197"/>
                  <a:pt x="354" y="197"/>
                </a:cubicBezTo>
                <a:cubicBezTo>
                  <a:pt x="288" y="197"/>
                  <a:pt x="288" y="197"/>
                  <a:pt x="288" y="197"/>
                </a:cubicBezTo>
                <a:cubicBezTo>
                  <a:pt x="284" y="197"/>
                  <a:pt x="281" y="200"/>
                  <a:pt x="281" y="204"/>
                </a:cubicBezTo>
                <a:cubicBezTo>
                  <a:pt x="281" y="231"/>
                  <a:pt x="281" y="231"/>
                  <a:pt x="281" y="231"/>
                </a:cubicBezTo>
                <a:cubicBezTo>
                  <a:pt x="14" y="231"/>
                  <a:pt x="14" y="231"/>
                  <a:pt x="14" y="231"/>
                </a:cubicBezTo>
                <a:cubicBezTo>
                  <a:pt x="14" y="143"/>
                  <a:pt x="14" y="143"/>
                  <a:pt x="14" y="143"/>
                </a:cubicBezTo>
                <a:cubicBezTo>
                  <a:pt x="14" y="120"/>
                  <a:pt x="32" y="102"/>
                  <a:pt x="55" y="102"/>
                </a:cubicBezTo>
                <a:close/>
                <a:moveTo>
                  <a:pt x="295" y="211"/>
                </a:moveTo>
                <a:cubicBezTo>
                  <a:pt x="347" y="211"/>
                  <a:pt x="347" y="211"/>
                  <a:pt x="347" y="211"/>
                </a:cubicBezTo>
                <a:cubicBezTo>
                  <a:pt x="347" y="265"/>
                  <a:pt x="347" y="265"/>
                  <a:pt x="347" y="265"/>
                </a:cubicBezTo>
                <a:cubicBezTo>
                  <a:pt x="295" y="265"/>
                  <a:pt x="295" y="265"/>
                  <a:pt x="295" y="265"/>
                </a:cubicBezTo>
                <a:lnTo>
                  <a:pt x="295" y="211"/>
                </a:lnTo>
                <a:close/>
                <a:moveTo>
                  <a:pt x="588" y="509"/>
                </a:moveTo>
                <a:cubicBezTo>
                  <a:pt x="55" y="509"/>
                  <a:pt x="55" y="509"/>
                  <a:pt x="55" y="509"/>
                </a:cubicBezTo>
                <a:cubicBezTo>
                  <a:pt x="32" y="509"/>
                  <a:pt x="14" y="490"/>
                  <a:pt x="14" y="467"/>
                </a:cubicBezTo>
                <a:cubicBezTo>
                  <a:pt x="14" y="245"/>
                  <a:pt x="14" y="245"/>
                  <a:pt x="14" y="245"/>
                </a:cubicBezTo>
                <a:cubicBezTo>
                  <a:pt x="281" y="245"/>
                  <a:pt x="281" y="245"/>
                  <a:pt x="281" y="245"/>
                </a:cubicBezTo>
                <a:cubicBezTo>
                  <a:pt x="281" y="272"/>
                  <a:pt x="281" y="272"/>
                  <a:pt x="281" y="272"/>
                </a:cubicBezTo>
                <a:cubicBezTo>
                  <a:pt x="281" y="276"/>
                  <a:pt x="284" y="279"/>
                  <a:pt x="288" y="279"/>
                </a:cubicBezTo>
                <a:cubicBezTo>
                  <a:pt x="354" y="279"/>
                  <a:pt x="354" y="279"/>
                  <a:pt x="354" y="279"/>
                </a:cubicBezTo>
                <a:cubicBezTo>
                  <a:pt x="358" y="279"/>
                  <a:pt x="361" y="276"/>
                  <a:pt x="361" y="272"/>
                </a:cubicBezTo>
                <a:cubicBezTo>
                  <a:pt x="361" y="245"/>
                  <a:pt x="361" y="245"/>
                  <a:pt x="361" y="245"/>
                </a:cubicBezTo>
                <a:cubicBezTo>
                  <a:pt x="629" y="245"/>
                  <a:pt x="629" y="245"/>
                  <a:pt x="629" y="245"/>
                </a:cubicBezTo>
                <a:cubicBezTo>
                  <a:pt x="629" y="467"/>
                  <a:pt x="629" y="467"/>
                  <a:pt x="629" y="467"/>
                </a:cubicBezTo>
                <a:cubicBezTo>
                  <a:pt x="629" y="490"/>
                  <a:pt x="610" y="509"/>
                  <a:pt x="588" y="50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31" name="Oval 53"/>
          <p:cNvSpPr>
            <a:spLocks noChangeArrowheads="1"/>
          </p:cNvSpPr>
          <p:nvPr/>
        </p:nvSpPr>
        <p:spPr bwMode="auto">
          <a:xfrm>
            <a:off x="6137845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72" name="Freeform 89"/>
          <p:cNvSpPr>
            <a:spLocks noEditPoints="1"/>
          </p:cNvSpPr>
          <p:nvPr/>
        </p:nvSpPr>
        <p:spPr bwMode="auto">
          <a:xfrm>
            <a:off x="6300649" y="2501026"/>
            <a:ext cx="497354" cy="409691"/>
          </a:xfrm>
          <a:custGeom>
            <a:avLst/>
            <a:gdLst>
              <a:gd name="T0" fmla="*/ 588 w 643"/>
              <a:gd name="T1" fmla="*/ 94 h 529"/>
              <a:gd name="T2" fmla="*/ 430 w 643"/>
              <a:gd name="T3" fmla="*/ 94 h 529"/>
              <a:gd name="T4" fmla="*/ 430 w 643"/>
              <a:gd name="T5" fmla="*/ 55 h 529"/>
              <a:gd name="T6" fmla="*/ 375 w 643"/>
              <a:gd name="T7" fmla="*/ 0 h 529"/>
              <a:gd name="T8" fmla="*/ 268 w 643"/>
              <a:gd name="T9" fmla="*/ 0 h 529"/>
              <a:gd name="T10" fmla="*/ 213 w 643"/>
              <a:gd name="T11" fmla="*/ 55 h 529"/>
              <a:gd name="T12" fmla="*/ 213 w 643"/>
              <a:gd name="T13" fmla="*/ 94 h 529"/>
              <a:gd name="T14" fmla="*/ 55 w 643"/>
              <a:gd name="T15" fmla="*/ 94 h 529"/>
              <a:gd name="T16" fmla="*/ 0 w 643"/>
              <a:gd name="T17" fmla="*/ 149 h 529"/>
              <a:gd name="T18" fmla="*/ 0 w 643"/>
              <a:gd name="T19" fmla="*/ 474 h 529"/>
              <a:gd name="T20" fmla="*/ 55 w 643"/>
              <a:gd name="T21" fmla="*/ 529 h 529"/>
              <a:gd name="T22" fmla="*/ 588 w 643"/>
              <a:gd name="T23" fmla="*/ 529 h 529"/>
              <a:gd name="T24" fmla="*/ 643 w 643"/>
              <a:gd name="T25" fmla="*/ 474 h 529"/>
              <a:gd name="T26" fmla="*/ 643 w 643"/>
              <a:gd name="T27" fmla="*/ 149 h 529"/>
              <a:gd name="T28" fmla="*/ 588 w 643"/>
              <a:gd name="T29" fmla="*/ 94 h 529"/>
              <a:gd name="T30" fmla="*/ 227 w 643"/>
              <a:gd name="T31" fmla="*/ 55 h 529"/>
              <a:gd name="T32" fmla="*/ 268 w 643"/>
              <a:gd name="T33" fmla="*/ 14 h 529"/>
              <a:gd name="T34" fmla="*/ 375 w 643"/>
              <a:gd name="T35" fmla="*/ 14 h 529"/>
              <a:gd name="T36" fmla="*/ 416 w 643"/>
              <a:gd name="T37" fmla="*/ 55 h 529"/>
              <a:gd name="T38" fmla="*/ 416 w 643"/>
              <a:gd name="T39" fmla="*/ 94 h 529"/>
              <a:gd name="T40" fmla="*/ 227 w 643"/>
              <a:gd name="T41" fmla="*/ 94 h 529"/>
              <a:gd name="T42" fmla="*/ 227 w 643"/>
              <a:gd name="T43" fmla="*/ 55 h 529"/>
              <a:gd name="T44" fmla="*/ 629 w 643"/>
              <a:gd name="T45" fmla="*/ 474 h 529"/>
              <a:gd name="T46" fmla="*/ 588 w 643"/>
              <a:gd name="T47" fmla="*/ 515 h 529"/>
              <a:gd name="T48" fmla="*/ 55 w 643"/>
              <a:gd name="T49" fmla="*/ 515 h 529"/>
              <a:gd name="T50" fmla="*/ 14 w 643"/>
              <a:gd name="T51" fmla="*/ 474 h 529"/>
              <a:gd name="T52" fmla="*/ 14 w 643"/>
              <a:gd name="T53" fmla="*/ 149 h 529"/>
              <a:gd name="T54" fmla="*/ 55 w 643"/>
              <a:gd name="T55" fmla="*/ 108 h 529"/>
              <a:gd name="T56" fmla="*/ 588 w 643"/>
              <a:gd name="T57" fmla="*/ 108 h 529"/>
              <a:gd name="T58" fmla="*/ 629 w 643"/>
              <a:gd name="T59" fmla="*/ 149 h 529"/>
              <a:gd name="T60" fmla="*/ 629 w 643"/>
              <a:gd name="T61" fmla="*/ 474 h 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643" h="529">
                <a:moveTo>
                  <a:pt x="588" y="94"/>
                </a:moveTo>
                <a:cubicBezTo>
                  <a:pt x="430" y="94"/>
                  <a:pt x="430" y="94"/>
                  <a:pt x="430" y="94"/>
                </a:cubicBezTo>
                <a:cubicBezTo>
                  <a:pt x="430" y="55"/>
                  <a:pt x="430" y="55"/>
                  <a:pt x="430" y="55"/>
                </a:cubicBezTo>
                <a:cubicBezTo>
                  <a:pt x="430" y="25"/>
                  <a:pt x="405" y="0"/>
                  <a:pt x="375" y="0"/>
                </a:cubicBezTo>
                <a:cubicBezTo>
                  <a:pt x="268" y="0"/>
                  <a:pt x="268" y="0"/>
                  <a:pt x="268" y="0"/>
                </a:cubicBezTo>
                <a:cubicBezTo>
                  <a:pt x="238" y="0"/>
                  <a:pt x="213" y="25"/>
                  <a:pt x="213" y="55"/>
                </a:cubicBezTo>
                <a:cubicBezTo>
                  <a:pt x="213" y="94"/>
                  <a:pt x="213" y="94"/>
                  <a:pt x="213" y="94"/>
                </a:cubicBezTo>
                <a:cubicBezTo>
                  <a:pt x="55" y="94"/>
                  <a:pt x="55" y="94"/>
                  <a:pt x="55" y="94"/>
                </a:cubicBezTo>
                <a:cubicBezTo>
                  <a:pt x="25" y="94"/>
                  <a:pt x="0" y="118"/>
                  <a:pt x="0" y="149"/>
                </a:cubicBezTo>
                <a:cubicBezTo>
                  <a:pt x="0" y="474"/>
                  <a:pt x="0" y="474"/>
                  <a:pt x="0" y="474"/>
                </a:cubicBezTo>
                <a:cubicBezTo>
                  <a:pt x="0" y="504"/>
                  <a:pt x="25" y="529"/>
                  <a:pt x="55" y="529"/>
                </a:cubicBezTo>
                <a:cubicBezTo>
                  <a:pt x="588" y="529"/>
                  <a:pt x="588" y="529"/>
                  <a:pt x="588" y="529"/>
                </a:cubicBezTo>
                <a:cubicBezTo>
                  <a:pt x="618" y="529"/>
                  <a:pt x="643" y="504"/>
                  <a:pt x="643" y="474"/>
                </a:cubicBezTo>
                <a:cubicBezTo>
                  <a:pt x="643" y="149"/>
                  <a:pt x="643" y="149"/>
                  <a:pt x="643" y="149"/>
                </a:cubicBezTo>
                <a:cubicBezTo>
                  <a:pt x="643" y="118"/>
                  <a:pt x="618" y="94"/>
                  <a:pt x="588" y="94"/>
                </a:cubicBezTo>
                <a:close/>
                <a:moveTo>
                  <a:pt x="227" y="55"/>
                </a:moveTo>
                <a:cubicBezTo>
                  <a:pt x="227" y="33"/>
                  <a:pt x="246" y="14"/>
                  <a:pt x="268" y="14"/>
                </a:cubicBezTo>
                <a:cubicBezTo>
                  <a:pt x="375" y="14"/>
                  <a:pt x="375" y="14"/>
                  <a:pt x="375" y="14"/>
                </a:cubicBezTo>
                <a:cubicBezTo>
                  <a:pt x="397" y="14"/>
                  <a:pt x="416" y="33"/>
                  <a:pt x="416" y="55"/>
                </a:cubicBezTo>
                <a:cubicBezTo>
                  <a:pt x="416" y="94"/>
                  <a:pt x="416" y="94"/>
                  <a:pt x="416" y="94"/>
                </a:cubicBezTo>
                <a:cubicBezTo>
                  <a:pt x="227" y="94"/>
                  <a:pt x="227" y="94"/>
                  <a:pt x="227" y="94"/>
                </a:cubicBezTo>
                <a:lnTo>
                  <a:pt x="227" y="55"/>
                </a:lnTo>
                <a:close/>
                <a:moveTo>
                  <a:pt x="629" y="474"/>
                </a:moveTo>
                <a:cubicBezTo>
                  <a:pt x="629" y="496"/>
                  <a:pt x="611" y="515"/>
                  <a:pt x="588" y="515"/>
                </a:cubicBezTo>
                <a:cubicBezTo>
                  <a:pt x="55" y="515"/>
                  <a:pt x="55" y="515"/>
                  <a:pt x="55" y="515"/>
                </a:cubicBezTo>
                <a:cubicBezTo>
                  <a:pt x="32" y="515"/>
                  <a:pt x="14" y="496"/>
                  <a:pt x="14" y="474"/>
                </a:cubicBezTo>
                <a:cubicBezTo>
                  <a:pt x="14" y="149"/>
                  <a:pt x="14" y="149"/>
                  <a:pt x="14" y="149"/>
                </a:cubicBezTo>
                <a:cubicBezTo>
                  <a:pt x="14" y="126"/>
                  <a:pt x="32" y="108"/>
                  <a:pt x="55" y="108"/>
                </a:cubicBezTo>
                <a:cubicBezTo>
                  <a:pt x="588" y="108"/>
                  <a:pt x="588" y="108"/>
                  <a:pt x="588" y="108"/>
                </a:cubicBezTo>
                <a:cubicBezTo>
                  <a:pt x="611" y="108"/>
                  <a:pt x="629" y="126"/>
                  <a:pt x="629" y="149"/>
                </a:cubicBezTo>
                <a:lnTo>
                  <a:pt x="629" y="4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4" name="Oval 46"/>
          <p:cNvSpPr>
            <a:spLocks noChangeArrowheads="1"/>
          </p:cNvSpPr>
          <p:nvPr/>
        </p:nvSpPr>
        <p:spPr bwMode="auto">
          <a:xfrm>
            <a:off x="4845101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194" name="Freeform 90"/>
          <p:cNvSpPr>
            <a:spLocks noEditPoints="1"/>
          </p:cNvSpPr>
          <p:nvPr/>
        </p:nvSpPr>
        <p:spPr bwMode="auto">
          <a:xfrm>
            <a:off x="4973019" y="2520705"/>
            <a:ext cx="567127" cy="371227"/>
          </a:xfrm>
          <a:custGeom>
            <a:avLst/>
            <a:gdLst>
              <a:gd name="T0" fmla="*/ 678 w 733"/>
              <a:gd name="T1" fmla="*/ 0 h 479"/>
              <a:gd name="T2" fmla="*/ 55 w 733"/>
              <a:gd name="T3" fmla="*/ 0 h 479"/>
              <a:gd name="T4" fmla="*/ 0 w 733"/>
              <a:gd name="T5" fmla="*/ 55 h 479"/>
              <a:gd name="T6" fmla="*/ 0 w 733"/>
              <a:gd name="T7" fmla="*/ 424 h 479"/>
              <a:gd name="T8" fmla="*/ 55 w 733"/>
              <a:gd name="T9" fmla="*/ 479 h 479"/>
              <a:gd name="T10" fmla="*/ 678 w 733"/>
              <a:gd name="T11" fmla="*/ 479 h 479"/>
              <a:gd name="T12" fmla="*/ 733 w 733"/>
              <a:gd name="T13" fmla="*/ 424 h 479"/>
              <a:gd name="T14" fmla="*/ 733 w 733"/>
              <a:gd name="T15" fmla="*/ 55 h 479"/>
              <a:gd name="T16" fmla="*/ 678 w 733"/>
              <a:gd name="T17" fmla="*/ 0 h 479"/>
              <a:gd name="T18" fmla="*/ 14 w 733"/>
              <a:gd name="T19" fmla="*/ 330 h 479"/>
              <a:gd name="T20" fmla="*/ 719 w 733"/>
              <a:gd name="T21" fmla="*/ 330 h 479"/>
              <a:gd name="T22" fmla="*/ 719 w 733"/>
              <a:gd name="T23" fmla="*/ 393 h 479"/>
              <a:gd name="T24" fmla="*/ 14 w 733"/>
              <a:gd name="T25" fmla="*/ 393 h 479"/>
              <a:gd name="T26" fmla="*/ 14 w 733"/>
              <a:gd name="T27" fmla="*/ 330 h 479"/>
              <a:gd name="T28" fmla="*/ 55 w 733"/>
              <a:gd name="T29" fmla="*/ 14 h 479"/>
              <a:gd name="T30" fmla="*/ 678 w 733"/>
              <a:gd name="T31" fmla="*/ 14 h 479"/>
              <a:gd name="T32" fmla="*/ 719 w 733"/>
              <a:gd name="T33" fmla="*/ 55 h 479"/>
              <a:gd name="T34" fmla="*/ 719 w 733"/>
              <a:gd name="T35" fmla="*/ 316 h 479"/>
              <a:gd name="T36" fmla="*/ 14 w 733"/>
              <a:gd name="T37" fmla="*/ 316 h 479"/>
              <a:gd name="T38" fmla="*/ 14 w 733"/>
              <a:gd name="T39" fmla="*/ 55 h 479"/>
              <a:gd name="T40" fmla="*/ 55 w 733"/>
              <a:gd name="T41" fmla="*/ 14 h 479"/>
              <a:gd name="T42" fmla="*/ 678 w 733"/>
              <a:gd name="T43" fmla="*/ 465 h 479"/>
              <a:gd name="T44" fmla="*/ 55 w 733"/>
              <a:gd name="T45" fmla="*/ 465 h 479"/>
              <a:gd name="T46" fmla="*/ 14 w 733"/>
              <a:gd name="T47" fmla="*/ 424 h 479"/>
              <a:gd name="T48" fmla="*/ 14 w 733"/>
              <a:gd name="T49" fmla="*/ 407 h 479"/>
              <a:gd name="T50" fmla="*/ 719 w 733"/>
              <a:gd name="T51" fmla="*/ 407 h 479"/>
              <a:gd name="T52" fmla="*/ 719 w 733"/>
              <a:gd name="T53" fmla="*/ 424 h 479"/>
              <a:gd name="T54" fmla="*/ 678 w 733"/>
              <a:gd name="T55" fmla="*/ 465 h 479"/>
              <a:gd name="T56" fmla="*/ 426 w 733"/>
              <a:gd name="T57" fmla="*/ 295 h 479"/>
              <a:gd name="T58" fmla="*/ 493 w 733"/>
              <a:gd name="T59" fmla="*/ 275 h 479"/>
              <a:gd name="T60" fmla="*/ 559 w 733"/>
              <a:gd name="T61" fmla="*/ 295 h 479"/>
              <a:gd name="T62" fmla="*/ 683 w 733"/>
              <a:gd name="T63" fmla="*/ 171 h 479"/>
              <a:gd name="T64" fmla="*/ 559 w 733"/>
              <a:gd name="T65" fmla="*/ 48 h 479"/>
              <a:gd name="T66" fmla="*/ 493 w 733"/>
              <a:gd name="T67" fmla="*/ 67 h 479"/>
              <a:gd name="T68" fmla="*/ 426 w 733"/>
              <a:gd name="T69" fmla="*/ 48 h 479"/>
              <a:gd name="T70" fmla="*/ 302 w 733"/>
              <a:gd name="T71" fmla="*/ 171 h 479"/>
              <a:gd name="T72" fmla="*/ 426 w 733"/>
              <a:gd name="T73" fmla="*/ 295 h 479"/>
              <a:gd name="T74" fmla="*/ 669 w 733"/>
              <a:gd name="T75" fmla="*/ 171 h 479"/>
              <a:gd name="T76" fmla="*/ 559 w 733"/>
              <a:gd name="T77" fmla="*/ 281 h 479"/>
              <a:gd name="T78" fmla="*/ 450 w 733"/>
              <a:gd name="T79" fmla="*/ 171 h 479"/>
              <a:gd name="T80" fmla="*/ 559 w 733"/>
              <a:gd name="T81" fmla="*/ 62 h 479"/>
              <a:gd name="T82" fmla="*/ 669 w 733"/>
              <a:gd name="T83" fmla="*/ 171 h 479"/>
              <a:gd name="T84" fmla="*/ 426 w 733"/>
              <a:gd name="T85" fmla="*/ 62 h 479"/>
              <a:gd name="T86" fmla="*/ 480 w 733"/>
              <a:gd name="T87" fmla="*/ 76 h 479"/>
              <a:gd name="T88" fmla="*/ 436 w 733"/>
              <a:gd name="T89" fmla="*/ 171 h 479"/>
              <a:gd name="T90" fmla="*/ 480 w 733"/>
              <a:gd name="T91" fmla="*/ 266 h 479"/>
              <a:gd name="T92" fmla="*/ 426 w 733"/>
              <a:gd name="T93" fmla="*/ 281 h 479"/>
              <a:gd name="T94" fmla="*/ 316 w 733"/>
              <a:gd name="T95" fmla="*/ 171 h 479"/>
              <a:gd name="T96" fmla="*/ 426 w 733"/>
              <a:gd name="T97" fmla="*/ 62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33" h="479">
                <a:moveTo>
                  <a:pt x="678" y="0"/>
                </a:moveTo>
                <a:cubicBezTo>
                  <a:pt x="55" y="0"/>
                  <a:pt x="55" y="0"/>
                  <a:pt x="55" y="0"/>
                </a:cubicBezTo>
                <a:cubicBezTo>
                  <a:pt x="25" y="0"/>
                  <a:pt x="0" y="24"/>
                  <a:pt x="0" y="55"/>
                </a:cubicBezTo>
                <a:cubicBezTo>
                  <a:pt x="0" y="424"/>
                  <a:pt x="0" y="424"/>
                  <a:pt x="0" y="424"/>
                </a:cubicBezTo>
                <a:cubicBezTo>
                  <a:pt x="0" y="455"/>
                  <a:pt x="25" y="479"/>
                  <a:pt x="55" y="479"/>
                </a:cubicBezTo>
                <a:cubicBezTo>
                  <a:pt x="678" y="479"/>
                  <a:pt x="678" y="479"/>
                  <a:pt x="678" y="479"/>
                </a:cubicBezTo>
                <a:cubicBezTo>
                  <a:pt x="708" y="479"/>
                  <a:pt x="733" y="455"/>
                  <a:pt x="733" y="424"/>
                </a:cubicBezTo>
                <a:cubicBezTo>
                  <a:pt x="733" y="55"/>
                  <a:pt x="733" y="55"/>
                  <a:pt x="733" y="55"/>
                </a:cubicBezTo>
                <a:cubicBezTo>
                  <a:pt x="733" y="24"/>
                  <a:pt x="708" y="0"/>
                  <a:pt x="678" y="0"/>
                </a:cubicBezTo>
                <a:close/>
                <a:moveTo>
                  <a:pt x="14" y="330"/>
                </a:moveTo>
                <a:cubicBezTo>
                  <a:pt x="719" y="330"/>
                  <a:pt x="719" y="330"/>
                  <a:pt x="719" y="330"/>
                </a:cubicBezTo>
                <a:cubicBezTo>
                  <a:pt x="719" y="393"/>
                  <a:pt x="719" y="393"/>
                  <a:pt x="719" y="393"/>
                </a:cubicBezTo>
                <a:cubicBezTo>
                  <a:pt x="14" y="393"/>
                  <a:pt x="14" y="393"/>
                  <a:pt x="14" y="393"/>
                </a:cubicBezTo>
                <a:lnTo>
                  <a:pt x="14" y="330"/>
                </a:lnTo>
                <a:close/>
                <a:moveTo>
                  <a:pt x="55" y="14"/>
                </a:moveTo>
                <a:cubicBezTo>
                  <a:pt x="678" y="14"/>
                  <a:pt x="678" y="14"/>
                  <a:pt x="678" y="14"/>
                </a:cubicBezTo>
                <a:cubicBezTo>
                  <a:pt x="701" y="14"/>
                  <a:pt x="719" y="32"/>
                  <a:pt x="719" y="55"/>
                </a:cubicBezTo>
                <a:cubicBezTo>
                  <a:pt x="719" y="316"/>
                  <a:pt x="719" y="316"/>
                  <a:pt x="719" y="316"/>
                </a:cubicBezTo>
                <a:cubicBezTo>
                  <a:pt x="14" y="316"/>
                  <a:pt x="14" y="316"/>
                  <a:pt x="14" y="316"/>
                </a:cubicBezTo>
                <a:cubicBezTo>
                  <a:pt x="14" y="55"/>
                  <a:pt x="14" y="55"/>
                  <a:pt x="14" y="55"/>
                </a:cubicBezTo>
                <a:cubicBezTo>
                  <a:pt x="14" y="32"/>
                  <a:pt x="32" y="14"/>
                  <a:pt x="55" y="14"/>
                </a:cubicBezTo>
                <a:close/>
                <a:moveTo>
                  <a:pt x="678" y="465"/>
                </a:moveTo>
                <a:cubicBezTo>
                  <a:pt x="55" y="465"/>
                  <a:pt x="55" y="465"/>
                  <a:pt x="55" y="465"/>
                </a:cubicBezTo>
                <a:cubicBezTo>
                  <a:pt x="32" y="465"/>
                  <a:pt x="14" y="447"/>
                  <a:pt x="14" y="424"/>
                </a:cubicBezTo>
                <a:cubicBezTo>
                  <a:pt x="14" y="407"/>
                  <a:pt x="14" y="407"/>
                  <a:pt x="14" y="407"/>
                </a:cubicBezTo>
                <a:cubicBezTo>
                  <a:pt x="719" y="407"/>
                  <a:pt x="719" y="407"/>
                  <a:pt x="719" y="407"/>
                </a:cubicBezTo>
                <a:cubicBezTo>
                  <a:pt x="719" y="424"/>
                  <a:pt x="719" y="424"/>
                  <a:pt x="719" y="424"/>
                </a:cubicBezTo>
                <a:cubicBezTo>
                  <a:pt x="719" y="447"/>
                  <a:pt x="701" y="465"/>
                  <a:pt x="678" y="465"/>
                </a:cubicBezTo>
                <a:close/>
                <a:moveTo>
                  <a:pt x="426" y="295"/>
                </a:moveTo>
                <a:cubicBezTo>
                  <a:pt x="450" y="295"/>
                  <a:pt x="473" y="288"/>
                  <a:pt x="493" y="275"/>
                </a:cubicBezTo>
                <a:cubicBezTo>
                  <a:pt x="512" y="288"/>
                  <a:pt x="535" y="295"/>
                  <a:pt x="559" y="295"/>
                </a:cubicBezTo>
                <a:cubicBezTo>
                  <a:pt x="628" y="295"/>
                  <a:pt x="683" y="240"/>
                  <a:pt x="683" y="171"/>
                </a:cubicBezTo>
                <a:cubicBezTo>
                  <a:pt x="683" y="103"/>
                  <a:pt x="628" y="48"/>
                  <a:pt x="559" y="48"/>
                </a:cubicBezTo>
                <a:cubicBezTo>
                  <a:pt x="535" y="48"/>
                  <a:pt x="512" y="55"/>
                  <a:pt x="493" y="67"/>
                </a:cubicBezTo>
                <a:cubicBezTo>
                  <a:pt x="473" y="54"/>
                  <a:pt x="450" y="48"/>
                  <a:pt x="426" y="48"/>
                </a:cubicBezTo>
                <a:cubicBezTo>
                  <a:pt x="357" y="48"/>
                  <a:pt x="302" y="103"/>
                  <a:pt x="302" y="171"/>
                </a:cubicBezTo>
                <a:cubicBezTo>
                  <a:pt x="302" y="240"/>
                  <a:pt x="357" y="295"/>
                  <a:pt x="426" y="295"/>
                </a:cubicBezTo>
                <a:close/>
                <a:moveTo>
                  <a:pt x="669" y="171"/>
                </a:moveTo>
                <a:cubicBezTo>
                  <a:pt x="669" y="232"/>
                  <a:pt x="620" y="281"/>
                  <a:pt x="559" y="281"/>
                </a:cubicBezTo>
                <a:cubicBezTo>
                  <a:pt x="499" y="281"/>
                  <a:pt x="450" y="232"/>
                  <a:pt x="450" y="171"/>
                </a:cubicBezTo>
                <a:cubicBezTo>
                  <a:pt x="450" y="111"/>
                  <a:pt x="499" y="62"/>
                  <a:pt x="559" y="62"/>
                </a:cubicBezTo>
                <a:cubicBezTo>
                  <a:pt x="620" y="62"/>
                  <a:pt x="669" y="111"/>
                  <a:pt x="669" y="171"/>
                </a:cubicBezTo>
                <a:close/>
                <a:moveTo>
                  <a:pt x="426" y="62"/>
                </a:moveTo>
                <a:cubicBezTo>
                  <a:pt x="445" y="62"/>
                  <a:pt x="464" y="67"/>
                  <a:pt x="480" y="76"/>
                </a:cubicBezTo>
                <a:cubicBezTo>
                  <a:pt x="453" y="99"/>
                  <a:pt x="436" y="133"/>
                  <a:pt x="436" y="171"/>
                </a:cubicBezTo>
                <a:cubicBezTo>
                  <a:pt x="436" y="209"/>
                  <a:pt x="453" y="244"/>
                  <a:pt x="480" y="266"/>
                </a:cubicBezTo>
                <a:cubicBezTo>
                  <a:pt x="464" y="276"/>
                  <a:pt x="445" y="281"/>
                  <a:pt x="426" y="281"/>
                </a:cubicBezTo>
                <a:cubicBezTo>
                  <a:pt x="365" y="281"/>
                  <a:pt x="316" y="232"/>
                  <a:pt x="316" y="171"/>
                </a:cubicBezTo>
                <a:cubicBezTo>
                  <a:pt x="316" y="111"/>
                  <a:pt x="365" y="62"/>
                  <a:pt x="426" y="6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1" name="Oval 43"/>
          <p:cNvSpPr>
            <a:spLocks noChangeArrowheads="1"/>
          </p:cNvSpPr>
          <p:nvPr/>
        </p:nvSpPr>
        <p:spPr bwMode="auto">
          <a:xfrm>
            <a:off x="966871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01" name="Freeform 92"/>
          <p:cNvSpPr>
            <a:spLocks noEditPoints="1"/>
          </p:cNvSpPr>
          <p:nvPr/>
        </p:nvSpPr>
        <p:spPr bwMode="auto">
          <a:xfrm>
            <a:off x="1123412" y="1280747"/>
            <a:ext cx="509878" cy="510432"/>
          </a:xfrm>
          <a:custGeom>
            <a:avLst/>
            <a:gdLst>
              <a:gd name="T0" fmla="*/ 652 w 659"/>
              <a:gd name="T1" fmla="*/ 0 h 658"/>
              <a:gd name="T2" fmla="*/ 361 w 659"/>
              <a:gd name="T3" fmla="*/ 2 h 658"/>
              <a:gd name="T4" fmla="*/ 0 w 659"/>
              <a:gd name="T5" fmla="*/ 366 h 658"/>
              <a:gd name="T6" fmla="*/ 288 w 659"/>
              <a:gd name="T7" fmla="*/ 656 h 658"/>
              <a:gd name="T8" fmla="*/ 298 w 659"/>
              <a:gd name="T9" fmla="*/ 656 h 658"/>
              <a:gd name="T10" fmla="*/ 659 w 659"/>
              <a:gd name="T11" fmla="*/ 292 h 658"/>
              <a:gd name="T12" fmla="*/ 293 w 659"/>
              <a:gd name="T13" fmla="*/ 641 h 658"/>
              <a:gd name="T14" fmla="*/ 369 w 659"/>
              <a:gd name="T15" fmla="*/ 14 h 658"/>
              <a:gd name="T16" fmla="*/ 645 w 659"/>
              <a:gd name="T17" fmla="*/ 289 h 658"/>
              <a:gd name="T18" fmla="*/ 515 w 659"/>
              <a:gd name="T19" fmla="*/ 81 h 658"/>
              <a:gd name="T20" fmla="*/ 452 w 659"/>
              <a:gd name="T21" fmla="*/ 144 h 658"/>
              <a:gd name="T22" fmla="*/ 515 w 659"/>
              <a:gd name="T23" fmla="*/ 206 h 658"/>
              <a:gd name="T24" fmla="*/ 515 w 659"/>
              <a:gd name="T25" fmla="*/ 206 h 658"/>
              <a:gd name="T26" fmla="*/ 577 w 659"/>
              <a:gd name="T27" fmla="*/ 144 h 658"/>
              <a:gd name="T28" fmla="*/ 549 w 659"/>
              <a:gd name="T29" fmla="*/ 178 h 658"/>
              <a:gd name="T30" fmla="*/ 515 w 659"/>
              <a:gd name="T31" fmla="*/ 199 h 658"/>
              <a:gd name="T32" fmla="*/ 480 w 659"/>
              <a:gd name="T33" fmla="*/ 178 h 658"/>
              <a:gd name="T34" fmla="*/ 480 w 659"/>
              <a:gd name="T35" fmla="*/ 110 h 658"/>
              <a:gd name="T36" fmla="*/ 563 w 659"/>
              <a:gd name="T37" fmla="*/ 144 h 658"/>
              <a:gd name="T38" fmla="*/ 428 w 659"/>
              <a:gd name="T39" fmla="*/ 264 h 658"/>
              <a:gd name="T40" fmla="*/ 441 w 659"/>
              <a:gd name="T41" fmla="*/ 349 h 658"/>
              <a:gd name="T42" fmla="*/ 418 w 659"/>
              <a:gd name="T43" fmla="*/ 274 h 658"/>
              <a:gd name="T44" fmla="*/ 305 w 659"/>
              <a:gd name="T45" fmla="*/ 275 h 658"/>
              <a:gd name="T46" fmla="*/ 361 w 659"/>
              <a:gd name="T47" fmla="*/ 341 h 658"/>
              <a:gd name="T48" fmla="*/ 352 w 659"/>
              <a:gd name="T49" fmla="*/ 341 h 658"/>
              <a:gd name="T50" fmla="*/ 279 w 659"/>
              <a:gd name="T51" fmla="*/ 297 h 658"/>
              <a:gd name="T52" fmla="*/ 323 w 659"/>
              <a:gd name="T53" fmla="*/ 370 h 658"/>
              <a:gd name="T54" fmla="*/ 318 w 659"/>
              <a:gd name="T55" fmla="*/ 382 h 658"/>
              <a:gd name="T56" fmla="*/ 257 w 659"/>
              <a:gd name="T57" fmla="*/ 324 h 658"/>
              <a:gd name="T58" fmla="*/ 324 w 659"/>
              <a:gd name="T59" fmla="*/ 453 h 658"/>
              <a:gd name="T60" fmla="*/ 326 w 659"/>
              <a:gd name="T61" fmla="*/ 466 h 658"/>
              <a:gd name="T62" fmla="*/ 247 w 659"/>
              <a:gd name="T63" fmla="*/ 445 h 658"/>
              <a:gd name="T64" fmla="*/ 226 w 659"/>
              <a:gd name="T65" fmla="*/ 293 h 658"/>
              <a:gd name="T66" fmla="*/ 236 w 659"/>
              <a:gd name="T67" fmla="*/ 283 h 658"/>
              <a:gd name="T68" fmla="*/ 269 w 659"/>
              <a:gd name="T69" fmla="*/ 287 h 658"/>
              <a:gd name="T70" fmla="*/ 264 w 659"/>
              <a:gd name="T71" fmla="*/ 254 h 658"/>
              <a:gd name="T72" fmla="*/ 274 w 659"/>
              <a:gd name="T73" fmla="*/ 244 h 658"/>
              <a:gd name="T74" fmla="*/ 352 w 659"/>
              <a:gd name="T75" fmla="*/ 239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59" h="658">
                <a:moveTo>
                  <a:pt x="659" y="7"/>
                </a:moveTo>
                <a:cubicBezTo>
                  <a:pt x="659" y="3"/>
                  <a:pt x="656" y="0"/>
                  <a:pt x="652" y="0"/>
                </a:cubicBezTo>
                <a:cubicBezTo>
                  <a:pt x="366" y="0"/>
                  <a:pt x="366" y="0"/>
                  <a:pt x="366" y="0"/>
                </a:cubicBezTo>
                <a:cubicBezTo>
                  <a:pt x="364" y="0"/>
                  <a:pt x="362" y="0"/>
                  <a:pt x="361" y="2"/>
                </a:cubicBezTo>
                <a:cubicBezTo>
                  <a:pt x="2" y="361"/>
                  <a:pt x="2" y="361"/>
                  <a:pt x="2" y="361"/>
                </a:cubicBezTo>
                <a:cubicBezTo>
                  <a:pt x="1" y="362"/>
                  <a:pt x="0" y="364"/>
                  <a:pt x="0" y="366"/>
                </a:cubicBezTo>
                <a:cubicBezTo>
                  <a:pt x="0" y="367"/>
                  <a:pt x="1" y="369"/>
                  <a:pt x="2" y="370"/>
                </a:cubicBezTo>
                <a:cubicBezTo>
                  <a:pt x="288" y="656"/>
                  <a:pt x="288" y="656"/>
                  <a:pt x="288" y="656"/>
                </a:cubicBezTo>
                <a:cubicBezTo>
                  <a:pt x="289" y="657"/>
                  <a:pt x="291" y="658"/>
                  <a:pt x="293" y="658"/>
                </a:cubicBezTo>
                <a:cubicBezTo>
                  <a:pt x="295" y="658"/>
                  <a:pt x="297" y="657"/>
                  <a:pt x="298" y="656"/>
                </a:cubicBezTo>
                <a:cubicBezTo>
                  <a:pt x="657" y="297"/>
                  <a:pt x="657" y="297"/>
                  <a:pt x="657" y="297"/>
                </a:cubicBezTo>
                <a:cubicBezTo>
                  <a:pt x="658" y="296"/>
                  <a:pt x="659" y="294"/>
                  <a:pt x="659" y="292"/>
                </a:cubicBezTo>
                <a:lnTo>
                  <a:pt x="659" y="7"/>
                </a:lnTo>
                <a:close/>
                <a:moveTo>
                  <a:pt x="293" y="641"/>
                </a:moveTo>
                <a:cubicBezTo>
                  <a:pt x="17" y="366"/>
                  <a:pt x="17" y="366"/>
                  <a:pt x="17" y="366"/>
                </a:cubicBezTo>
                <a:cubicBezTo>
                  <a:pt x="369" y="14"/>
                  <a:pt x="369" y="14"/>
                  <a:pt x="369" y="14"/>
                </a:cubicBezTo>
                <a:cubicBezTo>
                  <a:pt x="645" y="14"/>
                  <a:pt x="645" y="14"/>
                  <a:pt x="645" y="14"/>
                </a:cubicBezTo>
                <a:cubicBezTo>
                  <a:pt x="645" y="289"/>
                  <a:pt x="645" y="289"/>
                  <a:pt x="645" y="289"/>
                </a:cubicBezTo>
                <a:lnTo>
                  <a:pt x="293" y="641"/>
                </a:lnTo>
                <a:close/>
                <a:moveTo>
                  <a:pt x="515" y="81"/>
                </a:moveTo>
                <a:cubicBezTo>
                  <a:pt x="498" y="81"/>
                  <a:pt x="482" y="88"/>
                  <a:pt x="470" y="100"/>
                </a:cubicBezTo>
                <a:cubicBezTo>
                  <a:pt x="459" y="111"/>
                  <a:pt x="452" y="127"/>
                  <a:pt x="452" y="144"/>
                </a:cubicBezTo>
                <a:cubicBezTo>
                  <a:pt x="452" y="160"/>
                  <a:pt x="459" y="176"/>
                  <a:pt x="470" y="188"/>
                </a:cubicBezTo>
                <a:cubicBezTo>
                  <a:pt x="482" y="200"/>
                  <a:pt x="498" y="206"/>
                  <a:pt x="515" y="206"/>
                </a:cubicBezTo>
                <a:cubicBezTo>
                  <a:pt x="515" y="200"/>
                  <a:pt x="515" y="200"/>
                  <a:pt x="515" y="200"/>
                </a:cubicBezTo>
                <a:cubicBezTo>
                  <a:pt x="515" y="206"/>
                  <a:pt x="515" y="206"/>
                  <a:pt x="515" y="206"/>
                </a:cubicBezTo>
                <a:cubicBezTo>
                  <a:pt x="531" y="206"/>
                  <a:pt x="547" y="200"/>
                  <a:pt x="559" y="188"/>
                </a:cubicBezTo>
                <a:cubicBezTo>
                  <a:pt x="571" y="176"/>
                  <a:pt x="577" y="160"/>
                  <a:pt x="577" y="144"/>
                </a:cubicBezTo>
                <a:cubicBezTo>
                  <a:pt x="577" y="109"/>
                  <a:pt x="549" y="81"/>
                  <a:pt x="515" y="81"/>
                </a:cubicBezTo>
                <a:close/>
                <a:moveTo>
                  <a:pt x="549" y="178"/>
                </a:moveTo>
                <a:cubicBezTo>
                  <a:pt x="540" y="187"/>
                  <a:pt x="528" y="192"/>
                  <a:pt x="515" y="192"/>
                </a:cubicBezTo>
                <a:cubicBezTo>
                  <a:pt x="515" y="199"/>
                  <a:pt x="515" y="199"/>
                  <a:pt x="515" y="199"/>
                </a:cubicBezTo>
                <a:cubicBezTo>
                  <a:pt x="515" y="192"/>
                  <a:pt x="515" y="192"/>
                  <a:pt x="515" y="192"/>
                </a:cubicBezTo>
                <a:cubicBezTo>
                  <a:pt x="502" y="192"/>
                  <a:pt x="489" y="187"/>
                  <a:pt x="480" y="178"/>
                </a:cubicBezTo>
                <a:cubicBezTo>
                  <a:pt x="471" y="169"/>
                  <a:pt x="466" y="157"/>
                  <a:pt x="466" y="144"/>
                </a:cubicBezTo>
                <a:cubicBezTo>
                  <a:pt x="466" y="131"/>
                  <a:pt x="471" y="119"/>
                  <a:pt x="480" y="110"/>
                </a:cubicBezTo>
                <a:cubicBezTo>
                  <a:pt x="489" y="100"/>
                  <a:pt x="502" y="95"/>
                  <a:pt x="515" y="95"/>
                </a:cubicBezTo>
                <a:cubicBezTo>
                  <a:pt x="541" y="95"/>
                  <a:pt x="563" y="117"/>
                  <a:pt x="563" y="144"/>
                </a:cubicBezTo>
                <a:cubicBezTo>
                  <a:pt x="563" y="157"/>
                  <a:pt x="558" y="169"/>
                  <a:pt x="549" y="178"/>
                </a:cubicBezTo>
                <a:close/>
                <a:moveTo>
                  <a:pt x="428" y="264"/>
                </a:moveTo>
                <a:cubicBezTo>
                  <a:pt x="448" y="284"/>
                  <a:pt x="455" y="310"/>
                  <a:pt x="449" y="343"/>
                </a:cubicBezTo>
                <a:cubicBezTo>
                  <a:pt x="448" y="347"/>
                  <a:pt x="445" y="350"/>
                  <a:pt x="441" y="349"/>
                </a:cubicBezTo>
                <a:cubicBezTo>
                  <a:pt x="437" y="348"/>
                  <a:pt x="435" y="345"/>
                  <a:pt x="435" y="341"/>
                </a:cubicBezTo>
                <a:cubicBezTo>
                  <a:pt x="441" y="312"/>
                  <a:pt x="435" y="291"/>
                  <a:pt x="418" y="274"/>
                </a:cubicBezTo>
                <a:cubicBezTo>
                  <a:pt x="401" y="257"/>
                  <a:pt x="379" y="249"/>
                  <a:pt x="355" y="253"/>
                </a:cubicBezTo>
                <a:cubicBezTo>
                  <a:pt x="338" y="256"/>
                  <a:pt x="321" y="263"/>
                  <a:pt x="305" y="275"/>
                </a:cubicBezTo>
                <a:cubicBezTo>
                  <a:pt x="361" y="331"/>
                  <a:pt x="361" y="331"/>
                  <a:pt x="361" y="331"/>
                </a:cubicBezTo>
                <a:cubicBezTo>
                  <a:pt x="364" y="334"/>
                  <a:pt x="364" y="338"/>
                  <a:pt x="361" y="341"/>
                </a:cubicBezTo>
                <a:cubicBezTo>
                  <a:pt x="360" y="343"/>
                  <a:pt x="358" y="343"/>
                  <a:pt x="356" y="343"/>
                </a:cubicBezTo>
                <a:cubicBezTo>
                  <a:pt x="355" y="343"/>
                  <a:pt x="353" y="343"/>
                  <a:pt x="352" y="341"/>
                </a:cubicBezTo>
                <a:cubicBezTo>
                  <a:pt x="294" y="283"/>
                  <a:pt x="294" y="283"/>
                  <a:pt x="294" y="283"/>
                </a:cubicBezTo>
                <a:cubicBezTo>
                  <a:pt x="289" y="287"/>
                  <a:pt x="284" y="292"/>
                  <a:pt x="279" y="297"/>
                </a:cubicBezTo>
                <a:cubicBezTo>
                  <a:pt x="274" y="302"/>
                  <a:pt x="269" y="307"/>
                  <a:pt x="265" y="312"/>
                </a:cubicBezTo>
                <a:cubicBezTo>
                  <a:pt x="323" y="370"/>
                  <a:pt x="323" y="370"/>
                  <a:pt x="323" y="370"/>
                </a:cubicBezTo>
                <a:cubicBezTo>
                  <a:pt x="326" y="373"/>
                  <a:pt x="326" y="377"/>
                  <a:pt x="323" y="380"/>
                </a:cubicBezTo>
                <a:cubicBezTo>
                  <a:pt x="321" y="381"/>
                  <a:pt x="320" y="382"/>
                  <a:pt x="318" y="382"/>
                </a:cubicBezTo>
                <a:cubicBezTo>
                  <a:pt x="316" y="382"/>
                  <a:pt x="314" y="381"/>
                  <a:pt x="313" y="380"/>
                </a:cubicBezTo>
                <a:cubicBezTo>
                  <a:pt x="257" y="324"/>
                  <a:pt x="257" y="324"/>
                  <a:pt x="257" y="324"/>
                </a:cubicBezTo>
                <a:cubicBezTo>
                  <a:pt x="228" y="365"/>
                  <a:pt x="228" y="407"/>
                  <a:pt x="257" y="436"/>
                </a:cubicBezTo>
                <a:cubicBezTo>
                  <a:pt x="274" y="452"/>
                  <a:pt x="295" y="458"/>
                  <a:pt x="324" y="453"/>
                </a:cubicBezTo>
                <a:cubicBezTo>
                  <a:pt x="327" y="452"/>
                  <a:pt x="331" y="454"/>
                  <a:pt x="332" y="458"/>
                </a:cubicBezTo>
                <a:cubicBezTo>
                  <a:pt x="332" y="462"/>
                  <a:pt x="330" y="466"/>
                  <a:pt x="326" y="466"/>
                </a:cubicBezTo>
                <a:cubicBezTo>
                  <a:pt x="318" y="468"/>
                  <a:pt x="311" y="469"/>
                  <a:pt x="304" y="469"/>
                </a:cubicBezTo>
                <a:cubicBezTo>
                  <a:pt x="281" y="469"/>
                  <a:pt x="262" y="461"/>
                  <a:pt x="247" y="445"/>
                </a:cubicBezTo>
                <a:cubicBezTo>
                  <a:pt x="212" y="411"/>
                  <a:pt x="213" y="361"/>
                  <a:pt x="247" y="313"/>
                </a:cubicBezTo>
                <a:cubicBezTo>
                  <a:pt x="226" y="293"/>
                  <a:pt x="226" y="293"/>
                  <a:pt x="226" y="293"/>
                </a:cubicBezTo>
                <a:cubicBezTo>
                  <a:pt x="223" y="290"/>
                  <a:pt x="223" y="286"/>
                  <a:pt x="226" y="283"/>
                </a:cubicBezTo>
                <a:cubicBezTo>
                  <a:pt x="229" y="280"/>
                  <a:pt x="233" y="280"/>
                  <a:pt x="236" y="283"/>
                </a:cubicBezTo>
                <a:cubicBezTo>
                  <a:pt x="255" y="302"/>
                  <a:pt x="255" y="302"/>
                  <a:pt x="255" y="302"/>
                </a:cubicBezTo>
                <a:cubicBezTo>
                  <a:pt x="260" y="297"/>
                  <a:pt x="264" y="292"/>
                  <a:pt x="269" y="287"/>
                </a:cubicBezTo>
                <a:cubicBezTo>
                  <a:pt x="274" y="282"/>
                  <a:pt x="279" y="278"/>
                  <a:pt x="284" y="273"/>
                </a:cubicBezTo>
                <a:cubicBezTo>
                  <a:pt x="264" y="254"/>
                  <a:pt x="264" y="254"/>
                  <a:pt x="264" y="254"/>
                </a:cubicBezTo>
                <a:cubicBezTo>
                  <a:pt x="262" y="251"/>
                  <a:pt x="262" y="247"/>
                  <a:pt x="264" y="244"/>
                </a:cubicBezTo>
                <a:cubicBezTo>
                  <a:pt x="267" y="241"/>
                  <a:pt x="272" y="241"/>
                  <a:pt x="274" y="244"/>
                </a:cubicBezTo>
                <a:cubicBezTo>
                  <a:pt x="295" y="265"/>
                  <a:pt x="295" y="265"/>
                  <a:pt x="295" y="265"/>
                </a:cubicBezTo>
                <a:cubicBezTo>
                  <a:pt x="314" y="251"/>
                  <a:pt x="333" y="242"/>
                  <a:pt x="352" y="239"/>
                </a:cubicBezTo>
                <a:cubicBezTo>
                  <a:pt x="381" y="235"/>
                  <a:pt x="408" y="243"/>
                  <a:pt x="428" y="26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0" name="Oval 42"/>
          <p:cNvSpPr>
            <a:spLocks noChangeArrowheads="1"/>
          </p:cNvSpPr>
          <p:nvPr/>
        </p:nvSpPr>
        <p:spPr bwMode="auto">
          <a:xfrm>
            <a:off x="2259614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02" name="Freeform 93"/>
          <p:cNvSpPr>
            <a:spLocks noEditPoints="1"/>
          </p:cNvSpPr>
          <p:nvPr/>
        </p:nvSpPr>
        <p:spPr bwMode="auto">
          <a:xfrm>
            <a:off x="2416155" y="1280747"/>
            <a:ext cx="509878" cy="510432"/>
          </a:xfrm>
          <a:custGeom>
            <a:avLst/>
            <a:gdLst>
              <a:gd name="T0" fmla="*/ 651 w 659"/>
              <a:gd name="T1" fmla="*/ 0 h 658"/>
              <a:gd name="T2" fmla="*/ 361 w 659"/>
              <a:gd name="T3" fmla="*/ 2 h 658"/>
              <a:gd name="T4" fmla="*/ 0 w 659"/>
              <a:gd name="T5" fmla="*/ 366 h 658"/>
              <a:gd name="T6" fmla="*/ 288 w 659"/>
              <a:gd name="T7" fmla="*/ 656 h 658"/>
              <a:gd name="T8" fmla="*/ 298 w 659"/>
              <a:gd name="T9" fmla="*/ 656 h 658"/>
              <a:gd name="T10" fmla="*/ 659 w 659"/>
              <a:gd name="T11" fmla="*/ 292 h 658"/>
              <a:gd name="T12" fmla="*/ 293 w 659"/>
              <a:gd name="T13" fmla="*/ 641 h 658"/>
              <a:gd name="T14" fmla="*/ 369 w 659"/>
              <a:gd name="T15" fmla="*/ 14 h 658"/>
              <a:gd name="T16" fmla="*/ 645 w 659"/>
              <a:gd name="T17" fmla="*/ 289 h 658"/>
              <a:gd name="T18" fmla="*/ 514 w 659"/>
              <a:gd name="T19" fmla="*/ 81 h 658"/>
              <a:gd name="T20" fmla="*/ 452 w 659"/>
              <a:gd name="T21" fmla="*/ 144 h 658"/>
              <a:gd name="T22" fmla="*/ 514 w 659"/>
              <a:gd name="T23" fmla="*/ 200 h 658"/>
              <a:gd name="T24" fmla="*/ 559 w 659"/>
              <a:gd name="T25" fmla="*/ 188 h 658"/>
              <a:gd name="T26" fmla="*/ 514 w 659"/>
              <a:gd name="T27" fmla="*/ 81 h 658"/>
              <a:gd name="T28" fmla="*/ 514 w 659"/>
              <a:gd name="T29" fmla="*/ 192 h 658"/>
              <a:gd name="T30" fmla="*/ 514 w 659"/>
              <a:gd name="T31" fmla="*/ 192 h 658"/>
              <a:gd name="T32" fmla="*/ 480 w 659"/>
              <a:gd name="T33" fmla="*/ 110 h 658"/>
              <a:gd name="T34" fmla="*/ 563 w 659"/>
              <a:gd name="T35" fmla="*/ 144 h 658"/>
              <a:gd name="T36" fmla="*/ 403 w 659"/>
              <a:gd name="T37" fmla="*/ 266 h 658"/>
              <a:gd name="T38" fmla="*/ 423 w 659"/>
              <a:gd name="T39" fmla="*/ 236 h 658"/>
              <a:gd name="T40" fmla="*/ 393 w 659"/>
              <a:gd name="T41" fmla="*/ 256 h 658"/>
              <a:gd name="T42" fmla="*/ 308 w 659"/>
              <a:gd name="T43" fmla="*/ 248 h 658"/>
              <a:gd name="T44" fmla="*/ 315 w 659"/>
              <a:gd name="T45" fmla="*/ 334 h 658"/>
              <a:gd name="T46" fmla="*/ 225 w 659"/>
              <a:gd name="T47" fmla="*/ 325 h 658"/>
              <a:gd name="T48" fmla="*/ 211 w 659"/>
              <a:gd name="T49" fmla="*/ 326 h 658"/>
              <a:gd name="T50" fmla="*/ 215 w 659"/>
              <a:gd name="T51" fmla="*/ 435 h 658"/>
              <a:gd name="T52" fmla="*/ 219 w 659"/>
              <a:gd name="T53" fmla="*/ 447 h 658"/>
              <a:gd name="T54" fmla="*/ 253 w 659"/>
              <a:gd name="T55" fmla="*/ 416 h 658"/>
              <a:gd name="T56" fmla="*/ 336 w 659"/>
              <a:gd name="T57" fmla="*/ 425 h 658"/>
              <a:gd name="T58" fmla="*/ 333 w 659"/>
              <a:gd name="T59" fmla="*/ 336 h 658"/>
              <a:gd name="T60" fmla="*/ 418 w 659"/>
              <a:gd name="T61" fmla="*/ 332 h 658"/>
              <a:gd name="T62" fmla="*/ 431 w 659"/>
              <a:gd name="T63" fmla="*/ 329 h 658"/>
              <a:gd name="T64" fmla="*/ 317 w 659"/>
              <a:gd name="T65" fmla="*/ 258 h 658"/>
              <a:gd name="T66" fmla="*/ 383 w 659"/>
              <a:gd name="T67" fmla="*/ 266 h 658"/>
              <a:gd name="T68" fmla="*/ 317 w 659"/>
              <a:gd name="T69" fmla="*/ 258 h 658"/>
              <a:gd name="T70" fmla="*/ 326 w 659"/>
              <a:gd name="T71" fmla="*/ 415 h 658"/>
              <a:gd name="T72" fmla="*/ 323 w 659"/>
              <a:gd name="T73" fmla="*/ 346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59" h="658">
                <a:moveTo>
                  <a:pt x="658" y="7"/>
                </a:moveTo>
                <a:cubicBezTo>
                  <a:pt x="658" y="3"/>
                  <a:pt x="655" y="0"/>
                  <a:pt x="651" y="0"/>
                </a:cubicBezTo>
                <a:cubicBezTo>
                  <a:pt x="366" y="0"/>
                  <a:pt x="366" y="0"/>
                  <a:pt x="366" y="0"/>
                </a:cubicBezTo>
                <a:cubicBezTo>
                  <a:pt x="364" y="0"/>
                  <a:pt x="362" y="0"/>
                  <a:pt x="361" y="2"/>
                </a:cubicBezTo>
                <a:cubicBezTo>
                  <a:pt x="2" y="361"/>
                  <a:pt x="2" y="361"/>
                  <a:pt x="2" y="361"/>
                </a:cubicBezTo>
                <a:cubicBezTo>
                  <a:pt x="1" y="362"/>
                  <a:pt x="0" y="364"/>
                  <a:pt x="0" y="366"/>
                </a:cubicBezTo>
                <a:cubicBezTo>
                  <a:pt x="0" y="367"/>
                  <a:pt x="1" y="369"/>
                  <a:pt x="2" y="370"/>
                </a:cubicBezTo>
                <a:cubicBezTo>
                  <a:pt x="288" y="656"/>
                  <a:pt x="288" y="656"/>
                  <a:pt x="288" y="656"/>
                </a:cubicBezTo>
                <a:cubicBezTo>
                  <a:pt x="289" y="657"/>
                  <a:pt x="291" y="658"/>
                  <a:pt x="293" y="658"/>
                </a:cubicBezTo>
                <a:cubicBezTo>
                  <a:pt x="294" y="658"/>
                  <a:pt x="296" y="657"/>
                  <a:pt x="298" y="656"/>
                </a:cubicBezTo>
                <a:cubicBezTo>
                  <a:pt x="656" y="297"/>
                  <a:pt x="656" y="297"/>
                  <a:pt x="656" y="297"/>
                </a:cubicBezTo>
                <a:cubicBezTo>
                  <a:pt x="658" y="296"/>
                  <a:pt x="659" y="294"/>
                  <a:pt x="659" y="292"/>
                </a:cubicBezTo>
                <a:lnTo>
                  <a:pt x="658" y="7"/>
                </a:lnTo>
                <a:close/>
                <a:moveTo>
                  <a:pt x="293" y="641"/>
                </a:moveTo>
                <a:cubicBezTo>
                  <a:pt x="17" y="366"/>
                  <a:pt x="17" y="366"/>
                  <a:pt x="17" y="366"/>
                </a:cubicBezTo>
                <a:cubicBezTo>
                  <a:pt x="369" y="14"/>
                  <a:pt x="369" y="14"/>
                  <a:pt x="369" y="14"/>
                </a:cubicBezTo>
                <a:cubicBezTo>
                  <a:pt x="644" y="14"/>
                  <a:pt x="644" y="14"/>
                  <a:pt x="644" y="14"/>
                </a:cubicBezTo>
                <a:cubicBezTo>
                  <a:pt x="645" y="289"/>
                  <a:pt x="645" y="289"/>
                  <a:pt x="645" y="289"/>
                </a:cubicBezTo>
                <a:lnTo>
                  <a:pt x="293" y="641"/>
                </a:lnTo>
                <a:close/>
                <a:moveTo>
                  <a:pt x="514" y="81"/>
                </a:moveTo>
                <a:cubicBezTo>
                  <a:pt x="498" y="81"/>
                  <a:pt x="482" y="88"/>
                  <a:pt x="470" y="100"/>
                </a:cubicBezTo>
                <a:cubicBezTo>
                  <a:pt x="458" y="111"/>
                  <a:pt x="452" y="127"/>
                  <a:pt x="452" y="144"/>
                </a:cubicBezTo>
                <a:cubicBezTo>
                  <a:pt x="452" y="178"/>
                  <a:pt x="480" y="206"/>
                  <a:pt x="514" y="206"/>
                </a:cubicBezTo>
                <a:cubicBezTo>
                  <a:pt x="514" y="200"/>
                  <a:pt x="514" y="200"/>
                  <a:pt x="514" y="200"/>
                </a:cubicBezTo>
                <a:cubicBezTo>
                  <a:pt x="514" y="206"/>
                  <a:pt x="514" y="206"/>
                  <a:pt x="514" y="206"/>
                </a:cubicBezTo>
                <a:cubicBezTo>
                  <a:pt x="531" y="206"/>
                  <a:pt x="547" y="200"/>
                  <a:pt x="559" y="188"/>
                </a:cubicBezTo>
                <a:cubicBezTo>
                  <a:pt x="570" y="176"/>
                  <a:pt x="577" y="160"/>
                  <a:pt x="577" y="144"/>
                </a:cubicBezTo>
                <a:cubicBezTo>
                  <a:pt x="577" y="109"/>
                  <a:pt x="549" y="81"/>
                  <a:pt x="514" y="81"/>
                </a:cubicBezTo>
                <a:close/>
                <a:moveTo>
                  <a:pt x="549" y="178"/>
                </a:moveTo>
                <a:cubicBezTo>
                  <a:pt x="540" y="187"/>
                  <a:pt x="527" y="192"/>
                  <a:pt x="514" y="192"/>
                </a:cubicBezTo>
                <a:cubicBezTo>
                  <a:pt x="514" y="199"/>
                  <a:pt x="514" y="199"/>
                  <a:pt x="514" y="199"/>
                </a:cubicBezTo>
                <a:cubicBezTo>
                  <a:pt x="514" y="192"/>
                  <a:pt x="514" y="192"/>
                  <a:pt x="514" y="192"/>
                </a:cubicBezTo>
                <a:cubicBezTo>
                  <a:pt x="488" y="192"/>
                  <a:pt x="466" y="171"/>
                  <a:pt x="466" y="144"/>
                </a:cubicBezTo>
                <a:cubicBezTo>
                  <a:pt x="466" y="131"/>
                  <a:pt x="471" y="119"/>
                  <a:pt x="480" y="110"/>
                </a:cubicBezTo>
                <a:cubicBezTo>
                  <a:pt x="489" y="100"/>
                  <a:pt x="501" y="95"/>
                  <a:pt x="514" y="95"/>
                </a:cubicBezTo>
                <a:cubicBezTo>
                  <a:pt x="541" y="95"/>
                  <a:pt x="563" y="117"/>
                  <a:pt x="563" y="144"/>
                </a:cubicBezTo>
                <a:cubicBezTo>
                  <a:pt x="563" y="157"/>
                  <a:pt x="558" y="169"/>
                  <a:pt x="549" y="178"/>
                </a:cubicBezTo>
                <a:close/>
                <a:moveTo>
                  <a:pt x="403" y="266"/>
                </a:moveTo>
                <a:cubicBezTo>
                  <a:pt x="423" y="246"/>
                  <a:pt x="423" y="246"/>
                  <a:pt x="423" y="246"/>
                </a:cubicBezTo>
                <a:cubicBezTo>
                  <a:pt x="426" y="243"/>
                  <a:pt x="426" y="238"/>
                  <a:pt x="423" y="236"/>
                </a:cubicBezTo>
                <a:cubicBezTo>
                  <a:pt x="421" y="233"/>
                  <a:pt x="416" y="233"/>
                  <a:pt x="414" y="236"/>
                </a:cubicBezTo>
                <a:cubicBezTo>
                  <a:pt x="393" y="256"/>
                  <a:pt x="393" y="256"/>
                  <a:pt x="393" y="256"/>
                </a:cubicBezTo>
                <a:cubicBezTo>
                  <a:pt x="386" y="250"/>
                  <a:pt x="373" y="241"/>
                  <a:pt x="358" y="236"/>
                </a:cubicBezTo>
                <a:cubicBezTo>
                  <a:pt x="339" y="230"/>
                  <a:pt x="321" y="234"/>
                  <a:pt x="308" y="248"/>
                </a:cubicBezTo>
                <a:cubicBezTo>
                  <a:pt x="280" y="276"/>
                  <a:pt x="303" y="313"/>
                  <a:pt x="315" y="333"/>
                </a:cubicBezTo>
                <a:cubicBezTo>
                  <a:pt x="315" y="334"/>
                  <a:pt x="315" y="334"/>
                  <a:pt x="315" y="334"/>
                </a:cubicBezTo>
                <a:cubicBezTo>
                  <a:pt x="253" y="396"/>
                  <a:pt x="253" y="396"/>
                  <a:pt x="253" y="396"/>
                </a:cubicBezTo>
                <a:cubicBezTo>
                  <a:pt x="240" y="378"/>
                  <a:pt x="228" y="348"/>
                  <a:pt x="225" y="325"/>
                </a:cubicBezTo>
                <a:cubicBezTo>
                  <a:pt x="225" y="321"/>
                  <a:pt x="222" y="318"/>
                  <a:pt x="218" y="319"/>
                </a:cubicBezTo>
                <a:cubicBezTo>
                  <a:pt x="214" y="319"/>
                  <a:pt x="211" y="323"/>
                  <a:pt x="211" y="326"/>
                </a:cubicBezTo>
                <a:cubicBezTo>
                  <a:pt x="214" y="353"/>
                  <a:pt x="228" y="386"/>
                  <a:pt x="243" y="406"/>
                </a:cubicBezTo>
                <a:cubicBezTo>
                  <a:pt x="215" y="435"/>
                  <a:pt x="215" y="435"/>
                  <a:pt x="215" y="435"/>
                </a:cubicBezTo>
                <a:cubicBezTo>
                  <a:pt x="212" y="438"/>
                  <a:pt x="212" y="442"/>
                  <a:pt x="215" y="445"/>
                </a:cubicBezTo>
                <a:cubicBezTo>
                  <a:pt x="216" y="446"/>
                  <a:pt x="218" y="447"/>
                  <a:pt x="219" y="447"/>
                </a:cubicBezTo>
                <a:cubicBezTo>
                  <a:pt x="221" y="447"/>
                  <a:pt x="223" y="446"/>
                  <a:pt x="224" y="445"/>
                </a:cubicBezTo>
                <a:cubicBezTo>
                  <a:pt x="253" y="416"/>
                  <a:pt x="253" y="416"/>
                  <a:pt x="253" y="416"/>
                </a:cubicBezTo>
                <a:cubicBezTo>
                  <a:pt x="268" y="429"/>
                  <a:pt x="285" y="439"/>
                  <a:pt x="303" y="439"/>
                </a:cubicBezTo>
                <a:cubicBezTo>
                  <a:pt x="314" y="439"/>
                  <a:pt x="326" y="435"/>
                  <a:pt x="336" y="425"/>
                </a:cubicBezTo>
                <a:cubicBezTo>
                  <a:pt x="368" y="392"/>
                  <a:pt x="347" y="358"/>
                  <a:pt x="335" y="340"/>
                </a:cubicBezTo>
                <a:cubicBezTo>
                  <a:pt x="335" y="338"/>
                  <a:pt x="334" y="337"/>
                  <a:pt x="333" y="336"/>
                </a:cubicBezTo>
                <a:cubicBezTo>
                  <a:pt x="393" y="276"/>
                  <a:pt x="393" y="276"/>
                  <a:pt x="393" y="276"/>
                </a:cubicBezTo>
                <a:cubicBezTo>
                  <a:pt x="404" y="290"/>
                  <a:pt x="413" y="310"/>
                  <a:pt x="418" y="332"/>
                </a:cubicBezTo>
                <a:cubicBezTo>
                  <a:pt x="418" y="336"/>
                  <a:pt x="422" y="338"/>
                  <a:pt x="426" y="338"/>
                </a:cubicBezTo>
                <a:cubicBezTo>
                  <a:pt x="430" y="337"/>
                  <a:pt x="432" y="333"/>
                  <a:pt x="431" y="329"/>
                </a:cubicBezTo>
                <a:cubicBezTo>
                  <a:pt x="426" y="305"/>
                  <a:pt x="416" y="282"/>
                  <a:pt x="403" y="266"/>
                </a:cubicBezTo>
                <a:close/>
                <a:moveTo>
                  <a:pt x="317" y="258"/>
                </a:moveTo>
                <a:cubicBezTo>
                  <a:pt x="328" y="248"/>
                  <a:pt x="340" y="245"/>
                  <a:pt x="354" y="249"/>
                </a:cubicBezTo>
                <a:cubicBezTo>
                  <a:pt x="366" y="253"/>
                  <a:pt x="377" y="261"/>
                  <a:pt x="383" y="266"/>
                </a:cubicBezTo>
                <a:cubicBezTo>
                  <a:pt x="326" y="324"/>
                  <a:pt x="326" y="324"/>
                  <a:pt x="326" y="324"/>
                </a:cubicBezTo>
                <a:cubicBezTo>
                  <a:pt x="311" y="300"/>
                  <a:pt x="299" y="276"/>
                  <a:pt x="317" y="258"/>
                </a:cubicBezTo>
                <a:close/>
                <a:moveTo>
                  <a:pt x="323" y="347"/>
                </a:moveTo>
                <a:cubicBezTo>
                  <a:pt x="338" y="370"/>
                  <a:pt x="349" y="392"/>
                  <a:pt x="326" y="415"/>
                </a:cubicBezTo>
                <a:cubicBezTo>
                  <a:pt x="320" y="421"/>
                  <a:pt x="298" y="438"/>
                  <a:pt x="263" y="406"/>
                </a:cubicBezTo>
                <a:cubicBezTo>
                  <a:pt x="323" y="346"/>
                  <a:pt x="323" y="346"/>
                  <a:pt x="323" y="346"/>
                </a:cubicBezTo>
                <a:cubicBezTo>
                  <a:pt x="323" y="346"/>
                  <a:pt x="323" y="347"/>
                  <a:pt x="323" y="34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19" name="Oval 41"/>
          <p:cNvSpPr>
            <a:spLocks noChangeArrowheads="1"/>
          </p:cNvSpPr>
          <p:nvPr/>
        </p:nvSpPr>
        <p:spPr bwMode="auto">
          <a:xfrm>
            <a:off x="3552358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03" name="Freeform 94"/>
          <p:cNvSpPr>
            <a:spLocks noEditPoints="1"/>
          </p:cNvSpPr>
          <p:nvPr/>
        </p:nvSpPr>
        <p:spPr bwMode="auto">
          <a:xfrm>
            <a:off x="3708899" y="1280747"/>
            <a:ext cx="509878" cy="510432"/>
          </a:xfrm>
          <a:custGeom>
            <a:avLst/>
            <a:gdLst>
              <a:gd name="T0" fmla="*/ 428 w 659"/>
              <a:gd name="T1" fmla="*/ 343 h 658"/>
              <a:gd name="T2" fmla="*/ 421 w 659"/>
              <a:gd name="T3" fmla="*/ 357 h 658"/>
              <a:gd name="T4" fmla="*/ 414 w 659"/>
              <a:gd name="T5" fmla="*/ 343 h 658"/>
              <a:gd name="T6" fmla="*/ 329 w 659"/>
              <a:gd name="T7" fmla="*/ 293 h 658"/>
              <a:gd name="T8" fmla="*/ 358 w 659"/>
              <a:gd name="T9" fmla="*/ 380 h 658"/>
              <a:gd name="T10" fmla="*/ 353 w 659"/>
              <a:gd name="T11" fmla="*/ 392 h 658"/>
              <a:gd name="T12" fmla="*/ 290 w 659"/>
              <a:gd name="T13" fmla="*/ 332 h 658"/>
              <a:gd name="T14" fmla="*/ 312 w 659"/>
              <a:gd name="T15" fmla="*/ 467 h 658"/>
              <a:gd name="T16" fmla="*/ 307 w 659"/>
              <a:gd name="T17" fmla="*/ 479 h 658"/>
              <a:gd name="T18" fmla="*/ 193 w 659"/>
              <a:gd name="T19" fmla="*/ 369 h 658"/>
              <a:gd name="T20" fmla="*/ 203 w 659"/>
              <a:gd name="T21" fmla="*/ 359 h 658"/>
              <a:gd name="T22" fmla="*/ 280 w 659"/>
              <a:gd name="T23" fmla="*/ 322 h 658"/>
              <a:gd name="T24" fmla="*/ 260 w 659"/>
              <a:gd name="T25" fmla="*/ 292 h 658"/>
              <a:gd name="T26" fmla="*/ 290 w 659"/>
              <a:gd name="T27" fmla="*/ 312 h 658"/>
              <a:gd name="T28" fmla="*/ 407 w 659"/>
              <a:gd name="T29" fmla="*/ 281 h 658"/>
              <a:gd name="T30" fmla="*/ 657 w 659"/>
              <a:gd name="T31" fmla="*/ 297 h 658"/>
              <a:gd name="T32" fmla="*/ 293 w 659"/>
              <a:gd name="T33" fmla="*/ 658 h 658"/>
              <a:gd name="T34" fmla="*/ 2 w 659"/>
              <a:gd name="T35" fmla="*/ 370 h 658"/>
              <a:gd name="T36" fmla="*/ 2 w 659"/>
              <a:gd name="T37" fmla="*/ 361 h 658"/>
              <a:gd name="T38" fmla="*/ 366 w 659"/>
              <a:gd name="T39" fmla="*/ 0 h 658"/>
              <a:gd name="T40" fmla="*/ 659 w 659"/>
              <a:gd name="T41" fmla="*/ 7 h 658"/>
              <a:gd name="T42" fmla="*/ 645 w 659"/>
              <a:gd name="T43" fmla="*/ 289 h 658"/>
              <a:gd name="T44" fmla="*/ 369 w 659"/>
              <a:gd name="T45" fmla="*/ 14 h 658"/>
              <a:gd name="T46" fmla="*/ 293 w 659"/>
              <a:gd name="T47" fmla="*/ 641 h 658"/>
              <a:gd name="T48" fmla="*/ 577 w 659"/>
              <a:gd name="T49" fmla="*/ 144 h 658"/>
              <a:gd name="T50" fmla="*/ 528 w 659"/>
              <a:gd name="T51" fmla="*/ 205 h 658"/>
              <a:gd name="T52" fmla="*/ 523 w 659"/>
              <a:gd name="T53" fmla="*/ 206 h 658"/>
              <a:gd name="T54" fmla="*/ 519 w 659"/>
              <a:gd name="T55" fmla="*/ 206 h 658"/>
              <a:gd name="T56" fmla="*/ 511 w 659"/>
              <a:gd name="T57" fmla="*/ 206 h 658"/>
              <a:gd name="T58" fmla="*/ 506 w 659"/>
              <a:gd name="T59" fmla="*/ 206 h 658"/>
              <a:gd name="T60" fmla="*/ 501 w 659"/>
              <a:gd name="T61" fmla="*/ 205 h 658"/>
              <a:gd name="T62" fmla="*/ 453 w 659"/>
              <a:gd name="T63" fmla="*/ 151 h 658"/>
              <a:gd name="T64" fmla="*/ 452 w 659"/>
              <a:gd name="T65" fmla="*/ 144 h 658"/>
              <a:gd name="T66" fmla="*/ 452 w 659"/>
              <a:gd name="T67" fmla="*/ 144 h 658"/>
              <a:gd name="T68" fmla="*/ 470 w 659"/>
              <a:gd name="T69" fmla="*/ 100 h 658"/>
              <a:gd name="T70" fmla="*/ 577 w 659"/>
              <a:gd name="T71" fmla="*/ 144 h 658"/>
              <a:gd name="T72" fmla="*/ 563 w 659"/>
              <a:gd name="T73" fmla="*/ 144 h 658"/>
              <a:gd name="T74" fmla="*/ 480 w 659"/>
              <a:gd name="T75" fmla="*/ 110 h 658"/>
              <a:gd name="T76" fmla="*/ 466 w 659"/>
              <a:gd name="T77" fmla="*/ 149 h 658"/>
              <a:gd name="T78" fmla="*/ 500 w 659"/>
              <a:gd name="T79" fmla="*/ 190 h 658"/>
              <a:gd name="T80" fmla="*/ 504 w 659"/>
              <a:gd name="T81" fmla="*/ 191 h 658"/>
              <a:gd name="T82" fmla="*/ 508 w 659"/>
              <a:gd name="T83" fmla="*/ 192 h 658"/>
              <a:gd name="T84" fmla="*/ 511 w 659"/>
              <a:gd name="T85" fmla="*/ 192 h 658"/>
              <a:gd name="T86" fmla="*/ 519 w 659"/>
              <a:gd name="T87" fmla="*/ 192 h 658"/>
              <a:gd name="T88" fmla="*/ 522 w 659"/>
              <a:gd name="T89" fmla="*/ 192 h 658"/>
              <a:gd name="T90" fmla="*/ 525 w 659"/>
              <a:gd name="T91" fmla="*/ 191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59" h="658">
                <a:moveTo>
                  <a:pt x="407" y="281"/>
                </a:moveTo>
                <a:cubicBezTo>
                  <a:pt x="430" y="304"/>
                  <a:pt x="429" y="321"/>
                  <a:pt x="428" y="343"/>
                </a:cubicBezTo>
                <a:cubicBezTo>
                  <a:pt x="428" y="346"/>
                  <a:pt x="428" y="348"/>
                  <a:pt x="428" y="350"/>
                </a:cubicBezTo>
                <a:cubicBezTo>
                  <a:pt x="428" y="354"/>
                  <a:pt x="424" y="357"/>
                  <a:pt x="421" y="357"/>
                </a:cubicBezTo>
                <a:cubicBezTo>
                  <a:pt x="417" y="357"/>
                  <a:pt x="414" y="354"/>
                  <a:pt x="414" y="350"/>
                </a:cubicBezTo>
                <a:cubicBezTo>
                  <a:pt x="414" y="347"/>
                  <a:pt x="414" y="345"/>
                  <a:pt x="414" y="343"/>
                </a:cubicBezTo>
                <a:cubicBezTo>
                  <a:pt x="415" y="321"/>
                  <a:pt x="416" y="309"/>
                  <a:pt x="397" y="290"/>
                </a:cubicBezTo>
                <a:cubicBezTo>
                  <a:pt x="377" y="270"/>
                  <a:pt x="351" y="271"/>
                  <a:pt x="329" y="293"/>
                </a:cubicBezTo>
                <a:cubicBezTo>
                  <a:pt x="300" y="322"/>
                  <a:pt x="300" y="322"/>
                  <a:pt x="300" y="322"/>
                </a:cubicBezTo>
                <a:cubicBezTo>
                  <a:pt x="358" y="380"/>
                  <a:pt x="358" y="380"/>
                  <a:pt x="358" y="380"/>
                </a:cubicBezTo>
                <a:cubicBezTo>
                  <a:pt x="361" y="383"/>
                  <a:pt x="361" y="387"/>
                  <a:pt x="358" y="390"/>
                </a:cubicBezTo>
                <a:cubicBezTo>
                  <a:pt x="357" y="391"/>
                  <a:pt x="355" y="392"/>
                  <a:pt x="353" y="392"/>
                </a:cubicBezTo>
                <a:cubicBezTo>
                  <a:pt x="351" y="392"/>
                  <a:pt x="350" y="391"/>
                  <a:pt x="348" y="390"/>
                </a:cubicBezTo>
                <a:cubicBezTo>
                  <a:pt x="290" y="332"/>
                  <a:pt x="290" y="332"/>
                  <a:pt x="290" y="332"/>
                </a:cubicBezTo>
                <a:cubicBezTo>
                  <a:pt x="233" y="389"/>
                  <a:pt x="233" y="389"/>
                  <a:pt x="233" y="389"/>
                </a:cubicBezTo>
                <a:cubicBezTo>
                  <a:pt x="312" y="467"/>
                  <a:pt x="312" y="467"/>
                  <a:pt x="312" y="467"/>
                </a:cubicBezTo>
                <a:cubicBezTo>
                  <a:pt x="315" y="470"/>
                  <a:pt x="315" y="475"/>
                  <a:pt x="312" y="477"/>
                </a:cubicBezTo>
                <a:cubicBezTo>
                  <a:pt x="311" y="479"/>
                  <a:pt x="309" y="479"/>
                  <a:pt x="307" y="479"/>
                </a:cubicBezTo>
                <a:cubicBezTo>
                  <a:pt x="305" y="479"/>
                  <a:pt x="304" y="479"/>
                  <a:pt x="302" y="477"/>
                </a:cubicBezTo>
                <a:cubicBezTo>
                  <a:pt x="193" y="369"/>
                  <a:pt x="193" y="369"/>
                  <a:pt x="193" y="369"/>
                </a:cubicBezTo>
                <a:cubicBezTo>
                  <a:pt x="191" y="366"/>
                  <a:pt x="191" y="361"/>
                  <a:pt x="193" y="359"/>
                </a:cubicBezTo>
                <a:cubicBezTo>
                  <a:pt x="196" y="356"/>
                  <a:pt x="201" y="356"/>
                  <a:pt x="203" y="359"/>
                </a:cubicBezTo>
                <a:cubicBezTo>
                  <a:pt x="223" y="379"/>
                  <a:pt x="223" y="379"/>
                  <a:pt x="223" y="379"/>
                </a:cubicBezTo>
                <a:cubicBezTo>
                  <a:pt x="280" y="322"/>
                  <a:pt x="280" y="322"/>
                  <a:pt x="280" y="322"/>
                </a:cubicBezTo>
                <a:cubicBezTo>
                  <a:pt x="260" y="302"/>
                  <a:pt x="260" y="302"/>
                  <a:pt x="260" y="302"/>
                </a:cubicBezTo>
                <a:cubicBezTo>
                  <a:pt x="258" y="299"/>
                  <a:pt x="258" y="295"/>
                  <a:pt x="260" y="292"/>
                </a:cubicBezTo>
                <a:cubicBezTo>
                  <a:pt x="263" y="289"/>
                  <a:pt x="267" y="289"/>
                  <a:pt x="270" y="292"/>
                </a:cubicBezTo>
                <a:cubicBezTo>
                  <a:pt x="290" y="312"/>
                  <a:pt x="290" y="312"/>
                  <a:pt x="290" y="312"/>
                </a:cubicBezTo>
                <a:cubicBezTo>
                  <a:pt x="319" y="283"/>
                  <a:pt x="319" y="283"/>
                  <a:pt x="319" y="283"/>
                </a:cubicBezTo>
                <a:cubicBezTo>
                  <a:pt x="346" y="256"/>
                  <a:pt x="381" y="255"/>
                  <a:pt x="407" y="281"/>
                </a:cubicBezTo>
                <a:close/>
                <a:moveTo>
                  <a:pt x="659" y="292"/>
                </a:moveTo>
                <a:cubicBezTo>
                  <a:pt x="659" y="294"/>
                  <a:pt x="658" y="296"/>
                  <a:pt x="657" y="297"/>
                </a:cubicBezTo>
                <a:cubicBezTo>
                  <a:pt x="298" y="656"/>
                  <a:pt x="298" y="656"/>
                  <a:pt x="298" y="656"/>
                </a:cubicBezTo>
                <a:cubicBezTo>
                  <a:pt x="297" y="657"/>
                  <a:pt x="295" y="658"/>
                  <a:pt x="293" y="658"/>
                </a:cubicBezTo>
                <a:cubicBezTo>
                  <a:pt x="291" y="658"/>
                  <a:pt x="289" y="657"/>
                  <a:pt x="288" y="656"/>
                </a:cubicBezTo>
                <a:cubicBezTo>
                  <a:pt x="2" y="370"/>
                  <a:pt x="2" y="370"/>
                  <a:pt x="2" y="370"/>
                </a:cubicBezTo>
                <a:cubicBezTo>
                  <a:pt x="1" y="369"/>
                  <a:pt x="0" y="367"/>
                  <a:pt x="0" y="366"/>
                </a:cubicBezTo>
                <a:cubicBezTo>
                  <a:pt x="0" y="364"/>
                  <a:pt x="1" y="362"/>
                  <a:pt x="2" y="361"/>
                </a:cubicBezTo>
                <a:cubicBezTo>
                  <a:pt x="361" y="2"/>
                  <a:pt x="361" y="2"/>
                  <a:pt x="361" y="2"/>
                </a:cubicBezTo>
                <a:cubicBezTo>
                  <a:pt x="362" y="0"/>
                  <a:pt x="364" y="0"/>
                  <a:pt x="366" y="0"/>
                </a:cubicBezTo>
                <a:cubicBezTo>
                  <a:pt x="652" y="0"/>
                  <a:pt x="652" y="0"/>
                  <a:pt x="652" y="0"/>
                </a:cubicBezTo>
                <a:cubicBezTo>
                  <a:pt x="656" y="0"/>
                  <a:pt x="659" y="3"/>
                  <a:pt x="659" y="7"/>
                </a:cubicBezTo>
                <a:lnTo>
                  <a:pt x="659" y="292"/>
                </a:lnTo>
                <a:close/>
                <a:moveTo>
                  <a:pt x="645" y="289"/>
                </a:moveTo>
                <a:cubicBezTo>
                  <a:pt x="645" y="14"/>
                  <a:pt x="645" y="14"/>
                  <a:pt x="645" y="14"/>
                </a:cubicBezTo>
                <a:cubicBezTo>
                  <a:pt x="369" y="14"/>
                  <a:pt x="369" y="14"/>
                  <a:pt x="369" y="14"/>
                </a:cubicBezTo>
                <a:cubicBezTo>
                  <a:pt x="17" y="366"/>
                  <a:pt x="17" y="366"/>
                  <a:pt x="17" y="366"/>
                </a:cubicBezTo>
                <a:cubicBezTo>
                  <a:pt x="293" y="641"/>
                  <a:pt x="293" y="641"/>
                  <a:pt x="293" y="641"/>
                </a:cubicBezTo>
                <a:lnTo>
                  <a:pt x="645" y="289"/>
                </a:lnTo>
                <a:close/>
                <a:moveTo>
                  <a:pt x="577" y="144"/>
                </a:moveTo>
                <a:cubicBezTo>
                  <a:pt x="577" y="160"/>
                  <a:pt x="571" y="176"/>
                  <a:pt x="559" y="188"/>
                </a:cubicBezTo>
                <a:cubicBezTo>
                  <a:pt x="550" y="197"/>
                  <a:pt x="540" y="202"/>
                  <a:pt x="528" y="205"/>
                </a:cubicBezTo>
                <a:cubicBezTo>
                  <a:pt x="528" y="205"/>
                  <a:pt x="528" y="205"/>
                  <a:pt x="527" y="205"/>
                </a:cubicBezTo>
                <a:cubicBezTo>
                  <a:pt x="526" y="205"/>
                  <a:pt x="525" y="205"/>
                  <a:pt x="523" y="206"/>
                </a:cubicBezTo>
                <a:cubicBezTo>
                  <a:pt x="522" y="206"/>
                  <a:pt x="522" y="206"/>
                  <a:pt x="521" y="206"/>
                </a:cubicBezTo>
                <a:cubicBezTo>
                  <a:pt x="520" y="206"/>
                  <a:pt x="519" y="206"/>
                  <a:pt x="519" y="206"/>
                </a:cubicBezTo>
                <a:cubicBezTo>
                  <a:pt x="517" y="206"/>
                  <a:pt x="516" y="206"/>
                  <a:pt x="515" y="206"/>
                </a:cubicBezTo>
                <a:cubicBezTo>
                  <a:pt x="513" y="206"/>
                  <a:pt x="512" y="206"/>
                  <a:pt x="511" y="206"/>
                </a:cubicBezTo>
                <a:cubicBezTo>
                  <a:pt x="510" y="206"/>
                  <a:pt x="509" y="206"/>
                  <a:pt x="508" y="206"/>
                </a:cubicBezTo>
                <a:cubicBezTo>
                  <a:pt x="508" y="206"/>
                  <a:pt x="507" y="206"/>
                  <a:pt x="506" y="206"/>
                </a:cubicBezTo>
                <a:cubicBezTo>
                  <a:pt x="505" y="205"/>
                  <a:pt x="503" y="205"/>
                  <a:pt x="502" y="205"/>
                </a:cubicBezTo>
                <a:cubicBezTo>
                  <a:pt x="502" y="205"/>
                  <a:pt x="501" y="205"/>
                  <a:pt x="501" y="205"/>
                </a:cubicBezTo>
                <a:cubicBezTo>
                  <a:pt x="490" y="202"/>
                  <a:pt x="479" y="196"/>
                  <a:pt x="470" y="188"/>
                </a:cubicBezTo>
                <a:cubicBezTo>
                  <a:pt x="460" y="178"/>
                  <a:pt x="454" y="165"/>
                  <a:pt x="453" y="151"/>
                </a:cubicBezTo>
                <a:cubicBezTo>
                  <a:pt x="453" y="150"/>
                  <a:pt x="453" y="150"/>
                  <a:pt x="453" y="150"/>
                </a:cubicBezTo>
                <a:cubicBezTo>
                  <a:pt x="452" y="148"/>
                  <a:pt x="452" y="146"/>
                  <a:pt x="452" y="144"/>
                </a:cubicBezTo>
                <a:cubicBezTo>
                  <a:pt x="452" y="144"/>
                  <a:pt x="452" y="144"/>
                  <a:pt x="452" y="144"/>
                </a:cubicBezTo>
                <a:cubicBezTo>
                  <a:pt x="452" y="144"/>
                  <a:pt x="452" y="144"/>
                  <a:pt x="452" y="144"/>
                </a:cubicBezTo>
                <a:cubicBezTo>
                  <a:pt x="452" y="133"/>
                  <a:pt x="455" y="122"/>
                  <a:pt x="461" y="113"/>
                </a:cubicBezTo>
                <a:cubicBezTo>
                  <a:pt x="463" y="108"/>
                  <a:pt x="467" y="104"/>
                  <a:pt x="470" y="100"/>
                </a:cubicBezTo>
                <a:cubicBezTo>
                  <a:pt x="482" y="88"/>
                  <a:pt x="498" y="81"/>
                  <a:pt x="515" y="81"/>
                </a:cubicBezTo>
                <a:cubicBezTo>
                  <a:pt x="549" y="81"/>
                  <a:pt x="577" y="109"/>
                  <a:pt x="577" y="144"/>
                </a:cubicBezTo>
                <a:close/>
                <a:moveTo>
                  <a:pt x="525" y="191"/>
                </a:moveTo>
                <a:cubicBezTo>
                  <a:pt x="547" y="186"/>
                  <a:pt x="563" y="167"/>
                  <a:pt x="563" y="144"/>
                </a:cubicBezTo>
                <a:cubicBezTo>
                  <a:pt x="563" y="117"/>
                  <a:pt x="541" y="95"/>
                  <a:pt x="515" y="95"/>
                </a:cubicBezTo>
                <a:cubicBezTo>
                  <a:pt x="502" y="95"/>
                  <a:pt x="490" y="100"/>
                  <a:pt x="480" y="110"/>
                </a:cubicBezTo>
                <a:cubicBezTo>
                  <a:pt x="471" y="119"/>
                  <a:pt x="466" y="131"/>
                  <a:pt x="466" y="144"/>
                </a:cubicBezTo>
                <a:cubicBezTo>
                  <a:pt x="466" y="145"/>
                  <a:pt x="466" y="147"/>
                  <a:pt x="466" y="149"/>
                </a:cubicBezTo>
                <a:cubicBezTo>
                  <a:pt x="466" y="149"/>
                  <a:pt x="466" y="149"/>
                  <a:pt x="467" y="149"/>
                </a:cubicBezTo>
                <a:cubicBezTo>
                  <a:pt x="469" y="168"/>
                  <a:pt x="482" y="184"/>
                  <a:pt x="500" y="190"/>
                </a:cubicBezTo>
                <a:cubicBezTo>
                  <a:pt x="500" y="190"/>
                  <a:pt x="500" y="190"/>
                  <a:pt x="500" y="190"/>
                </a:cubicBezTo>
                <a:cubicBezTo>
                  <a:pt x="501" y="190"/>
                  <a:pt x="503" y="191"/>
                  <a:pt x="504" y="191"/>
                </a:cubicBezTo>
                <a:cubicBezTo>
                  <a:pt x="504" y="191"/>
                  <a:pt x="505" y="191"/>
                  <a:pt x="505" y="191"/>
                </a:cubicBezTo>
                <a:cubicBezTo>
                  <a:pt x="506" y="191"/>
                  <a:pt x="507" y="192"/>
                  <a:pt x="508" y="192"/>
                </a:cubicBezTo>
                <a:cubicBezTo>
                  <a:pt x="508" y="192"/>
                  <a:pt x="509" y="192"/>
                  <a:pt x="510" y="192"/>
                </a:cubicBezTo>
                <a:cubicBezTo>
                  <a:pt x="510" y="192"/>
                  <a:pt x="510" y="192"/>
                  <a:pt x="511" y="192"/>
                </a:cubicBezTo>
                <a:cubicBezTo>
                  <a:pt x="512" y="192"/>
                  <a:pt x="513" y="192"/>
                  <a:pt x="515" y="192"/>
                </a:cubicBezTo>
                <a:cubicBezTo>
                  <a:pt x="516" y="192"/>
                  <a:pt x="517" y="192"/>
                  <a:pt x="519" y="192"/>
                </a:cubicBezTo>
                <a:cubicBezTo>
                  <a:pt x="519" y="192"/>
                  <a:pt x="519" y="192"/>
                  <a:pt x="520" y="192"/>
                </a:cubicBezTo>
                <a:cubicBezTo>
                  <a:pt x="520" y="192"/>
                  <a:pt x="521" y="192"/>
                  <a:pt x="522" y="192"/>
                </a:cubicBezTo>
                <a:cubicBezTo>
                  <a:pt x="523" y="192"/>
                  <a:pt x="523" y="191"/>
                  <a:pt x="524" y="191"/>
                </a:cubicBezTo>
                <a:cubicBezTo>
                  <a:pt x="525" y="191"/>
                  <a:pt x="525" y="191"/>
                  <a:pt x="525" y="19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17" name="Oval 40"/>
          <p:cNvSpPr>
            <a:spLocks noChangeArrowheads="1"/>
          </p:cNvSpPr>
          <p:nvPr/>
        </p:nvSpPr>
        <p:spPr bwMode="auto">
          <a:xfrm>
            <a:off x="4845101" y="112403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04" name="Freeform 95"/>
          <p:cNvSpPr>
            <a:spLocks noEditPoints="1"/>
          </p:cNvSpPr>
          <p:nvPr/>
        </p:nvSpPr>
        <p:spPr bwMode="auto">
          <a:xfrm>
            <a:off x="5001643" y="1280747"/>
            <a:ext cx="509878" cy="510432"/>
          </a:xfrm>
          <a:custGeom>
            <a:avLst/>
            <a:gdLst>
              <a:gd name="T0" fmla="*/ 652 w 659"/>
              <a:gd name="T1" fmla="*/ 0 h 658"/>
              <a:gd name="T2" fmla="*/ 361 w 659"/>
              <a:gd name="T3" fmla="*/ 2 h 658"/>
              <a:gd name="T4" fmla="*/ 0 w 659"/>
              <a:gd name="T5" fmla="*/ 366 h 658"/>
              <a:gd name="T6" fmla="*/ 288 w 659"/>
              <a:gd name="T7" fmla="*/ 656 h 658"/>
              <a:gd name="T8" fmla="*/ 298 w 659"/>
              <a:gd name="T9" fmla="*/ 656 h 658"/>
              <a:gd name="T10" fmla="*/ 659 w 659"/>
              <a:gd name="T11" fmla="*/ 292 h 658"/>
              <a:gd name="T12" fmla="*/ 293 w 659"/>
              <a:gd name="T13" fmla="*/ 641 h 658"/>
              <a:gd name="T14" fmla="*/ 369 w 659"/>
              <a:gd name="T15" fmla="*/ 14 h 658"/>
              <a:gd name="T16" fmla="*/ 645 w 659"/>
              <a:gd name="T17" fmla="*/ 289 h 658"/>
              <a:gd name="T18" fmla="*/ 515 w 659"/>
              <a:gd name="T19" fmla="*/ 81 h 658"/>
              <a:gd name="T20" fmla="*/ 471 w 659"/>
              <a:gd name="T21" fmla="*/ 100 h 658"/>
              <a:gd name="T22" fmla="*/ 452 w 659"/>
              <a:gd name="T23" fmla="*/ 144 h 658"/>
              <a:gd name="T24" fmla="*/ 452 w 659"/>
              <a:gd name="T25" fmla="*/ 144 h 658"/>
              <a:gd name="T26" fmla="*/ 515 w 659"/>
              <a:gd name="T27" fmla="*/ 206 h 658"/>
              <a:gd name="T28" fmla="*/ 521 w 659"/>
              <a:gd name="T29" fmla="*/ 206 h 658"/>
              <a:gd name="T30" fmla="*/ 527 w 659"/>
              <a:gd name="T31" fmla="*/ 205 h 658"/>
              <a:gd name="T32" fmla="*/ 559 w 659"/>
              <a:gd name="T33" fmla="*/ 188 h 658"/>
              <a:gd name="T34" fmla="*/ 515 w 659"/>
              <a:gd name="T35" fmla="*/ 81 h 658"/>
              <a:gd name="T36" fmla="*/ 522 w 659"/>
              <a:gd name="T37" fmla="*/ 192 h 658"/>
              <a:gd name="T38" fmla="*/ 519 w 659"/>
              <a:gd name="T39" fmla="*/ 192 h 658"/>
              <a:gd name="T40" fmla="*/ 471 w 659"/>
              <a:gd name="T41" fmla="*/ 164 h 658"/>
              <a:gd name="T42" fmla="*/ 481 w 659"/>
              <a:gd name="T43" fmla="*/ 110 h 658"/>
              <a:gd name="T44" fmla="*/ 563 w 659"/>
              <a:gd name="T45" fmla="*/ 144 h 658"/>
              <a:gd name="T46" fmla="*/ 525 w 659"/>
              <a:gd name="T47" fmla="*/ 191 h 658"/>
              <a:gd name="T48" fmla="*/ 455 w 659"/>
              <a:gd name="T49" fmla="*/ 318 h 658"/>
              <a:gd name="T50" fmla="*/ 363 w 659"/>
              <a:gd name="T51" fmla="*/ 384 h 658"/>
              <a:gd name="T52" fmla="*/ 358 w 659"/>
              <a:gd name="T53" fmla="*/ 396 h 658"/>
              <a:gd name="T54" fmla="*/ 314 w 659"/>
              <a:gd name="T55" fmla="*/ 355 h 658"/>
              <a:gd name="T56" fmla="*/ 334 w 659"/>
              <a:gd name="T57" fmla="*/ 413 h 658"/>
              <a:gd name="T58" fmla="*/ 329 w 659"/>
              <a:gd name="T59" fmla="*/ 425 h 658"/>
              <a:gd name="T60" fmla="*/ 285 w 659"/>
              <a:gd name="T61" fmla="*/ 384 h 658"/>
              <a:gd name="T62" fmla="*/ 238 w 659"/>
              <a:gd name="T63" fmla="*/ 428 h 658"/>
              <a:gd name="T64" fmla="*/ 233 w 659"/>
              <a:gd name="T65" fmla="*/ 416 h 658"/>
              <a:gd name="T66" fmla="*/ 236 w 659"/>
              <a:gd name="T67" fmla="*/ 335 h 658"/>
              <a:gd name="T68" fmla="*/ 246 w 659"/>
              <a:gd name="T69" fmla="*/ 325 h 658"/>
              <a:gd name="T70" fmla="*/ 304 w 659"/>
              <a:gd name="T71" fmla="*/ 345 h 658"/>
              <a:gd name="T72" fmla="*/ 265 w 659"/>
              <a:gd name="T73" fmla="*/ 296 h 658"/>
              <a:gd name="T74" fmla="*/ 312 w 659"/>
              <a:gd name="T75" fmla="*/ 333 h 658"/>
              <a:gd name="T76" fmla="*/ 349 w 659"/>
              <a:gd name="T77" fmla="*/ 199 h 658"/>
              <a:gd name="T78" fmla="*/ 327 w 659"/>
              <a:gd name="T79" fmla="*/ 332 h 658"/>
              <a:gd name="T80" fmla="*/ 460 w 659"/>
              <a:gd name="T81" fmla="*/ 310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59" h="658">
                <a:moveTo>
                  <a:pt x="659" y="7"/>
                </a:moveTo>
                <a:cubicBezTo>
                  <a:pt x="659" y="3"/>
                  <a:pt x="656" y="0"/>
                  <a:pt x="652" y="0"/>
                </a:cubicBezTo>
                <a:cubicBezTo>
                  <a:pt x="366" y="0"/>
                  <a:pt x="366" y="0"/>
                  <a:pt x="366" y="0"/>
                </a:cubicBezTo>
                <a:cubicBezTo>
                  <a:pt x="364" y="0"/>
                  <a:pt x="363" y="0"/>
                  <a:pt x="361" y="2"/>
                </a:cubicBezTo>
                <a:cubicBezTo>
                  <a:pt x="3" y="361"/>
                  <a:pt x="3" y="361"/>
                  <a:pt x="3" y="361"/>
                </a:cubicBezTo>
                <a:cubicBezTo>
                  <a:pt x="1" y="362"/>
                  <a:pt x="0" y="364"/>
                  <a:pt x="0" y="366"/>
                </a:cubicBezTo>
                <a:cubicBezTo>
                  <a:pt x="0" y="367"/>
                  <a:pt x="1" y="369"/>
                  <a:pt x="3" y="370"/>
                </a:cubicBezTo>
                <a:cubicBezTo>
                  <a:pt x="288" y="656"/>
                  <a:pt x="288" y="656"/>
                  <a:pt x="288" y="656"/>
                </a:cubicBezTo>
                <a:cubicBezTo>
                  <a:pt x="290" y="657"/>
                  <a:pt x="291" y="658"/>
                  <a:pt x="293" y="658"/>
                </a:cubicBezTo>
                <a:cubicBezTo>
                  <a:pt x="295" y="658"/>
                  <a:pt x="297" y="657"/>
                  <a:pt x="298" y="656"/>
                </a:cubicBezTo>
                <a:cubicBezTo>
                  <a:pt x="657" y="297"/>
                  <a:pt x="657" y="297"/>
                  <a:pt x="657" y="297"/>
                </a:cubicBezTo>
                <a:cubicBezTo>
                  <a:pt x="658" y="296"/>
                  <a:pt x="659" y="294"/>
                  <a:pt x="659" y="292"/>
                </a:cubicBezTo>
                <a:lnTo>
                  <a:pt x="659" y="7"/>
                </a:lnTo>
                <a:close/>
                <a:moveTo>
                  <a:pt x="293" y="641"/>
                </a:moveTo>
                <a:cubicBezTo>
                  <a:pt x="17" y="366"/>
                  <a:pt x="17" y="366"/>
                  <a:pt x="17" y="366"/>
                </a:cubicBezTo>
                <a:cubicBezTo>
                  <a:pt x="369" y="14"/>
                  <a:pt x="369" y="14"/>
                  <a:pt x="369" y="14"/>
                </a:cubicBezTo>
                <a:cubicBezTo>
                  <a:pt x="645" y="14"/>
                  <a:pt x="645" y="14"/>
                  <a:pt x="645" y="14"/>
                </a:cubicBezTo>
                <a:cubicBezTo>
                  <a:pt x="645" y="289"/>
                  <a:pt x="645" y="289"/>
                  <a:pt x="645" y="289"/>
                </a:cubicBezTo>
                <a:lnTo>
                  <a:pt x="293" y="641"/>
                </a:lnTo>
                <a:close/>
                <a:moveTo>
                  <a:pt x="515" y="81"/>
                </a:moveTo>
                <a:cubicBezTo>
                  <a:pt x="498" y="81"/>
                  <a:pt x="482" y="88"/>
                  <a:pt x="471" y="100"/>
                </a:cubicBezTo>
                <a:cubicBezTo>
                  <a:pt x="471" y="100"/>
                  <a:pt x="471" y="100"/>
                  <a:pt x="471" y="100"/>
                </a:cubicBezTo>
                <a:cubicBezTo>
                  <a:pt x="471" y="100"/>
                  <a:pt x="471" y="100"/>
                  <a:pt x="471" y="100"/>
                </a:cubicBezTo>
                <a:cubicBezTo>
                  <a:pt x="459" y="111"/>
                  <a:pt x="452" y="127"/>
                  <a:pt x="452" y="144"/>
                </a:cubicBezTo>
                <a:cubicBezTo>
                  <a:pt x="452" y="144"/>
                  <a:pt x="452" y="144"/>
                  <a:pt x="452" y="144"/>
                </a:cubicBezTo>
                <a:cubicBezTo>
                  <a:pt x="452" y="144"/>
                  <a:pt x="452" y="144"/>
                  <a:pt x="452" y="144"/>
                </a:cubicBezTo>
                <a:cubicBezTo>
                  <a:pt x="452" y="156"/>
                  <a:pt x="456" y="167"/>
                  <a:pt x="462" y="177"/>
                </a:cubicBezTo>
                <a:cubicBezTo>
                  <a:pt x="473" y="194"/>
                  <a:pt x="492" y="206"/>
                  <a:pt x="515" y="206"/>
                </a:cubicBezTo>
                <a:cubicBezTo>
                  <a:pt x="516" y="206"/>
                  <a:pt x="517" y="206"/>
                  <a:pt x="519" y="206"/>
                </a:cubicBezTo>
                <a:cubicBezTo>
                  <a:pt x="520" y="206"/>
                  <a:pt x="520" y="206"/>
                  <a:pt x="521" y="206"/>
                </a:cubicBezTo>
                <a:cubicBezTo>
                  <a:pt x="522" y="206"/>
                  <a:pt x="523" y="206"/>
                  <a:pt x="523" y="206"/>
                </a:cubicBezTo>
                <a:cubicBezTo>
                  <a:pt x="525" y="205"/>
                  <a:pt x="526" y="205"/>
                  <a:pt x="527" y="205"/>
                </a:cubicBezTo>
                <a:cubicBezTo>
                  <a:pt x="528" y="205"/>
                  <a:pt x="528" y="205"/>
                  <a:pt x="528" y="205"/>
                </a:cubicBezTo>
                <a:cubicBezTo>
                  <a:pt x="540" y="202"/>
                  <a:pt x="551" y="197"/>
                  <a:pt x="559" y="188"/>
                </a:cubicBezTo>
                <a:cubicBezTo>
                  <a:pt x="571" y="176"/>
                  <a:pt x="577" y="160"/>
                  <a:pt x="577" y="144"/>
                </a:cubicBezTo>
                <a:cubicBezTo>
                  <a:pt x="577" y="109"/>
                  <a:pt x="549" y="81"/>
                  <a:pt x="515" y="81"/>
                </a:cubicBezTo>
                <a:close/>
                <a:moveTo>
                  <a:pt x="525" y="191"/>
                </a:moveTo>
                <a:cubicBezTo>
                  <a:pt x="524" y="191"/>
                  <a:pt x="523" y="192"/>
                  <a:pt x="522" y="192"/>
                </a:cubicBezTo>
                <a:cubicBezTo>
                  <a:pt x="521" y="192"/>
                  <a:pt x="520" y="192"/>
                  <a:pt x="520" y="192"/>
                </a:cubicBezTo>
                <a:cubicBezTo>
                  <a:pt x="519" y="192"/>
                  <a:pt x="519" y="192"/>
                  <a:pt x="519" y="192"/>
                </a:cubicBezTo>
                <a:cubicBezTo>
                  <a:pt x="517" y="192"/>
                  <a:pt x="516" y="192"/>
                  <a:pt x="515" y="192"/>
                </a:cubicBezTo>
                <a:cubicBezTo>
                  <a:pt x="495" y="192"/>
                  <a:pt x="479" y="181"/>
                  <a:pt x="471" y="164"/>
                </a:cubicBezTo>
                <a:cubicBezTo>
                  <a:pt x="468" y="158"/>
                  <a:pt x="466" y="151"/>
                  <a:pt x="466" y="144"/>
                </a:cubicBezTo>
                <a:cubicBezTo>
                  <a:pt x="466" y="131"/>
                  <a:pt x="471" y="119"/>
                  <a:pt x="481" y="110"/>
                </a:cubicBezTo>
                <a:cubicBezTo>
                  <a:pt x="490" y="100"/>
                  <a:pt x="502" y="95"/>
                  <a:pt x="515" y="95"/>
                </a:cubicBezTo>
                <a:cubicBezTo>
                  <a:pt x="542" y="95"/>
                  <a:pt x="563" y="117"/>
                  <a:pt x="563" y="144"/>
                </a:cubicBezTo>
                <a:cubicBezTo>
                  <a:pt x="563" y="167"/>
                  <a:pt x="547" y="186"/>
                  <a:pt x="525" y="191"/>
                </a:cubicBezTo>
                <a:cubicBezTo>
                  <a:pt x="525" y="191"/>
                  <a:pt x="525" y="191"/>
                  <a:pt x="525" y="191"/>
                </a:cubicBezTo>
                <a:close/>
                <a:moveTo>
                  <a:pt x="460" y="310"/>
                </a:moveTo>
                <a:cubicBezTo>
                  <a:pt x="461" y="313"/>
                  <a:pt x="459" y="317"/>
                  <a:pt x="455" y="318"/>
                </a:cubicBezTo>
                <a:cubicBezTo>
                  <a:pt x="325" y="347"/>
                  <a:pt x="325" y="347"/>
                  <a:pt x="325" y="347"/>
                </a:cubicBezTo>
                <a:cubicBezTo>
                  <a:pt x="363" y="384"/>
                  <a:pt x="363" y="384"/>
                  <a:pt x="363" y="384"/>
                </a:cubicBezTo>
                <a:cubicBezTo>
                  <a:pt x="365" y="387"/>
                  <a:pt x="365" y="391"/>
                  <a:pt x="363" y="394"/>
                </a:cubicBezTo>
                <a:cubicBezTo>
                  <a:pt x="361" y="395"/>
                  <a:pt x="359" y="396"/>
                  <a:pt x="358" y="396"/>
                </a:cubicBezTo>
                <a:cubicBezTo>
                  <a:pt x="356" y="396"/>
                  <a:pt x="354" y="395"/>
                  <a:pt x="353" y="394"/>
                </a:cubicBezTo>
                <a:cubicBezTo>
                  <a:pt x="314" y="355"/>
                  <a:pt x="314" y="355"/>
                  <a:pt x="314" y="355"/>
                </a:cubicBezTo>
                <a:cubicBezTo>
                  <a:pt x="295" y="374"/>
                  <a:pt x="295" y="374"/>
                  <a:pt x="295" y="374"/>
                </a:cubicBezTo>
                <a:cubicBezTo>
                  <a:pt x="334" y="413"/>
                  <a:pt x="334" y="413"/>
                  <a:pt x="334" y="413"/>
                </a:cubicBezTo>
                <a:cubicBezTo>
                  <a:pt x="336" y="416"/>
                  <a:pt x="336" y="420"/>
                  <a:pt x="334" y="423"/>
                </a:cubicBezTo>
                <a:cubicBezTo>
                  <a:pt x="332" y="424"/>
                  <a:pt x="331" y="425"/>
                  <a:pt x="329" y="425"/>
                </a:cubicBezTo>
                <a:cubicBezTo>
                  <a:pt x="327" y="425"/>
                  <a:pt x="325" y="424"/>
                  <a:pt x="324" y="423"/>
                </a:cubicBezTo>
                <a:cubicBezTo>
                  <a:pt x="285" y="384"/>
                  <a:pt x="285" y="384"/>
                  <a:pt x="285" y="384"/>
                </a:cubicBezTo>
                <a:cubicBezTo>
                  <a:pt x="243" y="426"/>
                  <a:pt x="243" y="426"/>
                  <a:pt x="243" y="426"/>
                </a:cubicBezTo>
                <a:cubicBezTo>
                  <a:pt x="241" y="427"/>
                  <a:pt x="239" y="428"/>
                  <a:pt x="238" y="428"/>
                </a:cubicBezTo>
                <a:cubicBezTo>
                  <a:pt x="236" y="428"/>
                  <a:pt x="234" y="427"/>
                  <a:pt x="233" y="426"/>
                </a:cubicBezTo>
                <a:cubicBezTo>
                  <a:pt x="230" y="423"/>
                  <a:pt x="230" y="419"/>
                  <a:pt x="233" y="416"/>
                </a:cubicBezTo>
                <a:cubicBezTo>
                  <a:pt x="275" y="374"/>
                  <a:pt x="275" y="374"/>
                  <a:pt x="275" y="374"/>
                </a:cubicBezTo>
                <a:cubicBezTo>
                  <a:pt x="236" y="335"/>
                  <a:pt x="236" y="335"/>
                  <a:pt x="236" y="335"/>
                </a:cubicBezTo>
                <a:cubicBezTo>
                  <a:pt x="233" y="332"/>
                  <a:pt x="233" y="328"/>
                  <a:pt x="236" y="325"/>
                </a:cubicBezTo>
                <a:cubicBezTo>
                  <a:pt x="239" y="322"/>
                  <a:pt x="243" y="322"/>
                  <a:pt x="246" y="325"/>
                </a:cubicBezTo>
                <a:cubicBezTo>
                  <a:pt x="285" y="364"/>
                  <a:pt x="285" y="364"/>
                  <a:pt x="285" y="364"/>
                </a:cubicBezTo>
                <a:cubicBezTo>
                  <a:pt x="304" y="345"/>
                  <a:pt x="304" y="345"/>
                  <a:pt x="304" y="345"/>
                </a:cubicBezTo>
                <a:cubicBezTo>
                  <a:pt x="265" y="306"/>
                  <a:pt x="265" y="306"/>
                  <a:pt x="265" y="306"/>
                </a:cubicBezTo>
                <a:cubicBezTo>
                  <a:pt x="262" y="303"/>
                  <a:pt x="262" y="299"/>
                  <a:pt x="265" y="296"/>
                </a:cubicBezTo>
                <a:cubicBezTo>
                  <a:pt x="267" y="293"/>
                  <a:pt x="272" y="293"/>
                  <a:pt x="275" y="296"/>
                </a:cubicBezTo>
                <a:cubicBezTo>
                  <a:pt x="312" y="333"/>
                  <a:pt x="312" y="333"/>
                  <a:pt x="312" y="333"/>
                </a:cubicBezTo>
                <a:cubicBezTo>
                  <a:pt x="341" y="204"/>
                  <a:pt x="341" y="204"/>
                  <a:pt x="341" y="204"/>
                </a:cubicBezTo>
                <a:cubicBezTo>
                  <a:pt x="341" y="200"/>
                  <a:pt x="345" y="198"/>
                  <a:pt x="349" y="199"/>
                </a:cubicBezTo>
                <a:cubicBezTo>
                  <a:pt x="353" y="199"/>
                  <a:pt x="355" y="203"/>
                  <a:pt x="354" y="207"/>
                </a:cubicBezTo>
                <a:cubicBezTo>
                  <a:pt x="327" y="332"/>
                  <a:pt x="327" y="332"/>
                  <a:pt x="327" y="332"/>
                </a:cubicBezTo>
                <a:cubicBezTo>
                  <a:pt x="452" y="304"/>
                  <a:pt x="452" y="304"/>
                  <a:pt x="452" y="304"/>
                </a:cubicBezTo>
                <a:cubicBezTo>
                  <a:pt x="455" y="304"/>
                  <a:pt x="459" y="306"/>
                  <a:pt x="460" y="31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5" name="Oval 47"/>
          <p:cNvSpPr>
            <a:spLocks noChangeArrowheads="1"/>
          </p:cNvSpPr>
          <p:nvPr/>
        </p:nvSpPr>
        <p:spPr bwMode="auto">
          <a:xfrm>
            <a:off x="3552358" y="22943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14" name="Freeform 105"/>
          <p:cNvSpPr>
            <a:spLocks noEditPoints="1"/>
          </p:cNvSpPr>
          <p:nvPr/>
        </p:nvSpPr>
        <p:spPr bwMode="auto">
          <a:xfrm>
            <a:off x="3665068" y="2534123"/>
            <a:ext cx="597541" cy="344391"/>
          </a:xfrm>
          <a:custGeom>
            <a:avLst/>
            <a:gdLst>
              <a:gd name="T0" fmla="*/ 751 w 773"/>
              <a:gd name="T1" fmla="*/ 6 h 445"/>
              <a:gd name="T2" fmla="*/ 751 w 773"/>
              <a:gd name="T3" fmla="*/ 5 h 445"/>
              <a:gd name="T4" fmla="*/ 750 w 773"/>
              <a:gd name="T5" fmla="*/ 3 h 445"/>
              <a:gd name="T6" fmla="*/ 749 w 773"/>
              <a:gd name="T7" fmla="*/ 2 h 445"/>
              <a:gd name="T8" fmla="*/ 747 w 773"/>
              <a:gd name="T9" fmla="*/ 1 h 445"/>
              <a:gd name="T10" fmla="*/ 747 w 773"/>
              <a:gd name="T11" fmla="*/ 1 h 445"/>
              <a:gd name="T12" fmla="*/ 745 w 773"/>
              <a:gd name="T13" fmla="*/ 0 h 445"/>
              <a:gd name="T14" fmla="*/ 744 w 773"/>
              <a:gd name="T15" fmla="*/ 0 h 445"/>
              <a:gd name="T16" fmla="*/ 742 w 773"/>
              <a:gd name="T17" fmla="*/ 1 h 445"/>
              <a:gd name="T18" fmla="*/ 740 w 773"/>
              <a:gd name="T19" fmla="*/ 2 h 445"/>
              <a:gd name="T20" fmla="*/ 626 w 773"/>
              <a:gd name="T21" fmla="*/ 87 h 445"/>
              <a:gd name="T22" fmla="*/ 634 w 773"/>
              <a:gd name="T23" fmla="*/ 99 h 445"/>
              <a:gd name="T24" fmla="*/ 649 w 773"/>
              <a:gd name="T25" fmla="*/ 211 h 445"/>
              <a:gd name="T26" fmla="*/ 581 w 773"/>
              <a:gd name="T27" fmla="*/ 234 h 445"/>
              <a:gd name="T28" fmla="*/ 484 w 773"/>
              <a:gd name="T29" fmla="*/ 165 h 445"/>
              <a:gd name="T30" fmla="*/ 374 w 773"/>
              <a:gd name="T31" fmla="*/ 165 h 445"/>
              <a:gd name="T32" fmla="*/ 331 w 773"/>
              <a:gd name="T33" fmla="*/ 338 h 445"/>
              <a:gd name="T34" fmla="*/ 281 w 773"/>
              <a:gd name="T35" fmla="*/ 345 h 445"/>
              <a:gd name="T36" fmla="*/ 205 w 773"/>
              <a:gd name="T37" fmla="*/ 210 h 445"/>
              <a:gd name="T38" fmla="*/ 95 w 773"/>
              <a:gd name="T39" fmla="*/ 210 h 445"/>
              <a:gd name="T40" fmla="*/ 2 w 773"/>
              <a:gd name="T41" fmla="*/ 385 h 445"/>
              <a:gd name="T42" fmla="*/ 8 w 773"/>
              <a:gd name="T43" fmla="*/ 397 h 445"/>
              <a:gd name="T44" fmla="*/ 120 w 773"/>
              <a:gd name="T45" fmla="*/ 256 h 445"/>
              <a:gd name="T46" fmla="*/ 181 w 773"/>
              <a:gd name="T47" fmla="*/ 255 h 445"/>
              <a:gd name="T48" fmla="*/ 258 w 773"/>
              <a:gd name="T49" fmla="*/ 390 h 445"/>
              <a:gd name="T50" fmla="*/ 368 w 773"/>
              <a:gd name="T51" fmla="*/ 390 h 445"/>
              <a:gd name="T52" fmla="*/ 406 w 773"/>
              <a:gd name="T53" fmla="*/ 215 h 445"/>
              <a:gd name="T54" fmla="*/ 478 w 773"/>
              <a:gd name="T55" fmla="*/ 191 h 445"/>
              <a:gd name="T56" fmla="*/ 573 w 773"/>
              <a:gd name="T57" fmla="*/ 261 h 445"/>
              <a:gd name="T58" fmla="*/ 683 w 773"/>
              <a:gd name="T59" fmla="*/ 261 h 445"/>
              <a:gd name="T60" fmla="*/ 741 w 773"/>
              <a:gd name="T61" fmla="*/ 33 h 445"/>
              <a:gd name="T62" fmla="*/ 765 w 773"/>
              <a:gd name="T63" fmla="*/ 160 h 445"/>
              <a:gd name="T64" fmla="*/ 772 w 773"/>
              <a:gd name="T65" fmla="*/ 152 h 445"/>
              <a:gd name="T66" fmla="*/ 150 w 773"/>
              <a:gd name="T67" fmla="*/ 169 h 445"/>
              <a:gd name="T68" fmla="*/ 177 w 773"/>
              <a:gd name="T69" fmla="*/ 240 h 445"/>
              <a:gd name="T70" fmla="*/ 177 w 773"/>
              <a:gd name="T71" fmla="*/ 240 h 445"/>
              <a:gd name="T72" fmla="*/ 109 w 773"/>
              <a:gd name="T73" fmla="*/ 210 h 445"/>
              <a:gd name="T74" fmla="*/ 313 w 773"/>
              <a:gd name="T75" fmla="*/ 431 h 445"/>
              <a:gd name="T76" fmla="*/ 313 w 773"/>
              <a:gd name="T77" fmla="*/ 349 h 445"/>
              <a:gd name="T78" fmla="*/ 429 w 773"/>
              <a:gd name="T79" fmla="*/ 206 h 445"/>
              <a:gd name="T80" fmla="*/ 429 w 773"/>
              <a:gd name="T81" fmla="*/ 124 h 445"/>
              <a:gd name="T82" fmla="*/ 429 w 773"/>
              <a:gd name="T83" fmla="*/ 206 h 445"/>
              <a:gd name="T84" fmla="*/ 628 w 773"/>
              <a:gd name="T85" fmla="*/ 302 h 445"/>
              <a:gd name="T86" fmla="*/ 628 w 773"/>
              <a:gd name="T87" fmla="*/ 220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73" h="445">
                <a:moveTo>
                  <a:pt x="772" y="152"/>
                </a:moveTo>
                <a:cubicBezTo>
                  <a:pt x="751" y="6"/>
                  <a:pt x="751" y="6"/>
                  <a:pt x="751" y="6"/>
                </a:cubicBezTo>
                <a:cubicBezTo>
                  <a:pt x="751" y="6"/>
                  <a:pt x="751" y="6"/>
                  <a:pt x="751" y="6"/>
                </a:cubicBezTo>
                <a:cubicBezTo>
                  <a:pt x="751" y="6"/>
                  <a:pt x="751" y="5"/>
                  <a:pt x="751" y="5"/>
                </a:cubicBezTo>
                <a:cubicBezTo>
                  <a:pt x="751" y="5"/>
                  <a:pt x="751" y="4"/>
                  <a:pt x="751" y="4"/>
                </a:cubicBezTo>
                <a:cubicBezTo>
                  <a:pt x="750" y="4"/>
                  <a:pt x="750" y="4"/>
                  <a:pt x="750" y="3"/>
                </a:cubicBezTo>
                <a:cubicBezTo>
                  <a:pt x="750" y="3"/>
                  <a:pt x="750" y="3"/>
                  <a:pt x="750" y="3"/>
                </a:cubicBezTo>
                <a:cubicBezTo>
                  <a:pt x="749" y="3"/>
                  <a:pt x="749" y="2"/>
                  <a:pt x="749" y="2"/>
                </a:cubicBezTo>
                <a:cubicBezTo>
                  <a:pt x="749" y="2"/>
                  <a:pt x="749" y="2"/>
                  <a:pt x="749" y="2"/>
                </a:cubicBezTo>
                <a:cubicBezTo>
                  <a:pt x="748" y="1"/>
                  <a:pt x="748" y="1"/>
                  <a:pt x="747" y="1"/>
                </a:cubicBezTo>
                <a:cubicBezTo>
                  <a:pt x="747" y="1"/>
                  <a:pt x="747" y="1"/>
                  <a:pt x="747" y="1"/>
                </a:cubicBezTo>
                <a:cubicBezTo>
                  <a:pt x="747" y="1"/>
                  <a:pt x="747" y="1"/>
                  <a:pt x="747" y="1"/>
                </a:cubicBezTo>
                <a:cubicBezTo>
                  <a:pt x="747" y="1"/>
                  <a:pt x="747" y="1"/>
                  <a:pt x="747" y="1"/>
                </a:cubicBezTo>
                <a:cubicBezTo>
                  <a:pt x="746" y="1"/>
                  <a:pt x="746" y="1"/>
                  <a:pt x="745" y="0"/>
                </a:cubicBezTo>
                <a:cubicBezTo>
                  <a:pt x="745" y="0"/>
                  <a:pt x="745" y="0"/>
                  <a:pt x="745" y="0"/>
                </a:cubicBezTo>
                <a:cubicBezTo>
                  <a:pt x="745" y="0"/>
                  <a:pt x="744" y="0"/>
                  <a:pt x="744" y="0"/>
                </a:cubicBezTo>
                <a:cubicBezTo>
                  <a:pt x="744" y="0"/>
                  <a:pt x="743" y="0"/>
                  <a:pt x="743" y="0"/>
                </a:cubicBezTo>
                <a:cubicBezTo>
                  <a:pt x="743" y="1"/>
                  <a:pt x="742" y="1"/>
                  <a:pt x="742" y="1"/>
                </a:cubicBezTo>
                <a:cubicBezTo>
                  <a:pt x="742" y="1"/>
                  <a:pt x="742" y="1"/>
                  <a:pt x="742" y="1"/>
                </a:cubicBezTo>
                <a:cubicBezTo>
                  <a:pt x="741" y="1"/>
                  <a:pt x="741" y="1"/>
                  <a:pt x="740" y="2"/>
                </a:cubicBezTo>
                <a:cubicBezTo>
                  <a:pt x="740" y="2"/>
                  <a:pt x="740" y="2"/>
                  <a:pt x="740" y="2"/>
                </a:cubicBezTo>
                <a:cubicBezTo>
                  <a:pt x="626" y="87"/>
                  <a:pt x="626" y="87"/>
                  <a:pt x="626" y="87"/>
                </a:cubicBezTo>
                <a:cubicBezTo>
                  <a:pt x="623" y="90"/>
                  <a:pt x="622" y="94"/>
                  <a:pt x="625" y="97"/>
                </a:cubicBezTo>
                <a:cubicBezTo>
                  <a:pt x="627" y="100"/>
                  <a:pt x="631" y="101"/>
                  <a:pt x="634" y="99"/>
                </a:cubicBezTo>
                <a:cubicBezTo>
                  <a:pt x="728" y="29"/>
                  <a:pt x="728" y="29"/>
                  <a:pt x="728" y="29"/>
                </a:cubicBezTo>
                <a:cubicBezTo>
                  <a:pt x="649" y="211"/>
                  <a:pt x="649" y="211"/>
                  <a:pt x="649" y="211"/>
                </a:cubicBezTo>
                <a:cubicBezTo>
                  <a:pt x="643" y="208"/>
                  <a:pt x="636" y="206"/>
                  <a:pt x="628" y="206"/>
                </a:cubicBezTo>
                <a:cubicBezTo>
                  <a:pt x="608" y="206"/>
                  <a:pt x="590" y="218"/>
                  <a:pt x="581" y="234"/>
                </a:cubicBezTo>
                <a:cubicBezTo>
                  <a:pt x="482" y="177"/>
                  <a:pt x="482" y="177"/>
                  <a:pt x="482" y="177"/>
                </a:cubicBezTo>
                <a:cubicBezTo>
                  <a:pt x="483" y="173"/>
                  <a:pt x="484" y="169"/>
                  <a:pt x="484" y="165"/>
                </a:cubicBezTo>
                <a:cubicBezTo>
                  <a:pt x="484" y="135"/>
                  <a:pt x="459" y="110"/>
                  <a:pt x="429" y="110"/>
                </a:cubicBezTo>
                <a:cubicBezTo>
                  <a:pt x="398" y="110"/>
                  <a:pt x="374" y="135"/>
                  <a:pt x="374" y="165"/>
                </a:cubicBezTo>
                <a:cubicBezTo>
                  <a:pt x="374" y="183"/>
                  <a:pt x="382" y="198"/>
                  <a:pt x="394" y="208"/>
                </a:cubicBezTo>
                <a:cubicBezTo>
                  <a:pt x="331" y="338"/>
                  <a:pt x="331" y="338"/>
                  <a:pt x="331" y="338"/>
                </a:cubicBezTo>
                <a:cubicBezTo>
                  <a:pt x="325" y="336"/>
                  <a:pt x="319" y="335"/>
                  <a:pt x="313" y="335"/>
                </a:cubicBezTo>
                <a:cubicBezTo>
                  <a:pt x="301" y="335"/>
                  <a:pt x="290" y="338"/>
                  <a:pt x="281" y="3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200" y="236"/>
                  <a:pt x="205" y="223"/>
                  <a:pt x="205" y="210"/>
                </a:cubicBezTo>
                <a:cubicBezTo>
                  <a:pt x="205" y="179"/>
                  <a:pt x="180" y="155"/>
                  <a:pt x="150" y="155"/>
                </a:cubicBezTo>
                <a:cubicBezTo>
                  <a:pt x="119" y="155"/>
                  <a:pt x="95" y="179"/>
                  <a:pt x="95" y="210"/>
                </a:cubicBezTo>
                <a:cubicBezTo>
                  <a:pt x="95" y="224"/>
                  <a:pt x="100" y="237"/>
                  <a:pt x="109" y="247"/>
                </a:cubicBezTo>
                <a:cubicBezTo>
                  <a:pt x="2" y="385"/>
                  <a:pt x="2" y="385"/>
                  <a:pt x="2" y="385"/>
                </a:cubicBezTo>
                <a:cubicBezTo>
                  <a:pt x="0" y="388"/>
                  <a:pt x="1" y="393"/>
                  <a:pt x="4" y="395"/>
                </a:cubicBezTo>
                <a:cubicBezTo>
                  <a:pt x="5" y="396"/>
                  <a:pt x="7" y="397"/>
                  <a:pt x="8" y="397"/>
                </a:cubicBezTo>
                <a:cubicBezTo>
                  <a:pt x="10" y="397"/>
                  <a:pt x="12" y="396"/>
                  <a:pt x="14" y="394"/>
                </a:cubicBezTo>
                <a:cubicBezTo>
                  <a:pt x="120" y="256"/>
                  <a:pt x="120" y="256"/>
                  <a:pt x="120" y="256"/>
                </a:cubicBezTo>
                <a:cubicBezTo>
                  <a:pt x="128" y="262"/>
                  <a:pt x="139" y="265"/>
                  <a:pt x="150" y="265"/>
                </a:cubicBezTo>
                <a:cubicBezTo>
                  <a:pt x="161" y="265"/>
                  <a:pt x="172" y="261"/>
                  <a:pt x="181" y="255"/>
                </a:cubicBezTo>
                <a:cubicBezTo>
                  <a:pt x="271" y="354"/>
                  <a:pt x="271" y="354"/>
                  <a:pt x="271" y="354"/>
                </a:cubicBezTo>
                <a:cubicBezTo>
                  <a:pt x="263" y="364"/>
                  <a:pt x="258" y="376"/>
                  <a:pt x="258" y="390"/>
                </a:cubicBezTo>
                <a:cubicBezTo>
                  <a:pt x="258" y="420"/>
                  <a:pt x="283" y="445"/>
                  <a:pt x="313" y="445"/>
                </a:cubicBezTo>
                <a:cubicBezTo>
                  <a:pt x="343" y="445"/>
                  <a:pt x="368" y="420"/>
                  <a:pt x="368" y="390"/>
                </a:cubicBezTo>
                <a:cubicBezTo>
                  <a:pt x="368" y="371"/>
                  <a:pt x="358" y="354"/>
                  <a:pt x="344" y="344"/>
                </a:cubicBezTo>
                <a:cubicBezTo>
                  <a:pt x="406" y="215"/>
                  <a:pt x="406" y="215"/>
                  <a:pt x="406" y="215"/>
                </a:cubicBezTo>
                <a:cubicBezTo>
                  <a:pt x="413" y="219"/>
                  <a:pt x="421" y="220"/>
                  <a:pt x="429" y="220"/>
                </a:cubicBezTo>
                <a:cubicBezTo>
                  <a:pt x="450" y="220"/>
                  <a:pt x="468" y="208"/>
                  <a:pt x="478" y="191"/>
                </a:cubicBezTo>
                <a:cubicBezTo>
                  <a:pt x="575" y="247"/>
                  <a:pt x="575" y="247"/>
                  <a:pt x="575" y="247"/>
                </a:cubicBezTo>
                <a:cubicBezTo>
                  <a:pt x="574" y="252"/>
                  <a:pt x="573" y="256"/>
                  <a:pt x="573" y="261"/>
                </a:cubicBezTo>
                <a:cubicBezTo>
                  <a:pt x="573" y="292"/>
                  <a:pt x="598" y="316"/>
                  <a:pt x="628" y="316"/>
                </a:cubicBezTo>
                <a:cubicBezTo>
                  <a:pt x="659" y="316"/>
                  <a:pt x="683" y="292"/>
                  <a:pt x="683" y="261"/>
                </a:cubicBezTo>
                <a:cubicBezTo>
                  <a:pt x="683" y="244"/>
                  <a:pt x="675" y="228"/>
                  <a:pt x="662" y="218"/>
                </a:cubicBezTo>
                <a:cubicBezTo>
                  <a:pt x="741" y="33"/>
                  <a:pt x="741" y="33"/>
                  <a:pt x="741" y="33"/>
                </a:cubicBezTo>
                <a:cubicBezTo>
                  <a:pt x="758" y="154"/>
                  <a:pt x="758" y="154"/>
                  <a:pt x="758" y="154"/>
                </a:cubicBezTo>
                <a:cubicBezTo>
                  <a:pt x="759" y="158"/>
                  <a:pt x="762" y="160"/>
                  <a:pt x="765" y="160"/>
                </a:cubicBezTo>
                <a:cubicBezTo>
                  <a:pt x="766" y="160"/>
                  <a:pt x="766" y="160"/>
                  <a:pt x="766" y="160"/>
                </a:cubicBezTo>
                <a:cubicBezTo>
                  <a:pt x="770" y="160"/>
                  <a:pt x="773" y="156"/>
                  <a:pt x="772" y="152"/>
                </a:cubicBezTo>
                <a:close/>
                <a:moveTo>
                  <a:pt x="109" y="210"/>
                </a:moveTo>
                <a:cubicBezTo>
                  <a:pt x="109" y="187"/>
                  <a:pt x="127" y="169"/>
                  <a:pt x="150" y="169"/>
                </a:cubicBezTo>
                <a:cubicBezTo>
                  <a:pt x="172" y="169"/>
                  <a:pt x="191" y="187"/>
                  <a:pt x="191" y="210"/>
                </a:cubicBezTo>
                <a:cubicBezTo>
                  <a:pt x="191" y="222"/>
                  <a:pt x="186" y="233"/>
                  <a:pt x="177" y="240"/>
                </a:cubicBezTo>
                <a:cubicBezTo>
                  <a:pt x="177" y="240"/>
                  <a:pt x="177" y="240"/>
                  <a:pt x="177" y="240"/>
                </a:cubicBezTo>
                <a:cubicBezTo>
                  <a:pt x="177" y="240"/>
                  <a:pt x="177" y="240"/>
                  <a:pt x="177" y="240"/>
                </a:cubicBezTo>
                <a:cubicBezTo>
                  <a:pt x="170" y="247"/>
                  <a:pt x="160" y="251"/>
                  <a:pt x="150" y="251"/>
                </a:cubicBezTo>
                <a:cubicBezTo>
                  <a:pt x="127" y="251"/>
                  <a:pt x="109" y="232"/>
                  <a:pt x="109" y="210"/>
                </a:cubicBezTo>
                <a:close/>
                <a:moveTo>
                  <a:pt x="354" y="390"/>
                </a:moveTo>
                <a:cubicBezTo>
                  <a:pt x="354" y="412"/>
                  <a:pt x="336" y="431"/>
                  <a:pt x="313" y="431"/>
                </a:cubicBezTo>
                <a:cubicBezTo>
                  <a:pt x="290" y="431"/>
                  <a:pt x="272" y="412"/>
                  <a:pt x="272" y="390"/>
                </a:cubicBezTo>
                <a:cubicBezTo>
                  <a:pt x="272" y="367"/>
                  <a:pt x="290" y="349"/>
                  <a:pt x="313" y="349"/>
                </a:cubicBezTo>
                <a:cubicBezTo>
                  <a:pt x="336" y="349"/>
                  <a:pt x="354" y="367"/>
                  <a:pt x="354" y="390"/>
                </a:cubicBezTo>
                <a:close/>
                <a:moveTo>
                  <a:pt x="429" y="206"/>
                </a:moveTo>
                <a:cubicBezTo>
                  <a:pt x="406" y="206"/>
                  <a:pt x="388" y="188"/>
                  <a:pt x="388" y="165"/>
                </a:cubicBezTo>
                <a:cubicBezTo>
                  <a:pt x="388" y="143"/>
                  <a:pt x="406" y="124"/>
                  <a:pt x="429" y="124"/>
                </a:cubicBezTo>
                <a:cubicBezTo>
                  <a:pt x="451" y="124"/>
                  <a:pt x="470" y="143"/>
                  <a:pt x="470" y="165"/>
                </a:cubicBezTo>
                <a:cubicBezTo>
                  <a:pt x="470" y="188"/>
                  <a:pt x="451" y="206"/>
                  <a:pt x="429" y="206"/>
                </a:cubicBezTo>
                <a:close/>
                <a:moveTo>
                  <a:pt x="669" y="261"/>
                </a:moveTo>
                <a:cubicBezTo>
                  <a:pt x="669" y="284"/>
                  <a:pt x="651" y="302"/>
                  <a:pt x="628" y="302"/>
                </a:cubicBezTo>
                <a:cubicBezTo>
                  <a:pt x="606" y="302"/>
                  <a:pt x="587" y="284"/>
                  <a:pt x="587" y="261"/>
                </a:cubicBezTo>
                <a:cubicBezTo>
                  <a:pt x="587" y="239"/>
                  <a:pt x="606" y="220"/>
                  <a:pt x="628" y="220"/>
                </a:cubicBezTo>
                <a:cubicBezTo>
                  <a:pt x="651" y="220"/>
                  <a:pt x="669" y="239"/>
                  <a:pt x="669" y="26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43" name="Oval 65"/>
          <p:cNvSpPr>
            <a:spLocks noChangeArrowheads="1"/>
          </p:cNvSpPr>
          <p:nvPr/>
        </p:nvSpPr>
        <p:spPr bwMode="auto">
          <a:xfrm>
            <a:off x="3552358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16" name="Freeform 107"/>
          <p:cNvSpPr>
            <a:spLocks noEditPoints="1"/>
          </p:cNvSpPr>
          <p:nvPr/>
        </p:nvSpPr>
        <p:spPr bwMode="auto">
          <a:xfrm>
            <a:off x="3660714" y="3718172"/>
            <a:ext cx="610727" cy="316110"/>
          </a:xfrm>
          <a:custGeom>
            <a:avLst/>
            <a:gdLst>
              <a:gd name="T0" fmla="*/ 731 w 788"/>
              <a:gd name="T1" fmla="*/ 0 h 407"/>
              <a:gd name="T2" fmla="*/ 683 w 788"/>
              <a:gd name="T3" fmla="*/ 67 h 407"/>
              <a:gd name="T4" fmla="*/ 642 w 788"/>
              <a:gd name="T5" fmla="*/ 227 h 407"/>
              <a:gd name="T6" fmla="*/ 588 w 788"/>
              <a:gd name="T7" fmla="*/ 245 h 407"/>
              <a:gd name="T8" fmla="*/ 489 w 788"/>
              <a:gd name="T9" fmla="*/ 157 h 407"/>
              <a:gd name="T10" fmla="*/ 442 w 788"/>
              <a:gd name="T11" fmla="*/ 123 h 407"/>
              <a:gd name="T12" fmla="*/ 394 w 788"/>
              <a:gd name="T13" fmla="*/ 190 h 407"/>
              <a:gd name="T14" fmla="*/ 326 w 788"/>
              <a:gd name="T15" fmla="*/ 311 h 407"/>
              <a:gd name="T16" fmla="*/ 300 w 788"/>
              <a:gd name="T17" fmla="*/ 304 h 407"/>
              <a:gd name="T18" fmla="*/ 254 w 788"/>
              <a:gd name="T19" fmla="*/ 334 h 407"/>
              <a:gd name="T20" fmla="*/ 148 w 788"/>
              <a:gd name="T21" fmla="*/ 281 h 407"/>
              <a:gd name="T22" fmla="*/ 100 w 788"/>
              <a:gd name="T23" fmla="*/ 247 h 407"/>
              <a:gd name="T24" fmla="*/ 52 w 788"/>
              <a:gd name="T25" fmla="*/ 314 h 407"/>
              <a:gd name="T26" fmla="*/ 3 w 788"/>
              <a:gd name="T27" fmla="*/ 396 h 407"/>
              <a:gd name="T28" fmla="*/ 8 w 788"/>
              <a:gd name="T29" fmla="*/ 407 h 407"/>
              <a:gd name="T30" fmla="*/ 72 w 788"/>
              <a:gd name="T31" fmla="*/ 339 h 407"/>
              <a:gd name="T32" fmla="*/ 100 w 788"/>
              <a:gd name="T33" fmla="*/ 348 h 407"/>
              <a:gd name="T34" fmla="*/ 146 w 788"/>
              <a:gd name="T35" fmla="*/ 318 h 407"/>
              <a:gd name="T36" fmla="*/ 252 w 788"/>
              <a:gd name="T37" fmla="*/ 371 h 407"/>
              <a:gd name="T38" fmla="*/ 300 w 788"/>
              <a:gd name="T39" fmla="*/ 405 h 407"/>
              <a:gd name="T40" fmla="*/ 348 w 788"/>
              <a:gd name="T41" fmla="*/ 338 h 407"/>
              <a:gd name="T42" fmla="*/ 417 w 788"/>
              <a:gd name="T43" fmla="*/ 218 h 407"/>
              <a:gd name="T44" fmla="*/ 442 w 788"/>
              <a:gd name="T45" fmla="*/ 224 h 407"/>
              <a:gd name="T46" fmla="*/ 581 w 788"/>
              <a:gd name="T47" fmla="*/ 258 h 407"/>
              <a:gd name="T48" fmla="*/ 628 w 788"/>
              <a:gd name="T49" fmla="*/ 326 h 407"/>
              <a:gd name="T50" fmla="*/ 655 w 788"/>
              <a:gd name="T51" fmla="*/ 233 h 407"/>
              <a:gd name="T52" fmla="*/ 731 w 788"/>
              <a:gd name="T53" fmla="*/ 101 h 407"/>
              <a:gd name="T54" fmla="*/ 753 w 788"/>
              <a:gd name="T55" fmla="*/ 5 h 407"/>
              <a:gd name="T56" fmla="*/ 84 w 788"/>
              <a:gd name="T57" fmla="*/ 330 h 407"/>
              <a:gd name="T58" fmla="*/ 75 w 788"/>
              <a:gd name="T59" fmla="*/ 325 h 407"/>
              <a:gd name="T60" fmla="*/ 65 w 788"/>
              <a:gd name="T61" fmla="*/ 309 h 407"/>
              <a:gd name="T62" fmla="*/ 100 w 788"/>
              <a:gd name="T63" fmla="*/ 261 h 407"/>
              <a:gd name="T64" fmla="*/ 134 w 788"/>
              <a:gd name="T65" fmla="*/ 286 h 407"/>
              <a:gd name="T66" fmla="*/ 100 w 788"/>
              <a:gd name="T67" fmla="*/ 334 h 407"/>
              <a:gd name="T68" fmla="*/ 300 w 788"/>
              <a:gd name="T69" fmla="*/ 391 h 407"/>
              <a:gd name="T70" fmla="*/ 266 w 788"/>
              <a:gd name="T71" fmla="*/ 367 h 407"/>
              <a:gd name="T72" fmla="*/ 300 w 788"/>
              <a:gd name="T73" fmla="*/ 318 h 407"/>
              <a:gd name="T74" fmla="*/ 335 w 788"/>
              <a:gd name="T75" fmla="*/ 343 h 407"/>
              <a:gd name="T76" fmla="*/ 442 w 788"/>
              <a:gd name="T77" fmla="*/ 210 h 407"/>
              <a:gd name="T78" fmla="*/ 407 w 788"/>
              <a:gd name="T79" fmla="*/ 186 h 407"/>
              <a:gd name="T80" fmla="*/ 442 w 788"/>
              <a:gd name="T81" fmla="*/ 137 h 407"/>
              <a:gd name="T82" fmla="*/ 476 w 788"/>
              <a:gd name="T83" fmla="*/ 162 h 407"/>
              <a:gd name="T84" fmla="*/ 442 w 788"/>
              <a:gd name="T85" fmla="*/ 210 h 407"/>
              <a:gd name="T86" fmla="*/ 628 w 788"/>
              <a:gd name="T87" fmla="*/ 312 h 407"/>
              <a:gd name="T88" fmla="*/ 595 w 788"/>
              <a:gd name="T89" fmla="*/ 260 h 407"/>
              <a:gd name="T90" fmla="*/ 644 w 788"/>
              <a:gd name="T91" fmla="*/ 243 h 407"/>
              <a:gd name="T92" fmla="*/ 764 w 788"/>
              <a:gd name="T93" fmla="*/ 67 h 407"/>
              <a:gd name="T94" fmla="*/ 715 w 788"/>
              <a:gd name="T95" fmla="*/ 83 h 407"/>
              <a:gd name="T96" fmla="*/ 698 w 788"/>
              <a:gd name="T97" fmla="*/ 35 h 407"/>
              <a:gd name="T98" fmla="*/ 747 w 788"/>
              <a:gd name="T99" fmla="*/ 18 h 4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788" h="407">
                <a:moveTo>
                  <a:pt x="753" y="5"/>
                </a:moveTo>
                <a:cubicBezTo>
                  <a:pt x="746" y="2"/>
                  <a:pt x="738" y="0"/>
                  <a:pt x="731" y="0"/>
                </a:cubicBezTo>
                <a:cubicBezTo>
                  <a:pt x="711" y="0"/>
                  <a:pt x="694" y="11"/>
                  <a:pt x="685" y="29"/>
                </a:cubicBezTo>
                <a:cubicBezTo>
                  <a:pt x="679" y="41"/>
                  <a:pt x="679" y="54"/>
                  <a:pt x="683" y="67"/>
                </a:cubicBezTo>
                <a:cubicBezTo>
                  <a:pt x="687" y="78"/>
                  <a:pt x="694" y="86"/>
                  <a:pt x="703" y="93"/>
                </a:cubicBezTo>
                <a:cubicBezTo>
                  <a:pt x="642" y="227"/>
                  <a:pt x="642" y="227"/>
                  <a:pt x="642" y="227"/>
                </a:cubicBezTo>
                <a:cubicBezTo>
                  <a:pt x="638" y="226"/>
                  <a:pt x="633" y="225"/>
                  <a:pt x="628" y="225"/>
                </a:cubicBezTo>
                <a:cubicBezTo>
                  <a:pt x="612" y="225"/>
                  <a:pt x="597" y="233"/>
                  <a:pt x="588" y="245"/>
                </a:cubicBezTo>
                <a:cubicBezTo>
                  <a:pt x="489" y="192"/>
                  <a:pt x="489" y="192"/>
                  <a:pt x="489" y="192"/>
                </a:cubicBezTo>
                <a:cubicBezTo>
                  <a:pt x="493" y="181"/>
                  <a:pt x="493" y="169"/>
                  <a:pt x="489" y="157"/>
                </a:cubicBezTo>
                <a:cubicBezTo>
                  <a:pt x="484" y="142"/>
                  <a:pt x="472" y="130"/>
                  <a:pt x="456" y="125"/>
                </a:cubicBezTo>
                <a:cubicBezTo>
                  <a:pt x="451" y="124"/>
                  <a:pt x="447" y="123"/>
                  <a:pt x="442" y="123"/>
                </a:cubicBezTo>
                <a:cubicBezTo>
                  <a:pt x="425" y="123"/>
                  <a:pt x="410" y="131"/>
                  <a:pt x="401" y="144"/>
                </a:cubicBezTo>
                <a:cubicBezTo>
                  <a:pt x="391" y="158"/>
                  <a:pt x="389" y="175"/>
                  <a:pt x="394" y="190"/>
                </a:cubicBezTo>
                <a:cubicBezTo>
                  <a:pt x="396" y="198"/>
                  <a:pt x="401" y="204"/>
                  <a:pt x="406" y="209"/>
                </a:cubicBezTo>
                <a:cubicBezTo>
                  <a:pt x="326" y="311"/>
                  <a:pt x="326" y="311"/>
                  <a:pt x="326" y="311"/>
                </a:cubicBezTo>
                <a:cubicBezTo>
                  <a:pt x="322" y="309"/>
                  <a:pt x="318" y="308"/>
                  <a:pt x="314" y="306"/>
                </a:cubicBezTo>
                <a:cubicBezTo>
                  <a:pt x="310" y="305"/>
                  <a:pt x="305" y="304"/>
                  <a:pt x="300" y="304"/>
                </a:cubicBezTo>
                <a:cubicBezTo>
                  <a:pt x="284" y="304"/>
                  <a:pt x="268" y="312"/>
                  <a:pt x="259" y="325"/>
                </a:cubicBezTo>
                <a:cubicBezTo>
                  <a:pt x="257" y="328"/>
                  <a:pt x="255" y="331"/>
                  <a:pt x="254" y="334"/>
                </a:cubicBezTo>
                <a:cubicBezTo>
                  <a:pt x="150" y="305"/>
                  <a:pt x="150" y="305"/>
                  <a:pt x="150" y="305"/>
                </a:cubicBezTo>
                <a:cubicBezTo>
                  <a:pt x="151" y="297"/>
                  <a:pt x="150" y="289"/>
                  <a:pt x="148" y="281"/>
                </a:cubicBezTo>
                <a:cubicBezTo>
                  <a:pt x="143" y="268"/>
                  <a:pt x="134" y="258"/>
                  <a:pt x="122" y="252"/>
                </a:cubicBezTo>
                <a:cubicBezTo>
                  <a:pt x="115" y="249"/>
                  <a:pt x="108" y="247"/>
                  <a:pt x="100" y="247"/>
                </a:cubicBezTo>
                <a:cubicBezTo>
                  <a:pt x="80" y="247"/>
                  <a:pt x="63" y="258"/>
                  <a:pt x="54" y="275"/>
                </a:cubicBezTo>
                <a:cubicBezTo>
                  <a:pt x="48" y="288"/>
                  <a:pt x="48" y="301"/>
                  <a:pt x="52" y="314"/>
                </a:cubicBezTo>
                <a:cubicBezTo>
                  <a:pt x="54" y="320"/>
                  <a:pt x="57" y="325"/>
                  <a:pt x="61" y="330"/>
                </a:cubicBezTo>
                <a:cubicBezTo>
                  <a:pt x="3" y="396"/>
                  <a:pt x="3" y="396"/>
                  <a:pt x="3" y="396"/>
                </a:cubicBezTo>
                <a:cubicBezTo>
                  <a:pt x="0" y="398"/>
                  <a:pt x="0" y="403"/>
                  <a:pt x="3" y="405"/>
                </a:cubicBezTo>
                <a:cubicBezTo>
                  <a:pt x="5" y="407"/>
                  <a:pt x="6" y="407"/>
                  <a:pt x="8" y="407"/>
                </a:cubicBezTo>
                <a:cubicBezTo>
                  <a:pt x="10" y="407"/>
                  <a:pt x="12" y="406"/>
                  <a:pt x="13" y="405"/>
                </a:cubicBezTo>
                <a:cubicBezTo>
                  <a:pt x="72" y="339"/>
                  <a:pt x="72" y="339"/>
                  <a:pt x="72" y="339"/>
                </a:cubicBezTo>
                <a:cubicBezTo>
                  <a:pt x="74" y="341"/>
                  <a:pt x="76" y="342"/>
                  <a:pt x="78" y="343"/>
                </a:cubicBezTo>
                <a:cubicBezTo>
                  <a:pt x="85" y="346"/>
                  <a:pt x="92" y="348"/>
                  <a:pt x="100" y="348"/>
                </a:cubicBezTo>
                <a:cubicBezTo>
                  <a:pt x="119" y="348"/>
                  <a:pt x="137" y="337"/>
                  <a:pt x="145" y="320"/>
                </a:cubicBezTo>
                <a:cubicBezTo>
                  <a:pt x="145" y="319"/>
                  <a:pt x="146" y="319"/>
                  <a:pt x="146" y="318"/>
                </a:cubicBezTo>
                <a:cubicBezTo>
                  <a:pt x="250" y="348"/>
                  <a:pt x="250" y="348"/>
                  <a:pt x="250" y="348"/>
                </a:cubicBezTo>
                <a:cubicBezTo>
                  <a:pt x="249" y="356"/>
                  <a:pt x="250" y="364"/>
                  <a:pt x="252" y="371"/>
                </a:cubicBezTo>
                <a:cubicBezTo>
                  <a:pt x="258" y="387"/>
                  <a:pt x="270" y="399"/>
                  <a:pt x="286" y="403"/>
                </a:cubicBezTo>
                <a:cubicBezTo>
                  <a:pt x="291" y="405"/>
                  <a:pt x="295" y="405"/>
                  <a:pt x="300" y="405"/>
                </a:cubicBezTo>
                <a:cubicBezTo>
                  <a:pt x="316" y="405"/>
                  <a:pt x="332" y="397"/>
                  <a:pt x="341" y="384"/>
                </a:cubicBezTo>
                <a:cubicBezTo>
                  <a:pt x="351" y="371"/>
                  <a:pt x="353" y="354"/>
                  <a:pt x="348" y="338"/>
                </a:cubicBezTo>
                <a:cubicBezTo>
                  <a:pt x="345" y="331"/>
                  <a:pt x="342" y="325"/>
                  <a:pt x="337" y="320"/>
                </a:cubicBezTo>
                <a:cubicBezTo>
                  <a:pt x="417" y="218"/>
                  <a:pt x="417" y="218"/>
                  <a:pt x="417" y="218"/>
                </a:cubicBezTo>
                <a:cubicBezTo>
                  <a:pt x="420" y="220"/>
                  <a:pt x="424" y="221"/>
                  <a:pt x="428" y="222"/>
                </a:cubicBezTo>
                <a:cubicBezTo>
                  <a:pt x="432" y="224"/>
                  <a:pt x="437" y="224"/>
                  <a:pt x="442" y="224"/>
                </a:cubicBezTo>
                <a:cubicBezTo>
                  <a:pt x="458" y="224"/>
                  <a:pt x="473" y="217"/>
                  <a:pt x="482" y="204"/>
                </a:cubicBezTo>
                <a:cubicBezTo>
                  <a:pt x="581" y="258"/>
                  <a:pt x="581" y="258"/>
                  <a:pt x="581" y="258"/>
                </a:cubicBezTo>
                <a:cubicBezTo>
                  <a:pt x="572" y="282"/>
                  <a:pt x="582" y="309"/>
                  <a:pt x="606" y="321"/>
                </a:cubicBezTo>
                <a:cubicBezTo>
                  <a:pt x="613" y="324"/>
                  <a:pt x="620" y="326"/>
                  <a:pt x="628" y="326"/>
                </a:cubicBezTo>
                <a:cubicBezTo>
                  <a:pt x="647" y="326"/>
                  <a:pt x="665" y="315"/>
                  <a:pt x="673" y="298"/>
                </a:cubicBezTo>
                <a:cubicBezTo>
                  <a:pt x="685" y="274"/>
                  <a:pt x="677" y="247"/>
                  <a:pt x="655" y="233"/>
                </a:cubicBezTo>
                <a:cubicBezTo>
                  <a:pt x="715" y="99"/>
                  <a:pt x="715" y="99"/>
                  <a:pt x="715" y="99"/>
                </a:cubicBezTo>
                <a:cubicBezTo>
                  <a:pt x="720" y="100"/>
                  <a:pt x="725" y="101"/>
                  <a:pt x="731" y="101"/>
                </a:cubicBezTo>
                <a:cubicBezTo>
                  <a:pt x="750" y="101"/>
                  <a:pt x="768" y="90"/>
                  <a:pt x="776" y="73"/>
                </a:cubicBezTo>
                <a:cubicBezTo>
                  <a:pt x="788" y="48"/>
                  <a:pt x="778" y="17"/>
                  <a:pt x="753" y="5"/>
                </a:cubicBezTo>
                <a:close/>
                <a:moveTo>
                  <a:pt x="100" y="334"/>
                </a:moveTo>
                <a:cubicBezTo>
                  <a:pt x="94" y="334"/>
                  <a:pt x="89" y="333"/>
                  <a:pt x="84" y="330"/>
                </a:cubicBezTo>
                <a:cubicBezTo>
                  <a:pt x="81" y="329"/>
                  <a:pt x="78" y="327"/>
                  <a:pt x="75" y="325"/>
                </a:cubicBezTo>
                <a:cubicBezTo>
                  <a:pt x="75" y="325"/>
                  <a:pt x="75" y="325"/>
                  <a:pt x="75" y="325"/>
                </a:cubicBezTo>
                <a:cubicBezTo>
                  <a:pt x="75" y="325"/>
                  <a:pt x="75" y="325"/>
                  <a:pt x="75" y="325"/>
                </a:cubicBezTo>
                <a:cubicBezTo>
                  <a:pt x="71" y="321"/>
                  <a:pt x="67" y="315"/>
                  <a:pt x="65" y="309"/>
                </a:cubicBezTo>
                <a:cubicBezTo>
                  <a:pt x="62" y="300"/>
                  <a:pt x="63" y="290"/>
                  <a:pt x="67" y="282"/>
                </a:cubicBezTo>
                <a:cubicBezTo>
                  <a:pt x="73" y="269"/>
                  <a:pt x="86" y="261"/>
                  <a:pt x="100" y="261"/>
                </a:cubicBezTo>
                <a:cubicBezTo>
                  <a:pt x="105" y="261"/>
                  <a:pt x="111" y="262"/>
                  <a:pt x="116" y="265"/>
                </a:cubicBezTo>
                <a:cubicBezTo>
                  <a:pt x="125" y="269"/>
                  <a:pt x="131" y="276"/>
                  <a:pt x="134" y="286"/>
                </a:cubicBezTo>
                <a:cubicBezTo>
                  <a:pt x="137" y="295"/>
                  <a:pt x="137" y="305"/>
                  <a:pt x="133" y="314"/>
                </a:cubicBezTo>
                <a:cubicBezTo>
                  <a:pt x="126" y="326"/>
                  <a:pt x="114" y="334"/>
                  <a:pt x="100" y="334"/>
                </a:cubicBezTo>
                <a:close/>
                <a:moveTo>
                  <a:pt x="330" y="376"/>
                </a:moveTo>
                <a:cubicBezTo>
                  <a:pt x="323" y="386"/>
                  <a:pt x="312" y="391"/>
                  <a:pt x="300" y="391"/>
                </a:cubicBezTo>
                <a:cubicBezTo>
                  <a:pt x="297" y="391"/>
                  <a:pt x="293" y="391"/>
                  <a:pt x="290" y="390"/>
                </a:cubicBezTo>
                <a:cubicBezTo>
                  <a:pt x="278" y="386"/>
                  <a:pt x="270" y="378"/>
                  <a:pt x="266" y="367"/>
                </a:cubicBezTo>
                <a:cubicBezTo>
                  <a:pt x="262" y="355"/>
                  <a:pt x="264" y="343"/>
                  <a:pt x="271" y="333"/>
                </a:cubicBezTo>
                <a:cubicBezTo>
                  <a:pt x="277" y="324"/>
                  <a:pt x="288" y="318"/>
                  <a:pt x="300" y="318"/>
                </a:cubicBezTo>
                <a:cubicBezTo>
                  <a:pt x="304" y="318"/>
                  <a:pt x="307" y="319"/>
                  <a:pt x="310" y="320"/>
                </a:cubicBezTo>
                <a:cubicBezTo>
                  <a:pt x="322" y="323"/>
                  <a:pt x="331" y="332"/>
                  <a:pt x="335" y="343"/>
                </a:cubicBezTo>
                <a:cubicBezTo>
                  <a:pt x="339" y="354"/>
                  <a:pt x="337" y="366"/>
                  <a:pt x="330" y="376"/>
                </a:cubicBezTo>
                <a:close/>
                <a:moveTo>
                  <a:pt x="442" y="210"/>
                </a:moveTo>
                <a:cubicBezTo>
                  <a:pt x="438" y="210"/>
                  <a:pt x="435" y="210"/>
                  <a:pt x="432" y="209"/>
                </a:cubicBezTo>
                <a:cubicBezTo>
                  <a:pt x="420" y="205"/>
                  <a:pt x="411" y="197"/>
                  <a:pt x="407" y="186"/>
                </a:cubicBezTo>
                <a:cubicBezTo>
                  <a:pt x="403" y="174"/>
                  <a:pt x="405" y="162"/>
                  <a:pt x="412" y="152"/>
                </a:cubicBezTo>
                <a:cubicBezTo>
                  <a:pt x="419" y="143"/>
                  <a:pt x="430" y="137"/>
                  <a:pt x="442" y="137"/>
                </a:cubicBezTo>
                <a:cubicBezTo>
                  <a:pt x="445" y="137"/>
                  <a:pt x="449" y="138"/>
                  <a:pt x="452" y="139"/>
                </a:cubicBezTo>
                <a:cubicBezTo>
                  <a:pt x="463" y="142"/>
                  <a:pt x="472" y="151"/>
                  <a:pt x="476" y="162"/>
                </a:cubicBezTo>
                <a:cubicBezTo>
                  <a:pt x="480" y="173"/>
                  <a:pt x="478" y="185"/>
                  <a:pt x="471" y="195"/>
                </a:cubicBezTo>
                <a:cubicBezTo>
                  <a:pt x="465" y="205"/>
                  <a:pt x="454" y="210"/>
                  <a:pt x="442" y="210"/>
                </a:cubicBezTo>
                <a:close/>
                <a:moveTo>
                  <a:pt x="661" y="292"/>
                </a:moveTo>
                <a:cubicBezTo>
                  <a:pt x="655" y="304"/>
                  <a:pt x="642" y="312"/>
                  <a:pt x="628" y="312"/>
                </a:cubicBezTo>
                <a:cubicBezTo>
                  <a:pt x="622" y="312"/>
                  <a:pt x="617" y="311"/>
                  <a:pt x="612" y="308"/>
                </a:cubicBezTo>
                <a:cubicBezTo>
                  <a:pt x="594" y="299"/>
                  <a:pt x="586" y="278"/>
                  <a:pt x="595" y="260"/>
                </a:cubicBezTo>
                <a:cubicBezTo>
                  <a:pt x="601" y="247"/>
                  <a:pt x="614" y="239"/>
                  <a:pt x="628" y="239"/>
                </a:cubicBezTo>
                <a:cubicBezTo>
                  <a:pt x="634" y="239"/>
                  <a:pt x="639" y="240"/>
                  <a:pt x="644" y="243"/>
                </a:cubicBezTo>
                <a:cubicBezTo>
                  <a:pt x="662" y="252"/>
                  <a:pt x="670" y="273"/>
                  <a:pt x="661" y="292"/>
                </a:cubicBezTo>
                <a:close/>
                <a:moveTo>
                  <a:pt x="764" y="67"/>
                </a:moveTo>
                <a:cubicBezTo>
                  <a:pt x="757" y="79"/>
                  <a:pt x="745" y="87"/>
                  <a:pt x="731" y="87"/>
                </a:cubicBezTo>
                <a:cubicBezTo>
                  <a:pt x="725" y="87"/>
                  <a:pt x="720" y="86"/>
                  <a:pt x="715" y="83"/>
                </a:cubicBezTo>
                <a:cubicBezTo>
                  <a:pt x="706" y="79"/>
                  <a:pt x="699" y="72"/>
                  <a:pt x="696" y="63"/>
                </a:cubicBezTo>
                <a:cubicBezTo>
                  <a:pt x="693" y="53"/>
                  <a:pt x="694" y="43"/>
                  <a:pt x="698" y="35"/>
                </a:cubicBezTo>
                <a:cubicBezTo>
                  <a:pt x="704" y="22"/>
                  <a:pt x="717" y="14"/>
                  <a:pt x="731" y="14"/>
                </a:cubicBezTo>
                <a:cubicBezTo>
                  <a:pt x="736" y="14"/>
                  <a:pt x="742" y="15"/>
                  <a:pt x="747" y="18"/>
                </a:cubicBezTo>
                <a:cubicBezTo>
                  <a:pt x="765" y="27"/>
                  <a:pt x="772" y="49"/>
                  <a:pt x="764" y="6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42" name="Oval 64"/>
          <p:cNvSpPr>
            <a:spLocks noChangeArrowheads="1"/>
          </p:cNvSpPr>
          <p:nvPr/>
        </p:nvSpPr>
        <p:spPr bwMode="auto">
          <a:xfrm>
            <a:off x="4845101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17" name="Freeform 108"/>
          <p:cNvSpPr>
            <a:spLocks noEditPoints="1"/>
          </p:cNvSpPr>
          <p:nvPr/>
        </p:nvSpPr>
        <p:spPr bwMode="auto">
          <a:xfrm>
            <a:off x="4948978" y="3718172"/>
            <a:ext cx="609833" cy="316110"/>
          </a:xfrm>
          <a:custGeom>
            <a:avLst/>
            <a:gdLst>
              <a:gd name="T0" fmla="*/ 727 w 788"/>
              <a:gd name="T1" fmla="*/ 330 h 407"/>
              <a:gd name="T2" fmla="*/ 688 w 788"/>
              <a:gd name="T3" fmla="*/ 247 h 407"/>
              <a:gd name="T4" fmla="*/ 641 w 788"/>
              <a:gd name="T5" fmla="*/ 281 h 407"/>
              <a:gd name="T6" fmla="*/ 534 w 788"/>
              <a:gd name="T7" fmla="*/ 334 h 407"/>
              <a:gd name="T8" fmla="*/ 488 w 788"/>
              <a:gd name="T9" fmla="*/ 304 h 407"/>
              <a:gd name="T10" fmla="*/ 463 w 788"/>
              <a:gd name="T11" fmla="*/ 311 h 407"/>
              <a:gd name="T12" fmla="*/ 394 w 788"/>
              <a:gd name="T13" fmla="*/ 190 h 407"/>
              <a:gd name="T14" fmla="*/ 346 w 788"/>
              <a:gd name="T15" fmla="*/ 123 h 407"/>
              <a:gd name="T16" fmla="*/ 299 w 788"/>
              <a:gd name="T17" fmla="*/ 157 h 407"/>
              <a:gd name="T18" fmla="*/ 201 w 788"/>
              <a:gd name="T19" fmla="*/ 245 h 407"/>
              <a:gd name="T20" fmla="*/ 146 w 788"/>
              <a:gd name="T21" fmla="*/ 227 h 407"/>
              <a:gd name="T22" fmla="*/ 105 w 788"/>
              <a:gd name="T23" fmla="*/ 67 h 407"/>
              <a:gd name="T24" fmla="*/ 57 w 788"/>
              <a:gd name="T25" fmla="*/ 0 h 407"/>
              <a:gd name="T26" fmla="*/ 12 w 788"/>
              <a:gd name="T27" fmla="*/ 73 h 407"/>
              <a:gd name="T28" fmla="*/ 57 w 788"/>
              <a:gd name="T29" fmla="*/ 101 h 407"/>
              <a:gd name="T30" fmla="*/ 133 w 788"/>
              <a:gd name="T31" fmla="*/ 233 h 407"/>
              <a:gd name="T32" fmla="*/ 160 w 788"/>
              <a:gd name="T33" fmla="*/ 326 h 407"/>
              <a:gd name="T34" fmla="*/ 182 w 788"/>
              <a:gd name="T35" fmla="*/ 321 h 407"/>
              <a:gd name="T36" fmla="*/ 306 w 788"/>
              <a:gd name="T37" fmla="*/ 204 h 407"/>
              <a:gd name="T38" fmla="*/ 346 w 788"/>
              <a:gd name="T39" fmla="*/ 224 h 407"/>
              <a:gd name="T40" fmla="*/ 371 w 788"/>
              <a:gd name="T41" fmla="*/ 218 h 407"/>
              <a:gd name="T42" fmla="*/ 440 w 788"/>
              <a:gd name="T43" fmla="*/ 338 h 407"/>
              <a:gd name="T44" fmla="*/ 488 w 788"/>
              <a:gd name="T45" fmla="*/ 405 h 407"/>
              <a:gd name="T46" fmla="*/ 502 w 788"/>
              <a:gd name="T47" fmla="*/ 403 h 407"/>
              <a:gd name="T48" fmla="*/ 538 w 788"/>
              <a:gd name="T49" fmla="*/ 348 h 407"/>
              <a:gd name="T50" fmla="*/ 643 w 788"/>
              <a:gd name="T51" fmla="*/ 320 h 407"/>
              <a:gd name="T52" fmla="*/ 688 w 788"/>
              <a:gd name="T53" fmla="*/ 348 h 407"/>
              <a:gd name="T54" fmla="*/ 716 w 788"/>
              <a:gd name="T55" fmla="*/ 339 h 407"/>
              <a:gd name="T56" fmla="*/ 780 w 788"/>
              <a:gd name="T57" fmla="*/ 407 h 407"/>
              <a:gd name="T58" fmla="*/ 786 w 788"/>
              <a:gd name="T59" fmla="*/ 396 h 407"/>
              <a:gd name="T60" fmla="*/ 25 w 788"/>
              <a:gd name="T61" fmla="*/ 67 h 407"/>
              <a:gd name="T62" fmla="*/ 57 w 788"/>
              <a:gd name="T63" fmla="*/ 14 h 407"/>
              <a:gd name="T64" fmla="*/ 92 w 788"/>
              <a:gd name="T65" fmla="*/ 63 h 407"/>
              <a:gd name="T66" fmla="*/ 57 w 788"/>
              <a:gd name="T67" fmla="*/ 87 h 407"/>
              <a:gd name="T68" fmla="*/ 160 w 788"/>
              <a:gd name="T69" fmla="*/ 312 h 407"/>
              <a:gd name="T70" fmla="*/ 127 w 788"/>
              <a:gd name="T71" fmla="*/ 292 h 407"/>
              <a:gd name="T72" fmla="*/ 160 w 788"/>
              <a:gd name="T73" fmla="*/ 239 h 407"/>
              <a:gd name="T74" fmla="*/ 176 w 788"/>
              <a:gd name="T75" fmla="*/ 308 h 407"/>
              <a:gd name="T76" fmla="*/ 346 w 788"/>
              <a:gd name="T77" fmla="*/ 210 h 407"/>
              <a:gd name="T78" fmla="*/ 317 w 788"/>
              <a:gd name="T79" fmla="*/ 195 h 407"/>
              <a:gd name="T80" fmla="*/ 336 w 788"/>
              <a:gd name="T81" fmla="*/ 139 h 407"/>
              <a:gd name="T82" fmla="*/ 376 w 788"/>
              <a:gd name="T83" fmla="*/ 152 h 407"/>
              <a:gd name="T84" fmla="*/ 357 w 788"/>
              <a:gd name="T85" fmla="*/ 209 h 407"/>
              <a:gd name="T86" fmla="*/ 498 w 788"/>
              <a:gd name="T87" fmla="*/ 390 h 407"/>
              <a:gd name="T88" fmla="*/ 488 w 788"/>
              <a:gd name="T89" fmla="*/ 391 h 407"/>
              <a:gd name="T90" fmla="*/ 453 w 788"/>
              <a:gd name="T91" fmla="*/ 343 h 407"/>
              <a:gd name="T92" fmla="*/ 488 w 788"/>
              <a:gd name="T93" fmla="*/ 318 h 407"/>
              <a:gd name="T94" fmla="*/ 523 w 788"/>
              <a:gd name="T95" fmla="*/ 367 h 407"/>
              <a:gd name="T96" fmla="*/ 656 w 788"/>
              <a:gd name="T97" fmla="*/ 314 h 407"/>
              <a:gd name="T98" fmla="*/ 672 w 788"/>
              <a:gd name="T99" fmla="*/ 265 h 407"/>
              <a:gd name="T100" fmla="*/ 721 w 788"/>
              <a:gd name="T101" fmla="*/ 282 h 407"/>
              <a:gd name="T102" fmla="*/ 688 w 788"/>
              <a:gd name="T103" fmla="*/ 334 h 4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788" h="407">
                <a:moveTo>
                  <a:pt x="786" y="396"/>
                </a:moveTo>
                <a:cubicBezTo>
                  <a:pt x="727" y="330"/>
                  <a:pt x="727" y="330"/>
                  <a:pt x="727" y="330"/>
                </a:cubicBezTo>
                <a:cubicBezTo>
                  <a:pt x="739" y="315"/>
                  <a:pt x="743" y="294"/>
                  <a:pt x="734" y="275"/>
                </a:cubicBezTo>
                <a:cubicBezTo>
                  <a:pt x="725" y="258"/>
                  <a:pt x="708" y="247"/>
                  <a:pt x="688" y="247"/>
                </a:cubicBezTo>
                <a:cubicBezTo>
                  <a:pt x="681" y="247"/>
                  <a:pt x="673" y="249"/>
                  <a:pt x="666" y="252"/>
                </a:cubicBezTo>
                <a:cubicBezTo>
                  <a:pt x="654" y="258"/>
                  <a:pt x="645" y="268"/>
                  <a:pt x="641" y="281"/>
                </a:cubicBezTo>
                <a:cubicBezTo>
                  <a:pt x="638" y="289"/>
                  <a:pt x="637" y="297"/>
                  <a:pt x="638" y="305"/>
                </a:cubicBezTo>
                <a:cubicBezTo>
                  <a:pt x="534" y="334"/>
                  <a:pt x="534" y="334"/>
                  <a:pt x="534" y="334"/>
                </a:cubicBezTo>
                <a:cubicBezTo>
                  <a:pt x="533" y="331"/>
                  <a:pt x="531" y="328"/>
                  <a:pt x="529" y="325"/>
                </a:cubicBezTo>
                <a:cubicBezTo>
                  <a:pt x="520" y="312"/>
                  <a:pt x="504" y="304"/>
                  <a:pt x="488" y="304"/>
                </a:cubicBezTo>
                <a:cubicBezTo>
                  <a:pt x="483" y="304"/>
                  <a:pt x="478" y="305"/>
                  <a:pt x="474" y="306"/>
                </a:cubicBezTo>
                <a:cubicBezTo>
                  <a:pt x="470" y="308"/>
                  <a:pt x="466" y="309"/>
                  <a:pt x="463" y="311"/>
                </a:cubicBezTo>
                <a:cubicBezTo>
                  <a:pt x="382" y="209"/>
                  <a:pt x="382" y="209"/>
                  <a:pt x="382" y="209"/>
                </a:cubicBezTo>
                <a:cubicBezTo>
                  <a:pt x="388" y="204"/>
                  <a:pt x="392" y="198"/>
                  <a:pt x="394" y="190"/>
                </a:cubicBezTo>
                <a:cubicBezTo>
                  <a:pt x="400" y="175"/>
                  <a:pt x="397" y="158"/>
                  <a:pt x="387" y="144"/>
                </a:cubicBezTo>
                <a:cubicBezTo>
                  <a:pt x="378" y="131"/>
                  <a:pt x="363" y="123"/>
                  <a:pt x="346" y="123"/>
                </a:cubicBezTo>
                <a:cubicBezTo>
                  <a:pt x="342" y="123"/>
                  <a:pt x="337" y="124"/>
                  <a:pt x="332" y="125"/>
                </a:cubicBezTo>
                <a:cubicBezTo>
                  <a:pt x="316" y="130"/>
                  <a:pt x="304" y="142"/>
                  <a:pt x="299" y="157"/>
                </a:cubicBezTo>
                <a:cubicBezTo>
                  <a:pt x="295" y="169"/>
                  <a:pt x="295" y="181"/>
                  <a:pt x="299" y="192"/>
                </a:cubicBezTo>
                <a:cubicBezTo>
                  <a:pt x="201" y="245"/>
                  <a:pt x="201" y="245"/>
                  <a:pt x="201" y="245"/>
                </a:cubicBezTo>
                <a:cubicBezTo>
                  <a:pt x="191" y="233"/>
                  <a:pt x="176" y="225"/>
                  <a:pt x="160" y="225"/>
                </a:cubicBezTo>
                <a:cubicBezTo>
                  <a:pt x="155" y="225"/>
                  <a:pt x="150" y="226"/>
                  <a:pt x="146" y="227"/>
                </a:cubicBezTo>
                <a:cubicBezTo>
                  <a:pt x="85" y="93"/>
                  <a:pt x="85" y="93"/>
                  <a:pt x="85" y="93"/>
                </a:cubicBezTo>
                <a:cubicBezTo>
                  <a:pt x="95" y="86"/>
                  <a:pt x="102" y="78"/>
                  <a:pt x="105" y="67"/>
                </a:cubicBezTo>
                <a:cubicBezTo>
                  <a:pt x="110" y="54"/>
                  <a:pt x="109" y="41"/>
                  <a:pt x="103" y="29"/>
                </a:cubicBezTo>
                <a:cubicBezTo>
                  <a:pt x="94" y="11"/>
                  <a:pt x="77" y="0"/>
                  <a:pt x="57" y="0"/>
                </a:cubicBezTo>
                <a:cubicBezTo>
                  <a:pt x="50" y="0"/>
                  <a:pt x="42" y="2"/>
                  <a:pt x="35" y="5"/>
                </a:cubicBezTo>
                <a:cubicBezTo>
                  <a:pt x="10" y="17"/>
                  <a:pt x="0" y="48"/>
                  <a:pt x="12" y="73"/>
                </a:cubicBezTo>
                <a:cubicBezTo>
                  <a:pt x="21" y="90"/>
                  <a:pt x="38" y="101"/>
                  <a:pt x="57" y="101"/>
                </a:cubicBezTo>
                <a:cubicBezTo>
                  <a:pt x="57" y="101"/>
                  <a:pt x="57" y="101"/>
                  <a:pt x="57" y="101"/>
                </a:cubicBezTo>
                <a:cubicBezTo>
                  <a:pt x="63" y="101"/>
                  <a:pt x="68" y="100"/>
                  <a:pt x="73" y="99"/>
                </a:cubicBezTo>
                <a:cubicBezTo>
                  <a:pt x="133" y="233"/>
                  <a:pt x="133" y="233"/>
                  <a:pt x="133" y="233"/>
                </a:cubicBezTo>
                <a:cubicBezTo>
                  <a:pt x="112" y="247"/>
                  <a:pt x="103" y="274"/>
                  <a:pt x="115" y="298"/>
                </a:cubicBezTo>
                <a:cubicBezTo>
                  <a:pt x="123" y="315"/>
                  <a:pt x="141" y="326"/>
                  <a:pt x="160" y="326"/>
                </a:cubicBezTo>
                <a:cubicBezTo>
                  <a:pt x="160" y="326"/>
                  <a:pt x="160" y="326"/>
                  <a:pt x="160" y="326"/>
                </a:cubicBezTo>
                <a:cubicBezTo>
                  <a:pt x="168" y="326"/>
                  <a:pt x="175" y="324"/>
                  <a:pt x="182" y="321"/>
                </a:cubicBezTo>
                <a:cubicBezTo>
                  <a:pt x="206" y="309"/>
                  <a:pt x="216" y="282"/>
                  <a:pt x="207" y="258"/>
                </a:cubicBezTo>
                <a:cubicBezTo>
                  <a:pt x="306" y="204"/>
                  <a:pt x="306" y="204"/>
                  <a:pt x="306" y="204"/>
                </a:cubicBezTo>
                <a:cubicBezTo>
                  <a:pt x="315" y="217"/>
                  <a:pt x="330" y="224"/>
                  <a:pt x="346" y="224"/>
                </a:cubicBezTo>
                <a:cubicBezTo>
                  <a:pt x="346" y="224"/>
                  <a:pt x="346" y="224"/>
                  <a:pt x="346" y="224"/>
                </a:cubicBezTo>
                <a:cubicBezTo>
                  <a:pt x="351" y="224"/>
                  <a:pt x="356" y="224"/>
                  <a:pt x="361" y="222"/>
                </a:cubicBezTo>
                <a:cubicBezTo>
                  <a:pt x="364" y="221"/>
                  <a:pt x="368" y="220"/>
                  <a:pt x="371" y="218"/>
                </a:cubicBezTo>
                <a:cubicBezTo>
                  <a:pt x="452" y="320"/>
                  <a:pt x="452" y="320"/>
                  <a:pt x="452" y="320"/>
                </a:cubicBezTo>
                <a:cubicBezTo>
                  <a:pt x="447" y="325"/>
                  <a:pt x="443" y="331"/>
                  <a:pt x="440" y="338"/>
                </a:cubicBezTo>
                <a:cubicBezTo>
                  <a:pt x="435" y="354"/>
                  <a:pt x="437" y="371"/>
                  <a:pt x="447" y="384"/>
                </a:cubicBezTo>
                <a:cubicBezTo>
                  <a:pt x="456" y="397"/>
                  <a:pt x="472" y="405"/>
                  <a:pt x="488" y="405"/>
                </a:cubicBezTo>
                <a:cubicBezTo>
                  <a:pt x="488" y="405"/>
                  <a:pt x="488" y="405"/>
                  <a:pt x="488" y="405"/>
                </a:cubicBezTo>
                <a:cubicBezTo>
                  <a:pt x="493" y="405"/>
                  <a:pt x="498" y="405"/>
                  <a:pt x="502" y="403"/>
                </a:cubicBezTo>
                <a:cubicBezTo>
                  <a:pt x="518" y="399"/>
                  <a:pt x="530" y="387"/>
                  <a:pt x="536" y="371"/>
                </a:cubicBezTo>
                <a:cubicBezTo>
                  <a:pt x="538" y="364"/>
                  <a:pt x="539" y="356"/>
                  <a:pt x="538" y="348"/>
                </a:cubicBezTo>
                <a:cubicBezTo>
                  <a:pt x="642" y="318"/>
                  <a:pt x="642" y="318"/>
                  <a:pt x="642" y="318"/>
                </a:cubicBezTo>
                <a:cubicBezTo>
                  <a:pt x="643" y="319"/>
                  <a:pt x="643" y="319"/>
                  <a:pt x="643" y="320"/>
                </a:cubicBezTo>
                <a:cubicBezTo>
                  <a:pt x="652" y="337"/>
                  <a:pt x="669" y="348"/>
                  <a:pt x="688" y="348"/>
                </a:cubicBezTo>
                <a:cubicBezTo>
                  <a:pt x="688" y="348"/>
                  <a:pt x="688" y="348"/>
                  <a:pt x="688" y="348"/>
                </a:cubicBezTo>
                <a:cubicBezTo>
                  <a:pt x="696" y="348"/>
                  <a:pt x="704" y="346"/>
                  <a:pt x="711" y="343"/>
                </a:cubicBezTo>
                <a:cubicBezTo>
                  <a:pt x="713" y="342"/>
                  <a:pt x="715" y="341"/>
                  <a:pt x="716" y="339"/>
                </a:cubicBezTo>
                <a:cubicBezTo>
                  <a:pt x="775" y="405"/>
                  <a:pt x="775" y="405"/>
                  <a:pt x="775" y="405"/>
                </a:cubicBezTo>
                <a:cubicBezTo>
                  <a:pt x="776" y="406"/>
                  <a:pt x="778" y="407"/>
                  <a:pt x="780" y="407"/>
                </a:cubicBezTo>
                <a:cubicBezTo>
                  <a:pt x="782" y="407"/>
                  <a:pt x="784" y="407"/>
                  <a:pt x="785" y="405"/>
                </a:cubicBezTo>
                <a:cubicBezTo>
                  <a:pt x="788" y="403"/>
                  <a:pt x="788" y="398"/>
                  <a:pt x="786" y="396"/>
                </a:cubicBezTo>
                <a:close/>
                <a:moveTo>
                  <a:pt x="57" y="87"/>
                </a:moveTo>
                <a:cubicBezTo>
                  <a:pt x="43" y="87"/>
                  <a:pt x="31" y="79"/>
                  <a:pt x="25" y="67"/>
                </a:cubicBezTo>
                <a:cubicBezTo>
                  <a:pt x="16" y="49"/>
                  <a:pt x="23" y="27"/>
                  <a:pt x="41" y="18"/>
                </a:cubicBezTo>
                <a:cubicBezTo>
                  <a:pt x="46" y="15"/>
                  <a:pt x="52" y="14"/>
                  <a:pt x="57" y="14"/>
                </a:cubicBezTo>
                <a:cubicBezTo>
                  <a:pt x="71" y="14"/>
                  <a:pt x="84" y="22"/>
                  <a:pt x="90" y="35"/>
                </a:cubicBezTo>
                <a:cubicBezTo>
                  <a:pt x="94" y="43"/>
                  <a:pt x="95" y="53"/>
                  <a:pt x="92" y="63"/>
                </a:cubicBezTo>
                <a:cubicBezTo>
                  <a:pt x="89" y="72"/>
                  <a:pt x="82" y="79"/>
                  <a:pt x="73" y="83"/>
                </a:cubicBezTo>
                <a:cubicBezTo>
                  <a:pt x="68" y="86"/>
                  <a:pt x="63" y="87"/>
                  <a:pt x="57" y="87"/>
                </a:cubicBezTo>
                <a:close/>
                <a:moveTo>
                  <a:pt x="176" y="308"/>
                </a:moveTo>
                <a:cubicBezTo>
                  <a:pt x="171" y="311"/>
                  <a:pt x="166" y="312"/>
                  <a:pt x="160" y="312"/>
                </a:cubicBezTo>
                <a:cubicBezTo>
                  <a:pt x="160" y="312"/>
                  <a:pt x="160" y="312"/>
                  <a:pt x="160" y="312"/>
                </a:cubicBezTo>
                <a:cubicBezTo>
                  <a:pt x="146" y="312"/>
                  <a:pt x="133" y="304"/>
                  <a:pt x="127" y="292"/>
                </a:cubicBezTo>
                <a:cubicBezTo>
                  <a:pt x="118" y="273"/>
                  <a:pt x="126" y="252"/>
                  <a:pt x="144" y="243"/>
                </a:cubicBezTo>
                <a:cubicBezTo>
                  <a:pt x="149" y="240"/>
                  <a:pt x="155" y="239"/>
                  <a:pt x="160" y="239"/>
                </a:cubicBezTo>
                <a:cubicBezTo>
                  <a:pt x="174" y="239"/>
                  <a:pt x="187" y="247"/>
                  <a:pt x="193" y="260"/>
                </a:cubicBezTo>
                <a:cubicBezTo>
                  <a:pt x="202" y="278"/>
                  <a:pt x="194" y="299"/>
                  <a:pt x="176" y="308"/>
                </a:cubicBezTo>
                <a:close/>
                <a:moveTo>
                  <a:pt x="357" y="209"/>
                </a:moveTo>
                <a:cubicBezTo>
                  <a:pt x="353" y="210"/>
                  <a:pt x="350" y="210"/>
                  <a:pt x="346" y="210"/>
                </a:cubicBezTo>
                <a:cubicBezTo>
                  <a:pt x="346" y="210"/>
                  <a:pt x="346" y="210"/>
                  <a:pt x="346" y="210"/>
                </a:cubicBezTo>
                <a:cubicBezTo>
                  <a:pt x="335" y="210"/>
                  <a:pt x="324" y="205"/>
                  <a:pt x="317" y="195"/>
                </a:cubicBezTo>
                <a:cubicBezTo>
                  <a:pt x="310" y="185"/>
                  <a:pt x="308" y="173"/>
                  <a:pt x="312" y="162"/>
                </a:cubicBezTo>
                <a:cubicBezTo>
                  <a:pt x="316" y="151"/>
                  <a:pt x="325" y="142"/>
                  <a:pt x="336" y="139"/>
                </a:cubicBezTo>
                <a:cubicBezTo>
                  <a:pt x="340" y="138"/>
                  <a:pt x="343" y="137"/>
                  <a:pt x="346" y="137"/>
                </a:cubicBezTo>
                <a:cubicBezTo>
                  <a:pt x="358" y="137"/>
                  <a:pt x="369" y="143"/>
                  <a:pt x="376" y="152"/>
                </a:cubicBezTo>
                <a:cubicBezTo>
                  <a:pt x="383" y="162"/>
                  <a:pt x="385" y="174"/>
                  <a:pt x="381" y="186"/>
                </a:cubicBezTo>
                <a:cubicBezTo>
                  <a:pt x="377" y="197"/>
                  <a:pt x="368" y="205"/>
                  <a:pt x="357" y="209"/>
                </a:cubicBezTo>
                <a:close/>
                <a:moveTo>
                  <a:pt x="523" y="367"/>
                </a:moveTo>
                <a:cubicBezTo>
                  <a:pt x="519" y="378"/>
                  <a:pt x="510" y="386"/>
                  <a:pt x="498" y="390"/>
                </a:cubicBezTo>
                <a:cubicBezTo>
                  <a:pt x="495" y="391"/>
                  <a:pt x="491" y="391"/>
                  <a:pt x="488" y="391"/>
                </a:cubicBezTo>
                <a:cubicBezTo>
                  <a:pt x="488" y="391"/>
                  <a:pt x="488" y="391"/>
                  <a:pt x="488" y="391"/>
                </a:cubicBezTo>
                <a:cubicBezTo>
                  <a:pt x="476" y="391"/>
                  <a:pt x="465" y="386"/>
                  <a:pt x="458" y="376"/>
                </a:cubicBezTo>
                <a:cubicBezTo>
                  <a:pt x="451" y="366"/>
                  <a:pt x="450" y="354"/>
                  <a:pt x="453" y="343"/>
                </a:cubicBezTo>
                <a:cubicBezTo>
                  <a:pt x="457" y="332"/>
                  <a:pt x="466" y="323"/>
                  <a:pt x="478" y="320"/>
                </a:cubicBezTo>
                <a:cubicBezTo>
                  <a:pt x="481" y="319"/>
                  <a:pt x="484" y="318"/>
                  <a:pt x="488" y="318"/>
                </a:cubicBezTo>
                <a:cubicBezTo>
                  <a:pt x="500" y="318"/>
                  <a:pt x="511" y="324"/>
                  <a:pt x="518" y="333"/>
                </a:cubicBezTo>
                <a:cubicBezTo>
                  <a:pt x="525" y="343"/>
                  <a:pt x="526" y="355"/>
                  <a:pt x="523" y="367"/>
                </a:cubicBezTo>
                <a:close/>
                <a:moveTo>
                  <a:pt x="688" y="334"/>
                </a:moveTo>
                <a:cubicBezTo>
                  <a:pt x="674" y="334"/>
                  <a:pt x="662" y="326"/>
                  <a:pt x="656" y="314"/>
                </a:cubicBezTo>
                <a:cubicBezTo>
                  <a:pt x="651" y="305"/>
                  <a:pt x="651" y="295"/>
                  <a:pt x="654" y="286"/>
                </a:cubicBezTo>
                <a:cubicBezTo>
                  <a:pt x="657" y="276"/>
                  <a:pt x="664" y="269"/>
                  <a:pt x="672" y="265"/>
                </a:cubicBezTo>
                <a:cubicBezTo>
                  <a:pt x="677" y="262"/>
                  <a:pt x="683" y="261"/>
                  <a:pt x="688" y="261"/>
                </a:cubicBezTo>
                <a:cubicBezTo>
                  <a:pt x="702" y="261"/>
                  <a:pt x="715" y="269"/>
                  <a:pt x="721" y="282"/>
                </a:cubicBezTo>
                <a:cubicBezTo>
                  <a:pt x="730" y="300"/>
                  <a:pt x="722" y="322"/>
                  <a:pt x="704" y="330"/>
                </a:cubicBezTo>
                <a:cubicBezTo>
                  <a:pt x="699" y="333"/>
                  <a:pt x="694" y="334"/>
                  <a:pt x="688" y="33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9" name="Oval 51"/>
          <p:cNvSpPr>
            <a:spLocks noChangeArrowheads="1"/>
          </p:cNvSpPr>
          <p:nvPr/>
        </p:nvSpPr>
        <p:spPr bwMode="auto">
          <a:xfrm>
            <a:off x="966871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52" name="Freeform 119"/>
          <p:cNvSpPr>
            <a:spLocks noEditPoints="1"/>
          </p:cNvSpPr>
          <p:nvPr/>
        </p:nvSpPr>
        <p:spPr bwMode="auto">
          <a:xfrm>
            <a:off x="1149353" y="3715214"/>
            <a:ext cx="457995" cy="322923"/>
          </a:xfrm>
          <a:custGeom>
            <a:avLst/>
            <a:gdLst>
              <a:gd name="T0" fmla="*/ 413 w 591"/>
              <a:gd name="T1" fmla="*/ 93 h 417"/>
              <a:gd name="T2" fmla="*/ 377 w 591"/>
              <a:gd name="T3" fmla="*/ 100 h 417"/>
              <a:gd name="T4" fmla="*/ 264 w 591"/>
              <a:gd name="T5" fmla="*/ 93 h 417"/>
              <a:gd name="T6" fmla="*/ 229 w 591"/>
              <a:gd name="T7" fmla="*/ 100 h 417"/>
              <a:gd name="T8" fmla="*/ 116 w 591"/>
              <a:gd name="T9" fmla="*/ 93 h 417"/>
              <a:gd name="T10" fmla="*/ 66 w 591"/>
              <a:gd name="T11" fmla="*/ 316 h 417"/>
              <a:gd name="T12" fmla="*/ 179 w 591"/>
              <a:gd name="T13" fmla="*/ 323 h 417"/>
              <a:gd name="T14" fmla="*/ 215 w 591"/>
              <a:gd name="T15" fmla="*/ 316 h 417"/>
              <a:gd name="T16" fmla="*/ 327 w 591"/>
              <a:gd name="T17" fmla="*/ 323 h 417"/>
              <a:gd name="T18" fmla="*/ 363 w 591"/>
              <a:gd name="T19" fmla="*/ 316 h 417"/>
              <a:gd name="T20" fmla="*/ 476 w 591"/>
              <a:gd name="T21" fmla="*/ 323 h 417"/>
              <a:gd name="T22" fmla="*/ 525 w 591"/>
              <a:gd name="T23" fmla="*/ 100 h 417"/>
              <a:gd name="T24" fmla="*/ 179 w 591"/>
              <a:gd name="T25" fmla="*/ 309 h 417"/>
              <a:gd name="T26" fmla="*/ 80 w 591"/>
              <a:gd name="T27" fmla="*/ 142 h 417"/>
              <a:gd name="T28" fmla="*/ 215 w 591"/>
              <a:gd name="T29" fmla="*/ 107 h 417"/>
              <a:gd name="T30" fmla="*/ 215 w 591"/>
              <a:gd name="T31" fmla="*/ 274 h 417"/>
              <a:gd name="T32" fmla="*/ 327 w 591"/>
              <a:gd name="T33" fmla="*/ 309 h 417"/>
              <a:gd name="T34" fmla="*/ 229 w 591"/>
              <a:gd name="T35" fmla="*/ 274 h 417"/>
              <a:gd name="T36" fmla="*/ 264 w 591"/>
              <a:gd name="T37" fmla="*/ 107 h 417"/>
              <a:gd name="T38" fmla="*/ 363 w 591"/>
              <a:gd name="T39" fmla="*/ 142 h 417"/>
              <a:gd name="T40" fmla="*/ 327 w 591"/>
              <a:gd name="T41" fmla="*/ 309 h 417"/>
              <a:gd name="T42" fmla="*/ 476 w 591"/>
              <a:gd name="T43" fmla="*/ 309 h 417"/>
              <a:gd name="T44" fmla="*/ 377 w 591"/>
              <a:gd name="T45" fmla="*/ 274 h 417"/>
              <a:gd name="T46" fmla="*/ 413 w 591"/>
              <a:gd name="T47" fmla="*/ 107 h 417"/>
              <a:gd name="T48" fmla="*/ 511 w 591"/>
              <a:gd name="T49" fmla="*/ 274 h 417"/>
              <a:gd name="T50" fmla="*/ 179 w 591"/>
              <a:gd name="T51" fmla="*/ 236 h 417"/>
              <a:gd name="T52" fmla="*/ 116 w 591"/>
              <a:gd name="T53" fmla="*/ 236 h 417"/>
              <a:gd name="T54" fmla="*/ 130 w 591"/>
              <a:gd name="T55" fmla="*/ 236 h 417"/>
              <a:gd name="T56" fmla="*/ 165 w 591"/>
              <a:gd name="T57" fmla="*/ 236 h 417"/>
              <a:gd name="T58" fmla="*/ 172 w 591"/>
              <a:gd name="T59" fmla="*/ 149 h 417"/>
              <a:gd name="T60" fmla="*/ 269 w 591"/>
              <a:gd name="T61" fmla="*/ 208 h 417"/>
              <a:gd name="T62" fmla="*/ 325 w 591"/>
              <a:gd name="T63" fmla="*/ 245 h 417"/>
              <a:gd name="T64" fmla="*/ 334 w 591"/>
              <a:gd name="T65" fmla="*/ 256 h 417"/>
              <a:gd name="T66" fmla="*/ 255 w 591"/>
              <a:gd name="T67" fmla="*/ 208 h 417"/>
              <a:gd name="T68" fmla="*/ 334 w 591"/>
              <a:gd name="T69" fmla="*/ 160 h 417"/>
              <a:gd name="T70" fmla="*/ 325 w 591"/>
              <a:gd name="T71" fmla="*/ 171 h 417"/>
              <a:gd name="T72" fmla="*/ 269 w 591"/>
              <a:gd name="T73" fmla="*/ 208 h 417"/>
              <a:gd name="T74" fmla="*/ 406 w 591"/>
              <a:gd name="T75" fmla="*/ 255 h 417"/>
              <a:gd name="T76" fmla="*/ 452 w 591"/>
              <a:gd name="T77" fmla="*/ 262 h 417"/>
              <a:gd name="T78" fmla="*/ 467 w 591"/>
              <a:gd name="T79" fmla="*/ 205 h 417"/>
              <a:gd name="T80" fmla="*/ 445 w 591"/>
              <a:gd name="T81" fmla="*/ 154 h 417"/>
              <a:gd name="T82" fmla="*/ 406 w 591"/>
              <a:gd name="T83" fmla="*/ 161 h 417"/>
              <a:gd name="T84" fmla="*/ 445 w 591"/>
              <a:gd name="T85" fmla="*/ 168 h 417"/>
              <a:gd name="T86" fmla="*/ 445 w 591"/>
              <a:gd name="T87" fmla="*/ 201 h 417"/>
              <a:gd name="T88" fmla="*/ 420 w 591"/>
              <a:gd name="T89" fmla="*/ 168 h 417"/>
              <a:gd name="T90" fmla="*/ 452 w 591"/>
              <a:gd name="T91" fmla="*/ 215 h 417"/>
              <a:gd name="T92" fmla="*/ 452 w 591"/>
              <a:gd name="T93" fmla="*/ 248 h 417"/>
              <a:gd name="T94" fmla="*/ 420 w 591"/>
              <a:gd name="T95" fmla="*/ 215 h 417"/>
              <a:gd name="T96" fmla="*/ 47 w 591"/>
              <a:gd name="T97" fmla="*/ 0 h 417"/>
              <a:gd name="T98" fmla="*/ 0 w 591"/>
              <a:gd name="T99" fmla="*/ 369 h 417"/>
              <a:gd name="T100" fmla="*/ 544 w 591"/>
              <a:gd name="T101" fmla="*/ 417 h 417"/>
              <a:gd name="T102" fmla="*/ 591 w 591"/>
              <a:gd name="T103" fmla="*/ 48 h 417"/>
              <a:gd name="T104" fmla="*/ 577 w 591"/>
              <a:gd name="T105" fmla="*/ 369 h 417"/>
              <a:gd name="T106" fmla="*/ 47 w 591"/>
              <a:gd name="T107" fmla="*/ 403 h 417"/>
              <a:gd name="T108" fmla="*/ 14 w 591"/>
              <a:gd name="T109" fmla="*/ 48 h 417"/>
              <a:gd name="T110" fmla="*/ 544 w 591"/>
              <a:gd name="T111" fmla="*/ 14 h 417"/>
              <a:gd name="T112" fmla="*/ 577 w 591"/>
              <a:gd name="T113" fmla="*/ 369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91" h="417">
                <a:moveTo>
                  <a:pt x="518" y="93"/>
                </a:moveTo>
                <a:cubicBezTo>
                  <a:pt x="413" y="93"/>
                  <a:pt x="413" y="93"/>
                  <a:pt x="413" y="93"/>
                </a:cubicBezTo>
                <a:cubicBezTo>
                  <a:pt x="399" y="93"/>
                  <a:pt x="386" y="98"/>
                  <a:pt x="377" y="108"/>
                </a:cubicBezTo>
                <a:cubicBezTo>
                  <a:pt x="377" y="100"/>
                  <a:pt x="377" y="100"/>
                  <a:pt x="377" y="100"/>
                </a:cubicBezTo>
                <a:cubicBezTo>
                  <a:pt x="377" y="96"/>
                  <a:pt x="374" y="93"/>
                  <a:pt x="370" y="93"/>
                </a:cubicBezTo>
                <a:cubicBezTo>
                  <a:pt x="264" y="93"/>
                  <a:pt x="264" y="93"/>
                  <a:pt x="264" y="93"/>
                </a:cubicBezTo>
                <a:cubicBezTo>
                  <a:pt x="250" y="93"/>
                  <a:pt x="238" y="98"/>
                  <a:pt x="229" y="108"/>
                </a:cubicBezTo>
                <a:cubicBezTo>
                  <a:pt x="229" y="100"/>
                  <a:pt x="229" y="100"/>
                  <a:pt x="229" y="100"/>
                </a:cubicBezTo>
                <a:cubicBezTo>
                  <a:pt x="229" y="96"/>
                  <a:pt x="225" y="93"/>
                  <a:pt x="222" y="93"/>
                </a:cubicBezTo>
                <a:cubicBezTo>
                  <a:pt x="116" y="93"/>
                  <a:pt x="116" y="93"/>
                  <a:pt x="116" y="93"/>
                </a:cubicBezTo>
                <a:cubicBezTo>
                  <a:pt x="88" y="93"/>
                  <a:pt x="66" y="115"/>
                  <a:pt x="66" y="142"/>
                </a:cubicBezTo>
                <a:cubicBezTo>
                  <a:pt x="66" y="316"/>
                  <a:pt x="66" y="316"/>
                  <a:pt x="66" y="316"/>
                </a:cubicBezTo>
                <a:cubicBezTo>
                  <a:pt x="66" y="320"/>
                  <a:pt x="69" y="323"/>
                  <a:pt x="73" y="323"/>
                </a:cubicBezTo>
                <a:cubicBezTo>
                  <a:pt x="179" y="323"/>
                  <a:pt x="179" y="323"/>
                  <a:pt x="179" y="323"/>
                </a:cubicBezTo>
                <a:cubicBezTo>
                  <a:pt x="193" y="323"/>
                  <a:pt x="205" y="318"/>
                  <a:pt x="215" y="308"/>
                </a:cubicBezTo>
                <a:cubicBezTo>
                  <a:pt x="215" y="316"/>
                  <a:pt x="215" y="316"/>
                  <a:pt x="215" y="316"/>
                </a:cubicBezTo>
                <a:cubicBezTo>
                  <a:pt x="215" y="320"/>
                  <a:pt x="218" y="323"/>
                  <a:pt x="222" y="323"/>
                </a:cubicBezTo>
                <a:cubicBezTo>
                  <a:pt x="327" y="323"/>
                  <a:pt x="327" y="323"/>
                  <a:pt x="327" y="323"/>
                </a:cubicBezTo>
                <a:cubicBezTo>
                  <a:pt x="341" y="323"/>
                  <a:pt x="354" y="318"/>
                  <a:pt x="363" y="308"/>
                </a:cubicBezTo>
                <a:cubicBezTo>
                  <a:pt x="363" y="316"/>
                  <a:pt x="363" y="316"/>
                  <a:pt x="363" y="316"/>
                </a:cubicBezTo>
                <a:cubicBezTo>
                  <a:pt x="363" y="320"/>
                  <a:pt x="366" y="323"/>
                  <a:pt x="370" y="323"/>
                </a:cubicBezTo>
                <a:cubicBezTo>
                  <a:pt x="476" y="323"/>
                  <a:pt x="476" y="323"/>
                  <a:pt x="476" y="323"/>
                </a:cubicBezTo>
                <a:cubicBezTo>
                  <a:pt x="503" y="323"/>
                  <a:pt x="525" y="301"/>
                  <a:pt x="525" y="274"/>
                </a:cubicBezTo>
                <a:cubicBezTo>
                  <a:pt x="525" y="100"/>
                  <a:pt x="525" y="100"/>
                  <a:pt x="525" y="100"/>
                </a:cubicBezTo>
                <a:cubicBezTo>
                  <a:pt x="525" y="96"/>
                  <a:pt x="522" y="93"/>
                  <a:pt x="518" y="93"/>
                </a:cubicBezTo>
                <a:close/>
                <a:moveTo>
                  <a:pt x="179" y="309"/>
                </a:moveTo>
                <a:cubicBezTo>
                  <a:pt x="80" y="309"/>
                  <a:pt x="80" y="309"/>
                  <a:pt x="80" y="309"/>
                </a:cubicBezTo>
                <a:cubicBezTo>
                  <a:pt x="80" y="142"/>
                  <a:pt x="80" y="142"/>
                  <a:pt x="80" y="142"/>
                </a:cubicBezTo>
                <a:cubicBezTo>
                  <a:pt x="80" y="123"/>
                  <a:pt x="96" y="107"/>
                  <a:pt x="116" y="107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15" y="142"/>
                  <a:pt x="215" y="142"/>
                  <a:pt x="215" y="142"/>
                </a:cubicBezTo>
                <a:cubicBezTo>
                  <a:pt x="215" y="274"/>
                  <a:pt x="215" y="274"/>
                  <a:pt x="215" y="274"/>
                </a:cubicBezTo>
                <a:cubicBezTo>
                  <a:pt x="215" y="293"/>
                  <a:pt x="198" y="309"/>
                  <a:pt x="179" y="309"/>
                </a:cubicBezTo>
                <a:close/>
                <a:moveTo>
                  <a:pt x="327" y="309"/>
                </a:moveTo>
                <a:cubicBezTo>
                  <a:pt x="229" y="309"/>
                  <a:pt x="229" y="309"/>
                  <a:pt x="229" y="309"/>
                </a:cubicBezTo>
                <a:cubicBezTo>
                  <a:pt x="229" y="274"/>
                  <a:pt x="229" y="274"/>
                  <a:pt x="229" y="274"/>
                </a:cubicBezTo>
                <a:cubicBezTo>
                  <a:pt x="229" y="142"/>
                  <a:pt x="229" y="142"/>
                  <a:pt x="229" y="142"/>
                </a:cubicBezTo>
                <a:cubicBezTo>
                  <a:pt x="229" y="123"/>
                  <a:pt x="245" y="107"/>
                  <a:pt x="264" y="107"/>
                </a:cubicBezTo>
                <a:cubicBezTo>
                  <a:pt x="363" y="107"/>
                  <a:pt x="363" y="107"/>
                  <a:pt x="363" y="107"/>
                </a:cubicBezTo>
                <a:cubicBezTo>
                  <a:pt x="363" y="142"/>
                  <a:pt x="363" y="142"/>
                  <a:pt x="363" y="142"/>
                </a:cubicBezTo>
                <a:cubicBezTo>
                  <a:pt x="363" y="274"/>
                  <a:pt x="363" y="274"/>
                  <a:pt x="363" y="274"/>
                </a:cubicBezTo>
                <a:cubicBezTo>
                  <a:pt x="363" y="293"/>
                  <a:pt x="347" y="309"/>
                  <a:pt x="327" y="309"/>
                </a:cubicBezTo>
                <a:close/>
                <a:moveTo>
                  <a:pt x="511" y="274"/>
                </a:moveTo>
                <a:cubicBezTo>
                  <a:pt x="511" y="293"/>
                  <a:pt x="495" y="309"/>
                  <a:pt x="476" y="309"/>
                </a:cubicBezTo>
                <a:cubicBezTo>
                  <a:pt x="377" y="309"/>
                  <a:pt x="377" y="309"/>
                  <a:pt x="377" y="309"/>
                </a:cubicBezTo>
                <a:cubicBezTo>
                  <a:pt x="377" y="274"/>
                  <a:pt x="377" y="274"/>
                  <a:pt x="377" y="274"/>
                </a:cubicBezTo>
                <a:cubicBezTo>
                  <a:pt x="377" y="142"/>
                  <a:pt x="377" y="142"/>
                  <a:pt x="377" y="142"/>
                </a:cubicBezTo>
                <a:cubicBezTo>
                  <a:pt x="377" y="123"/>
                  <a:pt x="393" y="107"/>
                  <a:pt x="413" y="107"/>
                </a:cubicBezTo>
                <a:cubicBezTo>
                  <a:pt x="511" y="107"/>
                  <a:pt x="511" y="107"/>
                  <a:pt x="511" y="107"/>
                </a:cubicBezTo>
                <a:lnTo>
                  <a:pt x="511" y="274"/>
                </a:lnTo>
                <a:close/>
                <a:moveTo>
                  <a:pt x="179" y="156"/>
                </a:moveTo>
                <a:cubicBezTo>
                  <a:pt x="179" y="236"/>
                  <a:pt x="179" y="236"/>
                  <a:pt x="179" y="236"/>
                </a:cubicBezTo>
                <a:cubicBezTo>
                  <a:pt x="179" y="253"/>
                  <a:pt x="165" y="267"/>
                  <a:pt x="147" y="267"/>
                </a:cubicBezTo>
                <a:cubicBezTo>
                  <a:pt x="130" y="267"/>
                  <a:pt x="116" y="253"/>
                  <a:pt x="116" y="236"/>
                </a:cubicBezTo>
                <a:cubicBezTo>
                  <a:pt x="116" y="232"/>
                  <a:pt x="119" y="229"/>
                  <a:pt x="123" y="229"/>
                </a:cubicBezTo>
                <a:cubicBezTo>
                  <a:pt x="127" y="229"/>
                  <a:pt x="130" y="232"/>
                  <a:pt x="130" y="236"/>
                </a:cubicBezTo>
                <a:cubicBezTo>
                  <a:pt x="130" y="245"/>
                  <a:pt x="138" y="253"/>
                  <a:pt x="147" y="253"/>
                </a:cubicBezTo>
                <a:cubicBezTo>
                  <a:pt x="157" y="253"/>
                  <a:pt x="165" y="245"/>
                  <a:pt x="165" y="236"/>
                </a:cubicBezTo>
                <a:cubicBezTo>
                  <a:pt x="165" y="156"/>
                  <a:pt x="165" y="156"/>
                  <a:pt x="165" y="156"/>
                </a:cubicBezTo>
                <a:cubicBezTo>
                  <a:pt x="165" y="152"/>
                  <a:pt x="168" y="149"/>
                  <a:pt x="172" y="149"/>
                </a:cubicBezTo>
                <a:cubicBezTo>
                  <a:pt x="175" y="149"/>
                  <a:pt x="179" y="152"/>
                  <a:pt x="179" y="156"/>
                </a:cubicBezTo>
                <a:close/>
                <a:moveTo>
                  <a:pt x="269" y="208"/>
                </a:moveTo>
                <a:cubicBezTo>
                  <a:pt x="269" y="233"/>
                  <a:pt x="285" y="253"/>
                  <a:pt x="305" y="253"/>
                </a:cubicBezTo>
                <a:cubicBezTo>
                  <a:pt x="312" y="253"/>
                  <a:pt x="319" y="250"/>
                  <a:pt x="325" y="245"/>
                </a:cubicBezTo>
                <a:cubicBezTo>
                  <a:pt x="328" y="242"/>
                  <a:pt x="332" y="243"/>
                  <a:pt x="335" y="246"/>
                </a:cubicBezTo>
                <a:cubicBezTo>
                  <a:pt x="337" y="249"/>
                  <a:pt x="337" y="253"/>
                  <a:pt x="334" y="256"/>
                </a:cubicBezTo>
                <a:cubicBezTo>
                  <a:pt x="326" y="263"/>
                  <a:pt x="315" y="267"/>
                  <a:pt x="305" y="267"/>
                </a:cubicBezTo>
                <a:cubicBezTo>
                  <a:pt x="277" y="267"/>
                  <a:pt x="255" y="240"/>
                  <a:pt x="255" y="208"/>
                </a:cubicBezTo>
                <a:cubicBezTo>
                  <a:pt x="255" y="176"/>
                  <a:pt x="277" y="149"/>
                  <a:pt x="305" y="149"/>
                </a:cubicBezTo>
                <a:cubicBezTo>
                  <a:pt x="315" y="149"/>
                  <a:pt x="326" y="153"/>
                  <a:pt x="334" y="160"/>
                </a:cubicBezTo>
                <a:cubicBezTo>
                  <a:pt x="337" y="163"/>
                  <a:pt x="337" y="167"/>
                  <a:pt x="335" y="170"/>
                </a:cubicBezTo>
                <a:cubicBezTo>
                  <a:pt x="332" y="173"/>
                  <a:pt x="328" y="174"/>
                  <a:pt x="325" y="171"/>
                </a:cubicBezTo>
                <a:cubicBezTo>
                  <a:pt x="319" y="166"/>
                  <a:pt x="312" y="163"/>
                  <a:pt x="305" y="163"/>
                </a:cubicBezTo>
                <a:cubicBezTo>
                  <a:pt x="285" y="163"/>
                  <a:pt x="269" y="183"/>
                  <a:pt x="269" y="208"/>
                </a:cubicBezTo>
                <a:close/>
                <a:moveTo>
                  <a:pt x="406" y="161"/>
                </a:moveTo>
                <a:cubicBezTo>
                  <a:pt x="406" y="255"/>
                  <a:pt x="406" y="255"/>
                  <a:pt x="406" y="255"/>
                </a:cubicBezTo>
                <a:cubicBezTo>
                  <a:pt x="406" y="259"/>
                  <a:pt x="409" y="262"/>
                  <a:pt x="413" y="262"/>
                </a:cubicBezTo>
                <a:cubicBezTo>
                  <a:pt x="452" y="262"/>
                  <a:pt x="452" y="262"/>
                  <a:pt x="452" y="262"/>
                </a:cubicBezTo>
                <a:cubicBezTo>
                  <a:pt x="469" y="262"/>
                  <a:pt x="483" y="248"/>
                  <a:pt x="483" y="232"/>
                </a:cubicBezTo>
                <a:cubicBezTo>
                  <a:pt x="483" y="220"/>
                  <a:pt x="476" y="210"/>
                  <a:pt x="467" y="205"/>
                </a:cubicBezTo>
                <a:cubicBezTo>
                  <a:pt x="472" y="200"/>
                  <a:pt x="475" y="192"/>
                  <a:pt x="475" y="184"/>
                </a:cubicBezTo>
                <a:cubicBezTo>
                  <a:pt x="475" y="168"/>
                  <a:pt x="461" y="154"/>
                  <a:pt x="445" y="154"/>
                </a:cubicBezTo>
                <a:cubicBezTo>
                  <a:pt x="413" y="154"/>
                  <a:pt x="413" y="154"/>
                  <a:pt x="413" y="154"/>
                </a:cubicBezTo>
                <a:cubicBezTo>
                  <a:pt x="409" y="154"/>
                  <a:pt x="406" y="157"/>
                  <a:pt x="406" y="161"/>
                </a:cubicBezTo>
                <a:close/>
                <a:moveTo>
                  <a:pt x="420" y="168"/>
                </a:moveTo>
                <a:cubicBezTo>
                  <a:pt x="445" y="168"/>
                  <a:pt x="445" y="168"/>
                  <a:pt x="445" y="168"/>
                </a:cubicBezTo>
                <a:cubicBezTo>
                  <a:pt x="454" y="168"/>
                  <a:pt x="461" y="175"/>
                  <a:pt x="461" y="184"/>
                </a:cubicBezTo>
                <a:cubicBezTo>
                  <a:pt x="461" y="193"/>
                  <a:pt x="454" y="201"/>
                  <a:pt x="445" y="201"/>
                </a:cubicBezTo>
                <a:cubicBezTo>
                  <a:pt x="420" y="201"/>
                  <a:pt x="420" y="201"/>
                  <a:pt x="420" y="201"/>
                </a:cubicBezTo>
                <a:lnTo>
                  <a:pt x="420" y="168"/>
                </a:lnTo>
                <a:close/>
                <a:moveTo>
                  <a:pt x="420" y="215"/>
                </a:moveTo>
                <a:cubicBezTo>
                  <a:pt x="452" y="215"/>
                  <a:pt x="452" y="215"/>
                  <a:pt x="452" y="215"/>
                </a:cubicBezTo>
                <a:cubicBezTo>
                  <a:pt x="461" y="215"/>
                  <a:pt x="469" y="223"/>
                  <a:pt x="469" y="232"/>
                </a:cubicBezTo>
                <a:cubicBezTo>
                  <a:pt x="469" y="241"/>
                  <a:pt x="461" y="248"/>
                  <a:pt x="452" y="248"/>
                </a:cubicBezTo>
                <a:cubicBezTo>
                  <a:pt x="420" y="248"/>
                  <a:pt x="420" y="248"/>
                  <a:pt x="420" y="248"/>
                </a:cubicBezTo>
                <a:lnTo>
                  <a:pt x="420" y="215"/>
                </a:lnTo>
                <a:close/>
                <a:moveTo>
                  <a:pt x="544" y="0"/>
                </a:moveTo>
                <a:cubicBezTo>
                  <a:pt x="47" y="0"/>
                  <a:pt x="47" y="0"/>
                  <a:pt x="47" y="0"/>
                </a:cubicBezTo>
                <a:cubicBezTo>
                  <a:pt x="21" y="0"/>
                  <a:pt x="0" y="22"/>
                  <a:pt x="0" y="48"/>
                </a:cubicBezTo>
                <a:cubicBezTo>
                  <a:pt x="0" y="369"/>
                  <a:pt x="0" y="369"/>
                  <a:pt x="0" y="369"/>
                </a:cubicBezTo>
                <a:cubicBezTo>
                  <a:pt x="0" y="395"/>
                  <a:pt x="21" y="417"/>
                  <a:pt x="47" y="417"/>
                </a:cubicBezTo>
                <a:cubicBezTo>
                  <a:pt x="544" y="417"/>
                  <a:pt x="544" y="417"/>
                  <a:pt x="544" y="417"/>
                </a:cubicBezTo>
                <a:cubicBezTo>
                  <a:pt x="570" y="417"/>
                  <a:pt x="591" y="395"/>
                  <a:pt x="591" y="369"/>
                </a:cubicBezTo>
                <a:cubicBezTo>
                  <a:pt x="591" y="48"/>
                  <a:pt x="591" y="48"/>
                  <a:pt x="591" y="48"/>
                </a:cubicBezTo>
                <a:cubicBezTo>
                  <a:pt x="591" y="22"/>
                  <a:pt x="570" y="0"/>
                  <a:pt x="544" y="0"/>
                </a:cubicBezTo>
                <a:close/>
                <a:moveTo>
                  <a:pt x="577" y="369"/>
                </a:moveTo>
                <a:cubicBezTo>
                  <a:pt x="577" y="387"/>
                  <a:pt x="562" y="403"/>
                  <a:pt x="544" y="403"/>
                </a:cubicBezTo>
                <a:cubicBezTo>
                  <a:pt x="47" y="403"/>
                  <a:pt x="47" y="403"/>
                  <a:pt x="47" y="403"/>
                </a:cubicBezTo>
                <a:cubicBezTo>
                  <a:pt x="29" y="403"/>
                  <a:pt x="14" y="387"/>
                  <a:pt x="14" y="369"/>
                </a:cubicBezTo>
                <a:cubicBezTo>
                  <a:pt x="14" y="48"/>
                  <a:pt x="14" y="48"/>
                  <a:pt x="14" y="48"/>
                </a:cubicBezTo>
                <a:cubicBezTo>
                  <a:pt x="14" y="30"/>
                  <a:pt x="29" y="14"/>
                  <a:pt x="47" y="14"/>
                </a:cubicBezTo>
                <a:cubicBezTo>
                  <a:pt x="544" y="14"/>
                  <a:pt x="544" y="14"/>
                  <a:pt x="544" y="14"/>
                </a:cubicBezTo>
                <a:cubicBezTo>
                  <a:pt x="562" y="14"/>
                  <a:pt x="577" y="30"/>
                  <a:pt x="577" y="48"/>
                </a:cubicBezTo>
                <a:lnTo>
                  <a:pt x="577" y="36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37" name="Oval 59"/>
          <p:cNvSpPr>
            <a:spLocks noChangeArrowheads="1"/>
          </p:cNvSpPr>
          <p:nvPr/>
        </p:nvSpPr>
        <p:spPr bwMode="auto">
          <a:xfrm>
            <a:off x="6137845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79" name="Freeform 146"/>
          <p:cNvSpPr>
            <a:spLocks noEditPoints="1"/>
          </p:cNvSpPr>
          <p:nvPr/>
        </p:nvSpPr>
        <p:spPr bwMode="auto">
          <a:xfrm>
            <a:off x="6302616" y="3662652"/>
            <a:ext cx="492522" cy="421778"/>
          </a:xfrm>
          <a:custGeom>
            <a:avLst/>
            <a:gdLst>
              <a:gd name="T0" fmla="*/ 85 w 636"/>
              <a:gd name="T1" fmla="*/ 159 h 544"/>
              <a:gd name="T2" fmla="*/ 308 w 636"/>
              <a:gd name="T3" fmla="*/ 544 h 544"/>
              <a:gd name="T4" fmla="*/ 532 w 636"/>
              <a:gd name="T5" fmla="*/ 159 h 544"/>
              <a:gd name="T6" fmla="*/ 226 w 636"/>
              <a:gd name="T7" fmla="*/ 353 h 544"/>
              <a:gd name="T8" fmla="*/ 308 w 636"/>
              <a:gd name="T9" fmla="*/ 240 h 544"/>
              <a:gd name="T10" fmla="*/ 391 w 636"/>
              <a:gd name="T11" fmla="*/ 353 h 544"/>
              <a:gd name="T12" fmla="*/ 308 w 636"/>
              <a:gd name="T13" fmla="*/ 530 h 544"/>
              <a:gd name="T14" fmla="*/ 399 w 636"/>
              <a:gd name="T15" fmla="*/ 515 h 544"/>
              <a:gd name="T16" fmla="*/ 405 w 636"/>
              <a:gd name="T17" fmla="*/ 350 h 544"/>
              <a:gd name="T18" fmla="*/ 308 w 636"/>
              <a:gd name="T19" fmla="*/ 226 h 544"/>
              <a:gd name="T20" fmla="*/ 212 w 636"/>
              <a:gd name="T21" fmla="*/ 350 h 544"/>
              <a:gd name="T22" fmla="*/ 218 w 636"/>
              <a:gd name="T23" fmla="*/ 515 h 544"/>
              <a:gd name="T24" fmla="*/ 98 w 636"/>
              <a:gd name="T25" fmla="*/ 164 h 544"/>
              <a:gd name="T26" fmla="*/ 530 w 636"/>
              <a:gd name="T27" fmla="*/ 197 h 544"/>
              <a:gd name="T28" fmla="*/ 442 w 636"/>
              <a:gd name="T29" fmla="*/ 192 h 544"/>
              <a:gd name="T30" fmla="*/ 445 w 636"/>
              <a:gd name="T31" fmla="*/ 237 h 544"/>
              <a:gd name="T32" fmla="*/ 442 w 636"/>
              <a:gd name="T33" fmla="*/ 223 h 544"/>
              <a:gd name="T34" fmla="*/ 445 w 636"/>
              <a:gd name="T35" fmla="*/ 206 h 544"/>
              <a:gd name="T36" fmla="*/ 442 w 636"/>
              <a:gd name="T37" fmla="*/ 223 h 544"/>
              <a:gd name="T38" fmla="*/ 143 w 636"/>
              <a:gd name="T39" fmla="*/ 208 h 544"/>
              <a:gd name="T40" fmla="*/ 211 w 636"/>
              <a:gd name="T41" fmla="*/ 235 h 544"/>
              <a:gd name="T42" fmla="*/ 204 w 636"/>
              <a:gd name="T43" fmla="*/ 222 h 544"/>
              <a:gd name="T44" fmla="*/ 157 w 636"/>
              <a:gd name="T45" fmla="*/ 208 h 544"/>
              <a:gd name="T46" fmla="*/ 206 w 636"/>
              <a:gd name="T47" fmla="*/ 221 h 544"/>
              <a:gd name="T48" fmla="*/ 28 w 636"/>
              <a:gd name="T49" fmla="*/ 132 h 544"/>
              <a:gd name="T50" fmla="*/ 132 w 636"/>
              <a:gd name="T51" fmla="*/ 28 h 544"/>
              <a:gd name="T52" fmla="*/ 132 w 636"/>
              <a:gd name="T53" fmla="*/ 51 h 544"/>
              <a:gd name="T54" fmla="*/ 38 w 636"/>
              <a:gd name="T55" fmla="*/ 38 h 544"/>
              <a:gd name="T56" fmla="*/ 50 w 636"/>
              <a:gd name="T57" fmla="*/ 131 h 544"/>
              <a:gd name="T58" fmla="*/ 43 w 636"/>
              <a:gd name="T59" fmla="*/ 143 h 544"/>
              <a:gd name="T60" fmla="*/ 589 w 636"/>
              <a:gd name="T61" fmla="*/ 144 h 544"/>
              <a:gd name="T62" fmla="*/ 598 w 636"/>
              <a:gd name="T63" fmla="*/ 122 h 544"/>
              <a:gd name="T64" fmla="*/ 556 w 636"/>
              <a:gd name="T65" fmla="*/ 21 h 544"/>
              <a:gd name="T66" fmla="*/ 494 w 636"/>
              <a:gd name="T67" fmla="*/ 54 h 544"/>
              <a:gd name="T68" fmla="*/ 607 w 636"/>
              <a:gd name="T69" fmla="*/ 28 h 544"/>
              <a:gd name="T70" fmla="*/ 321 w 636"/>
              <a:gd name="T71" fmla="*/ 413 h 544"/>
              <a:gd name="T72" fmla="*/ 344 w 636"/>
              <a:gd name="T73" fmla="*/ 348 h 544"/>
              <a:gd name="T74" fmla="*/ 270 w 636"/>
              <a:gd name="T75" fmla="*/ 315 h 544"/>
              <a:gd name="T76" fmla="*/ 307 w 636"/>
              <a:gd name="T77" fmla="*/ 385 h 544"/>
              <a:gd name="T78" fmla="*/ 262 w 636"/>
              <a:gd name="T79" fmla="*/ 458 h 544"/>
              <a:gd name="T80" fmla="*/ 314 w 636"/>
              <a:gd name="T81" fmla="*/ 426 h 544"/>
              <a:gd name="T82" fmla="*/ 367 w 636"/>
              <a:gd name="T83" fmla="*/ 458 h 544"/>
              <a:gd name="T84" fmla="*/ 314 w 636"/>
              <a:gd name="T85" fmla="*/ 319 h 544"/>
              <a:gd name="T86" fmla="*/ 314 w 636"/>
              <a:gd name="T87" fmla="*/ 366 h 5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36" h="544">
                <a:moveTo>
                  <a:pt x="532" y="159"/>
                </a:moveTo>
                <a:cubicBezTo>
                  <a:pt x="518" y="115"/>
                  <a:pt x="470" y="41"/>
                  <a:pt x="308" y="41"/>
                </a:cubicBezTo>
                <a:cubicBezTo>
                  <a:pt x="147" y="41"/>
                  <a:pt x="99" y="115"/>
                  <a:pt x="85" y="159"/>
                </a:cubicBezTo>
                <a:cubicBezTo>
                  <a:pt x="81" y="170"/>
                  <a:pt x="77" y="181"/>
                  <a:pt x="73" y="193"/>
                </a:cubicBezTo>
                <a:cubicBezTo>
                  <a:pt x="46" y="275"/>
                  <a:pt x="11" y="377"/>
                  <a:pt x="66" y="429"/>
                </a:cubicBezTo>
                <a:cubicBezTo>
                  <a:pt x="128" y="487"/>
                  <a:pt x="198" y="544"/>
                  <a:pt x="308" y="544"/>
                </a:cubicBezTo>
                <a:cubicBezTo>
                  <a:pt x="419" y="544"/>
                  <a:pt x="489" y="487"/>
                  <a:pt x="551" y="429"/>
                </a:cubicBezTo>
                <a:cubicBezTo>
                  <a:pt x="606" y="377"/>
                  <a:pt x="571" y="275"/>
                  <a:pt x="543" y="193"/>
                </a:cubicBezTo>
                <a:cubicBezTo>
                  <a:pt x="540" y="181"/>
                  <a:pt x="536" y="170"/>
                  <a:pt x="532" y="159"/>
                </a:cubicBezTo>
                <a:close/>
                <a:moveTo>
                  <a:pt x="221" y="497"/>
                </a:moveTo>
                <a:cubicBezTo>
                  <a:pt x="198" y="467"/>
                  <a:pt x="207" y="427"/>
                  <a:pt x="210" y="415"/>
                </a:cubicBezTo>
                <a:cubicBezTo>
                  <a:pt x="216" y="393"/>
                  <a:pt x="221" y="371"/>
                  <a:pt x="226" y="353"/>
                </a:cubicBezTo>
                <a:cubicBezTo>
                  <a:pt x="231" y="333"/>
                  <a:pt x="235" y="316"/>
                  <a:pt x="239" y="302"/>
                </a:cubicBezTo>
                <a:cubicBezTo>
                  <a:pt x="240" y="299"/>
                  <a:pt x="241" y="296"/>
                  <a:pt x="242" y="293"/>
                </a:cubicBezTo>
                <a:cubicBezTo>
                  <a:pt x="248" y="267"/>
                  <a:pt x="256" y="240"/>
                  <a:pt x="308" y="240"/>
                </a:cubicBezTo>
                <a:cubicBezTo>
                  <a:pt x="361" y="240"/>
                  <a:pt x="368" y="267"/>
                  <a:pt x="375" y="293"/>
                </a:cubicBezTo>
                <a:cubicBezTo>
                  <a:pt x="376" y="296"/>
                  <a:pt x="377" y="299"/>
                  <a:pt x="378" y="302"/>
                </a:cubicBezTo>
                <a:cubicBezTo>
                  <a:pt x="382" y="316"/>
                  <a:pt x="386" y="333"/>
                  <a:pt x="391" y="353"/>
                </a:cubicBezTo>
                <a:cubicBezTo>
                  <a:pt x="396" y="371"/>
                  <a:pt x="401" y="393"/>
                  <a:pt x="407" y="415"/>
                </a:cubicBezTo>
                <a:cubicBezTo>
                  <a:pt x="410" y="427"/>
                  <a:pt x="419" y="467"/>
                  <a:pt x="396" y="497"/>
                </a:cubicBezTo>
                <a:cubicBezTo>
                  <a:pt x="379" y="519"/>
                  <a:pt x="350" y="530"/>
                  <a:pt x="308" y="530"/>
                </a:cubicBezTo>
                <a:cubicBezTo>
                  <a:pt x="267" y="530"/>
                  <a:pt x="238" y="519"/>
                  <a:pt x="221" y="497"/>
                </a:cubicBezTo>
                <a:close/>
                <a:moveTo>
                  <a:pt x="542" y="418"/>
                </a:moveTo>
                <a:cubicBezTo>
                  <a:pt x="501" y="457"/>
                  <a:pt x="456" y="495"/>
                  <a:pt x="399" y="515"/>
                </a:cubicBezTo>
                <a:cubicBezTo>
                  <a:pt x="402" y="512"/>
                  <a:pt x="404" y="509"/>
                  <a:pt x="407" y="506"/>
                </a:cubicBezTo>
                <a:cubicBezTo>
                  <a:pt x="434" y="471"/>
                  <a:pt x="424" y="425"/>
                  <a:pt x="420" y="412"/>
                </a:cubicBezTo>
                <a:cubicBezTo>
                  <a:pt x="414" y="389"/>
                  <a:pt x="409" y="368"/>
                  <a:pt x="405" y="350"/>
                </a:cubicBezTo>
                <a:cubicBezTo>
                  <a:pt x="400" y="329"/>
                  <a:pt x="396" y="312"/>
                  <a:pt x="391" y="298"/>
                </a:cubicBezTo>
                <a:cubicBezTo>
                  <a:pt x="391" y="295"/>
                  <a:pt x="390" y="292"/>
                  <a:pt x="389" y="289"/>
                </a:cubicBezTo>
                <a:cubicBezTo>
                  <a:pt x="382" y="263"/>
                  <a:pt x="372" y="226"/>
                  <a:pt x="308" y="226"/>
                </a:cubicBezTo>
                <a:cubicBezTo>
                  <a:pt x="245" y="226"/>
                  <a:pt x="235" y="263"/>
                  <a:pt x="228" y="289"/>
                </a:cubicBezTo>
                <a:cubicBezTo>
                  <a:pt x="227" y="292"/>
                  <a:pt x="226" y="295"/>
                  <a:pt x="225" y="298"/>
                </a:cubicBezTo>
                <a:cubicBezTo>
                  <a:pt x="221" y="312"/>
                  <a:pt x="217" y="329"/>
                  <a:pt x="212" y="350"/>
                </a:cubicBezTo>
                <a:cubicBezTo>
                  <a:pt x="208" y="368"/>
                  <a:pt x="203" y="389"/>
                  <a:pt x="196" y="412"/>
                </a:cubicBezTo>
                <a:cubicBezTo>
                  <a:pt x="193" y="425"/>
                  <a:pt x="183" y="471"/>
                  <a:pt x="210" y="506"/>
                </a:cubicBezTo>
                <a:cubicBezTo>
                  <a:pt x="212" y="509"/>
                  <a:pt x="215" y="512"/>
                  <a:pt x="218" y="515"/>
                </a:cubicBezTo>
                <a:cubicBezTo>
                  <a:pt x="161" y="495"/>
                  <a:pt x="116" y="457"/>
                  <a:pt x="75" y="418"/>
                </a:cubicBezTo>
                <a:cubicBezTo>
                  <a:pt x="27" y="373"/>
                  <a:pt x="60" y="276"/>
                  <a:pt x="87" y="197"/>
                </a:cubicBezTo>
                <a:cubicBezTo>
                  <a:pt x="91" y="185"/>
                  <a:pt x="94" y="174"/>
                  <a:pt x="98" y="164"/>
                </a:cubicBezTo>
                <a:cubicBezTo>
                  <a:pt x="111" y="123"/>
                  <a:pt x="156" y="55"/>
                  <a:pt x="308" y="55"/>
                </a:cubicBezTo>
                <a:cubicBezTo>
                  <a:pt x="461" y="55"/>
                  <a:pt x="506" y="123"/>
                  <a:pt x="519" y="164"/>
                </a:cubicBezTo>
                <a:cubicBezTo>
                  <a:pt x="523" y="174"/>
                  <a:pt x="526" y="185"/>
                  <a:pt x="530" y="197"/>
                </a:cubicBezTo>
                <a:cubicBezTo>
                  <a:pt x="557" y="276"/>
                  <a:pt x="590" y="373"/>
                  <a:pt x="542" y="418"/>
                </a:cubicBezTo>
                <a:close/>
                <a:moveTo>
                  <a:pt x="455" y="191"/>
                </a:moveTo>
                <a:cubicBezTo>
                  <a:pt x="451" y="191"/>
                  <a:pt x="447" y="191"/>
                  <a:pt x="442" y="192"/>
                </a:cubicBezTo>
                <a:cubicBezTo>
                  <a:pt x="424" y="196"/>
                  <a:pt x="405" y="207"/>
                  <a:pt x="405" y="221"/>
                </a:cubicBezTo>
                <a:cubicBezTo>
                  <a:pt x="405" y="232"/>
                  <a:pt x="416" y="239"/>
                  <a:pt x="432" y="239"/>
                </a:cubicBezTo>
                <a:cubicBezTo>
                  <a:pt x="436" y="239"/>
                  <a:pt x="441" y="238"/>
                  <a:pt x="445" y="237"/>
                </a:cubicBezTo>
                <a:cubicBezTo>
                  <a:pt x="463" y="234"/>
                  <a:pt x="482" y="223"/>
                  <a:pt x="482" y="208"/>
                </a:cubicBezTo>
                <a:cubicBezTo>
                  <a:pt x="482" y="198"/>
                  <a:pt x="471" y="191"/>
                  <a:pt x="455" y="191"/>
                </a:cubicBezTo>
                <a:close/>
                <a:moveTo>
                  <a:pt x="442" y="223"/>
                </a:moveTo>
                <a:cubicBezTo>
                  <a:pt x="439" y="224"/>
                  <a:pt x="435" y="225"/>
                  <a:pt x="432" y="225"/>
                </a:cubicBezTo>
                <a:cubicBezTo>
                  <a:pt x="423" y="225"/>
                  <a:pt x="419" y="222"/>
                  <a:pt x="419" y="221"/>
                </a:cubicBezTo>
                <a:cubicBezTo>
                  <a:pt x="419" y="217"/>
                  <a:pt x="429" y="209"/>
                  <a:pt x="445" y="206"/>
                </a:cubicBezTo>
                <a:cubicBezTo>
                  <a:pt x="448" y="205"/>
                  <a:pt x="452" y="205"/>
                  <a:pt x="455" y="205"/>
                </a:cubicBezTo>
                <a:cubicBezTo>
                  <a:pt x="464" y="205"/>
                  <a:pt x="468" y="208"/>
                  <a:pt x="468" y="208"/>
                </a:cubicBezTo>
                <a:cubicBezTo>
                  <a:pt x="468" y="212"/>
                  <a:pt x="458" y="220"/>
                  <a:pt x="442" y="223"/>
                </a:cubicBezTo>
                <a:close/>
                <a:moveTo>
                  <a:pt x="183" y="192"/>
                </a:moveTo>
                <a:cubicBezTo>
                  <a:pt x="179" y="191"/>
                  <a:pt x="174" y="191"/>
                  <a:pt x="170" y="191"/>
                </a:cubicBezTo>
                <a:cubicBezTo>
                  <a:pt x="154" y="191"/>
                  <a:pt x="143" y="198"/>
                  <a:pt x="143" y="208"/>
                </a:cubicBezTo>
                <a:cubicBezTo>
                  <a:pt x="143" y="223"/>
                  <a:pt x="162" y="234"/>
                  <a:pt x="180" y="237"/>
                </a:cubicBezTo>
                <a:cubicBezTo>
                  <a:pt x="185" y="238"/>
                  <a:pt x="189" y="239"/>
                  <a:pt x="193" y="239"/>
                </a:cubicBezTo>
                <a:cubicBezTo>
                  <a:pt x="200" y="239"/>
                  <a:pt x="206" y="237"/>
                  <a:pt x="211" y="235"/>
                </a:cubicBezTo>
                <a:cubicBezTo>
                  <a:pt x="217" y="232"/>
                  <a:pt x="220" y="227"/>
                  <a:pt x="220" y="221"/>
                </a:cubicBezTo>
                <a:cubicBezTo>
                  <a:pt x="220" y="207"/>
                  <a:pt x="202" y="196"/>
                  <a:pt x="183" y="192"/>
                </a:cubicBezTo>
                <a:close/>
                <a:moveTo>
                  <a:pt x="204" y="222"/>
                </a:moveTo>
                <a:cubicBezTo>
                  <a:pt x="203" y="223"/>
                  <a:pt x="200" y="225"/>
                  <a:pt x="193" y="225"/>
                </a:cubicBezTo>
                <a:cubicBezTo>
                  <a:pt x="190" y="225"/>
                  <a:pt x="187" y="224"/>
                  <a:pt x="183" y="223"/>
                </a:cubicBezTo>
                <a:cubicBezTo>
                  <a:pt x="167" y="220"/>
                  <a:pt x="157" y="212"/>
                  <a:pt x="157" y="208"/>
                </a:cubicBezTo>
                <a:cubicBezTo>
                  <a:pt x="157" y="208"/>
                  <a:pt x="161" y="205"/>
                  <a:pt x="170" y="205"/>
                </a:cubicBezTo>
                <a:cubicBezTo>
                  <a:pt x="174" y="205"/>
                  <a:pt x="177" y="205"/>
                  <a:pt x="180" y="206"/>
                </a:cubicBezTo>
                <a:cubicBezTo>
                  <a:pt x="196" y="209"/>
                  <a:pt x="206" y="217"/>
                  <a:pt x="206" y="221"/>
                </a:cubicBezTo>
                <a:cubicBezTo>
                  <a:pt x="206" y="221"/>
                  <a:pt x="205" y="222"/>
                  <a:pt x="204" y="222"/>
                </a:cubicBezTo>
                <a:close/>
                <a:moveTo>
                  <a:pt x="43" y="143"/>
                </a:moveTo>
                <a:cubicBezTo>
                  <a:pt x="38" y="140"/>
                  <a:pt x="33" y="136"/>
                  <a:pt x="28" y="132"/>
                </a:cubicBezTo>
                <a:cubicBezTo>
                  <a:pt x="0" y="103"/>
                  <a:pt x="0" y="57"/>
                  <a:pt x="28" y="28"/>
                </a:cubicBezTo>
                <a:cubicBezTo>
                  <a:pt x="42" y="15"/>
                  <a:pt x="61" y="7"/>
                  <a:pt x="80" y="7"/>
                </a:cubicBezTo>
                <a:cubicBezTo>
                  <a:pt x="100" y="7"/>
                  <a:pt x="118" y="15"/>
                  <a:pt x="132" y="28"/>
                </a:cubicBezTo>
                <a:cubicBezTo>
                  <a:pt x="137" y="33"/>
                  <a:pt x="141" y="39"/>
                  <a:pt x="144" y="44"/>
                </a:cubicBezTo>
                <a:cubicBezTo>
                  <a:pt x="146" y="48"/>
                  <a:pt x="145" y="52"/>
                  <a:pt x="141" y="54"/>
                </a:cubicBezTo>
                <a:cubicBezTo>
                  <a:pt x="138" y="56"/>
                  <a:pt x="134" y="55"/>
                  <a:pt x="132" y="51"/>
                </a:cubicBezTo>
                <a:cubicBezTo>
                  <a:pt x="129" y="47"/>
                  <a:pt x="126" y="42"/>
                  <a:pt x="122" y="38"/>
                </a:cubicBezTo>
                <a:cubicBezTo>
                  <a:pt x="111" y="27"/>
                  <a:pt x="96" y="21"/>
                  <a:pt x="80" y="21"/>
                </a:cubicBezTo>
                <a:cubicBezTo>
                  <a:pt x="64" y="21"/>
                  <a:pt x="49" y="27"/>
                  <a:pt x="38" y="38"/>
                </a:cubicBezTo>
                <a:cubicBezTo>
                  <a:pt x="27" y="49"/>
                  <a:pt x="21" y="64"/>
                  <a:pt x="21" y="80"/>
                </a:cubicBezTo>
                <a:cubicBezTo>
                  <a:pt x="21" y="96"/>
                  <a:pt x="27" y="111"/>
                  <a:pt x="38" y="122"/>
                </a:cubicBezTo>
                <a:cubicBezTo>
                  <a:pt x="42" y="126"/>
                  <a:pt x="46" y="129"/>
                  <a:pt x="50" y="131"/>
                </a:cubicBezTo>
                <a:cubicBezTo>
                  <a:pt x="54" y="133"/>
                  <a:pt x="55" y="138"/>
                  <a:pt x="53" y="141"/>
                </a:cubicBezTo>
                <a:cubicBezTo>
                  <a:pt x="51" y="143"/>
                  <a:pt x="49" y="144"/>
                  <a:pt x="47" y="144"/>
                </a:cubicBezTo>
                <a:cubicBezTo>
                  <a:pt x="46" y="144"/>
                  <a:pt x="44" y="144"/>
                  <a:pt x="43" y="143"/>
                </a:cubicBezTo>
                <a:close/>
                <a:moveTo>
                  <a:pt x="607" y="132"/>
                </a:moveTo>
                <a:cubicBezTo>
                  <a:pt x="603" y="136"/>
                  <a:pt x="598" y="140"/>
                  <a:pt x="593" y="143"/>
                </a:cubicBezTo>
                <a:cubicBezTo>
                  <a:pt x="591" y="144"/>
                  <a:pt x="590" y="144"/>
                  <a:pt x="589" y="144"/>
                </a:cubicBezTo>
                <a:cubicBezTo>
                  <a:pt x="587" y="144"/>
                  <a:pt x="584" y="143"/>
                  <a:pt x="583" y="141"/>
                </a:cubicBezTo>
                <a:cubicBezTo>
                  <a:pt x="581" y="138"/>
                  <a:pt x="582" y="133"/>
                  <a:pt x="586" y="131"/>
                </a:cubicBezTo>
                <a:cubicBezTo>
                  <a:pt x="590" y="129"/>
                  <a:pt x="594" y="126"/>
                  <a:pt x="598" y="122"/>
                </a:cubicBezTo>
                <a:cubicBezTo>
                  <a:pt x="609" y="111"/>
                  <a:pt x="615" y="96"/>
                  <a:pt x="615" y="80"/>
                </a:cubicBezTo>
                <a:cubicBezTo>
                  <a:pt x="615" y="64"/>
                  <a:pt x="609" y="49"/>
                  <a:pt x="598" y="38"/>
                </a:cubicBezTo>
                <a:cubicBezTo>
                  <a:pt x="586" y="27"/>
                  <a:pt x="571" y="21"/>
                  <a:pt x="556" y="21"/>
                </a:cubicBezTo>
                <a:cubicBezTo>
                  <a:pt x="540" y="21"/>
                  <a:pt x="525" y="27"/>
                  <a:pt x="514" y="38"/>
                </a:cubicBezTo>
                <a:cubicBezTo>
                  <a:pt x="510" y="42"/>
                  <a:pt x="507" y="47"/>
                  <a:pt x="504" y="51"/>
                </a:cubicBezTo>
                <a:cubicBezTo>
                  <a:pt x="502" y="55"/>
                  <a:pt x="498" y="56"/>
                  <a:pt x="494" y="54"/>
                </a:cubicBezTo>
                <a:cubicBezTo>
                  <a:pt x="491" y="52"/>
                  <a:pt x="490" y="48"/>
                  <a:pt x="492" y="44"/>
                </a:cubicBezTo>
                <a:cubicBezTo>
                  <a:pt x="495" y="39"/>
                  <a:pt x="499" y="33"/>
                  <a:pt x="504" y="28"/>
                </a:cubicBezTo>
                <a:cubicBezTo>
                  <a:pt x="532" y="0"/>
                  <a:pt x="579" y="0"/>
                  <a:pt x="607" y="28"/>
                </a:cubicBezTo>
                <a:cubicBezTo>
                  <a:pt x="636" y="57"/>
                  <a:pt x="636" y="103"/>
                  <a:pt x="607" y="132"/>
                </a:cubicBezTo>
                <a:close/>
                <a:moveTo>
                  <a:pt x="366" y="449"/>
                </a:moveTo>
                <a:cubicBezTo>
                  <a:pt x="321" y="413"/>
                  <a:pt x="321" y="413"/>
                  <a:pt x="321" y="413"/>
                </a:cubicBezTo>
                <a:cubicBezTo>
                  <a:pt x="321" y="386"/>
                  <a:pt x="321" y="386"/>
                  <a:pt x="321" y="386"/>
                </a:cubicBezTo>
                <a:cubicBezTo>
                  <a:pt x="321" y="386"/>
                  <a:pt x="321" y="386"/>
                  <a:pt x="321" y="385"/>
                </a:cubicBezTo>
                <a:cubicBezTo>
                  <a:pt x="321" y="377"/>
                  <a:pt x="335" y="360"/>
                  <a:pt x="344" y="348"/>
                </a:cubicBezTo>
                <a:cubicBezTo>
                  <a:pt x="357" y="331"/>
                  <a:pt x="362" y="323"/>
                  <a:pt x="359" y="316"/>
                </a:cubicBezTo>
                <a:cubicBezTo>
                  <a:pt x="358" y="313"/>
                  <a:pt x="355" y="305"/>
                  <a:pt x="314" y="305"/>
                </a:cubicBezTo>
                <a:cubicBezTo>
                  <a:pt x="275" y="305"/>
                  <a:pt x="271" y="313"/>
                  <a:pt x="270" y="315"/>
                </a:cubicBezTo>
                <a:cubicBezTo>
                  <a:pt x="265" y="323"/>
                  <a:pt x="273" y="334"/>
                  <a:pt x="287" y="352"/>
                </a:cubicBezTo>
                <a:cubicBezTo>
                  <a:pt x="295" y="363"/>
                  <a:pt x="307" y="378"/>
                  <a:pt x="307" y="385"/>
                </a:cubicBezTo>
                <a:cubicBezTo>
                  <a:pt x="307" y="385"/>
                  <a:pt x="307" y="385"/>
                  <a:pt x="307" y="385"/>
                </a:cubicBezTo>
                <a:cubicBezTo>
                  <a:pt x="307" y="413"/>
                  <a:pt x="307" y="413"/>
                  <a:pt x="307" y="413"/>
                </a:cubicBezTo>
                <a:cubicBezTo>
                  <a:pt x="263" y="449"/>
                  <a:pt x="263" y="449"/>
                  <a:pt x="263" y="449"/>
                </a:cubicBezTo>
                <a:cubicBezTo>
                  <a:pt x="260" y="451"/>
                  <a:pt x="259" y="455"/>
                  <a:pt x="262" y="458"/>
                </a:cubicBezTo>
                <a:cubicBezTo>
                  <a:pt x="263" y="460"/>
                  <a:pt x="265" y="461"/>
                  <a:pt x="267" y="461"/>
                </a:cubicBezTo>
                <a:cubicBezTo>
                  <a:pt x="269" y="461"/>
                  <a:pt x="270" y="461"/>
                  <a:pt x="272" y="460"/>
                </a:cubicBezTo>
                <a:cubicBezTo>
                  <a:pt x="314" y="426"/>
                  <a:pt x="314" y="426"/>
                  <a:pt x="314" y="426"/>
                </a:cubicBezTo>
                <a:cubicBezTo>
                  <a:pt x="357" y="460"/>
                  <a:pt x="357" y="460"/>
                  <a:pt x="357" y="460"/>
                </a:cubicBezTo>
                <a:cubicBezTo>
                  <a:pt x="359" y="461"/>
                  <a:pt x="360" y="461"/>
                  <a:pt x="362" y="461"/>
                </a:cubicBezTo>
                <a:cubicBezTo>
                  <a:pt x="364" y="461"/>
                  <a:pt x="366" y="460"/>
                  <a:pt x="367" y="458"/>
                </a:cubicBezTo>
                <a:cubicBezTo>
                  <a:pt x="370" y="455"/>
                  <a:pt x="369" y="451"/>
                  <a:pt x="366" y="449"/>
                </a:cubicBezTo>
                <a:close/>
                <a:moveTo>
                  <a:pt x="283" y="322"/>
                </a:moveTo>
                <a:cubicBezTo>
                  <a:pt x="288" y="321"/>
                  <a:pt x="298" y="319"/>
                  <a:pt x="314" y="319"/>
                </a:cubicBezTo>
                <a:cubicBezTo>
                  <a:pt x="329" y="319"/>
                  <a:pt x="340" y="321"/>
                  <a:pt x="345" y="322"/>
                </a:cubicBezTo>
                <a:cubicBezTo>
                  <a:pt x="343" y="326"/>
                  <a:pt x="337" y="334"/>
                  <a:pt x="333" y="340"/>
                </a:cubicBezTo>
                <a:cubicBezTo>
                  <a:pt x="326" y="348"/>
                  <a:pt x="319" y="358"/>
                  <a:pt x="314" y="366"/>
                </a:cubicBezTo>
                <a:cubicBezTo>
                  <a:pt x="310" y="359"/>
                  <a:pt x="304" y="351"/>
                  <a:pt x="298" y="343"/>
                </a:cubicBezTo>
                <a:cubicBezTo>
                  <a:pt x="293" y="337"/>
                  <a:pt x="285" y="327"/>
                  <a:pt x="283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36" name="Oval 58"/>
          <p:cNvSpPr>
            <a:spLocks noChangeArrowheads="1"/>
          </p:cNvSpPr>
          <p:nvPr/>
        </p:nvSpPr>
        <p:spPr bwMode="auto">
          <a:xfrm>
            <a:off x="7430588" y="346474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80" name="Freeform 147"/>
          <p:cNvSpPr>
            <a:spLocks noEditPoints="1"/>
          </p:cNvSpPr>
          <p:nvPr/>
        </p:nvSpPr>
        <p:spPr bwMode="auto">
          <a:xfrm>
            <a:off x="7620227" y="3619667"/>
            <a:ext cx="443683" cy="512223"/>
          </a:xfrm>
          <a:custGeom>
            <a:avLst/>
            <a:gdLst>
              <a:gd name="T0" fmla="*/ 184 w 573"/>
              <a:gd name="T1" fmla="*/ 291 h 661"/>
              <a:gd name="T2" fmla="*/ 194 w 573"/>
              <a:gd name="T3" fmla="*/ 360 h 661"/>
              <a:gd name="T4" fmla="*/ 224 w 573"/>
              <a:gd name="T5" fmla="*/ 338 h 661"/>
              <a:gd name="T6" fmla="*/ 194 w 573"/>
              <a:gd name="T7" fmla="*/ 346 h 661"/>
              <a:gd name="T8" fmla="*/ 184 w 573"/>
              <a:gd name="T9" fmla="*/ 305 h 661"/>
              <a:gd name="T10" fmla="*/ 194 w 573"/>
              <a:gd name="T11" fmla="*/ 346 h 661"/>
              <a:gd name="T12" fmla="*/ 367 w 573"/>
              <a:gd name="T13" fmla="*/ 301 h 661"/>
              <a:gd name="T14" fmla="*/ 379 w 573"/>
              <a:gd name="T15" fmla="*/ 360 h 661"/>
              <a:gd name="T16" fmla="*/ 389 w 573"/>
              <a:gd name="T17" fmla="*/ 291 h 661"/>
              <a:gd name="T18" fmla="*/ 363 w 573"/>
              <a:gd name="T19" fmla="*/ 343 h 661"/>
              <a:gd name="T20" fmla="*/ 400 w 573"/>
              <a:gd name="T21" fmla="*/ 311 h 661"/>
              <a:gd name="T22" fmla="*/ 436 w 573"/>
              <a:gd name="T23" fmla="*/ 221 h 661"/>
              <a:gd name="T24" fmla="*/ 486 w 573"/>
              <a:gd name="T25" fmla="*/ 176 h 661"/>
              <a:gd name="T26" fmla="*/ 493 w 573"/>
              <a:gd name="T27" fmla="*/ 189 h 661"/>
              <a:gd name="T28" fmla="*/ 515 w 573"/>
              <a:gd name="T29" fmla="*/ 6 h 661"/>
              <a:gd name="T30" fmla="*/ 286 w 573"/>
              <a:gd name="T31" fmla="*/ 125 h 661"/>
              <a:gd name="T32" fmla="*/ 58 w 573"/>
              <a:gd name="T33" fmla="*/ 6 h 661"/>
              <a:gd name="T34" fmla="*/ 79 w 573"/>
              <a:gd name="T35" fmla="*/ 189 h 661"/>
              <a:gd name="T36" fmla="*/ 86 w 573"/>
              <a:gd name="T37" fmla="*/ 176 h 661"/>
              <a:gd name="T38" fmla="*/ 190 w 573"/>
              <a:gd name="T39" fmla="*/ 145 h 661"/>
              <a:gd name="T40" fmla="*/ 3 w 573"/>
              <a:gd name="T41" fmla="*/ 328 h 661"/>
              <a:gd name="T42" fmla="*/ 25 w 573"/>
              <a:gd name="T43" fmla="*/ 332 h 661"/>
              <a:gd name="T44" fmla="*/ 141 w 573"/>
              <a:gd name="T45" fmla="*/ 424 h 661"/>
              <a:gd name="T46" fmla="*/ 175 w 573"/>
              <a:gd name="T47" fmla="*/ 599 h 661"/>
              <a:gd name="T48" fmla="*/ 398 w 573"/>
              <a:gd name="T49" fmla="*/ 599 h 661"/>
              <a:gd name="T50" fmla="*/ 434 w 573"/>
              <a:gd name="T51" fmla="*/ 419 h 661"/>
              <a:gd name="T52" fmla="*/ 548 w 573"/>
              <a:gd name="T53" fmla="*/ 332 h 661"/>
              <a:gd name="T54" fmla="*/ 570 w 573"/>
              <a:gd name="T55" fmla="*/ 328 h 661"/>
              <a:gd name="T56" fmla="*/ 384 w 573"/>
              <a:gd name="T57" fmla="*/ 599 h 661"/>
              <a:gd name="T58" fmla="*/ 189 w 573"/>
              <a:gd name="T59" fmla="*/ 599 h 661"/>
              <a:gd name="T60" fmla="*/ 214 w 573"/>
              <a:gd name="T61" fmla="*/ 535 h 661"/>
              <a:gd name="T62" fmla="*/ 313 w 573"/>
              <a:gd name="T63" fmla="*/ 518 h 661"/>
              <a:gd name="T64" fmla="*/ 457 w 573"/>
              <a:gd name="T65" fmla="*/ 277 h 661"/>
              <a:gd name="T66" fmla="*/ 448 w 573"/>
              <a:gd name="T67" fmla="*/ 384 h 661"/>
              <a:gd name="T68" fmla="*/ 313 w 573"/>
              <a:gd name="T69" fmla="*/ 504 h 661"/>
              <a:gd name="T70" fmla="*/ 151 w 573"/>
              <a:gd name="T71" fmla="*/ 414 h 661"/>
              <a:gd name="T72" fmla="*/ 124 w 573"/>
              <a:gd name="T73" fmla="*/ 272 h 661"/>
              <a:gd name="T74" fmla="*/ 18 w 573"/>
              <a:gd name="T75" fmla="*/ 319 h 661"/>
              <a:gd name="T76" fmla="*/ 148 w 573"/>
              <a:gd name="T77" fmla="*/ 229 h 661"/>
              <a:gd name="T78" fmla="*/ 430 w 573"/>
              <a:gd name="T79" fmla="*/ 234 h 661"/>
              <a:gd name="T80" fmla="*/ 552 w 573"/>
              <a:gd name="T81" fmla="*/ 318 h 661"/>
              <a:gd name="T82" fmla="*/ 252 w 573"/>
              <a:gd name="T83" fmla="*/ 613 h 661"/>
              <a:gd name="T84" fmla="*/ 252 w 573"/>
              <a:gd name="T85" fmla="*/ 599 h 661"/>
              <a:gd name="T86" fmla="*/ 266 w 573"/>
              <a:gd name="T87" fmla="*/ 582 h 661"/>
              <a:gd name="T88" fmla="*/ 293 w 573"/>
              <a:gd name="T89" fmla="*/ 582 h 661"/>
              <a:gd name="T90" fmla="*/ 321 w 573"/>
              <a:gd name="T91" fmla="*/ 551 h 661"/>
              <a:gd name="T92" fmla="*/ 321 w 573"/>
              <a:gd name="T93" fmla="*/ 565 h 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3" h="661">
                <a:moveTo>
                  <a:pt x="206" y="301"/>
                </a:moveTo>
                <a:cubicBezTo>
                  <a:pt x="206" y="300"/>
                  <a:pt x="204" y="298"/>
                  <a:pt x="203" y="297"/>
                </a:cubicBezTo>
                <a:cubicBezTo>
                  <a:pt x="197" y="293"/>
                  <a:pt x="191" y="291"/>
                  <a:pt x="184" y="291"/>
                </a:cubicBezTo>
                <a:cubicBezTo>
                  <a:pt x="173" y="291"/>
                  <a:pt x="163" y="297"/>
                  <a:pt x="160" y="306"/>
                </a:cubicBezTo>
                <a:cubicBezTo>
                  <a:pt x="155" y="316"/>
                  <a:pt x="155" y="343"/>
                  <a:pt x="173" y="354"/>
                </a:cubicBezTo>
                <a:cubicBezTo>
                  <a:pt x="178" y="358"/>
                  <a:pt x="186" y="360"/>
                  <a:pt x="194" y="360"/>
                </a:cubicBezTo>
                <a:cubicBezTo>
                  <a:pt x="194" y="360"/>
                  <a:pt x="194" y="360"/>
                  <a:pt x="194" y="360"/>
                </a:cubicBezTo>
                <a:cubicBezTo>
                  <a:pt x="207" y="360"/>
                  <a:pt x="222" y="355"/>
                  <a:pt x="226" y="346"/>
                </a:cubicBezTo>
                <a:cubicBezTo>
                  <a:pt x="227" y="343"/>
                  <a:pt x="227" y="340"/>
                  <a:pt x="224" y="338"/>
                </a:cubicBezTo>
                <a:cubicBezTo>
                  <a:pt x="217" y="330"/>
                  <a:pt x="211" y="322"/>
                  <a:pt x="206" y="301"/>
                </a:cubicBezTo>
                <a:close/>
                <a:moveTo>
                  <a:pt x="194" y="346"/>
                </a:moveTo>
                <a:cubicBezTo>
                  <a:pt x="194" y="346"/>
                  <a:pt x="194" y="346"/>
                  <a:pt x="194" y="346"/>
                </a:cubicBezTo>
                <a:cubicBezTo>
                  <a:pt x="190" y="346"/>
                  <a:pt x="185" y="346"/>
                  <a:pt x="180" y="343"/>
                </a:cubicBezTo>
                <a:cubicBezTo>
                  <a:pt x="169" y="335"/>
                  <a:pt x="170" y="317"/>
                  <a:pt x="173" y="311"/>
                </a:cubicBezTo>
                <a:cubicBezTo>
                  <a:pt x="173" y="309"/>
                  <a:pt x="178" y="305"/>
                  <a:pt x="184" y="305"/>
                </a:cubicBezTo>
                <a:cubicBezTo>
                  <a:pt x="187" y="305"/>
                  <a:pt x="190" y="306"/>
                  <a:pt x="193" y="308"/>
                </a:cubicBezTo>
                <a:cubicBezTo>
                  <a:pt x="197" y="323"/>
                  <a:pt x="202" y="334"/>
                  <a:pt x="210" y="343"/>
                </a:cubicBezTo>
                <a:cubicBezTo>
                  <a:pt x="206" y="344"/>
                  <a:pt x="201" y="346"/>
                  <a:pt x="194" y="346"/>
                </a:cubicBezTo>
                <a:close/>
                <a:moveTo>
                  <a:pt x="389" y="291"/>
                </a:moveTo>
                <a:cubicBezTo>
                  <a:pt x="382" y="291"/>
                  <a:pt x="376" y="293"/>
                  <a:pt x="370" y="297"/>
                </a:cubicBezTo>
                <a:cubicBezTo>
                  <a:pt x="368" y="298"/>
                  <a:pt x="367" y="300"/>
                  <a:pt x="367" y="301"/>
                </a:cubicBezTo>
                <a:cubicBezTo>
                  <a:pt x="362" y="322"/>
                  <a:pt x="356" y="330"/>
                  <a:pt x="348" y="338"/>
                </a:cubicBezTo>
                <a:cubicBezTo>
                  <a:pt x="346" y="340"/>
                  <a:pt x="346" y="343"/>
                  <a:pt x="347" y="346"/>
                </a:cubicBezTo>
                <a:cubicBezTo>
                  <a:pt x="350" y="355"/>
                  <a:pt x="366" y="360"/>
                  <a:pt x="379" y="360"/>
                </a:cubicBezTo>
                <a:cubicBezTo>
                  <a:pt x="387" y="360"/>
                  <a:pt x="394" y="358"/>
                  <a:pt x="400" y="354"/>
                </a:cubicBezTo>
                <a:cubicBezTo>
                  <a:pt x="418" y="343"/>
                  <a:pt x="418" y="316"/>
                  <a:pt x="413" y="306"/>
                </a:cubicBezTo>
                <a:cubicBezTo>
                  <a:pt x="410" y="297"/>
                  <a:pt x="400" y="291"/>
                  <a:pt x="389" y="291"/>
                </a:cubicBezTo>
                <a:close/>
                <a:moveTo>
                  <a:pt x="393" y="343"/>
                </a:moveTo>
                <a:cubicBezTo>
                  <a:pt x="388" y="346"/>
                  <a:pt x="382" y="346"/>
                  <a:pt x="379" y="346"/>
                </a:cubicBezTo>
                <a:cubicBezTo>
                  <a:pt x="372" y="346"/>
                  <a:pt x="367" y="344"/>
                  <a:pt x="363" y="343"/>
                </a:cubicBezTo>
                <a:cubicBezTo>
                  <a:pt x="371" y="334"/>
                  <a:pt x="376" y="323"/>
                  <a:pt x="380" y="308"/>
                </a:cubicBezTo>
                <a:cubicBezTo>
                  <a:pt x="383" y="306"/>
                  <a:pt x="386" y="305"/>
                  <a:pt x="389" y="305"/>
                </a:cubicBezTo>
                <a:cubicBezTo>
                  <a:pt x="395" y="305"/>
                  <a:pt x="399" y="309"/>
                  <a:pt x="400" y="311"/>
                </a:cubicBezTo>
                <a:cubicBezTo>
                  <a:pt x="403" y="317"/>
                  <a:pt x="404" y="335"/>
                  <a:pt x="393" y="343"/>
                </a:cubicBezTo>
                <a:close/>
                <a:moveTo>
                  <a:pt x="447" y="223"/>
                </a:moveTo>
                <a:cubicBezTo>
                  <a:pt x="443" y="222"/>
                  <a:pt x="440" y="221"/>
                  <a:pt x="436" y="221"/>
                </a:cubicBezTo>
                <a:cubicBezTo>
                  <a:pt x="423" y="183"/>
                  <a:pt x="406" y="160"/>
                  <a:pt x="383" y="145"/>
                </a:cubicBezTo>
                <a:cubicBezTo>
                  <a:pt x="464" y="140"/>
                  <a:pt x="508" y="85"/>
                  <a:pt x="524" y="30"/>
                </a:cubicBezTo>
                <a:cubicBezTo>
                  <a:pt x="552" y="100"/>
                  <a:pt x="526" y="154"/>
                  <a:pt x="486" y="176"/>
                </a:cubicBezTo>
                <a:cubicBezTo>
                  <a:pt x="483" y="178"/>
                  <a:pt x="482" y="183"/>
                  <a:pt x="484" y="186"/>
                </a:cubicBezTo>
                <a:cubicBezTo>
                  <a:pt x="485" y="188"/>
                  <a:pt x="487" y="190"/>
                  <a:pt x="490" y="190"/>
                </a:cubicBezTo>
                <a:cubicBezTo>
                  <a:pt x="491" y="190"/>
                  <a:pt x="492" y="189"/>
                  <a:pt x="493" y="189"/>
                </a:cubicBezTo>
                <a:cubicBezTo>
                  <a:pt x="542" y="161"/>
                  <a:pt x="573" y="92"/>
                  <a:pt x="528" y="4"/>
                </a:cubicBezTo>
                <a:cubicBezTo>
                  <a:pt x="527" y="2"/>
                  <a:pt x="524" y="0"/>
                  <a:pt x="521" y="1"/>
                </a:cubicBezTo>
                <a:cubicBezTo>
                  <a:pt x="518" y="1"/>
                  <a:pt x="516" y="3"/>
                  <a:pt x="515" y="6"/>
                </a:cubicBezTo>
                <a:cubicBezTo>
                  <a:pt x="511" y="30"/>
                  <a:pt x="485" y="146"/>
                  <a:pt x="345" y="131"/>
                </a:cubicBezTo>
                <a:cubicBezTo>
                  <a:pt x="345" y="131"/>
                  <a:pt x="345" y="131"/>
                  <a:pt x="345" y="131"/>
                </a:cubicBezTo>
                <a:cubicBezTo>
                  <a:pt x="327" y="127"/>
                  <a:pt x="308" y="125"/>
                  <a:pt x="286" y="125"/>
                </a:cubicBezTo>
                <a:cubicBezTo>
                  <a:pt x="265" y="125"/>
                  <a:pt x="245" y="127"/>
                  <a:pt x="228" y="131"/>
                </a:cubicBezTo>
                <a:cubicBezTo>
                  <a:pt x="228" y="131"/>
                  <a:pt x="228" y="131"/>
                  <a:pt x="228" y="131"/>
                </a:cubicBezTo>
                <a:cubicBezTo>
                  <a:pt x="88" y="146"/>
                  <a:pt x="62" y="30"/>
                  <a:pt x="58" y="6"/>
                </a:cubicBezTo>
                <a:cubicBezTo>
                  <a:pt x="57" y="3"/>
                  <a:pt x="55" y="1"/>
                  <a:pt x="52" y="1"/>
                </a:cubicBezTo>
                <a:cubicBezTo>
                  <a:pt x="49" y="0"/>
                  <a:pt x="46" y="2"/>
                  <a:pt x="45" y="4"/>
                </a:cubicBezTo>
                <a:cubicBezTo>
                  <a:pt x="0" y="92"/>
                  <a:pt x="31" y="161"/>
                  <a:pt x="79" y="189"/>
                </a:cubicBezTo>
                <a:cubicBezTo>
                  <a:pt x="81" y="189"/>
                  <a:pt x="82" y="190"/>
                  <a:pt x="83" y="190"/>
                </a:cubicBezTo>
                <a:cubicBezTo>
                  <a:pt x="85" y="190"/>
                  <a:pt x="88" y="188"/>
                  <a:pt x="89" y="186"/>
                </a:cubicBezTo>
                <a:cubicBezTo>
                  <a:pt x="91" y="183"/>
                  <a:pt x="90" y="178"/>
                  <a:pt x="86" y="176"/>
                </a:cubicBezTo>
                <a:cubicBezTo>
                  <a:pt x="47" y="154"/>
                  <a:pt x="21" y="100"/>
                  <a:pt x="49" y="29"/>
                </a:cubicBezTo>
                <a:cubicBezTo>
                  <a:pt x="55" y="50"/>
                  <a:pt x="67" y="79"/>
                  <a:pt x="91" y="103"/>
                </a:cubicBezTo>
                <a:cubicBezTo>
                  <a:pt x="117" y="129"/>
                  <a:pt x="150" y="143"/>
                  <a:pt x="190" y="145"/>
                </a:cubicBezTo>
                <a:cubicBezTo>
                  <a:pt x="167" y="160"/>
                  <a:pt x="150" y="183"/>
                  <a:pt x="137" y="221"/>
                </a:cubicBezTo>
                <a:cubicBezTo>
                  <a:pt x="133" y="221"/>
                  <a:pt x="130" y="222"/>
                  <a:pt x="126" y="223"/>
                </a:cubicBezTo>
                <a:cubicBezTo>
                  <a:pt x="74" y="230"/>
                  <a:pt x="10" y="240"/>
                  <a:pt x="3" y="328"/>
                </a:cubicBezTo>
                <a:cubicBezTo>
                  <a:pt x="3" y="331"/>
                  <a:pt x="4" y="333"/>
                  <a:pt x="5" y="334"/>
                </a:cubicBezTo>
                <a:cubicBezTo>
                  <a:pt x="7" y="336"/>
                  <a:pt x="10" y="336"/>
                  <a:pt x="12" y="336"/>
                </a:cubicBezTo>
                <a:cubicBezTo>
                  <a:pt x="25" y="332"/>
                  <a:pt x="25" y="332"/>
                  <a:pt x="25" y="332"/>
                </a:cubicBezTo>
                <a:cubicBezTo>
                  <a:pt x="63" y="320"/>
                  <a:pt x="92" y="311"/>
                  <a:pt x="109" y="301"/>
                </a:cubicBezTo>
                <a:cubicBezTo>
                  <a:pt x="101" y="339"/>
                  <a:pt x="98" y="366"/>
                  <a:pt x="113" y="391"/>
                </a:cubicBezTo>
                <a:cubicBezTo>
                  <a:pt x="118" y="401"/>
                  <a:pt x="129" y="412"/>
                  <a:pt x="141" y="424"/>
                </a:cubicBezTo>
                <a:cubicBezTo>
                  <a:pt x="168" y="449"/>
                  <a:pt x="200" y="481"/>
                  <a:pt x="206" y="523"/>
                </a:cubicBezTo>
                <a:cubicBezTo>
                  <a:pt x="187" y="539"/>
                  <a:pt x="175" y="563"/>
                  <a:pt x="175" y="589"/>
                </a:cubicBezTo>
                <a:cubicBezTo>
                  <a:pt x="175" y="599"/>
                  <a:pt x="175" y="599"/>
                  <a:pt x="175" y="599"/>
                </a:cubicBezTo>
                <a:cubicBezTo>
                  <a:pt x="175" y="633"/>
                  <a:pt x="203" y="661"/>
                  <a:pt x="237" y="661"/>
                </a:cubicBezTo>
                <a:cubicBezTo>
                  <a:pt x="336" y="661"/>
                  <a:pt x="336" y="661"/>
                  <a:pt x="336" y="661"/>
                </a:cubicBezTo>
                <a:cubicBezTo>
                  <a:pt x="370" y="661"/>
                  <a:pt x="398" y="633"/>
                  <a:pt x="398" y="599"/>
                </a:cubicBezTo>
                <a:cubicBezTo>
                  <a:pt x="398" y="589"/>
                  <a:pt x="398" y="589"/>
                  <a:pt x="398" y="589"/>
                </a:cubicBezTo>
                <a:cubicBezTo>
                  <a:pt x="398" y="565"/>
                  <a:pt x="388" y="543"/>
                  <a:pt x="372" y="528"/>
                </a:cubicBezTo>
                <a:cubicBezTo>
                  <a:pt x="377" y="471"/>
                  <a:pt x="409" y="442"/>
                  <a:pt x="434" y="419"/>
                </a:cubicBezTo>
                <a:cubicBezTo>
                  <a:pt x="445" y="409"/>
                  <a:pt x="455" y="401"/>
                  <a:pt x="460" y="391"/>
                </a:cubicBezTo>
                <a:cubicBezTo>
                  <a:pt x="474" y="366"/>
                  <a:pt x="472" y="339"/>
                  <a:pt x="463" y="301"/>
                </a:cubicBezTo>
                <a:cubicBezTo>
                  <a:pt x="481" y="311"/>
                  <a:pt x="510" y="320"/>
                  <a:pt x="548" y="332"/>
                </a:cubicBezTo>
                <a:cubicBezTo>
                  <a:pt x="561" y="336"/>
                  <a:pt x="561" y="336"/>
                  <a:pt x="561" y="336"/>
                </a:cubicBezTo>
                <a:cubicBezTo>
                  <a:pt x="563" y="336"/>
                  <a:pt x="566" y="336"/>
                  <a:pt x="567" y="334"/>
                </a:cubicBezTo>
                <a:cubicBezTo>
                  <a:pt x="569" y="333"/>
                  <a:pt x="570" y="331"/>
                  <a:pt x="570" y="328"/>
                </a:cubicBezTo>
                <a:cubicBezTo>
                  <a:pt x="563" y="240"/>
                  <a:pt x="499" y="230"/>
                  <a:pt x="447" y="223"/>
                </a:cubicBezTo>
                <a:close/>
                <a:moveTo>
                  <a:pt x="384" y="589"/>
                </a:moveTo>
                <a:cubicBezTo>
                  <a:pt x="384" y="599"/>
                  <a:pt x="384" y="599"/>
                  <a:pt x="384" y="599"/>
                </a:cubicBezTo>
                <a:cubicBezTo>
                  <a:pt x="384" y="625"/>
                  <a:pt x="362" y="647"/>
                  <a:pt x="336" y="647"/>
                </a:cubicBezTo>
                <a:cubicBezTo>
                  <a:pt x="237" y="647"/>
                  <a:pt x="237" y="647"/>
                  <a:pt x="237" y="647"/>
                </a:cubicBezTo>
                <a:cubicBezTo>
                  <a:pt x="211" y="647"/>
                  <a:pt x="189" y="625"/>
                  <a:pt x="189" y="599"/>
                </a:cubicBezTo>
                <a:cubicBezTo>
                  <a:pt x="189" y="589"/>
                  <a:pt x="189" y="589"/>
                  <a:pt x="189" y="589"/>
                </a:cubicBezTo>
                <a:cubicBezTo>
                  <a:pt x="189" y="567"/>
                  <a:pt x="199" y="548"/>
                  <a:pt x="213" y="535"/>
                </a:cubicBezTo>
                <a:cubicBezTo>
                  <a:pt x="214" y="535"/>
                  <a:pt x="214" y="535"/>
                  <a:pt x="214" y="535"/>
                </a:cubicBezTo>
                <a:cubicBezTo>
                  <a:pt x="217" y="535"/>
                  <a:pt x="219" y="533"/>
                  <a:pt x="220" y="530"/>
                </a:cubicBezTo>
                <a:cubicBezTo>
                  <a:pt x="232" y="522"/>
                  <a:pt x="245" y="518"/>
                  <a:pt x="260" y="518"/>
                </a:cubicBezTo>
                <a:cubicBezTo>
                  <a:pt x="313" y="518"/>
                  <a:pt x="313" y="518"/>
                  <a:pt x="313" y="518"/>
                </a:cubicBezTo>
                <a:cubicBezTo>
                  <a:pt x="352" y="518"/>
                  <a:pt x="384" y="550"/>
                  <a:pt x="384" y="589"/>
                </a:cubicBezTo>
                <a:close/>
                <a:moveTo>
                  <a:pt x="552" y="318"/>
                </a:moveTo>
                <a:cubicBezTo>
                  <a:pt x="509" y="306"/>
                  <a:pt x="461" y="291"/>
                  <a:pt x="457" y="277"/>
                </a:cubicBezTo>
                <a:cubicBezTo>
                  <a:pt x="456" y="273"/>
                  <a:pt x="453" y="271"/>
                  <a:pt x="449" y="272"/>
                </a:cubicBezTo>
                <a:cubicBezTo>
                  <a:pt x="445" y="273"/>
                  <a:pt x="443" y="277"/>
                  <a:pt x="444" y="281"/>
                </a:cubicBezTo>
                <a:cubicBezTo>
                  <a:pt x="456" y="328"/>
                  <a:pt x="463" y="358"/>
                  <a:pt x="448" y="384"/>
                </a:cubicBezTo>
                <a:cubicBezTo>
                  <a:pt x="444" y="392"/>
                  <a:pt x="435" y="400"/>
                  <a:pt x="425" y="409"/>
                </a:cubicBezTo>
                <a:cubicBezTo>
                  <a:pt x="400" y="431"/>
                  <a:pt x="367" y="461"/>
                  <a:pt x="359" y="517"/>
                </a:cubicBezTo>
                <a:cubicBezTo>
                  <a:pt x="346" y="509"/>
                  <a:pt x="330" y="504"/>
                  <a:pt x="313" y="504"/>
                </a:cubicBezTo>
                <a:cubicBezTo>
                  <a:pt x="260" y="504"/>
                  <a:pt x="260" y="504"/>
                  <a:pt x="260" y="504"/>
                </a:cubicBezTo>
                <a:cubicBezTo>
                  <a:pt x="245" y="504"/>
                  <a:pt x="231" y="508"/>
                  <a:pt x="218" y="515"/>
                </a:cubicBezTo>
                <a:cubicBezTo>
                  <a:pt x="210" y="471"/>
                  <a:pt x="176" y="438"/>
                  <a:pt x="151" y="414"/>
                </a:cubicBezTo>
                <a:cubicBezTo>
                  <a:pt x="139" y="402"/>
                  <a:pt x="129" y="392"/>
                  <a:pt x="125" y="384"/>
                </a:cubicBezTo>
                <a:cubicBezTo>
                  <a:pt x="110" y="358"/>
                  <a:pt x="117" y="328"/>
                  <a:pt x="129" y="281"/>
                </a:cubicBezTo>
                <a:cubicBezTo>
                  <a:pt x="130" y="277"/>
                  <a:pt x="128" y="273"/>
                  <a:pt x="124" y="272"/>
                </a:cubicBezTo>
                <a:cubicBezTo>
                  <a:pt x="120" y="271"/>
                  <a:pt x="116" y="273"/>
                  <a:pt x="115" y="277"/>
                </a:cubicBezTo>
                <a:cubicBezTo>
                  <a:pt x="112" y="291"/>
                  <a:pt x="64" y="306"/>
                  <a:pt x="21" y="318"/>
                </a:cubicBezTo>
                <a:cubicBezTo>
                  <a:pt x="18" y="319"/>
                  <a:pt x="18" y="319"/>
                  <a:pt x="18" y="319"/>
                </a:cubicBezTo>
                <a:cubicBezTo>
                  <a:pt x="28" y="251"/>
                  <a:pt x="79" y="244"/>
                  <a:pt x="128" y="236"/>
                </a:cubicBezTo>
                <a:cubicBezTo>
                  <a:pt x="133" y="236"/>
                  <a:pt x="138" y="235"/>
                  <a:pt x="143" y="234"/>
                </a:cubicBezTo>
                <a:cubicBezTo>
                  <a:pt x="146" y="234"/>
                  <a:pt x="148" y="232"/>
                  <a:pt x="148" y="229"/>
                </a:cubicBezTo>
                <a:cubicBezTo>
                  <a:pt x="173" y="154"/>
                  <a:pt x="216" y="139"/>
                  <a:pt x="286" y="139"/>
                </a:cubicBezTo>
                <a:cubicBezTo>
                  <a:pt x="357" y="139"/>
                  <a:pt x="400" y="154"/>
                  <a:pt x="424" y="229"/>
                </a:cubicBezTo>
                <a:cubicBezTo>
                  <a:pt x="425" y="232"/>
                  <a:pt x="427" y="234"/>
                  <a:pt x="430" y="234"/>
                </a:cubicBezTo>
                <a:cubicBezTo>
                  <a:pt x="435" y="235"/>
                  <a:pt x="440" y="236"/>
                  <a:pt x="445" y="236"/>
                </a:cubicBezTo>
                <a:cubicBezTo>
                  <a:pt x="494" y="244"/>
                  <a:pt x="545" y="251"/>
                  <a:pt x="555" y="319"/>
                </a:cubicBezTo>
                <a:lnTo>
                  <a:pt x="552" y="318"/>
                </a:lnTo>
                <a:close/>
                <a:moveTo>
                  <a:pt x="252" y="551"/>
                </a:moveTo>
                <a:cubicBezTo>
                  <a:pt x="236" y="551"/>
                  <a:pt x="224" y="564"/>
                  <a:pt x="224" y="582"/>
                </a:cubicBezTo>
                <a:cubicBezTo>
                  <a:pt x="224" y="600"/>
                  <a:pt x="236" y="613"/>
                  <a:pt x="252" y="613"/>
                </a:cubicBezTo>
                <a:cubicBezTo>
                  <a:pt x="268" y="613"/>
                  <a:pt x="280" y="600"/>
                  <a:pt x="280" y="582"/>
                </a:cubicBezTo>
                <a:cubicBezTo>
                  <a:pt x="280" y="564"/>
                  <a:pt x="268" y="551"/>
                  <a:pt x="252" y="551"/>
                </a:cubicBezTo>
                <a:close/>
                <a:moveTo>
                  <a:pt x="252" y="599"/>
                </a:moveTo>
                <a:cubicBezTo>
                  <a:pt x="244" y="599"/>
                  <a:pt x="238" y="593"/>
                  <a:pt x="238" y="582"/>
                </a:cubicBezTo>
                <a:cubicBezTo>
                  <a:pt x="238" y="572"/>
                  <a:pt x="244" y="565"/>
                  <a:pt x="252" y="565"/>
                </a:cubicBezTo>
                <a:cubicBezTo>
                  <a:pt x="260" y="565"/>
                  <a:pt x="266" y="572"/>
                  <a:pt x="266" y="582"/>
                </a:cubicBezTo>
                <a:cubicBezTo>
                  <a:pt x="266" y="593"/>
                  <a:pt x="260" y="599"/>
                  <a:pt x="252" y="599"/>
                </a:cubicBezTo>
                <a:close/>
                <a:moveTo>
                  <a:pt x="321" y="551"/>
                </a:moveTo>
                <a:cubicBezTo>
                  <a:pt x="305" y="551"/>
                  <a:pt x="293" y="564"/>
                  <a:pt x="293" y="582"/>
                </a:cubicBezTo>
                <a:cubicBezTo>
                  <a:pt x="293" y="600"/>
                  <a:pt x="305" y="613"/>
                  <a:pt x="321" y="613"/>
                </a:cubicBezTo>
                <a:cubicBezTo>
                  <a:pt x="337" y="613"/>
                  <a:pt x="348" y="600"/>
                  <a:pt x="348" y="582"/>
                </a:cubicBezTo>
                <a:cubicBezTo>
                  <a:pt x="348" y="564"/>
                  <a:pt x="337" y="551"/>
                  <a:pt x="321" y="551"/>
                </a:cubicBezTo>
                <a:close/>
                <a:moveTo>
                  <a:pt x="321" y="599"/>
                </a:moveTo>
                <a:cubicBezTo>
                  <a:pt x="312" y="599"/>
                  <a:pt x="307" y="593"/>
                  <a:pt x="307" y="582"/>
                </a:cubicBezTo>
                <a:cubicBezTo>
                  <a:pt x="307" y="572"/>
                  <a:pt x="312" y="565"/>
                  <a:pt x="321" y="565"/>
                </a:cubicBezTo>
                <a:cubicBezTo>
                  <a:pt x="329" y="565"/>
                  <a:pt x="334" y="572"/>
                  <a:pt x="334" y="582"/>
                </a:cubicBezTo>
                <a:cubicBezTo>
                  <a:pt x="334" y="593"/>
                  <a:pt x="329" y="599"/>
                  <a:pt x="321" y="5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8" name="Title 32">
            <a:extLst>
              <a:ext uri="{FF2B5EF4-FFF2-40B4-BE49-F238E27FC236}">
                <a16:creationId xmlns:a16="http://schemas.microsoft.com/office/drawing/2014/main" id="{6B21DCA1-E912-4817-B34F-43BD75705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9549"/>
            <a:ext cx="8686800" cy="682625"/>
          </a:xfrm>
        </p:spPr>
        <p:txBody>
          <a:bodyPr/>
          <a:lstStyle/>
          <a:p>
            <a:r>
              <a:rPr lang="en-US" dirty="0"/>
              <a:t>Sales icons</a:t>
            </a:r>
          </a:p>
        </p:txBody>
      </p:sp>
    </p:spTree>
    <p:extLst>
      <p:ext uri="{BB962C8B-B14F-4D97-AF65-F5344CB8AC3E}">
        <p14:creationId xmlns:p14="http://schemas.microsoft.com/office/powerpoint/2010/main" val="280358882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51" name="Group 9250"/>
          <p:cNvGrpSpPr/>
          <p:nvPr/>
        </p:nvGrpSpPr>
        <p:grpSpPr>
          <a:xfrm>
            <a:off x="966871" y="1124036"/>
            <a:ext cx="822960" cy="822960"/>
            <a:chOff x="1477963" y="2476500"/>
            <a:chExt cx="949325" cy="949325"/>
          </a:xfrm>
        </p:grpSpPr>
        <p:sp>
          <p:nvSpPr>
            <p:cNvPr id="21" name="Oval 14"/>
            <p:cNvSpPr>
              <a:spLocks noChangeArrowheads="1"/>
            </p:cNvSpPr>
            <p:nvPr/>
          </p:nvSpPr>
          <p:spPr bwMode="auto">
            <a:xfrm>
              <a:off x="1477963" y="2476500"/>
              <a:ext cx="949325" cy="9493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4" name="Freeform 17"/>
            <p:cNvSpPr>
              <a:spLocks noEditPoints="1"/>
            </p:cNvSpPr>
            <p:nvPr/>
          </p:nvSpPr>
          <p:spPr bwMode="auto">
            <a:xfrm>
              <a:off x="1655763" y="2674938"/>
              <a:ext cx="581025" cy="550863"/>
            </a:xfrm>
            <a:custGeom>
              <a:avLst/>
              <a:gdLst>
                <a:gd name="T0" fmla="*/ 148 w 651"/>
                <a:gd name="T1" fmla="*/ 616 h 616"/>
                <a:gd name="T2" fmla="*/ 35 w 651"/>
                <a:gd name="T3" fmla="*/ 537 h 616"/>
                <a:gd name="T4" fmla="*/ 216 w 651"/>
                <a:gd name="T5" fmla="*/ 193 h 616"/>
                <a:gd name="T6" fmla="*/ 523 w 651"/>
                <a:gd name="T7" fmla="*/ 0 h 616"/>
                <a:gd name="T8" fmla="*/ 561 w 651"/>
                <a:gd name="T9" fmla="*/ 11 h 616"/>
                <a:gd name="T10" fmla="*/ 636 w 651"/>
                <a:gd name="T11" fmla="*/ 139 h 616"/>
                <a:gd name="T12" fmla="*/ 485 w 651"/>
                <a:gd name="T13" fmla="*/ 232 h 616"/>
                <a:gd name="T14" fmla="*/ 485 w 651"/>
                <a:gd name="T15" fmla="*/ 232 h 616"/>
                <a:gd name="T16" fmla="*/ 481 w 651"/>
                <a:gd name="T17" fmla="*/ 231 h 616"/>
                <a:gd name="T18" fmla="*/ 442 w 651"/>
                <a:gd name="T19" fmla="*/ 211 h 616"/>
                <a:gd name="T20" fmla="*/ 399 w 651"/>
                <a:gd name="T21" fmla="*/ 188 h 616"/>
                <a:gd name="T22" fmla="*/ 397 w 651"/>
                <a:gd name="T23" fmla="*/ 188 h 616"/>
                <a:gd name="T24" fmla="*/ 291 w 651"/>
                <a:gd name="T25" fmla="*/ 267 h 616"/>
                <a:gd name="T26" fmla="*/ 212 w 651"/>
                <a:gd name="T27" fmla="*/ 375 h 616"/>
                <a:gd name="T28" fmla="*/ 235 w 651"/>
                <a:gd name="T29" fmla="*/ 418 h 616"/>
                <a:gd name="T30" fmla="*/ 255 w 651"/>
                <a:gd name="T31" fmla="*/ 457 h 616"/>
                <a:gd name="T32" fmla="*/ 219 w 651"/>
                <a:gd name="T33" fmla="*/ 539 h 616"/>
                <a:gd name="T34" fmla="*/ 161 w 651"/>
                <a:gd name="T35" fmla="*/ 614 h 616"/>
                <a:gd name="T36" fmla="*/ 148 w 651"/>
                <a:gd name="T37" fmla="*/ 616 h 616"/>
                <a:gd name="T38" fmla="*/ 523 w 651"/>
                <a:gd name="T39" fmla="*/ 14 h 616"/>
                <a:gd name="T40" fmla="*/ 226 w 651"/>
                <a:gd name="T41" fmla="*/ 202 h 616"/>
                <a:gd name="T42" fmla="*/ 47 w 651"/>
                <a:gd name="T43" fmla="*/ 529 h 616"/>
                <a:gd name="T44" fmla="*/ 92 w 651"/>
                <a:gd name="T45" fmla="*/ 576 h 616"/>
                <a:gd name="T46" fmla="*/ 156 w 651"/>
                <a:gd name="T47" fmla="*/ 601 h 616"/>
                <a:gd name="T48" fmla="*/ 242 w 651"/>
                <a:gd name="T49" fmla="*/ 461 h 616"/>
                <a:gd name="T50" fmla="*/ 222 w 651"/>
                <a:gd name="T51" fmla="*/ 425 h 616"/>
                <a:gd name="T52" fmla="*/ 199 w 651"/>
                <a:gd name="T53" fmla="*/ 380 h 616"/>
                <a:gd name="T54" fmla="*/ 221 w 651"/>
                <a:gd name="T55" fmla="*/ 325 h 616"/>
                <a:gd name="T56" fmla="*/ 281 w 651"/>
                <a:gd name="T57" fmla="*/ 257 h 616"/>
                <a:gd name="T58" fmla="*/ 397 w 651"/>
                <a:gd name="T59" fmla="*/ 174 h 616"/>
                <a:gd name="T60" fmla="*/ 404 w 651"/>
                <a:gd name="T61" fmla="*/ 175 h 616"/>
                <a:gd name="T62" fmla="*/ 449 w 651"/>
                <a:gd name="T63" fmla="*/ 199 h 616"/>
                <a:gd name="T64" fmla="*/ 485 w 651"/>
                <a:gd name="T65" fmla="*/ 218 h 616"/>
                <a:gd name="T66" fmla="*/ 623 w 651"/>
                <a:gd name="T67" fmla="*/ 134 h 616"/>
                <a:gd name="T68" fmla="*/ 553 w 651"/>
                <a:gd name="T69" fmla="*/ 22 h 616"/>
                <a:gd name="T70" fmla="*/ 523 w 651"/>
                <a:gd name="T71" fmla="*/ 14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51" h="616">
                  <a:moveTo>
                    <a:pt x="148" y="616"/>
                  </a:moveTo>
                  <a:cubicBezTo>
                    <a:pt x="110" y="616"/>
                    <a:pt x="52" y="565"/>
                    <a:pt x="35" y="537"/>
                  </a:cubicBezTo>
                  <a:cubicBezTo>
                    <a:pt x="0" y="479"/>
                    <a:pt x="78" y="331"/>
                    <a:pt x="216" y="193"/>
                  </a:cubicBezTo>
                  <a:cubicBezTo>
                    <a:pt x="333" y="76"/>
                    <a:pt x="454" y="0"/>
                    <a:pt x="523" y="0"/>
                  </a:cubicBezTo>
                  <a:cubicBezTo>
                    <a:pt x="539" y="0"/>
                    <a:pt x="551" y="4"/>
                    <a:pt x="561" y="11"/>
                  </a:cubicBezTo>
                  <a:cubicBezTo>
                    <a:pt x="590" y="33"/>
                    <a:pt x="651" y="102"/>
                    <a:pt x="636" y="139"/>
                  </a:cubicBezTo>
                  <a:cubicBezTo>
                    <a:pt x="627" y="162"/>
                    <a:pt x="507" y="232"/>
                    <a:pt x="485" y="232"/>
                  </a:cubicBezTo>
                  <a:cubicBezTo>
                    <a:pt x="485" y="232"/>
                    <a:pt x="485" y="232"/>
                    <a:pt x="485" y="232"/>
                  </a:cubicBezTo>
                  <a:cubicBezTo>
                    <a:pt x="484" y="232"/>
                    <a:pt x="482" y="232"/>
                    <a:pt x="481" y="231"/>
                  </a:cubicBezTo>
                  <a:cubicBezTo>
                    <a:pt x="474" y="229"/>
                    <a:pt x="459" y="221"/>
                    <a:pt x="442" y="211"/>
                  </a:cubicBezTo>
                  <a:cubicBezTo>
                    <a:pt x="426" y="202"/>
                    <a:pt x="408" y="192"/>
                    <a:pt x="399" y="188"/>
                  </a:cubicBezTo>
                  <a:cubicBezTo>
                    <a:pt x="399" y="188"/>
                    <a:pt x="398" y="188"/>
                    <a:pt x="397" y="188"/>
                  </a:cubicBezTo>
                  <a:cubicBezTo>
                    <a:pt x="381" y="188"/>
                    <a:pt x="337" y="220"/>
                    <a:pt x="291" y="267"/>
                  </a:cubicBezTo>
                  <a:cubicBezTo>
                    <a:pt x="236" y="321"/>
                    <a:pt x="208" y="365"/>
                    <a:pt x="212" y="375"/>
                  </a:cubicBezTo>
                  <a:cubicBezTo>
                    <a:pt x="216" y="384"/>
                    <a:pt x="226" y="402"/>
                    <a:pt x="235" y="418"/>
                  </a:cubicBezTo>
                  <a:cubicBezTo>
                    <a:pt x="244" y="435"/>
                    <a:pt x="253" y="450"/>
                    <a:pt x="255" y="457"/>
                  </a:cubicBezTo>
                  <a:cubicBezTo>
                    <a:pt x="259" y="469"/>
                    <a:pt x="234" y="514"/>
                    <a:pt x="219" y="539"/>
                  </a:cubicBezTo>
                  <a:cubicBezTo>
                    <a:pt x="207" y="559"/>
                    <a:pt x="177" y="608"/>
                    <a:pt x="161" y="614"/>
                  </a:cubicBezTo>
                  <a:cubicBezTo>
                    <a:pt x="157" y="616"/>
                    <a:pt x="153" y="616"/>
                    <a:pt x="148" y="616"/>
                  </a:cubicBezTo>
                  <a:close/>
                  <a:moveTo>
                    <a:pt x="523" y="14"/>
                  </a:moveTo>
                  <a:cubicBezTo>
                    <a:pt x="458" y="14"/>
                    <a:pt x="339" y="90"/>
                    <a:pt x="226" y="202"/>
                  </a:cubicBezTo>
                  <a:cubicBezTo>
                    <a:pt x="79" y="350"/>
                    <a:pt x="19" y="484"/>
                    <a:pt x="47" y="529"/>
                  </a:cubicBezTo>
                  <a:cubicBezTo>
                    <a:pt x="55" y="543"/>
                    <a:pt x="73" y="561"/>
                    <a:pt x="92" y="576"/>
                  </a:cubicBezTo>
                  <a:cubicBezTo>
                    <a:pt x="119" y="596"/>
                    <a:pt x="143" y="606"/>
                    <a:pt x="156" y="601"/>
                  </a:cubicBezTo>
                  <a:cubicBezTo>
                    <a:pt x="174" y="594"/>
                    <a:pt x="242" y="477"/>
                    <a:pt x="242" y="461"/>
                  </a:cubicBezTo>
                  <a:cubicBezTo>
                    <a:pt x="239" y="455"/>
                    <a:pt x="231" y="440"/>
                    <a:pt x="222" y="425"/>
                  </a:cubicBezTo>
                  <a:cubicBezTo>
                    <a:pt x="213" y="408"/>
                    <a:pt x="203" y="390"/>
                    <a:pt x="199" y="380"/>
                  </a:cubicBezTo>
                  <a:cubicBezTo>
                    <a:pt x="196" y="373"/>
                    <a:pt x="196" y="360"/>
                    <a:pt x="221" y="325"/>
                  </a:cubicBezTo>
                  <a:cubicBezTo>
                    <a:pt x="236" y="305"/>
                    <a:pt x="257" y="281"/>
                    <a:pt x="281" y="257"/>
                  </a:cubicBezTo>
                  <a:cubicBezTo>
                    <a:pt x="294" y="243"/>
                    <a:pt x="365" y="174"/>
                    <a:pt x="397" y="174"/>
                  </a:cubicBezTo>
                  <a:cubicBezTo>
                    <a:pt x="400" y="174"/>
                    <a:pt x="402" y="175"/>
                    <a:pt x="404" y="175"/>
                  </a:cubicBezTo>
                  <a:cubicBezTo>
                    <a:pt x="414" y="179"/>
                    <a:pt x="432" y="189"/>
                    <a:pt x="449" y="199"/>
                  </a:cubicBezTo>
                  <a:cubicBezTo>
                    <a:pt x="463" y="207"/>
                    <a:pt x="479" y="216"/>
                    <a:pt x="485" y="218"/>
                  </a:cubicBezTo>
                  <a:cubicBezTo>
                    <a:pt x="503" y="217"/>
                    <a:pt x="616" y="151"/>
                    <a:pt x="623" y="134"/>
                  </a:cubicBezTo>
                  <a:cubicBezTo>
                    <a:pt x="634" y="108"/>
                    <a:pt x="582" y="44"/>
                    <a:pt x="553" y="22"/>
                  </a:cubicBezTo>
                  <a:cubicBezTo>
                    <a:pt x="545" y="17"/>
                    <a:pt x="536" y="14"/>
                    <a:pt x="523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9252" name="Group 9251"/>
          <p:cNvGrpSpPr/>
          <p:nvPr/>
        </p:nvGrpSpPr>
        <p:grpSpPr>
          <a:xfrm>
            <a:off x="2259614" y="1124036"/>
            <a:ext cx="822960" cy="822960"/>
            <a:chOff x="2524125" y="2476500"/>
            <a:chExt cx="949325" cy="949325"/>
          </a:xfrm>
        </p:grpSpPr>
        <p:sp>
          <p:nvSpPr>
            <p:cNvPr id="20" name="Oval 13"/>
            <p:cNvSpPr>
              <a:spLocks noChangeArrowheads="1"/>
            </p:cNvSpPr>
            <p:nvPr/>
          </p:nvSpPr>
          <p:spPr bwMode="auto">
            <a:xfrm>
              <a:off x="2524125" y="2476500"/>
              <a:ext cx="949325" cy="9493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5" name="Freeform 18"/>
            <p:cNvSpPr>
              <a:spLocks noEditPoints="1"/>
            </p:cNvSpPr>
            <p:nvPr/>
          </p:nvSpPr>
          <p:spPr bwMode="auto">
            <a:xfrm>
              <a:off x="2709863" y="2693988"/>
              <a:ext cx="579438" cy="514350"/>
            </a:xfrm>
            <a:custGeom>
              <a:avLst/>
              <a:gdLst>
                <a:gd name="T0" fmla="*/ 601 w 649"/>
                <a:gd name="T1" fmla="*/ 226 h 575"/>
                <a:gd name="T2" fmla="*/ 449 w 649"/>
                <a:gd name="T3" fmla="*/ 150 h 575"/>
                <a:gd name="T4" fmla="*/ 324 w 649"/>
                <a:gd name="T5" fmla="*/ 92 h 575"/>
                <a:gd name="T6" fmla="*/ 200 w 649"/>
                <a:gd name="T7" fmla="*/ 150 h 575"/>
                <a:gd name="T8" fmla="*/ 46 w 649"/>
                <a:gd name="T9" fmla="*/ 226 h 575"/>
                <a:gd name="T10" fmla="*/ 5 w 649"/>
                <a:gd name="T11" fmla="*/ 168 h 575"/>
                <a:gd name="T12" fmla="*/ 324 w 649"/>
                <a:gd name="T13" fmla="*/ 0 h 575"/>
                <a:gd name="T14" fmla="*/ 612 w 649"/>
                <a:gd name="T15" fmla="*/ 224 h 575"/>
                <a:gd name="T16" fmla="*/ 473 w 649"/>
                <a:gd name="T17" fmla="*/ 179 h 575"/>
                <a:gd name="T18" fmla="*/ 601 w 649"/>
                <a:gd name="T19" fmla="*/ 212 h 575"/>
                <a:gd name="T20" fmla="*/ 629 w 649"/>
                <a:gd name="T21" fmla="*/ 166 h 575"/>
                <a:gd name="T22" fmla="*/ 324 w 649"/>
                <a:gd name="T23" fmla="*/ 14 h 575"/>
                <a:gd name="T24" fmla="*/ 40 w 649"/>
                <a:gd name="T25" fmla="*/ 211 h 575"/>
                <a:gd name="T26" fmla="*/ 176 w 649"/>
                <a:gd name="T27" fmla="*/ 179 h 575"/>
                <a:gd name="T28" fmla="*/ 199 w 649"/>
                <a:gd name="T29" fmla="*/ 104 h 575"/>
                <a:gd name="T30" fmla="*/ 450 w 649"/>
                <a:gd name="T31" fmla="*/ 104 h 575"/>
                <a:gd name="T32" fmla="*/ 473 w 649"/>
                <a:gd name="T33" fmla="*/ 179 h 575"/>
                <a:gd name="T34" fmla="*/ 163 w 649"/>
                <a:gd name="T35" fmla="*/ 316 h 575"/>
                <a:gd name="T36" fmla="*/ 254 w 649"/>
                <a:gd name="T37" fmla="*/ 316 h 575"/>
                <a:gd name="T38" fmla="*/ 209 w 649"/>
                <a:gd name="T39" fmla="*/ 285 h 575"/>
                <a:gd name="T40" fmla="*/ 209 w 649"/>
                <a:gd name="T41" fmla="*/ 348 h 575"/>
                <a:gd name="T42" fmla="*/ 209 w 649"/>
                <a:gd name="T43" fmla="*/ 285 h 575"/>
                <a:gd name="T44" fmla="*/ 270 w 649"/>
                <a:gd name="T45" fmla="*/ 316 h 575"/>
                <a:gd name="T46" fmla="*/ 361 w 649"/>
                <a:gd name="T47" fmla="*/ 316 h 575"/>
                <a:gd name="T48" fmla="*/ 316 w 649"/>
                <a:gd name="T49" fmla="*/ 285 h 575"/>
                <a:gd name="T50" fmla="*/ 316 w 649"/>
                <a:gd name="T51" fmla="*/ 348 h 575"/>
                <a:gd name="T52" fmla="*/ 316 w 649"/>
                <a:gd name="T53" fmla="*/ 285 h 575"/>
                <a:gd name="T54" fmla="*/ 377 w 649"/>
                <a:gd name="T55" fmla="*/ 316 h 575"/>
                <a:gd name="T56" fmla="*/ 468 w 649"/>
                <a:gd name="T57" fmla="*/ 316 h 575"/>
                <a:gd name="T58" fmla="*/ 422 w 649"/>
                <a:gd name="T59" fmla="*/ 285 h 575"/>
                <a:gd name="T60" fmla="*/ 422 w 649"/>
                <a:gd name="T61" fmla="*/ 348 h 575"/>
                <a:gd name="T62" fmla="*/ 422 w 649"/>
                <a:gd name="T63" fmla="*/ 285 h 575"/>
                <a:gd name="T64" fmla="*/ 163 w 649"/>
                <a:gd name="T65" fmla="*/ 426 h 575"/>
                <a:gd name="T66" fmla="*/ 254 w 649"/>
                <a:gd name="T67" fmla="*/ 426 h 575"/>
                <a:gd name="T68" fmla="*/ 209 w 649"/>
                <a:gd name="T69" fmla="*/ 394 h 575"/>
                <a:gd name="T70" fmla="*/ 209 w 649"/>
                <a:gd name="T71" fmla="*/ 458 h 575"/>
                <a:gd name="T72" fmla="*/ 209 w 649"/>
                <a:gd name="T73" fmla="*/ 394 h 575"/>
                <a:gd name="T74" fmla="*/ 270 w 649"/>
                <a:gd name="T75" fmla="*/ 426 h 575"/>
                <a:gd name="T76" fmla="*/ 361 w 649"/>
                <a:gd name="T77" fmla="*/ 426 h 575"/>
                <a:gd name="T78" fmla="*/ 316 w 649"/>
                <a:gd name="T79" fmla="*/ 394 h 575"/>
                <a:gd name="T80" fmla="*/ 316 w 649"/>
                <a:gd name="T81" fmla="*/ 458 h 575"/>
                <a:gd name="T82" fmla="*/ 316 w 649"/>
                <a:gd name="T83" fmla="*/ 394 h 575"/>
                <a:gd name="T84" fmla="*/ 377 w 649"/>
                <a:gd name="T85" fmla="*/ 426 h 575"/>
                <a:gd name="T86" fmla="*/ 468 w 649"/>
                <a:gd name="T87" fmla="*/ 426 h 575"/>
                <a:gd name="T88" fmla="*/ 422 w 649"/>
                <a:gd name="T89" fmla="*/ 394 h 575"/>
                <a:gd name="T90" fmla="*/ 422 w 649"/>
                <a:gd name="T91" fmla="*/ 458 h 575"/>
                <a:gd name="T92" fmla="*/ 422 w 649"/>
                <a:gd name="T93" fmla="*/ 394 h 575"/>
                <a:gd name="T94" fmla="*/ 163 w 649"/>
                <a:gd name="T95" fmla="*/ 529 h 575"/>
                <a:gd name="T96" fmla="*/ 254 w 649"/>
                <a:gd name="T97" fmla="*/ 529 h 575"/>
                <a:gd name="T98" fmla="*/ 209 w 649"/>
                <a:gd name="T99" fmla="*/ 497 h 575"/>
                <a:gd name="T100" fmla="*/ 209 w 649"/>
                <a:gd name="T101" fmla="*/ 561 h 575"/>
                <a:gd name="T102" fmla="*/ 209 w 649"/>
                <a:gd name="T103" fmla="*/ 497 h 575"/>
                <a:gd name="T104" fmla="*/ 270 w 649"/>
                <a:gd name="T105" fmla="*/ 529 h 575"/>
                <a:gd name="T106" fmla="*/ 361 w 649"/>
                <a:gd name="T107" fmla="*/ 529 h 575"/>
                <a:gd name="T108" fmla="*/ 316 w 649"/>
                <a:gd name="T109" fmla="*/ 497 h 575"/>
                <a:gd name="T110" fmla="*/ 316 w 649"/>
                <a:gd name="T111" fmla="*/ 561 h 575"/>
                <a:gd name="T112" fmla="*/ 316 w 649"/>
                <a:gd name="T113" fmla="*/ 497 h 575"/>
                <a:gd name="T114" fmla="*/ 377 w 649"/>
                <a:gd name="T115" fmla="*/ 529 h 575"/>
                <a:gd name="T116" fmla="*/ 468 w 649"/>
                <a:gd name="T117" fmla="*/ 529 h 575"/>
                <a:gd name="T118" fmla="*/ 422 w 649"/>
                <a:gd name="T119" fmla="*/ 497 h 575"/>
                <a:gd name="T120" fmla="*/ 422 w 649"/>
                <a:gd name="T121" fmla="*/ 561 h 575"/>
                <a:gd name="T122" fmla="*/ 422 w 649"/>
                <a:gd name="T123" fmla="*/ 497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49" h="575">
                  <a:moveTo>
                    <a:pt x="601" y="226"/>
                  </a:moveTo>
                  <a:cubicBezTo>
                    <a:pt x="601" y="226"/>
                    <a:pt x="601" y="226"/>
                    <a:pt x="601" y="226"/>
                  </a:cubicBezTo>
                  <a:cubicBezTo>
                    <a:pt x="573" y="226"/>
                    <a:pt x="469" y="202"/>
                    <a:pt x="461" y="186"/>
                  </a:cubicBezTo>
                  <a:cubicBezTo>
                    <a:pt x="458" y="180"/>
                    <a:pt x="454" y="166"/>
                    <a:pt x="449" y="150"/>
                  </a:cubicBezTo>
                  <a:cubicBezTo>
                    <a:pt x="445" y="135"/>
                    <a:pt x="440" y="118"/>
                    <a:pt x="437" y="110"/>
                  </a:cubicBezTo>
                  <a:cubicBezTo>
                    <a:pt x="433" y="102"/>
                    <a:pt x="389" y="92"/>
                    <a:pt x="324" y="92"/>
                  </a:cubicBezTo>
                  <a:cubicBezTo>
                    <a:pt x="260" y="92"/>
                    <a:pt x="216" y="102"/>
                    <a:pt x="212" y="110"/>
                  </a:cubicBezTo>
                  <a:cubicBezTo>
                    <a:pt x="209" y="118"/>
                    <a:pt x="204" y="135"/>
                    <a:pt x="200" y="150"/>
                  </a:cubicBezTo>
                  <a:cubicBezTo>
                    <a:pt x="195" y="166"/>
                    <a:pt x="191" y="180"/>
                    <a:pt x="188" y="186"/>
                  </a:cubicBezTo>
                  <a:cubicBezTo>
                    <a:pt x="180" y="202"/>
                    <a:pt x="75" y="226"/>
                    <a:pt x="46" y="226"/>
                  </a:cubicBezTo>
                  <a:cubicBezTo>
                    <a:pt x="41" y="226"/>
                    <a:pt x="37" y="226"/>
                    <a:pt x="35" y="224"/>
                  </a:cubicBezTo>
                  <a:cubicBezTo>
                    <a:pt x="17" y="217"/>
                    <a:pt x="8" y="189"/>
                    <a:pt x="5" y="168"/>
                  </a:cubicBezTo>
                  <a:cubicBezTo>
                    <a:pt x="0" y="144"/>
                    <a:pt x="0" y="116"/>
                    <a:pt x="4" y="100"/>
                  </a:cubicBezTo>
                  <a:cubicBezTo>
                    <a:pt x="18" y="43"/>
                    <a:pt x="156" y="0"/>
                    <a:pt x="324" y="0"/>
                  </a:cubicBezTo>
                  <a:cubicBezTo>
                    <a:pt x="501" y="0"/>
                    <a:pt x="636" y="42"/>
                    <a:pt x="645" y="100"/>
                  </a:cubicBezTo>
                  <a:cubicBezTo>
                    <a:pt x="649" y="131"/>
                    <a:pt x="644" y="211"/>
                    <a:pt x="612" y="224"/>
                  </a:cubicBezTo>
                  <a:cubicBezTo>
                    <a:pt x="610" y="226"/>
                    <a:pt x="606" y="226"/>
                    <a:pt x="601" y="226"/>
                  </a:cubicBezTo>
                  <a:close/>
                  <a:moveTo>
                    <a:pt x="473" y="179"/>
                  </a:moveTo>
                  <a:cubicBezTo>
                    <a:pt x="482" y="187"/>
                    <a:pt x="567" y="212"/>
                    <a:pt x="601" y="212"/>
                  </a:cubicBezTo>
                  <a:cubicBezTo>
                    <a:pt x="601" y="212"/>
                    <a:pt x="601" y="212"/>
                    <a:pt x="601" y="212"/>
                  </a:cubicBezTo>
                  <a:cubicBezTo>
                    <a:pt x="605" y="212"/>
                    <a:pt x="607" y="212"/>
                    <a:pt x="607" y="211"/>
                  </a:cubicBezTo>
                  <a:cubicBezTo>
                    <a:pt x="616" y="208"/>
                    <a:pt x="624" y="191"/>
                    <a:pt x="629" y="166"/>
                  </a:cubicBezTo>
                  <a:cubicBezTo>
                    <a:pt x="633" y="141"/>
                    <a:pt x="633" y="115"/>
                    <a:pt x="631" y="102"/>
                  </a:cubicBezTo>
                  <a:cubicBezTo>
                    <a:pt x="624" y="59"/>
                    <a:pt x="508" y="14"/>
                    <a:pt x="324" y="14"/>
                  </a:cubicBezTo>
                  <a:cubicBezTo>
                    <a:pt x="146" y="14"/>
                    <a:pt x="29" y="59"/>
                    <a:pt x="18" y="103"/>
                  </a:cubicBezTo>
                  <a:cubicBezTo>
                    <a:pt x="10" y="134"/>
                    <a:pt x="19" y="203"/>
                    <a:pt x="40" y="211"/>
                  </a:cubicBezTo>
                  <a:cubicBezTo>
                    <a:pt x="40" y="212"/>
                    <a:pt x="42" y="212"/>
                    <a:pt x="46" y="212"/>
                  </a:cubicBezTo>
                  <a:cubicBezTo>
                    <a:pt x="80" y="212"/>
                    <a:pt x="167" y="187"/>
                    <a:pt x="176" y="179"/>
                  </a:cubicBezTo>
                  <a:cubicBezTo>
                    <a:pt x="178" y="174"/>
                    <a:pt x="182" y="160"/>
                    <a:pt x="186" y="146"/>
                  </a:cubicBezTo>
                  <a:cubicBezTo>
                    <a:pt x="191" y="130"/>
                    <a:pt x="195" y="113"/>
                    <a:pt x="199" y="104"/>
                  </a:cubicBezTo>
                  <a:cubicBezTo>
                    <a:pt x="203" y="97"/>
                    <a:pt x="222" y="78"/>
                    <a:pt x="324" y="78"/>
                  </a:cubicBezTo>
                  <a:cubicBezTo>
                    <a:pt x="427" y="78"/>
                    <a:pt x="446" y="97"/>
                    <a:pt x="450" y="104"/>
                  </a:cubicBezTo>
                  <a:cubicBezTo>
                    <a:pt x="454" y="113"/>
                    <a:pt x="458" y="130"/>
                    <a:pt x="463" y="146"/>
                  </a:cubicBezTo>
                  <a:cubicBezTo>
                    <a:pt x="467" y="160"/>
                    <a:pt x="471" y="174"/>
                    <a:pt x="473" y="179"/>
                  </a:cubicBezTo>
                  <a:close/>
                  <a:moveTo>
                    <a:pt x="209" y="362"/>
                  </a:moveTo>
                  <a:cubicBezTo>
                    <a:pt x="184" y="362"/>
                    <a:pt x="163" y="341"/>
                    <a:pt x="163" y="316"/>
                  </a:cubicBezTo>
                  <a:cubicBezTo>
                    <a:pt x="163" y="291"/>
                    <a:pt x="184" y="271"/>
                    <a:pt x="209" y="271"/>
                  </a:cubicBezTo>
                  <a:cubicBezTo>
                    <a:pt x="234" y="271"/>
                    <a:pt x="254" y="291"/>
                    <a:pt x="254" y="316"/>
                  </a:cubicBezTo>
                  <a:cubicBezTo>
                    <a:pt x="254" y="341"/>
                    <a:pt x="234" y="362"/>
                    <a:pt x="209" y="362"/>
                  </a:cubicBezTo>
                  <a:close/>
                  <a:moveTo>
                    <a:pt x="209" y="285"/>
                  </a:moveTo>
                  <a:cubicBezTo>
                    <a:pt x="191" y="285"/>
                    <a:pt x="177" y="299"/>
                    <a:pt x="177" y="316"/>
                  </a:cubicBezTo>
                  <a:cubicBezTo>
                    <a:pt x="177" y="334"/>
                    <a:pt x="191" y="348"/>
                    <a:pt x="209" y="348"/>
                  </a:cubicBezTo>
                  <a:cubicBezTo>
                    <a:pt x="226" y="348"/>
                    <a:pt x="240" y="334"/>
                    <a:pt x="240" y="316"/>
                  </a:cubicBezTo>
                  <a:cubicBezTo>
                    <a:pt x="240" y="299"/>
                    <a:pt x="226" y="285"/>
                    <a:pt x="209" y="285"/>
                  </a:cubicBezTo>
                  <a:close/>
                  <a:moveTo>
                    <a:pt x="316" y="362"/>
                  </a:moveTo>
                  <a:cubicBezTo>
                    <a:pt x="290" y="362"/>
                    <a:pt x="270" y="341"/>
                    <a:pt x="270" y="316"/>
                  </a:cubicBezTo>
                  <a:cubicBezTo>
                    <a:pt x="270" y="291"/>
                    <a:pt x="290" y="271"/>
                    <a:pt x="316" y="271"/>
                  </a:cubicBezTo>
                  <a:cubicBezTo>
                    <a:pt x="341" y="271"/>
                    <a:pt x="361" y="291"/>
                    <a:pt x="361" y="316"/>
                  </a:cubicBezTo>
                  <a:cubicBezTo>
                    <a:pt x="361" y="341"/>
                    <a:pt x="341" y="362"/>
                    <a:pt x="316" y="362"/>
                  </a:cubicBezTo>
                  <a:close/>
                  <a:moveTo>
                    <a:pt x="316" y="285"/>
                  </a:moveTo>
                  <a:cubicBezTo>
                    <a:pt x="298" y="285"/>
                    <a:pt x="284" y="299"/>
                    <a:pt x="284" y="316"/>
                  </a:cubicBezTo>
                  <a:cubicBezTo>
                    <a:pt x="284" y="334"/>
                    <a:pt x="298" y="348"/>
                    <a:pt x="316" y="348"/>
                  </a:cubicBezTo>
                  <a:cubicBezTo>
                    <a:pt x="333" y="348"/>
                    <a:pt x="347" y="334"/>
                    <a:pt x="347" y="316"/>
                  </a:cubicBezTo>
                  <a:cubicBezTo>
                    <a:pt x="347" y="299"/>
                    <a:pt x="333" y="285"/>
                    <a:pt x="316" y="285"/>
                  </a:cubicBezTo>
                  <a:close/>
                  <a:moveTo>
                    <a:pt x="422" y="362"/>
                  </a:moveTo>
                  <a:cubicBezTo>
                    <a:pt x="397" y="362"/>
                    <a:pt x="377" y="341"/>
                    <a:pt x="377" y="316"/>
                  </a:cubicBezTo>
                  <a:cubicBezTo>
                    <a:pt x="377" y="291"/>
                    <a:pt x="397" y="271"/>
                    <a:pt x="422" y="271"/>
                  </a:cubicBezTo>
                  <a:cubicBezTo>
                    <a:pt x="448" y="271"/>
                    <a:pt x="468" y="291"/>
                    <a:pt x="468" y="316"/>
                  </a:cubicBezTo>
                  <a:cubicBezTo>
                    <a:pt x="468" y="341"/>
                    <a:pt x="448" y="362"/>
                    <a:pt x="422" y="362"/>
                  </a:cubicBezTo>
                  <a:close/>
                  <a:moveTo>
                    <a:pt x="422" y="285"/>
                  </a:moveTo>
                  <a:cubicBezTo>
                    <a:pt x="405" y="285"/>
                    <a:pt x="391" y="299"/>
                    <a:pt x="391" y="316"/>
                  </a:cubicBezTo>
                  <a:cubicBezTo>
                    <a:pt x="391" y="334"/>
                    <a:pt x="405" y="348"/>
                    <a:pt x="422" y="348"/>
                  </a:cubicBezTo>
                  <a:cubicBezTo>
                    <a:pt x="440" y="348"/>
                    <a:pt x="454" y="334"/>
                    <a:pt x="454" y="316"/>
                  </a:cubicBezTo>
                  <a:cubicBezTo>
                    <a:pt x="454" y="299"/>
                    <a:pt x="440" y="285"/>
                    <a:pt x="422" y="285"/>
                  </a:cubicBezTo>
                  <a:close/>
                  <a:moveTo>
                    <a:pt x="209" y="472"/>
                  </a:moveTo>
                  <a:cubicBezTo>
                    <a:pt x="184" y="472"/>
                    <a:pt x="163" y="451"/>
                    <a:pt x="163" y="426"/>
                  </a:cubicBezTo>
                  <a:cubicBezTo>
                    <a:pt x="163" y="401"/>
                    <a:pt x="184" y="380"/>
                    <a:pt x="209" y="380"/>
                  </a:cubicBezTo>
                  <a:cubicBezTo>
                    <a:pt x="234" y="380"/>
                    <a:pt x="254" y="401"/>
                    <a:pt x="254" y="426"/>
                  </a:cubicBezTo>
                  <a:cubicBezTo>
                    <a:pt x="254" y="451"/>
                    <a:pt x="234" y="472"/>
                    <a:pt x="209" y="472"/>
                  </a:cubicBezTo>
                  <a:close/>
                  <a:moveTo>
                    <a:pt x="209" y="394"/>
                  </a:moveTo>
                  <a:cubicBezTo>
                    <a:pt x="191" y="394"/>
                    <a:pt x="177" y="409"/>
                    <a:pt x="177" y="426"/>
                  </a:cubicBezTo>
                  <a:cubicBezTo>
                    <a:pt x="177" y="443"/>
                    <a:pt x="191" y="458"/>
                    <a:pt x="209" y="458"/>
                  </a:cubicBezTo>
                  <a:cubicBezTo>
                    <a:pt x="226" y="458"/>
                    <a:pt x="240" y="443"/>
                    <a:pt x="240" y="426"/>
                  </a:cubicBezTo>
                  <a:cubicBezTo>
                    <a:pt x="240" y="409"/>
                    <a:pt x="226" y="394"/>
                    <a:pt x="209" y="394"/>
                  </a:cubicBezTo>
                  <a:close/>
                  <a:moveTo>
                    <a:pt x="316" y="472"/>
                  </a:moveTo>
                  <a:cubicBezTo>
                    <a:pt x="290" y="472"/>
                    <a:pt x="270" y="451"/>
                    <a:pt x="270" y="426"/>
                  </a:cubicBezTo>
                  <a:cubicBezTo>
                    <a:pt x="270" y="401"/>
                    <a:pt x="290" y="380"/>
                    <a:pt x="316" y="380"/>
                  </a:cubicBezTo>
                  <a:cubicBezTo>
                    <a:pt x="341" y="380"/>
                    <a:pt x="361" y="401"/>
                    <a:pt x="361" y="426"/>
                  </a:cubicBezTo>
                  <a:cubicBezTo>
                    <a:pt x="361" y="451"/>
                    <a:pt x="341" y="472"/>
                    <a:pt x="316" y="472"/>
                  </a:cubicBezTo>
                  <a:close/>
                  <a:moveTo>
                    <a:pt x="316" y="394"/>
                  </a:moveTo>
                  <a:cubicBezTo>
                    <a:pt x="298" y="394"/>
                    <a:pt x="284" y="409"/>
                    <a:pt x="284" y="426"/>
                  </a:cubicBezTo>
                  <a:cubicBezTo>
                    <a:pt x="284" y="443"/>
                    <a:pt x="298" y="458"/>
                    <a:pt x="316" y="458"/>
                  </a:cubicBezTo>
                  <a:cubicBezTo>
                    <a:pt x="333" y="458"/>
                    <a:pt x="347" y="443"/>
                    <a:pt x="347" y="426"/>
                  </a:cubicBezTo>
                  <a:cubicBezTo>
                    <a:pt x="347" y="409"/>
                    <a:pt x="333" y="394"/>
                    <a:pt x="316" y="394"/>
                  </a:cubicBezTo>
                  <a:close/>
                  <a:moveTo>
                    <a:pt x="422" y="472"/>
                  </a:moveTo>
                  <a:cubicBezTo>
                    <a:pt x="397" y="472"/>
                    <a:pt x="377" y="451"/>
                    <a:pt x="377" y="426"/>
                  </a:cubicBezTo>
                  <a:cubicBezTo>
                    <a:pt x="377" y="401"/>
                    <a:pt x="397" y="380"/>
                    <a:pt x="422" y="380"/>
                  </a:cubicBezTo>
                  <a:cubicBezTo>
                    <a:pt x="448" y="380"/>
                    <a:pt x="468" y="401"/>
                    <a:pt x="468" y="426"/>
                  </a:cubicBezTo>
                  <a:cubicBezTo>
                    <a:pt x="468" y="451"/>
                    <a:pt x="448" y="472"/>
                    <a:pt x="422" y="472"/>
                  </a:cubicBezTo>
                  <a:close/>
                  <a:moveTo>
                    <a:pt x="422" y="394"/>
                  </a:moveTo>
                  <a:cubicBezTo>
                    <a:pt x="405" y="394"/>
                    <a:pt x="391" y="409"/>
                    <a:pt x="391" y="426"/>
                  </a:cubicBezTo>
                  <a:cubicBezTo>
                    <a:pt x="391" y="443"/>
                    <a:pt x="405" y="458"/>
                    <a:pt x="422" y="458"/>
                  </a:cubicBezTo>
                  <a:cubicBezTo>
                    <a:pt x="440" y="458"/>
                    <a:pt x="454" y="443"/>
                    <a:pt x="454" y="426"/>
                  </a:cubicBezTo>
                  <a:cubicBezTo>
                    <a:pt x="454" y="409"/>
                    <a:pt x="440" y="394"/>
                    <a:pt x="422" y="394"/>
                  </a:cubicBezTo>
                  <a:close/>
                  <a:moveTo>
                    <a:pt x="209" y="575"/>
                  </a:moveTo>
                  <a:cubicBezTo>
                    <a:pt x="184" y="575"/>
                    <a:pt x="163" y="554"/>
                    <a:pt x="163" y="529"/>
                  </a:cubicBezTo>
                  <a:cubicBezTo>
                    <a:pt x="163" y="504"/>
                    <a:pt x="184" y="483"/>
                    <a:pt x="209" y="483"/>
                  </a:cubicBezTo>
                  <a:cubicBezTo>
                    <a:pt x="234" y="483"/>
                    <a:pt x="254" y="504"/>
                    <a:pt x="254" y="529"/>
                  </a:cubicBezTo>
                  <a:cubicBezTo>
                    <a:pt x="254" y="554"/>
                    <a:pt x="234" y="575"/>
                    <a:pt x="209" y="575"/>
                  </a:cubicBezTo>
                  <a:close/>
                  <a:moveTo>
                    <a:pt x="209" y="497"/>
                  </a:moveTo>
                  <a:cubicBezTo>
                    <a:pt x="191" y="497"/>
                    <a:pt x="177" y="512"/>
                    <a:pt x="177" y="529"/>
                  </a:cubicBezTo>
                  <a:cubicBezTo>
                    <a:pt x="177" y="546"/>
                    <a:pt x="191" y="561"/>
                    <a:pt x="209" y="561"/>
                  </a:cubicBezTo>
                  <a:cubicBezTo>
                    <a:pt x="226" y="561"/>
                    <a:pt x="240" y="546"/>
                    <a:pt x="240" y="529"/>
                  </a:cubicBezTo>
                  <a:cubicBezTo>
                    <a:pt x="240" y="512"/>
                    <a:pt x="226" y="497"/>
                    <a:pt x="209" y="497"/>
                  </a:cubicBezTo>
                  <a:close/>
                  <a:moveTo>
                    <a:pt x="316" y="575"/>
                  </a:moveTo>
                  <a:cubicBezTo>
                    <a:pt x="290" y="575"/>
                    <a:pt x="270" y="554"/>
                    <a:pt x="270" y="529"/>
                  </a:cubicBezTo>
                  <a:cubicBezTo>
                    <a:pt x="270" y="504"/>
                    <a:pt x="290" y="483"/>
                    <a:pt x="316" y="483"/>
                  </a:cubicBezTo>
                  <a:cubicBezTo>
                    <a:pt x="341" y="483"/>
                    <a:pt x="361" y="504"/>
                    <a:pt x="361" y="529"/>
                  </a:cubicBezTo>
                  <a:cubicBezTo>
                    <a:pt x="361" y="554"/>
                    <a:pt x="341" y="575"/>
                    <a:pt x="316" y="575"/>
                  </a:cubicBezTo>
                  <a:close/>
                  <a:moveTo>
                    <a:pt x="316" y="497"/>
                  </a:moveTo>
                  <a:cubicBezTo>
                    <a:pt x="298" y="497"/>
                    <a:pt x="284" y="512"/>
                    <a:pt x="284" y="529"/>
                  </a:cubicBezTo>
                  <a:cubicBezTo>
                    <a:pt x="284" y="546"/>
                    <a:pt x="298" y="561"/>
                    <a:pt x="316" y="561"/>
                  </a:cubicBezTo>
                  <a:cubicBezTo>
                    <a:pt x="333" y="561"/>
                    <a:pt x="347" y="546"/>
                    <a:pt x="347" y="529"/>
                  </a:cubicBezTo>
                  <a:cubicBezTo>
                    <a:pt x="347" y="512"/>
                    <a:pt x="333" y="497"/>
                    <a:pt x="316" y="497"/>
                  </a:cubicBezTo>
                  <a:close/>
                  <a:moveTo>
                    <a:pt x="422" y="575"/>
                  </a:moveTo>
                  <a:cubicBezTo>
                    <a:pt x="397" y="575"/>
                    <a:pt x="377" y="554"/>
                    <a:pt x="377" y="529"/>
                  </a:cubicBezTo>
                  <a:cubicBezTo>
                    <a:pt x="377" y="504"/>
                    <a:pt x="397" y="483"/>
                    <a:pt x="422" y="483"/>
                  </a:cubicBezTo>
                  <a:cubicBezTo>
                    <a:pt x="448" y="483"/>
                    <a:pt x="468" y="504"/>
                    <a:pt x="468" y="529"/>
                  </a:cubicBezTo>
                  <a:cubicBezTo>
                    <a:pt x="468" y="554"/>
                    <a:pt x="448" y="575"/>
                    <a:pt x="422" y="575"/>
                  </a:cubicBezTo>
                  <a:close/>
                  <a:moveTo>
                    <a:pt x="422" y="497"/>
                  </a:moveTo>
                  <a:cubicBezTo>
                    <a:pt x="405" y="497"/>
                    <a:pt x="391" y="512"/>
                    <a:pt x="391" y="529"/>
                  </a:cubicBezTo>
                  <a:cubicBezTo>
                    <a:pt x="391" y="546"/>
                    <a:pt x="405" y="561"/>
                    <a:pt x="422" y="561"/>
                  </a:cubicBezTo>
                  <a:cubicBezTo>
                    <a:pt x="440" y="561"/>
                    <a:pt x="454" y="546"/>
                    <a:pt x="454" y="529"/>
                  </a:cubicBezTo>
                  <a:cubicBezTo>
                    <a:pt x="454" y="512"/>
                    <a:pt x="440" y="497"/>
                    <a:pt x="422" y="49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9253" name="Group 9252"/>
          <p:cNvGrpSpPr/>
          <p:nvPr/>
        </p:nvGrpSpPr>
        <p:grpSpPr>
          <a:xfrm>
            <a:off x="3552358" y="1124036"/>
            <a:ext cx="822960" cy="822960"/>
            <a:chOff x="3541713" y="2476500"/>
            <a:chExt cx="949325" cy="949325"/>
          </a:xfrm>
        </p:grpSpPr>
        <p:sp>
          <p:nvSpPr>
            <p:cNvPr id="16" name="Oval 9"/>
            <p:cNvSpPr>
              <a:spLocks noChangeArrowheads="1"/>
            </p:cNvSpPr>
            <p:nvPr/>
          </p:nvSpPr>
          <p:spPr bwMode="auto">
            <a:xfrm>
              <a:off x="3541713" y="2476500"/>
              <a:ext cx="949325" cy="9493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6" name="Freeform 19"/>
            <p:cNvSpPr>
              <a:spLocks noEditPoints="1"/>
            </p:cNvSpPr>
            <p:nvPr/>
          </p:nvSpPr>
          <p:spPr bwMode="auto">
            <a:xfrm>
              <a:off x="3775075" y="2730500"/>
              <a:ext cx="482600" cy="441325"/>
            </a:xfrm>
            <a:custGeom>
              <a:avLst/>
              <a:gdLst>
                <a:gd name="T0" fmla="*/ 129 w 540"/>
                <a:gd name="T1" fmla="*/ 0 h 493"/>
                <a:gd name="T2" fmla="*/ 84 w 540"/>
                <a:gd name="T3" fmla="*/ 82 h 493"/>
                <a:gd name="T4" fmla="*/ 0 w 540"/>
                <a:gd name="T5" fmla="*/ 127 h 493"/>
                <a:gd name="T6" fmla="*/ 49 w 540"/>
                <a:gd name="T7" fmla="*/ 493 h 493"/>
                <a:gd name="T8" fmla="*/ 540 w 540"/>
                <a:gd name="T9" fmla="*/ 449 h 493"/>
                <a:gd name="T10" fmla="*/ 495 w 540"/>
                <a:gd name="T11" fmla="*/ 0 h 493"/>
                <a:gd name="T12" fmla="*/ 14 w 540"/>
                <a:gd name="T13" fmla="*/ 127 h 493"/>
                <a:gd name="T14" fmla="*/ 84 w 540"/>
                <a:gd name="T15" fmla="*/ 96 h 493"/>
                <a:gd name="T16" fmla="*/ 49 w 540"/>
                <a:gd name="T17" fmla="*/ 479 h 493"/>
                <a:gd name="T18" fmla="*/ 526 w 540"/>
                <a:gd name="T19" fmla="*/ 449 h 493"/>
                <a:gd name="T20" fmla="*/ 84 w 540"/>
                <a:gd name="T21" fmla="*/ 479 h 493"/>
                <a:gd name="T22" fmla="*/ 98 w 540"/>
                <a:gd name="T23" fmla="*/ 44 h 493"/>
                <a:gd name="T24" fmla="*/ 495 w 540"/>
                <a:gd name="T25" fmla="*/ 14 h 493"/>
                <a:gd name="T26" fmla="*/ 526 w 540"/>
                <a:gd name="T27" fmla="*/ 449 h 493"/>
                <a:gd name="T28" fmla="*/ 289 w 540"/>
                <a:gd name="T29" fmla="*/ 107 h 493"/>
                <a:gd name="T30" fmla="*/ 163 w 540"/>
                <a:gd name="T31" fmla="*/ 100 h 493"/>
                <a:gd name="T32" fmla="*/ 289 w 540"/>
                <a:gd name="T33" fmla="*/ 93 h 493"/>
                <a:gd name="T34" fmla="*/ 464 w 540"/>
                <a:gd name="T35" fmla="*/ 100 h 493"/>
                <a:gd name="T36" fmla="*/ 338 w 540"/>
                <a:gd name="T37" fmla="*/ 107 h 493"/>
                <a:gd name="T38" fmla="*/ 338 w 540"/>
                <a:gd name="T39" fmla="*/ 93 h 493"/>
                <a:gd name="T40" fmla="*/ 464 w 540"/>
                <a:gd name="T41" fmla="*/ 100 h 493"/>
                <a:gd name="T42" fmla="*/ 289 w 540"/>
                <a:gd name="T43" fmla="*/ 195 h 493"/>
                <a:gd name="T44" fmla="*/ 163 w 540"/>
                <a:gd name="T45" fmla="*/ 188 h 493"/>
                <a:gd name="T46" fmla="*/ 289 w 540"/>
                <a:gd name="T47" fmla="*/ 181 h 493"/>
                <a:gd name="T48" fmla="*/ 296 w 540"/>
                <a:gd name="T49" fmla="*/ 276 h 493"/>
                <a:gd name="T50" fmla="*/ 170 w 540"/>
                <a:gd name="T51" fmla="*/ 283 h 493"/>
                <a:gd name="T52" fmla="*/ 170 w 540"/>
                <a:gd name="T53" fmla="*/ 269 h 493"/>
                <a:gd name="T54" fmla="*/ 296 w 540"/>
                <a:gd name="T55" fmla="*/ 276 h 493"/>
                <a:gd name="T56" fmla="*/ 289 w 540"/>
                <a:gd name="T57" fmla="*/ 371 h 493"/>
                <a:gd name="T58" fmla="*/ 163 w 540"/>
                <a:gd name="T59" fmla="*/ 364 h 493"/>
                <a:gd name="T60" fmla="*/ 289 w 540"/>
                <a:gd name="T61" fmla="*/ 357 h 493"/>
                <a:gd name="T62" fmla="*/ 457 w 540"/>
                <a:gd name="T63" fmla="*/ 181 h 493"/>
                <a:gd name="T64" fmla="*/ 331 w 540"/>
                <a:gd name="T65" fmla="*/ 188 h 493"/>
                <a:gd name="T66" fmla="*/ 338 w 540"/>
                <a:gd name="T67" fmla="*/ 371 h 493"/>
                <a:gd name="T68" fmla="*/ 464 w 540"/>
                <a:gd name="T69" fmla="*/ 364 h 493"/>
                <a:gd name="T70" fmla="*/ 457 w 540"/>
                <a:gd name="T71" fmla="*/ 181 h 493"/>
                <a:gd name="T72" fmla="*/ 345 w 540"/>
                <a:gd name="T73" fmla="*/ 357 h 493"/>
                <a:gd name="T74" fmla="*/ 450 w 540"/>
                <a:gd name="T75" fmla="*/ 195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40" h="493">
                  <a:moveTo>
                    <a:pt x="495" y="0"/>
                  </a:moveTo>
                  <a:cubicBezTo>
                    <a:pt x="129" y="0"/>
                    <a:pt x="129" y="0"/>
                    <a:pt x="129" y="0"/>
                  </a:cubicBezTo>
                  <a:cubicBezTo>
                    <a:pt x="104" y="0"/>
                    <a:pt x="84" y="20"/>
                    <a:pt x="84" y="44"/>
                  </a:cubicBezTo>
                  <a:cubicBezTo>
                    <a:pt x="84" y="82"/>
                    <a:pt x="84" y="82"/>
                    <a:pt x="84" y="82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20" y="82"/>
                    <a:pt x="0" y="102"/>
                    <a:pt x="0" y="127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472"/>
                    <a:pt x="23" y="493"/>
                    <a:pt x="49" y="493"/>
                  </a:cubicBezTo>
                  <a:cubicBezTo>
                    <a:pt x="495" y="493"/>
                    <a:pt x="495" y="493"/>
                    <a:pt x="495" y="493"/>
                  </a:cubicBezTo>
                  <a:cubicBezTo>
                    <a:pt x="520" y="493"/>
                    <a:pt x="540" y="473"/>
                    <a:pt x="540" y="449"/>
                  </a:cubicBezTo>
                  <a:cubicBezTo>
                    <a:pt x="540" y="44"/>
                    <a:pt x="540" y="44"/>
                    <a:pt x="540" y="44"/>
                  </a:cubicBezTo>
                  <a:cubicBezTo>
                    <a:pt x="540" y="20"/>
                    <a:pt x="520" y="0"/>
                    <a:pt x="495" y="0"/>
                  </a:cubicBezTo>
                  <a:close/>
                  <a:moveTo>
                    <a:pt x="14" y="449"/>
                  </a:moveTo>
                  <a:cubicBezTo>
                    <a:pt x="14" y="127"/>
                    <a:pt x="14" y="127"/>
                    <a:pt x="14" y="127"/>
                  </a:cubicBezTo>
                  <a:cubicBezTo>
                    <a:pt x="14" y="110"/>
                    <a:pt x="28" y="96"/>
                    <a:pt x="45" y="96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4" y="449"/>
                    <a:pt x="84" y="449"/>
                    <a:pt x="84" y="449"/>
                  </a:cubicBezTo>
                  <a:cubicBezTo>
                    <a:pt x="84" y="465"/>
                    <a:pt x="67" y="479"/>
                    <a:pt x="49" y="479"/>
                  </a:cubicBezTo>
                  <a:cubicBezTo>
                    <a:pt x="32" y="479"/>
                    <a:pt x="14" y="466"/>
                    <a:pt x="14" y="449"/>
                  </a:cubicBezTo>
                  <a:close/>
                  <a:moveTo>
                    <a:pt x="526" y="449"/>
                  </a:moveTo>
                  <a:cubicBezTo>
                    <a:pt x="526" y="465"/>
                    <a:pt x="512" y="479"/>
                    <a:pt x="495" y="479"/>
                  </a:cubicBezTo>
                  <a:cubicBezTo>
                    <a:pt x="84" y="479"/>
                    <a:pt x="84" y="479"/>
                    <a:pt x="84" y="479"/>
                  </a:cubicBezTo>
                  <a:cubicBezTo>
                    <a:pt x="93" y="471"/>
                    <a:pt x="98" y="460"/>
                    <a:pt x="98" y="449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8" y="27"/>
                    <a:pt x="112" y="14"/>
                    <a:pt x="129" y="14"/>
                  </a:cubicBezTo>
                  <a:cubicBezTo>
                    <a:pt x="495" y="14"/>
                    <a:pt x="495" y="14"/>
                    <a:pt x="495" y="14"/>
                  </a:cubicBezTo>
                  <a:cubicBezTo>
                    <a:pt x="512" y="14"/>
                    <a:pt x="526" y="27"/>
                    <a:pt x="526" y="44"/>
                  </a:cubicBezTo>
                  <a:lnTo>
                    <a:pt x="526" y="449"/>
                  </a:lnTo>
                  <a:close/>
                  <a:moveTo>
                    <a:pt x="296" y="100"/>
                  </a:moveTo>
                  <a:cubicBezTo>
                    <a:pt x="296" y="104"/>
                    <a:pt x="293" y="107"/>
                    <a:pt x="289" y="107"/>
                  </a:cubicBezTo>
                  <a:cubicBezTo>
                    <a:pt x="170" y="107"/>
                    <a:pt x="170" y="107"/>
                    <a:pt x="170" y="107"/>
                  </a:cubicBezTo>
                  <a:cubicBezTo>
                    <a:pt x="166" y="107"/>
                    <a:pt x="163" y="104"/>
                    <a:pt x="163" y="100"/>
                  </a:cubicBezTo>
                  <a:cubicBezTo>
                    <a:pt x="163" y="96"/>
                    <a:pt x="166" y="93"/>
                    <a:pt x="170" y="93"/>
                  </a:cubicBezTo>
                  <a:cubicBezTo>
                    <a:pt x="289" y="93"/>
                    <a:pt x="289" y="93"/>
                    <a:pt x="289" y="93"/>
                  </a:cubicBezTo>
                  <a:cubicBezTo>
                    <a:pt x="293" y="93"/>
                    <a:pt x="296" y="96"/>
                    <a:pt x="296" y="100"/>
                  </a:cubicBezTo>
                  <a:close/>
                  <a:moveTo>
                    <a:pt x="464" y="100"/>
                  </a:moveTo>
                  <a:cubicBezTo>
                    <a:pt x="464" y="104"/>
                    <a:pt x="461" y="107"/>
                    <a:pt x="457" y="107"/>
                  </a:cubicBezTo>
                  <a:cubicBezTo>
                    <a:pt x="338" y="107"/>
                    <a:pt x="338" y="107"/>
                    <a:pt x="338" y="107"/>
                  </a:cubicBezTo>
                  <a:cubicBezTo>
                    <a:pt x="335" y="107"/>
                    <a:pt x="331" y="104"/>
                    <a:pt x="331" y="100"/>
                  </a:cubicBezTo>
                  <a:cubicBezTo>
                    <a:pt x="331" y="96"/>
                    <a:pt x="335" y="93"/>
                    <a:pt x="338" y="93"/>
                  </a:cubicBezTo>
                  <a:cubicBezTo>
                    <a:pt x="457" y="93"/>
                    <a:pt x="457" y="93"/>
                    <a:pt x="457" y="93"/>
                  </a:cubicBezTo>
                  <a:cubicBezTo>
                    <a:pt x="461" y="93"/>
                    <a:pt x="464" y="96"/>
                    <a:pt x="464" y="100"/>
                  </a:cubicBezTo>
                  <a:close/>
                  <a:moveTo>
                    <a:pt x="296" y="188"/>
                  </a:moveTo>
                  <a:cubicBezTo>
                    <a:pt x="296" y="192"/>
                    <a:pt x="293" y="195"/>
                    <a:pt x="289" y="195"/>
                  </a:cubicBezTo>
                  <a:cubicBezTo>
                    <a:pt x="170" y="195"/>
                    <a:pt x="170" y="195"/>
                    <a:pt x="170" y="195"/>
                  </a:cubicBezTo>
                  <a:cubicBezTo>
                    <a:pt x="166" y="195"/>
                    <a:pt x="163" y="192"/>
                    <a:pt x="163" y="188"/>
                  </a:cubicBezTo>
                  <a:cubicBezTo>
                    <a:pt x="163" y="184"/>
                    <a:pt x="166" y="181"/>
                    <a:pt x="170" y="181"/>
                  </a:cubicBezTo>
                  <a:cubicBezTo>
                    <a:pt x="289" y="181"/>
                    <a:pt x="289" y="181"/>
                    <a:pt x="289" y="181"/>
                  </a:cubicBezTo>
                  <a:cubicBezTo>
                    <a:pt x="293" y="181"/>
                    <a:pt x="296" y="184"/>
                    <a:pt x="296" y="188"/>
                  </a:cubicBezTo>
                  <a:close/>
                  <a:moveTo>
                    <a:pt x="296" y="276"/>
                  </a:moveTo>
                  <a:cubicBezTo>
                    <a:pt x="296" y="280"/>
                    <a:pt x="293" y="283"/>
                    <a:pt x="289" y="283"/>
                  </a:cubicBezTo>
                  <a:cubicBezTo>
                    <a:pt x="170" y="283"/>
                    <a:pt x="170" y="283"/>
                    <a:pt x="170" y="283"/>
                  </a:cubicBezTo>
                  <a:cubicBezTo>
                    <a:pt x="166" y="283"/>
                    <a:pt x="163" y="280"/>
                    <a:pt x="163" y="276"/>
                  </a:cubicBezTo>
                  <a:cubicBezTo>
                    <a:pt x="163" y="272"/>
                    <a:pt x="166" y="269"/>
                    <a:pt x="170" y="269"/>
                  </a:cubicBezTo>
                  <a:cubicBezTo>
                    <a:pt x="289" y="269"/>
                    <a:pt x="289" y="269"/>
                    <a:pt x="289" y="269"/>
                  </a:cubicBezTo>
                  <a:cubicBezTo>
                    <a:pt x="293" y="269"/>
                    <a:pt x="296" y="272"/>
                    <a:pt x="296" y="276"/>
                  </a:cubicBezTo>
                  <a:close/>
                  <a:moveTo>
                    <a:pt x="296" y="364"/>
                  </a:moveTo>
                  <a:cubicBezTo>
                    <a:pt x="296" y="367"/>
                    <a:pt x="293" y="371"/>
                    <a:pt x="289" y="371"/>
                  </a:cubicBezTo>
                  <a:cubicBezTo>
                    <a:pt x="170" y="371"/>
                    <a:pt x="170" y="371"/>
                    <a:pt x="170" y="371"/>
                  </a:cubicBezTo>
                  <a:cubicBezTo>
                    <a:pt x="166" y="371"/>
                    <a:pt x="163" y="367"/>
                    <a:pt x="163" y="364"/>
                  </a:cubicBezTo>
                  <a:cubicBezTo>
                    <a:pt x="163" y="360"/>
                    <a:pt x="166" y="357"/>
                    <a:pt x="170" y="357"/>
                  </a:cubicBezTo>
                  <a:cubicBezTo>
                    <a:pt x="289" y="357"/>
                    <a:pt x="289" y="357"/>
                    <a:pt x="289" y="357"/>
                  </a:cubicBezTo>
                  <a:cubicBezTo>
                    <a:pt x="293" y="357"/>
                    <a:pt x="296" y="360"/>
                    <a:pt x="296" y="364"/>
                  </a:cubicBezTo>
                  <a:close/>
                  <a:moveTo>
                    <a:pt x="457" y="181"/>
                  </a:moveTo>
                  <a:cubicBezTo>
                    <a:pt x="338" y="181"/>
                    <a:pt x="338" y="181"/>
                    <a:pt x="338" y="181"/>
                  </a:cubicBezTo>
                  <a:cubicBezTo>
                    <a:pt x="335" y="181"/>
                    <a:pt x="331" y="184"/>
                    <a:pt x="331" y="188"/>
                  </a:cubicBezTo>
                  <a:cubicBezTo>
                    <a:pt x="331" y="364"/>
                    <a:pt x="331" y="364"/>
                    <a:pt x="331" y="364"/>
                  </a:cubicBezTo>
                  <a:cubicBezTo>
                    <a:pt x="331" y="367"/>
                    <a:pt x="335" y="371"/>
                    <a:pt x="338" y="371"/>
                  </a:cubicBezTo>
                  <a:cubicBezTo>
                    <a:pt x="457" y="371"/>
                    <a:pt x="457" y="371"/>
                    <a:pt x="457" y="371"/>
                  </a:cubicBezTo>
                  <a:cubicBezTo>
                    <a:pt x="461" y="371"/>
                    <a:pt x="464" y="367"/>
                    <a:pt x="464" y="364"/>
                  </a:cubicBezTo>
                  <a:cubicBezTo>
                    <a:pt x="464" y="188"/>
                    <a:pt x="464" y="188"/>
                    <a:pt x="464" y="188"/>
                  </a:cubicBezTo>
                  <a:cubicBezTo>
                    <a:pt x="464" y="184"/>
                    <a:pt x="461" y="181"/>
                    <a:pt x="457" y="181"/>
                  </a:cubicBezTo>
                  <a:close/>
                  <a:moveTo>
                    <a:pt x="450" y="357"/>
                  </a:moveTo>
                  <a:cubicBezTo>
                    <a:pt x="345" y="357"/>
                    <a:pt x="345" y="357"/>
                    <a:pt x="345" y="357"/>
                  </a:cubicBezTo>
                  <a:cubicBezTo>
                    <a:pt x="345" y="195"/>
                    <a:pt x="345" y="195"/>
                    <a:pt x="345" y="195"/>
                  </a:cubicBezTo>
                  <a:cubicBezTo>
                    <a:pt x="450" y="195"/>
                    <a:pt x="450" y="195"/>
                    <a:pt x="450" y="195"/>
                  </a:cubicBezTo>
                  <a:lnTo>
                    <a:pt x="450" y="3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9257" name="Group 9256"/>
          <p:cNvGrpSpPr/>
          <p:nvPr/>
        </p:nvGrpSpPr>
        <p:grpSpPr>
          <a:xfrm>
            <a:off x="6137845" y="1124036"/>
            <a:ext cx="822960" cy="822960"/>
            <a:chOff x="5592763" y="2484438"/>
            <a:chExt cx="949325" cy="949325"/>
          </a:xfrm>
        </p:grpSpPr>
        <p:sp>
          <p:nvSpPr>
            <p:cNvPr id="14" name="Oval 7"/>
            <p:cNvSpPr>
              <a:spLocks noChangeArrowheads="1"/>
            </p:cNvSpPr>
            <p:nvPr/>
          </p:nvSpPr>
          <p:spPr bwMode="auto">
            <a:xfrm>
              <a:off x="5592763" y="2484438"/>
              <a:ext cx="949325" cy="9493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7" name="Freeform 20"/>
            <p:cNvSpPr>
              <a:spLocks noEditPoints="1"/>
            </p:cNvSpPr>
            <p:nvPr/>
          </p:nvSpPr>
          <p:spPr bwMode="auto">
            <a:xfrm>
              <a:off x="5718175" y="2703513"/>
              <a:ext cx="698500" cy="509588"/>
            </a:xfrm>
            <a:custGeom>
              <a:avLst/>
              <a:gdLst>
                <a:gd name="T0" fmla="*/ 461 w 782"/>
                <a:gd name="T1" fmla="*/ 81 h 570"/>
                <a:gd name="T2" fmla="*/ 450 w 782"/>
                <a:gd name="T3" fmla="*/ 76 h 570"/>
                <a:gd name="T4" fmla="*/ 43 w 782"/>
                <a:gd name="T5" fmla="*/ 177 h 570"/>
                <a:gd name="T6" fmla="*/ 38 w 782"/>
                <a:gd name="T7" fmla="*/ 179 h 570"/>
                <a:gd name="T8" fmla="*/ 36 w 782"/>
                <a:gd name="T9" fmla="*/ 205 h 570"/>
                <a:gd name="T10" fmla="*/ 36 w 782"/>
                <a:gd name="T11" fmla="*/ 343 h 570"/>
                <a:gd name="T12" fmla="*/ 38 w 782"/>
                <a:gd name="T13" fmla="*/ 365 h 570"/>
                <a:gd name="T14" fmla="*/ 43 w 782"/>
                <a:gd name="T15" fmla="*/ 367 h 570"/>
                <a:gd name="T16" fmla="*/ 157 w 782"/>
                <a:gd name="T17" fmla="*/ 566 h 570"/>
                <a:gd name="T18" fmla="*/ 256 w 782"/>
                <a:gd name="T19" fmla="*/ 570 h 570"/>
                <a:gd name="T20" fmla="*/ 271 w 782"/>
                <a:gd name="T21" fmla="*/ 525 h 570"/>
                <a:gd name="T22" fmla="*/ 227 w 782"/>
                <a:gd name="T23" fmla="*/ 476 h 570"/>
                <a:gd name="T24" fmla="*/ 221 w 782"/>
                <a:gd name="T25" fmla="*/ 409 h 570"/>
                <a:gd name="T26" fmla="*/ 188 w 782"/>
                <a:gd name="T27" fmla="*/ 367 h 570"/>
                <a:gd name="T28" fmla="*/ 192 w 782"/>
                <a:gd name="T29" fmla="*/ 367 h 570"/>
                <a:gd name="T30" fmla="*/ 454 w 782"/>
                <a:gd name="T31" fmla="*/ 470 h 570"/>
                <a:gd name="T32" fmla="*/ 461 w 782"/>
                <a:gd name="T33" fmla="*/ 463 h 570"/>
                <a:gd name="T34" fmla="*/ 498 w 782"/>
                <a:gd name="T35" fmla="*/ 274 h 570"/>
                <a:gd name="T36" fmla="*/ 14 w 782"/>
                <a:gd name="T37" fmla="*/ 274 h 570"/>
                <a:gd name="T38" fmla="*/ 36 w 782"/>
                <a:gd name="T39" fmla="*/ 328 h 570"/>
                <a:gd name="T40" fmla="*/ 197 w 782"/>
                <a:gd name="T41" fmla="*/ 402 h 570"/>
                <a:gd name="T42" fmla="*/ 211 w 782"/>
                <a:gd name="T43" fmla="*/ 446 h 570"/>
                <a:gd name="T44" fmla="*/ 237 w 782"/>
                <a:gd name="T45" fmla="*/ 507 h 570"/>
                <a:gd name="T46" fmla="*/ 260 w 782"/>
                <a:gd name="T47" fmla="*/ 551 h 570"/>
                <a:gd name="T48" fmla="*/ 168 w 782"/>
                <a:gd name="T49" fmla="*/ 556 h 570"/>
                <a:gd name="T50" fmla="*/ 172 w 782"/>
                <a:gd name="T51" fmla="*/ 367 h 570"/>
                <a:gd name="T52" fmla="*/ 447 w 782"/>
                <a:gd name="T53" fmla="*/ 447 h 570"/>
                <a:gd name="T54" fmla="*/ 50 w 782"/>
                <a:gd name="T55" fmla="*/ 353 h 570"/>
                <a:gd name="T56" fmla="*/ 192 w 782"/>
                <a:gd name="T57" fmla="*/ 191 h 570"/>
                <a:gd name="T58" fmla="*/ 447 w 782"/>
                <a:gd name="T59" fmla="*/ 97 h 570"/>
                <a:gd name="T60" fmla="*/ 461 w 782"/>
                <a:gd name="T61" fmla="*/ 328 h 570"/>
                <a:gd name="T62" fmla="*/ 484 w 782"/>
                <a:gd name="T63" fmla="*/ 274 h 570"/>
                <a:gd name="T64" fmla="*/ 624 w 782"/>
                <a:gd name="T65" fmla="*/ 277 h 570"/>
                <a:gd name="T66" fmla="*/ 564 w 782"/>
                <a:gd name="T67" fmla="*/ 417 h 570"/>
                <a:gd name="T68" fmla="*/ 559 w 782"/>
                <a:gd name="T69" fmla="*/ 405 h 570"/>
                <a:gd name="T70" fmla="*/ 560 w 782"/>
                <a:gd name="T71" fmla="*/ 148 h 570"/>
                <a:gd name="T72" fmla="*/ 570 w 782"/>
                <a:gd name="T73" fmla="*/ 139 h 570"/>
                <a:gd name="T74" fmla="*/ 703 w 782"/>
                <a:gd name="T75" fmla="*/ 277 h 570"/>
                <a:gd name="T76" fmla="*/ 617 w 782"/>
                <a:gd name="T77" fmla="*/ 485 h 570"/>
                <a:gd name="T78" fmla="*/ 612 w 782"/>
                <a:gd name="T79" fmla="*/ 474 h 570"/>
                <a:gd name="T80" fmla="*/ 613 w 782"/>
                <a:gd name="T81" fmla="*/ 80 h 570"/>
                <a:gd name="T82" fmla="*/ 623 w 782"/>
                <a:gd name="T83" fmla="*/ 71 h 570"/>
                <a:gd name="T84" fmla="*/ 782 w 782"/>
                <a:gd name="T85" fmla="*/ 277 h 570"/>
                <a:gd name="T86" fmla="*/ 669 w 782"/>
                <a:gd name="T87" fmla="*/ 554 h 570"/>
                <a:gd name="T88" fmla="*/ 664 w 782"/>
                <a:gd name="T89" fmla="*/ 542 h 570"/>
                <a:gd name="T90" fmla="*/ 665 w 782"/>
                <a:gd name="T91" fmla="*/ 12 h 570"/>
                <a:gd name="T92" fmla="*/ 676 w 782"/>
                <a:gd name="T93" fmla="*/ 3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82" h="570">
                  <a:moveTo>
                    <a:pt x="461" y="205"/>
                  </a:moveTo>
                  <a:cubicBezTo>
                    <a:pt x="461" y="81"/>
                    <a:pt x="461" y="81"/>
                    <a:pt x="461" y="81"/>
                  </a:cubicBezTo>
                  <a:cubicBezTo>
                    <a:pt x="461" y="78"/>
                    <a:pt x="460" y="76"/>
                    <a:pt x="457" y="75"/>
                  </a:cubicBezTo>
                  <a:cubicBezTo>
                    <a:pt x="455" y="74"/>
                    <a:pt x="452" y="74"/>
                    <a:pt x="450" y="76"/>
                  </a:cubicBezTo>
                  <a:cubicBezTo>
                    <a:pt x="369" y="151"/>
                    <a:pt x="264" y="177"/>
                    <a:pt x="193" y="177"/>
                  </a:cubicBezTo>
                  <a:cubicBezTo>
                    <a:pt x="43" y="177"/>
                    <a:pt x="43" y="177"/>
                    <a:pt x="43" y="177"/>
                  </a:cubicBezTo>
                  <a:cubicBezTo>
                    <a:pt x="43" y="177"/>
                    <a:pt x="43" y="177"/>
                    <a:pt x="43" y="177"/>
                  </a:cubicBezTo>
                  <a:cubicBezTo>
                    <a:pt x="41" y="177"/>
                    <a:pt x="40" y="178"/>
                    <a:pt x="38" y="179"/>
                  </a:cubicBezTo>
                  <a:cubicBezTo>
                    <a:pt x="37" y="180"/>
                    <a:pt x="36" y="182"/>
                    <a:pt x="36" y="184"/>
                  </a:cubicBezTo>
                  <a:cubicBezTo>
                    <a:pt x="36" y="205"/>
                    <a:pt x="36" y="205"/>
                    <a:pt x="36" y="205"/>
                  </a:cubicBezTo>
                  <a:cubicBezTo>
                    <a:pt x="15" y="211"/>
                    <a:pt x="0" y="239"/>
                    <a:pt x="0" y="274"/>
                  </a:cubicBezTo>
                  <a:cubicBezTo>
                    <a:pt x="0" y="310"/>
                    <a:pt x="15" y="338"/>
                    <a:pt x="36" y="343"/>
                  </a:cubicBezTo>
                  <a:cubicBezTo>
                    <a:pt x="36" y="360"/>
                    <a:pt x="36" y="360"/>
                    <a:pt x="36" y="360"/>
                  </a:cubicBezTo>
                  <a:cubicBezTo>
                    <a:pt x="36" y="362"/>
                    <a:pt x="37" y="364"/>
                    <a:pt x="38" y="365"/>
                  </a:cubicBezTo>
                  <a:cubicBezTo>
                    <a:pt x="40" y="366"/>
                    <a:pt x="41" y="367"/>
                    <a:pt x="43" y="367"/>
                  </a:cubicBezTo>
                  <a:cubicBezTo>
                    <a:pt x="43" y="367"/>
                    <a:pt x="43" y="367"/>
                    <a:pt x="43" y="367"/>
                  </a:cubicBezTo>
                  <a:cubicBezTo>
                    <a:pt x="79" y="367"/>
                    <a:pt x="79" y="367"/>
                    <a:pt x="79" y="367"/>
                  </a:cubicBezTo>
                  <a:cubicBezTo>
                    <a:pt x="157" y="566"/>
                    <a:pt x="157" y="566"/>
                    <a:pt x="157" y="566"/>
                  </a:cubicBezTo>
                  <a:cubicBezTo>
                    <a:pt x="158" y="568"/>
                    <a:pt x="161" y="570"/>
                    <a:pt x="164" y="570"/>
                  </a:cubicBezTo>
                  <a:cubicBezTo>
                    <a:pt x="256" y="570"/>
                    <a:pt x="256" y="570"/>
                    <a:pt x="256" y="570"/>
                  </a:cubicBezTo>
                  <a:cubicBezTo>
                    <a:pt x="262" y="570"/>
                    <a:pt x="267" y="567"/>
                    <a:pt x="271" y="561"/>
                  </a:cubicBezTo>
                  <a:cubicBezTo>
                    <a:pt x="275" y="553"/>
                    <a:pt x="278" y="539"/>
                    <a:pt x="271" y="525"/>
                  </a:cubicBezTo>
                  <a:cubicBezTo>
                    <a:pt x="264" y="510"/>
                    <a:pt x="254" y="502"/>
                    <a:pt x="246" y="496"/>
                  </a:cubicBezTo>
                  <a:cubicBezTo>
                    <a:pt x="238" y="490"/>
                    <a:pt x="232" y="485"/>
                    <a:pt x="227" y="476"/>
                  </a:cubicBezTo>
                  <a:cubicBezTo>
                    <a:pt x="222" y="467"/>
                    <a:pt x="223" y="458"/>
                    <a:pt x="225" y="447"/>
                  </a:cubicBezTo>
                  <a:cubicBezTo>
                    <a:pt x="226" y="436"/>
                    <a:pt x="228" y="423"/>
                    <a:pt x="221" y="409"/>
                  </a:cubicBezTo>
                  <a:cubicBezTo>
                    <a:pt x="216" y="398"/>
                    <a:pt x="210" y="394"/>
                    <a:pt x="205" y="390"/>
                  </a:cubicBezTo>
                  <a:cubicBezTo>
                    <a:pt x="200" y="386"/>
                    <a:pt x="195" y="383"/>
                    <a:pt x="188" y="367"/>
                  </a:cubicBezTo>
                  <a:cubicBezTo>
                    <a:pt x="192" y="367"/>
                    <a:pt x="192" y="367"/>
                    <a:pt x="192" y="367"/>
                  </a:cubicBezTo>
                  <a:cubicBezTo>
                    <a:pt x="192" y="367"/>
                    <a:pt x="192" y="367"/>
                    <a:pt x="192" y="367"/>
                  </a:cubicBezTo>
                  <a:cubicBezTo>
                    <a:pt x="264" y="367"/>
                    <a:pt x="369" y="393"/>
                    <a:pt x="450" y="468"/>
                  </a:cubicBezTo>
                  <a:cubicBezTo>
                    <a:pt x="451" y="469"/>
                    <a:pt x="453" y="470"/>
                    <a:pt x="454" y="470"/>
                  </a:cubicBezTo>
                  <a:cubicBezTo>
                    <a:pt x="455" y="470"/>
                    <a:pt x="456" y="470"/>
                    <a:pt x="457" y="469"/>
                  </a:cubicBezTo>
                  <a:cubicBezTo>
                    <a:pt x="460" y="468"/>
                    <a:pt x="461" y="466"/>
                    <a:pt x="461" y="463"/>
                  </a:cubicBezTo>
                  <a:cubicBezTo>
                    <a:pt x="461" y="343"/>
                    <a:pt x="461" y="343"/>
                    <a:pt x="461" y="343"/>
                  </a:cubicBezTo>
                  <a:cubicBezTo>
                    <a:pt x="482" y="338"/>
                    <a:pt x="498" y="310"/>
                    <a:pt x="498" y="274"/>
                  </a:cubicBezTo>
                  <a:cubicBezTo>
                    <a:pt x="498" y="239"/>
                    <a:pt x="482" y="211"/>
                    <a:pt x="461" y="205"/>
                  </a:cubicBezTo>
                  <a:close/>
                  <a:moveTo>
                    <a:pt x="14" y="274"/>
                  </a:moveTo>
                  <a:cubicBezTo>
                    <a:pt x="14" y="249"/>
                    <a:pt x="24" y="226"/>
                    <a:pt x="36" y="220"/>
                  </a:cubicBezTo>
                  <a:cubicBezTo>
                    <a:pt x="36" y="328"/>
                    <a:pt x="36" y="328"/>
                    <a:pt x="36" y="328"/>
                  </a:cubicBezTo>
                  <a:cubicBezTo>
                    <a:pt x="24" y="322"/>
                    <a:pt x="14" y="300"/>
                    <a:pt x="14" y="274"/>
                  </a:cubicBezTo>
                  <a:close/>
                  <a:moveTo>
                    <a:pt x="197" y="402"/>
                  </a:moveTo>
                  <a:cubicBezTo>
                    <a:pt x="201" y="405"/>
                    <a:pt x="205" y="407"/>
                    <a:pt x="209" y="415"/>
                  </a:cubicBezTo>
                  <a:cubicBezTo>
                    <a:pt x="213" y="425"/>
                    <a:pt x="212" y="435"/>
                    <a:pt x="211" y="446"/>
                  </a:cubicBezTo>
                  <a:cubicBezTo>
                    <a:pt x="209" y="457"/>
                    <a:pt x="208" y="470"/>
                    <a:pt x="215" y="483"/>
                  </a:cubicBezTo>
                  <a:cubicBezTo>
                    <a:pt x="221" y="495"/>
                    <a:pt x="229" y="501"/>
                    <a:pt x="237" y="507"/>
                  </a:cubicBezTo>
                  <a:cubicBezTo>
                    <a:pt x="245" y="513"/>
                    <a:pt x="253" y="519"/>
                    <a:pt x="259" y="531"/>
                  </a:cubicBezTo>
                  <a:cubicBezTo>
                    <a:pt x="263" y="540"/>
                    <a:pt x="261" y="548"/>
                    <a:pt x="260" y="551"/>
                  </a:cubicBezTo>
                  <a:cubicBezTo>
                    <a:pt x="259" y="554"/>
                    <a:pt x="257" y="556"/>
                    <a:pt x="256" y="556"/>
                  </a:cubicBezTo>
                  <a:cubicBezTo>
                    <a:pt x="168" y="556"/>
                    <a:pt x="168" y="556"/>
                    <a:pt x="168" y="556"/>
                  </a:cubicBezTo>
                  <a:cubicBezTo>
                    <a:pt x="94" y="367"/>
                    <a:pt x="94" y="367"/>
                    <a:pt x="94" y="367"/>
                  </a:cubicBezTo>
                  <a:cubicBezTo>
                    <a:pt x="172" y="367"/>
                    <a:pt x="172" y="367"/>
                    <a:pt x="172" y="367"/>
                  </a:cubicBezTo>
                  <a:cubicBezTo>
                    <a:pt x="182" y="391"/>
                    <a:pt x="190" y="397"/>
                    <a:pt x="197" y="402"/>
                  </a:cubicBezTo>
                  <a:close/>
                  <a:moveTo>
                    <a:pt x="447" y="447"/>
                  </a:moveTo>
                  <a:cubicBezTo>
                    <a:pt x="366" y="378"/>
                    <a:pt x="263" y="353"/>
                    <a:pt x="192" y="353"/>
                  </a:cubicBezTo>
                  <a:cubicBezTo>
                    <a:pt x="50" y="353"/>
                    <a:pt x="50" y="353"/>
                    <a:pt x="50" y="353"/>
                  </a:cubicBezTo>
                  <a:cubicBezTo>
                    <a:pt x="50" y="191"/>
                    <a:pt x="50" y="191"/>
                    <a:pt x="50" y="191"/>
                  </a:cubicBezTo>
                  <a:cubicBezTo>
                    <a:pt x="192" y="191"/>
                    <a:pt x="192" y="191"/>
                    <a:pt x="192" y="191"/>
                  </a:cubicBezTo>
                  <a:cubicBezTo>
                    <a:pt x="193" y="191"/>
                    <a:pt x="193" y="191"/>
                    <a:pt x="193" y="191"/>
                  </a:cubicBezTo>
                  <a:cubicBezTo>
                    <a:pt x="263" y="191"/>
                    <a:pt x="366" y="166"/>
                    <a:pt x="447" y="97"/>
                  </a:cubicBezTo>
                  <a:lnTo>
                    <a:pt x="447" y="447"/>
                  </a:lnTo>
                  <a:close/>
                  <a:moveTo>
                    <a:pt x="461" y="328"/>
                  </a:moveTo>
                  <a:cubicBezTo>
                    <a:pt x="461" y="220"/>
                    <a:pt x="461" y="220"/>
                    <a:pt x="461" y="220"/>
                  </a:cubicBezTo>
                  <a:cubicBezTo>
                    <a:pt x="474" y="226"/>
                    <a:pt x="484" y="249"/>
                    <a:pt x="484" y="274"/>
                  </a:cubicBezTo>
                  <a:cubicBezTo>
                    <a:pt x="484" y="300"/>
                    <a:pt x="474" y="322"/>
                    <a:pt x="461" y="328"/>
                  </a:cubicBezTo>
                  <a:close/>
                  <a:moveTo>
                    <a:pt x="624" y="277"/>
                  </a:moveTo>
                  <a:cubicBezTo>
                    <a:pt x="623" y="329"/>
                    <a:pt x="604" y="378"/>
                    <a:pt x="569" y="415"/>
                  </a:cubicBezTo>
                  <a:cubicBezTo>
                    <a:pt x="568" y="416"/>
                    <a:pt x="566" y="417"/>
                    <a:pt x="564" y="417"/>
                  </a:cubicBezTo>
                  <a:cubicBezTo>
                    <a:pt x="563" y="417"/>
                    <a:pt x="561" y="417"/>
                    <a:pt x="560" y="415"/>
                  </a:cubicBezTo>
                  <a:cubicBezTo>
                    <a:pt x="557" y="413"/>
                    <a:pt x="557" y="408"/>
                    <a:pt x="559" y="405"/>
                  </a:cubicBezTo>
                  <a:cubicBezTo>
                    <a:pt x="592" y="371"/>
                    <a:pt x="609" y="326"/>
                    <a:pt x="610" y="277"/>
                  </a:cubicBezTo>
                  <a:cubicBezTo>
                    <a:pt x="610" y="228"/>
                    <a:pt x="592" y="182"/>
                    <a:pt x="560" y="148"/>
                  </a:cubicBezTo>
                  <a:cubicBezTo>
                    <a:pt x="557" y="145"/>
                    <a:pt x="557" y="141"/>
                    <a:pt x="560" y="138"/>
                  </a:cubicBezTo>
                  <a:cubicBezTo>
                    <a:pt x="563" y="136"/>
                    <a:pt x="567" y="136"/>
                    <a:pt x="570" y="139"/>
                  </a:cubicBezTo>
                  <a:cubicBezTo>
                    <a:pt x="605" y="175"/>
                    <a:pt x="624" y="224"/>
                    <a:pt x="624" y="277"/>
                  </a:cubicBezTo>
                  <a:close/>
                  <a:moveTo>
                    <a:pt x="703" y="277"/>
                  </a:moveTo>
                  <a:cubicBezTo>
                    <a:pt x="702" y="355"/>
                    <a:pt x="674" y="429"/>
                    <a:pt x="622" y="483"/>
                  </a:cubicBezTo>
                  <a:cubicBezTo>
                    <a:pt x="621" y="485"/>
                    <a:pt x="619" y="485"/>
                    <a:pt x="617" y="485"/>
                  </a:cubicBezTo>
                  <a:cubicBezTo>
                    <a:pt x="615" y="485"/>
                    <a:pt x="613" y="485"/>
                    <a:pt x="612" y="483"/>
                  </a:cubicBezTo>
                  <a:cubicBezTo>
                    <a:pt x="609" y="481"/>
                    <a:pt x="609" y="476"/>
                    <a:pt x="612" y="474"/>
                  </a:cubicBezTo>
                  <a:cubicBezTo>
                    <a:pt x="661" y="422"/>
                    <a:pt x="688" y="352"/>
                    <a:pt x="689" y="277"/>
                  </a:cubicBezTo>
                  <a:cubicBezTo>
                    <a:pt x="689" y="202"/>
                    <a:pt x="662" y="132"/>
                    <a:pt x="613" y="80"/>
                  </a:cubicBezTo>
                  <a:cubicBezTo>
                    <a:pt x="610" y="77"/>
                    <a:pt x="610" y="73"/>
                    <a:pt x="613" y="70"/>
                  </a:cubicBezTo>
                  <a:cubicBezTo>
                    <a:pt x="616" y="68"/>
                    <a:pt x="620" y="68"/>
                    <a:pt x="623" y="71"/>
                  </a:cubicBezTo>
                  <a:cubicBezTo>
                    <a:pt x="674" y="125"/>
                    <a:pt x="703" y="199"/>
                    <a:pt x="703" y="277"/>
                  </a:cubicBezTo>
                  <a:close/>
                  <a:moveTo>
                    <a:pt x="782" y="277"/>
                  </a:moveTo>
                  <a:cubicBezTo>
                    <a:pt x="781" y="382"/>
                    <a:pt x="743" y="479"/>
                    <a:pt x="674" y="551"/>
                  </a:cubicBezTo>
                  <a:cubicBezTo>
                    <a:pt x="673" y="553"/>
                    <a:pt x="671" y="554"/>
                    <a:pt x="669" y="554"/>
                  </a:cubicBezTo>
                  <a:cubicBezTo>
                    <a:pt x="668" y="554"/>
                    <a:pt x="666" y="553"/>
                    <a:pt x="664" y="552"/>
                  </a:cubicBezTo>
                  <a:cubicBezTo>
                    <a:pt x="662" y="549"/>
                    <a:pt x="662" y="544"/>
                    <a:pt x="664" y="542"/>
                  </a:cubicBezTo>
                  <a:cubicBezTo>
                    <a:pt x="731" y="472"/>
                    <a:pt x="767" y="378"/>
                    <a:pt x="768" y="277"/>
                  </a:cubicBezTo>
                  <a:cubicBezTo>
                    <a:pt x="768" y="176"/>
                    <a:pt x="732" y="82"/>
                    <a:pt x="665" y="12"/>
                  </a:cubicBezTo>
                  <a:cubicBezTo>
                    <a:pt x="663" y="10"/>
                    <a:pt x="663" y="5"/>
                    <a:pt x="666" y="2"/>
                  </a:cubicBezTo>
                  <a:cubicBezTo>
                    <a:pt x="669" y="0"/>
                    <a:pt x="673" y="0"/>
                    <a:pt x="676" y="3"/>
                  </a:cubicBezTo>
                  <a:cubicBezTo>
                    <a:pt x="744" y="75"/>
                    <a:pt x="782" y="173"/>
                    <a:pt x="782" y="2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9254" name="Group 9253"/>
          <p:cNvGrpSpPr/>
          <p:nvPr/>
        </p:nvGrpSpPr>
        <p:grpSpPr>
          <a:xfrm>
            <a:off x="4845101" y="1124036"/>
            <a:ext cx="822960" cy="822960"/>
            <a:chOff x="4556125" y="2476500"/>
            <a:chExt cx="949325" cy="949325"/>
          </a:xfrm>
        </p:grpSpPr>
        <p:sp>
          <p:nvSpPr>
            <p:cNvPr id="15" name="Oval 8"/>
            <p:cNvSpPr>
              <a:spLocks noChangeArrowheads="1"/>
            </p:cNvSpPr>
            <p:nvPr/>
          </p:nvSpPr>
          <p:spPr bwMode="auto">
            <a:xfrm>
              <a:off x="4556125" y="2476500"/>
              <a:ext cx="949325" cy="9493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8" name="Freeform 21"/>
            <p:cNvSpPr>
              <a:spLocks noEditPoints="1"/>
            </p:cNvSpPr>
            <p:nvPr/>
          </p:nvSpPr>
          <p:spPr bwMode="auto">
            <a:xfrm>
              <a:off x="4768850" y="2697163"/>
              <a:ext cx="523875" cy="508000"/>
            </a:xfrm>
            <a:custGeom>
              <a:avLst/>
              <a:gdLst>
                <a:gd name="T0" fmla="*/ 537 w 587"/>
                <a:gd name="T1" fmla="*/ 74 h 569"/>
                <a:gd name="T2" fmla="*/ 530 w 587"/>
                <a:gd name="T3" fmla="*/ 0 h 569"/>
                <a:gd name="T4" fmla="*/ 293 w 587"/>
                <a:gd name="T5" fmla="*/ 71 h 569"/>
                <a:gd name="T6" fmla="*/ 56 w 587"/>
                <a:gd name="T7" fmla="*/ 0 h 569"/>
                <a:gd name="T8" fmla="*/ 49 w 587"/>
                <a:gd name="T9" fmla="*/ 74 h 569"/>
                <a:gd name="T10" fmla="*/ 0 w 587"/>
                <a:gd name="T11" fmla="*/ 102 h 569"/>
                <a:gd name="T12" fmla="*/ 28 w 587"/>
                <a:gd name="T13" fmla="*/ 537 h 569"/>
                <a:gd name="T14" fmla="*/ 293 w 587"/>
                <a:gd name="T15" fmla="*/ 569 h 569"/>
                <a:gd name="T16" fmla="*/ 558 w 587"/>
                <a:gd name="T17" fmla="*/ 537 h 569"/>
                <a:gd name="T18" fmla="*/ 587 w 587"/>
                <a:gd name="T19" fmla="*/ 102 h 569"/>
                <a:gd name="T20" fmla="*/ 523 w 587"/>
                <a:gd name="T21" fmla="*/ 14 h 569"/>
                <a:gd name="T22" fmla="*/ 516 w 587"/>
                <a:gd name="T23" fmla="*/ 439 h 569"/>
                <a:gd name="T24" fmla="*/ 300 w 587"/>
                <a:gd name="T25" fmla="*/ 83 h 569"/>
                <a:gd name="T26" fmla="*/ 523 w 587"/>
                <a:gd name="T27" fmla="*/ 14 h 569"/>
                <a:gd name="T28" fmla="*/ 71 w 587"/>
                <a:gd name="T29" fmla="*/ 14 h 569"/>
                <a:gd name="T30" fmla="*/ 286 w 587"/>
                <a:gd name="T31" fmla="*/ 479 h 569"/>
                <a:gd name="T32" fmla="*/ 63 w 587"/>
                <a:gd name="T33" fmla="*/ 439 h 569"/>
                <a:gd name="T34" fmla="*/ 573 w 587"/>
                <a:gd name="T35" fmla="*/ 508 h 569"/>
                <a:gd name="T36" fmla="*/ 353 w 587"/>
                <a:gd name="T37" fmla="*/ 523 h 569"/>
                <a:gd name="T38" fmla="*/ 293 w 587"/>
                <a:gd name="T39" fmla="*/ 555 h 569"/>
                <a:gd name="T40" fmla="*/ 234 w 587"/>
                <a:gd name="T41" fmla="*/ 523 h 569"/>
                <a:gd name="T42" fmla="*/ 14 w 587"/>
                <a:gd name="T43" fmla="*/ 508 h 569"/>
                <a:gd name="T44" fmla="*/ 28 w 587"/>
                <a:gd name="T45" fmla="*/ 88 h 569"/>
                <a:gd name="T46" fmla="*/ 49 w 587"/>
                <a:gd name="T47" fmla="*/ 446 h 569"/>
                <a:gd name="T48" fmla="*/ 71 w 587"/>
                <a:gd name="T49" fmla="*/ 453 h 569"/>
                <a:gd name="T50" fmla="*/ 289 w 587"/>
                <a:gd name="T51" fmla="*/ 498 h 569"/>
                <a:gd name="T52" fmla="*/ 291 w 587"/>
                <a:gd name="T53" fmla="*/ 498 h 569"/>
                <a:gd name="T54" fmla="*/ 293 w 587"/>
                <a:gd name="T55" fmla="*/ 499 h 569"/>
                <a:gd name="T56" fmla="*/ 296 w 587"/>
                <a:gd name="T57" fmla="*/ 498 h 569"/>
                <a:gd name="T58" fmla="*/ 297 w 587"/>
                <a:gd name="T59" fmla="*/ 498 h 569"/>
                <a:gd name="T60" fmla="*/ 516 w 587"/>
                <a:gd name="T61" fmla="*/ 453 h 569"/>
                <a:gd name="T62" fmla="*/ 537 w 587"/>
                <a:gd name="T63" fmla="*/ 446 h 569"/>
                <a:gd name="T64" fmla="*/ 558 w 587"/>
                <a:gd name="T65" fmla="*/ 88 h 569"/>
                <a:gd name="T66" fmla="*/ 573 w 587"/>
                <a:gd name="T67" fmla="*/ 508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7" h="569">
                  <a:moveTo>
                    <a:pt x="558" y="74"/>
                  </a:moveTo>
                  <a:cubicBezTo>
                    <a:pt x="537" y="74"/>
                    <a:pt x="537" y="74"/>
                    <a:pt x="537" y="74"/>
                  </a:cubicBezTo>
                  <a:cubicBezTo>
                    <a:pt x="537" y="7"/>
                    <a:pt x="537" y="7"/>
                    <a:pt x="537" y="7"/>
                  </a:cubicBezTo>
                  <a:cubicBezTo>
                    <a:pt x="537" y="3"/>
                    <a:pt x="534" y="0"/>
                    <a:pt x="530" y="0"/>
                  </a:cubicBezTo>
                  <a:cubicBezTo>
                    <a:pt x="516" y="0"/>
                    <a:pt x="516" y="0"/>
                    <a:pt x="516" y="0"/>
                  </a:cubicBezTo>
                  <a:cubicBezTo>
                    <a:pt x="462" y="0"/>
                    <a:pt x="364" y="0"/>
                    <a:pt x="293" y="71"/>
                  </a:cubicBezTo>
                  <a:cubicBezTo>
                    <a:pt x="222" y="0"/>
                    <a:pt x="124" y="0"/>
                    <a:pt x="7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2" y="0"/>
                    <a:pt x="49" y="3"/>
                    <a:pt x="49" y="7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12" y="74"/>
                    <a:pt x="0" y="86"/>
                    <a:pt x="0" y="102"/>
                  </a:cubicBezTo>
                  <a:cubicBezTo>
                    <a:pt x="0" y="508"/>
                    <a:pt x="0" y="508"/>
                    <a:pt x="0" y="508"/>
                  </a:cubicBezTo>
                  <a:cubicBezTo>
                    <a:pt x="0" y="524"/>
                    <a:pt x="12" y="537"/>
                    <a:pt x="28" y="537"/>
                  </a:cubicBezTo>
                  <a:cubicBezTo>
                    <a:pt x="230" y="537"/>
                    <a:pt x="230" y="537"/>
                    <a:pt x="230" y="537"/>
                  </a:cubicBezTo>
                  <a:cubicBezTo>
                    <a:pt x="242" y="556"/>
                    <a:pt x="267" y="569"/>
                    <a:pt x="293" y="569"/>
                  </a:cubicBezTo>
                  <a:cubicBezTo>
                    <a:pt x="320" y="569"/>
                    <a:pt x="344" y="556"/>
                    <a:pt x="357" y="537"/>
                  </a:cubicBezTo>
                  <a:cubicBezTo>
                    <a:pt x="558" y="537"/>
                    <a:pt x="558" y="537"/>
                    <a:pt x="558" y="537"/>
                  </a:cubicBezTo>
                  <a:cubicBezTo>
                    <a:pt x="574" y="537"/>
                    <a:pt x="587" y="524"/>
                    <a:pt x="587" y="508"/>
                  </a:cubicBezTo>
                  <a:cubicBezTo>
                    <a:pt x="587" y="102"/>
                    <a:pt x="587" y="102"/>
                    <a:pt x="587" y="102"/>
                  </a:cubicBezTo>
                  <a:cubicBezTo>
                    <a:pt x="587" y="86"/>
                    <a:pt x="574" y="74"/>
                    <a:pt x="558" y="74"/>
                  </a:cubicBezTo>
                  <a:close/>
                  <a:moveTo>
                    <a:pt x="523" y="14"/>
                  </a:moveTo>
                  <a:cubicBezTo>
                    <a:pt x="523" y="439"/>
                    <a:pt x="523" y="439"/>
                    <a:pt x="523" y="439"/>
                  </a:cubicBezTo>
                  <a:cubicBezTo>
                    <a:pt x="516" y="439"/>
                    <a:pt x="516" y="439"/>
                    <a:pt x="516" y="439"/>
                  </a:cubicBezTo>
                  <a:cubicBezTo>
                    <a:pt x="464" y="439"/>
                    <a:pt x="370" y="439"/>
                    <a:pt x="300" y="479"/>
                  </a:cubicBezTo>
                  <a:cubicBezTo>
                    <a:pt x="300" y="83"/>
                    <a:pt x="300" y="83"/>
                    <a:pt x="300" y="83"/>
                  </a:cubicBezTo>
                  <a:cubicBezTo>
                    <a:pt x="367" y="14"/>
                    <a:pt x="463" y="14"/>
                    <a:pt x="516" y="14"/>
                  </a:cubicBezTo>
                  <a:lnTo>
                    <a:pt x="523" y="14"/>
                  </a:lnTo>
                  <a:close/>
                  <a:moveTo>
                    <a:pt x="63" y="14"/>
                  </a:moveTo>
                  <a:cubicBezTo>
                    <a:pt x="71" y="14"/>
                    <a:pt x="71" y="14"/>
                    <a:pt x="71" y="14"/>
                  </a:cubicBezTo>
                  <a:cubicBezTo>
                    <a:pt x="123" y="14"/>
                    <a:pt x="219" y="14"/>
                    <a:pt x="286" y="83"/>
                  </a:cubicBezTo>
                  <a:cubicBezTo>
                    <a:pt x="286" y="479"/>
                    <a:pt x="286" y="479"/>
                    <a:pt x="286" y="479"/>
                  </a:cubicBezTo>
                  <a:cubicBezTo>
                    <a:pt x="216" y="439"/>
                    <a:pt x="122" y="439"/>
                    <a:pt x="71" y="439"/>
                  </a:cubicBezTo>
                  <a:cubicBezTo>
                    <a:pt x="63" y="439"/>
                    <a:pt x="63" y="439"/>
                    <a:pt x="63" y="439"/>
                  </a:cubicBezTo>
                  <a:lnTo>
                    <a:pt x="63" y="14"/>
                  </a:lnTo>
                  <a:close/>
                  <a:moveTo>
                    <a:pt x="573" y="508"/>
                  </a:moveTo>
                  <a:cubicBezTo>
                    <a:pt x="573" y="516"/>
                    <a:pt x="566" y="523"/>
                    <a:pt x="558" y="523"/>
                  </a:cubicBezTo>
                  <a:cubicBezTo>
                    <a:pt x="353" y="523"/>
                    <a:pt x="353" y="523"/>
                    <a:pt x="353" y="523"/>
                  </a:cubicBezTo>
                  <a:cubicBezTo>
                    <a:pt x="350" y="523"/>
                    <a:pt x="348" y="524"/>
                    <a:pt x="346" y="526"/>
                  </a:cubicBezTo>
                  <a:cubicBezTo>
                    <a:pt x="337" y="544"/>
                    <a:pt x="316" y="555"/>
                    <a:pt x="293" y="555"/>
                  </a:cubicBezTo>
                  <a:cubicBezTo>
                    <a:pt x="270" y="555"/>
                    <a:pt x="249" y="544"/>
                    <a:pt x="240" y="526"/>
                  </a:cubicBezTo>
                  <a:cubicBezTo>
                    <a:pt x="239" y="524"/>
                    <a:pt x="236" y="523"/>
                    <a:pt x="234" y="523"/>
                  </a:cubicBezTo>
                  <a:cubicBezTo>
                    <a:pt x="28" y="523"/>
                    <a:pt x="28" y="523"/>
                    <a:pt x="28" y="523"/>
                  </a:cubicBezTo>
                  <a:cubicBezTo>
                    <a:pt x="20" y="523"/>
                    <a:pt x="14" y="516"/>
                    <a:pt x="14" y="508"/>
                  </a:cubicBezTo>
                  <a:cubicBezTo>
                    <a:pt x="14" y="102"/>
                    <a:pt x="14" y="102"/>
                    <a:pt x="14" y="102"/>
                  </a:cubicBezTo>
                  <a:cubicBezTo>
                    <a:pt x="14" y="94"/>
                    <a:pt x="20" y="88"/>
                    <a:pt x="28" y="88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9" y="446"/>
                    <a:pt x="49" y="446"/>
                    <a:pt x="49" y="446"/>
                  </a:cubicBezTo>
                  <a:cubicBezTo>
                    <a:pt x="49" y="450"/>
                    <a:pt x="52" y="453"/>
                    <a:pt x="56" y="453"/>
                  </a:cubicBezTo>
                  <a:cubicBezTo>
                    <a:pt x="71" y="453"/>
                    <a:pt x="71" y="453"/>
                    <a:pt x="71" y="453"/>
                  </a:cubicBezTo>
                  <a:cubicBezTo>
                    <a:pt x="123" y="453"/>
                    <a:pt x="222" y="453"/>
                    <a:pt x="289" y="498"/>
                  </a:cubicBezTo>
                  <a:cubicBezTo>
                    <a:pt x="289" y="498"/>
                    <a:pt x="289" y="498"/>
                    <a:pt x="289" y="498"/>
                  </a:cubicBezTo>
                  <a:cubicBezTo>
                    <a:pt x="290" y="498"/>
                    <a:pt x="290" y="498"/>
                    <a:pt x="290" y="498"/>
                  </a:cubicBezTo>
                  <a:cubicBezTo>
                    <a:pt x="290" y="498"/>
                    <a:pt x="290" y="498"/>
                    <a:pt x="291" y="498"/>
                  </a:cubicBezTo>
                  <a:cubicBezTo>
                    <a:pt x="291" y="498"/>
                    <a:pt x="291" y="499"/>
                    <a:pt x="291" y="499"/>
                  </a:cubicBezTo>
                  <a:cubicBezTo>
                    <a:pt x="292" y="499"/>
                    <a:pt x="292" y="499"/>
                    <a:pt x="293" y="499"/>
                  </a:cubicBezTo>
                  <a:cubicBezTo>
                    <a:pt x="294" y="499"/>
                    <a:pt x="294" y="499"/>
                    <a:pt x="295" y="499"/>
                  </a:cubicBezTo>
                  <a:cubicBezTo>
                    <a:pt x="295" y="499"/>
                    <a:pt x="295" y="498"/>
                    <a:pt x="296" y="498"/>
                  </a:cubicBezTo>
                  <a:cubicBezTo>
                    <a:pt x="296" y="498"/>
                    <a:pt x="296" y="498"/>
                    <a:pt x="296" y="498"/>
                  </a:cubicBezTo>
                  <a:cubicBezTo>
                    <a:pt x="297" y="498"/>
                    <a:pt x="297" y="498"/>
                    <a:pt x="297" y="498"/>
                  </a:cubicBezTo>
                  <a:cubicBezTo>
                    <a:pt x="297" y="498"/>
                    <a:pt x="297" y="498"/>
                    <a:pt x="297" y="498"/>
                  </a:cubicBezTo>
                  <a:cubicBezTo>
                    <a:pt x="364" y="453"/>
                    <a:pt x="463" y="453"/>
                    <a:pt x="516" y="453"/>
                  </a:cubicBezTo>
                  <a:cubicBezTo>
                    <a:pt x="530" y="453"/>
                    <a:pt x="530" y="453"/>
                    <a:pt x="530" y="453"/>
                  </a:cubicBezTo>
                  <a:cubicBezTo>
                    <a:pt x="534" y="453"/>
                    <a:pt x="537" y="450"/>
                    <a:pt x="537" y="446"/>
                  </a:cubicBezTo>
                  <a:cubicBezTo>
                    <a:pt x="537" y="88"/>
                    <a:pt x="537" y="88"/>
                    <a:pt x="537" y="88"/>
                  </a:cubicBezTo>
                  <a:cubicBezTo>
                    <a:pt x="558" y="88"/>
                    <a:pt x="558" y="88"/>
                    <a:pt x="558" y="88"/>
                  </a:cubicBezTo>
                  <a:cubicBezTo>
                    <a:pt x="566" y="88"/>
                    <a:pt x="573" y="94"/>
                    <a:pt x="573" y="102"/>
                  </a:cubicBezTo>
                  <a:lnTo>
                    <a:pt x="573" y="50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9258" name="Group 9257"/>
          <p:cNvGrpSpPr/>
          <p:nvPr/>
        </p:nvGrpSpPr>
        <p:grpSpPr>
          <a:xfrm>
            <a:off x="7430588" y="1124036"/>
            <a:ext cx="822960" cy="822960"/>
            <a:chOff x="6657975" y="2476500"/>
            <a:chExt cx="949325" cy="949325"/>
          </a:xfrm>
        </p:grpSpPr>
        <p:sp>
          <p:nvSpPr>
            <p:cNvPr id="13" name="Oval 6"/>
            <p:cNvSpPr>
              <a:spLocks noChangeArrowheads="1"/>
            </p:cNvSpPr>
            <p:nvPr/>
          </p:nvSpPr>
          <p:spPr bwMode="auto">
            <a:xfrm>
              <a:off x="6657975" y="2476500"/>
              <a:ext cx="949325" cy="9493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9" name="Freeform 22"/>
            <p:cNvSpPr>
              <a:spLocks noEditPoints="1"/>
            </p:cNvSpPr>
            <p:nvPr/>
          </p:nvSpPr>
          <p:spPr bwMode="auto">
            <a:xfrm>
              <a:off x="6905625" y="2643188"/>
              <a:ext cx="454025" cy="615950"/>
            </a:xfrm>
            <a:custGeom>
              <a:avLst/>
              <a:gdLst>
                <a:gd name="T0" fmla="*/ 253 w 509"/>
                <a:gd name="T1" fmla="*/ 113 h 690"/>
                <a:gd name="T2" fmla="*/ 142 w 509"/>
                <a:gd name="T3" fmla="*/ 464 h 690"/>
                <a:gd name="T4" fmla="*/ 75 w 509"/>
                <a:gd name="T5" fmla="*/ 681 h 690"/>
                <a:gd name="T6" fmla="*/ 88 w 509"/>
                <a:gd name="T7" fmla="*/ 685 h 690"/>
                <a:gd name="T8" fmla="*/ 421 w 509"/>
                <a:gd name="T9" fmla="*/ 685 h 690"/>
                <a:gd name="T10" fmla="*/ 434 w 509"/>
                <a:gd name="T11" fmla="*/ 681 h 690"/>
                <a:gd name="T12" fmla="*/ 320 w 509"/>
                <a:gd name="T13" fmla="*/ 362 h 690"/>
                <a:gd name="T14" fmla="*/ 189 w 509"/>
                <a:gd name="T15" fmla="*/ 362 h 690"/>
                <a:gd name="T16" fmla="*/ 316 w 509"/>
                <a:gd name="T17" fmla="*/ 348 h 690"/>
                <a:gd name="T18" fmla="*/ 253 w 509"/>
                <a:gd name="T19" fmla="*/ 127 h 690"/>
                <a:gd name="T20" fmla="*/ 245 w 509"/>
                <a:gd name="T21" fmla="*/ 169 h 690"/>
                <a:gd name="T22" fmla="*/ 231 w 509"/>
                <a:gd name="T23" fmla="*/ 149 h 690"/>
                <a:gd name="T24" fmla="*/ 264 w 509"/>
                <a:gd name="T25" fmla="*/ 183 h 690"/>
                <a:gd name="T26" fmla="*/ 244 w 509"/>
                <a:gd name="T27" fmla="*/ 184 h 690"/>
                <a:gd name="T28" fmla="*/ 153 w 509"/>
                <a:gd name="T29" fmla="*/ 476 h 690"/>
                <a:gd name="T30" fmla="*/ 112 w 509"/>
                <a:gd name="T31" fmla="*/ 608 h 690"/>
                <a:gd name="T32" fmla="*/ 51 w 509"/>
                <a:gd name="T33" fmla="*/ 295 h 690"/>
                <a:gd name="T34" fmla="*/ 43 w 509"/>
                <a:gd name="T35" fmla="*/ 5 h 690"/>
                <a:gd name="T36" fmla="*/ 14 w 509"/>
                <a:gd name="T37" fmla="*/ 147 h 690"/>
                <a:gd name="T38" fmla="*/ 463 w 509"/>
                <a:gd name="T39" fmla="*/ 293 h 690"/>
                <a:gd name="T40" fmla="*/ 452 w 509"/>
                <a:gd name="T41" fmla="*/ 285 h 690"/>
                <a:gd name="T42" fmla="*/ 455 w 509"/>
                <a:gd name="T43" fmla="*/ 2 h 690"/>
                <a:gd name="T44" fmla="*/ 93 w 509"/>
                <a:gd name="T45" fmla="*/ 259 h 690"/>
                <a:gd name="T46" fmla="*/ 101 w 509"/>
                <a:gd name="T47" fmla="*/ 36 h 690"/>
                <a:gd name="T48" fmla="*/ 104 w 509"/>
                <a:gd name="T49" fmla="*/ 251 h 690"/>
                <a:gd name="T50" fmla="*/ 93 w 509"/>
                <a:gd name="T51" fmla="*/ 259 h 690"/>
                <a:gd name="T52" fmla="*/ 405 w 509"/>
                <a:gd name="T53" fmla="*/ 44 h 690"/>
                <a:gd name="T54" fmla="*/ 451 w 509"/>
                <a:gd name="T55" fmla="*/ 147 h 690"/>
                <a:gd name="T56" fmla="*/ 405 w 509"/>
                <a:gd name="T57" fmla="*/ 262 h 690"/>
                <a:gd name="T58" fmla="*/ 321 w 509"/>
                <a:gd name="T59" fmla="*/ 147 h 690"/>
                <a:gd name="T60" fmla="*/ 321 w 509"/>
                <a:gd name="T61" fmla="*/ 102 h 690"/>
                <a:gd name="T62" fmla="*/ 313 w 509"/>
                <a:gd name="T63" fmla="*/ 197 h 690"/>
                <a:gd name="T64" fmla="*/ 356 w 509"/>
                <a:gd name="T65" fmla="*/ 219 h 690"/>
                <a:gd name="T66" fmla="*/ 359 w 509"/>
                <a:gd name="T67" fmla="*/ 68 h 690"/>
                <a:gd name="T68" fmla="*/ 367 w 509"/>
                <a:gd name="T69" fmla="*/ 227 h 690"/>
                <a:gd name="T70" fmla="*/ 356 w 509"/>
                <a:gd name="T71" fmla="*/ 219 h 690"/>
                <a:gd name="T72" fmla="*/ 139 w 509"/>
                <a:gd name="T73" fmla="*/ 71 h 690"/>
                <a:gd name="T74" fmla="*/ 130 w 509"/>
                <a:gd name="T75" fmla="*/ 147 h 690"/>
                <a:gd name="T76" fmla="*/ 147 w 509"/>
                <a:gd name="T77" fmla="*/ 229 h 690"/>
                <a:gd name="T78" fmla="*/ 174 w 509"/>
                <a:gd name="T79" fmla="*/ 147 h 690"/>
                <a:gd name="T80" fmla="*/ 199 w 509"/>
                <a:gd name="T81" fmla="*/ 111 h 690"/>
                <a:gd name="T82" fmla="*/ 199 w 509"/>
                <a:gd name="T83" fmla="*/ 19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09" h="690">
                  <a:moveTo>
                    <a:pt x="277" y="176"/>
                  </a:moveTo>
                  <a:cubicBezTo>
                    <a:pt x="284" y="169"/>
                    <a:pt x="289" y="160"/>
                    <a:pt x="289" y="149"/>
                  </a:cubicBezTo>
                  <a:cubicBezTo>
                    <a:pt x="289" y="129"/>
                    <a:pt x="273" y="113"/>
                    <a:pt x="253" y="113"/>
                  </a:cubicBezTo>
                  <a:cubicBezTo>
                    <a:pt x="233" y="113"/>
                    <a:pt x="217" y="129"/>
                    <a:pt x="217" y="149"/>
                  </a:cubicBezTo>
                  <a:cubicBezTo>
                    <a:pt x="217" y="161"/>
                    <a:pt x="223" y="171"/>
                    <a:pt x="231" y="177"/>
                  </a:cubicBezTo>
                  <a:cubicBezTo>
                    <a:pt x="142" y="464"/>
                    <a:pt x="142" y="464"/>
                    <a:pt x="142" y="464"/>
                  </a:cubicBezTo>
                  <a:cubicBezTo>
                    <a:pt x="141" y="465"/>
                    <a:pt x="140" y="467"/>
                    <a:pt x="140" y="469"/>
                  </a:cubicBezTo>
                  <a:cubicBezTo>
                    <a:pt x="140" y="470"/>
                    <a:pt x="140" y="471"/>
                    <a:pt x="140" y="471"/>
                  </a:cubicBezTo>
                  <a:cubicBezTo>
                    <a:pt x="75" y="681"/>
                    <a:pt x="75" y="681"/>
                    <a:pt x="75" y="681"/>
                  </a:cubicBezTo>
                  <a:cubicBezTo>
                    <a:pt x="73" y="685"/>
                    <a:pt x="75" y="689"/>
                    <a:pt x="79" y="690"/>
                  </a:cubicBezTo>
                  <a:cubicBezTo>
                    <a:pt x="80" y="690"/>
                    <a:pt x="81" y="690"/>
                    <a:pt x="81" y="690"/>
                  </a:cubicBezTo>
                  <a:cubicBezTo>
                    <a:pt x="84" y="690"/>
                    <a:pt x="87" y="688"/>
                    <a:pt x="88" y="685"/>
                  </a:cubicBezTo>
                  <a:cubicBezTo>
                    <a:pt x="108" y="622"/>
                    <a:pt x="108" y="622"/>
                    <a:pt x="108" y="622"/>
                  </a:cubicBezTo>
                  <a:cubicBezTo>
                    <a:pt x="401" y="622"/>
                    <a:pt x="401" y="622"/>
                    <a:pt x="401" y="622"/>
                  </a:cubicBezTo>
                  <a:cubicBezTo>
                    <a:pt x="421" y="685"/>
                    <a:pt x="421" y="685"/>
                    <a:pt x="421" y="685"/>
                  </a:cubicBezTo>
                  <a:cubicBezTo>
                    <a:pt x="422" y="688"/>
                    <a:pt x="425" y="690"/>
                    <a:pt x="428" y="690"/>
                  </a:cubicBezTo>
                  <a:cubicBezTo>
                    <a:pt x="428" y="690"/>
                    <a:pt x="429" y="690"/>
                    <a:pt x="430" y="690"/>
                  </a:cubicBezTo>
                  <a:cubicBezTo>
                    <a:pt x="433" y="689"/>
                    <a:pt x="435" y="685"/>
                    <a:pt x="434" y="681"/>
                  </a:cubicBezTo>
                  <a:lnTo>
                    <a:pt x="277" y="176"/>
                  </a:lnTo>
                  <a:close/>
                  <a:moveTo>
                    <a:pt x="189" y="362"/>
                  </a:moveTo>
                  <a:cubicBezTo>
                    <a:pt x="320" y="362"/>
                    <a:pt x="320" y="362"/>
                    <a:pt x="320" y="362"/>
                  </a:cubicBezTo>
                  <a:cubicBezTo>
                    <a:pt x="351" y="462"/>
                    <a:pt x="351" y="462"/>
                    <a:pt x="351" y="462"/>
                  </a:cubicBezTo>
                  <a:cubicBezTo>
                    <a:pt x="157" y="462"/>
                    <a:pt x="157" y="462"/>
                    <a:pt x="157" y="462"/>
                  </a:cubicBezTo>
                  <a:lnTo>
                    <a:pt x="189" y="362"/>
                  </a:lnTo>
                  <a:close/>
                  <a:moveTo>
                    <a:pt x="219" y="265"/>
                  </a:moveTo>
                  <a:cubicBezTo>
                    <a:pt x="290" y="265"/>
                    <a:pt x="290" y="265"/>
                    <a:pt x="290" y="265"/>
                  </a:cubicBezTo>
                  <a:cubicBezTo>
                    <a:pt x="316" y="348"/>
                    <a:pt x="316" y="348"/>
                    <a:pt x="316" y="348"/>
                  </a:cubicBezTo>
                  <a:cubicBezTo>
                    <a:pt x="193" y="348"/>
                    <a:pt x="193" y="348"/>
                    <a:pt x="193" y="348"/>
                  </a:cubicBezTo>
                  <a:lnTo>
                    <a:pt x="219" y="265"/>
                  </a:lnTo>
                  <a:close/>
                  <a:moveTo>
                    <a:pt x="253" y="127"/>
                  </a:moveTo>
                  <a:cubicBezTo>
                    <a:pt x="265" y="127"/>
                    <a:pt x="275" y="137"/>
                    <a:pt x="275" y="149"/>
                  </a:cubicBezTo>
                  <a:cubicBezTo>
                    <a:pt x="275" y="161"/>
                    <a:pt x="265" y="171"/>
                    <a:pt x="253" y="171"/>
                  </a:cubicBezTo>
                  <a:cubicBezTo>
                    <a:pt x="250" y="171"/>
                    <a:pt x="248" y="170"/>
                    <a:pt x="245" y="169"/>
                  </a:cubicBezTo>
                  <a:cubicBezTo>
                    <a:pt x="244" y="168"/>
                    <a:pt x="243" y="168"/>
                    <a:pt x="242" y="167"/>
                  </a:cubicBezTo>
                  <a:cubicBezTo>
                    <a:pt x="242" y="167"/>
                    <a:pt x="241" y="167"/>
                    <a:pt x="241" y="167"/>
                  </a:cubicBezTo>
                  <a:cubicBezTo>
                    <a:pt x="235" y="163"/>
                    <a:pt x="231" y="156"/>
                    <a:pt x="231" y="149"/>
                  </a:cubicBezTo>
                  <a:cubicBezTo>
                    <a:pt x="231" y="137"/>
                    <a:pt x="241" y="127"/>
                    <a:pt x="253" y="127"/>
                  </a:cubicBezTo>
                  <a:close/>
                  <a:moveTo>
                    <a:pt x="253" y="185"/>
                  </a:moveTo>
                  <a:cubicBezTo>
                    <a:pt x="257" y="185"/>
                    <a:pt x="261" y="184"/>
                    <a:pt x="264" y="183"/>
                  </a:cubicBezTo>
                  <a:cubicBezTo>
                    <a:pt x="286" y="251"/>
                    <a:pt x="286" y="251"/>
                    <a:pt x="286" y="251"/>
                  </a:cubicBezTo>
                  <a:cubicBezTo>
                    <a:pt x="223" y="251"/>
                    <a:pt x="223" y="251"/>
                    <a:pt x="223" y="251"/>
                  </a:cubicBezTo>
                  <a:cubicBezTo>
                    <a:pt x="244" y="184"/>
                    <a:pt x="244" y="184"/>
                    <a:pt x="244" y="184"/>
                  </a:cubicBezTo>
                  <a:cubicBezTo>
                    <a:pt x="247" y="184"/>
                    <a:pt x="250" y="185"/>
                    <a:pt x="253" y="185"/>
                  </a:cubicBezTo>
                  <a:close/>
                  <a:moveTo>
                    <a:pt x="112" y="608"/>
                  </a:moveTo>
                  <a:cubicBezTo>
                    <a:pt x="153" y="476"/>
                    <a:pt x="153" y="476"/>
                    <a:pt x="153" y="476"/>
                  </a:cubicBezTo>
                  <a:cubicBezTo>
                    <a:pt x="356" y="476"/>
                    <a:pt x="356" y="476"/>
                    <a:pt x="356" y="476"/>
                  </a:cubicBezTo>
                  <a:cubicBezTo>
                    <a:pt x="397" y="608"/>
                    <a:pt x="397" y="608"/>
                    <a:pt x="397" y="608"/>
                  </a:cubicBezTo>
                  <a:lnTo>
                    <a:pt x="112" y="608"/>
                  </a:lnTo>
                  <a:close/>
                  <a:moveTo>
                    <a:pt x="56" y="284"/>
                  </a:moveTo>
                  <a:cubicBezTo>
                    <a:pt x="59" y="287"/>
                    <a:pt x="58" y="291"/>
                    <a:pt x="55" y="294"/>
                  </a:cubicBezTo>
                  <a:cubicBezTo>
                    <a:pt x="53" y="294"/>
                    <a:pt x="52" y="295"/>
                    <a:pt x="51" y="295"/>
                  </a:cubicBezTo>
                  <a:cubicBezTo>
                    <a:pt x="49" y="295"/>
                    <a:pt x="46" y="294"/>
                    <a:pt x="45" y="292"/>
                  </a:cubicBezTo>
                  <a:cubicBezTo>
                    <a:pt x="15" y="249"/>
                    <a:pt x="0" y="199"/>
                    <a:pt x="0" y="147"/>
                  </a:cubicBezTo>
                  <a:cubicBezTo>
                    <a:pt x="0" y="96"/>
                    <a:pt x="15" y="47"/>
                    <a:pt x="43" y="5"/>
                  </a:cubicBezTo>
                  <a:cubicBezTo>
                    <a:pt x="45" y="2"/>
                    <a:pt x="50" y="1"/>
                    <a:pt x="53" y="3"/>
                  </a:cubicBezTo>
                  <a:cubicBezTo>
                    <a:pt x="56" y="5"/>
                    <a:pt x="57" y="9"/>
                    <a:pt x="55" y="13"/>
                  </a:cubicBezTo>
                  <a:cubicBezTo>
                    <a:pt x="28" y="52"/>
                    <a:pt x="14" y="99"/>
                    <a:pt x="14" y="147"/>
                  </a:cubicBezTo>
                  <a:cubicBezTo>
                    <a:pt x="14" y="196"/>
                    <a:pt x="29" y="243"/>
                    <a:pt x="56" y="284"/>
                  </a:cubicBezTo>
                  <a:close/>
                  <a:moveTo>
                    <a:pt x="509" y="147"/>
                  </a:moveTo>
                  <a:cubicBezTo>
                    <a:pt x="509" y="200"/>
                    <a:pt x="493" y="250"/>
                    <a:pt x="463" y="293"/>
                  </a:cubicBezTo>
                  <a:cubicBezTo>
                    <a:pt x="462" y="295"/>
                    <a:pt x="459" y="296"/>
                    <a:pt x="457" y="296"/>
                  </a:cubicBezTo>
                  <a:cubicBezTo>
                    <a:pt x="456" y="296"/>
                    <a:pt x="454" y="296"/>
                    <a:pt x="453" y="295"/>
                  </a:cubicBezTo>
                  <a:cubicBezTo>
                    <a:pt x="450" y="293"/>
                    <a:pt x="449" y="288"/>
                    <a:pt x="452" y="285"/>
                  </a:cubicBezTo>
                  <a:cubicBezTo>
                    <a:pt x="480" y="244"/>
                    <a:pt x="495" y="197"/>
                    <a:pt x="495" y="147"/>
                  </a:cubicBezTo>
                  <a:cubicBezTo>
                    <a:pt x="495" y="98"/>
                    <a:pt x="481" y="52"/>
                    <a:pt x="453" y="11"/>
                  </a:cubicBezTo>
                  <a:cubicBezTo>
                    <a:pt x="451" y="8"/>
                    <a:pt x="452" y="4"/>
                    <a:pt x="455" y="2"/>
                  </a:cubicBezTo>
                  <a:cubicBezTo>
                    <a:pt x="458" y="0"/>
                    <a:pt x="463" y="0"/>
                    <a:pt x="465" y="4"/>
                  </a:cubicBezTo>
                  <a:cubicBezTo>
                    <a:pt x="494" y="46"/>
                    <a:pt x="509" y="96"/>
                    <a:pt x="509" y="147"/>
                  </a:cubicBezTo>
                  <a:close/>
                  <a:moveTo>
                    <a:pt x="93" y="259"/>
                  </a:moveTo>
                  <a:cubicBezTo>
                    <a:pt x="70" y="226"/>
                    <a:pt x="58" y="187"/>
                    <a:pt x="58" y="147"/>
                  </a:cubicBezTo>
                  <a:cubicBezTo>
                    <a:pt x="58" y="108"/>
                    <a:pt x="69" y="70"/>
                    <a:pt x="91" y="38"/>
                  </a:cubicBezTo>
                  <a:cubicBezTo>
                    <a:pt x="93" y="35"/>
                    <a:pt x="98" y="34"/>
                    <a:pt x="101" y="36"/>
                  </a:cubicBezTo>
                  <a:cubicBezTo>
                    <a:pt x="104" y="38"/>
                    <a:pt x="105" y="42"/>
                    <a:pt x="103" y="46"/>
                  </a:cubicBezTo>
                  <a:cubicBezTo>
                    <a:pt x="83" y="76"/>
                    <a:pt x="72" y="111"/>
                    <a:pt x="72" y="147"/>
                  </a:cubicBezTo>
                  <a:cubicBezTo>
                    <a:pt x="72" y="184"/>
                    <a:pt x="83" y="220"/>
                    <a:pt x="104" y="251"/>
                  </a:cubicBezTo>
                  <a:cubicBezTo>
                    <a:pt x="107" y="254"/>
                    <a:pt x="106" y="258"/>
                    <a:pt x="103" y="261"/>
                  </a:cubicBezTo>
                  <a:cubicBezTo>
                    <a:pt x="101" y="261"/>
                    <a:pt x="100" y="262"/>
                    <a:pt x="99" y="262"/>
                  </a:cubicBezTo>
                  <a:cubicBezTo>
                    <a:pt x="96" y="262"/>
                    <a:pt x="94" y="261"/>
                    <a:pt x="93" y="259"/>
                  </a:cubicBezTo>
                  <a:close/>
                  <a:moveTo>
                    <a:pt x="404" y="252"/>
                  </a:moveTo>
                  <a:cubicBezTo>
                    <a:pt x="425" y="221"/>
                    <a:pt x="437" y="185"/>
                    <a:pt x="437" y="147"/>
                  </a:cubicBezTo>
                  <a:cubicBezTo>
                    <a:pt x="437" y="110"/>
                    <a:pt x="426" y="75"/>
                    <a:pt x="405" y="44"/>
                  </a:cubicBezTo>
                  <a:cubicBezTo>
                    <a:pt x="403" y="41"/>
                    <a:pt x="404" y="37"/>
                    <a:pt x="407" y="35"/>
                  </a:cubicBezTo>
                  <a:cubicBezTo>
                    <a:pt x="410" y="32"/>
                    <a:pt x="415" y="33"/>
                    <a:pt x="417" y="37"/>
                  </a:cubicBezTo>
                  <a:cubicBezTo>
                    <a:pt x="439" y="69"/>
                    <a:pt x="451" y="107"/>
                    <a:pt x="451" y="147"/>
                  </a:cubicBezTo>
                  <a:cubicBezTo>
                    <a:pt x="451" y="188"/>
                    <a:pt x="439" y="227"/>
                    <a:pt x="415" y="260"/>
                  </a:cubicBezTo>
                  <a:cubicBezTo>
                    <a:pt x="414" y="262"/>
                    <a:pt x="412" y="263"/>
                    <a:pt x="409" y="263"/>
                  </a:cubicBezTo>
                  <a:cubicBezTo>
                    <a:pt x="408" y="263"/>
                    <a:pt x="407" y="263"/>
                    <a:pt x="405" y="262"/>
                  </a:cubicBezTo>
                  <a:cubicBezTo>
                    <a:pt x="402" y="260"/>
                    <a:pt x="401" y="255"/>
                    <a:pt x="404" y="252"/>
                  </a:cubicBezTo>
                  <a:close/>
                  <a:moveTo>
                    <a:pt x="308" y="186"/>
                  </a:moveTo>
                  <a:cubicBezTo>
                    <a:pt x="316" y="175"/>
                    <a:pt x="321" y="161"/>
                    <a:pt x="321" y="147"/>
                  </a:cubicBezTo>
                  <a:cubicBezTo>
                    <a:pt x="321" y="134"/>
                    <a:pt x="317" y="121"/>
                    <a:pt x="309" y="110"/>
                  </a:cubicBezTo>
                  <a:cubicBezTo>
                    <a:pt x="307" y="107"/>
                    <a:pt x="308" y="103"/>
                    <a:pt x="311" y="100"/>
                  </a:cubicBezTo>
                  <a:cubicBezTo>
                    <a:pt x="314" y="98"/>
                    <a:pt x="319" y="99"/>
                    <a:pt x="321" y="102"/>
                  </a:cubicBezTo>
                  <a:cubicBezTo>
                    <a:pt x="330" y="116"/>
                    <a:pt x="335" y="131"/>
                    <a:pt x="335" y="147"/>
                  </a:cubicBezTo>
                  <a:cubicBezTo>
                    <a:pt x="335" y="164"/>
                    <a:pt x="329" y="180"/>
                    <a:pt x="319" y="194"/>
                  </a:cubicBezTo>
                  <a:cubicBezTo>
                    <a:pt x="318" y="196"/>
                    <a:pt x="315" y="197"/>
                    <a:pt x="313" y="197"/>
                  </a:cubicBezTo>
                  <a:cubicBezTo>
                    <a:pt x="312" y="197"/>
                    <a:pt x="310" y="197"/>
                    <a:pt x="309" y="196"/>
                  </a:cubicBezTo>
                  <a:cubicBezTo>
                    <a:pt x="306" y="194"/>
                    <a:pt x="305" y="189"/>
                    <a:pt x="308" y="186"/>
                  </a:cubicBezTo>
                  <a:close/>
                  <a:moveTo>
                    <a:pt x="356" y="219"/>
                  </a:moveTo>
                  <a:cubicBezTo>
                    <a:pt x="371" y="198"/>
                    <a:pt x="379" y="173"/>
                    <a:pt x="379" y="147"/>
                  </a:cubicBezTo>
                  <a:cubicBezTo>
                    <a:pt x="379" y="122"/>
                    <a:pt x="371" y="98"/>
                    <a:pt x="357" y="77"/>
                  </a:cubicBezTo>
                  <a:cubicBezTo>
                    <a:pt x="355" y="74"/>
                    <a:pt x="356" y="70"/>
                    <a:pt x="359" y="68"/>
                  </a:cubicBezTo>
                  <a:cubicBezTo>
                    <a:pt x="362" y="65"/>
                    <a:pt x="367" y="66"/>
                    <a:pt x="369" y="69"/>
                  </a:cubicBezTo>
                  <a:cubicBezTo>
                    <a:pt x="384" y="92"/>
                    <a:pt x="393" y="119"/>
                    <a:pt x="393" y="147"/>
                  </a:cubicBezTo>
                  <a:cubicBezTo>
                    <a:pt x="393" y="176"/>
                    <a:pt x="384" y="204"/>
                    <a:pt x="367" y="227"/>
                  </a:cubicBezTo>
                  <a:cubicBezTo>
                    <a:pt x="366" y="229"/>
                    <a:pt x="364" y="230"/>
                    <a:pt x="361" y="230"/>
                  </a:cubicBezTo>
                  <a:cubicBezTo>
                    <a:pt x="360" y="230"/>
                    <a:pt x="359" y="230"/>
                    <a:pt x="357" y="229"/>
                  </a:cubicBezTo>
                  <a:cubicBezTo>
                    <a:pt x="354" y="227"/>
                    <a:pt x="353" y="222"/>
                    <a:pt x="356" y="219"/>
                  </a:cubicBezTo>
                  <a:close/>
                  <a:moveTo>
                    <a:pt x="141" y="226"/>
                  </a:moveTo>
                  <a:cubicBezTo>
                    <a:pt x="125" y="203"/>
                    <a:pt x="116" y="175"/>
                    <a:pt x="116" y="147"/>
                  </a:cubicBezTo>
                  <a:cubicBezTo>
                    <a:pt x="116" y="120"/>
                    <a:pt x="124" y="93"/>
                    <a:pt x="139" y="71"/>
                  </a:cubicBezTo>
                  <a:cubicBezTo>
                    <a:pt x="141" y="68"/>
                    <a:pt x="146" y="67"/>
                    <a:pt x="149" y="69"/>
                  </a:cubicBezTo>
                  <a:cubicBezTo>
                    <a:pt x="152" y="71"/>
                    <a:pt x="153" y="75"/>
                    <a:pt x="151" y="78"/>
                  </a:cubicBezTo>
                  <a:cubicBezTo>
                    <a:pt x="137" y="99"/>
                    <a:pt x="130" y="123"/>
                    <a:pt x="130" y="147"/>
                  </a:cubicBezTo>
                  <a:cubicBezTo>
                    <a:pt x="130" y="173"/>
                    <a:pt x="138" y="197"/>
                    <a:pt x="152" y="218"/>
                  </a:cubicBezTo>
                  <a:cubicBezTo>
                    <a:pt x="155" y="221"/>
                    <a:pt x="154" y="225"/>
                    <a:pt x="151" y="228"/>
                  </a:cubicBezTo>
                  <a:cubicBezTo>
                    <a:pt x="149" y="229"/>
                    <a:pt x="148" y="229"/>
                    <a:pt x="147" y="229"/>
                  </a:cubicBezTo>
                  <a:cubicBezTo>
                    <a:pt x="144" y="229"/>
                    <a:pt x="142" y="228"/>
                    <a:pt x="141" y="226"/>
                  </a:cubicBezTo>
                  <a:close/>
                  <a:moveTo>
                    <a:pt x="189" y="193"/>
                  </a:moveTo>
                  <a:cubicBezTo>
                    <a:pt x="179" y="179"/>
                    <a:pt x="174" y="164"/>
                    <a:pt x="174" y="147"/>
                  </a:cubicBezTo>
                  <a:cubicBezTo>
                    <a:pt x="174" y="132"/>
                    <a:pt x="179" y="117"/>
                    <a:pt x="187" y="104"/>
                  </a:cubicBezTo>
                  <a:cubicBezTo>
                    <a:pt x="189" y="101"/>
                    <a:pt x="193" y="100"/>
                    <a:pt x="197" y="102"/>
                  </a:cubicBezTo>
                  <a:cubicBezTo>
                    <a:pt x="200" y="104"/>
                    <a:pt x="201" y="108"/>
                    <a:pt x="199" y="111"/>
                  </a:cubicBezTo>
                  <a:cubicBezTo>
                    <a:pt x="192" y="122"/>
                    <a:pt x="188" y="134"/>
                    <a:pt x="188" y="147"/>
                  </a:cubicBezTo>
                  <a:cubicBezTo>
                    <a:pt x="188" y="161"/>
                    <a:pt x="192" y="174"/>
                    <a:pt x="200" y="185"/>
                  </a:cubicBezTo>
                  <a:cubicBezTo>
                    <a:pt x="203" y="188"/>
                    <a:pt x="202" y="193"/>
                    <a:pt x="199" y="195"/>
                  </a:cubicBezTo>
                  <a:cubicBezTo>
                    <a:pt x="197" y="196"/>
                    <a:pt x="196" y="196"/>
                    <a:pt x="195" y="196"/>
                  </a:cubicBezTo>
                  <a:cubicBezTo>
                    <a:pt x="192" y="196"/>
                    <a:pt x="190" y="195"/>
                    <a:pt x="189" y="19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9262" name="Group 9261"/>
          <p:cNvGrpSpPr/>
          <p:nvPr/>
        </p:nvGrpSpPr>
        <p:grpSpPr>
          <a:xfrm>
            <a:off x="966871" y="2294391"/>
            <a:ext cx="822960" cy="822960"/>
            <a:chOff x="7723188" y="2476500"/>
            <a:chExt cx="949325" cy="949325"/>
          </a:xfrm>
        </p:grpSpPr>
        <p:sp>
          <p:nvSpPr>
            <p:cNvPr id="19" name="Oval 12"/>
            <p:cNvSpPr>
              <a:spLocks noChangeArrowheads="1"/>
            </p:cNvSpPr>
            <p:nvPr/>
          </p:nvSpPr>
          <p:spPr bwMode="auto">
            <a:xfrm>
              <a:off x="7723188" y="2476500"/>
              <a:ext cx="949325" cy="9493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0" name="Freeform 23"/>
            <p:cNvSpPr>
              <a:spLocks noEditPoints="1"/>
            </p:cNvSpPr>
            <p:nvPr/>
          </p:nvSpPr>
          <p:spPr bwMode="auto">
            <a:xfrm>
              <a:off x="7866063" y="2717800"/>
              <a:ext cx="663575" cy="466725"/>
            </a:xfrm>
            <a:custGeom>
              <a:avLst/>
              <a:gdLst>
                <a:gd name="T0" fmla="*/ 555 w 743"/>
                <a:gd name="T1" fmla="*/ 376 h 521"/>
                <a:gd name="T2" fmla="*/ 545 w 743"/>
                <a:gd name="T3" fmla="*/ 376 h 521"/>
                <a:gd name="T4" fmla="*/ 589 w 743"/>
                <a:gd name="T5" fmla="*/ 253 h 521"/>
                <a:gd name="T6" fmla="*/ 546 w 743"/>
                <a:gd name="T7" fmla="*/ 130 h 521"/>
                <a:gd name="T8" fmla="*/ 603 w 743"/>
                <a:gd name="T9" fmla="*/ 253 h 521"/>
                <a:gd name="T10" fmla="*/ 593 w 743"/>
                <a:gd name="T11" fmla="*/ 70 h 521"/>
                <a:gd name="T12" fmla="*/ 659 w 743"/>
                <a:gd name="T13" fmla="*/ 253 h 521"/>
                <a:gd name="T14" fmla="*/ 592 w 743"/>
                <a:gd name="T15" fmla="*/ 437 h 521"/>
                <a:gd name="T16" fmla="*/ 602 w 743"/>
                <a:gd name="T17" fmla="*/ 436 h 521"/>
                <a:gd name="T18" fmla="*/ 602 w 743"/>
                <a:gd name="T19" fmla="*/ 70 h 521"/>
                <a:gd name="T20" fmla="*/ 639 w 743"/>
                <a:gd name="T21" fmla="*/ 10 h 521"/>
                <a:gd name="T22" fmla="*/ 729 w 743"/>
                <a:gd name="T23" fmla="*/ 253 h 521"/>
                <a:gd name="T24" fmla="*/ 638 w 743"/>
                <a:gd name="T25" fmla="*/ 497 h 521"/>
                <a:gd name="T26" fmla="*/ 648 w 743"/>
                <a:gd name="T27" fmla="*/ 497 h 521"/>
                <a:gd name="T28" fmla="*/ 649 w 743"/>
                <a:gd name="T29" fmla="*/ 10 h 521"/>
                <a:gd name="T30" fmla="*/ 485 w 743"/>
                <a:gd name="T31" fmla="*/ 480 h 521"/>
                <a:gd name="T32" fmla="*/ 403 w 743"/>
                <a:gd name="T33" fmla="*/ 485 h 521"/>
                <a:gd name="T34" fmla="*/ 308 w 743"/>
                <a:gd name="T35" fmla="*/ 462 h 521"/>
                <a:gd name="T36" fmla="*/ 247 w 743"/>
                <a:gd name="T37" fmla="*/ 488 h 521"/>
                <a:gd name="T38" fmla="*/ 137 w 743"/>
                <a:gd name="T39" fmla="*/ 392 h 521"/>
                <a:gd name="T40" fmla="*/ 80 w 743"/>
                <a:gd name="T41" fmla="*/ 353 h 521"/>
                <a:gd name="T42" fmla="*/ 0 w 743"/>
                <a:gd name="T43" fmla="*/ 343 h 521"/>
                <a:gd name="T44" fmla="*/ 41 w 743"/>
                <a:gd name="T45" fmla="*/ 124 h 521"/>
                <a:gd name="T46" fmla="*/ 403 w 743"/>
                <a:gd name="T47" fmla="*/ 36 h 521"/>
                <a:gd name="T48" fmla="*/ 485 w 743"/>
                <a:gd name="T49" fmla="*/ 41 h 521"/>
                <a:gd name="T50" fmla="*/ 156 w 743"/>
                <a:gd name="T51" fmla="*/ 383 h 521"/>
                <a:gd name="T52" fmla="*/ 168 w 743"/>
                <a:gd name="T53" fmla="*/ 441 h 521"/>
                <a:gd name="T54" fmla="*/ 295 w 743"/>
                <a:gd name="T55" fmla="*/ 457 h 521"/>
                <a:gd name="T56" fmla="*/ 471 w 743"/>
                <a:gd name="T57" fmla="*/ 41 h 521"/>
                <a:gd name="T58" fmla="*/ 417 w 743"/>
                <a:gd name="T59" fmla="*/ 41 h 521"/>
                <a:gd name="T60" fmla="*/ 77 w 743"/>
                <a:gd name="T61" fmla="*/ 171 h 521"/>
                <a:gd name="T62" fmla="*/ 68 w 743"/>
                <a:gd name="T63" fmla="*/ 165 h 521"/>
                <a:gd name="T64" fmla="*/ 14 w 743"/>
                <a:gd name="T65" fmla="*/ 165 h 521"/>
                <a:gd name="T66" fmla="*/ 41 w 743"/>
                <a:gd name="T67" fmla="*/ 370 h 521"/>
                <a:gd name="T68" fmla="*/ 71 w 743"/>
                <a:gd name="T69" fmla="*/ 337 h 521"/>
                <a:gd name="T70" fmla="*/ 77 w 743"/>
                <a:gd name="T71" fmla="*/ 336 h 521"/>
                <a:gd name="T72" fmla="*/ 313 w 743"/>
                <a:gd name="T73" fmla="*/ 433 h 521"/>
                <a:gd name="T74" fmla="*/ 413 w 743"/>
                <a:gd name="T75" fmla="*/ 473 h 521"/>
                <a:gd name="T76" fmla="*/ 444 w 743"/>
                <a:gd name="T77" fmla="*/ 507 h 521"/>
                <a:gd name="T78" fmla="*/ 471 w 743"/>
                <a:gd name="T79" fmla="*/ 41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43" h="521">
                  <a:moveTo>
                    <a:pt x="603" y="253"/>
                  </a:moveTo>
                  <a:cubicBezTo>
                    <a:pt x="603" y="300"/>
                    <a:pt x="586" y="344"/>
                    <a:pt x="555" y="376"/>
                  </a:cubicBezTo>
                  <a:cubicBezTo>
                    <a:pt x="554" y="378"/>
                    <a:pt x="552" y="378"/>
                    <a:pt x="550" y="378"/>
                  </a:cubicBezTo>
                  <a:cubicBezTo>
                    <a:pt x="549" y="378"/>
                    <a:pt x="547" y="378"/>
                    <a:pt x="545" y="376"/>
                  </a:cubicBezTo>
                  <a:cubicBezTo>
                    <a:pt x="543" y="374"/>
                    <a:pt x="543" y="369"/>
                    <a:pt x="545" y="367"/>
                  </a:cubicBezTo>
                  <a:cubicBezTo>
                    <a:pt x="574" y="337"/>
                    <a:pt x="589" y="296"/>
                    <a:pt x="589" y="253"/>
                  </a:cubicBezTo>
                  <a:cubicBezTo>
                    <a:pt x="589" y="210"/>
                    <a:pt x="574" y="170"/>
                    <a:pt x="546" y="140"/>
                  </a:cubicBezTo>
                  <a:cubicBezTo>
                    <a:pt x="543" y="137"/>
                    <a:pt x="543" y="133"/>
                    <a:pt x="546" y="130"/>
                  </a:cubicBezTo>
                  <a:cubicBezTo>
                    <a:pt x="549" y="128"/>
                    <a:pt x="553" y="128"/>
                    <a:pt x="556" y="131"/>
                  </a:cubicBezTo>
                  <a:cubicBezTo>
                    <a:pt x="587" y="163"/>
                    <a:pt x="603" y="207"/>
                    <a:pt x="603" y="253"/>
                  </a:cubicBezTo>
                  <a:close/>
                  <a:moveTo>
                    <a:pt x="602" y="70"/>
                  </a:moveTo>
                  <a:cubicBezTo>
                    <a:pt x="600" y="68"/>
                    <a:pt x="595" y="67"/>
                    <a:pt x="593" y="70"/>
                  </a:cubicBezTo>
                  <a:cubicBezTo>
                    <a:pt x="590" y="73"/>
                    <a:pt x="590" y="77"/>
                    <a:pt x="592" y="80"/>
                  </a:cubicBezTo>
                  <a:cubicBezTo>
                    <a:pt x="636" y="126"/>
                    <a:pt x="659" y="187"/>
                    <a:pt x="659" y="253"/>
                  </a:cubicBezTo>
                  <a:cubicBezTo>
                    <a:pt x="659" y="319"/>
                    <a:pt x="635" y="381"/>
                    <a:pt x="592" y="427"/>
                  </a:cubicBezTo>
                  <a:cubicBezTo>
                    <a:pt x="589" y="430"/>
                    <a:pt x="589" y="434"/>
                    <a:pt x="592" y="437"/>
                  </a:cubicBezTo>
                  <a:cubicBezTo>
                    <a:pt x="593" y="438"/>
                    <a:pt x="595" y="439"/>
                    <a:pt x="597" y="439"/>
                  </a:cubicBezTo>
                  <a:cubicBezTo>
                    <a:pt x="599" y="439"/>
                    <a:pt x="601" y="438"/>
                    <a:pt x="602" y="436"/>
                  </a:cubicBezTo>
                  <a:cubicBezTo>
                    <a:pt x="648" y="388"/>
                    <a:pt x="673" y="323"/>
                    <a:pt x="673" y="253"/>
                  </a:cubicBezTo>
                  <a:cubicBezTo>
                    <a:pt x="673" y="184"/>
                    <a:pt x="648" y="119"/>
                    <a:pt x="602" y="70"/>
                  </a:cubicBezTo>
                  <a:close/>
                  <a:moveTo>
                    <a:pt x="649" y="10"/>
                  </a:moveTo>
                  <a:cubicBezTo>
                    <a:pt x="646" y="7"/>
                    <a:pt x="642" y="7"/>
                    <a:pt x="639" y="10"/>
                  </a:cubicBezTo>
                  <a:cubicBezTo>
                    <a:pt x="636" y="12"/>
                    <a:pt x="636" y="17"/>
                    <a:pt x="639" y="20"/>
                  </a:cubicBezTo>
                  <a:cubicBezTo>
                    <a:pt x="697" y="81"/>
                    <a:pt x="729" y="164"/>
                    <a:pt x="729" y="253"/>
                  </a:cubicBezTo>
                  <a:cubicBezTo>
                    <a:pt x="729" y="342"/>
                    <a:pt x="697" y="425"/>
                    <a:pt x="638" y="487"/>
                  </a:cubicBezTo>
                  <a:cubicBezTo>
                    <a:pt x="636" y="490"/>
                    <a:pt x="636" y="494"/>
                    <a:pt x="638" y="497"/>
                  </a:cubicBezTo>
                  <a:cubicBezTo>
                    <a:pt x="640" y="498"/>
                    <a:pt x="642" y="499"/>
                    <a:pt x="643" y="499"/>
                  </a:cubicBezTo>
                  <a:cubicBezTo>
                    <a:pt x="645" y="499"/>
                    <a:pt x="647" y="498"/>
                    <a:pt x="648" y="497"/>
                  </a:cubicBezTo>
                  <a:cubicBezTo>
                    <a:pt x="709" y="432"/>
                    <a:pt x="743" y="346"/>
                    <a:pt x="743" y="253"/>
                  </a:cubicBezTo>
                  <a:cubicBezTo>
                    <a:pt x="743" y="161"/>
                    <a:pt x="710" y="74"/>
                    <a:pt x="649" y="10"/>
                  </a:cubicBezTo>
                  <a:close/>
                  <a:moveTo>
                    <a:pt x="485" y="41"/>
                  </a:moveTo>
                  <a:cubicBezTo>
                    <a:pt x="485" y="480"/>
                    <a:pt x="485" y="480"/>
                    <a:pt x="485" y="480"/>
                  </a:cubicBezTo>
                  <a:cubicBezTo>
                    <a:pt x="485" y="502"/>
                    <a:pt x="467" y="521"/>
                    <a:pt x="444" y="521"/>
                  </a:cubicBezTo>
                  <a:cubicBezTo>
                    <a:pt x="423" y="521"/>
                    <a:pt x="406" y="505"/>
                    <a:pt x="403" y="485"/>
                  </a:cubicBezTo>
                  <a:cubicBezTo>
                    <a:pt x="314" y="448"/>
                    <a:pt x="314" y="448"/>
                    <a:pt x="314" y="448"/>
                  </a:cubicBezTo>
                  <a:cubicBezTo>
                    <a:pt x="308" y="462"/>
                    <a:pt x="308" y="462"/>
                    <a:pt x="308" y="462"/>
                  </a:cubicBezTo>
                  <a:cubicBezTo>
                    <a:pt x="301" y="481"/>
                    <a:pt x="283" y="492"/>
                    <a:pt x="265" y="492"/>
                  </a:cubicBezTo>
                  <a:cubicBezTo>
                    <a:pt x="259" y="492"/>
                    <a:pt x="253" y="491"/>
                    <a:pt x="247" y="488"/>
                  </a:cubicBezTo>
                  <a:cubicBezTo>
                    <a:pt x="162" y="454"/>
                    <a:pt x="162" y="454"/>
                    <a:pt x="162" y="454"/>
                  </a:cubicBezTo>
                  <a:cubicBezTo>
                    <a:pt x="138" y="444"/>
                    <a:pt x="127" y="416"/>
                    <a:pt x="137" y="392"/>
                  </a:cubicBezTo>
                  <a:cubicBezTo>
                    <a:pt x="143" y="378"/>
                    <a:pt x="143" y="378"/>
                    <a:pt x="143" y="378"/>
                  </a:cubicBezTo>
                  <a:cubicBezTo>
                    <a:pt x="80" y="353"/>
                    <a:pt x="80" y="353"/>
                    <a:pt x="80" y="353"/>
                  </a:cubicBezTo>
                  <a:cubicBezTo>
                    <a:pt x="76" y="370"/>
                    <a:pt x="60" y="384"/>
                    <a:pt x="41" y="384"/>
                  </a:cubicBezTo>
                  <a:cubicBezTo>
                    <a:pt x="18" y="384"/>
                    <a:pt x="0" y="365"/>
                    <a:pt x="0" y="3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42"/>
                    <a:pt x="18" y="124"/>
                    <a:pt x="41" y="124"/>
                  </a:cubicBezTo>
                  <a:cubicBezTo>
                    <a:pt x="60" y="124"/>
                    <a:pt x="76" y="137"/>
                    <a:pt x="81" y="155"/>
                  </a:cubicBezTo>
                  <a:cubicBezTo>
                    <a:pt x="403" y="36"/>
                    <a:pt x="403" y="36"/>
                    <a:pt x="403" y="36"/>
                  </a:cubicBezTo>
                  <a:cubicBezTo>
                    <a:pt x="406" y="16"/>
                    <a:pt x="423" y="0"/>
                    <a:pt x="444" y="0"/>
                  </a:cubicBezTo>
                  <a:cubicBezTo>
                    <a:pt x="467" y="0"/>
                    <a:pt x="485" y="18"/>
                    <a:pt x="485" y="41"/>
                  </a:cubicBezTo>
                  <a:close/>
                  <a:moveTo>
                    <a:pt x="301" y="443"/>
                  </a:moveTo>
                  <a:cubicBezTo>
                    <a:pt x="156" y="383"/>
                    <a:pt x="156" y="383"/>
                    <a:pt x="156" y="383"/>
                  </a:cubicBezTo>
                  <a:cubicBezTo>
                    <a:pt x="150" y="398"/>
                    <a:pt x="150" y="398"/>
                    <a:pt x="150" y="398"/>
                  </a:cubicBezTo>
                  <a:cubicBezTo>
                    <a:pt x="143" y="414"/>
                    <a:pt x="151" y="434"/>
                    <a:pt x="168" y="441"/>
                  </a:cubicBezTo>
                  <a:cubicBezTo>
                    <a:pt x="252" y="475"/>
                    <a:pt x="252" y="475"/>
                    <a:pt x="252" y="475"/>
                  </a:cubicBezTo>
                  <a:cubicBezTo>
                    <a:pt x="269" y="482"/>
                    <a:pt x="288" y="474"/>
                    <a:pt x="295" y="457"/>
                  </a:cubicBezTo>
                  <a:lnTo>
                    <a:pt x="301" y="443"/>
                  </a:lnTo>
                  <a:close/>
                  <a:moveTo>
                    <a:pt x="471" y="41"/>
                  </a:moveTo>
                  <a:cubicBezTo>
                    <a:pt x="471" y="26"/>
                    <a:pt x="459" y="14"/>
                    <a:pt x="444" y="14"/>
                  </a:cubicBezTo>
                  <a:cubicBezTo>
                    <a:pt x="429" y="14"/>
                    <a:pt x="417" y="26"/>
                    <a:pt x="417" y="41"/>
                  </a:cubicBezTo>
                  <a:cubicBezTo>
                    <a:pt x="417" y="44"/>
                    <a:pt x="415" y="47"/>
                    <a:pt x="412" y="48"/>
                  </a:cubicBezTo>
                  <a:cubicBezTo>
                    <a:pt x="77" y="171"/>
                    <a:pt x="77" y="171"/>
                    <a:pt x="77" y="171"/>
                  </a:cubicBezTo>
                  <a:cubicBezTo>
                    <a:pt x="75" y="172"/>
                    <a:pt x="73" y="172"/>
                    <a:pt x="71" y="170"/>
                  </a:cubicBezTo>
                  <a:cubicBezTo>
                    <a:pt x="69" y="169"/>
                    <a:pt x="68" y="167"/>
                    <a:pt x="68" y="165"/>
                  </a:cubicBezTo>
                  <a:cubicBezTo>
                    <a:pt x="68" y="150"/>
                    <a:pt x="56" y="138"/>
                    <a:pt x="41" y="138"/>
                  </a:cubicBezTo>
                  <a:cubicBezTo>
                    <a:pt x="26" y="138"/>
                    <a:pt x="14" y="150"/>
                    <a:pt x="14" y="165"/>
                  </a:cubicBezTo>
                  <a:cubicBezTo>
                    <a:pt x="14" y="343"/>
                    <a:pt x="14" y="343"/>
                    <a:pt x="14" y="343"/>
                  </a:cubicBezTo>
                  <a:cubicBezTo>
                    <a:pt x="14" y="358"/>
                    <a:pt x="26" y="370"/>
                    <a:pt x="41" y="370"/>
                  </a:cubicBezTo>
                  <a:cubicBezTo>
                    <a:pt x="56" y="370"/>
                    <a:pt x="68" y="358"/>
                    <a:pt x="68" y="343"/>
                  </a:cubicBezTo>
                  <a:cubicBezTo>
                    <a:pt x="68" y="340"/>
                    <a:pt x="69" y="338"/>
                    <a:pt x="71" y="337"/>
                  </a:cubicBezTo>
                  <a:cubicBezTo>
                    <a:pt x="72" y="336"/>
                    <a:pt x="73" y="336"/>
                    <a:pt x="75" y="336"/>
                  </a:cubicBezTo>
                  <a:cubicBezTo>
                    <a:pt x="76" y="336"/>
                    <a:pt x="76" y="336"/>
                    <a:pt x="77" y="336"/>
                  </a:cubicBezTo>
                  <a:cubicBezTo>
                    <a:pt x="313" y="433"/>
                    <a:pt x="313" y="433"/>
                    <a:pt x="313" y="433"/>
                  </a:cubicBezTo>
                  <a:cubicBezTo>
                    <a:pt x="313" y="433"/>
                    <a:pt x="313" y="433"/>
                    <a:pt x="313" y="433"/>
                  </a:cubicBezTo>
                  <a:cubicBezTo>
                    <a:pt x="313" y="433"/>
                    <a:pt x="313" y="433"/>
                    <a:pt x="313" y="433"/>
                  </a:cubicBezTo>
                  <a:cubicBezTo>
                    <a:pt x="413" y="473"/>
                    <a:pt x="413" y="473"/>
                    <a:pt x="413" y="473"/>
                  </a:cubicBezTo>
                  <a:cubicBezTo>
                    <a:pt x="415" y="474"/>
                    <a:pt x="417" y="477"/>
                    <a:pt x="417" y="480"/>
                  </a:cubicBezTo>
                  <a:cubicBezTo>
                    <a:pt x="417" y="495"/>
                    <a:pt x="429" y="507"/>
                    <a:pt x="444" y="507"/>
                  </a:cubicBezTo>
                  <a:cubicBezTo>
                    <a:pt x="459" y="507"/>
                    <a:pt x="471" y="495"/>
                    <a:pt x="471" y="480"/>
                  </a:cubicBezTo>
                  <a:lnTo>
                    <a:pt x="471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9265" name="Group 9264"/>
          <p:cNvGrpSpPr/>
          <p:nvPr/>
        </p:nvGrpSpPr>
        <p:grpSpPr>
          <a:xfrm>
            <a:off x="2259614" y="2308853"/>
            <a:ext cx="822960" cy="822960"/>
            <a:chOff x="2524125" y="3649663"/>
            <a:chExt cx="949325" cy="950913"/>
          </a:xfrm>
        </p:grpSpPr>
        <p:sp>
          <p:nvSpPr>
            <p:cNvPr id="22" name="Oval 15"/>
            <p:cNvSpPr>
              <a:spLocks noChangeArrowheads="1"/>
            </p:cNvSpPr>
            <p:nvPr/>
          </p:nvSpPr>
          <p:spPr bwMode="auto">
            <a:xfrm>
              <a:off x="2524125" y="3649663"/>
              <a:ext cx="949325" cy="9509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31" name="Freeform 24"/>
            <p:cNvSpPr>
              <a:spLocks noEditPoints="1"/>
            </p:cNvSpPr>
            <p:nvPr/>
          </p:nvSpPr>
          <p:spPr bwMode="auto">
            <a:xfrm>
              <a:off x="2713038" y="3860800"/>
              <a:ext cx="511175" cy="549275"/>
            </a:xfrm>
            <a:custGeom>
              <a:avLst/>
              <a:gdLst>
                <a:gd name="T0" fmla="*/ 525 w 572"/>
                <a:gd name="T1" fmla="*/ 0 h 615"/>
                <a:gd name="T2" fmla="*/ 478 w 572"/>
                <a:gd name="T3" fmla="*/ 42 h 615"/>
                <a:gd name="T4" fmla="*/ 93 w 572"/>
                <a:gd name="T5" fmla="*/ 184 h 615"/>
                <a:gd name="T6" fmla="*/ 47 w 572"/>
                <a:gd name="T7" fmla="*/ 147 h 615"/>
                <a:gd name="T8" fmla="*/ 0 w 572"/>
                <a:gd name="T9" fmla="*/ 194 h 615"/>
                <a:gd name="T10" fmla="*/ 0 w 572"/>
                <a:gd name="T11" fmla="*/ 405 h 615"/>
                <a:gd name="T12" fmla="*/ 47 w 572"/>
                <a:gd name="T13" fmla="*/ 453 h 615"/>
                <a:gd name="T14" fmla="*/ 93 w 572"/>
                <a:gd name="T15" fmla="*/ 415 h 615"/>
                <a:gd name="T16" fmla="*/ 169 w 572"/>
                <a:gd name="T17" fmla="*/ 446 h 615"/>
                <a:gd name="T18" fmla="*/ 162 w 572"/>
                <a:gd name="T19" fmla="*/ 464 h 615"/>
                <a:gd name="T20" fmla="*/ 192 w 572"/>
                <a:gd name="T21" fmla="*/ 535 h 615"/>
                <a:gd name="T22" fmla="*/ 292 w 572"/>
                <a:gd name="T23" fmla="*/ 576 h 615"/>
                <a:gd name="T24" fmla="*/ 312 w 572"/>
                <a:gd name="T25" fmla="*/ 580 h 615"/>
                <a:gd name="T26" fmla="*/ 334 w 572"/>
                <a:gd name="T27" fmla="*/ 576 h 615"/>
                <a:gd name="T28" fmla="*/ 363 w 572"/>
                <a:gd name="T29" fmla="*/ 547 h 615"/>
                <a:gd name="T30" fmla="*/ 370 w 572"/>
                <a:gd name="T31" fmla="*/ 528 h 615"/>
                <a:gd name="T32" fmla="*/ 478 w 572"/>
                <a:gd name="T33" fmla="*/ 572 h 615"/>
                <a:gd name="T34" fmla="*/ 525 w 572"/>
                <a:gd name="T35" fmla="*/ 615 h 615"/>
                <a:gd name="T36" fmla="*/ 572 w 572"/>
                <a:gd name="T37" fmla="*/ 568 h 615"/>
                <a:gd name="T38" fmla="*/ 572 w 572"/>
                <a:gd name="T39" fmla="*/ 47 h 615"/>
                <a:gd name="T40" fmla="*/ 525 w 572"/>
                <a:gd name="T41" fmla="*/ 0 h 615"/>
                <a:gd name="T42" fmla="*/ 350 w 572"/>
                <a:gd name="T43" fmla="*/ 541 h 615"/>
                <a:gd name="T44" fmla="*/ 328 w 572"/>
                <a:gd name="T45" fmla="*/ 563 h 615"/>
                <a:gd name="T46" fmla="*/ 297 w 572"/>
                <a:gd name="T47" fmla="*/ 563 h 615"/>
                <a:gd name="T48" fmla="*/ 197 w 572"/>
                <a:gd name="T49" fmla="*/ 522 h 615"/>
                <a:gd name="T50" fmla="*/ 175 w 572"/>
                <a:gd name="T51" fmla="*/ 470 h 615"/>
                <a:gd name="T52" fmla="*/ 182 w 572"/>
                <a:gd name="T53" fmla="*/ 451 h 615"/>
                <a:gd name="T54" fmla="*/ 357 w 572"/>
                <a:gd name="T55" fmla="*/ 523 h 615"/>
                <a:gd name="T56" fmla="*/ 350 w 572"/>
                <a:gd name="T57" fmla="*/ 541 h 615"/>
                <a:gd name="T58" fmla="*/ 558 w 572"/>
                <a:gd name="T59" fmla="*/ 568 h 615"/>
                <a:gd name="T60" fmla="*/ 525 w 572"/>
                <a:gd name="T61" fmla="*/ 601 h 615"/>
                <a:gd name="T62" fmla="*/ 492 w 572"/>
                <a:gd name="T63" fmla="*/ 568 h 615"/>
                <a:gd name="T64" fmla="*/ 488 w 572"/>
                <a:gd name="T65" fmla="*/ 561 h 615"/>
                <a:gd name="T66" fmla="*/ 90 w 572"/>
                <a:gd name="T67" fmla="*/ 399 h 615"/>
                <a:gd name="T68" fmla="*/ 87 w 572"/>
                <a:gd name="T69" fmla="*/ 398 h 615"/>
                <a:gd name="T70" fmla="*/ 83 w 572"/>
                <a:gd name="T71" fmla="*/ 399 h 615"/>
                <a:gd name="T72" fmla="*/ 80 w 572"/>
                <a:gd name="T73" fmla="*/ 405 h 615"/>
                <a:gd name="T74" fmla="*/ 47 w 572"/>
                <a:gd name="T75" fmla="*/ 439 h 615"/>
                <a:gd name="T76" fmla="*/ 14 w 572"/>
                <a:gd name="T77" fmla="*/ 405 h 615"/>
                <a:gd name="T78" fmla="*/ 14 w 572"/>
                <a:gd name="T79" fmla="*/ 194 h 615"/>
                <a:gd name="T80" fmla="*/ 47 w 572"/>
                <a:gd name="T81" fmla="*/ 161 h 615"/>
                <a:gd name="T82" fmla="*/ 80 w 572"/>
                <a:gd name="T83" fmla="*/ 194 h 615"/>
                <a:gd name="T84" fmla="*/ 83 w 572"/>
                <a:gd name="T85" fmla="*/ 200 h 615"/>
                <a:gd name="T86" fmla="*/ 90 w 572"/>
                <a:gd name="T87" fmla="*/ 201 h 615"/>
                <a:gd name="T88" fmla="*/ 487 w 572"/>
                <a:gd name="T89" fmla="*/ 54 h 615"/>
                <a:gd name="T90" fmla="*/ 492 w 572"/>
                <a:gd name="T91" fmla="*/ 47 h 615"/>
                <a:gd name="T92" fmla="*/ 525 w 572"/>
                <a:gd name="T93" fmla="*/ 14 h 615"/>
                <a:gd name="T94" fmla="*/ 558 w 572"/>
                <a:gd name="T95" fmla="*/ 47 h 615"/>
                <a:gd name="T96" fmla="*/ 558 w 572"/>
                <a:gd name="T97" fmla="*/ 568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72" h="615">
                  <a:moveTo>
                    <a:pt x="525" y="0"/>
                  </a:moveTo>
                  <a:cubicBezTo>
                    <a:pt x="501" y="0"/>
                    <a:pt x="481" y="19"/>
                    <a:pt x="478" y="42"/>
                  </a:cubicBezTo>
                  <a:cubicBezTo>
                    <a:pt x="93" y="184"/>
                    <a:pt x="93" y="184"/>
                    <a:pt x="93" y="184"/>
                  </a:cubicBezTo>
                  <a:cubicBezTo>
                    <a:pt x="89" y="163"/>
                    <a:pt x="70" y="147"/>
                    <a:pt x="47" y="147"/>
                  </a:cubicBezTo>
                  <a:cubicBezTo>
                    <a:pt x="21" y="147"/>
                    <a:pt x="0" y="168"/>
                    <a:pt x="0" y="194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0" y="431"/>
                    <a:pt x="21" y="453"/>
                    <a:pt x="47" y="453"/>
                  </a:cubicBezTo>
                  <a:cubicBezTo>
                    <a:pt x="70" y="453"/>
                    <a:pt x="89" y="436"/>
                    <a:pt x="93" y="415"/>
                  </a:cubicBezTo>
                  <a:cubicBezTo>
                    <a:pt x="169" y="446"/>
                    <a:pt x="169" y="446"/>
                    <a:pt x="169" y="446"/>
                  </a:cubicBezTo>
                  <a:cubicBezTo>
                    <a:pt x="162" y="464"/>
                    <a:pt x="162" y="464"/>
                    <a:pt x="162" y="464"/>
                  </a:cubicBezTo>
                  <a:cubicBezTo>
                    <a:pt x="151" y="492"/>
                    <a:pt x="164" y="524"/>
                    <a:pt x="192" y="535"/>
                  </a:cubicBezTo>
                  <a:cubicBezTo>
                    <a:pt x="292" y="576"/>
                    <a:pt x="292" y="576"/>
                    <a:pt x="292" y="576"/>
                  </a:cubicBezTo>
                  <a:cubicBezTo>
                    <a:pt x="299" y="579"/>
                    <a:pt x="305" y="580"/>
                    <a:pt x="312" y="580"/>
                  </a:cubicBezTo>
                  <a:cubicBezTo>
                    <a:pt x="320" y="580"/>
                    <a:pt x="327" y="579"/>
                    <a:pt x="334" y="576"/>
                  </a:cubicBezTo>
                  <a:cubicBezTo>
                    <a:pt x="347" y="570"/>
                    <a:pt x="357" y="560"/>
                    <a:pt x="363" y="547"/>
                  </a:cubicBezTo>
                  <a:cubicBezTo>
                    <a:pt x="370" y="528"/>
                    <a:pt x="370" y="528"/>
                    <a:pt x="370" y="528"/>
                  </a:cubicBezTo>
                  <a:cubicBezTo>
                    <a:pt x="478" y="572"/>
                    <a:pt x="478" y="572"/>
                    <a:pt x="478" y="572"/>
                  </a:cubicBezTo>
                  <a:cubicBezTo>
                    <a:pt x="481" y="596"/>
                    <a:pt x="501" y="615"/>
                    <a:pt x="525" y="615"/>
                  </a:cubicBezTo>
                  <a:cubicBezTo>
                    <a:pt x="551" y="615"/>
                    <a:pt x="572" y="594"/>
                    <a:pt x="572" y="568"/>
                  </a:cubicBezTo>
                  <a:cubicBezTo>
                    <a:pt x="572" y="47"/>
                    <a:pt x="572" y="47"/>
                    <a:pt x="572" y="47"/>
                  </a:cubicBezTo>
                  <a:cubicBezTo>
                    <a:pt x="572" y="21"/>
                    <a:pt x="551" y="0"/>
                    <a:pt x="525" y="0"/>
                  </a:cubicBezTo>
                  <a:close/>
                  <a:moveTo>
                    <a:pt x="350" y="541"/>
                  </a:moveTo>
                  <a:cubicBezTo>
                    <a:pt x="346" y="551"/>
                    <a:pt x="338" y="559"/>
                    <a:pt x="328" y="563"/>
                  </a:cubicBezTo>
                  <a:cubicBezTo>
                    <a:pt x="318" y="567"/>
                    <a:pt x="307" y="567"/>
                    <a:pt x="297" y="563"/>
                  </a:cubicBezTo>
                  <a:cubicBezTo>
                    <a:pt x="197" y="522"/>
                    <a:pt x="197" y="522"/>
                    <a:pt x="197" y="522"/>
                  </a:cubicBezTo>
                  <a:cubicBezTo>
                    <a:pt x="176" y="514"/>
                    <a:pt x="167" y="490"/>
                    <a:pt x="175" y="470"/>
                  </a:cubicBezTo>
                  <a:cubicBezTo>
                    <a:pt x="182" y="451"/>
                    <a:pt x="182" y="451"/>
                    <a:pt x="182" y="451"/>
                  </a:cubicBezTo>
                  <a:cubicBezTo>
                    <a:pt x="357" y="523"/>
                    <a:pt x="357" y="523"/>
                    <a:pt x="357" y="523"/>
                  </a:cubicBezTo>
                  <a:lnTo>
                    <a:pt x="350" y="541"/>
                  </a:lnTo>
                  <a:close/>
                  <a:moveTo>
                    <a:pt x="558" y="568"/>
                  </a:moveTo>
                  <a:cubicBezTo>
                    <a:pt x="558" y="586"/>
                    <a:pt x="544" y="601"/>
                    <a:pt x="525" y="601"/>
                  </a:cubicBezTo>
                  <a:cubicBezTo>
                    <a:pt x="507" y="601"/>
                    <a:pt x="492" y="586"/>
                    <a:pt x="492" y="568"/>
                  </a:cubicBezTo>
                  <a:cubicBezTo>
                    <a:pt x="492" y="565"/>
                    <a:pt x="490" y="562"/>
                    <a:pt x="488" y="561"/>
                  </a:cubicBezTo>
                  <a:cubicBezTo>
                    <a:pt x="90" y="399"/>
                    <a:pt x="90" y="399"/>
                    <a:pt x="90" y="399"/>
                  </a:cubicBezTo>
                  <a:cubicBezTo>
                    <a:pt x="89" y="398"/>
                    <a:pt x="88" y="398"/>
                    <a:pt x="87" y="398"/>
                  </a:cubicBezTo>
                  <a:cubicBezTo>
                    <a:pt x="86" y="398"/>
                    <a:pt x="85" y="398"/>
                    <a:pt x="83" y="399"/>
                  </a:cubicBezTo>
                  <a:cubicBezTo>
                    <a:pt x="81" y="400"/>
                    <a:pt x="80" y="403"/>
                    <a:pt x="80" y="405"/>
                  </a:cubicBezTo>
                  <a:cubicBezTo>
                    <a:pt x="80" y="423"/>
                    <a:pt x="65" y="439"/>
                    <a:pt x="47" y="439"/>
                  </a:cubicBezTo>
                  <a:cubicBezTo>
                    <a:pt x="29" y="439"/>
                    <a:pt x="14" y="424"/>
                    <a:pt x="14" y="405"/>
                  </a:cubicBezTo>
                  <a:cubicBezTo>
                    <a:pt x="14" y="194"/>
                    <a:pt x="14" y="194"/>
                    <a:pt x="14" y="194"/>
                  </a:cubicBezTo>
                  <a:cubicBezTo>
                    <a:pt x="14" y="176"/>
                    <a:pt x="29" y="161"/>
                    <a:pt x="47" y="161"/>
                  </a:cubicBezTo>
                  <a:cubicBezTo>
                    <a:pt x="65" y="161"/>
                    <a:pt x="80" y="176"/>
                    <a:pt x="80" y="194"/>
                  </a:cubicBezTo>
                  <a:cubicBezTo>
                    <a:pt x="80" y="196"/>
                    <a:pt x="81" y="199"/>
                    <a:pt x="83" y="200"/>
                  </a:cubicBezTo>
                  <a:cubicBezTo>
                    <a:pt x="85" y="201"/>
                    <a:pt x="88" y="201"/>
                    <a:pt x="90" y="201"/>
                  </a:cubicBezTo>
                  <a:cubicBezTo>
                    <a:pt x="487" y="54"/>
                    <a:pt x="487" y="54"/>
                    <a:pt x="487" y="54"/>
                  </a:cubicBezTo>
                  <a:cubicBezTo>
                    <a:pt x="490" y="53"/>
                    <a:pt x="492" y="50"/>
                    <a:pt x="492" y="47"/>
                  </a:cubicBezTo>
                  <a:cubicBezTo>
                    <a:pt x="492" y="29"/>
                    <a:pt x="507" y="14"/>
                    <a:pt x="525" y="14"/>
                  </a:cubicBezTo>
                  <a:cubicBezTo>
                    <a:pt x="544" y="14"/>
                    <a:pt x="558" y="29"/>
                    <a:pt x="558" y="47"/>
                  </a:cubicBezTo>
                  <a:lnTo>
                    <a:pt x="558" y="5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9266" name="Group 9265"/>
          <p:cNvGrpSpPr/>
          <p:nvPr/>
        </p:nvGrpSpPr>
        <p:grpSpPr>
          <a:xfrm>
            <a:off x="7430588" y="2294390"/>
            <a:ext cx="822960" cy="822960"/>
            <a:chOff x="1477963" y="3649663"/>
            <a:chExt cx="949325" cy="950913"/>
          </a:xfrm>
        </p:grpSpPr>
        <p:sp>
          <p:nvSpPr>
            <p:cNvPr id="23" name="Oval 16"/>
            <p:cNvSpPr>
              <a:spLocks noChangeArrowheads="1"/>
            </p:cNvSpPr>
            <p:nvPr/>
          </p:nvSpPr>
          <p:spPr bwMode="auto">
            <a:xfrm>
              <a:off x="1477963" y="3649663"/>
              <a:ext cx="949325" cy="9509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250" name="Freeform 27"/>
            <p:cNvSpPr>
              <a:spLocks noEditPoints="1"/>
            </p:cNvSpPr>
            <p:nvPr/>
          </p:nvSpPr>
          <p:spPr bwMode="auto">
            <a:xfrm>
              <a:off x="1665288" y="3836988"/>
              <a:ext cx="573088" cy="576263"/>
            </a:xfrm>
            <a:custGeom>
              <a:avLst/>
              <a:gdLst>
                <a:gd name="T0" fmla="*/ 212 w 642"/>
                <a:gd name="T1" fmla="*/ 376 h 645"/>
                <a:gd name="T2" fmla="*/ 305 w 642"/>
                <a:gd name="T3" fmla="*/ 229 h 645"/>
                <a:gd name="T4" fmla="*/ 219 w 642"/>
                <a:gd name="T5" fmla="*/ 236 h 645"/>
                <a:gd name="T6" fmla="*/ 319 w 642"/>
                <a:gd name="T7" fmla="*/ 229 h 645"/>
                <a:gd name="T8" fmla="*/ 226 w 642"/>
                <a:gd name="T9" fmla="*/ 369 h 645"/>
                <a:gd name="T10" fmla="*/ 312 w 642"/>
                <a:gd name="T11" fmla="*/ 383 h 645"/>
                <a:gd name="T12" fmla="*/ 438 w 642"/>
                <a:gd name="T13" fmla="*/ 324 h 645"/>
                <a:gd name="T14" fmla="*/ 418 w 642"/>
                <a:gd name="T15" fmla="*/ 310 h 645"/>
                <a:gd name="T16" fmla="*/ 405 w 642"/>
                <a:gd name="T17" fmla="*/ 181 h 645"/>
                <a:gd name="T18" fmla="*/ 329 w 642"/>
                <a:gd name="T19" fmla="*/ 324 h 645"/>
                <a:gd name="T20" fmla="*/ 411 w 642"/>
                <a:gd name="T21" fmla="*/ 383 h 645"/>
                <a:gd name="T22" fmla="*/ 404 w 642"/>
                <a:gd name="T23" fmla="*/ 310 h 645"/>
                <a:gd name="T24" fmla="*/ 326 w 642"/>
                <a:gd name="T25" fmla="*/ 55 h 645"/>
                <a:gd name="T26" fmla="*/ 312 w 642"/>
                <a:gd name="T27" fmla="*/ 7 h 645"/>
                <a:gd name="T28" fmla="*/ 326 w 642"/>
                <a:gd name="T29" fmla="*/ 55 h 645"/>
                <a:gd name="T30" fmla="*/ 587 w 642"/>
                <a:gd name="T31" fmla="*/ 316 h 645"/>
                <a:gd name="T32" fmla="*/ 635 w 642"/>
                <a:gd name="T33" fmla="*/ 330 h 645"/>
                <a:gd name="T34" fmla="*/ 596 w 642"/>
                <a:gd name="T35" fmla="*/ 171 h 645"/>
                <a:gd name="T36" fmla="*/ 547 w 642"/>
                <a:gd name="T37" fmla="*/ 183 h 645"/>
                <a:gd name="T38" fmla="*/ 554 w 642"/>
                <a:gd name="T39" fmla="*/ 195 h 645"/>
                <a:gd name="T40" fmla="*/ 481 w 642"/>
                <a:gd name="T41" fmla="*/ 43 h 645"/>
                <a:gd name="T42" fmla="*/ 449 w 642"/>
                <a:gd name="T43" fmla="*/ 97 h 645"/>
                <a:gd name="T44" fmla="*/ 599 w 642"/>
                <a:gd name="T45" fmla="*/ 484 h 645"/>
                <a:gd name="T46" fmla="*/ 545 w 642"/>
                <a:gd name="T47" fmla="*/ 453 h 645"/>
                <a:gd name="T48" fmla="*/ 593 w 642"/>
                <a:gd name="T49" fmla="*/ 488 h 645"/>
                <a:gd name="T50" fmla="*/ 91 w 642"/>
                <a:gd name="T51" fmla="*/ 183 h 645"/>
                <a:gd name="T52" fmla="*/ 42 w 642"/>
                <a:gd name="T53" fmla="*/ 171 h 645"/>
                <a:gd name="T54" fmla="*/ 94 w 642"/>
                <a:gd name="T55" fmla="*/ 192 h 645"/>
                <a:gd name="T56" fmla="*/ 459 w 642"/>
                <a:gd name="T57" fmla="*/ 551 h 645"/>
                <a:gd name="T58" fmla="*/ 471 w 642"/>
                <a:gd name="T59" fmla="*/ 600 h 645"/>
                <a:gd name="T60" fmla="*/ 189 w 642"/>
                <a:gd name="T61" fmla="*/ 97 h 645"/>
                <a:gd name="T62" fmla="*/ 158 w 642"/>
                <a:gd name="T63" fmla="*/ 43 h 645"/>
                <a:gd name="T64" fmla="*/ 185 w 642"/>
                <a:gd name="T65" fmla="*/ 98 h 645"/>
                <a:gd name="T66" fmla="*/ 366 w 642"/>
                <a:gd name="T67" fmla="*/ 575 h 645"/>
                <a:gd name="T68" fmla="*/ 238 w 642"/>
                <a:gd name="T69" fmla="*/ 528 h 645"/>
                <a:gd name="T70" fmla="*/ 105 w 642"/>
                <a:gd name="T71" fmla="*/ 449 h 645"/>
                <a:gd name="T72" fmla="*/ 117 w 642"/>
                <a:gd name="T73" fmla="*/ 334 h 645"/>
                <a:gd name="T74" fmla="*/ 4 w 642"/>
                <a:gd name="T75" fmla="*/ 358 h 645"/>
                <a:gd name="T76" fmla="*/ 300 w 642"/>
                <a:gd name="T77" fmla="*/ 645 h 645"/>
                <a:gd name="T78" fmla="*/ 69 w 642"/>
                <a:gd name="T79" fmla="*/ 301 h 645"/>
                <a:gd name="T80" fmla="*/ 91 w 642"/>
                <a:gd name="T81" fmla="*/ 444 h 645"/>
                <a:gd name="T82" fmla="*/ 210 w 642"/>
                <a:gd name="T83" fmla="*/ 563 h 645"/>
                <a:gd name="T84" fmla="*/ 353 w 642"/>
                <a:gd name="T85" fmla="*/ 582 h 645"/>
                <a:gd name="T86" fmla="*/ 15 w 642"/>
                <a:gd name="T87" fmla="*/ 377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2" h="645">
                  <a:moveTo>
                    <a:pt x="312" y="383"/>
                  </a:moveTo>
                  <a:cubicBezTo>
                    <a:pt x="219" y="383"/>
                    <a:pt x="219" y="383"/>
                    <a:pt x="219" y="383"/>
                  </a:cubicBezTo>
                  <a:cubicBezTo>
                    <a:pt x="215" y="383"/>
                    <a:pt x="212" y="380"/>
                    <a:pt x="212" y="376"/>
                  </a:cubicBezTo>
                  <a:cubicBezTo>
                    <a:pt x="212" y="328"/>
                    <a:pt x="230" y="309"/>
                    <a:pt x="257" y="287"/>
                  </a:cubicBezTo>
                  <a:cubicBezTo>
                    <a:pt x="260" y="284"/>
                    <a:pt x="263" y="282"/>
                    <a:pt x="267" y="279"/>
                  </a:cubicBezTo>
                  <a:cubicBezTo>
                    <a:pt x="283" y="268"/>
                    <a:pt x="305" y="251"/>
                    <a:pt x="305" y="229"/>
                  </a:cubicBezTo>
                  <a:cubicBezTo>
                    <a:pt x="305" y="206"/>
                    <a:pt x="290" y="192"/>
                    <a:pt x="266" y="192"/>
                  </a:cubicBezTo>
                  <a:cubicBezTo>
                    <a:pt x="243" y="192"/>
                    <a:pt x="226" y="208"/>
                    <a:pt x="226" y="229"/>
                  </a:cubicBezTo>
                  <a:cubicBezTo>
                    <a:pt x="226" y="233"/>
                    <a:pt x="223" y="236"/>
                    <a:pt x="219" y="236"/>
                  </a:cubicBezTo>
                  <a:cubicBezTo>
                    <a:pt x="215" y="236"/>
                    <a:pt x="212" y="233"/>
                    <a:pt x="212" y="229"/>
                  </a:cubicBezTo>
                  <a:cubicBezTo>
                    <a:pt x="212" y="200"/>
                    <a:pt x="236" y="178"/>
                    <a:pt x="266" y="178"/>
                  </a:cubicBezTo>
                  <a:cubicBezTo>
                    <a:pt x="298" y="178"/>
                    <a:pt x="319" y="198"/>
                    <a:pt x="319" y="229"/>
                  </a:cubicBezTo>
                  <a:cubicBezTo>
                    <a:pt x="319" y="259"/>
                    <a:pt x="293" y="278"/>
                    <a:pt x="275" y="291"/>
                  </a:cubicBezTo>
                  <a:cubicBezTo>
                    <a:pt x="272" y="293"/>
                    <a:pt x="268" y="296"/>
                    <a:pt x="266" y="298"/>
                  </a:cubicBezTo>
                  <a:cubicBezTo>
                    <a:pt x="242" y="317"/>
                    <a:pt x="227" y="332"/>
                    <a:pt x="226" y="369"/>
                  </a:cubicBezTo>
                  <a:cubicBezTo>
                    <a:pt x="312" y="369"/>
                    <a:pt x="312" y="369"/>
                    <a:pt x="312" y="369"/>
                  </a:cubicBezTo>
                  <a:cubicBezTo>
                    <a:pt x="316" y="369"/>
                    <a:pt x="319" y="372"/>
                    <a:pt x="319" y="376"/>
                  </a:cubicBezTo>
                  <a:cubicBezTo>
                    <a:pt x="319" y="380"/>
                    <a:pt x="316" y="383"/>
                    <a:pt x="312" y="383"/>
                  </a:cubicBezTo>
                  <a:close/>
                  <a:moveTo>
                    <a:pt x="418" y="376"/>
                  </a:moveTo>
                  <a:cubicBezTo>
                    <a:pt x="418" y="324"/>
                    <a:pt x="418" y="324"/>
                    <a:pt x="418" y="324"/>
                  </a:cubicBezTo>
                  <a:cubicBezTo>
                    <a:pt x="438" y="324"/>
                    <a:pt x="438" y="324"/>
                    <a:pt x="438" y="324"/>
                  </a:cubicBezTo>
                  <a:cubicBezTo>
                    <a:pt x="442" y="324"/>
                    <a:pt x="445" y="321"/>
                    <a:pt x="445" y="317"/>
                  </a:cubicBezTo>
                  <a:cubicBezTo>
                    <a:pt x="445" y="313"/>
                    <a:pt x="442" y="310"/>
                    <a:pt x="438" y="310"/>
                  </a:cubicBezTo>
                  <a:cubicBezTo>
                    <a:pt x="418" y="310"/>
                    <a:pt x="418" y="310"/>
                    <a:pt x="418" y="310"/>
                  </a:cubicBezTo>
                  <a:cubicBezTo>
                    <a:pt x="418" y="185"/>
                    <a:pt x="418" y="185"/>
                    <a:pt x="418" y="185"/>
                  </a:cubicBezTo>
                  <a:cubicBezTo>
                    <a:pt x="418" y="182"/>
                    <a:pt x="416" y="179"/>
                    <a:pt x="413" y="178"/>
                  </a:cubicBezTo>
                  <a:cubicBezTo>
                    <a:pt x="410" y="177"/>
                    <a:pt x="407" y="178"/>
                    <a:pt x="405" y="181"/>
                  </a:cubicBezTo>
                  <a:cubicBezTo>
                    <a:pt x="323" y="313"/>
                    <a:pt x="323" y="313"/>
                    <a:pt x="323" y="313"/>
                  </a:cubicBezTo>
                  <a:cubicBezTo>
                    <a:pt x="322" y="315"/>
                    <a:pt x="322" y="318"/>
                    <a:pt x="323" y="320"/>
                  </a:cubicBezTo>
                  <a:cubicBezTo>
                    <a:pt x="324" y="323"/>
                    <a:pt x="327" y="324"/>
                    <a:pt x="329" y="324"/>
                  </a:cubicBezTo>
                  <a:cubicBezTo>
                    <a:pt x="404" y="324"/>
                    <a:pt x="404" y="324"/>
                    <a:pt x="404" y="324"/>
                  </a:cubicBezTo>
                  <a:cubicBezTo>
                    <a:pt x="404" y="376"/>
                    <a:pt x="404" y="376"/>
                    <a:pt x="404" y="376"/>
                  </a:cubicBezTo>
                  <a:cubicBezTo>
                    <a:pt x="404" y="380"/>
                    <a:pt x="408" y="383"/>
                    <a:pt x="411" y="383"/>
                  </a:cubicBezTo>
                  <a:cubicBezTo>
                    <a:pt x="415" y="383"/>
                    <a:pt x="418" y="380"/>
                    <a:pt x="418" y="376"/>
                  </a:cubicBezTo>
                  <a:close/>
                  <a:moveTo>
                    <a:pt x="404" y="209"/>
                  </a:moveTo>
                  <a:cubicBezTo>
                    <a:pt x="404" y="310"/>
                    <a:pt x="404" y="310"/>
                    <a:pt x="404" y="310"/>
                  </a:cubicBezTo>
                  <a:cubicBezTo>
                    <a:pt x="342" y="310"/>
                    <a:pt x="342" y="310"/>
                    <a:pt x="342" y="310"/>
                  </a:cubicBezTo>
                  <a:lnTo>
                    <a:pt x="404" y="209"/>
                  </a:lnTo>
                  <a:close/>
                  <a:moveTo>
                    <a:pt x="326" y="55"/>
                  </a:moveTo>
                  <a:cubicBezTo>
                    <a:pt x="326" y="7"/>
                    <a:pt x="326" y="7"/>
                    <a:pt x="326" y="7"/>
                  </a:cubicBezTo>
                  <a:cubicBezTo>
                    <a:pt x="326" y="3"/>
                    <a:pt x="323" y="0"/>
                    <a:pt x="319" y="0"/>
                  </a:cubicBezTo>
                  <a:cubicBezTo>
                    <a:pt x="315" y="0"/>
                    <a:pt x="312" y="3"/>
                    <a:pt x="312" y="7"/>
                  </a:cubicBezTo>
                  <a:cubicBezTo>
                    <a:pt x="312" y="55"/>
                    <a:pt x="312" y="55"/>
                    <a:pt x="312" y="55"/>
                  </a:cubicBezTo>
                  <a:cubicBezTo>
                    <a:pt x="312" y="59"/>
                    <a:pt x="315" y="62"/>
                    <a:pt x="319" y="62"/>
                  </a:cubicBezTo>
                  <a:cubicBezTo>
                    <a:pt x="323" y="62"/>
                    <a:pt x="326" y="59"/>
                    <a:pt x="326" y="55"/>
                  </a:cubicBezTo>
                  <a:close/>
                  <a:moveTo>
                    <a:pt x="642" y="323"/>
                  </a:moveTo>
                  <a:cubicBezTo>
                    <a:pt x="642" y="319"/>
                    <a:pt x="639" y="316"/>
                    <a:pt x="635" y="316"/>
                  </a:cubicBezTo>
                  <a:cubicBezTo>
                    <a:pt x="587" y="316"/>
                    <a:pt x="587" y="316"/>
                    <a:pt x="587" y="316"/>
                  </a:cubicBezTo>
                  <a:cubicBezTo>
                    <a:pt x="583" y="316"/>
                    <a:pt x="580" y="319"/>
                    <a:pt x="580" y="323"/>
                  </a:cubicBezTo>
                  <a:cubicBezTo>
                    <a:pt x="580" y="327"/>
                    <a:pt x="583" y="330"/>
                    <a:pt x="587" y="330"/>
                  </a:cubicBezTo>
                  <a:cubicBezTo>
                    <a:pt x="635" y="330"/>
                    <a:pt x="635" y="330"/>
                    <a:pt x="635" y="330"/>
                  </a:cubicBezTo>
                  <a:cubicBezTo>
                    <a:pt x="639" y="330"/>
                    <a:pt x="642" y="327"/>
                    <a:pt x="642" y="323"/>
                  </a:cubicBezTo>
                  <a:close/>
                  <a:moveTo>
                    <a:pt x="554" y="195"/>
                  </a:moveTo>
                  <a:cubicBezTo>
                    <a:pt x="596" y="171"/>
                    <a:pt x="596" y="171"/>
                    <a:pt x="596" y="171"/>
                  </a:cubicBezTo>
                  <a:cubicBezTo>
                    <a:pt x="600" y="169"/>
                    <a:pt x="601" y="164"/>
                    <a:pt x="599" y="161"/>
                  </a:cubicBezTo>
                  <a:cubicBezTo>
                    <a:pt x="597" y="158"/>
                    <a:pt x="593" y="157"/>
                    <a:pt x="589" y="159"/>
                  </a:cubicBezTo>
                  <a:cubicBezTo>
                    <a:pt x="547" y="183"/>
                    <a:pt x="547" y="183"/>
                    <a:pt x="547" y="183"/>
                  </a:cubicBezTo>
                  <a:cubicBezTo>
                    <a:pt x="544" y="185"/>
                    <a:pt x="543" y="189"/>
                    <a:pt x="545" y="192"/>
                  </a:cubicBezTo>
                  <a:cubicBezTo>
                    <a:pt x="546" y="195"/>
                    <a:pt x="548" y="196"/>
                    <a:pt x="551" y="196"/>
                  </a:cubicBezTo>
                  <a:cubicBezTo>
                    <a:pt x="552" y="196"/>
                    <a:pt x="553" y="196"/>
                    <a:pt x="554" y="195"/>
                  </a:cubicBezTo>
                  <a:close/>
                  <a:moveTo>
                    <a:pt x="459" y="94"/>
                  </a:moveTo>
                  <a:cubicBezTo>
                    <a:pt x="483" y="52"/>
                    <a:pt x="483" y="52"/>
                    <a:pt x="483" y="52"/>
                  </a:cubicBezTo>
                  <a:cubicBezTo>
                    <a:pt x="485" y="49"/>
                    <a:pt x="484" y="45"/>
                    <a:pt x="481" y="43"/>
                  </a:cubicBezTo>
                  <a:cubicBezTo>
                    <a:pt x="477" y="41"/>
                    <a:pt x="473" y="42"/>
                    <a:pt x="471" y="45"/>
                  </a:cubicBezTo>
                  <a:cubicBezTo>
                    <a:pt x="447" y="87"/>
                    <a:pt x="447" y="87"/>
                    <a:pt x="447" y="87"/>
                  </a:cubicBezTo>
                  <a:cubicBezTo>
                    <a:pt x="445" y="91"/>
                    <a:pt x="446" y="95"/>
                    <a:pt x="449" y="97"/>
                  </a:cubicBezTo>
                  <a:cubicBezTo>
                    <a:pt x="451" y="98"/>
                    <a:pt x="452" y="98"/>
                    <a:pt x="453" y="98"/>
                  </a:cubicBezTo>
                  <a:cubicBezTo>
                    <a:pt x="455" y="98"/>
                    <a:pt x="458" y="97"/>
                    <a:pt x="459" y="94"/>
                  </a:cubicBezTo>
                  <a:close/>
                  <a:moveTo>
                    <a:pt x="599" y="484"/>
                  </a:moveTo>
                  <a:cubicBezTo>
                    <a:pt x="601" y="481"/>
                    <a:pt x="600" y="477"/>
                    <a:pt x="596" y="475"/>
                  </a:cubicBezTo>
                  <a:cubicBezTo>
                    <a:pt x="554" y="450"/>
                    <a:pt x="554" y="450"/>
                    <a:pt x="554" y="450"/>
                  </a:cubicBezTo>
                  <a:cubicBezTo>
                    <a:pt x="551" y="448"/>
                    <a:pt x="547" y="450"/>
                    <a:pt x="545" y="453"/>
                  </a:cubicBezTo>
                  <a:cubicBezTo>
                    <a:pt x="543" y="456"/>
                    <a:pt x="544" y="461"/>
                    <a:pt x="547" y="462"/>
                  </a:cubicBezTo>
                  <a:cubicBezTo>
                    <a:pt x="589" y="487"/>
                    <a:pt x="589" y="487"/>
                    <a:pt x="589" y="487"/>
                  </a:cubicBezTo>
                  <a:cubicBezTo>
                    <a:pt x="591" y="487"/>
                    <a:pt x="592" y="488"/>
                    <a:pt x="593" y="488"/>
                  </a:cubicBezTo>
                  <a:cubicBezTo>
                    <a:pt x="595" y="488"/>
                    <a:pt x="598" y="486"/>
                    <a:pt x="599" y="484"/>
                  </a:cubicBezTo>
                  <a:close/>
                  <a:moveTo>
                    <a:pt x="94" y="192"/>
                  </a:moveTo>
                  <a:cubicBezTo>
                    <a:pt x="96" y="189"/>
                    <a:pt x="94" y="185"/>
                    <a:pt x="91" y="183"/>
                  </a:cubicBezTo>
                  <a:cubicBezTo>
                    <a:pt x="49" y="159"/>
                    <a:pt x="49" y="159"/>
                    <a:pt x="49" y="159"/>
                  </a:cubicBezTo>
                  <a:cubicBezTo>
                    <a:pt x="46" y="157"/>
                    <a:pt x="41" y="158"/>
                    <a:pt x="39" y="161"/>
                  </a:cubicBezTo>
                  <a:cubicBezTo>
                    <a:pt x="38" y="164"/>
                    <a:pt x="39" y="169"/>
                    <a:pt x="42" y="171"/>
                  </a:cubicBezTo>
                  <a:cubicBezTo>
                    <a:pt x="84" y="195"/>
                    <a:pt x="84" y="195"/>
                    <a:pt x="84" y="195"/>
                  </a:cubicBezTo>
                  <a:cubicBezTo>
                    <a:pt x="85" y="196"/>
                    <a:pt x="86" y="196"/>
                    <a:pt x="88" y="196"/>
                  </a:cubicBezTo>
                  <a:cubicBezTo>
                    <a:pt x="90" y="196"/>
                    <a:pt x="92" y="195"/>
                    <a:pt x="94" y="192"/>
                  </a:cubicBezTo>
                  <a:close/>
                  <a:moveTo>
                    <a:pt x="481" y="602"/>
                  </a:moveTo>
                  <a:cubicBezTo>
                    <a:pt x="484" y="600"/>
                    <a:pt x="485" y="596"/>
                    <a:pt x="483" y="593"/>
                  </a:cubicBezTo>
                  <a:cubicBezTo>
                    <a:pt x="459" y="551"/>
                    <a:pt x="459" y="551"/>
                    <a:pt x="459" y="551"/>
                  </a:cubicBezTo>
                  <a:cubicBezTo>
                    <a:pt x="457" y="547"/>
                    <a:pt x="453" y="546"/>
                    <a:pt x="449" y="548"/>
                  </a:cubicBezTo>
                  <a:cubicBezTo>
                    <a:pt x="446" y="550"/>
                    <a:pt x="445" y="554"/>
                    <a:pt x="447" y="558"/>
                  </a:cubicBezTo>
                  <a:cubicBezTo>
                    <a:pt x="471" y="600"/>
                    <a:pt x="471" y="600"/>
                    <a:pt x="471" y="600"/>
                  </a:cubicBezTo>
                  <a:cubicBezTo>
                    <a:pt x="472" y="602"/>
                    <a:pt x="475" y="603"/>
                    <a:pt x="477" y="603"/>
                  </a:cubicBezTo>
                  <a:cubicBezTo>
                    <a:pt x="478" y="603"/>
                    <a:pt x="480" y="603"/>
                    <a:pt x="481" y="602"/>
                  </a:cubicBezTo>
                  <a:close/>
                  <a:moveTo>
                    <a:pt x="189" y="97"/>
                  </a:moveTo>
                  <a:cubicBezTo>
                    <a:pt x="192" y="95"/>
                    <a:pt x="193" y="91"/>
                    <a:pt x="192" y="87"/>
                  </a:cubicBezTo>
                  <a:cubicBezTo>
                    <a:pt x="167" y="45"/>
                    <a:pt x="167" y="45"/>
                    <a:pt x="167" y="45"/>
                  </a:cubicBezTo>
                  <a:cubicBezTo>
                    <a:pt x="165" y="42"/>
                    <a:pt x="161" y="41"/>
                    <a:pt x="158" y="43"/>
                  </a:cubicBezTo>
                  <a:cubicBezTo>
                    <a:pt x="154" y="45"/>
                    <a:pt x="153" y="49"/>
                    <a:pt x="155" y="52"/>
                  </a:cubicBezTo>
                  <a:cubicBezTo>
                    <a:pt x="179" y="94"/>
                    <a:pt x="179" y="94"/>
                    <a:pt x="179" y="94"/>
                  </a:cubicBezTo>
                  <a:cubicBezTo>
                    <a:pt x="181" y="97"/>
                    <a:pt x="183" y="98"/>
                    <a:pt x="185" y="98"/>
                  </a:cubicBezTo>
                  <a:cubicBezTo>
                    <a:pt x="187" y="98"/>
                    <a:pt x="188" y="98"/>
                    <a:pt x="189" y="97"/>
                  </a:cubicBezTo>
                  <a:close/>
                  <a:moveTo>
                    <a:pt x="324" y="636"/>
                  </a:moveTo>
                  <a:cubicBezTo>
                    <a:pt x="325" y="636"/>
                    <a:pt x="377" y="591"/>
                    <a:pt x="366" y="575"/>
                  </a:cubicBezTo>
                  <a:cubicBezTo>
                    <a:pt x="359" y="566"/>
                    <a:pt x="285" y="508"/>
                    <a:pt x="271" y="508"/>
                  </a:cubicBezTo>
                  <a:cubicBezTo>
                    <a:pt x="270" y="508"/>
                    <a:pt x="269" y="508"/>
                    <a:pt x="269" y="508"/>
                  </a:cubicBezTo>
                  <a:cubicBezTo>
                    <a:pt x="264" y="509"/>
                    <a:pt x="256" y="515"/>
                    <a:pt x="238" y="528"/>
                  </a:cubicBezTo>
                  <a:cubicBezTo>
                    <a:pt x="226" y="536"/>
                    <a:pt x="209" y="548"/>
                    <a:pt x="205" y="549"/>
                  </a:cubicBezTo>
                  <a:cubicBezTo>
                    <a:pt x="198" y="549"/>
                    <a:pt x="176" y="534"/>
                    <a:pt x="148" y="506"/>
                  </a:cubicBezTo>
                  <a:cubicBezTo>
                    <a:pt x="117" y="475"/>
                    <a:pt x="104" y="454"/>
                    <a:pt x="105" y="449"/>
                  </a:cubicBezTo>
                  <a:cubicBezTo>
                    <a:pt x="106" y="445"/>
                    <a:pt x="118" y="428"/>
                    <a:pt x="126" y="416"/>
                  </a:cubicBezTo>
                  <a:cubicBezTo>
                    <a:pt x="139" y="398"/>
                    <a:pt x="145" y="390"/>
                    <a:pt x="146" y="385"/>
                  </a:cubicBezTo>
                  <a:cubicBezTo>
                    <a:pt x="147" y="382"/>
                    <a:pt x="149" y="376"/>
                    <a:pt x="117" y="334"/>
                  </a:cubicBezTo>
                  <a:cubicBezTo>
                    <a:pt x="107" y="321"/>
                    <a:pt x="84" y="292"/>
                    <a:pt x="75" y="288"/>
                  </a:cubicBezTo>
                  <a:cubicBezTo>
                    <a:pt x="73" y="287"/>
                    <a:pt x="71" y="287"/>
                    <a:pt x="69" y="287"/>
                  </a:cubicBezTo>
                  <a:cubicBezTo>
                    <a:pt x="47" y="287"/>
                    <a:pt x="13" y="337"/>
                    <a:pt x="4" y="358"/>
                  </a:cubicBezTo>
                  <a:cubicBezTo>
                    <a:pt x="1" y="365"/>
                    <a:pt x="0" y="372"/>
                    <a:pt x="1" y="379"/>
                  </a:cubicBezTo>
                  <a:cubicBezTo>
                    <a:pt x="27" y="526"/>
                    <a:pt x="149" y="635"/>
                    <a:pt x="297" y="645"/>
                  </a:cubicBezTo>
                  <a:cubicBezTo>
                    <a:pt x="298" y="645"/>
                    <a:pt x="299" y="645"/>
                    <a:pt x="300" y="645"/>
                  </a:cubicBezTo>
                  <a:cubicBezTo>
                    <a:pt x="300" y="645"/>
                    <a:pt x="300" y="645"/>
                    <a:pt x="300" y="645"/>
                  </a:cubicBezTo>
                  <a:cubicBezTo>
                    <a:pt x="309" y="645"/>
                    <a:pt x="317" y="642"/>
                    <a:pt x="324" y="636"/>
                  </a:cubicBezTo>
                  <a:close/>
                  <a:moveTo>
                    <a:pt x="69" y="301"/>
                  </a:moveTo>
                  <a:cubicBezTo>
                    <a:pt x="79" y="306"/>
                    <a:pt x="127" y="369"/>
                    <a:pt x="132" y="382"/>
                  </a:cubicBezTo>
                  <a:cubicBezTo>
                    <a:pt x="130" y="387"/>
                    <a:pt x="121" y="399"/>
                    <a:pt x="115" y="408"/>
                  </a:cubicBezTo>
                  <a:cubicBezTo>
                    <a:pt x="102" y="427"/>
                    <a:pt x="93" y="438"/>
                    <a:pt x="91" y="444"/>
                  </a:cubicBezTo>
                  <a:cubicBezTo>
                    <a:pt x="89" y="451"/>
                    <a:pt x="92" y="470"/>
                    <a:pt x="138" y="516"/>
                  </a:cubicBezTo>
                  <a:cubicBezTo>
                    <a:pt x="152" y="530"/>
                    <a:pt x="187" y="563"/>
                    <a:pt x="205" y="563"/>
                  </a:cubicBezTo>
                  <a:cubicBezTo>
                    <a:pt x="207" y="563"/>
                    <a:pt x="208" y="563"/>
                    <a:pt x="210" y="563"/>
                  </a:cubicBezTo>
                  <a:cubicBezTo>
                    <a:pt x="216" y="561"/>
                    <a:pt x="227" y="552"/>
                    <a:pt x="246" y="539"/>
                  </a:cubicBezTo>
                  <a:cubicBezTo>
                    <a:pt x="255" y="533"/>
                    <a:pt x="267" y="524"/>
                    <a:pt x="272" y="522"/>
                  </a:cubicBezTo>
                  <a:cubicBezTo>
                    <a:pt x="284" y="526"/>
                    <a:pt x="343" y="571"/>
                    <a:pt x="353" y="582"/>
                  </a:cubicBezTo>
                  <a:cubicBezTo>
                    <a:pt x="351" y="589"/>
                    <a:pt x="334" y="609"/>
                    <a:pt x="315" y="625"/>
                  </a:cubicBezTo>
                  <a:cubicBezTo>
                    <a:pt x="310" y="629"/>
                    <a:pt x="304" y="631"/>
                    <a:pt x="298" y="631"/>
                  </a:cubicBezTo>
                  <a:cubicBezTo>
                    <a:pt x="156" y="621"/>
                    <a:pt x="40" y="517"/>
                    <a:pt x="15" y="377"/>
                  </a:cubicBezTo>
                  <a:cubicBezTo>
                    <a:pt x="14" y="373"/>
                    <a:pt x="15" y="368"/>
                    <a:pt x="17" y="364"/>
                  </a:cubicBezTo>
                  <a:cubicBezTo>
                    <a:pt x="28" y="337"/>
                    <a:pt x="58" y="301"/>
                    <a:pt x="69" y="30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35" name="Title 32">
            <a:extLst>
              <a:ext uri="{FF2B5EF4-FFF2-40B4-BE49-F238E27FC236}">
                <a16:creationId xmlns:a16="http://schemas.microsoft.com/office/drawing/2014/main" id="{5FB8F03D-B15E-460E-891C-50C3B29F9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9549"/>
            <a:ext cx="8686800" cy="682625"/>
          </a:xfrm>
        </p:spPr>
        <p:txBody>
          <a:bodyPr/>
          <a:lstStyle/>
          <a:p>
            <a:r>
              <a:rPr lang="en-US" dirty="0"/>
              <a:t>Communications icons</a:t>
            </a:r>
          </a:p>
        </p:txBody>
      </p:sp>
      <p:sp>
        <p:nvSpPr>
          <p:cNvPr id="36" name="Oval 63">
            <a:extLst>
              <a:ext uri="{FF2B5EF4-FFF2-40B4-BE49-F238E27FC236}">
                <a16:creationId xmlns:a16="http://schemas.microsoft.com/office/drawing/2014/main" id="{7D4D025F-D619-43AC-90FA-8AFBCE93E1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7845" y="2308853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7" name="Freeform 130">
            <a:extLst>
              <a:ext uri="{FF2B5EF4-FFF2-40B4-BE49-F238E27FC236}">
                <a16:creationId xmlns:a16="http://schemas.microsoft.com/office/drawing/2014/main" id="{BA84EAF7-CEEF-459C-8E88-06CC6C405129}"/>
              </a:ext>
            </a:extLst>
          </p:cNvPr>
          <p:cNvSpPr>
            <a:spLocks noEditPoints="1"/>
          </p:cNvSpPr>
          <p:nvPr/>
        </p:nvSpPr>
        <p:spPr bwMode="auto">
          <a:xfrm>
            <a:off x="6207618" y="2572128"/>
            <a:ext cx="672680" cy="297305"/>
          </a:xfrm>
          <a:custGeom>
            <a:avLst/>
            <a:gdLst>
              <a:gd name="T0" fmla="*/ 869 w 869"/>
              <a:gd name="T1" fmla="*/ 6 h 384"/>
              <a:gd name="T2" fmla="*/ 868 w 869"/>
              <a:gd name="T3" fmla="*/ 4 h 384"/>
              <a:gd name="T4" fmla="*/ 868 w 869"/>
              <a:gd name="T5" fmla="*/ 3 h 384"/>
              <a:gd name="T6" fmla="*/ 867 w 869"/>
              <a:gd name="T7" fmla="*/ 2 h 384"/>
              <a:gd name="T8" fmla="*/ 866 w 869"/>
              <a:gd name="T9" fmla="*/ 2 h 384"/>
              <a:gd name="T10" fmla="*/ 865 w 869"/>
              <a:gd name="T11" fmla="*/ 1 h 384"/>
              <a:gd name="T12" fmla="*/ 864 w 869"/>
              <a:gd name="T13" fmla="*/ 0 h 384"/>
              <a:gd name="T14" fmla="*/ 863 w 869"/>
              <a:gd name="T15" fmla="*/ 0 h 384"/>
              <a:gd name="T16" fmla="*/ 862 w 869"/>
              <a:gd name="T17" fmla="*/ 0 h 384"/>
              <a:gd name="T18" fmla="*/ 263 w 869"/>
              <a:gd name="T19" fmla="*/ 0 h 384"/>
              <a:gd name="T20" fmla="*/ 261 w 869"/>
              <a:gd name="T21" fmla="*/ 0 h 384"/>
              <a:gd name="T22" fmla="*/ 260 w 869"/>
              <a:gd name="T23" fmla="*/ 0 h 384"/>
              <a:gd name="T24" fmla="*/ 259 w 869"/>
              <a:gd name="T25" fmla="*/ 1 h 384"/>
              <a:gd name="T26" fmla="*/ 258 w 869"/>
              <a:gd name="T27" fmla="*/ 2 h 384"/>
              <a:gd name="T28" fmla="*/ 258 w 869"/>
              <a:gd name="T29" fmla="*/ 2 h 384"/>
              <a:gd name="T30" fmla="*/ 257 w 869"/>
              <a:gd name="T31" fmla="*/ 3 h 384"/>
              <a:gd name="T32" fmla="*/ 256 w 869"/>
              <a:gd name="T33" fmla="*/ 4 h 384"/>
              <a:gd name="T34" fmla="*/ 256 w 869"/>
              <a:gd name="T35" fmla="*/ 6 h 384"/>
              <a:gd name="T36" fmla="*/ 256 w 869"/>
              <a:gd name="T37" fmla="*/ 7 h 384"/>
              <a:gd name="T38" fmla="*/ 263 w 869"/>
              <a:gd name="T39" fmla="*/ 384 h 384"/>
              <a:gd name="T40" fmla="*/ 869 w 869"/>
              <a:gd name="T41" fmla="*/ 377 h 384"/>
              <a:gd name="T42" fmla="*/ 869 w 869"/>
              <a:gd name="T43" fmla="*/ 6 h 384"/>
              <a:gd name="T44" fmla="*/ 442 w 869"/>
              <a:gd name="T45" fmla="*/ 169 h 384"/>
              <a:gd name="T46" fmla="*/ 270 w 869"/>
              <a:gd name="T47" fmla="*/ 22 h 384"/>
              <a:gd name="T48" fmla="*/ 843 w 869"/>
              <a:gd name="T49" fmla="*/ 14 h 384"/>
              <a:gd name="T50" fmla="*/ 515 w 869"/>
              <a:gd name="T51" fmla="*/ 214 h 384"/>
              <a:gd name="T52" fmla="*/ 855 w 869"/>
              <a:gd name="T53" fmla="*/ 22 h 384"/>
              <a:gd name="T54" fmla="*/ 683 w 869"/>
              <a:gd name="T55" fmla="*/ 168 h 384"/>
              <a:gd name="T56" fmla="*/ 270 w 869"/>
              <a:gd name="T57" fmla="*/ 370 h 384"/>
              <a:gd name="T58" fmla="*/ 453 w 869"/>
              <a:gd name="T59" fmla="*/ 178 h 384"/>
              <a:gd name="T60" fmla="*/ 561 w 869"/>
              <a:gd name="T61" fmla="*/ 244 h 384"/>
              <a:gd name="T62" fmla="*/ 672 w 869"/>
              <a:gd name="T63" fmla="*/ 177 h 384"/>
              <a:gd name="T64" fmla="*/ 855 w 869"/>
              <a:gd name="T65" fmla="*/ 370 h 384"/>
              <a:gd name="T66" fmla="*/ 204 w 869"/>
              <a:gd name="T67" fmla="*/ 7 h 384"/>
              <a:gd name="T68" fmla="*/ 7 w 869"/>
              <a:gd name="T69" fmla="*/ 14 h 384"/>
              <a:gd name="T70" fmla="*/ 7 w 869"/>
              <a:gd name="T71" fmla="*/ 0 h 384"/>
              <a:gd name="T72" fmla="*/ 204 w 869"/>
              <a:gd name="T73" fmla="*/ 7 h 384"/>
              <a:gd name="T74" fmla="*/ 197 w 869"/>
              <a:gd name="T75" fmla="*/ 95 h 384"/>
              <a:gd name="T76" fmla="*/ 58 w 869"/>
              <a:gd name="T77" fmla="*/ 88 h 384"/>
              <a:gd name="T78" fmla="*/ 197 w 869"/>
              <a:gd name="T79" fmla="*/ 81 h 384"/>
              <a:gd name="T80" fmla="*/ 204 w 869"/>
              <a:gd name="T81" fmla="*/ 169 h 384"/>
              <a:gd name="T82" fmla="*/ 142 w 869"/>
              <a:gd name="T83" fmla="*/ 176 h 384"/>
              <a:gd name="T84" fmla="*/ 142 w 869"/>
              <a:gd name="T85" fmla="*/ 162 h 384"/>
              <a:gd name="T86" fmla="*/ 204 w 869"/>
              <a:gd name="T87" fmla="*/ 169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69" h="384">
                <a:moveTo>
                  <a:pt x="869" y="6"/>
                </a:moveTo>
                <a:cubicBezTo>
                  <a:pt x="869" y="6"/>
                  <a:pt x="869" y="6"/>
                  <a:pt x="869" y="6"/>
                </a:cubicBezTo>
                <a:cubicBezTo>
                  <a:pt x="869" y="6"/>
                  <a:pt x="869" y="5"/>
                  <a:pt x="869" y="5"/>
                </a:cubicBezTo>
                <a:cubicBezTo>
                  <a:pt x="868" y="5"/>
                  <a:pt x="868" y="5"/>
                  <a:pt x="868" y="4"/>
                </a:cubicBezTo>
                <a:cubicBezTo>
                  <a:pt x="868" y="4"/>
                  <a:pt x="868" y="4"/>
                  <a:pt x="868" y="4"/>
                </a:cubicBezTo>
                <a:cubicBezTo>
                  <a:pt x="868" y="4"/>
                  <a:pt x="868" y="3"/>
                  <a:pt x="868" y="3"/>
                </a:cubicBezTo>
                <a:cubicBezTo>
                  <a:pt x="868" y="3"/>
                  <a:pt x="867" y="3"/>
                  <a:pt x="867" y="3"/>
                </a:cubicBezTo>
                <a:cubicBezTo>
                  <a:pt x="867" y="3"/>
                  <a:pt x="867" y="2"/>
                  <a:pt x="867" y="2"/>
                </a:cubicBezTo>
                <a:cubicBezTo>
                  <a:pt x="867" y="2"/>
                  <a:pt x="867" y="2"/>
                  <a:pt x="867" y="2"/>
                </a:cubicBezTo>
                <a:cubicBezTo>
                  <a:pt x="867" y="2"/>
                  <a:pt x="867" y="2"/>
                  <a:pt x="866" y="2"/>
                </a:cubicBezTo>
                <a:cubicBezTo>
                  <a:pt x="866" y="1"/>
                  <a:pt x="866" y="1"/>
                  <a:pt x="866" y="1"/>
                </a:cubicBezTo>
                <a:cubicBezTo>
                  <a:pt x="866" y="1"/>
                  <a:pt x="865" y="1"/>
                  <a:pt x="865" y="1"/>
                </a:cubicBezTo>
                <a:cubicBezTo>
                  <a:pt x="865" y="1"/>
                  <a:pt x="865" y="1"/>
                  <a:pt x="865" y="1"/>
                </a:cubicBezTo>
                <a:cubicBezTo>
                  <a:pt x="864" y="0"/>
                  <a:pt x="864" y="0"/>
                  <a:pt x="864" y="0"/>
                </a:cubicBezTo>
                <a:cubicBezTo>
                  <a:pt x="864" y="0"/>
                  <a:pt x="864" y="0"/>
                  <a:pt x="863" y="0"/>
                </a:cubicBezTo>
                <a:cubicBezTo>
                  <a:pt x="863" y="0"/>
                  <a:pt x="863" y="0"/>
                  <a:pt x="863" y="0"/>
                </a:cubicBezTo>
                <a:cubicBezTo>
                  <a:pt x="863" y="0"/>
                  <a:pt x="862" y="0"/>
                  <a:pt x="862" y="0"/>
                </a:cubicBezTo>
                <a:cubicBezTo>
                  <a:pt x="862" y="0"/>
                  <a:pt x="862" y="0"/>
                  <a:pt x="862" y="0"/>
                </a:cubicBezTo>
                <a:cubicBezTo>
                  <a:pt x="263" y="0"/>
                  <a:pt x="263" y="0"/>
                  <a:pt x="263" y="0"/>
                </a:cubicBezTo>
                <a:cubicBezTo>
                  <a:pt x="263" y="0"/>
                  <a:pt x="263" y="0"/>
                  <a:pt x="263" y="0"/>
                </a:cubicBezTo>
                <a:cubicBezTo>
                  <a:pt x="262" y="0"/>
                  <a:pt x="262" y="0"/>
                  <a:pt x="262" y="0"/>
                </a:cubicBezTo>
                <a:cubicBezTo>
                  <a:pt x="262" y="0"/>
                  <a:pt x="261" y="0"/>
                  <a:pt x="261" y="0"/>
                </a:cubicBezTo>
                <a:cubicBezTo>
                  <a:pt x="261" y="0"/>
                  <a:pt x="261" y="0"/>
                  <a:pt x="261" y="0"/>
                </a:cubicBezTo>
                <a:cubicBezTo>
                  <a:pt x="260" y="0"/>
                  <a:pt x="260" y="0"/>
                  <a:pt x="260" y="0"/>
                </a:cubicBezTo>
                <a:cubicBezTo>
                  <a:pt x="260" y="1"/>
                  <a:pt x="260" y="1"/>
                  <a:pt x="259" y="1"/>
                </a:cubicBezTo>
                <a:cubicBezTo>
                  <a:pt x="259" y="1"/>
                  <a:pt x="259" y="1"/>
                  <a:pt x="259" y="1"/>
                </a:cubicBezTo>
                <a:cubicBezTo>
                  <a:pt x="259" y="1"/>
                  <a:pt x="258" y="1"/>
                  <a:pt x="258" y="2"/>
                </a:cubicBezTo>
                <a:cubicBezTo>
                  <a:pt x="258" y="2"/>
                  <a:pt x="258" y="2"/>
                  <a:pt x="258" y="2"/>
                </a:cubicBezTo>
                <a:cubicBezTo>
                  <a:pt x="258" y="2"/>
                  <a:pt x="258" y="2"/>
                  <a:pt x="258" y="2"/>
                </a:cubicBezTo>
                <a:cubicBezTo>
                  <a:pt x="258" y="2"/>
                  <a:pt x="258" y="2"/>
                  <a:pt x="258" y="2"/>
                </a:cubicBezTo>
                <a:cubicBezTo>
                  <a:pt x="257" y="2"/>
                  <a:pt x="257" y="3"/>
                  <a:pt x="257" y="3"/>
                </a:cubicBezTo>
                <a:cubicBezTo>
                  <a:pt x="257" y="3"/>
                  <a:pt x="257" y="3"/>
                  <a:pt x="257" y="3"/>
                </a:cubicBezTo>
                <a:cubicBezTo>
                  <a:pt x="257" y="3"/>
                  <a:pt x="257" y="4"/>
                  <a:pt x="257" y="4"/>
                </a:cubicBezTo>
                <a:cubicBezTo>
                  <a:pt x="257" y="4"/>
                  <a:pt x="256" y="4"/>
                  <a:pt x="256" y="4"/>
                </a:cubicBezTo>
                <a:cubicBezTo>
                  <a:pt x="256" y="5"/>
                  <a:pt x="256" y="5"/>
                  <a:pt x="256" y="5"/>
                </a:cubicBezTo>
                <a:cubicBezTo>
                  <a:pt x="256" y="5"/>
                  <a:pt x="256" y="6"/>
                  <a:pt x="256" y="6"/>
                </a:cubicBezTo>
                <a:cubicBezTo>
                  <a:pt x="256" y="6"/>
                  <a:pt x="256" y="6"/>
                  <a:pt x="256" y="6"/>
                </a:cubicBezTo>
                <a:cubicBezTo>
                  <a:pt x="256" y="7"/>
                  <a:pt x="256" y="7"/>
                  <a:pt x="256" y="7"/>
                </a:cubicBezTo>
                <a:cubicBezTo>
                  <a:pt x="256" y="377"/>
                  <a:pt x="256" y="377"/>
                  <a:pt x="256" y="377"/>
                </a:cubicBezTo>
                <a:cubicBezTo>
                  <a:pt x="256" y="380"/>
                  <a:pt x="259" y="384"/>
                  <a:pt x="263" y="384"/>
                </a:cubicBezTo>
                <a:cubicBezTo>
                  <a:pt x="862" y="384"/>
                  <a:pt x="862" y="384"/>
                  <a:pt x="862" y="384"/>
                </a:cubicBezTo>
                <a:cubicBezTo>
                  <a:pt x="866" y="384"/>
                  <a:pt x="869" y="380"/>
                  <a:pt x="869" y="377"/>
                </a:cubicBezTo>
                <a:cubicBezTo>
                  <a:pt x="869" y="7"/>
                  <a:pt x="869" y="7"/>
                  <a:pt x="869" y="7"/>
                </a:cubicBezTo>
                <a:cubicBezTo>
                  <a:pt x="869" y="7"/>
                  <a:pt x="869" y="7"/>
                  <a:pt x="869" y="6"/>
                </a:cubicBezTo>
                <a:close/>
                <a:moveTo>
                  <a:pt x="270" y="22"/>
                </a:moveTo>
                <a:cubicBezTo>
                  <a:pt x="442" y="169"/>
                  <a:pt x="442" y="169"/>
                  <a:pt x="442" y="169"/>
                </a:cubicBezTo>
                <a:cubicBezTo>
                  <a:pt x="270" y="315"/>
                  <a:pt x="270" y="315"/>
                  <a:pt x="270" y="315"/>
                </a:cubicBezTo>
                <a:lnTo>
                  <a:pt x="270" y="22"/>
                </a:lnTo>
                <a:close/>
                <a:moveTo>
                  <a:pt x="282" y="14"/>
                </a:moveTo>
                <a:cubicBezTo>
                  <a:pt x="843" y="14"/>
                  <a:pt x="843" y="14"/>
                  <a:pt x="843" y="14"/>
                </a:cubicBezTo>
                <a:cubicBezTo>
                  <a:pt x="607" y="214"/>
                  <a:pt x="607" y="214"/>
                  <a:pt x="607" y="214"/>
                </a:cubicBezTo>
                <a:cubicBezTo>
                  <a:pt x="582" y="235"/>
                  <a:pt x="541" y="235"/>
                  <a:pt x="515" y="214"/>
                </a:cubicBezTo>
                <a:lnTo>
                  <a:pt x="282" y="14"/>
                </a:lnTo>
                <a:close/>
                <a:moveTo>
                  <a:pt x="855" y="22"/>
                </a:moveTo>
                <a:cubicBezTo>
                  <a:pt x="855" y="315"/>
                  <a:pt x="855" y="315"/>
                  <a:pt x="855" y="315"/>
                </a:cubicBezTo>
                <a:cubicBezTo>
                  <a:pt x="683" y="168"/>
                  <a:pt x="683" y="168"/>
                  <a:pt x="683" y="168"/>
                </a:cubicBezTo>
                <a:lnTo>
                  <a:pt x="855" y="22"/>
                </a:lnTo>
                <a:close/>
                <a:moveTo>
                  <a:pt x="270" y="370"/>
                </a:moveTo>
                <a:cubicBezTo>
                  <a:pt x="270" y="333"/>
                  <a:pt x="270" y="333"/>
                  <a:pt x="270" y="333"/>
                </a:cubicBezTo>
                <a:cubicBezTo>
                  <a:pt x="453" y="178"/>
                  <a:pt x="453" y="178"/>
                  <a:pt x="453" y="178"/>
                </a:cubicBezTo>
                <a:cubicBezTo>
                  <a:pt x="506" y="224"/>
                  <a:pt x="506" y="224"/>
                  <a:pt x="506" y="224"/>
                </a:cubicBezTo>
                <a:cubicBezTo>
                  <a:pt x="521" y="237"/>
                  <a:pt x="541" y="244"/>
                  <a:pt x="561" y="244"/>
                </a:cubicBezTo>
                <a:cubicBezTo>
                  <a:pt x="581" y="244"/>
                  <a:pt x="601" y="237"/>
                  <a:pt x="616" y="224"/>
                </a:cubicBezTo>
                <a:cubicBezTo>
                  <a:pt x="672" y="177"/>
                  <a:pt x="672" y="177"/>
                  <a:pt x="672" y="177"/>
                </a:cubicBezTo>
                <a:cubicBezTo>
                  <a:pt x="855" y="333"/>
                  <a:pt x="855" y="333"/>
                  <a:pt x="855" y="333"/>
                </a:cubicBezTo>
                <a:cubicBezTo>
                  <a:pt x="855" y="370"/>
                  <a:pt x="855" y="370"/>
                  <a:pt x="855" y="370"/>
                </a:cubicBezTo>
                <a:lnTo>
                  <a:pt x="270" y="370"/>
                </a:lnTo>
                <a:close/>
                <a:moveTo>
                  <a:pt x="204" y="7"/>
                </a:moveTo>
                <a:cubicBezTo>
                  <a:pt x="204" y="11"/>
                  <a:pt x="201" y="14"/>
                  <a:pt x="197" y="14"/>
                </a:cubicBezTo>
                <a:cubicBezTo>
                  <a:pt x="7" y="14"/>
                  <a:pt x="7" y="14"/>
                  <a:pt x="7" y="14"/>
                </a:cubicBezTo>
                <a:cubicBezTo>
                  <a:pt x="3" y="14"/>
                  <a:pt x="0" y="11"/>
                  <a:pt x="0" y="7"/>
                </a:cubicBezTo>
                <a:cubicBezTo>
                  <a:pt x="0" y="3"/>
                  <a:pt x="3" y="0"/>
                  <a:pt x="7" y="0"/>
                </a:cubicBezTo>
                <a:cubicBezTo>
                  <a:pt x="197" y="0"/>
                  <a:pt x="197" y="0"/>
                  <a:pt x="197" y="0"/>
                </a:cubicBezTo>
                <a:cubicBezTo>
                  <a:pt x="201" y="0"/>
                  <a:pt x="204" y="3"/>
                  <a:pt x="204" y="7"/>
                </a:cubicBezTo>
                <a:close/>
                <a:moveTo>
                  <a:pt x="204" y="88"/>
                </a:moveTo>
                <a:cubicBezTo>
                  <a:pt x="204" y="92"/>
                  <a:pt x="201" y="95"/>
                  <a:pt x="197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1" y="95"/>
                  <a:pt x="58" y="92"/>
                  <a:pt x="58" y="88"/>
                </a:cubicBezTo>
                <a:cubicBezTo>
                  <a:pt x="58" y="84"/>
                  <a:pt x="61" y="81"/>
                  <a:pt x="65" y="81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201" y="81"/>
                  <a:pt x="204" y="84"/>
                  <a:pt x="204" y="88"/>
                </a:cubicBezTo>
                <a:close/>
                <a:moveTo>
                  <a:pt x="204" y="169"/>
                </a:moveTo>
                <a:cubicBezTo>
                  <a:pt x="204" y="173"/>
                  <a:pt x="201" y="176"/>
                  <a:pt x="197" y="176"/>
                </a:cubicBezTo>
                <a:cubicBezTo>
                  <a:pt x="142" y="176"/>
                  <a:pt x="142" y="176"/>
                  <a:pt x="142" y="176"/>
                </a:cubicBezTo>
                <a:cubicBezTo>
                  <a:pt x="139" y="176"/>
                  <a:pt x="135" y="173"/>
                  <a:pt x="135" y="169"/>
                </a:cubicBezTo>
                <a:cubicBezTo>
                  <a:pt x="135" y="165"/>
                  <a:pt x="139" y="162"/>
                  <a:pt x="142" y="162"/>
                </a:cubicBezTo>
                <a:cubicBezTo>
                  <a:pt x="197" y="162"/>
                  <a:pt x="197" y="162"/>
                  <a:pt x="197" y="162"/>
                </a:cubicBezTo>
                <a:cubicBezTo>
                  <a:pt x="201" y="162"/>
                  <a:pt x="204" y="165"/>
                  <a:pt x="204" y="16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0" name="Oval 56">
            <a:extLst>
              <a:ext uri="{FF2B5EF4-FFF2-40B4-BE49-F238E27FC236}">
                <a16:creationId xmlns:a16="http://schemas.microsoft.com/office/drawing/2014/main" id="{F8E2C081-B8CD-405E-8ED9-665F0EF443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5101" y="2308853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1" name="Freeform 132">
            <a:extLst>
              <a:ext uri="{FF2B5EF4-FFF2-40B4-BE49-F238E27FC236}">
                <a16:creationId xmlns:a16="http://schemas.microsoft.com/office/drawing/2014/main" id="{746BDB59-AA84-40E7-A5D1-7A56ADC44D4A}"/>
              </a:ext>
            </a:extLst>
          </p:cNvPr>
          <p:cNvSpPr>
            <a:spLocks noEditPoints="1"/>
          </p:cNvSpPr>
          <p:nvPr/>
        </p:nvSpPr>
        <p:spPr bwMode="auto">
          <a:xfrm>
            <a:off x="5049948" y="2514817"/>
            <a:ext cx="413269" cy="411032"/>
          </a:xfrm>
          <a:custGeom>
            <a:avLst/>
            <a:gdLst>
              <a:gd name="T0" fmla="*/ 534 w 534"/>
              <a:gd name="T1" fmla="*/ 207 h 531"/>
              <a:gd name="T2" fmla="*/ 534 w 534"/>
              <a:gd name="T3" fmla="*/ 206 h 531"/>
              <a:gd name="T4" fmla="*/ 534 w 534"/>
              <a:gd name="T5" fmla="*/ 205 h 531"/>
              <a:gd name="T6" fmla="*/ 534 w 534"/>
              <a:gd name="T7" fmla="*/ 204 h 531"/>
              <a:gd name="T8" fmla="*/ 534 w 534"/>
              <a:gd name="T9" fmla="*/ 204 h 531"/>
              <a:gd name="T10" fmla="*/ 533 w 534"/>
              <a:gd name="T11" fmla="*/ 203 h 531"/>
              <a:gd name="T12" fmla="*/ 533 w 534"/>
              <a:gd name="T13" fmla="*/ 203 h 531"/>
              <a:gd name="T14" fmla="*/ 533 w 534"/>
              <a:gd name="T15" fmla="*/ 202 h 531"/>
              <a:gd name="T16" fmla="*/ 532 w 534"/>
              <a:gd name="T17" fmla="*/ 202 h 531"/>
              <a:gd name="T18" fmla="*/ 532 w 534"/>
              <a:gd name="T19" fmla="*/ 202 h 531"/>
              <a:gd name="T20" fmla="*/ 317 w 534"/>
              <a:gd name="T21" fmla="*/ 18 h 531"/>
              <a:gd name="T22" fmla="*/ 268 w 534"/>
              <a:gd name="T23" fmla="*/ 0 h 531"/>
              <a:gd name="T24" fmla="*/ 220 w 534"/>
              <a:gd name="T25" fmla="*/ 18 h 531"/>
              <a:gd name="T26" fmla="*/ 3 w 534"/>
              <a:gd name="T27" fmla="*/ 202 h 531"/>
              <a:gd name="T28" fmla="*/ 3 w 534"/>
              <a:gd name="T29" fmla="*/ 202 h 531"/>
              <a:gd name="T30" fmla="*/ 2 w 534"/>
              <a:gd name="T31" fmla="*/ 202 h 531"/>
              <a:gd name="T32" fmla="*/ 2 w 534"/>
              <a:gd name="T33" fmla="*/ 203 h 531"/>
              <a:gd name="T34" fmla="*/ 2 w 534"/>
              <a:gd name="T35" fmla="*/ 203 h 531"/>
              <a:gd name="T36" fmla="*/ 1 w 534"/>
              <a:gd name="T37" fmla="*/ 204 h 531"/>
              <a:gd name="T38" fmla="*/ 1 w 534"/>
              <a:gd name="T39" fmla="*/ 204 h 531"/>
              <a:gd name="T40" fmla="*/ 1 w 534"/>
              <a:gd name="T41" fmla="*/ 205 h 531"/>
              <a:gd name="T42" fmla="*/ 1 w 534"/>
              <a:gd name="T43" fmla="*/ 206 h 531"/>
              <a:gd name="T44" fmla="*/ 1 w 534"/>
              <a:gd name="T45" fmla="*/ 207 h 531"/>
              <a:gd name="T46" fmla="*/ 0 w 534"/>
              <a:gd name="T47" fmla="*/ 207 h 531"/>
              <a:gd name="T48" fmla="*/ 0 w 534"/>
              <a:gd name="T49" fmla="*/ 524 h 531"/>
              <a:gd name="T50" fmla="*/ 7 w 534"/>
              <a:gd name="T51" fmla="*/ 531 h 531"/>
              <a:gd name="T52" fmla="*/ 527 w 534"/>
              <a:gd name="T53" fmla="*/ 531 h 531"/>
              <a:gd name="T54" fmla="*/ 534 w 534"/>
              <a:gd name="T55" fmla="*/ 524 h 531"/>
              <a:gd name="T56" fmla="*/ 534 w 534"/>
              <a:gd name="T57" fmla="*/ 207 h 531"/>
              <a:gd name="T58" fmla="*/ 534 w 534"/>
              <a:gd name="T59" fmla="*/ 207 h 531"/>
              <a:gd name="T60" fmla="*/ 520 w 534"/>
              <a:gd name="T61" fmla="*/ 472 h 531"/>
              <a:gd name="T62" fmla="*/ 374 w 534"/>
              <a:gd name="T63" fmla="*/ 347 h 531"/>
              <a:gd name="T64" fmla="*/ 520 w 534"/>
              <a:gd name="T65" fmla="*/ 222 h 531"/>
              <a:gd name="T66" fmla="*/ 520 w 534"/>
              <a:gd name="T67" fmla="*/ 472 h 531"/>
              <a:gd name="T68" fmla="*/ 229 w 534"/>
              <a:gd name="T69" fmla="*/ 28 h 531"/>
              <a:gd name="T70" fmla="*/ 268 w 534"/>
              <a:gd name="T71" fmla="*/ 14 h 531"/>
              <a:gd name="T72" fmla="*/ 308 w 534"/>
              <a:gd name="T73" fmla="*/ 28 h 531"/>
              <a:gd name="T74" fmla="*/ 517 w 534"/>
              <a:gd name="T75" fmla="*/ 207 h 531"/>
              <a:gd name="T76" fmla="*/ 363 w 534"/>
              <a:gd name="T77" fmla="*/ 337 h 531"/>
              <a:gd name="T78" fmla="*/ 317 w 534"/>
              <a:gd name="T79" fmla="*/ 298 h 531"/>
              <a:gd name="T80" fmla="*/ 220 w 534"/>
              <a:gd name="T81" fmla="*/ 298 h 531"/>
              <a:gd name="T82" fmla="*/ 172 w 534"/>
              <a:gd name="T83" fmla="*/ 339 h 531"/>
              <a:gd name="T84" fmla="*/ 18 w 534"/>
              <a:gd name="T85" fmla="*/ 207 h 531"/>
              <a:gd name="T86" fmla="*/ 229 w 534"/>
              <a:gd name="T87" fmla="*/ 28 h 531"/>
              <a:gd name="T88" fmla="*/ 14 w 534"/>
              <a:gd name="T89" fmla="*/ 222 h 531"/>
              <a:gd name="T90" fmla="*/ 161 w 534"/>
              <a:gd name="T91" fmla="*/ 348 h 531"/>
              <a:gd name="T92" fmla="*/ 14 w 534"/>
              <a:gd name="T93" fmla="*/ 472 h 531"/>
              <a:gd name="T94" fmla="*/ 14 w 534"/>
              <a:gd name="T95" fmla="*/ 222 h 531"/>
              <a:gd name="T96" fmla="*/ 14 w 534"/>
              <a:gd name="T97" fmla="*/ 517 h 531"/>
              <a:gd name="T98" fmla="*/ 14 w 534"/>
              <a:gd name="T99" fmla="*/ 491 h 531"/>
              <a:gd name="T100" fmla="*/ 229 w 534"/>
              <a:gd name="T101" fmla="*/ 309 h 531"/>
              <a:gd name="T102" fmla="*/ 308 w 534"/>
              <a:gd name="T103" fmla="*/ 309 h 531"/>
              <a:gd name="T104" fmla="*/ 520 w 534"/>
              <a:gd name="T105" fmla="*/ 491 h 531"/>
              <a:gd name="T106" fmla="*/ 520 w 534"/>
              <a:gd name="T107" fmla="*/ 517 h 531"/>
              <a:gd name="T108" fmla="*/ 14 w 534"/>
              <a:gd name="T109" fmla="*/ 517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34" h="531">
                <a:moveTo>
                  <a:pt x="534" y="207"/>
                </a:moveTo>
                <a:cubicBezTo>
                  <a:pt x="534" y="206"/>
                  <a:pt x="534" y="206"/>
                  <a:pt x="534" y="206"/>
                </a:cubicBezTo>
                <a:cubicBezTo>
                  <a:pt x="534" y="206"/>
                  <a:pt x="534" y="205"/>
                  <a:pt x="534" y="205"/>
                </a:cubicBezTo>
                <a:cubicBezTo>
                  <a:pt x="534" y="205"/>
                  <a:pt x="534" y="205"/>
                  <a:pt x="534" y="204"/>
                </a:cubicBezTo>
                <a:cubicBezTo>
                  <a:pt x="534" y="204"/>
                  <a:pt x="534" y="204"/>
                  <a:pt x="534" y="204"/>
                </a:cubicBezTo>
                <a:cubicBezTo>
                  <a:pt x="534" y="204"/>
                  <a:pt x="533" y="203"/>
                  <a:pt x="533" y="203"/>
                </a:cubicBezTo>
                <a:cubicBezTo>
                  <a:pt x="533" y="203"/>
                  <a:pt x="533" y="203"/>
                  <a:pt x="533" y="203"/>
                </a:cubicBezTo>
                <a:cubicBezTo>
                  <a:pt x="533" y="203"/>
                  <a:pt x="533" y="202"/>
                  <a:pt x="533" y="202"/>
                </a:cubicBezTo>
                <a:cubicBezTo>
                  <a:pt x="533" y="202"/>
                  <a:pt x="532" y="202"/>
                  <a:pt x="532" y="202"/>
                </a:cubicBezTo>
                <a:cubicBezTo>
                  <a:pt x="532" y="202"/>
                  <a:pt x="532" y="202"/>
                  <a:pt x="532" y="202"/>
                </a:cubicBezTo>
                <a:cubicBezTo>
                  <a:pt x="317" y="18"/>
                  <a:pt x="317" y="18"/>
                  <a:pt x="317" y="18"/>
                </a:cubicBezTo>
                <a:cubicBezTo>
                  <a:pt x="304" y="6"/>
                  <a:pt x="287" y="0"/>
                  <a:pt x="268" y="0"/>
                </a:cubicBezTo>
                <a:cubicBezTo>
                  <a:pt x="250" y="0"/>
                  <a:pt x="233" y="6"/>
                  <a:pt x="220" y="18"/>
                </a:cubicBezTo>
                <a:cubicBezTo>
                  <a:pt x="3" y="202"/>
                  <a:pt x="3" y="202"/>
                  <a:pt x="3" y="202"/>
                </a:cubicBezTo>
                <a:cubicBezTo>
                  <a:pt x="3" y="202"/>
                  <a:pt x="3" y="202"/>
                  <a:pt x="3" y="202"/>
                </a:cubicBezTo>
                <a:cubicBezTo>
                  <a:pt x="2" y="202"/>
                  <a:pt x="2" y="202"/>
                  <a:pt x="2" y="202"/>
                </a:cubicBezTo>
                <a:cubicBezTo>
                  <a:pt x="2" y="202"/>
                  <a:pt x="2" y="203"/>
                  <a:pt x="2" y="203"/>
                </a:cubicBezTo>
                <a:cubicBezTo>
                  <a:pt x="2" y="203"/>
                  <a:pt x="2" y="203"/>
                  <a:pt x="2" y="203"/>
                </a:cubicBezTo>
                <a:cubicBezTo>
                  <a:pt x="2" y="203"/>
                  <a:pt x="1" y="204"/>
                  <a:pt x="1" y="204"/>
                </a:cubicBezTo>
                <a:cubicBezTo>
                  <a:pt x="1" y="204"/>
                  <a:pt x="1" y="204"/>
                  <a:pt x="1" y="204"/>
                </a:cubicBezTo>
                <a:cubicBezTo>
                  <a:pt x="1" y="205"/>
                  <a:pt x="1" y="205"/>
                  <a:pt x="1" y="205"/>
                </a:cubicBezTo>
                <a:cubicBezTo>
                  <a:pt x="1" y="205"/>
                  <a:pt x="1" y="206"/>
                  <a:pt x="1" y="206"/>
                </a:cubicBezTo>
                <a:cubicBezTo>
                  <a:pt x="1" y="206"/>
                  <a:pt x="1" y="206"/>
                  <a:pt x="1" y="207"/>
                </a:cubicBezTo>
                <a:cubicBezTo>
                  <a:pt x="1" y="207"/>
                  <a:pt x="0" y="207"/>
                  <a:pt x="0" y="207"/>
                </a:cubicBezTo>
                <a:cubicBezTo>
                  <a:pt x="0" y="524"/>
                  <a:pt x="0" y="524"/>
                  <a:pt x="0" y="524"/>
                </a:cubicBezTo>
                <a:cubicBezTo>
                  <a:pt x="0" y="528"/>
                  <a:pt x="4" y="531"/>
                  <a:pt x="7" y="531"/>
                </a:cubicBezTo>
                <a:cubicBezTo>
                  <a:pt x="527" y="531"/>
                  <a:pt x="527" y="531"/>
                  <a:pt x="527" y="531"/>
                </a:cubicBezTo>
                <a:cubicBezTo>
                  <a:pt x="531" y="531"/>
                  <a:pt x="534" y="528"/>
                  <a:pt x="534" y="524"/>
                </a:cubicBezTo>
                <a:cubicBezTo>
                  <a:pt x="534" y="207"/>
                  <a:pt x="534" y="207"/>
                  <a:pt x="534" y="207"/>
                </a:cubicBezTo>
                <a:cubicBezTo>
                  <a:pt x="534" y="207"/>
                  <a:pt x="534" y="207"/>
                  <a:pt x="534" y="207"/>
                </a:cubicBezTo>
                <a:close/>
                <a:moveTo>
                  <a:pt x="520" y="472"/>
                </a:moveTo>
                <a:cubicBezTo>
                  <a:pt x="374" y="347"/>
                  <a:pt x="374" y="347"/>
                  <a:pt x="374" y="347"/>
                </a:cubicBezTo>
                <a:cubicBezTo>
                  <a:pt x="520" y="222"/>
                  <a:pt x="520" y="222"/>
                  <a:pt x="520" y="222"/>
                </a:cubicBezTo>
                <a:lnTo>
                  <a:pt x="520" y="472"/>
                </a:lnTo>
                <a:close/>
                <a:moveTo>
                  <a:pt x="229" y="28"/>
                </a:moveTo>
                <a:cubicBezTo>
                  <a:pt x="240" y="19"/>
                  <a:pt x="254" y="14"/>
                  <a:pt x="268" y="14"/>
                </a:cubicBezTo>
                <a:cubicBezTo>
                  <a:pt x="283" y="14"/>
                  <a:pt x="297" y="19"/>
                  <a:pt x="308" y="28"/>
                </a:cubicBezTo>
                <a:cubicBezTo>
                  <a:pt x="517" y="207"/>
                  <a:pt x="517" y="207"/>
                  <a:pt x="517" y="207"/>
                </a:cubicBezTo>
                <a:cubicBezTo>
                  <a:pt x="363" y="337"/>
                  <a:pt x="363" y="337"/>
                  <a:pt x="363" y="337"/>
                </a:cubicBezTo>
                <a:cubicBezTo>
                  <a:pt x="317" y="298"/>
                  <a:pt x="317" y="298"/>
                  <a:pt x="317" y="298"/>
                </a:cubicBezTo>
                <a:cubicBezTo>
                  <a:pt x="290" y="275"/>
                  <a:pt x="247" y="275"/>
                  <a:pt x="220" y="298"/>
                </a:cubicBezTo>
                <a:cubicBezTo>
                  <a:pt x="172" y="339"/>
                  <a:pt x="172" y="339"/>
                  <a:pt x="172" y="339"/>
                </a:cubicBezTo>
                <a:cubicBezTo>
                  <a:pt x="18" y="207"/>
                  <a:pt x="18" y="207"/>
                  <a:pt x="18" y="207"/>
                </a:cubicBezTo>
                <a:lnTo>
                  <a:pt x="229" y="28"/>
                </a:lnTo>
                <a:close/>
                <a:moveTo>
                  <a:pt x="14" y="222"/>
                </a:moveTo>
                <a:cubicBezTo>
                  <a:pt x="161" y="348"/>
                  <a:pt x="161" y="348"/>
                  <a:pt x="161" y="348"/>
                </a:cubicBezTo>
                <a:cubicBezTo>
                  <a:pt x="14" y="472"/>
                  <a:pt x="14" y="472"/>
                  <a:pt x="14" y="472"/>
                </a:cubicBezTo>
                <a:lnTo>
                  <a:pt x="14" y="222"/>
                </a:lnTo>
                <a:close/>
                <a:moveTo>
                  <a:pt x="14" y="517"/>
                </a:moveTo>
                <a:cubicBezTo>
                  <a:pt x="14" y="491"/>
                  <a:pt x="14" y="491"/>
                  <a:pt x="14" y="491"/>
                </a:cubicBezTo>
                <a:cubicBezTo>
                  <a:pt x="229" y="309"/>
                  <a:pt x="229" y="309"/>
                  <a:pt x="229" y="309"/>
                </a:cubicBezTo>
                <a:cubicBezTo>
                  <a:pt x="251" y="290"/>
                  <a:pt x="286" y="290"/>
                  <a:pt x="308" y="309"/>
                </a:cubicBezTo>
                <a:cubicBezTo>
                  <a:pt x="520" y="491"/>
                  <a:pt x="520" y="491"/>
                  <a:pt x="520" y="491"/>
                </a:cubicBezTo>
                <a:cubicBezTo>
                  <a:pt x="520" y="517"/>
                  <a:pt x="520" y="517"/>
                  <a:pt x="520" y="517"/>
                </a:cubicBezTo>
                <a:lnTo>
                  <a:pt x="14" y="5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2" name="Oval 57">
            <a:extLst>
              <a:ext uri="{FF2B5EF4-FFF2-40B4-BE49-F238E27FC236}">
                <a16:creationId xmlns:a16="http://schemas.microsoft.com/office/drawing/2014/main" id="{692F4EE3-8841-4245-9EFF-D728CFEFDB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2358" y="2308853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3" name="Freeform 133">
            <a:extLst>
              <a:ext uri="{FF2B5EF4-FFF2-40B4-BE49-F238E27FC236}">
                <a16:creationId xmlns:a16="http://schemas.microsoft.com/office/drawing/2014/main" id="{3BB97134-FCB3-4E81-8DD4-2EC80AD9B9B1}"/>
              </a:ext>
            </a:extLst>
          </p:cNvPr>
          <p:cNvSpPr>
            <a:spLocks noEditPoints="1"/>
          </p:cNvSpPr>
          <p:nvPr/>
        </p:nvSpPr>
        <p:spPr bwMode="auto">
          <a:xfrm>
            <a:off x="3757203" y="2510339"/>
            <a:ext cx="413269" cy="415510"/>
          </a:xfrm>
          <a:custGeom>
            <a:avLst/>
            <a:gdLst>
              <a:gd name="T0" fmla="*/ 534 w 534"/>
              <a:gd name="T1" fmla="*/ 211 h 536"/>
              <a:gd name="T2" fmla="*/ 533 w 534"/>
              <a:gd name="T3" fmla="*/ 209 h 536"/>
              <a:gd name="T4" fmla="*/ 532 w 534"/>
              <a:gd name="T5" fmla="*/ 208 h 536"/>
              <a:gd name="T6" fmla="*/ 532 w 534"/>
              <a:gd name="T7" fmla="*/ 207 h 536"/>
              <a:gd name="T8" fmla="*/ 531 w 534"/>
              <a:gd name="T9" fmla="*/ 207 h 536"/>
              <a:gd name="T10" fmla="*/ 465 w 534"/>
              <a:gd name="T11" fmla="*/ 93 h 536"/>
              <a:gd name="T12" fmla="*/ 391 w 534"/>
              <a:gd name="T13" fmla="*/ 86 h 536"/>
              <a:gd name="T14" fmla="*/ 219 w 534"/>
              <a:gd name="T15" fmla="*/ 23 h 536"/>
              <a:gd name="T16" fmla="*/ 76 w 534"/>
              <a:gd name="T17" fmla="*/ 86 h 536"/>
              <a:gd name="T18" fmla="*/ 69 w 534"/>
              <a:gd name="T19" fmla="*/ 150 h 536"/>
              <a:gd name="T20" fmla="*/ 2 w 534"/>
              <a:gd name="T21" fmla="*/ 207 h 536"/>
              <a:gd name="T22" fmla="*/ 1 w 534"/>
              <a:gd name="T23" fmla="*/ 208 h 536"/>
              <a:gd name="T24" fmla="*/ 1 w 534"/>
              <a:gd name="T25" fmla="*/ 209 h 536"/>
              <a:gd name="T26" fmla="*/ 0 w 534"/>
              <a:gd name="T27" fmla="*/ 210 h 536"/>
              <a:gd name="T28" fmla="*/ 0 w 534"/>
              <a:gd name="T29" fmla="*/ 212 h 536"/>
              <a:gd name="T30" fmla="*/ 0 w 534"/>
              <a:gd name="T31" fmla="*/ 529 h 536"/>
              <a:gd name="T32" fmla="*/ 527 w 534"/>
              <a:gd name="T33" fmla="*/ 536 h 536"/>
              <a:gd name="T34" fmla="*/ 534 w 534"/>
              <a:gd name="T35" fmla="*/ 212 h 536"/>
              <a:gd name="T36" fmla="*/ 520 w 534"/>
              <a:gd name="T37" fmla="*/ 227 h 536"/>
              <a:gd name="T38" fmla="*/ 373 w 534"/>
              <a:gd name="T39" fmla="*/ 352 h 536"/>
              <a:gd name="T40" fmla="*/ 516 w 534"/>
              <a:gd name="T41" fmla="*/ 212 h 536"/>
              <a:gd name="T42" fmla="*/ 465 w 534"/>
              <a:gd name="T43" fmla="*/ 168 h 536"/>
              <a:gd name="T44" fmla="*/ 228 w 534"/>
              <a:gd name="T45" fmla="*/ 33 h 536"/>
              <a:gd name="T46" fmla="*/ 369 w 534"/>
              <a:gd name="T47" fmla="*/ 86 h 536"/>
              <a:gd name="T48" fmla="*/ 228 w 534"/>
              <a:gd name="T49" fmla="*/ 33 h 536"/>
              <a:gd name="T50" fmla="*/ 451 w 534"/>
              <a:gd name="T51" fmla="*/ 267 h 536"/>
              <a:gd name="T52" fmla="*/ 316 w 534"/>
              <a:gd name="T53" fmla="*/ 303 h 536"/>
              <a:gd name="T54" fmla="*/ 171 w 534"/>
              <a:gd name="T55" fmla="*/ 344 h 536"/>
              <a:gd name="T56" fmla="*/ 83 w 534"/>
              <a:gd name="T57" fmla="*/ 100 h 536"/>
              <a:gd name="T58" fmla="*/ 14 w 534"/>
              <a:gd name="T59" fmla="*/ 227 h 536"/>
              <a:gd name="T60" fmla="*/ 14 w 534"/>
              <a:gd name="T61" fmla="*/ 477 h 536"/>
              <a:gd name="T62" fmla="*/ 69 w 534"/>
              <a:gd name="T63" fmla="*/ 256 h 536"/>
              <a:gd name="T64" fmla="*/ 69 w 534"/>
              <a:gd name="T65" fmla="*/ 169 h 536"/>
              <a:gd name="T66" fmla="*/ 14 w 534"/>
              <a:gd name="T67" fmla="*/ 522 h 536"/>
              <a:gd name="T68" fmla="*/ 228 w 534"/>
              <a:gd name="T69" fmla="*/ 314 h 536"/>
              <a:gd name="T70" fmla="*/ 520 w 534"/>
              <a:gd name="T71" fmla="*/ 496 h 536"/>
              <a:gd name="T72" fmla="*/ 14 w 534"/>
              <a:gd name="T73" fmla="*/ 522 h 5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34" h="536">
                <a:moveTo>
                  <a:pt x="534" y="212"/>
                </a:moveTo>
                <a:cubicBezTo>
                  <a:pt x="534" y="211"/>
                  <a:pt x="534" y="211"/>
                  <a:pt x="534" y="211"/>
                </a:cubicBezTo>
                <a:cubicBezTo>
                  <a:pt x="533" y="211"/>
                  <a:pt x="533" y="210"/>
                  <a:pt x="533" y="210"/>
                </a:cubicBezTo>
                <a:cubicBezTo>
                  <a:pt x="533" y="210"/>
                  <a:pt x="533" y="210"/>
                  <a:pt x="533" y="209"/>
                </a:cubicBezTo>
                <a:cubicBezTo>
                  <a:pt x="533" y="209"/>
                  <a:pt x="533" y="209"/>
                  <a:pt x="533" y="209"/>
                </a:cubicBezTo>
                <a:cubicBezTo>
                  <a:pt x="533" y="209"/>
                  <a:pt x="533" y="208"/>
                  <a:pt x="532" y="208"/>
                </a:cubicBezTo>
                <a:cubicBezTo>
                  <a:pt x="532" y="208"/>
                  <a:pt x="532" y="208"/>
                  <a:pt x="532" y="208"/>
                </a:cubicBezTo>
                <a:cubicBezTo>
                  <a:pt x="532" y="208"/>
                  <a:pt x="532" y="207"/>
                  <a:pt x="532" y="207"/>
                </a:cubicBezTo>
                <a:cubicBezTo>
                  <a:pt x="532" y="207"/>
                  <a:pt x="532" y="207"/>
                  <a:pt x="532" y="207"/>
                </a:cubicBezTo>
                <a:cubicBezTo>
                  <a:pt x="531" y="207"/>
                  <a:pt x="531" y="207"/>
                  <a:pt x="531" y="207"/>
                </a:cubicBezTo>
                <a:cubicBezTo>
                  <a:pt x="465" y="150"/>
                  <a:pt x="465" y="150"/>
                  <a:pt x="465" y="150"/>
                </a:cubicBezTo>
                <a:cubicBezTo>
                  <a:pt x="465" y="93"/>
                  <a:pt x="465" y="93"/>
                  <a:pt x="465" y="93"/>
                </a:cubicBezTo>
                <a:cubicBezTo>
                  <a:pt x="465" y="89"/>
                  <a:pt x="461" y="86"/>
                  <a:pt x="458" y="86"/>
                </a:cubicBezTo>
                <a:cubicBezTo>
                  <a:pt x="391" y="86"/>
                  <a:pt x="391" y="86"/>
                  <a:pt x="391" y="86"/>
                </a:cubicBezTo>
                <a:cubicBezTo>
                  <a:pt x="316" y="23"/>
                  <a:pt x="316" y="23"/>
                  <a:pt x="316" y="23"/>
                </a:cubicBezTo>
                <a:cubicBezTo>
                  <a:pt x="289" y="0"/>
                  <a:pt x="246" y="0"/>
                  <a:pt x="219" y="23"/>
                </a:cubicBezTo>
                <a:cubicBezTo>
                  <a:pt x="144" y="86"/>
                  <a:pt x="144" y="86"/>
                  <a:pt x="144" y="86"/>
                </a:cubicBezTo>
                <a:cubicBezTo>
                  <a:pt x="76" y="86"/>
                  <a:pt x="76" y="86"/>
                  <a:pt x="76" y="86"/>
                </a:cubicBezTo>
                <a:cubicBezTo>
                  <a:pt x="72" y="86"/>
                  <a:pt x="69" y="89"/>
                  <a:pt x="69" y="93"/>
                </a:cubicBezTo>
                <a:cubicBezTo>
                  <a:pt x="69" y="150"/>
                  <a:pt x="69" y="150"/>
                  <a:pt x="69" y="150"/>
                </a:cubicBezTo>
                <a:cubicBezTo>
                  <a:pt x="2" y="207"/>
                  <a:pt x="2" y="207"/>
                  <a:pt x="2" y="207"/>
                </a:cubicBezTo>
                <a:cubicBezTo>
                  <a:pt x="2" y="207"/>
                  <a:pt x="2" y="207"/>
                  <a:pt x="2" y="207"/>
                </a:cubicBezTo>
                <a:cubicBezTo>
                  <a:pt x="2" y="207"/>
                  <a:pt x="2" y="207"/>
                  <a:pt x="1" y="207"/>
                </a:cubicBezTo>
                <a:cubicBezTo>
                  <a:pt x="1" y="207"/>
                  <a:pt x="1" y="208"/>
                  <a:pt x="1" y="208"/>
                </a:cubicBezTo>
                <a:cubicBezTo>
                  <a:pt x="1" y="208"/>
                  <a:pt x="1" y="208"/>
                  <a:pt x="1" y="208"/>
                </a:cubicBezTo>
                <a:cubicBezTo>
                  <a:pt x="1" y="208"/>
                  <a:pt x="1" y="209"/>
                  <a:pt x="1" y="209"/>
                </a:cubicBezTo>
                <a:cubicBezTo>
                  <a:pt x="0" y="209"/>
                  <a:pt x="0" y="209"/>
                  <a:pt x="0" y="209"/>
                </a:cubicBezTo>
                <a:cubicBezTo>
                  <a:pt x="0" y="210"/>
                  <a:pt x="0" y="210"/>
                  <a:pt x="0" y="210"/>
                </a:cubicBezTo>
                <a:cubicBezTo>
                  <a:pt x="0" y="210"/>
                  <a:pt x="0" y="211"/>
                  <a:pt x="0" y="211"/>
                </a:cubicBezTo>
                <a:cubicBezTo>
                  <a:pt x="0" y="211"/>
                  <a:pt x="0" y="211"/>
                  <a:pt x="0" y="212"/>
                </a:cubicBezTo>
                <a:cubicBezTo>
                  <a:pt x="0" y="212"/>
                  <a:pt x="0" y="212"/>
                  <a:pt x="0" y="212"/>
                </a:cubicBezTo>
                <a:cubicBezTo>
                  <a:pt x="0" y="529"/>
                  <a:pt x="0" y="529"/>
                  <a:pt x="0" y="529"/>
                </a:cubicBezTo>
                <a:cubicBezTo>
                  <a:pt x="0" y="533"/>
                  <a:pt x="3" y="536"/>
                  <a:pt x="7" y="536"/>
                </a:cubicBezTo>
                <a:cubicBezTo>
                  <a:pt x="527" y="536"/>
                  <a:pt x="527" y="536"/>
                  <a:pt x="527" y="536"/>
                </a:cubicBezTo>
                <a:cubicBezTo>
                  <a:pt x="530" y="536"/>
                  <a:pt x="534" y="533"/>
                  <a:pt x="534" y="529"/>
                </a:cubicBezTo>
                <a:cubicBezTo>
                  <a:pt x="534" y="212"/>
                  <a:pt x="534" y="212"/>
                  <a:pt x="534" y="212"/>
                </a:cubicBezTo>
                <a:cubicBezTo>
                  <a:pt x="534" y="212"/>
                  <a:pt x="534" y="212"/>
                  <a:pt x="534" y="212"/>
                </a:cubicBezTo>
                <a:close/>
                <a:moveTo>
                  <a:pt x="520" y="227"/>
                </a:moveTo>
                <a:cubicBezTo>
                  <a:pt x="520" y="477"/>
                  <a:pt x="520" y="477"/>
                  <a:pt x="520" y="477"/>
                </a:cubicBezTo>
                <a:cubicBezTo>
                  <a:pt x="373" y="352"/>
                  <a:pt x="373" y="352"/>
                  <a:pt x="373" y="352"/>
                </a:cubicBezTo>
                <a:lnTo>
                  <a:pt x="520" y="227"/>
                </a:lnTo>
                <a:close/>
                <a:moveTo>
                  <a:pt x="516" y="212"/>
                </a:moveTo>
                <a:cubicBezTo>
                  <a:pt x="465" y="255"/>
                  <a:pt x="465" y="255"/>
                  <a:pt x="465" y="255"/>
                </a:cubicBezTo>
                <a:cubicBezTo>
                  <a:pt x="465" y="168"/>
                  <a:pt x="465" y="168"/>
                  <a:pt x="465" y="168"/>
                </a:cubicBezTo>
                <a:lnTo>
                  <a:pt x="516" y="212"/>
                </a:lnTo>
                <a:close/>
                <a:moveTo>
                  <a:pt x="228" y="33"/>
                </a:moveTo>
                <a:cubicBezTo>
                  <a:pt x="250" y="15"/>
                  <a:pt x="285" y="15"/>
                  <a:pt x="307" y="33"/>
                </a:cubicBezTo>
                <a:cubicBezTo>
                  <a:pt x="369" y="86"/>
                  <a:pt x="369" y="86"/>
                  <a:pt x="369" y="86"/>
                </a:cubicBezTo>
                <a:cubicBezTo>
                  <a:pt x="166" y="86"/>
                  <a:pt x="166" y="86"/>
                  <a:pt x="166" y="86"/>
                </a:cubicBezTo>
                <a:lnTo>
                  <a:pt x="228" y="33"/>
                </a:lnTo>
                <a:close/>
                <a:moveTo>
                  <a:pt x="451" y="100"/>
                </a:moveTo>
                <a:cubicBezTo>
                  <a:pt x="451" y="267"/>
                  <a:pt x="451" y="267"/>
                  <a:pt x="451" y="267"/>
                </a:cubicBezTo>
                <a:cubicBezTo>
                  <a:pt x="362" y="342"/>
                  <a:pt x="362" y="342"/>
                  <a:pt x="362" y="342"/>
                </a:cubicBezTo>
                <a:cubicBezTo>
                  <a:pt x="316" y="303"/>
                  <a:pt x="316" y="303"/>
                  <a:pt x="316" y="303"/>
                </a:cubicBezTo>
                <a:cubicBezTo>
                  <a:pt x="289" y="280"/>
                  <a:pt x="246" y="280"/>
                  <a:pt x="219" y="303"/>
                </a:cubicBezTo>
                <a:cubicBezTo>
                  <a:pt x="171" y="344"/>
                  <a:pt x="171" y="344"/>
                  <a:pt x="171" y="344"/>
                </a:cubicBezTo>
                <a:cubicBezTo>
                  <a:pt x="83" y="268"/>
                  <a:pt x="83" y="268"/>
                  <a:pt x="83" y="268"/>
                </a:cubicBezTo>
                <a:cubicBezTo>
                  <a:pt x="83" y="100"/>
                  <a:pt x="83" y="100"/>
                  <a:pt x="83" y="100"/>
                </a:cubicBezTo>
                <a:lnTo>
                  <a:pt x="451" y="100"/>
                </a:lnTo>
                <a:close/>
                <a:moveTo>
                  <a:pt x="14" y="227"/>
                </a:moveTo>
                <a:cubicBezTo>
                  <a:pt x="161" y="353"/>
                  <a:pt x="161" y="353"/>
                  <a:pt x="161" y="353"/>
                </a:cubicBezTo>
                <a:cubicBezTo>
                  <a:pt x="14" y="477"/>
                  <a:pt x="14" y="477"/>
                  <a:pt x="14" y="477"/>
                </a:cubicBezTo>
                <a:lnTo>
                  <a:pt x="14" y="227"/>
                </a:lnTo>
                <a:close/>
                <a:moveTo>
                  <a:pt x="69" y="256"/>
                </a:moveTo>
                <a:cubicBezTo>
                  <a:pt x="18" y="212"/>
                  <a:pt x="18" y="212"/>
                  <a:pt x="18" y="212"/>
                </a:cubicBezTo>
                <a:cubicBezTo>
                  <a:pt x="69" y="169"/>
                  <a:pt x="69" y="169"/>
                  <a:pt x="69" y="169"/>
                </a:cubicBezTo>
                <a:lnTo>
                  <a:pt x="69" y="256"/>
                </a:lnTo>
                <a:close/>
                <a:moveTo>
                  <a:pt x="14" y="522"/>
                </a:moveTo>
                <a:cubicBezTo>
                  <a:pt x="14" y="496"/>
                  <a:pt x="14" y="496"/>
                  <a:pt x="14" y="496"/>
                </a:cubicBezTo>
                <a:cubicBezTo>
                  <a:pt x="228" y="314"/>
                  <a:pt x="228" y="314"/>
                  <a:pt x="228" y="314"/>
                </a:cubicBezTo>
                <a:cubicBezTo>
                  <a:pt x="250" y="295"/>
                  <a:pt x="285" y="295"/>
                  <a:pt x="307" y="314"/>
                </a:cubicBezTo>
                <a:cubicBezTo>
                  <a:pt x="520" y="496"/>
                  <a:pt x="520" y="496"/>
                  <a:pt x="520" y="496"/>
                </a:cubicBezTo>
                <a:cubicBezTo>
                  <a:pt x="520" y="522"/>
                  <a:pt x="520" y="522"/>
                  <a:pt x="520" y="522"/>
                </a:cubicBezTo>
                <a:lnTo>
                  <a:pt x="14" y="52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4032463972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Oval 70"/>
          <p:cNvSpPr>
            <a:spLocks noChangeArrowheads="1"/>
          </p:cNvSpPr>
          <p:nvPr/>
        </p:nvSpPr>
        <p:spPr bwMode="auto">
          <a:xfrm>
            <a:off x="2242362" y="3111068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00" name="Freeform 91"/>
          <p:cNvSpPr>
            <a:spLocks noEditPoints="1"/>
          </p:cNvSpPr>
          <p:nvPr/>
        </p:nvSpPr>
        <p:spPr bwMode="auto">
          <a:xfrm>
            <a:off x="2371173" y="3240019"/>
            <a:ext cx="565338" cy="565058"/>
          </a:xfrm>
          <a:custGeom>
            <a:avLst/>
            <a:gdLst>
              <a:gd name="T0" fmla="*/ 730 w 730"/>
              <a:gd name="T1" fmla="*/ 364 h 729"/>
              <a:gd name="T2" fmla="*/ 677 w 730"/>
              <a:gd name="T3" fmla="*/ 176 h 729"/>
              <a:gd name="T4" fmla="*/ 53 w 730"/>
              <a:gd name="T5" fmla="*/ 176 h 729"/>
              <a:gd name="T6" fmla="*/ 0 w 730"/>
              <a:gd name="T7" fmla="*/ 364 h 729"/>
              <a:gd name="T8" fmla="*/ 53 w 730"/>
              <a:gd name="T9" fmla="*/ 553 h 729"/>
              <a:gd name="T10" fmla="*/ 677 w 730"/>
              <a:gd name="T11" fmla="*/ 553 h 729"/>
              <a:gd name="T12" fmla="*/ 14 w 730"/>
              <a:gd name="T13" fmla="*/ 371 h 729"/>
              <a:gd name="T14" fmla="*/ 191 w 730"/>
              <a:gd name="T15" fmla="*/ 541 h 729"/>
              <a:gd name="T16" fmla="*/ 14 w 730"/>
              <a:gd name="T17" fmla="*/ 371 h 729"/>
              <a:gd name="T18" fmla="*/ 191 w 730"/>
              <a:gd name="T19" fmla="*/ 187 h 729"/>
              <a:gd name="T20" fmla="*/ 14 w 730"/>
              <a:gd name="T21" fmla="*/ 357 h 729"/>
              <a:gd name="T22" fmla="*/ 716 w 730"/>
              <a:gd name="T23" fmla="*/ 357 h 729"/>
              <a:gd name="T24" fmla="*/ 539 w 730"/>
              <a:gd name="T25" fmla="*/ 187 h 729"/>
              <a:gd name="T26" fmla="*/ 716 w 730"/>
              <a:gd name="T27" fmla="*/ 357 h 729"/>
              <a:gd name="T28" fmla="*/ 372 w 730"/>
              <a:gd name="T29" fmla="*/ 357 h 729"/>
              <a:gd name="T30" fmla="*/ 525 w 730"/>
              <a:gd name="T31" fmla="*/ 187 h 729"/>
              <a:gd name="T32" fmla="*/ 372 w 730"/>
              <a:gd name="T33" fmla="*/ 173 h 729"/>
              <a:gd name="T34" fmla="*/ 520 w 730"/>
              <a:gd name="T35" fmla="*/ 173 h 729"/>
              <a:gd name="T36" fmla="*/ 358 w 730"/>
              <a:gd name="T37" fmla="*/ 173 h 729"/>
              <a:gd name="T38" fmla="*/ 358 w 730"/>
              <a:gd name="T39" fmla="*/ 14 h 729"/>
              <a:gd name="T40" fmla="*/ 358 w 730"/>
              <a:gd name="T41" fmla="*/ 187 h 729"/>
              <a:gd name="T42" fmla="*/ 180 w 730"/>
              <a:gd name="T43" fmla="*/ 357 h 729"/>
              <a:gd name="T44" fmla="*/ 358 w 730"/>
              <a:gd name="T45" fmla="*/ 187 h 729"/>
              <a:gd name="T46" fmla="*/ 358 w 730"/>
              <a:gd name="T47" fmla="*/ 371 h 729"/>
              <a:gd name="T48" fmla="*/ 205 w 730"/>
              <a:gd name="T49" fmla="*/ 541 h 729"/>
              <a:gd name="T50" fmla="*/ 358 w 730"/>
              <a:gd name="T51" fmla="*/ 555 h 729"/>
              <a:gd name="T52" fmla="*/ 210 w 730"/>
              <a:gd name="T53" fmla="*/ 555 h 729"/>
              <a:gd name="T54" fmla="*/ 372 w 730"/>
              <a:gd name="T55" fmla="*/ 555 h 729"/>
              <a:gd name="T56" fmla="*/ 372 w 730"/>
              <a:gd name="T57" fmla="*/ 715 h 729"/>
              <a:gd name="T58" fmla="*/ 372 w 730"/>
              <a:gd name="T59" fmla="*/ 541 h 729"/>
              <a:gd name="T60" fmla="*/ 550 w 730"/>
              <a:gd name="T61" fmla="*/ 371 h 729"/>
              <a:gd name="T62" fmla="*/ 372 w 730"/>
              <a:gd name="T63" fmla="*/ 541 h 729"/>
              <a:gd name="T64" fmla="*/ 716 w 730"/>
              <a:gd name="T65" fmla="*/ 371 h 729"/>
              <a:gd name="T66" fmla="*/ 539 w 730"/>
              <a:gd name="T67" fmla="*/ 541 h 729"/>
              <a:gd name="T68" fmla="*/ 659 w 730"/>
              <a:gd name="T69" fmla="*/ 173 h 729"/>
              <a:gd name="T70" fmla="*/ 507 w 730"/>
              <a:gd name="T71" fmla="*/ 108 h 729"/>
              <a:gd name="T72" fmla="*/ 659 w 730"/>
              <a:gd name="T73" fmla="*/ 173 h 729"/>
              <a:gd name="T74" fmla="*/ 223 w 730"/>
              <a:gd name="T75" fmla="*/ 108 h 729"/>
              <a:gd name="T76" fmla="*/ 71 w 730"/>
              <a:gd name="T77" fmla="*/ 173 h 729"/>
              <a:gd name="T78" fmla="*/ 71 w 730"/>
              <a:gd name="T79" fmla="*/ 555 h 729"/>
              <a:gd name="T80" fmla="*/ 223 w 730"/>
              <a:gd name="T81" fmla="*/ 621 h 729"/>
              <a:gd name="T82" fmla="*/ 71 w 730"/>
              <a:gd name="T83" fmla="*/ 555 h 729"/>
              <a:gd name="T84" fmla="*/ 507 w 730"/>
              <a:gd name="T85" fmla="*/ 621 h 729"/>
              <a:gd name="T86" fmla="*/ 659 w 730"/>
              <a:gd name="T87" fmla="*/ 555 h 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30" h="729">
                <a:moveTo>
                  <a:pt x="678" y="551"/>
                </a:moveTo>
                <a:cubicBezTo>
                  <a:pt x="711" y="496"/>
                  <a:pt x="730" y="432"/>
                  <a:pt x="730" y="364"/>
                </a:cubicBezTo>
                <a:cubicBezTo>
                  <a:pt x="730" y="296"/>
                  <a:pt x="711" y="233"/>
                  <a:pt x="678" y="178"/>
                </a:cubicBezTo>
                <a:cubicBezTo>
                  <a:pt x="678" y="177"/>
                  <a:pt x="678" y="177"/>
                  <a:pt x="677" y="176"/>
                </a:cubicBezTo>
                <a:cubicBezTo>
                  <a:pt x="613" y="70"/>
                  <a:pt x="497" y="0"/>
                  <a:pt x="365" y="0"/>
                </a:cubicBezTo>
                <a:cubicBezTo>
                  <a:pt x="233" y="0"/>
                  <a:pt x="117" y="70"/>
                  <a:pt x="53" y="176"/>
                </a:cubicBezTo>
                <a:cubicBezTo>
                  <a:pt x="52" y="177"/>
                  <a:pt x="52" y="177"/>
                  <a:pt x="51" y="178"/>
                </a:cubicBezTo>
                <a:cubicBezTo>
                  <a:pt x="19" y="233"/>
                  <a:pt x="0" y="296"/>
                  <a:pt x="0" y="364"/>
                </a:cubicBezTo>
                <a:cubicBezTo>
                  <a:pt x="0" y="432"/>
                  <a:pt x="19" y="496"/>
                  <a:pt x="51" y="551"/>
                </a:cubicBezTo>
                <a:cubicBezTo>
                  <a:pt x="52" y="552"/>
                  <a:pt x="52" y="552"/>
                  <a:pt x="53" y="553"/>
                </a:cubicBezTo>
                <a:cubicBezTo>
                  <a:pt x="117" y="658"/>
                  <a:pt x="233" y="729"/>
                  <a:pt x="365" y="729"/>
                </a:cubicBezTo>
                <a:cubicBezTo>
                  <a:pt x="497" y="729"/>
                  <a:pt x="613" y="658"/>
                  <a:pt x="677" y="553"/>
                </a:cubicBezTo>
                <a:cubicBezTo>
                  <a:pt x="678" y="552"/>
                  <a:pt x="678" y="552"/>
                  <a:pt x="678" y="551"/>
                </a:cubicBezTo>
                <a:close/>
                <a:moveTo>
                  <a:pt x="14" y="371"/>
                </a:moveTo>
                <a:cubicBezTo>
                  <a:pt x="166" y="371"/>
                  <a:pt x="166" y="371"/>
                  <a:pt x="166" y="371"/>
                </a:cubicBezTo>
                <a:cubicBezTo>
                  <a:pt x="166" y="432"/>
                  <a:pt x="175" y="490"/>
                  <a:pt x="191" y="541"/>
                </a:cubicBezTo>
                <a:cubicBezTo>
                  <a:pt x="62" y="541"/>
                  <a:pt x="62" y="541"/>
                  <a:pt x="62" y="541"/>
                </a:cubicBezTo>
                <a:cubicBezTo>
                  <a:pt x="33" y="491"/>
                  <a:pt x="15" y="433"/>
                  <a:pt x="14" y="371"/>
                </a:cubicBezTo>
                <a:close/>
                <a:moveTo>
                  <a:pt x="62" y="187"/>
                </a:moveTo>
                <a:cubicBezTo>
                  <a:pt x="191" y="187"/>
                  <a:pt x="191" y="187"/>
                  <a:pt x="191" y="187"/>
                </a:cubicBezTo>
                <a:cubicBezTo>
                  <a:pt x="175" y="239"/>
                  <a:pt x="166" y="297"/>
                  <a:pt x="166" y="357"/>
                </a:cubicBezTo>
                <a:cubicBezTo>
                  <a:pt x="14" y="357"/>
                  <a:pt x="14" y="357"/>
                  <a:pt x="14" y="357"/>
                </a:cubicBezTo>
                <a:cubicBezTo>
                  <a:pt x="15" y="296"/>
                  <a:pt x="33" y="238"/>
                  <a:pt x="62" y="187"/>
                </a:cubicBezTo>
                <a:close/>
                <a:moveTo>
                  <a:pt x="716" y="357"/>
                </a:moveTo>
                <a:cubicBezTo>
                  <a:pt x="564" y="357"/>
                  <a:pt x="564" y="357"/>
                  <a:pt x="564" y="357"/>
                </a:cubicBezTo>
                <a:cubicBezTo>
                  <a:pt x="563" y="297"/>
                  <a:pt x="555" y="239"/>
                  <a:pt x="539" y="187"/>
                </a:cubicBezTo>
                <a:cubicBezTo>
                  <a:pt x="668" y="187"/>
                  <a:pt x="668" y="187"/>
                  <a:pt x="668" y="187"/>
                </a:cubicBezTo>
                <a:cubicBezTo>
                  <a:pt x="697" y="238"/>
                  <a:pt x="714" y="296"/>
                  <a:pt x="716" y="357"/>
                </a:cubicBezTo>
                <a:close/>
                <a:moveTo>
                  <a:pt x="550" y="357"/>
                </a:moveTo>
                <a:cubicBezTo>
                  <a:pt x="372" y="357"/>
                  <a:pt x="372" y="357"/>
                  <a:pt x="372" y="357"/>
                </a:cubicBezTo>
                <a:cubicBezTo>
                  <a:pt x="372" y="187"/>
                  <a:pt x="372" y="187"/>
                  <a:pt x="372" y="187"/>
                </a:cubicBezTo>
                <a:cubicBezTo>
                  <a:pt x="525" y="187"/>
                  <a:pt x="525" y="187"/>
                  <a:pt x="525" y="187"/>
                </a:cubicBezTo>
                <a:cubicBezTo>
                  <a:pt x="540" y="238"/>
                  <a:pt x="549" y="296"/>
                  <a:pt x="550" y="357"/>
                </a:cubicBezTo>
                <a:close/>
                <a:moveTo>
                  <a:pt x="372" y="173"/>
                </a:moveTo>
                <a:cubicBezTo>
                  <a:pt x="372" y="14"/>
                  <a:pt x="372" y="14"/>
                  <a:pt x="372" y="14"/>
                </a:cubicBezTo>
                <a:cubicBezTo>
                  <a:pt x="434" y="18"/>
                  <a:pt x="488" y="81"/>
                  <a:pt x="520" y="173"/>
                </a:cubicBezTo>
                <a:lnTo>
                  <a:pt x="372" y="173"/>
                </a:lnTo>
                <a:close/>
                <a:moveTo>
                  <a:pt x="358" y="173"/>
                </a:moveTo>
                <a:cubicBezTo>
                  <a:pt x="210" y="173"/>
                  <a:pt x="210" y="173"/>
                  <a:pt x="210" y="173"/>
                </a:cubicBezTo>
                <a:cubicBezTo>
                  <a:pt x="241" y="81"/>
                  <a:pt x="296" y="18"/>
                  <a:pt x="358" y="14"/>
                </a:cubicBezTo>
                <a:lnTo>
                  <a:pt x="358" y="173"/>
                </a:lnTo>
                <a:close/>
                <a:moveTo>
                  <a:pt x="358" y="187"/>
                </a:moveTo>
                <a:cubicBezTo>
                  <a:pt x="358" y="357"/>
                  <a:pt x="358" y="357"/>
                  <a:pt x="358" y="357"/>
                </a:cubicBezTo>
                <a:cubicBezTo>
                  <a:pt x="180" y="357"/>
                  <a:pt x="180" y="357"/>
                  <a:pt x="180" y="357"/>
                </a:cubicBezTo>
                <a:cubicBezTo>
                  <a:pt x="180" y="296"/>
                  <a:pt x="190" y="238"/>
                  <a:pt x="205" y="187"/>
                </a:cubicBezTo>
                <a:lnTo>
                  <a:pt x="358" y="187"/>
                </a:lnTo>
                <a:close/>
                <a:moveTo>
                  <a:pt x="180" y="371"/>
                </a:moveTo>
                <a:cubicBezTo>
                  <a:pt x="358" y="371"/>
                  <a:pt x="358" y="371"/>
                  <a:pt x="358" y="371"/>
                </a:cubicBezTo>
                <a:cubicBezTo>
                  <a:pt x="358" y="541"/>
                  <a:pt x="358" y="541"/>
                  <a:pt x="358" y="541"/>
                </a:cubicBezTo>
                <a:cubicBezTo>
                  <a:pt x="205" y="541"/>
                  <a:pt x="205" y="541"/>
                  <a:pt x="205" y="541"/>
                </a:cubicBezTo>
                <a:cubicBezTo>
                  <a:pt x="190" y="491"/>
                  <a:pt x="180" y="433"/>
                  <a:pt x="180" y="371"/>
                </a:cubicBezTo>
                <a:close/>
                <a:moveTo>
                  <a:pt x="358" y="555"/>
                </a:moveTo>
                <a:cubicBezTo>
                  <a:pt x="358" y="715"/>
                  <a:pt x="358" y="715"/>
                  <a:pt x="358" y="715"/>
                </a:cubicBezTo>
                <a:cubicBezTo>
                  <a:pt x="296" y="710"/>
                  <a:pt x="241" y="648"/>
                  <a:pt x="210" y="555"/>
                </a:cubicBezTo>
                <a:lnTo>
                  <a:pt x="358" y="555"/>
                </a:lnTo>
                <a:close/>
                <a:moveTo>
                  <a:pt x="372" y="555"/>
                </a:moveTo>
                <a:cubicBezTo>
                  <a:pt x="520" y="555"/>
                  <a:pt x="520" y="555"/>
                  <a:pt x="520" y="555"/>
                </a:cubicBezTo>
                <a:cubicBezTo>
                  <a:pt x="488" y="648"/>
                  <a:pt x="434" y="710"/>
                  <a:pt x="372" y="715"/>
                </a:cubicBezTo>
                <a:lnTo>
                  <a:pt x="372" y="555"/>
                </a:lnTo>
                <a:close/>
                <a:moveTo>
                  <a:pt x="372" y="541"/>
                </a:moveTo>
                <a:cubicBezTo>
                  <a:pt x="372" y="371"/>
                  <a:pt x="372" y="371"/>
                  <a:pt x="372" y="371"/>
                </a:cubicBezTo>
                <a:cubicBezTo>
                  <a:pt x="550" y="371"/>
                  <a:pt x="550" y="371"/>
                  <a:pt x="550" y="371"/>
                </a:cubicBezTo>
                <a:cubicBezTo>
                  <a:pt x="549" y="433"/>
                  <a:pt x="540" y="491"/>
                  <a:pt x="525" y="541"/>
                </a:cubicBezTo>
                <a:lnTo>
                  <a:pt x="372" y="541"/>
                </a:lnTo>
                <a:close/>
                <a:moveTo>
                  <a:pt x="564" y="371"/>
                </a:moveTo>
                <a:cubicBezTo>
                  <a:pt x="716" y="371"/>
                  <a:pt x="716" y="371"/>
                  <a:pt x="716" y="371"/>
                </a:cubicBezTo>
                <a:cubicBezTo>
                  <a:pt x="714" y="433"/>
                  <a:pt x="697" y="491"/>
                  <a:pt x="668" y="541"/>
                </a:cubicBezTo>
                <a:cubicBezTo>
                  <a:pt x="539" y="541"/>
                  <a:pt x="539" y="541"/>
                  <a:pt x="539" y="541"/>
                </a:cubicBezTo>
                <a:cubicBezTo>
                  <a:pt x="555" y="490"/>
                  <a:pt x="563" y="432"/>
                  <a:pt x="564" y="371"/>
                </a:cubicBezTo>
                <a:close/>
                <a:moveTo>
                  <a:pt x="659" y="173"/>
                </a:moveTo>
                <a:cubicBezTo>
                  <a:pt x="535" y="173"/>
                  <a:pt x="535" y="173"/>
                  <a:pt x="535" y="173"/>
                </a:cubicBezTo>
                <a:cubicBezTo>
                  <a:pt x="527" y="150"/>
                  <a:pt x="518" y="128"/>
                  <a:pt x="507" y="108"/>
                </a:cubicBezTo>
                <a:cubicBezTo>
                  <a:pt x="485" y="68"/>
                  <a:pt x="459" y="38"/>
                  <a:pt x="431" y="20"/>
                </a:cubicBezTo>
                <a:cubicBezTo>
                  <a:pt x="526" y="38"/>
                  <a:pt x="608" y="95"/>
                  <a:pt x="659" y="173"/>
                </a:cubicBezTo>
                <a:close/>
                <a:moveTo>
                  <a:pt x="299" y="20"/>
                </a:moveTo>
                <a:cubicBezTo>
                  <a:pt x="270" y="38"/>
                  <a:pt x="244" y="68"/>
                  <a:pt x="223" y="108"/>
                </a:cubicBezTo>
                <a:cubicBezTo>
                  <a:pt x="212" y="128"/>
                  <a:pt x="203" y="150"/>
                  <a:pt x="195" y="173"/>
                </a:cubicBezTo>
                <a:cubicBezTo>
                  <a:pt x="71" y="173"/>
                  <a:pt x="71" y="173"/>
                  <a:pt x="71" y="173"/>
                </a:cubicBezTo>
                <a:cubicBezTo>
                  <a:pt x="122" y="95"/>
                  <a:pt x="204" y="38"/>
                  <a:pt x="299" y="20"/>
                </a:cubicBezTo>
                <a:close/>
                <a:moveTo>
                  <a:pt x="71" y="555"/>
                </a:moveTo>
                <a:cubicBezTo>
                  <a:pt x="195" y="555"/>
                  <a:pt x="195" y="555"/>
                  <a:pt x="195" y="555"/>
                </a:cubicBezTo>
                <a:cubicBezTo>
                  <a:pt x="203" y="579"/>
                  <a:pt x="212" y="601"/>
                  <a:pt x="223" y="621"/>
                </a:cubicBezTo>
                <a:cubicBezTo>
                  <a:pt x="244" y="661"/>
                  <a:pt x="270" y="691"/>
                  <a:pt x="299" y="709"/>
                </a:cubicBezTo>
                <a:cubicBezTo>
                  <a:pt x="204" y="691"/>
                  <a:pt x="122" y="634"/>
                  <a:pt x="71" y="555"/>
                </a:cubicBezTo>
                <a:close/>
                <a:moveTo>
                  <a:pt x="431" y="709"/>
                </a:moveTo>
                <a:cubicBezTo>
                  <a:pt x="459" y="691"/>
                  <a:pt x="485" y="661"/>
                  <a:pt x="507" y="621"/>
                </a:cubicBezTo>
                <a:cubicBezTo>
                  <a:pt x="518" y="601"/>
                  <a:pt x="527" y="579"/>
                  <a:pt x="535" y="555"/>
                </a:cubicBezTo>
                <a:cubicBezTo>
                  <a:pt x="659" y="555"/>
                  <a:pt x="659" y="555"/>
                  <a:pt x="659" y="555"/>
                </a:cubicBezTo>
                <a:cubicBezTo>
                  <a:pt x="608" y="634"/>
                  <a:pt x="526" y="691"/>
                  <a:pt x="431" y="70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49" name="Oval 71"/>
          <p:cNvSpPr>
            <a:spLocks noChangeArrowheads="1"/>
          </p:cNvSpPr>
          <p:nvPr/>
        </p:nvSpPr>
        <p:spPr bwMode="auto">
          <a:xfrm>
            <a:off x="949619" y="3111068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8205" name="Freeform 96"/>
          <p:cNvSpPr>
            <a:spLocks noEditPoints="1"/>
          </p:cNvSpPr>
          <p:nvPr/>
        </p:nvSpPr>
        <p:spPr bwMode="auto">
          <a:xfrm>
            <a:off x="1078430" y="3220318"/>
            <a:ext cx="565338" cy="604460"/>
          </a:xfrm>
          <a:custGeom>
            <a:avLst/>
            <a:gdLst>
              <a:gd name="T0" fmla="*/ 730 w 730"/>
              <a:gd name="T1" fmla="*/ 386 h 780"/>
              <a:gd name="T2" fmla="*/ 677 w 730"/>
              <a:gd name="T3" fmla="*/ 198 h 780"/>
              <a:gd name="T4" fmla="*/ 476 w 730"/>
              <a:gd name="T5" fmla="*/ 46 h 780"/>
              <a:gd name="T6" fmla="*/ 659 w 730"/>
              <a:gd name="T7" fmla="*/ 195 h 780"/>
              <a:gd name="T8" fmla="*/ 523 w 730"/>
              <a:gd name="T9" fmla="*/ 163 h 780"/>
              <a:gd name="T10" fmla="*/ 510 w 730"/>
              <a:gd name="T11" fmla="*/ 169 h 780"/>
              <a:gd name="T12" fmla="*/ 372 w 730"/>
              <a:gd name="T13" fmla="*/ 195 h 780"/>
              <a:gd name="T14" fmla="*/ 365 w 730"/>
              <a:gd name="T15" fmla="*/ 22 h 780"/>
              <a:gd name="T16" fmla="*/ 52 w 730"/>
              <a:gd name="T17" fmla="*/ 200 h 780"/>
              <a:gd name="T18" fmla="*/ 52 w 730"/>
              <a:gd name="T19" fmla="*/ 574 h 780"/>
              <a:gd name="T20" fmla="*/ 247 w 730"/>
              <a:gd name="T21" fmla="*/ 732 h 780"/>
              <a:gd name="T22" fmla="*/ 256 w 730"/>
              <a:gd name="T23" fmla="*/ 727 h 780"/>
              <a:gd name="T24" fmla="*/ 71 w 730"/>
              <a:gd name="T25" fmla="*/ 577 h 780"/>
              <a:gd name="T26" fmla="*/ 207 w 730"/>
              <a:gd name="T27" fmla="*/ 608 h 780"/>
              <a:gd name="T28" fmla="*/ 216 w 730"/>
              <a:gd name="T29" fmla="*/ 612 h 780"/>
              <a:gd name="T30" fmla="*/ 210 w 730"/>
              <a:gd name="T31" fmla="*/ 577 h 780"/>
              <a:gd name="T32" fmla="*/ 358 w 730"/>
              <a:gd name="T33" fmla="*/ 744 h 780"/>
              <a:gd name="T34" fmla="*/ 677 w 730"/>
              <a:gd name="T35" fmla="*/ 575 h 780"/>
              <a:gd name="T36" fmla="*/ 564 w 730"/>
              <a:gd name="T37" fmla="*/ 393 h 780"/>
              <a:gd name="T38" fmla="*/ 668 w 730"/>
              <a:gd name="T39" fmla="*/ 563 h 780"/>
              <a:gd name="T40" fmla="*/ 564 w 730"/>
              <a:gd name="T41" fmla="*/ 393 h 780"/>
              <a:gd name="T42" fmla="*/ 372 w 730"/>
              <a:gd name="T43" fmla="*/ 563 h 780"/>
              <a:gd name="T44" fmla="*/ 550 w 730"/>
              <a:gd name="T45" fmla="*/ 393 h 780"/>
              <a:gd name="T46" fmla="*/ 668 w 730"/>
              <a:gd name="T47" fmla="*/ 209 h 780"/>
              <a:gd name="T48" fmla="*/ 564 w 730"/>
              <a:gd name="T49" fmla="*/ 379 h 780"/>
              <a:gd name="T50" fmla="*/ 668 w 730"/>
              <a:gd name="T51" fmla="*/ 209 h 780"/>
              <a:gd name="T52" fmla="*/ 550 w 730"/>
              <a:gd name="T53" fmla="*/ 379 h 780"/>
              <a:gd name="T54" fmla="*/ 372 w 730"/>
              <a:gd name="T55" fmla="*/ 209 h 780"/>
              <a:gd name="T56" fmla="*/ 14 w 730"/>
              <a:gd name="T57" fmla="*/ 379 h 780"/>
              <a:gd name="T58" fmla="*/ 191 w 730"/>
              <a:gd name="T59" fmla="*/ 209 h 780"/>
              <a:gd name="T60" fmla="*/ 14 w 730"/>
              <a:gd name="T61" fmla="*/ 379 h 780"/>
              <a:gd name="T62" fmla="*/ 358 w 730"/>
              <a:gd name="T63" fmla="*/ 209 h 780"/>
              <a:gd name="T64" fmla="*/ 180 w 730"/>
              <a:gd name="T65" fmla="*/ 379 h 780"/>
              <a:gd name="T66" fmla="*/ 210 w 730"/>
              <a:gd name="T67" fmla="*/ 195 h 780"/>
              <a:gd name="T68" fmla="*/ 358 w 730"/>
              <a:gd name="T69" fmla="*/ 195 h 780"/>
              <a:gd name="T70" fmla="*/ 299 w 730"/>
              <a:gd name="T71" fmla="*/ 42 h 780"/>
              <a:gd name="T72" fmla="*/ 195 w 730"/>
              <a:gd name="T73" fmla="*/ 195 h 780"/>
              <a:gd name="T74" fmla="*/ 299 w 730"/>
              <a:gd name="T75" fmla="*/ 42 h 780"/>
              <a:gd name="T76" fmla="*/ 14 w 730"/>
              <a:gd name="T77" fmla="*/ 393 h 780"/>
              <a:gd name="T78" fmla="*/ 191 w 730"/>
              <a:gd name="T79" fmla="*/ 563 h 780"/>
              <a:gd name="T80" fmla="*/ 205 w 730"/>
              <a:gd name="T81" fmla="*/ 563 h 780"/>
              <a:gd name="T82" fmla="*/ 358 w 730"/>
              <a:gd name="T83" fmla="*/ 393 h 780"/>
              <a:gd name="T84" fmla="*/ 205 w 730"/>
              <a:gd name="T85" fmla="*/ 563 h 780"/>
              <a:gd name="T86" fmla="*/ 372 w 730"/>
              <a:gd name="T87" fmla="*/ 737 h 780"/>
              <a:gd name="T88" fmla="*/ 520 w 730"/>
              <a:gd name="T89" fmla="*/ 577 h 780"/>
              <a:gd name="T90" fmla="*/ 507 w 730"/>
              <a:gd name="T91" fmla="*/ 643 h 780"/>
              <a:gd name="T92" fmla="*/ 659 w 730"/>
              <a:gd name="T93" fmla="*/ 577 h 780"/>
              <a:gd name="T94" fmla="*/ 324 w 730"/>
              <a:gd name="T95" fmla="*/ 740 h 780"/>
              <a:gd name="T96" fmla="*/ 321 w 730"/>
              <a:gd name="T97" fmla="*/ 752 h 780"/>
              <a:gd name="T98" fmla="*/ 194 w 730"/>
              <a:gd name="T99" fmla="*/ 780 h 780"/>
              <a:gd name="T100" fmla="*/ 193 w 730"/>
              <a:gd name="T101" fmla="*/ 766 h 780"/>
              <a:gd name="T102" fmla="*/ 227 w 730"/>
              <a:gd name="T103" fmla="*/ 653 h 780"/>
              <a:gd name="T104" fmla="*/ 238 w 730"/>
              <a:gd name="T105" fmla="*/ 643 h 780"/>
              <a:gd name="T106" fmla="*/ 416 w 730"/>
              <a:gd name="T107" fmla="*/ 38 h 780"/>
              <a:gd name="T108" fmla="*/ 420 w 730"/>
              <a:gd name="T109" fmla="*/ 27 h 780"/>
              <a:gd name="T110" fmla="*/ 540 w 730"/>
              <a:gd name="T111" fmla="*/ 7 h 780"/>
              <a:gd name="T112" fmla="*/ 435 w 730"/>
              <a:gd name="T113" fmla="*/ 38 h 780"/>
              <a:gd name="T114" fmla="*/ 504 w 730"/>
              <a:gd name="T115" fmla="*/ 125 h 780"/>
              <a:gd name="T116" fmla="*/ 494 w 730"/>
              <a:gd name="T117" fmla="*/ 125 h 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30" h="780">
                <a:moveTo>
                  <a:pt x="678" y="573"/>
                </a:moveTo>
                <a:cubicBezTo>
                  <a:pt x="711" y="518"/>
                  <a:pt x="730" y="454"/>
                  <a:pt x="730" y="386"/>
                </a:cubicBezTo>
                <a:cubicBezTo>
                  <a:pt x="730" y="319"/>
                  <a:pt x="711" y="255"/>
                  <a:pt x="678" y="200"/>
                </a:cubicBezTo>
                <a:cubicBezTo>
                  <a:pt x="678" y="199"/>
                  <a:pt x="678" y="199"/>
                  <a:pt x="677" y="198"/>
                </a:cubicBezTo>
                <a:cubicBezTo>
                  <a:pt x="634" y="127"/>
                  <a:pt x="567" y="70"/>
                  <a:pt x="485" y="42"/>
                </a:cubicBezTo>
                <a:cubicBezTo>
                  <a:pt x="481" y="41"/>
                  <a:pt x="477" y="42"/>
                  <a:pt x="476" y="46"/>
                </a:cubicBezTo>
                <a:cubicBezTo>
                  <a:pt x="475" y="50"/>
                  <a:pt x="476" y="54"/>
                  <a:pt x="480" y="55"/>
                </a:cubicBezTo>
                <a:cubicBezTo>
                  <a:pt x="556" y="81"/>
                  <a:pt x="618" y="131"/>
                  <a:pt x="659" y="195"/>
                </a:cubicBezTo>
                <a:cubicBezTo>
                  <a:pt x="535" y="195"/>
                  <a:pt x="535" y="195"/>
                  <a:pt x="535" y="195"/>
                </a:cubicBezTo>
                <a:cubicBezTo>
                  <a:pt x="531" y="184"/>
                  <a:pt x="527" y="174"/>
                  <a:pt x="523" y="163"/>
                </a:cubicBezTo>
                <a:cubicBezTo>
                  <a:pt x="521" y="160"/>
                  <a:pt x="517" y="158"/>
                  <a:pt x="514" y="159"/>
                </a:cubicBezTo>
                <a:cubicBezTo>
                  <a:pt x="510" y="161"/>
                  <a:pt x="508" y="165"/>
                  <a:pt x="510" y="169"/>
                </a:cubicBezTo>
                <a:cubicBezTo>
                  <a:pt x="514" y="177"/>
                  <a:pt x="517" y="186"/>
                  <a:pt x="520" y="195"/>
                </a:cubicBezTo>
                <a:cubicBezTo>
                  <a:pt x="372" y="195"/>
                  <a:pt x="372" y="195"/>
                  <a:pt x="372" y="195"/>
                </a:cubicBezTo>
                <a:cubicBezTo>
                  <a:pt x="372" y="29"/>
                  <a:pt x="372" y="29"/>
                  <a:pt x="372" y="29"/>
                </a:cubicBezTo>
                <a:cubicBezTo>
                  <a:pt x="372" y="25"/>
                  <a:pt x="369" y="22"/>
                  <a:pt x="365" y="22"/>
                </a:cubicBezTo>
                <a:cubicBezTo>
                  <a:pt x="233" y="22"/>
                  <a:pt x="117" y="92"/>
                  <a:pt x="53" y="198"/>
                </a:cubicBezTo>
                <a:cubicBezTo>
                  <a:pt x="52" y="199"/>
                  <a:pt x="52" y="199"/>
                  <a:pt x="52" y="200"/>
                </a:cubicBezTo>
                <a:cubicBezTo>
                  <a:pt x="19" y="255"/>
                  <a:pt x="0" y="318"/>
                  <a:pt x="0" y="386"/>
                </a:cubicBezTo>
                <a:cubicBezTo>
                  <a:pt x="0" y="454"/>
                  <a:pt x="19" y="519"/>
                  <a:pt x="52" y="574"/>
                </a:cubicBezTo>
                <a:cubicBezTo>
                  <a:pt x="52" y="574"/>
                  <a:pt x="52" y="574"/>
                  <a:pt x="52" y="574"/>
                </a:cubicBezTo>
                <a:cubicBezTo>
                  <a:pt x="96" y="646"/>
                  <a:pt x="164" y="703"/>
                  <a:pt x="247" y="732"/>
                </a:cubicBezTo>
                <a:cubicBezTo>
                  <a:pt x="248" y="732"/>
                  <a:pt x="248" y="732"/>
                  <a:pt x="249" y="732"/>
                </a:cubicBezTo>
                <a:cubicBezTo>
                  <a:pt x="252" y="732"/>
                  <a:pt x="255" y="730"/>
                  <a:pt x="256" y="727"/>
                </a:cubicBezTo>
                <a:cubicBezTo>
                  <a:pt x="257" y="724"/>
                  <a:pt x="255" y="720"/>
                  <a:pt x="251" y="718"/>
                </a:cubicBezTo>
                <a:cubicBezTo>
                  <a:pt x="175" y="692"/>
                  <a:pt x="113" y="642"/>
                  <a:pt x="71" y="577"/>
                </a:cubicBezTo>
                <a:cubicBezTo>
                  <a:pt x="195" y="577"/>
                  <a:pt x="195" y="577"/>
                  <a:pt x="195" y="577"/>
                </a:cubicBezTo>
                <a:cubicBezTo>
                  <a:pt x="199" y="588"/>
                  <a:pt x="202" y="598"/>
                  <a:pt x="207" y="608"/>
                </a:cubicBezTo>
                <a:cubicBezTo>
                  <a:pt x="208" y="611"/>
                  <a:pt x="210" y="612"/>
                  <a:pt x="213" y="612"/>
                </a:cubicBezTo>
                <a:cubicBezTo>
                  <a:pt x="214" y="612"/>
                  <a:pt x="215" y="612"/>
                  <a:pt x="216" y="612"/>
                </a:cubicBezTo>
                <a:cubicBezTo>
                  <a:pt x="219" y="610"/>
                  <a:pt x="221" y="606"/>
                  <a:pt x="219" y="603"/>
                </a:cubicBezTo>
                <a:cubicBezTo>
                  <a:pt x="216" y="594"/>
                  <a:pt x="213" y="586"/>
                  <a:pt x="210" y="577"/>
                </a:cubicBezTo>
                <a:cubicBezTo>
                  <a:pt x="358" y="577"/>
                  <a:pt x="358" y="577"/>
                  <a:pt x="358" y="577"/>
                </a:cubicBezTo>
                <a:cubicBezTo>
                  <a:pt x="358" y="744"/>
                  <a:pt x="358" y="744"/>
                  <a:pt x="358" y="744"/>
                </a:cubicBezTo>
                <a:cubicBezTo>
                  <a:pt x="358" y="748"/>
                  <a:pt x="361" y="751"/>
                  <a:pt x="365" y="751"/>
                </a:cubicBezTo>
                <a:cubicBezTo>
                  <a:pt x="497" y="751"/>
                  <a:pt x="613" y="680"/>
                  <a:pt x="677" y="575"/>
                </a:cubicBezTo>
                <a:cubicBezTo>
                  <a:pt x="678" y="574"/>
                  <a:pt x="678" y="574"/>
                  <a:pt x="678" y="573"/>
                </a:cubicBezTo>
                <a:close/>
                <a:moveTo>
                  <a:pt x="564" y="393"/>
                </a:moveTo>
                <a:cubicBezTo>
                  <a:pt x="716" y="393"/>
                  <a:pt x="716" y="393"/>
                  <a:pt x="716" y="393"/>
                </a:cubicBezTo>
                <a:cubicBezTo>
                  <a:pt x="714" y="455"/>
                  <a:pt x="697" y="513"/>
                  <a:pt x="668" y="563"/>
                </a:cubicBezTo>
                <a:cubicBezTo>
                  <a:pt x="539" y="563"/>
                  <a:pt x="539" y="563"/>
                  <a:pt x="539" y="563"/>
                </a:cubicBezTo>
                <a:cubicBezTo>
                  <a:pt x="555" y="512"/>
                  <a:pt x="564" y="454"/>
                  <a:pt x="564" y="393"/>
                </a:cubicBezTo>
                <a:close/>
                <a:moveTo>
                  <a:pt x="525" y="563"/>
                </a:moveTo>
                <a:cubicBezTo>
                  <a:pt x="372" y="563"/>
                  <a:pt x="372" y="563"/>
                  <a:pt x="372" y="563"/>
                </a:cubicBezTo>
                <a:cubicBezTo>
                  <a:pt x="372" y="393"/>
                  <a:pt x="372" y="393"/>
                  <a:pt x="372" y="393"/>
                </a:cubicBezTo>
                <a:cubicBezTo>
                  <a:pt x="550" y="393"/>
                  <a:pt x="550" y="393"/>
                  <a:pt x="550" y="393"/>
                </a:cubicBezTo>
                <a:cubicBezTo>
                  <a:pt x="550" y="455"/>
                  <a:pt x="540" y="513"/>
                  <a:pt x="525" y="563"/>
                </a:cubicBezTo>
                <a:close/>
                <a:moveTo>
                  <a:pt x="668" y="209"/>
                </a:moveTo>
                <a:cubicBezTo>
                  <a:pt x="697" y="260"/>
                  <a:pt x="714" y="318"/>
                  <a:pt x="716" y="379"/>
                </a:cubicBezTo>
                <a:cubicBezTo>
                  <a:pt x="564" y="379"/>
                  <a:pt x="564" y="379"/>
                  <a:pt x="564" y="379"/>
                </a:cubicBezTo>
                <a:cubicBezTo>
                  <a:pt x="564" y="319"/>
                  <a:pt x="555" y="261"/>
                  <a:pt x="539" y="209"/>
                </a:cubicBezTo>
                <a:lnTo>
                  <a:pt x="668" y="209"/>
                </a:lnTo>
                <a:close/>
                <a:moveTo>
                  <a:pt x="525" y="209"/>
                </a:moveTo>
                <a:cubicBezTo>
                  <a:pt x="541" y="261"/>
                  <a:pt x="550" y="319"/>
                  <a:pt x="550" y="379"/>
                </a:cubicBezTo>
                <a:cubicBezTo>
                  <a:pt x="372" y="379"/>
                  <a:pt x="372" y="379"/>
                  <a:pt x="372" y="379"/>
                </a:cubicBezTo>
                <a:cubicBezTo>
                  <a:pt x="372" y="209"/>
                  <a:pt x="372" y="209"/>
                  <a:pt x="372" y="209"/>
                </a:cubicBezTo>
                <a:lnTo>
                  <a:pt x="525" y="209"/>
                </a:lnTo>
                <a:close/>
                <a:moveTo>
                  <a:pt x="14" y="379"/>
                </a:moveTo>
                <a:cubicBezTo>
                  <a:pt x="16" y="318"/>
                  <a:pt x="33" y="260"/>
                  <a:pt x="62" y="209"/>
                </a:cubicBezTo>
                <a:cubicBezTo>
                  <a:pt x="191" y="209"/>
                  <a:pt x="191" y="209"/>
                  <a:pt x="191" y="209"/>
                </a:cubicBezTo>
                <a:cubicBezTo>
                  <a:pt x="175" y="261"/>
                  <a:pt x="166" y="319"/>
                  <a:pt x="166" y="379"/>
                </a:cubicBezTo>
                <a:lnTo>
                  <a:pt x="14" y="379"/>
                </a:lnTo>
                <a:close/>
                <a:moveTo>
                  <a:pt x="205" y="209"/>
                </a:moveTo>
                <a:cubicBezTo>
                  <a:pt x="358" y="209"/>
                  <a:pt x="358" y="209"/>
                  <a:pt x="358" y="209"/>
                </a:cubicBezTo>
                <a:cubicBezTo>
                  <a:pt x="358" y="379"/>
                  <a:pt x="358" y="379"/>
                  <a:pt x="358" y="379"/>
                </a:cubicBezTo>
                <a:cubicBezTo>
                  <a:pt x="180" y="379"/>
                  <a:pt x="180" y="379"/>
                  <a:pt x="180" y="379"/>
                </a:cubicBezTo>
                <a:cubicBezTo>
                  <a:pt x="180" y="318"/>
                  <a:pt x="190" y="260"/>
                  <a:pt x="205" y="209"/>
                </a:cubicBezTo>
                <a:close/>
                <a:moveTo>
                  <a:pt x="210" y="195"/>
                </a:moveTo>
                <a:cubicBezTo>
                  <a:pt x="242" y="103"/>
                  <a:pt x="296" y="40"/>
                  <a:pt x="358" y="36"/>
                </a:cubicBezTo>
                <a:cubicBezTo>
                  <a:pt x="358" y="195"/>
                  <a:pt x="358" y="195"/>
                  <a:pt x="358" y="195"/>
                </a:cubicBezTo>
                <a:lnTo>
                  <a:pt x="210" y="195"/>
                </a:lnTo>
                <a:close/>
                <a:moveTo>
                  <a:pt x="299" y="42"/>
                </a:moveTo>
                <a:cubicBezTo>
                  <a:pt x="271" y="60"/>
                  <a:pt x="245" y="90"/>
                  <a:pt x="223" y="130"/>
                </a:cubicBezTo>
                <a:cubicBezTo>
                  <a:pt x="212" y="150"/>
                  <a:pt x="203" y="172"/>
                  <a:pt x="195" y="195"/>
                </a:cubicBezTo>
                <a:cubicBezTo>
                  <a:pt x="71" y="195"/>
                  <a:pt x="71" y="195"/>
                  <a:pt x="71" y="195"/>
                </a:cubicBezTo>
                <a:cubicBezTo>
                  <a:pt x="122" y="117"/>
                  <a:pt x="204" y="60"/>
                  <a:pt x="299" y="42"/>
                </a:cubicBezTo>
                <a:close/>
                <a:moveTo>
                  <a:pt x="62" y="563"/>
                </a:moveTo>
                <a:cubicBezTo>
                  <a:pt x="33" y="513"/>
                  <a:pt x="16" y="455"/>
                  <a:pt x="14" y="393"/>
                </a:cubicBezTo>
                <a:cubicBezTo>
                  <a:pt x="166" y="393"/>
                  <a:pt x="166" y="393"/>
                  <a:pt x="166" y="393"/>
                </a:cubicBezTo>
                <a:cubicBezTo>
                  <a:pt x="166" y="454"/>
                  <a:pt x="175" y="512"/>
                  <a:pt x="191" y="563"/>
                </a:cubicBezTo>
                <a:lnTo>
                  <a:pt x="62" y="563"/>
                </a:lnTo>
                <a:close/>
                <a:moveTo>
                  <a:pt x="205" y="563"/>
                </a:moveTo>
                <a:cubicBezTo>
                  <a:pt x="189" y="512"/>
                  <a:pt x="180" y="454"/>
                  <a:pt x="180" y="393"/>
                </a:cubicBezTo>
                <a:cubicBezTo>
                  <a:pt x="358" y="393"/>
                  <a:pt x="358" y="393"/>
                  <a:pt x="358" y="393"/>
                </a:cubicBezTo>
                <a:cubicBezTo>
                  <a:pt x="358" y="563"/>
                  <a:pt x="358" y="563"/>
                  <a:pt x="358" y="563"/>
                </a:cubicBezTo>
                <a:lnTo>
                  <a:pt x="205" y="563"/>
                </a:lnTo>
                <a:close/>
                <a:moveTo>
                  <a:pt x="520" y="577"/>
                </a:moveTo>
                <a:cubicBezTo>
                  <a:pt x="488" y="670"/>
                  <a:pt x="434" y="732"/>
                  <a:pt x="372" y="737"/>
                </a:cubicBezTo>
                <a:cubicBezTo>
                  <a:pt x="372" y="577"/>
                  <a:pt x="372" y="577"/>
                  <a:pt x="372" y="577"/>
                </a:cubicBezTo>
                <a:lnTo>
                  <a:pt x="520" y="577"/>
                </a:lnTo>
                <a:close/>
                <a:moveTo>
                  <a:pt x="431" y="731"/>
                </a:moveTo>
                <a:cubicBezTo>
                  <a:pt x="459" y="713"/>
                  <a:pt x="485" y="683"/>
                  <a:pt x="507" y="643"/>
                </a:cubicBezTo>
                <a:cubicBezTo>
                  <a:pt x="518" y="623"/>
                  <a:pt x="527" y="601"/>
                  <a:pt x="535" y="577"/>
                </a:cubicBezTo>
                <a:cubicBezTo>
                  <a:pt x="659" y="577"/>
                  <a:pt x="659" y="577"/>
                  <a:pt x="659" y="577"/>
                </a:cubicBezTo>
                <a:cubicBezTo>
                  <a:pt x="608" y="656"/>
                  <a:pt x="526" y="713"/>
                  <a:pt x="431" y="731"/>
                </a:cubicBezTo>
                <a:close/>
                <a:moveTo>
                  <a:pt x="324" y="740"/>
                </a:moveTo>
                <a:cubicBezTo>
                  <a:pt x="326" y="742"/>
                  <a:pt x="327" y="745"/>
                  <a:pt x="326" y="747"/>
                </a:cubicBezTo>
                <a:cubicBezTo>
                  <a:pt x="325" y="749"/>
                  <a:pt x="323" y="751"/>
                  <a:pt x="321" y="752"/>
                </a:cubicBezTo>
                <a:cubicBezTo>
                  <a:pt x="196" y="780"/>
                  <a:pt x="196" y="780"/>
                  <a:pt x="196" y="780"/>
                </a:cubicBezTo>
                <a:cubicBezTo>
                  <a:pt x="195" y="780"/>
                  <a:pt x="195" y="780"/>
                  <a:pt x="194" y="780"/>
                </a:cubicBezTo>
                <a:cubicBezTo>
                  <a:pt x="191" y="780"/>
                  <a:pt x="188" y="778"/>
                  <a:pt x="187" y="775"/>
                </a:cubicBezTo>
                <a:cubicBezTo>
                  <a:pt x="186" y="771"/>
                  <a:pt x="189" y="767"/>
                  <a:pt x="193" y="766"/>
                </a:cubicBezTo>
                <a:cubicBezTo>
                  <a:pt x="306" y="741"/>
                  <a:pt x="306" y="741"/>
                  <a:pt x="306" y="741"/>
                </a:cubicBezTo>
                <a:cubicBezTo>
                  <a:pt x="227" y="653"/>
                  <a:pt x="227" y="653"/>
                  <a:pt x="227" y="653"/>
                </a:cubicBezTo>
                <a:cubicBezTo>
                  <a:pt x="225" y="650"/>
                  <a:pt x="225" y="646"/>
                  <a:pt x="228" y="643"/>
                </a:cubicBezTo>
                <a:cubicBezTo>
                  <a:pt x="231" y="640"/>
                  <a:pt x="235" y="641"/>
                  <a:pt x="238" y="643"/>
                </a:cubicBezTo>
                <a:lnTo>
                  <a:pt x="324" y="740"/>
                </a:lnTo>
                <a:close/>
                <a:moveTo>
                  <a:pt x="416" y="38"/>
                </a:moveTo>
                <a:cubicBezTo>
                  <a:pt x="415" y="36"/>
                  <a:pt x="414" y="34"/>
                  <a:pt x="415" y="31"/>
                </a:cubicBezTo>
                <a:cubicBezTo>
                  <a:pt x="415" y="29"/>
                  <a:pt x="417" y="27"/>
                  <a:pt x="420" y="27"/>
                </a:cubicBezTo>
                <a:cubicBezTo>
                  <a:pt x="532" y="1"/>
                  <a:pt x="532" y="1"/>
                  <a:pt x="532" y="1"/>
                </a:cubicBezTo>
                <a:cubicBezTo>
                  <a:pt x="536" y="0"/>
                  <a:pt x="539" y="3"/>
                  <a:pt x="540" y="7"/>
                </a:cubicBezTo>
                <a:cubicBezTo>
                  <a:pt x="541" y="10"/>
                  <a:pt x="539" y="14"/>
                  <a:pt x="535" y="15"/>
                </a:cubicBezTo>
                <a:cubicBezTo>
                  <a:pt x="435" y="38"/>
                  <a:pt x="435" y="38"/>
                  <a:pt x="435" y="38"/>
                </a:cubicBezTo>
                <a:cubicBezTo>
                  <a:pt x="504" y="115"/>
                  <a:pt x="504" y="115"/>
                  <a:pt x="504" y="115"/>
                </a:cubicBezTo>
                <a:cubicBezTo>
                  <a:pt x="507" y="118"/>
                  <a:pt x="506" y="123"/>
                  <a:pt x="504" y="125"/>
                </a:cubicBezTo>
                <a:cubicBezTo>
                  <a:pt x="502" y="127"/>
                  <a:pt x="501" y="127"/>
                  <a:pt x="499" y="127"/>
                </a:cubicBezTo>
                <a:cubicBezTo>
                  <a:pt x="497" y="127"/>
                  <a:pt x="495" y="126"/>
                  <a:pt x="494" y="125"/>
                </a:cubicBezTo>
                <a:lnTo>
                  <a:pt x="416" y="3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46" name="Oval 68"/>
          <p:cNvSpPr>
            <a:spLocks noChangeArrowheads="1"/>
          </p:cNvSpPr>
          <p:nvPr/>
        </p:nvSpPr>
        <p:spPr bwMode="auto">
          <a:xfrm>
            <a:off x="2259614" y="2009724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62" name="Freeform 129"/>
          <p:cNvSpPr>
            <a:spLocks noEditPoints="1"/>
          </p:cNvSpPr>
          <p:nvPr/>
        </p:nvSpPr>
        <p:spPr bwMode="auto">
          <a:xfrm>
            <a:off x="2408105" y="2165371"/>
            <a:ext cx="525979" cy="512561"/>
          </a:xfrm>
          <a:custGeom>
            <a:avLst/>
            <a:gdLst>
              <a:gd name="T0" fmla="*/ 209 w 679"/>
              <a:gd name="T1" fmla="*/ 265 h 663"/>
              <a:gd name="T2" fmla="*/ 314 w 679"/>
              <a:gd name="T3" fmla="*/ 265 h 663"/>
              <a:gd name="T4" fmla="*/ 262 w 679"/>
              <a:gd name="T5" fmla="*/ 201 h 663"/>
              <a:gd name="T6" fmla="*/ 262 w 679"/>
              <a:gd name="T7" fmla="*/ 329 h 663"/>
              <a:gd name="T8" fmla="*/ 262 w 679"/>
              <a:gd name="T9" fmla="*/ 201 h 663"/>
              <a:gd name="T10" fmla="*/ 365 w 679"/>
              <a:gd name="T11" fmla="*/ 398 h 663"/>
              <a:gd name="T12" fmla="*/ 470 w 679"/>
              <a:gd name="T13" fmla="*/ 398 h 663"/>
              <a:gd name="T14" fmla="*/ 417 w 679"/>
              <a:gd name="T15" fmla="*/ 335 h 663"/>
              <a:gd name="T16" fmla="*/ 417 w 679"/>
              <a:gd name="T17" fmla="*/ 462 h 663"/>
              <a:gd name="T18" fmla="*/ 417 w 679"/>
              <a:gd name="T19" fmla="*/ 335 h 663"/>
              <a:gd name="T20" fmla="*/ 423 w 679"/>
              <a:gd name="T21" fmla="*/ 198 h 663"/>
              <a:gd name="T22" fmla="*/ 411 w 679"/>
              <a:gd name="T23" fmla="*/ 191 h 663"/>
              <a:gd name="T24" fmla="*/ 258 w 679"/>
              <a:gd name="T25" fmla="*/ 475 h 663"/>
              <a:gd name="T26" fmla="*/ 268 w 679"/>
              <a:gd name="T27" fmla="*/ 472 h 663"/>
              <a:gd name="T28" fmla="*/ 410 w 679"/>
              <a:gd name="T29" fmla="*/ 661 h 663"/>
              <a:gd name="T30" fmla="*/ 269 w 679"/>
              <a:gd name="T31" fmla="*/ 661 h 663"/>
              <a:gd name="T32" fmla="*/ 212 w 679"/>
              <a:gd name="T33" fmla="*/ 597 h 663"/>
              <a:gd name="T34" fmla="*/ 126 w 679"/>
              <a:gd name="T35" fmla="*/ 592 h 663"/>
              <a:gd name="T36" fmla="*/ 38 w 679"/>
              <a:gd name="T37" fmla="*/ 482 h 663"/>
              <a:gd name="T38" fmla="*/ 52 w 679"/>
              <a:gd name="T39" fmla="*/ 397 h 663"/>
              <a:gd name="T40" fmla="*/ 2 w 679"/>
              <a:gd name="T41" fmla="*/ 327 h 663"/>
              <a:gd name="T42" fmla="*/ 34 w 679"/>
              <a:gd name="T43" fmla="*/ 189 h 663"/>
              <a:gd name="T44" fmla="*/ 109 w 679"/>
              <a:gd name="T45" fmla="*/ 148 h 663"/>
              <a:gd name="T46" fmla="*/ 133 w 679"/>
              <a:gd name="T47" fmla="*/ 65 h 663"/>
              <a:gd name="T48" fmla="*/ 260 w 679"/>
              <a:gd name="T49" fmla="*/ 4 h 663"/>
              <a:gd name="T50" fmla="*/ 339 w 679"/>
              <a:gd name="T51" fmla="*/ 37 h 663"/>
              <a:gd name="T52" fmla="*/ 419 w 679"/>
              <a:gd name="T53" fmla="*/ 4 h 663"/>
              <a:gd name="T54" fmla="*/ 546 w 679"/>
              <a:gd name="T55" fmla="*/ 65 h 663"/>
              <a:gd name="T56" fmla="*/ 570 w 679"/>
              <a:gd name="T57" fmla="*/ 148 h 663"/>
              <a:gd name="T58" fmla="*/ 645 w 679"/>
              <a:gd name="T59" fmla="*/ 189 h 663"/>
              <a:gd name="T60" fmla="*/ 677 w 679"/>
              <a:gd name="T61" fmla="*/ 327 h 663"/>
              <a:gd name="T62" fmla="*/ 626 w 679"/>
              <a:gd name="T63" fmla="*/ 397 h 663"/>
              <a:gd name="T64" fmla="*/ 641 w 679"/>
              <a:gd name="T65" fmla="*/ 482 h 663"/>
              <a:gd name="T66" fmla="*/ 553 w 679"/>
              <a:gd name="T67" fmla="*/ 592 h 663"/>
              <a:gd name="T68" fmla="*/ 546 w 679"/>
              <a:gd name="T69" fmla="*/ 598 h 663"/>
              <a:gd name="T70" fmla="*/ 419 w 679"/>
              <a:gd name="T71" fmla="*/ 659 h 663"/>
              <a:gd name="T72" fmla="*/ 215 w 679"/>
              <a:gd name="T73" fmla="*/ 583 h 663"/>
              <a:gd name="T74" fmla="*/ 268 w 679"/>
              <a:gd name="T75" fmla="*/ 646 h 663"/>
              <a:gd name="T76" fmla="*/ 343 w 679"/>
              <a:gd name="T77" fmla="*/ 612 h 663"/>
              <a:gd name="T78" fmla="*/ 458 w 679"/>
              <a:gd name="T79" fmla="*/ 585 h 663"/>
              <a:gd name="T80" fmla="*/ 541 w 679"/>
              <a:gd name="T81" fmla="*/ 584 h 663"/>
              <a:gd name="T82" fmla="*/ 561 w 679"/>
              <a:gd name="T83" fmla="*/ 504 h 663"/>
              <a:gd name="T84" fmla="*/ 612 w 679"/>
              <a:gd name="T85" fmla="*/ 397 h 663"/>
              <a:gd name="T86" fmla="*/ 662 w 679"/>
              <a:gd name="T87" fmla="*/ 332 h 663"/>
              <a:gd name="T88" fmla="*/ 612 w 679"/>
              <a:gd name="T89" fmla="*/ 266 h 663"/>
              <a:gd name="T90" fmla="*/ 561 w 679"/>
              <a:gd name="T91" fmla="*/ 159 h 663"/>
              <a:gd name="T92" fmla="*/ 541 w 679"/>
              <a:gd name="T93" fmla="*/ 79 h 663"/>
              <a:gd name="T94" fmla="*/ 458 w 679"/>
              <a:gd name="T95" fmla="*/ 78 h 663"/>
              <a:gd name="T96" fmla="*/ 343 w 679"/>
              <a:gd name="T97" fmla="*/ 51 h 663"/>
              <a:gd name="T98" fmla="*/ 268 w 679"/>
              <a:gd name="T99" fmla="*/ 17 h 663"/>
              <a:gd name="T100" fmla="*/ 215 w 679"/>
              <a:gd name="T101" fmla="*/ 80 h 663"/>
              <a:gd name="T102" fmla="*/ 138 w 679"/>
              <a:gd name="T103" fmla="*/ 79 h 663"/>
              <a:gd name="T104" fmla="*/ 118 w 679"/>
              <a:gd name="T105" fmla="*/ 159 h 663"/>
              <a:gd name="T106" fmla="*/ 67 w 679"/>
              <a:gd name="T107" fmla="*/ 266 h 663"/>
              <a:gd name="T108" fmla="*/ 17 w 679"/>
              <a:gd name="T109" fmla="*/ 332 h 663"/>
              <a:gd name="T110" fmla="*/ 67 w 679"/>
              <a:gd name="T111" fmla="*/ 397 h 663"/>
              <a:gd name="T112" fmla="*/ 118 w 679"/>
              <a:gd name="T113" fmla="*/ 504 h 663"/>
              <a:gd name="T114" fmla="*/ 138 w 679"/>
              <a:gd name="T115" fmla="*/ 584 h 663"/>
              <a:gd name="T116" fmla="*/ 215 w 679"/>
              <a:gd name="T117" fmla="*/ 583 h 6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79" h="663">
                <a:moveTo>
                  <a:pt x="262" y="343"/>
                </a:moveTo>
                <a:cubicBezTo>
                  <a:pt x="232" y="343"/>
                  <a:pt x="209" y="308"/>
                  <a:pt x="209" y="265"/>
                </a:cubicBezTo>
                <a:cubicBezTo>
                  <a:pt x="209" y="221"/>
                  <a:pt x="232" y="187"/>
                  <a:pt x="262" y="187"/>
                </a:cubicBezTo>
                <a:cubicBezTo>
                  <a:pt x="291" y="187"/>
                  <a:pt x="314" y="221"/>
                  <a:pt x="314" y="265"/>
                </a:cubicBezTo>
                <a:cubicBezTo>
                  <a:pt x="314" y="308"/>
                  <a:pt x="291" y="343"/>
                  <a:pt x="262" y="343"/>
                </a:cubicBezTo>
                <a:close/>
                <a:moveTo>
                  <a:pt x="262" y="201"/>
                </a:moveTo>
                <a:cubicBezTo>
                  <a:pt x="241" y="201"/>
                  <a:pt x="223" y="230"/>
                  <a:pt x="223" y="265"/>
                </a:cubicBezTo>
                <a:cubicBezTo>
                  <a:pt x="223" y="299"/>
                  <a:pt x="241" y="329"/>
                  <a:pt x="262" y="329"/>
                </a:cubicBezTo>
                <a:cubicBezTo>
                  <a:pt x="282" y="329"/>
                  <a:pt x="300" y="299"/>
                  <a:pt x="300" y="265"/>
                </a:cubicBezTo>
                <a:cubicBezTo>
                  <a:pt x="300" y="230"/>
                  <a:pt x="282" y="201"/>
                  <a:pt x="262" y="201"/>
                </a:cubicBezTo>
                <a:close/>
                <a:moveTo>
                  <a:pt x="417" y="476"/>
                </a:moveTo>
                <a:cubicBezTo>
                  <a:pt x="388" y="476"/>
                  <a:pt x="365" y="442"/>
                  <a:pt x="365" y="398"/>
                </a:cubicBezTo>
                <a:cubicBezTo>
                  <a:pt x="365" y="355"/>
                  <a:pt x="388" y="321"/>
                  <a:pt x="417" y="321"/>
                </a:cubicBezTo>
                <a:cubicBezTo>
                  <a:pt x="447" y="321"/>
                  <a:pt x="470" y="355"/>
                  <a:pt x="470" y="398"/>
                </a:cubicBezTo>
                <a:cubicBezTo>
                  <a:pt x="470" y="442"/>
                  <a:pt x="447" y="476"/>
                  <a:pt x="417" y="476"/>
                </a:cubicBezTo>
                <a:close/>
                <a:moveTo>
                  <a:pt x="417" y="335"/>
                </a:moveTo>
                <a:cubicBezTo>
                  <a:pt x="396" y="335"/>
                  <a:pt x="379" y="364"/>
                  <a:pt x="379" y="398"/>
                </a:cubicBezTo>
                <a:cubicBezTo>
                  <a:pt x="379" y="433"/>
                  <a:pt x="396" y="462"/>
                  <a:pt x="417" y="462"/>
                </a:cubicBezTo>
                <a:cubicBezTo>
                  <a:pt x="438" y="462"/>
                  <a:pt x="456" y="433"/>
                  <a:pt x="456" y="398"/>
                </a:cubicBezTo>
                <a:cubicBezTo>
                  <a:pt x="456" y="364"/>
                  <a:pt x="438" y="335"/>
                  <a:pt x="417" y="335"/>
                </a:cubicBezTo>
                <a:close/>
                <a:moveTo>
                  <a:pt x="268" y="472"/>
                </a:moveTo>
                <a:cubicBezTo>
                  <a:pt x="423" y="198"/>
                  <a:pt x="423" y="198"/>
                  <a:pt x="423" y="198"/>
                </a:cubicBezTo>
                <a:cubicBezTo>
                  <a:pt x="425" y="194"/>
                  <a:pt x="424" y="190"/>
                  <a:pt x="421" y="188"/>
                </a:cubicBezTo>
                <a:cubicBezTo>
                  <a:pt x="417" y="186"/>
                  <a:pt x="413" y="187"/>
                  <a:pt x="411" y="191"/>
                </a:cubicBezTo>
                <a:cubicBezTo>
                  <a:pt x="256" y="466"/>
                  <a:pt x="256" y="466"/>
                  <a:pt x="256" y="466"/>
                </a:cubicBezTo>
                <a:cubicBezTo>
                  <a:pt x="254" y="469"/>
                  <a:pt x="255" y="473"/>
                  <a:pt x="258" y="475"/>
                </a:cubicBezTo>
                <a:cubicBezTo>
                  <a:pt x="259" y="476"/>
                  <a:pt x="261" y="476"/>
                  <a:pt x="262" y="476"/>
                </a:cubicBezTo>
                <a:cubicBezTo>
                  <a:pt x="264" y="476"/>
                  <a:pt x="266" y="475"/>
                  <a:pt x="268" y="472"/>
                </a:cubicBezTo>
                <a:close/>
                <a:moveTo>
                  <a:pt x="413" y="662"/>
                </a:moveTo>
                <a:cubicBezTo>
                  <a:pt x="412" y="662"/>
                  <a:pt x="411" y="662"/>
                  <a:pt x="410" y="661"/>
                </a:cubicBezTo>
                <a:cubicBezTo>
                  <a:pt x="339" y="626"/>
                  <a:pt x="339" y="626"/>
                  <a:pt x="339" y="626"/>
                </a:cubicBezTo>
                <a:cubicBezTo>
                  <a:pt x="269" y="661"/>
                  <a:pt x="269" y="661"/>
                  <a:pt x="269" y="661"/>
                </a:cubicBezTo>
                <a:cubicBezTo>
                  <a:pt x="266" y="663"/>
                  <a:pt x="262" y="662"/>
                  <a:pt x="260" y="659"/>
                </a:cubicBezTo>
                <a:cubicBezTo>
                  <a:pt x="212" y="597"/>
                  <a:pt x="212" y="597"/>
                  <a:pt x="212" y="597"/>
                </a:cubicBezTo>
                <a:cubicBezTo>
                  <a:pt x="133" y="598"/>
                  <a:pt x="133" y="598"/>
                  <a:pt x="133" y="598"/>
                </a:cubicBezTo>
                <a:cubicBezTo>
                  <a:pt x="129" y="598"/>
                  <a:pt x="126" y="596"/>
                  <a:pt x="126" y="592"/>
                </a:cubicBezTo>
                <a:cubicBezTo>
                  <a:pt x="109" y="515"/>
                  <a:pt x="109" y="515"/>
                  <a:pt x="109" y="515"/>
                </a:cubicBezTo>
                <a:cubicBezTo>
                  <a:pt x="38" y="482"/>
                  <a:pt x="38" y="482"/>
                  <a:pt x="38" y="482"/>
                </a:cubicBezTo>
                <a:cubicBezTo>
                  <a:pt x="35" y="480"/>
                  <a:pt x="33" y="477"/>
                  <a:pt x="34" y="474"/>
                </a:cubicBezTo>
                <a:cubicBezTo>
                  <a:pt x="52" y="397"/>
                  <a:pt x="52" y="397"/>
                  <a:pt x="52" y="397"/>
                </a:cubicBezTo>
                <a:cubicBezTo>
                  <a:pt x="2" y="336"/>
                  <a:pt x="2" y="336"/>
                  <a:pt x="2" y="336"/>
                </a:cubicBezTo>
                <a:cubicBezTo>
                  <a:pt x="0" y="333"/>
                  <a:pt x="0" y="330"/>
                  <a:pt x="2" y="327"/>
                </a:cubicBezTo>
                <a:cubicBezTo>
                  <a:pt x="52" y="266"/>
                  <a:pt x="52" y="266"/>
                  <a:pt x="52" y="266"/>
                </a:cubicBezTo>
                <a:cubicBezTo>
                  <a:pt x="34" y="189"/>
                  <a:pt x="34" y="189"/>
                  <a:pt x="34" y="189"/>
                </a:cubicBezTo>
                <a:cubicBezTo>
                  <a:pt x="33" y="186"/>
                  <a:pt x="35" y="183"/>
                  <a:pt x="38" y="181"/>
                </a:cubicBezTo>
                <a:cubicBezTo>
                  <a:pt x="109" y="148"/>
                  <a:pt x="109" y="148"/>
                  <a:pt x="109" y="148"/>
                </a:cubicBezTo>
                <a:cubicBezTo>
                  <a:pt x="126" y="71"/>
                  <a:pt x="126" y="71"/>
                  <a:pt x="126" y="71"/>
                </a:cubicBezTo>
                <a:cubicBezTo>
                  <a:pt x="126" y="68"/>
                  <a:pt x="129" y="65"/>
                  <a:pt x="133" y="65"/>
                </a:cubicBezTo>
                <a:cubicBezTo>
                  <a:pt x="212" y="66"/>
                  <a:pt x="212" y="66"/>
                  <a:pt x="212" y="66"/>
                </a:cubicBezTo>
                <a:cubicBezTo>
                  <a:pt x="260" y="4"/>
                  <a:pt x="260" y="4"/>
                  <a:pt x="260" y="4"/>
                </a:cubicBezTo>
                <a:cubicBezTo>
                  <a:pt x="262" y="1"/>
                  <a:pt x="266" y="0"/>
                  <a:pt x="269" y="2"/>
                </a:cubicBezTo>
                <a:cubicBezTo>
                  <a:pt x="339" y="37"/>
                  <a:pt x="339" y="37"/>
                  <a:pt x="339" y="37"/>
                </a:cubicBezTo>
                <a:cubicBezTo>
                  <a:pt x="410" y="2"/>
                  <a:pt x="410" y="2"/>
                  <a:pt x="410" y="2"/>
                </a:cubicBezTo>
                <a:cubicBezTo>
                  <a:pt x="413" y="0"/>
                  <a:pt x="417" y="1"/>
                  <a:pt x="419" y="4"/>
                </a:cubicBezTo>
                <a:cubicBezTo>
                  <a:pt x="467" y="66"/>
                  <a:pt x="467" y="66"/>
                  <a:pt x="467" y="66"/>
                </a:cubicBezTo>
                <a:cubicBezTo>
                  <a:pt x="546" y="65"/>
                  <a:pt x="546" y="65"/>
                  <a:pt x="546" y="65"/>
                </a:cubicBezTo>
                <a:cubicBezTo>
                  <a:pt x="549" y="65"/>
                  <a:pt x="552" y="68"/>
                  <a:pt x="553" y="71"/>
                </a:cubicBezTo>
                <a:cubicBezTo>
                  <a:pt x="570" y="148"/>
                  <a:pt x="570" y="148"/>
                  <a:pt x="570" y="148"/>
                </a:cubicBezTo>
                <a:cubicBezTo>
                  <a:pt x="641" y="181"/>
                  <a:pt x="641" y="181"/>
                  <a:pt x="641" y="181"/>
                </a:cubicBezTo>
                <a:cubicBezTo>
                  <a:pt x="644" y="183"/>
                  <a:pt x="646" y="186"/>
                  <a:pt x="645" y="189"/>
                </a:cubicBezTo>
                <a:cubicBezTo>
                  <a:pt x="626" y="266"/>
                  <a:pt x="626" y="266"/>
                  <a:pt x="626" y="266"/>
                </a:cubicBezTo>
                <a:cubicBezTo>
                  <a:pt x="677" y="327"/>
                  <a:pt x="677" y="327"/>
                  <a:pt x="677" y="327"/>
                </a:cubicBezTo>
                <a:cubicBezTo>
                  <a:pt x="679" y="330"/>
                  <a:pt x="679" y="333"/>
                  <a:pt x="677" y="336"/>
                </a:cubicBezTo>
                <a:cubicBezTo>
                  <a:pt x="626" y="397"/>
                  <a:pt x="626" y="397"/>
                  <a:pt x="626" y="397"/>
                </a:cubicBezTo>
                <a:cubicBezTo>
                  <a:pt x="645" y="474"/>
                  <a:pt x="645" y="474"/>
                  <a:pt x="645" y="474"/>
                </a:cubicBezTo>
                <a:cubicBezTo>
                  <a:pt x="646" y="477"/>
                  <a:pt x="644" y="480"/>
                  <a:pt x="641" y="482"/>
                </a:cubicBezTo>
                <a:cubicBezTo>
                  <a:pt x="570" y="515"/>
                  <a:pt x="570" y="515"/>
                  <a:pt x="570" y="515"/>
                </a:cubicBezTo>
                <a:cubicBezTo>
                  <a:pt x="553" y="592"/>
                  <a:pt x="553" y="592"/>
                  <a:pt x="553" y="592"/>
                </a:cubicBezTo>
                <a:cubicBezTo>
                  <a:pt x="552" y="596"/>
                  <a:pt x="550" y="598"/>
                  <a:pt x="546" y="598"/>
                </a:cubicBezTo>
                <a:cubicBezTo>
                  <a:pt x="546" y="598"/>
                  <a:pt x="546" y="598"/>
                  <a:pt x="546" y="598"/>
                </a:cubicBezTo>
                <a:cubicBezTo>
                  <a:pt x="467" y="597"/>
                  <a:pt x="467" y="597"/>
                  <a:pt x="467" y="597"/>
                </a:cubicBezTo>
                <a:cubicBezTo>
                  <a:pt x="419" y="659"/>
                  <a:pt x="419" y="659"/>
                  <a:pt x="419" y="659"/>
                </a:cubicBezTo>
                <a:cubicBezTo>
                  <a:pt x="417" y="661"/>
                  <a:pt x="415" y="662"/>
                  <a:pt x="413" y="662"/>
                </a:cubicBezTo>
                <a:close/>
                <a:moveTo>
                  <a:pt x="215" y="583"/>
                </a:moveTo>
                <a:cubicBezTo>
                  <a:pt x="217" y="583"/>
                  <a:pt x="219" y="584"/>
                  <a:pt x="221" y="585"/>
                </a:cubicBezTo>
                <a:cubicBezTo>
                  <a:pt x="268" y="646"/>
                  <a:pt x="268" y="646"/>
                  <a:pt x="268" y="646"/>
                </a:cubicBezTo>
                <a:cubicBezTo>
                  <a:pt x="336" y="612"/>
                  <a:pt x="336" y="612"/>
                  <a:pt x="336" y="612"/>
                </a:cubicBezTo>
                <a:cubicBezTo>
                  <a:pt x="338" y="611"/>
                  <a:pt x="341" y="611"/>
                  <a:pt x="343" y="612"/>
                </a:cubicBezTo>
                <a:cubicBezTo>
                  <a:pt x="411" y="646"/>
                  <a:pt x="411" y="646"/>
                  <a:pt x="411" y="646"/>
                </a:cubicBezTo>
                <a:cubicBezTo>
                  <a:pt x="458" y="585"/>
                  <a:pt x="458" y="585"/>
                  <a:pt x="458" y="585"/>
                </a:cubicBezTo>
                <a:cubicBezTo>
                  <a:pt x="460" y="584"/>
                  <a:pt x="461" y="583"/>
                  <a:pt x="464" y="583"/>
                </a:cubicBezTo>
                <a:cubicBezTo>
                  <a:pt x="541" y="584"/>
                  <a:pt x="541" y="584"/>
                  <a:pt x="541" y="584"/>
                </a:cubicBezTo>
                <a:cubicBezTo>
                  <a:pt x="557" y="509"/>
                  <a:pt x="557" y="509"/>
                  <a:pt x="557" y="509"/>
                </a:cubicBezTo>
                <a:cubicBezTo>
                  <a:pt x="557" y="507"/>
                  <a:pt x="559" y="505"/>
                  <a:pt x="561" y="504"/>
                </a:cubicBezTo>
                <a:cubicBezTo>
                  <a:pt x="630" y="472"/>
                  <a:pt x="630" y="472"/>
                  <a:pt x="630" y="472"/>
                </a:cubicBezTo>
                <a:cubicBezTo>
                  <a:pt x="612" y="397"/>
                  <a:pt x="612" y="397"/>
                  <a:pt x="612" y="397"/>
                </a:cubicBezTo>
                <a:cubicBezTo>
                  <a:pt x="611" y="395"/>
                  <a:pt x="612" y="393"/>
                  <a:pt x="613" y="391"/>
                </a:cubicBezTo>
                <a:cubicBezTo>
                  <a:pt x="662" y="332"/>
                  <a:pt x="662" y="332"/>
                  <a:pt x="662" y="332"/>
                </a:cubicBezTo>
                <a:cubicBezTo>
                  <a:pt x="613" y="272"/>
                  <a:pt x="613" y="272"/>
                  <a:pt x="613" y="272"/>
                </a:cubicBezTo>
                <a:cubicBezTo>
                  <a:pt x="612" y="271"/>
                  <a:pt x="611" y="268"/>
                  <a:pt x="612" y="266"/>
                </a:cubicBezTo>
                <a:cubicBezTo>
                  <a:pt x="630" y="192"/>
                  <a:pt x="630" y="192"/>
                  <a:pt x="630" y="192"/>
                </a:cubicBezTo>
                <a:cubicBezTo>
                  <a:pt x="561" y="159"/>
                  <a:pt x="561" y="159"/>
                  <a:pt x="561" y="159"/>
                </a:cubicBezTo>
                <a:cubicBezTo>
                  <a:pt x="559" y="158"/>
                  <a:pt x="557" y="157"/>
                  <a:pt x="557" y="154"/>
                </a:cubicBezTo>
                <a:cubicBezTo>
                  <a:pt x="541" y="79"/>
                  <a:pt x="541" y="79"/>
                  <a:pt x="541" y="79"/>
                </a:cubicBezTo>
                <a:cubicBezTo>
                  <a:pt x="464" y="80"/>
                  <a:pt x="464" y="80"/>
                  <a:pt x="464" y="80"/>
                </a:cubicBezTo>
                <a:cubicBezTo>
                  <a:pt x="462" y="80"/>
                  <a:pt x="460" y="79"/>
                  <a:pt x="458" y="78"/>
                </a:cubicBezTo>
                <a:cubicBezTo>
                  <a:pt x="411" y="17"/>
                  <a:pt x="411" y="17"/>
                  <a:pt x="411" y="17"/>
                </a:cubicBezTo>
                <a:cubicBezTo>
                  <a:pt x="343" y="51"/>
                  <a:pt x="343" y="51"/>
                  <a:pt x="343" y="51"/>
                </a:cubicBezTo>
                <a:cubicBezTo>
                  <a:pt x="341" y="52"/>
                  <a:pt x="338" y="52"/>
                  <a:pt x="336" y="51"/>
                </a:cubicBezTo>
                <a:cubicBezTo>
                  <a:pt x="268" y="17"/>
                  <a:pt x="268" y="17"/>
                  <a:pt x="268" y="17"/>
                </a:cubicBezTo>
                <a:cubicBezTo>
                  <a:pt x="221" y="78"/>
                  <a:pt x="221" y="78"/>
                  <a:pt x="221" y="78"/>
                </a:cubicBezTo>
                <a:cubicBezTo>
                  <a:pt x="219" y="79"/>
                  <a:pt x="217" y="80"/>
                  <a:pt x="215" y="80"/>
                </a:cubicBezTo>
                <a:cubicBezTo>
                  <a:pt x="215" y="80"/>
                  <a:pt x="215" y="80"/>
                  <a:pt x="215" y="80"/>
                </a:cubicBezTo>
                <a:cubicBezTo>
                  <a:pt x="138" y="79"/>
                  <a:pt x="138" y="79"/>
                  <a:pt x="138" y="79"/>
                </a:cubicBezTo>
                <a:cubicBezTo>
                  <a:pt x="122" y="154"/>
                  <a:pt x="122" y="154"/>
                  <a:pt x="122" y="154"/>
                </a:cubicBezTo>
                <a:cubicBezTo>
                  <a:pt x="122" y="157"/>
                  <a:pt x="120" y="158"/>
                  <a:pt x="118" y="159"/>
                </a:cubicBezTo>
                <a:cubicBezTo>
                  <a:pt x="49" y="192"/>
                  <a:pt x="49" y="192"/>
                  <a:pt x="49" y="192"/>
                </a:cubicBezTo>
                <a:cubicBezTo>
                  <a:pt x="67" y="266"/>
                  <a:pt x="67" y="266"/>
                  <a:pt x="67" y="266"/>
                </a:cubicBezTo>
                <a:cubicBezTo>
                  <a:pt x="67" y="268"/>
                  <a:pt x="67" y="271"/>
                  <a:pt x="65" y="272"/>
                </a:cubicBezTo>
                <a:cubicBezTo>
                  <a:pt x="17" y="332"/>
                  <a:pt x="17" y="332"/>
                  <a:pt x="17" y="332"/>
                </a:cubicBezTo>
                <a:cubicBezTo>
                  <a:pt x="65" y="391"/>
                  <a:pt x="65" y="391"/>
                  <a:pt x="65" y="391"/>
                </a:cubicBezTo>
                <a:cubicBezTo>
                  <a:pt x="67" y="393"/>
                  <a:pt x="67" y="395"/>
                  <a:pt x="67" y="397"/>
                </a:cubicBezTo>
                <a:cubicBezTo>
                  <a:pt x="49" y="472"/>
                  <a:pt x="49" y="472"/>
                  <a:pt x="49" y="472"/>
                </a:cubicBezTo>
                <a:cubicBezTo>
                  <a:pt x="118" y="504"/>
                  <a:pt x="118" y="504"/>
                  <a:pt x="118" y="504"/>
                </a:cubicBezTo>
                <a:cubicBezTo>
                  <a:pt x="120" y="505"/>
                  <a:pt x="122" y="507"/>
                  <a:pt x="122" y="509"/>
                </a:cubicBezTo>
                <a:cubicBezTo>
                  <a:pt x="138" y="584"/>
                  <a:pt x="138" y="584"/>
                  <a:pt x="138" y="584"/>
                </a:cubicBezTo>
                <a:cubicBezTo>
                  <a:pt x="215" y="583"/>
                  <a:pt x="215" y="583"/>
                  <a:pt x="215" y="583"/>
                </a:cubicBezTo>
                <a:cubicBezTo>
                  <a:pt x="215" y="583"/>
                  <a:pt x="215" y="583"/>
                  <a:pt x="215" y="58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63" name="Oval 80"/>
          <p:cNvSpPr>
            <a:spLocks noChangeArrowheads="1"/>
          </p:cNvSpPr>
          <p:nvPr/>
        </p:nvSpPr>
        <p:spPr bwMode="auto">
          <a:xfrm>
            <a:off x="6137845" y="925630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67" name="Freeform 134"/>
          <p:cNvSpPr>
            <a:spLocks noEditPoints="1"/>
          </p:cNvSpPr>
          <p:nvPr/>
        </p:nvSpPr>
        <p:spPr bwMode="auto">
          <a:xfrm>
            <a:off x="6326795" y="1103640"/>
            <a:ext cx="445061" cy="467835"/>
          </a:xfrm>
          <a:custGeom>
            <a:avLst/>
            <a:gdLst>
              <a:gd name="T0" fmla="*/ 63 w 574"/>
              <a:gd name="T1" fmla="*/ 361 h 605"/>
              <a:gd name="T2" fmla="*/ 56 w 574"/>
              <a:gd name="T3" fmla="*/ 239 h 605"/>
              <a:gd name="T4" fmla="*/ 49 w 574"/>
              <a:gd name="T5" fmla="*/ 361 h 605"/>
              <a:gd name="T6" fmla="*/ 0 w 574"/>
              <a:gd name="T7" fmla="*/ 368 h 605"/>
              <a:gd name="T8" fmla="*/ 7 w 574"/>
              <a:gd name="T9" fmla="*/ 484 h 605"/>
              <a:gd name="T10" fmla="*/ 49 w 574"/>
              <a:gd name="T11" fmla="*/ 598 h 605"/>
              <a:gd name="T12" fmla="*/ 63 w 574"/>
              <a:gd name="T13" fmla="*/ 598 h 605"/>
              <a:gd name="T14" fmla="*/ 105 w 574"/>
              <a:gd name="T15" fmla="*/ 484 h 605"/>
              <a:gd name="T16" fmla="*/ 112 w 574"/>
              <a:gd name="T17" fmla="*/ 368 h 605"/>
              <a:gd name="T18" fmla="*/ 98 w 574"/>
              <a:gd name="T19" fmla="*/ 470 h 605"/>
              <a:gd name="T20" fmla="*/ 14 w 574"/>
              <a:gd name="T21" fmla="*/ 375 h 605"/>
              <a:gd name="T22" fmla="*/ 98 w 574"/>
              <a:gd name="T23" fmla="*/ 470 h 605"/>
              <a:gd name="T24" fmla="*/ 217 w 574"/>
              <a:gd name="T25" fmla="*/ 224 h 605"/>
              <a:gd name="T26" fmla="*/ 210 w 574"/>
              <a:gd name="T27" fmla="*/ 103 h 605"/>
              <a:gd name="T28" fmla="*/ 203 w 574"/>
              <a:gd name="T29" fmla="*/ 224 h 605"/>
              <a:gd name="T30" fmla="*/ 154 w 574"/>
              <a:gd name="T31" fmla="*/ 231 h 605"/>
              <a:gd name="T32" fmla="*/ 161 w 574"/>
              <a:gd name="T33" fmla="*/ 348 h 605"/>
              <a:gd name="T34" fmla="*/ 203 w 574"/>
              <a:gd name="T35" fmla="*/ 462 h 605"/>
              <a:gd name="T36" fmla="*/ 217 w 574"/>
              <a:gd name="T37" fmla="*/ 462 h 605"/>
              <a:gd name="T38" fmla="*/ 259 w 574"/>
              <a:gd name="T39" fmla="*/ 348 h 605"/>
              <a:gd name="T40" fmla="*/ 266 w 574"/>
              <a:gd name="T41" fmla="*/ 231 h 605"/>
              <a:gd name="T42" fmla="*/ 252 w 574"/>
              <a:gd name="T43" fmla="*/ 334 h 605"/>
              <a:gd name="T44" fmla="*/ 168 w 574"/>
              <a:gd name="T45" fmla="*/ 238 h 605"/>
              <a:gd name="T46" fmla="*/ 252 w 574"/>
              <a:gd name="T47" fmla="*/ 334 h 605"/>
              <a:gd name="T48" fmla="*/ 371 w 574"/>
              <a:gd name="T49" fmla="*/ 279 h 605"/>
              <a:gd name="T50" fmla="*/ 364 w 574"/>
              <a:gd name="T51" fmla="*/ 158 h 605"/>
              <a:gd name="T52" fmla="*/ 357 w 574"/>
              <a:gd name="T53" fmla="*/ 279 h 605"/>
              <a:gd name="T54" fmla="*/ 308 w 574"/>
              <a:gd name="T55" fmla="*/ 286 h 605"/>
              <a:gd name="T56" fmla="*/ 315 w 574"/>
              <a:gd name="T57" fmla="*/ 402 h 605"/>
              <a:gd name="T58" fmla="*/ 357 w 574"/>
              <a:gd name="T59" fmla="*/ 516 h 605"/>
              <a:gd name="T60" fmla="*/ 371 w 574"/>
              <a:gd name="T61" fmla="*/ 516 h 605"/>
              <a:gd name="T62" fmla="*/ 413 w 574"/>
              <a:gd name="T63" fmla="*/ 402 h 605"/>
              <a:gd name="T64" fmla="*/ 420 w 574"/>
              <a:gd name="T65" fmla="*/ 286 h 605"/>
              <a:gd name="T66" fmla="*/ 406 w 574"/>
              <a:gd name="T67" fmla="*/ 388 h 605"/>
              <a:gd name="T68" fmla="*/ 322 w 574"/>
              <a:gd name="T69" fmla="*/ 293 h 605"/>
              <a:gd name="T70" fmla="*/ 406 w 574"/>
              <a:gd name="T71" fmla="*/ 388 h 605"/>
              <a:gd name="T72" fmla="*/ 525 w 574"/>
              <a:gd name="T73" fmla="*/ 121 h 605"/>
              <a:gd name="T74" fmla="*/ 518 w 574"/>
              <a:gd name="T75" fmla="*/ 0 h 605"/>
              <a:gd name="T76" fmla="*/ 511 w 574"/>
              <a:gd name="T77" fmla="*/ 121 h 605"/>
              <a:gd name="T78" fmla="*/ 462 w 574"/>
              <a:gd name="T79" fmla="*/ 128 h 605"/>
              <a:gd name="T80" fmla="*/ 469 w 574"/>
              <a:gd name="T81" fmla="*/ 245 h 605"/>
              <a:gd name="T82" fmla="*/ 511 w 574"/>
              <a:gd name="T83" fmla="*/ 359 h 605"/>
              <a:gd name="T84" fmla="*/ 525 w 574"/>
              <a:gd name="T85" fmla="*/ 359 h 605"/>
              <a:gd name="T86" fmla="*/ 567 w 574"/>
              <a:gd name="T87" fmla="*/ 245 h 605"/>
              <a:gd name="T88" fmla="*/ 574 w 574"/>
              <a:gd name="T89" fmla="*/ 128 h 605"/>
              <a:gd name="T90" fmla="*/ 560 w 574"/>
              <a:gd name="T91" fmla="*/ 231 h 605"/>
              <a:gd name="T92" fmla="*/ 476 w 574"/>
              <a:gd name="T93" fmla="*/ 135 h 605"/>
              <a:gd name="T94" fmla="*/ 560 w 574"/>
              <a:gd name="T95" fmla="*/ 231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74" h="605">
                <a:moveTo>
                  <a:pt x="105" y="361"/>
                </a:moveTo>
                <a:cubicBezTo>
                  <a:pt x="63" y="361"/>
                  <a:pt x="63" y="361"/>
                  <a:pt x="63" y="361"/>
                </a:cubicBezTo>
                <a:cubicBezTo>
                  <a:pt x="63" y="246"/>
                  <a:pt x="63" y="246"/>
                  <a:pt x="63" y="246"/>
                </a:cubicBezTo>
                <a:cubicBezTo>
                  <a:pt x="63" y="243"/>
                  <a:pt x="60" y="239"/>
                  <a:pt x="56" y="239"/>
                </a:cubicBezTo>
                <a:cubicBezTo>
                  <a:pt x="52" y="239"/>
                  <a:pt x="49" y="243"/>
                  <a:pt x="49" y="246"/>
                </a:cubicBezTo>
                <a:cubicBezTo>
                  <a:pt x="49" y="361"/>
                  <a:pt x="49" y="361"/>
                  <a:pt x="49" y="361"/>
                </a:cubicBezTo>
                <a:cubicBezTo>
                  <a:pt x="7" y="361"/>
                  <a:pt x="7" y="361"/>
                  <a:pt x="7" y="361"/>
                </a:cubicBezTo>
                <a:cubicBezTo>
                  <a:pt x="3" y="361"/>
                  <a:pt x="0" y="364"/>
                  <a:pt x="0" y="368"/>
                </a:cubicBezTo>
                <a:cubicBezTo>
                  <a:pt x="0" y="477"/>
                  <a:pt x="0" y="477"/>
                  <a:pt x="0" y="477"/>
                </a:cubicBezTo>
                <a:cubicBezTo>
                  <a:pt x="0" y="481"/>
                  <a:pt x="3" y="484"/>
                  <a:pt x="7" y="484"/>
                </a:cubicBezTo>
                <a:cubicBezTo>
                  <a:pt x="49" y="484"/>
                  <a:pt x="49" y="484"/>
                  <a:pt x="49" y="484"/>
                </a:cubicBezTo>
                <a:cubicBezTo>
                  <a:pt x="49" y="598"/>
                  <a:pt x="49" y="598"/>
                  <a:pt x="49" y="598"/>
                </a:cubicBezTo>
                <a:cubicBezTo>
                  <a:pt x="49" y="602"/>
                  <a:pt x="52" y="605"/>
                  <a:pt x="56" y="605"/>
                </a:cubicBezTo>
                <a:cubicBezTo>
                  <a:pt x="60" y="605"/>
                  <a:pt x="63" y="602"/>
                  <a:pt x="63" y="598"/>
                </a:cubicBezTo>
                <a:cubicBezTo>
                  <a:pt x="63" y="484"/>
                  <a:pt x="63" y="484"/>
                  <a:pt x="63" y="484"/>
                </a:cubicBezTo>
                <a:cubicBezTo>
                  <a:pt x="105" y="484"/>
                  <a:pt x="105" y="484"/>
                  <a:pt x="105" y="484"/>
                </a:cubicBezTo>
                <a:cubicBezTo>
                  <a:pt x="109" y="484"/>
                  <a:pt x="112" y="481"/>
                  <a:pt x="112" y="477"/>
                </a:cubicBezTo>
                <a:cubicBezTo>
                  <a:pt x="112" y="368"/>
                  <a:pt x="112" y="368"/>
                  <a:pt x="112" y="368"/>
                </a:cubicBezTo>
                <a:cubicBezTo>
                  <a:pt x="112" y="364"/>
                  <a:pt x="109" y="361"/>
                  <a:pt x="105" y="361"/>
                </a:cubicBezTo>
                <a:close/>
                <a:moveTo>
                  <a:pt x="98" y="470"/>
                </a:moveTo>
                <a:cubicBezTo>
                  <a:pt x="14" y="470"/>
                  <a:pt x="14" y="470"/>
                  <a:pt x="14" y="470"/>
                </a:cubicBezTo>
                <a:cubicBezTo>
                  <a:pt x="14" y="375"/>
                  <a:pt x="14" y="375"/>
                  <a:pt x="14" y="375"/>
                </a:cubicBezTo>
                <a:cubicBezTo>
                  <a:pt x="98" y="375"/>
                  <a:pt x="98" y="375"/>
                  <a:pt x="98" y="375"/>
                </a:cubicBezTo>
                <a:lnTo>
                  <a:pt x="98" y="470"/>
                </a:lnTo>
                <a:close/>
                <a:moveTo>
                  <a:pt x="259" y="224"/>
                </a:moveTo>
                <a:cubicBezTo>
                  <a:pt x="217" y="224"/>
                  <a:pt x="217" y="224"/>
                  <a:pt x="217" y="224"/>
                </a:cubicBezTo>
                <a:cubicBezTo>
                  <a:pt x="217" y="110"/>
                  <a:pt x="217" y="110"/>
                  <a:pt x="217" y="110"/>
                </a:cubicBezTo>
                <a:cubicBezTo>
                  <a:pt x="217" y="106"/>
                  <a:pt x="214" y="103"/>
                  <a:pt x="210" y="103"/>
                </a:cubicBezTo>
                <a:cubicBezTo>
                  <a:pt x="206" y="103"/>
                  <a:pt x="203" y="106"/>
                  <a:pt x="203" y="110"/>
                </a:cubicBezTo>
                <a:cubicBezTo>
                  <a:pt x="203" y="224"/>
                  <a:pt x="203" y="224"/>
                  <a:pt x="203" y="224"/>
                </a:cubicBezTo>
                <a:cubicBezTo>
                  <a:pt x="161" y="224"/>
                  <a:pt x="161" y="224"/>
                  <a:pt x="161" y="224"/>
                </a:cubicBezTo>
                <a:cubicBezTo>
                  <a:pt x="157" y="224"/>
                  <a:pt x="154" y="227"/>
                  <a:pt x="154" y="231"/>
                </a:cubicBezTo>
                <a:cubicBezTo>
                  <a:pt x="154" y="341"/>
                  <a:pt x="154" y="341"/>
                  <a:pt x="154" y="341"/>
                </a:cubicBezTo>
                <a:cubicBezTo>
                  <a:pt x="154" y="344"/>
                  <a:pt x="157" y="348"/>
                  <a:pt x="161" y="348"/>
                </a:cubicBezTo>
                <a:cubicBezTo>
                  <a:pt x="203" y="348"/>
                  <a:pt x="203" y="348"/>
                  <a:pt x="203" y="348"/>
                </a:cubicBezTo>
                <a:cubicBezTo>
                  <a:pt x="203" y="462"/>
                  <a:pt x="203" y="462"/>
                  <a:pt x="203" y="462"/>
                </a:cubicBezTo>
                <a:cubicBezTo>
                  <a:pt x="203" y="466"/>
                  <a:pt x="206" y="469"/>
                  <a:pt x="210" y="469"/>
                </a:cubicBezTo>
                <a:cubicBezTo>
                  <a:pt x="214" y="469"/>
                  <a:pt x="217" y="466"/>
                  <a:pt x="217" y="462"/>
                </a:cubicBezTo>
                <a:cubicBezTo>
                  <a:pt x="217" y="348"/>
                  <a:pt x="217" y="348"/>
                  <a:pt x="217" y="348"/>
                </a:cubicBezTo>
                <a:cubicBezTo>
                  <a:pt x="259" y="348"/>
                  <a:pt x="259" y="348"/>
                  <a:pt x="259" y="348"/>
                </a:cubicBezTo>
                <a:cubicBezTo>
                  <a:pt x="263" y="348"/>
                  <a:pt x="266" y="344"/>
                  <a:pt x="266" y="341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66" y="227"/>
                  <a:pt x="263" y="224"/>
                  <a:pt x="259" y="224"/>
                </a:cubicBezTo>
                <a:close/>
                <a:moveTo>
                  <a:pt x="252" y="334"/>
                </a:moveTo>
                <a:cubicBezTo>
                  <a:pt x="168" y="334"/>
                  <a:pt x="168" y="334"/>
                  <a:pt x="168" y="334"/>
                </a:cubicBezTo>
                <a:cubicBezTo>
                  <a:pt x="168" y="238"/>
                  <a:pt x="168" y="238"/>
                  <a:pt x="168" y="238"/>
                </a:cubicBezTo>
                <a:cubicBezTo>
                  <a:pt x="252" y="238"/>
                  <a:pt x="252" y="238"/>
                  <a:pt x="252" y="238"/>
                </a:cubicBezTo>
                <a:lnTo>
                  <a:pt x="252" y="334"/>
                </a:lnTo>
                <a:close/>
                <a:moveTo>
                  <a:pt x="413" y="279"/>
                </a:moveTo>
                <a:cubicBezTo>
                  <a:pt x="371" y="279"/>
                  <a:pt x="371" y="279"/>
                  <a:pt x="371" y="279"/>
                </a:cubicBezTo>
                <a:cubicBezTo>
                  <a:pt x="371" y="165"/>
                  <a:pt x="371" y="165"/>
                  <a:pt x="371" y="165"/>
                </a:cubicBezTo>
                <a:cubicBezTo>
                  <a:pt x="371" y="161"/>
                  <a:pt x="368" y="158"/>
                  <a:pt x="364" y="158"/>
                </a:cubicBezTo>
                <a:cubicBezTo>
                  <a:pt x="360" y="158"/>
                  <a:pt x="357" y="161"/>
                  <a:pt x="357" y="165"/>
                </a:cubicBezTo>
                <a:cubicBezTo>
                  <a:pt x="357" y="279"/>
                  <a:pt x="357" y="279"/>
                  <a:pt x="357" y="279"/>
                </a:cubicBezTo>
                <a:cubicBezTo>
                  <a:pt x="315" y="279"/>
                  <a:pt x="315" y="279"/>
                  <a:pt x="315" y="279"/>
                </a:cubicBezTo>
                <a:cubicBezTo>
                  <a:pt x="311" y="279"/>
                  <a:pt x="308" y="282"/>
                  <a:pt x="308" y="286"/>
                </a:cubicBezTo>
                <a:cubicBezTo>
                  <a:pt x="308" y="395"/>
                  <a:pt x="308" y="395"/>
                  <a:pt x="308" y="395"/>
                </a:cubicBezTo>
                <a:cubicBezTo>
                  <a:pt x="308" y="399"/>
                  <a:pt x="311" y="402"/>
                  <a:pt x="315" y="402"/>
                </a:cubicBezTo>
                <a:cubicBezTo>
                  <a:pt x="357" y="402"/>
                  <a:pt x="357" y="402"/>
                  <a:pt x="357" y="402"/>
                </a:cubicBezTo>
                <a:cubicBezTo>
                  <a:pt x="357" y="516"/>
                  <a:pt x="357" y="516"/>
                  <a:pt x="357" y="516"/>
                </a:cubicBezTo>
                <a:cubicBezTo>
                  <a:pt x="357" y="520"/>
                  <a:pt x="360" y="523"/>
                  <a:pt x="364" y="523"/>
                </a:cubicBezTo>
                <a:cubicBezTo>
                  <a:pt x="368" y="523"/>
                  <a:pt x="371" y="520"/>
                  <a:pt x="371" y="516"/>
                </a:cubicBezTo>
                <a:cubicBezTo>
                  <a:pt x="371" y="402"/>
                  <a:pt x="371" y="402"/>
                  <a:pt x="371" y="402"/>
                </a:cubicBezTo>
                <a:cubicBezTo>
                  <a:pt x="413" y="402"/>
                  <a:pt x="413" y="402"/>
                  <a:pt x="413" y="402"/>
                </a:cubicBezTo>
                <a:cubicBezTo>
                  <a:pt x="417" y="402"/>
                  <a:pt x="420" y="399"/>
                  <a:pt x="420" y="395"/>
                </a:cubicBezTo>
                <a:cubicBezTo>
                  <a:pt x="420" y="286"/>
                  <a:pt x="420" y="286"/>
                  <a:pt x="420" y="286"/>
                </a:cubicBezTo>
                <a:cubicBezTo>
                  <a:pt x="420" y="282"/>
                  <a:pt x="417" y="279"/>
                  <a:pt x="413" y="279"/>
                </a:cubicBezTo>
                <a:close/>
                <a:moveTo>
                  <a:pt x="406" y="388"/>
                </a:moveTo>
                <a:cubicBezTo>
                  <a:pt x="322" y="388"/>
                  <a:pt x="322" y="388"/>
                  <a:pt x="322" y="388"/>
                </a:cubicBezTo>
                <a:cubicBezTo>
                  <a:pt x="322" y="293"/>
                  <a:pt x="322" y="293"/>
                  <a:pt x="322" y="293"/>
                </a:cubicBezTo>
                <a:cubicBezTo>
                  <a:pt x="406" y="293"/>
                  <a:pt x="406" y="293"/>
                  <a:pt x="406" y="293"/>
                </a:cubicBezTo>
                <a:lnTo>
                  <a:pt x="406" y="388"/>
                </a:lnTo>
                <a:close/>
                <a:moveTo>
                  <a:pt x="567" y="121"/>
                </a:moveTo>
                <a:cubicBezTo>
                  <a:pt x="525" y="121"/>
                  <a:pt x="525" y="121"/>
                  <a:pt x="525" y="121"/>
                </a:cubicBezTo>
                <a:cubicBezTo>
                  <a:pt x="525" y="7"/>
                  <a:pt x="525" y="7"/>
                  <a:pt x="525" y="7"/>
                </a:cubicBezTo>
                <a:cubicBezTo>
                  <a:pt x="525" y="3"/>
                  <a:pt x="522" y="0"/>
                  <a:pt x="518" y="0"/>
                </a:cubicBezTo>
                <a:cubicBezTo>
                  <a:pt x="514" y="0"/>
                  <a:pt x="511" y="3"/>
                  <a:pt x="511" y="7"/>
                </a:cubicBezTo>
                <a:cubicBezTo>
                  <a:pt x="511" y="121"/>
                  <a:pt x="511" y="121"/>
                  <a:pt x="511" y="121"/>
                </a:cubicBezTo>
                <a:cubicBezTo>
                  <a:pt x="469" y="121"/>
                  <a:pt x="469" y="121"/>
                  <a:pt x="469" y="121"/>
                </a:cubicBezTo>
                <a:cubicBezTo>
                  <a:pt x="465" y="121"/>
                  <a:pt x="462" y="125"/>
                  <a:pt x="462" y="128"/>
                </a:cubicBezTo>
                <a:cubicBezTo>
                  <a:pt x="462" y="238"/>
                  <a:pt x="462" y="238"/>
                  <a:pt x="462" y="238"/>
                </a:cubicBezTo>
                <a:cubicBezTo>
                  <a:pt x="462" y="241"/>
                  <a:pt x="465" y="245"/>
                  <a:pt x="469" y="245"/>
                </a:cubicBezTo>
                <a:cubicBezTo>
                  <a:pt x="511" y="245"/>
                  <a:pt x="511" y="245"/>
                  <a:pt x="511" y="245"/>
                </a:cubicBezTo>
                <a:cubicBezTo>
                  <a:pt x="511" y="359"/>
                  <a:pt x="511" y="359"/>
                  <a:pt x="511" y="359"/>
                </a:cubicBezTo>
                <a:cubicBezTo>
                  <a:pt x="511" y="363"/>
                  <a:pt x="514" y="366"/>
                  <a:pt x="518" y="366"/>
                </a:cubicBezTo>
                <a:cubicBezTo>
                  <a:pt x="522" y="366"/>
                  <a:pt x="525" y="363"/>
                  <a:pt x="525" y="359"/>
                </a:cubicBezTo>
                <a:cubicBezTo>
                  <a:pt x="525" y="245"/>
                  <a:pt x="525" y="245"/>
                  <a:pt x="525" y="245"/>
                </a:cubicBezTo>
                <a:cubicBezTo>
                  <a:pt x="567" y="245"/>
                  <a:pt x="567" y="245"/>
                  <a:pt x="567" y="245"/>
                </a:cubicBezTo>
                <a:cubicBezTo>
                  <a:pt x="571" y="245"/>
                  <a:pt x="574" y="241"/>
                  <a:pt x="574" y="238"/>
                </a:cubicBezTo>
                <a:cubicBezTo>
                  <a:pt x="574" y="128"/>
                  <a:pt x="574" y="128"/>
                  <a:pt x="574" y="128"/>
                </a:cubicBezTo>
                <a:cubicBezTo>
                  <a:pt x="574" y="125"/>
                  <a:pt x="571" y="121"/>
                  <a:pt x="567" y="121"/>
                </a:cubicBezTo>
                <a:close/>
                <a:moveTo>
                  <a:pt x="560" y="231"/>
                </a:moveTo>
                <a:cubicBezTo>
                  <a:pt x="476" y="231"/>
                  <a:pt x="476" y="231"/>
                  <a:pt x="476" y="231"/>
                </a:cubicBezTo>
                <a:cubicBezTo>
                  <a:pt x="476" y="135"/>
                  <a:pt x="476" y="135"/>
                  <a:pt x="476" y="135"/>
                </a:cubicBezTo>
                <a:cubicBezTo>
                  <a:pt x="560" y="135"/>
                  <a:pt x="560" y="135"/>
                  <a:pt x="560" y="135"/>
                </a:cubicBezTo>
                <a:lnTo>
                  <a:pt x="560" y="23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57" name="Oval 74"/>
          <p:cNvSpPr>
            <a:spLocks noChangeArrowheads="1"/>
          </p:cNvSpPr>
          <p:nvPr/>
        </p:nvSpPr>
        <p:spPr bwMode="auto">
          <a:xfrm>
            <a:off x="7430588" y="925630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69" name="Freeform 136"/>
          <p:cNvSpPr>
            <a:spLocks noEditPoints="1"/>
          </p:cNvSpPr>
          <p:nvPr/>
        </p:nvSpPr>
        <p:spPr bwMode="auto">
          <a:xfrm>
            <a:off x="7603420" y="1140315"/>
            <a:ext cx="477299" cy="394484"/>
          </a:xfrm>
          <a:custGeom>
            <a:avLst/>
            <a:gdLst>
              <a:gd name="T0" fmla="*/ 100 w 616"/>
              <a:gd name="T1" fmla="*/ 285 h 509"/>
              <a:gd name="T2" fmla="*/ 323 w 616"/>
              <a:gd name="T3" fmla="*/ 422 h 509"/>
              <a:gd name="T4" fmla="*/ 323 w 616"/>
              <a:gd name="T5" fmla="*/ 278 h 509"/>
              <a:gd name="T6" fmla="*/ 114 w 616"/>
              <a:gd name="T7" fmla="*/ 292 h 509"/>
              <a:gd name="T8" fmla="*/ 612 w 616"/>
              <a:gd name="T9" fmla="*/ 188 h 509"/>
              <a:gd name="T10" fmla="*/ 555 w 616"/>
              <a:gd name="T11" fmla="*/ 4 h 509"/>
              <a:gd name="T12" fmla="*/ 554 w 616"/>
              <a:gd name="T13" fmla="*/ 3 h 509"/>
              <a:gd name="T14" fmla="*/ 553 w 616"/>
              <a:gd name="T15" fmla="*/ 1 h 509"/>
              <a:gd name="T16" fmla="*/ 551 w 616"/>
              <a:gd name="T17" fmla="*/ 1 h 509"/>
              <a:gd name="T18" fmla="*/ 549 w 616"/>
              <a:gd name="T19" fmla="*/ 0 h 509"/>
              <a:gd name="T20" fmla="*/ 308 w 616"/>
              <a:gd name="T21" fmla="*/ 0 h 509"/>
              <a:gd name="T22" fmla="*/ 147 w 616"/>
              <a:gd name="T23" fmla="*/ 0 h 509"/>
              <a:gd name="T24" fmla="*/ 66 w 616"/>
              <a:gd name="T25" fmla="*/ 0 h 509"/>
              <a:gd name="T26" fmla="*/ 64 w 616"/>
              <a:gd name="T27" fmla="*/ 1 h 509"/>
              <a:gd name="T28" fmla="*/ 62 w 616"/>
              <a:gd name="T29" fmla="*/ 2 h 509"/>
              <a:gd name="T30" fmla="*/ 61 w 616"/>
              <a:gd name="T31" fmla="*/ 4 h 509"/>
              <a:gd name="T32" fmla="*/ 60 w 616"/>
              <a:gd name="T33" fmla="*/ 5 h 509"/>
              <a:gd name="T34" fmla="*/ 27 w 616"/>
              <a:gd name="T35" fmla="*/ 242 h 509"/>
              <a:gd name="T36" fmla="*/ 582 w 616"/>
              <a:gd name="T37" fmla="*/ 509 h 509"/>
              <a:gd name="T38" fmla="*/ 606 w 616"/>
              <a:gd name="T39" fmla="*/ 229 h 509"/>
              <a:gd name="T40" fmla="*/ 464 w 616"/>
              <a:gd name="T41" fmla="*/ 232 h 509"/>
              <a:gd name="T42" fmla="*/ 463 w 616"/>
              <a:gd name="T43" fmla="*/ 14 h 509"/>
              <a:gd name="T44" fmla="*/ 391 w 616"/>
              <a:gd name="T45" fmla="*/ 219 h 509"/>
              <a:gd name="T46" fmla="*/ 315 w 616"/>
              <a:gd name="T47" fmla="*/ 14 h 509"/>
              <a:gd name="T48" fmla="*/ 391 w 616"/>
              <a:gd name="T49" fmla="*/ 219 h 509"/>
              <a:gd name="T50" fmla="*/ 257 w 616"/>
              <a:gd name="T51" fmla="*/ 232 h 509"/>
              <a:gd name="T52" fmla="*/ 234 w 616"/>
              <a:gd name="T53" fmla="*/ 14 h 509"/>
              <a:gd name="T54" fmla="*/ 117 w 616"/>
              <a:gd name="T55" fmla="*/ 192 h 509"/>
              <a:gd name="T56" fmla="*/ 202 w 616"/>
              <a:gd name="T57" fmla="*/ 190 h 509"/>
              <a:gd name="T58" fmla="*/ 117 w 616"/>
              <a:gd name="T59" fmla="*/ 192 h 509"/>
              <a:gd name="T60" fmla="*/ 72 w 616"/>
              <a:gd name="T61" fmla="*/ 14 h 509"/>
              <a:gd name="T62" fmla="*/ 48 w 616"/>
              <a:gd name="T63" fmla="*/ 232 h 509"/>
              <a:gd name="T64" fmla="*/ 392 w 616"/>
              <a:gd name="T65" fmla="*/ 495 h 509"/>
              <a:gd name="T66" fmla="*/ 503 w 616"/>
              <a:gd name="T67" fmla="*/ 495 h 509"/>
              <a:gd name="T68" fmla="*/ 517 w 616"/>
              <a:gd name="T69" fmla="*/ 285 h 509"/>
              <a:gd name="T70" fmla="*/ 378 w 616"/>
              <a:gd name="T71" fmla="*/ 285 h 509"/>
              <a:gd name="T72" fmla="*/ 41 w 616"/>
              <a:gd name="T73" fmla="*/ 246 h 509"/>
              <a:gd name="T74" fmla="*/ 113 w 616"/>
              <a:gd name="T75" fmla="*/ 229 h 509"/>
              <a:gd name="T76" fmla="*/ 215 w 616"/>
              <a:gd name="T77" fmla="*/ 229 h 509"/>
              <a:gd name="T78" fmla="*/ 308 w 616"/>
              <a:gd name="T79" fmla="*/ 217 h 509"/>
              <a:gd name="T80" fmla="*/ 410 w 616"/>
              <a:gd name="T81" fmla="*/ 217 h 509"/>
              <a:gd name="T82" fmla="*/ 511 w 616"/>
              <a:gd name="T83" fmla="*/ 217 h 509"/>
              <a:gd name="T84" fmla="*/ 575 w 616"/>
              <a:gd name="T85" fmla="*/ 495 h 509"/>
              <a:gd name="T86" fmla="*/ 513 w 616"/>
              <a:gd name="T87" fmla="*/ 189 h 509"/>
              <a:gd name="T88" fmla="*/ 598 w 616"/>
              <a:gd name="T89" fmla="*/ 192 h 5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" h="509">
                <a:moveTo>
                  <a:pt x="323" y="278"/>
                </a:moveTo>
                <a:cubicBezTo>
                  <a:pt x="107" y="278"/>
                  <a:pt x="107" y="278"/>
                  <a:pt x="107" y="278"/>
                </a:cubicBezTo>
                <a:cubicBezTo>
                  <a:pt x="104" y="278"/>
                  <a:pt x="100" y="282"/>
                  <a:pt x="100" y="285"/>
                </a:cubicBezTo>
                <a:cubicBezTo>
                  <a:pt x="100" y="415"/>
                  <a:pt x="100" y="415"/>
                  <a:pt x="100" y="415"/>
                </a:cubicBezTo>
                <a:cubicBezTo>
                  <a:pt x="100" y="419"/>
                  <a:pt x="104" y="422"/>
                  <a:pt x="107" y="422"/>
                </a:cubicBezTo>
                <a:cubicBezTo>
                  <a:pt x="323" y="422"/>
                  <a:pt x="323" y="422"/>
                  <a:pt x="323" y="422"/>
                </a:cubicBezTo>
                <a:cubicBezTo>
                  <a:pt x="327" y="422"/>
                  <a:pt x="330" y="419"/>
                  <a:pt x="330" y="415"/>
                </a:cubicBezTo>
                <a:cubicBezTo>
                  <a:pt x="330" y="285"/>
                  <a:pt x="330" y="285"/>
                  <a:pt x="330" y="285"/>
                </a:cubicBezTo>
                <a:cubicBezTo>
                  <a:pt x="330" y="282"/>
                  <a:pt x="327" y="278"/>
                  <a:pt x="323" y="278"/>
                </a:cubicBezTo>
                <a:close/>
                <a:moveTo>
                  <a:pt x="316" y="408"/>
                </a:moveTo>
                <a:cubicBezTo>
                  <a:pt x="114" y="408"/>
                  <a:pt x="114" y="408"/>
                  <a:pt x="114" y="408"/>
                </a:cubicBezTo>
                <a:cubicBezTo>
                  <a:pt x="114" y="292"/>
                  <a:pt x="114" y="292"/>
                  <a:pt x="114" y="292"/>
                </a:cubicBezTo>
                <a:cubicBezTo>
                  <a:pt x="316" y="292"/>
                  <a:pt x="316" y="292"/>
                  <a:pt x="316" y="292"/>
                </a:cubicBezTo>
                <a:lnTo>
                  <a:pt x="316" y="408"/>
                </a:lnTo>
                <a:close/>
                <a:moveTo>
                  <a:pt x="612" y="188"/>
                </a:moveTo>
                <a:cubicBezTo>
                  <a:pt x="556" y="5"/>
                  <a:pt x="556" y="5"/>
                  <a:pt x="556" y="5"/>
                </a:cubicBezTo>
                <a:cubicBezTo>
                  <a:pt x="556" y="5"/>
                  <a:pt x="556" y="5"/>
                  <a:pt x="556" y="5"/>
                </a:cubicBezTo>
                <a:cubicBezTo>
                  <a:pt x="556" y="5"/>
                  <a:pt x="555" y="4"/>
                  <a:pt x="555" y="4"/>
                </a:cubicBezTo>
                <a:cubicBezTo>
                  <a:pt x="555" y="4"/>
                  <a:pt x="555" y="4"/>
                  <a:pt x="555" y="4"/>
                </a:cubicBezTo>
                <a:cubicBezTo>
                  <a:pt x="555" y="3"/>
                  <a:pt x="555" y="3"/>
                  <a:pt x="555" y="3"/>
                </a:cubicBezTo>
                <a:cubicBezTo>
                  <a:pt x="555" y="3"/>
                  <a:pt x="554" y="3"/>
                  <a:pt x="554" y="3"/>
                </a:cubicBezTo>
                <a:cubicBezTo>
                  <a:pt x="554" y="2"/>
                  <a:pt x="554" y="2"/>
                  <a:pt x="554" y="2"/>
                </a:cubicBezTo>
                <a:cubicBezTo>
                  <a:pt x="554" y="2"/>
                  <a:pt x="553" y="2"/>
                  <a:pt x="553" y="2"/>
                </a:cubicBezTo>
                <a:cubicBezTo>
                  <a:pt x="553" y="2"/>
                  <a:pt x="553" y="1"/>
                  <a:pt x="553" y="1"/>
                </a:cubicBezTo>
                <a:cubicBezTo>
                  <a:pt x="552" y="1"/>
                  <a:pt x="552" y="1"/>
                  <a:pt x="552" y="1"/>
                </a:cubicBezTo>
                <a:cubicBezTo>
                  <a:pt x="552" y="1"/>
                  <a:pt x="552" y="1"/>
                  <a:pt x="551" y="1"/>
                </a:cubicBezTo>
                <a:cubicBezTo>
                  <a:pt x="551" y="1"/>
                  <a:pt x="551" y="1"/>
                  <a:pt x="551" y="1"/>
                </a:cubicBezTo>
                <a:cubicBezTo>
                  <a:pt x="551" y="0"/>
                  <a:pt x="550" y="0"/>
                  <a:pt x="550" y="0"/>
                </a:cubicBezTo>
                <a:cubicBezTo>
                  <a:pt x="550" y="0"/>
                  <a:pt x="550" y="0"/>
                  <a:pt x="549" y="0"/>
                </a:cubicBezTo>
                <a:cubicBezTo>
                  <a:pt x="549" y="0"/>
                  <a:pt x="549" y="0"/>
                  <a:pt x="549" y="0"/>
                </a:cubicBezTo>
                <a:cubicBezTo>
                  <a:pt x="469" y="0"/>
                  <a:pt x="469" y="0"/>
                  <a:pt x="469" y="0"/>
                </a:cubicBezTo>
                <a:cubicBezTo>
                  <a:pt x="469" y="0"/>
                  <a:pt x="469" y="0"/>
                  <a:pt x="469" y="0"/>
                </a:cubicBezTo>
                <a:cubicBezTo>
                  <a:pt x="308" y="0"/>
                  <a:pt x="308" y="0"/>
                  <a:pt x="308" y="0"/>
                </a:cubicBezTo>
                <a:cubicBezTo>
                  <a:pt x="308" y="0"/>
                  <a:pt x="308" y="0"/>
                  <a:pt x="308" y="0"/>
                </a:cubicBezTo>
                <a:cubicBezTo>
                  <a:pt x="147" y="0"/>
                  <a:pt x="147" y="0"/>
                  <a:pt x="147" y="0"/>
                </a:cubicBezTo>
                <a:cubicBezTo>
                  <a:pt x="147" y="0"/>
                  <a:pt x="147" y="0"/>
                  <a:pt x="14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7" y="0"/>
                  <a:pt x="66" y="0"/>
                  <a:pt x="66" y="0"/>
                </a:cubicBezTo>
                <a:cubicBezTo>
                  <a:pt x="66" y="0"/>
                  <a:pt x="66" y="0"/>
                  <a:pt x="65" y="1"/>
                </a:cubicBezTo>
                <a:cubicBezTo>
                  <a:pt x="65" y="1"/>
                  <a:pt x="65" y="1"/>
                  <a:pt x="65" y="1"/>
                </a:cubicBezTo>
                <a:cubicBezTo>
                  <a:pt x="65" y="1"/>
                  <a:pt x="64" y="1"/>
                  <a:pt x="64" y="1"/>
                </a:cubicBezTo>
                <a:cubicBezTo>
                  <a:pt x="64" y="1"/>
                  <a:pt x="64" y="1"/>
                  <a:pt x="64" y="1"/>
                </a:cubicBezTo>
                <a:cubicBezTo>
                  <a:pt x="63" y="1"/>
                  <a:pt x="63" y="2"/>
                  <a:pt x="63" y="2"/>
                </a:cubicBezTo>
                <a:cubicBezTo>
                  <a:pt x="63" y="2"/>
                  <a:pt x="63" y="2"/>
                  <a:pt x="62" y="2"/>
                </a:cubicBezTo>
                <a:cubicBezTo>
                  <a:pt x="62" y="2"/>
                  <a:pt x="62" y="2"/>
                  <a:pt x="62" y="3"/>
                </a:cubicBezTo>
                <a:cubicBezTo>
                  <a:pt x="62" y="3"/>
                  <a:pt x="62" y="3"/>
                  <a:pt x="62" y="3"/>
                </a:cubicBezTo>
                <a:cubicBezTo>
                  <a:pt x="61" y="3"/>
                  <a:pt x="61" y="3"/>
                  <a:pt x="61" y="4"/>
                </a:cubicBezTo>
                <a:cubicBezTo>
                  <a:pt x="61" y="4"/>
                  <a:pt x="61" y="4"/>
                  <a:pt x="61" y="4"/>
                </a:cubicBezTo>
                <a:cubicBezTo>
                  <a:pt x="61" y="4"/>
                  <a:pt x="61" y="5"/>
                  <a:pt x="61" y="5"/>
                </a:cubicBezTo>
                <a:cubicBezTo>
                  <a:pt x="61" y="5"/>
                  <a:pt x="60" y="5"/>
                  <a:pt x="60" y="5"/>
                </a:cubicBezTo>
                <a:cubicBezTo>
                  <a:pt x="5" y="188"/>
                  <a:pt x="5" y="188"/>
                  <a:pt x="5" y="188"/>
                </a:cubicBezTo>
                <a:cubicBezTo>
                  <a:pt x="0" y="203"/>
                  <a:pt x="2" y="218"/>
                  <a:pt x="10" y="229"/>
                </a:cubicBezTo>
                <a:cubicBezTo>
                  <a:pt x="15" y="235"/>
                  <a:pt x="20" y="239"/>
                  <a:pt x="27" y="242"/>
                </a:cubicBezTo>
                <a:cubicBezTo>
                  <a:pt x="27" y="502"/>
                  <a:pt x="27" y="502"/>
                  <a:pt x="27" y="502"/>
                </a:cubicBezTo>
                <a:cubicBezTo>
                  <a:pt x="27" y="506"/>
                  <a:pt x="30" y="509"/>
                  <a:pt x="34" y="509"/>
                </a:cubicBezTo>
                <a:cubicBezTo>
                  <a:pt x="582" y="509"/>
                  <a:pt x="582" y="509"/>
                  <a:pt x="582" y="509"/>
                </a:cubicBezTo>
                <a:cubicBezTo>
                  <a:pt x="586" y="509"/>
                  <a:pt x="589" y="506"/>
                  <a:pt x="589" y="502"/>
                </a:cubicBezTo>
                <a:cubicBezTo>
                  <a:pt x="589" y="242"/>
                  <a:pt x="589" y="242"/>
                  <a:pt x="589" y="242"/>
                </a:cubicBezTo>
                <a:cubicBezTo>
                  <a:pt x="596" y="239"/>
                  <a:pt x="602" y="235"/>
                  <a:pt x="606" y="229"/>
                </a:cubicBezTo>
                <a:cubicBezTo>
                  <a:pt x="614" y="218"/>
                  <a:pt x="616" y="203"/>
                  <a:pt x="612" y="188"/>
                </a:cubicBezTo>
                <a:close/>
                <a:moveTo>
                  <a:pt x="493" y="220"/>
                </a:moveTo>
                <a:cubicBezTo>
                  <a:pt x="486" y="228"/>
                  <a:pt x="476" y="232"/>
                  <a:pt x="464" y="232"/>
                </a:cubicBezTo>
                <a:cubicBezTo>
                  <a:pt x="439" y="232"/>
                  <a:pt x="417" y="213"/>
                  <a:pt x="414" y="190"/>
                </a:cubicBezTo>
                <a:cubicBezTo>
                  <a:pt x="396" y="14"/>
                  <a:pt x="396" y="14"/>
                  <a:pt x="396" y="14"/>
                </a:cubicBezTo>
                <a:cubicBezTo>
                  <a:pt x="463" y="14"/>
                  <a:pt x="463" y="14"/>
                  <a:pt x="463" y="14"/>
                </a:cubicBezTo>
                <a:cubicBezTo>
                  <a:pt x="499" y="192"/>
                  <a:pt x="499" y="192"/>
                  <a:pt x="499" y="192"/>
                </a:cubicBezTo>
                <a:cubicBezTo>
                  <a:pt x="501" y="202"/>
                  <a:pt x="499" y="212"/>
                  <a:pt x="493" y="220"/>
                </a:cubicBezTo>
                <a:close/>
                <a:moveTo>
                  <a:pt x="391" y="219"/>
                </a:moveTo>
                <a:cubicBezTo>
                  <a:pt x="383" y="228"/>
                  <a:pt x="373" y="232"/>
                  <a:pt x="360" y="232"/>
                </a:cubicBezTo>
                <a:cubicBezTo>
                  <a:pt x="336" y="232"/>
                  <a:pt x="315" y="213"/>
                  <a:pt x="315" y="190"/>
                </a:cubicBezTo>
                <a:cubicBezTo>
                  <a:pt x="315" y="14"/>
                  <a:pt x="315" y="14"/>
                  <a:pt x="315" y="14"/>
                </a:cubicBezTo>
                <a:cubicBezTo>
                  <a:pt x="382" y="14"/>
                  <a:pt x="382" y="14"/>
                  <a:pt x="382" y="14"/>
                </a:cubicBezTo>
                <a:cubicBezTo>
                  <a:pt x="400" y="191"/>
                  <a:pt x="400" y="191"/>
                  <a:pt x="400" y="191"/>
                </a:cubicBezTo>
                <a:cubicBezTo>
                  <a:pt x="401" y="201"/>
                  <a:pt x="398" y="211"/>
                  <a:pt x="391" y="219"/>
                </a:cubicBezTo>
                <a:close/>
                <a:moveTo>
                  <a:pt x="301" y="190"/>
                </a:moveTo>
                <a:cubicBezTo>
                  <a:pt x="301" y="201"/>
                  <a:pt x="297" y="212"/>
                  <a:pt x="288" y="220"/>
                </a:cubicBezTo>
                <a:cubicBezTo>
                  <a:pt x="280" y="228"/>
                  <a:pt x="269" y="232"/>
                  <a:pt x="257" y="232"/>
                </a:cubicBezTo>
                <a:cubicBezTo>
                  <a:pt x="244" y="232"/>
                  <a:pt x="233" y="228"/>
                  <a:pt x="226" y="219"/>
                </a:cubicBezTo>
                <a:cubicBezTo>
                  <a:pt x="219" y="211"/>
                  <a:pt x="216" y="201"/>
                  <a:pt x="217" y="191"/>
                </a:cubicBezTo>
                <a:cubicBezTo>
                  <a:pt x="234" y="14"/>
                  <a:pt x="234" y="14"/>
                  <a:pt x="234" y="14"/>
                </a:cubicBezTo>
                <a:cubicBezTo>
                  <a:pt x="301" y="14"/>
                  <a:pt x="301" y="14"/>
                  <a:pt x="301" y="14"/>
                </a:cubicBezTo>
                <a:lnTo>
                  <a:pt x="301" y="190"/>
                </a:lnTo>
                <a:close/>
                <a:moveTo>
                  <a:pt x="117" y="192"/>
                </a:moveTo>
                <a:cubicBezTo>
                  <a:pt x="153" y="14"/>
                  <a:pt x="153" y="14"/>
                  <a:pt x="153" y="14"/>
                </a:cubicBezTo>
                <a:cubicBezTo>
                  <a:pt x="220" y="14"/>
                  <a:pt x="220" y="14"/>
                  <a:pt x="220" y="14"/>
                </a:cubicBezTo>
                <a:cubicBezTo>
                  <a:pt x="202" y="190"/>
                  <a:pt x="202" y="190"/>
                  <a:pt x="202" y="190"/>
                </a:cubicBezTo>
                <a:cubicBezTo>
                  <a:pt x="200" y="213"/>
                  <a:pt x="177" y="232"/>
                  <a:pt x="152" y="232"/>
                </a:cubicBezTo>
                <a:cubicBezTo>
                  <a:pt x="140" y="232"/>
                  <a:pt x="130" y="228"/>
                  <a:pt x="123" y="220"/>
                </a:cubicBezTo>
                <a:cubicBezTo>
                  <a:pt x="117" y="212"/>
                  <a:pt x="115" y="202"/>
                  <a:pt x="117" y="192"/>
                </a:cubicBezTo>
                <a:close/>
                <a:moveTo>
                  <a:pt x="22" y="220"/>
                </a:moveTo>
                <a:cubicBezTo>
                  <a:pt x="16" y="213"/>
                  <a:pt x="15" y="203"/>
                  <a:pt x="18" y="192"/>
                </a:cubicBezTo>
                <a:cubicBezTo>
                  <a:pt x="72" y="14"/>
                  <a:pt x="72" y="14"/>
                  <a:pt x="72" y="14"/>
                </a:cubicBezTo>
                <a:cubicBezTo>
                  <a:pt x="139" y="14"/>
                  <a:pt x="139" y="14"/>
                  <a:pt x="139" y="14"/>
                </a:cubicBezTo>
                <a:cubicBezTo>
                  <a:pt x="103" y="189"/>
                  <a:pt x="103" y="189"/>
                  <a:pt x="103" y="189"/>
                </a:cubicBezTo>
                <a:cubicBezTo>
                  <a:pt x="99" y="212"/>
                  <a:pt x="73" y="232"/>
                  <a:pt x="48" y="232"/>
                </a:cubicBezTo>
                <a:cubicBezTo>
                  <a:pt x="37" y="232"/>
                  <a:pt x="27" y="228"/>
                  <a:pt x="22" y="220"/>
                </a:cubicBezTo>
                <a:close/>
                <a:moveTo>
                  <a:pt x="503" y="495"/>
                </a:moveTo>
                <a:cubicBezTo>
                  <a:pt x="392" y="495"/>
                  <a:pt x="392" y="495"/>
                  <a:pt x="392" y="495"/>
                </a:cubicBezTo>
                <a:cubicBezTo>
                  <a:pt x="392" y="292"/>
                  <a:pt x="392" y="292"/>
                  <a:pt x="392" y="292"/>
                </a:cubicBezTo>
                <a:cubicBezTo>
                  <a:pt x="503" y="292"/>
                  <a:pt x="503" y="292"/>
                  <a:pt x="503" y="292"/>
                </a:cubicBezTo>
                <a:lnTo>
                  <a:pt x="503" y="495"/>
                </a:lnTo>
                <a:close/>
                <a:moveTo>
                  <a:pt x="575" y="495"/>
                </a:moveTo>
                <a:cubicBezTo>
                  <a:pt x="517" y="495"/>
                  <a:pt x="517" y="495"/>
                  <a:pt x="517" y="495"/>
                </a:cubicBezTo>
                <a:cubicBezTo>
                  <a:pt x="517" y="285"/>
                  <a:pt x="517" y="285"/>
                  <a:pt x="517" y="285"/>
                </a:cubicBezTo>
                <a:cubicBezTo>
                  <a:pt x="517" y="282"/>
                  <a:pt x="514" y="278"/>
                  <a:pt x="510" y="278"/>
                </a:cubicBezTo>
                <a:cubicBezTo>
                  <a:pt x="385" y="278"/>
                  <a:pt x="385" y="278"/>
                  <a:pt x="385" y="278"/>
                </a:cubicBezTo>
                <a:cubicBezTo>
                  <a:pt x="381" y="278"/>
                  <a:pt x="378" y="282"/>
                  <a:pt x="378" y="285"/>
                </a:cubicBezTo>
                <a:cubicBezTo>
                  <a:pt x="378" y="495"/>
                  <a:pt x="378" y="495"/>
                  <a:pt x="378" y="495"/>
                </a:cubicBezTo>
                <a:cubicBezTo>
                  <a:pt x="41" y="495"/>
                  <a:pt x="41" y="495"/>
                  <a:pt x="41" y="495"/>
                </a:cubicBezTo>
                <a:cubicBezTo>
                  <a:pt x="41" y="246"/>
                  <a:pt x="41" y="246"/>
                  <a:pt x="41" y="246"/>
                </a:cubicBezTo>
                <a:cubicBezTo>
                  <a:pt x="43" y="246"/>
                  <a:pt x="46" y="246"/>
                  <a:pt x="48" y="246"/>
                </a:cubicBezTo>
                <a:cubicBezTo>
                  <a:pt x="71" y="246"/>
                  <a:pt x="92" y="234"/>
                  <a:pt x="106" y="217"/>
                </a:cubicBezTo>
                <a:cubicBezTo>
                  <a:pt x="107" y="221"/>
                  <a:pt x="110" y="225"/>
                  <a:pt x="113" y="229"/>
                </a:cubicBezTo>
                <a:cubicBezTo>
                  <a:pt x="122" y="240"/>
                  <a:pt x="136" y="246"/>
                  <a:pt x="152" y="246"/>
                </a:cubicBezTo>
                <a:cubicBezTo>
                  <a:pt x="175" y="246"/>
                  <a:pt x="196" y="234"/>
                  <a:pt x="207" y="216"/>
                </a:cubicBezTo>
                <a:cubicBezTo>
                  <a:pt x="209" y="221"/>
                  <a:pt x="212" y="225"/>
                  <a:pt x="215" y="229"/>
                </a:cubicBezTo>
                <a:cubicBezTo>
                  <a:pt x="226" y="240"/>
                  <a:pt x="241" y="246"/>
                  <a:pt x="257" y="246"/>
                </a:cubicBezTo>
                <a:cubicBezTo>
                  <a:pt x="272" y="246"/>
                  <a:pt x="287" y="240"/>
                  <a:pt x="298" y="230"/>
                </a:cubicBezTo>
                <a:cubicBezTo>
                  <a:pt x="302" y="226"/>
                  <a:pt x="306" y="221"/>
                  <a:pt x="308" y="217"/>
                </a:cubicBezTo>
                <a:cubicBezTo>
                  <a:pt x="318" y="234"/>
                  <a:pt x="338" y="246"/>
                  <a:pt x="360" y="246"/>
                </a:cubicBezTo>
                <a:cubicBezTo>
                  <a:pt x="376" y="246"/>
                  <a:pt x="391" y="240"/>
                  <a:pt x="401" y="229"/>
                </a:cubicBezTo>
                <a:cubicBezTo>
                  <a:pt x="405" y="225"/>
                  <a:pt x="407" y="221"/>
                  <a:pt x="410" y="217"/>
                </a:cubicBezTo>
                <a:cubicBezTo>
                  <a:pt x="421" y="234"/>
                  <a:pt x="442" y="246"/>
                  <a:pt x="464" y="246"/>
                </a:cubicBezTo>
                <a:cubicBezTo>
                  <a:pt x="480" y="246"/>
                  <a:pt x="495" y="240"/>
                  <a:pt x="504" y="229"/>
                </a:cubicBezTo>
                <a:cubicBezTo>
                  <a:pt x="507" y="225"/>
                  <a:pt x="509" y="221"/>
                  <a:pt x="511" y="217"/>
                </a:cubicBezTo>
                <a:cubicBezTo>
                  <a:pt x="524" y="234"/>
                  <a:pt x="546" y="246"/>
                  <a:pt x="568" y="246"/>
                </a:cubicBezTo>
                <a:cubicBezTo>
                  <a:pt x="570" y="246"/>
                  <a:pt x="573" y="246"/>
                  <a:pt x="575" y="246"/>
                </a:cubicBezTo>
                <a:lnTo>
                  <a:pt x="575" y="495"/>
                </a:lnTo>
                <a:close/>
                <a:moveTo>
                  <a:pt x="595" y="220"/>
                </a:moveTo>
                <a:cubicBezTo>
                  <a:pt x="589" y="228"/>
                  <a:pt x="579" y="232"/>
                  <a:pt x="568" y="232"/>
                </a:cubicBezTo>
                <a:cubicBezTo>
                  <a:pt x="543" y="232"/>
                  <a:pt x="518" y="212"/>
                  <a:pt x="513" y="189"/>
                </a:cubicBezTo>
                <a:cubicBezTo>
                  <a:pt x="477" y="14"/>
                  <a:pt x="477" y="14"/>
                  <a:pt x="477" y="14"/>
                </a:cubicBezTo>
                <a:cubicBezTo>
                  <a:pt x="544" y="14"/>
                  <a:pt x="544" y="14"/>
                  <a:pt x="544" y="14"/>
                </a:cubicBezTo>
                <a:cubicBezTo>
                  <a:pt x="598" y="192"/>
                  <a:pt x="598" y="192"/>
                  <a:pt x="598" y="192"/>
                </a:cubicBezTo>
                <a:cubicBezTo>
                  <a:pt x="601" y="203"/>
                  <a:pt x="600" y="213"/>
                  <a:pt x="595" y="22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47" name="Oval 69"/>
          <p:cNvSpPr>
            <a:spLocks noChangeArrowheads="1"/>
          </p:cNvSpPr>
          <p:nvPr/>
        </p:nvSpPr>
        <p:spPr bwMode="auto">
          <a:xfrm>
            <a:off x="966871" y="2009724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70" name="Freeform 137"/>
          <p:cNvSpPr>
            <a:spLocks noEditPoints="1"/>
          </p:cNvSpPr>
          <p:nvPr/>
        </p:nvSpPr>
        <p:spPr bwMode="auto">
          <a:xfrm>
            <a:off x="1141493" y="2217253"/>
            <a:ext cx="471926" cy="407902"/>
          </a:xfrm>
          <a:custGeom>
            <a:avLst/>
            <a:gdLst>
              <a:gd name="T0" fmla="*/ 560 w 609"/>
              <a:gd name="T1" fmla="*/ 6 h 527"/>
              <a:gd name="T2" fmla="*/ 483 w 609"/>
              <a:gd name="T3" fmla="*/ 0 h 527"/>
              <a:gd name="T4" fmla="*/ 127 w 609"/>
              <a:gd name="T5" fmla="*/ 0 h 527"/>
              <a:gd name="T6" fmla="*/ 57 w 609"/>
              <a:gd name="T7" fmla="*/ 0 h 527"/>
              <a:gd name="T8" fmla="*/ 1 w 609"/>
              <a:gd name="T9" fmla="*/ 238 h 527"/>
              <a:gd name="T10" fmla="*/ 8 w 609"/>
              <a:gd name="T11" fmla="*/ 247 h 527"/>
              <a:gd name="T12" fmla="*/ 31 w 609"/>
              <a:gd name="T13" fmla="*/ 520 h 527"/>
              <a:gd name="T14" fmla="*/ 400 w 609"/>
              <a:gd name="T15" fmla="*/ 527 h 527"/>
              <a:gd name="T16" fmla="*/ 407 w 609"/>
              <a:gd name="T17" fmla="*/ 314 h 527"/>
              <a:gd name="T18" fmla="*/ 508 w 609"/>
              <a:gd name="T19" fmla="*/ 520 h 527"/>
              <a:gd name="T20" fmla="*/ 572 w 609"/>
              <a:gd name="T21" fmla="*/ 527 h 527"/>
              <a:gd name="T22" fmla="*/ 579 w 609"/>
              <a:gd name="T23" fmla="*/ 247 h 527"/>
              <a:gd name="T24" fmla="*/ 602 w 609"/>
              <a:gd name="T25" fmla="*/ 247 h 527"/>
              <a:gd name="T26" fmla="*/ 609 w 609"/>
              <a:gd name="T27" fmla="*/ 237 h 527"/>
              <a:gd name="T28" fmla="*/ 205 w 609"/>
              <a:gd name="T29" fmla="*/ 14 h 527"/>
              <a:gd name="T30" fmla="*/ 255 w 609"/>
              <a:gd name="T31" fmla="*/ 233 h 527"/>
              <a:gd name="T32" fmla="*/ 100 w 609"/>
              <a:gd name="T33" fmla="*/ 233 h 527"/>
              <a:gd name="T34" fmla="*/ 191 w 609"/>
              <a:gd name="T35" fmla="*/ 14 h 527"/>
              <a:gd name="T36" fmla="*/ 100 w 609"/>
              <a:gd name="T37" fmla="*/ 233 h 527"/>
              <a:gd name="T38" fmla="*/ 334 w 609"/>
              <a:gd name="T39" fmla="*/ 14 h 527"/>
              <a:gd name="T40" fmla="*/ 269 w 609"/>
              <a:gd name="T41" fmla="*/ 233 h 527"/>
              <a:gd name="T42" fmla="*/ 354 w 609"/>
              <a:gd name="T43" fmla="*/ 233 h 527"/>
              <a:gd name="T44" fmla="*/ 405 w 609"/>
              <a:gd name="T45" fmla="*/ 14 h 527"/>
              <a:gd name="T46" fmla="*/ 354 w 609"/>
              <a:gd name="T47" fmla="*/ 233 h 527"/>
              <a:gd name="T48" fmla="*/ 419 w 609"/>
              <a:gd name="T49" fmla="*/ 14 h 527"/>
              <a:gd name="T50" fmla="*/ 510 w 609"/>
              <a:gd name="T51" fmla="*/ 233 h 527"/>
              <a:gd name="T52" fmla="*/ 62 w 609"/>
              <a:gd name="T53" fmla="*/ 14 h 527"/>
              <a:gd name="T54" fmla="*/ 86 w 609"/>
              <a:gd name="T55" fmla="*/ 233 h 527"/>
              <a:gd name="T56" fmla="*/ 62 w 609"/>
              <a:gd name="T57" fmla="*/ 14 h 527"/>
              <a:gd name="T58" fmla="*/ 522 w 609"/>
              <a:gd name="T59" fmla="*/ 513 h 527"/>
              <a:gd name="T60" fmla="*/ 515 w 609"/>
              <a:gd name="T61" fmla="*/ 300 h 527"/>
              <a:gd name="T62" fmla="*/ 393 w 609"/>
              <a:gd name="T63" fmla="*/ 307 h 527"/>
              <a:gd name="T64" fmla="*/ 45 w 609"/>
              <a:gd name="T65" fmla="*/ 513 h 527"/>
              <a:gd name="T66" fmla="*/ 565 w 609"/>
              <a:gd name="T67" fmla="*/ 247 h 527"/>
              <a:gd name="T68" fmla="*/ 524 w 609"/>
              <a:gd name="T69" fmla="*/ 233 h 527"/>
              <a:gd name="T70" fmla="*/ 547 w 609"/>
              <a:gd name="T71" fmla="*/ 14 h 527"/>
              <a:gd name="T72" fmla="*/ 524 w 609"/>
              <a:gd name="T73" fmla="*/ 233 h 527"/>
              <a:gd name="T74" fmla="*/ 92 w 609"/>
              <a:gd name="T75" fmla="*/ 300 h 527"/>
              <a:gd name="T76" fmla="*/ 85 w 609"/>
              <a:gd name="T77" fmla="*/ 460 h 527"/>
              <a:gd name="T78" fmla="*/ 344 w 609"/>
              <a:gd name="T79" fmla="*/ 467 h 527"/>
              <a:gd name="T80" fmla="*/ 351 w 609"/>
              <a:gd name="T81" fmla="*/ 307 h 527"/>
              <a:gd name="T82" fmla="*/ 337 w 609"/>
              <a:gd name="T83" fmla="*/ 453 h 527"/>
              <a:gd name="T84" fmla="*/ 99 w 609"/>
              <a:gd name="T85" fmla="*/ 314 h 527"/>
              <a:gd name="T86" fmla="*/ 337 w 609"/>
              <a:gd name="T87" fmla="*/ 453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09" h="527">
                <a:moveTo>
                  <a:pt x="609" y="237"/>
                </a:moveTo>
                <a:cubicBezTo>
                  <a:pt x="560" y="6"/>
                  <a:pt x="560" y="6"/>
                  <a:pt x="560" y="6"/>
                </a:cubicBezTo>
                <a:cubicBezTo>
                  <a:pt x="559" y="2"/>
                  <a:pt x="556" y="0"/>
                  <a:pt x="553" y="0"/>
                </a:cubicBezTo>
                <a:cubicBezTo>
                  <a:pt x="483" y="0"/>
                  <a:pt x="483" y="0"/>
                  <a:pt x="483" y="0"/>
                </a:cubicBezTo>
                <a:cubicBezTo>
                  <a:pt x="483" y="0"/>
                  <a:pt x="483" y="0"/>
                  <a:pt x="483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57" y="0"/>
                  <a:pt x="57" y="0"/>
                  <a:pt x="57" y="0"/>
                </a:cubicBezTo>
                <a:cubicBezTo>
                  <a:pt x="53" y="0"/>
                  <a:pt x="51" y="2"/>
                  <a:pt x="50" y="6"/>
                </a:cubicBezTo>
                <a:cubicBezTo>
                  <a:pt x="1" y="238"/>
                  <a:pt x="1" y="238"/>
                  <a:pt x="1" y="238"/>
                </a:cubicBezTo>
                <a:cubicBezTo>
                  <a:pt x="0" y="240"/>
                  <a:pt x="1" y="242"/>
                  <a:pt x="2" y="244"/>
                </a:cubicBezTo>
                <a:cubicBezTo>
                  <a:pt x="3" y="246"/>
                  <a:pt x="5" y="247"/>
                  <a:pt x="8" y="247"/>
                </a:cubicBezTo>
                <a:cubicBezTo>
                  <a:pt x="31" y="247"/>
                  <a:pt x="31" y="247"/>
                  <a:pt x="31" y="247"/>
                </a:cubicBezTo>
                <a:cubicBezTo>
                  <a:pt x="31" y="520"/>
                  <a:pt x="31" y="520"/>
                  <a:pt x="31" y="520"/>
                </a:cubicBezTo>
                <a:cubicBezTo>
                  <a:pt x="31" y="524"/>
                  <a:pt x="34" y="527"/>
                  <a:pt x="38" y="527"/>
                </a:cubicBezTo>
                <a:cubicBezTo>
                  <a:pt x="400" y="527"/>
                  <a:pt x="400" y="527"/>
                  <a:pt x="400" y="527"/>
                </a:cubicBezTo>
                <a:cubicBezTo>
                  <a:pt x="404" y="527"/>
                  <a:pt x="407" y="524"/>
                  <a:pt x="407" y="520"/>
                </a:cubicBezTo>
                <a:cubicBezTo>
                  <a:pt x="407" y="314"/>
                  <a:pt x="407" y="314"/>
                  <a:pt x="407" y="314"/>
                </a:cubicBezTo>
                <a:cubicBezTo>
                  <a:pt x="508" y="314"/>
                  <a:pt x="508" y="314"/>
                  <a:pt x="508" y="314"/>
                </a:cubicBezTo>
                <a:cubicBezTo>
                  <a:pt x="508" y="520"/>
                  <a:pt x="508" y="520"/>
                  <a:pt x="508" y="520"/>
                </a:cubicBezTo>
                <a:cubicBezTo>
                  <a:pt x="508" y="524"/>
                  <a:pt x="511" y="527"/>
                  <a:pt x="515" y="527"/>
                </a:cubicBezTo>
                <a:cubicBezTo>
                  <a:pt x="572" y="527"/>
                  <a:pt x="572" y="527"/>
                  <a:pt x="572" y="527"/>
                </a:cubicBezTo>
                <a:cubicBezTo>
                  <a:pt x="576" y="527"/>
                  <a:pt x="579" y="524"/>
                  <a:pt x="579" y="520"/>
                </a:cubicBezTo>
                <a:cubicBezTo>
                  <a:pt x="579" y="247"/>
                  <a:pt x="579" y="247"/>
                  <a:pt x="579" y="247"/>
                </a:cubicBezTo>
                <a:cubicBezTo>
                  <a:pt x="602" y="247"/>
                  <a:pt x="602" y="247"/>
                  <a:pt x="602" y="247"/>
                </a:cubicBezTo>
                <a:cubicBezTo>
                  <a:pt x="602" y="247"/>
                  <a:pt x="602" y="247"/>
                  <a:pt x="602" y="247"/>
                </a:cubicBezTo>
                <a:cubicBezTo>
                  <a:pt x="606" y="247"/>
                  <a:pt x="609" y="243"/>
                  <a:pt x="609" y="240"/>
                </a:cubicBezTo>
                <a:cubicBezTo>
                  <a:pt x="609" y="239"/>
                  <a:pt x="609" y="238"/>
                  <a:pt x="609" y="237"/>
                </a:cubicBezTo>
                <a:close/>
                <a:moveTo>
                  <a:pt x="185" y="233"/>
                </a:moveTo>
                <a:cubicBezTo>
                  <a:pt x="205" y="14"/>
                  <a:pt x="205" y="14"/>
                  <a:pt x="205" y="14"/>
                </a:cubicBezTo>
                <a:cubicBezTo>
                  <a:pt x="262" y="14"/>
                  <a:pt x="262" y="14"/>
                  <a:pt x="262" y="14"/>
                </a:cubicBezTo>
                <a:cubicBezTo>
                  <a:pt x="255" y="233"/>
                  <a:pt x="255" y="233"/>
                  <a:pt x="255" y="233"/>
                </a:cubicBezTo>
                <a:lnTo>
                  <a:pt x="185" y="233"/>
                </a:lnTo>
                <a:close/>
                <a:moveTo>
                  <a:pt x="100" y="233"/>
                </a:moveTo>
                <a:cubicBezTo>
                  <a:pt x="133" y="14"/>
                  <a:pt x="133" y="14"/>
                  <a:pt x="133" y="14"/>
                </a:cubicBezTo>
                <a:cubicBezTo>
                  <a:pt x="191" y="14"/>
                  <a:pt x="191" y="14"/>
                  <a:pt x="191" y="14"/>
                </a:cubicBezTo>
                <a:cubicBezTo>
                  <a:pt x="171" y="233"/>
                  <a:pt x="171" y="233"/>
                  <a:pt x="171" y="233"/>
                </a:cubicBezTo>
                <a:lnTo>
                  <a:pt x="100" y="233"/>
                </a:lnTo>
                <a:close/>
                <a:moveTo>
                  <a:pt x="276" y="14"/>
                </a:moveTo>
                <a:cubicBezTo>
                  <a:pt x="334" y="14"/>
                  <a:pt x="334" y="14"/>
                  <a:pt x="334" y="14"/>
                </a:cubicBezTo>
                <a:cubicBezTo>
                  <a:pt x="340" y="233"/>
                  <a:pt x="340" y="233"/>
                  <a:pt x="340" y="233"/>
                </a:cubicBezTo>
                <a:cubicBezTo>
                  <a:pt x="269" y="233"/>
                  <a:pt x="269" y="233"/>
                  <a:pt x="269" y="233"/>
                </a:cubicBezTo>
                <a:lnTo>
                  <a:pt x="276" y="14"/>
                </a:lnTo>
                <a:close/>
                <a:moveTo>
                  <a:pt x="354" y="233"/>
                </a:moveTo>
                <a:cubicBezTo>
                  <a:pt x="348" y="14"/>
                  <a:pt x="348" y="14"/>
                  <a:pt x="348" y="14"/>
                </a:cubicBezTo>
                <a:cubicBezTo>
                  <a:pt x="405" y="14"/>
                  <a:pt x="405" y="14"/>
                  <a:pt x="405" y="14"/>
                </a:cubicBezTo>
                <a:cubicBezTo>
                  <a:pt x="425" y="233"/>
                  <a:pt x="425" y="233"/>
                  <a:pt x="425" y="233"/>
                </a:cubicBezTo>
                <a:lnTo>
                  <a:pt x="354" y="233"/>
                </a:lnTo>
                <a:close/>
                <a:moveTo>
                  <a:pt x="439" y="233"/>
                </a:moveTo>
                <a:cubicBezTo>
                  <a:pt x="419" y="14"/>
                  <a:pt x="419" y="14"/>
                  <a:pt x="419" y="14"/>
                </a:cubicBezTo>
                <a:cubicBezTo>
                  <a:pt x="477" y="14"/>
                  <a:pt x="477" y="14"/>
                  <a:pt x="477" y="14"/>
                </a:cubicBezTo>
                <a:cubicBezTo>
                  <a:pt x="510" y="233"/>
                  <a:pt x="510" y="233"/>
                  <a:pt x="510" y="233"/>
                </a:cubicBezTo>
                <a:lnTo>
                  <a:pt x="439" y="233"/>
                </a:lnTo>
                <a:close/>
                <a:moveTo>
                  <a:pt x="62" y="14"/>
                </a:moveTo>
                <a:cubicBezTo>
                  <a:pt x="119" y="14"/>
                  <a:pt x="119" y="14"/>
                  <a:pt x="119" y="14"/>
                </a:cubicBezTo>
                <a:cubicBezTo>
                  <a:pt x="86" y="233"/>
                  <a:pt x="86" y="233"/>
                  <a:pt x="86" y="233"/>
                </a:cubicBezTo>
                <a:cubicBezTo>
                  <a:pt x="16" y="233"/>
                  <a:pt x="16" y="233"/>
                  <a:pt x="16" y="233"/>
                </a:cubicBezTo>
                <a:lnTo>
                  <a:pt x="62" y="14"/>
                </a:lnTo>
                <a:close/>
                <a:moveTo>
                  <a:pt x="565" y="513"/>
                </a:moveTo>
                <a:cubicBezTo>
                  <a:pt x="522" y="513"/>
                  <a:pt x="522" y="513"/>
                  <a:pt x="522" y="513"/>
                </a:cubicBezTo>
                <a:cubicBezTo>
                  <a:pt x="522" y="307"/>
                  <a:pt x="522" y="307"/>
                  <a:pt x="522" y="307"/>
                </a:cubicBezTo>
                <a:cubicBezTo>
                  <a:pt x="522" y="303"/>
                  <a:pt x="519" y="300"/>
                  <a:pt x="515" y="300"/>
                </a:cubicBezTo>
                <a:cubicBezTo>
                  <a:pt x="400" y="300"/>
                  <a:pt x="400" y="300"/>
                  <a:pt x="400" y="300"/>
                </a:cubicBezTo>
                <a:cubicBezTo>
                  <a:pt x="396" y="300"/>
                  <a:pt x="393" y="303"/>
                  <a:pt x="393" y="307"/>
                </a:cubicBezTo>
                <a:cubicBezTo>
                  <a:pt x="393" y="513"/>
                  <a:pt x="393" y="513"/>
                  <a:pt x="393" y="513"/>
                </a:cubicBezTo>
                <a:cubicBezTo>
                  <a:pt x="45" y="513"/>
                  <a:pt x="45" y="513"/>
                  <a:pt x="45" y="513"/>
                </a:cubicBezTo>
                <a:cubicBezTo>
                  <a:pt x="45" y="247"/>
                  <a:pt x="45" y="247"/>
                  <a:pt x="45" y="247"/>
                </a:cubicBezTo>
                <a:cubicBezTo>
                  <a:pt x="565" y="247"/>
                  <a:pt x="565" y="247"/>
                  <a:pt x="565" y="247"/>
                </a:cubicBezTo>
                <a:lnTo>
                  <a:pt x="565" y="513"/>
                </a:lnTo>
                <a:close/>
                <a:moveTo>
                  <a:pt x="524" y="233"/>
                </a:moveTo>
                <a:cubicBezTo>
                  <a:pt x="491" y="14"/>
                  <a:pt x="491" y="14"/>
                  <a:pt x="491" y="14"/>
                </a:cubicBezTo>
                <a:cubicBezTo>
                  <a:pt x="547" y="14"/>
                  <a:pt x="547" y="14"/>
                  <a:pt x="547" y="14"/>
                </a:cubicBezTo>
                <a:cubicBezTo>
                  <a:pt x="594" y="233"/>
                  <a:pt x="594" y="233"/>
                  <a:pt x="594" y="233"/>
                </a:cubicBezTo>
                <a:lnTo>
                  <a:pt x="524" y="233"/>
                </a:lnTo>
                <a:close/>
                <a:moveTo>
                  <a:pt x="344" y="300"/>
                </a:moveTo>
                <a:cubicBezTo>
                  <a:pt x="92" y="300"/>
                  <a:pt x="92" y="300"/>
                  <a:pt x="92" y="300"/>
                </a:cubicBezTo>
                <a:cubicBezTo>
                  <a:pt x="88" y="300"/>
                  <a:pt x="85" y="303"/>
                  <a:pt x="85" y="307"/>
                </a:cubicBezTo>
                <a:cubicBezTo>
                  <a:pt x="85" y="460"/>
                  <a:pt x="85" y="460"/>
                  <a:pt x="85" y="460"/>
                </a:cubicBezTo>
                <a:cubicBezTo>
                  <a:pt x="85" y="464"/>
                  <a:pt x="88" y="467"/>
                  <a:pt x="92" y="467"/>
                </a:cubicBezTo>
                <a:cubicBezTo>
                  <a:pt x="344" y="467"/>
                  <a:pt x="344" y="467"/>
                  <a:pt x="344" y="467"/>
                </a:cubicBezTo>
                <a:cubicBezTo>
                  <a:pt x="348" y="467"/>
                  <a:pt x="351" y="464"/>
                  <a:pt x="351" y="460"/>
                </a:cubicBezTo>
                <a:cubicBezTo>
                  <a:pt x="351" y="307"/>
                  <a:pt x="351" y="307"/>
                  <a:pt x="351" y="307"/>
                </a:cubicBezTo>
                <a:cubicBezTo>
                  <a:pt x="351" y="303"/>
                  <a:pt x="348" y="300"/>
                  <a:pt x="344" y="300"/>
                </a:cubicBezTo>
                <a:close/>
                <a:moveTo>
                  <a:pt x="337" y="453"/>
                </a:moveTo>
                <a:cubicBezTo>
                  <a:pt x="99" y="453"/>
                  <a:pt x="99" y="453"/>
                  <a:pt x="99" y="453"/>
                </a:cubicBezTo>
                <a:cubicBezTo>
                  <a:pt x="99" y="314"/>
                  <a:pt x="99" y="314"/>
                  <a:pt x="99" y="314"/>
                </a:cubicBezTo>
                <a:cubicBezTo>
                  <a:pt x="337" y="314"/>
                  <a:pt x="337" y="314"/>
                  <a:pt x="337" y="314"/>
                </a:cubicBezTo>
                <a:lnTo>
                  <a:pt x="337" y="45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52" name="Oval 72"/>
          <p:cNvSpPr>
            <a:spLocks noChangeArrowheads="1"/>
          </p:cNvSpPr>
          <p:nvPr/>
        </p:nvSpPr>
        <p:spPr bwMode="auto">
          <a:xfrm>
            <a:off x="7430588" y="2009724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71" name="Freeform 138"/>
          <p:cNvSpPr>
            <a:spLocks noEditPoints="1"/>
          </p:cNvSpPr>
          <p:nvPr/>
        </p:nvSpPr>
        <p:spPr bwMode="auto">
          <a:xfrm>
            <a:off x="7535248" y="2114497"/>
            <a:ext cx="613642" cy="614309"/>
          </a:xfrm>
          <a:custGeom>
            <a:avLst/>
            <a:gdLst>
              <a:gd name="T0" fmla="*/ 417 w 793"/>
              <a:gd name="T1" fmla="*/ 113 h 792"/>
              <a:gd name="T2" fmla="*/ 793 w 793"/>
              <a:gd name="T3" fmla="*/ 396 h 792"/>
              <a:gd name="T4" fmla="*/ 773 w 793"/>
              <a:gd name="T5" fmla="*/ 273 h 792"/>
              <a:gd name="T6" fmla="*/ 425 w 793"/>
              <a:gd name="T7" fmla="*/ 1 h 792"/>
              <a:gd name="T8" fmla="*/ 369 w 793"/>
              <a:gd name="T9" fmla="*/ 1 h 792"/>
              <a:gd name="T10" fmla="*/ 29 w 793"/>
              <a:gd name="T11" fmla="*/ 251 h 792"/>
              <a:gd name="T12" fmla="*/ 2 w 793"/>
              <a:gd name="T13" fmla="*/ 392 h 792"/>
              <a:gd name="T14" fmla="*/ 105 w 793"/>
              <a:gd name="T15" fmla="*/ 662 h 792"/>
              <a:gd name="T16" fmla="*/ 587 w 793"/>
              <a:gd name="T17" fmla="*/ 647 h 792"/>
              <a:gd name="T18" fmla="*/ 695 w 793"/>
              <a:gd name="T19" fmla="*/ 600 h 792"/>
              <a:gd name="T20" fmla="*/ 233 w 793"/>
              <a:gd name="T21" fmla="*/ 714 h 792"/>
              <a:gd name="T22" fmla="*/ 206 w 793"/>
              <a:gd name="T23" fmla="*/ 634 h 792"/>
              <a:gd name="T24" fmla="*/ 23 w 793"/>
              <a:gd name="T25" fmla="*/ 319 h 792"/>
              <a:gd name="T26" fmla="*/ 16 w 793"/>
              <a:gd name="T27" fmla="*/ 403 h 792"/>
              <a:gd name="T28" fmla="*/ 134 w 793"/>
              <a:gd name="T29" fmla="*/ 425 h 792"/>
              <a:gd name="T30" fmla="*/ 35 w 793"/>
              <a:gd name="T31" fmla="*/ 276 h 792"/>
              <a:gd name="T32" fmla="*/ 273 w 793"/>
              <a:gd name="T33" fmla="*/ 195 h 792"/>
              <a:gd name="T34" fmla="*/ 116 w 793"/>
              <a:gd name="T35" fmla="*/ 374 h 792"/>
              <a:gd name="T36" fmla="*/ 254 w 793"/>
              <a:gd name="T37" fmla="*/ 648 h 792"/>
              <a:gd name="T38" fmla="*/ 226 w 793"/>
              <a:gd name="T39" fmla="*/ 55 h 792"/>
              <a:gd name="T40" fmla="*/ 443 w 793"/>
              <a:gd name="T41" fmla="*/ 17 h 792"/>
              <a:gd name="T42" fmla="*/ 335 w 793"/>
              <a:gd name="T43" fmla="*/ 115 h 792"/>
              <a:gd name="T44" fmla="*/ 764 w 793"/>
              <a:gd name="T45" fmla="*/ 289 h 792"/>
              <a:gd name="T46" fmla="*/ 676 w 793"/>
              <a:gd name="T47" fmla="*/ 524 h 792"/>
              <a:gd name="T48" fmla="*/ 547 w 793"/>
              <a:gd name="T49" fmla="*/ 438 h 792"/>
              <a:gd name="T50" fmla="*/ 477 w 793"/>
              <a:gd name="T51" fmla="*/ 266 h 792"/>
              <a:gd name="T52" fmla="*/ 573 w 793"/>
              <a:gd name="T53" fmla="*/ 295 h 792"/>
              <a:gd name="T54" fmla="*/ 671 w 793"/>
              <a:gd name="T55" fmla="*/ 297 h 792"/>
              <a:gd name="T56" fmla="*/ 567 w 793"/>
              <a:gd name="T57" fmla="*/ 202 h 792"/>
              <a:gd name="T58" fmla="*/ 502 w 793"/>
              <a:gd name="T59" fmla="*/ 240 h 792"/>
              <a:gd name="T60" fmla="*/ 526 w 793"/>
              <a:gd name="T61" fmla="*/ 182 h 792"/>
              <a:gd name="T62" fmla="*/ 728 w 793"/>
              <a:gd name="T63" fmla="*/ 389 h 792"/>
              <a:gd name="T64" fmla="*/ 308 w 793"/>
              <a:gd name="T65" fmla="*/ 612 h 792"/>
              <a:gd name="T66" fmla="*/ 266 w 793"/>
              <a:gd name="T67" fmla="*/ 144 h 792"/>
              <a:gd name="T68" fmla="*/ 292 w 793"/>
              <a:gd name="T69" fmla="*/ 130 h 792"/>
              <a:gd name="T70" fmla="*/ 517 w 793"/>
              <a:gd name="T71" fmla="*/ 123 h 792"/>
              <a:gd name="T72" fmla="*/ 426 w 793"/>
              <a:gd name="T73" fmla="*/ 72 h 792"/>
              <a:gd name="T74" fmla="*/ 461 w 793"/>
              <a:gd name="T75" fmla="*/ 259 h 792"/>
              <a:gd name="T76" fmla="*/ 477 w 793"/>
              <a:gd name="T77" fmla="*/ 153 h 792"/>
              <a:gd name="T78" fmla="*/ 404 w 793"/>
              <a:gd name="T79" fmla="*/ 389 h 792"/>
              <a:gd name="T80" fmla="*/ 390 w 793"/>
              <a:gd name="T81" fmla="*/ 273 h 792"/>
              <a:gd name="T82" fmla="*/ 492 w 793"/>
              <a:gd name="T83" fmla="*/ 168 h 792"/>
              <a:gd name="T84" fmla="*/ 460 w 793"/>
              <a:gd name="T85" fmla="*/ 149 h 792"/>
              <a:gd name="T86" fmla="*/ 523 w 793"/>
              <a:gd name="T87" fmla="*/ 168 h 792"/>
              <a:gd name="T88" fmla="*/ 390 w 793"/>
              <a:gd name="T89" fmla="*/ 130 h 792"/>
              <a:gd name="T90" fmla="*/ 206 w 793"/>
              <a:gd name="T91" fmla="*/ 273 h 792"/>
              <a:gd name="T92" fmla="*/ 154 w 793"/>
              <a:gd name="T93" fmla="*/ 333 h 792"/>
              <a:gd name="T94" fmla="*/ 430 w 793"/>
              <a:gd name="T95" fmla="*/ 403 h 792"/>
              <a:gd name="T96" fmla="*/ 404 w 793"/>
              <a:gd name="T97" fmla="*/ 403 h 792"/>
              <a:gd name="T98" fmla="*/ 550 w 793"/>
              <a:gd name="T99" fmla="*/ 244 h 792"/>
              <a:gd name="T100" fmla="*/ 571 w 793"/>
              <a:gd name="T101" fmla="*/ 255 h 792"/>
              <a:gd name="T102" fmla="*/ 596 w 793"/>
              <a:gd name="T103" fmla="*/ 253 h 792"/>
              <a:gd name="T104" fmla="*/ 661 w 793"/>
              <a:gd name="T105" fmla="*/ 287 h 792"/>
              <a:gd name="T106" fmla="*/ 529 w 793"/>
              <a:gd name="T107" fmla="*/ 96 h 792"/>
              <a:gd name="T108" fmla="*/ 404 w 793"/>
              <a:gd name="T109" fmla="*/ 662 h 792"/>
              <a:gd name="T110" fmla="*/ 556 w 793"/>
              <a:gd name="T111" fmla="*/ 570 h 792"/>
              <a:gd name="T112" fmla="*/ 712 w 793"/>
              <a:gd name="T113" fmla="*/ 533 h 792"/>
              <a:gd name="T114" fmla="*/ 697 w 793"/>
              <a:gd name="T115" fmla="*/ 486 h 792"/>
              <a:gd name="T116" fmla="*/ 222 w 793"/>
              <a:gd name="T117" fmla="*/ 723 h 792"/>
              <a:gd name="T118" fmla="*/ 547 w 793"/>
              <a:gd name="T119" fmla="*/ 662 h 7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93" h="792">
                <a:moveTo>
                  <a:pt x="417" y="113"/>
                </a:moveTo>
                <a:cubicBezTo>
                  <a:pt x="421" y="123"/>
                  <a:pt x="440" y="126"/>
                  <a:pt x="449" y="126"/>
                </a:cubicBezTo>
                <a:cubicBezTo>
                  <a:pt x="449" y="126"/>
                  <a:pt x="449" y="126"/>
                  <a:pt x="449" y="126"/>
                </a:cubicBezTo>
                <a:cubicBezTo>
                  <a:pt x="458" y="126"/>
                  <a:pt x="464" y="124"/>
                  <a:pt x="468" y="119"/>
                </a:cubicBezTo>
                <a:cubicBezTo>
                  <a:pt x="470" y="116"/>
                  <a:pt x="471" y="112"/>
                  <a:pt x="469" y="108"/>
                </a:cubicBezTo>
                <a:cubicBezTo>
                  <a:pt x="466" y="97"/>
                  <a:pt x="458" y="91"/>
                  <a:pt x="446" y="91"/>
                </a:cubicBezTo>
                <a:cubicBezTo>
                  <a:pt x="437" y="91"/>
                  <a:pt x="426" y="95"/>
                  <a:pt x="419" y="101"/>
                </a:cubicBezTo>
                <a:cubicBezTo>
                  <a:pt x="416" y="105"/>
                  <a:pt x="415" y="109"/>
                  <a:pt x="417" y="113"/>
                </a:cubicBezTo>
                <a:close/>
                <a:moveTo>
                  <a:pt x="446" y="105"/>
                </a:moveTo>
                <a:cubicBezTo>
                  <a:pt x="453" y="105"/>
                  <a:pt x="455" y="108"/>
                  <a:pt x="456" y="111"/>
                </a:cubicBezTo>
                <a:cubicBezTo>
                  <a:pt x="455" y="112"/>
                  <a:pt x="453" y="112"/>
                  <a:pt x="449" y="112"/>
                </a:cubicBezTo>
                <a:cubicBezTo>
                  <a:pt x="449" y="112"/>
                  <a:pt x="449" y="112"/>
                  <a:pt x="449" y="112"/>
                </a:cubicBezTo>
                <a:cubicBezTo>
                  <a:pt x="443" y="112"/>
                  <a:pt x="436" y="110"/>
                  <a:pt x="432" y="109"/>
                </a:cubicBezTo>
                <a:cubicBezTo>
                  <a:pt x="436" y="107"/>
                  <a:pt x="441" y="105"/>
                  <a:pt x="446" y="105"/>
                </a:cubicBezTo>
                <a:close/>
                <a:moveTo>
                  <a:pt x="771" y="527"/>
                </a:moveTo>
                <a:cubicBezTo>
                  <a:pt x="785" y="486"/>
                  <a:pt x="793" y="442"/>
                  <a:pt x="793" y="396"/>
                </a:cubicBezTo>
                <a:cubicBezTo>
                  <a:pt x="793" y="371"/>
                  <a:pt x="790" y="346"/>
                  <a:pt x="786" y="321"/>
                </a:cubicBezTo>
                <a:cubicBezTo>
                  <a:pt x="786" y="321"/>
                  <a:pt x="786" y="321"/>
                  <a:pt x="786" y="321"/>
                </a:cubicBezTo>
                <a:cubicBezTo>
                  <a:pt x="786" y="321"/>
                  <a:pt x="786" y="320"/>
                  <a:pt x="786" y="320"/>
                </a:cubicBezTo>
                <a:cubicBezTo>
                  <a:pt x="785" y="315"/>
                  <a:pt x="783" y="310"/>
                  <a:pt x="782" y="305"/>
                </a:cubicBezTo>
                <a:cubicBezTo>
                  <a:pt x="782" y="303"/>
                  <a:pt x="782" y="302"/>
                  <a:pt x="781" y="301"/>
                </a:cubicBezTo>
                <a:cubicBezTo>
                  <a:pt x="780" y="296"/>
                  <a:pt x="779" y="292"/>
                  <a:pt x="778" y="287"/>
                </a:cubicBezTo>
                <a:cubicBezTo>
                  <a:pt x="777" y="285"/>
                  <a:pt x="777" y="283"/>
                  <a:pt x="776" y="281"/>
                </a:cubicBezTo>
                <a:cubicBezTo>
                  <a:pt x="775" y="278"/>
                  <a:pt x="774" y="275"/>
                  <a:pt x="773" y="273"/>
                </a:cubicBezTo>
                <a:cubicBezTo>
                  <a:pt x="772" y="269"/>
                  <a:pt x="771" y="265"/>
                  <a:pt x="769" y="261"/>
                </a:cubicBezTo>
                <a:cubicBezTo>
                  <a:pt x="769" y="260"/>
                  <a:pt x="769" y="259"/>
                  <a:pt x="768" y="258"/>
                </a:cubicBezTo>
                <a:cubicBezTo>
                  <a:pt x="742" y="186"/>
                  <a:pt x="694" y="123"/>
                  <a:pt x="631" y="77"/>
                </a:cubicBezTo>
                <a:cubicBezTo>
                  <a:pt x="631" y="77"/>
                  <a:pt x="630" y="76"/>
                  <a:pt x="630" y="76"/>
                </a:cubicBezTo>
                <a:cubicBezTo>
                  <a:pt x="578" y="38"/>
                  <a:pt x="517" y="13"/>
                  <a:pt x="451" y="4"/>
                </a:cubicBezTo>
                <a:cubicBezTo>
                  <a:pt x="451" y="4"/>
                  <a:pt x="451" y="4"/>
                  <a:pt x="451" y="4"/>
                </a:cubicBezTo>
                <a:cubicBezTo>
                  <a:pt x="450" y="4"/>
                  <a:pt x="450" y="4"/>
                  <a:pt x="450" y="4"/>
                </a:cubicBezTo>
                <a:cubicBezTo>
                  <a:pt x="442" y="3"/>
                  <a:pt x="433" y="2"/>
                  <a:pt x="425" y="1"/>
                </a:cubicBezTo>
                <a:cubicBezTo>
                  <a:pt x="424" y="1"/>
                  <a:pt x="423" y="1"/>
                  <a:pt x="423" y="1"/>
                </a:cubicBezTo>
                <a:cubicBezTo>
                  <a:pt x="419" y="1"/>
                  <a:pt x="416" y="1"/>
                  <a:pt x="412" y="1"/>
                </a:cubicBezTo>
                <a:cubicBezTo>
                  <a:pt x="411" y="1"/>
                  <a:pt x="410" y="1"/>
                  <a:pt x="410" y="1"/>
                </a:cubicBezTo>
                <a:cubicBezTo>
                  <a:pt x="405" y="0"/>
                  <a:pt x="401" y="0"/>
                  <a:pt x="397" y="0"/>
                </a:cubicBezTo>
                <a:cubicBezTo>
                  <a:pt x="394" y="0"/>
                  <a:pt x="390" y="0"/>
                  <a:pt x="387" y="0"/>
                </a:cubicBezTo>
                <a:cubicBezTo>
                  <a:pt x="385" y="1"/>
                  <a:pt x="383" y="1"/>
                  <a:pt x="381" y="1"/>
                </a:cubicBezTo>
                <a:cubicBezTo>
                  <a:pt x="380" y="1"/>
                  <a:pt x="378" y="1"/>
                  <a:pt x="376" y="1"/>
                </a:cubicBezTo>
                <a:cubicBezTo>
                  <a:pt x="374" y="1"/>
                  <a:pt x="371" y="1"/>
                  <a:pt x="369" y="1"/>
                </a:cubicBezTo>
                <a:cubicBezTo>
                  <a:pt x="368" y="1"/>
                  <a:pt x="367" y="1"/>
                  <a:pt x="366" y="2"/>
                </a:cubicBezTo>
                <a:cubicBezTo>
                  <a:pt x="363" y="2"/>
                  <a:pt x="360" y="2"/>
                  <a:pt x="357" y="2"/>
                </a:cubicBezTo>
                <a:cubicBezTo>
                  <a:pt x="357" y="2"/>
                  <a:pt x="357" y="2"/>
                  <a:pt x="357" y="2"/>
                </a:cubicBezTo>
                <a:cubicBezTo>
                  <a:pt x="310" y="7"/>
                  <a:pt x="265" y="20"/>
                  <a:pt x="223" y="41"/>
                </a:cubicBezTo>
                <a:cubicBezTo>
                  <a:pt x="223" y="41"/>
                  <a:pt x="222" y="41"/>
                  <a:pt x="222" y="41"/>
                </a:cubicBezTo>
                <a:cubicBezTo>
                  <a:pt x="206" y="49"/>
                  <a:pt x="190" y="58"/>
                  <a:pt x="175" y="69"/>
                </a:cubicBezTo>
                <a:cubicBezTo>
                  <a:pt x="175" y="69"/>
                  <a:pt x="175" y="69"/>
                  <a:pt x="175" y="69"/>
                </a:cubicBezTo>
                <a:cubicBezTo>
                  <a:pt x="109" y="114"/>
                  <a:pt x="58" y="177"/>
                  <a:pt x="29" y="251"/>
                </a:cubicBezTo>
                <a:cubicBezTo>
                  <a:pt x="29" y="251"/>
                  <a:pt x="29" y="252"/>
                  <a:pt x="28" y="253"/>
                </a:cubicBezTo>
                <a:cubicBezTo>
                  <a:pt x="27" y="258"/>
                  <a:pt x="25" y="262"/>
                  <a:pt x="23" y="267"/>
                </a:cubicBezTo>
                <a:cubicBezTo>
                  <a:pt x="22" y="269"/>
                  <a:pt x="22" y="271"/>
                  <a:pt x="21" y="273"/>
                </a:cubicBezTo>
                <a:cubicBezTo>
                  <a:pt x="20" y="277"/>
                  <a:pt x="19" y="280"/>
                  <a:pt x="18" y="283"/>
                </a:cubicBezTo>
                <a:cubicBezTo>
                  <a:pt x="17" y="286"/>
                  <a:pt x="16" y="289"/>
                  <a:pt x="15" y="292"/>
                </a:cubicBezTo>
                <a:cubicBezTo>
                  <a:pt x="15" y="293"/>
                  <a:pt x="15" y="295"/>
                  <a:pt x="14" y="296"/>
                </a:cubicBezTo>
                <a:cubicBezTo>
                  <a:pt x="14" y="296"/>
                  <a:pt x="14" y="296"/>
                  <a:pt x="14" y="296"/>
                </a:cubicBezTo>
                <a:cubicBezTo>
                  <a:pt x="6" y="327"/>
                  <a:pt x="2" y="359"/>
                  <a:pt x="2" y="392"/>
                </a:cubicBezTo>
                <a:cubicBezTo>
                  <a:pt x="1" y="393"/>
                  <a:pt x="0" y="394"/>
                  <a:pt x="0" y="396"/>
                </a:cubicBezTo>
                <a:cubicBezTo>
                  <a:pt x="0" y="397"/>
                  <a:pt x="1" y="399"/>
                  <a:pt x="2" y="400"/>
                </a:cubicBezTo>
                <a:cubicBezTo>
                  <a:pt x="2" y="444"/>
                  <a:pt x="10" y="486"/>
                  <a:pt x="23" y="525"/>
                </a:cubicBezTo>
                <a:cubicBezTo>
                  <a:pt x="23" y="525"/>
                  <a:pt x="23" y="525"/>
                  <a:pt x="23" y="526"/>
                </a:cubicBezTo>
                <a:cubicBezTo>
                  <a:pt x="23" y="528"/>
                  <a:pt x="24" y="529"/>
                  <a:pt x="25" y="531"/>
                </a:cubicBezTo>
                <a:cubicBezTo>
                  <a:pt x="42" y="577"/>
                  <a:pt x="67" y="619"/>
                  <a:pt x="98" y="655"/>
                </a:cubicBezTo>
                <a:cubicBezTo>
                  <a:pt x="98" y="655"/>
                  <a:pt x="98" y="655"/>
                  <a:pt x="98" y="655"/>
                </a:cubicBezTo>
                <a:cubicBezTo>
                  <a:pt x="98" y="659"/>
                  <a:pt x="101" y="662"/>
                  <a:pt x="105" y="662"/>
                </a:cubicBezTo>
                <a:cubicBezTo>
                  <a:pt x="177" y="742"/>
                  <a:pt x="281" y="792"/>
                  <a:pt x="397" y="792"/>
                </a:cubicBezTo>
                <a:cubicBezTo>
                  <a:pt x="569" y="792"/>
                  <a:pt x="715" y="682"/>
                  <a:pt x="770" y="529"/>
                </a:cubicBezTo>
                <a:cubicBezTo>
                  <a:pt x="770" y="528"/>
                  <a:pt x="771" y="527"/>
                  <a:pt x="771" y="527"/>
                </a:cubicBezTo>
                <a:close/>
                <a:moveTo>
                  <a:pt x="684" y="648"/>
                </a:moveTo>
                <a:cubicBezTo>
                  <a:pt x="553" y="648"/>
                  <a:pt x="553" y="648"/>
                  <a:pt x="553" y="648"/>
                </a:cubicBezTo>
                <a:cubicBezTo>
                  <a:pt x="555" y="643"/>
                  <a:pt x="557" y="637"/>
                  <a:pt x="559" y="632"/>
                </a:cubicBezTo>
                <a:cubicBezTo>
                  <a:pt x="560" y="634"/>
                  <a:pt x="562" y="636"/>
                  <a:pt x="563" y="638"/>
                </a:cubicBezTo>
                <a:cubicBezTo>
                  <a:pt x="569" y="644"/>
                  <a:pt x="577" y="647"/>
                  <a:pt x="587" y="647"/>
                </a:cubicBezTo>
                <a:cubicBezTo>
                  <a:pt x="587" y="647"/>
                  <a:pt x="587" y="647"/>
                  <a:pt x="587" y="647"/>
                </a:cubicBezTo>
                <a:cubicBezTo>
                  <a:pt x="594" y="647"/>
                  <a:pt x="600" y="646"/>
                  <a:pt x="608" y="644"/>
                </a:cubicBezTo>
                <a:cubicBezTo>
                  <a:pt x="661" y="630"/>
                  <a:pt x="680" y="578"/>
                  <a:pt x="689" y="533"/>
                </a:cubicBezTo>
                <a:cubicBezTo>
                  <a:pt x="695" y="533"/>
                  <a:pt x="695" y="533"/>
                  <a:pt x="695" y="533"/>
                </a:cubicBezTo>
                <a:cubicBezTo>
                  <a:pt x="688" y="546"/>
                  <a:pt x="684" y="564"/>
                  <a:pt x="683" y="564"/>
                </a:cubicBezTo>
                <a:cubicBezTo>
                  <a:pt x="679" y="583"/>
                  <a:pt x="681" y="594"/>
                  <a:pt x="689" y="598"/>
                </a:cubicBezTo>
                <a:cubicBezTo>
                  <a:pt x="691" y="599"/>
                  <a:pt x="693" y="600"/>
                  <a:pt x="695" y="600"/>
                </a:cubicBezTo>
                <a:cubicBezTo>
                  <a:pt x="695" y="600"/>
                  <a:pt x="695" y="600"/>
                  <a:pt x="695" y="600"/>
                </a:cubicBezTo>
                <a:cubicBezTo>
                  <a:pt x="713" y="600"/>
                  <a:pt x="723" y="562"/>
                  <a:pt x="725" y="544"/>
                </a:cubicBezTo>
                <a:cubicBezTo>
                  <a:pt x="726" y="540"/>
                  <a:pt x="726" y="536"/>
                  <a:pt x="726" y="533"/>
                </a:cubicBezTo>
                <a:cubicBezTo>
                  <a:pt x="754" y="533"/>
                  <a:pt x="754" y="533"/>
                  <a:pt x="754" y="533"/>
                </a:cubicBezTo>
                <a:cubicBezTo>
                  <a:pt x="737" y="575"/>
                  <a:pt x="713" y="614"/>
                  <a:pt x="684" y="648"/>
                </a:cubicBezTo>
                <a:close/>
                <a:moveTo>
                  <a:pt x="244" y="710"/>
                </a:moveTo>
                <a:cubicBezTo>
                  <a:pt x="248" y="717"/>
                  <a:pt x="248" y="720"/>
                  <a:pt x="248" y="721"/>
                </a:cubicBezTo>
                <a:cubicBezTo>
                  <a:pt x="248" y="721"/>
                  <a:pt x="247" y="721"/>
                  <a:pt x="246" y="721"/>
                </a:cubicBezTo>
                <a:cubicBezTo>
                  <a:pt x="242" y="721"/>
                  <a:pt x="236" y="718"/>
                  <a:pt x="233" y="714"/>
                </a:cubicBezTo>
                <a:cubicBezTo>
                  <a:pt x="224" y="704"/>
                  <a:pt x="221" y="684"/>
                  <a:pt x="221" y="662"/>
                </a:cubicBezTo>
                <a:cubicBezTo>
                  <a:pt x="245" y="662"/>
                  <a:pt x="245" y="662"/>
                  <a:pt x="245" y="662"/>
                </a:cubicBezTo>
                <a:cubicBezTo>
                  <a:pt x="237" y="678"/>
                  <a:pt x="234" y="694"/>
                  <a:pt x="244" y="710"/>
                </a:cubicBezTo>
                <a:close/>
                <a:moveTo>
                  <a:pt x="41" y="533"/>
                </a:moveTo>
                <a:cubicBezTo>
                  <a:pt x="159" y="533"/>
                  <a:pt x="159" y="533"/>
                  <a:pt x="159" y="533"/>
                </a:cubicBezTo>
                <a:cubicBezTo>
                  <a:pt x="166" y="543"/>
                  <a:pt x="176" y="552"/>
                  <a:pt x="185" y="559"/>
                </a:cubicBezTo>
                <a:cubicBezTo>
                  <a:pt x="190" y="564"/>
                  <a:pt x="196" y="569"/>
                  <a:pt x="199" y="573"/>
                </a:cubicBezTo>
                <a:cubicBezTo>
                  <a:pt x="206" y="582"/>
                  <a:pt x="206" y="608"/>
                  <a:pt x="206" y="634"/>
                </a:cubicBezTo>
                <a:cubicBezTo>
                  <a:pt x="206" y="638"/>
                  <a:pt x="206" y="643"/>
                  <a:pt x="206" y="648"/>
                </a:cubicBezTo>
                <a:cubicBezTo>
                  <a:pt x="111" y="648"/>
                  <a:pt x="111" y="648"/>
                  <a:pt x="111" y="648"/>
                </a:cubicBezTo>
                <a:cubicBezTo>
                  <a:pt x="81" y="614"/>
                  <a:pt x="57" y="575"/>
                  <a:pt x="41" y="533"/>
                </a:cubicBezTo>
                <a:close/>
                <a:moveTo>
                  <a:pt x="23" y="319"/>
                </a:moveTo>
                <a:cubicBezTo>
                  <a:pt x="30" y="332"/>
                  <a:pt x="34" y="343"/>
                  <a:pt x="35" y="351"/>
                </a:cubicBezTo>
                <a:cubicBezTo>
                  <a:pt x="38" y="365"/>
                  <a:pt x="55" y="377"/>
                  <a:pt x="74" y="389"/>
                </a:cubicBezTo>
                <a:cubicBezTo>
                  <a:pt x="16" y="389"/>
                  <a:pt x="16" y="389"/>
                  <a:pt x="16" y="389"/>
                </a:cubicBezTo>
                <a:cubicBezTo>
                  <a:pt x="16" y="365"/>
                  <a:pt x="19" y="341"/>
                  <a:pt x="23" y="319"/>
                </a:cubicBezTo>
                <a:close/>
                <a:moveTo>
                  <a:pt x="97" y="403"/>
                </a:moveTo>
                <a:cubicBezTo>
                  <a:pt x="109" y="411"/>
                  <a:pt x="119" y="419"/>
                  <a:pt x="120" y="425"/>
                </a:cubicBezTo>
                <a:cubicBezTo>
                  <a:pt x="120" y="443"/>
                  <a:pt x="136" y="444"/>
                  <a:pt x="144" y="444"/>
                </a:cubicBezTo>
                <a:cubicBezTo>
                  <a:pt x="146" y="444"/>
                  <a:pt x="149" y="444"/>
                  <a:pt x="151" y="444"/>
                </a:cubicBezTo>
                <a:cubicBezTo>
                  <a:pt x="151" y="445"/>
                  <a:pt x="151" y="447"/>
                  <a:pt x="150" y="450"/>
                </a:cubicBezTo>
                <a:cubicBezTo>
                  <a:pt x="140" y="480"/>
                  <a:pt x="142" y="502"/>
                  <a:pt x="150" y="519"/>
                </a:cubicBezTo>
                <a:cubicBezTo>
                  <a:pt x="36" y="519"/>
                  <a:pt x="36" y="519"/>
                  <a:pt x="36" y="519"/>
                </a:cubicBezTo>
                <a:cubicBezTo>
                  <a:pt x="23" y="482"/>
                  <a:pt x="16" y="443"/>
                  <a:pt x="16" y="403"/>
                </a:cubicBezTo>
                <a:lnTo>
                  <a:pt x="97" y="403"/>
                </a:lnTo>
                <a:close/>
                <a:moveTo>
                  <a:pt x="220" y="634"/>
                </a:moveTo>
                <a:cubicBezTo>
                  <a:pt x="220" y="603"/>
                  <a:pt x="220" y="577"/>
                  <a:pt x="210" y="564"/>
                </a:cubicBezTo>
                <a:cubicBezTo>
                  <a:pt x="206" y="559"/>
                  <a:pt x="200" y="554"/>
                  <a:pt x="194" y="549"/>
                </a:cubicBezTo>
                <a:cubicBezTo>
                  <a:pt x="171" y="529"/>
                  <a:pt x="146" y="507"/>
                  <a:pt x="163" y="454"/>
                </a:cubicBezTo>
                <a:cubicBezTo>
                  <a:pt x="165" y="449"/>
                  <a:pt x="167" y="442"/>
                  <a:pt x="162" y="436"/>
                </a:cubicBezTo>
                <a:cubicBezTo>
                  <a:pt x="158" y="430"/>
                  <a:pt x="150" y="430"/>
                  <a:pt x="144" y="430"/>
                </a:cubicBezTo>
                <a:cubicBezTo>
                  <a:pt x="134" y="429"/>
                  <a:pt x="134" y="428"/>
                  <a:pt x="134" y="425"/>
                </a:cubicBezTo>
                <a:cubicBezTo>
                  <a:pt x="133" y="412"/>
                  <a:pt x="120" y="401"/>
                  <a:pt x="103" y="390"/>
                </a:cubicBezTo>
                <a:cubicBezTo>
                  <a:pt x="103" y="390"/>
                  <a:pt x="103" y="390"/>
                  <a:pt x="103" y="390"/>
                </a:cubicBezTo>
                <a:cubicBezTo>
                  <a:pt x="98" y="387"/>
                  <a:pt x="94" y="384"/>
                  <a:pt x="89" y="382"/>
                </a:cubicBezTo>
                <a:cubicBezTo>
                  <a:pt x="72" y="371"/>
                  <a:pt x="51" y="358"/>
                  <a:pt x="49" y="349"/>
                </a:cubicBezTo>
                <a:cubicBezTo>
                  <a:pt x="47" y="336"/>
                  <a:pt x="40" y="319"/>
                  <a:pt x="29" y="297"/>
                </a:cubicBezTo>
                <a:cubicBezTo>
                  <a:pt x="29" y="296"/>
                  <a:pt x="29" y="295"/>
                  <a:pt x="30" y="293"/>
                </a:cubicBezTo>
                <a:cubicBezTo>
                  <a:pt x="30" y="291"/>
                  <a:pt x="31" y="288"/>
                  <a:pt x="32" y="285"/>
                </a:cubicBezTo>
                <a:cubicBezTo>
                  <a:pt x="33" y="282"/>
                  <a:pt x="34" y="279"/>
                  <a:pt x="35" y="276"/>
                </a:cubicBezTo>
                <a:cubicBezTo>
                  <a:pt x="36" y="274"/>
                  <a:pt x="36" y="273"/>
                  <a:pt x="37" y="271"/>
                </a:cubicBezTo>
                <a:cubicBezTo>
                  <a:pt x="38" y="266"/>
                  <a:pt x="40" y="262"/>
                  <a:pt x="42" y="257"/>
                </a:cubicBezTo>
                <a:cubicBezTo>
                  <a:pt x="42" y="257"/>
                  <a:pt x="42" y="256"/>
                  <a:pt x="42" y="256"/>
                </a:cubicBezTo>
                <a:cubicBezTo>
                  <a:pt x="70" y="186"/>
                  <a:pt x="118" y="126"/>
                  <a:pt x="178" y="84"/>
                </a:cubicBezTo>
                <a:cubicBezTo>
                  <a:pt x="208" y="107"/>
                  <a:pt x="230" y="127"/>
                  <a:pt x="246" y="144"/>
                </a:cubicBezTo>
                <a:cubicBezTo>
                  <a:pt x="246" y="144"/>
                  <a:pt x="247" y="144"/>
                  <a:pt x="247" y="144"/>
                </a:cubicBezTo>
                <a:cubicBezTo>
                  <a:pt x="271" y="168"/>
                  <a:pt x="281" y="184"/>
                  <a:pt x="279" y="191"/>
                </a:cubicBezTo>
                <a:cubicBezTo>
                  <a:pt x="279" y="193"/>
                  <a:pt x="276" y="194"/>
                  <a:pt x="273" y="195"/>
                </a:cubicBezTo>
                <a:cubicBezTo>
                  <a:pt x="212" y="206"/>
                  <a:pt x="173" y="230"/>
                  <a:pt x="158" y="263"/>
                </a:cubicBezTo>
                <a:cubicBezTo>
                  <a:pt x="150" y="280"/>
                  <a:pt x="152" y="297"/>
                  <a:pt x="154" y="309"/>
                </a:cubicBezTo>
                <a:cubicBezTo>
                  <a:pt x="154" y="312"/>
                  <a:pt x="155" y="317"/>
                  <a:pt x="154" y="319"/>
                </a:cubicBezTo>
                <a:cubicBezTo>
                  <a:pt x="153" y="319"/>
                  <a:pt x="152" y="319"/>
                  <a:pt x="150" y="311"/>
                </a:cubicBezTo>
                <a:cubicBezTo>
                  <a:pt x="148" y="300"/>
                  <a:pt x="143" y="282"/>
                  <a:pt x="117" y="282"/>
                </a:cubicBezTo>
                <a:cubicBezTo>
                  <a:pt x="83" y="282"/>
                  <a:pt x="71" y="310"/>
                  <a:pt x="71" y="334"/>
                </a:cubicBezTo>
                <a:cubicBezTo>
                  <a:pt x="71" y="344"/>
                  <a:pt x="75" y="354"/>
                  <a:pt x="83" y="361"/>
                </a:cubicBezTo>
                <a:cubicBezTo>
                  <a:pt x="91" y="369"/>
                  <a:pt x="103" y="374"/>
                  <a:pt x="116" y="374"/>
                </a:cubicBezTo>
                <a:cubicBezTo>
                  <a:pt x="124" y="374"/>
                  <a:pt x="127" y="384"/>
                  <a:pt x="131" y="399"/>
                </a:cubicBezTo>
                <a:cubicBezTo>
                  <a:pt x="134" y="411"/>
                  <a:pt x="138" y="424"/>
                  <a:pt x="150" y="424"/>
                </a:cubicBezTo>
                <a:cubicBezTo>
                  <a:pt x="154" y="424"/>
                  <a:pt x="160" y="422"/>
                  <a:pt x="168" y="421"/>
                </a:cubicBezTo>
                <a:cubicBezTo>
                  <a:pt x="179" y="418"/>
                  <a:pt x="192" y="415"/>
                  <a:pt x="207" y="415"/>
                </a:cubicBezTo>
                <a:cubicBezTo>
                  <a:pt x="219" y="415"/>
                  <a:pt x="229" y="417"/>
                  <a:pt x="239" y="422"/>
                </a:cubicBezTo>
                <a:cubicBezTo>
                  <a:pt x="290" y="444"/>
                  <a:pt x="370" y="494"/>
                  <a:pt x="351" y="539"/>
                </a:cubicBezTo>
                <a:cubicBezTo>
                  <a:pt x="342" y="559"/>
                  <a:pt x="320" y="581"/>
                  <a:pt x="298" y="602"/>
                </a:cubicBezTo>
                <a:cubicBezTo>
                  <a:pt x="282" y="617"/>
                  <a:pt x="266" y="633"/>
                  <a:pt x="254" y="648"/>
                </a:cubicBezTo>
                <a:cubicBezTo>
                  <a:pt x="220" y="648"/>
                  <a:pt x="220" y="648"/>
                  <a:pt x="220" y="648"/>
                </a:cubicBezTo>
                <a:cubicBezTo>
                  <a:pt x="220" y="643"/>
                  <a:pt x="220" y="638"/>
                  <a:pt x="220" y="634"/>
                </a:cubicBezTo>
                <a:close/>
                <a:moveTo>
                  <a:pt x="226" y="55"/>
                </a:moveTo>
                <a:cubicBezTo>
                  <a:pt x="261" y="68"/>
                  <a:pt x="262" y="75"/>
                  <a:pt x="262" y="75"/>
                </a:cubicBezTo>
                <a:cubicBezTo>
                  <a:pt x="262" y="80"/>
                  <a:pt x="264" y="87"/>
                  <a:pt x="267" y="94"/>
                </a:cubicBezTo>
                <a:cubicBezTo>
                  <a:pt x="261" y="104"/>
                  <a:pt x="255" y="115"/>
                  <a:pt x="249" y="127"/>
                </a:cubicBezTo>
                <a:cubicBezTo>
                  <a:pt x="234" y="112"/>
                  <a:pt x="214" y="94"/>
                  <a:pt x="190" y="75"/>
                </a:cubicBezTo>
                <a:cubicBezTo>
                  <a:pt x="202" y="68"/>
                  <a:pt x="214" y="61"/>
                  <a:pt x="226" y="55"/>
                </a:cubicBezTo>
                <a:close/>
                <a:moveTo>
                  <a:pt x="397" y="14"/>
                </a:moveTo>
                <a:cubicBezTo>
                  <a:pt x="401" y="14"/>
                  <a:pt x="405" y="14"/>
                  <a:pt x="408" y="14"/>
                </a:cubicBezTo>
                <a:cubicBezTo>
                  <a:pt x="409" y="15"/>
                  <a:pt x="410" y="15"/>
                  <a:pt x="411" y="15"/>
                </a:cubicBezTo>
                <a:cubicBezTo>
                  <a:pt x="414" y="15"/>
                  <a:pt x="417" y="15"/>
                  <a:pt x="419" y="15"/>
                </a:cubicBezTo>
                <a:cubicBezTo>
                  <a:pt x="420" y="15"/>
                  <a:pt x="421" y="15"/>
                  <a:pt x="422" y="15"/>
                </a:cubicBezTo>
                <a:cubicBezTo>
                  <a:pt x="425" y="15"/>
                  <a:pt x="428" y="16"/>
                  <a:pt x="431" y="16"/>
                </a:cubicBezTo>
                <a:cubicBezTo>
                  <a:pt x="432" y="16"/>
                  <a:pt x="432" y="16"/>
                  <a:pt x="433" y="16"/>
                </a:cubicBezTo>
                <a:cubicBezTo>
                  <a:pt x="436" y="16"/>
                  <a:pt x="439" y="17"/>
                  <a:pt x="443" y="17"/>
                </a:cubicBezTo>
                <a:cubicBezTo>
                  <a:pt x="443" y="17"/>
                  <a:pt x="443" y="17"/>
                  <a:pt x="444" y="17"/>
                </a:cubicBezTo>
                <a:cubicBezTo>
                  <a:pt x="444" y="19"/>
                  <a:pt x="444" y="20"/>
                  <a:pt x="444" y="21"/>
                </a:cubicBezTo>
                <a:cubicBezTo>
                  <a:pt x="444" y="21"/>
                  <a:pt x="444" y="21"/>
                  <a:pt x="444" y="21"/>
                </a:cubicBezTo>
                <a:cubicBezTo>
                  <a:pt x="443" y="25"/>
                  <a:pt x="442" y="27"/>
                  <a:pt x="441" y="27"/>
                </a:cubicBezTo>
                <a:cubicBezTo>
                  <a:pt x="432" y="31"/>
                  <a:pt x="413" y="40"/>
                  <a:pt x="412" y="71"/>
                </a:cubicBezTo>
                <a:cubicBezTo>
                  <a:pt x="411" y="84"/>
                  <a:pt x="399" y="87"/>
                  <a:pt x="378" y="91"/>
                </a:cubicBezTo>
                <a:cubicBezTo>
                  <a:pt x="371" y="92"/>
                  <a:pt x="364" y="93"/>
                  <a:pt x="358" y="95"/>
                </a:cubicBezTo>
                <a:cubicBezTo>
                  <a:pt x="345" y="99"/>
                  <a:pt x="340" y="108"/>
                  <a:pt x="335" y="115"/>
                </a:cubicBezTo>
                <a:cubicBezTo>
                  <a:pt x="331" y="122"/>
                  <a:pt x="328" y="127"/>
                  <a:pt x="319" y="127"/>
                </a:cubicBezTo>
                <a:cubicBezTo>
                  <a:pt x="318" y="127"/>
                  <a:pt x="318" y="127"/>
                  <a:pt x="318" y="127"/>
                </a:cubicBezTo>
                <a:cubicBezTo>
                  <a:pt x="318" y="127"/>
                  <a:pt x="318" y="127"/>
                  <a:pt x="318" y="127"/>
                </a:cubicBezTo>
                <a:cubicBezTo>
                  <a:pt x="299" y="127"/>
                  <a:pt x="276" y="90"/>
                  <a:pt x="276" y="75"/>
                </a:cubicBezTo>
                <a:cubicBezTo>
                  <a:pt x="276" y="68"/>
                  <a:pt x="272" y="59"/>
                  <a:pt x="244" y="47"/>
                </a:cubicBezTo>
                <a:cubicBezTo>
                  <a:pt x="291" y="26"/>
                  <a:pt x="343" y="14"/>
                  <a:pt x="397" y="14"/>
                </a:cubicBezTo>
                <a:close/>
                <a:moveTo>
                  <a:pt x="761" y="281"/>
                </a:moveTo>
                <a:cubicBezTo>
                  <a:pt x="762" y="283"/>
                  <a:pt x="763" y="286"/>
                  <a:pt x="764" y="289"/>
                </a:cubicBezTo>
                <a:cubicBezTo>
                  <a:pt x="765" y="293"/>
                  <a:pt x="766" y="297"/>
                  <a:pt x="767" y="301"/>
                </a:cubicBezTo>
                <a:cubicBezTo>
                  <a:pt x="767" y="302"/>
                  <a:pt x="767" y="303"/>
                  <a:pt x="768" y="304"/>
                </a:cubicBezTo>
                <a:cubicBezTo>
                  <a:pt x="769" y="309"/>
                  <a:pt x="770" y="314"/>
                  <a:pt x="771" y="318"/>
                </a:cubicBezTo>
                <a:cubicBezTo>
                  <a:pt x="771" y="319"/>
                  <a:pt x="771" y="319"/>
                  <a:pt x="771" y="319"/>
                </a:cubicBezTo>
                <a:cubicBezTo>
                  <a:pt x="709" y="355"/>
                  <a:pt x="688" y="454"/>
                  <a:pt x="683" y="484"/>
                </a:cubicBezTo>
                <a:cubicBezTo>
                  <a:pt x="682" y="488"/>
                  <a:pt x="681" y="492"/>
                  <a:pt x="681" y="497"/>
                </a:cubicBezTo>
                <a:cubicBezTo>
                  <a:pt x="679" y="505"/>
                  <a:pt x="678" y="514"/>
                  <a:pt x="676" y="524"/>
                </a:cubicBezTo>
                <a:cubicBezTo>
                  <a:pt x="676" y="524"/>
                  <a:pt x="676" y="524"/>
                  <a:pt x="676" y="524"/>
                </a:cubicBezTo>
                <a:cubicBezTo>
                  <a:pt x="668" y="567"/>
                  <a:pt x="652" y="618"/>
                  <a:pt x="605" y="631"/>
                </a:cubicBezTo>
                <a:cubicBezTo>
                  <a:pt x="598" y="632"/>
                  <a:pt x="592" y="633"/>
                  <a:pt x="587" y="633"/>
                </a:cubicBezTo>
                <a:cubicBezTo>
                  <a:pt x="587" y="633"/>
                  <a:pt x="587" y="633"/>
                  <a:pt x="587" y="633"/>
                </a:cubicBezTo>
                <a:cubicBezTo>
                  <a:pt x="581" y="633"/>
                  <a:pt x="577" y="632"/>
                  <a:pt x="574" y="629"/>
                </a:cubicBezTo>
                <a:cubicBezTo>
                  <a:pt x="567" y="621"/>
                  <a:pt x="568" y="604"/>
                  <a:pt x="569" y="589"/>
                </a:cubicBezTo>
                <a:cubicBezTo>
                  <a:pt x="570" y="582"/>
                  <a:pt x="570" y="576"/>
                  <a:pt x="570" y="570"/>
                </a:cubicBezTo>
                <a:cubicBezTo>
                  <a:pt x="570" y="565"/>
                  <a:pt x="570" y="560"/>
                  <a:pt x="570" y="554"/>
                </a:cubicBezTo>
                <a:cubicBezTo>
                  <a:pt x="569" y="517"/>
                  <a:pt x="569" y="463"/>
                  <a:pt x="547" y="438"/>
                </a:cubicBezTo>
                <a:cubicBezTo>
                  <a:pt x="541" y="431"/>
                  <a:pt x="533" y="428"/>
                  <a:pt x="524" y="428"/>
                </a:cubicBezTo>
                <a:cubicBezTo>
                  <a:pt x="517" y="428"/>
                  <a:pt x="511" y="429"/>
                  <a:pt x="504" y="431"/>
                </a:cubicBezTo>
                <a:cubicBezTo>
                  <a:pt x="498" y="433"/>
                  <a:pt x="491" y="435"/>
                  <a:pt x="485" y="435"/>
                </a:cubicBezTo>
                <a:cubicBezTo>
                  <a:pt x="478" y="435"/>
                  <a:pt x="469" y="433"/>
                  <a:pt x="458" y="420"/>
                </a:cubicBezTo>
                <a:cubicBezTo>
                  <a:pt x="437" y="395"/>
                  <a:pt x="429" y="370"/>
                  <a:pt x="432" y="345"/>
                </a:cubicBezTo>
                <a:cubicBezTo>
                  <a:pt x="438" y="305"/>
                  <a:pt x="474" y="279"/>
                  <a:pt x="474" y="279"/>
                </a:cubicBezTo>
                <a:cubicBezTo>
                  <a:pt x="477" y="278"/>
                  <a:pt x="478" y="275"/>
                  <a:pt x="478" y="273"/>
                </a:cubicBezTo>
                <a:cubicBezTo>
                  <a:pt x="477" y="272"/>
                  <a:pt x="477" y="269"/>
                  <a:pt x="477" y="266"/>
                </a:cubicBezTo>
                <a:cubicBezTo>
                  <a:pt x="477" y="266"/>
                  <a:pt x="477" y="266"/>
                  <a:pt x="477" y="266"/>
                </a:cubicBezTo>
                <a:cubicBezTo>
                  <a:pt x="478" y="266"/>
                  <a:pt x="493" y="268"/>
                  <a:pt x="506" y="268"/>
                </a:cubicBezTo>
                <a:cubicBezTo>
                  <a:pt x="506" y="268"/>
                  <a:pt x="506" y="268"/>
                  <a:pt x="506" y="268"/>
                </a:cubicBezTo>
                <a:cubicBezTo>
                  <a:pt x="514" y="268"/>
                  <a:pt x="520" y="267"/>
                  <a:pt x="524" y="265"/>
                </a:cubicBezTo>
                <a:cubicBezTo>
                  <a:pt x="529" y="262"/>
                  <a:pt x="542" y="258"/>
                  <a:pt x="550" y="258"/>
                </a:cubicBezTo>
                <a:cubicBezTo>
                  <a:pt x="552" y="258"/>
                  <a:pt x="553" y="258"/>
                  <a:pt x="554" y="258"/>
                </a:cubicBezTo>
                <a:cubicBezTo>
                  <a:pt x="554" y="259"/>
                  <a:pt x="553" y="261"/>
                  <a:pt x="553" y="263"/>
                </a:cubicBezTo>
                <a:cubicBezTo>
                  <a:pt x="552" y="271"/>
                  <a:pt x="549" y="288"/>
                  <a:pt x="573" y="295"/>
                </a:cubicBezTo>
                <a:cubicBezTo>
                  <a:pt x="577" y="296"/>
                  <a:pt x="580" y="297"/>
                  <a:pt x="583" y="297"/>
                </a:cubicBezTo>
                <a:cubicBezTo>
                  <a:pt x="583" y="297"/>
                  <a:pt x="583" y="297"/>
                  <a:pt x="583" y="297"/>
                </a:cubicBezTo>
                <a:cubicBezTo>
                  <a:pt x="587" y="298"/>
                  <a:pt x="590" y="298"/>
                  <a:pt x="594" y="298"/>
                </a:cubicBezTo>
                <a:cubicBezTo>
                  <a:pt x="601" y="298"/>
                  <a:pt x="607" y="297"/>
                  <a:pt x="612" y="296"/>
                </a:cubicBezTo>
                <a:cubicBezTo>
                  <a:pt x="616" y="295"/>
                  <a:pt x="620" y="294"/>
                  <a:pt x="624" y="294"/>
                </a:cubicBezTo>
                <a:cubicBezTo>
                  <a:pt x="627" y="295"/>
                  <a:pt x="631" y="296"/>
                  <a:pt x="636" y="297"/>
                </a:cubicBezTo>
                <a:cubicBezTo>
                  <a:pt x="643" y="299"/>
                  <a:pt x="651" y="302"/>
                  <a:pt x="658" y="302"/>
                </a:cubicBezTo>
                <a:cubicBezTo>
                  <a:pt x="664" y="302"/>
                  <a:pt x="668" y="300"/>
                  <a:pt x="671" y="297"/>
                </a:cubicBezTo>
                <a:cubicBezTo>
                  <a:pt x="675" y="293"/>
                  <a:pt x="676" y="288"/>
                  <a:pt x="676" y="281"/>
                </a:cubicBezTo>
                <a:cubicBezTo>
                  <a:pt x="675" y="260"/>
                  <a:pt x="658" y="258"/>
                  <a:pt x="648" y="256"/>
                </a:cubicBezTo>
                <a:cubicBezTo>
                  <a:pt x="643" y="255"/>
                  <a:pt x="638" y="255"/>
                  <a:pt x="636" y="253"/>
                </a:cubicBezTo>
                <a:cubicBezTo>
                  <a:pt x="633" y="249"/>
                  <a:pt x="630" y="247"/>
                  <a:pt x="626" y="247"/>
                </a:cubicBezTo>
                <a:cubicBezTo>
                  <a:pt x="620" y="247"/>
                  <a:pt x="617" y="252"/>
                  <a:pt x="614" y="256"/>
                </a:cubicBezTo>
                <a:cubicBezTo>
                  <a:pt x="612" y="253"/>
                  <a:pt x="610" y="249"/>
                  <a:pt x="608" y="246"/>
                </a:cubicBezTo>
                <a:cubicBezTo>
                  <a:pt x="594" y="223"/>
                  <a:pt x="582" y="204"/>
                  <a:pt x="568" y="203"/>
                </a:cubicBezTo>
                <a:cubicBezTo>
                  <a:pt x="568" y="203"/>
                  <a:pt x="567" y="202"/>
                  <a:pt x="567" y="202"/>
                </a:cubicBezTo>
                <a:cubicBezTo>
                  <a:pt x="563" y="202"/>
                  <a:pt x="560" y="204"/>
                  <a:pt x="558" y="207"/>
                </a:cubicBezTo>
                <a:cubicBezTo>
                  <a:pt x="556" y="210"/>
                  <a:pt x="556" y="214"/>
                  <a:pt x="557" y="218"/>
                </a:cubicBezTo>
                <a:cubicBezTo>
                  <a:pt x="554" y="216"/>
                  <a:pt x="551" y="215"/>
                  <a:pt x="547" y="215"/>
                </a:cubicBezTo>
                <a:cubicBezTo>
                  <a:pt x="541" y="214"/>
                  <a:pt x="536" y="214"/>
                  <a:pt x="533" y="214"/>
                </a:cubicBezTo>
                <a:cubicBezTo>
                  <a:pt x="526" y="214"/>
                  <a:pt x="522" y="215"/>
                  <a:pt x="516" y="217"/>
                </a:cubicBezTo>
                <a:cubicBezTo>
                  <a:pt x="513" y="218"/>
                  <a:pt x="513" y="218"/>
                  <a:pt x="513" y="218"/>
                </a:cubicBezTo>
                <a:cubicBezTo>
                  <a:pt x="501" y="221"/>
                  <a:pt x="502" y="230"/>
                  <a:pt x="502" y="234"/>
                </a:cubicBezTo>
                <a:cubicBezTo>
                  <a:pt x="503" y="236"/>
                  <a:pt x="503" y="237"/>
                  <a:pt x="502" y="240"/>
                </a:cubicBezTo>
                <a:cubicBezTo>
                  <a:pt x="501" y="242"/>
                  <a:pt x="494" y="244"/>
                  <a:pt x="490" y="245"/>
                </a:cubicBezTo>
                <a:cubicBezTo>
                  <a:pt x="484" y="246"/>
                  <a:pt x="477" y="248"/>
                  <a:pt x="473" y="253"/>
                </a:cubicBezTo>
                <a:cubicBezTo>
                  <a:pt x="472" y="249"/>
                  <a:pt x="471" y="246"/>
                  <a:pt x="469" y="244"/>
                </a:cubicBezTo>
                <a:cubicBezTo>
                  <a:pt x="469" y="242"/>
                  <a:pt x="470" y="239"/>
                  <a:pt x="473" y="235"/>
                </a:cubicBezTo>
                <a:cubicBezTo>
                  <a:pt x="477" y="231"/>
                  <a:pt x="481" y="229"/>
                  <a:pt x="484" y="229"/>
                </a:cubicBezTo>
                <a:cubicBezTo>
                  <a:pt x="492" y="229"/>
                  <a:pt x="498" y="223"/>
                  <a:pt x="499" y="216"/>
                </a:cubicBezTo>
                <a:cubicBezTo>
                  <a:pt x="499" y="209"/>
                  <a:pt x="495" y="201"/>
                  <a:pt x="486" y="198"/>
                </a:cubicBezTo>
                <a:cubicBezTo>
                  <a:pt x="495" y="192"/>
                  <a:pt x="511" y="184"/>
                  <a:pt x="526" y="182"/>
                </a:cubicBezTo>
                <a:cubicBezTo>
                  <a:pt x="535" y="180"/>
                  <a:pt x="541" y="176"/>
                  <a:pt x="545" y="169"/>
                </a:cubicBezTo>
                <a:cubicBezTo>
                  <a:pt x="551" y="156"/>
                  <a:pt x="541" y="136"/>
                  <a:pt x="529" y="116"/>
                </a:cubicBezTo>
                <a:cubicBezTo>
                  <a:pt x="528" y="114"/>
                  <a:pt x="528" y="114"/>
                  <a:pt x="528" y="113"/>
                </a:cubicBezTo>
                <a:cubicBezTo>
                  <a:pt x="531" y="108"/>
                  <a:pt x="547" y="99"/>
                  <a:pt x="625" y="90"/>
                </a:cubicBezTo>
                <a:cubicBezTo>
                  <a:pt x="686" y="135"/>
                  <a:pt x="733" y="199"/>
                  <a:pt x="759" y="273"/>
                </a:cubicBezTo>
                <a:cubicBezTo>
                  <a:pt x="759" y="276"/>
                  <a:pt x="760" y="278"/>
                  <a:pt x="761" y="281"/>
                </a:cubicBezTo>
                <a:close/>
                <a:moveTo>
                  <a:pt x="779" y="389"/>
                </a:moveTo>
                <a:cubicBezTo>
                  <a:pt x="728" y="389"/>
                  <a:pt x="728" y="389"/>
                  <a:pt x="728" y="389"/>
                </a:cubicBezTo>
                <a:cubicBezTo>
                  <a:pt x="741" y="364"/>
                  <a:pt x="756" y="345"/>
                  <a:pt x="774" y="334"/>
                </a:cubicBezTo>
                <a:cubicBezTo>
                  <a:pt x="777" y="352"/>
                  <a:pt x="779" y="370"/>
                  <a:pt x="779" y="389"/>
                </a:cubicBezTo>
                <a:close/>
                <a:moveTo>
                  <a:pt x="364" y="544"/>
                </a:moveTo>
                <a:cubicBezTo>
                  <a:pt x="366" y="540"/>
                  <a:pt x="367" y="536"/>
                  <a:pt x="367" y="533"/>
                </a:cubicBezTo>
                <a:cubicBezTo>
                  <a:pt x="390" y="533"/>
                  <a:pt x="390" y="533"/>
                  <a:pt x="390" y="533"/>
                </a:cubicBezTo>
                <a:cubicBezTo>
                  <a:pt x="390" y="648"/>
                  <a:pt x="390" y="648"/>
                  <a:pt x="390" y="648"/>
                </a:cubicBezTo>
                <a:cubicBezTo>
                  <a:pt x="272" y="648"/>
                  <a:pt x="272" y="648"/>
                  <a:pt x="272" y="648"/>
                </a:cubicBezTo>
                <a:cubicBezTo>
                  <a:pt x="282" y="636"/>
                  <a:pt x="295" y="624"/>
                  <a:pt x="308" y="612"/>
                </a:cubicBezTo>
                <a:cubicBezTo>
                  <a:pt x="331" y="590"/>
                  <a:pt x="354" y="567"/>
                  <a:pt x="364" y="544"/>
                </a:cubicBezTo>
                <a:close/>
                <a:moveTo>
                  <a:pt x="368" y="519"/>
                </a:moveTo>
                <a:cubicBezTo>
                  <a:pt x="360" y="462"/>
                  <a:pt x="258" y="415"/>
                  <a:pt x="245" y="409"/>
                </a:cubicBezTo>
                <a:cubicBezTo>
                  <a:pt x="239" y="406"/>
                  <a:pt x="232" y="404"/>
                  <a:pt x="225" y="403"/>
                </a:cubicBezTo>
                <a:cubicBezTo>
                  <a:pt x="390" y="403"/>
                  <a:pt x="390" y="403"/>
                  <a:pt x="390" y="403"/>
                </a:cubicBezTo>
                <a:cubicBezTo>
                  <a:pt x="390" y="519"/>
                  <a:pt x="390" y="519"/>
                  <a:pt x="390" y="519"/>
                </a:cubicBezTo>
                <a:lnTo>
                  <a:pt x="368" y="519"/>
                </a:lnTo>
                <a:close/>
                <a:moveTo>
                  <a:pt x="266" y="144"/>
                </a:moveTo>
                <a:cubicBezTo>
                  <a:pt x="390" y="144"/>
                  <a:pt x="390" y="144"/>
                  <a:pt x="390" y="144"/>
                </a:cubicBezTo>
                <a:cubicBezTo>
                  <a:pt x="390" y="259"/>
                  <a:pt x="390" y="259"/>
                  <a:pt x="390" y="259"/>
                </a:cubicBezTo>
                <a:cubicBezTo>
                  <a:pt x="222" y="259"/>
                  <a:pt x="222" y="259"/>
                  <a:pt x="222" y="259"/>
                </a:cubicBezTo>
                <a:cubicBezTo>
                  <a:pt x="225" y="246"/>
                  <a:pt x="228" y="233"/>
                  <a:pt x="231" y="221"/>
                </a:cubicBezTo>
                <a:cubicBezTo>
                  <a:pt x="244" y="216"/>
                  <a:pt x="259" y="212"/>
                  <a:pt x="276" y="208"/>
                </a:cubicBezTo>
                <a:cubicBezTo>
                  <a:pt x="288" y="206"/>
                  <a:pt x="292" y="200"/>
                  <a:pt x="293" y="195"/>
                </a:cubicBezTo>
                <a:cubicBezTo>
                  <a:pt x="296" y="183"/>
                  <a:pt x="287" y="167"/>
                  <a:pt x="266" y="144"/>
                </a:cubicBezTo>
                <a:close/>
                <a:moveTo>
                  <a:pt x="292" y="130"/>
                </a:moveTo>
                <a:cubicBezTo>
                  <a:pt x="263" y="130"/>
                  <a:pt x="263" y="130"/>
                  <a:pt x="263" y="130"/>
                </a:cubicBezTo>
                <a:cubicBezTo>
                  <a:pt x="267" y="123"/>
                  <a:pt x="271" y="115"/>
                  <a:pt x="274" y="109"/>
                </a:cubicBezTo>
                <a:cubicBezTo>
                  <a:pt x="279" y="116"/>
                  <a:pt x="285" y="124"/>
                  <a:pt x="292" y="130"/>
                </a:cubicBezTo>
                <a:close/>
                <a:moveTo>
                  <a:pt x="447" y="40"/>
                </a:moveTo>
                <a:cubicBezTo>
                  <a:pt x="450" y="38"/>
                  <a:pt x="453" y="36"/>
                  <a:pt x="454" y="33"/>
                </a:cubicBezTo>
                <a:cubicBezTo>
                  <a:pt x="477" y="48"/>
                  <a:pt x="499" y="72"/>
                  <a:pt x="518" y="104"/>
                </a:cubicBezTo>
                <a:cubicBezTo>
                  <a:pt x="517" y="105"/>
                  <a:pt x="516" y="106"/>
                  <a:pt x="516" y="107"/>
                </a:cubicBezTo>
                <a:cubicBezTo>
                  <a:pt x="514" y="111"/>
                  <a:pt x="513" y="116"/>
                  <a:pt x="517" y="123"/>
                </a:cubicBezTo>
                <a:cubicBezTo>
                  <a:pt x="518" y="125"/>
                  <a:pt x="519" y="127"/>
                  <a:pt x="520" y="130"/>
                </a:cubicBezTo>
                <a:cubicBezTo>
                  <a:pt x="496" y="130"/>
                  <a:pt x="496" y="130"/>
                  <a:pt x="496" y="130"/>
                </a:cubicBezTo>
                <a:cubicBezTo>
                  <a:pt x="492" y="129"/>
                  <a:pt x="488" y="128"/>
                  <a:pt x="483" y="127"/>
                </a:cubicBezTo>
                <a:cubicBezTo>
                  <a:pt x="482" y="127"/>
                  <a:pt x="482" y="127"/>
                  <a:pt x="481" y="127"/>
                </a:cubicBezTo>
                <a:cubicBezTo>
                  <a:pt x="477" y="127"/>
                  <a:pt x="475" y="128"/>
                  <a:pt x="473" y="130"/>
                </a:cubicBezTo>
                <a:cubicBezTo>
                  <a:pt x="404" y="130"/>
                  <a:pt x="404" y="130"/>
                  <a:pt x="404" y="130"/>
                </a:cubicBezTo>
                <a:cubicBezTo>
                  <a:pt x="404" y="99"/>
                  <a:pt x="404" y="99"/>
                  <a:pt x="404" y="99"/>
                </a:cubicBezTo>
                <a:cubicBezTo>
                  <a:pt x="416" y="94"/>
                  <a:pt x="425" y="87"/>
                  <a:pt x="426" y="72"/>
                </a:cubicBezTo>
                <a:cubicBezTo>
                  <a:pt x="426" y="49"/>
                  <a:pt x="438" y="44"/>
                  <a:pt x="447" y="40"/>
                </a:cubicBezTo>
                <a:close/>
                <a:moveTo>
                  <a:pt x="477" y="210"/>
                </a:moveTo>
                <a:cubicBezTo>
                  <a:pt x="482" y="211"/>
                  <a:pt x="484" y="212"/>
                  <a:pt x="484" y="213"/>
                </a:cubicBezTo>
                <a:cubicBezTo>
                  <a:pt x="485" y="214"/>
                  <a:pt x="485" y="214"/>
                  <a:pt x="485" y="214"/>
                </a:cubicBezTo>
                <a:cubicBezTo>
                  <a:pt x="485" y="215"/>
                  <a:pt x="485" y="215"/>
                  <a:pt x="484" y="215"/>
                </a:cubicBezTo>
                <a:cubicBezTo>
                  <a:pt x="473" y="215"/>
                  <a:pt x="462" y="225"/>
                  <a:pt x="457" y="234"/>
                </a:cubicBezTo>
                <a:cubicBezTo>
                  <a:pt x="453" y="244"/>
                  <a:pt x="455" y="249"/>
                  <a:pt x="458" y="252"/>
                </a:cubicBezTo>
                <a:cubicBezTo>
                  <a:pt x="459" y="253"/>
                  <a:pt x="460" y="256"/>
                  <a:pt x="461" y="259"/>
                </a:cubicBezTo>
                <a:cubicBezTo>
                  <a:pt x="404" y="259"/>
                  <a:pt x="404" y="259"/>
                  <a:pt x="404" y="259"/>
                </a:cubicBezTo>
                <a:cubicBezTo>
                  <a:pt x="404" y="144"/>
                  <a:pt x="404" y="144"/>
                  <a:pt x="404" y="144"/>
                </a:cubicBezTo>
                <a:cubicBezTo>
                  <a:pt x="447" y="144"/>
                  <a:pt x="447" y="144"/>
                  <a:pt x="447" y="144"/>
                </a:cubicBezTo>
                <a:cubicBezTo>
                  <a:pt x="445" y="147"/>
                  <a:pt x="444" y="151"/>
                  <a:pt x="444" y="154"/>
                </a:cubicBezTo>
                <a:cubicBezTo>
                  <a:pt x="443" y="165"/>
                  <a:pt x="448" y="174"/>
                  <a:pt x="457" y="176"/>
                </a:cubicBezTo>
                <a:cubicBezTo>
                  <a:pt x="458" y="176"/>
                  <a:pt x="459" y="176"/>
                  <a:pt x="460" y="176"/>
                </a:cubicBezTo>
                <a:cubicBezTo>
                  <a:pt x="468" y="176"/>
                  <a:pt x="475" y="170"/>
                  <a:pt x="476" y="160"/>
                </a:cubicBezTo>
                <a:cubicBezTo>
                  <a:pt x="477" y="158"/>
                  <a:pt x="477" y="155"/>
                  <a:pt x="477" y="153"/>
                </a:cubicBezTo>
                <a:cubicBezTo>
                  <a:pt x="478" y="155"/>
                  <a:pt x="480" y="156"/>
                  <a:pt x="482" y="158"/>
                </a:cubicBezTo>
                <a:cubicBezTo>
                  <a:pt x="482" y="159"/>
                  <a:pt x="481" y="159"/>
                  <a:pt x="481" y="160"/>
                </a:cubicBezTo>
                <a:cubicBezTo>
                  <a:pt x="476" y="167"/>
                  <a:pt x="470" y="176"/>
                  <a:pt x="474" y="183"/>
                </a:cubicBezTo>
                <a:cubicBezTo>
                  <a:pt x="475" y="184"/>
                  <a:pt x="476" y="185"/>
                  <a:pt x="478" y="187"/>
                </a:cubicBezTo>
                <a:cubicBezTo>
                  <a:pt x="471" y="191"/>
                  <a:pt x="467" y="196"/>
                  <a:pt x="467" y="201"/>
                </a:cubicBezTo>
                <a:cubicBezTo>
                  <a:pt x="467" y="202"/>
                  <a:pt x="468" y="209"/>
                  <a:pt x="477" y="210"/>
                </a:cubicBezTo>
                <a:close/>
                <a:moveTo>
                  <a:pt x="424" y="389"/>
                </a:moveTo>
                <a:cubicBezTo>
                  <a:pt x="404" y="389"/>
                  <a:pt x="404" y="389"/>
                  <a:pt x="404" y="389"/>
                </a:cubicBezTo>
                <a:cubicBezTo>
                  <a:pt x="404" y="273"/>
                  <a:pt x="404" y="273"/>
                  <a:pt x="404" y="273"/>
                </a:cubicBezTo>
                <a:cubicBezTo>
                  <a:pt x="459" y="273"/>
                  <a:pt x="459" y="273"/>
                  <a:pt x="459" y="273"/>
                </a:cubicBezTo>
                <a:cubicBezTo>
                  <a:pt x="447" y="284"/>
                  <a:pt x="423" y="308"/>
                  <a:pt x="418" y="343"/>
                </a:cubicBezTo>
                <a:cubicBezTo>
                  <a:pt x="416" y="358"/>
                  <a:pt x="418" y="374"/>
                  <a:pt x="424" y="389"/>
                </a:cubicBezTo>
                <a:close/>
                <a:moveTo>
                  <a:pt x="390" y="389"/>
                </a:moveTo>
                <a:cubicBezTo>
                  <a:pt x="210" y="389"/>
                  <a:pt x="210" y="389"/>
                  <a:pt x="210" y="389"/>
                </a:cubicBezTo>
                <a:cubicBezTo>
                  <a:pt x="210" y="350"/>
                  <a:pt x="214" y="311"/>
                  <a:pt x="220" y="273"/>
                </a:cubicBezTo>
                <a:cubicBezTo>
                  <a:pt x="390" y="273"/>
                  <a:pt x="390" y="273"/>
                  <a:pt x="390" y="273"/>
                </a:cubicBezTo>
                <a:lnTo>
                  <a:pt x="390" y="389"/>
                </a:lnTo>
                <a:close/>
                <a:moveTo>
                  <a:pt x="494" y="144"/>
                </a:moveTo>
                <a:cubicBezTo>
                  <a:pt x="493" y="145"/>
                  <a:pt x="493" y="146"/>
                  <a:pt x="493" y="147"/>
                </a:cubicBezTo>
                <a:cubicBezTo>
                  <a:pt x="492" y="147"/>
                  <a:pt x="492" y="147"/>
                  <a:pt x="491" y="147"/>
                </a:cubicBezTo>
                <a:cubicBezTo>
                  <a:pt x="490" y="147"/>
                  <a:pt x="489" y="145"/>
                  <a:pt x="487" y="144"/>
                </a:cubicBezTo>
                <a:lnTo>
                  <a:pt x="494" y="144"/>
                </a:lnTo>
                <a:close/>
                <a:moveTo>
                  <a:pt x="488" y="175"/>
                </a:moveTo>
                <a:cubicBezTo>
                  <a:pt x="489" y="172"/>
                  <a:pt x="491" y="170"/>
                  <a:pt x="492" y="168"/>
                </a:cubicBezTo>
                <a:cubicBezTo>
                  <a:pt x="493" y="167"/>
                  <a:pt x="494" y="166"/>
                  <a:pt x="494" y="165"/>
                </a:cubicBezTo>
                <a:cubicBezTo>
                  <a:pt x="496" y="168"/>
                  <a:pt x="498" y="170"/>
                  <a:pt x="500" y="172"/>
                </a:cubicBezTo>
                <a:cubicBezTo>
                  <a:pt x="498" y="173"/>
                  <a:pt x="494" y="174"/>
                  <a:pt x="488" y="175"/>
                </a:cubicBezTo>
                <a:close/>
                <a:moveTo>
                  <a:pt x="463" y="158"/>
                </a:moveTo>
                <a:cubicBezTo>
                  <a:pt x="462" y="160"/>
                  <a:pt x="461" y="162"/>
                  <a:pt x="460" y="162"/>
                </a:cubicBezTo>
                <a:cubicBezTo>
                  <a:pt x="460" y="162"/>
                  <a:pt x="460" y="162"/>
                  <a:pt x="460" y="162"/>
                </a:cubicBezTo>
                <a:cubicBezTo>
                  <a:pt x="459" y="162"/>
                  <a:pt x="458" y="160"/>
                  <a:pt x="458" y="159"/>
                </a:cubicBezTo>
                <a:cubicBezTo>
                  <a:pt x="457" y="154"/>
                  <a:pt x="459" y="149"/>
                  <a:pt x="460" y="149"/>
                </a:cubicBezTo>
                <a:cubicBezTo>
                  <a:pt x="462" y="149"/>
                  <a:pt x="463" y="153"/>
                  <a:pt x="463" y="158"/>
                </a:cubicBezTo>
                <a:close/>
                <a:moveTo>
                  <a:pt x="516" y="170"/>
                </a:moveTo>
                <a:cubicBezTo>
                  <a:pt x="515" y="165"/>
                  <a:pt x="512" y="161"/>
                  <a:pt x="508" y="160"/>
                </a:cubicBezTo>
                <a:cubicBezTo>
                  <a:pt x="506" y="158"/>
                  <a:pt x="506" y="152"/>
                  <a:pt x="507" y="150"/>
                </a:cubicBezTo>
                <a:cubicBezTo>
                  <a:pt x="508" y="148"/>
                  <a:pt x="509" y="146"/>
                  <a:pt x="509" y="144"/>
                </a:cubicBezTo>
                <a:cubicBezTo>
                  <a:pt x="528" y="144"/>
                  <a:pt x="528" y="144"/>
                  <a:pt x="528" y="144"/>
                </a:cubicBezTo>
                <a:cubicBezTo>
                  <a:pt x="531" y="152"/>
                  <a:pt x="534" y="159"/>
                  <a:pt x="532" y="164"/>
                </a:cubicBezTo>
                <a:cubicBezTo>
                  <a:pt x="531" y="166"/>
                  <a:pt x="528" y="167"/>
                  <a:pt x="523" y="168"/>
                </a:cubicBezTo>
                <a:cubicBezTo>
                  <a:pt x="521" y="168"/>
                  <a:pt x="519" y="169"/>
                  <a:pt x="516" y="170"/>
                </a:cubicBezTo>
                <a:close/>
                <a:moveTo>
                  <a:pt x="390" y="130"/>
                </a:moveTo>
                <a:cubicBezTo>
                  <a:pt x="342" y="130"/>
                  <a:pt x="342" y="130"/>
                  <a:pt x="342" y="130"/>
                </a:cubicBezTo>
                <a:cubicBezTo>
                  <a:pt x="344" y="127"/>
                  <a:pt x="346" y="125"/>
                  <a:pt x="347" y="122"/>
                </a:cubicBezTo>
                <a:cubicBezTo>
                  <a:pt x="351" y="116"/>
                  <a:pt x="354" y="111"/>
                  <a:pt x="362" y="108"/>
                </a:cubicBezTo>
                <a:cubicBezTo>
                  <a:pt x="367" y="107"/>
                  <a:pt x="374" y="105"/>
                  <a:pt x="380" y="104"/>
                </a:cubicBezTo>
                <a:cubicBezTo>
                  <a:pt x="383" y="104"/>
                  <a:pt x="387" y="103"/>
                  <a:pt x="390" y="103"/>
                </a:cubicBezTo>
                <a:lnTo>
                  <a:pt x="390" y="130"/>
                </a:lnTo>
                <a:close/>
                <a:moveTo>
                  <a:pt x="208" y="259"/>
                </a:moveTo>
                <a:cubicBezTo>
                  <a:pt x="176" y="259"/>
                  <a:pt x="176" y="259"/>
                  <a:pt x="176" y="259"/>
                </a:cubicBezTo>
                <a:cubicBezTo>
                  <a:pt x="184" y="247"/>
                  <a:pt x="197" y="237"/>
                  <a:pt x="215" y="228"/>
                </a:cubicBezTo>
                <a:cubicBezTo>
                  <a:pt x="212" y="238"/>
                  <a:pt x="210" y="249"/>
                  <a:pt x="208" y="259"/>
                </a:cubicBezTo>
                <a:close/>
                <a:moveTo>
                  <a:pt x="165" y="328"/>
                </a:moveTo>
                <a:cubicBezTo>
                  <a:pt x="170" y="323"/>
                  <a:pt x="169" y="316"/>
                  <a:pt x="167" y="307"/>
                </a:cubicBezTo>
                <a:cubicBezTo>
                  <a:pt x="166" y="297"/>
                  <a:pt x="165" y="286"/>
                  <a:pt x="169" y="273"/>
                </a:cubicBezTo>
                <a:cubicBezTo>
                  <a:pt x="206" y="273"/>
                  <a:pt x="206" y="273"/>
                  <a:pt x="206" y="273"/>
                </a:cubicBezTo>
                <a:cubicBezTo>
                  <a:pt x="200" y="311"/>
                  <a:pt x="196" y="350"/>
                  <a:pt x="196" y="389"/>
                </a:cubicBezTo>
                <a:cubicBezTo>
                  <a:pt x="143" y="389"/>
                  <a:pt x="143" y="389"/>
                  <a:pt x="143" y="389"/>
                </a:cubicBezTo>
                <a:cubicBezTo>
                  <a:pt x="139" y="375"/>
                  <a:pt x="133" y="360"/>
                  <a:pt x="116" y="360"/>
                </a:cubicBezTo>
                <a:cubicBezTo>
                  <a:pt x="107" y="360"/>
                  <a:pt x="98" y="357"/>
                  <a:pt x="92" y="351"/>
                </a:cubicBezTo>
                <a:cubicBezTo>
                  <a:pt x="89" y="348"/>
                  <a:pt x="85" y="342"/>
                  <a:pt x="85" y="335"/>
                </a:cubicBezTo>
                <a:cubicBezTo>
                  <a:pt x="85" y="325"/>
                  <a:pt x="88" y="296"/>
                  <a:pt x="117" y="296"/>
                </a:cubicBezTo>
                <a:cubicBezTo>
                  <a:pt x="132" y="296"/>
                  <a:pt x="134" y="303"/>
                  <a:pt x="137" y="314"/>
                </a:cubicBezTo>
                <a:cubicBezTo>
                  <a:pt x="139" y="321"/>
                  <a:pt x="142" y="333"/>
                  <a:pt x="154" y="333"/>
                </a:cubicBezTo>
                <a:cubicBezTo>
                  <a:pt x="159" y="333"/>
                  <a:pt x="162" y="331"/>
                  <a:pt x="165" y="328"/>
                </a:cubicBezTo>
                <a:close/>
                <a:moveTo>
                  <a:pt x="186" y="403"/>
                </a:moveTo>
                <a:cubicBezTo>
                  <a:pt x="178" y="404"/>
                  <a:pt x="171" y="406"/>
                  <a:pt x="165" y="407"/>
                </a:cubicBezTo>
                <a:cubicBezTo>
                  <a:pt x="159" y="409"/>
                  <a:pt x="153" y="410"/>
                  <a:pt x="150" y="410"/>
                </a:cubicBezTo>
                <a:cubicBezTo>
                  <a:pt x="149" y="409"/>
                  <a:pt x="148" y="406"/>
                  <a:pt x="147" y="403"/>
                </a:cubicBezTo>
                <a:lnTo>
                  <a:pt x="186" y="403"/>
                </a:lnTo>
                <a:close/>
                <a:moveTo>
                  <a:pt x="404" y="403"/>
                </a:moveTo>
                <a:cubicBezTo>
                  <a:pt x="430" y="403"/>
                  <a:pt x="430" y="403"/>
                  <a:pt x="430" y="403"/>
                </a:cubicBezTo>
                <a:cubicBezTo>
                  <a:pt x="434" y="412"/>
                  <a:pt x="440" y="420"/>
                  <a:pt x="447" y="429"/>
                </a:cubicBezTo>
                <a:cubicBezTo>
                  <a:pt x="458" y="442"/>
                  <a:pt x="470" y="449"/>
                  <a:pt x="485" y="449"/>
                </a:cubicBezTo>
                <a:cubicBezTo>
                  <a:pt x="493" y="449"/>
                  <a:pt x="501" y="446"/>
                  <a:pt x="508" y="445"/>
                </a:cubicBezTo>
                <a:cubicBezTo>
                  <a:pt x="514" y="443"/>
                  <a:pt x="519" y="442"/>
                  <a:pt x="524" y="442"/>
                </a:cubicBezTo>
                <a:cubicBezTo>
                  <a:pt x="529" y="442"/>
                  <a:pt x="533" y="443"/>
                  <a:pt x="537" y="448"/>
                </a:cubicBezTo>
                <a:cubicBezTo>
                  <a:pt x="549" y="462"/>
                  <a:pt x="553" y="491"/>
                  <a:pt x="555" y="519"/>
                </a:cubicBezTo>
                <a:cubicBezTo>
                  <a:pt x="404" y="519"/>
                  <a:pt x="404" y="519"/>
                  <a:pt x="404" y="519"/>
                </a:cubicBezTo>
                <a:lnTo>
                  <a:pt x="404" y="403"/>
                </a:lnTo>
                <a:close/>
                <a:moveTo>
                  <a:pt x="516" y="232"/>
                </a:moveTo>
                <a:cubicBezTo>
                  <a:pt x="516" y="232"/>
                  <a:pt x="516" y="231"/>
                  <a:pt x="516" y="231"/>
                </a:cubicBezTo>
                <a:cubicBezTo>
                  <a:pt x="516" y="231"/>
                  <a:pt x="517" y="231"/>
                  <a:pt x="517" y="231"/>
                </a:cubicBezTo>
                <a:cubicBezTo>
                  <a:pt x="520" y="230"/>
                  <a:pt x="520" y="230"/>
                  <a:pt x="520" y="230"/>
                </a:cubicBezTo>
                <a:cubicBezTo>
                  <a:pt x="529" y="227"/>
                  <a:pt x="530" y="227"/>
                  <a:pt x="546" y="228"/>
                </a:cubicBezTo>
                <a:cubicBezTo>
                  <a:pt x="552" y="229"/>
                  <a:pt x="555" y="234"/>
                  <a:pt x="559" y="241"/>
                </a:cubicBezTo>
                <a:cubicBezTo>
                  <a:pt x="560" y="243"/>
                  <a:pt x="561" y="245"/>
                  <a:pt x="562" y="247"/>
                </a:cubicBezTo>
                <a:cubicBezTo>
                  <a:pt x="559" y="245"/>
                  <a:pt x="555" y="244"/>
                  <a:pt x="550" y="244"/>
                </a:cubicBezTo>
                <a:cubicBezTo>
                  <a:pt x="539" y="244"/>
                  <a:pt x="523" y="249"/>
                  <a:pt x="517" y="253"/>
                </a:cubicBezTo>
                <a:cubicBezTo>
                  <a:pt x="517" y="253"/>
                  <a:pt x="515" y="254"/>
                  <a:pt x="506" y="254"/>
                </a:cubicBezTo>
                <a:cubicBezTo>
                  <a:pt x="506" y="254"/>
                  <a:pt x="506" y="254"/>
                  <a:pt x="506" y="254"/>
                </a:cubicBezTo>
                <a:cubicBezTo>
                  <a:pt x="505" y="254"/>
                  <a:pt x="505" y="254"/>
                  <a:pt x="505" y="254"/>
                </a:cubicBezTo>
                <a:cubicBezTo>
                  <a:pt x="509" y="252"/>
                  <a:pt x="512" y="250"/>
                  <a:pt x="514" y="246"/>
                </a:cubicBezTo>
                <a:cubicBezTo>
                  <a:pt x="517" y="240"/>
                  <a:pt x="517" y="235"/>
                  <a:pt x="516" y="232"/>
                </a:cubicBezTo>
                <a:close/>
                <a:moveTo>
                  <a:pt x="567" y="252"/>
                </a:moveTo>
                <a:cubicBezTo>
                  <a:pt x="568" y="254"/>
                  <a:pt x="569" y="255"/>
                  <a:pt x="571" y="255"/>
                </a:cubicBezTo>
                <a:cubicBezTo>
                  <a:pt x="573" y="264"/>
                  <a:pt x="574" y="272"/>
                  <a:pt x="576" y="281"/>
                </a:cubicBezTo>
                <a:cubicBezTo>
                  <a:pt x="565" y="278"/>
                  <a:pt x="566" y="273"/>
                  <a:pt x="567" y="265"/>
                </a:cubicBezTo>
                <a:cubicBezTo>
                  <a:pt x="568" y="261"/>
                  <a:pt x="568" y="256"/>
                  <a:pt x="567" y="252"/>
                </a:cubicBezTo>
                <a:close/>
                <a:moveTo>
                  <a:pt x="590" y="284"/>
                </a:moveTo>
                <a:cubicBezTo>
                  <a:pt x="589" y="273"/>
                  <a:pt x="587" y="262"/>
                  <a:pt x="585" y="251"/>
                </a:cubicBezTo>
                <a:cubicBezTo>
                  <a:pt x="587" y="245"/>
                  <a:pt x="583" y="239"/>
                  <a:pt x="578" y="228"/>
                </a:cubicBezTo>
                <a:cubicBezTo>
                  <a:pt x="577" y="226"/>
                  <a:pt x="575" y="224"/>
                  <a:pt x="574" y="221"/>
                </a:cubicBezTo>
                <a:cubicBezTo>
                  <a:pt x="582" y="229"/>
                  <a:pt x="591" y="245"/>
                  <a:pt x="596" y="253"/>
                </a:cubicBezTo>
                <a:cubicBezTo>
                  <a:pt x="601" y="261"/>
                  <a:pt x="604" y="266"/>
                  <a:pt x="607" y="269"/>
                </a:cubicBezTo>
                <a:cubicBezTo>
                  <a:pt x="609" y="272"/>
                  <a:pt x="612" y="272"/>
                  <a:pt x="614" y="272"/>
                </a:cubicBezTo>
                <a:cubicBezTo>
                  <a:pt x="614" y="272"/>
                  <a:pt x="614" y="272"/>
                  <a:pt x="614" y="272"/>
                </a:cubicBezTo>
                <a:cubicBezTo>
                  <a:pt x="620" y="272"/>
                  <a:pt x="623" y="267"/>
                  <a:pt x="625" y="264"/>
                </a:cubicBezTo>
                <a:cubicBezTo>
                  <a:pt x="626" y="263"/>
                  <a:pt x="626" y="263"/>
                  <a:pt x="626" y="262"/>
                </a:cubicBezTo>
                <a:cubicBezTo>
                  <a:pt x="632" y="268"/>
                  <a:pt x="639" y="269"/>
                  <a:pt x="646" y="270"/>
                </a:cubicBezTo>
                <a:cubicBezTo>
                  <a:pt x="658" y="272"/>
                  <a:pt x="662" y="273"/>
                  <a:pt x="662" y="282"/>
                </a:cubicBezTo>
                <a:cubicBezTo>
                  <a:pt x="662" y="285"/>
                  <a:pt x="662" y="286"/>
                  <a:pt x="661" y="287"/>
                </a:cubicBezTo>
                <a:cubicBezTo>
                  <a:pt x="661" y="288"/>
                  <a:pt x="660" y="288"/>
                  <a:pt x="658" y="288"/>
                </a:cubicBezTo>
                <a:cubicBezTo>
                  <a:pt x="653" y="288"/>
                  <a:pt x="646" y="286"/>
                  <a:pt x="640" y="284"/>
                </a:cubicBezTo>
                <a:cubicBezTo>
                  <a:pt x="635" y="282"/>
                  <a:pt x="630" y="281"/>
                  <a:pt x="626" y="280"/>
                </a:cubicBezTo>
                <a:cubicBezTo>
                  <a:pt x="625" y="280"/>
                  <a:pt x="623" y="280"/>
                  <a:pt x="622" y="280"/>
                </a:cubicBezTo>
                <a:cubicBezTo>
                  <a:pt x="617" y="280"/>
                  <a:pt x="612" y="281"/>
                  <a:pt x="608" y="282"/>
                </a:cubicBezTo>
                <a:cubicBezTo>
                  <a:pt x="604" y="283"/>
                  <a:pt x="599" y="284"/>
                  <a:pt x="594" y="284"/>
                </a:cubicBezTo>
                <a:cubicBezTo>
                  <a:pt x="593" y="284"/>
                  <a:pt x="592" y="284"/>
                  <a:pt x="590" y="284"/>
                </a:cubicBezTo>
                <a:close/>
                <a:moveTo>
                  <a:pt x="529" y="96"/>
                </a:moveTo>
                <a:cubicBezTo>
                  <a:pt x="509" y="62"/>
                  <a:pt x="485" y="35"/>
                  <a:pt x="460" y="19"/>
                </a:cubicBezTo>
                <a:cubicBezTo>
                  <a:pt x="514" y="28"/>
                  <a:pt x="564" y="49"/>
                  <a:pt x="608" y="78"/>
                </a:cubicBezTo>
                <a:cubicBezTo>
                  <a:pt x="568" y="83"/>
                  <a:pt x="543" y="88"/>
                  <a:pt x="529" y="96"/>
                </a:cubicBezTo>
                <a:close/>
                <a:moveTo>
                  <a:pt x="390" y="662"/>
                </a:moveTo>
                <a:cubicBezTo>
                  <a:pt x="390" y="777"/>
                  <a:pt x="390" y="777"/>
                  <a:pt x="390" y="777"/>
                </a:cubicBezTo>
                <a:cubicBezTo>
                  <a:pt x="343" y="774"/>
                  <a:pt x="297" y="732"/>
                  <a:pt x="263" y="662"/>
                </a:cubicBezTo>
                <a:lnTo>
                  <a:pt x="390" y="662"/>
                </a:lnTo>
                <a:close/>
                <a:moveTo>
                  <a:pt x="404" y="662"/>
                </a:moveTo>
                <a:cubicBezTo>
                  <a:pt x="531" y="662"/>
                  <a:pt x="531" y="662"/>
                  <a:pt x="531" y="662"/>
                </a:cubicBezTo>
                <a:cubicBezTo>
                  <a:pt x="498" y="732"/>
                  <a:pt x="453" y="774"/>
                  <a:pt x="404" y="777"/>
                </a:cubicBezTo>
                <a:lnTo>
                  <a:pt x="404" y="662"/>
                </a:lnTo>
                <a:close/>
                <a:moveTo>
                  <a:pt x="404" y="648"/>
                </a:moveTo>
                <a:cubicBezTo>
                  <a:pt x="404" y="533"/>
                  <a:pt x="404" y="533"/>
                  <a:pt x="404" y="533"/>
                </a:cubicBezTo>
                <a:cubicBezTo>
                  <a:pt x="555" y="533"/>
                  <a:pt x="555" y="533"/>
                  <a:pt x="555" y="533"/>
                </a:cubicBezTo>
                <a:cubicBezTo>
                  <a:pt x="555" y="540"/>
                  <a:pt x="556" y="547"/>
                  <a:pt x="556" y="554"/>
                </a:cubicBezTo>
                <a:cubicBezTo>
                  <a:pt x="556" y="560"/>
                  <a:pt x="556" y="566"/>
                  <a:pt x="556" y="570"/>
                </a:cubicBezTo>
                <a:cubicBezTo>
                  <a:pt x="556" y="575"/>
                  <a:pt x="556" y="582"/>
                  <a:pt x="555" y="588"/>
                </a:cubicBezTo>
                <a:cubicBezTo>
                  <a:pt x="555" y="593"/>
                  <a:pt x="554" y="598"/>
                  <a:pt x="554" y="603"/>
                </a:cubicBezTo>
                <a:cubicBezTo>
                  <a:pt x="549" y="619"/>
                  <a:pt x="544" y="634"/>
                  <a:pt x="538" y="648"/>
                </a:cubicBezTo>
                <a:lnTo>
                  <a:pt x="404" y="648"/>
                </a:lnTo>
                <a:close/>
                <a:moveTo>
                  <a:pt x="704" y="572"/>
                </a:moveTo>
                <a:cubicBezTo>
                  <a:pt x="700" y="580"/>
                  <a:pt x="697" y="584"/>
                  <a:pt x="695" y="585"/>
                </a:cubicBezTo>
                <a:cubicBezTo>
                  <a:pt x="695" y="582"/>
                  <a:pt x="695" y="574"/>
                  <a:pt x="699" y="561"/>
                </a:cubicBezTo>
                <a:cubicBezTo>
                  <a:pt x="703" y="547"/>
                  <a:pt x="708" y="537"/>
                  <a:pt x="712" y="533"/>
                </a:cubicBezTo>
                <a:cubicBezTo>
                  <a:pt x="712" y="540"/>
                  <a:pt x="710" y="557"/>
                  <a:pt x="704" y="572"/>
                </a:cubicBezTo>
                <a:close/>
                <a:moveTo>
                  <a:pt x="720" y="519"/>
                </a:moveTo>
                <a:cubicBezTo>
                  <a:pt x="719" y="518"/>
                  <a:pt x="718" y="517"/>
                  <a:pt x="716" y="517"/>
                </a:cubicBezTo>
                <a:cubicBezTo>
                  <a:pt x="715" y="517"/>
                  <a:pt x="715" y="517"/>
                  <a:pt x="714" y="517"/>
                </a:cubicBezTo>
                <a:cubicBezTo>
                  <a:pt x="711" y="517"/>
                  <a:pt x="709" y="517"/>
                  <a:pt x="707" y="519"/>
                </a:cubicBezTo>
                <a:cubicBezTo>
                  <a:pt x="691" y="519"/>
                  <a:pt x="691" y="519"/>
                  <a:pt x="691" y="519"/>
                </a:cubicBezTo>
                <a:cubicBezTo>
                  <a:pt x="693" y="512"/>
                  <a:pt x="694" y="505"/>
                  <a:pt x="695" y="499"/>
                </a:cubicBezTo>
                <a:cubicBezTo>
                  <a:pt x="695" y="494"/>
                  <a:pt x="696" y="490"/>
                  <a:pt x="697" y="486"/>
                </a:cubicBezTo>
                <a:cubicBezTo>
                  <a:pt x="699" y="473"/>
                  <a:pt x="706" y="438"/>
                  <a:pt x="721" y="404"/>
                </a:cubicBezTo>
                <a:cubicBezTo>
                  <a:pt x="721" y="404"/>
                  <a:pt x="721" y="403"/>
                  <a:pt x="721" y="403"/>
                </a:cubicBezTo>
                <a:cubicBezTo>
                  <a:pt x="779" y="403"/>
                  <a:pt x="779" y="403"/>
                  <a:pt x="779" y="403"/>
                </a:cubicBezTo>
                <a:cubicBezTo>
                  <a:pt x="778" y="443"/>
                  <a:pt x="771" y="482"/>
                  <a:pt x="759" y="519"/>
                </a:cubicBezTo>
                <a:lnTo>
                  <a:pt x="720" y="519"/>
                </a:lnTo>
                <a:close/>
                <a:moveTo>
                  <a:pt x="124" y="662"/>
                </a:moveTo>
                <a:cubicBezTo>
                  <a:pt x="207" y="662"/>
                  <a:pt x="207" y="662"/>
                  <a:pt x="207" y="662"/>
                </a:cubicBezTo>
                <a:cubicBezTo>
                  <a:pt x="207" y="687"/>
                  <a:pt x="210" y="710"/>
                  <a:pt x="222" y="723"/>
                </a:cubicBezTo>
                <a:cubicBezTo>
                  <a:pt x="228" y="730"/>
                  <a:pt x="237" y="735"/>
                  <a:pt x="246" y="735"/>
                </a:cubicBezTo>
                <a:cubicBezTo>
                  <a:pt x="252" y="735"/>
                  <a:pt x="257" y="732"/>
                  <a:pt x="260" y="728"/>
                </a:cubicBezTo>
                <a:cubicBezTo>
                  <a:pt x="263" y="722"/>
                  <a:pt x="262" y="713"/>
                  <a:pt x="256" y="703"/>
                </a:cubicBezTo>
                <a:cubicBezTo>
                  <a:pt x="251" y="695"/>
                  <a:pt x="251" y="685"/>
                  <a:pt x="254" y="676"/>
                </a:cubicBezTo>
                <a:cubicBezTo>
                  <a:pt x="277" y="721"/>
                  <a:pt x="304" y="753"/>
                  <a:pt x="334" y="772"/>
                </a:cubicBezTo>
                <a:cubicBezTo>
                  <a:pt x="253" y="759"/>
                  <a:pt x="179" y="719"/>
                  <a:pt x="124" y="662"/>
                </a:cubicBezTo>
                <a:close/>
                <a:moveTo>
                  <a:pt x="460" y="773"/>
                </a:moveTo>
                <a:cubicBezTo>
                  <a:pt x="493" y="751"/>
                  <a:pt x="523" y="714"/>
                  <a:pt x="547" y="662"/>
                </a:cubicBezTo>
                <a:cubicBezTo>
                  <a:pt x="671" y="662"/>
                  <a:pt x="671" y="662"/>
                  <a:pt x="671" y="662"/>
                </a:cubicBezTo>
                <a:cubicBezTo>
                  <a:pt x="615" y="719"/>
                  <a:pt x="542" y="759"/>
                  <a:pt x="460" y="77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56" name="Oval 73"/>
          <p:cNvSpPr>
            <a:spLocks noChangeArrowheads="1"/>
          </p:cNvSpPr>
          <p:nvPr/>
        </p:nvSpPr>
        <p:spPr bwMode="auto">
          <a:xfrm>
            <a:off x="6137845" y="2009724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72" name="Freeform 139"/>
          <p:cNvSpPr>
            <a:spLocks noEditPoints="1"/>
          </p:cNvSpPr>
          <p:nvPr/>
        </p:nvSpPr>
        <p:spPr bwMode="auto">
          <a:xfrm>
            <a:off x="6243398" y="2114050"/>
            <a:ext cx="611853" cy="614309"/>
          </a:xfrm>
          <a:custGeom>
            <a:avLst/>
            <a:gdLst>
              <a:gd name="T0" fmla="*/ 440 w 791"/>
              <a:gd name="T1" fmla="*/ 319 h 792"/>
              <a:gd name="T2" fmla="*/ 459 w 791"/>
              <a:gd name="T3" fmla="*/ 356 h 792"/>
              <a:gd name="T4" fmla="*/ 427 w 791"/>
              <a:gd name="T5" fmla="*/ 310 h 792"/>
              <a:gd name="T6" fmla="*/ 768 w 791"/>
              <a:gd name="T7" fmla="*/ 263 h 792"/>
              <a:gd name="T8" fmla="*/ 0 w 791"/>
              <a:gd name="T9" fmla="*/ 396 h 792"/>
              <a:gd name="T10" fmla="*/ 6 w 791"/>
              <a:gd name="T11" fmla="*/ 464 h 792"/>
              <a:gd name="T12" fmla="*/ 20 w 791"/>
              <a:gd name="T13" fmla="*/ 521 h 792"/>
              <a:gd name="T14" fmla="*/ 691 w 791"/>
              <a:gd name="T15" fmla="*/ 658 h 792"/>
              <a:gd name="T16" fmla="*/ 551 w 791"/>
              <a:gd name="T17" fmla="*/ 648 h 792"/>
              <a:gd name="T18" fmla="*/ 649 w 791"/>
              <a:gd name="T19" fmla="*/ 637 h 792"/>
              <a:gd name="T20" fmla="*/ 220 w 791"/>
              <a:gd name="T21" fmla="*/ 533 h 792"/>
              <a:gd name="T22" fmla="*/ 61 w 791"/>
              <a:gd name="T23" fmla="*/ 426 h 792"/>
              <a:gd name="T24" fmla="*/ 110 w 791"/>
              <a:gd name="T25" fmla="*/ 246 h 792"/>
              <a:gd name="T26" fmla="*/ 51 w 791"/>
              <a:gd name="T27" fmla="*/ 389 h 792"/>
              <a:gd name="T28" fmla="*/ 183 w 791"/>
              <a:gd name="T29" fmla="*/ 374 h 792"/>
              <a:gd name="T30" fmla="*/ 255 w 791"/>
              <a:gd name="T31" fmla="*/ 317 h 792"/>
              <a:gd name="T32" fmla="*/ 388 w 791"/>
              <a:gd name="T33" fmla="*/ 476 h 792"/>
              <a:gd name="T34" fmla="*/ 388 w 791"/>
              <a:gd name="T35" fmla="*/ 370 h 792"/>
              <a:gd name="T36" fmla="*/ 383 w 791"/>
              <a:gd name="T37" fmla="*/ 446 h 792"/>
              <a:gd name="T38" fmla="*/ 529 w 791"/>
              <a:gd name="T39" fmla="*/ 130 h 792"/>
              <a:gd name="T40" fmla="*/ 504 w 791"/>
              <a:gd name="T41" fmla="*/ 86 h 792"/>
              <a:gd name="T42" fmla="*/ 591 w 791"/>
              <a:gd name="T43" fmla="*/ 491 h 792"/>
              <a:gd name="T44" fmla="*/ 757 w 791"/>
              <a:gd name="T45" fmla="*/ 519 h 792"/>
              <a:gd name="T46" fmla="*/ 475 w 791"/>
              <a:gd name="T47" fmla="*/ 601 h 792"/>
              <a:gd name="T48" fmla="*/ 403 w 791"/>
              <a:gd name="T49" fmla="*/ 554 h 792"/>
              <a:gd name="T50" fmla="*/ 538 w 791"/>
              <a:gd name="T51" fmla="*/ 536 h 792"/>
              <a:gd name="T52" fmla="*/ 402 w 791"/>
              <a:gd name="T53" fmla="*/ 392 h 792"/>
              <a:gd name="T54" fmla="*/ 399 w 791"/>
              <a:gd name="T55" fmla="*/ 382 h 792"/>
              <a:gd name="T56" fmla="*/ 551 w 791"/>
              <a:gd name="T57" fmla="*/ 425 h 792"/>
              <a:gd name="T58" fmla="*/ 566 w 791"/>
              <a:gd name="T59" fmla="*/ 476 h 792"/>
              <a:gd name="T60" fmla="*/ 513 w 791"/>
              <a:gd name="T61" fmla="*/ 500 h 792"/>
              <a:gd name="T62" fmla="*/ 571 w 791"/>
              <a:gd name="T63" fmla="*/ 463 h 792"/>
              <a:gd name="T64" fmla="*/ 578 w 791"/>
              <a:gd name="T65" fmla="*/ 460 h 792"/>
              <a:gd name="T66" fmla="*/ 757 w 791"/>
              <a:gd name="T67" fmla="*/ 273 h 792"/>
              <a:gd name="T68" fmla="*/ 509 w 791"/>
              <a:gd name="T69" fmla="*/ 192 h 792"/>
              <a:gd name="T70" fmla="*/ 503 w 791"/>
              <a:gd name="T71" fmla="*/ 145 h 792"/>
              <a:gd name="T72" fmla="*/ 475 w 791"/>
              <a:gd name="T73" fmla="*/ 194 h 792"/>
              <a:gd name="T74" fmla="*/ 468 w 791"/>
              <a:gd name="T75" fmla="*/ 211 h 792"/>
              <a:gd name="T76" fmla="*/ 523 w 791"/>
              <a:gd name="T77" fmla="*/ 166 h 792"/>
              <a:gd name="T78" fmla="*/ 445 w 791"/>
              <a:gd name="T79" fmla="*/ 239 h 792"/>
              <a:gd name="T80" fmla="*/ 464 w 791"/>
              <a:gd name="T81" fmla="*/ 212 h 792"/>
              <a:gd name="T82" fmla="*/ 583 w 791"/>
              <a:gd name="T83" fmla="*/ 389 h 792"/>
              <a:gd name="T84" fmla="*/ 261 w 791"/>
              <a:gd name="T85" fmla="*/ 662 h 792"/>
              <a:gd name="T86" fmla="*/ 525 w 791"/>
              <a:gd name="T87" fmla="*/ 672 h 792"/>
              <a:gd name="T88" fmla="*/ 409 w 791"/>
              <a:gd name="T89" fmla="*/ 631 h 792"/>
              <a:gd name="T90" fmla="*/ 536 w 791"/>
              <a:gd name="T91" fmla="*/ 648 h 792"/>
              <a:gd name="T92" fmla="*/ 413 w 791"/>
              <a:gd name="T93" fmla="*/ 15 h 792"/>
              <a:gd name="T94" fmla="*/ 484 w 791"/>
              <a:gd name="T95" fmla="*/ 25 h 792"/>
              <a:gd name="T96" fmla="*/ 545 w 791"/>
              <a:gd name="T97" fmla="*/ 83 h 792"/>
              <a:gd name="T98" fmla="*/ 486 w 791"/>
              <a:gd name="T99" fmla="*/ 142 h 792"/>
              <a:gd name="T100" fmla="*/ 418 w 791"/>
              <a:gd name="T101" fmla="*/ 202 h 792"/>
              <a:gd name="T102" fmla="*/ 344 w 791"/>
              <a:gd name="T103" fmla="*/ 315 h 792"/>
              <a:gd name="T104" fmla="*/ 277 w 791"/>
              <a:gd name="T105" fmla="*/ 392 h 792"/>
              <a:gd name="T106" fmla="*/ 169 w 791"/>
              <a:gd name="T107" fmla="*/ 338 h 792"/>
              <a:gd name="T108" fmla="*/ 94 w 791"/>
              <a:gd name="T109" fmla="*/ 272 h 792"/>
              <a:gd name="T110" fmla="*/ 64 w 791"/>
              <a:gd name="T111" fmla="*/ 497 h 792"/>
              <a:gd name="T112" fmla="*/ 33 w 791"/>
              <a:gd name="T113" fmla="*/ 468 h 792"/>
              <a:gd name="T114" fmla="*/ 30 w 791"/>
              <a:gd name="T115" fmla="*/ 505 h 792"/>
              <a:gd name="T116" fmla="*/ 15 w 791"/>
              <a:gd name="T117" fmla="*/ 433 h 792"/>
              <a:gd name="T118" fmla="*/ 252 w 791"/>
              <a:gd name="T119" fmla="*/ 674 h 792"/>
              <a:gd name="T120" fmla="*/ 605 w 791"/>
              <a:gd name="T121" fmla="*/ 662 h 792"/>
              <a:gd name="T122" fmla="*/ 669 w 791"/>
              <a:gd name="T123" fmla="*/ 662 h 7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91" h="792">
                <a:moveTo>
                  <a:pt x="421" y="339"/>
                </a:moveTo>
                <a:cubicBezTo>
                  <a:pt x="426" y="344"/>
                  <a:pt x="427" y="345"/>
                  <a:pt x="426" y="347"/>
                </a:cubicBezTo>
                <a:cubicBezTo>
                  <a:pt x="424" y="353"/>
                  <a:pt x="425" y="358"/>
                  <a:pt x="428" y="362"/>
                </a:cubicBezTo>
                <a:cubicBezTo>
                  <a:pt x="432" y="367"/>
                  <a:pt x="440" y="370"/>
                  <a:pt x="451" y="370"/>
                </a:cubicBezTo>
                <a:cubicBezTo>
                  <a:pt x="454" y="370"/>
                  <a:pt x="457" y="370"/>
                  <a:pt x="460" y="370"/>
                </a:cubicBezTo>
                <a:cubicBezTo>
                  <a:pt x="467" y="369"/>
                  <a:pt x="472" y="365"/>
                  <a:pt x="473" y="359"/>
                </a:cubicBezTo>
                <a:cubicBezTo>
                  <a:pt x="475" y="345"/>
                  <a:pt x="454" y="325"/>
                  <a:pt x="441" y="320"/>
                </a:cubicBezTo>
                <a:cubicBezTo>
                  <a:pt x="440" y="319"/>
                  <a:pt x="440" y="319"/>
                  <a:pt x="440" y="319"/>
                </a:cubicBezTo>
                <a:cubicBezTo>
                  <a:pt x="439" y="318"/>
                  <a:pt x="440" y="315"/>
                  <a:pt x="441" y="313"/>
                </a:cubicBezTo>
                <a:cubicBezTo>
                  <a:pt x="442" y="308"/>
                  <a:pt x="445" y="298"/>
                  <a:pt x="436" y="292"/>
                </a:cubicBezTo>
                <a:cubicBezTo>
                  <a:pt x="428" y="287"/>
                  <a:pt x="421" y="288"/>
                  <a:pt x="416" y="295"/>
                </a:cubicBezTo>
                <a:cubicBezTo>
                  <a:pt x="410" y="302"/>
                  <a:pt x="410" y="316"/>
                  <a:pt x="413" y="325"/>
                </a:cubicBezTo>
                <a:cubicBezTo>
                  <a:pt x="415" y="331"/>
                  <a:pt x="418" y="335"/>
                  <a:pt x="421" y="339"/>
                </a:cubicBezTo>
                <a:close/>
                <a:moveTo>
                  <a:pt x="436" y="333"/>
                </a:moveTo>
                <a:cubicBezTo>
                  <a:pt x="446" y="336"/>
                  <a:pt x="458" y="350"/>
                  <a:pt x="459" y="356"/>
                </a:cubicBezTo>
                <a:cubicBezTo>
                  <a:pt x="459" y="356"/>
                  <a:pt x="459" y="356"/>
                  <a:pt x="459" y="356"/>
                </a:cubicBezTo>
                <a:cubicBezTo>
                  <a:pt x="456" y="356"/>
                  <a:pt x="454" y="356"/>
                  <a:pt x="451" y="356"/>
                </a:cubicBezTo>
                <a:cubicBezTo>
                  <a:pt x="443" y="356"/>
                  <a:pt x="440" y="355"/>
                  <a:pt x="439" y="354"/>
                </a:cubicBezTo>
                <a:cubicBezTo>
                  <a:pt x="439" y="353"/>
                  <a:pt x="439" y="352"/>
                  <a:pt x="439" y="352"/>
                </a:cubicBezTo>
                <a:cubicBezTo>
                  <a:pt x="442" y="343"/>
                  <a:pt x="438" y="337"/>
                  <a:pt x="434" y="332"/>
                </a:cubicBezTo>
                <a:cubicBezTo>
                  <a:pt x="435" y="332"/>
                  <a:pt x="436" y="333"/>
                  <a:pt x="436" y="333"/>
                </a:cubicBezTo>
                <a:close/>
                <a:moveTo>
                  <a:pt x="427" y="303"/>
                </a:moveTo>
                <a:cubicBezTo>
                  <a:pt x="427" y="303"/>
                  <a:pt x="428" y="304"/>
                  <a:pt x="428" y="304"/>
                </a:cubicBezTo>
                <a:cubicBezTo>
                  <a:pt x="428" y="305"/>
                  <a:pt x="428" y="308"/>
                  <a:pt x="427" y="310"/>
                </a:cubicBezTo>
                <a:cubicBezTo>
                  <a:pt x="427" y="312"/>
                  <a:pt x="426" y="315"/>
                  <a:pt x="426" y="319"/>
                </a:cubicBezTo>
                <a:cubicBezTo>
                  <a:pt x="424" y="313"/>
                  <a:pt x="426" y="305"/>
                  <a:pt x="427" y="303"/>
                </a:cubicBezTo>
                <a:close/>
                <a:moveTo>
                  <a:pt x="691" y="658"/>
                </a:moveTo>
                <a:cubicBezTo>
                  <a:pt x="724" y="621"/>
                  <a:pt x="751" y="577"/>
                  <a:pt x="768" y="529"/>
                </a:cubicBezTo>
                <a:cubicBezTo>
                  <a:pt x="768" y="528"/>
                  <a:pt x="769" y="528"/>
                  <a:pt x="769" y="527"/>
                </a:cubicBezTo>
                <a:cubicBezTo>
                  <a:pt x="783" y="486"/>
                  <a:pt x="791" y="442"/>
                  <a:pt x="791" y="396"/>
                </a:cubicBezTo>
                <a:cubicBezTo>
                  <a:pt x="791" y="350"/>
                  <a:pt x="783" y="306"/>
                  <a:pt x="769" y="265"/>
                </a:cubicBezTo>
                <a:cubicBezTo>
                  <a:pt x="769" y="264"/>
                  <a:pt x="768" y="264"/>
                  <a:pt x="768" y="263"/>
                </a:cubicBezTo>
                <a:cubicBezTo>
                  <a:pt x="751" y="215"/>
                  <a:pt x="724" y="171"/>
                  <a:pt x="691" y="133"/>
                </a:cubicBezTo>
                <a:cubicBezTo>
                  <a:pt x="691" y="133"/>
                  <a:pt x="690" y="132"/>
                  <a:pt x="689" y="131"/>
                </a:cubicBezTo>
                <a:cubicBezTo>
                  <a:pt x="651" y="89"/>
                  <a:pt x="604" y="55"/>
                  <a:pt x="551" y="32"/>
                </a:cubicBezTo>
                <a:cubicBezTo>
                  <a:pt x="551" y="32"/>
                  <a:pt x="550" y="32"/>
                  <a:pt x="550" y="32"/>
                </a:cubicBezTo>
                <a:cubicBezTo>
                  <a:pt x="504" y="12"/>
                  <a:pt x="456" y="2"/>
                  <a:pt x="406" y="0"/>
                </a:cubicBezTo>
                <a:cubicBezTo>
                  <a:pt x="406" y="0"/>
                  <a:pt x="406" y="0"/>
                  <a:pt x="406" y="0"/>
                </a:cubicBezTo>
                <a:cubicBezTo>
                  <a:pt x="402" y="0"/>
                  <a:pt x="399" y="0"/>
                  <a:pt x="395" y="0"/>
                </a:cubicBezTo>
                <a:cubicBezTo>
                  <a:pt x="177" y="0"/>
                  <a:pt x="0" y="178"/>
                  <a:pt x="0" y="396"/>
                </a:cubicBezTo>
                <a:cubicBezTo>
                  <a:pt x="0" y="400"/>
                  <a:pt x="0" y="404"/>
                  <a:pt x="0" y="408"/>
                </a:cubicBezTo>
                <a:cubicBezTo>
                  <a:pt x="0" y="409"/>
                  <a:pt x="0" y="411"/>
                  <a:pt x="0" y="412"/>
                </a:cubicBezTo>
                <a:cubicBezTo>
                  <a:pt x="0" y="415"/>
                  <a:pt x="0" y="418"/>
                  <a:pt x="0" y="421"/>
                </a:cubicBezTo>
                <a:cubicBezTo>
                  <a:pt x="1" y="422"/>
                  <a:pt x="1" y="423"/>
                  <a:pt x="1" y="424"/>
                </a:cubicBezTo>
                <a:cubicBezTo>
                  <a:pt x="1" y="433"/>
                  <a:pt x="2" y="441"/>
                  <a:pt x="3" y="449"/>
                </a:cubicBezTo>
                <a:cubicBezTo>
                  <a:pt x="3" y="450"/>
                  <a:pt x="3" y="451"/>
                  <a:pt x="4" y="451"/>
                </a:cubicBezTo>
                <a:cubicBezTo>
                  <a:pt x="4" y="455"/>
                  <a:pt x="5" y="459"/>
                  <a:pt x="5" y="462"/>
                </a:cubicBezTo>
                <a:cubicBezTo>
                  <a:pt x="5" y="463"/>
                  <a:pt x="5" y="463"/>
                  <a:pt x="6" y="464"/>
                </a:cubicBezTo>
                <a:cubicBezTo>
                  <a:pt x="6" y="468"/>
                  <a:pt x="7" y="472"/>
                  <a:pt x="8" y="476"/>
                </a:cubicBezTo>
                <a:cubicBezTo>
                  <a:pt x="8" y="477"/>
                  <a:pt x="8" y="477"/>
                  <a:pt x="8" y="477"/>
                </a:cubicBezTo>
                <a:cubicBezTo>
                  <a:pt x="9" y="481"/>
                  <a:pt x="10" y="485"/>
                  <a:pt x="10" y="488"/>
                </a:cubicBezTo>
                <a:cubicBezTo>
                  <a:pt x="11" y="489"/>
                  <a:pt x="11" y="491"/>
                  <a:pt x="11" y="492"/>
                </a:cubicBezTo>
                <a:cubicBezTo>
                  <a:pt x="12" y="494"/>
                  <a:pt x="13" y="497"/>
                  <a:pt x="14" y="500"/>
                </a:cubicBezTo>
                <a:cubicBezTo>
                  <a:pt x="14" y="501"/>
                  <a:pt x="14" y="503"/>
                  <a:pt x="15" y="504"/>
                </a:cubicBezTo>
                <a:cubicBezTo>
                  <a:pt x="16" y="507"/>
                  <a:pt x="17" y="511"/>
                  <a:pt x="18" y="514"/>
                </a:cubicBezTo>
                <a:cubicBezTo>
                  <a:pt x="18" y="516"/>
                  <a:pt x="19" y="518"/>
                  <a:pt x="20" y="521"/>
                </a:cubicBezTo>
                <a:cubicBezTo>
                  <a:pt x="20" y="522"/>
                  <a:pt x="21" y="523"/>
                  <a:pt x="21" y="524"/>
                </a:cubicBezTo>
                <a:cubicBezTo>
                  <a:pt x="30" y="551"/>
                  <a:pt x="42" y="577"/>
                  <a:pt x="57" y="601"/>
                </a:cubicBezTo>
                <a:cubicBezTo>
                  <a:pt x="57" y="602"/>
                  <a:pt x="58" y="602"/>
                  <a:pt x="58" y="602"/>
                </a:cubicBezTo>
                <a:cubicBezTo>
                  <a:pt x="70" y="622"/>
                  <a:pt x="84" y="641"/>
                  <a:pt x="100" y="659"/>
                </a:cubicBezTo>
                <a:cubicBezTo>
                  <a:pt x="100" y="659"/>
                  <a:pt x="101" y="660"/>
                  <a:pt x="102" y="661"/>
                </a:cubicBezTo>
                <a:cubicBezTo>
                  <a:pt x="174" y="741"/>
                  <a:pt x="279" y="792"/>
                  <a:pt x="395" y="792"/>
                </a:cubicBezTo>
                <a:cubicBezTo>
                  <a:pt x="512" y="792"/>
                  <a:pt x="617" y="741"/>
                  <a:pt x="689" y="661"/>
                </a:cubicBezTo>
                <a:cubicBezTo>
                  <a:pt x="690" y="660"/>
                  <a:pt x="691" y="659"/>
                  <a:pt x="691" y="658"/>
                </a:cubicBezTo>
                <a:close/>
                <a:moveTo>
                  <a:pt x="652" y="610"/>
                </a:moveTo>
                <a:cubicBezTo>
                  <a:pt x="649" y="606"/>
                  <a:pt x="644" y="604"/>
                  <a:pt x="639" y="606"/>
                </a:cubicBezTo>
                <a:cubicBezTo>
                  <a:pt x="635" y="609"/>
                  <a:pt x="634" y="613"/>
                  <a:pt x="632" y="618"/>
                </a:cubicBezTo>
                <a:cubicBezTo>
                  <a:pt x="632" y="620"/>
                  <a:pt x="631" y="623"/>
                  <a:pt x="630" y="626"/>
                </a:cubicBezTo>
                <a:cubicBezTo>
                  <a:pt x="628" y="629"/>
                  <a:pt x="626" y="633"/>
                  <a:pt x="624" y="637"/>
                </a:cubicBezTo>
                <a:cubicBezTo>
                  <a:pt x="622" y="642"/>
                  <a:pt x="620" y="645"/>
                  <a:pt x="620" y="647"/>
                </a:cubicBezTo>
                <a:cubicBezTo>
                  <a:pt x="620" y="648"/>
                  <a:pt x="620" y="648"/>
                  <a:pt x="620" y="648"/>
                </a:cubicBezTo>
                <a:cubicBezTo>
                  <a:pt x="551" y="648"/>
                  <a:pt x="551" y="648"/>
                  <a:pt x="551" y="648"/>
                </a:cubicBezTo>
                <a:cubicBezTo>
                  <a:pt x="551" y="646"/>
                  <a:pt x="552" y="645"/>
                  <a:pt x="553" y="643"/>
                </a:cubicBezTo>
                <a:cubicBezTo>
                  <a:pt x="563" y="639"/>
                  <a:pt x="573" y="632"/>
                  <a:pt x="581" y="622"/>
                </a:cubicBezTo>
                <a:cubicBezTo>
                  <a:pt x="593" y="609"/>
                  <a:pt x="598" y="593"/>
                  <a:pt x="596" y="579"/>
                </a:cubicBezTo>
                <a:cubicBezTo>
                  <a:pt x="594" y="569"/>
                  <a:pt x="590" y="550"/>
                  <a:pt x="585" y="533"/>
                </a:cubicBezTo>
                <a:cubicBezTo>
                  <a:pt x="752" y="533"/>
                  <a:pt x="752" y="533"/>
                  <a:pt x="752" y="533"/>
                </a:cubicBezTo>
                <a:cubicBezTo>
                  <a:pt x="735" y="575"/>
                  <a:pt x="711" y="614"/>
                  <a:pt x="682" y="648"/>
                </a:cubicBezTo>
                <a:cubicBezTo>
                  <a:pt x="640" y="648"/>
                  <a:pt x="640" y="648"/>
                  <a:pt x="640" y="648"/>
                </a:cubicBezTo>
                <a:cubicBezTo>
                  <a:pt x="644" y="644"/>
                  <a:pt x="648" y="639"/>
                  <a:pt x="649" y="637"/>
                </a:cubicBezTo>
                <a:cubicBezTo>
                  <a:pt x="653" y="632"/>
                  <a:pt x="655" y="617"/>
                  <a:pt x="652" y="610"/>
                </a:cubicBezTo>
                <a:close/>
                <a:moveTo>
                  <a:pt x="69" y="594"/>
                </a:moveTo>
                <a:cubicBezTo>
                  <a:pt x="61" y="570"/>
                  <a:pt x="54" y="550"/>
                  <a:pt x="49" y="533"/>
                </a:cubicBezTo>
                <a:cubicBezTo>
                  <a:pt x="206" y="533"/>
                  <a:pt x="206" y="533"/>
                  <a:pt x="206" y="533"/>
                </a:cubicBezTo>
                <a:cubicBezTo>
                  <a:pt x="214" y="574"/>
                  <a:pt x="225" y="613"/>
                  <a:pt x="240" y="648"/>
                </a:cubicBezTo>
                <a:cubicBezTo>
                  <a:pt x="109" y="648"/>
                  <a:pt x="109" y="648"/>
                  <a:pt x="109" y="648"/>
                </a:cubicBezTo>
                <a:cubicBezTo>
                  <a:pt x="94" y="631"/>
                  <a:pt x="81" y="613"/>
                  <a:pt x="69" y="594"/>
                </a:cubicBezTo>
                <a:close/>
                <a:moveTo>
                  <a:pt x="220" y="533"/>
                </a:moveTo>
                <a:cubicBezTo>
                  <a:pt x="388" y="533"/>
                  <a:pt x="388" y="533"/>
                  <a:pt x="388" y="533"/>
                </a:cubicBezTo>
                <a:cubicBezTo>
                  <a:pt x="388" y="545"/>
                  <a:pt x="388" y="545"/>
                  <a:pt x="388" y="545"/>
                </a:cubicBezTo>
                <a:cubicBezTo>
                  <a:pt x="378" y="549"/>
                  <a:pt x="369" y="555"/>
                  <a:pt x="371" y="567"/>
                </a:cubicBezTo>
                <a:cubicBezTo>
                  <a:pt x="377" y="608"/>
                  <a:pt x="384" y="621"/>
                  <a:pt x="388" y="626"/>
                </a:cubicBezTo>
                <a:cubicBezTo>
                  <a:pt x="388" y="648"/>
                  <a:pt x="388" y="648"/>
                  <a:pt x="388" y="648"/>
                </a:cubicBezTo>
                <a:cubicBezTo>
                  <a:pt x="255" y="648"/>
                  <a:pt x="255" y="648"/>
                  <a:pt x="255" y="648"/>
                </a:cubicBezTo>
                <a:cubicBezTo>
                  <a:pt x="240" y="614"/>
                  <a:pt x="228" y="575"/>
                  <a:pt x="220" y="533"/>
                </a:cubicBezTo>
                <a:close/>
                <a:moveTo>
                  <a:pt x="61" y="426"/>
                </a:moveTo>
                <a:cubicBezTo>
                  <a:pt x="64" y="439"/>
                  <a:pt x="68" y="461"/>
                  <a:pt x="66" y="475"/>
                </a:cubicBezTo>
                <a:cubicBezTo>
                  <a:pt x="65" y="481"/>
                  <a:pt x="64" y="483"/>
                  <a:pt x="64" y="483"/>
                </a:cubicBezTo>
                <a:cubicBezTo>
                  <a:pt x="58" y="478"/>
                  <a:pt x="58" y="445"/>
                  <a:pt x="61" y="426"/>
                </a:cubicBezTo>
                <a:close/>
                <a:moveTo>
                  <a:pt x="51" y="389"/>
                </a:moveTo>
                <a:cubicBezTo>
                  <a:pt x="54" y="382"/>
                  <a:pt x="58" y="374"/>
                  <a:pt x="61" y="366"/>
                </a:cubicBezTo>
                <a:cubicBezTo>
                  <a:pt x="89" y="303"/>
                  <a:pt x="106" y="280"/>
                  <a:pt x="107" y="279"/>
                </a:cubicBezTo>
                <a:cubicBezTo>
                  <a:pt x="107" y="278"/>
                  <a:pt x="108" y="277"/>
                  <a:pt x="108" y="276"/>
                </a:cubicBezTo>
                <a:cubicBezTo>
                  <a:pt x="108" y="275"/>
                  <a:pt x="109" y="260"/>
                  <a:pt x="110" y="246"/>
                </a:cubicBezTo>
                <a:cubicBezTo>
                  <a:pt x="119" y="249"/>
                  <a:pt x="128" y="251"/>
                  <a:pt x="134" y="251"/>
                </a:cubicBezTo>
                <a:cubicBezTo>
                  <a:pt x="140" y="264"/>
                  <a:pt x="142" y="269"/>
                  <a:pt x="144" y="271"/>
                </a:cubicBezTo>
                <a:cubicBezTo>
                  <a:pt x="144" y="273"/>
                  <a:pt x="145" y="277"/>
                  <a:pt x="145" y="281"/>
                </a:cubicBezTo>
                <a:cubicBezTo>
                  <a:pt x="152" y="337"/>
                  <a:pt x="157" y="354"/>
                  <a:pt x="168" y="354"/>
                </a:cubicBezTo>
                <a:cubicBezTo>
                  <a:pt x="170" y="354"/>
                  <a:pt x="172" y="353"/>
                  <a:pt x="173" y="352"/>
                </a:cubicBezTo>
                <a:cubicBezTo>
                  <a:pt x="169" y="362"/>
                  <a:pt x="168" y="376"/>
                  <a:pt x="170" y="385"/>
                </a:cubicBezTo>
                <a:cubicBezTo>
                  <a:pt x="170" y="386"/>
                  <a:pt x="171" y="388"/>
                  <a:pt x="171" y="389"/>
                </a:cubicBezTo>
                <a:lnTo>
                  <a:pt x="51" y="389"/>
                </a:lnTo>
                <a:close/>
                <a:moveTo>
                  <a:pt x="195" y="348"/>
                </a:moveTo>
                <a:cubicBezTo>
                  <a:pt x="193" y="344"/>
                  <a:pt x="190" y="341"/>
                  <a:pt x="186" y="341"/>
                </a:cubicBezTo>
                <a:cubicBezTo>
                  <a:pt x="185" y="341"/>
                  <a:pt x="184" y="341"/>
                  <a:pt x="183" y="341"/>
                </a:cubicBezTo>
                <a:cubicBezTo>
                  <a:pt x="187" y="335"/>
                  <a:pt x="189" y="328"/>
                  <a:pt x="191" y="321"/>
                </a:cubicBezTo>
                <a:cubicBezTo>
                  <a:pt x="192" y="315"/>
                  <a:pt x="194" y="310"/>
                  <a:pt x="196" y="305"/>
                </a:cubicBezTo>
                <a:cubicBezTo>
                  <a:pt x="196" y="304"/>
                  <a:pt x="198" y="302"/>
                  <a:pt x="200" y="299"/>
                </a:cubicBezTo>
                <a:cubicBezTo>
                  <a:pt x="198" y="315"/>
                  <a:pt x="196" y="331"/>
                  <a:pt x="195" y="348"/>
                </a:cubicBezTo>
                <a:close/>
                <a:moveTo>
                  <a:pt x="183" y="374"/>
                </a:moveTo>
                <a:cubicBezTo>
                  <a:pt x="183" y="369"/>
                  <a:pt x="184" y="363"/>
                  <a:pt x="185" y="360"/>
                </a:cubicBezTo>
                <a:cubicBezTo>
                  <a:pt x="187" y="368"/>
                  <a:pt x="187" y="380"/>
                  <a:pt x="184" y="384"/>
                </a:cubicBezTo>
                <a:cubicBezTo>
                  <a:pt x="184" y="383"/>
                  <a:pt x="183" y="380"/>
                  <a:pt x="183" y="374"/>
                </a:cubicBezTo>
                <a:close/>
                <a:moveTo>
                  <a:pt x="216" y="287"/>
                </a:moveTo>
                <a:cubicBezTo>
                  <a:pt x="228" y="279"/>
                  <a:pt x="242" y="272"/>
                  <a:pt x="250" y="272"/>
                </a:cubicBezTo>
                <a:cubicBezTo>
                  <a:pt x="251" y="272"/>
                  <a:pt x="252" y="272"/>
                  <a:pt x="252" y="272"/>
                </a:cubicBezTo>
                <a:cubicBezTo>
                  <a:pt x="257" y="273"/>
                  <a:pt x="257" y="293"/>
                  <a:pt x="254" y="311"/>
                </a:cubicBezTo>
                <a:cubicBezTo>
                  <a:pt x="253" y="313"/>
                  <a:pt x="254" y="316"/>
                  <a:pt x="255" y="317"/>
                </a:cubicBezTo>
                <a:cubicBezTo>
                  <a:pt x="256" y="319"/>
                  <a:pt x="258" y="320"/>
                  <a:pt x="260" y="320"/>
                </a:cubicBezTo>
                <a:cubicBezTo>
                  <a:pt x="261" y="320"/>
                  <a:pt x="283" y="321"/>
                  <a:pt x="288" y="338"/>
                </a:cubicBezTo>
                <a:cubicBezTo>
                  <a:pt x="290" y="344"/>
                  <a:pt x="289" y="345"/>
                  <a:pt x="283" y="350"/>
                </a:cubicBezTo>
                <a:cubicBezTo>
                  <a:pt x="276" y="356"/>
                  <a:pt x="265" y="365"/>
                  <a:pt x="263" y="389"/>
                </a:cubicBezTo>
                <a:cubicBezTo>
                  <a:pt x="208" y="389"/>
                  <a:pt x="208" y="389"/>
                  <a:pt x="208" y="389"/>
                </a:cubicBezTo>
                <a:cubicBezTo>
                  <a:pt x="208" y="354"/>
                  <a:pt x="211" y="320"/>
                  <a:pt x="216" y="287"/>
                </a:cubicBezTo>
                <a:close/>
                <a:moveTo>
                  <a:pt x="264" y="403"/>
                </a:moveTo>
                <a:cubicBezTo>
                  <a:pt x="274" y="439"/>
                  <a:pt x="335" y="462"/>
                  <a:pt x="388" y="476"/>
                </a:cubicBezTo>
                <a:cubicBezTo>
                  <a:pt x="388" y="519"/>
                  <a:pt x="388" y="519"/>
                  <a:pt x="388" y="519"/>
                </a:cubicBezTo>
                <a:cubicBezTo>
                  <a:pt x="218" y="519"/>
                  <a:pt x="218" y="519"/>
                  <a:pt x="218" y="519"/>
                </a:cubicBezTo>
                <a:cubicBezTo>
                  <a:pt x="212" y="482"/>
                  <a:pt x="208" y="443"/>
                  <a:pt x="208" y="403"/>
                </a:cubicBezTo>
                <a:lnTo>
                  <a:pt x="264" y="403"/>
                </a:lnTo>
                <a:close/>
                <a:moveTo>
                  <a:pt x="358" y="299"/>
                </a:moveTo>
                <a:cubicBezTo>
                  <a:pt x="357" y="285"/>
                  <a:pt x="357" y="285"/>
                  <a:pt x="367" y="284"/>
                </a:cubicBezTo>
                <a:cubicBezTo>
                  <a:pt x="373" y="283"/>
                  <a:pt x="381" y="282"/>
                  <a:pt x="388" y="279"/>
                </a:cubicBezTo>
                <a:cubicBezTo>
                  <a:pt x="388" y="370"/>
                  <a:pt x="388" y="370"/>
                  <a:pt x="388" y="370"/>
                </a:cubicBezTo>
                <a:cubicBezTo>
                  <a:pt x="372" y="374"/>
                  <a:pt x="354" y="388"/>
                  <a:pt x="354" y="388"/>
                </a:cubicBezTo>
                <a:cubicBezTo>
                  <a:pt x="351" y="390"/>
                  <a:pt x="350" y="393"/>
                  <a:pt x="351" y="396"/>
                </a:cubicBezTo>
                <a:cubicBezTo>
                  <a:pt x="355" y="406"/>
                  <a:pt x="368" y="439"/>
                  <a:pt x="386" y="440"/>
                </a:cubicBezTo>
                <a:cubicBezTo>
                  <a:pt x="386" y="440"/>
                  <a:pt x="386" y="440"/>
                  <a:pt x="387" y="440"/>
                </a:cubicBezTo>
                <a:cubicBezTo>
                  <a:pt x="387" y="440"/>
                  <a:pt x="387" y="440"/>
                  <a:pt x="387" y="440"/>
                </a:cubicBezTo>
                <a:cubicBezTo>
                  <a:pt x="387" y="440"/>
                  <a:pt x="388" y="440"/>
                  <a:pt x="388" y="440"/>
                </a:cubicBezTo>
                <a:cubicBezTo>
                  <a:pt x="388" y="450"/>
                  <a:pt x="388" y="450"/>
                  <a:pt x="388" y="450"/>
                </a:cubicBezTo>
                <a:cubicBezTo>
                  <a:pt x="387" y="449"/>
                  <a:pt x="385" y="448"/>
                  <a:pt x="383" y="446"/>
                </a:cubicBezTo>
                <a:cubicBezTo>
                  <a:pt x="363" y="432"/>
                  <a:pt x="328" y="407"/>
                  <a:pt x="322" y="391"/>
                </a:cubicBezTo>
                <a:cubicBezTo>
                  <a:pt x="315" y="371"/>
                  <a:pt x="315" y="357"/>
                  <a:pt x="316" y="352"/>
                </a:cubicBezTo>
                <a:cubicBezTo>
                  <a:pt x="317" y="353"/>
                  <a:pt x="319" y="355"/>
                  <a:pt x="323" y="359"/>
                </a:cubicBezTo>
                <a:cubicBezTo>
                  <a:pt x="329" y="366"/>
                  <a:pt x="334" y="369"/>
                  <a:pt x="340" y="369"/>
                </a:cubicBezTo>
                <a:cubicBezTo>
                  <a:pt x="358" y="369"/>
                  <a:pt x="358" y="339"/>
                  <a:pt x="358" y="315"/>
                </a:cubicBezTo>
                <a:cubicBezTo>
                  <a:pt x="359" y="309"/>
                  <a:pt x="358" y="304"/>
                  <a:pt x="358" y="299"/>
                </a:cubicBezTo>
                <a:close/>
                <a:moveTo>
                  <a:pt x="504" y="86"/>
                </a:moveTo>
                <a:cubicBezTo>
                  <a:pt x="513" y="99"/>
                  <a:pt x="522" y="114"/>
                  <a:pt x="529" y="130"/>
                </a:cubicBezTo>
                <a:cubicBezTo>
                  <a:pt x="517" y="130"/>
                  <a:pt x="517" y="130"/>
                  <a:pt x="517" y="130"/>
                </a:cubicBezTo>
                <a:cubicBezTo>
                  <a:pt x="515" y="126"/>
                  <a:pt x="514" y="122"/>
                  <a:pt x="513" y="120"/>
                </a:cubicBezTo>
                <a:cubicBezTo>
                  <a:pt x="506" y="105"/>
                  <a:pt x="502" y="102"/>
                  <a:pt x="498" y="102"/>
                </a:cubicBezTo>
                <a:cubicBezTo>
                  <a:pt x="494" y="102"/>
                  <a:pt x="491" y="105"/>
                  <a:pt x="491" y="109"/>
                </a:cubicBezTo>
                <a:cubicBezTo>
                  <a:pt x="491" y="110"/>
                  <a:pt x="491" y="112"/>
                  <a:pt x="492" y="113"/>
                </a:cubicBezTo>
                <a:cubicBezTo>
                  <a:pt x="489" y="110"/>
                  <a:pt x="486" y="107"/>
                  <a:pt x="482" y="104"/>
                </a:cubicBezTo>
                <a:cubicBezTo>
                  <a:pt x="476" y="100"/>
                  <a:pt x="475" y="97"/>
                  <a:pt x="475" y="96"/>
                </a:cubicBezTo>
                <a:cubicBezTo>
                  <a:pt x="476" y="93"/>
                  <a:pt x="484" y="88"/>
                  <a:pt x="504" y="86"/>
                </a:cubicBezTo>
                <a:close/>
                <a:moveTo>
                  <a:pt x="752" y="259"/>
                </a:moveTo>
                <a:cubicBezTo>
                  <a:pt x="584" y="259"/>
                  <a:pt x="584" y="259"/>
                  <a:pt x="584" y="259"/>
                </a:cubicBezTo>
                <a:cubicBezTo>
                  <a:pt x="576" y="218"/>
                  <a:pt x="565" y="178"/>
                  <a:pt x="551" y="144"/>
                </a:cubicBezTo>
                <a:cubicBezTo>
                  <a:pt x="682" y="144"/>
                  <a:pt x="682" y="144"/>
                  <a:pt x="682" y="144"/>
                </a:cubicBezTo>
                <a:cubicBezTo>
                  <a:pt x="711" y="178"/>
                  <a:pt x="735" y="217"/>
                  <a:pt x="752" y="259"/>
                </a:cubicBezTo>
                <a:close/>
                <a:moveTo>
                  <a:pt x="757" y="519"/>
                </a:moveTo>
                <a:cubicBezTo>
                  <a:pt x="587" y="519"/>
                  <a:pt x="587" y="519"/>
                  <a:pt x="587" y="519"/>
                </a:cubicBezTo>
                <a:cubicBezTo>
                  <a:pt x="588" y="509"/>
                  <a:pt x="590" y="500"/>
                  <a:pt x="591" y="491"/>
                </a:cubicBezTo>
                <a:cubicBezTo>
                  <a:pt x="594" y="492"/>
                  <a:pt x="596" y="493"/>
                  <a:pt x="599" y="493"/>
                </a:cubicBezTo>
                <a:cubicBezTo>
                  <a:pt x="599" y="493"/>
                  <a:pt x="599" y="493"/>
                  <a:pt x="599" y="493"/>
                </a:cubicBezTo>
                <a:cubicBezTo>
                  <a:pt x="604" y="493"/>
                  <a:pt x="608" y="490"/>
                  <a:pt x="610" y="485"/>
                </a:cubicBezTo>
                <a:cubicBezTo>
                  <a:pt x="613" y="475"/>
                  <a:pt x="604" y="469"/>
                  <a:pt x="599" y="467"/>
                </a:cubicBezTo>
                <a:cubicBezTo>
                  <a:pt x="597" y="465"/>
                  <a:pt x="595" y="464"/>
                  <a:pt x="594" y="463"/>
                </a:cubicBezTo>
                <a:cubicBezTo>
                  <a:pt x="595" y="443"/>
                  <a:pt x="596" y="423"/>
                  <a:pt x="597" y="403"/>
                </a:cubicBezTo>
                <a:cubicBezTo>
                  <a:pt x="777" y="403"/>
                  <a:pt x="777" y="403"/>
                  <a:pt x="777" y="403"/>
                </a:cubicBezTo>
                <a:cubicBezTo>
                  <a:pt x="776" y="443"/>
                  <a:pt x="769" y="482"/>
                  <a:pt x="757" y="519"/>
                </a:cubicBezTo>
                <a:close/>
                <a:moveTo>
                  <a:pt x="552" y="628"/>
                </a:moveTo>
                <a:cubicBezTo>
                  <a:pt x="552" y="628"/>
                  <a:pt x="552" y="628"/>
                  <a:pt x="551" y="628"/>
                </a:cubicBezTo>
                <a:cubicBezTo>
                  <a:pt x="548" y="626"/>
                  <a:pt x="544" y="628"/>
                  <a:pt x="542" y="632"/>
                </a:cubicBezTo>
                <a:cubicBezTo>
                  <a:pt x="542" y="632"/>
                  <a:pt x="542" y="632"/>
                  <a:pt x="542" y="632"/>
                </a:cubicBezTo>
                <a:cubicBezTo>
                  <a:pt x="538" y="633"/>
                  <a:pt x="534" y="634"/>
                  <a:pt x="530" y="633"/>
                </a:cubicBezTo>
                <a:cubicBezTo>
                  <a:pt x="514" y="633"/>
                  <a:pt x="506" y="623"/>
                  <a:pt x="499" y="615"/>
                </a:cubicBezTo>
                <a:cubicBezTo>
                  <a:pt x="493" y="608"/>
                  <a:pt x="487" y="601"/>
                  <a:pt x="479" y="601"/>
                </a:cubicBezTo>
                <a:cubicBezTo>
                  <a:pt x="477" y="601"/>
                  <a:pt x="476" y="601"/>
                  <a:pt x="475" y="601"/>
                </a:cubicBezTo>
                <a:cubicBezTo>
                  <a:pt x="471" y="602"/>
                  <a:pt x="466" y="604"/>
                  <a:pt x="460" y="606"/>
                </a:cubicBezTo>
                <a:cubicBezTo>
                  <a:pt x="446" y="610"/>
                  <a:pt x="427" y="617"/>
                  <a:pt x="409" y="617"/>
                </a:cubicBezTo>
                <a:cubicBezTo>
                  <a:pt x="405" y="617"/>
                  <a:pt x="401" y="616"/>
                  <a:pt x="398" y="616"/>
                </a:cubicBezTo>
                <a:cubicBezTo>
                  <a:pt x="395" y="612"/>
                  <a:pt x="390" y="596"/>
                  <a:pt x="384" y="565"/>
                </a:cubicBezTo>
                <a:cubicBezTo>
                  <a:pt x="384" y="562"/>
                  <a:pt x="387" y="560"/>
                  <a:pt x="393" y="558"/>
                </a:cubicBezTo>
                <a:cubicBezTo>
                  <a:pt x="394" y="558"/>
                  <a:pt x="394" y="558"/>
                  <a:pt x="395" y="558"/>
                </a:cubicBezTo>
                <a:cubicBezTo>
                  <a:pt x="398" y="558"/>
                  <a:pt x="400" y="557"/>
                  <a:pt x="401" y="555"/>
                </a:cubicBezTo>
                <a:cubicBezTo>
                  <a:pt x="402" y="555"/>
                  <a:pt x="403" y="555"/>
                  <a:pt x="403" y="554"/>
                </a:cubicBezTo>
                <a:cubicBezTo>
                  <a:pt x="415" y="550"/>
                  <a:pt x="429" y="546"/>
                  <a:pt x="438" y="535"/>
                </a:cubicBezTo>
                <a:cubicBezTo>
                  <a:pt x="452" y="518"/>
                  <a:pt x="466" y="500"/>
                  <a:pt x="483" y="496"/>
                </a:cubicBezTo>
                <a:cubicBezTo>
                  <a:pt x="484" y="496"/>
                  <a:pt x="486" y="496"/>
                  <a:pt x="487" y="496"/>
                </a:cubicBezTo>
                <a:cubicBezTo>
                  <a:pt x="496" y="496"/>
                  <a:pt x="500" y="505"/>
                  <a:pt x="500" y="506"/>
                </a:cubicBezTo>
                <a:cubicBezTo>
                  <a:pt x="500" y="507"/>
                  <a:pt x="501" y="508"/>
                  <a:pt x="502" y="509"/>
                </a:cubicBezTo>
                <a:cubicBezTo>
                  <a:pt x="504" y="511"/>
                  <a:pt x="524" y="530"/>
                  <a:pt x="534" y="535"/>
                </a:cubicBezTo>
                <a:cubicBezTo>
                  <a:pt x="535" y="536"/>
                  <a:pt x="537" y="536"/>
                  <a:pt x="538" y="536"/>
                </a:cubicBezTo>
                <a:cubicBezTo>
                  <a:pt x="538" y="536"/>
                  <a:pt x="538" y="536"/>
                  <a:pt x="538" y="536"/>
                </a:cubicBezTo>
                <a:cubicBezTo>
                  <a:pt x="548" y="536"/>
                  <a:pt x="550" y="525"/>
                  <a:pt x="552" y="513"/>
                </a:cubicBezTo>
                <a:cubicBezTo>
                  <a:pt x="552" y="508"/>
                  <a:pt x="554" y="501"/>
                  <a:pt x="555" y="497"/>
                </a:cubicBezTo>
                <a:cubicBezTo>
                  <a:pt x="563" y="507"/>
                  <a:pt x="577" y="552"/>
                  <a:pt x="582" y="582"/>
                </a:cubicBezTo>
                <a:cubicBezTo>
                  <a:pt x="584" y="591"/>
                  <a:pt x="579" y="603"/>
                  <a:pt x="570" y="613"/>
                </a:cubicBezTo>
                <a:cubicBezTo>
                  <a:pt x="565" y="620"/>
                  <a:pt x="559" y="625"/>
                  <a:pt x="552" y="628"/>
                </a:cubicBezTo>
                <a:close/>
                <a:moveTo>
                  <a:pt x="399" y="382"/>
                </a:moveTo>
                <a:cubicBezTo>
                  <a:pt x="401" y="382"/>
                  <a:pt x="402" y="382"/>
                  <a:pt x="402" y="386"/>
                </a:cubicBezTo>
                <a:cubicBezTo>
                  <a:pt x="402" y="388"/>
                  <a:pt x="402" y="390"/>
                  <a:pt x="402" y="392"/>
                </a:cubicBezTo>
                <a:cubicBezTo>
                  <a:pt x="401" y="393"/>
                  <a:pt x="400" y="394"/>
                  <a:pt x="400" y="396"/>
                </a:cubicBezTo>
                <a:cubicBezTo>
                  <a:pt x="400" y="397"/>
                  <a:pt x="400" y="398"/>
                  <a:pt x="401" y="399"/>
                </a:cubicBezTo>
                <a:cubicBezTo>
                  <a:pt x="399" y="410"/>
                  <a:pt x="396" y="419"/>
                  <a:pt x="392" y="424"/>
                </a:cubicBezTo>
                <a:cubicBezTo>
                  <a:pt x="389" y="426"/>
                  <a:pt x="387" y="426"/>
                  <a:pt x="387" y="426"/>
                </a:cubicBezTo>
                <a:cubicBezTo>
                  <a:pt x="387" y="426"/>
                  <a:pt x="387" y="426"/>
                  <a:pt x="387" y="426"/>
                </a:cubicBezTo>
                <a:cubicBezTo>
                  <a:pt x="386" y="426"/>
                  <a:pt x="386" y="426"/>
                  <a:pt x="386" y="426"/>
                </a:cubicBezTo>
                <a:cubicBezTo>
                  <a:pt x="382" y="426"/>
                  <a:pt x="373" y="412"/>
                  <a:pt x="366" y="396"/>
                </a:cubicBezTo>
                <a:cubicBezTo>
                  <a:pt x="375" y="390"/>
                  <a:pt x="390" y="382"/>
                  <a:pt x="399" y="382"/>
                </a:cubicBezTo>
                <a:close/>
                <a:moveTo>
                  <a:pt x="402" y="478"/>
                </a:moveTo>
                <a:cubicBezTo>
                  <a:pt x="407" y="478"/>
                  <a:pt x="408" y="474"/>
                  <a:pt x="409" y="473"/>
                </a:cubicBezTo>
                <a:cubicBezTo>
                  <a:pt x="410" y="469"/>
                  <a:pt x="408" y="466"/>
                  <a:pt x="402" y="461"/>
                </a:cubicBezTo>
                <a:cubicBezTo>
                  <a:pt x="402" y="433"/>
                  <a:pt x="402" y="433"/>
                  <a:pt x="402" y="433"/>
                </a:cubicBezTo>
                <a:cubicBezTo>
                  <a:pt x="408" y="426"/>
                  <a:pt x="412" y="416"/>
                  <a:pt x="414" y="403"/>
                </a:cubicBezTo>
                <a:cubicBezTo>
                  <a:pt x="583" y="403"/>
                  <a:pt x="583" y="403"/>
                  <a:pt x="583" y="403"/>
                </a:cubicBezTo>
                <a:cubicBezTo>
                  <a:pt x="582" y="415"/>
                  <a:pt x="582" y="428"/>
                  <a:pt x="581" y="440"/>
                </a:cubicBezTo>
                <a:cubicBezTo>
                  <a:pt x="574" y="433"/>
                  <a:pt x="563" y="429"/>
                  <a:pt x="551" y="425"/>
                </a:cubicBezTo>
                <a:cubicBezTo>
                  <a:pt x="530" y="417"/>
                  <a:pt x="499" y="410"/>
                  <a:pt x="491" y="408"/>
                </a:cubicBezTo>
                <a:cubicBezTo>
                  <a:pt x="490" y="408"/>
                  <a:pt x="489" y="408"/>
                  <a:pt x="489" y="408"/>
                </a:cubicBezTo>
                <a:cubicBezTo>
                  <a:pt x="485" y="408"/>
                  <a:pt x="481" y="410"/>
                  <a:pt x="480" y="414"/>
                </a:cubicBezTo>
                <a:cubicBezTo>
                  <a:pt x="477" y="427"/>
                  <a:pt x="513" y="450"/>
                  <a:pt x="513" y="451"/>
                </a:cubicBezTo>
                <a:cubicBezTo>
                  <a:pt x="519" y="454"/>
                  <a:pt x="519" y="458"/>
                  <a:pt x="519" y="463"/>
                </a:cubicBezTo>
                <a:cubicBezTo>
                  <a:pt x="520" y="468"/>
                  <a:pt x="520" y="478"/>
                  <a:pt x="532" y="479"/>
                </a:cubicBezTo>
                <a:cubicBezTo>
                  <a:pt x="538" y="479"/>
                  <a:pt x="544" y="478"/>
                  <a:pt x="550" y="477"/>
                </a:cubicBezTo>
                <a:cubicBezTo>
                  <a:pt x="556" y="476"/>
                  <a:pt x="562" y="475"/>
                  <a:pt x="566" y="476"/>
                </a:cubicBezTo>
                <a:cubicBezTo>
                  <a:pt x="569" y="477"/>
                  <a:pt x="573" y="480"/>
                  <a:pt x="577" y="483"/>
                </a:cubicBezTo>
                <a:cubicBezTo>
                  <a:pt x="578" y="483"/>
                  <a:pt x="578" y="483"/>
                  <a:pt x="578" y="483"/>
                </a:cubicBezTo>
                <a:cubicBezTo>
                  <a:pt x="577" y="490"/>
                  <a:pt x="576" y="497"/>
                  <a:pt x="575" y="505"/>
                </a:cubicBezTo>
                <a:cubicBezTo>
                  <a:pt x="567" y="486"/>
                  <a:pt x="561" y="482"/>
                  <a:pt x="556" y="482"/>
                </a:cubicBezTo>
                <a:cubicBezTo>
                  <a:pt x="556" y="482"/>
                  <a:pt x="555" y="482"/>
                  <a:pt x="555" y="482"/>
                </a:cubicBezTo>
                <a:cubicBezTo>
                  <a:pt x="543" y="482"/>
                  <a:pt x="540" y="497"/>
                  <a:pt x="538" y="510"/>
                </a:cubicBezTo>
                <a:cubicBezTo>
                  <a:pt x="537" y="513"/>
                  <a:pt x="537" y="517"/>
                  <a:pt x="536" y="520"/>
                </a:cubicBezTo>
                <a:cubicBezTo>
                  <a:pt x="529" y="515"/>
                  <a:pt x="518" y="505"/>
                  <a:pt x="513" y="500"/>
                </a:cubicBezTo>
                <a:cubicBezTo>
                  <a:pt x="510" y="495"/>
                  <a:pt x="503" y="482"/>
                  <a:pt x="487" y="482"/>
                </a:cubicBezTo>
                <a:cubicBezTo>
                  <a:pt x="485" y="482"/>
                  <a:pt x="483" y="482"/>
                  <a:pt x="480" y="483"/>
                </a:cubicBezTo>
                <a:cubicBezTo>
                  <a:pt x="462" y="486"/>
                  <a:pt x="447" y="502"/>
                  <a:pt x="433" y="519"/>
                </a:cubicBezTo>
                <a:cubicBezTo>
                  <a:pt x="433" y="519"/>
                  <a:pt x="433" y="519"/>
                  <a:pt x="432" y="519"/>
                </a:cubicBezTo>
                <a:cubicBezTo>
                  <a:pt x="402" y="519"/>
                  <a:pt x="402" y="519"/>
                  <a:pt x="402" y="519"/>
                </a:cubicBezTo>
                <a:lnTo>
                  <a:pt x="402" y="478"/>
                </a:lnTo>
                <a:close/>
                <a:moveTo>
                  <a:pt x="580" y="467"/>
                </a:moveTo>
                <a:cubicBezTo>
                  <a:pt x="576" y="466"/>
                  <a:pt x="573" y="464"/>
                  <a:pt x="571" y="463"/>
                </a:cubicBezTo>
                <a:cubicBezTo>
                  <a:pt x="568" y="462"/>
                  <a:pt x="565" y="461"/>
                  <a:pt x="561" y="461"/>
                </a:cubicBezTo>
                <a:cubicBezTo>
                  <a:pt x="556" y="461"/>
                  <a:pt x="552" y="462"/>
                  <a:pt x="547" y="463"/>
                </a:cubicBezTo>
                <a:cubicBezTo>
                  <a:pt x="542" y="464"/>
                  <a:pt x="538" y="465"/>
                  <a:pt x="534" y="465"/>
                </a:cubicBezTo>
                <a:cubicBezTo>
                  <a:pt x="534" y="464"/>
                  <a:pt x="533" y="463"/>
                  <a:pt x="533" y="462"/>
                </a:cubicBezTo>
                <a:cubicBezTo>
                  <a:pt x="533" y="456"/>
                  <a:pt x="532" y="446"/>
                  <a:pt x="521" y="439"/>
                </a:cubicBezTo>
                <a:cubicBezTo>
                  <a:pt x="515" y="435"/>
                  <a:pt x="508" y="430"/>
                  <a:pt x="503" y="425"/>
                </a:cubicBezTo>
                <a:cubicBezTo>
                  <a:pt x="515" y="428"/>
                  <a:pt x="533" y="432"/>
                  <a:pt x="546" y="438"/>
                </a:cubicBezTo>
                <a:cubicBezTo>
                  <a:pt x="569" y="446"/>
                  <a:pt x="577" y="452"/>
                  <a:pt x="578" y="460"/>
                </a:cubicBezTo>
                <a:cubicBezTo>
                  <a:pt x="578" y="463"/>
                  <a:pt x="579" y="465"/>
                  <a:pt x="580" y="467"/>
                </a:cubicBezTo>
                <a:close/>
                <a:moveTo>
                  <a:pt x="420" y="533"/>
                </a:moveTo>
                <a:cubicBezTo>
                  <a:pt x="415" y="536"/>
                  <a:pt x="408" y="538"/>
                  <a:pt x="402" y="540"/>
                </a:cubicBezTo>
                <a:cubicBezTo>
                  <a:pt x="402" y="533"/>
                  <a:pt x="402" y="533"/>
                  <a:pt x="402" y="533"/>
                </a:cubicBezTo>
                <a:lnTo>
                  <a:pt x="420" y="533"/>
                </a:lnTo>
                <a:close/>
                <a:moveTo>
                  <a:pt x="597" y="389"/>
                </a:moveTo>
                <a:cubicBezTo>
                  <a:pt x="596" y="349"/>
                  <a:pt x="593" y="310"/>
                  <a:pt x="587" y="273"/>
                </a:cubicBezTo>
                <a:cubicBezTo>
                  <a:pt x="757" y="273"/>
                  <a:pt x="757" y="273"/>
                  <a:pt x="757" y="273"/>
                </a:cubicBezTo>
                <a:cubicBezTo>
                  <a:pt x="769" y="310"/>
                  <a:pt x="776" y="349"/>
                  <a:pt x="777" y="389"/>
                </a:cubicBezTo>
                <a:lnTo>
                  <a:pt x="597" y="389"/>
                </a:lnTo>
                <a:close/>
                <a:moveTo>
                  <a:pt x="539" y="119"/>
                </a:moveTo>
                <a:cubicBezTo>
                  <a:pt x="534" y="107"/>
                  <a:pt x="527" y="96"/>
                  <a:pt x="520" y="85"/>
                </a:cubicBezTo>
                <a:cubicBezTo>
                  <a:pt x="526" y="85"/>
                  <a:pt x="530" y="87"/>
                  <a:pt x="532" y="90"/>
                </a:cubicBezTo>
                <a:cubicBezTo>
                  <a:pt x="539" y="97"/>
                  <a:pt x="540" y="111"/>
                  <a:pt x="539" y="119"/>
                </a:cubicBezTo>
                <a:close/>
                <a:moveTo>
                  <a:pt x="506" y="193"/>
                </a:moveTo>
                <a:cubicBezTo>
                  <a:pt x="507" y="193"/>
                  <a:pt x="508" y="193"/>
                  <a:pt x="509" y="192"/>
                </a:cubicBezTo>
                <a:cubicBezTo>
                  <a:pt x="508" y="193"/>
                  <a:pt x="507" y="193"/>
                  <a:pt x="506" y="194"/>
                </a:cubicBezTo>
                <a:lnTo>
                  <a:pt x="506" y="193"/>
                </a:lnTo>
                <a:close/>
                <a:moveTo>
                  <a:pt x="500" y="146"/>
                </a:moveTo>
                <a:cubicBezTo>
                  <a:pt x="502" y="138"/>
                  <a:pt x="502" y="125"/>
                  <a:pt x="493" y="114"/>
                </a:cubicBezTo>
                <a:cubicBezTo>
                  <a:pt x="493" y="115"/>
                  <a:pt x="494" y="115"/>
                  <a:pt x="494" y="115"/>
                </a:cubicBezTo>
                <a:cubicBezTo>
                  <a:pt x="497" y="119"/>
                  <a:pt x="504" y="135"/>
                  <a:pt x="506" y="140"/>
                </a:cubicBezTo>
                <a:cubicBezTo>
                  <a:pt x="505" y="141"/>
                  <a:pt x="505" y="141"/>
                  <a:pt x="505" y="141"/>
                </a:cubicBezTo>
                <a:cubicBezTo>
                  <a:pt x="504" y="142"/>
                  <a:pt x="504" y="144"/>
                  <a:pt x="503" y="145"/>
                </a:cubicBezTo>
                <a:cubicBezTo>
                  <a:pt x="503" y="146"/>
                  <a:pt x="503" y="147"/>
                  <a:pt x="503" y="148"/>
                </a:cubicBezTo>
                <a:cubicBezTo>
                  <a:pt x="501" y="149"/>
                  <a:pt x="498" y="151"/>
                  <a:pt x="497" y="155"/>
                </a:cubicBezTo>
                <a:cubicBezTo>
                  <a:pt x="495" y="160"/>
                  <a:pt x="498" y="167"/>
                  <a:pt x="504" y="174"/>
                </a:cubicBezTo>
                <a:cubicBezTo>
                  <a:pt x="505" y="175"/>
                  <a:pt x="505" y="176"/>
                  <a:pt x="505" y="177"/>
                </a:cubicBezTo>
                <a:cubicBezTo>
                  <a:pt x="505" y="177"/>
                  <a:pt x="504" y="179"/>
                  <a:pt x="500" y="181"/>
                </a:cubicBezTo>
                <a:cubicBezTo>
                  <a:pt x="499" y="181"/>
                  <a:pt x="498" y="182"/>
                  <a:pt x="497" y="182"/>
                </a:cubicBezTo>
                <a:cubicBezTo>
                  <a:pt x="495" y="184"/>
                  <a:pt x="485" y="190"/>
                  <a:pt x="481" y="191"/>
                </a:cubicBezTo>
                <a:cubicBezTo>
                  <a:pt x="479" y="191"/>
                  <a:pt x="477" y="193"/>
                  <a:pt x="475" y="194"/>
                </a:cubicBezTo>
                <a:cubicBezTo>
                  <a:pt x="473" y="185"/>
                  <a:pt x="466" y="176"/>
                  <a:pt x="461" y="171"/>
                </a:cubicBezTo>
                <a:cubicBezTo>
                  <a:pt x="460" y="170"/>
                  <a:pt x="458" y="168"/>
                  <a:pt x="459" y="166"/>
                </a:cubicBezTo>
                <a:cubicBezTo>
                  <a:pt x="460" y="164"/>
                  <a:pt x="463" y="162"/>
                  <a:pt x="468" y="162"/>
                </a:cubicBezTo>
                <a:cubicBezTo>
                  <a:pt x="470" y="162"/>
                  <a:pt x="472" y="162"/>
                  <a:pt x="473" y="162"/>
                </a:cubicBezTo>
                <a:cubicBezTo>
                  <a:pt x="485" y="165"/>
                  <a:pt x="496" y="158"/>
                  <a:pt x="500" y="146"/>
                </a:cubicBezTo>
                <a:close/>
                <a:moveTo>
                  <a:pt x="464" y="212"/>
                </a:moveTo>
                <a:cubicBezTo>
                  <a:pt x="464" y="212"/>
                  <a:pt x="465" y="212"/>
                  <a:pt x="465" y="212"/>
                </a:cubicBezTo>
                <a:cubicBezTo>
                  <a:pt x="466" y="212"/>
                  <a:pt x="467" y="212"/>
                  <a:pt x="468" y="211"/>
                </a:cubicBezTo>
                <a:cubicBezTo>
                  <a:pt x="468" y="213"/>
                  <a:pt x="468" y="216"/>
                  <a:pt x="469" y="217"/>
                </a:cubicBezTo>
                <a:cubicBezTo>
                  <a:pt x="471" y="223"/>
                  <a:pt x="475" y="224"/>
                  <a:pt x="477" y="225"/>
                </a:cubicBezTo>
                <a:cubicBezTo>
                  <a:pt x="477" y="225"/>
                  <a:pt x="477" y="225"/>
                  <a:pt x="478" y="225"/>
                </a:cubicBezTo>
                <a:cubicBezTo>
                  <a:pt x="484" y="225"/>
                  <a:pt x="488" y="218"/>
                  <a:pt x="492" y="212"/>
                </a:cubicBezTo>
                <a:cubicBezTo>
                  <a:pt x="494" y="209"/>
                  <a:pt x="494" y="209"/>
                  <a:pt x="500" y="208"/>
                </a:cubicBezTo>
                <a:cubicBezTo>
                  <a:pt x="502" y="208"/>
                  <a:pt x="504" y="208"/>
                  <a:pt x="507" y="208"/>
                </a:cubicBezTo>
                <a:cubicBezTo>
                  <a:pt x="523" y="205"/>
                  <a:pt x="529" y="187"/>
                  <a:pt x="527" y="178"/>
                </a:cubicBezTo>
                <a:cubicBezTo>
                  <a:pt x="527" y="174"/>
                  <a:pt x="525" y="170"/>
                  <a:pt x="523" y="166"/>
                </a:cubicBezTo>
                <a:cubicBezTo>
                  <a:pt x="529" y="165"/>
                  <a:pt x="535" y="164"/>
                  <a:pt x="537" y="157"/>
                </a:cubicBezTo>
                <a:cubicBezTo>
                  <a:pt x="537" y="155"/>
                  <a:pt x="537" y="152"/>
                  <a:pt x="535" y="150"/>
                </a:cubicBezTo>
                <a:cubicBezTo>
                  <a:pt x="534" y="148"/>
                  <a:pt x="530" y="145"/>
                  <a:pt x="527" y="144"/>
                </a:cubicBezTo>
                <a:cubicBezTo>
                  <a:pt x="536" y="144"/>
                  <a:pt x="536" y="144"/>
                  <a:pt x="536" y="144"/>
                </a:cubicBezTo>
                <a:cubicBezTo>
                  <a:pt x="550" y="178"/>
                  <a:pt x="562" y="217"/>
                  <a:pt x="570" y="259"/>
                </a:cubicBezTo>
                <a:cubicBezTo>
                  <a:pt x="453" y="259"/>
                  <a:pt x="453" y="259"/>
                  <a:pt x="453" y="259"/>
                </a:cubicBezTo>
                <a:cubicBezTo>
                  <a:pt x="455" y="257"/>
                  <a:pt x="455" y="255"/>
                  <a:pt x="455" y="252"/>
                </a:cubicBezTo>
                <a:cubicBezTo>
                  <a:pt x="456" y="245"/>
                  <a:pt x="452" y="240"/>
                  <a:pt x="445" y="239"/>
                </a:cubicBezTo>
                <a:cubicBezTo>
                  <a:pt x="444" y="239"/>
                  <a:pt x="444" y="239"/>
                  <a:pt x="444" y="239"/>
                </a:cubicBezTo>
                <a:cubicBezTo>
                  <a:pt x="442" y="239"/>
                  <a:pt x="441" y="239"/>
                  <a:pt x="440" y="239"/>
                </a:cubicBezTo>
                <a:cubicBezTo>
                  <a:pt x="448" y="224"/>
                  <a:pt x="438" y="208"/>
                  <a:pt x="430" y="194"/>
                </a:cubicBezTo>
                <a:cubicBezTo>
                  <a:pt x="426" y="189"/>
                  <a:pt x="421" y="181"/>
                  <a:pt x="422" y="179"/>
                </a:cubicBezTo>
                <a:cubicBezTo>
                  <a:pt x="422" y="179"/>
                  <a:pt x="422" y="178"/>
                  <a:pt x="424" y="178"/>
                </a:cubicBezTo>
                <a:cubicBezTo>
                  <a:pt x="425" y="177"/>
                  <a:pt x="427" y="177"/>
                  <a:pt x="428" y="177"/>
                </a:cubicBezTo>
                <a:cubicBezTo>
                  <a:pt x="435" y="177"/>
                  <a:pt x="440" y="185"/>
                  <a:pt x="446" y="196"/>
                </a:cubicBezTo>
                <a:cubicBezTo>
                  <a:pt x="451" y="204"/>
                  <a:pt x="455" y="212"/>
                  <a:pt x="464" y="212"/>
                </a:cubicBezTo>
                <a:close/>
                <a:moveTo>
                  <a:pt x="429" y="259"/>
                </a:moveTo>
                <a:cubicBezTo>
                  <a:pt x="424" y="259"/>
                  <a:pt x="424" y="259"/>
                  <a:pt x="424" y="259"/>
                </a:cubicBezTo>
                <a:cubicBezTo>
                  <a:pt x="426" y="258"/>
                  <a:pt x="427" y="256"/>
                  <a:pt x="429" y="255"/>
                </a:cubicBezTo>
                <a:cubicBezTo>
                  <a:pt x="429" y="256"/>
                  <a:pt x="429" y="256"/>
                  <a:pt x="429" y="257"/>
                </a:cubicBezTo>
                <a:cubicBezTo>
                  <a:pt x="429" y="258"/>
                  <a:pt x="429" y="259"/>
                  <a:pt x="429" y="259"/>
                </a:cubicBezTo>
                <a:close/>
                <a:moveTo>
                  <a:pt x="403" y="273"/>
                </a:moveTo>
                <a:cubicBezTo>
                  <a:pt x="573" y="273"/>
                  <a:pt x="573" y="273"/>
                  <a:pt x="573" y="273"/>
                </a:cubicBezTo>
                <a:cubicBezTo>
                  <a:pt x="579" y="310"/>
                  <a:pt x="582" y="349"/>
                  <a:pt x="583" y="389"/>
                </a:cubicBezTo>
                <a:cubicBezTo>
                  <a:pt x="416" y="389"/>
                  <a:pt x="416" y="389"/>
                  <a:pt x="416" y="389"/>
                </a:cubicBezTo>
                <a:cubicBezTo>
                  <a:pt x="416" y="388"/>
                  <a:pt x="416" y="387"/>
                  <a:pt x="416" y="386"/>
                </a:cubicBezTo>
                <a:cubicBezTo>
                  <a:pt x="416" y="376"/>
                  <a:pt x="411" y="370"/>
                  <a:pt x="402" y="368"/>
                </a:cubicBezTo>
                <a:cubicBezTo>
                  <a:pt x="402" y="274"/>
                  <a:pt x="402" y="274"/>
                  <a:pt x="402" y="274"/>
                </a:cubicBezTo>
                <a:cubicBezTo>
                  <a:pt x="402" y="274"/>
                  <a:pt x="402" y="273"/>
                  <a:pt x="403" y="273"/>
                </a:cubicBezTo>
                <a:close/>
                <a:moveTo>
                  <a:pt x="388" y="662"/>
                </a:moveTo>
                <a:cubicBezTo>
                  <a:pt x="388" y="777"/>
                  <a:pt x="388" y="777"/>
                  <a:pt x="388" y="777"/>
                </a:cubicBezTo>
                <a:cubicBezTo>
                  <a:pt x="339" y="774"/>
                  <a:pt x="294" y="730"/>
                  <a:pt x="261" y="662"/>
                </a:cubicBezTo>
                <a:lnTo>
                  <a:pt x="388" y="662"/>
                </a:lnTo>
                <a:close/>
                <a:moveTo>
                  <a:pt x="402" y="662"/>
                </a:moveTo>
                <a:cubicBezTo>
                  <a:pt x="502" y="662"/>
                  <a:pt x="502" y="662"/>
                  <a:pt x="502" y="662"/>
                </a:cubicBezTo>
                <a:cubicBezTo>
                  <a:pt x="499" y="668"/>
                  <a:pt x="501" y="677"/>
                  <a:pt x="503" y="682"/>
                </a:cubicBezTo>
                <a:cubicBezTo>
                  <a:pt x="506" y="689"/>
                  <a:pt x="508" y="693"/>
                  <a:pt x="512" y="694"/>
                </a:cubicBezTo>
                <a:cubicBezTo>
                  <a:pt x="481" y="745"/>
                  <a:pt x="443" y="774"/>
                  <a:pt x="402" y="777"/>
                </a:cubicBezTo>
                <a:lnTo>
                  <a:pt x="402" y="662"/>
                </a:lnTo>
                <a:close/>
                <a:moveTo>
                  <a:pt x="525" y="672"/>
                </a:moveTo>
                <a:cubicBezTo>
                  <a:pt x="522" y="674"/>
                  <a:pt x="518" y="677"/>
                  <a:pt x="517" y="678"/>
                </a:cubicBezTo>
                <a:cubicBezTo>
                  <a:pt x="516" y="676"/>
                  <a:pt x="515" y="672"/>
                  <a:pt x="514" y="670"/>
                </a:cubicBezTo>
                <a:cubicBezTo>
                  <a:pt x="516" y="670"/>
                  <a:pt x="518" y="670"/>
                  <a:pt x="521" y="670"/>
                </a:cubicBezTo>
                <a:cubicBezTo>
                  <a:pt x="523" y="670"/>
                  <a:pt x="524" y="670"/>
                  <a:pt x="525" y="670"/>
                </a:cubicBezTo>
                <a:cubicBezTo>
                  <a:pt x="525" y="670"/>
                  <a:pt x="525" y="671"/>
                  <a:pt x="525" y="672"/>
                </a:cubicBezTo>
                <a:close/>
                <a:moveTo>
                  <a:pt x="402" y="648"/>
                </a:moveTo>
                <a:cubicBezTo>
                  <a:pt x="402" y="630"/>
                  <a:pt x="402" y="630"/>
                  <a:pt x="402" y="630"/>
                </a:cubicBezTo>
                <a:cubicBezTo>
                  <a:pt x="404" y="631"/>
                  <a:pt x="406" y="631"/>
                  <a:pt x="409" y="631"/>
                </a:cubicBezTo>
                <a:cubicBezTo>
                  <a:pt x="429" y="631"/>
                  <a:pt x="450" y="624"/>
                  <a:pt x="465" y="619"/>
                </a:cubicBezTo>
                <a:cubicBezTo>
                  <a:pt x="470" y="617"/>
                  <a:pt x="475" y="616"/>
                  <a:pt x="478" y="615"/>
                </a:cubicBezTo>
                <a:cubicBezTo>
                  <a:pt x="478" y="615"/>
                  <a:pt x="478" y="615"/>
                  <a:pt x="479" y="615"/>
                </a:cubicBezTo>
                <a:cubicBezTo>
                  <a:pt x="481" y="615"/>
                  <a:pt x="485" y="619"/>
                  <a:pt x="488" y="624"/>
                </a:cubicBezTo>
                <a:cubicBezTo>
                  <a:pt x="496" y="633"/>
                  <a:pt x="507" y="646"/>
                  <a:pt x="529" y="647"/>
                </a:cubicBezTo>
                <a:cubicBezTo>
                  <a:pt x="530" y="647"/>
                  <a:pt x="531" y="647"/>
                  <a:pt x="532" y="647"/>
                </a:cubicBezTo>
                <a:cubicBezTo>
                  <a:pt x="533" y="647"/>
                  <a:pt x="535" y="647"/>
                  <a:pt x="536" y="647"/>
                </a:cubicBezTo>
                <a:cubicBezTo>
                  <a:pt x="536" y="648"/>
                  <a:pt x="536" y="648"/>
                  <a:pt x="536" y="648"/>
                </a:cubicBezTo>
                <a:lnTo>
                  <a:pt x="402" y="648"/>
                </a:lnTo>
                <a:close/>
                <a:moveTo>
                  <a:pt x="669" y="130"/>
                </a:moveTo>
                <a:cubicBezTo>
                  <a:pt x="553" y="130"/>
                  <a:pt x="553" y="130"/>
                  <a:pt x="553" y="130"/>
                </a:cubicBezTo>
                <a:cubicBezTo>
                  <a:pt x="554" y="128"/>
                  <a:pt x="555" y="126"/>
                  <a:pt x="556" y="124"/>
                </a:cubicBezTo>
                <a:cubicBezTo>
                  <a:pt x="560" y="112"/>
                  <a:pt x="560" y="87"/>
                  <a:pt x="556" y="50"/>
                </a:cubicBezTo>
                <a:cubicBezTo>
                  <a:pt x="598" y="69"/>
                  <a:pt x="636" y="97"/>
                  <a:pt x="669" y="130"/>
                </a:cubicBezTo>
                <a:close/>
                <a:moveTo>
                  <a:pt x="395" y="14"/>
                </a:moveTo>
                <a:cubicBezTo>
                  <a:pt x="401" y="14"/>
                  <a:pt x="407" y="14"/>
                  <a:pt x="413" y="15"/>
                </a:cubicBezTo>
                <a:cubicBezTo>
                  <a:pt x="414" y="15"/>
                  <a:pt x="414" y="15"/>
                  <a:pt x="415" y="15"/>
                </a:cubicBezTo>
                <a:cubicBezTo>
                  <a:pt x="420" y="15"/>
                  <a:pt x="425" y="15"/>
                  <a:pt x="431" y="16"/>
                </a:cubicBezTo>
                <a:cubicBezTo>
                  <a:pt x="432" y="16"/>
                  <a:pt x="433" y="16"/>
                  <a:pt x="434" y="16"/>
                </a:cubicBezTo>
                <a:cubicBezTo>
                  <a:pt x="439" y="17"/>
                  <a:pt x="443" y="17"/>
                  <a:pt x="448" y="18"/>
                </a:cubicBezTo>
                <a:cubicBezTo>
                  <a:pt x="450" y="18"/>
                  <a:pt x="452" y="18"/>
                  <a:pt x="453" y="19"/>
                </a:cubicBezTo>
                <a:cubicBezTo>
                  <a:pt x="457" y="19"/>
                  <a:pt x="462" y="20"/>
                  <a:pt x="466" y="21"/>
                </a:cubicBezTo>
                <a:cubicBezTo>
                  <a:pt x="468" y="21"/>
                  <a:pt x="470" y="22"/>
                  <a:pt x="472" y="22"/>
                </a:cubicBezTo>
                <a:cubicBezTo>
                  <a:pt x="476" y="23"/>
                  <a:pt x="480" y="24"/>
                  <a:pt x="484" y="25"/>
                </a:cubicBezTo>
                <a:cubicBezTo>
                  <a:pt x="486" y="25"/>
                  <a:pt x="489" y="26"/>
                  <a:pt x="492" y="27"/>
                </a:cubicBezTo>
                <a:cubicBezTo>
                  <a:pt x="495" y="28"/>
                  <a:pt x="498" y="28"/>
                  <a:pt x="501" y="29"/>
                </a:cubicBezTo>
                <a:cubicBezTo>
                  <a:pt x="505" y="30"/>
                  <a:pt x="508" y="31"/>
                  <a:pt x="511" y="32"/>
                </a:cubicBezTo>
                <a:cubicBezTo>
                  <a:pt x="514" y="33"/>
                  <a:pt x="516" y="34"/>
                  <a:pt x="519" y="35"/>
                </a:cubicBezTo>
                <a:cubicBezTo>
                  <a:pt x="523" y="36"/>
                  <a:pt x="527" y="38"/>
                  <a:pt x="531" y="39"/>
                </a:cubicBezTo>
                <a:cubicBezTo>
                  <a:pt x="532" y="40"/>
                  <a:pt x="534" y="40"/>
                  <a:pt x="536" y="41"/>
                </a:cubicBezTo>
                <a:cubicBezTo>
                  <a:pt x="538" y="42"/>
                  <a:pt x="539" y="43"/>
                  <a:pt x="541" y="43"/>
                </a:cubicBezTo>
                <a:cubicBezTo>
                  <a:pt x="543" y="58"/>
                  <a:pt x="544" y="71"/>
                  <a:pt x="545" y="83"/>
                </a:cubicBezTo>
                <a:cubicBezTo>
                  <a:pt x="544" y="82"/>
                  <a:pt x="543" y="81"/>
                  <a:pt x="542" y="80"/>
                </a:cubicBezTo>
                <a:cubicBezTo>
                  <a:pt x="537" y="74"/>
                  <a:pt x="529" y="71"/>
                  <a:pt x="520" y="71"/>
                </a:cubicBezTo>
                <a:cubicBezTo>
                  <a:pt x="519" y="71"/>
                  <a:pt x="519" y="71"/>
                  <a:pt x="519" y="71"/>
                </a:cubicBezTo>
                <a:cubicBezTo>
                  <a:pt x="516" y="71"/>
                  <a:pt x="512" y="71"/>
                  <a:pt x="508" y="72"/>
                </a:cubicBezTo>
                <a:cubicBezTo>
                  <a:pt x="507" y="72"/>
                  <a:pt x="507" y="72"/>
                  <a:pt x="507" y="72"/>
                </a:cubicBezTo>
                <a:cubicBezTo>
                  <a:pt x="490" y="73"/>
                  <a:pt x="466" y="78"/>
                  <a:pt x="462" y="92"/>
                </a:cubicBezTo>
                <a:cubicBezTo>
                  <a:pt x="460" y="97"/>
                  <a:pt x="461" y="106"/>
                  <a:pt x="474" y="116"/>
                </a:cubicBezTo>
                <a:cubicBezTo>
                  <a:pt x="487" y="124"/>
                  <a:pt x="488" y="135"/>
                  <a:pt x="486" y="142"/>
                </a:cubicBezTo>
                <a:cubicBezTo>
                  <a:pt x="486" y="143"/>
                  <a:pt x="484" y="149"/>
                  <a:pt x="478" y="149"/>
                </a:cubicBezTo>
                <a:cubicBezTo>
                  <a:pt x="477" y="149"/>
                  <a:pt x="477" y="149"/>
                  <a:pt x="476" y="149"/>
                </a:cubicBezTo>
                <a:cubicBezTo>
                  <a:pt x="462" y="146"/>
                  <a:pt x="450" y="151"/>
                  <a:pt x="446" y="161"/>
                </a:cubicBezTo>
                <a:cubicBezTo>
                  <a:pt x="445" y="164"/>
                  <a:pt x="444" y="167"/>
                  <a:pt x="445" y="170"/>
                </a:cubicBezTo>
                <a:cubicBezTo>
                  <a:pt x="440" y="166"/>
                  <a:pt x="435" y="163"/>
                  <a:pt x="428" y="163"/>
                </a:cubicBezTo>
                <a:cubicBezTo>
                  <a:pt x="425" y="163"/>
                  <a:pt x="423" y="163"/>
                  <a:pt x="420" y="164"/>
                </a:cubicBezTo>
                <a:cubicBezTo>
                  <a:pt x="414" y="166"/>
                  <a:pt x="410" y="169"/>
                  <a:pt x="409" y="173"/>
                </a:cubicBezTo>
                <a:cubicBezTo>
                  <a:pt x="405" y="182"/>
                  <a:pt x="411" y="191"/>
                  <a:pt x="418" y="202"/>
                </a:cubicBezTo>
                <a:cubicBezTo>
                  <a:pt x="425" y="213"/>
                  <a:pt x="432" y="225"/>
                  <a:pt x="428" y="234"/>
                </a:cubicBezTo>
                <a:cubicBezTo>
                  <a:pt x="421" y="245"/>
                  <a:pt x="410" y="254"/>
                  <a:pt x="398" y="260"/>
                </a:cubicBezTo>
                <a:cubicBezTo>
                  <a:pt x="398" y="260"/>
                  <a:pt x="398" y="260"/>
                  <a:pt x="398" y="260"/>
                </a:cubicBezTo>
                <a:cubicBezTo>
                  <a:pt x="396" y="261"/>
                  <a:pt x="395" y="262"/>
                  <a:pt x="393" y="262"/>
                </a:cubicBezTo>
                <a:cubicBezTo>
                  <a:pt x="393" y="263"/>
                  <a:pt x="392" y="263"/>
                  <a:pt x="392" y="263"/>
                </a:cubicBezTo>
                <a:cubicBezTo>
                  <a:pt x="383" y="267"/>
                  <a:pt x="373" y="269"/>
                  <a:pt x="365" y="270"/>
                </a:cubicBezTo>
                <a:cubicBezTo>
                  <a:pt x="341" y="273"/>
                  <a:pt x="343" y="287"/>
                  <a:pt x="344" y="300"/>
                </a:cubicBezTo>
                <a:cubicBezTo>
                  <a:pt x="344" y="305"/>
                  <a:pt x="345" y="309"/>
                  <a:pt x="344" y="315"/>
                </a:cubicBezTo>
                <a:cubicBezTo>
                  <a:pt x="344" y="338"/>
                  <a:pt x="343" y="352"/>
                  <a:pt x="340" y="355"/>
                </a:cubicBezTo>
                <a:cubicBezTo>
                  <a:pt x="339" y="355"/>
                  <a:pt x="337" y="354"/>
                  <a:pt x="333" y="349"/>
                </a:cubicBezTo>
                <a:cubicBezTo>
                  <a:pt x="326" y="341"/>
                  <a:pt x="320" y="338"/>
                  <a:pt x="314" y="338"/>
                </a:cubicBezTo>
                <a:cubicBezTo>
                  <a:pt x="310" y="338"/>
                  <a:pt x="307" y="339"/>
                  <a:pt x="305" y="343"/>
                </a:cubicBezTo>
                <a:cubicBezTo>
                  <a:pt x="296" y="355"/>
                  <a:pt x="307" y="389"/>
                  <a:pt x="309" y="395"/>
                </a:cubicBezTo>
                <a:cubicBezTo>
                  <a:pt x="316" y="416"/>
                  <a:pt x="350" y="440"/>
                  <a:pt x="375" y="458"/>
                </a:cubicBezTo>
                <a:cubicBezTo>
                  <a:pt x="376" y="458"/>
                  <a:pt x="376" y="458"/>
                  <a:pt x="376" y="458"/>
                </a:cubicBezTo>
                <a:cubicBezTo>
                  <a:pt x="312" y="440"/>
                  <a:pt x="276" y="416"/>
                  <a:pt x="277" y="392"/>
                </a:cubicBezTo>
                <a:cubicBezTo>
                  <a:pt x="278" y="373"/>
                  <a:pt x="285" y="367"/>
                  <a:pt x="292" y="361"/>
                </a:cubicBezTo>
                <a:cubicBezTo>
                  <a:pt x="298" y="356"/>
                  <a:pt x="306" y="349"/>
                  <a:pt x="302" y="334"/>
                </a:cubicBezTo>
                <a:cubicBezTo>
                  <a:pt x="296" y="315"/>
                  <a:pt x="279" y="309"/>
                  <a:pt x="269" y="307"/>
                </a:cubicBezTo>
                <a:cubicBezTo>
                  <a:pt x="275" y="267"/>
                  <a:pt x="261" y="260"/>
                  <a:pt x="256" y="258"/>
                </a:cubicBezTo>
                <a:cubicBezTo>
                  <a:pt x="254" y="258"/>
                  <a:pt x="252" y="258"/>
                  <a:pt x="250" y="258"/>
                </a:cubicBezTo>
                <a:cubicBezTo>
                  <a:pt x="230" y="258"/>
                  <a:pt x="190" y="284"/>
                  <a:pt x="183" y="299"/>
                </a:cubicBezTo>
                <a:cubicBezTo>
                  <a:pt x="180" y="305"/>
                  <a:pt x="179" y="311"/>
                  <a:pt x="177" y="317"/>
                </a:cubicBezTo>
                <a:cubicBezTo>
                  <a:pt x="175" y="325"/>
                  <a:pt x="173" y="333"/>
                  <a:pt x="169" y="338"/>
                </a:cubicBezTo>
                <a:cubicBezTo>
                  <a:pt x="166" y="330"/>
                  <a:pt x="163" y="310"/>
                  <a:pt x="159" y="279"/>
                </a:cubicBezTo>
                <a:cubicBezTo>
                  <a:pt x="157" y="267"/>
                  <a:pt x="157" y="266"/>
                  <a:pt x="156" y="264"/>
                </a:cubicBezTo>
                <a:cubicBezTo>
                  <a:pt x="155" y="262"/>
                  <a:pt x="149" y="251"/>
                  <a:pt x="144" y="242"/>
                </a:cubicBezTo>
                <a:cubicBezTo>
                  <a:pt x="143" y="240"/>
                  <a:pt x="141" y="238"/>
                  <a:pt x="139" y="238"/>
                </a:cubicBezTo>
                <a:cubicBezTo>
                  <a:pt x="133" y="237"/>
                  <a:pt x="115" y="234"/>
                  <a:pt x="107" y="229"/>
                </a:cubicBezTo>
                <a:cubicBezTo>
                  <a:pt x="104" y="228"/>
                  <a:pt x="102" y="227"/>
                  <a:pt x="99" y="229"/>
                </a:cubicBezTo>
                <a:cubicBezTo>
                  <a:pt x="97" y="230"/>
                  <a:pt x="96" y="232"/>
                  <a:pt x="96" y="235"/>
                </a:cubicBezTo>
                <a:cubicBezTo>
                  <a:pt x="96" y="248"/>
                  <a:pt x="95" y="266"/>
                  <a:pt x="94" y="272"/>
                </a:cubicBezTo>
                <a:cubicBezTo>
                  <a:pt x="90" y="279"/>
                  <a:pt x="73" y="304"/>
                  <a:pt x="48" y="360"/>
                </a:cubicBezTo>
                <a:cubicBezTo>
                  <a:pt x="39" y="383"/>
                  <a:pt x="34" y="415"/>
                  <a:pt x="33" y="450"/>
                </a:cubicBezTo>
                <a:cubicBezTo>
                  <a:pt x="34" y="435"/>
                  <a:pt x="39" y="420"/>
                  <a:pt x="46" y="402"/>
                </a:cubicBezTo>
                <a:cubicBezTo>
                  <a:pt x="47" y="403"/>
                  <a:pt x="48" y="403"/>
                  <a:pt x="50" y="403"/>
                </a:cubicBezTo>
                <a:cubicBezTo>
                  <a:pt x="54" y="403"/>
                  <a:pt x="54" y="403"/>
                  <a:pt x="54" y="403"/>
                </a:cubicBezTo>
                <a:cubicBezTo>
                  <a:pt x="51" y="406"/>
                  <a:pt x="48" y="412"/>
                  <a:pt x="46" y="429"/>
                </a:cubicBezTo>
                <a:cubicBezTo>
                  <a:pt x="45" y="443"/>
                  <a:pt x="44" y="458"/>
                  <a:pt x="46" y="469"/>
                </a:cubicBezTo>
                <a:cubicBezTo>
                  <a:pt x="48" y="488"/>
                  <a:pt x="54" y="497"/>
                  <a:pt x="64" y="497"/>
                </a:cubicBezTo>
                <a:cubicBezTo>
                  <a:pt x="64" y="497"/>
                  <a:pt x="64" y="497"/>
                  <a:pt x="65" y="497"/>
                </a:cubicBezTo>
                <a:cubicBezTo>
                  <a:pt x="76" y="496"/>
                  <a:pt x="81" y="483"/>
                  <a:pt x="80" y="459"/>
                </a:cubicBezTo>
                <a:cubicBezTo>
                  <a:pt x="80" y="459"/>
                  <a:pt x="77" y="413"/>
                  <a:pt x="65" y="403"/>
                </a:cubicBezTo>
                <a:cubicBezTo>
                  <a:pt x="194" y="403"/>
                  <a:pt x="194" y="403"/>
                  <a:pt x="194" y="403"/>
                </a:cubicBezTo>
                <a:cubicBezTo>
                  <a:pt x="194" y="443"/>
                  <a:pt x="198" y="482"/>
                  <a:pt x="204" y="519"/>
                </a:cubicBezTo>
                <a:cubicBezTo>
                  <a:pt x="46" y="519"/>
                  <a:pt x="46" y="519"/>
                  <a:pt x="46" y="519"/>
                </a:cubicBezTo>
                <a:cubicBezTo>
                  <a:pt x="45" y="519"/>
                  <a:pt x="45" y="519"/>
                  <a:pt x="44" y="519"/>
                </a:cubicBezTo>
                <a:cubicBezTo>
                  <a:pt x="38" y="498"/>
                  <a:pt x="35" y="482"/>
                  <a:pt x="33" y="468"/>
                </a:cubicBezTo>
                <a:cubicBezTo>
                  <a:pt x="34" y="487"/>
                  <a:pt x="36" y="506"/>
                  <a:pt x="39" y="526"/>
                </a:cubicBezTo>
                <a:cubicBezTo>
                  <a:pt x="39" y="526"/>
                  <a:pt x="39" y="526"/>
                  <a:pt x="39" y="526"/>
                </a:cubicBezTo>
                <a:cubicBezTo>
                  <a:pt x="39" y="526"/>
                  <a:pt x="39" y="527"/>
                  <a:pt x="39" y="527"/>
                </a:cubicBezTo>
                <a:cubicBezTo>
                  <a:pt x="39" y="530"/>
                  <a:pt x="40" y="533"/>
                  <a:pt x="40" y="536"/>
                </a:cubicBezTo>
                <a:cubicBezTo>
                  <a:pt x="40" y="535"/>
                  <a:pt x="39" y="533"/>
                  <a:pt x="39" y="532"/>
                </a:cubicBezTo>
                <a:cubicBezTo>
                  <a:pt x="38" y="529"/>
                  <a:pt x="37" y="526"/>
                  <a:pt x="36" y="523"/>
                </a:cubicBezTo>
                <a:cubicBezTo>
                  <a:pt x="35" y="521"/>
                  <a:pt x="34" y="520"/>
                  <a:pt x="34" y="518"/>
                </a:cubicBezTo>
                <a:cubicBezTo>
                  <a:pt x="32" y="513"/>
                  <a:pt x="31" y="509"/>
                  <a:pt x="30" y="505"/>
                </a:cubicBezTo>
                <a:cubicBezTo>
                  <a:pt x="29" y="504"/>
                  <a:pt x="29" y="503"/>
                  <a:pt x="28" y="501"/>
                </a:cubicBezTo>
                <a:cubicBezTo>
                  <a:pt x="27" y="496"/>
                  <a:pt x="26" y="492"/>
                  <a:pt x="25" y="487"/>
                </a:cubicBezTo>
                <a:cubicBezTo>
                  <a:pt x="24" y="486"/>
                  <a:pt x="24" y="485"/>
                  <a:pt x="24" y="484"/>
                </a:cubicBezTo>
                <a:cubicBezTo>
                  <a:pt x="23" y="479"/>
                  <a:pt x="22" y="474"/>
                  <a:pt x="21" y="469"/>
                </a:cubicBezTo>
                <a:cubicBezTo>
                  <a:pt x="21" y="468"/>
                  <a:pt x="20" y="467"/>
                  <a:pt x="20" y="467"/>
                </a:cubicBezTo>
                <a:cubicBezTo>
                  <a:pt x="19" y="461"/>
                  <a:pt x="18" y="456"/>
                  <a:pt x="18" y="451"/>
                </a:cubicBezTo>
                <a:cubicBezTo>
                  <a:pt x="18" y="450"/>
                  <a:pt x="17" y="450"/>
                  <a:pt x="17" y="449"/>
                </a:cubicBezTo>
                <a:cubicBezTo>
                  <a:pt x="17" y="444"/>
                  <a:pt x="16" y="438"/>
                  <a:pt x="15" y="433"/>
                </a:cubicBezTo>
                <a:cubicBezTo>
                  <a:pt x="15" y="432"/>
                  <a:pt x="15" y="432"/>
                  <a:pt x="15" y="431"/>
                </a:cubicBezTo>
                <a:cubicBezTo>
                  <a:pt x="15" y="426"/>
                  <a:pt x="14" y="420"/>
                  <a:pt x="14" y="414"/>
                </a:cubicBezTo>
                <a:cubicBezTo>
                  <a:pt x="14" y="414"/>
                  <a:pt x="14" y="414"/>
                  <a:pt x="14" y="413"/>
                </a:cubicBezTo>
                <a:cubicBezTo>
                  <a:pt x="14" y="407"/>
                  <a:pt x="14" y="402"/>
                  <a:pt x="14" y="396"/>
                </a:cubicBezTo>
                <a:cubicBezTo>
                  <a:pt x="14" y="186"/>
                  <a:pt x="185" y="14"/>
                  <a:pt x="395" y="14"/>
                </a:cubicBezTo>
                <a:close/>
                <a:moveTo>
                  <a:pt x="122" y="662"/>
                </a:moveTo>
                <a:cubicBezTo>
                  <a:pt x="246" y="662"/>
                  <a:pt x="246" y="662"/>
                  <a:pt x="246" y="662"/>
                </a:cubicBezTo>
                <a:cubicBezTo>
                  <a:pt x="248" y="666"/>
                  <a:pt x="250" y="670"/>
                  <a:pt x="252" y="674"/>
                </a:cubicBezTo>
                <a:cubicBezTo>
                  <a:pt x="275" y="720"/>
                  <a:pt x="302" y="753"/>
                  <a:pt x="333" y="772"/>
                </a:cubicBezTo>
                <a:cubicBezTo>
                  <a:pt x="251" y="759"/>
                  <a:pt x="178" y="719"/>
                  <a:pt x="122" y="662"/>
                </a:cubicBezTo>
                <a:close/>
                <a:moveTo>
                  <a:pt x="458" y="772"/>
                </a:moveTo>
                <a:cubicBezTo>
                  <a:pt x="487" y="754"/>
                  <a:pt x="514" y="723"/>
                  <a:pt x="536" y="680"/>
                </a:cubicBezTo>
                <a:cubicBezTo>
                  <a:pt x="541" y="676"/>
                  <a:pt x="544" y="671"/>
                  <a:pt x="543" y="667"/>
                </a:cubicBezTo>
                <a:cubicBezTo>
                  <a:pt x="543" y="666"/>
                  <a:pt x="543" y="666"/>
                  <a:pt x="543" y="666"/>
                </a:cubicBezTo>
                <a:cubicBezTo>
                  <a:pt x="544" y="664"/>
                  <a:pt x="544" y="663"/>
                  <a:pt x="545" y="662"/>
                </a:cubicBezTo>
                <a:cubicBezTo>
                  <a:pt x="605" y="662"/>
                  <a:pt x="605" y="662"/>
                  <a:pt x="605" y="662"/>
                </a:cubicBezTo>
                <a:cubicBezTo>
                  <a:pt x="603" y="663"/>
                  <a:pt x="600" y="665"/>
                  <a:pt x="597" y="667"/>
                </a:cubicBezTo>
                <a:cubicBezTo>
                  <a:pt x="594" y="669"/>
                  <a:pt x="592" y="670"/>
                  <a:pt x="589" y="672"/>
                </a:cubicBezTo>
                <a:cubicBezTo>
                  <a:pt x="585" y="674"/>
                  <a:pt x="585" y="674"/>
                  <a:pt x="585" y="674"/>
                </a:cubicBezTo>
                <a:cubicBezTo>
                  <a:pt x="570" y="684"/>
                  <a:pt x="561" y="689"/>
                  <a:pt x="565" y="697"/>
                </a:cubicBezTo>
                <a:cubicBezTo>
                  <a:pt x="566" y="700"/>
                  <a:pt x="570" y="702"/>
                  <a:pt x="574" y="702"/>
                </a:cubicBezTo>
                <a:cubicBezTo>
                  <a:pt x="585" y="702"/>
                  <a:pt x="613" y="684"/>
                  <a:pt x="619" y="673"/>
                </a:cubicBezTo>
                <a:cubicBezTo>
                  <a:pt x="622" y="668"/>
                  <a:pt x="621" y="664"/>
                  <a:pt x="619" y="662"/>
                </a:cubicBezTo>
                <a:cubicBezTo>
                  <a:pt x="669" y="662"/>
                  <a:pt x="669" y="662"/>
                  <a:pt x="669" y="662"/>
                </a:cubicBezTo>
                <a:cubicBezTo>
                  <a:pt x="613" y="719"/>
                  <a:pt x="540" y="759"/>
                  <a:pt x="458" y="77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44" name="Oval 66"/>
          <p:cNvSpPr>
            <a:spLocks noChangeArrowheads="1"/>
          </p:cNvSpPr>
          <p:nvPr/>
        </p:nvSpPr>
        <p:spPr bwMode="auto">
          <a:xfrm>
            <a:off x="4845101" y="2009724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73" name="Freeform 140"/>
          <p:cNvSpPr>
            <a:spLocks noEditPoints="1"/>
          </p:cNvSpPr>
          <p:nvPr/>
        </p:nvSpPr>
        <p:spPr bwMode="auto">
          <a:xfrm>
            <a:off x="4950655" y="2114497"/>
            <a:ext cx="611853" cy="614309"/>
          </a:xfrm>
          <a:custGeom>
            <a:avLst/>
            <a:gdLst>
              <a:gd name="T0" fmla="*/ 418 w 791"/>
              <a:gd name="T1" fmla="*/ 262 h 792"/>
              <a:gd name="T2" fmla="*/ 402 w 791"/>
              <a:gd name="T3" fmla="*/ 292 h 792"/>
              <a:gd name="T4" fmla="*/ 527 w 791"/>
              <a:gd name="T5" fmla="*/ 280 h 792"/>
              <a:gd name="T6" fmla="*/ 370 w 791"/>
              <a:gd name="T7" fmla="*/ 236 h 792"/>
              <a:gd name="T8" fmla="*/ 453 w 791"/>
              <a:gd name="T9" fmla="*/ 288 h 792"/>
              <a:gd name="T10" fmla="*/ 494 w 791"/>
              <a:gd name="T11" fmla="*/ 281 h 792"/>
              <a:gd name="T12" fmla="*/ 757 w 791"/>
              <a:gd name="T13" fmla="*/ 235 h 792"/>
              <a:gd name="T14" fmla="*/ 467 w 791"/>
              <a:gd name="T15" fmla="*/ 7 h 792"/>
              <a:gd name="T16" fmla="*/ 395 w 791"/>
              <a:gd name="T17" fmla="*/ 0 h 792"/>
              <a:gd name="T18" fmla="*/ 225 w 791"/>
              <a:gd name="T19" fmla="*/ 39 h 792"/>
              <a:gd name="T20" fmla="*/ 15 w 791"/>
              <a:gd name="T21" fmla="*/ 285 h 792"/>
              <a:gd name="T22" fmla="*/ 2 w 791"/>
              <a:gd name="T23" fmla="*/ 350 h 792"/>
              <a:gd name="T24" fmla="*/ 0 w 791"/>
              <a:gd name="T25" fmla="*/ 419 h 792"/>
              <a:gd name="T26" fmla="*/ 167 w 791"/>
              <a:gd name="T27" fmla="*/ 719 h 792"/>
              <a:gd name="T28" fmla="*/ 71 w 791"/>
              <a:gd name="T29" fmla="*/ 597 h 792"/>
              <a:gd name="T30" fmla="*/ 14 w 791"/>
              <a:gd name="T31" fmla="*/ 382 h 792"/>
              <a:gd name="T32" fmla="*/ 18 w 791"/>
              <a:gd name="T33" fmla="*/ 336 h 792"/>
              <a:gd name="T34" fmla="*/ 122 w 791"/>
              <a:gd name="T35" fmla="*/ 524 h 792"/>
              <a:gd name="T36" fmla="*/ 117 w 791"/>
              <a:gd name="T37" fmla="*/ 177 h 792"/>
              <a:gd name="T38" fmla="*/ 101 w 791"/>
              <a:gd name="T39" fmla="*/ 153 h 792"/>
              <a:gd name="T40" fmla="*/ 198 w 791"/>
              <a:gd name="T41" fmla="*/ 69 h 792"/>
              <a:gd name="T42" fmla="*/ 248 w 791"/>
              <a:gd name="T43" fmla="*/ 68 h 792"/>
              <a:gd name="T44" fmla="*/ 221 w 791"/>
              <a:gd name="T45" fmla="*/ 77 h 792"/>
              <a:gd name="T46" fmla="*/ 443 w 791"/>
              <a:gd name="T47" fmla="*/ 17 h 792"/>
              <a:gd name="T48" fmla="*/ 300 w 791"/>
              <a:gd name="T49" fmla="*/ 86 h 792"/>
              <a:gd name="T50" fmla="*/ 263 w 791"/>
              <a:gd name="T51" fmla="*/ 64 h 792"/>
              <a:gd name="T52" fmla="*/ 757 w 791"/>
              <a:gd name="T53" fmla="*/ 519 h 792"/>
              <a:gd name="T54" fmla="*/ 732 w 791"/>
              <a:gd name="T55" fmla="*/ 273 h 792"/>
              <a:gd name="T56" fmla="*/ 725 w 791"/>
              <a:gd name="T57" fmla="*/ 259 h 792"/>
              <a:gd name="T58" fmla="*/ 642 w 791"/>
              <a:gd name="T59" fmla="*/ 315 h 792"/>
              <a:gd name="T60" fmla="*/ 602 w 791"/>
              <a:gd name="T61" fmla="*/ 392 h 792"/>
              <a:gd name="T62" fmla="*/ 591 w 791"/>
              <a:gd name="T63" fmla="*/ 419 h 792"/>
              <a:gd name="T64" fmla="*/ 454 w 791"/>
              <a:gd name="T65" fmla="*/ 677 h 792"/>
              <a:gd name="T66" fmla="*/ 323 w 791"/>
              <a:gd name="T67" fmla="*/ 460 h 792"/>
              <a:gd name="T68" fmla="*/ 310 w 791"/>
              <a:gd name="T69" fmla="*/ 240 h 792"/>
              <a:gd name="T70" fmla="*/ 434 w 791"/>
              <a:gd name="T71" fmla="*/ 180 h 792"/>
              <a:gd name="T72" fmla="*/ 400 w 791"/>
              <a:gd name="T73" fmla="*/ 104 h 792"/>
              <a:gd name="T74" fmla="*/ 79 w 791"/>
              <a:gd name="T75" fmla="*/ 444 h 792"/>
              <a:gd name="T76" fmla="*/ 322 w 791"/>
              <a:gd name="T77" fmla="*/ 97 h 792"/>
              <a:gd name="T78" fmla="*/ 305 w 791"/>
              <a:gd name="T79" fmla="*/ 115 h 792"/>
              <a:gd name="T80" fmla="*/ 479 w 791"/>
              <a:gd name="T81" fmla="*/ 76 h 792"/>
              <a:gd name="T82" fmla="*/ 327 w 791"/>
              <a:gd name="T83" fmla="*/ 122 h 792"/>
              <a:gd name="T84" fmla="*/ 381 w 791"/>
              <a:gd name="T85" fmla="*/ 164 h 792"/>
              <a:gd name="T86" fmla="*/ 337 w 791"/>
              <a:gd name="T87" fmla="*/ 189 h 792"/>
              <a:gd name="T88" fmla="*/ 255 w 791"/>
              <a:gd name="T89" fmla="*/ 144 h 792"/>
              <a:gd name="T90" fmla="*/ 360 w 791"/>
              <a:gd name="T91" fmla="*/ 168 h 792"/>
              <a:gd name="T92" fmla="*/ 330 w 791"/>
              <a:gd name="T93" fmla="*/ 176 h 792"/>
              <a:gd name="T94" fmla="*/ 229 w 791"/>
              <a:gd name="T95" fmla="*/ 389 h 792"/>
              <a:gd name="T96" fmla="*/ 325 w 791"/>
              <a:gd name="T97" fmla="*/ 474 h 792"/>
              <a:gd name="T98" fmla="*/ 402 w 791"/>
              <a:gd name="T99" fmla="*/ 567 h 792"/>
              <a:gd name="T100" fmla="*/ 423 w 791"/>
              <a:gd name="T101" fmla="*/ 165 h 792"/>
              <a:gd name="T102" fmla="*/ 240 w 791"/>
              <a:gd name="T103" fmla="*/ 648 h 792"/>
              <a:gd name="T104" fmla="*/ 220 w 791"/>
              <a:gd name="T105" fmla="*/ 533 h 792"/>
              <a:gd name="T106" fmla="*/ 458 w 791"/>
              <a:gd name="T107" fmla="*/ 691 h 792"/>
              <a:gd name="T108" fmla="*/ 536 w 791"/>
              <a:gd name="T109" fmla="*/ 648 h 792"/>
              <a:gd name="T110" fmla="*/ 570 w 791"/>
              <a:gd name="T111" fmla="*/ 592 h 792"/>
              <a:gd name="T112" fmla="*/ 669 w 791"/>
              <a:gd name="T113" fmla="*/ 662 h 7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91" h="792">
                <a:moveTo>
                  <a:pt x="495" y="267"/>
                </a:moveTo>
                <a:cubicBezTo>
                  <a:pt x="495" y="267"/>
                  <a:pt x="495" y="267"/>
                  <a:pt x="494" y="267"/>
                </a:cubicBezTo>
                <a:cubicBezTo>
                  <a:pt x="489" y="267"/>
                  <a:pt x="472" y="265"/>
                  <a:pt x="463" y="264"/>
                </a:cubicBezTo>
                <a:cubicBezTo>
                  <a:pt x="453" y="252"/>
                  <a:pt x="430" y="223"/>
                  <a:pt x="413" y="223"/>
                </a:cubicBezTo>
                <a:cubicBezTo>
                  <a:pt x="413" y="223"/>
                  <a:pt x="412" y="223"/>
                  <a:pt x="411" y="223"/>
                </a:cubicBezTo>
                <a:cubicBezTo>
                  <a:pt x="404" y="224"/>
                  <a:pt x="402" y="228"/>
                  <a:pt x="402" y="230"/>
                </a:cubicBezTo>
                <a:cubicBezTo>
                  <a:pt x="400" y="238"/>
                  <a:pt x="407" y="244"/>
                  <a:pt x="417" y="252"/>
                </a:cubicBezTo>
                <a:cubicBezTo>
                  <a:pt x="419" y="254"/>
                  <a:pt x="422" y="256"/>
                  <a:pt x="424" y="258"/>
                </a:cubicBezTo>
                <a:cubicBezTo>
                  <a:pt x="423" y="259"/>
                  <a:pt x="420" y="261"/>
                  <a:pt x="418" y="262"/>
                </a:cubicBezTo>
                <a:cubicBezTo>
                  <a:pt x="413" y="249"/>
                  <a:pt x="392" y="233"/>
                  <a:pt x="379" y="224"/>
                </a:cubicBezTo>
                <a:cubicBezTo>
                  <a:pt x="376" y="223"/>
                  <a:pt x="373" y="222"/>
                  <a:pt x="370" y="222"/>
                </a:cubicBezTo>
                <a:cubicBezTo>
                  <a:pt x="351" y="222"/>
                  <a:pt x="330" y="258"/>
                  <a:pt x="324" y="269"/>
                </a:cubicBezTo>
                <a:cubicBezTo>
                  <a:pt x="323" y="270"/>
                  <a:pt x="323" y="272"/>
                  <a:pt x="323" y="273"/>
                </a:cubicBezTo>
                <a:cubicBezTo>
                  <a:pt x="323" y="278"/>
                  <a:pt x="327" y="290"/>
                  <a:pt x="346" y="290"/>
                </a:cubicBezTo>
                <a:cubicBezTo>
                  <a:pt x="361" y="290"/>
                  <a:pt x="381" y="283"/>
                  <a:pt x="391" y="279"/>
                </a:cubicBezTo>
                <a:cubicBezTo>
                  <a:pt x="391" y="279"/>
                  <a:pt x="391" y="279"/>
                  <a:pt x="391" y="279"/>
                </a:cubicBezTo>
                <a:cubicBezTo>
                  <a:pt x="391" y="279"/>
                  <a:pt x="392" y="279"/>
                  <a:pt x="392" y="279"/>
                </a:cubicBezTo>
                <a:cubicBezTo>
                  <a:pt x="394" y="279"/>
                  <a:pt x="399" y="287"/>
                  <a:pt x="402" y="292"/>
                </a:cubicBezTo>
                <a:cubicBezTo>
                  <a:pt x="407" y="301"/>
                  <a:pt x="412" y="310"/>
                  <a:pt x="421" y="315"/>
                </a:cubicBezTo>
                <a:cubicBezTo>
                  <a:pt x="424" y="317"/>
                  <a:pt x="428" y="318"/>
                  <a:pt x="432" y="318"/>
                </a:cubicBezTo>
                <a:cubicBezTo>
                  <a:pt x="432" y="318"/>
                  <a:pt x="432" y="318"/>
                  <a:pt x="432" y="318"/>
                </a:cubicBezTo>
                <a:cubicBezTo>
                  <a:pt x="445" y="318"/>
                  <a:pt x="455" y="308"/>
                  <a:pt x="463" y="299"/>
                </a:cubicBezTo>
                <a:cubicBezTo>
                  <a:pt x="465" y="300"/>
                  <a:pt x="468" y="301"/>
                  <a:pt x="471" y="302"/>
                </a:cubicBezTo>
                <a:cubicBezTo>
                  <a:pt x="480" y="306"/>
                  <a:pt x="492" y="310"/>
                  <a:pt x="503" y="310"/>
                </a:cubicBezTo>
                <a:cubicBezTo>
                  <a:pt x="503" y="310"/>
                  <a:pt x="503" y="310"/>
                  <a:pt x="503" y="310"/>
                </a:cubicBezTo>
                <a:cubicBezTo>
                  <a:pt x="514" y="310"/>
                  <a:pt x="521" y="305"/>
                  <a:pt x="524" y="300"/>
                </a:cubicBezTo>
                <a:cubicBezTo>
                  <a:pt x="531" y="291"/>
                  <a:pt x="529" y="284"/>
                  <a:pt x="527" y="280"/>
                </a:cubicBezTo>
                <a:cubicBezTo>
                  <a:pt x="521" y="267"/>
                  <a:pt x="498" y="266"/>
                  <a:pt x="497" y="266"/>
                </a:cubicBezTo>
                <a:cubicBezTo>
                  <a:pt x="496" y="266"/>
                  <a:pt x="495" y="267"/>
                  <a:pt x="495" y="267"/>
                </a:cubicBezTo>
                <a:close/>
                <a:moveTo>
                  <a:pt x="403" y="269"/>
                </a:moveTo>
                <a:cubicBezTo>
                  <a:pt x="400" y="267"/>
                  <a:pt x="396" y="265"/>
                  <a:pt x="392" y="265"/>
                </a:cubicBezTo>
                <a:cubicBezTo>
                  <a:pt x="390" y="265"/>
                  <a:pt x="388" y="265"/>
                  <a:pt x="387" y="266"/>
                </a:cubicBezTo>
                <a:cubicBezTo>
                  <a:pt x="386" y="266"/>
                  <a:pt x="386" y="266"/>
                  <a:pt x="386" y="266"/>
                </a:cubicBezTo>
                <a:cubicBezTo>
                  <a:pt x="377" y="269"/>
                  <a:pt x="358" y="276"/>
                  <a:pt x="346" y="276"/>
                </a:cubicBezTo>
                <a:cubicBezTo>
                  <a:pt x="340" y="276"/>
                  <a:pt x="338" y="274"/>
                  <a:pt x="337" y="273"/>
                </a:cubicBezTo>
                <a:cubicBezTo>
                  <a:pt x="348" y="255"/>
                  <a:pt x="363" y="236"/>
                  <a:pt x="370" y="236"/>
                </a:cubicBezTo>
                <a:cubicBezTo>
                  <a:pt x="370" y="236"/>
                  <a:pt x="371" y="236"/>
                  <a:pt x="371" y="236"/>
                </a:cubicBezTo>
                <a:cubicBezTo>
                  <a:pt x="391" y="250"/>
                  <a:pt x="403" y="262"/>
                  <a:pt x="405" y="267"/>
                </a:cubicBezTo>
                <a:cubicBezTo>
                  <a:pt x="404" y="268"/>
                  <a:pt x="404" y="268"/>
                  <a:pt x="403" y="269"/>
                </a:cubicBezTo>
                <a:close/>
                <a:moveTo>
                  <a:pt x="515" y="286"/>
                </a:moveTo>
                <a:cubicBezTo>
                  <a:pt x="515" y="287"/>
                  <a:pt x="515" y="289"/>
                  <a:pt x="513" y="292"/>
                </a:cubicBezTo>
                <a:cubicBezTo>
                  <a:pt x="511" y="294"/>
                  <a:pt x="509" y="296"/>
                  <a:pt x="503" y="296"/>
                </a:cubicBezTo>
                <a:cubicBezTo>
                  <a:pt x="494" y="296"/>
                  <a:pt x="484" y="292"/>
                  <a:pt x="476" y="289"/>
                </a:cubicBezTo>
                <a:cubicBezTo>
                  <a:pt x="469" y="286"/>
                  <a:pt x="465" y="285"/>
                  <a:pt x="461" y="285"/>
                </a:cubicBezTo>
                <a:cubicBezTo>
                  <a:pt x="456" y="285"/>
                  <a:pt x="454" y="287"/>
                  <a:pt x="453" y="288"/>
                </a:cubicBezTo>
                <a:cubicBezTo>
                  <a:pt x="446" y="298"/>
                  <a:pt x="438" y="304"/>
                  <a:pt x="432" y="304"/>
                </a:cubicBezTo>
                <a:cubicBezTo>
                  <a:pt x="431" y="304"/>
                  <a:pt x="429" y="304"/>
                  <a:pt x="428" y="303"/>
                </a:cubicBezTo>
                <a:cubicBezTo>
                  <a:pt x="422" y="300"/>
                  <a:pt x="418" y="292"/>
                  <a:pt x="414" y="285"/>
                </a:cubicBezTo>
                <a:cubicBezTo>
                  <a:pt x="413" y="284"/>
                  <a:pt x="412" y="282"/>
                  <a:pt x="411" y="281"/>
                </a:cubicBezTo>
                <a:cubicBezTo>
                  <a:pt x="418" y="279"/>
                  <a:pt x="432" y="271"/>
                  <a:pt x="436" y="266"/>
                </a:cubicBezTo>
                <a:cubicBezTo>
                  <a:pt x="438" y="263"/>
                  <a:pt x="440" y="261"/>
                  <a:pt x="439" y="258"/>
                </a:cubicBezTo>
                <a:cubicBezTo>
                  <a:pt x="444" y="263"/>
                  <a:pt x="449" y="269"/>
                  <a:pt x="453" y="275"/>
                </a:cubicBezTo>
                <a:cubicBezTo>
                  <a:pt x="454" y="276"/>
                  <a:pt x="456" y="277"/>
                  <a:pt x="458" y="278"/>
                </a:cubicBezTo>
                <a:cubicBezTo>
                  <a:pt x="459" y="278"/>
                  <a:pt x="487" y="281"/>
                  <a:pt x="494" y="281"/>
                </a:cubicBezTo>
                <a:cubicBezTo>
                  <a:pt x="496" y="281"/>
                  <a:pt x="496" y="281"/>
                  <a:pt x="497" y="280"/>
                </a:cubicBezTo>
                <a:cubicBezTo>
                  <a:pt x="497" y="280"/>
                  <a:pt x="497" y="280"/>
                  <a:pt x="497" y="280"/>
                </a:cubicBezTo>
                <a:cubicBezTo>
                  <a:pt x="504" y="280"/>
                  <a:pt x="513" y="283"/>
                  <a:pt x="515" y="286"/>
                </a:cubicBezTo>
                <a:close/>
                <a:moveTo>
                  <a:pt x="691" y="658"/>
                </a:moveTo>
                <a:cubicBezTo>
                  <a:pt x="724" y="621"/>
                  <a:pt x="751" y="577"/>
                  <a:pt x="768" y="529"/>
                </a:cubicBezTo>
                <a:cubicBezTo>
                  <a:pt x="768" y="528"/>
                  <a:pt x="769" y="527"/>
                  <a:pt x="769" y="527"/>
                </a:cubicBezTo>
                <a:cubicBezTo>
                  <a:pt x="783" y="486"/>
                  <a:pt x="791" y="442"/>
                  <a:pt x="791" y="396"/>
                </a:cubicBezTo>
                <a:cubicBezTo>
                  <a:pt x="791" y="339"/>
                  <a:pt x="779" y="285"/>
                  <a:pt x="757" y="236"/>
                </a:cubicBezTo>
                <a:cubicBezTo>
                  <a:pt x="757" y="236"/>
                  <a:pt x="757" y="235"/>
                  <a:pt x="757" y="235"/>
                </a:cubicBezTo>
                <a:cubicBezTo>
                  <a:pt x="709" y="128"/>
                  <a:pt x="616" y="48"/>
                  <a:pt x="505" y="16"/>
                </a:cubicBezTo>
                <a:cubicBezTo>
                  <a:pt x="504" y="16"/>
                  <a:pt x="504" y="15"/>
                  <a:pt x="503" y="15"/>
                </a:cubicBezTo>
                <a:cubicBezTo>
                  <a:pt x="501" y="15"/>
                  <a:pt x="498" y="14"/>
                  <a:pt x="496" y="13"/>
                </a:cubicBezTo>
                <a:cubicBezTo>
                  <a:pt x="495" y="13"/>
                  <a:pt x="494" y="13"/>
                  <a:pt x="493" y="12"/>
                </a:cubicBezTo>
                <a:cubicBezTo>
                  <a:pt x="490" y="12"/>
                  <a:pt x="488" y="11"/>
                  <a:pt x="486" y="11"/>
                </a:cubicBezTo>
                <a:cubicBezTo>
                  <a:pt x="484" y="10"/>
                  <a:pt x="483" y="10"/>
                  <a:pt x="482" y="10"/>
                </a:cubicBezTo>
                <a:cubicBezTo>
                  <a:pt x="480" y="10"/>
                  <a:pt x="479" y="9"/>
                  <a:pt x="477" y="9"/>
                </a:cubicBezTo>
                <a:cubicBezTo>
                  <a:pt x="477" y="9"/>
                  <a:pt x="477" y="9"/>
                  <a:pt x="477" y="9"/>
                </a:cubicBezTo>
                <a:cubicBezTo>
                  <a:pt x="474" y="8"/>
                  <a:pt x="471" y="8"/>
                  <a:pt x="467" y="7"/>
                </a:cubicBezTo>
                <a:cubicBezTo>
                  <a:pt x="467" y="7"/>
                  <a:pt x="467" y="7"/>
                  <a:pt x="467" y="7"/>
                </a:cubicBezTo>
                <a:cubicBezTo>
                  <a:pt x="467" y="7"/>
                  <a:pt x="466" y="7"/>
                  <a:pt x="466" y="7"/>
                </a:cubicBezTo>
                <a:cubicBezTo>
                  <a:pt x="461" y="6"/>
                  <a:pt x="456" y="5"/>
                  <a:pt x="451" y="4"/>
                </a:cubicBezTo>
                <a:cubicBezTo>
                  <a:pt x="450" y="4"/>
                  <a:pt x="449" y="4"/>
                  <a:pt x="448" y="4"/>
                </a:cubicBezTo>
                <a:cubicBezTo>
                  <a:pt x="443" y="3"/>
                  <a:pt x="438" y="3"/>
                  <a:pt x="432" y="2"/>
                </a:cubicBezTo>
                <a:cubicBezTo>
                  <a:pt x="432" y="2"/>
                  <a:pt x="431" y="2"/>
                  <a:pt x="430" y="2"/>
                </a:cubicBezTo>
                <a:cubicBezTo>
                  <a:pt x="425" y="1"/>
                  <a:pt x="419" y="1"/>
                  <a:pt x="414" y="1"/>
                </a:cubicBezTo>
                <a:cubicBezTo>
                  <a:pt x="413" y="1"/>
                  <a:pt x="413" y="1"/>
                  <a:pt x="412" y="1"/>
                </a:cubicBezTo>
                <a:cubicBezTo>
                  <a:pt x="407" y="0"/>
                  <a:pt x="401" y="0"/>
                  <a:pt x="395" y="0"/>
                </a:cubicBezTo>
                <a:cubicBezTo>
                  <a:pt x="392" y="0"/>
                  <a:pt x="388" y="0"/>
                  <a:pt x="385" y="0"/>
                </a:cubicBezTo>
                <a:cubicBezTo>
                  <a:pt x="383" y="1"/>
                  <a:pt x="381" y="1"/>
                  <a:pt x="379" y="1"/>
                </a:cubicBezTo>
                <a:cubicBezTo>
                  <a:pt x="378" y="1"/>
                  <a:pt x="376" y="1"/>
                  <a:pt x="374" y="1"/>
                </a:cubicBezTo>
                <a:cubicBezTo>
                  <a:pt x="372" y="1"/>
                  <a:pt x="369" y="1"/>
                  <a:pt x="367" y="1"/>
                </a:cubicBezTo>
                <a:cubicBezTo>
                  <a:pt x="366" y="1"/>
                  <a:pt x="365" y="1"/>
                  <a:pt x="364" y="2"/>
                </a:cubicBezTo>
                <a:cubicBezTo>
                  <a:pt x="361" y="2"/>
                  <a:pt x="358" y="2"/>
                  <a:pt x="355" y="2"/>
                </a:cubicBezTo>
                <a:cubicBezTo>
                  <a:pt x="355" y="2"/>
                  <a:pt x="355" y="2"/>
                  <a:pt x="355" y="2"/>
                </a:cubicBezTo>
                <a:cubicBezTo>
                  <a:pt x="310" y="7"/>
                  <a:pt x="267" y="19"/>
                  <a:pt x="226" y="38"/>
                </a:cubicBezTo>
                <a:cubicBezTo>
                  <a:pt x="226" y="38"/>
                  <a:pt x="226" y="39"/>
                  <a:pt x="225" y="39"/>
                </a:cubicBezTo>
                <a:cubicBezTo>
                  <a:pt x="215" y="44"/>
                  <a:pt x="205" y="49"/>
                  <a:pt x="195" y="55"/>
                </a:cubicBezTo>
                <a:cubicBezTo>
                  <a:pt x="195" y="55"/>
                  <a:pt x="195" y="55"/>
                  <a:pt x="194" y="55"/>
                </a:cubicBezTo>
                <a:cubicBezTo>
                  <a:pt x="140" y="87"/>
                  <a:pt x="93" y="133"/>
                  <a:pt x="59" y="187"/>
                </a:cubicBezTo>
                <a:cubicBezTo>
                  <a:pt x="59" y="187"/>
                  <a:pt x="59" y="187"/>
                  <a:pt x="59" y="188"/>
                </a:cubicBezTo>
                <a:cubicBezTo>
                  <a:pt x="44" y="211"/>
                  <a:pt x="32" y="237"/>
                  <a:pt x="23" y="263"/>
                </a:cubicBezTo>
                <a:cubicBezTo>
                  <a:pt x="22" y="264"/>
                  <a:pt x="22" y="264"/>
                  <a:pt x="22" y="265"/>
                </a:cubicBezTo>
                <a:cubicBezTo>
                  <a:pt x="20" y="270"/>
                  <a:pt x="19" y="275"/>
                  <a:pt x="17" y="280"/>
                </a:cubicBezTo>
                <a:cubicBezTo>
                  <a:pt x="17" y="280"/>
                  <a:pt x="17" y="280"/>
                  <a:pt x="17" y="280"/>
                </a:cubicBezTo>
                <a:cubicBezTo>
                  <a:pt x="16" y="282"/>
                  <a:pt x="16" y="284"/>
                  <a:pt x="15" y="285"/>
                </a:cubicBezTo>
                <a:cubicBezTo>
                  <a:pt x="15" y="287"/>
                  <a:pt x="15" y="288"/>
                  <a:pt x="14" y="290"/>
                </a:cubicBezTo>
                <a:cubicBezTo>
                  <a:pt x="13" y="292"/>
                  <a:pt x="13" y="294"/>
                  <a:pt x="12" y="297"/>
                </a:cubicBezTo>
                <a:cubicBezTo>
                  <a:pt x="11" y="300"/>
                  <a:pt x="11" y="303"/>
                  <a:pt x="10" y="307"/>
                </a:cubicBezTo>
                <a:cubicBezTo>
                  <a:pt x="9" y="309"/>
                  <a:pt x="9" y="310"/>
                  <a:pt x="9" y="312"/>
                </a:cubicBezTo>
                <a:cubicBezTo>
                  <a:pt x="8" y="315"/>
                  <a:pt x="8" y="317"/>
                  <a:pt x="7" y="320"/>
                </a:cubicBezTo>
                <a:cubicBezTo>
                  <a:pt x="7" y="321"/>
                  <a:pt x="6" y="323"/>
                  <a:pt x="6" y="325"/>
                </a:cubicBezTo>
                <a:cubicBezTo>
                  <a:pt x="5" y="328"/>
                  <a:pt x="5" y="332"/>
                  <a:pt x="4" y="336"/>
                </a:cubicBezTo>
                <a:cubicBezTo>
                  <a:pt x="4" y="337"/>
                  <a:pt x="4" y="338"/>
                  <a:pt x="4" y="340"/>
                </a:cubicBezTo>
                <a:cubicBezTo>
                  <a:pt x="3" y="343"/>
                  <a:pt x="3" y="346"/>
                  <a:pt x="2" y="350"/>
                </a:cubicBezTo>
                <a:cubicBezTo>
                  <a:pt x="2" y="351"/>
                  <a:pt x="2" y="352"/>
                  <a:pt x="2" y="353"/>
                </a:cubicBezTo>
                <a:cubicBezTo>
                  <a:pt x="1" y="358"/>
                  <a:pt x="1" y="362"/>
                  <a:pt x="1" y="366"/>
                </a:cubicBezTo>
                <a:cubicBezTo>
                  <a:pt x="1" y="367"/>
                  <a:pt x="1" y="367"/>
                  <a:pt x="1" y="368"/>
                </a:cubicBezTo>
                <a:cubicBezTo>
                  <a:pt x="0" y="372"/>
                  <a:pt x="0" y="375"/>
                  <a:pt x="0" y="379"/>
                </a:cubicBezTo>
                <a:cubicBezTo>
                  <a:pt x="0" y="380"/>
                  <a:pt x="0" y="382"/>
                  <a:pt x="0" y="383"/>
                </a:cubicBezTo>
                <a:cubicBezTo>
                  <a:pt x="0" y="387"/>
                  <a:pt x="0" y="392"/>
                  <a:pt x="0" y="396"/>
                </a:cubicBezTo>
                <a:cubicBezTo>
                  <a:pt x="0" y="400"/>
                  <a:pt x="0" y="404"/>
                  <a:pt x="0" y="407"/>
                </a:cubicBezTo>
                <a:cubicBezTo>
                  <a:pt x="0" y="408"/>
                  <a:pt x="0" y="409"/>
                  <a:pt x="0" y="410"/>
                </a:cubicBezTo>
                <a:cubicBezTo>
                  <a:pt x="0" y="413"/>
                  <a:pt x="0" y="416"/>
                  <a:pt x="0" y="419"/>
                </a:cubicBezTo>
                <a:cubicBezTo>
                  <a:pt x="0" y="420"/>
                  <a:pt x="0" y="420"/>
                  <a:pt x="0" y="421"/>
                </a:cubicBezTo>
                <a:cubicBezTo>
                  <a:pt x="1" y="425"/>
                  <a:pt x="1" y="428"/>
                  <a:pt x="1" y="431"/>
                </a:cubicBezTo>
                <a:cubicBezTo>
                  <a:pt x="1" y="432"/>
                  <a:pt x="1" y="432"/>
                  <a:pt x="1" y="432"/>
                </a:cubicBezTo>
                <a:cubicBezTo>
                  <a:pt x="7" y="492"/>
                  <a:pt x="26" y="548"/>
                  <a:pt x="55" y="598"/>
                </a:cubicBezTo>
                <a:cubicBezTo>
                  <a:pt x="55" y="598"/>
                  <a:pt x="55" y="598"/>
                  <a:pt x="55" y="598"/>
                </a:cubicBezTo>
                <a:cubicBezTo>
                  <a:pt x="57" y="601"/>
                  <a:pt x="59" y="604"/>
                  <a:pt x="60" y="606"/>
                </a:cubicBezTo>
                <a:cubicBezTo>
                  <a:pt x="61" y="607"/>
                  <a:pt x="61" y="608"/>
                  <a:pt x="62" y="609"/>
                </a:cubicBezTo>
                <a:cubicBezTo>
                  <a:pt x="63" y="610"/>
                  <a:pt x="64" y="611"/>
                  <a:pt x="64" y="613"/>
                </a:cubicBezTo>
                <a:cubicBezTo>
                  <a:pt x="91" y="654"/>
                  <a:pt x="126" y="690"/>
                  <a:pt x="167" y="719"/>
                </a:cubicBezTo>
                <a:cubicBezTo>
                  <a:pt x="167" y="719"/>
                  <a:pt x="167" y="719"/>
                  <a:pt x="168" y="719"/>
                </a:cubicBezTo>
                <a:cubicBezTo>
                  <a:pt x="232" y="765"/>
                  <a:pt x="311" y="792"/>
                  <a:pt x="395" y="792"/>
                </a:cubicBezTo>
                <a:cubicBezTo>
                  <a:pt x="512" y="792"/>
                  <a:pt x="616" y="741"/>
                  <a:pt x="689" y="661"/>
                </a:cubicBezTo>
                <a:cubicBezTo>
                  <a:pt x="690" y="660"/>
                  <a:pt x="691" y="659"/>
                  <a:pt x="691" y="658"/>
                </a:cubicBezTo>
                <a:close/>
                <a:moveTo>
                  <a:pt x="79" y="610"/>
                </a:moveTo>
                <a:cubicBezTo>
                  <a:pt x="79" y="610"/>
                  <a:pt x="79" y="609"/>
                  <a:pt x="79" y="609"/>
                </a:cubicBezTo>
                <a:cubicBezTo>
                  <a:pt x="77" y="607"/>
                  <a:pt x="76" y="605"/>
                  <a:pt x="75" y="604"/>
                </a:cubicBezTo>
                <a:cubicBezTo>
                  <a:pt x="74" y="602"/>
                  <a:pt x="73" y="601"/>
                  <a:pt x="73" y="600"/>
                </a:cubicBezTo>
                <a:cubicBezTo>
                  <a:pt x="72" y="599"/>
                  <a:pt x="71" y="598"/>
                  <a:pt x="71" y="597"/>
                </a:cubicBezTo>
                <a:cubicBezTo>
                  <a:pt x="69" y="594"/>
                  <a:pt x="68" y="592"/>
                  <a:pt x="67" y="590"/>
                </a:cubicBezTo>
                <a:cubicBezTo>
                  <a:pt x="67" y="590"/>
                  <a:pt x="66" y="589"/>
                  <a:pt x="66" y="589"/>
                </a:cubicBezTo>
                <a:cubicBezTo>
                  <a:pt x="36" y="537"/>
                  <a:pt x="18" y="478"/>
                  <a:pt x="14" y="417"/>
                </a:cubicBezTo>
                <a:cubicBezTo>
                  <a:pt x="14" y="417"/>
                  <a:pt x="14" y="417"/>
                  <a:pt x="14" y="417"/>
                </a:cubicBezTo>
                <a:cubicBezTo>
                  <a:pt x="14" y="414"/>
                  <a:pt x="14" y="411"/>
                  <a:pt x="14" y="407"/>
                </a:cubicBezTo>
                <a:cubicBezTo>
                  <a:pt x="14" y="407"/>
                  <a:pt x="14" y="407"/>
                  <a:pt x="14" y="406"/>
                </a:cubicBezTo>
                <a:cubicBezTo>
                  <a:pt x="14" y="403"/>
                  <a:pt x="14" y="399"/>
                  <a:pt x="14" y="396"/>
                </a:cubicBezTo>
                <a:cubicBezTo>
                  <a:pt x="14" y="393"/>
                  <a:pt x="14" y="389"/>
                  <a:pt x="14" y="386"/>
                </a:cubicBezTo>
                <a:cubicBezTo>
                  <a:pt x="14" y="385"/>
                  <a:pt x="14" y="384"/>
                  <a:pt x="14" y="382"/>
                </a:cubicBezTo>
                <a:cubicBezTo>
                  <a:pt x="14" y="380"/>
                  <a:pt x="14" y="378"/>
                  <a:pt x="14" y="376"/>
                </a:cubicBezTo>
                <a:cubicBezTo>
                  <a:pt x="14" y="374"/>
                  <a:pt x="14" y="373"/>
                  <a:pt x="14" y="371"/>
                </a:cubicBezTo>
                <a:cubicBezTo>
                  <a:pt x="15" y="370"/>
                  <a:pt x="15" y="368"/>
                  <a:pt x="15" y="366"/>
                </a:cubicBezTo>
                <a:cubicBezTo>
                  <a:pt x="15" y="364"/>
                  <a:pt x="15" y="362"/>
                  <a:pt x="15" y="361"/>
                </a:cubicBezTo>
                <a:cubicBezTo>
                  <a:pt x="15" y="359"/>
                  <a:pt x="16" y="357"/>
                  <a:pt x="16" y="356"/>
                </a:cubicBezTo>
                <a:cubicBezTo>
                  <a:pt x="16" y="354"/>
                  <a:pt x="16" y="352"/>
                  <a:pt x="16" y="351"/>
                </a:cubicBezTo>
                <a:cubicBezTo>
                  <a:pt x="17" y="349"/>
                  <a:pt x="17" y="347"/>
                  <a:pt x="17" y="346"/>
                </a:cubicBezTo>
                <a:cubicBezTo>
                  <a:pt x="17" y="344"/>
                  <a:pt x="17" y="342"/>
                  <a:pt x="18" y="340"/>
                </a:cubicBezTo>
                <a:cubicBezTo>
                  <a:pt x="18" y="339"/>
                  <a:pt x="18" y="338"/>
                  <a:pt x="18" y="336"/>
                </a:cubicBezTo>
                <a:cubicBezTo>
                  <a:pt x="19" y="334"/>
                  <a:pt x="19" y="332"/>
                  <a:pt x="19" y="330"/>
                </a:cubicBezTo>
                <a:cubicBezTo>
                  <a:pt x="19" y="329"/>
                  <a:pt x="20" y="328"/>
                  <a:pt x="20" y="327"/>
                </a:cubicBezTo>
                <a:cubicBezTo>
                  <a:pt x="20" y="325"/>
                  <a:pt x="21" y="322"/>
                  <a:pt x="21" y="320"/>
                </a:cubicBezTo>
                <a:cubicBezTo>
                  <a:pt x="21" y="319"/>
                  <a:pt x="22" y="319"/>
                  <a:pt x="22" y="318"/>
                </a:cubicBezTo>
                <a:cubicBezTo>
                  <a:pt x="22" y="316"/>
                  <a:pt x="22" y="315"/>
                  <a:pt x="23" y="313"/>
                </a:cubicBezTo>
                <a:cubicBezTo>
                  <a:pt x="34" y="366"/>
                  <a:pt x="49" y="425"/>
                  <a:pt x="67" y="452"/>
                </a:cubicBezTo>
                <a:cubicBezTo>
                  <a:pt x="85" y="479"/>
                  <a:pt x="102" y="487"/>
                  <a:pt x="113" y="492"/>
                </a:cubicBezTo>
                <a:cubicBezTo>
                  <a:pt x="123" y="497"/>
                  <a:pt x="125" y="498"/>
                  <a:pt x="124" y="509"/>
                </a:cubicBezTo>
                <a:cubicBezTo>
                  <a:pt x="124" y="513"/>
                  <a:pt x="123" y="518"/>
                  <a:pt x="122" y="524"/>
                </a:cubicBezTo>
                <a:cubicBezTo>
                  <a:pt x="122" y="524"/>
                  <a:pt x="122" y="524"/>
                  <a:pt x="122" y="524"/>
                </a:cubicBezTo>
                <a:cubicBezTo>
                  <a:pt x="121" y="525"/>
                  <a:pt x="121" y="527"/>
                  <a:pt x="121" y="528"/>
                </a:cubicBezTo>
                <a:cubicBezTo>
                  <a:pt x="115" y="555"/>
                  <a:pt x="107" y="595"/>
                  <a:pt x="129" y="652"/>
                </a:cubicBezTo>
                <a:cubicBezTo>
                  <a:pt x="129" y="653"/>
                  <a:pt x="129" y="654"/>
                  <a:pt x="129" y="655"/>
                </a:cubicBezTo>
                <a:cubicBezTo>
                  <a:pt x="129" y="658"/>
                  <a:pt x="131" y="661"/>
                  <a:pt x="133" y="662"/>
                </a:cubicBezTo>
                <a:cubicBezTo>
                  <a:pt x="136" y="668"/>
                  <a:pt x="139" y="675"/>
                  <a:pt x="143" y="682"/>
                </a:cubicBezTo>
                <a:cubicBezTo>
                  <a:pt x="119" y="661"/>
                  <a:pt x="98" y="637"/>
                  <a:pt x="79" y="610"/>
                </a:cubicBezTo>
                <a:close/>
                <a:moveTo>
                  <a:pt x="70" y="196"/>
                </a:moveTo>
                <a:cubicBezTo>
                  <a:pt x="90" y="190"/>
                  <a:pt x="105" y="184"/>
                  <a:pt x="117" y="177"/>
                </a:cubicBezTo>
                <a:cubicBezTo>
                  <a:pt x="124" y="172"/>
                  <a:pt x="133" y="168"/>
                  <a:pt x="142" y="164"/>
                </a:cubicBezTo>
                <a:cubicBezTo>
                  <a:pt x="155" y="158"/>
                  <a:pt x="168" y="152"/>
                  <a:pt x="180" y="144"/>
                </a:cubicBezTo>
                <a:cubicBezTo>
                  <a:pt x="181" y="144"/>
                  <a:pt x="181" y="144"/>
                  <a:pt x="182" y="144"/>
                </a:cubicBezTo>
                <a:cubicBezTo>
                  <a:pt x="240" y="144"/>
                  <a:pt x="240" y="144"/>
                  <a:pt x="240" y="144"/>
                </a:cubicBezTo>
                <a:cubicBezTo>
                  <a:pt x="225" y="178"/>
                  <a:pt x="214" y="218"/>
                  <a:pt x="206" y="259"/>
                </a:cubicBezTo>
                <a:cubicBezTo>
                  <a:pt x="39" y="259"/>
                  <a:pt x="39" y="259"/>
                  <a:pt x="39" y="259"/>
                </a:cubicBezTo>
                <a:cubicBezTo>
                  <a:pt x="47" y="237"/>
                  <a:pt x="58" y="216"/>
                  <a:pt x="70" y="196"/>
                </a:cubicBezTo>
                <a:close/>
                <a:moveTo>
                  <a:pt x="101" y="154"/>
                </a:moveTo>
                <a:cubicBezTo>
                  <a:pt x="101" y="154"/>
                  <a:pt x="101" y="153"/>
                  <a:pt x="101" y="153"/>
                </a:cubicBezTo>
                <a:cubicBezTo>
                  <a:pt x="105" y="149"/>
                  <a:pt x="109" y="144"/>
                  <a:pt x="112" y="140"/>
                </a:cubicBezTo>
                <a:cubicBezTo>
                  <a:pt x="113" y="140"/>
                  <a:pt x="113" y="139"/>
                  <a:pt x="114" y="139"/>
                </a:cubicBezTo>
                <a:cubicBezTo>
                  <a:pt x="117" y="135"/>
                  <a:pt x="121" y="130"/>
                  <a:pt x="125" y="126"/>
                </a:cubicBezTo>
                <a:cubicBezTo>
                  <a:pt x="126" y="126"/>
                  <a:pt x="126" y="126"/>
                  <a:pt x="126" y="126"/>
                </a:cubicBezTo>
                <a:cubicBezTo>
                  <a:pt x="141" y="111"/>
                  <a:pt x="157" y="97"/>
                  <a:pt x="174" y="85"/>
                </a:cubicBezTo>
                <a:cubicBezTo>
                  <a:pt x="174" y="85"/>
                  <a:pt x="174" y="85"/>
                  <a:pt x="175" y="85"/>
                </a:cubicBezTo>
                <a:cubicBezTo>
                  <a:pt x="179" y="81"/>
                  <a:pt x="184" y="78"/>
                  <a:pt x="189" y="75"/>
                </a:cubicBezTo>
                <a:cubicBezTo>
                  <a:pt x="189" y="75"/>
                  <a:pt x="190" y="74"/>
                  <a:pt x="190" y="74"/>
                </a:cubicBezTo>
                <a:cubicBezTo>
                  <a:pt x="193" y="72"/>
                  <a:pt x="196" y="71"/>
                  <a:pt x="198" y="69"/>
                </a:cubicBezTo>
                <a:cubicBezTo>
                  <a:pt x="203" y="73"/>
                  <a:pt x="206" y="77"/>
                  <a:pt x="208" y="81"/>
                </a:cubicBezTo>
                <a:cubicBezTo>
                  <a:pt x="209" y="87"/>
                  <a:pt x="207" y="94"/>
                  <a:pt x="201" y="103"/>
                </a:cubicBezTo>
                <a:cubicBezTo>
                  <a:pt x="183" y="130"/>
                  <a:pt x="159" y="141"/>
                  <a:pt x="137" y="151"/>
                </a:cubicBezTo>
                <a:cubicBezTo>
                  <a:pt x="127" y="155"/>
                  <a:pt x="118" y="160"/>
                  <a:pt x="109" y="165"/>
                </a:cubicBezTo>
                <a:cubicBezTo>
                  <a:pt x="103" y="169"/>
                  <a:pt x="93" y="173"/>
                  <a:pt x="83" y="177"/>
                </a:cubicBezTo>
                <a:cubicBezTo>
                  <a:pt x="88" y="169"/>
                  <a:pt x="94" y="161"/>
                  <a:pt x="101" y="154"/>
                </a:cubicBezTo>
                <a:close/>
                <a:moveTo>
                  <a:pt x="229" y="52"/>
                </a:moveTo>
                <a:cubicBezTo>
                  <a:pt x="244" y="59"/>
                  <a:pt x="249" y="64"/>
                  <a:pt x="249" y="66"/>
                </a:cubicBezTo>
                <a:cubicBezTo>
                  <a:pt x="249" y="66"/>
                  <a:pt x="249" y="67"/>
                  <a:pt x="248" y="68"/>
                </a:cubicBezTo>
                <a:cubicBezTo>
                  <a:pt x="236" y="77"/>
                  <a:pt x="215" y="101"/>
                  <a:pt x="220" y="116"/>
                </a:cubicBezTo>
                <a:cubicBezTo>
                  <a:pt x="221" y="119"/>
                  <a:pt x="224" y="125"/>
                  <a:pt x="234" y="125"/>
                </a:cubicBezTo>
                <a:cubicBezTo>
                  <a:pt x="234" y="125"/>
                  <a:pt x="234" y="125"/>
                  <a:pt x="234" y="125"/>
                </a:cubicBezTo>
                <a:cubicBezTo>
                  <a:pt x="235" y="125"/>
                  <a:pt x="235" y="125"/>
                  <a:pt x="236" y="125"/>
                </a:cubicBezTo>
                <a:cubicBezTo>
                  <a:pt x="241" y="125"/>
                  <a:pt x="245" y="124"/>
                  <a:pt x="250" y="122"/>
                </a:cubicBezTo>
                <a:cubicBezTo>
                  <a:pt x="248" y="125"/>
                  <a:pt x="247" y="127"/>
                  <a:pt x="246" y="130"/>
                </a:cubicBezTo>
                <a:cubicBezTo>
                  <a:pt x="197" y="130"/>
                  <a:pt x="197" y="130"/>
                  <a:pt x="197" y="130"/>
                </a:cubicBezTo>
                <a:cubicBezTo>
                  <a:pt x="202" y="124"/>
                  <a:pt x="208" y="118"/>
                  <a:pt x="213" y="111"/>
                </a:cubicBezTo>
                <a:cubicBezTo>
                  <a:pt x="221" y="99"/>
                  <a:pt x="224" y="87"/>
                  <a:pt x="221" y="77"/>
                </a:cubicBezTo>
                <a:cubicBezTo>
                  <a:pt x="220" y="72"/>
                  <a:pt x="216" y="66"/>
                  <a:pt x="211" y="62"/>
                </a:cubicBezTo>
                <a:cubicBezTo>
                  <a:pt x="217" y="58"/>
                  <a:pt x="223" y="55"/>
                  <a:pt x="229" y="52"/>
                </a:cubicBezTo>
                <a:close/>
                <a:moveTo>
                  <a:pt x="395" y="14"/>
                </a:moveTo>
                <a:cubicBezTo>
                  <a:pt x="400" y="14"/>
                  <a:pt x="405" y="14"/>
                  <a:pt x="410" y="15"/>
                </a:cubicBezTo>
                <a:cubicBezTo>
                  <a:pt x="411" y="15"/>
                  <a:pt x="412" y="15"/>
                  <a:pt x="412" y="15"/>
                </a:cubicBezTo>
                <a:cubicBezTo>
                  <a:pt x="417" y="15"/>
                  <a:pt x="422" y="15"/>
                  <a:pt x="427" y="16"/>
                </a:cubicBezTo>
                <a:cubicBezTo>
                  <a:pt x="427" y="16"/>
                  <a:pt x="428" y="16"/>
                  <a:pt x="429" y="16"/>
                </a:cubicBezTo>
                <a:cubicBezTo>
                  <a:pt x="433" y="16"/>
                  <a:pt x="438" y="17"/>
                  <a:pt x="443" y="17"/>
                </a:cubicBezTo>
                <a:cubicBezTo>
                  <a:pt x="443" y="17"/>
                  <a:pt x="443" y="17"/>
                  <a:pt x="443" y="17"/>
                </a:cubicBezTo>
                <a:cubicBezTo>
                  <a:pt x="448" y="18"/>
                  <a:pt x="453" y="19"/>
                  <a:pt x="457" y="19"/>
                </a:cubicBezTo>
                <a:cubicBezTo>
                  <a:pt x="458" y="19"/>
                  <a:pt x="459" y="20"/>
                  <a:pt x="459" y="20"/>
                </a:cubicBezTo>
                <a:cubicBezTo>
                  <a:pt x="459" y="20"/>
                  <a:pt x="459" y="20"/>
                  <a:pt x="459" y="21"/>
                </a:cubicBezTo>
                <a:cubicBezTo>
                  <a:pt x="455" y="27"/>
                  <a:pt x="445" y="32"/>
                  <a:pt x="436" y="35"/>
                </a:cubicBezTo>
                <a:cubicBezTo>
                  <a:pt x="427" y="37"/>
                  <a:pt x="412" y="41"/>
                  <a:pt x="391" y="54"/>
                </a:cubicBezTo>
                <a:cubicBezTo>
                  <a:pt x="391" y="54"/>
                  <a:pt x="391" y="54"/>
                  <a:pt x="391" y="54"/>
                </a:cubicBezTo>
                <a:cubicBezTo>
                  <a:pt x="386" y="57"/>
                  <a:pt x="381" y="61"/>
                  <a:pt x="376" y="65"/>
                </a:cubicBezTo>
                <a:cubicBezTo>
                  <a:pt x="358" y="78"/>
                  <a:pt x="340" y="81"/>
                  <a:pt x="320" y="83"/>
                </a:cubicBezTo>
                <a:cubicBezTo>
                  <a:pt x="314" y="84"/>
                  <a:pt x="307" y="85"/>
                  <a:pt x="300" y="86"/>
                </a:cubicBezTo>
                <a:cubicBezTo>
                  <a:pt x="288" y="89"/>
                  <a:pt x="277" y="94"/>
                  <a:pt x="266" y="100"/>
                </a:cubicBezTo>
                <a:cubicBezTo>
                  <a:pt x="265" y="100"/>
                  <a:pt x="263" y="101"/>
                  <a:pt x="261" y="102"/>
                </a:cubicBezTo>
                <a:cubicBezTo>
                  <a:pt x="261" y="102"/>
                  <a:pt x="261" y="102"/>
                  <a:pt x="261" y="102"/>
                </a:cubicBezTo>
                <a:cubicBezTo>
                  <a:pt x="252" y="106"/>
                  <a:pt x="244" y="110"/>
                  <a:pt x="235" y="111"/>
                </a:cubicBezTo>
                <a:cubicBezTo>
                  <a:pt x="235" y="111"/>
                  <a:pt x="234" y="111"/>
                  <a:pt x="234" y="111"/>
                </a:cubicBezTo>
                <a:cubicBezTo>
                  <a:pt x="234" y="111"/>
                  <a:pt x="234" y="111"/>
                  <a:pt x="234" y="111"/>
                </a:cubicBezTo>
                <a:cubicBezTo>
                  <a:pt x="234" y="111"/>
                  <a:pt x="233" y="111"/>
                  <a:pt x="233" y="111"/>
                </a:cubicBezTo>
                <a:cubicBezTo>
                  <a:pt x="233" y="106"/>
                  <a:pt x="243" y="89"/>
                  <a:pt x="256" y="79"/>
                </a:cubicBezTo>
                <a:cubicBezTo>
                  <a:pt x="263" y="74"/>
                  <a:pt x="263" y="68"/>
                  <a:pt x="263" y="64"/>
                </a:cubicBezTo>
                <a:cubicBezTo>
                  <a:pt x="263" y="62"/>
                  <a:pt x="262" y="54"/>
                  <a:pt x="246" y="45"/>
                </a:cubicBezTo>
                <a:cubicBezTo>
                  <a:pt x="292" y="25"/>
                  <a:pt x="342" y="14"/>
                  <a:pt x="395" y="14"/>
                </a:cubicBezTo>
                <a:close/>
                <a:moveTo>
                  <a:pt x="757" y="519"/>
                </a:moveTo>
                <a:cubicBezTo>
                  <a:pt x="583" y="519"/>
                  <a:pt x="583" y="519"/>
                  <a:pt x="583" y="519"/>
                </a:cubicBezTo>
                <a:cubicBezTo>
                  <a:pt x="586" y="510"/>
                  <a:pt x="590" y="502"/>
                  <a:pt x="596" y="495"/>
                </a:cubicBezTo>
                <a:cubicBezTo>
                  <a:pt x="611" y="476"/>
                  <a:pt x="637" y="413"/>
                  <a:pt x="632" y="403"/>
                </a:cubicBezTo>
                <a:cubicBezTo>
                  <a:pt x="632" y="403"/>
                  <a:pt x="632" y="403"/>
                  <a:pt x="632" y="403"/>
                </a:cubicBezTo>
                <a:cubicBezTo>
                  <a:pt x="777" y="403"/>
                  <a:pt x="777" y="403"/>
                  <a:pt x="777" y="403"/>
                </a:cubicBezTo>
                <a:cubicBezTo>
                  <a:pt x="776" y="443"/>
                  <a:pt x="769" y="482"/>
                  <a:pt x="757" y="519"/>
                </a:cubicBezTo>
                <a:close/>
                <a:moveTo>
                  <a:pt x="652" y="328"/>
                </a:moveTo>
                <a:cubicBezTo>
                  <a:pt x="652" y="321"/>
                  <a:pt x="660" y="316"/>
                  <a:pt x="665" y="314"/>
                </a:cubicBezTo>
                <a:cubicBezTo>
                  <a:pt x="673" y="332"/>
                  <a:pt x="692" y="376"/>
                  <a:pt x="707" y="389"/>
                </a:cubicBezTo>
                <a:cubicBezTo>
                  <a:pt x="621" y="389"/>
                  <a:pt x="621" y="389"/>
                  <a:pt x="621" y="389"/>
                </a:cubicBezTo>
                <a:cubicBezTo>
                  <a:pt x="636" y="369"/>
                  <a:pt x="654" y="342"/>
                  <a:pt x="652" y="328"/>
                </a:cubicBezTo>
                <a:close/>
                <a:moveTo>
                  <a:pt x="730" y="389"/>
                </a:moveTo>
                <a:cubicBezTo>
                  <a:pt x="735" y="382"/>
                  <a:pt x="734" y="369"/>
                  <a:pt x="733" y="365"/>
                </a:cubicBezTo>
                <a:cubicBezTo>
                  <a:pt x="727" y="329"/>
                  <a:pt x="724" y="286"/>
                  <a:pt x="729" y="278"/>
                </a:cubicBezTo>
                <a:cubicBezTo>
                  <a:pt x="730" y="276"/>
                  <a:pt x="731" y="275"/>
                  <a:pt x="732" y="273"/>
                </a:cubicBezTo>
                <a:cubicBezTo>
                  <a:pt x="757" y="273"/>
                  <a:pt x="757" y="273"/>
                  <a:pt x="757" y="273"/>
                </a:cubicBezTo>
                <a:cubicBezTo>
                  <a:pt x="769" y="310"/>
                  <a:pt x="776" y="349"/>
                  <a:pt x="777" y="389"/>
                </a:cubicBezTo>
                <a:lnTo>
                  <a:pt x="730" y="389"/>
                </a:lnTo>
                <a:close/>
                <a:moveTo>
                  <a:pt x="752" y="259"/>
                </a:moveTo>
                <a:cubicBezTo>
                  <a:pt x="742" y="259"/>
                  <a:pt x="742" y="259"/>
                  <a:pt x="742" y="259"/>
                </a:cubicBezTo>
                <a:cubicBezTo>
                  <a:pt x="744" y="257"/>
                  <a:pt x="746" y="254"/>
                  <a:pt x="749" y="252"/>
                </a:cubicBezTo>
                <a:cubicBezTo>
                  <a:pt x="750" y="254"/>
                  <a:pt x="751" y="257"/>
                  <a:pt x="752" y="259"/>
                </a:cubicBezTo>
                <a:close/>
                <a:moveTo>
                  <a:pt x="742" y="237"/>
                </a:moveTo>
                <a:cubicBezTo>
                  <a:pt x="736" y="244"/>
                  <a:pt x="730" y="252"/>
                  <a:pt x="725" y="259"/>
                </a:cubicBezTo>
                <a:cubicBezTo>
                  <a:pt x="723" y="259"/>
                  <a:pt x="723" y="259"/>
                  <a:pt x="723" y="259"/>
                </a:cubicBezTo>
                <a:cubicBezTo>
                  <a:pt x="719" y="259"/>
                  <a:pt x="716" y="263"/>
                  <a:pt x="716" y="266"/>
                </a:cubicBezTo>
                <a:cubicBezTo>
                  <a:pt x="716" y="268"/>
                  <a:pt x="716" y="269"/>
                  <a:pt x="717" y="270"/>
                </a:cubicBezTo>
                <a:cubicBezTo>
                  <a:pt x="706" y="287"/>
                  <a:pt x="717" y="354"/>
                  <a:pt x="719" y="367"/>
                </a:cubicBezTo>
                <a:cubicBezTo>
                  <a:pt x="720" y="372"/>
                  <a:pt x="720" y="378"/>
                  <a:pt x="719" y="380"/>
                </a:cubicBezTo>
                <a:cubicBezTo>
                  <a:pt x="719" y="380"/>
                  <a:pt x="718" y="380"/>
                  <a:pt x="718" y="379"/>
                </a:cubicBezTo>
                <a:cubicBezTo>
                  <a:pt x="708" y="373"/>
                  <a:pt x="687" y="331"/>
                  <a:pt x="676" y="302"/>
                </a:cubicBezTo>
                <a:cubicBezTo>
                  <a:pt x="674" y="299"/>
                  <a:pt x="671" y="297"/>
                  <a:pt x="667" y="298"/>
                </a:cubicBezTo>
                <a:cubicBezTo>
                  <a:pt x="659" y="300"/>
                  <a:pt x="647" y="306"/>
                  <a:pt x="642" y="315"/>
                </a:cubicBezTo>
                <a:cubicBezTo>
                  <a:pt x="629" y="320"/>
                  <a:pt x="629" y="320"/>
                  <a:pt x="629" y="320"/>
                </a:cubicBezTo>
                <a:cubicBezTo>
                  <a:pt x="584" y="300"/>
                  <a:pt x="584" y="300"/>
                  <a:pt x="584" y="300"/>
                </a:cubicBezTo>
                <a:cubicBezTo>
                  <a:pt x="581" y="299"/>
                  <a:pt x="577" y="300"/>
                  <a:pt x="575" y="304"/>
                </a:cubicBezTo>
                <a:cubicBezTo>
                  <a:pt x="573" y="307"/>
                  <a:pt x="575" y="312"/>
                  <a:pt x="579" y="313"/>
                </a:cubicBezTo>
                <a:cubicBezTo>
                  <a:pt x="626" y="334"/>
                  <a:pt x="626" y="334"/>
                  <a:pt x="626" y="334"/>
                </a:cubicBezTo>
                <a:cubicBezTo>
                  <a:pt x="627" y="334"/>
                  <a:pt x="628" y="334"/>
                  <a:pt x="629" y="334"/>
                </a:cubicBezTo>
                <a:cubicBezTo>
                  <a:pt x="630" y="334"/>
                  <a:pt x="630" y="334"/>
                  <a:pt x="631" y="334"/>
                </a:cubicBezTo>
                <a:cubicBezTo>
                  <a:pt x="638" y="331"/>
                  <a:pt x="638" y="331"/>
                  <a:pt x="638" y="331"/>
                </a:cubicBezTo>
                <a:cubicBezTo>
                  <a:pt x="637" y="342"/>
                  <a:pt x="619" y="368"/>
                  <a:pt x="602" y="392"/>
                </a:cubicBezTo>
                <a:cubicBezTo>
                  <a:pt x="602" y="392"/>
                  <a:pt x="602" y="392"/>
                  <a:pt x="601" y="392"/>
                </a:cubicBezTo>
                <a:cubicBezTo>
                  <a:pt x="600" y="394"/>
                  <a:pt x="598" y="397"/>
                  <a:pt x="596" y="399"/>
                </a:cubicBezTo>
                <a:cubicBezTo>
                  <a:pt x="595" y="400"/>
                  <a:pt x="594" y="402"/>
                  <a:pt x="595" y="404"/>
                </a:cubicBezTo>
                <a:cubicBezTo>
                  <a:pt x="592" y="405"/>
                  <a:pt x="589" y="405"/>
                  <a:pt x="587" y="403"/>
                </a:cubicBezTo>
                <a:cubicBezTo>
                  <a:pt x="579" y="394"/>
                  <a:pt x="528" y="328"/>
                  <a:pt x="528" y="328"/>
                </a:cubicBezTo>
                <a:cubicBezTo>
                  <a:pt x="526" y="325"/>
                  <a:pt x="521" y="324"/>
                  <a:pt x="518" y="327"/>
                </a:cubicBezTo>
                <a:cubicBezTo>
                  <a:pt x="515" y="329"/>
                  <a:pt x="515" y="333"/>
                  <a:pt x="517" y="336"/>
                </a:cubicBezTo>
                <a:cubicBezTo>
                  <a:pt x="519" y="339"/>
                  <a:pt x="568" y="402"/>
                  <a:pt x="577" y="412"/>
                </a:cubicBezTo>
                <a:cubicBezTo>
                  <a:pt x="581" y="417"/>
                  <a:pt x="586" y="419"/>
                  <a:pt x="591" y="419"/>
                </a:cubicBezTo>
                <a:cubicBezTo>
                  <a:pt x="597" y="419"/>
                  <a:pt x="604" y="416"/>
                  <a:pt x="610" y="412"/>
                </a:cubicBezTo>
                <a:cubicBezTo>
                  <a:pt x="612" y="413"/>
                  <a:pt x="615" y="413"/>
                  <a:pt x="618" y="414"/>
                </a:cubicBezTo>
                <a:cubicBezTo>
                  <a:pt x="613" y="430"/>
                  <a:pt x="599" y="468"/>
                  <a:pt x="585" y="486"/>
                </a:cubicBezTo>
                <a:cubicBezTo>
                  <a:pt x="564" y="513"/>
                  <a:pt x="558" y="546"/>
                  <a:pt x="568" y="568"/>
                </a:cubicBezTo>
                <a:cubicBezTo>
                  <a:pt x="569" y="570"/>
                  <a:pt x="569" y="571"/>
                  <a:pt x="569" y="573"/>
                </a:cubicBezTo>
                <a:cubicBezTo>
                  <a:pt x="566" y="580"/>
                  <a:pt x="554" y="586"/>
                  <a:pt x="548" y="588"/>
                </a:cubicBezTo>
                <a:cubicBezTo>
                  <a:pt x="546" y="589"/>
                  <a:pt x="545" y="590"/>
                  <a:pt x="544" y="591"/>
                </a:cubicBezTo>
                <a:cubicBezTo>
                  <a:pt x="540" y="598"/>
                  <a:pt x="526" y="620"/>
                  <a:pt x="525" y="631"/>
                </a:cubicBezTo>
                <a:cubicBezTo>
                  <a:pt x="520" y="639"/>
                  <a:pt x="472" y="672"/>
                  <a:pt x="454" y="677"/>
                </a:cubicBezTo>
                <a:cubicBezTo>
                  <a:pt x="444" y="680"/>
                  <a:pt x="441" y="675"/>
                  <a:pt x="432" y="657"/>
                </a:cubicBezTo>
                <a:cubicBezTo>
                  <a:pt x="430" y="654"/>
                  <a:pt x="429" y="650"/>
                  <a:pt x="427" y="647"/>
                </a:cubicBezTo>
                <a:cubicBezTo>
                  <a:pt x="413" y="621"/>
                  <a:pt x="409" y="599"/>
                  <a:pt x="416" y="589"/>
                </a:cubicBezTo>
                <a:cubicBezTo>
                  <a:pt x="428" y="574"/>
                  <a:pt x="414" y="558"/>
                  <a:pt x="403" y="546"/>
                </a:cubicBezTo>
                <a:cubicBezTo>
                  <a:pt x="400" y="542"/>
                  <a:pt x="397" y="539"/>
                  <a:pt x="395" y="536"/>
                </a:cubicBezTo>
                <a:cubicBezTo>
                  <a:pt x="392" y="532"/>
                  <a:pt x="392" y="529"/>
                  <a:pt x="394" y="522"/>
                </a:cubicBezTo>
                <a:cubicBezTo>
                  <a:pt x="395" y="513"/>
                  <a:pt x="397" y="501"/>
                  <a:pt x="391" y="481"/>
                </a:cubicBezTo>
                <a:cubicBezTo>
                  <a:pt x="384" y="461"/>
                  <a:pt x="366" y="459"/>
                  <a:pt x="351" y="459"/>
                </a:cubicBezTo>
                <a:cubicBezTo>
                  <a:pt x="342" y="459"/>
                  <a:pt x="333" y="459"/>
                  <a:pt x="323" y="460"/>
                </a:cubicBezTo>
                <a:cubicBezTo>
                  <a:pt x="312" y="461"/>
                  <a:pt x="299" y="463"/>
                  <a:pt x="285" y="463"/>
                </a:cubicBezTo>
                <a:cubicBezTo>
                  <a:pt x="280" y="463"/>
                  <a:pt x="276" y="463"/>
                  <a:pt x="271" y="462"/>
                </a:cubicBezTo>
                <a:cubicBezTo>
                  <a:pt x="262" y="462"/>
                  <a:pt x="255" y="458"/>
                  <a:pt x="250" y="451"/>
                </a:cubicBezTo>
                <a:cubicBezTo>
                  <a:pt x="237" y="433"/>
                  <a:pt x="238" y="393"/>
                  <a:pt x="252" y="342"/>
                </a:cubicBezTo>
                <a:cubicBezTo>
                  <a:pt x="259" y="318"/>
                  <a:pt x="297" y="295"/>
                  <a:pt x="312" y="288"/>
                </a:cubicBezTo>
                <a:cubicBezTo>
                  <a:pt x="313" y="288"/>
                  <a:pt x="314" y="287"/>
                  <a:pt x="315" y="285"/>
                </a:cubicBezTo>
                <a:cubicBezTo>
                  <a:pt x="319" y="278"/>
                  <a:pt x="318" y="272"/>
                  <a:pt x="316" y="269"/>
                </a:cubicBezTo>
                <a:cubicBezTo>
                  <a:pt x="313" y="262"/>
                  <a:pt x="308" y="259"/>
                  <a:pt x="303" y="257"/>
                </a:cubicBezTo>
                <a:cubicBezTo>
                  <a:pt x="303" y="251"/>
                  <a:pt x="305" y="242"/>
                  <a:pt x="310" y="240"/>
                </a:cubicBezTo>
                <a:cubicBezTo>
                  <a:pt x="315" y="238"/>
                  <a:pt x="322" y="237"/>
                  <a:pt x="327" y="237"/>
                </a:cubicBezTo>
                <a:cubicBezTo>
                  <a:pt x="336" y="236"/>
                  <a:pt x="342" y="236"/>
                  <a:pt x="345" y="231"/>
                </a:cubicBezTo>
                <a:cubicBezTo>
                  <a:pt x="346" y="229"/>
                  <a:pt x="347" y="225"/>
                  <a:pt x="344" y="221"/>
                </a:cubicBezTo>
                <a:cubicBezTo>
                  <a:pt x="344" y="220"/>
                  <a:pt x="343" y="216"/>
                  <a:pt x="346" y="212"/>
                </a:cubicBezTo>
                <a:cubicBezTo>
                  <a:pt x="348" y="208"/>
                  <a:pt x="352" y="206"/>
                  <a:pt x="356" y="207"/>
                </a:cubicBezTo>
                <a:cubicBezTo>
                  <a:pt x="358" y="207"/>
                  <a:pt x="359" y="207"/>
                  <a:pt x="361" y="207"/>
                </a:cubicBezTo>
                <a:cubicBezTo>
                  <a:pt x="376" y="207"/>
                  <a:pt x="385" y="194"/>
                  <a:pt x="388" y="188"/>
                </a:cubicBezTo>
                <a:cubicBezTo>
                  <a:pt x="395" y="186"/>
                  <a:pt x="412" y="179"/>
                  <a:pt x="426" y="179"/>
                </a:cubicBezTo>
                <a:cubicBezTo>
                  <a:pt x="429" y="179"/>
                  <a:pt x="432" y="179"/>
                  <a:pt x="434" y="180"/>
                </a:cubicBezTo>
                <a:cubicBezTo>
                  <a:pt x="441" y="181"/>
                  <a:pt x="446" y="180"/>
                  <a:pt x="448" y="175"/>
                </a:cubicBezTo>
                <a:cubicBezTo>
                  <a:pt x="452" y="167"/>
                  <a:pt x="445" y="150"/>
                  <a:pt x="426" y="125"/>
                </a:cubicBezTo>
                <a:cubicBezTo>
                  <a:pt x="425" y="123"/>
                  <a:pt x="422" y="122"/>
                  <a:pt x="419" y="122"/>
                </a:cubicBezTo>
                <a:cubicBezTo>
                  <a:pt x="416" y="123"/>
                  <a:pt x="414" y="125"/>
                  <a:pt x="414" y="128"/>
                </a:cubicBezTo>
                <a:cubicBezTo>
                  <a:pt x="410" y="159"/>
                  <a:pt x="410" y="159"/>
                  <a:pt x="410" y="159"/>
                </a:cubicBezTo>
                <a:cubicBezTo>
                  <a:pt x="400" y="155"/>
                  <a:pt x="385" y="149"/>
                  <a:pt x="381" y="139"/>
                </a:cubicBezTo>
                <a:cubicBezTo>
                  <a:pt x="379" y="135"/>
                  <a:pt x="381" y="129"/>
                  <a:pt x="386" y="121"/>
                </a:cubicBezTo>
                <a:cubicBezTo>
                  <a:pt x="390" y="115"/>
                  <a:pt x="394" y="110"/>
                  <a:pt x="399" y="105"/>
                </a:cubicBezTo>
                <a:cubicBezTo>
                  <a:pt x="400" y="105"/>
                  <a:pt x="400" y="105"/>
                  <a:pt x="400" y="104"/>
                </a:cubicBezTo>
                <a:cubicBezTo>
                  <a:pt x="412" y="94"/>
                  <a:pt x="425" y="87"/>
                  <a:pt x="431" y="87"/>
                </a:cubicBezTo>
                <a:cubicBezTo>
                  <a:pt x="431" y="87"/>
                  <a:pt x="431" y="87"/>
                  <a:pt x="431" y="87"/>
                </a:cubicBezTo>
                <a:cubicBezTo>
                  <a:pt x="435" y="87"/>
                  <a:pt x="440" y="90"/>
                  <a:pt x="445" y="92"/>
                </a:cubicBezTo>
                <a:cubicBezTo>
                  <a:pt x="451" y="95"/>
                  <a:pt x="458" y="99"/>
                  <a:pt x="466" y="99"/>
                </a:cubicBezTo>
                <a:cubicBezTo>
                  <a:pt x="475" y="99"/>
                  <a:pt x="483" y="94"/>
                  <a:pt x="490" y="85"/>
                </a:cubicBezTo>
                <a:cubicBezTo>
                  <a:pt x="505" y="66"/>
                  <a:pt x="497" y="42"/>
                  <a:pt x="490" y="26"/>
                </a:cubicBezTo>
                <a:cubicBezTo>
                  <a:pt x="602" y="55"/>
                  <a:pt x="695" y="134"/>
                  <a:pt x="742" y="237"/>
                </a:cubicBezTo>
                <a:close/>
                <a:moveTo>
                  <a:pt x="119" y="480"/>
                </a:moveTo>
                <a:cubicBezTo>
                  <a:pt x="109" y="475"/>
                  <a:pt x="95" y="468"/>
                  <a:pt x="79" y="444"/>
                </a:cubicBezTo>
                <a:cubicBezTo>
                  <a:pt x="73" y="435"/>
                  <a:pt x="67" y="421"/>
                  <a:pt x="61" y="403"/>
                </a:cubicBezTo>
                <a:cubicBezTo>
                  <a:pt x="194" y="403"/>
                  <a:pt x="194" y="403"/>
                  <a:pt x="194" y="403"/>
                </a:cubicBezTo>
                <a:cubicBezTo>
                  <a:pt x="194" y="443"/>
                  <a:pt x="198" y="482"/>
                  <a:pt x="204" y="519"/>
                </a:cubicBezTo>
                <a:cubicBezTo>
                  <a:pt x="137" y="519"/>
                  <a:pt x="137" y="519"/>
                  <a:pt x="137" y="519"/>
                </a:cubicBezTo>
                <a:cubicBezTo>
                  <a:pt x="138" y="516"/>
                  <a:pt x="138" y="513"/>
                  <a:pt x="138" y="510"/>
                </a:cubicBezTo>
                <a:cubicBezTo>
                  <a:pt x="139" y="490"/>
                  <a:pt x="129" y="485"/>
                  <a:pt x="119" y="480"/>
                </a:cubicBezTo>
                <a:close/>
                <a:moveTo>
                  <a:pt x="273" y="112"/>
                </a:moveTo>
                <a:cubicBezTo>
                  <a:pt x="282" y="107"/>
                  <a:pt x="292" y="102"/>
                  <a:pt x="303" y="100"/>
                </a:cubicBezTo>
                <a:cubicBezTo>
                  <a:pt x="309" y="99"/>
                  <a:pt x="316" y="98"/>
                  <a:pt x="322" y="97"/>
                </a:cubicBezTo>
                <a:cubicBezTo>
                  <a:pt x="341" y="94"/>
                  <a:pt x="363" y="92"/>
                  <a:pt x="384" y="76"/>
                </a:cubicBezTo>
                <a:cubicBezTo>
                  <a:pt x="386" y="75"/>
                  <a:pt x="387" y="74"/>
                  <a:pt x="388" y="73"/>
                </a:cubicBezTo>
                <a:cubicBezTo>
                  <a:pt x="388" y="97"/>
                  <a:pt x="388" y="97"/>
                  <a:pt x="388" y="97"/>
                </a:cubicBezTo>
                <a:cubicBezTo>
                  <a:pt x="383" y="102"/>
                  <a:pt x="378" y="108"/>
                  <a:pt x="374" y="113"/>
                </a:cubicBezTo>
                <a:cubicBezTo>
                  <a:pt x="370" y="120"/>
                  <a:pt x="368" y="125"/>
                  <a:pt x="367" y="130"/>
                </a:cubicBezTo>
                <a:cubicBezTo>
                  <a:pt x="342" y="130"/>
                  <a:pt x="342" y="130"/>
                  <a:pt x="342" y="130"/>
                </a:cubicBezTo>
                <a:cubicBezTo>
                  <a:pt x="343" y="127"/>
                  <a:pt x="344" y="124"/>
                  <a:pt x="343" y="120"/>
                </a:cubicBezTo>
                <a:cubicBezTo>
                  <a:pt x="341" y="112"/>
                  <a:pt x="334" y="107"/>
                  <a:pt x="325" y="107"/>
                </a:cubicBezTo>
                <a:cubicBezTo>
                  <a:pt x="318" y="107"/>
                  <a:pt x="310" y="110"/>
                  <a:pt x="305" y="115"/>
                </a:cubicBezTo>
                <a:cubicBezTo>
                  <a:pt x="302" y="118"/>
                  <a:pt x="301" y="122"/>
                  <a:pt x="302" y="125"/>
                </a:cubicBezTo>
                <a:cubicBezTo>
                  <a:pt x="303" y="127"/>
                  <a:pt x="304" y="129"/>
                  <a:pt x="306" y="130"/>
                </a:cubicBezTo>
                <a:cubicBezTo>
                  <a:pt x="261" y="130"/>
                  <a:pt x="261" y="130"/>
                  <a:pt x="261" y="130"/>
                </a:cubicBezTo>
                <a:cubicBezTo>
                  <a:pt x="264" y="124"/>
                  <a:pt x="267" y="119"/>
                  <a:pt x="270" y="113"/>
                </a:cubicBezTo>
                <a:cubicBezTo>
                  <a:pt x="271" y="113"/>
                  <a:pt x="272" y="112"/>
                  <a:pt x="273" y="112"/>
                </a:cubicBezTo>
                <a:close/>
                <a:moveTo>
                  <a:pt x="440" y="48"/>
                </a:moveTo>
                <a:cubicBezTo>
                  <a:pt x="451" y="45"/>
                  <a:pt x="465" y="38"/>
                  <a:pt x="471" y="27"/>
                </a:cubicBezTo>
                <a:cubicBezTo>
                  <a:pt x="472" y="26"/>
                  <a:pt x="472" y="25"/>
                  <a:pt x="473" y="24"/>
                </a:cubicBezTo>
                <a:cubicBezTo>
                  <a:pt x="479" y="34"/>
                  <a:pt x="492" y="60"/>
                  <a:pt x="479" y="76"/>
                </a:cubicBezTo>
                <a:cubicBezTo>
                  <a:pt x="473" y="84"/>
                  <a:pt x="469" y="85"/>
                  <a:pt x="466" y="85"/>
                </a:cubicBezTo>
                <a:cubicBezTo>
                  <a:pt x="461" y="85"/>
                  <a:pt x="456" y="82"/>
                  <a:pt x="451" y="80"/>
                </a:cubicBezTo>
                <a:cubicBezTo>
                  <a:pt x="445" y="76"/>
                  <a:pt x="439" y="73"/>
                  <a:pt x="432" y="73"/>
                </a:cubicBezTo>
                <a:cubicBezTo>
                  <a:pt x="424" y="72"/>
                  <a:pt x="413" y="77"/>
                  <a:pt x="402" y="85"/>
                </a:cubicBezTo>
                <a:cubicBezTo>
                  <a:pt x="402" y="64"/>
                  <a:pt x="402" y="64"/>
                  <a:pt x="402" y="64"/>
                </a:cubicBezTo>
                <a:cubicBezTo>
                  <a:pt x="419" y="54"/>
                  <a:pt x="432" y="50"/>
                  <a:pt x="440" y="48"/>
                </a:cubicBezTo>
                <a:close/>
                <a:moveTo>
                  <a:pt x="322" y="122"/>
                </a:moveTo>
                <a:cubicBezTo>
                  <a:pt x="325" y="121"/>
                  <a:pt x="327" y="121"/>
                  <a:pt x="328" y="122"/>
                </a:cubicBezTo>
                <a:cubicBezTo>
                  <a:pt x="328" y="122"/>
                  <a:pt x="327" y="122"/>
                  <a:pt x="327" y="122"/>
                </a:cubicBezTo>
                <a:cubicBezTo>
                  <a:pt x="325" y="122"/>
                  <a:pt x="324" y="122"/>
                  <a:pt x="322" y="122"/>
                </a:cubicBezTo>
                <a:close/>
                <a:moveTo>
                  <a:pt x="368" y="144"/>
                </a:moveTo>
                <a:cubicBezTo>
                  <a:pt x="368" y="144"/>
                  <a:pt x="368" y="145"/>
                  <a:pt x="368" y="145"/>
                </a:cubicBezTo>
                <a:cubicBezTo>
                  <a:pt x="374" y="157"/>
                  <a:pt x="387" y="165"/>
                  <a:pt x="398" y="170"/>
                </a:cubicBezTo>
                <a:cubicBezTo>
                  <a:pt x="388" y="173"/>
                  <a:pt x="381" y="176"/>
                  <a:pt x="380" y="176"/>
                </a:cubicBezTo>
                <a:cubicBezTo>
                  <a:pt x="379" y="177"/>
                  <a:pt x="378" y="178"/>
                  <a:pt x="377" y="180"/>
                </a:cubicBezTo>
                <a:cubicBezTo>
                  <a:pt x="376" y="179"/>
                  <a:pt x="375" y="178"/>
                  <a:pt x="374" y="178"/>
                </a:cubicBezTo>
                <a:cubicBezTo>
                  <a:pt x="375" y="177"/>
                  <a:pt x="375" y="175"/>
                  <a:pt x="376" y="174"/>
                </a:cubicBezTo>
                <a:cubicBezTo>
                  <a:pt x="382" y="171"/>
                  <a:pt x="381" y="166"/>
                  <a:pt x="381" y="164"/>
                </a:cubicBezTo>
                <a:cubicBezTo>
                  <a:pt x="379" y="157"/>
                  <a:pt x="370" y="155"/>
                  <a:pt x="356" y="153"/>
                </a:cubicBezTo>
                <a:cubicBezTo>
                  <a:pt x="356" y="153"/>
                  <a:pt x="355" y="153"/>
                  <a:pt x="354" y="153"/>
                </a:cubicBezTo>
                <a:cubicBezTo>
                  <a:pt x="346" y="153"/>
                  <a:pt x="342" y="158"/>
                  <a:pt x="342" y="163"/>
                </a:cubicBezTo>
                <a:cubicBezTo>
                  <a:pt x="340" y="161"/>
                  <a:pt x="338" y="160"/>
                  <a:pt x="336" y="159"/>
                </a:cubicBezTo>
                <a:cubicBezTo>
                  <a:pt x="335" y="159"/>
                  <a:pt x="333" y="159"/>
                  <a:pt x="332" y="159"/>
                </a:cubicBezTo>
                <a:cubicBezTo>
                  <a:pt x="321" y="159"/>
                  <a:pt x="312" y="170"/>
                  <a:pt x="311" y="179"/>
                </a:cubicBezTo>
                <a:cubicBezTo>
                  <a:pt x="311" y="186"/>
                  <a:pt x="315" y="192"/>
                  <a:pt x="323" y="193"/>
                </a:cubicBezTo>
                <a:cubicBezTo>
                  <a:pt x="323" y="193"/>
                  <a:pt x="324" y="193"/>
                  <a:pt x="325" y="193"/>
                </a:cubicBezTo>
                <a:cubicBezTo>
                  <a:pt x="330" y="193"/>
                  <a:pt x="334" y="192"/>
                  <a:pt x="337" y="189"/>
                </a:cubicBezTo>
                <a:cubicBezTo>
                  <a:pt x="336" y="191"/>
                  <a:pt x="335" y="194"/>
                  <a:pt x="336" y="196"/>
                </a:cubicBezTo>
                <a:cubicBezTo>
                  <a:pt x="337" y="197"/>
                  <a:pt x="337" y="198"/>
                  <a:pt x="338" y="199"/>
                </a:cubicBezTo>
                <a:cubicBezTo>
                  <a:pt x="336" y="201"/>
                  <a:pt x="335" y="203"/>
                  <a:pt x="333" y="205"/>
                </a:cubicBezTo>
                <a:cubicBezTo>
                  <a:pt x="330" y="210"/>
                  <a:pt x="329" y="217"/>
                  <a:pt x="330" y="223"/>
                </a:cubicBezTo>
                <a:cubicBezTo>
                  <a:pt x="329" y="223"/>
                  <a:pt x="327" y="223"/>
                  <a:pt x="326" y="223"/>
                </a:cubicBezTo>
                <a:cubicBezTo>
                  <a:pt x="320" y="224"/>
                  <a:pt x="311" y="224"/>
                  <a:pt x="305" y="227"/>
                </a:cubicBezTo>
                <a:cubicBezTo>
                  <a:pt x="291" y="232"/>
                  <a:pt x="289" y="249"/>
                  <a:pt x="289" y="259"/>
                </a:cubicBezTo>
                <a:cubicBezTo>
                  <a:pt x="220" y="259"/>
                  <a:pt x="220" y="259"/>
                  <a:pt x="220" y="259"/>
                </a:cubicBezTo>
                <a:cubicBezTo>
                  <a:pt x="228" y="217"/>
                  <a:pt x="240" y="178"/>
                  <a:pt x="255" y="144"/>
                </a:cubicBezTo>
                <a:lnTo>
                  <a:pt x="368" y="144"/>
                </a:lnTo>
                <a:close/>
                <a:moveTo>
                  <a:pt x="346" y="175"/>
                </a:moveTo>
                <a:cubicBezTo>
                  <a:pt x="346" y="175"/>
                  <a:pt x="346" y="174"/>
                  <a:pt x="346" y="174"/>
                </a:cubicBezTo>
                <a:cubicBezTo>
                  <a:pt x="346" y="175"/>
                  <a:pt x="347" y="176"/>
                  <a:pt x="348" y="177"/>
                </a:cubicBezTo>
                <a:cubicBezTo>
                  <a:pt x="348" y="177"/>
                  <a:pt x="348" y="177"/>
                  <a:pt x="348" y="177"/>
                </a:cubicBezTo>
                <a:cubicBezTo>
                  <a:pt x="347" y="178"/>
                  <a:pt x="345" y="180"/>
                  <a:pt x="344" y="181"/>
                </a:cubicBezTo>
                <a:cubicBezTo>
                  <a:pt x="345" y="179"/>
                  <a:pt x="345" y="177"/>
                  <a:pt x="346" y="175"/>
                </a:cubicBezTo>
                <a:close/>
                <a:moveTo>
                  <a:pt x="363" y="169"/>
                </a:moveTo>
                <a:cubicBezTo>
                  <a:pt x="362" y="168"/>
                  <a:pt x="361" y="168"/>
                  <a:pt x="360" y="168"/>
                </a:cubicBezTo>
                <a:cubicBezTo>
                  <a:pt x="360" y="168"/>
                  <a:pt x="360" y="168"/>
                  <a:pt x="359" y="168"/>
                </a:cubicBezTo>
                <a:cubicBezTo>
                  <a:pt x="361" y="168"/>
                  <a:pt x="362" y="168"/>
                  <a:pt x="363" y="168"/>
                </a:cubicBezTo>
                <a:cubicBezTo>
                  <a:pt x="363" y="169"/>
                  <a:pt x="363" y="169"/>
                  <a:pt x="363" y="169"/>
                </a:cubicBezTo>
                <a:close/>
                <a:moveTo>
                  <a:pt x="361" y="184"/>
                </a:moveTo>
                <a:cubicBezTo>
                  <a:pt x="362" y="185"/>
                  <a:pt x="362" y="186"/>
                  <a:pt x="363" y="187"/>
                </a:cubicBezTo>
                <a:cubicBezTo>
                  <a:pt x="361" y="187"/>
                  <a:pt x="360" y="187"/>
                  <a:pt x="357" y="188"/>
                </a:cubicBezTo>
                <a:cubicBezTo>
                  <a:pt x="359" y="187"/>
                  <a:pt x="360" y="185"/>
                  <a:pt x="361" y="184"/>
                </a:cubicBezTo>
                <a:close/>
                <a:moveTo>
                  <a:pt x="332" y="173"/>
                </a:moveTo>
                <a:cubicBezTo>
                  <a:pt x="332" y="174"/>
                  <a:pt x="331" y="175"/>
                  <a:pt x="330" y="176"/>
                </a:cubicBezTo>
                <a:cubicBezTo>
                  <a:pt x="329" y="177"/>
                  <a:pt x="328" y="179"/>
                  <a:pt x="326" y="179"/>
                </a:cubicBezTo>
                <a:cubicBezTo>
                  <a:pt x="326" y="178"/>
                  <a:pt x="327" y="177"/>
                  <a:pt x="328" y="175"/>
                </a:cubicBezTo>
                <a:cubicBezTo>
                  <a:pt x="329" y="174"/>
                  <a:pt x="331" y="173"/>
                  <a:pt x="332" y="173"/>
                </a:cubicBezTo>
                <a:close/>
                <a:moveTo>
                  <a:pt x="297" y="273"/>
                </a:moveTo>
                <a:cubicBezTo>
                  <a:pt x="298" y="273"/>
                  <a:pt x="300" y="273"/>
                  <a:pt x="301" y="272"/>
                </a:cubicBezTo>
                <a:cubicBezTo>
                  <a:pt x="302" y="272"/>
                  <a:pt x="303" y="273"/>
                  <a:pt x="303" y="274"/>
                </a:cubicBezTo>
                <a:cubicBezTo>
                  <a:pt x="303" y="275"/>
                  <a:pt x="304" y="275"/>
                  <a:pt x="303" y="277"/>
                </a:cubicBezTo>
                <a:cubicBezTo>
                  <a:pt x="292" y="283"/>
                  <a:pt x="247" y="307"/>
                  <a:pt x="239" y="338"/>
                </a:cubicBezTo>
                <a:cubicBezTo>
                  <a:pt x="234" y="354"/>
                  <a:pt x="231" y="372"/>
                  <a:pt x="229" y="389"/>
                </a:cubicBezTo>
                <a:cubicBezTo>
                  <a:pt x="208" y="389"/>
                  <a:pt x="208" y="389"/>
                  <a:pt x="208" y="389"/>
                </a:cubicBezTo>
                <a:cubicBezTo>
                  <a:pt x="208" y="349"/>
                  <a:pt x="212" y="310"/>
                  <a:pt x="218" y="273"/>
                </a:cubicBezTo>
                <a:lnTo>
                  <a:pt x="297" y="273"/>
                </a:lnTo>
                <a:close/>
                <a:moveTo>
                  <a:pt x="208" y="403"/>
                </a:moveTo>
                <a:cubicBezTo>
                  <a:pt x="227" y="403"/>
                  <a:pt x="227" y="403"/>
                  <a:pt x="227" y="403"/>
                </a:cubicBezTo>
                <a:cubicBezTo>
                  <a:pt x="226" y="425"/>
                  <a:pt x="229" y="445"/>
                  <a:pt x="239" y="459"/>
                </a:cubicBezTo>
                <a:cubicBezTo>
                  <a:pt x="246" y="469"/>
                  <a:pt x="257" y="475"/>
                  <a:pt x="270" y="476"/>
                </a:cubicBezTo>
                <a:cubicBezTo>
                  <a:pt x="275" y="477"/>
                  <a:pt x="280" y="477"/>
                  <a:pt x="285" y="477"/>
                </a:cubicBezTo>
                <a:cubicBezTo>
                  <a:pt x="299" y="477"/>
                  <a:pt x="313" y="475"/>
                  <a:pt x="325" y="474"/>
                </a:cubicBezTo>
                <a:cubicBezTo>
                  <a:pt x="334" y="473"/>
                  <a:pt x="343" y="473"/>
                  <a:pt x="351" y="473"/>
                </a:cubicBezTo>
                <a:cubicBezTo>
                  <a:pt x="369" y="473"/>
                  <a:pt x="374" y="478"/>
                  <a:pt x="377" y="486"/>
                </a:cubicBezTo>
                <a:cubicBezTo>
                  <a:pt x="383" y="501"/>
                  <a:pt x="381" y="510"/>
                  <a:pt x="380" y="519"/>
                </a:cubicBezTo>
                <a:cubicBezTo>
                  <a:pt x="218" y="519"/>
                  <a:pt x="218" y="519"/>
                  <a:pt x="218" y="519"/>
                </a:cubicBezTo>
                <a:cubicBezTo>
                  <a:pt x="212" y="482"/>
                  <a:pt x="208" y="443"/>
                  <a:pt x="208" y="403"/>
                </a:cubicBezTo>
                <a:close/>
                <a:moveTo>
                  <a:pt x="402" y="567"/>
                </a:moveTo>
                <a:cubicBezTo>
                  <a:pt x="406" y="573"/>
                  <a:pt x="408" y="577"/>
                  <a:pt x="405" y="581"/>
                </a:cubicBezTo>
                <a:cubicBezTo>
                  <a:pt x="404" y="582"/>
                  <a:pt x="403" y="584"/>
                  <a:pt x="402" y="586"/>
                </a:cubicBezTo>
                <a:lnTo>
                  <a:pt x="402" y="567"/>
                </a:lnTo>
                <a:close/>
                <a:moveTo>
                  <a:pt x="402" y="623"/>
                </a:moveTo>
                <a:cubicBezTo>
                  <a:pt x="405" y="633"/>
                  <a:pt x="409" y="641"/>
                  <a:pt x="412" y="648"/>
                </a:cubicBezTo>
                <a:cubicBezTo>
                  <a:pt x="402" y="648"/>
                  <a:pt x="402" y="648"/>
                  <a:pt x="402" y="648"/>
                </a:cubicBezTo>
                <a:lnTo>
                  <a:pt x="402" y="623"/>
                </a:lnTo>
                <a:close/>
                <a:moveTo>
                  <a:pt x="423" y="165"/>
                </a:moveTo>
                <a:cubicBezTo>
                  <a:pt x="425" y="149"/>
                  <a:pt x="425" y="149"/>
                  <a:pt x="425" y="149"/>
                </a:cubicBezTo>
                <a:cubicBezTo>
                  <a:pt x="429" y="155"/>
                  <a:pt x="433" y="162"/>
                  <a:pt x="434" y="166"/>
                </a:cubicBezTo>
                <a:cubicBezTo>
                  <a:pt x="432" y="165"/>
                  <a:pt x="429" y="165"/>
                  <a:pt x="426" y="165"/>
                </a:cubicBezTo>
                <a:cubicBezTo>
                  <a:pt x="425" y="165"/>
                  <a:pt x="424" y="165"/>
                  <a:pt x="423" y="165"/>
                </a:cubicBezTo>
                <a:close/>
                <a:moveTo>
                  <a:pt x="204" y="273"/>
                </a:moveTo>
                <a:cubicBezTo>
                  <a:pt x="198" y="310"/>
                  <a:pt x="194" y="349"/>
                  <a:pt x="194" y="389"/>
                </a:cubicBezTo>
                <a:cubicBezTo>
                  <a:pt x="56" y="389"/>
                  <a:pt x="56" y="389"/>
                  <a:pt x="56" y="389"/>
                </a:cubicBezTo>
                <a:cubicBezTo>
                  <a:pt x="48" y="361"/>
                  <a:pt x="39" y="325"/>
                  <a:pt x="31" y="282"/>
                </a:cubicBezTo>
                <a:cubicBezTo>
                  <a:pt x="32" y="279"/>
                  <a:pt x="33" y="276"/>
                  <a:pt x="34" y="273"/>
                </a:cubicBezTo>
                <a:lnTo>
                  <a:pt x="204" y="273"/>
                </a:lnTo>
                <a:close/>
                <a:moveTo>
                  <a:pt x="134" y="533"/>
                </a:moveTo>
                <a:cubicBezTo>
                  <a:pt x="206" y="533"/>
                  <a:pt x="206" y="533"/>
                  <a:pt x="206" y="533"/>
                </a:cubicBezTo>
                <a:cubicBezTo>
                  <a:pt x="214" y="574"/>
                  <a:pt x="225" y="613"/>
                  <a:pt x="240" y="648"/>
                </a:cubicBezTo>
                <a:cubicBezTo>
                  <a:pt x="143" y="648"/>
                  <a:pt x="143" y="648"/>
                  <a:pt x="143" y="648"/>
                </a:cubicBezTo>
                <a:cubicBezTo>
                  <a:pt x="122" y="595"/>
                  <a:pt x="129" y="558"/>
                  <a:pt x="134" y="533"/>
                </a:cubicBezTo>
                <a:close/>
                <a:moveTo>
                  <a:pt x="220" y="533"/>
                </a:moveTo>
                <a:cubicBezTo>
                  <a:pt x="379" y="533"/>
                  <a:pt x="379" y="533"/>
                  <a:pt x="379" y="533"/>
                </a:cubicBezTo>
                <a:cubicBezTo>
                  <a:pt x="379" y="536"/>
                  <a:pt x="380" y="540"/>
                  <a:pt x="383" y="544"/>
                </a:cubicBezTo>
                <a:cubicBezTo>
                  <a:pt x="385" y="546"/>
                  <a:pt x="386" y="548"/>
                  <a:pt x="388" y="550"/>
                </a:cubicBezTo>
                <a:cubicBezTo>
                  <a:pt x="388" y="648"/>
                  <a:pt x="388" y="648"/>
                  <a:pt x="388" y="648"/>
                </a:cubicBezTo>
                <a:cubicBezTo>
                  <a:pt x="255" y="648"/>
                  <a:pt x="255" y="648"/>
                  <a:pt x="255" y="648"/>
                </a:cubicBezTo>
                <a:cubicBezTo>
                  <a:pt x="240" y="614"/>
                  <a:pt x="228" y="575"/>
                  <a:pt x="220" y="533"/>
                </a:cubicBezTo>
                <a:close/>
                <a:moveTo>
                  <a:pt x="388" y="662"/>
                </a:moveTo>
                <a:cubicBezTo>
                  <a:pt x="388" y="777"/>
                  <a:pt x="388" y="777"/>
                  <a:pt x="388" y="777"/>
                </a:cubicBezTo>
                <a:cubicBezTo>
                  <a:pt x="339" y="774"/>
                  <a:pt x="294" y="730"/>
                  <a:pt x="261" y="662"/>
                </a:cubicBezTo>
                <a:lnTo>
                  <a:pt x="388" y="662"/>
                </a:lnTo>
                <a:close/>
                <a:moveTo>
                  <a:pt x="402" y="662"/>
                </a:moveTo>
                <a:cubicBezTo>
                  <a:pt x="419" y="662"/>
                  <a:pt x="419" y="662"/>
                  <a:pt x="419" y="662"/>
                </a:cubicBezTo>
                <a:cubicBezTo>
                  <a:pt x="419" y="662"/>
                  <a:pt x="419" y="663"/>
                  <a:pt x="419" y="663"/>
                </a:cubicBezTo>
                <a:cubicBezTo>
                  <a:pt x="427" y="678"/>
                  <a:pt x="433" y="692"/>
                  <a:pt x="449" y="692"/>
                </a:cubicBezTo>
                <a:cubicBezTo>
                  <a:pt x="452" y="692"/>
                  <a:pt x="455" y="691"/>
                  <a:pt x="458" y="691"/>
                </a:cubicBezTo>
                <a:cubicBezTo>
                  <a:pt x="470" y="687"/>
                  <a:pt x="491" y="675"/>
                  <a:pt x="505" y="665"/>
                </a:cubicBezTo>
                <a:cubicBezTo>
                  <a:pt x="506" y="664"/>
                  <a:pt x="508" y="663"/>
                  <a:pt x="509" y="662"/>
                </a:cubicBezTo>
                <a:cubicBezTo>
                  <a:pt x="529" y="662"/>
                  <a:pt x="529" y="662"/>
                  <a:pt x="529" y="662"/>
                </a:cubicBezTo>
                <a:cubicBezTo>
                  <a:pt x="496" y="732"/>
                  <a:pt x="450" y="774"/>
                  <a:pt x="402" y="777"/>
                </a:cubicBezTo>
                <a:lnTo>
                  <a:pt x="402" y="662"/>
                </a:lnTo>
                <a:close/>
                <a:moveTo>
                  <a:pt x="528" y="648"/>
                </a:moveTo>
                <a:cubicBezTo>
                  <a:pt x="539" y="638"/>
                  <a:pt x="539" y="634"/>
                  <a:pt x="539" y="632"/>
                </a:cubicBezTo>
                <a:cubicBezTo>
                  <a:pt x="539" y="628"/>
                  <a:pt x="545" y="617"/>
                  <a:pt x="552" y="605"/>
                </a:cubicBezTo>
                <a:cubicBezTo>
                  <a:pt x="547" y="621"/>
                  <a:pt x="541" y="635"/>
                  <a:pt x="536" y="648"/>
                </a:cubicBezTo>
                <a:lnTo>
                  <a:pt x="528" y="648"/>
                </a:lnTo>
                <a:close/>
                <a:moveTo>
                  <a:pt x="570" y="592"/>
                </a:moveTo>
                <a:cubicBezTo>
                  <a:pt x="575" y="588"/>
                  <a:pt x="579" y="584"/>
                  <a:pt x="582" y="579"/>
                </a:cubicBezTo>
                <a:cubicBezTo>
                  <a:pt x="584" y="573"/>
                  <a:pt x="584" y="567"/>
                  <a:pt x="581" y="561"/>
                </a:cubicBezTo>
                <a:cubicBezTo>
                  <a:pt x="577" y="554"/>
                  <a:pt x="576" y="544"/>
                  <a:pt x="579" y="533"/>
                </a:cubicBezTo>
                <a:cubicBezTo>
                  <a:pt x="752" y="533"/>
                  <a:pt x="752" y="533"/>
                  <a:pt x="752" y="533"/>
                </a:cubicBezTo>
                <a:cubicBezTo>
                  <a:pt x="735" y="575"/>
                  <a:pt x="711" y="614"/>
                  <a:pt x="682" y="648"/>
                </a:cubicBezTo>
                <a:cubicBezTo>
                  <a:pt x="551" y="648"/>
                  <a:pt x="551" y="648"/>
                  <a:pt x="551" y="648"/>
                </a:cubicBezTo>
                <a:cubicBezTo>
                  <a:pt x="558" y="631"/>
                  <a:pt x="565" y="612"/>
                  <a:pt x="570" y="592"/>
                </a:cubicBezTo>
                <a:close/>
                <a:moveTo>
                  <a:pt x="175" y="708"/>
                </a:moveTo>
                <a:cubicBezTo>
                  <a:pt x="164" y="691"/>
                  <a:pt x="155" y="676"/>
                  <a:pt x="149" y="662"/>
                </a:cubicBezTo>
                <a:cubicBezTo>
                  <a:pt x="246" y="662"/>
                  <a:pt x="246" y="662"/>
                  <a:pt x="246" y="662"/>
                </a:cubicBezTo>
                <a:cubicBezTo>
                  <a:pt x="248" y="666"/>
                  <a:pt x="250" y="670"/>
                  <a:pt x="252" y="674"/>
                </a:cubicBezTo>
                <a:cubicBezTo>
                  <a:pt x="275" y="720"/>
                  <a:pt x="302" y="753"/>
                  <a:pt x="333" y="772"/>
                </a:cubicBezTo>
                <a:cubicBezTo>
                  <a:pt x="275" y="763"/>
                  <a:pt x="221" y="740"/>
                  <a:pt x="175" y="708"/>
                </a:cubicBezTo>
                <a:close/>
                <a:moveTo>
                  <a:pt x="457" y="773"/>
                </a:moveTo>
                <a:cubicBezTo>
                  <a:pt x="491" y="751"/>
                  <a:pt x="521" y="713"/>
                  <a:pt x="545" y="662"/>
                </a:cubicBezTo>
                <a:cubicBezTo>
                  <a:pt x="669" y="662"/>
                  <a:pt x="669" y="662"/>
                  <a:pt x="669" y="662"/>
                </a:cubicBezTo>
                <a:cubicBezTo>
                  <a:pt x="613" y="719"/>
                  <a:pt x="539" y="759"/>
                  <a:pt x="457" y="77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45" name="Oval 67"/>
          <p:cNvSpPr>
            <a:spLocks noChangeArrowheads="1"/>
          </p:cNvSpPr>
          <p:nvPr/>
        </p:nvSpPr>
        <p:spPr bwMode="auto">
          <a:xfrm>
            <a:off x="3552358" y="2009724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74" name="Freeform 141"/>
          <p:cNvSpPr>
            <a:spLocks noEditPoints="1"/>
          </p:cNvSpPr>
          <p:nvPr/>
        </p:nvSpPr>
        <p:spPr bwMode="auto">
          <a:xfrm>
            <a:off x="3657912" y="2114497"/>
            <a:ext cx="612748" cy="614309"/>
          </a:xfrm>
          <a:custGeom>
            <a:avLst/>
            <a:gdLst>
              <a:gd name="T0" fmla="*/ 472 w 792"/>
              <a:gd name="T1" fmla="*/ 296 h 792"/>
              <a:gd name="T2" fmla="*/ 690 w 792"/>
              <a:gd name="T3" fmla="*/ 661 h 792"/>
              <a:gd name="T4" fmla="*/ 100 w 792"/>
              <a:gd name="T5" fmla="*/ 658 h 792"/>
              <a:gd name="T6" fmla="*/ 100 w 792"/>
              <a:gd name="T7" fmla="*/ 133 h 792"/>
              <a:gd name="T8" fmla="*/ 287 w 792"/>
              <a:gd name="T9" fmla="*/ 16 h 792"/>
              <a:gd name="T10" fmla="*/ 326 w 792"/>
              <a:gd name="T11" fmla="*/ 7 h 792"/>
              <a:gd name="T12" fmla="*/ 369 w 792"/>
              <a:gd name="T13" fmla="*/ 1 h 792"/>
              <a:gd name="T14" fmla="*/ 430 w 792"/>
              <a:gd name="T15" fmla="*/ 2 h 792"/>
              <a:gd name="T16" fmla="*/ 480 w 792"/>
              <a:gd name="T17" fmla="*/ 9 h 792"/>
              <a:gd name="T18" fmla="*/ 529 w 792"/>
              <a:gd name="T19" fmla="*/ 23 h 792"/>
              <a:gd name="T20" fmla="*/ 769 w 792"/>
              <a:gd name="T21" fmla="*/ 265 h 792"/>
              <a:gd name="T22" fmla="*/ 110 w 792"/>
              <a:gd name="T23" fmla="*/ 648 h 792"/>
              <a:gd name="T24" fmla="*/ 195 w 792"/>
              <a:gd name="T25" fmla="*/ 389 h 792"/>
              <a:gd name="T26" fmla="*/ 218 w 792"/>
              <a:gd name="T27" fmla="*/ 210 h 792"/>
              <a:gd name="T28" fmla="*/ 232 w 792"/>
              <a:gd name="T29" fmla="*/ 67 h 792"/>
              <a:gd name="T30" fmla="*/ 272 w 792"/>
              <a:gd name="T31" fmla="*/ 286 h 792"/>
              <a:gd name="T32" fmla="*/ 439 w 792"/>
              <a:gd name="T33" fmla="*/ 379 h 792"/>
              <a:gd name="T34" fmla="*/ 326 w 792"/>
              <a:gd name="T35" fmla="*/ 312 h 792"/>
              <a:gd name="T36" fmla="*/ 399 w 792"/>
              <a:gd name="T37" fmla="*/ 241 h 792"/>
              <a:gd name="T38" fmla="*/ 452 w 792"/>
              <a:gd name="T39" fmla="*/ 200 h 792"/>
              <a:gd name="T40" fmla="*/ 422 w 792"/>
              <a:gd name="T41" fmla="*/ 110 h 792"/>
              <a:gd name="T42" fmla="*/ 487 w 792"/>
              <a:gd name="T43" fmla="*/ 48 h 792"/>
              <a:gd name="T44" fmla="*/ 521 w 792"/>
              <a:gd name="T45" fmla="*/ 35 h 792"/>
              <a:gd name="T46" fmla="*/ 475 w 792"/>
              <a:gd name="T47" fmla="*/ 23 h 792"/>
              <a:gd name="T48" fmla="*/ 428 w 792"/>
              <a:gd name="T49" fmla="*/ 16 h 792"/>
              <a:gd name="T50" fmla="*/ 374 w 792"/>
              <a:gd name="T51" fmla="*/ 15 h 792"/>
              <a:gd name="T52" fmla="*/ 341 w 792"/>
              <a:gd name="T53" fmla="*/ 18 h 792"/>
              <a:gd name="T54" fmla="*/ 308 w 792"/>
              <a:gd name="T55" fmla="*/ 24 h 792"/>
              <a:gd name="T56" fmla="*/ 585 w 792"/>
              <a:gd name="T57" fmla="*/ 259 h 792"/>
              <a:gd name="T58" fmla="*/ 719 w 792"/>
              <a:gd name="T59" fmla="*/ 460 h 792"/>
              <a:gd name="T60" fmla="*/ 403 w 792"/>
              <a:gd name="T61" fmla="*/ 519 h 792"/>
              <a:gd name="T62" fmla="*/ 482 w 792"/>
              <a:gd name="T63" fmla="*/ 533 h 792"/>
              <a:gd name="T64" fmla="*/ 221 w 792"/>
              <a:gd name="T65" fmla="*/ 259 h 792"/>
              <a:gd name="T66" fmla="*/ 389 w 792"/>
              <a:gd name="T67" fmla="*/ 366 h 792"/>
              <a:gd name="T68" fmla="*/ 219 w 792"/>
              <a:gd name="T69" fmla="*/ 273 h 792"/>
              <a:gd name="T70" fmla="*/ 423 w 792"/>
              <a:gd name="T71" fmla="*/ 389 h 792"/>
              <a:gd name="T72" fmla="*/ 495 w 792"/>
              <a:gd name="T73" fmla="*/ 373 h 792"/>
              <a:gd name="T74" fmla="*/ 457 w 792"/>
              <a:gd name="T75" fmla="*/ 273 h 792"/>
              <a:gd name="T76" fmla="*/ 403 w 792"/>
              <a:gd name="T77" fmla="*/ 303 h 792"/>
              <a:gd name="T78" fmla="*/ 403 w 792"/>
              <a:gd name="T79" fmla="*/ 259 h 792"/>
              <a:gd name="T80" fmla="*/ 359 w 792"/>
              <a:gd name="T81" fmla="*/ 259 h 792"/>
              <a:gd name="T82" fmla="*/ 389 w 792"/>
              <a:gd name="T83" fmla="*/ 306 h 792"/>
              <a:gd name="T84" fmla="*/ 587 w 792"/>
              <a:gd name="T85" fmla="*/ 273 h 792"/>
              <a:gd name="T86" fmla="*/ 464 w 792"/>
              <a:gd name="T87" fmla="*/ 207 h 792"/>
              <a:gd name="T88" fmla="*/ 389 w 792"/>
              <a:gd name="T89" fmla="*/ 76 h 792"/>
              <a:gd name="T90" fmla="*/ 436 w 792"/>
              <a:gd name="T91" fmla="*/ 90 h 792"/>
              <a:gd name="T92" fmla="*/ 403 w 792"/>
              <a:gd name="T93" fmla="*/ 67 h 792"/>
              <a:gd name="T94" fmla="*/ 14 w 792"/>
              <a:gd name="T95" fmla="*/ 403 h 792"/>
              <a:gd name="T96" fmla="*/ 262 w 792"/>
              <a:gd name="T97" fmla="*/ 662 h 792"/>
              <a:gd name="T98" fmla="*/ 446 w 792"/>
              <a:gd name="T99" fmla="*/ 734 h 792"/>
              <a:gd name="T100" fmla="*/ 674 w 792"/>
              <a:gd name="T101" fmla="*/ 536 h 792"/>
              <a:gd name="T102" fmla="*/ 560 w 792"/>
              <a:gd name="T103" fmla="*/ 383 h 792"/>
              <a:gd name="T104" fmla="*/ 483 w 792"/>
              <a:gd name="T105" fmla="*/ 392 h 792"/>
              <a:gd name="T106" fmla="*/ 490 w 792"/>
              <a:gd name="T107" fmla="*/ 521 h 792"/>
              <a:gd name="T108" fmla="*/ 470 w 792"/>
              <a:gd name="T109" fmla="*/ 741 h 792"/>
              <a:gd name="T110" fmla="*/ 682 w 792"/>
              <a:gd name="T111" fmla="*/ 648 h 792"/>
              <a:gd name="T112" fmla="*/ 542 w 792"/>
              <a:gd name="T113" fmla="*/ 79 h 792"/>
              <a:gd name="T114" fmla="*/ 123 w 792"/>
              <a:gd name="T115" fmla="*/ 130 h 792"/>
              <a:gd name="T116" fmla="*/ 333 w 792"/>
              <a:gd name="T117" fmla="*/ 772 h 792"/>
              <a:gd name="T118" fmla="*/ 560 w 792"/>
              <a:gd name="T119" fmla="*/ 662 h 7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92" h="792">
                <a:moveTo>
                  <a:pt x="516" y="332"/>
                </a:moveTo>
                <a:cubicBezTo>
                  <a:pt x="508" y="328"/>
                  <a:pt x="499" y="323"/>
                  <a:pt x="493" y="321"/>
                </a:cubicBezTo>
                <a:cubicBezTo>
                  <a:pt x="487" y="319"/>
                  <a:pt x="482" y="317"/>
                  <a:pt x="477" y="316"/>
                </a:cubicBezTo>
                <a:cubicBezTo>
                  <a:pt x="464" y="312"/>
                  <a:pt x="459" y="310"/>
                  <a:pt x="459" y="304"/>
                </a:cubicBezTo>
                <a:cubicBezTo>
                  <a:pt x="459" y="301"/>
                  <a:pt x="460" y="298"/>
                  <a:pt x="465" y="297"/>
                </a:cubicBezTo>
                <a:cubicBezTo>
                  <a:pt x="466" y="296"/>
                  <a:pt x="469" y="296"/>
                  <a:pt x="472" y="296"/>
                </a:cubicBezTo>
                <a:cubicBezTo>
                  <a:pt x="489" y="296"/>
                  <a:pt x="535" y="306"/>
                  <a:pt x="543" y="331"/>
                </a:cubicBezTo>
                <a:cubicBezTo>
                  <a:pt x="544" y="333"/>
                  <a:pt x="543" y="336"/>
                  <a:pt x="542" y="337"/>
                </a:cubicBezTo>
                <a:cubicBezTo>
                  <a:pt x="541" y="339"/>
                  <a:pt x="538" y="340"/>
                  <a:pt x="536" y="340"/>
                </a:cubicBezTo>
                <a:cubicBezTo>
                  <a:pt x="536" y="340"/>
                  <a:pt x="536" y="340"/>
                  <a:pt x="536" y="340"/>
                </a:cubicBezTo>
                <a:cubicBezTo>
                  <a:pt x="533" y="340"/>
                  <a:pt x="529" y="339"/>
                  <a:pt x="516" y="332"/>
                </a:cubicBezTo>
                <a:close/>
                <a:moveTo>
                  <a:pt x="690" y="661"/>
                </a:moveTo>
                <a:cubicBezTo>
                  <a:pt x="617" y="741"/>
                  <a:pt x="512" y="792"/>
                  <a:pt x="396" y="792"/>
                </a:cubicBezTo>
                <a:cubicBezTo>
                  <a:pt x="396" y="792"/>
                  <a:pt x="396" y="792"/>
                  <a:pt x="396" y="792"/>
                </a:cubicBezTo>
                <a:cubicBezTo>
                  <a:pt x="396" y="792"/>
                  <a:pt x="396" y="792"/>
                  <a:pt x="396" y="792"/>
                </a:cubicBezTo>
                <a:cubicBezTo>
                  <a:pt x="396" y="792"/>
                  <a:pt x="396" y="792"/>
                  <a:pt x="396" y="792"/>
                </a:cubicBezTo>
                <a:cubicBezTo>
                  <a:pt x="279" y="792"/>
                  <a:pt x="175" y="741"/>
                  <a:pt x="102" y="661"/>
                </a:cubicBezTo>
                <a:cubicBezTo>
                  <a:pt x="101" y="660"/>
                  <a:pt x="101" y="659"/>
                  <a:pt x="100" y="658"/>
                </a:cubicBezTo>
                <a:cubicBezTo>
                  <a:pt x="67" y="621"/>
                  <a:pt x="40" y="577"/>
                  <a:pt x="23" y="529"/>
                </a:cubicBezTo>
                <a:cubicBezTo>
                  <a:pt x="23" y="528"/>
                  <a:pt x="23" y="527"/>
                  <a:pt x="22" y="527"/>
                </a:cubicBezTo>
                <a:cubicBezTo>
                  <a:pt x="8" y="486"/>
                  <a:pt x="0" y="442"/>
                  <a:pt x="0" y="396"/>
                </a:cubicBezTo>
                <a:cubicBezTo>
                  <a:pt x="0" y="350"/>
                  <a:pt x="8" y="306"/>
                  <a:pt x="22" y="265"/>
                </a:cubicBezTo>
                <a:cubicBezTo>
                  <a:pt x="23" y="264"/>
                  <a:pt x="23" y="264"/>
                  <a:pt x="23" y="263"/>
                </a:cubicBezTo>
                <a:cubicBezTo>
                  <a:pt x="40" y="215"/>
                  <a:pt x="67" y="171"/>
                  <a:pt x="100" y="133"/>
                </a:cubicBezTo>
                <a:cubicBezTo>
                  <a:pt x="101" y="133"/>
                  <a:pt x="101" y="132"/>
                  <a:pt x="102" y="131"/>
                </a:cubicBezTo>
                <a:cubicBezTo>
                  <a:pt x="125" y="105"/>
                  <a:pt x="152" y="83"/>
                  <a:pt x="181" y="64"/>
                </a:cubicBezTo>
                <a:cubicBezTo>
                  <a:pt x="181" y="64"/>
                  <a:pt x="182" y="63"/>
                  <a:pt x="182" y="63"/>
                </a:cubicBezTo>
                <a:cubicBezTo>
                  <a:pt x="212" y="44"/>
                  <a:pt x="244" y="29"/>
                  <a:pt x="277" y="19"/>
                </a:cubicBezTo>
                <a:cubicBezTo>
                  <a:pt x="278" y="18"/>
                  <a:pt x="279" y="18"/>
                  <a:pt x="280" y="18"/>
                </a:cubicBezTo>
                <a:cubicBezTo>
                  <a:pt x="282" y="17"/>
                  <a:pt x="285" y="16"/>
                  <a:pt x="287" y="16"/>
                </a:cubicBezTo>
                <a:cubicBezTo>
                  <a:pt x="289" y="15"/>
                  <a:pt x="291" y="15"/>
                  <a:pt x="292" y="14"/>
                </a:cubicBezTo>
                <a:cubicBezTo>
                  <a:pt x="295" y="13"/>
                  <a:pt x="299" y="12"/>
                  <a:pt x="302" y="12"/>
                </a:cubicBezTo>
                <a:cubicBezTo>
                  <a:pt x="304" y="11"/>
                  <a:pt x="307" y="10"/>
                  <a:pt x="309" y="10"/>
                </a:cubicBezTo>
                <a:cubicBezTo>
                  <a:pt x="311" y="10"/>
                  <a:pt x="312" y="9"/>
                  <a:pt x="314" y="9"/>
                </a:cubicBezTo>
                <a:cubicBezTo>
                  <a:pt x="317" y="8"/>
                  <a:pt x="320" y="8"/>
                  <a:pt x="323" y="7"/>
                </a:cubicBezTo>
                <a:cubicBezTo>
                  <a:pt x="324" y="7"/>
                  <a:pt x="325" y="7"/>
                  <a:pt x="326" y="7"/>
                </a:cubicBezTo>
                <a:cubicBezTo>
                  <a:pt x="330" y="6"/>
                  <a:pt x="334" y="5"/>
                  <a:pt x="338" y="5"/>
                </a:cubicBezTo>
                <a:cubicBezTo>
                  <a:pt x="339" y="4"/>
                  <a:pt x="340" y="4"/>
                  <a:pt x="341" y="4"/>
                </a:cubicBezTo>
                <a:cubicBezTo>
                  <a:pt x="345" y="4"/>
                  <a:pt x="348" y="3"/>
                  <a:pt x="351" y="3"/>
                </a:cubicBezTo>
                <a:cubicBezTo>
                  <a:pt x="352" y="3"/>
                  <a:pt x="353" y="3"/>
                  <a:pt x="354" y="3"/>
                </a:cubicBezTo>
                <a:cubicBezTo>
                  <a:pt x="358" y="2"/>
                  <a:pt x="362" y="2"/>
                  <a:pt x="367" y="1"/>
                </a:cubicBezTo>
                <a:cubicBezTo>
                  <a:pt x="368" y="1"/>
                  <a:pt x="368" y="1"/>
                  <a:pt x="369" y="1"/>
                </a:cubicBezTo>
                <a:cubicBezTo>
                  <a:pt x="373" y="1"/>
                  <a:pt x="376" y="1"/>
                  <a:pt x="380" y="1"/>
                </a:cubicBezTo>
                <a:cubicBezTo>
                  <a:pt x="381" y="1"/>
                  <a:pt x="382" y="1"/>
                  <a:pt x="383" y="1"/>
                </a:cubicBezTo>
                <a:cubicBezTo>
                  <a:pt x="387" y="0"/>
                  <a:pt x="392" y="0"/>
                  <a:pt x="396" y="0"/>
                </a:cubicBezTo>
                <a:cubicBezTo>
                  <a:pt x="401" y="0"/>
                  <a:pt x="407" y="0"/>
                  <a:pt x="412" y="1"/>
                </a:cubicBezTo>
                <a:cubicBezTo>
                  <a:pt x="413" y="1"/>
                  <a:pt x="414" y="1"/>
                  <a:pt x="415" y="1"/>
                </a:cubicBezTo>
                <a:cubicBezTo>
                  <a:pt x="420" y="1"/>
                  <a:pt x="425" y="1"/>
                  <a:pt x="430" y="2"/>
                </a:cubicBezTo>
                <a:cubicBezTo>
                  <a:pt x="431" y="2"/>
                  <a:pt x="432" y="2"/>
                  <a:pt x="433" y="2"/>
                </a:cubicBezTo>
                <a:cubicBezTo>
                  <a:pt x="438" y="3"/>
                  <a:pt x="443" y="3"/>
                  <a:pt x="447" y="4"/>
                </a:cubicBezTo>
                <a:cubicBezTo>
                  <a:pt x="449" y="4"/>
                  <a:pt x="450" y="4"/>
                  <a:pt x="451" y="4"/>
                </a:cubicBezTo>
                <a:cubicBezTo>
                  <a:pt x="456" y="5"/>
                  <a:pt x="460" y="6"/>
                  <a:pt x="464" y="6"/>
                </a:cubicBezTo>
                <a:cubicBezTo>
                  <a:pt x="466" y="7"/>
                  <a:pt x="468" y="7"/>
                  <a:pt x="469" y="7"/>
                </a:cubicBezTo>
                <a:cubicBezTo>
                  <a:pt x="473" y="8"/>
                  <a:pt x="477" y="9"/>
                  <a:pt x="480" y="9"/>
                </a:cubicBezTo>
                <a:cubicBezTo>
                  <a:pt x="482" y="10"/>
                  <a:pt x="484" y="10"/>
                  <a:pt x="485" y="11"/>
                </a:cubicBezTo>
                <a:cubicBezTo>
                  <a:pt x="489" y="11"/>
                  <a:pt x="493" y="12"/>
                  <a:pt x="497" y="13"/>
                </a:cubicBezTo>
                <a:cubicBezTo>
                  <a:pt x="499" y="14"/>
                  <a:pt x="501" y="15"/>
                  <a:pt x="503" y="15"/>
                </a:cubicBezTo>
                <a:cubicBezTo>
                  <a:pt x="507" y="16"/>
                  <a:pt x="511" y="17"/>
                  <a:pt x="514" y="18"/>
                </a:cubicBezTo>
                <a:cubicBezTo>
                  <a:pt x="517" y="19"/>
                  <a:pt x="519" y="20"/>
                  <a:pt x="521" y="21"/>
                </a:cubicBezTo>
                <a:cubicBezTo>
                  <a:pt x="524" y="22"/>
                  <a:pt x="527" y="23"/>
                  <a:pt x="529" y="23"/>
                </a:cubicBezTo>
                <a:cubicBezTo>
                  <a:pt x="531" y="24"/>
                  <a:pt x="533" y="25"/>
                  <a:pt x="534" y="25"/>
                </a:cubicBezTo>
                <a:cubicBezTo>
                  <a:pt x="535" y="25"/>
                  <a:pt x="535" y="25"/>
                  <a:pt x="535" y="26"/>
                </a:cubicBezTo>
                <a:cubicBezTo>
                  <a:pt x="595" y="48"/>
                  <a:pt x="648" y="85"/>
                  <a:pt x="690" y="131"/>
                </a:cubicBezTo>
                <a:cubicBezTo>
                  <a:pt x="690" y="132"/>
                  <a:pt x="691" y="133"/>
                  <a:pt x="692" y="133"/>
                </a:cubicBezTo>
                <a:cubicBezTo>
                  <a:pt x="725" y="171"/>
                  <a:pt x="751" y="215"/>
                  <a:pt x="769" y="263"/>
                </a:cubicBezTo>
                <a:cubicBezTo>
                  <a:pt x="769" y="264"/>
                  <a:pt x="769" y="264"/>
                  <a:pt x="769" y="265"/>
                </a:cubicBezTo>
                <a:cubicBezTo>
                  <a:pt x="784" y="306"/>
                  <a:pt x="792" y="350"/>
                  <a:pt x="792" y="396"/>
                </a:cubicBezTo>
                <a:cubicBezTo>
                  <a:pt x="792" y="442"/>
                  <a:pt x="784" y="486"/>
                  <a:pt x="769" y="527"/>
                </a:cubicBezTo>
                <a:cubicBezTo>
                  <a:pt x="769" y="527"/>
                  <a:pt x="769" y="528"/>
                  <a:pt x="769" y="529"/>
                </a:cubicBezTo>
                <a:cubicBezTo>
                  <a:pt x="751" y="577"/>
                  <a:pt x="725" y="621"/>
                  <a:pt x="692" y="659"/>
                </a:cubicBezTo>
                <a:cubicBezTo>
                  <a:pt x="691" y="659"/>
                  <a:pt x="690" y="660"/>
                  <a:pt x="690" y="661"/>
                </a:cubicBezTo>
                <a:close/>
                <a:moveTo>
                  <a:pt x="110" y="648"/>
                </a:moveTo>
                <a:cubicBezTo>
                  <a:pt x="240" y="648"/>
                  <a:pt x="240" y="648"/>
                  <a:pt x="240" y="648"/>
                </a:cubicBezTo>
                <a:cubicBezTo>
                  <a:pt x="226" y="613"/>
                  <a:pt x="214" y="574"/>
                  <a:pt x="207" y="533"/>
                </a:cubicBezTo>
                <a:cubicBezTo>
                  <a:pt x="39" y="533"/>
                  <a:pt x="39" y="533"/>
                  <a:pt x="39" y="533"/>
                </a:cubicBezTo>
                <a:cubicBezTo>
                  <a:pt x="56" y="575"/>
                  <a:pt x="80" y="614"/>
                  <a:pt x="110" y="648"/>
                </a:cubicBezTo>
                <a:close/>
                <a:moveTo>
                  <a:pt x="14" y="389"/>
                </a:moveTo>
                <a:cubicBezTo>
                  <a:pt x="195" y="389"/>
                  <a:pt x="195" y="389"/>
                  <a:pt x="195" y="389"/>
                </a:cubicBezTo>
                <a:cubicBezTo>
                  <a:pt x="195" y="350"/>
                  <a:pt x="198" y="311"/>
                  <a:pt x="204" y="273"/>
                </a:cubicBezTo>
                <a:cubicBezTo>
                  <a:pt x="34" y="273"/>
                  <a:pt x="34" y="273"/>
                  <a:pt x="34" y="273"/>
                </a:cubicBezTo>
                <a:cubicBezTo>
                  <a:pt x="22" y="310"/>
                  <a:pt x="15" y="349"/>
                  <a:pt x="14" y="389"/>
                </a:cubicBezTo>
                <a:close/>
                <a:moveTo>
                  <a:pt x="39" y="259"/>
                </a:moveTo>
                <a:cubicBezTo>
                  <a:pt x="207" y="259"/>
                  <a:pt x="207" y="259"/>
                  <a:pt x="207" y="259"/>
                </a:cubicBezTo>
                <a:cubicBezTo>
                  <a:pt x="210" y="242"/>
                  <a:pt x="214" y="226"/>
                  <a:pt x="218" y="210"/>
                </a:cubicBezTo>
                <a:cubicBezTo>
                  <a:pt x="215" y="185"/>
                  <a:pt x="216" y="161"/>
                  <a:pt x="219" y="150"/>
                </a:cubicBezTo>
                <a:cubicBezTo>
                  <a:pt x="219" y="148"/>
                  <a:pt x="220" y="146"/>
                  <a:pt x="220" y="144"/>
                </a:cubicBezTo>
                <a:cubicBezTo>
                  <a:pt x="110" y="144"/>
                  <a:pt x="110" y="144"/>
                  <a:pt x="110" y="144"/>
                </a:cubicBezTo>
                <a:cubicBezTo>
                  <a:pt x="80" y="178"/>
                  <a:pt x="56" y="217"/>
                  <a:pt x="39" y="259"/>
                </a:cubicBezTo>
                <a:close/>
                <a:moveTo>
                  <a:pt x="220" y="57"/>
                </a:moveTo>
                <a:cubicBezTo>
                  <a:pt x="227" y="59"/>
                  <a:pt x="231" y="63"/>
                  <a:pt x="232" y="67"/>
                </a:cubicBezTo>
                <a:cubicBezTo>
                  <a:pt x="242" y="91"/>
                  <a:pt x="238" y="132"/>
                  <a:pt x="232" y="153"/>
                </a:cubicBezTo>
                <a:cubicBezTo>
                  <a:pt x="230" y="165"/>
                  <a:pt x="229" y="188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4" y="231"/>
                  <a:pt x="239" y="250"/>
                  <a:pt x="246" y="260"/>
                </a:cubicBezTo>
                <a:cubicBezTo>
                  <a:pt x="249" y="260"/>
                  <a:pt x="251" y="262"/>
                  <a:pt x="252" y="265"/>
                </a:cubicBezTo>
                <a:cubicBezTo>
                  <a:pt x="259" y="271"/>
                  <a:pt x="265" y="278"/>
                  <a:pt x="272" y="286"/>
                </a:cubicBezTo>
                <a:cubicBezTo>
                  <a:pt x="285" y="301"/>
                  <a:pt x="298" y="317"/>
                  <a:pt x="322" y="326"/>
                </a:cubicBezTo>
                <a:cubicBezTo>
                  <a:pt x="330" y="329"/>
                  <a:pt x="337" y="332"/>
                  <a:pt x="345" y="334"/>
                </a:cubicBezTo>
                <a:cubicBezTo>
                  <a:pt x="364" y="341"/>
                  <a:pt x="383" y="348"/>
                  <a:pt x="398" y="355"/>
                </a:cubicBezTo>
                <a:cubicBezTo>
                  <a:pt x="399" y="355"/>
                  <a:pt x="399" y="355"/>
                  <a:pt x="399" y="356"/>
                </a:cubicBezTo>
                <a:cubicBezTo>
                  <a:pt x="412" y="362"/>
                  <a:pt x="422" y="368"/>
                  <a:pt x="427" y="374"/>
                </a:cubicBezTo>
                <a:cubicBezTo>
                  <a:pt x="429" y="377"/>
                  <a:pt x="433" y="378"/>
                  <a:pt x="439" y="379"/>
                </a:cubicBezTo>
                <a:cubicBezTo>
                  <a:pt x="434" y="377"/>
                  <a:pt x="432" y="373"/>
                  <a:pt x="431" y="368"/>
                </a:cubicBezTo>
                <a:cubicBezTo>
                  <a:pt x="431" y="363"/>
                  <a:pt x="415" y="340"/>
                  <a:pt x="409" y="330"/>
                </a:cubicBezTo>
                <a:cubicBezTo>
                  <a:pt x="405" y="324"/>
                  <a:pt x="402" y="320"/>
                  <a:pt x="400" y="318"/>
                </a:cubicBezTo>
                <a:cubicBezTo>
                  <a:pt x="397" y="318"/>
                  <a:pt x="392" y="320"/>
                  <a:pt x="387" y="321"/>
                </a:cubicBezTo>
                <a:cubicBezTo>
                  <a:pt x="375" y="325"/>
                  <a:pt x="361" y="329"/>
                  <a:pt x="349" y="329"/>
                </a:cubicBezTo>
                <a:cubicBezTo>
                  <a:pt x="331" y="329"/>
                  <a:pt x="327" y="319"/>
                  <a:pt x="326" y="312"/>
                </a:cubicBezTo>
                <a:cubicBezTo>
                  <a:pt x="324" y="297"/>
                  <a:pt x="329" y="278"/>
                  <a:pt x="339" y="263"/>
                </a:cubicBezTo>
                <a:cubicBezTo>
                  <a:pt x="339" y="263"/>
                  <a:pt x="339" y="262"/>
                  <a:pt x="339" y="262"/>
                </a:cubicBezTo>
                <a:cubicBezTo>
                  <a:pt x="341" y="259"/>
                  <a:pt x="343" y="256"/>
                  <a:pt x="345" y="254"/>
                </a:cubicBezTo>
                <a:cubicBezTo>
                  <a:pt x="358" y="239"/>
                  <a:pt x="373" y="234"/>
                  <a:pt x="389" y="238"/>
                </a:cubicBezTo>
                <a:cubicBezTo>
                  <a:pt x="392" y="238"/>
                  <a:pt x="395" y="239"/>
                  <a:pt x="398" y="240"/>
                </a:cubicBezTo>
                <a:cubicBezTo>
                  <a:pt x="398" y="241"/>
                  <a:pt x="399" y="241"/>
                  <a:pt x="399" y="241"/>
                </a:cubicBezTo>
                <a:cubicBezTo>
                  <a:pt x="414" y="247"/>
                  <a:pt x="426" y="256"/>
                  <a:pt x="435" y="263"/>
                </a:cubicBezTo>
                <a:cubicBezTo>
                  <a:pt x="437" y="264"/>
                  <a:pt x="440" y="266"/>
                  <a:pt x="442" y="267"/>
                </a:cubicBezTo>
                <a:cubicBezTo>
                  <a:pt x="440" y="263"/>
                  <a:pt x="437" y="258"/>
                  <a:pt x="435" y="254"/>
                </a:cubicBezTo>
                <a:cubicBezTo>
                  <a:pt x="429" y="242"/>
                  <a:pt x="425" y="233"/>
                  <a:pt x="428" y="227"/>
                </a:cubicBezTo>
                <a:cubicBezTo>
                  <a:pt x="429" y="225"/>
                  <a:pt x="432" y="222"/>
                  <a:pt x="436" y="222"/>
                </a:cubicBezTo>
                <a:cubicBezTo>
                  <a:pt x="440" y="220"/>
                  <a:pt x="447" y="208"/>
                  <a:pt x="452" y="200"/>
                </a:cubicBezTo>
                <a:cubicBezTo>
                  <a:pt x="462" y="182"/>
                  <a:pt x="473" y="164"/>
                  <a:pt x="487" y="159"/>
                </a:cubicBezTo>
                <a:cubicBezTo>
                  <a:pt x="496" y="156"/>
                  <a:pt x="519" y="149"/>
                  <a:pt x="522" y="139"/>
                </a:cubicBezTo>
                <a:cubicBezTo>
                  <a:pt x="523" y="136"/>
                  <a:pt x="521" y="132"/>
                  <a:pt x="518" y="127"/>
                </a:cubicBezTo>
                <a:cubicBezTo>
                  <a:pt x="504" y="110"/>
                  <a:pt x="472" y="87"/>
                  <a:pt x="456" y="87"/>
                </a:cubicBezTo>
                <a:cubicBezTo>
                  <a:pt x="452" y="87"/>
                  <a:pt x="450" y="88"/>
                  <a:pt x="450" y="93"/>
                </a:cubicBezTo>
                <a:cubicBezTo>
                  <a:pt x="447" y="104"/>
                  <a:pt x="437" y="110"/>
                  <a:pt x="422" y="110"/>
                </a:cubicBezTo>
                <a:cubicBezTo>
                  <a:pt x="404" y="110"/>
                  <a:pt x="375" y="100"/>
                  <a:pt x="371" y="84"/>
                </a:cubicBezTo>
                <a:cubicBezTo>
                  <a:pt x="370" y="79"/>
                  <a:pt x="370" y="70"/>
                  <a:pt x="383" y="63"/>
                </a:cubicBezTo>
                <a:cubicBezTo>
                  <a:pt x="388" y="60"/>
                  <a:pt x="392" y="57"/>
                  <a:pt x="397" y="55"/>
                </a:cubicBezTo>
                <a:cubicBezTo>
                  <a:pt x="415" y="44"/>
                  <a:pt x="428" y="36"/>
                  <a:pt x="445" y="36"/>
                </a:cubicBezTo>
                <a:cubicBezTo>
                  <a:pt x="451" y="36"/>
                  <a:pt x="458" y="38"/>
                  <a:pt x="467" y="40"/>
                </a:cubicBezTo>
                <a:cubicBezTo>
                  <a:pt x="473" y="42"/>
                  <a:pt x="480" y="45"/>
                  <a:pt x="487" y="48"/>
                </a:cubicBezTo>
                <a:cubicBezTo>
                  <a:pt x="489" y="47"/>
                  <a:pt x="492" y="47"/>
                  <a:pt x="494" y="49"/>
                </a:cubicBezTo>
                <a:cubicBezTo>
                  <a:pt x="494" y="50"/>
                  <a:pt x="495" y="51"/>
                  <a:pt x="496" y="52"/>
                </a:cubicBezTo>
                <a:cubicBezTo>
                  <a:pt x="499" y="54"/>
                  <a:pt x="503" y="55"/>
                  <a:pt x="507" y="57"/>
                </a:cubicBezTo>
                <a:cubicBezTo>
                  <a:pt x="517" y="62"/>
                  <a:pt x="527" y="67"/>
                  <a:pt x="532" y="68"/>
                </a:cubicBezTo>
                <a:cubicBezTo>
                  <a:pt x="533" y="63"/>
                  <a:pt x="531" y="51"/>
                  <a:pt x="526" y="37"/>
                </a:cubicBezTo>
                <a:cubicBezTo>
                  <a:pt x="525" y="37"/>
                  <a:pt x="523" y="36"/>
                  <a:pt x="521" y="35"/>
                </a:cubicBezTo>
                <a:cubicBezTo>
                  <a:pt x="519" y="35"/>
                  <a:pt x="517" y="34"/>
                  <a:pt x="516" y="34"/>
                </a:cubicBezTo>
                <a:cubicBezTo>
                  <a:pt x="512" y="33"/>
                  <a:pt x="509" y="32"/>
                  <a:pt x="506" y="31"/>
                </a:cubicBezTo>
                <a:cubicBezTo>
                  <a:pt x="503" y="30"/>
                  <a:pt x="501" y="29"/>
                  <a:pt x="498" y="28"/>
                </a:cubicBezTo>
                <a:cubicBezTo>
                  <a:pt x="496" y="28"/>
                  <a:pt x="494" y="27"/>
                  <a:pt x="492" y="27"/>
                </a:cubicBezTo>
                <a:cubicBezTo>
                  <a:pt x="488" y="26"/>
                  <a:pt x="485" y="25"/>
                  <a:pt x="481" y="24"/>
                </a:cubicBezTo>
                <a:cubicBezTo>
                  <a:pt x="479" y="23"/>
                  <a:pt x="477" y="23"/>
                  <a:pt x="475" y="23"/>
                </a:cubicBezTo>
                <a:cubicBezTo>
                  <a:pt x="472" y="22"/>
                  <a:pt x="468" y="21"/>
                  <a:pt x="464" y="20"/>
                </a:cubicBezTo>
                <a:cubicBezTo>
                  <a:pt x="462" y="20"/>
                  <a:pt x="461" y="20"/>
                  <a:pt x="459" y="20"/>
                </a:cubicBezTo>
                <a:cubicBezTo>
                  <a:pt x="456" y="19"/>
                  <a:pt x="452" y="18"/>
                  <a:pt x="448" y="18"/>
                </a:cubicBezTo>
                <a:cubicBezTo>
                  <a:pt x="447" y="18"/>
                  <a:pt x="446" y="18"/>
                  <a:pt x="445" y="17"/>
                </a:cubicBezTo>
                <a:cubicBezTo>
                  <a:pt x="440" y="17"/>
                  <a:pt x="436" y="16"/>
                  <a:pt x="431" y="16"/>
                </a:cubicBezTo>
                <a:cubicBezTo>
                  <a:pt x="430" y="16"/>
                  <a:pt x="429" y="16"/>
                  <a:pt x="428" y="16"/>
                </a:cubicBezTo>
                <a:cubicBezTo>
                  <a:pt x="423" y="15"/>
                  <a:pt x="418" y="15"/>
                  <a:pt x="414" y="15"/>
                </a:cubicBezTo>
                <a:cubicBezTo>
                  <a:pt x="413" y="15"/>
                  <a:pt x="412" y="15"/>
                  <a:pt x="411" y="15"/>
                </a:cubicBezTo>
                <a:cubicBezTo>
                  <a:pt x="406" y="14"/>
                  <a:pt x="401" y="14"/>
                  <a:pt x="396" y="14"/>
                </a:cubicBezTo>
                <a:cubicBezTo>
                  <a:pt x="392" y="14"/>
                  <a:pt x="389" y="14"/>
                  <a:pt x="385" y="14"/>
                </a:cubicBezTo>
                <a:cubicBezTo>
                  <a:pt x="384" y="15"/>
                  <a:pt x="383" y="15"/>
                  <a:pt x="382" y="15"/>
                </a:cubicBezTo>
                <a:cubicBezTo>
                  <a:pt x="379" y="15"/>
                  <a:pt x="377" y="15"/>
                  <a:pt x="374" y="15"/>
                </a:cubicBezTo>
                <a:cubicBezTo>
                  <a:pt x="373" y="15"/>
                  <a:pt x="372" y="15"/>
                  <a:pt x="370" y="15"/>
                </a:cubicBezTo>
                <a:cubicBezTo>
                  <a:pt x="368" y="15"/>
                  <a:pt x="366" y="16"/>
                  <a:pt x="363" y="16"/>
                </a:cubicBezTo>
                <a:cubicBezTo>
                  <a:pt x="362" y="16"/>
                  <a:pt x="361" y="16"/>
                  <a:pt x="359" y="16"/>
                </a:cubicBezTo>
                <a:cubicBezTo>
                  <a:pt x="357" y="16"/>
                  <a:pt x="355" y="17"/>
                  <a:pt x="353" y="17"/>
                </a:cubicBezTo>
                <a:cubicBezTo>
                  <a:pt x="351" y="17"/>
                  <a:pt x="350" y="17"/>
                  <a:pt x="349" y="17"/>
                </a:cubicBezTo>
                <a:cubicBezTo>
                  <a:pt x="346" y="18"/>
                  <a:pt x="344" y="18"/>
                  <a:pt x="341" y="18"/>
                </a:cubicBezTo>
                <a:cubicBezTo>
                  <a:pt x="340" y="18"/>
                  <a:pt x="339" y="19"/>
                  <a:pt x="338" y="19"/>
                </a:cubicBezTo>
                <a:cubicBezTo>
                  <a:pt x="335" y="19"/>
                  <a:pt x="331" y="20"/>
                  <a:pt x="328" y="20"/>
                </a:cubicBezTo>
                <a:cubicBezTo>
                  <a:pt x="327" y="21"/>
                  <a:pt x="325" y="21"/>
                  <a:pt x="323" y="21"/>
                </a:cubicBezTo>
                <a:cubicBezTo>
                  <a:pt x="322" y="22"/>
                  <a:pt x="320" y="22"/>
                  <a:pt x="318" y="22"/>
                </a:cubicBezTo>
                <a:cubicBezTo>
                  <a:pt x="316" y="23"/>
                  <a:pt x="314" y="23"/>
                  <a:pt x="312" y="24"/>
                </a:cubicBezTo>
                <a:cubicBezTo>
                  <a:pt x="311" y="24"/>
                  <a:pt x="310" y="24"/>
                  <a:pt x="308" y="24"/>
                </a:cubicBezTo>
                <a:cubicBezTo>
                  <a:pt x="306" y="25"/>
                  <a:pt x="304" y="26"/>
                  <a:pt x="302" y="26"/>
                </a:cubicBezTo>
                <a:cubicBezTo>
                  <a:pt x="301" y="26"/>
                  <a:pt x="300" y="27"/>
                  <a:pt x="299" y="27"/>
                </a:cubicBezTo>
                <a:cubicBezTo>
                  <a:pt x="271" y="34"/>
                  <a:pt x="245" y="44"/>
                  <a:pt x="220" y="57"/>
                </a:cubicBezTo>
                <a:close/>
                <a:moveTo>
                  <a:pt x="682" y="144"/>
                </a:moveTo>
                <a:cubicBezTo>
                  <a:pt x="551" y="144"/>
                  <a:pt x="551" y="144"/>
                  <a:pt x="551" y="144"/>
                </a:cubicBezTo>
                <a:cubicBezTo>
                  <a:pt x="566" y="178"/>
                  <a:pt x="577" y="217"/>
                  <a:pt x="585" y="259"/>
                </a:cubicBezTo>
                <a:cubicBezTo>
                  <a:pt x="752" y="259"/>
                  <a:pt x="752" y="259"/>
                  <a:pt x="752" y="259"/>
                </a:cubicBezTo>
                <a:cubicBezTo>
                  <a:pt x="736" y="217"/>
                  <a:pt x="712" y="178"/>
                  <a:pt x="682" y="144"/>
                </a:cubicBezTo>
                <a:close/>
                <a:moveTo>
                  <a:pt x="777" y="403"/>
                </a:moveTo>
                <a:cubicBezTo>
                  <a:pt x="625" y="403"/>
                  <a:pt x="625" y="403"/>
                  <a:pt x="625" y="403"/>
                </a:cubicBezTo>
                <a:cubicBezTo>
                  <a:pt x="626" y="403"/>
                  <a:pt x="626" y="404"/>
                  <a:pt x="627" y="404"/>
                </a:cubicBezTo>
                <a:cubicBezTo>
                  <a:pt x="678" y="429"/>
                  <a:pt x="712" y="446"/>
                  <a:pt x="719" y="460"/>
                </a:cubicBezTo>
                <a:cubicBezTo>
                  <a:pt x="723" y="471"/>
                  <a:pt x="715" y="493"/>
                  <a:pt x="701" y="519"/>
                </a:cubicBezTo>
                <a:cubicBezTo>
                  <a:pt x="757" y="519"/>
                  <a:pt x="757" y="519"/>
                  <a:pt x="757" y="519"/>
                </a:cubicBezTo>
                <a:cubicBezTo>
                  <a:pt x="770" y="482"/>
                  <a:pt x="777" y="443"/>
                  <a:pt x="777" y="403"/>
                </a:cubicBezTo>
                <a:close/>
                <a:moveTo>
                  <a:pt x="473" y="403"/>
                </a:moveTo>
                <a:cubicBezTo>
                  <a:pt x="403" y="403"/>
                  <a:pt x="403" y="403"/>
                  <a:pt x="403" y="403"/>
                </a:cubicBezTo>
                <a:cubicBezTo>
                  <a:pt x="403" y="519"/>
                  <a:pt x="403" y="519"/>
                  <a:pt x="403" y="519"/>
                </a:cubicBezTo>
                <a:cubicBezTo>
                  <a:pt x="468" y="519"/>
                  <a:pt x="468" y="519"/>
                  <a:pt x="468" y="519"/>
                </a:cubicBezTo>
                <a:cubicBezTo>
                  <a:pt x="456" y="507"/>
                  <a:pt x="447" y="495"/>
                  <a:pt x="445" y="479"/>
                </a:cubicBezTo>
                <a:cubicBezTo>
                  <a:pt x="442" y="457"/>
                  <a:pt x="454" y="439"/>
                  <a:pt x="463" y="424"/>
                </a:cubicBezTo>
                <a:cubicBezTo>
                  <a:pt x="470" y="414"/>
                  <a:pt x="474" y="407"/>
                  <a:pt x="473" y="403"/>
                </a:cubicBezTo>
                <a:close/>
                <a:moveTo>
                  <a:pt x="512" y="584"/>
                </a:moveTo>
                <a:cubicBezTo>
                  <a:pt x="510" y="562"/>
                  <a:pt x="496" y="547"/>
                  <a:pt x="482" y="533"/>
                </a:cubicBezTo>
                <a:cubicBezTo>
                  <a:pt x="403" y="533"/>
                  <a:pt x="403" y="533"/>
                  <a:pt x="403" y="533"/>
                </a:cubicBezTo>
                <a:cubicBezTo>
                  <a:pt x="403" y="648"/>
                  <a:pt x="403" y="648"/>
                  <a:pt x="403" y="648"/>
                </a:cubicBezTo>
                <a:cubicBezTo>
                  <a:pt x="492" y="648"/>
                  <a:pt x="492" y="648"/>
                  <a:pt x="492" y="648"/>
                </a:cubicBezTo>
                <a:cubicBezTo>
                  <a:pt x="504" y="625"/>
                  <a:pt x="514" y="602"/>
                  <a:pt x="512" y="584"/>
                </a:cubicBezTo>
                <a:close/>
                <a:moveTo>
                  <a:pt x="224" y="244"/>
                </a:moveTo>
                <a:cubicBezTo>
                  <a:pt x="223" y="249"/>
                  <a:pt x="222" y="254"/>
                  <a:pt x="221" y="259"/>
                </a:cubicBezTo>
                <a:cubicBezTo>
                  <a:pt x="230" y="259"/>
                  <a:pt x="230" y="259"/>
                  <a:pt x="230" y="259"/>
                </a:cubicBezTo>
                <a:cubicBezTo>
                  <a:pt x="228" y="255"/>
                  <a:pt x="226" y="250"/>
                  <a:pt x="224" y="244"/>
                </a:cubicBezTo>
                <a:close/>
                <a:moveTo>
                  <a:pt x="219" y="273"/>
                </a:moveTo>
                <a:cubicBezTo>
                  <a:pt x="212" y="311"/>
                  <a:pt x="209" y="350"/>
                  <a:pt x="209" y="389"/>
                </a:cubicBezTo>
                <a:cubicBezTo>
                  <a:pt x="389" y="389"/>
                  <a:pt x="389" y="389"/>
                  <a:pt x="389" y="389"/>
                </a:cubicBezTo>
                <a:cubicBezTo>
                  <a:pt x="389" y="366"/>
                  <a:pt x="389" y="366"/>
                  <a:pt x="389" y="366"/>
                </a:cubicBezTo>
                <a:cubicBezTo>
                  <a:pt x="374" y="360"/>
                  <a:pt x="357" y="354"/>
                  <a:pt x="340" y="348"/>
                </a:cubicBezTo>
                <a:cubicBezTo>
                  <a:pt x="332" y="345"/>
                  <a:pt x="325" y="342"/>
                  <a:pt x="318" y="339"/>
                </a:cubicBezTo>
                <a:cubicBezTo>
                  <a:pt x="290" y="329"/>
                  <a:pt x="274" y="311"/>
                  <a:pt x="261" y="295"/>
                </a:cubicBezTo>
                <a:cubicBezTo>
                  <a:pt x="254" y="287"/>
                  <a:pt x="248" y="279"/>
                  <a:pt x="241" y="274"/>
                </a:cubicBezTo>
                <a:cubicBezTo>
                  <a:pt x="241" y="274"/>
                  <a:pt x="241" y="274"/>
                  <a:pt x="240" y="273"/>
                </a:cubicBezTo>
                <a:lnTo>
                  <a:pt x="219" y="273"/>
                </a:lnTo>
                <a:close/>
                <a:moveTo>
                  <a:pt x="209" y="403"/>
                </a:moveTo>
                <a:cubicBezTo>
                  <a:pt x="209" y="443"/>
                  <a:pt x="212" y="482"/>
                  <a:pt x="218" y="519"/>
                </a:cubicBezTo>
                <a:cubicBezTo>
                  <a:pt x="389" y="519"/>
                  <a:pt x="389" y="519"/>
                  <a:pt x="389" y="519"/>
                </a:cubicBezTo>
                <a:cubicBezTo>
                  <a:pt x="389" y="403"/>
                  <a:pt x="389" y="403"/>
                  <a:pt x="389" y="403"/>
                </a:cubicBezTo>
                <a:lnTo>
                  <a:pt x="209" y="403"/>
                </a:lnTo>
                <a:close/>
                <a:moveTo>
                  <a:pt x="423" y="389"/>
                </a:moveTo>
                <a:cubicBezTo>
                  <a:pt x="420" y="387"/>
                  <a:pt x="417" y="385"/>
                  <a:pt x="415" y="383"/>
                </a:cubicBezTo>
                <a:cubicBezTo>
                  <a:pt x="413" y="380"/>
                  <a:pt x="409" y="376"/>
                  <a:pt x="403" y="373"/>
                </a:cubicBezTo>
                <a:cubicBezTo>
                  <a:pt x="403" y="389"/>
                  <a:pt x="403" y="389"/>
                  <a:pt x="403" y="389"/>
                </a:cubicBezTo>
                <a:lnTo>
                  <a:pt x="423" y="389"/>
                </a:lnTo>
                <a:close/>
                <a:moveTo>
                  <a:pt x="467" y="369"/>
                </a:moveTo>
                <a:cubicBezTo>
                  <a:pt x="477" y="370"/>
                  <a:pt x="487" y="371"/>
                  <a:pt x="495" y="373"/>
                </a:cubicBezTo>
                <a:cubicBezTo>
                  <a:pt x="497" y="374"/>
                  <a:pt x="503" y="372"/>
                  <a:pt x="509" y="369"/>
                </a:cubicBezTo>
                <a:cubicBezTo>
                  <a:pt x="517" y="364"/>
                  <a:pt x="527" y="359"/>
                  <a:pt x="539" y="359"/>
                </a:cubicBezTo>
                <a:cubicBezTo>
                  <a:pt x="549" y="359"/>
                  <a:pt x="560" y="364"/>
                  <a:pt x="569" y="373"/>
                </a:cubicBezTo>
                <a:cubicBezTo>
                  <a:pt x="572" y="375"/>
                  <a:pt x="577" y="378"/>
                  <a:pt x="583" y="382"/>
                </a:cubicBezTo>
                <a:cubicBezTo>
                  <a:pt x="582" y="344"/>
                  <a:pt x="579" y="308"/>
                  <a:pt x="573" y="273"/>
                </a:cubicBezTo>
                <a:cubicBezTo>
                  <a:pt x="457" y="273"/>
                  <a:pt x="457" y="273"/>
                  <a:pt x="457" y="273"/>
                </a:cubicBezTo>
                <a:cubicBezTo>
                  <a:pt x="457" y="275"/>
                  <a:pt x="456" y="277"/>
                  <a:pt x="456" y="279"/>
                </a:cubicBezTo>
                <a:cubicBezTo>
                  <a:pt x="454" y="282"/>
                  <a:pt x="450" y="284"/>
                  <a:pt x="447" y="284"/>
                </a:cubicBezTo>
                <a:cubicBezTo>
                  <a:pt x="441" y="284"/>
                  <a:pt x="435" y="280"/>
                  <a:pt x="427" y="274"/>
                </a:cubicBezTo>
                <a:cubicBezTo>
                  <a:pt x="427" y="274"/>
                  <a:pt x="426" y="274"/>
                  <a:pt x="426" y="273"/>
                </a:cubicBezTo>
                <a:cubicBezTo>
                  <a:pt x="403" y="273"/>
                  <a:pt x="403" y="273"/>
                  <a:pt x="403" y="273"/>
                </a:cubicBezTo>
                <a:cubicBezTo>
                  <a:pt x="403" y="303"/>
                  <a:pt x="403" y="303"/>
                  <a:pt x="403" y="303"/>
                </a:cubicBezTo>
                <a:cubicBezTo>
                  <a:pt x="408" y="304"/>
                  <a:pt x="410" y="307"/>
                  <a:pt x="411" y="308"/>
                </a:cubicBezTo>
                <a:cubicBezTo>
                  <a:pt x="412" y="310"/>
                  <a:pt x="416" y="317"/>
                  <a:pt x="420" y="322"/>
                </a:cubicBezTo>
                <a:cubicBezTo>
                  <a:pt x="434" y="342"/>
                  <a:pt x="444" y="357"/>
                  <a:pt x="445" y="366"/>
                </a:cubicBezTo>
                <a:cubicBezTo>
                  <a:pt x="448" y="368"/>
                  <a:pt x="460" y="369"/>
                  <a:pt x="467" y="369"/>
                </a:cubicBezTo>
                <a:close/>
                <a:moveTo>
                  <a:pt x="403" y="258"/>
                </a:moveTo>
                <a:cubicBezTo>
                  <a:pt x="403" y="259"/>
                  <a:pt x="403" y="259"/>
                  <a:pt x="403" y="259"/>
                </a:cubicBezTo>
                <a:cubicBezTo>
                  <a:pt x="406" y="259"/>
                  <a:pt x="406" y="259"/>
                  <a:pt x="406" y="259"/>
                </a:cubicBezTo>
                <a:cubicBezTo>
                  <a:pt x="405" y="259"/>
                  <a:pt x="404" y="258"/>
                  <a:pt x="403" y="258"/>
                </a:cubicBezTo>
                <a:close/>
                <a:moveTo>
                  <a:pt x="389" y="252"/>
                </a:moveTo>
                <a:cubicBezTo>
                  <a:pt x="388" y="252"/>
                  <a:pt x="387" y="252"/>
                  <a:pt x="386" y="251"/>
                </a:cubicBezTo>
                <a:cubicBezTo>
                  <a:pt x="384" y="251"/>
                  <a:pt x="381" y="250"/>
                  <a:pt x="379" y="250"/>
                </a:cubicBezTo>
                <a:cubicBezTo>
                  <a:pt x="371" y="250"/>
                  <a:pt x="364" y="255"/>
                  <a:pt x="359" y="259"/>
                </a:cubicBezTo>
                <a:cubicBezTo>
                  <a:pt x="389" y="259"/>
                  <a:pt x="389" y="259"/>
                  <a:pt x="389" y="259"/>
                </a:cubicBezTo>
                <a:lnTo>
                  <a:pt x="389" y="252"/>
                </a:lnTo>
                <a:close/>
                <a:moveTo>
                  <a:pt x="340" y="310"/>
                </a:moveTo>
                <a:cubicBezTo>
                  <a:pt x="340" y="312"/>
                  <a:pt x="341" y="315"/>
                  <a:pt x="349" y="315"/>
                </a:cubicBezTo>
                <a:cubicBezTo>
                  <a:pt x="359" y="315"/>
                  <a:pt x="372" y="311"/>
                  <a:pt x="383" y="308"/>
                </a:cubicBezTo>
                <a:cubicBezTo>
                  <a:pt x="385" y="307"/>
                  <a:pt x="387" y="307"/>
                  <a:pt x="389" y="306"/>
                </a:cubicBezTo>
                <a:cubicBezTo>
                  <a:pt x="389" y="273"/>
                  <a:pt x="389" y="273"/>
                  <a:pt x="389" y="273"/>
                </a:cubicBezTo>
                <a:cubicBezTo>
                  <a:pt x="349" y="273"/>
                  <a:pt x="349" y="273"/>
                  <a:pt x="349" y="273"/>
                </a:cubicBezTo>
                <a:cubicBezTo>
                  <a:pt x="342" y="285"/>
                  <a:pt x="339" y="300"/>
                  <a:pt x="340" y="310"/>
                </a:cubicBezTo>
                <a:close/>
                <a:moveTo>
                  <a:pt x="777" y="389"/>
                </a:moveTo>
                <a:cubicBezTo>
                  <a:pt x="777" y="349"/>
                  <a:pt x="770" y="310"/>
                  <a:pt x="757" y="273"/>
                </a:cubicBezTo>
                <a:cubicBezTo>
                  <a:pt x="587" y="273"/>
                  <a:pt x="587" y="273"/>
                  <a:pt x="587" y="273"/>
                </a:cubicBezTo>
                <a:cubicBezTo>
                  <a:pt x="593" y="310"/>
                  <a:pt x="597" y="349"/>
                  <a:pt x="597" y="389"/>
                </a:cubicBezTo>
                <a:lnTo>
                  <a:pt x="777" y="389"/>
                </a:lnTo>
                <a:close/>
                <a:moveTo>
                  <a:pt x="536" y="144"/>
                </a:moveTo>
                <a:cubicBezTo>
                  <a:pt x="535" y="144"/>
                  <a:pt x="535" y="144"/>
                  <a:pt x="535" y="144"/>
                </a:cubicBezTo>
                <a:cubicBezTo>
                  <a:pt x="530" y="158"/>
                  <a:pt x="511" y="166"/>
                  <a:pt x="491" y="173"/>
                </a:cubicBezTo>
                <a:cubicBezTo>
                  <a:pt x="482" y="175"/>
                  <a:pt x="472" y="194"/>
                  <a:pt x="464" y="207"/>
                </a:cubicBezTo>
                <a:cubicBezTo>
                  <a:pt x="456" y="221"/>
                  <a:pt x="449" y="231"/>
                  <a:pt x="442" y="235"/>
                </a:cubicBezTo>
                <a:cubicBezTo>
                  <a:pt x="443" y="238"/>
                  <a:pt x="446" y="244"/>
                  <a:pt x="448" y="248"/>
                </a:cubicBezTo>
                <a:cubicBezTo>
                  <a:pt x="450" y="252"/>
                  <a:pt x="452" y="256"/>
                  <a:pt x="453" y="259"/>
                </a:cubicBezTo>
                <a:cubicBezTo>
                  <a:pt x="571" y="259"/>
                  <a:pt x="571" y="259"/>
                  <a:pt x="571" y="259"/>
                </a:cubicBezTo>
                <a:cubicBezTo>
                  <a:pt x="563" y="217"/>
                  <a:pt x="551" y="178"/>
                  <a:pt x="536" y="144"/>
                </a:cubicBezTo>
                <a:close/>
                <a:moveTo>
                  <a:pt x="389" y="76"/>
                </a:moveTo>
                <a:cubicBezTo>
                  <a:pt x="387" y="77"/>
                  <a:pt x="384" y="79"/>
                  <a:pt x="385" y="80"/>
                </a:cubicBezTo>
                <a:cubicBezTo>
                  <a:pt x="385" y="82"/>
                  <a:pt x="387" y="84"/>
                  <a:pt x="389" y="85"/>
                </a:cubicBezTo>
                <a:lnTo>
                  <a:pt x="389" y="76"/>
                </a:lnTo>
                <a:close/>
                <a:moveTo>
                  <a:pt x="403" y="93"/>
                </a:moveTo>
                <a:cubicBezTo>
                  <a:pt x="409" y="95"/>
                  <a:pt x="415" y="96"/>
                  <a:pt x="422" y="96"/>
                </a:cubicBezTo>
                <a:cubicBezTo>
                  <a:pt x="427" y="96"/>
                  <a:pt x="435" y="95"/>
                  <a:pt x="436" y="90"/>
                </a:cubicBezTo>
                <a:cubicBezTo>
                  <a:pt x="438" y="79"/>
                  <a:pt x="445" y="73"/>
                  <a:pt x="456" y="73"/>
                </a:cubicBezTo>
                <a:cubicBezTo>
                  <a:pt x="474" y="73"/>
                  <a:pt x="500" y="91"/>
                  <a:pt x="518" y="107"/>
                </a:cubicBezTo>
                <a:cubicBezTo>
                  <a:pt x="508" y="91"/>
                  <a:pt x="498" y="76"/>
                  <a:pt x="487" y="63"/>
                </a:cubicBezTo>
                <a:cubicBezTo>
                  <a:pt x="479" y="59"/>
                  <a:pt x="471" y="56"/>
                  <a:pt x="463" y="53"/>
                </a:cubicBezTo>
                <a:cubicBezTo>
                  <a:pt x="439" y="46"/>
                  <a:pt x="428" y="52"/>
                  <a:pt x="404" y="67"/>
                </a:cubicBezTo>
                <a:cubicBezTo>
                  <a:pt x="403" y="67"/>
                  <a:pt x="403" y="67"/>
                  <a:pt x="403" y="67"/>
                </a:cubicBezTo>
                <a:lnTo>
                  <a:pt x="403" y="93"/>
                </a:lnTo>
                <a:close/>
                <a:moveTo>
                  <a:pt x="14" y="403"/>
                </a:moveTo>
                <a:cubicBezTo>
                  <a:pt x="15" y="443"/>
                  <a:pt x="22" y="482"/>
                  <a:pt x="34" y="519"/>
                </a:cubicBezTo>
                <a:cubicBezTo>
                  <a:pt x="204" y="519"/>
                  <a:pt x="204" y="519"/>
                  <a:pt x="204" y="519"/>
                </a:cubicBezTo>
                <a:cubicBezTo>
                  <a:pt x="198" y="482"/>
                  <a:pt x="195" y="443"/>
                  <a:pt x="195" y="403"/>
                </a:cubicBezTo>
                <a:lnTo>
                  <a:pt x="14" y="403"/>
                </a:lnTo>
                <a:close/>
                <a:moveTo>
                  <a:pt x="255" y="648"/>
                </a:moveTo>
                <a:cubicBezTo>
                  <a:pt x="389" y="648"/>
                  <a:pt x="389" y="648"/>
                  <a:pt x="389" y="648"/>
                </a:cubicBezTo>
                <a:cubicBezTo>
                  <a:pt x="389" y="533"/>
                  <a:pt x="389" y="533"/>
                  <a:pt x="389" y="533"/>
                </a:cubicBezTo>
                <a:cubicBezTo>
                  <a:pt x="221" y="533"/>
                  <a:pt x="221" y="533"/>
                  <a:pt x="221" y="533"/>
                </a:cubicBezTo>
                <a:cubicBezTo>
                  <a:pt x="229" y="575"/>
                  <a:pt x="241" y="614"/>
                  <a:pt x="255" y="648"/>
                </a:cubicBezTo>
                <a:close/>
                <a:moveTo>
                  <a:pt x="262" y="662"/>
                </a:moveTo>
                <a:cubicBezTo>
                  <a:pt x="294" y="730"/>
                  <a:pt x="339" y="774"/>
                  <a:pt x="389" y="777"/>
                </a:cubicBezTo>
                <a:cubicBezTo>
                  <a:pt x="389" y="662"/>
                  <a:pt x="389" y="662"/>
                  <a:pt x="389" y="662"/>
                </a:cubicBezTo>
                <a:lnTo>
                  <a:pt x="262" y="662"/>
                </a:lnTo>
                <a:close/>
                <a:moveTo>
                  <a:pt x="403" y="777"/>
                </a:moveTo>
                <a:cubicBezTo>
                  <a:pt x="422" y="776"/>
                  <a:pt x="441" y="768"/>
                  <a:pt x="459" y="755"/>
                </a:cubicBezTo>
                <a:cubicBezTo>
                  <a:pt x="452" y="752"/>
                  <a:pt x="447" y="745"/>
                  <a:pt x="446" y="734"/>
                </a:cubicBezTo>
                <a:cubicBezTo>
                  <a:pt x="446" y="724"/>
                  <a:pt x="455" y="709"/>
                  <a:pt x="471" y="683"/>
                </a:cubicBezTo>
                <a:cubicBezTo>
                  <a:pt x="475" y="676"/>
                  <a:pt x="479" y="669"/>
                  <a:pt x="484" y="662"/>
                </a:cubicBezTo>
                <a:cubicBezTo>
                  <a:pt x="403" y="662"/>
                  <a:pt x="403" y="662"/>
                  <a:pt x="403" y="662"/>
                </a:cubicBezTo>
                <a:lnTo>
                  <a:pt x="403" y="777"/>
                </a:lnTo>
                <a:close/>
                <a:moveTo>
                  <a:pt x="618" y="603"/>
                </a:moveTo>
                <a:cubicBezTo>
                  <a:pt x="628" y="598"/>
                  <a:pt x="652" y="569"/>
                  <a:pt x="674" y="536"/>
                </a:cubicBezTo>
                <a:cubicBezTo>
                  <a:pt x="700" y="496"/>
                  <a:pt x="708" y="471"/>
                  <a:pt x="706" y="466"/>
                </a:cubicBezTo>
                <a:cubicBezTo>
                  <a:pt x="701" y="456"/>
                  <a:pt x="653" y="432"/>
                  <a:pt x="621" y="416"/>
                </a:cubicBezTo>
                <a:cubicBezTo>
                  <a:pt x="611" y="411"/>
                  <a:pt x="601" y="407"/>
                  <a:pt x="593" y="403"/>
                </a:cubicBezTo>
                <a:cubicBezTo>
                  <a:pt x="592" y="403"/>
                  <a:pt x="591" y="403"/>
                  <a:pt x="590" y="403"/>
                </a:cubicBezTo>
                <a:cubicBezTo>
                  <a:pt x="587" y="403"/>
                  <a:pt x="584" y="401"/>
                  <a:pt x="583" y="398"/>
                </a:cubicBezTo>
                <a:cubicBezTo>
                  <a:pt x="573" y="392"/>
                  <a:pt x="564" y="387"/>
                  <a:pt x="560" y="383"/>
                </a:cubicBezTo>
                <a:cubicBezTo>
                  <a:pt x="553" y="376"/>
                  <a:pt x="546" y="373"/>
                  <a:pt x="539" y="373"/>
                </a:cubicBezTo>
                <a:cubicBezTo>
                  <a:pt x="530" y="373"/>
                  <a:pt x="523" y="377"/>
                  <a:pt x="515" y="381"/>
                </a:cubicBezTo>
                <a:cubicBezTo>
                  <a:pt x="509" y="384"/>
                  <a:pt x="502" y="388"/>
                  <a:pt x="496" y="388"/>
                </a:cubicBezTo>
                <a:cubicBezTo>
                  <a:pt x="494" y="388"/>
                  <a:pt x="491" y="387"/>
                  <a:pt x="489" y="387"/>
                </a:cubicBezTo>
                <a:cubicBezTo>
                  <a:pt x="486" y="385"/>
                  <a:pt x="480" y="384"/>
                  <a:pt x="474" y="384"/>
                </a:cubicBezTo>
                <a:cubicBezTo>
                  <a:pt x="477" y="386"/>
                  <a:pt x="481" y="388"/>
                  <a:pt x="483" y="392"/>
                </a:cubicBezTo>
                <a:cubicBezTo>
                  <a:pt x="483" y="392"/>
                  <a:pt x="483" y="392"/>
                  <a:pt x="483" y="392"/>
                </a:cubicBezTo>
                <a:cubicBezTo>
                  <a:pt x="484" y="392"/>
                  <a:pt x="484" y="392"/>
                  <a:pt x="484" y="392"/>
                </a:cubicBezTo>
                <a:cubicBezTo>
                  <a:pt x="493" y="405"/>
                  <a:pt x="484" y="419"/>
                  <a:pt x="475" y="432"/>
                </a:cubicBezTo>
                <a:cubicBezTo>
                  <a:pt x="466" y="445"/>
                  <a:pt x="456" y="460"/>
                  <a:pt x="458" y="477"/>
                </a:cubicBezTo>
                <a:cubicBezTo>
                  <a:pt x="461" y="492"/>
                  <a:pt x="473" y="505"/>
                  <a:pt x="487" y="518"/>
                </a:cubicBezTo>
                <a:cubicBezTo>
                  <a:pt x="488" y="519"/>
                  <a:pt x="489" y="520"/>
                  <a:pt x="490" y="521"/>
                </a:cubicBezTo>
                <a:cubicBezTo>
                  <a:pt x="490" y="521"/>
                  <a:pt x="490" y="521"/>
                  <a:pt x="490" y="521"/>
                </a:cubicBezTo>
                <a:cubicBezTo>
                  <a:pt x="506" y="537"/>
                  <a:pt x="523" y="555"/>
                  <a:pt x="526" y="583"/>
                </a:cubicBezTo>
                <a:cubicBezTo>
                  <a:pt x="530" y="614"/>
                  <a:pt x="504" y="657"/>
                  <a:pt x="483" y="690"/>
                </a:cubicBezTo>
                <a:cubicBezTo>
                  <a:pt x="472" y="708"/>
                  <a:pt x="460" y="727"/>
                  <a:pt x="460" y="734"/>
                </a:cubicBezTo>
                <a:cubicBezTo>
                  <a:pt x="461" y="739"/>
                  <a:pt x="463" y="743"/>
                  <a:pt x="466" y="743"/>
                </a:cubicBezTo>
                <a:cubicBezTo>
                  <a:pt x="467" y="743"/>
                  <a:pt x="469" y="742"/>
                  <a:pt x="470" y="741"/>
                </a:cubicBezTo>
                <a:cubicBezTo>
                  <a:pt x="471" y="739"/>
                  <a:pt x="472" y="736"/>
                  <a:pt x="472" y="732"/>
                </a:cubicBezTo>
                <a:cubicBezTo>
                  <a:pt x="471" y="723"/>
                  <a:pt x="482" y="713"/>
                  <a:pt x="503" y="694"/>
                </a:cubicBezTo>
                <a:cubicBezTo>
                  <a:pt x="509" y="689"/>
                  <a:pt x="515" y="684"/>
                  <a:pt x="521" y="678"/>
                </a:cubicBezTo>
                <a:cubicBezTo>
                  <a:pt x="553" y="648"/>
                  <a:pt x="600" y="611"/>
                  <a:pt x="618" y="603"/>
                </a:cubicBezTo>
                <a:close/>
                <a:moveTo>
                  <a:pt x="577" y="648"/>
                </a:moveTo>
                <a:cubicBezTo>
                  <a:pt x="682" y="648"/>
                  <a:pt x="682" y="648"/>
                  <a:pt x="682" y="648"/>
                </a:cubicBezTo>
                <a:cubicBezTo>
                  <a:pt x="712" y="614"/>
                  <a:pt x="736" y="575"/>
                  <a:pt x="752" y="533"/>
                </a:cubicBezTo>
                <a:cubicBezTo>
                  <a:pt x="693" y="533"/>
                  <a:pt x="693" y="533"/>
                  <a:pt x="693" y="533"/>
                </a:cubicBezTo>
                <a:cubicBezTo>
                  <a:pt x="670" y="570"/>
                  <a:pt x="638" y="609"/>
                  <a:pt x="624" y="616"/>
                </a:cubicBezTo>
                <a:cubicBezTo>
                  <a:pt x="615" y="620"/>
                  <a:pt x="598" y="632"/>
                  <a:pt x="577" y="648"/>
                </a:cubicBezTo>
                <a:close/>
                <a:moveTo>
                  <a:pt x="543" y="44"/>
                </a:moveTo>
                <a:cubicBezTo>
                  <a:pt x="547" y="58"/>
                  <a:pt x="549" y="73"/>
                  <a:pt x="542" y="79"/>
                </a:cubicBezTo>
                <a:cubicBezTo>
                  <a:pt x="540" y="81"/>
                  <a:pt x="537" y="82"/>
                  <a:pt x="533" y="82"/>
                </a:cubicBezTo>
                <a:cubicBezTo>
                  <a:pt x="529" y="82"/>
                  <a:pt x="522" y="80"/>
                  <a:pt x="515" y="77"/>
                </a:cubicBezTo>
                <a:cubicBezTo>
                  <a:pt x="526" y="92"/>
                  <a:pt x="536" y="110"/>
                  <a:pt x="545" y="130"/>
                </a:cubicBezTo>
                <a:cubicBezTo>
                  <a:pt x="669" y="130"/>
                  <a:pt x="669" y="130"/>
                  <a:pt x="669" y="130"/>
                </a:cubicBezTo>
                <a:cubicBezTo>
                  <a:pt x="634" y="93"/>
                  <a:pt x="591" y="64"/>
                  <a:pt x="543" y="44"/>
                </a:cubicBezTo>
                <a:close/>
                <a:moveTo>
                  <a:pt x="123" y="130"/>
                </a:moveTo>
                <a:cubicBezTo>
                  <a:pt x="222" y="130"/>
                  <a:pt x="222" y="130"/>
                  <a:pt x="222" y="130"/>
                </a:cubicBezTo>
                <a:cubicBezTo>
                  <a:pt x="225" y="109"/>
                  <a:pt x="224" y="85"/>
                  <a:pt x="219" y="72"/>
                </a:cubicBezTo>
                <a:cubicBezTo>
                  <a:pt x="219" y="71"/>
                  <a:pt x="217" y="70"/>
                  <a:pt x="213" y="70"/>
                </a:cubicBezTo>
                <a:cubicBezTo>
                  <a:pt x="207" y="70"/>
                  <a:pt x="199" y="72"/>
                  <a:pt x="189" y="75"/>
                </a:cubicBezTo>
                <a:cubicBezTo>
                  <a:pt x="165" y="91"/>
                  <a:pt x="143" y="109"/>
                  <a:pt x="123" y="130"/>
                </a:cubicBezTo>
                <a:close/>
                <a:moveTo>
                  <a:pt x="333" y="772"/>
                </a:moveTo>
                <a:cubicBezTo>
                  <a:pt x="303" y="753"/>
                  <a:pt x="275" y="720"/>
                  <a:pt x="252" y="674"/>
                </a:cubicBezTo>
                <a:cubicBezTo>
                  <a:pt x="250" y="670"/>
                  <a:pt x="248" y="666"/>
                  <a:pt x="247" y="662"/>
                </a:cubicBezTo>
                <a:cubicBezTo>
                  <a:pt x="123" y="662"/>
                  <a:pt x="123" y="662"/>
                  <a:pt x="123" y="662"/>
                </a:cubicBezTo>
                <a:cubicBezTo>
                  <a:pt x="178" y="719"/>
                  <a:pt x="251" y="759"/>
                  <a:pt x="333" y="772"/>
                </a:cubicBezTo>
                <a:close/>
                <a:moveTo>
                  <a:pt x="669" y="662"/>
                </a:moveTo>
                <a:cubicBezTo>
                  <a:pt x="560" y="662"/>
                  <a:pt x="560" y="662"/>
                  <a:pt x="560" y="662"/>
                </a:cubicBezTo>
                <a:cubicBezTo>
                  <a:pt x="551" y="670"/>
                  <a:pt x="541" y="678"/>
                  <a:pt x="533" y="686"/>
                </a:cubicBezTo>
                <a:cubicBezTo>
                  <a:pt x="511" y="726"/>
                  <a:pt x="485" y="755"/>
                  <a:pt x="458" y="773"/>
                </a:cubicBezTo>
                <a:cubicBezTo>
                  <a:pt x="540" y="759"/>
                  <a:pt x="613" y="719"/>
                  <a:pt x="669" y="66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61" name="Oval 78"/>
          <p:cNvSpPr>
            <a:spLocks noChangeArrowheads="1"/>
          </p:cNvSpPr>
          <p:nvPr/>
        </p:nvSpPr>
        <p:spPr bwMode="auto">
          <a:xfrm>
            <a:off x="4827849" y="3111068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82" name="Freeform 149"/>
          <p:cNvSpPr>
            <a:spLocks noEditPoints="1"/>
          </p:cNvSpPr>
          <p:nvPr/>
        </p:nvSpPr>
        <p:spPr bwMode="auto">
          <a:xfrm>
            <a:off x="5058636" y="3301809"/>
            <a:ext cx="361387" cy="440584"/>
          </a:xfrm>
          <a:custGeom>
            <a:avLst/>
            <a:gdLst>
              <a:gd name="T0" fmla="*/ 463 w 467"/>
              <a:gd name="T1" fmla="*/ 291 h 569"/>
              <a:gd name="T2" fmla="*/ 452 w 467"/>
              <a:gd name="T3" fmla="*/ 291 h 569"/>
              <a:gd name="T4" fmla="*/ 359 w 467"/>
              <a:gd name="T5" fmla="*/ 291 h 569"/>
              <a:gd name="T6" fmla="*/ 348 w 467"/>
              <a:gd name="T7" fmla="*/ 291 h 569"/>
              <a:gd name="T8" fmla="*/ 394 w 467"/>
              <a:gd name="T9" fmla="*/ 233 h 569"/>
              <a:gd name="T10" fmla="*/ 348 w 467"/>
              <a:gd name="T11" fmla="*/ 176 h 569"/>
              <a:gd name="T12" fmla="*/ 406 w 467"/>
              <a:gd name="T13" fmla="*/ 222 h 569"/>
              <a:gd name="T14" fmla="*/ 463 w 467"/>
              <a:gd name="T15" fmla="*/ 176 h 569"/>
              <a:gd name="T16" fmla="*/ 417 w 467"/>
              <a:gd name="T17" fmla="*/ 233 h 569"/>
              <a:gd name="T18" fmla="*/ 340 w 467"/>
              <a:gd name="T19" fmla="*/ 3 h 569"/>
              <a:gd name="T20" fmla="*/ 282 w 467"/>
              <a:gd name="T21" fmla="*/ 50 h 569"/>
              <a:gd name="T22" fmla="*/ 224 w 467"/>
              <a:gd name="T23" fmla="*/ 3 h 569"/>
              <a:gd name="T24" fmla="*/ 271 w 467"/>
              <a:gd name="T25" fmla="*/ 61 h 569"/>
              <a:gd name="T26" fmla="*/ 224 w 467"/>
              <a:gd name="T27" fmla="*/ 119 h 569"/>
              <a:gd name="T28" fmla="*/ 236 w 467"/>
              <a:gd name="T29" fmla="*/ 119 h 569"/>
              <a:gd name="T30" fmla="*/ 328 w 467"/>
              <a:gd name="T31" fmla="*/ 119 h 569"/>
              <a:gd name="T32" fmla="*/ 340 w 467"/>
              <a:gd name="T33" fmla="*/ 119 h 569"/>
              <a:gd name="T34" fmla="*/ 293 w 467"/>
              <a:gd name="T35" fmla="*/ 61 h 569"/>
              <a:gd name="T36" fmla="*/ 340 w 467"/>
              <a:gd name="T37" fmla="*/ 3 h 569"/>
              <a:gd name="T38" fmla="*/ 108 w 467"/>
              <a:gd name="T39" fmla="*/ 348 h 569"/>
              <a:gd name="T40" fmla="*/ 15 w 467"/>
              <a:gd name="T41" fmla="*/ 348 h 569"/>
              <a:gd name="T42" fmla="*/ 3 w 467"/>
              <a:gd name="T43" fmla="*/ 359 h 569"/>
              <a:gd name="T44" fmla="*/ 3 w 467"/>
              <a:gd name="T45" fmla="*/ 452 h 569"/>
              <a:gd name="T46" fmla="*/ 9 w 467"/>
              <a:gd name="T47" fmla="*/ 466 h 569"/>
              <a:gd name="T48" fmla="*/ 61 w 467"/>
              <a:gd name="T49" fmla="*/ 417 h 569"/>
              <a:gd name="T50" fmla="*/ 113 w 467"/>
              <a:gd name="T51" fmla="*/ 466 h 569"/>
              <a:gd name="T52" fmla="*/ 119 w 467"/>
              <a:gd name="T53" fmla="*/ 452 h 569"/>
              <a:gd name="T54" fmla="*/ 119 w 467"/>
              <a:gd name="T55" fmla="*/ 359 h 569"/>
              <a:gd name="T56" fmla="*/ 332 w 467"/>
              <a:gd name="T57" fmla="*/ 509 h 569"/>
              <a:gd name="T58" fmla="*/ 212 w 467"/>
              <a:gd name="T59" fmla="*/ 509 h 569"/>
              <a:gd name="T60" fmla="*/ 264 w 467"/>
              <a:gd name="T61" fmla="*/ 374 h 569"/>
              <a:gd name="T62" fmla="*/ 42 w 467"/>
              <a:gd name="T63" fmla="*/ 254 h 569"/>
              <a:gd name="T64" fmla="*/ 26 w 467"/>
              <a:gd name="T65" fmla="*/ 254 h 569"/>
              <a:gd name="T66" fmla="*/ 26 w 467"/>
              <a:gd name="T67" fmla="*/ 131 h 569"/>
              <a:gd name="T68" fmla="*/ 27 w 467"/>
              <a:gd name="T69" fmla="*/ 130 h 569"/>
              <a:gd name="T70" fmla="*/ 28 w 467"/>
              <a:gd name="T71" fmla="*/ 128 h 569"/>
              <a:gd name="T72" fmla="*/ 30 w 467"/>
              <a:gd name="T73" fmla="*/ 126 h 569"/>
              <a:gd name="T74" fmla="*/ 32 w 467"/>
              <a:gd name="T75" fmla="*/ 125 h 569"/>
              <a:gd name="T76" fmla="*/ 34 w 467"/>
              <a:gd name="T77" fmla="*/ 125 h 569"/>
              <a:gd name="T78" fmla="*/ 34 w 467"/>
              <a:gd name="T79" fmla="*/ 125 h 569"/>
              <a:gd name="T80" fmla="*/ 34 w 467"/>
              <a:gd name="T81" fmla="*/ 125 h 569"/>
              <a:gd name="T82" fmla="*/ 163 w 467"/>
              <a:gd name="T83" fmla="*/ 133 h 569"/>
              <a:gd name="T84" fmla="*/ 53 w 467"/>
              <a:gd name="T85" fmla="*/ 141 h 569"/>
              <a:gd name="T86" fmla="*/ 280 w 467"/>
              <a:gd name="T87" fmla="*/ 371 h 569"/>
              <a:gd name="T88" fmla="*/ 332 w 467"/>
              <a:gd name="T89" fmla="*/ 509 h 569"/>
              <a:gd name="T90" fmla="*/ 272 w 467"/>
              <a:gd name="T91" fmla="*/ 466 h 569"/>
              <a:gd name="T92" fmla="*/ 272 w 467"/>
              <a:gd name="T93" fmla="*/ 553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7" h="569">
                <a:moveTo>
                  <a:pt x="463" y="280"/>
                </a:moveTo>
                <a:cubicBezTo>
                  <a:pt x="467" y="283"/>
                  <a:pt x="467" y="288"/>
                  <a:pt x="463" y="291"/>
                </a:cubicBezTo>
                <a:cubicBezTo>
                  <a:pt x="462" y="293"/>
                  <a:pt x="460" y="294"/>
                  <a:pt x="458" y="294"/>
                </a:cubicBezTo>
                <a:cubicBezTo>
                  <a:pt x="456" y="294"/>
                  <a:pt x="454" y="293"/>
                  <a:pt x="452" y="291"/>
                </a:cubicBezTo>
                <a:cubicBezTo>
                  <a:pt x="406" y="245"/>
                  <a:pt x="406" y="245"/>
                  <a:pt x="406" y="245"/>
                </a:cubicBezTo>
                <a:cubicBezTo>
                  <a:pt x="359" y="291"/>
                  <a:pt x="359" y="291"/>
                  <a:pt x="359" y="291"/>
                </a:cubicBezTo>
                <a:cubicBezTo>
                  <a:pt x="358" y="293"/>
                  <a:pt x="356" y="294"/>
                  <a:pt x="354" y="294"/>
                </a:cubicBezTo>
                <a:cubicBezTo>
                  <a:pt x="352" y="294"/>
                  <a:pt x="349" y="293"/>
                  <a:pt x="348" y="291"/>
                </a:cubicBezTo>
                <a:cubicBezTo>
                  <a:pt x="345" y="288"/>
                  <a:pt x="345" y="283"/>
                  <a:pt x="348" y="280"/>
                </a:cubicBezTo>
                <a:cubicBezTo>
                  <a:pt x="394" y="233"/>
                  <a:pt x="394" y="233"/>
                  <a:pt x="394" y="233"/>
                </a:cubicBezTo>
                <a:cubicBezTo>
                  <a:pt x="348" y="187"/>
                  <a:pt x="348" y="187"/>
                  <a:pt x="348" y="187"/>
                </a:cubicBezTo>
                <a:cubicBezTo>
                  <a:pt x="345" y="184"/>
                  <a:pt x="345" y="179"/>
                  <a:pt x="348" y="176"/>
                </a:cubicBezTo>
                <a:cubicBezTo>
                  <a:pt x="351" y="173"/>
                  <a:pt x="356" y="173"/>
                  <a:pt x="359" y="176"/>
                </a:cubicBezTo>
                <a:cubicBezTo>
                  <a:pt x="406" y="222"/>
                  <a:pt x="406" y="222"/>
                  <a:pt x="406" y="222"/>
                </a:cubicBezTo>
                <a:cubicBezTo>
                  <a:pt x="452" y="176"/>
                  <a:pt x="452" y="176"/>
                  <a:pt x="452" y="176"/>
                </a:cubicBezTo>
                <a:cubicBezTo>
                  <a:pt x="455" y="173"/>
                  <a:pt x="460" y="173"/>
                  <a:pt x="463" y="176"/>
                </a:cubicBezTo>
                <a:cubicBezTo>
                  <a:pt x="467" y="179"/>
                  <a:pt x="467" y="184"/>
                  <a:pt x="463" y="187"/>
                </a:cubicBezTo>
                <a:cubicBezTo>
                  <a:pt x="417" y="233"/>
                  <a:pt x="417" y="233"/>
                  <a:pt x="417" y="233"/>
                </a:cubicBezTo>
                <a:lnTo>
                  <a:pt x="463" y="280"/>
                </a:lnTo>
                <a:close/>
                <a:moveTo>
                  <a:pt x="340" y="3"/>
                </a:moveTo>
                <a:cubicBezTo>
                  <a:pt x="337" y="0"/>
                  <a:pt x="332" y="0"/>
                  <a:pt x="328" y="3"/>
                </a:cubicBezTo>
                <a:cubicBezTo>
                  <a:pt x="282" y="50"/>
                  <a:pt x="282" y="50"/>
                  <a:pt x="282" y="50"/>
                </a:cubicBezTo>
                <a:cubicBezTo>
                  <a:pt x="236" y="3"/>
                  <a:pt x="236" y="3"/>
                  <a:pt x="236" y="3"/>
                </a:cubicBezTo>
                <a:cubicBezTo>
                  <a:pt x="232" y="0"/>
                  <a:pt x="227" y="0"/>
                  <a:pt x="224" y="3"/>
                </a:cubicBezTo>
                <a:cubicBezTo>
                  <a:pt x="221" y="6"/>
                  <a:pt x="221" y="12"/>
                  <a:pt x="224" y="15"/>
                </a:cubicBezTo>
                <a:cubicBezTo>
                  <a:pt x="271" y="61"/>
                  <a:pt x="271" y="61"/>
                  <a:pt x="271" y="61"/>
                </a:cubicBezTo>
                <a:cubicBezTo>
                  <a:pt x="224" y="108"/>
                  <a:pt x="224" y="108"/>
                  <a:pt x="224" y="108"/>
                </a:cubicBezTo>
                <a:cubicBezTo>
                  <a:pt x="221" y="111"/>
                  <a:pt x="221" y="116"/>
                  <a:pt x="224" y="119"/>
                </a:cubicBezTo>
                <a:cubicBezTo>
                  <a:pt x="226" y="120"/>
                  <a:pt x="228" y="121"/>
                  <a:pt x="230" y="121"/>
                </a:cubicBezTo>
                <a:cubicBezTo>
                  <a:pt x="232" y="121"/>
                  <a:pt x="234" y="120"/>
                  <a:pt x="236" y="119"/>
                </a:cubicBezTo>
                <a:cubicBezTo>
                  <a:pt x="282" y="72"/>
                  <a:pt x="282" y="72"/>
                  <a:pt x="282" y="72"/>
                </a:cubicBezTo>
                <a:cubicBezTo>
                  <a:pt x="328" y="119"/>
                  <a:pt x="328" y="119"/>
                  <a:pt x="328" y="119"/>
                </a:cubicBezTo>
                <a:cubicBezTo>
                  <a:pt x="330" y="120"/>
                  <a:pt x="332" y="121"/>
                  <a:pt x="334" y="121"/>
                </a:cubicBezTo>
                <a:cubicBezTo>
                  <a:pt x="336" y="121"/>
                  <a:pt x="338" y="120"/>
                  <a:pt x="340" y="119"/>
                </a:cubicBezTo>
                <a:cubicBezTo>
                  <a:pt x="343" y="116"/>
                  <a:pt x="343" y="111"/>
                  <a:pt x="340" y="108"/>
                </a:cubicBezTo>
                <a:cubicBezTo>
                  <a:pt x="293" y="61"/>
                  <a:pt x="293" y="61"/>
                  <a:pt x="293" y="61"/>
                </a:cubicBezTo>
                <a:cubicBezTo>
                  <a:pt x="340" y="15"/>
                  <a:pt x="340" y="15"/>
                  <a:pt x="340" y="15"/>
                </a:cubicBezTo>
                <a:cubicBezTo>
                  <a:pt x="343" y="12"/>
                  <a:pt x="343" y="6"/>
                  <a:pt x="340" y="3"/>
                </a:cubicBezTo>
                <a:close/>
                <a:moveTo>
                  <a:pt x="119" y="348"/>
                </a:moveTo>
                <a:cubicBezTo>
                  <a:pt x="116" y="345"/>
                  <a:pt x="111" y="345"/>
                  <a:pt x="108" y="348"/>
                </a:cubicBezTo>
                <a:cubicBezTo>
                  <a:pt x="61" y="394"/>
                  <a:pt x="61" y="394"/>
                  <a:pt x="61" y="394"/>
                </a:cubicBezTo>
                <a:cubicBezTo>
                  <a:pt x="15" y="348"/>
                  <a:pt x="15" y="348"/>
                  <a:pt x="15" y="348"/>
                </a:cubicBezTo>
                <a:cubicBezTo>
                  <a:pt x="11" y="345"/>
                  <a:pt x="6" y="345"/>
                  <a:pt x="3" y="348"/>
                </a:cubicBezTo>
                <a:cubicBezTo>
                  <a:pt x="0" y="351"/>
                  <a:pt x="0" y="356"/>
                  <a:pt x="3" y="359"/>
                </a:cubicBezTo>
                <a:cubicBezTo>
                  <a:pt x="50" y="406"/>
                  <a:pt x="50" y="406"/>
                  <a:pt x="50" y="406"/>
                </a:cubicBezTo>
                <a:cubicBezTo>
                  <a:pt x="3" y="452"/>
                  <a:pt x="3" y="452"/>
                  <a:pt x="3" y="452"/>
                </a:cubicBezTo>
                <a:cubicBezTo>
                  <a:pt x="0" y="455"/>
                  <a:pt x="0" y="460"/>
                  <a:pt x="3" y="463"/>
                </a:cubicBezTo>
                <a:cubicBezTo>
                  <a:pt x="5" y="465"/>
                  <a:pt x="7" y="466"/>
                  <a:pt x="9" y="466"/>
                </a:cubicBezTo>
                <a:cubicBezTo>
                  <a:pt x="11" y="466"/>
                  <a:pt x="13" y="465"/>
                  <a:pt x="15" y="463"/>
                </a:cubicBezTo>
                <a:cubicBezTo>
                  <a:pt x="61" y="417"/>
                  <a:pt x="61" y="417"/>
                  <a:pt x="61" y="417"/>
                </a:cubicBezTo>
                <a:cubicBezTo>
                  <a:pt x="108" y="463"/>
                  <a:pt x="108" y="463"/>
                  <a:pt x="108" y="463"/>
                </a:cubicBezTo>
                <a:cubicBezTo>
                  <a:pt x="109" y="465"/>
                  <a:pt x="111" y="466"/>
                  <a:pt x="113" y="466"/>
                </a:cubicBezTo>
                <a:cubicBezTo>
                  <a:pt x="115" y="466"/>
                  <a:pt x="117" y="465"/>
                  <a:pt x="119" y="463"/>
                </a:cubicBezTo>
                <a:cubicBezTo>
                  <a:pt x="122" y="460"/>
                  <a:pt x="122" y="455"/>
                  <a:pt x="119" y="452"/>
                </a:cubicBezTo>
                <a:cubicBezTo>
                  <a:pt x="72" y="406"/>
                  <a:pt x="72" y="406"/>
                  <a:pt x="72" y="406"/>
                </a:cubicBezTo>
                <a:cubicBezTo>
                  <a:pt x="119" y="359"/>
                  <a:pt x="119" y="359"/>
                  <a:pt x="119" y="359"/>
                </a:cubicBezTo>
                <a:cubicBezTo>
                  <a:pt x="122" y="356"/>
                  <a:pt x="122" y="351"/>
                  <a:pt x="119" y="348"/>
                </a:cubicBezTo>
                <a:close/>
                <a:moveTo>
                  <a:pt x="332" y="509"/>
                </a:moveTo>
                <a:cubicBezTo>
                  <a:pt x="332" y="542"/>
                  <a:pt x="305" y="569"/>
                  <a:pt x="272" y="569"/>
                </a:cubicBezTo>
                <a:cubicBezTo>
                  <a:pt x="239" y="569"/>
                  <a:pt x="212" y="542"/>
                  <a:pt x="212" y="509"/>
                </a:cubicBezTo>
                <a:cubicBezTo>
                  <a:pt x="212" y="479"/>
                  <a:pt x="235" y="454"/>
                  <a:pt x="264" y="450"/>
                </a:cubicBezTo>
                <a:cubicBezTo>
                  <a:pt x="264" y="374"/>
                  <a:pt x="264" y="374"/>
                  <a:pt x="264" y="374"/>
                </a:cubicBezTo>
                <a:cubicBezTo>
                  <a:pt x="42" y="152"/>
                  <a:pt x="42" y="152"/>
                  <a:pt x="42" y="152"/>
                </a:cubicBezTo>
                <a:cubicBezTo>
                  <a:pt x="42" y="254"/>
                  <a:pt x="42" y="254"/>
                  <a:pt x="42" y="254"/>
                </a:cubicBezTo>
                <a:cubicBezTo>
                  <a:pt x="42" y="258"/>
                  <a:pt x="39" y="262"/>
                  <a:pt x="34" y="262"/>
                </a:cubicBezTo>
                <a:cubicBezTo>
                  <a:pt x="30" y="262"/>
                  <a:pt x="26" y="258"/>
                  <a:pt x="26" y="254"/>
                </a:cubicBezTo>
                <a:cubicBezTo>
                  <a:pt x="26" y="133"/>
                  <a:pt x="26" y="133"/>
                  <a:pt x="26" y="133"/>
                </a:cubicBezTo>
                <a:cubicBezTo>
                  <a:pt x="26" y="132"/>
                  <a:pt x="26" y="132"/>
                  <a:pt x="26" y="131"/>
                </a:cubicBezTo>
                <a:cubicBezTo>
                  <a:pt x="26" y="131"/>
                  <a:pt x="26" y="131"/>
                  <a:pt x="27" y="131"/>
                </a:cubicBezTo>
                <a:cubicBezTo>
                  <a:pt x="27" y="130"/>
                  <a:pt x="27" y="130"/>
                  <a:pt x="27" y="130"/>
                </a:cubicBezTo>
                <a:cubicBezTo>
                  <a:pt x="27" y="130"/>
                  <a:pt x="27" y="129"/>
                  <a:pt x="27" y="129"/>
                </a:cubicBezTo>
                <a:cubicBezTo>
                  <a:pt x="27" y="129"/>
                  <a:pt x="27" y="129"/>
                  <a:pt x="28" y="128"/>
                </a:cubicBezTo>
                <a:cubicBezTo>
                  <a:pt x="28" y="128"/>
                  <a:pt x="29" y="127"/>
                  <a:pt x="30" y="126"/>
                </a:cubicBezTo>
                <a:cubicBezTo>
                  <a:pt x="30" y="126"/>
                  <a:pt x="30" y="126"/>
                  <a:pt x="30" y="126"/>
                </a:cubicBezTo>
                <a:cubicBezTo>
                  <a:pt x="31" y="126"/>
                  <a:pt x="31" y="126"/>
                  <a:pt x="31" y="126"/>
                </a:cubicBezTo>
                <a:cubicBezTo>
                  <a:pt x="31" y="125"/>
                  <a:pt x="32" y="125"/>
                  <a:pt x="32" y="125"/>
                </a:cubicBezTo>
                <a:cubicBezTo>
                  <a:pt x="32" y="125"/>
                  <a:pt x="32" y="125"/>
                  <a:pt x="33" y="125"/>
                </a:cubicBezTo>
                <a:cubicBezTo>
                  <a:pt x="33" y="125"/>
                  <a:pt x="34" y="125"/>
                  <a:pt x="34" y="125"/>
                </a:cubicBezTo>
                <a:cubicBezTo>
                  <a:pt x="34" y="125"/>
                  <a:pt x="34" y="125"/>
                  <a:pt x="34" y="125"/>
                </a:cubicBezTo>
                <a:cubicBezTo>
                  <a:pt x="34" y="125"/>
                  <a:pt x="34" y="125"/>
                  <a:pt x="34" y="125"/>
                </a:cubicBezTo>
                <a:cubicBezTo>
                  <a:pt x="34" y="125"/>
                  <a:pt x="34" y="125"/>
                  <a:pt x="34" y="125"/>
                </a:cubicBezTo>
                <a:cubicBezTo>
                  <a:pt x="34" y="125"/>
                  <a:pt x="34" y="125"/>
                  <a:pt x="34" y="125"/>
                </a:cubicBezTo>
                <a:cubicBezTo>
                  <a:pt x="155" y="125"/>
                  <a:pt x="155" y="125"/>
                  <a:pt x="155" y="125"/>
                </a:cubicBezTo>
                <a:cubicBezTo>
                  <a:pt x="159" y="125"/>
                  <a:pt x="163" y="129"/>
                  <a:pt x="163" y="133"/>
                </a:cubicBezTo>
                <a:cubicBezTo>
                  <a:pt x="163" y="137"/>
                  <a:pt x="159" y="141"/>
                  <a:pt x="155" y="141"/>
                </a:cubicBezTo>
                <a:cubicBezTo>
                  <a:pt x="53" y="141"/>
                  <a:pt x="53" y="141"/>
                  <a:pt x="53" y="141"/>
                </a:cubicBezTo>
                <a:cubicBezTo>
                  <a:pt x="278" y="365"/>
                  <a:pt x="278" y="365"/>
                  <a:pt x="278" y="365"/>
                </a:cubicBezTo>
                <a:cubicBezTo>
                  <a:pt x="279" y="367"/>
                  <a:pt x="280" y="369"/>
                  <a:pt x="280" y="371"/>
                </a:cubicBezTo>
                <a:cubicBezTo>
                  <a:pt x="280" y="450"/>
                  <a:pt x="280" y="450"/>
                  <a:pt x="280" y="450"/>
                </a:cubicBezTo>
                <a:cubicBezTo>
                  <a:pt x="309" y="454"/>
                  <a:pt x="332" y="479"/>
                  <a:pt x="332" y="509"/>
                </a:cubicBezTo>
                <a:close/>
                <a:moveTo>
                  <a:pt x="316" y="509"/>
                </a:moveTo>
                <a:cubicBezTo>
                  <a:pt x="316" y="485"/>
                  <a:pt x="296" y="466"/>
                  <a:pt x="272" y="466"/>
                </a:cubicBezTo>
                <a:cubicBezTo>
                  <a:pt x="248" y="466"/>
                  <a:pt x="228" y="485"/>
                  <a:pt x="228" y="509"/>
                </a:cubicBezTo>
                <a:cubicBezTo>
                  <a:pt x="228" y="533"/>
                  <a:pt x="248" y="553"/>
                  <a:pt x="272" y="553"/>
                </a:cubicBezTo>
                <a:cubicBezTo>
                  <a:pt x="296" y="553"/>
                  <a:pt x="316" y="533"/>
                  <a:pt x="316" y="50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60" name="Oval 77"/>
          <p:cNvSpPr>
            <a:spLocks noChangeArrowheads="1"/>
          </p:cNvSpPr>
          <p:nvPr/>
        </p:nvSpPr>
        <p:spPr bwMode="auto">
          <a:xfrm>
            <a:off x="6120593" y="3111068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83" name="Freeform 150"/>
          <p:cNvSpPr>
            <a:spLocks noEditPoints="1"/>
          </p:cNvSpPr>
          <p:nvPr/>
        </p:nvSpPr>
        <p:spPr bwMode="auto">
          <a:xfrm>
            <a:off x="6337067" y="3298918"/>
            <a:ext cx="390906" cy="394484"/>
          </a:xfrm>
          <a:custGeom>
            <a:avLst/>
            <a:gdLst>
              <a:gd name="T0" fmla="*/ 104 w 505"/>
              <a:gd name="T1" fmla="*/ 461 h 510"/>
              <a:gd name="T2" fmla="*/ 207 w 505"/>
              <a:gd name="T3" fmla="*/ 151 h 510"/>
              <a:gd name="T4" fmla="*/ 120 w 505"/>
              <a:gd name="T5" fmla="*/ 167 h 510"/>
              <a:gd name="T6" fmla="*/ 450 w 505"/>
              <a:gd name="T7" fmla="*/ 167 h 510"/>
              <a:gd name="T8" fmla="*/ 423 w 505"/>
              <a:gd name="T9" fmla="*/ 151 h 510"/>
              <a:gd name="T10" fmla="*/ 466 w 505"/>
              <a:gd name="T11" fmla="*/ 461 h 510"/>
              <a:gd name="T12" fmla="*/ 505 w 505"/>
              <a:gd name="T13" fmla="*/ 156 h 510"/>
              <a:gd name="T14" fmla="*/ 459 w 505"/>
              <a:gd name="T15" fmla="*/ 126 h 510"/>
              <a:gd name="T16" fmla="*/ 459 w 505"/>
              <a:gd name="T17" fmla="*/ 494 h 510"/>
              <a:gd name="T18" fmla="*/ 17 w 505"/>
              <a:gd name="T19" fmla="*/ 156 h 510"/>
              <a:gd name="T20" fmla="*/ 256 w 505"/>
              <a:gd name="T21" fmla="*/ 118 h 510"/>
              <a:gd name="T22" fmla="*/ 1 w 505"/>
              <a:gd name="T23" fmla="*/ 156 h 510"/>
              <a:gd name="T24" fmla="*/ 459 w 505"/>
              <a:gd name="T25" fmla="*/ 510 h 510"/>
              <a:gd name="T26" fmla="*/ 80 w 505"/>
              <a:gd name="T27" fmla="*/ 181 h 510"/>
              <a:gd name="T28" fmla="*/ 0 w 505"/>
              <a:gd name="T29" fmla="*/ 181 h 510"/>
              <a:gd name="T30" fmla="*/ 72 w 505"/>
              <a:gd name="T31" fmla="*/ 447 h 510"/>
              <a:gd name="T32" fmla="*/ 64 w 505"/>
              <a:gd name="T33" fmla="*/ 189 h 510"/>
              <a:gd name="T34" fmla="*/ 16 w 505"/>
              <a:gd name="T35" fmla="*/ 189 h 510"/>
              <a:gd name="T36" fmla="*/ 8 w 505"/>
              <a:gd name="T37" fmla="*/ 257 h 510"/>
              <a:gd name="T38" fmla="*/ 72 w 505"/>
              <a:gd name="T39" fmla="*/ 273 h 510"/>
              <a:gd name="T40" fmla="*/ 72 w 505"/>
              <a:gd name="T41" fmla="*/ 340 h 510"/>
              <a:gd name="T42" fmla="*/ 8 w 505"/>
              <a:gd name="T43" fmla="*/ 356 h 510"/>
              <a:gd name="T44" fmla="*/ 80 w 505"/>
              <a:gd name="T45" fmla="*/ 353 h 510"/>
              <a:gd name="T46" fmla="*/ 0 w 505"/>
              <a:gd name="T47" fmla="*/ 353 h 510"/>
              <a:gd name="T48" fmla="*/ 80 w 505"/>
              <a:gd name="T49" fmla="*/ 353 h 510"/>
              <a:gd name="T50" fmla="*/ 473 w 505"/>
              <a:gd name="T51" fmla="*/ 42 h 510"/>
              <a:gd name="T52" fmla="*/ 401 w 505"/>
              <a:gd name="T53" fmla="*/ 12 h 510"/>
              <a:gd name="T54" fmla="*/ 206 w 505"/>
              <a:gd name="T55" fmla="*/ 218 h 510"/>
              <a:gd name="T56" fmla="*/ 266 w 505"/>
              <a:gd name="T57" fmla="*/ 267 h 510"/>
              <a:gd name="T58" fmla="*/ 449 w 505"/>
              <a:gd name="T59" fmla="*/ 24 h 510"/>
              <a:gd name="T60" fmla="*/ 260 w 505"/>
              <a:gd name="T61" fmla="*/ 250 h 510"/>
              <a:gd name="T62" fmla="*/ 399 w 505"/>
              <a:gd name="T63" fmla="*/ 134 h 510"/>
              <a:gd name="T64" fmla="*/ 339 w 505"/>
              <a:gd name="T65" fmla="*/ 74 h 510"/>
              <a:gd name="T66" fmla="*/ 393 w 505"/>
              <a:gd name="T67" fmla="*/ 136 h 510"/>
              <a:gd name="T68" fmla="*/ 452 w 505"/>
              <a:gd name="T69" fmla="*/ 69 h 510"/>
              <a:gd name="T70" fmla="*/ 392 w 505"/>
              <a:gd name="T71" fmla="*/ 32 h 510"/>
              <a:gd name="T72" fmla="*/ 452 w 505"/>
              <a:gd name="T73" fmla="*/ 81 h 510"/>
              <a:gd name="T74" fmla="*/ 268 w 505"/>
              <a:gd name="T75" fmla="*/ 259 h 510"/>
              <a:gd name="T76" fmla="*/ 219 w 505"/>
              <a:gd name="T77" fmla="*/ 215 h 510"/>
              <a:gd name="T78" fmla="*/ 188 w 505"/>
              <a:gd name="T79" fmla="*/ 275 h 510"/>
              <a:gd name="T80" fmla="*/ 198 w 505"/>
              <a:gd name="T81" fmla="*/ 285 h 510"/>
              <a:gd name="T82" fmla="*/ 201 w 505"/>
              <a:gd name="T83" fmla="*/ 271 h 510"/>
              <a:gd name="T84" fmla="*/ 174 w 505"/>
              <a:gd name="T85" fmla="*/ 299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05" h="510">
                <a:moveTo>
                  <a:pt x="458" y="469"/>
                </a:moveTo>
                <a:cubicBezTo>
                  <a:pt x="112" y="469"/>
                  <a:pt x="112" y="469"/>
                  <a:pt x="112" y="469"/>
                </a:cubicBezTo>
                <a:cubicBezTo>
                  <a:pt x="108" y="469"/>
                  <a:pt x="104" y="465"/>
                  <a:pt x="104" y="461"/>
                </a:cubicBezTo>
                <a:cubicBezTo>
                  <a:pt x="104" y="159"/>
                  <a:pt x="104" y="159"/>
                  <a:pt x="104" y="159"/>
                </a:cubicBezTo>
                <a:cubicBezTo>
                  <a:pt x="104" y="155"/>
                  <a:pt x="108" y="151"/>
                  <a:pt x="112" y="151"/>
                </a:cubicBezTo>
                <a:cubicBezTo>
                  <a:pt x="207" y="151"/>
                  <a:pt x="207" y="151"/>
                  <a:pt x="207" y="151"/>
                </a:cubicBezTo>
                <a:cubicBezTo>
                  <a:pt x="212" y="151"/>
                  <a:pt x="215" y="155"/>
                  <a:pt x="215" y="159"/>
                </a:cubicBezTo>
                <a:cubicBezTo>
                  <a:pt x="215" y="164"/>
                  <a:pt x="212" y="167"/>
                  <a:pt x="207" y="167"/>
                </a:cubicBezTo>
                <a:cubicBezTo>
                  <a:pt x="120" y="167"/>
                  <a:pt x="120" y="167"/>
                  <a:pt x="120" y="167"/>
                </a:cubicBezTo>
                <a:cubicBezTo>
                  <a:pt x="120" y="453"/>
                  <a:pt x="120" y="453"/>
                  <a:pt x="120" y="453"/>
                </a:cubicBezTo>
                <a:cubicBezTo>
                  <a:pt x="450" y="453"/>
                  <a:pt x="450" y="453"/>
                  <a:pt x="450" y="453"/>
                </a:cubicBezTo>
                <a:cubicBezTo>
                  <a:pt x="450" y="167"/>
                  <a:pt x="450" y="167"/>
                  <a:pt x="450" y="167"/>
                </a:cubicBezTo>
                <a:cubicBezTo>
                  <a:pt x="423" y="167"/>
                  <a:pt x="423" y="167"/>
                  <a:pt x="423" y="167"/>
                </a:cubicBezTo>
                <a:cubicBezTo>
                  <a:pt x="418" y="167"/>
                  <a:pt x="415" y="164"/>
                  <a:pt x="415" y="159"/>
                </a:cubicBezTo>
                <a:cubicBezTo>
                  <a:pt x="415" y="155"/>
                  <a:pt x="418" y="151"/>
                  <a:pt x="423" y="151"/>
                </a:cubicBezTo>
                <a:cubicBezTo>
                  <a:pt x="458" y="151"/>
                  <a:pt x="458" y="151"/>
                  <a:pt x="458" y="151"/>
                </a:cubicBezTo>
                <a:cubicBezTo>
                  <a:pt x="462" y="151"/>
                  <a:pt x="466" y="155"/>
                  <a:pt x="466" y="159"/>
                </a:cubicBezTo>
                <a:cubicBezTo>
                  <a:pt x="466" y="461"/>
                  <a:pt x="466" y="461"/>
                  <a:pt x="466" y="461"/>
                </a:cubicBezTo>
                <a:cubicBezTo>
                  <a:pt x="466" y="465"/>
                  <a:pt x="462" y="469"/>
                  <a:pt x="458" y="469"/>
                </a:cubicBezTo>
                <a:close/>
                <a:moveTo>
                  <a:pt x="505" y="464"/>
                </a:moveTo>
                <a:cubicBezTo>
                  <a:pt x="505" y="156"/>
                  <a:pt x="505" y="156"/>
                  <a:pt x="505" y="156"/>
                </a:cubicBezTo>
                <a:cubicBezTo>
                  <a:pt x="505" y="130"/>
                  <a:pt x="484" y="110"/>
                  <a:pt x="459" y="110"/>
                </a:cubicBezTo>
                <a:cubicBezTo>
                  <a:pt x="454" y="110"/>
                  <a:pt x="451" y="113"/>
                  <a:pt x="451" y="118"/>
                </a:cubicBezTo>
                <a:cubicBezTo>
                  <a:pt x="451" y="122"/>
                  <a:pt x="454" y="126"/>
                  <a:pt x="459" y="126"/>
                </a:cubicBezTo>
                <a:cubicBezTo>
                  <a:pt x="475" y="126"/>
                  <a:pt x="489" y="139"/>
                  <a:pt x="489" y="156"/>
                </a:cubicBezTo>
                <a:cubicBezTo>
                  <a:pt x="489" y="464"/>
                  <a:pt x="489" y="464"/>
                  <a:pt x="489" y="464"/>
                </a:cubicBezTo>
                <a:cubicBezTo>
                  <a:pt x="489" y="481"/>
                  <a:pt x="475" y="494"/>
                  <a:pt x="459" y="494"/>
                </a:cubicBezTo>
                <a:cubicBezTo>
                  <a:pt x="47" y="494"/>
                  <a:pt x="47" y="494"/>
                  <a:pt x="47" y="494"/>
                </a:cubicBezTo>
                <a:cubicBezTo>
                  <a:pt x="31" y="494"/>
                  <a:pt x="17" y="481"/>
                  <a:pt x="17" y="464"/>
                </a:cubicBezTo>
                <a:cubicBezTo>
                  <a:pt x="17" y="156"/>
                  <a:pt x="17" y="156"/>
                  <a:pt x="17" y="156"/>
                </a:cubicBezTo>
                <a:cubicBezTo>
                  <a:pt x="17" y="139"/>
                  <a:pt x="31" y="126"/>
                  <a:pt x="47" y="126"/>
                </a:cubicBezTo>
                <a:cubicBezTo>
                  <a:pt x="248" y="126"/>
                  <a:pt x="248" y="126"/>
                  <a:pt x="248" y="126"/>
                </a:cubicBezTo>
                <a:cubicBezTo>
                  <a:pt x="253" y="126"/>
                  <a:pt x="256" y="122"/>
                  <a:pt x="256" y="118"/>
                </a:cubicBezTo>
                <a:cubicBezTo>
                  <a:pt x="256" y="113"/>
                  <a:pt x="253" y="110"/>
                  <a:pt x="248" y="110"/>
                </a:cubicBezTo>
                <a:cubicBezTo>
                  <a:pt x="47" y="110"/>
                  <a:pt x="47" y="110"/>
                  <a:pt x="47" y="110"/>
                </a:cubicBezTo>
                <a:cubicBezTo>
                  <a:pt x="22" y="110"/>
                  <a:pt x="1" y="130"/>
                  <a:pt x="1" y="156"/>
                </a:cubicBezTo>
                <a:cubicBezTo>
                  <a:pt x="1" y="464"/>
                  <a:pt x="1" y="464"/>
                  <a:pt x="1" y="464"/>
                </a:cubicBezTo>
                <a:cubicBezTo>
                  <a:pt x="1" y="490"/>
                  <a:pt x="22" y="510"/>
                  <a:pt x="47" y="510"/>
                </a:cubicBezTo>
                <a:cubicBezTo>
                  <a:pt x="459" y="510"/>
                  <a:pt x="459" y="510"/>
                  <a:pt x="459" y="510"/>
                </a:cubicBezTo>
                <a:cubicBezTo>
                  <a:pt x="484" y="510"/>
                  <a:pt x="505" y="490"/>
                  <a:pt x="505" y="464"/>
                </a:cubicBezTo>
                <a:close/>
                <a:moveTo>
                  <a:pt x="80" y="439"/>
                </a:moveTo>
                <a:cubicBezTo>
                  <a:pt x="80" y="181"/>
                  <a:pt x="80" y="181"/>
                  <a:pt x="80" y="181"/>
                </a:cubicBezTo>
                <a:cubicBezTo>
                  <a:pt x="80" y="177"/>
                  <a:pt x="76" y="173"/>
                  <a:pt x="72" y="173"/>
                </a:cubicBezTo>
                <a:cubicBezTo>
                  <a:pt x="8" y="173"/>
                  <a:pt x="8" y="173"/>
                  <a:pt x="8" y="173"/>
                </a:cubicBezTo>
                <a:cubicBezTo>
                  <a:pt x="4" y="173"/>
                  <a:pt x="0" y="177"/>
                  <a:pt x="0" y="181"/>
                </a:cubicBezTo>
                <a:cubicBezTo>
                  <a:pt x="0" y="439"/>
                  <a:pt x="0" y="439"/>
                  <a:pt x="0" y="439"/>
                </a:cubicBezTo>
                <a:cubicBezTo>
                  <a:pt x="0" y="443"/>
                  <a:pt x="4" y="447"/>
                  <a:pt x="8" y="447"/>
                </a:cubicBezTo>
                <a:cubicBezTo>
                  <a:pt x="72" y="447"/>
                  <a:pt x="72" y="447"/>
                  <a:pt x="72" y="447"/>
                </a:cubicBezTo>
                <a:cubicBezTo>
                  <a:pt x="76" y="447"/>
                  <a:pt x="80" y="443"/>
                  <a:pt x="80" y="439"/>
                </a:cubicBezTo>
                <a:close/>
                <a:moveTo>
                  <a:pt x="16" y="189"/>
                </a:moveTo>
                <a:cubicBezTo>
                  <a:pt x="64" y="189"/>
                  <a:pt x="64" y="189"/>
                  <a:pt x="64" y="189"/>
                </a:cubicBezTo>
                <a:cubicBezTo>
                  <a:pt x="64" y="431"/>
                  <a:pt x="64" y="431"/>
                  <a:pt x="64" y="431"/>
                </a:cubicBezTo>
                <a:cubicBezTo>
                  <a:pt x="16" y="431"/>
                  <a:pt x="16" y="431"/>
                  <a:pt x="16" y="431"/>
                </a:cubicBezTo>
                <a:lnTo>
                  <a:pt x="16" y="189"/>
                </a:lnTo>
                <a:close/>
                <a:moveTo>
                  <a:pt x="80" y="265"/>
                </a:moveTo>
                <a:cubicBezTo>
                  <a:pt x="80" y="261"/>
                  <a:pt x="76" y="257"/>
                  <a:pt x="72" y="257"/>
                </a:cubicBezTo>
                <a:cubicBezTo>
                  <a:pt x="8" y="257"/>
                  <a:pt x="8" y="257"/>
                  <a:pt x="8" y="257"/>
                </a:cubicBezTo>
                <a:cubicBezTo>
                  <a:pt x="4" y="257"/>
                  <a:pt x="0" y="261"/>
                  <a:pt x="0" y="265"/>
                </a:cubicBezTo>
                <a:cubicBezTo>
                  <a:pt x="0" y="270"/>
                  <a:pt x="4" y="273"/>
                  <a:pt x="8" y="273"/>
                </a:cubicBezTo>
                <a:cubicBezTo>
                  <a:pt x="72" y="273"/>
                  <a:pt x="72" y="273"/>
                  <a:pt x="72" y="273"/>
                </a:cubicBezTo>
                <a:cubicBezTo>
                  <a:pt x="76" y="273"/>
                  <a:pt x="80" y="270"/>
                  <a:pt x="80" y="265"/>
                </a:cubicBezTo>
                <a:close/>
                <a:moveTo>
                  <a:pt x="80" y="348"/>
                </a:moveTo>
                <a:cubicBezTo>
                  <a:pt x="80" y="344"/>
                  <a:pt x="76" y="340"/>
                  <a:pt x="72" y="340"/>
                </a:cubicBezTo>
                <a:cubicBezTo>
                  <a:pt x="8" y="340"/>
                  <a:pt x="8" y="340"/>
                  <a:pt x="8" y="340"/>
                </a:cubicBezTo>
                <a:cubicBezTo>
                  <a:pt x="4" y="340"/>
                  <a:pt x="0" y="344"/>
                  <a:pt x="0" y="348"/>
                </a:cubicBezTo>
                <a:cubicBezTo>
                  <a:pt x="0" y="353"/>
                  <a:pt x="4" y="356"/>
                  <a:pt x="8" y="356"/>
                </a:cubicBezTo>
                <a:cubicBezTo>
                  <a:pt x="72" y="356"/>
                  <a:pt x="72" y="356"/>
                  <a:pt x="72" y="356"/>
                </a:cubicBezTo>
                <a:cubicBezTo>
                  <a:pt x="76" y="356"/>
                  <a:pt x="80" y="353"/>
                  <a:pt x="80" y="348"/>
                </a:cubicBezTo>
                <a:close/>
                <a:moveTo>
                  <a:pt x="80" y="353"/>
                </a:moveTo>
                <a:cubicBezTo>
                  <a:pt x="80" y="348"/>
                  <a:pt x="76" y="345"/>
                  <a:pt x="72" y="345"/>
                </a:cubicBezTo>
                <a:cubicBezTo>
                  <a:pt x="8" y="345"/>
                  <a:pt x="8" y="345"/>
                  <a:pt x="8" y="345"/>
                </a:cubicBezTo>
                <a:cubicBezTo>
                  <a:pt x="4" y="345"/>
                  <a:pt x="0" y="348"/>
                  <a:pt x="0" y="353"/>
                </a:cubicBezTo>
                <a:cubicBezTo>
                  <a:pt x="0" y="357"/>
                  <a:pt x="4" y="361"/>
                  <a:pt x="8" y="361"/>
                </a:cubicBezTo>
                <a:cubicBezTo>
                  <a:pt x="72" y="361"/>
                  <a:pt x="72" y="361"/>
                  <a:pt x="72" y="361"/>
                </a:cubicBezTo>
                <a:cubicBezTo>
                  <a:pt x="76" y="361"/>
                  <a:pt x="80" y="357"/>
                  <a:pt x="80" y="353"/>
                </a:cubicBezTo>
                <a:close/>
                <a:moveTo>
                  <a:pt x="266" y="267"/>
                </a:moveTo>
                <a:cubicBezTo>
                  <a:pt x="460" y="72"/>
                  <a:pt x="460" y="72"/>
                  <a:pt x="460" y="72"/>
                </a:cubicBezTo>
                <a:cubicBezTo>
                  <a:pt x="468" y="64"/>
                  <a:pt x="473" y="53"/>
                  <a:pt x="473" y="42"/>
                </a:cubicBezTo>
                <a:cubicBezTo>
                  <a:pt x="473" y="31"/>
                  <a:pt x="468" y="20"/>
                  <a:pt x="460" y="12"/>
                </a:cubicBezTo>
                <a:cubicBezTo>
                  <a:pt x="452" y="4"/>
                  <a:pt x="442" y="0"/>
                  <a:pt x="431" y="0"/>
                </a:cubicBezTo>
                <a:cubicBezTo>
                  <a:pt x="419" y="0"/>
                  <a:pt x="409" y="4"/>
                  <a:pt x="401" y="12"/>
                </a:cubicBezTo>
                <a:cubicBezTo>
                  <a:pt x="206" y="207"/>
                  <a:pt x="206" y="207"/>
                  <a:pt x="206" y="207"/>
                </a:cubicBezTo>
                <a:cubicBezTo>
                  <a:pt x="204" y="209"/>
                  <a:pt x="204" y="211"/>
                  <a:pt x="204" y="213"/>
                </a:cubicBezTo>
                <a:cubicBezTo>
                  <a:pt x="204" y="215"/>
                  <a:pt x="204" y="217"/>
                  <a:pt x="206" y="218"/>
                </a:cubicBezTo>
                <a:cubicBezTo>
                  <a:pt x="254" y="267"/>
                  <a:pt x="254" y="267"/>
                  <a:pt x="254" y="267"/>
                </a:cubicBezTo>
                <a:cubicBezTo>
                  <a:pt x="256" y="268"/>
                  <a:pt x="258" y="269"/>
                  <a:pt x="260" y="269"/>
                </a:cubicBezTo>
                <a:cubicBezTo>
                  <a:pt x="262" y="269"/>
                  <a:pt x="264" y="268"/>
                  <a:pt x="266" y="267"/>
                </a:cubicBezTo>
                <a:close/>
                <a:moveTo>
                  <a:pt x="412" y="24"/>
                </a:moveTo>
                <a:cubicBezTo>
                  <a:pt x="417" y="19"/>
                  <a:pt x="424" y="16"/>
                  <a:pt x="431" y="16"/>
                </a:cubicBezTo>
                <a:cubicBezTo>
                  <a:pt x="438" y="16"/>
                  <a:pt x="444" y="19"/>
                  <a:pt x="449" y="24"/>
                </a:cubicBezTo>
                <a:cubicBezTo>
                  <a:pt x="454" y="29"/>
                  <a:pt x="457" y="35"/>
                  <a:pt x="457" y="42"/>
                </a:cubicBezTo>
                <a:cubicBezTo>
                  <a:pt x="457" y="49"/>
                  <a:pt x="454" y="56"/>
                  <a:pt x="449" y="61"/>
                </a:cubicBezTo>
                <a:cubicBezTo>
                  <a:pt x="260" y="250"/>
                  <a:pt x="260" y="250"/>
                  <a:pt x="260" y="250"/>
                </a:cubicBezTo>
                <a:cubicBezTo>
                  <a:pt x="223" y="213"/>
                  <a:pt x="223" y="213"/>
                  <a:pt x="223" y="213"/>
                </a:cubicBezTo>
                <a:lnTo>
                  <a:pt x="412" y="24"/>
                </a:lnTo>
                <a:close/>
                <a:moveTo>
                  <a:pt x="399" y="134"/>
                </a:moveTo>
                <a:cubicBezTo>
                  <a:pt x="402" y="131"/>
                  <a:pt x="402" y="126"/>
                  <a:pt x="399" y="123"/>
                </a:cubicBezTo>
                <a:cubicBezTo>
                  <a:pt x="350" y="74"/>
                  <a:pt x="350" y="74"/>
                  <a:pt x="350" y="74"/>
                </a:cubicBezTo>
                <a:cubicBezTo>
                  <a:pt x="347" y="71"/>
                  <a:pt x="342" y="71"/>
                  <a:pt x="339" y="74"/>
                </a:cubicBezTo>
                <a:cubicBezTo>
                  <a:pt x="336" y="77"/>
                  <a:pt x="336" y="82"/>
                  <a:pt x="339" y="86"/>
                </a:cubicBezTo>
                <a:cubicBezTo>
                  <a:pt x="387" y="134"/>
                  <a:pt x="387" y="134"/>
                  <a:pt x="387" y="134"/>
                </a:cubicBezTo>
                <a:cubicBezTo>
                  <a:pt x="389" y="135"/>
                  <a:pt x="391" y="136"/>
                  <a:pt x="393" y="136"/>
                </a:cubicBezTo>
                <a:cubicBezTo>
                  <a:pt x="395" y="136"/>
                  <a:pt x="397" y="135"/>
                  <a:pt x="399" y="134"/>
                </a:cubicBezTo>
                <a:close/>
                <a:moveTo>
                  <a:pt x="452" y="81"/>
                </a:moveTo>
                <a:cubicBezTo>
                  <a:pt x="455" y="78"/>
                  <a:pt x="455" y="73"/>
                  <a:pt x="452" y="69"/>
                </a:cubicBezTo>
                <a:cubicBezTo>
                  <a:pt x="403" y="21"/>
                  <a:pt x="403" y="21"/>
                  <a:pt x="403" y="21"/>
                </a:cubicBezTo>
                <a:cubicBezTo>
                  <a:pt x="400" y="18"/>
                  <a:pt x="395" y="18"/>
                  <a:pt x="392" y="21"/>
                </a:cubicBezTo>
                <a:cubicBezTo>
                  <a:pt x="389" y="24"/>
                  <a:pt x="389" y="29"/>
                  <a:pt x="392" y="32"/>
                </a:cubicBezTo>
                <a:cubicBezTo>
                  <a:pt x="440" y="81"/>
                  <a:pt x="440" y="81"/>
                  <a:pt x="440" y="81"/>
                </a:cubicBezTo>
                <a:cubicBezTo>
                  <a:pt x="442" y="82"/>
                  <a:pt x="444" y="83"/>
                  <a:pt x="446" y="83"/>
                </a:cubicBezTo>
                <a:cubicBezTo>
                  <a:pt x="448" y="83"/>
                  <a:pt x="450" y="82"/>
                  <a:pt x="452" y="81"/>
                </a:cubicBezTo>
                <a:close/>
                <a:moveTo>
                  <a:pt x="198" y="285"/>
                </a:moveTo>
                <a:cubicBezTo>
                  <a:pt x="262" y="269"/>
                  <a:pt x="262" y="269"/>
                  <a:pt x="262" y="269"/>
                </a:cubicBezTo>
                <a:cubicBezTo>
                  <a:pt x="266" y="268"/>
                  <a:pt x="269" y="264"/>
                  <a:pt x="268" y="259"/>
                </a:cubicBezTo>
                <a:cubicBezTo>
                  <a:pt x="267" y="255"/>
                  <a:pt x="262" y="252"/>
                  <a:pt x="258" y="253"/>
                </a:cubicBezTo>
                <a:cubicBezTo>
                  <a:pt x="207" y="266"/>
                  <a:pt x="207" y="266"/>
                  <a:pt x="207" y="266"/>
                </a:cubicBezTo>
                <a:cubicBezTo>
                  <a:pt x="219" y="215"/>
                  <a:pt x="219" y="215"/>
                  <a:pt x="219" y="215"/>
                </a:cubicBezTo>
                <a:cubicBezTo>
                  <a:pt x="220" y="210"/>
                  <a:pt x="218" y="206"/>
                  <a:pt x="214" y="205"/>
                </a:cubicBezTo>
                <a:cubicBezTo>
                  <a:pt x="209" y="204"/>
                  <a:pt x="205" y="207"/>
                  <a:pt x="204" y="211"/>
                </a:cubicBezTo>
                <a:cubicBezTo>
                  <a:pt x="188" y="275"/>
                  <a:pt x="188" y="275"/>
                  <a:pt x="188" y="275"/>
                </a:cubicBezTo>
                <a:cubicBezTo>
                  <a:pt x="187" y="278"/>
                  <a:pt x="188" y="281"/>
                  <a:pt x="190" y="283"/>
                </a:cubicBezTo>
                <a:cubicBezTo>
                  <a:pt x="192" y="284"/>
                  <a:pt x="194" y="285"/>
                  <a:pt x="196" y="285"/>
                </a:cubicBezTo>
                <a:cubicBezTo>
                  <a:pt x="196" y="285"/>
                  <a:pt x="197" y="285"/>
                  <a:pt x="198" y="285"/>
                </a:cubicBezTo>
                <a:close/>
                <a:moveTo>
                  <a:pt x="185" y="299"/>
                </a:moveTo>
                <a:cubicBezTo>
                  <a:pt x="201" y="283"/>
                  <a:pt x="201" y="283"/>
                  <a:pt x="201" y="283"/>
                </a:cubicBezTo>
                <a:cubicBezTo>
                  <a:pt x="205" y="279"/>
                  <a:pt x="205" y="274"/>
                  <a:pt x="201" y="271"/>
                </a:cubicBezTo>
                <a:cubicBezTo>
                  <a:pt x="198" y="268"/>
                  <a:pt x="193" y="268"/>
                  <a:pt x="190" y="271"/>
                </a:cubicBezTo>
                <a:cubicBezTo>
                  <a:pt x="174" y="288"/>
                  <a:pt x="174" y="288"/>
                  <a:pt x="174" y="288"/>
                </a:cubicBezTo>
                <a:cubicBezTo>
                  <a:pt x="171" y="291"/>
                  <a:pt x="171" y="296"/>
                  <a:pt x="174" y="299"/>
                </a:cubicBezTo>
                <a:cubicBezTo>
                  <a:pt x="175" y="301"/>
                  <a:pt x="177" y="301"/>
                  <a:pt x="179" y="301"/>
                </a:cubicBezTo>
                <a:cubicBezTo>
                  <a:pt x="181" y="301"/>
                  <a:pt x="183" y="301"/>
                  <a:pt x="185" y="2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59" name="Oval 76"/>
          <p:cNvSpPr>
            <a:spLocks noChangeArrowheads="1"/>
          </p:cNvSpPr>
          <p:nvPr/>
        </p:nvSpPr>
        <p:spPr bwMode="auto">
          <a:xfrm>
            <a:off x="7413336" y="3111068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85" name="Freeform 152"/>
          <p:cNvSpPr>
            <a:spLocks noEditPoints="1"/>
          </p:cNvSpPr>
          <p:nvPr/>
        </p:nvSpPr>
        <p:spPr bwMode="auto">
          <a:xfrm>
            <a:off x="7623549" y="3315915"/>
            <a:ext cx="402535" cy="394484"/>
          </a:xfrm>
          <a:custGeom>
            <a:avLst/>
            <a:gdLst>
              <a:gd name="T0" fmla="*/ 396 w 520"/>
              <a:gd name="T1" fmla="*/ 294 h 510"/>
              <a:gd name="T2" fmla="*/ 385 w 520"/>
              <a:gd name="T3" fmla="*/ 283 h 510"/>
              <a:gd name="T4" fmla="*/ 370 w 520"/>
              <a:gd name="T5" fmla="*/ 297 h 510"/>
              <a:gd name="T6" fmla="*/ 342 w 520"/>
              <a:gd name="T7" fmla="*/ 326 h 510"/>
              <a:gd name="T8" fmla="*/ 414 w 520"/>
              <a:gd name="T9" fmla="*/ 161 h 510"/>
              <a:gd name="T10" fmla="*/ 491 w 520"/>
              <a:gd name="T11" fmla="*/ 140 h 510"/>
              <a:gd name="T12" fmla="*/ 506 w 520"/>
              <a:gd name="T13" fmla="*/ 52 h 510"/>
              <a:gd name="T14" fmla="*/ 465 w 520"/>
              <a:gd name="T15" fmla="*/ 88 h 510"/>
              <a:gd name="T16" fmla="*/ 428 w 520"/>
              <a:gd name="T17" fmla="*/ 50 h 510"/>
              <a:gd name="T18" fmla="*/ 463 w 520"/>
              <a:gd name="T19" fmla="*/ 9 h 510"/>
              <a:gd name="T20" fmla="*/ 433 w 520"/>
              <a:gd name="T21" fmla="*/ 0 h 510"/>
              <a:gd name="T22" fmla="*/ 354 w 520"/>
              <a:gd name="T23" fmla="*/ 101 h 510"/>
              <a:gd name="T24" fmla="*/ 123 w 520"/>
              <a:gd name="T25" fmla="*/ 107 h 510"/>
              <a:gd name="T26" fmla="*/ 133 w 520"/>
              <a:gd name="T27" fmla="*/ 85 h 510"/>
              <a:gd name="T28" fmla="*/ 45 w 520"/>
              <a:gd name="T29" fmla="*/ 8 h 510"/>
              <a:gd name="T30" fmla="*/ 11 w 520"/>
              <a:gd name="T31" fmla="*/ 45 h 510"/>
              <a:gd name="T32" fmla="*/ 90 w 520"/>
              <a:gd name="T33" fmla="*/ 128 h 510"/>
              <a:gd name="T34" fmla="*/ 102 w 520"/>
              <a:gd name="T35" fmla="*/ 128 h 510"/>
              <a:gd name="T36" fmla="*/ 224 w 520"/>
              <a:gd name="T37" fmla="*/ 230 h 510"/>
              <a:gd name="T38" fmla="*/ 87 w 520"/>
              <a:gd name="T39" fmla="*/ 346 h 510"/>
              <a:gd name="T40" fmla="*/ 9 w 520"/>
              <a:gd name="T41" fmla="*/ 452 h 510"/>
              <a:gd name="T42" fmla="*/ 22 w 520"/>
              <a:gd name="T43" fmla="*/ 455 h 510"/>
              <a:gd name="T44" fmla="*/ 85 w 520"/>
              <a:gd name="T45" fmla="*/ 430 h 510"/>
              <a:gd name="T46" fmla="*/ 60 w 520"/>
              <a:gd name="T47" fmla="*/ 493 h 510"/>
              <a:gd name="T48" fmla="*/ 63 w 520"/>
              <a:gd name="T49" fmla="*/ 506 h 510"/>
              <a:gd name="T50" fmla="*/ 145 w 520"/>
              <a:gd name="T51" fmla="*/ 486 h 510"/>
              <a:gd name="T52" fmla="*/ 285 w 520"/>
              <a:gd name="T53" fmla="*/ 291 h 510"/>
              <a:gd name="T54" fmla="*/ 288 w 520"/>
              <a:gd name="T55" fmla="*/ 380 h 510"/>
              <a:gd name="T56" fmla="*/ 293 w 520"/>
              <a:gd name="T57" fmla="*/ 394 h 510"/>
              <a:gd name="T58" fmla="*/ 308 w 520"/>
              <a:gd name="T59" fmla="*/ 382 h 510"/>
              <a:gd name="T60" fmla="*/ 452 w 520"/>
              <a:gd name="T61" fmla="*/ 502 h 510"/>
              <a:gd name="T62" fmla="*/ 508 w 520"/>
              <a:gd name="T63" fmla="*/ 447 h 510"/>
              <a:gd name="T64" fmla="*/ 387 w 520"/>
              <a:gd name="T65" fmla="*/ 303 h 510"/>
              <a:gd name="T66" fmla="*/ 30 w 520"/>
              <a:gd name="T67" fmla="*/ 45 h 510"/>
              <a:gd name="T68" fmla="*/ 116 w 520"/>
              <a:gd name="T69" fmla="*/ 91 h 510"/>
              <a:gd name="T70" fmla="*/ 150 w 520"/>
              <a:gd name="T71" fmla="*/ 409 h 510"/>
              <a:gd name="T72" fmla="*/ 87 w 520"/>
              <a:gd name="T73" fmla="*/ 494 h 510"/>
              <a:gd name="T74" fmla="*/ 107 w 520"/>
              <a:gd name="T75" fmla="*/ 468 h 510"/>
              <a:gd name="T76" fmla="*/ 99 w 520"/>
              <a:gd name="T77" fmla="*/ 421 h 510"/>
              <a:gd name="T78" fmla="*/ 54 w 520"/>
              <a:gd name="T79" fmla="*/ 406 h 510"/>
              <a:gd name="T80" fmla="*/ 21 w 520"/>
              <a:gd name="T81" fmla="*/ 433 h 510"/>
              <a:gd name="T82" fmla="*/ 87 w 520"/>
              <a:gd name="T83" fmla="*/ 362 h 510"/>
              <a:gd name="T84" fmla="*/ 114 w 520"/>
              <a:gd name="T85" fmla="*/ 363 h 510"/>
              <a:gd name="T86" fmla="*/ 370 w 520"/>
              <a:gd name="T87" fmla="*/ 101 h 510"/>
              <a:gd name="T88" fmla="*/ 433 w 520"/>
              <a:gd name="T89" fmla="*/ 16 h 510"/>
              <a:gd name="T90" fmla="*/ 413 w 520"/>
              <a:gd name="T91" fmla="*/ 42 h 510"/>
              <a:gd name="T92" fmla="*/ 421 w 520"/>
              <a:gd name="T93" fmla="*/ 88 h 510"/>
              <a:gd name="T94" fmla="*/ 466 w 520"/>
              <a:gd name="T95" fmla="*/ 104 h 510"/>
              <a:gd name="T96" fmla="*/ 499 w 520"/>
              <a:gd name="T97" fmla="*/ 76 h 510"/>
              <a:gd name="T98" fmla="*/ 433 w 520"/>
              <a:gd name="T99" fmla="*/ 147 h 510"/>
              <a:gd name="T100" fmla="*/ 406 w 520"/>
              <a:gd name="T101" fmla="*/ 147 h 510"/>
              <a:gd name="T102" fmla="*/ 150 w 520"/>
              <a:gd name="T103" fmla="*/ 409 h 510"/>
              <a:gd name="T104" fmla="*/ 424 w 520"/>
              <a:gd name="T105" fmla="*/ 475 h 510"/>
              <a:gd name="T106" fmla="*/ 376 w 520"/>
              <a:gd name="T107" fmla="*/ 314 h 510"/>
              <a:gd name="T108" fmla="*/ 492 w 520"/>
              <a:gd name="T109" fmla="*/ 447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20" h="510">
                <a:moveTo>
                  <a:pt x="387" y="303"/>
                </a:moveTo>
                <a:cubicBezTo>
                  <a:pt x="396" y="294"/>
                  <a:pt x="396" y="294"/>
                  <a:pt x="396" y="294"/>
                </a:cubicBezTo>
                <a:cubicBezTo>
                  <a:pt x="399" y="291"/>
                  <a:pt x="399" y="286"/>
                  <a:pt x="396" y="283"/>
                </a:cubicBezTo>
                <a:cubicBezTo>
                  <a:pt x="393" y="279"/>
                  <a:pt x="388" y="279"/>
                  <a:pt x="385" y="283"/>
                </a:cubicBezTo>
                <a:cubicBezTo>
                  <a:pt x="370" y="297"/>
                  <a:pt x="370" y="297"/>
                  <a:pt x="370" y="297"/>
                </a:cubicBezTo>
                <a:cubicBezTo>
                  <a:pt x="370" y="297"/>
                  <a:pt x="370" y="297"/>
                  <a:pt x="370" y="297"/>
                </a:cubicBezTo>
                <a:cubicBezTo>
                  <a:pt x="370" y="297"/>
                  <a:pt x="370" y="297"/>
                  <a:pt x="370" y="297"/>
                </a:cubicBezTo>
                <a:cubicBezTo>
                  <a:pt x="342" y="326"/>
                  <a:pt x="342" y="326"/>
                  <a:pt x="342" y="326"/>
                </a:cubicBezTo>
                <a:cubicBezTo>
                  <a:pt x="296" y="280"/>
                  <a:pt x="296" y="280"/>
                  <a:pt x="296" y="280"/>
                </a:cubicBezTo>
                <a:cubicBezTo>
                  <a:pt x="414" y="161"/>
                  <a:pt x="414" y="161"/>
                  <a:pt x="414" y="161"/>
                </a:cubicBezTo>
                <a:cubicBezTo>
                  <a:pt x="421" y="163"/>
                  <a:pt x="427" y="163"/>
                  <a:pt x="433" y="163"/>
                </a:cubicBezTo>
                <a:cubicBezTo>
                  <a:pt x="455" y="163"/>
                  <a:pt x="476" y="155"/>
                  <a:pt x="491" y="140"/>
                </a:cubicBezTo>
                <a:cubicBezTo>
                  <a:pt x="513" y="118"/>
                  <a:pt x="520" y="87"/>
                  <a:pt x="512" y="58"/>
                </a:cubicBezTo>
                <a:cubicBezTo>
                  <a:pt x="511" y="55"/>
                  <a:pt x="509" y="53"/>
                  <a:pt x="506" y="52"/>
                </a:cubicBezTo>
                <a:cubicBezTo>
                  <a:pt x="503" y="52"/>
                  <a:pt x="500" y="53"/>
                  <a:pt x="498" y="55"/>
                </a:cubicBezTo>
                <a:cubicBezTo>
                  <a:pt x="465" y="88"/>
                  <a:pt x="465" y="88"/>
                  <a:pt x="465" y="88"/>
                </a:cubicBezTo>
                <a:cubicBezTo>
                  <a:pt x="435" y="80"/>
                  <a:pt x="435" y="80"/>
                  <a:pt x="435" y="80"/>
                </a:cubicBezTo>
                <a:cubicBezTo>
                  <a:pt x="428" y="50"/>
                  <a:pt x="428" y="50"/>
                  <a:pt x="428" y="50"/>
                </a:cubicBezTo>
                <a:cubicBezTo>
                  <a:pt x="461" y="17"/>
                  <a:pt x="461" y="17"/>
                  <a:pt x="461" y="17"/>
                </a:cubicBezTo>
                <a:cubicBezTo>
                  <a:pt x="463" y="15"/>
                  <a:pt x="463" y="12"/>
                  <a:pt x="463" y="9"/>
                </a:cubicBezTo>
                <a:cubicBezTo>
                  <a:pt x="462" y="6"/>
                  <a:pt x="460" y="4"/>
                  <a:pt x="457" y="3"/>
                </a:cubicBezTo>
                <a:cubicBezTo>
                  <a:pt x="449" y="1"/>
                  <a:pt x="441" y="0"/>
                  <a:pt x="433" y="0"/>
                </a:cubicBezTo>
                <a:cubicBezTo>
                  <a:pt x="411" y="0"/>
                  <a:pt x="391" y="8"/>
                  <a:pt x="376" y="24"/>
                </a:cubicBezTo>
                <a:cubicBezTo>
                  <a:pt x="355" y="44"/>
                  <a:pt x="347" y="73"/>
                  <a:pt x="354" y="101"/>
                </a:cubicBezTo>
                <a:cubicBezTo>
                  <a:pt x="236" y="219"/>
                  <a:pt x="236" y="219"/>
                  <a:pt x="236" y="219"/>
                </a:cubicBezTo>
                <a:cubicBezTo>
                  <a:pt x="123" y="107"/>
                  <a:pt x="123" y="107"/>
                  <a:pt x="123" y="107"/>
                </a:cubicBezTo>
                <a:cubicBezTo>
                  <a:pt x="133" y="97"/>
                  <a:pt x="133" y="97"/>
                  <a:pt x="133" y="97"/>
                </a:cubicBezTo>
                <a:cubicBezTo>
                  <a:pt x="137" y="93"/>
                  <a:pt x="137" y="88"/>
                  <a:pt x="133" y="85"/>
                </a:cubicBezTo>
                <a:cubicBezTo>
                  <a:pt x="56" y="8"/>
                  <a:pt x="56" y="8"/>
                  <a:pt x="56" y="8"/>
                </a:cubicBezTo>
                <a:cubicBezTo>
                  <a:pt x="53" y="5"/>
                  <a:pt x="48" y="5"/>
                  <a:pt x="45" y="8"/>
                </a:cubicBezTo>
                <a:cubicBezTo>
                  <a:pt x="13" y="40"/>
                  <a:pt x="13" y="40"/>
                  <a:pt x="13" y="40"/>
                </a:cubicBezTo>
                <a:cubicBezTo>
                  <a:pt x="12" y="41"/>
                  <a:pt x="11" y="43"/>
                  <a:pt x="11" y="45"/>
                </a:cubicBezTo>
                <a:cubicBezTo>
                  <a:pt x="11" y="47"/>
                  <a:pt x="12" y="50"/>
                  <a:pt x="13" y="51"/>
                </a:cubicBezTo>
                <a:cubicBezTo>
                  <a:pt x="90" y="128"/>
                  <a:pt x="90" y="128"/>
                  <a:pt x="90" y="128"/>
                </a:cubicBezTo>
                <a:cubicBezTo>
                  <a:pt x="92" y="130"/>
                  <a:pt x="94" y="131"/>
                  <a:pt x="96" y="131"/>
                </a:cubicBezTo>
                <a:cubicBezTo>
                  <a:pt x="98" y="131"/>
                  <a:pt x="100" y="130"/>
                  <a:pt x="102" y="128"/>
                </a:cubicBezTo>
                <a:cubicBezTo>
                  <a:pt x="112" y="118"/>
                  <a:pt x="112" y="118"/>
                  <a:pt x="112" y="118"/>
                </a:cubicBezTo>
                <a:cubicBezTo>
                  <a:pt x="224" y="230"/>
                  <a:pt x="224" y="230"/>
                  <a:pt x="224" y="230"/>
                </a:cubicBezTo>
                <a:cubicBezTo>
                  <a:pt x="106" y="349"/>
                  <a:pt x="106" y="349"/>
                  <a:pt x="106" y="349"/>
                </a:cubicBezTo>
                <a:cubicBezTo>
                  <a:pt x="100" y="347"/>
                  <a:pt x="93" y="346"/>
                  <a:pt x="87" y="346"/>
                </a:cubicBezTo>
                <a:cubicBezTo>
                  <a:pt x="65" y="346"/>
                  <a:pt x="44" y="355"/>
                  <a:pt x="29" y="370"/>
                </a:cubicBezTo>
                <a:cubicBezTo>
                  <a:pt x="8" y="392"/>
                  <a:pt x="0" y="423"/>
                  <a:pt x="9" y="452"/>
                </a:cubicBezTo>
                <a:cubicBezTo>
                  <a:pt x="9" y="455"/>
                  <a:pt x="12" y="457"/>
                  <a:pt x="14" y="457"/>
                </a:cubicBezTo>
                <a:cubicBezTo>
                  <a:pt x="17" y="458"/>
                  <a:pt x="20" y="457"/>
                  <a:pt x="22" y="455"/>
                </a:cubicBezTo>
                <a:cubicBezTo>
                  <a:pt x="55" y="422"/>
                  <a:pt x="55" y="422"/>
                  <a:pt x="55" y="422"/>
                </a:cubicBezTo>
                <a:cubicBezTo>
                  <a:pt x="85" y="430"/>
                  <a:pt x="85" y="430"/>
                  <a:pt x="85" y="430"/>
                </a:cubicBezTo>
                <a:cubicBezTo>
                  <a:pt x="93" y="460"/>
                  <a:pt x="93" y="460"/>
                  <a:pt x="93" y="460"/>
                </a:cubicBezTo>
                <a:cubicBezTo>
                  <a:pt x="60" y="493"/>
                  <a:pt x="60" y="493"/>
                  <a:pt x="60" y="493"/>
                </a:cubicBezTo>
                <a:cubicBezTo>
                  <a:pt x="58" y="495"/>
                  <a:pt x="57" y="498"/>
                  <a:pt x="58" y="501"/>
                </a:cubicBezTo>
                <a:cubicBezTo>
                  <a:pt x="58" y="503"/>
                  <a:pt x="60" y="506"/>
                  <a:pt x="63" y="506"/>
                </a:cubicBezTo>
                <a:cubicBezTo>
                  <a:pt x="71" y="509"/>
                  <a:pt x="79" y="510"/>
                  <a:pt x="87" y="510"/>
                </a:cubicBezTo>
                <a:cubicBezTo>
                  <a:pt x="109" y="510"/>
                  <a:pt x="129" y="502"/>
                  <a:pt x="145" y="486"/>
                </a:cubicBezTo>
                <a:cubicBezTo>
                  <a:pt x="165" y="466"/>
                  <a:pt x="173" y="437"/>
                  <a:pt x="166" y="409"/>
                </a:cubicBezTo>
                <a:cubicBezTo>
                  <a:pt x="285" y="291"/>
                  <a:pt x="285" y="291"/>
                  <a:pt x="285" y="291"/>
                </a:cubicBezTo>
                <a:cubicBezTo>
                  <a:pt x="331" y="337"/>
                  <a:pt x="331" y="337"/>
                  <a:pt x="331" y="337"/>
                </a:cubicBezTo>
                <a:cubicBezTo>
                  <a:pt x="288" y="380"/>
                  <a:pt x="288" y="380"/>
                  <a:pt x="288" y="380"/>
                </a:cubicBezTo>
                <a:cubicBezTo>
                  <a:pt x="285" y="383"/>
                  <a:pt x="285" y="388"/>
                  <a:pt x="288" y="391"/>
                </a:cubicBezTo>
                <a:cubicBezTo>
                  <a:pt x="289" y="393"/>
                  <a:pt x="291" y="394"/>
                  <a:pt x="293" y="394"/>
                </a:cubicBezTo>
                <a:cubicBezTo>
                  <a:pt x="295" y="394"/>
                  <a:pt x="298" y="393"/>
                  <a:pt x="299" y="391"/>
                </a:cubicBezTo>
                <a:cubicBezTo>
                  <a:pt x="308" y="382"/>
                  <a:pt x="308" y="382"/>
                  <a:pt x="308" y="382"/>
                </a:cubicBezTo>
                <a:cubicBezTo>
                  <a:pt x="412" y="486"/>
                  <a:pt x="412" y="486"/>
                  <a:pt x="412" y="486"/>
                </a:cubicBezTo>
                <a:cubicBezTo>
                  <a:pt x="423" y="497"/>
                  <a:pt x="437" y="502"/>
                  <a:pt x="452" y="502"/>
                </a:cubicBezTo>
                <a:cubicBezTo>
                  <a:pt x="466" y="502"/>
                  <a:pt x="480" y="497"/>
                  <a:pt x="491" y="486"/>
                </a:cubicBezTo>
                <a:cubicBezTo>
                  <a:pt x="502" y="475"/>
                  <a:pt x="508" y="461"/>
                  <a:pt x="508" y="447"/>
                </a:cubicBezTo>
                <a:cubicBezTo>
                  <a:pt x="508" y="432"/>
                  <a:pt x="502" y="418"/>
                  <a:pt x="491" y="407"/>
                </a:cubicBezTo>
                <a:lnTo>
                  <a:pt x="387" y="303"/>
                </a:lnTo>
                <a:close/>
                <a:moveTo>
                  <a:pt x="96" y="111"/>
                </a:moveTo>
                <a:cubicBezTo>
                  <a:pt x="30" y="45"/>
                  <a:pt x="30" y="45"/>
                  <a:pt x="30" y="45"/>
                </a:cubicBezTo>
                <a:cubicBezTo>
                  <a:pt x="51" y="25"/>
                  <a:pt x="51" y="25"/>
                  <a:pt x="51" y="25"/>
                </a:cubicBezTo>
                <a:cubicBezTo>
                  <a:pt x="116" y="91"/>
                  <a:pt x="116" y="91"/>
                  <a:pt x="116" y="91"/>
                </a:cubicBezTo>
                <a:lnTo>
                  <a:pt x="96" y="111"/>
                </a:lnTo>
                <a:close/>
                <a:moveTo>
                  <a:pt x="150" y="409"/>
                </a:moveTo>
                <a:cubicBezTo>
                  <a:pt x="157" y="432"/>
                  <a:pt x="151" y="458"/>
                  <a:pt x="133" y="475"/>
                </a:cubicBezTo>
                <a:cubicBezTo>
                  <a:pt x="121" y="487"/>
                  <a:pt x="104" y="494"/>
                  <a:pt x="87" y="494"/>
                </a:cubicBezTo>
                <a:cubicBezTo>
                  <a:pt x="85" y="494"/>
                  <a:pt x="83" y="494"/>
                  <a:pt x="82" y="494"/>
                </a:cubicBezTo>
                <a:cubicBezTo>
                  <a:pt x="107" y="468"/>
                  <a:pt x="107" y="468"/>
                  <a:pt x="107" y="468"/>
                </a:cubicBezTo>
                <a:cubicBezTo>
                  <a:pt x="109" y="466"/>
                  <a:pt x="110" y="463"/>
                  <a:pt x="109" y="461"/>
                </a:cubicBezTo>
                <a:cubicBezTo>
                  <a:pt x="99" y="421"/>
                  <a:pt x="99" y="421"/>
                  <a:pt x="99" y="421"/>
                </a:cubicBezTo>
                <a:cubicBezTo>
                  <a:pt x="99" y="419"/>
                  <a:pt x="96" y="416"/>
                  <a:pt x="94" y="416"/>
                </a:cubicBezTo>
                <a:cubicBezTo>
                  <a:pt x="54" y="406"/>
                  <a:pt x="54" y="406"/>
                  <a:pt x="54" y="406"/>
                </a:cubicBezTo>
                <a:cubicBezTo>
                  <a:pt x="52" y="405"/>
                  <a:pt x="49" y="406"/>
                  <a:pt x="47" y="408"/>
                </a:cubicBezTo>
                <a:cubicBezTo>
                  <a:pt x="21" y="433"/>
                  <a:pt x="21" y="433"/>
                  <a:pt x="21" y="433"/>
                </a:cubicBezTo>
                <a:cubicBezTo>
                  <a:pt x="20" y="414"/>
                  <a:pt x="27" y="395"/>
                  <a:pt x="40" y="382"/>
                </a:cubicBezTo>
                <a:cubicBezTo>
                  <a:pt x="53" y="369"/>
                  <a:pt x="69" y="362"/>
                  <a:pt x="87" y="362"/>
                </a:cubicBezTo>
                <a:cubicBezTo>
                  <a:pt x="93" y="362"/>
                  <a:pt x="100" y="363"/>
                  <a:pt x="106" y="365"/>
                </a:cubicBezTo>
                <a:cubicBezTo>
                  <a:pt x="109" y="366"/>
                  <a:pt x="112" y="365"/>
                  <a:pt x="114" y="363"/>
                </a:cubicBezTo>
                <a:cubicBezTo>
                  <a:pt x="368" y="109"/>
                  <a:pt x="368" y="109"/>
                  <a:pt x="368" y="109"/>
                </a:cubicBezTo>
                <a:cubicBezTo>
                  <a:pt x="371" y="107"/>
                  <a:pt x="371" y="104"/>
                  <a:pt x="370" y="101"/>
                </a:cubicBezTo>
                <a:cubicBezTo>
                  <a:pt x="363" y="78"/>
                  <a:pt x="370" y="52"/>
                  <a:pt x="387" y="35"/>
                </a:cubicBezTo>
                <a:cubicBezTo>
                  <a:pt x="399" y="23"/>
                  <a:pt x="416" y="16"/>
                  <a:pt x="433" y="16"/>
                </a:cubicBezTo>
                <a:cubicBezTo>
                  <a:pt x="435" y="16"/>
                  <a:pt x="437" y="16"/>
                  <a:pt x="439" y="16"/>
                </a:cubicBezTo>
                <a:cubicBezTo>
                  <a:pt x="413" y="42"/>
                  <a:pt x="413" y="42"/>
                  <a:pt x="413" y="42"/>
                </a:cubicBezTo>
                <a:cubicBezTo>
                  <a:pt x="411" y="44"/>
                  <a:pt x="410" y="47"/>
                  <a:pt x="411" y="49"/>
                </a:cubicBezTo>
                <a:cubicBezTo>
                  <a:pt x="421" y="88"/>
                  <a:pt x="421" y="88"/>
                  <a:pt x="421" y="88"/>
                </a:cubicBezTo>
                <a:cubicBezTo>
                  <a:pt x="421" y="91"/>
                  <a:pt x="424" y="94"/>
                  <a:pt x="427" y="94"/>
                </a:cubicBezTo>
                <a:cubicBezTo>
                  <a:pt x="466" y="104"/>
                  <a:pt x="466" y="104"/>
                  <a:pt x="466" y="104"/>
                </a:cubicBezTo>
                <a:cubicBezTo>
                  <a:pt x="469" y="105"/>
                  <a:pt x="471" y="104"/>
                  <a:pt x="473" y="102"/>
                </a:cubicBezTo>
                <a:cubicBezTo>
                  <a:pt x="499" y="76"/>
                  <a:pt x="499" y="76"/>
                  <a:pt x="499" y="76"/>
                </a:cubicBezTo>
                <a:cubicBezTo>
                  <a:pt x="500" y="95"/>
                  <a:pt x="494" y="114"/>
                  <a:pt x="480" y="128"/>
                </a:cubicBezTo>
                <a:cubicBezTo>
                  <a:pt x="467" y="141"/>
                  <a:pt x="451" y="147"/>
                  <a:pt x="433" y="147"/>
                </a:cubicBezTo>
                <a:cubicBezTo>
                  <a:pt x="427" y="147"/>
                  <a:pt x="420" y="147"/>
                  <a:pt x="414" y="145"/>
                </a:cubicBezTo>
                <a:cubicBezTo>
                  <a:pt x="411" y="144"/>
                  <a:pt x="408" y="145"/>
                  <a:pt x="406" y="147"/>
                </a:cubicBezTo>
                <a:cubicBezTo>
                  <a:pt x="152" y="401"/>
                  <a:pt x="152" y="401"/>
                  <a:pt x="152" y="401"/>
                </a:cubicBezTo>
                <a:cubicBezTo>
                  <a:pt x="150" y="403"/>
                  <a:pt x="149" y="406"/>
                  <a:pt x="150" y="409"/>
                </a:cubicBezTo>
                <a:close/>
                <a:moveTo>
                  <a:pt x="480" y="475"/>
                </a:moveTo>
                <a:cubicBezTo>
                  <a:pt x="464" y="490"/>
                  <a:pt x="439" y="490"/>
                  <a:pt x="424" y="475"/>
                </a:cubicBezTo>
                <a:cubicBezTo>
                  <a:pt x="320" y="371"/>
                  <a:pt x="320" y="371"/>
                  <a:pt x="320" y="371"/>
                </a:cubicBezTo>
                <a:cubicBezTo>
                  <a:pt x="376" y="314"/>
                  <a:pt x="376" y="314"/>
                  <a:pt x="376" y="314"/>
                </a:cubicBezTo>
                <a:cubicBezTo>
                  <a:pt x="480" y="418"/>
                  <a:pt x="480" y="418"/>
                  <a:pt x="480" y="418"/>
                </a:cubicBezTo>
                <a:cubicBezTo>
                  <a:pt x="487" y="426"/>
                  <a:pt x="492" y="436"/>
                  <a:pt x="492" y="447"/>
                </a:cubicBezTo>
                <a:cubicBezTo>
                  <a:pt x="492" y="457"/>
                  <a:pt x="487" y="467"/>
                  <a:pt x="480" y="4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62" name="Oval 79"/>
          <p:cNvSpPr>
            <a:spLocks noChangeArrowheads="1"/>
          </p:cNvSpPr>
          <p:nvPr/>
        </p:nvSpPr>
        <p:spPr bwMode="auto">
          <a:xfrm>
            <a:off x="3535106" y="3111068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86" name="Freeform 153"/>
          <p:cNvSpPr>
            <a:spLocks noEditPoints="1"/>
          </p:cNvSpPr>
          <p:nvPr/>
        </p:nvSpPr>
        <p:spPr bwMode="auto">
          <a:xfrm>
            <a:off x="3703276" y="3287289"/>
            <a:ext cx="486620" cy="400746"/>
          </a:xfrm>
          <a:custGeom>
            <a:avLst/>
            <a:gdLst>
              <a:gd name="T0" fmla="*/ 0 w 629"/>
              <a:gd name="T1" fmla="*/ 517 h 517"/>
              <a:gd name="T2" fmla="*/ 315 w 629"/>
              <a:gd name="T3" fmla="*/ 0 h 517"/>
              <a:gd name="T4" fmla="*/ 629 w 629"/>
              <a:gd name="T5" fmla="*/ 517 h 517"/>
              <a:gd name="T6" fmla="*/ 0 w 629"/>
              <a:gd name="T7" fmla="*/ 517 h 517"/>
              <a:gd name="T8" fmla="*/ 315 w 629"/>
              <a:gd name="T9" fmla="*/ 408 h 517"/>
              <a:gd name="T10" fmla="*/ 290 w 629"/>
              <a:gd name="T11" fmla="*/ 433 h 517"/>
              <a:gd name="T12" fmla="*/ 315 w 629"/>
              <a:gd name="T13" fmla="*/ 457 h 517"/>
              <a:gd name="T14" fmla="*/ 339 w 629"/>
              <a:gd name="T15" fmla="*/ 433 h 517"/>
              <a:gd name="T16" fmla="*/ 315 w 629"/>
              <a:gd name="T17" fmla="*/ 408 h 517"/>
              <a:gd name="T18" fmla="*/ 290 w 629"/>
              <a:gd name="T19" fmla="*/ 367 h 517"/>
              <a:gd name="T20" fmla="*/ 315 w 629"/>
              <a:gd name="T21" fmla="*/ 391 h 517"/>
              <a:gd name="T22" fmla="*/ 339 w 629"/>
              <a:gd name="T23" fmla="*/ 367 h 517"/>
              <a:gd name="T24" fmla="*/ 339 w 629"/>
              <a:gd name="T25" fmla="*/ 200 h 517"/>
              <a:gd name="T26" fmla="*/ 315 w 629"/>
              <a:gd name="T27" fmla="*/ 176 h 517"/>
              <a:gd name="T28" fmla="*/ 290 w 629"/>
              <a:gd name="T29" fmla="*/ 200 h 517"/>
              <a:gd name="T30" fmla="*/ 290 w 629"/>
              <a:gd name="T31" fmla="*/ 367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629" h="517">
                <a:moveTo>
                  <a:pt x="0" y="517"/>
                </a:moveTo>
                <a:cubicBezTo>
                  <a:pt x="315" y="0"/>
                  <a:pt x="315" y="0"/>
                  <a:pt x="315" y="0"/>
                </a:cubicBezTo>
                <a:cubicBezTo>
                  <a:pt x="629" y="517"/>
                  <a:pt x="629" y="517"/>
                  <a:pt x="629" y="517"/>
                </a:cubicBezTo>
                <a:lnTo>
                  <a:pt x="0" y="517"/>
                </a:lnTo>
                <a:close/>
                <a:moveTo>
                  <a:pt x="315" y="408"/>
                </a:moveTo>
                <a:cubicBezTo>
                  <a:pt x="301" y="408"/>
                  <a:pt x="290" y="419"/>
                  <a:pt x="290" y="433"/>
                </a:cubicBezTo>
                <a:cubicBezTo>
                  <a:pt x="290" y="446"/>
                  <a:pt x="301" y="457"/>
                  <a:pt x="315" y="457"/>
                </a:cubicBezTo>
                <a:cubicBezTo>
                  <a:pt x="328" y="457"/>
                  <a:pt x="339" y="446"/>
                  <a:pt x="339" y="433"/>
                </a:cubicBezTo>
                <a:cubicBezTo>
                  <a:pt x="339" y="419"/>
                  <a:pt x="328" y="408"/>
                  <a:pt x="315" y="408"/>
                </a:cubicBezTo>
                <a:close/>
                <a:moveTo>
                  <a:pt x="290" y="367"/>
                </a:moveTo>
                <a:cubicBezTo>
                  <a:pt x="290" y="380"/>
                  <a:pt x="301" y="391"/>
                  <a:pt x="315" y="391"/>
                </a:cubicBezTo>
                <a:cubicBezTo>
                  <a:pt x="328" y="391"/>
                  <a:pt x="339" y="380"/>
                  <a:pt x="339" y="367"/>
                </a:cubicBezTo>
                <a:cubicBezTo>
                  <a:pt x="339" y="200"/>
                  <a:pt x="339" y="200"/>
                  <a:pt x="339" y="200"/>
                </a:cubicBezTo>
                <a:cubicBezTo>
                  <a:pt x="339" y="187"/>
                  <a:pt x="328" y="176"/>
                  <a:pt x="315" y="176"/>
                </a:cubicBezTo>
                <a:cubicBezTo>
                  <a:pt x="301" y="176"/>
                  <a:pt x="290" y="187"/>
                  <a:pt x="290" y="200"/>
                </a:cubicBezTo>
                <a:lnTo>
                  <a:pt x="290" y="367"/>
                </a:lnTo>
                <a:close/>
              </a:path>
            </a:pathLst>
          </a:custGeom>
          <a:noFill/>
          <a:ln w="19050" cap="rnd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8" name="Title 32">
            <a:extLst>
              <a:ext uri="{FF2B5EF4-FFF2-40B4-BE49-F238E27FC236}">
                <a16:creationId xmlns:a16="http://schemas.microsoft.com/office/drawing/2014/main" id="{B610FB96-D0F0-48F6-819F-63A9F8AF93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9549"/>
            <a:ext cx="8686800" cy="682625"/>
          </a:xfrm>
        </p:spPr>
        <p:txBody>
          <a:bodyPr/>
          <a:lstStyle/>
          <a:p>
            <a:r>
              <a:rPr lang="en-US" dirty="0"/>
              <a:t>Miscellaneous icons</a:t>
            </a:r>
          </a:p>
        </p:txBody>
      </p:sp>
      <p:sp>
        <p:nvSpPr>
          <p:cNvPr id="39" name="Oval 26">
            <a:extLst>
              <a:ext uri="{FF2B5EF4-FFF2-40B4-BE49-F238E27FC236}">
                <a16:creationId xmlns:a16="http://schemas.microsoft.com/office/drawing/2014/main" id="{249297EC-6FA0-462A-BCA2-7F33A38134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6056" y="925630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0" name="Freeform 76">
            <a:extLst>
              <a:ext uri="{FF2B5EF4-FFF2-40B4-BE49-F238E27FC236}">
                <a16:creationId xmlns:a16="http://schemas.microsoft.com/office/drawing/2014/main" id="{FE43C8F3-19BB-48C8-A436-56230FDD2F06}"/>
              </a:ext>
            </a:extLst>
          </p:cNvPr>
          <p:cNvSpPr>
            <a:spLocks noEditPoints="1"/>
          </p:cNvSpPr>
          <p:nvPr/>
        </p:nvSpPr>
        <p:spPr bwMode="auto">
          <a:xfrm>
            <a:off x="2421679" y="1123798"/>
            <a:ext cx="370851" cy="490661"/>
          </a:xfrm>
          <a:custGeom>
            <a:avLst/>
            <a:gdLst>
              <a:gd name="T0" fmla="*/ 328 w 479"/>
              <a:gd name="T1" fmla="*/ 438 h 633"/>
              <a:gd name="T2" fmla="*/ 152 w 479"/>
              <a:gd name="T3" fmla="*/ 438 h 633"/>
              <a:gd name="T4" fmla="*/ 129 w 479"/>
              <a:gd name="T5" fmla="*/ 422 h 633"/>
              <a:gd name="T6" fmla="*/ 75 w 479"/>
              <a:gd name="T7" fmla="*/ 254 h 633"/>
              <a:gd name="T8" fmla="*/ 84 w 479"/>
              <a:gd name="T9" fmla="*/ 228 h 633"/>
              <a:gd name="T10" fmla="*/ 226 w 479"/>
              <a:gd name="T11" fmla="*/ 125 h 633"/>
              <a:gd name="T12" fmla="*/ 254 w 479"/>
              <a:gd name="T13" fmla="*/ 125 h 633"/>
              <a:gd name="T14" fmla="*/ 396 w 479"/>
              <a:gd name="T15" fmla="*/ 228 h 633"/>
              <a:gd name="T16" fmla="*/ 405 w 479"/>
              <a:gd name="T17" fmla="*/ 254 h 633"/>
              <a:gd name="T18" fmla="*/ 350 w 479"/>
              <a:gd name="T19" fmla="*/ 422 h 633"/>
              <a:gd name="T20" fmla="*/ 335 w 479"/>
              <a:gd name="T21" fmla="*/ 440 h 633"/>
              <a:gd name="T22" fmla="*/ 243 w 479"/>
              <a:gd name="T23" fmla="*/ 378 h 633"/>
              <a:gd name="T24" fmla="*/ 336 w 479"/>
              <a:gd name="T25" fmla="*/ 425 h 633"/>
              <a:gd name="T26" fmla="*/ 319 w 479"/>
              <a:gd name="T27" fmla="*/ 323 h 633"/>
              <a:gd name="T28" fmla="*/ 395 w 479"/>
              <a:gd name="T29" fmla="*/ 244 h 633"/>
              <a:gd name="T30" fmla="*/ 394 w 479"/>
              <a:gd name="T31" fmla="*/ 242 h 633"/>
              <a:gd name="T32" fmla="*/ 287 w 479"/>
              <a:gd name="T33" fmla="*/ 223 h 633"/>
              <a:gd name="T34" fmla="*/ 238 w 479"/>
              <a:gd name="T35" fmla="*/ 131 h 633"/>
              <a:gd name="T36" fmla="*/ 188 w 479"/>
              <a:gd name="T37" fmla="*/ 227 h 633"/>
              <a:gd name="T38" fmla="*/ 84 w 479"/>
              <a:gd name="T39" fmla="*/ 243 h 633"/>
              <a:gd name="T40" fmla="*/ 159 w 479"/>
              <a:gd name="T41" fmla="*/ 316 h 633"/>
              <a:gd name="T42" fmla="*/ 143 w 479"/>
              <a:gd name="T43" fmla="*/ 424 h 633"/>
              <a:gd name="T44" fmla="*/ 145 w 479"/>
              <a:gd name="T45" fmla="*/ 426 h 633"/>
              <a:gd name="T46" fmla="*/ 240 w 479"/>
              <a:gd name="T47" fmla="*/ 377 h 633"/>
              <a:gd name="T48" fmla="*/ 238 w 479"/>
              <a:gd name="T49" fmla="*/ 633 h 633"/>
              <a:gd name="T50" fmla="*/ 0 w 479"/>
              <a:gd name="T51" fmla="*/ 435 h 633"/>
              <a:gd name="T52" fmla="*/ 5 w 479"/>
              <a:gd name="T53" fmla="*/ 39 h 633"/>
              <a:gd name="T54" fmla="*/ 474 w 479"/>
              <a:gd name="T55" fmla="*/ 39 h 633"/>
              <a:gd name="T56" fmla="*/ 479 w 479"/>
              <a:gd name="T57" fmla="*/ 435 h 633"/>
              <a:gd name="T58" fmla="*/ 241 w 479"/>
              <a:gd name="T59" fmla="*/ 633 h 633"/>
              <a:gd name="T60" fmla="*/ 14 w 479"/>
              <a:gd name="T61" fmla="*/ 51 h 633"/>
              <a:gd name="T62" fmla="*/ 111 w 479"/>
              <a:gd name="T63" fmla="*/ 542 h 633"/>
              <a:gd name="T64" fmla="*/ 465 w 479"/>
              <a:gd name="T65" fmla="*/ 435 h 633"/>
              <a:gd name="T66" fmla="*/ 240 w 479"/>
              <a:gd name="T67" fmla="*/ 14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79" h="633">
                <a:moveTo>
                  <a:pt x="335" y="440"/>
                </a:moveTo>
                <a:cubicBezTo>
                  <a:pt x="332" y="440"/>
                  <a:pt x="330" y="439"/>
                  <a:pt x="328" y="438"/>
                </a:cubicBezTo>
                <a:cubicBezTo>
                  <a:pt x="240" y="392"/>
                  <a:pt x="240" y="392"/>
                  <a:pt x="240" y="392"/>
                </a:cubicBezTo>
                <a:cubicBezTo>
                  <a:pt x="152" y="438"/>
                  <a:pt x="152" y="438"/>
                  <a:pt x="152" y="438"/>
                </a:cubicBezTo>
                <a:cubicBezTo>
                  <a:pt x="147" y="441"/>
                  <a:pt x="140" y="440"/>
                  <a:pt x="136" y="437"/>
                </a:cubicBezTo>
                <a:cubicBezTo>
                  <a:pt x="131" y="433"/>
                  <a:pt x="128" y="428"/>
                  <a:pt x="129" y="422"/>
                </a:cubicBezTo>
                <a:cubicBezTo>
                  <a:pt x="146" y="324"/>
                  <a:pt x="146" y="324"/>
                  <a:pt x="146" y="324"/>
                </a:cubicBezTo>
                <a:cubicBezTo>
                  <a:pt x="75" y="254"/>
                  <a:pt x="75" y="254"/>
                  <a:pt x="75" y="254"/>
                </a:cubicBezTo>
                <a:cubicBezTo>
                  <a:pt x="71" y="250"/>
                  <a:pt x="69" y="244"/>
                  <a:pt x="71" y="239"/>
                </a:cubicBezTo>
                <a:cubicBezTo>
                  <a:pt x="73" y="233"/>
                  <a:pt x="78" y="229"/>
                  <a:pt x="84" y="228"/>
                </a:cubicBezTo>
                <a:cubicBezTo>
                  <a:pt x="182" y="214"/>
                  <a:pt x="182" y="214"/>
                  <a:pt x="182" y="214"/>
                </a:cubicBezTo>
                <a:cubicBezTo>
                  <a:pt x="226" y="125"/>
                  <a:pt x="226" y="125"/>
                  <a:pt x="226" y="125"/>
                </a:cubicBezTo>
                <a:cubicBezTo>
                  <a:pt x="228" y="119"/>
                  <a:pt x="234" y="116"/>
                  <a:pt x="240" y="116"/>
                </a:cubicBezTo>
                <a:cubicBezTo>
                  <a:pt x="246" y="116"/>
                  <a:pt x="251" y="119"/>
                  <a:pt x="254" y="125"/>
                </a:cubicBezTo>
                <a:cubicBezTo>
                  <a:pt x="298" y="214"/>
                  <a:pt x="298" y="214"/>
                  <a:pt x="298" y="214"/>
                </a:cubicBezTo>
                <a:cubicBezTo>
                  <a:pt x="396" y="228"/>
                  <a:pt x="396" y="228"/>
                  <a:pt x="396" y="228"/>
                </a:cubicBezTo>
                <a:cubicBezTo>
                  <a:pt x="402" y="229"/>
                  <a:pt x="407" y="233"/>
                  <a:pt x="408" y="239"/>
                </a:cubicBezTo>
                <a:cubicBezTo>
                  <a:pt x="410" y="244"/>
                  <a:pt x="409" y="250"/>
                  <a:pt x="405" y="254"/>
                </a:cubicBezTo>
                <a:cubicBezTo>
                  <a:pt x="333" y="324"/>
                  <a:pt x="333" y="324"/>
                  <a:pt x="333" y="324"/>
                </a:cubicBezTo>
                <a:cubicBezTo>
                  <a:pt x="350" y="422"/>
                  <a:pt x="350" y="422"/>
                  <a:pt x="350" y="422"/>
                </a:cubicBezTo>
                <a:cubicBezTo>
                  <a:pt x="351" y="427"/>
                  <a:pt x="349" y="433"/>
                  <a:pt x="344" y="437"/>
                </a:cubicBezTo>
                <a:cubicBezTo>
                  <a:pt x="341" y="439"/>
                  <a:pt x="338" y="440"/>
                  <a:pt x="335" y="440"/>
                </a:cubicBezTo>
                <a:close/>
                <a:moveTo>
                  <a:pt x="240" y="377"/>
                </a:moveTo>
                <a:cubicBezTo>
                  <a:pt x="241" y="377"/>
                  <a:pt x="242" y="377"/>
                  <a:pt x="243" y="378"/>
                </a:cubicBezTo>
                <a:cubicBezTo>
                  <a:pt x="334" y="426"/>
                  <a:pt x="334" y="426"/>
                  <a:pt x="334" y="426"/>
                </a:cubicBezTo>
                <a:cubicBezTo>
                  <a:pt x="335" y="426"/>
                  <a:pt x="335" y="426"/>
                  <a:pt x="336" y="425"/>
                </a:cubicBezTo>
                <a:cubicBezTo>
                  <a:pt x="336" y="425"/>
                  <a:pt x="336" y="425"/>
                  <a:pt x="336" y="424"/>
                </a:cubicBezTo>
                <a:cubicBezTo>
                  <a:pt x="319" y="323"/>
                  <a:pt x="319" y="323"/>
                  <a:pt x="319" y="323"/>
                </a:cubicBezTo>
                <a:cubicBezTo>
                  <a:pt x="319" y="320"/>
                  <a:pt x="319" y="318"/>
                  <a:pt x="321" y="316"/>
                </a:cubicBezTo>
                <a:cubicBezTo>
                  <a:pt x="395" y="244"/>
                  <a:pt x="395" y="244"/>
                  <a:pt x="395" y="244"/>
                </a:cubicBezTo>
                <a:cubicBezTo>
                  <a:pt x="395" y="244"/>
                  <a:pt x="395" y="243"/>
                  <a:pt x="395" y="243"/>
                </a:cubicBezTo>
                <a:cubicBezTo>
                  <a:pt x="395" y="242"/>
                  <a:pt x="394" y="242"/>
                  <a:pt x="394" y="242"/>
                </a:cubicBezTo>
                <a:cubicBezTo>
                  <a:pt x="292" y="227"/>
                  <a:pt x="292" y="227"/>
                  <a:pt x="292" y="227"/>
                </a:cubicBezTo>
                <a:cubicBezTo>
                  <a:pt x="290" y="227"/>
                  <a:pt x="288" y="225"/>
                  <a:pt x="287" y="223"/>
                </a:cubicBezTo>
                <a:cubicBezTo>
                  <a:pt x="241" y="131"/>
                  <a:pt x="241" y="131"/>
                  <a:pt x="241" y="131"/>
                </a:cubicBezTo>
                <a:cubicBezTo>
                  <a:pt x="241" y="130"/>
                  <a:pt x="239" y="130"/>
                  <a:pt x="238" y="131"/>
                </a:cubicBezTo>
                <a:cubicBezTo>
                  <a:pt x="193" y="223"/>
                  <a:pt x="193" y="223"/>
                  <a:pt x="193" y="223"/>
                </a:cubicBezTo>
                <a:cubicBezTo>
                  <a:pt x="192" y="225"/>
                  <a:pt x="190" y="227"/>
                  <a:pt x="188" y="227"/>
                </a:cubicBezTo>
                <a:cubicBezTo>
                  <a:pt x="86" y="242"/>
                  <a:pt x="86" y="242"/>
                  <a:pt x="86" y="242"/>
                </a:cubicBezTo>
                <a:cubicBezTo>
                  <a:pt x="85" y="242"/>
                  <a:pt x="85" y="242"/>
                  <a:pt x="84" y="243"/>
                </a:cubicBezTo>
                <a:cubicBezTo>
                  <a:pt x="84" y="243"/>
                  <a:pt x="84" y="244"/>
                  <a:pt x="85" y="244"/>
                </a:cubicBezTo>
                <a:cubicBezTo>
                  <a:pt x="159" y="316"/>
                  <a:pt x="159" y="316"/>
                  <a:pt x="159" y="316"/>
                </a:cubicBezTo>
                <a:cubicBezTo>
                  <a:pt x="160" y="318"/>
                  <a:pt x="161" y="320"/>
                  <a:pt x="161" y="323"/>
                </a:cubicBezTo>
                <a:cubicBezTo>
                  <a:pt x="143" y="424"/>
                  <a:pt x="143" y="424"/>
                  <a:pt x="143" y="424"/>
                </a:cubicBezTo>
                <a:cubicBezTo>
                  <a:pt x="143" y="425"/>
                  <a:pt x="143" y="425"/>
                  <a:pt x="144" y="425"/>
                </a:cubicBezTo>
                <a:cubicBezTo>
                  <a:pt x="144" y="426"/>
                  <a:pt x="145" y="426"/>
                  <a:pt x="145" y="426"/>
                </a:cubicBezTo>
                <a:cubicBezTo>
                  <a:pt x="236" y="378"/>
                  <a:pt x="236" y="378"/>
                  <a:pt x="236" y="378"/>
                </a:cubicBezTo>
                <a:cubicBezTo>
                  <a:pt x="238" y="377"/>
                  <a:pt x="239" y="377"/>
                  <a:pt x="240" y="377"/>
                </a:cubicBezTo>
                <a:close/>
                <a:moveTo>
                  <a:pt x="240" y="633"/>
                </a:moveTo>
                <a:cubicBezTo>
                  <a:pt x="239" y="633"/>
                  <a:pt x="239" y="633"/>
                  <a:pt x="238" y="633"/>
                </a:cubicBezTo>
                <a:cubicBezTo>
                  <a:pt x="215" y="628"/>
                  <a:pt x="155" y="593"/>
                  <a:pt x="103" y="553"/>
                </a:cubicBezTo>
                <a:cubicBezTo>
                  <a:pt x="14" y="486"/>
                  <a:pt x="0" y="450"/>
                  <a:pt x="0" y="435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3"/>
                  <a:pt x="2" y="40"/>
                  <a:pt x="5" y="39"/>
                </a:cubicBezTo>
                <a:cubicBezTo>
                  <a:pt x="92" y="13"/>
                  <a:pt x="168" y="0"/>
                  <a:pt x="240" y="0"/>
                </a:cubicBezTo>
                <a:cubicBezTo>
                  <a:pt x="327" y="0"/>
                  <a:pt x="415" y="21"/>
                  <a:pt x="474" y="39"/>
                </a:cubicBezTo>
                <a:cubicBezTo>
                  <a:pt x="477" y="40"/>
                  <a:pt x="479" y="43"/>
                  <a:pt x="479" y="46"/>
                </a:cubicBezTo>
                <a:cubicBezTo>
                  <a:pt x="479" y="435"/>
                  <a:pt x="479" y="435"/>
                  <a:pt x="479" y="435"/>
                </a:cubicBezTo>
                <a:cubicBezTo>
                  <a:pt x="479" y="477"/>
                  <a:pt x="422" y="526"/>
                  <a:pt x="374" y="560"/>
                </a:cubicBezTo>
                <a:cubicBezTo>
                  <a:pt x="321" y="598"/>
                  <a:pt x="261" y="629"/>
                  <a:pt x="241" y="633"/>
                </a:cubicBezTo>
                <a:cubicBezTo>
                  <a:pt x="241" y="633"/>
                  <a:pt x="240" y="633"/>
                  <a:pt x="240" y="633"/>
                </a:cubicBezTo>
                <a:close/>
                <a:moveTo>
                  <a:pt x="14" y="51"/>
                </a:moveTo>
                <a:cubicBezTo>
                  <a:pt x="14" y="435"/>
                  <a:pt x="14" y="435"/>
                  <a:pt x="14" y="435"/>
                </a:cubicBezTo>
                <a:cubicBezTo>
                  <a:pt x="14" y="456"/>
                  <a:pt x="51" y="496"/>
                  <a:pt x="111" y="542"/>
                </a:cubicBezTo>
                <a:cubicBezTo>
                  <a:pt x="166" y="583"/>
                  <a:pt x="220" y="614"/>
                  <a:pt x="240" y="619"/>
                </a:cubicBezTo>
                <a:cubicBezTo>
                  <a:pt x="281" y="609"/>
                  <a:pt x="465" y="499"/>
                  <a:pt x="465" y="435"/>
                </a:cubicBezTo>
                <a:cubicBezTo>
                  <a:pt x="465" y="51"/>
                  <a:pt x="465" y="51"/>
                  <a:pt x="465" y="51"/>
                </a:cubicBezTo>
                <a:cubicBezTo>
                  <a:pt x="407" y="34"/>
                  <a:pt x="323" y="14"/>
                  <a:pt x="240" y="14"/>
                </a:cubicBezTo>
                <a:cubicBezTo>
                  <a:pt x="171" y="14"/>
                  <a:pt x="97" y="26"/>
                  <a:pt x="14" y="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1" name="Oval 27">
            <a:extLst>
              <a:ext uri="{FF2B5EF4-FFF2-40B4-BE49-F238E27FC236}">
                <a16:creationId xmlns:a16="http://schemas.microsoft.com/office/drawing/2014/main" id="{5F0D0D52-8CC2-42C4-876A-F40AF2A5F6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312" y="92563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2" name="Freeform 105">
            <a:extLst>
              <a:ext uri="{FF2B5EF4-FFF2-40B4-BE49-F238E27FC236}">
                <a16:creationId xmlns:a16="http://schemas.microsoft.com/office/drawing/2014/main" id="{2C29E416-CB63-485A-A9E7-80C0B08F4DD8}"/>
              </a:ext>
            </a:extLst>
          </p:cNvPr>
          <p:cNvSpPr>
            <a:spLocks noEditPoints="1"/>
          </p:cNvSpPr>
          <p:nvPr/>
        </p:nvSpPr>
        <p:spPr bwMode="auto">
          <a:xfrm>
            <a:off x="1130035" y="1123800"/>
            <a:ext cx="370376" cy="490661"/>
          </a:xfrm>
          <a:custGeom>
            <a:avLst/>
            <a:gdLst>
              <a:gd name="T0" fmla="*/ 473 w 478"/>
              <a:gd name="T1" fmla="*/ 39 h 633"/>
              <a:gd name="T2" fmla="*/ 239 w 478"/>
              <a:gd name="T3" fmla="*/ 0 h 633"/>
              <a:gd name="T4" fmla="*/ 239 w 478"/>
              <a:gd name="T5" fmla="*/ 0 h 633"/>
              <a:gd name="T6" fmla="*/ 239 w 478"/>
              <a:gd name="T7" fmla="*/ 0 h 633"/>
              <a:gd name="T8" fmla="*/ 239 w 478"/>
              <a:gd name="T9" fmla="*/ 0 h 633"/>
              <a:gd name="T10" fmla="*/ 193 w 478"/>
              <a:gd name="T11" fmla="*/ 2 h 633"/>
              <a:gd name="T12" fmla="*/ 192 w 478"/>
              <a:gd name="T13" fmla="*/ 2 h 633"/>
              <a:gd name="T14" fmla="*/ 192 w 478"/>
              <a:gd name="T15" fmla="*/ 2 h 633"/>
              <a:gd name="T16" fmla="*/ 191 w 478"/>
              <a:gd name="T17" fmla="*/ 2 h 633"/>
              <a:gd name="T18" fmla="*/ 145 w 478"/>
              <a:gd name="T19" fmla="*/ 7 h 633"/>
              <a:gd name="T20" fmla="*/ 144 w 478"/>
              <a:gd name="T21" fmla="*/ 7 h 633"/>
              <a:gd name="T22" fmla="*/ 98 w 478"/>
              <a:gd name="T23" fmla="*/ 15 h 633"/>
              <a:gd name="T24" fmla="*/ 98 w 478"/>
              <a:gd name="T25" fmla="*/ 15 h 633"/>
              <a:gd name="T26" fmla="*/ 52 w 478"/>
              <a:gd name="T27" fmla="*/ 26 h 633"/>
              <a:gd name="T28" fmla="*/ 51 w 478"/>
              <a:gd name="T29" fmla="*/ 26 h 633"/>
              <a:gd name="T30" fmla="*/ 4 w 478"/>
              <a:gd name="T31" fmla="*/ 39 h 633"/>
              <a:gd name="T32" fmla="*/ 0 w 478"/>
              <a:gd name="T33" fmla="*/ 46 h 633"/>
              <a:gd name="T34" fmla="*/ 0 w 478"/>
              <a:gd name="T35" fmla="*/ 435 h 633"/>
              <a:gd name="T36" fmla="*/ 102 w 478"/>
              <a:gd name="T37" fmla="*/ 553 h 633"/>
              <a:gd name="T38" fmla="*/ 142 w 478"/>
              <a:gd name="T39" fmla="*/ 582 h 633"/>
              <a:gd name="T40" fmla="*/ 142 w 478"/>
              <a:gd name="T41" fmla="*/ 582 h 633"/>
              <a:gd name="T42" fmla="*/ 238 w 478"/>
              <a:gd name="T43" fmla="*/ 633 h 633"/>
              <a:gd name="T44" fmla="*/ 238 w 478"/>
              <a:gd name="T45" fmla="*/ 633 h 633"/>
              <a:gd name="T46" fmla="*/ 239 w 478"/>
              <a:gd name="T47" fmla="*/ 633 h 633"/>
              <a:gd name="T48" fmla="*/ 239 w 478"/>
              <a:gd name="T49" fmla="*/ 633 h 633"/>
              <a:gd name="T50" fmla="*/ 239 w 478"/>
              <a:gd name="T51" fmla="*/ 633 h 633"/>
              <a:gd name="T52" fmla="*/ 239 w 478"/>
              <a:gd name="T53" fmla="*/ 633 h 633"/>
              <a:gd name="T54" fmla="*/ 241 w 478"/>
              <a:gd name="T55" fmla="*/ 633 h 633"/>
              <a:gd name="T56" fmla="*/ 373 w 478"/>
              <a:gd name="T57" fmla="*/ 560 h 633"/>
              <a:gd name="T58" fmla="*/ 478 w 478"/>
              <a:gd name="T59" fmla="*/ 435 h 633"/>
              <a:gd name="T60" fmla="*/ 478 w 478"/>
              <a:gd name="T61" fmla="*/ 46 h 633"/>
              <a:gd name="T62" fmla="*/ 473 w 478"/>
              <a:gd name="T63" fmla="*/ 39 h 633"/>
              <a:gd name="T64" fmla="*/ 199 w 478"/>
              <a:gd name="T65" fmla="*/ 15 h 633"/>
              <a:gd name="T66" fmla="*/ 232 w 478"/>
              <a:gd name="T67" fmla="*/ 14 h 633"/>
              <a:gd name="T68" fmla="*/ 232 w 478"/>
              <a:gd name="T69" fmla="*/ 617 h 633"/>
              <a:gd name="T70" fmla="*/ 200 w 478"/>
              <a:gd name="T71" fmla="*/ 601 h 633"/>
              <a:gd name="T72" fmla="*/ 199 w 478"/>
              <a:gd name="T73" fmla="*/ 15 h 633"/>
              <a:gd name="T74" fmla="*/ 186 w 478"/>
              <a:gd name="T75" fmla="*/ 593 h 633"/>
              <a:gd name="T76" fmla="*/ 153 w 478"/>
              <a:gd name="T77" fmla="*/ 572 h 633"/>
              <a:gd name="T78" fmla="*/ 153 w 478"/>
              <a:gd name="T79" fmla="*/ 20 h 633"/>
              <a:gd name="T80" fmla="*/ 185 w 478"/>
              <a:gd name="T81" fmla="*/ 17 h 633"/>
              <a:gd name="T82" fmla="*/ 186 w 478"/>
              <a:gd name="T83" fmla="*/ 593 h 633"/>
              <a:gd name="T84" fmla="*/ 60 w 478"/>
              <a:gd name="T85" fmla="*/ 38 h 633"/>
              <a:gd name="T86" fmla="*/ 92 w 478"/>
              <a:gd name="T87" fmla="*/ 31 h 633"/>
              <a:gd name="T88" fmla="*/ 93 w 478"/>
              <a:gd name="T89" fmla="*/ 528 h 633"/>
              <a:gd name="T90" fmla="*/ 60 w 478"/>
              <a:gd name="T91" fmla="*/ 500 h 633"/>
              <a:gd name="T92" fmla="*/ 60 w 478"/>
              <a:gd name="T93" fmla="*/ 38 h 633"/>
              <a:gd name="T94" fmla="*/ 14 w 478"/>
              <a:gd name="T95" fmla="*/ 435 h 633"/>
              <a:gd name="T96" fmla="*/ 14 w 478"/>
              <a:gd name="T97" fmla="*/ 51 h 633"/>
              <a:gd name="T98" fmla="*/ 46 w 478"/>
              <a:gd name="T99" fmla="*/ 42 h 633"/>
              <a:gd name="T100" fmla="*/ 46 w 478"/>
              <a:gd name="T101" fmla="*/ 487 h 633"/>
              <a:gd name="T102" fmla="*/ 14 w 478"/>
              <a:gd name="T103" fmla="*/ 435 h 633"/>
              <a:gd name="T104" fmla="*/ 107 w 478"/>
              <a:gd name="T105" fmla="*/ 539 h 633"/>
              <a:gd name="T106" fmla="*/ 106 w 478"/>
              <a:gd name="T107" fmla="*/ 28 h 633"/>
              <a:gd name="T108" fmla="*/ 139 w 478"/>
              <a:gd name="T109" fmla="*/ 22 h 633"/>
              <a:gd name="T110" fmla="*/ 139 w 478"/>
              <a:gd name="T111" fmla="*/ 563 h 633"/>
              <a:gd name="T112" fmla="*/ 111 w 478"/>
              <a:gd name="T113" fmla="*/ 542 h 633"/>
              <a:gd name="T114" fmla="*/ 107 w 478"/>
              <a:gd name="T115" fmla="*/ 539 h 633"/>
              <a:gd name="T116" fmla="*/ 464 w 478"/>
              <a:gd name="T117" fmla="*/ 435 h 633"/>
              <a:gd name="T118" fmla="*/ 246 w 478"/>
              <a:gd name="T119" fmla="*/ 617 h 633"/>
              <a:gd name="T120" fmla="*/ 246 w 478"/>
              <a:gd name="T121" fmla="*/ 14 h 633"/>
              <a:gd name="T122" fmla="*/ 464 w 478"/>
              <a:gd name="T123" fmla="*/ 51 h 633"/>
              <a:gd name="T124" fmla="*/ 464 w 478"/>
              <a:gd name="T125" fmla="*/ 435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78" h="633">
                <a:moveTo>
                  <a:pt x="473" y="39"/>
                </a:moveTo>
                <a:cubicBezTo>
                  <a:pt x="414" y="21"/>
                  <a:pt x="326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ubicBezTo>
                  <a:pt x="224" y="0"/>
                  <a:pt x="208" y="1"/>
                  <a:pt x="193" y="2"/>
                </a:cubicBezTo>
                <a:cubicBezTo>
                  <a:pt x="193" y="2"/>
                  <a:pt x="192" y="2"/>
                  <a:pt x="192" y="2"/>
                </a:cubicBezTo>
                <a:cubicBezTo>
                  <a:pt x="192" y="2"/>
                  <a:pt x="192" y="2"/>
                  <a:pt x="192" y="2"/>
                </a:cubicBezTo>
                <a:cubicBezTo>
                  <a:pt x="192" y="2"/>
                  <a:pt x="192" y="2"/>
                  <a:pt x="191" y="2"/>
                </a:cubicBezTo>
                <a:cubicBezTo>
                  <a:pt x="176" y="3"/>
                  <a:pt x="160" y="5"/>
                  <a:pt x="145" y="7"/>
                </a:cubicBezTo>
                <a:cubicBezTo>
                  <a:pt x="145" y="7"/>
                  <a:pt x="145" y="7"/>
                  <a:pt x="144" y="7"/>
                </a:cubicBezTo>
                <a:cubicBezTo>
                  <a:pt x="129" y="9"/>
                  <a:pt x="114" y="12"/>
                  <a:pt x="98" y="15"/>
                </a:cubicBezTo>
                <a:cubicBezTo>
                  <a:pt x="98" y="15"/>
                  <a:pt x="98" y="15"/>
                  <a:pt x="98" y="15"/>
                </a:cubicBezTo>
                <a:cubicBezTo>
                  <a:pt x="83" y="18"/>
                  <a:pt x="67" y="22"/>
                  <a:pt x="52" y="26"/>
                </a:cubicBezTo>
                <a:cubicBezTo>
                  <a:pt x="51" y="26"/>
                  <a:pt x="51" y="26"/>
                  <a:pt x="51" y="26"/>
                </a:cubicBezTo>
                <a:cubicBezTo>
                  <a:pt x="36" y="30"/>
                  <a:pt x="20" y="34"/>
                  <a:pt x="4" y="39"/>
                </a:cubicBezTo>
                <a:cubicBezTo>
                  <a:pt x="2" y="40"/>
                  <a:pt x="0" y="43"/>
                  <a:pt x="0" y="46"/>
                </a:cubicBezTo>
                <a:cubicBezTo>
                  <a:pt x="0" y="435"/>
                  <a:pt x="0" y="435"/>
                  <a:pt x="0" y="435"/>
                </a:cubicBezTo>
                <a:cubicBezTo>
                  <a:pt x="0" y="450"/>
                  <a:pt x="13" y="486"/>
                  <a:pt x="102" y="553"/>
                </a:cubicBezTo>
                <a:cubicBezTo>
                  <a:pt x="115" y="563"/>
                  <a:pt x="129" y="573"/>
                  <a:pt x="142" y="582"/>
                </a:cubicBezTo>
                <a:cubicBezTo>
                  <a:pt x="142" y="582"/>
                  <a:pt x="142" y="582"/>
                  <a:pt x="142" y="582"/>
                </a:cubicBezTo>
                <a:cubicBezTo>
                  <a:pt x="182" y="609"/>
                  <a:pt x="220" y="629"/>
                  <a:pt x="238" y="633"/>
                </a:cubicBezTo>
                <a:cubicBezTo>
                  <a:pt x="238" y="633"/>
                  <a:pt x="238" y="633"/>
                  <a:pt x="238" y="633"/>
                </a:cubicBezTo>
                <a:cubicBezTo>
                  <a:pt x="238" y="633"/>
                  <a:pt x="239" y="633"/>
                  <a:pt x="239" y="633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40" y="633"/>
                  <a:pt x="240" y="633"/>
                  <a:pt x="241" y="633"/>
                </a:cubicBezTo>
                <a:cubicBezTo>
                  <a:pt x="261" y="629"/>
                  <a:pt x="320" y="598"/>
                  <a:pt x="373" y="560"/>
                </a:cubicBezTo>
                <a:cubicBezTo>
                  <a:pt x="421" y="526"/>
                  <a:pt x="478" y="477"/>
                  <a:pt x="478" y="435"/>
                </a:cubicBezTo>
                <a:cubicBezTo>
                  <a:pt x="478" y="46"/>
                  <a:pt x="478" y="46"/>
                  <a:pt x="478" y="46"/>
                </a:cubicBezTo>
                <a:cubicBezTo>
                  <a:pt x="478" y="43"/>
                  <a:pt x="476" y="40"/>
                  <a:pt x="473" y="39"/>
                </a:cubicBezTo>
                <a:close/>
                <a:moveTo>
                  <a:pt x="199" y="15"/>
                </a:moveTo>
                <a:cubicBezTo>
                  <a:pt x="210" y="15"/>
                  <a:pt x="221" y="14"/>
                  <a:pt x="232" y="14"/>
                </a:cubicBezTo>
                <a:cubicBezTo>
                  <a:pt x="232" y="617"/>
                  <a:pt x="232" y="617"/>
                  <a:pt x="232" y="617"/>
                </a:cubicBezTo>
                <a:cubicBezTo>
                  <a:pt x="224" y="614"/>
                  <a:pt x="213" y="608"/>
                  <a:pt x="200" y="601"/>
                </a:cubicBezTo>
                <a:lnTo>
                  <a:pt x="199" y="15"/>
                </a:lnTo>
                <a:close/>
                <a:moveTo>
                  <a:pt x="186" y="593"/>
                </a:moveTo>
                <a:cubicBezTo>
                  <a:pt x="175" y="587"/>
                  <a:pt x="165" y="580"/>
                  <a:pt x="153" y="572"/>
                </a:cubicBezTo>
                <a:cubicBezTo>
                  <a:pt x="153" y="20"/>
                  <a:pt x="153" y="20"/>
                  <a:pt x="153" y="20"/>
                </a:cubicBezTo>
                <a:cubicBezTo>
                  <a:pt x="164" y="19"/>
                  <a:pt x="175" y="17"/>
                  <a:pt x="185" y="17"/>
                </a:cubicBezTo>
                <a:lnTo>
                  <a:pt x="186" y="593"/>
                </a:lnTo>
                <a:close/>
                <a:moveTo>
                  <a:pt x="60" y="38"/>
                </a:moveTo>
                <a:cubicBezTo>
                  <a:pt x="71" y="35"/>
                  <a:pt x="82" y="33"/>
                  <a:pt x="92" y="31"/>
                </a:cubicBezTo>
                <a:cubicBezTo>
                  <a:pt x="93" y="528"/>
                  <a:pt x="93" y="528"/>
                  <a:pt x="93" y="528"/>
                </a:cubicBezTo>
                <a:cubicBezTo>
                  <a:pt x="81" y="518"/>
                  <a:pt x="70" y="509"/>
                  <a:pt x="60" y="500"/>
                </a:cubicBezTo>
                <a:lnTo>
                  <a:pt x="60" y="38"/>
                </a:lnTo>
                <a:close/>
                <a:moveTo>
                  <a:pt x="14" y="435"/>
                </a:moveTo>
                <a:cubicBezTo>
                  <a:pt x="14" y="51"/>
                  <a:pt x="14" y="51"/>
                  <a:pt x="14" y="51"/>
                </a:cubicBezTo>
                <a:cubicBezTo>
                  <a:pt x="24" y="48"/>
                  <a:pt x="35" y="45"/>
                  <a:pt x="46" y="42"/>
                </a:cubicBezTo>
                <a:cubicBezTo>
                  <a:pt x="46" y="487"/>
                  <a:pt x="46" y="487"/>
                  <a:pt x="46" y="487"/>
                </a:cubicBezTo>
                <a:cubicBezTo>
                  <a:pt x="25" y="465"/>
                  <a:pt x="14" y="447"/>
                  <a:pt x="14" y="435"/>
                </a:cubicBezTo>
                <a:close/>
                <a:moveTo>
                  <a:pt x="107" y="539"/>
                </a:moveTo>
                <a:cubicBezTo>
                  <a:pt x="106" y="28"/>
                  <a:pt x="106" y="28"/>
                  <a:pt x="106" y="28"/>
                </a:cubicBezTo>
                <a:cubicBezTo>
                  <a:pt x="117" y="26"/>
                  <a:pt x="128" y="24"/>
                  <a:pt x="139" y="22"/>
                </a:cubicBezTo>
                <a:cubicBezTo>
                  <a:pt x="139" y="563"/>
                  <a:pt x="139" y="563"/>
                  <a:pt x="139" y="563"/>
                </a:cubicBezTo>
                <a:cubicBezTo>
                  <a:pt x="130" y="556"/>
                  <a:pt x="120" y="549"/>
                  <a:pt x="111" y="542"/>
                </a:cubicBezTo>
                <a:cubicBezTo>
                  <a:pt x="109" y="541"/>
                  <a:pt x="108" y="540"/>
                  <a:pt x="107" y="539"/>
                </a:cubicBezTo>
                <a:close/>
                <a:moveTo>
                  <a:pt x="464" y="435"/>
                </a:moveTo>
                <a:cubicBezTo>
                  <a:pt x="464" y="496"/>
                  <a:pt x="297" y="598"/>
                  <a:pt x="246" y="617"/>
                </a:cubicBezTo>
                <a:cubicBezTo>
                  <a:pt x="246" y="14"/>
                  <a:pt x="246" y="14"/>
                  <a:pt x="246" y="14"/>
                </a:cubicBezTo>
                <a:cubicBezTo>
                  <a:pt x="327" y="15"/>
                  <a:pt x="408" y="34"/>
                  <a:pt x="464" y="51"/>
                </a:cubicBezTo>
                <a:lnTo>
                  <a:pt x="464" y="4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3" name="Oval 25">
            <a:extLst>
              <a:ext uri="{FF2B5EF4-FFF2-40B4-BE49-F238E27FC236}">
                <a16:creationId xmlns:a16="http://schemas.microsoft.com/office/drawing/2014/main" id="{9DC6D661-7B9A-4FF6-945C-6455DD5104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88800" y="925630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4" name="Freeform 117">
            <a:extLst>
              <a:ext uri="{FF2B5EF4-FFF2-40B4-BE49-F238E27FC236}">
                <a16:creationId xmlns:a16="http://schemas.microsoft.com/office/drawing/2014/main" id="{E9A8D1DA-F941-4DFA-BE8C-246A435C8BA8}"/>
              </a:ext>
            </a:extLst>
          </p:cNvPr>
          <p:cNvSpPr>
            <a:spLocks noEditPoints="1"/>
          </p:cNvSpPr>
          <p:nvPr/>
        </p:nvSpPr>
        <p:spPr bwMode="auto">
          <a:xfrm>
            <a:off x="3664285" y="1134182"/>
            <a:ext cx="472856" cy="405855"/>
          </a:xfrm>
          <a:custGeom>
            <a:avLst/>
            <a:gdLst>
              <a:gd name="T0" fmla="*/ 611 w 611"/>
              <a:gd name="T1" fmla="*/ 143 h 523"/>
              <a:gd name="T2" fmla="*/ 610 w 611"/>
              <a:gd name="T3" fmla="*/ 143 h 523"/>
              <a:gd name="T4" fmla="*/ 610 w 611"/>
              <a:gd name="T5" fmla="*/ 142 h 523"/>
              <a:gd name="T6" fmla="*/ 610 w 611"/>
              <a:gd name="T7" fmla="*/ 141 h 523"/>
              <a:gd name="T8" fmla="*/ 609 w 611"/>
              <a:gd name="T9" fmla="*/ 140 h 523"/>
              <a:gd name="T10" fmla="*/ 609 w 611"/>
              <a:gd name="T11" fmla="*/ 140 h 523"/>
              <a:gd name="T12" fmla="*/ 609 w 611"/>
              <a:gd name="T13" fmla="*/ 140 h 523"/>
              <a:gd name="T14" fmla="*/ 609 w 611"/>
              <a:gd name="T15" fmla="*/ 140 h 523"/>
              <a:gd name="T16" fmla="*/ 522 w 611"/>
              <a:gd name="T17" fmla="*/ 4 h 523"/>
              <a:gd name="T18" fmla="*/ 516 w 611"/>
              <a:gd name="T19" fmla="*/ 0 h 523"/>
              <a:gd name="T20" fmla="*/ 95 w 611"/>
              <a:gd name="T21" fmla="*/ 0 h 523"/>
              <a:gd name="T22" fmla="*/ 89 w 611"/>
              <a:gd name="T23" fmla="*/ 4 h 523"/>
              <a:gd name="T24" fmla="*/ 1 w 611"/>
              <a:gd name="T25" fmla="*/ 140 h 523"/>
              <a:gd name="T26" fmla="*/ 1 w 611"/>
              <a:gd name="T27" fmla="*/ 140 h 523"/>
              <a:gd name="T28" fmla="*/ 1 w 611"/>
              <a:gd name="T29" fmla="*/ 140 h 523"/>
              <a:gd name="T30" fmla="*/ 1 w 611"/>
              <a:gd name="T31" fmla="*/ 140 h 523"/>
              <a:gd name="T32" fmla="*/ 0 w 611"/>
              <a:gd name="T33" fmla="*/ 141 h 523"/>
              <a:gd name="T34" fmla="*/ 0 w 611"/>
              <a:gd name="T35" fmla="*/ 142 h 523"/>
              <a:gd name="T36" fmla="*/ 0 w 611"/>
              <a:gd name="T37" fmla="*/ 143 h 523"/>
              <a:gd name="T38" fmla="*/ 0 w 611"/>
              <a:gd name="T39" fmla="*/ 143 h 523"/>
              <a:gd name="T40" fmla="*/ 0 w 611"/>
              <a:gd name="T41" fmla="*/ 143 h 523"/>
              <a:gd name="T42" fmla="*/ 0 w 611"/>
              <a:gd name="T43" fmla="*/ 516 h 523"/>
              <a:gd name="T44" fmla="*/ 7 w 611"/>
              <a:gd name="T45" fmla="*/ 523 h 523"/>
              <a:gd name="T46" fmla="*/ 604 w 611"/>
              <a:gd name="T47" fmla="*/ 523 h 523"/>
              <a:gd name="T48" fmla="*/ 611 w 611"/>
              <a:gd name="T49" fmla="*/ 516 h 523"/>
              <a:gd name="T50" fmla="*/ 611 w 611"/>
              <a:gd name="T51" fmla="*/ 143 h 523"/>
              <a:gd name="T52" fmla="*/ 611 w 611"/>
              <a:gd name="T53" fmla="*/ 143 h 523"/>
              <a:gd name="T54" fmla="*/ 98 w 611"/>
              <a:gd name="T55" fmla="*/ 14 h 523"/>
              <a:gd name="T56" fmla="*/ 512 w 611"/>
              <a:gd name="T57" fmla="*/ 14 h 523"/>
              <a:gd name="T58" fmla="*/ 591 w 611"/>
              <a:gd name="T59" fmla="*/ 136 h 523"/>
              <a:gd name="T60" fmla="*/ 20 w 611"/>
              <a:gd name="T61" fmla="*/ 136 h 523"/>
              <a:gd name="T62" fmla="*/ 98 w 611"/>
              <a:gd name="T63" fmla="*/ 14 h 523"/>
              <a:gd name="T64" fmla="*/ 597 w 611"/>
              <a:gd name="T65" fmla="*/ 509 h 523"/>
              <a:gd name="T66" fmla="*/ 14 w 611"/>
              <a:gd name="T67" fmla="*/ 509 h 523"/>
              <a:gd name="T68" fmla="*/ 14 w 611"/>
              <a:gd name="T69" fmla="*/ 150 h 523"/>
              <a:gd name="T70" fmla="*/ 597 w 611"/>
              <a:gd name="T71" fmla="*/ 150 h 523"/>
              <a:gd name="T72" fmla="*/ 597 w 611"/>
              <a:gd name="T73" fmla="*/ 509 h 523"/>
              <a:gd name="T74" fmla="*/ 177 w 611"/>
              <a:gd name="T75" fmla="*/ 310 h 523"/>
              <a:gd name="T76" fmla="*/ 433 w 611"/>
              <a:gd name="T77" fmla="*/ 310 h 523"/>
              <a:gd name="T78" fmla="*/ 470 w 611"/>
              <a:gd name="T79" fmla="*/ 273 h 523"/>
              <a:gd name="T80" fmla="*/ 433 w 611"/>
              <a:gd name="T81" fmla="*/ 236 h 523"/>
              <a:gd name="T82" fmla="*/ 177 w 611"/>
              <a:gd name="T83" fmla="*/ 236 h 523"/>
              <a:gd name="T84" fmla="*/ 140 w 611"/>
              <a:gd name="T85" fmla="*/ 273 h 523"/>
              <a:gd name="T86" fmla="*/ 177 w 611"/>
              <a:gd name="T87" fmla="*/ 310 h 523"/>
              <a:gd name="T88" fmla="*/ 177 w 611"/>
              <a:gd name="T89" fmla="*/ 250 h 523"/>
              <a:gd name="T90" fmla="*/ 433 w 611"/>
              <a:gd name="T91" fmla="*/ 250 h 523"/>
              <a:gd name="T92" fmla="*/ 456 w 611"/>
              <a:gd name="T93" fmla="*/ 273 h 523"/>
              <a:gd name="T94" fmla="*/ 433 w 611"/>
              <a:gd name="T95" fmla="*/ 296 h 523"/>
              <a:gd name="T96" fmla="*/ 177 w 611"/>
              <a:gd name="T97" fmla="*/ 296 h 523"/>
              <a:gd name="T98" fmla="*/ 154 w 611"/>
              <a:gd name="T99" fmla="*/ 273 h 523"/>
              <a:gd name="T100" fmla="*/ 177 w 611"/>
              <a:gd name="T101" fmla="*/ 250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11" h="523">
                <a:moveTo>
                  <a:pt x="611" y="143"/>
                </a:moveTo>
                <a:cubicBezTo>
                  <a:pt x="611" y="143"/>
                  <a:pt x="610" y="143"/>
                  <a:pt x="610" y="143"/>
                </a:cubicBezTo>
                <a:cubicBezTo>
                  <a:pt x="610" y="142"/>
                  <a:pt x="610" y="142"/>
                  <a:pt x="610" y="142"/>
                </a:cubicBezTo>
                <a:cubicBezTo>
                  <a:pt x="610" y="141"/>
                  <a:pt x="610" y="141"/>
                  <a:pt x="610" y="141"/>
                </a:cubicBezTo>
                <a:cubicBezTo>
                  <a:pt x="610" y="141"/>
                  <a:pt x="610" y="140"/>
                  <a:pt x="609" y="140"/>
                </a:cubicBezTo>
                <a:cubicBezTo>
                  <a:pt x="609" y="140"/>
                  <a:pt x="609" y="140"/>
                  <a:pt x="609" y="140"/>
                </a:cubicBezTo>
                <a:cubicBezTo>
                  <a:pt x="609" y="140"/>
                  <a:pt x="609" y="140"/>
                  <a:pt x="609" y="140"/>
                </a:cubicBezTo>
                <a:cubicBezTo>
                  <a:pt x="609" y="140"/>
                  <a:pt x="609" y="140"/>
                  <a:pt x="609" y="140"/>
                </a:cubicBezTo>
                <a:cubicBezTo>
                  <a:pt x="522" y="4"/>
                  <a:pt x="522" y="4"/>
                  <a:pt x="522" y="4"/>
                </a:cubicBezTo>
                <a:cubicBezTo>
                  <a:pt x="520" y="2"/>
                  <a:pt x="518" y="0"/>
                  <a:pt x="516" y="0"/>
                </a:cubicBezTo>
                <a:cubicBezTo>
                  <a:pt x="95" y="0"/>
                  <a:pt x="95" y="0"/>
                  <a:pt x="95" y="0"/>
                </a:cubicBezTo>
                <a:cubicBezTo>
                  <a:pt x="92" y="0"/>
                  <a:pt x="90" y="2"/>
                  <a:pt x="89" y="4"/>
                </a:cubicBezTo>
                <a:cubicBezTo>
                  <a:pt x="1" y="140"/>
                  <a:pt x="1" y="140"/>
                  <a:pt x="1" y="140"/>
                </a:cubicBezTo>
                <a:cubicBezTo>
                  <a:pt x="1" y="140"/>
                  <a:pt x="1" y="140"/>
                  <a:pt x="1" y="140"/>
                </a:cubicBezTo>
                <a:cubicBezTo>
                  <a:pt x="1" y="140"/>
                  <a:pt x="1" y="140"/>
                  <a:pt x="1" y="140"/>
                </a:cubicBezTo>
                <a:cubicBezTo>
                  <a:pt x="1" y="140"/>
                  <a:pt x="1" y="140"/>
                  <a:pt x="1" y="140"/>
                </a:cubicBezTo>
                <a:cubicBezTo>
                  <a:pt x="1" y="140"/>
                  <a:pt x="0" y="141"/>
                  <a:pt x="0" y="141"/>
                </a:cubicBezTo>
                <a:cubicBezTo>
                  <a:pt x="0" y="141"/>
                  <a:pt x="0" y="141"/>
                  <a:pt x="0" y="142"/>
                </a:cubicBezTo>
                <a:cubicBezTo>
                  <a:pt x="0" y="142"/>
                  <a:pt x="0" y="142"/>
                  <a:pt x="0" y="143"/>
                </a:cubicBezTo>
                <a:cubicBezTo>
                  <a:pt x="0" y="143"/>
                  <a:pt x="0" y="143"/>
                  <a:pt x="0" y="143"/>
                </a:cubicBezTo>
                <a:cubicBezTo>
                  <a:pt x="0" y="143"/>
                  <a:pt x="0" y="143"/>
                  <a:pt x="0" y="143"/>
                </a:cubicBezTo>
                <a:cubicBezTo>
                  <a:pt x="0" y="516"/>
                  <a:pt x="0" y="516"/>
                  <a:pt x="0" y="516"/>
                </a:cubicBezTo>
                <a:cubicBezTo>
                  <a:pt x="0" y="520"/>
                  <a:pt x="3" y="523"/>
                  <a:pt x="7" y="523"/>
                </a:cubicBezTo>
                <a:cubicBezTo>
                  <a:pt x="604" y="523"/>
                  <a:pt x="604" y="523"/>
                  <a:pt x="604" y="523"/>
                </a:cubicBezTo>
                <a:cubicBezTo>
                  <a:pt x="607" y="523"/>
                  <a:pt x="611" y="520"/>
                  <a:pt x="611" y="516"/>
                </a:cubicBezTo>
                <a:cubicBezTo>
                  <a:pt x="611" y="143"/>
                  <a:pt x="611" y="143"/>
                  <a:pt x="611" y="143"/>
                </a:cubicBezTo>
                <a:cubicBezTo>
                  <a:pt x="611" y="143"/>
                  <a:pt x="611" y="143"/>
                  <a:pt x="611" y="143"/>
                </a:cubicBezTo>
                <a:close/>
                <a:moveTo>
                  <a:pt x="98" y="14"/>
                </a:moveTo>
                <a:cubicBezTo>
                  <a:pt x="512" y="14"/>
                  <a:pt x="512" y="14"/>
                  <a:pt x="512" y="14"/>
                </a:cubicBezTo>
                <a:cubicBezTo>
                  <a:pt x="591" y="136"/>
                  <a:pt x="591" y="136"/>
                  <a:pt x="591" y="136"/>
                </a:cubicBezTo>
                <a:cubicBezTo>
                  <a:pt x="20" y="136"/>
                  <a:pt x="20" y="136"/>
                  <a:pt x="20" y="136"/>
                </a:cubicBezTo>
                <a:lnTo>
                  <a:pt x="98" y="14"/>
                </a:lnTo>
                <a:close/>
                <a:moveTo>
                  <a:pt x="597" y="509"/>
                </a:moveTo>
                <a:cubicBezTo>
                  <a:pt x="14" y="509"/>
                  <a:pt x="14" y="509"/>
                  <a:pt x="14" y="509"/>
                </a:cubicBezTo>
                <a:cubicBezTo>
                  <a:pt x="14" y="150"/>
                  <a:pt x="14" y="150"/>
                  <a:pt x="14" y="150"/>
                </a:cubicBezTo>
                <a:cubicBezTo>
                  <a:pt x="597" y="150"/>
                  <a:pt x="597" y="150"/>
                  <a:pt x="597" y="150"/>
                </a:cubicBezTo>
                <a:lnTo>
                  <a:pt x="597" y="509"/>
                </a:lnTo>
                <a:close/>
                <a:moveTo>
                  <a:pt x="177" y="310"/>
                </a:moveTo>
                <a:cubicBezTo>
                  <a:pt x="433" y="310"/>
                  <a:pt x="433" y="310"/>
                  <a:pt x="433" y="310"/>
                </a:cubicBezTo>
                <a:cubicBezTo>
                  <a:pt x="454" y="310"/>
                  <a:pt x="470" y="293"/>
                  <a:pt x="470" y="273"/>
                </a:cubicBezTo>
                <a:cubicBezTo>
                  <a:pt x="470" y="252"/>
                  <a:pt x="454" y="236"/>
                  <a:pt x="433" y="236"/>
                </a:cubicBezTo>
                <a:cubicBezTo>
                  <a:pt x="177" y="236"/>
                  <a:pt x="177" y="236"/>
                  <a:pt x="177" y="236"/>
                </a:cubicBezTo>
                <a:cubicBezTo>
                  <a:pt x="157" y="236"/>
                  <a:pt x="140" y="252"/>
                  <a:pt x="140" y="273"/>
                </a:cubicBezTo>
                <a:cubicBezTo>
                  <a:pt x="140" y="293"/>
                  <a:pt x="157" y="310"/>
                  <a:pt x="177" y="310"/>
                </a:cubicBezTo>
                <a:close/>
                <a:moveTo>
                  <a:pt x="177" y="250"/>
                </a:moveTo>
                <a:cubicBezTo>
                  <a:pt x="433" y="250"/>
                  <a:pt x="433" y="250"/>
                  <a:pt x="433" y="250"/>
                </a:cubicBezTo>
                <a:cubicBezTo>
                  <a:pt x="446" y="250"/>
                  <a:pt x="456" y="260"/>
                  <a:pt x="456" y="273"/>
                </a:cubicBezTo>
                <a:cubicBezTo>
                  <a:pt x="456" y="285"/>
                  <a:pt x="446" y="296"/>
                  <a:pt x="433" y="296"/>
                </a:cubicBezTo>
                <a:cubicBezTo>
                  <a:pt x="177" y="296"/>
                  <a:pt x="177" y="296"/>
                  <a:pt x="177" y="296"/>
                </a:cubicBezTo>
                <a:cubicBezTo>
                  <a:pt x="164" y="296"/>
                  <a:pt x="154" y="285"/>
                  <a:pt x="154" y="273"/>
                </a:cubicBezTo>
                <a:cubicBezTo>
                  <a:pt x="154" y="260"/>
                  <a:pt x="164" y="250"/>
                  <a:pt x="177" y="2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6" name="Freeform 33">
            <a:extLst>
              <a:ext uri="{FF2B5EF4-FFF2-40B4-BE49-F238E27FC236}">
                <a16:creationId xmlns:a16="http://schemas.microsoft.com/office/drawing/2014/main" id="{C9AF09EA-9F21-4B1F-AABB-FCDE332F61C6}"/>
              </a:ext>
            </a:extLst>
          </p:cNvPr>
          <p:cNvSpPr>
            <a:spLocks/>
          </p:cNvSpPr>
          <p:nvPr/>
        </p:nvSpPr>
        <p:spPr bwMode="auto">
          <a:xfrm>
            <a:off x="4781543" y="922323"/>
            <a:ext cx="822960" cy="822960"/>
          </a:xfrm>
          <a:custGeom>
            <a:avLst/>
            <a:gdLst>
              <a:gd name="T0" fmla="*/ 12 w 1087"/>
              <a:gd name="T1" fmla="*/ 520 h 1087"/>
              <a:gd name="T2" fmla="*/ 566 w 1087"/>
              <a:gd name="T3" fmla="*/ 13 h 1087"/>
              <a:gd name="T4" fmla="*/ 1074 w 1087"/>
              <a:gd name="T5" fmla="*/ 567 h 1087"/>
              <a:gd name="T6" fmla="*/ 520 w 1087"/>
              <a:gd name="T7" fmla="*/ 1074 h 1087"/>
              <a:gd name="T8" fmla="*/ 12 w 1087"/>
              <a:gd name="T9" fmla="*/ 520 h 1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87" h="1087">
                <a:moveTo>
                  <a:pt x="12" y="520"/>
                </a:moveTo>
                <a:cubicBezTo>
                  <a:pt x="25" y="227"/>
                  <a:pt x="273" y="0"/>
                  <a:pt x="566" y="13"/>
                </a:cubicBezTo>
                <a:cubicBezTo>
                  <a:pt x="859" y="25"/>
                  <a:pt x="1087" y="273"/>
                  <a:pt x="1074" y="567"/>
                </a:cubicBezTo>
                <a:cubicBezTo>
                  <a:pt x="1061" y="860"/>
                  <a:pt x="813" y="1087"/>
                  <a:pt x="520" y="1074"/>
                </a:cubicBezTo>
                <a:cubicBezTo>
                  <a:pt x="227" y="1062"/>
                  <a:pt x="0" y="814"/>
                  <a:pt x="12" y="5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47" name="Freeform 99">
            <a:extLst>
              <a:ext uri="{FF2B5EF4-FFF2-40B4-BE49-F238E27FC236}">
                <a16:creationId xmlns:a16="http://schemas.microsoft.com/office/drawing/2014/main" id="{5F87417F-0414-48C4-872A-5BF30E8C3096}"/>
              </a:ext>
            </a:extLst>
          </p:cNvPr>
          <p:cNvSpPr>
            <a:spLocks noEditPoints="1"/>
          </p:cNvSpPr>
          <p:nvPr/>
        </p:nvSpPr>
        <p:spPr bwMode="auto">
          <a:xfrm>
            <a:off x="4921945" y="1062725"/>
            <a:ext cx="541310" cy="542156"/>
          </a:xfrm>
          <a:custGeom>
            <a:avLst/>
            <a:gdLst>
              <a:gd name="T0" fmla="*/ 0 w 714"/>
              <a:gd name="T1" fmla="*/ 357 h 715"/>
              <a:gd name="T2" fmla="*/ 714 w 714"/>
              <a:gd name="T3" fmla="*/ 357 h 715"/>
              <a:gd name="T4" fmla="*/ 357 w 714"/>
              <a:gd name="T5" fmla="*/ 14 h 715"/>
              <a:gd name="T6" fmla="*/ 357 w 714"/>
              <a:gd name="T7" fmla="*/ 701 h 715"/>
              <a:gd name="T8" fmla="*/ 357 w 714"/>
              <a:gd name="T9" fmla="*/ 14 h 715"/>
              <a:gd name="T10" fmla="*/ 272 w 714"/>
              <a:gd name="T11" fmla="*/ 358 h 715"/>
              <a:gd name="T12" fmla="*/ 442 w 714"/>
              <a:gd name="T13" fmla="*/ 358 h 715"/>
              <a:gd name="T14" fmla="*/ 357 w 714"/>
              <a:gd name="T15" fmla="*/ 287 h 715"/>
              <a:gd name="T16" fmla="*/ 357 w 714"/>
              <a:gd name="T17" fmla="*/ 428 h 715"/>
              <a:gd name="T18" fmla="*/ 357 w 714"/>
              <a:gd name="T19" fmla="*/ 287 h 715"/>
              <a:gd name="T20" fmla="*/ 364 w 714"/>
              <a:gd name="T21" fmla="*/ 7 h 715"/>
              <a:gd name="T22" fmla="*/ 350 w 714"/>
              <a:gd name="T23" fmla="*/ 7 h 715"/>
              <a:gd name="T24" fmla="*/ 357 w 714"/>
              <a:gd name="T25" fmla="*/ 111 h 715"/>
              <a:gd name="T26" fmla="*/ 364 w 714"/>
              <a:gd name="T27" fmla="*/ 708 h 715"/>
              <a:gd name="T28" fmla="*/ 357 w 714"/>
              <a:gd name="T29" fmla="*/ 604 h 715"/>
              <a:gd name="T30" fmla="*/ 350 w 714"/>
              <a:gd name="T31" fmla="*/ 708 h 715"/>
              <a:gd name="T32" fmla="*/ 364 w 714"/>
              <a:gd name="T33" fmla="*/ 708 h 715"/>
              <a:gd name="T34" fmla="*/ 707 w 714"/>
              <a:gd name="T35" fmla="*/ 351 h 715"/>
              <a:gd name="T36" fmla="*/ 603 w 714"/>
              <a:gd name="T37" fmla="*/ 358 h 715"/>
              <a:gd name="T38" fmla="*/ 707 w 714"/>
              <a:gd name="T39" fmla="*/ 365 h 715"/>
              <a:gd name="T40" fmla="*/ 111 w 714"/>
              <a:gd name="T41" fmla="*/ 358 h 715"/>
              <a:gd name="T42" fmla="*/ 7 w 714"/>
              <a:gd name="T43" fmla="*/ 351 h 715"/>
              <a:gd name="T44" fmla="*/ 7 w 714"/>
              <a:gd name="T45" fmla="*/ 365 h 715"/>
              <a:gd name="T46" fmla="*/ 111 w 714"/>
              <a:gd name="T47" fmla="*/ 358 h 715"/>
              <a:gd name="T48" fmla="*/ 364 w 714"/>
              <a:gd name="T49" fmla="*/ 249 h 715"/>
              <a:gd name="T50" fmla="*/ 350 w 714"/>
              <a:gd name="T51" fmla="*/ 249 h 715"/>
              <a:gd name="T52" fmla="*/ 357 w 714"/>
              <a:gd name="T53" fmla="*/ 286 h 715"/>
              <a:gd name="T54" fmla="*/ 364 w 714"/>
              <a:gd name="T55" fmla="*/ 466 h 715"/>
              <a:gd name="T56" fmla="*/ 357 w 714"/>
              <a:gd name="T57" fmla="*/ 429 h 715"/>
              <a:gd name="T58" fmla="*/ 350 w 714"/>
              <a:gd name="T59" fmla="*/ 466 h 715"/>
              <a:gd name="T60" fmla="*/ 364 w 714"/>
              <a:gd name="T61" fmla="*/ 466 h 715"/>
              <a:gd name="T62" fmla="*/ 466 w 714"/>
              <a:gd name="T63" fmla="*/ 351 h 715"/>
              <a:gd name="T64" fmla="*/ 429 w 714"/>
              <a:gd name="T65" fmla="*/ 358 h 715"/>
              <a:gd name="T66" fmla="*/ 466 w 714"/>
              <a:gd name="T67" fmla="*/ 365 h 715"/>
              <a:gd name="T68" fmla="*/ 286 w 714"/>
              <a:gd name="T69" fmla="*/ 358 h 715"/>
              <a:gd name="T70" fmla="*/ 249 w 714"/>
              <a:gd name="T71" fmla="*/ 351 h 715"/>
              <a:gd name="T72" fmla="*/ 249 w 714"/>
              <a:gd name="T73" fmla="*/ 365 h 715"/>
              <a:gd name="T74" fmla="*/ 286 w 714"/>
              <a:gd name="T75" fmla="*/ 358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14" h="715">
                <a:moveTo>
                  <a:pt x="357" y="715"/>
                </a:moveTo>
                <a:cubicBezTo>
                  <a:pt x="160" y="715"/>
                  <a:pt x="0" y="554"/>
                  <a:pt x="0" y="357"/>
                </a:cubicBezTo>
                <a:cubicBezTo>
                  <a:pt x="0" y="161"/>
                  <a:pt x="160" y="0"/>
                  <a:pt x="357" y="0"/>
                </a:cubicBezTo>
                <a:cubicBezTo>
                  <a:pt x="554" y="0"/>
                  <a:pt x="714" y="161"/>
                  <a:pt x="714" y="357"/>
                </a:cubicBezTo>
                <a:cubicBezTo>
                  <a:pt x="714" y="554"/>
                  <a:pt x="554" y="715"/>
                  <a:pt x="357" y="715"/>
                </a:cubicBezTo>
                <a:close/>
                <a:moveTo>
                  <a:pt x="357" y="14"/>
                </a:moveTo>
                <a:cubicBezTo>
                  <a:pt x="168" y="14"/>
                  <a:pt x="14" y="168"/>
                  <a:pt x="14" y="357"/>
                </a:cubicBezTo>
                <a:cubicBezTo>
                  <a:pt x="14" y="547"/>
                  <a:pt x="168" y="701"/>
                  <a:pt x="357" y="701"/>
                </a:cubicBezTo>
                <a:cubicBezTo>
                  <a:pt x="546" y="701"/>
                  <a:pt x="700" y="547"/>
                  <a:pt x="700" y="357"/>
                </a:cubicBezTo>
                <a:cubicBezTo>
                  <a:pt x="700" y="168"/>
                  <a:pt x="546" y="14"/>
                  <a:pt x="357" y="14"/>
                </a:cubicBezTo>
                <a:close/>
                <a:moveTo>
                  <a:pt x="357" y="442"/>
                </a:moveTo>
                <a:cubicBezTo>
                  <a:pt x="310" y="442"/>
                  <a:pt x="272" y="404"/>
                  <a:pt x="272" y="358"/>
                </a:cubicBezTo>
                <a:cubicBezTo>
                  <a:pt x="272" y="311"/>
                  <a:pt x="310" y="273"/>
                  <a:pt x="357" y="273"/>
                </a:cubicBezTo>
                <a:cubicBezTo>
                  <a:pt x="404" y="273"/>
                  <a:pt x="442" y="311"/>
                  <a:pt x="442" y="358"/>
                </a:cubicBezTo>
                <a:cubicBezTo>
                  <a:pt x="442" y="404"/>
                  <a:pt x="404" y="442"/>
                  <a:pt x="357" y="442"/>
                </a:cubicBezTo>
                <a:close/>
                <a:moveTo>
                  <a:pt x="357" y="287"/>
                </a:moveTo>
                <a:cubicBezTo>
                  <a:pt x="318" y="287"/>
                  <a:pt x="286" y="318"/>
                  <a:pt x="286" y="358"/>
                </a:cubicBezTo>
                <a:cubicBezTo>
                  <a:pt x="286" y="397"/>
                  <a:pt x="318" y="428"/>
                  <a:pt x="357" y="428"/>
                </a:cubicBezTo>
                <a:cubicBezTo>
                  <a:pt x="396" y="428"/>
                  <a:pt x="428" y="397"/>
                  <a:pt x="428" y="358"/>
                </a:cubicBezTo>
                <a:cubicBezTo>
                  <a:pt x="428" y="318"/>
                  <a:pt x="396" y="287"/>
                  <a:pt x="357" y="287"/>
                </a:cubicBezTo>
                <a:close/>
                <a:moveTo>
                  <a:pt x="364" y="104"/>
                </a:moveTo>
                <a:cubicBezTo>
                  <a:pt x="364" y="7"/>
                  <a:pt x="364" y="7"/>
                  <a:pt x="364" y="7"/>
                </a:cubicBezTo>
                <a:cubicBezTo>
                  <a:pt x="364" y="4"/>
                  <a:pt x="361" y="0"/>
                  <a:pt x="357" y="0"/>
                </a:cubicBezTo>
                <a:cubicBezTo>
                  <a:pt x="353" y="0"/>
                  <a:pt x="350" y="4"/>
                  <a:pt x="350" y="7"/>
                </a:cubicBezTo>
                <a:cubicBezTo>
                  <a:pt x="350" y="104"/>
                  <a:pt x="350" y="104"/>
                  <a:pt x="350" y="104"/>
                </a:cubicBezTo>
                <a:cubicBezTo>
                  <a:pt x="350" y="108"/>
                  <a:pt x="353" y="111"/>
                  <a:pt x="357" y="111"/>
                </a:cubicBezTo>
                <a:cubicBezTo>
                  <a:pt x="361" y="111"/>
                  <a:pt x="364" y="108"/>
                  <a:pt x="364" y="104"/>
                </a:cubicBezTo>
                <a:close/>
                <a:moveTo>
                  <a:pt x="364" y="708"/>
                </a:moveTo>
                <a:cubicBezTo>
                  <a:pt x="364" y="611"/>
                  <a:pt x="364" y="611"/>
                  <a:pt x="364" y="611"/>
                </a:cubicBezTo>
                <a:cubicBezTo>
                  <a:pt x="364" y="607"/>
                  <a:pt x="361" y="604"/>
                  <a:pt x="357" y="604"/>
                </a:cubicBezTo>
                <a:cubicBezTo>
                  <a:pt x="353" y="604"/>
                  <a:pt x="350" y="607"/>
                  <a:pt x="350" y="611"/>
                </a:cubicBezTo>
                <a:cubicBezTo>
                  <a:pt x="350" y="708"/>
                  <a:pt x="350" y="708"/>
                  <a:pt x="350" y="708"/>
                </a:cubicBezTo>
                <a:cubicBezTo>
                  <a:pt x="350" y="711"/>
                  <a:pt x="353" y="715"/>
                  <a:pt x="357" y="715"/>
                </a:cubicBezTo>
                <a:cubicBezTo>
                  <a:pt x="361" y="715"/>
                  <a:pt x="364" y="711"/>
                  <a:pt x="364" y="708"/>
                </a:cubicBezTo>
                <a:close/>
                <a:moveTo>
                  <a:pt x="714" y="358"/>
                </a:moveTo>
                <a:cubicBezTo>
                  <a:pt x="714" y="354"/>
                  <a:pt x="711" y="351"/>
                  <a:pt x="707" y="351"/>
                </a:cubicBezTo>
                <a:cubicBezTo>
                  <a:pt x="610" y="351"/>
                  <a:pt x="610" y="351"/>
                  <a:pt x="610" y="351"/>
                </a:cubicBezTo>
                <a:cubicBezTo>
                  <a:pt x="606" y="351"/>
                  <a:pt x="603" y="354"/>
                  <a:pt x="603" y="358"/>
                </a:cubicBezTo>
                <a:cubicBezTo>
                  <a:pt x="603" y="361"/>
                  <a:pt x="606" y="365"/>
                  <a:pt x="610" y="365"/>
                </a:cubicBezTo>
                <a:cubicBezTo>
                  <a:pt x="707" y="365"/>
                  <a:pt x="707" y="365"/>
                  <a:pt x="707" y="365"/>
                </a:cubicBezTo>
                <a:cubicBezTo>
                  <a:pt x="711" y="365"/>
                  <a:pt x="714" y="361"/>
                  <a:pt x="714" y="358"/>
                </a:cubicBezTo>
                <a:close/>
                <a:moveTo>
                  <a:pt x="111" y="358"/>
                </a:moveTo>
                <a:cubicBezTo>
                  <a:pt x="111" y="354"/>
                  <a:pt x="108" y="351"/>
                  <a:pt x="104" y="351"/>
                </a:cubicBezTo>
                <a:cubicBezTo>
                  <a:pt x="7" y="351"/>
                  <a:pt x="7" y="351"/>
                  <a:pt x="7" y="351"/>
                </a:cubicBezTo>
                <a:cubicBezTo>
                  <a:pt x="3" y="351"/>
                  <a:pt x="0" y="354"/>
                  <a:pt x="0" y="358"/>
                </a:cubicBezTo>
                <a:cubicBezTo>
                  <a:pt x="0" y="361"/>
                  <a:pt x="3" y="365"/>
                  <a:pt x="7" y="365"/>
                </a:cubicBezTo>
                <a:cubicBezTo>
                  <a:pt x="104" y="365"/>
                  <a:pt x="104" y="365"/>
                  <a:pt x="104" y="365"/>
                </a:cubicBezTo>
                <a:cubicBezTo>
                  <a:pt x="108" y="365"/>
                  <a:pt x="111" y="361"/>
                  <a:pt x="111" y="358"/>
                </a:cubicBezTo>
                <a:close/>
                <a:moveTo>
                  <a:pt x="364" y="279"/>
                </a:moveTo>
                <a:cubicBezTo>
                  <a:pt x="364" y="249"/>
                  <a:pt x="364" y="249"/>
                  <a:pt x="364" y="249"/>
                </a:cubicBezTo>
                <a:cubicBezTo>
                  <a:pt x="364" y="245"/>
                  <a:pt x="361" y="242"/>
                  <a:pt x="357" y="242"/>
                </a:cubicBezTo>
                <a:cubicBezTo>
                  <a:pt x="353" y="242"/>
                  <a:pt x="350" y="245"/>
                  <a:pt x="350" y="249"/>
                </a:cubicBezTo>
                <a:cubicBezTo>
                  <a:pt x="350" y="279"/>
                  <a:pt x="350" y="279"/>
                  <a:pt x="350" y="279"/>
                </a:cubicBezTo>
                <a:cubicBezTo>
                  <a:pt x="350" y="283"/>
                  <a:pt x="353" y="286"/>
                  <a:pt x="357" y="286"/>
                </a:cubicBezTo>
                <a:cubicBezTo>
                  <a:pt x="361" y="286"/>
                  <a:pt x="364" y="283"/>
                  <a:pt x="364" y="279"/>
                </a:cubicBezTo>
                <a:close/>
                <a:moveTo>
                  <a:pt x="364" y="466"/>
                </a:moveTo>
                <a:cubicBezTo>
                  <a:pt x="364" y="436"/>
                  <a:pt x="364" y="436"/>
                  <a:pt x="364" y="436"/>
                </a:cubicBezTo>
                <a:cubicBezTo>
                  <a:pt x="364" y="432"/>
                  <a:pt x="361" y="429"/>
                  <a:pt x="357" y="429"/>
                </a:cubicBezTo>
                <a:cubicBezTo>
                  <a:pt x="353" y="429"/>
                  <a:pt x="350" y="432"/>
                  <a:pt x="350" y="436"/>
                </a:cubicBezTo>
                <a:cubicBezTo>
                  <a:pt x="350" y="466"/>
                  <a:pt x="350" y="466"/>
                  <a:pt x="350" y="466"/>
                </a:cubicBezTo>
                <a:cubicBezTo>
                  <a:pt x="350" y="470"/>
                  <a:pt x="353" y="473"/>
                  <a:pt x="357" y="473"/>
                </a:cubicBezTo>
                <a:cubicBezTo>
                  <a:pt x="361" y="473"/>
                  <a:pt x="364" y="470"/>
                  <a:pt x="364" y="466"/>
                </a:cubicBezTo>
                <a:close/>
                <a:moveTo>
                  <a:pt x="473" y="358"/>
                </a:moveTo>
                <a:cubicBezTo>
                  <a:pt x="473" y="354"/>
                  <a:pt x="470" y="351"/>
                  <a:pt x="466" y="351"/>
                </a:cubicBezTo>
                <a:cubicBezTo>
                  <a:pt x="436" y="351"/>
                  <a:pt x="436" y="351"/>
                  <a:pt x="436" y="351"/>
                </a:cubicBezTo>
                <a:cubicBezTo>
                  <a:pt x="432" y="351"/>
                  <a:pt x="429" y="354"/>
                  <a:pt x="429" y="358"/>
                </a:cubicBezTo>
                <a:cubicBezTo>
                  <a:pt x="429" y="361"/>
                  <a:pt x="432" y="365"/>
                  <a:pt x="436" y="365"/>
                </a:cubicBezTo>
                <a:cubicBezTo>
                  <a:pt x="466" y="365"/>
                  <a:pt x="466" y="365"/>
                  <a:pt x="466" y="365"/>
                </a:cubicBezTo>
                <a:cubicBezTo>
                  <a:pt x="470" y="365"/>
                  <a:pt x="473" y="361"/>
                  <a:pt x="473" y="358"/>
                </a:cubicBezTo>
                <a:close/>
                <a:moveTo>
                  <a:pt x="286" y="358"/>
                </a:moveTo>
                <a:cubicBezTo>
                  <a:pt x="286" y="354"/>
                  <a:pt x="282" y="351"/>
                  <a:pt x="279" y="351"/>
                </a:cubicBezTo>
                <a:cubicBezTo>
                  <a:pt x="249" y="351"/>
                  <a:pt x="249" y="351"/>
                  <a:pt x="249" y="351"/>
                </a:cubicBezTo>
                <a:cubicBezTo>
                  <a:pt x="245" y="351"/>
                  <a:pt x="242" y="354"/>
                  <a:pt x="242" y="358"/>
                </a:cubicBezTo>
                <a:cubicBezTo>
                  <a:pt x="242" y="361"/>
                  <a:pt x="245" y="365"/>
                  <a:pt x="249" y="365"/>
                </a:cubicBezTo>
                <a:cubicBezTo>
                  <a:pt x="279" y="365"/>
                  <a:pt x="279" y="365"/>
                  <a:pt x="279" y="365"/>
                </a:cubicBezTo>
                <a:cubicBezTo>
                  <a:pt x="282" y="365"/>
                  <a:pt x="286" y="361"/>
                  <a:pt x="286" y="35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8" name="Oval 11">
            <a:extLst>
              <a:ext uri="{FF2B5EF4-FFF2-40B4-BE49-F238E27FC236}">
                <a16:creationId xmlns:a16="http://schemas.microsoft.com/office/drawing/2014/main" id="{5E52B2E7-9A59-47F8-AC8A-83DA561810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8820" y="414578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9" name="Freeform 84">
            <a:extLst>
              <a:ext uri="{FF2B5EF4-FFF2-40B4-BE49-F238E27FC236}">
                <a16:creationId xmlns:a16="http://schemas.microsoft.com/office/drawing/2014/main" id="{2F3BA9EA-FE03-4B6E-A896-AA5209DC92D2}"/>
              </a:ext>
            </a:extLst>
          </p:cNvPr>
          <p:cNvSpPr>
            <a:spLocks noEditPoints="1"/>
          </p:cNvSpPr>
          <p:nvPr/>
        </p:nvSpPr>
        <p:spPr bwMode="auto">
          <a:xfrm>
            <a:off x="3918923" y="4279053"/>
            <a:ext cx="121889" cy="556428"/>
          </a:xfrm>
          <a:custGeom>
            <a:avLst/>
            <a:gdLst>
              <a:gd name="T0" fmla="*/ 117 w 158"/>
              <a:gd name="T1" fmla="*/ 61 h 718"/>
              <a:gd name="T2" fmla="*/ 117 w 158"/>
              <a:gd name="T3" fmla="*/ 23 h 718"/>
              <a:gd name="T4" fmla="*/ 95 w 158"/>
              <a:gd name="T5" fmla="*/ 0 h 718"/>
              <a:gd name="T6" fmla="*/ 64 w 158"/>
              <a:gd name="T7" fmla="*/ 0 h 718"/>
              <a:gd name="T8" fmla="*/ 41 w 158"/>
              <a:gd name="T9" fmla="*/ 23 h 718"/>
              <a:gd name="T10" fmla="*/ 41 w 158"/>
              <a:gd name="T11" fmla="*/ 61 h 718"/>
              <a:gd name="T12" fmla="*/ 0 w 158"/>
              <a:gd name="T13" fmla="*/ 104 h 718"/>
              <a:gd name="T14" fmla="*/ 0 w 158"/>
              <a:gd name="T15" fmla="*/ 604 h 718"/>
              <a:gd name="T16" fmla="*/ 1 w 158"/>
              <a:gd name="T17" fmla="*/ 607 h 718"/>
              <a:gd name="T18" fmla="*/ 73 w 158"/>
              <a:gd name="T19" fmla="*/ 715 h 718"/>
              <a:gd name="T20" fmla="*/ 79 w 158"/>
              <a:gd name="T21" fmla="*/ 718 h 718"/>
              <a:gd name="T22" fmla="*/ 85 w 158"/>
              <a:gd name="T23" fmla="*/ 715 h 718"/>
              <a:gd name="T24" fmla="*/ 157 w 158"/>
              <a:gd name="T25" fmla="*/ 607 h 718"/>
              <a:gd name="T26" fmla="*/ 158 w 158"/>
              <a:gd name="T27" fmla="*/ 604 h 718"/>
              <a:gd name="T28" fmla="*/ 158 w 158"/>
              <a:gd name="T29" fmla="*/ 104 h 718"/>
              <a:gd name="T30" fmla="*/ 117 w 158"/>
              <a:gd name="T31" fmla="*/ 61 h 718"/>
              <a:gd name="T32" fmla="*/ 55 w 158"/>
              <a:gd name="T33" fmla="*/ 23 h 718"/>
              <a:gd name="T34" fmla="*/ 64 w 158"/>
              <a:gd name="T35" fmla="*/ 14 h 718"/>
              <a:gd name="T36" fmla="*/ 95 w 158"/>
              <a:gd name="T37" fmla="*/ 14 h 718"/>
              <a:gd name="T38" fmla="*/ 103 w 158"/>
              <a:gd name="T39" fmla="*/ 23 h 718"/>
              <a:gd name="T40" fmla="*/ 103 w 158"/>
              <a:gd name="T41" fmla="*/ 339 h 718"/>
              <a:gd name="T42" fmla="*/ 95 w 158"/>
              <a:gd name="T43" fmla="*/ 348 h 718"/>
              <a:gd name="T44" fmla="*/ 64 w 158"/>
              <a:gd name="T45" fmla="*/ 348 h 718"/>
              <a:gd name="T46" fmla="*/ 55 w 158"/>
              <a:gd name="T47" fmla="*/ 339 h 718"/>
              <a:gd name="T48" fmla="*/ 55 w 158"/>
              <a:gd name="T49" fmla="*/ 23 h 718"/>
              <a:gd name="T50" fmla="*/ 144 w 158"/>
              <a:gd name="T51" fmla="*/ 601 h 718"/>
              <a:gd name="T52" fmla="*/ 79 w 158"/>
              <a:gd name="T53" fmla="*/ 698 h 718"/>
              <a:gd name="T54" fmla="*/ 14 w 158"/>
              <a:gd name="T55" fmla="*/ 601 h 718"/>
              <a:gd name="T56" fmla="*/ 14 w 158"/>
              <a:gd name="T57" fmla="*/ 104 h 718"/>
              <a:gd name="T58" fmla="*/ 41 w 158"/>
              <a:gd name="T59" fmla="*/ 75 h 718"/>
              <a:gd name="T60" fmla="*/ 41 w 158"/>
              <a:gd name="T61" fmla="*/ 339 h 718"/>
              <a:gd name="T62" fmla="*/ 64 w 158"/>
              <a:gd name="T63" fmla="*/ 362 h 718"/>
              <a:gd name="T64" fmla="*/ 95 w 158"/>
              <a:gd name="T65" fmla="*/ 362 h 718"/>
              <a:gd name="T66" fmla="*/ 117 w 158"/>
              <a:gd name="T67" fmla="*/ 339 h 718"/>
              <a:gd name="T68" fmla="*/ 117 w 158"/>
              <a:gd name="T69" fmla="*/ 75 h 718"/>
              <a:gd name="T70" fmla="*/ 144 w 158"/>
              <a:gd name="T71" fmla="*/ 104 h 718"/>
              <a:gd name="T72" fmla="*/ 144 w 158"/>
              <a:gd name="T73" fmla="*/ 601 h 7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8" h="718">
                <a:moveTo>
                  <a:pt x="117" y="61"/>
                </a:moveTo>
                <a:cubicBezTo>
                  <a:pt x="117" y="23"/>
                  <a:pt x="117" y="23"/>
                  <a:pt x="117" y="23"/>
                </a:cubicBezTo>
                <a:cubicBezTo>
                  <a:pt x="117" y="10"/>
                  <a:pt x="107" y="0"/>
                  <a:pt x="95" y="0"/>
                </a:cubicBezTo>
                <a:cubicBezTo>
                  <a:pt x="64" y="0"/>
                  <a:pt x="64" y="0"/>
                  <a:pt x="64" y="0"/>
                </a:cubicBezTo>
                <a:cubicBezTo>
                  <a:pt x="51" y="0"/>
                  <a:pt x="41" y="10"/>
                  <a:pt x="41" y="23"/>
                </a:cubicBezTo>
                <a:cubicBezTo>
                  <a:pt x="41" y="61"/>
                  <a:pt x="41" y="61"/>
                  <a:pt x="41" y="61"/>
                </a:cubicBezTo>
                <a:cubicBezTo>
                  <a:pt x="18" y="62"/>
                  <a:pt x="0" y="81"/>
                  <a:pt x="0" y="104"/>
                </a:cubicBezTo>
                <a:cubicBezTo>
                  <a:pt x="0" y="604"/>
                  <a:pt x="0" y="604"/>
                  <a:pt x="0" y="604"/>
                </a:cubicBezTo>
                <a:cubicBezTo>
                  <a:pt x="0" y="605"/>
                  <a:pt x="0" y="606"/>
                  <a:pt x="1" y="607"/>
                </a:cubicBezTo>
                <a:cubicBezTo>
                  <a:pt x="73" y="715"/>
                  <a:pt x="73" y="715"/>
                  <a:pt x="73" y="715"/>
                </a:cubicBezTo>
                <a:cubicBezTo>
                  <a:pt x="75" y="717"/>
                  <a:pt x="77" y="718"/>
                  <a:pt x="79" y="718"/>
                </a:cubicBezTo>
                <a:cubicBezTo>
                  <a:pt x="81" y="718"/>
                  <a:pt x="84" y="717"/>
                  <a:pt x="85" y="715"/>
                </a:cubicBezTo>
                <a:cubicBezTo>
                  <a:pt x="157" y="607"/>
                  <a:pt x="157" y="607"/>
                  <a:pt x="157" y="607"/>
                </a:cubicBezTo>
                <a:cubicBezTo>
                  <a:pt x="158" y="606"/>
                  <a:pt x="158" y="605"/>
                  <a:pt x="158" y="604"/>
                </a:cubicBezTo>
                <a:cubicBezTo>
                  <a:pt x="158" y="104"/>
                  <a:pt x="158" y="104"/>
                  <a:pt x="158" y="104"/>
                </a:cubicBezTo>
                <a:cubicBezTo>
                  <a:pt x="158" y="81"/>
                  <a:pt x="140" y="62"/>
                  <a:pt x="117" y="61"/>
                </a:cubicBezTo>
                <a:close/>
                <a:moveTo>
                  <a:pt x="55" y="23"/>
                </a:moveTo>
                <a:cubicBezTo>
                  <a:pt x="55" y="18"/>
                  <a:pt x="59" y="14"/>
                  <a:pt x="64" y="14"/>
                </a:cubicBezTo>
                <a:cubicBezTo>
                  <a:pt x="95" y="14"/>
                  <a:pt x="95" y="14"/>
                  <a:pt x="95" y="14"/>
                </a:cubicBezTo>
                <a:cubicBezTo>
                  <a:pt x="99" y="14"/>
                  <a:pt x="103" y="18"/>
                  <a:pt x="103" y="23"/>
                </a:cubicBezTo>
                <a:cubicBezTo>
                  <a:pt x="103" y="339"/>
                  <a:pt x="103" y="339"/>
                  <a:pt x="103" y="339"/>
                </a:cubicBezTo>
                <a:cubicBezTo>
                  <a:pt x="103" y="344"/>
                  <a:pt x="99" y="348"/>
                  <a:pt x="95" y="348"/>
                </a:cubicBezTo>
                <a:cubicBezTo>
                  <a:pt x="64" y="348"/>
                  <a:pt x="64" y="348"/>
                  <a:pt x="64" y="348"/>
                </a:cubicBezTo>
                <a:cubicBezTo>
                  <a:pt x="59" y="348"/>
                  <a:pt x="55" y="344"/>
                  <a:pt x="55" y="339"/>
                </a:cubicBezTo>
                <a:lnTo>
                  <a:pt x="55" y="23"/>
                </a:lnTo>
                <a:close/>
                <a:moveTo>
                  <a:pt x="144" y="601"/>
                </a:moveTo>
                <a:cubicBezTo>
                  <a:pt x="79" y="698"/>
                  <a:pt x="79" y="698"/>
                  <a:pt x="79" y="698"/>
                </a:cubicBezTo>
                <a:cubicBezTo>
                  <a:pt x="14" y="601"/>
                  <a:pt x="14" y="601"/>
                  <a:pt x="14" y="601"/>
                </a:cubicBezTo>
                <a:cubicBezTo>
                  <a:pt x="14" y="104"/>
                  <a:pt x="14" y="104"/>
                  <a:pt x="14" y="104"/>
                </a:cubicBezTo>
                <a:cubicBezTo>
                  <a:pt x="14" y="88"/>
                  <a:pt x="26" y="76"/>
                  <a:pt x="41" y="75"/>
                </a:cubicBezTo>
                <a:cubicBezTo>
                  <a:pt x="41" y="339"/>
                  <a:pt x="41" y="339"/>
                  <a:pt x="41" y="339"/>
                </a:cubicBezTo>
                <a:cubicBezTo>
                  <a:pt x="41" y="352"/>
                  <a:pt x="51" y="362"/>
                  <a:pt x="64" y="362"/>
                </a:cubicBezTo>
                <a:cubicBezTo>
                  <a:pt x="95" y="362"/>
                  <a:pt x="95" y="362"/>
                  <a:pt x="95" y="362"/>
                </a:cubicBezTo>
                <a:cubicBezTo>
                  <a:pt x="107" y="362"/>
                  <a:pt x="117" y="352"/>
                  <a:pt x="117" y="339"/>
                </a:cubicBezTo>
                <a:cubicBezTo>
                  <a:pt x="117" y="75"/>
                  <a:pt x="117" y="75"/>
                  <a:pt x="117" y="75"/>
                </a:cubicBezTo>
                <a:cubicBezTo>
                  <a:pt x="132" y="76"/>
                  <a:pt x="144" y="88"/>
                  <a:pt x="144" y="104"/>
                </a:cubicBezTo>
                <a:lnTo>
                  <a:pt x="144" y="60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0" name="Oval 6">
            <a:extLst>
              <a:ext uri="{FF2B5EF4-FFF2-40B4-BE49-F238E27FC236}">
                <a16:creationId xmlns:a16="http://schemas.microsoft.com/office/drawing/2014/main" id="{AF0CA72E-9F7F-46F2-A9E6-9424DD0EC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6076" y="414578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1" name="Freeform 85">
            <a:extLst>
              <a:ext uri="{FF2B5EF4-FFF2-40B4-BE49-F238E27FC236}">
                <a16:creationId xmlns:a16="http://schemas.microsoft.com/office/drawing/2014/main" id="{DE734A47-0B73-462C-81E1-14D8DA008754}"/>
              </a:ext>
            </a:extLst>
          </p:cNvPr>
          <p:cNvSpPr>
            <a:spLocks noEditPoints="1"/>
          </p:cNvSpPr>
          <p:nvPr/>
        </p:nvSpPr>
        <p:spPr bwMode="auto">
          <a:xfrm>
            <a:off x="2522705" y="4302417"/>
            <a:ext cx="330569" cy="509699"/>
          </a:xfrm>
          <a:custGeom>
            <a:avLst/>
            <a:gdLst>
              <a:gd name="T0" fmla="*/ 151 w 426"/>
              <a:gd name="T1" fmla="*/ 519 h 658"/>
              <a:gd name="T2" fmla="*/ 110 w 426"/>
              <a:gd name="T3" fmla="*/ 0 h 658"/>
              <a:gd name="T4" fmla="*/ 0 w 426"/>
              <a:gd name="T5" fmla="*/ 41 h 658"/>
              <a:gd name="T6" fmla="*/ 0 w 426"/>
              <a:gd name="T7" fmla="*/ 519 h 658"/>
              <a:gd name="T8" fmla="*/ 0 w 426"/>
              <a:gd name="T9" fmla="*/ 520 h 658"/>
              <a:gd name="T10" fmla="*/ 0 w 426"/>
              <a:gd name="T11" fmla="*/ 521 h 658"/>
              <a:gd name="T12" fmla="*/ 0 w 426"/>
              <a:gd name="T13" fmla="*/ 523 h 658"/>
              <a:gd name="T14" fmla="*/ 75 w 426"/>
              <a:gd name="T15" fmla="*/ 658 h 658"/>
              <a:gd name="T16" fmla="*/ 150 w 426"/>
              <a:gd name="T17" fmla="*/ 523 h 658"/>
              <a:gd name="T18" fmla="*/ 150 w 426"/>
              <a:gd name="T19" fmla="*/ 522 h 658"/>
              <a:gd name="T20" fmla="*/ 151 w 426"/>
              <a:gd name="T21" fmla="*/ 521 h 658"/>
              <a:gd name="T22" fmla="*/ 93 w 426"/>
              <a:gd name="T23" fmla="*/ 603 h 658"/>
              <a:gd name="T24" fmla="*/ 20 w 426"/>
              <a:gd name="T25" fmla="*/ 531 h 658"/>
              <a:gd name="T26" fmla="*/ 49 w 426"/>
              <a:gd name="T27" fmla="*/ 531 h 658"/>
              <a:gd name="T28" fmla="*/ 53 w 426"/>
              <a:gd name="T29" fmla="*/ 530 h 658"/>
              <a:gd name="T30" fmla="*/ 134 w 426"/>
              <a:gd name="T31" fmla="*/ 523 h 658"/>
              <a:gd name="T32" fmla="*/ 137 w 426"/>
              <a:gd name="T33" fmla="*/ 158 h 658"/>
              <a:gd name="T34" fmla="*/ 14 w 426"/>
              <a:gd name="T35" fmla="*/ 100 h 658"/>
              <a:gd name="T36" fmla="*/ 137 w 426"/>
              <a:gd name="T37" fmla="*/ 158 h 658"/>
              <a:gd name="T38" fmla="*/ 57 w 426"/>
              <a:gd name="T39" fmla="*/ 515 h 658"/>
              <a:gd name="T40" fmla="*/ 94 w 426"/>
              <a:gd name="T41" fmla="*/ 172 h 658"/>
              <a:gd name="T42" fmla="*/ 71 w 426"/>
              <a:gd name="T43" fmla="*/ 512 h 658"/>
              <a:gd name="T44" fmla="*/ 14 w 426"/>
              <a:gd name="T45" fmla="*/ 172 h 658"/>
              <a:gd name="T46" fmla="*/ 43 w 426"/>
              <a:gd name="T47" fmla="*/ 517 h 658"/>
              <a:gd name="T48" fmla="*/ 108 w 426"/>
              <a:gd name="T49" fmla="*/ 506 h 658"/>
              <a:gd name="T50" fmla="*/ 137 w 426"/>
              <a:gd name="T51" fmla="*/ 172 h 658"/>
              <a:gd name="T52" fmla="*/ 108 w 426"/>
              <a:gd name="T53" fmla="*/ 506 h 658"/>
              <a:gd name="T54" fmla="*/ 110 w 426"/>
              <a:gd name="T55" fmla="*/ 14 h 658"/>
              <a:gd name="T56" fmla="*/ 137 w 426"/>
              <a:gd name="T57" fmla="*/ 86 h 658"/>
              <a:gd name="T58" fmla="*/ 14 w 426"/>
              <a:gd name="T59" fmla="*/ 41 h 658"/>
              <a:gd name="T60" fmla="*/ 65 w 426"/>
              <a:gd name="T61" fmla="*/ 617 h 658"/>
              <a:gd name="T62" fmla="*/ 75 w 426"/>
              <a:gd name="T63" fmla="*/ 636 h 658"/>
              <a:gd name="T64" fmla="*/ 419 w 426"/>
              <a:gd name="T65" fmla="*/ 0 h 658"/>
              <a:gd name="T66" fmla="*/ 236 w 426"/>
              <a:gd name="T67" fmla="*/ 7 h 658"/>
              <a:gd name="T68" fmla="*/ 243 w 426"/>
              <a:gd name="T69" fmla="*/ 658 h 658"/>
              <a:gd name="T70" fmla="*/ 426 w 426"/>
              <a:gd name="T71" fmla="*/ 651 h 658"/>
              <a:gd name="T72" fmla="*/ 419 w 426"/>
              <a:gd name="T73" fmla="*/ 0 h 658"/>
              <a:gd name="T74" fmla="*/ 250 w 426"/>
              <a:gd name="T75" fmla="*/ 14 h 658"/>
              <a:gd name="T76" fmla="*/ 412 w 426"/>
              <a:gd name="T77" fmla="*/ 67 h 658"/>
              <a:gd name="T78" fmla="*/ 345 w 426"/>
              <a:gd name="T79" fmla="*/ 74 h 658"/>
              <a:gd name="T80" fmla="*/ 412 w 426"/>
              <a:gd name="T81" fmla="*/ 81 h 658"/>
              <a:gd name="T82" fmla="*/ 331 w 426"/>
              <a:gd name="T83" fmla="*/ 139 h 658"/>
              <a:gd name="T84" fmla="*/ 331 w 426"/>
              <a:gd name="T85" fmla="*/ 153 h 658"/>
              <a:gd name="T86" fmla="*/ 412 w 426"/>
              <a:gd name="T87" fmla="*/ 212 h 658"/>
              <a:gd name="T88" fmla="*/ 345 w 426"/>
              <a:gd name="T89" fmla="*/ 219 h 658"/>
              <a:gd name="T90" fmla="*/ 412 w 426"/>
              <a:gd name="T91" fmla="*/ 226 h 658"/>
              <a:gd name="T92" fmla="*/ 331 w 426"/>
              <a:gd name="T93" fmla="*/ 285 h 658"/>
              <a:gd name="T94" fmla="*/ 331 w 426"/>
              <a:gd name="T95" fmla="*/ 299 h 658"/>
              <a:gd name="T96" fmla="*/ 412 w 426"/>
              <a:gd name="T97" fmla="*/ 357 h 658"/>
              <a:gd name="T98" fmla="*/ 345 w 426"/>
              <a:gd name="T99" fmla="*/ 364 h 658"/>
              <a:gd name="T100" fmla="*/ 412 w 426"/>
              <a:gd name="T101" fmla="*/ 371 h 658"/>
              <a:gd name="T102" fmla="*/ 331 w 426"/>
              <a:gd name="T103" fmla="*/ 430 h 658"/>
              <a:gd name="T104" fmla="*/ 331 w 426"/>
              <a:gd name="T105" fmla="*/ 444 h 658"/>
              <a:gd name="T106" fmla="*/ 412 w 426"/>
              <a:gd name="T107" fmla="*/ 502 h 658"/>
              <a:gd name="T108" fmla="*/ 345 w 426"/>
              <a:gd name="T109" fmla="*/ 509 h 658"/>
              <a:gd name="T110" fmla="*/ 412 w 426"/>
              <a:gd name="T111" fmla="*/ 516 h 658"/>
              <a:gd name="T112" fmla="*/ 331 w 426"/>
              <a:gd name="T113" fmla="*/ 575 h 658"/>
              <a:gd name="T114" fmla="*/ 331 w 426"/>
              <a:gd name="T115" fmla="*/ 589 h 658"/>
              <a:gd name="T116" fmla="*/ 412 w 426"/>
              <a:gd name="T117" fmla="*/ 644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26" h="658">
                <a:moveTo>
                  <a:pt x="151" y="519"/>
                </a:moveTo>
                <a:cubicBezTo>
                  <a:pt x="151" y="519"/>
                  <a:pt x="151" y="519"/>
                  <a:pt x="151" y="519"/>
                </a:cubicBezTo>
                <a:cubicBezTo>
                  <a:pt x="151" y="41"/>
                  <a:pt x="151" y="41"/>
                  <a:pt x="151" y="41"/>
                </a:cubicBezTo>
                <a:cubicBezTo>
                  <a:pt x="151" y="19"/>
                  <a:pt x="132" y="0"/>
                  <a:pt x="110" y="0"/>
                </a:cubicBezTo>
                <a:cubicBezTo>
                  <a:pt x="41" y="0"/>
                  <a:pt x="41" y="0"/>
                  <a:pt x="41" y="0"/>
                </a:cubicBezTo>
                <a:cubicBezTo>
                  <a:pt x="18" y="0"/>
                  <a:pt x="0" y="19"/>
                  <a:pt x="0" y="41"/>
                </a:cubicBezTo>
                <a:cubicBezTo>
                  <a:pt x="0" y="519"/>
                  <a:pt x="0" y="519"/>
                  <a:pt x="0" y="519"/>
                </a:cubicBezTo>
                <a:cubicBezTo>
                  <a:pt x="0" y="519"/>
                  <a:pt x="0" y="519"/>
                  <a:pt x="0" y="519"/>
                </a:cubicBezTo>
                <a:cubicBezTo>
                  <a:pt x="0" y="519"/>
                  <a:pt x="0" y="519"/>
                  <a:pt x="0" y="519"/>
                </a:cubicBezTo>
                <a:cubicBezTo>
                  <a:pt x="0" y="519"/>
                  <a:pt x="0" y="520"/>
                  <a:pt x="0" y="520"/>
                </a:cubicBezTo>
                <a:cubicBezTo>
                  <a:pt x="0" y="520"/>
                  <a:pt x="0" y="520"/>
                  <a:pt x="0" y="521"/>
                </a:cubicBezTo>
                <a:cubicBezTo>
                  <a:pt x="0" y="521"/>
                  <a:pt x="0" y="521"/>
                  <a:pt x="0" y="521"/>
                </a:cubicBezTo>
                <a:cubicBezTo>
                  <a:pt x="0" y="522"/>
                  <a:pt x="0" y="522"/>
                  <a:pt x="0" y="522"/>
                </a:cubicBezTo>
                <a:cubicBezTo>
                  <a:pt x="0" y="522"/>
                  <a:pt x="0" y="523"/>
                  <a:pt x="0" y="523"/>
                </a:cubicBezTo>
                <a:cubicBezTo>
                  <a:pt x="69" y="654"/>
                  <a:pt x="69" y="654"/>
                  <a:pt x="69" y="654"/>
                </a:cubicBezTo>
                <a:cubicBezTo>
                  <a:pt x="70" y="657"/>
                  <a:pt x="73" y="658"/>
                  <a:pt x="75" y="658"/>
                </a:cubicBezTo>
                <a:cubicBezTo>
                  <a:pt x="78" y="658"/>
                  <a:pt x="80" y="657"/>
                  <a:pt x="81" y="654"/>
                </a:cubicBezTo>
                <a:cubicBezTo>
                  <a:pt x="150" y="523"/>
                  <a:pt x="150" y="523"/>
                  <a:pt x="150" y="523"/>
                </a:cubicBezTo>
                <a:cubicBezTo>
                  <a:pt x="150" y="523"/>
                  <a:pt x="150" y="523"/>
                  <a:pt x="150" y="522"/>
                </a:cubicBezTo>
                <a:cubicBezTo>
                  <a:pt x="150" y="522"/>
                  <a:pt x="150" y="522"/>
                  <a:pt x="150" y="522"/>
                </a:cubicBezTo>
                <a:cubicBezTo>
                  <a:pt x="151" y="522"/>
                  <a:pt x="151" y="522"/>
                  <a:pt x="151" y="521"/>
                </a:cubicBezTo>
                <a:cubicBezTo>
                  <a:pt x="151" y="521"/>
                  <a:pt x="151" y="521"/>
                  <a:pt x="151" y="521"/>
                </a:cubicBezTo>
                <a:cubicBezTo>
                  <a:pt x="151" y="520"/>
                  <a:pt x="151" y="520"/>
                  <a:pt x="151" y="519"/>
                </a:cubicBezTo>
                <a:close/>
                <a:moveTo>
                  <a:pt x="93" y="603"/>
                </a:moveTo>
                <a:cubicBezTo>
                  <a:pt x="58" y="603"/>
                  <a:pt x="58" y="603"/>
                  <a:pt x="58" y="603"/>
                </a:cubicBezTo>
                <a:cubicBezTo>
                  <a:pt x="20" y="531"/>
                  <a:pt x="20" y="531"/>
                  <a:pt x="20" y="531"/>
                </a:cubicBezTo>
                <a:cubicBezTo>
                  <a:pt x="25" y="531"/>
                  <a:pt x="29" y="532"/>
                  <a:pt x="34" y="532"/>
                </a:cubicBezTo>
                <a:cubicBezTo>
                  <a:pt x="39" y="532"/>
                  <a:pt x="44" y="531"/>
                  <a:pt x="49" y="531"/>
                </a:cubicBezTo>
                <a:cubicBezTo>
                  <a:pt x="49" y="531"/>
                  <a:pt x="50" y="531"/>
                  <a:pt x="50" y="531"/>
                </a:cubicBezTo>
                <a:cubicBezTo>
                  <a:pt x="51" y="531"/>
                  <a:pt x="53" y="530"/>
                  <a:pt x="53" y="530"/>
                </a:cubicBezTo>
                <a:cubicBezTo>
                  <a:pt x="60" y="529"/>
                  <a:pt x="67" y="527"/>
                  <a:pt x="74" y="526"/>
                </a:cubicBezTo>
                <a:cubicBezTo>
                  <a:pt x="94" y="521"/>
                  <a:pt x="114" y="517"/>
                  <a:pt x="134" y="523"/>
                </a:cubicBezTo>
                <a:lnTo>
                  <a:pt x="93" y="603"/>
                </a:lnTo>
                <a:close/>
                <a:moveTo>
                  <a:pt x="137" y="158"/>
                </a:moveTo>
                <a:cubicBezTo>
                  <a:pt x="14" y="158"/>
                  <a:pt x="14" y="158"/>
                  <a:pt x="14" y="158"/>
                </a:cubicBezTo>
                <a:cubicBezTo>
                  <a:pt x="14" y="100"/>
                  <a:pt x="14" y="100"/>
                  <a:pt x="14" y="100"/>
                </a:cubicBezTo>
                <a:cubicBezTo>
                  <a:pt x="137" y="100"/>
                  <a:pt x="137" y="100"/>
                  <a:pt x="137" y="100"/>
                </a:cubicBezTo>
                <a:lnTo>
                  <a:pt x="137" y="158"/>
                </a:lnTo>
                <a:close/>
                <a:moveTo>
                  <a:pt x="71" y="512"/>
                </a:moveTo>
                <a:cubicBezTo>
                  <a:pt x="66" y="513"/>
                  <a:pt x="62" y="514"/>
                  <a:pt x="57" y="515"/>
                </a:cubicBezTo>
                <a:cubicBezTo>
                  <a:pt x="57" y="172"/>
                  <a:pt x="57" y="172"/>
                  <a:pt x="57" y="172"/>
                </a:cubicBezTo>
                <a:cubicBezTo>
                  <a:pt x="94" y="172"/>
                  <a:pt x="94" y="172"/>
                  <a:pt x="94" y="172"/>
                </a:cubicBezTo>
                <a:cubicBezTo>
                  <a:pt x="94" y="508"/>
                  <a:pt x="94" y="508"/>
                  <a:pt x="94" y="508"/>
                </a:cubicBezTo>
                <a:cubicBezTo>
                  <a:pt x="86" y="509"/>
                  <a:pt x="78" y="511"/>
                  <a:pt x="71" y="512"/>
                </a:cubicBezTo>
                <a:close/>
                <a:moveTo>
                  <a:pt x="14" y="515"/>
                </a:moveTo>
                <a:cubicBezTo>
                  <a:pt x="14" y="172"/>
                  <a:pt x="14" y="172"/>
                  <a:pt x="14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43" y="517"/>
                  <a:pt x="43" y="517"/>
                  <a:pt x="43" y="517"/>
                </a:cubicBezTo>
                <a:cubicBezTo>
                  <a:pt x="33" y="518"/>
                  <a:pt x="23" y="518"/>
                  <a:pt x="14" y="515"/>
                </a:cubicBezTo>
                <a:close/>
                <a:moveTo>
                  <a:pt x="108" y="506"/>
                </a:moveTo>
                <a:cubicBezTo>
                  <a:pt x="108" y="172"/>
                  <a:pt x="108" y="172"/>
                  <a:pt x="108" y="172"/>
                </a:cubicBezTo>
                <a:cubicBezTo>
                  <a:pt x="137" y="172"/>
                  <a:pt x="137" y="172"/>
                  <a:pt x="137" y="172"/>
                </a:cubicBezTo>
                <a:cubicBezTo>
                  <a:pt x="137" y="510"/>
                  <a:pt x="137" y="510"/>
                  <a:pt x="137" y="510"/>
                </a:cubicBezTo>
                <a:cubicBezTo>
                  <a:pt x="127" y="507"/>
                  <a:pt x="117" y="506"/>
                  <a:pt x="108" y="506"/>
                </a:cubicBezTo>
                <a:close/>
                <a:moveTo>
                  <a:pt x="41" y="14"/>
                </a:moveTo>
                <a:cubicBezTo>
                  <a:pt x="110" y="14"/>
                  <a:pt x="110" y="14"/>
                  <a:pt x="110" y="14"/>
                </a:cubicBezTo>
                <a:cubicBezTo>
                  <a:pt x="125" y="14"/>
                  <a:pt x="137" y="26"/>
                  <a:pt x="137" y="41"/>
                </a:cubicBezTo>
                <a:cubicBezTo>
                  <a:pt x="137" y="86"/>
                  <a:pt x="137" y="86"/>
                  <a:pt x="137" y="86"/>
                </a:cubicBezTo>
                <a:cubicBezTo>
                  <a:pt x="14" y="86"/>
                  <a:pt x="14" y="86"/>
                  <a:pt x="14" y="86"/>
                </a:cubicBezTo>
                <a:cubicBezTo>
                  <a:pt x="14" y="41"/>
                  <a:pt x="14" y="41"/>
                  <a:pt x="14" y="41"/>
                </a:cubicBezTo>
                <a:cubicBezTo>
                  <a:pt x="14" y="26"/>
                  <a:pt x="26" y="14"/>
                  <a:pt x="41" y="14"/>
                </a:cubicBezTo>
                <a:close/>
                <a:moveTo>
                  <a:pt x="65" y="617"/>
                </a:moveTo>
                <a:cubicBezTo>
                  <a:pt x="85" y="617"/>
                  <a:pt x="85" y="617"/>
                  <a:pt x="85" y="617"/>
                </a:cubicBezTo>
                <a:cubicBezTo>
                  <a:pt x="75" y="636"/>
                  <a:pt x="75" y="636"/>
                  <a:pt x="75" y="636"/>
                </a:cubicBezTo>
                <a:lnTo>
                  <a:pt x="65" y="617"/>
                </a:lnTo>
                <a:close/>
                <a:moveTo>
                  <a:pt x="419" y="0"/>
                </a:moveTo>
                <a:cubicBezTo>
                  <a:pt x="243" y="0"/>
                  <a:pt x="243" y="0"/>
                  <a:pt x="243" y="0"/>
                </a:cubicBezTo>
                <a:cubicBezTo>
                  <a:pt x="239" y="0"/>
                  <a:pt x="236" y="3"/>
                  <a:pt x="236" y="7"/>
                </a:cubicBezTo>
                <a:cubicBezTo>
                  <a:pt x="236" y="651"/>
                  <a:pt x="236" y="651"/>
                  <a:pt x="236" y="651"/>
                </a:cubicBezTo>
                <a:cubicBezTo>
                  <a:pt x="236" y="655"/>
                  <a:pt x="239" y="658"/>
                  <a:pt x="243" y="658"/>
                </a:cubicBezTo>
                <a:cubicBezTo>
                  <a:pt x="419" y="658"/>
                  <a:pt x="419" y="658"/>
                  <a:pt x="419" y="658"/>
                </a:cubicBezTo>
                <a:cubicBezTo>
                  <a:pt x="423" y="658"/>
                  <a:pt x="426" y="655"/>
                  <a:pt x="426" y="651"/>
                </a:cubicBezTo>
                <a:cubicBezTo>
                  <a:pt x="426" y="7"/>
                  <a:pt x="426" y="7"/>
                  <a:pt x="426" y="7"/>
                </a:cubicBezTo>
                <a:cubicBezTo>
                  <a:pt x="426" y="3"/>
                  <a:pt x="423" y="0"/>
                  <a:pt x="419" y="0"/>
                </a:cubicBezTo>
                <a:close/>
                <a:moveTo>
                  <a:pt x="250" y="644"/>
                </a:moveTo>
                <a:cubicBezTo>
                  <a:pt x="250" y="14"/>
                  <a:pt x="250" y="14"/>
                  <a:pt x="250" y="14"/>
                </a:cubicBezTo>
                <a:cubicBezTo>
                  <a:pt x="412" y="14"/>
                  <a:pt x="412" y="14"/>
                  <a:pt x="412" y="14"/>
                </a:cubicBezTo>
                <a:cubicBezTo>
                  <a:pt x="412" y="67"/>
                  <a:pt x="412" y="67"/>
                  <a:pt x="412" y="67"/>
                </a:cubicBezTo>
                <a:cubicBezTo>
                  <a:pt x="352" y="67"/>
                  <a:pt x="352" y="67"/>
                  <a:pt x="352" y="67"/>
                </a:cubicBezTo>
                <a:cubicBezTo>
                  <a:pt x="348" y="67"/>
                  <a:pt x="345" y="70"/>
                  <a:pt x="345" y="74"/>
                </a:cubicBezTo>
                <a:cubicBezTo>
                  <a:pt x="345" y="78"/>
                  <a:pt x="348" y="81"/>
                  <a:pt x="352" y="81"/>
                </a:cubicBezTo>
                <a:cubicBezTo>
                  <a:pt x="412" y="81"/>
                  <a:pt x="412" y="81"/>
                  <a:pt x="412" y="81"/>
                </a:cubicBezTo>
                <a:cubicBezTo>
                  <a:pt x="412" y="139"/>
                  <a:pt x="412" y="139"/>
                  <a:pt x="412" y="139"/>
                </a:cubicBezTo>
                <a:cubicBezTo>
                  <a:pt x="331" y="139"/>
                  <a:pt x="331" y="139"/>
                  <a:pt x="331" y="139"/>
                </a:cubicBezTo>
                <a:cubicBezTo>
                  <a:pt x="327" y="139"/>
                  <a:pt x="324" y="143"/>
                  <a:pt x="324" y="146"/>
                </a:cubicBezTo>
                <a:cubicBezTo>
                  <a:pt x="324" y="150"/>
                  <a:pt x="327" y="153"/>
                  <a:pt x="331" y="153"/>
                </a:cubicBezTo>
                <a:cubicBezTo>
                  <a:pt x="412" y="153"/>
                  <a:pt x="412" y="153"/>
                  <a:pt x="412" y="153"/>
                </a:cubicBezTo>
                <a:cubicBezTo>
                  <a:pt x="412" y="212"/>
                  <a:pt x="412" y="212"/>
                  <a:pt x="412" y="212"/>
                </a:cubicBezTo>
                <a:cubicBezTo>
                  <a:pt x="352" y="212"/>
                  <a:pt x="352" y="212"/>
                  <a:pt x="352" y="212"/>
                </a:cubicBezTo>
                <a:cubicBezTo>
                  <a:pt x="348" y="212"/>
                  <a:pt x="345" y="215"/>
                  <a:pt x="345" y="219"/>
                </a:cubicBezTo>
                <a:cubicBezTo>
                  <a:pt x="345" y="223"/>
                  <a:pt x="348" y="226"/>
                  <a:pt x="352" y="226"/>
                </a:cubicBezTo>
                <a:cubicBezTo>
                  <a:pt x="412" y="226"/>
                  <a:pt x="412" y="226"/>
                  <a:pt x="412" y="226"/>
                </a:cubicBezTo>
                <a:cubicBezTo>
                  <a:pt x="412" y="285"/>
                  <a:pt x="412" y="285"/>
                  <a:pt x="412" y="285"/>
                </a:cubicBezTo>
                <a:cubicBezTo>
                  <a:pt x="331" y="285"/>
                  <a:pt x="331" y="285"/>
                  <a:pt x="331" y="285"/>
                </a:cubicBezTo>
                <a:cubicBezTo>
                  <a:pt x="327" y="285"/>
                  <a:pt x="324" y="288"/>
                  <a:pt x="324" y="292"/>
                </a:cubicBezTo>
                <a:cubicBezTo>
                  <a:pt x="324" y="295"/>
                  <a:pt x="327" y="299"/>
                  <a:pt x="331" y="299"/>
                </a:cubicBezTo>
                <a:cubicBezTo>
                  <a:pt x="412" y="299"/>
                  <a:pt x="412" y="299"/>
                  <a:pt x="412" y="299"/>
                </a:cubicBezTo>
                <a:cubicBezTo>
                  <a:pt x="412" y="357"/>
                  <a:pt x="412" y="357"/>
                  <a:pt x="412" y="357"/>
                </a:cubicBezTo>
                <a:cubicBezTo>
                  <a:pt x="352" y="357"/>
                  <a:pt x="352" y="357"/>
                  <a:pt x="352" y="357"/>
                </a:cubicBezTo>
                <a:cubicBezTo>
                  <a:pt x="348" y="357"/>
                  <a:pt x="345" y="360"/>
                  <a:pt x="345" y="364"/>
                </a:cubicBezTo>
                <a:cubicBezTo>
                  <a:pt x="345" y="368"/>
                  <a:pt x="348" y="371"/>
                  <a:pt x="352" y="371"/>
                </a:cubicBezTo>
                <a:cubicBezTo>
                  <a:pt x="412" y="371"/>
                  <a:pt x="412" y="371"/>
                  <a:pt x="412" y="371"/>
                </a:cubicBezTo>
                <a:cubicBezTo>
                  <a:pt x="412" y="430"/>
                  <a:pt x="412" y="430"/>
                  <a:pt x="412" y="430"/>
                </a:cubicBezTo>
                <a:cubicBezTo>
                  <a:pt x="331" y="430"/>
                  <a:pt x="331" y="430"/>
                  <a:pt x="331" y="430"/>
                </a:cubicBezTo>
                <a:cubicBezTo>
                  <a:pt x="327" y="430"/>
                  <a:pt x="324" y="433"/>
                  <a:pt x="324" y="437"/>
                </a:cubicBezTo>
                <a:cubicBezTo>
                  <a:pt x="324" y="441"/>
                  <a:pt x="327" y="444"/>
                  <a:pt x="331" y="444"/>
                </a:cubicBezTo>
                <a:cubicBezTo>
                  <a:pt x="412" y="444"/>
                  <a:pt x="412" y="444"/>
                  <a:pt x="412" y="444"/>
                </a:cubicBezTo>
                <a:cubicBezTo>
                  <a:pt x="412" y="502"/>
                  <a:pt x="412" y="502"/>
                  <a:pt x="412" y="502"/>
                </a:cubicBezTo>
                <a:cubicBezTo>
                  <a:pt x="352" y="502"/>
                  <a:pt x="352" y="502"/>
                  <a:pt x="352" y="502"/>
                </a:cubicBezTo>
                <a:cubicBezTo>
                  <a:pt x="348" y="502"/>
                  <a:pt x="345" y="505"/>
                  <a:pt x="345" y="509"/>
                </a:cubicBezTo>
                <a:cubicBezTo>
                  <a:pt x="345" y="513"/>
                  <a:pt x="348" y="516"/>
                  <a:pt x="352" y="516"/>
                </a:cubicBezTo>
                <a:cubicBezTo>
                  <a:pt x="412" y="516"/>
                  <a:pt x="412" y="516"/>
                  <a:pt x="412" y="516"/>
                </a:cubicBezTo>
                <a:cubicBezTo>
                  <a:pt x="412" y="575"/>
                  <a:pt x="412" y="575"/>
                  <a:pt x="412" y="575"/>
                </a:cubicBezTo>
                <a:cubicBezTo>
                  <a:pt x="331" y="575"/>
                  <a:pt x="331" y="575"/>
                  <a:pt x="331" y="575"/>
                </a:cubicBezTo>
                <a:cubicBezTo>
                  <a:pt x="327" y="575"/>
                  <a:pt x="324" y="578"/>
                  <a:pt x="324" y="582"/>
                </a:cubicBezTo>
                <a:cubicBezTo>
                  <a:pt x="324" y="586"/>
                  <a:pt x="327" y="589"/>
                  <a:pt x="331" y="589"/>
                </a:cubicBezTo>
                <a:cubicBezTo>
                  <a:pt x="412" y="589"/>
                  <a:pt x="412" y="589"/>
                  <a:pt x="412" y="589"/>
                </a:cubicBezTo>
                <a:cubicBezTo>
                  <a:pt x="412" y="644"/>
                  <a:pt x="412" y="644"/>
                  <a:pt x="412" y="644"/>
                </a:cubicBezTo>
                <a:lnTo>
                  <a:pt x="250" y="6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2" name="Oval 7">
            <a:extLst>
              <a:ext uri="{FF2B5EF4-FFF2-40B4-BE49-F238E27FC236}">
                <a16:creationId xmlns:a16="http://schemas.microsoft.com/office/drawing/2014/main" id="{25146CDE-F2E4-423C-845F-3462FABE1D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3333" y="414578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3" name="Freeform 104">
            <a:extLst>
              <a:ext uri="{FF2B5EF4-FFF2-40B4-BE49-F238E27FC236}">
                <a16:creationId xmlns:a16="http://schemas.microsoft.com/office/drawing/2014/main" id="{4485C848-3B67-4D3E-B2A5-E4E819A72B4E}"/>
              </a:ext>
            </a:extLst>
          </p:cNvPr>
          <p:cNvSpPr>
            <a:spLocks noEditPoints="1"/>
          </p:cNvSpPr>
          <p:nvPr/>
        </p:nvSpPr>
        <p:spPr bwMode="auto">
          <a:xfrm>
            <a:off x="1198809" y="4217612"/>
            <a:ext cx="480277" cy="609215"/>
          </a:xfrm>
          <a:custGeom>
            <a:avLst/>
            <a:gdLst>
              <a:gd name="T0" fmla="*/ 480 w 620"/>
              <a:gd name="T1" fmla="*/ 419 h 787"/>
              <a:gd name="T2" fmla="*/ 618 w 620"/>
              <a:gd name="T3" fmla="*/ 203 h 787"/>
              <a:gd name="T4" fmla="*/ 606 w 620"/>
              <a:gd name="T5" fmla="*/ 196 h 787"/>
              <a:gd name="T6" fmla="*/ 396 w 620"/>
              <a:gd name="T7" fmla="*/ 319 h 787"/>
              <a:gd name="T8" fmla="*/ 524 w 620"/>
              <a:gd name="T9" fmla="*/ 97 h 787"/>
              <a:gd name="T10" fmla="*/ 382 w 620"/>
              <a:gd name="T11" fmla="*/ 314 h 787"/>
              <a:gd name="T12" fmla="*/ 259 w 620"/>
              <a:gd name="T13" fmla="*/ 303 h 787"/>
              <a:gd name="T14" fmla="*/ 419 w 620"/>
              <a:gd name="T15" fmla="*/ 27 h 787"/>
              <a:gd name="T16" fmla="*/ 245 w 620"/>
              <a:gd name="T17" fmla="*/ 299 h 787"/>
              <a:gd name="T18" fmla="*/ 292 w 620"/>
              <a:gd name="T19" fmla="*/ 11 h 787"/>
              <a:gd name="T20" fmla="*/ 280 w 620"/>
              <a:gd name="T21" fmla="*/ 4 h 787"/>
              <a:gd name="T22" fmla="*/ 153 w 620"/>
              <a:gd name="T23" fmla="*/ 212 h 787"/>
              <a:gd name="T24" fmla="*/ 153 w 620"/>
              <a:gd name="T25" fmla="*/ 213 h 787"/>
              <a:gd name="T26" fmla="*/ 0 w 620"/>
              <a:gd name="T27" fmla="*/ 779 h 787"/>
              <a:gd name="T28" fmla="*/ 0 w 620"/>
              <a:gd name="T29" fmla="*/ 780 h 787"/>
              <a:gd name="T30" fmla="*/ 0 w 620"/>
              <a:gd name="T31" fmla="*/ 781 h 787"/>
              <a:gd name="T32" fmla="*/ 0 w 620"/>
              <a:gd name="T33" fmla="*/ 782 h 787"/>
              <a:gd name="T34" fmla="*/ 1 w 620"/>
              <a:gd name="T35" fmla="*/ 784 h 787"/>
              <a:gd name="T36" fmla="*/ 2 w 620"/>
              <a:gd name="T37" fmla="*/ 785 h 787"/>
              <a:gd name="T38" fmla="*/ 2 w 620"/>
              <a:gd name="T39" fmla="*/ 786 h 787"/>
              <a:gd name="T40" fmla="*/ 4 w 620"/>
              <a:gd name="T41" fmla="*/ 786 h 787"/>
              <a:gd name="T42" fmla="*/ 5 w 620"/>
              <a:gd name="T43" fmla="*/ 787 h 787"/>
              <a:gd name="T44" fmla="*/ 5 w 620"/>
              <a:gd name="T45" fmla="*/ 787 h 787"/>
              <a:gd name="T46" fmla="*/ 7 w 620"/>
              <a:gd name="T47" fmla="*/ 787 h 787"/>
              <a:gd name="T48" fmla="*/ 521 w 620"/>
              <a:gd name="T49" fmla="*/ 787 h 787"/>
              <a:gd name="T50" fmla="*/ 521 w 620"/>
              <a:gd name="T51" fmla="*/ 773 h 787"/>
              <a:gd name="T52" fmla="*/ 479 w 620"/>
              <a:gd name="T53" fmla="*/ 420 h 787"/>
              <a:gd name="T54" fmla="*/ 317 w 620"/>
              <a:gd name="T55" fmla="*/ 322 h 787"/>
              <a:gd name="T56" fmla="*/ 129 w 620"/>
              <a:gd name="T57" fmla="*/ 719 h 787"/>
              <a:gd name="T58" fmla="*/ 46 w 620"/>
              <a:gd name="T59" fmla="*/ 661 h 787"/>
              <a:gd name="T60" fmla="*/ 317 w 620"/>
              <a:gd name="T61" fmla="*/ 322 h 787"/>
              <a:gd name="T62" fmla="*/ 43 w 620"/>
              <a:gd name="T63" fmla="*/ 675 h 787"/>
              <a:gd name="T64" fmla="*/ 117 w 620"/>
              <a:gd name="T65" fmla="*/ 730 h 787"/>
              <a:gd name="T66" fmla="*/ 16 w 620"/>
              <a:gd name="T67" fmla="*/ 773 h 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20" h="787">
                <a:moveTo>
                  <a:pt x="479" y="420"/>
                </a:moveTo>
                <a:cubicBezTo>
                  <a:pt x="479" y="419"/>
                  <a:pt x="480" y="419"/>
                  <a:pt x="480" y="419"/>
                </a:cubicBezTo>
                <a:cubicBezTo>
                  <a:pt x="480" y="419"/>
                  <a:pt x="480" y="419"/>
                  <a:pt x="480" y="419"/>
                </a:cubicBezTo>
                <a:cubicBezTo>
                  <a:pt x="618" y="203"/>
                  <a:pt x="618" y="203"/>
                  <a:pt x="618" y="203"/>
                </a:cubicBezTo>
                <a:cubicBezTo>
                  <a:pt x="620" y="200"/>
                  <a:pt x="619" y="196"/>
                  <a:pt x="616" y="193"/>
                </a:cubicBezTo>
                <a:cubicBezTo>
                  <a:pt x="613" y="191"/>
                  <a:pt x="608" y="192"/>
                  <a:pt x="606" y="196"/>
                </a:cubicBezTo>
                <a:cubicBezTo>
                  <a:pt x="475" y="401"/>
                  <a:pt x="475" y="401"/>
                  <a:pt x="475" y="401"/>
                </a:cubicBezTo>
                <a:cubicBezTo>
                  <a:pt x="450" y="353"/>
                  <a:pt x="423" y="330"/>
                  <a:pt x="396" y="319"/>
                </a:cubicBezTo>
                <a:cubicBezTo>
                  <a:pt x="527" y="107"/>
                  <a:pt x="527" y="107"/>
                  <a:pt x="527" y="107"/>
                </a:cubicBezTo>
                <a:cubicBezTo>
                  <a:pt x="529" y="103"/>
                  <a:pt x="528" y="99"/>
                  <a:pt x="524" y="97"/>
                </a:cubicBezTo>
                <a:cubicBezTo>
                  <a:pt x="521" y="95"/>
                  <a:pt x="517" y="96"/>
                  <a:pt x="515" y="99"/>
                </a:cubicBezTo>
                <a:cubicBezTo>
                  <a:pt x="382" y="314"/>
                  <a:pt x="382" y="314"/>
                  <a:pt x="382" y="314"/>
                </a:cubicBezTo>
                <a:cubicBezTo>
                  <a:pt x="360" y="308"/>
                  <a:pt x="338" y="308"/>
                  <a:pt x="317" y="308"/>
                </a:cubicBezTo>
                <a:cubicBezTo>
                  <a:pt x="297" y="308"/>
                  <a:pt x="278" y="308"/>
                  <a:pt x="259" y="303"/>
                </a:cubicBezTo>
                <a:cubicBezTo>
                  <a:pt x="421" y="36"/>
                  <a:pt x="421" y="36"/>
                  <a:pt x="421" y="36"/>
                </a:cubicBezTo>
                <a:cubicBezTo>
                  <a:pt x="423" y="33"/>
                  <a:pt x="422" y="29"/>
                  <a:pt x="419" y="27"/>
                </a:cubicBezTo>
                <a:cubicBezTo>
                  <a:pt x="415" y="25"/>
                  <a:pt x="411" y="26"/>
                  <a:pt x="409" y="29"/>
                </a:cubicBezTo>
                <a:cubicBezTo>
                  <a:pt x="245" y="299"/>
                  <a:pt x="245" y="299"/>
                  <a:pt x="245" y="299"/>
                </a:cubicBezTo>
                <a:cubicBezTo>
                  <a:pt x="218" y="288"/>
                  <a:pt x="192" y="265"/>
                  <a:pt x="167" y="216"/>
                </a:cubicBezTo>
                <a:cubicBezTo>
                  <a:pt x="292" y="11"/>
                  <a:pt x="292" y="11"/>
                  <a:pt x="292" y="11"/>
                </a:cubicBezTo>
                <a:cubicBezTo>
                  <a:pt x="294" y="8"/>
                  <a:pt x="293" y="4"/>
                  <a:pt x="289" y="2"/>
                </a:cubicBezTo>
                <a:cubicBezTo>
                  <a:pt x="286" y="0"/>
                  <a:pt x="282" y="1"/>
                  <a:pt x="280" y="4"/>
                </a:cubicBezTo>
                <a:cubicBezTo>
                  <a:pt x="153" y="212"/>
                  <a:pt x="153" y="212"/>
                  <a:pt x="153" y="212"/>
                </a:cubicBezTo>
                <a:cubicBezTo>
                  <a:pt x="153" y="212"/>
                  <a:pt x="153" y="212"/>
                  <a:pt x="153" y="212"/>
                </a:cubicBezTo>
                <a:cubicBezTo>
                  <a:pt x="153" y="212"/>
                  <a:pt x="153" y="213"/>
                  <a:pt x="153" y="213"/>
                </a:cubicBezTo>
                <a:cubicBezTo>
                  <a:pt x="153" y="213"/>
                  <a:pt x="153" y="213"/>
                  <a:pt x="153" y="213"/>
                </a:cubicBezTo>
                <a:cubicBezTo>
                  <a:pt x="0" y="779"/>
                  <a:pt x="0" y="779"/>
                  <a:pt x="0" y="779"/>
                </a:cubicBezTo>
                <a:cubicBezTo>
                  <a:pt x="0" y="779"/>
                  <a:pt x="0" y="779"/>
                  <a:pt x="0" y="779"/>
                </a:cubicBezTo>
                <a:cubicBezTo>
                  <a:pt x="0" y="779"/>
                  <a:pt x="0" y="779"/>
                  <a:pt x="0" y="779"/>
                </a:cubicBezTo>
                <a:cubicBezTo>
                  <a:pt x="0" y="780"/>
                  <a:pt x="0" y="780"/>
                  <a:pt x="0" y="780"/>
                </a:cubicBezTo>
                <a:cubicBezTo>
                  <a:pt x="0" y="780"/>
                  <a:pt x="0" y="780"/>
                  <a:pt x="0" y="780"/>
                </a:cubicBezTo>
                <a:cubicBezTo>
                  <a:pt x="0" y="781"/>
                  <a:pt x="0" y="781"/>
                  <a:pt x="0" y="781"/>
                </a:cubicBezTo>
                <a:cubicBezTo>
                  <a:pt x="0" y="781"/>
                  <a:pt x="0" y="781"/>
                  <a:pt x="0" y="782"/>
                </a:cubicBezTo>
                <a:cubicBezTo>
                  <a:pt x="0" y="782"/>
                  <a:pt x="0" y="782"/>
                  <a:pt x="0" y="782"/>
                </a:cubicBezTo>
                <a:cubicBezTo>
                  <a:pt x="0" y="782"/>
                  <a:pt x="1" y="783"/>
                  <a:pt x="1" y="783"/>
                </a:cubicBezTo>
                <a:cubicBezTo>
                  <a:pt x="1" y="783"/>
                  <a:pt x="1" y="783"/>
                  <a:pt x="1" y="784"/>
                </a:cubicBezTo>
                <a:cubicBezTo>
                  <a:pt x="1" y="784"/>
                  <a:pt x="1" y="784"/>
                  <a:pt x="1" y="784"/>
                </a:cubicBezTo>
                <a:cubicBezTo>
                  <a:pt x="1" y="784"/>
                  <a:pt x="1" y="784"/>
                  <a:pt x="2" y="785"/>
                </a:cubicBezTo>
                <a:cubicBezTo>
                  <a:pt x="2" y="785"/>
                  <a:pt x="2" y="785"/>
                  <a:pt x="2" y="785"/>
                </a:cubicBezTo>
                <a:cubicBezTo>
                  <a:pt x="2" y="785"/>
                  <a:pt x="2" y="785"/>
                  <a:pt x="2" y="786"/>
                </a:cubicBezTo>
                <a:cubicBezTo>
                  <a:pt x="3" y="786"/>
                  <a:pt x="3" y="786"/>
                  <a:pt x="3" y="786"/>
                </a:cubicBezTo>
                <a:cubicBezTo>
                  <a:pt x="3" y="786"/>
                  <a:pt x="3" y="786"/>
                  <a:pt x="4" y="786"/>
                </a:cubicBezTo>
                <a:cubicBezTo>
                  <a:pt x="4" y="787"/>
                  <a:pt x="4" y="787"/>
                  <a:pt x="4" y="787"/>
                </a:cubicBezTo>
                <a:cubicBezTo>
                  <a:pt x="4" y="787"/>
                  <a:pt x="5" y="787"/>
                  <a:pt x="5" y="787"/>
                </a:cubicBezTo>
                <a:cubicBezTo>
                  <a:pt x="5" y="787"/>
                  <a:pt x="5" y="787"/>
                  <a:pt x="5" y="787"/>
                </a:cubicBezTo>
                <a:cubicBezTo>
                  <a:pt x="5" y="787"/>
                  <a:pt x="5" y="787"/>
                  <a:pt x="5" y="787"/>
                </a:cubicBezTo>
                <a:cubicBezTo>
                  <a:pt x="6" y="787"/>
                  <a:pt x="7" y="787"/>
                  <a:pt x="7" y="787"/>
                </a:cubicBezTo>
                <a:cubicBezTo>
                  <a:pt x="7" y="787"/>
                  <a:pt x="7" y="787"/>
                  <a:pt x="7" y="787"/>
                </a:cubicBezTo>
                <a:cubicBezTo>
                  <a:pt x="7" y="787"/>
                  <a:pt x="7" y="787"/>
                  <a:pt x="7" y="787"/>
                </a:cubicBezTo>
                <a:cubicBezTo>
                  <a:pt x="521" y="787"/>
                  <a:pt x="521" y="787"/>
                  <a:pt x="521" y="787"/>
                </a:cubicBezTo>
                <a:cubicBezTo>
                  <a:pt x="525" y="787"/>
                  <a:pt x="528" y="784"/>
                  <a:pt x="528" y="780"/>
                </a:cubicBezTo>
                <a:cubicBezTo>
                  <a:pt x="528" y="777"/>
                  <a:pt x="525" y="773"/>
                  <a:pt x="521" y="773"/>
                </a:cubicBezTo>
                <a:cubicBezTo>
                  <a:pt x="90" y="773"/>
                  <a:pt x="90" y="773"/>
                  <a:pt x="90" y="773"/>
                </a:cubicBezTo>
                <a:cubicBezTo>
                  <a:pt x="479" y="420"/>
                  <a:pt x="479" y="420"/>
                  <a:pt x="479" y="420"/>
                </a:cubicBezTo>
                <a:cubicBezTo>
                  <a:pt x="479" y="420"/>
                  <a:pt x="479" y="420"/>
                  <a:pt x="479" y="420"/>
                </a:cubicBezTo>
                <a:close/>
                <a:moveTo>
                  <a:pt x="317" y="322"/>
                </a:moveTo>
                <a:cubicBezTo>
                  <a:pt x="370" y="322"/>
                  <a:pt x="420" y="322"/>
                  <a:pt x="466" y="413"/>
                </a:cubicBezTo>
                <a:cubicBezTo>
                  <a:pt x="129" y="719"/>
                  <a:pt x="129" y="719"/>
                  <a:pt x="129" y="719"/>
                </a:cubicBezTo>
                <a:cubicBezTo>
                  <a:pt x="119" y="718"/>
                  <a:pt x="106" y="705"/>
                  <a:pt x="94" y="693"/>
                </a:cubicBezTo>
                <a:cubicBezTo>
                  <a:pt x="80" y="679"/>
                  <a:pt x="64" y="663"/>
                  <a:pt x="46" y="661"/>
                </a:cubicBezTo>
                <a:cubicBezTo>
                  <a:pt x="161" y="234"/>
                  <a:pt x="161" y="234"/>
                  <a:pt x="161" y="234"/>
                </a:cubicBezTo>
                <a:cubicBezTo>
                  <a:pt x="209" y="322"/>
                  <a:pt x="264" y="322"/>
                  <a:pt x="317" y="322"/>
                </a:cubicBezTo>
                <a:close/>
                <a:moveTo>
                  <a:pt x="16" y="773"/>
                </a:moveTo>
                <a:cubicBezTo>
                  <a:pt x="43" y="675"/>
                  <a:pt x="43" y="675"/>
                  <a:pt x="43" y="675"/>
                </a:cubicBezTo>
                <a:cubicBezTo>
                  <a:pt x="56" y="674"/>
                  <a:pt x="70" y="689"/>
                  <a:pt x="84" y="703"/>
                </a:cubicBezTo>
                <a:cubicBezTo>
                  <a:pt x="95" y="714"/>
                  <a:pt x="106" y="725"/>
                  <a:pt x="117" y="730"/>
                </a:cubicBezTo>
                <a:cubicBezTo>
                  <a:pt x="69" y="773"/>
                  <a:pt x="69" y="773"/>
                  <a:pt x="69" y="773"/>
                </a:cubicBezTo>
                <a:lnTo>
                  <a:pt x="16" y="7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4" name="Oval 10">
            <a:extLst>
              <a:ext uri="{FF2B5EF4-FFF2-40B4-BE49-F238E27FC236}">
                <a16:creationId xmlns:a16="http://schemas.microsoft.com/office/drawing/2014/main" id="{309DA4B4-37A5-4C3B-996D-7582577956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1563" y="414578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5" name="Freeform 145">
            <a:extLst>
              <a:ext uri="{FF2B5EF4-FFF2-40B4-BE49-F238E27FC236}">
                <a16:creationId xmlns:a16="http://schemas.microsoft.com/office/drawing/2014/main" id="{9B481164-37A3-48A0-87CB-70B17E803B67}"/>
              </a:ext>
            </a:extLst>
          </p:cNvPr>
          <p:cNvSpPr>
            <a:spLocks noEditPoints="1"/>
          </p:cNvSpPr>
          <p:nvPr/>
        </p:nvSpPr>
        <p:spPr bwMode="auto">
          <a:xfrm>
            <a:off x="5087186" y="4317995"/>
            <a:ext cx="370851" cy="496718"/>
          </a:xfrm>
          <a:custGeom>
            <a:avLst/>
            <a:gdLst>
              <a:gd name="T0" fmla="*/ 472 w 479"/>
              <a:gd name="T1" fmla="*/ 641 h 641"/>
              <a:gd name="T2" fmla="*/ 0 w 479"/>
              <a:gd name="T3" fmla="*/ 36 h 641"/>
              <a:gd name="T4" fmla="*/ 57 w 479"/>
              <a:gd name="T5" fmla="*/ 36 h 641"/>
              <a:gd name="T6" fmla="*/ 14 w 479"/>
              <a:gd name="T7" fmla="*/ 627 h 641"/>
              <a:gd name="T8" fmla="*/ 406 w 479"/>
              <a:gd name="T9" fmla="*/ 43 h 641"/>
              <a:gd name="T10" fmla="*/ 392 w 479"/>
              <a:gd name="T11" fmla="*/ 65 h 641"/>
              <a:gd name="T12" fmla="*/ 406 w 479"/>
              <a:gd name="T13" fmla="*/ 7 h 641"/>
              <a:gd name="T14" fmla="*/ 479 w 479"/>
              <a:gd name="T15" fmla="*/ 36 h 641"/>
              <a:gd name="T16" fmla="*/ 244 w 479"/>
              <a:gd name="T17" fmla="*/ 43 h 641"/>
              <a:gd name="T18" fmla="*/ 266 w 479"/>
              <a:gd name="T19" fmla="*/ 29 h 641"/>
              <a:gd name="T20" fmla="*/ 237 w 479"/>
              <a:gd name="T21" fmla="*/ 0 h 641"/>
              <a:gd name="T22" fmla="*/ 237 w 479"/>
              <a:gd name="T23" fmla="*/ 72 h 641"/>
              <a:gd name="T24" fmla="*/ 190 w 479"/>
              <a:gd name="T25" fmla="*/ 43 h 641"/>
              <a:gd name="T26" fmla="*/ 212 w 479"/>
              <a:gd name="T27" fmla="*/ 29 h 641"/>
              <a:gd name="T28" fmla="*/ 183 w 479"/>
              <a:gd name="T29" fmla="*/ 0 h 641"/>
              <a:gd name="T30" fmla="*/ 183 w 479"/>
              <a:gd name="T31" fmla="*/ 72 h 641"/>
              <a:gd name="T32" fmla="*/ 135 w 479"/>
              <a:gd name="T33" fmla="*/ 43 h 641"/>
              <a:gd name="T34" fmla="*/ 157 w 479"/>
              <a:gd name="T35" fmla="*/ 29 h 641"/>
              <a:gd name="T36" fmla="*/ 128 w 479"/>
              <a:gd name="T37" fmla="*/ 0 h 641"/>
              <a:gd name="T38" fmla="*/ 128 w 479"/>
              <a:gd name="T39" fmla="*/ 72 h 641"/>
              <a:gd name="T40" fmla="*/ 81 w 479"/>
              <a:gd name="T41" fmla="*/ 43 h 641"/>
              <a:gd name="T42" fmla="*/ 103 w 479"/>
              <a:gd name="T43" fmla="*/ 29 h 641"/>
              <a:gd name="T44" fmla="*/ 74 w 479"/>
              <a:gd name="T45" fmla="*/ 0 h 641"/>
              <a:gd name="T46" fmla="*/ 74 w 479"/>
              <a:gd name="T47" fmla="*/ 72 h 641"/>
              <a:gd name="T48" fmla="*/ 352 w 479"/>
              <a:gd name="T49" fmla="*/ 43 h 641"/>
              <a:gd name="T50" fmla="*/ 374 w 479"/>
              <a:gd name="T51" fmla="*/ 29 h 641"/>
              <a:gd name="T52" fmla="*/ 345 w 479"/>
              <a:gd name="T53" fmla="*/ 0 h 641"/>
              <a:gd name="T54" fmla="*/ 345 w 479"/>
              <a:gd name="T55" fmla="*/ 72 h 641"/>
              <a:gd name="T56" fmla="*/ 298 w 479"/>
              <a:gd name="T57" fmla="*/ 43 h 641"/>
              <a:gd name="T58" fmla="*/ 320 w 479"/>
              <a:gd name="T59" fmla="*/ 29 h 641"/>
              <a:gd name="T60" fmla="*/ 291 w 479"/>
              <a:gd name="T61" fmla="*/ 0 h 641"/>
              <a:gd name="T62" fmla="*/ 291 w 479"/>
              <a:gd name="T63" fmla="*/ 72 h 641"/>
              <a:gd name="T64" fmla="*/ 73 w 479"/>
              <a:gd name="T65" fmla="*/ 554 h 641"/>
              <a:gd name="T66" fmla="*/ 406 w 479"/>
              <a:gd name="T67" fmla="*/ 554 h 641"/>
              <a:gd name="T68" fmla="*/ 80 w 479"/>
              <a:gd name="T69" fmla="*/ 488 h 641"/>
              <a:gd name="T70" fmla="*/ 399 w 479"/>
              <a:gd name="T71" fmla="*/ 502 h 641"/>
              <a:gd name="T72" fmla="*/ 399 w 479"/>
              <a:gd name="T73" fmla="*/ 428 h 641"/>
              <a:gd name="T74" fmla="*/ 80 w 479"/>
              <a:gd name="T75" fmla="*/ 442 h 641"/>
              <a:gd name="T76" fmla="*/ 399 w 479"/>
              <a:gd name="T77" fmla="*/ 428 h 641"/>
              <a:gd name="T78" fmla="*/ 73 w 479"/>
              <a:gd name="T79" fmla="*/ 376 h 641"/>
              <a:gd name="T80" fmla="*/ 406 w 479"/>
              <a:gd name="T81" fmla="*/ 376 h 641"/>
              <a:gd name="T82" fmla="*/ 80 w 479"/>
              <a:gd name="T83" fmla="*/ 310 h 641"/>
              <a:gd name="T84" fmla="*/ 399 w 479"/>
              <a:gd name="T85" fmla="*/ 324 h 641"/>
              <a:gd name="T86" fmla="*/ 399 w 479"/>
              <a:gd name="T87" fmla="*/ 250 h 641"/>
              <a:gd name="T88" fmla="*/ 80 w 479"/>
              <a:gd name="T89" fmla="*/ 264 h 641"/>
              <a:gd name="T90" fmla="*/ 399 w 479"/>
              <a:gd name="T91" fmla="*/ 250 h 641"/>
              <a:gd name="T92" fmla="*/ 73 w 479"/>
              <a:gd name="T93" fmla="*/ 198 h 641"/>
              <a:gd name="T94" fmla="*/ 406 w 479"/>
              <a:gd name="T95" fmla="*/ 198 h 641"/>
              <a:gd name="T96" fmla="*/ 80 w 479"/>
              <a:gd name="T97" fmla="*/ 131 h 641"/>
              <a:gd name="T98" fmla="*/ 399 w 479"/>
              <a:gd name="T99" fmla="*/ 145 h 6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79" h="641">
                <a:moveTo>
                  <a:pt x="479" y="36"/>
                </a:moveTo>
                <a:cubicBezTo>
                  <a:pt x="479" y="634"/>
                  <a:pt x="479" y="634"/>
                  <a:pt x="479" y="634"/>
                </a:cubicBezTo>
                <a:cubicBezTo>
                  <a:pt x="479" y="638"/>
                  <a:pt x="476" y="641"/>
                  <a:pt x="472" y="641"/>
                </a:cubicBezTo>
                <a:cubicBezTo>
                  <a:pt x="7" y="641"/>
                  <a:pt x="7" y="641"/>
                  <a:pt x="7" y="641"/>
                </a:cubicBezTo>
                <a:cubicBezTo>
                  <a:pt x="3" y="641"/>
                  <a:pt x="0" y="638"/>
                  <a:pt x="0" y="634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32"/>
                  <a:pt x="3" y="29"/>
                  <a:pt x="7" y="29"/>
                </a:cubicBezTo>
                <a:cubicBezTo>
                  <a:pt x="50" y="29"/>
                  <a:pt x="50" y="29"/>
                  <a:pt x="50" y="29"/>
                </a:cubicBezTo>
                <a:cubicBezTo>
                  <a:pt x="54" y="29"/>
                  <a:pt x="57" y="32"/>
                  <a:pt x="57" y="36"/>
                </a:cubicBezTo>
                <a:cubicBezTo>
                  <a:pt x="57" y="40"/>
                  <a:pt x="54" y="43"/>
                  <a:pt x="50" y="43"/>
                </a:cubicBezTo>
                <a:cubicBezTo>
                  <a:pt x="14" y="43"/>
                  <a:pt x="14" y="43"/>
                  <a:pt x="14" y="43"/>
                </a:cubicBezTo>
                <a:cubicBezTo>
                  <a:pt x="14" y="627"/>
                  <a:pt x="14" y="627"/>
                  <a:pt x="14" y="627"/>
                </a:cubicBezTo>
                <a:cubicBezTo>
                  <a:pt x="465" y="627"/>
                  <a:pt x="465" y="627"/>
                  <a:pt x="465" y="627"/>
                </a:cubicBezTo>
                <a:cubicBezTo>
                  <a:pt x="465" y="43"/>
                  <a:pt x="465" y="43"/>
                  <a:pt x="465" y="43"/>
                </a:cubicBezTo>
                <a:cubicBezTo>
                  <a:pt x="406" y="43"/>
                  <a:pt x="406" y="43"/>
                  <a:pt x="406" y="43"/>
                </a:cubicBezTo>
                <a:cubicBezTo>
                  <a:pt x="406" y="65"/>
                  <a:pt x="406" y="65"/>
                  <a:pt x="406" y="65"/>
                </a:cubicBezTo>
                <a:cubicBezTo>
                  <a:pt x="406" y="69"/>
                  <a:pt x="403" y="72"/>
                  <a:pt x="399" y="72"/>
                </a:cubicBezTo>
                <a:cubicBezTo>
                  <a:pt x="395" y="72"/>
                  <a:pt x="392" y="69"/>
                  <a:pt x="392" y="65"/>
                </a:cubicBezTo>
                <a:cubicBezTo>
                  <a:pt x="392" y="7"/>
                  <a:pt x="392" y="7"/>
                  <a:pt x="392" y="7"/>
                </a:cubicBezTo>
                <a:cubicBezTo>
                  <a:pt x="392" y="3"/>
                  <a:pt x="395" y="0"/>
                  <a:pt x="399" y="0"/>
                </a:cubicBezTo>
                <a:cubicBezTo>
                  <a:pt x="403" y="0"/>
                  <a:pt x="406" y="3"/>
                  <a:pt x="406" y="7"/>
                </a:cubicBezTo>
                <a:cubicBezTo>
                  <a:pt x="406" y="29"/>
                  <a:pt x="406" y="29"/>
                  <a:pt x="406" y="29"/>
                </a:cubicBezTo>
                <a:cubicBezTo>
                  <a:pt x="472" y="29"/>
                  <a:pt x="472" y="29"/>
                  <a:pt x="472" y="29"/>
                </a:cubicBezTo>
                <a:cubicBezTo>
                  <a:pt x="476" y="29"/>
                  <a:pt x="479" y="32"/>
                  <a:pt x="479" y="36"/>
                </a:cubicBezTo>
                <a:close/>
                <a:moveTo>
                  <a:pt x="237" y="72"/>
                </a:moveTo>
                <a:cubicBezTo>
                  <a:pt x="241" y="72"/>
                  <a:pt x="244" y="69"/>
                  <a:pt x="244" y="65"/>
                </a:cubicBezTo>
                <a:cubicBezTo>
                  <a:pt x="244" y="43"/>
                  <a:pt x="244" y="43"/>
                  <a:pt x="244" y="43"/>
                </a:cubicBezTo>
                <a:cubicBezTo>
                  <a:pt x="266" y="43"/>
                  <a:pt x="266" y="43"/>
                  <a:pt x="266" y="43"/>
                </a:cubicBezTo>
                <a:cubicBezTo>
                  <a:pt x="269" y="43"/>
                  <a:pt x="273" y="40"/>
                  <a:pt x="273" y="36"/>
                </a:cubicBezTo>
                <a:cubicBezTo>
                  <a:pt x="273" y="32"/>
                  <a:pt x="269" y="29"/>
                  <a:pt x="266" y="29"/>
                </a:cubicBezTo>
                <a:cubicBezTo>
                  <a:pt x="244" y="29"/>
                  <a:pt x="244" y="29"/>
                  <a:pt x="244" y="29"/>
                </a:cubicBezTo>
                <a:cubicBezTo>
                  <a:pt x="244" y="7"/>
                  <a:pt x="244" y="7"/>
                  <a:pt x="244" y="7"/>
                </a:cubicBezTo>
                <a:cubicBezTo>
                  <a:pt x="244" y="3"/>
                  <a:pt x="241" y="0"/>
                  <a:pt x="237" y="0"/>
                </a:cubicBezTo>
                <a:cubicBezTo>
                  <a:pt x="233" y="0"/>
                  <a:pt x="230" y="3"/>
                  <a:pt x="230" y="7"/>
                </a:cubicBezTo>
                <a:cubicBezTo>
                  <a:pt x="230" y="65"/>
                  <a:pt x="230" y="65"/>
                  <a:pt x="230" y="65"/>
                </a:cubicBezTo>
                <a:cubicBezTo>
                  <a:pt x="230" y="69"/>
                  <a:pt x="233" y="72"/>
                  <a:pt x="237" y="72"/>
                </a:cubicBezTo>
                <a:close/>
                <a:moveTo>
                  <a:pt x="183" y="72"/>
                </a:moveTo>
                <a:cubicBezTo>
                  <a:pt x="186" y="72"/>
                  <a:pt x="190" y="69"/>
                  <a:pt x="190" y="65"/>
                </a:cubicBezTo>
                <a:cubicBezTo>
                  <a:pt x="190" y="43"/>
                  <a:pt x="190" y="43"/>
                  <a:pt x="190" y="43"/>
                </a:cubicBezTo>
                <a:cubicBezTo>
                  <a:pt x="212" y="43"/>
                  <a:pt x="212" y="43"/>
                  <a:pt x="212" y="43"/>
                </a:cubicBezTo>
                <a:cubicBezTo>
                  <a:pt x="215" y="43"/>
                  <a:pt x="219" y="40"/>
                  <a:pt x="219" y="36"/>
                </a:cubicBezTo>
                <a:cubicBezTo>
                  <a:pt x="219" y="32"/>
                  <a:pt x="215" y="29"/>
                  <a:pt x="212" y="29"/>
                </a:cubicBezTo>
                <a:cubicBezTo>
                  <a:pt x="190" y="29"/>
                  <a:pt x="190" y="29"/>
                  <a:pt x="190" y="29"/>
                </a:cubicBezTo>
                <a:cubicBezTo>
                  <a:pt x="190" y="7"/>
                  <a:pt x="190" y="7"/>
                  <a:pt x="190" y="7"/>
                </a:cubicBezTo>
                <a:cubicBezTo>
                  <a:pt x="190" y="3"/>
                  <a:pt x="186" y="0"/>
                  <a:pt x="183" y="0"/>
                </a:cubicBezTo>
                <a:cubicBezTo>
                  <a:pt x="179" y="0"/>
                  <a:pt x="176" y="3"/>
                  <a:pt x="176" y="7"/>
                </a:cubicBezTo>
                <a:cubicBezTo>
                  <a:pt x="176" y="65"/>
                  <a:pt x="176" y="65"/>
                  <a:pt x="176" y="65"/>
                </a:cubicBezTo>
                <a:cubicBezTo>
                  <a:pt x="176" y="69"/>
                  <a:pt x="179" y="72"/>
                  <a:pt x="183" y="72"/>
                </a:cubicBezTo>
                <a:close/>
                <a:moveTo>
                  <a:pt x="128" y="72"/>
                </a:moveTo>
                <a:cubicBezTo>
                  <a:pt x="132" y="72"/>
                  <a:pt x="135" y="69"/>
                  <a:pt x="135" y="65"/>
                </a:cubicBezTo>
                <a:cubicBezTo>
                  <a:pt x="135" y="43"/>
                  <a:pt x="135" y="43"/>
                  <a:pt x="135" y="43"/>
                </a:cubicBezTo>
                <a:cubicBezTo>
                  <a:pt x="157" y="43"/>
                  <a:pt x="157" y="43"/>
                  <a:pt x="157" y="43"/>
                </a:cubicBezTo>
                <a:cubicBezTo>
                  <a:pt x="161" y="43"/>
                  <a:pt x="164" y="40"/>
                  <a:pt x="164" y="36"/>
                </a:cubicBezTo>
                <a:cubicBezTo>
                  <a:pt x="164" y="32"/>
                  <a:pt x="161" y="29"/>
                  <a:pt x="157" y="29"/>
                </a:cubicBezTo>
                <a:cubicBezTo>
                  <a:pt x="135" y="29"/>
                  <a:pt x="135" y="29"/>
                  <a:pt x="135" y="29"/>
                </a:cubicBezTo>
                <a:cubicBezTo>
                  <a:pt x="135" y="7"/>
                  <a:pt x="135" y="7"/>
                  <a:pt x="135" y="7"/>
                </a:cubicBezTo>
                <a:cubicBezTo>
                  <a:pt x="135" y="3"/>
                  <a:pt x="132" y="0"/>
                  <a:pt x="128" y="0"/>
                </a:cubicBezTo>
                <a:cubicBezTo>
                  <a:pt x="125" y="0"/>
                  <a:pt x="121" y="3"/>
                  <a:pt x="121" y="7"/>
                </a:cubicBezTo>
                <a:cubicBezTo>
                  <a:pt x="121" y="65"/>
                  <a:pt x="121" y="65"/>
                  <a:pt x="121" y="65"/>
                </a:cubicBezTo>
                <a:cubicBezTo>
                  <a:pt x="121" y="69"/>
                  <a:pt x="125" y="72"/>
                  <a:pt x="128" y="72"/>
                </a:cubicBezTo>
                <a:close/>
                <a:moveTo>
                  <a:pt x="74" y="72"/>
                </a:moveTo>
                <a:cubicBezTo>
                  <a:pt x="78" y="72"/>
                  <a:pt x="81" y="69"/>
                  <a:pt x="81" y="65"/>
                </a:cubicBezTo>
                <a:cubicBezTo>
                  <a:pt x="81" y="43"/>
                  <a:pt x="81" y="43"/>
                  <a:pt x="81" y="43"/>
                </a:cubicBezTo>
                <a:cubicBezTo>
                  <a:pt x="103" y="43"/>
                  <a:pt x="103" y="43"/>
                  <a:pt x="103" y="43"/>
                </a:cubicBezTo>
                <a:cubicBezTo>
                  <a:pt x="107" y="43"/>
                  <a:pt x="110" y="40"/>
                  <a:pt x="110" y="36"/>
                </a:cubicBezTo>
                <a:cubicBezTo>
                  <a:pt x="110" y="32"/>
                  <a:pt x="107" y="29"/>
                  <a:pt x="103" y="29"/>
                </a:cubicBezTo>
                <a:cubicBezTo>
                  <a:pt x="81" y="29"/>
                  <a:pt x="81" y="29"/>
                  <a:pt x="81" y="29"/>
                </a:cubicBezTo>
                <a:cubicBezTo>
                  <a:pt x="81" y="7"/>
                  <a:pt x="81" y="7"/>
                  <a:pt x="81" y="7"/>
                </a:cubicBezTo>
                <a:cubicBezTo>
                  <a:pt x="81" y="3"/>
                  <a:pt x="78" y="0"/>
                  <a:pt x="74" y="0"/>
                </a:cubicBezTo>
                <a:cubicBezTo>
                  <a:pt x="71" y="0"/>
                  <a:pt x="67" y="3"/>
                  <a:pt x="67" y="7"/>
                </a:cubicBezTo>
                <a:cubicBezTo>
                  <a:pt x="67" y="65"/>
                  <a:pt x="67" y="65"/>
                  <a:pt x="67" y="65"/>
                </a:cubicBezTo>
                <a:cubicBezTo>
                  <a:pt x="67" y="69"/>
                  <a:pt x="71" y="72"/>
                  <a:pt x="74" y="72"/>
                </a:cubicBezTo>
                <a:close/>
                <a:moveTo>
                  <a:pt x="345" y="72"/>
                </a:moveTo>
                <a:cubicBezTo>
                  <a:pt x="349" y="72"/>
                  <a:pt x="352" y="69"/>
                  <a:pt x="352" y="65"/>
                </a:cubicBezTo>
                <a:cubicBezTo>
                  <a:pt x="352" y="43"/>
                  <a:pt x="352" y="43"/>
                  <a:pt x="352" y="43"/>
                </a:cubicBezTo>
                <a:cubicBezTo>
                  <a:pt x="374" y="43"/>
                  <a:pt x="374" y="43"/>
                  <a:pt x="374" y="43"/>
                </a:cubicBezTo>
                <a:cubicBezTo>
                  <a:pt x="378" y="43"/>
                  <a:pt x="381" y="40"/>
                  <a:pt x="381" y="36"/>
                </a:cubicBezTo>
                <a:cubicBezTo>
                  <a:pt x="381" y="32"/>
                  <a:pt x="378" y="29"/>
                  <a:pt x="374" y="29"/>
                </a:cubicBezTo>
                <a:cubicBezTo>
                  <a:pt x="352" y="29"/>
                  <a:pt x="352" y="29"/>
                  <a:pt x="352" y="29"/>
                </a:cubicBezTo>
                <a:cubicBezTo>
                  <a:pt x="352" y="7"/>
                  <a:pt x="352" y="7"/>
                  <a:pt x="352" y="7"/>
                </a:cubicBezTo>
                <a:cubicBezTo>
                  <a:pt x="352" y="3"/>
                  <a:pt x="349" y="0"/>
                  <a:pt x="345" y="0"/>
                </a:cubicBezTo>
                <a:cubicBezTo>
                  <a:pt x="341" y="0"/>
                  <a:pt x="338" y="3"/>
                  <a:pt x="338" y="7"/>
                </a:cubicBezTo>
                <a:cubicBezTo>
                  <a:pt x="338" y="65"/>
                  <a:pt x="338" y="65"/>
                  <a:pt x="338" y="65"/>
                </a:cubicBezTo>
                <a:cubicBezTo>
                  <a:pt x="338" y="69"/>
                  <a:pt x="341" y="72"/>
                  <a:pt x="345" y="72"/>
                </a:cubicBezTo>
                <a:close/>
                <a:moveTo>
                  <a:pt x="291" y="72"/>
                </a:moveTo>
                <a:cubicBezTo>
                  <a:pt x="295" y="72"/>
                  <a:pt x="298" y="69"/>
                  <a:pt x="298" y="65"/>
                </a:cubicBezTo>
                <a:cubicBezTo>
                  <a:pt x="298" y="43"/>
                  <a:pt x="298" y="43"/>
                  <a:pt x="298" y="43"/>
                </a:cubicBezTo>
                <a:cubicBezTo>
                  <a:pt x="320" y="43"/>
                  <a:pt x="320" y="43"/>
                  <a:pt x="320" y="43"/>
                </a:cubicBezTo>
                <a:cubicBezTo>
                  <a:pt x="324" y="43"/>
                  <a:pt x="327" y="40"/>
                  <a:pt x="327" y="36"/>
                </a:cubicBezTo>
                <a:cubicBezTo>
                  <a:pt x="327" y="32"/>
                  <a:pt x="324" y="29"/>
                  <a:pt x="320" y="29"/>
                </a:cubicBezTo>
                <a:cubicBezTo>
                  <a:pt x="298" y="29"/>
                  <a:pt x="298" y="29"/>
                  <a:pt x="298" y="29"/>
                </a:cubicBezTo>
                <a:cubicBezTo>
                  <a:pt x="298" y="7"/>
                  <a:pt x="298" y="7"/>
                  <a:pt x="298" y="7"/>
                </a:cubicBezTo>
                <a:cubicBezTo>
                  <a:pt x="298" y="3"/>
                  <a:pt x="295" y="0"/>
                  <a:pt x="291" y="0"/>
                </a:cubicBezTo>
                <a:cubicBezTo>
                  <a:pt x="287" y="0"/>
                  <a:pt x="284" y="3"/>
                  <a:pt x="284" y="7"/>
                </a:cubicBezTo>
                <a:cubicBezTo>
                  <a:pt x="284" y="65"/>
                  <a:pt x="284" y="65"/>
                  <a:pt x="284" y="65"/>
                </a:cubicBezTo>
                <a:cubicBezTo>
                  <a:pt x="284" y="69"/>
                  <a:pt x="287" y="72"/>
                  <a:pt x="291" y="72"/>
                </a:cubicBezTo>
                <a:close/>
                <a:moveTo>
                  <a:pt x="399" y="547"/>
                </a:moveTo>
                <a:cubicBezTo>
                  <a:pt x="80" y="547"/>
                  <a:pt x="80" y="547"/>
                  <a:pt x="80" y="547"/>
                </a:cubicBezTo>
                <a:cubicBezTo>
                  <a:pt x="76" y="547"/>
                  <a:pt x="73" y="550"/>
                  <a:pt x="73" y="554"/>
                </a:cubicBezTo>
                <a:cubicBezTo>
                  <a:pt x="73" y="558"/>
                  <a:pt x="76" y="561"/>
                  <a:pt x="80" y="561"/>
                </a:cubicBezTo>
                <a:cubicBezTo>
                  <a:pt x="399" y="561"/>
                  <a:pt x="399" y="561"/>
                  <a:pt x="399" y="561"/>
                </a:cubicBezTo>
                <a:cubicBezTo>
                  <a:pt x="403" y="561"/>
                  <a:pt x="406" y="558"/>
                  <a:pt x="406" y="554"/>
                </a:cubicBezTo>
                <a:cubicBezTo>
                  <a:pt x="406" y="550"/>
                  <a:pt x="403" y="547"/>
                  <a:pt x="399" y="547"/>
                </a:cubicBezTo>
                <a:close/>
                <a:moveTo>
                  <a:pt x="399" y="488"/>
                </a:moveTo>
                <a:cubicBezTo>
                  <a:pt x="80" y="488"/>
                  <a:pt x="80" y="488"/>
                  <a:pt x="80" y="488"/>
                </a:cubicBezTo>
                <a:cubicBezTo>
                  <a:pt x="76" y="488"/>
                  <a:pt x="73" y="491"/>
                  <a:pt x="73" y="495"/>
                </a:cubicBezTo>
                <a:cubicBezTo>
                  <a:pt x="73" y="499"/>
                  <a:pt x="76" y="502"/>
                  <a:pt x="80" y="502"/>
                </a:cubicBezTo>
                <a:cubicBezTo>
                  <a:pt x="399" y="502"/>
                  <a:pt x="399" y="502"/>
                  <a:pt x="399" y="502"/>
                </a:cubicBezTo>
                <a:cubicBezTo>
                  <a:pt x="403" y="502"/>
                  <a:pt x="406" y="499"/>
                  <a:pt x="406" y="495"/>
                </a:cubicBezTo>
                <a:cubicBezTo>
                  <a:pt x="406" y="491"/>
                  <a:pt x="403" y="488"/>
                  <a:pt x="399" y="488"/>
                </a:cubicBezTo>
                <a:close/>
                <a:moveTo>
                  <a:pt x="399" y="428"/>
                </a:moveTo>
                <a:cubicBezTo>
                  <a:pt x="80" y="428"/>
                  <a:pt x="80" y="428"/>
                  <a:pt x="80" y="428"/>
                </a:cubicBezTo>
                <a:cubicBezTo>
                  <a:pt x="76" y="428"/>
                  <a:pt x="73" y="431"/>
                  <a:pt x="73" y="435"/>
                </a:cubicBezTo>
                <a:cubicBezTo>
                  <a:pt x="73" y="439"/>
                  <a:pt x="76" y="442"/>
                  <a:pt x="80" y="442"/>
                </a:cubicBezTo>
                <a:cubicBezTo>
                  <a:pt x="399" y="442"/>
                  <a:pt x="399" y="442"/>
                  <a:pt x="399" y="442"/>
                </a:cubicBezTo>
                <a:cubicBezTo>
                  <a:pt x="403" y="442"/>
                  <a:pt x="406" y="439"/>
                  <a:pt x="406" y="435"/>
                </a:cubicBezTo>
                <a:cubicBezTo>
                  <a:pt x="406" y="431"/>
                  <a:pt x="403" y="428"/>
                  <a:pt x="399" y="428"/>
                </a:cubicBezTo>
                <a:close/>
                <a:moveTo>
                  <a:pt x="399" y="369"/>
                </a:moveTo>
                <a:cubicBezTo>
                  <a:pt x="80" y="369"/>
                  <a:pt x="80" y="369"/>
                  <a:pt x="80" y="369"/>
                </a:cubicBezTo>
                <a:cubicBezTo>
                  <a:pt x="76" y="369"/>
                  <a:pt x="73" y="372"/>
                  <a:pt x="73" y="376"/>
                </a:cubicBezTo>
                <a:cubicBezTo>
                  <a:pt x="73" y="380"/>
                  <a:pt x="76" y="383"/>
                  <a:pt x="80" y="383"/>
                </a:cubicBezTo>
                <a:cubicBezTo>
                  <a:pt x="399" y="383"/>
                  <a:pt x="399" y="383"/>
                  <a:pt x="399" y="383"/>
                </a:cubicBezTo>
                <a:cubicBezTo>
                  <a:pt x="403" y="383"/>
                  <a:pt x="406" y="380"/>
                  <a:pt x="406" y="376"/>
                </a:cubicBezTo>
                <a:cubicBezTo>
                  <a:pt x="406" y="372"/>
                  <a:pt x="403" y="369"/>
                  <a:pt x="399" y="369"/>
                </a:cubicBezTo>
                <a:close/>
                <a:moveTo>
                  <a:pt x="399" y="310"/>
                </a:moveTo>
                <a:cubicBezTo>
                  <a:pt x="80" y="310"/>
                  <a:pt x="80" y="310"/>
                  <a:pt x="80" y="310"/>
                </a:cubicBezTo>
                <a:cubicBezTo>
                  <a:pt x="76" y="310"/>
                  <a:pt x="73" y="313"/>
                  <a:pt x="73" y="317"/>
                </a:cubicBezTo>
                <a:cubicBezTo>
                  <a:pt x="73" y="320"/>
                  <a:pt x="76" y="324"/>
                  <a:pt x="80" y="324"/>
                </a:cubicBezTo>
                <a:cubicBezTo>
                  <a:pt x="399" y="324"/>
                  <a:pt x="399" y="324"/>
                  <a:pt x="399" y="324"/>
                </a:cubicBezTo>
                <a:cubicBezTo>
                  <a:pt x="403" y="324"/>
                  <a:pt x="406" y="320"/>
                  <a:pt x="406" y="317"/>
                </a:cubicBezTo>
                <a:cubicBezTo>
                  <a:pt x="406" y="313"/>
                  <a:pt x="403" y="310"/>
                  <a:pt x="399" y="310"/>
                </a:cubicBezTo>
                <a:close/>
                <a:moveTo>
                  <a:pt x="399" y="250"/>
                </a:moveTo>
                <a:cubicBezTo>
                  <a:pt x="80" y="250"/>
                  <a:pt x="80" y="250"/>
                  <a:pt x="80" y="250"/>
                </a:cubicBezTo>
                <a:cubicBezTo>
                  <a:pt x="76" y="250"/>
                  <a:pt x="73" y="253"/>
                  <a:pt x="73" y="257"/>
                </a:cubicBezTo>
                <a:cubicBezTo>
                  <a:pt x="73" y="261"/>
                  <a:pt x="76" y="264"/>
                  <a:pt x="80" y="264"/>
                </a:cubicBezTo>
                <a:cubicBezTo>
                  <a:pt x="399" y="264"/>
                  <a:pt x="399" y="264"/>
                  <a:pt x="399" y="264"/>
                </a:cubicBezTo>
                <a:cubicBezTo>
                  <a:pt x="403" y="264"/>
                  <a:pt x="406" y="261"/>
                  <a:pt x="406" y="257"/>
                </a:cubicBezTo>
                <a:cubicBezTo>
                  <a:pt x="406" y="253"/>
                  <a:pt x="403" y="250"/>
                  <a:pt x="399" y="250"/>
                </a:cubicBezTo>
                <a:close/>
                <a:moveTo>
                  <a:pt x="399" y="191"/>
                </a:moveTo>
                <a:cubicBezTo>
                  <a:pt x="80" y="191"/>
                  <a:pt x="80" y="191"/>
                  <a:pt x="80" y="191"/>
                </a:cubicBezTo>
                <a:cubicBezTo>
                  <a:pt x="76" y="191"/>
                  <a:pt x="73" y="194"/>
                  <a:pt x="73" y="198"/>
                </a:cubicBezTo>
                <a:cubicBezTo>
                  <a:pt x="73" y="202"/>
                  <a:pt x="76" y="205"/>
                  <a:pt x="80" y="205"/>
                </a:cubicBezTo>
                <a:cubicBezTo>
                  <a:pt x="399" y="205"/>
                  <a:pt x="399" y="205"/>
                  <a:pt x="399" y="205"/>
                </a:cubicBezTo>
                <a:cubicBezTo>
                  <a:pt x="403" y="205"/>
                  <a:pt x="406" y="202"/>
                  <a:pt x="406" y="198"/>
                </a:cubicBezTo>
                <a:cubicBezTo>
                  <a:pt x="406" y="194"/>
                  <a:pt x="403" y="191"/>
                  <a:pt x="399" y="191"/>
                </a:cubicBezTo>
                <a:close/>
                <a:moveTo>
                  <a:pt x="399" y="131"/>
                </a:moveTo>
                <a:cubicBezTo>
                  <a:pt x="80" y="131"/>
                  <a:pt x="80" y="131"/>
                  <a:pt x="80" y="131"/>
                </a:cubicBezTo>
                <a:cubicBezTo>
                  <a:pt x="76" y="131"/>
                  <a:pt x="73" y="134"/>
                  <a:pt x="73" y="138"/>
                </a:cubicBezTo>
                <a:cubicBezTo>
                  <a:pt x="73" y="142"/>
                  <a:pt x="76" y="145"/>
                  <a:pt x="80" y="145"/>
                </a:cubicBezTo>
                <a:cubicBezTo>
                  <a:pt x="399" y="145"/>
                  <a:pt x="399" y="145"/>
                  <a:pt x="399" y="145"/>
                </a:cubicBezTo>
                <a:cubicBezTo>
                  <a:pt x="403" y="145"/>
                  <a:pt x="406" y="142"/>
                  <a:pt x="406" y="138"/>
                </a:cubicBezTo>
                <a:cubicBezTo>
                  <a:pt x="406" y="134"/>
                  <a:pt x="403" y="131"/>
                  <a:pt x="399" y="13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6" name="Oval 75">
            <a:extLst>
              <a:ext uri="{FF2B5EF4-FFF2-40B4-BE49-F238E27FC236}">
                <a16:creationId xmlns:a16="http://schemas.microsoft.com/office/drawing/2014/main" id="{30848507-B23F-4515-B767-3495889DD4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307" y="4145787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7" name="Freeform 151">
            <a:extLst>
              <a:ext uri="{FF2B5EF4-FFF2-40B4-BE49-F238E27FC236}">
                <a16:creationId xmlns:a16="http://schemas.microsoft.com/office/drawing/2014/main" id="{D1766BE0-59CF-4D56-ABC7-C3ED45A8CFB6}"/>
              </a:ext>
            </a:extLst>
          </p:cNvPr>
          <p:cNvSpPr>
            <a:spLocks noEditPoints="1"/>
          </p:cNvSpPr>
          <p:nvPr/>
        </p:nvSpPr>
        <p:spPr bwMode="auto">
          <a:xfrm>
            <a:off x="6414000" y="4292649"/>
            <a:ext cx="303573" cy="479985"/>
          </a:xfrm>
          <a:custGeom>
            <a:avLst/>
            <a:gdLst>
              <a:gd name="T0" fmla="*/ 341 w 392"/>
              <a:gd name="T1" fmla="*/ 317 h 620"/>
              <a:gd name="T2" fmla="*/ 175 w 392"/>
              <a:gd name="T3" fmla="*/ 482 h 620"/>
              <a:gd name="T4" fmla="*/ 170 w 392"/>
              <a:gd name="T5" fmla="*/ 479 h 620"/>
              <a:gd name="T6" fmla="*/ 76 w 392"/>
              <a:gd name="T7" fmla="*/ 374 h 620"/>
              <a:gd name="T8" fmla="*/ 175 w 392"/>
              <a:gd name="T9" fmla="*/ 462 h 620"/>
              <a:gd name="T10" fmla="*/ 341 w 392"/>
              <a:gd name="T11" fmla="*/ 305 h 620"/>
              <a:gd name="T12" fmla="*/ 392 w 392"/>
              <a:gd name="T13" fmla="*/ 585 h 620"/>
              <a:gd name="T14" fmla="*/ 35 w 392"/>
              <a:gd name="T15" fmla="*/ 620 h 620"/>
              <a:gd name="T16" fmla="*/ 0 w 392"/>
              <a:gd name="T17" fmla="*/ 143 h 620"/>
              <a:gd name="T18" fmla="*/ 70 w 392"/>
              <a:gd name="T19" fmla="*/ 107 h 620"/>
              <a:gd name="T20" fmla="*/ 105 w 392"/>
              <a:gd name="T21" fmla="*/ 66 h 620"/>
              <a:gd name="T22" fmla="*/ 133 w 392"/>
              <a:gd name="T23" fmla="*/ 48 h 620"/>
              <a:gd name="T24" fmla="*/ 218 w 392"/>
              <a:gd name="T25" fmla="*/ 0 h 620"/>
              <a:gd name="T26" fmla="*/ 267 w 392"/>
              <a:gd name="T27" fmla="*/ 66 h 620"/>
              <a:gd name="T28" fmla="*/ 330 w 392"/>
              <a:gd name="T29" fmla="*/ 102 h 620"/>
              <a:gd name="T30" fmla="*/ 357 w 392"/>
              <a:gd name="T31" fmla="*/ 107 h 620"/>
              <a:gd name="T32" fmla="*/ 86 w 392"/>
              <a:gd name="T33" fmla="*/ 129 h 620"/>
              <a:gd name="T34" fmla="*/ 294 w 392"/>
              <a:gd name="T35" fmla="*/ 148 h 620"/>
              <a:gd name="T36" fmla="*/ 314 w 392"/>
              <a:gd name="T37" fmla="*/ 102 h 620"/>
              <a:gd name="T38" fmla="*/ 259 w 392"/>
              <a:gd name="T39" fmla="*/ 82 h 620"/>
              <a:gd name="T40" fmla="*/ 251 w 392"/>
              <a:gd name="T41" fmla="*/ 48 h 620"/>
              <a:gd name="T42" fmla="*/ 182 w 392"/>
              <a:gd name="T43" fmla="*/ 16 h 620"/>
              <a:gd name="T44" fmla="*/ 149 w 392"/>
              <a:gd name="T45" fmla="*/ 74 h 620"/>
              <a:gd name="T46" fmla="*/ 105 w 392"/>
              <a:gd name="T47" fmla="*/ 82 h 620"/>
              <a:gd name="T48" fmla="*/ 86 w 392"/>
              <a:gd name="T49" fmla="*/ 129 h 620"/>
              <a:gd name="T50" fmla="*/ 357 w 392"/>
              <a:gd name="T51" fmla="*/ 123 h 620"/>
              <a:gd name="T52" fmla="*/ 330 w 392"/>
              <a:gd name="T53" fmla="*/ 129 h 620"/>
              <a:gd name="T54" fmla="*/ 105 w 392"/>
              <a:gd name="T55" fmla="*/ 164 h 620"/>
              <a:gd name="T56" fmla="*/ 70 w 392"/>
              <a:gd name="T57" fmla="*/ 123 h 620"/>
              <a:gd name="T58" fmla="*/ 16 w 392"/>
              <a:gd name="T59" fmla="*/ 143 h 620"/>
              <a:gd name="T60" fmla="*/ 35 w 392"/>
              <a:gd name="T61" fmla="*/ 604 h 620"/>
              <a:gd name="T62" fmla="*/ 376 w 392"/>
              <a:gd name="T63" fmla="*/ 585 h 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2" h="620">
                <a:moveTo>
                  <a:pt x="341" y="305"/>
                </a:moveTo>
                <a:cubicBezTo>
                  <a:pt x="345" y="308"/>
                  <a:pt x="345" y="313"/>
                  <a:pt x="341" y="317"/>
                </a:cubicBezTo>
                <a:cubicBezTo>
                  <a:pt x="181" y="479"/>
                  <a:pt x="181" y="479"/>
                  <a:pt x="181" y="479"/>
                </a:cubicBezTo>
                <a:cubicBezTo>
                  <a:pt x="180" y="481"/>
                  <a:pt x="178" y="482"/>
                  <a:pt x="175" y="482"/>
                </a:cubicBezTo>
                <a:cubicBezTo>
                  <a:pt x="175" y="482"/>
                  <a:pt x="175" y="482"/>
                  <a:pt x="175" y="482"/>
                </a:cubicBezTo>
                <a:cubicBezTo>
                  <a:pt x="173" y="482"/>
                  <a:pt x="171" y="481"/>
                  <a:pt x="170" y="479"/>
                </a:cubicBezTo>
                <a:cubicBezTo>
                  <a:pt x="76" y="385"/>
                  <a:pt x="76" y="385"/>
                  <a:pt x="76" y="385"/>
                </a:cubicBezTo>
                <a:cubicBezTo>
                  <a:pt x="73" y="382"/>
                  <a:pt x="73" y="377"/>
                  <a:pt x="76" y="374"/>
                </a:cubicBezTo>
                <a:cubicBezTo>
                  <a:pt x="79" y="371"/>
                  <a:pt x="84" y="371"/>
                  <a:pt x="87" y="374"/>
                </a:cubicBezTo>
                <a:cubicBezTo>
                  <a:pt x="175" y="462"/>
                  <a:pt x="175" y="462"/>
                  <a:pt x="175" y="462"/>
                </a:cubicBezTo>
                <a:cubicBezTo>
                  <a:pt x="330" y="305"/>
                  <a:pt x="330" y="305"/>
                  <a:pt x="330" y="305"/>
                </a:cubicBezTo>
                <a:cubicBezTo>
                  <a:pt x="333" y="302"/>
                  <a:pt x="338" y="302"/>
                  <a:pt x="341" y="305"/>
                </a:cubicBezTo>
                <a:close/>
                <a:moveTo>
                  <a:pt x="392" y="143"/>
                </a:moveTo>
                <a:cubicBezTo>
                  <a:pt x="392" y="585"/>
                  <a:pt x="392" y="585"/>
                  <a:pt x="392" y="585"/>
                </a:cubicBezTo>
                <a:cubicBezTo>
                  <a:pt x="392" y="604"/>
                  <a:pt x="376" y="620"/>
                  <a:pt x="357" y="620"/>
                </a:cubicBezTo>
                <a:cubicBezTo>
                  <a:pt x="35" y="620"/>
                  <a:pt x="35" y="620"/>
                  <a:pt x="35" y="620"/>
                </a:cubicBezTo>
                <a:cubicBezTo>
                  <a:pt x="16" y="620"/>
                  <a:pt x="0" y="604"/>
                  <a:pt x="0" y="585"/>
                </a:cubicBezTo>
                <a:cubicBezTo>
                  <a:pt x="0" y="143"/>
                  <a:pt x="0" y="143"/>
                  <a:pt x="0" y="143"/>
                </a:cubicBezTo>
                <a:cubicBezTo>
                  <a:pt x="0" y="123"/>
                  <a:pt x="16" y="107"/>
                  <a:pt x="35" y="107"/>
                </a:cubicBezTo>
                <a:cubicBezTo>
                  <a:pt x="70" y="107"/>
                  <a:pt x="70" y="107"/>
                  <a:pt x="70" y="107"/>
                </a:cubicBezTo>
                <a:cubicBezTo>
                  <a:pt x="70" y="102"/>
                  <a:pt x="70" y="102"/>
                  <a:pt x="70" y="102"/>
                </a:cubicBezTo>
                <a:cubicBezTo>
                  <a:pt x="70" y="82"/>
                  <a:pt x="86" y="66"/>
                  <a:pt x="105" y="66"/>
                </a:cubicBezTo>
                <a:cubicBezTo>
                  <a:pt x="133" y="66"/>
                  <a:pt x="133" y="66"/>
                  <a:pt x="133" y="66"/>
                </a:cubicBezTo>
                <a:cubicBezTo>
                  <a:pt x="133" y="48"/>
                  <a:pt x="133" y="48"/>
                  <a:pt x="133" y="48"/>
                </a:cubicBezTo>
                <a:cubicBezTo>
                  <a:pt x="133" y="22"/>
                  <a:pt x="155" y="0"/>
                  <a:pt x="182" y="0"/>
                </a:cubicBezTo>
                <a:cubicBezTo>
                  <a:pt x="218" y="0"/>
                  <a:pt x="218" y="0"/>
                  <a:pt x="218" y="0"/>
                </a:cubicBezTo>
                <a:cubicBezTo>
                  <a:pt x="245" y="0"/>
                  <a:pt x="267" y="22"/>
                  <a:pt x="267" y="48"/>
                </a:cubicBezTo>
                <a:cubicBezTo>
                  <a:pt x="267" y="66"/>
                  <a:pt x="267" y="66"/>
                  <a:pt x="267" y="66"/>
                </a:cubicBezTo>
                <a:cubicBezTo>
                  <a:pt x="294" y="66"/>
                  <a:pt x="294" y="66"/>
                  <a:pt x="294" y="66"/>
                </a:cubicBezTo>
                <a:cubicBezTo>
                  <a:pt x="314" y="66"/>
                  <a:pt x="330" y="82"/>
                  <a:pt x="330" y="102"/>
                </a:cubicBezTo>
                <a:cubicBezTo>
                  <a:pt x="330" y="107"/>
                  <a:pt x="330" y="107"/>
                  <a:pt x="330" y="107"/>
                </a:cubicBezTo>
                <a:cubicBezTo>
                  <a:pt x="357" y="107"/>
                  <a:pt x="357" y="107"/>
                  <a:pt x="357" y="107"/>
                </a:cubicBezTo>
                <a:cubicBezTo>
                  <a:pt x="376" y="107"/>
                  <a:pt x="392" y="123"/>
                  <a:pt x="392" y="143"/>
                </a:cubicBezTo>
                <a:close/>
                <a:moveTo>
                  <a:pt x="86" y="129"/>
                </a:moveTo>
                <a:cubicBezTo>
                  <a:pt x="86" y="139"/>
                  <a:pt x="95" y="148"/>
                  <a:pt x="105" y="148"/>
                </a:cubicBezTo>
                <a:cubicBezTo>
                  <a:pt x="294" y="148"/>
                  <a:pt x="294" y="148"/>
                  <a:pt x="294" y="148"/>
                </a:cubicBezTo>
                <a:cubicBezTo>
                  <a:pt x="305" y="148"/>
                  <a:pt x="314" y="139"/>
                  <a:pt x="314" y="129"/>
                </a:cubicBezTo>
                <a:cubicBezTo>
                  <a:pt x="314" y="102"/>
                  <a:pt x="314" y="102"/>
                  <a:pt x="314" y="102"/>
                </a:cubicBezTo>
                <a:cubicBezTo>
                  <a:pt x="314" y="91"/>
                  <a:pt x="305" y="82"/>
                  <a:pt x="294" y="82"/>
                </a:cubicBezTo>
                <a:cubicBezTo>
                  <a:pt x="259" y="82"/>
                  <a:pt x="259" y="82"/>
                  <a:pt x="259" y="82"/>
                </a:cubicBezTo>
                <a:cubicBezTo>
                  <a:pt x="254" y="82"/>
                  <a:pt x="251" y="79"/>
                  <a:pt x="251" y="74"/>
                </a:cubicBezTo>
                <a:cubicBezTo>
                  <a:pt x="251" y="48"/>
                  <a:pt x="251" y="48"/>
                  <a:pt x="251" y="48"/>
                </a:cubicBezTo>
                <a:cubicBezTo>
                  <a:pt x="251" y="30"/>
                  <a:pt x="236" y="16"/>
                  <a:pt x="218" y="16"/>
                </a:cubicBezTo>
                <a:cubicBezTo>
                  <a:pt x="182" y="16"/>
                  <a:pt x="182" y="16"/>
                  <a:pt x="182" y="16"/>
                </a:cubicBezTo>
                <a:cubicBezTo>
                  <a:pt x="164" y="16"/>
                  <a:pt x="149" y="30"/>
                  <a:pt x="149" y="48"/>
                </a:cubicBezTo>
                <a:cubicBezTo>
                  <a:pt x="149" y="74"/>
                  <a:pt x="149" y="74"/>
                  <a:pt x="149" y="74"/>
                </a:cubicBezTo>
                <a:cubicBezTo>
                  <a:pt x="149" y="79"/>
                  <a:pt x="146" y="82"/>
                  <a:pt x="141" y="82"/>
                </a:cubicBezTo>
                <a:cubicBezTo>
                  <a:pt x="105" y="82"/>
                  <a:pt x="105" y="82"/>
                  <a:pt x="105" y="82"/>
                </a:cubicBezTo>
                <a:cubicBezTo>
                  <a:pt x="95" y="82"/>
                  <a:pt x="86" y="91"/>
                  <a:pt x="86" y="102"/>
                </a:cubicBezTo>
                <a:lnTo>
                  <a:pt x="86" y="129"/>
                </a:lnTo>
                <a:close/>
                <a:moveTo>
                  <a:pt x="376" y="143"/>
                </a:moveTo>
                <a:cubicBezTo>
                  <a:pt x="376" y="132"/>
                  <a:pt x="368" y="123"/>
                  <a:pt x="357" y="123"/>
                </a:cubicBezTo>
                <a:cubicBezTo>
                  <a:pt x="330" y="123"/>
                  <a:pt x="330" y="123"/>
                  <a:pt x="330" y="123"/>
                </a:cubicBezTo>
                <a:cubicBezTo>
                  <a:pt x="330" y="129"/>
                  <a:pt x="330" y="129"/>
                  <a:pt x="330" y="129"/>
                </a:cubicBezTo>
                <a:cubicBezTo>
                  <a:pt x="330" y="148"/>
                  <a:pt x="314" y="164"/>
                  <a:pt x="294" y="164"/>
                </a:cubicBezTo>
                <a:cubicBezTo>
                  <a:pt x="105" y="164"/>
                  <a:pt x="105" y="164"/>
                  <a:pt x="105" y="164"/>
                </a:cubicBezTo>
                <a:cubicBezTo>
                  <a:pt x="86" y="164"/>
                  <a:pt x="70" y="148"/>
                  <a:pt x="70" y="129"/>
                </a:cubicBezTo>
                <a:cubicBezTo>
                  <a:pt x="70" y="123"/>
                  <a:pt x="70" y="123"/>
                  <a:pt x="70" y="123"/>
                </a:cubicBezTo>
                <a:cubicBezTo>
                  <a:pt x="35" y="123"/>
                  <a:pt x="35" y="123"/>
                  <a:pt x="35" y="123"/>
                </a:cubicBezTo>
                <a:cubicBezTo>
                  <a:pt x="24" y="123"/>
                  <a:pt x="16" y="132"/>
                  <a:pt x="16" y="143"/>
                </a:cubicBezTo>
                <a:cubicBezTo>
                  <a:pt x="16" y="585"/>
                  <a:pt x="16" y="585"/>
                  <a:pt x="16" y="585"/>
                </a:cubicBezTo>
                <a:cubicBezTo>
                  <a:pt x="16" y="596"/>
                  <a:pt x="24" y="604"/>
                  <a:pt x="35" y="604"/>
                </a:cubicBezTo>
                <a:cubicBezTo>
                  <a:pt x="357" y="604"/>
                  <a:pt x="357" y="604"/>
                  <a:pt x="357" y="604"/>
                </a:cubicBezTo>
                <a:cubicBezTo>
                  <a:pt x="368" y="604"/>
                  <a:pt x="376" y="596"/>
                  <a:pt x="376" y="585"/>
                </a:cubicBezTo>
                <a:lnTo>
                  <a:pt x="376" y="14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8" name="Oval 13">
            <a:extLst>
              <a:ext uri="{FF2B5EF4-FFF2-40B4-BE49-F238E27FC236}">
                <a16:creationId xmlns:a16="http://schemas.microsoft.com/office/drawing/2014/main" id="{139688B2-5F67-48D5-95A6-6631F368C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13336" y="4138640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9" name="Freeform 86">
            <a:extLst>
              <a:ext uri="{FF2B5EF4-FFF2-40B4-BE49-F238E27FC236}">
                <a16:creationId xmlns:a16="http://schemas.microsoft.com/office/drawing/2014/main" id="{7F98049B-7D69-4CB7-A41D-E71BA457F6FA}"/>
              </a:ext>
            </a:extLst>
          </p:cNvPr>
          <p:cNvSpPr>
            <a:spLocks noEditPoints="1"/>
          </p:cNvSpPr>
          <p:nvPr/>
        </p:nvSpPr>
        <p:spPr bwMode="auto">
          <a:xfrm>
            <a:off x="7605446" y="4303059"/>
            <a:ext cx="440470" cy="493256"/>
          </a:xfrm>
          <a:custGeom>
            <a:avLst/>
            <a:gdLst>
              <a:gd name="T0" fmla="*/ 559 w 569"/>
              <a:gd name="T1" fmla="*/ 10 h 637"/>
              <a:gd name="T2" fmla="*/ 467 w 569"/>
              <a:gd name="T3" fmla="*/ 51 h 637"/>
              <a:gd name="T4" fmla="*/ 306 w 569"/>
              <a:gd name="T5" fmla="*/ 194 h 637"/>
              <a:gd name="T6" fmla="*/ 122 w 569"/>
              <a:gd name="T7" fmla="*/ 391 h 637"/>
              <a:gd name="T8" fmla="*/ 70 w 569"/>
              <a:gd name="T9" fmla="*/ 408 h 637"/>
              <a:gd name="T10" fmla="*/ 29 w 569"/>
              <a:gd name="T11" fmla="*/ 579 h 637"/>
              <a:gd name="T12" fmla="*/ 35 w 569"/>
              <a:gd name="T13" fmla="*/ 583 h 637"/>
              <a:gd name="T14" fmla="*/ 36 w 569"/>
              <a:gd name="T15" fmla="*/ 583 h 637"/>
              <a:gd name="T16" fmla="*/ 42 w 569"/>
              <a:gd name="T17" fmla="*/ 578 h 637"/>
              <a:gd name="T18" fmla="*/ 104 w 569"/>
              <a:gd name="T19" fmla="*/ 525 h 637"/>
              <a:gd name="T20" fmla="*/ 158 w 569"/>
              <a:gd name="T21" fmla="*/ 497 h 637"/>
              <a:gd name="T22" fmla="*/ 177 w 569"/>
              <a:gd name="T23" fmla="*/ 449 h 637"/>
              <a:gd name="T24" fmla="*/ 177 w 569"/>
              <a:gd name="T25" fmla="*/ 448 h 637"/>
              <a:gd name="T26" fmla="*/ 375 w 569"/>
              <a:gd name="T27" fmla="*/ 264 h 637"/>
              <a:gd name="T28" fmla="*/ 518 w 569"/>
              <a:gd name="T29" fmla="*/ 103 h 637"/>
              <a:gd name="T30" fmla="*/ 559 w 569"/>
              <a:gd name="T31" fmla="*/ 10 h 637"/>
              <a:gd name="T32" fmla="*/ 172 w 569"/>
              <a:gd name="T33" fmla="*/ 435 h 637"/>
              <a:gd name="T34" fmla="*/ 167 w 569"/>
              <a:gd name="T35" fmla="*/ 434 h 637"/>
              <a:gd name="T36" fmla="*/ 162 w 569"/>
              <a:gd name="T37" fmla="*/ 443 h 637"/>
              <a:gd name="T38" fmla="*/ 148 w 569"/>
              <a:gd name="T39" fmla="*/ 487 h 637"/>
              <a:gd name="T40" fmla="*/ 100 w 569"/>
              <a:gd name="T41" fmla="*/ 512 h 637"/>
              <a:gd name="T42" fmla="*/ 35 w 569"/>
              <a:gd name="T43" fmla="*/ 557 h 637"/>
              <a:gd name="T44" fmla="*/ 80 w 569"/>
              <a:gd name="T45" fmla="*/ 418 h 637"/>
              <a:gd name="T46" fmla="*/ 127 w 569"/>
              <a:gd name="T47" fmla="*/ 406 h 637"/>
              <a:gd name="T48" fmla="*/ 135 w 569"/>
              <a:gd name="T49" fmla="*/ 401 h 637"/>
              <a:gd name="T50" fmla="*/ 135 w 569"/>
              <a:gd name="T51" fmla="*/ 397 h 637"/>
              <a:gd name="T52" fmla="*/ 192 w 569"/>
              <a:gd name="T53" fmla="*/ 333 h 637"/>
              <a:gd name="T54" fmla="*/ 236 w 569"/>
              <a:gd name="T55" fmla="*/ 377 h 637"/>
              <a:gd name="T56" fmla="*/ 172 w 569"/>
              <a:gd name="T57" fmla="*/ 435 h 637"/>
              <a:gd name="T58" fmla="*/ 365 w 569"/>
              <a:gd name="T59" fmla="*/ 254 h 637"/>
              <a:gd name="T60" fmla="*/ 246 w 569"/>
              <a:gd name="T61" fmla="*/ 368 h 637"/>
              <a:gd name="T62" fmla="*/ 201 w 569"/>
              <a:gd name="T63" fmla="*/ 323 h 637"/>
              <a:gd name="T64" fmla="*/ 316 w 569"/>
              <a:gd name="T65" fmla="*/ 204 h 637"/>
              <a:gd name="T66" fmla="*/ 549 w 569"/>
              <a:gd name="T67" fmla="*/ 20 h 637"/>
              <a:gd name="T68" fmla="*/ 365 w 569"/>
              <a:gd name="T69" fmla="*/ 254 h 637"/>
              <a:gd name="T70" fmla="*/ 451 w 569"/>
              <a:gd name="T71" fmla="*/ 605 h 637"/>
              <a:gd name="T72" fmla="*/ 451 w 569"/>
              <a:gd name="T73" fmla="*/ 615 h 637"/>
              <a:gd name="T74" fmla="*/ 441 w 569"/>
              <a:gd name="T75" fmla="*/ 615 h 637"/>
              <a:gd name="T76" fmla="*/ 247 w 569"/>
              <a:gd name="T77" fmla="*/ 609 h 637"/>
              <a:gd name="T78" fmla="*/ 129 w 569"/>
              <a:gd name="T79" fmla="*/ 632 h 637"/>
              <a:gd name="T80" fmla="*/ 45 w 569"/>
              <a:gd name="T81" fmla="*/ 600 h 637"/>
              <a:gd name="T82" fmla="*/ 45 w 569"/>
              <a:gd name="T83" fmla="*/ 590 h 637"/>
              <a:gd name="T84" fmla="*/ 55 w 569"/>
              <a:gd name="T85" fmla="*/ 590 h 637"/>
              <a:gd name="T86" fmla="*/ 243 w 569"/>
              <a:gd name="T87" fmla="*/ 595 h 637"/>
              <a:gd name="T88" fmla="*/ 451 w 569"/>
              <a:gd name="T89" fmla="*/ 605 h 6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69" h="637">
                <a:moveTo>
                  <a:pt x="559" y="10"/>
                </a:moveTo>
                <a:cubicBezTo>
                  <a:pt x="552" y="2"/>
                  <a:pt x="534" y="0"/>
                  <a:pt x="467" y="51"/>
                </a:cubicBezTo>
                <a:cubicBezTo>
                  <a:pt x="420" y="86"/>
                  <a:pt x="363" y="137"/>
                  <a:pt x="306" y="194"/>
                </a:cubicBezTo>
                <a:cubicBezTo>
                  <a:pt x="260" y="240"/>
                  <a:pt x="158" y="347"/>
                  <a:pt x="122" y="391"/>
                </a:cubicBezTo>
                <a:cubicBezTo>
                  <a:pt x="103" y="388"/>
                  <a:pt x="84" y="394"/>
                  <a:pt x="70" y="408"/>
                </a:cubicBezTo>
                <a:cubicBezTo>
                  <a:pt x="28" y="450"/>
                  <a:pt x="0" y="522"/>
                  <a:pt x="29" y="579"/>
                </a:cubicBezTo>
                <a:cubicBezTo>
                  <a:pt x="30" y="582"/>
                  <a:pt x="32" y="583"/>
                  <a:pt x="35" y="583"/>
                </a:cubicBezTo>
                <a:cubicBezTo>
                  <a:pt x="35" y="583"/>
                  <a:pt x="35" y="583"/>
                  <a:pt x="36" y="583"/>
                </a:cubicBezTo>
                <a:cubicBezTo>
                  <a:pt x="38" y="583"/>
                  <a:pt x="41" y="581"/>
                  <a:pt x="42" y="578"/>
                </a:cubicBezTo>
                <a:cubicBezTo>
                  <a:pt x="53" y="542"/>
                  <a:pt x="77" y="534"/>
                  <a:pt x="104" y="525"/>
                </a:cubicBezTo>
                <a:cubicBezTo>
                  <a:pt x="123" y="519"/>
                  <a:pt x="142" y="513"/>
                  <a:pt x="158" y="497"/>
                </a:cubicBezTo>
                <a:cubicBezTo>
                  <a:pt x="171" y="484"/>
                  <a:pt x="178" y="467"/>
                  <a:pt x="177" y="449"/>
                </a:cubicBezTo>
                <a:cubicBezTo>
                  <a:pt x="177" y="449"/>
                  <a:pt x="177" y="449"/>
                  <a:pt x="177" y="448"/>
                </a:cubicBezTo>
                <a:cubicBezTo>
                  <a:pt x="220" y="414"/>
                  <a:pt x="329" y="310"/>
                  <a:pt x="375" y="264"/>
                </a:cubicBezTo>
                <a:cubicBezTo>
                  <a:pt x="432" y="206"/>
                  <a:pt x="483" y="149"/>
                  <a:pt x="518" y="103"/>
                </a:cubicBezTo>
                <a:cubicBezTo>
                  <a:pt x="569" y="35"/>
                  <a:pt x="567" y="18"/>
                  <a:pt x="559" y="10"/>
                </a:cubicBezTo>
                <a:close/>
                <a:moveTo>
                  <a:pt x="172" y="435"/>
                </a:moveTo>
                <a:cubicBezTo>
                  <a:pt x="170" y="434"/>
                  <a:pt x="169" y="434"/>
                  <a:pt x="167" y="434"/>
                </a:cubicBezTo>
                <a:cubicBezTo>
                  <a:pt x="163" y="435"/>
                  <a:pt x="161" y="439"/>
                  <a:pt x="162" y="443"/>
                </a:cubicBezTo>
                <a:cubicBezTo>
                  <a:pt x="165" y="459"/>
                  <a:pt x="160" y="476"/>
                  <a:pt x="148" y="487"/>
                </a:cubicBezTo>
                <a:cubicBezTo>
                  <a:pt x="135" y="501"/>
                  <a:pt x="118" y="506"/>
                  <a:pt x="100" y="512"/>
                </a:cubicBezTo>
                <a:cubicBezTo>
                  <a:pt x="76" y="520"/>
                  <a:pt x="51" y="528"/>
                  <a:pt x="35" y="557"/>
                </a:cubicBezTo>
                <a:cubicBezTo>
                  <a:pt x="24" y="518"/>
                  <a:pt x="35" y="462"/>
                  <a:pt x="80" y="418"/>
                </a:cubicBezTo>
                <a:cubicBezTo>
                  <a:pt x="92" y="406"/>
                  <a:pt x="110" y="401"/>
                  <a:pt x="127" y="406"/>
                </a:cubicBezTo>
                <a:cubicBezTo>
                  <a:pt x="130" y="407"/>
                  <a:pt x="134" y="404"/>
                  <a:pt x="135" y="401"/>
                </a:cubicBezTo>
                <a:cubicBezTo>
                  <a:pt x="135" y="399"/>
                  <a:pt x="135" y="398"/>
                  <a:pt x="135" y="397"/>
                </a:cubicBezTo>
                <a:cubicBezTo>
                  <a:pt x="148" y="382"/>
                  <a:pt x="168" y="359"/>
                  <a:pt x="192" y="333"/>
                </a:cubicBezTo>
                <a:cubicBezTo>
                  <a:pt x="236" y="377"/>
                  <a:pt x="236" y="377"/>
                  <a:pt x="236" y="377"/>
                </a:cubicBezTo>
                <a:cubicBezTo>
                  <a:pt x="210" y="402"/>
                  <a:pt x="187" y="423"/>
                  <a:pt x="172" y="435"/>
                </a:cubicBezTo>
                <a:close/>
                <a:moveTo>
                  <a:pt x="365" y="254"/>
                </a:moveTo>
                <a:cubicBezTo>
                  <a:pt x="335" y="283"/>
                  <a:pt x="288" y="329"/>
                  <a:pt x="246" y="368"/>
                </a:cubicBezTo>
                <a:cubicBezTo>
                  <a:pt x="201" y="323"/>
                  <a:pt x="201" y="323"/>
                  <a:pt x="201" y="323"/>
                </a:cubicBezTo>
                <a:cubicBezTo>
                  <a:pt x="241" y="281"/>
                  <a:pt x="286" y="234"/>
                  <a:pt x="316" y="204"/>
                </a:cubicBezTo>
                <a:cubicBezTo>
                  <a:pt x="448" y="72"/>
                  <a:pt x="537" y="15"/>
                  <a:pt x="549" y="20"/>
                </a:cubicBezTo>
                <a:cubicBezTo>
                  <a:pt x="554" y="33"/>
                  <a:pt x="498" y="121"/>
                  <a:pt x="365" y="254"/>
                </a:cubicBezTo>
                <a:close/>
                <a:moveTo>
                  <a:pt x="451" y="605"/>
                </a:moveTo>
                <a:cubicBezTo>
                  <a:pt x="453" y="608"/>
                  <a:pt x="453" y="612"/>
                  <a:pt x="451" y="615"/>
                </a:cubicBezTo>
                <a:cubicBezTo>
                  <a:pt x="448" y="618"/>
                  <a:pt x="443" y="618"/>
                  <a:pt x="441" y="615"/>
                </a:cubicBezTo>
                <a:cubicBezTo>
                  <a:pt x="392" y="566"/>
                  <a:pt x="322" y="587"/>
                  <a:pt x="247" y="609"/>
                </a:cubicBezTo>
                <a:cubicBezTo>
                  <a:pt x="207" y="620"/>
                  <a:pt x="166" y="632"/>
                  <a:pt x="129" y="632"/>
                </a:cubicBezTo>
                <a:cubicBezTo>
                  <a:pt x="98" y="632"/>
                  <a:pt x="69" y="624"/>
                  <a:pt x="45" y="600"/>
                </a:cubicBezTo>
                <a:cubicBezTo>
                  <a:pt x="43" y="597"/>
                  <a:pt x="43" y="593"/>
                  <a:pt x="45" y="590"/>
                </a:cubicBezTo>
                <a:cubicBezTo>
                  <a:pt x="48" y="588"/>
                  <a:pt x="52" y="588"/>
                  <a:pt x="55" y="590"/>
                </a:cubicBezTo>
                <a:cubicBezTo>
                  <a:pt x="102" y="637"/>
                  <a:pt x="170" y="616"/>
                  <a:pt x="243" y="595"/>
                </a:cubicBezTo>
                <a:cubicBezTo>
                  <a:pt x="318" y="573"/>
                  <a:pt x="396" y="550"/>
                  <a:pt x="451" y="6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310403229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Oval 37"/>
          <p:cNvSpPr>
            <a:spLocks noChangeArrowheads="1"/>
          </p:cNvSpPr>
          <p:nvPr/>
        </p:nvSpPr>
        <p:spPr bwMode="auto">
          <a:xfrm>
            <a:off x="6137845" y="796230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47" name="Freeform 79"/>
          <p:cNvSpPr>
            <a:spLocks noEditPoints="1"/>
          </p:cNvSpPr>
          <p:nvPr/>
        </p:nvSpPr>
        <p:spPr bwMode="auto">
          <a:xfrm>
            <a:off x="6415627" y="955289"/>
            <a:ext cx="268262" cy="504841"/>
          </a:xfrm>
          <a:custGeom>
            <a:avLst/>
            <a:gdLst>
              <a:gd name="T0" fmla="*/ 313 w 346"/>
              <a:gd name="T1" fmla="*/ 653 h 653"/>
              <a:gd name="T2" fmla="*/ 32 w 346"/>
              <a:gd name="T3" fmla="*/ 653 h 653"/>
              <a:gd name="T4" fmla="*/ 8 w 346"/>
              <a:gd name="T5" fmla="*/ 642 h 653"/>
              <a:gd name="T6" fmla="*/ 2 w 346"/>
              <a:gd name="T7" fmla="*/ 616 h 653"/>
              <a:gd name="T8" fmla="*/ 65 w 346"/>
              <a:gd name="T9" fmla="*/ 303 h 653"/>
              <a:gd name="T10" fmla="*/ 2 w 346"/>
              <a:gd name="T11" fmla="*/ 171 h 653"/>
              <a:gd name="T12" fmla="*/ 173 w 346"/>
              <a:gd name="T13" fmla="*/ 0 h 653"/>
              <a:gd name="T14" fmla="*/ 344 w 346"/>
              <a:gd name="T15" fmla="*/ 171 h 653"/>
              <a:gd name="T16" fmla="*/ 281 w 346"/>
              <a:gd name="T17" fmla="*/ 303 h 653"/>
              <a:gd name="T18" fmla="*/ 344 w 346"/>
              <a:gd name="T19" fmla="*/ 616 h 653"/>
              <a:gd name="T20" fmla="*/ 338 w 346"/>
              <a:gd name="T21" fmla="*/ 641 h 653"/>
              <a:gd name="T22" fmla="*/ 313 w 346"/>
              <a:gd name="T23" fmla="*/ 653 h 653"/>
              <a:gd name="T24" fmla="*/ 173 w 346"/>
              <a:gd name="T25" fmla="*/ 14 h 653"/>
              <a:gd name="T26" fmla="*/ 16 w 346"/>
              <a:gd name="T27" fmla="*/ 171 h 653"/>
              <a:gd name="T28" fmla="*/ 77 w 346"/>
              <a:gd name="T29" fmla="*/ 294 h 653"/>
              <a:gd name="T30" fmla="*/ 79 w 346"/>
              <a:gd name="T31" fmla="*/ 301 h 653"/>
              <a:gd name="T32" fmla="*/ 16 w 346"/>
              <a:gd name="T33" fmla="*/ 618 h 653"/>
              <a:gd name="T34" fmla="*/ 19 w 346"/>
              <a:gd name="T35" fmla="*/ 633 h 653"/>
              <a:gd name="T36" fmla="*/ 32 w 346"/>
              <a:gd name="T37" fmla="*/ 639 h 653"/>
              <a:gd name="T38" fmla="*/ 313 w 346"/>
              <a:gd name="T39" fmla="*/ 639 h 653"/>
              <a:gd name="T40" fmla="*/ 327 w 346"/>
              <a:gd name="T41" fmla="*/ 633 h 653"/>
              <a:gd name="T42" fmla="*/ 330 w 346"/>
              <a:gd name="T43" fmla="*/ 618 h 653"/>
              <a:gd name="T44" fmla="*/ 266 w 346"/>
              <a:gd name="T45" fmla="*/ 301 h 653"/>
              <a:gd name="T46" fmla="*/ 269 w 346"/>
              <a:gd name="T47" fmla="*/ 294 h 653"/>
              <a:gd name="T48" fmla="*/ 330 w 346"/>
              <a:gd name="T49" fmla="*/ 171 h 653"/>
              <a:gd name="T50" fmla="*/ 173 w 346"/>
              <a:gd name="T51" fmla="*/ 14 h 6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6" h="653">
                <a:moveTo>
                  <a:pt x="313" y="653"/>
                </a:moveTo>
                <a:cubicBezTo>
                  <a:pt x="32" y="653"/>
                  <a:pt x="32" y="653"/>
                  <a:pt x="32" y="653"/>
                </a:cubicBezTo>
                <a:cubicBezTo>
                  <a:pt x="23" y="653"/>
                  <a:pt x="14" y="649"/>
                  <a:pt x="8" y="642"/>
                </a:cubicBezTo>
                <a:cubicBezTo>
                  <a:pt x="2" y="634"/>
                  <a:pt x="0" y="625"/>
                  <a:pt x="2" y="616"/>
                </a:cubicBezTo>
                <a:cubicBezTo>
                  <a:pt x="65" y="303"/>
                  <a:pt x="65" y="303"/>
                  <a:pt x="65" y="303"/>
                </a:cubicBezTo>
                <a:cubicBezTo>
                  <a:pt x="25" y="270"/>
                  <a:pt x="2" y="222"/>
                  <a:pt x="2" y="171"/>
                </a:cubicBezTo>
                <a:cubicBezTo>
                  <a:pt x="2" y="77"/>
                  <a:pt x="79" y="0"/>
                  <a:pt x="173" y="0"/>
                </a:cubicBezTo>
                <a:cubicBezTo>
                  <a:pt x="267" y="0"/>
                  <a:pt x="344" y="77"/>
                  <a:pt x="344" y="171"/>
                </a:cubicBezTo>
                <a:cubicBezTo>
                  <a:pt x="344" y="222"/>
                  <a:pt x="321" y="270"/>
                  <a:pt x="281" y="303"/>
                </a:cubicBezTo>
                <a:cubicBezTo>
                  <a:pt x="344" y="616"/>
                  <a:pt x="344" y="616"/>
                  <a:pt x="344" y="616"/>
                </a:cubicBezTo>
                <a:cubicBezTo>
                  <a:pt x="346" y="625"/>
                  <a:pt x="343" y="634"/>
                  <a:pt x="338" y="641"/>
                </a:cubicBezTo>
                <a:cubicBezTo>
                  <a:pt x="332" y="649"/>
                  <a:pt x="323" y="653"/>
                  <a:pt x="313" y="653"/>
                </a:cubicBezTo>
                <a:close/>
                <a:moveTo>
                  <a:pt x="173" y="14"/>
                </a:moveTo>
                <a:cubicBezTo>
                  <a:pt x="87" y="14"/>
                  <a:pt x="16" y="84"/>
                  <a:pt x="16" y="171"/>
                </a:cubicBezTo>
                <a:cubicBezTo>
                  <a:pt x="16" y="219"/>
                  <a:pt x="38" y="264"/>
                  <a:pt x="77" y="294"/>
                </a:cubicBezTo>
                <a:cubicBezTo>
                  <a:pt x="79" y="296"/>
                  <a:pt x="80" y="299"/>
                  <a:pt x="79" y="301"/>
                </a:cubicBezTo>
                <a:cubicBezTo>
                  <a:pt x="16" y="618"/>
                  <a:pt x="16" y="618"/>
                  <a:pt x="16" y="618"/>
                </a:cubicBezTo>
                <a:cubicBezTo>
                  <a:pt x="15" y="623"/>
                  <a:pt x="16" y="629"/>
                  <a:pt x="19" y="633"/>
                </a:cubicBezTo>
                <a:cubicBezTo>
                  <a:pt x="22" y="637"/>
                  <a:pt x="27" y="639"/>
                  <a:pt x="32" y="639"/>
                </a:cubicBezTo>
                <a:cubicBezTo>
                  <a:pt x="313" y="639"/>
                  <a:pt x="313" y="639"/>
                  <a:pt x="313" y="639"/>
                </a:cubicBezTo>
                <a:cubicBezTo>
                  <a:pt x="319" y="639"/>
                  <a:pt x="323" y="637"/>
                  <a:pt x="327" y="633"/>
                </a:cubicBezTo>
                <a:cubicBezTo>
                  <a:pt x="330" y="629"/>
                  <a:pt x="331" y="623"/>
                  <a:pt x="330" y="618"/>
                </a:cubicBezTo>
                <a:cubicBezTo>
                  <a:pt x="266" y="301"/>
                  <a:pt x="266" y="301"/>
                  <a:pt x="266" y="301"/>
                </a:cubicBezTo>
                <a:cubicBezTo>
                  <a:pt x="266" y="299"/>
                  <a:pt x="267" y="296"/>
                  <a:pt x="269" y="294"/>
                </a:cubicBezTo>
                <a:cubicBezTo>
                  <a:pt x="308" y="264"/>
                  <a:pt x="330" y="219"/>
                  <a:pt x="330" y="171"/>
                </a:cubicBezTo>
                <a:cubicBezTo>
                  <a:pt x="330" y="84"/>
                  <a:pt x="259" y="14"/>
                  <a:pt x="173" y="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7" name="Oval 28"/>
          <p:cNvSpPr>
            <a:spLocks noChangeArrowheads="1"/>
          </p:cNvSpPr>
          <p:nvPr/>
        </p:nvSpPr>
        <p:spPr bwMode="auto">
          <a:xfrm>
            <a:off x="2259614" y="796230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48" name="Freeform 80"/>
          <p:cNvSpPr>
            <a:spLocks noEditPoints="1"/>
          </p:cNvSpPr>
          <p:nvPr/>
        </p:nvSpPr>
        <p:spPr bwMode="auto">
          <a:xfrm>
            <a:off x="2429048" y="982283"/>
            <a:ext cx="485823" cy="450854"/>
          </a:xfrm>
          <a:custGeom>
            <a:avLst/>
            <a:gdLst>
              <a:gd name="T0" fmla="*/ 314 w 628"/>
              <a:gd name="T1" fmla="*/ 583 h 583"/>
              <a:gd name="T2" fmla="*/ 0 w 628"/>
              <a:gd name="T3" fmla="*/ 194 h 583"/>
              <a:gd name="T4" fmla="*/ 160 w 628"/>
              <a:gd name="T5" fmla="*/ 0 h 583"/>
              <a:gd name="T6" fmla="*/ 314 w 628"/>
              <a:gd name="T7" fmla="*/ 84 h 583"/>
              <a:gd name="T8" fmla="*/ 467 w 628"/>
              <a:gd name="T9" fmla="*/ 0 h 583"/>
              <a:gd name="T10" fmla="*/ 628 w 628"/>
              <a:gd name="T11" fmla="*/ 194 h 583"/>
              <a:gd name="T12" fmla="*/ 314 w 628"/>
              <a:gd name="T13" fmla="*/ 583 h 583"/>
              <a:gd name="T14" fmla="*/ 160 w 628"/>
              <a:gd name="T15" fmla="*/ 14 h 583"/>
              <a:gd name="T16" fmla="*/ 14 w 628"/>
              <a:gd name="T17" fmla="*/ 194 h 583"/>
              <a:gd name="T18" fmla="*/ 140 w 628"/>
              <a:gd name="T19" fmla="*/ 458 h 583"/>
              <a:gd name="T20" fmla="*/ 314 w 628"/>
              <a:gd name="T21" fmla="*/ 569 h 583"/>
              <a:gd name="T22" fmla="*/ 488 w 628"/>
              <a:gd name="T23" fmla="*/ 458 h 583"/>
              <a:gd name="T24" fmla="*/ 614 w 628"/>
              <a:gd name="T25" fmla="*/ 194 h 583"/>
              <a:gd name="T26" fmla="*/ 467 w 628"/>
              <a:gd name="T27" fmla="*/ 14 h 583"/>
              <a:gd name="T28" fmla="*/ 321 w 628"/>
              <a:gd name="T29" fmla="*/ 116 h 583"/>
              <a:gd name="T30" fmla="*/ 314 w 628"/>
              <a:gd name="T31" fmla="*/ 123 h 583"/>
              <a:gd name="T32" fmla="*/ 307 w 628"/>
              <a:gd name="T33" fmla="*/ 116 h 583"/>
              <a:gd name="T34" fmla="*/ 160 w 628"/>
              <a:gd name="T35" fmla="*/ 14 h 5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8" h="583">
                <a:moveTo>
                  <a:pt x="314" y="583"/>
                </a:moveTo>
                <a:cubicBezTo>
                  <a:pt x="239" y="583"/>
                  <a:pt x="0" y="403"/>
                  <a:pt x="0" y="194"/>
                </a:cubicBezTo>
                <a:cubicBezTo>
                  <a:pt x="0" y="102"/>
                  <a:pt x="68" y="0"/>
                  <a:pt x="160" y="0"/>
                </a:cubicBezTo>
                <a:cubicBezTo>
                  <a:pt x="230" y="0"/>
                  <a:pt x="294" y="37"/>
                  <a:pt x="314" y="84"/>
                </a:cubicBezTo>
                <a:cubicBezTo>
                  <a:pt x="335" y="37"/>
                  <a:pt x="398" y="0"/>
                  <a:pt x="467" y="0"/>
                </a:cubicBezTo>
                <a:cubicBezTo>
                  <a:pt x="559" y="0"/>
                  <a:pt x="628" y="102"/>
                  <a:pt x="628" y="194"/>
                </a:cubicBezTo>
                <a:cubicBezTo>
                  <a:pt x="628" y="403"/>
                  <a:pt x="388" y="583"/>
                  <a:pt x="314" y="583"/>
                </a:cubicBezTo>
                <a:close/>
                <a:moveTo>
                  <a:pt x="160" y="14"/>
                </a:moveTo>
                <a:cubicBezTo>
                  <a:pt x="91" y="14"/>
                  <a:pt x="14" y="91"/>
                  <a:pt x="14" y="194"/>
                </a:cubicBezTo>
                <a:cubicBezTo>
                  <a:pt x="14" y="312"/>
                  <a:pt x="93" y="410"/>
                  <a:pt x="140" y="458"/>
                </a:cubicBezTo>
                <a:cubicBezTo>
                  <a:pt x="207" y="526"/>
                  <a:pt x="282" y="569"/>
                  <a:pt x="314" y="569"/>
                </a:cubicBezTo>
                <a:cubicBezTo>
                  <a:pt x="345" y="569"/>
                  <a:pt x="421" y="526"/>
                  <a:pt x="488" y="458"/>
                </a:cubicBezTo>
                <a:cubicBezTo>
                  <a:pt x="535" y="410"/>
                  <a:pt x="614" y="312"/>
                  <a:pt x="614" y="194"/>
                </a:cubicBezTo>
                <a:cubicBezTo>
                  <a:pt x="614" y="91"/>
                  <a:pt x="536" y="14"/>
                  <a:pt x="467" y="14"/>
                </a:cubicBezTo>
                <a:cubicBezTo>
                  <a:pt x="383" y="14"/>
                  <a:pt x="321" y="68"/>
                  <a:pt x="321" y="116"/>
                </a:cubicBezTo>
                <a:cubicBezTo>
                  <a:pt x="321" y="120"/>
                  <a:pt x="318" y="123"/>
                  <a:pt x="314" y="123"/>
                </a:cubicBezTo>
                <a:cubicBezTo>
                  <a:pt x="310" y="123"/>
                  <a:pt x="307" y="120"/>
                  <a:pt x="307" y="116"/>
                </a:cubicBezTo>
                <a:cubicBezTo>
                  <a:pt x="307" y="58"/>
                  <a:pt x="229" y="14"/>
                  <a:pt x="160" y="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19" name="Oval 36"/>
          <p:cNvSpPr>
            <a:spLocks noChangeArrowheads="1"/>
          </p:cNvSpPr>
          <p:nvPr/>
        </p:nvSpPr>
        <p:spPr bwMode="auto">
          <a:xfrm>
            <a:off x="7430588" y="796230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51" name="Freeform 82"/>
          <p:cNvSpPr>
            <a:spLocks noEditPoints="1"/>
          </p:cNvSpPr>
          <p:nvPr/>
        </p:nvSpPr>
        <p:spPr bwMode="auto">
          <a:xfrm>
            <a:off x="7650160" y="925898"/>
            <a:ext cx="383818" cy="563624"/>
          </a:xfrm>
          <a:custGeom>
            <a:avLst/>
            <a:gdLst>
              <a:gd name="T0" fmla="*/ 42 w 496"/>
              <a:gd name="T1" fmla="*/ 729 h 729"/>
              <a:gd name="T2" fmla="*/ 39 w 496"/>
              <a:gd name="T3" fmla="*/ 619 h 729"/>
              <a:gd name="T4" fmla="*/ 64 w 496"/>
              <a:gd name="T5" fmla="*/ 514 h 729"/>
              <a:gd name="T6" fmla="*/ 105 w 496"/>
              <a:gd name="T7" fmla="*/ 472 h 729"/>
              <a:gd name="T8" fmla="*/ 55 w 496"/>
              <a:gd name="T9" fmla="*/ 297 h 729"/>
              <a:gd name="T10" fmla="*/ 271 w 496"/>
              <a:gd name="T11" fmla="*/ 0 h 729"/>
              <a:gd name="T12" fmla="*/ 279 w 496"/>
              <a:gd name="T13" fmla="*/ 8 h 729"/>
              <a:gd name="T14" fmla="*/ 309 w 496"/>
              <a:gd name="T15" fmla="*/ 87 h 729"/>
              <a:gd name="T16" fmla="*/ 349 w 496"/>
              <a:gd name="T17" fmla="*/ 100 h 729"/>
              <a:gd name="T18" fmla="*/ 447 w 496"/>
              <a:gd name="T19" fmla="*/ 196 h 729"/>
              <a:gd name="T20" fmla="*/ 459 w 496"/>
              <a:gd name="T21" fmla="*/ 273 h 729"/>
              <a:gd name="T22" fmla="*/ 410 w 496"/>
              <a:gd name="T23" fmla="*/ 318 h 729"/>
              <a:gd name="T24" fmla="*/ 386 w 496"/>
              <a:gd name="T25" fmla="*/ 306 h 729"/>
              <a:gd name="T26" fmla="*/ 337 w 496"/>
              <a:gd name="T27" fmla="*/ 298 h 729"/>
              <a:gd name="T28" fmla="*/ 296 w 496"/>
              <a:gd name="T29" fmla="*/ 310 h 729"/>
              <a:gd name="T30" fmla="*/ 412 w 496"/>
              <a:gd name="T31" fmla="*/ 514 h 729"/>
              <a:gd name="T32" fmla="*/ 487 w 496"/>
              <a:gd name="T33" fmla="*/ 569 h 729"/>
              <a:gd name="T34" fmla="*/ 496 w 496"/>
              <a:gd name="T35" fmla="*/ 687 h 729"/>
              <a:gd name="T36" fmla="*/ 64 w 496"/>
              <a:gd name="T37" fmla="*/ 528 h 729"/>
              <a:gd name="T38" fmla="*/ 53 w 496"/>
              <a:gd name="T39" fmla="*/ 609 h 729"/>
              <a:gd name="T40" fmla="*/ 56 w 496"/>
              <a:gd name="T41" fmla="*/ 620 h 729"/>
              <a:gd name="T42" fmla="*/ 42 w 496"/>
              <a:gd name="T43" fmla="*/ 715 h 729"/>
              <a:gd name="T44" fmla="*/ 482 w 496"/>
              <a:gd name="T45" fmla="*/ 687 h 729"/>
              <a:gd name="T46" fmla="*/ 438 w 496"/>
              <a:gd name="T47" fmla="*/ 614 h 729"/>
              <a:gd name="T48" fmla="*/ 473 w 496"/>
              <a:gd name="T49" fmla="*/ 569 h 729"/>
              <a:gd name="T50" fmla="*/ 405 w 496"/>
              <a:gd name="T51" fmla="*/ 528 h 729"/>
              <a:gd name="T52" fmla="*/ 398 w 496"/>
              <a:gd name="T53" fmla="*/ 521 h 729"/>
              <a:gd name="T54" fmla="*/ 387 w 496"/>
              <a:gd name="T55" fmla="*/ 445 h 729"/>
              <a:gd name="T56" fmla="*/ 269 w 496"/>
              <a:gd name="T57" fmla="*/ 300 h 729"/>
              <a:gd name="T58" fmla="*/ 290 w 496"/>
              <a:gd name="T59" fmla="*/ 296 h 729"/>
              <a:gd name="T60" fmla="*/ 330 w 496"/>
              <a:gd name="T61" fmla="*/ 286 h 729"/>
              <a:gd name="T62" fmla="*/ 395 w 496"/>
              <a:gd name="T63" fmla="*/ 295 h 729"/>
              <a:gd name="T64" fmla="*/ 410 w 496"/>
              <a:gd name="T65" fmla="*/ 304 h 729"/>
              <a:gd name="T66" fmla="*/ 451 w 496"/>
              <a:gd name="T67" fmla="*/ 261 h 729"/>
              <a:gd name="T68" fmla="*/ 373 w 496"/>
              <a:gd name="T69" fmla="*/ 143 h 729"/>
              <a:gd name="T70" fmla="*/ 334 w 496"/>
              <a:gd name="T71" fmla="*/ 105 h 729"/>
              <a:gd name="T72" fmla="*/ 272 w 496"/>
              <a:gd name="T73" fmla="*/ 92 h 729"/>
              <a:gd name="T74" fmla="*/ 184 w 496"/>
              <a:gd name="T75" fmla="*/ 120 h 729"/>
              <a:gd name="T76" fmla="*/ 69 w 496"/>
              <a:gd name="T77" fmla="*/ 297 h 729"/>
              <a:gd name="T78" fmla="*/ 119 w 496"/>
              <a:gd name="T79" fmla="*/ 469 h 729"/>
              <a:gd name="T80" fmla="*/ 113 w 496"/>
              <a:gd name="T81" fmla="*/ 528 h 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96" h="729">
                <a:moveTo>
                  <a:pt x="453" y="729"/>
                </a:moveTo>
                <a:cubicBezTo>
                  <a:pt x="42" y="729"/>
                  <a:pt x="42" y="729"/>
                  <a:pt x="42" y="729"/>
                </a:cubicBezTo>
                <a:cubicBezTo>
                  <a:pt x="21" y="729"/>
                  <a:pt x="0" y="716"/>
                  <a:pt x="0" y="687"/>
                </a:cubicBezTo>
                <a:cubicBezTo>
                  <a:pt x="0" y="682"/>
                  <a:pt x="0" y="667"/>
                  <a:pt x="39" y="619"/>
                </a:cubicBezTo>
                <a:cubicBezTo>
                  <a:pt x="21" y="610"/>
                  <a:pt x="9" y="591"/>
                  <a:pt x="9" y="569"/>
                </a:cubicBezTo>
                <a:cubicBezTo>
                  <a:pt x="9" y="539"/>
                  <a:pt x="33" y="514"/>
                  <a:pt x="64" y="514"/>
                </a:cubicBezTo>
                <a:cubicBezTo>
                  <a:pt x="106" y="514"/>
                  <a:pt x="106" y="514"/>
                  <a:pt x="106" y="514"/>
                </a:cubicBezTo>
                <a:cubicBezTo>
                  <a:pt x="107" y="500"/>
                  <a:pt x="107" y="484"/>
                  <a:pt x="105" y="472"/>
                </a:cubicBezTo>
                <a:cubicBezTo>
                  <a:pt x="104" y="463"/>
                  <a:pt x="98" y="449"/>
                  <a:pt x="91" y="433"/>
                </a:cubicBezTo>
                <a:cubicBezTo>
                  <a:pt x="76" y="397"/>
                  <a:pt x="55" y="348"/>
                  <a:pt x="55" y="297"/>
                </a:cubicBezTo>
                <a:cubicBezTo>
                  <a:pt x="55" y="220"/>
                  <a:pt x="117" y="150"/>
                  <a:pt x="172" y="113"/>
                </a:cubicBezTo>
                <a:cubicBezTo>
                  <a:pt x="190" y="46"/>
                  <a:pt x="225" y="6"/>
                  <a:pt x="271" y="0"/>
                </a:cubicBezTo>
                <a:cubicBezTo>
                  <a:pt x="273" y="0"/>
                  <a:pt x="275" y="1"/>
                  <a:pt x="276" y="2"/>
                </a:cubicBezTo>
                <a:cubicBezTo>
                  <a:pt x="278" y="4"/>
                  <a:pt x="279" y="6"/>
                  <a:pt x="279" y="8"/>
                </a:cubicBezTo>
                <a:cubicBezTo>
                  <a:pt x="276" y="43"/>
                  <a:pt x="277" y="77"/>
                  <a:pt x="282" y="82"/>
                </a:cubicBezTo>
                <a:cubicBezTo>
                  <a:pt x="285" y="86"/>
                  <a:pt x="299" y="86"/>
                  <a:pt x="309" y="87"/>
                </a:cubicBezTo>
                <a:cubicBezTo>
                  <a:pt x="324" y="87"/>
                  <a:pt x="338" y="88"/>
                  <a:pt x="345" y="96"/>
                </a:cubicBezTo>
                <a:cubicBezTo>
                  <a:pt x="346" y="97"/>
                  <a:pt x="347" y="99"/>
                  <a:pt x="349" y="100"/>
                </a:cubicBezTo>
                <a:cubicBezTo>
                  <a:pt x="357" y="111"/>
                  <a:pt x="366" y="122"/>
                  <a:pt x="381" y="131"/>
                </a:cubicBezTo>
                <a:cubicBezTo>
                  <a:pt x="401" y="145"/>
                  <a:pt x="426" y="169"/>
                  <a:pt x="447" y="196"/>
                </a:cubicBezTo>
                <a:cubicBezTo>
                  <a:pt x="454" y="206"/>
                  <a:pt x="479" y="239"/>
                  <a:pt x="476" y="252"/>
                </a:cubicBezTo>
                <a:cubicBezTo>
                  <a:pt x="475" y="262"/>
                  <a:pt x="466" y="268"/>
                  <a:pt x="459" y="273"/>
                </a:cubicBezTo>
                <a:cubicBezTo>
                  <a:pt x="455" y="275"/>
                  <a:pt x="450" y="278"/>
                  <a:pt x="449" y="280"/>
                </a:cubicBezTo>
                <a:cubicBezTo>
                  <a:pt x="449" y="281"/>
                  <a:pt x="431" y="318"/>
                  <a:pt x="410" y="318"/>
                </a:cubicBezTo>
                <a:cubicBezTo>
                  <a:pt x="407" y="318"/>
                  <a:pt x="404" y="317"/>
                  <a:pt x="401" y="316"/>
                </a:cubicBezTo>
                <a:cubicBezTo>
                  <a:pt x="396" y="313"/>
                  <a:pt x="392" y="310"/>
                  <a:pt x="386" y="306"/>
                </a:cubicBezTo>
                <a:cubicBezTo>
                  <a:pt x="376" y="299"/>
                  <a:pt x="365" y="291"/>
                  <a:pt x="357" y="291"/>
                </a:cubicBezTo>
                <a:cubicBezTo>
                  <a:pt x="350" y="291"/>
                  <a:pt x="345" y="294"/>
                  <a:pt x="337" y="298"/>
                </a:cubicBezTo>
                <a:cubicBezTo>
                  <a:pt x="333" y="301"/>
                  <a:pt x="327" y="304"/>
                  <a:pt x="321" y="306"/>
                </a:cubicBezTo>
                <a:cubicBezTo>
                  <a:pt x="314" y="309"/>
                  <a:pt x="306" y="310"/>
                  <a:pt x="296" y="310"/>
                </a:cubicBezTo>
                <a:cubicBezTo>
                  <a:pt x="326" y="336"/>
                  <a:pt x="390" y="396"/>
                  <a:pt x="401" y="442"/>
                </a:cubicBezTo>
                <a:cubicBezTo>
                  <a:pt x="411" y="485"/>
                  <a:pt x="412" y="498"/>
                  <a:pt x="412" y="514"/>
                </a:cubicBezTo>
                <a:cubicBezTo>
                  <a:pt x="432" y="514"/>
                  <a:pt x="432" y="514"/>
                  <a:pt x="432" y="514"/>
                </a:cubicBezTo>
                <a:cubicBezTo>
                  <a:pt x="462" y="514"/>
                  <a:pt x="487" y="539"/>
                  <a:pt x="487" y="569"/>
                </a:cubicBezTo>
                <a:cubicBezTo>
                  <a:pt x="487" y="591"/>
                  <a:pt x="475" y="610"/>
                  <a:pt x="456" y="619"/>
                </a:cubicBezTo>
                <a:cubicBezTo>
                  <a:pt x="496" y="668"/>
                  <a:pt x="496" y="682"/>
                  <a:pt x="496" y="687"/>
                </a:cubicBezTo>
                <a:cubicBezTo>
                  <a:pt x="496" y="708"/>
                  <a:pt x="483" y="729"/>
                  <a:pt x="453" y="729"/>
                </a:cubicBezTo>
                <a:close/>
                <a:moveTo>
                  <a:pt x="64" y="528"/>
                </a:moveTo>
                <a:cubicBezTo>
                  <a:pt x="41" y="528"/>
                  <a:pt x="23" y="547"/>
                  <a:pt x="23" y="569"/>
                </a:cubicBezTo>
                <a:cubicBezTo>
                  <a:pt x="23" y="588"/>
                  <a:pt x="35" y="604"/>
                  <a:pt x="53" y="609"/>
                </a:cubicBezTo>
                <a:cubicBezTo>
                  <a:pt x="55" y="610"/>
                  <a:pt x="57" y="612"/>
                  <a:pt x="57" y="614"/>
                </a:cubicBezTo>
                <a:cubicBezTo>
                  <a:pt x="58" y="616"/>
                  <a:pt x="58" y="619"/>
                  <a:pt x="56" y="620"/>
                </a:cubicBezTo>
                <a:cubicBezTo>
                  <a:pt x="17" y="667"/>
                  <a:pt x="14" y="683"/>
                  <a:pt x="14" y="687"/>
                </a:cubicBezTo>
                <a:cubicBezTo>
                  <a:pt x="14" y="713"/>
                  <a:pt x="37" y="715"/>
                  <a:pt x="42" y="715"/>
                </a:cubicBezTo>
                <a:cubicBezTo>
                  <a:pt x="453" y="715"/>
                  <a:pt x="453" y="715"/>
                  <a:pt x="453" y="715"/>
                </a:cubicBezTo>
                <a:cubicBezTo>
                  <a:pt x="458" y="715"/>
                  <a:pt x="482" y="713"/>
                  <a:pt x="482" y="687"/>
                </a:cubicBezTo>
                <a:cubicBezTo>
                  <a:pt x="482" y="683"/>
                  <a:pt x="479" y="668"/>
                  <a:pt x="440" y="620"/>
                </a:cubicBezTo>
                <a:cubicBezTo>
                  <a:pt x="438" y="619"/>
                  <a:pt x="437" y="616"/>
                  <a:pt x="438" y="614"/>
                </a:cubicBezTo>
                <a:cubicBezTo>
                  <a:pt x="439" y="612"/>
                  <a:pt x="441" y="610"/>
                  <a:pt x="443" y="609"/>
                </a:cubicBezTo>
                <a:cubicBezTo>
                  <a:pt x="461" y="604"/>
                  <a:pt x="473" y="588"/>
                  <a:pt x="473" y="569"/>
                </a:cubicBezTo>
                <a:cubicBezTo>
                  <a:pt x="473" y="547"/>
                  <a:pt x="454" y="528"/>
                  <a:pt x="432" y="528"/>
                </a:cubicBezTo>
                <a:cubicBezTo>
                  <a:pt x="405" y="528"/>
                  <a:pt x="405" y="528"/>
                  <a:pt x="405" y="528"/>
                </a:cubicBezTo>
                <a:cubicBezTo>
                  <a:pt x="403" y="528"/>
                  <a:pt x="401" y="527"/>
                  <a:pt x="400" y="526"/>
                </a:cubicBezTo>
                <a:cubicBezTo>
                  <a:pt x="398" y="525"/>
                  <a:pt x="398" y="523"/>
                  <a:pt x="398" y="521"/>
                </a:cubicBezTo>
                <a:cubicBezTo>
                  <a:pt x="398" y="519"/>
                  <a:pt x="398" y="519"/>
                  <a:pt x="398" y="519"/>
                </a:cubicBezTo>
                <a:cubicBezTo>
                  <a:pt x="398" y="502"/>
                  <a:pt x="398" y="491"/>
                  <a:pt x="387" y="445"/>
                </a:cubicBezTo>
                <a:cubicBezTo>
                  <a:pt x="375" y="391"/>
                  <a:pt x="272" y="309"/>
                  <a:pt x="271" y="308"/>
                </a:cubicBezTo>
                <a:cubicBezTo>
                  <a:pt x="269" y="306"/>
                  <a:pt x="268" y="303"/>
                  <a:pt x="269" y="300"/>
                </a:cubicBezTo>
                <a:cubicBezTo>
                  <a:pt x="270" y="297"/>
                  <a:pt x="273" y="295"/>
                  <a:pt x="276" y="296"/>
                </a:cubicBezTo>
                <a:cubicBezTo>
                  <a:pt x="276" y="296"/>
                  <a:pt x="282" y="296"/>
                  <a:pt x="290" y="296"/>
                </a:cubicBezTo>
                <a:cubicBezTo>
                  <a:pt x="301" y="296"/>
                  <a:pt x="310" y="295"/>
                  <a:pt x="316" y="293"/>
                </a:cubicBezTo>
                <a:cubicBezTo>
                  <a:pt x="321" y="291"/>
                  <a:pt x="326" y="288"/>
                  <a:pt x="330" y="286"/>
                </a:cubicBezTo>
                <a:cubicBezTo>
                  <a:pt x="338" y="281"/>
                  <a:pt x="346" y="277"/>
                  <a:pt x="357" y="277"/>
                </a:cubicBezTo>
                <a:cubicBezTo>
                  <a:pt x="369" y="277"/>
                  <a:pt x="382" y="286"/>
                  <a:pt x="395" y="295"/>
                </a:cubicBezTo>
                <a:cubicBezTo>
                  <a:pt x="399" y="298"/>
                  <a:pt x="404" y="301"/>
                  <a:pt x="408" y="304"/>
                </a:cubicBezTo>
                <a:cubicBezTo>
                  <a:pt x="409" y="304"/>
                  <a:pt x="409" y="304"/>
                  <a:pt x="410" y="304"/>
                </a:cubicBezTo>
                <a:cubicBezTo>
                  <a:pt x="418" y="304"/>
                  <a:pt x="432" y="285"/>
                  <a:pt x="436" y="275"/>
                </a:cubicBezTo>
                <a:cubicBezTo>
                  <a:pt x="439" y="269"/>
                  <a:pt x="445" y="265"/>
                  <a:pt x="451" y="261"/>
                </a:cubicBezTo>
                <a:cubicBezTo>
                  <a:pt x="456" y="258"/>
                  <a:pt x="462" y="254"/>
                  <a:pt x="463" y="250"/>
                </a:cubicBezTo>
                <a:cubicBezTo>
                  <a:pt x="462" y="239"/>
                  <a:pt x="418" y="172"/>
                  <a:pt x="373" y="143"/>
                </a:cubicBezTo>
                <a:cubicBezTo>
                  <a:pt x="357" y="133"/>
                  <a:pt x="346" y="120"/>
                  <a:pt x="338" y="109"/>
                </a:cubicBezTo>
                <a:cubicBezTo>
                  <a:pt x="336" y="107"/>
                  <a:pt x="335" y="106"/>
                  <a:pt x="334" y="105"/>
                </a:cubicBezTo>
                <a:cubicBezTo>
                  <a:pt x="332" y="101"/>
                  <a:pt x="318" y="101"/>
                  <a:pt x="308" y="101"/>
                </a:cubicBezTo>
                <a:cubicBezTo>
                  <a:pt x="293" y="100"/>
                  <a:pt x="279" y="99"/>
                  <a:pt x="272" y="92"/>
                </a:cubicBezTo>
                <a:cubicBezTo>
                  <a:pt x="262" y="81"/>
                  <a:pt x="263" y="38"/>
                  <a:pt x="264" y="16"/>
                </a:cubicBezTo>
                <a:cubicBezTo>
                  <a:pt x="228" y="24"/>
                  <a:pt x="200" y="61"/>
                  <a:pt x="184" y="120"/>
                </a:cubicBezTo>
                <a:cubicBezTo>
                  <a:pt x="184" y="121"/>
                  <a:pt x="183" y="123"/>
                  <a:pt x="182" y="124"/>
                </a:cubicBezTo>
                <a:cubicBezTo>
                  <a:pt x="130" y="158"/>
                  <a:pt x="69" y="224"/>
                  <a:pt x="69" y="297"/>
                </a:cubicBezTo>
                <a:cubicBezTo>
                  <a:pt x="69" y="346"/>
                  <a:pt x="89" y="393"/>
                  <a:pt x="104" y="427"/>
                </a:cubicBezTo>
                <a:cubicBezTo>
                  <a:pt x="111" y="445"/>
                  <a:pt x="117" y="459"/>
                  <a:pt x="119" y="469"/>
                </a:cubicBezTo>
                <a:cubicBezTo>
                  <a:pt x="121" y="485"/>
                  <a:pt x="121" y="506"/>
                  <a:pt x="120" y="521"/>
                </a:cubicBezTo>
                <a:cubicBezTo>
                  <a:pt x="120" y="525"/>
                  <a:pt x="117" y="528"/>
                  <a:pt x="113" y="528"/>
                </a:cubicBezTo>
                <a:lnTo>
                  <a:pt x="64" y="5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17" name="Oval 34"/>
          <p:cNvSpPr>
            <a:spLocks noChangeArrowheads="1"/>
          </p:cNvSpPr>
          <p:nvPr/>
        </p:nvSpPr>
        <p:spPr bwMode="auto">
          <a:xfrm>
            <a:off x="2259614" y="1914829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75" name="Freeform 97"/>
          <p:cNvSpPr>
            <a:spLocks noEditPoints="1"/>
          </p:cNvSpPr>
          <p:nvPr/>
        </p:nvSpPr>
        <p:spPr bwMode="auto">
          <a:xfrm>
            <a:off x="2466219" y="2076482"/>
            <a:ext cx="416667" cy="500519"/>
          </a:xfrm>
          <a:custGeom>
            <a:avLst/>
            <a:gdLst>
              <a:gd name="T0" fmla="*/ 316 w 538"/>
              <a:gd name="T1" fmla="*/ 52 h 647"/>
              <a:gd name="T2" fmla="*/ 212 w 538"/>
              <a:gd name="T3" fmla="*/ 52 h 647"/>
              <a:gd name="T4" fmla="*/ 264 w 538"/>
              <a:gd name="T5" fmla="*/ 14 h 647"/>
              <a:gd name="T6" fmla="*/ 264 w 538"/>
              <a:gd name="T7" fmla="*/ 90 h 647"/>
              <a:gd name="T8" fmla="*/ 264 w 538"/>
              <a:gd name="T9" fmla="*/ 14 h 647"/>
              <a:gd name="T10" fmla="*/ 413 w 538"/>
              <a:gd name="T11" fmla="*/ 90 h 647"/>
              <a:gd name="T12" fmla="*/ 335 w 538"/>
              <a:gd name="T13" fmla="*/ 133 h 647"/>
              <a:gd name="T14" fmla="*/ 190 w 538"/>
              <a:gd name="T15" fmla="*/ 134 h 647"/>
              <a:gd name="T16" fmla="*/ 50 w 538"/>
              <a:gd name="T17" fmla="*/ 125 h 647"/>
              <a:gd name="T18" fmla="*/ 15 w 538"/>
              <a:gd name="T19" fmla="*/ 242 h 647"/>
              <a:gd name="T20" fmla="*/ 23 w 538"/>
              <a:gd name="T21" fmla="*/ 364 h 647"/>
              <a:gd name="T22" fmla="*/ 48 w 538"/>
              <a:gd name="T23" fmla="*/ 637 h 647"/>
              <a:gd name="T24" fmla="*/ 54 w 538"/>
              <a:gd name="T25" fmla="*/ 647 h 647"/>
              <a:gd name="T26" fmla="*/ 114 w 538"/>
              <a:gd name="T27" fmla="*/ 552 h 647"/>
              <a:gd name="T28" fmla="*/ 415 w 538"/>
              <a:gd name="T29" fmla="*/ 552 h 647"/>
              <a:gd name="T30" fmla="*/ 475 w 538"/>
              <a:gd name="T31" fmla="*/ 647 h 647"/>
              <a:gd name="T32" fmla="*/ 481 w 538"/>
              <a:gd name="T33" fmla="*/ 637 h 647"/>
              <a:gd name="T34" fmla="*/ 506 w 538"/>
              <a:gd name="T35" fmla="*/ 364 h 647"/>
              <a:gd name="T36" fmla="*/ 514 w 538"/>
              <a:gd name="T37" fmla="*/ 238 h 647"/>
              <a:gd name="T38" fmla="*/ 25 w 538"/>
              <a:gd name="T39" fmla="*/ 233 h 647"/>
              <a:gd name="T40" fmla="*/ 59 w 538"/>
              <a:gd name="T41" fmla="*/ 136 h 647"/>
              <a:gd name="T42" fmla="*/ 176 w 538"/>
              <a:gd name="T43" fmla="*/ 139 h 647"/>
              <a:gd name="T44" fmla="*/ 25 w 538"/>
              <a:gd name="T45" fmla="*/ 233 h 647"/>
              <a:gd name="T46" fmla="*/ 37 w 538"/>
              <a:gd name="T47" fmla="*/ 364 h 647"/>
              <a:gd name="T48" fmla="*/ 492 w 538"/>
              <a:gd name="T49" fmla="*/ 364 h 647"/>
              <a:gd name="T50" fmla="*/ 503 w 538"/>
              <a:gd name="T51" fmla="*/ 229 h 647"/>
              <a:gd name="T52" fmla="*/ 350 w 538"/>
              <a:gd name="T53" fmla="*/ 138 h 647"/>
              <a:gd name="T54" fmla="*/ 411 w 538"/>
              <a:gd name="T55" fmla="*/ 104 h 647"/>
              <a:gd name="T56" fmla="*/ 503 w 538"/>
              <a:gd name="T57" fmla="*/ 229 h 647"/>
              <a:gd name="T58" fmla="*/ 271 w 538"/>
              <a:gd name="T59" fmla="*/ 183 h 647"/>
              <a:gd name="T60" fmla="*/ 257 w 538"/>
              <a:gd name="T61" fmla="*/ 183 h 647"/>
              <a:gd name="T62" fmla="*/ 235 w 538"/>
              <a:gd name="T63" fmla="*/ 364 h 647"/>
              <a:gd name="T64" fmla="*/ 202 w 538"/>
              <a:gd name="T65" fmla="*/ 454 h 647"/>
              <a:gd name="T66" fmla="*/ 208 w 538"/>
              <a:gd name="T67" fmla="*/ 464 h 647"/>
              <a:gd name="T68" fmla="*/ 255 w 538"/>
              <a:gd name="T69" fmla="*/ 392 h 647"/>
              <a:gd name="T70" fmla="*/ 294 w 538"/>
              <a:gd name="T71" fmla="*/ 364 h 647"/>
              <a:gd name="T72" fmla="*/ 264 w 538"/>
              <a:gd name="T73" fmla="*/ 379 h 647"/>
              <a:gd name="T74" fmla="*/ 264 w 538"/>
              <a:gd name="T75" fmla="*/ 348 h 647"/>
              <a:gd name="T76" fmla="*/ 264 w 538"/>
              <a:gd name="T77" fmla="*/ 379 h 6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38" h="647">
                <a:moveTo>
                  <a:pt x="264" y="104"/>
                </a:moveTo>
                <a:cubicBezTo>
                  <a:pt x="293" y="104"/>
                  <a:pt x="316" y="81"/>
                  <a:pt x="316" y="52"/>
                </a:cubicBezTo>
                <a:cubicBezTo>
                  <a:pt x="316" y="23"/>
                  <a:pt x="293" y="0"/>
                  <a:pt x="264" y="0"/>
                </a:cubicBezTo>
                <a:cubicBezTo>
                  <a:pt x="236" y="0"/>
                  <a:pt x="212" y="23"/>
                  <a:pt x="212" y="52"/>
                </a:cubicBezTo>
                <a:cubicBezTo>
                  <a:pt x="212" y="81"/>
                  <a:pt x="236" y="104"/>
                  <a:pt x="264" y="104"/>
                </a:cubicBezTo>
                <a:close/>
                <a:moveTo>
                  <a:pt x="264" y="14"/>
                </a:moveTo>
                <a:cubicBezTo>
                  <a:pt x="285" y="14"/>
                  <a:pt x="302" y="31"/>
                  <a:pt x="302" y="52"/>
                </a:cubicBezTo>
                <a:cubicBezTo>
                  <a:pt x="302" y="73"/>
                  <a:pt x="285" y="90"/>
                  <a:pt x="264" y="90"/>
                </a:cubicBezTo>
                <a:cubicBezTo>
                  <a:pt x="243" y="90"/>
                  <a:pt x="226" y="73"/>
                  <a:pt x="226" y="52"/>
                </a:cubicBezTo>
                <a:cubicBezTo>
                  <a:pt x="226" y="31"/>
                  <a:pt x="243" y="14"/>
                  <a:pt x="264" y="14"/>
                </a:cubicBezTo>
                <a:close/>
                <a:moveTo>
                  <a:pt x="479" y="121"/>
                </a:moveTo>
                <a:cubicBezTo>
                  <a:pt x="459" y="104"/>
                  <a:pt x="435" y="93"/>
                  <a:pt x="413" y="90"/>
                </a:cubicBezTo>
                <a:cubicBezTo>
                  <a:pt x="389" y="87"/>
                  <a:pt x="369" y="93"/>
                  <a:pt x="357" y="107"/>
                </a:cubicBezTo>
                <a:cubicBezTo>
                  <a:pt x="335" y="133"/>
                  <a:pt x="335" y="133"/>
                  <a:pt x="335" y="133"/>
                </a:cubicBezTo>
                <a:cubicBezTo>
                  <a:pt x="313" y="126"/>
                  <a:pt x="289" y="122"/>
                  <a:pt x="264" y="122"/>
                </a:cubicBezTo>
                <a:cubicBezTo>
                  <a:pt x="239" y="122"/>
                  <a:pt x="214" y="126"/>
                  <a:pt x="190" y="134"/>
                </a:cubicBezTo>
                <a:cubicBezTo>
                  <a:pt x="171" y="111"/>
                  <a:pt x="171" y="111"/>
                  <a:pt x="171" y="111"/>
                </a:cubicBezTo>
                <a:cubicBezTo>
                  <a:pt x="147" y="82"/>
                  <a:pt x="93" y="89"/>
                  <a:pt x="50" y="125"/>
                </a:cubicBezTo>
                <a:cubicBezTo>
                  <a:pt x="29" y="142"/>
                  <a:pt x="14" y="163"/>
                  <a:pt x="7" y="185"/>
                </a:cubicBezTo>
                <a:cubicBezTo>
                  <a:pt x="0" y="208"/>
                  <a:pt x="3" y="228"/>
                  <a:pt x="15" y="242"/>
                </a:cubicBezTo>
                <a:cubicBezTo>
                  <a:pt x="41" y="273"/>
                  <a:pt x="41" y="273"/>
                  <a:pt x="41" y="273"/>
                </a:cubicBezTo>
                <a:cubicBezTo>
                  <a:pt x="29" y="301"/>
                  <a:pt x="23" y="332"/>
                  <a:pt x="23" y="364"/>
                </a:cubicBezTo>
                <a:cubicBezTo>
                  <a:pt x="23" y="434"/>
                  <a:pt x="54" y="498"/>
                  <a:pt x="103" y="542"/>
                </a:cubicBezTo>
                <a:cubicBezTo>
                  <a:pt x="48" y="637"/>
                  <a:pt x="48" y="637"/>
                  <a:pt x="48" y="637"/>
                </a:cubicBezTo>
                <a:cubicBezTo>
                  <a:pt x="46" y="640"/>
                  <a:pt x="47" y="644"/>
                  <a:pt x="50" y="646"/>
                </a:cubicBezTo>
                <a:cubicBezTo>
                  <a:pt x="51" y="647"/>
                  <a:pt x="53" y="647"/>
                  <a:pt x="54" y="647"/>
                </a:cubicBezTo>
                <a:cubicBezTo>
                  <a:pt x="56" y="647"/>
                  <a:pt x="59" y="646"/>
                  <a:pt x="60" y="644"/>
                </a:cubicBezTo>
                <a:cubicBezTo>
                  <a:pt x="114" y="552"/>
                  <a:pt x="114" y="552"/>
                  <a:pt x="114" y="552"/>
                </a:cubicBezTo>
                <a:cubicBezTo>
                  <a:pt x="155" y="585"/>
                  <a:pt x="207" y="605"/>
                  <a:pt x="264" y="605"/>
                </a:cubicBezTo>
                <a:cubicBezTo>
                  <a:pt x="321" y="605"/>
                  <a:pt x="374" y="585"/>
                  <a:pt x="415" y="552"/>
                </a:cubicBezTo>
                <a:cubicBezTo>
                  <a:pt x="469" y="644"/>
                  <a:pt x="469" y="644"/>
                  <a:pt x="469" y="644"/>
                </a:cubicBezTo>
                <a:cubicBezTo>
                  <a:pt x="470" y="646"/>
                  <a:pt x="472" y="647"/>
                  <a:pt x="475" y="647"/>
                </a:cubicBezTo>
                <a:cubicBezTo>
                  <a:pt x="476" y="647"/>
                  <a:pt x="477" y="647"/>
                  <a:pt x="478" y="646"/>
                </a:cubicBezTo>
                <a:cubicBezTo>
                  <a:pt x="482" y="644"/>
                  <a:pt x="483" y="640"/>
                  <a:pt x="481" y="637"/>
                </a:cubicBezTo>
                <a:cubicBezTo>
                  <a:pt x="426" y="542"/>
                  <a:pt x="426" y="542"/>
                  <a:pt x="426" y="542"/>
                </a:cubicBezTo>
                <a:cubicBezTo>
                  <a:pt x="475" y="498"/>
                  <a:pt x="506" y="434"/>
                  <a:pt x="506" y="364"/>
                </a:cubicBezTo>
                <a:cubicBezTo>
                  <a:pt x="506" y="331"/>
                  <a:pt x="499" y="299"/>
                  <a:pt x="487" y="271"/>
                </a:cubicBezTo>
                <a:cubicBezTo>
                  <a:pt x="514" y="238"/>
                  <a:pt x="514" y="238"/>
                  <a:pt x="514" y="238"/>
                </a:cubicBezTo>
                <a:cubicBezTo>
                  <a:pt x="538" y="210"/>
                  <a:pt x="522" y="157"/>
                  <a:pt x="479" y="121"/>
                </a:cubicBezTo>
                <a:close/>
                <a:moveTo>
                  <a:pt x="25" y="233"/>
                </a:moveTo>
                <a:cubicBezTo>
                  <a:pt x="17" y="223"/>
                  <a:pt x="15" y="207"/>
                  <a:pt x="21" y="189"/>
                </a:cubicBezTo>
                <a:cubicBezTo>
                  <a:pt x="27" y="170"/>
                  <a:pt x="40" y="151"/>
                  <a:pt x="59" y="136"/>
                </a:cubicBezTo>
                <a:cubicBezTo>
                  <a:pt x="96" y="104"/>
                  <a:pt x="142" y="97"/>
                  <a:pt x="160" y="120"/>
                </a:cubicBezTo>
                <a:cubicBezTo>
                  <a:pt x="176" y="139"/>
                  <a:pt x="176" y="139"/>
                  <a:pt x="176" y="139"/>
                </a:cubicBezTo>
                <a:cubicBezTo>
                  <a:pt x="120" y="161"/>
                  <a:pt x="73" y="204"/>
                  <a:pt x="47" y="259"/>
                </a:cubicBezTo>
                <a:lnTo>
                  <a:pt x="25" y="233"/>
                </a:lnTo>
                <a:close/>
                <a:moveTo>
                  <a:pt x="264" y="591"/>
                </a:moveTo>
                <a:cubicBezTo>
                  <a:pt x="139" y="591"/>
                  <a:pt x="37" y="489"/>
                  <a:pt x="37" y="364"/>
                </a:cubicBezTo>
                <a:cubicBezTo>
                  <a:pt x="37" y="238"/>
                  <a:pt x="139" y="136"/>
                  <a:pt x="264" y="136"/>
                </a:cubicBezTo>
                <a:cubicBezTo>
                  <a:pt x="390" y="136"/>
                  <a:pt x="492" y="238"/>
                  <a:pt x="492" y="364"/>
                </a:cubicBezTo>
                <a:cubicBezTo>
                  <a:pt x="492" y="489"/>
                  <a:pt x="390" y="591"/>
                  <a:pt x="264" y="591"/>
                </a:cubicBezTo>
                <a:close/>
                <a:moveTo>
                  <a:pt x="503" y="229"/>
                </a:moveTo>
                <a:cubicBezTo>
                  <a:pt x="480" y="257"/>
                  <a:pt x="480" y="257"/>
                  <a:pt x="480" y="257"/>
                </a:cubicBezTo>
                <a:cubicBezTo>
                  <a:pt x="453" y="202"/>
                  <a:pt x="407" y="160"/>
                  <a:pt x="350" y="138"/>
                </a:cubicBezTo>
                <a:cubicBezTo>
                  <a:pt x="368" y="116"/>
                  <a:pt x="368" y="116"/>
                  <a:pt x="368" y="116"/>
                </a:cubicBezTo>
                <a:cubicBezTo>
                  <a:pt x="377" y="105"/>
                  <a:pt x="392" y="101"/>
                  <a:pt x="411" y="104"/>
                </a:cubicBezTo>
                <a:cubicBezTo>
                  <a:pt x="430" y="106"/>
                  <a:pt x="452" y="116"/>
                  <a:pt x="470" y="132"/>
                </a:cubicBezTo>
                <a:cubicBezTo>
                  <a:pt x="507" y="163"/>
                  <a:pt x="522" y="207"/>
                  <a:pt x="503" y="229"/>
                </a:cubicBezTo>
                <a:close/>
                <a:moveTo>
                  <a:pt x="271" y="335"/>
                </a:moveTo>
                <a:cubicBezTo>
                  <a:pt x="271" y="183"/>
                  <a:pt x="271" y="183"/>
                  <a:pt x="271" y="183"/>
                </a:cubicBezTo>
                <a:cubicBezTo>
                  <a:pt x="271" y="179"/>
                  <a:pt x="268" y="176"/>
                  <a:pt x="264" y="176"/>
                </a:cubicBezTo>
                <a:cubicBezTo>
                  <a:pt x="260" y="176"/>
                  <a:pt x="257" y="179"/>
                  <a:pt x="257" y="183"/>
                </a:cubicBezTo>
                <a:cubicBezTo>
                  <a:pt x="257" y="335"/>
                  <a:pt x="257" y="335"/>
                  <a:pt x="257" y="335"/>
                </a:cubicBezTo>
                <a:cubicBezTo>
                  <a:pt x="244" y="338"/>
                  <a:pt x="235" y="350"/>
                  <a:pt x="235" y="364"/>
                </a:cubicBezTo>
                <a:cubicBezTo>
                  <a:pt x="235" y="372"/>
                  <a:pt x="238" y="379"/>
                  <a:pt x="243" y="385"/>
                </a:cubicBezTo>
                <a:cubicBezTo>
                  <a:pt x="202" y="454"/>
                  <a:pt x="202" y="454"/>
                  <a:pt x="202" y="454"/>
                </a:cubicBezTo>
                <a:cubicBezTo>
                  <a:pt x="200" y="457"/>
                  <a:pt x="201" y="461"/>
                  <a:pt x="204" y="463"/>
                </a:cubicBezTo>
                <a:cubicBezTo>
                  <a:pt x="205" y="464"/>
                  <a:pt x="207" y="464"/>
                  <a:pt x="208" y="464"/>
                </a:cubicBezTo>
                <a:cubicBezTo>
                  <a:pt x="210" y="464"/>
                  <a:pt x="212" y="463"/>
                  <a:pt x="214" y="461"/>
                </a:cubicBezTo>
                <a:cubicBezTo>
                  <a:pt x="255" y="392"/>
                  <a:pt x="255" y="392"/>
                  <a:pt x="255" y="392"/>
                </a:cubicBezTo>
                <a:cubicBezTo>
                  <a:pt x="258" y="393"/>
                  <a:pt x="261" y="393"/>
                  <a:pt x="264" y="393"/>
                </a:cubicBezTo>
                <a:cubicBezTo>
                  <a:pt x="281" y="393"/>
                  <a:pt x="294" y="380"/>
                  <a:pt x="294" y="364"/>
                </a:cubicBezTo>
                <a:cubicBezTo>
                  <a:pt x="294" y="350"/>
                  <a:pt x="284" y="338"/>
                  <a:pt x="271" y="335"/>
                </a:cubicBezTo>
                <a:close/>
                <a:moveTo>
                  <a:pt x="264" y="379"/>
                </a:moveTo>
                <a:cubicBezTo>
                  <a:pt x="256" y="379"/>
                  <a:pt x="249" y="372"/>
                  <a:pt x="249" y="364"/>
                </a:cubicBezTo>
                <a:cubicBezTo>
                  <a:pt x="249" y="355"/>
                  <a:pt x="256" y="348"/>
                  <a:pt x="264" y="348"/>
                </a:cubicBezTo>
                <a:cubicBezTo>
                  <a:pt x="273" y="348"/>
                  <a:pt x="280" y="355"/>
                  <a:pt x="280" y="364"/>
                </a:cubicBezTo>
                <a:cubicBezTo>
                  <a:pt x="280" y="372"/>
                  <a:pt x="273" y="379"/>
                  <a:pt x="264" y="37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4" name="Oval 41"/>
          <p:cNvSpPr>
            <a:spLocks noChangeArrowheads="1"/>
          </p:cNvSpPr>
          <p:nvPr/>
        </p:nvSpPr>
        <p:spPr bwMode="auto">
          <a:xfrm>
            <a:off x="3552358" y="1914829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80" name="Freeform 98"/>
          <p:cNvSpPr>
            <a:spLocks noEditPoints="1"/>
          </p:cNvSpPr>
          <p:nvPr/>
        </p:nvSpPr>
        <p:spPr bwMode="auto">
          <a:xfrm>
            <a:off x="3688078" y="2049684"/>
            <a:ext cx="552386" cy="553250"/>
          </a:xfrm>
          <a:custGeom>
            <a:avLst/>
            <a:gdLst>
              <a:gd name="T0" fmla="*/ 486 w 714"/>
              <a:gd name="T1" fmla="*/ 214 h 715"/>
              <a:gd name="T2" fmla="*/ 375 w 714"/>
              <a:gd name="T3" fmla="*/ 329 h 715"/>
              <a:gd name="T4" fmla="*/ 357 w 714"/>
              <a:gd name="T5" fmla="*/ 324 h 715"/>
              <a:gd name="T6" fmla="*/ 342 w 714"/>
              <a:gd name="T7" fmla="*/ 327 h 715"/>
              <a:gd name="T8" fmla="*/ 183 w 714"/>
              <a:gd name="T9" fmla="*/ 124 h 715"/>
              <a:gd name="T10" fmla="*/ 173 w 714"/>
              <a:gd name="T11" fmla="*/ 123 h 715"/>
              <a:gd name="T12" fmla="*/ 172 w 714"/>
              <a:gd name="T13" fmla="*/ 133 h 715"/>
              <a:gd name="T14" fmla="*/ 331 w 714"/>
              <a:gd name="T15" fmla="*/ 336 h 715"/>
              <a:gd name="T16" fmla="*/ 323 w 714"/>
              <a:gd name="T17" fmla="*/ 358 h 715"/>
              <a:gd name="T18" fmla="*/ 357 w 714"/>
              <a:gd name="T19" fmla="*/ 391 h 715"/>
              <a:gd name="T20" fmla="*/ 390 w 714"/>
              <a:gd name="T21" fmla="*/ 358 h 715"/>
              <a:gd name="T22" fmla="*/ 385 w 714"/>
              <a:gd name="T23" fmla="*/ 339 h 715"/>
              <a:gd name="T24" fmla="*/ 496 w 714"/>
              <a:gd name="T25" fmla="*/ 223 h 715"/>
              <a:gd name="T26" fmla="*/ 496 w 714"/>
              <a:gd name="T27" fmla="*/ 213 h 715"/>
              <a:gd name="T28" fmla="*/ 486 w 714"/>
              <a:gd name="T29" fmla="*/ 214 h 715"/>
              <a:gd name="T30" fmla="*/ 357 w 714"/>
              <a:gd name="T31" fmla="*/ 377 h 715"/>
              <a:gd name="T32" fmla="*/ 337 w 714"/>
              <a:gd name="T33" fmla="*/ 358 h 715"/>
              <a:gd name="T34" fmla="*/ 357 w 714"/>
              <a:gd name="T35" fmla="*/ 338 h 715"/>
              <a:gd name="T36" fmla="*/ 376 w 714"/>
              <a:gd name="T37" fmla="*/ 358 h 715"/>
              <a:gd name="T38" fmla="*/ 357 w 714"/>
              <a:gd name="T39" fmla="*/ 377 h 715"/>
              <a:gd name="T40" fmla="*/ 714 w 714"/>
              <a:gd name="T41" fmla="*/ 358 h 715"/>
              <a:gd name="T42" fmla="*/ 714 w 714"/>
              <a:gd name="T43" fmla="*/ 358 h 715"/>
              <a:gd name="T44" fmla="*/ 357 w 714"/>
              <a:gd name="T45" fmla="*/ 0 h 715"/>
              <a:gd name="T46" fmla="*/ 357 w 714"/>
              <a:gd name="T47" fmla="*/ 0 h 715"/>
              <a:gd name="T48" fmla="*/ 357 w 714"/>
              <a:gd name="T49" fmla="*/ 0 h 715"/>
              <a:gd name="T50" fmla="*/ 357 w 714"/>
              <a:gd name="T51" fmla="*/ 0 h 715"/>
              <a:gd name="T52" fmla="*/ 0 w 714"/>
              <a:gd name="T53" fmla="*/ 358 h 715"/>
              <a:gd name="T54" fmla="*/ 0 w 714"/>
              <a:gd name="T55" fmla="*/ 358 h 715"/>
              <a:gd name="T56" fmla="*/ 0 w 714"/>
              <a:gd name="T57" fmla="*/ 358 h 715"/>
              <a:gd name="T58" fmla="*/ 0 w 714"/>
              <a:gd name="T59" fmla="*/ 358 h 715"/>
              <a:gd name="T60" fmla="*/ 357 w 714"/>
              <a:gd name="T61" fmla="*/ 715 h 715"/>
              <a:gd name="T62" fmla="*/ 357 w 714"/>
              <a:gd name="T63" fmla="*/ 715 h 715"/>
              <a:gd name="T64" fmla="*/ 357 w 714"/>
              <a:gd name="T65" fmla="*/ 715 h 715"/>
              <a:gd name="T66" fmla="*/ 357 w 714"/>
              <a:gd name="T67" fmla="*/ 715 h 715"/>
              <a:gd name="T68" fmla="*/ 714 w 714"/>
              <a:gd name="T69" fmla="*/ 358 h 715"/>
              <a:gd name="T70" fmla="*/ 714 w 714"/>
              <a:gd name="T71" fmla="*/ 358 h 715"/>
              <a:gd name="T72" fmla="*/ 364 w 714"/>
              <a:gd name="T73" fmla="*/ 700 h 715"/>
              <a:gd name="T74" fmla="*/ 364 w 714"/>
              <a:gd name="T75" fmla="*/ 662 h 715"/>
              <a:gd name="T76" fmla="*/ 357 w 714"/>
              <a:gd name="T77" fmla="*/ 655 h 715"/>
              <a:gd name="T78" fmla="*/ 350 w 714"/>
              <a:gd name="T79" fmla="*/ 662 h 715"/>
              <a:gd name="T80" fmla="*/ 350 w 714"/>
              <a:gd name="T81" fmla="*/ 700 h 715"/>
              <a:gd name="T82" fmla="*/ 14 w 714"/>
              <a:gd name="T83" fmla="*/ 365 h 715"/>
              <a:gd name="T84" fmla="*/ 52 w 714"/>
              <a:gd name="T85" fmla="*/ 365 h 715"/>
              <a:gd name="T86" fmla="*/ 59 w 714"/>
              <a:gd name="T87" fmla="*/ 358 h 715"/>
              <a:gd name="T88" fmla="*/ 52 w 714"/>
              <a:gd name="T89" fmla="*/ 351 h 715"/>
              <a:gd name="T90" fmla="*/ 14 w 714"/>
              <a:gd name="T91" fmla="*/ 351 h 715"/>
              <a:gd name="T92" fmla="*/ 350 w 714"/>
              <a:gd name="T93" fmla="*/ 15 h 715"/>
              <a:gd name="T94" fmla="*/ 350 w 714"/>
              <a:gd name="T95" fmla="*/ 53 h 715"/>
              <a:gd name="T96" fmla="*/ 357 w 714"/>
              <a:gd name="T97" fmla="*/ 60 h 715"/>
              <a:gd name="T98" fmla="*/ 364 w 714"/>
              <a:gd name="T99" fmla="*/ 53 h 715"/>
              <a:gd name="T100" fmla="*/ 364 w 714"/>
              <a:gd name="T101" fmla="*/ 15 h 715"/>
              <a:gd name="T102" fmla="*/ 699 w 714"/>
              <a:gd name="T103" fmla="*/ 351 h 715"/>
              <a:gd name="T104" fmla="*/ 661 w 714"/>
              <a:gd name="T105" fmla="*/ 351 h 715"/>
              <a:gd name="T106" fmla="*/ 654 w 714"/>
              <a:gd name="T107" fmla="*/ 358 h 715"/>
              <a:gd name="T108" fmla="*/ 661 w 714"/>
              <a:gd name="T109" fmla="*/ 365 h 715"/>
              <a:gd name="T110" fmla="*/ 699 w 714"/>
              <a:gd name="T111" fmla="*/ 365 h 715"/>
              <a:gd name="T112" fmla="*/ 364 w 714"/>
              <a:gd name="T113" fmla="*/ 700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14" h="715">
                <a:moveTo>
                  <a:pt x="486" y="214"/>
                </a:moveTo>
                <a:cubicBezTo>
                  <a:pt x="375" y="329"/>
                  <a:pt x="375" y="329"/>
                  <a:pt x="375" y="329"/>
                </a:cubicBezTo>
                <a:cubicBezTo>
                  <a:pt x="369" y="326"/>
                  <a:pt x="363" y="324"/>
                  <a:pt x="357" y="324"/>
                </a:cubicBezTo>
                <a:cubicBezTo>
                  <a:pt x="351" y="324"/>
                  <a:pt x="346" y="325"/>
                  <a:pt x="342" y="327"/>
                </a:cubicBezTo>
                <a:cubicBezTo>
                  <a:pt x="183" y="124"/>
                  <a:pt x="183" y="124"/>
                  <a:pt x="183" y="124"/>
                </a:cubicBezTo>
                <a:cubicBezTo>
                  <a:pt x="180" y="121"/>
                  <a:pt x="176" y="121"/>
                  <a:pt x="173" y="123"/>
                </a:cubicBezTo>
                <a:cubicBezTo>
                  <a:pt x="170" y="126"/>
                  <a:pt x="169" y="130"/>
                  <a:pt x="172" y="133"/>
                </a:cubicBezTo>
                <a:cubicBezTo>
                  <a:pt x="331" y="336"/>
                  <a:pt x="331" y="336"/>
                  <a:pt x="331" y="336"/>
                </a:cubicBezTo>
                <a:cubicBezTo>
                  <a:pt x="326" y="342"/>
                  <a:pt x="323" y="349"/>
                  <a:pt x="323" y="358"/>
                </a:cubicBezTo>
                <a:cubicBezTo>
                  <a:pt x="323" y="376"/>
                  <a:pt x="338" y="391"/>
                  <a:pt x="357" y="391"/>
                </a:cubicBezTo>
                <a:cubicBezTo>
                  <a:pt x="375" y="391"/>
                  <a:pt x="390" y="376"/>
                  <a:pt x="390" y="358"/>
                </a:cubicBezTo>
                <a:cubicBezTo>
                  <a:pt x="390" y="351"/>
                  <a:pt x="388" y="344"/>
                  <a:pt x="385" y="339"/>
                </a:cubicBezTo>
                <a:cubicBezTo>
                  <a:pt x="496" y="223"/>
                  <a:pt x="496" y="223"/>
                  <a:pt x="496" y="223"/>
                </a:cubicBezTo>
                <a:cubicBezTo>
                  <a:pt x="499" y="220"/>
                  <a:pt x="499" y="216"/>
                  <a:pt x="496" y="213"/>
                </a:cubicBezTo>
                <a:cubicBezTo>
                  <a:pt x="493" y="211"/>
                  <a:pt x="489" y="211"/>
                  <a:pt x="486" y="214"/>
                </a:cubicBezTo>
                <a:close/>
                <a:moveTo>
                  <a:pt x="357" y="377"/>
                </a:moveTo>
                <a:cubicBezTo>
                  <a:pt x="346" y="377"/>
                  <a:pt x="337" y="368"/>
                  <a:pt x="337" y="358"/>
                </a:cubicBezTo>
                <a:cubicBezTo>
                  <a:pt x="337" y="347"/>
                  <a:pt x="346" y="338"/>
                  <a:pt x="357" y="338"/>
                </a:cubicBezTo>
                <a:cubicBezTo>
                  <a:pt x="368" y="338"/>
                  <a:pt x="376" y="347"/>
                  <a:pt x="376" y="358"/>
                </a:cubicBezTo>
                <a:cubicBezTo>
                  <a:pt x="376" y="368"/>
                  <a:pt x="368" y="377"/>
                  <a:pt x="357" y="377"/>
                </a:cubicBezTo>
                <a:close/>
                <a:moveTo>
                  <a:pt x="714" y="358"/>
                </a:moveTo>
                <a:cubicBezTo>
                  <a:pt x="714" y="358"/>
                  <a:pt x="714" y="358"/>
                  <a:pt x="714" y="358"/>
                </a:cubicBezTo>
                <a:cubicBezTo>
                  <a:pt x="714" y="161"/>
                  <a:pt x="553" y="0"/>
                  <a:pt x="357" y="0"/>
                </a:cubicBezTo>
                <a:cubicBezTo>
                  <a:pt x="357" y="0"/>
                  <a:pt x="357" y="0"/>
                  <a:pt x="357" y="0"/>
                </a:cubicBezTo>
                <a:cubicBezTo>
                  <a:pt x="357" y="0"/>
                  <a:pt x="357" y="0"/>
                  <a:pt x="357" y="0"/>
                </a:cubicBezTo>
                <a:cubicBezTo>
                  <a:pt x="357" y="0"/>
                  <a:pt x="357" y="0"/>
                  <a:pt x="357" y="0"/>
                </a:cubicBezTo>
                <a:cubicBezTo>
                  <a:pt x="160" y="0"/>
                  <a:pt x="0" y="161"/>
                  <a:pt x="0" y="358"/>
                </a:cubicBezTo>
                <a:cubicBezTo>
                  <a:pt x="0" y="358"/>
                  <a:pt x="0" y="358"/>
                  <a:pt x="0" y="358"/>
                </a:cubicBezTo>
                <a:cubicBezTo>
                  <a:pt x="0" y="358"/>
                  <a:pt x="0" y="358"/>
                  <a:pt x="0" y="358"/>
                </a:cubicBezTo>
                <a:cubicBezTo>
                  <a:pt x="0" y="358"/>
                  <a:pt x="0" y="358"/>
                  <a:pt x="0" y="358"/>
                </a:cubicBezTo>
                <a:cubicBezTo>
                  <a:pt x="0" y="554"/>
                  <a:pt x="160" y="715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553" y="715"/>
                  <a:pt x="714" y="554"/>
                  <a:pt x="714" y="358"/>
                </a:cubicBezTo>
                <a:cubicBezTo>
                  <a:pt x="714" y="358"/>
                  <a:pt x="714" y="358"/>
                  <a:pt x="714" y="358"/>
                </a:cubicBezTo>
                <a:close/>
                <a:moveTo>
                  <a:pt x="364" y="700"/>
                </a:moveTo>
                <a:cubicBezTo>
                  <a:pt x="364" y="662"/>
                  <a:pt x="364" y="662"/>
                  <a:pt x="364" y="662"/>
                </a:cubicBezTo>
                <a:cubicBezTo>
                  <a:pt x="364" y="658"/>
                  <a:pt x="360" y="655"/>
                  <a:pt x="357" y="655"/>
                </a:cubicBezTo>
                <a:cubicBezTo>
                  <a:pt x="353" y="655"/>
                  <a:pt x="350" y="658"/>
                  <a:pt x="350" y="662"/>
                </a:cubicBezTo>
                <a:cubicBezTo>
                  <a:pt x="350" y="700"/>
                  <a:pt x="350" y="700"/>
                  <a:pt x="350" y="700"/>
                </a:cubicBezTo>
                <a:cubicBezTo>
                  <a:pt x="166" y="697"/>
                  <a:pt x="17" y="548"/>
                  <a:pt x="14" y="365"/>
                </a:cubicBezTo>
                <a:cubicBezTo>
                  <a:pt x="52" y="365"/>
                  <a:pt x="52" y="365"/>
                  <a:pt x="52" y="365"/>
                </a:cubicBezTo>
                <a:cubicBezTo>
                  <a:pt x="56" y="365"/>
                  <a:pt x="59" y="361"/>
                  <a:pt x="59" y="358"/>
                </a:cubicBezTo>
                <a:cubicBezTo>
                  <a:pt x="59" y="354"/>
                  <a:pt x="56" y="351"/>
                  <a:pt x="52" y="351"/>
                </a:cubicBezTo>
                <a:cubicBezTo>
                  <a:pt x="14" y="351"/>
                  <a:pt x="14" y="351"/>
                  <a:pt x="14" y="351"/>
                </a:cubicBezTo>
                <a:cubicBezTo>
                  <a:pt x="17" y="167"/>
                  <a:pt x="166" y="18"/>
                  <a:pt x="350" y="15"/>
                </a:cubicBezTo>
                <a:cubicBezTo>
                  <a:pt x="350" y="53"/>
                  <a:pt x="350" y="53"/>
                  <a:pt x="350" y="53"/>
                </a:cubicBezTo>
                <a:cubicBezTo>
                  <a:pt x="350" y="57"/>
                  <a:pt x="353" y="60"/>
                  <a:pt x="357" y="60"/>
                </a:cubicBezTo>
                <a:cubicBezTo>
                  <a:pt x="360" y="60"/>
                  <a:pt x="364" y="57"/>
                  <a:pt x="364" y="53"/>
                </a:cubicBezTo>
                <a:cubicBezTo>
                  <a:pt x="364" y="15"/>
                  <a:pt x="364" y="15"/>
                  <a:pt x="364" y="15"/>
                </a:cubicBezTo>
                <a:cubicBezTo>
                  <a:pt x="547" y="18"/>
                  <a:pt x="696" y="167"/>
                  <a:pt x="699" y="351"/>
                </a:cubicBezTo>
                <a:cubicBezTo>
                  <a:pt x="661" y="351"/>
                  <a:pt x="661" y="351"/>
                  <a:pt x="661" y="351"/>
                </a:cubicBezTo>
                <a:cubicBezTo>
                  <a:pt x="657" y="351"/>
                  <a:pt x="654" y="354"/>
                  <a:pt x="654" y="358"/>
                </a:cubicBezTo>
                <a:cubicBezTo>
                  <a:pt x="654" y="361"/>
                  <a:pt x="657" y="365"/>
                  <a:pt x="661" y="365"/>
                </a:cubicBezTo>
                <a:cubicBezTo>
                  <a:pt x="699" y="365"/>
                  <a:pt x="699" y="365"/>
                  <a:pt x="699" y="365"/>
                </a:cubicBezTo>
                <a:cubicBezTo>
                  <a:pt x="696" y="548"/>
                  <a:pt x="547" y="697"/>
                  <a:pt x="364" y="70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3" name="Oval 40"/>
          <p:cNvSpPr>
            <a:spLocks noChangeArrowheads="1"/>
          </p:cNvSpPr>
          <p:nvPr/>
        </p:nvSpPr>
        <p:spPr bwMode="auto">
          <a:xfrm>
            <a:off x="4845101" y="1914829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87" name="Freeform 100"/>
          <p:cNvSpPr>
            <a:spLocks noEditPoints="1"/>
          </p:cNvSpPr>
          <p:nvPr/>
        </p:nvSpPr>
        <p:spPr bwMode="auto">
          <a:xfrm>
            <a:off x="4962667" y="2054006"/>
            <a:ext cx="587828" cy="545471"/>
          </a:xfrm>
          <a:custGeom>
            <a:avLst/>
            <a:gdLst>
              <a:gd name="T0" fmla="*/ 387 w 759"/>
              <a:gd name="T1" fmla="*/ 56 h 705"/>
              <a:gd name="T2" fmla="*/ 387 w 759"/>
              <a:gd name="T3" fmla="*/ 7 h 705"/>
              <a:gd name="T4" fmla="*/ 380 w 759"/>
              <a:gd name="T5" fmla="*/ 0 h 705"/>
              <a:gd name="T6" fmla="*/ 373 w 759"/>
              <a:gd name="T7" fmla="*/ 7 h 705"/>
              <a:gd name="T8" fmla="*/ 373 w 759"/>
              <a:gd name="T9" fmla="*/ 56 h 705"/>
              <a:gd name="T10" fmla="*/ 0 w 759"/>
              <a:gd name="T11" fmla="*/ 404 h 705"/>
              <a:gd name="T12" fmla="*/ 0 w 759"/>
              <a:gd name="T13" fmla="*/ 405 h 705"/>
              <a:gd name="T14" fmla="*/ 5 w 759"/>
              <a:gd name="T15" fmla="*/ 411 h 705"/>
              <a:gd name="T16" fmla="*/ 13 w 759"/>
              <a:gd name="T17" fmla="*/ 409 h 705"/>
              <a:gd name="T18" fmla="*/ 131 w 759"/>
              <a:gd name="T19" fmla="*/ 346 h 705"/>
              <a:gd name="T20" fmla="*/ 250 w 759"/>
              <a:gd name="T21" fmla="*/ 409 h 705"/>
              <a:gd name="T22" fmla="*/ 261 w 759"/>
              <a:gd name="T23" fmla="*/ 409 h 705"/>
              <a:gd name="T24" fmla="*/ 373 w 759"/>
              <a:gd name="T25" fmla="*/ 346 h 705"/>
              <a:gd name="T26" fmla="*/ 373 w 759"/>
              <a:gd name="T27" fmla="*/ 631 h 705"/>
              <a:gd name="T28" fmla="*/ 308 w 759"/>
              <a:gd name="T29" fmla="*/ 691 h 705"/>
              <a:gd name="T30" fmla="*/ 243 w 759"/>
              <a:gd name="T31" fmla="*/ 631 h 705"/>
              <a:gd name="T32" fmla="*/ 236 w 759"/>
              <a:gd name="T33" fmla="*/ 624 h 705"/>
              <a:gd name="T34" fmla="*/ 229 w 759"/>
              <a:gd name="T35" fmla="*/ 631 h 705"/>
              <a:gd name="T36" fmla="*/ 308 w 759"/>
              <a:gd name="T37" fmla="*/ 705 h 705"/>
              <a:gd name="T38" fmla="*/ 387 w 759"/>
              <a:gd name="T39" fmla="*/ 631 h 705"/>
              <a:gd name="T40" fmla="*/ 387 w 759"/>
              <a:gd name="T41" fmla="*/ 346 h 705"/>
              <a:gd name="T42" fmla="*/ 498 w 759"/>
              <a:gd name="T43" fmla="*/ 409 h 705"/>
              <a:gd name="T44" fmla="*/ 504 w 759"/>
              <a:gd name="T45" fmla="*/ 412 h 705"/>
              <a:gd name="T46" fmla="*/ 510 w 759"/>
              <a:gd name="T47" fmla="*/ 409 h 705"/>
              <a:gd name="T48" fmla="*/ 628 w 759"/>
              <a:gd name="T49" fmla="*/ 346 h 705"/>
              <a:gd name="T50" fmla="*/ 747 w 759"/>
              <a:gd name="T51" fmla="*/ 409 h 705"/>
              <a:gd name="T52" fmla="*/ 752 w 759"/>
              <a:gd name="T53" fmla="*/ 412 h 705"/>
              <a:gd name="T54" fmla="*/ 754 w 759"/>
              <a:gd name="T55" fmla="*/ 411 h 705"/>
              <a:gd name="T56" fmla="*/ 759 w 759"/>
              <a:gd name="T57" fmla="*/ 405 h 705"/>
              <a:gd name="T58" fmla="*/ 759 w 759"/>
              <a:gd name="T59" fmla="*/ 404 h 705"/>
              <a:gd name="T60" fmla="*/ 387 w 759"/>
              <a:gd name="T61" fmla="*/ 56 h 705"/>
              <a:gd name="T62" fmla="*/ 628 w 759"/>
              <a:gd name="T63" fmla="*/ 332 h 705"/>
              <a:gd name="T64" fmla="*/ 504 w 759"/>
              <a:gd name="T65" fmla="*/ 393 h 705"/>
              <a:gd name="T66" fmla="*/ 380 w 759"/>
              <a:gd name="T67" fmla="*/ 332 h 705"/>
              <a:gd name="T68" fmla="*/ 256 w 759"/>
              <a:gd name="T69" fmla="*/ 393 h 705"/>
              <a:gd name="T70" fmla="*/ 131 w 759"/>
              <a:gd name="T71" fmla="*/ 332 h 705"/>
              <a:gd name="T72" fmla="*/ 15 w 759"/>
              <a:gd name="T73" fmla="*/ 384 h 705"/>
              <a:gd name="T74" fmla="*/ 380 w 759"/>
              <a:gd name="T75" fmla="*/ 70 h 705"/>
              <a:gd name="T76" fmla="*/ 745 w 759"/>
              <a:gd name="T77" fmla="*/ 384 h 705"/>
              <a:gd name="T78" fmla="*/ 628 w 759"/>
              <a:gd name="T79" fmla="*/ 332 h 7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59" h="705">
                <a:moveTo>
                  <a:pt x="387" y="56"/>
                </a:moveTo>
                <a:cubicBezTo>
                  <a:pt x="387" y="7"/>
                  <a:pt x="387" y="7"/>
                  <a:pt x="387" y="7"/>
                </a:cubicBezTo>
                <a:cubicBezTo>
                  <a:pt x="387" y="3"/>
                  <a:pt x="384" y="0"/>
                  <a:pt x="380" y="0"/>
                </a:cubicBezTo>
                <a:cubicBezTo>
                  <a:pt x="376" y="0"/>
                  <a:pt x="373" y="3"/>
                  <a:pt x="373" y="7"/>
                </a:cubicBezTo>
                <a:cubicBezTo>
                  <a:pt x="373" y="56"/>
                  <a:pt x="373" y="56"/>
                  <a:pt x="373" y="56"/>
                </a:cubicBezTo>
                <a:cubicBezTo>
                  <a:pt x="167" y="59"/>
                  <a:pt x="0" y="214"/>
                  <a:pt x="0" y="404"/>
                </a:cubicBezTo>
                <a:cubicBezTo>
                  <a:pt x="0" y="405"/>
                  <a:pt x="0" y="405"/>
                  <a:pt x="0" y="405"/>
                </a:cubicBezTo>
                <a:cubicBezTo>
                  <a:pt x="0" y="408"/>
                  <a:pt x="2" y="410"/>
                  <a:pt x="5" y="411"/>
                </a:cubicBezTo>
                <a:cubicBezTo>
                  <a:pt x="8" y="412"/>
                  <a:pt x="11" y="411"/>
                  <a:pt x="13" y="409"/>
                </a:cubicBezTo>
                <a:cubicBezTo>
                  <a:pt x="40" y="369"/>
                  <a:pt x="85" y="346"/>
                  <a:pt x="131" y="346"/>
                </a:cubicBezTo>
                <a:cubicBezTo>
                  <a:pt x="178" y="346"/>
                  <a:pt x="223" y="369"/>
                  <a:pt x="250" y="409"/>
                </a:cubicBezTo>
                <a:cubicBezTo>
                  <a:pt x="253" y="412"/>
                  <a:pt x="259" y="412"/>
                  <a:pt x="261" y="409"/>
                </a:cubicBezTo>
                <a:cubicBezTo>
                  <a:pt x="287" y="371"/>
                  <a:pt x="329" y="348"/>
                  <a:pt x="373" y="346"/>
                </a:cubicBezTo>
                <a:cubicBezTo>
                  <a:pt x="373" y="631"/>
                  <a:pt x="373" y="631"/>
                  <a:pt x="373" y="631"/>
                </a:cubicBezTo>
                <a:cubicBezTo>
                  <a:pt x="373" y="664"/>
                  <a:pt x="344" y="691"/>
                  <a:pt x="308" y="691"/>
                </a:cubicBezTo>
                <a:cubicBezTo>
                  <a:pt x="272" y="691"/>
                  <a:pt x="243" y="664"/>
                  <a:pt x="243" y="631"/>
                </a:cubicBezTo>
                <a:cubicBezTo>
                  <a:pt x="243" y="627"/>
                  <a:pt x="240" y="624"/>
                  <a:pt x="236" y="624"/>
                </a:cubicBezTo>
                <a:cubicBezTo>
                  <a:pt x="233" y="624"/>
                  <a:pt x="229" y="627"/>
                  <a:pt x="229" y="631"/>
                </a:cubicBezTo>
                <a:cubicBezTo>
                  <a:pt x="229" y="672"/>
                  <a:pt x="265" y="705"/>
                  <a:pt x="308" y="705"/>
                </a:cubicBezTo>
                <a:cubicBezTo>
                  <a:pt x="352" y="705"/>
                  <a:pt x="387" y="672"/>
                  <a:pt x="387" y="631"/>
                </a:cubicBezTo>
                <a:cubicBezTo>
                  <a:pt x="387" y="346"/>
                  <a:pt x="387" y="346"/>
                  <a:pt x="387" y="346"/>
                </a:cubicBezTo>
                <a:cubicBezTo>
                  <a:pt x="431" y="348"/>
                  <a:pt x="472" y="371"/>
                  <a:pt x="498" y="409"/>
                </a:cubicBezTo>
                <a:cubicBezTo>
                  <a:pt x="500" y="410"/>
                  <a:pt x="502" y="412"/>
                  <a:pt x="504" y="412"/>
                </a:cubicBezTo>
                <a:cubicBezTo>
                  <a:pt x="506" y="412"/>
                  <a:pt x="508" y="410"/>
                  <a:pt x="510" y="409"/>
                </a:cubicBezTo>
                <a:cubicBezTo>
                  <a:pt x="537" y="369"/>
                  <a:pt x="581" y="346"/>
                  <a:pt x="628" y="346"/>
                </a:cubicBezTo>
                <a:cubicBezTo>
                  <a:pt x="675" y="346"/>
                  <a:pt x="719" y="369"/>
                  <a:pt x="747" y="409"/>
                </a:cubicBezTo>
                <a:cubicBezTo>
                  <a:pt x="748" y="410"/>
                  <a:pt x="750" y="412"/>
                  <a:pt x="752" y="412"/>
                </a:cubicBezTo>
                <a:cubicBezTo>
                  <a:pt x="753" y="412"/>
                  <a:pt x="754" y="411"/>
                  <a:pt x="754" y="411"/>
                </a:cubicBezTo>
                <a:cubicBezTo>
                  <a:pt x="757" y="410"/>
                  <a:pt x="759" y="408"/>
                  <a:pt x="759" y="405"/>
                </a:cubicBezTo>
                <a:cubicBezTo>
                  <a:pt x="759" y="404"/>
                  <a:pt x="759" y="404"/>
                  <a:pt x="759" y="404"/>
                </a:cubicBezTo>
                <a:cubicBezTo>
                  <a:pt x="759" y="214"/>
                  <a:pt x="593" y="59"/>
                  <a:pt x="387" y="56"/>
                </a:cubicBezTo>
                <a:close/>
                <a:moveTo>
                  <a:pt x="628" y="332"/>
                </a:moveTo>
                <a:cubicBezTo>
                  <a:pt x="580" y="332"/>
                  <a:pt x="534" y="354"/>
                  <a:pt x="504" y="393"/>
                </a:cubicBezTo>
                <a:cubicBezTo>
                  <a:pt x="474" y="354"/>
                  <a:pt x="428" y="332"/>
                  <a:pt x="380" y="332"/>
                </a:cubicBezTo>
                <a:cubicBezTo>
                  <a:pt x="332" y="332"/>
                  <a:pt x="286" y="354"/>
                  <a:pt x="256" y="393"/>
                </a:cubicBezTo>
                <a:cubicBezTo>
                  <a:pt x="225" y="354"/>
                  <a:pt x="180" y="332"/>
                  <a:pt x="131" y="332"/>
                </a:cubicBezTo>
                <a:cubicBezTo>
                  <a:pt x="87" y="332"/>
                  <a:pt x="45" y="351"/>
                  <a:pt x="15" y="384"/>
                </a:cubicBezTo>
                <a:cubicBezTo>
                  <a:pt x="27" y="209"/>
                  <a:pt x="186" y="70"/>
                  <a:pt x="380" y="70"/>
                </a:cubicBezTo>
                <a:cubicBezTo>
                  <a:pt x="574" y="70"/>
                  <a:pt x="733" y="209"/>
                  <a:pt x="745" y="384"/>
                </a:cubicBezTo>
                <a:cubicBezTo>
                  <a:pt x="715" y="351"/>
                  <a:pt x="673" y="332"/>
                  <a:pt x="628" y="3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8" name="Oval 29"/>
          <p:cNvSpPr>
            <a:spLocks noChangeArrowheads="1"/>
          </p:cNvSpPr>
          <p:nvPr/>
        </p:nvSpPr>
        <p:spPr bwMode="auto">
          <a:xfrm>
            <a:off x="966871" y="796230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98" name="Freeform 111"/>
          <p:cNvSpPr>
            <a:spLocks noEditPoints="1"/>
          </p:cNvSpPr>
          <p:nvPr/>
        </p:nvSpPr>
        <p:spPr bwMode="auto">
          <a:xfrm>
            <a:off x="1244653" y="942476"/>
            <a:ext cx="267398" cy="529602"/>
          </a:xfrm>
          <a:custGeom>
            <a:avLst/>
            <a:gdLst>
              <a:gd name="T0" fmla="*/ 84 w 345"/>
              <a:gd name="T1" fmla="*/ 684 h 684"/>
              <a:gd name="T2" fmla="*/ 81 w 345"/>
              <a:gd name="T3" fmla="*/ 683 h 684"/>
              <a:gd name="T4" fmla="*/ 77 w 345"/>
              <a:gd name="T5" fmla="*/ 675 h 684"/>
              <a:gd name="T6" fmla="*/ 137 w 345"/>
              <a:gd name="T7" fmla="*/ 396 h 684"/>
              <a:gd name="T8" fmla="*/ 7 w 345"/>
              <a:gd name="T9" fmla="*/ 396 h 684"/>
              <a:gd name="T10" fmla="*/ 1 w 345"/>
              <a:gd name="T11" fmla="*/ 392 h 684"/>
              <a:gd name="T12" fmla="*/ 1 w 345"/>
              <a:gd name="T13" fmla="*/ 385 h 684"/>
              <a:gd name="T14" fmla="*/ 255 w 345"/>
              <a:gd name="T15" fmla="*/ 4 h 684"/>
              <a:gd name="T16" fmla="*/ 263 w 345"/>
              <a:gd name="T17" fmla="*/ 2 h 684"/>
              <a:gd name="T18" fmla="*/ 267 w 345"/>
              <a:gd name="T19" fmla="*/ 10 h 684"/>
              <a:gd name="T20" fmla="*/ 207 w 345"/>
              <a:gd name="T21" fmla="*/ 289 h 684"/>
              <a:gd name="T22" fmla="*/ 337 w 345"/>
              <a:gd name="T23" fmla="*/ 289 h 684"/>
              <a:gd name="T24" fmla="*/ 343 w 345"/>
              <a:gd name="T25" fmla="*/ 293 h 684"/>
              <a:gd name="T26" fmla="*/ 343 w 345"/>
              <a:gd name="T27" fmla="*/ 300 h 684"/>
              <a:gd name="T28" fmla="*/ 90 w 345"/>
              <a:gd name="T29" fmla="*/ 681 h 684"/>
              <a:gd name="T30" fmla="*/ 84 w 345"/>
              <a:gd name="T31" fmla="*/ 684 h 684"/>
              <a:gd name="T32" fmla="*/ 20 w 345"/>
              <a:gd name="T33" fmla="*/ 382 h 684"/>
              <a:gd name="T34" fmla="*/ 146 w 345"/>
              <a:gd name="T35" fmla="*/ 382 h 684"/>
              <a:gd name="T36" fmla="*/ 151 w 345"/>
              <a:gd name="T37" fmla="*/ 384 h 684"/>
              <a:gd name="T38" fmla="*/ 153 w 345"/>
              <a:gd name="T39" fmla="*/ 390 h 684"/>
              <a:gd name="T40" fmla="*/ 99 w 345"/>
              <a:gd name="T41" fmla="*/ 642 h 684"/>
              <a:gd name="T42" fmla="*/ 324 w 345"/>
              <a:gd name="T43" fmla="*/ 303 h 684"/>
              <a:gd name="T44" fmla="*/ 199 w 345"/>
              <a:gd name="T45" fmla="*/ 303 h 684"/>
              <a:gd name="T46" fmla="*/ 193 w 345"/>
              <a:gd name="T47" fmla="*/ 301 h 684"/>
              <a:gd name="T48" fmla="*/ 192 w 345"/>
              <a:gd name="T49" fmla="*/ 295 h 684"/>
              <a:gd name="T50" fmla="*/ 246 w 345"/>
              <a:gd name="T51" fmla="*/ 43 h 684"/>
              <a:gd name="T52" fmla="*/ 20 w 345"/>
              <a:gd name="T53" fmla="*/ 382 h 6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45" h="684">
                <a:moveTo>
                  <a:pt x="84" y="684"/>
                </a:moveTo>
                <a:cubicBezTo>
                  <a:pt x="83" y="684"/>
                  <a:pt x="82" y="684"/>
                  <a:pt x="81" y="683"/>
                </a:cubicBezTo>
                <a:cubicBezTo>
                  <a:pt x="78" y="682"/>
                  <a:pt x="77" y="679"/>
                  <a:pt x="77" y="675"/>
                </a:cubicBezTo>
                <a:cubicBezTo>
                  <a:pt x="137" y="396"/>
                  <a:pt x="137" y="396"/>
                  <a:pt x="137" y="396"/>
                </a:cubicBezTo>
                <a:cubicBezTo>
                  <a:pt x="7" y="396"/>
                  <a:pt x="7" y="396"/>
                  <a:pt x="7" y="396"/>
                </a:cubicBezTo>
                <a:cubicBezTo>
                  <a:pt x="5" y="396"/>
                  <a:pt x="2" y="394"/>
                  <a:pt x="1" y="392"/>
                </a:cubicBezTo>
                <a:cubicBezTo>
                  <a:pt x="0" y="390"/>
                  <a:pt x="0" y="387"/>
                  <a:pt x="1" y="385"/>
                </a:cubicBezTo>
                <a:cubicBezTo>
                  <a:pt x="255" y="4"/>
                  <a:pt x="255" y="4"/>
                  <a:pt x="255" y="4"/>
                </a:cubicBezTo>
                <a:cubicBezTo>
                  <a:pt x="256" y="1"/>
                  <a:pt x="260" y="0"/>
                  <a:pt x="263" y="2"/>
                </a:cubicBezTo>
                <a:cubicBezTo>
                  <a:pt x="266" y="3"/>
                  <a:pt x="268" y="6"/>
                  <a:pt x="267" y="10"/>
                </a:cubicBezTo>
                <a:cubicBezTo>
                  <a:pt x="207" y="289"/>
                  <a:pt x="207" y="289"/>
                  <a:pt x="207" y="289"/>
                </a:cubicBezTo>
                <a:cubicBezTo>
                  <a:pt x="337" y="289"/>
                  <a:pt x="337" y="289"/>
                  <a:pt x="337" y="289"/>
                </a:cubicBezTo>
                <a:cubicBezTo>
                  <a:pt x="340" y="289"/>
                  <a:pt x="342" y="291"/>
                  <a:pt x="343" y="293"/>
                </a:cubicBezTo>
                <a:cubicBezTo>
                  <a:pt x="345" y="295"/>
                  <a:pt x="345" y="298"/>
                  <a:pt x="343" y="300"/>
                </a:cubicBezTo>
                <a:cubicBezTo>
                  <a:pt x="90" y="681"/>
                  <a:pt x="90" y="681"/>
                  <a:pt x="90" y="681"/>
                </a:cubicBezTo>
                <a:cubicBezTo>
                  <a:pt x="89" y="683"/>
                  <a:pt x="86" y="684"/>
                  <a:pt x="84" y="684"/>
                </a:cubicBezTo>
                <a:close/>
                <a:moveTo>
                  <a:pt x="20" y="382"/>
                </a:moveTo>
                <a:cubicBezTo>
                  <a:pt x="146" y="382"/>
                  <a:pt x="146" y="382"/>
                  <a:pt x="146" y="382"/>
                </a:cubicBezTo>
                <a:cubicBezTo>
                  <a:pt x="148" y="382"/>
                  <a:pt x="150" y="383"/>
                  <a:pt x="151" y="384"/>
                </a:cubicBezTo>
                <a:cubicBezTo>
                  <a:pt x="153" y="386"/>
                  <a:pt x="153" y="388"/>
                  <a:pt x="153" y="390"/>
                </a:cubicBezTo>
                <a:cubicBezTo>
                  <a:pt x="99" y="642"/>
                  <a:pt x="99" y="642"/>
                  <a:pt x="99" y="642"/>
                </a:cubicBezTo>
                <a:cubicBezTo>
                  <a:pt x="324" y="303"/>
                  <a:pt x="324" y="303"/>
                  <a:pt x="324" y="303"/>
                </a:cubicBezTo>
                <a:cubicBezTo>
                  <a:pt x="199" y="303"/>
                  <a:pt x="199" y="303"/>
                  <a:pt x="199" y="303"/>
                </a:cubicBezTo>
                <a:cubicBezTo>
                  <a:pt x="196" y="303"/>
                  <a:pt x="194" y="302"/>
                  <a:pt x="193" y="301"/>
                </a:cubicBezTo>
                <a:cubicBezTo>
                  <a:pt x="192" y="299"/>
                  <a:pt x="191" y="297"/>
                  <a:pt x="192" y="295"/>
                </a:cubicBezTo>
                <a:cubicBezTo>
                  <a:pt x="246" y="43"/>
                  <a:pt x="246" y="43"/>
                  <a:pt x="246" y="43"/>
                </a:cubicBezTo>
                <a:lnTo>
                  <a:pt x="20" y="38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37" name="Oval 52"/>
          <p:cNvSpPr>
            <a:spLocks noChangeArrowheads="1"/>
          </p:cNvSpPr>
          <p:nvPr/>
        </p:nvSpPr>
        <p:spPr bwMode="auto">
          <a:xfrm>
            <a:off x="2259614" y="304205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306" name="Freeform 119"/>
          <p:cNvSpPr>
            <a:spLocks noEditPoints="1"/>
          </p:cNvSpPr>
          <p:nvPr/>
        </p:nvSpPr>
        <p:spPr bwMode="auto">
          <a:xfrm>
            <a:off x="2406572" y="3183258"/>
            <a:ext cx="524724" cy="536224"/>
          </a:xfrm>
          <a:custGeom>
            <a:avLst/>
            <a:gdLst>
              <a:gd name="T0" fmla="*/ 501 w 678"/>
              <a:gd name="T1" fmla="*/ 691 h 691"/>
              <a:gd name="T2" fmla="*/ 496 w 678"/>
              <a:gd name="T3" fmla="*/ 688 h 691"/>
              <a:gd name="T4" fmla="*/ 388 w 678"/>
              <a:gd name="T5" fmla="*/ 579 h 691"/>
              <a:gd name="T6" fmla="*/ 91 w 678"/>
              <a:gd name="T7" fmla="*/ 507 h 691"/>
              <a:gd name="T8" fmla="*/ 6 w 678"/>
              <a:gd name="T9" fmla="*/ 277 h 691"/>
              <a:gd name="T10" fmla="*/ 8 w 678"/>
              <a:gd name="T11" fmla="*/ 273 h 691"/>
              <a:gd name="T12" fmla="*/ 30 w 678"/>
              <a:gd name="T13" fmla="*/ 251 h 691"/>
              <a:gd name="T14" fmla="*/ 40 w 678"/>
              <a:gd name="T15" fmla="*/ 251 h 691"/>
              <a:gd name="T16" fmla="*/ 143 w 678"/>
              <a:gd name="T17" fmla="*/ 353 h 691"/>
              <a:gd name="T18" fmla="*/ 309 w 678"/>
              <a:gd name="T19" fmla="*/ 309 h 691"/>
              <a:gd name="T20" fmla="*/ 353 w 678"/>
              <a:gd name="T21" fmla="*/ 143 h 691"/>
              <a:gd name="T22" fmla="*/ 251 w 678"/>
              <a:gd name="T23" fmla="*/ 40 h 691"/>
              <a:gd name="T24" fmla="*/ 249 w 678"/>
              <a:gd name="T25" fmla="*/ 35 h 691"/>
              <a:gd name="T26" fmla="*/ 251 w 678"/>
              <a:gd name="T27" fmla="*/ 30 h 691"/>
              <a:gd name="T28" fmla="*/ 273 w 678"/>
              <a:gd name="T29" fmla="*/ 8 h 691"/>
              <a:gd name="T30" fmla="*/ 277 w 678"/>
              <a:gd name="T31" fmla="*/ 6 h 691"/>
              <a:gd name="T32" fmla="*/ 507 w 678"/>
              <a:gd name="T33" fmla="*/ 91 h 691"/>
              <a:gd name="T34" fmla="*/ 579 w 678"/>
              <a:gd name="T35" fmla="*/ 388 h 691"/>
              <a:gd name="T36" fmla="*/ 675 w 678"/>
              <a:gd name="T37" fmla="*/ 484 h 691"/>
              <a:gd name="T38" fmla="*/ 675 w 678"/>
              <a:gd name="T39" fmla="*/ 494 h 691"/>
              <a:gd name="T40" fmla="*/ 665 w 678"/>
              <a:gd name="T41" fmla="*/ 494 h 691"/>
              <a:gd name="T42" fmla="*/ 566 w 678"/>
              <a:gd name="T43" fmla="*/ 394 h 691"/>
              <a:gd name="T44" fmla="*/ 565 w 678"/>
              <a:gd name="T45" fmla="*/ 387 h 691"/>
              <a:gd name="T46" fmla="*/ 497 w 678"/>
              <a:gd name="T47" fmla="*/ 101 h 691"/>
              <a:gd name="T48" fmla="*/ 281 w 678"/>
              <a:gd name="T49" fmla="*/ 20 h 691"/>
              <a:gd name="T50" fmla="*/ 266 w 678"/>
              <a:gd name="T51" fmla="*/ 35 h 691"/>
              <a:gd name="T52" fmla="*/ 366 w 678"/>
              <a:gd name="T53" fmla="*/ 136 h 691"/>
              <a:gd name="T54" fmla="*/ 368 w 678"/>
              <a:gd name="T55" fmla="*/ 143 h 691"/>
              <a:gd name="T56" fmla="*/ 321 w 678"/>
              <a:gd name="T57" fmla="*/ 316 h 691"/>
              <a:gd name="T58" fmla="*/ 316 w 678"/>
              <a:gd name="T59" fmla="*/ 321 h 691"/>
              <a:gd name="T60" fmla="*/ 143 w 678"/>
              <a:gd name="T61" fmla="*/ 368 h 691"/>
              <a:gd name="T62" fmla="*/ 136 w 678"/>
              <a:gd name="T63" fmla="*/ 366 h 691"/>
              <a:gd name="T64" fmla="*/ 35 w 678"/>
              <a:gd name="T65" fmla="*/ 266 h 691"/>
              <a:gd name="T66" fmla="*/ 20 w 678"/>
              <a:gd name="T67" fmla="*/ 281 h 691"/>
              <a:gd name="T68" fmla="*/ 101 w 678"/>
              <a:gd name="T69" fmla="*/ 497 h 691"/>
              <a:gd name="T70" fmla="*/ 387 w 678"/>
              <a:gd name="T71" fmla="*/ 565 h 691"/>
              <a:gd name="T72" fmla="*/ 394 w 678"/>
              <a:gd name="T73" fmla="*/ 566 h 691"/>
              <a:gd name="T74" fmla="*/ 506 w 678"/>
              <a:gd name="T75" fmla="*/ 679 h 691"/>
              <a:gd name="T76" fmla="*/ 506 w 678"/>
              <a:gd name="T77" fmla="*/ 688 h 691"/>
              <a:gd name="T78" fmla="*/ 501 w 678"/>
              <a:gd name="T79" fmla="*/ 691 h 691"/>
              <a:gd name="T80" fmla="*/ 156 w 678"/>
              <a:gd name="T81" fmla="*/ 313 h 691"/>
              <a:gd name="T82" fmla="*/ 151 w 678"/>
              <a:gd name="T83" fmla="*/ 311 h 691"/>
              <a:gd name="T84" fmla="*/ 64 w 678"/>
              <a:gd name="T85" fmla="*/ 224 h 691"/>
              <a:gd name="T86" fmla="*/ 62 w 678"/>
              <a:gd name="T87" fmla="*/ 217 h 691"/>
              <a:gd name="T88" fmla="*/ 94 w 678"/>
              <a:gd name="T89" fmla="*/ 99 h 691"/>
              <a:gd name="T90" fmla="*/ 99 w 678"/>
              <a:gd name="T91" fmla="*/ 94 h 691"/>
              <a:gd name="T92" fmla="*/ 217 w 678"/>
              <a:gd name="T93" fmla="*/ 62 h 691"/>
              <a:gd name="T94" fmla="*/ 224 w 678"/>
              <a:gd name="T95" fmla="*/ 64 h 691"/>
              <a:gd name="T96" fmla="*/ 311 w 678"/>
              <a:gd name="T97" fmla="*/ 151 h 691"/>
              <a:gd name="T98" fmla="*/ 313 w 678"/>
              <a:gd name="T99" fmla="*/ 157 h 691"/>
              <a:gd name="T100" fmla="*/ 281 w 678"/>
              <a:gd name="T101" fmla="*/ 276 h 691"/>
              <a:gd name="T102" fmla="*/ 276 w 678"/>
              <a:gd name="T103" fmla="*/ 281 h 691"/>
              <a:gd name="T104" fmla="*/ 157 w 678"/>
              <a:gd name="T105" fmla="*/ 313 h 691"/>
              <a:gd name="T106" fmla="*/ 156 w 678"/>
              <a:gd name="T107" fmla="*/ 313 h 691"/>
              <a:gd name="T108" fmla="*/ 77 w 678"/>
              <a:gd name="T109" fmla="*/ 217 h 691"/>
              <a:gd name="T110" fmla="*/ 158 w 678"/>
              <a:gd name="T111" fmla="*/ 298 h 691"/>
              <a:gd name="T112" fmla="*/ 268 w 678"/>
              <a:gd name="T113" fmla="*/ 268 h 691"/>
              <a:gd name="T114" fmla="*/ 298 w 678"/>
              <a:gd name="T115" fmla="*/ 158 h 691"/>
              <a:gd name="T116" fmla="*/ 217 w 678"/>
              <a:gd name="T117" fmla="*/ 76 h 691"/>
              <a:gd name="T118" fmla="*/ 106 w 678"/>
              <a:gd name="T119" fmla="*/ 106 h 691"/>
              <a:gd name="T120" fmla="*/ 77 w 678"/>
              <a:gd name="T121" fmla="*/ 217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78" h="691">
                <a:moveTo>
                  <a:pt x="501" y="691"/>
                </a:moveTo>
                <a:cubicBezTo>
                  <a:pt x="500" y="691"/>
                  <a:pt x="498" y="690"/>
                  <a:pt x="496" y="688"/>
                </a:cubicBezTo>
                <a:cubicBezTo>
                  <a:pt x="388" y="579"/>
                  <a:pt x="388" y="579"/>
                  <a:pt x="388" y="579"/>
                </a:cubicBezTo>
                <a:cubicBezTo>
                  <a:pt x="283" y="612"/>
                  <a:pt x="170" y="585"/>
                  <a:pt x="91" y="507"/>
                </a:cubicBezTo>
                <a:cubicBezTo>
                  <a:pt x="31" y="446"/>
                  <a:pt x="0" y="363"/>
                  <a:pt x="6" y="277"/>
                </a:cubicBezTo>
                <a:cubicBezTo>
                  <a:pt x="6" y="276"/>
                  <a:pt x="7" y="274"/>
                  <a:pt x="8" y="273"/>
                </a:cubicBezTo>
                <a:cubicBezTo>
                  <a:pt x="30" y="251"/>
                  <a:pt x="30" y="251"/>
                  <a:pt x="30" y="251"/>
                </a:cubicBezTo>
                <a:cubicBezTo>
                  <a:pt x="33" y="248"/>
                  <a:pt x="38" y="248"/>
                  <a:pt x="40" y="251"/>
                </a:cubicBezTo>
                <a:cubicBezTo>
                  <a:pt x="143" y="353"/>
                  <a:pt x="143" y="353"/>
                  <a:pt x="143" y="353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53" y="143"/>
                  <a:pt x="353" y="143"/>
                  <a:pt x="353" y="143"/>
                </a:cubicBezTo>
                <a:cubicBezTo>
                  <a:pt x="251" y="40"/>
                  <a:pt x="251" y="40"/>
                  <a:pt x="251" y="40"/>
                </a:cubicBezTo>
                <a:cubicBezTo>
                  <a:pt x="250" y="39"/>
                  <a:pt x="249" y="37"/>
                  <a:pt x="249" y="35"/>
                </a:cubicBezTo>
                <a:cubicBezTo>
                  <a:pt x="249" y="33"/>
                  <a:pt x="250" y="32"/>
                  <a:pt x="251" y="30"/>
                </a:cubicBezTo>
                <a:cubicBezTo>
                  <a:pt x="273" y="8"/>
                  <a:pt x="273" y="8"/>
                  <a:pt x="273" y="8"/>
                </a:cubicBezTo>
                <a:cubicBezTo>
                  <a:pt x="274" y="7"/>
                  <a:pt x="276" y="6"/>
                  <a:pt x="277" y="6"/>
                </a:cubicBezTo>
                <a:cubicBezTo>
                  <a:pt x="363" y="0"/>
                  <a:pt x="446" y="31"/>
                  <a:pt x="507" y="91"/>
                </a:cubicBezTo>
                <a:cubicBezTo>
                  <a:pt x="585" y="169"/>
                  <a:pt x="613" y="283"/>
                  <a:pt x="579" y="388"/>
                </a:cubicBezTo>
                <a:cubicBezTo>
                  <a:pt x="675" y="484"/>
                  <a:pt x="675" y="484"/>
                  <a:pt x="675" y="484"/>
                </a:cubicBezTo>
                <a:cubicBezTo>
                  <a:pt x="678" y="486"/>
                  <a:pt x="678" y="491"/>
                  <a:pt x="675" y="494"/>
                </a:cubicBezTo>
                <a:cubicBezTo>
                  <a:pt x="673" y="496"/>
                  <a:pt x="668" y="496"/>
                  <a:pt x="665" y="494"/>
                </a:cubicBezTo>
                <a:cubicBezTo>
                  <a:pt x="566" y="394"/>
                  <a:pt x="566" y="394"/>
                  <a:pt x="566" y="394"/>
                </a:cubicBezTo>
                <a:cubicBezTo>
                  <a:pt x="565" y="393"/>
                  <a:pt x="564" y="390"/>
                  <a:pt x="565" y="387"/>
                </a:cubicBezTo>
                <a:cubicBezTo>
                  <a:pt x="598" y="286"/>
                  <a:pt x="572" y="177"/>
                  <a:pt x="497" y="101"/>
                </a:cubicBezTo>
                <a:cubicBezTo>
                  <a:pt x="440" y="44"/>
                  <a:pt x="361" y="15"/>
                  <a:pt x="281" y="20"/>
                </a:cubicBezTo>
                <a:cubicBezTo>
                  <a:pt x="266" y="35"/>
                  <a:pt x="266" y="35"/>
                  <a:pt x="266" y="35"/>
                </a:cubicBezTo>
                <a:cubicBezTo>
                  <a:pt x="366" y="136"/>
                  <a:pt x="366" y="136"/>
                  <a:pt x="366" y="136"/>
                </a:cubicBezTo>
                <a:cubicBezTo>
                  <a:pt x="368" y="138"/>
                  <a:pt x="369" y="140"/>
                  <a:pt x="368" y="143"/>
                </a:cubicBezTo>
                <a:cubicBezTo>
                  <a:pt x="321" y="316"/>
                  <a:pt x="321" y="316"/>
                  <a:pt x="321" y="316"/>
                </a:cubicBezTo>
                <a:cubicBezTo>
                  <a:pt x="321" y="319"/>
                  <a:pt x="319" y="321"/>
                  <a:pt x="316" y="321"/>
                </a:cubicBezTo>
                <a:cubicBezTo>
                  <a:pt x="143" y="368"/>
                  <a:pt x="143" y="368"/>
                  <a:pt x="143" y="368"/>
                </a:cubicBezTo>
                <a:cubicBezTo>
                  <a:pt x="140" y="369"/>
                  <a:pt x="138" y="368"/>
                  <a:pt x="136" y="366"/>
                </a:cubicBezTo>
                <a:cubicBezTo>
                  <a:pt x="35" y="266"/>
                  <a:pt x="35" y="266"/>
                  <a:pt x="35" y="266"/>
                </a:cubicBezTo>
                <a:cubicBezTo>
                  <a:pt x="20" y="281"/>
                  <a:pt x="20" y="281"/>
                  <a:pt x="20" y="281"/>
                </a:cubicBezTo>
                <a:cubicBezTo>
                  <a:pt x="15" y="361"/>
                  <a:pt x="44" y="440"/>
                  <a:pt x="101" y="497"/>
                </a:cubicBezTo>
                <a:cubicBezTo>
                  <a:pt x="177" y="572"/>
                  <a:pt x="286" y="598"/>
                  <a:pt x="387" y="565"/>
                </a:cubicBezTo>
                <a:cubicBezTo>
                  <a:pt x="390" y="564"/>
                  <a:pt x="393" y="565"/>
                  <a:pt x="394" y="566"/>
                </a:cubicBezTo>
                <a:cubicBezTo>
                  <a:pt x="506" y="679"/>
                  <a:pt x="506" y="679"/>
                  <a:pt x="506" y="679"/>
                </a:cubicBezTo>
                <a:cubicBezTo>
                  <a:pt x="509" y="681"/>
                  <a:pt x="509" y="686"/>
                  <a:pt x="506" y="688"/>
                </a:cubicBezTo>
                <a:cubicBezTo>
                  <a:pt x="505" y="690"/>
                  <a:pt x="503" y="691"/>
                  <a:pt x="501" y="691"/>
                </a:cubicBezTo>
                <a:close/>
                <a:moveTo>
                  <a:pt x="156" y="313"/>
                </a:moveTo>
                <a:cubicBezTo>
                  <a:pt x="154" y="313"/>
                  <a:pt x="152" y="312"/>
                  <a:pt x="151" y="311"/>
                </a:cubicBezTo>
                <a:cubicBezTo>
                  <a:pt x="64" y="224"/>
                  <a:pt x="64" y="224"/>
                  <a:pt x="64" y="224"/>
                </a:cubicBezTo>
                <a:cubicBezTo>
                  <a:pt x="62" y="222"/>
                  <a:pt x="61" y="220"/>
                  <a:pt x="62" y="217"/>
                </a:cubicBezTo>
                <a:cubicBezTo>
                  <a:pt x="94" y="99"/>
                  <a:pt x="94" y="99"/>
                  <a:pt x="94" y="99"/>
                </a:cubicBezTo>
                <a:cubicBezTo>
                  <a:pt x="94" y="96"/>
                  <a:pt x="96" y="94"/>
                  <a:pt x="99" y="94"/>
                </a:cubicBezTo>
                <a:cubicBezTo>
                  <a:pt x="217" y="62"/>
                  <a:pt x="217" y="62"/>
                  <a:pt x="217" y="62"/>
                </a:cubicBezTo>
                <a:cubicBezTo>
                  <a:pt x="220" y="61"/>
                  <a:pt x="222" y="62"/>
                  <a:pt x="224" y="64"/>
                </a:cubicBezTo>
                <a:cubicBezTo>
                  <a:pt x="311" y="151"/>
                  <a:pt x="311" y="151"/>
                  <a:pt x="311" y="151"/>
                </a:cubicBezTo>
                <a:cubicBezTo>
                  <a:pt x="313" y="152"/>
                  <a:pt x="313" y="155"/>
                  <a:pt x="313" y="157"/>
                </a:cubicBezTo>
                <a:cubicBezTo>
                  <a:pt x="281" y="276"/>
                  <a:pt x="281" y="276"/>
                  <a:pt x="281" y="276"/>
                </a:cubicBezTo>
                <a:cubicBezTo>
                  <a:pt x="280" y="278"/>
                  <a:pt x="278" y="280"/>
                  <a:pt x="276" y="281"/>
                </a:cubicBezTo>
                <a:cubicBezTo>
                  <a:pt x="157" y="313"/>
                  <a:pt x="157" y="313"/>
                  <a:pt x="157" y="313"/>
                </a:cubicBezTo>
                <a:cubicBezTo>
                  <a:pt x="157" y="313"/>
                  <a:pt x="156" y="313"/>
                  <a:pt x="156" y="313"/>
                </a:cubicBezTo>
                <a:close/>
                <a:moveTo>
                  <a:pt x="77" y="217"/>
                </a:moveTo>
                <a:cubicBezTo>
                  <a:pt x="158" y="298"/>
                  <a:pt x="158" y="298"/>
                  <a:pt x="158" y="298"/>
                </a:cubicBezTo>
                <a:cubicBezTo>
                  <a:pt x="268" y="268"/>
                  <a:pt x="268" y="268"/>
                  <a:pt x="268" y="268"/>
                </a:cubicBezTo>
                <a:cubicBezTo>
                  <a:pt x="298" y="158"/>
                  <a:pt x="298" y="158"/>
                  <a:pt x="298" y="158"/>
                </a:cubicBezTo>
                <a:cubicBezTo>
                  <a:pt x="217" y="76"/>
                  <a:pt x="217" y="76"/>
                  <a:pt x="217" y="76"/>
                </a:cubicBezTo>
                <a:cubicBezTo>
                  <a:pt x="106" y="106"/>
                  <a:pt x="106" y="106"/>
                  <a:pt x="106" y="106"/>
                </a:cubicBezTo>
                <a:lnTo>
                  <a:pt x="77" y="2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38" name="Oval 53"/>
          <p:cNvSpPr>
            <a:spLocks noChangeArrowheads="1"/>
          </p:cNvSpPr>
          <p:nvPr/>
        </p:nvSpPr>
        <p:spPr bwMode="auto">
          <a:xfrm>
            <a:off x="966871" y="304205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307" name="Freeform 120"/>
          <p:cNvSpPr>
            <a:spLocks/>
          </p:cNvSpPr>
          <p:nvPr/>
        </p:nvSpPr>
        <p:spPr bwMode="auto">
          <a:xfrm>
            <a:off x="1094945" y="3224839"/>
            <a:ext cx="563351" cy="457393"/>
          </a:xfrm>
          <a:custGeom>
            <a:avLst/>
            <a:gdLst>
              <a:gd name="T0" fmla="*/ 618 w 727"/>
              <a:gd name="T1" fmla="*/ 590 h 590"/>
              <a:gd name="T2" fmla="*/ 613 w 727"/>
              <a:gd name="T3" fmla="*/ 588 h 590"/>
              <a:gd name="T4" fmla="*/ 480 w 727"/>
              <a:gd name="T5" fmla="*/ 456 h 590"/>
              <a:gd name="T6" fmla="*/ 399 w 727"/>
              <a:gd name="T7" fmla="*/ 374 h 590"/>
              <a:gd name="T8" fmla="*/ 326 w 727"/>
              <a:gd name="T9" fmla="*/ 342 h 590"/>
              <a:gd name="T10" fmla="*/ 242 w 727"/>
              <a:gd name="T11" fmla="*/ 376 h 590"/>
              <a:gd name="T12" fmla="*/ 224 w 727"/>
              <a:gd name="T13" fmla="*/ 417 h 590"/>
              <a:gd name="T14" fmla="*/ 207 w 727"/>
              <a:gd name="T15" fmla="*/ 455 h 590"/>
              <a:gd name="T16" fmla="*/ 162 w 727"/>
              <a:gd name="T17" fmla="*/ 500 h 590"/>
              <a:gd name="T18" fmla="*/ 154 w 727"/>
              <a:gd name="T19" fmla="*/ 508 h 590"/>
              <a:gd name="T20" fmla="*/ 137 w 727"/>
              <a:gd name="T21" fmla="*/ 515 h 590"/>
              <a:gd name="T22" fmla="*/ 7 w 727"/>
              <a:gd name="T23" fmla="*/ 396 h 590"/>
              <a:gd name="T24" fmla="*/ 12 w 727"/>
              <a:gd name="T25" fmla="*/ 365 h 590"/>
              <a:gd name="T26" fmla="*/ 64 w 727"/>
              <a:gd name="T27" fmla="*/ 313 h 590"/>
              <a:gd name="T28" fmla="*/ 109 w 727"/>
              <a:gd name="T29" fmla="*/ 291 h 590"/>
              <a:gd name="T30" fmla="*/ 139 w 727"/>
              <a:gd name="T31" fmla="*/ 279 h 590"/>
              <a:gd name="T32" fmla="*/ 156 w 727"/>
              <a:gd name="T33" fmla="*/ 240 h 590"/>
              <a:gd name="T34" fmla="*/ 156 w 727"/>
              <a:gd name="T35" fmla="*/ 239 h 590"/>
              <a:gd name="T36" fmla="*/ 194 w 727"/>
              <a:gd name="T37" fmla="*/ 159 h 590"/>
              <a:gd name="T38" fmla="*/ 529 w 727"/>
              <a:gd name="T39" fmla="*/ 0 h 590"/>
              <a:gd name="T40" fmla="*/ 670 w 727"/>
              <a:gd name="T41" fmla="*/ 15 h 590"/>
              <a:gd name="T42" fmla="*/ 684 w 727"/>
              <a:gd name="T43" fmla="*/ 24 h 590"/>
              <a:gd name="T44" fmla="*/ 686 w 727"/>
              <a:gd name="T45" fmla="*/ 40 h 590"/>
              <a:gd name="T46" fmla="*/ 679 w 727"/>
              <a:gd name="T47" fmla="*/ 71 h 590"/>
              <a:gd name="T48" fmla="*/ 655 w 727"/>
              <a:gd name="T49" fmla="*/ 86 h 590"/>
              <a:gd name="T50" fmla="*/ 477 w 727"/>
              <a:gd name="T51" fmla="*/ 148 h 590"/>
              <a:gd name="T52" fmla="*/ 482 w 727"/>
              <a:gd name="T53" fmla="*/ 207 h 590"/>
              <a:gd name="T54" fmla="*/ 523 w 727"/>
              <a:gd name="T55" fmla="*/ 267 h 590"/>
              <a:gd name="T56" fmla="*/ 724 w 727"/>
              <a:gd name="T57" fmla="*/ 467 h 590"/>
              <a:gd name="T58" fmla="*/ 724 w 727"/>
              <a:gd name="T59" fmla="*/ 477 h 590"/>
              <a:gd name="T60" fmla="*/ 714 w 727"/>
              <a:gd name="T61" fmla="*/ 477 h 590"/>
              <a:gd name="T62" fmla="*/ 514 w 727"/>
              <a:gd name="T63" fmla="*/ 277 h 590"/>
              <a:gd name="T64" fmla="*/ 465 w 727"/>
              <a:gd name="T65" fmla="*/ 140 h 590"/>
              <a:gd name="T66" fmla="*/ 658 w 727"/>
              <a:gd name="T67" fmla="*/ 72 h 590"/>
              <a:gd name="T68" fmla="*/ 666 w 727"/>
              <a:gd name="T69" fmla="*/ 67 h 590"/>
              <a:gd name="T70" fmla="*/ 673 w 727"/>
              <a:gd name="T71" fmla="*/ 37 h 590"/>
              <a:gd name="T72" fmla="*/ 672 w 727"/>
              <a:gd name="T73" fmla="*/ 31 h 590"/>
              <a:gd name="T74" fmla="*/ 667 w 727"/>
              <a:gd name="T75" fmla="*/ 28 h 590"/>
              <a:gd name="T76" fmla="*/ 529 w 727"/>
              <a:gd name="T77" fmla="*/ 14 h 590"/>
              <a:gd name="T78" fmla="*/ 204 w 727"/>
              <a:gd name="T79" fmla="*/ 168 h 590"/>
              <a:gd name="T80" fmla="*/ 169 w 727"/>
              <a:gd name="T81" fmla="*/ 243 h 590"/>
              <a:gd name="T82" fmla="*/ 169 w 727"/>
              <a:gd name="T83" fmla="*/ 244 h 590"/>
              <a:gd name="T84" fmla="*/ 148 w 727"/>
              <a:gd name="T85" fmla="*/ 290 h 590"/>
              <a:gd name="T86" fmla="*/ 112 w 727"/>
              <a:gd name="T87" fmla="*/ 305 h 590"/>
              <a:gd name="T88" fmla="*/ 73 w 727"/>
              <a:gd name="T89" fmla="*/ 323 h 590"/>
              <a:gd name="T90" fmla="*/ 21 w 727"/>
              <a:gd name="T91" fmla="*/ 375 h 590"/>
              <a:gd name="T92" fmla="*/ 20 w 727"/>
              <a:gd name="T93" fmla="*/ 391 h 590"/>
              <a:gd name="T94" fmla="*/ 75 w 727"/>
              <a:gd name="T95" fmla="*/ 456 h 590"/>
              <a:gd name="T96" fmla="*/ 137 w 727"/>
              <a:gd name="T97" fmla="*/ 501 h 590"/>
              <a:gd name="T98" fmla="*/ 144 w 727"/>
              <a:gd name="T99" fmla="*/ 498 h 590"/>
              <a:gd name="T100" fmla="*/ 152 w 727"/>
              <a:gd name="T101" fmla="*/ 491 h 590"/>
              <a:gd name="T102" fmla="*/ 197 w 727"/>
              <a:gd name="T103" fmla="*/ 445 h 590"/>
              <a:gd name="T104" fmla="*/ 210 w 727"/>
              <a:gd name="T105" fmla="*/ 414 h 590"/>
              <a:gd name="T106" fmla="*/ 232 w 727"/>
              <a:gd name="T107" fmla="*/ 366 h 590"/>
              <a:gd name="T108" fmla="*/ 326 w 727"/>
              <a:gd name="T109" fmla="*/ 328 h 590"/>
              <a:gd name="T110" fmla="*/ 409 w 727"/>
              <a:gd name="T111" fmla="*/ 365 h 590"/>
              <a:gd name="T112" fmla="*/ 490 w 727"/>
              <a:gd name="T113" fmla="*/ 446 h 590"/>
              <a:gd name="T114" fmla="*/ 623 w 727"/>
              <a:gd name="T115" fmla="*/ 578 h 590"/>
              <a:gd name="T116" fmla="*/ 623 w 727"/>
              <a:gd name="T117" fmla="*/ 588 h 590"/>
              <a:gd name="T118" fmla="*/ 618 w 727"/>
              <a:gd name="T119" fmla="*/ 590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7" h="590">
                <a:moveTo>
                  <a:pt x="618" y="590"/>
                </a:moveTo>
                <a:cubicBezTo>
                  <a:pt x="616" y="590"/>
                  <a:pt x="614" y="590"/>
                  <a:pt x="613" y="588"/>
                </a:cubicBezTo>
                <a:cubicBezTo>
                  <a:pt x="480" y="456"/>
                  <a:pt x="480" y="456"/>
                  <a:pt x="480" y="456"/>
                </a:cubicBezTo>
                <a:cubicBezTo>
                  <a:pt x="440" y="415"/>
                  <a:pt x="408" y="384"/>
                  <a:pt x="399" y="374"/>
                </a:cubicBezTo>
                <a:cubicBezTo>
                  <a:pt x="378" y="353"/>
                  <a:pt x="353" y="342"/>
                  <a:pt x="326" y="342"/>
                </a:cubicBezTo>
                <a:cubicBezTo>
                  <a:pt x="289" y="342"/>
                  <a:pt x="255" y="362"/>
                  <a:pt x="242" y="376"/>
                </a:cubicBezTo>
                <a:cubicBezTo>
                  <a:pt x="230" y="388"/>
                  <a:pt x="227" y="402"/>
                  <a:pt x="224" y="417"/>
                </a:cubicBezTo>
                <a:cubicBezTo>
                  <a:pt x="221" y="430"/>
                  <a:pt x="218" y="444"/>
                  <a:pt x="207" y="455"/>
                </a:cubicBezTo>
                <a:cubicBezTo>
                  <a:pt x="199" y="462"/>
                  <a:pt x="176" y="486"/>
                  <a:pt x="162" y="500"/>
                </a:cubicBezTo>
                <a:cubicBezTo>
                  <a:pt x="154" y="508"/>
                  <a:pt x="154" y="508"/>
                  <a:pt x="154" y="508"/>
                </a:cubicBezTo>
                <a:cubicBezTo>
                  <a:pt x="150" y="512"/>
                  <a:pt x="144" y="515"/>
                  <a:pt x="137" y="515"/>
                </a:cubicBezTo>
                <a:cubicBezTo>
                  <a:pt x="104" y="515"/>
                  <a:pt x="19" y="425"/>
                  <a:pt x="7" y="396"/>
                </a:cubicBezTo>
                <a:cubicBezTo>
                  <a:pt x="0" y="379"/>
                  <a:pt x="8" y="368"/>
                  <a:pt x="12" y="365"/>
                </a:cubicBezTo>
                <a:cubicBezTo>
                  <a:pt x="64" y="313"/>
                  <a:pt x="64" y="313"/>
                  <a:pt x="64" y="313"/>
                </a:cubicBezTo>
                <a:cubicBezTo>
                  <a:pt x="77" y="299"/>
                  <a:pt x="95" y="295"/>
                  <a:pt x="109" y="291"/>
                </a:cubicBezTo>
                <a:cubicBezTo>
                  <a:pt x="121" y="289"/>
                  <a:pt x="131" y="286"/>
                  <a:pt x="139" y="279"/>
                </a:cubicBezTo>
                <a:cubicBezTo>
                  <a:pt x="145" y="273"/>
                  <a:pt x="151" y="256"/>
                  <a:pt x="156" y="240"/>
                </a:cubicBezTo>
                <a:cubicBezTo>
                  <a:pt x="156" y="239"/>
                  <a:pt x="156" y="239"/>
                  <a:pt x="156" y="239"/>
                </a:cubicBezTo>
                <a:cubicBezTo>
                  <a:pt x="164" y="213"/>
                  <a:pt x="173" y="183"/>
                  <a:pt x="194" y="159"/>
                </a:cubicBezTo>
                <a:cubicBezTo>
                  <a:pt x="262" y="80"/>
                  <a:pt x="355" y="0"/>
                  <a:pt x="529" y="0"/>
                </a:cubicBezTo>
                <a:cubicBezTo>
                  <a:pt x="572" y="0"/>
                  <a:pt x="619" y="5"/>
                  <a:pt x="670" y="15"/>
                </a:cubicBezTo>
                <a:cubicBezTo>
                  <a:pt x="676" y="16"/>
                  <a:pt x="681" y="19"/>
                  <a:pt x="684" y="24"/>
                </a:cubicBezTo>
                <a:cubicBezTo>
                  <a:pt x="687" y="29"/>
                  <a:pt x="688" y="35"/>
                  <a:pt x="686" y="40"/>
                </a:cubicBezTo>
                <a:cubicBezTo>
                  <a:pt x="679" y="71"/>
                  <a:pt x="679" y="71"/>
                  <a:pt x="679" y="71"/>
                </a:cubicBezTo>
                <a:cubicBezTo>
                  <a:pt x="677" y="81"/>
                  <a:pt x="666" y="88"/>
                  <a:pt x="655" y="86"/>
                </a:cubicBezTo>
                <a:cubicBezTo>
                  <a:pt x="584" y="74"/>
                  <a:pt x="507" y="101"/>
                  <a:pt x="477" y="148"/>
                </a:cubicBezTo>
                <a:cubicBezTo>
                  <a:pt x="466" y="164"/>
                  <a:pt x="474" y="189"/>
                  <a:pt x="482" y="207"/>
                </a:cubicBezTo>
                <a:cubicBezTo>
                  <a:pt x="494" y="233"/>
                  <a:pt x="512" y="255"/>
                  <a:pt x="523" y="267"/>
                </a:cubicBezTo>
                <a:cubicBezTo>
                  <a:pt x="531" y="275"/>
                  <a:pt x="637" y="380"/>
                  <a:pt x="724" y="467"/>
                </a:cubicBezTo>
                <a:cubicBezTo>
                  <a:pt x="727" y="470"/>
                  <a:pt x="727" y="474"/>
                  <a:pt x="724" y="477"/>
                </a:cubicBezTo>
                <a:cubicBezTo>
                  <a:pt x="721" y="480"/>
                  <a:pt x="717" y="480"/>
                  <a:pt x="714" y="477"/>
                </a:cubicBezTo>
                <a:cubicBezTo>
                  <a:pt x="627" y="390"/>
                  <a:pt x="522" y="285"/>
                  <a:pt x="514" y="277"/>
                </a:cubicBezTo>
                <a:cubicBezTo>
                  <a:pt x="488" y="251"/>
                  <a:pt x="439" y="180"/>
                  <a:pt x="465" y="140"/>
                </a:cubicBezTo>
                <a:cubicBezTo>
                  <a:pt x="498" y="89"/>
                  <a:pt x="581" y="60"/>
                  <a:pt x="658" y="72"/>
                </a:cubicBezTo>
                <a:cubicBezTo>
                  <a:pt x="661" y="73"/>
                  <a:pt x="665" y="71"/>
                  <a:pt x="666" y="67"/>
                </a:cubicBezTo>
                <a:cubicBezTo>
                  <a:pt x="673" y="37"/>
                  <a:pt x="673" y="37"/>
                  <a:pt x="673" y="37"/>
                </a:cubicBezTo>
                <a:cubicBezTo>
                  <a:pt x="673" y="35"/>
                  <a:pt x="673" y="33"/>
                  <a:pt x="672" y="31"/>
                </a:cubicBezTo>
                <a:cubicBezTo>
                  <a:pt x="671" y="30"/>
                  <a:pt x="669" y="29"/>
                  <a:pt x="667" y="28"/>
                </a:cubicBezTo>
                <a:cubicBezTo>
                  <a:pt x="618" y="19"/>
                  <a:pt x="571" y="14"/>
                  <a:pt x="529" y="14"/>
                </a:cubicBezTo>
                <a:cubicBezTo>
                  <a:pt x="361" y="14"/>
                  <a:pt x="271" y="92"/>
                  <a:pt x="204" y="168"/>
                </a:cubicBezTo>
                <a:cubicBezTo>
                  <a:pt x="185" y="190"/>
                  <a:pt x="177" y="218"/>
                  <a:pt x="169" y="243"/>
                </a:cubicBezTo>
                <a:cubicBezTo>
                  <a:pt x="169" y="244"/>
                  <a:pt x="169" y="244"/>
                  <a:pt x="169" y="244"/>
                </a:cubicBezTo>
                <a:cubicBezTo>
                  <a:pt x="163" y="264"/>
                  <a:pt x="158" y="281"/>
                  <a:pt x="148" y="290"/>
                </a:cubicBezTo>
                <a:cubicBezTo>
                  <a:pt x="138" y="299"/>
                  <a:pt x="125" y="302"/>
                  <a:pt x="112" y="305"/>
                </a:cubicBezTo>
                <a:cubicBezTo>
                  <a:pt x="99" y="308"/>
                  <a:pt x="85" y="312"/>
                  <a:pt x="73" y="323"/>
                </a:cubicBezTo>
                <a:cubicBezTo>
                  <a:pt x="21" y="375"/>
                  <a:pt x="21" y="375"/>
                  <a:pt x="21" y="375"/>
                </a:cubicBezTo>
                <a:cubicBezTo>
                  <a:pt x="18" y="378"/>
                  <a:pt x="17" y="384"/>
                  <a:pt x="20" y="391"/>
                </a:cubicBezTo>
                <a:cubicBezTo>
                  <a:pt x="26" y="404"/>
                  <a:pt x="48" y="431"/>
                  <a:pt x="75" y="456"/>
                </a:cubicBezTo>
                <a:cubicBezTo>
                  <a:pt x="106" y="487"/>
                  <a:pt x="129" y="501"/>
                  <a:pt x="137" y="501"/>
                </a:cubicBezTo>
                <a:cubicBezTo>
                  <a:pt x="140" y="501"/>
                  <a:pt x="143" y="500"/>
                  <a:pt x="144" y="498"/>
                </a:cubicBezTo>
                <a:cubicBezTo>
                  <a:pt x="152" y="491"/>
                  <a:pt x="152" y="491"/>
                  <a:pt x="152" y="491"/>
                </a:cubicBezTo>
                <a:cubicBezTo>
                  <a:pt x="166" y="476"/>
                  <a:pt x="190" y="453"/>
                  <a:pt x="197" y="445"/>
                </a:cubicBezTo>
                <a:cubicBezTo>
                  <a:pt x="205" y="437"/>
                  <a:pt x="207" y="426"/>
                  <a:pt x="210" y="414"/>
                </a:cubicBezTo>
                <a:cubicBezTo>
                  <a:pt x="213" y="398"/>
                  <a:pt x="217" y="381"/>
                  <a:pt x="232" y="366"/>
                </a:cubicBezTo>
                <a:cubicBezTo>
                  <a:pt x="247" y="351"/>
                  <a:pt x="285" y="328"/>
                  <a:pt x="326" y="328"/>
                </a:cubicBezTo>
                <a:cubicBezTo>
                  <a:pt x="357" y="328"/>
                  <a:pt x="385" y="341"/>
                  <a:pt x="409" y="365"/>
                </a:cubicBezTo>
                <a:cubicBezTo>
                  <a:pt x="418" y="374"/>
                  <a:pt x="450" y="406"/>
                  <a:pt x="490" y="446"/>
                </a:cubicBezTo>
                <a:cubicBezTo>
                  <a:pt x="623" y="578"/>
                  <a:pt x="623" y="578"/>
                  <a:pt x="623" y="578"/>
                </a:cubicBezTo>
                <a:cubicBezTo>
                  <a:pt x="626" y="581"/>
                  <a:pt x="626" y="586"/>
                  <a:pt x="623" y="588"/>
                </a:cubicBezTo>
                <a:cubicBezTo>
                  <a:pt x="621" y="590"/>
                  <a:pt x="620" y="590"/>
                  <a:pt x="618" y="59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9" name="Oval 46"/>
          <p:cNvSpPr>
            <a:spLocks noChangeArrowheads="1"/>
          </p:cNvSpPr>
          <p:nvPr/>
        </p:nvSpPr>
        <p:spPr bwMode="auto">
          <a:xfrm>
            <a:off x="4845101" y="304205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308" name="Freeform 121"/>
          <p:cNvSpPr>
            <a:spLocks noEditPoints="1"/>
          </p:cNvSpPr>
          <p:nvPr/>
        </p:nvSpPr>
        <p:spPr bwMode="auto">
          <a:xfrm>
            <a:off x="4982550" y="3231769"/>
            <a:ext cx="544606" cy="443532"/>
          </a:xfrm>
          <a:custGeom>
            <a:avLst/>
            <a:gdLst>
              <a:gd name="T0" fmla="*/ 333 w 703"/>
              <a:gd name="T1" fmla="*/ 406 h 572"/>
              <a:gd name="T2" fmla="*/ 198 w 703"/>
              <a:gd name="T3" fmla="*/ 553 h 572"/>
              <a:gd name="T4" fmla="*/ 157 w 703"/>
              <a:gd name="T5" fmla="*/ 568 h 572"/>
              <a:gd name="T6" fmla="*/ 79 w 703"/>
              <a:gd name="T7" fmla="*/ 460 h 572"/>
              <a:gd name="T8" fmla="*/ 207 w 703"/>
              <a:gd name="T9" fmla="*/ 350 h 572"/>
              <a:gd name="T10" fmla="*/ 112 w 703"/>
              <a:gd name="T11" fmla="*/ 218 h 572"/>
              <a:gd name="T12" fmla="*/ 17 w 703"/>
              <a:gd name="T13" fmla="*/ 75 h 572"/>
              <a:gd name="T14" fmla="*/ 82 w 703"/>
              <a:gd name="T15" fmla="*/ 129 h 572"/>
              <a:gd name="T16" fmla="*/ 76 w 703"/>
              <a:gd name="T17" fmla="*/ 24 h 572"/>
              <a:gd name="T18" fmla="*/ 112 w 703"/>
              <a:gd name="T19" fmla="*/ 8 h 572"/>
              <a:gd name="T20" fmla="*/ 317 w 703"/>
              <a:gd name="T21" fmla="*/ 245 h 572"/>
              <a:gd name="T22" fmla="*/ 381 w 703"/>
              <a:gd name="T23" fmla="*/ 208 h 572"/>
              <a:gd name="T24" fmla="*/ 400 w 703"/>
              <a:gd name="T25" fmla="*/ 75 h 572"/>
              <a:gd name="T26" fmla="*/ 300 w 703"/>
              <a:gd name="T27" fmla="*/ 32 h 572"/>
              <a:gd name="T28" fmla="*/ 563 w 703"/>
              <a:gd name="T29" fmla="*/ 80 h 572"/>
              <a:gd name="T30" fmla="*/ 609 w 703"/>
              <a:gd name="T31" fmla="*/ 172 h 572"/>
              <a:gd name="T32" fmla="*/ 695 w 703"/>
              <a:gd name="T33" fmla="*/ 219 h 572"/>
              <a:gd name="T34" fmla="*/ 611 w 703"/>
              <a:gd name="T35" fmla="*/ 324 h 572"/>
              <a:gd name="T36" fmla="*/ 557 w 703"/>
              <a:gd name="T37" fmla="*/ 265 h 572"/>
              <a:gd name="T38" fmla="*/ 439 w 703"/>
              <a:gd name="T39" fmla="*/ 265 h 572"/>
              <a:gd name="T40" fmla="*/ 402 w 703"/>
              <a:gd name="T41" fmla="*/ 330 h 572"/>
              <a:gd name="T42" fmla="*/ 555 w 703"/>
              <a:gd name="T43" fmla="*/ 556 h 572"/>
              <a:gd name="T44" fmla="*/ 338 w 703"/>
              <a:gd name="T45" fmla="*/ 392 h 572"/>
              <a:gd name="T46" fmla="*/ 545 w 703"/>
              <a:gd name="T47" fmla="*/ 546 h 572"/>
              <a:gd name="T48" fmla="*/ 387 w 703"/>
              <a:gd name="T49" fmla="*/ 336 h 572"/>
              <a:gd name="T50" fmla="*/ 425 w 703"/>
              <a:gd name="T51" fmla="*/ 276 h 572"/>
              <a:gd name="T52" fmla="*/ 423 w 703"/>
              <a:gd name="T53" fmla="*/ 265 h 572"/>
              <a:gd name="T54" fmla="*/ 560 w 703"/>
              <a:gd name="T55" fmla="*/ 217 h 572"/>
              <a:gd name="T56" fmla="*/ 606 w 703"/>
              <a:gd name="T57" fmla="*/ 308 h 572"/>
              <a:gd name="T58" fmla="*/ 685 w 703"/>
              <a:gd name="T59" fmla="*/ 229 h 572"/>
              <a:gd name="T60" fmla="*/ 644 w 703"/>
              <a:gd name="T61" fmla="*/ 193 h 572"/>
              <a:gd name="T62" fmla="*/ 594 w 703"/>
              <a:gd name="T63" fmla="*/ 142 h 572"/>
              <a:gd name="T64" fmla="*/ 314 w 703"/>
              <a:gd name="T65" fmla="*/ 28 h 572"/>
              <a:gd name="T66" fmla="*/ 324 w 703"/>
              <a:gd name="T67" fmla="*/ 29 h 572"/>
              <a:gd name="T68" fmla="*/ 414 w 703"/>
              <a:gd name="T69" fmla="*/ 195 h 572"/>
              <a:gd name="T70" fmla="*/ 377 w 703"/>
              <a:gd name="T71" fmla="*/ 222 h 572"/>
              <a:gd name="T72" fmla="*/ 359 w 703"/>
              <a:gd name="T73" fmla="*/ 230 h 572"/>
              <a:gd name="T74" fmla="*/ 200 w 703"/>
              <a:gd name="T75" fmla="*/ 148 h 572"/>
              <a:gd name="T76" fmla="*/ 112 w 703"/>
              <a:gd name="T77" fmla="*/ 22 h 572"/>
              <a:gd name="T78" fmla="*/ 131 w 703"/>
              <a:gd name="T79" fmla="*/ 132 h 572"/>
              <a:gd name="T80" fmla="*/ 22 w 703"/>
              <a:gd name="T81" fmla="*/ 95 h 572"/>
              <a:gd name="T82" fmla="*/ 140 w 703"/>
              <a:gd name="T83" fmla="*/ 199 h 572"/>
              <a:gd name="T84" fmla="*/ 255 w 703"/>
              <a:gd name="T85" fmla="*/ 318 h 572"/>
              <a:gd name="T86" fmla="*/ 98 w 703"/>
              <a:gd name="T87" fmla="*/ 464 h 572"/>
              <a:gd name="T88" fmla="*/ 142 w 703"/>
              <a:gd name="T89" fmla="*/ 533 h 572"/>
              <a:gd name="T90" fmla="*/ 178 w 703"/>
              <a:gd name="T91" fmla="*/ 557 h 572"/>
              <a:gd name="T92" fmla="*/ 299 w 703"/>
              <a:gd name="T93" fmla="*/ 417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03" h="572">
                <a:moveTo>
                  <a:pt x="518" y="572"/>
                </a:moveTo>
                <a:cubicBezTo>
                  <a:pt x="505" y="572"/>
                  <a:pt x="494" y="568"/>
                  <a:pt x="486" y="559"/>
                </a:cubicBezTo>
                <a:cubicBezTo>
                  <a:pt x="333" y="406"/>
                  <a:pt x="333" y="406"/>
                  <a:pt x="333" y="406"/>
                </a:cubicBezTo>
                <a:cubicBezTo>
                  <a:pt x="324" y="414"/>
                  <a:pt x="316" y="421"/>
                  <a:pt x="308" y="428"/>
                </a:cubicBezTo>
                <a:cubicBezTo>
                  <a:pt x="296" y="438"/>
                  <a:pt x="285" y="448"/>
                  <a:pt x="272" y="461"/>
                </a:cubicBezTo>
                <a:cubicBezTo>
                  <a:pt x="252" y="481"/>
                  <a:pt x="216" y="530"/>
                  <a:pt x="198" y="553"/>
                </a:cubicBezTo>
                <a:cubicBezTo>
                  <a:pt x="190" y="565"/>
                  <a:pt x="188" y="567"/>
                  <a:pt x="187" y="568"/>
                </a:cubicBezTo>
                <a:cubicBezTo>
                  <a:pt x="184" y="571"/>
                  <a:pt x="177" y="572"/>
                  <a:pt x="172" y="572"/>
                </a:cubicBezTo>
                <a:cubicBezTo>
                  <a:pt x="167" y="572"/>
                  <a:pt x="160" y="571"/>
                  <a:pt x="157" y="568"/>
                </a:cubicBezTo>
                <a:cubicBezTo>
                  <a:pt x="155" y="566"/>
                  <a:pt x="145" y="556"/>
                  <a:pt x="132" y="543"/>
                </a:cubicBezTo>
                <a:cubicBezTo>
                  <a:pt x="132" y="543"/>
                  <a:pt x="83" y="494"/>
                  <a:pt x="79" y="490"/>
                </a:cubicBezTo>
                <a:cubicBezTo>
                  <a:pt x="74" y="484"/>
                  <a:pt x="73" y="466"/>
                  <a:pt x="79" y="460"/>
                </a:cubicBezTo>
                <a:cubicBezTo>
                  <a:pt x="80" y="459"/>
                  <a:pt x="82" y="457"/>
                  <a:pt x="90" y="452"/>
                </a:cubicBezTo>
                <a:cubicBezTo>
                  <a:pt x="108" y="441"/>
                  <a:pt x="144" y="418"/>
                  <a:pt x="163" y="398"/>
                </a:cubicBezTo>
                <a:cubicBezTo>
                  <a:pt x="176" y="385"/>
                  <a:pt x="191" y="368"/>
                  <a:pt x="207" y="350"/>
                </a:cubicBezTo>
                <a:cubicBezTo>
                  <a:pt x="218" y="338"/>
                  <a:pt x="229" y="325"/>
                  <a:pt x="240" y="314"/>
                </a:cubicBezTo>
                <a:cubicBezTo>
                  <a:pt x="140" y="214"/>
                  <a:pt x="140" y="214"/>
                  <a:pt x="140" y="214"/>
                </a:cubicBezTo>
                <a:cubicBezTo>
                  <a:pt x="131" y="216"/>
                  <a:pt x="121" y="218"/>
                  <a:pt x="112" y="218"/>
                </a:cubicBezTo>
                <a:cubicBezTo>
                  <a:pt x="84" y="218"/>
                  <a:pt x="57" y="207"/>
                  <a:pt x="37" y="187"/>
                </a:cubicBezTo>
                <a:cubicBezTo>
                  <a:pt x="9" y="159"/>
                  <a:pt x="0" y="118"/>
                  <a:pt x="12" y="80"/>
                </a:cubicBezTo>
                <a:cubicBezTo>
                  <a:pt x="13" y="77"/>
                  <a:pt x="15" y="76"/>
                  <a:pt x="17" y="75"/>
                </a:cubicBezTo>
                <a:cubicBezTo>
                  <a:pt x="19" y="74"/>
                  <a:pt x="22" y="75"/>
                  <a:pt x="24" y="77"/>
                </a:cubicBezTo>
                <a:cubicBezTo>
                  <a:pt x="75" y="128"/>
                  <a:pt x="75" y="128"/>
                  <a:pt x="75" y="128"/>
                </a:cubicBezTo>
                <a:cubicBezTo>
                  <a:pt x="76" y="129"/>
                  <a:pt x="78" y="129"/>
                  <a:pt x="82" y="129"/>
                </a:cubicBezTo>
                <a:cubicBezTo>
                  <a:pt x="96" y="129"/>
                  <a:pt x="117" y="125"/>
                  <a:pt x="121" y="122"/>
                </a:cubicBezTo>
                <a:cubicBezTo>
                  <a:pt x="125" y="115"/>
                  <a:pt x="129" y="83"/>
                  <a:pt x="127" y="76"/>
                </a:cubicBezTo>
                <a:cubicBezTo>
                  <a:pt x="76" y="24"/>
                  <a:pt x="76" y="24"/>
                  <a:pt x="76" y="24"/>
                </a:cubicBezTo>
                <a:cubicBezTo>
                  <a:pt x="74" y="23"/>
                  <a:pt x="74" y="20"/>
                  <a:pt x="74" y="18"/>
                </a:cubicBezTo>
                <a:cubicBezTo>
                  <a:pt x="75" y="15"/>
                  <a:pt x="77" y="14"/>
                  <a:pt x="79" y="13"/>
                </a:cubicBezTo>
                <a:cubicBezTo>
                  <a:pt x="89" y="9"/>
                  <a:pt x="101" y="8"/>
                  <a:pt x="112" y="8"/>
                </a:cubicBezTo>
                <a:cubicBezTo>
                  <a:pt x="140" y="8"/>
                  <a:pt x="166" y="18"/>
                  <a:pt x="186" y="38"/>
                </a:cubicBezTo>
                <a:cubicBezTo>
                  <a:pt x="213" y="65"/>
                  <a:pt x="223" y="104"/>
                  <a:pt x="213" y="141"/>
                </a:cubicBezTo>
                <a:cubicBezTo>
                  <a:pt x="317" y="245"/>
                  <a:pt x="317" y="245"/>
                  <a:pt x="317" y="245"/>
                </a:cubicBezTo>
                <a:cubicBezTo>
                  <a:pt x="330" y="235"/>
                  <a:pt x="342" y="226"/>
                  <a:pt x="351" y="219"/>
                </a:cubicBezTo>
                <a:cubicBezTo>
                  <a:pt x="356" y="215"/>
                  <a:pt x="360" y="212"/>
                  <a:pt x="362" y="211"/>
                </a:cubicBezTo>
                <a:cubicBezTo>
                  <a:pt x="368" y="206"/>
                  <a:pt x="375" y="205"/>
                  <a:pt x="381" y="208"/>
                </a:cubicBezTo>
                <a:cubicBezTo>
                  <a:pt x="387" y="203"/>
                  <a:pt x="387" y="203"/>
                  <a:pt x="387" y="203"/>
                </a:cubicBezTo>
                <a:cubicBezTo>
                  <a:pt x="404" y="185"/>
                  <a:pt x="404" y="185"/>
                  <a:pt x="404" y="185"/>
                </a:cubicBezTo>
                <a:cubicBezTo>
                  <a:pt x="424" y="165"/>
                  <a:pt x="450" y="125"/>
                  <a:pt x="400" y="75"/>
                </a:cubicBezTo>
                <a:cubicBezTo>
                  <a:pt x="369" y="45"/>
                  <a:pt x="332" y="43"/>
                  <a:pt x="324" y="43"/>
                </a:cubicBezTo>
                <a:cubicBezTo>
                  <a:pt x="321" y="43"/>
                  <a:pt x="319" y="43"/>
                  <a:pt x="318" y="43"/>
                </a:cubicBezTo>
                <a:cubicBezTo>
                  <a:pt x="310" y="45"/>
                  <a:pt x="302" y="40"/>
                  <a:pt x="300" y="32"/>
                </a:cubicBezTo>
                <a:cubicBezTo>
                  <a:pt x="299" y="25"/>
                  <a:pt x="301" y="19"/>
                  <a:pt x="307" y="16"/>
                </a:cubicBezTo>
                <a:cubicBezTo>
                  <a:pt x="325" y="6"/>
                  <a:pt x="354" y="0"/>
                  <a:pt x="383" y="0"/>
                </a:cubicBezTo>
                <a:cubicBezTo>
                  <a:pt x="429" y="0"/>
                  <a:pt x="497" y="14"/>
                  <a:pt x="563" y="80"/>
                </a:cubicBezTo>
                <a:cubicBezTo>
                  <a:pt x="593" y="110"/>
                  <a:pt x="606" y="127"/>
                  <a:pt x="608" y="140"/>
                </a:cubicBezTo>
                <a:cubicBezTo>
                  <a:pt x="609" y="146"/>
                  <a:pt x="608" y="152"/>
                  <a:pt x="608" y="157"/>
                </a:cubicBezTo>
                <a:cubicBezTo>
                  <a:pt x="607" y="164"/>
                  <a:pt x="607" y="169"/>
                  <a:pt x="609" y="172"/>
                </a:cubicBezTo>
                <a:cubicBezTo>
                  <a:pt x="617" y="179"/>
                  <a:pt x="627" y="181"/>
                  <a:pt x="642" y="179"/>
                </a:cubicBezTo>
                <a:cubicBezTo>
                  <a:pt x="649" y="178"/>
                  <a:pt x="657" y="181"/>
                  <a:pt x="662" y="186"/>
                </a:cubicBezTo>
                <a:cubicBezTo>
                  <a:pt x="695" y="219"/>
                  <a:pt x="695" y="219"/>
                  <a:pt x="695" y="219"/>
                </a:cubicBezTo>
                <a:cubicBezTo>
                  <a:pt x="703" y="227"/>
                  <a:pt x="703" y="240"/>
                  <a:pt x="695" y="249"/>
                </a:cubicBezTo>
                <a:cubicBezTo>
                  <a:pt x="626" y="318"/>
                  <a:pt x="626" y="318"/>
                  <a:pt x="626" y="318"/>
                </a:cubicBezTo>
                <a:cubicBezTo>
                  <a:pt x="622" y="322"/>
                  <a:pt x="616" y="324"/>
                  <a:pt x="611" y="324"/>
                </a:cubicBezTo>
                <a:cubicBezTo>
                  <a:pt x="605" y="324"/>
                  <a:pt x="600" y="322"/>
                  <a:pt x="596" y="318"/>
                </a:cubicBezTo>
                <a:cubicBezTo>
                  <a:pt x="563" y="285"/>
                  <a:pt x="563" y="285"/>
                  <a:pt x="563" y="285"/>
                </a:cubicBezTo>
                <a:cubicBezTo>
                  <a:pt x="558" y="280"/>
                  <a:pt x="556" y="273"/>
                  <a:pt x="557" y="265"/>
                </a:cubicBezTo>
                <a:cubicBezTo>
                  <a:pt x="561" y="247"/>
                  <a:pt x="558" y="235"/>
                  <a:pt x="550" y="227"/>
                </a:cubicBezTo>
                <a:cubicBezTo>
                  <a:pt x="537" y="214"/>
                  <a:pt x="528" y="210"/>
                  <a:pt x="512" y="212"/>
                </a:cubicBezTo>
                <a:cubicBezTo>
                  <a:pt x="498" y="214"/>
                  <a:pt x="471" y="234"/>
                  <a:pt x="439" y="265"/>
                </a:cubicBezTo>
                <a:cubicBezTo>
                  <a:pt x="442" y="272"/>
                  <a:pt x="442" y="279"/>
                  <a:pt x="436" y="285"/>
                </a:cubicBezTo>
                <a:cubicBezTo>
                  <a:pt x="435" y="287"/>
                  <a:pt x="432" y="291"/>
                  <a:pt x="428" y="296"/>
                </a:cubicBezTo>
                <a:cubicBezTo>
                  <a:pt x="421" y="305"/>
                  <a:pt x="412" y="317"/>
                  <a:pt x="402" y="330"/>
                </a:cubicBezTo>
                <a:cubicBezTo>
                  <a:pt x="559" y="487"/>
                  <a:pt x="559" y="487"/>
                  <a:pt x="559" y="487"/>
                </a:cubicBezTo>
                <a:cubicBezTo>
                  <a:pt x="567" y="496"/>
                  <a:pt x="572" y="508"/>
                  <a:pt x="571" y="521"/>
                </a:cubicBezTo>
                <a:cubicBezTo>
                  <a:pt x="570" y="534"/>
                  <a:pt x="565" y="546"/>
                  <a:pt x="555" y="556"/>
                </a:cubicBezTo>
                <a:cubicBezTo>
                  <a:pt x="545" y="566"/>
                  <a:pt x="531" y="572"/>
                  <a:pt x="518" y="572"/>
                </a:cubicBezTo>
                <a:close/>
                <a:moveTo>
                  <a:pt x="333" y="390"/>
                </a:moveTo>
                <a:cubicBezTo>
                  <a:pt x="335" y="390"/>
                  <a:pt x="337" y="390"/>
                  <a:pt x="338" y="392"/>
                </a:cubicBezTo>
                <a:cubicBezTo>
                  <a:pt x="496" y="550"/>
                  <a:pt x="496" y="550"/>
                  <a:pt x="496" y="550"/>
                </a:cubicBezTo>
                <a:cubicBezTo>
                  <a:pt x="502" y="555"/>
                  <a:pt x="509" y="558"/>
                  <a:pt x="518" y="558"/>
                </a:cubicBezTo>
                <a:cubicBezTo>
                  <a:pt x="527" y="558"/>
                  <a:pt x="538" y="554"/>
                  <a:pt x="545" y="546"/>
                </a:cubicBezTo>
                <a:cubicBezTo>
                  <a:pt x="552" y="539"/>
                  <a:pt x="557" y="530"/>
                  <a:pt x="557" y="520"/>
                </a:cubicBezTo>
                <a:cubicBezTo>
                  <a:pt x="558" y="511"/>
                  <a:pt x="555" y="503"/>
                  <a:pt x="549" y="497"/>
                </a:cubicBezTo>
                <a:cubicBezTo>
                  <a:pt x="387" y="336"/>
                  <a:pt x="387" y="336"/>
                  <a:pt x="387" y="336"/>
                </a:cubicBezTo>
                <a:cubicBezTo>
                  <a:pt x="385" y="333"/>
                  <a:pt x="385" y="329"/>
                  <a:pt x="387" y="326"/>
                </a:cubicBezTo>
                <a:cubicBezTo>
                  <a:pt x="399" y="312"/>
                  <a:pt x="409" y="297"/>
                  <a:pt x="416" y="288"/>
                </a:cubicBezTo>
                <a:cubicBezTo>
                  <a:pt x="421" y="282"/>
                  <a:pt x="424" y="278"/>
                  <a:pt x="425" y="276"/>
                </a:cubicBezTo>
                <a:cubicBezTo>
                  <a:pt x="428" y="274"/>
                  <a:pt x="428" y="272"/>
                  <a:pt x="425" y="270"/>
                </a:cubicBezTo>
                <a:cubicBezTo>
                  <a:pt x="425" y="270"/>
                  <a:pt x="425" y="269"/>
                  <a:pt x="425" y="269"/>
                </a:cubicBezTo>
                <a:cubicBezTo>
                  <a:pt x="423" y="268"/>
                  <a:pt x="423" y="267"/>
                  <a:pt x="423" y="265"/>
                </a:cubicBezTo>
                <a:cubicBezTo>
                  <a:pt x="422" y="263"/>
                  <a:pt x="423" y="261"/>
                  <a:pt x="425" y="259"/>
                </a:cubicBezTo>
                <a:cubicBezTo>
                  <a:pt x="451" y="233"/>
                  <a:pt x="487" y="201"/>
                  <a:pt x="511" y="198"/>
                </a:cubicBezTo>
                <a:cubicBezTo>
                  <a:pt x="534" y="196"/>
                  <a:pt x="547" y="204"/>
                  <a:pt x="560" y="217"/>
                </a:cubicBezTo>
                <a:cubicBezTo>
                  <a:pt x="571" y="228"/>
                  <a:pt x="575" y="245"/>
                  <a:pt x="571" y="267"/>
                </a:cubicBezTo>
                <a:cubicBezTo>
                  <a:pt x="571" y="269"/>
                  <a:pt x="570" y="273"/>
                  <a:pt x="573" y="275"/>
                </a:cubicBezTo>
                <a:cubicBezTo>
                  <a:pt x="606" y="308"/>
                  <a:pt x="606" y="308"/>
                  <a:pt x="606" y="308"/>
                </a:cubicBezTo>
                <a:cubicBezTo>
                  <a:pt x="608" y="310"/>
                  <a:pt x="613" y="310"/>
                  <a:pt x="616" y="308"/>
                </a:cubicBezTo>
                <a:cubicBezTo>
                  <a:pt x="685" y="239"/>
                  <a:pt x="685" y="239"/>
                  <a:pt x="685" y="239"/>
                </a:cubicBezTo>
                <a:cubicBezTo>
                  <a:pt x="687" y="236"/>
                  <a:pt x="687" y="232"/>
                  <a:pt x="685" y="229"/>
                </a:cubicBezTo>
                <a:cubicBezTo>
                  <a:pt x="652" y="196"/>
                  <a:pt x="652" y="196"/>
                  <a:pt x="652" y="196"/>
                </a:cubicBezTo>
                <a:cubicBezTo>
                  <a:pt x="650" y="194"/>
                  <a:pt x="647" y="193"/>
                  <a:pt x="645" y="193"/>
                </a:cubicBezTo>
                <a:cubicBezTo>
                  <a:pt x="645" y="193"/>
                  <a:pt x="644" y="193"/>
                  <a:pt x="644" y="193"/>
                </a:cubicBezTo>
                <a:cubicBezTo>
                  <a:pt x="624" y="196"/>
                  <a:pt x="610" y="192"/>
                  <a:pt x="600" y="182"/>
                </a:cubicBezTo>
                <a:cubicBezTo>
                  <a:pt x="592" y="174"/>
                  <a:pt x="593" y="164"/>
                  <a:pt x="594" y="155"/>
                </a:cubicBezTo>
                <a:cubicBezTo>
                  <a:pt x="594" y="151"/>
                  <a:pt x="595" y="146"/>
                  <a:pt x="594" y="142"/>
                </a:cubicBezTo>
                <a:cubicBezTo>
                  <a:pt x="592" y="129"/>
                  <a:pt x="563" y="100"/>
                  <a:pt x="553" y="90"/>
                </a:cubicBezTo>
                <a:cubicBezTo>
                  <a:pt x="490" y="27"/>
                  <a:pt x="426" y="14"/>
                  <a:pt x="383" y="14"/>
                </a:cubicBezTo>
                <a:cubicBezTo>
                  <a:pt x="351" y="14"/>
                  <a:pt x="326" y="21"/>
                  <a:pt x="314" y="28"/>
                </a:cubicBezTo>
                <a:cubicBezTo>
                  <a:pt x="314" y="28"/>
                  <a:pt x="314" y="29"/>
                  <a:pt x="314" y="29"/>
                </a:cubicBezTo>
                <a:cubicBezTo>
                  <a:pt x="315" y="30"/>
                  <a:pt x="315" y="30"/>
                  <a:pt x="315" y="30"/>
                </a:cubicBezTo>
                <a:cubicBezTo>
                  <a:pt x="318" y="29"/>
                  <a:pt x="321" y="29"/>
                  <a:pt x="324" y="29"/>
                </a:cubicBezTo>
                <a:cubicBezTo>
                  <a:pt x="333" y="29"/>
                  <a:pt x="375" y="31"/>
                  <a:pt x="410" y="65"/>
                </a:cubicBezTo>
                <a:cubicBezTo>
                  <a:pt x="435" y="90"/>
                  <a:pt x="446" y="116"/>
                  <a:pt x="442" y="143"/>
                </a:cubicBezTo>
                <a:cubicBezTo>
                  <a:pt x="439" y="168"/>
                  <a:pt x="423" y="186"/>
                  <a:pt x="414" y="195"/>
                </a:cubicBezTo>
                <a:cubicBezTo>
                  <a:pt x="396" y="213"/>
                  <a:pt x="396" y="213"/>
                  <a:pt x="396" y="213"/>
                </a:cubicBezTo>
                <a:cubicBezTo>
                  <a:pt x="387" y="222"/>
                  <a:pt x="387" y="222"/>
                  <a:pt x="387" y="222"/>
                </a:cubicBezTo>
                <a:cubicBezTo>
                  <a:pt x="384" y="224"/>
                  <a:pt x="380" y="224"/>
                  <a:pt x="377" y="222"/>
                </a:cubicBezTo>
                <a:cubicBezTo>
                  <a:pt x="376" y="221"/>
                  <a:pt x="375" y="220"/>
                  <a:pt x="374" y="220"/>
                </a:cubicBezTo>
                <a:cubicBezTo>
                  <a:pt x="373" y="220"/>
                  <a:pt x="372" y="220"/>
                  <a:pt x="371" y="222"/>
                </a:cubicBezTo>
                <a:cubicBezTo>
                  <a:pt x="369" y="223"/>
                  <a:pt x="365" y="226"/>
                  <a:pt x="359" y="230"/>
                </a:cubicBezTo>
                <a:cubicBezTo>
                  <a:pt x="350" y="237"/>
                  <a:pt x="336" y="248"/>
                  <a:pt x="321" y="260"/>
                </a:cubicBezTo>
                <a:cubicBezTo>
                  <a:pt x="318" y="262"/>
                  <a:pt x="314" y="262"/>
                  <a:pt x="311" y="260"/>
                </a:cubicBezTo>
                <a:cubicBezTo>
                  <a:pt x="200" y="148"/>
                  <a:pt x="200" y="148"/>
                  <a:pt x="200" y="148"/>
                </a:cubicBezTo>
                <a:cubicBezTo>
                  <a:pt x="198" y="146"/>
                  <a:pt x="197" y="144"/>
                  <a:pt x="198" y="141"/>
                </a:cubicBezTo>
                <a:cubicBezTo>
                  <a:pt x="209" y="108"/>
                  <a:pt x="201" y="73"/>
                  <a:pt x="176" y="48"/>
                </a:cubicBezTo>
                <a:cubicBezTo>
                  <a:pt x="159" y="31"/>
                  <a:pt x="136" y="22"/>
                  <a:pt x="112" y="22"/>
                </a:cubicBezTo>
                <a:cubicBezTo>
                  <a:pt x="106" y="22"/>
                  <a:pt x="100" y="22"/>
                  <a:pt x="95" y="23"/>
                </a:cubicBezTo>
                <a:cubicBezTo>
                  <a:pt x="138" y="66"/>
                  <a:pt x="138" y="66"/>
                  <a:pt x="138" y="66"/>
                </a:cubicBezTo>
                <a:cubicBezTo>
                  <a:pt x="147" y="75"/>
                  <a:pt x="138" y="125"/>
                  <a:pt x="131" y="132"/>
                </a:cubicBezTo>
                <a:cubicBezTo>
                  <a:pt x="124" y="139"/>
                  <a:pt x="95" y="143"/>
                  <a:pt x="82" y="143"/>
                </a:cubicBezTo>
                <a:cubicBezTo>
                  <a:pt x="73" y="143"/>
                  <a:pt x="69" y="142"/>
                  <a:pt x="66" y="139"/>
                </a:cubicBezTo>
                <a:cubicBezTo>
                  <a:pt x="22" y="95"/>
                  <a:pt x="22" y="95"/>
                  <a:pt x="22" y="95"/>
                </a:cubicBezTo>
                <a:cubicBezTo>
                  <a:pt x="17" y="125"/>
                  <a:pt x="26" y="155"/>
                  <a:pt x="47" y="177"/>
                </a:cubicBezTo>
                <a:cubicBezTo>
                  <a:pt x="65" y="194"/>
                  <a:pt x="87" y="204"/>
                  <a:pt x="112" y="204"/>
                </a:cubicBezTo>
                <a:cubicBezTo>
                  <a:pt x="121" y="204"/>
                  <a:pt x="131" y="202"/>
                  <a:pt x="140" y="199"/>
                </a:cubicBezTo>
                <a:cubicBezTo>
                  <a:pt x="143" y="198"/>
                  <a:pt x="145" y="199"/>
                  <a:pt x="147" y="201"/>
                </a:cubicBezTo>
                <a:cubicBezTo>
                  <a:pt x="255" y="308"/>
                  <a:pt x="255" y="308"/>
                  <a:pt x="255" y="308"/>
                </a:cubicBezTo>
                <a:cubicBezTo>
                  <a:pt x="258" y="311"/>
                  <a:pt x="258" y="315"/>
                  <a:pt x="255" y="318"/>
                </a:cubicBezTo>
                <a:cubicBezTo>
                  <a:pt x="243" y="331"/>
                  <a:pt x="230" y="346"/>
                  <a:pt x="217" y="360"/>
                </a:cubicBezTo>
                <a:cubicBezTo>
                  <a:pt x="201" y="378"/>
                  <a:pt x="186" y="395"/>
                  <a:pt x="173" y="408"/>
                </a:cubicBezTo>
                <a:cubicBezTo>
                  <a:pt x="152" y="428"/>
                  <a:pt x="116" y="452"/>
                  <a:pt x="98" y="464"/>
                </a:cubicBezTo>
                <a:cubicBezTo>
                  <a:pt x="95" y="466"/>
                  <a:pt x="91" y="468"/>
                  <a:pt x="89" y="469"/>
                </a:cubicBezTo>
                <a:cubicBezTo>
                  <a:pt x="89" y="472"/>
                  <a:pt x="89" y="479"/>
                  <a:pt x="90" y="481"/>
                </a:cubicBezTo>
                <a:cubicBezTo>
                  <a:pt x="95" y="486"/>
                  <a:pt x="142" y="533"/>
                  <a:pt x="142" y="533"/>
                </a:cubicBezTo>
                <a:cubicBezTo>
                  <a:pt x="154" y="545"/>
                  <a:pt x="164" y="555"/>
                  <a:pt x="166" y="557"/>
                </a:cubicBezTo>
                <a:cubicBezTo>
                  <a:pt x="167" y="558"/>
                  <a:pt x="169" y="558"/>
                  <a:pt x="172" y="558"/>
                </a:cubicBezTo>
                <a:cubicBezTo>
                  <a:pt x="175" y="558"/>
                  <a:pt x="177" y="558"/>
                  <a:pt x="178" y="557"/>
                </a:cubicBezTo>
                <a:cubicBezTo>
                  <a:pt x="179" y="556"/>
                  <a:pt x="183" y="551"/>
                  <a:pt x="187" y="545"/>
                </a:cubicBezTo>
                <a:cubicBezTo>
                  <a:pt x="204" y="521"/>
                  <a:pt x="241" y="472"/>
                  <a:pt x="262" y="451"/>
                </a:cubicBezTo>
                <a:cubicBezTo>
                  <a:pt x="275" y="438"/>
                  <a:pt x="287" y="428"/>
                  <a:pt x="299" y="417"/>
                </a:cubicBezTo>
                <a:cubicBezTo>
                  <a:pt x="309" y="409"/>
                  <a:pt x="318" y="401"/>
                  <a:pt x="329" y="392"/>
                </a:cubicBezTo>
                <a:cubicBezTo>
                  <a:pt x="330" y="390"/>
                  <a:pt x="332" y="390"/>
                  <a:pt x="333" y="39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8" name="Oval 45"/>
          <p:cNvSpPr>
            <a:spLocks noChangeArrowheads="1"/>
          </p:cNvSpPr>
          <p:nvPr/>
        </p:nvSpPr>
        <p:spPr bwMode="auto">
          <a:xfrm>
            <a:off x="6137845" y="304205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309" name="Freeform 122"/>
          <p:cNvSpPr>
            <a:spLocks noEditPoints="1"/>
          </p:cNvSpPr>
          <p:nvPr/>
        </p:nvSpPr>
        <p:spPr bwMode="auto">
          <a:xfrm>
            <a:off x="6306414" y="3231769"/>
            <a:ext cx="486688" cy="443532"/>
          </a:xfrm>
          <a:custGeom>
            <a:avLst/>
            <a:gdLst>
              <a:gd name="T0" fmla="*/ 61 w 629"/>
              <a:gd name="T1" fmla="*/ 546 h 572"/>
              <a:gd name="T2" fmla="*/ 5 w 629"/>
              <a:gd name="T3" fmla="*/ 460 h 572"/>
              <a:gd name="T4" fmla="*/ 130 w 629"/>
              <a:gd name="T5" fmla="*/ 354 h 572"/>
              <a:gd name="T6" fmla="*/ 104 w 629"/>
              <a:gd name="T7" fmla="*/ 168 h 572"/>
              <a:gd name="T8" fmla="*/ 19 w 629"/>
              <a:gd name="T9" fmla="*/ 89 h 572"/>
              <a:gd name="T10" fmla="*/ 66 w 629"/>
              <a:gd name="T11" fmla="*/ 42 h 572"/>
              <a:gd name="T12" fmla="*/ 145 w 629"/>
              <a:gd name="T13" fmla="*/ 127 h 572"/>
              <a:gd name="T14" fmla="*/ 288 w 629"/>
              <a:gd name="T15" fmla="*/ 211 h 572"/>
              <a:gd name="T16" fmla="*/ 331 w 629"/>
              <a:gd name="T17" fmla="*/ 185 h 572"/>
              <a:gd name="T18" fmla="*/ 251 w 629"/>
              <a:gd name="T19" fmla="*/ 43 h 572"/>
              <a:gd name="T20" fmla="*/ 234 w 629"/>
              <a:gd name="T21" fmla="*/ 16 h 572"/>
              <a:gd name="T22" fmla="*/ 534 w 629"/>
              <a:gd name="T23" fmla="*/ 140 h 572"/>
              <a:gd name="T24" fmla="*/ 569 w 629"/>
              <a:gd name="T25" fmla="*/ 179 h 572"/>
              <a:gd name="T26" fmla="*/ 621 w 629"/>
              <a:gd name="T27" fmla="*/ 249 h 572"/>
              <a:gd name="T28" fmla="*/ 522 w 629"/>
              <a:gd name="T29" fmla="*/ 318 h 572"/>
              <a:gd name="T30" fmla="*/ 476 w 629"/>
              <a:gd name="T31" fmla="*/ 227 h 572"/>
              <a:gd name="T32" fmla="*/ 362 w 629"/>
              <a:gd name="T33" fmla="*/ 285 h 572"/>
              <a:gd name="T34" fmla="*/ 368 w 629"/>
              <a:gd name="T35" fmla="*/ 303 h 572"/>
              <a:gd name="T36" fmla="*/ 532 w 629"/>
              <a:gd name="T37" fmla="*/ 499 h 572"/>
              <a:gd name="T38" fmla="*/ 432 w 629"/>
              <a:gd name="T39" fmla="*/ 555 h 572"/>
              <a:gd name="T40" fmla="*/ 280 w 629"/>
              <a:gd name="T41" fmla="*/ 387 h 572"/>
              <a:gd name="T42" fmla="*/ 198 w 629"/>
              <a:gd name="T43" fmla="*/ 461 h 572"/>
              <a:gd name="T44" fmla="*/ 98 w 629"/>
              <a:gd name="T45" fmla="*/ 572 h 572"/>
              <a:gd name="T46" fmla="*/ 104 w 629"/>
              <a:gd name="T47" fmla="*/ 557 h 572"/>
              <a:gd name="T48" fmla="*/ 222 w 629"/>
              <a:gd name="T49" fmla="*/ 421 h 572"/>
              <a:gd name="T50" fmla="*/ 282 w 629"/>
              <a:gd name="T51" fmla="*/ 367 h 572"/>
              <a:gd name="T52" fmla="*/ 306 w 629"/>
              <a:gd name="T53" fmla="*/ 409 h 572"/>
              <a:gd name="T54" fmla="*/ 466 w 629"/>
              <a:gd name="T55" fmla="*/ 545 h 572"/>
              <a:gd name="T56" fmla="*/ 386 w 629"/>
              <a:gd name="T57" fmla="*/ 329 h 572"/>
              <a:gd name="T58" fmla="*/ 339 w 629"/>
              <a:gd name="T59" fmla="*/ 295 h 572"/>
              <a:gd name="T60" fmla="*/ 351 w 629"/>
              <a:gd name="T61" fmla="*/ 270 h 572"/>
              <a:gd name="T62" fmla="*/ 351 w 629"/>
              <a:gd name="T63" fmla="*/ 259 h 572"/>
              <a:gd name="T64" fmla="*/ 497 w 629"/>
              <a:gd name="T65" fmla="*/ 267 h 572"/>
              <a:gd name="T66" fmla="*/ 542 w 629"/>
              <a:gd name="T67" fmla="*/ 308 h 572"/>
              <a:gd name="T68" fmla="*/ 578 w 629"/>
              <a:gd name="T69" fmla="*/ 196 h 572"/>
              <a:gd name="T70" fmla="*/ 526 w 629"/>
              <a:gd name="T71" fmla="*/ 182 h 572"/>
              <a:gd name="T72" fmla="*/ 479 w 629"/>
              <a:gd name="T73" fmla="*/ 90 h 572"/>
              <a:gd name="T74" fmla="*/ 241 w 629"/>
              <a:gd name="T75" fmla="*/ 29 h 572"/>
              <a:gd name="T76" fmla="*/ 336 w 629"/>
              <a:gd name="T77" fmla="*/ 65 h 572"/>
              <a:gd name="T78" fmla="*/ 323 w 629"/>
              <a:gd name="T79" fmla="*/ 213 h 572"/>
              <a:gd name="T80" fmla="*/ 300 w 629"/>
              <a:gd name="T81" fmla="*/ 220 h 572"/>
              <a:gd name="T82" fmla="*/ 258 w 629"/>
              <a:gd name="T83" fmla="*/ 250 h 572"/>
              <a:gd name="T84" fmla="*/ 133 w 629"/>
              <a:gd name="T85" fmla="*/ 132 h 572"/>
              <a:gd name="T86" fmla="*/ 34 w 629"/>
              <a:gd name="T87" fmla="*/ 85 h 572"/>
              <a:gd name="T88" fmla="*/ 113 w 629"/>
              <a:gd name="T89" fmla="*/ 157 h 572"/>
              <a:gd name="T90" fmla="*/ 224 w 629"/>
              <a:gd name="T91" fmla="*/ 280 h 572"/>
              <a:gd name="T92" fmla="*/ 100 w 629"/>
              <a:gd name="T93" fmla="*/ 408 h 572"/>
              <a:gd name="T94" fmla="*/ 16 w 629"/>
              <a:gd name="T95" fmla="*/ 481 h 572"/>
              <a:gd name="T96" fmla="*/ 93 w 629"/>
              <a:gd name="T97" fmla="*/ 557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29" h="572">
                <a:moveTo>
                  <a:pt x="98" y="572"/>
                </a:moveTo>
                <a:cubicBezTo>
                  <a:pt x="93" y="572"/>
                  <a:pt x="87" y="571"/>
                  <a:pt x="83" y="568"/>
                </a:cubicBezTo>
                <a:cubicBezTo>
                  <a:pt x="82" y="566"/>
                  <a:pt x="73" y="557"/>
                  <a:pt x="61" y="546"/>
                </a:cubicBezTo>
                <a:cubicBezTo>
                  <a:pt x="59" y="543"/>
                  <a:pt x="59" y="543"/>
                  <a:pt x="59" y="543"/>
                </a:cubicBezTo>
                <a:cubicBezTo>
                  <a:pt x="59" y="543"/>
                  <a:pt x="9" y="494"/>
                  <a:pt x="6" y="490"/>
                </a:cubicBezTo>
                <a:cubicBezTo>
                  <a:pt x="0" y="484"/>
                  <a:pt x="0" y="466"/>
                  <a:pt x="5" y="460"/>
                </a:cubicBezTo>
                <a:cubicBezTo>
                  <a:pt x="7" y="459"/>
                  <a:pt x="8" y="457"/>
                  <a:pt x="17" y="452"/>
                </a:cubicBezTo>
                <a:cubicBezTo>
                  <a:pt x="34" y="441"/>
                  <a:pt x="70" y="418"/>
                  <a:pt x="90" y="398"/>
                </a:cubicBezTo>
                <a:cubicBezTo>
                  <a:pt x="102" y="385"/>
                  <a:pt x="116" y="370"/>
                  <a:pt x="130" y="354"/>
                </a:cubicBezTo>
                <a:cubicBezTo>
                  <a:pt x="145" y="337"/>
                  <a:pt x="161" y="319"/>
                  <a:pt x="177" y="303"/>
                </a:cubicBezTo>
                <a:cubicBezTo>
                  <a:pt x="185" y="295"/>
                  <a:pt x="196" y="285"/>
                  <a:pt x="209" y="274"/>
                </a:cubicBezTo>
                <a:cubicBezTo>
                  <a:pt x="104" y="168"/>
                  <a:pt x="104" y="168"/>
                  <a:pt x="104" y="168"/>
                </a:cubicBezTo>
                <a:cubicBezTo>
                  <a:pt x="70" y="157"/>
                  <a:pt x="70" y="157"/>
                  <a:pt x="70" y="157"/>
                </a:cubicBezTo>
                <a:cubicBezTo>
                  <a:pt x="69" y="157"/>
                  <a:pt x="67" y="156"/>
                  <a:pt x="66" y="155"/>
                </a:cubicBezTo>
                <a:cubicBezTo>
                  <a:pt x="19" y="89"/>
                  <a:pt x="19" y="89"/>
                  <a:pt x="19" y="89"/>
                </a:cubicBezTo>
                <a:cubicBezTo>
                  <a:pt x="17" y="86"/>
                  <a:pt x="17" y="82"/>
                  <a:pt x="20" y="80"/>
                </a:cubicBezTo>
                <a:cubicBezTo>
                  <a:pt x="57" y="42"/>
                  <a:pt x="57" y="42"/>
                  <a:pt x="57" y="42"/>
                </a:cubicBezTo>
                <a:cubicBezTo>
                  <a:pt x="59" y="40"/>
                  <a:pt x="63" y="40"/>
                  <a:pt x="66" y="42"/>
                </a:cubicBezTo>
                <a:cubicBezTo>
                  <a:pt x="132" y="89"/>
                  <a:pt x="132" y="89"/>
                  <a:pt x="132" y="89"/>
                </a:cubicBezTo>
                <a:cubicBezTo>
                  <a:pt x="133" y="90"/>
                  <a:pt x="134" y="91"/>
                  <a:pt x="135" y="93"/>
                </a:cubicBezTo>
                <a:cubicBezTo>
                  <a:pt x="145" y="127"/>
                  <a:pt x="145" y="127"/>
                  <a:pt x="145" y="127"/>
                </a:cubicBezTo>
                <a:cubicBezTo>
                  <a:pt x="254" y="235"/>
                  <a:pt x="254" y="235"/>
                  <a:pt x="254" y="235"/>
                </a:cubicBezTo>
                <a:cubicBezTo>
                  <a:pt x="267" y="225"/>
                  <a:pt x="276" y="219"/>
                  <a:pt x="282" y="215"/>
                </a:cubicBezTo>
                <a:cubicBezTo>
                  <a:pt x="285" y="213"/>
                  <a:pt x="287" y="212"/>
                  <a:pt x="288" y="211"/>
                </a:cubicBezTo>
                <a:cubicBezTo>
                  <a:pt x="294" y="206"/>
                  <a:pt x="301" y="205"/>
                  <a:pt x="308" y="208"/>
                </a:cubicBezTo>
                <a:cubicBezTo>
                  <a:pt x="313" y="203"/>
                  <a:pt x="313" y="203"/>
                  <a:pt x="313" y="203"/>
                </a:cubicBezTo>
                <a:cubicBezTo>
                  <a:pt x="331" y="185"/>
                  <a:pt x="331" y="185"/>
                  <a:pt x="331" y="185"/>
                </a:cubicBezTo>
                <a:cubicBezTo>
                  <a:pt x="338" y="178"/>
                  <a:pt x="352" y="162"/>
                  <a:pt x="354" y="141"/>
                </a:cubicBezTo>
                <a:cubicBezTo>
                  <a:pt x="357" y="119"/>
                  <a:pt x="348" y="97"/>
                  <a:pt x="326" y="75"/>
                </a:cubicBezTo>
                <a:cubicBezTo>
                  <a:pt x="296" y="45"/>
                  <a:pt x="258" y="43"/>
                  <a:pt x="251" y="43"/>
                </a:cubicBezTo>
                <a:cubicBezTo>
                  <a:pt x="248" y="43"/>
                  <a:pt x="246" y="43"/>
                  <a:pt x="245" y="43"/>
                </a:cubicBezTo>
                <a:cubicBezTo>
                  <a:pt x="237" y="45"/>
                  <a:pt x="229" y="40"/>
                  <a:pt x="227" y="32"/>
                </a:cubicBezTo>
                <a:cubicBezTo>
                  <a:pt x="225" y="25"/>
                  <a:pt x="228" y="19"/>
                  <a:pt x="234" y="16"/>
                </a:cubicBezTo>
                <a:cubicBezTo>
                  <a:pt x="252" y="6"/>
                  <a:pt x="280" y="0"/>
                  <a:pt x="309" y="0"/>
                </a:cubicBezTo>
                <a:cubicBezTo>
                  <a:pt x="355" y="0"/>
                  <a:pt x="423" y="14"/>
                  <a:pt x="489" y="80"/>
                </a:cubicBezTo>
                <a:cubicBezTo>
                  <a:pt x="519" y="110"/>
                  <a:pt x="532" y="127"/>
                  <a:pt x="534" y="140"/>
                </a:cubicBezTo>
                <a:cubicBezTo>
                  <a:pt x="535" y="146"/>
                  <a:pt x="535" y="152"/>
                  <a:pt x="534" y="157"/>
                </a:cubicBezTo>
                <a:cubicBezTo>
                  <a:pt x="533" y="164"/>
                  <a:pt x="533" y="169"/>
                  <a:pt x="536" y="172"/>
                </a:cubicBezTo>
                <a:cubicBezTo>
                  <a:pt x="543" y="179"/>
                  <a:pt x="553" y="181"/>
                  <a:pt x="569" y="179"/>
                </a:cubicBezTo>
                <a:cubicBezTo>
                  <a:pt x="576" y="178"/>
                  <a:pt x="583" y="181"/>
                  <a:pt x="588" y="186"/>
                </a:cubicBezTo>
                <a:cubicBezTo>
                  <a:pt x="621" y="219"/>
                  <a:pt x="621" y="219"/>
                  <a:pt x="621" y="219"/>
                </a:cubicBezTo>
                <a:cubicBezTo>
                  <a:pt x="629" y="227"/>
                  <a:pt x="629" y="240"/>
                  <a:pt x="621" y="249"/>
                </a:cubicBezTo>
                <a:cubicBezTo>
                  <a:pt x="552" y="318"/>
                  <a:pt x="552" y="318"/>
                  <a:pt x="552" y="318"/>
                </a:cubicBezTo>
                <a:cubicBezTo>
                  <a:pt x="548" y="322"/>
                  <a:pt x="543" y="324"/>
                  <a:pt x="537" y="324"/>
                </a:cubicBezTo>
                <a:cubicBezTo>
                  <a:pt x="531" y="324"/>
                  <a:pt x="526" y="322"/>
                  <a:pt x="522" y="318"/>
                </a:cubicBezTo>
                <a:cubicBezTo>
                  <a:pt x="489" y="285"/>
                  <a:pt x="489" y="285"/>
                  <a:pt x="489" y="285"/>
                </a:cubicBezTo>
                <a:cubicBezTo>
                  <a:pt x="484" y="280"/>
                  <a:pt x="482" y="273"/>
                  <a:pt x="484" y="265"/>
                </a:cubicBezTo>
                <a:cubicBezTo>
                  <a:pt x="487" y="247"/>
                  <a:pt x="485" y="235"/>
                  <a:pt x="476" y="227"/>
                </a:cubicBezTo>
                <a:cubicBezTo>
                  <a:pt x="463" y="214"/>
                  <a:pt x="454" y="210"/>
                  <a:pt x="439" y="212"/>
                </a:cubicBezTo>
                <a:cubicBezTo>
                  <a:pt x="424" y="214"/>
                  <a:pt x="398" y="233"/>
                  <a:pt x="365" y="265"/>
                </a:cubicBezTo>
                <a:cubicBezTo>
                  <a:pt x="369" y="272"/>
                  <a:pt x="368" y="279"/>
                  <a:pt x="362" y="285"/>
                </a:cubicBezTo>
                <a:cubicBezTo>
                  <a:pt x="362" y="286"/>
                  <a:pt x="362" y="286"/>
                  <a:pt x="361" y="287"/>
                </a:cubicBezTo>
                <a:cubicBezTo>
                  <a:pt x="360" y="289"/>
                  <a:pt x="358" y="292"/>
                  <a:pt x="354" y="298"/>
                </a:cubicBezTo>
                <a:cubicBezTo>
                  <a:pt x="359" y="300"/>
                  <a:pt x="363" y="302"/>
                  <a:pt x="368" y="303"/>
                </a:cubicBezTo>
                <a:cubicBezTo>
                  <a:pt x="377" y="306"/>
                  <a:pt x="386" y="309"/>
                  <a:pt x="396" y="319"/>
                </a:cubicBezTo>
                <a:cubicBezTo>
                  <a:pt x="532" y="455"/>
                  <a:pt x="532" y="455"/>
                  <a:pt x="532" y="455"/>
                </a:cubicBezTo>
                <a:cubicBezTo>
                  <a:pt x="544" y="467"/>
                  <a:pt x="544" y="487"/>
                  <a:pt x="532" y="499"/>
                </a:cubicBezTo>
                <a:cubicBezTo>
                  <a:pt x="476" y="555"/>
                  <a:pt x="476" y="555"/>
                  <a:pt x="476" y="555"/>
                </a:cubicBezTo>
                <a:cubicBezTo>
                  <a:pt x="470" y="561"/>
                  <a:pt x="463" y="564"/>
                  <a:pt x="454" y="564"/>
                </a:cubicBezTo>
                <a:cubicBezTo>
                  <a:pt x="446" y="564"/>
                  <a:pt x="438" y="561"/>
                  <a:pt x="432" y="555"/>
                </a:cubicBezTo>
                <a:cubicBezTo>
                  <a:pt x="296" y="419"/>
                  <a:pt x="296" y="419"/>
                  <a:pt x="296" y="419"/>
                </a:cubicBezTo>
                <a:cubicBezTo>
                  <a:pt x="287" y="409"/>
                  <a:pt x="284" y="399"/>
                  <a:pt x="281" y="391"/>
                </a:cubicBezTo>
                <a:cubicBezTo>
                  <a:pt x="280" y="389"/>
                  <a:pt x="280" y="388"/>
                  <a:pt x="280" y="387"/>
                </a:cubicBezTo>
                <a:cubicBezTo>
                  <a:pt x="276" y="390"/>
                  <a:pt x="273" y="394"/>
                  <a:pt x="270" y="396"/>
                </a:cubicBezTo>
                <a:cubicBezTo>
                  <a:pt x="254" y="412"/>
                  <a:pt x="243" y="422"/>
                  <a:pt x="231" y="431"/>
                </a:cubicBezTo>
                <a:cubicBezTo>
                  <a:pt x="221" y="440"/>
                  <a:pt x="211" y="448"/>
                  <a:pt x="198" y="461"/>
                </a:cubicBezTo>
                <a:cubicBezTo>
                  <a:pt x="178" y="481"/>
                  <a:pt x="142" y="530"/>
                  <a:pt x="125" y="553"/>
                </a:cubicBezTo>
                <a:cubicBezTo>
                  <a:pt x="116" y="565"/>
                  <a:pt x="114" y="567"/>
                  <a:pt x="113" y="568"/>
                </a:cubicBezTo>
                <a:cubicBezTo>
                  <a:pt x="110" y="571"/>
                  <a:pt x="103" y="572"/>
                  <a:pt x="98" y="572"/>
                </a:cubicBezTo>
                <a:close/>
                <a:moveTo>
                  <a:pt x="93" y="557"/>
                </a:moveTo>
                <a:cubicBezTo>
                  <a:pt x="93" y="558"/>
                  <a:pt x="95" y="558"/>
                  <a:pt x="98" y="558"/>
                </a:cubicBezTo>
                <a:cubicBezTo>
                  <a:pt x="101" y="558"/>
                  <a:pt x="103" y="558"/>
                  <a:pt x="104" y="557"/>
                </a:cubicBezTo>
                <a:cubicBezTo>
                  <a:pt x="105" y="556"/>
                  <a:pt x="109" y="550"/>
                  <a:pt x="113" y="545"/>
                </a:cubicBezTo>
                <a:cubicBezTo>
                  <a:pt x="131" y="521"/>
                  <a:pt x="168" y="471"/>
                  <a:pt x="188" y="451"/>
                </a:cubicBezTo>
                <a:cubicBezTo>
                  <a:pt x="201" y="438"/>
                  <a:pt x="212" y="429"/>
                  <a:pt x="222" y="421"/>
                </a:cubicBezTo>
                <a:cubicBezTo>
                  <a:pt x="233" y="411"/>
                  <a:pt x="245" y="402"/>
                  <a:pt x="261" y="386"/>
                </a:cubicBezTo>
                <a:cubicBezTo>
                  <a:pt x="265" y="382"/>
                  <a:pt x="270" y="376"/>
                  <a:pt x="276" y="369"/>
                </a:cubicBezTo>
                <a:cubicBezTo>
                  <a:pt x="278" y="368"/>
                  <a:pt x="280" y="367"/>
                  <a:pt x="282" y="367"/>
                </a:cubicBezTo>
                <a:cubicBezTo>
                  <a:pt x="285" y="367"/>
                  <a:pt x="287" y="369"/>
                  <a:pt x="288" y="371"/>
                </a:cubicBezTo>
                <a:cubicBezTo>
                  <a:pt x="291" y="376"/>
                  <a:pt x="293" y="381"/>
                  <a:pt x="294" y="387"/>
                </a:cubicBezTo>
                <a:cubicBezTo>
                  <a:pt x="297" y="395"/>
                  <a:pt x="299" y="401"/>
                  <a:pt x="306" y="409"/>
                </a:cubicBezTo>
                <a:cubicBezTo>
                  <a:pt x="442" y="545"/>
                  <a:pt x="442" y="545"/>
                  <a:pt x="442" y="545"/>
                </a:cubicBezTo>
                <a:cubicBezTo>
                  <a:pt x="445" y="548"/>
                  <a:pt x="450" y="550"/>
                  <a:pt x="454" y="550"/>
                </a:cubicBezTo>
                <a:cubicBezTo>
                  <a:pt x="459" y="550"/>
                  <a:pt x="463" y="548"/>
                  <a:pt x="466" y="545"/>
                </a:cubicBezTo>
                <a:cubicBezTo>
                  <a:pt x="522" y="489"/>
                  <a:pt x="522" y="489"/>
                  <a:pt x="522" y="489"/>
                </a:cubicBezTo>
                <a:cubicBezTo>
                  <a:pt x="529" y="482"/>
                  <a:pt x="529" y="471"/>
                  <a:pt x="522" y="465"/>
                </a:cubicBezTo>
                <a:cubicBezTo>
                  <a:pt x="386" y="329"/>
                  <a:pt x="386" y="329"/>
                  <a:pt x="386" y="329"/>
                </a:cubicBezTo>
                <a:cubicBezTo>
                  <a:pt x="379" y="322"/>
                  <a:pt x="372" y="319"/>
                  <a:pt x="364" y="317"/>
                </a:cubicBezTo>
                <a:cubicBezTo>
                  <a:pt x="357" y="314"/>
                  <a:pt x="348" y="312"/>
                  <a:pt x="340" y="305"/>
                </a:cubicBezTo>
                <a:cubicBezTo>
                  <a:pt x="337" y="302"/>
                  <a:pt x="337" y="298"/>
                  <a:pt x="339" y="295"/>
                </a:cubicBezTo>
                <a:cubicBezTo>
                  <a:pt x="345" y="287"/>
                  <a:pt x="348" y="283"/>
                  <a:pt x="349" y="280"/>
                </a:cubicBezTo>
                <a:cubicBezTo>
                  <a:pt x="350" y="279"/>
                  <a:pt x="351" y="278"/>
                  <a:pt x="352" y="276"/>
                </a:cubicBezTo>
                <a:cubicBezTo>
                  <a:pt x="354" y="274"/>
                  <a:pt x="354" y="272"/>
                  <a:pt x="351" y="270"/>
                </a:cubicBezTo>
                <a:cubicBezTo>
                  <a:pt x="351" y="269"/>
                  <a:pt x="351" y="269"/>
                  <a:pt x="351" y="269"/>
                </a:cubicBezTo>
                <a:cubicBezTo>
                  <a:pt x="351" y="269"/>
                  <a:pt x="351" y="269"/>
                  <a:pt x="351" y="269"/>
                </a:cubicBezTo>
                <a:cubicBezTo>
                  <a:pt x="348" y="266"/>
                  <a:pt x="348" y="262"/>
                  <a:pt x="351" y="259"/>
                </a:cubicBezTo>
                <a:cubicBezTo>
                  <a:pt x="377" y="233"/>
                  <a:pt x="414" y="201"/>
                  <a:pt x="437" y="198"/>
                </a:cubicBezTo>
                <a:cubicBezTo>
                  <a:pt x="460" y="196"/>
                  <a:pt x="473" y="204"/>
                  <a:pt x="486" y="217"/>
                </a:cubicBezTo>
                <a:cubicBezTo>
                  <a:pt x="498" y="228"/>
                  <a:pt x="502" y="245"/>
                  <a:pt x="497" y="267"/>
                </a:cubicBezTo>
                <a:cubicBezTo>
                  <a:pt x="497" y="269"/>
                  <a:pt x="497" y="273"/>
                  <a:pt x="499" y="275"/>
                </a:cubicBezTo>
                <a:cubicBezTo>
                  <a:pt x="532" y="308"/>
                  <a:pt x="532" y="308"/>
                  <a:pt x="532" y="308"/>
                </a:cubicBezTo>
                <a:cubicBezTo>
                  <a:pt x="535" y="310"/>
                  <a:pt x="539" y="310"/>
                  <a:pt x="542" y="308"/>
                </a:cubicBezTo>
                <a:cubicBezTo>
                  <a:pt x="611" y="239"/>
                  <a:pt x="611" y="239"/>
                  <a:pt x="611" y="239"/>
                </a:cubicBezTo>
                <a:cubicBezTo>
                  <a:pt x="614" y="236"/>
                  <a:pt x="614" y="232"/>
                  <a:pt x="611" y="229"/>
                </a:cubicBezTo>
                <a:cubicBezTo>
                  <a:pt x="578" y="196"/>
                  <a:pt x="578" y="196"/>
                  <a:pt x="578" y="196"/>
                </a:cubicBezTo>
                <a:cubicBezTo>
                  <a:pt x="576" y="194"/>
                  <a:pt x="573" y="193"/>
                  <a:pt x="570" y="193"/>
                </a:cubicBezTo>
                <a:cubicBezTo>
                  <a:pt x="566" y="194"/>
                  <a:pt x="563" y="194"/>
                  <a:pt x="559" y="194"/>
                </a:cubicBezTo>
                <a:cubicBezTo>
                  <a:pt x="545" y="194"/>
                  <a:pt x="534" y="190"/>
                  <a:pt x="526" y="182"/>
                </a:cubicBezTo>
                <a:cubicBezTo>
                  <a:pt x="518" y="174"/>
                  <a:pt x="519" y="164"/>
                  <a:pt x="520" y="155"/>
                </a:cubicBezTo>
                <a:cubicBezTo>
                  <a:pt x="521" y="151"/>
                  <a:pt x="521" y="146"/>
                  <a:pt x="520" y="142"/>
                </a:cubicBezTo>
                <a:cubicBezTo>
                  <a:pt x="518" y="129"/>
                  <a:pt x="490" y="101"/>
                  <a:pt x="479" y="90"/>
                </a:cubicBezTo>
                <a:cubicBezTo>
                  <a:pt x="417" y="27"/>
                  <a:pt x="352" y="14"/>
                  <a:pt x="309" y="14"/>
                </a:cubicBezTo>
                <a:cubicBezTo>
                  <a:pt x="278" y="14"/>
                  <a:pt x="253" y="21"/>
                  <a:pt x="240" y="28"/>
                </a:cubicBezTo>
                <a:cubicBezTo>
                  <a:pt x="240" y="28"/>
                  <a:pt x="240" y="29"/>
                  <a:pt x="241" y="29"/>
                </a:cubicBezTo>
                <a:cubicBezTo>
                  <a:pt x="241" y="30"/>
                  <a:pt x="241" y="30"/>
                  <a:pt x="242" y="30"/>
                </a:cubicBezTo>
                <a:cubicBezTo>
                  <a:pt x="244" y="29"/>
                  <a:pt x="247" y="29"/>
                  <a:pt x="251" y="29"/>
                </a:cubicBezTo>
                <a:cubicBezTo>
                  <a:pt x="259" y="29"/>
                  <a:pt x="302" y="31"/>
                  <a:pt x="336" y="65"/>
                </a:cubicBezTo>
                <a:cubicBezTo>
                  <a:pt x="361" y="90"/>
                  <a:pt x="372" y="116"/>
                  <a:pt x="368" y="143"/>
                </a:cubicBezTo>
                <a:cubicBezTo>
                  <a:pt x="365" y="168"/>
                  <a:pt x="350" y="186"/>
                  <a:pt x="341" y="195"/>
                </a:cubicBezTo>
                <a:cubicBezTo>
                  <a:pt x="323" y="213"/>
                  <a:pt x="323" y="213"/>
                  <a:pt x="323" y="213"/>
                </a:cubicBezTo>
                <a:cubicBezTo>
                  <a:pt x="313" y="222"/>
                  <a:pt x="313" y="222"/>
                  <a:pt x="313" y="222"/>
                </a:cubicBezTo>
                <a:cubicBezTo>
                  <a:pt x="310" y="224"/>
                  <a:pt x="306" y="224"/>
                  <a:pt x="303" y="222"/>
                </a:cubicBezTo>
                <a:cubicBezTo>
                  <a:pt x="302" y="221"/>
                  <a:pt x="301" y="220"/>
                  <a:pt x="300" y="220"/>
                </a:cubicBezTo>
                <a:cubicBezTo>
                  <a:pt x="299" y="220"/>
                  <a:pt x="298" y="220"/>
                  <a:pt x="297" y="222"/>
                </a:cubicBezTo>
                <a:cubicBezTo>
                  <a:pt x="296" y="223"/>
                  <a:pt x="293" y="224"/>
                  <a:pt x="290" y="227"/>
                </a:cubicBezTo>
                <a:cubicBezTo>
                  <a:pt x="283" y="231"/>
                  <a:pt x="273" y="238"/>
                  <a:pt x="258" y="250"/>
                </a:cubicBezTo>
                <a:cubicBezTo>
                  <a:pt x="255" y="252"/>
                  <a:pt x="251" y="252"/>
                  <a:pt x="249" y="249"/>
                </a:cubicBezTo>
                <a:cubicBezTo>
                  <a:pt x="134" y="135"/>
                  <a:pt x="134" y="135"/>
                  <a:pt x="134" y="135"/>
                </a:cubicBezTo>
                <a:cubicBezTo>
                  <a:pt x="134" y="134"/>
                  <a:pt x="133" y="133"/>
                  <a:pt x="133" y="132"/>
                </a:cubicBezTo>
                <a:cubicBezTo>
                  <a:pt x="122" y="99"/>
                  <a:pt x="122" y="99"/>
                  <a:pt x="122" y="99"/>
                </a:cubicBezTo>
                <a:cubicBezTo>
                  <a:pt x="63" y="57"/>
                  <a:pt x="63" y="57"/>
                  <a:pt x="63" y="57"/>
                </a:cubicBezTo>
                <a:cubicBezTo>
                  <a:pt x="34" y="85"/>
                  <a:pt x="34" y="85"/>
                  <a:pt x="34" y="85"/>
                </a:cubicBezTo>
                <a:cubicBezTo>
                  <a:pt x="76" y="145"/>
                  <a:pt x="76" y="145"/>
                  <a:pt x="76" y="145"/>
                </a:cubicBezTo>
                <a:cubicBezTo>
                  <a:pt x="110" y="155"/>
                  <a:pt x="110" y="155"/>
                  <a:pt x="110" y="155"/>
                </a:cubicBezTo>
                <a:cubicBezTo>
                  <a:pt x="111" y="156"/>
                  <a:pt x="112" y="156"/>
                  <a:pt x="113" y="157"/>
                </a:cubicBezTo>
                <a:cubicBezTo>
                  <a:pt x="225" y="269"/>
                  <a:pt x="225" y="269"/>
                  <a:pt x="225" y="269"/>
                </a:cubicBezTo>
                <a:cubicBezTo>
                  <a:pt x="226" y="271"/>
                  <a:pt x="227" y="273"/>
                  <a:pt x="227" y="275"/>
                </a:cubicBezTo>
                <a:cubicBezTo>
                  <a:pt x="227" y="277"/>
                  <a:pt x="226" y="278"/>
                  <a:pt x="224" y="280"/>
                </a:cubicBezTo>
                <a:cubicBezTo>
                  <a:pt x="208" y="293"/>
                  <a:pt x="195" y="304"/>
                  <a:pt x="187" y="313"/>
                </a:cubicBezTo>
                <a:cubicBezTo>
                  <a:pt x="171" y="328"/>
                  <a:pt x="156" y="346"/>
                  <a:pt x="141" y="363"/>
                </a:cubicBezTo>
                <a:cubicBezTo>
                  <a:pt x="126" y="379"/>
                  <a:pt x="113" y="395"/>
                  <a:pt x="100" y="408"/>
                </a:cubicBezTo>
                <a:cubicBezTo>
                  <a:pt x="79" y="428"/>
                  <a:pt x="42" y="452"/>
                  <a:pt x="24" y="464"/>
                </a:cubicBezTo>
                <a:cubicBezTo>
                  <a:pt x="21" y="466"/>
                  <a:pt x="17" y="468"/>
                  <a:pt x="16" y="469"/>
                </a:cubicBezTo>
                <a:cubicBezTo>
                  <a:pt x="15" y="472"/>
                  <a:pt x="15" y="479"/>
                  <a:pt x="16" y="481"/>
                </a:cubicBezTo>
                <a:cubicBezTo>
                  <a:pt x="21" y="486"/>
                  <a:pt x="68" y="533"/>
                  <a:pt x="68" y="533"/>
                </a:cubicBezTo>
                <a:cubicBezTo>
                  <a:pt x="71" y="536"/>
                  <a:pt x="71" y="536"/>
                  <a:pt x="71" y="536"/>
                </a:cubicBezTo>
                <a:cubicBezTo>
                  <a:pt x="82" y="546"/>
                  <a:pt x="90" y="555"/>
                  <a:pt x="93" y="55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2" name="Oval 39"/>
          <p:cNvSpPr>
            <a:spLocks noChangeArrowheads="1"/>
          </p:cNvSpPr>
          <p:nvPr/>
        </p:nvSpPr>
        <p:spPr bwMode="auto">
          <a:xfrm>
            <a:off x="6137845" y="1914829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319" name="Freeform 132"/>
          <p:cNvSpPr>
            <a:spLocks noEditPoints="1"/>
          </p:cNvSpPr>
          <p:nvPr/>
        </p:nvSpPr>
        <p:spPr bwMode="auto">
          <a:xfrm>
            <a:off x="6252939" y="2194912"/>
            <a:ext cx="592774" cy="262794"/>
          </a:xfrm>
          <a:custGeom>
            <a:avLst/>
            <a:gdLst>
              <a:gd name="T0" fmla="*/ 596 w 765"/>
              <a:gd name="T1" fmla="*/ 0 h 339"/>
              <a:gd name="T2" fmla="*/ 443 w 765"/>
              <a:gd name="T3" fmla="*/ 97 h 339"/>
              <a:gd name="T4" fmla="*/ 415 w 765"/>
              <a:gd name="T5" fmla="*/ 88 h 339"/>
              <a:gd name="T6" fmla="*/ 382 w 765"/>
              <a:gd name="T7" fmla="*/ 58 h 339"/>
              <a:gd name="T8" fmla="*/ 349 w 765"/>
              <a:gd name="T9" fmla="*/ 88 h 339"/>
              <a:gd name="T10" fmla="*/ 321 w 765"/>
              <a:gd name="T11" fmla="*/ 97 h 339"/>
              <a:gd name="T12" fmla="*/ 169 w 765"/>
              <a:gd name="T13" fmla="*/ 0 h 339"/>
              <a:gd name="T14" fmla="*/ 0 w 765"/>
              <a:gd name="T15" fmla="*/ 170 h 339"/>
              <a:gd name="T16" fmla="*/ 169 w 765"/>
              <a:gd name="T17" fmla="*/ 339 h 339"/>
              <a:gd name="T18" fmla="*/ 338 w 765"/>
              <a:gd name="T19" fmla="*/ 170 h 339"/>
              <a:gd name="T20" fmla="*/ 327 w 765"/>
              <a:gd name="T21" fmla="*/ 109 h 339"/>
              <a:gd name="T22" fmla="*/ 351 w 765"/>
              <a:gd name="T23" fmla="*/ 102 h 339"/>
              <a:gd name="T24" fmla="*/ 382 w 765"/>
              <a:gd name="T25" fmla="*/ 124 h 339"/>
              <a:gd name="T26" fmla="*/ 414 w 765"/>
              <a:gd name="T27" fmla="*/ 102 h 339"/>
              <a:gd name="T28" fmla="*/ 438 w 765"/>
              <a:gd name="T29" fmla="*/ 109 h 339"/>
              <a:gd name="T30" fmla="*/ 427 w 765"/>
              <a:gd name="T31" fmla="*/ 170 h 339"/>
              <a:gd name="T32" fmla="*/ 596 w 765"/>
              <a:gd name="T33" fmla="*/ 339 h 339"/>
              <a:gd name="T34" fmla="*/ 765 w 765"/>
              <a:gd name="T35" fmla="*/ 170 h 339"/>
              <a:gd name="T36" fmla="*/ 596 w 765"/>
              <a:gd name="T37" fmla="*/ 0 h 339"/>
              <a:gd name="T38" fmla="*/ 169 w 765"/>
              <a:gd name="T39" fmla="*/ 325 h 339"/>
              <a:gd name="T40" fmla="*/ 14 w 765"/>
              <a:gd name="T41" fmla="*/ 170 h 339"/>
              <a:gd name="T42" fmla="*/ 169 w 765"/>
              <a:gd name="T43" fmla="*/ 14 h 339"/>
              <a:gd name="T44" fmla="*/ 324 w 765"/>
              <a:gd name="T45" fmla="*/ 170 h 339"/>
              <a:gd name="T46" fmla="*/ 169 w 765"/>
              <a:gd name="T47" fmla="*/ 325 h 339"/>
              <a:gd name="T48" fmla="*/ 382 w 765"/>
              <a:gd name="T49" fmla="*/ 110 h 339"/>
              <a:gd name="T50" fmla="*/ 363 w 765"/>
              <a:gd name="T51" fmla="*/ 91 h 339"/>
              <a:gd name="T52" fmla="*/ 382 w 765"/>
              <a:gd name="T53" fmla="*/ 72 h 339"/>
              <a:gd name="T54" fmla="*/ 401 w 765"/>
              <a:gd name="T55" fmla="*/ 91 h 339"/>
              <a:gd name="T56" fmla="*/ 382 w 765"/>
              <a:gd name="T57" fmla="*/ 110 h 339"/>
              <a:gd name="T58" fmla="*/ 596 w 765"/>
              <a:gd name="T59" fmla="*/ 325 h 339"/>
              <a:gd name="T60" fmla="*/ 441 w 765"/>
              <a:gd name="T61" fmla="*/ 170 h 339"/>
              <a:gd name="T62" fmla="*/ 596 w 765"/>
              <a:gd name="T63" fmla="*/ 14 h 339"/>
              <a:gd name="T64" fmla="*/ 751 w 765"/>
              <a:gd name="T65" fmla="*/ 170 h 339"/>
              <a:gd name="T66" fmla="*/ 596 w 765"/>
              <a:gd name="T67" fmla="*/ 325 h 339"/>
              <a:gd name="T68" fmla="*/ 233 w 765"/>
              <a:gd name="T69" fmla="*/ 55 h 339"/>
              <a:gd name="T70" fmla="*/ 223 w 765"/>
              <a:gd name="T71" fmla="*/ 58 h 339"/>
              <a:gd name="T72" fmla="*/ 57 w 765"/>
              <a:gd name="T73" fmla="*/ 115 h 339"/>
              <a:gd name="T74" fmla="*/ 51 w 765"/>
              <a:gd name="T75" fmla="*/ 119 h 339"/>
              <a:gd name="T76" fmla="*/ 48 w 765"/>
              <a:gd name="T77" fmla="*/ 118 h 339"/>
              <a:gd name="T78" fmla="*/ 45 w 765"/>
              <a:gd name="T79" fmla="*/ 109 h 339"/>
              <a:gd name="T80" fmla="*/ 229 w 765"/>
              <a:gd name="T81" fmla="*/ 45 h 339"/>
              <a:gd name="T82" fmla="*/ 233 w 765"/>
              <a:gd name="T83" fmla="*/ 55 h 339"/>
              <a:gd name="T84" fmla="*/ 660 w 765"/>
              <a:gd name="T85" fmla="*/ 55 h 339"/>
              <a:gd name="T86" fmla="*/ 650 w 765"/>
              <a:gd name="T87" fmla="*/ 58 h 339"/>
              <a:gd name="T88" fmla="*/ 484 w 765"/>
              <a:gd name="T89" fmla="*/ 115 h 339"/>
              <a:gd name="T90" fmla="*/ 478 w 765"/>
              <a:gd name="T91" fmla="*/ 119 h 339"/>
              <a:gd name="T92" fmla="*/ 475 w 765"/>
              <a:gd name="T93" fmla="*/ 118 h 339"/>
              <a:gd name="T94" fmla="*/ 471 w 765"/>
              <a:gd name="T95" fmla="*/ 109 h 339"/>
              <a:gd name="T96" fmla="*/ 656 w 765"/>
              <a:gd name="T97" fmla="*/ 45 h 339"/>
              <a:gd name="T98" fmla="*/ 660 w 765"/>
              <a:gd name="T99" fmla="*/ 55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765" h="339">
                <a:moveTo>
                  <a:pt x="596" y="0"/>
                </a:moveTo>
                <a:cubicBezTo>
                  <a:pt x="529" y="0"/>
                  <a:pt x="471" y="40"/>
                  <a:pt x="443" y="97"/>
                </a:cubicBezTo>
                <a:cubicBezTo>
                  <a:pt x="434" y="93"/>
                  <a:pt x="425" y="90"/>
                  <a:pt x="415" y="88"/>
                </a:cubicBezTo>
                <a:cubicBezTo>
                  <a:pt x="414" y="71"/>
                  <a:pt x="399" y="58"/>
                  <a:pt x="382" y="58"/>
                </a:cubicBezTo>
                <a:cubicBezTo>
                  <a:pt x="365" y="58"/>
                  <a:pt x="351" y="71"/>
                  <a:pt x="349" y="88"/>
                </a:cubicBezTo>
                <a:cubicBezTo>
                  <a:pt x="340" y="90"/>
                  <a:pt x="330" y="93"/>
                  <a:pt x="321" y="97"/>
                </a:cubicBezTo>
                <a:cubicBezTo>
                  <a:pt x="294" y="40"/>
                  <a:pt x="236" y="0"/>
                  <a:pt x="169" y="0"/>
                </a:cubicBezTo>
                <a:cubicBezTo>
                  <a:pt x="76" y="0"/>
                  <a:pt x="0" y="76"/>
                  <a:pt x="0" y="170"/>
                </a:cubicBezTo>
                <a:cubicBezTo>
                  <a:pt x="0" y="263"/>
                  <a:pt x="76" y="339"/>
                  <a:pt x="169" y="339"/>
                </a:cubicBezTo>
                <a:cubicBezTo>
                  <a:pt x="262" y="339"/>
                  <a:pt x="338" y="263"/>
                  <a:pt x="338" y="170"/>
                </a:cubicBezTo>
                <a:cubicBezTo>
                  <a:pt x="338" y="148"/>
                  <a:pt x="334" y="128"/>
                  <a:pt x="327" y="109"/>
                </a:cubicBezTo>
                <a:cubicBezTo>
                  <a:pt x="335" y="106"/>
                  <a:pt x="343" y="103"/>
                  <a:pt x="351" y="102"/>
                </a:cubicBezTo>
                <a:cubicBezTo>
                  <a:pt x="355" y="115"/>
                  <a:pt x="368" y="124"/>
                  <a:pt x="382" y="124"/>
                </a:cubicBezTo>
                <a:cubicBezTo>
                  <a:pt x="397" y="124"/>
                  <a:pt x="409" y="115"/>
                  <a:pt x="414" y="102"/>
                </a:cubicBezTo>
                <a:cubicBezTo>
                  <a:pt x="422" y="103"/>
                  <a:pt x="430" y="106"/>
                  <a:pt x="438" y="109"/>
                </a:cubicBezTo>
                <a:cubicBezTo>
                  <a:pt x="431" y="128"/>
                  <a:pt x="427" y="148"/>
                  <a:pt x="427" y="170"/>
                </a:cubicBezTo>
                <a:cubicBezTo>
                  <a:pt x="427" y="263"/>
                  <a:pt x="502" y="339"/>
                  <a:pt x="596" y="339"/>
                </a:cubicBezTo>
                <a:cubicBezTo>
                  <a:pt x="689" y="339"/>
                  <a:pt x="765" y="263"/>
                  <a:pt x="765" y="170"/>
                </a:cubicBezTo>
                <a:cubicBezTo>
                  <a:pt x="765" y="76"/>
                  <a:pt x="689" y="0"/>
                  <a:pt x="596" y="0"/>
                </a:cubicBezTo>
                <a:close/>
                <a:moveTo>
                  <a:pt x="169" y="325"/>
                </a:moveTo>
                <a:cubicBezTo>
                  <a:pt x="83" y="325"/>
                  <a:pt x="14" y="255"/>
                  <a:pt x="14" y="170"/>
                </a:cubicBezTo>
                <a:cubicBezTo>
                  <a:pt x="14" y="84"/>
                  <a:pt x="83" y="14"/>
                  <a:pt x="169" y="14"/>
                </a:cubicBezTo>
                <a:cubicBezTo>
                  <a:pt x="254" y="14"/>
                  <a:pt x="324" y="84"/>
                  <a:pt x="324" y="170"/>
                </a:cubicBezTo>
                <a:cubicBezTo>
                  <a:pt x="324" y="255"/>
                  <a:pt x="254" y="325"/>
                  <a:pt x="169" y="325"/>
                </a:cubicBezTo>
                <a:close/>
                <a:moveTo>
                  <a:pt x="382" y="110"/>
                </a:moveTo>
                <a:cubicBezTo>
                  <a:pt x="372" y="110"/>
                  <a:pt x="363" y="102"/>
                  <a:pt x="363" y="91"/>
                </a:cubicBezTo>
                <a:cubicBezTo>
                  <a:pt x="363" y="80"/>
                  <a:pt x="372" y="72"/>
                  <a:pt x="382" y="72"/>
                </a:cubicBezTo>
                <a:cubicBezTo>
                  <a:pt x="393" y="72"/>
                  <a:pt x="401" y="80"/>
                  <a:pt x="401" y="91"/>
                </a:cubicBezTo>
                <a:cubicBezTo>
                  <a:pt x="401" y="102"/>
                  <a:pt x="393" y="110"/>
                  <a:pt x="382" y="110"/>
                </a:cubicBezTo>
                <a:close/>
                <a:moveTo>
                  <a:pt x="596" y="325"/>
                </a:moveTo>
                <a:cubicBezTo>
                  <a:pt x="510" y="325"/>
                  <a:pt x="441" y="255"/>
                  <a:pt x="441" y="170"/>
                </a:cubicBezTo>
                <a:cubicBezTo>
                  <a:pt x="441" y="84"/>
                  <a:pt x="510" y="14"/>
                  <a:pt x="596" y="14"/>
                </a:cubicBezTo>
                <a:cubicBezTo>
                  <a:pt x="681" y="14"/>
                  <a:pt x="751" y="84"/>
                  <a:pt x="751" y="170"/>
                </a:cubicBezTo>
                <a:cubicBezTo>
                  <a:pt x="751" y="255"/>
                  <a:pt x="681" y="325"/>
                  <a:pt x="596" y="325"/>
                </a:cubicBezTo>
                <a:close/>
                <a:moveTo>
                  <a:pt x="233" y="55"/>
                </a:moveTo>
                <a:cubicBezTo>
                  <a:pt x="231" y="58"/>
                  <a:pt x="227" y="60"/>
                  <a:pt x="223" y="58"/>
                </a:cubicBezTo>
                <a:cubicBezTo>
                  <a:pt x="162" y="28"/>
                  <a:pt x="87" y="53"/>
                  <a:pt x="57" y="115"/>
                </a:cubicBezTo>
                <a:cubicBezTo>
                  <a:pt x="56" y="118"/>
                  <a:pt x="53" y="119"/>
                  <a:pt x="51" y="119"/>
                </a:cubicBezTo>
                <a:cubicBezTo>
                  <a:pt x="50" y="119"/>
                  <a:pt x="49" y="119"/>
                  <a:pt x="48" y="118"/>
                </a:cubicBezTo>
                <a:cubicBezTo>
                  <a:pt x="44" y="117"/>
                  <a:pt x="43" y="112"/>
                  <a:pt x="45" y="109"/>
                </a:cubicBezTo>
                <a:cubicBezTo>
                  <a:pt x="78" y="40"/>
                  <a:pt x="161" y="12"/>
                  <a:pt x="229" y="45"/>
                </a:cubicBezTo>
                <a:cubicBezTo>
                  <a:pt x="233" y="47"/>
                  <a:pt x="234" y="51"/>
                  <a:pt x="233" y="55"/>
                </a:cubicBezTo>
                <a:close/>
                <a:moveTo>
                  <a:pt x="660" y="55"/>
                </a:moveTo>
                <a:cubicBezTo>
                  <a:pt x="658" y="58"/>
                  <a:pt x="654" y="60"/>
                  <a:pt x="650" y="58"/>
                </a:cubicBezTo>
                <a:cubicBezTo>
                  <a:pt x="589" y="28"/>
                  <a:pt x="514" y="53"/>
                  <a:pt x="484" y="115"/>
                </a:cubicBezTo>
                <a:cubicBezTo>
                  <a:pt x="483" y="118"/>
                  <a:pt x="480" y="119"/>
                  <a:pt x="478" y="119"/>
                </a:cubicBezTo>
                <a:cubicBezTo>
                  <a:pt x="477" y="119"/>
                  <a:pt x="476" y="119"/>
                  <a:pt x="475" y="118"/>
                </a:cubicBezTo>
                <a:cubicBezTo>
                  <a:pt x="471" y="117"/>
                  <a:pt x="470" y="112"/>
                  <a:pt x="471" y="109"/>
                </a:cubicBezTo>
                <a:cubicBezTo>
                  <a:pt x="505" y="40"/>
                  <a:pt x="588" y="12"/>
                  <a:pt x="656" y="45"/>
                </a:cubicBezTo>
                <a:cubicBezTo>
                  <a:pt x="660" y="47"/>
                  <a:pt x="661" y="51"/>
                  <a:pt x="660" y="5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6" name="Oval 43"/>
          <p:cNvSpPr>
            <a:spLocks noChangeArrowheads="1"/>
          </p:cNvSpPr>
          <p:nvPr/>
        </p:nvSpPr>
        <p:spPr bwMode="auto">
          <a:xfrm>
            <a:off x="3552358" y="796230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320" name="Freeform 133"/>
          <p:cNvSpPr>
            <a:spLocks noEditPoints="1"/>
          </p:cNvSpPr>
          <p:nvPr/>
        </p:nvSpPr>
        <p:spPr bwMode="auto">
          <a:xfrm>
            <a:off x="3761776" y="977765"/>
            <a:ext cx="408451" cy="438278"/>
          </a:xfrm>
          <a:custGeom>
            <a:avLst/>
            <a:gdLst>
              <a:gd name="T0" fmla="*/ 417 w 527"/>
              <a:gd name="T1" fmla="*/ 263 h 567"/>
              <a:gd name="T2" fmla="*/ 311 w 527"/>
              <a:gd name="T3" fmla="*/ 210 h 567"/>
              <a:gd name="T4" fmla="*/ 261 w 527"/>
              <a:gd name="T5" fmla="*/ 130 h 567"/>
              <a:gd name="T6" fmla="*/ 291 w 527"/>
              <a:gd name="T7" fmla="*/ 34 h 567"/>
              <a:gd name="T8" fmla="*/ 363 w 527"/>
              <a:gd name="T9" fmla="*/ 0 h 567"/>
              <a:gd name="T10" fmla="*/ 467 w 527"/>
              <a:gd name="T11" fmla="*/ 54 h 567"/>
              <a:gd name="T12" fmla="*/ 514 w 527"/>
              <a:gd name="T13" fmla="*/ 126 h 567"/>
              <a:gd name="T14" fmla="*/ 488 w 527"/>
              <a:gd name="T15" fmla="*/ 231 h 567"/>
              <a:gd name="T16" fmla="*/ 417 w 527"/>
              <a:gd name="T17" fmla="*/ 263 h 567"/>
              <a:gd name="T18" fmla="*/ 363 w 527"/>
              <a:gd name="T19" fmla="*/ 14 h 567"/>
              <a:gd name="T20" fmla="*/ 301 w 527"/>
              <a:gd name="T21" fmla="*/ 44 h 567"/>
              <a:gd name="T22" fmla="*/ 274 w 527"/>
              <a:gd name="T23" fmla="*/ 127 h 567"/>
              <a:gd name="T24" fmla="*/ 321 w 527"/>
              <a:gd name="T25" fmla="*/ 200 h 567"/>
              <a:gd name="T26" fmla="*/ 417 w 527"/>
              <a:gd name="T27" fmla="*/ 249 h 567"/>
              <a:gd name="T28" fmla="*/ 478 w 527"/>
              <a:gd name="T29" fmla="*/ 221 h 567"/>
              <a:gd name="T30" fmla="*/ 501 w 527"/>
              <a:gd name="T31" fmla="*/ 131 h 567"/>
              <a:gd name="T32" fmla="*/ 457 w 527"/>
              <a:gd name="T33" fmla="*/ 64 h 567"/>
              <a:gd name="T34" fmla="*/ 363 w 527"/>
              <a:gd name="T35" fmla="*/ 14 h 567"/>
              <a:gd name="T36" fmla="*/ 12 w 527"/>
              <a:gd name="T37" fmla="*/ 519 h 567"/>
              <a:gd name="T38" fmla="*/ 321 w 527"/>
              <a:gd name="T39" fmla="*/ 210 h 567"/>
              <a:gd name="T40" fmla="*/ 321 w 527"/>
              <a:gd name="T41" fmla="*/ 200 h 567"/>
              <a:gd name="T42" fmla="*/ 311 w 527"/>
              <a:gd name="T43" fmla="*/ 200 h 567"/>
              <a:gd name="T44" fmla="*/ 2 w 527"/>
              <a:gd name="T45" fmla="*/ 509 h 567"/>
              <a:gd name="T46" fmla="*/ 2 w 527"/>
              <a:gd name="T47" fmla="*/ 519 h 567"/>
              <a:gd name="T48" fmla="*/ 7 w 527"/>
              <a:gd name="T49" fmla="*/ 521 h 567"/>
              <a:gd name="T50" fmla="*/ 12 w 527"/>
              <a:gd name="T51" fmla="*/ 519 h 567"/>
              <a:gd name="T52" fmla="*/ 98 w 527"/>
              <a:gd name="T53" fmla="*/ 565 h 567"/>
              <a:gd name="T54" fmla="*/ 203 w 527"/>
              <a:gd name="T55" fmla="*/ 460 h 567"/>
              <a:gd name="T56" fmla="*/ 203 w 527"/>
              <a:gd name="T57" fmla="*/ 450 h 567"/>
              <a:gd name="T58" fmla="*/ 137 w 527"/>
              <a:gd name="T59" fmla="*/ 384 h 567"/>
              <a:gd name="T60" fmla="*/ 127 w 527"/>
              <a:gd name="T61" fmla="*/ 384 h 567"/>
              <a:gd name="T62" fmla="*/ 127 w 527"/>
              <a:gd name="T63" fmla="*/ 394 h 567"/>
              <a:gd name="T64" fmla="*/ 188 w 527"/>
              <a:gd name="T65" fmla="*/ 455 h 567"/>
              <a:gd name="T66" fmla="*/ 93 w 527"/>
              <a:gd name="T67" fmla="*/ 550 h 567"/>
              <a:gd name="T68" fmla="*/ 32 w 527"/>
              <a:gd name="T69" fmla="*/ 489 h 567"/>
              <a:gd name="T70" fmla="*/ 22 w 527"/>
              <a:gd name="T71" fmla="*/ 489 h 567"/>
              <a:gd name="T72" fmla="*/ 22 w 527"/>
              <a:gd name="T73" fmla="*/ 499 h 567"/>
              <a:gd name="T74" fmla="*/ 88 w 527"/>
              <a:gd name="T75" fmla="*/ 565 h 567"/>
              <a:gd name="T76" fmla="*/ 93 w 527"/>
              <a:gd name="T77" fmla="*/ 567 h 567"/>
              <a:gd name="T78" fmla="*/ 98 w 527"/>
              <a:gd name="T79" fmla="*/ 565 h 5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27" h="567">
                <a:moveTo>
                  <a:pt x="417" y="263"/>
                </a:moveTo>
                <a:cubicBezTo>
                  <a:pt x="371" y="263"/>
                  <a:pt x="331" y="230"/>
                  <a:pt x="311" y="210"/>
                </a:cubicBezTo>
                <a:cubicBezTo>
                  <a:pt x="284" y="183"/>
                  <a:pt x="267" y="156"/>
                  <a:pt x="261" y="130"/>
                </a:cubicBezTo>
                <a:cubicBezTo>
                  <a:pt x="252" y="95"/>
                  <a:pt x="262" y="63"/>
                  <a:pt x="291" y="34"/>
                </a:cubicBezTo>
                <a:cubicBezTo>
                  <a:pt x="313" y="12"/>
                  <a:pt x="337" y="0"/>
                  <a:pt x="363" y="0"/>
                </a:cubicBezTo>
                <a:cubicBezTo>
                  <a:pt x="396" y="0"/>
                  <a:pt x="431" y="19"/>
                  <a:pt x="467" y="54"/>
                </a:cubicBezTo>
                <a:cubicBezTo>
                  <a:pt x="483" y="70"/>
                  <a:pt x="504" y="96"/>
                  <a:pt x="514" y="126"/>
                </a:cubicBezTo>
                <a:cubicBezTo>
                  <a:pt x="527" y="165"/>
                  <a:pt x="518" y="200"/>
                  <a:pt x="488" y="231"/>
                </a:cubicBezTo>
                <a:cubicBezTo>
                  <a:pt x="466" y="252"/>
                  <a:pt x="443" y="263"/>
                  <a:pt x="417" y="263"/>
                </a:cubicBezTo>
                <a:close/>
                <a:moveTo>
                  <a:pt x="363" y="14"/>
                </a:moveTo>
                <a:cubicBezTo>
                  <a:pt x="341" y="14"/>
                  <a:pt x="320" y="24"/>
                  <a:pt x="301" y="44"/>
                </a:cubicBezTo>
                <a:cubicBezTo>
                  <a:pt x="275" y="69"/>
                  <a:pt x="267" y="97"/>
                  <a:pt x="274" y="127"/>
                </a:cubicBezTo>
                <a:cubicBezTo>
                  <a:pt x="280" y="150"/>
                  <a:pt x="296" y="175"/>
                  <a:pt x="321" y="200"/>
                </a:cubicBezTo>
                <a:cubicBezTo>
                  <a:pt x="340" y="218"/>
                  <a:pt x="376" y="249"/>
                  <a:pt x="417" y="249"/>
                </a:cubicBezTo>
                <a:cubicBezTo>
                  <a:pt x="439" y="249"/>
                  <a:pt x="459" y="239"/>
                  <a:pt x="478" y="221"/>
                </a:cubicBezTo>
                <a:cubicBezTo>
                  <a:pt x="504" y="194"/>
                  <a:pt x="512" y="164"/>
                  <a:pt x="501" y="131"/>
                </a:cubicBezTo>
                <a:cubicBezTo>
                  <a:pt x="491" y="102"/>
                  <a:pt x="469" y="77"/>
                  <a:pt x="457" y="64"/>
                </a:cubicBezTo>
                <a:cubicBezTo>
                  <a:pt x="424" y="31"/>
                  <a:pt x="392" y="14"/>
                  <a:pt x="363" y="14"/>
                </a:cubicBezTo>
                <a:close/>
                <a:moveTo>
                  <a:pt x="12" y="519"/>
                </a:moveTo>
                <a:cubicBezTo>
                  <a:pt x="321" y="210"/>
                  <a:pt x="321" y="210"/>
                  <a:pt x="321" y="210"/>
                </a:cubicBezTo>
                <a:cubicBezTo>
                  <a:pt x="324" y="207"/>
                  <a:pt x="324" y="203"/>
                  <a:pt x="321" y="200"/>
                </a:cubicBezTo>
                <a:cubicBezTo>
                  <a:pt x="319" y="197"/>
                  <a:pt x="314" y="197"/>
                  <a:pt x="311" y="200"/>
                </a:cubicBezTo>
                <a:cubicBezTo>
                  <a:pt x="2" y="509"/>
                  <a:pt x="2" y="509"/>
                  <a:pt x="2" y="509"/>
                </a:cubicBezTo>
                <a:cubicBezTo>
                  <a:pt x="0" y="512"/>
                  <a:pt x="0" y="516"/>
                  <a:pt x="2" y="519"/>
                </a:cubicBezTo>
                <a:cubicBezTo>
                  <a:pt x="4" y="520"/>
                  <a:pt x="6" y="521"/>
                  <a:pt x="7" y="521"/>
                </a:cubicBezTo>
                <a:cubicBezTo>
                  <a:pt x="9" y="521"/>
                  <a:pt x="11" y="520"/>
                  <a:pt x="12" y="519"/>
                </a:cubicBezTo>
                <a:close/>
                <a:moveTo>
                  <a:pt x="98" y="565"/>
                </a:moveTo>
                <a:cubicBezTo>
                  <a:pt x="203" y="460"/>
                  <a:pt x="203" y="460"/>
                  <a:pt x="203" y="460"/>
                </a:cubicBezTo>
                <a:cubicBezTo>
                  <a:pt x="206" y="458"/>
                  <a:pt x="206" y="453"/>
                  <a:pt x="203" y="450"/>
                </a:cubicBezTo>
                <a:cubicBezTo>
                  <a:pt x="137" y="384"/>
                  <a:pt x="137" y="384"/>
                  <a:pt x="137" y="384"/>
                </a:cubicBezTo>
                <a:cubicBezTo>
                  <a:pt x="134" y="382"/>
                  <a:pt x="130" y="382"/>
                  <a:pt x="127" y="384"/>
                </a:cubicBezTo>
                <a:cubicBezTo>
                  <a:pt x="124" y="387"/>
                  <a:pt x="124" y="391"/>
                  <a:pt x="127" y="394"/>
                </a:cubicBezTo>
                <a:cubicBezTo>
                  <a:pt x="188" y="455"/>
                  <a:pt x="188" y="455"/>
                  <a:pt x="188" y="455"/>
                </a:cubicBezTo>
                <a:cubicBezTo>
                  <a:pt x="93" y="550"/>
                  <a:pt x="93" y="550"/>
                  <a:pt x="93" y="550"/>
                </a:cubicBezTo>
                <a:cubicBezTo>
                  <a:pt x="32" y="489"/>
                  <a:pt x="32" y="489"/>
                  <a:pt x="32" y="489"/>
                </a:cubicBezTo>
                <a:cubicBezTo>
                  <a:pt x="30" y="486"/>
                  <a:pt x="25" y="486"/>
                  <a:pt x="22" y="489"/>
                </a:cubicBezTo>
                <a:cubicBezTo>
                  <a:pt x="20" y="492"/>
                  <a:pt x="20" y="496"/>
                  <a:pt x="22" y="499"/>
                </a:cubicBezTo>
                <a:cubicBezTo>
                  <a:pt x="88" y="565"/>
                  <a:pt x="88" y="565"/>
                  <a:pt x="88" y="565"/>
                </a:cubicBezTo>
                <a:cubicBezTo>
                  <a:pt x="90" y="566"/>
                  <a:pt x="92" y="567"/>
                  <a:pt x="93" y="567"/>
                </a:cubicBezTo>
                <a:cubicBezTo>
                  <a:pt x="95" y="567"/>
                  <a:pt x="97" y="566"/>
                  <a:pt x="98" y="5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18" name="Oval 35"/>
          <p:cNvSpPr>
            <a:spLocks noChangeArrowheads="1"/>
          </p:cNvSpPr>
          <p:nvPr/>
        </p:nvSpPr>
        <p:spPr bwMode="auto">
          <a:xfrm>
            <a:off x="966871" y="1914829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321" name="Freeform 134"/>
          <p:cNvSpPr>
            <a:spLocks noEditPoints="1"/>
          </p:cNvSpPr>
          <p:nvPr/>
        </p:nvSpPr>
        <p:spPr bwMode="auto">
          <a:xfrm>
            <a:off x="1194223" y="2053142"/>
            <a:ext cx="369122" cy="547199"/>
          </a:xfrm>
          <a:custGeom>
            <a:avLst/>
            <a:gdLst>
              <a:gd name="T0" fmla="*/ 454 w 477"/>
              <a:gd name="T1" fmla="*/ 588 h 707"/>
              <a:gd name="T2" fmla="*/ 402 w 477"/>
              <a:gd name="T3" fmla="*/ 546 h 707"/>
              <a:gd name="T4" fmla="*/ 284 w 477"/>
              <a:gd name="T5" fmla="*/ 301 h 707"/>
              <a:gd name="T6" fmla="*/ 337 w 477"/>
              <a:gd name="T7" fmla="*/ 290 h 707"/>
              <a:gd name="T8" fmla="*/ 390 w 477"/>
              <a:gd name="T9" fmla="*/ 313 h 707"/>
              <a:gd name="T10" fmla="*/ 466 w 477"/>
              <a:gd name="T11" fmla="*/ 264 h 707"/>
              <a:gd name="T12" fmla="*/ 353 w 477"/>
              <a:gd name="T13" fmla="*/ 136 h 707"/>
              <a:gd name="T14" fmla="*/ 267 w 477"/>
              <a:gd name="T15" fmla="*/ 77 h 707"/>
              <a:gd name="T16" fmla="*/ 259 w 477"/>
              <a:gd name="T17" fmla="*/ 0 h 707"/>
              <a:gd name="T18" fmla="*/ 162 w 477"/>
              <a:gd name="T19" fmla="*/ 101 h 707"/>
              <a:gd name="T20" fmla="*/ 65 w 477"/>
              <a:gd name="T21" fmla="*/ 411 h 707"/>
              <a:gd name="T22" fmla="*/ 65 w 477"/>
              <a:gd name="T23" fmla="*/ 546 h 707"/>
              <a:gd name="T24" fmla="*/ 35 w 477"/>
              <a:gd name="T25" fmla="*/ 618 h 707"/>
              <a:gd name="T26" fmla="*/ 45 w 477"/>
              <a:gd name="T27" fmla="*/ 707 h 707"/>
              <a:gd name="T28" fmla="*/ 477 w 477"/>
              <a:gd name="T29" fmla="*/ 662 h 707"/>
              <a:gd name="T30" fmla="*/ 253 w 477"/>
              <a:gd name="T31" fmla="*/ 15 h 707"/>
              <a:gd name="T32" fmla="*/ 179 w 477"/>
              <a:gd name="T33" fmla="*/ 94 h 707"/>
              <a:gd name="T34" fmla="*/ 78 w 477"/>
              <a:gd name="T35" fmla="*/ 405 h 707"/>
              <a:gd name="T36" fmla="*/ 169 w 477"/>
              <a:gd name="T37" fmla="*/ 112 h 707"/>
              <a:gd name="T38" fmla="*/ 265 w 477"/>
              <a:gd name="T39" fmla="*/ 91 h 707"/>
              <a:gd name="T40" fmla="*/ 338 w 477"/>
              <a:gd name="T41" fmla="*/ 138 h 707"/>
              <a:gd name="T42" fmla="*/ 454 w 477"/>
              <a:gd name="T43" fmla="*/ 254 h 707"/>
              <a:gd name="T44" fmla="*/ 421 w 477"/>
              <a:gd name="T45" fmla="*/ 273 h 707"/>
              <a:gd name="T46" fmla="*/ 383 w 477"/>
              <a:gd name="T47" fmla="*/ 294 h 707"/>
              <a:gd name="T48" fmla="*/ 319 w 477"/>
              <a:gd name="T49" fmla="*/ 280 h 707"/>
              <a:gd name="T50" fmla="*/ 252 w 477"/>
              <a:gd name="T51" fmla="*/ 289 h 707"/>
              <a:gd name="T52" fmla="*/ 248 w 477"/>
              <a:gd name="T53" fmla="*/ 301 h 707"/>
              <a:gd name="T54" fmla="*/ 98 w 477"/>
              <a:gd name="T55" fmla="*/ 546 h 707"/>
              <a:gd name="T56" fmla="*/ 65 w 477"/>
              <a:gd name="T57" fmla="*/ 560 h 707"/>
              <a:gd name="T58" fmla="*/ 440 w 477"/>
              <a:gd name="T59" fmla="*/ 588 h 707"/>
              <a:gd name="T60" fmla="*/ 65 w 477"/>
              <a:gd name="T61" fmla="*/ 617 h 707"/>
              <a:gd name="T62" fmla="*/ 65 w 477"/>
              <a:gd name="T63" fmla="*/ 560 h 707"/>
              <a:gd name="T64" fmla="*/ 45 w 477"/>
              <a:gd name="T65" fmla="*/ 693 h 707"/>
              <a:gd name="T66" fmla="*/ 45 w 477"/>
              <a:gd name="T67" fmla="*/ 631 h 707"/>
              <a:gd name="T68" fmla="*/ 411 w 477"/>
              <a:gd name="T69" fmla="*/ 631 h 707"/>
              <a:gd name="T70" fmla="*/ 463 w 477"/>
              <a:gd name="T71" fmla="*/ 662 h 7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77" h="707">
                <a:moveTo>
                  <a:pt x="442" y="618"/>
                </a:moveTo>
                <a:cubicBezTo>
                  <a:pt x="449" y="610"/>
                  <a:pt x="454" y="600"/>
                  <a:pt x="454" y="588"/>
                </a:cubicBezTo>
                <a:cubicBezTo>
                  <a:pt x="454" y="565"/>
                  <a:pt x="435" y="546"/>
                  <a:pt x="411" y="546"/>
                </a:cubicBezTo>
                <a:cubicBezTo>
                  <a:pt x="402" y="546"/>
                  <a:pt x="402" y="546"/>
                  <a:pt x="402" y="546"/>
                </a:cubicBezTo>
                <a:cubicBezTo>
                  <a:pt x="396" y="464"/>
                  <a:pt x="298" y="339"/>
                  <a:pt x="267" y="302"/>
                </a:cubicBezTo>
                <a:cubicBezTo>
                  <a:pt x="273" y="302"/>
                  <a:pt x="279" y="301"/>
                  <a:pt x="284" y="301"/>
                </a:cubicBezTo>
                <a:cubicBezTo>
                  <a:pt x="305" y="301"/>
                  <a:pt x="316" y="297"/>
                  <a:pt x="324" y="293"/>
                </a:cubicBezTo>
                <a:cubicBezTo>
                  <a:pt x="329" y="291"/>
                  <a:pt x="332" y="290"/>
                  <a:pt x="337" y="290"/>
                </a:cubicBezTo>
                <a:cubicBezTo>
                  <a:pt x="345" y="290"/>
                  <a:pt x="365" y="300"/>
                  <a:pt x="376" y="306"/>
                </a:cubicBezTo>
                <a:cubicBezTo>
                  <a:pt x="382" y="309"/>
                  <a:pt x="387" y="312"/>
                  <a:pt x="390" y="313"/>
                </a:cubicBezTo>
                <a:cubicBezTo>
                  <a:pt x="403" y="318"/>
                  <a:pt x="420" y="299"/>
                  <a:pt x="432" y="282"/>
                </a:cubicBezTo>
                <a:cubicBezTo>
                  <a:pt x="466" y="264"/>
                  <a:pt x="466" y="264"/>
                  <a:pt x="466" y="264"/>
                </a:cubicBezTo>
                <a:cubicBezTo>
                  <a:pt x="469" y="262"/>
                  <a:pt x="471" y="258"/>
                  <a:pt x="469" y="255"/>
                </a:cubicBezTo>
                <a:cubicBezTo>
                  <a:pt x="448" y="200"/>
                  <a:pt x="377" y="150"/>
                  <a:pt x="353" y="136"/>
                </a:cubicBezTo>
                <a:cubicBezTo>
                  <a:pt x="353" y="126"/>
                  <a:pt x="350" y="117"/>
                  <a:pt x="342" y="108"/>
                </a:cubicBezTo>
                <a:cubicBezTo>
                  <a:pt x="327" y="90"/>
                  <a:pt x="297" y="78"/>
                  <a:pt x="267" y="77"/>
                </a:cubicBezTo>
                <a:cubicBezTo>
                  <a:pt x="268" y="62"/>
                  <a:pt x="269" y="28"/>
                  <a:pt x="267" y="6"/>
                </a:cubicBezTo>
                <a:cubicBezTo>
                  <a:pt x="266" y="2"/>
                  <a:pt x="263" y="0"/>
                  <a:pt x="259" y="0"/>
                </a:cubicBezTo>
                <a:cubicBezTo>
                  <a:pt x="227" y="2"/>
                  <a:pt x="199" y="21"/>
                  <a:pt x="180" y="55"/>
                </a:cubicBezTo>
                <a:cubicBezTo>
                  <a:pt x="169" y="74"/>
                  <a:pt x="164" y="93"/>
                  <a:pt x="162" y="101"/>
                </a:cubicBezTo>
                <a:cubicBezTo>
                  <a:pt x="86" y="136"/>
                  <a:pt x="32" y="208"/>
                  <a:pt x="32" y="286"/>
                </a:cubicBezTo>
                <a:cubicBezTo>
                  <a:pt x="32" y="336"/>
                  <a:pt x="49" y="376"/>
                  <a:pt x="65" y="411"/>
                </a:cubicBezTo>
                <a:cubicBezTo>
                  <a:pt x="84" y="456"/>
                  <a:pt x="101" y="494"/>
                  <a:pt x="83" y="546"/>
                </a:cubicBezTo>
                <a:cubicBezTo>
                  <a:pt x="65" y="546"/>
                  <a:pt x="65" y="546"/>
                  <a:pt x="65" y="546"/>
                </a:cubicBezTo>
                <a:cubicBezTo>
                  <a:pt x="42" y="546"/>
                  <a:pt x="23" y="565"/>
                  <a:pt x="23" y="588"/>
                </a:cubicBezTo>
                <a:cubicBezTo>
                  <a:pt x="23" y="600"/>
                  <a:pt x="27" y="610"/>
                  <a:pt x="35" y="618"/>
                </a:cubicBezTo>
                <a:cubicBezTo>
                  <a:pt x="15" y="622"/>
                  <a:pt x="0" y="640"/>
                  <a:pt x="0" y="662"/>
                </a:cubicBezTo>
                <a:cubicBezTo>
                  <a:pt x="0" y="687"/>
                  <a:pt x="20" y="707"/>
                  <a:pt x="45" y="707"/>
                </a:cubicBezTo>
                <a:cubicBezTo>
                  <a:pt x="432" y="707"/>
                  <a:pt x="432" y="707"/>
                  <a:pt x="432" y="707"/>
                </a:cubicBezTo>
                <a:cubicBezTo>
                  <a:pt x="457" y="707"/>
                  <a:pt x="477" y="687"/>
                  <a:pt x="477" y="662"/>
                </a:cubicBezTo>
                <a:cubicBezTo>
                  <a:pt x="477" y="640"/>
                  <a:pt x="462" y="622"/>
                  <a:pt x="442" y="618"/>
                </a:cubicBezTo>
                <a:close/>
                <a:moveTo>
                  <a:pt x="253" y="15"/>
                </a:moveTo>
                <a:cubicBezTo>
                  <a:pt x="255" y="36"/>
                  <a:pt x="254" y="65"/>
                  <a:pt x="253" y="78"/>
                </a:cubicBezTo>
                <a:cubicBezTo>
                  <a:pt x="227" y="79"/>
                  <a:pt x="202" y="85"/>
                  <a:pt x="179" y="94"/>
                </a:cubicBezTo>
                <a:cubicBezTo>
                  <a:pt x="186" y="70"/>
                  <a:pt x="207" y="22"/>
                  <a:pt x="253" y="15"/>
                </a:cubicBezTo>
                <a:close/>
                <a:moveTo>
                  <a:pt x="78" y="405"/>
                </a:moveTo>
                <a:cubicBezTo>
                  <a:pt x="62" y="370"/>
                  <a:pt x="46" y="333"/>
                  <a:pt x="46" y="286"/>
                </a:cubicBezTo>
                <a:cubicBezTo>
                  <a:pt x="46" y="212"/>
                  <a:pt x="98" y="145"/>
                  <a:pt x="169" y="112"/>
                </a:cubicBezTo>
                <a:cubicBezTo>
                  <a:pt x="171" y="112"/>
                  <a:pt x="172" y="112"/>
                  <a:pt x="172" y="111"/>
                </a:cubicBezTo>
                <a:cubicBezTo>
                  <a:pt x="201" y="98"/>
                  <a:pt x="233" y="91"/>
                  <a:pt x="265" y="91"/>
                </a:cubicBezTo>
                <a:cubicBezTo>
                  <a:pt x="292" y="91"/>
                  <a:pt x="319" y="102"/>
                  <a:pt x="332" y="117"/>
                </a:cubicBezTo>
                <a:cubicBezTo>
                  <a:pt x="337" y="124"/>
                  <a:pt x="340" y="131"/>
                  <a:pt x="338" y="138"/>
                </a:cubicBezTo>
                <a:cubicBezTo>
                  <a:pt x="338" y="141"/>
                  <a:pt x="339" y="144"/>
                  <a:pt x="342" y="146"/>
                </a:cubicBezTo>
                <a:cubicBezTo>
                  <a:pt x="359" y="155"/>
                  <a:pt x="431" y="203"/>
                  <a:pt x="454" y="254"/>
                </a:cubicBezTo>
                <a:cubicBezTo>
                  <a:pt x="424" y="271"/>
                  <a:pt x="424" y="271"/>
                  <a:pt x="424" y="271"/>
                </a:cubicBezTo>
                <a:cubicBezTo>
                  <a:pt x="423" y="271"/>
                  <a:pt x="422" y="272"/>
                  <a:pt x="421" y="273"/>
                </a:cubicBezTo>
                <a:cubicBezTo>
                  <a:pt x="412" y="286"/>
                  <a:pt x="400" y="299"/>
                  <a:pt x="395" y="300"/>
                </a:cubicBezTo>
                <a:cubicBezTo>
                  <a:pt x="392" y="299"/>
                  <a:pt x="388" y="296"/>
                  <a:pt x="383" y="294"/>
                </a:cubicBezTo>
                <a:cubicBezTo>
                  <a:pt x="364" y="284"/>
                  <a:pt x="348" y="276"/>
                  <a:pt x="337" y="276"/>
                </a:cubicBezTo>
                <a:cubicBezTo>
                  <a:pt x="330" y="276"/>
                  <a:pt x="324" y="278"/>
                  <a:pt x="319" y="280"/>
                </a:cubicBezTo>
                <a:cubicBezTo>
                  <a:pt x="311" y="284"/>
                  <a:pt x="302" y="287"/>
                  <a:pt x="284" y="287"/>
                </a:cubicBezTo>
                <a:cubicBezTo>
                  <a:pt x="274" y="287"/>
                  <a:pt x="253" y="289"/>
                  <a:pt x="252" y="289"/>
                </a:cubicBezTo>
                <a:cubicBezTo>
                  <a:pt x="250" y="290"/>
                  <a:pt x="247" y="291"/>
                  <a:pt x="246" y="294"/>
                </a:cubicBezTo>
                <a:cubicBezTo>
                  <a:pt x="245" y="296"/>
                  <a:pt x="246" y="299"/>
                  <a:pt x="248" y="301"/>
                </a:cubicBezTo>
                <a:cubicBezTo>
                  <a:pt x="249" y="302"/>
                  <a:pt x="381" y="456"/>
                  <a:pt x="388" y="546"/>
                </a:cubicBezTo>
                <a:cubicBezTo>
                  <a:pt x="98" y="546"/>
                  <a:pt x="98" y="546"/>
                  <a:pt x="98" y="546"/>
                </a:cubicBezTo>
                <a:cubicBezTo>
                  <a:pt x="115" y="492"/>
                  <a:pt x="97" y="450"/>
                  <a:pt x="78" y="405"/>
                </a:cubicBezTo>
                <a:close/>
                <a:moveTo>
                  <a:pt x="65" y="560"/>
                </a:moveTo>
                <a:cubicBezTo>
                  <a:pt x="411" y="560"/>
                  <a:pt x="411" y="560"/>
                  <a:pt x="411" y="560"/>
                </a:cubicBezTo>
                <a:cubicBezTo>
                  <a:pt x="427" y="560"/>
                  <a:pt x="440" y="573"/>
                  <a:pt x="440" y="588"/>
                </a:cubicBezTo>
                <a:cubicBezTo>
                  <a:pt x="440" y="604"/>
                  <a:pt x="427" y="617"/>
                  <a:pt x="411" y="617"/>
                </a:cubicBezTo>
                <a:cubicBezTo>
                  <a:pt x="65" y="617"/>
                  <a:pt x="65" y="617"/>
                  <a:pt x="65" y="617"/>
                </a:cubicBezTo>
                <a:cubicBezTo>
                  <a:pt x="50" y="617"/>
                  <a:pt x="37" y="604"/>
                  <a:pt x="37" y="588"/>
                </a:cubicBezTo>
                <a:cubicBezTo>
                  <a:pt x="37" y="573"/>
                  <a:pt x="50" y="560"/>
                  <a:pt x="65" y="560"/>
                </a:cubicBezTo>
                <a:close/>
                <a:moveTo>
                  <a:pt x="432" y="693"/>
                </a:moveTo>
                <a:cubicBezTo>
                  <a:pt x="45" y="693"/>
                  <a:pt x="45" y="693"/>
                  <a:pt x="45" y="693"/>
                </a:cubicBezTo>
                <a:cubicBezTo>
                  <a:pt x="28" y="693"/>
                  <a:pt x="14" y="679"/>
                  <a:pt x="14" y="662"/>
                </a:cubicBezTo>
                <a:cubicBezTo>
                  <a:pt x="14" y="645"/>
                  <a:pt x="28" y="631"/>
                  <a:pt x="45" y="631"/>
                </a:cubicBezTo>
                <a:cubicBezTo>
                  <a:pt x="65" y="631"/>
                  <a:pt x="65" y="631"/>
                  <a:pt x="65" y="631"/>
                </a:cubicBezTo>
                <a:cubicBezTo>
                  <a:pt x="411" y="631"/>
                  <a:pt x="411" y="631"/>
                  <a:pt x="411" y="631"/>
                </a:cubicBezTo>
                <a:cubicBezTo>
                  <a:pt x="432" y="631"/>
                  <a:pt x="432" y="631"/>
                  <a:pt x="432" y="631"/>
                </a:cubicBezTo>
                <a:cubicBezTo>
                  <a:pt x="449" y="631"/>
                  <a:pt x="463" y="645"/>
                  <a:pt x="463" y="662"/>
                </a:cubicBezTo>
                <a:cubicBezTo>
                  <a:pt x="463" y="679"/>
                  <a:pt x="449" y="693"/>
                  <a:pt x="432" y="69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30" name="Oval 47"/>
          <p:cNvSpPr>
            <a:spLocks noChangeArrowheads="1"/>
          </p:cNvSpPr>
          <p:nvPr/>
        </p:nvSpPr>
        <p:spPr bwMode="auto">
          <a:xfrm>
            <a:off x="3552358" y="304205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322" name="Freeform 135"/>
          <p:cNvSpPr>
            <a:spLocks noEditPoints="1"/>
          </p:cNvSpPr>
          <p:nvPr/>
        </p:nvSpPr>
        <p:spPr bwMode="auto">
          <a:xfrm>
            <a:off x="3728892" y="3217909"/>
            <a:ext cx="470757" cy="471253"/>
          </a:xfrm>
          <a:custGeom>
            <a:avLst/>
            <a:gdLst>
              <a:gd name="T0" fmla="*/ 542 w 608"/>
              <a:gd name="T1" fmla="*/ 608 h 608"/>
              <a:gd name="T2" fmla="*/ 540 w 608"/>
              <a:gd name="T3" fmla="*/ 607 h 608"/>
              <a:gd name="T4" fmla="*/ 390 w 608"/>
              <a:gd name="T5" fmla="*/ 586 h 608"/>
              <a:gd name="T6" fmla="*/ 378 w 608"/>
              <a:gd name="T7" fmla="*/ 579 h 608"/>
              <a:gd name="T8" fmla="*/ 375 w 608"/>
              <a:gd name="T9" fmla="*/ 565 h 608"/>
              <a:gd name="T10" fmla="*/ 409 w 608"/>
              <a:gd name="T11" fmla="*/ 323 h 608"/>
              <a:gd name="T12" fmla="*/ 381 w 608"/>
              <a:gd name="T13" fmla="*/ 223 h 608"/>
              <a:gd name="T14" fmla="*/ 304 w 608"/>
              <a:gd name="T15" fmla="*/ 188 h 608"/>
              <a:gd name="T16" fmla="*/ 227 w 608"/>
              <a:gd name="T17" fmla="*/ 223 h 608"/>
              <a:gd name="T18" fmla="*/ 199 w 608"/>
              <a:gd name="T19" fmla="*/ 323 h 608"/>
              <a:gd name="T20" fmla="*/ 233 w 608"/>
              <a:gd name="T21" fmla="*/ 566 h 608"/>
              <a:gd name="T22" fmla="*/ 217 w 608"/>
              <a:gd name="T23" fmla="*/ 586 h 608"/>
              <a:gd name="T24" fmla="*/ 68 w 608"/>
              <a:gd name="T25" fmla="*/ 607 h 608"/>
              <a:gd name="T26" fmla="*/ 65 w 608"/>
              <a:gd name="T27" fmla="*/ 608 h 608"/>
              <a:gd name="T28" fmla="*/ 54 w 608"/>
              <a:gd name="T29" fmla="*/ 604 h 608"/>
              <a:gd name="T30" fmla="*/ 47 w 608"/>
              <a:gd name="T31" fmla="*/ 592 h 608"/>
              <a:gd name="T32" fmla="*/ 13 w 608"/>
              <a:gd name="T33" fmla="*/ 350 h 608"/>
              <a:gd name="T34" fmla="*/ 85 w 608"/>
              <a:gd name="T35" fmla="*/ 100 h 608"/>
              <a:gd name="T36" fmla="*/ 304 w 608"/>
              <a:gd name="T37" fmla="*/ 0 h 608"/>
              <a:gd name="T38" fmla="*/ 523 w 608"/>
              <a:gd name="T39" fmla="*/ 100 h 608"/>
              <a:gd name="T40" fmla="*/ 595 w 608"/>
              <a:gd name="T41" fmla="*/ 350 h 608"/>
              <a:gd name="T42" fmla="*/ 561 w 608"/>
              <a:gd name="T43" fmla="*/ 592 h 608"/>
              <a:gd name="T44" fmla="*/ 542 w 608"/>
              <a:gd name="T45" fmla="*/ 608 h 608"/>
              <a:gd name="T46" fmla="*/ 304 w 608"/>
              <a:gd name="T47" fmla="*/ 174 h 608"/>
              <a:gd name="T48" fmla="*/ 391 w 608"/>
              <a:gd name="T49" fmla="*/ 214 h 608"/>
              <a:gd name="T50" fmla="*/ 423 w 608"/>
              <a:gd name="T51" fmla="*/ 325 h 608"/>
              <a:gd name="T52" fmla="*/ 389 w 608"/>
              <a:gd name="T53" fmla="*/ 567 h 608"/>
              <a:gd name="T54" fmla="*/ 389 w 608"/>
              <a:gd name="T55" fmla="*/ 571 h 608"/>
              <a:gd name="T56" fmla="*/ 392 w 608"/>
              <a:gd name="T57" fmla="*/ 572 h 608"/>
              <a:gd name="T58" fmla="*/ 542 w 608"/>
              <a:gd name="T59" fmla="*/ 594 h 608"/>
              <a:gd name="T60" fmla="*/ 542 w 608"/>
              <a:gd name="T61" fmla="*/ 594 h 608"/>
              <a:gd name="T62" fmla="*/ 547 w 608"/>
              <a:gd name="T63" fmla="*/ 590 h 608"/>
              <a:gd name="T64" fmla="*/ 581 w 608"/>
              <a:gd name="T65" fmla="*/ 348 h 608"/>
              <a:gd name="T66" fmla="*/ 512 w 608"/>
              <a:gd name="T67" fmla="*/ 109 h 608"/>
              <a:gd name="T68" fmla="*/ 304 w 608"/>
              <a:gd name="T69" fmla="*/ 14 h 608"/>
              <a:gd name="T70" fmla="*/ 96 w 608"/>
              <a:gd name="T71" fmla="*/ 109 h 608"/>
              <a:gd name="T72" fmla="*/ 27 w 608"/>
              <a:gd name="T73" fmla="*/ 348 h 608"/>
              <a:gd name="T74" fmla="*/ 61 w 608"/>
              <a:gd name="T75" fmla="*/ 590 h 608"/>
              <a:gd name="T76" fmla="*/ 63 w 608"/>
              <a:gd name="T77" fmla="*/ 593 h 608"/>
              <a:gd name="T78" fmla="*/ 66 w 608"/>
              <a:gd name="T79" fmla="*/ 594 h 608"/>
              <a:gd name="T80" fmla="*/ 215 w 608"/>
              <a:gd name="T81" fmla="*/ 572 h 608"/>
              <a:gd name="T82" fmla="*/ 219 w 608"/>
              <a:gd name="T83" fmla="*/ 567 h 608"/>
              <a:gd name="T84" fmla="*/ 185 w 608"/>
              <a:gd name="T85" fmla="*/ 325 h 608"/>
              <a:gd name="T86" fmla="*/ 216 w 608"/>
              <a:gd name="T87" fmla="*/ 214 h 608"/>
              <a:gd name="T88" fmla="*/ 304 w 608"/>
              <a:gd name="T89" fmla="*/ 174 h 608"/>
              <a:gd name="T90" fmla="*/ 569 w 608"/>
              <a:gd name="T91" fmla="*/ 532 h 608"/>
              <a:gd name="T92" fmla="*/ 563 w 608"/>
              <a:gd name="T93" fmla="*/ 524 h 608"/>
              <a:gd name="T94" fmla="*/ 392 w 608"/>
              <a:gd name="T95" fmla="*/ 499 h 608"/>
              <a:gd name="T96" fmla="*/ 384 w 608"/>
              <a:gd name="T97" fmla="*/ 505 h 608"/>
              <a:gd name="T98" fmla="*/ 390 w 608"/>
              <a:gd name="T99" fmla="*/ 513 h 608"/>
              <a:gd name="T100" fmla="*/ 561 w 608"/>
              <a:gd name="T101" fmla="*/ 538 h 608"/>
              <a:gd name="T102" fmla="*/ 562 w 608"/>
              <a:gd name="T103" fmla="*/ 538 h 608"/>
              <a:gd name="T104" fmla="*/ 569 w 608"/>
              <a:gd name="T105" fmla="*/ 532 h 608"/>
              <a:gd name="T106" fmla="*/ 47 w 608"/>
              <a:gd name="T107" fmla="*/ 538 h 608"/>
              <a:gd name="T108" fmla="*/ 219 w 608"/>
              <a:gd name="T109" fmla="*/ 513 h 608"/>
              <a:gd name="T110" fmla="*/ 225 w 608"/>
              <a:gd name="T111" fmla="*/ 505 h 608"/>
              <a:gd name="T112" fmla="*/ 217 w 608"/>
              <a:gd name="T113" fmla="*/ 499 h 608"/>
              <a:gd name="T114" fmla="*/ 45 w 608"/>
              <a:gd name="T115" fmla="*/ 524 h 608"/>
              <a:gd name="T116" fmla="*/ 39 w 608"/>
              <a:gd name="T117" fmla="*/ 532 h 608"/>
              <a:gd name="T118" fmla="*/ 46 w 608"/>
              <a:gd name="T119" fmla="*/ 538 h 608"/>
              <a:gd name="T120" fmla="*/ 47 w 608"/>
              <a:gd name="T121" fmla="*/ 538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08" h="608">
                <a:moveTo>
                  <a:pt x="542" y="608"/>
                </a:moveTo>
                <a:cubicBezTo>
                  <a:pt x="541" y="608"/>
                  <a:pt x="541" y="608"/>
                  <a:pt x="540" y="607"/>
                </a:cubicBezTo>
                <a:cubicBezTo>
                  <a:pt x="390" y="586"/>
                  <a:pt x="390" y="586"/>
                  <a:pt x="390" y="586"/>
                </a:cubicBezTo>
                <a:cubicBezTo>
                  <a:pt x="386" y="586"/>
                  <a:pt x="381" y="583"/>
                  <a:pt x="378" y="579"/>
                </a:cubicBezTo>
                <a:cubicBezTo>
                  <a:pt x="375" y="575"/>
                  <a:pt x="374" y="570"/>
                  <a:pt x="375" y="565"/>
                </a:cubicBezTo>
                <a:cubicBezTo>
                  <a:pt x="409" y="323"/>
                  <a:pt x="409" y="323"/>
                  <a:pt x="409" y="323"/>
                </a:cubicBezTo>
                <a:cubicBezTo>
                  <a:pt x="414" y="286"/>
                  <a:pt x="404" y="250"/>
                  <a:pt x="381" y="223"/>
                </a:cubicBezTo>
                <a:cubicBezTo>
                  <a:pt x="367" y="207"/>
                  <a:pt x="342" y="188"/>
                  <a:pt x="304" y="188"/>
                </a:cubicBezTo>
                <a:cubicBezTo>
                  <a:pt x="265" y="188"/>
                  <a:pt x="241" y="207"/>
                  <a:pt x="227" y="223"/>
                </a:cubicBezTo>
                <a:cubicBezTo>
                  <a:pt x="204" y="250"/>
                  <a:pt x="193" y="286"/>
                  <a:pt x="199" y="323"/>
                </a:cubicBezTo>
                <a:cubicBezTo>
                  <a:pt x="233" y="566"/>
                  <a:pt x="233" y="566"/>
                  <a:pt x="233" y="566"/>
                </a:cubicBezTo>
                <a:cubicBezTo>
                  <a:pt x="234" y="576"/>
                  <a:pt x="227" y="585"/>
                  <a:pt x="217" y="586"/>
                </a:cubicBezTo>
                <a:cubicBezTo>
                  <a:pt x="68" y="607"/>
                  <a:pt x="68" y="607"/>
                  <a:pt x="68" y="607"/>
                </a:cubicBezTo>
                <a:cubicBezTo>
                  <a:pt x="67" y="608"/>
                  <a:pt x="66" y="608"/>
                  <a:pt x="65" y="608"/>
                </a:cubicBezTo>
                <a:cubicBezTo>
                  <a:pt x="62" y="608"/>
                  <a:pt x="58" y="606"/>
                  <a:pt x="54" y="604"/>
                </a:cubicBezTo>
                <a:cubicBezTo>
                  <a:pt x="51" y="601"/>
                  <a:pt x="48" y="597"/>
                  <a:pt x="47" y="592"/>
                </a:cubicBezTo>
                <a:cubicBezTo>
                  <a:pt x="13" y="350"/>
                  <a:pt x="13" y="350"/>
                  <a:pt x="13" y="350"/>
                </a:cubicBezTo>
                <a:cubicBezTo>
                  <a:pt x="0" y="259"/>
                  <a:pt x="26" y="168"/>
                  <a:pt x="85" y="100"/>
                </a:cubicBezTo>
                <a:cubicBezTo>
                  <a:pt x="141" y="36"/>
                  <a:pt x="219" y="0"/>
                  <a:pt x="304" y="0"/>
                </a:cubicBezTo>
                <a:cubicBezTo>
                  <a:pt x="389" y="0"/>
                  <a:pt x="467" y="36"/>
                  <a:pt x="523" y="100"/>
                </a:cubicBezTo>
                <a:cubicBezTo>
                  <a:pt x="581" y="168"/>
                  <a:pt x="608" y="259"/>
                  <a:pt x="595" y="350"/>
                </a:cubicBezTo>
                <a:cubicBezTo>
                  <a:pt x="561" y="592"/>
                  <a:pt x="561" y="592"/>
                  <a:pt x="561" y="592"/>
                </a:cubicBezTo>
                <a:cubicBezTo>
                  <a:pt x="559" y="601"/>
                  <a:pt x="551" y="608"/>
                  <a:pt x="542" y="608"/>
                </a:cubicBezTo>
                <a:close/>
                <a:moveTo>
                  <a:pt x="304" y="174"/>
                </a:moveTo>
                <a:cubicBezTo>
                  <a:pt x="348" y="174"/>
                  <a:pt x="376" y="196"/>
                  <a:pt x="391" y="214"/>
                </a:cubicBezTo>
                <a:cubicBezTo>
                  <a:pt x="417" y="244"/>
                  <a:pt x="429" y="284"/>
                  <a:pt x="423" y="325"/>
                </a:cubicBezTo>
                <a:cubicBezTo>
                  <a:pt x="389" y="567"/>
                  <a:pt x="389" y="567"/>
                  <a:pt x="389" y="567"/>
                </a:cubicBezTo>
                <a:cubicBezTo>
                  <a:pt x="388" y="569"/>
                  <a:pt x="389" y="570"/>
                  <a:pt x="389" y="571"/>
                </a:cubicBezTo>
                <a:cubicBezTo>
                  <a:pt x="390" y="572"/>
                  <a:pt x="391" y="572"/>
                  <a:pt x="392" y="572"/>
                </a:cubicBezTo>
                <a:cubicBezTo>
                  <a:pt x="542" y="594"/>
                  <a:pt x="542" y="594"/>
                  <a:pt x="542" y="594"/>
                </a:cubicBezTo>
                <a:cubicBezTo>
                  <a:pt x="542" y="594"/>
                  <a:pt x="542" y="594"/>
                  <a:pt x="542" y="594"/>
                </a:cubicBezTo>
                <a:cubicBezTo>
                  <a:pt x="544" y="594"/>
                  <a:pt x="546" y="592"/>
                  <a:pt x="547" y="590"/>
                </a:cubicBezTo>
                <a:cubicBezTo>
                  <a:pt x="581" y="348"/>
                  <a:pt x="581" y="348"/>
                  <a:pt x="581" y="348"/>
                </a:cubicBezTo>
                <a:cubicBezTo>
                  <a:pt x="593" y="261"/>
                  <a:pt x="568" y="174"/>
                  <a:pt x="512" y="109"/>
                </a:cubicBezTo>
                <a:cubicBezTo>
                  <a:pt x="459" y="48"/>
                  <a:pt x="385" y="14"/>
                  <a:pt x="304" y="14"/>
                </a:cubicBezTo>
                <a:cubicBezTo>
                  <a:pt x="223" y="14"/>
                  <a:pt x="149" y="48"/>
                  <a:pt x="96" y="109"/>
                </a:cubicBezTo>
                <a:cubicBezTo>
                  <a:pt x="40" y="174"/>
                  <a:pt x="15" y="261"/>
                  <a:pt x="27" y="348"/>
                </a:cubicBezTo>
                <a:cubicBezTo>
                  <a:pt x="61" y="590"/>
                  <a:pt x="61" y="590"/>
                  <a:pt x="61" y="590"/>
                </a:cubicBezTo>
                <a:cubicBezTo>
                  <a:pt x="61" y="591"/>
                  <a:pt x="62" y="592"/>
                  <a:pt x="63" y="593"/>
                </a:cubicBezTo>
                <a:cubicBezTo>
                  <a:pt x="64" y="593"/>
                  <a:pt x="65" y="594"/>
                  <a:pt x="66" y="594"/>
                </a:cubicBezTo>
                <a:cubicBezTo>
                  <a:pt x="215" y="572"/>
                  <a:pt x="215" y="572"/>
                  <a:pt x="215" y="572"/>
                </a:cubicBezTo>
                <a:cubicBezTo>
                  <a:pt x="218" y="572"/>
                  <a:pt x="219" y="570"/>
                  <a:pt x="219" y="567"/>
                </a:cubicBezTo>
                <a:cubicBezTo>
                  <a:pt x="185" y="325"/>
                  <a:pt x="185" y="325"/>
                  <a:pt x="185" y="325"/>
                </a:cubicBezTo>
                <a:cubicBezTo>
                  <a:pt x="179" y="284"/>
                  <a:pt x="191" y="244"/>
                  <a:pt x="216" y="214"/>
                </a:cubicBezTo>
                <a:cubicBezTo>
                  <a:pt x="232" y="196"/>
                  <a:pt x="260" y="174"/>
                  <a:pt x="304" y="174"/>
                </a:cubicBezTo>
                <a:close/>
                <a:moveTo>
                  <a:pt x="569" y="532"/>
                </a:moveTo>
                <a:cubicBezTo>
                  <a:pt x="570" y="528"/>
                  <a:pt x="567" y="525"/>
                  <a:pt x="563" y="524"/>
                </a:cubicBezTo>
                <a:cubicBezTo>
                  <a:pt x="392" y="499"/>
                  <a:pt x="392" y="499"/>
                  <a:pt x="392" y="499"/>
                </a:cubicBezTo>
                <a:cubicBezTo>
                  <a:pt x="389" y="499"/>
                  <a:pt x="385" y="502"/>
                  <a:pt x="384" y="505"/>
                </a:cubicBezTo>
                <a:cubicBezTo>
                  <a:pt x="384" y="509"/>
                  <a:pt x="387" y="513"/>
                  <a:pt x="390" y="513"/>
                </a:cubicBezTo>
                <a:cubicBezTo>
                  <a:pt x="561" y="538"/>
                  <a:pt x="561" y="538"/>
                  <a:pt x="561" y="538"/>
                </a:cubicBezTo>
                <a:cubicBezTo>
                  <a:pt x="561" y="538"/>
                  <a:pt x="562" y="538"/>
                  <a:pt x="562" y="538"/>
                </a:cubicBezTo>
                <a:cubicBezTo>
                  <a:pt x="566" y="538"/>
                  <a:pt x="569" y="536"/>
                  <a:pt x="569" y="532"/>
                </a:cubicBezTo>
                <a:close/>
                <a:moveTo>
                  <a:pt x="47" y="538"/>
                </a:moveTo>
                <a:cubicBezTo>
                  <a:pt x="219" y="513"/>
                  <a:pt x="219" y="513"/>
                  <a:pt x="219" y="513"/>
                </a:cubicBezTo>
                <a:cubicBezTo>
                  <a:pt x="222" y="513"/>
                  <a:pt x="225" y="509"/>
                  <a:pt x="225" y="505"/>
                </a:cubicBezTo>
                <a:cubicBezTo>
                  <a:pt x="224" y="502"/>
                  <a:pt x="220" y="499"/>
                  <a:pt x="217" y="499"/>
                </a:cubicBezTo>
                <a:cubicBezTo>
                  <a:pt x="45" y="524"/>
                  <a:pt x="45" y="524"/>
                  <a:pt x="45" y="524"/>
                </a:cubicBezTo>
                <a:cubicBezTo>
                  <a:pt x="41" y="524"/>
                  <a:pt x="38" y="528"/>
                  <a:pt x="39" y="532"/>
                </a:cubicBezTo>
                <a:cubicBezTo>
                  <a:pt x="39" y="535"/>
                  <a:pt x="42" y="538"/>
                  <a:pt x="46" y="538"/>
                </a:cubicBezTo>
                <a:cubicBezTo>
                  <a:pt x="46" y="538"/>
                  <a:pt x="46" y="538"/>
                  <a:pt x="47" y="53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7" name="Oval 44"/>
          <p:cNvSpPr>
            <a:spLocks noChangeArrowheads="1"/>
          </p:cNvSpPr>
          <p:nvPr/>
        </p:nvSpPr>
        <p:spPr bwMode="auto">
          <a:xfrm>
            <a:off x="7430588" y="304205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329" name="Freeform 142"/>
          <p:cNvSpPr>
            <a:spLocks noEditPoints="1"/>
          </p:cNvSpPr>
          <p:nvPr/>
        </p:nvSpPr>
        <p:spPr bwMode="auto">
          <a:xfrm>
            <a:off x="7599157" y="3233502"/>
            <a:ext cx="484959" cy="440067"/>
          </a:xfrm>
          <a:custGeom>
            <a:avLst/>
            <a:gdLst>
              <a:gd name="T0" fmla="*/ 591 w 626"/>
              <a:gd name="T1" fmla="*/ 568 h 568"/>
              <a:gd name="T2" fmla="*/ 35 w 626"/>
              <a:gd name="T3" fmla="*/ 568 h 568"/>
              <a:gd name="T4" fmla="*/ 8 w 626"/>
              <a:gd name="T5" fmla="*/ 556 h 568"/>
              <a:gd name="T6" fmla="*/ 4 w 626"/>
              <a:gd name="T7" fmla="*/ 526 h 568"/>
              <a:gd name="T8" fmla="*/ 101 w 626"/>
              <a:gd name="T9" fmla="*/ 181 h 568"/>
              <a:gd name="T10" fmla="*/ 134 w 626"/>
              <a:gd name="T11" fmla="*/ 161 h 568"/>
              <a:gd name="T12" fmla="*/ 492 w 626"/>
              <a:gd name="T13" fmla="*/ 161 h 568"/>
              <a:gd name="T14" fmla="*/ 525 w 626"/>
              <a:gd name="T15" fmla="*/ 181 h 568"/>
              <a:gd name="T16" fmla="*/ 623 w 626"/>
              <a:gd name="T17" fmla="*/ 526 h 568"/>
              <a:gd name="T18" fmla="*/ 618 w 626"/>
              <a:gd name="T19" fmla="*/ 556 h 568"/>
              <a:gd name="T20" fmla="*/ 591 w 626"/>
              <a:gd name="T21" fmla="*/ 568 h 568"/>
              <a:gd name="T22" fmla="*/ 134 w 626"/>
              <a:gd name="T23" fmla="*/ 175 h 568"/>
              <a:gd name="T24" fmla="*/ 115 w 626"/>
              <a:gd name="T25" fmla="*/ 185 h 568"/>
              <a:gd name="T26" fmla="*/ 17 w 626"/>
              <a:gd name="T27" fmla="*/ 530 h 568"/>
              <a:gd name="T28" fmla="*/ 19 w 626"/>
              <a:gd name="T29" fmla="*/ 547 h 568"/>
              <a:gd name="T30" fmla="*/ 35 w 626"/>
              <a:gd name="T31" fmla="*/ 554 h 568"/>
              <a:gd name="T32" fmla="*/ 591 w 626"/>
              <a:gd name="T33" fmla="*/ 554 h 568"/>
              <a:gd name="T34" fmla="*/ 607 w 626"/>
              <a:gd name="T35" fmla="*/ 547 h 568"/>
              <a:gd name="T36" fmla="*/ 610 w 626"/>
              <a:gd name="T37" fmla="*/ 530 h 568"/>
              <a:gd name="T38" fmla="*/ 512 w 626"/>
              <a:gd name="T39" fmla="*/ 185 h 568"/>
              <a:gd name="T40" fmla="*/ 492 w 626"/>
              <a:gd name="T41" fmla="*/ 175 h 568"/>
              <a:gd name="T42" fmla="*/ 134 w 626"/>
              <a:gd name="T43" fmla="*/ 175 h 568"/>
              <a:gd name="T44" fmla="*/ 426 w 626"/>
              <a:gd name="T45" fmla="*/ 168 h 568"/>
              <a:gd name="T46" fmla="*/ 426 w 626"/>
              <a:gd name="T47" fmla="*/ 113 h 568"/>
              <a:gd name="T48" fmla="*/ 313 w 626"/>
              <a:gd name="T49" fmla="*/ 0 h 568"/>
              <a:gd name="T50" fmla="*/ 200 w 626"/>
              <a:gd name="T51" fmla="*/ 113 h 568"/>
              <a:gd name="T52" fmla="*/ 200 w 626"/>
              <a:gd name="T53" fmla="*/ 168 h 568"/>
              <a:gd name="T54" fmla="*/ 207 w 626"/>
              <a:gd name="T55" fmla="*/ 175 h 568"/>
              <a:gd name="T56" fmla="*/ 214 w 626"/>
              <a:gd name="T57" fmla="*/ 168 h 568"/>
              <a:gd name="T58" fmla="*/ 214 w 626"/>
              <a:gd name="T59" fmla="*/ 113 h 568"/>
              <a:gd name="T60" fmla="*/ 313 w 626"/>
              <a:gd name="T61" fmla="*/ 14 h 568"/>
              <a:gd name="T62" fmla="*/ 412 w 626"/>
              <a:gd name="T63" fmla="*/ 113 h 568"/>
              <a:gd name="T64" fmla="*/ 412 w 626"/>
              <a:gd name="T65" fmla="*/ 168 h 568"/>
              <a:gd name="T66" fmla="*/ 419 w 626"/>
              <a:gd name="T67" fmla="*/ 175 h 568"/>
              <a:gd name="T68" fmla="*/ 419 w 626"/>
              <a:gd name="T69" fmla="*/ 175 h 568"/>
              <a:gd name="T70" fmla="*/ 426 w 626"/>
              <a:gd name="T71" fmla="*/ 168 h 568"/>
              <a:gd name="T72" fmla="*/ 558 w 626"/>
              <a:gd name="T73" fmla="*/ 303 h 568"/>
              <a:gd name="T74" fmla="*/ 551 w 626"/>
              <a:gd name="T75" fmla="*/ 296 h 568"/>
              <a:gd name="T76" fmla="*/ 75 w 626"/>
              <a:gd name="T77" fmla="*/ 296 h 568"/>
              <a:gd name="T78" fmla="*/ 68 w 626"/>
              <a:gd name="T79" fmla="*/ 303 h 568"/>
              <a:gd name="T80" fmla="*/ 75 w 626"/>
              <a:gd name="T81" fmla="*/ 310 h 568"/>
              <a:gd name="T82" fmla="*/ 551 w 626"/>
              <a:gd name="T83" fmla="*/ 310 h 568"/>
              <a:gd name="T84" fmla="*/ 558 w 626"/>
              <a:gd name="T85" fmla="*/ 303 h 568"/>
              <a:gd name="T86" fmla="*/ 313 w 626"/>
              <a:gd name="T87" fmla="*/ 263 h 568"/>
              <a:gd name="T88" fmla="*/ 285 w 626"/>
              <a:gd name="T89" fmla="*/ 235 h 568"/>
              <a:gd name="T90" fmla="*/ 313 w 626"/>
              <a:gd name="T91" fmla="*/ 207 h 568"/>
              <a:gd name="T92" fmla="*/ 341 w 626"/>
              <a:gd name="T93" fmla="*/ 235 h 568"/>
              <a:gd name="T94" fmla="*/ 313 w 626"/>
              <a:gd name="T95" fmla="*/ 263 h 568"/>
              <a:gd name="T96" fmla="*/ 313 w 626"/>
              <a:gd name="T97" fmla="*/ 221 h 568"/>
              <a:gd name="T98" fmla="*/ 299 w 626"/>
              <a:gd name="T99" fmla="*/ 235 h 568"/>
              <a:gd name="T100" fmla="*/ 313 w 626"/>
              <a:gd name="T101" fmla="*/ 249 h 568"/>
              <a:gd name="T102" fmla="*/ 327 w 626"/>
              <a:gd name="T103" fmla="*/ 235 h 568"/>
              <a:gd name="T104" fmla="*/ 313 w 626"/>
              <a:gd name="T105" fmla="*/ 221 h 5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6" h="568">
                <a:moveTo>
                  <a:pt x="591" y="568"/>
                </a:moveTo>
                <a:cubicBezTo>
                  <a:pt x="35" y="568"/>
                  <a:pt x="35" y="568"/>
                  <a:pt x="35" y="568"/>
                </a:cubicBezTo>
                <a:cubicBezTo>
                  <a:pt x="24" y="568"/>
                  <a:pt x="14" y="564"/>
                  <a:pt x="8" y="556"/>
                </a:cubicBezTo>
                <a:cubicBezTo>
                  <a:pt x="2" y="548"/>
                  <a:pt x="0" y="537"/>
                  <a:pt x="4" y="526"/>
                </a:cubicBezTo>
                <a:cubicBezTo>
                  <a:pt x="101" y="181"/>
                  <a:pt x="101" y="181"/>
                  <a:pt x="101" y="181"/>
                </a:cubicBezTo>
                <a:cubicBezTo>
                  <a:pt x="104" y="170"/>
                  <a:pt x="118" y="161"/>
                  <a:pt x="134" y="161"/>
                </a:cubicBezTo>
                <a:cubicBezTo>
                  <a:pt x="492" y="161"/>
                  <a:pt x="492" y="161"/>
                  <a:pt x="492" y="161"/>
                </a:cubicBezTo>
                <a:cubicBezTo>
                  <a:pt x="508" y="161"/>
                  <a:pt x="522" y="170"/>
                  <a:pt x="525" y="181"/>
                </a:cubicBezTo>
                <a:cubicBezTo>
                  <a:pt x="623" y="526"/>
                  <a:pt x="623" y="526"/>
                  <a:pt x="623" y="526"/>
                </a:cubicBezTo>
                <a:cubicBezTo>
                  <a:pt x="626" y="537"/>
                  <a:pt x="624" y="548"/>
                  <a:pt x="618" y="556"/>
                </a:cubicBezTo>
                <a:cubicBezTo>
                  <a:pt x="612" y="564"/>
                  <a:pt x="603" y="568"/>
                  <a:pt x="591" y="568"/>
                </a:cubicBezTo>
                <a:close/>
                <a:moveTo>
                  <a:pt x="134" y="175"/>
                </a:moveTo>
                <a:cubicBezTo>
                  <a:pt x="124" y="175"/>
                  <a:pt x="116" y="180"/>
                  <a:pt x="115" y="185"/>
                </a:cubicBezTo>
                <a:cubicBezTo>
                  <a:pt x="17" y="530"/>
                  <a:pt x="17" y="530"/>
                  <a:pt x="17" y="530"/>
                </a:cubicBezTo>
                <a:cubicBezTo>
                  <a:pt x="15" y="536"/>
                  <a:pt x="16" y="543"/>
                  <a:pt x="19" y="547"/>
                </a:cubicBezTo>
                <a:cubicBezTo>
                  <a:pt x="23" y="552"/>
                  <a:pt x="28" y="554"/>
                  <a:pt x="35" y="554"/>
                </a:cubicBezTo>
                <a:cubicBezTo>
                  <a:pt x="591" y="554"/>
                  <a:pt x="591" y="554"/>
                  <a:pt x="591" y="554"/>
                </a:cubicBezTo>
                <a:cubicBezTo>
                  <a:pt x="598" y="554"/>
                  <a:pt x="604" y="552"/>
                  <a:pt x="607" y="547"/>
                </a:cubicBezTo>
                <a:cubicBezTo>
                  <a:pt x="611" y="543"/>
                  <a:pt x="611" y="536"/>
                  <a:pt x="610" y="530"/>
                </a:cubicBezTo>
                <a:cubicBezTo>
                  <a:pt x="512" y="185"/>
                  <a:pt x="512" y="185"/>
                  <a:pt x="512" y="185"/>
                </a:cubicBezTo>
                <a:cubicBezTo>
                  <a:pt x="511" y="180"/>
                  <a:pt x="502" y="175"/>
                  <a:pt x="492" y="175"/>
                </a:cubicBezTo>
                <a:lnTo>
                  <a:pt x="134" y="175"/>
                </a:lnTo>
                <a:close/>
                <a:moveTo>
                  <a:pt x="426" y="168"/>
                </a:moveTo>
                <a:cubicBezTo>
                  <a:pt x="426" y="113"/>
                  <a:pt x="426" y="113"/>
                  <a:pt x="426" y="113"/>
                </a:cubicBezTo>
                <a:cubicBezTo>
                  <a:pt x="426" y="51"/>
                  <a:pt x="376" y="0"/>
                  <a:pt x="313" y="0"/>
                </a:cubicBezTo>
                <a:cubicBezTo>
                  <a:pt x="251" y="0"/>
                  <a:pt x="200" y="51"/>
                  <a:pt x="200" y="113"/>
                </a:cubicBezTo>
                <a:cubicBezTo>
                  <a:pt x="200" y="168"/>
                  <a:pt x="200" y="168"/>
                  <a:pt x="200" y="168"/>
                </a:cubicBezTo>
                <a:cubicBezTo>
                  <a:pt x="200" y="172"/>
                  <a:pt x="203" y="175"/>
                  <a:pt x="207" y="175"/>
                </a:cubicBezTo>
                <a:cubicBezTo>
                  <a:pt x="211" y="175"/>
                  <a:pt x="214" y="172"/>
                  <a:pt x="214" y="168"/>
                </a:cubicBezTo>
                <a:cubicBezTo>
                  <a:pt x="214" y="113"/>
                  <a:pt x="214" y="113"/>
                  <a:pt x="214" y="113"/>
                </a:cubicBezTo>
                <a:cubicBezTo>
                  <a:pt x="214" y="58"/>
                  <a:pt x="259" y="14"/>
                  <a:pt x="313" y="14"/>
                </a:cubicBezTo>
                <a:cubicBezTo>
                  <a:pt x="368" y="14"/>
                  <a:pt x="412" y="58"/>
                  <a:pt x="412" y="113"/>
                </a:cubicBezTo>
                <a:cubicBezTo>
                  <a:pt x="412" y="168"/>
                  <a:pt x="412" y="168"/>
                  <a:pt x="412" y="168"/>
                </a:cubicBezTo>
                <a:cubicBezTo>
                  <a:pt x="412" y="172"/>
                  <a:pt x="415" y="175"/>
                  <a:pt x="419" y="175"/>
                </a:cubicBezTo>
                <a:cubicBezTo>
                  <a:pt x="419" y="175"/>
                  <a:pt x="419" y="175"/>
                  <a:pt x="419" y="175"/>
                </a:cubicBezTo>
                <a:cubicBezTo>
                  <a:pt x="423" y="175"/>
                  <a:pt x="426" y="172"/>
                  <a:pt x="426" y="168"/>
                </a:cubicBezTo>
                <a:close/>
                <a:moveTo>
                  <a:pt x="558" y="303"/>
                </a:moveTo>
                <a:cubicBezTo>
                  <a:pt x="558" y="299"/>
                  <a:pt x="555" y="296"/>
                  <a:pt x="551" y="296"/>
                </a:cubicBezTo>
                <a:cubicBezTo>
                  <a:pt x="75" y="296"/>
                  <a:pt x="75" y="296"/>
                  <a:pt x="75" y="296"/>
                </a:cubicBezTo>
                <a:cubicBezTo>
                  <a:pt x="71" y="296"/>
                  <a:pt x="68" y="299"/>
                  <a:pt x="68" y="303"/>
                </a:cubicBezTo>
                <a:cubicBezTo>
                  <a:pt x="68" y="306"/>
                  <a:pt x="71" y="310"/>
                  <a:pt x="75" y="310"/>
                </a:cubicBezTo>
                <a:cubicBezTo>
                  <a:pt x="551" y="310"/>
                  <a:pt x="551" y="310"/>
                  <a:pt x="551" y="310"/>
                </a:cubicBezTo>
                <a:cubicBezTo>
                  <a:pt x="555" y="310"/>
                  <a:pt x="558" y="306"/>
                  <a:pt x="558" y="303"/>
                </a:cubicBezTo>
                <a:close/>
                <a:moveTo>
                  <a:pt x="313" y="263"/>
                </a:moveTo>
                <a:cubicBezTo>
                  <a:pt x="298" y="263"/>
                  <a:pt x="285" y="251"/>
                  <a:pt x="285" y="235"/>
                </a:cubicBezTo>
                <a:cubicBezTo>
                  <a:pt x="285" y="220"/>
                  <a:pt x="298" y="207"/>
                  <a:pt x="313" y="207"/>
                </a:cubicBezTo>
                <a:cubicBezTo>
                  <a:pt x="329" y="207"/>
                  <a:pt x="341" y="220"/>
                  <a:pt x="341" y="235"/>
                </a:cubicBezTo>
                <a:cubicBezTo>
                  <a:pt x="341" y="251"/>
                  <a:pt x="329" y="263"/>
                  <a:pt x="313" y="263"/>
                </a:cubicBezTo>
                <a:close/>
                <a:moveTo>
                  <a:pt x="313" y="221"/>
                </a:moveTo>
                <a:cubicBezTo>
                  <a:pt x="306" y="221"/>
                  <a:pt x="299" y="228"/>
                  <a:pt x="299" y="235"/>
                </a:cubicBezTo>
                <a:cubicBezTo>
                  <a:pt x="299" y="243"/>
                  <a:pt x="306" y="249"/>
                  <a:pt x="313" y="249"/>
                </a:cubicBezTo>
                <a:cubicBezTo>
                  <a:pt x="321" y="249"/>
                  <a:pt x="327" y="243"/>
                  <a:pt x="327" y="235"/>
                </a:cubicBezTo>
                <a:cubicBezTo>
                  <a:pt x="327" y="228"/>
                  <a:pt x="321" y="221"/>
                  <a:pt x="313" y="22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21" name="Oval 38"/>
          <p:cNvSpPr>
            <a:spLocks noChangeArrowheads="1"/>
          </p:cNvSpPr>
          <p:nvPr/>
        </p:nvSpPr>
        <p:spPr bwMode="auto">
          <a:xfrm>
            <a:off x="7430588" y="1914829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331" name="Freeform 144"/>
          <p:cNvSpPr>
            <a:spLocks noEditPoints="1"/>
          </p:cNvSpPr>
          <p:nvPr/>
        </p:nvSpPr>
        <p:spPr bwMode="auto">
          <a:xfrm>
            <a:off x="7632007" y="2142181"/>
            <a:ext cx="420989" cy="369122"/>
          </a:xfrm>
          <a:custGeom>
            <a:avLst/>
            <a:gdLst>
              <a:gd name="T0" fmla="*/ 322 w 544"/>
              <a:gd name="T1" fmla="*/ 0 h 477"/>
              <a:gd name="T2" fmla="*/ 315 w 544"/>
              <a:gd name="T3" fmla="*/ 94 h 477"/>
              <a:gd name="T4" fmla="*/ 227 w 544"/>
              <a:gd name="T5" fmla="*/ 183 h 477"/>
              <a:gd name="T6" fmla="*/ 229 w 544"/>
              <a:gd name="T7" fmla="*/ 7 h 477"/>
              <a:gd name="T8" fmla="*/ 7 w 544"/>
              <a:gd name="T9" fmla="*/ 0 h 477"/>
              <a:gd name="T10" fmla="*/ 0 w 544"/>
              <a:gd name="T11" fmla="*/ 94 h 477"/>
              <a:gd name="T12" fmla="*/ 20 w 544"/>
              <a:gd name="T13" fmla="*/ 375 h 477"/>
              <a:gd name="T14" fmla="*/ 53 w 544"/>
              <a:gd name="T15" fmla="*/ 381 h 477"/>
              <a:gd name="T16" fmla="*/ 60 w 544"/>
              <a:gd name="T17" fmla="*/ 477 h 477"/>
              <a:gd name="T18" fmla="*/ 176 w 544"/>
              <a:gd name="T19" fmla="*/ 470 h 477"/>
              <a:gd name="T20" fmla="*/ 202 w 544"/>
              <a:gd name="T21" fmla="*/ 381 h 477"/>
              <a:gd name="T22" fmla="*/ 216 w 544"/>
              <a:gd name="T23" fmla="*/ 294 h 477"/>
              <a:gd name="T24" fmla="*/ 335 w 544"/>
              <a:gd name="T25" fmla="*/ 375 h 477"/>
              <a:gd name="T26" fmla="*/ 368 w 544"/>
              <a:gd name="T27" fmla="*/ 381 h 477"/>
              <a:gd name="T28" fmla="*/ 375 w 544"/>
              <a:gd name="T29" fmla="*/ 477 h 477"/>
              <a:gd name="T30" fmla="*/ 491 w 544"/>
              <a:gd name="T31" fmla="*/ 470 h 477"/>
              <a:gd name="T32" fmla="*/ 517 w 544"/>
              <a:gd name="T33" fmla="*/ 381 h 477"/>
              <a:gd name="T34" fmla="*/ 544 w 544"/>
              <a:gd name="T35" fmla="*/ 94 h 477"/>
              <a:gd name="T36" fmla="*/ 544 w 544"/>
              <a:gd name="T37" fmla="*/ 7 h 477"/>
              <a:gd name="T38" fmla="*/ 530 w 544"/>
              <a:gd name="T39" fmla="*/ 14 h 477"/>
              <a:gd name="T40" fmla="*/ 329 w 544"/>
              <a:gd name="T41" fmla="*/ 87 h 477"/>
              <a:gd name="T42" fmla="*/ 530 w 544"/>
              <a:gd name="T43" fmla="*/ 14 h 477"/>
              <a:gd name="T44" fmla="*/ 176 w 544"/>
              <a:gd name="T45" fmla="*/ 262 h 477"/>
              <a:gd name="T46" fmla="*/ 193 w 544"/>
              <a:gd name="T47" fmla="*/ 197 h 477"/>
              <a:gd name="T48" fmla="*/ 368 w 544"/>
              <a:gd name="T49" fmla="*/ 214 h 477"/>
              <a:gd name="T50" fmla="*/ 350 w 544"/>
              <a:gd name="T51" fmla="*/ 280 h 477"/>
              <a:gd name="T52" fmla="*/ 215 w 544"/>
              <a:gd name="T53" fmla="*/ 14 h 477"/>
              <a:gd name="T54" fmla="*/ 14 w 544"/>
              <a:gd name="T55" fmla="*/ 87 h 477"/>
              <a:gd name="T56" fmla="*/ 215 w 544"/>
              <a:gd name="T57" fmla="*/ 14 h 477"/>
              <a:gd name="T58" fmla="*/ 67 w 544"/>
              <a:gd name="T59" fmla="*/ 463 h 477"/>
              <a:gd name="T60" fmla="*/ 162 w 544"/>
              <a:gd name="T61" fmla="*/ 381 h 477"/>
              <a:gd name="T62" fmla="*/ 195 w 544"/>
              <a:gd name="T63" fmla="*/ 367 h 477"/>
              <a:gd name="T64" fmla="*/ 14 w 544"/>
              <a:gd name="T65" fmla="*/ 101 h 477"/>
              <a:gd name="T66" fmla="*/ 213 w 544"/>
              <a:gd name="T67" fmla="*/ 183 h 477"/>
              <a:gd name="T68" fmla="*/ 162 w 544"/>
              <a:gd name="T69" fmla="*/ 214 h 477"/>
              <a:gd name="T70" fmla="*/ 193 w 544"/>
              <a:gd name="T71" fmla="*/ 294 h 477"/>
              <a:gd name="T72" fmla="*/ 195 w 544"/>
              <a:gd name="T73" fmla="*/ 367 h 477"/>
              <a:gd name="T74" fmla="*/ 382 w 544"/>
              <a:gd name="T75" fmla="*/ 463 h 477"/>
              <a:gd name="T76" fmla="*/ 477 w 544"/>
              <a:gd name="T77" fmla="*/ 381 h 477"/>
              <a:gd name="T78" fmla="*/ 510 w 544"/>
              <a:gd name="T79" fmla="*/ 367 h 477"/>
              <a:gd name="T80" fmla="*/ 342 w 544"/>
              <a:gd name="T81" fmla="*/ 294 h 477"/>
              <a:gd name="T82" fmla="*/ 382 w 544"/>
              <a:gd name="T83" fmla="*/ 262 h 477"/>
              <a:gd name="T84" fmla="*/ 350 w 544"/>
              <a:gd name="T85" fmla="*/ 183 h 477"/>
              <a:gd name="T86" fmla="*/ 329 w 544"/>
              <a:gd name="T87" fmla="*/ 101 h 477"/>
              <a:gd name="T88" fmla="*/ 510 w 544"/>
              <a:gd name="T89" fmla="*/ 367 h 4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44" h="477">
                <a:moveTo>
                  <a:pt x="537" y="0"/>
                </a:moveTo>
                <a:cubicBezTo>
                  <a:pt x="322" y="0"/>
                  <a:pt x="322" y="0"/>
                  <a:pt x="322" y="0"/>
                </a:cubicBezTo>
                <a:cubicBezTo>
                  <a:pt x="318" y="0"/>
                  <a:pt x="315" y="3"/>
                  <a:pt x="315" y="7"/>
                </a:cubicBezTo>
                <a:cubicBezTo>
                  <a:pt x="315" y="94"/>
                  <a:pt x="315" y="94"/>
                  <a:pt x="315" y="94"/>
                </a:cubicBezTo>
                <a:cubicBezTo>
                  <a:pt x="317" y="183"/>
                  <a:pt x="317" y="183"/>
                  <a:pt x="317" y="183"/>
                </a:cubicBezTo>
                <a:cubicBezTo>
                  <a:pt x="227" y="183"/>
                  <a:pt x="227" y="183"/>
                  <a:pt x="227" y="183"/>
                </a:cubicBezTo>
                <a:cubicBezTo>
                  <a:pt x="229" y="94"/>
                  <a:pt x="229" y="94"/>
                  <a:pt x="229" y="94"/>
                </a:cubicBezTo>
                <a:cubicBezTo>
                  <a:pt x="229" y="7"/>
                  <a:pt x="229" y="7"/>
                  <a:pt x="229" y="7"/>
                </a:cubicBezTo>
                <a:cubicBezTo>
                  <a:pt x="229" y="3"/>
                  <a:pt x="226" y="0"/>
                  <a:pt x="222" y="0"/>
                </a:cubicBez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20" y="375"/>
                  <a:pt x="20" y="375"/>
                  <a:pt x="20" y="375"/>
                </a:cubicBezTo>
                <a:cubicBezTo>
                  <a:pt x="20" y="379"/>
                  <a:pt x="23" y="381"/>
                  <a:pt x="27" y="381"/>
                </a:cubicBezTo>
                <a:cubicBezTo>
                  <a:pt x="53" y="381"/>
                  <a:pt x="53" y="381"/>
                  <a:pt x="53" y="381"/>
                </a:cubicBezTo>
                <a:cubicBezTo>
                  <a:pt x="53" y="470"/>
                  <a:pt x="53" y="470"/>
                  <a:pt x="53" y="470"/>
                </a:cubicBezTo>
                <a:cubicBezTo>
                  <a:pt x="53" y="474"/>
                  <a:pt x="56" y="477"/>
                  <a:pt x="60" y="477"/>
                </a:cubicBezTo>
                <a:cubicBezTo>
                  <a:pt x="169" y="477"/>
                  <a:pt x="169" y="477"/>
                  <a:pt x="169" y="477"/>
                </a:cubicBezTo>
                <a:cubicBezTo>
                  <a:pt x="172" y="477"/>
                  <a:pt x="176" y="474"/>
                  <a:pt x="176" y="470"/>
                </a:cubicBezTo>
                <a:cubicBezTo>
                  <a:pt x="176" y="381"/>
                  <a:pt x="176" y="381"/>
                  <a:pt x="176" y="381"/>
                </a:cubicBezTo>
                <a:cubicBezTo>
                  <a:pt x="202" y="381"/>
                  <a:pt x="202" y="381"/>
                  <a:pt x="202" y="381"/>
                </a:cubicBezTo>
                <a:cubicBezTo>
                  <a:pt x="205" y="381"/>
                  <a:pt x="208" y="379"/>
                  <a:pt x="209" y="375"/>
                </a:cubicBezTo>
                <a:cubicBezTo>
                  <a:pt x="216" y="294"/>
                  <a:pt x="216" y="294"/>
                  <a:pt x="216" y="294"/>
                </a:cubicBezTo>
                <a:cubicBezTo>
                  <a:pt x="327" y="294"/>
                  <a:pt x="327" y="294"/>
                  <a:pt x="327" y="294"/>
                </a:cubicBezTo>
                <a:cubicBezTo>
                  <a:pt x="335" y="375"/>
                  <a:pt x="335" y="375"/>
                  <a:pt x="335" y="375"/>
                </a:cubicBezTo>
                <a:cubicBezTo>
                  <a:pt x="335" y="379"/>
                  <a:pt x="338" y="381"/>
                  <a:pt x="342" y="381"/>
                </a:cubicBezTo>
                <a:cubicBezTo>
                  <a:pt x="368" y="381"/>
                  <a:pt x="368" y="381"/>
                  <a:pt x="368" y="381"/>
                </a:cubicBezTo>
                <a:cubicBezTo>
                  <a:pt x="368" y="470"/>
                  <a:pt x="368" y="470"/>
                  <a:pt x="368" y="470"/>
                </a:cubicBezTo>
                <a:cubicBezTo>
                  <a:pt x="368" y="474"/>
                  <a:pt x="371" y="477"/>
                  <a:pt x="375" y="477"/>
                </a:cubicBezTo>
                <a:cubicBezTo>
                  <a:pt x="484" y="477"/>
                  <a:pt x="484" y="477"/>
                  <a:pt x="484" y="477"/>
                </a:cubicBezTo>
                <a:cubicBezTo>
                  <a:pt x="488" y="477"/>
                  <a:pt x="491" y="474"/>
                  <a:pt x="491" y="470"/>
                </a:cubicBezTo>
                <a:cubicBezTo>
                  <a:pt x="491" y="381"/>
                  <a:pt x="491" y="381"/>
                  <a:pt x="491" y="381"/>
                </a:cubicBezTo>
                <a:cubicBezTo>
                  <a:pt x="517" y="381"/>
                  <a:pt x="517" y="381"/>
                  <a:pt x="517" y="381"/>
                </a:cubicBezTo>
                <a:cubicBezTo>
                  <a:pt x="520" y="381"/>
                  <a:pt x="523" y="379"/>
                  <a:pt x="524" y="375"/>
                </a:cubicBezTo>
                <a:cubicBezTo>
                  <a:pt x="544" y="94"/>
                  <a:pt x="544" y="94"/>
                  <a:pt x="544" y="94"/>
                </a:cubicBezTo>
                <a:cubicBezTo>
                  <a:pt x="544" y="94"/>
                  <a:pt x="544" y="94"/>
                  <a:pt x="544" y="94"/>
                </a:cubicBezTo>
                <a:cubicBezTo>
                  <a:pt x="544" y="7"/>
                  <a:pt x="544" y="7"/>
                  <a:pt x="544" y="7"/>
                </a:cubicBezTo>
                <a:cubicBezTo>
                  <a:pt x="544" y="3"/>
                  <a:pt x="541" y="0"/>
                  <a:pt x="537" y="0"/>
                </a:cubicBezTo>
                <a:close/>
                <a:moveTo>
                  <a:pt x="530" y="14"/>
                </a:moveTo>
                <a:cubicBezTo>
                  <a:pt x="530" y="87"/>
                  <a:pt x="530" y="87"/>
                  <a:pt x="530" y="87"/>
                </a:cubicBezTo>
                <a:cubicBezTo>
                  <a:pt x="329" y="87"/>
                  <a:pt x="329" y="87"/>
                  <a:pt x="329" y="87"/>
                </a:cubicBezTo>
                <a:cubicBezTo>
                  <a:pt x="329" y="14"/>
                  <a:pt x="329" y="14"/>
                  <a:pt x="329" y="14"/>
                </a:cubicBezTo>
                <a:lnTo>
                  <a:pt x="530" y="14"/>
                </a:lnTo>
                <a:close/>
                <a:moveTo>
                  <a:pt x="193" y="280"/>
                </a:moveTo>
                <a:cubicBezTo>
                  <a:pt x="183" y="280"/>
                  <a:pt x="176" y="272"/>
                  <a:pt x="176" y="262"/>
                </a:cubicBezTo>
                <a:cubicBezTo>
                  <a:pt x="176" y="214"/>
                  <a:pt x="176" y="214"/>
                  <a:pt x="176" y="214"/>
                </a:cubicBezTo>
                <a:cubicBezTo>
                  <a:pt x="176" y="204"/>
                  <a:pt x="183" y="197"/>
                  <a:pt x="193" y="197"/>
                </a:cubicBezTo>
                <a:cubicBezTo>
                  <a:pt x="350" y="197"/>
                  <a:pt x="350" y="197"/>
                  <a:pt x="350" y="197"/>
                </a:cubicBezTo>
                <a:cubicBezTo>
                  <a:pt x="360" y="197"/>
                  <a:pt x="368" y="204"/>
                  <a:pt x="368" y="214"/>
                </a:cubicBezTo>
                <a:cubicBezTo>
                  <a:pt x="368" y="262"/>
                  <a:pt x="368" y="262"/>
                  <a:pt x="368" y="262"/>
                </a:cubicBezTo>
                <a:cubicBezTo>
                  <a:pt x="368" y="272"/>
                  <a:pt x="360" y="280"/>
                  <a:pt x="350" y="280"/>
                </a:cubicBezTo>
                <a:lnTo>
                  <a:pt x="193" y="280"/>
                </a:lnTo>
                <a:close/>
                <a:moveTo>
                  <a:pt x="215" y="14"/>
                </a:moveTo>
                <a:cubicBezTo>
                  <a:pt x="215" y="87"/>
                  <a:pt x="215" y="87"/>
                  <a:pt x="215" y="87"/>
                </a:cubicBezTo>
                <a:cubicBezTo>
                  <a:pt x="14" y="87"/>
                  <a:pt x="14" y="87"/>
                  <a:pt x="14" y="87"/>
                </a:cubicBezTo>
                <a:cubicBezTo>
                  <a:pt x="14" y="14"/>
                  <a:pt x="14" y="14"/>
                  <a:pt x="14" y="14"/>
                </a:cubicBezTo>
                <a:lnTo>
                  <a:pt x="215" y="14"/>
                </a:lnTo>
                <a:close/>
                <a:moveTo>
                  <a:pt x="162" y="463"/>
                </a:moveTo>
                <a:cubicBezTo>
                  <a:pt x="67" y="463"/>
                  <a:pt x="67" y="463"/>
                  <a:pt x="67" y="463"/>
                </a:cubicBezTo>
                <a:cubicBezTo>
                  <a:pt x="67" y="381"/>
                  <a:pt x="67" y="381"/>
                  <a:pt x="67" y="381"/>
                </a:cubicBezTo>
                <a:cubicBezTo>
                  <a:pt x="162" y="381"/>
                  <a:pt x="162" y="381"/>
                  <a:pt x="162" y="381"/>
                </a:cubicBezTo>
                <a:lnTo>
                  <a:pt x="162" y="463"/>
                </a:lnTo>
                <a:close/>
                <a:moveTo>
                  <a:pt x="195" y="367"/>
                </a:moveTo>
                <a:cubicBezTo>
                  <a:pt x="33" y="367"/>
                  <a:pt x="33" y="367"/>
                  <a:pt x="33" y="367"/>
                </a:cubicBezTo>
                <a:cubicBezTo>
                  <a:pt x="14" y="101"/>
                  <a:pt x="14" y="101"/>
                  <a:pt x="14" y="101"/>
                </a:cubicBezTo>
                <a:cubicBezTo>
                  <a:pt x="214" y="101"/>
                  <a:pt x="214" y="101"/>
                  <a:pt x="214" y="101"/>
                </a:cubicBezTo>
                <a:cubicBezTo>
                  <a:pt x="213" y="183"/>
                  <a:pt x="213" y="183"/>
                  <a:pt x="213" y="183"/>
                </a:cubicBezTo>
                <a:cubicBezTo>
                  <a:pt x="193" y="183"/>
                  <a:pt x="193" y="183"/>
                  <a:pt x="193" y="183"/>
                </a:cubicBezTo>
                <a:cubicBezTo>
                  <a:pt x="176" y="183"/>
                  <a:pt x="162" y="197"/>
                  <a:pt x="162" y="214"/>
                </a:cubicBezTo>
                <a:cubicBezTo>
                  <a:pt x="162" y="262"/>
                  <a:pt x="162" y="262"/>
                  <a:pt x="162" y="262"/>
                </a:cubicBezTo>
                <a:cubicBezTo>
                  <a:pt x="162" y="280"/>
                  <a:pt x="176" y="294"/>
                  <a:pt x="193" y="294"/>
                </a:cubicBezTo>
                <a:cubicBezTo>
                  <a:pt x="202" y="294"/>
                  <a:pt x="202" y="294"/>
                  <a:pt x="202" y="294"/>
                </a:cubicBezTo>
                <a:lnTo>
                  <a:pt x="195" y="367"/>
                </a:lnTo>
                <a:close/>
                <a:moveTo>
                  <a:pt x="477" y="463"/>
                </a:moveTo>
                <a:cubicBezTo>
                  <a:pt x="382" y="463"/>
                  <a:pt x="382" y="463"/>
                  <a:pt x="382" y="463"/>
                </a:cubicBezTo>
                <a:cubicBezTo>
                  <a:pt x="382" y="381"/>
                  <a:pt x="382" y="381"/>
                  <a:pt x="382" y="381"/>
                </a:cubicBezTo>
                <a:cubicBezTo>
                  <a:pt x="477" y="381"/>
                  <a:pt x="477" y="381"/>
                  <a:pt x="477" y="381"/>
                </a:cubicBezTo>
                <a:lnTo>
                  <a:pt x="477" y="463"/>
                </a:lnTo>
                <a:close/>
                <a:moveTo>
                  <a:pt x="510" y="367"/>
                </a:moveTo>
                <a:cubicBezTo>
                  <a:pt x="348" y="367"/>
                  <a:pt x="348" y="367"/>
                  <a:pt x="348" y="367"/>
                </a:cubicBezTo>
                <a:cubicBezTo>
                  <a:pt x="342" y="294"/>
                  <a:pt x="342" y="294"/>
                  <a:pt x="342" y="294"/>
                </a:cubicBezTo>
                <a:cubicBezTo>
                  <a:pt x="350" y="294"/>
                  <a:pt x="350" y="294"/>
                  <a:pt x="350" y="294"/>
                </a:cubicBezTo>
                <a:cubicBezTo>
                  <a:pt x="368" y="294"/>
                  <a:pt x="382" y="280"/>
                  <a:pt x="382" y="262"/>
                </a:cubicBezTo>
                <a:cubicBezTo>
                  <a:pt x="382" y="214"/>
                  <a:pt x="382" y="214"/>
                  <a:pt x="382" y="214"/>
                </a:cubicBezTo>
                <a:cubicBezTo>
                  <a:pt x="382" y="197"/>
                  <a:pt x="368" y="183"/>
                  <a:pt x="350" y="183"/>
                </a:cubicBezTo>
                <a:cubicBezTo>
                  <a:pt x="331" y="183"/>
                  <a:pt x="331" y="183"/>
                  <a:pt x="331" y="183"/>
                </a:cubicBezTo>
                <a:cubicBezTo>
                  <a:pt x="329" y="101"/>
                  <a:pt x="329" y="101"/>
                  <a:pt x="329" y="101"/>
                </a:cubicBezTo>
                <a:cubicBezTo>
                  <a:pt x="529" y="101"/>
                  <a:pt x="529" y="101"/>
                  <a:pt x="529" y="101"/>
                </a:cubicBezTo>
                <a:lnTo>
                  <a:pt x="510" y="36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7" name="Oval 50">
            <a:extLst>
              <a:ext uri="{FF2B5EF4-FFF2-40B4-BE49-F238E27FC236}">
                <a16:creationId xmlns:a16="http://schemas.microsoft.com/office/drawing/2014/main" id="{6BFA93B8-6207-42EE-8C2D-BD58CEC375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2535" y="796230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8" name="Freeform 112">
            <a:extLst>
              <a:ext uri="{FF2B5EF4-FFF2-40B4-BE49-F238E27FC236}">
                <a16:creationId xmlns:a16="http://schemas.microsoft.com/office/drawing/2014/main" id="{A3EDDEBC-905F-419D-B715-51F18EC888FB}"/>
              </a:ext>
            </a:extLst>
          </p:cNvPr>
          <p:cNvSpPr>
            <a:spLocks noEditPoints="1"/>
          </p:cNvSpPr>
          <p:nvPr/>
        </p:nvSpPr>
        <p:spPr bwMode="auto">
          <a:xfrm>
            <a:off x="4998393" y="968618"/>
            <a:ext cx="452110" cy="461724"/>
          </a:xfrm>
          <a:custGeom>
            <a:avLst/>
            <a:gdLst>
              <a:gd name="T0" fmla="*/ 359 w 584"/>
              <a:gd name="T1" fmla="*/ 163 h 595"/>
              <a:gd name="T2" fmla="*/ 7 w 584"/>
              <a:gd name="T3" fmla="*/ 163 h 595"/>
              <a:gd name="T4" fmla="*/ 0 w 584"/>
              <a:gd name="T5" fmla="*/ 281 h 595"/>
              <a:gd name="T6" fmla="*/ 30 w 584"/>
              <a:gd name="T7" fmla="*/ 288 h 595"/>
              <a:gd name="T8" fmla="*/ 37 w 584"/>
              <a:gd name="T9" fmla="*/ 595 h 595"/>
              <a:gd name="T10" fmla="*/ 359 w 584"/>
              <a:gd name="T11" fmla="*/ 595 h 595"/>
              <a:gd name="T12" fmla="*/ 554 w 584"/>
              <a:gd name="T13" fmla="*/ 588 h 595"/>
              <a:gd name="T14" fmla="*/ 577 w 584"/>
              <a:gd name="T15" fmla="*/ 288 h 595"/>
              <a:gd name="T16" fmla="*/ 584 w 584"/>
              <a:gd name="T17" fmla="*/ 170 h 595"/>
              <a:gd name="T18" fmla="*/ 14 w 584"/>
              <a:gd name="T19" fmla="*/ 177 h 595"/>
              <a:gd name="T20" fmla="*/ 218 w 584"/>
              <a:gd name="T21" fmla="*/ 274 h 595"/>
              <a:gd name="T22" fmla="*/ 14 w 584"/>
              <a:gd name="T23" fmla="*/ 177 h 595"/>
              <a:gd name="T24" fmla="*/ 218 w 584"/>
              <a:gd name="T25" fmla="*/ 288 h 595"/>
              <a:gd name="T26" fmla="*/ 44 w 584"/>
              <a:gd name="T27" fmla="*/ 581 h 595"/>
              <a:gd name="T28" fmla="*/ 232 w 584"/>
              <a:gd name="T29" fmla="*/ 581 h 595"/>
              <a:gd name="T30" fmla="*/ 352 w 584"/>
              <a:gd name="T31" fmla="*/ 177 h 595"/>
              <a:gd name="T32" fmla="*/ 232 w 584"/>
              <a:gd name="T33" fmla="*/ 581 h 595"/>
              <a:gd name="T34" fmla="*/ 366 w 584"/>
              <a:gd name="T35" fmla="*/ 581 h 595"/>
              <a:gd name="T36" fmla="*/ 540 w 584"/>
              <a:gd name="T37" fmla="*/ 288 h 595"/>
              <a:gd name="T38" fmla="*/ 570 w 584"/>
              <a:gd name="T39" fmla="*/ 274 h 595"/>
              <a:gd name="T40" fmla="*/ 366 w 584"/>
              <a:gd name="T41" fmla="*/ 177 h 595"/>
              <a:gd name="T42" fmla="*/ 570 w 584"/>
              <a:gd name="T43" fmla="*/ 274 h 595"/>
              <a:gd name="T44" fmla="*/ 292 w 584"/>
              <a:gd name="T45" fmla="*/ 141 h 595"/>
              <a:gd name="T46" fmla="*/ 480 w 584"/>
              <a:gd name="T47" fmla="*/ 114 h 595"/>
              <a:gd name="T48" fmla="*/ 451 w 584"/>
              <a:gd name="T49" fmla="*/ 0 h 595"/>
              <a:gd name="T50" fmla="*/ 292 w 584"/>
              <a:gd name="T51" fmla="*/ 127 h 595"/>
              <a:gd name="T52" fmla="*/ 133 w 584"/>
              <a:gd name="T53" fmla="*/ 0 h 595"/>
              <a:gd name="T54" fmla="*/ 104 w 584"/>
              <a:gd name="T55" fmla="*/ 114 h 595"/>
              <a:gd name="T56" fmla="*/ 369 w 584"/>
              <a:gd name="T57" fmla="*/ 77 h 595"/>
              <a:gd name="T58" fmla="*/ 492 w 584"/>
              <a:gd name="T59" fmla="*/ 57 h 595"/>
              <a:gd name="T60" fmla="*/ 400 w 584"/>
              <a:gd name="T61" fmla="*/ 127 h 595"/>
              <a:gd name="T62" fmla="*/ 369 w 584"/>
              <a:gd name="T63" fmla="*/ 77 h 595"/>
              <a:gd name="T64" fmla="*/ 215 w 584"/>
              <a:gd name="T65" fmla="*/ 77 h 595"/>
              <a:gd name="T66" fmla="*/ 184 w 584"/>
              <a:gd name="T67" fmla="*/ 127 h 595"/>
              <a:gd name="T68" fmla="*/ 91 w 584"/>
              <a:gd name="T69" fmla="*/ 57 h 5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84" h="595">
                <a:moveTo>
                  <a:pt x="577" y="163"/>
                </a:moveTo>
                <a:cubicBezTo>
                  <a:pt x="359" y="163"/>
                  <a:pt x="359" y="163"/>
                  <a:pt x="359" y="163"/>
                </a:cubicBezTo>
                <a:cubicBezTo>
                  <a:pt x="225" y="163"/>
                  <a:pt x="225" y="163"/>
                  <a:pt x="225" y="163"/>
                </a:cubicBezTo>
                <a:cubicBezTo>
                  <a:pt x="7" y="163"/>
                  <a:pt x="7" y="163"/>
                  <a:pt x="7" y="163"/>
                </a:cubicBezTo>
                <a:cubicBezTo>
                  <a:pt x="3" y="163"/>
                  <a:pt x="0" y="166"/>
                  <a:pt x="0" y="170"/>
                </a:cubicBezTo>
                <a:cubicBezTo>
                  <a:pt x="0" y="281"/>
                  <a:pt x="0" y="281"/>
                  <a:pt x="0" y="281"/>
                </a:cubicBezTo>
                <a:cubicBezTo>
                  <a:pt x="0" y="285"/>
                  <a:pt x="3" y="288"/>
                  <a:pt x="7" y="288"/>
                </a:cubicBezTo>
                <a:cubicBezTo>
                  <a:pt x="30" y="288"/>
                  <a:pt x="30" y="288"/>
                  <a:pt x="30" y="288"/>
                </a:cubicBezTo>
                <a:cubicBezTo>
                  <a:pt x="30" y="588"/>
                  <a:pt x="30" y="588"/>
                  <a:pt x="30" y="588"/>
                </a:cubicBezTo>
                <a:cubicBezTo>
                  <a:pt x="30" y="592"/>
                  <a:pt x="33" y="595"/>
                  <a:pt x="37" y="595"/>
                </a:cubicBezTo>
                <a:cubicBezTo>
                  <a:pt x="225" y="595"/>
                  <a:pt x="225" y="595"/>
                  <a:pt x="225" y="595"/>
                </a:cubicBezTo>
                <a:cubicBezTo>
                  <a:pt x="359" y="595"/>
                  <a:pt x="359" y="595"/>
                  <a:pt x="359" y="595"/>
                </a:cubicBezTo>
                <a:cubicBezTo>
                  <a:pt x="547" y="595"/>
                  <a:pt x="547" y="595"/>
                  <a:pt x="547" y="595"/>
                </a:cubicBezTo>
                <a:cubicBezTo>
                  <a:pt x="551" y="595"/>
                  <a:pt x="554" y="592"/>
                  <a:pt x="554" y="588"/>
                </a:cubicBezTo>
                <a:cubicBezTo>
                  <a:pt x="554" y="288"/>
                  <a:pt x="554" y="288"/>
                  <a:pt x="554" y="288"/>
                </a:cubicBezTo>
                <a:cubicBezTo>
                  <a:pt x="577" y="288"/>
                  <a:pt x="577" y="288"/>
                  <a:pt x="577" y="288"/>
                </a:cubicBezTo>
                <a:cubicBezTo>
                  <a:pt x="581" y="288"/>
                  <a:pt x="584" y="285"/>
                  <a:pt x="584" y="281"/>
                </a:cubicBezTo>
                <a:cubicBezTo>
                  <a:pt x="584" y="170"/>
                  <a:pt x="584" y="170"/>
                  <a:pt x="584" y="170"/>
                </a:cubicBezTo>
                <a:cubicBezTo>
                  <a:pt x="584" y="166"/>
                  <a:pt x="581" y="163"/>
                  <a:pt x="577" y="163"/>
                </a:cubicBezTo>
                <a:close/>
                <a:moveTo>
                  <a:pt x="14" y="177"/>
                </a:moveTo>
                <a:cubicBezTo>
                  <a:pt x="218" y="177"/>
                  <a:pt x="218" y="177"/>
                  <a:pt x="218" y="177"/>
                </a:cubicBezTo>
                <a:cubicBezTo>
                  <a:pt x="218" y="274"/>
                  <a:pt x="218" y="274"/>
                  <a:pt x="218" y="274"/>
                </a:cubicBezTo>
                <a:cubicBezTo>
                  <a:pt x="14" y="274"/>
                  <a:pt x="14" y="274"/>
                  <a:pt x="14" y="274"/>
                </a:cubicBezTo>
                <a:lnTo>
                  <a:pt x="14" y="177"/>
                </a:lnTo>
                <a:close/>
                <a:moveTo>
                  <a:pt x="44" y="288"/>
                </a:moveTo>
                <a:cubicBezTo>
                  <a:pt x="218" y="288"/>
                  <a:pt x="218" y="288"/>
                  <a:pt x="218" y="288"/>
                </a:cubicBezTo>
                <a:cubicBezTo>
                  <a:pt x="218" y="581"/>
                  <a:pt x="218" y="581"/>
                  <a:pt x="218" y="581"/>
                </a:cubicBezTo>
                <a:cubicBezTo>
                  <a:pt x="44" y="581"/>
                  <a:pt x="44" y="581"/>
                  <a:pt x="44" y="581"/>
                </a:cubicBezTo>
                <a:lnTo>
                  <a:pt x="44" y="288"/>
                </a:lnTo>
                <a:close/>
                <a:moveTo>
                  <a:pt x="232" y="581"/>
                </a:moveTo>
                <a:cubicBezTo>
                  <a:pt x="232" y="177"/>
                  <a:pt x="232" y="177"/>
                  <a:pt x="232" y="177"/>
                </a:cubicBezTo>
                <a:cubicBezTo>
                  <a:pt x="352" y="177"/>
                  <a:pt x="352" y="177"/>
                  <a:pt x="352" y="177"/>
                </a:cubicBezTo>
                <a:cubicBezTo>
                  <a:pt x="352" y="581"/>
                  <a:pt x="352" y="581"/>
                  <a:pt x="352" y="581"/>
                </a:cubicBezTo>
                <a:lnTo>
                  <a:pt x="232" y="581"/>
                </a:lnTo>
                <a:close/>
                <a:moveTo>
                  <a:pt x="540" y="581"/>
                </a:moveTo>
                <a:cubicBezTo>
                  <a:pt x="366" y="581"/>
                  <a:pt x="366" y="581"/>
                  <a:pt x="366" y="581"/>
                </a:cubicBezTo>
                <a:cubicBezTo>
                  <a:pt x="366" y="288"/>
                  <a:pt x="366" y="288"/>
                  <a:pt x="366" y="288"/>
                </a:cubicBezTo>
                <a:cubicBezTo>
                  <a:pt x="540" y="288"/>
                  <a:pt x="540" y="288"/>
                  <a:pt x="540" y="288"/>
                </a:cubicBezTo>
                <a:lnTo>
                  <a:pt x="540" y="581"/>
                </a:lnTo>
                <a:close/>
                <a:moveTo>
                  <a:pt x="570" y="274"/>
                </a:moveTo>
                <a:cubicBezTo>
                  <a:pt x="366" y="274"/>
                  <a:pt x="366" y="274"/>
                  <a:pt x="366" y="274"/>
                </a:cubicBezTo>
                <a:cubicBezTo>
                  <a:pt x="366" y="177"/>
                  <a:pt x="366" y="177"/>
                  <a:pt x="366" y="177"/>
                </a:cubicBezTo>
                <a:cubicBezTo>
                  <a:pt x="570" y="177"/>
                  <a:pt x="570" y="177"/>
                  <a:pt x="570" y="177"/>
                </a:cubicBezTo>
                <a:lnTo>
                  <a:pt x="570" y="274"/>
                </a:lnTo>
                <a:close/>
                <a:moveTo>
                  <a:pt x="184" y="141"/>
                </a:moveTo>
                <a:cubicBezTo>
                  <a:pt x="292" y="141"/>
                  <a:pt x="292" y="141"/>
                  <a:pt x="292" y="141"/>
                </a:cubicBezTo>
                <a:cubicBezTo>
                  <a:pt x="400" y="141"/>
                  <a:pt x="400" y="141"/>
                  <a:pt x="400" y="141"/>
                </a:cubicBezTo>
                <a:cubicBezTo>
                  <a:pt x="433" y="141"/>
                  <a:pt x="461" y="132"/>
                  <a:pt x="480" y="114"/>
                </a:cubicBezTo>
                <a:cubicBezTo>
                  <a:pt x="497" y="99"/>
                  <a:pt x="506" y="78"/>
                  <a:pt x="506" y="57"/>
                </a:cubicBezTo>
                <a:cubicBezTo>
                  <a:pt x="506" y="24"/>
                  <a:pt x="484" y="0"/>
                  <a:pt x="451" y="0"/>
                </a:cubicBezTo>
                <a:cubicBezTo>
                  <a:pt x="398" y="0"/>
                  <a:pt x="376" y="37"/>
                  <a:pt x="357" y="69"/>
                </a:cubicBezTo>
                <a:cubicBezTo>
                  <a:pt x="340" y="97"/>
                  <a:pt x="325" y="123"/>
                  <a:pt x="292" y="127"/>
                </a:cubicBezTo>
                <a:cubicBezTo>
                  <a:pt x="259" y="123"/>
                  <a:pt x="243" y="97"/>
                  <a:pt x="227" y="69"/>
                </a:cubicBezTo>
                <a:cubicBezTo>
                  <a:pt x="207" y="37"/>
                  <a:pt x="186" y="0"/>
                  <a:pt x="133" y="0"/>
                </a:cubicBezTo>
                <a:cubicBezTo>
                  <a:pt x="100" y="0"/>
                  <a:pt x="77" y="24"/>
                  <a:pt x="77" y="57"/>
                </a:cubicBezTo>
                <a:cubicBezTo>
                  <a:pt x="77" y="78"/>
                  <a:pt x="87" y="99"/>
                  <a:pt x="104" y="114"/>
                </a:cubicBezTo>
                <a:cubicBezTo>
                  <a:pt x="123" y="132"/>
                  <a:pt x="151" y="141"/>
                  <a:pt x="184" y="141"/>
                </a:cubicBezTo>
                <a:close/>
                <a:moveTo>
                  <a:pt x="369" y="77"/>
                </a:moveTo>
                <a:cubicBezTo>
                  <a:pt x="388" y="45"/>
                  <a:pt x="406" y="14"/>
                  <a:pt x="451" y="14"/>
                </a:cubicBezTo>
                <a:cubicBezTo>
                  <a:pt x="480" y="14"/>
                  <a:pt x="492" y="36"/>
                  <a:pt x="492" y="57"/>
                </a:cubicBezTo>
                <a:cubicBezTo>
                  <a:pt x="492" y="74"/>
                  <a:pt x="484" y="91"/>
                  <a:pt x="471" y="104"/>
                </a:cubicBezTo>
                <a:cubicBezTo>
                  <a:pt x="454" y="119"/>
                  <a:pt x="429" y="127"/>
                  <a:pt x="400" y="127"/>
                </a:cubicBezTo>
                <a:cubicBezTo>
                  <a:pt x="329" y="127"/>
                  <a:pt x="329" y="127"/>
                  <a:pt x="329" y="127"/>
                </a:cubicBezTo>
                <a:cubicBezTo>
                  <a:pt x="346" y="114"/>
                  <a:pt x="358" y="95"/>
                  <a:pt x="369" y="77"/>
                </a:cubicBezTo>
                <a:close/>
                <a:moveTo>
                  <a:pt x="133" y="14"/>
                </a:moveTo>
                <a:cubicBezTo>
                  <a:pt x="178" y="14"/>
                  <a:pt x="196" y="45"/>
                  <a:pt x="215" y="77"/>
                </a:cubicBezTo>
                <a:cubicBezTo>
                  <a:pt x="226" y="95"/>
                  <a:pt x="237" y="114"/>
                  <a:pt x="254" y="127"/>
                </a:cubicBezTo>
                <a:cubicBezTo>
                  <a:pt x="184" y="127"/>
                  <a:pt x="184" y="127"/>
                  <a:pt x="184" y="127"/>
                </a:cubicBezTo>
                <a:cubicBezTo>
                  <a:pt x="154" y="127"/>
                  <a:pt x="130" y="119"/>
                  <a:pt x="113" y="104"/>
                </a:cubicBezTo>
                <a:cubicBezTo>
                  <a:pt x="99" y="91"/>
                  <a:pt x="91" y="74"/>
                  <a:pt x="91" y="57"/>
                </a:cubicBezTo>
                <a:cubicBezTo>
                  <a:pt x="91" y="36"/>
                  <a:pt x="104" y="14"/>
                  <a:pt x="133" y="1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9" name="Oval 71">
            <a:extLst>
              <a:ext uri="{FF2B5EF4-FFF2-40B4-BE49-F238E27FC236}">
                <a16:creationId xmlns:a16="http://schemas.microsoft.com/office/drawing/2014/main" id="{70B2C14C-D611-4145-BFF2-092C9432C5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2865" y="4040869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0" name="Freeform 92">
            <a:extLst>
              <a:ext uri="{FF2B5EF4-FFF2-40B4-BE49-F238E27FC236}">
                <a16:creationId xmlns:a16="http://schemas.microsoft.com/office/drawing/2014/main" id="{76CC4CEE-E46C-45D6-8282-D5762BD362FE}"/>
              </a:ext>
            </a:extLst>
          </p:cNvPr>
          <p:cNvSpPr>
            <a:spLocks noEditPoints="1"/>
          </p:cNvSpPr>
          <p:nvPr/>
        </p:nvSpPr>
        <p:spPr bwMode="auto">
          <a:xfrm>
            <a:off x="3733536" y="4271055"/>
            <a:ext cx="488417" cy="363452"/>
          </a:xfrm>
          <a:custGeom>
            <a:avLst/>
            <a:gdLst>
              <a:gd name="T0" fmla="*/ 623 w 632"/>
              <a:gd name="T1" fmla="*/ 109 h 469"/>
              <a:gd name="T2" fmla="*/ 594 w 632"/>
              <a:gd name="T3" fmla="*/ 97 h 469"/>
              <a:gd name="T4" fmla="*/ 577 w 632"/>
              <a:gd name="T5" fmla="*/ 97 h 469"/>
              <a:gd name="T6" fmla="*/ 577 w 632"/>
              <a:gd name="T7" fmla="*/ 80 h 469"/>
              <a:gd name="T8" fmla="*/ 535 w 632"/>
              <a:gd name="T9" fmla="*/ 38 h 469"/>
              <a:gd name="T10" fmla="*/ 209 w 632"/>
              <a:gd name="T11" fmla="*/ 38 h 469"/>
              <a:gd name="T12" fmla="*/ 175 w 632"/>
              <a:gd name="T13" fmla="*/ 3 h 469"/>
              <a:gd name="T14" fmla="*/ 170 w 632"/>
              <a:gd name="T15" fmla="*/ 0 h 469"/>
              <a:gd name="T16" fmla="*/ 42 w 632"/>
              <a:gd name="T17" fmla="*/ 0 h 469"/>
              <a:gd name="T18" fmla="*/ 0 w 632"/>
              <a:gd name="T19" fmla="*/ 42 h 469"/>
              <a:gd name="T20" fmla="*/ 0 w 632"/>
              <a:gd name="T21" fmla="*/ 427 h 469"/>
              <a:gd name="T22" fmla="*/ 18 w 632"/>
              <a:gd name="T23" fmla="*/ 461 h 469"/>
              <a:gd name="T24" fmla="*/ 18 w 632"/>
              <a:gd name="T25" fmla="*/ 462 h 469"/>
              <a:gd name="T26" fmla="*/ 18 w 632"/>
              <a:gd name="T27" fmla="*/ 462 h 469"/>
              <a:gd name="T28" fmla="*/ 42 w 632"/>
              <a:gd name="T29" fmla="*/ 469 h 469"/>
              <a:gd name="T30" fmla="*/ 535 w 632"/>
              <a:gd name="T31" fmla="*/ 469 h 469"/>
              <a:gd name="T32" fmla="*/ 582 w 632"/>
              <a:gd name="T33" fmla="*/ 432 h 469"/>
              <a:gd name="T34" fmla="*/ 631 w 632"/>
              <a:gd name="T35" fmla="*/ 136 h 469"/>
              <a:gd name="T36" fmla="*/ 623 w 632"/>
              <a:gd name="T37" fmla="*/ 109 h 469"/>
              <a:gd name="T38" fmla="*/ 42 w 632"/>
              <a:gd name="T39" fmla="*/ 14 h 469"/>
              <a:gd name="T40" fmla="*/ 167 w 632"/>
              <a:gd name="T41" fmla="*/ 14 h 469"/>
              <a:gd name="T42" fmla="*/ 200 w 632"/>
              <a:gd name="T43" fmla="*/ 50 h 469"/>
              <a:gd name="T44" fmla="*/ 206 w 632"/>
              <a:gd name="T45" fmla="*/ 52 h 469"/>
              <a:gd name="T46" fmla="*/ 535 w 632"/>
              <a:gd name="T47" fmla="*/ 52 h 469"/>
              <a:gd name="T48" fmla="*/ 563 w 632"/>
              <a:gd name="T49" fmla="*/ 80 h 469"/>
              <a:gd name="T50" fmla="*/ 563 w 632"/>
              <a:gd name="T51" fmla="*/ 97 h 469"/>
              <a:gd name="T52" fmla="*/ 101 w 632"/>
              <a:gd name="T53" fmla="*/ 97 h 469"/>
              <a:gd name="T54" fmla="*/ 54 w 632"/>
              <a:gd name="T55" fmla="*/ 134 h 469"/>
              <a:gd name="T56" fmla="*/ 14 w 632"/>
              <a:gd name="T57" fmla="*/ 377 h 469"/>
              <a:gd name="T58" fmla="*/ 14 w 632"/>
              <a:gd name="T59" fmla="*/ 42 h 469"/>
              <a:gd name="T60" fmla="*/ 42 w 632"/>
              <a:gd name="T61" fmla="*/ 14 h 469"/>
              <a:gd name="T62" fmla="*/ 617 w 632"/>
              <a:gd name="T63" fmla="*/ 134 h 469"/>
              <a:gd name="T64" fmla="*/ 568 w 632"/>
              <a:gd name="T65" fmla="*/ 430 h 469"/>
              <a:gd name="T66" fmla="*/ 535 w 632"/>
              <a:gd name="T67" fmla="*/ 455 h 469"/>
              <a:gd name="T68" fmla="*/ 42 w 632"/>
              <a:gd name="T69" fmla="*/ 455 h 469"/>
              <a:gd name="T70" fmla="*/ 26 w 632"/>
              <a:gd name="T71" fmla="*/ 450 h 469"/>
              <a:gd name="T72" fmla="*/ 23 w 632"/>
              <a:gd name="T73" fmla="*/ 447 h 469"/>
              <a:gd name="T74" fmla="*/ 19 w 632"/>
              <a:gd name="T75" fmla="*/ 432 h 469"/>
              <a:gd name="T76" fmla="*/ 68 w 632"/>
              <a:gd name="T77" fmla="*/ 136 h 469"/>
              <a:gd name="T78" fmla="*/ 101 w 632"/>
              <a:gd name="T79" fmla="*/ 111 h 469"/>
              <a:gd name="T80" fmla="*/ 594 w 632"/>
              <a:gd name="T81" fmla="*/ 111 h 469"/>
              <a:gd name="T82" fmla="*/ 613 w 632"/>
              <a:gd name="T83" fmla="*/ 118 h 469"/>
              <a:gd name="T84" fmla="*/ 617 w 632"/>
              <a:gd name="T85" fmla="*/ 134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32" h="469">
                <a:moveTo>
                  <a:pt x="623" y="109"/>
                </a:moveTo>
                <a:cubicBezTo>
                  <a:pt x="617" y="101"/>
                  <a:pt x="606" y="97"/>
                  <a:pt x="594" y="97"/>
                </a:cubicBezTo>
                <a:cubicBezTo>
                  <a:pt x="577" y="97"/>
                  <a:pt x="577" y="97"/>
                  <a:pt x="577" y="97"/>
                </a:cubicBezTo>
                <a:cubicBezTo>
                  <a:pt x="577" y="80"/>
                  <a:pt x="577" y="80"/>
                  <a:pt x="577" y="80"/>
                </a:cubicBezTo>
                <a:cubicBezTo>
                  <a:pt x="577" y="57"/>
                  <a:pt x="558" y="38"/>
                  <a:pt x="535" y="38"/>
                </a:cubicBezTo>
                <a:cubicBezTo>
                  <a:pt x="209" y="38"/>
                  <a:pt x="209" y="38"/>
                  <a:pt x="209" y="38"/>
                </a:cubicBezTo>
                <a:cubicBezTo>
                  <a:pt x="175" y="3"/>
                  <a:pt x="175" y="3"/>
                  <a:pt x="175" y="3"/>
                </a:cubicBezTo>
                <a:cubicBezTo>
                  <a:pt x="174" y="1"/>
                  <a:pt x="172" y="0"/>
                  <a:pt x="170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19" y="0"/>
                  <a:pt x="0" y="19"/>
                  <a:pt x="0" y="42"/>
                </a:cubicBezTo>
                <a:cubicBezTo>
                  <a:pt x="0" y="427"/>
                  <a:pt x="0" y="427"/>
                  <a:pt x="0" y="427"/>
                </a:cubicBezTo>
                <a:cubicBezTo>
                  <a:pt x="0" y="441"/>
                  <a:pt x="7" y="454"/>
                  <a:pt x="18" y="461"/>
                </a:cubicBezTo>
                <a:cubicBezTo>
                  <a:pt x="18" y="462"/>
                  <a:pt x="18" y="462"/>
                  <a:pt x="18" y="462"/>
                </a:cubicBezTo>
                <a:cubicBezTo>
                  <a:pt x="18" y="462"/>
                  <a:pt x="18" y="462"/>
                  <a:pt x="18" y="462"/>
                </a:cubicBezTo>
                <a:cubicBezTo>
                  <a:pt x="25" y="467"/>
                  <a:pt x="33" y="469"/>
                  <a:pt x="42" y="469"/>
                </a:cubicBezTo>
                <a:cubicBezTo>
                  <a:pt x="535" y="469"/>
                  <a:pt x="535" y="469"/>
                  <a:pt x="535" y="469"/>
                </a:cubicBezTo>
                <a:cubicBezTo>
                  <a:pt x="558" y="469"/>
                  <a:pt x="578" y="453"/>
                  <a:pt x="582" y="432"/>
                </a:cubicBezTo>
                <a:cubicBezTo>
                  <a:pt x="631" y="136"/>
                  <a:pt x="631" y="136"/>
                  <a:pt x="631" y="136"/>
                </a:cubicBezTo>
                <a:cubicBezTo>
                  <a:pt x="632" y="126"/>
                  <a:pt x="630" y="117"/>
                  <a:pt x="623" y="109"/>
                </a:cubicBezTo>
                <a:close/>
                <a:moveTo>
                  <a:pt x="42" y="14"/>
                </a:moveTo>
                <a:cubicBezTo>
                  <a:pt x="167" y="14"/>
                  <a:pt x="167" y="14"/>
                  <a:pt x="167" y="14"/>
                </a:cubicBezTo>
                <a:cubicBezTo>
                  <a:pt x="200" y="50"/>
                  <a:pt x="200" y="50"/>
                  <a:pt x="200" y="50"/>
                </a:cubicBezTo>
                <a:cubicBezTo>
                  <a:pt x="202" y="51"/>
                  <a:pt x="204" y="52"/>
                  <a:pt x="206" y="52"/>
                </a:cubicBezTo>
                <a:cubicBezTo>
                  <a:pt x="535" y="52"/>
                  <a:pt x="535" y="52"/>
                  <a:pt x="535" y="52"/>
                </a:cubicBezTo>
                <a:cubicBezTo>
                  <a:pt x="550" y="52"/>
                  <a:pt x="563" y="65"/>
                  <a:pt x="563" y="80"/>
                </a:cubicBezTo>
                <a:cubicBezTo>
                  <a:pt x="563" y="97"/>
                  <a:pt x="563" y="97"/>
                  <a:pt x="563" y="97"/>
                </a:cubicBezTo>
                <a:cubicBezTo>
                  <a:pt x="101" y="97"/>
                  <a:pt x="101" y="97"/>
                  <a:pt x="101" y="97"/>
                </a:cubicBezTo>
                <a:cubicBezTo>
                  <a:pt x="78" y="97"/>
                  <a:pt x="57" y="113"/>
                  <a:pt x="54" y="134"/>
                </a:cubicBezTo>
                <a:cubicBezTo>
                  <a:pt x="14" y="377"/>
                  <a:pt x="14" y="377"/>
                  <a:pt x="14" y="377"/>
                </a:cubicBezTo>
                <a:cubicBezTo>
                  <a:pt x="14" y="42"/>
                  <a:pt x="14" y="42"/>
                  <a:pt x="14" y="42"/>
                </a:cubicBezTo>
                <a:cubicBezTo>
                  <a:pt x="14" y="27"/>
                  <a:pt x="26" y="14"/>
                  <a:pt x="42" y="14"/>
                </a:cubicBezTo>
                <a:close/>
                <a:moveTo>
                  <a:pt x="617" y="134"/>
                </a:moveTo>
                <a:cubicBezTo>
                  <a:pt x="568" y="430"/>
                  <a:pt x="568" y="430"/>
                  <a:pt x="568" y="430"/>
                </a:cubicBezTo>
                <a:cubicBezTo>
                  <a:pt x="566" y="443"/>
                  <a:pt x="551" y="455"/>
                  <a:pt x="535" y="455"/>
                </a:cubicBezTo>
                <a:cubicBezTo>
                  <a:pt x="42" y="455"/>
                  <a:pt x="42" y="455"/>
                  <a:pt x="42" y="455"/>
                </a:cubicBezTo>
                <a:cubicBezTo>
                  <a:pt x="36" y="455"/>
                  <a:pt x="31" y="453"/>
                  <a:pt x="26" y="450"/>
                </a:cubicBezTo>
                <a:cubicBezTo>
                  <a:pt x="25" y="449"/>
                  <a:pt x="24" y="448"/>
                  <a:pt x="23" y="447"/>
                </a:cubicBezTo>
                <a:cubicBezTo>
                  <a:pt x="19" y="443"/>
                  <a:pt x="18" y="438"/>
                  <a:pt x="19" y="432"/>
                </a:cubicBezTo>
                <a:cubicBezTo>
                  <a:pt x="68" y="136"/>
                  <a:pt x="68" y="136"/>
                  <a:pt x="68" y="136"/>
                </a:cubicBezTo>
                <a:cubicBezTo>
                  <a:pt x="70" y="122"/>
                  <a:pt x="85" y="111"/>
                  <a:pt x="101" y="111"/>
                </a:cubicBezTo>
                <a:cubicBezTo>
                  <a:pt x="594" y="111"/>
                  <a:pt x="594" y="111"/>
                  <a:pt x="594" y="111"/>
                </a:cubicBezTo>
                <a:cubicBezTo>
                  <a:pt x="602" y="111"/>
                  <a:pt x="609" y="114"/>
                  <a:pt x="613" y="118"/>
                </a:cubicBezTo>
                <a:cubicBezTo>
                  <a:pt x="616" y="123"/>
                  <a:pt x="618" y="128"/>
                  <a:pt x="617" y="13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1" name="Oval 68">
            <a:extLst>
              <a:ext uri="{FF2B5EF4-FFF2-40B4-BE49-F238E27FC236}">
                <a16:creationId xmlns:a16="http://schemas.microsoft.com/office/drawing/2014/main" id="{CA7BECDC-C62F-4DDF-81B5-95BCC1122F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1095" y="4040869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2" name="Freeform 95">
            <a:extLst>
              <a:ext uri="{FF2B5EF4-FFF2-40B4-BE49-F238E27FC236}">
                <a16:creationId xmlns:a16="http://schemas.microsoft.com/office/drawing/2014/main" id="{F85D63C3-B828-4B4B-9FA2-1A55094824F0}"/>
              </a:ext>
            </a:extLst>
          </p:cNvPr>
          <p:cNvSpPr>
            <a:spLocks noEditPoints="1"/>
          </p:cNvSpPr>
          <p:nvPr/>
        </p:nvSpPr>
        <p:spPr bwMode="auto">
          <a:xfrm>
            <a:off x="7708585" y="4213941"/>
            <a:ext cx="311204" cy="476815"/>
          </a:xfrm>
          <a:custGeom>
            <a:avLst/>
            <a:gdLst>
              <a:gd name="T0" fmla="*/ 395 w 402"/>
              <a:gd name="T1" fmla="*/ 615 h 615"/>
              <a:gd name="T2" fmla="*/ 7 w 402"/>
              <a:gd name="T3" fmla="*/ 615 h 615"/>
              <a:gd name="T4" fmla="*/ 0 w 402"/>
              <a:gd name="T5" fmla="*/ 608 h 615"/>
              <a:gd name="T6" fmla="*/ 0 w 402"/>
              <a:gd name="T7" fmla="*/ 7 h 615"/>
              <a:gd name="T8" fmla="*/ 7 w 402"/>
              <a:gd name="T9" fmla="*/ 0 h 615"/>
              <a:gd name="T10" fmla="*/ 395 w 402"/>
              <a:gd name="T11" fmla="*/ 0 h 615"/>
              <a:gd name="T12" fmla="*/ 402 w 402"/>
              <a:gd name="T13" fmla="*/ 7 h 615"/>
              <a:gd name="T14" fmla="*/ 395 w 402"/>
              <a:gd name="T15" fmla="*/ 14 h 615"/>
              <a:gd name="T16" fmla="*/ 14 w 402"/>
              <a:gd name="T17" fmla="*/ 14 h 615"/>
              <a:gd name="T18" fmla="*/ 14 w 402"/>
              <a:gd name="T19" fmla="*/ 601 h 615"/>
              <a:gd name="T20" fmla="*/ 395 w 402"/>
              <a:gd name="T21" fmla="*/ 601 h 615"/>
              <a:gd name="T22" fmla="*/ 402 w 402"/>
              <a:gd name="T23" fmla="*/ 608 h 615"/>
              <a:gd name="T24" fmla="*/ 395 w 402"/>
              <a:gd name="T25" fmla="*/ 615 h 615"/>
              <a:gd name="T26" fmla="*/ 133 w 402"/>
              <a:gd name="T27" fmla="*/ 312 h 615"/>
              <a:gd name="T28" fmla="*/ 92 w 402"/>
              <a:gd name="T29" fmla="*/ 271 h 615"/>
              <a:gd name="T30" fmla="*/ 51 w 402"/>
              <a:gd name="T31" fmla="*/ 312 h 615"/>
              <a:gd name="T32" fmla="*/ 92 w 402"/>
              <a:gd name="T33" fmla="*/ 353 h 615"/>
              <a:gd name="T34" fmla="*/ 133 w 402"/>
              <a:gd name="T35" fmla="*/ 312 h 615"/>
              <a:gd name="T36" fmla="*/ 119 w 402"/>
              <a:gd name="T37" fmla="*/ 312 h 615"/>
              <a:gd name="T38" fmla="*/ 92 w 402"/>
              <a:gd name="T39" fmla="*/ 339 h 615"/>
              <a:gd name="T40" fmla="*/ 65 w 402"/>
              <a:gd name="T41" fmla="*/ 312 h 615"/>
              <a:gd name="T42" fmla="*/ 92 w 402"/>
              <a:gd name="T43" fmla="*/ 285 h 615"/>
              <a:gd name="T44" fmla="*/ 119 w 402"/>
              <a:gd name="T45" fmla="*/ 312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02" h="615">
                <a:moveTo>
                  <a:pt x="395" y="615"/>
                </a:moveTo>
                <a:cubicBezTo>
                  <a:pt x="7" y="615"/>
                  <a:pt x="7" y="615"/>
                  <a:pt x="7" y="615"/>
                </a:cubicBezTo>
                <a:cubicBezTo>
                  <a:pt x="3" y="615"/>
                  <a:pt x="0" y="612"/>
                  <a:pt x="0" y="608"/>
                </a:cubicBezTo>
                <a:cubicBezTo>
                  <a:pt x="0" y="7"/>
                  <a:pt x="0" y="7"/>
                  <a:pt x="0" y="7"/>
                </a:cubicBezTo>
                <a:cubicBezTo>
                  <a:pt x="0" y="3"/>
                  <a:pt x="3" y="0"/>
                  <a:pt x="7" y="0"/>
                </a:cubicBezTo>
                <a:cubicBezTo>
                  <a:pt x="395" y="0"/>
                  <a:pt x="395" y="0"/>
                  <a:pt x="395" y="0"/>
                </a:cubicBezTo>
                <a:cubicBezTo>
                  <a:pt x="399" y="0"/>
                  <a:pt x="402" y="3"/>
                  <a:pt x="402" y="7"/>
                </a:cubicBezTo>
                <a:cubicBezTo>
                  <a:pt x="402" y="11"/>
                  <a:pt x="399" y="14"/>
                  <a:pt x="395" y="14"/>
                </a:cubicBezTo>
                <a:cubicBezTo>
                  <a:pt x="14" y="14"/>
                  <a:pt x="14" y="14"/>
                  <a:pt x="14" y="14"/>
                </a:cubicBezTo>
                <a:cubicBezTo>
                  <a:pt x="14" y="601"/>
                  <a:pt x="14" y="601"/>
                  <a:pt x="14" y="601"/>
                </a:cubicBezTo>
                <a:cubicBezTo>
                  <a:pt x="395" y="601"/>
                  <a:pt x="395" y="601"/>
                  <a:pt x="395" y="601"/>
                </a:cubicBezTo>
                <a:cubicBezTo>
                  <a:pt x="399" y="601"/>
                  <a:pt x="402" y="604"/>
                  <a:pt x="402" y="608"/>
                </a:cubicBezTo>
                <a:cubicBezTo>
                  <a:pt x="402" y="612"/>
                  <a:pt x="399" y="615"/>
                  <a:pt x="395" y="615"/>
                </a:cubicBezTo>
                <a:close/>
                <a:moveTo>
                  <a:pt x="133" y="312"/>
                </a:moveTo>
                <a:cubicBezTo>
                  <a:pt x="133" y="289"/>
                  <a:pt x="115" y="271"/>
                  <a:pt x="92" y="271"/>
                </a:cubicBezTo>
                <a:cubicBezTo>
                  <a:pt x="70" y="271"/>
                  <a:pt x="51" y="289"/>
                  <a:pt x="51" y="312"/>
                </a:cubicBezTo>
                <a:cubicBezTo>
                  <a:pt x="51" y="335"/>
                  <a:pt x="70" y="353"/>
                  <a:pt x="92" y="353"/>
                </a:cubicBezTo>
                <a:cubicBezTo>
                  <a:pt x="115" y="353"/>
                  <a:pt x="133" y="335"/>
                  <a:pt x="133" y="312"/>
                </a:cubicBezTo>
                <a:close/>
                <a:moveTo>
                  <a:pt x="119" y="312"/>
                </a:moveTo>
                <a:cubicBezTo>
                  <a:pt x="119" y="327"/>
                  <a:pt x="107" y="339"/>
                  <a:pt x="92" y="339"/>
                </a:cubicBezTo>
                <a:cubicBezTo>
                  <a:pt x="77" y="339"/>
                  <a:pt x="65" y="327"/>
                  <a:pt x="65" y="312"/>
                </a:cubicBezTo>
                <a:cubicBezTo>
                  <a:pt x="65" y="297"/>
                  <a:pt x="77" y="285"/>
                  <a:pt x="92" y="285"/>
                </a:cubicBezTo>
                <a:cubicBezTo>
                  <a:pt x="107" y="285"/>
                  <a:pt x="119" y="297"/>
                  <a:pt x="119" y="3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3" name="Oval 69">
            <a:extLst>
              <a:ext uri="{FF2B5EF4-FFF2-40B4-BE49-F238E27FC236}">
                <a16:creationId xmlns:a16="http://schemas.microsoft.com/office/drawing/2014/main" id="{8B7C89BF-D2D7-4820-A6BA-C792816CEF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8352" y="4040869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4" name="Freeform 96">
            <a:extLst>
              <a:ext uri="{FF2B5EF4-FFF2-40B4-BE49-F238E27FC236}">
                <a16:creationId xmlns:a16="http://schemas.microsoft.com/office/drawing/2014/main" id="{02970AC1-328D-4FBE-A8DD-A492107ECAF6}"/>
              </a:ext>
            </a:extLst>
          </p:cNvPr>
          <p:cNvSpPr>
            <a:spLocks noEditPoints="1"/>
          </p:cNvSpPr>
          <p:nvPr/>
        </p:nvSpPr>
        <p:spPr bwMode="auto">
          <a:xfrm>
            <a:off x="6288060" y="4177596"/>
            <a:ext cx="509699" cy="549506"/>
          </a:xfrm>
          <a:custGeom>
            <a:avLst/>
            <a:gdLst>
              <a:gd name="T0" fmla="*/ 430 w 658"/>
              <a:gd name="T1" fmla="*/ 439 h 709"/>
              <a:gd name="T2" fmla="*/ 430 w 658"/>
              <a:gd name="T3" fmla="*/ 352 h 709"/>
              <a:gd name="T4" fmla="*/ 449 w 658"/>
              <a:gd name="T5" fmla="*/ 396 h 709"/>
              <a:gd name="T6" fmla="*/ 411 w 658"/>
              <a:gd name="T7" fmla="*/ 396 h 709"/>
              <a:gd name="T8" fmla="*/ 449 w 658"/>
              <a:gd name="T9" fmla="*/ 396 h 709"/>
              <a:gd name="T10" fmla="*/ 648 w 658"/>
              <a:gd name="T11" fmla="*/ 615 h 709"/>
              <a:gd name="T12" fmla="*/ 366 w 658"/>
              <a:gd name="T13" fmla="*/ 93 h 709"/>
              <a:gd name="T14" fmla="*/ 647 w 658"/>
              <a:gd name="T15" fmla="*/ 7 h 709"/>
              <a:gd name="T16" fmla="*/ 228 w 658"/>
              <a:gd name="T17" fmla="*/ 0 h 709"/>
              <a:gd name="T18" fmla="*/ 221 w 658"/>
              <a:gd name="T19" fmla="*/ 256 h 709"/>
              <a:gd name="T20" fmla="*/ 146 w 658"/>
              <a:gd name="T21" fmla="*/ 204 h 709"/>
              <a:gd name="T22" fmla="*/ 258 w 658"/>
              <a:gd name="T23" fmla="*/ 305 h 709"/>
              <a:gd name="T24" fmla="*/ 0 w 658"/>
              <a:gd name="T25" fmla="*/ 312 h 709"/>
              <a:gd name="T26" fmla="*/ 258 w 658"/>
              <a:gd name="T27" fmla="*/ 319 h 709"/>
              <a:gd name="T28" fmla="*/ 146 w 658"/>
              <a:gd name="T29" fmla="*/ 421 h 709"/>
              <a:gd name="T30" fmla="*/ 156 w 658"/>
              <a:gd name="T31" fmla="*/ 422 h 709"/>
              <a:gd name="T32" fmla="*/ 221 w 658"/>
              <a:gd name="T33" fmla="*/ 622 h 709"/>
              <a:gd name="T34" fmla="*/ 352 w 658"/>
              <a:gd name="T35" fmla="*/ 629 h 709"/>
              <a:gd name="T36" fmla="*/ 355 w 658"/>
              <a:gd name="T37" fmla="*/ 708 h 709"/>
              <a:gd name="T38" fmla="*/ 361 w 658"/>
              <a:gd name="T39" fmla="*/ 709 h 709"/>
              <a:gd name="T40" fmla="*/ 657 w 658"/>
              <a:gd name="T41" fmla="*/ 620 h 709"/>
              <a:gd name="T42" fmla="*/ 235 w 658"/>
              <a:gd name="T43" fmla="*/ 356 h 709"/>
              <a:gd name="T44" fmla="*/ 282 w 658"/>
              <a:gd name="T45" fmla="*/ 317 h 709"/>
              <a:gd name="T46" fmla="*/ 283 w 658"/>
              <a:gd name="T47" fmla="*/ 316 h 709"/>
              <a:gd name="T48" fmla="*/ 284 w 658"/>
              <a:gd name="T49" fmla="*/ 315 h 709"/>
              <a:gd name="T50" fmla="*/ 284 w 658"/>
              <a:gd name="T51" fmla="*/ 314 h 709"/>
              <a:gd name="T52" fmla="*/ 284 w 658"/>
              <a:gd name="T53" fmla="*/ 311 h 709"/>
              <a:gd name="T54" fmla="*/ 284 w 658"/>
              <a:gd name="T55" fmla="*/ 309 h 709"/>
              <a:gd name="T56" fmla="*/ 283 w 658"/>
              <a:gd name="T57" fmla="*/ 308 h 709"/>
              <a:gd name="T58" fmla="*/ 282 w 658"/>
              <a:gd name="T59" fmla="*/ 307 h 709"/>
              <a:gd name="T60" fmla="*/ 235 w 658"/>
              <a:gd name="T61" fmla="*/ 268 h 709"/>
              <a:gd name="T62" fmla="*/ 590 w 658"/>
              <a:gd name="T63" fmla="*/ 14 h 709"/>
              <a:gd name="T64" fmla="*/ 352 w 658"/>
              <a:gd name="T65" fmla="*/ 88 h 709"/>
              <a:gd name="T66" fmla="*/ 235 w 658"/>
              <a:gd name="T67" fmla="*/ 615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58" h="709">
                <a:moveTo>
                  <a:pt x="397" y="396"/>
                </a:moveTo>
                <a:cubicBezTo>
                  <a:pt x="397" y="420"/>
                  <a:pt x="412" y="439"/>
                  <a:pt x="430" y="439"/>
                </a:cubicBezTo>
                <a:cubicBezTo>
                  <a:pt x="449" y="439"/>
                  <a:pt x="463" y="420"/>
                  <a:pt x="463" y="396"/>
                </a:cubicBezTo>
                <a:cubicBezTo>
                  <a:pt x="463" y="371"/>
                  <a:pt x="449" y="352"/>
                  <a:pt x="430" y="352"/>
                </a:cubicBezTo>
                <a:cubicBezTo>
                  <a:pt x="412" y="352"/>
                  <a:pt x="397" y="371"/>
                  <a:pt x="397" y="396"/>
                </a:cubicBezTo>
                <a:close/>
                <a:moveTo>
                  <a:pt x="449" y="396"/>
                </a:moveTo>
                <a:cubicBezTo>
                  <a:pt x="449" y="412"/>
                  <a:pt x="440" y="425"/>
                  <a:pt x="430" y="425"/>
                </a:cubicBezTo>
                <a:cubicBezTo>
                  <a:pt x="420" y="425"/>
                  <a:pt x="411" y="412"/>
                  <a:pt x="411" y="396"/>
                </a:cubicBezTo>
                <a:cubicBezTo>
                  <a:pt x="411" y="380"/>
                  <a:pt x="420" y="366"/>
                  <a:pt x="430" y="366"/>
                </a:cubicBezTo>
                <a:cubicBezTo>
                  <a:pt x="440" y="366"/>
                  <a:pt x="449" y="380"/>
                  <a:pt x="449" y="396"/>
                </a:cubicBezTo>
                <a:close/>
                <a:moveTo>
                  <a:pt x="657" y="620"/>
                </a:moveTo>
                <a:cubicBezTo>
                  <a:pt x="656" y="616"/>
                  <a:pt x="652" y="614"/>
                  <a:pt x="648" y="615"/>
                </a:cubicBezTo>
                <a:cubicBezTo>
                  <a:pt x="366" y="693"/>
                  <a:pt x="366" y="693"/>
                  <a:pt x="366" y="693"/>
                </a:cubicBezTo>
                <a:cubicBezTo>
                  <a:pt x="366" y="93"/>
                  <a:pt x="366" y="93"/>
                  <a:pt x="366" y="93"/>
                </a:cubicBezTo>
                <a:cubicBezTo>
                  <a:pt x="641" y="14"/>
                  <a:pt x="641" y="14"/>
                  <a:pt x="641" y="14"/>
                </a:cubicBezTo>
                <a:cubicBezTo>
                  <a:pt x="645" y="13"/>
                  <a:pt x="647" y="10"/>
                  <a:pt x="647" y="7"/>
                </a:cubicBezTo>
                <a:cubicBezTo>
                  <a:pt x="646" y="3"/>
                  <a:pt x="643" y="0"/>
                  <a:pt x="640" y="0"/>
                </a:cubicBezTo>
                <a:cubicBezTo>
                  <a:pt x="228" y="0"/>
                  <a:pt x="228" y="0"/>
                  <a:pt x="228" y="0"/>
                </a:cubicBezTo>
                <a:cubicBezTo>
                  <a:pt x="224" y="0"/>
                  <a:pt x="221" y="4"/>
                  <a:pt x="221" y="7"/>
                </a:cubicBezTo>
                <a:cubicBezTo>
                  <a:pt x="221" y="256"/>
                  <a:pt x="221" y="256"/>
                  <a:pt x="221" y="256"/>
                </a:cubicBezTo>
                <a:cubicBezTo>
                  <a:pt x="156" y="203"/>
                  <a:pt x="156" y="203"/>
                  <a:pt x="156" y="203"/>
                </a:cubicBezTo>
                <a:cubicBezTo>
                  <a:pt x="153" y="200"/>
                  <a:pt x="149" y="201"/>
                  <a:pt x="146" y="204"/>
                </a:cubicBezTo>
                <a:cubicBezTo>
                  <a:pt x="144" y="207"/>
                  <a:pt x="144" y="211"/>
                  <a:pt x="147" y="213"/>
                </a:cubicBezTo>
                <a:cubicBezTo>
                  <a:pt x="258" y="305"/>
                  <a:pt x="258" y="305"/>
                  <a:pt x="258" y="305"/>
                </a:cubicBezTo>
                <a:cubicBezTo>
                  <a:pt x="7" y="305"/>
                  <a:pt x="7" y="305"/>
                  <a:pt x="7" y="305"/>
                </a:cubicBezTo>
                <a:cubicBezTo>
                  <a:pt x="3" y="305"/>
                  <a:pt x="0" y="308"/>
                  <a:pt x="0" y="312"/>
                </a:cubicBezTo>
                <a:cubicBezTo>
                  <a:pt x="0" y="316"/>
                  <a:pt x="3" y="319"/>
                  <a:pt x="7" y="319"/>
                </a:cubicBezTo>
                <a:cubicBezTo>
                  <a:pt x="258" y="319"/>
                  <a:pt x="258" y="319"/>
                  <a:pt x="258" y="319"/>
                </a:cubicBezTo>
                <a:cubicBezTo>
                  <a:pt x="147" y="411"/>
                  <a:pt x="147" y="411"/>
                  <a:pt x="147" y="411"/>
                </a:cubicBezTo>
                <a:cubicBezTo>
                  <a:pt x="144" y="413"/>
                  <a:pt x="144" y="418"/>
                  <a:pt x="146" y="421"/>
                </a:cubicBezTo>
                <a:cubicBezTo>
                  <a:pt x="148" y="422"/>
                  <a:pt x="150" y="423"/>
                  <a:pt x="152" y="423"/>
                </a:cubicBezTo>
                <a:cubicBezTo>
                  <a:pt x="153" y="423"/>
                  <a:pt x="155" y="423"/>
                  <a:pt x="156" y="422"/>
                </a:cubicBezTo>
                <a:cubicBezTo>
                  <a:pt x="221" y="368"/>
                  <a:pt x="221" y="368"/>
                  <a:pt x="221" y="368"/>
                </a:cubicBezTo>
                <a:cubicBezTo>
                  <a:pt x="221" y="622"/>
                  <a:pt x="221" y="622"/>
                  <a:pt x="221" y="622"/>
                </a:cubicBezTo>
                <a:cubicBezTo>
                  <a:pt x="221" y="626"/>
                  <a:pt x="224" y="629"/>
                  <a:pt x="228" y="629"/>
                </a:cubicBezTo>
                <a:cubicBezTo>
                  <a:pt x="352" y="629"/>
                  <a:pt x="352" y="629"/>
                  <a:pt x="352" y="629"/>
                </a:cubicBezTo>
                <a:cubicBezTo>
                  <a:pt x="352" y="702"/>
                  <a:pt x="352" y="702"/>
                  <a:pt x="352" y="702"/>
                </a:cubicBezTo>
                <a:cubicBezTo>
                  <a:pt x="352" y="704"/>
                  <a:pt x="353" y="706"/>
                  <a:pt x="355" y="708"/>
                </a:cubicBezTo>
                <a:cubicBezTo>
                  <a:pt x="356" y="709"/>
                  <a:pt x="358" y="709"/>
                  <a:pt x="359" y="709"/>
                </a:cubicBezTo>
                <a:cubicBezTo>
                  <a:pt x="360" y="709"/>
                  <a:pt x="360" y="709"/>
                  <a:pt x="361" y="709"/>
                </a:cubicBezTo>
                <a:cubicBezTo>
                  <a:pt x="652" y="629"/>
                  <a:pt x="652" y="629"/>
                  <a:pt x="652" y="629"/>
                </a:cubicBezTo>
                <a:cubicBezTo>
                  <a:pt x="656" y="628"/>
                  <a:pt x="658" y="624"/>
                  <a:pt x="657" y="620"/>
                </a:cubicBezTo>
                <a:close/>
                <a:moveTo>
                  <a:pt x="235" y="615"/>
                </a:moveTo>
                <a:cubicBezTo>
                  <a:pt x="235" y="356"/>
                  <a:pt x="235" y="356"/>
                  <a:pt x="235" y="356"/>
                </a:cubicBezTo>
                <a:cubicBezTo>
                  <a:pt x="282" y="318"/>
                  <a:pt x="282" y="318"/>
                  <a:pt x="282" y="318"/>
                </a:cubicBezTo>
                <a:cubicBezTo>
                  <a:pt x="282" y="317"/>
                  <a:pt x="282" y="317"/>
                  <a:pt x="282" y="317"/>
                </a:cubicBezTo>
                <a:cubicBezTo>
                  <a:pt x="282" y="317"/>
                  <a:pt x="283" y="317"/>
                  <a:pt x="283" y="317"/>
                </a:cubicBezTo>
                <a:cubicBezTo>
                  <a:pt x="283" y="317"/>
                  <a:pt x="283" y="316"/>
                  <a:pt x="283" y="316"/>
                </a:cubicBezTo>
                <a:cubicBezTo>
                  <a:pt x="283" y="316"/>
                  <a:pt x="284" y="316"/>
                  <a:pt x="284" y="315"/>
                </a:cubicBezTo>
                <a:cubicBezTo>
                  <a:pt x="284" y="315"/>
                  <a:pt x="284" y="315"/>
                  <a:pt x="284" y="315"/>
                </a:cubicBezTo>
                <a:cubicBezTo>
                  <a:pt x="284" y="315"/>
                  <a:pt x="284" y="314"/>
                  <a:pt x="284" y="314"/>
                </a:cubicBezTo>
                <a:cubicBezTo>
                  <a:pt x="284" y="314"/>
                  <a:pt x="284" y="314"/>
                  <a:pt x="284" y="314"/>
                </a:cubicBezTo>
                <a:cubicBezTo>
                  <a:pt x="285" y="313"/>
                  <a:pt x="285" y="313"/>
                  <a:pt x="285" y="312"/>
                </a:cubicBezTo>
                <a:cubicBezTo>
                  <a:pt x="285" y="312"/>
                  <a:pt x="285" y="311"/>
                  <a:pt x="284" y="311"/>
                </a:cubicBezTo>
                <a:cubicBezTo>
                  <a:pt x="284" y="311"/>
                  <a:pt x="284" y="310"/>
                  <a:pt x="284" y="310"/>
                </a:cubicBezTo>
                <a:cubicBezTo>
                  <a:pt x="284" y="310"/>
                  <a:pt x="284" y="310"/>
                  <a:pt x="284" y="309"/>
                </a:cubicBezTo>
                <a:cubicBezTo>
                  <a:pt x="284" y="309"/>
                  <a:pt x="284" y="309"/>
                  <a:pt x="284" y="309"/>
                </a:cubicBezTo>
                <a:cubicBezTo>
                  <a:pt x="284" y="309"/>
                  <a:pt x="283" y="308"/>
                  <a:pt x="283" y="308"/>
                </a:cubicBezTo>
                <a:cubicBezTo>
                  <a:pt x="283" y="308"/>
                  <a:pt x="283" y="308"/>
                  <a:pt x="283" y="308"/>
                </a:cubicBezTo>
                <a:cubicBezTo>
                  <a:pt x="283" y="307"/>
                  <a:pt x="282" y="307"/>
                  <a:pt x="282" y="307"/>
                </a:cubicBezTo>
                <a:cubicBezTo>
                  <a:pt x="282" y="307"/>
                  <a:pt x="282" y="307"/>
                  <a:pt x="282" y="307"/>
                </a:cubicBezTo>
                <a:cubicBezTo>
                  <a:pt x="235" y="268"/>
                  <a:pt x="235" y="268"/>
                  <a:pt x="235" y="268"/>
                </a:cubicBezTo>
                <a:cubicBezTo>
                  <a:pt x="235" y="14"/>
                  <a:pt x="235" y="14"/>
                  <a:pt x="235" y="14"/>
                </a:cubicBezTo>
                <a:cubicBezTo>
                  <a:pt x="590" y="14"/>
                  <a:pt x="590" y="14"/>
                  <a:pt x="590" y="14"/>
                </a:cubicBezTo>
                <a:cubicBezTo>
                  <a:pt x="357" y="81"/>
                  <a:pt x="357" y="81"/>
                  <a:pt x="357" y="81"/>
                </a:cubicBezTo>
                <a:cubicBezTo>
                  <a:pt x="354" y="82"/>
                  <a:pt x="352" y="85"/>
                  <a:pt x="352" y="88"/>
                </a:cubicBezTo>
                <a:cubicBezTo>
                  <a:pt x="352" y="615"/>
                  <a:pt x="352" y="615"/>
                  <a:pt x="352" y="615"/>
                </a:cubicBezTo>
                <a:lnTo>
                  <a:pt x="235" y="61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5" name="Oval 70">
            <a:extLst>
              <a:ext uri="{FF2B5EF4-FFF2-40B4-BE49-F238E27FC236}">
                <a16:creationId xmlns:a16="http://schemas.microsoft.com/office/drawing/2014/main" id="{3FAE85AA-81D0-4187-B0EC-DFD9B8EB85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5608" y="4040869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6" name="Freeform 129">
            <a:extLst>
              <a:ext uri="{FF2B5EF4-FFF2-40B4-BE49-F238E27FC236}">
                <a16:creationId xmlns:a16="http://schemas.microsoft.com/office/drawing/2014/main" id="{795B255A-13E2-438F-93F0-8B9C72F7584A}"/>
              </a:ext>
            </a:extLst>
          </p:cNvPr>
          <p:cNvSpPr>
            <a:spLocks noEditPoints="1"/>
          </p:cNvSpPr>
          <p:nvPr/>
        </p:nvSpPr>
        <p:spPr bwMode="auto">
          <a:xfrm>
            <a:off x="5009855" y="4201826"/>
            <a:ext cx="510028" cy="501911"/>
          </a:xfrm>
          <a:custGeom>
            <a:avLst/>
            <a:gdLst>
              <a:gd name="T0" fmla="*/ 115 w 659"/>
              <a:gd name="T1" fmla="*/ 648 h 648"/>
              <a:gd name="T2" fmla="*/ 41 w 659"/>
              <a:gd name="T3" fmla="*/ 617 h 648"/>
              <a:gd name="T4" fmla="*/ 41 w 659"/>
              <a:gd name="T5" fmla="*/ 469 h 648"/>
              <a:gd name="T6" fmla="*/ 115 w 659"/>
              <a:gd name="T7" fmla="*/ 438 h 648"/>
              <a:gd name="T8" fmla="*/ 190 w 659"/>
              <a:gd name="T9" fmla="*/ 469 h 648"/>
              <a:gd name="T10" fmla="*/ 190 w 659"/>
              <a:gd name="T11" fmla="*/ 617 h 648"/>
              <a:gd name="T12" fmla="*/ 115 w 659"/>
              <a:gd name="T13" fmla="*/ 648 h 648"/>
              <a:gd name="T14" fmla="*/ 115 w 659"/>
              <a:gd name="T15" fmla="*/ 452 h 648"/>
              <a:gd name="T16" fmla="*/ 51 w 659"/>
              <a:gd name="T17" fmla="*/ 479 h 648"/>
              <a:gd name="T18" fmla="*/ 51 w 659"/>
              <a:gd name="T19" fmla="*/ 607 h 648"/>
              <a:gd name="T20" fmla="*/ 115 w 659"/>
              <a:gd name="T21" fmla="*/ 634 h 648"/>
              <a:gd name="T22" fmla="*/ 180 w 659"/>
              <a:gd name="T23" fmla="*/ 607 h 648"/>
              <a:gd name="T24" fmla="*/ 180 w 659"/>
              <a:gd name="T25" fmla="*/ 479 h 648"/>
              <a:gd name="T26" fmla="*/ 115 w 659"/>
              <a:gd name="T27" fmla="*/ 452 h 648"/>
              <a:gd name="T28" fmla="*/ 652 w 659"/>
              <a:gd name="T29" fmla="*/ 539 h 648"/>
              <a:gd name="T30" fmla="*/ 652 w 659"/>
              <a:gd name="T31" fmla="*/ 539 h 648"/>
              <a:gd name="T32" fmla="*/ 515 w 659"/>
              <a:gd name="T33" fmla="*/ 539 h 648"/>
              <a:gd name="T34" fmla="*/ 508 w 659"/>
              <a:gd name="T35" fmla="*/ 532 h 648"/>
              <a:gd name="T36" fmla="*/ 126 w 659"/>
              <a:gd name="T37" fmla="*/ 151 h 648"/>
              <a:gd name="T38" fmla="*/ 119 w 659"/>
              <a:gd name="T39" fmla="*/ 144 h 648"/>
              <a:gd name="T40" fmla="*/ 119 w 659"/>
              <a:gd name="T41" fmla="*/ 7 h 648"/>
              <a:gd name="T42" fmla="*/ 126 w 659"/>
              <a:gd name="T43" fmla="*/ 0 h 648"/>
              <a:gd name="T44" fmla="*/ 503 w 659"/>
              <a:gd name="T45" fmla="*/ 156 h 648"/>
              <a:gd name="T46" fmla="*/ 659 w 659"/>
              <a:gd name="T47" fmla="*/ 532 h 648"/>
              <a:gd name="T48" fmla="*/ 657 w 659"/>
              <a:gd name="T49" fmla="*/ 537 h 648"/>
              <a:gd name="T50" fmla="*/ 652 w 659"/>
              <a:gd name="T51" fmla="*/ 539 h 648"/>
              <a:gd name="T52" fmla="*/ 522 w 659"/>
              <a:gd name="T53" fmla="*/ 525 h 648"/>
              <a:gd name="T54" fmla="*/ 645 w 659"/>
              <a:gd name="T55" fmla="*/ 525 h 648"/>
              <a:gd name="T56" fmla="*/ 493 w 659"/>
              <a:gd name="T57" fmla="*/ 166 h 648"/>
              <a:gd name="T58" fmla="*/ 133 w 659"/>
              <a:gd name="T59" fmla="*/ 14 h 648"/>
              <a:gd name="T60" fmla="*/ 133 w 659"/>
              <a:gd name="T61" fmla="*/ 137 h 648"/>
              <a:gd name="T62" fmla="*/ 522 w 659"/>
              <a:gd name="T63" fmla="*/ 525 h 648"/>
              <a:gd name="T64" fmla="*/ 290 w 659"/>
              <a:gd name="T65" fmla="*/ 534 h 648"/>
              <a:gd name="T66" fmla="*/ 283 w 659"/>
              <a:gd name="T67" fmla="*/ 527 h 648"/>
              <a:gd name="T68" fmla="*/ 131 w 659"/>
              <a:gd name="T69" fmla="*/ 375 h 648"/>
              <a:gd name="T70" fmla="*/ 124 w 659"/>
              <a:gd name="T71" fmla="*/ 368 h 648"/>
              <a:gd name="T72" fmla="*/ 124 w 659"/>
              <a:gd name="T73" fmla="*/ 231 h 648"/>
              <a:gd name="T74" fmla="*/ 131 w 659"/>
              <a:gd name="T75" fmla="*/ 224 h 648"/>
              <a:gd name="T76" fmla="*/ 345 w 659"/>
              <a:gd name="T77" fmla="*/ 313 h 648"/>
              <a:gd name="T78" fmla="*/ 434 w 659"/>
              <a:gd name="T79" fmla="*/ 527 h 648"/>
              <a:gd name="T80" fmla="*/ 427 w 659"/>
              <a:gd name="T81" fmla="*/ 534 h 648"/>
              <a:gd name="T82" fmla="*/ 290 w 659"/>
              <a:gd name="T83" fmla="*/ 534 h 648"/>
              <a:gd name="T84" fmla="*/ 138 w 659"/>
              <a:gd name="T85" fmla="*/ 362 h 648"/>
              <a:gd name="T86" fmla="*/ 297 w 659"/>
              <a:gd name="T87" fmla="*/ 520 h 648"/>
              <a:gd name="T88" fmla="*/ 420 w 659"/>
              <a:gd name="T89" fmla="*/ 520 h 648"/>
              <a:gd name="T90" fmla="*/ 335 w 659"/>
              <a:gd name="T91" fmla="*/ 323 h 648"/>
              <a:gd name="T92" fmla="*/ 138 w 659"/>
              <a:gd name="T93" fmla="*/ 238 h 648"/>
              <a:gd name="T94" fmla="*/ 138 w 659"/>
              <a:gd name="T95" fmla="*/ 362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59" h="648">
                <a:moveTo>
                  <a:pt x="115" y="648"/>
                </a:moveTo>
                <a:cubicBezTo>
                  <a:pt x="87" y="648"/>
                  <a:pt x="61" y="637"/>
                  <a:pt x="41" y="617"/>
                </a:cubicBezTo>
                <a:cubicBezTo>
                  <a:pt x="0" y="576"/>
                  <a:pt x="0" y="510"/>
                  <a:pt x="41" y="469"/>
                </a:cubicBezTo>
                <a:cubicBezTo>
                  <a:pt x="61" y="449"/>
                  <a:pt x="87" y="438"/>
                  <a:pt x="115" y="438"/>
                </a:cubicBezTo>
                <a:cubicBezTo>
                  <a:pt x="144" y="438"/>
                  <a:pt x="170" y="449"/>
                  <a:pt x="190" y="469"/>
                </a:cubicBezTo>
                <a:cubicBezTo>
                  <a:pt x="231" y="510"/>
                  <a:pt x="231" y="576"/>
                  <a:pt x="190" y="617"/>
                </a:cubicBezTo>
                <a:cubicBezTo>
                  <a:pt x="170" y="637"/>
                  <a:pt x="144" y="648"/>
                  <a:pt x="115" y="648"/>
                </a:cubicBezTo>
                <a:close/>
                <a:moveTo>
                  <a:pt x="115" y="452"/>
                </a:moveTo>
                <a:cubicBezTo>
                  <a:pt x="91" y="452"/>
                  <a:pt x="68" y="461"/>
                  <a:pt x="51" y="479"/>
                </a:cubicBezTo>
                <a:cubicBezTo>
                  <a:pt x="16" y="514"/>
                  <a:pt x="16" y="572"/>
                  <a:pt x="51" y="607"/>
                </a:cubicBezTo>
                <a:cubicBezTo>
                  <a:pt x="68" y="625"/>
                  <a:pt x="91" y="634"/>
                  <a:pt x="115" y="634"/>
                </a:cubicBezTo>
                <a:cubicBezTo>
                  <a:pt x="140" y="634"/>
                  <a:pt x="163" y="625"/>
                  <a:pt x="180" y="607"/>
                </a:cubicBezTo>
                <a:cubicBezTo>
                  <a:pt x="215" y="572"/>
                  <a:pt x="215" y="514"/>
                  <a:pt x="180" y="479"/>
                </a:cubicBezTo>
                <a:cubicBezTo>
                  <a:pt x="163" y="461"/>
                  <a:pt x="140" y="452"/>
                  <a:pt x="115" y="452"/>
                </a:cubicBezTo>
                <a:close/>
                <a:moveTo>
                  <a:pt x="652" y="539"/>
                </a:moveTo>
                <a:cubicBezTo>
                  <a:pt x="652" y="539"/>
                  <a:pt x="652" y="539"/>
                  <a:pt x="652" y="539"/>
                </a:cubicBezTo>
                <a:cubicBezTo>
                  <a:pt x="515" y="539"/>
                  <a:pt x="515" y="539"/>
                  <a:pt x="515" y="539"/>
                </a:cubicBezTo>
                <a:cubicBezTo>
                  <a:pt x="511" y="539"/>
                  <a:pt x="508" y="536"/>
                  <a:pt x="508" y="532"/>
                </a:cubicBezTo>
                <a:cubicBezTo>
                  <a:pt x="508" y="322"/>
                  <a:pt x="337" y="151"/>
                  <a:pt x="126" y="151"/>
                </a:cubicBezTo>
                <a:cubicBezTo>
                  <a:pt x="122" y="151"/>
                  <a:pt x="119" y="148"/>
                  <a:pt x="119" y="144"/>
                </a:cubicBezTo>
                <a:cubicBezTo>
                  <a:pt x="119" y="7"/>
                  <a:pt x="119" y="7"/>
                  <a:pt x="119" y="7"/>
                </a:cubicBezTo>
                <a:cubicBezTo>
                  <a:pt x="119" y="3"/>
                  <a:pt x="122" y="0"/>
                  <a:pt x="126" y="0"/>
                </a:cubicBezTo>
                <a:cubicBezTo>
                  <a:pt x="268" y="0"/>
                  <a:pt x="402" y="55"/>
                  <a:pt x="503" y="156"/>
                </a:cubicBezTo>
                <a:cubicBezTo>
                  <a:pt x="603" y="256"/>
                  <a:pt x="659" y="390"/>
                  <a:pt x="659" y="532"/>
                </a:cubicBezTo>
                <a:cubicBezTo>
                  <a:pt x="659" y="534"/>
                  <a:pt x="658" y="536"/>
                  <a:pt x="657" y="537"/>
                </a:cubicBezTo>
                <a:cubicBezTo>
                  <a:pt x="656" y="538"/>
                  <a:pt x="654" y="539"/>
                  <a:pt x="652" y="539"/>
                </a:cubicBezTo>
                <a:close/>
                <a:moveTo>
                  <a:pt x="522" y="525"/>
                </a:moveTo>
                <a:cubicBezTo>
                  <a:pt x="645" y="525"/>
                  <a:pt x="645" y="525"/>
                  <a:pt x="645" y="525"/>
                </a:cubicBezTo>
                <a:cubicBezTo>
                  <a:pt x="643" y="389"/>
                  <a:pt x="589" y="262"/>
                  <a:pt x="493" y="166"/>
                </a:cubicBezTo>
                <a:cubicBezTo>
                  <a:pt x="396" y="69"/>
                  <a:pt x="269" y="15"/>
                  <a:pt x="133" y="14"/>
                </a:cubicBezTo>
                <a:cubicBezTo>
                  <a:pt x="133" y="137"/>
                  <a:pt x="133" y="137"/>
                  <a:pt x="133" y="137"/>
                </a:cubicBezTo>
                <a:cubicBezTo>
                  <a:pt x="346" y="140"/>
                  <a:pt x="518" y="313"/>
                  <a:pt x="522" y="525"/>
                </a:cubicBezTo>
                <a:close/>
                <a:moveTo>
                  <a:pt x="290" y="534"/>
                </a:moveTo>
                <a:cubicBezTo>
                  <a:pt x="286" y="534"/>
                  <a:pt x="283" y="531"/>
                  <a:pt x="283" y="527"/>
                </a:cubicBezTo>
                <a:cubicBezTo>
                  <a:pt x="283" y="443"/>
                  <a:pt x="215" y="376"/>
                  <a:pt x="131" y="375"/>
                </a:cubicBezTo>
                <a:cubicBezTo>
                  <a:pt x="128" y="375"/>
                  <a:pt x="124" y="372"/>
                  <a:pt x="124" y="368"/>
                </a:cubicBezTo>
                <a:cubicBezTo>
                  <a:pt x="124" y="231"/>
                  <a:pt x="124" y="231"/>
                  <a:pt x="124" y="231"/>
                </a:cubicBezTo>
                <a:cubicBezTo>
                  <a:pt x="124" y="227"/>
                  <a:pt x="128" y="224"/>
                  <a:pt x="131" y="224"/>
                </a:cubicBezTo>
                <a:cubicBezTo>
                  <a:pt x="212" y="224"/>
                  <a:pt x="288" y="256"/>
                  <a:pt x="345" y="313"/>
                </a:cubicBezTo>
                <a:cubicBezTo>
                  <a:pt x="403" y="370"/>
                  <a:pt x="434" y="446"/>
                  <a:pt x="434" y="527"/>
                </a:cubicBezTo>
                <a:cubicBezTo>
                  <a:pt x="434" y="531"/>
                  <a:pt x="431" y="534"/>
                  <a:pt x="427" y="534"/>
                </a:cubicBezTo>
                <a:lnTo>
                  <a:pt x="290" y="534"/>
                </a:lnTo>
                <a:close/>
                <a:moveTo>
                  <a:pt x="138" y="362"/>
                </a:moveTo>
                <a:cubicBezTo>
                  <a:pt x="224" y="365"/>
                  <a:pt x="293" y="434"/>
                  <a:pt x="297" y="520"/>
                </a:cubicBezTo>
                <a:cubicBezTo>
                  <a:pt x="420" y="520"/>
                  <a:pt x="420" y="520"/>
                  <a:pt x="420" y="520"/>
                </a:cubicBezTo>
                <a:cubicBezTo>
                  <a:pt x="418" y="446"/>
                  <a:pt x="388" y="376"/>
                  <a:pt x="335" y="323"/>
                </a:cubicBezTo>
                <a:cubicBezTo>
                  <a:pt x="283" y="270"/>
                  <a:pt x="213" y="240"/>
                  <a:pt x="138" y="238"/>
                </a:cubicBezTo>
                <a:lnTo>
                  <a:pt x="138" y="36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7" name="Oval 64">
            <a:extLst>
              <a:ext uri="{FF2B5EF4-FFF2-40B4-BE49-F238E27FC236}">
                <a16:creationId xmlns:a16="http://schemas.microsoft.com/office/drawing/2014/main" id="{0B8C4814-0EE6-484A-8191-3E3A7A2EA6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0121" y="4040869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8" name="Freeform 138">
            <a:extLst>
              <a:ext uri="{FF2B5EF4-FFF2-40B4-BE49-F238E27FC236}">
                <a16:creationId xmlns:a16="http://schemas.microsoft.com/office/drawing/2014/main" id="{386D42D0-0BC0-47D2-9CEB-3197516CCEC2}"/>
              </a:ext>
            </a:extLst>
          </p:cNvPr>
          <p:cNvSpPr>
            <a:spLocks noEditPoints="1"/>
          </p:cNvSpPr>
          <p:nvPr/>
        </p:nvSpPr>
        <p:spPr bwMode="auto">
          <a:xfrm>
            <a:off x="2486609" y="4277113"/>
            <a:ext cx="398513" cy="350472"/>
          </a:xfrm>
          <a:custGeom>
            <a:avLst/>
            <a:gdLst>
              <a:gd name="T0" fmla="*/ 512 w 515"/>
              <a:gd name="T1" fmla="*/ 2 h 453"/>
              <a:gd name="T2" fmla="*/ 502 w 515"/>
              <a:gd name="T3" fmla="*/ 3 h 453"/>
              <a:gd name="T4" fmla="*/ 398 w 515"/>
              <a:gd name="T5" fmla="*/ 134 h 453"/>
              <a:gd name="T6" fmla="*/ 398 w 515"/>
              <a:gd name="T7" fmla="*/ 63 h 453"/>
              <a:gd name="T8" fmla="*/ 391 w 515"/>
              <a:gd name="T9" fmla="*/ 56 h 453"/>
              <a:gd name="T10" fmla="*/ 7 w 515"/>
              <a:gd name="T11" fmla="*/ 56 h 453"/>
              <a:gd name="T12" fmla="*/ 0 w 515"/>
              <a:gd name="T13" fmla="*/ 63 h 453"/>
              <a:gd name="T14" fmla="*/ 0 w 515"/>
              <a:gd name="T15" fmla="*/ 446 h 453"/>
              <a:gd name="T16" fmla="*/ 7 w 515"/>
              <a:gd name="T17" fmla="*/ 453 h 453"/>
              <a:gd name="T18" fmla="*/ 391 w 515"/>
              <a:gd name="T19" fmla="*/ 453 h 453"/>
              <a:gd name="T20" fmla="*/ 398 w 515"/>
              <a:gd name="T21" fmla="*/ 446 h 453"/>
              <a:gd name="T22" fmla="*/ 398 w 515"/>
              <a:gd name="T23" fmla="*/ 156 h 453"/>
              <a:gd name="T24" fmla="*/ 513 w 515"/>
              <a:gd name="T25" fmla="*/ 12 h 453"/>
              <a:gd name="T26" fmla="*/ 512 w 515"/>
              <a:gd name="T27" fmla="*/ 2 h 453"/>
              <a:gd name="T28" fmla="*/ 384 w 515"/>
              <a:gd name="T29" fmla="*/ 439 h 453"/>
              <a:gd name="T30" fmla="*/ 14 w 515"/>
              <a:gd name="T31" fmla="*/ 439 h 453"/>
              <a:gd name="T32" fmla="*/ 14 w 515"/>
              <a:gd name="T33" fmla="*/ 70 h 453"/>
              <a:gd name="T34" fmla="*/ 384 w 515"/>
              <a:gd name="T35" fmla="*/ 70 h 453"/>
              <a:gd name="T36" fmla="*/ 384 w 515"/>
              <a:gd name="T37" fmla="*/ 151 h 453"/>
              <a:gd name="T38" fmla="*/ 204 w 515"/>
              <a:gd name="T39" fmla="*/ 376 h 453"/>
              <a:gd name="T40" fmla="*/ 49 w 515"/>
              <a:gd name="T41" fmla="*/ 245 h 453"/>
              <a:gd name="T42" fmla="*/ 39 w 515"/>
              <a:gd name="T43" fmla="*/ 246 h 453"/>
              <a:gd name="T44" fmla="*/ 40 w 515"/>
              <a:gd name="T45" fmla="*/ 256 h 453"/>
              <a:gd name="T46" fmla="*/ 201 w 515"/>
              <a:gd name="T47" fmla="*/ 391 h 453"/>
              <a:gd name="T48" fmla="*/ 205 w 515"/>
              <a:gd name="T49" fmla="*/ 393 h 453"/>
              <a:gd name="T50" fmla="*/ 206 w 515"/>
              <a:gd name="T51" fmla="*/ 393 h 453"/>
              <a:gd name="T52" fmla="*/ 211 w 515"/>
              <a:gd name="T53" fmla="*/ 390 h 453"/>
              <a:gd name="T54" fmla="*/ 384 w 515"/>
              <a:gd name="T55" fmla="*/ 174 h 453"/>
              <a:gd name="T56" fmla="*/ 384 w 515"/>
              <a:gd name="T57" fmla="*/ 439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515" h="453">
                <a:moveTo>
                  <a:pt x="512" y="2"/>
                </a:moveTo>
                <a:cubicBezTo>
                  <a:pt x="509" y="0"/>
                  <a:pt x="504" y="0"/>
                  <a:pt x="502" y="3"/>
                </a:cubicBezTo>
                <a:cubicBezTo>
                  <a:pt x="398" y="134"/>
                  <a:pt x="398" y="134"/>
                  <a:pt x="398" y="134"/>
                </a:cubicBezTo>
                <a:cubicBezTo>
                  <a:pt x="398" y="63"/>
                  <a:pt x="398" y="63"/>
                  <a:pt x="398" y="63"/>
                </a:cubicBezTo>
                <a:cubicBezTo>
                  <a:pt x="398" y="59"/>
                  <a:pt x="394" y="56"/>
                  <a:pt x="391" y="56"/>
                </a:cubicBezTo>
                <a:cubicBezTo>
                  <a:pt x="7" y="56"/>
                  <a:pt x="7" y="56"/>
                  <a:pt x="7" y="56"/>
                </a:cubicBezTo>
                <a:cubicBezTo>
                  <a:pt x="4" y="56"/>
                  <a:pt x="0" y="59"/>
                  <a:pt x="0" y="63"/>
                </a:cubicBezTo>
                <a:cubicBezTo>
                  <a:pt x="0" y="446"/>
                  <a:pt x="0" y="446"/>
                  <a:pt x="0" y="446"/>
                </a:cubicBezTo>
                <a:cubicBezTo>
                  <a:pt x="0" y="450"/>
                  <a:pt x="4" y="453"/>
                  <a:pt x="7" y="453"/>
                </a:cubicBezTo>
                <a:cubicBezTo>
                  <a:pt x="391" y="453"/>
                  <a:pt x="391" y="453"/>
                  <a:pt x="391" y="453"/>
                </a:cubicBezTo>
                <a:cubicBezTo>
                  <a:pt x="394" y="453"/>
                  <a:pt x="398" y="450"/>
                  <a:pt x="398" y="446"/>
                </a:cubicBezTo>
                <a:cubicBezTo>
                  <a:pt x="398" y="156"/>
                  <a:pt x="398" y="156"/>
                  <a:pt x="398" y="156"/>
                </a:cubicBezTo>
                <a:cubicBezTo>
                  <a:pt x="513" y="12"/>
                  <a:pt x="513" y="12"/>
                  <a:pt x="513" y="12"/>
                </a:cubicBezTo>
                <a:cubicBezTo>
                  <a:pt x="515" y="9"/>
                  <a:pt x="515" y="5"/>
                  <a:pt x="512" y="2"/>
                </a:cubicBezTo>
                <a:close/>
                <a:moveTo>
                  <a:pt x="384" y="439"/>
                </a:moveTo>
                <a:cubicBezTo>
                  <a:pt x="14" y="439"/>
                  <a:pt x="14" y="439"/>
                  <a:pt x="14" y="439"/>
                </a:cubicBezTo>
                <a:cubicBezTo>
                  <a:pt x="14" y="70"/>
                  <a:pt x="14" y="70"/>
                  <a:pt x="14" y="70"/>
                </a:cubicBezTo>
                <a:cubicBezTo>
                  <a:pt x="384" y="70"/>
                  <a:pt x="384" y="70"/>
                  <a:pt x="384" y="70"/>
                </a:cubicBezTo>
                <a:cubicBezTo>
                  <a:pt x="384" y="151"/>
                  <a:pt x="384" y="151"/>
                  <a:pt x="384" y="151"/>
                </a:cubicBezTo>
                <a:cubicBezTo>
                  <a:pt x="204" y="376"/>
                  <a:pt x="204" y="376"/>
                  <a:pt x="204" y="376"/>
                </a:cubicBezTo>
                <a:cubicBezTo>
                  <a:pt x="49" y="245"/>
                  <a:pt x="49" y="245"/>
                  <a:pt x="49" y="245"/>
                </a:cubicBezTo>
                <a:cubicBezTo>
                  <a:pt x="46" y="243"/>
                  <a:pt x="42" y="243"/>
                  <a:pt x="39" y="246"/>
                </a:cubicBezTo>
                <a:cubicBezTo>
                  <a:pt x="37" y="249"/>
                  <a:pt x="37" y="253"/>
                  <a:pt x="40" y="256"/>
                </a:cubicBezTo>
                <a:cubicBezTo>
                  <a:pt x="201" y="391"/>
                  <a:pt x="201" y="391"/>
                  <a:pt x="201" y="391"/>
                </a:cubicBezTo>
                <a:cubicBezTo>
                  <a:pt x="202" y="392"/>
                  <a:pt x="204" y="393"/>
                  <a:pt x="205" y="393"/>
                </a:cubicBezTo>
                <a:cubicBezTo>
                  <a:pt x="206" y="393"/>
                  <a:pt x="206" y="393"/>
                  <a:pt x="206" y="393"/>
                </a:cubicBezTo>
                <a:cubicBezTo>
                  <a:pt x="208" y="393"/>
                  <a:pt x="210" y="392"/>
                  <a:pt x="211" y="390"/>
                </a:cubicBezTo>
                <a:cubicBezTo>
                  <a:pt x="384" y="174"/>
                  <a:pt x="384" y="174"/>
                  <a:pt x="384" y="174"/>
                </a:cubicBezTo>
                <a:lnTo>
                  <a:pt x="384" y="4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9" name="Oval 65">
            <a:extLst>
              <a:ext uri="{FF2B5EF4-FFF2-40B4-BE49-F238E27FC236}">
                <a16:creationId xmlns:a16="http://schemas.microsoft.com/office/drawing/2014/main" id="{7C51AA59-2917-42F0-BCEE-6194E7B300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378" y="4040869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0" name="Freeform 139">
            <a:extLst>
              <a:ext uri="{FF2B5EF4-FFF2-40B4-BE49-F238E27FC236}">
                <a16:creationId xmlns:a16="http://schemas.microsoft.com/office/drawing/2014/main" id="{5BD6FA49-8321-4592-AD47-65568A5518A0}"/>
              </a:ext>
            </a:extLst>
          </p:cNvPr>
          <p:cNvSpPr>
            <a:spLocks noEditPoints="1"/>
          </p:cNvSpPr>
          <p:nvPr/>
        </p:nvSpPr>
        <p:spPr bwMode="auto">
          <a:xfrm>
            <a:off x="1142863" y="4215672"/>
            <a:ext cx="472856" cy="473354"/>
          </a:xfrm>
          <a:custGeom>
            <a:avLst/>
            <a:gdLst>
              <a:gd name="T0" fmla="*/ 522 w 611"/>
              <a:gd name="T1" fmla="*/ 91 h 611"/>
              <a:gd name="T2" fmla="*/ 521 w 611"/>
              <a:gd name="T3" fmla="*/ 90 h 611"/>
              <a:gd name="T4" fmla="*/ 520 w 611"/>
              <a:gd name="T5" fmla="*/ 89 h 611"/>
              <a:gd name="T6" fmla="*/ 305 w 611"/>
              <a:gd name="T7" fmla="*/ 0 h 611"/>
              <a:gd name="T8" fmla="*/ 0 w 611"/>
              <a:gd name="T9" fmla="*/ 306 h 611"/>
              <a:gd name="T10" fmla="*/ 88 w 611"/>
              <a:gd name="T11" fmla="*/ 521 h 611"/>
              <a:gd name="T12" fmla="*/ 89 w 611"/>
              <a:gd name="T13" fmla="*/ 522 h 611"/>
              <a:gd name="T14" fmla="*/ 90 w 611"/>
              <a:gd name="T15" fmla="*/ 523 h 611"/>
              <a:gd name="T16" fmla="*/ 305 w 611"/>
              <a:gd name="T17" fmla="*/ 611 h 611"/>
              <a:gd name="T18" fmla="*/ 611 w 611"/>
              <a:gd name="T19" fmla="*/ 306 h 611"/>
              <a:gd name="T20" fmla="*/ 522 w 611"/>
              <a:gd name="T21" fmla="*/ 91 h 611"/>
              <a:gd name="T22" fmla="*/ 305 w 611"/>
              <a:gd name="T23" fmla="*/ 14 h 611"/>
              <a:gd name="T24" fmla="*/ 506 w 611"/>
              <a:gd name="T25" fmla="*/ 95 h 611"/>
              <a:gd name="T26" fmla="*/ 94 w 611"/>
              <a:gd name="T27" fmla="*/ 507 h 611"/>
              <a:gd name="T28" fmla="*/ 14 w 611"/>
              <a:gd name="T29" fmla="*/ 306 h 611"/>
              <a:gd name="T30" fmla="*/ 305 w 611"/>
              <a:gd name="T31" fmla="*/ 14 h 611"/>
              <a:gd name="T32" fmla="*/ 305 w 611"/>
              <a:gd name="T33" fmla="*/ 597 h 611"/>
              <a:gd name="T34" fmla="*/ 104 w 611"/>
              <a:gd name="T35" fmla="*/ 517 h 611"/>
              <a:gd name="T36" fmla="*/ 516 w 611"/>
              <a:gd name="T37" fmla="*/ 105 h 611"/>
              <a:gd name="T38" fmla="*/ 597 w 611"/>
              <a:gd name="T39" fmla="*/ 306 h 611"/>
              <a:gd name="T40" fmla="*/ 305 w 611"/>
              <a:gd name="T41" fmla="*/ 597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611" h="611">
                <a:moveTo>
                  <a:pt x="522" y="91"/>
                </a:moveTo>
                <a:cubicBezTo>
                  <a:pt x="522" y="91"/>
                  <a:pt x="522" y="90"/>
                  <a:pt x="521" y="90"/>
                </a:cubicBezTo>
                <a:cubicBezTo>
                  <a:pt x="521" y="89"/>
                  <a:pt x="520" y="89"/>
                  <a:pt x="520" y="89"/>
                </a:cubicBezTo>
                <a:cubicBezTo>
                  <a:pt x="465" y="34"/>
                  <a:pt x="389" y="0"/>
                  <a:pt x="305" y="0"/>
                </a:cubicBezTo>
                <a:cubicBezTo>
                  <a:pt x="137" y="0"/>
                  <a:pt x="0" y="137"/>
                  <a:pt x="0" y="306"/>
                </a:cubicBezTo>
                <a:cubicBezTo>
                  <a:pt x="0" y="389"/>
                  <a:pt x="34" y="465"/>
                  <a:pt x="88" y="521"/>
                </a:cubicBezTo>
                <a:cubicBezTo>
                  <a:pt x="89" y="521"/>
                  <a:pt x="89" y="521"/>
                  <a:pt x="89" y="522"/>
                </a:cubicBezTo>
                <a:cubicBezTo>
                  <a:pt x="90" y="522"/>
                  <a:pt x="90" y="522"/>
                  <a:pt x="90" y="523"/>
                </a:cubicBezTo>
                <a:cubicBezTo>
                  <a:pt x="146" y="577"/>
                  <a:pt x="222" y="611"/>
                  <a:pt x="305" y="611"/>
                </a:cubicBezTo>
                <a:cubicBezTo>
                  <a:pt x="474" y="611"/>
                  <a:pt x="611" y="474"/>
                  <a:pt x="611" y="306"/>
                </a:cubicBezTo>
                <a:cubicBezTo>
                  <a:pt x="611" y="222"/>
                  <a:pt x="577" y="146"/>
                  <a:pt x="522" y="91"/>
                </a:cubicBezTo>
                <a:close/>
                <a:moveTo>
                  <a:pt x="305" y="14"/>
                </a:moveTo>
                <a:cubicBezTo>
                  <a:pt x="383" y="14"/>
                  <a:pt x="454" y="45"/>
                  <a:pt x="506" y="95"/>
                </a:cubicBezTo>
                <a:cubicBezTo>
                  <a:pt x="94" y="507"/>
                  <a:pt x="94" y="507"/>
                  <a:pt x="94" y="507"/>
                </a:cubicBezTo>
                <a:cubicBezTo>
                  <a:pt x="44" y="454"/>
                  <a:pt x="14" y="384"/>
                  <a:pt x="14" y="306"/>
                </a:cubicBezTo>
                <a:cubicBezTo>
                  <a:pt x="14" y="145"/>
                  <a:pt x="145" y="14"/>
                  <a:pt x="305" y="14"/>
                </a:cubicBezTo>
                <a:close/>
                <a:moveTo>
                  <a:pt x="305" y="597"/>
                </a:moveTo>
                <a:cubicBezTo>
                  <a:pt x="227" y="597"/>
                  <a:pt x="157" y="566"/>
                  <a:pt x="104" y="517"/>
                </a:cubicBezTo>
                <a:cubicBezTo>
                  <a:pt x="516" y="105"/>
                  <a:pt x="516" y="105"/>
                  <a:pt x="516" y="105"/>
                </a:cubicBezTo>
                <a:cubicBezTo>
                  <a:pt x="566" y="157"/>
                  <a:pt x="597" y="228"/>
                  <a:pt x="597" y="306"/>
                </a:cubicBezTo>
                <a:cubicBezTo>
                  <a:pt x="597" y="466"/>
                  <a:pt x="466" y="597"/>
                  <a:pt x="305" y="59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1" name="Title 32">
            <a:extLst>
              <a:ext uri="{FF2B5EF4-FFF2-40B4-BE49-F238E27FC236}">
                <a16:creationId xmlns:a16="http://schemas.microsoft.com/office/drawing/2014/main" id="{6C24BBF8-67F9-4CEC-97B8-95EBA15CF9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9549"/>
            <a:ext cx="8686800" cy="682625"/>
          </a:xfrm>
        </p:spPr>
        <p:txBody>
          <a:bodyPr/>
          <a:lstStyle/>
          <a:p>
            <a:r>
              <a:rPr lang="en-US" dirty="0"/>
              <a:t>Miscellaneous icons</a:t>
            </a:r>
          </a:p>
        </p:txBody>
      </p:sp>
    </p:spTree>
    <p:extLst>
      <p:ext uri="{BB962C8B-B14F-4D97-AF65-F5344CB8AC3E}">
        <p14:creationId xmlns:p14="http://schemas.microsoft.com/office/powerpoint/2010/main" val="3671805487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6"/>
          <p:cNvSpPr>
            <a:spLocks noChangeArrowheads="1"/>
          </p:cNvSpPr>
          <p:nvPr/>
        </p:nvSpPr>
        <p:spPr bwMode="auto">
          <a:xfrm>
            <a:off x="1733404" y="1860244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79" name="Freeform 76"/>
          <p:cNvSpPr>
            <a:spLocks noEditPoints="1"/>
          </p:cNvSpPr>
          <p:nvPr/>
        </p:nvSpPr>
        <p:spPr bwMode="auto">
          <a:xfrm>
            <a:off x="1959027" y="2058412"/>
            <a:ext cx="370851" cy="490661"/>
          </a:xfrm>
          <a:custGeom>
            <a:avLst/>
            <a:gdLst>
              <a:gd name="T0" fmla="*/ 328 w 479"/>
              <a:gd name="T1" fmla="*/ 438 h 633"/>
              <a:gd name="T2" fmla="*/ 152 w 479"/>
              <a:gd name="T3" fmla="*/ 438 h 633"/>
              <a:gd name="T4" fmla="*/ 129 w 479"/>
              <a:gd name="T5" fmla="*/ 422 h 633"/>
              <a:gd name="T6" fmla="*/ 75 w 479"/>
              <a:gd name="T7" fmla="*/ 254 h 633"/>
              <a:gd name="T8" fmla="*/ 84 w 479"/>
              <a:gd name="T9" fmla="*/ 228 h 633"/>
              <a:gd name="T10" fmla="*/ 226 w 479"/>
              <a:gd name="T11" fmla="*/ 125 h 633"/>
              <a:gd name="T12" fmla="*/ 254 w 479"/>
              <a:gd name="T13" fmla="*/ 125 h 633"/>
              <a:gd name="T14" fmla="*/ 396 w 479"/>
              <a:gd name="T15" fmla="*/ 228 h 633"/>
              <a:gd name="T16" fmla="*/ 405 w 479"/>
              <a:gd name="T17" fmla="*/ 254 h 633"/>
              <a:gd name="T18" fmla="*/ 350 w 479"/>
              <a:gd name="T19" fmla="*/ 422 h 633"/>
              <a:gd name="T20" fmla="*/ 335 w 479"/>
              <a:gd name="T21" fmla="*/ 440 h 633"/>
              <a:gd name="T22" fmla="*/ 243 w 479"/>
              <a:gd name="T23" fmla="*/ 378 h 633"/>
              <a:gd name="T24" fmla="*/ 336 w 479"/>
              <a:gd name="T25" fmla="*/ 425 h 633"/>
              <a:gd name="T26" fmla="*/ 319 w 479"/>
              <a:gd name="T27" fmla="*/ 323 h 633"/>
              <a:gd name="T28" fmla="*/ 395 w 479"/>
              <a:gd name="T29" fmla="*/ 244 h 633"/>
              <a:gd name="T30" fmla="*/ 394 w 479"/>
              <a:gd name="T31" fmla="*/ 242 h 633"/>
              <a:gd name="T32" fmla="*/ 287 w 479"/>
              <a:gd name="T33" fmla="*/ 223 h 633"/>
              <a:gd name="T34" fmla="*/ 238 w 479"/>
              <a:gd name="T35" fmla="*/ 131 h 633"/>
              <a:gd name="T36" fmla="*/ 188 w 479"/>
              <a:gd name="T37" fmla="*/ 227 h 633"/>
              <a:gd name="T38" fmla="*/ 84 w 479"/>
              <a:gd name="T39" fmla="*/ 243 h 633"/>
              <a:gd name="T40" fmla="*/ 159 w 479"/>
              <a:gd name="T41" fmla="*/ 316 h 633"/>
              <a:gd name="T42" fmla="*/ 143 w 479"/>
              <a:gd name="T43" fmla="*/ 424 h 633"/>
              <a:gd name="T44" fmla="*/ 145 w 479"/>
              <a:gd name="T45" fmla="*/ 426 h 633"/>
              <a:gd name="T46" fmla="*/ 240 w 479"/>
              <a:gd name="T47" fmla="*/ 377 h 633"/>
              <a:gd name="T48" fmla="*/ 238 w 479"/>
              <a:gd name="T49" fmla="*/ 633 h 633"/>
              <a:gd name="T50" fmla="*/ 0 w 479"/>
              <a:gd name="T51" fmla="*/ 435 h 633"/>
              <a:gd name="T52" fmla="*/ 5 w 479"/>
              <a:gd name="T53" fmla="*/ 39 h 633"/>
              <a:gd name="T54" fmla="*/ 474 w 479"/>
              <a:gd name="T55" fmla="*/ 39 h 633"/>
              <a:gd name="T56" fmla="*/ 479 w 479"/>
              <a:gd name="T57" fmla="*/ 435 h 633"/>
              <a:gd name="T58" fmla="*/ 241 w 479"/>
              <a:gd name="T59" fmla="*/ 633 h 633"/>
              <a:gd name="T60" fmla="*/ 14 w 479"/>
              <a:gd name="T61" fmla="*/ 51 h 633"/>
              <a:gd name="T62" fmla="*/ 111 w 479"/>
              <a:gd name="T63" fmla="*/ 542 h 633"/>
              <a:gd name="T64" fmla="*/ 465 w 479"/>
              <a:gd name="T65" fmla="*/ 435 h 633"/>
              <a:gd name="T66" fmla="*/ 240 w 479"/>
              <a:gd name="T67" fmla="*/ 14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79" h="633">
                <a:moveTo>
                  <a:pt x="335" y="440"/>
                </a:moveTo>
                <a:cubicBezTo>
                  <a:pt x="332" y="440"/>
                  <a:pt x="330" y="439"/>
                  <a:pt x="328" y="438"/>
                </a:cubicBezTo>
                <a:cubicBezTo>
                  <a:pt x="240" y="392"/>
                  <a:pt x="240" y="392"/>
                  <a:pt x="240" y="392"/>
                </a:cubicBezTo>
                <a:cubicBezTo>
                  <a:pt x="152" y="438"/>
                  <a:pt x="152" y="438"/>
                  <a:pt x="152" y="438"/>
                </a:cubicBezTo>
                <a:cubicBezTo>
                  <a:pt x="147" y="441"/>
                  <a:pt x="140" y="440"/>
                  <a:pt x="136" y="437"/>
                </a:cubicBezTo>
                <a:cubicBezTo>
                  <a:pt x="131" y="433"/>
                  <a:pt x="128" y="428"/>
                  <a:pt x="129" y="422"/>
                </a:cubicBezTo>
                <a:cubicBezTo>
                  <a:pt x="146" y="324"/>
                  <a:pt x="146" y="324"/>
                  <a:pt x="146" y="324"/>
                </a:cubicBezTo>
                <a:cubicBezTo>
                  <a:pt x="75" y="254"/>
                  <a:pt x="75" y="254"/>
                  <a:pt x="75" y="254"/>
                </a:cubicBezTo>
                <a:cubicBezTo>
                  <a:pt x="71" y="250"/>
                  <a:pt x="69" y="244"/>
                  <a:pt x="71" y="239"/>
                </a:cubicBezTo>
                <a:cubicBezTo>
                  <a:pt x="73" y="233"/>
                  <a:pt x="78" y="229"/>
                  <a:pt x="84" y="228"/>
                </a:cubicBezTo>
                <a:cubicBezTo>
                  <a:pt x="182" y="214"/>
                  <a:pt x="182" y="214"/>
                  <a:pt x="182" y="214"/>
                </a:cubicBezTo>
                <a:cubicBezTo>
                  <a:pt x="226" y="125"/>
                  <a:pt x="226" y="125"/>
                  <a:pt x="226" y="125"/>
                </a:cubicBezTo>
                <a:cubicBezTo>
                  <a:pt x="228" y="119"/>
                  <a:pt x="234" y="116"/>
                  <a:pt x="240" y="116"/>
                </a:cubicBezTo>
                <a:cubicBezTo>
                  <a:pt x="246" y="116"/>
                  <a:pt x="251" y="119"/>
                  <a:pt x="254" y="125"/>
                </a:cubicBezTo>
                <a:cubicBezTo>
                  <a:pt x="298" y="214"/>
                  <a:pt x="298" y="214"/>
                  <a:pt x="298" y="214"/>
                </a:cubicBezTo>
                <a:cubicBezTo>
                  <a:pt x="396" y="228"/>
                  <a:pt x="396" y="228"/>
                  <a:pt x="396" y="228"/>
                </a:cubicBezTo>
                <a:cubicBezTo>
                  <a:pt x="402" y="229"/>
                  <a:pt x="407" y="233"/>
                  <a:pt x="408" y="239"/>
                </a:cubicBezTo>
                <a:cubicBezTo>
                  <a:pt x="410" y="244"/>
                  <a:pt x="409" y="250"/>
                  <a:pt x="405" y="254"/>
                </a:cubicBezTo>
                <a:cubicBezTo>
                  <a:pt x="333" y="324"/>
                  <a:pt x="333" y="324"/>
                  <a:pt x="333" y="324"/>
                </a:cubicBezTo>
                <a:cubicBezTo>
                  <a:pt x="350" y="422"/>
                  <a:pt x="350" y="422"/>
                  <a:pt x="350" y="422"/>
                </a:cubicBezTo>
                <a:cubicBezTo>
                  <a:pt x="351" y="427"/>
                  <a:pt x="349" y="433"/>
                  <a:pt x="344" y="437"/>
                </a:cubicBezTo>
                <a:cubicBezTo>
                  <a:pt x="341" y="439"/>
                  <a:pt x="338" y="440"/>
                  <a:pt x="335" y="440"/>
                </a:cubicBezTo>
                <a:close/>
                <a:moveTo>
                  <a:pt x="240" y="377"/>
                </a:moveTo>
                <a:cubicBezTo>
                  <a:pt x="241" y="377"/>
                  <a:pt x="242" y="377"/>
                  <a:pt x="243" y="378"/>
                </a:cubicBezTo>
                <a:cubicBezTo>
                  <a:pt x="334" y="426"/>
                  <a:pt x="334" y="426"/>
                  <a:pt x="334" y="426"/>
                </a:cubicBezTo>
                <a:cubicBezTo>
                  <a:pt x="335" y="426"/>
                  <a:pt x="335" y="426"/>
                  <a:pt x="336" y="425"/>
                </a:cubicBezTo>
                <a:cubicBezTo>
                  <a:pt x="336" y="425"/>
                  <a:pt x="336" y="425"/>
                  <a:pt x="336" y="424"/>
                </a:cubicBezTo>
                <a:cubicBezTo>
                  <a:pt x="319" y="323"/>
                  <a:pt x="319" y="323"/>
                  <a:pt x="319" y="323"/>
                </a:cubicBezTo>
                <a:cubicBezTo>
                  <a:pt x="319" y="320"/>
                  <a:pt x="319" y="318"/>
                  <a:pt x="321" y="316"/>
                </a:cubicBezTo>
                <a:cubicBezTo>
                  <a:pt x="395" y="244"/>
                  <a:pt x="395" y="244"/>
                  <a:pt x="395" y="244"/>
                </a:cubicBezTo>
                <a:cubicBezTo>
                  <a:pt x="395" y="244"/>
                  <a:pt x="395" y="243"/>
                  <a:pt x="395" y="243"/>
                </a:cubicBezTo>
                <a:cubicBezTo>
                  <a:pt x="395" y="242"/>
                  <a:pt x="394" y="242"/>
                  <a:pt x="394" y="242"/>
                </a:cubicBezTo>
                <a:cubicBezTo>
                  <a:pt x="292" y="227"/>
                  <a:pt x="292" y="227"/>
                  <a:pt x="292" y="227"/>
                </a:cubicBezTo>
                <a:cubicBezTo>
                  <a:pt x="290" y="227"/>
                  <a:pt x="288" y="225"/>
                  <a:pt x="287" y="223"/>
                </a:cubicBezTo>
                <a:cubicBezTo>
                  <a:pt x="241" y="131"/>
                  <a:pt x="241" y="131"/>
                  <a:pt x="241" y="131"/>
                </a:cubicBezTo>
                <a:cubicBezTo>
                  <a:pt x="241" y="130"/>
                  <a:pt x="239" y="130"/>
                  <a:pt x="238" y="131"/>
                </a:cubicBezTo>
                <a:cubicBezTo>
                  <a:pt x="193" y="223"/>
                  <a:pt x="193" y="223"/>
                  <a:pt x="193" y="223"/>
                </a:cubicBezTo>
                <a:cubicBezTo>
                  <a:pt x="192" y="225"/>
                  <a:pt x="190" y="227"/>
                  <a:pt x="188" y="227"/>
                </a:cubicBezTo>
                <a:cubicBezTo>
                  <a:pt x="86" y="242"/>
                  <a:pt x="86" y="242"/>
                  <a:pt x="86" y="242"/>
                </a:cubicBezTo>
                <a:cubicBezTo>
                  <a:pt x="85" y="242"/>
                  <a:pt x="85" y="242"/>
                  <a:pt x="84" y="243"/>
                </a:cubicBezTo>
                <a:cubicBezTo>
                  <a:pt x="84" y="243"/>
                  <a:pt x="84" y="244"/>
                  <a:pt x="85" y="244"/>
                </a:cubicBezTo>
                <a:cubicBezTo>
                  <a:pt x="159" y="316"/>
                  <a:pt x="159" y="316"/>
                  <a:pt x="159" y="316"/>
                </a:cubicBezTo>
                <a:cubicBezTo>
                  <a:pt x="160" y="318"/>
                  <a:pt x="161" y="320"/>
                  <a:pt x="161" y="323"/>
                </a:cubicBezTo>
                <a:cubicBezTo>
                  <a:pt x="143" y="424"/>
                  <a:pt x="143" y="424"/>
                  <a:pt x="143" y="424"/>
                </a:cubicBezTo>
                <a:cubicBezTo>
                  <a:pt x="143" y="425"/>
                  <a:pt x="143" y="425"/>
                  <a:pt x="144" y="425"/>
                </a:cubicBezTo>
                <a:cubicBezTo>
                  <a:pt x="144" y="426"/>
                  <a:pt x="145" y="426"/>
                  <a:pt x="145" y="426"/>
                </a:cubicBezTo>
                <a:cubicBezTo>
                  <a:pt x="236" y="378"/>
                  <a:pt x="236" y="378"/>
                  <a:pt x="236" y="378"/>
                </a:cubicBezTo>
                <a:cubicBezTo>
                  <a:pt x="238" y="377"/>
                  <a:pt x="239" y="377"/>
                  <a:pt x="240" y="377"/>
                </a:cubicBezTo>
                <a:close/>
                <a:moveTo>
                  <a:pt x="240" y="633"/>
                </a:moveTo>
                <a:cubicBezTo>
                  <a:pt x="239" y="633"/>
                  <a:pt x="239" y="633"/>
                  <a:pt x="238" y="633"/>
                </a:cubicBezTo>
                <a:cubicBezTo>
                  <a:pt x="215" y="628"/>
                  <a:pt x="155" y="593"/>
                  <a:pt x="103" y="553"/>
                </a:cubicBezTo>
                <a:cubicBezTo>
                  <a:pt x="14" y="486"/>
                  <a:pt x="0" y="450"/>
                  <a:pt x="0" y="435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3"/>
                  <a:pt x="2" y="40"/>
                  <a:pt x="5" y="39"/>
                </a:cubicBezTo>
                <a:cubicBezTo>
                  <a:pt x="92" y="13"/>
                  <a:pt x="168" y="0"/>
                  <a:pt x="240" y="0"/>
                </a:cubicBezTo>
                <a:cubicBezTo>
                  <a:pt x="327" y="0"/>
                  <a:pt x="415" y="21"/>
                  <a:pt x="474" y="39"/>
                </a:cubicBezTo>
                <a:cubicBezTo>
                  <a:pt x="477" y="40"/>
                  <a:pt x="479" y="43"/>
                  <a:pt x="479" y="46"/>
                </a:cubicBezTo>
                <a:cubicBezTo>
                  <a:pt x="479" y="435"/>
                  <a:pt x="479" y="435"/>
                  <a:pt x="479" y="435"/>
                </a:cubicBezTo>
                <a:cubicBezTo>
                  <a:pt x="479" y="477"/>
                  <a:pt x="422" y="526"/>
                  <a:pt x="374" y="560"/>
                </a:cubicBezTo>
                <a:cubicBezTo>
                  <a:pt x="321" y="598"/>
                  <a:pt x="261" y="629"/>
                  <a:pt x="241" y="633"/>
                </a:cubicBezTo>
                <a:cubicBezTo>
                  <a:pt x="241" y="633"/>
                  <a:pt x="240" y="633"/>
                  <a:pt x="240" y="633"/>
                </a:cubicBezTo>
                <a:close/>
                <a:moveTo>
                  <a:pt x="14" y="51"/>
                </a:moveTo>
                <a:cubicBezTo>
                  <a:pt x="14" y="435"/>
                  <a:pt x="14" y="435"/>
                  <a:pt x="14" y="435"/>
                </a:cubicBezTo>
                <a:cubicBezTo>
                  <a:pt x="14" y="456"/>
                  <a:pt x="51" y="496"/>
                  <a:pt x="111" y="542"/>
                </a:cubicBezTo>
                <a:cubicBezTo>
                  <a:pt x="166" y="583"/>
                  <a:pt x="220" y="614"/>
                  <a:pt x="240" y="619"/>
                </a:cubicBezTo>
                <a:cubicBezTo>
                  <a:pt x="281" y="609"/>
                  <a:pt x="465" y="499"/>
                  <a:pt x="465" y="435"/>
                </a:cubicBezTo>
                <a:cubicBezTo>
                  <a:pt x="465" y="51"/>
                  <a:pt x="465" y="51"/>
                  <a:pt x="465" y="51"/>
                </a:cubicBezTo>
                <a:cubicBezTo>
                  <a:pt x="407" y="34"/>
                  <a:pt x="323" y="14"/>
                  <a:pt x="240" y="14"/>
                </a:cubicBezTo>
                <a:cubicBezTo>
                  <a:pt x="171" y="14"/>
                  <a:pt x="97" y="26"/>
                  <a:pt x="14" y="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0" name="Oval 31"/>
          <p:cNvSpPr>
            <a:spLocks noChangeArrowheads="1"/>
          </p:cNvSpPr>
          <p:nvPr/>
        </p:nvSpPr>
        <p:spPr bwMode="auto">
          <a:xfrm>
            <a:off x="5611635" y="1860244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67" name="Freeform 89"/>
          <p:cNvSpPr>
            <a:spLocks noEditPoints="1"/>
          </p:cNvSpPr>
          <p:nvPr/>
        </p:nvSpPr>
        <p:spPr bwMode="auto">
          <a:xfrm>
            <a:off x="5784734" y="2043701"/>
            <a:ext cx="448652" cy="456047"/>
          </a:xfrm>
          <a:custGeom>
            <a:avLst/>
            <a:gdLst>
              <a:gd name="T0" fmla="*/ 482 w 580"/>
              <a:gd name="T1" fmla="*/ 395 h 589"/>
              <a:gd name="T2" fmla="*/ 399 w 580"/>
              <a:gd name="T3" fmla="*/ 442 h 589"/>
              <a:gd name="T4" fmla="*/ 186 w 580"/>
              <a:gd name="T5" fmla="*/ 333 h 589"/>
              <a:gd name="T6" fmla="*/ 194 w 580"/>
              <a:gd name="T7" fmla="*/ 295 h 589"/>
              <a:gd name="T8" fmla="*/ 186 w 580"/>
              <a:gd name="T9" fmla="*/ 257 h 589"/>
              <a:gd name="T10" fmla="*/ 399 w 580"/>
              <a:gd name="T11" fmla="*/ 147 h 589"/>
              <a:gd name="T12" fmla="*/ 482 w 580"/>
              <a:gd name="T13" fmla="*/ 194 h 589"/>
              <a:gd name="T14" fmla="*/ 580 w 580"/>
              <a:gd name="T15" fmla="*/ 97 h 589"/>
              <a:gd name="T16" fmla="*/ 482 w 580"/>
              <a:gd name="T17" fmla="*/ 0 h 589"/>
              <a:gd name="T18" fmla="*/ 385 w 580"/>
              <a:gd name="T19" fmla="*/ 97 h 589"/>
              <a:gd name="T20" fmla="*/ 393 w 580"/>
              <a:gd name="T21" fmla="*/ 135 h 589"/>
              <a:gd name="T22" fmla="*/ 180 w 580"/>
              <a:gd name="T23" fmla="*/ 244 h 589"/>
              <a:gd name="T24" fmla="*/ 97 w 580"/>
              <a:gd name="T25" fmla="*/ 197 h 589"/>
              <a:gd name="T26" fmla="*/ 0 w 580"/>
              <a:gd name="T27" fmla="*/ 295 h 589"/>
              <a:gd name="T28" fmla="*/ 97 w 580"/>
              <a:gd name="T29" fmla="*/ 392 h 589"/>
              <a:gd name="T30" fmla="*/ 180 w 580"/>
              <a:gd name="T31" fmla="*/ 345 h 589"/>
              <a:gd name="T32" fmla="*/ 393 w 580"/>
              <a:gd name="T33" fmla="*/ 454 h 589"/>
              <a:gd name="T34" fmla="*/ 385 w 580"/>
              <a:gd name="T35" fmla="*/ 492 h 589"/>
              <a:gd name="T36" fmla="*/ 482 w 580"/>
              <a:gd name="T37" fmla="*/ 589 h 589"/>
              <a:gd name="T38" fmla="*/ 580 w 580"/>
              <a:gd name="T39" fmla="*/ 492 h 589"/>
              <a:gd name="T40" fmla="*/ 482 w 580"/>
              <a:gd name="T41" fmla="*/ 395 h 589"/>
              <a:gd name="T42" fmla="*/ 482 w 580"/>
              <a:gd name="T43" fmla="*/ 14 h 589"/>
              <a:gd name="T44" fmla="*/ 566 w 580"/>
              <a:gd name="T45" fmla="*/ 97 h 589"/>
              <a:gd name="T46" fmla="*/ 482 w 580"/>
              <a:gd name="T47" fmla="*/ 180 h 589"/>
              <a:gd name="T48" fmla="*/ 399 w 580"/>
              <a:gd name="T49" fmla="*/ 97 h 589"/>
              <a:gd name="T50" fmla="*/ 482 w 580"/>
              <a:gd name="T51" fmla="*/ 14 h 589"/>
              <a:gd name="T52" fmla="*/ 97 w 580"/>
              <a:gd name="T53" fmla="*/ 378 h 589"/>
              <a:gd name="T54" fmla="*/ 14 w 580"/>
              <a:gd name="T55" fmla="*/ 295 h 589"/>
              <a:gd name="T56" fmla="*/ 97 w 580"/>
              <a:gd name="T57" fmla="*/ 211 h 589"/>
              <a:gd name="T58" fmla="*/ 180 w 580"/>
              <a:gd name="T59" fmla="*/ 295 h 589"/>
              <a:gd name="T60" fmla="*/ 97 w 580"/>
              <a:gd name="T61" fmla="*/ 378 h 589"/>
              <a:gd name="T62" fmla="*/ 482 w 580"/>
              <a:gd name="T63" fmla="*/ 575 h 589"/>
              <a:gd name="T64" fmla="*/ 399 w 580"/>
              <a:gd name="T65" fmla="*/ 492 h 589"/>
              <a:gd name="T66" fmla="*/ 482 w 580"/>
              <a:gd name="T67" fmla="*/ 409 h 589"/>
              <a:gd name="T68" fmla="*/ 566 w 580"/>
              <a:gd name="T69" fmla="*/ 492 h 589"/>
              <a:gd name="T70" fmla="*/ 482 w 580"/>
              <a:gd name="T71" fmla="*/ 575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80" h="589">
                <a:moveTo>
                  <a:pt x="482" y="395"/>
                </a:moveTo>
                <a:cubicBezTo>
                  <a:pt x="447" y="395"/>
                  <a:pt x="416" y="414"/>
                  <a:pt x="399" y="442"/>
                </a:cubicBezTo>
                <a:cubicBezTo>
                  <a:pt x="186" y="333"/>
                  <a:pt x="186" y="333"/>
                  <a:pt x="186" y="333"/>
                </a:cubicBezTo>
                <a:cubicBezTo>
                  <a:pt x="191" y="321"/>
                  <a:pt x="194" y="308"/>
                  <a:pt x="194" y="295"/>
                </a:cubicBezTo>
                <a:cubicBezTo>
                  <a:pt x="194" y="281"/>
                  <a:pt x="191" y="268"/>
                  <a:pt x="186" y="257"/>
                </a:cubicBezTo>
                <a:cubicBezTo>
                  <a:pt x="399" y="147"/>
                  <a:pt x="399" y="147"/>
                  <a:pt x="399" y="147"/>
                </a:cubicBezTo>
                <a:cubicBezTo>
                  <a:pt x="416" y="175"/>
                  <a:pt x="447" y="194"/>
                  <a:pt x="482" y="194"/>
                </a:cubicBezTo>
                <a:cubicBezTo>
                  <a:pt x="536" y="194"/>
                  <a:pt x="580" y="150"/>
                  <a:pt x="580" y="97"/>
                </a:cubicBezTo>
                <a:cubicBezTo>
                  <a:pt x="580" y="43"/>
                  <a:pt x="536" y="0"/>
                  <a:pt x="482" y="0"/>
                </a:cubicBezTo>
                <a:cubicBezTo>
                  <a:pt x="429" y="0"/>
                  <a:pt x="385" y="43"/>
                  <a:pt x="385" y="97"/>
                </a:cubicBezTo>
                <a:cubicBezTo>
                  <a:pt x="385" y="110"/>
                  <a:pt x="388" y="123"/>
                  <a:pt x="393" y="135"/>
                </a:cubicBezTo>
                <a:cubicBezTo>
                  <a:pt x="180" y="244"/>
                  <a:pt x="180" y="244"/>
                  <a:pt x="180" y="244"/>
                </a:cubicBezTo>
                <a:cubicBezTo>
                  <a:pt x="163" y="216"/>
                  <a:pt x="132" y="197"/>
                  <a:pt x="97" y="197"/>
                </a:cubicBezTo>
                <a:cubicBezTo>
                  <a:pt x="43" y="197"/>
                  <a:pt x="0" y="241"/>
                  <a:pt x="0" y="295"/>
                </a:cubicBezTo>
                <a:cubicBezTo>
                  <a:pt x="0" y="348"/>
                  <a:pt x="43" y="392"/>
                  <a:pt x="97" y="392"/>
                </a:cubicBezTo>
                <a:cubicBezTo>
                  <a:pt x="132" y="392"/>
                  <a:pt x="163" y="373"/>
                  <a:pt x="180" y="345"/>
                </a:cubicBezTo>
                <a:cubicBezTo>
                  <a:pt x="393" y="454"/>
                  <a:pt x="393" y="454"/>
                  <a:pt x="393" y="454"/>
                </a:cubicBezTo>
                <a:cubicBezTo>
                  <a:pt x="388" y="466"/>
                  <a:pt x="385" y="479"/>
                  <a:pt x="385" y="492"/>
                </a:cubicBezTo>
                <a:cubicBezTo>
                  <a:pt x="385" y="546"/>
                  <a:pt x="429" y="589"/>
                  <a:pt x="482" y="589"/>
                </a:cubicBezTo>
                <a:cubicBezTo>
                  <a:pt x="536" y="589"/>
                  <a:pt x="580" y="546"/>
                  <a:pt x="580" y="492"/>
                </a:cubicBezTo>
                <a:cubicBezTo>
                  <a:pt x="580" y="439"/>
                  <a:pt x="536" y="395"/>
                  <a:pt x="482" y="395"/>
                </a:cubicBezTo>
                <a:close/>
                <a:moveTo>
                  <a:pt x="482" y="14"/>
                </a:moveTo>
                <a:cubicBezTo>
                  <a:pt x="528" y="14"/>
                  <a:pt x="566" y="51"/>
                  <a:pt x="566" y="97"/>
                </a:cubicBezTo>
                <a:cubicBezTo>
                  <a:pt x="566" y="143"/>
                  <a:pt x="528" y="180"/>
                  <a:pt x="482" y="180"/>
                </a:cubicBezTo>
                <a:cubicBezTo>
                  <a:pt x="436" y="180"/>
                  <a:pt x="399" y="143"/>
                  <a:pt x="399" y="97"/>
                </a:cubicBezTo>
                <a:cubicBezTo>
                  <a:pt x="399" y="51"/>
                  <a:pt x="436" y="14"/>
                  <a:pt x="482" y="14"/>
                </a:cubicBezTo>
                <a:close/>
                <a:moveTo>
                  <a:pt x="97" y="378"/>
                </a:moveTo>
                <a:cubicBezTo>
                  <a:pt x="51" y="378"/>
                  <a:pt x="14" y="341"/>
                  <a:pt x="14" y="295"/>
                </a:cubicBezTo>
                <a:cubicBezTo>
                  <a:pt x="14" y="249"/>
                  <a:pt x="51" y="211"/>
                  <a:pt x="97" y="211"/>
                </a:cubicBezTo>
                <a:cubicBezTo>
                  <a:pt x="143" y="211"/>
                  <a:pt x="180" y="249"/>
                  <a:pt x="180" y="295"/>
                </a:cubicBezTo>
                <a:cubicBezTo>
                  <a:pt x="180" y="341"/>
                  <a:pt x="143" y="378"/>
                  <a:pt x="97" y="378"/>
                </a:cubicBezTo>
                <a:close/>
                <a:moveTo>
                  <a:pt x="482" y="575"/>
                </a:moveTo>
                <a:cubicBezTo>
                  <a:pt x="436" y="575"/>
                  <a:pt x="399" y="538"/>
                  <a:pt x="399" y="492"/>
                </a:cubicBezTo>
                <a:cubicBezTo>
                  <a:pt x="399" y="446"/>
                  <a:pt x="436" y="409"/>
                  <a:pt x="482" y="409"/>
                </a:cubicBezTo>
                <a:cubicBezTo>
                  <a:pt x="528" y="409"/>
                  <a:pt x="566" y="446"/>
                  <a:pt x="566" y="492"/>
                </a:cubicBezTo>
                <a:cubicBezTo>
                  <a:pt x="566" y="538"/>
                  <a:pt x="528" y="575"/>
                  <a:pt x="482" y="5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8" name="Oval 19"/>
          <p:cNvSpPr>
            <a:spLocks noChangeArrowheads="1"/>
          </p:cNvSpPr>
          <p:nvPr/>
        </p:nvSpPr>
        <p:spPr bwMode="auto">
          <a:xfrm>
            <a:off x="3026148" y="82790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69" name="Freeform 91"/>
          <p:cNvSpPr>
            <a:spLocks noEditPoints="1"/>
          </p:cNvSpPr>
          <p:nvPr/>
        </p:nvSpPr>
        <p:spPr bwMode="auto">
          <a:xfrm>
            <a:off x="3219124" y="1019814"/>
            <a:ext cx="436143" cy="439142"/>
          </a:xfrm>
          <a:custGeom>
            <a:avLst/>
            <a:gdLst>
              <a:gd name="T0" fmla="*/ 560 w 563"/>
              <a:gd name="T1" fmla="*/ 276 h 567"/>
              <a:gd name="T2" fmla="*/ 512 w 563"/>
              <a:gd name="T3" fmla="*/ 229 h 567"/>
              <a:gd name="T4" fmla="*/ 512 w 563"/>
              <a:gd name="T5" fmla="*/ 229 h 567"/>
              <a:gd name="T6" fmla="*/ 464 w 563"/>
              <a:gd name="T7" fmla="*/ 180 h 567"/>
              <a:gd name="T8" fmla="*/ 464 w 563"/>
              <a:gd name="T9" fmla="*/ 36 h 567"/>
              <a:gd name="T10" fmla="*/ 457 w 563"/>
              <a:gd name="T11" fmla="*/ 29 h 567"/>
              <a:gd name="T12" fmla="*/ 385 w 563"/>
              <a:gd name="T13" fmla="*/ 29 h 567"/>
              <a:gd name="T14" fmla="*/ 378 w 563"/>
              <a:gd name="T15" fmla="*/ 36 h 567"/>
              <a:gd name="T16" fmla="*/ 378 w 563"/>
              <a:gd name="T17" fmla="*/ 94 h 567"/>
              <a:gd name="T18" fmla="*/ 286 w 563"/>
              <a:gd name="T19" fmla="*/ 2 h 567"/>
              <a:gd name="T20" fmla="*/ 276 w 563"/>
              <a:gd name="T21" fmla="*/ 2 h 567"/>
              <a:gd name="T22" fmla="*/ 50 w 563"/>
              <a:gd name="T23" fmla="*/ 229 h 567"/>
              <a:gd name="T24" fmla="*/ 50 w 563"/>
              <a:gd name="T25" fmla="*/ 229 h 567"/>
              <a:gd name="T26" fmla="*/ 2 w 563"/>
              <a:gd name="T27" fmla="*/ 276 h 567"/>
              <a:gd name="T28" fmla="*/ 2 w 563"/>
              <a:gd name="T29" fmla="*/ 286 h 567"/>
              <a:gd name="T30" fmla="*/ 12 w 563"/>
              <a:gd name="T31" fmla="*/ 286 h 567"/>
              <a:gd name="T32" fmla="*/ 48 w 563"/>
              <a:gd name="T33" fmla="*/ 251 h 567"/>
              <a:gd name="T34" fmla="*/ 48 w 563"/>
              <a:gd name="T35" fmla="*/ 560 h 567"/>
              <a:gd name="T36" fmla="*/ 50 w 563"/>
              <a:gd name="T37" fmla="*/ 565 h 567"/>
              <a:gd name="T38" fmla="*/ 55 w 563"/>
              <a:gd name="T39" fmla="*/ 567 h 567"/>
              <a:gd name="T40" fmla="*/ 209 w 563"/>
              <a:gd name="T41" fmla="*/ 567 h 567"/>
              <a:gd name="T42" fmla="*/ 216 w 563"/>
              <a:gd name="T43" fmla="*/ 560 h 567"/>
              <a:gd name="T44" fmla="*/ 216 w 563"/>
              <a:gd name="T45" fmla="*/ 324 h 567"/>
              <a:gd name="T46" fmla="*/ 346 w 563"/>
              <a:gd name="T47" fmla="*/ 324 h 567"/>
              <a:gd name="T48" fmla="*/ 346 w 563"/>
              <a:gd name="T49" fmla="*/ 560 h 567"/>
              <a:gd name="T50" fmla="*/ 353 w 563"/>
              <a:gd name="T51" fmla="*/ 567 h 567"/>
              <a:gd name="T52" fmla="*/ 508 w 563"/>
              <a:gd name="T53" fmla="*/ 567 h 567"/>
              <a:gd name="T54" fmla="*/ 512 w 563"/>
              <a:gd name="T55" fmla="*/ 565 h 567"/>
              <a:gd name="T56" fmla="*/ 515 w 563"/>
              <a:gd name="T57" fmla="*/ 560 h 567"/>
              <a:gd name="T58" fmla="*/ 515 w 563"/>
              <a:gd name="T59" fmla="*/ 251 h 567"/>
              <a:gd name="T60" fmla="*/ 550 w 563"/>
              <a:gd name="T61" fmla="*/ 286 h 567"/>
              <a:gd name="T62" fmla="*/ 555 w 563"/>
              <a:gd name="T63" fmla="*/ 288 h 567"/>
              <a:gd name="T64" fmla="*/ 560 w 563"/>
              <a:gd name="T65" fmla="*/ 286 h 567"/>
              <a:gd name="T66" fmla="*/ 560 w 563"/>
              <a:gd name="T67" fmla="*/ 276 h 567"/>
              <a:gd name="T68" fmla="*/ 392 w 563"/>
              <a:gd name="T69" fmla="*/ 43 h 567"/>
              <a:gd name="T70" fmla="*/ 450 w 563"/>
              <a:gd name="T71" fmla="*/ 43 h 567"/>
              <a:gd name="T72" fmla="*/ 450 w 563"/>
              <a:gd name="T73" fmla="*/ 166 h 567"/>
              <a:gd name="T74" fmla="*/ 392 w 563"/>
              <a:gd name="T75" fmla="*/ 108 h 567"/>
              <a:gd name="T76" fmla="*/ 392 w 563"/>
              <a:gd name="T77" fmla="*/ 43 h 567"/>
              <a:gd name="T78" fmla="*/ 501 w 563"/>
              <a:gd name="T79" fmla="*/ 553 h 567"/>
              <a:gd name="T80" fmla="*/ 360 w 563"/>
              <a:gd name="T81" fmla="*/ 553 h 567"/>
              <a:gd name="T82" fmla="*/ 360 w 563"/>
              <a:gd name="T83" fmla="*/ 317 h 567"/>
              <a:gd name="T84" fmla="*/ 353 w 563"/>
              <a:gd name="T85" fmla="*/ 310 h 567"/>
              <a:gd name="T86" fmla="*/ 209 w 563"/>
              <a:gd name="T87" fmla="*/ 310 h 567"/>
              <a:gd name="T88" fmla="*/ 202 w 563"/>
              <a:gd name="T89" fmla="*/ 317 h 567"/>
              <a:gd name="T90" fmla="*/ 202 w 563"/>
              <a:gd name="T91" fmla="*/ 553 h 567"/>
              <a:gd name="T92" fmla="*/ 62 w 563"/>
              <a:gd name="T93" fmla="*/ 553 h 567"/>
              <a:gd name="T94" fmla="*/ 62 w 563"/>
              <a:gd name="T95" fmla="*/ 237 h 567"/>
              <a:gd name="T96" fmla="*/ 281 w 563"/>
              <a:gd name="T97" fmla="*/ 17 h 567"/>
              <a:gd name="T98" fmla="*/ 380 w 563"/>
              <a:gd name="T99" fmla="*/ 116 h 567"/>
              <a:gd name="T100" fmla="*/ 380 w 563"/>
              <a:gd name="T101" fmla="*/ 116 h 567"/>
              <a:gd name="T102" fmla="*/ 452 w 563"/>
              <a:gd name="T103" fmla="*/ 188 h 567"/>
              <a:gd name="T104" fmla="*/ 452 w 563"/>
              <a:gd name="T105" fmla="*/ 188 h 567"/>
              <a:gd name="T106" fmla="*/ 501 w 563"/>
              <a:gd name="T107" fmla="*/ 237 h 567"/>
              <a:gd name="T108" fmla="*/ 501 w 563"/>
              <a:gd name="T109" fmla="*/ 553 h 5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63" h="567">
                <a:moveTo>
                  <a:pt x="560" y="276"/>
                </a:moveTo>
                <a:cubicBezTo>
                  <a:pt x="512" y="229"/>
                  <a:pt x="512" y="229"/>
                  <a:pt x="512" y="229"/>
                </a:cubicBezTo>
                <a:cubicBezTo>
                  <a:pt x="512" y="229"/>
                  <a:pt x="512" y="229"/>
                  <a:pt x="512" y="229"/>
                </a:cubicBezTo>
                <a:cubicBezTo>
                  <a:pt x="464" y="180"/>
                  <a:pt x="464" y="180"/>
                  <a:pt x="464" y="180"/>
                </a:cubicBezTo>
                <a:cubicBezTo>
                  <a:pt x="464" y="36"/>
                  <a:pt x="464" y="36"/>
                  <a:pt x="464" y="36"/>
                </a:cubicBezTo>
                <a:cubicBezTo>
                  <a:pt x="464" y="32"/>
                  <a:pt x="461" y="29"/>
                  <a:pt x="457" y="29"/>
                </a:cubicBezTo>
                <a:cubicBezTo>
                  <a:pt x="385" y="29"/>
                  <a:pt x="385" y="29"/>
                  <a:pt x="385" y="29"/>
                </a:cubicBezTo>
                <a:cubicBezTo>
                  <a:pt x="381" y="29"/>
                  <a:pt x="378" y="32"/>
                  <a:pt x="378" y="36"/>
                </a:cubicBezTo>
                <a:cubicBezTo>
                  <a:pt x="378" y="94"/>
                  <a:pt x="378" y="94"/>
                  <a:pt x="378" y="94"/>
                </a:cubicBezTo>
                <a:cubicBezTo>
                  <a:pt x="286" y="2"/>
                  <a:pt x="286" y="2"/>
                  <a:pt x="286" y="2"/>
                </a:cubicBezTo>
                <a:cubicBezTo>
                  <a:pt x="284" y="0"/>
                  <a:pt x="279" y="0"/>
                  <a:pt x="276" y="2"/>
                </a:cubicBezTo>
                <a:cubicBezTo>
                  <a:pt x="50" y="229"/>
                  <a:pt x="50" y="229"/>
                  <a:pt x="50" y="229"/>
                </a:cubicBezTo>
                <a:cubicBezTo>
                  <a:pt x="50" y="229"/>
                  <a:pt x="50" y="229"/>
                  <a:pt x="50" y="229"/>
                </a:cubicBezTo>
                <a:cubicBezTo>
                  <a:pt x="2" y="276"/>
                  <a:pt x="2" y="276"/>
                  <a:pt x="2" y="276"/>
                </a:cubicBezTo>
                <a:cubicBezTo>
                  <a:pt x="0" y="279"/>
                  <a:pt x="0" y="283"/>
                  <a:pt x="2" y="286"/>
                </a:cubicBezTo>
                <a:cubicBezTo>
                  <a:pt x="5" y="289"/>
                  <a:pt x="10" y="289"/>
                  <a:pt x="12" y="286"/>
                </a:cubicBezTo>
                <a:cubicBezTo>
                  <a:pt x="48" y="251"/>
                  <a:pt x="48" y="251"/>
                  <a:pt x="48" y="251"/>
                </a:cubicBezTo>
                <a:cubicBezTo>
                  <a:pt x="48" y="560"/>
                  <a:pt x="48" y="560"/>
                  <a:pt x="48" y="560"/>
                </a:cubicBezTo>
                <a:cubicBezTo>
                  <a:pt x="48" y="562"/>
                  <a:pt x="49" y="564"/>
                  <a:pt x="50" y="565"/>
                </a:cubicBezTo>
                <a:cubicBezTo>
                  <a:pt x="51" y="566"/>
                  <a:pt x="53" y="567"/>
                  <a:pt x="55" y="567"/>
                </a:cubicBezTo>
                <a:cubicBezTo>
                  <a:pt x="209" y="567"/>
                  <a:pt x="209" y="567"/>
                  <a:pt x="209" y="567"/>
                </a:cubicBezTo>
                <a:cubicBezTo>
                  <a:pt x="213" y="567"/>
                  <a:pt x="216" y="564"/>
                  <a:pt x="216" y="560"/>
                </a:cubicBezTo>
                <a:cubicBezTo>
                  <a:pt x="216" y="324"/>
                  <a:pt x="216" y="324"/>
                  <a:pt x="216" y="324"/>
                </a:cubicBezTo>
                <a:cubicBezTo>
                  <a:pt x="346" y="324"/>
                  <a:pt x="346" y="324"/>
                  <a:pt x="346" y="324"/>
                </a:cubicBezTo>
                <a:cubicBezTo>
                  <a:pt x="346" y="560"/>
                  <a:pt x="346" y="560"/>
                  <a:pt x="346" y="560"/>
                </a:cubicBezTo>
                <a:cubicBezTo>
                  <a:pt x="346" y="564"/>
                  <a:pt x="350" y="567"/>
                  <a:pt x="353" y="567"/>
                </a:cubicBezTo>
                <a:cubicBezTo>
                  <a:pt x="508" y="567"/>
                  <a:pt x="508" y="567"/>
                  <a:pt x="508" y="567"/>
                </a:cubicBezTo>
                <a:cubicBezTo>
                  <a:pt x="509" y="567"/>
                  <a:pt x="511" y="566"/>
                  <a:pt x="512" y="565"/>
                </a:cubicBezTo>
                <a:cubicBezTo>
                  <a:pt x="514" y="564"/>
                  <a:pt x="515" y="562"/>
                  <a:pt x="515" y="560"/>
                </a:cubicBezTo>
                <a:cubicBezTo>
                  <a:pt x="515" y="251"/>
                  <a:pt x="515" y="251"/>
                  <a:pt x="515" y="251"/>
                </a:cubicBezTo>
                <a:cubicBezTo>
                  <a:pt x="550" y="286"/>
                  <a:pt x="550" y="286"/>
                  <a:pt x="550" y="286"/>
                </a:cubicBezTo>
                <a:cubicBezTo>
                  <a:pt x="552" y="288"/>
                  <a:pt x="553" y="288"/>
                  <a:pt x="555" y="288"/>
                </a:cubicBezTo>
                <a:cubicBezTo>
                  <a:pt x="557" y="288"/>
                  <a:pt x="559" y="288"/>
                  <a:pt x="560" y="286"/>
                </a:cubicBezTo>
                <a:cubicBezTo>
                  <a:pt x="563" y="283"/>
                  <a:pt x="563" y="279"/>
                  <a:pt x="560" y="276"/>
                </a:cubicBezTo>
                <a:close/>
                <a:moveTo>
                  <a:pt x="392" y="43"/>
                </a:moveTo>
                <a:cubicBezTo>
                  <a:pt x="450" y="43"/>
                  <a:pt x="450" y="43"/>
                  <a:pt x="450" y="43"/>
                </a:cubicBezTo>
                <a:cubicBezTo>
                  <a:pt x="450" y="166"/>
                  <a:pt x="450" y="166"/>
                  <a:pt x="450" y="166"/>
                </a:cubicBezTo>
                <a:cubicBezTo>
                  <a:pt x="392" y="108"/>
                  <a:pt x="392" y="108"/>
                  <a:pt x="392" y="108"/>
                </a:cubicBezTo>
                <a:lnTo>
                  <a:pt x="392" y="43"/>
                </a:lnTo>
                <a:close/>
                <a:moveTo>
                  <a:pt x="501" y="553"/>
                </a:moveTo>
                <a:cubicBezTo>
                  <a:pt x="360" y="553"/>
                  <a:pt x="360" y="553"/>
                  <a:pt x="360" y="553"/>
                </a:cubicBezTo>
                <a:cubicBezTo>
                  <a:pt x="360" y="317"/>
                  <a:pt x="360" y="317"/>
                  <a:pt x="360" y="317"/>
                </a:cubicBezTo>
                <a:cubicBezTo>
                  <a:pt x="360" y="313"/>
                  <a:pt x="357" y="310"/>
                  <a:pt x="353" y="310"/>
                </a:cubicBezTo>
                <a:cubicBezTo>
                  <a:pt x="209" y="310"/>
                  <a:pt x="209" y="310"/>
                  <a:pt x="209" y="310"/>
                </a:cubicBezTo>
                <a:cubicBezTo>
                  <a:pt x="205" y="310"/>
                  <a:pt x="202" y="313"/>
                  <a:pt x="202" y="317"/>
                </a:cubicBezTo>
                <a:cubicBezTo>
                  <a:pt x="202" y="553"/>
                  <a:pt x="202" y="553"/>
                  <a:pt x="202" y="553"/>
                </a:cubicBezTo>
                <a:cubicBezTo>
                  <a:pt x="62" y="553"/>
                  <a:pt x="62" y="553"/>
                  <a:pt x="62" y="553"/>
                </a:cubicBezTo>
                <a:cubicBezTo>
                  <a:pt x="62" y="237"/>
                  <a:pt x="62" y="237"/>
                  <a:pt x="62" y="237"/>
                </a:cubicBezTo>
                <a:cubicBezTo>
                  <a:pt x="281" y="17"/>
                  <a:pt x="281" y="17"/>
                  <a:pt x="281" y="17"/>
                </a:cubicBezTo>
                <a:cubicBezTo>
                  <a:pt x="380" y="116"/>
                  <a:pt x="380" y="116"/>
                  <a:pt x="380" y="116"/>
                </a:cubicBezTo>
                <a:cubicBezTo>
                  <a:pt x="380" y="116"/>
                  <a:pt x="380" y="116"/>
                  <a:pt x="380" y="116"/>
                </a:cubicBezTo>
                <a:cubicBezTo>
                  <a:pt x="452" y="188"/>
                  <a:pt x="452" y="188"/>
                  <a:pt x="452" y="188"/>
                </a:cubicBezTo>
                <a:cubicBezTo>
                  <a:pt x="452" y="188"/>
                  <a:pt x="452" y="188"/>
                  <a:pt x="452" y="188"/>
                </a:cubicBezTo>
                <a:cubicBezTo>
                  <a:pt x="501" y="237"/>
                  <a:pt x="501" y="237"/>
                  <a:pt x="501" y="237"/>
                </a:cubicBezTo>
                <a:lnTo>
                  <a:pt x="501" y="55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5" name="Oval 16"/>
          <p:cNvSpPr>
            <a:spLocks noChangeArrowheads="1"/>
          </p:cNvSpPr>
          <p:nvPr/>
        </p:nvSpPr>
        <p:spPr bwMode="auto">
          <a:xfrm>
            <a:off x="5557581" y="82790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89" name="Freeform 102"/>
          <p:cNvSpPr>
            <a:spLocks noEditPoints="1"/>
          </p:cNvSpPr>
          <p:nvPr/>
        </p:nvSpPr>
        <p:spPr bwMode="auto">
          <a:xfrm>
            <a:off x="5746032" y="990422"/>
            <a:ext cx="446058" cy="474586"/>
          </a:xfrm>
          <a:custGeom>
            <a:avLst/>
            <a:gdLst>
              <a:gd name="T0" fmla="*/ 160 w 576"/>
              <a:gd name="T1" fmla="*/ 333 h 613"/>
              <a:gd name="T2" fmla="*/ 251 w 576"/>
              <a:gd name="T3" fmla="*/ 413 h 613"/>
              <a:gd name="T4" fmla="*/ 174 w 576"/>
              <a:gd name="T5" fmla="*/ 340 h 613"/>
              <a:gd name="T6" fmla="*/ 50 w 576"/>
              <a:gd name="T7" fmla="*/ 326 h 613"/>
              <a:gd name="T8" fmla="*/ 126 w 576"/>
              <a:gd name="T9" fmla="*/ 420 h 613"/>
              <a:gd name="T10" fmla="*/ 119 w 576"/>
              <a:gd name="T11" fmla="*/ 406 h 613"/>
              <a:gd name="T12" fmla="*/ 119 w 576"/>
              <a:gd name="T13" fmla="*/ 406 h 613"/>
              <a:gd name="T14" fmla="*/ 251 w 576"/>
              <a:gd name="T15" fmla="*/ 199 h 613"/>
              <a:gd name="T16" fmla="*/ 160 w 576"/>
              <a:gd name="T17" fmla="*/ 279 h 613"/>
              <a:gd name="T18" fmla="*/ 237 w 576"/>
              <a:gd name="T19" fmla="*/ 272 h 613"/>
              <a:gd name="T20" fmla="*/ 50 w 576"/>
              <a:gd name="T21" fmla="*/ 192 h 613"/>
              <a:gd name="T22" fmla="*/ 126 w 576"/>
              <a:gd name="T23" fmla="*/ 286 h 613"/>
              <a:gd name="T24" fmla="*/ 119 w 576"/>
              <a:gd name="T25" fmla="*/ 272 h 613"/>
              <a:gd name="T26" fmla="*/ 119 w 576"/>
              <a:gd name="T27" fmla="*/ 272 h 613"/>
              <a:gd name="T28" fmla="*/ 43 w 576"/>
              <a:gd name="T29" fmla="*/ 549 h 613"/>
              <a:gd name="T30" fmla="*/ 133 w 576"/>
              <a:gd name="T31" fmla="*/ 468 h 613"/>
              <a:gd name="T32" fmla="*/ 57 w 576"/>
              <a:gd name="T33" fmla="*/ 475 h 613"/>
              <a:gd name="T34" fmla="*/ 288 w 576"/>
              <a:gd name="T35" fmla="*/ 0 h 613"/>
              <a:gd name="T36" fmla="*/ 0 w 576"/>
              <a:gd name="T37" fmla="*/ 153 h 613"/>
              <a:gd name="T38" fmla="*/ 174 w 576"/>
              <a:gd name="T39" fmla="*/ 606 h 613"/>
              <a:gd name="T40" fmla="*/ 244 w 576"/>
              <a:gd name="T41" fmla="*/ 613 h 613"/>
              <a:gd name="T42" fmla="*/ 456 w 576"/>
              <a:gd name="T43" fmla="*/ 475 h 613"/>
              <a:gd name="T44" fmla="*/ 569 w 576"/>
              <a:gd name="T45" fmla="*/ 613 h 613"/>
              <a:gd name="T46" fmla="*/ 244 w 576"/>
              <a:gd name="T47" fmla="*/ 461 h 613"/>
              <a:gd name="T48" fmla="*/ 14 w 576"/>
              <a:gd name="T49" fmla="*/ 599 h 613"/>
              <a:gd name="T50" fmla="*/ 251 w 576"/>
              <a:gd name="T51" fmla="*/ 599 h 613"/>
              <a:gd name="T52" fmla="*/ 532 w 576"/>
              <a:gd name="T53" fmla="*/ 599 h 613"/>
              <a:gd name="T54" fmla="*/ 442 w 576"/>
              <a:gd name="T55" fmla="*/ 468 h 613"/>
              <a:gd name="T56" fmla="*/ 295 w 576"/>
              <a:gd name="T57" fmla="*/ 14 h 613"/>
              <a:gd name="T58" fmla="*/ 525 w 576"/>
              <a:gd name="T59" fmla="*/ 420 h 613"/>
              <a:gd name="T60" fmla="*/ 449 w 576"/>
              <a:gd name="T61" fmla="*/ 326 h 613"/>
              <a:gd name="T62" fmla="*/ 456 w 576"/>
              <a:gd name="T63" fmla="*/ 340 h 613"/>
              <a:gd name="T64" fmla="*/ 456 w 576"/>
              <a:gd name="T65" fmla="*/ 340 h 613"/>
              <a:gd name="T66" fmla="*/ 414 w 576"/>
              <a:gd name="T67" fmla="*/ 333 h 613"/>
              <a:gd name="T68" fmla="*/ 324 w 576"/>
              <a:gd name="T69" fmla="*/ 413 h 613"/>
              <a:gd name="T70" fmla="*/ 400 w 576"/>
              <a:gd name="T71" fmla="*/ 406 h 613"/>
              <a:gd name="T72" fmla="*/ 525 w 576"/>
              <a:gd name="T73" fmla="*/ 286 h 613"/>
              <a:gd name="T74" fmla="*/ 449 w 576"/>
              <a:gd name="T75" fmla="*/ 192 h 613"/>
              <a:gd name="T76" fmla="*/ 456 w 576"/>
              <a:gd name="T77" fmla="*/ 206 h 613"/>
              <a:gd name="T78" fmla="*/ 456 w 576"/>
              <a:gd name="T79" fmla="*/ 206 h 613"/>
              <a:gd name="T80" fmla="*/ 414 w 576"/>
              <a:gd name="T81" fmla="*/ 199 h 613"/>
              <a:gd name="T82" fmla="*/ 324 w 576"/>
              <a:gd name="T83" fmla="*/ 279 h 613"/>
              <a:gd name="T84" fmla="*/ 400 w 576"/>
              <a:gd name="T85" fmla="*/ 272 h 613"/>
              <a:gd name="T86" fmla="*/ 525 w 576"/>
              <a:gd name="T87" fmla="*/ 153 h 613"/>
              <a:gd name="T88" fmla="*/ 449 w 576"/>
              <a:gd name="T89" fmla="*/ 59 h 613"/>
              <a:gd name="T90" fmla="*/ 456 w 576"/>
              <a:gd name="T91" fmla="*/ 73 h 613"/>
              <a:gd name="T92" fmla="*/ 456 w 576"/>
              <a:gd name="T93" fmla="*/ 73 h 613"/>
              <a:gd name="T94" fmla="*/ 414 w 576"/>
              <a:gd name="T95" fmla="*/ 66 h 613"/>
              <a:gd name="T96" fmla="*/ 324 w 576"/>
              <a:gd name="T97" fmla="*/ 146 h 613"/>
              <a:gd name="T98" fmla="*/ 400 w 576"/>
              <a:gd name="T99" fmla="*/ 139 h 613"/>
              <a:gd name="T100" fmla="*/ 407 w 576"/>
              <a:gd name="T101" fmla="*/ 556 h 613"/>
              <a:gd name="T102" fmla="*/ 331 w 576"/>
              <a:gd name="T103" fmla="*/ 461 h 613"/>
              <a:gd name="T104" fmla="*/ 338 w 576"/>
              <a:gd name="T105" fmla="*/ 475 h 613"/>
              <a:gd name="T106" fmla="*/ 338 w 576"/>
              <a:gd name="T107" fmla="*/ 475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76" h="613">
                <a:moveTo>
                  <a:pt x="251" y="333"/>
                </a:moveTo>
                <a:cubicBezTo>
                  <a:pt x="251" y="329"/>
                  <a:pt x="248" y="326"/>
                  <a:pt x="244" y="326"/>
                </a:cubicBezTo>
                <a:cubicBezTo>
                  <a:pt x="167" y="326"/>
                  <a:pt x="167" y="326"/>
                  <a:pt x="167" y="326"/>
                </a:cubicBezTo>
                <a:cubicBezTo>
                  <a:pt x="164" y="326"/>
                  <a:pt x="160" y="329"/>
                  <a:pt x="160" y="333"/>
                </a:cubicBezTo>
                <a:cubicBezTo>
                  <a:pt x="160" y="413"/>
                  <a:pt x="160" y="413"/>
                  <a:pt x="160" y="413"/>
                </a:cubicBezTo>
                <a:cubicBezTo>
                  <a:pt x="160" y="417"/>
                  <a:pt x="164" y="420"/>
                  <a:pt x="167" y="420"/>
                </a:cubicBezTo>
                <a:cubicBezTo>
                  <a:pt x="244" y="420"/>
                  <a:pt x="244" y="420"/>
                  <a:pt x="244" y="420"/>
                </a:cubicBezTo>
                <a:cubicBezTo>
                  <a:pt x="248" y="420"/>
                  <a:pt x="251" y="417"/>
                  <a:pt x="251" y="413"/>
                </a:cubicBezTo>
                <a:lnTo>
                  <a:pt x="251" y="333"/>
                </a:lnTo>
                <a:close/>
                <a:moveTo>
                  <a:pt x="237" y="406"/>
                </a:moveTo>
                <a:cubicBezTo>
                  <a:pt x="174" y="406"/>
                  <a:pt x="174" y="406"/>
                  <a:pt x="174" y="406"/>
                </a:cubicBezTo>
                <a:cubicBezTo>
                  <a:pt x="174" y="340"/>
                  <a:pt x="174" y="340"/>
                  <a:pt x="174" y="340"/>
                </a:cubicBezTo>
                <a:cubicBezTo>
                  <a:pt x="237" y="340"/>
                  <a:pt x="237" y="340"/>
                  <a:pt x="237" y="340"/>
                </a:cubicBezTo>
                <a:lnTo>
                  <a:pt x="237" y="406"/>
                </a:lnTo>
                <a:close/>
                <a:moveTo>
                  <a:pt x="126" y="326"/>
                </a:moveTo>
                <a:cubicBezTo>
                  <a:pt x="50" y="326"/>
                  <a:pt x="50" y="326"/>
                  <a:pt x="50" y="326"/>
                </a:cubicBezTo>
                <a:cubicBezTo>
                  <a:pt x="46" y="326"/>
                  <a:pt x="43" y="329"/>
                  <a:pt x="43" y="333"/>
                </a:cubicBezTo>
                <a:cubicBezTo>
                  <a:pt x="43" y="413"/>
                  <a:pt x="43" y="413"/>
                  <a:pt x="43" y="413"/>
                </a:cubicBezTo>
                <a:cubicBezTo>
                  <a:pt x="43" y="417"/>
                  <a:pt x="46" y="420"/>
                  <a:pt x="50" y="420"/>
                </a:cubicBezTo>
                <a:cubicBezTo>
                  <a:pt x="126" y="420"/>
                  <a:pt x="126" y="420"/>
                  <a:pt x="126" y="420"/>
                </a:cubicBezTo>
                <a:cubicBezTo>
                  <a:pt x="130" y="420"/>
                  <a:pt x="133" y="417"/>
                  <a:pt x="133" y="413"/>
                </a:cubicBezTo>
                <a:cubicBezTo>
                  <a:pt x="133" y="333"/>
                  <a:pt x="133" y="333"/>
                  <a:pt x="133" y="333"/>
                </a:cubicBezTo>
                <a:cubicBezTo>
                  <a:pt x="133" y="329"/>
                  <a:pt x="130" y="326"/>
                  <a:pt x="126" y="326"/>
                </a:cubicBezTo>
                <a:close/>
                <a:moveTo>
                  <a:pt x="119" y="406"/>
                </a:moveTo>
                <a:cubicBezTo>
                  <a:pt x="57" y="406"/>
                  <a:pt x="57" y="406"/>
                  <a:pt x="57" y="406"/>
                </a:cubicBezTo>
                <a:cubicBezTo>
                  <a:pt x="57" y="340"/>
                  <a:pt x="57" y="340"/>
                  <a:pt x="57" y="340"/>
                </a:cubicBezTo>
                <a:cubicBezTo>
                  <a:pt x="119" y="340"/>
                  <a:pt x="119" y="340"/>
                  <a:pt x="119" y="340"/>
                </a:cubicBezTo>
                <a:lnTo>
                  <a:pt x="119" y="406"/>
                </a:lnTo>
                <a:close/>
                <a:moveTo>
                  <a:pt x="167" y="286"/>
                </a:moveTo>
                <a:cubicBezTo>
                  <a:pt x="244" y="286"/>
                  <a:pt x="244" y="286"/>
                  <a:pt x="244" y="286"/>
                </a:cubicBezTo>
                <a:cubicBezTo>
                  <a:pt x="248" y="286"/>
                  <a:pt x="251" y="283"/>
                  <a:pt x="251" y="279"/>
                </a:cubicBezTo>
                <a:cubicBezTo>
                  <a:pt x="251" y="199"/>
                  <a:pt x="251" y="199"/>
                  <a:pt x="251" y="199"/>
                </a:cubicBezTo>
                <a:cubicBezTo>
                  <a:pt x="251" y="195"/>
                  <a:pt x="248" y="192"/>
                  <a:pt x="244" y="192"/>
                </a:cubicBezTo>
                <a:cubicBezTo>
                  <a:pt x="167" y="192"/>
                  <a:pt x="167" y="192"/>
                  <a:pt x="167" y="192"/>
                </a:cubicBezTo>
                <a:cubicBezTo>
                  <a:pt x="164" y="192"/>
                  <a:pt x="160" y="195"/>
                  <a:pt x="160" y="199"/>
                </a:cubicBezTo>
                <a:cubicBezTo>
                  <a:pt x="160" y="279"/>
                  <a:pt x="160" y="279"/>
                  <a:pt x="160" y="279"/>
                </a:cubicBezTo>
                <a:cubicBezTo>
                  <a:pt x="160" y="283"/>
                  <a:pt x="164" y="286"/>
                  <a:pt x="167" y="286"/>
                </a:cubicBezTo>
                <a:close/>
                <a:moveTo>
                  <a:pt x="174" y="206"/>
                </a:moveTo>
                <a:cubicBezTo>
                  <a:pt x="237" y="206"/>
                  <a:pt x="237" y="206"/>
                  <a:pt x="237" y="206"/>
                </a:cubicBezTo>
                <a:cubicBezTo>
                  <a:pt x="237" y="272"/>
                  <a:pt x="237" y="272"/>
                  <a:pt x="237" y="272"/>
                </a:cubicBezTo>
                <a:cubicBezTo>
                  <a:pt x="174" y="272"/>
                  <a:pt x="174" y="272"/>
                  <a:pt x="174" y="272"/>
                </a:cubicBezTo>
                <a:lnTo>
                  <a:pt x="174" y="206"/>
                </a:lnTo>
                <a:close/>
                <a:moveTo>
                  <a:pt x="126" y="192"/>
                </a:moveTo>
                <a:cubicBezTo>
                  <a:pt x="50" y="192"/>
                  <a:pt x="50" y="192"/>
                  <a:pt x="50" y="192"/>
                </a:cubicBezTo>
                <a:cubicBezTo>
                  <a:pt x="46" y="192"/>
                  <a:pt x="43" y="195"/>
                  <a:pt x="43" y="199"/>
                </a:cubicBezTo>
                <a:cubicBezTo>
                  <a:pt x="43" y="279"/>
                  <a:pt x="43" y="279"/>
                  <a:pt x="43" y="279"/>
                </a:cubicBezTo>
                <a:cubicBezTo>
                  <a:pt x="43" y="283"/>
                  <a:pt x="46" y="286"/>
                  <a:pt x="50" y="286"/>
                </a:cubicBezTo>
                <a:cubicBezTo>
                  <a:pt x="126" y="286"/>
                  <a:pt x="126" y="286"/>
                  <a:pt x="126" y="286"/>
                </a:cubicBezTo>
                <a:cubicBezTo>
                  <a:pt x="130" y="286"/>
                  <a:pt x="133" y="283"/>
                  <a:pt x="133" y="279"/>
                </a:cubicBezTo>
                <a:cubicBezTo>
                  <a:pt x="133" y="199"/>
                  <a:pt x="133" y="199"/>
                  <a:pt x="133" y="199"/>
                </a:cubicBezTo>
                <a:cubicBezTo>
                  <a:pt x="133" y="195"/>
                  <a:pt x="130" y="192"/>
                  <a:pt x="126" y="192"/>
                </a:cubicBezTo>
                <a:close/>
                <a:moveTo>
                  <a:pt x="119" y="272"/>
                </a:moveTo>
                <a:cubicBezTo>
                  <a:pt x="57" y="272"/>
                  <a:pt x="57" y="272"/>
                  <a:pt x="57" y="272"/>
                </a:cubicBezTo>
                <a:cubicBezTo>
                  <a:pt x="57" y="206"/>
                  <a:pt x="57" y="206"/>
                  <a:pt x="57" y="206"/>
                </a:cubicBezTo>
                <a:cubicBezTo>
                  <a:pt x="119" y="206"/>
                  <a:pt x="119" y="206"/>
                  <a:pt x="119" y="206"/>
                </a:cubicBezTo>
                <a:lnTo>
                  <a:pt x="119" y="272"/>
                </a:lnTo>
                <a:close/>
                <a:moveTo>
                  <a:pt x="126" y="461"/>
                </a:moveTo>
                <a:cubicBezTo>
                  <a:pt x="50" y="461"/>
                  <a:pt x="50" y="461"/>
                  <a:pt x="50" y="461"/>
                </a:cubicBezTo>
                <a:cubicBezTo>
                  <a:pt x="46" y="461"/>
                  <a:pt x="43" y="465"/>
                  <a:pt x="43" y="468"/>
                </a:cubicBezTo>
                <a:cubicBezTo>
                  <a:pt x="43" y="549"/>
                  <a:pt x="43" y="549"/>
                  <a:pt x="43" y="549"/>
                </a:cubicBezTo>
                <a:cubicBezTo>
                  <a:pt x="43" y="553"/>
                  <a:pt x="46" y="556"/>
                  <a:pt x="50" y="556"/>
                </a:cubicBezTo>
                <a:cubicBezTo>
                  <a:pt x="126" y="556"/>
                  <a:pt x="126" y="556"/>
                  <a:pt x="126" y="556"/>
                </a:cubicBezTo>
                <a:cubicBezTo>
                  <a:pt x="130" y="556"/>
                  <a:pt x="133" y="553"/>
                  <a:pt x="133" y="549"/>
                </a:cubicBezTo>
                <a:cubicBezTo>
                  <a:pt x="133" y="468"/>
                  <a:pt x="133" y="468"/>
                  <a:pt x="133" y="468"/>
                </a:cubicBezTo>
                <a:cubicBezTo>
                  <a:pt x="133" y="465"/>
                  <a:pt x="130" y="461"/>
                  <a:pt x="126" y="461"/>
                </a:cubicBezTo>
                <a:close/>
                <a:moveTo>
                  <a:pt x="119" y="542"/>
                </a:moveTo>
                <a:cubicBezTo>
                  <a:pt x="57" y="542"/>
                  <a:pt x="57" y="542"/>
                  <a:pt x="57" y="542"/>
                </a:cubicBezTo>
                <a:cubicBezTo>
                  <a:pt x="57" y="475"/>
                  <a:pt x="57" y="475"/>
                  <a:pt x="57" y="475"/>
                </a:cubicBezTo>
                <a:cubicBezTo>
                  <a:pt x="119" y="475"/>
                  <a:pt x="119" y="475"/>
                  <a:pt x="119" y="475"/>
                </a:cubicBezTo>
                <a:lnTo>
                  <a:pt x="119" y="542"/>
                </a:lnTo>
                <a:close/>
                <a:moveTo>
                  <a:pt x="569" y="0"/>
                </a:moveTo>
                <a:cubicBezTo>
                  <a:pt x="288" y="0"/>
                  <a:pt x="288" y="0"/>
                  <a:pt x="288" y="0"/>
                </a:cubicBezTo>
                <a:cubicBezTo>
                  <a:pt x="284" y="0"/>
                  <a:pt x="281" y="3"/>
                  <a:pt x="281" y="7"/>
                </a:cubicBezTo>
                <a:cubicBezTo>
                  <a:pt x="281" y="146"/>
                  <a:pt x="281" y="146"/>
                  <a:pt x="281" y="146"/>
                </a:cubicBezTo>
                <a:cubicBezTo>
                  <a:pt x="7" y="146"/>
                  <a:pt x="7" y="146"/>
                  <a:pt x="7" y="146"/>
                </a:cubicBezTo>
                <a:cubicBezTo>
                  <a:pt x="3" y="146"/>
                  <a:pt x="0" y="149"/>
                  <a:pt x="0" y="153"/>
                </a:cubicBezTo>
                <a:cubicBezTo>
                  <a:pt x="0" y="606"/>
                  <a:pt x="0" y="606"/>
                  <a:pt x="0" y="606"/>
                </a:cubicBezTo>
                <a:cubicBezTo>
                  <a:pt x="0" y="609"/>
                  <a:pt x="3" y="613"/>
                  <a:pt x="7" y="613"/>
                </a:cubicBezTo>
                <a:cubicBezTo>
                  <a:pt x="167" y="613"/>
                  <a:pt x="167" y="613"/>
                  <a:pt x="167" y="613"/>
                </a:cubicBezTo>
                <a:cubicBezTo>
                  <a:pt x="171" y="613"/>
                  <a:pt x="174" y="609"/>
                  <a:pt x="174" y="606"/>
                </a:cubicBezTo>
                <a:cubicBezTo>
                  <a:pt x="174" y="475"/>
                  <a:pt x="174" y="475"/>
                  <a:pt x="174" y="475"/>
                </a:cubicBezTo>
                <a:cubicBezTo>
                  <a:pt x="237" y="475"/>
                  <a:pt x="237" y="475"/>
                  <a:pt x="237" y="475"/>
                </a:cubicBezTo>
                <a:cubicBezTo>
                  <a:pt x="237" y="606"/>
                  <a:pt x="237" y="606"/>
                  <a:pt x="237" y="606"/>
                </a:cubicBezTo>
                <a:cubicBezTo>
                  <a:pt x="237" y="609"/>
                  <a:pt x="240" y="613"/>
                  <a:pt x="244" y="613"/>
                </a:cubicBezTo>
                <a:cubicBezTo>
                  <a:pt x="288" y="613"/>
                  <a:pt x="288" y="613"/>
                  <a:pt x="288" y="613"/>
                </a:cubicBezTo>
                <a:cubicBezTo>
                  <a:pt x="449" y="613"/>
                  <a:pt x="449" y="613"/>
                  <a:pt x="449" y="613"/>
                </a:cubicBezTo>
                <a:cubicBezTo>
                  <a:pt x="453" y="613"/>
                  <a:pt x="456" y="609"/>
                  <a:pt x="456" y="606"/>
                </a:cubicBezTo>
                <a:cubicBezTo>
                  <a:pt x="456" y="475"/>
                  <a:pt x="456" y="475"/>
                  <a:pt x="456" y="475"/>
                </a:cubicBezTo>
                <a:cubicBezTo>
                  <a:pt x="518" y="475"/>
                  <a:pt x="518" y="475"/>
                  <a:pt x="518" y="475"/>
                </a:cubicBezTo>
                <a:cubicBezTo>
                  <a:pt x="518" y="606"/>
                  <a:pt x="518" y="606"/>
                  <a:pt x="518" y="606"/>
                </a:cubicBezTo>
                <a:cubicBezTo>
                  <a:pt x="518" y="609"/>
                  <a:pt x="521" y="613"/>
                  <a:pt x="525" y="613"/>
                </a:cubicBezTo>
                <a:cubicBezTo>
                  <a:pt x="569" y="613"/>
                  <a:pt x="569" y="613"/>
                  <a:pt x="569" y="613"/>
                </a:cubicBezTo>
                <a:cubicBezTo>
                  <a:pt x="573" y="613"/>
                  <a:pt x="576" y="609"/>
                  <a:pt x="576" y="606"/>
                </a:cubicBezTo>
                <a:cubicBezTo>
                  <a:pt x="576" y="7"/>
                  <a:pt x="576" y="7"/>
                  <a:pt x="576" y="7"/>
                </a:cubicBezTo>
                <a:cubicBezTo>
                  <a:pt x="576" y="3"/>
                  <a:pt x="573" y="0"/>
                  <a:pt x="569" y="0"/>
                </a:cubicBezTo>
                <a:close/>
                <a:moveTo>
                  <a:pt x="244" y="461"/>
                </a:moveTo>
                <a:cubicBezTo>
                  <a:pt x="167" y="461"/>
                  <a:pt x="167" y="461"/>
                  <a:pt x="167" y="461"/>
                </a:cubicBezTo>
                <a:cubicBezTo>
                  <a:pt x="164" y="461"/>
                  <a:pt x="160" y="465"/>
                  <a:pt x="160" y="468"/>
                </a:cubicBezTo>
                <a:cubicBezTo>
                  <a:pt x="160" y="599"/>
                  <a:pt x="160" y="599"/>
                  <a:pt x="160" y="599"/>
                </a:cubicBezTo>
                <a:cubicBezTo>
                  <a:pt x="14" y="599"/>
                  <a:pt x="14" y="599"/>
                  <a:pt x="14" y="599"/>
                </a:cubicBezTo>
                <a:cubicBezTo>
                  <a:pt x="14" y="160"/>
                  <a:pt x="14" y="160"/>
                  <a:pt x="14" y="160"/>
                </a:cubicBezTo>
                <a:cubicBezTo>
                  <a:pt x="281" y="160"/>
                  <a:pt x="281" y="160"/>
                  <a:pt x="281" y="160"/>
                </a:cubicBezTo>
                <a:cubicBezTo>
                  <a:pt x="281" y="599"/>
                  <a:pt x="281" y="599"/>
                  <a:pt x="281" y="599"/>
                </a:cubicBezTo>
                <a:cubicBezTo>
                  <a:pt x="251" y="599"/>
                  <a:pt x="251" y="599"/>
                  <a:pt x="251" y="599"/>
                </a:cubicBezTo>
                <a:cubicBezTo>
                  <a:pt x="251" y="468"/>
                  <a:pt x="251" y="468"/>
                  <a:pt x="251" y="468"/>
                </a:cubicBezTo>
                <a:cubicBezTo>
                  <a:pt x="251" y="465"/>
                  <a:pt x="248" y="461"/>
                  <a:pt x="244" y="461"/>
                </a:cubicBezTo>
                <a:close/>
                <a:moveTo>
                  <a:pt x="562" y="599"/>
                </a:moveTo>
                <a:cubicBezTo>
                  <a:pt x="532" y="599"/>
                  <a:pt x="532" y="599"/>
                  <a:pt x="532" y="599"/>
                </a:cubicBezTo>
                <a:cubicBezTo>
                  <a:pt x="532" y="468"/>
                  <a:pt x="532" y="468"/>
                  <a:pt x="532" y="468"/>
                </a:cubicBezTo>
                <a:cubicBezTo>
                  <a:pt x="532" y="465"/>
                  <a:pt x="529" y="461"/>
                  <a:pt x="525" y="461"/>
                </a:cubicBezTo>
                <a:cubicBezTo>
                  <a:pt x="449" y="461"/>
                  <a:pt x="449" y="461"/>
                  <a:pt x="449" y="461"/>
                </a:cubicBezTo>
                <a:cubicBezTo>
                  <a:pt x="445" y="461"/>
                  <a:pt x="442" y="465"/>
                  <a:pt x="442" y="468"/>
                </a:cubicBezTo>
                <a:cubicBezTo>
                  <a:pt x="442" y="599"/>
                  <a:pt x="442" y="599"/>
                  <a:pt x="442" y="599"/>
                </a:cubicBezTo>
                <a:cubicBezTo>
                  <a:pt x="295" y="599"/>
                  <a:pt x="295" y="599"/>
                  <a:pt x="295" y="599"/>
                </a:cubicBezTo>
                <a:cubicBezTo>
                  <a:pt x="295" y="153"/>
                  <a:pt x="295" y="153"/>
                  <a:pt x="295" y="153"/>
                </a:cubicBezTo>
                <a:cubicBezTo>
                  <a:pt x="295" y="14"/>
                  <a:pt x="295" y="14"/>
                  <a:pt x="295" y="14"/>
                </a:cubicBezTo>
                <a:cubicBezTo>
                  <a:pt x="562" y="14"/>
                  <a:pt x="562" y="14"/>
                  <a:pt x="562" y="14"/>
                </a:cubicBezTo>
                <a:lnTo>
                  <a:pt x="562" y="599"/>
                </a:lnTo>
                <a:close/>
                <a:moveTo>
                  <a:pt x="449" y="420"/>
                </a:moveTo>
                <a:cubicBezTo>
                  <a:pt x="525" y="420"/>
                  <a:pt x="525" y="420"/>
                  <a:pt x="525" y="420"/>
                </a:cubicBezTo>
                <a:cubicBezTo>
                  <a:pt x="529" y="420"/>
                  <a:pt x="532" y="417"/>
                  <a:pt x="532" y="413"/>
                </a:cubicBezTo>
                <a:cubicBezTo>
                  <a:pt x="532" y="333"/>
                  <a:pt x="532" y="333"/>
                  <a:pt x="532" y="333"/>
                </a:cubicBezTo>
                <a:cubicBezTo>
                  <a:pt x="532" y="329"/>
                  <a:pt x="529" y="326"/>
                  <a:pt x="525" y="326"/>
                </a:cubicBezTo>
                <a:cubicBezTo>
                  <a:pt x="449" y="326"/>
                  <a:pt x="449" y="326"/>
                  <a:pt x="449" y="326"/>
                </a:cubicBezTo>
                <a:cubicBezTo>
                  <a:pt x="445" y="326"/>
                  <a:pt x="442" y="329"/>
                  <a:pt x="442" y="333"/>
                </a:cubicBezTo>
                <a:cubicBezTo>
                  <a:pt x="442" y="413"/>
                  <a:pt x="442" y="413"/>
                  <a:pt x="442" y="413"/>
                </a:cubicBezTo>
                <a:cubicBezTo>
                  <a:pt x="442" y="417"/>
                  <a:pt x="445" y="420"/>
                  <a:pt x="449" y="420"/>
                </a:cubicBezTo>
                <a:close/>
                <a:moveTo>
                  <a:pt x="456" y="340"/>
                </a:moveTo>
                <a:cubicBezTo>
                  <a:pt x="518" y="340"/>
                  <a:pt x="518" y="340"/>
                  <a:pt x="518" y="340"/>
                </a:cubicBezTo>
                <a:cubicBezTo>
                  <a:pt x="518" y="406"/>
                  <a:pt x="518" y="406"/>
                  <a:pt x="518" y="406"/>
                </a:cubicBezTo>
                <a:cubicBezTo>
                  <a:pt x="456" y="406"/>
                  <a:pt x="456" y="406"/>
                  <a:pt x="456" y="406"/>
                </a:cubicBezTo>
                <a:lnTo>
                  <a:pt x="456" y="340"/>
                </a:lnTo>
                <a:close/>
                <a:moveTo>
                  <a:pt x="331" y="420"/>
                </a:moveTo>
                <a:cubicBezTo>
                  <a:pt x="407" y="420"/>
                  <a:pt x="407" y="420"/>
                  <a:pt x="407" y="420"/>
                </a:cubicBezTo>
                <a:cubicBezTo>
                  <a:pt x="411" y="420"/>
                  <a:pt x="414" y="417"/>
                  <a:pt x="414" y="413"/>
                </a:cubicBezTo>
                <a:cubicBezTo>
                  <a:pt x="414" y="333"/>
                  <a:pt x="414" y="333"/>
                  <a:pt x="414" y="333"/>
                </a:cubicBezTo>
                <a:cubicBezTo>
                  <a:pt x="414" y="329"/>
                  <a:pt x="411" y="326"/>
                  <a:pt x="407" y="326"/>
                </a:cubicBezTo>
                <a:cubicBezTo>
                  <a:pt x="331" y="326"/>
                  <a:pt x="331" y="326"/>
                  <a:pt x="331" y="326"/>
                </a:cubicBezTo>
                <a:cubicBezTo>
                  <a:pt x="327" y="326"/>
                  <a:pt x="324" y="329"/>
                  <a:pt x="324" y="333"/>
                </a:cubicBezTo>
                <a:cubicBezTo>
                  <a:pt x="324" y="413"/>
                  <a:pt x="324" y="413"/>
                  <a:pt x="324" y="413"/>
                </a:cubicBezTo>
                <a:cubicBezTo>
                  <a:pt x="324" y="417"/>
                  <a:pt x="327" y="420"/>
                  <a:pt x="331" y="420"/>
                </a:cubicBezTo>
                <a:close/>
                <a:moveTo>
                  <a:pt x="338" y="340"/>
                </a:moveTo>
                <a:cubicBezTo>
                  <a:pt x="400" y="340"/>
                  <a:pt x="400" y="340"/>
                  <a:pt x="400" y="340"/>
                </a:cubicBezTo>
                <a:cubicBezTo>
                  <a:pt x="400" y="406"/>
                  <a:pt x="400" y="406"/>
                  <a:pt x="400" y="406"/>
                </a:cubicBezTo>
                <a:cubicBezTo>
                  <a:pt x="338" y="406"/>
                  <a:pt x="338" y="406"/>
                  <a:pt x="338" y="406"/>
                </a:cubicBezTo>
                <a:lnTo>
                  <a:pt x="338" y="340"/>
                </a:lnTo>
                <a:close/>
                <a:moveTo>
                  <a:pt x="449" y="286"/>
                </a:moveTo>
                <a:cubicBezTo>
                  <a:pt x="525" y="286"/>
                  <a:pt x="525" y="286"/>
                  <a:pt x="525" y="286"/>
                </a:cubicBezTo>
                <a:cubicBezTo>
                  <a:pt x="529" y="286"/>
                  <a:pt x="532" y="283"/>
                  <a:pt x="532" y="279"/>
                </a:cubicBezTo>
                <a:cubicBezTo>
                  <a:pt x="532" y="199"/>
                  <a:pt x="532" y="199"/>
                  <a:pt x="532" y="199"/>
                </a:cubicBezTo>
                <a:cubicBezTo>
                  <a:pt x="532" y="195"/>
                  <a:pt x="529" y="192"/>
                  <a:pt x="525" y="192"/>
                </a:cubicBezTo>
                <a:cubicBezTo>
                  <a:pt x="449" y="192"/>
                  <a:pt x="449" y="192"/>
                  <a:pt x="449" y="192"/>
                </a:cubicBezTo>
                <a:cubicBezTo>
                  <a:pt x="445" y="192"/>
                  <a:pt x="442" y="195"/>
                  <a:pt x="442" y="199"/>
                </a:cubicBezTo>
                <a:cubicBezTo>
                  <a:pt x="442" y="279"/>
                  <a:pt x="442" y="279"/>
                  <a:pt x="442" y="279"/>
                </a:cubicBezTo>
                <a:cubicBezTo>
                  <a:pt x="442" y="283"/>
                  <a:pt x="445" y="286"/>
                  <a:pt x="449" y="286"/>
                </a:cubicBezTo>
                <a:close/>
                <a:moveTo>
                  <a:pt x="456" y="206"/>
                </a:moveTo>
                <a:cubicBezTo>
                  <a:pt x="518" y="206"/>
                  <a:pt x="518" y="206"/>
                  <a:pt x="518" y="206"/>
                </a:cubicBezTo>
                <a:cubicBezTo>
                  <a:pt x="518" y="272"/>
                  <a:pt x="518" y="272"/>
                  <a:pt x="518" y="272"/>
                </a:cubicBezTo>
                <a:cubicBezTo>
                  <a:pt x="456" y="272"/>
                  <a:pt x="456" y="272"/>
                  <a:pt x="456" y="272"/>
                </a:cubicBezTo>
                <a:lnTo>
                  <a:pt x="456" y="206"/>
                </a:lnTo>
                <a:close/>
                <a:moveTo>
                  <a:pt x="331" y="286"/>
                </a:moveTo>
                <a:cubicBezTo>
                  <a:pt x="407" y="286"/>
                  <a:pt x="407" y="286"/>
                  <a:pt x="407" y="286"/>
                </a:cubicBezTo>
                <a:cubicBezTo>
                  <a:pt x="411" y="286"/>
                  <a:pt x="414" y="283"/>
                  <a:pt x="414" y="279"/>
                </a:cubicBezTo>
                <a:cubicBezTo>
                  <a:pt x="414" y="199"/>
                  <a:pt x="414" y="199"/>
                  <a:pt x="414" y="199"/>
                </a:cubicBezTo>
                <a:cubicBezTo>
                  <a:pt x="414" y="195"/>
                  <a:pt x="411" y="192"/>
                  <a:pt x="407" y="192"/>
                </a:cubicBezTo>
                <a:cubicBezTo>
                  <a:pt x="331" y="192"/>
                  <a:pt x="331" y="192"/>
                  <a:pt x="331" y="192"/>
                </a:cubicBezTo>
                <a:cubicBezTo>
                  <a:pt x="327" y="192"/>
                  <a:pt x="324" y="195"/>
                  <a:pt x="324" y="199"/>
                </a:cubicBezTo>
                <a:cubicBezTo>
                  <a:pt x="324" y="279"/>
                  <a:pt x="324" y="279"/>
                  <a:pt x="324" y="279"/>
                </a:cubicBezTo>
                <a:cubicBezTo>
                  <a:pt x="324" y="283"/>
                  <a:pt x="327" y="286"/>
                  <a:pt x="331" y="286"/>
                </a:cubicBezTo>
                <a:close/>
                <a:moveTo>
                  <a:pt x="338" y="206"/>
                </a:moveTo>
                <a:cubicBezTo>
                  <a:pt x="400" y="206"/>
                  <a:pt x="400" y="206"/>
                  <a:pt x="400" y="206"/>
                </a:cubicBezTo>
                <a:cubicBezTo>
                  <a:pt x="400" y="272"/>
                  <a:pt x="400" y="272"/>
                  <a:pt x="400" y="272"/>
                </a:cubicBezTo>
                <a:cubicBezTo>
                  <a:pt x="338" y="272"/>
                  <a:pt x="338" y="272"/>
                  <a:pt x="338" y="272"/>
                </a:cubicBezTo>
                <a:lnTo>
                  <a:pt x="338" y="206"/>
                </a:lnTo>
                <a:close/>
                <a:moveTo>
                  <a:pt x="449" y="153"/>
                </a:moveTo>
                <a:cubicBezTo>
                  <a:pt x="525" y="153"/>
                  <a:pt x="525" y="153"/>
                  <a:pt x="525" y="153"/>
                </a:cubicBezTo>
                <a:cubicBezTo>
                  <a:pt x="529" y="153"/>
                  <a:pt x="532" y="150"/>
                  <a:pt x="532" y="146"/>
                </a:cubicBezTo>
                <a:cubicBezTo>
                  <a:pt x="532" y="66"/>
                  <a:pt x="532" y="66"/>
                  <a:pt x="532" y="66"/>
                </a:cubicBezTo>
                <a:cubicBezTo>
                  <a:pt x="532" y="62"/>
                  <a:pt x="529" y="59"/>
                  <a:pt x="525" y="59"/>
                </a:cubicBezTo>
                <a:cubicBezTo>
                  <a:pt x="449" y="59"/>
                  <a:pt x="449" y="59"/>
                  <a:pt x="449" y="59"/>
                </a:cubicBezTo>
                <a:cubicBezTo>
                  <a:pt x="445" y="59"/>
                  <a:pt x="442" y="62"/>
                  <a:pt x="442" y="66"/>
                </a:cubicBezTo>
                <a:cubicBezTo>
                  <a:pt x="442" y="146"/>
                  <a:pt x="442" y="146"/>
                  <a:pt x="442" y="146"/>
                </a:cubicBezTo>
                <a:cubicBezTo>
                  <a:pt x="442" y="150"/>
                  <a:pt x="445" y="153"/>
                  <a:pt x="449" y="153"/>
                </a:cubicBezTo>
                <a:close/>
                <a:moveTo>
                  <a:pt x="456" y="73"/>
                </a:moveTo>
                <a:cubicBezTo>
                  <a:pt x="518" y="73"/>
                  <a:pt x="518" y="73"/>
                  <a:pt x="518" y="73"/>
                </a:cubicBezTo>
                <a:cubicBezTo>
                  <a:pt x="518" y="139"/>
                  <a:pt x="518" y="139"/>
                  <a:pt x="518" y="139"/>
                </a:cubicBezTo>
                <a:cubicBezTo>
                  <a:pt x="456" y="139"/>
                  <a:pt x="456" y="139"/>
                  <a:pt x="456" y="139"/>
                </a:cubicBezTo>
                <a:lnTo>
                  <a:pt x="456" y="73"/>
                </a:lnTo>
                <a:close/>
                <a:moveTo>
                  <a:pt x="331" y="153"/>
                </a:moveTo>
                <a:cubicBezTo>
                  <a:pt x="407" y="153"/>
                  <a:pt x="407" y="153"/>
                  <a:pt x="407" y="153"/>
                </a:cubicBezTo>
                <a:cubicBezTo>
                  <a:pt x="411" y="153"/>
                  <a:pt x="414" y="150"/>
                  <a:pt x="414" y="146"/>
                </a:cubicBezTo>
                <a:cubicBezTo>
                  <a:pt x="414" y="66"/>
                  <a:pt x="414" y="66"/>
                  <a:pt x="414" y="66"/>
                </a:cubicBezTo>
                <a:cubicBezTo>
                  <a:pt x="414" y="62"/>
                  <a:pt x="411" y="59"/>
                  <a:pt x="407" y="59"/>
                </a:cubicBezTo>
                <a:cubicBezTo>
                  <a:pt x="331" y="59"/>
                  <a:pt x="331" y="59"/>
                  <a:pt x="331" y="59"/>
                </a:cubicBezTo>
                <a:cubicBezTo>
                  <a:pt x="327" y="59"/>
                  <a:pt x="324" y="62"/>
                  <a:pt x="324" y="66"/>
                </a:cubicBezTo>
                <a:cubicBezTo>
                  <a:pt x="324" y="146"/>
                  <a:pt x="324" y="146"/>
                  <a:pt x="324" y="146"/>
                </a:cubicBezTo>
                <a:cubicBezTo>
                  <a:pt x="324" y="150"/>
                  <a:pt x="327" y="153"/>
                  <a:pt x="331" y="153"/>
                </a:cubicBezTo>
                <a:close/>
                <a:moveTo>
                  <a:pt x="338" y="73"/>
                </a:moveTo>
                <a:cubicBezTo>
                  <a:pt x="400" y="73"/>
                  <a:pt x="400" y="73"/>
                  <a:pt x="400" y="73"/>
                </a:cubicBezTo>
                <a:cubicBezTo>
                  <a:pt x="400" y="139"/>
                  <a:pt x="400" y="139"/>
                  <a:pt x="400" y="139"/>
                </a:cubicBezTo>
                <a:cubicBezTo>
                  <a:pt x="338" y="139"/>
                  <a:pt x="338" y="139"/>
                  <a:pt x="338" y="139"/>
                </a:cubicBezTo>
                <a:lnTo>
                  <a:pt x="338" y="73"/>
                </a:lnTo>
                <a:close/>
                <a:moveTo>
                  <a:pt x="331" y="556"/>
                </a:moveTo>
                <a:cubicBezTo>
                  <a:pt x="407" y="556"/>
                  <a:pt x="407" y="556"/>
                  <a:pt x="407" y="556"/>
                </a:cubicBezTo>
                <a:cubicBezTo>
                  <a:pt x="411" y="556"/>
                  <a:pt x="414" y="553"/>
                  <a:pt x="414" y="549"/>
                </a:cubicBezTo>
                <a:cubicBezTo>
                  <a:pt x="414" y="468"/>
                  <a:pt x="414" y="468"/>
                  <a:pt x="414" y="468"/>
                </a:cubicBezTo>
                <a:cubicBezTo>
                  <a:pt x="414" y="465"/>
                  <a:pt x="411" y="461"/>
                  <a:pt x="407" y="461"/>
                </a:cubicBezTo>
                <a:cubicBezTo>
                  <a:pt x="331" y="461"/>
                  <a:pt x="331" y="461"/>
                  <a:pt x="331" y="461"/>
                </a:cubicBezTo>
                <a:cubicBezTo>
                  <a:pt x="327" y="461"/>
                  <a:pt x="324" y="465"/>
                  <a:pt x="324" y="468"/>
                </a:cubicBezTo>
                <a:cubicBezTo>
                  <a:pt x="324" y="549"/>
                  <a:pt x="324" y="549"/>
                  <a:pt x="324" y="549"/>
                </a:cubicBezTo>
                <a:cubicBezTo>
                  <a:pt x="324" y="553"/>
                  <a:pt x="327" y="556"/>
                  <a:pt x="331" y="556"/>
                </a:cubicBezTo>
                <a:close/>
                <a:moveTo>
                  <a:pt x="338" y="475"/>
                </a:moveTo>
                <a:cubicBezTo>
                  <a:pt x="400" y="475"/>
                  <a:pt x="400" y="475"/>
                  <a:pt x="400" y="475"/>
                </a:cubicBezTo>
                <a:cubicBezTo>
                  <a:pt x="400" y="542"/>
                  <a:pt x="400" y="542"/>
                  <a:pt x="400" y="542"/>
                </a:cubicBezTo>
                <a:cubicBezTo>
                  <a:pt x="338" y="542"/>
                  <a:pt x="338" y="542"/>
                  <a:pt x="338" y="542"/>
                </a:cubicBezTo>
                <a:lnTo>
                  <a:pt x="338" y="47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4" name="Oval 15"/>
          <p:cNvSpPr>
            <a:spLocks noChangeArrowheads="1"/>
          </p:cNvSpPr>
          <p:nvPr/>
        </p:nvSpPr>
        <p:spPr bwMode="auto">
          <a:xfrm>
            <a:off x="6850325" y="82790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90" name="Freeform 103"/>
          <p:cNvSpPr>
            <a:spLocks noEditPoints="1"/>
          </p:cNvSpPr>
          <p:nvPr/>
        </p:nvSpPr>
        <p:spPr bwMode="auto">
          <a:xfrm>
            <a:off x="7011978" y="988693"/>
            <a:ext cx="499655" cy="468534"/>
          </a:xfrm>
          <a:custGeom>
            <a:avLst/>
            <a:gdLst>
              <a:gd name="T0" fmla="*/ 265 w 646"/>
              <a:gd name="T1" fmla="*/ 338 h 605"/>
              <a:gd name="T2" fmla="*/ 375 w 646"/>
              <a:gd name="T3" fmla="*/ 345 h 605"/>
              <a:gd name="T4" fmla="*/ 382 w 646"/>
              <a:gd name="T5" fmla="*/ 229 h 605"/>
              <a:gd name="T6" fmla="*/ 272 w 646"/>
              <a:gd name="T7" fmla="*/ 222 h 605"/>
              <a:gd name="T8" fmla="*/ 279 w 646"/>
              <a:gd name="T9" fmla="*/ 236 h 605"/>
              <a:gd name="T10" fmla="*/ 368 w 646"/>
              <a:gd name="T11" fmla="*/ 331 h 605"/>
              <a:gd name="T12" fmla="*/ 279 w 646"/>
              <a:gd name="T13" fmla="*/ 236 h 605"/>
              <a:gd name="T14" fmla="*/ 527 w 646"/>
              <a:gd name="T15" fmla="*/ 345 h 605"/>
              <a:gd name="T16" fmla="*/ 534 w 646"/>
              <a:gd name="T17" fmla="*/ 229 h 605"/>
              <a:gd name="T18" fmla="*/ 424 w 646"/>
              <a:gd name="T19" fmla="*/ 222 h 605"/>
              <a:gd name="T20" fmla="*/ 417 w 646"/>
              <a:gd name="T21" fmla="*/ 338 h 605"/>
              <a:gd name="T22" fmla="*/ 431 w 646"/>
              <a:gd name="T23" fmla="*/ 236 h 605"/>
              <a:gd name="T24" fmla="*/ 520 w 646"/>
              <a:gd name="T25" fmla="*/ 331 h 605"/>
              <a:gd name="T26" fmla="*/ 431 w 646"/>
              <a:gd name="T27" fmla="*/ 236 h 605"/>
              <a:gd name="T28" fmla="*/ 113 w 646"/>
              <a:gd name="T29" fmla="*/ 222 h 605"/>
              <a:gd name="T30" fmla="*/ 106 w 646"/>
              <a:gd name="T31" fmla="*/ 338 h 605"/>
              <a:gd name="T32" fmla="*/ 216 w 646"/>
              <a:gd name="T33" fmla="*/ 345 h 605"/>
              <a:gd name="T34" fmla="*/ 223 w 646"/>
              <a:gd name="T35" fmla="*/ 229 h 605"/>
              <a:gd name="T36" fmla="*/ 209 w 646"/>
              <a:gd name="T37" fmla="*/ 331 h 605"/>
              <a:gd name="T38" fmla="*/ 120 w 646"/>
              <a:gd name="T39" fmla="*/ 236 h 605"/>
              <a:gd name="T40" fmla="*/ 209 w 646"/>
              <a:gd name="T41" fmla="*/ 331 h 605"/>
              <a:gd name="T42" fmla="*/ 527 w 646"/>
              <a:gd name="T43" fmla="*/ 528 h 605"/>
              <a:gd name="T44" fmla="*/ 534 w 646"/>
              <a:gd name="T45" fmla="*/ 413 h 605"/>
              <a:gd name="T46" fmla="*/ 424 w 646"/>
              <a:gd name="T47" fmla="*/ 406 h 605"/>
              <a:gd name="T48" fmla="*/ 417 w 646"/>
              <a:gd name="T49" fmla="*/ 521 h 605"/>
              <a:gd name="T50" fmla="*/ 431 w 646"/>
              <a:gd name="T51" fmla="*/ 420 h 605"/>
              <a:gd name="T52" fmla="*/ 520 w 646"/>
              <a:gd name="T53" fmla="*/ 514 h 605"/>
              <a:gd name="T54" fmla="*/ 431 w 646"/>
              <a:gd name="T55" fmla="*/ 420 h 605"/>
              <a:gd name="T56" fmla="*/ 113 w 646"/>
              <a:gd name="T57" fmla="*/ 406 h 605"/>
              <a:gd name="T58" fmla="*/ 106 w 646"/>
              <a:gd name="T59" fmla="*/ 521 h 605"/>
              <a:gd name="T60" fmla="*/ 216 w 646"/>
              <a:gd name="T61" fmla="*/ 528 h 605"/>
              <a:gd name="T62" fmla="*/ 223 w 646"/>
              <a:gd name="T63" fmla="*/ 413 h 605"/>
              <a:gd name="T64" fmla="*/ 209 w 646"/>
              <a:gd name="T65" fmla="*/ 514 h 605"/>
              <a:gd name="T66" fmla="*/ 120 w 646"/>
              <a:gd name="T67" fmla="*/ 420 h 605"/>
              <a:gd name="T68" fmla="*/ 209 w 646"/>
              <a:gd name="T69" fmla="*/ 514 h 605"/>
              <a:gd name="T70" fmla="*/ 327 w 646"/>
              <a:gd name="T71" fmla="*/ 2 h 605"/>
              <a:gd name="T72" fmla="*/ 5 w 646"/>
              <a:gd name="T73" fmla="*/ 193 h 605"/>
              <a:gd name="T74" fmla="*/ 12 w 646"/>
              <a:gd name="T75" fmla="*/ 205 h 605"/>
              <a:gd name="T76" fmla="*/ 47 w 646"/>
              <a:gd name="T77" fmla="*/ 598 h 605"/>
              <a:gd name="T78" fmla="*/ 272 w 646"/>
              <a:gd name="T79" fmla="*/ 605 h 605"/>
              <a:gd name="T80" fmla="*/ 279 w 646"/>
              <a:gd name="T81" fmla="*/ 420 h 605"/>
              <a:gd name="T82" fmla="*/ 368 w 646"/>
              <a:gd name="T83" fmla="*/ 598 h 605"/>
              <a:gd name="T84" fmla="*/ 592 w 646"/>
              <a:gd name="T85" fmla="*/ 605 h 605"/>
              <a:gd name="T86" fmla="*/ 599 w 646"/>
              <a:gd name="T87" fmla="*/ 183 h 605"/>
              <a:gd name="T88" fmla="*/ 638 w 646"/>
              <a:gd name="T89" fmla="*/ 206 h 605"/>
              <a:gd name="T90" fmla="*/ 642 w 646"/>
              <a:gd name="T91" fmla="*/ 193 h 605"/>
              <a:gd name="T92" fmla="*/ 382 w 646"/>
              <a:gd name="T93" fmla="*/ 591 h 605"/>
              <a:gd name="T94" fmla="*/ 375 w 646"/>
              <a:gd name="T95" fmla="*/ 406 h 605"/>
              <a:gd name="T96" fmla="*/ 265 w 646"/>
              <a:gd name="T97" fmla="*/ 413 h 605"/>
              <a:gd name="T98" fmla="*/ 61 w 646"/>
              <a:gd name="T99" fmla="*/ 591 h 605"/>
              <a:gd name="T100" fmla="*/ 323 w 646"/>
              <a:gd name="T101" fmla="*/ 16 h 605"/>
              <a:gd name="T102" fmla="*/ 585 w 646"/>
              <a:gd name="T103" fmla="*/ 591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46" h="605">
                <a:moveTo>
                  <a:pt x="265" y="229"/>
                </a:moveTo>
                <a:cubicBezTo>
                  <a:pt x="265" y="338"/>
                  <a:pt x="265" y="338"/>
                  <a:pt x="265" y="338"/>
                </a:cubicBezTo>
                <a:cubicBezTo>
                  <a:pt x="265" y="342"/>
                  <a:pt x="268" y="345"/>
                  <a:pt x="272" y="345"/>
                </a:cubicBezTo>
                <a:cubicBezTo>
                  <a:pt x="375" y="345"/>
                  <a:pt x="375" y="345"/>
                  <a:pt x="375" y="345"/>
                </a:cubicBezTo>
                <a:cubicBezTo>
                  <a:pt x="379" y="345"/>
                  <a:pt x="382" y="342"/>
                  <a:pt x="382" y="338"/>
                </a:cubicBezTo>
                <a:cubicBezTo>
                  <a:pt x="382" y="229"/>
                  <a:pt x="382" y="229"/>
                  <a:pt x="382" y="229"/>
                </a:cubicBezTo>
                <a:cubicBezTo>
                  <a:pt x="382" y="226"/>
                  <a:pt x="379" y="222"/>
                  <a:pt x="375" y="222"/>
                </a:cubicBezTo>
                <a:cubicBezTo>
                  <a:pt x="272" y="222"/>
                  <a:pt x="272" y="222"/>
                  <a:pt x="272" y="222"/>
                </a:cubicBezTo>
                <a:cubicBezTo>
                  <a:pt x="268" y="222"/>
                  <a:pt x="265" y="226"/>
                  <a:pt x="265" y="229"/>
                </a:cubicBezTo>
                <a:close/>
                <a:moveTo>
                  <a:pt x="279" y="236"/>
                </a:moveTo>
                <a:cubicBezTo>
                  <a:pt x="368" y="236"/>
                  <a:pt x="368" y="236"/>
                  <a:pt x="368" y="236"/>
                </a:cubicBezTo>
                <a:cubicBezTo>
                  <a:pt x="368" y="331"/>
                  <a:pt x="368" y="331"/>
                  <a:pt x="368" y="331"/>
                </a:cubicBezTo>
                <a:cubicBezTo>
                  <a:pt x="279" y="331"/>
                  <a:pt x="279" y="331"/>
                  <a:pt x="279" y="331"/>
                </a:cubicBezTo>
                <a:lnTo>
                  <a:pt x="279" y="236"/>
                </a:lnTo>
                <a:close/>
                <a:moveTo>
                  <a:pt x="424" y="345"/>
                </a:moveTo>
                <a:cubicBezTo>
                  <a:pt x="527" y="345"/>
                  <a:pt x="527" y="345"/>
                  <a:pt x="527" y="345"/>
                </a:cubicBezTo>
                <a:cubicBezTo>
                  <a:pt x="531" y="345"/>
                  <a:pt x="534" y="342"/>
                  <a:pt x="534" y="338"/>
                </a:cubicBezTo>
                <a:cubicBezTo>
                  <a:pt x="534" y="229"/>
                  <a:pt x="534" y="229"/>
                  <a:pt x="534" y="229"/>
                </a:cubicBezTo>
                <a:cubicBezTo>
                  <a:pt x="534" y="226"/>
                  <a:pt x="531" y="222"/>
                  <a:pt x="527" y="222"/>
                </a:cubicBezTo>
                <a:cubicBezTo>
                  <a:pt x="424" y="222"/>
                  <a:pt x="424" y="222"/>
                  <a:pt x="424" y="222"/>
                </a:cubicBezTo>
                <a:cubicBezTo>
                  <a:pt x="420" y="222"/>
                  <a:pt x="417" y="226"/>
                  <a:pt x="417" y="229"/>
                </a:cubicBezTo>
                <a:cubicBezTo>
                  <a:pt x="417" y="338"/>
                  <a:pt x="417" y="338"/>
                  <a:pt x="417" y="338"/>
                </a:cubicBezTo>
                <a:cubicBezTo>
                  <a:pt x="417" y="342"/>
                  <a:pt x="420" y="345"/>
                  <a:pt x="424" y="345"/>
                </a:cubicBezTo>
                <a:close/>
                <a:moveTo>
                  <a:pt x="431" y="236"/>
                </a:moveTo>
                <a:cubicBezTo>
                  <a:pt x="520" y="236"/>
                  <a:pt x="520" y="236"/>
                  <a:pt x="520" y="236"/>
                </a:cubicBezTo>
                <a:cubicBezTo>
                  <a:pt x="520" y="331"/>
                  <a:pt x="520" y="331"/>
                  <a:pt x="520" y="331"/>
                </a:cubicBezTo>
                <a:cubicBezTo>
                  <a:pt x="431" y="331"/>
                  <a:pt x="431" y="331"/>
                  <a:pt x="431" y="331"/>
                </a:cubicBezTo>
                <a:lnTo>
                  <a:pt x="431" y="236"/>
                </a:lnTo>
                <a:close/>
                <a:moveTo>
                  <a:pt x="216" y="222"/>
                </a:moveTo>
                <a:cubicBezTo>
                  <a:pt x="113" y="222"/>
                  <a:pt x="113" y="222"/>
                  <a:pt x="113" y="222"/>
                </a:cubicBezTo>
                <a:cubicBezTo>
                  <a:pt x="109" y="222"/>
                  <a:pt x="106" y="226"/>
                  <a:pt x="106" y="229"/>
                </a:cubicBezTo>
                <a:cubicBezTo>
                  <a:pt x="106" y="338"/>
                  <a:pt x="106" y="338"/>
                  <a:pt x="106" y="338"/>
                </a:cubicBezTo>
                <a:cubicBezTo>
                  <a:pt x="106" y="342"/>
                  <a:pt x="109" y="345"/>
                  <a:pt x="113" y="345"/>
                </a:cubicBezTo>
                <a:cubicBezTo>
                  <a:pt x="216" y="345"/>
                  <a:pt x="216" y="345"/>
                  <a:pt x="216" y="345"/>
                </a:cubicBezTo>
                <a:cubicBezTo>
                  <a:pt x="220" y="345"/>
                  <a:pt x="223" y="342"/>
                  <a:pt x="223" y="338"/>
                </a:cubicBezTo>
                <a:cubicBezTo>
                  <a:pt x="223" y="229"/>
                  <a:pt x="223" y="229"/>
                  <a:pt x="223" y="229"/>
                </a:cubicBezTo>
                <a:cubicBezTo>
                  <a:pt x="223" y="226"/>
                  <a:pt x="220" y="222"/>
                  <a:pt x="216" y="222"/>
                </a:cubicBezTo>
                <a:close/>
                <a:moveTo>
                  <a:pt x="209" y="331"/>
                </a:moveTo>
                <a:cubicBezTo>
                  <a:pt x="120" y="331"/>
                  <a:pt x="120" y="331"/>
                  <a:pt x="120" y="331"/>
                </a:cubicBezTo>
                <a:cubicBezTo>
                  <a:pt x="120" y="236"/>
                  <a:pt x="120" y="236"/>
                  <a:pt x="120" y="236"/>
                </a:cubicBezTo>
                <a:cubicBezTo>
                  <a:pt x="209" y="236"/>
                  <a:pt x="209" y="236"/>
                  <a:pt x="209" y="236"/>
                </a:cubicBezTo>
                <a:lnTo>
                  <a:pt x="209" y="331"/>
                </a:lnTo>
                <a:close/>
                <a:moveTo>
                  <a:pt x="424" y="528"/>
                </a:moveTo>
                <a:cubicBezTo>
                  <a:pt x="527" y="528"/>
                  <a:pt x="527" y="528"/>
                  <a:pt x="527" y="528"/>
                </a:cubicBezTo>
                <a:cubicBezTo>
                  <a:pt x="531" y="528"/>
                  <a:pt x="534" y="525"/>
                  <a:pt x="534" y="521"/>
                </a:cubicBezTo>
                <a:cubicBezTo>
                  <a:pt x="534" y="413"/>
                  <a:pt x="534" y="413"/>
                  <a:pt x="534" y="413"/>
                </a:cubicBezTo>
                <a:cubicBezTo>
                  <a:pt x="534" y="409"/>
                  <a:pt x="531" y="406"/>
                  <a:pt x="527" y="406"/>
                </a:cubicBezTo>
                <a:cubicBezTo>
                  <a:pt x="424" y="406"/>
                  <a:pt x="424" y="406"/>
                  <a:pt x="424" y="406"/>
                </a:cubicBezTo>
                <a:cubicBezTo>
                  <a:pt x="420" y="406"/>
                  <a:pt x="417" y="409"/>
                  <a:pt x="417" y="413"/>
                </a:cubicBezTo>
                <a:cubicBezTo>
                  <a:pt x="417" y="521"/>
                  <a:pt x="417" y="521"/>
                  <a:pt x="417" y="521"/>
                </a:cubicBezTo>
                <a:cubicBezTo>
                  <a:pt x="417" y="525"/>
                  <a:pt x="420" y="528"/>
                  <a:pt x="424" y="528"/>
                </a:cubicBezTo>
                <a:close/>
                <a:moveTo>
                  <a:pt x="431" y="420"/>
                </a:moveTo>
                <a:cubicBezTo>
                  <a:pt x="520" y="420"/>
                  <a:pt x="520" y="420"/>
                  <a:pt x="520" y="420"/>
                </a:cubicBezTo>
                <a:cubicBezTo>
                  <a:pt x="520" y="514"/>
                  <a:pt x="520" y="514"/>
                  <a:pt x="520" y="514"/>
                </a:cubicBezTo>
                <a:cubicBezTo>
                  <a:pt x="431" y="514"/>
                  <a:pt x="431" y="514"/>
                  <a:pt x="431" y="514"/>
                </a:cubicBezTo>
                <a:lnTo>
                  <a:pt x="431" y="420"/>
                </a:lnTo>
                <a:close/>
                <a:moveTo>
                  <a:pt x="216" y="406"/>
                </a:moveTo>
                <a:cubicBezTo>
                  <a:pt x="113" y="406"/>
                  <a:pt x="113" y="406"/>
                  <a:pt x="113" y="406"/>
                </a:cubicBezTo>
                <a:cubicBezTo>
                  <a:pt x="109" y="406"/>
                  <a:pt x="106" y="409"/>
                  <a:pt x="106" y="413"/>
                </a:cubicBezTo>
                <a:cubicBezTo>
                  <a:pt x="106" y="521"/>
                  <a:pt x="106" y="521"/>
                  <a:pt x="106" y="521"/>
                </a:cubicBezTo>
                <a:cubicBezTo>
                  <a:pt x="106" y="525"/>
                  <a:pt x="109" y="528"/>
                  <a:pt x="113" y="528"/>
                </a:cubicBezTo>
                <a:cubicBezTo>
                  <a:pt x="216" y="528"/>
                  <a:pt x="216" y="528"/>
                  <a:pt x="216" y="528"/>
                </a:cubicBezTo>
                <a:cubicBezTo>
                  <a:pt x="220" y="528"/>
                  <a:pt x="223" y="525"/>
                  <a:pt x="223" y="521"/>
                </a:cubicBezTo>
                <a:cubicBezTo>
                  <a:pt x="223" y="413"/>
                  <a:pt x="223" y="413"/>
                  <a:pt x="223" y="413"/>
                </a:cubicBezTo>
                <a:cubicBezTo>
                  <a:pt x="223" y="409"/>
                  <a:pt x="220" y="406"/>
                  <a:pt x="216" y="406"/>
                </a:cubicBezTo>
                <a:close/>
                <a:moveTo>
                  <a:pt x="209" y="514"/>
                </a:moveTo>
                <a:cubicBezTo>
                  <a:pt x="120" y="514"/>
                  <a:pt x="120" y="514"/>
                  <a:pt x="120" y="514"/>
                </a:cubicBezTo>
                <a:cubicBezTo>
                  <a:pt x="120" y="420"/>
                  <a:pt x="120" y="420"/>
                  <a:pt x="120" y="420"/>
                </a:cubicBezTo>
                <a:cubicBezTo>
                  <a:pt x="209" y="420"/>
                  <a:pt x="209" y="420"/>
                  <a:pt x="209" y="420"/>
                </a:cubicBezTo>
                <a:lnTo>
                  <a:pt x="209" y="514"/>
                </a:lnTo>
                <a:close/>
                <a:moveTo>
                  <a:pt x="642" y="193"/>
                </a:moveTo>
                <a:cubicBezTo>
                  <a:pt x="327" y="2"/>
                  <a:pt x="327" y="2"/>
                  <a:pt x="327" y="2"/>
                </a:cubicBezTo>
                <a:cubicBezTo>
                  <a:pt x="325" y="0"/>
                  <a:pt x="322" y="0"/>
                  <a:pt x="320" y="2"/>
                </a:cubicBezTo>
                <a:cubicBezTo>
                  <a:pt x="5" y="193"/>
                  <a:pt x="5" y="193"/>
                  <a:pt x="5" y="193"/>
                </a:cubicBezTo>
                <a:cubicBezTo>
                  <a:pt x="1" y="195"/>
                  <a:pt x="0" y="199"/>
                  <a:pt x="2" y="202"/>
                </a:cubicBezTo>
                <a:cubicBezTo>
                  <a:pt x="4" y="206"/>
                  <a:pt x="9" y="207"/>
                  <a:pt x="12" y="205"/>
                </a:cubicBezTo>
                <a:cubicBezTo>
                  <a:pt x="47" y="183"/>
                  <a:pt x="47" y="183"/>
                  <a:pt x="47" y="183"/>
                </a:cubicBezTo>
                <a:cubicBezTo>
                  <a:pt x="47" y="598"/>
                  <a:pt x="47" y="598"/>
                  <a:pt x="47" y="598"/>
                </a:cubicBezTo>
                <a:cubicBezTo>
                  <a:pt x="47" y="602"/>
                  <a:pt x="50" y="605"/>
                  <a:pt x="54" y="605"/>
                </a:cubicBezTo>
                <a:cubicBezTo>
                  <a:pt x="272" y="605"/>
                  <a:pt x="272" y="605"/>
                  <a:pt x="272" y="605"/>
                </a:cubicBezTo>
                <a:cubicBezTo>
                  <a:pt x="276" y="605"/>
                  <a:pt x="279" y="602"/>
                  <a:pt x="279" y="598"/>
                </a:cubicBezTo>
                <a:cubicBezTo>
                  <a:pt x="279" y="420"/>
                  <a:pt x="279" y="420"/>
                  <a:pt x="279" y="420"/>
                </a:cubicBezTo>
                <a:cubicBezTo>
                  <a:pt x="368" y="420"/>
                  <a:pt x="368" y="420"/>
                  <a:pt x="368" y="420"/>
                </a:cubicBezTo>
                <a:cubicBezTo>
                  <a:pt x="368" y="598"/>
                  <a:pt x="368" y="598"/>
                  <a:pt x="368" y="598"/>
                </a:cubicBezTo>
                <a:cubicBezTo>
                  <a:pt x="368" y="602"/>
                  <a:pt x="371" y="605"/>
                  <a:pt x="375" y="605"/>
                </a:cubicBezTo>
                <a:cubicBezTo>
                  <a:pt x="592" y="605"/>
                  <a:pt x="592" y="605"/>
                  <a:pt x="592" y="605"/>
                </a:cubicBezTo>
                <a:cubicBezTo>
                  <a:pt x="596" y="605"/>
                  <a:pt x="599" y="602"/>
                  <a:pt x="599" y="598"/>
                </a:cubicBezTo>
                <a:cubicBezTo>
                  <a:pt x="599" y="183"/>
                  <a:pt x="599" y="183"/>
                  <a:pt x="599" y="183"/>
                </a:cubicBezTo>
                <a:cubicBezTo>
                  <a:pt x="635" y="205"/>
                  <a:pt x="635" y="205"/>
                  <a:pt x="635" y="205"/>
                </a:cubicBezTo>
                <a:cubicBezTo>
                  <a:pt x="636" y="205"/>
                  <a:pt x="637" y="206"/>
                  <a:pt x="638" y="206"/>
                </a:cubicBezTo>
                <a:cubicBezTo>
                  <a:pt x="641" y="206"/>
                  <a:pt x="643" y="204"/>
                  <a:pt x="644" y="202"/>
                </a:cubicBezTo>
                <a:cubicBezTo>
                  <a:pt x="646" y="199"/>
                  <a:pt x="645" y="195"/>
                  <a:pt x="642" y="193"/>
                </a:cubicBezTo>
                <a:close/>
                <a:moveTo>
                  <a:pt x="585" y="591"/>
                </a:moveTo>
                <a:cubicBezTo>
                  <a:pt x="382" y="591"/>
                  <a:pt x="382" y="591"/>
                  <a:pt x="382" y="591"/>
                </a:cubicBezTo>
                <a:cubicBezTo>
                  <a:pt x="382" y="413"/>
                  <a:pt x="382" y="413"/>
                  <a:pt x="382" y="413"/>
                </a:cubicBezTo>
                <a:cubicBezTo>
                  <a:pt x="382" y="409"/>
                  <a:pt x="379" y="406"/>
                  <a:pt x="375" y="406"/>
                </a:cubicBezTo>
                <a:cubicBezTo>
                  <a:pt x="272" y="406"/>
                  <a:pt x="272" y="406"/>
                  <a:pt x="272" y="406"/>
                </a:cubicBezTo>
                <a:cubicBezTo>
                  <a:pt x="268" y="406"/>
                  <a:pt x="265" y="409"/>
                  <a:pt x="265" y="413"/>
                </a:cubicBezTo>
                <a:cubicBezTo>
                  <a:pt x="265" y="591"/>
                  <a:pt x="265" y="591"/>
                  <a:pt x="265" y="591"/>
                </a:cubicBezTo>
                <a:cubicBezTo>
                  <a:pt x="61" y="591"/>
                  <a:pt x="61" y="591"/>
                  <a:pt x="61" y="591"/>
                </a:cubicBezTo>
                <a:cubicBezTo>
                  <a:pt x="61" y="175"/>
                  <a:pt x="61" y="175"/>
                  <a:pt x="61" y="175"/>
                </a:cubicBezTo>
                <a:cubicBezTo>
                  <a:pt x="323" y="16"/>
                  <a:pt x="323" y="16"/>
                  <a:pt x="323" y="16"/>
                </a:cubicBezTo>
                <a:cubicBezTo>
                  <a:pt x="585" y="175"/>
                  <a:pt x="585" y="175"/>
                  <a:pt x="585" y="175"/>
                </a:cubicBezTo>
                <a:lnTo>
                  <a:pt x="585" y="59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6" name="Oval 27"/>
          <p:cNvSpPr>
            <a:spLocks noChangeArrowheads="1"/>
          </p:cNvSpPr>
          <p:nvPr/>
        </p:nvSpPr>
        <p:spPr bwMode="auto">
          <a:xfrm>
            <a:off x="440660" y="186024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92" name="Freeform 105"/>
          <p:cNvSpPr>
            <a:spLocks noEditPoints="1"/>
          </p:cNvSpPr>
          <p:nvPr/>
        </p:nvSpPr>
        <p:spPr bwMode="auto">
          <a:xfrm>
            <a:off x="667383" y="2058414"/>
            <a:ext cx="370376" cy="490661"/>
          </a:xfrm>
          <a:custGeom>
            <a:avLst/>
            <a:gdLst>
              <a:gd name="T0" fmla="*/ 473 w 478"/>
              <a:gd name="T1" fmla="*/ 39 h 633"/>
              <a:gd name="T2" fmla="*/ 239 w 478"/>
              <a:gd name="T3" fmla="*/ 0 h 633"/>
              <a:gd name="T4" fmla="*/ 239 w 478"/>
              <a:gd name="T5" fmla="*/ 0 h 633"/>
              <a:gd name="T6" fmla="*/ 239 w 478"/>
              <a:gd name="T7" fmla="*/ 0 h 633"/>
              <a:gd name="T8" fmla="*/ 239 w 478"/>
              <a:gd name="T9" fmla="*/ 0 h 633"/>
              <a:gd name="T10" fmla="*/ 193 w 478"/>
              <a:gd name="T11" fmla="*/ 2 h 633"/>
              <a:gd name="T12" fmla="*/ 192 w 478"/>
              <a:gd name="T13" fmla="*/ 2 h 633"/>
              <a:gd name="T14" fmla="*/ 192 w 478"/>
              <a:gd name="T15" fmla="*/ 2 h 633"/>
              <a:gd name="T16" fmla="*/ 191 w 478"/>
              <a:gd name="T17" fmla="*/ 2 h 633"/>
              <a:gd name="T18" fmla="*/ 145 w 478"/>
              <a:gd name="T19" fmla="*/ 7 h 633"/>
              <a:gd name="T20" fmla="*/ 144 w 478"/>
              <a:gd name="T21" fmla="*/ 7 h 633"/>
              <a:gd name="T22" fmla="*/ 98 w 478"/>
              <a:gd name="T23" fmla="*/ 15 h 633"/>
              <a:gd name="T24" fmla="*/ 98 w 478"/>
              <a:gd name="T25" fmla="*/ 15 h 633"/>
              <a:gd name="T26" fmla="*/ 52 w 478"/>
              <a:gd name="T27" fmla="*/ 26 h 633"/>
              <a:gd name="T28" fmla="*/ 51 w 478"/>
              <a:gd name="T29" fmla="*/ 26 h 633"/>
              <a:gd name="T30" fmla="*/ 4 w 478"/>
              <a:gd name="T31" fmla="*/ 39 h 633"/>
              <a:gd name="T32" fmla="*/ 0 w 478"/>
              <a:gd name="T33" fmla="*/ 46 h 633"/>
              <a:gd name="T34" fmla="*/ 0 w 478"/>
              <a:gd name="T35" fmla="*/ 435 h 633"/>
              <a:gd name="T36" fmla="*/ 102 w 478"/>
              <a:gd name="T37" fmla="*/ 553 h 633"/>
              <a:gd name="T38" fmla="*/ 142 w 478"/>
              <a:gd name="T39" fmla="*/ 582 h 633"/>
              <a:gd name="T40" fmla="*/ 142 w 478"/>
              <a:gd name="T41" fmla="*/ 582 h 633"/>
              <a:gd name="T42" fmla="*/ 238 w 478"/>
              <a:gd name="T43" fmla="*/ 633 h 633"/>
              <a:gd name="T44" fmla="*/ 238 w 478"/>
              <a:gd name="T45" fmla="*/ 633 h 633"/>
              <a:gd name="T46" fmla="*/ 239 w 478"/>
              <a:gd name="T47" fmla="*/ 633 h 633"/>
              <a:gd name="T48" fmla="*/ 239 w 478"/>
              <a:gd name="T49" fmla="*/ 633 h 633"/>
              <a:gd name="T50" fmla="*/ 239 w 478"/>
              <a:gd name="T51" fmla="*/ 633 h 633"/>
              <a:gd name="T52" fmla="*/ 239 w 478"/>
              <a:gd name="T53" fmla="*/ 633 h 633"/>
              <a:gd name="T54" fmla="*/ 241 w 478"/>
              <a:gd name="T55" fmla="*/ 633 h 633"/>
              <a:gd name="T56" fmla="*/ 373 w 478"/>
              <a:gd name="T57" fmla="*/ 560 h 633"/>
              <a:gd name="T58" fmla="*/ 478 w 478"/>
              <a:gd name="T59" fmla="*/ 435 h 633"/>
              <a:gd name="T60" fmla="*/ 478 w 478"/>
              <a:gd name="T61" fmla="*/ 46 h 633"/>
              <a:gd name="T62" fmla="*/ 473 w 478"/>
              <a:gd name="T63" fmla="*/ 39 h 633"/>
              <a:gd name="T64" fmla="*/ 199 w 478"/>
              <a:gd name="T65" fmla="*/ 15 h 633"/>
              <a:gd name="T66" fmla="*/ 232 w 478"/>
              <a:gd name="T67" fmla="*/ 14 h 633"/>
              <a:gd name="T68" fmla="*/ 232 w 478"/>
              <a:gd name="T69" fmla="*/ 617 h 633"/>
              <a:gd name="T70" fmla="*/ 200 w 478"/>
              <a:gd name="T71" fmla="*/ 601 h 633"/>
              <a:gd name="T72" fmla="*/ 199 w 478"/>
              <a:gd name="T73" fmla="*/ 15 h 633"/>
              <a:gd name="T74" fmla="*/ 186 w 478"/>
              <a:gd name="T75" fmla="*/ 593 h 633"/>
              <a:gd name="T76" fmla="*/ 153 w 478"/>
              <a:gd name="T77" fmla="*/ 572 h 633"/>
              <a:gd name="T78" fmla="*/ 153 w 478"/>
              <a:gd name="T79" fmla="*/ 20 h 633"/>
              <a:gd name="T80" fmla="*/ 185 w 478"/>
              <a:gd name="T81" fmla="*/ 17 h 633"/>
              <a:gd name="T82" fmla="*/ 186 w 478"/>
              <a:gd name="T83" fmla="*/ 593 h 633"/>
              <a:gd name="T84" fmla="*/ 60 w 478"/>
              <a:gd name="T85" fmla="*/ 38 h 633"/>
              <a:gd name="T86" fmla="*/ 92 w 478"/>
              <a:gd name="T87" fmla="*/ 31 h 633"/>
              <a:gd name="T88" fmla="*/ 93 w 478"/>
              <a:gd name="T89" fmla="*/ 528 h 633"/>
              <a:gd name="T90" fmla="*/ 60 w 478"/>
              <a:gd name="T91" fmla="*/ 500 h 633"/>
              <a:gd name="T92" fmla="*/ 60 w 478"/>
              <a:gd name="T93" fmla="*/ 38 h 633"/>
              <a:gd name="T94" fmla="*/ 14 w 478"/>
              <a:gd name="T95" fmla="*/ 435 h 633"/>
              <a:gd name="T96" fmla="*/ 14 w 478"/>
              <a:gd name="T97" fmla="*/ 51 h 633"/>
              <a:gd name="T98" fmla="*/ 46 w 478"/>
              <a:gd name="T99" fmla="*/ 42 h 633"/>
              <a:gd name="T100" fmla="*/ 46 w 478"/>
              <a:gd name="T101" fmla="*/ 487 h 633"/>
              <a:gd name="T102" fmla="*/ 14 w 478"/>
              <a:gd name="T103" fmla="*/ 435 h 633"/>
              <a:gd name="T104" fmla="*/ 107 w 478"/>
              <a:gd name="T105" fmla="*/ 539 h 633"/>
              <a:gd name="T106" fmla="*/ 106 w 478"/>
              <a:gd name="T107" fmla="*/ 28 h 633"/>
              <a:gd name="T108" fmla="*/ 139 w 478"/>
              <a:gd name="T109" fmla="*/ 22 h 633"/>
              <a:gd name="T110" fmla="*/ 139 w 478"/>
              <a:gd name="T111" fmla="*/ 563 h 633"/>
              <a:gd name="T112" fmla="*/ 111 w 478"/>
              <a:gd name="T113" fmla="*/ 542 h 633"/>
              <a:gd name="T114" fmla="*/ 107 w 478"/>
              <a:gd name="T115" fmla="*/ 539 h 633"/>
              <a:gd name="T116" fmla="*/ 464 w 478"/>
              <a:gd name="T117" fmla="*/ 435 h 633"/>
              <a:gd name="T118" fmla="*/ 246 w 478"/>
              <a:gd name="T119" fmla="*/ 617 h 633"/>
              <a:gd name="T120" fmla="*/ 246 w 478"/>
              <a:gd name="T121" fmla="*/ 14 h 633"/>
              <a:gd name="T122" fmla="*/ 464 w 478"/>
              <a:gd name="T123" fmla="*/ 51 h 633"/>
              <a:gd name="T124" fmla="*/ 464 w 478"/>
              <a:gd name="T125" fmla="*/ 435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78" h="633">
                <a:moveTo>
                  <a:pt x="473" y="39"/>
                </a:moveTo>
                <a:cubicBezTo>
                  <a:pt x="414" y="21"/>
                  <a:pt x="326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ubicBezTo>
                  <a:pt x="224" y="0"/>
                  <a:pt x="208" y="1"/>
                  <a:pt x="193" y="2"/>
                </a:cubicBezTo>
                <a:cubicBezTo>
                  <a:pt x="193" y="2"/>
                  <a:pt x="192" y="2"/>
                  <a:pt x="192" y="2"/>
                </a:cubicBezTo>
                <a:cubicBezTo>
                  <a:pt x="192" y="2"/>
                  <a:pt x="192" y="2"/>
                  <a:pt x="192" y="2"/>
                </a:cubicBezTo>
                <a:cubicBezTo>
                  <a:pt x="192" y="2"/>
                  <a:pt x="192" y="2"/>
                  <a:pt x="191" y="2"/>
                </a:cubicBezTo>
                <a:cubicBezTo>
                  <a:pt x="176" y="3"/>
                  <a:pt x="160" y="5"/>
                  <a:pt x="145" y="7"/>
                </a:cubicBezTo>
                <a:cubicBezTo>
                  <a:pt x="145" y="7"/>
                  <a:pt x="145" y="7"/>
                  <a:pt x="144" y="7"/>
                </a:cubicBezTo>
                <a:cubicBezTo>
                  <a:pt x="129" y="9"/>
                  <a:pt x="114" y="12"/>
                  <a:pt x="98" y="15"/>
                </a:cubicBezTo>
                <a:cubicBezTo>
                  <a:pt x="98" y="15"/>
                  <a:pt x="98" y="15"/>
                  <a:pt x="98" y="15"/>
                </a:cubicBezTo>
                <a:cubicBezTo>
                  <a:pt x="83" y="18"/>
                  <a:pt x="67" y="22"/>
                  <a:pt x="52" y="26"/>
                </a:cubicBezTo>
                <a:cubicBezTo>
                  <a:pt x="51" y="26"/>
                  <a:pt x="51" y="26"/>
                  <a:pt x="51" y="26"/>
                </a:cubicBezTo>
                <a:cubicBezTo>
                  <a:pt x="36" y="30"/>
                  <a:pt x="20" y="34"/>
                  <a:pt x="4" y="39"/>
                </a:cubicBezTo>
                <a:cubicBezTo>
                  <a:pt x="2" y="40"/>
                  <a:pt x="0" y="43"/>
                  <a:pt x="0" y="46"/>
                </a:cubicBezTo>
                <a:cubicBezTo>
                  <a:pt x="0" y="435"/>
                  <a:pt x="0" y="435"/>
                  <a:pt x="0" y="435"/>
                </a:cubicBezTo>
                <a:cubicBezTo>
                  <a:pt x="0" y="450"/>
                  <a:pt x="13" y="486"/>
                  <a:pt x="102" y="553"/>
                </a:cubicBezTo>
                <a:cubicBezTo>
                  <a:pt x="115" y="563"/>
                  <a:pt x="129" y="573"/>
                  <a:pt x="142" y="582"/>
                </a:cubicBezTo>
                <a:cubicBezTo>
                  <a:pt x="142" y="582"/>
                  <a:pt x="142" y="582"/>
                  <a:pt x="142" y="582"/>
                </a:cubicBezTo>
                <a:cubicBezTo>
                  <a:pt x="182" y="609"/>
                  <a:pt x="220" y="629"/>
                  <a:pt x="238" y="633"/>
                </a:cubicBezTo>
                <a:cubicBezTo>
                  <a:pt x="238" y="633"/>
                  <a:pt x="238" y="633"/>
                  <a:pt x="238" y="633"/>
                </a:cubicBezTo>
                <a:cubicBezTo>
                  <a:pt x="238" y="633"/>
                  <a:pt x="239" y="633"/>
                  <a:pt x="239" y="633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40" y="633"/>
                  <a:pt x="240" y="633"/>
                  <a:pt x="241" y="633"/>
                </a:cubicBezTo>
                <a:cubicBezTo>
                  <a:pt x="261" y="629"/>
                  <a:pt x="320" y="598"/>
                  <a:pt x="373" y="560"/>
                </a:cubicBezTo>
                <a:cubicBezTo>
                  <a:pt x="421" y="526"/>
                  <a:pt x="478" y="477"/>
                  <a:pt x="478" y="435"/>
                </a:cubicBezTo>
                <a:cubicBezTo>
                  <a:pt x="478" y="46"/>
                  <a:pt x="478" y="46"/>
                  <a:pt x="478" y="46"/>
                </a:cubicBezTo>
                <a:cubicBezTo>
                  <a:pt x="478" y="43"/>
                  <a:pt x="476" y="40"/>
                  <a:pt x="473" y="39"/>
                </a:cubicBezTo>
                <a:close/>
                <a:moveTo>
                  <a:pt x="199" y="15"/>
                </a:moveTo>
                <a:cubicBezTo>
                  <a:pt x="210" y="15"/>
                  <a:pt x="221" y="14"/>
                  <a:pt x="232" y="14"/>
                </a:cubicBezTo>
                <a:cubicBezTo>
                  <a:pt x="232" y="617"/>
                  <a:pt x="232" y="617"/>
                  <a:pt x="232" y="617"/>
                </a:cubicBezTo>
                <a:cubicBezTo>
                  <a:pt x="224" y="614"/>
                  <a:pt x="213" y="608"/>
                  <a:pt x="200" y="601"/>
                </a:cubicBezTo>
                <a:lnTo>
                  <a:pt x="199" y="15"/>
                </a:lnTo>
                <a:close/>
                <a:moveTo>
                  <a:pt x="186" y="593"/>
                </a:moveTo>
                <a:cubicBezTo>
                  <a:pt x="175" y="587"/>
                  <a:pt x="165" y="580"/>
                  <a:pt x="153" y="572"/>
                </a:cubicBezTo>
                <a:cubicBezTo>
                  <a:pt x="153" y="20"/>
                  <a:pt x="153" y="20"/>
                  <a:pt x="153" y="20"/>
                </a:cubicBezTo>
                <a:cubicBezTo>
                  <a:pt x="164" y="19"/>
                  <a:pt x="175" y="17"/>
                  <a:pt x="185" y="17"/>
                </a:cubicBezTo>
                <a:lnTo>
                  <a:pt x="186" y="593"/>
                </a:lnTo>
                <a:close/>
                <a:moveTo>
                  <a:pt x="60" y="38"/>
                </a:moveTo>
                <a:cubicBezTo>
                  <a:pt x="71" y="35"/>
                  <a:pt x="82" y="33"/>
                  <a:pt x="92" y="31"/>
                </a:cubicBezTo>
                <a:cubicBezTo>
                  <a:pt x="93" y="528"/>
                  <a:pt x="93" y="528"/>
                  <a:pt x="93" y="528"/>
                </a:cubicBezTo>
                <a:cubicBezTo>
                  <a:pt x="81" y="518"/>
                  <a:pt x="70" y="509"/>
                  <a:pt x="60" y="500"/>
                </a:cubicBezTo>
                <a:lnTo>
                  <a:pt x="60" y="38"/>
                </a:lnTo>
                <a:close/>
                <a:moveTo>
                  <a:pt x="14" y="435"/>
                </a:moveTo>
                <a:cubicBezTo>
                  <a:pt x="14" y="51"/>
                  <a:pt x="14" y="51"/>
                  <a:pt x="14" y="51"/>
                </a:cubicBezTo>
                <a:cubicBezTo>
                  <a:pt x="24" y="48"/>
                  <a:pt x="35" y="45"/>
                  <a:pt x="46" y="42"/>
                </a:cubicBezTo>
                <a:cubicBezTo>
                  <a:pt x="46" y="487"/>
                  <a:pt x="46" y="487"/>
                  <a:pt x="46" y="487"/>
                </a:cubicBezTo>
                <a:cubicBezTo>
                  <a:pt x="25" y="465"/>
                  <a:pt x="14" y="447"/>
                  <a:pt x="14" y="435"/>
                </a:cubicBezTo>
                <a:close/>
                <a:moveTo>
                  <a:pt x="107" y="539"/>
                </a:moveTo>
                <a:cubicBezTo>
                  <a:pt x="106" y="28"/>
                  <a:pt x="106" y="28"/>
                  <a:pt x="106" y="28"/>
                </a:cubicBezTo>
                <a:cubicBezTo>
                  <a:pt x="117" y="26"/>
                  <a:pt x="128" y="24"/>
                  <a:pt x="139" y="22"/>
                </a:cubicBezTo>
                <a:cubicBezTo>
                  <a:pt x="139" y="563"/>
                  <a:pt x="139" y="563"/>
                  <a:pt x="139" y="563"/>
                </a:cubicBezTo>
                <a:cubicBezTo>
                  <a:pt x="130" y="556"/>
                  <a:pt x="120" y="549"/>
                  <a:pt x="111" y="542"/>
                </a:cubicBezTo>
                <a:cubicBezTo>
                  <a:pt x="109" y="541"/>
                  <a:pt x="108" y="540"/>
                  <a:pt x="107" y="539"/>
                </a:cubicBezTo>
                <a:close/>
                <a:moveTo>
                  <a:pt x="464" y="435"/>
                </a:moveTo>
                <a:cubicBezTo>
                  <a:pt x="464" y="496"/>
                  <a:pt x="297" y="598"/>
                  <a:pt x="246" y="617"/>
                </a:cubicBezTo>
                <a:cubicBezTo>
                  <a:pt x="246" y="14"/>
                  <a:pt x="246" y="14"/>
                  <a:pt x="246" y="14"/>
                </a:cubicBezTo>
                <a:cubicBezTo>
                  <a:pt x="327" y="15"/>
                  <a:pt x="408" y="34"/>
                  <a:pt x="464" y="51"/>
                </a:cubicBezTo>
                <a:lnTo>
                  <a:pt x="464" y="4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9" name="Oval 20"/>
          <p:cNvSpPr>
            <a:spLocks noChangeArrowheads="1"/>
          </p:cNvSpPr>
          <p:nvPr/>
        </p:nvSpPr>
        <p:spPr bwMode="auto">
          <a:xfrm>
            <a:off x="1733404" y="82790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293" name="Freeform 106"/>
          <p:cNvSpPr>
            <a:spLocks noEditPoints="1"/>
          </p:cNvSpPr>
          <p:nvPr/>
        </p:nvSpPr>
        <p:spPr bwMode="auto">
          <a:xfrm>
            <a:off x="1953841" y="989558"/>
            <a:ext cx="381224" cy="499655"/>
          </a:xfrm>
          <a:custGeom>
            <a:avLst/>
            <a:gdLst>
              <a:gd name="T0" fmla="*/ 451 w 493"/>
              <a:gd name="T1" fmla="*/ 579 h 646"/>
              <a:gd name="T2" fmla="*/ 285 w 493"/>
              <a:gd name="T3" fmla="*/ 321 h 646"/>
              <a:gd name="T4" fmla="*/ 419 w 493"/>
              <a:gd name="T5" fmla="*/ 174 h 646"/>
              <a:gd name="T6" fmla="*/ 424 w 493"/>
              <a:gd name="T7" fmla="*/ 165 h 646"/>
              <a:gd name="T8" fmla="*/ 460 w 493"/>
              <a:gd name="T9" fmla="*/ 67 h 646"/>
              <a:gd name="T10" fmla="*/ 460 w 493"/>
              <a:gd name="T11" fmla="*/ 0 h 646"/>
              <a:gd name="T12" fmla="*/ 0 w 493"/>
              <a:gd name="T13" fmla="*/ 33 h 646"/>
              <a:gd name="T14" fmla="*/ 44 w 493"/>
              <a:gd name="T15" fmla="*/ 67 h 646"/>
              <a:gd name="T16" fmla="*/ 73 w 493"/>
              <a:gd name="T17" fmla="*/ 166 h 646"/>
              <a:gd name="T18" fmla="*/ 211 w 493"/>
              <a:gd name="T19" fmla="*/ 317 h 646"/>
              <a:gd name="T20" fmla="*/ 211 w 493"/>
              <a:gd name="T21" fmla="*/ 332 h 646"/>
              <a:gd name="T22" fmla="*/ 34 w 493"/>
              <a:gd name="T23" fmla="*/ 579 h 646"/>
              <a:gd name="T24" fmla="*/ 34 w 493"/>
              <a:gd name="T25" fmla="*/ 646 h 646"/>
              <a:gd name="T26" fmla="*/ 493 w 493"/>
              <a:gd name="T27" fmla="*/ 612 h 646"/>
              <a:gd name="T28" fmla="*/ 404 w 493"/>
              <a:gd name="T29" fmla="*/ 479 h 646"/>
              <a:gd name="T30" fmla="*/ 285 w 493"/>
              <a:gd name="T31" fmla="*/ 348 h 646"/>
              <a:gd name="T32" fmla="*/ 14 w 493"/>
              <a:gd name="T33" fmla="*/ 33 h 646"/>
              <a:gd name="T34" fmla="*/ 460 w 493"/>
              <a:gd name="T35" fmla="*/ 14 h 646"/>
              <a:gd name="T36" fmla="*/ 460 w 493"/>
              <a:gd name="T37" fmla="*/ 53 h 646"/>
              <a:gd name="T38" fmla="*/ 14 w 493"/>
              <a:gd name="T39" fmla="*/ 33 h 646"/>
              <a:gd name="T40" fmla="*/ 412 w 493"/>
              <a:gd name="T41" fmla="*/ 156 h 646"/>
              <a:gd name="T42" fmla="*/ 85 w 493"/>
              <a:gd name="T43" fmla="*/ 156 h 646"/>
              <a:gd name="T44" fmla="*/ 439 w 493"/>
              <a:gd name="T45" fmla="*/ 67 h 646"/>
              <a:gd name="T46" fmla="*/ 211 w 493"/>
              <a:gd name="T47" fmla="*/ 490 h 646"/>
              <a:gd name="T48" fmla="*/ 211 w 493"/>
              <a:gd name="T49" fmla="*/ 348 h 646"/>
              <a:gd name="T50" fmla="*/ 156 w 493"/>
              <a:gd name="T51" fmla="*/ 509 h 646"/>
              <a:gd name="T52" fmla="*/ 219 w 493"/>
              <a:gd name="T53" fmla="*/ 503 h 646"/>
              <a:gd name="T54" fmla="*/ 225 w 493"/>
              <a:gd name="T55" fmla="*/ 336 h 646"/>
              <a:gd name="T56" fmla="*/ 225 w 493"/>
              <a:gd name="T57" fmla="*/ 313 h 646"/>
              <a:gd name="T58" fmla="*/ 94 w 493"/>
              <a:gd name="T59" fmla="*/ 175 h 646"/>
              <a:gd name="T60" fmla="*/ 259 w 493"/>
              <a:gd name="T61" fmla="*/ 169 h 646"/>
              <a:gd name="T62" fmla="*/ 274 w 493"/>
              <a:gd name="T63" fmla="*/ 307 h 646"/>
              <a:gd name="T64" fmla="*/ 271 w 493"/>
              <a:gd name="T65" fmla="*/ 321 h 646"/>
              <a:gd name="T66" fmla="*/ 271 w 493"/>
              <a:gd name="T67" fmla="*/ 483 h 646"/>
              <a:gd name="T68" fmla="*/ 278 w 493"/>
              <a:gd name="T69" fmla="*/ 493 h 646"/>
              <a:gd name="T70" fmla="*/ 437 w 493"/>
              <a:gd name="T71" fmla="*/ 579 h 646"/>
              <a:gd name="T72" fmla="*/ 84 w 493"/>
              <a:gd name="T73" fmla="*/ 495 h 646"/>
              <a:gd name="T74" fmla="*/ 34 w 493"/>
              <a:gd name="T75" fmla="*/ 632 h 646"/>
              <a:gd name="T76" fmla="*/ 34 w 493"/>
              <a:gd name="T77" fmla="*/ 593 h 646"/>
              <a:gd name="T78" fmla="*/ 479 w 493"/>
              <a:gd name="T79" fmla="*/ 612 h 6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493" h="646">
                <a:moveTo>
                  <a:pt x="460" y="579"/>
                </a:moveTo>
                <a:cubicBezTo>
                  <a:pt x="451" y="579"/>
                  <a:pt x="451" y="579"/>
                  <a:pt x="451" y="579"/>
                </a:cubicBezTo>
                <a:cubicBezTo>
                  <a:pt x="435" y="462"/>
                  <a:pt x="357" y="372"/>
                  <a:pt x="285" y="332"/>
                </a:cubicBezTo>
                <a:cubicBezTo>
                  <a:pt x="285" y="321"/>
                  <a:pt x="285" y="321"/>
                  <a:pt x="285" y="321"/>
                </a:cubicBezTo>
                <a:cubicBezTo>
                  <a:pt x="285" y="317"/>
                  <a:pt x="285" y="317"/>
                  <a:pt x="285" y="317"/>
                </a:cubicBezTo>
                <a:cubicBezTo>
                  <a:pt x="334" y="291"/>
                  <a:pt x="385" y="241"/>
                  <a:pt x="419" y="174"/>
                </a:cubicBezTo>
                <a:cubicBezTo>
                  <a:pt x="421" y="174"/>
                  <a:pt x="422" y="173"/>
                  <a:pt x="423" y="172"/>
                </a:cubicBezTo>
                <a:cubicBezTo>
                  <a:pt x="424" y="170"/>
                  <a:pt x="424" y="167"/>
                  <a:pt x="424" y="165"/>
                </a:cubicBezTo>
                <a:cubicBezTo>
                  <a:pt x="438" y="135"/>
                  <a:pt x="448" y="102"/>
                  <a:pt x="453" y="67"/>
                </a:cubicBezTo>
                <a:cubicBezTo>
                  <a:pt x="460" y="67"/>
                  <a:pt x="460" y="67"/>
                  <a:pt x="460" y="67"/>
                </a:cubicBezTo>
                <a:cubicBezTo>
                  <a:pt x="478" y="67"/>
                  <a:pt x="493" y="52"/>
                  <a:pt x="493" y="33"/>
                </a:cubicBezTo>
                <a:cubicBezTo>
                  <a:pt x="493" y="15"/>
                  <a:pt x="478" y="0"/>
                  <a:pt x="460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15" y="0"/>
                  <a:pt x="0" y="15"/>
                  <a:pt x="0" y="33"/>
                </a:cubicBezTo>
                <a:cubicBezTo>
                  <a:pt x="0" y="52"/>
                  <a:pt x="15" y="67"/>
                  <a:pt x="34" y="67"/>
                </a:cubicBezTo>
                <a:cubicBezTo>
                  <a:pt x="44" y="67"/>
                  <a:pt x="44" y="67"/>
                  <a:pt x="44" y="67"/>
                </a:cubicBezTo>
                <a:cubicBezTo>
                  <a:pt x="48" y="100"/>
                  <a:pt x="58" y="130"/>
                  <a:pt x="70" y="158"/>
                </a:cubicBezTo>
                <a:cubicBezTo>
                  <a:pt x="69" y="161"/>
                  <a:pt x="70" y="165"/>
                  <a:pt x="73" y="166"/>
                </a:cubicBezTo>
                <a:cubicBezTo>
                  <a:pt x="73" y="166"/>
                  <a:pt x="74" y="167"/>
                  <a:pt x="74" y="167"/>
                </a:cubicBezTo>
                <a:cubicBezTo>
                  <a:pt x="107" y="237"/>
                  <a:pt x="160" y="290"/>
                  <a:pt x="211" y="317"/>
                </a:cubicBezTo>
                <a:cubicBezTo>
                  <a:pt x="211" y="330"/>
                  <a:pt x="211" y="330"/>
                  <a:pt x="211" y="330"/>
                </a:cubicBezTo>
                <a:cubicBezTo>
                  <a:pt x="211" y="332"/>
                  <a:pt x="211" y="332"/>
                  <a:pt x="211" y="332"/>
                </a:cubicBezTo>
                <a:cubicBezTo>
                  <a:pt x="140" y="371"/>
                  <a:pt x="62" y="462"/>
                  <a:pt x="44" y="579"/>
                </a:cubicBezTo>
                <a:cubicBezTo>
                  <a:pt x="34" y="579"/>
                  <a:pt x="34" y="579"/>
                  <a:pt x="34" y="579"/>
                </a:cubicBezTo>
                <a:cubicBezTo>
                  <a:pt x="15" y="579"/>
                  <a:pt x="0" y="594"/>
                  <a:pt x="0" y="612"/>
                </a:cubicBezTo>
                <a:cubicBezTo>
                  <a:pt x="0" y="631"/>
                  <a:pt x="15" y="646"/>
                  <a:pt x="34" y="646"/>
                </a:cubicBezTo>
                <a:cubicBezTo>
                  <a:pt x="460" y="646"/>
                  <a:pt x="460" y="646"/>
                  <a:pt x="460" y="646"/>
                </a:cubicBezTo>
                <a:cubicBezTo>
                  <a:pt x="478" y="646"/>
                  <a:pt x="493" y="631"/>
                  <a:pt x="493" y="612"/>
                </a:cubicBezTo>
                <a:cubicBezTo>
                  <a:pt x="493" y="594"/>
                  <a:pt x="478" y="579"/>
                  <a:pt x="460" y="579"/>
                </a:cubicBezTo>
                <a:close/>
                <a:moveTo>
                  <a:pt x="404" y="479"/>
                </a:moveTo>
                <a:cubicBezTo>
                  <a:pt x="371" y="466"/>
                  <a:pt x="329" y="470"/>
                  <a:pt x="285" y="478"/>
                </a:cubicBezTo>
                <a:cubicBezTo>
                  <a:pt x="285" y="348"/>
                  <a:pt x="285" y="348"/>
                  <a:pt x="285" y="348"/>
                </a:cubicBezTo>
                <a:cubicBezTo>
                  <a:pt x="328" y="374"/>
                  <a:pt x="373" y="420"/>
                  <a:pt x="404" y="479"/>
                </a:cubicBezTo>
                <a:close/>
                <a:moveTo>
                  <a:pt x="14" y="33"/>
                </a:moveTo>
                <a:cubicBezTo>
                  <a:pt x="14" y="23"/>
                  <a:pt x="23" y="14"/>
                  <a:pt x="34" y="14"/>
                </a:cubicBezTo>
                <a:cubicBezTo>
                  <a:pt x="460" y="14"/>
                  <a:pt x="460" y="14"/>
                  <a:pt x="460" y="14"/>
                </a:cubicBezTo>
                <a:cubicBezTo>
                  <a:pt x="471" y="14"/>
                  <a:pt x="479" y="23"/>
                  <a:pt x="479" y="33"/>
                </a:cubicBezTo>
                <a:cubicBezTo>
                  <a:pt x="479" y="44"/>
                  <a:pt x="471" y="53"/>
                  <a:pt x="460" y="53"/>
                </a:cubicBezTo>
                <a:cubicBezTo>
                  <a:pt x="34" y="53"/>
                  <a:pt x="34" y="53"/>
                  <a:pt x="34" y="53"/>
                </a:cubicBezTo>
                <a:cubicBezTo>
                  <a:pt x="23" y="53"/>
                  <a:pt x="14" y="44"/>
                  <a:pt x="14" y="33"/>
                </a:cubicBezTo>
                <a:close/>
                <a:moveTo>
                  <a:pt x="439" y="67"/>
                </a:moveTo>
                <a:cubicBezTo>
                  <a:pt x="434" y="99"/>
                  <a:pt x="425" y="129"/>
                  <a:pt x="412" y="156"/>
                </a:cubicBezTo>
                <a:cubicBezTo>
                  <a:pt x="372" y="134"/>
                  <a:pt x="315" y="145"/>
                  <a:pt x="256" y="156"/>
                </a:cubicBezTo>
                <a:cubicBezTo>
                  <a:pt x="196" y="167"/>
                  <a:pt x="134" y="178"/>
                  <a:pt x="85" y="156"/>
                </a:cubicBezTo>
                <a:cubicBezTo>
                  <a:pt x="72" y="129"/>
                  <a:pt x="63" y="99"/>
                  <a:pt x="58" y="67"/>
                </a:cubicBezTo>
                <a:lnTo>
                  <a:pt x="439" y="67"/>
                </a:lnTo>
                <a:close/>
                <a:moveTo>
                  <a:pt x="211" y="348"/>
                </a:moveTo>
                <a:cubicBezTo>
                  <a:pt x="211" y="490"/>
                  <a:pt x="211" y="490"/>
                  <a:pt x="211" y="490"/>
                </a:cubicBezTo>
                <a:cubicBezTo>
                  <a:pt x="171" y="496"/>
                  <a:pt x="127" y="499"/>
                  <a:pt x="90" y="483"/>
                </a:cubicBezTo>
                <a:cubicBezTo>
                  <a:pt x="121" y="422"/>
                  <a:pt x="168" y="374"/>
                  <a:pt x="211" y="348"/>
                </a:cubicBezTo>
                <a:close/>
                <a:moveTo>
                  <a:pt x="84" y="495"/>
                </a:moveTo>
                <a:cubicBezTo>
                  <a:pt x="107" y="505"/>
                  <a:pt x="131" y="509"/>
                  <a:pt x="156" y="509"/>
                </a:cubicBezTo>
                <a:cubicBezTo>
                  <a:pt x="178" y="509"/>
                  <a:pt x="199" y="506"/>
                  <a:pt x="219" y="503"/>
                </a:cubicBezTo>
                <a:cubicBezTo>
                  <a:pt x="219" y="503"/>
                  <a:pt x="219" y="503"/>
                  <a:pt x="219" y="503"/>
                </a:cubicBezTo>
                <a:cubicBezTo>
                  <a:pt x="222" y="503"/>
                  <a:pt x="225" y="500"/>
                  <a:pt x="225" y="496"/>
                </a:cubicBezTo>
                <a:cubicBezTo>
                  <a:pt x="225" y="336"/>
                  <a:pt x="225" y="336"/>
                  <a:pt x="225" y="336"/>
                </a:cubicBezTo>
                <a:cubicBezTo>
                  <a:pt x="225" y="330"/>
                  <a:pt x="225" y="330"/>
                  <a:pt x="225" y="330"/>
                </a:cubicBezTo>
                <a:cubicBezTo>
                  <a:pt x="225" y="313"/>
                  <a:pt x="225" y="313"/>
                  <a:pt x="225" y="313"/>
                </a:cubicBezTo>
                <a:cubicBezTo>
                  <a:pt x="225" y="311"/>
                  <a:pt x="224" y="308"/>
                  <a:pt x="221" y="307"/>
                </a:cubicBezTo>
                <a:cubicBezTo>
                  <a:pt x="177" y="284"/>
                  <a:pt x="127" y="237"/>
                  <a:pt x="94" y="175"/>
                </a:cubicBezTo>
                <a:cubicBezTo>
                  <a:pt x="112" y="180"/>
                  <a:pt x="131" y="183"/>
                  <a:pt x="151" y="183"/>
                </a:cubicBezTo>
                <a:cubicBezTo>
                  <a:pt x="186" y="183"/>
                  <a:pt x="223" y="176"/>
                  <a:pt x="259" y="169"/>
                </a:cubicBezTo>
                <a:cubicBezTo>
                  <a:pt x="316" y="159"/>
                  <a:pt x="370" y="149"/>
                  <a:pt x="406" y="169"/>
                </a:cubicBezTo>
                <a:cubicBezTo>
                  <a:pt x="372" y="234"/>
                  <a:pt x="321" y="283"/>
                  <a:pt x="274" y="307"/>
                </a:cubicBezTo>
                <a:cubicBezTo>
                  <a:pt x="272" y="308"/>
                  <a:pt x="271" y="311"/>
                  <a:pt x="271" y="313"/>
                </a:cubicBezTo>
                <a:cubicBezTo>
                  <a:pt x="271" y="321"/>
                  <a:pt x="271" y="321"/>
                  <a:pt x="271" y="321"/>
                </a:cubicBezTo>
                <a:cubicBezTo>
                  <a:pt x="271" y="336"/>
                  <a:pt x="271" y="336"/>
                  <a:pt x="271" y="336"/>
                </a:cubicBezTo>
                <a:cubicBezTo>
                  <a:pt x="271" y="483"/>
                  <a:pt x="271" y="483"/>
                  <a:pt x="271" y="483"/>
                </a:cubicBezTo>
                <a:cubicBezTo>
                  <a:pt x="270" y="484"/>
                  <a:pt x="270" y="486"/>
                  <a:pt x="270" y="487"/>
                </a:cubicBezTo>
                <a:cubicBezTo>
                  <a:pt x="271" y="491"/>
                  <a:pt x="274" y="494"/>
                  <a:pt x="278" y="493"/>
                </a:cubicBezTo>
                <a:cubicBezTo>
                  <a:pt x="331" y="484"/>
                  <a:pt x="381" y="477"/>
                  <a:pt x="414" y="499"/>
                </a:cubicBezTo>
                <a:cubicBezTo>
                  <a:pt x="425" y="524"/>
                  <a:pt x="433" y="551"/>
                  <a:pt x="437" y="579"/>
                </a:cubicBezTo>
                <a:cubicBezTo>
                  <a:pt x="58" y="579"/>
                  <a:pt x="58" y="579"/>
                  <a:pt x="58" y="579"/>
                </a:cubicBezTo>
                <a:cubicBezTo>
                  <a:pt x="63" y="549"/>
                  <a:pt x="72" y="521"/>
                  <a:pt x="84" y="495"/>
                </a:cubicBezTo>
                <a:close/>
                <a:moveTo>
                  <a:pt x="460" y="632"/>
                </a:moveTo>
                <a:cubicBezTo>
                  <a:pt x="34" y="632"/>
                  <a:pt x="34" y="632"/>
                  <a:pt x="34" y="632"/>
                </a:cubicBezTo>
                <a:cubicBezTo>
                  <a:pt x="23" y="632"/>
                  <a:pt x="14" y="623"/>
                  <a:pt x="14" y="612"/>
                </a:cubicBezTo>
                <a:cubicBezTo>
                  <a:pt x="14" y="601"/>
                  <a:pt x="23" y="593"/>
                  <a:pt x="34" y="593"/>
                </a:cubicBezTo>
                <a:cubicBezTo>
                  <a:pt x="460" y="593"/>
                  <a:pt x="460" y="593"/>
                  <a:pt x="460" y="593"/>
                </a:cubicBezTo>
                <a:cubicBezTo>
                  <a:pt x="471" y="593"/>
                  <a:pt x="479" y="601"/>
                  <a:pt x="479" y="612"/>
                </a:cubicBezTo>
                <a:cubicBezTo>
                  <a:pt x="479" y="623"/>
                  <a:pt x="471" y="632"/>
                  <a:pt x="460" y="6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7" name="Oval 18"/>
          <p:cNvSpPr>
            <a:spLocks noChangeArrowheads="1"/>
          </p:cNvSpPr>
          <p:nvPr/>
        </p:nvSpPr>
        <p:spPr bwMode="auto">
          <a:xfrm>
            <a:off x="4318891" y="82790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301" name="Freeform 114"/>
          <p:cNvSpPr>
            <a:spLocks noEditPoints="1"/>
          </p:cNvSpPr>
          <p:nvPr/>
        </p:nvSpPr>
        <p:spPr bwMode="auto">
          <a:xfrm>
            <a:off x="4458933" y="993015"/>
            <a:ext cx="542877" cy="493604"/>
          </a:xfrm>
          <a:custGeom>
            <a:avLst/>
            <a:gdLst>
              <a:gd name="T0" fmla="*/ 589 w 701"/>
              <a:gd name="T1" fmla="*/ 526 h 638"/>
              <a:gd name="T2" fmla="*/ 375 w 701"/>
              <a:gd name="T3" fmla="*/ 310 h 638"/>
              <a:gd name="T4" fmla="*/ 436 w 701"/>
              <a:gd name="T5" fmla="*/ 280 h 638"/>
              <a:gd name="T6" fmla="*/ 563 w 701"/>
              <a:gd name="T7" fmla="*/ 257 h 638"/>
              <a:gd name="T8" fmla="*/ 432 w 701"/>
              <a:gd name="T9" fmla="*/ 257 h 638"/>
              <a:gd name="T10" fmla="*/ 371 w 701"/>
              <a:gd name="T11" fmla="*/ 282 h 638"/>
              <a:gd name="T12" fmla="*/ 382 w 701"/>
              <a:gd name="T13" fmla="*/ 128 h 638"/>
              <a:gd name="T14" fmla="*/ 469 w 701"/>
              <a:gd name="T15" fmla="*/ 66 h 638"/>
              <a:gd name="T16" fmla="*/ 338 w 701"/>
              <a:gd name="T17" fmla="*/ 66 h 638"/>
              <a:gd name="T18" fmla="*/ 319 w 701"/>
              <a:gd name="T19" fmla="*/ 229 h 638"/>
              <a:gd name="T20" fmla="*/ 206 w 701"/>
              <a:gd name="T21" fmla="*/ 283 h 638"/>
              <a:gd name="T22" fmla="*/ 131 w 701"/>
              <a:gd name="T23" fmla="*/ 257 h 638"/>
              <a:gd name="T24" fmla="*/ 0 w 701"/>
              <a:gd name="T25" fmla="*/ 257 h 638"/>
              <a:gd name="T26" fmla="*/ 127 w 701"/>
              <a:gd name="T27" fmla="*/ 280 h 638"/>
              <a:gd name="T28" fmla="*/ 201 w 701"/>
              <a:gd name="T29" fmla="*/ 310 h 638"/>
              <a:gd name="T30" fmla="*/ 210 w 701"/>
              <a:gd name="T31" fmla="*/ 472 h 638"/>
              <a:gd name="T32" fmla="*/ 131 w 701"/>
              <a:gd name="T33" fmla="*/ 536 h 638"/>
              <a:gd name="T34" fmla="*/ 262 w 701"/>
              <a:gd name="T35" fmla="*/ 536 h 638"/>
              <a:gd name="T36" fmla="*/ 259 w 701"/>
              <a:gd name="T37" fmla="*/ 392 h 638"/>
              <a:gd name="T38" fmla="*/ 348 w 701"/>
              <a:gd name="T39" fmla="*/ 374 h 638"/>
              <a:gd name="T40" fmla="*/ 570 w 701"/>
              <a:gd name="T41" fmla="*/ 572 h 638"/>
              <a:gd name="T42" fmla="*/ 701 w 701"/>
              <a:gd name="T43" fmla="*/ 572 h 638"/>
              <a:gd name="T44" fmla="*/ 498 w 701"/>
              <a:gd name="T45" fmla="*/ 206 h 638"/>
              <a:gd name="T46" fmla="*/ 498 w 701"/>
              <a:gd name="T47" fmla="*/ 309 h 638"/>
              <a:gd name="T48" fmla="*/ 448 w 701"/>
              <a:gd name="T49" fmla="*/ 270 h 638"/>
              <a:gd name="T50" fmla="*/ 446 w 701"/>
              <a:gd name="T51" fmla="*/ 257 h 638"/>
              <a:gd name="T52" fmla="*/ 352 w 701"/>
              <a:gd name="T53" fmla="*/ 66 h 638"/>
              <a:gd name="T54" fmla="*/ 455 w 701"/>
              <a:gd name="T55" fmla="*/ 66 h 638"/>
              <a:gd name="T56" fmla="*/ 352 w 701"/>
              <a:gd name="T57" fmla="*/ 66 h 638"/>
              <a:gd name="T58" fmla="*/ 14 w 701"/>
              <a:gd name="T59" fmla="*/ 257 h 638"/>
              <a:gd name="T60" fmla="*/ 117 w 701"/>
              <a:gd name="T61" fmla="*/ 257 h 638"/>
              <a:gd name="T62" fmla="*/ 248 w 701"/>
              <a:gd name="T63" fmla="*/ 536 h 638"/>
              <a:gd name="T64" fmla="*/ 145 w 701"/>
              <a:gd name="T65" fmla="*/ 536 h 638"/>
              <a:gd name="T66" fmla="*/ 248 w 701"/>
              <a:gd name="T67" fmla="*/ 536 h 638"/>
              <a:gd name="T68" fmla="*/ 288 w 701"/>
              <a:gd name="T69" fmla="*/ 237 h 638"/>
              <a:gd name="T70" fmla="*/ 288 w 701"/>
              <a:gd name="T71" fmla="*/ 383 h 638"/>
              <a:gd name="T72" fmla="*/ 636 w 701"/>
              <a:gd name="T73" fmla="*/ 624 h 638"/>
              <a:gd name="T74" fmla="*/ 636 w 701"/>
              <a:gd name="T75" fmla="*/ 520 h 638"/>
              <a:gd name="T76" fmla="*/ 636 w 701"/>
              <a:gd name="T77" fmla="*/ 624 h 6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01" h="638">
                <a:moveTo>
                  <a:pt x="636" y="506"/>
                </a:moveTo>
                <a:cubicBezTo>
                  <a:pt x="617" y="506"/>
                  <a:pt x="600" y="514"/>
                  <a:pt x="589" y="526"/>
                </a:cubicBezTo>
                <a:cubicBezTo>
                  <a:pt x="357" y="363"/>
                  <a:pt x="357" y="363"/>
                  <a:pt x="357" y="363"/>
                </a:cubicBezTo>
                <a:cubicBezTo>
                  <a:pt x="369" y="349"/>
                  <a:pt x="375" y="330"/>
                  <a:pt x="375" y="310"/>
                </a:cubicBezTo>
                <a:cubicBezTo>
                  <a:pt x="375" y="305"/>
                  <a:pt x="375" y="300"/>
                  <a:pt x="374" y="296"/>
                </a:cubicBezTo>
                <a:cubicBezTo>
                  <a:pt x="436" y="280"/>
                  <a:pt x="436" y="280"/>
                  <a:pt x="436" y="280"/>
                </a:cubicBezTo>
                <a:cubicBezTo>
                  <a:pt x="445" y="305"/>
                  <a:pt x="469" y="323"/>
                  <a:pt x="498" y="323"/>
                </a:cubicBezTo>
                <a:cubicBezTo>
                  <a:pt x="534" y="323"/>
                  <a:pt x="563" y="294"/>
                  <a:pt x="563" y="257"/>
                </a:cubicBezTo>
                <a:cubicBezTo>
                  <a:pt x="563" y="221"/>
                  <a:pt x="534" y="192"/>
                  <a:pt x="498" y="192"/>
                </a:cubicBezTo>
                <a:cubicBezTo>
                  <a:pt x="461" y="192"/>
                  <a:pt x="432" y="221"/>
                  <a:pt x="432" y="257"/>
                </a:cubicBezTo>
                <a:cubicBezTo>
                  <a:pt x="432" y="261"/>
                  <a:pt x="432" y="264"/>
                  <a:pt x="433" y="267"/>
                </a:cubicBezTo>
                <a:cubicBezTo>
                  <a:pt x="371" y="282"/>
                  <a:pt x="371" y="282"/>
                  <a:pt x="371" y="282"/>
                </a:cubicBezTo>
                <a:cubicBezTo>
                  <a:pt x="364" y="262"/>
                  <a:pt x="350" y="245"/>
                  <a:pt x="332" y="235"/>
                </a:cubicBezTo>
                <a:cubicBezTo>
                  <a:pt x="382" y="128"/>
                  <a:pt x="382" y="128"/>
                  <a:pt x="382" y="128"/>
                </a:cubicBezTo>
                <a:cubicBezTo>
                  <a:pt x="389" y="130"/>
                  <a:pt x="396" y="131"/>
                  <a:pt x="403" y="131"/>
                </a:cubicBezTo>
                <a:cubicBezTo>
                  <a:pt x="440" y="131"/>
                  <a:pt x="469" y="102"/>
                  <a:pt x="469" y="66"/>
                </a:cubicBezTo>
                <a:cubicBezTo>
                  <a:pt x="469" y="29"/>
                  <a:pt x="440" y="0"/>
                  <a:pt x="403" y="0"/>
                </a:cubicBezTo>
                <a:cubicBezTo>
                  <a:pt x="367" y="0"/>
                  <a:pt x="338" y="29"/>
                  <a:pt x="338" y="66"/>
                </a:cubicBezTo>
                <a:cubicBezTo>
                  <a:pt x="338" y="89"/>
                  <a:pt x="350" y="110"/>
                  <a:pt x="369" y="122"/>
                </a:cubicBezTo>
                <a:cubicBezTo>
                  <a:pt x="319" y="229"/>
                  <a:pt x="319" y="229"/>
                  <a:pt x="319" y="229"/>
                </a:cubicBezTo>
                <a:cubicBezTo>
                  <a:pt x="309" y="225"/>
                  <a:pt x="299" y="223"/>
                  <a:pt x="288" y="223"/>
                </a:cubicBezTo>
                <a:cubicBezTo>
                  <a:pt x="250" y="223"/>
                  <a:pt x="217" y="248"/>
                  <a:pt x="206" y="283"/>
                </a:cubicBezTo>
                <a:cubicBezTo>
                  <a:pt x="130" y="266"/>
                  <a:pt x="130" y="266"/>
                  <a:pt x="130" y="266"/>
                </a:cubicBezTo>
                <a:cubicBezTo>
                  <a:pt x="131" y="263"/>
                  <a:pt x="131" y="260"/>
                  <a:pt x="131" y="257"/>
                </a:cubicBezTo>
                <a:cubicBezTo>
                  <a:pt x="131" y="221"/>
                  <a:pt x="102" y="192"/>
                  <a:pt x="65" y="192"/>
                </a:cubicBezTo>
                <a:cubicBezTo>
                  <a:pt x="29" y="192"/>
                  <a:pt x="0" y="221"/>
                  <a:pt x="0" y="257"/>
                </a:cubicBezTo>
                <a:cubicBezTo>
                  <a:pt x="0" y="294"/>
                  <a:pt x="29" y="323"/>
                  <a:pt x="65" y="323"/>
                </a:cubicBezTo>
                <a:cubicBezTo>
                  <a:pt x="94" y="323"/>
                  <a:pt x="118" y="305"/>
                  <a:pt x="127" y="280"/>
                </a:cubicBezTo>
                <a:cubicBezTo>
                  <a:pt x="202" y="297"/>
                  <a:pt x="202" y="297"/>
                  <a:pt x="202" y="297"/>
                </a:cubicBezTo>
                <a:cubicBezTo>
                  <a:pt x="201" y="301"/>
                  <a:pt x="201" y="306"/>
                  <a:pt x="201" y="310"/>
                </a:cubicBezTo>
                <a:cubicBezTo>
                  <a:pt x="201" y="343"/>
                  <a:pt x="219" y="371"/>
                  <a:pt x="246" y="386"/>
                </a:cubicBezTo>
                <a:cubicBezTo>
                  <a:pt x="210" y="472"/>
                  <a:pt x="210" y="472"/>
                  <a:pt x="210" y="472"/>
                </a:cubicBezTo>
                <a:cubicBezTo>
                  <a:pt x="206" y="471"/>
                  <a:pt x="201" y="470"/>
                  <a:pt x="196" y="470"/>
                </a:cubicBezTo>
                <a:cubicBezTo>
                  <a:pt x="160" y="470"/>
                  <a:pt x="131" y="500"/>
                  <a:pt x="131" y="536"/>
                </a:cubicBezTo>
                <a:cubicBezTo>
                  <a:pt x="131" y="572"/>
                  <a:pt x="160" y="602"/>
                  <a:pt x="196" y="602"/>
                </a:cubicBezTo>
                <a:cubicBezTo>
                  <a:pt x="232" y="602"/>
                  <a:pt x="262" y="572"/>
                  <a:pt x="262" y="536"/>
                </a:cubicBezTo>
                <a:cubicBezTo>
                  <a:pt x="262" y="510"/>
                  <a:pt x="246" y="487"/>
                  <a:pt x="224" y="476"/>
                </a:cubicBezTo>
                <a:cubicBezTo>
                  <a:pt x="259" y="392"/>
                  <a:pt x="259" y="392"/>
                  <a:pt x="259" y="392"/>
                </a:cubicBezTo>
                <a:cubicBezTo>
                  <a:pt x="268" y="396"/>
                  <a:pt x="278" y="397"/>
                  <a:pt x="288" y="397"/>
                </a:cubicBezTo>
                <a:cubicBezTo>
                  <a:pt x="311" y="397"/>
                  <a:pt x="332" y="388"/>
                  <a:pt x="348" y="374"/>
                </a:cubicBezTo>
                <a:cubicBezTo>
                  <a:pt x="580" y="537"/>
                  <a:pt x="580" y="537"/>
                  <a:pt x="580" y="537"/>
                </a:cubicBezTo>
                <a:cubicBezTo>
                  <a:pt x="574" y="547"/>
                  <a:pt x="570" y="559"/>
                  <a:pt x="570" y="572"/>
                </a:cubicBezTo>
                <a:cubicBezTo>
                  <a:pt x="570" y="608"/>
                  <a:pt x="599" y="638"/>
                  <a:pt x="636" y="638"/>
                </a:cubicBezTo>
                <a:cubicBezTo>
                  <a:pt x="672" y="638"/>
                  <a:pt x="701" y="608"/>
                  <a:pt x="701" y="572"/>
                </a:cubicBezTo>
                <a:cubicBezTo>
                  <a:pt x="701" y="536"/>
                  <a:pt x="672" y="506"/>
                  <a:pt x="636" y="506"/>
                </a:cubicBezTo>
                <a:close/>
                <a:moveTo>
                  <a:pt x="498" y="206"/>
                </a:moveTo>
                <a:cubicBezTo>
                  <a:pt x="526" y="206"/>
                  <a:pt x="549" y="229"/>
                  <a:pt x="549" y="257"/>
                </a:cubicBezTo>
                <a:cubicBezTo>
                  <a:pt x="549" y="286"/>
                  <a:pt x="526" y="309"/>
                  <a:pt x="498" y="309"/>
                </a:cubicBezTo>
                <a:cubicBezTo>
                  <a:pt x="474" y="309"/>
                  <a:pt x="453" y="292"/>
                  <a:pt x="448" y="270"/>
                </a:cubicBezTo>
                <a:cubicBezTo>
                  <a:pt x="448" y="270"/>
                  <a:pt x="448" y="270"/>
                  <a:pt x="448" y="270"/>
                </a:cubicBezTo>
                <a:cubicBezTo>
                  <a:pt x="448" y="270"/>
                  <a:pt x="448" y="270"/>
                  <a:pt x="448" y="270"/>
                </a:cubicBezTo>
                <a:cubicBezTo>
                  <a:pt x="447" y="266"/>
                  <a:pt x="446" y="262"/>
                  <a:pt x="446" y="257"/>
                </a:cubicBezTo>
                <a:cubicBezTo>
                  <a:pt x="446" y="229"/>
                  <a:pt x="469" y="206"/>
                  <a:pt x="498" y="206"/>
                </a:cubicBezTo>
                <a:close/>
                <a:moveTo>
                  <a:pt x="352" y="66"/>
                </a:moveTo>
                <a:cubicBezTo>
                  <a:pt x="352" y="37"/>
                  <a:pt x="375" y="14"/>
                  <a:pt x="403" y="14"/>
                </a:cubicBezTo>
                <a:cubicBezTo>
                  <a:pt x="432" y="14"/>
                  <a:pt x="455" y="37"/>
                  <a:pt x="455" y="66"/>
                </a:cubicBezTo>
                <a:cubicBezTo>
                  <a:pt x="455" y="94"/>
                  <a:pt x="432" y="117"/>
                  <a:pt x="403" y="117"/>
                </a:cubicBezTo>
                <a:cubicBezTo>
                  <a:pt x="375" y="117"/>
                  <a:pt x="352" y="94"/>
                  <a:pt x="352" y="66"/>
                </a:cubicBezTo>
                <a:close/>
                <a:moveTo>
                  <a:pt x="65" y="309"/>
                </a:moveTo>
                <a:cubicBezTo>
                  <a:pt x="37" y="309"/>
                  <a:pt x="14" y="286"/>
                  <a:pt x="14" y="257"/>
                </a:cubicBezTo>
                <a:cubicBezTo>
                  <a:pt x="14" y="229"/>
                  <a:pt x="37" y="206"/>
                  <a:pt x="65" y="206"/>
                </a:cubicBezTo>
                <a:cubicBezTo>
                  <a:pt x="94" y="206"/>
                  <a:pt x="117" y="229"/>
                  <a:pt x="117" y="257"/>
                </a:cubicBezTo>
                <a:cubicBezTo>
                  <a:pt x="117" y="286"/>
                  <a:pt x="94" y="309"/>
                  <a:pt x="65" y="309"/>
                </a:cubicBezTo>
                <a:close/>
                <a:moveTo>
                  <a:pt x="248" y="536"/>
                </a:moveTo>
                <a:cubicBezTo>
                  <a:pt x="248" y="564"/>
                  <a:pt x="225" y="588"/>
                  <a:pt x="196" y="588"/>
                </a:cubicBezTo>
                <a:cubicBezTo>
                  <a:pt x="168" y="588"/>
                  <a:pt x="145" y="564"/>
                  <a:pt x="145" y="536"/>
                </a:cubicBezTo>
                <a:cubicBezTo>
                  <a:pt x="145" y="508"/>
                  <a:pt x="168" y="484"/>
                  <a:pt x="196" y="484"/>
                </a:cubicBezTo>
                <a:cubicBezTo>
                  <a:pt x="225" y="484"/>
                  <a:pt x="248" y="508"/>
                  <a:pt x="248" y="536"/>
                </a:cubicBezTo>
                <a:close/>
                <a:moveTo>
                  <a:pt x="215" y="310"/>
                </a:moveTo>
                <a:cubicBezTo>
                  <a:pt x="215" y="270"/>
                  <a:pt x="248" y="237"/>
                  <a:pt x="288" y="237"/>
                </a:cubicBezTo>
                <a:cubicBezTo>
                  <a:pt x="329" y="237"/>
                  <a:pt x="361" y="270"/>
                  <a:pt x="361" y="310"/>
                </a:cubicBezTo>
                <a:cubicBezTo>
                  <a:pt x="361" y="351"/>
                  <a:pt x="329" y="383"/>
                  <a:pt x="288" y="383"/>
                </a:cubicBezTo>
                <a:cubicBezTo>
                  <a:pt x="248" y="383"/>
                  <a:pt x="215" y="351"/>
                  <a:pt x="215" y="310"/>
                </a:cubicBezTo>
                <a:close/>
                <a:moveTo>
                  <a:pt x="636" y="624"/>
                </a:moveTo>
                <a:cubicBezTo>
                  <a:pt x="607" y="624"/>
                  <a:pt x="584" y="600"/>
                  <a:pt x="584" y="572"/>
                </a:cubicBezTo>
                <a:cubicBezTo>
                  <a:pt x="584" y="544"/>
                  <a:pt x="607" y="520"/>
                  <a:pt x="636" y="520"/>
                </a:cubicBezTo>
                <a:cubicBezTo>
                  <a:pt x="664" y="520"/>
                  <a:pt x="687" y="544"/>
                  <a:pt x="687" y="572"/>
                </a:cubicBezTo>
                <a:cubicBezTo>
                  <a:pt x="687" y="600"/>
                  <a:pt x="664" y="624"/>
                  <a:pt x="636" y="62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0" name="Oval 21"/>
          <p:cNvSpPr>
            <a:spLocks noChangeArrowheads="1"/>
          </p:cNvSpPr>
          <p:nvPr/>
        </p:nvSpPr>
        <p:spPr bwMode="auto">
          <a:xfrm>
            <a:off x="440661" y="82790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302" name="Freeform 115"/>
          <p:cNvSpPr>
            <a:spLocks noEditPoints="1"/>
          </p:cNvSpPr>
          <p:nvPr/>
        </p:nvSpPr>
        <p:spPr bwMode="auto">
          <a:xfrm>
            <a:off x="604908" y="999067"/>
            <a:ext cx="495332" cy="480636"/>
          </a:xfrm>
          <a:custGeom>
            <a:avLst/>
            <a:gdLst>
              <a:gd name="T0" fmla="*/ 492 w 640"/>
              <a:gd name="T1" fmla="*/ 256 h 621"/>
              <a:gd name="T2" fmla="*/ 421 w 640"/>
              <a:gd name="T3" fmla="*/ 285 h 621"/>
              <a:gd name="T4" fmla="*/ 334 w 640"/>
              <a:gd name="T5" fmla="*/ 147 h 621"/>
              <a:gd name="T6" fmla="*/ 327 w 640"/>
              <a:gd name="T7" fmla="*/ 0 h 621"/>
              <a:gd name="T8" fmla="*/ 320 w 640"/>
              <a:gd name="T9" fmla="*/ 147 h 621"/>
              <a:gd name="T10" fmla="*/ 234 w 640"/>
              <a:gd name="T11" fmla="*/ 286 h 621"/>
              <a:gd name="T12" fmla="*/ 147 w 640"/>
              <a:gd name="T13" fmla="*/ 256 h 621"/>
              <a:gd name="T14" fmla="*/ 0 w 640"/>
              <a:gd name="T15" fmla="*/ 256 h 621"/>
              <a:gd name="T16" fmla="*/ 143 w 640"/>
              <a:gd name="T17" fmla="*/ 281 h 621"/>
              <a:gd name="T18" fmla="*/ 229 w 640"/>
              <a:gd name="T19" fmla="*/ 316 h 621"/>
              <a:gd name="T20" fmla="*/ 206 w 640"/>
              <a:gd name="T21" fmla="*/ 483 h 621"/>
              <a:gd name="T22" fmla="*/ 97 w 640"/>
              <a:gd name="T23" fmla="*/ 548 h 621"/>
              <a:gd name="T24" fmla="*/ 245 w 640"/>
              <a:gd name="T25" fmla="*/ 548 h 621"/>
              <a:gd name="T26" fmla="*/ 278 w 640"/>
              <a:gd name="T27" fmla="*/ 401 h 621"/>
              <a:gd name="T28" fmla="*/ 372 w 640"/>
              <a:gd name="T29" fmla="*/ 404 h 621"/>
              <a:gd name="T30" fmla="*/ 394 w 640"/>
              <a:gd name="T31" fmla="*/ 548 h 621"/>
              <a:gd name="T32" fmla="*/ 542 w 640"/>
              <a:gd name="T33" fmla="*/ 548 h 621"/>
              <a:gd name="T34" fmla="*/ 436 w 640"/>
              <a:gd name="T35" fmla="*/ 481 h 621"/>
              <a:gd name="T36" fmla="*/ 426 w 640"/>
              <a:gd name="T37" fmla="*/ 316 h 621"/>
              <a:gd name="T38" fmla="*/ 496 w 640"/>
              <a:gd name="T39" fmla="*/ 281 h 621"/>
              <a:gd name="T40" fmla="*/ 640 w 640"/>
              <a:gd name="T41" fmla="*/ 256 h 621"/>
              <a:gd name="T42" fmla="*/ 73 w 640"/>
              <a:gd name="T43" fmla="*/ 316 h 621"/>
              <a:gd name="T44" fmla="*/ 73 w 640"/>
              <a:gd name="T45" fmla="*/ 196 h 621"/>
              <a:gd name="T46" fmla="*/ 73 w 640"/>
              <a:gd name="T47" fmla="*/ 316 h 621"/>
              <a:gd name="T48" fmla="*/ 171 w 640"/>
              <a:gd name="T49" fmla="*/ 607 h 621"/>
              <a:gd name="T50" fmla="*/ 171 w 640"/>
              <a:gd name="T51" fmla="*/ 488 h 621"/>
              <a:gd name="T52" fmla="*/ 528 w 640"/>
              <a:gd name="T53" fmla="*/ 548 h 621"/>
              <a:gd name="T54" fmla="*/ 408 w 640"/>
              <a:gd name="T55" fmla="*/ 548 h 621"/>
              <a:gd name="T56" fmla="*/ 528 w 640"/>
              <a:gd name="T57" fmla="*/ 548 h 621"/>
              <a:gd name="T58" fmla="*/ 327 w 640"/>
              <a:gd name="T59" fmla="*/ 14 h 621"/>
              <a:gd name="T60" fmla="*/ 327 w 640"/>
              <a:gd name="T61" fmla="*/ 134 h 621"/>
              <a:gd name="T62" fmla="*/ 327 w 640"/>
              <a:gd name="T63" fmla="*/ 400 h 621"/>
              <a:gd name="T64" fmla="*/ 327 w 640"/>
              <a:gd name="T65" fmla="*/ 232 h 621"/>
              <a:gd name="T66" fmla="*/ 327 w 640"/>
              <a:gd name="T67" fmla="*/ 400 h 621"/>
              <a:gd name="T68" fmla="*/ 508 w 640"/>
              <a:gd name="T69" fmla="*/ 271 h 621"/>
              <a:gd name="T70" fmla="*/ 508 w 640"/>
              <a:gd name="T71" fmla="*/ 271 h 621"/>
              <a:gd name="T72" fmla="*/ 566 w 640"/>
              <a:gd name="T73" fmla="*/ 196 h 621"/>
              <a:gd name="T74" fmla="*/ 566 w 640"/>
              <a:gd name="T75" fmla="*/ 316 h 6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40" h="621">
                <a:moveTo>
                  <a:pt x="566" y="182"/>
                </a:moveTo>
                <a:cubicBezTo>
                  <a:pt x="525" y="182"/>
                  <a:pt x="492" y="215"/>
                  <a:pt x="492" y="256"/>
                </a:cubicBezTo>
                <a:cubicBezTo>
                  <a:pt x="492" y="260"/>
                  <a:pt x="492" y="264"/>
                  <a:pt x="493" y="267"/>
                </a:cubicBezTo>
                <a:cubicBezTo>
                  <a:pt x="421" y="285"/>
                  <a:pt x="421" y="285"/>
                  <a:pt x="421" y="285"/>
                </a:cubicBezTo>
                <a:cubicBezTo>
                  <a:pt x="408" y="248"/>
                  <a:pt x="375" y="221"/>
                  <a:pt x="334" y="218"/>
                </a:cubicBezTo>
                <a:cubicBezTo>
                  <a:pt x="334" y="147"/>
                  <a:pt x="334" y="147"/>
                  <a:pt x="334" y="147"/>
                </a:cubicBezTo>
                <a:cubicBezTo>
                  <a:pt x="372" y="144"/>
                  <a:pt x="401" y="112"/>
                  <a:pt x="401" y="74"/>
                </a:cubicBezTo>
                <a:cubicBezTo>
                  <a:pt x="401" y="33"/>
                  <a:pt x="368" y="0"/>
                  <a:pt x="327" y="0"/>
                </a:cubicBezTo>
                <a:cubicBezTo>
                  <a:pt x="287" y="0"/>
                  <a:pt x="254" y="33"/>
                  <a:pt x="254" y="74"/>
                </a:cubicBezTo>
                <a:cubicBezTo>
                  <a:pt x="254" y="112"/>
                  <a:pt x="283" y="144"/>
                  <a:pt x="320" y="147"/>
                </a:cubicBezTo>
                <a:cubicBezTo>
                  <a:pt x="320" y="218"/>
                  <a:pt x="320" y="218"/>
                  <a:pt x="320" y="218"/>
                </a:cubicBezTo>
                <a:cubicBezTo>
                  <a:pt x="280" y="221"/>
                  <a:pt x="246" y="249"/>
                  <a:pt x="234" y="286"/>
                </a:cubicBezTo>
                <a:cubicBezTo>
                  <a:pt x="146" y="267"/>
                  <a:pt x="146" y="267"/>
                  <a:pt x="146" y="267"/>
                </a:cubicBezTo>
                <a:cubicBezTo>
                  <a:pt x="147" y="263"/>
                  <a:pt x="147" y="260"/>
                  <a:pt x="147" y="256"/>
                </a:cubicBezTo>
                <a:cubicBezTo>
                  <a:pt x="147" y="215"/>
                  <a:pt x="114" y="182"/>
                  <a:pt x="73" y="182"/>
                </a:cubicBezTo>
                <a:cubicBezTo>
                  <a:pt x="33" y="182"/>
                  <a:pt x="0" y="215"/>
                  <a:pt x="0" y="256"/>
                </a:cubicBezTo>
                <a:cubicBezTo>
                  <a:pt x="0" y="297"/>
                  <a:pt x="33" y="330"/>
                  <a:pt x="73" y="330"/>
                </a:cubicBezTo>
                <a:cubicBezTo>
                  <a:pt x="105" y="330"/>
                  <a:pt x="133" y="309"/>
                  <a:pt x="143" y="281"/>
                </a:cubicBezTo>
                <a:cubicBezTo>
                  <a:pt x="230" y="300"/>
                  <a:pt x="230" y="300"/>
                  <a:pt x="230" y="300"/>
                </a:cubicBezTo>
                <a:cubicBezTo>
                  <a:pt x="229" y="305"/>
                  <a:pt x="229" y="311"/>
                  <a:pt x="229" y="316"/>
                </a:cubicBezTo>
                <a:cubicBezTo>
                  <a:pt x="229" y="348"/>
                  <a:pt x="244" y="375"/>
                  <a:pt x="267" y="394"/>
                </a:cubicBezTo>
                <a:cubicBezTo>
                  <a:pt x="206" y="483"/>
                  <a:pt x="206" y="483"/>
                  <a:pt x="206" y="483"/>
                </a:cubicBezTo>
                <a:cubicBezTo>
                  <a:pt x="196" y="477"/>
                  <a:pt x="184" y="474"/>
                  <a:pt x="171" y="474"/>
                </a:cubicBezTo>
                <a:cubicBezTo>
                  <a:pt x="130" y="474"/>
                  <a:pt x="97" y="507"/>
                  <a:pt x="97" y="548"/>
                </a:cubicBezTo>
                <a:cubicBezTo>
                  <a:pt x="97" y="588"/>
                  <a:pt x="130" y="621"/>
                  <a:pt x="171" y="621"/>
                </a:cubicBezTo>
                <a:cubicBezTo>
                  <a:pt x="212" y="621"/>
                  <a:pt x="245" y="588"/>
                  <a:pt x="245" y="548"/>
                </a:cubicBezTo>
                <a:cubicBezTo>
                  <a:pt x="245" y="525"/>
                  <a:pt x="234" y="504"/>
                  <a:pt x="218" y="491"/>
                </a:cubicBezTo>
                <a:cubicBezTo>
                  <a:pt x="278" y="401"/>
                  <a:pt x="278" y="401"/>
                  <a:pt x="278" y="401"/>
                </a:cubicBezTo>
                <a:cubicBezTo>
                  <a:pt x="293" y="410"/>
                  <a:pt x="309" y="414"/>
                  <a:pt x="327" y="414"/>
                </a:cubicBezTo>
                <a:cubicBezTo>
                  <a:pt x="343" y="414"/>
                  <a:pt x="359" y="411"/>
                  <a:pt x="372" y="404"/>
                </a:cubicBezTo>
                <a:cubicBezTo>
                  <a:pt x="424" y="489"/>
                  <a:pt x="424" y="489"/>
                  <a:pt x="424" y="489"/>
                </a:cubicBezTo>
                <a:cubicBezTo>
                  <a:pt x="406" y="502"/>
                  <a:pt x="394" y="523"/>
                  <a:pt x="394" y="548"/>
                </a:cubicBezTo>
                <a:cubicBezTo>
                  <a:pt x="394" y="588"/>
                  <a:pt x="427" y="621"/>
                  <a:pt x="468" y="621"/>
                </a:cubicBezTo>
                <a:cubicBezTo>
                  <a:pt x="509" y="621"/>
                  <a:pt x="542" y="588"/>
                  <a:pt x="542" y="548"/>
                </a:cubicBezTo>
                <a:cubicBezTo>
                  <a:pt x="542" y="507"/>
                  <a:pt x="509" y="474"/>
                  <a:pt x="468" y="474"/>
                </a:cubicBezTo>
                <a:cubicBezTo>
                  <a:pt x="456" y="474"/>
                  <a:pt x="446" y="477"/>
                  <a:pt x="436" y="481"/>
                </a:cubicBezTo>
                <a:cubicBezTo>
                  <a:pt x="384" y="396"/>
                  <a:pt x="384" y="396"/>
                  <a:pt x="384" y="396"/>
                </a:cubicBezTo>
                <a:cubicBezTo>
                  <a:pt x="409" y="378"/>
                  <a:pt x="426" y="349"/>
                  <a:pt x="426" y="316"/>
                </a:cubicBezTo>
                <a:cubicBezTo>
                  <a:pt x="426" y="310"/>
                  <a:pt x="425" y="305"/>
                  <a:pt x="424" y="299"/>
                </a:cubicBezTo>
                <a:cubicBezTo>
                  <a:pt x="496" y="281"/>
                  <a:pt x="496" y="281"/>
                  <a:pt x="496" y="281"/>
                </a:cubicBezTo>
                <a:cubicBezTo>
                  <a:pt x="507" y="309"/>
                  <a:pt x="534" y="330"/>
                  <a:pt x="566" y="330"/>
                </a:cubicBezTo>
                <a:cubicBezTo>
                  <a:pt x="606" y="330"/>
                  <a:pt x="640" y="297"/>
                  <a:pt x="640" y="256"/>
                </a:cubicBezTo>
                <a:cubicBezTo>
                  <a:pt x="640" y="215"/>
                  <a:pt x="606" y="182"/>
                  <a:pt x="566" y="182"/>
                </a:cubicBezTo>
                <a:close/>
                <a:moveTo>
                  <a:pt x="73" y="316"/>
                </a:moveTo>
                <a:cubicBezTo>
                  <a:pt x="40" y="316"/>
                  <a:pt x="14" y="289"/>
                  <a:pt x="14" y="256"/>
                </a:cubicBezTo>
                <a:cubicBezTo>
                  <a:pt x="14" y="223"/>
                  <a:pt x="40" y="196"/>
                  <a:pt x="73" y="196"/>
                </a:cubicBezTo>
                <a:cubicBezTo>
                  <a:pt x="106" y="196"/>
                  <a:pt x="133" y="223"/>
                  <a:pt x="133" y="256"/>
                </a:cubicBezTo>
                <a:cubicBezTo>
                  <a:pt x="133" y="289"/>
                  <a:pt x="106" y="316"/>
                  <a:pt x="73" y="316"/>
                </a:cubicBezTo>
                <a:close/>
                <a:moveTo>
                  <a:pt x="231" y="548"/>
                </a:moveTo>
                <a:cubicBezTo>
                  <a:pt x="231" y="581"/>
                  <a:pt x="204" y="607"/>
                  <a:pt x="171" y="607"/>
                </a:cubicBezTo>
                <a:cubicBezTo>
                  <a:pt x="138" y="607"/>
                  <a:pt x="111" y="581"/>
                  <a:pt x="111" y="548"/>
                </a:cubicBezTo>
                <a:cubicBezTo>
                  <a:pt x="111" y="515"/>
                  <a:pt x="138" y="488"/>
                  <a:pt x="171" y="488"/>
                </a:cubicBezTo>
                <a:cubicBezTo>
                  <a:pt x="204" y="488"/>
                  <a:pt x="231" y="515"/>
                  <a:pt x="231" y="548"/>
                </a:cubicBezTo>
                <a:close/>
                <a:moveTo>
                  <a:pt x="528" y="548"/>
                </a:moveTo>
                <a:cubicBezTo>
                  <a:pt x="528" y="581"/>
                  <a:pt x="501" y="607"/>
                  <a:pt x="468" y="607"/>
                </a:cubicBezTo>
                <a:cubicBezTo>
                  <a:pt x="435" y="607"/>
                  <a:pt x="408" y="581"/>
                  <a:pt x="408" y="548"/>
                </a:cubicBezTo>
                <a:cubicBezTo>
                  <a:pt x="408" y="515"/>
                  <a:pt x="435" y="488"/>
                  <a:pt x="468" y="488"/>
                </a:cubicBezTo>
                <a:cubicBezTo>
                  <a:pt x="501" y="488"/>
                  <a:pt x="528" y="515"/>
                  <a:pt x="528" y="548"/>
                </a:cubicBezTo>
                <a:close/>
                <a:moveTo>
                  <a:pt x="268" y="74"/>
                </a:moveTo>
                <a:cubicBezTo>
                  <a:pt x="268" y="41"/>
                  <a:pt x="294" y="14"/>
                  <a:pt x="327" y="14"/>
                </a:cubicBezTo>
                <a:cubicBezTo>
                  <a:pt x="360" y="14"/>
                  <a:pt x="387" y="41"/>
                  <a:pt x="387" y="74"/>
                </a:cubicBezTo>
                <a:cubicBezTo>
                  <a:pt x="387" y="107"/>
                  <a:pt x="360" y="134"/>
                  <a:pt x="327" y="134"/>
                </a:cubicBezTo>
                <a:cubicBezTo>
                  <a:pt x="294" y="134"/>
                  <a:pt x="268" y="107"/>
                  <a:pt x="268" y="74"/>
                </a:cubicBezTo>
                <a:close/>
                <a:moveTo>
                  <a:pt x="327" y="400"/>
                </a:moveTo>
                <a:cubicBezTo>
                  <a:pt x="281" y="400"/>
                  <a:pt x="243" y="363"/>
                  <a:pt x="243" y="316"/>
                </a:cubicBezTo>
                <a:cubicBezTo>
                  <a:pt x="243" y="270"/>
                  <a:pt x="281" y="232"/>
                  <a:pt x="327" y="232"/>
                </a:cubicBezTo>
                <a:cubicBezTo>
                  <a:pt x="374" y="232"/>
                  <a:pt x="412" y="270"/>
                  <a:pt x="412" y="316"/>
                </a:cubicBezTo>
                <a:cubicBezTo>
                  <a:pt x="412" y="363"/>
                  <a:pt x="374" y="400"/>
                  <a:pt x="327" y="400"/>
                </a:cubicBezTo>
                <a:close/>
                <a:moveTo>
                  <a:pt x="566" y="316"/>
                </a:moveTo>
                <a:cubicBezTo>
                  <a:pt x="538" y="316"/>
                  <a:pt x="514" y="297"/>
                  <a:pt x="508" y="271"/>
                </a:cubicBezTo>
                <a:cubicBezTo>
                  <a:pt x="508" y="271"/>
                  <a:pt x="508" y="271"/>
                  <a:pt x="508" y="271"/>
                </a:cubicBezTo>
                <a:cubicBezTo>
                  <a:pt x="508" y="271"/>
                  <a:pt x="508" y="271"/>
                  <a:pt x="508" y="271"/>
                </a:cubicBezTo>
                <a:cubicBezTo>
                  <a:pt x="507" y="266"/>
                  <a:pt x="506" y="261"/>
                  <a:pt x="506" y="256"/>
                </a:cubicBezTo>
                <a:cubicBezTo>
                  <a:pt x="506" y="223"/>
                  <a:pt x="533" y="196"/>
                  <a:pt x="566" y="196"/>
                </a:cubicBezTo>
                <a:cubicBezTo>
                  <a:pt x="599" y="196"/>
                  <a:pt x="626" y="223"/>
                  <a:pt x="626" y="256"/>
                </a:cubicBezTo>
                <a:cubicBezTo>
                  <a:pt x="626" y="289"/>
                  <a:pt x="599" y="316"/>
                  <a:pt x="566" y="31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3" name="Oval 24"/>
          <p:cNvSpPr>
            <a:spLocks noChangeArrowheads="1"/>
          </p:cNvSpPr>
          <p:nvPr/>
        </p:nvSpPr>
        <p:spPr bwMode="auto">
          <a:xfrm>
            <a:off x="4318891" y="1860244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303" name="Freeform 116"/>
          <p:cNvSpPr>
            <a:spLocks noEditPoints="1"/>
          </p:cNvSpPr>
          <p:nvPr/>
        </p:nvSpPr>
        <p:spPr bwMode="auto">
          <a:xfrm>
            <a:off x="4482274" y="2018606"/>
            <a:ext cx="496196" cy="506237"/>
          </a:xfrm>
          <a:custGeom>
            <a:avLst/>
            <a:gdLst>
              <a:gd name="T0" fmla="*/ 566 w 641"/>
              <a:gd name="T1" fmla="*/ 533 h 653"/>
              <a:gd name="T2" fmla="*/ 525 w 641"/>
              <a:gd name="T3" fmla="*/ 323 h 653"/>
              <a:gd name="T4" fmla="*/ 439 w 641"/>
              <a:gd name="T5" fmla="*/ 267 h 653"/>
              <a:gd name="T6" fmla="*/ 381 w 641"/>
              <a:gd name="T7" fmla="*/ 61 h 653"/>
              <a:gd name="T8" fmla="*/ 259 w 641"/>
              <a:gd name="T9" fmla="*/ 61 h 653"/>
              <a:gd name="T10" fmla="*/ 202 w 641"/>
              <a:gd name="T11" fmla="*/ 267 h 653"/>
              <a:gd name="T12" fmla="*/ 115 w 641"/>
              <a:gd name="T13" fmla="*/ 323 h 653"/>
              <a:gd name="T14" fmla="*/ 74 w 641"/>
              <a:gd name="T15" fmla="*/ 533 h 653"/>
              <a:gd name="T16" fmla="*/ 0 w 641"/>
              <a:gd name="T17" fmla="*/ 592 h 653"/>
              <a:gd name="T18" fmla="*/ 122 w 641"/>
              <a:gd name="T19" fmla="*/ 592 h 653"/>
              <a:gd name="T20" fmla="*/ 162 w 641"/>
              <a:gd name="T21" fmla="*/ 382 h 653"/>
              <a:gd name="T22" fmla="*/ 188 w 641"/>
              <a:gd name="T23" fmla="*/ 382 h 653"/>
              <a:gd name="T24" fmla="*/ 173 w 641"/>
              <a:gd name="T25" fmla="*/ 592 h 653"/>
              <a:gd name="T26" fmla="*/ 295 w 641"/>
              <a:gd name="T27" fmla="*/ 592 h 653"/>
              <a:gd name="T28" fmla="*/ 233 w 641"/>
              <a:gd name="T29" fmla="*/ 531 h 653"/>
              <a:gd name="T30" fmla="*/ 237 w 641"/>
              <a:gd name="T31" fmla="*/ 323 h 653"/>
              <a:gd name="T32" fmla="*/ 294 w 641"/>
              <a:gd name="T33" fmla="*/ 116 h 653"/>
              <a:gd name="T34" fmla="*/ 346 w 641"/>
              <a:gd name="T35" fmla="*/ 116 h 653"/>
              <a:gd name="T36" fmla="*/ 404 w 641"/>
              <a:gd name="T37" fmla="*/ 323 h 653"/>
              <a:gd name="T38" fmla="*/ 408 w 641"/>
              <a:gd name="T39" fmla="*/ 531 h 653"/>
              <a:gd name="T40" fmla="*/ 346 w 641"/>
              <a:gd name="T41" fmla="*/ 592 h 653"/>
              <a:gd name="T42" fmla="*/ 468 w 641"/>
              <a:gd name="T43" fmla="*/ 592 h 653"/>
              <a:gd name="T44" fmla="*/ 452 w 641"/>
              <a:gd name="T45" fmla="*/ 382 h 653"/>
              <a:gd name="T46" fmla="*/ 478 w 641"/>
              <a:gd name="T47" fmla="*/ 382 h 653"/>
              <a:gd name="T48" fmla="*/ 519 w 641"/>
              <a:gd name="T49" fmla="*/ 592 h 653"/>
              <a:gd name="T50" fmla="*/ 641 w 641"/>
              <a:gd name="T51" fmla="*/ 592 h 653"/>
              <a:gd name="T52" fmla="*/ 108 w 641"/>
              <a:gd name="T53" fmla="*/ 592 h 653"/>
              <a:gd name="T54" fmla="*/ 14 w 641"/>
              <a:gd name="T55" fmla="*/ 592 h 653"/>
              <a:gd name="T56" fmla="*/ 108 w 641"/>
              <a:gd name="T57" fmla="*/ 592 h 653"/>
              <a:gd name="T58" fmla="*/ 234 w 641"/>
              <a:gd name="T59" fmla="*/ 639 h 653"/>
              <a:gd name="T60" fmla="*/ 234 w 641"/>
              <a:gd name="T61" fmla="*/ 545 h 653"/>
              <a:gd name="T62" fmla="*/ 223 w 641"/>
              <a:gd name="T63" fmla="*/ 323 h 653"/>
              <a:gd name="T64" fmla="*/ 129 w 641"/>
              <a:gd name="T65" fmla="*/ 323 h 653"/>
              <a:gd name="T66" fmla="*/ 223 w 641"/>
              <a:gd name="T67" fmla="*/ 323 h 653"/>
              <a:gd name="T68" fmla="*/ 320 w 641"/>
              <a:gd name="T69" fmla="*/ 14 h 653"/>
              <a:gd name="T70" fmla="*/ 320 w 641"/>
              <a:gd name="T71" fmla="*/ 108 h 653"/>
              <a:gd name="T72" fmla="*/ 454 w 641"/>
              <a:gd name="T73" fmla="*/ 592 h 653"/>
              <a:gd name="T74" fmla="*/ 360 w 641"/>
              <a:gd name="T75" fmla="*/ 592 h 653"/>
              <a:gd name="T76" fmla="*/ 454 w 641"/>
              <a:gd name="T77" fmla="*/ 592 h 653"/>
              <a:gd name="T78" fmla="*/ 464 w 641"/>
              <a:gd name="T79" fmla="*/ 276 h 653"/>
              <a:gd name="T80" fmla="*/ 464 w 641"/>
              <a:gd name="T81" fmla="*/ 369 h 653"/>
              <a:gd name="T82" fmla="*/ 580 w 641"/>
              <a:gd name="T83" fmla="*/ 639 h 653"/>
              <a:gd name="T84" fmla="*/ 580 w 641"/>
              <a:gd name="T85" fmla="*/ 545 h 653"/>
              <a:gd name="T86" fmla="*/ 580 w 641"/>
              <a:gd name="T87" fmla="*/ 639 h 6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41" h="653">
                <a:moveTo>
                  <a:pt x="580" y="531"/>
                </a:moveTo>
                <a:cubicBezTo>
                  <a:pt x="575" y="531"/>
                  <a:pt x="571" y="532"/>
                  <a:pt x="566" y="533"/>
                </a:cubicBezTo>
                <a:cubicBezTo>
                  <a:pt x="491" y="377"/>
                  <a:pt x="491" y="377"/>
                  <a:pt x="491" y="377"/>
                </a:cubicBezTo>
                <a:cubicBezTo>
                  <a:pt x="511" y="367"/>
                  <a:pt x="525" y="346"/>
                  <a:pt x="525" y="323"/>
                </a:cubicBezTo>
                <a:cubicBezTo>
                  <a:pt x="525" y="289"/>
                  <a:pt x="498" y="262"/>
                  <a:pt x="464" y="262"/>
                </a:cubicBezTo>
                <a:cubicBezTo>
                  <a:pt x="455" y="262"/>
                  <a:pt x="447" y="264"/>
                  <a:pt x="439" y="267"/>
                </a:cubicBezTo>
                <a:cubicBezTo>
                  <a:pt x="358" y="109"/>
                  <a:pt x="358" y="109"/>
                  <a:pt x="358" y="109"/>
                </a:cubicBezTo>
                <a:cubicBezTo>
                  <a:pt x="372" y="97"/>
                  <a:pt x="381" y="80"/>
                  <a:pt x="381" y="61"/>
                </a:cubicBezTo>
                <a:cubicBezTo>
                  <a:pt x="381" y="28"/>
                  <a:pt x="354" y="0"/>
                  <a:pt x="320" y="0"/>
                </a:cubicBezTo>
                <a:cubicBezTo>
                  <a:pt x="287" y="0"/>
                  <a:pt x="259" y="28"/>
                  <a:pt x="259" y="61"/>
                </a:cubicBezTo>
                <a:cubicBezTo>
                  <a:pt x="259" y="80"/>
                  <a:pt x="268" y="97"/>
                  <a:pt x="282" y="109"/>
                </a:cubicBezTo>
                <a:cubicBezTo>
                  <a:pt x="202" y="267"/>
                  <a:pt x="202" y="267"/>
                  <a:pt x="202" y="267"/>
                </a:cubicBezTo>
                <a:cubicBezTo>
                  <a:pt x="194" y="264"/>
                  <a:pt x="185" y="262"/>
                  <a:pt x="176" y="262"/>
                </a:cubicBezTo>
                <a:cubicBezTo>
                  <a:pt x="143" y="262"/>
                  <a:pt x="115" y="289"/>
                  <a:pt x="115" y="323"/>
                </a:cubicBezTo>
                <a:cubicBezTo>
                  <a:pt x="115" y="346"/>
                  <a:pt x="129" y="367"/>
                  <a:pt x="149" y="377"/>
                </a:cubicBezTo>
                <a:cubicBezTo>
                  <a:pt x="74" y="533"/>
                  <a:pt x="74" y="533"/>
                  <a:pt x="74" y="533"/>
                </a:cubicBezTo>
                <a:cubicBezTo>
                  <a:pt x="70" y="532"/>
                  <a:pt x="65" y="531"/>
                  <a:pt x="61" y="531"/>
                </a:cubicBezTo>
                <a:cubicBezTo>
                  <a:pt x="27" y="531"/>
                  <a:pt x="0" y="558"/>
                  <a:pt x="0" y="592"/>
                </a:cubicBezTo>
                <a:cubicBezTo>
                  <a:pt x="0" y="625"/>
                  <a:pt x="27" y="653"/>
                  <a:pt x="61" y="653"/>
                </a:cubicBezTo>
                <a:cubicBezTo>
                  <a:pt x="94" y="653"/>
                  <a:pt x="122" y="625"/>
                  <a:pt x="122" y="592"/>
                </a:cubicBezTo>
                <a:cubicBezTo>
                  <a:pt x="122" y="568"/>
                  <a:pt x="108" y="547"/>
                  <a:pt x="87" y="537"/>
                </a:cubicBezTo>
                <a:cubicBezTo>
                  <a:pt x="162" y="382"/>
                  <a:pt x="162" y="382"/>
                  <a:pt x="162" y="382"/>
                </a:cubicBezTo>
                <a:cubicBezTo>
                  <a:pt x="167" y="383"/>
                  <a:pt x="171" y="383"/>
                  <a:pt x="176" y="383"/>
                </a:cubicBezTo>
                <a:cubicBezTo>
                  <a:pt x="180" y="383"/>
                  <a:pt x="184" y="383"/>
                  <a:pt x="188" y="382"/>
                </a:cubicBezTo>
                <a:cubicBezTo>
                  <a:pt x="219" y="533"/>
                  <a:pt x="219" y="533"/>
                  <a:pt x="219" y="533"/>
                </a:cubicBezTo>
                <a:cubicBezTo>
                  <a:pt x="192" y="540"/>
                  <a:pt x="173" y="564"/>
                  <a:pt x="173" y="592"/>
                </a:cubicBezTo>
                <a:cubicBezTo>
                  <a:pt x="173" y="625"/>
                  <a:pt x="200" y="653"/>
                  <a:pt x="234" y="653"/>
                </a:cubicBezTo>
                <a:cubicBezTo>
                  <a:pt x="267" y="653"/>
                  <a:pt x="295" y="625"/>
                  <a:pt x="295" y="592"/>
                </a:cubicBezTo>
                <a:cubicBezTo>
                  <a:pt x="295" y="558"/>
                  <a:pt x="267" y="531"/>
                  <a:pt x="234" y="531"/>
                </a:cubicBezTo>
                <a:cubicBezTo>
                  <a:pt x="233" y="531"/>
                  <a:pt x="233" y="531"/>
                  <a:pt x="233" y="531"/>
                </a:cubicBezTo>
                <a:cubicBezTo>
                  <a:pt x="202" y="378"/>
                  <a:pt x="202" y="378"/>
                  <a:pt x="202" y="378"/>
                </a:cubicBezTo>
                <a:cubicBezTo>
                  <a:pt x="222" y="368"/>
                  <a:pt x="237" y="347"/>
                  <a:pt x="237" y="323"/>
                </a:cubicBezTo>
                <a:cubicBezTo>
                  <a:pt x="237" y="303"/>
                  <a:pt x="228" y="286"/>
                  <a:pt x="213" y="275"/>
                </a:cubicBezTo>
                <a:cubicBezTo>
                  <a:pt x="294" y="116"/>
                  <a:pt x="294" y="116"/>
                  <a:pt x="294" y="116"/>
                </a:cubicBezTo>
                <a:cubicBezTo>
                  <a:pt x="302" y="120"/>
                  <a:pt x="311" y="122"/>
                  <a:pt x="320" y="122"/>
                </a:cubicBezTo>
                <a:cubicBezTo>
                  <a:pt x="330" y="122"/>
                  <a:pt x="338" y="120"/>
                  <a:pt x="346" y="116"/>
                </a:cubicBezTo>
                <a:cubicBezTo>
                  <a:pt x="427" y="275"/>
                  <a:pt x="427" y="275"/>
                  <a:pt x="427" y="275"/>
                </a:cubicBezTo>
                <a:cubicBezTo>
                  <a:pt x="413" y="286"/>
                  <a:pt x="404" y="303"/>
                  <a:pt x="404" y="323"/>
                </a:cubicBezTo>
                <a:cubicBezTo>
                  <a:pt x="404" y="347"/>
                  <a:pt x="418" y="368"/>
                  <a:pt x="439" y="378"/>
                </a:cubicBezTo>
                <a:cubicBezTo>
                  <a:pt x="408" y="531"/>
                  <a:pt x="408" y="531"/>
                  <a:pt x="408" y="531"/>
                </a:cubicBezTo>
                <a:cubicBezTo>
                  <a:pt x="408" y="531"/>
                  <a:pt x="407" y="531"/>
                  <a:pt x="407" y="531"/>
                </a:cubicBezTo>
                <a:cubicBezTo>
                  <a:pt x="373" y="531"/>
                  <a:pt x="346" y="558"/>
                  <a:pt x="346" y="592"/>
                </a:cubicBezTo>
                <a:cubicBezTo>
                  <a:pt x="346" y="625"/>
                  <a:pt x="373" y="653"/>
                  <a:pt x="407" y="653"/>
                </a:cubicBezTo>
                <a:cubicBezTo>
                  <a:pt x="440" y="653"/>
                  <a:pt x="468" y="625"/>
                  <a:pt x="468" y="592"/>
                </a:cubicBezTo>
                <a:cubicBezTo>
                  <a:pt x="468" y="564"/>
                  <a:pt x="448" y="540"/>
                  <a:pt x="422" y="533"/>
                </a:cubicBezTo>
                <a:cubicBezTo>
                  <a:pt x="452" y="382"/>
                  <a:pt x="452" y="382"/>
                  <a:pt x="452" y="382"/>
                </a:cubicBezTo>
                <a:cubicBezTo>
                  <a:pt x="456" y="383"/>
                  <a:pt x="460" y="383"/>
                  <a:pt x="464" y="383"/>
                </a:cubicBezTo>
                <a:cubicBezTo>
                  <a:pt x="469" y="383"/>
                  <a:pt x="474" y="383"/>
                  <a:pt x="478" y="382"/>
                </a:cubicBezTo>
                <a:cubicBezTo>
                  <a:pt x="553" y="537"/>
                  <a:pt x="553" y="537"/>
                  <a:pt x="553" y="537"/>
                </a:cubicBezTo>
                <a:cubicBezTo>
                  <a:pt x="533" y="547"/>
                  <a:pt x="519" y="568"/>
                  <a:pt x="519" y="592"/>
                </a:cubicBezTo>
                <a:cubicBezTo>
                  <a:pt x="519" y="625"/>
                  <a:pt x="546" y="653"/>
                  <a:pt x="580" y="653"/>
                </a:cubicBezTo>
                <a:cubicBezTo>
                  <a:pt x="613" y="653"/>
                  <a:pt x="641" y="625"/>
                  <a:pt x="641" y="592"/>
                </a:cubicBezTo>
                <a:cubicBezTo>
                  <a:pt x="641" y="558"/>
                  <a:pt x="613" y="531"/>
                  <a:pt x="580" y="531"/>
                </a:cubicBezTo>
                <a:close/>
                <a:moveTo>
                  <a:pt x="108" y="592"/>
                </a:moveTo>
                <a:cubicBezTo>
                  <a:pt x="108" y="618"/>
                  <a:pt x="87" y="639"/>
                  <a:pt x="61" y="639"/>
                </a:cubicBezTo>
                <a:cubicBezTo>
                  <a:pt x="35" y="639"/>
                  <a:pt x="14" y="618"/>
                  <a:pt x="14" y="592"/>
                </a:cubicBezTo>
                <a:cubicBezTo>
                  <a:pt x="14" y="566"/>
                  <a:pt x="35" y="545"/>
                  <a:pt x="61" y="545"/>
                </a:cubicBezTo>
                <a:cubicBezTo>
                  <a:pt x="87" y="545"/>
                  <a:pt x="108" y="566"/>
                  <a:pt x="108" y="592"/>
                </a:cubicBezTo>
                <a:close/>
                <a:moveTo>
                  <a:pt x="281" y="592"/>
                </a:moveTo>
                <a:cubicBezTo>
                  <a:pt x="281" y="618"/>
                  <a:pt x="260" y="639"/>
                  <a:pt x="234" y="639"/>
                </a:cubicBezTo>
                <a:cubicBezTo>
                  <a:pt x="208" y="639"/>
                  <a:pt x="187" y="618"/>
                  <a:pt x="187" y="592"/>
                </a:cubicBezTo>
                <a:cubicBezTo>
                  <a:pt x="187" y="566"/>
                  <a:pt x="208" y="545"/>
                  <a:pt x="234" y="545"/>
                </a:cubicBezTo>
                <a:cubicBezTo>
                  <a:pt x="260" y="545"/>
                  <a:pt x="281" y="566"/>
                  <a:pt x="281" y="592"/>
                </a:cubicBezTo>
                <a:close/>
                <a:moveTo>
                  <a:pt x="223" y="323"/>
                </a:moveTo>
                <a:cubicBezTo>
                  <a:pt x="223" y="348"/>
                  <a:pt x="202" y="369"/>
                  <a:pt x="176" y="369"/>
                </a:cubicBezTo>
                <a:cubicBezTo>
                  <a:pt x="150" y="369"/>
                  <a:pt x="129" y="348"/>
                  <a:pt x="129" y="323"/>
                </a:cubicBezTo>
                <a:cubicBezTo>
                  <a:pt x="129" y="297"/>
                  <a:pt x="150" y="276"/>
                  <a:pt x="176" y="276"/>
                </a:cubicBezTo>
                <a:cubicBezTo>
                  <a:pt x="202" y="276"/>
                  <a:pt x="223" y="297"/>
                  <a:pt x="223" y="323"/>
                </a:cubicBezTo>
                <a:close/>
                <a:moveTo>
                  <a:pt x="273" y="61"/>
                </a:moveTo>
                <a:cubicBezTo>
                  <a:pt x="273" y="35"/>
                  <a:pt x="294" y="14"/>
                  <a:pt x="320" y="14"/>
                </a:cubicBezTo>
                <a:cubicBezTo>
                  <a:pt x="346" y="14"/>
                  <a:pt x="367" y="35"/>
                  <a:pt x="367" y="61"/>
                </a:cubicBezTo>
                <a:cubicBezTo>
                  <a:pt x="367" y="87"/>
                  <a:pt x="346" y="108"/>
                  <a:pt x="320" y="108"/>
                </a:cubicBezTo>
                <a:cubicBezTo>
                  <a:pt x="294" y="108"/>
                  <a:pt x="273" y="87"/>
                  <a:pt x="273" y="61"/>
                </a:cubicBezTo>
                <a:close/>
                <a:moveTo>
                  <a:pt x="454" y="592"/>
                </a:moveTo>
                <a:cubicBezTo>
                  <a:pt x="454" y="618"/>
                  <a:pt x="433" y="639"/>
                  <a:pt x="407" y="639"/>
                </a:cubicBezTo>
                <a:cubicBezTo>
                  <a:pt x="381" y="639"/>
                  <a:pt x="360" y="618"/>
                  <a:pt x="360" y="592"/>
                </a:cubicBezTo>
                <a:cubicBezTo>
                  <a:pt x="360" y="566"/>
                  <a:pt x="381" y="545"/>
                  <a:pt x="407" y="545"/>
                </a:cubicBezTo>
                <a:cubicBezTo>
                  <a:pt x="433" y="545"/>
                  <a:pt x="454" y="566"/>
                  <a:pt x="454" y="592"/>
                </a:cubicBezTo>
                <a:close/>
                <a:moveTo>
                  <a:pt x="418" y="323"/>
                </a:moveTo>
                <a:cubicBezTo>
                  <a:pt x="418" y="297"/>
                  <a:pt x="439" y="276"/>
                  <a:pt x="464" y="276"/>
                </a:cubicBezTo>
                <a:cubicBezTo>
                  <a:pt x="490" y="276"/>
                  <a:pt x="511" y="297"/>
                  <a:pt x="511" y="323"/>
                </a:cubicBezTo>
                <a:cubicBezTo>
                  <a:pt x="511" y="348"/>
                  <a:pt x="490" y="369"/>
                  <a:pt x="464" y="369"/>
                </a:cubicBezTo>
                <a:cubicBezTo>
                  <a:pt x="439" y="369"/>
                  <a:pt x="418" y="348"/>
                  <a:pt x="418" y="323"/>
                </a:cubicBezTo>
                <a:close/>
                <a:moveTo>
                  <a:pt x="580" y="639"/>
                </a:moveTo>
                <a:cubicBezTo>
                  <a:pt x="554" y="639"/>
                  <a:pt x="533" y="618"/>
                  <a:pt x="533" y="592"/>
                </a:cubicBezTo>
                <a:cubicBezTo>
                  <a:pt x="533" y="566"/>
                  <a:pt x="554" y="545"/>
                  <a:pt x="580" y="545"/>
                </a:cubicBezTo>
                <a:cubicBezTo>
                  <a:pt x="606" y="545"/>
                  <a:pt x="627" y="566"/>
                  <a:pt x="627" y="592"/>
                </a:cubicBezTo>
                <a:cubicBezTo>
                  <a:pt x="627" y="618"/>
                  <a:pt x="606" y="639"/>
                  <a:pt x="580" y="6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4" name="Oval 25"/>
          <p:cNvSpPr>
            <a:spLocks noChangeArrowheads="1"/>
          </p:cNvSpPr>
          <p:nvPr/>
        </p:nvSpPr>
        <p:spPr bwMode="auto">
          <a:xfrm>
            <a:off x="3026148" y="1860244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304" name="Freeform 117"/>
          <p:cNvSpPr>
            <a:spLocks noEditPoints="1"/>
          </p:cNvSpPr>
          <p:nvPr/>
        </p:nvSpPr>
        <p:spPr bwMode="auto">
          <a:xfrm>
            <a:off x="3201633" y="2068796"/>
            <a:ext cx="472856" cy="405855"/>
          </a:xfrm>
          <a:custGeom>
            <a:avLst/>
            <a:gdLst>
              <a:gd name="T0" fmla="*/ 611 w 611"/>
              <a:gd name="T1" fmla="*/ 143 h 523"/>
              <a:gd name="T2" fmla="*/ 610 w 611"/>
              <a:gd name="T3" fmla="*/ 143 h 523"/>
              <a:gd name="T4" fmla="*/ 610 w 611"/>
              <a:gd name="T5" fmla="*/ 142 h 523"/>
              <a:gd name="T6" fmla="*/ 610 w 611"/>
              <a:gd name="T7" fmla="*/ 141 h 523"/>
              <a:gd name="T8" fmla="*/ 609 w 611"/>
              <a:gd name="T9" fmla="*/ 140 h 523"/>
              <a:gd name="T10" fmla="*/ 609 w 611"/>
              <a:gd name="T11" fmla="*/ 140 h 523"/>
              <a:gd name="T12" fmla="*/ 609 w 611"/>
              <a:gd name="T13" fmla="*/ 140 h 523"/>
              <a:gd name="T14" fmla="*/ 609 w 611"/>
              <a:gd name="T15" fmla="*/ 140 h 523"/>
              <a:gd name="T16" fmla="*/ 522 w 611"/>
              <a:gd name="T17" fmla="*/ 4 h 523"/>
              <a:gd name="T18" fmla="*/ 516 w 611"/>
              <a:gd name="T19" fmla="*/ 0 h 523"/>
              <a:gd name="T20" fmla="*/ 95 w 611"/>
              <a:gd name="T21" fmla="*/ 0 h 523"/>
              <a:gd name="T22" fmla="*/ 89 w 611"/>
              <a:gd name="T23" fmla="*/ 4 h 523"/>
              <a:gd name="T24" fmla="*/ 1 w 611"/>
              <a:gd name="T25" fmla="*/ 140 h 523"/>
              <a:gd name="T26" fmla="*/ 1 w 611"/>
              <a:gd name="T27" fmla="*/ 140 h 523"/>
              <a:gd name="T28" fmla="*/ 1 w 611"/>
              <a:gd name="T29" fmla="*/ 140 h 523"/>
              <a:gd name="T30" fmla="*/ 1 w 611"/>
              <a:gd name="T31" fmla="*/ 140 h 523"/>
              <a:gd name="T32" fmla="*/ 0 w 611"/>
              <a:gd name="T33" fmla="*/ 141 h 523"/>
              <a:gd name="T34" fmla="*/ 0 w 611"/>
              <a:gd name="T35" fmla="*/ 142 h 523"/>
              <a:gd name="T36" fmla="*/ 0 w 611"/>
              <a:gd name="T37" fmla="*/ 143 h 523"/>
              <a:gd name="T38" fmla="*/ 0 w 611"/>
              <a:gd name="T39" fmla="*/ 143 h 523"/>
              <a:gd name="T40" fmla="*/ 0 w 611"/>
              <a:gd name="T41" fmla="*/ 143 h 523"/>
              <a:gd name="T42" fmla="*/ 0 w 611"/>
              <a:gd name="T43" fmla="*/ 516 h 523"/>
              <a:gd name="T44" fmla="*/ 7 w 611"/>
              <a:gd name="T45" fmla="*/ 523 h 523"/>
              <a:gd name="T46" fmla="*/ 604 w 611"/>
              <a:gd name="T47" fmla="*/ 523 h 523"/>
              <a:gd name="T48" fmla="*/ 611 w 611"/>
              <a:gd name="T49" fmla="*/ 516 h 523"/>
              <a:gd name="T50" fmla="*/ 611 w 611"/>
              <a:gd name="T51" fmla="*/ 143 h 523"/>
              <a:gd name="T52" fmla="*/ 611 w 611"/>
              <a:gd name="T53" fmla="*/ 143 h 523"/>
              <a:gd name="T54" fmla="*/ 98 w 611"/>
              <a:gd name="T55" fmla="*/ 14 h 523"/>
              <a:gd name="T56" fmla="*/ 512 w 611"/>
              <a:gd name="T57" fmla="*/ 14 h 523"/>
              <a:gd name="T58" fmla="*/ 591 w 611"/>
              <a:gd name="T59" fmla="*/ 136 h 523"/>
              <a:gd name="T60" fmla="*/ 20 w 611"/>
              <a:gd name="T61" fmla="*/ 136 h 523"/>
              <a:gd name="T62" fmla="*/ 98 w 611"/>
              <a:gd name="T63" fmla="*/ 14 h 523"/>
              <a:gd name="T64" fmla="*/ 597 w 611"/>
              <a:gd name="T65" fmla="*/ 509 h 523"/>
              <a:gd name="T66" fmla="*/ 14 w 611"/>
              <a:gd name="T67" fmla="*/ 509 h 523"/>
              <a:gd name="T68" fmla="*/ 14 w 611"/>
              <a:gd name="T69" fmla="*/ 150 h 523"/>
              <a:gd name="T70" fmla="*/ 597 w 611"/>
              <a:gd name="T71" fmla="*/ 150 h 523"/>
              <a:gd name="T72" fmla="*/ 597 w 611"/>
              <a:gd name="T73" fmla="*/ 509 h 523"/>
              <a:gd name="T74" fmla="*/ 177 w 611"/>
              <a:gd name="T75" fmla="*/ 310 h 523"/>
              <a:gd name="T76" fmla="*/ 433 w 611"/>
              <a:gd name="T77" fmla="*/ 310 h 523"/>
              <a:gd name="T78" fmla="*/ 470 w 611"/>
              <a:gd name="T79" fmla="*/ 273 h 523"/>
              <a:gd name="T80" fmla="*/ 433 w 611"/>
              <a:gd name="T81" fmla="*/ 236 h 523"/>
              <a:gd name="T82" fmla="*/ 177 w 611"/>
              <a:gd name="T83" fmla="*/ 236 h 523"/>
              <a:gd name="T84" fmla="*/ 140 w 611"/>
              <a:gd name="T85" fmla="*/ 273 h 523"/>
              <a:gd name="T86" fmla="*/ 177 w 611"/>
              <a:gd name="T87" fmla="*/ 310 h 523"/>
              <a:gd name="T88" fmla="*/ 177 w 611"/>
              <a:gd name="T89" fmla="*/ 250 h 523"/>
              <a:gd name="T90" fmla="*/ 433 w 611"/>
              <a:gd name="T91" fmla="*/ 250 h 523"/>
              <a:gd name="T92" fmla="*/ 456 w 611"/>
              <a:gd name="T93" fmla="*/ 273 h 523"/>
              <a:gd name="T94" fmla="*/ 433 w 611"/>
              <a:gd name="T95" fmla="*/ 296 h 523"/>
              <a:gd name="T96" fmla="*/ 177 w 611"/>
              <a:gd name="T97" fmla="*/ 296 h 523"/>
              <a:gd name="T98" fmla="*/ 154 w 611"/>
              <a:gd name="T99" fmla="*/ 273 h 523"/>
              <a:gd name="T100" fmla="*/ 177 w 611"/>
              <a:gd name="T101" fmla="*/ 250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11" h="523">
                <a:moveTo>
                  <a:pt x="611" y="143"/>
                </a:moveTo>
                <a:cubicBezTo>
                  <a:pt x="611" y="143"/>
                  <a:pt x="610" y="143"/>
                  <a:pt x="610" y="143"/>
                </a:cubicBezTo>
                <a:cubicBezTo>
                  <a:pt x="610" y="142"/>
                  <a:pt x="610" y="142"/>
                  <a:pt x="610" y="142"/>
                </a:cubicBezTo>
                <a:cubicBezTo>
                  <a:pt x="610" y="141"/>
                  <a:pt x="610" y="141"/>
                  <a:pt x="610" y="141"/>
                </a:cubicBezTo>
                <a:cubicBezTo>
                  <a:pt x="610" y="141"/>
                  <a:pt x="610" y="140"/>
                  <a:pt x="609" y="140"/>
                </a:cubicBezTo>
                <a:cubicBezTo>
                  <a:pt x="609" y="140"/>
                  <a:pt x="609" y="140"/>
                  <a:pt x="609" y="140"/>
                </a:cubicBezTo>
                <a:cubicBezTo>
                  <a:pt x="609" y="140"/>
                  <a:pt x="609" y="140"/>
                  <a:pt x="609" y="140"/>
                </a:cubicBezTo>
                <a:cubicBezTo>
                  <a:pt x="609" y="140"/>
                  <a:pt x="609" y="140"/>
                  <a:pt x="609" y="140"/>
                </a:cubicBezTo>
                <a:cubicBezTo>
                  <a:pt x="522" y="4"/>
                  <a:pt x="522" y="4"/>
                  <a:pt x="522" y="4"/>
                </a:cubicBezTo>
                <a:cubicBezTo>
                  <a:pt x="520" y="2"/>
                  <a:pt x="518" y="0"/>
                  <a:pt x="516" y="0"/>
                </a:cubicBezTo>
                <a:cubicBezTo>
                  <a:pt x="95" y="0"/>
                  <a:pt x="95" y="0"/>
                  <a:pt x="95" y="0"/>
                </a:cubicBezTo>
                <a:cubicBezTo>
                  <a:pt x="92" y="0"/>
                  <a:pt x="90" y="2"/>
                  <a:pt x="89" y="4"/>
                </a:cubicBezTo>
                <a:cubicBezTo>
                  <a:pt x="1" y="140"/>
                  <a:pt x="1" y="140"/>
                  <a:pt x="1" y="140"/>
                </a:cubicBezTo>
                <a:cubicBezTo>
                  <a:pt x="1" y="140"/>
                  <a:pt x="1" y="140"/>
                  <a:pt x="1" y="140"/>
                </a:cubicBezTo>
                <a:cubicBezTo>
                  <a:pt x="1" y="140"/>
                  <a:pt x="1" y="140"/>
                  <a:pt x="1" y="140"/>
                </a:cubicBezTo>
                <a:cubicBezTo>
                  <a:pt x="1" y="140"/>
                  <a:pt x="1" y="140"/>
                  <a:pt x="1" y="140"/>
                </a:cubicBezTo>
                <a:cubicBezTo>
                  <a:pt x="1" y="140"/>
                  <a:pt x="0" y="141"/>
                  <a:pt x="0" y="141"/>
                </a:cubicBezTo>
                <a:cubicBezTo>
                  <a:pt x="0" y="141"/>
                  <a:pt x="0" y="141"/>
                  <a:pt x="0" y="142"/>
                </a:cubicBezTo>
                <a:cubicBezTo>
                  <a:pt x="0" y="142"/>
                  <a:pt x="0" y="142"/>
                  <a:pt x="0" y="143"/>
                </a:cubicBezTo>
                <a:cubicBezTo>
                  <a:pt x="0" y="143"/>
                  <a:pt x="0" y="143"/>
                  <a:pt x="0" y="143"/>
                </a:cubicBezTo>
                <a:cubicBezTo>
                  <a:pt x="0" y="143"/>
                  <a:pt x="0" y="143"/>
                  <a:pt x="0" y="143"/>
                </a:cubicBezTo>
                <a:cubicBezTo>
                  <a:pt x="0" y="516"/>
                  <a:pt x="0" y="516"/>
                  <a:pt x="0" y="516"/>
                </a:cubicBezTo>
                <a:cubicBezTo>
                  <a:pt x="0" y="520"/>
                  <a:pt x="3" y="523"/>
                  <a:pt x="7" y="523"/>
                </a:cubicBezTo>
                <a:cubicBezTo>
                  <a:pt x="604" y="523"/>
                  <a:pt x="604" y="523"/>
                  <a:pt x="604" y="523"/>
                </a:cubicBezTo>
                <a:cubicBezTo>
                  <a:pt x="607" y="523"/>
                  <a:pt x="611" y="520"/>
                  <a:pt x="611" y="516"/>
                </a:cubicBezTo>
                <a:cubicBezTo>
                  <a:pt x="611" y="143"/>
                  <a:pt x="611" y="143"/>
                  <a:pt x="611" y="143"/>
                </a:cubicBezTo>
                <a:cubicBezTo>
                  <a:pt x="611" y="143"/>
                  <a:pt x="611" y="143"/>
                  <a:pt x="611" y="143"/>
                </a:cubicBezTo>
                <a:close/>
                <a:moveTo>
                  <a:pt x="98" y="14"/>
                </a:moveTo>
                <a:cubicBezTo>
                  <a:pt x="512" y="14"/>
                  <a:pt x="512" y="14"/>
                  <a:pt x="512" y="14"/>
                </a:cubicBezTo>
                <a:cubicBezTo>
                  <a:pt x="591" y="136"/>
                  <a:pt x="591" y="136"/>
                  <a:pt x="591" y="136"/>
                </a:cubicBezTo>
                <a:cubicBezTo>
                  <a:pt x="20" y="136"/>
                  <a:pt x="20" y="136"/>
                  <a:pt x="20" y="136"/>
                </a:cubicBezTo>
                <a:lnTo>
                  <a:pt x="98" y="14"/>
                </a:lnTo>
                <a:close/>
                <a:moveTo>
                  <a:pt x="597" y="509"/>
                </a:moveTo>
                <a:cubicBezTo>
                  <a:pt x="14" y="509"/>
                  <a:pt x="14" y="509"/>
                  <a:pt x="14" y="509"/>
                </a:cubicBezTo>
                <a:cubicBezTo>
                  <a:pt x="14" y="150"/>
                  <a:pt x="14" y="150"/>
                  <a:pt x="14" y="150"/>
                </a:cubicBezTo>
                <a:cubicBezTo>
                  <a:pt x="597" y="150"/>
                  <a:pt x="597" y="150"/>
                  <a:pt x="597" y="150"/>
                </a:cubicBezTo>
                <a:lnTo>
                  <a:pt x="597" y="509"/>
                </a:lnTo>
                <a:close/>
                <a:moveTo>
                  <a:pt x="177" y="310"/>
                </a:moveTo>
                <a:cubicBezTo>
                  <a:pt x="433" y="310"/>
                  <a:pt x="433" y="310"/>
                  <a:pt x="433" y="310"/>
                </a:cubicBezTo>
                <a:cubicBezTo>
                  <a:pt x="454" y="310"/>
                  <a:pt x="470" y="293"/>
                  <a:pt x="470" y="273"/>
                </a:cubicBezTo>
                <a:cubicBezTo>
                  <a:pt x="470" y="252"/>
                  <a:pt x="454" y="236"/>
                  <a:pt x="433" y="236"/>
                </a:cubicBezTo>
                <a:cubicBezTo>
                  <a:pt x="177" y="236"/>
                  <a:pt x="177" y="236"/>
                  <a:pt x="177" y="236"/>
                </a:cubicBezTo>
                <a:cubicBezTo>
                  <a:pt x="157" y="236"/>
                  <a:pt x="140" y="252"/>
                  <a:pt x="140" y="273"/>
                </a:cubicBezTo>
                <a:cubicBezTo>
                  <a:pt x="140" y="293"/>
                  <a:pt x="157" y="310"/>
                  <a:pt x="177" y="310"/>
                </a:cubicBezTo>
                <a:close/>
                <a:moveTo>
                  <a:pt x="177" y="250"/>
                </a:moveTo>
                <a:cubicBezTo>
                  <a:pt x="433" y="250"/>
                  <a:pt x="433" y="250"/>
                  <a:pt x="433" y="250"/>
                </a:cubicBezTo>
                <a:cubicBezTo>
                  <a:pt x="446" y="250"/>
                  <a:pt x="456" y="260"/>
                  <a:pt x="456" y="273"/>
                </a:cubicBezTo>
                <a:cubicBezTo>
                  <a:pt x="456" y="285"/>
                  <a:pt x="446" y="296"/>
                  <a:pt x="433" y="296"/>
                </a:cubicBezTo>
                <a:cubicBezTo>
                  <a:pt x="177" y="296"/>
                  <a:pt x="177" y="296"/>
                  <a:pt x="177" y="296"/>
                </a:cubicBezTo>
                <a:cubicBezTo>
                  <a:pt x="164" y="296"/>
                  <a:pt x="154" y="285"/>
                  <a:pt x="154" y="273"/>
                </a:cubicBezTo>
                <a:cubicBezTo>
                  <a:pt x="154" y="260"/>
                  <a:pt x="164" y="250"/>
                  <a:pt x="177" y="2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8" name="Oval 67">
            <a:extLst>
              <a:ext uri="{FF2B5EF4-FFF2-40B4-BE49-F238E27FC236}">
                <a16:creationId xmlns:a16="http://schemas.microsoft.com/office/drawing/2014/main" id="{FFD39A61-3BB5-4BD6-BEA8-2AE79CEBAF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3404" y="2892583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9" name="Freeform 137">
            <a:extLst>
              <a:ext uri="{FF2B5EF4-FFF2-40B4-BE49-F238E27FC236}">
                <a16:creationId xmlns:a16="http://schemas.microsoft.com/office/drawing/2014/main" id="{8D1654B9-09A4-43E7-9C36-0107398A6D54}"/>
              </a:ext>
            </a:extLst>
          </p:cNvPr>
          <p:cNvSpPr>
            <a:spLocks noEditPoints="1"/>
          </p:cNvSpPr>
          <p:nvPr/>
        </p:nvSpPr>
        <p:spPr bwMode="auto">
          <a:xfrm>
            <a:off x="1980898" y="3098540"/>
            <a:ext cx="445662" cy="410182"/>
          </a:xfrm>
          <a:custGeom>
            <a:avLst/>
            <a:gdLst>
              <a:gd name="T0" fmla="*/ 571 w 575"/>
              <a:gd name="T1" fmla="*/ 3 h 530"/>
              <a:gd name="T2" fmla="*/ 561 w 575"/>
              <a:gd name="T3" fmla="*/ 4 h 530"/>
              <a:gd name="T4" fmla="*/ 491 w 575"/>
              <a:gd name="T5" fmla="*/ 94 h 530"/>
              <a:gd name="T6" fmla="*/ 491 w 575"/>
              <a:gd name="T7" fmla="*/ 46 h 530"/>
              <a:gd name="T8" fmla="*/ 484 w 575"/>
              <a:gd name="T9" fmla="*/ 39 h 530"/>
              <a:gd name="T10" fmla="*/ 7 w 575"/>
              <a:gd name="T11" fmla="*/ 39 h 530"/>
              <a:gd name="T12" fmla="*/ 0 w 575"/>
              <a:gd name="T13" fmla="*/ 46 h 530"/>
              <a:gd name="T14" fmla="*/ 0 w 575"/>
              <a:gd name="T15" fmla="*/ 523 h 530"/>
              <a:gd name="T16" fmla="*/ 7 w 575"/>
              <a:gd name="T17" fmla="*/ 530 h 530"/>
              <a:gd name="T18" fmla="*/ 484 w 575"/>
              <a:gd name="T19" fmla="*/ 530 h 530"/>
              <a:gd name="T20" fmla="*/ 491 w 575"/>
              <a:gd name="T21" fmla="*/ 523 h 530"/>
              <a:gd name="T22" fmla="*/ 491 w 575"/>
              <a:gd name="T23" fmla="*/ 117 h 530"/>
              <a:gd name="T24" fmla="*/ 572 w 575"/>
              <a:gd name="T25" fmla="*/ 12 h 530"/>
              <a:gd name="T26" fmla="*/ 571 w 575"/>
              <a:gd name="T27" fmla="*/ 3 h 530"/>
              <a:gd name="T28" fmla="*/ 477 w 575"/>
              <a:gd name="T29" fmla="*/ 516 h 530"/>
              <a:gd name="T30" fmla="*/ 14 w 575"/>
              <a:gd name="T31" fmla="*/ 516 h 530"/>
              <a:gd name="T32" fmla="*/ 14 w 575"/>
              <a:gd name="T33" fmla="*/ 53 h 530"/>
              <a:gd name="T34" fmla="*/ 477 w 575"/>
              <a:gd name="T35" fmla="*/ 53 h 530"/>
              <a:gd name="T36" fmla="*/ 477 w 575"/>
              <a:gd name="T37" fmla="*/ 112 h 530"/>
              <a:gd name="T38" fmla="*/ 235 w 575"/>
              <a:gd name="T39" fmla="*/ 423 h 530"/>
              <a:gd name="T40" fmla="*/ 84 w 575"/>
              <a:gd name="T41" fmla="*/ 287 h 530"/>
              <a:gd name="T42" fmla="*/ 74 w 575"/>
              <a:gd name="T43" fmla="*/ 288 h 530"/>
              <a:gd name="T44" fmla="*/ 74 w 575"/>
              <a:gd name="T45" fmla="*/ 298 h 530"/>
              <a:gd name="T46" fmla="*/ 231 w 575"/>
              <a:gd name="T47" fmla="*/ 438 h 530"/>
              <a:gd name="T48" fmla="*/ 236 w 575"/>
              <a:gd name="T49" fmla="*/ 440 h 530"/>
              <a:gd name="T50" fmla="*/ 236 w 575"/>
              <a:gd name="T51" fmla="*/ 440 h 530"/>
              <a:gd name="T52" fmla="*/ 241 w 575"/>
              <a:gd name="T53" fmla="*/ 437 h 530"/>
              <a:gd name="T54" fmla="*/ 477 w 575"/>
              <a:gd name="T55" fmla="*/ 135 h 530"/>
              <a:gd name="T56" fmla="*/ 477 w 575"/>
              <a:gd name="T57" fmla="*/ 516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575" h="530">
                <a:moveTo>
                  <a:pt x="571" y="3"/>
                </a:moveTo>
                <a:cubicBezTo>
                  <a:pt x="568" y="0"/>
                  <a:pt x="564" y="1"/>
                  <a:pt x="561" y="4"/>
                </a:cubicBezTo>
                <a:cubicBezTo>
                  <a:pt x="491" y="94"/>
                  <a:pt x="491" y="94"/>
                  <a:pt x="491" y="94"/>
                </a:cubicBezTo>
                <a:cubicBezTo>
                  <a:pt x="491" y="46"/>
                  <a:pt x="491" y="46"/>
                  <a:pt x="491" y="46"/>
                </a:cubicBezTo>
                <a:cubicBezTo>
                  <a:pt x="491" y="42"/>
                  <a:pt x="488" y="39"/>
                  <a:pt x="484" y="39"/>
                </a:cubicBezTo>
                <a:cubicBezTo>
                  <a:pt x="7" y="39"/>
                  <a:pt x="7" y="39"/>
                  <a:pt x="7" y="39"/>
                </a:cubicBezTo>
                <a:cubicBezTo>
                  <a:pt x="3" y="39"/>
                  <a:pt x="0" y="42"/>
                  <a:pt x="0" y="46"/>
                </a:cubicBezTo>
                <a:cubicBezTo>
                  <a:pt x="0" y="523"/>
                  <a:pt x="0" y="523"/>
                  <a:pt x="0" y="523"/>
                </a:cubicBezTo>
                <a:cubicBezTo>
                  <a:pt x="0" y="527"/>
                  <a:pt x="3" y="530"/>
                  <a:pt x="7" y="530"/>
                </a:cubicBezTo>
                <a:cubicBezTo>
                  <a:pt x="484" y="530"/>
                  <a:pt x="484" y="530"/>
                  <a:pt x="484" y="530"/>
                </a:cubicBezTo>
                <a:cubicBezTo>
                  <a:pt x="488" y="530"/>
                  <a:pt x="491" y="527"/>
                  <a:pt x="491" y="523"/>
                </a:cubicBezTo>
                <a:cubicBezTo>
                  <a:pt x="491" y="117"/>
                  <a:pt x="491" y="117"/>
                  <a:pt x="491" y="117"/>
                </a:cubicBezTo>
                <a:cubicBezTo>
                  <a:pt x="572" y="12"/>
                  <a:pt x="572" y="12"/>
                  <a:pt x="572" y="12"/>
                </a:cubicBezTo>
                <a:cubicBezTo>
                  <a:pt x="575" y="9"/>
                  <a:pt x="574" y="5"/>
                  <a:pt x="571" y="3"/>
                </a:cubicBezTo>
                <a:close/>
                <a:moveTo>
                  <a:pt x="477" y="516"/>
                </a:moveTo>
                <a:cubicBezTo>
                  <a:pt x="14" y="516"/>
                  <a:pt x="14" y="516"/>
                  <a:pt x="14" y="516"/>
                </a:cubicBezTo>
                <a:cubicBezTo>
                  <a:pt x="14" y="53"/>
                  <a:pt x="14" y="53"/>
                  <a:pt x="14" y="53"/>
                </a:cubicBezTo>
                <a:cubicBezTo>
                  <a:pt x="477" y="53"/>
                  <a:pt x="477" y="53"/>
                  <a:pt x="477" y="53"/>
                </a:cubicBezTo>
                <a:cubicBezTo>
                  <a:pt x="477" y="112"/>
                  <a:pt x="477" y="112"/>
                  <a:pt x="477" y="112"/>
                </a:cubicBezTo>
                <a:cubicBezTo>
                  <a:pt x="235" y="423"/>
                  <a:pt x="235" y="423"/>
                  <a:pt x="235" y="423"/>
                </a:cubicBezTo>
                <a:cubicBezTo>
                  <a:pt x="84" y="287"/>
                  <a:pt x="84" y="287"/>
                  <a:pt x="84" y="287"/>
                </a:cubicBezTo>
                <a:cubicBezTo>
                  <a:pt x="81" y="285"/>
                  <a:pt x="76" y="285"/>
                  <a:pt x="74" y="288"/>
                </a:cubicBezTo>
                <a:cubicBezTo>
                  <a:pt x="71" y="291"/>
                  <a:pt x="72" y="295"/>
                  <a:pt x="74" y="298"/>
                </a:cubicBezTo>
                <a:cubicBezTo>
                  <a:pt x="231" y="438"/>
                  <a:pt x="231" y="438"/>
                  <a:pt x="231" y="438"/>
                </a:cubicBezTo>
                <a:cubicBezTo>
                  <a:pt x="232" y="439"/>
                  <a:pt x="234" y="440"/>
                  <a:pt x="236" y="440"/>
                </a:cubicBezTo>
                <a:cubicBezTo>
                  <a:pt x="236" y="440"/>
                  <a:pt x="236" y="440"/>
                  <a:pt x="236" y="440"/>
                </a:cubicBezTo>
                <a:cubicBezTo>
                  <a:pt x="238" y="440"/>
                  <a:pt x="240" y="439"/>
                  <a:pt x="241" y="437"/>
                </a:cubicBezTo>
                <a:cubicBezTo>
                  <a:pt x="477" y="135"/>
                  <a:pt x="477" y="135"/>
                  <a:pt x="477" y="135"/>
                </a:cubicBezTo>
                <a:lnTo>
                  <a:pt x="477" y="5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0" name="Oval 72">
            <a:extLst>
              <a:ext uri="{FF2B5EF4-FFF2-40B4-BE49-F238E27FC236}">
                <a16:creationId xmlns:a16="http://schemas.microsoft.com/office/drawing/2014/main" id="{20B4A192-B18A-448E-8ED7-55541792E2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660" y="2892583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1" name="Freeform 140">
            <a:extLst>
              <a:ext uri="{FF2B5EF4-FFF2-40B4-BE49-F238E27FC236}">
                <a16:creationId xmlns:a16="http://schemas.microsoft.com/office/drawing/2014/main" id="{97570FB7-43B1-4583-B9ED-2AF5E7E9D2FD}"/>
              </a:ext>
            </a:extLst>
          </p:cNvPr>
          <p:cNvSpPr>
            <a:spLocks noEditPoints="1"/>
          </p:cNvSpPr>
          <p:nvPr/>
        </p:nvSpPr>
        <p:spPr bwMode="auto">
          <a:xfrm>
            <a:off x="661960" y="3114116"/>
            <a:ext cx="380360" cy="379895"/>
          </a:xfrm>
          <a:custGeom>
            <a:avLst/>
            <a:gdLst>
              <a:gd name="T0" fmla="*/ 484 w 491"/>
              <a:gd name="T1" fmla="*/ 0 h 491"/>
              <a:gd name="T2" fmla="*/ 7 w 491"/>
              <a:gd name="T3" fmla="*/ 0 h 491"/>
              <a:gd name="T4" fmla="*/ 0 w 491"/>
              <a:gd name="T5" fmla="*/ 7 h 491"/>
              <a:gd name="T6" fmla="*/ 0 w 491"/>
              <a:gd name="T7" fmla="*/ 484 h 491"/>
              <a:gd name="T8" fmla="*/ 7 w 491"/>
              <a:gd name="T9" fmla="*/ 491 h 491"/>
              <a:gd name="T10" fmla="*/ 484 w 491"/>
              <a:gd name="T11" fmla="*/ 491 h 491"/>
              <a:gd name="T12" fmla="*/ 491 w 491"/>
              <a:gd name="T13" fmla="*/ 484 h 491"/>
              <a:gd name="T14" fmla="*/ 491 w 491"/>
              <a:gd name="T15" fmla="*/ 7 h 491"/>
              <a:gd name="T16" fmla="*/ 484 w 491"/>
              <a:gd name="T17" fmla="*/ 0 h 491"/>
              <a:gd name="T18" fmla="*/ 477 w 491"/>
              <a:gd name="T19" fmla="*/ 477 h 491"/>
              <a:gd name="T20" fmla="*/ 14 w 491"/>
              <a:gd name="T21" fmla="*/ 477 h 491"/>
              <a:gd name="T22" fmla="*/ 14 w 491"/>
              <a:gd name="T23" fmla="*/ 14 h 491"/>
              <a:gd name="T24" fmla="*/ 477 w 491"/>
              <a:gd name="T25" fmla="*/ 14 h 491"/>
              <a:gd name="T26" fmla="*/ 477 w 491"/>
              <a:gd name="T27" fmla="*/ 477 h 491"/>
              <a:gd name="T28" fmla="*/ 68 w 491"/>
              <a:gd name="T29" fmla="*/ 413 h 491"/>
              <a:gd name="T30" fmla="*/ 236 w 491"/>
              <a:gd name="T31" fmla="*/ 246 h 491"/>
              <a:gd name="T32" fmla="*/ 68 w 491"/>
              <a:gd name="T33" fmla="*/ 78 h 491"/>
              <a:gd name="T34" fmla="*/ 68 w 491"/>
              <a:gd name="T35" fmla="*/ 68 h 491"/>
              <a:gd name="T36" fmla="*/ 78 w 491"/>
              <a:gd name="T37" fmla="*/ 68 h 491"/>
              <a:gd name="T38" fmla="*/ 245 w 491"/>
              <a:gd name="T39" fmla="*/ 236 h 491"/>
              <a:gd name="T40" fmla="*/ 413 w 491"/>
              <a:gd name="T41" fmla="*/ 68 h 491"/>
              <a:gd name="T42" fmla="*/ 423 w 491"/>
              <a:gd name="T43" fmla="*/ 68 h 491"/>
              <a:gd name="T44" fmla="*/ 423 w 491"/>
              <a:gd name="T45" fmla="*/ 78 h 491"/>
              <a:gd name="T46" fmla="*/ 255 w 491"/>
              <a:gd name="T47" fmla="*/ 246 h 491"/>
              <a:gd name="T48" fmla="*/ 423 w 491"/>
              <a:gd name="T49" fmla="*/ 413 h 491"/>
              <a:gd name="T50" fmla="*/ 423 w 491"/>
              <a:gd name="T51" fmla="*/ 423 h 491"/>
              <a:gd name="T52" fmla="*/ 418 w 491"/>
              <a:gd name="T53" fmla="*/ 425 h 491"/>
              <a:gd name="T54" fmla="*/ 413 w 491"/>
              <a:gd name="T55" fmla="*/ 423 h 491"/>
              <a:gd name="T56" fmla="*/ 245 w 491"/>
              <a:gd name="T57" fmla="*/ 256 h 491"/>
              <a:gd name="T58" fmla="*/ 78 w 491"/>
              <a:gd name="T59" fmla="*/ 423 h 491"/>
              <a:gd name="T60" fmla="*/ 73 w 491"/>
              <a:gd name="T61" fmla="*/ 425 h 491"/>
              <a:gd name="T62" fmla="*/ 68 w 491"/>
              <a:gd name="T63" fmla="*/ 423 h 491"/>
              <a:gd name="T64" fmla="*/ 68 w 491"/>
              <a:gd name="T65" fmla="*/ 413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91" h="491">
                <a:moveTo>
                  <a:pt x="484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484"/>
                  <a:pt x="0" y="484"/>
                  <a:pt x="0" y="484"/>
                </a:cubicBezTo>
                <a:cubicBezTo>
                  <a:pt x="0" y="488"/>
                  <a:pt x="3" y="491"/>
                  <a:pt x="7" y="491"/>
                </a:cubicBezTo>
                <a:cubicBezTo>
                  <a:pt x="484" y="491"/>
                  <a:pt x="484" y="491"/>
                  <a:pt x="484" y="491"/>
                </a:cubicBezTo>
                <a:cubicBezTo>
                  <a:pt x="488" y="491"/>
                  <a:pt x="491" y="488"/>
                  <a:pt x="491" y="484"/>
                </a:cubicBezTo>
                <a:cubicBezTo>
                  <a:pt x="491" y="7"/>
                  <a:pt x="491" y="7"/>
                  <a:pt x="491" y="7"/>
                </a:cubicBezTo>
                <a:cubicBezTo>
                  <a:pt x="491" y="3"/>
                  <a:pt x="488" y="0"/>
                  <a:pt x="484" y="0"/>
                </a:cubicBezTo>
                <a:close/>
                <a:moveTo>
                  <a:pt x="477" y="477"/>
                </a:moveTo>
                <a:cubicBezTo>
                  <a:pt x="14" y="477"/>
                  <a:pt x="14" y="477"/>
                  <a:pt x="14" y="477"/>
                </a:cubicBezTo>
                <a:cubicBezTo>
                  <a:pt x="14" y="14"/>
                  <a:pt x="14" y="14"/>
                  <a:pt x="14" y="14"/>
                </a:cubicBezTo>
                <a:cubicBezTo>
                  <a:pt x="477" y="14"/>
                  <a:pt x="477" y="14"/>
                  <a:pt x="477" y="14"/>
                </a:cubicBezTo>
                <a:lnTo>
                  <a:pt x="477" y="477"/>
                </a:lnTo>
                <a:close/>
                <a:moveTo>
                  <a:pt x="68" y="413"/>
                </a:moveTo>
                <a:cubicBezTo>
                  <a:pt x="236" y="246"/>
                  <a:pt x="236" y="246"/>
                  <a:pt x="236" y="246"/>
                </a:cubicBezTo>
                <a:cubicBezTo>
                  <a:pt x="68" y="78"/>
                  <a:pt x="68" y="78"/>
                  <a:pt x="68" y="78"/>
                </a:cubicBezTo>
                <a:cubicBezTo>
                  <a:pt x="65" y="75"/>
                  <a:pt x="65" y="71"/>
                  <a:pt x="68" y="68"/>
                </a:cubicBezTo>
                <a:cubicBezTo>
                  <a:pt x="71" y="66"/>
                  <a:pt x="75" y="66"/>
                  <a:pt x="78" y="68"/>
                </a:cubicBezTo>
                <a:cubicBezTo>
                  <a:pt x="245" y="236"/>
                  <a:pt x="245" y="236"/>
                  <a:pt x="245" y="236"/>
                </a:cubicBezTo>
                <a:cubicBezTo>
                  <a:pt x="413" y="68"/>
                  <a:pt x="413" y="68"/>
                  <a:pt x="413" y="68"/>
                </a:cubicBezTo>
                <a:cubicBezTo>
                  <a:pt x="416" y="66"/>
                  <a:pt x="420" y="66"/>
                  <a:pt x="423" y="68"/>
                </a:cubicBezTo>
                <a:cubicBezTo>
                  <a:pt x="426" y="71"/>
                  <a:pt x="426" y="75"/>
                  <a:pt x="423" y="78"/>
                </a:cubicBezTo>
                <a:cubicBezTo>
                  <a:pt x="255" y="246"/>
                  <a:pt x="255" y="246"/>
                  <a:pt x="255" y="246"/>
                </a:cubicBezTo>
                <a:cubicBezTo>
                  <a:pt x="423" y="413"/>
                  <a:pt x="423" y="413"/>
                  <a:pt x="423" y="413"/>
                </a:cubicBezTo>
                <a:cubicBezTo>
                  <a:pt x="426" y="416"/>
                  <a:pt x="426" y="421"/>
                  <a:pt x="423" y="423"/>
                </a:cubicBezTo>
                <a:cubicBezTo>
                  <a:pt x="422" y="425"/>
                  <a:pt x="420" y="425"/>
                  <a:pt x="418" y="425"/>
                </a:cubicBezTo>
                <a:cubicBezTo>
                  <a:pt x="416" y="425"/>
                  <a:pt x="414" y="425"/>
                  <a:pt x="413" y="423"/>
                </a:cubicBezTo>
                <a:cubicBezTo>
                  <a:pt x="245" y="256"/>
                  <a:pt x="245" y="256"/>
                  <a:pt x="245" y="256"/>
                </a:cubicBezTo>
                <a:cubicBezTo>
                  <a:pt x="78" y="423"/>
                  <a:pt x="78" y="423"/>
                  <a:pt x="78" y="423"/>
                </a:cubicBezTo>
                <a:cubicBezTo>
                  <a:pt x="76" y="425"/>
                  <a:pt x="75" y="425"/>
                  <a:pt x="73" y="425"/>
                </a:cubicBezTo>
                <a:cubicBezTo>
                  <a:pt x="71" y="425"/>
                  <a:pt x="69" y="425"/>
                  <a:pt x="68" y="423"/>
                </a:cubicBezTo>
                <a:cubicBezTo>
                  <a:pt x="65" y="421"/>
                  <a:pt x="65" y="416"/>
                  <a:pt x="68" y="41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2" name="Oval 61">
            <a:extLst>
              <a:ext uri="{FF2B5EF4-FFF2-40B4-BE49-F238E27FC236}">
                <a16:creationId xmlns:a16="http://schemas.microsoft.com/office/drawing/2014/main" id="{66610BF9-27DE-404C-A332-91BB20AA0A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3404" y="393707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3" name="Freeform 123">
            <a:extLst>
              <a:ext uri="{FF2B5EF4-FFF2-40B4-BE49-F238E27FC236}">
                <a16:creationId xmlns:a16="http://schemas.microsoft.com/office/drawing/2014/main" id="{85F997BF-7183-43F2-8440-EDBA87006AB4}"/>
              </a:ext>
            </a:extLst>
          </p:cNvPr>
          <p:cNvSpPr>
            <a:spLocks noEditPoints="1"/>
          </p:cNvSpPr>
          <p:nvPr/>
        </p:nvSpPr>
        <p:spPr bwMode="auto">
          <a:xfrm>
            <a:off x="1869988" y="4099594"/>
            <a:ext cx="522995" cy="524724"/>
          </a:xfrm>
          <a:custGeom>
            <a:avLst/>
            <a:gdLst>
              <a:gd name="T0" fmla="*/ 529 w 676"/>
              <a:gd name="T1" fmla="*/ 279 h 678"/>
              <a:gd name="T2" fmla="*/ 431 w 676"/>
              <a:gd name="T3" fmla="*/ 293 h 678"/>
              <a:gd name="T4" fmla="*/ 409 w 676"/>
              <a:gd name="T5" fmla="*/ 210 h 678"/>
              <a:gd name="T6" fmla="*/ 367 w 676"/>
              <a:gd name="T7" fmla="*/ 125 h 678"/>
              <a:gd name="T8" fmla="*/ 401 w 676"/>
              <a:gd name="T9" fmla="*/ 58 h 678"/>
              <a:gd name="T10" fmla="*/ 504 w 676"/>
              <a:gd name="T11" fmla="*/ 6 h 678"/>
              <a:gd name="T12" fmla="*/ 579 w 676"/>
              <a:gd name="T13" fmla="*/ 18 h 678"/>
              <a:gd name="T14" fmla="*/ 659 w 676"/>
              <a:gd name="T15" fmla="*/ 100 h 678"/>
              <a:gd name="T16" fmla="*/ 676 w 676"/>
              <a:gd name="T17" fmla="*/ 169 h 678"/>
              <a:gd name="T18" fmla="*/ 605 w 676"/>
              <a:gd name="T19" fmla="*/ 241 h 678"/>
              <a:gd name="T20" fmla="*/ 558 w 676"/>
              <a:gd name="T21" fmla="*/ 314 h 678"/>
              <a:gd name="T22" fmla="*/ 539 w 676"/>
              <a:gd name="T23" fmla="*/ 267 h 678"/>
              <a:gd name="T24" fmla="*/ 590 w 676"/>
              <a:gd name="T25" fmla="*/ 242 h 678"/>
              <a:gd name="T26" fmla="*/ 626 w 676"/>
              <a:gd name="T27" fmla="*/ 172 h 678"/>
              <a:gd name="T28" fmla="*/ 655 w 676"/>
              <a:gd name="T29" fmla="*/ 114 h 678"/>
              <a:gd name="T30" fmla="*/ 566 w 676"/>
              <a:gd name="T31" fmla="*/ 67 h 678"/>
              <a:gd name="T32" fmla="*/ 517 w 676"/>
              <a:gd name="T33" fmla="*/ 15 h 678"/>
              <a:gd name="T34" fmla="*/ 500 w 676"/>
              <a:gd name="T35" fmla="*/ 56 h 678"/>
              <a:gd name="T36" fmla="*/ 401 w 676"/>
              <a:gd name="T37" fmla="*/ 73 h 678"/>
              <a:gd name="T38" fmla="*/ 413 w 676"/>
              <a:gd name="T39" fmla="*/ 144 h 678"/>
              <a:gd name="T40" fmla="*/ 422 w 676"/>
              <a:gd name="T41" fmla="*/ 215 h 678"/>
              <a:gd name="T42" fmla="*/ 463 w 676"/>
              <a:gd name="T43" fmla="*/ 255 h 678"/>
              <a:gd name="T44" fmla="*/ 532 w 676"/>
              <a:gd name="T45" fmla="*/ 264 h 678"/>
              <a:gd name="T46" fmla="*/ 478 w 676"/>
              <a:gd name="T47" fmla="*/ 160 h 678"/>
              <a:gd name="T48" fmla="*/ 517 w 676"/>
              <a:gd name="T49" fmla="*/ 199 h 678"/>
              <a:gd name="T50" fmla="*/ 517 w 676"/>
              <a:gd name="T51" fmla="*/ 185 h 678"/>
              <a:gd name="T52" fmla="*/ 258 w 676"/>
              <a:gd name="T53" fmla="*/ 678 h 678"/>
              <a:gd name="T54" fmla="*/ 233 w 676"/>
              <a:gd name="T55" fmla="*/ 615 h 678"/>
              <a:gd name="T56" fmla="*/ 105 w 676"/>
              <a:gd name="T57" fmla="*/ 628 h 678"/>
              <a:gd name="T58" fmla="*/ 90 w 676"/>
              <a:gd name="T59" fmla="*/ 522 h 678"/>
              <a:gd name="T60" fmla="*/ 0 w 676"/>
              <a:gd name="T61" fmla="*/ 424 h 678"/>
              <a:gd name="T62" fmla="*/ 14 w 676"/>
              <a:gd name="T63" fmla="*/ 350 h 678"/>
              <a:gd name="T64" fmla="*/ 91 w 676"/>
              <a:gd name="T65" fmla="*/ 229 h 678"/>
              <a:gd name="T66" fmla="*/ 159 w 676"/>
              <a:gd name="T67" fmla="*/ 185 h 678"/>
              <a:gd name="T68" fmla="*/ 276 w 676"/>
              <a:gd name="T69" fmla="*/ 222 h 678"/>
              <a:gd name="T70" fmla="*/ 378 w 676"/>
              <a:gd name="T71" fmla="*/ 190 h 678"/>
              <a:gd name="T72" fmla="*/ 423 w 676"/>
              <a:gd name="T73" fmla="*/ 310 h 678"/>
              <a:gd name="T74" fmla="*/ 513 w 676"/>
              <a:gd name="T75" fmla="*/ 370 h 678"/>
              <a:gd name="T76" fmla="*/ 456 w 676"/>
              <a:gd name="T77" fmla="*/ 419 h 678"/>
              <a:gd name="T78" fmla="*/ 494 w 676"/>
              <a:gd name="T79" fmla="*/ 527 h 678"/>
              <a:gd name="T80" fmla="*/ 393 w 676"/>
              <a:gd name="T81" fmla="*/ 564 h 678"/>
              <a:gd name="T82" fmla="*/ 325 w 676"/>
              <a:gd name="T83" fmla="*/ 669 h 678"/>
              <a:gd name="T84" fmla="*/ 165 w 676"/>
              <a:gd name="T85" fmla="*/ 577 h 678"/>
              <a:gd name="T86" fmla="*/ 261 w 676"/>
              <a:gd name="T87" fmla="*/ 664 h 678"/>
              <a:gd name="T88" fmla="*/ 323 w 676"/>
              <a:gd name="T89" fmla="*/ 591 h 678"/>
              <a:gd name="T90" fmla="*/ 449 w 676"/>
              <a:gd name="T91" fmla="*/ 573 h 678"/>
              <a:gd name="T92" fmla="*/ 432 w 676"/>
              <a:gd name="T93" fmla="*/ 479 h 678"/>
              <a:gd name="T94" fmla="*/ 445 w 676"/>
              <a:gd name="T95" fmla="*/ 396 h 678"/>
              <a:gd name="T96" fmla="*/ 421 w 676"/>
              <a:gd name="T97" fmla="*/ 325 h 678"/>
              <a:gd name="T98" fmla="*/ 356 w 676"/>
              <a:gd name="T99" fmla="*/ 258 h 678"/>
              <a:gd name="T100" fmla="*/ 286 w 676"/>
              <a:gd name="T101" fmla="*/ 233 h 678"/>
              <a:gd name="T102" fmla="*/ 199 w 676"/>
              <a:gd name="T103" fmla="*/ 245 h 678"/>
              <a:gd name="T104" fmla="*/ 106 w 676"/>
              <a:gd name="T105" fmla="*/ 228 h 678"/>
              <a:gd name="T106" fmla="*/ 85 w 676"/>
              <a:gd name="T107" fmla="*/ 357 h 678"/>
              <a:gd name="T108" fmla="*/ 14 w 676"/>
              <a:gd name="T109" fmla="*/ 419 h 678"/>
              <a:gd name="T110" fmla="*/ 104 w 676"/>
              <a:gd name="T111" fmla="*/ 519 h 678"/>
              <a:gd name="T112" fmla="*/ 109 w 676"/>
              <a:gd name="T113" fmla="*/ 613 h 678"/>
              <a:gd name="T114" fmla="*/ 258 w 676"/>
              <a:gd name="T115" fmla="*/ 484 h 678"/>
              <a:gd name="T116" fmla="*/ 323 w 676"/>
              <a:gd name="T117" fmla="*/ 419 h 678"/>
              <a:gd name="T118" fmla="*/ 207 w 676"/>
              <a:gd name="T119" fmla="*/ 419 h 678"/>
              <a:gd name="T120" fmla="*/ 258 w 676"/>
              <a:gd name="T121" fmla="*/ 368 h 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76" h="678">
                <a:moveTo>
                  <a:pt x="556" y="314"/>
                </a:moveTo>
                <a:cubicBezTo>
                  <a:pt x="554" y="314"/>
                  <a:pt x="551" y="313"/>
                  <a:pt x="550" y="311"/>
                </a:cubicBezTo>
                <a:cubicBezTo>
                  <a:pt x="529" y="279"/>
                  <a:pt x="529" y="279"/>
                  <a:pt x="529" y="279"/>
                </a:cubicBezTo>
                <a:cubicBezTo>
                  <a:pt x="508" y="281"/>
                  <a:pt x="488" y="277"/>
                  <a:pt x="468" y="269"/>
                </a:cubicBezTo>
                <a:cubicBezTo>
                  <a:pt x="439" y="293"/>
                  <a:pt x="439" y="293"/>
                  <a:pt x="439" y="293"/>
                </a:cubicBezTo>
                <a:cubicBezTo>
                  <a:pt x="437" y="295"/>
                  <a:pt x="433" y="295"/>
                  <a:pt x="431" y="293"/>
                </a:cubicBezTo>
                <a:cubicBezTo>
                  <a:pt x="412" y="281"/>
                  <a:pt x="397" y="266"/>
                  <a:pt x="385" y="248"/>
                </a:cubicBezTo>
                <a:cubicBezTo>
                  <a:pt x="383" y="245"/>
                  <a:pt x="383" y="242"/>
                  <a:pt x="385" y="239"/>
                </a:cubicBezTo>
                <a:cubicBezTo>
                  <a:pt x="409" y="210"/>
                  <a:pt x="409" y="210"/>
                  <a:pt x="409" y="210"/>
                </a:cubicBezTo>
                <a:cubicBezTo>
                  <a:pt x="401" y="194"/>
                  <a:pt x="398" y="177"/>
                  <a:pt x="398" y="160"/>
                </a:cubicBezTo>
                <a:cubicBezTo>
                  <a:pt x="398" y="155"/>
                  <a:pt x="398" y="151"/>
                  <a:pt x="398" y="146"/>
                </a:cubicBezTo>
                <a:cubicBezTo>
                  <a:pt x="367" y="125"/>
                  <a:pt x="367" y="125"/>
                  <a:pt x="367" y="125"/>
                </a:cubicBezTo>
                <a:cubicBezTo>
                  <a:pt x="364" y="124"/>
                  <a:pt x="363" y="120"/>
                  <a:pt x="364" y="117"/>
                </a:cubicBezTo>
                <a:cubicBezTo>
                  <a:pt x="370" y="96"/>
                  <a:pt x="380" y="77"/>
                  <a:pt x="393" y="60"/>
                </a:cubicBezTo>
                <a:cubicBezTo>
                  <a:pt x="395" y="57"/>
                  <a:pt x="399" y="57"/>
                  <a:pt x="401" y="58"/>
                </a:cubicBezTo>
                <a:cubicBezTo>
                  <a:pt x="437" y="71"/>
                  <a:pt x="437" y="71"/>
                  <a:pt x="437" y="71"/>
                </a:cubicBezTo>
                <a:cubicBezTo>
                  <a:pt x="453" y="57"/>
                  <a:pt x="472" y="47"/>
                  <a:pt x="494" y="43"/>
                </a:cubicBezTo>
                <a:cubicBezTo>
                  <a:pt x="504" y="6"/>
                  <a:pt x="504" y="6"/>
                  <a:pt x="504" y="6"/>
                </a:cubicBezTo>
                <a:cubicBezTo>
                  <a:pt x="505" y="3"/>
                  <a:pt x="507" y="1"/>
                  <a:pt x="510" y="1"/>
                </a:cubicBezTo>
                <a:cubicBezTo>
                  <a:pt x="532" y="0"/>
                  <a:pt x="554" y="4"/>
                  <a:pt x="574" y="11"/>
                </a:cubicBezTo>
                <a:cubicBezTo>
                  <a:pt x="577" y="12"/>
                  <a:pt x="579" y="15"/>
                  <a:pt x="579" y="18"/>
                </a:cubicBezTo>
                <a:cubicBezTo>
                  <a:pt x="577" y="56"/>
                  <a:pt x="577" y="56"/>
                  <a:pt x="577" y="56"/>
                </a:cubicBezTo>
                <a:cubicBezTo>
                  <a:pt x="596" y="67"/>
                  <a:pt x="611" y="83"/>
                  <a:pt x="621" y="102"/>
                </a:cubicBezTo>
                <a:cubicBezTo>
                  <a:pt x="659" y="100"/>
                  <a:pt x="659" y="100"/>
                  <a:pt x="659" y="100"/>
                </a:cubicBezTo>
                <a:cubicBezTo>
                  <a:pt x="662" y="100"/>
                  <a:pt x="665" y="102"/>
                  <a:pt x="666" y="105"/>
                </a:cubicBezTo>
                <a:cubicBezTo>
                  <a:pt x="673" y="122"/>
                  <a:pt x="676" y="141"/>
                  <a:pt x="676" y="160"/>
                </a:cubicBezTo>
                <a:cubicBezTo>
                  <a:pt x="676" y="163"/>
                  <a:pt x="676" y="166"/>
                  <a:pt x="676" y="169"/>
                </a:cubicBezTo>
                <a:cubicBezTo>
                  <a:pt x="676" y="172"/>
                  <a:pt x="674" y="174"/>
                  <a:pt x="671" y="175"/>
                </a:cubicBezTo>
                <a:cubicBezTo>
                  <a:pt x="634" y="185"/>
                  <a:pt x="634" y="185"/>
                  <a:pt x="634" y="185"/>
                </a:cubicBezTo>
                <a:cubicBezTo>
                  <a:pt x="629" y="206"/>
                  <a:pt x="619" y="225"/>
                  <a:pt x="605" y="241"/>
                </a:cubicBezTo>
                <a:cubicBezTo>
                  <a:pt x="618" y="277"/>
                  <a:pt x="618" y="277"/>
                  <a:pt x="618" y="277"/>
                </a:cubicBezTo>
                <a:cubicBezTo>
                  <a:pt x="619" y="279"/>
                  <a:pt x="618" y="283"/>
                  <a:pt x="616" y="284"/>
                </a:cubicBezTo>
                <a:cubicBezTo>
                  <a:pt x="598" y="298"/>
                  <a:pt x="579" y="308"/>
                  <a:pt x="558" y="314"/>
                </a:cubicBezTo>
                <a:cubicBezTo>
                  <a:pt x="557" y="314"/>
                  <a:pt x="557" y="314"/>
                  <a:pt x="556" y="314"/>
                </a:cubicBezTo>
                <a:close/>
                <a:moveTo>
                  <a:pt x="533" y="264"/>
                </a:moveTo>
                <a:cubicBezTo>
                  <a:pt x="535" y="264"/>
                  <a:pt x="538" y="265"/>
                  <a:pt x="539" y="267"/>
                </a:cubicBezTo>
                <a:cubicBezTo>
                  <a:pt x="559" y="299"/>
                  <a:pt x="559" y="299"/>
                  <a:pt x="559" y="299"/>
                </a:cubicBezTo>
                <a:cubicBezTo>
                  <a:pt x="575" y="294"/>
                  <a:pt x="590" y="286"/>
                  <a:pt x="603" y="277"/>
                </a:cubicBezTo>
                <a:cubicBezTo>
                  <a:pt x="590" y="242"/>
                  <a:pt x="590" y="242"/>
                  <a:pt x="590" y="242"/>
                </a:cubicBezTo>
                <a:cubicBezTo>
                  <a:pt x="589" y="239"/>
                  <a:pt x="590" y="236"/>
                  <a:pt x="592" y="234"/>
                </a:cubicBezTo>
                <a:cubicBezTo>
                  <a:pt x="607" y="219"/>
                  <a:pt x="617" y="199"/>
                  <a:pt x="621" y="178"/>
                </a:cubicBezTo>
                <a:cubicBezTo>
                  <a:pt x="621" y="175"/>
                  <a:pt x="623" y="173"/>
                  <a:pt x="626" y="172"/>
                </a:cubicBezTo>
                <a:cubicBezTo>
                  <a:pt x="662" y="163"/>
                  <a:pt x="662" y="163"/>
                  <a:pt x="662" y="163"/>
                </a:cubicBezTo>
                <a:cubicBezTo>
                  <a:pt x="662" y="162"/>
                  <a:pt x="662" y="161"/>
                  <a:pt x="662" y="160"/>
                </a:cubicBezTo>
                <a:cubicBezTo>
                  <a:pt x="662" y="144"/>
                  <a:pt x="660" y="129"/>
                  <a:pt x="655" y="114"/>
                </a:cubicBezTo>
                <a:cubicBezTo>
                  <a:pt x="618" y="116"/>
                  <a:pt x="618" y="116"/>
                  <a:pt x="618" y="116"/>
                </a:cubicBezTo>
                <a:cubicBezTo>
                  <a:pt x="615" y="116"/>
                  <a:pt x="612" y="114"/>
                  <a:pt x="611" y="112"/>
                </a:cubicBezTo>
                <a:cubicBezTo>
                  <a:pt x="601" y="92"/>
                  <a:pt x="586" y="77"/>
                  <a:pt x="566" y="67"/>
                </a:cubicBezTo>
                <a:cubicBezTo>
                  <a:pt x="564" y="65"/>
                  <a:pt x="562" y="63"/>
                  <a:pt x="563" y="60"/>
                </a:cubicBezTo>
                <a:cubicBezTo>
                  <a:pt x="565" y="23"/>
                  <a:pt x="565" y="23"/>
                  <a:pt x="565" y="23"/>
                </a:cubicBezTo>
                <a:cubicBezTo>
                  <a:pt x="549" y="17"/>
                  <a:pt x="533" y="15"/>
                  <a:pt x="517" y="15"/>
                </a:cubicBezTo>
                <a:cubicBezTo>
                  <a:pt x="517" y="15"/>
                  <a:pt x="516" y="15"/>
                  <a:pt x="516" y="15"/>
                </a:cubicBezTo>
                <a:cubicBezTo>
                  <a:pt x="506" y="51"/>
                  <a:pt x="506" y="51"/>
                  <a:pt x="506" y="51"/>
                </a:cubicBezTo>
                <a:cubicBezTo>
                  <a:pt x="505" y="53"/>
                  <a:pt x="503" y="55"/>
                  <a:pt x="500" y="56"/>
                </a:cubicBezTo>
                <a:cubicBezTo>
                  <a:pt x="479" y="59"/>
                  <a:pt x="459" y="69"/>
                  <a:pt x="443" y="84"/>
                </a:cubicBezTo>
                <a:cubicBezTo>
                  <a:pt x="442" y="86"/>
                  <a:pt x="439" y="87"/>
                  <a:pt x="436" y="86"/>
                </a:cubicBezTo>
                <a:cubicBezTo>
                  <a:pt x="401" y="73"/>
                  <a:pt x="401" y="73"/>
                  <a:pt x="401" y="73"/>
                </a:cubicBezTo>
                <a:cubicBezTo>
                  <a:pt x="391" y="86"/>
                  <a:pt x="384" y="101"/>
                  <a:pt x="379" y="116"/>
                </a:cubicBezTo>
                <a:cubicBezTo>
                  <a:pt x="410" y="137"/>
                  <a:pt x="410" y="137"/>
                  <a:pt x="410" y="137"/>
                </a:cubicBezTo>
                <a:cubicBezTo>
                  <a:pt x="412" y="138"/>
                  <a:pt x="413" y="141"/>
                  <a:pt x="413" y="144"/>
                </a:cubicBezTo>
                <a:cubicBezTo>
                  <a:pt x="412" y="149"/>
                  <a:pt x="412" y="154"/>
                  <a:pt x="412" y="160"/>
                </a:cubicBezTo>
                <a:cubicBezTo>
                  <a:pt x="412" y="176"/>
                  <a:pt x="415" y="193"/>
                  <a:pt x="423" y="207"/>
                </a:cubicBezTo>
                <a:cubicBezTo>
                  <a:pt x="424" y="210"/>
                  <a:pt x="424" y="213"/>
                  <a:pt x="422" y="215"/>
                </a:cubicBezTo>
                <a:cubicBezTo>
                  <a:pt x="399" y="244"/>
                  <a:pt x="399" y="244"/>
                  <a:pt x="399" y="244"/>
                </a:cubicBezTo>
                <a:cubicBezTo>
                  <a:pt x="409" y="258"/>
                  <a:pt x="421" y="269"/>
                  <a:pt x="434" y="279"/>
                </a:cubicBezTo>
                <a:cubicBezTo>
                  <a:pt x="463" y="255"/>
                  <a:pt x="463" y="255"/>
                  <a:pt x="463" y="255"/>
                </a:cubicBezTo>
                <a:cubicBezTo>
                  <a:pt x="465" y="254"/>
                  <a:pt x="468" y="253"/>
                  <a:pt x="471" y="254"/>
                </a:cubicBezTo>
                <a:cubicBezTo>
                  <a:pt x="485" y="262"/>
                  <a:pt x="501" y="265"/>
                  <a:pt x="517" y="265"/>
                </a:cubicBezTo>
                <a:cubicBezTo>
                  <a:pt x="522" y="265"/>
                  <a:pt x="527" y="265"/>
                  <a:pt x="532" y="264"/>
                </a:cubicBezTo>
                <a:cubicBezTo>
                  <a:pt x="532" y="264"/>
                  <a:pt x="533" y="264"/>
                  <a:pt x="533" y="264"/>
                </a:cubicBezTo>
                <a:close/>
                <a:moveTo>
                  <a:pt x="517" y="199"/>
                </a:moveTo>
                <a:cubicBezTo>
                  <a:pt x="496" y="199"/>
                  <a:pt x="478" y="181"/>
                  <a:pt x="478" y="160"/>
                </a:cubicBezTo>
                <a:cubicBezTo>
                  <a:pt x="478" y="138"/>
                  <a:pt x="496" y="121"/>
                  <a:pt x="517" y="121"/>
                </a:cubicBezTo>
                <a:cubicBezTo>
                  <a:pt x="539" y="121"/>
                  <a:pt x="556" y="138"/>
                  <a:pt x="556" y="160"/>
                </a:cubicBezTo>
                <a:cubicBezTo>
                  <a:pt x="556" y="181"/>
                  <a:pt x="539" y="199"/>
                  <a:pt x="517" y="199"/>
                </a:cubicBezTo>
                <a:close/>
                <a:moveTo>
                  <a:pt x="517" y="135"/>
                </a:moveTo>
                <a:cubicBezTo>
                  <a:pt x="503" y="135"/>
                  <a:pt x="492" y="146"/>
                  <a:pt x="492" y="160"/>
                </a:cubicBezTo>
                <a:cubicBezTo>
                  <a:pt x="492" y="174"/>
                  <a:pt x="503" y="185"/>
                  <a:pt x="517" y="185"/>
                </a:cubicBezTo>
                <a:cubicBezTo>
                  <a:pt x="531" y="185"/>
                  <a:pt x="542" y="174"/>
                  <a:pt x="542" y="160"/>
                </a:cubicBezTo>
                <a:cubicBezTo>
                  <a:pt x="542" y="146"/>
                  <a:pt x="531" y="135"/>
                  <a:pt x="517" y="135"/>
                </a:cubicBezTo>
                <a:close/>
                <a:moveTo>
                  <a:pt x="258" y="678"/>
                </a:moveTo>
                <a:cubicBezTo>
                  <a:pt x="256" y="678"/>
                  <a:pt x="256" y="678"/>
                  <a:pt x="256" y="678"/>
                </a:cubicBezTo>
                <a:cubicBezTo>
                  <a:pt x="252" y="678"/>
                  <a:pt x="250" y="676"/>
                  <a:pt x="249" y="673"/>
                </a:cubicBezTo>
                <a:cubicBezTo>
                  <a:pt x="233" y="615"/>
                  <a:pt x="233" y="615"/>
                  <a:pt x="233" y="615"/>
                </a:cubicBezTo>
                <a:cubicBezTo>
                  <a:pt x="208" y="612"/>
                  <a:pt x="184" y="604"/>
                  <a:pt x="162" y="592"/>
                </a:cubicBezTo>
                <a:cubicBezTo>
                  <a:pt x="113" y="628"/>
                  <a:pt x="113" y="628"/>
                  <a:pt x="113" y="628"/>
                </a:cubicBezTo>
                <a:cubicBezTo>
                  <a:pt x="111" y="630"/>
                  <a:pt x="108" y="630"/>
                  <a:pt x="105" y="628"/>
                </a:cubicBezTo>
                <a:cubicBezTo>
                  <a:pt x="86" y="614"/>
                  <a:pt x="69" y="598"/>
                  <a:pt x="55" y="579"/>
                </a:cubicBezTo>
                <a:cubicBezTo>
                  <a:pt x="53" y="577"/>
                  <a:pt x="53" y="574"/>
                  <a:pt x="55" y="571"/>
                </a:cubicBezTo>
                <a:cubicBezTo>
                  <a:pt x="90" y="522"/>
                  <a:pt x="90" y="522"/>
                  <a:pt x="90" y="522"/>
                </a:cubicBezTo>
                <a:cubicBezTo>
                  <a:pt x="75" y="499"/>
                  <a:pt x="66" y="474"/>
                  <a:pt x="62" y="447"/>
                </a:cubicBezTo>
                <a:cubicBezTo>
                  <a:pt x="5" y="431"/>
                  <a:pt x="5" y="431"/>
                  <a:pt x="5" y="431"/>
                </a:cubicBezTo>
                <a:cubicBezTo>
                  <a:pt x="2" y="430"/>
                  <a:pt x="0" y="427"/>
                  <a:pt x="0" y="424"/>
                </a:cubicBezTo>
                <a:cubicBezTo>
                  <a:pt x="0" y="423"/>
                  <a:pt x="0" y="421"/>
                  <a:pt x="0" y="419"/>
                </a:cubicBezTo>
                <a:cubicBezTo>
                  <a:pt x="0" y="398"/>
                  <a:pt x="2" y="376"/>
                  <a:pt x="8" y="355"/>
                </a:cubicBezTo>
                <a:cubicBezTo>
                  <a:pt x="8" y="352"/>
                  <a:pt x="11" y="350"/>
                  <a:pt x="14" y="350"/>
                </a:cubicBezTo>
                <a:cubicBezTo>
                  <a:pt x="74" y="348"/>
                  <a:pt x="74" y="348"/>
                  <a:pt x="74" y="348"/>
                </a:cubicBezTo>
                <a:cubicBezTo>
                  <a:pt x="83" y="324"/>
                  <a:pt x="97" y="302"/>
                  <a:pt x="114" y="283"/>
                </a:cubicBezTo>
                <a:cubicBezTo>
                  <a:pt x="91" y="229"/>
                  <a:pt x="91" y="229"/>
                  <a:pt x="91" y="229"/>
                </a:cubicBezTo>
                <a:cubicBezTo>
                  <a:pt x="89" y="226"/>
                  <a:pt x="90" y="223"/>
                  <a:pt x="93" y="221"/>
                </a:cubicBezTo>
                <a:cubicBezTo>
                  <a:pt x="110" y="206"/>
                  <a:pt x="130" y="193"/>
                  <a:pt x="151" y="184"/>
                </a:cubicBezTo>
                <a:cubicBezTo>
                  <a:pt x="154" y="182"/>
                  <a:pt x="157" y="183"/>
                  <a:pt x="159" y="185"/>
                </a:cubicBezTo>
                <a:cubicBezTo>
                  <a:pt x="199" y="230"/>
                  <a:pt x="199" y="230"/>
                  <a:pt x="199" y="230"/>
                </a:cubicBezTo>
                <a:cubicBezTo>
                  <a:pt x="218" y="224"/>
                  <a:pt x="238" y="221"/>
                  <a:pt x="258" y="221"/>
                </a:cubicBezTo>
                <a:cubicBezTo>
                  <a:pt x="264" y="221"/>
                  <a:pt x="270" y="222"/>
                  <a:pt x="276" y="222"/>
                </a:cubicBezTo>
                <a:cubicBezTo>
                  <a:pt x="304" y="170"/>
                  <a:pt x="304" y="170"/>
                  <a:pt x="304" y="170"/>
                </a:cubicBezTo>
                <a:cubicBezTo>
                  <a:pt x="306" y="167"/>
                  <a:pt x="309" y="165"/>
                  <a:pt x="312" y="166"/>
                </a:cubicBezTo>
                <a:cubicBezTo>
                  <a:pt x="335" y="171"/>
                  <a:pt x="357" y="179"/>
                  <a:pt x="378" y="190"/>
                </a:cubicBezTo>
                <a:cubicBezTo>
                  <a:pt x="380" y="191"/>
                  <a:pt x="382" y="194"/>
                  <a:pt x="381" y="197"/>
                </a:cubicBezTo>
                <a:cubicBezTo>
                  <a:pt x="371" y="256"/>
                  <a:pt x="371" y="256"/>
                  <a:pt x="371" y="256"/>
                </a:cubicBezTo>
                <a:cubicBezTo>
                  <a:pt x="391" y="271"/>
                  <a:pt x="410" y="289"/>
                  <a:pt x="423" y="310"/>
                </a:cubicBezTo>
                <a:cubicBezTo>
                  <a:pt x="482" y="300"/>
                  <a:pt x="482" y="300"/>
                  <a:pt x="482" y="300"/>
                </a:cubicBezTo>
                <a:cubicBezTo>
                  <a:pt x="485" y="299"/>
                  <a:pt x="489" y="301"/>
                  <a:pt x="490" y="303"/>
                </a:cubicBezTo>
                <a:cubicBezTo>
                  <a:pt x="500" y="325"/>
                  <a:pt x="508" y="347"/>
                  <a:pt x="513" y="370"/>
                </a:cubicBezTo>
                <a:cubicBezTo>
                  <a:pt x="513" y="373"/>
                  <a:pt x="512" y="376"/>
                  <a:pt x="509" y="378"/>
                </a:cubicBezTo>
                <a:cubicBezTo>
                  <a:pt x="456" y="406"/>
                  <a:pt x="456" y="406"/>
                  <a:pt x="456" y="406"/>
                </a:cubicBezTo>
                <a:cubicBezTo>
                  <a:pt x="456" y="410"/>
                  <a:pt x="456" y="415"/>
                  <a:pt x="456" y="419"/>
                </a:cubicBezTo>
                <a:cubicBezTo>
                  <a:pt x="456" y="439"/>
                  <a:pt x="453" y="459"/>
                  <a:pt x="447" y="479"/>
                </a:cubicBezTo>
                <a:cubicBezTo>
                  <a:pt x="492" y="519"/>
                  <a:pt x="492" y="519"/>
                  <a:pt x="492" y="519"/>
                </a:cubicBezTo>
                <a:cubicBezTo>
                  <a:pt x="494" y="521"/>
                  <a:pt x="495" y="524"/>
                  <a:pt x="494" y="527"/>
                </a:cubicBezTo>
                <a:cubicBezTo>
                  <a:pt x="484" y="548"/>
                  <a:pt x="471" y="568"/>
                  <a:pt x="456" y="586"/>
                </a:cubicBezTo>
                <a:cubicBezTo>
                  <a:pt x="454" y="589"/>
                  <a:pt x="451" y="589"/>
                  <a:pt x="448" y="588"/>
                </a:cubicBezTo>
                <a:cubicBezTo>
                  <a:pt x="393" y="564"/>
                  <a:pt x="393" y="564"/>
                  <a:pt x="393" y="564"/>
                </a:cubicBezTo>
                <a:cubicBezTo>
                  <a:pt x="375" y="581"/>
                  <a:pt x="355" y="594"/>
                  <a:pt x="333" y="603"/>
                </a:cubicBezTo>
                <a:cubicBezTo>
                  <a:pt x="330" y="663"/>
                  <a:pt x="330" y="663"/>
                  <a:pt x="330" y="663"/>
                </a:cubicBezTo>
                <a:cubicBezTo>
                  <a:pt x="330" y="666"/>
                  <a:pt x="328" y="669"/>
                  <a:pt x="325" y="669"/>
                </a:cubicBezTo>
                <a:cubicBezTo>
                  <a:pt x="303" y="675"/>
                  <a:pt x="281" y="678"/>
                  <a:pt x="258" y="678"/>
                </a:cubicBezTo>
                <a:close/>
                <a:moveTo>
                  <a:pt x="161" y="576"/>
                </a:moveTo>
                <a:cubicBezTo>
                  <a:pt x="162" y="576"/>
                  <a:pt x="164" y="577"/>
                  <a:pt x="165" y="577"/>
                </a:cubicBezTo>
                <a:cubicBezTo>
                  <a:pt x="188" y="591"/>
                  <a:pt x="213" y="599"/>
                  <a:pt x="239" y="602"/>
                </a:cubicBezTo>
                <a:cubicBezTo>
                  <a:pt x="242" y="602"/>
                  <a:pt x="244" y="604"/>
                  <a:pt x="245" y="607"/>
                </a:cubicBezTo>
                <a:cubicBezTo>
                  <a:pt x="261" y="664"/>
                  <a:pt x="261" y="664"/>
                  <a:pt x="261" y="664"/>
                </a:cubicBezTo>
                <a:cubicBezTo>
                  <a:pt x="280" y="664"/>
                  <a:pt x="298" y="661"/>
                  <a:pt x="316" y="657"/>
                </a:cubicBezTo>
                <a:cubicBezTo>
                  <a:pt x="319" y="598"/>
                  <a:pt x="319" y="598"/>
                  <a:pt x="319" y="598"/>
                </a:cubicBezTo>
                <a:cubicBezTo>
                  <a:pt x="319" y="595"/>
                  <a:pt x="321" y="592"/>
                  <a:pt x="323" y="591"/>
                </a:cubicBezTo>
                <a:cubicBezTo>
                  <a:pt x="347" y="582"/>
                  <a:pt x="368" y="569"/>
                  <a:pt x="387" y="551"/>
                </a:cubicBezTo>
                <a:cubicBezTo>
                  <a:pt x="389" y="549"/>
                  <a:pt x="392" y="548"/>
                  <a:pt x="394" y="549"/>
                </a:cubicBezTo>
                <a:cubicBezTo>
                  <a:pt x="449" y="573"/>
                  <a:pt x="449" y="573"/>
                  <a:pt x="449" y="573"/>
                </a:cubicBezTo>
                <a:cubicBezTo>
                  <a:pt x="461" y="558"/>
                  <a:pt x="471" y="542"/>
                  <a:pt x="479" y="526"/>
                </a:cubicBezTo>
                <a:cubicBezTo>
                  <a:pt x="434" y="486"/>
                  <a:pt x="434" y="486"/>
                  <a:pt x="434" y="486"/>
                </a:cubicBezTo>
                <a:cubicBezTo>
                  <a:pt x="432" y="484"/>
                  <a:pt x="431" y="481"/>
                  <a:pt x="432" y="479"/>
                </a:cubicBezTo>
                <a:cubicBezTo>
                  <a:pt x="439" y="459"/>
                  <a:pt x="442" y="439"/>
                  <a:pt x="442" y="419"/>
                </a:cubicBezTo>
                <a:cubicBezTo>
                  <a:pt x="442" y="414"/>
                  <a:pt x="442" y="408"/>
                  <a:pt x="441" y="402"/>
                </a:cubicBezTo>
                <a:cubicBezTo>
                  <a:pt x="441" y="400"/>
                  <a:pt x="443" y="397"/>
                  <a:pt x="445" y="396"/>
                </a:cubicBezTo>
                <a:cubicBezTo>
                  <a:pt x="498" y="368"/>
                  <a:pt x="498" y="368"/>
                  <a:pt x="498" y="368"/>
                </a:cubicBezTo>
                <a:cubicBezTo>
                  <a:pt x="494" y="349"/>
                  <a:pt x="488" y="331"/>
                  <a:pt x="480" y="314"/>
                </a:cubicBezTo>
                <a:cubicBezTo>
                  <a:pt x="421" y="325"/>
                  <a:pt x="421" y="325"/>
                  <a:pt x="421" y="325"/>
                </a:cubicBezTo>
                <a:cubicBezTo>
                  <a:pt x="419" y="325"/>
                  <a:pt x="416" y="324"/>
                  <a:pt x="414" y="322"/>
                </a:cubicBezTo>
                <a:cubicBezTo>
                  <a:pt x="400" y="299"/>
                  <a:pt x="381" y="280"/>
                  <a:pt x="359" y="265"/>
                </a:cubicBezTo>
                <a:cubicBezTo>
                  <a:pt x="357" y="264"/>
                  <a:pt x="356" y="261"/>
                  <a:pt x="356" y="258"/>
                </a:cubicBezTo>
                <a:cubicBezTo>
                  <a:pt x="367" y="200"/>
                  <a:pt x="367" y="200"/>
                  <a:pt x="367" y="200"/>
                </a:cubicBezTo>
                <a:cubicBezTo>
                  <a:pt x="350" y="191"/>
                  <a:pt x="332" y="185"/>
                  <a:pt x="314" y="181"/>
                </a:cubicBezTo>
                <a:cubicBezTo>
                  <a:pt x="286" y="233"/>
                  <a:pt x="286" y="233"/>
                  <a:pt x="286" y="233"/>
                </a:cubicBezTo>
                <a:cubicBezTo>
                  <a:pt x="285" y="235"/>
                  <a:pt x="282" y="237"/>
                  <a:pt x="279" y="237"/>
                </a:cubicBezTo>
                <a:cubicBezTo>
                  <a:pt x="272" y="236"/>
                  <a:pt x="265" y="235"/>
                  <a:pt x="258" y="235"/>
                </a:cubicBezTo>
                <a:cubicBezTo>
                  <a:pt x="238" y="235"/>
                  <a:pt x="218" y="239"/>
                  <a:pt x="199" y="245"/>
                </a:cubicBezTo>
                <a:cubicBezTo>
                  <a:pt x="197" y="246"/>
                  <a:pt x="194" y="245"/>
                  <a:pt x="192" y="243"/>
                </a:cubicBezTo>
                <a:cubicBezTo>
                  <a:pt x="152" y="198"/>
                  <a:pt x="152" y="198"/>
                  <a:pt x="152" y="198"/>
                </a:cubicBezTo>
                <a:cubicBezTo>
                  <a:pt x="136" y="207"/>
                  <a:pt x="120" y="216"/>
                  <a:pt x="106" y="228"/>
                </a:cubicBezTo>
                <a:cubicBezTo>
                  <a:pt x="129" y="282"/>
                  <a:pt x="129" y="282"/>
                  <a:pt x="129" y="282"/>
                </a:cubicBezTo>
                <a:cubicBezTo>
                  <a:pt x="130" y="285"/>
                  <a:pt x="130" y="288"/>
                  <a:pt x="128" y="290"/>
                </a:cubicBezTo>
                <a:cubicBezTo>
                  <a:pt x="109" y="309"/>
                  <a:pt x="94" y="332"/>
                  <a:pt x="85" y="357"/>
                </a:cubicBezTo>
                <a:cubicBezTo>
                  <a:pt x="84" y="360"/>
                  <a:pt x="82" y="361"/>
                  <a:pt x="79" y="362"/>
                </a:cubicBezTo>
                <a:cubicBezTo>
                  <a:pt x="20" y="364"/>
                  <a:pt x="20" y="364"/>
                  <a:pt x="20" y="364"/>
                </a:cubicBezTo>
                <a:cubicBezTo>
                  <a:pt x="16" y="382"/>
                  <a:pt x="14" y="400"/>
                  <a:pt x="14" y="419"/>
                </a:cubicBezTo>
                <a:cubicBezTo>
                  <a:pt x="71" y="435"/>
                  <a:pt x="71" y="435"/>
                  <a:pt x="71" y="435"/>
                </a:cubicBezTo>
                <a:cubicBezTo>
                  <a:pt x="73" y="435"/>
                  <a:pt x="75" y="438"/>
                  <a:pt x="76" y="441"/>
                </a:cubicBezTo>
                <a:cubicBezTo>
                  <a:pt x="79" y="468"/>
                  <a:pt x="89" y="495"/>
                  <a:pt x="104" y="519"/>
                </a:cubicBezTo>
                <a:cubicBezTo>
                  <a:pt x="105" y="521"/>
                  <a:pt x="105" y="524"/>
                  <a:pt x="104" y="527"/>
                </a:cubicBezTo>
                <a:cubicBezTo>
                  <a:pt x="69" y="575"/>
                  <a:pt x="69" y="575"/>
                  <a:pt x="69" y="575"/>
                </a:cubicBezTo>
                <a:cubicBezTo>
                  <a:pt x="81" y="589"/>
                  <a:pt x="94" y="602"/>
                  <a:pt x="109" y="613"/>
                </a:cubicBezTo>
                <a:cubicBezTo>
                  <a:pt x="157" y="578"/>
                  <a:pt x="157" y="578"/>
                  <a:pt x="157" y="578"/>
                </a:cubicBezTo>
                <a:cubicBezTo>
                  <a:pt x="158" y="577"/>
                  <a:pt x="160" y="576"/>
                  <a:pt x="161" y="576"/>
                </a:cubicBezTo>
                <a:close/>
                <a:moveTo>
                  <a:pt x="258" y="484"/>
                </a:moveTo>
                <a:cubicBezTo>
                  <a:pt x="223" y="484"/>
                  <a:pt x="193" y="455"/>
                  <a:pt x="193" y="419"/>
                </a:cubicBezTo>
                <a:cubicBezTo>
                  <a:pt x="193" y="383"/>
                  <a:pt x="223" y="354"/>
                  <a:pt x="258" y="354"/>
                </a:cubicBezTo>
                <a:cubicBezTo>
                  <a:pt x="294" y="354"/>
                  <a:pt x="323" y="383"/>
                  <a:pt x="323" y="419"/>
                </a:cubicBezTo>
                <a:cubicBezTo>
                  <a:pt x="323" y="455"/>
                  <a:pt x="294" y="484"/>
                  <a:pt x="258" y="484"/>
                </a:cubicBezTo>
                <a:close/>
                <a:moveTo>
                  <a:pt x="258" y="368"/>
                </a:moveTo>
                <a:cubicBezTo>
                  <a:pt x="230" y="368"/>
                  <a:pt x="207" y="391"/>
                  <a:pt x="207" y="419"/>
                </a:cubicBezTo>
                <a:cubicBezTo>
                  <a:pt x="207" y="447"/>
                  <a:pt x="230" y="470"/>
                  <a:pt x="258" y="470"/>
                </a:cubicBezTo>
                <a:cubicBezTo>
                  <a:pt x="286" y="470"/>
                  <a:pt x="309" y="447"/>
                  <a:pt x="309" y="419"/>
                </a:cubicBezTo>
                <a:cubicBezTo>
                  <a:pt x="309" y="391"/>
                  <a:pt x="286" y="368"/>
                  <a:pt x="258" y="36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4" name="Oval 54">
            <a:extLst>
              <a:ext uri="{FF2B5EF4-FFF2-40B4-BE49-F238E27FC236}">
                <a16:creationId xmlns:a16="http://schemas.microsoft.com/office/drawing/2014/main" id="{230C2872-973B-4AE5-86CB-AE398B30FA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660" y="3937076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5" name="Freeform 125">
            <a:extLst>
              <a:ext uri="{FF2B5EF4-FFF2-40B4-BE49-F238E27FC236}">
                <a16:creationId xmlns:a16="http://schemas.microsoft.com/office/drawing/2014/main" id="{AD2CC379-80FD-443D-94F8-BFC9B3B10EEC}"/>
              </a:ext>
            </a:extLst>
          </p:cNvPr>
          <p:cNvSpPr>
            <a:spLocks noEditPoints="1"/>
          </p:cNvSpPr>
          <p:nvPr/>
        </p:nvSpPr>
        <p:spPr bwMode="auto">
          <a:xfrm>
            <a:off x="607500" y="4107374"/>
            <a:ext cx="489281" cy="483230"/>
          </a:xfrm>
          <a:custGeom>
            <a:avLst/>
            <a:gdLst>
              <a:gd name="T0" fmla="*/ 180 w 633"/>
              <a:gd name="T1" fmla="*/ 597 h 624"/>
              <a:gd name="T2" fmla="*/ 150 w 633"/>
              <a:gd name="T3" fmla="*/ 493 h 624"/>
              <a:gd name="T4" fmla="*/ 38 w 633"/>
              <a:gd name="T5" fmla="*/ 462 h 624"/>
              <a:gd name="T6" fmla="*/ 75 w 633"/>
              <a:gd name="T7" fmla="*/ 361 h 624"/>
              <a:gd name="T8" fmla="*/ 0 w 633"/>
              <a:gd name="T9" fmla="*/ 312 h 624"/>
              <a:gd name="T10" fmla="*/ 75 w 633"/>
              <a:gd name="T11" fmla="*/ 262 h 624"/>
              <a:gd name="T12" fmla="*/ 38 w 633"/>
              <a:gd name="T13" fmla="*/ 161 h 624"/>
              <a:gd name="T14" fmla="*/ 150 w 633"/>
              <a:gd name="T15" fmla="*/ 130 h 624"/>
              <a:gd name="T16" fmla="*/ 180 w 633"/>
              <a:gd name="T17" fmla="*/ 26 h 624"/>
              <a:gd name="T18" fmla="*/ 288 w 633"/>
              <a:gd name="T19" fmla="*/ 67 h 624"/>
              <a:gd name="T20" fmla="*/ 374 w 633"/>
              <a:gd name="T21" fmla="*/ 0 h 624"/>
              <a:gd name="T22" fmla="*/ 438 w 633"/>
              <a:gd name="T23" fmla="*/ 97 h 624"/>
              <a:gd name="T24" fmla="*/ 546 w 633"/>
              <a:gd name="T25" fmla="*/ 93 h 624"/>
              <a:gd name="T26" fmla="*/ 540 w 633"/>
              <a:gd name="T27" fmla="*/ 210 h 624"/>
              <a:gd name="T28" fmla="*/ 630 w 633"/>
              <a:gd name="T29" fmla="*/ 270 h 624"/>
              <a:gd name="T30" fmla="*/ 623 w 633"/>
              <a:gd name="T31" fmla="*/ 359 h 624"/>
              <a:gd name="T32" fmla="*/ 593 w 633"/>
              <a:gd name="T33" fmla="*/ 454 h 624"/>
              <a:gd name="T34" fmla="*/ 537 w 633"/>
              <a:gd name="T35" fmla="*/ 531 h 624"/>
              <a:gd name="T36" fmla="*/ 457 w 633"/>
              <a:gd name="T37" fmla="*/ 589 h 624"/>
              <a:gd name="T38" fmla="*/ 366 w 633"/>
              <a:gd name="T39" fmla="*/ 618 h 624"/>
              <a:gd name="T40" fmla="*/ 267 w 633"/>
              <a:gd name="T41" fmla="*/ 618 h 624"/>
              <a:gd name="T42" fmla="*/ 355 w 633"/>
              <a:gd name="T43" fmla="*/ 546 h 624"/>
              <a:gd name="T44" fmla="*/ 423 w 633"/>
              <a:gd name="T45" fmla="*/ 525 h 624"/>
              <a:gd name="T46" fmla="*/ 486 w 633"/>
              <a:gd name="T47" fmla="*/ 478 h 624"/>
              <a:gd name="T48" fmla="*/ 527 w 633"/>
              <a:gd name="T49" fmla="*/ 421 h 624"/>
              <a:gd name="T50" fmla="*/ 552 w 633"/>
              <a:gd name="T51" fmla="*/ 347 h 624"/>
              <a:gd name="T52" fmla="*/ 617 w 633"/>
              <a:gd name="T53" fmla="*/ 278 h 624"/>
              <a:gd name="T54" fmla="*/ 525 w 633"/>
              <a:gd name="T55" fmla="*/ 210 h 624"/>
              <a:gd name="T56" fmla="*/ 540 w 633"/>
              <a:gd name="T57" fmla="*/ 108 h 624"/>
              <a:gd name="T58" fmla="*/ 426 w 633"/>
              <a:gd name="T59" fmla="*/ 107 h 624"/>
              <a:gd name="T60" fmla="*/ 377 w 633"/>
              <a:gd name="T61" fmla="*/ 15 h 624"/>
              <a:gd name="T62" fmla="*/ 285 w 633"/>
              <a:gd name="T63" fmla="*/ 82 h 624"/>
              <a:gd name="T64" fmla="*/ 191 w 633"/>
              <a:gd name="T65" fmla="*/ 36 h 624"/>
              <a:gd name="T66" fmla="*/ 156 w 633"/>
              <a:gd name="T67" fmla="*/ 144 h 624"/>
              <a:gd name="T68" fmla="*/ 53 w 633"/>
              <a:gd name="T69" fmla="*/ 162 h 624"/>
              <a:gd name="T70" fmla="*/ 88 w 633"/>
              <a:gd name="T71" fmla="*/ 271 h 624"/>
              <a:gd name="T72" fmla="*/ 14 w 633"/>
              <a:gd name="T73" fmla="*/ 312 h 624"/>
              <a:gd name="T74" fmla="*/ 88 w 633"/>
              <a:gd name="T75" fmla="*/ 353 h 624"/>
              <a:gd name="T76" fmla="*/ 53 w 633"/>
              <a:gd name="T77" fmla="*/ 461 h 624"/>
              <a:gd name="T78" fmla="*/ 156 w 633"/>
              <a:gd name="T79" fmla="*/ 479 h 624"/>
              <a:gd name="T80" fmla="*/ 191 w 633"/>
              <a:gd name="T81" fmla="*/ 587 h 624"/>
              <a:gd name="T82" fmla="*/ 285 w 633"/>
              <a:gd name="T83" fmla="*/ 542 h 624"/>
              <a:gd name="T84" fmla="*/ 316 w 633"/>
              <a:gd name="T85" fmla="*/ 409 h 624"/>
              <a:gd name="T86" fmla="*/ 414 w 633"/>
              <a:gd name="T87" fmla="*/ 312 h 624"/>
              <a:gd name="T88" fmla="*/ 233 w 633"/>
              <a:gd name="T89" fmla="*/ 312 h 624"/>
              <a:gd name="T90" fmla="*/ 316 w 633"/>
              <a:gd name="T91" fmla="*/ 228 h 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33" h="624">
                <a:moveTo>
                  <a:pt x="260" y="623"/>
                </a:moveTo>
                <a:cubicBezTo>
                  <a:pt x="260" y="623"/>
                  <a:pt x="259" y="623"/>
                  <a:pt x="259" y="623"/>
                </a:cubicBezTo>
                <a:cubicBezTo>
                  <a:pt x="232" y="618"/>
                  <a:pt x="205" y="609"/>
                  <a:pt x="180" y="597"/>
                </a:cubicBezTo>
                <a:cubicBezTo>
                  <a:pt x="177" y="596"/>
                  <a:pt x="175" y="592"/>
                  <a:pt x="176" y="589"/>
                </a:cubicBezTo>
                <a:cubicBezTo>
                  <a:pt x="195" y="526"/>
                  <a:pt x="195" y="526"/>
                  <a:pt x="195" y="526"/>
                </a:cubicBezTo>
                <a:cubicBezTo>
                  <a:pt x="179" y="517"/>
                  <a:pt x="164" y="506"/>
                  <a:pt x="150" y="493"/>
                </a:cubicBezTo>
                <a:cubicBezTo>
                  <a:pt x="96" y="531"/>
                  <a:pt x="96" y="531"/>
                  <a:pt x="96" y="531"/>
                </a:cubicBezTo>
                <a:cubicBezTo>
                  <a:pt x="93" y="533"/>
                  <a:pt x="89" y="532"/>
                  <a:pt x="87" y="530"/>
                </a:cubicBezTo>
                <a:cubicBezTo>
                  <a:pt x="68" y="510"/>
                  <a:pt x="51" y="487"/>
                  <a:pt x="38" y="462"/>
                </a:cubicBezTo>
                <a:cubicBezTo>
                  <a:pt x="36" y="459"/>
                  <a:pt x="37" y="456"/>
                  <a:pt x="40" y="454"/>
                </a:cubicBezTo>
                <a:cubicBezTo>
                  <a:pt x="92" y="414"/>
                  <a:pt x="92" y="414"/>
                  <a:pt x="92" y="414"/>
                </a:cubicBezTo>
                <a:cubicBezTo>
                  <a:pt x="84" y="397"/>
                  <a:pt x="79" y="379"/>
                  <a:pt x="75" y="361"/>
                </a:cubicBezTo>
                <a:cubicBezTo>
                  <a:pt x="9" y="359"/>
                  <a:pt x="9" y="359"/>
                  <a:pt x="9" y="359"/>
                </a:cubicBezTo>
                <a:cubicBezTo>
                  <a:pt x="6" y="359"/>
                  <a:pt x="3" y="357"/>
                  <a:pt x="2" y="353"/>
                </a:cubicBezTo>
                <a:cubicBezTo>
                  <a:pt x="1" y="339"/>
                  <a:pt x="0" y="325"/>
                  <a:pt x="0" y="312"/>
                </a:cubicBezTo>
                <a:cubicBezTo>
                  <a:pt x="0" y="298"/>
                  <a:pt x="1" y="284"/>
                  <a:pt x="2" y="270"/>
                </a:cubicBezTo>
                <a:cubicBezTo>
                  <a:pt x="3" y="267"/>
                  <a:pt x="6" y="264"/>
                  <a:pt x="9" y="264"/>
                </a:cubicBezTo>
                <a:cubicBezTo>
                  <a:pt x="75" y="262"/>
                  <a:pt x="75" y="262"/>
                  <a:pt x="75" y="262"/>
                </a:cubicBezTo>
                <a:cubicBezTo>
                  <a:pt x="79" y="244"/>
                  <a:pt x="84" y="226"/>
                  <a:pt x="92" y="210"/>
                </a:cubicBezTo>
                <a:cubicBezTo>
                  <a:pt x="40" y="170"/>
                  <a:pt x="40" y="170"/>
                  <a:pt x="40" y="170"/>
                </a:cubicBezTo>
                <a:cubicBezTo>
                  <a:pt x="37" y="168"/>
                  <a:pt x="36" y="164"/>
                  <a:pt x="38" y="161"/>
                </a:cubicBezTo>
                <a:cubicBezTo>
                  <a:pt x="51" y="136"/>
                  <a:pt x="68" y="114"/>
                  <a:pt x="87" y="93"/>
                </a:cubicBezTo>
                <a:cubicBezTo>
                  <a:pt x="89" y="91"/>
                  <a:pt x="93" y="91"/>
                  <a:pt x="96" y="93"/>
                </a:cubicBezTo>
                <a:cubicBezTo>
                  <a:pt x="150" y="130"/>
                  <a:pt x="150" y="130"/>
                  <a:pt x="150" y="130"/>
                </a:cubicBezTo>
                <a:cubicBezTo>
                  <a:pt x="164" y="117"/>
                  <a:pt x="179" y="106"/>
                  <a:pt x="195" y="97"/>
                </a:cubicBezTo>
                <a:cubicBezTo>
                  <a:pt x="176" y="34"/>
                  <a:pt x="176" y="34"/>
                  <a:pt x="176" y="34"/>
                </a:cubicBezTo>
                <a:cubicBezTo>
                  <a:pt x="175" y="31"/>
                  <a:pt x="177" y="27"/>
                  <a:pt x="180" y="26"/>
                </a:cubicBezTo>
                <a:cubicBezTo>
                  <a:pt x="205" y="14"/>
                  <a:pt x="231" y="5"/>
                  <a:pt x="259" y="0"/>
                </a:cubicBezTo>
                <a:cubicBezTo>
                  <a:pt x="262" y="0"/>
                  <a:pt x="266" y="2"/>
                  <a:pt x="267" y="5"/>
                </a:cubicBezTo>
                <a:cubicBezTo>
                  <a:pt x="288" y="67"/>
                  <a:pt x="288" y="67"/>
                  <a:pt x="288" y="67"/>
                </a:cubicBezTo>
                <a:cubicBezTo>
                  <a:pt x="307" y="65"/>
                  <a:pt x="326" y="65"/>
                  <a:pt x="344" y="67"/>
                </a:cubicBezTo>
                <a:cubicBezTo>
                  <a:pt x="366" y="5"/>
                  <a:pt x="366" y="5"/>
                  <a:pt x="366" y="5"/>
                </a:cubicBezTo>
                <a:cubicBezTo>
                  <a:pt x="367" y="2"/>
                  <a:pt x="370" y="0"/>
                  <a:pt x="374" y="0"/>
                </a:cubicBezTo>
                <a:cubicBezTo>
                  <a:pt x="401" y="5"/>
                  <a:pt x="428" y="14"/>
                  <a:pt x="453" y="26"/>
                </a:cubicBezTo>
                <a:cubicBezTo>
                  <a:pt x="456" y="27"/>
                  <a:pt x="458" y="31"/>
                  <a:pt x="457" y="34"/>
                </a:cubicBezTo>
                <a:cubicBezTo>
                  <a:pt x="438" y="97"/>
                  <a:pt x="438" y="97"/>
                  <a:pt x="438" y="97"/>
                </a:cubicBezTo>
                <a:cubicBezTo>
                  <a:pt x="454" y="106"/>
                  <a:pt x="469" y="117"/>
                  <a:pt x="483" y="130"/>
                </a:cubicBezTo>
                <a:cubicBezTo>
                  <a:pt x="537" y="93"/>
                  <a:pt x="537" y="93"/>
                  <a:pt x="537" y="93"/>
                </a:cubicBezTo>
                <a:cubicBezTo>
                  <a:pt x="539" y="91"/>
                  <a:pt x="543" y="91"/>
                  <a:pt x="546" y="93"/>
                </a:cubicBezTo>
                <a:cubicBezTo>
                  <a:pt x="565" y="114"/>
                  <a:pt x="581" y="136"/>
                  <a:pt x="595" y="161"/>
                </a:cubicBezTo>
                <a:cubicBezTo>
                  <a:pt x="596" y="164"/>
                  <a:pt x="596" y="168"/>
                  <a:pt x="593" y="170"/>
                </a:cubicBezTo>
                <a:cubicBezTo>
                  <a:pt x="540" y="210"/>
                  <a:pt x="540" y="210"/>
                  <a:pt x="540" y="210"/>
                </a:cubicBezTo>
                <a:cubicBezTo>
                  <a:pt x="548" y="226"/>
                  <a:pt x="554" y="244"/>
                  <a:pt x="558" y="262"/>
                </a:cubicBezTo>
                <a:cubicBezTo>
                  <a:pt x="623" y="264"/>
                  <a:pt x="623" y="264"/>
                  <a:pt x="623" y="264"/>
                </a:cubicBezTo>
                <a:cubicBezTo>
                  <a:pt x="627" y="264"/>
                  <a:pt x="630" y="267"/>
                  <a:pt x="630" y="270"/>
                </a:cubicBezTo>
                <a:cubicBezTo>
                  <a:pt x="632" y="284"/>
                  <a:pt x="633" y="298"/>
                  <a:pt x="633" y="312"/>
                </a:cubicBezTo>
                <a:cubicBezTo>
                  <a:pt x="633" y="325"/>
                  <a:pt x="632" y="339"/>
                  <a:pt x="630" y="353"/>
                </a:cubicBezTo>
                <a:cubicBezTo>
                  <a:pt x="630" y="357"/>
                  <a:pt x="627" y="359"/>
                  <a:pt x="623" y="359"/>
                </a:cubicBezTo>
                <a:cubicBezTo>
                  <a:pt x="558" y="361"/>
                  <a:pt x="558" y="361"/>
                  <a:pt x="558" y="361"/>
                </a:cubicBezTo>
                <a:cubicBezTo>
                  <a:pt x="554" y="379"/>
                  <a:pt x="548" y="397"/>
                  <a:pt x="540" y="414"/>
                </a:cubicBezTo>
                <a:cubicBezTo>
                  <a:pt x="593" y="454"/>
                  <a:pt x="593" y="454"/>
                  <a:pt x="593" y="454"/>
                </a:cubicBezTo>
                <a:cubicBezTo>
                  <a:pt x="596" y="456"/>
                  <a:pt x="596" y="459"/>
                  <a:pt x="595" y="462"/>
                </a:cubicBezTo>
                <a:cubicBezTo>
                  <a:pt x="581" y="487"/>
                  <a:pt x="565" y="509"/>
                  <a:pt x="546" y="530"/>
                </a:cubicBezTo>
                <a:cubicBezTo>
                  <a:pt x="543" y="532"/>
                  <a:pt x="539" y="533"/>
                  <a:pt x="537" y="531"/>
                </a:cubicBezTo>
                <a:cubicBezTo>
                  <a:pt x="483" y="493"/>
                  <a:pt x="483" y="493"/>
                  <a:pt x="483" y="493"/>
                </a:cubicBezTo>
                <a:cubicBezTo>
                  <a:pt x="469" y="506"/>
                  <a:pt x="454" y="517"/>
                  <a:pt x="438" y="526"/>
                </a:cubicBezTo>
                <a:cubicBezTo>
                  <a:pt x="457" y="589"/>
                  <a:pt x="457" y="589"/>
                  <a:pt x="457" y="589"/>
                </a:cubicBezTo>
                <a:cubicBezTo>
                  <a:pt x="458" y="592"/>
                  <a:pt x="456" y="596"/>
                  <a:pt x="453" y="597"/>
                </a:cubicBezTo>
                <a:cubicBezTo>
                  <a:pt x="428" y="609"/>
                  <a:pt x="401" y="618"/>
                  <a:pt x="374" y="623"/>
                </a:cubicBezTo>
                <a:cubicBezTo>
                  <a:pt x="370" y="624"/>
                  <a:pt x="367" y="622"/>
                  <a:pt x="366" y="618"/>
                </a:cubicBezTo>
                <a:cubicBezTo>
                  <a:pt x="344" y="556"/>
                  <a:pt x="344" y="556"/>
                  <a:pt x="344" y="556"/>
                </a:cubicBezTo>
                <a:cubicBezTo>
                  <a:pt x="326" y="558"/>
                  <a:pt x="307" y="558"/>
                  <a:pt x="288" y="556"/>
                </a:cubicBezTo>
                <a:cubicBezTo>
                  <a:pt x="267" y="618"/>
                  <a:pt x="267" y="618"/>
                  <a:pt x="267" y="618"/>
                </a:cubicBezTo>
                <a:cubicBezTo>
                  <a:pt x="266" y="621"/>
                  <a:pt x="263" y="623"/>
                  <a:pt x="260" y="623"/>
                </a:cubicBezTo>
                <a:close/>
                <a:moveTo>
                  <a:pt x="349" y="542"/>
                </a:moveTo>
                <a:cubicBezTo>
                  <a:pt x="352" y="542"/>
                  <a:pt x="354" y="543"/>
                  <a:pt x="355" y="546"/>
                </a:cubicBezTo>
                <a:cubicBezTo>
                  <a:pt x="377" y="608"/>
                  <a:pt x="377" y="608"/>
                  <a:pt x="377" y="608"/>
                </a:cubicBezTo>
                <a:cubicBezTo>
                  <a:pt x="399" y="604"/>
                  <a:pt x="421" y="597"/>
                  <a:pt x="441" y="587"/>
                </a:cubicBezTo>
                <a:cubicBezTo>
                  <a:pt x="423" y="525"/>
                  <a:pt x="423" y="525"/>
                  <a:pt x="423" y="525"/>
                </a:cubicBezTo>
                <a:cubicBezTo>
                  <a:pt x="422" y="521"/>
                  <a:pt x="423" y="518"/>
                  <a:pt x="426" y="516"/>
                </a:cubicBezTo>
                <a:cubicBezTo>
                  <a:pt x="445" y="506"/>
                  <a:pt x="462" y="494"/>
                  <a:pt x="477" y="479"/>
                </a:cubicBezTo>
                <a:cubicBezTo>
                  <a:pt x="479" y="477"/>
                  <a:pt x="483" y="477"/>
                  <a:pt x="486" y="478"/>
                </a:cubicBezTo>
                <a:cubicBezTo>
                  <a:pt x="540" y="516"/>
                  <a:pt x="540" y="516"/>
                  <a:pt x="540" y="516"/>
                </a:cubicBezTo>
                <a:cubicBezTo>
                  <a:pt x="555" y="499"/>
                  <a:pt x="568" y="481"/>
                  <a:pt x="579" y="461"/>
                </a:cubicBezTo>
                <a:cubicBezTo>
                  <a:pt x="527" y="421"/>
                  <a:pt x="527" y="421"/>
                  <a:pt x="527" y="421"/>
                </a:cubicBezTo>
                <a:cubicBezTo>
                  <a:pt x="525" y="419"/>
                  <a:pt x="524" y="416"/>
                  <a:pt x="525" y="413"/>
                </a:cubicBezTo>
                <a:cubicBezTo>
                  <a:pt x="535" y="394"/>
                  <a:pt x="541" y="373"/>
                  <a:pt x="545" y="353"/>
                </a:cubicBezTo>
                <a:cubicBezTo>
                  <a:pt x="545" y="349"/>
                  <a:pt x="548" y="347"/>
                  <a:pt x="552" y="347"/>
                </a:cubicBezTo>
                <a:cubicBezTo>
                  <a:pt x="617" y="345"/>
                  <a:pt x="617" y="345"/>
                  <a:pt x="617" y="345"/>
                </a:cubicBezTo>
                <a:cubicBezTo>
                  <a:pt x="618" y="334"/>
                  <a:pt x="619" y="323"/>
                  <a:pt x="619" y="312"/>
                </a:cubicBezTo>
                <a:cubicBezTo>
                  <a:pt x="619" y="300"/>
                  <a:pt x="618" y="289"/>
                  <a:pt x="617" y="278"/>
                </a:cubicBezTo>
                <a:cubicBezTo>
                  <a:pt x="552" y="276"/>
                  <a:pt x="552" y="276"/>
                  <a:pt x="552" y="276"/>
                </a:cubicBezTo>
                <a:cubicBezTo>
                  <a:pt x="548" y="276"/>
                  <a:pt x="545" y="274"/>
                  <a:pt x="545" y="271"/>
                </a:cubicBezTo>
                <a:cubicBezTo>
                  <a:pt x="541" y="250"/>
                  <a:pt x="535" y="229"/>
                  <a:pt x="525" y="210"/>
                </a:cubicBezTo>
                <a:cubicBezTo>
                  <a:pt x="524" y="207"/>
                  <a:pt x="525" y="204"/>
                  <a:pt x="527" y="202"/>
                </a:cubicBezTo>
                <a:cubicBezTo>
                  <a:pt x="579" y="162"/>
                  <a:pt x="579" y="162"/>
                  <a:pt x="579" y="162"/>
                </a:cubicBezTo>
                <a:cubicBezTo>
                  <a:pt x="568" y="143"/>
                  <a:pt x="555" y="124"/>
                  <a:pt x="540" y="108"/>
                </a:cubicBezTo>
                <a:cubicBezTo>
                  <a:pt x="486" y="145"/>
                  <a:pt x="486" y="145"/>
                  <a:pt x="486" y="145"/>
                </a:cubicBezTo>
                <a:cubicBezTo>
                  <a:pt x="483" y="147"/>
                  <a:pt x="479" y="146"/>
                  <a:pt x="477" y="144"/>
                </a:cubicBezTo>
                <a:cubicBezTo>
                  <a:pt x="462" y="129"/>
                  <a:pt x="445" y="117"/>
                  <a:pt x="426" y="107"/>
                </a:cubicBezTo>
                <a:cubicBezTo>
                  <a:pt x="423" y="105"/>
                  <a:pt x="422" y="102"/>
                  <a:pt x="423" y="99"/>
                </a:cubicBezTo>
                <a:cubicBezTo>
                  <a:pt x="441" y="36"/>
                  <a:pt x="441" y="36"/>
                  <a:pt x="441" y="36"/>
                </a:cubicBezTo>
                <a:cubicBezTo>
                  <a:pt x="421" y="27"/>
                  <a:pt x="399" y="20"/>
                  <a:pt x="377" y="15"/>
                </a:cubicBezTo>
                <a:cubicBezTo>
                  <a:pt x="355" y="77"/>
                  <a:pt x="355" y="77"/>
                  <a:pt x="355" y="77"/>
                </a:cubicBezTo>
                <a:cubicBezTo>
                  <a:pt x="354" y="80"/>
                  <a:pt x="351" y="82"/>
                  <a:pt x="348" y="82"/>
                </a:cubicBezTo>
                <a:cubicBezTo>
                  <a:pt x="327" y="79"/>
                  <a:pt x="306" y="79"/>
                  <a:pt x="285" y="82"/>
                </a:cubicBezTo>
                <a:cubicBezTo>
                  <a:pt x="281" y="82"/>
                  <a:pt x="278" y="80"/>
                  <a:pt x="277" y="77"/>
                </a:cubicBezTo>
                <a:cubicBezTo>
                  <a:pt x="256" y="15"/>
                  <a:pt x="256" y="15"/>
                  <a:pt x="256" y="15"/>
                </a:cubicBezTo>
                <a:cubicBezTo>
                  <a:pt x="233" y="20"/>
                  <a:pt x="212" y="27"/>
                  <a:pt x="191" y="36"/>
                </a:cubicBezTo>
                <a:cubicBezTo>
                  <a:pt x="210" y="99"/>
                  <a:pt x="210" y="99"/>
                  <a:pt x="210" y="99"/>
                </a:cubicBezTo>
                <a:cubicBezTo>
                  <a:pt x="211" y="102"/>
                  <a:pt x="210" y="105"/>
                  <a:pt x="207" y="107"/>
                </a:cubicBezTo>
                <a:cubicBezTo>
                  <a:pt x="188" y="117"/>
                  <a:pt x="171" y="129"/>
                  <a:pt x="156" y="144"/>
                </a:cubicBezTo>
                <a:cubicBezTo>
                  <a:pt x="153" y="146"/>
                  <a:pt x="149" y="147"/>
                  <a:pt x="147" y="145"/>
                </a:cubicBezTo>
                <a:cubicBezTo>
                  <a:pt x="93" y="108"/>
                  <a:pt x="93" y="108"/>
                  <a:pt x="93" y="108"/>
                </a:cubicBezTo>
                <a:cubicBezTo>
                  <a:pt x="78" y="124"/>
                  <a:pt x="64" y="143"/>
                  <a:pt x="53" y="162"/>
                </a:cubicBezTo>
                <a:cubicBezTo>
                  <a:pt x="105" y="202"/>
                  <a:pt x="105" y="202"/>
                  <a:pt x="105" y="202"/>
                </a:cubicBezTo>
                <a:cubicBezTo>
                  <a:pt x="108" y="204"/>
                  <a:pt x="109" y="207"/>
                  <a:pt x="107" y="210"/>
                </a:cubicBezTo>
                <a:cubicBezTo>
                  <a:pt x="98" y="230"/>
                  <a:pt x="91" y="250"/>
                  <a:pt x="88" y="271"/>
                </a:cubicBezTo>
                <a:cubicBezTo>
                  <a:pt x="87" y="274"/>
                  <a:pt x="84" y="276"/>
                  <a:pt x="81" y="276"/>
                </a:cubicBezTo>
                <a:cubicBezTo>
                  <a:pt x="16" y="278"/>
                  <a:pt x="16" y="278"/>
                  <a:pt x="16" y="278"/>
                </a:cubicBezTo>
                <a:cubicBezTo>
                  <a:pt x="14" y="289"/>
                  <a:pt x="14" y="300"/>
                  <a:pt x="14" y="312"/>
                </a:cubicBezTo>
                <a:cubicBezTo>
                  <a:pt x="14" y="323"/>
                  <a:pt x="14" y="334"/>
                  <a:pt x="16" y="345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4" y="347"/>
                  <a:pt x="87" y="349"/>
                  <a:pt x="88" y="353"/>
                </a:cubicBezTo>
                <a:cubicBezTo>
                  <a:pt x="91" y="373"/>
                  <a:pt x="98" y="394"/>
                  <a:pt x="107" y="413"/>
                </a:cubicBezTo>
                <a:cubicBezTo>
                  <a:pt x="109" y="416"/>
                  <a:pt x="108" y="419"/>
                  <a:pt x="105" y="421"/>
                </a:cubicBezTo>
                <a:cubicBezTo>
                  <a:pt x="53" y="461"/>
                  <a:pt x="53" y="461"/>
                  <a:pt x="53" y="461"/>
                </a:cubicBezTo>
                <a:cubicBezTo>
                  <a:pt x="64" y="481"/>
                  <a:pt x="78" y="499"/>
                  <a:pt x="93" y="516"/>
                </a:cubicBezTo>
                <a:cubicBezTo>
                  <a:pt x="147" y="478"/>
                  <a:pt x="147" y="478"/>
                  <a:pt x="147" y="478"/>
                </a:cubicBezTo>
                <a:cubicBezTo>
                  <a:pt x="149" y="477"/>
                  <a:pt x="153" y="477"/>
                  <a:pt x="156" y="479"/>
                </a:cubicBezTo>
                <a:cubicBezTo>
                  <a:pt x="171" y="494"/>
                  <a:pt x="188" y="506"/>
                  <a:pt x="207" y="516"/>
                </a:cubicBezTo>
                <a:cubicBezTo>
                  <a:pt x="210" y="518"/>
                  <a:pt x="211" y="521"/>
                  <a:pt x="210" y="525"/>
                </a:cubicBezTo>
                <a:cubicBezTo>
                  <a:pt x="191" y="587"/>
                  <a:pt x="191" y="587"/>
                  <a:pt x="191" y="587"/>
                </a:cubicBezTo>
                <a:cubicBezTo>
                  <a:pt x="212" y="597"/>
                  <a:pt x="233" y="604"/>
                  <a:pt x="256" y="608"/>
                </a:cubicBezTo>
                <a:cubicBezTo>
                  <a:pt x="277" y="546"/>
                  <a:pt x="277" y="546"/>
                  <a:pt x="277" y="546"/>
                </a:cubicBezTo>
                <a:cubicBezTo>
                  <a:pt x="278" y="543"/>
                  <a:pt x="281" y="541"/>
                  <a:pt x="285" y="542"/>
                </a:cubicBezTo>
                <a:cubicBezTo>
                  <a:pt x="306" y="545"/>
                  <a:pt x="327" y="545"/>
                  <a:pt x="348" y="542"/>
                </a:cubicBezTo>
                <a:cubicBezTo>
                  <a:pt x="348" y="542"/>
                  <a:pt x="348" y="542"/>
                  <a:pt x="349" y="542"/>
                </a:cubicBezTo>
                <a:close/>
                <a:moveTo>
                  <a:pt x="316" y="409"/>
                </a:moveTo>
                <a:cubicBezTo>
                  <a:pt x="263" y="409"/>
                  <a:pt x="219" y="365"/>
                  <a:pt x="219" y="312"/>
                </a:cubicBezTo>
                <a:cubicBezTo>
                  <a:pt x="219" y="258"/>
                  <a:pt x="263" y="214"/>
                  <a:pt x="316" y="214"/>
                </a:cubicBezTo>
                <a:cubicBezTo>
                  <a:pt x="370" y="214"/>
                  <a:pt x="414" y="258"/>
                  <a:pt x="414" y="312"/>
                </a:cubicBezTo>
                <a:cubicBezTo>
                  <a:pt x="414" y="365"/>
                  <a:pt x="370" y="409"/>
                  <a:pt x="316" y="409"/>
                </a:cubicBezTo>
                <a:close/>
                <a:moveTo>
                  <a:pt x="316" y="228"/>
                </a:moveTo>
                <a:cubicBezTo>
                  <a:pt x="270" y="228"/>
                  <a:pt x="233" y="266"/>
                  <a:pt x="233" y="312"/>
                </a:cubicBezTo>
                <a:cubicBezTo>
                  <a:pt x="233" y="358"/>
                  <a:pt x="270" y="395"/>
                  <a:pt x="316" y="395"/>
                </a:cubicBezTo>
                <a:cubicBezTo>
                  <a:pt x="362" y="395"/>
                  <a:pt x="400" y="358"/>
                  <a:pt x="400" y="312"/>
                </a:cubicBezTo>
                <a:cubicBezTo>
                  <a:pt x="400" y="266"/>
                  <a:pt x="362" y="228"/>
                  <a:pt x="316" y="22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6" name="Oval 60">
            <a:extLst>
              <a:ext uri="{FF2B5EF4-FFF2-40B4-BE49-F238E27FC236}">
                <a16:creationId xmlns:a16="http://schemas.microsoft.com/office/drawing/2014/main" id="{31B92ABE-2D4E-423E-B6A1-1D19878719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2575" y="1868860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7" name="Freeform 81">
            <a:extLst>
              <a:ext uri="{FF2B5EF4-FFF2-40B4-BE49-F238E27FC236}">
                <a16:creationId xmlns:a16="http://schemas.microsoft.com/office/drawing/2014/main" id="{524764C4-5BB0-4198-B71C-918FF479E5E2}"/>
              </a:ext>
            </a:extLst>
          </p:cNvPr>
          <p:cNvSpPr>
            <a:spLocks noEditPoints="1"/>
          </p:cNvSpPr>
          <p:nvPr/>
        </p:nvSpPr>
        <p:spPr bwMode="auto">
          <a:xfrm>
            <a:off x="8190654" y="1987290"/>
            <a:ext cx="466805" cy="586100"/>
          </a:xfrm>
          <a:custGeom>
            <a:avLst/>
            <a:gdLst>
              <a:gd name="T0" fmla="*/ 596 w 603"/>
              <a:gd name="T1" fmla="*/ 239 h 757"/>
              <a:gd name="T2" fmla="*/ 578 w 603"/>
              <a:gd name="T3" fmla="*/ 180 h 757"/>
              <a:gd name="T4" fmla="*/ 548 w 603"/>
              <a:gd name="T5" fmla="*/ 126 h 757"/>
              <a:gd name="T6" fmla="*/ 507 w 603"/>
              <a:gd name="T7" fmla="*/ 80 h 757"/>
              <a:gd name="T8" fmla="*/ 458 w 603"/>
              <a:gd name="T9" fmla="*/ 43 h 757"/>
              <a:gd name="T10" fmla="*/ 403 w 603"/>
              <a:gd name="T11" fmla="*/ 17 h 757"/>
              <a:gd name="T12" fmla="*/ 343 w 603"/>
              <a:gd name="T13" fmla="*/ 3 h 757"/>
              <a:gd name="T14" fmla="*/ 281 w 603"/>
              <a:gd name="T15" fmla="*/ 2 h 757"/>
              <a:gd name="T16" fmla="*/ 221 w 603"/>
              <a:gd name="T17" fmla="*/ 14 h 757"/>
              <a:gd name="T18" fmla="*/ 164 w 603"/>
              <a:gd name="T19" fmla="*/ 38 h 757"/>
              <a:gd name="T20" fmla="*/ 114 w 603"/>
              <a:gd name="T21" fmla="*/ 73 h 757"/>
              <a:gd name="T22" fmla="*/ 72 w 603"/>
              <a:gd name="T23" fmla="*/ 118 h 757"/>
              <a:gd name="T24" fmla="*/ 40 w 603"/>
              <a:gd name="T25" fmla="*/ 171 h 757"/>
              <a:gd name="T26" fmla="*/ 20 w 603"/>
              <a:gd name="T27" fmla="*/ 229 h 757"/>
              <a:gd name="T28" fmla="*/ 13 w 603"/>
              <a:gd name="T29" fmla="*/ 290 h 757"/>
              <a:gd name="T30" fmla="*/ 18 w 603"/>
              <a:gd name="T31" fmla="*/ 351 h 757"/>
              <a:gd name="T32" fmla="*/ 36 w 603"/>
              <a:gd name="T33" fmla="*/ 410 h 757"/>
              <a:gd name="T34" fmla="*/ 66 w 603"/>
              <a:gd name="T35" fmla="*/ 464 h 757"/>
              <a:gd name="T36" fmla="*/ 1 w 603"/>
              <a:gd name="T37" fmla="*/ 650 h 757"/>
              <a:gd name="T38" fmla="*/ 202 w 603"/>
              <a:gd name="T39" fmla="*/ 755 h 757"/>
              <a:gd name="T40" fmla="*/ 303 w 603"/>
              <a:gd name="T41" fmla="*/ 569 h 757"/>
              <a:gd name="T42" fmla="*/ 381 w 603"/>
              <a:gd name="T43" fmla="*/ 711 h 757"/>
              <a:gd name="T44" fmla="*/ 578 w 603"/>
              <a:gd name="T45" fmla="*/ 622 h 757"/>
              <a:gd name="T46" fmla="*/ 547 w 603"/>
              <a:gd name="T47" fmla="*/ 469 h 757"/>
              <a:gd name="T48" fmla="*/ 578 w 603"/>
              <a:gd name="T49" fmla="*/ 416 h 757"/>
              <a:gd name="T50" fmla="*/ 597 w 603"/>
              <a:gd name="T51" fmla="*/ 357 h 757"/>
              <a:gd name="T52" fmla="*/ 603 w 603"/>
              <a:gd name="T53" fmla="*/ 295 h 757"/>
              <a:gd name="T54" fmla="*/ 552 w 603"/>
              <a:gd name="T55" fmla="*/ 370 h 757"/>
              <a:gd name="T56" fmla="*/ 526 w 603"/>
              <a:gd name="T57" fmla="*/ 427 h 757"/>
              <a:gd name="T58" fmla="*/ 498 w 603"/>
              <a:gd name="T59" fmla="*/ 472 h 757"/>
              <a:gd name="T60" fmla="*/ 383 w 603"/>
              <a:gd name="T61" fmla="*/ 692 h 757"/>
              <a:gd name="T62" fmla="*/ 302 w 603"/>
              <a:gd name="T63" fmla="*/ 551 h 757"/>
              <a:gd name="T64" fmla="*/ 132 w 603"/>
              <a:gd name="T65" fmla="*/ 654 h 757"/>
              <a:gd name="T66" fmla="*/ 103 w 603"/>
              <a:gd name="T67" fmla="*/ 465 h 757"/>
              <a:gd name="T68" fmla="*/ 83 w 603"/>
              <a:gd name="T69" fmla="*/ 419 h 757"/>
              <a:gd name="T70" fmla="*/ 34 w 603"/>
              <a:gd name="T71" fmla="*/ 353 h 757"/>
              <a:gd name="T72" fmla="*/ 52 w 603"/>
              <a:gd name="T73" fmla="*/ 273 h 757"/>
              <a:gd name="T74" fmla="*/ 65 w 603"/>
              <a:gd name="T75" fmla="*/ 212 h 757"/>
              <a:gd name="T76" fmla="*/ 81 w 603"/>
              <a:gd name="T77" fmla="*/ 131 h 757"/>
              <a:gd name="T78" fmla="*/ 153 w 603"/>
              <a:gd name="T79" fmla="*/ 91 h 757"/>
              <a:gd name="T80" fmla="*/ 207 w 603"/>
              <a:gd name="T81" fmla="*/ 59 h 757"/>
              <a:gd name="T82" fmla="*/ 278 w 603"/>
              <a:gd name="T83" fmla="*/ 18 h 757"/>
              <a:gd name="T84" fmla="*/ 356 w 603"/>
              <a:gd name="T85" fmla="*/ 44 h 757"/>
              <a:gd name="T86" fmla="*/ 415 w 603"/>
              <a:gd name="T87" fmla="*/ 63 h 757"/>
              <a:gd name="T88" fmla="*/ 494 w 603"/>
              <a:gd name="T89" fmla="*/ 88 h 757"/>
              <a:gd name="T90" fmla="*/ 526 w 603"/>
              <a:gd name="T91" fmla="*/ 163 h 757"/>
              <a:gd name="T92" fmla="*/ 552 w 603"/>
              <a:gd name="T93" fmla="*/ 220 h 757"/>
              <a:gd name="T94" fmla="*/ 586 w 603"/>
              <a:gd name="T95" fmla="*/ 295 h 757"/>
              <a:gd name="T96" fmla="*/ 307 w 603"/>
              <a:gd name="T97" fmla="*/ 463 h 757"/>
              <a:gd name="T98" fmla="*/ 147 w 603"/>
              <a:gd name="T99" fmla="*/ 289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3" h="757">
                <a:moveTo>
                  <a:pt x="603" y="295"/>
                </a:moveTo>
                <a:cubicBezTo>
                  <a:pt x="603" y="293"/>
                  <a:pt x="602" y="291"/>
                  <a:pt x="601" y="290"/>
                </a:cubicBezTo>
                <a:cubicBezTo>
                  <a:pt x="576" y="267"/>
                  <a:pt x="576" y="267"/>
                  <a:pt x="576" y="267"/>
                </a:cubicBezTo>
                <a:cubicBezTo>
                  <a:pt x="596" y="239"/>
                  <a:pt x="596" y="239"/>
                  <a:pt x="596" y="239"/>
                </a:cubicBezTo>
                <a:cubicBezTo>
                  <a:pt x="597" y="237"/>
                  <a:pt x="597" y="235"/>
                  <a:pt x="597" y="233"/>
                </a:cubicBezTo>
                <a:cubicBezTo>
                  <a:pt x="596" y="232"/>
                  <a:pt x="595" y="230"/>
                  <a:pt x="593" y="229"/>
                </a:cubicBezTo>
                <a:cubicBezTo>
                  <a:pt x="564" y="211"/>
                  <a:pt x="564" y="211"/>
                  <a:pt x="564" y="211"/>
                </a:cubicBezTo>
                <a:cubicBezTo>
                  <a:pt x="578" y="180"/>
                  <a:pt x="578" y="180"/>
                  <a:pt x="578" y="180"/>
                </a:cubicBezTo>
                <a:cubicBezTo>
                  <a:pt x="578" y="178"/>
                  <a:pt x="578" y="176"/>
                  <a:pt x="578" y="175"/>
                </a:cubicBezTo>
                <a:cubicBezTo>
                  <a:pt x="577" y="173"/>
                  <a:pt x="575" y="171"/>
                  <a:pt x="573" y="171"/>
                </a:cubicBezTo>
                <a:cubicBezTo>
                  <a:pt x="541" y="160"/>
                  <a:pt x="541" y="160"/>
                  <a:pt x="541" y="160"/>
                </a:cubicBezTo>
                <a:cubicBezTo>
                  <a:pt x="548" y="126"/>
                  <a:pt x="548" y="126"/>
                  <a:pt x="548" y="126"/>
                </a:cubicBezTo>
                <a:cubicBezTo>
                  <a:pt x="548" y="124"/>
                  <a:pt x="548" y="122"/>
                  <a:pt x="547" y="121"/>
                </a:cubicBezTo>
                <a:cubicBezTo>
                  <a:pt x="545" y="119"/>
                  <a:pt x="544" y="118"/>
                  <a:pt x="542" y="118"/>
                </a:cubicBezTo>
                <a:cubicBezTo>
                  <a:pt x="508" y="114"/>
                  <a:pt x="508" y="114"/>
                  <a:pt x="508" y="114"/>
                </a:cubicBezTo>
                <a:cubicBezTo>
                  <a:pt x="507" y="80"/>
                  <a:pt x="507" y="80"/>
                  <a:pt x="507" y="80"/>
                </a:cubicBezTo>
                <a:cubicBezTo>
                  <a:pt x="507" y="78"/>
                  <a:pt x="507" y="76"/>
                  <a:pt x="505" y="75"/>
                </a:cubicBezTo>
                <a:cubicBezTo>
                  <a:pt x="504" y="73"/>
                  <a:pt x="502" y="73"/>
                  <a:pt x="500" y="73"/>
                </a:cubicBezTo>
                <a:cubicBezTo>
                  <a:pt x="466" y="76"/>
                  <a:pt x="466" y="76"/>
                  <a:pt x="466" y="76"/>
                </a:cubicBezTo>
                <a:cubicBezTo>
                  <a:pt x="458" y="43"/>
                  <a:pt x="458" y="43"/>
                  <a:pt x="458" y="43"/>
                </a:cubicBezTo>
                <a:cubicBezTo>
                  <a:pt x="458" y="41"/>
                  <a:pt x="457" y="39"/>
                  <a:pt x="455" y="38"/>
                </a:cubicBezTo>
                <a:cubicBezTo>
                  <a:pt x="453" y="37"/>
                  <a:pt x="451" y="37"/>
                  <a:pt x="449" y="38"/>
                </a:cubicBezTo>
                <a:cubicBezTo>
                  <a:pt x="417" y="48"/>
                  <a:pt x="417" y="48"/>
                  <a:pt x="417" y="48"/>
                </a:cubicBezTo>
                <a:cubicBezTo>
                  <a:pt x="403" y="17"/>
                  <a:pt x="403" y="17"/>
                  <a:pt x="403" y="17"/>
                </a:cubicBezTo>
                <a:cubicBezTo>
                  <a:pt x="402" y="15"/>
                  <a:pt x="400" y="14"/>
                  <a:pt x="398" y="13"/>
                </a:cubicBezTo>
                <a:cubicBezTo>
                  <a:pt x="397" y="13"/>
                  <a:pt x="395" y="13"/>
                  <a:pt x="393" y="14"/>
                </a:cubicBezTo>
                <a:cubicBezTo>
                  <a:pt x="363" y="30"/>
                  <a:pt x="363" y="30"/>
                  <a:pt x="363" y="30"/>
                </a:cubicBezTo>
                <a:cubicBezTo>
                  <a:pt x="343" y="3"/>
                  <a:pt x="343" y="3"/>
                  <a:pt x="343" y="3"/>
                </a:cubicBezTo>
                <a:cubicBezTo>
                  <a:pt x="342" y="2"/>
                  <a:pt x="340" y="0"/>
                  <a:pt x="338" y="0"/>
                </a:cubicBezTo>
                <a:cubicBezTo>
                  <a:pt x="336" y="0"/>
                  <a:pt x="334" y="1"/>
                  <a:pt x="332" y="2"/>
                </a:cubicBezTo>
                <a:cubicBezTo>
                  <a:pt x="307" y="24"/>
                  <a:pt x="307" y="24"/>
                  <a:pt x="307" y="24"/>
                </a:cubicBezTo>
                <a:cubicBezTo>
                  <a:pt x="281" y="2"/>
                  <a:pt x="281" y="2"/>
                  <a:pt x="281" y="2"/>
                </a:cubicBezTo>
                <a:cubicBezTo>
                  <a:pt x="280" y="1"/>
                  <a:pt x="278" y="0"/>
                  <a:pt x="276" y="0"/>
                </a:cubicBezTo>
                <a:cubicBezTo>
                  <a:pt x="274" y="0"/>
                  <a:pt x="272" y="2"/>
                  <a:pt x="271" y="3"/>
                </a:cubicBezTo>
                <a:cubicBezTo>
                  <a:pt x="251" y="30"/>
                  <a:pt x="251" y="30"/>
                  <a:pt x="251" y="30"/>
                </a:cubicBezTo>
                <a:cubicBezTo>
                  <a:pt x="221" y="14"/>
                  <a:pt x="221" y="14"/>
                  <a:pt x="221" y="14"/>
                </a:cubicBezTo>
                <a:cubicBezTo>
                  <a:pt x="219" y="13"/>
                  <a:pt x="217" y="13"/>
                  <a:pt x="215" y="13"/>
                </a:cubicBezTo>
                <a:cubicBezTo>
                  <a:pt x="213" y="14"/>
                  <a:pt x="212" y="15"/>
                  <a:pt x="211" y="17"/>
                </a:cubicBezTo>
                <a:cubicBezTo>
                  <a:pt x="197" y="48"/>
                  <a:pt x="197" y="48"/>
                  <a:pt x="197" y="48"/>
                </a:cubicBezTo>
                <a:cubicBezTo>
                  <a:pt x="164" y="38"/>
                  <a:pt x="164" y="38"/>
                  <a:pt x="164" y="38"/>
                </a:cubicBezTo>
                <a:cubicBezTo>
                  <a:pt x="162" y="37"/>
                  <a:pt x="160" y="37"/>
                  <a:pt x="159" y="38"/>
                </a:cubicBezTo>
                <a:cubicBezTo>
                  <a:pt x="157" y="39"/>
                  <a:pt x="156" y="41"/>
                  <a:pt x="155" y="43"/>
                </a:cubicBezTo>
                <a:cubicBezTo>
                  <a:pt x="148" y="76"/>
                  <a:pt x="148" y="76"/>
                  <a:pt x="148" y="76"/>
                </a:cubicBezTo>
                <a:cubicBezTo>
                  <a:pt x="114" y="73"/>
                  <a:pt x="114" y="73"/>
                  <a:pt x="114" y="73"/>
                </a:cubicBezTo>
                <a:cubicBezTo>
                  <a:pt x="112" y="73"/>
                  <a:pt x="110" y="73"/>
                  <a:pt x="109" y="75"/>
                </a:cubicBezTo>
                <a:cubicBezTo>
                  <a:pt x="107" y="76"/>
                  <a:pt x="106" y="78"/>
                  <a:pt x="106" y="80"/>
                </a:cubicBezTo>
                <a:cubicBezTo>
                  <a:pt x="106" y="114"/>
                  <a:pt x="106" y="114"/>
                  <a:pt x="106" y="114"/>
                </a:cubicBezTo>
                <a:cubicBezTo>
                  <a:pt x="72" y="118"/>
                  <a:pt x="72" y="118"/>
                  <a:pt x="72" y="118"/>
                </a:cubicBezTo>
                <a:cubicBezTo>
                  <a:pt x="70" y="118"/>
                  <a:pt x="68" y="119"/>
                  <a:pt x="67" y="121"/>
                </a:cubicBezTo>
                <a:cubicBezTo>
                  <a:pt x="66" y="122"/>
                  <a:pt x="65" y="124"/>
                  <a:pt x="66" y="126"/>
                </a:cubicBezTo>
                <a:cubicBezTo>
                  <a:pt x="73" y="160"/>
                  <a:pt x="73" y="160"/>
                  <a:pt x="73" y="160"/>
                </a:cubicBezTo>
                <a:cubicBezTo>
                  <a:pt x="40" y="171"/>
                  <a:pt x="40" y="171"/>
                  <a:pt x="40" y="171"/>
                </a:cubicBezTo>
                <a:cubicBezTo>
                  <a:pt x="38" y="171"/>
                  <a:pt x="37" y="173"/>
                  <a:pt x="36" y="175"/>
                </a:cubicBezTo>
                <a:cubicBezTo>
                  <a:pt x="35" y="176"/>
                  <a:pt x="35" y="178"/>
                  <a:pt x="36" y="180"/>
                </a:cubicBezTo>
                <a:cubicBezTo>
                  <a:pt x="50" y="211"/>
                  <a:pt x="50" y="211"/>
                  <a:pt x="50" y="211"/>
                </a:cubicBezTo>
                <a:cubicBezTo>
                  <a:pt x="20" y="229"/>
                  <a:pt x="20" y="229"/>
                  <a:pt x="20" y="229"/>
                </a:cubicBezTo>
                <a:cubicBezTo>
                  <a:pt x="19" y="230"/>
                  <a:pt x="17" y="232"/>
                  <a:pt x="17" y="233"/>
                </a:cubicBezTo>
                <a:cubicBezTo>
                  <a:pt x="17" y="235"/>
                  <a:pt x="17" y="237"/>
                  <a:pt x="18" y="239"/>
                </a:cubicBezTo>
                <a:cubicBezTo>
                  <a:pt x="38" y="267"/>
                  <a:pt x="38" y="267"/>
                  <a:pt x="38" y="267"/>
                </a:cubicBezTo>
                <a:cubicBezTo>
                  <a:pt x="13" y="290"/>
                  <a:pt x="13" y="290"/>
                  <a:pt x="13" y="290"/>
                </a:cubicBezTo>
                <a:cubicBezTo>
                  <a:pt x="11" y="291"/>
                  <a:pt x="10" y="293"/>
                  <a:pt x="10" y="295"/>
                </a:cubicBezTo>
                <a:cubicBezTo>
                  <a:pt x="10" y="297"/>
                  <a:pt x="11" y="299"/>
                  <a:pt x="13" y="300"/>
                </a:cubicBezTo>
                <a:cubicBezTo>
                  <a:pt x="38" y="323"/>
                  <a:pt x="38" y="323"/>
                  <a:pt x="38" y="323"/>
                </a:cubicBezTo>
                <a:cubicBezTo>
                  <a:pt x="18" y="351"/>
                  <a:pt x="18" y="351"/>
                  <a:pt x="18" y="351"/>
                </a:cubicBezTo>
                <a:cubicBezTo>
                  <a:pt x="17" y="353"/>
                  <a:pt x="17" y="355"/>
                  <a:pt x="17" y="357"/>
                </a:cubicBezTo>
                <a:cubicBezTo>
                  <a:pt x="17" y="359"/>
                  <a:pt x="19" y="360"/>
                  <a:pt x="20" y="361"/>
                </a:cubicBezTo>
                <a:cubicBezTo>
                  <a:pt x="50" y="379"/>
                  <a:pt x="50" y="379"/>
                  <a:pt x="50" y="379"/>
                </a:cubicBezTo>
                <a:cubicBezTo>
                  <a:pt x="36" y="410"/>
                  <a:pt x="36" y="410"/>
                  <a:pt x="36" y="410"/>
                </a:cubicBezTo>
                <a:cubicBezTo>
                  <a:pt x="35" y="412"/>
                  <a:pt x="35" y="414"/>
                  <a:pt x="36" y="416"/>
                </a:cubicBezTo>
                <a:cubicBezTo>
                  <a:pt x="37" y="417"/>
                  <a:pt x="38" y="419"/>
                  <a:pt x="40" y="419"/>
                </a:cubicBezTo>
                <a:cubicBezTo>
                  <a:pt x="73" y="430"/>
                  <a:pt x="73" y="430"/>
                  <a:pt x="73" y="430"/>
                </a:cubicBezTo>
                <a:cubicBezTo>
                  <a:pt x="66" y="464"/>
                  <a:pt x="66" y="464"/>
                  <a:pt x="66" y="464"/>
                </a:cubicBezTo>
                <a:cubicBezTo>
                  <a:pt x="65" y="466"/>
                  <a:pt x="66" y="468"/>
                  <a:pt x="67" y="469"/>
                </a:cubicBezTo>
                <a:cubicBezTo>
                  <a:pt x="68" y="471"/>
                  <a:pt x="70" y="472"/>
                  <a:pt x="72" y="472"/>
                </a:cubicBezTo>
                <a:cubicBezTo>
                  <a:pt x="87" y="474"/>
                  <a:pt x="87" y="474"/>
                  <a:pt x="87" y="474"/>
                </a:cubicBezTo>
                <a:cubicBezTo>
                  <a:pt x="1" y="650"/>
                  <a:pt x="1" y="650"/>
                  <a:pt x="1" y="650"/>
                </a:cubicBezTo>
                <a:cubicBezTo>
                  <a:pt x="0" y="652"/>
                  <a:pt x="0" y="654"/>
                  <a:pt x="1" y="656"/>
                </a:cubicBezTo>
                <a:cubicBezTo>
                  <a:pt x="3" y="658"/>
                  <a:pt x="5" y="660"/>
                  <a:pt x="7" y="660"/>
                </a:cubicBezTo>
                <a:cubicBezTo>
                  <a:pt x="124" y="665"/>
                  <a:pt x="124" y="665"/>
                  <a:pt x="124" y="665"/>
                </a:cubicBezTo>
                <a:cubicBezTo>
                  <a:pt x="202" y="755"/>
                  <a:pt x="202" y="755"/>
                  <a:pt x="202" y="755"/>
                </a:cubicBezTo>
                <a:cubicBezTo>
                  <a:pt x="203" y="756"/>
                  <a:pt x="205" y="757"/>
                  <a:pt x="207" y="757"/>
                </a:cubicBezTo>
                <a:cubicBezTo>
                  <a:pt x="208" y="757"/>
                  <a:pt x="208" y="757"/>
                  <a:pt x="208" y="757"/>
                </a:cubicBezTo>
                <a:cubicBezTo>
                  <a:pt x="211" y="757"/>
                  <a:pt x="213" y="755"/>
                  <a:pt x="214" y="753"/>
                </a:cubicBezTo>
                <a:cubicBezTo>
                  <a:pt x="303" y="569"/>
                  <a:pt x="303" y="569"/>
                  <a:pt x="303" y="569"/>
                </a:cubicBezTo>
                <a:cubicBezTo>
                  <a:pt x="307" y="566"/>
                  <a:pt x="307" y="566"/>
                  <a:pt x="307" y="566"/>
                </a:cubicBezTo>
                <a:cubicBezTo>
                  <a:pt x="314" y="572"/>
                  <a:pt x="314" y="572"/>
                  <a:pt x="314" y="572"/>
                </a:cubicBezTo>
                <a:cubicBezTo>
                  <a:pt x="375" y="707"/>
                  <a:pt x="375" y="707"/>
                  <a:pt x="375" y="707"/>
                </a:cubicBezTo>
                <a:cubicBezTo>
                  <a:pt x="376" y="709"/>
                  <a:pt x="378" y="711"/>
                  <a:pt x="381" y="711"/>
                </a:cubicBezTo>
                <a:cubicBezTo>
                  <a:pt x="383" y="712"/>
                  <a:pt x="385" y="711"/>
                  <a:pt x="387" y="709"/>
                </a:cubicBezTo>
                <a:cubicBezTo>
                  <a:pt x="459" y="626"/>
                  <a:pt x="459" y="626"/>
                  <a:pt x="459" y="626"/>
                </a:cubicBezTo>
                <a:cubicBezTo>
                  <a:pt x="572" y="625"/>
                  <a:pt x="572" y="625"/>
                  <a:pt x="572" y="625"/>
                </a:cubicBezTo>
                <a:cubicBezTo>
                  <a:pt x="574" y="625"/>
                  <a:pt x="576" y="624"/>
                  <a:pt x="578" y="622"/>
                </a:cubicBezTo>
                <a:cubicBezTo>
                  <a:pt x="579" y="620"/>
                  <a:pt x="579" y="617"/>
                  <a:pt x="578" y="615"/>
                </a:cubicBezTo>
                <a:cubicBezTo>
                  <a:pt x="515" y="475"/>
                  <a:pt x="515" y="475"/>
                  <a:pt x="515" y="475"/>
                </a:cubicBezTo>
                <a:cubicBezTo>
                  <a:pt x="542" y="472"/>
                  <a:pt x="542" y="472"/>
                  <a:pt x="542" y="472"/>
                </a:cubicBezTo>
                <a:cubicBezTo>
                  <a:pt x="544" y="472"/>
                  <a:pt x="545" y="471"/>
                  <a:pt x="547" y="469"/>
                </a:cubicBezTo>
                <a:cubicBezTo>
                  <a:pt x="548" y="468"/>
                  <a:pt x="548" y="466"/>
                  <a:pt x="548" y="464"/>
                </a:cubicBezTo>
                <a:cubicBezTo>
                  <a:pt x="541" y="430"/>
                  <a:pt x="541" y="430"/>
                  <a:pt x="541" y="430"/>
                </a:cubicBezTo>
                <a:cubicBezTo>
                  <a:pt x="573" y="419"/>
                  <a:pt x="573" y="419"/>
                  <a:pt x="573" y="419"/>
                </a:cubicBezTo>
                <a:cubicBezTo>
                  <a:pt x="575" y="419"/>
                  <a:pt x="577" y="417"/>
                  <a:pt x="578" y="416"/>
                </a:cubicBezTo>
                <a:cubicBezTo>
                  <a:pt x="578" y="414"/>
                  <a:pt x="578" y="412"/>
                  <a:pt x="578" y="410"/>
                </a:cubicBezTo>
                <a:cubicBezTo>
                  <a:pt x="564" y="379"/>
                  <a:pt x="564" y="379"/>
                  <a:pt x="564" y="379"/>
                </a:cubicBezTo>
                <a:cubicBezTo>
                  <a:pt x="593" y="361"/>
                  <a:pt x="593" y="361"/>
                  <a:pt x="593" y="361"/>
                </a:cubicBezTo>
                <a:cubicBezTo>
                  <a:pt x="595" y="360"/>
                  <a:pt x="596" y="359"/>
                  <a:pt x="597" y="357"/>
                </a:cubicBezTo>
                <a:cubicBezTo>
                  <a:pt x="597" y="355"/>
                  <a:pt x="597" y="353"/>
                  <a:pt x="596" y="351"/>
                </a:cubicBezTo>
                <a:cubicBezTo>
                  <a:pt x="576" y="323"/>
                  <a:pt x="576" y="323"/>
                  <a:pt x="576" y="323"/>
                </a:cubicBezTo>
                <a:cubicBezTo>
                  <a:pt x="601" y="300"/>
                  <a:pt x="601" y="300"/>
                  <a:pt x="601" y="300"/>
                </a:cubicBezTo>
                <a:cubicBezTo>
                  <a:pt x="602" y="299"/>
                  <a:pt x="603" y="297"/>
                  <a:pt x="603" y="295"/>
                </a:cubicBezTo>
                <a:close/>
                <a:moveTo>
                  <a:pt x="562" y="317"/>
                </a:moveTo>
                <a:cubicBezTo>
                  <a:pt x="559" y="320"/>
                  <a:pt x="559" y="324"/>
                  <a:pt x="561" y="326"/>
                </a:cubicBezTo>
                <a:cubicBezTo>
                  <a:pt x="580" y="353"/>
                  <a:pt x="580" y="353"/>
                  <a:pt x="580" y="353"/>
                </a:cubicBezTo>
                <a:cubicBezTo>
                  <a:pt x="552" y="370"/>
                  <a:pt x="552" y="370"/>
                  <a:pt x="552" y="370"/>
                </a:cubicBezTo>
                <a:cubicBezTo>
                  <a:pt x="549" y="372"/>
                  <a:pt x="547" y="375"/>
                  <a:pt x="549" y="379"/>
                </a:cubicBezTo>
                <a:cubicBezTo>
                  <a:pt x="562" y="409"/>
                  <a:pt x="562" y="409"/>
                  <a:pt x="562" y="409"/>
                </a:cubicBezTo>
                <a:cubicBezTo>
                  <a:pt x="531" y="419"/>
                  <a:pt x="531" y="419"/>
                  <a:pt x="531" y="419"/>
                </a:cubicBezTo>
                <a:cubicBezTo>
                  <a:pt x="527" y="420"/>
                  <a:pt x="526" y="424"/>
                  <a:pt x="526" y="427"/>
                </a:cubicBezTo>
                <a:cubicBezTo>
                  <a:pt x="533" y="459"/>
                  <a:pt x="533" y="459"/>
                  <a:pt x="533" y="459"/>
                </a:cubicBezTo>
                <a:cubicBezTo>
                  <a:pt x="504" y="462"/>
                  <a:pt x="504" y="462"/>
                  <a:pt x="504" y="462"/>
                </a:cubicBezTo>
                <a:cubicBezTo>
                  <a:pt x="501" y="463"/>
                  <a:pt x="499" y="464"/>
                  <a:pt x="498" y="466"/>
                </a:cubicBezTo>
                <a:cubicBezTo>
                  <a:pt x="497" y="468"/>
                  <a:pt x="497" y="470"/>
                  <a:pt x="498" y="472"/>
                </a:cubicBezTo>
                <a:cubicBezTo>
                  <a:pt x="561" y="611"/>
                  <a:pt x="561" y="611"/>
                  <a:pt x="561" y="611"/>
                </a:cubicBezTo>
                <a:cubicBezTo>
                  <a:pt x="456" y="612"/>
                  <a:pt x="456" y="612"/>
                  <a:pt x="456" y="612"/>
                </a:cubicBezTo>
                <a:cubicBezTo>
                  <a:pt x="454" y="612"/>
                  <a:pt x="452" y="612"/>
                  <a:pt x="451" y="614"/>
                </a:cubicBezTo>
                <a:cubicBezTo>
                  <a:pt x="383" y="692"/>
                  <a:pt x="383" y="692"/>
                  <a:pt x="383" y="692"/>
                </a:cubicBezTo>
                <a:cubicBezTo>
                  <a:pt x="326" y="564"/>
                  <a:pt x="326" y="564"/>
                  <a:pt x="326" y="564"/>
                </a:cubicBezTo>
                <a:cubicBezTo>
                  <a:pt x="325" y="563"/>
                  <a:pt x="325" y="563"/>
                  <a:pt x="324" y="562"/>
                </a:cubicBezTo>
                <a:cubicBezTo>
                  <a:pt x="311" y="551"/>
                  <a:pt x="311" y="551"/>
                  <a:pt x="311" y="551"/>
                </a:cubicBezTo>
                <a:cubicBezTo>
                  <a:pt x="309" y="549"/>
                  <a:pt x="305" y="549"/>
                  <a:pt x="302" y="551"/>
                </a:cubicBezTo>
                <a:cubicBezTo>
                  <a:pt x="293" y="559"/>
                  <a:pt x="293" y="559"/>
                  <a:pt x="293" y="559"/>
                </a:cubicBezTo>
                <a:cubicBezTo>
                  <a:pt x="292" y="560"/>
                  <a:pt x="292" y="561"/>
                  <a:pt x="291" y="561"/>
                </a:cubicBezTo>
                <a:cubicBezTo>
                  <a:pt x="206" y="737"/>
                  <a:pt x="206" y="737"/>
                  <a:pt x="206" y="737"/>
                </a:cubicBezTo>
                <a:cubicBezTo>
                  <a:pt x="132" y="654"/>
                  <a:pt x="132" y="654"/>
                  <a:pt x="132" y="654"/>
                </a:cubicBezTo>
                <a:cubicBezTo>
                  <a:pt x="131" y="652"/>
                  <a:pt x="129" y="651"/>
                  <a:pt x="127" y="651"/>
                </a:cubicBezTo>
                <a:cubicBezTo>
                  <a:pt x="18" y="646"/>
                  <a:pt x="18" y="646"/>
                  <a:pt x="18" y="646"/>
                </a:cubicBezTo>
                <a:cubicBezTo>
                  <a:pt x="104" y="471"/>
                  <a:pt x="104" y="471"/>
                  <a:pt x="104" y="471"/>
                </a:cubicBezTo>
                <a:cubicBezTo>
                  <a:pt x="105" y="469"/>
                  <a:pt x="105" y="467"/>
                  <a:pt x="103" y="465"/>
                </a:cubicBezTo>
                <a:cubicBezTo>
                  <a:pt x="102" y="463"/>
                  <a:pt x="100" y="461"/>
                  <a:pt x="98" y="461"/>
                </a:cubicBezTo>
                <a:cubicBezTo>
                  <a:pt x="81" y="459"/>
                  <a:pt x="81" y="459"/>
                  <a:pt x="81" y="459"/>
                </a:cubicBezTo>
                <a:cubicBezTo>
                  <a:pt x="87" y="427"/>
                  <a:pt x="87" y="427"/>
                  <a:pt x="87" y="427"/>
                </a:cubicBezTo>
                <a:cubicBezTo>
                  <a:pt x="88" y="424"/>
                  <a:pt x="86" y="420"/>
                  <a:pt x="83" y="419"/>
                </a:cubicBezTo>
                <a:cubicBezTo>
                  <a:pt x="52" y="409"/>
                  <a:pt x="52" y="409"/>
                  <a:pt x="52" y="409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66" y="375"/>
                  <a:pt x="65" y="372"/>
                  <a:pt x="62" y="370"/>
                </a:cubicBezTo>
                <a:cubicBezTo>
                  <a:pt x="34" y="353"/>
                  <a:pt x="34" y="353"/>
                  <a:pt x="34" y="353"/>
                </a:cubicBezTo>
                <a:cubicBezTo>
                  <a:pt x="53" y="326"/>
                  <a:pt x="53" y="326"/>
                  <a:pt x="53" y="326"/>
                </a:cubicBezTo>
                <a:cubicBezTo>
                  <a:pt x="55" y="324"/>
                  <a:pt x="54" y="320"/>
                  <a:pt x="52" y="317"/>
                </a:cubicBezTo>
                <a:cubicBezTo>
                  <a:pt x="28" y="295"/>
                  <a:pt x="28" y="295"/>
                  <a:pt x="28" y="295"/>
                </a:cubicBezTo>
                <a:cubicBezTo>
                  <a:pt x="52" y="273"/>
                  <a:pt x="52" y="273"/>
                  <a:pt x="52" y="273"/>
                </a:cubicBezTo>
                <a:cubicBezTo>
                  <a:pt x="54" y="270"/>
                  <a:pt x="55" y="267"/>
                  <a:pt x="53" y="264"/>
                </a:cubicBezTo>
                <a:cubicBezTo>
                  <a:pt x="34" y="237"/>
                  <a:pt x="34" y="237"/>
                  <a:pt x="34" y="237"/>
                </a:cubicBezTo>
                <a:cubicBezTo>
                  <a:pt x="62" y="220"/>
                  <a:pt x="62" y="220"/>
                  <a:pt x="62" y="220"/>
                </a:cubicBezTo>
                <a:cubicBezTo>
                  <a:pt x="65" y="219"/>
                  <a:pt x="66" y="215"/>
                  <a:pt x="65" y="212"/>
                </a:cubicBezTo>
                <a:cubicBezTo>
                  <a:pt x="52" y="182"/>
                  <a:pt x="52" y="182"/>
                  <a:pt x="52" y="182"/>
                </a:cubicBezTo>
                <a:cubicBezTo>
                  <a:pt x="83" y="171"/>
                  <a:pt x="83" y="171"/>
                  <a:pt x="83" y="171"/>
                </a:cubicBezTo>
                <a:cubicBezTo>
                  <a:pt x="86" y="170"/>
                  <a:pt x="88" y="167"/>
                  <a:pt x="87" y="163"/>
                </a:cubicBezTo>
                <a:cubicBezTo>
                  <a:pt x="81" y="131"/>
                  <a:pt x="81" y="131"/>
                  <a:pt x="81" y="131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117" y="127"/>
                  <a:pt x="120" y="124"/>
                  <a:pt x="120" y="120"/>
                </a:cubicBezTo>
                <a:cubicBezTo>
                  <a:pt x="120" y="88"/>
                  <a:pt x="120" y="88"/>
                  <a:pt x="120" y="88"/>
                </a:cubicBezTo>
                <a:cubicBezTo>
                  <a:pt x="153" y="91"/>
                  <a:pt x="153" y="91"/>
                  <a:pt x="153" y="91"/>
                </a:cubicBezTo>
                <a:cubicBezTo>
                  <a:pt x="156" y="91"/>
                  <a:pt x="159" y="89"/>
                  <a:pt x="160" y="85"/>
                </a:cubicBezTo>
                <a:cubicBezTo>
                  <a:pt x="167" y="53"/>
                  <a:pt x="167" y="53"/>
                  <a:pt x="167" y="53"/>
                </a:cubicBezTo>
                <a:cubicBezTo>
                  <a:pt x="198" y="63"/>
                  <a:pt x="198" y="63"/>
                  <a:pt x="198" y="63"/>
                </a:cubicBezTo>
                <a:cubicBezTo>
                  <a:pt x="202" y="64"/>
                  <a:pt x="205" y="63"/>
                  <a:pt x="207" y="59"/>
                </a:cubicBezTo>
                <a:cubicBezTo>
                  <a:pt x="221" y="30"/>
                  <a:pt x="221" y="30"/>
                  <a:pt x="221" y="30"/>
                </a:cubicBezTo>
                <a:cubicBezTo>
                  <a:pt x="249" y="46"/>
                  <a:pt x="249" y="46"/>
                  <a:pt x="249" y="46"/>
                </a:cubicBezTo>
                <a:cubicBezTo>
                  <a:pt x="252" y="47"/>
                  <a:pt x="256" y="47"/>
                  <a:pt x="258" y="44"/>
                </a:cubicBezTo>
                <a:cubicBezTo>
                  <a:pt x="278" y="18"/>
                  <a:pt x="278" y="18"/>
                  <a:pt x="278" y="18"/>
                </a:cubicBezTo>
                <a:cubicBezTo>
                  <a:pt x="302" y="39"/>
                  <a:pt x="302" y="39"/>
                  <a:pt x="302" y="39"/>
                </a:cubicBezTo>
                <a:cubicBezTo>
                  <a:pt x="305" y="41"/>
                  <a:pt x="309" y="41"/>
                  <a:pt x="311" y="39"/>
                </a:cubicBezTo>
                <a:cubicBezTo>
                  <a:pt x="336" y="18"/>
                  <a:pt x="336" y="18"/>
                  <a:pt x="336" y="18"/>
                </a:cubicBezTo>
                <a:cubicBezTo>
                  <a:pt x="356" y="44"/>
                  <a:pt x="356" y="44"/>
                  <a:pt x="356" y="44"/>
                </a:cubicBezTo>
                <a:cubicBezTo>
                  <a:pt x="358" y="47"/>
                  <a:pt x="361" y="47"/>
                  <a:pt x="365" y="46"/>
                </a:cubicBezTo>
                <a:cubicBezTo>
                  <a:pt x="393" y="30"/>
                  <a:pt x="393" y="30"/>
                  <a:pt x="393" y="30"/>
                </a:cubicBezTo>
                <a:cubicBezTo>
                  <a:pt x="407" y="59"/>
                  <a:pt x="407" y="59"/>
                  <a:pt x="407" y="59"/>
                </a:cubicBezTo>
                <a:cubicBezTo>
                  <a:pt x="408" y="63"/>
                  <a:pt x="412" y="64"/>
                  <a:pt x="415" y="63"/>
                </a:cubicBezTo>
                <a:cubicBezTo>
                  <a:pt x="446" y="53"/>
                  <a:pt x="446" y="53"/>
                  <a:pt x="446" y="53"/>
                </a:cubicBezTo>
                <a:cubicBezTo>
                  <a:pt x="454" y="85"/>
                  <a:pt x="454" y="85"/>
                  <a:pt x="454" y="85"/>
                </a:cubicBezTo>
                <a:cubicBezTo>
                  <a:pt x="454" y="89"/>
                  <a:pt x="457" y="91"/>
                  <a:pt x="461" y="91"/>
                </a:cubicBezTo>
                <a:cubicBezTo>
                  <a:pt x="494" y="88"/>
                  <a:pt x="494" y="88"/>
                  <a:pt x="494" y="88"/>
                </a:cubicBezTo>
                <a:cubicBezTo>
                  <a:pt x="494" y="120"/>
                  <a:pt x="494" y="120"/>
                  <a:pt x="494" y="120"/>
                </a:cubicBezTo>
                <a:cubicBezTo>
                  <a:pt x="494" y="124"/>
                  <a:pt x="497" y="127"/>
                  <a:pt x="500" y="127"/>
                </a:cubicBezTo>
                <a:cubicBezTo>
                  <a:pt x="533" y="131"/>
                  <a:pt x="533" y="131"/>
                  <a:pt x="533" y="131"/>
                </a:cubicBezTo>
                <a:cubicBezTo>
                  <a:pt x="526" y="163"/>
                  <a:pt x="526" y="163"/>
                  <a:pt x="526" y="163"/>
                </a:cubicBezTo>
                <a:cubicBezTo>
                  <a:pt x="526" y="167"/>
                  <a:pt x="527" y="170"/>
                  <a:pt x="531" y="171"/>
                </a:cubicBezTo>
                <a:cubicBezTo>
                  <a:pt x="562" y="182"/>
                  <a:pt x="562" y="182"/>
                  <a:pt x="562" y="182"/>
                </a:cubicBezTo>
                <a:cubicBezTo>
                  <a:pt x="549" y="212"/>
                  <a:pt x="549" y="212"/>
                  <a:pt x="549" y="212"/>
                </a:cubicBezTo>
                <a:cubicBezTo>
                  <a:pt x="547" y="215"/>
                  <a:pt x="549" y="219"/>
                  <a:pt x="552" y="220"/>
                </a:cubicBezTo>
                <a:cubicBezTo>
                  <a:pt x="580" y="237"/>
                  <a:pt x="580" y="237"/>
                  <a:pt x="580" y="237"/>
                </a:cubicBezTo>
                <a:cubicBezTo>
                  <a:pt x="561" y="264"/>
                  <a:pt x="561" y="264"/>
                  <a:pt x="561" y="264"/>
                </a:cubicBezTo>
                <a:cubicBezTo>
                  <a:pt x="559" y="267"/>
                  <a:pt x="559" y="270"/>
                  <a:pt x="562" y="273"/>
                </a:cubicBezTo>
                <a:cubicBezTo>
                  <a:pt x="586" y="295"/>
                  <a:pt x="586" y="295"/>
                  <a:pt x="586" y="295"/>
                </a:cubicBezTo>
                <a:lnTo>
                  <a:pt x="562" y="317"/>
                </a:lnTo>
                <a:close/>
                <a:moveTo>
                  <a:pt x="307" y="116"/>
                </a:moveTo>
                <a:cubicBezTo>
                  <a:pt x="211" y="116"/>
                  <a:pt x="133" y="193"/>
                  <a:pt x="133" y="289"/>
                </a:cubicBezTo>
                <a:cubicBezTo>
                  <a:pt x="133" y="385"/>
                  <a:pt x="211" y="463"/>
                  <a:pt x="307" y="463"/>
                </a:cubicBezTo>
                <a:cubicBezTo>
                  <a:pt x="403" y="463"/>
                  <a:pt x="480" y="385"/>
                  <a:pt x="480" y="289"/>
                </a:cubicBezTo>
                <a:cubicBezTo>
                  <a:pt x="480" y="193"/>
                  <a:pt x="403" y="116"/>
                  <a:pt x="307" y="116"/>
                </a:cubicBezTo>
                <a:close/>
                <a:moveTo>
                  <a:pt x="307" y="449"/>
                </a:moveTo>
                <a:cubicBezTo>
                  <a:pt x="219" y="449"/>
                  <a:pt x="147" y="377"/>
                  <a:pt x="147" y="289"/>
                </a:cubicBezTo>
                <a:cubicBezTo>
                  <a:pt x="147" y="201"/>
                  <a:pt x="219" y="130"/>
                  <a:pt x="307" y="130"/>
                </a:cubicBezTo>
                <a:cubicBezTo>
                  <a:pt x="395" y="130"/>
                  <a:pt x="466" y="201"/>
                  <a:pt x="466" y="289"/>
                </a:cubicBezTo>
                <a:cubicBezTo>
                  <a:pt x="466" y="377"/>
                  <a:pt x="395" y="449"/>
                  <a:pt x="307" y="44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8" name="Oval 62">
            <a:extLst>
              <a:ext uri="{FF2B5EF4-FFF2-40B4-BE49-F238E27FC236}">
                <a16:creationId xmlns:a16="http://schemas.microsoft.com/office/drawing/2014/main" id="{F6750C24-2C0C-43D9-B0A2-15F5A91B5B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2575" y="82790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9" name="Freeform 126">
            <a:extLst>
              <a:ext uri="{FF2B5EF4-FFF2-40B4-BE49-F238E27FC236}">
                <a16:creationId xmlns:a16="http://schemas.microsoft.com/office/drawing/2014/main" id="{1FC58D30-F769-4B11-A970-6E1EF703804A}"/>
              </a:ext>
            </a:extLst>
          </p:cNvPr>
          <p:cNvSpPr>
            <a:spLocks noEditPoints="1"/>
          </p:cNvSpPr>
          <p:nvPr/>
        </p:nvSpPr>
        <p:spPr bwMode="auto">
          <a:xfrm>
            <a:off x="8239926" y="975726"/>
            <a:ext cx="368258" cy="527317"/>
          </a:xfrm>
          <a:custGeom>
            <a:avLst/>
            <a:gdLst>
              <a:gd name="T0" fmla="*/ 237 w 475"/>
              <a:gd name="T1" fmla="*/ 681 h 681"/>
              <a:gd name="T2" fmla="*/ 233 w 475"/>
              <a:gd name="T3" fmla="*/ 679 h 681"/>
              <a:gd name="T4" fmla="*/ 0 w 475"/>
              <a:gd name="T5" fmla="*/ 243 h 681"/>
              <a:gd name="T6" fmla="*/ 237 w 475"/>
              <a:gd name="T7" fmla="*/ 0 h 681"/>
              <a:gd name="T8" fmla="*/ 475 w 475"/>
              <a:gd name="T9" fmla="*/ 243 h 681"/>
              <a:gd name="T10" fmla="*/ 242 w 475"/>
              <a:gd name="T11" fmla="*/ 679 h 681"/>
              <a:gd name="T12" fmla="*/ 237 w 475"/>
              <a:gd name="T13" fmla="*/ 681 h 681"/>
              <a:gd name="T14" fmla="*/ 237 w 475"/>
              <a:gd name="T15" fmla="*/ 14 h 681"/>
              <a:gd name="T16" fmla="*/ 14 w 475"/>
              <a:gd name="T17" fmla="*/ 243 h 681"/>
              <a:gd name="T18" fmla="*/ 128 w 475"/>
              <a:gd name="T19" fmla="*/ 538 h 681"/>
              <a:gd name="T20" fmla="*/ 237 w 475"/>
              <a:gd name="T21" fmla="*/ 665 h 681"/>
              <a:gd name="T22" fmla="*/ 347 w 475"/>
              <a:gd name="T23" fmla="*/ 538 h 681"/>
              <a:gd name="T24" fmla="*/ 461 w 475"/>
              <a:gd name="T25" fmla="*/ 243 h 681"/>
              <a:gd name="T26" fmla="*/ 237 w 475"/>
              <a:gd name="T27" fmla="*/ 14 h 681"/>
              <a:gd name="T28" fmla="*/ 237 w 475"/>
              <a:gd name="T29" fmla="*/ 383 h 681"/>
              <a:gd name="T30" fmla="*/ 101 w 475"/>
              <a:gd name="T31" fmla="*/ 243 h 681"/>
              <a:gd name="T32" fmla="*/ 237 w 475"/>
              <a:gd name="T33" fmla="*/ 104 h 681"/>
              <a:gd name="T34" fmla="*/ 374 w 475"/>
              <a:gd name="T35" fmla="*/ 243 h 681"/>
              <a:gd name="T36" fmla="*/ 237 w 475"/>
              <a:gd name="T37" fmla="*/ 383 h 681"/>
              <a:gd name="T38" fmla="*/ 237 w 475"/>
              <a:gd name="T39" fmla="*/ 118 h 681"/>
              <a:gd name="T40" fmla="*/ 115 w 475"/>
              <a:gd name="T41" fmla="*/ 243 h 681"/>
              <a:gd name="T42" fmla="*/ 237 w 475"/>
              <a:gd name="T43" fmla="*/ 369 h 681"/>
              <a:gd name="T44" fmla="*/ 360 w 475"/>
              <a:gd name="T45" fmla="*/ 243 h 681"/>
              <a:gd name="T46" fmla="*/ 237 w 475"/>
              <a:gd name="T47" fmla="*/ 118 h 6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75" h="681">
                <a:moveTo>
                  <a:pt x="237" y="681"/>
                </a:moveTo>
                <a:cubicBezTo>
                  <a:pt x="236" y="681"/>
                  <a:pt x="234" y="681"/>
                  <a:pt x="233" y="679"/>
                </a:cubicBezTo>
                <a:cubicBezTo>
                  <a:pt x="230" y="677"/>
                  <a:pt x="0" y="466"/>
                  <a:pt x="0" y="243"/>
                </a:cubicBezTo>
                <a:cubicBezTo>
                  <a:pt x="0" y="109"/>
                  <a:pt x="106" y="0"/>
                  <a:pt x="237" y="0"/>
                </a:cubicBezTo>
                <a:cubicBezTo>
                  <a:pt x="369" y="0"/>
                  <a:pt x="475" y="109"/>
                  <a:pt x="475" y="243"/>
                </a:cubicBezTo>
                <a:cubicBezTo>
                  <a:pt x="475" y="466"/>
                  <a:pt x="244" y="677"/>
                  <a:pt x="242" y="679"/>
                </a:cubicBezTo>
                <a:cubicBezTo>
                  <a:pt x="241" y="681"/>
                  <a:pt x="239" y="681"/>
                  <a:pt x="237" y="681"/>
                </a:cubicBezTo>
                <a:close/>
                <a:moveTo>
                  <a:pt x="237" y="14"/>
                </a:moveTo>
                <a:cubicBezTo>
                  <a:pt x="114" y="14"/>
                  <a:pt x="14" y="117"/>
                  <a:pt x="14" y="243"/>
                </a:cubicBezTo>
                <a:cubicBezTo>
                  <a:pt x="14" y="356"/>
                  <a:pt x="76" y="466"/>
                  <a:pt x="128" y="538"/>
                </a:cubicBezTo>
                <a:cubicBezTo>
                  <a:pt x="175" y="604"/>
                  <a:pt x="223" y="651"/>
                  <a:pt x="237" y="665"/>
                </a:cubicBezTo>
                <a:cubicBezTo>
                  <a:pt x="252" y="650"/>
                  <a:pt x="300" y="603"/>
                  <a:pt x="347" y="538"/>
                </a:cubicBezTo>
                <a:cubicBezTo>
                  <a:pt x="399" y="466"/>
                  <a:pt x="461" y="356"/>
                  <a:pt x="461" y="243"/>
                </a:cubicBezTo>
                <a:cubicBezTo>
                  <a:pt x="461" y="117"/>
                  <a:pt x="361" y="14"/>
                  <a:pt x="237" y="14"/>
                </a:cubicBezTo>
                <a:close/>
                <a:moveTo>
                  <a:pt x="237" y="383"/>
                </a:moveTo>
                <a:cubicBezTo>
                  <a:pt x="162" y="383"/>
                  <a:pt x="101" y="320"/>
                  <a:pt x="101" y="243"/>
                </a:cubicBezTo>
                <a:cubicBezTo>
                  <a:pt x="101" y="167"/>
                  <a:pt x="162" y="104"/>
                  <a:pt x="237" y="104"/>
                </a:cubicBezTo>
                <a:cubicBezTo>
                  <a:pt x="313" y="104"/>
                  <a:pt x="374" y="167"/>
                  <a:pt x="374" y="243"/>
                </a:cubicBezTo>
                <a:cubicBezTo>
                  <a:pt x="374" y="320"/>
                  <a:pt x="313" y="383"/>
                  <a:pt x="237" y="383"/>
                </a:cubicBezTo>
                <a:close/>
                <a:moveTo>
                  <a:pt x="237" y="118"/>
                </a:moveTo>
                <a:cubicBezTo>
                  <a:pt x="170" y="118"/>
                  <a:pt x="115" y="174"/>
                  <a:pt x="115" y="243"/>
                </a:cubicBezTo>
                <a:cubicBezTo>
                  <a:pt x="115" y="312"/>
                  <a:pt x="170" y="369"/>
                  <a:pt x="237" y="369"/>
                </a:cubicBezTo>
                <a:cubicBezTo>
                  <a:pt x="305" y="369"/>
                  <a:pt x="360" y="312"/>
                  <a:pt x="360" y="243"/>
                </a:cubicBezTo>
                <a:cubicBezTo>
                  <a:pt x="360" y="174"/>
                  <a:pt x="305" y="118"/>
                  <a:pt x="237" y="11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0" name="Oval 48">
            <a:extLst>
              <a:ext uri="{FF2B5EF4-FFF2-40B4-BE49-F238E27FC236}">
                <a16:creationId xmlns:a16="http://schemas.microsoft.com/office/drawing/2014/main" id="{F382AE99-98E0-45AA-B0C0-82109CD949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3172" y="2892583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1" name="Freeform 90">
            <a:extLst>
              <a:ext uri="{FF2B5EF4-FFF2-40B4-BE49-F238E27FC236}">
                <a16:creationId xmlns:a16="http://schemas.microsoft.com/office/drawing/2014/main" id="{0C412D4A-8C2A-4D66-B911-B03CF5F35215}"/>
              </a:ext>
            </a:extLst>
          </p:cNvPr>
          <p:cNvSpPr>
            <a:spLocks noEditPoints="1"/>
          </p:cNvSpPr>
          <p:nvPr/>
        </p:nvSpPr>
        <p:spPr bwMode="auto">
          <a:xfrm>
            <a:off x="4612135" y="3084895"/>
            <a:ext cx="326764" cy="438335"/>
          </a:xfrm>
          <a:custGeom>
            <a:avLst/>
            <a:gdLst>
              <a:gd name="T0" fmla="*/ 371 w 422"/>
              <a:gd name="T1" fmla="*/ 210 h 566"/>
              <a:gd name="T2" fmla="*/ 352 w 422"/>
              <a:gd name="T3" fmla="*/ 210 h 566"/>
              <a:gd name="T4" fmla="*/ 352 w 422"/>
              <a:gd name="T5" fmla="*/ 140 h 566"/>
              <a:gd name="T6" fmla="*/ 211 w 422"/>
              <a:gd name="T7" fmla="*/ 0 h 566"/>
              <a:gd name="T8" fmla="*/ 70 w 422"/>
              <a:gd name="T9" fmla="*/ 140 h 566"/>
              <a:gd name="T10" fmla="*/ 70 w 422"/>
              <a:gd name="T11" fmla="*/ 210 h 566"/>
              <a:gd name="T12" fmla="*/ 50 w 422"/>
              <a:gd name="T13" fmla="*/ 210 h 566"/>
              <a:gd name="T14" fmla="*/ 0 w 422"/>
              <a:gd name="T15" fmla="*/ 261 h 566"/>
              <a:gd name="T16" fmla="*/ 0 w 422"/>
              <a:gd name="T17" fmla="*/ 516 h 566"/>
              <a:gd name="T18" fmla="*/ 50 w 422"/>
              <a:gd name="T19" fmla="*/ 566 h 566"/>
              <a:gd name="T20" fmla="*/ 371 w 422"/>
              <a:gd name="T21" fmla="*/ 566 h 566"/>
              <a:gd name="T22" fmla="*/ 422 w 422"/>
              <a:gd name="T23" fmla="*/ 516 h 566"/>
              <a:gd name="T24" fmla="*/ 422 w 422"/>
              <a:gd name="T25" fmla="*/ 261 h 566"/>
              <a:gd name="T26" fmla="*/ 371 w 422"/>
              <a:gd name="T27" fmla="*/ 210 h 566"/>
              <a:gd name="T28" fmla="*/ 84 w 422"/>
              <a:gd name="T29" fmla="*/ 140 h 566"/>
              <a:gd name="T30" fmla="*/ 211 w 422"/>
              <a:gd name="T31" fmla="*/ 14 h 566"/>
              <a:gd name="T32" fmla="*/ 338 w 422"/>
              <a:gd name="T33" fmla="*/ 140 h 566"/>
              <a:gd name="T34" fmla="*/ 338 w 422"/>
              <a:gd name="T35" fmla="*/ 210 h 566"/>
              <a:gd name="T36" fmla="*/ 84 w 422"/>
              <a:gd name="T37" fmla="*/ 210 h 566"/>
              <a:gd name="T38" fmla="*/ 84 w 422"/>
              <a:gd name="T39" fmla="*/ 140 h 566"/>
              <a:gd name="T40" fmla="*/ 408 w 422"/>
              <a:gd name="T41" fmla="*/ 516 h 566"/>
              <a:gd name="T42" fmla="*/ 371 w 422"/>
              <a:gd name="T43" fmla="*/ 552 h 566"/>
              <a:gd name="T44" fmla="*/ 50 w 422"/>
              <a:gd name="T45" fmla="*/ 552 h 566"/>
              <a:gd name="T46" fmla="*/ 14 w 422"/>
              <a:gd name="T47" fmla="*/ 516 h 566"/>
              <a:gd name="T48" fmla="*/ 14 w 422"/>
              <a:gd name="T49" fmla="*/ 261 h 566"/>
              <a:gd name="T50" fmla="*/ 50 w 422"/>
              <a:gd name="T51" fmla="*/ 224 h 566"/>
              <a:gd name="T52" fmla="*/ 371 w 422"/>
              <a:gd name="T53" fmla="*/ 224 h 566"/>
              <a:gd name="T54" fmla="*/ 408 w 422"/>
              <a:gd name="T55" fmla="*/ 261 h 566"/>
              <a:gd name="T56" fmla="*/ 408 w 422"/>
              <a:gd name="T57" fmla="*/ 516 h 566"/>
              <a:gd name="T58" fmla="*/ 211 w 422"/>
              <a:gd name="T59" fmla="*/ 333 h 566"/>
              <a:gd name="T60" fmla="*/ 182 w 422"/>
              <a:gd name="T61" fmla="*/ 362 h 566"/>
              <a:gd name="T62" fmla="*/ 204 w 422"/>
              <a:gd name="T63" fmla="*/ 389 h 566"/>
              <a:gd name="T64" fmla="*/ 204 w 422"/>
              <a:gd name="T65" fmla="*/ 433 h 566"/>
              <a:gd name="T66" fmla="*/ 211 w 422"/>
              <a:gd name="T67" fmla="*/ 440 h 566"/>
              <a:gd name="T68" fmla="*/ 218 w 422"/>
              <a:gd name="T69" fmla="*/ 433 h 566"/>
              <a:gd name="T70" fmla="*/ 218 w 422"/>
              <a:gd name="T71" fmla="*/ 389 h 566"/>
              <a:gd name="T72" fmla="*/ 239 w 422"/>
              <a:gd name="T73" fmla="*/ 362 h 566"/>
              <a:gd name="T74" fmla="*/ 211 w 422"/>
              <a:gd name="T75" fmla="*/ 333 h 566"/>
              <a:gd name="T76" fmla="*/ 211 w 422"/>
              <a:gd name="T77" fmla="*/ 376 h 566"/>
              <a:gd name="T78" fmla="*/ 196 w 422"/>
              <a:gd name="T79" fmla="*/ 362 h 566"/>
              <a:gd name="T80" fmla="*/ 211 w 422"/>
              <a:gd name="T81" fmla="*/ 347 h 566"/>
              <a:gd name="T82" fmla="*/ 225 w 422"/>
              <a:gd name="T83" fmla="*/ 362 h 566"/>
              <a:gd name="T84" fmla="*/ 211 w 422"/>
              <a:gd name="T85" fmla="*/ 376 h 5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22" h="566">
                <a:moveTo>
                  <a:pt x="371" y="210"/>
                </a:moveTo>
                <a:cubicBezTo>
                  <a:pt x="352" y="210"/>
                  <a:pt x="352" y="210"/>
                  <a:pt x="352" y="210"/>
                </a:cubicBezTo>
                <a:cubicBezTo>
                  <a:pt x="352" y="140"/>
                  <a:pt x="352" y="140"/>
                  <a:pt x="352" y="140"/>
                </a:cubicBezTo>
                <a:cubicBezTo>
                  <a:pt x="352" y="63"/>
                  <a:pt x="288" y="0"/>
                  <a:pt x="211" y="0"/>
                </a:cubicBezTo>
                <a:cubicBezTo>
                  <a:pt x="133" y="0"/>
                  <a:pt x="70" y="63"/>
                  <a:pt x="70" y="140"/>
                </a:cubicBezTo>
                <a:cubicBezTo>
                  <a:pt x="70" y="210"/>
                  <a:pt x="70" y="210"/>
                  <a:pt x="70" y="210"/>
                </a:cubicBezTo>
                <a:cubicBezTo>
                  <a:pt x="50" y="210"/>
                  <a:pt x="50" y="210"/>
                  <a:pt x="50" y="210"/>
                </a:cubicBezTo>
                <a:cubicBezTo>
                  <a:pt x="22" y="210"/>
                  <a:pt x="0" y="233"/>
                  <a:pt x="0" y="261"/>
                </a:cubicBezTo>
                <a:cubicBezTo>
                  <a:pt x="0" y="516"/>
                  <a:pt x="0" y="516"/>
                  <a:pt x="0" y="516"/>
                </a:cubicBezTo>
                <a:cubicBezTo>
                  <a:pt x="0" y="544"/>
                  <a:pt x="22" y="566"/>
                  <a:pt x="50" y="566"/>
                </a:cubicBezTo>
                <a:cubicBezTo>
                  <a:pt x="371" y="566"/>
                  <a:pt x="371" y="566"/>
                  <a:pt x="371" y="566"/>
                </a:cubicBezTo>
                <a:cubicBezTo>
                  <a:pt x="399" y="566"/>
                  <a:pt x="422" y="544"/>
                  <a:pt x="422" y="516"/>
                </a:cubicBezTo>
                <a:cubicBezTo>
                  <a:pt x="422" y="261"/>
                  <a:pt x="422" y="261"/>
                  <a:pt x="422" y="261"/>
                </a:cubicBezTo>
                <a:cubicBezTo>
                  <a:pt x="422" y="233"/>
                  <a:pt x="399" y="210"/>
                  <a:pt x="371" y="210"/>
                </a:cubicBezTo>
                <a:close/>
                <a:moveTo>
                  <a:pt x="84" y="140"/>
                </a:moveTo>
                <a:cubicBezTo>
                  <a:pt x="84" y="71"/>
                  <a:pt x="141" y="14"/>
                  <a:pt x="211" y="14"/>
                </a:cubicBezTo>
                <a:cubicBezTo>
                  <a:pt x="281" y="14"/>
                  <a:pt x="338" y="71"/>
                  <a:pt x="338" y="140"/>
                </a:cubicBezTo>
                <a:cubicBezTo>
                  <a:pt x="338" y="210"/>
                  <a:pt x="338" y="210"/>
                  <a:pt x="338" y="210"/>
                </a:cubicBezTo>
                <a:cubicBezTo>
                  <a:pt x="84" y="210"/>
                  <a:pt x="84" y="210"/>
                  <a:pt x="84" y="210"/>
                </a:cubicBezTo>
                <a:lnTo>
                  <a:pt x="84" y="140"/>
                </a:lnTo>
                <a:close/>
                <a:moveTo>
                  <a:pt x="408" y="516"/>
                </a:moveTo>
                <a:cubicBezTo>
                  <a:pt x="408" y="536"/>
                  <a:pt x="391" y="552"/>
                  <a:pt x="371" y="552"/>
                </a:cubicBezTo>
                <a:cubicBezTo>
                  <a:pt x="50" y="552"/>
                  <a:pt x="50" y="552"/>
                  <a:pt x="50" y="552"/>
                </a:cubicBezTo>
                <a:cubicBezTo>
                  <a:pt x="30" y="552"/>
                  <a:pt x="14" y="536"/>
                  <a:pt x="14" y="516"/>
                </a:cubicBezTo>
                <a:cubicBezTo>
                  <a:pt x="14" y="261"/>
                  <a:pt x="14" y="261"/>
                  <a:pt x="14" y="261"/>
                </a:cubicBezTo>
                <a:cubicBezTo>
                  <a:pt x="14" y="240"/>
                  <a:pt x="30" y="224"/>
                  <a:pt x="50" y="224"/>
                </a:cubicBezTo>
                <a:cubicBezTo>
                  <a:pt x="371" y="224"/>
                  <a:pt x="371" y="224"/>
                  <a:pt x="371" y="224"/>
                </a:cubicBezTo>
                <a:cubicBezTo>
                  <a:pt x="391" y="224"/>
                  <a:pt x="408" y="240"/>
                  <a:pt x="408" y="261"/>
                </a:cubicBezTo>
                <a:lnTo>
                  <a:pt x="408" y="516"/>
                </a:lnTo>
                <a:close/>
                <a:moveTo>
                  <a:pt x="211" y="333"/>
                </a:moveTo>
                <a:cubicBezTo>
                  <a:pt x="195" y="333"/>
                  <a:pt x="182" y="346"/>
                  <a:pt x="182" y="362"/>
                </a:cubicBezTo>
                <a:cubicBezTo>
                  <a:pt x="182" y="375"/>
                  <a:pt x="191" y="386"/>
                  <a:pt x="204" y="389"/>
                </a:cubicBezTo>
                <a:cubicBezTo>
                  <a:pt x="204" y="433"/>
                  <a:pt x="204" y="433"/>
                  <a:pt x="204" y="433"/>
                </a:cubicBezTo>
                <a:cubicBezTo>
                  <a:pt x="204" y="437"/>
                  <a:pt x="207" y="440"/>
                  <a:pt x="211" y="440"/>
                </a:cubicBezTo>
                <a:cubicBezTo>
                  <a:pt x="215" y="440"/>
                  <a:pt x="218" y="437"/>
                  <a:pt x="218" y="433"/>
                </a:cubicBezTo>
                <a:cubicBezTo>
                  <a:pt x="218" y="389"/>
                  <a:pt x="218" y="389"/>
                  <a:pt x="218" y="389"/>
                </a:cubicBezTo>
                <a:cubicBezTo>
                  <a:pt x="230" y="386"/>
                  <a:pt x="239" y="375"/>
                  <a:pt x="239" y="362"/>
                </a:cubicBezTo>
                <a:cubicBezTo>
                  <a:pt x="239" y="346"/>
                  <a:pt x="226" y="333"/>
                  <a:pt x="211" y="333"/>
                </a:cubicBezTo>
                <a:close/>
                <a:moveTo>
                  <a:pt x="211" y="376"/>
                </a:moveTo>
                <a:cubicBezTo>
                  <a:pt x="203" y="376"/>
                  <a:pt x="196" y="370"/>
                  <a:pt x="196" y="362"/>
                </a:cubicBezTo>
                <a:cubicBezTo>
                  <a:pt x="196" y="354"/>
                  <a:pt x="203" y="347"/>
                  <a:pt x="211" y="347"/>
                </a:cubicBezTo>
                <a:cubicBezTo>
                  <a:pt x="219" y="347"/>
                  <a:pt x="225" y="354"/>
                  <a:pt x="225" y="362"/>
                </a:cubicBezTo>
                <a:cubicBezTo>
                  <a:pt x="225" y="370"/>
                  <a:pt x="219" y="376"/>
                  <a:pt x="211" y="37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2" name="Oval 49">
            <a:extLst>
              <a:ext uri="{FF2B5EF4-FFF2-40B4-BE49-F238E27FC236}">
                <a16:creationId xmlns:a16="http://schemas.microsoft.com/office/drawing/2014/main" id="{BD3E48E2-2738-4939-A22B-24AF340DCB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0429" y="2892583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3" name="Freeform 93">
            <a:extLst>
              <a:ext uri="{FF2B5EF4-FFF2-40B4-BE49-F238E27FC236}">
                <a16:creationId xmlns:a16="http://schemas.microsoft.com/office/drawing/2014/main" id="{10C970B8-3916-4FD2-8A90-ED6841BCE18E}"/>
              </a:ext>
            </a:extLst>
          </p:cNvPr>
          <p:cNvSpPr>
            <a:spLocks noEditPoints="1"/>
          </p:cNvSpPr>
          <p:nvPr/>
        </p:nvSpPr>
        <p:spPr bwMode="auto">
          <a:xfrm>
            <a:off x="3292828" y="3059773"/>
            <a:ext cx="376433" cy="488579"/>
          </a:xfrm>
          <a:custGeom>
            <a:avLst/>
            <a:gdLst>
              <a:gd name="T0" fmla="*/ 486 w 486"/>
              <a:gd name="T1" fmla="*/ 163 h 630"/>
              <a:gd name="T2" fmla="*/ 485 w 486"/>
              <a:gd name="T3" fmla="*/ 161 h 630"/>
              <a:gd name="T4" fmla="*/ 484 w 486"/>
              <a:gd name="T5" fmla="*/ 160 h 630"/>
              <a:gd name="T6" fmla="*/ 326 w 486"/>
              <a:gd name="T7" fmla="*/ 2 h 630"/>
              <a:gd name="T8" fmla="*/ 325 w 486"/>
              <a:gd name="T9" fmla="*/ 1 h 630"/>
              <a:gd name="T10" fmla="*/ 323 w 486"/>
              <a:gd name="T11" fmla="*/ 1 h 630"/>
              <a:gd name="T12" fmla="*/ 122 w 486"/>
              <a:gd name="T13" fmla="*/ 0 h 630"/>
              <a:gd name="T14" fmla="*/ 115 w 486"/>
              <a:gd name="T15" fmla="*/ 137 h 630"/>
              <a:gd name="T16" fmla="*/ 0 w 486"/>
              <a:gd name="T17" fmla="*/ 144 h 630"/>
              <a:gd name="T18" fmla="*/ 7 w 486"/>
              <a:gd name="T19" fmla="*/ 630 h 630"/>
              <a:gd name="T20" fmla="*/ 372 w 486"/>
              <a:gd name="T21" fmla="*/ 623 h 630"/>
              <a:gd name="T22" fmla="*/ 479 w 486"/>
              <a:gd name="T23" fmla="*/ 493 h 630"/>
              <a:gd name="T24" fmla="*/ 486 w 486"/>
              <a:gd name="T25" fmla="*/ 165 h 630"/>
              <a:gd name="T26" fmla="*/ 329 w 486"/>
              <a:gd name="T27" fmla="*/ 24 h 630"/>
              <a:gd name="T28" fmla="*/ 329 w 486"/>
              <a:gd name="T29" fmla="*/ 158 h 630"/>
              <a:gd name="T30" fmla="*/ 358 w 486"/>
              <a:gd name="T31" fmla="*/ 616 h 630"/>
              <a:gd name="T32" fmla="*/ 14 w 486"/>
              <a:gd name="T33" fmla="*/ 151 h 630"/>
              <a:gd name="T34" fmla="*/ 200 w 486"/>
              <a:gd name="T35" fmla="*/ 302 h 630"/>
              <a:gd name="T36" fmla="*/ 358 w 486"/>
              <a:gd name="T37" fmla="*/ 309 h 630"/>
              <a:gd name="T38" fmla="*/ 348 w 486"/>
              <a:gd name="T39" fmla="*/ 295 h 630"/>
              <a:gd name="T40" fmla="*/ 214 w 486"/>
              <a:gd name="T41" fmla="*/ 161 h 630"/>
              <a:gd name="T42" fmla="*/ 372 w 486"/>
              <a:gd name="T43" fmla="*/ 479 h 630"/>
              <a:gd name="T44" fmla="*/ 372 w 486"/>
              <a:gd name="T45" fmla="*/ 301 h 630"/>
              <a:gd name="T46" fmla="*/ 371 w 486"/>
              <a:gd name="T47" fmla="*/ 299 h 630"/>
              <a:gd name="T48" fmla="*/ 371 w 486"/>
              <a:gd name="T49" fmla="*/ 298 h 630"/>
              <a:gd name="T50" fmla="*/ 212 w 486"/>
              <a:gd name="T51" fmla="*/ 139 h 630"/>
              <a:gd name="T52" fmla="*/ 211 w 486"/>
              <a:gd name="T53" fmla="*/ 138 h 630"/>
              <a:gd name="T54" fmla="*/ 210 w 486"/>
              <a:gd name="T55" fmla="*/ 138 h 630"/>
              <a:gd name="T56" fmla="*/ 207 w 486"/>
              <a:gd name="T57" fmla="*/ 137 h 630"/>
              <a:gd name="T58" fmla="*/ 129 w 486"/>
              <a:gd name="T59" fmla="*/ 14 h 630"/>
              <a:gd name="T60" fmla="*/ 315 w 486"/>
              <a:gd name="T61" fmla="*/ 165 h 630"/>
              <a:gd name="T62" fmla="*/ 472 w 486"/>
              <a:gd name="T63" fmla="*/ 172 h 630"/>
              <a:gd name="T64" fmla="*/ 372 w 486"/>
              <a:gd name="T65" fmla="*/ 479 h 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86" h="630">
                <a:moveTo>
                  <a:pt x="486" y="164"/>
                </a:moveTo>
                <a:cubicBezTo>
                  <a:pt x="486" y="163"/>
                  <a:pt x="486" y="163"/>
                  <a:pt x="486" y="163"/>
                </a:cubicBezTo>
                <a:cubicBezTo>
                  <a:pt x="486" y="162"/>
                  <a:pt x="486" y="162"/>
                  <a:pt x="486" y="162"/>
                </a:cubicBezTo>
                <a:cubicBezTo>
                  <a:pt x="486" y="162"/>
                  <a:pt x="486" y="162"/>
                  <a:pt x="485" y="161"/>
                </a:cubicBezTo>
                <a:cubicBezTo>
                  <a:pt x="485" y="161"/>
                  <a:pt x="485" y="161"/>
                  <a:pt x="485" y="161"/>
                </a:cubicBezTo>
                <a:cubicBezTo>
                  <a:pt x="485" y="161"/>
                  <a:pt x="485" y="160"/>
                  <a:pt x="484" y="160"/>
                </a:cubicBezTo>
                <a:cubicBezTo>
                  <a:pt x="327" y="2"/>
                  <a:pt x="327" y="2"/>
                  <a:pt x="327" y="2"/>
                </a:cubicBezTo>
                <a:cubicBezTo>
                  <a:pt x="327" y="2"/>
                  <a:pt x="326" y="2"/>
                  <a:pt x="326" y="2"/>
                </a:cubicBezTo>
                <a:cubicBezTo>
                  <a:pt x="326" y="2"/>
                  <a:pt x="326" y="2"/>
                  <a:pt x="326" y="1"/>
                </a:cubicBezTo>
                <a:cubicBezTo>
                  <a:pt x="325" y="1"/>
                  <a:pt x="325" y="1"/>
                  <a:pt x="325" y="1"/>
                </a:cubicBezTo>
                <a:cubicBezTo>
                  <a:pt x="324" y="1"/>
                  <a:pt x="324" y="1"/>
                  <a:pt x="324" y="1"/>
                </a:cubicBezTo>
                <a:cubicBezTo>
                  <a:pt x="324" y="1"/>
                  <a:pt x="324" y="1"/>
                  <a:pt x="323" y="1"/>
                </a:cubicBezTo>
                <a:cubicBezTo>
                  <a:pt x="323" y="0"/>
                  <a:pt x="322" y="0"/>
                  <a:pt x="322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18" y="0"/>
                  <a:pt x="115" y="4"/>
                  <a:pt x="115" y="7"/>
                </a:cubicBezTo>
                <a:cubicBezTo>
                  <a:pt x="115" y="137"/>
                  <a:pt x="115" y="137"/>
                  <a:pt x="115" y="137"/>
                </a:cubicBezTo>
                <a:cubicBezTo>
                  <a:pt x="7" y="137"/>
                  <a:pt x="7" y="137"/>
                  <a:pt x="7" y="137"/>
                </a:cubicBezTo>
                <a:cubicBezTo>
                  <a:pt x="3" y="137"/>
                  <a:pt x="0" y="141"/>
                  <a:pt x="0" y="144"/>
                </a:cubicBezTo>
                <a:cubicBezTo>
                  <a:pt x="0" y="623"/>
                  <a:pt x="0" y="623"/>
                  <a:pt x="0" y="623"/>
                </a:cubicBezTo>
                <a:cubicBezTo>
                  <a:pt x="0" y="626"/>
                  <a:pt x="3" y="630"/>
                  <a:pt x="7" y="630"/>
                </a:cubicBezTo>
                <a:cubicBezTo>
                  <a:pt x="365" y="630"/>
                  <a:pt x="365" y="630"/>
                  <a:pt x="365" y="630"/>
                </a:cubicBezTo>
                <a:cubicBezTo>
                  <a:pt x="369" y="630"/>
                  <a:pt x="372" y="626"/>
                  <a:pt x="372" y="623"/>
                </a:cubicBezTo>
                <a:cubicBezTo>
                  <a:pt x="372" y="493"/>
                  <a:pt x="372" y="493"/>
                  <a:pt x="372" y="493"/>
                </a:cubicBezTo>
                <a:cubicBezTo>
                  <a:pt x="479" y="493"/>
                  <a:pt x="479" y="493"/>
                  <a:pt x="479" y="493"/>
                </a:cubicBezTo>
                <a:cubicBezTo>
                  <a:pt x="483" y="493"/>
                  <a:pt x="486" y="489"/>
                  <a:pt x="486" y="486"/>
                </a:cubicBezTo>
                <a:cubicBezTo>
                  <a:pt x="486" y="165"/>
                  <a:pt x="486" y="165"/>
                  <a:pt x="486" y="165"/>
                </a:cubicBezTo>
                <a:cubicBezTo>
                  <a:pt x="486" y="164"/>
                  <a:pt x="486" y="164"/>
                  <a:pt x="486" y="164"/>
                </a:cubicBezTo>
                <a:close/>
                <a:moveTo>
                  <a:pt x="329" y="24"/>
                </a:moveTo>
                <a:cubicBezTo>
                  <a:pt x="463" y="158"/>
                  <a:pt x="463" y="158"/>
                  <a:pt x="463" y="158"/>
                </a:cubicBezTo>
                <a:cubicBezTo>
                  <a:pt x="329" y="158"/>
                  <a:pt x="329" y="158"/>
                  <a:pt x="329" y="158"/>
                </a:cubicBezTo>
                <a:lnTo>
                  <a:pt x="329" y="24"/>
                </a:lnTo>
                <a:close/>
                <a:moveTo>
                  <a:pt x="358" y="616"/>
                </a:moveTo>
                <a:cubicBezTo>
                  <a:pt x="14" y="616"/>
                  <a:pt x="14" y="616"/>
                  <a:pt x="14" y="616"/>
                </a:cubicBezTo>
                <a:cubicBezTo>
                  <a:pt x="14" y="151"/>
                  <a:pt x="14" y="151"/>
                  <a:pt x="14" y="151"/>
                </a:cubicBezTo>
                <a:cubicBezTo>
                  <a:pt x="200" y="151"/>
                  <a:pt x="200" y="151"/>
                  <a:pt x="200" y="151"/>
                </a:cubicBezTo>
                <a:cubicBezTo>
                  <a:pt x="200" y="302"/>
                  <a:pt x="200" y="302"/>
                  <a:pt x="200" y="302"/>
                </a:cubicBezTo>
                <a:cubicBezTo>
                  <a:pt x="200" y="306"/>
                  <a:pt x="203" y="309"/>
                  <a:pt x="207" y="309"/>
                </a:cubicBezTo>
                <a:cubicBezTo>
                  <a:pt x="358" y="309"/>
                  <a:pt x="358" y="309"/>
                  <a:pt x="358" y="309"/>
                </a:cubicBezTo>
                <a:lnTo>
                  <a:pt x="358" y="616"/>
                </a:lnTo>
                <a:close/>
                <a:moveTo>
                  <a:pt x="348" y="295"/>
                </a:moveTo>
                <a:cubicBezTo>
                  <a:pt x="214" y="295"/>
                  <a:pt x="214" y="295"/>
                  <a:pt x="214" y="295"/>
                </a:cubicBezTo>
                <a:cubicBezTo>
                  <a:pt x="214" y="161"/>
                  <a:pt x="214" y="161"/>
                  <a:pt x="214" y="161"/>
                </a:cubicBezTo>
                <a:lnTo>
                  <a:pt x="348" y="295"/>
                </a:lnTo>
                <a:close/>
                <a:moveTo>
                  <a:pt x="372" y="479"/>
                </a:moveTo>
                <a:cubicBezTo>
                  <a:pt x="372" y="302"/>
                  <a:pt x="372" y="302"/>
                  <a:pt x="372" y="302"/>
                </a:cubicBezTo>
                <a:cubicBezTo>
                  <a:pt x="372" y="301"/>
                  <a:pt x="372" y="301"/>
                  <a:pt x="372" y="301"/>
                </a:cubicBezTo>
                <a:cubicBezTo>
                  <a:pt x="372" y="300"/>
                  <a:pt x="371" y="300"/>
                  <a:pt x="371" y="300"/>
                </a:cubicBezTo>
                <a:cubicBezTo>
                  <a:pt x="371" y="299"/>
                  <a:pt x="371" y="299"/>
                  <a:pt x="371" y="299"/>
                </a:cubicBezTo>
                <a:cubicBezTo>
                  <a:pt x="371" y="299"/>
                  <a:pt x="371" y="299"/>
                  <a:pt x="371" y="298"/>
                </a:cubicBezTo>
                <a:cubicBezTo>
                  <a:pt x="371" y="298"/>
                  <a:pt x="371" y="298"/>
                  <a:pt x="371" y="298"/>
                </a:cubicBezTo>
                <a:cubicBezTo>
                  <a:pt x="370" y="298"/>
                  <a:pt x="370" y="297"/>
                  <a:pt x="370" y="297"/>
                </a:cubicBezTo>
                <a:cubicBezTo>
                  <a:pt x="212" y="139"/>
                  <a:pt x="212" y="139"/>
                  <a:pt x="212" y="139"/>
                </a:cubicBezTo>
                <a:cubicBezTo>
                  <a:pt x="212" y="139"/>
                  <a:pt x="211" y="139"/>
                  <a:pt x="211" y="139"/>
                </a:cubicBezTo>
                <a:cubicBezTo>
                  <a:pt x="211" y="139"/>
                  <a:pt x="211" y="138"/>
                  <a:pt x="211" y="138"/>
                </a:cubicBezTo>
                <a:cubicBezTo>
                  <a:pt x="211" y="138"/>
                  <a:pt x="210" y="138"/>
                  <a:pt x="210" y="138"/>
                </a:cubicBezTo>
                <a:cubicBezTo>
                  <a:pt x="210" y="138"/>
                  <a:pt x="210" y="138"/>
                  <a:pt x="210" y="138"/>
                </a:cubicBezTo>
                <a:cubicBezTo>
                  <a:pt x="209" y="138"/>
                  <a:pt x="209" y="138"/>
                  <a:pt x="209" y="138"/>
                </a:cubicBezTo>
                <a:cubicBezTo>
                  <a:pt x="208" y="137"/>
                  <a:pt x="208" y="137"/>
                  <a:pt x="207" y="137"/>
                </a:cubicBezTo>
                <a:cubicBezTo>
                  <a:pt x="129" y="137"/>
                  <a:pt x="129" y="137"/>
                  <a:pt x="129" y="137"/>
                </a:cubicBezTo>
                <a:cubicBezTo>
                  <a:pt x="129" y="14"/>
                  <a:pt x="129" y="14"/>
                  <a:pt x="129" y="14"/>
                </a:cubicBezTo>
                <a:cubicBezTo>
                  <a:pt x="315" y="14"/>
                  <a:pt x="315" y="14"/>
                  <a:pt x="315" y="14"/>
                </a:cubicBezTo>
                <a:cubicBezTo>
                  <a:pt x="315" y="165"/>
                  <a:pt x="315" y="165"/>
                  <a:pt x="315" y="165"/>
                </a:cubicBezTo>
                <a:cubicBezTo>
                  <a:pt x="315" y="169"/>
                  <a:pt x="318" y="172"/>
                  <a:pt x="322" y="172"/>
                </a:cubicBezTo>
                <a:cubicBezTo>
                  <a:pt x="472" y="172"/>
                  <a:pt x="472" y="172"/>
                  <a:pt x="472" y="172"/>
                </a:cubicBezTo>
                <a:cubicBezTo>
                  <a:pt x="472" y="479"/>
                  <a:pt x="472" y="479"/>
                  <a:pt x="472" y="479"/>
                </a:cubicBezTo>
                <a:lnTo>
                  <a:pt x="372" y="4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4" name="Oval 63">
            <a:extLst>
              <a:ext uri="{FF2B5EF4-FFF2-40B4-BE49-F238E27FC236}">
                <a16:creationId xmlns:a16="http://schemas.microsoft.com/office/drawing/2014/main" id="{F6CBC419-DC21-487E-B9F1-96F491F505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55916" y="2892583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5" name="Freeform 130">
            <a:extLst>
              <a:ext uri="{FF2B5EF4-FFF2-40B4-BE49-F238E27FC236}">
                <a16:creationId xmlns:a16="http://schemas.microsoft.com/office/drawing/2014/main" id="{9253B353-5310-4E35-A9E2-8DA82B69B3DB}"/>
              </a:ext>
            </a:extLst>
          </p:cNvPr>
          <p:cNvSpPr>
            <a:spLocks noEditPoints="1"/>
          </p:cNvSpPr>
          <p:nvPr/>
        </p:nvSpPr>
        <p:spPr bwMode="auto">
          <a:xfrm>
            <a:off x="5886103" y="3048185"/>
            <a:ext cx="361721" cy="512621"/>
          </a:xfrm>
          <a:custGeom>
            <a:avLst/>
            <a:gdLst>
              <a:gd name="T0" fmla="*/ 340 w 466"/>
              <a:gd name="T1" fmla="*/ 221 h 662"/>
              <a:gd name="T2" fmla="*/ 340 w 466"/>
              <a:gd name="T3" fmla="*/ 128 h 662"/>
              <a:gd name="T4" fmla="*/ 345 w 466"/>
              <a:gd name="T5" fmla="*/ 128 h 662"/>
              <a:gd name="T6" fmla="*/ 383 w 466"/>
              <a:gd name="T7" fmla="*/ 82 h 662"/>
              <a:gd name="T8" fmla="*/ 383 w 466"/>
              <a:gd name="T9" fmla="*/ 43 h 662"/>
              <a:gd name="T10" fmla="*/ 345 w 466"/>
              <a:gd name="T11" fmla="*/ 0 h 662"/>
              <a:gd name="T12" fmla="*/ 121 w 466"/>
              <a:gd name="T13" fmla="*/ 0 h 662"/>
              <a:gd name="T14" fmla="*/ 120 w 466"/>
              <a:gd name="T15" fmla="*/ 0 h 662"/>
              <a:gd name="T16" fmla="*/ 83 w 466"/>
              <a:gd name="T17" fmla="*/ 43 h 662"/>
              <a:gd name="T18" fmla="*/ 83 w 466"/>
              <a:gd name="T19" fmla="*/ 82 h 662"/>
              <a:gd name="T20" fmla="*/ 124 w 466"/>
              <a:gd name="T21" fmla="*/ 128 h 662"/>
              <a:gd name="T22" fmla="*/ 127 w 466"/>
              <a:gd name="T23" fmla="*/ 128 h 662"/>
              <a:gd name="T24" fmla="*/ 127 w 466"/>
              <a:gd name="T25" fmla="*/ 221 h 662"/>
              <a:gd name="T26" fmla="*/ 0 w 466"/>
              <a:gd name="T27" fmla="*/ 448 h 662"/>
              <a:gd name="T28" fmla="*/ 26 w 466"/>
              <a:gd name="T29" fmla="*/ 477 h 662"/>
              <a:gd name="T30" fmla="*/ 222 w 466"/>
              <a:gd name="T31" fmla="*/ 477 h 662"/>
              <a:gd name="T32" fmla="*/ 222 w 466"/>
              <a:gd name="T33" fmla="*/ 655 h 662"/>
              <a:gd name="T34" fmla="*/ 229 w 466"/>
              <a:gd name="T35" fmla="*/ 662 h 662"/>
              <a:gd name="T36" fmla="*/ 236 w 466"/>
              <a:gd name="T37" fmla="*/ 655 h 662"/>
              <a:gd name="T38" fmla="*/ 236 w 466"/>
              <a:gd name="T39" fmla="*/ 477 h 662"/>
              <a:gd name="T40" fmla="*/ 440 w 466"/>
              <a:gd name="T41" fmla="*/ 477 h 662"/>
              <a:gd name="T42" fmla="*/ 459 w 466"/>
              <a:gd name="T43" fmla="*/ 468 h 662"/>
              <a:gd name="T44" fmla="*/ 466 w 466"/>
              <a:gd name="T45" fmla="*/ 451 h 662"/>
              <a:gd name="T46" fmla="*/ 340 w 466"/>
              <a:gd name="T47" fmla="*/ 221 h 662"/>
              <a:gd name="T48" fmla="*/ 451 w 466"/>
              <a:gd name="T49" fmla="*/ 457 h 662"/>
              <a:gd name="T50" fmla="*/ 448 w 466"/>
              <a:gd name="T51" fmla="*/ 460 h 662"/>
              <a:gd name="T52" fmla="*/ 440 w 466"/>
              <a:gd name="T53" fmla="*/ 463 h 662"/>
              <a:gd name="T54" fmla="*/ 26 w 466"/>
              <a:gd name="T55" fmla="*/ 463 h 662"/>
              <a:gd name="T56" fmla="*/ 14 w 466"/>
              <a:gd name="T57" fmla="*/ 448 h 662"/>
              <a:gd name="T58" fmla="*/ 137 w 466"/>
              <a:gd name="T59" fmla="*/ 232 h 662"/>
              <a:gd name="T60" fmla="*/ 141 w 466"/>
              <a:gd name="T61" fmla="*/ 225 h 662"/>
              <a:gd name="T62" fmla="*/ 141 w 466"/>
              <a:gd name="T63" fmla="*/ 121 h 662"/>
              <a:gd name="T64" fmla="*/ 134 w 466"/>
              <a:gd name="T65" fmla="*/ 114 h 662"/>
              <a:gd name="T66" fmla="*/ 124 w 466"/>
              <a:gd name="T67" fmla="*/ 114 h 662"/>
              <a:gd name="T68" fmla="*/ 97 w 466"/>
              <a:gd name="T69" fmla="*/ 82 h 662"/>
              <a:gd name="T70" fmla="*/ 97 w 466"/>
              <a:gd name="T71" fmla="*/ 43 h 662"/>
              <a:gd name="T72" fmla="*/ 122 w 466"/>
              <a:gd name="T73" fmla="*/ 14 h 662"/>
              <a:gd name="T74" fmla="*/ 345 w 466"/>
              <a:gd name="T75" fmla="*/ 14 h 662"/>
              <a:gd name="T76" fmla="*/ 369 w 466"/>
              <a:gd name="T77" fmla="*/ 43 h 662"/>
              <a:gd name="T78" fmla="*/ 369 w 466"/>
              <a:gd name="T79" fmla="*/ 82 h 662"/>
              <a:gd name="T80" fmla="*/ 345 w 466"/>
              <a:gd name="T81" fmla="*/ 114 h 662"/>
              <a:gd name="T82" fmla="*/ 333 w 466"/>
              <a:gd name="T83" fmla="*/ 114 h 662"/>
              <a:gd name="T84" fmla="*/ 326 w 466"/>
              <a:gd name="T85" fmla="*/ 121 h 662"/>
              <a:gd name="T86" fmla="*/ 326 w 466"/>
              <a:gd name="T87" fmla="*/ 225 h 662"/>
              <a:gd name="T88" fmla="*/ 330 w 466"/>
              <a:gd name="T89" fmla="*/ 232 h 662"/>
              <a:gd name="T90" fmla="*/ 452 w 466"/>
              <a:gd name="T91" fmla="*/ 451 h 662"/>
              <a:gd name="T92" fmla="*/ 451 w 466"/>
              <a:gd name="T93" fmla="*/ 457 h 6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6" h="662">
                <a:moveTo>
                  <a:pt x="340" y="221"/>
                </a:moveTo>
                <a:cubicBezTo>
                  <a:pt x="340" y="128"/>
                  <a:pt x="340" y="128"/>
                  <a:pt x="340" y="128"/>
                </a:cubicBezTo>
                <a:cubicBezTo>
                  <a:pt x="345" y="128"/>
                  <a:pt x="345" y="128"/>
                  <a:pt x="345" y="128"/>
                </a:cubicBezTo>
                <a:cubicBezTo>
                  <a:pt x="365" y="128"/>
                  <a:pt x="383" y="106"/>
                  <a:pt x="383" y="82"/>
                </a:cubicBezTo>
                <a:cubicBezTo>
                  <a:pt x="383" y="43"/>
                  <a:pt x="383" y="43"/>
                  <a:pt x="383" y="43"/>
                </a:cubicBezTo>
                <a:cubicBezTo>
                  <a:pt x="383" y="19"/>
                  <a:pt x="366" y="0"/>
                  <a:pt x="345" y="0"/>
                </a:cubicBezTo>
                <a:cubicBezTo>
                  <a:pt x="121" y="0"/>
                  <a:pt x="121" y="0"/>
                  <a:pt x="121" y="0"/>
                </a:cubicBezTo>
                <a:cubicBezTo>
                  <a:pt x="121" y="0"/>
                  <a:pt x="120" y="0"/>
                  <a:pt x="120" y="0"/>
                </a:cubicBezTo>
                <a:cubicBezTo>
                  <a:pt x="100" y="0"/>
                  <a:pt x="83" y="20"/>
                  <a:pt x="83" y="43"/>
                </a:cubicBezTo>
                <a:cubicBezTo>
                  <a:pt x="83" y="82"/>
                  <a:pt x="83" y="82"/>
                  <a:pt x="83" y="82"/>
                </a:cubicBezTo>
                <a:cubicBezTo>
                  <a:pt x="83" y="105"/>
                  <a:pt x="103" y="128"/>
                  <a:pt x="124" y="128"/>
                </a:cubicBezTo>
                <a:cubicBezTo>
                  <a:pt x="127" y="128"/>
                  <a:pt x="127" y="128"/>
                  <a:pt x="127" y="128"/>
                </a:cubicBezTo>
                <a:cubicBezTo>
                  <a:pt x="127" y="221"/>
                  <a:pt x="127" y="221"/>
                  <a:pt x="127" y="221"/>
                </a:cubicBezTo>
                <a:cubicBezTo>
                  <a:pt x="44" y="261"/>
                  <a:pt x="0" y="339"/>
                  <a:pt x="0" y="448"/>
                </a:cubicBezTo>
                <a:cubicBezTo>
                  <a:pt x="0" y="465"/>
                  <a:pt x="11" y="477"/>
                  <a:pt x="26" y="477"/>
                </a:cubicBezTo>
                <a:cubicBezTo>
                  <a:pt x="222" y="477"/>
                  <a:pt x="222" y="477"/>
                  <a:pt x="222" y="477"/>
                </a:cubicBezTo>
                <a:cubicBezTo>
                  <a:pt x="222" y="655"/>
                  <a:pt x="222" y="655"/>
                  <a:pt x="222" y="655"/>
                </a:cubicBezTo>
                <a:cubicBezTo>
                  <a:pt x="222" y="658"/>
                  <a:pt x="225" y="662"/>
                  <a:pt x="229" y="662"/>
                </a:cubicBezTo>
                <a:cubicBezTo>
                  <a:pt x="233" y="662"/>
                  <a:pt x="236" y="658"/>
                  <a:pt x="236" y="655"/>
                </a:cubicBezTo>
                <a:cubicBezTo>
                  <a:pt x="236" y="477"/>
                  <a:pt x="236" y="477"/>
                  <a:pt x="236" y="477"/>
                </a:cubicBezTo>
                <a:cubicBezTo>
                  <a:pt x="440" y="477"/>
                  <a:pt x="440" y="477"/>
                  <a:pt x="440" y="477"/>
                </a:cubicBezTo>
                <a:cubicBezTo>
                  <a:pt x="445" y="477"/>
                  <a:pt x="455" y="475"/>
                  <a:pt x="459" y="468"/>
                </a:cubicBezTo>
                <a:cubicBezTo>
                  <a:pt x="466" y="463"/>
                  <a:pt x="466" y="456"/>
                  <a:pt x="466" y="451"/>
                </a:cubicBezTo>
                <a:cubicBezTo>
                  <a:pt x="466" y="340"/>
                  <a:pt x="422" y="261"/>
                  <a:pt x="340" y="221"/>
                </a:cubicBezTo>
                <a:close/>
                <a:moveTo>
                  <a:pt x="451" y="457"/>
                </a:moveTo>
                <a:cubicBezTo>
                  <a:pt x="450" y="457"/>
                  <a:pt x="449" y="458"/>
                  <a:pt x="448" y="460"/>
                </a:cubicBezTo>
                <a:cubicBezTo>
                  <a:pt x="447" y="461"/>
                  <a:pt x="443" y="463"/>
                  <a:pt x="440" y="463"/>
                </a:cubicBezTo>
                <a:cubicBezTo>
                  <a:pt x="26" y="463"/>
                  <a:pt x="26" y="463"/>
                  <a:pt x="26" y="463"/>
                </a:cubicBezTo>
                <a:cubicBezTo>
                  <a:pt x="15" y="463"/>
                  <a:pt x="14" y="451"/>
                  <a:pt x="14" y="448"/>
                </a:cubicBezTo>
                <a:cubicBezTo>
                  <a:pt x="14" y="344"/>
                  <a:pt x="56" y="269"/>
                  <a:pt x="137" y="232"/>
                </a:cubicBezTo>
                <a:cubicBezTo>
                  <a:pt x="139" y="230"/>
                  <a:pt x="141" y="228"/>
                  <a:pt x="141" y="225"/>
                </a:cubicBezTo>
                <a:cubicBezTo>
                  <a:pt x="141" y="121"/>
                  <a:pt x="141" y="121"/>
                  <a:pt x="141" y="121"/>
                </a:cubicBezTo>
                <a:cubicBezTo>
                  <a:pt x="141" y="117"/>
                  <a:pt x="138" y="114"/>
                  <a:pt x="134" y="114"/>
                </a:cubicBezTo>
                <a:cubicBezTo>
                  <a:pt x="124" y="114"/>
                  <a:pt x="124" y="114"/>
                  <a:pt x="124" y="114"/>
                </a:cubicBezTo>
                <a:cubicBezTo>
                  <a:pt x="111" y="114"/>
                  <a:pt x="97" y="97"/>
                  <a:pt x="97" y="82"/>
                </a:cubicBezTo>
                <a:cubicBezTo>
                  <a:pt x="97" y="43"/>
                  <a:pt x="97" y="43"/>
                  <a:pt x="97" y="43"/>
                </a:cubicBezTo>
                <a:cubicBezTo>
                  <a:pt x="97" y="27"/>
                  <a:pt x="109" y="14"/>
                  <a:pt x="122" y="14"/>
                </a:cubicBezTo>
                <a:cubicBezTo>
                  <a:pt x="345" y="14"/>
                  <a:pt x="345" y="14"/>
                  <a:pt x="345" y="14"/>
                </a:cubicBezTo>
                <a:cubicBezTo>
                  <a:pt x="358" y="14"/>
                  <a:pt x="369" y="27"/>
                  <a:pt x="369" y="43"/>
                </a:cubicBezTo>
                <a:cubicBezTo>
                  <a:pt x="369" y="82"/>
                  <a:pt x="369" y="82"/>
                  <a:pt x="369" y="82"/>
                </a:cubicBezTo>
                <a:cubicBezTo>
                  <a:pt x="369" y="98"/>
                  <a:pt x="357" y="114"/>
                  <a:pt x="345" y="114"/>
                </a:cubicBezTo>
                <a:cubicBezTo>
                  <a:pt x="333" y="114"/>
                  <a:pt x="333" y="114"/>
                  <a:pt x="333" y="114"/>
                </a:cubicBezTo>
                <a:cubicBezTo>
                  <a:pt x="329" y="114"/>
                  <a:pt x="326" y="117"/>
                  <a:pt x="326" y="121"/>
                </a:cubicBezTo>
                <a:cubicBezTo>
                  <a:pt x="326" y="225"/>
                  <a:pt x="326" y="225"/>
                  <a:pt x="326" y="225"/>
                </a:cubicBezTo>
                <a:cubicBezTo>
                  <a:pt x="326" y="228"/>
                  <a:pt x="327" y="230"/>
                  <a:pt x="330" y="232"/>
                </a:cubicBezTo>
                <a:cubicBezTo>
                  <a:pt x="431" y="278"/>
                  <a:pt x="452" y="377"/>
                  <a:pt x="452" y="451"/>
                </a:cubicBezTo>
                <a:cubicBezTo>
                  <a:pt x="452" y="455"/>
                  <a:pt x="452" y="456"/>
                  <a:pt x="451" y="45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6" name="Oval 58">
            <a:extLst>
              <a:ext uri="{FF2B5EF4-FFF2-40B4-BE49-F238E27FC236}">
                <a16:creationId xmlns:a16="http://schemas.microsoft.com/office/drawing/2014/main" id="{D33DE351-2934-4765-BE58-AAC08B66DD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0325" y="2901208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7" name="Freeform 108">
            <a:extLst>
              <a:ext uri="{FF2B5EF4-FFF2-40B4-BE49-F238E27FC236}">
                <a16:creationId xmlns:a16="http://schemas.microsoft.com/office/drawing/2014/main" id="{DE897010-EEA0-4B7C-B748-60C94C1A3129}"/>
              </a:ext>
            </a:extLst>
          </p:cNvPr>
          <p:cNvSpPr>
            <a:spLocks noEditPoints="1"/>
          </p:cNvSpPr>
          <p:nvPr/>
        </p:nvSpPr>
        <p:spPr bwMode="auto">
          <a:xfrm>
            <a:off x="7015435" y="3069777"/>
            <a:ext cx="459890" cy="484959"/>
          </a:xfrm>
          <a:custGeom>
            <a:avLst/>
            <a:gdLst>
              <a:gd name="T0" fmla="*/ 594 w 594"/>
              <a:gd name="T1" fmla="*/ 421 h 627"/>
              <a:gd name="T2" fmla="*/ 594 w 594"/>
              <a:gd name="T3" fmla="*/ 420 h 627"/>
              <a:gd name="T4" fmla="*/ 594 w 594"/>
              <a:gd name="T5" fmla="*/ 419 h 627"/>
              <a:gd name="T6" fmla="*/ 594 w 594"/>
              <a:gd name="T7" fmla="*/ 418 h 627"/>
              <a:gd name="T8" fmla="*/ 499 w 594"/>
              <a:gd name="T9" fmla="*/ 149 h 627"/>
              <a:gd name="T10" fmla="*/ 498 w 594"/>
              <a:gd name="T11" fmla="*/ 147 h 627"/>
              <a:gd name="T12" fmla="*/ 496 w 594"/>
              <a:gd name="T13" fmla="*/ 146 h 627"/>
              <a:gd name="T14" fmla="*/ 494 w 594"/>
              <a:gd name="T15" fmla="*/ 145 h 627"/>
              <a:gd name="T16" fmla="*/ 329 w 594"/>
              <a:gd name="T17" fmla="*/ 100 h 627"/>
              <a:gd name="T18" fmla="*/ 305 w 594"/>
              <a:gd name="T19" fmla="*/ 68 h 627"/>
              <a:gd name="T20" fmla="*/ 298 w 594"/>
              <a:gd name="T21" fmla="*/ 0 h 627"/>
              <a:gd name="T22" fmla="*/ 291 w 594"/>
              <a:gd name="T23" fmla="*/ 68 h 627"/>
              <a:gd name="T24" fmla="*/ 105 w 594"/>
              <a:gd name="T25" fmla="*/ 39 h 627"/>
              <a:gd name="T26" fmla="*/ 103 w 594"/>
              <a:gd name="T27" fmla="*/ 38 h 627"/>
              <a:gd name="T28" fmla="*/ 101 w 594"/>
              <a:gd name="T29" fmla="*/ 39 h 627"/>
              <a:gd name="T30" fmla="*/ 99 w 594"/>
              <a:gd name="T31" fmla="*/ 40 h 627"/>
              <a:gd name="T32" fmla="*/ 97 w 594"/>
              <a:gd name="T33" fmla="*/ 41 h 627"/>
              <a:gd name="T34" fmla="*/ 97 w 594"/>
              <a:gd name="T35" fmla="*/ 43 h 627"/>
              <a:gd name="T36" fmla="*/ 1 w 594"/>
              <a:gd name="T37" fmla="*/ 310 h 627"/>
              <a:gd name="T38" fmla="*/ 0 w 594"/>
              <a:gd name="T39" fmla="*/ 311 h 627"/>
              <a:gd name="T40" fmla="*/ 0 w 594"/>
              <a:gd name="T41" fmla="*/ 313 h 627"/>
              <a:gd name="T42" fmla="*/ 0 w 594"/>
              <a:gd name="T43" fmla="*/ 314 h 627"/>
              <a:gd name="T44" fmla="*/ 1 w 594"/>
              <a:gd name="T45" fmla="*/ 315 h 627"/>
              <a:gd name="T46" fmla="*/ 1 w 594"/>
              <a:gd name="T47" fmla="*/ 316 h 627"/>
              <a:gd name="T48" fmla="*/ 1 w 594"/>
              <a:gd name="T49" fmla="*/ 316 h 627"/>
              <a:gd name="T50" fmla="*/ 205 w 594"/>
              <a:gd name="T51" fmla="*/ 316 h 627"/>
              <a:gd name="T52" fmla="*/ 205 w 594"/>
              <a:gd name="T53" fmla="*/ 316 h 627"/>
              <a:gd name="T54" fmla="*/ 205 w 594"/>
              <a:gd name="T55" fmla="*/ 315 h 627"/>
              <a:gd name="T56" fmla="*/ 206 w 594"/>
              <a:gd name="T57" fmla="*/ 314 h 627"/>
              <a:gd name="T58" fmla="*/ 206 w 594"/>
              <a:gd name="T59" fmla="*/ 313 h 627"/>
              <a:gd name="T60" fmla="*/ 206 w 594"/>
              <a:gd name="T61" fmla="*/ 311 h 627"/>
              <a:gd name="T62" fmla="*/ 205 w 594"/>
              <a:gd name="T63" fmla="*/ 310 h 627"/>
              <a:gd name="T64" fmla="*/ 266 w 594"/>
              <a:gd name="T65" fmla="*/ 97 h 627"/>
              <a:gd name="T66" fmla="*/ 291 w 594"/>
              <a:gd name="T67" fmla="*/ 130 h 627"/>
              <a:gd name="T68" fmla="*/ 182 w 594"/>
              <a:gd name="T69" fmla="*/ 578 h 627"/>
              <a:gd name="T70" fmla="*/ 146 w 594"/>
              <a:gd name="T71" fmla="*/ 627 h 627"/>
              <a:gd name="T72" fmla="*/ 457 w 594"/>
              <a:gd name="T73" fmla="*/ 620 h 627"/>
              <a:gd name="T74" fmla="*/ 305 w 594"/>
              <a:gd name="T75" fmla="*/ 578 h 627"/>
              <a:gd name="T76" fmla="*/ 326 w 594"/>
              <a:gd name="T77" fmla="*/ 114 h 627"/>
              <a:gd name="T78" fmla="*/ 389 w 594"/>
              <a:gd name="T79" fmla="*/ 418 h 627"/>
              <a:gd name="T80" fmla="*/ 389 w 594"/>
              <a:gd name="T81" fmla="*/ 419 h 627"/>
              <a:gd name="T82" fmla="*/ 388 w 594"/>
              <a:gd name="T83" fmla="*/ 420 h 627"/>
              <a:gd name="T84" fmla="*/ 389 w 594"/>
              <a:gd name="T85" fmla="*/ 421 h 627"/>
              <a:gd name="T86" fmla="*/ 389 w 594"/>
              <a:gd name="T87" fmla="*/ 422 h 627"/>
              <a:gd name="T88" fmla="*/ 390 w 594"/>
              <a:gd name="T89" fmla="*/ 424 h 627"/>
              <a:gd name="T90" fmla="*/ 390 w 594"/>
              <a:gd name="T91" fmla="*/ 424 h 627"/>
              <a:gd name="T92" fmla="*/ 593 w 594"/>
              <a:gd name="T93" fmla="*/ 424 h 627"/>
              <a:gd name="T94" fmla="*/ 593 w 594"/>
              <a:gd name="T95" fmla="*/ 424 h 627"/>
              <a:gd name="T96" fmla="*/ 594 w 594"/>
              <a:gd name="T97" fmla="*/ 422 h 627"/>
              <a:gd name="T98" fmla="*/ 103 w 594"/>
              <a:gd name="T99" fmla="*/ 66 h 627"/>
              <a:gd name="T100" fmla="*/ 17 w 594"/>
              <a:gd name="T101" fmla="*/ 306 h 627"/>
              <a:gd name="T102" fmla="*/ 103 w 594"/>
              <a:gd name="T103" fmla="*/ 353 h 627"/>
              <a:gd name="T104" fmla="*/ 185 w 594"/>
              <a:gd name="T105" fmla="*/ 320 h 627"/>
              <a:gd name="T106" fmla="*/ 442 w 594"/>
              <a:gd name="T107" fmla="*/ 613 h 627"/>
              <a:gd name="T108" fmla="*/ 182 w 594"/>
              <a:gd name="T109" fmla="*/ 592 h 627"/>
              <a:gd name="T110" fmla="*/ 442 w 594"/>
              <a:gd name="T111" fmla="*/ 613 h 627"/>
              <a:gd name="T112" fmla="*/ 280 w 594"/>
              <a:gd name="T113" fmla="*/ 99 h 627"/>
              <a:gd name="T114" fmla="*/ 315 w 594"/>
              <a:gd name="T115" fmla="*/ 99 h 627"/>
              <a:gd name="T116" fmla="*/ 577 w 594"/>
              <a:gd name="T117" fmla="*/ 413 h 627"/>
              <a:gd name="T118" fmla="*/ 492 w 594"/>
              <a:gd name="T119" fmla="*/ 173 h 627"/>
              <a:gd name="T120" fmla="*/ 491 w 594"/>
              <a:gd name="T121" fmla="*/ 460 h 627"/>
              <a:gd name="T122" fmla="*/ 573 w 594"/>
              <a:gd name="T123" fmla="*/ 427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4" h="627">
                <a:moveTo>
                  <a:pt x="594" y="422"/>
                </a:moveTo>
                <a:cubicBezTo>
                  <a:pt x="594" y="422"/>
                  <a:pt x="594" y="421"/>
                  <a:pt x="594" y="421"/>
                </a:cubicBezTo>
                <a:cubicBezTo>
                  <a:pt x="594" y="421"/>
                  <a:pt x="594" y="421"/>
                  <a:pt x="594" y="420"/>
                </a:cubicBezTo>
                <a:cubicBezTo>
                  <a:pt x="594" y="420"/>
                  <a:pt x="594" y="420"/>
                  <a:pt x="594" y="420"/>
                </a:cubicBezTo>
                <a:cubicBezTo>
                  <a:pt x="594" y="420"/>
                  <a:pt x="594" y="420"/>
                  <a:pt x="594" y="419"/>
                </a:cubicBezTo>
                <a:cubicBezTo>
                  <a:pt x="594" y="419"/>
                  <a:pt x="594" y="419"/>
                  <a:pt x="594" y="419"/>
                </a:cubicBezTo>
                <a:cubicBezTo>
                  <a:pt x="594" y="419"/>
                  <a:pt x="594" y="418"/>
                  <a:pt x="594" y="418"/>
                </a:cubicBezTo>
                <a:cubicBezTo>
                  <a:pt x="594" y="418"/>
                  <a:pt x="594" y="418"/>
                  <a:pt x="594" y="418"/>
                </a:cubicBezTo>
                <a:cubicBezTo>
                  <a:pt x="499" y="149"/>
                  <a:pt x="499" y="149"/>
                  <a:pt x="499" y="149"/>
                </a:cubicBezTo>
                <a:cubicBezTo>
                  <a:pt x="499" y="149"/>
                  <a:pt x="499" y="149"/>
                  <a:pt x="499" y="149"/>
                </a:cubicBezTo>
                <a:cubicBezTo>
                  <a:pt x="498" y="149"/>
                  <a:pt x="498" y="148"/>
                  <a:pt x="498" y="148"/>
                </a:cubicBezTo>
                <a:cubicBezTo>
                  <a:pt x="498" y="148"/>
                  <a:pt x="498" y="148"/>
                  <a:pt x="498" y="147"/>
                </a:cubicBezTo>
                <a:cubicBezTo>
                  <a:pt x="497" y="147"/>
                  <a:pt x="497" y="147"/>
                  <a:pt x="496" y="146"/>
                </a:cubicBezTo>
                <a:cubicBezTo>
                  <a:pt x="496" y="146"/>
                  <a:pt x="496" y="146"/>
                  <a:pt x="496" y="146"/>
                </a:cubicBezTo>
                <a:cubicBezTo>
                  <a:pt x="495" y="146"/>
                  <a:pt x="495" y="145"/>
                  <a:pt x="494" y="145"/>
                </a:cubicBezTo>
                <a:cubicBezTo>
                  <a:pt x="494" y="145"/>
                  <a:pt x="494" y="145"/>
                  <a:pt x="494" y="145"/>
                </a:cubicBezTo>
                <a:cubicBezTo>
                  <a:pt x="494" y="145"/>
                  <a:pt x="494" y="145"/>
                  <a:pt x="494" y="145"/>
                </a:cubicBezTo>
                <a:cubicBezTo>
                  <a:pt x="329" y="100"/>
                  <a:pt x="329" y="100"/>
                  <a:pt x="329" y="100"/>
                </a:cubicBezTo>
                <a:cubicBezTo>
                  <a:pt x="329" y="100"/>
                  <a:pt x="329" y="99"/>
                  <a:pt x="329" y="99"/>
                </a:cubicBezTo>
                <a:cubicBezTo>
                  <a:pt x="329" y="84"/>
                  <a:pt x="319" y="72"/>
                  <a:pt x="305" y="68"/>
                </a:cubicBezTo>
                <a:cubicBezTo>
                  <a:pt x="305" y="7"/>
                  <a:pt x="305" y="7"/>
                  <a:pt x="305" y="7"/>
                </a:cubicBezTo>
                <a:cubicBezTo>
                  <a:pt x="305" y="3"/>
                  <a:pt x="302" y="0"/>
                  <a:pt x="298" y="0"/>
                </a:cubicBezTo>
                <a:cubicBezTo>
                  <a:pt x="294" y="0"/>
                  <a:pt x="291" y="3"/>
                  <a:pt x="291" y="7"/>
                </a:cubicBezTo>
                <a:cubicBezTo>
                  <a:pt x="291" y="68"/>
                  <a:pt x="291" y="68"/>
                  <a:pt x="291" y="68"/>
                </a:cubicBezTo>
                <a:cubicBezTo>
                  <a:pt x="282" y="70"/>
                  <a:pt x="275" y="76"/>
                  <a:pt x="270" y="84"/>
                </a:cubicBezTo>
                <a:cubicBezTo>
                  <a:pt x="105" y="39"/>
                  <a:pt x="105" y="39"/>
                  <a:pt x="105" y="39"/>
                </a:cubicBezTo>
                <a:cubicBezTo>
                  <a:pt x="104" y="39"/>
                  <a:pt x="104" y="39"/>
                  <a:pt x="103" y="39"/>
                </a:cubicBezTo>
                <a:cubicBezTo>
                  <a:pt x="103" y="39"/>
                  <a:pt x="103" y="38"/>
                  <a:pt x="103" y="38"/>
                </a:cubicBezTo>
                <a:cubicBezTo>
                  <a:pt x="103" y="38"/>
                  <a:pt x="103" y="39"/>
                  <a:pt x="103" y="39"/>
                </a:cubicBezTo>
                <a:cubicBezTo>
                  <a:pt x="102" y="39"/>
                  <a:pt x="102" y="39"/>
                  <a:pt x="101" y="39"/>
                </a:cubicBezTo>
                <a:cubicBezTo>
                  <a:pt x="101" y="39"/>
                  <a:pt x="101" y="39"/>
                  <a:pt x="101" y="39"/>
                </a:cubicBezTo>
                <a:cubicBezTo>
                  <a:pt x="100" y="39"/>
                  <a:pt x="100" y="39"/>
                  <a:pt x="99" y="40"/>
                </a:cubicBezTo>
                <a:cubicBezTo>
                  <a:pt x="99" y="40"/>
                  <a:pt x="99" y="40"/>
                  <a:pt x="99" y="40"/>
                </a:cubicBezTo>
                <a:cubicBezTo>
                  <a:pt x="98" y="40"/>
                  <a:pt x="98" y="41"/>
                  <a:pt x="97" y="41"/>
                </a:cubicBezTo>
                <a:cubicBezTo>
                  <a:pt x="97" y="41"/>
                  <a:pt x="97" y="41"/>
                  <a:pt x="97" y="41"/>
                </a:cubicBezTo>
                <a:cubicBezTo>
                  <a:pt x="97" y="42"/>
                  <a:pt x="97" y="42"/>
                  <a:pt x="97" y="43"/>
                </a:cubicBezTo>
                <a:cubicBezTo>
                  <a:pt x="97" y="43"/>
                  <a:pt x="96" y="43"/>
                  <a:pt x="96" y="43"/>
                </a:cubicBezTo>
                <a:cubicBezTo>
                  <a:pt x="1" y="310"/>
                  <a:pt x="1" y="310"/>
                  <a:pt x="1" y="310"/>
                </a:cubicBezTo>
                <a:cubicBezTo>
                  <a:pt x="0" y="310"/>
                  <a:pt x="0" y="310"/>
                  <a:pt x="0" y="311"/>
                </a:cubicBezTo>
                <a:cubicBezTo>
                  <a:pt x="0" y="311"/>
                  <a:pt x="0" y="311"/>
                  <a:pt x="0" y="311"/>
                </a:cubicBezTo>
                <a:cubicBezTo>
                  <a:pt x="0" y="312"/>
                  <a:pt x="0" y="312"/>
                  <a:pt x="0" y="312"/>
                </a:cubicBezTo>
                <a:cubicBezTo>
                  <a:pt x="0" y="312"/>
                  <a:pt x="0" y="312"/>
                  <a:pt x="0" y="313"/>
                </a:cubicBezTo>
                <a:cubicBezTo>
                  <a:pt x="0" y="313"/>
                  <a:pt x="0" y="313"/>
                  <a:pt x="0" y="313"/>
                </a:cubicBezTo>
                <a:cubicBezTo>
                  <a:pt x="0" y="313"/>
                  <a:pt x="0" y="313"/>
                  <a:pt x="0" y="314"/>
                </a:cubicBezTo>
                <a:cubicBezTo>
                  <a:pt x="0" y="314"/>
                  <a:pt x="0" y="314"/>
                  <a:pt x="0" y="314"/>
                </a:cubicBezTo>
                <a:cubicBezTo>
                  <a:pt x="0" y="315"/>
                  <a:pt x="1" y="315"/>
                  <a:pt x="1" y="315"/>
                </a:cubicBezTo>
                <a:cubicBezTo>
                  <a:pt x="1" y="315"/>
                  <a:pt x="1" y="316"/>
                  <a:pt x="1" y="316"/>
                </a:cubicBezTo>
                <a:cubicBezTo>
                  <a:pt x="1" y="316"/>
                  <a:pt x="1" y="316"/>
                  <a:pt x="1" y="316"/>
                </a:cubicBezTo>
                <a:cubicBezTo>
                  <a:pt x="1" y="316"/>
                  <a:pt x="1" y="316"/>
                  <a:pt x="1" y="316"/>
                </a:cubicBezTo>
                <a:cubicBezTo>
                  <a:pt x="1" y="316"/>
                  <a:pt x="1" y="316"/>
                  <a:pt x="1" y="316"/>
                </a:cubicBezTo>
                <a:cubicBezTo>
                  <a:pt x="21" y="347"/>
                  <a:pt x="60" y="367"/>
                  <a:pt x="103" y="367"/>
                </a:cubicBezTo>
                <a:cubicBezTo>
                  <a:pt x="146" y="367"/>
                  <a:pt x="185" y="347"/>
                  <a:pt x="205" y="316"/>
                </a:cubicBezTo>
                <a:cubicBezTo>
                  <a:pt x="205" y="316"/>
                  <a:pt x="205" y="316"/>
                  <a:pt x="205" y="316"/>
                </a:cubicBezTo>
                <a:cubicBezTo>
                  <a:pt x="205" y="316"/>
                  <a:pt x="205" y="316"/>
                  <a:pt x="205" y="316"/>
                </a:cubicBezTo>
                <a:cubicBezTo>
                  <a:pt x="205" y="316"/>
                  <a:pt x="205" y="316"/>
                  <a:pt x="205" y="316"/>
                </a:cubicBezTo>
                <a:cubicBezTo>
                  <a:pt x="205" y="316"/>
                  <a:pt x="205" y="315"/>
                  <a:pt x="205" y="315"/>
                </a:cubicBezTo>
                <a:cubicBezTo>
                  <a:pt x="205" y="315"/>
                  <a:pt x="206" y="315"/>
                  <a:pt x="206" y="314"/>
                </a:cubicBezTo>
                <a:cubicBezTo>
                  <a:pt x="206" y="314"/>
                  <a:pt x="206" y="314"/>
                  <a:pt x="206" y="314"/>
                </a:cubicBezTo>
                <a:cubicBezTo>
                  <a:pt x="206" y="313"/>
                  <a:pt x="206" y="313"/>
                  <a:pt x="206" y="313"/>
                </a:cubicBezTo>
                <a:cubicBezTo>
                  <a:pt x="206" y="313"/>
                  <a:pt x="206" y="313"/>
                  <a:pt x="206" y="313"/>
                </a:cubicBezTo>
                <a:cubicBezTo>
                  <a:pt x="206" y="312"/>
                  <a:pt x="206" y="312"/>
                  <a:pt x="206" y="312"/>
                </a:cubicBezTo>
                <a:cubicBezTo>
                  <a:pt x="206" y="312"/>
                  <a:pt x="206" y="312"/>
                  <a:pt x="206" y="311"/>
                </a:cubicBezTo>
                <a:cubicBezTo>
                  <a:pt x="206" y="311"/>
                  <a:pt x="206" y="311"/>
                  <a:pt x="206" y="311"/>
                </a:cubicBezTo>
                <a:cubicBezTo>
                  <a:pt x="206" y="310"/>
                  <a:pt x="206" y="310"/>
                  <a:pt x="205" y="310"/>
                </a:cubicBezTo>
                <a:cubicBezTo>
                  <a:pt x="114" y="56"/>
                  <a:pt x="114" y="56"/>
                  <a:pt x="114" y="56"/>
                </a:cubicBezTo>
                <a:cubicBezTo>
                  <a:pt x="266" y="97"/>
                  <a:pt x="266" y="97"/>
                  <a:pt x="266" y="97"/>
                </a:cubicBezTo>
                <a:cubicBezTo>
                  <a:pt x="266" y="98"/>
                  <a:pt x="266" y="99"/>
                  <a:pt x="266" y="99"/>
                </a:cubicBezTo>
                <a:cubicBezTo>
                  <a:pt x="266" y="114"/>
                  <a:pt x="277" y="127"/>
                  <a:pt x="291" y="130"/>
                </a:cubicBezTo>
                <a:cubicBezTo>
                  <a:pt x="291" y="578"/>
                  <a:pt x="291" y="578"/>
                  <a:pt x="291" y="578"/>
                </a:cubicBezTo>
                <a:cubicBezTo>
                  <a:pt x="182" y="578"/>
                  <a:pt x="182" y="578"/>
                  <a:pt x="182" y="578"/>
                </a:cubicBezTo>
                <a:cubicBezTo>
                  <a:pt x="158" y="578"/>
                  <a:pt x="139" y="597"/>
                  <a:pt x="139" y="620"/>
                </a:cubicBezTo>
                <a:cubicBezTo>
                  <a:pt x="139" y="624"/>
                  <a:pt x="142" y="627"/>
                  <a:pt x="146" y="627"/>
                </a:cubicBezTo>
                <a:cubicBezTo>
                  <a:pt x="450" y="627"/>
                  <a:pt x="450" y="627"/>
                  <a:pt x="450" y="627"/>
                </a:cubicBezTo>
                <a:cubicBezTo>
                  <a:pt x="454" y="627"/>
                  <a:pt x="457" y="624"/>
                  <a:pt x="457" y="620"/>
                </a:cubicBezTo>
                <a:cubicBezTo>
                  <a:pt x="457" y="597"/>
                  <a:pt x="437" y="578"/>
                  <a:pt x="414" y="578"/>
                </a:cubicBezTo>
                <a:cubicBezTo>
                  <a:pt x="305" y="578"/>
                  <a:pt x="305" y="578"/>
                  <a:pt x="305" y="578"/>
                </a:cubicBezTo>
                <a:cubicBezTo>
                  <a:pt x="305" y="130"/>
                  <a:pt x="305" y="130"/>
                  <a:pt x="305" y="130"/>
                </a:cubicBezTo>
                <a:cubicBezTo>
                  <a:pt x="314" y="128"/>
                  <a:pt x="322" y="122"/>
                  <a:pt x="326" y="114"/>
                </a:cubicBezTo>
                <a:cubicBezTo>
                  <a:pt x="483" y="157"/>
                  <a:pt x="483" y="157"/>
                  <a:pt x="483" y="157"/>
                </a:cubicBezTo>
                <a:cubicBezTo>
                  <a:pt x="389" y="418"/>
                  <a:pt x="389" y="418"/>
                  <a:pt x="389" y="418"/>
                </a:cubicBezTo>
                <a:cubicBezTo>
                  <a:pt x="389" y="418"/>
                  <a:pt x="389" y="418"/>
                  <a:pt x="389" y="418"/>
                </a:cubicBezTo>
                <a:cubicBezTo>
                  <a:pt x="389" y="418"/>
                  <a:pt x="389" y="419"/>
                  <a:pt x="389" y="419"/>
                </a:cubicBezTo>
                <a:cubicBezTo>
                  <a:pt x="389" y="419"/>
                  <a:pt x="389" y="419"/>
                  <a:pt x="389" y="419"/>
                </a:cubicBezTo>
                <a:cubicBezTo>
                  <a:pt x="389" y="420"/>
                  <a:pt x="388" y="420"/>
                  <a:pt x="388" y="420"/>
                </a:cubicBezTo>
                <a:cubicBezTo>
                  <a:pt x="388" y="420"/>
                  <a:pt x="389" y="420"/>
                  <a:pt x="389" y="420"/>
                </a:cubicBezTo>
                <a:cubicBezTo>
                  <a:pt x="389" y="421"/>
                  <a:pt x="389" y="421"/>
                  <a:pt x="389" y="421"/>
                </a:cubicBezTo>
                <a:cubicBezTo>
                  <a:pt x="389" y="421"/>
                  <a:pt x="389" y="422"/>
                  <a:pt x="389" y="422"/>
                </a:cubicBezTo>
                <a:cubicBezTo>
                  <a:pt x="389" y="422"/>
                  <a:pt x="389" y="422"/>
                  <a:pt x="389" y="422"/>
                </a:cubicBezTo>
                <a:cubicBezTo>
                  <a:pt x="389" y="423"/>
                  <a:pt x="389" y="423"/>
                  <a:pt x="389" y="423"/>
                </a:cubicBezTo>
                <a:cubicBezTo>
                  <a:pt x="389" y="423"/>
                  <a:pt x="389" y="424"/>
                  <a:pt x="390" y="424"/>
                </a:cubicBezTo>
                <a:cubicBezTo>
                  <a:pt x="390" y="424"/>
                  <a:pt x="390" y="424"/>
                  <a:pt x="390" y="424"/>
                </a:cubicBezTo>
                <a:cubicBezTo>
                  <a:pt x="390" y="424"/>
                  <a:pt x="390" y="424"/>
                  <a:pt x="390" y="424"/>
                </a:cubicBezTo>
                <a:cubicBezTo>
                  <a:pt x="409" y="455"/>
                  <a:pt x="448" y="474"/>
                  <a:pt x="491" y="474"/>
                </a:cubicBezTo>
                <a:cubicBezTo>
                  <a:pt x="534" y="474"/>
                  <a:pt x="573" y="455"/>
                  <a:pt x="593" y="424"/>
                </a:cubicBezTo>
                <a:cubicBezTo>
                  <a:pt x="593" y="424"/>
                  <a:pt x="593" y="424"/>
                  <a:pt x="593" y="424"/>
                </a:cubicBezTo>
                <a:cubicBezTo>
                  <a:pt x="593" y="424"/>
                  <a:pt x="593" y="424"/>
                  <a:pt x="593" y="424"/>
                </a:cubicBezTo>
                <a:cubicBezTo>
                  <a:pt x="593" y="424"/>
                  <a:pt x="593" y="423"/>
                  <a:pt x="593" y="423"/>
                </a:cubicBezTo>
                <a:cubicBezTo>
                  <a:pt x="593" y="423"/>
                  <a:pt x="594" y="423"/>
                  <a:pt x="594" y="422"/>
                </a:cubicBezTo>
                <a:cubicBezTo>
                  <a:pt x="594" y="422"/>
                  <a:pt x="594" y="422"/>
                  <a:pt x="594" y="422"/>
                </a:cubicBezTo>
                <a:close/>
                <a:moveTo>
                  <a:pt x="103" y="66"/>
                </a:moveTo>
                <a:cubicBezTo>
                  <a:pt x="189" y="306"/>
                  <a:pt x="189" y="306"/>
                  <a:pt x="189" y="306"/>
                </a:cubicBezTo>
                <a:cubicBezTo>
                  <a:pt x="17" y="306"/>
                  <a:pt x="17" y="306"/>
                  <a:pt x="17" y="306"/>
                </a:cubicBezTo>
                <a:lnTo>
                  <a:pt x="103" y="66"/>
                </a:lnTo>
                <a:close/>
                <a:moveTo>
                  <a:pt x="103" y="353"/>
                </a:moveTo>
                <a:cubicBezTo>
                  <a:pt x="70" y="353"/>
                  <a:pt x="40" y="340"/>
                  <a:pt x="21" y="320"/>
                </a:cubicBezTo>
                <a:cubicBezTo>
                  <a:pt x="185" y="320"/>
                  <a:pt x="185" y="320"/>
                  <a:pt x="185" y="320"/>
                </a:cubicBezTo>
                <a:cubicBezTo>
                  <a:pt x="166" y="340"/>
                  <a:pt x="136" y="353"/>
                  <a:pt x="103" y="353"/>
                </a:cubicBezTo>
                <a:close/>
                <a:moveTo>
                  <a:pt x="442" y="613"/>
                </a:moveTo>
                <a:cubicBezTo>
                  <a:pt x="154" y="613"/>
                  <a:pt x="154" y="613"/>
                  <a:pt x="154" y="613"/>
                </a:cubicBezTo>
                <a:cubicBezTo>
                  <a:pt x="157" y="601"/>
                  <a:pt x="168" y="592"/>
                  <a:pt x="182" y="592"/>
                </a:cubicBezTo>
                <a:cubicBezTo>
                  <a:pt x="414" y="592"/>
                  <a:pt x="414" y="592"/>
                  <a:pt x="414" y="592"/>
                </a:cubicBezTo>
                <a:cubicBezTo>
                  <a:pt x="427" y="592"/>
                  <a:pt x="439" y="601"/>
                  <a:pt x="442" y="613"/>
                </a:cubicBezTo>
                <a:close/>
                <a:moveTo>
                  <a:pt x="298" y="117"/>
                </a:moveTo>
                <a:cubicBezTo>
                  <a:pt x="288" y="117"/>
                  <a:pt x="280" y="109"/>
                  <a:pt x="280" y="99"/>
                </a:cubicBezTo>
                <a:cubicBezTo>
                  <a:pt x="280" y="90"/>
                  <a:pt x="288" y="82"/>
                  <a:pt x="298" y="82"/>
                </a:cubicBezTo>
                <a:cubicBezTo>
                  <a:pt x="308" y="82"/>
                  <a:pt x="315" y="90"/>
                  <a:pt x="315" y="99"/>
                </a:cubicBezTo>
                <a:cubicBezTo>
                  <a:pt x="315" y="109"/>
                  <a:pt x="308" y="117"/>
                  <a:pt x="298" y="117"/>
                </a:cubicBezTo>
                <a:close/>
                <a:moveTo>
                  <a:pt x="577" y="413"/>
                </a:moveTo>
                <a:cubicBezTo>
                  <a:pt x="405" y="413"/>
                  <a:pt x="405" y="413"/>
                  <a:pt x="405" y="413"/>
                </a:cubicBezTo>
                <a:cubicBezTo>
                  <a:pt x="492" y="173"/>
                  <a:pt x="492" y="173"/>
                  <a:pt x="492" y="173"/>
                </a:cubicBezTo>
                <a:lnTo>
                  <a:pt x="577" y="413"/>
                </a:lnTo>
                <a:close/>
                <a:moveTo>
                  <a:pt x="491" y="460"/>
                </a:moveTo>
                <a:cubicBezTo>
                  <a:pt x="458" y="460"/>
                  <a:pt x="428" y="448"/>
                  <a:pt x="410" y="427"/>
                </a:cubicBezTo>
                <a:cubicBezTo>
                  <a:pt x="573" y="427"/>
                  <a:pt x="573" y="427"/>
                  <a:pt x="573" y="427"/>
                </a:cubicBezTo>
                <a:cubicBezTo>
                  <a:pt x="554" y="448"/>
                  <a:pt x="524" y="460"/>
                  <a:pt x="491" y="46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8" name="Oval 56">
            <a:extLst>
              <a:ext uri="{FF2B5EF4-FFF2-40B4-BE49-F238E27FC236}">
                <a16:creationId xmlns:a16="http://schemas.microsoft.com/office/drawing/2014/main" id="{38BCF1FD-BF1F-47E4-BDA6-0B991353C1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0325" y="186024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9" name="Freeform 131">
            <a:extLst>
              <a:ext uri="{FF2B5EF4-FFF2-40B4-BE49-F238E27FC236}">
                <a16:creationId xmlns:a16="http://schemas.microsoft.com/office/drawing/2014/main" id="{AD363B24-0516-4C46-B346-7217063BFAED}"/>
              </a:ext>
            </a:extLst>
          </p:cNvPr>
          <p:cNvSpPr>
            <a:spLocks noEditPoints="1"/>
          </p:cNvSpPr>
          <p:nvPr/>
        </p:nvSpPr>
        <p:spPr bwMode="auto">
          <a:xfrm>
            <a:off x="7068167" y="2046967"/>
            <a:ext cx="385547" cy="448652"/>
          </a:xfrm>
          <a:custGeom>
            <a:avLst/>
            <a:gdLst>
              <a:gd name="T0" fmla="*/ 434 w 498"/>
              <a:gd name="T1" fmla="*/ 186 h 580"/>
              <a:gd name="T2" fmla="*/ 257 w 498"/>
              <a:gd name="T3" fmla="*/ 167 h 580"/>
              <a:gd name="T4" fmla="*/ 423 w 498"/>
              <a:gd name="T5" fmla="*/ 74 h 580"/>
              <a:gd name="T6" fmla="*/ 463 w 498"/>
              <a:gd name="T7" fmla="*/ 12 h 580"/>
              <a:gd name="T8" fmla="*/ 451 w 498"/>
              <a:gd name="T9" fmla="*/ 5 h 580"/>
              <a:gd name="T10" fmla="*/ 80 w 498"/>
              <a:gd name="T11" fmla="*/ 60 h 580"/>
              <a:gd name="T12" fmla="*/ 39 w 498"/>
              <a:gd name="T13" fmla="*/ 2 h 580"/>
              <a:gd name="T14" fmla="*/ 70 w 498"/>
              <a:gd name="T15" fmla="*/ 71 h 580"/>
              <a:gd name="T16" fmla="*/ 243 w 498"/>
              <a:gd name="T17" fmla="*/ 74 h 580"/>
              <a:gd name="T18" fmla="*/ 88 w 498"/>
              <a:gd name="T19" fmla="*/ 167 h 580"/>
              <a:gd name="T20" fmla="*/ 2 w 498"/>
              <a:gd name="T21" fmla="*/ 553 h 580"/>
              <a:gd name="T22" fmla="*/ 25 w 498"/>
              <a:gd name="T23" fmla="*/ 580 h 580"/>
              <a:gd name="T24" fmla="*/ 498 w 498"/>
              <a:gd name="T25" fmla="*/ 557 h 580"/>
              <a:gd name="T26" fmla="*/ 475 w 498"/>
              <a:gd name="T27" fmla="*/ 566 h 580"/>
              <a:gd name="T28" fmla="*/ 17 w 498"/>
              <a:gd name="T29" fmla="*/ 563 h 580"/>
              <a:gd name="T30" fmla="*/ 79 w 498"/>
              <a:gd name="T31" fmla="*/ 189 h 580"/>
              <a:gd name="T32" fmla="*/ 411 w 498"/>
              <a:gd name="T33" fmla="*/ 181 h 580"/>
              <a:gd name="T34" fmla="*/ 484 w 498"/>
              <a:gd name="T35" fmla="*/ 553 h 580"/>
              <a:gd name="T36" fmla="*/ 484 w 498"/>
              <a:gd name="T37" fmla="*/ 557 h 580"/>
              <a:gd name="T38" fmla="*/ 250 w 498"/>
              <a:gd name="T39" fmla="*/ 224 h 580"/>
              <a:gd name="T40" fmla="*/ 250 w 498"/>
              <a:gd name="T41" fmla="*/ 523 h 580"/>
              <a:gd name="T42" fmla="*/ 250 w 498"/>
              <a:gd name="T43" fmla="*/ 224 h 580"/>
              <a:gd name="T44" fmla="*/ 114 w 498"/>
              <a:gd name="T45" fmla="*/ 373 h 580"/>
              <a:gd name="T46" fmla="*/ 385 w 498"/>
              <a:gd name="T47" fmla="*/ 373 h 580"/>
              <a:gd name="T48" fmla="*/ 320 w 498"/>
              <a:gd name="T49" fmla="*/ 297 h 580"/>
              <a:gd name="T50" fmla="*/ 250 w 498"/>
              <a:gd name="T51" fmla="*/ 343 h 580"/>
              <a:gd name="T52" fmla="*/ 250 w 498"/>
              <a:gd name="T53" fmla="*/ 404 h 580"/>
              <a:gd name="T54" fmla="*/ 276 w 498"/>
              <a:gd name="T55" fmla="*/ 358 h 580"/>
              <a:gd name="T56" fmla="*/ 330 w 498"/>
              <a:gd name="T57" fmla="*/ 297 h 580"/>
              <a:gd name="T58" fmla="*/ 266 w 498"/>
              <a:gd name="T59" fmla="*/ 373 h 580"/>
              <a:gd name="T60" fmla="*/ 233 w 498"/>
              <a:gd name="T61" fmla="*/ 373 h 580"/>
              <a:gd name="T62" fmla="*/ 256 w 498"/>
              <a:gd name="T63" fmla="*/ 358 h 580"/>
              <a:gd name="T64" fmla="*/ 245 w 498"/>
              <a:gd name="T65" fmla="*/ 378 h 580"/>
              <a:gd name="T66" fmla="*/ 255 w 498"/>
              <a:gd name="T67" fmla="*/ 378 h 580"/>
              <a:gd name="T68" fmla="*/ 266 w 498"/>
              <a:gd name="T69" fmla="*/ 373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98" h="580">
                <a:moveTo>
                  <a:pt x="497" y="550"/>
                </a:moveTo>
                <a:cubicBezTo>
                  <a:pt x="434" y="186"/>
                  <a:pt x="434" y="186"/>
                  <a:pt x="434" y="186"/>
                </a:cubicBezTo>
                <a:cubicBezTo>
                  <a:pt x="432" y="175"/>
                  <a:pt x="422" y="167"/>
                  <a:pt x="411" y="167"/>
                </a:cubicBezTo>
                <a:cubicBezTo>
                  <a:pt x="257" y="167"/>
                  <a:pt x="257" y="167"/>
                  <a:pt x="257" y="167"/>
                </a:cubicBezTo>
                <a:cubicBezTo>
                  <a:pt x="257" y="74"/>
                  <a:pt x="257" y="74"/>
                  <a:pt x="257" y="74"/>
                </a:cubicBezTo>
                <a:cubicBezTo>
                  <a:pt x="423" y="74"/>
                  <a:pt x="423" y="74"/>
                  <a:pt x="423" y="74"/>
                </a:cubicBezTo>
                <a:cubicBezTo>
                  <a:pt x="426" y="74"/>
                  <a:pt x="428" y="73"/>
                  <a:pt x="430" y="71"/>
                </a:cubicBezTo>
                <a:cubicBezTo>
                  <a:pt x="463" y="12"/>
                  <a:pt x="463" y="12"/>
                  <a:pt x="463" y="12"/>
                </a:cubicBezTo>
                <a:cubicBezTo>
                  <a:pt x="465" y="8"/>
                  <a:pt x="464" y="4"/>
                  <a:pt x="461" y="2"/>
                </a:cubicBezTo>
                <a:cubicBezTo>
                  <a:pt x="457" y="0"/>
                  <a:pt x="453" y="2"/>
                  <a:pt x="451" y="5"/>
                </a:cubicBezTo>
                <a:cubicBezTo>
                  <a:pt x="419" y="60"/>
                  <a:pt x="419" y="60"/>
                  <a:pt x="419" y="60"/>
                </a:cubicBezTo>
                <a:cubicBezTo>
                  <a:pt x="80" y="60"/>
                  <a:pt x="80" y="60"/>
                  <a:pt x="80" y="60"/>
                </a:cubicBezTo>
                <a:cubicBezTo>
                  <a:pt x="48" y="5"/>
                  <a:pt x="48" y="5"/>
                  <a:pt x="48" y="5"/>
                </a:cubicBezTo>
                <a:cubicBezTo>
                  <a:pt x="46" y="2"/>
                  <a:pt x="42" y="0"/>
                  <a:pt x="39" y="2"/>
                </a:cubicBezTo>
                <a:cubicBezTo>
                  <a:pt x="35" y="4"/>
                  <a:pt x="34" y="8"/>
                  <a:pt x="36" y="12"/>
                </a:cubicBezTo>
                <a:cubicBezTo>
                  <a:pt x="70" y="71"/>
                  <a:pt x="70" y="71"/>
                  <a:pt x="70" y="71"/>
                </a:cubicBezTo>
                <a:cubicBezTo>
                  <a:pt x="71" y="73"/>
                  <a:pt x="73" y="74"/>
                  <a:pt x="76" y="74"/>
                </a:cubicBezTo>
                <a:cubicBezTo>
                  <a:pt x="243" y="74"/>
                  <a:pt x="243" y="74"/>
                  <a:pt x="243" y="74"/>
                </a:cubicBezTo>
                <a:cubicBezTo>
                  <a:pt x="243" y="167"/>
                  <a:pt x="243" y="167"/>
                  <a:pt x="243" y="167"/>
                </a:cubicBezTo>
                <a:cubicBezTo>
                  <a:pt x="88" y="167"/>
                  <a:pt x="88" y="167"/>
                  <a:pt x="88" y="167"/>
                </a:cubicBezTo>
                <a:cubicBezTo>
                  <a:pt x="77" y="167"/>
                  <a:pt x="68" y="175"/>
                  <a:pt x="66" y="186"/>
                </a:cubicBezTo>
                <a:cubicBezTo>
                  <a:pt x="2" y="553"/>
                  <a:pt x="2" y="553"/>
                  <a:pt x="2" y="553"/>
                </a:cubicBezTo>
                <a:cubicBezTo>
                  <a:pt x="0" y="559"/>
                  <a:pt x="2" y="566"/>
                  <a:pt x="7" y="572"/>
                </a:cubicBezTo>
                <a:cubicBezTo>
                  <a:pt x="11" y="577"/>
                  <a:pt x="18" y="580"/>
                  <a:pt x="25" y="580"/>
                </a:cubicBezTo>
                <a:cubicBezTo>
                  <a:pt x="475" y="580"/>
                  <a:pt x="475" y="580"/>
                  <a:pt x="475" y="580"/>
                </a:cubicBezTo>
                <a:cubicBezTo>
                  <a:pt x="488" y="580"/>
                  <a:pt x="498" y="569"/>
                  <a:pt x="498" y="557"/>
                </a:cubicBezTo>
                <a:cubicBezTo>
                  <a:pt x="498" y="554"/>
                  <a:pt x="498" y="552"/>
                  <a:pt x="497" y="550"/>
                </a:cubicBezTo>
                <a:close/>
                <a:moveTo>
                  <a:pt x="475" y="566"/>
                </a:moveTo>
                <a:cubicBezTo>
                  <a:pt x="25" y="566"/>
                  <a:pt x="25" y="566"/>
                  <a:pt x="25" y="566"/>
                </a:cubicBezTo>
                <a:cubicBezTo>
                  <a:pt x="22" y="566"/>
                  <a:pt x="19" y="565"/>
                  <a:pt x="17" y="563"/>
                </a:cubicBezTo>
                <a:cubicBezTo>
                  <a:pt x="16" y="560"/>
                  <a:pt x="15" y="558"/>
                  <a:pt x="15" y="555"/>
                </a:cubicBezTo>
                <a:cubicBezTo>
                  <a:pt x="79" y="189"/>
                  <a:pt x="79" y="189"/>
                  <a:pt x="79" y="189"/>
                </a:cubicBezTo>
                <a:cubicBezTo>
                  <a:pt x="80" y="184"/>
                  <a:pt x="84" y="181"/>
                  <a:pt x="88" y="181"/>
                </a:cubicBezTo>
                <a:cubicBezTo>
                  <a:pt x="411" y="181"/>
                  <a:pt x="411" y="181"/>
                  <a:pt x="411" y="181"/>
                </a:cubicBezTo>
                <a:cubicBezTo>
                  <a:pt x="415" y="181"/>
                  <a:pt x="419" y="184"/>
                  <a:pt x="420" y="189"/>
                </a:cubicBezTo>
                <a:cubicBezTo>
                  <a:pt x="484" y="553"/>
                  <a:pt x="484" y="553"/>
                  <a:pt x="484" y="553"/>
                </a:cubicBezTo>
                <a:cubicBezTo>
                  <a:pt x="484" y="553"/>
                  <a:pt x="484" y="553"/>
                  <a:pt x="484" y="554"/>
                </a:cubicBezTo>
                <a:cubicBezTo>
                  <a:pt x="484" y="555"/>
                  <a:pt x="484" y="556"/>
                  <a:pt x="484" y="557"/>
                </a:cubicBezTo>
                <a:cubicBezTo>
                  <a:pt x="484" y="562"/>
                  <a:pt x="480" y="566"/>
                  <a:pt x="475" y="566"/>
                </a:cubicBezTo>
                <a:close/>
                <a:moveTo>
                  <a:pt x="250" y="224"/>
                </a:moveTo>
                <a:cubicBezTo>
                  <a:pt x="167" y="224"/>
                  <a:pt x="100" y="291"/>
                  <a:pt x="100" y="373"/>
                </a:cubicBezTo>
                <a:cubicBezTo>
                  <a:pt x="100" y="456"/>
                  <a:pt x="167" y="523"/>
                  <a:pt x="250" y="523"/>
                </a:cubicBezTo>
                <a:cubicBezTo>
                  <a:pt x="332" y="523"/>
                  <a:pt x="399" y="456"/>
                  <a:pt x="399" y="373"/>
                </a:cubicBezTo>
                <a:cubicBezTo>
                  <a:pt x="399" y="291"/>
                  <a:pt x="332" y="224"/>
                  <a:pt x="250" y="224"/>
                </a:cubicBezTo>
                <a:close/>
                <a:moveTo>
                  <a:pt x="250" y="509"/>
                </a:moveTo>
                <a:cubicBezTo>
                  <a:pt x="175" y="509"/>
                  <a:pt x="114" y="448"/>
                  <a:pt x="114" y="373"/>
                </a:cubicBezTo>
                <a:cubicBezTo>
                  <a:pt x="114" y="299"/>
                  <a:pt x="175" y="238"/>
                  <a:pt x="250" y="238"/>
                </a:cubicBezTo>
                <a:cubicBezTo>
                  <a:pt x="324" y="238"/>
                  <a:pt x="385" y="299"/>
                  <a:pt x="385" y="373"/>
                </a:cubicBezTo>
                <a:cubicBezTo>
                  <a:pt x="385" y="448"/>
                  <a:pt x="324" y="509"/>
                  <a:pt x="250" y="509"/>
                </a:cubicBezTo>
                <a:close/>
                <a:moveTo>
                  <a:pt x="320" y="297"/>
                </a:moveTo>
                <a:cubicBezTo>
                  <a:pt x="266" y="348"/>
                  <a:pt x="266" y="348"/>
                  <a:pt x="266" y="348"/>
                </a:cubicBezTo>
                <a:cubicBezTo>
                  <a:pt x="262" y="345"/>
                  <a:pt x="256" y="343"/>
                  <a:pt x="250" y="343"/>
                </a:cubicBezTo>
                <a:cubicBezTo>
                  <a:pt x="233" y="343"/>
                  <a:pt x="219" y="357"/>
                  <a:pt x="219" y="373"/>
                </a:cubicBezTo>
                <a:cubicBezTo>
                  <a:pt x="219" y="390"/>
                  <a:pt x="233" y="404"/>
                  <a:pt x="250" y="404"/>
                </a:cubicBezTo>
                <a:cubicBezTo>
                  <a:pt x="266" y="404"/>
                  <a:pt x="280" y="390"/>
                  <a:pt x="280" y="373"/>
                </a:cubicBezTo>
                <a:cubicBezTo>
                  <a:pt x="280" y="368"/>
                  <a:pt x="278" y="363"/>
                  <a:pt x="276" y="358"/>
                </a:cubicBezTo>
                <a:cubicBezTo>
                  <a:pt x="330" y="307"/>
                  <a:pt x="330" y="307"/>
                  <a:pt x="330" y="307"/>
                </a:cubicBezTo>
                <a:cubicBezTo>
                  <a:pt x="333" y="304"/>
                  <a:pt x="333" y="300"/>
                  <a:pt x="330" y="297"/>
                </a:cubicBezTo>
                <a:cubicBezTo>
                  <a:pt x="328" y="294"/>
                  <a:pt x="323" y="294"/>
                  <a:pt x="320" y="297"/>
                </a:cubicBezTo>
                <a:close/>
                <a:moveTo>
                  <a:pt x="266" y="373"/>
                </a:moveTo>
                <a:cubicBezTo>
                  <a:pt x="266" y="382"/>
                  <a:pt x="259" y="390"/>
                  <a:pt x="250" y="390"/>
                </a:cubicBezTo>
                <a:cubicBezTo>
                  <a:pt x="241" y="390"/>
                  <a:pt x="233" y="382"/>
                  <a:pt x="233" y="373"/>
                </a:cubicBezTo>
                <a:cubicBezTo>
                  <a:pt x="233" y="364"/>
                  <a:pt x="241" y="357"/>
                  <a:pt x="250" y="357"/>
                </a:cubicBezTo>
                <a:cubicBezTo>
                  <a:pt x="252" y="357"/>
                  <a:pt x="254" y="357"/>
                  <a:pt x="256" y="358"/>
                </a:cubicBezTo>
                <a:cubicBezTo>
                  <a:pt x="245" y="368"/>
                  <a:pt x="245" y="368"/>
                  <a:pt x="245" y="368"/>
                </a:cubicBezTo>
                <a:cubicBezTo>
                  <a:pt x="242" y="371"/>
                  <a:pt x="242" y="375"/>
                  <a:pt x="245" y="378"/>
                </a:cubicBezTo>
                <a:cubicBezTo>
                  <a:pt x="246" y="380"/>
                  <a:pt x="248" y="380"/>
                  <a:pt x="250" y="380"/>
                </a:cubicBezTo>
                <a:cubicBezTo>
                  <a:pt x="251" y="380"/>
                  <a:pt x="253" y="380"/>
                  <a:pt x="255" y="378"/>
                </a:cubicBezTo>
                <a:cubicBezTo>
                  <a:pt x="265" y="368"/>
                  <a:pt x="265" y="368"/>
                  <a:pt x="265" y="368"/>
                </a:cubicBezTo>
                <a:cubicBezTo>
                  <a:pt x="266" y="370"/>
                  <a:pt x="266" y="372"/>
                  <a:pt x="266" y="37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E18D8DAF-53BF-4693-9027-B1D343FE8B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0429" y="3904115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1" name="Freeform 94">
            <a:extLst>
              <a:ext uri="{FF2B5EF4-FFF2-40B4-BE49-F238E27FC236}">
                <a16:creationId xmlns:a16="http://schemas.microsoft.com/office/drawing/2014/main" id="{6957A6E6-54B6-43C7-AC3B-16439DFF556C}"/>
              </a:ext>
            </a:extLst>
          </p:cNvPr>
          <p:cNvSpPr>
            <a:spLocks noEditPoints="1"/>
          </p:cNvSpPr>
          <p:nvPr/>
        </p:nvSpPr>
        <p:spPr bwMode="auto">
          <a:xfrm>
            <a:off x="3229656" y="4053666"/>
            <a:ext cx="503641" cy="523859"/>
          </a:xfrm>
          <a:custGeom>
            <a:avLst/>
            <a:gdLst>
              <a:gd name="T0" fmla="*/ 648 w 650"/>
              <a:gd name="T1" fmla="*/ 264 h 677"/>
              <a:gd name="T2" fmla="*/ 468 w 650"/>
              <a:gd name="T3" fmla="*/ 3 h 677"/>
              <a:gd name="T4" fmla="*/ 462 w 650"/>
              <a:gd name="T5" fmla="*/ 0 h 677"/>
              <a:gd name="T6" fmla="*/ 348 w 650"/>
              <a:gd name="T7" fmla="*/ 42 h 677"/>
              <a:gd name="T8" fmla="*/ 324 w 650"/>
              <a:gd name="T9" fmla="*/ 55 h 677"/>
              <a:gd name="T10" fmla="*/ 309 w 650"/>
              <a:gd name="T11" fmla="*/ 48 h 677"/>
              <a:gd name="T12" fmla="*/ 260 w 650"/>
              <a:gd name="T13" fmla="*/ 34 h 677"/>
              <a:gd name="T14" fmla="*/ 155 w 650"/>
              <a:gd name="T15" fmla="*/ 65 h 677"/>
              <a:gd name="T16" fmla="*/ 33 w 650"/>
              <a:gd name="T17" fmla="*/ 139 h 677"/>
              <a:gd name="T18" fmla="*/ 31 w 650"/>
              <a:gd name="T19" fmla="*/ 144 h 677"/>
              <a:gd name="T20" fmla="*/ 33 w 650"/>
              <a:gd name="T21" fmla="*/ 149 h 677"/>
              <a:gd name="T22" fmla="*/ 191 w 650"/>
              <a:gd name="T23" fmla="*/ 425 h 677"/>
              <a:gd name="T24" fmla="*/ 14 w 650"/>
              <a:gd name="T25" fmla="*/ 119 h 677"/>
              <a:gd name="T26" fmla="*/ 4 w 650"/>
              <a:gd name="T27" fmla="*/ 116 h 677"/>
              <a:gd name="T28" fmla="*/ 2 w 650"/>
              <a:gd name="T29" fmla="*/ 126 h 677"/>
              <a:gd name="T30" fmla="*/ 317 w 650"/>
              <a:gd name="T31" fmla="*/ 674 h 677"/>
              <a:gd name="T32" fmla="*/ 323 w 650"/>
              <a:gd name="T33" fmla="*/ 677 h 677"/>
              <a:gd name="T34" fmla="*/ 327 w 650"/>
              <a:gd name="T35" fmla="*/ 676 h 677"/>
              <a:gd name="T36" fmla="*/ 329 w 650"/>
              <a:gd name="T37" fmla="*/ 667 h 677"/>
              <a:gd name="T38" fmla="*/ 195 w 650"/>
              <a:gd name="T39" fmla="*/ 433 h 677"/>
              <a:gd name="T40" fmla="*/ 198 w 650"/>
              <a:gd name="T41" fmla="*/ 433 h 677"/>
              <a:gd name="T42" fmla="*/ 202 w 650"/>
              <a:gd name="T43" fmla="*/ 432 h 677"/>
              <a:gd name="T44" fmla="*/ 405 w 650"/>
              <a:gd name="T45" fmla="*/ 327 h 677"/>
              <a:gd name="T46" fmla="*/ 434 w 650"/>
              <a:gd name="T47" fmla="*/ 342 h 677"/>
              <a:gd name="T48" fmla="*/ 462 w 650"/>
              <a:gd name="T49" fmla="*/ 357 h 677"/>
              <a:gd name="T50" fmla="*/ 501 w 650"/>
              <a:gd name="T51" fmla="*/ 336 h 677"/>
              <a:gd name="T52" fmla="*/ 643 w 650"/>
              <a:gd name="T53" fmla="*/ 275 h 677"/>
              <a:gd name="T54" fmla="*/ 649 w 650"/>
              <a:gd name="T55" fmla="*/ 272 h 677"/>
              <a:gd name="T56" fmla="*/ 648 w 650"/>
              <a:gd name="T57" fmla="*/ 264 h 677"/>
              <a:gd name="T58" fmla="*/ 493 w 650"/>
              <a:gd name="T59" fmla="*/ 325 h 677"/>
              <a:gd name="T60" fmla="*/ 462 w 650"/>
              <a:gd name="T61" fmla="*/ 343 h 677"/>
              <a:gd name="T62" fmla="*/ 444 w 650"/>
              <a:gd name="T63" fmla="*/ 332 h 677"/>
              <a:gd name="T64" fmla="*/ 405 w 650"/>
              <a:gd name="T65" fmla="*/ 313 h 677"/>
              <a:gd name="T66" fmla="*/ 204 w 650"/>
              <a:gd name="T67" fmla="*/ 413 h 677"/>
              <a:gd name="T68" fmla="*/ 48 w 650"/>
              <a:gd name="T69" fmla="*/ 144 h 677"/>
              <a:gd name="T70" fmla="*/ 161 w 650"/>
              <a:gd name="T71" fmla="*/ 78 h 677"/>
              <a:gd name="T72" fmla="*/ 260 w 650"/>
              <a:gd name="T73" fmla="*/ 48 h 677"/>
              <a:gd name="T74" fmla="*/ 301 w 650"/>
              <a:gd name="T75" fmla="*/ 60 h 677"/>
              <a:gd name="T76" fmla="*/ 324 w 650"/>
              <a:gd name="T77" fmla="*/ 69 h 677"/>
              <a:gd name="T78" fmla="*/ 355 w 650"/>
              <a:gd name="T79" fmla="*/ 54 h 677"/>
              <a:gd name="T80" fmla="*/ 459 w 650"/>
              <a:gd name="T81" fmla="*/ 14 h 677"/>
              <a:gd name="T82" fmla="*/ 630 w 650"/>
              <a:gd name="T83" fmla="*/ 262 h 677"/>
              <a:gd name="T84" fmla="*/ 493 w 650"/>
              <a:gd name="T85" fmla="*/ 325 h 6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50" h="677">
                <a:moveTo>
                  <a:pt x="648" y="264"/>
                </a:moveTo>
                <a:cubicBezTo>
                  <a:pt x="468" y="3"/>
                  <a:pt x="468" y="3"/>
                  <a:pt x="468" y="3"/>
                </a:cubicBezTo>
                <a:cubicBezTo>
                  <a:pt x="467" y="1"/>
                  <a:pt x="465" y="0"/>
                  <a:pt x="462" y="0"/>
                </a:cubicBezTo>
                <a:cubicBezTo>
                  <a:pt x="418" y="0"/>
                  <a:pt x="376" y="25"/>
                  <a:pt x="348" y="42"/>
                </a:cubicBezTo>
                <a:cubicBezTo>
                  <a:pt x="338" y="48"/>
                  <a:pt x="327" y="55"/>
                  <a:pt x="324" y="55"/>
                </a:cubicBezTo>
                <a:cubicBezTo>
                  <a:pt x="319" y="55"/>
                  <a:pt x="314" y="52"/>
                  <a:pt x="309" y="48"/>
                </a:cubicBezTo>
                <a:cubicBezTo>
                  <a:pt x="299" y="42"/>
                  <a:pt x="286" y="34"/>
                  <a:pt x="260" y="34"/>
                </a:cubicBezTo>
                <a:cubicBezTo>
                  <a:pt x="240" y="34"/>
                  <a:pt x="200" y="46"/>
                  <a:pt x="155" y="65"/>
                </a:cubicBezTo>
                <a:cubicBezTo>
                  <a:pt x="107" y="87"/>
                  <a:pt x="62" y="114"/>
                  <a:pt x="33" y="139"/>
                </a:cubicBezTo>
                <a:cubicBezTo>
                  <a:pt x="32" y="140"/>
                  <a:pt x="31" y="142"/>
                  <a:pt x="31" y="144"/>
                </a:cubicBezTo>
                <a:cubicBezTo>
                  <a:pt x="31" y="146"/>
                  <a:pt x="31" y="148"/>
                  <a:pt x="33" y="149"/>
                </a:cubicBezTo>
                <a:cubicBezTo>
                  <a:pt x="128" y="233"/>
                  <a:pt x="192" y="362"/>
                  <a:pt x="191" y="425"/>
                </a:cubicBezTo>
                <a:cubicBezTo>
                  <a:pt x="14" y="119"/>
                  <a:pt x="14" y="119"/>
                  <a:pt x="14" y="119"/>
                </a:cubicBezTo>
                <a:cubicBezTo>
                  <a:pt x="12" y="115"/>
                  <a:pt x="8" y="114"/>
                  <a:pt x="4" y="116"/>
                </a:cubicBezTo>
                <a:cubicBezTo>
                  <a:pt x="1" y="118"/>
                  <a:pt x="0" y="122"/>
                  <a:pt x="2" y="126"/>
                </a:cubicBezTo>
                <a:cubicBezTo>
                  <a:pt x="317" y="674"/>
                  <a:pt x="317" y="674"/>
                  <a:pt x="317" y="674"/>
                </a:cubicBezTo>
                <a:cubicBezTo>
                  <a:pt x="319" y="676"/>
                  <a:pt x="321" y="677"/>
                  <a:pt x="323" y="677"/>
                </a:cubicBezTo>
                <a:cubicBezTo>
                  <a:pt x="325" y="677"/>
                  <a:pt x="326" y="677"/>
                  <a:pt x="327" y="676"/>
                </a:cubicBezTo>
                <a:cubicBezTo>
                  <a:pt x="330" y="674"/>
                  <a:pt x="331" y="670"/>
                  <a:pt x="329" y="667"/>
                </a:cubicBezTo>
                <a:cubicBezTo>
                  <a:pt x="195" y="433"/>
                  <a:pt x="195" y="433"/>
                  <a:pt x="195" y="433"/>
                </a:cubicBezTo>
                <a:cubicBezTo>
                  <a:pt x="196" y="433"/>
                  <a:pt x="197" y="433"/>
                  <a:pt x="198" y="433"/>
                </a:cubicBezTo>
                <a:cubicBezTo>
                  <a:pt x="199" y="433"/>
                  <a:pt x="201" y="433"/>
                  <a:pt x="202" y="432"/>
                </a:cubicBezTo>
                <a:cubicBezTo>
                  <a:pt x="266" y="382"/>
                  <a:pt x="378" y="327"/>
                  <a:pt x="405" y="327"/>
                </a:cubicBezTo>
                <a:cubicBezTo>
                  <a:pt x="419" y="327"/>
                  <a:pt x="426" y="334"/>
                  <a:pt x="434" y="342"/>
                </a:cubicBezTo>
                <a:cubicBezTo>
                  <a:pt x="442" y="350"/>
                  <a:pt x="450" y="357"/>
                  <a:pt x="462" y="357"/>
                </a:cubicBezTo>
                <a:cubicBezTo>
                  <a:pt x="470" y="357"/>
                  <a:pt x="479" y="351"/>
                  <a:pt x="501" y="336"/>
                </a:cubicBezTo>
                <a:cubicBezTo>
                  <a:pt x="536" y="312"/>
                  <a:pt x="589" y="275"/>
                  <a:pt x="643" y="275"/>
                </a:cubicBezTo>
                <a:cubicBezTo>
                  <a:pt x="645" y="275"/>
                  <a:pt x="648" y="274"/>
                  <a:pt x="649" y="272"/>
                </a:cubicBezTo>
                <a:cubicBezTo>
                  <a:pt x="650" y="269"/>
                  <a:pt x="650" y="266"/>
                  <a:pt x="648" y="264"/>
                </a:cubicBezTo>
                <a:close/>
                <a:moveTo>
                  <a:pt x="493" y="325"/>
                </a:moveTo>
                <a:cubicBezTo>
                  <a:pt x="480" y="333"/>
                  <a:pt x="466" y="343"/>
                  <a:pt x="462" y="343"/>
                </a:cubicBezTo>
                <a:cubicBezTo>
                  <a:pt x="456" y="343"/>
                  <a:pt x="451" y="339"/>
                  <a:pt x="444" y="332"/>
                </a:cubicBezTo>
                <a:cubicBezTo>
                  <a:pt x="435" y="324"/>
                  <a:pt x="424" y="313"/>
                  <a:pt x="405" y="313"/>
                </a:cubicBezTo>
                <a:cubicBezTo>
                  <a:pt x="375" y="313"/>
                  <a:pt x="269" y="366"/>
                  <a:pt x="204" y="413"/>
                </a:cubicBezTo>
                <a:cubicBezTo>
                  <a:pt x="198" y="325"/>
                  <a:pt x="112" y="204"/>
                  <a:pt x="48" y="144"/>
                </a:cubicBezTo>
                <a:cubicBezTo>
                  <a:pt x="76" y="121"/>
                  <a:pt x="117" y="98"/>
                  <a:pt x="161" y="78"/>
                </a:cubicBezTo>
                <a:cubicBezTo>
                  <a:pt x="203" y="60"/>
                  <a:pt x="242" y="48"/>
                  <a:pt x="260" y="48"/>
                </a:cubicBezTo>
                <a:cubicBezTo>
                  <a:pt x="282" y="48"/>
                  <a:pt x="292" y="54"/>
                  <a:pt x="301" y="60"/>
                </a:cubicBezTo>
                <a:cubicBezTo>
                  <a:pt x="308" y="65"/>
                  <a:pt x="314" y="69"/>
                  <a:pt x="324" y="69"/>
                </a:cubicBezTo>
                <a:cubicBezTo>
                  <a:pt x="330" y="69"/>
                  <a:pt x="339" y="64"/>
                  <a:pt x="355" y="54"/>
                </a:cubicBezTo>
                <a:cubicBezTo>
                  <a:pt x="381" y="39"/>
                  <a:pt x="419" y="16"/>
                  <a:pt x="459" y="14"/>
                </a:cubicBezTo>
                <a:cubicBezTo>
                  <a:pt x="630" y="262"/>
                  <a:pt x="630" y="262"/>
                  <a:pt x="630" y="262"/>
                </a:cubicBezTo>
                <a:cubicBezTo>
                  <a:pt x="577" y="267"/>
                  <a:pt x="527" y="301"/>
                  <a:pt x="493" y="32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2" name="Oval 75">
            <a:extLst>
              <a:ext uri="{FF2B5EF4-FFF2-40B4-BE49-F238E27FC236}">
                <a16:creationId xmlns:a16="http://schemas.microsoft.com/office/drawing/2014/main" id="{D5E7A977-0B73-4C0E-8CD7-337A8DC8F4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4622" y="3895253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3" name="Freeform 83">
            <a:extLst>
              <a:ext uri="{FF2B5EF4-FFF2-40B4-BE49-F238E27FC236}">
                <a16:creationId xmlns:a16="http://schemas.microsoft.com/office/drawing/2014/main" id="{CAA54C11-C0DF-436E-ADFA-AC3D896FB481}"/>
              </a:ext>
            </a:extLst>
          </p:cNvPr>
          <p:cNvSpPr>
            <a:spLocks noEditPoints="1"/>
          </p:cNvSpPr>
          <p:nvPr/>
        </p:nvSpPr>
        <p:spPr bwMode="auto">
          <a:xfrm>
            <a:off x="5875387" y="4044803"/>
            <a:ext cx="422297" cy="522995"/>
          </a:xfrm>
          <a:custGeom>
            <a:avLst/>
            <a:gdLst>
              <a:gd name="T0" fmla="*/ 404 w 546"/>
              <a:gd name="T1" fmla="*/ 203 h 676"/>
              <a:gd name="T2" fmla="*/ 302 w 546"/>
              <a:gd name="T3" fmla="*/ 11 h 676"/>
              <a:gd name="T4" fmla="*/ 290 w 546"/>
              <a:gd name="T5" fmla="*/ 3 h 676"/>
              <a:gd name="T6" fmla="*/ 218 w 546"/>
              <a:gd name="T7" fmla="*/ 221 h 676"/>
              <a:gd name="T8" fmla="*/ 189 w 546"/>
              <a:gd name="T9" fmla="*/ 294 h 676"/>
              <a:gd name="T10" fmla="*/ 157 w 546"/>
              <a:gd name="T11" fmla="*/ 257 h 676"/>
              <a:gd name="T12" fmla="*/ 146 w 546"/>
              <a:gd name="T13" fmla="*/ 250 h 676"/>
              <a:gd name="T14" fmla="*/ 0 w 546"/>
              <a:gd name="T15" fmla="*/ 457 h 676"/>
              <a:gd name="T16" fmla="*/ 227 w 546"/>
              <a:gd name="T17" fmla="*/ 676 h 676"/>
              <a:gd name="T18" fmla="*/ 234 w 546"/>
              <a:gd name="T19" fmla="*/ 669 h 676"/>
              <a:gd name="T20" fmla="*/ 225 w 546"/>
              <a:gd name="T21" fmla="*/ 661 h 676"/>
              <a:gd name="T22" fmla="*/ 145 w 546"/>
              <a:gd name="T23" fmla="*/ 577 h 676"/>
              <a:gd name="T24" fmla="*/ 181 w 546"/>
              <a:gd name="T25" fmla="*/ 504 h 676"/>
              <a:gd name="T26" fmla="*/ 223 w 546"/>
              <a:gd name="T27" fmla="*/ 385 h 676"/>
              <a:gd name="T28" fmla="*/ 315 w 546"/>
              <a:gd name="T29" fmla="*/ 272 h 676"/>
              <a:gd name="T30" fmla="*/ 309 w 546"/>
              <a:gd name="T31" fmla="*/ 407 h 676"/>
              <a:gd name="T32" fmla="*/ 336 w 546"/>
              <a:gd name="T33" fmla="*/ 520 h 676"/>
              <a:gd name="T34" fmla="*/ 385 w 546"/>
              <a:gd name="T35" fmla="*/ 471 h 676"/>
              <a:gd name="T36" fmla="*/ 346 w 546"/>
              <a:gd name="T37" fmla="*/ 662 h 676"/>
              <a:gd name="T38" fmla="*/ 352 w 546"/>
              <a:gd name="T39" fmla="*/ 674 h 676"/>
              <a:gd name="T40" fmla="*/ 408 w 546"/>
              <a:gd name="T41" fmla="*/ 207 h 676"/>
              <a:gd name="T42" fmla="*/ 432 w 546"/>
              <a:gd name="T43" fmla="*/ 552 h 676"/>
              <a:gd name="T44" fmla="*/ 379 w 546"/>
              <a:gd name="T45" fmla="*/ 449 h 676"/>
              <a:gd name="T46" fmla="*/ 372 w 546"/>
              <a:gd name="T47" fmla="*/ 457 h 676"/>
              <a:gd name="T48" fmla="*/ 336 w 546"/>
              <a:gd name="T49" fmla="*/ 506 h 676"/>
              <a:gd name="T50" fmla="*/ 320 w 546"/>
              <a:gd name="T51" fmla="*/ 415 h 676"/>
              <a:gd name="T52" fmla="*/ 315 w 546"/>
              <a:gd name="T53" fmla="*/ 251 h 676"/>
              <a:gd name="T54" fmla="*/ 304 w 546"/>
              <a:gd name="T55" fmla="*/ 256 h 676"/>
              <a:gd name="T56" fmla="*/ 215 w 546"/>
              <a:gd name="T57" fmla="*/ 374 h 676"/>
              <a:gd name="T58" fmla="*/ 168 w 546"/>
              <a:gd name="T59" fmla="*/ 509 h 676"/>
              <a:gd name="T60" fmla="*/ 145 w 546"/>
              <a:gd name="T61" fmla="*/ 563 h 676"/>
              <a:gd name="T62" fmla="*/ 117 w 546"/>
              <a:gd name="T63" fmla="*/ 555 h 676"/>
              <a:gd name="T64" fmla="*/ 158 w 546"/>
              <a:gd name="T65" fmla="*/ 637 h 676"/>
              <a:gd name="T66" fmla="*/ 139 w 546"/>
              <a:gd name="T67" fmla="*/ 271 h 676"/>
              <a:gd name="T68" fmla="*/ 150 w 546"/>
              <a:gd name="T69" fmla="*/ 289 h 676"/>
              <a:gd name="T70" fmla="*/ 239 w 546"/>
              <a:gd name="T71" fmla="*/ 257 h 676"/>
              <a:gd name="T72" fmla="*/ 220 w 546"/>
              <a:gd name="T73" fmla="*/ 146 h 676"/>
              <a:gd name="T74" fmla="*/ 376 w 546"/>
              <a:gd name="T75" fmla="*/ 195 h 676"/>
              <a:gd name="T76" fmla="*/ 398 w 546"/>
              <a:gd name="T77" fmla="*/ 217 h 676"/>
              <a:gd name="T78" fmla="*/ 397 w 546"/>
              <a:gd name="T79" fmla="*/ 639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46" h="676">
                <a:moveTo>
                  <a:pt x="408" y="207"/>
                </a:moveTo>
                <a:cubicBezTo>
                  <a:pt x="404" y="203"/>
                  <a:pt x="404" y="203"/>
                  <a:pt x="404" y="203"/>
                </a:cubicBezTo>
                <a:cubicBezTo>
                  <a:pt x="398" y="198"/>
                  <a:pt x="392" y="191"/>
                  <a:pt x="386" y="185"/>
                </a:cubicBezTo>
                <a:cubicBezTo>
                  <a:pt x="334" y="134"/>
                  <a:pt x="275" y="76"/>
                  <a:pt x="302" y="11"/>
                </a:cubicBezTo>
                <a:cubicBezTo>
                  <a:pt x="303" y="7"/>
                  <a:pt x="302" y="4"/>
                  <a:pt x="299" y="2"/>
                </a:cubicBezTo>
                <a:cubicBezTo>
                  <a:pt x="296" y="0"/>
                  <a:pt x="293" y="0"/>
                  <a:pt x="290" y="3"/>
                </a:cubicBezTo>
                <a:cubicBezTo>
                  <a:pt x="237" y="50"/>
                  <a:pt x="206" y="89"/>
                  <a:pt x="206" y="146"/>
                </a:cubicBezTo>
                <a:cubicBezTo>
                  <a:pt x="206" y="176"/>
                  <a:pt x="213" y="201"/>
                  <a:pt x="218" y="221"/>
                </a:cubicBezTo>
                <a:cubicBezTo>
                  <a:pt x="222" y="235"/>
                  <a:pt x="225" y="247"/>
                  <a:pt x="225" y="257"/>
                </a:cubicBezTo>
                <a:cubicBezTo>
                  <a:pt x="225" y="277"/>
                  <a:pt x="208" y="294"/>
                  <a:pt x="189" y="294"/>
                </a:cubicBezTo>
                <a:cubicBezTo>
                  <a:pt x="179" y="294"/>
                  <a:pt x="168" y="289"/>
                  <a:pt x="161" y="281"/>
                </a:cubicBezTo>
                <a:cubicBezTo>
                  <a:pt x="156" y="274"/>
                  <a:pt x="154" y="266"/>
                  <a:pt x="157" y="257"/>
                </a:cubicBezTo>
                <a:cubicBezTo>
                  <a:pt x="157" y="255"/>
                  <a:pt x="156" y="252"/>
                  <a:pt x="154" y="250"/>
                </a:cubicBezTo>
                <a:cubicBezTo>
                  <a:pt x="152" y="248"/>
                  <a:pt x="148" y="248"/>
                  <a:pt x="146" y="250"/>
                </a:cubicBezTo>
                <a:cubicBezTo>
                  <a:pt x="141" y="253"/>
                  <a:pt x="136" y="256"/>
                  <a:pt x="132" y="259"/>
                </a:cubicBezTo>
                <a:cubicBezTo>
                  <a:pt x="73" y="297"/>
                  <a:pt x="0" y="344"/>
                  <a:pt x="0" y="457"/>
                </a:cubicBezTo>
                <a:cubicBezTo>
                  <a:pt x="0" y="599"/>
                  <a:pt x="157" y="658"/>
                  <a:pt x="225" y="676"/>
                </a:cubicBezTo>
                <a:cubicBezTo>
                  <a:pt x="226" y="676"/>
                  <a:pt x="226" y="676"/>
                  <a:pt x="227" y="676"/>
                </a:cubicBezTo>
                <a:cubicBezTo>
                  <a:pt x="227" y="676"/>
                  <a:pt x="227" y="676"/>
                  <a:pt x="227" y="676"/>
                </a:cubicBezTo>
                <a:cubicBezTo>
                  <a:pt x="231" y="676"/>
                  <a:pt x="234" y="673"/>
                  <a:pt x="234" y="669"/>
                </a:cubicBezTo>
                <a:cubicBezTo>
                  <a:pt x="234" y="667"/>
                  <a:pt x="232" y="664"/>
                  <a:pt x="230" y="663"/>
                </a:cubicBezTo>
                <a:cubicBezTo>
                  <a:pt x="225" y="661"/>
                  <a:pt x="225" y="661"/>
                  <a:pt x="225" y="661"/>
                </a:cubicBezTo>
                <a:cubicBezTo>
                  <a:pt x="170" y="631"/>
                  <a:pt x="141" y="616"/>
                  <a:pt x="130" y="575"/>
                </a:cubicBezTo>
                <a:cubicBezTo>
                  <a:pt x="135" y="576"/>
                  <a:pt x="140" y="577"/>
                  <a:pt x="145" y="577"/>
                </a:cubicBezTo>
                <a:cubicBezTo>
                  <a:pt x="154" y="577"/>
                  <a:pt x="167" y="574"/>
                  <a:pt x="178" y="560"/>
                </a:cubicBezTo>
                <a:cubicBezTo>
                  <a:pt x="195" y="539"/>
                  <a:pt x="188" y="522"/>
                  <a:pt x="181" y="504"/>
                </a:cubicBezTo>
                <a:cubicBezTo>
                  <a:pt x="176" y="491"/>
                  <a:pt x="171" y="476"/>
                  <a:pt x="171" y="455"/>
                </a:cubicBezTo>
                <a:cubicBezTo>
                  <a:pt x="171" y="427"/>
                  <a:pt x="194" y="408"/>
                  <a:pt x="223" y="385"/>
                </a:cubicBezTo>
                <a:cubicBezTo>
                  <a:pt x="238" y="373"/>
                  <a:pt x="253" y="361"/>
                  <a:pt x="267" y="346"/>
                </a:cubicBezTo>
                <a:cubicBezTo>
                  <a:pt x="299" y="313"/>
                  <a:pt x="310" y="290"/>
                  <a:pt x="315" y="272"/>
                </a:cubicBezTo>
                <a:cubicBezTo>
                  <a:pt x="324" y="285"/>
                  <a:pt x="339" y="311"/>
                  <a:pt x="339" y="340"/>
                </a:cubicBezTo>
                <a:cubicBezTo>
                  <a:pt x="339" y="367"/>
                  <a:pt x="324" y="387"/>
                  <a:pt x="309" y="407"/>
                </a:cubicBezTo>
                <a:cubicBezTo>
                  <a:pt x="295" y="426"/>
                  <a:pt x="282" y="444"/>
                  <a:pt x="282" y="467"/>
                </a:cubicBezTo>
                <a:cubicBezTo>
                  <a:pt x="282" y="501"/>
                  <a:pt x="301" y="520"/>
                  <a:pt x="336" y="520"/>
                </a:cubicBezTo>
                <a:cubicBezTo>
                  <a:pt x="348" y="520"/>
                  <a:pt x="360" y="515"/>
                  <a:pt x="369" y="505"/>
                </a:cubicBezTo>
                <a:cubicBezTo>
                  <a:pt x="378" y="496"/>
                  <a:pt x="383" y="484"/>
                  <a:pt x="385" y="471"/>
                </a:cubicBezTo>
                <a:cubicBezTo>
                  <a:pt x="398" y="486"/>
                  <a:pt x="418" y="520"/>
                  <a:pt x="418" y="552"/>
                </a:cubicBezTo>
                <a:cubicBezTo>
                  <a:pt x="418" y="609"/>
                  <a:pt x="386" y="634"/>
                  <a:pt x="346" y="662"/>
                </a:cubicBezTo>
                <a:cubicBezTo>
                  <a:pt x="343" y="664"/>
                  <a:pt x="342" y="668"/>
                  <a:pt x="343" y="671"/>
                </a:cubicBezTo>
                <a:cubicBezTo>
                  <a:pt x="345" y="674"/>
                  <a:pt x="349" y="675"/>
                  <a:pt x="352" y="674"/>
                </a:cubicBezTo>
                <a:cubicBezTo>
                  <a:pt x="486" y="621"/>
                  <a:pt x="546" y="555"/>
                  <a:pt x="546" y="459"/>
                </a:cubicBezTo>
                <a:cubicBezTo>
                  <a:pt x="546" y="348"/>
                  <a:pt x="476" y="276"/>
                  <a:pt x="408" y="207"/>
                </a:cubicBezTo>
                <a:close/>
                <a:moveTo>
                  <a:pt x="397" y="639"/>
                </a:moveTo>
                <a:cubicBezTo>
                  <a:pt x="417" y="618"/>
                  <a:pt x="432" y="591"/>
                  <a:pt x="432" y="552"/>
                </a:cubicBezTo>
                <a:cubicBezTo>
                  <a:pt x="432" y="508"/>
                  <a:pt x="398" y="457"/>
                  <a:pt x="382" y="450"/>
                </a:cubicBezTo>
                <a:cubicBezTo>
                  <a:pt x="381" y="449"/>
                  <a:pt x="380" y="449"/>
                  <a:pt x="379" y="449"/>
                </a:cubicBezTo>
                <a:cubicBezTo>
                  <a:pt x="378" y="449"/>
                  <a:pt x="376" y="450"/>
                  <a:pt x="375" y="450"/>
                </a:cubicBezTo>
                <a:cubicBezTo>
                  <a:pt x="373" y="452"/>
                  <a:pt x="372" y="454"/>
                  <a:pt x="372" y="457"/>
                </a:cubicBezTo>
                <a:cubicBezTo>
                  <a:pt x="373" y="471"/>
                  <a:pt x="368" y="486"/>
                  <a:pt x="359" y="495"/>
                </a:cubicBezTo>
                <a:cubicBezTo>
                  <a:pt x="354" y="500"/>
                  <a:pt x="346" y="506"/>
                  <a:pt x="336" y="506"/>
                </a:cubicBezTo>
                <a:cubicBezTo>
                  <a:pt x="309" y="506"/>
                  <a:pt x="296" y="494"/>
                  <a:pt x="296" y="467"/>
                </a:cubicBezTo>
                <a:cubicBezTo>
                  <a:pt x="296" y="449"/>
                  <a:pt x="308" y="433"/>
                  <a:pt x="320" y="415"/>
                </a:cubicBezTo>
                <a:cubicBezTo>
                  <a:pt x="336" y="395"/>
                  <a:pt x="353" y="371"/>
                  <a:pt x="353" y="340"/>
                </a:cubicBezTo>
                <a:cubicBezTo>
                  <a:pt x="353" y="296"/>
                  <a:pt x="324" y="257"/>
                  <a:pt x="315" y="251"/>
                </a:cubicBezTo>
                <a:cubicBezTo>
                  <a:pt x="313" y="250"/>
                  <a:pt x="310" y="249"/>
                  <a:pt x="308" y="250"/>
                </a:cubicBezTo>
                <a:cubicBezTo>
                  <a:pt x="306" y="251"/>
                  <a:pt x="304" y="253"/>
                  <a:pt x="304" y="256"/>
                </a:cubicBezTo>
                <a:cubicBezTo>
                  <a:pt x="301" y="274"/>
                  <a:pt x="294" y="297"/>
                  <a:pt x="256" y="337"/>
                </a:cubicBezTo>
                <a:cubicBezTo>
                  <a:pt x="243" y="351"/>
                  <a:pt x="229" y="362"/>
                  <a:pt x="215" y="374"/>
                </a:cubicBezTo>
                <a:cubicBezTo>
                  <a:pt x="185" y="398"/>
                  <a:pt x="157" y="420"/>
                  <a:pt x="157" y="455"/>
                </a:cubicBezTo>
                <a:cubicBezTo>
                  <a:pt x="157" y="479"/>
                  <a:pt x="163" y="496"/>
                  <a:pt x="168" y="509"/>
                </a:cubicBezTo>
                <a:cubicBezTo>
                  <a:pt x="175" y="527"/>
                  <a:pt x="179" y="537"/>
                  <a:pt x="167" y="552"/>
                </a:cubicBezTo>
                <a:cubicBezTo>
                  <a:pt x="161" y="560"/>
                  <a:pt x="154" y="563"/>
                  <a:pt x="145" y="563"/>
                </a:cubicBezTo>
                <a:cubicBezTo>
                  <a:pt x="136" y="563"/>
                  <a:pt x="128" y="558"/>
                  <a:pt x="125" y="556"/>
                </a:cubicBezTo>
                <a:cubicBezTo>
                  <a:pt x="123" y="554"/>
                  <a:pt x="120" y="553"/>
                  <a:pt x="117" y="555"/>
                </a:cubicBezTo>
                <a:cubicBezTo>
                  <a:pt x="114" y="556"/>
                  <a:pt x="113" y="559"/>
                  <a:pt x="113" y="562"/>
                </a:cubicBezTo>
                <a:cubicBezTo>
                  <a:pt x="119" y="598"/>
                  <a:pt x="134" y="619"/>
                  <a:pt x="158" y="637"/>
                </a:cubicBezTo>
                <a:cubicBezTo>
                  <a:pt x="90" y="607"/>
                  <a:pt x="14" y="552"/>
                  <a:pt x="14" y="457"/>
                </a:cubicBezTo>
                <a:cubicBezTo>
                  <a:pt x="14" y="352"/>
                  <a:pt x="83" y="307"/>
                  <a:pt x="139" y="271"/>
                </a:cubicBezTo>
                <a:cubicBezTo>
                  <a:pt x="140" y="270"/>
                  <a:pt x="141" y="270"/>
                  <a:pt x="142" y="269"/>
                </a:cubicBezTo>
                <a:cubicBezTo>
                  <a:pt x="143" y="276"/>
                  <a:pt x="146" y="283"/>
                  <a:pt x="150" y="289"/>
                </a:cubicBezTo>
                <a:cubicBezTo>
                  <a:pt x="159" y="301"/>
                  <a:pt x="175" y="308"/>
                  <a:pt x="189" y="308"/>
                </a:cubicBezTo>
                <a:cubicBezTo>
                  <a:pt x="216" y="308"/>
                  <a:pt x="239" y="284"/>
                  <a:pt x="239" y="257"/>
                </a:cubicBezTo>
                <a:cubicBezTo>
                  <a:pt x="239" y="245"/>
                  <a:pt x="236" y="232"/>
                  <a:pt x="232" y="218"/>
                </a:cubicBezTo>
                <a:cubicBezTo>
                  <a:pt x="226" y="197"/>
                  <a:pt x="220" y="175"/>
                  <a:pt x="220" y="146"/>
                </a:cubicBezTo>
                <a:cubicBezTo>
                  <a:pt x="220" y="105"/>
                  <a:pt x="237" y="73"/>
                  <a:pt x="282" y="30"/>
                </a:cubicBezTo>
                <a:cubicBezTo>
                  <a:pt x="273" y="93"/>
                  <a:pt x="329" y="149"/>
                  <a:pt x="376" y="195"/>
                </a:cubicBezTo>
                <a:cubicBezTo>
                  <a:pt x="382" y="201"/>
                  <a:pt x="388" y="207"/>
                  <a:pt x="394" y="213"/>
                </a:cubicBezTo>
                <a:cubicBezTo>
                  <a:pt x="398" y="217"/>
                  <a:pt x="398" y="217"/>
                  <a:pt x="398" y="217"/>
                </a:cubicBezTo>
                <a:cubicBezTo>
                  <a:pt x="467" y="287"/>
                  <a:pt x="532" y="353"/>
                  <a:pt x="532" y="459"/>
                </a:cubicBezTo>
                <a:cubicBezTo>
                  <a:pt x="532" y="537"/>
                  <a:pt x="491" y="592"/>
                  <a:pt x="397" y="6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4" name="Oval 73">
            <a:extLst>
              <a:ext uri="{FF2B5EF4-FFF2-40B4-BE49-F238E27FC236}">
                <a16:creationId xmlns:a16="http://schemas.microsoft.com/office/drawing/2014/main" id="{C7F70856-C34C-43DA-9590-1305526361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879" y="3895253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5" name="Freeform 107">
            <a:extLst>
              <a:ext uri="{FF2B5EF4-FFF2-40B4-BE49-F238E27FC236}">
                <a16:creationId xmlns:a16="http://schemas.microsoft.com/office/drawing/2014/main" id="{7FB685DE-080E-4664-9A85-53A23B03B108}"/>
              </a:ext>
            </a:extLst>
          </p:cNvPr>
          <p:cNvSpPr>
            <a:spLocks noEditPoints="1"/>
          </p:cNvSpPr>
          <p:nvPr/>
        </p:nvSpPr>
        <p:spPr bwMode="auto">
          <a:xfrm>
            <a:off x="4559092" y="4072653"/>
            <a:ext cx="471992" cy="469027"/>
          </a:xfrm>
          <a:custGeom>
            <a:avLst/>
            <a:gdLst>
              <a:gd name="T0" fmla="*/ 591 w 610"/>
              <a:gd name="T1" fmla="*/ 523 h 606"/>
              <a:gd name="T2" fmla="*/ 463 w 610"/>
              <a:gd name="T3" fmla="*/ 395 h 606"/>
              <a:gd name="T4" fmla="*/ 432 w 610"/>
              <a:gd name="T5" fmla="*/ 74 h 606"/>
              <a:gd name="T6" fmla="*/ 253 w 610"/>
              <a:gd name="T7" fmla="*/ 0 h 606"/>
              <a:gd name="T8" fmla="*/ 74 w 610"/>
              <a:gd name="T9" fmla="*/ 74 h 606"/>
              <a:gd name="T10" fmla="*/ 0 w 610"/>
              <a:gd name="T11" fmla="*/ 253 h 606"/>
              <a:gd name="T12" fmla="*/ 74 w 610"/>
              <a:gd name="T13" fmla="*/ 433 h 606"/>
              <a:gd name="T14" fmla="*/ 253 w 610"/>
              <a:gd name="T15" fmla="*/ 507 h 606"/>
              <a:gd name="T16" fmla="*/ 395 w 610"/>
              <a:gd name="T17" fmla="*/ 464 h 606"/>
              <a:gd name="T18" fmla="*/ 522 w 610"/>
              <a:gd name="T19" fmla="*/ 591 h 606"/>
              <a:gd name="T20" fmla="*/ 557 w 610"/>
              <a:gd name="T21" fmla="*/ 606 h 606"/>
              <a:gd name="T22" fmla="*/ 591 w 610"/>
              <a:gd name="T23" fmla="*/ 591 h 606"/>
              <a:gd name="T24" fmla="*/ 591 w 610"/>
              <a:gd name="T25" fmla="*/ 523 h 606"/>
              <a:gd name="T26" fmla="*/ 84 w 610"/>
              <a:gd name="T27" fmla="*/ 423 h 606"/>
              <a:gd name="T28" fmla="*/ 14 w 610"/>
              <a:gd name="T29" fmla="*/ 253 h 606"/>
              <a:gd name="T30" fmla="*/ 84 w 610"/>
              <a:gd name="T31" fmla="*/ 84 h 606"/>
              <a:gd name="T32" fmla="*/ 253 w 610"/>
              <a:gd name="T33" fmla="*/ 14 h 606"/>
              <a:gd name="T34" fmla="*/ 422 w 610"/>
              <a:gd name="T35" fmla="*/ 84 h 606"/>
              <a:gd name="T36" fmla="*/ 449 w 610"/>
              <a:gd name="T37" fmla="*/ 391 h 606"/>
              <a:gd name="T38" fmla="*/ 448 w 610"/>
              <a:gd name="T39" fmla="*/ 392 h 606"/>
              <a:gd name="T40" fmla="*/ 422 w 610"/>
              <a:gd name="T41" fmla="*/ 423 h 606"/>
              <a:gd name="T42" fmla="*/ 392 w 610"/>
              <a:gd name="T43" fmla="*/ 448 h 606"/>
              <a:gd name="T44" fmla="*/ 391 w 610"/>
              <a:gd name="T45" fmla="*/ 449 h 606"/>
              <a:gd name="T46" fmla="*/ 253 w 610"/>
              <a:gd name="T47" fmla="*/ 493 h 606"/>
              <a:gd name="T48" fmla="*/ 84 w 610"/>
              <a:gd name="T49" fmla="*/ 423 h 606"/>
              <a:gd name="T50" fmla="*/ 581 w 610"/>
              <a:gd name="T51" fmla="*/ 581 h 606"/>
              <a:gd name="T52" fmla="*/ 532 w 610"/>
              <a:gd name="T53" fmla="*/ 581 h 606"/>
              <a:gd name="T54" fmla="*/ 406 w 610"/>
              <a:gd name="T55" fmla="*/ 455 h 606"/>
              <a:gd name="T56" fmla="*/ 432 w 610"/>
              <a:gd name="T57" fmla="*/ 433 h 606"/>
              <a:gd name="T58" fmla="*/ 455 w 610"/>
              <a:gd name="T59" fmla="*/ 406 h 606"/>
              <a:gd name="T60" fmla="*/ 581 w 610"/>
              <a:gd name="T61" fmla="*/ 533 h 606"/>
              <a:gd name="T62" fmla="*/ 581 w 610"/>
              <a:gd name="T63" fmla="*/ 581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10" h="606">
                <a:moveTo>
                  <a:pt x="591" y="523"/>
                </a:moveTo>
                <a:cubicBezTo>
                  <a:pt x="463" y="395"/>
                  <a:pt x="463" y="395"/>
                  <a:pt x="463" y="395"/>
                </a:cubicBezTo>
                <a:cubicBezTo>
                  <a:pt x="530" y="296"/>
                  <a:pt x="519" y="161"/>
                  <a:pt x="432" y="74"/>
                </a:cubicBezTo>
                <a:cubicBezTo>
                  <a:pt x="384" y="26"/>
                  <a:pt x="321" y="0"/>
                  <a:pt x="253" y="0"/>
                </a:cubicBezTo>
                <a:cubicBezTo>
                  <a:pt x="185" y="0"/>
                  <a:pt x="122" y="26"/>
                  <a:pt x="74" y="74"/>
                </a:cubicBezTo>
                <a:cubicBezTo>
                  <a:pt x="26" y="122"/>
                  <a:pt x="0" y="186"/>
                  <a:pt x="0" y="253"/>
                </a:cubicBezTo>
                <a:cubicBezTo>
                  <a:pt x="0" y="321"/>
                  <a:pt x="26" y="385"/>
                  <a:pt x="74" y="433"/>
                </a:cubicBezTo>
                <a:cubicBezTo>
                  <a:pt x="122" y="480"/>
                  <a:pt x="185" y="507"/>
                  <a:pt x="253" y="507"/>
                </a:cubicBezTo>
                <a:cubicBezTo>
                  <a:pt x="304" y="507"/>
                  <a:pt x="353" y="492"/>
                  <a:pt x="395" y="464"/>
                </a:cubicBezTo>
                <a:cubicBezTo>
                  <a:pt x="522" y="591"/>
                  <a:pt x="522" y="591"/>
                  <a:pt x="522" y="591"/>
                </a:cubicBezTo>
                <a:cubicBezTo>
                  <a:pt x="532" y="601"/>
                  <a:pt x="544" y="606"/>
                  <a:pt x="557" y="606"/>
                </a:cubicBezTo>
                <a:cubicBezTo>
                  <a:pt x="569" y="606"/>
                  <a:pt x="582" y="601"/>
                  <a:pt x="591" y="591"/>
                </a:cubicBezTo>
                <a:cubicBezTo>
                  <a:pt x="610" y="572"/>
                  <a:pt x="610" y="542"/>
                  <a:pt x="591" y="523"/>
                </a:cubicBezTo>
                <a:close/>
                <a:moveTo>
                  <a:pt x="84" y="423"/>
                </a:moveTo>
                <a:cubicBezTo>
                  <a:pt x="39" y="377"/>
                  <a:pt x="14" y="317"/>
                  <a:pt x="14" y="253"/>
                </a:cubicBezTo>
                <a:cubicBezTo>
                  <a:pt x="14" y="189"/>
                  <a:pt x="39" y="129"/>
                  <a:pt x="84" y="84"/>
                </a:cubicBezTo>
                <a:cubicBezTo>
                  <a:pt x="129" y="39"/>
                  <a:pt x="189" y="14"/>
                  <a:pt x="253" y="14"/>
                </a:cubicBezTo>
                <a:cubicBezTo>
                  <a:pt x="317" y="14"/>
                  <a:pt x="377" y="39"/>
                  <a:pt x="422" y="84"/>
                </a:cubicBezTo>
                <a:cubicBezTo>
                  <a:pt x="506" y="168"/>
                  <a:pt x="514" y="298"/>
                  <a:pt x="449" y="391"/>
                </a:cubicBezTo>
                <a:cubicBezTo>
                  <a:pt x="448" y="392"/>
                  <a:pt x="448" y="392"/>
                  <a:pt x="448" y="392"/>
                </a:cubicBezTo>
                <a:cubicBezTo>
                  <a:pt x="440" y="403"/>
                  <a:pt x="432" y="413"/>
                  <a:pt x="422" y="423"/>
                </a:cubicBezTo>
                <a:cubicBezTo>
                  <a:pt x="413" y="432"/>
                  <a:pt x="403" y="441"/>
                  <a:pt x="392" y="448"/>
                </a:cubicBezTo>
                <a:cubicBezTo>
                  <a:pt x="392" y="448"/>
                  <a:pt x="391" y="449"/>
                  <a:pt x="391" y="449"/>
                </a:cubicBezTo>
                <a:cubicBezTo>
                  <a:pt x="351" y="477"/>
                  <a:pt x="303" y="493"/>
                  <a:pt x="253" y="493"/>
                </a:cubicBezTo>
                <a:cubicBezTo>
                  <a:pt x="189" y="493"/>
                  <a:pt x="129" y="468"/>
                  <a:pt x="84" y="423"/>
                </a:cubicBezTo>
                <a:close/>
                <a:moveTo>
                  <a:pt x="581" y="581"/>
                </a:moveTo>
                <a:cubicBezTo>
                  <a:pt x="568" y="595"/>
                  <a:pt x="546" y="595"/>
                  <a:pt x="532" y="581"/>
                </a:cubicBezTo>
                <a:cubicBezTo>
                  <a:pt x="406" y="455"/>
                  <a:pt x="406" y="455"/>
                  <a:pt x="406" y="455"/>
                </a:cubicBezTo>
                <a:cubicBezTo>
                  <a:pt x="415" y="448"/>
                  <a:pt x="424" y="441"/>
                  <a:pt x="432" y="433"/>
                </a:cubicBezTo>
                <a:cubicBezTo>
                  <a:pt x="440" y="424"/>
                  <a:pt x="448" y="415"/>
                  <a:pt x="455" y="406"/>
                </a:cubicBezTo>
                <a:cubicBezTo>
                  <a:pt x="581" y="533"/>
                  <a:pt x="581" y="533"/>
                  <a:pt x="581" y="533"/>
                </a:cubicBezTo>
                <a:cubicBezTo>
                  <a:pt x="595" y="546"/>
                  <a:pt x="595" y="568"/>
                  <a:pt x="581" y="58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6" name="Oval 12">
            <a:extLst>
              <a:ext uri="{FF2B5EF4-FFF2-40B4-BE49-F238E27FC236}">
                <a16:creationId xmlns:a16="http://schemas.microsoft.com/office/drawing/2014/main" id="{4C2A8029-A771-479C-B558-83AB420F2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2575" y="2909891"/>
            <a:ext cx="822960" cy="8229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7" name="Freeform 101">
            <a:extLst>
              <a:ext uri="{FF2B5EF4-FFF2-40B4-BE49-F238E27FC236}">
                <a16:creationId xmlns:a16="http://schemas.microsoft.com/office/drawing/2014/main" id="{AFE004CD-1F24-4DB0-BC02-E2F9F54D83AC}"/>
              </a:ext>
            </a:extLst>
          </p:cNvPr>
          <p:cNvSpPr>
            <a:spLocks noEditPoints="1"/>
          </p:cNvSpPr>
          <p:nvPr/>
        </p:nvSpPr>
        <p:spPr bwMode="auto">
          <a:xfrm>
            <a:off x="8275369" y="3098540"/>
            <a:ext cx="297372" cy="445662"/>
          </a:xfrm>
          <a:custGeom>
            <a:avLst/>
            <a:gdLst>
              <a:gd name="T0" fmla="*/ 309 w 384"/>
              <a:gd name="T1" fmla="*/ 309 h 576"/>
              <a:gd name="T2" fmla="*/ 243 w 384"/>
              <a:gd name="T3" fmla="*/ 111 h 576"/>
              <a:gd name="T4" fmla="*/ 200 w 384"/>
              <a:gd name="T5" fmla="*/ 7 h 576"/>
              <a:gd name="T6" fmla="*/ 186 w 384"/>
              <a:gd name="T7" fmla="*/ 7 h 576"/>
              <a:gd name="T8" fmla="*/ 142 w 384"/>
              <a:gd name="T9" fmla="*/ 111 h 576"/>
              <a:gd name="T10" fmla="*/ 75 w 384"/>
              <a:gd name="T11" fmla="*/ 309 h 576"/>
              <a:gd name="T12" fmla="*/ 0 w 384"/>
              <a:gd name="T13" fmla="*/ 316 h 576"/>
              <a:gd name="T14" fmla="*/ 70 w 384"/>
              <a:gd name="T15" fmla="*/ 323 h 576"/>
              <a:gd name="T16" fmla="*/ 15 w 384"/>
              <a:gd name="T17" fmla="*/ 474 h 576"/>
              <a:gd name="T18" fmla="*/ 36 w 384"/>
              <a:gd name="T19" fmla="*/ 569 h 576"/>
              <a:gd name="T20" fmla="*/ 50 w 384"/>
              <a:gd name="T21" fmla="*/ 569 h 576"/>
              <a:gd name="T22" fmla="*/ 126 w 384"/>
              <a:gd name="T23" fmla="*/ 323 h 576"/>
              <a:gd name="T24" fmla="*/ 186 w 384"/>
              <a:gd name="T25" fmla="*/ 358 h 576"/>
              <a:gd name="T26" fmla="*/ 200 w 384"/>
              <a:gd name="T27" fmla="*/ 358 h 576"/>
              <a:gd name="T28" fmla="*/ 258 w 384"/>
              <a:gd name="T29" fmla="*/ 323 h 576"/>
              <a:gd name="T30" fmla="*/ 334 w 384"/>
              <a:gd name="T31" fmla="*/ 569 h 576"/>
              <a:gd name="T32" fmla="*/ 348 w 384"/>
              <a:gd name="T33" fmla="*/ 569 h 576"/>
              <a:gd name="T34" fmla="*/ 370 w 384"/>
              <a:gd name="T35" fmla="*/ 474 h 576"/>
              <a:gd name="T36" fmla="*/ 314 w 384"/>
              <a:gd name="T37" fmla="*/ 323 h 576"/>
              <a:gd name="T38" fmla="*/ 384 w 384"/>
              <a:gd name="T39" fmla="*/ 316 h 576"/>
              <a:gd name="T40" fmla="*/ 193 w 384"/>
              <a:gd name="T41" fmla="*/ 74 h 576"/>
              <a:gd name="T42" fmla="*/ 200 w 384"/>
              <a:gd name="T43" fmla="*/ 146 h 576"/>
              <a:gd name="T44" fmla="*/ 193 w 384"/>
              <a:gd name="T45" fmla="*/ 147 h 576"/>
              <a:gd name="T46" fmla="*/ 193 w 384"/>
              <a:gd name="T47" fmla="*/ 74 h 576"/>
              <a:gd name="T48" fmla="*/ 174 w 384"/>
              <a:gd name="T49" fmla="*/ 157 h 576"/>
              <a:gd name="T50" fmla="*/ 28 w 384"/>
              <a:gd name="T51" fmla="*/ 471 h 576"/>
              <a:gd name="T52" fmla="*/ 200 w 384"/>
              <a:gd name="T53" fmla="*/ 309 h 576"/>
              <a:gd name="T54" fmla="*/ 193 w 384"/>
              <a:gd name="T55" fmla="*/ 267 h 576"/>
              <a:gd name="T56" fmla="*/ 186 w 384"/>
              <a:gd name="T57" fmla="*/ 309 h 576"/>
              <a:gd name="T58" fmla="*/ 188 w 384"/>
              <a:gd name="T59" fmla="*/ 160 h 576"/>
              <a:gd name="T60" fmla="*/ 196 w 384"/>
              <a:gd name="T61" fmla="*/ 160 h 576"/>
              <a:gd name="T62" fmla="*/ 200 w 384"/>
              <a:gd name="T63" fmla="*/ 309 h 576"/>
              <a:gd name="T64" fmla="*/ 210 w 384"/>
              <a:gd name="T65" fmla="*/ 157 h 576"/>
              <a:gd name="T66" fmla="*/ 298 w 384"/>
              <a:gd name="T67" fmla="*/ 319 h 576"/>
              <a:gd name="T68" fmla="*/ 356 w 384"/>
              <a:gd name="T69" fmla="*/ 471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84" h="576">
                <a:moveTo>
                  <a:pt x="377" y="309"/>
                </a:moveTo>
                <a:cubicBezTo>
                  <a:pt x="309" y="309"/>
                  <a:pt x="309" y="309"/>
                  <a:pt x="309" y="309"/>
                </a:cubicBezTo>
                <a:cubicBezTo>
                  <a:pt x="240" y="127"/>
                  <a:pt x="240" y="127"/>
                  <a:pt x="240" y="127"/>
                </a:cubicBezTo>
                <a:cubicBezTo>
                  <a:pt x="242" y="122"/>
                  <a:pt x="243" y="116"/>
                  <a:pt x="243" y="111"/>
                </a:cubicBezTo>
                <a:cubicBezTo>
                  <a:pt x="243" y="85"/>
                  <a:pt x="224" y="64"/>
                  <a:pt x="200" y="61"/>
                </a:cubicBezTo>
                <a:cubicBezTo>
                  <a:pt x="200" y="7"/>
                  <a:pt x="200" y="7"/>
                  <a:pt x="200" y="7"/>
                </a:cubicBezTo>
                <a:cubicBezTo>
                  <a:pt x="200" y="3"/>
                  <a:pt x="196" y="0"/>
                  <a:pt x="193" y="0"/>
                </a:cubicBezTo>
                <a:cubicBezTo>
                  <a:pt x="189" y="0"/>
                  <a:pt x="186" y="3"/>
                  <a:pt x="186" y="7"/>
                </a:cubicBezTo>
                <a:cubicBezTo>
                  <a:pt x="186" y="61"/>
                  <a:pt x="186" y="61"/>
                  <a:pt x="186" y="61"/>
                </a:cubicBezTo>
                <a:cubicBezTo>
                  <a:pt x="161" y="64"/>
                  <a:pt x="142" y="85"/>
                  <a:pt x="142" y="111"/>
                </a:cubicBezTo>
                <a:cubicBezTo>
                  <a:pt x="142" y="116"/>
                  <a:pt x="143" y="121"/>
                  <a:pt x="145" y="126"/>
                </a:cubicBezTo>
                <a:cubicBezTo>
                  <a:pt x="75" y="309"/>
                  <a:pt x="75" y="309"/>
                  <a:pt x="75" y="309"/>
                </a:cubicBezTo>
                <a:cubicBezTo>
                  <a:pt x="7" y="309"/>
                  <a:pt x="7" y="309"/>
                  <a:pt x="7" y="309"/>
                </a:cubicBezTo>
                <a:cubicBezTo>
                  <a:pt x="3" y="309"/>
                  <a:pt x="0" y="312"/>
                  <a:pt x="0" y="316"/>
                </a:cubicBezTo>
                <a:cubicBezTo>
                  <a:pt x="0" y="320"/>
                  <a:pt x="3" y="323"/>
                  <a:pt x="7" y="323"/>
                </a:cubicBezTo>
                <a:cubicBezTo>
                  <a:pt x="70" y="323"/>
                  <a:pt x="70" y="323"/>
                  <a:pt x="70" y="323"/>
                </a:cubicBezTo>
                <a:cubicBezTo>
                  <a:pt x="14" y="469"/>
                  <a:pt x="14" y="469"/>
                  <a:pt x="14" y="469"/>
                </a:cubicBezTo>
                <a:cubicBezTo>
                  <a:pt x="14" y="471"/>
                  <a:pt x="14" y="473"/>
                  <a:pt x="15" y="474"/>
                </a:cubicBezTo>
                <a:cubicBezTo>
                  <a:pt x="36" y="523"/>
                  <a:pt x="36" y="523"/>
                  <a:pt x="36" y="523"/>
                </a:cubicBezTo>
                <a:cubicBezTo>
                  <a:pt x="36" y="569"/>
                  <a:pt x="36" y="569"/>
                  <a:pt x="36" y="569"/>
                </a:cubicBezTo>
                <a:cubicBezTo>
                  <a:pt x="36" y="573"/>
                  <a:pt x="39" y="576"/>
                  <a:pt x="43" y="576"/>
                </a:cubicBezTo>
                <a:cubicBezTo>
                  <a:pt x="47" y="576"/>
                  <a:pt x="50" y="573"/>
                  <a:pt x="50" y="569"/>
                </a:cubicBezTo>
                <a:cubicBezTo>
                  <a:pt x="50" y="523"/>
                  <a:pt x="50" y="523"/>
                  <a:pt x="50" y="523"/>
                </a:cubicBezTo>
                <a:cubicBezTo>
                  <a:pt x="126" y="323"/>
                  <a:pt x="126" y="323"/>
                  <a:pt x="126" y="323"/>
                </a:cubicBezTo>
                <a:cubicBezTo>
                  <a:pt x="186" y="323"/>
                  <a:pt x="186" y="323"/>
                  <a:pt x="186" y="323"/>
                </a:cubicBezTo>
                <a:cubicBezTo>
                  <a:pt x="186" y="358"/>
                  <a:pt x="186" y="358"/>
                  <a:pt x="186" y="358"/>
                </a:cubicBezTo>
                <a:cubicBezTo>
                  <a:pt x="186" y="362"/>
                  <a:pt x="189" y="365"/>
                  <a:pt x="193" y="365"/>
                </a:cubicBezTo>
                <a:cubicBezTo>
                  <a:pt x="196" y="365"/>
                  <a:pt x="200" y="362"/>
                  <a:pt x="200" y="358"/>
                </a:cubicBezTo>
                <a:cubicBezTo>
                  <a:pt x="200" y="323"/>
                  <a:pt x="200" y="323"/>
                  <a:pt x="200" y="323"/>
                </a:cubicBezTo>
                <a:cubicBezTo>
                  <a:pt x="258" y="323"/>
                  <a:pt x="258" y="323"/>
                  <a:pt x="258" y="323"/>
                </a:cubicBezTo>
                <a:cubicBezTo>
                  <a:pt x="334" y="523"/>
                  <a:pt x="334" y="523"/>
                  <a:pt x="334" y="523"/>
                </a:cubicBezTo>
                <a:cubicBezTo>
                  <a:pt x="334" y="569"/>
                  <a:pt x="334" y="569"/>
                  <a:pt x="334" y="569"/>
                </a:cubicBezTo>
                <a:cubicBezTo>
                  <a:pt x="334" y="573"/>
                  <a:pt x="337" y="576"/>
                  <a:pt x="341" y="576"/>
                </a:cubicBezTo>
                <a:cubicBezTo>
                  <a:pt x="345" y="576"/>
                  <a:pt x="348" y="573"/>
                  <a:pt x="348" y="569"/>
                </a:cubicBezTo>
                <a:cubicBezTo>
                  <a:pt x="348" y="523"/>
                  <a:pt x="348" y="523"/>
                  <a:pt x="348" y="523"/>
                </a:cubicBezTo>
                <a:cubicBezTo>
                  <a:pt x="370" y="474"/>
                  <a:pt x="370" y="474"/>
                  <a:pt x="370" y="474"/>
                </a:cubicBezTo>
                <a:cubicBezTo>
                  <a:pt x="371" y="473"/>
                  <a:pt x="371" y="471"/>
                  <a:pt x="370" y="469"/>
                </a:cubicBezTo>
                <a:cubicBezTo>
                  <a:pt x="314" y="323"/>
                  <a:pt x="314" y="323"/>
                  <a:pt x="314" y="323"/>
                </a:cubicBezTo>
                <a:cubicBezTo>
                  <a:pt x="377" y="323"/>
                  <a:pt x="377" y="323"/>
                  <a:pt x="377" y="323"/>
                </a:cubicBezTo>
                <a:cubicBezTo>
                  <a:pt x="381" y="323"/>
                  <a:pt x="384" y="320"/>
                  <a:pt x="384" y="316"/>
                </a:cubicBezTo>
                <a:cubicBezTo>
                  <a:pt x="384" y="312"/>
                  <a:pt x="381" y="309"/>
                  <a:pt x="377" y="309"/>
                </a:cubicBezTo>
                <a:close/>
                <a:moveTo>
                  <a:pt x="193" y="74"/>
                </a:moveTo>
                <a:cubicBezTo>
                  <a:pt x="212" y="74"/>
                  <a:pt x="229" y="91"/>
                  <a:pt x="229" y="111"/>
                </a:cubicBezTo>
                <a:cubicBezTo>
                  <a:pt x="229" y="128"/>
                  <a:pt x="216" y="143"/>
                  <a:pt x="200" y="146"/>
                </a:cubicBezTo>
                <a:cubicBezTo>
                  <a:pt x="200" y="146"/>
                  <a:pt x="200" y="146"/>
                  <a:pt x="200" y="146"/>
                </a:cubicBezTo>
                <a:cubicBezTo>
                  <a:pt x="197" y="146"/>
                  <a:pt x="195" y="147"/>
                  <a:pt x="193" y="147"/>
                </a:cubicBezTo>
                <a:cubicBezTo>
                  <a:pt x="173" y="147"/>
                  <a:pt x="156" y="130"/>
                  <a:pt x="156" y="111"/>
                </a:cubicBezTo>
                <a:cubicBezTo>
                  <a:pt x="156" y="91"/>
                  <a:pt x="173" y="74"/>
                  <a:pt x="193" y="74"/>
                </a:cubicBezTo>
                <a:close/>
                <a:moveTo>
                  <a:pt x="154" y="142"/>
                </a:moveTo>
                <a:cubicBezTo>
                  <a:pt x="159" y="149"/>
                  <a:pt x="166" y="154"/>
                  <a:pt x="174" y="157"/>
                </a:cubicBezTo>
                <a:cubicBezTo>
                  <a:pt x="43" y="503"/>
                  <a:pt x="43" y="503"/>
                  <a:pt x="43" y="503"/>
                </a:cubicBezTo>
                <a:cubicBezTo>
                  <a:pt x="28" y="471"/>
                  <a:pt x="28" y="471"/>
                  <a:pt x="28" y="471"/>
                </a:cubicBezTo>
                <a:lnTo>
                  <a:pt x="154" y="142"/>
                </a:lnTo>
                <a:close/>
                <a:moveTo>
                  <a:pt x="200" y="309"/>
                </a:moveTo>
                <a:cubicBezTo>
                  <a:pt x="200" y="274"/>
                  <a:pt x="200" y="274"/>
                  <a:pt x="200" y="274"/>
                </a:cubicBezTo>
                <a:cubicBezTo>
                  <a:pt x="200" y="270"/>
                  <a:pt x="196" y="267"/>
                  <a:pt x="193" y="267"/>
                </a:cubicBezTo>
                <a:cubicBezTo>
                  <a:pt x="189" y="267"/>
                  <a:pt x="186" y="270"/>
                  <a:pt x="186" y="274"/>
                </a:cubicBezTo>
                <a:cubicBezTo>
                  <a:pt x="186" y="309"/>
                  <a:pt x="186" y="309"/>
                  <a:pt x="186" y="309"/>
                </a:cubicBezTo>
                <a:cubicBezTo>
                  <a:pt x="132" y="309"/>
                  <a:pt x="132" y="309"/>
                  <a:pt x="132" y="309"/>
                </a:cubicBezTo>
                <a:cubicBezTo>
                  <a:pt x="188" y="160"/>
                  <a:pt x="188" y="160"/>
                  <a:pt x="188" y="160"/>
                </a:cubicBezTo>
                <a:cubicBezTo>
                  <a:pt x="190" y="161"/>
                  <a:pt x="191" y="161"/>
                  <a:pt x="193" y="161"/>
                </a:cubicBezTo>
                <a:cubicBezTo>
                  <a:pt x="194" y="161"/>
                  <a:pt x="195" y="161"/>
                  <a:pt x="196" y="160"/>
                </a:cubicBezTo>
                <a:cubicBezTo>
                  <a:pt x="253" y="309"/>
                  <a:pt x="253" y="309"/>
                  <a:pt x="253" y="309"/>
                </a:cubicBezTo>
                <a:lnTo>
                  <a:pt x="200" y="309"/>
                </a:lnTo>
                <a:close/>
                <a:moveTo>
                  <a:pt x="342" y="503"/>
                </a:moveTo>
                <a:cubicBezTo>
                  <a:pt x="210" y="157"/>
                  <a:pt x="210" y="157"/>
                  <a:pt x="210" y="157"/>
                </a:cubicBezTo>
                <a:cubicBezTo>
                  <a:pt x="218" y="154"/>
                  <a:pt x="225" y="149"/>
                  <a:pt x="231" y="143"/>
                </a:cubicBezTo>
                <a:cubicBezTo>
                  <a:pt x="298" y="319"/>
                  <a:pt x="298" y="319"/>
                  <a:pt x="298" y="319"/>
                </a:cubicBezTo>
                <a:cubicBezTo>
                  <a:pt x="298" y="319"/>
                  <a:pt x="298" y="319"/>
                  <a:pt x="298" y="319"/>
                </a:cubicBezTo>
                <a:cubicBezTo>
                  <a:pt x="356" y="471"/>
                  <a:pt x="356" y="471"/>
                  <a:pt x="356" y="471"/>
                </a:cubicBezTo>
                <a:lnTo>
                  <a:pt x="342" y="5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8" name="Title 32">
            <a:extLst>
              <a:ext uri="{FF2B5EF4-FFF2-40B4-BE49-F238E27FC236}">
                <a16:creationId xmlns:a16="http://schemas.microsoft.com/office/drawing/2014/main" id="{5B69CDD1-9523-4B24-A8E8-3D6C00095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9549"/>
            <a:ext cx="8686800" cy="682625"/>
          </a:xfrm>
        </p:spPr>
        <p:txBody>
          <a:bodyPr/>
          <a:lstStyle/>
          <a:p>
            <a:r>
              <a:rPr lang="en-US" dirty="0"/>
              <a:t>Miscellaneous icons</a:t>
            </a:r>
          </a:p>
        </p:txBody>
      </p:sp>
    </p:spTree>
    <p:extLst>
      <p:ext uri="{BB962C8B-B14F-4D97-AF65-F5344CB8AC3E}">
        <p14:creationId xmlns:p14="http://schemas.microsoft.com/office/powerpoint/2010/main" val="34785244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heme/theme1.xml><?xml version="1.0" encoding="utf-8"?>
<a:theme xmlns:a="http://schemas.openxmlformats.org/drawingml/2006/main" name="Illinois Business Consulting (Spring 2018)">
  <a:themeElements>
    <a:clrScheme name="IBC (Fall 2018)">
      <a:dk1>
        <a:srgbClr val="13284B"/>
      </a:dk1>
      <a:lt1>
        <a:srgbClr val="FFFFFF"/>
      </a:lt1>
      <a:dk2>
        <a:srgbClr val="13284B"/>
      </a:dk2>
      <a:lt2>
        <a:srgbClr val="FFFFFF"/>
      </a:lt2>
      <a:accent1>
        <a:srgbClr val="13284B"/>
      </a:accent1>
      <a:accent2>
        <a:srgbClr val="E84927"/>
      </a:accent2>
      <a:accent3>
        <a:srgbClr val="336FCA"/>
      </a:accent3>
      <a:accent4>
        <a:srgbClr val="838383"/>
      </a:accent4>
      <a:accent5>
        <a:srgbClr val="ADADAD"/>
      </a:accent5>
      <a:accent6>
        <a:srgbClr val="D6D6D6"/>
      </a:accent6>
      <a:hlink>
        <a:srgbClr val="E84927"/>
      </a:hlink>
      <a:folHlink>
        <a:srgbClr val="E849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100" dirty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tx1"/>
          </a:solidFill>
        </a:ln>
      </a:spPr>
      <a:bodyPr wrap="square" tIns="91440" bIns="91440" rtlCol="0">
        <a:noAutofit/>
      </a:bodyPr>
      <a:lstStyle>
        <a:defPPr algn="l">
          <a:defRPr sz="11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BC Template (Fall 2018)" id="{B025E637-6D08-9146-B02F-E3F224C5D4CD}" vid="{A87B1593-3495-3047-BB64-69530E8745BB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0EA0148194F0844B02654A0BFED10FC" ma:contentTypeVersion="11" ma:contentTypeDescription="Create a new document." ma:contentTypeScope="" ma:versionID="dab6d4f1886c012845eefb670f4c09d5">
  <xsd:schema xmlns:xsd="http://www.w3.org/2001/XMLSchema" xmlns:xs="http://www.w3.org/2001/XMLSchema" xmlns:p="http://schemas.microsoft.com/office/2006/metadata/properties" xmlns:ns2="b9fb697c-4316-4ec5-8c09-0fcaa31c955e" xmlns:ns3="242866ed-c419-43fa-9182-74d1816de1fa" targetNamespace="http://schemas.microsoft.com/office/2006/metadata/properties" ma:root="true" ma:fieldsID="f501dedf8bb0e52b3cdb66136808bafe" ns2:_="" ns3:_="">
    <xsd:import namespace="b9fb697c-4316-4ec5-8c09-0fcaa31c955e"/>
    <xsd:import namespace="242866ed-c419-43fa-9182-74d1816de1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fb697c-4316-4ec5-8c09-0fcaa31c95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576e6ad8-52fe-412f-a0b9-03ea580b629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BillingMetadata" ma:index="1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2866ed-c419-43fa-9182-74d1816de1f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992add03-edcc-4bc4-9cfe-fade94039a04}" ma:internalName="TaxCatchAll" ma:showField="CatchAllData" ma:web="242866ed-c419-43fa-9182-74d1816de1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42866ed-c419-43fa-9182-74d1816de1fa" xsi:nil="true"/>
    <lcf76f155ced4ddcb4097134ff3c332f xmlns="b9fb697c-4316-4ec5-8c09-0fcaa31c955e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F59B457-34AD-4B21-AA8F-96768A0C2D96}"/>
</file>

<file path=customXml/itemProps2.xml><?xml version="1.0" encoding="utf-8"?>
<ds:datastoreItem xmlns:ds="http://schemas.openxmlformats.org/officeDocument/2006/customXml" ds:itemID="{9C900ADE-3BFB-40D7-B153-AAB98EF639B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B2EBA49-2744-49F1-B3A1-E1EE6CC114F1}">
  <ds:schemaRefs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b9fb697c-4316-4ec5-8c09-0fcaa31c955e"/>
    <ds:schemaRef ds:uri="http://schemas.microsoft.com/office/2006/metadata/properties"/>
    <ds:schemaRef ds:uri="http://purl.org/dc/elements/1.1/"/>
    <ds:schemaRef ds:uri="http://schemas.microsoft.com/office/infopath/2007/PartnerControls"/>
    <ds:schemaRef ds:uri="242866ed-c419-43fa-9182-74d1816de1fa"/>
    <ds:schemaRef ds:uri="http://purl.org/dc/dcmitype/"/>
    <ds:schemaRef ds:uri="http://purl.org/dc/terms/"/>
  </ds:schemaRefs>
</ds:datastoreItem>
</file>

<file path=docMetadata/LabelInfo.xml><?xml version="1.0" encoding="utf-8"?>
<clbl:labelList xmlns:clbl="http://schemas.microsoft.com/office/2020/mipLabelMetadata">
  <clbl:label id="{44467e6f-462c-4ea2-823f-7800de5434e3}" enabled="0" method="" siteId="{44467e6f-462c-4ea2-823f-7800de5434e3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llinois Business Consulting (Spring 2018)</Template>
  <TotalTime>3233</TotalTime>
  <Words>3762</Words>
  <Application>Microsoft Office PowerPoint</Application>
  <PresentationFormat>On-screen Show (16:9)</PresentationFormat>
  <Paragraphs>991</Paragraphs>
  <Slides>96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96</vt:i4>
      </vt:variant>
    </vt:vector>
  </HeadingPairs>
  <TitlesOfParts>
    <vt:vector size="106" baseType="lpstr">
      <vt:lpstr>Arial</vt:lpstr>
      <vt:lpstr>Calibri</vt:lpstr>
      <vt:lpstr>Courier New</vt:lpstr>
      <vt:lpstr>Didot</vt:lpstr>
      <vt:lpstr>Open Sans</vt:lpstr>
      <vt:lpstr>Open Sans Semibold</vt:lpstr>
      <vt:lpstr>Verdana</vt:lpstr>
      <vt:lpstr>Wingdings</vt:lpstr>
      <vt:lpstr>Illinois Business Consulting (Spring 2018)</vt:lpstr>
      <vt:lpstr>2_Office Theme</vt:lpstr>
      <vt:lpstr>Client Name  Project Objective</vt:lpstr>
      <vt:lpstr>Segue Page</vt:lpstr>
      <vt:lpstr>Optional Segue Page</vt:lpstr>
      <vt:lpstr>Optional Segue Page</vt:lpstr>
      <vt:lpstr>Team introduction</vt:lpstr>
      <vt:lpstr>Agenda</vt:lpstr>
      <vt:lpstr>Issue tree 1</vt:lpstr>
      <vt:lpstr>Issue tree 2</vt:lpstr>
      <vt:lpstr>Slide layouts</vt:lpstr>
      <vt:lpstr>Growth opportunities</vt:lpstr>
      <vt:lpstr>Related concepts, products, business units</vt:lpstr>
      <vt:lpstr>Summary of key topics, points, conclusions</vt:lpstr>
      <vt:lpstr>Key points or summaries</vt:lpstr>
      <vt:lpstr>Key points or summaries</vt:lpstr>
      <vt:lpstr>Summary of key topics</vt:lpstr>
      <vt:lpstr>Foundations or building blocks</vt:lpstr>
      <vt:lpstr>Foundations or building blocks</vt:lpstr>
      <vt:lpstr>SWOT analysis/key ideas</vt:lpstr>
      <vt:lpstr>Final recommendations/multiple ideas</vt:lpstr>
      <vt:lpstr>Multiple ideas</vt:lpstr>
      <vt:lpstr>Multiple ideas</vt:lpstr>
      <vt:lpstr>Slide layouts</vt:lpstr>
      <vt:lpstr>Process or steps</vt:lpstr>
      <vt:lpstr>Process or steps</vt:lpstr>
      <vt:lpstr>Process or path</vt:lpstr>
      <vt:lpstr>Process with four steps</vt:lpstr>
      <vt:lpstr>Process or predecessors</vt:lpstr>
      <vt:lpstr>Process with eight steps</vt:lpstr>
      <vt:lpstr>Process with many steps</vt:lpstr>
      <vt:lpstr>Slide layouts</vt:lpstr>
      <vt:lpstr>Timeline or history</vt:lpstr>
      <vt:lpstr>Timeline or history</vt:lpstr>
      <vt:lpstr>Business or marketing plan outline</vt:lpstr>
      <vt:lpstr>Plan</vt:lpstr>
      <vt:lpstr>Timeline or Plan</vt:lpstr>
      <vt:lpstr>Timeline or Plan</vt:lpstr>
      <vt:lpstr>Timeline or Plan</vt:lpstr>
      <vt:lpstr>Slide layouts</vt:lpstr>
      <vt:lpstr>Landscape or comparative matrix </vt:lpstr>
      <vt:lpstr>Comparison </vt:lpstr>
      <vt:lpstr>Harvey Ball comparisons – products or competitors </vt:lpstr>
      <vt:lpstr>Matrix – services, products, segments, etc.</vt:lpstr>
      <vt:lpstr>Yes/no comparison</vt:lpstr>
      <vt:lpstr>Venn diagram showing intersecting groups</vt:lpstr>
      <vt:lpstr>Venn diagram showing intersecting groups</vt:lpstr>
      <vt:lpstr>Slide layouts</vt:lpstr>
      <vt:lpstr>Org chart</vt:lpstr>
      <vt:lpstr>Revenue or another metric histogram</vt:lpstr>
      <vt:lpstr>Horizontal histograms</vt:lpstr>
      <vt:lpstr>Horizontal histograms</vt:lpstr>
      <vt:lpstr>Histogram</vt:lpstr>
      <vt:lpstr>Table with commentary</vt:lpstr>
      <vt:lpstr>Slide layouts</vt:lpstr>
      <vt:lpstr>Examples</vt:lpstr>
      <vt:lpstr>Interview quotes</vt:lpstr>
      <vt:lpstr>Slide layouts</vt:lpstr>
      <vt:lpstr>Interconnectivity – key points</vt:lpstr>
      <vt:lpstr>Interconnectivity or influencers</vt:lpstr>
      <vt:lpstr>Key pieces of a puzzle or solution</vt:lpstr>
      <vt:lpstr>Key pieces of a puzzle or solution</vt:lpstr>
      <vt:lpstr>Global concepts</vt:lpstr>
      <vt:lpstr>Global concepts or topics</vt:lpstr>
      <vt:lpstr>Slide layouts</vt:lpstr>
      <vt:lpstr>United States</vt:lpstr>
      <vt:lpstr>World</vt:lpstr>
      <vt:lpstr>PowerPoint Presentation</vt:lpstr>
      <vt:lpstr>PowerPoint Presentation</vt:lpstr>
      <vt:lpstr>Xxxxx </vt:lpstr>
      <vt:lpstr>PowerPoint Presentation</vt:lpstr>
      <vt:lpstr>XX xx xxxx xxx Xxxx xxxxx x </vt:lpstr>
      <vt:lpstr>PowerPoint Presentation</vt:lpstr>
      <vt:lpstr>Xxx x xxxxxxx xxx xxx xxx x xxx xx xx</vt:lpstr>
      <vt:lpstr>PowerPoint Presentation</vt:lpstr>
      <vt:lpstr>PowerPoint Presentation</vt:lpstr>
      <vt:lpstr>Slide layouts</vt:lpstr>
      <vt:lpstr>Objects</vt:lpstr>
      <vt:lpstr>People</vt:lpstr>
      <vt:lpstr>Digital</vt:lpstr>
      <vt:lpstr>Finance</vt:lpstr>
      <vt:lpstr>Travel, buildings, transportation</vt:lpstr>
      <vt:lpstr>Food, animals</vt:lpstr>
      <vt:lpstr>Nature</vt:lpstr>
      <vt:lpstr>Sport, leisure</vt:lpstr>
      <vt:lpstr>Science, technology</vt:lpstr>
      <vt:lpstr>Computer icons</vt:lpstr>
      <vt:lpstr>People icons</vt:lpstr>
      <vt:lpstr>Transportation icons</vt:lpstr>
      <vt:lpstr> Manufacturing icons</vt:lpstr>
      <vt:lpstr>Business icons</vt:lpstr>
      <vt:lpstr>Finance &amp; revenue icons</vt:lpstr>
      <vt:lpstr>Science &amp; medicine icons</vt:lpstr>
      <vt:lpstr>Sales icons</vt:lpstr>
      <vt:lpstr>Communications icons</vt:lpstr>
      <vt:lpstr>Miscellaneous icons</vt:lpstr>
      <vt:lpstr>Miscellaneous icons</vt:lpstr>
      <vt:lpstr>Miscellaneous ic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(Option 1)</dc:title>
  <dc:creator>Singleton, Jacob R</dc:creator>
  <cp:lastModifiedBy>Kennedy Ho</cp:lastModifiedBy>
  <cp:revision>31</cp:revision>
  <dcterms:created xsi:type="dcterms:W3CDTF">2019-01-17T04:31:36Z</dcterms:created>
  <dcterms:modified xsi:type="dcterms:W3CDTF">2025-09-08T17:2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EA0148194F0844B02654A0BFED10FC</vt:lpwstr>
  </property>
  <property fmtid="{D5CDD505-2E9C-101B-9397-08002B2CF9AE}" pid="3" name="MediaServiceImageTags">
    <vt:lpwstr/>
  </property>
</Properties>
</file>